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Ex1.xml" ContentType="application/vnd.ms-office.chartex+xml"/>
  <Override PartName="/ppt/charts/style12.xml" ContentType="application/vnd.ms-office.chartstyle+xml"/>
  <Override PartName="/ppt/charts/colors12.xml" ContentType="application/vnd.ms-office.chartcolorstyle+xml"/>
  <Override PartName="/ppt/charts/chart12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Ex2.xml" ContentType="application/vnd.ms-office.chartex+xml"/>
  <Override PartName="/ppt/charts/style14.xml" ContentType="application/vnd.ms-office.chartstyle+xml"/>
  <Override PartName="/ppt/charts/colors14.xml" ContentType="application/vnd.ms-office.chartcolorstyle+xml"/>
  <Override PartName="/ppt/charts/chart13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3"/>
  </p:notesMasterIdLst>
  <p:sldIdLst>
    <p:sldId id="395" r:id="rId2"/>
    <p:sldId id="400" r:id="rId3"/>
    <p:sldId id="1025" r:id="rId4"/>
    <p:sldId id="363" r:id="rId5"/>
    <p:sldId id="280" r:id="rId6"/>
    <p:sldId id="263" r:id="rId7"/>
    <p:sldId id="265" r:id="rId8"/>
    <p:sldId id="295" r:id="rId9"/>
    <p:sldId id="290" r:id="rId10"/>
    <p:sldId id="304" r:id="rId11"/>
    <p:sldId id="303" r:id="rId12"/>
    <p:sldId id="305" r:id="rId13"/>
    <p:sldId id="301" r:id="rId14"/>
    <p:sldId id="306" r:id="rId15"/>
    <p:sldId id="288" r:id="rId16"/>
    <p:sldId id="312" r:id="rId17"/>
    <p:sldId id="342" r:id="rId18"/>
    <p:sldId id="292" r:id="rId19"/>
    <p:sldId id="299" r:id="rId20"/>
    <p:sldId id="291" r:id="rId21"/>
    <p:sldId id="307" r:id="rId22"/>
    <p:sldId id="308" r:id="rId23"/>
    <p:sldId id="309" r:id="rId24"/>
    <p:sldId id="310" r:id="rId25"/>
    <p:sldId id="311" r:id="rId26"/>
    <p:sldId id="357" r:id="rId27"/>
    <p:sldId id="358" r:id="rId28"/>
    <p:sldId id="359" r:id="rId29"/>
    <p:sldId id="360" r:id="rId30"/>
    <p:sldId id="277" r:id="rId31"/>
    <p:sldId id="278" r:id="rId32"/>
    <p:sldId id="264" r:id="rId33"/>
    <p:sldId id="276" r:id="rId34"/>
    <p:sldId id="274" r:id="rId35"/>
    <p:sldId id="282" r:id="rId36"/>
    <p:sldId id="283" r:id="rId37"/>
    <p:sldId id="356" r:id="rId38"/>
    <p:sldId id="355" r:id="rId39"/>
    <p:sldId id="354" r:id="rId40"/>
    <p:sldId id="361" r:id="rId41"/>
    <p:sldId id="362" r:id="rId42"/>
    <p:sldId id="313" r:id="rId43"/>
    <p:sldId id="314" r:id="rId44"/>
    <p:sldId id="387" r:id="rId45"/>
    <p:sldId id="315" r:id="rId46"/>
    <p:sldId id="376" r:id="rId47"/>
    <p:sldId id="375" r:id="rId48"/>
    <p:sldId id="293" r:id="rId49"/>
    <p:sldId id="377" r:id="rId50"/>
    <p:sldId id="373" r:id="rId51"/>
    <p:sldId id="374" r:id="rId52"/>
    <p:sldId id="378" r:id="rId53"/>
    <p:sldId id="383" r:id="rId54"/>
    <p:sldId id="379" r:id="rId55"/>
    <p:sldId id="380" r:id="rId56"/>
    <p:sldId id="381" r:id="rId57"/>
    <p:sldId id="382" r:id="rId58"/>
    <p:sldId id="384" r:id="rId59"/>
    <p:sldId id="385" r:id="rId60"/>
    <p:sldId id="386" r:id="rId61"/>
    <p:sldId id="370" r:id="rId62"/>
    <p:sldId id="371" r:id="rId63"/>
    <p:sldId id="372" r:id="rId64"/>
    <p:sldId id="366" r:id="rId65"/>
    <p:sldId id="369" r:id="rId66"/>
    <p:sldId id="367" r:id="rId67"/>
    <p:sldId id="331" r:id="rId68"/>
    <p:sldId id="332" r:id="rId69"/>
    <p:sldId id="333" r:id="rId70"/>
    <p:sldId id="334" r:id="rId71"/>
    <p:sldId id="335" r:id="rId72"/>
    <p:sldId id="336" r:id="rId73"/>
    <p:sldId id="338" r:id="rId74"/>
    <p:sldId id="401" r:id="rId75"/>
    <p:sldId id="339" r:id="rId76"/>
    <p:sldId id="340" r:id="rId77"/>
    <p:sldId id="341" r:id="rId78"/>
    <p:sldId id="343" r:id="rId79"/>
    <p:sldId id="344" r:id="rId80"/>
    <p:sldId id="345" r:id="rId81"/>
    <p:sldId id="346" r:id="rId82"/>
    <p:sldId id="347" r:id="rId83"/>
    <p:sldId id="348" r:id="rId84"/>
    <p:sldId id="349" r:id="rId85"/>
    <p:sldId id="350" r:id="rId86"/>
    <p:sldId id="351" r:id="rId87"/>
    <p:sldId id="352" r:id="rId88"/>
    <p:sldId id="365" r:id="rId89"/>
    <p:sldId id="275" r:id="rId90"/>
    <p:sldId id="390" r:id="rId91"/>
    <p:sldId id="388" r:id="rId92"/>
    <p:sldId id="389" r:id="rId93"/>
    <p:sldId id="391" r:id="rId94"/>
    <p:sldId id="392" r:id="rId95"/>
    <p:sldId id="393" r:id="rId96"/>
    <p:sldId id="394" r:id="rId97"/>
    <p:sldId id="397" r:id="rId98"/>
    <p:sldId id="1028" r:id="rId99"/>
    <p:sldId id="1026" r:id="rId100"/>
    <p:sldId id="1027" r:id="rId101"/>
    <p:sldId id="396" r:id="rId102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apas" id="{A9A4534D-E483-4C12-8A31-5C52B26A45F8}">
          <p14:sldIdLst>
            <p14:sldId id="395"/>
            <p14:sldId id="400"/>
            <p14:sldId id="1025"/>
            <p14:sldId id="363"/>
          </p14:sldIdLst>
        </p14:section>
        <p14:section name="Agenda" id="{4BC56014-5B8F-4E77-9A8A-D52765CA29A9}">
          <p14:sldIdLst/>
        </p14:section>
        <p14:section name="Dividers" id="{6A167790-25B4-4EDA-ABD8-43EDD029E98E}">
          <p14:sldIdLst>
            <p14:sldId id="280"/>
            <p14:sldId id="263"/>
            <p14:sldId id="265"/>
            <p14:sldId id="295"/>
            <p14:sldId id="290"/>
          </p14:sldIdLst>
        </p14:section>
        <p14:section name="Títulos, Subtítulos, Textos e Imagens" id="{1000F84B-AEBE-449E-B419-3A4CCB96314A}">
          <p14:sldIdLst>
            <p14:sldId id="304"/>
            <p14:sldId id="303"/>
            <p14:sldId id="305"/>
            <p14:sldId id="301"/>
            <p14:sldId id="306"/>
          </p14:sldIdLst>
        </p14:section>
        <p14:section name="Tabelas e Gráficos" id="{01F05F34-AEC6-4A19-9BEE-3631EE8E5CC5}">
          <p14:sldIdLst>
            <p14:sldId id="288"/>
            <p14:sldId id="312"/>
            <p14:sldId id="342"/>
            <p14:sldId id="292"/>
            <p14:sldId id="299"/>
            <p14:sldId id="291"/>
            <p14:sldId id="307"/>
            <p14:sldId id="308"/>
            <p14:sldId id="309"/>
            <p14:sldId id="310"/>
            <p14:sldId id="311"/>
            <p14:sldId id="357"/>
            <p14:sldId id="358"/>
            <p14:sldId id="359"/>
            <p14:sldId id="360"/>
          </p14:sldIdLst>
        </p14:section>
        <p14:section name="Quotes e Destaques" id="{4DFBDCBC-383B-496D-A84A-8C239C01AA88}">
          <p14:sldIdLst>
            <p14:sldId id="277"/>
            <p14:sldId id="278"/>
            <p14:sldId id="264"/>
            <p14:sldId id="276"/>
            <p14:sldId id="274"/>
            <p14:sldId id="282"/>
            <p14:sldId id="283"/>
            <p14:sldId id="356"/>
            <p14:sldId id="355"/>
            <p14:sldId id="354"/>
            <p14:sldId id="361"/>
            <p14:sldId id="362"/>
          </p14:sldIdLst>
        </p14:section>
        <p14:section name="Mockups" id="{FA42B3D8-54B3-4A6C-8C7D-29D0F9ACCA6F}">
          <p14:sldIdLst>
            <p14:sldId id="313"/>
            <p14:sldId id="314"/>
            <p14:sldId id="387"/>
            <p14:sldId id="315"/>
          </p14:sldIdLst>
        </p14:section>
        <p14:section name="Fluxogramas" id="{3CC90C56-7DDA-4E9D-9242-3EAE04B398DD}">
          <p14:sldIdLst>
            <p14:sldId id="376"/>
            <p14:sldId id="375"/>
            <p14:sldId id="293"/>
            <p14:sldId id="377"/>
            <p14:sldId id="373"/>
            <p14:sldId id="374"/>
            <p14:sldId id="378"/>
            <p14:sldId id="383"/>
            <p14:sldId id="379"/>
            <p14:sldId id="380"/>
            <p14:sldId id="381"/>
            <p14:sldId id="382"/>
            <p14:sldId id="384"/>
            <p14:sldId id="385"/>
            <p14:sldId id="386"/>
          </p14:sldIdLst>
        </p14:section>
        <p14:section name="Organogramas" id="{CA491EBD-3602-4390-82B5-EE4E92B12573}">
          <p14:sldIdLst>
            <p14:sldId id="370"/>
            <p14:sldId id="371"/>
            <p14:sldId id="372"/>
          </p14:sldIdLst>
        </p14:section>
        <p14:section name="Linha do Tempo" id="{F50F2C49-D0CA-4D37-8201-F4BC42E28685}">
          <p14:sldIdLst>
            <p14:sldId id="366"/>
            <p14:sldId id="369"/>
            <p14:sldId id="367"/>
          </p14:sldIdLst>
        </p14:section>
        <p14:section name="Mapas" id="{AA789232-3304-4D92-BAD6-BCD6E5301BD8}">
          <p14:sldIdLst>
            <p14:sldId id="331"/>
            <p14:sldId id="332"/>
            <p14:sldId id="333"/>
            <p14:sldId id="334"/>
            <p14:sldId id="335"/>
            <p14:sldId id="336"/>
            <p14:sldId id="338"/>
            <p14:sldId id="401"/>
            <p14:sldId id="339"/>
          </p14:sldIdLst>
        </p14:section>
        <p14:section name="Setas" id="{BD0B5870-247D-462D-A735-ACFF4CECAA9F}">
          <p14:sldIdLst>
            <p14:sldId id="340"/>
            <p14:sldId id="341"/>
          </p14:sldIdLst>
        </p14:section>
        <p14:section name="Ícones" id="{5867C416-E450-41D4-919B-6FE52FE59580}">
          <p14:sldIdLst>
            <p14:sldId id="343"/>
            <p14:sldId id="344"/>
            <p14:sldId id="345"/>
            <p14:sldId id="346"/>
            <p14:sldId id="347"/>
            <p14:sldId id="348"/>
            <p14:sldId id="349"/>
            <p14:sldId id="350"/>
            <p14:sldId id="351"/>
            <p14:sldId id="352"/>
          </p14:sldIdLst>
        </p14:section>
        <p14:section name="Agradecimento" id="{741FC7E5-FA78-4D8D-9B64-88FB21C54BBA}">
          <p14:sldIdLst>
            <p14:sldId id="365"/>
          </p14:sldIdLst>
        </p14:section>
        <p14:section name="Quarta Capa" id="{635B9D2B-E57B-475B-B073-D54D01C56959}">
          <p14:sldIdLst>
            <p14:sldId id="275"/>
          </p14:sldIdLst>
        </p14:section>
        <p14:section name="Manual" id="{5F3A6ECD-260A-4D5D-B2E3-C284BB9008C4}">
          <p14:sldIdLst>
            <p14:sldId id="390"/>
            <p14:sldId id="388"/>
            <p14:sldId id="389"/>
            <p14:sldId id="391"/>
            <p14:sldId id="392"/>
            <p14:sldId id="393"/>
            <p14:sldId id="394"/>
            <p14:sldId id="397"/>
            <p14:sldId id="1028"/>
            <p14:sldId id="1026"/>
            <p14:sldId id="1027"/>
            <p14:sldId id="39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595" userDrawn="1">
          <p15:clr>
            <a:srgbClr val="A4A3A4"/>
          </p15:clr>
        </p15:guide>
        <p15:guide id="4" orient="horz" pos="3884" userDrawn="1">
          <p15:clr>
            <a:srgbClr val="A4A3A4"/>
          </p15:clr>
        </p15:guide>
        <p15:guide id="5" pos="370" userDrawn="1">
          <p15:clr>
            <a:srgbClr val="A4A3A4"/>
          </p15:clr>
        </p15:guide>
        <p15:guide id="6" pos="7378" userDrawn="1">
          <p15:clr>
            <a:srgbClr val="A4A3A4"/>
          </p15:clr>
        </p15:guide>
        <p15:guide id="10" orient="horz" pos="32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A3A"/>
    <a:srgbClr val="002169"/>
    <a:srgbClr val="10312B"/>
    <a:srgbClr val="161F28"/>
    <a:srgbClr val="A2AAAD"/>
    <a:srgbClr val="5B6770"/>
    <a:srgbClr val="CC9F53"/>
    <a:srgbClr val="00C4B3"/>
    <a:srgbClr val="A0C4D4"/>
    <a:srgbClr val="8E96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Estilo Médio 2 - Ênfas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Estilo Claro 1 - Ênfase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614" autoAdjust="0"/>
    <p:restoredTop sz="94660"/>
  </p:normalViewPr>
  <p:slideViewPr>
    <p:cSldViewPr snapToGrid="0" showGuides="1">
      <p:cViewPr varScale="1">
        <p:scale>
          <a:sx n="64" d="100"/>
          <a:sy n="64" d="100"/>
        </p:scale>
        <p:origin x="616" y="44"/>
      </p:cViewPr>
      <p:guideLst>
        <p:guide orient="horz" pos="2160"/>
        <p:guide pos="3840"/>
        <p:guide orient="horz" pos="595"/>
        <p:guide orient="horz" pos="3884"/>
        <p:guide pos="370"/>
        <p:guide pos="7378"/>
        <p:guide orient="horz" pos="32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6" Type="http://schemas.openxmlformats.org/officeDocument/2006/relationships/slide" Target="slides/slide15.xml"/><Relationship Id="rId107" Type="http://schemas.openxmlformats.org/officeDocument/2006/relationships/tableStyles" Target="tableStyles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6" Type="http://schemas.openxmlformats.org/officeDocument/2006/relationships/theme" Target="theme/theme1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presProps" Target="presProp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2.xml"/><Relationship Id="rId2" Type="http://schemas.microsoft.com/office/2011/relationships/chartStyle" Target="style12.xml"/><Relationship Id="rId1" Type="http://schemas.openxmlformats.org/officeDocument/2006/relationships/package" Target="../embeddings/Microsoft_Excel_Worksheet11.xlsx"/></Relationships>
</file>

<file path=ppt/charts/_rels/chartEx2.xml.rels><?xml version="1.0" encoding="UTF-8" standalone="yes"?>
<Relationships xmlns="http://schemas.openxmlformats.org/package/2006/relationships"><Relationship Id="rId3" Type="http://schemas.microsoft.com/office/2011/relationships/chartColorStyle" Target="colors14.xml"/><Relationship Id="rId2" Type="http://schemas.microsoft.com/office/2011/relationships/chartStyle" Target="style14.xml"/><Relationship Id="rId1" Type="http://schemas.openxmlformats.org/officeDocument/2006/relationships/package" Target="../embeddings/Microsoft_Excel_Worksheet1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700" b="1" i="0" u="none" strike="noStrike" kern="1200" spc="0" baseline="0">
                <a:solidFill>
                  <a:srgbClr val="263143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r>
              <a:rPr lang="pt-BR" sz="1700" b="1" dirty="0">
                <a:solidFill>
                  <a:srgbClr val="263143"/>
                </a:solidFill>
              </a:rPr>
              <a:t>Total </a:t>
            </a:r>
            <a:r>
              <a:rPr lang="pt-BR" sz="1700" b="1" dirty="0" err="1">
                <a:solidFill>
                  <a:srgbClr val="263143"/>
                </a:solidFill>
              </a:rPr>
              <a:t>revpar</a:t>
            </a:r>
            <a:r>
              <a:rPr lang="pt-BR" sz="1700" b="1" dirty="0">
                <a:solidFill>
                  <a:srgbClr val="263143"/>
                </a:solidFill>
              </a:rPr>
              <a:t> | </a:t>
            </a:r>
            <a:r>
              <a:rPr lang="pt-BR" sz="1700" b="1" dirty="0" err="1">
                <a:solidFill>
                  <a:srgbClr val="263143"/>
                </a:solidFill>
              </a:rPr>
              <a:t>trevpar</a:t>
            </a:r>
            <a:r>
              <a:rPr lang="pt-BR" sz="1700" b="1" dirty="0">
                <a:solidFill>
                  <a:srgbClr val="263143"/>
                </a:solidFill>
              </a:rPr>
              <a:t> (</a:t>
            </a:r>
            <a:r>
              <a:rPr lang="pt-BR" sz="1700" b="1" dirty="0" err="1">
                <a:solidFill>
                  <a:srgbClr val="263143"/>
                </a:solidFill>
              </a:rPr>
              <a:t>brl</a:t>
            </a:r>
            <a:r>
              <a:rPr lang="pt-BR" sz="1700" b="1" dirty="0">
                <a:solidFill>
                  <a:srgbClr val="263143"/>
                </a:solidFill>
              </a:rPr>
              <a:t>)</a:t>
            </a:r>
          </a:p>
        </c:rich>
      </c:tx>
      <c:layout>
        <c:manualLayout>
          <c:xMode val="edge"/>
          <c:yMode val="edge"/>
          <c:x val="0.25332884125891059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700" b="1" i="0" u="none" strike="noStrike" kern="1200" spc="0" baseline="0">
              <a:solidFill>
                <a:srgbClr val="263143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defRPr>
          </a:pPr>
          <a:endParaRPr lang="pt-BR"/>
        </a:p>
      </c:txPr>
    </c:title>
    <c:autoTitleDeleted val="0"/>
    <c:plotArea>
      <c:layout>
        <c:manualLayout>
          <c:layoutTarget val="inner"/>
          <c:xMode val="edge"/>
          <c:yMode val="edge"/>
          <c:x val="2.3688501060666625E-2"/>
          <c:y val="9.7176793175744666E-2"/>
          <c:w val="0.9478852976665334"/>
          <c:h val="0.8183424866794226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Planilha1!$B$1:$C$1</c:f>
              <c:strCache>
                <c:ptCount val="1"/>
                <c:pt idx="0">
                  <c:v>2019 FCST (9+3) 2019 BUDGET</c:v>
                </c:pt>
              </c:strCache>
            </c:strRef>
          </c:tx>
          <c:spPr>
            <a:solidFill>
              <a:srgbClr val="26314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3</c:f>
              <c:strCache>
                <c:ptCount val="2"/>
                <c:pt idx="0">
                  <c:v>vs. BUDGET</c:v>
                </c:pt>
                <c:pt idx="1">
                  <c:v>vs. LY</c:v>
                </c:pt>
              </c:strCache>
            </c:strRef>
          </c:cat>
          <c:val>
            <c:numRef>
              <c:f>Planilha1!$B$2:$B$3</c:f>
              <c:numCache>
                <c:formatCode>#,##0.0</c:formatCode>
                <c:ptCount val="2"/>
                <c:pt idx="0">
                  <c:v>157.6</c:v>
                </c:pt>
                <c:pt idx="1">
                  <c:v>157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50A-4B9C-A592-CC3EF3418D49}"/>
            </c:ext>
          </c:extLst>
        </c:ser>
        <c:ser>
          <c:idx val="1"/>
          <c:order val="1"/>
          <c:tx>
            <c:strRef>
              <c:f>Planilha1!$B$1:$C$1</c:f>
              <c:strCache>
                <c:ptCount val="1"/>
                <c:pt idx="0">
                  <c:v>2019 FCST (9+3) 2019 BUDGET</c:v>
                </c:pt>
              </c:strCache>
            </c:strRef>
          </c:tx>
          <c:spPr>
            <a:solidFill>
              <a:srgbClr val="D6D6CE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899DB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550A-4B9C-A592-CC3EF3418D49}"/>
              </c:ext>
            </c:extLst>
          </c:dPt>
          <c:dLbls>
            <c:dLbl>
              <c:idx val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Segoe UI" panose="020B0502040204020203" pitchFamily="34" charset="0"/>
                      <a:ea typeface="+mn-ea"/>
                      <a:cs typeface="Segoe UI" panose="020B0502040204020203" pitchFamily="34" charset="0"/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550A-4B9C-A592-CC3EF3418D49}"/>
                </c:ext>
              </c:extLst>
            </c:dLbl>
            <c:dLbl>
              <c:idx val="1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Segoe UI" panose="020B0502040204020203" pitchFamily="34" charset="0"/>
                      <a:ea typeface="+mn-ea"/>
                      <a:cs typeface="Segoe UI" panose="020B0502040204020203" pitchFamily="34" charset="0"/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550A-4B9C-A592-CC3EF3418D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3</c:f>
              <c:strCache>
                <c:ptCount val="2"/>
                <c:pt idx="0">
                  <c:v>vs. BUDGET</c:v>
                </c:pt>
                <c:pt idx="1">
                  <c:v>vs. LY</c:v>
                </c:pt>
              </c:strCache>
            </c:strRef>
          </c:cat>
          <c:val>
            <c:numRef>
              <c:f>Planilha1!$C$2:$C$3</c:f>
              <c:numCache>
                <c:formatCode>#,##0.0</c:formatCode>
                <c:ptCount val="2"/>
                <c:pt idx="0">
                  <c:v>150</c:v>
                </c:pt>
                <c:pt idx="1">
                  <c:v>145.6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50A-4B9C-A592-CC3EF3418D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10"/>
        <c:axId val="158252496"/>
        <c:axId val="158252104"/>
      </c:barChart>
      <c:catAx>
        <c:axId val="158252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pt-BR"/>
          </a:p>
        </c:txPr>
        <c:crossAx val="158252104"/>
        <c:crosses val="autoZero"/>
        <c:auto val="1"/>
        <c:lblAlgn val="ctr"/>
        <c:lblOffset val="100"/>
        <c:noMultiLvlLbl val="0"/>
      </c:catAx>
      <c:valAx>
        <c:axId val="158252104"/>
        <c:scaling>
          <c:orientation val="minMax"/>
          <c:max val="200"/>
          <c:min val="0"/>
        </c:scaling>
        <c:delete val="1"/>
        <c:axPos val="l"/>
        <c:numFmt formatCode="#,##0.0" sourceLinked="1"/>
        <c:majorTickMark val="out"/>
        <c:minorTickMark val="none"/>
        <c:tickLblPos val="nextTo"/>
        <c:crossAx val="1582524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Segoe UI" panose="020B0502040204020203" pitchFamily="34" charset="0"/>
          <a:cs typeface="Segoe UI" panose="020B0502040204020203" pitchFamily="34" charset="0"/>
        </a:defRPr>
      </a:pPr>
      <a:endParaRPr lang="pt-BR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r>
              <a:rPr lang="pt-BR" b="1" dirty="0">
                <a:solidFill>
                  <a:srgbClr val="11385A"/>
                </a:solidFill>
              </a:rPr>
              <a:t>Título do Gráfico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defRPr>
          </a:pPr>
          <a:endParaRPr lang="pt-BR"/>
        </a:p>
      </c:txPr>
    </c:title>
    <c:autoTitleDeleted val="0"/>
    <c:plotArea>
      <c:layout/>
      <c:radarChart>
        <c:radarStyle val="marker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Série 1</c:v>
                </c:pt>
              </c:strCache>
            </c:strRef>
          </c:tx>
          <c:spPr>
            <a:ln w="28575" cap="rnd">
              <a:solidFill>
                <a:srgbClr val="26314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263143"/>
              </a:solidFill>
              <a:ln w="9525">
                <a:solidFill>
                  <a:srgbClr val="263143"/>
                </a:solidFill>
              </a:ln>
              <a:effectLst/>
            </c:spPr>
          </c:marker>
          <c:cat>
            <c:numRef>
              <c:f>Planilha1!$A$2:$A$6</c:f>
              <c:numCache>
                <c:formatCode>m/d/yyyy</c:formatCode>
                <c:ptCount val="5"/>
                <c:pt idx="0">
                  <c:v>37261</c:v>
                </c:pt>
                <c:pt idx="1">
                  <c:v>37262</c:v>
                </c:pt>
                <c:pt idx="2">
                  <c:v>37263</c:v>
                </c:pt>
                <c:pt idx="3">
                  <c:v>37264</c:v>
                </c:pt>
                <c:pt idx="4">
                  <c:v>37265</c:v>
                </c:pt>
              </c:numCache>
            </c:numRef>
          </c:cat>
          <c:val>
            <c:numRef>
              <c:f>Planilha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A02-4A97-8A05-79F15115B74D}"/>
            </c:ext>
          </c:extLst>
        </c:ser>
        <c:ser>
          <c:idx val="1"/>
          <c:order val="1"/>
          <c:tx>
            <c:strRef>
              <c:f>Planilha1!$C$1</c:f>
              <c:strCache>
                <c:ptCount val="1"/>
                <c:pt idx="0">
                  <c:v>Série 2</c:v>
                </c:pt>
              </c:strCache>
            </c:strRef>
          </c:tx>
          <c:spPr>
            <a:ln w="28575" cap="rnd">
              <a:solidFill>
                <a:srgbClr val="899DBD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899DBD"/>
              </a:solidFill>
              <a:ln w="9525">
                <a:solidFill>
                  <a:srgbClr val="899DBD"/>
                </a:solidFill>
              </a:ln>
              <a:effectLst/>
            </c:spPr>
          </c:marker>
          <c:cat>
            <c:numRef>
              <c:f>Planilha1!$A$2:$A$6</c:f>
              <c:numCache>
                <c:formatCode>m/d/yyyy</c:formatCode>
                <c:ptCount val="5"/>
                <c:pt idx="0">
                  <c:v>37261</c:v>
                </c:pt>
                <c:pt idx="1">
                  <c:v>37262</c:v>
                </c:pt>
                <c:pt idx="2">
                  <c:v>37263</c:v>
                </c:pt>
                <c:pt idx="3">
                  <c:v>37264</c:v>
                </c:pt>
                <c:pt idx="4">
                  <c:v>37265</c:v>
                </c:pt>
              </c:numCache>
            </c:numRef>
          </c:cat>
          <c:val>
            <c:numRef>
              <c:f>Planilha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A02-4A97-8A05-79F15115B7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933107983"/>
        <c:axId val="317034687"/>
      </c:radarChart>
      <c:catAx>
        <c:axId val="1933107983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pt-BR"/>
          </a:p>
        </c:txPr>
        <c:crossAx val="317034687"/>
        <c:crosses val="autoZero"/>
        <c:auto val="1"/>
        <c:lblAlgn val="ctr"/>
        <c:lblOffset val="100"/>
        <c:noMultiLvlLbl val="0"/>
      </c:catAx>
      <c:valAx>
        <c:axId val="31703468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pt-BR"/>
          </a:p>
        </c:txPr>
        <c:crossAx val="193310798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Segoe UI" panose="020B0502040204020203" pitchFamily="34" charset="0"/>
          <a:cs typeface="Segoe UI" panose="020B0502040204020203" pitchFamily="34" charset="0"/>
        </a:defRPr>
      </a:pPr>
      <a:endParaRPr lang="pt-BR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r>
              <a:rPr lang="pt-BR" b="1" dirty="0">
                <a:solidFill>
                  <a:srgbClr val="11385A"/>
                </a:solidFill>
              </a:rPr>
              <a:t>Valores Y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defRPr>
          </a:pPr>
          <a:endParaRPr lang="pt-BR"/>
        </a:p>
      </c:txPr>
    </c:title>
    <c:autoTitleDeleted val="0"/>
    <c:plotArea>
      <c:layout/>
      <c:scatterChart>
        <c:scatterStyle val="smoothMarker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Valores Y</c:v>
                </c:pt>
              </c:strCache>
            </c:strRef>
          </c:tx>
          <c:spPr>
            <a:ln w="19050" cap="rnd">
              <a:solidFill>
                <a:srgbClr val="B5B5A7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B5B5A7"/>
              </a:solidFill>
              <a:ln w="9525">
                <a:solidFill>
                  <a:srgbClr val="B5B5A7"/>
                </a:solidFill>
              </a:ln>
              <a:effectLst/>
            </c:spPr>
          </c:marker>
          <c:xVal>
            <c:numRef>
              <c:f>Planilha1!$A$2:$A$4</c:f>
              <c:numCache>
                <c:formatCode>General</c:formatCode>
                <c:ptCount val="3"/>
                <c:pt idx="0">
                  <c:v>0.7</c:v>
                </c:pt>
                <c:pt idx="1">
                  <c:v>1.8</c:v>
                </c:pt>
                <c:pt idx="2">
                  <c:v>2.6</c:v>
                </c:pt>
              </c:numCache>
            </c:numRef>
          </c:xVal>
          <c:yVal>
            <c:numRef>
              <c:f>Planilha1!$B$2:$B$4</c:f>
              <c:numCache>
                <c:formatCode>General</c:formatCode>
                <c:ptCount val="3"/>
                <c:pt idx="0">
                  <c:v>2.7</c:v>
                </c:pt>
                <c:pt idx="1">
                  <c:v>3.2</c:v>
                </c:pt>
                <c:pt idx="2">
                  <c:v>0.8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CCCC-47EB-B700-BFE6CFE082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49378959"/>
        <c:axId val="2018621215"/>
      </c:scatterChart>
      <c:valAx>
        <c:axId val="249378959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pt-BR"/>
          </a:p>
        </c:txPr>
        <c:crossAx val="2018621215"/>
        <c:crosses val="autoZero"/>
        <c:crossBetween val="midCat"/>
      </c:valAx>
      <c:valAx>
        <c:axId val="20186212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pt-BR"/>
          </a:p>
        </c:txPr>
        <c:crossAx val="249378959"/>
        <c:crosses val="autoZero"/>
        <c:crossBetween val="midCat"/>
      </c:valAx>
      <c:spPr>
        <a:solidFill>
          <a:schemeClr val="bg1"/>
        </a:solidFill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Segoe UI" panose="020B0502040204020203" pitchFamily="34" charset="0"/>
          <a:cs typeface="Segoe UI" panose="020B0502040204020203" pitchFamily="34" charset="0"/>
        </a:defRPr>
      </a:pPr>
      <a:endParaRPr lang="pt-BR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r>
              <a:rPr lang="pt-BR" b="1" dirty="0">
                <a:solidFill>
                  <a:srgbClr val="11385A"/>
                </a:solidFill>
              </a:rPr>
              <a:t>Valores Y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defRPr>
          </a:pPr>
          <a:endParaRPr lang="pt-BR"/>
        </a:p>
      </c:txPr>
    </c:title>
    <c:autoTitleDeleted val="0"/>
    <c:plotArea>
      <c:layout/>
      <c:bubbleChart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Valores Y</c:v>
                </c:pt>
              </c:strCache>
            </c:strRef>
          </c:tx>
          <c:spPr>
            <a:solidFill>
              <a:srgbClr val="D6D6CE"/>
            </a:solidFill>
            <a:ln>
              <a:noFill/>
            </a:ln>
            <a:effectLst/>
          </c:spPr>
          <c:invertIfNegative val="0"/>
          <c:xVal>
            <c:numRef>
              <c:f>Planilha1!$A$2:$A$4</c:f>
              <c:numCache>
                <c:formatCode>General</c:formatCode>
                <c:ptCount val="3"/>
                <c:pt idx="0">
                  <c:v>0.7</c:v>
                </c:pt>
                <c:pt idx="1">
                  <c:v>1.8</c:v>
                </c:pt>
                <c:pt idx="2">
                  <c:v>2.6</c:v>
                </c:pt>
              </c:numCache>
            </c:numRef>
          </c:xVal>
          <c:yVal>
            <c:numRef>
              <c:f>Planilha1!$B$2:$B$4</c:f>
              <c:numCache>
                <c:formatCode>General</c:formatCode>
                <c:ptCount val="3"/>
                <c:pt idx="0">
                  <c:v>2.7</c:v>
                </c:pt>
                <c:pt idx="1">
                  <c:v>3.2</c:v>
                </c:pt>
                <c:pt idx="2">
                  <c:v>0.8</c:v>
                </c:pt>
              </c:numCache>
            </c:numRef>
          </c:yVal>
          <c:bubbleSize>
            <c:numRef>
              <c:f>Planilha1!$C$2:$C$4</c:f>
              <c:numCache>
                <c:formatCode>General</c:formatCode>
                <c:ptCount val="3"/>
                <c:pt idx="0">
                  <c:v>10</c:v>
                </c:pt>
                <c:pt idx="1">
                  <c:v>4</c:v>
                </c:pt>
                <c:pt idx="2">
                  <c:v>8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DB71-447A-8B7C-2798BA0EE4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249369759"/>
        <c:axId val="1319360207"/>
      </c:bubbleChart>
      <c:valAx>
        <c:axId val="249369759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pt-BR"/>
          </a:p>
        </c:txPr>
        <c:crossAx val="1319360207"/>
        <c:crosses val="autoZero"/>
        <c:crossBetween val="midCat"/>
      </c:valAx>
      <c:valAx>
        <c:axId val="131936020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pt-BR"/>
          </a:p>
        </c:txPr>
        <c:crossAx val="249369759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Segoe UI" panose="020B0502040204020203" pitchFamily="34" charset="0"/>
          <a:cs typeface="Segoe UI" panose="020B0502040204020203" pitchFamily="34" charset="0"/>
        </a:defRPr>
      </a:pPr>
      <a:endParaRPr lang="pt-BR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r>
              <a:rPr lang="pt-BR" b="1" dirty="0">
                <a:solidFill>
                  <a:srgbClr val="11385A"/>
                </a:solidFill>
              </a:rPr>
              <a:t>Título do Gráfico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defRPr>
          </a:pPr>
          <a:endParaRPr lang="pt-BR"/>
        </a:p>
      </c:txPr>
    </c:title>
    <c:autoTitleDeleted val="0"/>
    <c:plotArea>
      <c:layout/>
      <c:lineChart>
        <c:grouping val="percentStack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Série 1</c:v>
                </c:pt>
              </c:strCache>
            </c:strRef>
          </c:tx>
          <c:spPr>
            <a:ln w="28575" cap="rnd">
              <a:solidFill>
                <a:srgbClr val="26314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263143"/>
              </a:solidFill>
              <a:ln w="9525">
                <a:solidFill>
                  <a:srgbClr val="263143"/>
                </a:solidFill>
              </a:ln>
              <a:effectLst/>
            </c:spPr>
          </c:marker>
          <c:cat>
            <c:strRef>
              <c:f>Plani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Planilha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326-4538-81CB-B63B639134C5}"/>
            </c:ext>
          </c:extLst>
        </c:ser>
        <c:ser>
          <c:idx val="1"/>
          <c:order val="1"/>
          <c:tx>
            <c:strRef>
              <c:f>Planilha1!$C$1</c:f>
              <c:strCache>
                <c:ptCount val="1"/>
                <c:pt idx="0">
                  <c:v>Série 2</c:v>
                </c:pt>
              </c:strCache>
            </c:strRef>
          </c:tx>
          <c:spPr>
            <a:ln w="28575" cap="rnd">
              <a:solidFill>
                <a:srgbClr val="899DBD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899DBD"/>
              </a:solidFill>
              <a:ln w="9525">
                <a:solidFill>
                  <a:srgbClr val="899DBD"/>
                </a:solidFill>
              </a:ln>
              <a:effectLst/>
            </c:spPr>
          </c:marker>
          <c:cat>
            <c:strRef>
              <c:f>Plani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Planilha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326-4538-81CB-B63B639134C5}"/>
            </c:ext>
          </c:extLst>
        </c:ser>
        <c:ser>
          <c:idx val="2"/>
          <c:order val="2"/>
          <c:tx>
            <c:strRef>
              <c:f>Planilha1!$D$1</c:f>
              <c:strCache>
                <c:ptCount val="1"/>
                <c:pt idx="0">
                  <c:v>Série 3</c:v>
                </c:pt>
              </c:strCache>
            </c:strRef>
          </c:tx>
          <c:spPr>
            <a:ln w="28575" cap="rnd">
              <a:solidFill>
                <a:srgbClr val="B5B5A7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B5B5A7"/>
              </a:solidFill>
              <a:ln w="9525">
                <a:solidFill>
                  <a:srgbClr val="B5B5A7"/>
                </a:solidFill>
              </a:ln>
              <a:effectLst/>
            </c:spPr>
          </c:marker>
          <c:cat>
            <c:strRef>
              <c:f>Plani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Planilha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326-4538-81CB-B63B639134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72356271"/>
        <c:axId val="254581119"/>
      </c:lineChart>
      <c:catAx>
        <c:axId val="16723562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pt-BR"/>
          </a:p>
        </c:txPr>
        <c:crossAx val="254581119"/>
        <c:crosses val="autoZero"/>
        <c:auto val="1"/>
        <c:lblAlgn val="ctr"/>
        <c:lblOffset val="100"/>
        <c:noMultiLvlLbl val="0"/>
      </c:catAx>
      <c:valAx>
        <c:axId val="25458111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pt-BR"/>
          </a:p>
        </c:txPr>
        <c:crossAx val="167235627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defRPr>
          </a:pPr>
          <a:endParaRPr lang="pt-BR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Segoe UI" panose="020B0502040204020203" pitchFamily="34" charset="0"/>
          <a:cs typeface="Segoe UI" panose="020B0502040204020203" pitchFamily="34" charset="0"/>
        </a:defRPr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491839503173349E-2"/>
          <c:y val="1.7806846980747209E-4"/>
          <c:w val="0.9314848279992799"/>
          <c:h val="0.99982182346441284"/>
        </c:manualLayout>
      </c:layout>
      <c:lineChart>
        <c:grouping val="standard"/>
        <c:varyColors val="0"/>
        <c:ser>
          <c:idx val="5"/>
          <c:order val="0"/>
          <c:tx>
            <c:strRef>
              <c:f>Planilha1!$A$7</c:f>
              <c:strCache>
                <c:ptCount val="1"/>
                <c:pt idx="0">
                  <c:v>Other Groups</c:v>
                </c:pt>
              </c:strCache>
              <c:extLst xmlns:c15="http://schemas.microsoft.com/office/drawing/2012/chart"/>
            </c:strRef>
          </c:tx>
          <c:spPr>
            <a:ln w="2540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chemeClr val="tx1">
                  <a:lumMod val="50000"/>
                  <a:lumOff val="50000"/>
                </a:schemeClr>
              </a:solidFill>
              <a:ln w="25400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SegoW"/>
                    <a:ea typeface="+mn-ea"/>
                    <a:cs typeface="+mn-cs"/>
                  </a:defRPr>
                </a:pPr>
                <a:endParaRPr lang="pt-B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B$1:$J$1</c:f>
              <c:strCache>
                <c:ptCount val="9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</c:strCache>
              <c:extLst xmlns:c15="http://schemas.microsoft.com/office/drawing/2012/chart"/>
            </c:strRef>
          </c:cat>
          <c:val>
            <c:numRef>
              <c:f>Planilha1!$B$7:$J$7</c:f>
              <c:numCache>
                <c:formatCode>0%</c:formatCode>
                <c:ptCount val="9"/>
                <c:pt idx="0">
                  <c:v>0.61719999999999997</c:v>
                </c:pt>
                <c:pt idx="1">
                  <c:v>0.6159</c:v>
                </c:pt>
                <c:pt idx="2">
                  <c:v>0.58240000000000003</c:v>
                </c:pt>
                <c:pt idx="3">
                  <c:v>0.57269999999999999</c:v>
                </c:pt>
                <c:pt idx="4">
                  <c:v>0.57120000000000004</c:v>
                </c:pt>
                <c:pt idx="5">
                  <c:v>0.5756</c:v>
                </c:pt>
                <c:pt idx="6">
                  <c:v>0.56610000000000005</c:v>
                </c:pt>
                <c:pt idx="7">
                  <c:v>0.50829999999999997</c:v>
                </c:pt>
                <c:pt idx="8">
                  <c:v>0.47960000000000003</c:v>
                </c:pt>
              </c:numCache>
              <c:extLst xmlns:c15="http://schemas.microsoft.com/office/drawing/2012/chart"/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0-8B5E-4E78-BEF9-0DAF4689F7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8248184"/>
        <c:axId val="158248576"/>
        <c:extLst>
          <c:ext xmlns:c15="http://schemas.microsoft.com/office/drawing/2012/chart" uri="{02D57815-91ED-43cb-92C2-25804820EDAC}">
            <c15:filteredLineSeries>
              <c15:ser>
                <c:idx val="3"/>
                <c:order val="1"/>
                <c:tx>
                  <c:strRef>
                    <c:extLst>
                      <c:ext uri="{02D57815-91ED-43cb-92C2-25804820EDAC}">
                        <c15:formulaRef>
                          <c15:sqref>Planilha1!$A$4</c15:sqref>
                        </c15:formulaRef>
                      </c:ext>
                    </c:extLst>
                    <c:strCache>
                      <c:ptCount val="1"/>
                      <c:pt idx="0">
                        <c:v>Intercity</c:v>
                      </c:pt>
                    </c:strCache>
                  </c:strRef>
                </c:tx>
                <c:spPr>
                  <a:ln w="25400" cap="rnd">
                    <a:solidFill>
                      <a:srgbClr val="ED7D31"/>
                    </a:solidFill>
                    <a:round/>
                  </a:ln>
                  <a:effectLst/>
                </c:spPr>
                <c:marker>
                  <c:symbol val="circle"/>
                  <c:size val="6"/>
                  <c:spPr>
                    <a:solidFill>
                      <a:schemeClr val="bg1"/>
                    </a:solidFill>
                    <a:ln w="25400">
                      <a:solidFill>
                        <a:srgbClr val="ED7D31"/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2.7006063922076978E-2"/>
                        <c:y val="1.3219880324933104E-3"/>
                      </c:manualLayout>
                    </c:layout>
                    <c:dLblPos val="r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1-8B5E-4E78-BEF9-0DAF4689F760}"/>
                      </c:ext>
                    </c:extLst>
                  </c:dLbl>
                  <c:dLbl>
                    <c:idx val="1"/>
                    <c:layout>
                      <c:manualLayout>
                        <c:x val="-5.0311082681385576E-3"/>
                        <c:y val="4.0326436177564082E-2"/>
                      </c:manualLayout>
                    </c:layout>
                    <c:dLblPos val="r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2-8B5E-4E78-BEF9-0DAF4689F760}"/>
                      </c:ext>
                    </c:extLst>
                  </c:dLbl>
                  <c:dLbl>
                    <c:idx val="2"/>
                    <c:layout>
                      <c:manualLayout>
                        <c:x val="-1.561378428042994E-3"/>
                        <c:y val="3.599260860588957E-2"/>
                      </c:manualLayout>
                    </c:layout>
                    <c:dLblPos val="r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3-8B5E-4E78-BEF9-0DAF4689F760}"/>
                      </c:ext>
                    </c:extLst>
                  </c:dLbl>
                  <c:dLbl>
                    <c:idx val="3"/>
                    <c:layout>
                      <c:manualLayout>
                        <c:x val="-1.7753451015155568E-2"/>
                        <c:y val="2.7324953462540543E-2"/>
                      </c:manualLayout>
                    </c:layout>
                    <c:dLblPos val="r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4-8B5E-4E78-BEF9-0DAF4689F760}"/>
                      </c:ext>
                    </c:extLst>
                  </c:dLbl>
                  <c:dLbl>
                    <c:idx val="4"/>
                    <c:layout>
                      <c:manualLayout>
                        <c:x val="-1.7753451015155609E-2"/>
                        <c:y val="4.0326436177563922E-2"/>
                      </c:manualLayout>
                    </c:layout>
                    <c:dLblPos val="r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5-8B5E-4E78-BEF9-0DAF4689F760}"/>
                      </c:ext>
                    </c:extLst>
                  </c:dLbl>
                  <c:dLbl>
                    <c:idx val="5"/>
                    <c:layout>
                      <c:manualLayout>
                        <c:x val="-1.7753451015155609E-2"/>
                        <c:y val="4.4660263749238593E-2"/>
                      </c:manualLayout>
                    </c:layout>
                    <c:dLblPos val="r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6-8B5E-4E78-BEF9-0DAF4689F760}"/>
                      </c:ext>
                    </c:extLst>
                  </c:dLbl>
                  <c:dLbl>
                    <c:idx val="6"/>
                    <c:layout>
                      <c:manualLayout>
                        <c:x val="-1.6596874401790515E-2"/>
                        <c:y val="4.0326436177564082E-2"/>
                      </c:manualLayout>
                    </c:layout>
                    <c:dLblPos val="r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7-8B5E-4E78-BEF9-0DAF4689F760}"/>
                      </c:ext>
                    </c:extLst>
                  </c:dLbl>
                  <c:dLbl>
                    <c:idx val="7"/>
                    <c:layout>
                      <c:manualLayout>
                        <c:x val="-1.6596874401790345E-2"/>
                        <c:y val="3.599260860588957E-2"/>
                      </c:manualLayout>
                    </c:layout>
                    <c:dLblPos val="r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8-8B5E-4E78-BEF9-0DAF4689F760}"/>
                      </c:ext>
                    </c:extLst>
                  </c:dLbl>
                  <c:dLbl>
                    <c:idx val="8"/>
                    <c:layout>
                      <c:manualLayout>
                        <c:x val="-1.8910027628520707E-2"/>
                        <c:y val="4.8994091320913105E-2"/>
                      </c:manualLayout>
                    </c:layout>
                    <c:dLblPos val="r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9-8B5E-4E78-BEF9-0DAF4689F760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000" b="1" i="0" u="none" strike="noStrike" kern="1200" baseline="0">
                          <a:solidFill>
                            <a:srgbClr val="ED7D3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defRPr>
                      </a:pPr>
                      <a:endParaRPr lang="pt-BR"/>
                    </a:p>
                  </c:txPr>
                  <c:dLblPos val="b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0"/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Planilha1!$B$1:$J$1</c15:sqref>
                        </c15:formulaRef>
                      </c:ext>
                    </c:extLst>
                    <c:strCache>
                      <c:ptCount val="9"/>
                      <c:pt idx="0">
                        <c:v>2011</c:v>
                      </c:pt>
                      <c:pt idx="1">
                        <c:v>2012</c:v>
                      </c:pt>
                      <c:pt idx="2">
                        <c:v>2013</c:v>
                      </c:pt>
                      <c:pt idx="3">
                        <c:v>2014</c:v>
                      </c:pt>
                      <c:pt idx="4">
                        <c:v>2015</c:v>
                      </c:pt>
                      <c:pt idx="5">
                        <c:v>2016</c:v>
                      </c:pt>
                      <c:pt idx="6">
                        <c:v>2017</c:v>
                      </c:pt>
                      <c:pt idx="7">
                        <c:v>2018</c:v>
                      </c:pt>
                      <c:pt idx="8">
                        <c:v>2019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Planilha1!$B$4:$J$4</c15:sqref>
                        </c15:formulaRef>
                      </c:ext>
                    </c:extLst>
                    <c:numCache>
                      <c:formatCode>0%</c:formatCode>
                      <c:ptCount val="9"/>
                      <c:pt idx="0">
                        <c:v>1.9800000000000002E-2</c:v>
                      </c:pt>
                      <c:pt idx="1">
                        <c:v>2.06E-2</c:v>
                      </c:pt>
                      <c:pt idx="2">
                        <c:v>2.1000000000000001E-2</c:v>
                      </c:pt>
                      <c:pt idx="3">
                        <c:v>2.2700000000000001E-2</c:v>
                      </c:pt>
                      <c:pt idx="4">
                        <c:v>2.6800000000000001E-2</c:v>
                      </c:pt>
                      <c:pt idx="5">
                        <c:v>3.1099999999999999E-2</c:v>
                      </c:pt>
                      <c:pt idx="6">
                        <c:v>3.3599999999999998E-2</c:v>
                      </c:pt>
                      <c:pt idx="7">
                        <c:v>2.8899999999999999E-2</c:v>
                      </c:pt>
                      <c:pt idx="8">
                        <c:v>3.1099999999999999E-2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A-8B5E-4E78-BEF9-0DAF4689F760}"/>
                  </c:ext>
                </c:extLst>
              </c15:ser>
            </c15:filteredLineSeries>
            <c15:filteredLineSeries>
              <c15:ser>
                <c:idx val="0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Planilha1!$A$6</c15:sqref>
                        </c15:formulaRef>
                      </c:ext>
                    </c:extLst>
                    <c:strCache>
                      <c:ptCount val="1"/>
                      <c:pt idx="0">
                        <c:v>Nacional Inn</c:v>
                      </c:pt>
                    </c:strCache>
                  </c:strRef>
                </c:tx>
                <c:spPr>
                  <a:ln w="25400" cap="rnd">
                    <a:solidFill>
                      <a:schemeClr val="accent6"/>
                    </a:solidFill>
                    <a:round/>
                  </a:ln>
                  <a:effectLst/>
                </c:spPr>
                <c:marker>
                  <c:symbol val="circle"/>
                  <c:size val="6"/>
                  <c:spPr>
                    <a:solidFill>
                      <a:schemeClr val="bg1"/>
                    </a:solidFill>
                    <a:ln w="25400">
                      <a:solidFill>
                        <a:schemeClr val="accent6"/>
                      </a:solidFill>
                    </a:ln>
                    <a:effectLst/>
                  </c:spPr>
                </c:marker>
                <c:dLbls>
                  <c:dLbl>
                    <c:idx val="2"/>
                    <c:layout>
                      <c:manualLayout>
                        <c:x val="-1.6596874401790345E-2"/>
                        <c:y val="-5.7661405217996647E-2"/>
                      </c:manualLayout>
                    </c:layout>
                    <c:dLblPos val="r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0B-8B5E-4E78-BEF9-0DAF4689F760}"/>
                      </c:ext>
                    </c:extLst>
                  </c:dLbl>
                  <c:dLbl>
                    <c:idx val="5"/>
                    <c:layout>
                      <c:manualLayout>
                        <c:x val="-1.6596874401790345E-2"/>
                        <c:y val="-4.4659922502973105E-2"/>
                      </c:manualLayout>
                    </c:layout>
                    <c:dLblPos val="r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0C-8B5E-4E78-BEF9-0DAF4689F760}"/>
                      </c:ext>
                    </c:extLst>
                  </c:dLbl>
                  <c:dLbl>
                    <c:idx val="7"/>
                    <c:layout>
                      <c:manualLayout>
                        <c:x val="-1.7753451015155526E-2"/>
                        <c:y val="-4.0326094931298594E-2"/>
                      </c:manualLayout>
                    </c:layout>
                    <c:dLblPos val="r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0D-8B5E-4E78-BEF9-0DAF4689F760}"/>
                      </c:ext>
                    </c:extLst>
                  </c:dLbl>
                  <c:dLbl>
                    <c:idx val="8"/>
                    <c:layout>
                      <c:manualLayout>
                        <c:x val="-1.7753451015155526E-2"/>
                        <c:y val="-3.165843978794957E-2"/>
                      </c:manualLayout>
                    </c:layout>
                    <c:dLblPos val="r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0E-8B5E-4E78-BEF9-0DAF4689F760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000" b="1" i="0" u="none" strike="noStrike" kern="1200" baseline="0">
                          <a:solidFill>
                            <a:schemeClr val="accent6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defRPr>
                      </a:pPr>
                      <a:endParaRPr lang="pt-BR"/>
                    </a:p>
                  </c:txPr>
                  <c:dLblPos val="t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0"/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Planilha1!$B$1:$J$1</c15:sqref>
                        </c15:formulaRef>
                      </c:ext>
                    </c:extLst>
                    <c:strCache>
                      <c:ptCount val="9"/>
                      <c:pt idx="0">
                        <c:v>2011</c:v>
                      </c:pt>
                      <c:pt idx="1">
                        <c:v>2012</c:v>
                      </c:pt>
                      <c:pt idx="2">
                        <c:v>2013</c:v>
                      </c:pt>
                      <c:pt idx="3">
                        <c:v>2014</c:v>
                      </c:pt>
                      <c:pt idx="4">
                        <c:v>2015</c:v>
                      </c:pt>
                      <c:pt idx="5">
                        <c:v>2016</c:v>
                      </c:pt>
                      <c:pt idx="6">
                        <c:v>2017</c:v>
                      </c:pt>
                      <c:pt idx="7">
                        <c:v>2018</c:v>
                      </c:pt>
                      <c:pt idx="8">
                        <c:v>2019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Planilha1!$B$6:$J$6</c15:sqref>
                        </c15:formulaRef>
                      </c:ext>
                    </c:extLst>
                    <c:numCache>
                      <c:formatCode>0%</c:formatCode>
                      <c:ptCount val="9"/>
                      <c:pt idx="0">
                        <c:v>3.5000000000000003E-2</c:v>
                      </c:pt>
                      <c:pt idx="1">
                        <c:v>3.49E-2</c:v>
                      </c:pt>
                      <c:pt idx="2">
                        <c:v>3.6999999999999998E-2</c:v>
                      </c:pt>
                      <c:pt idx="3">
                        <c:v>3.5099999999999999E-2</c:v>
                      </c:pt>
                      <c:pt idx="4">
                        <c:v>3.6700000000000003E-2</c:v>
                      </c:pt>
                      <c:pt idx="5">
                        <c:v>3.5499999999999997E-2</c:v>
                      </c:pt>
                      <c:pt idx="6">
                        <c:v>3.56E-2</c:v>
                      </c:pt>
                      <c:pt idx="7">
                        <c:v>3.5099999999999999E-2</c:v>
                      </c:pt>
                      <c:pt idx="8">
                        <c:v>3.6999999999999998E-2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F-8B5E-4E78-BEF9-0DAF4689F760}"/>
                  </c:ext>
                </c:extLst>
              </c15:ser>
            </c15:filteredLineSeries>
            <c15:filteredLineSeries>
              <c15:ser>
                <c:idx val="1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Planilha1!$A$5</c15:sqref>
                        </c15:formulaRef>
                      </c:ext>
                    </c:extLst>
                    <c:strCache>
                      <c:ptCount val="1"/>
                      <c:pt idx="0">
                        <c:v>Nobile</c:v>
                      </c:pt>
                    </c:strCache>
                  </c:strRef>
                </c:tx>
                <c:spPr>
                  <a:ln w="25400" cap="rnd">
                    <a:solidFill>
                      <a:srgbClr val="314C90"/>
                    </a:solidFill>
                    <a:round/>
                  </a:ln>
                  <a:effectLst/>
                </c:spPr>
                <c:marker>
                  <c:symbol val="circle"/>
                  <c:size val="6"/>
                  <c:spPr>
                    <a:solidFill>
                      <a:schemeClr val="bg1"/>
                    </a:solidFill>
                    <a:ln w="25400">
                      <a:solidFill>
                        <a:srgbClr val="314C90"/>
                      </a:solidFill>
                    </a:ln>
                    <a:effectLst/>
                  </c:spPr>
                </c:marker>
                <c:dLbls>
                  <c:dLbl>
                    <c:idx val="0"/>
                    <c:layout>
                      <c:manualLayout>
                        <c:x val="-2.4496292671074529E-2"/>
                        <c:y val="3.9375382835654095E-2"/>
                      </c:manualLayout>
                    </c:layout>
                    <c:dLblPos val="r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10-8B5E-4E78-BEF9-0DAF4689F760}"/>
                      </c:ext>
                    </c:extLst>
                  </c:dLbl>
                  <c:dLbl>
                    <c:idx val="1"/>
                    <c:layout>
                      <c:manualLayout>
                        <c:x val="-1.9869986217613805E-2"/>
                        <c:y val="3.0995301942567569E-2"/>
                      </c:manualLayout>
                    </c:layout>
                    <c:dLblPos val="r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11-8B5E-4E78-BEF9-0DAF4689F760}"/>
                      </c:ext>
                    </c:extLst>
                  </c:dLbl>
                  <c:dLbl>
                    <c:idx val="2"/>
                    <c:layout>
                      <c:manualLayout>
                        <c:x val="-1.9869986217613805E-2"/>
                        <c:y val="3.5616896467589282E-2"/>
                      </c:manualLayout>
                    </c:layout>
                    <c:dLblPos val="r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12-8B5E-4E78-BEF9-0DAF4689F760}"/>
                      </c:ext>
                    </c:extLst>
                  </c:dLbl>
                  <c:dLbl>
                    <c:idx val="3"/>
                    <c:layout>
                      <c:manualLayout>
                        <c:x val="-1.7753451015155568E-2"/>
                        <c:y val="-7.9330543076369123E-2"/>
                      </c:manualLayout>
                    </c:layout>
                    <c:dLblPos val="r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13-8B5E-4E78-BEF9-0DAF4689F760}"/>
                      </c:ext>
                    </c:extLst>
                  </c:dLbl>
                  <c:dLbl>
                    <c:idx val="4"/>
                    <c:layout>
                      <c:manualLayout>
                        <c:x val="-1.7753451015155609E-2"/>
                        <c:y val="-7.4996715504694694E-2"/>
                      </c:manualLayout>
                    </c:layout>
                    <c:dLblPos val="r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14-8B5E-4E78-BEF9-0DAF4689F760}"/>
                      </c:ext>
                    </c:extLst>
                  </c:dLbl>
                  <c:dLbl>
                    <c:idx val="5"/>
                    <c:layout>
                      <c:manualLayout>
                        <c:x val="-1.7753451015155609E-2"/>
                        <c:y val="-9.2332025791392824E-2"/>
                      </c:manualLayout>
                    </c:layout>
                    <c:dLblPos val="r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15-8B5E-4E78-BEF9-0DAF4689F760}"/>
                      </c:ext>
                    </c:extLst>
                  </c:dLbl>
                  <c:dLbl>
                    <c:idx val="6"/>
                    <c:layout>
                      <c:manualLayout>
                        <c:x val="-1.7753451015155526E-2"/>
                        <c:y val="-6.6329060361345671E-2"/>
                      </c:manualLayout>
                    </c:layout>
                    <c:dLblPos val="r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16-8B5E-4E78-BEF9-0DAF4689F760}"/>
                      </c:ext>
                    </c:extLst>
                  </c:dLbl>
                  <c:dLbl>
                    <c:idx val="7"/>
                    <c:layout>
                      <c:manualLayout>
                        <c:x val="-1.7556832990883443E-2"/>
                        <c:y val="-4.4424355996621701E-2"/>
                      </c:manualLayout>
                    </c:layout>
                    <c:dLblPos val="r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17-8B5E-4E78-BEF9-0DAF4689F760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000" b="1" i="0" u="none" strike="noStrike" kern="1200" baseline="0">
                          <a:solidFill>
                            <a:srgbClr val="314C90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defRPr>
                      </a:pPr>
                      <a:endParaRPr lang="pt-BR"/>
                    </a:p>
                  </c:txPr>
                  <c:dLblPos val="t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0"/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Planilha1!$B$1:$J$1</c15:sqref>
                        </c15:formulaRef>
                      </c:ext>
                    </c:extLst>
                    <c:strCache>
                      <c:ptCount val="9"/>
                      <c:pt idx="0">
                        <c:v>2011</c:v>
                      </c:pt>
                      <c:pt idx="1">
                        <c:v>2012</c:v>
                      </c:pt>
                      <c:pt idx="2">
                        <c:v>2013</c:v>
                      </c:pt>
                      <c:pt idx="3">
                        <c:v>2014</c:v>
                      </c:pt>
                      <c:pt idx="4">
                        <c:v>2015</c:v>
                      </c:pt>
                      <c:pt idx="5">
                        <c:v>2016</c:v>
                      </c:pt>
                      <c:pt idx="6">
                        <c:v>2017</c:v>
                      </c:pt>
                      <c:pt idx="7">
                        <c:v>2018</c:v>
                      </c:pt>
                      <c:pt idx="8">
                        <c:v>2019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Planilha1!$B$5:$J$5</c15:sqref>
                        </c15:formulaRef>
                      </c:ext>
                    </c:extLst>
                    <c:numCache>
                      <c:formatCode>0%</c:formatCode>
                      <c:ptCount val="9"/>
                      <c:pt idx="0">
                        <c:v>1.66E-2</c:v>
                      </c:pt>
                      <c:pt idx="1">
                        <c:v>1.46E-2</c:v>
                      </c:pt>
                      <c:pt idx="2">
                        <c:v>1.6799999999999999E-2</c:v>
                      </c:pt>
                      <c:pt idx="3">
                        <c:v>4.2700000000000002E-2</c:v>
                      </c:pt>
                      <c:pt idx="4">
                        <c:v>4.1599999999999998E-2</c:v>
                      </c:pt>
                      <c:pt idx="5">
                        <c:v>3.5000000000000003E-2</c:v>
                      </c:pt>
                      <c:pt idx="6">
                        <c:v>4.6199999999999998E-2</c:v>
                      </c:pt>
                      <c:pt idx="7">
                        <c:v>6.7199999999999996E-2</c:v>
                      </c:pt>
                      <c:pt idx="8">
                        <c:v>6.5000000000000002E-2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8-8B5E-4E78-BEF9-0DAF4689F760}"/>
                  </c:ext>
                </c:extLst>
              </c15:ser>
            </c15:filteredLineSeries>
            <c15:filteredLineSeries>
              <c15:ser>
                <c:idx val="2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Planilha1!$A$3</c15:sqref>
                        </c15:formulaRef>
                      </c:ext>
                    </c:extLst>
                    <c:strCache>
                      <c:ptCount val="1"/>
                      <c:pt idx="0">
                        <c:v>Atlantica</c:v>
                      </c:pt>
                    </c:strCache>
                  </c:strRef>
                </c:tx>
                <c:spPr>
                  <a:ln w="25400" cap="rnd">
                    <a:solidFill>
                      <a:srgbClr val="641F45"/>
                    </a:solidFill>
                    <a:round/>
                  </a:ln>
                  <a:effectLst/>
                </c:spPr>
                <c:marker>
                  <c:symbol val="circle"/>
                  <c:size val="6"/>
                  <c:spPr>
                    <a:solidFill>
                      <a:schemeClr val="bg1"/>
                    </a:solidFill>
                    <a:ln w="25400">
                      <a:solidFill>
                        <a:srgbClr val="641F45"/>
                      </a:solidFill>
                    </a:ln>
                    <a:effectLst/>
                  </c:spPr>
                </c:marker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000" b="1" i="0" u="none" strike="noStrike" kern="1200" baseline="0">
                          <a:solidFill>
                            <a:srgbClr val="641F45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defRPr>
                      </a:pPr>
                      <a:endParaRPr lang="pt-BR"/>
                    </a:p>
                  </c:txPr>
                  <c:dLblPos val="t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Planilha1!$B$1:$J$1</c15:sqref>
                        </c15:formulaRef>
                      </c:ext>
                    </c:extLst>
                    <c:strCache>
                      <c:ptCount val="9"/>
                      <c:pt idx="0">
                        <c:v>2011</c:v>
                      </c:pt>
                      <c:pt idx="1">
                        <c:v>2012</c:v>
                      </c:pt>
                      <c:pt idx="2">
                        <c:v>2013</c:v>
                      </c:pt>
                      <c:pt idx="3">
                        <c:v>2014</c:v>
                      </c:pt>
                      <c:pt idx="4">
                        <c:v>2015</c:v>
                      </c:pt>
                      <c:pt idx="5">
                        <c:v>2016</c:v>
                      </c:pt>
                      <c:pt idx="6">
                        <c:v>2017</c:v>
                      </c:pt>
                      <c:pt idx="7">
                        <c:v>2018</c:v>
                      </c:pt>
                      <c:pt idx="8">
                        <c:v>2019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Planilha1!$B$3:$J$3</c15:sqref>
                        </c15:formulaRef>
                      </c:ext>
                    </c:extLst>
                    <c:numCache>
                      <c:formatCode>0%</c:formatCode>
                      <c:ptCount val="9"/>
                      <c:pt idx="0">
                        <c:v>0.11310000000000001</c:v>
                      </c:pt>
                      <c:pt idx="1">
                        <c:v>0.1086</c:v>
                      </c:pt>
                      <c:pt idx="2">
                        <c:v>0.1067</c:v>
                      </c:pt>
                      <c:pt idx="3">
                        <c:v>0.1056</c:v>
                      </c:pt>
                      <c:pt idx="4">
                        <c:v>9.4200000000000006E-2</c:v>
                      </c:pt>
                      <c:pt idx="5">
                        <c:v>9.4399999999999998E-2</c:v>
                      </c:pt>
                      <c:pt idx="6">
                        <c:v>9.1899999999999996E-2</c:v>
                      </c:pt>
                      <c:pt idx="7">
                        <c:v>9.8599999999999993E-2</c:v>
                      </c:pt>
                      <c:pt idx="8">
                        <c:v>0.1268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9-8B5E-4E78-BEF9-0DAF4689F760}"/>
                  </c:ext>
                </c:extLst>
              </c15:ser>
            </c15:filteredLineSeries>
            <c15:filteredLineSeries>
              <c15:ser>
                <c:idx val="4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Planilha1!$A$2</c15:sqref>
                        </c15:formulaRef>
                      </c:ext>
                    </c:extLst>
                    <c:strCache>
                      <c:ptCount val="1"/>
                      <c:pt idx="0">
                        <c:v>Accor</c:v>
                      </c:pt>
                    </c:strCache>
                  </c:strRef>
                </c:tx>
                <c:spPr>
                  <a:ln w="25400" cap="rnd">
                    <a:solidFill>
                      <a:srgbClr val="002060"/>
                    </a:solidFill>
                    <a:round/>
                  </a:ln>
                  <a:effectLst/>
                </c:spPr>
                <c:marker>
                  <c:symbol val="circle"/>
                  <c:size val="6"/>
                  <c:spPr>
                    <a:solidFill>
                      <a:schemeClr val="bg1"/>
                    </a:solidFill>
                    <a:ln w="25400">
                      <a:solidFill>
                        <a:srgbClr val="002060"/>
                      </a:solidFill>
                    </a:ln>
                    <a:effectLst/>
                  </c:spPr>
                </c:marker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050" b="1" i="0" u="none" strike="noStrike" kern="1200" baseline="0">
                          <a:solidFill>
                            <a:srgbClr val="002060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defRPr>
                      </a:pPr>
                      <a:endParaRPr lang="pt-BR"/>
                    </a:p>
                  </c:txPr>
                  <c:dLblPos val="t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Planilha1!$B$1:$J$1</c15:sqref>
                        </c15:formulaRef>
                      </c:ext>
                    </c:extLst>
                    <c:strCache>
                      <c:ptCount val="9"/>
                      <c:pt idx="0">
                        <c:v>2011</c:v>
                      </c:pt>
                      <c:pt idx="1">
                        <c:v>2012</c:v>
                      </c:pt>
                      <c:pt idx="2">
                        <c:v>2013</c:v>
                      </c:pt>
                      <c:pt idx="3">
                        <c:v>2014</c:v>
                      </c:pt>
                      <c:pt idx="4">
                        <c:v>2015</c:v>
                      </c:pt>
                      <c:pt idx="5">
                        <c:v>2016</c:v>
                      </c:pt>
                      <c:pt idx="6">
                        <c:v>2017</c:v>
                      </c:pt>
                      <c:pt idx="7">
                        <c:v>2018</c:v>
                      </c:pt>
                      <c:pt idx="8">
                        <c:v>2019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Planilha1!$B$2:$J$2</c15:sqref>
                        </c15:formulaRef>
                      </c:ext>
                    </c:extLst>
                    <c:numCache>
                      <c:formatCode>0%</c:formatCode>
                      <c:ptCount val="9"/>
                      <c:pt idx="0">
                        <c:v>0.1983</c:v>
                      </c:pt>
                      <c:pt idx="1">
                        <c:v>0.20549999999999999</c:v>
                      </c:pt>
                      <c:pt idx="2">
                        <c:v>0.23619999999999999</c:v>
                      </c:pt>
                      <c:pt idx="3">
                        <c:v>0.22120000000000001</c:v>
                      </c:pt>
                      <c:pt idx="4">
                        <c:v>0.22950000000000001</c:v>
                      </c:pt>
                      <c:pt idx="5">
                        <c:v>0.22839999999999999</c:v>
                      </c:pt>
                      <c:pt idx="6">
                        <c:v>0.22650000000000001</c:v>
                      </c:pt>
                      <c:pt idx="7">
                        <c:v>0.26179999999999998</c:v>
                      </c:pt>
                      <c:pt idx="8">
                        <c:v>0.26050000000000001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A-8B5E-4E78-BEF9-0DAF4689F760}"/>
                  </c:ext>
                </c:extLst>
              </c15:ser>
            </c15:filteredLineSeries>
          </c:ext>
        </c:extLst>
      </c:lineChart>
      <c:catAx>
        <c:axId val="15824818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58248576"/>
        <c:crosses val="autoZero"/>
        <c:auto val="1"/>
        <c:lblAlgn val="ctr"/>
        <c:lblOffset val="100"/>
        <c:noMultiLvlLbl val="0"/>
      </c:catAx>
      <c:valAx>
        <c:axId val="158248576"/>
        <c:scaling>
          <c:orientation val="minMax"/>
          <c:max val="1"/>
          <c:min val="0.30000000000000004"/>
        </c:scaling>
        <c:delete val="1"/>
        <c:axPos val="l"/>
        <c:numFmt formatCode="0%" sourceLinked="1"/>
        <c:majorTickMark val="out"/>
        <c:minorTickMark val="none"/>
        <c:tickLblPos val="nextTo"/>
        <c:crossAx val="1582481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491839503173349E-2"/>
          <c:y val="1.6370332693295712E-3"/>
          <c:w val="0.9314848279992799"/>
          <c:h val="0.91343943654174709"/>
        </c:manualLayout>
      </c:layout>
      <c:lineChart>
        <c:grouping val="standard"/>
        <c:varyColors val="0"/>
        <c:ser>
          <c:idx val="5"/>
          <c:order val="0"/>
          <c:tx>
            <c:strRef>
              <c:f>Planilha1!$A$7</c:f>
              <c:strCache>
                <c:ptCount val="1"/>
                <c:pt idx="0">
                  <c:v>Other Groups</c:v>
                </c:pt>
              </c:strCache>
              <c:extLst xmlns:c15="http://schemas.microsoft.com/office/drawing/2012/chart"/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B$1:$J$1</c:f>
              <c:strCache>
                <c:ptCount val="9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</c:strCache>
              <c:extLst xmlns:c15="http://schemas.microsoft.com/office/drawing/2012/chart"/>
            </c:strRef>
          </c:cat>
          <c:val>
            <c:numRef>
              <c:f>Planilha1!$B$7:$J$7</c:f>
              <c:numCache>
                <c:formatCode>0%</c:formatCode>
                <c:ptCount val="9"/>
                <c:pt idx="0">
                  <c:v>0.61719999999999997</c:v>
                </c:pt>
                <c:pt idx="1">
                  <c:v>0.6159</c:v>
                </c:pt>
                <c:pt idx="2">
                  <c:v>0.58240000000000003</c:v>
                </c:pt>
                <c:pt idx="3">
                  <c:v>0.57269999999999999</c:v>
                </c:pt>
                <c:pt idx="4">
                  <c:v>0.57120000000000004</c:v>
                </c:pt>
                <c:pt idx="5">
                  <c:v>0.5756</c:v>
                </c:pt>
                <c:pt idx="6">
                  <c:v>0.56610000000000005</c:v>
                </c:pt>
                <c:pt idx="7">
                  <c:v>0.50829999999999997</c:v>
                </c:pt>
                <c:pt idx="8">
                  <c:v>0.47960000000000003</c:v>
                </c:pt>
              </c:numCache>
              <c:extLst xmlns:c15="http://schemas.microsoft.com/office/drawing/2012/chart"/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0-19A0-4B6B-87BF-F0CA62ADCA62}"/>
            </c:ext>
          </c:extLst>
        </c:ser>
        <c:ser>
          <c:idx val="3"/>
          <c:order val="1"/>
          <c:tx>
            <c:strRef>
              <c:f>Planilha1!$A$4</c:f>
              <c:strCache>
                <c:ptCount val="1"/>
                <c:pt idx="0">
                  <c:v>Intercity</c:v>
                </c:pt>
              </c:strCache>
            </c:strRef>
          </c:tx>
          <c:spPr>
            <a:ln w="25400" cap="rnd">
              <a:solidFill>
                <a:srgbClr val="ED7D31"/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ED7D31"/>
              </a:solidFill>
              <a:ln w="25400">
                <a:solidFill>
                  <a:srgbClr val="ED7D3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5985516528909182E-2"/>
                  <c:y val="-3.6643318150024803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9A0-4B6B-87BF-F0CA62ADCA62}"/>
                </c:ext>
              </c:extLst>
            </c:dLbl>
            <c:dLbl>
              <c:idx val="1"/>
              <c:layout>
                <c:manualLayout>
                  <c:x val="-5.031069783523032E-3"/>
                  <c:y val="2.536763558331978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9A0-4B6B-87BF-F0CA62ADCA62}"/>
                </c:ext>
              </c:extLst>
            </c:dLbl>
            <c:dLbl>
              <c:idx val="2"/>
              <c:layout>
                <c:manualLayout>
                  <c:x val="-3.8062904236625169E-3"/>
                  <c:y val="2.352683201376686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9A0-4B6B-87BF-F0CA62ADCA62}"/>
                </c:ext>
              </c:extLst>
            </c:dLbl>
            <c:dLbl>
              <c:idx val="3"/>
              <c:layout>
                <c:manualLayout>
                  <c:x val="-1.7753451015155568E-2"/>
                  <c:y val="2.732495346254054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19A0-4B6B-87BF-F0CA62ADCA62}"/>
                </c:ext>
              </c:extLst>
            </c:dLbl>
            <c:dLbl>
              <c:idx val="4"/>
              <c:layout>
                <c:manualLayout>
                  <c:x val="-1.7753451015155609E-2"/>
                  <c:y val="4.032643617756392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9A0-4B6B-87BF-F0CA62ADCA62}"/>
                </c:ext>
              </c:extLst>
            </c:dLbl>
            <c:dLbl>
              <c:idx val="5"/>
              <c:layout>
                <c:manualLayout>
                  <c:x val="-1.7753451015155609E-2"/>
                  <c:y val="4.466026374923859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19A0-4B6B-87BF-F0CA62ADCA62}"/>
                </c:ext>
              </c:extLst>
            </c:dLbl>
            <c:dLbl>
              <c:idx val="6"/>
              <c:layout>
                <c:manualLayout>
                  <c:x val="-1.6596874401790515E-2"/>
                  <c:y val="4.032643617756408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19A0-4B6B-87BF-F0CA62ADCA62}"/>
                </c:ext>
              </c:extLst>
            </c:dLbl>
            <c:dLbl>
              <c:idx val="7"/>
              <c:layout>
                <c:manualLayout>
                  <c:x val="-1.6596874401790345E-2"/>
                  <c:y val="3.59926086058895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19A0-4B6B-87BF-F0CA62ADCA62}"/>
                </c:ext>
              </c:extLst>
            </c:dLbl>
            <c:dLbl>
              <c:idx val="8"/>
              <c:layout>
                <c:manualLayout>
                  <c:x val="-1.8910027628520707E-2"/>
                  <c:y val="4.899409132091310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19A0-4B6B-87BF-F0CA62ADCA6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accent2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pt-B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Planilha1!$B$1:$J$1</c:f>
              <c:strCache>
                <c:ptCount val="9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</c:strCache>
            </c:strRef>
          </c:cat>
          <c:val>
            <c:numRef>
              <c:f>Planilha1!$B$4:$J$4</c:f>
              <c:numCache>
                <c:formatCode>0%</c:formatCode>
                <c:ptCount val="9"/>
                <c:pt idx="0">
                  <c:v>1.9800000000000002E-2</c:v>
                </c:pt>
                <c:pt idx="1">
                  <c:v>2.06E-2</c:v>
                </c:pt>
                <c:pt idx="2">
                  <c:v>2.1000000000000001E-2</c:v>
                </c:pt>
                <c:pt idx="3">
                  <c:v>2.2700000000000001E-2</c:v>
                </c:pt>
                <c:pt idx="4">
                  <c:v>2.6800000000000001E-2</c:v>
                </c:pt>
                <c:pt idx="5">
                  <c:v>3.1099999999999999E-2</c:v>
                </c:pt>
                <c:pt idx="6">
                  <c:v>3.3599999999999998E-2</c:v>
                </c:pt>
                <c:pt idx="7">
                  <c:v>2.8899999999999999E-2</c:v>
                </c:pt>
                <c:pt idx="8">
                  <c:v>3.10999999999999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19A0-4B6B-87BF-F0CA62ADCA62}"/>
            </c:ext>
          </c:extLst>
        </c:ser>
        <c:ser>
          <c:idx val="0"/>
          <c:order val="2"/>
          <c:tx>
            <c:strRef>
              <c:f>Planilha1!$A$6</c:f>
              <c:strCache>
                <c:ptCount val="1"/>
                <c:pt idx="0">
                  <c:v>Nacional Inn</c:v>
                </c:pt>
              </c:strCache>
            </c:strRef>
          </c:tx>
          <c:spPr>
            <a:ln w="25400" cap="rnd">
              <a:solidFill>
                <a:srgbClr val="349937"/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349937"/>
              </a:solidFill>
              <a:ln w="25400">
                <a:solidFill>
                  <a:srgbClr val="349937"/>
                </a:solidFill>
              </a:ln>
              <a:effectLst/>
            </c:spPr>
          </c:marker>
          <c:dLbls>
            <c:dLbl>
              <c:idx val="2"/>
              <c:layout>
                <c:manualLayout>
                  <c:x val="-1.6596918112920626E-2"/>
                  <c:y val="-2.774377788958760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19A0-4B6B-87BF-F0CA62ADCA62}"/>
                </c:ext>
              </c:extLst>
            </c:dLbl>
            <c:dLbl>
              <c:idx val="5"/>
              <c:layout>
                <c:manualLayout>
                  <c:x val="-1.6596918112920626E-2"/>
                  <c:y val="-2.471470685639945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19A0-4B6B-87BF-F0CA62ADCA62}"/>
                </c:ext>
              </c:extLst>
            </c:dLbl>
            <c:dLbl>
              <c:idx val="7"/>
              <c:layout>
                <c:manualLayout>
                  <c:x val="-1.9998336675743068E-2"/>
                  <c:y val="-2.287409959734762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19A0-4B6B-87BF-F0CA62ADCA62}"/>
                </c:ext>
              </c:extLst>
            </c:dLbl>
            <c:dLbl>
              <c:idx val="8"/>
              <c:layout>
                <c:manualLayout>
                  <c:x val="-1.7753467593591376E-2"/>
                  <c:y val="-2.168583213371267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19A0-4B6B-87BF-F0CA62ADCA6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accent6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Planilha1!$B$1:$J$1</c:f>
              <c:strCache>
                <c:ptCount val="9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</c:strCache>
            </c:strRef>
          </c:cat>
          <c:val>
            <c:numRef>
              <c:f>Planilha1!$B$6:$J$6</c:f>
              <c:numCache>
                <c:formatCode>0%</c:formatCode>
                <c:ptCount val="9"/>
                <c:pt idx="0">
                  <c:v>3.5000000000000003E-2</c:v>
                </c:pt>
                <c:pt idx="1">
                  <c:v>3.49E-2</c:v>
                </c:pt>
                <c:pt idx="2">
                  <c:v>3.6999999999999998E-2</c:v>
                </c:pt>
                <c:pt idx="3">
                  <c:v>3.5099999999999999E-2</c:v>
                </c:pt>
                <c:pt idx="4">
                  <c:v>3.6700000000000003E-2</c:v>
                </c:pt>
                <c:pt idx="5">
                  <c:v>3.5499999999999997E-2</c:v>
                </c:pt>
                <c:pt idx="6">
                  <c:v>3.56E-2</c:v>
                </c:pt>
                <c:pt idx="7">
                  <c:v>3.5099999999999999E-2</c:v>
                </c:pt>
                <c:pt idx="8">
                  <c:v>3.699999999999999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F-19A0-4B6B-87BF-F0CA62ADCA62}"/>
            </c:ext>
          </c:extLst>
        </c:ser>
        <c:ser>
          <c:idx val="1"/>
          <c:order val="3"/>
          <c:tx>
            <c:strRef>
              <c:f>Planilha1!$A$5</c:f>
              <c:strCache>
                <c:ptCount val="1"/>
                <c:pt idx="0">
                  <c:v>Nobile</c:v>
                </c:pt>
              </c:strCache>
            </c:strRef>
          </c:tx>
          <c:spPr>
            <a:ln w="25400" cap="rnd">
              <a:solidFill>
                <a:srgbClr val="314C90"/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314C90"/>
              </a:solidFill>
              <a:ln w="25400">
                <a:solidFill>
                  <a:srgbClr val="314C9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5720639653349782E-2"/>
                  <c:y val="2.441651120510875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19A0-4B6B-87BF-F0CA62ADCA62}"/>
                </c:ext>
              </c:extLst>
            </c:dLbl>
            <c:dLbl>
              <c:idx val="1"/>
              <c:layout>
                <c:manualLayout>
                  <c:x val="-2.772704972676673E-2"/>
                  <c:y val="1.354326516582053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19A0-4B6B-87BF-F0CA62ADCA62}"/>
                </c:ext>
              </c:extLst>
            </c:dLbl>
            <c:dLbl>
              <c:idx val="2"/>
              <c:layout>
                <c:manualLayout>
                  <c:x val="-2.4359746103539238E-2"/>
                  <c:y val="1.816480698457058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19A0-4B6B-87BF-F0CA62ADCA62}"/>
                </c:ext>
              </c:extLst>
            </c:dLbl>
            <c:dLbl>
              <c:idx val="3"/>
              <c:layout>
                <c:manualLayout>
                  <c:x val="-1.9998336675743068E-2"/>
                  <c:y val="-4.69195839552286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19A0-4B6B-87BF-F0CA62ADCA62}"/>
                </c:ext>
              </c:extLst>
            </c:dLbl>
            <c:dLbl>
              <c:idx val="4"/>
              <c:layout>
                <c:manualLayout>
                  <c:x val="-1.7753467593591376E-2"/>
                  <c:y val="-5.006526342611687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19A0-4B6B-87BF-F0CA62ADCA62}"/>
                </c:ext>
              </c:extLst>
            </c:dLbl>
            <c:dLbl>
              <c:idx val="5"/>
              <c:layout>
                <c:manualLayout>
                  <c:x val="-1.5508598511439684E-2"/>
                  <c:y val="-4.74555116234466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19A0-4B6B-87BF-F0CA62ADCA62}"/>
                </c:ext>
              </c:extLst>
            </c:dLbl>
            <c:dLbl>
              <c:idx val="6"/>
              <c:layout>
                <c:manualLayout>
                  <c:x val="-1.8875902134667222E-2"/>
                  <c:y val="-4.139756586757177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19A0-4B6B-87BF-F0CA62ADCA62}"/>
                </c:ext>
              </c:extLst>
            </c:dLbl>
            <c:dLbl>
              <c:idx val="7"/>
              <c:layout>
                <c:manualLayout>
                  <c:x val="-1.755682059722179E-2"/>
                  <c:y val="-2.447913425498505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19A0-4B6B-87BF-F0CA62ADCA6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rgbClr val="314C90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Planilha1!$B$1:$J$1</c:f>
              <c:strCache>
                <c:ptCount val="9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</c:strCache>
            </c:strRef>
          </c:cat>
          <c:val>
            <c:numRef>
              <c:f>Planilha1!$B$5:$J$5</c:f>
              <c:numCache>
                <c:formatCode>0%</c:formatCode>
                <c:ptCount val="9"/>
                <c:pt idx="0">
                  <c:v>1.66E-2</c:v>
                </c:pt>
                <c:pt idx="1">
                  <c:v>1.46E-2</c:v>
                </c:pt>
                <c:pt idx="2">
                  <c:v>1.6799999999999999E-2</c:v>
                </c:pt>
                <c:pt idx="3">
                  <c:v>4.2700000000000002E-2</c:v>
                </c:pt>
                <c:pt idx="4">
                  <c:v>4.1599999999999998E-2</c:v>
                </c:pt>
                <c:pt idx="5">
                  <c:v>3.5000000000000003E-2</c:v>
                </c:pt>
                <c:pt idx="6">
                  <c:v>4.6199999999999998E-2</c:v>
                </c:pt>
                <c:pt idx="7">
                  <c:v>6.7199999999999996E-2</c:v>
                </c:pt>
                <c:pt idx="8">
                  <c:v>6.500000000000000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8-19A0-4B6B-87BF-F0CA62ADCA62}"/>
            </c:ext>
          </c:extLst>
        </c:ser>
        <c:ser>
          <c:idx val="2"/>
          <c:order val="4"/>
          <c:tx>
            <c:strRef>
              <c:f>Planilha1!$A$3</c:f>
              <c:strCache>
                <c:ptCount val="1"/>
                <c:pt idx="0">
                  <c:v>Atlantica</c:v>
                </c:pt>
              </c:strCache>
            </c:strRef>
          </c:tx>
          <c:spPr>
            <a:ln w="25400" cap="rnd">
              <a:solidFill>
                <a:srgbClr val="1E2736"/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263143"/>
              </a:solidFill>
              <a:ln w="25400">
                <a:solidFill>
                  <a:srgbClr val="1E2736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rgbClr val="263143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B$1:$J$1</c:f>
              <c:strCache>
                <c:ptCount val="9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</c:strCache>
            </c:strRef>
          </c:cat>
          <c:val>
            <c:numRef>
              <c:f>Planilha1!$B$3:$J$3</c:f>
              <c:numCache>
                <c:formatCode>0%</c:formatCode>
                <c:ptCount val="9"/>
                <c:pt idx="0">
                  <c:v>0.11310000000000001</c:v>
                </c:pt>
                <c:pt idx="1">
                  <c:v>0.1086</c:v>
                </c:pt>
                <c:pt idx="2">
                  <c:v>0.1067</c:v>
                </c:pt>
                <c:pt idx="3">
                  <c:v>0.1056</c:v>
                </c:pt>
                <c:pt idx="4">
                  <c:v>9.4200000000000006E-2</c:v>
                </c:pt>
                <c:pt idx="5">
                  <c:v>9.4399999999999998E-2</c:v>
                </c:pt>
                <c:pt idx="6">
                  <c:v>9.1899999999999996E-2</c:v>
                </c:pt>
                <c:pt idx="7">
                  <c:v>9.8599999999999993E-2</c:v>
                </c:pt>
                <c:pt idx="8">
                  <c:v>0.12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9-19A0-4B6B-87BF-F0CA62ADCA62}"/>
            </c:ext>
          </c:extLst>
        </c:ser>
        <c:ser>
          <c:idx val="4"/>
          <c:order val="5"/>
          <c:tx>
            <c:strRef>
              <c:f>Planilha1!$A$2</c:f>
              <c:strCache>
                <c:ptCount val="1"/>
                <c:pt idx="0">
                  <c:v>Accor</c:v>
                </c:pt>
              </c:strCache>
            </c:strRef>
          </c:tx>
          <c:spPr>
            <a:ln w="25400" cap="rnd">
              <a:solidFill>
                <a:srgbClr val="E0BE70"/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E0BE70"/>
              </a:solidFill>
              <a:ln w="25400">
                <a:solidFill>
                  <a:srgbClr val="E0BE70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rgbClr val="E0BE70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B$1:$J$1</c:f>
              <c:strCache>
                <c:ptCount val="9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</c:strCache>
            </c:strRef>
          </c:cat>
          <c:val>
            <c:numRef>
              <c:f>Planilha1!$B$2:$J$2</c:f>
              <c:numCache>
                <c:formatCode>0%</c:formatCode>
                <c:ptCount val="9"/>
                <c:pt idx="0">
                  <c:v>0.1983</c:v>
                </c:pt>
                <c:pt idx="1">
                  <c:v>0.20549999999999999</c:v>
                </c:pt>
                <c:pt idx="2">
                  <c:v>0.23619999999999999</c:v>
                </c:pt>
                <c:pt idx="3">
                  <c:v>0.22120000000000001</c:v>
                </c:pt>
                <c:pt idx="4">
                  <c:v>0.22950000000000001</c:v>
                </c:pt>
                <c:pt idx="5">
                  <c:v>0.22839999999999999</c:v>
                </c:pt>
                <c:pt idx="6">
                  <c:v>0.22650000000000001</c:v>
                </c:pt>
                <c:pt idx="7">
                  <c:v>0.26179999999999998</c:v>
                </c:pt>
                <c:pt idx="8">
                  <c:v>0.26050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A-19A0-4B6B-87BF-F0CA62ADCA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8250536"/>
        <c:axId val="156615648"/>
        <c:extLst/>
      </c:lineChart>
      <c:catAx>
        <c:axId val="1582505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pt-BR"/>
          </a:p>
        </c:txPr>
        <c:crossAx val="156615648"/>
        <c:crosses val="autoZero"/>
        <c:auto val="1"/>
        <c:lblAlgn val="ctr"/>
        <c:lblOffset val="100"/>
        <c:noMultiLvlLbl val="0"/>
      </c:catAx>
      <c:valAx>
        <c:axId val="156615648"/>
        <c:scaling>
          <c:orientation val="minMax"/>
          <c:max val="0.30000000000000004"/>
        </c:scaling>
        <c:delete val="1"/>
        <c:axPos val="l"/>
        <c:numFmt formatCode="0%" sourceLinked="1"/>
        <c:majorTickMark val="out"/>
        <c:minorTickMark val="none"/>
        <c:tickLblPos val="nextTo"/>
        <c:crossAx val="1582505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>
              <a:lumMod val="65000"/>
              <a:lumOff val="35000"/>
            </a:schemeClr>
          </a:solidFill>
        </a:defRPr>
      </a:pPr>
      <a:endParaRPr lang="pt-B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1" i="0" u="none" strike="noStrike" kern="1200" spc="0" baseline="0">
              <a:solidFill>
                <a:srgbClr val="11385A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defRPr>
          </a:pPr>
          <a:endParaRPr lang="pt-B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rgbClr val="263143"/>
            </a:solidFill>
            <a:ln>
              <a:noFill/>
            </a:ln>
            <a:effectLst/>
          </c:spPr>
          <c:invertIfNegative val="0"/>
          <c:cat>
            <c:strRef>
              <c:f>Plani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Planilha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794-474B-BBC9-B9F079AB013E}"/>
            </c:ext>
          </c:extLst>
        </c:ser>
        <c:ser>
          <c:idx val="1"/>
          <c:order val="1"/>
          <c:tx>
            <c:strRef>
              <c:f>Planilha1!$C$1</c:f>
              <c:strCache>
                <c:ptCount val="1"/>
                <c:pt idx="0">
                  <c:v>Série 2</c:v>
                </c:pt>
              </c:strCache>
            </c:strRef>
          </c:tx>
          <c:spPr>
            <a:solidFill>
              <a:srgbClr val="899DBD"/>
            </a:solidFill>
            <a:ln>
              <a:noFill/>
            </a:ln>
            <a:effectLst/>
          </c:spPr>
          <c:invertIfNegative val="0"/>
          <c:cat>
            <c:strRef>
              <c:f>Plani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Planilha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794-474B-BBC9-B9F079AB013E}"/>
            </c:ext>
          </c:extLst>
        </c:ser>
        <c:ser>
          <c:idx val="2"/>
          <c:order val="2"/>
          <c:tx>
            <c:strRef>
              <c:f>Planilha1!$D$1</c:f>
              <c:strCache>
                <c:ptCount val="1"/>
                <c:pt idx="0">
                  <c:v>Série 3</c:v>
                </c:pt>
              </c:strCache>
            </c:strRef>
          </c:tx>
          <c:spPr>
            <a:solidFill>
              <a:srgbClr val="D6D6CE"/>
            </a:solidFill>
            <a:ln>
              <a:noFill/>
            </a:ln>
            <a:effectLst/>
          </c:spPr>
          <c:invertIfNegative val="0"/>
          <c:cat>
            <c:strRef>
              <c:f>Plani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Planilha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794-474B-BBC9-B9F079AB01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002384719"/>
        <c:axId val="382411711"/>
      </c:barChart>
      <c:catAx>
        <c:axId val="200238471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pt-BR"/>
          </a:p>
        </c:txPr>
        <c:crossAx val="382411711"/>
        <c:crosses val="autoZero"/>
        <c:auto val="1"/>
        <c:lblAlgn val="ctr"/>
        <c:lblOffset val="100"/>
        <c:noMultiLvlLbl val="0"/>
      </c:catAx>
      <c:valAx>
        <c:axId val="38241171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pt-BR"/>
          </a:p>
        </c:txPr>
        <c:crossAx val="2002384719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Segoe UI" panose="020B0502040204020203" pitchFamily="34" charset="0"/>
          <a:cs typeface="Segoe UI" panose="020B0502040204020203" pitchFamily="34" charset="0"/>
        </a:defRPr>
      </a:pPr>
      <a:endParaRPr lang="pt-B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1" i="0" u="none" strike="noStrike" kern="1200" spc="0" baseline="0">
              <a:solidFill>
                <a:srgbClr val="11385A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defRPr>
          </a:pPr>
          <a:endParaRPr lang="pt-BR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Planilha1!$B$1</c:f>
              <c:strCache>
                <c:ptCount val="1"/>
                <c:pt idx="0">
                  <c:v>Vendas</c:v>
                </c:pt>
              </c:strCache>
            </c:strRef>
          </c:tx>
          <c:dPt>
            <c:idx val="0"/>
            <c:bubble3D val="0"/>
            <c:spPr>
              <a:solidFill>
                <a:srgbClr val="26314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5946-4AA0-85D8-39201729C75B}"/>
              </c:ext>
            </c:extLst>
          </c:dPt>
          <c:dPt>
            <c:idx val="1"/>
            <c:bubble3D val="0"/>
            <c:spPr>
              <a:solidFill>
                <a:srgbClr val="899DB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946-4AA0-85D8-39201729C75B}"/>
              </c:ext>
            </c:extLst>
          </c:dPt>
          <c:dPt>
            <c:idx val="2"/>
            <c:bubble3D val="0"/>
            <c:spPr>
              <a:solidFill>
                <a:srgbClr val="D6D6C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5946-4AA0-85D8-39201729C75B}"/>
              </c:ext>
            </c:extLst>
          </c:dPt>
          <c:dPt>
            <c:idx val="3"/>
            <c:bubble3D val="0"/>
            <c:spPr>
              <a:solidFill>
                <a:srgbClr val="C6D0E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946-4AA0-85D8-39201729C75B}"/>
              </c:ext>
            </c:extLst>
          </c:dPt>
          <c:cat>
            <c:strRef>
              <c:f>Planilha1!$A$2:$A$5</c:f>
              <c:strCache>
                <c:ptCount val="4"/>
                <c:pt idx="0">
                  <c:v>1º Tri</c:v>
                </c:pt>
                <c:pt idx="1">
                  <c:v>2º Tri</c:v>
                </c:pt>
                <c:pt idx="2">
                  <c:v>3º Tri</c:v>
                </c:pt>
                <c:pt idx="3">
                  <c:v>4º Tri</c:v>
                </c:pt>
              </c:strCache>
            </c:strRef>
          </c:cat>
          <c:val>
            <c:numRef>
              <c:f>Planilha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46-4AA0-85D8-39201729C7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Segoe UI" panose="020B0502040204020203" pitchFamily="34" charset="0"/>
          <a:cs typeface="Segoe UI" panose="020B0502040204020203" pitchFamily="34" charset="0"/>
        </a:defRPr>
      </a:pPr>
      <a:endParaRPr lang="pt-B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r>
              <a:rPr lang="pt-BR" b="1" dirty="0">
                <a:solidFill>
                  <a:srgbClr val="11385A"/>
                </a:solidFill>
              </a:rPr>
              <a:t>Venda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defRPr>
          </a:pPr>
          <a:endParaRPr lang="pt-BR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Planilha1!$B$1</c:f>
              <c:strCache>
                <c:ptCount val="1"/>
                <c:pt idx="0">
                  <c:v>Vendas</c:v>
                </c:pt>
              </c:strCache>
            </c:strRef>
          </c:tx>
          <c:dPt>
            <c:idx val="0"/>
            <c:bubble3D val="0"/>
            <c:spPr>
              <a:solidFill>
                <a:srgbClr val="26314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9FB9-443E-8432-097DBEDB915B}"/>
              </c:ext>
            </c:extLst>
          </c:dPt>
          <c:dPt>
            <c:idx val="1"/>
            <c:bubble3D val="0"/>
            <c:spPr>
              <a:solidFill>
                <a:srgbClr val="899DB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FB9-443E-8432-097DBEDB915B}"/>
              </c:ext>
            </c:extLst>
          </c:dPt>
          <c:dPt>
            <c:idx val="2"/>
            <c:bubble3D val="0"/>
            <c:spPr>
              <a:solidFill>
                <a:srgbClr val="D6D6C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9FB9-443E-8432-097DBEDB915B}"/>
              </c:ext>
            </c:extLst>
          </c:dPt>
          <c:dPt>
            <c:idx val="3"/>
            <c:bubble3D val="0"/>
            <c:spPr>
              <a:solidFill>
                <a:srgbClr val="C6D0E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FB9-443E-8432-097DBEDB915B}"/>
              </c:ext>
            </c:extLst>
          </c:dPt>
          <c:cat>
            <c:strRef>
              <c:f>Planilha1!$A$2:$A$5</c:f>
              <c:strCache>
                <c:ptCount val="4"/>
                <c:pt idx="0">
                  <c:v>1º Tri</c:v>
                </c:pt>
                <c:pt idx="1">
                  <c:v>2º Tri</c:v>
                </c:pt>
                <c:pt idx="2">
                  <c:v>3º Tri</c:v>
                </c:pt>
                <c:pt idx="3">
                  <c:v>4º Tri</c:v>
                </c:pt>
              </c:strCache>
            </c:strRef>
          </c:cat>
          <c:val>
            <c:numRef>
              <c:f>Planilha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FB9-443E-8432-097DBEDB91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Segoe UI" panose="020B0502040204020203" pitchFamily="34" charset="0"/>
          <a:cs typeface="Segoe UI" panose="020B0502040204020203" pitchFamily="34" charset="0"/>
        </a:defRPr>
      </a:pPr>
      <a:endParaRPr lang="pt-BR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r>
              <a:rPr lang="pt-BR" b="1" dirty="0">
                <a:solidFill>
                  <a:srgbClr val="11385A"/>
                </a:solidFill>
              </a:rPr>
              <a:t>Título do Gráfico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defRPr>
          </a:pPr>
          <a:endParaRPr lang="pt-BR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rgbClr val="263143"/>
            </a:solidFill>
            <a:ln>
              <a:noFill/>
            </a:ln>
            <a:effectLst/>
          </c:spPr>
          <c:invertIfNegative val="0"/>
          <c:cat>
            <c:strRef>
              <c:f>Plani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Planilha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96D-4B19-91FF-4790D84644CB}"/>
            </c:ext>
          </c:extLst>
        </c:ser>
        <c:ser>
          <c:idx val="1"/>
          <c:order val="1"/>
          <c:tx>
            <c:strRef>
              <c:f>Planilha1!$C$1</c:f>
              <c:strCache>
                <c:ptCount val="1"/>
                <c:pt idx="0">
                  <c:v>Série 2</c:v>
                </c:pt>
              </c:strCache>
            </c:strRef>
          </c:tx>
          <c:spPr>
            <a:solidFill>
              <a:srgbClr val="899DBD"/>
            </a:solidFill>
            <a:ln>
              <a:noFill/>
            </a:ln>
            <a:effectLst/>
          </c:spPr>
          <c:invertIfNegative val="0"/>
          <c:cat>
            <c:strRef>
              <c:f>Plani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Planilha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96D-4B19-91FF-4790D84644CB}"/>
            </c:ext>
          </c:extLst>
        </c:ser>
        <c:ser>
          <c:idx val="2"/>
          <c:order val="2"/>
          <c:tx>
            <c:strRef>
              <c:f>Planilha1!$D$1</c:f>
              <c:strCache>
                <c:ptCount val="1"/>
                <c:pt idx="0">
                  <c:v>Série 3</c:v>
                </c:pt>
              </c:strCache>
            </c:strRef>
          </c:tx>
          <c:spPr>
            <a:solidFill>
              <a:srgbClr val="D6D6CE"/>
            </a:solidFill>
            <a:ln>
              <a:noFill/>
            </a:ln>
            <a:effectLst/>
          </c:spPr>
          <c:invertIfNegative val="0"/>
          <c:cat>
            <c:strRef>
              <c:f>Plani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Planilha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96D-4B19-91FF-4790D84644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346341935"/>
        <c:axId val="476028272"/>
      </c:barChart>
      <c:catAx>
        <c:axId val="1346341935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pt-BR"/>
          </a:p>
        </c:txPr>
        <c:crossAx val="476028272"/>
        <c:crosses val="autoZero"/>
        <c:auto val="1"/>
        <c:lblAlgn val="ctr"/>
        <c:lblOffset val="100"/>
        <c:noMultiLvlLbl val="0"/>
      </c:catAx>
      <c:valAx>
        <c:axId val="4760282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pt-BR"/>
          </a:p>
        </c:txPr>
        <c:crossAx val="1346341935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Segoe UI" panose="020B0502040204020203" pitchFamily="34" charset="0"/>
          <a:cs typeface="Segoe UI" panose="020B0502040204020203" pitchFamily="34" charset="0"/>
        </a:defRPr>
      </a:pPr>
      <a:endParaRPr lang="pt-BR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r>
              <a:rPr lang="pt-BR" b="1" dirty="0">
                <a:solidFill>
                  <a:srgbClr val="11385A"/>
                </a:solidFill>
              </a:rPr>
              <a:t>Título do Gráfico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defRPr>
          </a:pPr>
          <a:endParaRPr lang="pt-BR"/>
        </a:p>
      </c:txPr>
    </c:title>
    <c:autoTitleDeleted val="0"/>
    <c:view3D>
      <c:rotX val="15"/>
      <c:rotY val="20"/>
      <c:depthPercent val="100"/>
      <c:rAngAx val="0"/>
    </c:view3D>
    <c:floor>
      <c:thickness val="0"/>
      <c:spPr>
        <a:noFill/>
        <a:ln w="9525" cap="flat" cmpd="sng" algn="ctr">
          <a:solidFill>
            <a:schemeClr val="tx1">
              <a:lumMod val="15000"/>
              <a:lumOff val="85000"/>
            </a:schemeClr>
          </a:solidFill>
          <a:round/>
        </a:ln>
        <a:effectLst/>
        <a:sp3d contourW="9525">
          <a:contourClr>
            <a:schemeClr val="tx1">
              <a:lumMod val="15000"/>
              <a:lumOff val="85000"/>
            </a:schemeClr>
          </a:contourClr>
        </a:sp3d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area3DChart>
        <c:grouping val="standar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rgbClr val="263143"/>
            </a:solidFill>
            <a:ln>
              <a:noFill/>
            </a:ln>
            <a:effectLst/>
            <a:sp3d/>
          </c:spPr>
          <c:cat>
            <c:numRef>
              <c:f>Planilha1!$A$2:$A$7</c:f>
              <c:numCache>
                <c:formatCode>m/d/yyyy</c:formatCode>
                <c:ptCount val="6"/>
                <c:pt idx="0">
                  <c:v>37261</c:v>
                </c:pt>
                <c:pt idx="1">
                  <c:v>37262</c:v>
                </c:pt>
                <c:pt idx="2">
                  <c:v>37263</c:v>
                </c:pt>
                <c:pt idx="3">
                  <c:v>37264</c:v>
                </c:pt>
                <c:pt idx="4">
                  <c:v>37265</c:v>
                </c:pt>
              </c:numCache>
            </c:numRef>
          </c:cat>
          <c:val>
            <c:numRef>
              <c:f>Planilha1!$B$2:$B$7</c:f>
              <c:numCache>
                <c:formatCode>General</c:formatCode>
                <c:ptCount val="6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C6-4E85-BDD9-F35D16D53A58}"/>
            </c:ext>
          </c:extLst>
        </c:ser>
        <c:ser>
          <c:idx val="1"/>
          <c:order val="1"/>
          <c:tx>
            <c:strRef>
              <c:f>Planilha1!$C$1</c:f>
              <c:strCache>
                <c:ptCount val="1"/>
                <c:pt idx="0">
                  <c:v>Série 2</c:v>
                </c:pt>
              </c:strCache>
            </c:strRef>
          </c:tx>
          <c:spPr>
            <a:solidFill>
              <a:srgbClr val="899DBD"/>
            </a:solidFill>
            <a:ln>
              <a:noFill/>
            </a:ln>
            <a:effectLst/>
            <a:sp3d/>
          </c:spPr>
          <c:cat>
            <c:numRef>
              <c:f>Planilha1!$A$2:$A$7</c:f>
              <c:numCache>
                <c:formatCode>m/d/yyyy</c:formatCode>
                <c:ptCount val="6"/>
                <c:pt idx="0">
                  <c:v>37261</c:v>
                </c:pt>
                <c:pt idx="1">
                  <c:v>37262</c:v>
                </c:pt>
                <c:pt idx="2">
                  <c:v>37263</c:v>
                </c:pt>
                <c:pt idx="3">
                  <c:v>37264</c:v>
                </c:pt>
                <c:pt idx="4">
                  <c:v>37265</c:v>
                </c:pt>
              </c:numCache>
            </c:numRef>
          </c:cat>
          <c:val>
            <c:numRef>
              <c:f>Planilha1!$C$2:$C$7</c:f>
              <c:numCache>
                <c:formatCode>General</c:formatCode>
                <c:ptCount val="6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AC6-4E85-BDD9-F35D16D53A58}"/>
            </c:ext>
          </c:extLst>
        </c:ser>
        <c:ser>
          <c:idx val="2"/>
          <c:order val="2"/>
          <c:tx>
            <c:strRef>
              <c:f>Planilha1!$D$1</c:f>
              <c:strCache>
                <c:ptCount val="1"/>
                <c:pt idx="0">
                  <c:v>Serie 3</c:v>
                </c:pt>
              </c:strCache>
            </c:strRef>
          </c:tx>
          <c:spPr>
            <a:solidFill>
              <a:srgbClr val="D6D6CE"/>
            </a:solidFill>
            <a:ln w="25400">
              <a:noFill/>
            </a:ln>
            <a:effectLst/>
            <a:sp3d/>
          </c:spPr>
          <c:cat>
            <c:numRef>
              <c:f>Planilha1!$A$2:$A$7</c:f>
              <c:numCache>
                <c:formatCode>m/d/yyyy</c:formatCode>
                <c:ptCount val="6"/>
                <c:pt idx="0">
                  <c:v>37261</c:v>
                </c:pt>
                <c:pt idx="1">
                  <c:v>37262</c:v>
                </c:pt>
                <c:pt idx="2">
                  <c:v>37263</c:v>
                </c:pt>
                <c:pt idx="3">
                  <c:v>37264</c:v>
                </c:pt>
                <c:pt idx="4">
                  <c:v>37265</c:v>
                </c:pt>
              </c:numCache>
            </c:numRef>
          </c:cat>
          <c:val>
            <c:numRef>
              <c:f>Planilha1!$D$2:$D$7</c:f>
              <c:numCache>
                <c:formatCode>General</c:formatCode>
                <c:ptCount val="6"/>
                <c:pt idx="0">
                  <c:v>20</c:v>
                </c:pt>
                <c:pt idx="1">
                  <c:v>20</c:v>
                </c:pt>
                <c:pt idx="2">
                  <c:v>30</c:v>
                </c:pt>
                <c:pt idx="3">
                  <c:v>25</c:v>
                </c:pt>
                <c:pt idx="4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AC6-4E85-BDD9-F35D16D53A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02368719"/>
        <c:axId val="479350288"/>
        <c:axId val="475696000"/>
      </c:area3DChart>
      <c:dateAx>
        <c:axId val="2002368719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pt-BR"/>
          </a:p>
        </c:txPr>
        <c:crossAx val="479350288"/>
        <c:crosses val="autoZero"/>
        <c:auto val="1"/>
        <c:lblOffset val="100"/>
        <c:baseTimeUnit val="days"/>
      </c:dateAx>
      <c:valAx>
        <c:axId val="4793502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pt-BR"/>
          </a:p>
        </c:txPr>
        <c:crossAx val="2002368719"/>
        <c:crosses val="autoZero"/>
        <c:crossBetween val="midCat"/>
      </c:valAx>
      <c:serAx>
        <c:axId val="475696000"/>
        <c:scaling>
          <c:orientation val="minMax"/>
        </c:scaling>
        <c:delete val="0"/>
        <c:axPos val="b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pt-BR"/>
          </a:p>
        </c:txPr>
        <c:crossAx val="479350288"/>
        <c:crosses val="autoZero"/>
      </c:ser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defRPr>
          </a:pPr>
          <a:endParaRPr lang="pt-BR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Segoe UI" panose="020B0502040204020203" pitchFamily="34" charset="0"/>
          <a:cs typeface="Segoe UI" panose="020B0502040204020203" pitchFamily="34" charset="0"/>
        </a:defRPr>
      </a:pPr>
      <a:endParaRPr lang="pt-BR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r>
              <a:rPr lang="pt-BR" b="1" dirty="0">
                <a:solidFill>
                  <a:srgbClr val="11385A"/>
                </a:solidFill>
              </a:rPr>
              <a:t>Título do Gráfico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defRPr>
          </a:pPr>
          <a:endParaRPr lang="pt-B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rgbClr val="263143"/>
            </a:solidFill>
            <a:ln>
              <a:noFill/>
            </a:ln>
            <a:effectLst/>
          </c:spPr>
          <c:invertIfNegative val="0"/>
          <c:cat>
            <c:strRef>
              <c:f>Plani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Planilha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636-4575-AD55-B61ABADB17F5}"/>
            </c:ext>
          </c:extLst>
        </c:ser>
        <c:ser>
          <c:idx val="1"/>
          <c:order val="1"/>
          <c:tx>
            <c:strRef>
              <c:f>Planilha1!$C$1</c:f>
              <c:strCache>
                <c:ptCount val="1"/>
                <c:pt idx="0">
                  <c:v>Série 2</c:v>
                </c:pt>
              </c:strCache>
            </c:strRef>
          </c:tx>
          <c:spPr>
            <a:solidFill>
              <a:srgbClr val="899DBD"/>
            </a:solidFill>
            <a:ln>
              <a:noFill/>
            </a:ln>
            <a:effectLst/>
          </c:spPr>
          <c:invertIfNegative val="0"/>
          <c:cat>
            <c:strRef>
              <c:f>Plani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Planilha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636-4575-AD55-B61ABADB17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71451984"/>
        <c:axId val="483744800"/>
      </c:barChart>
      <c:lineChart>
        <c:grouping val="standard"/>
        <c:varyColors val="0"/>
        <c:ser>
          <c:idx val="2"/>
          <c:order val="2"/>
          <c:tx>
            <c:strRef>
              <c:f>Planilha1!$D$1</c:f>
              <c:strCache>
                <c:ptCount val="1"/>
                <c:pt idx="0">
                  <c:v>Série 3</c:v>
                </c:pt>
              </c:strCache>
            </c:strRef>
          </c:tx>
          <c:spPr>
            <a:ln w="28575" cap="rnd">
              <a:solidFill>
                <a:srgbClr val="D6D6CE"/>
              </a:solidFill>
              <a:round/>
            </a:ln>
            <a:effectLst/>
          </c:spPr>
          <c:marker>
            <c:symbol val="none"/>
          </c:marker>
          <c:cat>
            <c:strRef>
              <c:f>Plani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Planilha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636-4575-AD55-B61ABADB17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78845391"/>
        <c:axId val="385494655"/>
      </c:lineChart>
      <c:catAx>
        <c:axId val="4714519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pt-BR"/>
          </a:p>
        </c:txPr>
        <c:crossAx val="483744800"/>
        <c:crosses val="autoZero"/>
        <c:auto val="1"/>
        <c:lblAlgn val="ctr"/>
        <c:lblOffset val="100"/>
        <c:noMultiLvlLbl val="0"/>
      </c:catAx>
      <c:valAx>
        <c:axId val="4837448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pt-BR"/>
          </a:p>
        </c:txPr>
        <c:crossAx val="471451984"/>
        <c:crosses val="autoZero"/>
        <c:crossBetween val="between"/>
      </c:valAx>
      <c:valAx>
        <c:axId val="385494655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pt-BR"/>
          </a:p>
        </c:txPr>
        <c:crossAx val="1878845391"/>
        <c:crosses val="max"/>
        <c:crossBetween val="between"/>
      </c:valAx>
      <c:catAx>
        <c:axId val="1878845391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85494655"/>
        <c:crosses val="autoZero"/>
        <c:auto val="1"/>
        <c:lblAlgn val="ctr"/>
        <c:lblOffset val="100"/>
        <c:noMultiLvlLbl val="0"/>
      </c:catAx>
      <c:spPr>
        <a:solidFill>
          <a:schemeClr val="bg1"/>
        </a:solidFill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Segoe UI" panose="020B0502040204020203" pitchFamily="34" charset="0"/>
          <a:cs typeface="Segoe UI" panose="020B0502040204020203" pitchFamily="34" charset="0"/>
        </a:defRPr>
      </a:pPr>
      <a:endParaRPr lang="pt-BR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Planilha1!$A$2:$A$9</cx:f>
        <cx:lvl ptCount="8">
          <cx:pt idx="0">Categoria 1</cx:pt>
          <cx:pt idx="1">Categoria 2</cx:pt>
          <cx:pt idx="2">Categoria 3</cx:pt>
          <cx:pt idx="3">Categoria 4</cx:pt>
          <cx:pt idx="4">Categoria 5</cx:pt>
          <cx:pt idx="5">Categoria 6</cx:pt>
          <cx:pt idx="6">Categoria 7</cx:pt>
          <cx:pt idx="7">Categoria 8</cx:pt>
        </cx:lvl>
      </cx:strDim>
      <cx:numDim type="val">
        <cx:f>Planilha1!$B$2:$B$9</cx:f>
        <cx:lvl ptCount="8" formatCode="Geral">
          <cx:pt idx="0">100</cx:pt>
          <cx:pt idx="1">20</cx:pt>
          <cx:pt idx="2">50</cx:pt>
          <cx:pt idx="3">-40</cx:pt>
          <cx:pt idx="4">130</cx:pt>
          <cx:pt idx="5">-60</cx:pt>
          <cx:pt idx="6">70</cx:pt>
          <cx:pt idx="7">140</cx:pt>
        </cx:lvl>
      </cx:numDim>
    </cx:data>
  </cx:chartData>
  <cx:chart>
    <cx:title pos="t" align="ctr" overlay="0">
      <cx:tx>
        <cx:txData>
          <cx:v>Título do Gráfico</cx:v>
        </cx:txData>
      </cx:tx>
      <cx:txPr>
        <a:bodyPr vertOverflow="overflow" horzOverflow="overflow" wrap="square" lIns="0" tIns="0" rIns="0" bIns="0"/>
        <a:lstStyle/>
        <a:p>
          <a:pPr algn="ctr" rtl="0">
            <a:defRPr sz="1862" b="0" i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defRPr>
          </a:pPr>
          <a:r>
            <a:rPr lang="pt-BR" b="1" dirty="0">
              <a:solidFill>
                <a:srgbClr val="11385A"/>
              </a:solidFill>
              <a:latin typeface="Segoe UI" panose="020B0502040204020203" pitchFamily="34" charset="0"/>
              <a:cs typeface="Segoe UI" panose="020B0502040204020203" pitchFamily="34" charset="0"/>
            </a:rPr>
            <a:t>Título do Gráfico</a:t>
          </a:r>
        </a:p>
      </cx:txPr>
    </cx:title>
    <cx:plotArea>
      <cx:plotAreaRegion>
        <cx:plotSurface>
          <cx:spPr>
            <a:solidFill>
              <a:schemeClr val="bg1"/>
            </a:solidFill>
          </cx:spPr>
        </cx:plotSurface>
        <cx:series layoutId="waterfall" uniqueId="{9B26E139-B33E-4827-8E89-43FD88E330B9}">
          <cx:tx>
            <cx:txData>
              <cx:f>Planilha1!$B$1</cx:f>
              <cx:v>Série1</cx:v>
            </cx:txData>
          </cx:tx>
          <cx:dataPt idx="0">
            <cx:spPr>
              <a:solidFill>
                <a:srgbClr val="D6D6CE"/>
              </a:solidFill>
            </cx:spPr>
          </cx:dataPt>
          <cx:dataPt idx="1">
            <cx:spPr>
              <a:solidFill>
                <a:srgbClr val="263143"/>
              </a:solidFill>
            </cx:spPr>
          </cx:dataPt>
          <cx:dataPt idx="2">
            <cx:spPr>
              <a:solidFill>
                <a:srgbClr val="263143"/>
              </a:solidFill>
            </cx:spPr>
          </cx:dataPt>
          <cx:dataPt idx="3">
            <cx:spPr>
              <a:solidFill>
                <a:srgbClr val="899DBD"/>
              </a:solidFill>
            </cx:spPr>
          </cx:dataPt>
          <cx:dataPt idx="4">
            <cx:spPr>
              <a:solidFill>
                <a:srgbClr val="D6D6CE"/>
              </a:solidFill>
            </cx:spPr>
          </cx:dataPt>
          <cx:dataPt idx="5">
            <cx:spPr>
              <a:solidFill>
                <a:srgbClr val="899DBD"/>
              </a:solidFill>
            </cx:spPr>
          </cx:dataPt>
          <cx:dataPt idx="6">
            <cx:spPr>
              <a:solidFill>
                <a:srgbClr val="263143"/>
              </a:solidFill>
            </cx:spPr>
          </cx:dataPt>
          <cx:dataPt idx="7">
            <cx:spPr>
              <a:solidFill>
                <a:srgbClr val="D6D6CE"/>
              </a:solidFill>
            </cx:spPr>
          </cx:dataPt>
          <cx:dataLabels pos="outEnd">
            <cx:txPr>
              <a:bodyPr vertOverflow="overflow" horzOverflow="overflow" wrap="square" lIns="0" tIns="0" rIns="0" bIns="0"/>
              <a:lstStyle/>
              <a:p>
                <a:pPr algn="ctr" rtl="0">
                  <a:defRPr sz="1197" b="0" i="0">
                    <a:solidFill>
                      <a:srgbClr val="595959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defRPr>
                </a:pPr>
                <a:endParaRPr lang="pt-BR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cx:txPr>
            <cx:visibility seriesName="0" categoryName="0" value="1"/>
          </cx:dataLabels>
          <cx:dataId val="0"/>
          <cx:layoutPr>
            <cx:subtotals>
              <cx:idx val="0"/>
              <cx:idx val="4"/>
              <cx:idx val="7"/>
            </cx:subtotals>
          </cx:layoutPr>
        </cx:series>
      </cx:plotAreaRegion>
      <cx:axis id="0">
        <cx:catScaling gapWidth="0.5"/>
        <cx:tickLabels/>
        <cx:txPr>
          <a:bodyPr vertOverflow="overflow" horzOverflow="overflow" wrap="square" lIns="0" tIns="0" rIns="0" bIns="0"/>
          <a:lstStyle/>
          <a:p>
            <a:pPr algn="ctr" rtl="0">
              <a:defRPr sz="1197" b="0" i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pPr>
            <a:endParaRPr lang="pt-BR">
              <a:latin typeface="Segoe UI" panose="020B0502040204020203" pitchFamily="34" charset="0"/>
              <a:cs typeface="Segoe UI" panose="020B0502040204020203" pitchFamily="34" charset="0"/>
            </a:endParaRPr>
          </a:p>
        </cx:txPr>
      </cx:axis>
      <cx:axis id="1">
        <cx:valScaling/>
        <cx:majorGridlines/>
        <cx:tickLabels/>
        <cx:txPr>
          <a:bodyPr vertOverflow="overflow" horzOverflow="overflow" wrap="square" lIns="0" tIns="0" rIns="0" bIns="0"/>
          <a:lstStyle/>
          <a:p>
            <a:pPr algn="ctr" rtl="0">
              <a:defRPr sz="1197" b="0" i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pPr>
            <a:endParaRPr lang="pt-BR">
              <a:latin typeface="Segoe UI" panose="020B0502040204020203" pitchFamily="34" charset="0"/>
              <a:cs typeface="Segoe UI" panose="020B0502040204020203" pitchFamily="34" charset="0"/>
            </a:endParaRPr>
          </a:p>
        </cx:txPr>
      </cx:axis>
    </cx:plotArea>
    <cx:legend pos="t" align="ctr" overlay="0">
      <cx:txPr>
        <a:bodyPr vertOverflow="overflow" horzOverflow="overflow" wrap="square" lIns="0" tIns="0" rIns="0" bIns="0"/>
        <a:lstStyle/>
        <a:p>
          <a:pPr algn="ctr" rtl="0">
            <a:defRPr sz="1197" b="0" i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defRPr>
          </a:pPr>
          <a:endParaRPr lang="pt-BR">
            <a:latin typeface="Segoe UI" panose="020B0502040204020203" pitchFamily="34" charset="0"/>
            <a:cs typeface="Segoe UI" panose="020B0502040204020203" pitchFamily="34" charset="0"/>
          </a:endParaRPr>
        </a:p>
      </cx:txPr>
    </cx:legend>
  </cx:chart>
  <cx:fmtOvrs>
    <cx:fmtOvr idx="0">
      <cx:spPr>
        <a:solidFill>
          <a:srgbClr val="263143"/>
        </a:solidFill>
      </cx:spPr>
    </cx:fmtOvr>
    <cx:fmtOvr idx="1">
      <cx:spPr>
        <a:solidFill>
          <a:srgbClr val="899DBD"/>
        </a:solidFill>
      </cx:spPr>
    </cx:fmtOvr>
    <cx:fmtOvr idx="2">
      <cx:spPr>
        <a:solidFill>
          <a:srgbClr val="D6D6CE"/>
        </a:solidFill>
      </cx:spPr>
    </cx:fmtOvr>
  </cx:fmtOvrs>
</cx:chartSpace>
</file>

<file path=ppt/charts/chartEx2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Planilha1!$A$2:$A$6</cx:f>
        <cx:lvl ptCount="5">
          <cx:pt idx="0">Categoria 1</cx:pt>
          <cx:pt idx="1">Categoria 2</cx:pt>
          <cx:pt idx="2">Categoria 3</cx:pt>
          <cx:pt idx="3">Categoria 4</cx:pt>
          <cx:pt idx="4">Categoria 5</cx:pt>
        </cx:lvl>
      </cx:strDim>
      <cx:numDim type="val">
        <cx:f>Planilha1!$B$2:$B$6</cx:f>
        <cx:lvl ptCount="5" formatCode="Geral">
          <cx:pt idx="0">5000</cx:pt>
          <cx:pt idx="1">4000</cx:pt>
          <cx:pt idx="2">3000</cx:pt>
          <cx:pt idx="3">1000</cx:pt>
          <cx:pt idx="4">250</cx:pt>
        </cx:lvl>
      </cx:numDim>
    </cx:data>
  </cx:chartData>
  <cx:chart>
    <cx:title pos="t" align="ctr" overlay="0">
      <cx:tx>
        <cx:txData>
          <cx:v>Título do Gráfico</cx:v>
        </cx:txData>
      </cx:tx>
      <cx:txPr>
        <a:bodyPr vertOverflow="overflow" horzOverflow="overflow" wrap="square" lIns="0" tIns="0" rIns="0" bIns="0"/>
        <a:lstStyle/>
        <a:p>
          <a:pPr algn="ctr" rtl="0">
            <a:defRPr sz="1862" b="0" i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defRPr>
          </a:pPr>
          <a:r>
            <a:rPr lang="pt-BR" b="1" dirty="0">
              <a:solidFill>
                <a:srgbClr val="11385A"/>
              </a:solidFill>
              <a:latin typeface="Segoe UI" panose="020B0502040204020203" pitchFamily="34" charset="0"/>
              <a:cs typeface="Segoe UI" panose="020B0502040204020203" pitchFamily="34" charset="0"/>
            </a:rPr>
            <a:t>Título do Gráfico</a:t>
          </a:r>
        </a:p>
      </cx:txPr>
    </cx:title>
    <cx:plotArea>
      <cx:plotAreaRegion>
        <cx:series layoutId="funnel" uniqueId="{999817B0-9430-4C0F-9B9A-CD466D04BB33}">
          <cx:tx>
            <cx:txData>
              <cx:f>Planilha1!$B$1</cx:f>
              <cx:v>Série1</cx:v>
            </cx:txData>
          </cx:tx>
          <cx:spPr>
            <a:solidFill>
              <a:srgbClr val="D6D6CE"/>
            </a:solidFill>
          </cx:spPr>
          <cx:dataLabels>
            <cx:txPr>
              <a:bodyPr vertOverflow="overflow" horzOverflow="overflow" wrap="square" lIns="0" tIns="0" rIns="0" bIns="0"/>
              <a:lstStyle/>
              <a:p>
                <a:pPr algn="ctr" rtl="0">
                  <a:defRPr sz="1197" b="0" i="0">
                    <a:solidFill>
                      <a:srgbClr val="595959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defRPr>
                </a:pPr>
                <a:endParaRPr lang="pt-BR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cx:txPr>
            <cx:visibility seriesName="0" categoryName="0" value="1"/>
          </cx:dataLabels>
          <cx:dataId val="0"/>
        </cx:series>
      </cx:plotAreaRegion>
      <cx:axis id="0">
        <cx:catScaling gapWidth="0.0599999987"/>
        <cx:tickLabels/>
        <cx:txPr>
          <a:bodyPr vertOverflow="overflow" horzOverflow="overflow" wrap="square" lIns="0" tIns="0" rIns="0" bIns="0"/>
          <a:lstStyle/>
          <a:p>
            <a:pPr algn="ctr" rtl="0">
              <a:defRPr sz="1197" b="0" i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pPr>
            <a:endParaRPr lang="pt-BR">
              <a:latin typeface="Segoe UI" panose="020B0502040204020203" pitchFamily="34" charset="0"/>
              <a:cs typeface="Segoe UI" panose="020B0502040204020203" pitchFamily="34" charset="0"/>
            </a:endParaRPr>
          </a:p>
        </cx:txPr>
      </cx:axis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3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13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41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15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A4C58F-659F-4314-A36B-C1A7E47325B5}" type="datetimeFigureOut">
              <a:rPr lang="pt-BR" smtClean="0"/>
              <a:t>27/08/2021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6A950A1-A56B-453E-A67D-18A60A5A63B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799951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9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7" Type="http://schemas.openxmlformats.org/officeDocument/2006/relationships/image" Target="../media/image21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0.png"/><Relationship Id="rId5" Type="http://schemas.openxmlformats.org/officeDocument/2006/relationships/image" Target="../media/image25.svg"/><Relationship Id="rId4" Type="http://schemas.openxmlformats.org/officeDocument/2006/relationships/image" Target="../media/image24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7" Type="http://schemas.openxmlformats.org/officeDocument/2006/relationships/image" Target="../media/image21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0.png"/><Relationship Id="rId5" Type="http://schemas.openxmlformats.org/officeDocument/2006/relationships/image" Target="../media/image25.svg"/><Relationship Id="rId4" Type="http://schemas.openxmlformats.org/officeDocument/2006/relationships/image" Target="../media/image2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7" Type="http://schemas.openxmlformats.org/officeDocument/2006/relationships/image" Target="../media/image21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0.png"/><Relationship Id="rId5" Type="http://schemas.openxmlformats.org/officeDocument/2006/relationships/image" Target="../media/image25.svg"/><Relationship Id="rId4" Type="http://schemas.openxmlformats.org/officeDocument/2006/relationships/image" Target="../media/image2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7" Type="http://schemas.openxmlformats.org/officeDocument/2006/relationships/image" Target="../media/image21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0.png"/><Relationship Id="rId5" Type="http://schemas.openxmlformats.org/officeDocument/2006/relationships/image" Target="../media/image25.svg"/><Relationship Id="rId4" Type="http://schemas.openxmlformats.org/officeDocument/2006/relationships/image" Target="../media/image24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7" Type="http://schemas.openxmlformats.org/officeDocument/2006/relationships/image" Target="../media/image21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0.png"/><Relationship Id="rId5" Type="http://schemas.openxmlformats.org/officeDocument/2006/relationships/image" Target="../media/image25.svg"/><Relationship Id="rId4" Type="http://schemas.openxmlformats.org/officeDocument/2006/relationships/image" Target="../media/image24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7" Type="http://schemas.openxmlformats.org/officeDocument/2006/relationships/image" Target="../media/image21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0.png"/><Relationship Id="rId5" Type="http://schemas.openxmlformats.org/officeDocument/2006/relationships/image" Target="../media/image25.svg"/><Relationship Id="rId4" Type="http://schemas.openxmlformats.org/officeDocument/2006/relationships/image" Target="../media/image24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7" Type="http://schemas.openxmlformats.org/officeDocument/2006/relationships/image" Target="../media/image21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0.png"/><Relationship Id="rId5" Type="http://schemas.openxmlformats.org/officeDocument/2006/relationships/image" Target="../media/image25.svg"/><Relationship Id="rId4" Type="http://schemas.openxmlformats.org/officeDocument/2006/relationships/image" Target="../media/image24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7" Type="http://schemas.openxmlformats.org/officeDocument/2006/relationships/image" Target="../media/image21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0.png"/><Relationship Id="rId5" Type="http://schemas.openxmlformats.org/officeDocument/2006/relationships/image" Target="../media/image25.svg"/><Relationship Id="rId4" Type="http://schemas.openxmlformats.org/officeDocument/2006/relationships/image" Target="../media/image24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7" Type="http://schemas.openxmlformats.org/officeDocument/2006/relationships/image" Target="../media/image21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0.png"/><Relationship Id="rId5" Type="http://schemas.openxmlformats.org/officeDocument/2006/relationships/image" Target="../media/image25.svg"/><Relationship Id="rId4" Type="http://schemas.openxmlformats.org/officeDocument/2006/relationships/image" Target="../media/image24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7" Type="http://schemas.openxmlformats.org/officeDocument/2006/relationships/image" Target="../media/image21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0.png"/><Relationship Id="rId5" Type="http://schemas.openxmlformats.org/officeDocument/2006/relationships/image" Target="../media/image25.svg"/><Relationship Id="rId4" Type="http://schemas.openxmlformats.org/officeDocument/2006/relationships/image" Target="../media/image24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7" Type="http://schemas.openxmlformats.org/officeDocument/2006/relationships/image" Target="../media/image21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0.png"/><Relationship Id="rId5" Type="http://schemas.openxmlformats.org/officeDocument/2006/relationships/image" Target="../media/image25.svg"/><Relationship Id="rId4" Type="http://schemas.openxmlformats.org/officeDocument/2006/relationships/image" Target="../media/image24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7" Type="http://schemas.openxmlformats.org/officeDocument/2006/relationships/image" Target="../media/image21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0.png"/><Relationship Id="rId5" Type="http://schemas.openxmlformats.org/officeDocument/2006/relationships/image" Target="../media/image25.svg"/><Relationship Id="rId4" Type="http://schemas.openxmlformats.org/officeDocument/2006/relationships/image" Target="../media/image24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7" Type="http://schemas.openxmlformats.org/officeDocument/2006/relationships/image" Target="../media/image21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0.png"/><Relationship Id="rId5" Type="http://schemas.openxmlformats.org/officeDocument/2006/relationships/image" Target="../media/image25.svg"/><Relationship Id="rId4" Type="http://schemas.openxmlformats.org/officeDocument/2006/relationships/image" Target="../media/image24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7" Type="http://schemas.openxmlformats.org/officeDocument/2006/relationships/image" Target="../media/image21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0.png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7" Type="http://schemas.openxmlformats.org/officeDocument/2006/relationships/image" Target="../media/image21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0.png"/><Relationship Id="rId5" Type="http://schemas.openxmlformats.org/officeDocument/2006/relationships/image" Target="../media/image25.svg"/><Relationship Id="rId4" Type="http://schemas.openxmlformats.org/officeDocument/2006/relationships/image" Target="../media/image24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 descr="Fundo preto com letras brancas&#10;&#10;Descrição gerada automaticamente">
            <a:extLst>
              <a:ext uri="{FF2B5EF4-FFF2-40B4-BE49-F238E27FC236}">
                <a16:creationId xmlns:a16="http://schemas.microsoft.com/office/drawing/2014/main" id="{E74FBC3E-75CF-4C26-ABED-2CD4B7B0B0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7D671088-2F93-4C3C-ACB1-3830785CD96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165825" y="2844183"/>
            <a:ext cx="5860349" cy="1169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09742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>
            <a:extLst>
              <a:ext uri="{FF2B5EF4-FFF2-40B4-BE49-F238E27FC236}">
                <a16:creationId xmlns:a16="http://schemas.microsoft.com/office/drawing/2014/main" id="{ED289DB9-A50F-4CBD-86FB-42D5E3D643C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Espaço Reservado para Texto 8">
            <a:extLst>
              <a:ext uri="{FF2B5EF4-FFF2-40B4-BE49-F238E27FC236}">
                <a16:creationId xmlns:a16="http://schemas.microsoft.com/office/drawing/2014/main" id="{7EDF5371-5355-4609-9015-99082462AEB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72250" y="2847975"/>
            <a:ext cx="5219700" cy="5810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b="1">
                <a:solidFill>
                  <a:srgbClr val="263143"/>
                </a:solidFill>
              </a:defRPr>
            </a:lvl1pPr>
          </a:lstStyle>
          <a:p>
            <a:pPr lvl="0"/>
            <a:r>
              <a:rPr lang="pt-BR" dirty="0"/>
              <a:t>Inserir Título aqui</a:t>
            </a:r>
          </a:p>
        </p:txBody>
      </p:sp>
      <p:sp>
        <p:nvSpPr>
          <p:cNvPr id="10" name="Espaço Reservado para Texto 8">
            <a:extLst>
              <a:ext uri="{FF2B5EF4-FFF2-40B4-BE49-F238E27FC236}">
                <a16:creationId xmlns:a16="http://schemas.microsoft.com/office/drawing/2014/main" id="{18C2E2FB-F3A5-4A98-93A5-937B3758C3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72250" y="3429000"/>
            <a:ext cx="5219700" cy="581025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1800">
                <a:solidFill>
                  <a:srgbClr val="263143"/>
                </a:solidFill>
              </a:defRPr>
            </a:lvl1pPr>
          </a:lstStyle>
          <a:p>
            <a:pPr lvl="0"/>
            <a:r>
              <a:rPr lang="pt-BR" dirty="0"/>
              <a:t>Inserir Subtítulo aqui</a:t>
            </a:r>
          </a:p>
        </p:txBody>
      </p:sp>
      <p:sp>
        <p:nvSpPr>
          <p:cNvPr id="11" name="Espaço Reservado para Texto 8">
            <a:extLst>
              <a:ext uri="{FF2B5EF4-FFF2-40B4-BE49-F238E27FC236}">
                <a16:creationId xmlns:a16="http://schemas.microsoft.com/office/drawing/2014/main" id="{ACE61454-927C-40C2-B337-3C0E6F79E22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72250" y="6350843"/>
            <a:ext cx="1714500" cy="3857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>
                <a:solidFill>
                  <a:srgbClr val="263143"/>
                </a:solidFill>
              </a:defRPr>
            </a:lvl1pPr>
          </a:lstStyle>
          <a:p>
            <a:pPr lvl="0"/>
            <a:r>
              <a:rPr lang="pt-BR" dirty="0"/>
              <a:t>Mês/ano</a:t>
            </a:r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3916F404-51F6-446C-BE79-AE37A0BD05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77450" y="6350843"/>
            <a:ext cx="1714500" cy="342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99090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>
            <a:extLst>
              <a:ext uri="{FF2B5EF4-FFF2-40B4-BE49-F238E27FC236}">
                <a16:creationId xmlns:a16="http://schemas.microsoft.com/office/drawing/2014/main" id="{97E6BE13-AD5E-47CF-B210-4BCF54B6A55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Espaço Reservado para Texto 8">
            <a:extLst>
              <a:ext uri="{FF2B5EF4-FFF2-40B4-BE49-F238E27FC236}">
                <a16:creationId xmlns:a16="http://schemas.microsoft.com/office/drawing/2014/main" id="{D59BD3D7-8AF9-4C92-86A1-0F369348DDA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72250" y="2847975"/>
            <a:ext cx="5219700" cy="5810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BR" dirty="0"/>
              <a:t>Inserir Título aqui</a:t>
            </a:r>
          </a:p>
        </p:txBody>
      </p:sp>
      <p:sp>
        <p:nvSpPr>
          <p:cNvPr id="9" name="Espaço Reservado para Texto 8">
            <a:extLst>
              <a:ext uri="{FF2B5EF4-FFF2-40B4-BE49-F238E27FC236}">
                <a16:creationId xmlns:a16="http://schemas.microsoft.com/office/drawing/2014/main" id="{28A114AE-16C5-4333-B42D-E37313FDD64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72250" y="3429000"/>
            <a:ext cx="5219700" cy="581025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pt-BR" dirty="0"/>
              <a:t>Inserir Subtítulo aqui</a:t>
            </a:r>
          </a:p>
        </p:txBody>
      </p:sp>
      <p:sp>
        <p:nvSpPr>
          <p:cNvPr id="10" name="Espaço Reservado para Texto 8">
            <a:extLst>
              <a:ext uri="{FF2B5EF4-FFF2-40B4-BE49-F238E27FC236}">
                <a16:creationId xmlns:a16="http://schemas.microsoft.com/office/drawing/2014/main" id="{A441EAE6-2FAE-42F4-A5FA-9BCB5A9ECB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72250" y="6350843"/>
            <a:ext cx="1714500" cy="3857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pt-BR" dirty="0"/>
              <a:t>Mês/ano</a:t>
            </a:r>
          </a:p>
        </p:txBody>
      </p:sp>
      <p:pic>
        <p:nvPicPr>
          <p:cNvPr id="11" name="Gráfico 10">
            <a:extLst>
              <a:ext uri="{FF2B5EF4-FFF2-40B4-BE49-F238E27FC236}">
                <a16:creationId xmlns:a16="http://schemas.microsoft.com/office/drawing/2014/main" id="{28189141-EB60-4A48-BBB6-0A5FB87F75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77450" y="6350842"/>
            <a:ext cx="1714504" cy="342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06689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Sala com mesa e cadeiras&#10;&#10;Descrição gerada automaticamente">
            <a:extLst>
              <a:ext uri="{FF2B5EF4-FFF2-40B4-BE49-F238E27FC236}">
                <a16:creationId xmlns:a16="http://schemas.microsoft.com/office/drawing/2014/main" id="{01EEFF5A-1D2E-44D9-9CAE-6B7652365D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6663"/>
          <a:stretch/>
        </p:blipFill>
        <p:spPr>
          <a:xfrm>
            <a:off x="2945145" y="0"/>
            <a:ext cx="9246856" cy="6434041"/>
          </a:xfrm>
          <a:prstGeom prst="rect">
            <a:avLst/>
          </a:prstGeom>
        </p:spPr>
      </p:pic>
      <p:pic>
        <p:nvPicPr>
          <p:cNvPr id="17" name="Imagem 16" descr="Uma imagem contendo desenho, faca&#10;&#10;Descrição gerada automaticamente">
            <a:extLst>
              <a:ext uri="{FF2B5EF4-FFF2-40B4-BE49-F238E27FC236}">
                <a16:creationId xmlns:a16="http://schemas.microsoft.com/office/drawing/2014/main" id="{DB5E66D8-C008-4223-96E9-1F4C1708A0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52"/>
          <a:stretch/>
        </p:blipFill>
        <p:spPr>
          <a:xfrm>
            <a:off x="-1" y="-17126"/>
            <a:ext cx="9670211" cy="6399534"/>
          </a:xfrm>
          <a:prstGeom prst="rect">
            <a:avLst/>
          </a:prstGeom>
        </p:spPr>
      </p:pic>
      <p:sp>
        <p:nvSpPr>
          <p:cNvPr id="6" name="Retângulo 5">
            <a:extLst>
              <a:ext uri="{FF2B5EF4-FFF2-40B4-BE49-F238E27FC236}">
                <a16:creationId xmlns:a16="http://schemas.microsoft.com/office/drawing/2014/main" id="{DF2F4099-7629-4DFF-9619-DB7BEC19118A}"/>
              </a:ext>
            </a:extLst>
          </p:cNvPr>
          <p:cNvSpPr/>
          <p:nvPr userDrawn="1"/>
        </p:nvSpPr>
        <p:spPr>
          <a:xfrm>
            <a:off x="0" y="6196614"/>
            <a:ext cx="12192000" cy="661386"/>
          </a:xfrm>
          <a:prstGeom prst="rect">
            <a:avLst/>
          </a:prstGeom>
          <a:solidFill>
            <a:srgbClr val="2631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BBCCD2EE-4521-4EF2-8296-5025168BE372}"/>
              </a:ext>
            </a:extLst>
          </p:cNvPr>
          <p:cNvSpPr txBox="1"/>
          <p:nvPr userDrawn="1"/>
        </p:nvSpPr>
        <p:spPr>
          <a:xfrm>
            <a:off x="8887918" y="6418920"/>
            <a:ext cx="280878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© 2021 Atlantica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ospitality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nternational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® |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onfidential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&amp;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roprietary</a:t>
            </a:r>
            <a:endParaRPr lang="pt-BR" sz="700" dirty="0">
              <a:solidFill>
                <a:schemeClr val="bg1"/>
              </a:solidFill>
            </a:endParaRPr>
          </a:p>
        </p:txBody>
      </p:sp>
      <p:sp>
        <p:nvSpPr>
          <p:cNvPr id="20" name="Espaço Reservado para Rodapé 19">
            <a:extLst>
              <a:ext uri="{FF2B5EF4-FFF2-40B4-BE49-F238E27FC236}">
                <a16:creationId xmlns:a16="http://schemas.microsoft.com/office/drawing/2014/main" id="{BD9F2C78-C936-4E00-AE83-787458E8CAA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fld id="{DC043D3B-68EA-494F-B371-61C74477040A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4598110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Uma imagem contendo pessoa, no interior, mesa, janela&#10;&#10;Descrição gerada automaticamente">
            <a:extLst>
              <a:ext uri="{FF2B5EF4-FFF2-40B4-BE49-F238E27FC236}">
                <a16:creationId xmlns:a16="http://schemas.microsoft.com/office/drawing/2014/main" id="{7947FB27-5ACF-4B0F-9345-41825B4F08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652399B7-3E53-47A3-8CCE-E672B2A4112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6324600" cy="6858000"/>
          </a:xfrm>
          <a:prstGeom prst="rect">
            <a:avLst/>
          </a:prstGeom>
        </p:spPr>
      </p:pic>
      <p:sp>
        <p:nvSpPr>
          <p:cNvPr id="9" name="Espaço Reservado para Texto 8">
            <a:extLst>
              <a:ext uri="{FF2B5EF4-FFF2-40B4-BE49-F238E27FC236}">
                <a16:creationId xmlns:a16="http://schemas.microsoft.com/office/drawing/2014/main" id="{CFB5DE3D-C34C-4F72-8831-7F710DFABCC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04900" y="514361"/>
            <a:ext cx="4038600" cy="24574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b="1">
                <a:solidFill>
                  <a:srgbClr val="263143"/>
                </a:solidFill>
              </a:defRPr>
            </a:lvl1pPr>
          </a:lstStyle>
          <a:p>
            <a:pPr lvl="0"/>
            <a:r>
              <a:rPr lang="pt-BR" dirty="0"/>
              <a:t>Inserir Título aqui o título do slide</a:t>
            </a:r>
          </a:p>
        </p:txBody>
      </p:sp>
      <p:sp>
        <p:nvSpPr>
          <p:cNvPr id="10" name="Espaço Reservado para Texto 8">
            <a:extLst>
              <a:ext uri="{FF2B5EF4-FFF2-40B4-BE49-F238E27FC236}">
                <a16:creationId xmlns:a16="http://schemas.microsoft.com/office/drawing/2014/main" id="{916644CE-10EB-4DBD-9675-0EED5244F6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04900" y="3886201"/>
            <a:ext cx="4038600" cy="2457432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2200">
                <a:solidFill>
                  <a:srgbClr val="263143"/>
                </a:solidFill>
              </a:defRPr>
            </a:lvl1pPr>
          </a:lstStyle>
          <a:p>
            <a:pPr lvl="0"/>
            <a:r>
              <a:rPr lang="pt-BR" dirty="0"/>
              <a:t>Inserir Subtítulo aqui</a:t>
            </a:r>
          </a:p>
        </p:txBody>
      </p:sp>
      <p:cxnSp>
        <p:nvCxnSpPr>
          <p:cNvPr id="12" name="Conector reto 11">
            <a:extLst>
              <a:ext uri="{FF2B5EF4-FFF2-40B4-BE49-F238E27FC236}">
                <a16:creationId xmlns:a16="http://schemas.microsoft.com/office/drawing/2014/main" id="{D35B7114-64BA-4456-9A61-27DA7DE78E14}"/>
              </a:ext>
            </a:extLst>
          </p:cNvPr>
          <p:cNvCxnSpPr>
            <a:cxnSpLocks/>
          </p:cNvCxnSpPr>
          <p:nvPr userDrawn="1"/>
        </p:nvCxnSpPr>
        <p:spPr>
          <a:xfrm>
            <a:off x="1104900" y="3429000"/>
            <a:ext cx="5629275" cy="0"/>
          </a:xfrm>
          <a:prstGeom prst="line">
            <a:avLst/>
          </a:prstGeom>
          <a:ln w="38100">
            <a:solidFill>
              <a:srgbClr val="2631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8967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m 8" descr="Quarto com cama de casal&#10;&#10;Descrição gerada automaticamente">
            <a:extLst>
              <a:ext uri="{FF2B5EF4-FFF2-40B4-BE49-F238E27FC236}">
                <a16:creationId xmlns:a16="http://schemas.microsoft.com/office/drawing/2014/main" id="{9BFC25C7-6FD8-40B3-BFE9-5B599B9EDD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905002" y="0"/>
            <a:ext cx="10287000" cy="6858000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652399B7-3E53-47A3-8CCE-E672B2A4112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6324600" cy="6858000"/>
          </a:xfrm>
          <a:prstGeom prst="rect">
            <a:avLst/>
          </a:prstGeom>
        </p:spPr>
      </p:pic>
      <p:sp>
        <p:nvSpPr>
          <p:cNvPr id="4" name="Espaço Reservado para Texto 8">
            <a:extLst>
              <a:ext uri="{FF2B5EF4-FFF2-40B4-BE49-F238E27FC236}">
                <a16:creationId xmlns:a16="http://schemas.microsoft.com/office/drawing/2014/main" id="{802CD8F4-1A33-4498-A83A-53A78A2FCB0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04900" y="514361"/>
            <a:ext cx="4038600" cy="24574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BR" dirty="0"/>
              <a:t>Inserir Título aqui o título do slide</a:t>
            </a:r>
          </a:p>
        </p:txBody>
      </p:sp>
      <p:sp>
        <p:nvSpPr>
          <p:cNvPr id="5" name="Espaço Reservado para Texto 8">
            <a:extLst>
              <a:ext uri="{FF2B5EF4-FFF2-40B4-BE49-F238E27FC236}">
                <a16:creationId xmlns:a16="http://schemas.microsoft.com/office/drawing/2014/main" id="{21130690-EC92-40DC-9EB5-911FFDFC1A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04900" y="3886201"/>
            <a:ext cx="4038600" cy="2457432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pt-BR" dirty="0"/>
              <a:t>Inserir Subtítulo aqui</a:t>
            </a:r>
          </a:p>
        </p:txBody>
      </p:sp>
      <p:cxnSp>
        <p:nvCxnSpPr>
          <p:cNvPr id="7" name="Conector reto 6">
            <a:extLst>
              <a:ext uri="{FF2B5EF4-FFF2-40B4-BE49-F238E27FC236}">
                <a16:creationId xmlns:a16="http://schemas.microsoft.com/office/drawing/2014/main" id="{3A36EA3E-D60C-492E-9BB0-53FE1DDD9C7B}"/>
              </a:ext>
            </a:extLst>
          </p:cNvPr>
          <p:cNvCxnSpPr>
            <a:cxnSpLocks/>
          </p:cNvCxnSpPr>
          <p:nvPr userDrawn="1"/>
        </p:nvCxnSpPr>
        <p:spPr>
          <a:xfrm>
            <a:off x="1104900" y="3429000"/>
            <a:ext cx="562927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31358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Imagem 6">
            <a:extLst>
              <a:ext uri="{FF2B5EF4-FFF2-40B4-BE49-F238E27FC236}">
                <a16:creationId xmlns:a16="http://schemas.microsoft.com/office/drawing/2014/main" id="{89252025-F171-4176-B6F6-346106513FB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2000"/>
            </a:lvl1pPr>
          </a:lstStyle>
          <a:p>
            <a:endParaRPr lang="pt-BR"/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8187B932-AAAC-4B8C-B51E-B26A27E7D15F}"/>
              </a:ext>
            </a:extLst>
          </p:cNvPr>
          <p:cNvSpPr/>
          <p:nvPr userDrawn="1"/>
        </p:nvSpPr>
        <p:spPr>
          <a:xfrm>
            <a:off x="0" y="6196614"/>
            <a:ext cx="12192000" cy="661386"/>
          </a:xfrm>
          <a:prstGeom prst="rect">
            <a:avLst/>
          </a:prstGeom>
          <a:solidFill>
            <a:srgbClr val="2631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Espaço Reservado para Número de Slide 5">
            <a:extLst>
              <a:ext uri="{FF2B5EF4-FFF2-40B4-BE49-F238E27FC236}">
                <a16:creationId xmlns:a16="http://schemas.microsoft.com/office/drawing/2014/main" id="{3A0F715B-B50B-4402-B5FA-DF5BC4B7A9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54700" y="6336385"/>
            <a:ext cx="482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DC043D3B-68EA-494F-B371-61C74477040A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921CC405-0BFA-4C5A-8C4C-23E34449F128}"/>
              </a:ext>
            </a:extLst>
          </p:cNvPr>
          <p:cNvSpPr txBox="1"/>
          <p:nvPr userDrawn="1"/>
        </p:nvSpPr>
        <p:spPr>
          <a:xfrm>
            <a:off x="8887918" y="6418920"/>
            <a:ext cx="280878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© 2021 Atlantica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ospitality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nternational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® |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onfidential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&amp;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roprietary</a:t>
            </a:r>
            <a:endParaRPr lang="pt-BR" sz="700" dirty="0">
              <a:solidFill>
                <a:schemeClr val="bg1"/>
              </a:solidFill>
            </a:endParaRPr>
          </a:p>
        </p:txBody>
      </p:sp>
      <p:grpSp>
        <p:nvGrpSpPr>
          <p:cNvPr id="8" name="Agrupar 7">
            <a:extLst>
              <a:ext uri="{FF2B5EF4-FFF2-40B4-BE49-F238E27FC236}">
                <a16:creationId xmlns:a16="http://schemas.microsoft.com/office/drawing/2014/main" id="{95E44EF3-36FF-4090-ACCB-E6075E6A784A}"/>
              </a:ext>
            </a:extLst>
          </p:cNvPr>
          <p:cNvGrpSpPr/>
          <p:nvPr userDrawn="1"/>
        </p:nvGrpSpPr>
        <p:grpSpPr>
          <a:xfrm>
            <a:off x="676454" y="6359913"/>
            <a:ext cx="3598823" cy="346377"/>
            <a:chOff x="676454" y="6359913"/>
            <a:chExt cx="3598823" cy="346377"/>
          </a:xfrm>
        </p:grpSpPr>
        <p:pic>
          <p:nvPicPr>
            <p:cNvPr id="9" name="Imagem 8">
              <a:extLst>
                <a:ext uri="{FF2B5EF4-FFF2-40B4-BE49-F238E27FC236}">
                  <a16:creationId xmlns:a16="http://schemas.microsoft.com/office/drawing/2014/main" id="{375C7DB5-8B1A-47C9-8BF2-CE4791A351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76454" y="6359913"/>
              <a:ext cx="448325" cy="346377"/>
            </a:xfrm>
            <a:prstGeom prst="rect">
              <a:avLst/>
            </a:prstGeom>
          </p:spPr>
        </p:pic>
        <p:pic>
          <p:nvPicPr>
            <p:cNvPr id="13" name="Imagem 12">
              <a:extLst>
                <a:ext uri="{FF2B5EF4-FFF2-40B4-BE49-F238E27FC236}">
                  <a16:creationId xmlns:a16="http://schemas.microsoft.com/office/drawing/2014/main" id="{5763ED49-8D3B-420F-B4C3-2C3A178562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124779" y="6391807"/>
              <a:ext cx="3150498" cy="2703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826243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3BE67403-D86F-48D3-945D-0DFC95DB6F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Espaço Reservado para Imagem 6">
            <a:extLst>
              <a:ext uri="{FF2B5EF4-FFF2-40B4-BE49-F238E27FC236}">
                <a16:creationId xmlns:a16="http://schemas.microsoft.com/office/drawing/2014/main" id="{F7C19D9E-2F5A-49CC-945B-FAC25D676D4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185872"/>
          </a:xfrm>
          <a:prstGeom prst="rect">
            <a:avLst/>
          </a:prstGeom>
          <a:solidFill>
            <a:srgbClr val="D6D6CE"/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2000"/>
            </a:lvl1pPr>
          </a:lstStyle>
          <a:p>
            <a:endParaRPr lang="pt-BR"/>
          </a:p>
        </p:txBody>
      </p:sp>
      <p:sp>
        <p:nvSpPr>
          <p:cNvPr id="8" name="Espaço Reservado para Imagem 6">
            <a:extLst>
              <a:ext uri="{FF2B5EF4-FFF2-40B4-BE49-F238E27FC236}">
                <a16:creationId xmlns:a16="http://schemas.microsoft.com/office/drawing/2014/main" id="{931914D1-B9D7-4EF8-9EF7-CC94C7A96CC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482793"/>
            <a:ext cx="6096000" cy="6375208"/>
          </a:xfrm>
          <a:prstGeom prst="rect">
            <a:avLst/>
          </a:prstGeom>
          <a:solidFill>
            <a:srgbClr val="D6D6CE"/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2000"/>
            </a:lvl1pPr>
          </a:lstStyle>
          <a:p>
            <a:endParaRPr lang="pt-BR"/>
          </a:p>
        </p:txBody>
      </p:sp>
      <p:sp>
        <p:nvSpPr>
          <p:cNvPr id="19" name="Retângulo 18">
            <a:extLst>
              <a:ext uri="{FF2B5EF4-FFF2-40B4-BE49-F238E27FC236}">
                <a16:creationId xmlns:a16="http://schemas.microsoft.com/office/drawing/2014/main" id="{86C8FEF4-5253-41B3-8B37-5F8FC41C2F9B}"/>
              </a:ext>
            </a:extLst>
          </p:cNvPr>
          <p:cNvSpPr/>
          <p:nvPr userDrawn="1"/>
        </p:nvSpPr>
        <p:spPr>
          <a:xfrm>
            <a:off x="0" y="6196614"/>
            <a:ext cx="12192000" cy="661386"/>
          </a:xfrm>
          <a:prstGeom prst="rect">
            <a:avLst/>
          </a:prstGeom>
          <a:solidFill>
            <a:srgbClr val="2631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0" name="Espaço Reservado para Número de Slide 5">
            <a:extLst>
              <a:ext uri="{FF2B5EF4-FFF2-40B4-BE49-F238E27FC236}">
                <a16:creationId xmlns:a16="http://schemas.microsoft.com/office/drawing/2014/main" id="{EAE697F2-374C-4E3A-8D08-9391BEE37E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54700" y="6336385"/>
            <a:ext cx="482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DC043D3B-68EA-494F-B371-61C74477040A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87806A1A-35E9-4DE9-9BF9-812055350834}"/>
              </a:ext>
            </a:extLst>
          </p:cNvPr>
          <p:cNvSpPr txBox="1"/>
          <p:nvPr userDrawn="1"/>
        </p:nvSpPr>
        <p:spPr>
          <a:xfrm>
            <a:off x="8887918" y="6418920"/>
            <a:ext cx="280878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© 2021 Atlantica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ospitality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nternational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® |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onfidential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&amp;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roprietary</a:t>
            </a:r>
            <a:endParaRPr lang="pt-BR" sz="700" dirty="0">
              <a:solidFill>
                <a:schemeClr val="bg1"/>
              </a:solidFill>
            </a:endParaRPr>
          </a:p>
        </p:txBody>
      </p:sp>
      <p:grpSp>
        <p:nvGrpSpPr>
          <p:cNvPr id="9" name="Agrupar 8">
            <a:extLst>
              <a:ext uri="{FF2B5EF4-FFF2-40B4-BE49-F238E27FC236}">
                <a16:creationId xmlns:a16="http://schemas.microsoft.com/office/drawing/2014/main" id="{9068A291-EA22-42C3-B589-1EA01E35D720}"/>
              </a:ext>
            </a:extLst>
          </p:cNvPr>
          <p:cNvGrpSpPr/>
          <p:nvPr userDrawn="1"/>
        </p:nvGrpSpPr>
        <p:grpSpPr>
          <a:xfrm>
            <a:off x="676454" y="6359913"/>
            <a:ext cx="3598823" cy="346377"/>
            <a:chOff x="676454" y="6359913"/>
            <a:chExt cx="3598823" cy="346377"/>
          </a:xfrm>
        </p:grpSpPr>
        <p:pic>
          <p:nvPicPr>
            <p:cNvPr id="10" name="Imagem 9">
              <a:extLst>
                <a:ext uri="{FF2B5EF4-FFF2-40B4-BE49-F238E27FC236}">
                  <a16:creationId xmlns:a16="http://schemas.microsoft.com/office/drawing/2014/main" id="{2AE8F702-0413-4244-BF21-7AD602A09F6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676454" y="6359913"/>
              <a:ext cx="448325" cy="346377"/>
            </a:xfrm>
            <a:prstGeom prst="rect">
              <a:avLst/>
            </a:prstGeom>
          </p:spPr>
        </p:pic>
        <p:pic>
          <p:nvPicPr>
            <p:cNvPr id="11" name="Imagem 10">
              <a:extLst>
                <a:ext uri="{FF2B5EF4-FFF2-40B4-BE49-F238E27FC236}">
                  <a16:creationId xmlns:a16="http://schemas.microsoft.com/office/drawing/2014/main" id="{AB6FC81C-63FB-4368-A1D2-4E5AA9D3E8D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1124779" y="6391807"/>
              <a:ext cx="3150498" cy="2703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6246416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áfico 13">
            <a:extLst>
              <a:ext uri="{FF2B5EF4-FFF2-40B4-BE49-F238E27FC236}">
                <a16:creationId xmlns:a16="http://schemas.microsoft.com/office/drawing/2014/main" id="{5526FC4E-DC6E-4E58-B703-31FCE6548BE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30" y="112595"/>
            <a:ext cx="570224" cy="681306"/>
          </a:xfrm>
          <a:prstGeom prst="rect">
            <a:avLst/>
          </a:prstGeom>
        </p:spPr>
      </p:pic>
      <p:sp>
        <p:nvSpPr>
          <p:cNvPr id="17" name="Espaço Reservado para Texto 6">
            <a:extLst>
              <a:ext uri="{FF2B5EF4-FFF2-40B4-BE49-F238E27FC236}">
                <a16:creationId xmlns:a16="http://schemas.microsoft.com/office/drawing/2014/main" id="{BBAA6C01-1F33-456B-B73C-8DE04D80EE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8816" y="136525"/>
            <a:ext cx="11097884" cy="657376"/>
          </a:xfrm>
        </p:spPr>
        <p:txBody>
          <a:bodyPr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pt-BR" dirty="0"/>
              <a:t>Inserir aqui o título</a:t>
            </a:r>
            <a:br>
              <a:rPr lang="pt-BR" dirty="0"/>
            </a:br>
            <a:r>
              <a:rPr lang="pt-BR" dirty="0"/>
              <a:t>de duas linhas</a:t>
            </a:r>
          </a:p>
        </p:txBody>
      </p:sp>
      <p:sp>
        <p:nvSpPr>
          <p:cNvPr id="25" name="Espaço Reservado para Texto 10">
            <a:extLst>
              <a:ext uri="{FF2B5EF4-FFF2-40B4-BE49-F238E27FC236}">
                <a16:creationId xmlns:a16="http://schemas.microsoft.com/office/drawing/2014/main" id="{9ACB39C1-932A-49F8-88F8-19C0F3A1A74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98488" y="945910"/>
            <a:ext cx="11098212" cy="5213350"/>
          </a:xfrm>
        </p:spPr>
        <p:txBody>
          <a:bodyPr>
            <a:normAutofit/>
          </a:bodyPr>
          <a:lstStyle>
            <a:lvl1pPr>
              <a:defRPr sz="1400"/>
            </a:lvl1pPr>
            <a:lvl2pPr marL="685800" indent="-228600">
              <a:buFont typeface="Segoe UI" panose="020B0502040204020203" pitchFamily="34" charset="0"/>
              <a:buChar char="‒"/>
              <a:defRPr sz="1100"/>
            </a:lvl2pPr>
            <a:lvl3pPr marL="1143000" indent="-228600">
              <a:buFont typeface="Segoe UI" panose="020B0502040204020203" pitchFamily="34" charset="0"/>
              <a:buChar char="‒"/>
              <a:defRPr sz="1100"/>
            </a:lvl3pPr>
            <a:lvl4pPr marL="1600200" indent="-228600">
              <a:buFont typeface="Segoe UI" panose="020B0502040204020203" pitchFamily="34" charset="0"/>
              <a:buChar char="‒"/>
              <a:defRPr sz="1100"/>
            </a:lvl4pPr>
            <a:lvl5pPr marL="2057400" indent="-228600">
              <a:buFont typeface="Segoe UI" panose="020B0502040204020203" pitchFamily="34" charset="0"/>
              <a:buChar char="‒"/>
              <a:defRPr sz="1100"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9DBFEFBE-F446-4E9F-9B39-62943C44A19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60862" y="-33428"/>
            <a:ext cx="1531137" cy="808017"/>
          </a:xfrm>
          <a:prstGeom prst="rect">
            <a:avLst/>
          </a:prstGeom>
        </p:spPr>
      </p:pic>
      <p:sp>
        <p:nvSpPr>
          <p:cNvPr id="18" name="Retângulo 17">
            <a:extLst>
              <a:ext uri="{FF2B5EF4-FFF2-40B4-BE49-F238E27FC236}">
                <a16:creationId xmlns:a16="http://schemas.microsoft.com/office/drawing/2014/main" id="{636B9CA2-96D8-438B-961D-1D1D60D7F5BF}"/>
              </a:ext>
            </a:extLst>
          </p:cNvPr>
          <p:cNvSpPr/>
          <p:nvPr userDrawn="1"/>
        </p:nvSpPr>
        <p:spPr>
          <a:xfrm>
            <a:off x="0" y="6196614"/>
            <a:ext cx="12192000" cy="661386"/>
          </a:xfrm>
          <a:prstGeom prst="rect">
            <a:avLst/>
          </a:prstGeom>
          <a:solidFill>
            <a:srgbClr val="2631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9" name="Espaço Reservado para Número de Slide 5">
            <a:extLst>
              <a:ext uri="{FF2B5EF4-FFF2-40B4-BE49-F238E27FC236}">
                <a16:creationId xmlns:a16="http://schemas.microsoft.com/office/drawing/2014/main" id="{F83D53A2-9184-48CF-8257-8ABCACA287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54700" y="6336385"/>
            <a:ext cx="482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DC043D3B-68EA-494F-B371-61C74477040A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CBD3D39E-3E96-43CF-93B2-161936C3BF6B}"/>
              </a:ext>
            </a:extLst>
          </p:cNvPr>
          <p:cNvSpPr txBox="1"/>
          <p:nvPr userDrawn="1"/>
        </p:nvSpPr>
        <p:spPr>
          <a:xfrm>
            <a:off x="8887918" y="6418920"/>
            <a:ext cx="280878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© 2021 Atlantica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ospitality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nternational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® |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onfidential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&amp;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roprietary</a:t>
            </a:r>
            <a:endParaRPr lang="pt-BR" sz="700" dirty="0">
              <a:solidFill>
                <a:schemeClr val="bg1"/>
              </a:solidFill>
            </a:endParaRPr>
          </a:p>
        </p:txBody>
      </p:sp>
      <p:grpSp>
        <p:nvGrpSpPr>
          <p:cNvPr id="10" name="Agrupar 9">
            <a:extLst>
              <a:ext uri="{FF2B5EF4-FFF2-40B4-BE49-F238E27FC236}">
                <a16:creationId xmlns:a16="http://schemas.microsoft.com/office/drawing/2014/main" id="{6AF1F2F6-2BF3-4002-A192-75E13616E071}"/>
              </a:ext>
            </a:extLst>
          </p:cNvPr>
          <p:cNvGrpSpPr/>
          <p:nvPr userDrawn="1"/>
        </p:nvGrpSpPr>
        <p:grpSpPr>
          <a:xfrm>
            <a:off x="676454" y="6359913"/>
            <a:ext cx="3598823" cy="346377"/>
            <a:chOff x="676454" y="6359913"/>
            <a:chExt cx="3598823" cy="346377"/>
          </a:xfrm>
        </p:grpSpPr>
        <p:pic>
          <p:nvPicPr>
            <p:cNvPr id="11" name="Imagem 10">
              <a:extLst>
                <a:ext uri="{FF2B5EF4-FFF2-40B4-BE49-F238E27FC236}">
                  <a16:creationId xmlns:a16="http://schemas.microsoft.com/office/drawing/2014/main" id="{9B3AB69F-FA39-4C2A-B2BF-8B49C7EC573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76454" y="6359913"/>
              <a:ext cx="448325" cy="346377"/>
            </a:xfrm>
            <a:prstGeom prst="rect">
              <a:avLst/>
            </a:prstGeom>
          </p:spPr>
        </p:pic>
        <p:pic>
          <p:nvPicPr>
            <p:cNvPr id="12" name="Imagem 11">
              <a:extLst>
                <a:ext uri="{FF2B5EF4-FFF2-40B4-BE49-F238E27FC236}">
                  <a16:creationId xmlns:a16="http://schemas.microsoft.com/office/drawing/2014/main" id="{A8DE630E-EA46-4897-B410-1EEA1E9A884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1124779" y="6391807"/>
              <a:ext cx="3150498" cy="2703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686459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áfico 3">
            <a:extLst>
              <a:ext uri="{FF2B5EF4-FFF2-40B4-BE49-F238E27FC236}">
                <a16:creationId xmlns:a16="http://schemas.microsoft.com/office/drawing/2014/main" id="{8AB139A4-7AB4-4502-BDA5-7EC0952C8D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30" y="112595"/>
            <a:ext cx="570224" cy="681306"/>
          </a:xfrm>
          <a:prstGeom prst="rect">
            <a:avLst/>
          </a:prstGeom>
        </p:spPr>
      </p:pic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F0C4F1A2-C512-41E0-A24B-AFD12104AE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8816" y="136525"/>
            <a:ext cx="11097884" cy="259298"/>
          </a:xfrm>
        </p:spPr>
        <p:txBody>
          <a:bodyPr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pt-BR" dirty="0"/>
              <a:t>Inserir aqui o título</a:t>
            </a:r>
          </a:p>
        </p:txBody>
      </p:sp>
      <p:sp>
        <p:nvSpPr>
          <p:cNvPr id="16" name="Espaço Reservado para Texto 6">
            <a:extLst>
              <a:ext uri="{FF2B5EF4-FFF2-40B4-BE49-F238E27FC236}">
                <a16:creationId xmlns:a16="http://schemas.microsoft.com/office/drawing/2014/main" id="{54E15D3F-2955-4A4F-BDA5-F7B6D8AA06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8816" y="515291"/>
            <a:ext cx="11097884" cy="259298"/>
          </a:xfrm>
        </p:spPr>
        <p:txBody>
          <a:bodyPr>
            <a:noAutofit/>
          </a:bodyPr>
          <a:lstStyle>
            <a:lvl1pPr marL="0" indent="0">
              <a:buNone/>
              <a:defRPr sz="1600" b="0"/>
            </a:lvl1pPr>
            <a:lvl2pPr marL="45720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pt-BR" dirty="0"/>
              <a:t>Inserir aqui o subtítulo</a:t>
            </a:r>
          </a:p>
        </p:txBody>
      </p:sp>
      <p:sp>
        <p:nvSpPr>
          <p:cNvPr id="11" name="Espaço Reservado para Texto 10">
            <a:extLst>
              <a:ext uri="{FF2B5EF4-FFF2-40B4-BE49-F238E27FC236}">
                <a16:creationId xmlns:a16="http://schemas.microsoft.com/office/drawing/2014/main" id="{F0215E0B-6B45-4EB9-B4D5-89CA9BC2366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98488" y="945910"/>
            <a:ext cx="11098212" cy="5213350"/>
          </a:xfrm>
        </p:spPr>
        <p:txBody>
          <a:bodyPr>
            <a:normAutofit/>
          </a:bodyPr>
          <a:lstStyle>
            <a:lvl1pPr>
              <a:defRPr sz="1400"/>
            </a:lvl1pPr>
            <a:lvl2pPr marL="685800" indent="-228600">
              <a:buFont typeface="Segoe UI" panose="020B0502040204020203" pitchFamily="34" charset="0"/>
              <a:buChar char="‒"/>
              <a:defRPr sz="1100"/>
            </a:lvl2pPr>
            <a:lvl3pPr marL="1143000" indent="-228600">
              <a:buFont typeface="Segoe UI" panose="020B0502040204020203" pitchFamily="34" charset="0"/>
              <a:buChar char="‒"/>
              <a:defRPr sz="1100"/>
            </a:lvl3pPr>
            <a:lvl4pPr marL="1600200" indent="-228600">
              <a:buFont typeface="Segoe UI" panose="020B0502040204020203" pitchFamily="34" charset="0"/>
              <a:buChar char="‒"/>
              <a:defRPr sz="1100"/>
            </a:lvl4pPr>
            <a:lvl5pPr marL="2057400" indent="-228600">
              <a:buFont typeface="Segoe UI" panose="020B0502040204020203" pitchFamily="34" charset="0"/>
              <a:buChar char="‒"/>
              <a:defRPr sz="1100"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1DE4AAD2-D60C-4583-A111-9CA32E21857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60862" y="-33428"/>
            <a:ext cx="1531137" cy="808017"/>
          </a:xfrm>
          <a:prstGeom prst="rect">
            <a:avLst/>
          </a:prstGeom>
        </p:spPr>
      </p:pic>
      <p:sp>
        <p:nvSpPr>
          <p:cNvPr id="24" name="Retângulo 23">
            <a:extLst>
              <a:ext uri="{FF2B5EF4-FFF2-40B4-BE49-F238E27FC236}">
                <a16:creationId xmlns:a16="http://schemas.microsoft.com/office/drawing/2014/main" id="{FB6194F1-1203-440A-8B78-F691472FEEE4}"/>
              </a:ext>
            </a:extLst>
          </p:cNvPr>
          <p:cNvSpPr/>
          <p:nvPr userDrawn="1"/>
        </p:nvSpPr>
        <p:spPr>
          <a:xfrm>
            <a:off x="0" y="6196614"/>
            <a:ext cx="12192000" cy="661386"/>
          </a:xfrm>
          <a:prstGeom prst="rect">
            <a:avLst/>
          </a:prstGeom>
          <a:solidFill>
            <a:srgbClr val="2631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5" name="Espaço Reservado para Número de Slide 5">
            <a:extLst>
              <a:ext uri="{FF2B5EF4-FFF2-40B4-BE49-F238E27FC236}">
                <a16:creationId xmlns:a16="http://schemas.microsoft.com/office/drawing/2014/main" id="{04BE6865-77F1-42E3-B7C2-94FC2816BF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54700" y="6336385"/>
            <a:ext cx="482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DC043D3B-68EA-494F-B371-61C74477040A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26" name="CaixaDeTexto 25">
            <a:extLst>
              <a:ext uri="{FF2B5EF4-FFF2-40B4-BE49-F238E27FC236}">
                <a16:creationId xmlns:a16="http://schemas.microsoft.com/office/drawing/2014/main" id="{87051AC8-5B71-4FB9-AA42-B5B9AC04533B}"/>
              </a:ext>
            </a:extLst>
          </p:cNvPr>
          <p:cNvSpPr txBox="1"/>
          <p:nvPr userDrawn="1"/>
        </p:nvSpPr>
        <p:spPr>
          <a:xfrm>
            <a:off x="8887918" y="6418920"/>
            <a:ext cx="280878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© 2021 Atlantica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ospitality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nternational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® |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onfidential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&amp;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roprietary</a:t>
            </a:r>
            <a:endParaRPr lang="pt-BR" sz="700" dirty="0">
              <a:solidFill>
                <a:schemeClr val="bg1"/>
              </a:solidFill>
            </a:endParaRPr>
          </a:p>
        </p:txBody>
      </p:sp>
      <p:grpSp>
        <p:nvGrpSpPr>
          <p:cNvPr id="10" name="Agrupar 9">
            <a:extLst>
              <a:ext uri="{FF2B5EF4-FFF2-40B4-BE49-F238E27FC236}">
                <a16:creationId xmlns:a16="http://schemas.microsoft.com/office/drawing/2014/main" id="{E3841E30-E8ED-44B5-A512-D03A8FCD206A}"/>
              </a:ext>
            </a:extLst>
          </p:cNvPr>
          <p:cNvGrpSpPr/>
          <p:nvPr userDrawn="1"/>
        </p:nvGrpSpPr>
        <p:grpSpPr>
          <a:xfrm>
            <a:off x="676454" y="6359913"/>
            <a:ext cx="3598823" cy="346377"/>
            <a:chOff x="676454" y="6359913"/>
            <a:chExt cx="3598823" cy="346377"/>
          </a:xfrm>
        </p:grpSpPr>
        <p:pic>
          <p:nvPicPr>
            <p:cNvPr id="5" name="Imagem 4">
              <a:extLst>
                <a:ext uri="{FF2B5EF4-FFF2-40B4-BE49-F238E27FC236}">
                  <a16:creationId xmlns:a16="http://schemas.microsoft.com/office/drawing/2014/main" id="{63294888-1648-4BAC-835B-31F54BDE9A2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76454" y="6359913"/>
              <a:ext cx="448325" cy="346377"/>
            </a:xfrm>
            <a:prstGeom prst="rect">
              <a:avLst/>
            </a:prstGeom>
          </p:spPr>
        </p:pic>
        <p:pic>
          <p:nvPicPr>
            <p:cNvPr id="8" name="Imagem 7">
              <a:extLst>
                <a:ext uri="{FF2B5EF4-FFF2-40B4-BE49-F238E27FC236}">
                  <a16:creationId xmlns:a16="http://schemas.microsoft.com/office/drawing/2014/main" id="{D8D68125-CCA3-46A5-A3BE-50F5FC7C27C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1124779" y="6391807"/>
              <a:ext cx="3150498" cy="2703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393012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áfico 3">
            <a:extLst>
              <a:ext uri="{FF2B5EF4-FFF2-40B4-BE49-F238E27FC236}">
                <a16:creationId xmlns:a16="http://schemas.microsoft.com/office/drawing/2014/main" id="{8AB139A4-7AB4-4502-BDA5-7EC0952C8D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30" y="112595"/>
            <a:ext cx="570224" cy="681306"/>
          </a:xfrm>
          <a:prstGeom prst="rect">
            <a:avLst/>
          </a:prstGeom>
        </p:spPr>
      </p:pic>
      <p:sp>
        <p:nvSpPr>
          <p:cNvPr id="13" name="Espaço Reservado para Texto 6">
            <a:extLst>
              <a:ext uri="{FF2B5EF4-FFF2-40B4-BE49-F238E27FC236}">
                <a16:creationId xmlns:a16="http://schemas.microsoft.com/office/drawing/2014/main" id="{BD1055C0-7B5B-461F-A090-A6BBA77CD4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8816" y="136525"/>
            <a:ext cx="11097884" cy="657376"/>
          </a:xfrm>
        </p:spPr>
        <p:txBody>
          <a:bodyPr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pt-BR" dirty="0"/>
              <a:t>Inserir aqui o título</a:t>
            </a:r>
            <a:br>
              <a:rPr lang="pt-BR" dirty="0"/>
            </a:br>
            <a:r>
              <a:rPr lang="pt-BR" dirty="0"/>
              <a:t>de duas linhas</a:t>
            </a:r>
          </a:p>
        </p:txBody>
      </p:sp>
      <p:sp>
        <p:nvSpPr>
          <p:cNvPr id="14" name="Espaço Reservado para Texto 10">
            <a:extLst>
              <a:ext uri="{FF2B5EF4-FFF2-40B4-BE49-F238E27FC236}">
                <a16:creationId xmlns:a16="http://schemas.microsoft.com/office/drawing/2014/main" id="{4B5CFF6E-6DC3-4375-9B87-9F72616AE1E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8488" y="1052423"/>
            <a:ext cx="5497512" cy="5115463"/>
          </a:xfrm>
        </p:spPr>
        <p:txBody>
          <a:bodyPr>
            <a:normAutofit/>
          </a:bodyPr>
          <a:lstStyle>
            <a:lvl1pPr>
              <a:defRPr sz="1400"/>
            </a:lvl1pPr>
            <a:lvl2pPr marL="685800" indent="-228600">
              <a:buFont typeface="Segoe UI" panose="020B0502040204020203" pitchFamily="34" charset="0"/>
              <a:buChar char="‒"/>
              <a:defRPr sz="1100"/>
            </a:lvl2pPr>
            <a:lvl3pPr marL="1143000" indent="-228600">
              <a:buFont typeface="Segoe UI" panose="020B0502040204020203" pitchFamily="34" charset="0"/>
              <a:buChar char="‒"/>
              <a:defRPr sz="1100"/>
            </a:lvl3pPr>
            <a:lvl4pPr marL="1600200" indent="-228600">
              <a:buFont typeface="Segoe UI" panose="020B0502040204020203" pitchFamily="34" charset="0"/>
              <a:buChar char="‒"/>
              <a:defRPr sz="1100"/>
            </a:lvl4pPr>
            <a:lvl5pPr marL="2057400" indent="-228600">
              <a:buFont typeface="Segoe UI" panose="020B0502040204020203" pitchFamily="34" charset="0"/>
              <a:buChar char="‒"/>
              <a:defRPr sz="1100"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17" name="Espaço Reservado para Texto 10">
            <a:extLst>
              <a:ext uri="{FF2B5EF4-FFF2-40B4-BE49-F238E27FC236}">
                <a16:creationId xmlns:a16="http://schemas.microsoft.com/office/drawing/2014/main" id="{90808009-1DBF-4843-A7FC-D3FA738AAD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99188" y="1052423"/>
            <a:ext cx="5497512" cy="5115463"/>
          </a:xfrm>
        </p:spPr>
        <p:txBody>
          <a:bodyPr>
            <a:normAutofit/>
          </a:bodyPr>
          <a:lstStyle>
            <a:lvl1pPr>
              <a:defRPr sz="1400"/>
            </a:lvl1pPr>
            <a:lvl2pPr marL="685800" indent="-228600">
              <a:buFont typeface="Segoe UI" panose="020B0502040204020203" pitchFamily="34" charset="0"/>
              <a:buChar char="‒"/>
              <a:defRPr sz="1100"/>
            </a:lvl2pPr>
            <a:lvl3pPr marL="1143000" indent="-228600">
              <a:buFont typeface="Segoe UI" panose="020B0502040204020203" pitchFamily="34" charset="0"/>
              <a:buChar char="‒"/>
              <a:defRPr sz="1100"/>
            </a:lvl3pPr>
            <a:lvl4pPr marL="1600200" indent="-228600">
              <a:buFont typeface="Segoe UI" panose="020B0502040204020203" pitchFamily="34" charset="0"/>
              <a:buChar char="‒"/>
              <a:defRPr sz="1100"/>
            </a:lvl4pPr>
            <a:lvl5pPr marL="2057400" indent="-228600">
              <a:buFont typeface="Segoe UI" panose="020B0502040204020203" pitchFamily="34" charset="0"/>
              <a:buChar char="‒"/>
              <a:defRPr sz="1100"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pic>
        <p:nvPicPr>
          <p:cNvPr id="6" name="Gráfico 5">
            <a:extLst>
              <a:ext uri="{FF2B5EF4-FFF2-40B4-BE49-F238E27FC236}">
                <a16:creationId xmlns:a16="http://schemas.microsoft.com/office/drawing/2014/main" id="{F27C4FCB-1536-4723-8387-9FA0DAB570E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60862" y="-33428"/>
            <a:ext cx="1531137" cy="808017"/>
          </a:xfrm>
          <a:prstGeom prst="rect">
            <a:avLst/>
          </a:prstGeom>
        </p:spPr>
      </p:pic>
      <p:sp>
        <p:nvSpPr>
          <p:cNvPr id="16" name="Retângulo 15">
            <a:extLst>
              <a:ext uri="{FF2B5EF4-FFF2-40B4-BE49-F238E27FC236}">
                <a16:creationId xmlns:a16="http://schemas.microsoft.com/office/drawing/2014/main" id="{4D85C803-E228-48B2-B91D-E2C25AD1BE1F}"/>
              </a:ext>
            </a:extLst>
          </p:cNvPr>
          <p:cNvSpPr/>
          <p:nvPr userDrawn="1"/>
        </p:nvSpPr>
        <p:spPr>
          <a:xfrm>
            <a:off x="0" y="6196614"/>
            <a:ext cx="12192000" cy="661386"/>
          </a:xfrm>
          <a:prstGeom prst="rect">
            <a:avLst/>
          </a:prstGeom>
          <a:solidFill>
            <a:srgbClr val="2631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Espaço Reservado para Número de Slide 5">
            <a:extLst>
              <a:ext uri="{FF2B5EF4-FFF2-40B4-BE49-F238E27FC236}">
                <a16:creationId xmlns:a16="http://schemas.microsoft.com/office/drawing/2014/main" id="{C0847098-1695-4A62-8D42-3F2BB042CC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54700" y="6336385"/>
            <a:ext cx="482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DC043D3B-68EA-494F-B371-61C74477040A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8D2AE531-3FDE-47C5-BDCD-60F63FDED20F}"/>
              </a:ext>
            </a:extLst>
          </p:cNvPr>
          <p:cNvSpPr txBox="1"/>
          <p:nvPr userDrawn="1"/>
        </p:nvSpPr>
        <p:spPr>
          <a:xfrm>
            <a:off x="8887918" y="6418920"/>
            <a:ext cx="280878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© 2021 Atlantica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ospitality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nternational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® |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onfidential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&amp;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roprietary</a:t>
            </a:r>
            <a:endParaRPr lang="pt-BR" sz="700" dirty="0">
              <a:solidFill>
                <a:schemeClr val="bg1"/>
              </a:solidFill>
            </a:endParaRPr>
          </a:p>
        </p:txBody>
      </p:sp>
      <p:grpSp>
        <p:nvGrpSpPr>
          <p:cNvPr id="11" name="Agrupar 10">
            <a:extLst>
              <a:ext uri="{FF2B5EF4-FFF2-40B4-BE49-F238E27FC236}">
                <a16:creationId xmlns:a16="http://schemas.microsoft.com/office/drawing/2014/main" id="{EA62A72F-D777-47FB-9B79-1E54218B27FE}"/>
              </a:ext>
            </a:extLst>
          </p:cNvPr>
          <p:cNvGrpSpPr/>
          <p:nvPr userDrawn="1"/>
        </p:nvGrpSpPr>
        <p:grpSpPr>
          <a:xfrm>
            <a:off x="676454" y="6359913"/>
            <a:ext cx="3598823" cy="346377"/>
            <a:chOff x="676454" y="6359913"/>
            <a:chExt cx="3598823" cy="346377"/>
          </a:xfrm>
        </p:grpSpPr>
        <p:pic>
          <p:nvPicPr>
            <p:cNvPr id="12" name="Imagem 11">
              <a:extLst>
                <a:ext uri="{FF2B5EF4-FFF2-40B4-BE49-F238E27FC236}">
                  <a16:creationId xmlns:a16="http://schemas.microsoft.com/office/drawing/2014/main" id="{FE7D98A0-D3DC-4C0A-A0C8-71A589B2EE8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76454" y="6359913"/>
              <a:ext cx="448325" cy="346377"/>
            </a:xfrm>
            <a:prstGeom prst="rect">
              <a:avLst/>
            </a:prstGeom>
          </p:spPr>
        </p:pic>
        <p:pic>
          <p:nvPicPr>
            <p:cNvPr id="15" name="Imagem 14">
              <a:extLst>
                <a:ext uri="{FF2B5EF4-FFF2-40B4-BE49-F238E27FC236}">
                  <a16:creationId xmlns:a16="http://schemas.microsoft.com/office/drawing/2014/main" id="{FB72DAA8-15F6-4E71-9548-BC95A8C6AC7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1124779" y="6391807"/>
              <a:ext cx="3150498" cy="2703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09097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 descr="Fundo preto com letras brancas&#10;&#10;Descrição gerada automaticamente">
            <a:extLst>
              <a:ext uri="{FF2B5EF4-FFF2-40B4-BE49-F238E27FC236}">
                <a16:creationId xmlns:a16="http://schemas.microsoft.com/office/drawing/2014/main" id="{E74FBC3E-75CF-4C26-ABED-2CD4B7B0B0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Espaço Reservado para Texto 8">
            <a:extLst>
              <a:ext uri="{FF2B5EF4-FFF2-40B4-BE49-F238E27FC236}">
                <a16:creationId xmlns:a16="http://schemas.microsoft.com/office/drawing/2014/main" id="{541C0B26-732A-4B95-9D3A-3B4D188C78F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6150" y="4934851"/>
            <a:ext cx="5219700" cy="581025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BR" dirty="0"/>
              <a:t>Inserir Título aqui</a:t>
            </a:r>
          </a:p>
        </p:txBody>
      </p:sp>
      <p:sp>
        <p:nvSpPr>
          <p:cNvPr id="5" name="Espaço Reservado para Texto 8">
            <a:extLst>
              <a:ext uri="{FF2B5EF4-FFF2-40B4-BE49-F238E27FC236}">
                <a16:creationId xmlns:a16="http://schemas.microsoft.com/office/drawing/2014/main" id="{717879B9-7257-44E0-A9B6-A0656921456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6150" y="5515876"/>
            <a:ext cx="5219700" cy="581025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pt-BR" dirty="0"/>
              <a:t>Inserir Subtítulo aqui</a:t>
            </a:r>
          </a:p>
        </p:txBody>
      </p:sp>
      <p:cxnSp>
        <p:nvCxnSpPr>
          <p:cNvPr id="6" name="Conector reto 5">
            <a:extLst>
              <a:ext uri="{FF2B5EF4-FFF2-40B4-BE49-F238E27FC236}">
                <a16:creationId xmlns:a16="http://schemas.microsoft.com/office/drawing/2014/main" id="{A787D37E-3CFE-4CF2-9BAD-992124350FA6}"/>
              </a:ext>
            </a:extLst>
          </p:cNvPr>
          <p:cNvCxnSpPr/>
          <p:nvPr userDrawn="1"/>
        </p:nvCxnSpPr>
        <p:spPr>
          <a:xfrm>
            <a:off x="2777706" y="4753155"/>
            <a:ext cx="6642339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áfico 7">
            <a:extLst>
              <a:ext uri="{FF2B5EF4-FFF2-40B4-BE49-F238E27FC236}">
                <a16:creationId xmlns:a16="http://schemas.microsoft.com/office/drawing/2014/main" id="{77AEB096-6CDA-403B-ABE4-170C11EACAB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165825" y="2844183"/>
            <a:ext cx="5860349" cy="1169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951599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áfico 3">
            <a:extLst>
              <a:ext uri="{FF2B5EF4-FFF2-40B4-BE49-F238E27FC236}">
                <a16:creationId xmlns:a16="http://schemas.microsoft.com/office/drawing/2014/main" id="{8AB139A4-7AB4-4502-BDA5-7EC0952C8D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30" y="112595"/>
            <a:ext cx="570224" cy="681306"/>
          </a:xfrm>
          <a:prstGeom prst="rect">
            <a:avLst/>
          </a:prstGeom>
        </p:spPr>
      </p:pic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F0C4F1A2-C512-41E0-A24B-AFD12104AE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8816" y="136525"/>
            <a:ext cx="11097884" cy="259298"/>
          </a:xfrm>
        </p:spPr>
        <p:txBody>
          <a:bodyPr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pt-BR" dirty="0"/>
              <a:t>Inserir aqui o título</a:t>
            </a:r>
          </a:p>
        </p:txBody>
      </p:sp>
      <p:sp>
        <p:nvSpPr>
          <p:cNvPr id="16" name="Espaço Reservado para Texto 6">
            <a:extLst>
              <a:ext uri="{FF2B5EF4-FFF2-40B4-BE49-F238E27FC236}">
                <a16:creationId xmlns:a16="http://schemas.microsoft.com/office/drawing/2014/main" id="{54E15D3F-2955-4A4F-BDA5-F7B6D8AA06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8816" y="515291"/>
            <a:ext cx="11097884" cy="259298"/>
          </a:xfrm>
        </p:spPr>
        <p:txBody>
          <a:bodyPr>
            <a:noAutofit/>
          </a:bodyPr>
          <a:lstStyle>
            <a:lvl1pPr marL="0" indent="0">
              <a:buNone/>
              <a:defRPr sz="1600" b="0"/>
            </a:lvl1pPr>
            <a:lvl2pPr marL="45720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pt-BR" dirty="0"/>
              <a:t>Inserir aqui o subtítulo</a:t>
            </a:r>
          </a:p>
        </p:txBody>
      </p:sp>
      <p:sp>
        <p:nvSpPr>
          <p:cNvPr id="20" name="Espaço Reservado para Texto 10">
            <a:extLst>
              <a:ext uri="{FF2B5EF4-FFF2-40B4-BE49-F238E27FC236}">
                <a16:creationId xmlns:a16="http://schemas.microsoft.com/office/drawing/2014/main" id="{83554733-5066-4885-8EBF-A3177EE5F7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8488" y="1052423"/>
            <a:ext cx="5497512" cy="5115463"/>
          </a:xfrm>
        </p:spPr>
        <p:txBody>
          <a:bodyPr>
            <a:normAutofit/>
          </a:bodyPr>
          <a:lstStyle>
            <a:lvl1pPr>
              <a:defRPr sz="1400"/>
            </a:lvl1pPr>
            <a:lvl2pPr marL="685800" indent="-228600">
              <a:buFont typeface="Segoe UI" panose="020B0502040204020203" pitchFamily="34" charset="0"/>
              <a:buChar char="‒"/>
              <a:defRPr sz="1100"/>
            </a:lvl2pPr>
            <a:lvl3pPr marL="1143000" indent="-228600">
              <a:buFont typeface="Segoe UI" panose="020B0502040204020203" pitchFamily="34" charset="0"/>
              <a:buChar char="‒"/>
              <a:defRPr sz="1100"/>
            </a:lvl3pPr>
            <a:lvl4pPr marL="1600200" indent="-228600">
              <a:buFont typeface="Segoe UI" panose="020B0502040204020203" pitchFamily="34" charset="0"/>
              <a:buChar char="‒"/>
              <a:defRPr sz="1100"/>
            </a:lvl4pPr>
            <a:lvl5pPr marL="2057400" indent="-228600">
              <a:buFont typeface="Segoe UI" panose="020B0502040204020203" pitchFamily="34" charset="0"/>
              <a:buChar char="‒"/>
              <a:defRPr sz="1100"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21" name="Espaço Reservado para Texto 10">
            <a:extLst>
              <a:ext uri="{FF2B5EF4-FFF2-40B4-BE49-F238E27FC236}">
                <a16:creationId xmlns:a16="http://schemas.microsoft.com/office/drawing/2014/main" id="{85ADCEEF-6845-4AA9-9AC5-A091A512BA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99188" y="1052423"/>
            <a:ext cx="5497512" cy="5115463"/>
          </a:xfrm>
        </p:spPr>
        <p:txBody>
          <a:bodyPr>
            <a:normAutofit/>
          </a:bodyPr>
          <a:lstStyle>
            <a:lvl1pPr>
              <a:defRPr sz="1400"/>
            </a:lvl1pPr>
            <a:lvl2pPr marL="685800" indent="-228600">
              <a:buFont typeface="Segoe UI" panose="020B0502040204020203" pitchFamily="34" charset="0"/>
              <a:buChar char="‒"/>
              <a:defRPr sz="1100"/>
            </a:lvl2pPr>
            <a:lvl3pPr marL="1143000" indent="-228600">
              <a:buFont typeface="Segoe UI" panose="020B0502040204020203" pitchFamily="34" charset="0"/>
              <a:buChar char="‒"/>
              <a:defRPr sz="1100"/>
            </a:lvl3pPr>
            <a:lvl4pPr marL="1600200" indent="-228600">
              <a:buFont typeface="Segoe UI" panose="020B0502040204020203" pitchFamily="34" charset="0"/>
              <a:buChar char="‒"/>
              <a:defRPr sz="1100"/>
            </a:lvl4pPr>
            <a:lvl5pPr marL="2057400" indent="-228600">
              <a:buFont typeface="Segoe UI" panose="020B0502040204020203" pitchFamily="34" charset="0"/>
              <a:buChar char="‒"/>
              <a:defRPr sz="1100"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2CC12CA6-CC9A-4F49-A56D-99648A2BEAD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60862" y="-33428"/>
            <a:ext cx="1531137" cy="808017"/>
          </a:xfrm>
          <a:prstGeom prst="rect">
            <a:avLst/>
          </a:prstGeom>
        </p:spPr>
      </p:pic>
      <p:sp>
        <p:nvSpPr>
          <p:cNvPr id="15" name="Retângulo 14">
            <a:extLst>
              <a:ext uri="{FF2B5EF4-FFF2-40B4-BE49-F238E27FC236}">
                <a16:creationId xmlns:a16="http://schemas.microsoft.com/office/drawing/2014/main" id="{0FADBE0F-E514-4241-A9B5-CBCCA71C3613}"/>
              </a:ext>
            </a:extLst>
          </p:cNvPr>
          <p:cNvSpPr/>
          <p:nvPr userDrawn="1"/>
        </p:nvSpPr>
        <p:spPr>
          <a:xfrm>
            <a:off x="0" y="6196614"/>
            <a:ext cx="12192000" cy="661386"/>
          </a:xfrm>
          <a:prstGeom prst="rect">
            <a:avLst/>
          </a:prstGeom>
          <a:solidFill>
            <a:srgbClr val="2631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7" name="Espaço Reservado para Número de Slide 5">
            <a:extLst>
              <a:ext uri="{FF2B5EF4-FFF2-40B4-BE49-F238E27FC236}">
                <a16:creationId xmlns:a16="http://schemas.microsoft.com/office/drawing/2014/main" id="{31059710-8B35-495C-B6A8-A79F84CD7A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54700" y="6336385"/>
            <a:ext cx="482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DC043D3B-68EA-494F-B371-61C74477040A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1435E4AE-9AA0-4907-9226-244EC542761D}"/>
              </a:ext>
            </a:extLst>
          </p:cNvPr>
          <p:cNvSpPr txBox="1"/>
          <p:nvPr userDrawn="1"/>
        </p:nvSpPr>
        <p:spPr>
          <a:xfrm>
            <a:off x="8887918" y="6418920"/>
            <a:ext cx="280878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© 2021 Atlantica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ospitality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nternational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® |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onfidential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&amp;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roprietary</a:t>
            </a:r>
            <a:endParaRPr lang="pt-BR" sz="700" dirty="0">
              <a:solidFill>
                <a:schemeClr val="bg1"/>
              </a:solidFill>
            </a:endParaRPr>
          </a:p>
        </p:txBody>
      </p:sp>
      <p:grpSp>
        <p:nvGrpSpPr>
          <p:cNvPr id="12" name="Agrupar 11">
            <a:extLst>
              <a:ext uri="{FF2B5EF4-FFF2-40B4-BE49-F238E27FC236}">
                <a16:creationId xmlns:a16="http://schemas.microsoft.com/office/drawing/2014/main" id="{63A1BDA1-B097-4C56-8569-2B96EF4DBA01}"/>
              </a:ext>
            </a:extLst>
          </p:cNvPr>
          <p:cNvGrpSpPr/>
          <p:nvPr userDrawn="1"/>
        </p:nvGrpSpPr>
        <p:grpSpPr>
          <a:xfrm>
            <a:off x="676454" y="6359913"/>
            <a:ext cx="3598823" cy="346377"/>
            <a:chOff x="676454" y="6359913"/>
            <a:chExt cx="3598823" cy="346377"/>
          </a:xfrm>
        </p:grpSpPr>
        <p:pic>
          <p:nvPicPr>
            <p:cNvPr id="13" name="Imagem 12">
              <a:extLst>
                <a:ext uri="{FF2B5EF4-FFF2-40B4-BE49-F238E27FC236}">
                  <a16:creationId xmlns:a16="http://schemas.microsoft.com/office/drawing/2014/main" id="{164407BC-0336-4D7A-9ADA-79497B4300E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76454" y="6359913"/>
              <a:ext cx="448325" cy="346377"/>
            </a:xfrm>
            <a:prstGeom prst="rect">
              <a:avLst/>
            </a:prstGeom>
          </p:spPr>
        </p:pic>
        <p:pic>
          <p:nvPicPr>
            <p:cNvPr id="14" name="Imagem 13">
              <a:extLst>
                <a:ext uri="{FF2B5EF4-FFF2-40B4-BE49-F238E27FC236}">
                  <a16:creationId xmlns:a16="http://schemas.microsoft.com/office/drawing/2014/main" id="{C100BF90-A87C-41A9-88AB-BF6F2F5D4F3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1124779" y="6391807"/>
              <a:ext cx="3150498" cy="2703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0415725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áfico 3">
            <a:extLst>
              <a:ext uri="{FF2B5EF4-FFF2-40B4-BE49-F238E27FC236}">
                <a16:creationId xmlns:a16="http://schemas.microsoft.com/office/drawing/2014/main" id="{8AB139A4-7AB4-4502-BDA5-7EC0952C8D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30" y="112595"/>
            <a:ext cx="570224" cy="681306"/>
          </a:xfrm>
          <a:prstGeom prst="rect">
            <a:avLst/>
          </a:prstGeom>
        </p:spPr>
      </p:pic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F0C4F1A2-C512-41E0-A24B-AFD12104AE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8816" y="136525"/>
            <a:ext cx="11097884" cy="259298"/>
          </a:xfrm>
        </p:spPr>
        <p:txBody>
          <a:bodyPr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pt-BR" dirty="0"/>
              <a:t>Inserir aqui o título</a:t>
            </a:r>
          </a:p>
        </p:txBody>
      </p:sp>
      <p:sp>
        <p:nvSpPr>
          <p:cNvPr id="16" name="Espaço Reservado para Texto 6">
            <a:extLst>
              <a:ext uri="{FF2B5EF4-FFF2-40B4-BE49-F238E27FC236}">
                <a16:creationId xmlns:a16="http://schemas.microsoft.com/office/drawing/2014/main" id="{54E15D3F-2955-4A4F-BDA5-F7B6D8AA06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8816" y="515291"/>
            <a:ext cx="11097884" cy="259298"/>
          </a:xfrm>
        </p:spPr>
        <p:txBody>
          <a:bodyPr>
            <a:noAutofit/>
          </a:bodyPr>
          <a:lstStyle>
            <a:lvl1pPr marL="0" indent="0">
              <a:buNone/>
              <a:defRPr sz="1600" b="0"/>
            </a:lvl1pPr>
            <a:lvl2pPr marL="45720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pt-BR" dirty="0"/>
              <a:t>Inserir aqui o subtítulo</a:t>
            </a:r>
          </a:p>
        </p:txBody>
      </p:sp>
      <p:sp>
        <p:nvSpPr>
          <p:cNvPr id="5" name="Triângulo isósceles 4">
            <a:extLst>
              <a:ext uri="{FF2B5EF4-FFF2-40B4-BE49-F238E27FC236}">
                <a16:creationId xmlns:a16="http://schemas.microsoft.com/office/drawing/2014/main" id="{C26FF18E-A819-46D6-AC03-B01AC8971BBE}"/>
              </a:ext>
            </a:extLst>
          </p:cNvPr>
          <p:cNvSpPr/>
          <p:nvPr userDrawn="1"/>
        </p:nvSpPr>
        <p:spPr>
          <a:xfrm rot="5400000">
            <a:off x="3554621" y="3465362"/>
            <a:ext cx="5115462" cy="288697"/>
          </a:xfrm>
          <a:prstGeom prst="triangle">
            <a:avLst/>
          </a:prstGeom>
          <a:solidFill>
            <a:srgbClr val="899D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Espaço Reservado para Texto 10">
            <a:extLst>
              <a:ext uri="{FF2B5EF4-FFF2-40B4-BE49-F238E27FC236}">
                <a16:creationId xmlns:a16="http://schemas.microsoft.com/office/drawing/2014/main" id="{B2EC21E9-87EB-4FD1-BB78-C45B2A2B15E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98488" y="1338439"/>
            <a:ext cx="5256212" cy="4829447"/>
          </a:xfrm>
        </p:spPr>
        <p:txBody>
          <a:bodyPr>
            <a:normAutofit/>
          </a:bodyPr>
          <a:lstStyle>
            <a:lvl1pPr>
              <a:defRPr sz="1400"/>
            </a:lvl1pPr>
            <a:lvl2pPr marL="685800" indent="-228600">
              <a:buFont typeface="Segoe UI" panose="020B0502040204020203" pitchFamily="34" charset="0"/>
              <a:buChar char="‒"/>
              <a:defRPr sz="1100"/>
            </a:lvl2pPr>
            <a:lvl3pPr marL="1143000" indent="-228600">
              <a:buFont typeface="Segoe UI" panose="020B0502040204020203" pitchFamily="34" charset="0"/>
              <a:buChar char="‒"/>
              <a:defRPr sz="1100"/>
            </a:lvl3pPr>
            <a:lvl4pPr marL="1600200" indent="-228600">
              <a:buFont typeface="Segoe UI" panose="020B0502040204020203" pitchFamily="34" charset="0"/>
              <a:buChar char="‒"/>
              <a:defRPr sz="1100"/>
            </a:lvl4pPr>
            <a:lvl5pPr marL="2057400" indent="-228600">
              <a:buFont typeface="Segoe UI" panose="020B0502040204020203" pitchFamily="34" charset="0"/>
              <a:buChar char="‒"/>
              <a:defRPr sz="1100"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14" name="Espaço Reservado para Texto 10">
            <a:extLst>
              <a:ext uri="{FF2B5EF4-FFF2-40B4-BE49-F238E27FC236}">
                <a16:creationId xmlns:a16="http://schemas.microsoft.com/office/drawing/2014/main" id="{98C11F46-E9A7-44FC-ABA9-7B2DA137C4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70004" y="1338439"/>
            <a:ext cx="5326696" cy="4829447"/>
          </a:xfrm>
        </p:spPr>
        <p:txBody>
          <a:bodyPr>
            <a:normAutofit/>
          </a:bodyPr>
          <a:lstStyle>
            <a:lvl1pPr>
              <a:defRPr sz="1400"/>
            </a:lvl1pPr>
            <a:lvl2pPr marL="685800" indent="-228600">
              <a:buFont typeface="Segoe UI" panose="020B0502040204020203" pitchFamily="34" charset="0"/>
              <a:buChar char="‒"/>
              <a:defRPr sz="1100"/>
            </a:lvl2pPr>
            <a:lvl3pPr marL="1143000" indent="-228600">
              <a:buFont typeface="Segoe UI" panose="020B0502040204020203" pitchFamily="34" charset="0"/>
              <a:buChar char="‒"/>
              <a:defRPr sz="1100"/>
            </a:lvl3pPr>
            <a:lvl4pPr marL="1600200" indent="-228600">
              <a:buFont typeface="Segoe UI" panose="020B0502040204020203" pitchFamily="34" charset="0"/>
              <a:buChar char="‒"/>
              <a:defRPr sz="1100"/>
            </a:lvl4pPr>
            <a:lvl5pPr marL="2057400" indent="-228600">
              <a:buFont typeface="Segoe UI" panose="020B0502040204020203" pitchFamily="34" charset="0"/>
              <a:buChar char="‒"/>
              <a:defRPr sz="1100"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17" name="Espaço Reservado para Texto 10">
            <a:extLst>
              <a:ext uri="{FF2B5EF4-FFF2-40B4-BE49-F238E27FC236}">
                <a16:creationId xmlns:a16="http://schemas.microsoft.com/office/drawing/2014/main" id="{FACDF3DC-9FF0-433E-94D7-07C57254BD3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8488" y="957532"/>
            <a:ext cx="5256212" cy="284672"/>
          </a:xfrm>
        </p:spPr>
        <p:txBody>
          <a:bodyPr>
            <a:normAutofit/>
          </a:bodyPr>
          <a:lstStyle>
            <a:lvl1pPr marL="0" indent="0" algn="l">
              <a:buNone/>
              <a:defRPr sz="1400" u="sng"/>
            </a:lvl1pPr>
            <a:lvl2pPr marL="685800" indent="-228600">
              <a:buFont typeface="Segoe UI" panose="020B0502040204020203" pitchFamily="34" charset="0"/>
              <a:buChar char="‒"/>
              <a:defRPr sz="1100"/>
            </a:lvl2pPr>
            <a:lvl3pPr marL="1143000" indent="-228600">
              <a:buFont typeface="Segoe UI" panose="020B0502040204020203" pitchFamily="34" charset="0"/>
              <a:buChar char="‒"/>
              <a:defRPr sz="1100"/>
            </a:lvl3pPr>
            <a:lvl4pPr marL="1600200" indent="-228600">
              <a:buFont typeface="Segoe UI" panose="020B0502040204020203" pitchFamily="34" charset="0"/>
              <a:buChar char="‒"/>
              <a:defRPr sz="1100"/>
            </a:lvl4pPr>
            <a:lvl5pPr marL="2057400" indent="-228600">
              <a:buFont typeface="Segoe UI" panose="020B0502040204020203" pitchFamily="34" charset="0"/>
              <a:buChar char="‒"/>
              <a:defRPr sz="1100"/>
            </a:lvl5pPr>
          </a:lstStyle>
          <a:p>
            <a:pPr lvl="0"/>
            <a:r>
              <a:rPr lang="pt-BR" dirty="0"/>
              <a:t>Inserir aqui o título da coluna</a:t>
            </a:r>
          </a:p>
        </p:txBody>
      </p:sp>
      <p:sp>
        <p:nvSpPr>
          <p:cNvPr id="19" name="Espaço Reservado para Texto 10">
            <a:extLst>
              <a:ext uri="{FF2B5EF4-FFF2-40B4-BE49-F238E27FC236}">
                <a16:creationId xmlns:a16="http://schemas.microsoft.com/office/drawing/2014/main" id="{98D9EB0F-A253-4D14-9DA2-1BCD0D69B8D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70004" y="957532"/>
            <a:ext cx="5326696" cy="284672"/>
          </a:xfrm>
        </p:spPr>
        <p:txBody>
          <a:bodyPr>
            <a:normAutofit/>
          </a:bodyPr>
          <a:lstStyle>
            <a:lvl1pPr marL="0" indent="0" algn="l">
              <a:buNone/>
              <a:defRPr sz="1400" u="sng"/>
            </a:lvl1pPr>
            <a:lvl2pPr marL="685800" indent="-228600">
              <a:buFont typeface="Segoe UI" panose="020B0502040204020203" pitchFamily="34" charset="0"/>
              <a:buChar char="‒"/>
              <a:defRPr sz="1100"/>
            </a:lvl2pPr>
            <a:lvl3pPr marL="1143000" indent="-228600">
              <a:buFont typeface="Segoe UI" panose="020B0502040204020203" pitchFamily="34" charset="0"/>
              <a:buChar char="‒"/>
              <a:defRPr sz="1100"/>
            </a:lvl3pPr>
            <a:lvl4pPr marL="1600200" indent="-228600">
              <a:buFont typeface="Segoe UI" panose="020B0502040204020203" pitchFamily="34" charset="0"/>
              <a:buChar char="‒"/>
              <a:defRPr sz="1100"/>
            </a:lvl4pPr>
            <a:lvl5pPr marL="2057400" indent="-228600">
              <a:buFont typeface="Segoe UI" panose="020B0502040204020203" pitchFamily="34" charset="0"/>
              <a:buChar char="‒"/>
              <a:defRPr sz="1100"/>
            </a:lvl5pPr>
          </a:lstStyle>
          <a:p>
            <a:pPr lvl="0"/>
            <a:r>
              <a:rPr lang="pt-BR" dirty="0"/>
              <a:t>Inserir aqui o título da coluna</a:t>
            </a:r>
          </a:p>
        </p:txBody>
      </p:sp>
      <p:pic>
        <p:nvPicPr>
          <p:cNvPr id="6" name="Gráfico 5">
            <a:extLst>
              <a:ext uri="{FF2B5EF4-FFF2-40B4-BE49-F238E27FC236}">
                <a16:creationId xmlns:a16="http://schemas.microsoft.com/office/drawing/2014/main" id="{F1060393-86B1-4AD3-904D-346C6D86227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60862" y="-33428"/>
            <a:ext cx="1531137" cy="808017"/>
          </a:xfrm>
          <a:prstGeom prst="rect">
            <a:avLst/>
          </a:prstGeom>
        </p:spPr>
      </p:pic>
      <p:sp>
        <p:nvSpPr>
          <p:cNvPr id="22" name="Retângulo 21">
            <a:extLst>
              <a:ext uri="{FF2B5EF4-FFF2-40B4-BE49-F238E27FC236}">
                <a16:creationId xmlns:a16="http://schemas.microsoft.com/office/drawing/2014/main" id="{6DD562EF-1787-4843-A0F3-BC91930550EE}"/>
              </a:ext>
            </a:extLst>
          </p:cNvPr>
          <p:cNvSpPr/>
          <p:nvPr userDrawn="1"/>
        </p:nvSpPr>
        <p:spPr>
          <a:xfrm>
            <a:off x="0" y="6196614"/>
            <a:ext cx="12192000" cy="661386"/>
          </a:xfrm>
          <a:prstGeom prst="rect">
            <a:avLst/>
          </a:prstGeom>
          <a:solidFill>
            <a:srgbClr val="2631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" name="Espaço Reservado para Número de Slide 5">
            <a:extLst>
              <a:ext uri="{FF2B5EF4-FFF2-40B4-BE49-F238E27FC236}">
                <a16:creationId xmlns:a16="http://schemas.microsoft.com/office/drawing/2014/main" id="{3A482D3F-DF6F-4F71-B055-CC9B076362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54700" y="6336385"/>
            <a:ext cx="482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DC043D3B-68EA-494F-B371-61C74477040A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25" name="CaixaDeTexto 24">
            <a:extLst>
              <a:ext uri="{FF2B5EF4-FFF2-40B4-BE49-F238E27FC236}">
                <a16:creationId xmlns:a16="http://schemas.microsoft.com/office/drawing/2014/main" id="{F6A3AF7A-BA55-407C-9E44-2B59493049EC}"/>
              </a:ext>
            </a:extLst>
          </p:cNvPr>
          <p:cNvSpPr txBox="1"/>
          <p:nvPr userDrawn="1"/>
        </p:nvSpPr>
        <p:spPr>
          <a:xfrm>
            <a:off x="8887918" y="6418920"/>
            <a:ext cx="280878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© 2021 Atlantica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ospitality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nternational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® |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onfidential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&amp;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roprietary</a:t>
            </a:r>
            <a:endParaRPr lang="pt-BR" sz="700" dirty="0">
              <a:solidFill>
                <a:schemeClr val="bg1"/>
              </a:solidFill>
            </a:endParaRPr>
          </a:p>
        </p:txBody>
      </p:sp>
      <p:grpSp>
        <p:nvGrpSpPr>
          <p:cNvPr id="15" name="Agrupar 14">
            <a:extLst>
              <a:ext uri="{FF2B5EF4-FFF2-40B4-BE49-F238E27FC236}">
                <a16:creationId xmlns:a16="http://schemas.microsoft.com/office/drawing/2014/main" id="{3DB33DA2-0A51-43EF-8029-E1B3429EF7A8}"/>
              </a:ext>
            </a:extLst>
          </p:cNvPr>
          <p:cNvGrpSpPr/>
          <p:nvPr userDrawn="1"/>
        </p:nvGrpSpPr>
        <p:grpSpPr>
          <a:xfrm>
            <a:off x="676454" y="6359913"/>
            <a:ext cx="3598823" cy="346377"/>
            <a:chOff x="676454" y="6359913"/>
            <a:chExt cx="3598823" cy="346377"/>
          </a:xfrm>
        </p:grpSpPr>
        <p:pic>
          <p:nvPicPr>
            <p:cNvPr id="18" name="Imagem 17">
              <a:extLst>
                <a:ext uri="{FF2B5EF4-FFF2-40B4-BE49-F238E27FC236}">
                  <a16:creationId xmlns:a16="http://schemas.microsoft.com/office/drawing/2014/main" id="{11F281DB-6358-4CDF-A564-C2BED78057E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76454" y="6359913"/>
              <a:ext cx="448325" cy="346377"/>
            </a:xfrm>
            <a:prstGeom prst="rect">
              <a:avLst/>
            </a:prstGeom>
          </p:spPr>
        </p:pic>
        <p:pic>
          <p:nvPicPr>
            <p:cNvPr id="20" name="Imagem 19">
              <a:extLst>
                <a:ext uri="{FF2B5EF4-FFF2-40B4-BE49-F238E27FC236}">
                  <a16:creationId xmlns:a16="http://schemas.microsoft.com/office/drawing/2014/main" id="{D711D0B4-FEE4-49B5-8767-4A0EA17920C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1124779" y="6391807"/>
              <a:ext cx="3150498" cy="2703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9292684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áfico 3">
            <a:extLst>
              <a:ext uri="{FF2B5EF4-FFF2-40B4-BE49-F238E27FC236}">
                <a16:creationId xmlns:a16="http://schemas.microsoft.com/office/drawing/2014/main" id="{8AB139A4-7AB4-4502-BDA5-7EC0952C8D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30" y="112595"/>
            <a:ext cx="570224" cy="681306"/>
          </a:xfrm>
          <a:prstGeom prst="rect">
            <a:avLst/>
          </a:prstGeom>
        </p:spPr>
      </p:pic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F0C4F1A2-C512-41E0-A24B-AFD12104AE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8816" y="136525"/>
            <a:ext cx="11097884" cy="259298"/>
          </a:xfrm>
        </p:spPr>
        <p:txBody>
          <a:bodyPr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pt-BR" dirty="0"/>
              <a:t>Inserir aqui o título</a:t>
            </a:r>
          </a:p>
        </p:txBody>
      </p:sp>
      <p:sp>
        <p:nvSpPr>
          <p:cNvPr id="16" name="Espaço Reservado para Texto 6">
            <a:extLst>
              <a:ext uri="{FF2B5EF4-FFF2-40B4-BE49-F238E27FC236}">
                <a16:creationId xmlns:a16="http://schemas.microsoft.com/office/drawing/2014/main" id="{54E15D3F-2955-4A4F-BDA5-F7B6D8AA06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8816" y="515291"/>
            <a:ext cx="11097884" cy="259298"/>
          </a:xfrm>
        </p:spPr>
        <p:txBody>
          <a:bodyPr>
            <a:noAutofit/>
          </a:bodyPr>
          <a:lstStyle>
            <a:lvl1pPr marL="0" indent="0">
              <a:buNone/>
              <a:defRPr sz="1600" b="0"/>
            </a:lvl1pPr>
            <a:lvl2pPr marL="45720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pt-BR" dirty="0"/>
              <a:t>Inserir aqui o subtítulo</a:t>
            </a:r>
          </a:p>
        </p:txBody>
      </p:sp>
      <p:sp>
        <p:nvSpPr>
          <p:cNvPr id="20" name="Espaço Reservado para Texto 10">
            <a:extLst>
              <a:ext uri="{FF2B5EF4-FFF2-40B4-BE49-F238E27FC236}">
                <a16:creationId xmlns:a16="http://schemas.microsoft.com/office/drawing/2014/main" id="{83554733-5066-4885-8EBF-A3177EE5F7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8488" y="1052423"/>
            <a:ext cx="5256212" cy="5115463"/>
          </a:xfrm>
        </p:spPr>
        <p:txBody>
          <a:bodyPr>
            <a:normAutofit/>
          </a:bodyPr>
          <a:lstStyle>
            <a:lvl1pPr>
              <a:defRPr sz="1400"/>
            </a:lvl1pPr>
            <a:lvl2pPr marL="685800" indent="-228600">
              <a:buFont typeface="Segoe UI" panose="020B0502040204020203" pitchFamily="34" charset="0"/>
              <a:buChar char="‒"/>
              <a:defRPr sz="1100"/>
            </a:lvl2pPr>
            <a:lvl3pPr marL="1143000" indent="-228600">
              <a:buFont typeface="Segoe UI" panose="020B0502040204020203" pitchFamily="34" charset="0"/>
              <a:buChar char="‒"/>
              <a:defRPr sz="1100"/>
            </a:lvl3pPr>
            <a:lvl4pPr marL="1600200" indent="-228600">
              <a:buFont typeface="Segoe UI" panose="020B0502040204020203" pitchFamily="34" charset="0"/>
              <a:buChar char="‒"/>
              <a:defRPr sz="1100"/>
            </a:lvl4pPr>
            <a:lvl5pPr marL="2057400" indent="-228600">
              <a:buFont typeface="Segoe UI" panose="020B0502040204020203" pitchFamily="34" charset="0"/>
              <a:buChar char="‒"/>
              <a:defRPr sz="1100"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21" name="Espaço Reservado para Texto 10">
            <a:extLst>
              <a:ext uri="{FF2B5EF4-FFF2-40B4-BE49-F238E27FC236}">
                <a16:creationId xmlns:a16="http://schemas.microsoft.com/office/drawing/2014/main" id="{85ADCEEF-6845-4AA9-9AC5-A091A512BA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70004" y="1052423"/>
            <a:ext cx="5326696" cy="5115463"/>
          </a:xfrm>
        </p:spPr>
        <p:txBody>
          <a:bodyPr>
            <a:normAutofit/>
          </a:bodyPr>
          <a:lstStyle>
            <a:lvl1pPr>
              <a:defRPr sz="1400"/>
            </a:lvl1pPr>
            <a:lvl2pPr marL="685800" indent="-228600">
              <a:buFont typeface="Segoe UI" panose="020B0502040204020203" pitchFamily="34" charset="0"/>
              <a:buChar char="‒"/>
              <a:defRPr sz="1100"/>
            </a:lvl2pPr>
            <a:lvl3pPr marL="1143000" indent="-228600">
              <a:buFont typeface="Segoe UI" panose="020B0502040204020203" pitchFamily="34" charset="0"/>
              <a:buChar char="‒"/>
              <a:defRPr sz="1100"/>
            </a:lvl3pPr>
            <a:lvl4pPr marL="1600200" indent="-228600">
              <a:buFont typeface="Segoe UI" panose="020B0502040204020203" pitchFamily="34" charset="0"/>
              <a:buChar char="‒"/>
              <a:defRPr sz="1100"/>
            </a:lvl4pPr>
            <a:lvl5pPr marL="2057400" indent="-228600">
              <a:buFont typeface="Segoe UI" panose="020B0502040204020203" pitchFamily="34" charset="0"/>
              <a:buChar char="‒"/>
              <a:defRPr sz="1100"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5" name="Triângulo isósceles 4">
            <a:extLst>
              <a:ext uri="{FF2B5EF4-FFF2-40B4-BE49-F238E27FC236}">
                <a16:creationId xmlns:a16="http://schemas.microsoft.com/office/drawing/2014/main" id="{C26FF18E-A819-46D6-AC03-B01AC8971BBE}"/>
              </a:ext>
            </a:extLst>
          </p:cNvPr>
          <p:cNvSpPr/>
          <p:nvPr userDrawn="1"/>
        </p:nvSpPr>
        <p:spPr>
          <a:xfrm rot="5400000">
            <a:off x="3554621" y="3465362"/>
            <a:ext cx="5115462" cy="288697"/>
          </a:xfrm>
          <a:prstGeom prst="triangle">
            <a:avLst/>
          </a:prstGeom>
          <a:solidFill>
            <a:srgbClr val="899D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6" name="Gráfico 5">
            <a:extLst>
              <a:ext uri="{FF2B5EF4-FFF2-40B4-BE49-F238E27FC236}">
                <a16:creationId xmlns:a16="http://schemas.microsoft.com/office/drawing/2014/main" id="{885EB2B1-5D0A-4639-94F0-8DA11FAE247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60862" y="-33428"/>
            <a:ext cx="1531137" cy="808017"/>
          </a:xfrm>
          <a:prstGeom prst="rect">
            <a:avLst/>
          </a:prstGeom>
        </p:spPr>
      </p:pic>
      <p:sp>
        <p:nvSpPr>
          <p:cNvPr id="19" name="Retângulo 18">
            <a:extLst>
              <a:ext uri="{FF2B5EF4-FFF2-40B4-BE49-F238E27FC236}">
                <a16:creationId xmlns:a16="http://schemas.microsoft.com/office/drawing/2014/main" id="{9294F9AE-1EF8-4831-847A-E0732A0B98FE}"/>
              </a:ext>
            </a:extLst>
          </p:cNvPr>
          <p:cNvSpPr/>
          <p:nvPr userDrawn="1"/>
        </p:nvSpPr>
        <p:spPr>
          <a:xfrm>
            <a:off x="0" y="6196614"/>
            <a:ext cx="12192000" cy="661386"/>
          </a:xfrm>
          <a:prstGeom prst="rect">
            <a:avLst/>
          </a:prstGeom>
          <a:solidFill>
            <a:srgbClr val="2631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2" name="Espaço Reservado para Número de Slide 5">
            <a:extLst>
              <a:ext uri="{FF2B5EF4-FFF2-40B4-BE49-F238E27FC236}">
                <a16:creationId xmlns:a16="http://schemas.microsoft.com/office/drawing/2014/main" id="{B765F902-8C3F-42A9-92C8-D980C9144F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54700" y="6336385"/>
            <a:ext cx="482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DC043D3B-68EA-494F-B371-61C74477040A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E49FE8D1-343B-4AAB-A72C-4CE488C53B16}"/>
              </a:ext>
            </a:extLst>
          </p:cNvPr>
          <p:cNvSpPr txBox="1"/>
          <p:nvPr userDrawn="1"/>
        </p:nvSpPr>
        <p:spPr>
          <a:xfrm>
            <a:off x="8887918" y="6418920"/>
            <a:ext cx="280878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© 2021 Atlantica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ospitality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nternational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® |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onfidential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&amp;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roprietary</a:t>
            </a:r>
            <a:endParaRPr lang="pt-BR" sz="700" dirty="0">
              <a:solidFill>
                <a:schemeClr val="bg1"/>
              </a:solidFill>
            </a:endParaRPr>
          </a:p>
        </p:txBody>
      </p:sp>
      <p:grpSp>
        <p:nvGrpSpPr>
          <p:cNvPr id="13" name="Agrupar 12">
            <a:extLst>
              <a:ext uri="{FF2B5EF4-FFF2-40B4-BE49-F238E27FC236}">
                <a16:creationId xmlns:a16="http://schemas.microsoft.com/office/drawing/2014/main" id="{F5FD5B0E-88DD-4C1A-82EE-829E9256E91A}"/>
              </a:ext>
            </a:extLst>
          </p:cNvPr>
          <p:cNvGrpSpPr/>
          <p:nvPr userDrawn="1"/>
        </p:nvGrpSpPr>
        <p:grpSpPr>
          <a:xfrm>
            <a:off x="676454" y="6359913"/>
            <a:ext cx="3598823" cy="346377"/>
            <a:chOff x="676454" y="6359913"/>
            <a:chExt cx="3598823" cy="346377"/>
          </a:xfrm>
        </p:grpSpPr>
        <p:pic>
          <p:nvPicPr>
            <p:cNvPr id="14" name="Imagem 13">
              <a:extLst>
                <a:ext uri="{FF2B5EF4-FFF2-40B4-BE49-F238E27FC236}">
                  <a16:creationId xmlns:a16="http://schemas.microsoft.com/office/drawing/2014/main" id="{D5CE91EF-F847-4CEA-97E2-9AB1F53C6C8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76454" y="6359913"/>
              <a:ext cx="448325" cy="346377"/>
            </a:xfrm>
            <a:prstGeom prst="rect">
              <a:avLst/>
            </a:prstGeom>
          </p:spPr>
        </p:pic>
        <p:pic>
          <p:nvPicPr>
            <p:cNvPr id="15" name="Imagem 14">
              <a:extLst>
                <a:ext uri="{FF2B5EF4-FFF2-40B4-BE49-F238E27FC236}">
                  <a16:creationId xmlns:a16="http://schemas.microsoft.com/office/drawing/2014/main" id="{D44CF304-005C-4660-9771-214581BDD2E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1124779" y="6391807"/>
              <a:ext cx="3150498" cy="2703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826156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áfico 3">
            <a:extLst>
              <a:ext uri="{FF2B5EF4-FFF2-40B4-BE49-F238E27FC236}">
                <a16:creationId xmlns:a16="http://schemas.microsoft.com/office/drawing/2014/main" id="{8AB139A4-7AB4-4502-BDA5-7EC0952C8D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30" y="112595"/>
            <a:ext cx="570224" cy="681306"/>
          </a:xfrm>
          <a:prstGeom prst="rect">
            <a:avLst/>
          </a:prstGeom>
        </p:spPr>
      </p:pic>
      <p:sp>
        <p:nvSpPr>
          <p:cNvPr id="13" name="Espaço Reservado para Texto 6">
            <a:extLst>
              <a:ext uri="{FF2B5EF4-FFF2-40B4-BE49-F238E27FC236}">
                <a16:creationId xmlns:a16="http://schemas.microsoft.com/office/drawing/2014/main" id="{BD1055C0-7B5B-461F-A090-A6BBA77CD4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8816" y="136525"/>
            <a:ext cx="11097884" cy="657376"/>
          </a:xfrm>
        </p:spPr>
        <p:txBody>
          <a:bodyPr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pt-BR" dirty="0"/>
              <a:t>Inserir aqui o título</a:t>
            </a:r>
            <a:br>
              <a:rPr lang="pt-BR" dirty="0"/>
            </a:br>
            <a:r>
              <a:rPr lang="pt-BR" dirty="0"/>
              <a:t>de duas linhas</a:t>
            </a:r>
          </a:p>
        </p:txBody>
      </p:sp>
      <p:sp>
        <p:nvSpPr>
          <p:cNvPr id="14" name="Espaço Reservado para Texto 10">
            <a:extLst>
              <a:ext uri="{FF2B5EF4-FFF2-40B4-BE49-F238E27FC236}">
                <a16:creationId xmlns:a16="http://schemas.microsoft.com/office/drawing/2014/main" id="{4B5CFF6E-6DC3-4375-9B87-9F72616AE1E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8488" y="1338439"/>
            <a:ext cx="5497512" cy="4829447"/>
          </a:xfrm>
        </p:spPr>
        <p:txBody>
          <a:bodyPr>
            <a:normAutofit/>
          </a:bodyPr>
          <a:lstStyle>
            <a:lvl1pPr>
              <a:defRPr sz="1400"/>
            </a:lvl1pPr>
            <a:lvl2pPr marL="685800" indent="-228600">
              <a:buFont typeface="Segoe UI" panose="020B0502040204020203" pitchFamily="34" charset="0"/>
              <a:buChar char="‒"/>
              <a:defRPr sz="1100"/>
            </a:lvl2pPr>
            <a:lvl3pPr marL="1143000" indent="-228600">
              <a:buFont typeface="Segoe UI" panose="020B0502040204020203" pitchFamily="34" charset="0"/>
              <a:buChar char="‒"/>
              <a:defRPr sz="1100"/>
            </a:lvl3pPr>
            <a:lvl4pPr marL="1600200" indent="-228600">
              <a:buFont typeface="Segoe UI" panose="020B0502040204020203" pitchFamily="34" charset="0"/>
              <a:buChar char="‒"/>
              <a:defRPr sz="1100"/>
            </a:lvl4pPr>
            <a:lvl5pPr marL="2057400" indent="-228600">
              <a:buFont typeface="Segoe UI" panose="020B0502040204020203" pitchFamily="34" charset="0"/>
              <a:buChar char="‒"/>
              <a:defRPr sz="1100"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17" name="Espaço Reservado para Texto 10">
            <a:extLst>
              <a:ext uri="{FF2B5EF4-FFF2-40B4-BE49-F238E27FC236}">
                <a16:creationId xmlns:a16="http://schemas.microsoft.com/office/drawing/2014/main" id="{90808009-1DBF-4843-A7FC-D3FA738AAD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99188" y="1338439"/>
            <a:ext cx="5497512" cy="4829447"/>
          </a:xfrm>
        </p:spPr>
        <p:txBody>
          <a:bodyPr>
            <a:normAutofit/>
          </a:bodyPr>
          <a:lstStyle>
            <a:lvl1pPr>
              <a:defRPr sz="1400"/>
            </a:lvl1pPr>
            <a:lvl2pPr marL="685800" indent="-228600">
              <a:buFont typeface="Segoe UI" panose="020B0502040204020203" pitchFamily="34" charset="0"/>
              <a:buChar char="‒"/>
              <a:defRPr sz="1100"/>
            </a:lvl2pPr>
            <a:lvl3pPr marL="1143000" indent="-228600">
              <a:buFont typeface="Segoe UI" panose="020B0502040204020203" pitchFamily="34" charset="0"/>
              <a:buChar char="‒"/>
              <a:defRPr sz="1100"/>
            </a:lvl3pPr>
            <a:lvl4pPr marL="1600200" indent="-228600">
              <a:buFont typeface="Segoe UI" panose="020B0502040204020203" pitchFamily="34" charset="0"/>
              <a:buChar char="‒"/>
              <a:defRPr sz="1100"/>
            </a:lvl4pPr>
            <a:lvl5pPr marL="2057400" indent="-228600">
              <a:buFont typeface="Segoe UI" panose="020B0502040204020203" pitchFamily="34" charset="0"/>
              <a:buChar char="‒"/>
              <a:defRPr sz="1100"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11" name="Espaço Reservado para Texto 10">
            <a:extLst>
              <a:ext uri="{FF2B5EF4-FFF2-40B4-BE49-F238E27FC236}">
                <a16:creationId xmlns:a16="http://schemas.microsoft.com/office/drawing/2014/main" id="{68BCF501-EA35-41AC-BC22-CF9EC7FAF9B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8488" y="957532"/>
            <a:ext cx="5497512" cy="284672"/>
          </a:xfrm>
        </p:spPr>
        <p:txBody>
          <a:bodyPr>
            <a:normAutofit/>
          </a:bodyPr>
          <a:lstStyle>
            <a:lvl1pPr marL="0" indent="0" algn="l">
              <a:buNone/>
              <a:defRPr sz="1400" u="sng"/>
            </a:lvl1pPr>
            <a:lvl2pPr marL="685800" indent="-228600">
              <a:buFont typeface="Segoe UI" panose="020B0502040204020203" pitchFamily="34" charset="0"/>
              <a:buChar char="‒"/>
              <a:defRPr sz="1100"/>
            </a:lvl2pPr>
            <a:lvl3pPr marL="1143000" indent="-228600">
              <a:buFont typeface="Segoe UI" panose="020B0502040204020203" pitchFamily="34" charset="0"/>
              <a:buChar char="‒"/>
              <a:defRPr sz="1100"/>
            </a:lvl3pPr>
            <a:lvl4pPr marL="1600200" indent="-228600">
              <a:buFont typeface="Segoe UI" panose="020B0502040204020203" pitchFamily="34" charset="0"/>
              <a:buChar char="‒"/>
              <a:defRPr sz="1100"/>
            </a:lvl4pPr>
            <a:lvl5pPr marL="2057400" indent="-228600">
              <a:buFont typeface="Segoe UI" panose="020B0502040204020203" pitchFamily="34" charset="0"/>
              <a:buChar char="‒"/>
              <a:defRPr sz="1100"/>
            </a:lvl5pPr>
          </a:lstStyle>
          <a:p>
            <a:pPr lvl="0"/>
            <a:r>
              <a:rPr lang="pt-BR" dirty="0"/>
              <a:t>Inserir aqui o título da coluna</a:t>
            </a:r>
          </a:p>
        </p:txBody>
      </p:sp>
      <p:sp>
        <p:nvSpPr>
          <p:cNvPr id="16" name="Espaço Reservado para Texto 10">
            <a:extLst>
              <a:ext uri="{FF2B5EF4-FFF2-40B4-BE49-F238E27FC236}">
                <a16:creationId xmlns:a16="http://schemas.microsoft.com/office/drawing/2014/main" id="{86B91B79-37B1-4BA0-B95C-AC36D3F273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99188" y="957532"/>
            <a:ext cx="5497512" cy="284672"/>
          </a:xfrm>
        </p:spPr>
        <p:txBody>
          <a:bodyPr>
            <a:normAutofit/>
          </a:bodyPr>
          <a:lstStyle>
            <a:lvl1pPr marL="0" indent="0" algn="l">
              <a:buNone/>
              <a:defRPr sz="1400" u="sng"/>
            </a:lvl1pPr>
            <a:lvl2pPr marL="685800" indent="-228600">
              <a:buFont typeface="Segoe UI" panose="020B0502040204020203" pitchFamily="34" charset="0"/>
              <a:buChar char="‒"/>
              <a:defRPr sz="1100"/>
            </a:lvl2pPr>
            <a:lvl3pPr marL="1143000" indent="-228600">
              <a:buFont typeface="Segoe UI" panose="020B0502040204020203" pitchFamily="34" charset="0"/>
              <a:buChar char="‒"/>
              <a:defRPr sz="1100"/>
            </a:lvl3pPr>
            <a:lvl4pPr marL="1600200" indent="-228600">
              <a:buFont typeface="Segoe UI" panose="020B0502040204020203" pitchFamily="34" charset="0"/>
              <a:buChar char="‒"/>
              <a:defRPr sz="1100"/>
            </a:lvl4pPr>
            <a:lvl5pPr marL="2057400" indent="-228600">
              <a:buFont typeface="Segoe UI" panose="020B0502040204020203" pitchFamily="34" charset="0"/>
              <a:buChar char="‒"/>
              <a:defRPr sz="1100"/>
            </a:lvl5pPr>
          </a:lstStyle>
          <a:p>
            <a:pPr lvl="0"/>
            <a:r>
              <a:rPr lang="pt-BR" dirty="0"/>
              <a:t>Inserir aqui o título da coluna</a:t>
            </a:r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0A12B151-F795-475A-B54C-F3712C6036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60862" y="-33428"/>
            <a:ext cx="1531137" cy="808017"/>
          </a:xfrm>
          <a:prstGeom prst="rect">
            <a:avLst/>
          </a:prstGeom>
        </p:spPr>
      </p:pic>
      <p:sp>
        <p:nvSpPr>
          <p:cNvPr id="21" name="Retângulo 20">
            <a:extLst>
              <a:ext uri="{FF2B5EF4-FFF2-40B4-BE49-F238E27FC236}">
                <a16:creationId xmlns:a16="http://schemas.microsoft.com/office/drawing/2014/main" id="{FB89FA2A-47B4-4C65-96A2-37AD40292097}"/>
              </a:ext>
            </a:extLst>
          </p:cNvPr>
          <p:cNvSpPr/>
          <p:nvPr userDrawn="1"/>
        </p:nvSpPr>
        <p:spPr>
          <a:xfrm>
            <a:off x="0" y="6196614"/>
            <a:ext cx="12192000" cy="661386"/>
          </a:xfrm>
          <a:prstGeom prst="rect">
            <a:avLst/>
          </a:prstGeom>
          <a:solidFill>
            <a:srgbClr val="2631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3" name="Espaço Reservado para Número de Slide 5">
            <a:extLst>
              <a:ext uri="{FF2B5EF4-FFF2-40B4-BE49-F238E27FC236}">
                <a16:creationId xmlns:a16="http://schemas.microsoft.com/office/drawing/2014/main" id="{76DDCA50-7524-48C9-8DA4-34FAC825BB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54700" y="6336385"/>
            <a:ext cx="482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DC043D3B-68EA-494F-B371-61C74477040A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24" name="CaixaDeTexto 23">
            <a:extLst>
              <a:ext uri="{FF2B5EF4-FFF2-40B4-BE49-F238E27FC236}">
                <a16:creationId xmlns:a16="http://schemas.microsoft.com/office/drawing/2014/main" id="{BD3F8C84-8B7B-46C0-8CF1-AEAE2BA48BDF}"/>
              </a:ext>
            </a:extLst>
          </p:cNvPr>
          <p:cNvSpPr txBox="1"/>
          <p:nvPr userDrawn="1"/>
        </p:nvSpPr>
        <p:spPr>
          <a:xfrm>
            <a:off x="8887918" y="6418920"/>
            <a:ext cx="280878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© 2021 Atlantica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ospitality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nternational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® |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onfidential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&amp;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roprietary</a:t>
            </a:r>
            <a:endParaRPr lang="pt-BR" sz="700" dirty="0">
              <a:solidFill>
                <a:schemeClr val="bg1"/>
              </a:solidFill>
            </a:endParaRPr>
          </a:p>
        </p:txBody>
      </p:sp>
      <p:grpSp>
        <p:nvGrpSpPr>
          <p:cNvPr id="15" name="Agrupar 14">
            <a:extLst>
              <a:ext uri="{FF2B5EF4-FFF2-40B4-BE49-F238E27FC236}">
                <a16:creationId xmlns:a16="http://schemas.microsoft.com/office/drawing/2014/main" id="{14394472-1B65-470C-A0E1-82523B6A3435}"/>
              </a:ext>
            </a:extLst>
          </p:cNvPr>
          <p:cNvGrpSpPr/>
          <p:nvPr userDrawn="1"/>
        </p:nvGrpSpPr>
        <p:grpSpPr>
          <a:xfrm>
            <a:off x="676454" y="6359913"/>
            <a:ext cx="3598823" cy="346377"/>
            <a:chOff x="676454" y="6359913"/>
            <a:chExt cx="3598823" cy="346377"/>
          </a:xfrm>
        </p:grpSpPr>
        <p:pic>
          <p:nvPicPr>
            <p:cNvPr id="18" name="Imagem 17">
              <a:extLst>
                <a:ext uri="{FF2B5EF4-FFF2-40B4-BE49-F238E27FC236}">
                  <a16:creationId xmlns:a16="http://schemas.microsoft.com/office/drawing/2014/main" id="{FF5BE8DE-C9DB-4C30-BB3C-972D81F7494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76454" y="6359913"/>
              <a:ext cx="448325" cy="346377"/>
            </a:xfrm>
            <a:prstGeom prst="rect">
              <a:avLst/>
            </a:prstGeom>
          </p:spPr>
        </p:pic>
        <p:pic>
          <p:nvPicPr>
            <p:cNvPr id="19" name="Imagem 18">
              <a:extLst>
                <a:ext uri="{FF2B5EF4-FFF2-40B4-BE49-F238E27FC236}">
                  <a16:creationId xmlns:a16="http://schemas.microsoft.com/office/drawing/2014/main" id="{1EE8214E-5D8C-4991-A600-83E68D1205C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1124779" y="6391807"/>
              <a:ext cx="3150498" cy="2703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153231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áfico 3">
            <a:extLst>
              <a:ext uri="{FF2B5EF4-FFF2-40B4-BE49-F238E27FC236}">
                <a16:creationId xmlns:a16="http://schemas.microsoft.com/office/drawing/2014/main" id="{8AB139A4-7AB4-4502-BDA5-7EC0952C8D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30" y="112595"/>
            <a:ext cx="570224" cy="681306"/>
          </a:xfrm>
          <a:prstGeom prst="rect">
            <a:avLst/>
          </a:prstGeom>
        </p:spPr>
      </p:pic>
      <p:sp>
        <p:nvSpPr>
          <p:cNvPr id="13" name="Espaço Reservado para Texto 6">
            <a:extLst>
              <a:ext uri="{FF2B5EF4-FFF2-40B4-BE49-F238E27FC236}">
                <a16:creationId xmlns:a16="http://schemas.microsoft.com/office/drawing/2014/main" id="{BD1055C0-7B5B-461F-A090-A6BBA77CD4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8816" y="136525"/>
            <a:ext cx="11097884" cy="657376"/>
          </a:xfrm>
        </p:spPr>
        <p:txBody>
          <a:bodyPr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pt-BR" dirty="0"/>
              <a:t>Inserir aqui o título</a:t>
            </a:r>
            <a:br>
              <a:rPr lang="pt-BR" dirty="0"/>
            </a:br>
            <a:r>
              <a:rPr lang="pt-BR" dirty="0"/>
              <a:t>de duas linhas</a:t>
            </a:r>
          </a:p>
        </p:txBody>
      </p:sp>
      <p:sp>
        <p:nvSpPr>
          <p:cNvPr id="14" name="Espaço Reservado para Texto 10">
            <a:extLst>
              <a:ext uri="{FF2B5EF4-FFF2-40B4-BE49-F238E27FC236}">
                <a16:creationId xmlns:a16="http://schemas.microsoft.com/office/drawing/2014/main" id="{4B5CFF6E-6DC3-4375-9B87-9F72616AE1E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8488" y="1052423"/>
            <a:ext cx="5497512" cy="5115463"/>
          </a:xfrm>
        </p:spPr>
        <p:txBody>
          <a:bodyPr>
            <a:normAutofit/>
          </a:bodyPr>
          <a:lstStyle>
            <a:lvl1pPr>
              <a:defRPr sz="1400"/>
            </a:lvl1pPr>
            <a:lvl2pPr marL="685800" indent="-228600">
              <a:buFont typeface="Segoe UI" panose="020B0502040204020203" pitchFamily="34" charset="0"/>
              <a:buChar char="‒"/>
              <a:defRPr sz="1100"/>
            </a:lvl2pPr>
            <a:lvl3pPr marL="1143000" indent="-228600">
              <a:buFont typeface="Segoe UI" panose="020B0502040204020203" pitchFamily="34" charset="0"/>
              <a:buChar char="‒"/>
              <a:defRPr sz="1100"/>
            </a:lvl3pPr>
            <a:lvl4pPr marL="1600200" indent="-228600">
              <a:buFont typeface="Segoe UI" panose="020B0502040204020203" pitchFamily="34" charset="0"/>
              <a:buChar char="‒"/>
              <a:defRPr sz="1100"/>
            </a:lvl4pPr>
            <a:lvl5pPr marL="2057400" indent="-228600">
              <a:buFont typeface="Segoe UI" panose="020B0502040204020203" pitchFamily="34" charset="0"/>
              <a:buChar char="‒"/>
              <a:defRPr sz="1100"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16" name="Espaço Reservado para Imagem 5">
            <a:extLst>
              <a:ext uri="{FF2B5EF4-FFF2-40B4-BE49-F238E27FC236}">
                <a16:creationId xmlns:a16="http://schemas.microsoft.com/office/drawing/2014/main" id="{645327CD-4F70-41C9-A504-D1C1C0541B3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99188" y="1052513"/>
            <a:ext cx="5497512" cy="5114925"/>
          </a:xfrm>
          <a:solidFill>
            <a:srgbClr val="D6D6CE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endParaRPr lang="pt-BR"/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C3EF31A6-1102-4E7B-BB1B-0017597C1BC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60862" y="-33428"/>
            <a:ext cx="1531137" cy="808017"/>
          </a:xfrm>
          <a:prstGeom prst="rect">
            <a:avLst/>
          </a:prstGeom>
        </p:spPr>
      </p:pic>
      <p:sp>
        <p:nvSpPr>
          <p:cNvPr id="19" name="Retângulo 18">
            <a:extLst>
              <a:ext uri="{FF2B5EF4-FFF2-40B4-BE49-F238E27FC236}">
                <a16:creationId xmlns:a16="http://schemas.microsoft.com/office/drawing/2014/main" id="{8AD0F8D8-AAD4-49E8-AD8C-B0F8B61C496E}"/>
              </a:ext>
            </a:extLst>
          </p:cNvPr>
          <p:cNvSpPr/>
          <p:nvPr userDrawn="1"/>
        </p:nvSpPr>
        <p:spPr>
          <a:xfrm>
            <a:off x="0" y="6196614"/>
            <a:ext cx="12192000" cy="661386"/>
          </a:xfrm>
          <a:prstGeom prst="rect">
            <a:avLst/>
          </a:prstGeom>
          <a:solidFill>
            <a:srgbClr val="2631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0" name="Espaço Reservado para Número de Slide 5">
            <a:extLst>
              <a:ext uri="{FF2B5EF4-FFF2-40B4-BE49-F238E27FC236}">
                <a16:creationId xmlns:a16="http://schemas.microsoft.com/office/drawing/2014/main" id="{D05B4D79-CBD0-4C4A-8689-024355AC13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54700" y="6336385"/>
            <a:ext cx="482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DC043D3B-68EA-494F-B371-61C74477040A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F187E96F-6D18-4776-91E9-0E6104C9BB1E}"/>
              </a:ext>
            </a:extLst>
          </p:cNvPr>
          <p:cNvSpPr txBox="1"/>
          <p:nvPr userDrawn="1"/>
        </p:nvSpPr>
        <p:spPr>
          <a:xfrm>
            <a:off x="8887918" y="6418920"/>
            <a:ext cx="280878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© 2021 Atlantica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ospitality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nternational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® |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onfidential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&amp;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roprietary</a:t>
            </a:r>
            <a:endParaRPr lang="pt-BR" sz="700" dirty="0">
              <a:solidFill>
                <a:schemeClr val="bg1"/>
              </a:solidFill>
            </a:endParaRPr>
          </a:p>
        </p:txBody>
      </p:sp>
      <p:grpSp>
        <p:nvGrpSpPr>
          <p:cNvPr id="11" name="Agrupar 10">
            <a:extLst>
              <a:ext uri="{FF2B5EF4-FFF2-40B4-BE49-F238E27FC236}">
                <a16:creationId xmlns:a16="http://schemas.microsoft.com/office/drawing/2014/main" id="{C2CB5CC7-7637-44E7-8806-AACE484EFCA3}"/>
              </a:ext>
            </a:extLst>
          </p:cNvPr>
          <p:cNvGrpSpPr/>
          <p:nvPr userDrawn="1"/>
        </p:nvGrpSpPr>
        <p:grpSpPr>
          <a:xfrm>
            <a:off x="676454" y="6359913"/>
            <a:ext cx="3598823" cy="346377"/>
            <a:chOff x="676454" y="6359913"/>
            <a:chExt cx="3598823" cy="346377"/>
          </a:xfrm>
        </p:grpSpPr>
        <p:pic>
          <p:nvPicPr>
            <p:cNvPr id="12" name="Imagem 11">
              <a:extLst>
                <a:ext uri="{FF2B5EF4-FFF2-40B4-BE49-F238E27FC236}">
                  <a16:creationId xmlns:a16="http://schemas.microsoft.com/office/drawing/2014/main" id="{6A7CB8C5-A5D9-40ED-A699-6EE060B2580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76454" y="6359913"/>
              <a:ext cx="448325" cy="346377"/>
            </a:xfrm>
            <a:prstGeom prst="rect">
              <a:avLst/>
            </a:prstGeom>
          </p:spPr>
        </p:pic>
        <p:pic>
          <p:nvPicPr>
            <p:cNvPr id="15" name="Imagem 14">
              <a:extLst>
                <a:ext uri="{FF2B5EF4-FFF2-40B4-BE49-F238E27FC236}">
                  <a16:creationId xmlns:a16="http://schemas.microsoft.com/office/drawing/2014/main" id="{F3B9AC2A-1FB8-411A-B87D-A21D52C16D1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1124779" y="6391807"/>
              <a:ext cx="3150498" cy="2703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2948832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áfico 3">
            <a:extLst>
              <a:ext uri="{FF2B5EF4-FFF2-40B4-BE49-F238E27FC236}">
                <a16:creationId xmlns:a16="http://schemas.microsoft.com/office/drawing/2014/main" id="{8AB139A4-7AB4-4502-BDA5-7EC0952C8D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30" y="112595"/>
            <a:ext cx="570224" cy="681306"/>
          </a:xfrm>
          <a:prstGeom prst="rect">
            <a:avLst/>
          </a:prstGeom>
        </p:spPr>
      </p:pic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F0C4F1A2-C512-41E0-A24B-AFD12104AE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8816" y="136525"/>
            <a:ext cx="11097884" cy="259298"/>
          </a:xfrm>
        </p:spPr>
        <p:txBody>
          <a:bodyPr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pt-BR" dirty="0"/>
              <a:t>Inserir aqui o título</a:t>
            </a:r>
          </a:p>
        </p:txBody>
      </p:sp>
      <p:sp>
        <p:nvSpPr>
          <p:cNvPr id="16" name="Espaço Reservado para Texto 6">
            <a:extLst>
              <a:ext uri="{FF2B5EF4-FFF2-40B4-BE49-F238E27FC236}">
                <a16:creationId xmlns:a16="http://schemas.microsoft.com/office/drawing/2014/main" id="{54E15D3F-2955-4A4F-BDA5-F7B6D8AA06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8816" y="515291"/>
            <a:ext cx="11097884" cy="259298"/>
          </a:xfrm>
        </p:spPr>
        <p:txBody>
          <a:bodyPr>
            <a:noAutofit/>
          </a:bodyPr>
          <a:lstStyle>
            <a:lvl1pPr marL="0" indent="0">
              <a:buNone/>
              <a:defRPr sz="1600" b="0"/>
            </a:lvl1pPr>
            <a:lvl2pPr marL="45720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pt-BR" dirty="0"/>
              <a:t>Inserir aqui o subtítulo</a:t>
            </a:r>
          </a:p>
        </p:txBody>
      </p:sp>
      <p:sp>
        <p:nvSpPr>
          <p:cNvPr id="20" name="Espaço Reservado para Texto 10">
            <a:extLst>
              <a:ext uri="{FF2B5EF4-FFF2-40B4-BE49-F238E27FC236}">
                <a16:creationId xmlns:a16="http://schemas.microsoft.com/office/drawing/2014/main" id="{83554733-5066-4885-8EBF-A3177EE5F7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8488" y="1052423"/>
            <a:ext cx="5497512" cy="5115463"/>
          </a:xfrm>
        </p:spPr>
        <p:txBody>
          <a:bodyPr>
            <a:normAutofit/>
          </a:bodyPr>
          <a:lstStyle>
            <a:lvl1pPr>
              <a:defRPr sz="1400"/>
            </a:lvl1pPr>
            <a:lvl2pPr marL="685800" indent="-228600">
              <a:buFont typeface="Segoe UI" panose="020B0502040204020203" pitchFamily="34" charset="0"/>
              <a:buChar char="‒"/>
              <a:defRPr sz="1100"/>
            </a:lvl2pPr>
            <a:lvl3pPr marL="1143000" indent="-228600">
              <a:buFont typeface="Segoe UI" panose="020B0502040204020203" pitchFamily="34" charset="0"/>
              <a:buChar char="‒"/>
              <a:defRPr sz="1100"/>
            </a:lvl3pPr>
            <a:lvl4pPr marL="1600200" indent="-228600">
              <a:buFont typeface="Segoe UI" panose="020B0502040204020203" pitchFamily="34" charset="0"/>
              <a:buChar char="‒"/>
              <a:defRPr sz="1100"/>
            </a:lvl4pPr>
            <a:lvl5pPr marL="2057400" indent="-228600">
              <a:buFont typeface="Segoe UI" panose="020B0502040204020203" pitchFamily="34" charset="0"/>
              <a:buChar char="‒"/>
              <a:defRPr sz="1100"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13" name="Espaço Reservado para Imagem 5">
            <a:extLst>
              <a:ext uri="{FF2B5EF4-FFF2-40B4-BE49-F238E27FC236}">
                <a16:creationId xmlns:a16="http://schemas.microsoft.com/office/drawing/2014/main" id="{66AEA40D-443F-43EC-B955-657571B3DB5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99188" y="1052513"/>
            <a:ext cx="5497512" cy="5114925"/>
          </a:xfrm>
          <a:solidFill>
            <a:srgbClr val="D6D6CE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endParaRPr lang="pt-BR"/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6ABA8D24-3D52-463D-B7A8-DBC8F2B3DBB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60862" y="-33428"/>
            <a:ext cx="1531137" cy="808017"/>
          </a:xfrm>
          <a:prstGeom prst="rect">
            <a:avLst/>
          </a:prstGeom>
        </p:spPr>
      </p:pic>
      <p:sp>
        <p:nvSpPr>
          <p:cNvPr id="19" name="Retângulo 18">
            <a:extLst>
              <a:ext uri="{FF2B5EF4-FFF2-40B4-BE49-F238E27FC236}">
                <a16:creationId xmlns:a16="http://schemas.microsoft.com/office/drawing/2014/main" id="{CF5B3EB5-024C-4C01-B00E-035532744EA3}"/>
              </a:ext>
            </a:extLst>
          </p:cNvPr>
          <p:cNvSpPr/>
          <p:nvPr userDrawn="1"/>
        </p:nvSpPr>
        <p:spPr>
          <a:xfrm>
            <a:off x="0" y="6196614"/>
            <a:ext cx="12192000" cy="661386"/>
          </a:xfrm>
          <a:prstGeom prst="rect">
            <a:avLst/>
          </a:prstGeom>
          <a:solidFill>
            <a:srgbClr val="2631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1" name="Espaço Reservado para Número de Slide 5">
            <a:extLst>
              <a:ext uri="{FF2B5EF4-FFF2-40B4-BE49-F238E27FC236}">
                <a16:creationId xmlns:a16="http://schemas.microsoft.com/office/drawing/2014/main" id="{3AAADA1F-E493-4A9F-B659-49809A3808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54700" y="6336385"/>
            <a:ext cx="482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DC043D3B-68EA-494F-B371-61C74477040A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401EE27B-99A9-4F52-B92C-4C3F405651FA}"/>
              </a:ext>
            </a:extLst>
          </p:cNvPr>
          <p:cNvSpPr txBox="1"/>
          <p:nvPr userDrawn="1"/>
        </p:nvSpPr>
        <p:spPr>
          <a:xfrm>
            <a:off x="8887918" y="6418920"/>
            <a:ext cx="280878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© 2021 Atlantica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ospitality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nternational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® |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onfidential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&amp;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roprietary</a:t>
            </a:r>
            <a:endParaRPr lang="pt-BR" sz="700" dirty="0">
              <a:solidFill>
                <a:schemeClr val="bg1"/>
              </a:solidFill>
            </a:endParaRPr>
          </a:p>
        </p:txBody>
      </p:sp>
      <p:grpSp>
        <p:nvGrpSpPr>
          <p:cNvPr id="12" name="Agrupar 11">
            <a:extLst>
              <a:ext uri="{FF2B5EF4-FFF2-40B4-BE49-F238E27FC236}">
                <a16:creationId xmlns:a16="http://schemas.microsoft.com/office/drawing/2014/main" id="{CE3350A5-DED2-4361-B5F6-3ACDD622939C}"/>
              </a:ext>
            </a:extLst>
          </p:cNvPr>
          <p:cNvGrpSpPr/>
          <p:nvPr userDrawn="1"/>
        </p:nvGrpSpPr>
        <p:grpSpPr>
          <a:xfrm>
            <a:off x="676454" y="6359913"/>
            <a:ext cx="3598823" cy="346377"/>
            <a:chOff x="676454" y="6359913"/>
            <a:chExt cx="3598823" cy="346377"/>
          </a:xfrm>
        </p:grpSpPr>
        <p:pic>
          <p:nvPicPr>
            <p:cNvPr id="14" name="Imagem 13">
              <a:extLst>
                <a:ext uri="{FF2B5EF4-FFF2-40B4-BE49-F238E27FC236}">
                  <a16:creationId xmlns:a16="http://schemas.microsoft.com/office/drawing/2014/main" id="{63A6C1D3-964D-469A-ACFC-11BAACBAC9D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76454" y="6359913"/>
              <a:ext cx="448325" cy="346377"/>
            </a:xfrm>
            <a:prstGeom prst="rect">
              <a:avLst/>
            </a:prstGeom>
          </p:spPr>
        </p:pic>
        <p:pic>
          <p:nvPicPr>
            <p:cNvPr id="15" name="Imagem 14">
              <a:extLst>
                <a:ext uri="{FF2B5EF4-FFF2-40B4-BE49-F238E27FC236}">
                  <a16:creationId xmlns:a16="http://schemas.microsoft.com/office/drawing/2014/main" id="{6AFBE131-AF7A-4E10-9589-B1A755BF5D6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1124779" y="6391807"/>
              <a:ext cx="3150498" cy="2703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8775503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áfico 3">
            <a:extLst>
              <a:ext uri="{FF2B5EF4-FFF2-40B4-BE49-F238E27FC236}">
                <a16:creationId xmlns:a16="http://schemas.microsoft.com/office/drawing/2014/main" id="{8AB139A4-7AB4-4502-BDA5-7EC0952C8D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30" y="112595"/>
            <a:ext cx="570224" cy="681306"/>
          </a:xfrm>
          <a:prstGeom prst="rect">
            <a:avLst/>
          </a:prstGeom>
        </p:spPr>
      </p:pic>
      <p:sp>
        <p:nvSpPr>
          <p:cNvPr id="13" name="Espaço Reservado para Texto 6">
            <a:extLst>
              <a:ext uri="{FF2B5EF4-FFF2-40B4-BE49-F238E27FC236}">
                <a16:creationId xmlns:a16="http://schemas.microsoft.com/office/drawing/2014/main" id="{BD1055C0-7B5B-461F-A090-A6BBA77CD4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8816" y="136525"/>
            <a:ext cx="11097884" cy="657376"/>
          </a:xfrm>
        </p:spPr>
        <p:txBody>
          <a:bodyPr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pt-BR" dirty="0"/>
              <a:t>Inserir aqui o título</a:t>
            </a:r>
            <a:br>
              <a:rPr lang="pt-BR" dirty="0"/>
            </a:br>
            <a:r>
              <a:rPr lang="pt-BR" dirty="0"/>
              <a:t>de duas linhas</a:t>
            </a:r>
          </a:p>
        </p:txBody>
      </p:sp>
      <p:sp>
        <p:nvSpPr>
          <p:cNvPr id="16" name="Espaço Reservado para Imagem 5">
            <a:extLst>
              <a:ext uri="{FF2B5EF4-FFF2-40B4-BE49-F238E27FC236}">
                <a16:creationId xmlns:a16="http://schemas.microsoft.com/office/drawing/2014/main" id="{645327CD-4F70-41C9-A504-D1C1C0541B3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99188" y="957533"/>
            <a:ext cx="5497512" cy="5209906"/>
          </a:xfrm>
          <a:solidFill>
            <a:srgbClr val="D6D6CE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endParaRPr lang="pt-BR"/>
          </a:p>
        </p:txBody>
      </p:sp>
      <p:sp>
        <p:nvSpPr>
          <p:cNvPr id="11" name="Espaço Reservado para Texto 10">
            <a:extLst>
              <a:ext uri="{FF2B5EF4-FFF2-40B4-BE49-F238E27FC236}">
                <a16:creationId xmlns:a16="http://schemas.microsoft.com/office/drawing/2014/main" id="{E984342B-2523-4CF6-AA56-03464230FF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8488" y="1338439"/>
            <a:ext cx="5497512" cy="4829447"/>
          </a:xfrm>
        </p:spPr>
        <p:txBody>
          <a:bodyPr>
            <a:normAutofit/>
          </a:bodyPr>
          <a:lstStyle>
            <a:lvl1pPr>
              <a:defRPr sz="1400"/>
            </a:lvl1pPr>
            <a:lvl2pPr marL="685800" indent="-228600">
              <a:buFont typeface="Segoe UI" panose="020B0502040204020203" pitchFamily="34" charset="0"/>
              <a:buChar char="‒"/>
              <a:defRPr sz="1100"/>
            </a:lvl2pPr>
            <a:lvl3pPr marL="1143000" indent="-228600">
              <a:buFont typeface="Segoe UI" panose="020B0502040204020203" pitchFamily="34" charset="0"/>
              <a:buChar char="‒"/>
              <a:defRPr sz="1100"/>
            </a:lvl3pPr>
            <a:lvl4pPr marL="1600200" indent="-228600">
              <a:buFont typeface="Segoe UI" panose="020B0502040204020203" pitchFamily="34" charset="0"/>
              <a:buChar char="‒"/>
              <a:defRPr sz="1100"/>
            </a:lvl4pPr>
            <a:lvl5pPr marL="2057400" indent="-228600">
              <a:buFont typeface="Segoe UI" panose="020B0502040204020203" pitchFamily="34" charset="0"/>
              <a:buChar char="‒"/>
              <a:defRPr sz="1100"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17" name="Espaço Reservado para Texto 10">
            <a:extLst>
              <a:ext uri="{FF2B5EF4-FFF2-40B4-BE49-F238E27FC236}">
                <a16:creationId xmlns:a16="http://schemas.microsoft.com/office/drawing/2014/main" id="{D035B319-4EBF-4545-B122-DE4C86F546D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8488" y="957532"/>
            <a:ext cx="5497512" cy="284672"/>
          </a:xfrm>
        </p:spPr>
        <p:txBody>
          <a:bodyPr>
            <a:normAutofit/>
          </a:bodyPr>
          <a:lstStyle>
            <a:lvl1pPr marL="0" indent="0" algn="l">
              <a:buNone/>
              <a:defRPr sz="1400" u="sng"/>
            </a:lvl1pPr>
            <a:lvl2pPr marL="685800" indent="-228600">
              <a:buFont typeface="Segoe UI" panose="020B0502040204020203" pitchFamily="34" charset="0"/>
              <a:buChar char="‒"/>
              <a:defRPr sz="1100"/>
            </a:lvl2pPr>
            <a:lvl3pPr marL="1143000" indent="-228600">
              <a:buFont typeface="Segoe UI" panose="020B0502040204020203" pitchFamily="34" charset="0"/>
              <a:buChar char="‒"/>
              <a:defRPr sz="1100"/>
            </a:lvl3pPr>
            <a:lvl4pPr marL="1600200" indent="-228600">
              <a:buFont typeface="Segoe UI" panose="020B0502040204020203" pitchFamily="34" charset="0"/>
              <a:buChar char="‒"/>
              <a:defRPr sz="1100"/>
            </a:lvl4pPr>
            <a:lvl5pPr marL="2057400" indent="-228600">
              <a:buFont typeface="Segoe UI" panose="020B0502040204020203" pitchFamily="34" charset="0"/>
              <a:buChar char="‒"/>
              <a:defRPr sz="1100"/>
            </a:lvl5pPr>
          </a:lstStyle>
          <a:p>
            <a:pPr lvl="0"/>
            <a:r>
              <a:rPr lang="pt-BR" dirty="0"/>
              <a:t>Inserir aqui o título da coluna</a:t>
            </a:r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BD693A87-4401-49CE-9942-85D80BDAB08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60862" y="-33428"/>
            <a:ext cx="1531137" cy="808017"/>
          </a:xfrm>
          <a:prstGeom prst="rect">
            <a:avLst/>
          </a:prstGeom>
        </p:spPr>
      </p:pic>
      <p:sp>
        <p:nvSpPr>
          <p:cNvPr id="20" name="Retângulo 19">
            <a:extLst>
              <a:ext uri="{FF2B5EF4-FFF2-40B4-BE49-F238E27FC236}">
                <a16:creationId xmlns:a16="http://schemas.microsoft.com/office/drawing/2014/main" id="{96A6EC75-7D01-4A69-9DAA-C6F03D6CA4A9}"/>
              </a:ext>
            </a:extLst>
          </p:cNvPr>
          <p:cNvSpPr/>
          <p:nvPr userDrawn="1"/>
        </p:nvSpPr>
        <p:spPr>
          <a:xfrm>
            <a:off x="0" y="6196614"/>
            <a:ext cx="12192000" cy="661386"/>
          </a:xfrm>
          <a:prstGeom prst="rect">
            <a:avLst/>
          </a:prstGeom>
          <a:solidFill>
            <a:srgbClr val="2631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1" name="Espaço Reservado para Número de Slide 5">
            <a:extLst>
              <a:ext uri="{FF2B5EF4-FFF2-40B4-BE49-F238E27FC236}">
                <a16:creationId xmlns:a16="http://schemas.microsoft.com/office/drawing/2014/main" id="{7E655369-6571-4078-B992-C4C24BB2D6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54700" y="6336385"/>
            <a:ext cx="482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DC043D3B-68EA-494F-B371-61C74477040A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5D06530D-BB3A-410E-84FB-5C601AB65242}"/>
              </a:ext>
            </a:extLst>
          </p:cNvPr>
          <p:cNvSpPr txBox="1"/>
          <p:nvPr userDrawn="1"/>
        </p:nvSpPr>
        <p:spPr>
          <a:xfrm>
            <a:off x="8887918" y="6418920"/>
            <a:ext cx="280878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© 2021 Atlantica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ospitality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nternational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® |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onfidential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&amp;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roprietary</a:t>
            </a:r>
            <a:endParaRPr lang="pt-BR" sz="700" dirty="0">
              <a:solidFill>
                <a:schemeClr val="bg1"/>
              </a:solidFill>
            </a:endParaRPr>
          </a:p>
        </p:txBody>
      </p:sp>
      <p:grpSp>
        <p:nvGrpSpPr>
          <p:cNvPr id="12" name="Agrupar 11">
            <a:extLst>
              <a:ext uri="{FF2B5EF4-FFF2-40B4-BE49-F238E27FC236}">
                <a16:creationId xmlns:a16="http://schemas.microsoft.com/office/drawing/2014/main" id="{A32121BB-0BC5-43F0-B22E-CD8FC4D98244}"/>
              </a:ext>
            </a:extLst>
          </p:cNvPr>
          <p:cNvGrpSpPr/>
          <p:nvPr userDrawn="1"/>
        </p:nvGrpSpPr>
        <p:grpSpPr>
          <a:xfrm>
            <a:off x="676454" y="6359913"/>
            <a:ext cx="3598823" cy="346377"/>
            <a:chOff x="676454" y="6359913"/>
            <a:chExt cx="3598823" cy="346377"/>
          </a:xfrm>
        </p:grpSpPr>
        <p:pic>
          <p:nvPicPr>
            <p:cNvPr id="14" name="Imagem 13">
              <a:extLst>
                <a:ext uri="{FF2B5EF4-FFF2-40B4-BE49-F238E27FC236}">
                  <a16:creationId xmlns:a16="http://schemas.microsoft.com/office/drawing/2014/main" id="{12943C0D-6B11-4502-9CA8-973FFC0ABEF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76454" y="6359913"/>
              <a:ext cx="448325" cy="346377"/>
            </a:xfrm>
            <a:prstGeom prst="rect">
              <a:avLst/>
            </a:prstGeom>
          </p:spPr>
        </p:pic>
        <p:pic>
          <p:nvPicPr>
            <p:cNvPr id="15" name="Imagem 14">
              <a:extLst>
                <a:ext uri="{FF2B5EF4-FFF2-40B4-BE49-F238E27FC236}">
                  <a16:creationId xmlns:a16="http://schemas.microsoft.com/office/drawing/2014/main" id="{EF9F263E-4CB8-4EB8-89A5-5C315FF2B5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1124779" y="6391807"/>
              <a:ext cx="3150498" cy="2703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9302859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áfico 3">
            <a:extLst>
              <a:ext uri="{FF2B5EF4-FFF2-40B4-BE49-F238E27FC236}">
                <a16:creationId xmlns:a16="http://schemas.microsoft.com/office/drawing/2014/main" id="{8AB139A4-7AB4-4502-BDA5-7EC0952C8D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30" y="112595"/>
            <a:ext cx="570224" cy="681306"/>
          </a:xfrm>
          <a:prstGeom prst="rect">
            <a:avLst/>
          </a:prstGeom>
        </p:spPr>
      </p:pic>
      <p:sp>
        <p:nvSpPr>
          <p:cNvPr id="13" name="Espaço Reservado para Texto 6">
            <a:extLst>
              <a:ext uri="{FF2B5EF4-FFF2-40B4-BE49-F238E27FC236}">
                <a16:creationId xmlns:a16="http://schemas.microsoft.com/office/drawing/2014/main" id="{BD1055C0-7B5B-461F-A090-A6BBA77CD4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8816" y="136525"/>
            <a:ext cx="11097884" cy="657376"/>
          </a:xfrm>
        </p:spPr>
        <p:txBody>
          <a:bodyPr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pt-BR" dirty="0"/>
              <a:t>Inserir aqui o título</a:t>
            </a:r>
            <a:br>
              <a:rPr lang="pt-BR" dirty="0"/>
            </a:br>
            <a:r>
              <a:rPr lang="pt-BR" dirty="0"/>
              <a:t>de duas linhas</a:t>
            </a:r>
          </a:p>
        </p:txBody>
      </p:sp>
      <p:sp>
        <p:nvSpPr>
          <p:cNvPr id="14" name="Espaço Reservado para Texto 10">
            <a:extLst>
              <a:ext uri="{FF2B5EF4-FFF2-40B4-BE49-F238E27FC236}">
                <a16:creationId xmlns:a16="http://schemas.microsoft.com/office/drawing/2014/main" id="{4B5CFF6E-6DC3-4375-9B87-9F72616AE1E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9188" y="1052423"/>
            <a:ext cx="5497512" cy="5115463"/>
          </a:xfrm>
        </p:spPr>
        <p:txBody>
          <a:bodyPr>
            <a:normAutofit/>
          </a:bodyPr>
          <a:lstStyle>
            <a:lvl1pPr>
              <a:defRPr sz="1400"/>
            </a:lvl1pPr>
            <a:lvl2pPr marL="685800" indent="-228600">
              <a:buFont typeface="Segoe UI" panose="020B0502040204020203" pitchFamily="34" charset="0"/>
              <a:buChar char="‒"/>
              <a:defRPr sz="1100"/>
            </a:lvl2pPr>
            <a:lvl3pPr marL="1143000" indent="-228600">
              <a:buFont typeface="Segoe UI" panose="020B0502040204020203" pitchFamily="34" charset="0"/>
              <a:buChar char="‒"/>
              <a:defRPr sz="1100"/>
            </a:lvl3pPr>
            <a:lvl4pPr marL="1600200" indent="-228600">
              <a:buFont typeface="Segoe UI" panose="020B0502040204020203" pitchFamily="34" charset="0"/>
              <a:buChar char="‒"/>
              <a:defRPr sz="1100"/>
            </a:lvl4pPr>
            <a:lvl5pPr marL="2057400" indent="-228600">
              <a:buFont typeface="Segoe UI" panose="020B0502040204020203" pitchFamily="34" charset="0"/>
              <a:buChar char="‒"/>
              <a:defRPr sz="1100"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16" name="Espaço Reservado para Imagem 5">
            <a:extLst>
              <a:ext uri="{FF2B5EF4-FFF2-40B4-BE49-F238E27FC236}">
                <a16:creationId xmlns:a16="http://schemas.microsoft.com/office/drawing/2014/main" id="{645327CD-4F70-41C9-A504-D1C1C0541B3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98488" y="1052513"/>
            <a:ext cx="5497512" cy="5114925"/>
          </a:xfrm>
          <a:solidFill>
            <a:srgbClr val="D6D6CE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endParaRPr lang="pt-BR"/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B3C142DB-ADF0-4C51-8620-081E22C68C3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60862" y="-33428"/>
            <a:ext cx="1531137" cy="808017"/>
          </a:xfrm>
          <a:prstGeom prst="rect">
            <a:avLst/>
          </a:prstGeom>
        </p:spPr>
      </p:pic>
      <p:sp>
        <p:nvSpPr>
          <p:cNvPr id="19" name="Retângulo 18">
            <a:extLst>
              <a:ext uri="{FF2B5EF4-FFF2-40B4-BE49-F238E27FC236}">
                <a16:creationId xmlns:a16="http://schemas.microsoft.com/office/drawing/2014/main" id="{DFAAB911-10D0-4F47-9675-834C16289860}"/>
              </a:ext>
            </a:extLst>
          </p:cNvPr>
          <p:cNvSpPr/>
          <p:nvPr userDrawn="1"/>
        </p:nvSpPr>
        <p:spPr>
          <a:xfrm>
            <a:off x="0" y="6196614"/>
            <a:ext cx="12192000" cy="661386"/>
          </a:xfrm>
          <a:prstGeom prst="rect">
            <a:avLst/>
          </a:prstGeom>
          <a:solidFill>
            <a:srgbClr val="2631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0" name="Espaço Reservado para Número de Slide 5">
            <a:extLst>
              <a:ext uri="{FF2B5EF4-FFF2-40B4-BE49-F238E27FC236}">
                <a16:creationId xmlns:a16="http://schemas.microsoft.com/office/drawing/2014/main" id="{A42A72E3-5450-4056-ABC4-3C3205B69A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54700" y="6336385"/>
            <a:ext cx="482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DC043D3B-68EA-494F-B371-61C74477040A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9EB391CF-671A-4F34-BF5F-A6990FD80877}"/>
              </a:ext>
            </a:extLst>
          </p:cNvPr>
          <p:cNvSpPr txBox="1"/>
          <p:nvPr userDrawn="1"/>
        </p:nvSpPr>
        <p:spPr>
          <a:xfrm>
            <a:off x="8887918" y="6418920"/>
            <a:ext cx="280878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© 2021 Atlantica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ospitality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nternational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® |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onfidential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&amp;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roprietary</a:t>
            </a:r>
            <a:endParaRPr lang="pt-BR" sz="700" dirty="0">
              <a:solidFill>
                <a:schemeClr val="bg1"/>
              </a:solidFill>
            </a:endParaRPr>
          </a:p>
        </p:txBody>
      </p:sp>
      <p:grpSp>
        <p:nvGrpSpPr>
          <p:cNvPr id="11" name="Agrupar 10">
            <a:extLst>
              <a:ext uri="{FF2B5EF4-FFF2-40B4-BE49-F238E27FC236}">
                <a16:creationId xmlns:a16="http://schemas.microsoft.com/office/drawing/2014/main" id="{268269C2-CAC3-4CD2-AFFD-AD97C0A3EE0E}"/>
              </a:ext>
            </a:extLst>
          </p:cNvPr>
          <p:cNvGrpSpPr/>
          <p:nvPr userDrawn="1"/>
        </p:nvGrpSpPr>
        <p:grpSpPr>
          <a:xfrm>
            <a:off x="676454" y="6359913"/>
            <a:ext cx="3598823" cy="346377"/>
            <a:chOff x="676454" y="6359913"/>
            <a:chExt cx="3598823" cy="346377"/>
          </a:xfrm>
        </p:grpSpPr>
        <p:pic>
          <p:nvPicPr>
            <p:cNvPr id="12" name="Imagem 11">
              <a:extLst>
                <a:ext uri="{FF2B5EF4-FFF2-40B4-BE49-F238E27FC236}">
                  <a16:creationId xmlns:a16="http://schemas.microsoft.com/office/drawing/2014/main" id="{FB7F50DF-179A-48C7-885B-EC9DDBF2488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76454" y="6359913"/>
              <a:ext cx="448325" cy="346377"/>
            </a:xfrm>
            <a:prstGeom prst="rect">
              <a:avLst/>
            </a:prstGeom>
          </p:spPr>
        </p:pic>
        <p:pic>
          <p:nvPicPr>
            <p:cNvPr id="15" name="Imagem 14">
              <a:extLst>
                <a:ext uri="{FF2B5EF4-FFF2-40B4-BE49-F238E27FC236}">
                  <a16:creationId xmlns:a16="http://schemas.microsoft.com/office/drawing/2014/main" id="{92B6B9D5-9317-4363-A11D-6551A1ACA96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1124779" y="6391807"/>
              <a:ext cx="3150498" cy="2703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5190987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áfico 3">
            <a:extLst>
              <a:ext uri="{FF2B5EF4-FFF2-40B4-BE49-F238E27FC236}">
                <a16:creationId xmlns:a16="http://schemas.microsoft.com/office/drawing/2014/main" id="{8AB139A4-7AB4-4502-BDA5-7EC0952C8D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30" y="112595"/>
            <a:ext cx="570224" cy="681306"/>
          </a:xfrm>
          <a:prstGeom prst="rect">
            <a:avLst/>
          </a:prstGeom>
        </p:spPr>
      </p:pic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F0C4F1A2-C512-41E0-A24B-AFD12104AE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8816" y="136525"/>
            <a:ext cx="11097884" cy="259298"/>
          </a:xfrm>
        </p:spPr>
        <p:txBody>
          <a:bodyPr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pt-BR" dirty="0"/>
              <a:t>Inserir aqui o título</a:t>
            </a:r>
          </a:p>
        </p:txBody>
      </p:sp>
      <p:sp>
        <p:nvSpPr>
          <p:cNvPr id="16" name="Espaço Reservado para Texto 6">
            <a:extLst>
              <a:ext uri="{FF2B5EF4-FFF2-40B4-BE49-F238E27FC236}">
                <a16:creationId xmlns:a16="http://schemas.microsoft.com/office/drawing/2014/main" id="{54E15D3F-2955-4A4F-BDA5-F7B6D8AA06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8816" y="515291"/>
            <a:ext cx="11097884" cy="259298"/>
          </a:xfrm>
        </p:spPr>
        <p:txBody>
          <a:bodyPr>
            <a:noAutofit/>
          </a:bodyPr>
          <a:lstStyle>
            <a:lvl1pPr marL="0" indent="0">
              <a:buNone/>
              <a:defRPr sz="1600" b="0"/>
            </a:lvl1pPr>
            <a:lvl2pPr marL="45720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pt-BR" dirty="0"/>
              <a:t>Inserir aqui o subtítulo</a:t>
            </a:r>
          </a:p>
        </p:txBody>
      </p:sp>
      <p:sp>
        <p:nvSpPr>
          <p:cNvPr id="14" name="Espaço Reservado para Texto 10">
            <a:extLst>
              <a:ext uri="{FF2B5EF4-FFF2-40B4-BE49-F238E27FC236}">
                <a16:creationId xmlns:a16="http://schemas.microsoft.com/office/drawing/2014/main" id="{706E25F5-8825-4C12-BE68-1FE8E611671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9188" y="1052423"/>
            <a:ext cx="5497512" cy="5115463"/>
          </a:xfrm>
        </p:spPr>
        <p:txBody>
          <a:bodyPr>
            <a:normAutofit/>
          </a:bodyPr>
          <a:lstStyle>
            <a:lvl1pPr>
              <a:defRPr sz="1400"/>
            </a:lvl1pPr>
            <a:lvl2pPr marL="685800" indent="-228600">
              <a:buFont typeface="Segoe UI" panose="020B0502040204020203" pitchFamily="34" charset="0"/>
              <a:buChar char="‒"/>
              <a:defRPr sz="1100"/>
            </a:lvl2pPr>
            <a:lvl3pPr marL="1143000" indent="-228600">
              <a:buFont typeface="Segoe UI" panose="020B0502040204020203" pitchFamily="34" charset="0"/>
              <a:buChar char="‒"/>
              <a:defRPr sz="1100"/>
            </a:lvl3pPr>
            <a:lvl4pPr marL="1600200" indent="-228600">
              <a:buFont typeface="Segoe UI" panose="020B0502040204020203" pitchFamily="34" charset="0"/>
              <a:buChar char="‒"/>
              <a:defRPr sz="1100"/>
            </a:lvl4pPr>
            <a:lvl5pPr marL="2057400" indent="-228600">
              <a:buFont typeface="Segoe UI" panose="020B0502040204020203" pitchFamily="34" charset="0"/>
              <a:buChar char="‒"/>
              <a:defRPr sz="1100"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17" name="Espaço Reservado para Imagem 5">
            <a:extLst>
              <a:ext uri="{FF2B5EF4-FFF2-40B4-BE49-F238E27FC236}">
                <a16:creationId xmlns:a16="http://schemas.microsoft.com/office/drawing/2014/main" id="{F2F77A8E-7EF7-49C0-9F36-3BB93DEC0D3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98488" y="1052513"/>
            <a:ext cx="5497512" cy="5114925"/>
          </a:xfrm>
          <a:solidFill>
            <a:srgbClr val="D6D6CE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endParaRPr lang="pt-BR"/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CE171438-B49D-4C6C-8F2E-294F04DA4B3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60862" y="-33428"/>
            <a:ext cx="1531137" cy="808017"/>
          </a:xfrm>
          <a:prstGeom prst="rect">
            <a:avLst/>
          </a:prstGeom>
        </p:spPr>
      </p:pic>
      <p:sp>
        <p:nvSpPr>
          <p:cNvPr id="20" name="Retângulo 19">
            <a:extLst>
              <a:ext uri="{FF2B5EF4-FFF2-40B4-BE49-F238E27FC236}">
                <a16:creationId xmlns:a16="http://schemas.microsoft.com/office/drawing/2014/main" id="{55B2F3BC-FF18-4749-A6FC-CD9423404EE4}"/>
              </a:ext>
            </a:extLst>
          </p:cNvPr>
          <p:cNvSpPr/>
          <p:nvPr userDrawn="1"/>
        </p:nvSpPr>
        <p:spPr>
          <a:xfrm>
            <a:off x="0" y="6196614"/>
            <a:ext cx="12192000" cy="661386"/>
          </a:xfrm>
          <a:prstGeom prst="rect">
            <a:avLst/>
          </a:prstGeom>
          <a:solidFill>
            <a:srgbClr val="2631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1" name="Espaço Reservado para Número de Slide 5">
            <a:extLst>
              <a:ext uri="{FF2B5EF4-FFF2-40B4-BE49-F238E27FC236}">
                <a16:creationId xmlns:a16="http://schemas.microsoft.com/office/drawing/2014/main" id="{F9593C68-C0E3-47C0-A388-E8574A4D77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54700" y="6336385"/>
            <a:ext cx="482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DC043D3B-68EA-494F-B371-61C74477040A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BF3C3BEF-4DA5-4E46-8895-9C221D1977C8}"/>
              </a:ext>
            </a:extLst>
          </p:cNvPr>
          <p:cNvSpPr txBox="1"/>
          <p:nvPr userDrawn="1"/>
        </p:nvSpPr>
        <p:spPr>
          <a:xfrm>
            <a:off x="8887918" y="6418920"/>
            <a:ext cx="280878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© 2021 Atlantica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ospitality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nternational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® |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onfidential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&amp;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roprietary</a:t>
            </a:r>
            <a:endParaRPr lang="pt-BR" sz="700" dirty="0">
              <a:solidFill>
                <a:schemeClr val="bg1"/>
              </a:solidFill>
            </a:endParaRPr>
          </a:p>
        </p:txBody>
      </p:sp>
      <p:grpSp>
        <p:nvGrpSpPr>
          <p:cNvPr id="12" name="Agrupar 11">
            <a:extLst>
              <a:ext uri="{FF2B5EF4-FFF2-40B4-BE49-F238E27FC236}">
                <a16:creationId xmlns:a16="http://schemas.microsoft.com/office/drawing/2014/main" id="{FA7FBFD6-16BB-4CDD-BE84-21BC69987C1B}"/>
              </a:ext>
            </a:extLst>
          </p:cNvPr>
          <p:cNvGrpSpPr/>
          <p:nvPr userDrawn="1"/>
        </p:nvGrpSpPr>
        <p:grpSpPr>
          <a:xfrm>
            <a:off x="676454" y="6359913"/>
            <a:ext cx="3598823" cy="346377"/>
            <a:chOff x="676454" y="6359913"/>
            <a:chExt cx="3598823" cy="346377"/>
          </a:xfrm>
        </p:grpSpPr>
        <p:pic>
          <p:nvPicPr>
            <p:cNvPr id="13" name="Imagem 12">
              <a:extLst>
                <a:ext uri="{FF2B5EF4-FFF2-40B4-BE49-F238E27FC236}">
                  <a16:creationId xmlns:a16="http://schemas.microsoft.com/office/drawing/2014/main" id="{A6E9F321-CBC9-444E-A9AC-8FA33BBE7F7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76454" y="6359913"/>
              <a:ext cx="448325" cy="346377"/>
            </a:xfrm>
            <a:prstGeom prst="rect">
              <a:avLst/>
            </a:prstGeom>
          </p:spPr>
        </p:pic>
        <p:pic>
          <p:nvPicPr>
            <p:cNvPr id="15" name="Imagem 14">
              <a:extLst>
                <a:ext uri="{FF2B5EF4-FFF2-40B4-BE49-F238E27FC236}">
                  <a16:creationId xmlns:a16="http://schemas.microsoft.com/office/drawing/2014/main" id="{D03DDCE0-5B1A-4CA0-AB91-C9E2F946881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1124779" y="6391807"/>
              <a:ext cx="3150498" cy="2703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5425285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áfico 3">
            <a:extLst>
              <a:ext uri="{FF2B5EF4-FFF2-40B4-BE49-F238E27FC236}">
                <a16:creationId xmlns:a16="http://schemas.microsoft.com/office/drawing/2014/main" id="{8AB139A4-7AB4-4502-BDA5-7EC0952C8D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30" y="112595"/>
            <a:ext cx="570224" cy="681306"/>
          </a:xfrm>
          <a:prstGeom prst="rect">
            <a:avLst/>
          </a:prstGeom>
        </p:spPr>
      </p:pic>
      <p:sp>
        <p:nvSpPr>
          <p:cNvPr id="13" name="Espaço Reservado para Texto 6">
            <a:extLst>
              <a:ext uri="{FF2B5EF4-FFF2-40B4-BE49-F238E27FC236}">
                <a16:creationId xmlns:a16="http://schemas.microsoft.com/office/drawing/2014/main" id="{BD1055C0-7B5B-461F-A090-A6BBA77CD4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8816" y="136525"/>
            <a:ext cx="11097884" cy="657376"/>
          </a:xfrm>
        </p:spPr>
        <p:txBody>
          <a:bodyPr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pt-BR" dirty="0"/>
              <a:t>Inserir aqui o título</a:t>
            </a:r>
            <a:br>
              <a:rPr lang="pt-BR" dirty="0"/>
            </a:br>
            <a:r>
              <a:rPr lang="pt-BR" dirty="0"/>
              <a:t>de duas linhas</a:t>
            </a:r>
          </a:p>
        </p:txBody>
      </p:sp>
      <p:sp>
        <p:nvSpPr>
          <p:cNvPr id="16" name="Espaço Reservado para Imagem 5">
            <a:extLst>
              <a:ext uri="{FF2B5EF4-FFF2-40B4-BE49-F238E27FC236}">
                <a16:creationId xmlns:a16="http://schemas.microsoft.com/office/drawing/2014/main" id="{645327CD-4F70-41C9-A504-D1C1C0541B3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98488" y="957533"/>
            <a:ext cx="5497512" cy="5209906"/>
          </a:xfrm>
          <a:solidFill>
            <a:srgbClr val="D6D6CE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endParaRPr lang="pt-BR"/>
          </a:p>
        </p:txBody>
      </p:sp>
      <p:sp>
        <p:nvSpPr>
          <p:cNvPr id="11" name="Espaço Reservado para Texto 10">
            <a:extLst>
              <a:ext uri="{FF2B5EF4-FFF2-40B4-BE49-F238E27FC236}">
                <a16:creationId xmlns:a16="http://schemas.microsoft.com/office/drawing/2014/main" id="{E984342B-2523-4CF6-AA56-03464230FF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9188" y="1338439"/>
            <a:ext cx="5497512" cy="4829447"/>
          </a:xfrm>
        </p:spPr>
        <p:txBody>
          <a:bodyPr>
            <a:normAutofit/>
          </a:bodyPr>
          <a:lstStyle>
            <a:lvl1pPr>
              <a:defRPr sz="1400"/>
            </a:lvl1pPr>
            <a:lvl2pPr marL="685800" indent="-228600">
              <a:buFont typeface="Segoe UI" panose="020B0502040204020203" pitchFamily="34" charset="0"/>
              <a:buChar char="‒"/>
              <a:defRPr sz="1100"/>
            </a:lvl2pPr>
            <a:lvl3pPr marL="1143000" indent="-228600">
              <a:buFont typeface="Segoe UI" panose="020B0502040204020203" pitchFamily="34" charset="0"/>
              <a:buChar char="‒"/>
              <a:defRPr sz="1100"/>
            </a:lvl3pPr>
            <a:lvl4pPr marL="1600200" indent="-228600">
              <a:buFont typeface="Segoe UI" panose="020B0502040204020203" pitchFamily="34" charset="0"/>
              <a:buChar char="‒"/>
              <a:defRPr sz="1100"/>
            </a:lvl4pPr>
            <a:lvl5pPr marL="2057400" indent="-228600">
              <a:buFont typeface="Segoe UI" panose="020B0502040204020203" pitchFamily="34" charset="0"/>
              <a:buChar char="‒"/>
              <a:defRPr sz="1100"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17" name="Espaço Reservado para Texto 10">
            <a:extLst>
              <a:ext uri="{FF2B5EF4-FFF2-40B4-BE49-F238E27FC236}">
                <a16:creationId xmlns:a16="http://schemas.microsoft.com/office/drawing/2014/main" id="{D035B319-4EBF-4545-B122-DE4C86F546D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99188" y="957532"/>
            <a:ext cx="5497512" cy="284672"/>
          </a:xfrm>
        </p:spPr>
        <p:txBody>
          <a:bodyPr>
            <a:normAutofit/>
          </a:bodyPr>
          <a:lstStyle>
            <a:lvl1pPr marL="0" indent="0" algn="l">
              <a:buNone/>
              <a:defRPr sz="1400" u="sng"/>
            </a:lvl1pPr>
            <a:lvl2pPr marL="685800" indent="-228600">
              <a:buFont typeface="Segoe UI" panose="020B0502040204020203" pitchFamily="34" charset="0"/>
              <a:buChar char="‒"/>
              <a:defRPr sz="1100"/>
            </a:lvl2pPr>
            <a:lvl3pPr marL="1143000" indent="-228600">
              <a:buFont typeface="Segoe UI" panose="020B0502040204020203" pitchFamily="34" charset="0"/>
              <a:buChar char="‒"/>
              <a:defRPr sz="1100"/>
            </a:lvl3pPr>
            <a:lvl4pPr marL="1600200" indent="-228600">
              <a:buFont typeface="Segoe UI" panose="020B0502040204020203" pitchFamily="34" charset="0"/>
              <a:buChar char="‒"/>
              <a:defRPr sz="1100"/>
            </a:lvl4pPr>
            <a:lvl5pPr marL="2057400" indent="-228600">
              <a:buFont typeface="Segoe UI" panose="020B0502040204020203" pitchFamily="34" charset="0"/>
              <a:buChar char="‒"/>
              <a:defRPr sz="1100"/>
            </a:lvl5pPr>
          </a:lstStyle>
          <a:p>
            <a:pPr lvl="0"/>
            <a:r>
              <a:rPr lang="pt-BR" dirty="0"/>
              <a:t>Inserir aqui o título da coluna</a:t>
            </a:r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02F9054A-5EC4-4BF6-AA20-5FE1C7D821D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60862" y="-33428"/>
            <a:ext cx="1531137" cy="808017"/>
          </a:xfrm>
          <a:prstGeom prst="rect">
            <a:avLst/>
          </a:prstGeom>
        </p:spPr>
      </p:pic>
      <p:sp>
        <p:nvSpPr>
          <p:cNvPr id="20" name="Retângulo 19">
            <a:extLst>
              <a:ext uri="{FF2B5EF4-FFF2-40B4-BE49-F238E27FC236}">
                <a16:creationId xmlns:a16="http://schemas.microsoft.com/office/drawing/2014/main" id="{46BB6F5E-6919-444C-BF46-427E6DC22593}"/>
              </a:ext>
            </a:extLst>
          </p:cNvPr>
          <p:cNvSpPr/>
          <p:nvPr userDrawn="1"/>
        </p:nvSpPr>
        <p:spPr>
          <a:xfrm>
            <a:off x="0" y="6196614"/>
            <a:ext cx="12192000" cy="661386"/>
          </a:xfrm>
          <a:prstGeom prst="rect">
            <a:avLst/>
          </a:prstGeom>
          <a:solidFill>
            <a:srgbClr val="2631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1" name="Espaço Reservado para Número de Slide 5">
            <a:extLst>
              <a:ext uri="{FF2B5EF4-FFF2-40B4-BE49-F238E27FC236}">
                <a16:creationId xmlns:a16="http://schemas.microsoft.com/office/drawing/2014/main" id="{1670B95F-720E-4F9F-A08D-11CC2DFE49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54700" y="6336385"/>
            <a:ext cx="482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DC043D3B-68EA-494F-B371-61C74477040A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B6E0D27C-3CAE-4D84-8773-AAB9A19B20A4}"/>
              </a:ext>
            </a:extLst>
          </p:cNvPr>
          <p:cNvSpPr txBox="1"/>
          <p:nvPr userDrawn="1"/>
        </p:nvSpPr>
        <p:spPr>
          <a:xfrm>
            <a:off x="8887918" y="6418920"/>
            <a:ext cx="280878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© 2021 Atlantica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ospitality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nternational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® |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onfidential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&amp;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roprietary</a:t>
            </a:r>
            <a:endParaRPr lang="pt-BR" sz="700" dirty="0">
              <a:solidFill>
                <a:schemeClr val="bg1"/>
              </a:solidFill>
            </a:endParaRPr>
          </a:p>
        </p:txBody>
      </p:sp>
      <p:grpSp>
        <p:nvGrpSpPr>
          <p:cNvPr id="12" name="Agrupar 11">
            <a:extLst>
              <a:ext uri="{FF2B5EF4-FFF2-40B4-BE49-F238E27FC236}">
                <a16:creationId xmlns:a16="http://schemas.microsoft.com/office/drawing/2014/main" id="{CD3B6737-64A7-40B9-913D-408D43BD6577}"/>
              </a:ext>
            </a:extLst>
          </p:cNvPr>
          <p:cNvGrpSpPr/>
          <p:nvPr userDrawn="1"/>
        </p:nvGrpSpPr>
        <p:grpSpPr>
          <a:xfrm>
            <a:off x="676454" y="6359913"/>
            <a:ext cx="3598823" cy="346377"/>
            <a:chOff x="676454" y="6359913"/>
            <a:chExt cx="3598823" cy="346377"/>
          </a:xfrm>
        </p:grpSpPr>
        <p:pic>
          <p:nvPicPr>
            <p:cNvPr id="14" name="Imagem 13">
              <a:extLst>
                <a:ext uri="{FF2B5EF4-FFF2-40B4-BE49-F238E27FC236}">
                  <a16:creationId xmlns:a16="http://schemas.microsoft.com/office/drawing/2014/main" id="{E9F397F1-5E31-4B08-B58F-06F34DDD515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76454" y="6359913"/>
              <a:ext cx="448325" cy="346377"/>
            </a:xfrm>
            <a:prstGeom prst="rect">
              <a:avLst/>
            </a:prstGeom>
          </p:spPr>
        </p:pic>
        <p:pic>
          <p:nvPicPr>
            <p:cNvPr id="15" name="Imagem 14">
              <a:extLst>
                <a:ext uri="{FF2B5EF4-FFF2-40B4-BE49-F238E27FC236}">
                  <a16:creationId xmlns:a16="http://schemas.microsoft.com/office/drawing/2014/main" id="{D41B4A55-BDC9-4D66-B1A4-F3341AD2D3A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1124779" y="6391807"/>
              <a:ext cx="3150498" cy="2703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47909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 descr="Fundo preto com letras brancas&#10;&#10;Descrição gerada automaticamente">
            <a:extLst>
              <a:ext uri="{FF2B5EF4-FFF2-40B4-BE49-F238E27FC236}">
                <a16:creationId xmlns:a16="http://schemas.microsoft.com/office/drawing/2014/main" id="{E74FBC3E-75CF-4C26-ABED-2CD4B7B0B0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Imagem 4" descr="Uma imagem contendo atletismo&#10;&#10;Descrição gerada automaticamente">
            <a:extLst>
              <a:ext uri="{FF2B5EF4-FFF2-40B4-BE49-F238E27FC236}">
                <a16:creationId xmlns:a16="http://schemas.microsoft.com/office/drawing/2014/main" id="{4CE6CF07-92E9-4CF3-B52F-FB9C4DDB233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F5146B79-9806-4E2A-BE79-124675345EF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165825" y="2844183"/>
            <a:ext cx="5860349" cy="1169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29304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áfico 2">
            <a:extLst>
              <a:ext uri="{FF2B5EF4-FFF2-40B4-BE49-F238E27FC236}">
                <a16:creationId xmlns:a16="http://schemas.microsoft.com/office/drawing/2014/main" id="{F9E89C81-D9E3-4439-ACA9-475D00C96DA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60862" y="-33428"/>
            <a:ext cx="1531137" cy="808017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8AB139A4-7AB4-4502-BDA5-7EC0952C8D1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30" y="112595"/>
            <a:ext cx="570224" cy="681306"/>
          </a:xfrm>
          <a:prstGeom prst="rect">
            <a:avLst/>
          </a:prstGeom>
        </p:spPr>
      </p:pic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F0C4F1A2-C512-41E0-A24B-AFD12104AE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8816" y="136525"/>
            <a:ext cx="11097884" cy="259298"/>
          </a:xfrm>
        </p:spPr>
        <p:txBody>
          <a:bodyPr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pt-BR" dirty="0"/>
              <a:t>Inserir aqui o título</a:t>
            </a:r>
          </a:p>
        </p:txBody>
      </p:sp>
      <p:sp>
        <p:nvSpPr>
          <p:cNvPr id="16" name="Espaço Reservado para Texto 6">
            <a:extLst>
              <a:ext uri="{FF2B5EF4-FFF2-40B4-BE49-F238E27FC236}">
                <a16:creationId xmlns:a16="http://schemas.microsoft.com/office/drawing/2014/main" id="{54E15D3F-2955-4A4F-BDA5-F7B6D8AA06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8816" y="515291"/>
            <a:ext cx="11097884" cy="259298"/>
          </a:xfrm>
        </p:spPr>
        <p:txBody>
          <a:bodyPr>
            <a:noAutofit/>
          </a:bodyPr>
          <a:lstStyle>
            <a:lvl1pPr marL="0" indent="0">
              <a:buNone/>
              <a:defRPr sz="1600" b="0"/>
            </a:lvl1pPr>
            <a:lvl2pPr marL="45720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pt-BR" dirty="0"/>
              <a:t>Inserir aqui o subtítulo</a:t>
            </a:r>
          </a:p>
        </p:txBody>
      </p:sp>
      <p:sp>
        <p:nvSpPr>
          <p:cNvPr id="15" name="Retângulo 14">
            <a:extLst>
              <a:ext uri="{FF2B5EF4-FFF2-40B4-BE49-F238E27FC236}">
                <a16:creationId xmlns:a16="http://schemas.microsoft.com/office/drawing/2014/main" id="{BBF6B859-F23B-4FF6-BF32-7859A6B65700}"/>
              </a:ext>
            </a:extLst>
          </p:cNvPr>
          <p:cNvSpPr/>
          <p:nvPr userDrawn="1"/>
        </p:nvSpPr>
        <p:spPr>
          <a:xfrm>
            <a:off x="0" y="6196614"/>
            <a:ext cx="12192000" cy="661386"/>
          </a:xfrm>
          <a:prstGeom prst="rect">
            <a:avLst/>
          </a:prstGeom>
          <a:solidFill>
            <a:srgbClr val="2631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7" name="Espaço Reservado para Número de Slide 5">
            <a:extLst>
              <a:ext uri="{FF2B5EF4-FFF2-40B4-BE49-F238E27FC236}">
                <a16:creationId xmlns:a16="http://schemas.microsoft.com/office/drawing/2014/main" id="{CF8492D1-D5EA-49D6-A156-75D68E97C5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54700" y="6336385"/>
            <a:ext cx="482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DC043D3B-68EA-494F-B371-61C74477040A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6B6E0A59-422C-426C-84F3-01019531A2B7}"/>
              </a:ext>
            </a:extLst>
          </p:cNvPr>
          <p:cNvSpPr txBox="1"/>
          <p:nvPr userDrawn="1"/>
        </p:nvSpPr>
        <p:spPr>
          <a:xfrm>
            <a:off x="8887918" y="6418920"/>
            <a:ext cx="280878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© 2021 Atlantica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ospitality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nternational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® |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onfidential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&amp;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roprietary</a:t>
            </a:r>
            <a:endParaRPr lang="pt-BR" sz="700" dirty="0">
              <a:solidFill>
                <a:schemeClr val="bg1"/>
              </a:solidFill>
            </a:endParaRPr>
          </a:p>
        </p:txBody>
      </p:sp>
      <p:grpSp>
        <p:nvGrpSpPr>
          <p:cNvPr id="10" name="Agrupar 9">
            <a:extLst>
              <a:ext uri="{FF2B5EF4-FFF2-40B4-BE49-F238E27FC236}">
                <a16:creationId xmlns:a16="http://schemas.microsoft.com/office/drawing/2014/main" id="{B85B9157-DAA1-44D8-91E9-3D01D56D4D2D}"/>
              </a:ext>
            </a:extLst>
          </p:cNvPr>
          <p:cNvGrpSpPr/>
          <p:nvPr userDrawn="1"/>
        </p:nvGrpSpPr>
        <p:grpSpPr>
          <a:xfrm>
            <a:off x="676454" y="6359913"/>
            <a:ext cx="3598823" cy="346377"/>
            <a:chOff x="676454" y="6359913"/>
            <a:chExt cx="3598823" cy="346377"/>
          </a:xfrm>
        </p:grpSpPr>
        <p:pic>
          <p:nvPicPr>
            <p:cNvPr id="11" name="Imagem 10">
              <a:extLst>
                <a:ext uri="{FF2B5EF4-FFF2-40B4-BE49-F238E27FC236}">
                  <a16:creationId xmlns:a16="http://schemas.microsoft.com/office/drawing/2014/main" id="{1B97DA9B-D6BB-4F6E-B91F-DADC837D776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76454" y="6359913"/>
              <a:ext cx="448325" cy="346377"/>
            </a:xfrm>
            <a:prstGeom prst="rect">
              <a:avLst/>
            </a:prstGeom>
          </p:spPr>
        </p:pic>
        <p:pic>
          <p:nvPicPr>
            <p:cNvPr id="12" name="Imagem 11">
              <a:extLst>
                <a:ext uri="{FF2B5EF4-FFF2-40B4-BE49-F238E27FC236}">
                  <a16:creationId xmlns:a16="http://schemas.microsoft.com/office/drawing/2014/main" id="{76774596-DA19-492F-A1F0-7510D103764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1124779" y="6391807"/>
              <a:ext cx="3150498" cy="2703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8247860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áfico 3">
            <a:extLst>
              <a:ext uri="{FF2B5EF4-FFF2-40B4-BE49-F238E27FC236}">
                <a16:creationId xmlns:a16="http://schemas.microsoft.com/office/drawing/2014/main" id="{8AB139A4-7AB4-4502-BDA5-7EC0952C8D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30" y="112595"/>
            <a:ext cx="570224" cy="681306"/>
          </a:xfrm>
          <a:prstGeom prst="rect">
            <a:avLst/>
          </a:prstGeom>
        </p:spPr>
      </p:pic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F0C4F1A2-C512-41E0-A24B-AFD12104AE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8816" y="136525"/>
            <a:ext cx="11097884" cy="259298"/>
          </a:xfrm>
        </p:spPr>
        <p:txBody>
          <a:bodyPr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pt-BR" dirty="0"/>
              <a:t>Inserir aqui o título</a:t>
            </a:r>
          </a:p>
        </p:txBody>
      </p:sp>
      <p:sp>
        <p:nvSpPr>
          <p:cNvPr id="16" name="Espaço Reservado para Texto 6">
            <a:extLst>
              <a:ext uri="{FF2B5EF4-FFF2-40B4-BE49-F238E27FC236}">
                <a16:creationId xmlns:a16="http://schemas.microsoft.com/office/drawing/2014/main" id="{54E15D3F-2955-4A4F-BDA5-F7B6D8AA06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8816" y="515291"/>
            <a:ext cx="11097884" cy="259298"/>
          </a:xfrm>
        </p:spPr>
        <p:txBody>
          <a:bodyPr>
            <a:noAutofit/>
          </a:bodyPr>
          <a:lstStyle>
            <a:lvl1pPr marL="0" indent="0">
              <a:buNone/>
              <a:defRPr sz="1600" b="0"/>
            </a:lvl1pPr>
            <a:lvl2pPr marL="45720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pt-BR" dirty="0"/>
              <a:t>Inserir aqui o subtítulo</a:t>
            </a:r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CA9C6B50-A380-4B30-A18A-F500EB60FA0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60862" y="-33428"/>
            <a:ext cx="1531137" cy="808017"/>
          </a:xfrm>
          <a:prstGeom prst="rect">
            <a:avLst/>
          </a:prstGeom>
        </p:spPr>
      </p:pic>
      <p:sp>
        <p:nvSpPr>
          <p:cNvPr id="14" name="Retângulo 13">
            <a:extLst>
              <a:ext uri="{FF2B5EF4-FFF2-40B4-BE49-F238E27FC236}">
                <a16:creationId xmlns:a16="http://schemas.microsoft.com/office/drawing/2014/main" id="{CE5A03E9-029B-43CB-B7C3-9B76CD108CBA}"/>
              </a:ext>
            </a:extLst>
          </p:cNvPr>
          <p:cNvSpPr/>
          <p:nvPr userDrawn="1"/>
        </p:nvSpPr>
        <p:spPr>
          <a:xfrm>
            <a:off x="0" y="6196614"/>
            <a:ext cx="12192000" cy="661386"/>
          </a:xfrm>
          <a:prstGeom prst="rect">
            <a:avLst/>
          </a:prstGeom>
          <a:solidFill>
            <a:srgbClr val="2631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Espaço Reservado para Número de Slide 5">
            <a:extLst>
              <a:ext uri="{FF2B5EF4-FFF2-40B4-BE49-F238E27FC236}">
                <a16:creationId xmlns:a16="http://schemas.microsoft.com/office/drawing/2014/main" id="{17DEBCD6-FAFB-4DA5-B5B8-7D13225178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54700" y="6336385"/>
            <a:ext cx="482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DC043D3B-68EA-494F-B371-61C74477040A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52ACA990-E16A-4A0C-8811-F273FB79C055}"/>
              </a:ext>
            </a:extLst>
          </p:cNvPr>
          <p:cNvSpPr txBox="1"/>
          <p:nvPr userDrawn="1"/>
        </p:nvSpPr>
        <p:spPr>
          <a:xfrm>
            <a:off x="8887918" y="6418920"/>
            <a:ext cx="280878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© 2021 Atlantica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ospitality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nternational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® |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onfidential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&amp;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roprietary</a:t>
            </a:r>
            <a:endParaRPr lang="pt-BR" sz="700" dirty="0">
              <a:solidFill>
                <a:schemeClr val="bg1"/>
              </a:solidFill>
            </a:endParaRPr>
          </a:p>
        </p:txBody>
      </p:sp>
      <p:grpSp>
        <p:nvGrpSpPr>
          <p:cNvPr id="10" name="Agrupar 9">
            <a:extLst>
              <a:ext uri="{FF2B5EF4-FFF2-40B4-BE49-F238E27FC236}">
                <a16:creationId xmlns:a16="http://schemas.microsoft.com/office/drawing/2014/main" id="{8984FDFD-D7A0-4E78-835A-FCD9A295D8B2}"/>
              </a:ext>
            </a:extLst>
          </p:cNvPr>
          <p:cNvGrpSpPr/>
          <p:nvPr userDrawn="1"/>
        </p:nvGrpSpPr>
        <p:grpSpPr>
          <a:xfrm>
            <a:off x="676454" y="6359913"/>
            <a:ext cx="3598823" cy="346377"/>
            <a:chOff x="676454" y="6359913"/>
            <a:chExt cx="3598823" cy="346377"/>
          </a:xfrm>
        </p:grpSpPr>
        <p:pic>
          <p:nvPicPr>
            <p:cNvPr id="11" name="Imagem 10">
              <a:extLst>
                <a:ext uri="{FF2B5EF4-FFF2-40B4-BE49-F238E27FC236}">
                  <a16:creationId xmlns:a16="http://schemas.microsoft.com/office/drawing/2014/main" id="{E7CD21D3-78A4-4FAF-8B97-3574DE18E33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76454" y="6359913"/>
              <a:ext cx="448325" cy="346377"/>
            </a:xfrm>
            <a:prstGeom prst="rect">
              <a:avLst/>
            </a:prstGeom>
          </p:spPr>
        </p:pic>
        <p:pic>
          <p:nvPicPr>
            <p:cNvPr id="12" name="Imagem 11">
              <a:extLst>
                <a:ext uri="{FF2B5EF4-FFF2-40B4-BE49-F238E27FC236}">
                  <a16:creationId xmlns:a16="http://schemas.microsoft.com/office/drawing/2014/main" id="{A93990CD-A433-421D-AE39-ACB9733EBEC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1124779" y="6391807"/>
              <a:ext cx="3150498" cy="2703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3718210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ângulo 10">
            <a:extLst>
              <a:ext uri="{FF2B5EF4-FFF2-40B4-BE49-F238E27FC236}">
                <a16:creationId xmlns:a16="http://schemas.microsoft.com/office/drawing/2014/main" id="{4C8606AB-C330-421E-9CD1-4DC19E6E876B}"/>
              </a:ext>
            </a:extLst>
          </p:cNvPr>
          <p:cNvSpPr/>
          <p:nvPr userDrawn="1"/>
        </p:nvSpPr>
        <p:spPr>
          <a:xfrm>
            <a:off x="0" y="6196614"/>
            <a:ext cx="12192000" cy="661386"/>
          </a:xfrm>
          <a:prstGeom prst="rect">
            <a:avLst/>
          </a:prstGeom>
          <a:solidFill>
            <a:srgbClr val="2631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Espaço Reservado para Número de Slide 5">
            <a:extLst>
              <a:ext uri="{FF2B5EF4-FFF2-40B4-BE49-F238E27FC236}">
                <a16:creationId xmlns:a16="http://schemas.microsoft.com/office/drawing/2014/main" id="{3C592BDF-2BDF-46FE-A64D-605C59D486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54700" y="6336385"/>
            <a:ext cx="482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DC043D3B-68EA-494F-B371-61C74477040A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C4CB8D15-F353-41EB-8C8E-C0FE5F5D06B6}"/>
              </a:ext>
            </a:extLst>
          </p:cNvPr>
          <p:cNvSpPr txBox="1"/>
          <p:nvPr userDrawn="1"/>
        </p:nvSpPr>
        <p:spPr>
          <a:xfrm>
            <a:off x="8887918" y="6418920"/>
            <a:ext cx="280878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© 2021 Atlantica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ospitality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nternational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® |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onfidential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&amp;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roprietary</a:t>
            </a:r>
            <a:endParaRPr lang="pt-BR" sz="700" dirty="0">
              <a:solidFill>
                <a:schemeClr val="bg1"/>
              </a:solidFill>
            </a:endParaRPr>
          </a:p>
        </p:txBody>
      </p:sp>
      <p:grpSp>
        <p:nvGrpSpPr>
          <p:cNvPr id="6" name="Agrupar 5">
            <a:extLst>
              <a:ext uri="{FF2B5EF4-FFF2-40B4-BE49-F238E27FC236}">
                <a16:creationId xmlns:a16="http://schemas.microsoft.com/office/drawing/2014/main" id="{6F977118-17A9-4FE1-B9FB-5C70BFDBE643}"/>
              </a:ext>
            </a:extLst>
          </p:cNvPr>
          <p:cNvGrpSpPr/>
          <p:nvPr userDrawn="1"/>
        </p:nvGrpSpPr>
        <p:grpSpPr>
          <a:xfrm>
            <a:off x="676454" y="6359913"/>
            <a:ext cx="3598823" cy="346377"/>
            <a:chOff x="676454" y="6359913"/>
            <a:chExt cx="3598823" cy="346377"/>
          </a:xfrm>
        </p:grpSpPr>
        <p:pic>
          <p:nvPicPr>
            <p:cNvPr id="7" name="Imagem 6">
              <a:extLst>
                <a:ext uri="{FF2B5EF4-FFF2-40B4-BE49-F238E27FC236}">
                  <a16:creationId xmlns:a16="http://schemas.microsoft.com/office/drawing/2014/main" id="{756F4C33-EEBE-4254-B61C-50E8A346692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76454" y="6359913"/>
              <a:ext cx="448325" cy="346377"/>
            </a:xfrm>
            <a:prstGeom prst="rect">
              <a:avLst/>
            </a:prstGeom>
          </p:spPr>
        </p:pic>
        <p:pic>
          <p:nvPicPr>
            <p:cNvPr id="8" name="Imagem 7">
              <a:extLst>
                <a:ext uri="{FF2B5EF4-FFF2-40B4-BE49-F238E27FC236}">
                  <a16:creationId xmlns:a16="http://schemas.microsoft.com/office/drawing/2014/main" id="{052F10D4-45FC-4D72-9F96-82E32497362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124779" y="6391807"/>
              <a:ext cx="3150498" cy="2703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5511744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 descr="Tela de celular com texto preto sobre fundo branco&#10;&#10;Descrição gerada automaticamente">
            <a:extLst>
              <a:ext uri="{FF2B5EF4-FFF2-40B4-BE49-F238E27FC236}">
                <a16:creationId xmlns:a16="http://schemas.microsoft.com/office/drawing/2014/main" id="{DBE16543-F265-4C85-BE29-B93337C390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Espaço Reservado para Conteúdo 10">
            <a:extLst>
              <a:ext uri="{FF2B5EF4-FFF2-40B4-BE49-F238E27FC236}">
                <a16:creationId xmlns:a16="http://schemas.microsoft.com/office/drawing/2014/main" id="{CDD4E35E-C219-49D5-8197-37711469D34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381125" y="1362076"/>
            <a:ext cx="2981325" cy="895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rgbClr val="26314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 dirty="0"/>
              <a:t>Inserir aqui o título do slide</a:t>
            </a:r>
          </a:p>
        </p:txBody>
      </p:sp>
      <p:cxnSp>
        <p:nvCxnSpPr>
          <p:cNvPr id="13" name="Conector reto 12">
            <a:extLst>
              <a:ext uri="{FF2B5EF4-FFF2-40B4-BE49-F238E27FC236}">
                <a16:creationId xmlns:a16="http://schemas.microsoft.com/office/drawing/2014/main" id="{C52DF206-F1EA-4B28-B11E-DC42C6A61D79}"/>
              </a:ext>
            </a:extLst>
          </p:cNvPr>
          <p:cNvCxnSpPr/>
          <p:nvPr userDrawn="1"/>
        </p:nvCxnSpPr>
        <p:spPr>
          <a:xfrm>
            <a:off x="4638675" y="1314450"/>
            <a:ext cx="0" cy="4572000"/>
          </a:xfrm>
          <a:prstGeom prst="line">
            <a:avLst/>
          </a:prstGeom>
          <a:ln w="19050">
            <a:solidFill>
              <a:srgbClr val="2631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Espaço Reservado para Conteúdo 14">
            <a:extLst>
              <a:ext uri="{FF2B5EF4-FFF2-40B4-BE49-F238E27FC236}">
                <a16:creationId xmlns:a16="http://schemas.microsoft.com/office/drawing/2014/main" id="{08F0537F-7BA6-416D-8EC7-6D2A7116325D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914901" y="1362075"/>
            <a:ext cx="5972174" cy="4467225"/>
          </a:xfrm>
          <a:prstGeom prst="rect">
            <a:avLst/>
          </a:prstGeom>
        </p:spPr>
        <p:txBody>
          <a:bodyPr>
            <a:normAutofit/>
          </a:bodyPr>
          <a:lstStyle>
            <a:lvl1pPr algn="just">
              <a:buClr>
                <a:srgbClr val="263143"/>
              </a:buClr>
              <a:defRPr sz="1600"/>
            </a:lvl1pPr>
            <a:lvl2pPr marL="685800" indent="-228600" algn="just">
              <a:buFont typeface="Segoe UI" panose="020B0502040204020203" pitchFamily="34" charset="0"/>
              <a:buChar char="‒"/>
              <a:defRPr sz="1600"/>
            </a:lvl2pPr>
            <a:lvl3pPr marL="1143000" indent="-228600" algn="just">
              <a:buFont typeface="Segoe UI" panose="020B0502040204020203" pitchFamily="34" charset="0"/>
              <a:buChar char="‒"/>
              <a:defRPr sz="1600"/>
            </a:lvl3pPr>
            <a:lvl4pPr marL="1600200" indent="-228600" algn="just">
              <a:buFont typeface="Segoe UI" panose="020B0502040204020203" pitchFamily="34" charset="0"/>
              <a:buChar char="‒"/>
              <a:defRPr sz="1600"/>
            </a:lvl4pPr>
            <a:lvl5pPr marL="2057400" indent="-228600" algn="just">
              <a:buFont typeface="Segoe UI" panose="020B0502040204020203" pitchFamily="34" charset="0"/>
              <a:buChar char="‒"/>
              <a:defRPr sz="1600"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10" name="Espaço Reservado para Número de Slide 5">
            <a:extLst>
              <a:ext uri="{FF2B5EF4-FFF2-40B4-BE49-F238E27FC236}">
                <a16:creationId xmlns:a16="http://schemas.microsoft.com/office/drawing/2014/main" id="{94C45DA9-6A1B-4268-B48C-289CCB9F6A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54700" y="6434041"/>
            <a:ext cx="482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rgbClr val="26314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DC043D3B-68EA-494F-B371-61C74477040A}" type="slidenum">
              <a:rPr lang="pt-BR" smtClean="0"/>
              <a:pPr/>
              <a:t>‹nº›</a:t>
            </a:fld>
            <a:endParaRPr lang="pt-BR" dirty="0"/>
          </a:p>
        </p:txBody>
      </p:sp>
      <p:pic>
        <p:nvPicPr>
          <p:cNvPr id="14" name="Gráfico 13">
            <a:extLst>
              <a:ext uri="{FF2B5EF4-FFF2-40B4-BE49-F238E27FC236}">
                <a16:creationId xmlns:a16="http://schemas.microsoft.com/office/drawing/2014/main" id="{7C687320-A94E-475D-AFBB-2971B948402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648660" y="6371970"/>
            <a:ext cx="1472836" cy="293955"/>
          </a:xfrm>
          <a:prstGeom prst="rect">
            <a:avLst/>
          </a:prstGeom>
        </p:spPr>
      </p:pic>
      <p:sp>
        <p:nvSpPr>
          <p:cNvPr id="9" name="CaixaDeTexto 8">
            <a:extLst>
              <a:ext uri="{FF2B5EF4-FFF2-40B4-BE49-F238E27FC236}">
                <a16:creationId xmlns:a16="http://schemas.microsoft.com/office/drawing/2014/main" id="{975F4F97-4ED5-4BBD-820D-712DDB7CDE44}"/>
              </a:ext>
            </a:extLst>
          </p:cNvPr>
          <p:cNvSpPr txBox="1"/>
          <p:nvPr userDrawn="1"/>
        </p:nvSpPr>
        <p:spPr>
          <a:xfrm>
            <a:off x="8078293" y="6518947"/>
            <a:ext cx="280878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700" b="0" i="0" u="none" strike="noStrike" kern="1200" cap="none" spc="0" normalizeH="0" baseline="0" noProof="0" dirty="0">
                <a:ln>
                  <a:noFill/>
                </a:ln>
                <a:solidFill>
                  <a:srgbClr val="002A3A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© 2021 Atlantica </a:t>
            </a:r>
            <a:r>
              <a:rPr kumimoji="0" lang="pt-BR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02A3A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Hospitality</a:t>
            </a:r>
            <a:r>
              <a:rPr kumimoji="0" lang="pt-BR" sz="700" b="0" i="0" u="none" strike="noStrike" kern="1200" cap="none" spc="0" normalizeH="0" baseline="0" noProof="0" dirty="0">
                <a:ln>
                  <a:noFill/>
                </a:ln>
                <a:solidFill>
                  <a:srgbClr val="002A3A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pt-BR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02A3A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International</a:t>
            </a:r>
            <a:r>
              <a:rPr kumimoji="0" lang="pt-BR" sz="700" b="0" i="0" u="none" strike="noStrike" kern="1200" cap="none" spc="0" normalizeH="0" baseline="0" noProof="0" dirty="0">
                <a:ln>
                  <a:noFill/>
                </a:ln>
                <a:solidFill>
                  <a:srgbClr val="002A3A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® | </a:t>
            </a:r>
            <a:r>
              <a:rPr kumimoji="0" lang="pt-BR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02A3A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Confidential</a:t>
            </a:r>
            <a:r>
              <a:rPr kumimoji="0" lang="pt-BR" sz="700" b="0" i="0" u="none" strike="noStrike" kern="1200" cap="none" spc="0" normalizeH="0" baseline="0" noProof="0" dirty="0">
                <a:ln>
                  <a:noFill/>
                </a:ln>
                <a:solidFill>
                  <a:srgbClr val="002A3A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 &amp; </a:t>
            </a:r>
            <a:r>
              <a:rPr kumimoji="0" lang="pt-BR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02A3A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Proprietary</a:t>
            </a:r>
            <a:endParaRPr kumimoji="0" lang="pt-BR" sz="700" b="0" i="0" u="none" strike="noStrike" kern="1200" cap="none" spc="0" normalizeH="0" baseline="0" noProof="0" dirty="0">
              <a:ln>
                <a:noFill/>
              </a:ln>
              <a:solidFill>
                <a:srgbClr val="002A3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362945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 descr="Tela de celular com texto preto sobre fundo branco&#10;&#10;Descrição gerada automaticamente">
            <a:extLst>
              <a:ext uri="{FF2B5EF4-FFF2-40B4-BE49-F238E27FC236}">
                <a16:creationId xmlns:a16="http://schemas.microsoft.com/office/drawing/2014/main" id="{DBE16543-F265-4C85-BE29-B93337C390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Espaço Reservado para Conteúdo 10">
            <a:extLst>
              <a:ext uri="{FF2B5EF4-FFF2-40B4-BE49-F238E27FC236}">
                <a16:creationId xmlns:a16="http://schemas.microsoft.com/office/drawing/2014/main" id="{CDD4E35E-C219-49D5-8197-37711469D34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381125" y="1295400"/>
            <a:ext cx="9505940" cy="63817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b="1">
                <a:solidFill>
                  <a:srgbClr val="26314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 dirty="0"/>
              <a:t>Inserir aqui o título do slide</a:t>
            </a:r>
          </a:p>
        </p:txBody>
      </p:sp>
      <p:cxnSp>
        <p:nvCxnSpPr>
          <p:cNvPr id="13" name="Conector reto 12">
            <a:extLst>
              <a:ext uri="{FF2B5EF4-FFF2-40B4-BE49-F238E27FC236}">
                <a16:creationId xmlns:a16="http://schemas.microsoft.com/office/drawing/2014/main" id="{C52DF206-F1EA-4B28-B11E-DC42C6A61D79}"/>
              </a:ext>
            </a:extLst>
          </p:cNvPr>
          <p:cNvCxnSpPr>
            <a:cxnSpLocks/>
          </p:cNvCxnSpPr>
          <p:nvPr userDrawn="1"/>
        </p:nvCxnSpPr>
        <p:spPr>
          <a:xfrm>
            <a:off x="1381125" y="2181225"/>
            <a:ext cx="3562350" cy="0"/>
          </a:xfrm>
          <a:prstGeom prst="line">
            <a:avLst/>
          </a:prstGeom>
          <a:ln w="19050">
            <a:solidFill>
              <a:srgbClr val="2631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Espaço Reservado para Conteúdo 14">
            <a:extLst>
              <a:ext uri="{FF2B5EF4-FFF2-40B4-BE49-F238E27FC236}">
                <a16:creationId xmlns:a16="http://schemas.microsoft.com/office/drawing/2014/main" id="{08F0537F-7BA6-416D-8EC7-6D2A7116325D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381125" y="2514600"/>
            <a:ext cx="9505950" cy="3314700"/>
          </a:xfrm>
          <a:prstGeom prst="rect">
            <a:avLst/>
          </a:prstGeom>
        </p:spPr>
        <p:txBody>
          <a:bodyPr>
            <a:normAutofit/>
          </a:bodyPr>
          <a:lstStyle>
            <a:lvl1pPr algn="just">
              <a:buClr>
                <a:srgbClr val="263143"/>
              </a:buClr>
              <a:defRPr sz="1600"/>
            </a:lvl1pPr>
            <a:lvl2pPr marL="685800" indent="-228600" algn="just">
              <a:buFont typeface="Segoe UI" panose="020B0502040204020203" pitchFamily="34" charset="0"/>
              <a:buChar char="‒"/>
              <a:defRPr sz="1600"/>
            </a:lvl2pPr>
            <a:lvl3pPr marL="1143000" indent="-228600" algn="just">
              <a:buFont typeface="Segoe UI" panose="020B0502040204020203" pitchFamily="34" charset="0"/>
              <a:buChar char="‒"/>
              <a:defRPr sz="1600"/>
            </a:lvl3pPr>
            <a:lvl4pPr marL="1600200" indent="-228600" algn="just">
              <a:buFont typeface="Segoe UI" panose="020B0502040204020203" pitchFamily="34" charset="0"/>
              <a:buChar char="‒"/>
              <a:defRPr sz="1600"/>
            </a:lvl4pPr>
            <a:lvl5pPr marL="2057400" indent="-228600" algn="just">
              <a:buFont typeface="Segoe UI" panose="020B0502040204020203" pitchFamily="34" charset="0"/>
              <a:buChar char="‒"/>
              <a:defRPr sz="1600"/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8435DE3C-FC25-45C3-A4F3-0B033CC0809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648660" y="6371970"/>
            <a:ext cx="1472836" cy="293955"/>
          </a:xfrm>
          <a:prstGeom prst="rect">
            <a:avLst/>
          </a:prstGeom>
        </p:spPr>
      </p:pic>
      <p:sp>
        <p:nvSpPr>
          <p:cNvPr id="16" name="Espaço Reservado para Número de Slide 5">
            <a:extLst>
              <a:ext uri="{FF2B5EF4-FFF2-40B4-BE49-F238E27FC236}">
                <a16:creationId xmlns:a16="http://schemas.microsoft.com/office/drawing/2014/main" id="{1E3563D7-AE8A-4168-AB43-4861497DF0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54700" y="6434041"/>
            <a:ext cx="482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rgbClr val="26314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DC043D3B-68EA-494F-B371-61C74477040A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D91729B8-8753-486F-86AA-3393DED741A6}"/>
              </a:ext>
            </a:extLst>
          </p:cNvPr>
          <p:cNvSpPr txBox="1"/>
          <p:nvPr userDrawn="1"/>
        </p:nvSpPr>
        <p:spPr>
          <a:xfrm>
            <a:off x="8078293" y="6518947"/>
            <a:ext cx="280878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700" b="0" i="0" u="none" strike="noStrike" kern="1200" cap="none" spc="0" normalizeH="0" baseline="0" noProof="0" dirty="0">
                <a:ln>
                  <a:noFill/>
                </a:ln>
                <a:solidFill>
                  <a:srgbClr val="002A3A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© 2021 Atlantica </a:t>
            </a:r>
            <a:r>
              <a:rPr kumimoji="0" lang="pt-BR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02A3A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Hospitality</a:t>
            </a:r>
            <a:r>
              <a:rPr kumimoji="0" lang="pt-BR" sz="700" b="0" i="0" u="none" strike="noStrike" kern="1200" cap="none" spc="0" normalizeH="0" baseline="0" noProof="0" dirty="0">
                <a:ln>
                  <a:noFill/>
                </a:ln>
                <a:solidFill>
                  <a:srgbClr val="002A3A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pt-BR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02A3A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International</a:t>
            </a:r>
            <a:r>
              <a:rPr kumimoji="0" lang="pt-BR" sz="700" b="0" i="0" u="none" strike="noStrike" kern="1200" cap="none" spc="0" normalizeH="0" baseline="0" noProof="0" dirty="0">
                <a:ln>
                  <a:noFill/>
                </a:ln>
                <a:solidFill>
                  <a:srgbClr val="002A3A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® | </a:t>
            </a:r>
            <a:r>
              <a:rPr kumimoji="0" lang="pt-BR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02A3A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Confidential</a:t>
            </a:r>
            <a:r>
              <a:rPr kumimoji="0" lang="pt-BR" sz="700" b="0" i="0" u="none" strike="noStrike" kern="1200" cap="none" spc="0" normalizeH="0" baseline="0" noProof="0" dirty="0">
                <a:ln>
                  <a:noFill/>
                </a:ln>
                <a:solidFill>
                  <a:srgbClr val="002A3A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 &amp; </a:t>
            </a:r>
            <a:r>
              <a:rPr kumimoji="0" lang="pt-BR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02A3A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Proprietary</a:t>
            </a:r>
            <a:endParaRPr kumimoji="0" lang="pt-BR" sz="700" b="0" i="0" u="none" strike="noStrike" kern="1200" cap="none" spc="0" normalizeH="0" baseline="0" noProof="0" dirty="0">
              <a:ln>
                <a:noFill/>
              </a:ln>
              <a:solidFill>
                <a:srgbClr val="002A3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384705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>
            <a:extLst>
              <a:ext uri="{FF2B5EF4-FFF2-40B4-BE49-F238E27FC236}">
                <a16:creationId xmlns:a16="http://schemas.microsoft.com/office/drawing/2014/main" id="{7013871D-EDC5-4919-A3E0-E8FEEC98ABD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Espaço Reservado para Conteúdo 10">
            <a:extLst>
              <a:ext uri="{FF2B5EF4-FFF2-40B4-BE49-F238E27FC236}">
                <a16:creationId xmlns:a16="http://schemas.microsoft.com/office/drawing/2014/main" id="{5E5C5332-1870-436E-88B3-8EC86061312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381125" y="1362076"/>
            <a:ext cx="2981325" cy="895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 dirty="0"/>
              <a:t>Inserir aqui o título do slide</a:t>
            </a:r>
          </a:p>
        </p:txBody>
      </p:sp>
      <p:cxnSp>
        <p:nvCxnSpPr>
          <p:cNvPr id="13" name="Conector reto 12">
            <a:extLst>
              <a:ext uri="{FF2B5EF4-FFF2-40B4-BE49-F238E27FC236}">
                <a16:creationId xmlns:a16="http://schemas.microsoft.com/office/drawing/2014/main" id="{D177BEE0-1CB1-44B9-96BA-073F728B13F8}"/>
              </a:ext>
            </a:extLst>
          </p:cNvPr>
          <p:cNvCxnSpPr/>
          <p:nvPr userDrawn="1"/>
        </p:nvCxnSpPr>
        <p:spPr>
          <a:xfrm>
            <a:off x="4638675" y="1314450"/>
            <a:ext cx="0" cy="4572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Espaço Reservado para Conteúdo 14">
            <a:extLst>
              <a:ext uri="{FF2B5EF4-FFF2-40B4-BE49-F238E27FC236}">
                <a16:creationId xmlns:a16="http://schemas.microsoft.com/office/drawing/2014/main" id="{37D0ECCE-35A8-470A-892E-DFB2D72CCE17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914901" y="1362075"/>
            <a:ext cx="5972174" cy="4467225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just">
              <a:buClr>
                <a:srgbClr val="D6D6CE"/>
              </a:buClr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1pPr>
            <a:lvl2pPr marL="685800" indent="-228600" algn="just">
              <a:buClr>
                <a:srgbClr val="D6D6CE"/>
              </a:buClr>
              <a:buFont typeface="Segoe UI" panose="020B0502040204020203" pitchFamily="34" charset="0"/>
              <a:buChar char="‒"/>
              <a:defRPr sz="1600">
                <a:solidFill>
                  <a:schemeClr val="bg1"/>
                </a:solidFill>
              </a:defRPr>
            </a:lvl2pPr>
            <a:lvl3pPr marL="1143000" indent="-228600" algn="just">
              <a:buClr>
                <a:srgbClr val="D6D6CE"/>
              </a:buClr>
              <a:buFont typeface="Segoe UI" panose="020B0502040204020203" pitchFamily="34" charset="0"/>
              <a:buChar char="‒"/>
              <a:defRPr sz="1600">
                <a:solidFill>
                  <a:schemeClr val="bg1"/>
                </a:solidFill>
              </a:defRPr>
            </a:lvl3pPr>
            <a:lvl4pPr marL="1600200" indent="-228600" algn="just">
              <a:buClr>
                <a:srgbClr val="D6D6CE"/>
              </a:buClr>
              <a:buFont typeface="Segoe UI" panose="020B0502040204020203" pitchFamily="34" charset="0"/>
              <a:buChar char="‒"/>
              <a:defRPr sz="1600">
                <a:solidFill>
                  <a:schemeClr val="bg1"/>
                </a:solidFill>
              </a:defRPr>
            </a:lvl4pPr>
            <a:lvl5pPr marL="2057400" indent="-228600" algn="just">
              <a:buClr>
                <a:srgbClr val="D6D6CE"/>
              </a:buClr>
              <a:buFont typeface="Segoe UI" panose="020B0502040204020203" pitchFamily="34" charset="0"/>
              <a:buChar char="‒"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9" name="Espaço Reservado para Número de Slide 5">
            <a:extLst>
              <a:ext uri="{FF2B5EF4-FFF2-40B4-BE49-F238E27FC236}">
                <a16:creationId xmlns:a16="http://schemas.microsoft.com/office/drawing/2014/main" id="{4D66D9FF-1F70-44CC-BD13-6E5EAE05CE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54700" y="6353878"/>
            <a:ext cx="482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DC043D3B-68EA-494F-B371-61C74477040A}" type="slidenum">
              <a:rPr lang="pt-BR" smtClean="0"/>
              <a:pPr/>
              <a:t>‹nº›</a:t>
            </a:fld>
            <a:endParaRPr lang="pt-BR" dirty="0"/>
          </a:p>
        </p:txBody>
      </p:sp>
      <p:pic>
        <p:nvPicPr>
          <p:cNvPr id="11" name="Gráfico 10">
            <a:extLst>
              <a:ext uri="{FF2B5EF4-FFF2-40B4-BE49-F238E27FC236}">
                <a16:creationId xmlns:a16="http://schemas.microsoft.com/office/drawing/2014/main" id="{7CC08BD3-41DC-4106-B40E-07D9569D387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640180" y="6381318"/>
            <a:ext cx="1472836" cy="293955"/>
          </a:xfrm>
          <a:prstGeom prst="rect">
            <a:avLst/>
          </a:prstGeom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29E24EBA-DFCB-4746-A5B2-BFA859507A66}"/>
              </a:ext>
            </a:extLst>
          </p:cNvPr>
          <p:cNvSpPr txBox="1"/>
          <p:nvPr userDrawn="1"/>
        </p:nvSpPr>
        <p:spPr>
          <a:xfrm>
            <a:off x="8078293" y="6518948"/>
            <a:ext cx="280878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© 2021 Atlantica </a:t>
            </a:r>
            <a:r>
              <a:rPr kumimoji="0" lang="pt-BR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Hospitality</a:t>
            </a:r>
            <a:r>
              <a:rPr kumimoji="0" lang="pt-BR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pt-BR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International</a:t>
            </a:r>
            <a:r>
              <a:rPr kumimoji="0" lang="pt-BR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® | </a:t>
            </a:r>
            <a:r>
              <a:rPr kumimoji="0" lang="pt-BR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Confidential</a:t>
            </a:r>
            <a:r>
              <a:rPr kumimoji="0" lang="pt-BR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 &amp; </a:t>
            </a:r>
            <a:r>
              <a:rPr kumimoji="0" lang="pt-BR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Proprietary</a:t>
            </a:r>
            <a:endParaRPr kumimoji="0" lang="pt-BR" sz="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926277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>
            <a:extLst>
              <a:ext uri="{FF2B5EF4-FFF2-40B4-BE49-F238E27FC236}">
                <a16:creationId xmlns:a16="http://schemas.microsoft.com/office/drawing/2014/main" id="{7013871D-EDC5-4919-A3E0-E8FEEC98ABD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Espaço Reservado para Conteúdo 10">
            <a:extLst>
              <a:ext uri="{FF2B5EF4-FFF2-40B4-BE49-F238E27FC236}">
                <a16:creationId xmlns:a16="http://schemas.microsoft.com/office/drawing/2014/main" id="{2B7240E6-B133-44FD-A287-6CD37A2B989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381125" y="1295400"/>
            <a:ext cx="9505940" cy="63817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 dirty="0"/>
              <a:t>Inserir aqui o título do slide</a:t>
            </a:r>
          </a:p>
        </p:txBody>
      </p:sp>
      <p:cxnSp>
        <p:nvCxnSpPr>
          <p:cNvPr id="10" name="Conector reto 9">
            <a:extLst>
              <a:ext uri="{FF2B5EF4-FFF2-40B4-BE49-F238E27FC236}">
                <a16:creationId xmlns:a16="http://schemas.microsoft.com/office/drawing/2014/main" id="{E1391944-2CE4-4875-9936-94B00D811B9D}"/>
              </a:ext>
            </a:extLst>
          </p:cNvPr>
          <p:cNvCxnSpPr>
            <a:cxnSpLocks/>
          </p:cNvCxnSpPr>
          <p:nvPr userDrawn="1"/>
        </p:nvCxnSpPr>
        <p:spPr>
          <a:xfrm>
            <a:off x="1381125" y="2181225"/>
            <a:ext cx="356235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ço Reservado para Conteúdo 14">
            <a:extLst>
              <a:ext uri="{FF2B5EF4-FFF2-40B4-BE49-F238E27FC236}">
                <a16:creationId xmlns:a16="http://schemas.microsoft.com/office/drawing/2014/main" id="{C2674E7B-355F-4CBA-8A99-3148FB0C631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381125" y="2514600"/>
            <a:ext cx="9505950" cy="3314700"/>
          </a:xfrm>
          <a:prstGeom prst="rect">
            <a:avLst/>
          </a:prstGeom>
        </p:spPr>
        <p:txBody>
          <a:bodyPr>
            <a:normAutofit/>
          </a:bodyPr>
          <a:lstStyle>
            <a:lvl1pPr algn="just">
              <a:buClr>
                <a:srgbClr val="D6D6CE"/>
              </a:buClr>
              <a:defRPr sz="1600">
                <a:solidFill>
                  <a:schemeClr val="bg1"/>
                </a:solidFill>
              </a:defRPr>
            </a:lvl1pPr>
            <a:lvl2pPr marL="685800" indent="-228600" algn="just">
              <a:buFont typeface="Segoe UI" panose="020B0502040204020203" pitchFamily="34" charset="0"/>
              <a:buChar char="‒"/>
              <a:defRPr sz="1600">
                <a:solidFill>
                  <a:schemeClr val="bg1"/>
                </a:solidFill>
              </a:defRPr>
            </a:lvl2pPr>
            <a:lvl3pPr marL="1143000" indent="-228600" algn="just">
              <a:buFont typeface="Segoe UI" panose="020B0502040204020203" pitchFamily="34" charset="0"/>
              <a:buChar char="‒"/>
              <a:defRPr sz="1600">
                <a:solidFill>
                  <a:schemeClr val="bg1"/>
                </a:solidFill>
              </a:defRPr>
            </a:lvl3pPr>
            <a:lvl4pPr marL="1600200" indent="-228600" algn="just">
              <a:buFont typeface="Segoe UI" panose="020B0502040204020203" pitchFamily="34" charset="0"/>
              <a:buChar char="‒"/>
              <a:defRPr sz="1600">
                <a:solidFill>
                  <a:schemeClr val="bg1"/>
                </a:solidFill>
              </a:defRPr>
            </a:lvl4pPr>
            <a:lvl5pPr marL="2057400" indent="-228600" algn="just">
              <a:buFont typeface="Segoe UI" panose="020B0502040204020203" pitchFamily="34" charset="0"/>
              <a:buChar char="‒"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F390F28A-804B-4431-942E-E34C7B1C3F8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640180" y="6381318"/>
            <a:ext cx="1472836" cy="293955"/>
          </a:xfrm>
          <a:prstGeom prst="rect">
            <a:avLst/>
          </a:prstGeom>
        </p:spPr>
      </p:pic>
      <p:sp>
        <p:nvSpPr>
          <p:cNvPr id="14" name="Espaço Reservado para Número de Slide 5">
            <a:extLst>
              <a:ext uri="{FF2B5EF4-FFF2-40B4-BE49-F238E27FC236}">
                <a16:creationId xmlns:a16="http://schemas.microsoft.com/office/drawing/2014/main" id="{67B15640-E3FD-4ABC-8D28-C6F85342E1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54700" y="6353878"/>
            <a:ext cx="482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DC043D3B-68EA-494F-B371-61C74477040A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9AED18D6-E079-4F9F-B8B9-46267C9EBEE4}"/>
              </a:ext>
            </a:extLst>
          </p:cNvPr>
          <p:cNvSpPr txBox="1"/>
          <p:nvPr userDrawn="1"/>
        </p:nvSpPr>
        <p:spPr>
          <a:xfrm>
            <a:off x="8078293" y="6518948"/>
            <a:ext cx="280878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© 2021 Atlantica </a:t>
            </a:r>
            <a:r>
              <a:rPr kumimoji="0" lang="pt-BR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Hospitality</a:t>
            </a:r>
            <a:r>
              <a:rPr kumimoji="0" lang="pt-BR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pt-BR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International</a:t>
            </a:r>
            <a:r>
              <a:rPr kumimoji="0" lang="pt-BR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® | </a:t>
            </a:r>
            <a:r>
              <a:rPr kumimoji="0" lang="pt-BR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Confidential</a:t>
            </a:r>
            <a:r>
              <a:rPr kumimoji="0" lang="pt-BR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 &amp; </a:t>
            </a:r>
            <a:r>
              <a:rPr kumimoji="0" lang="pt-BR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Proprietary</a:t>
            </a:r>
            <a:endParaRPr kumimoji="0" lang="pt-BR" sz="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758857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>
            <a:extLst>
              <a:ext uri="{FF2B5EF4-FFF2-40B4-BE49-F238E27FC236}">
                <a16:creationId xmlns:a16="http://schemas.microsoft.com/office/drawing/2014/main" id="{051BA9EF-AAE9-4F44-B721-A8FC20211A5A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2631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3" name="Conector reto 2">
            <a:extLst>
              <a:ext uri="{FF2B5EF4-FFF2-40B4-BE49-F238E27FC236}">
                <a16:creationId xmlns:a16="http://schemas.microsoft.com/office/drawing/2014/main" id="{61BA5710-44D1-4F12-A63C-B5365CB5B387}"/>
              </a:ext>
            </a:extLst>
          </p:cNvPr>
          <p:cNvCxnSpPr>
            <a:cxnSpLocks/>
          </p:cNvCxnSpPr>
          <p:nvPr userDrawn="1"/>
        </p:nvCxnSpPr>
        <p:spPr>
          <a:xfrm>
            <a:off x="495299" y="6180107"/>
            <a:ext cx="1120140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Espaço Reservado para Imagem 4">
            <a:extLst>
              <a:ext uri="{FF2B5EF4-FFF2-40B4-BE49-F238E27FC236}">
                <a16:creationId xmlns:a16="http://schemas.microsoft.com/office/drawing/2014/main" id="{E63DABBE-5D1B-4D62-B1A7-07691B7C47C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800">
                <a:solidFill>
                  <a:schemeClr val="bg1"/>
                </a:solidFill>
              </a:defRPr>
            </a:lvl1pPr>
          </a:lstStyle>
          <a:p>
            <a:endParaRPr lang="pt-BR"/>
          </a:p>
        </p:txBody>
      </p:sp>
      <p:sp>
        <p:nvSpPr>
          <p:cNvPr id="20" name="Espaço Reservado para Conteúdo 14">
            <a:extLst>
              <a:ext uri="{FF2B5EF4-FFF2-40B4-BE49-F238E27FC236}">
                <a16:creationId xmlns:a16="http://schemas.microsoft.com/office/drawing/2014/main" id="{5594F816-661A-47FA-A067-346B0AED943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95299" y="4120594"/>
            <a:ext cx="5499100" cy="112658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Clr>
                <a:srgbClr val="263143"/>
              </a:buClr>
              <a:buFontTx/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 sz="1600">
                <a:solidFill>
                  <a:srgbClr val="D6D6CE"/>
                </a:solidFill>
              </a:defRPr>
            </a:lvl2pPr>
            <a:lvl3pPr marL="914400" indent="0" algn="ctr">
              <a:buFontTx/>
              <a:buNone/>
              <a:defRPr sz="1600">
                <a:solidFill>
                  <a:srgbClr val="D6D6CE"/>
                </a:solidFill>
              </a:defRPr>
            </a:lvl3pPr>
            <a:lvl4pPr marL="16002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4pPr>
            <a:lvl5pPr marL="20574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5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21" name="Espaço Reservado para Conteúdo 14">
            <a:extLst>
              <a:ext uri="{FF2B5EF4-FFF2-40B4-BE49-F238E27FC236}">
                <a16:creationId xmlns:a16="http://schemas.microsoft.com/office/drawing/2014/main" id="{13A9BDBD-97EF-4EEE-8CB0-FE79C4A7E12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97601" y="4120594"/>
            <a:ext cx="5499100" cy="112658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Clr>
                <a:srgbClr val="263143"/>
              </a:buClr>
              <a:buFontTx/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 sz="1600">
                <a:solidFill>
                  <a:srgbClr val="D6D6CE"/>
                </a:solidFill>
              </a:defRPr>
            </a:lvl2pPr>
            <a:lvl3pPr marL="914400" indent="0" algn="ctr">
              <a:buFontTx/>
              <a:buNone/>
              <a:defRPr sz="1600">
                <a:solidFill>
                  <a:srgbClr val="D6D6CE"/>
                </a:solidFill>
              </a:defRPr>
            </a:lvl3pPr>
            <a:lvl4pPr marL="16002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4pPr>
            <a:lvl5pPr marL="20574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5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14" name="Espaço Reservado para Número de Slide 5">
            <a:extLst>
              <a:ext uri="{FF2B5EF4-FFF2-40B4-BE49-F238E27FC236}">
                <a16:creationId xmlns:a16="http://schemas.microsoft.com/office/drawing/2014/main" id="{B40D555B-632E-4FB7-B751-7F28CF1B2F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54700" y="6336385"/>
            <a:ext cx="482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DC043D3B-68EA-494F-B371-61C74477040A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20BAF9D2-11D3-4625-A462-0C3DA714FFD7}"/>
              </a:ext>
            </a:extLst>
          </p:cNvPr>
          <p:cNvSpPr txBox="1"/>
          <p:nvPr userDrawn="1"/>
        </p:nvSpPr>
        <p:spPr>
          <a:xfrm>
            <a:off x="8887918" y="6418920"/>
            <a:ext cx="280878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© 2021 Atlantica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ospitality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nternational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® |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onfidential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&amp;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roprietary</a:t>
            </a:r>
            <a:endParaRPr lang="pt-BR" sz="700" dirty="0">
              <a:solidFill>
                <a:schemeClr val="bg1"/>
              </a:solidFill>
            </a:endParaRPr>
          </a:p>
        </p:txBody>
      </p:sp>
      <p:grpSp>
        <p:nvGrpSpPr>
          <p:cNvPr id="10" name="Agrupar 9">
            <a:extLst>
              <a:ext uri="{FF2B5EF4-FFF2-40B4-BE49-F238E27FC236}">
                <a16:creationId xmlns:a16="http://schemas.microsoft.com/office/drawing/2014/main" id="{A02FF87C-4580-4D26-9472-8B09112A617E}"/>
              </a:ext>
            </a:extLst>
          </p:cNvPr>
          <p:cNvGrpSpPr/>
          <p:nvPr userDrawn="1"/>
        </p:nvGrpSpPr>
        <p:grpSpPr>
          <a:xfrm>
            <a:off x="676454" y="6359913"/>
            <a:ext cx="3598823" cy="346377"/>
            <a:chOff x="676454" y="6359913"/>
            <a:chExt cx="3598823" cy="346377"/>
          </a:xfrm>
        </p:grpSpPr>
        <p:pic>
          <p:nvPicPr>
            <p:cNvPr id="11" name="Imagem 10">
              <a:extLst>
                <a:ext uri="{FF2B5EF4-FFF2-40B4-BE49-F238E27FC236}">
                  <a16:creationId xmlns:a16="http://schemas.microsoft.com/office/drawing/2014/main" id="{12CBC54D-3A8F-463C-B30F-F296D956E51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76454" y="6359913"/>
              <a:ext cx="448325" cy="346377"/>
            </a:xfrm>
            <a:prstGeom prst="rect">
              <a:avLst/>
            </a:prstGeom>
          </p:spPr>
        </p:pic>
        <p:pic>
          <p:nvPicPr>
            <p:cNvPr id="12" name="Imagem 11">
              <a:extLst>
                <a:ext uri="{FF2B5EF4-FFF2-40B4-BE49-F238E27FC236}">
                  <a16:creationId xmlns:a16="http://schemas.microsoft.com/office/drawing/2014/main" id="{6BF1B206-2F2E-426C-891C-79EB9C63CB8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124779" y="6391807"/>
              <a:ext cx="3150498" cy="2703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1135568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>
            <a:extLst>
              <a:ext uri="{FF2B5EF4-FFF2-40B4-BE49-F238E27FC236}">
                <a16:creationId xmlns:a16="http://schemas.microsoft.com/office/drawing/2014/main" id="{051BA9EF-AAE9-4F44-B721-A8FC20211A5A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2631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Espaço Reservado para Imagem 4">
            <a:extLst>
              <a:ext uri="{FF2B5EF4-FFF2-40B4-BE49-F238E27FC236}">
                <a16:creationId xmlns:a16="http://schemas.microsoft.com/office/drawing/2014/main" id="{E63DABBE-5D1B-4D62-B1A7-07691B7C47C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800">
                <a:solidFill>
                  <a:schemeClr val="bg1"/>
                </a:solidFill>
              </a:defRPr>
            </a:lvl1pPr>
          </a:lstStyle>
          <a:p>
            <a:endParaRPr lang="pt-BR"/>
          </a:p>
        </p:txBody>
      </p:sp>
      <p:sp>
        <p:nvSpPr>
          <p:cNvPr id="20" name="Espaço Reservado para Conteúdo 14">
            <a:extLst>
              <a:ext uri="{FF2B5EF4-FFF2-40B4-BE49-F238E27FC236}">
                <a16:creationId xmlns:a16="http://schemas.microsoft.com/office/drawing/2014/main" id="{5594F816-661A-47FA-A067-346B0AED943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98526" y="4241261"/>
            <a:ext cx="2959101" cy="112658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Clr>
                <a:srgbClr val="263143"/>
              </a:buClr>
              <a:buFontTx/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 sz="1600">
                <a:solidFill>
                  <a:srgbClr val="D6D6CE"/>
                </a:solidFill>
              </a:defRPr>
            </a:lvl2pPr>
            <a:lvl3pPr marL="914400" indent="0" algn="ctr">
              <a:buFontTx/>
              <a:buNone/>
              <a:defRPr sz="1600">
                <a:solidFill>
                  <a:srgbClr val="D6D6CE"/>
                </a:solidFill>
              </a:defRPr>
            </a:lvl3pPr>
            <a:lvl4pPr marL="16002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4pPr>
            <a:lvl5pPr marL="20574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5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8" name="Espaço Reservado para Conteúdo 14">
            <a:extLst>
              <a:ext uri="{FF2B5EF4-FFF2-40B4-BE49-F238E27FC236}">
                <a16:creationId xmlns:a16="http://schemas.microsoft.com/office/drawing/2014/main" id="{D531747D-4478-42F7-BF02-A5996AA1F88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616449" y="4241261"/>
            <a:ext cx="2959101" cy="112658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Clr>
                <a:srgbClr val="263143"/>
              </a:buClr>
              <a:buFontTx/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 sz="1600">
                <a:solidFill>
                  <a:srgbClr val="D6D6CE"/>
                </a:solidFill>
              </a:defRPr>
            </a:lvl2pPr>
            <a:lvl3pPr marL="914400" indent="0" algn="ctr">
              <a:buFontTx/>
              <a:buNone/>
              <a:defRPr sz="1600">
                <a:solidFill>
                  <a:srgbClr val="D6D6CE"/>
                </a:solidFill>
              </a:defRPr>
            </a:lvl3pPr>
            <a:lvl4pPr marL="16002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4pPr>
            <a:lvl5pPr marL="20574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5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9" name="Espaço Reservado para Conteúdo 14">
            <a:extLst>
              <a:ext uri="{FF2B5EF4-FFF2-40B4-BE49-F238E27FC236}">
                <a16:creationId xmlns:a16="http://schemas.microsoft.com/office/drawing/2014/main" id="{523CAE27-8286-474E-A8F2-ED744F80D63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334373" y="4241261"/>
            <a:ext cx="2959101" cy="112658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Clr>
                <a:srgbClr val="263143"/>
              </a:buClr>
              <a:buFontTx/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 sz="1600">
                <a:solidFill>
                  <a:srgbClr val="D6D6CE"/>
                </a:solidFill>
              </a:defRPr>
            </a:lvl2pPr>
            <a:lvl3pPr marL="914400" indent="0" algn="ctr">
              <a:buFontTx/>
              <a:buNone/>
              <a:defRPr sz="1600">
                <a:solidFill>
                  <a:srgbClr val="D6D6CE"/>
                </a:solidFill>
              </a:defRPr>
            </a:lvl3pPr>
            <a:lvl4pPr marL="16002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4pPr>
            <a:lvl5pPr marL="20574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5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cxnSp>
        <p:nvCxnSpPr>
          <p:cNvPr id="12" name="Conector reto 11">
            <a:extLst>
              <a:ext uri="{FF2B5EF4-FFF2-40B4-BE49-F238E27FC236}">
                <a16:creationId xmlns:a16="http://schemas.microsoft.com/office/drawing/2014/main" id="{0400D48A-8E66-4745-B330-EC81188789AB}"/>
              </a:ext>
            </a:extLst>
          </p:cNvPr>
          <p:cNvCxnSpPr>
            <a:cxnSpLocks/>
          </p:cNvCxnSpPr>
          <p:nvPr userDrawn="1"/>
        </p:nvCxnSpPr>
        <p:spPr>
          <a:xfrm>
            <a:off x="495299" y="6180107"/>
            <a:ext cx="1120140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ço Reservado para Número de Slide 5">
            <a:extLst>
              <a:ext uri="{FF2B5EF4-FFF2-40B4-BE49-F238E27FC236}">
                <a16:creationId xmlns:a16="http://schemas.microsoft.com/office/drawing/2014/main" id="{37BC3777-7CCC-43B0-A9A8-7998208427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54700" y="6336385"/>
            <a:ext cx="482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DC043D3B-68EA-494F-B371-61C74477040A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A63B4C2E-DA26-4390-A234-1D5A09712155}"/>
              </a:ext>
            </a:extLst>
          </p:cNvPr>
          <p:cNvSpPr txBox="1"/>
          <p:nvPr userDrawn="1"/>
        </p:nvSpPr>
        <p:spPr>
          <a:xfrm>
            <a:off x="8887918" y="6418920"/>
            <a:ext cx="280878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© 2021 Atlantica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ospitality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nternational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® |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onfidential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&amp;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roprietary</a:t>
            </a:r>
            <a:endParaRPr lang="pt-BR" sz="700" dirty="0">
              <a:solidFill>
                <a:schemeClr val="bg1"/>
              </a:solidFill>
            </a:endParaRPr>
          </a:p>
        </p:txBody>
      </p:sp>
      <p:grpSp>
        <p:nvGrpSpPr>
          <p:cNvPr id="11" name="Agrupar 10">
            <a:extLst>
              <a:ext uri="{FF2B5EF4-FFF2-40B4-BE49-F238E27FC236}">
                <a16:creationId xmlns:a16="http://schemas.microsoft.com/office/drawing/2014/main" id="{645E984D-9956-4643-A636-90B4D1D6B217}"/>
              </a:ext>
            </a:extLst>
          </p:cNvPr>
          <p:cNvGrpSpPr/>
          <p:nvPr userDrawn="1"/>
        </p:nvGrpSpPr>
        <p:grpSpPr>
          <a:xfrm>
            <a:off x="676454" y="6359913"/>
            <a:ext cx="3598823" cy="346377"/>
            <a:chOff x="676454" y="6359913"/>
            <a:chExt cx="3598823" cy="346377"/>
          </a:xfrm>
        </p:grpSpPr>
        <p:pic>
          <p:nvPicPr>
            <p:cNvPr id="13" name="Imagem 12">
              <a:extLst>
                <a:ext uri="{FF2B5EF4-FFF2-40B4-BE49-F238E27FC236}">
                  <a16:creationId xmlns:a16="http://schemas.microsoft.com/office/drawing/2014/main" id="{672DA361-837D-4734-86BE-0709FE09594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76454" y="6359913"/>
              <a:ext cx="448325" cy="346377"/>
            </a:xfrm>
            <a:prstGeom prst="rect">
              <a:avLst/>
            </a:prstGeom>
          </p:spPr>
        </p:pic>
        <p:pic>
          <p:nvPicPr>
            <p:cNvPr id="14" name="Imagem 13">
              <a:extLst>
                <a:ext uri="{FF2B5EF4-FFF2-40B4-BE49-F238E27FC236}">
                  <a16:creationId xmlns:a16="http://schemas.microsoft.com/office/drawing/2014/main" id="{2F5E7753-D701-4265-B8E1-EA9E6E19E35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124779" y="6391807"/>
              <a:ext cx="3150498" cy="2703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375357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>
            <a:extLst>
              <a:ext uri="{FF2B5EF4-FFF2-40B4-BE49-F238E27FC236}">
                <a16:creationId xmlns:a16="http://schemas.microsoft.com/office/drawing/2014/main" id="{051BA9EF-AAE9-4F44-B721-A8FC20211A5A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2631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Espaço Reservado para Imagem 4">
            <a:extLst>
              <a:ext uri="{FF2B5EF4-FFF2-40B4-BE49-F238E27FC236}">
                <a16:creationId xmlns:a16="http://schemas.microsoft.com/office/drawing/2014/main" id="{E63DABBE-5D1B-4D62-B1A7-07691B7C47C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800">
                <a:solidFill>
                  <a:schemeClr val="bg1"/>
                </a:solidFill>
              </a:defRPr>
            </a:lvl1pPr>
          </a:lstStyle>
          <a:p>
            <a:endParaRPr lang="pt-BR"/>
          </a:p>
        </p:txBody>
      </p:sp>
      <p:sp>
        <p:nvSpPr>
          <p:cNvPr id="20" name="Espaço Reservado para Conteúdo 14">
            <a:extLst>
              <a:ext uri="{FF2B5EF4-FFF2-40B4-BE49-F238E27FC236}">
                <a16:creationId xmlns:a16="http://schemas.microsoft.com/office/drawing/2014/main" id="{5594F816-661A-47FA-A067-346B0AED943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95299" y="4635499"/>
            <a:ext cx="2273301" cy="112658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Clr>
                <a:srgbClr val="263143"/>
              </a:buClr>
              <a:buFontTx/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 sz="1600">
                <a:solidFill>
                  <a:srgbClr val="D6D6CE"/>
                </a:solidFill>
              </a:defRPr>
            </a:lvl2pPr>
            <a:lvl3pPr marL="914400" indent="0" algn="ctr">
              <a:buFontTx/>
              <a:buNone/>
              <a:defRPr sz="1600">
                <a:solidFill>
                  <a:srgbClr val="D6D6CE"/>
                </a:solidFill>
              </a:defRPr>
            </a:lvl3pPr>
            <a:lvl4pPr marL="16002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4pPr>
            <a:lvl5pPr marL="20574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5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10" name="Espaço Reservado para Conteúdo 14">
            <a:extLst>
              <a:ext uri="{FF2B5EF4-FFF2-40B4-BE49-F238E27FC236}">
                <a16:creationId xmlns:a16="http://schemas.microsoft.com/office/drawing/2014/main" id="{0101F868-645C-41C9-8648-D48044E73D1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471333" y="4635499"/>
            <a:ext cx="2273301" cy="112658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Clr>
                <a:srgbClr val="263143"/>
              </a:buClr>
              <a:buFontTx/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 sz="1600">
                <a:solidFill>
                  <a:srgbClr val="D6D6CE"/>
                </a:solidFill>
              </a:defRPr>
            </a:lvl2pPr>
            <a:lvl3pPr marL="914400" indent="0" algn="ctr">
              <a:buFontTx/>
              <a:buNone/>
              <a:defRPr sz="1600">
                <a:solidFill>
                  <a:srgbClr val="D6D6CE"/>
                </a:solidFill>
              </a:defRPr>
            </a:lvl3pPr>
            <a:lvl4pPr marL="16002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4pPr>
            <a:lvl5pPr marL="20574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5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11" name="Espaço Reservado para Conteúdo 14">
            <a:extLst>
              <a:ext uri="{FF2B5EF4-FFF2-40B4-BE49-F238E27FC236}">
                <a16:creationId xmlns:a16="http://schemas.microsoft.com/office/drawing/2014/main" id="{4EB653CC-9108-4C06-84AC-AC667DED049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447367" y="4635499"/>
            <a:ext cx="2273301" cy="112658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Clr>
                <a:srgbClr val="263143"/>
              </a:buClr>
              <a:buFontTx/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 sz="1600">
                <a:solidFill>
                  <a:srgbClr val="D6D6CE"/>
                </a:solidFill>
              </a:defRPr>
            </a:lvl2pPr>
            <a:lvl3pPr marL="914400" indent="0" algn="ctr">
              <a:buFontTx/>
              <a:buNone/>
              <a:defRPr sz="1600">
                <a:solidFill>
                  <a:srgbClr val="D6D6CE"/>
                </a:solidFill>
              </a:defRPr>
            </a:lvl3pPr>
            <a:lvl4pPr marL="16002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4pPr>
            <a:lvl5pPr marL="20574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5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12" name="Espaço Reservado para Conteúdo 14">
            <a:extLst>
              <a:ext uri="{FF2B5EF4-FFF2-40B4-BE49-F238E27FC236}">
                <a16:creationId xmlns:a16="http://schemas.microsoft.com/office/drawing/2014/main" id="{DE8C36B0-F68D-48CF-812C-B712A44171F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423400" y="4635499"/>
            <a:ext cx="2273301" cy="112658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Clr>
                <a:srgbClr val="263143"/>
              </a:buClr>
              <a:buFontTx/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 sz="1600">
                <a:solidFill>
                  <a:srgbClr val="D6D6CE"/>
                </a:solidFill>
              </a:defRPr>
            </a:lvl2pPr>
            <a:lvl3pPr marL="914400" indent="0" algn="ctr">
              <a:buFontTx/>
              <a:buNone/>
              <a:defRPr sz="1600">
                <a:solidFill>
                  <a:srgbClr val="D6D6CE"/>
                </a:solidFill>
              </a:defRPr>
            </a:lvl3pPr>
            <a:lvl4pPr marL="16002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4pPr>
            <a:lvl5pPr marL="20574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5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cxnSp>
        <p:nvCxnSpPr>
          <p:cNvPr id="14" name="Conector reto 13">
            <a:extLst>
              <a:ext uri="{FF2B5EF4-FFF2-40B4-BE49-F238E27FC236}">
                <a16:creationId xmlns:a16="http://schemas.microsoft.com/office/drawing/2014/main" id="{471AC82C-663A-400D-A857-45701B762827}"/>
              </a:ext>
            </a:extLst>
          </p:cNvPr>
          <p:cNvCxnSpPr>
            <a:cxnSpLocks/>
          </p:cNvCxnSpPr>
          <p:nvPr userDrawn="1"/>
        </p:nvCxnSpPr>
        <p:spPr>
          <a:xfrm>
            <a:off x="495299" y="6180107"/>
            <a:ext cx="1120140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ço Reservado para Número de Slide 5">
            <a:extLst>
              <a:ext uri="{FF2B5EF4-FFF2-40B4-BE49-F238E27FC236}">
                <a16:creationId xmlns:a16="http://schemas.microsoft.com/office/drawing/2014/main" id="{A8A689C5-F992-4CF3-AF31-6A0086BC83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54700" y="6336385"/>
            <a:ext cx="482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DC043D3B-68EA-494F-B371-61C74477040A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2223E4EF-08BD-4173-940D-AF3C2DC9293D}"/>
              </a:ext>
            </a:extLst>
          </p:cNvPr>
          <p:cNvSpPr txBox="1"/>
          <p:nvPr userDrawn="1"/>
        </p:nvSpPr>
        <p:spPr>
          <a:xfrm>
            <a:off x="8887918" y="6418920"/>
            <a:ext cx="280878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© 2021 Atlantica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ospitality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nternational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® |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onfidential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&amp;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roprietary</a:t>
            </a:r>
            <a:endParaRPr lang="pt-BR" sz="700" dirty="0">
              <a:solidFill>
                <a:schemeClr val="bg1"/>
              </a:solidFill>
            </a:endParaRPr>
          </a:p>
        </p:txBody>
      </p:sp>
      <p:grpSp>
        <p:nvGrpSpPr>
          <p:cNvPr id="13" name="Agrupar 12">
            <a:extLst>
              <a:ext uri="{FF2B5EF4-FFF2-40B4-BE49-F238E27FC236}">
                <a16:creationId xmlns:a16="http://schemas.microsoft.com/office/drawing/2014/main" id="{8DCA88B6-7C81-4DB8-B11F-C8EBEF46642E}"/>
              </a:ext>
            </a:extLst>
          </p:cNvPr>
          <p:cNvGrpSpPr/>
          <p:nvPr userDrawn="1"/>
        </p:nvGrpSpPr>
        <p:grpSpPr>
          <a:xfrm>
            <a:off x="676454" y="6359913"/>
            <a:ext cx="3598823" cy="346377"/>
            <a:chOff x="676454" y="6359913"/>
            <a:chExt cx="3598823" cy="346377"/>
          </a:xfrm>
        </p:grpSpPr>
        <p:pic>
          <p:nvPicPr>
            <p:cNvPr id="17" name="Imagem 16">
              <a:extLst>
                <a:ext uri="{FF2B5EF4-FFF2-40B4-BE49-F238E27FC236}">
                  <a16:creationId xmlns:a16="http://schemas.microsoft.com/office/drawing/2014/main" id="{B0994326-95F3-49C9-A855-7493731AA00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76454" y="6359913"/>
              <a:ext cx="448325" cy="346377"/>
            </a:xfrm>
            <a:prstGeom prst="rect">
              <a:avLst/>
            </a:prstGeom>
          </p:spPr>
        </p:pic>
        <p:pic>
          <p:nvPicPr>
            <p:cNvPr id="18" name="Imagem 17">
              <a:extLst>
                <a:ext uri="{FF2B5EF4-FFF2-40B4-BE49-F238E27FC236}">
                  <a16:creationId xmlns:a16="http://schemas.microsoft.com/office/drawing/2014/main" id="{1E938E11-8CAA-408A-9A22-AD4C6592F57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124779" y="6391807"/>
              <a:ext cx="3150498" cy="2703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412533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 descr="Fundo preto com letras brancas&#10;&#10;Descrição gerada automaticamente">
            <a:extLst>
              <a:ext uri="{FF2B5EF4-FFF2-40B4-BE49-F238E27FC236}">
                <a16:creationId xmlns:a16="http://schemas.microsoft.com/office/drawing/2014/main" id="{E74FBC3E-75CF-4C26-ABED-2CD4B7B0B0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Imagem 4" descr="Uma imagem contendo atletismo&#10;&#10;Descrição gerada automaticamente">
            <a:extLst>
              <a:ext uri="{FF2B5EF4-FFF2-40B4-BE49-F238E27FC236}">
                <a16:creationId xmlns:a16="http://schemas.microsoft.com/office/drawing/2014/main" id="{4CE6CF07-92E9-4CF3-B52F-FB9C4DDB233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1"/>
            <a:ext cx="12192000" cy="6858000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33DB2EA8-3456-4673-8962-86ECEBAE276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165825" y="2844183"/>
            <a:ext cx="5860349" cy="1169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383645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>
            <a:extLst>
              <a:ext uri="{FF2B5EF4-FFF2-40B4-BE49-F238E27FC236}">
                <a16:creationId xmlns:a16="http://schemas.microsoft.com/office/drawing/2014/main" id="{051BA9EF-AAE9-4F44-B721-A8FC20211A5A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2631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5" name="Espaço Reservado para Imagem 4">
            <a:extLst>
              <a:ext uri="{FF2B5EF4-FFF2-40B4-BE49-F238E27FC236}">
                <a16:creationId xmlns:a16="http://schemas.microsoft.com/office/drawing/2014/main" id="{E63DABBE-5D1B-4D62-B1A7-07691B7C47C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2295525"/>
            <a:ext cx="12192000" cy="34290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800">
                <a:solidFill>
                  <a:schemeClr val="bg1"/>
                </a:solidFill>
              </a:defRPr>
            </a:lvl1pPr>
          </a:lstStyle>
          <a:p>
            <a:endParaRPr lang="pt-BR"/>
          </a:p>
        </p:txBody>
      </p:sp>
      <p:sp>
        <p:nvSpPr>
          <p:cNvPr id="11" name="Espaço Reservado para Conteúdo 14">
            <a:extLst>
              <a:ext uri="{FF2B5EF4-FFF2-40B4-BE49-F238E27FC236}">
                <a16:creationId xmlns:a16="http://schemas.microsoft.com/office/drawing/2014/main" id="{B551B2CA-C8DD-43A0-BFEB-32F6872A69C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95299" y="734267"/>
            <a:ext cx="5499100" cy="112658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Clr>
                <a:srgbClr val="263143"/>
              </a:buClr>
              <a:buFontTx/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 sz="1600">
                <a:solidFill>
                  <a:srgbClr val="D6D6CE"/>
                </a:solidFill>
              </a:defRPr>
            </a:lvl2pPr>
            <a:lvl3pPr marL="914400" indent="0" algn="ctr">
              <a:buFontTx/>
              <a:buNone/>
              <a:defRPr sz="1600">
                <a:solidFill>
                  <a:srgbClr val="D6D6CE"/>
                </a:solidFill>
              </a:defRPr>
            </a:lvl3pPr>
            <a:lvl4pPr marL="16002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4pPr>
            <a:lvl5pPr marL="20574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5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12" name="Espaço Reservado para Conteúdo 14">
            <a:extLst>
              <a:ext uri="{FF2B5EF4-FFF2-40B4-BE49-F238E27FC236}">
                <a16:creationId xmlns:a16="http://schemas.microsoft.com/office/drawing/2014/main" id="{2BE2EF62-7916-491C-BBF0-23AF6EC24686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197601" y="734267"/>
            <a:ext cx="5499100" cy="112658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Clr>
                <a:srgbClr val="263143"/>
              </a:buClr>
              <a:buFontTx/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 sz="1600">
                <a:solidFill>
                  <a:srgbClr val="D6D6CE"/>
                </a:solidFill>
              </a:defRPr>
            </a:lvl2pPr>
            <a:lvl3pPr marL="914400" indent="0" algn="ctr">
              <a:buFontTx/>
              <a:buNone/>
              <a:defRPr sz="1600">
                <a:solidFill>
                  <a:srgbClr val="D6D6CE"/>
                </a:solidFill>
              </a:defRPr>
            </a:lvl3pPr>
            <a:lvl4pPr marL="16002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4pPr>
            <a:lvl5pPr marL="20574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5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cxnSp>
        <p:nvCxnSpPr>
          <p:cNvPr id="7" name="Conector reto 6">
            <a:extLst>
              <a:ext uri="{FF2B5EF4-FFF2-40B4-BE49-F238E27FC236}">
                <a16:creationId xmlns:a16="http://schemas.microsoft.com/office/drawing/2014/main" id="{6FA1E71E-F76F-4A79-B031-2FCE0A3FAC75}"/>
              </a:ext>
            </a:extLst>
          </p:cNvPr>
          <p:cNvCxnSpPr>
            <a:cxnSpLocks/>
          </p:cNvCxnSpPr>
          <p:nvPr userDrawn="1"/>
        </p:nvCxnSpPr>
        <p:spPr>
          <a:xfrm>
            <a:off x="495299" y="6180107"/>
            <a:ext cx="1120140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spaço Reservado para Número de Slide 5">
            <a:extLst>
              <a:ext uri="{FF2B5EF4-FFF2-40B4-BE49-F238E27FC236}">
                <a16:creationId xmlns:a16="http://schemas.microsoft.com/office/drawing/2014/main" id="{BE166631-006E-4014-B4BC-68944836E1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54700" y="6336385"/>
            <a:ext cx="482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DC043D3B-68EA-494F-B371-61C74477040A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F70914C0-6625-42F1-975E-3B0EB6B66A78}"/>
              </a:ext>
            </a:extLst>
          </p:cNvPr>
          <p:cNvSpPr txBox="1"/>
          <p:nvPr userDrawn="1"/>
        </p:nvSpPr>
        <p:spPr>
          <a:xfrm>
            <a:off x="8887918" y="6418920"/>
            <a:ext cx="280878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© 2021 Atlantica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ospitality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nternational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® |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onfidential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&amp;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roprietary</a:t>
            </a:r>
            <a:endParaRPr lang="pt-BR" sz="700" dirty="0">
              <a:solidFill>
                <a:schemeClr val="bg1"/>
              </a:solidFill>
            </a:endParaRPr>
          </a:p>
        </p:txBody>
      </p:sp>
      <p:grpSp>
        <p:nvGrpSpPr>
          <p:cNvPr id="10" name="Agrupar 9">
            <a:extLst>
              <a:ext uri="{FF2B5EF4-FFF2-40B4-BE49-F238E27FC236}">
                <a16:creationId xmlns:a16="http://schemas.microsoft.com/office/drawing/2014/main" id="{C948B589-3437-453F-92FB-0F862644A582}"/>
              </a:ext>
            </a:extLst>
          </p:cNvPr>
          <p:cNvGrpSpPr/>
          <p:nvPr userDrawn="1"/>
        </p:nvGrpSpPr>
        <p:grpSpPr>
          <a:xfrm>
            <a:off x="676454" y="6359913"/>
            <a:ext cx="3598823" cy="346377"/>
            <a:chOff x="676454" y="6359913"/>
            <a:chExt cx="3598823" cy="346377"/>
          </a:xfrm>
        </p:grpSpPr>
        <p:pic>
          <p:nvPicPr>
            <p:cNvPr id="17" name="Imagem 16">
              <a:extLst>
                <a:ext uri="{FF2B5EF4-FFF2-40B4-BE49-F238E27FC236}">
                  <a16:creationId xmlns:a16="http://schemas.microsoft.com/office/drawing/2014/main" id="{A248CDE7-5FF6-481C-850E-6371F9F7412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76454" y="6359913"/>
              <a:ext cx="448325" cy="346377"/>
            </a:xfrm>
            <a:prstGeom prst="rect">
              <a:avLst/>
            </a:prstGeom>
          </p:spPr>
        </p:pic>
        <p:pic>
          <p:nvPicPr>
            <p:cNvPr id="18" name="Imagem 17">
              <a:extLst>
                <a:ext uri="{FF2B5EF4-FFF2-40B4-BE49-F238E27FC236}">
                  <a16:creationId xmlns:a16="http://schemas.microsoft.com/office/drawing/2014/main" id="{2E853265-659B-4793-B2CF-E770D458CE7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124779" y="6391807"/>
              <a:ext cx="3150498" cy="2703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5264563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>
            <a:extLst>
              <a:ext uri="{FF2B5EF4-FFF2-40B4-BE49-F238E27FC236}">
                <a16:creationId xmlns:a16="http://schemas.microsoft.com/office/drawing/2014/main" id="{051BA9EF-AAE9-4F44-B721-A8FC20211A5A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2631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5" name="Espaço Reservado para Imagem 4">
            <a:extLst>
              <a:ext uri="{FF2B5EF4-FFF2-40B4-BE49-F238E27FC236}">
                <a16:creationId xmlns:a16="http://schemas.microsoft.com/office/drawing/2014/main" id="{E63DABBE-5D1B-4D62-B1A7-07691B7C47C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800">
                <a:solidFill>
                  <a:schemeClr val="bg1"/>
                </a:solidFill>
              </a:defRPr>
            </a:lvl1pPr>
          </a:lstStyle>
          <a:p>
            <a:endParaRPr lang="pt-BR"/>
          </a:p>
        </p:txBody>
      </p:sp>
      <p:sp>
        <p:nvSpPr>
          <p:cNvPr id="8" name="Espaço Reservado para Conteúdo 14">
            <a:extLst>
              <a:ext uri="{FF2B5EF4-FFF2-40B4-BE49-F238E27FC236}">
                <a16:creationId xmlns:a16="http://schemas.microsoft.com/office/drawing/2014/main" id="{6C983BBE-78BF-493D-8310-0B67703338C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98526" y="1039066"/>
            <a:ext cx="2959101" cy="112658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Clr>
                <a:srgbClr val="263143"/>
              </a:buClr>
              <a:buFontTx/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 sz="1600">
                <a:solidFill>
                  <a:srgbClr val="D6D6CE"/>
                </a:solidFill>
              </a:defRPr>
            </a:lvl2pPr>
            <a:lvl3pPr marL="914400" indent="0" algn="ctr">
              <a:buFontTx/>
              <a:buNone/>
              <a:defRPr sz="1600">
                <a:solidFill>
                  <a:srgbClr val="D6D6CE"/>
                </a:solidFill>
              </a:defRPr>
            </a:lvl3pPr>
            <a:lvl4pPr marL="16002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4pPr>
            <a:lvl5pPr marL="20574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5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9" name="Espaço Reservado para Conteúdo 14">
            <a:extLst>
              <a:ext uri="{FF2B5EF4-FFF2-40B4-BE49-F238E27FC236}">
                <a16:creationId xmlns:a16="http://schemas.microsoft.com/office/drawing/2014/main" id="{3BF6D458-9041-4582-AA27-5ECBFAEBF02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616449" y="1039066"/>
            <a:ext cx="2959101" cy="112658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Clr>
                <a:srgbClr val="263143"/>
              </a:buClr>
              <a:buFontTx/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 sz="1600">
                <a:solidFill>
                  <a:srgbClr val="D6D6CE"/>
                </a:solidFill>
              </a:defRPr>
            </a:lvl2pPr>
            <a:lvl3pPr marL="914400" indent="0" algn="ctr">
              <a:buFontTx/>
              <a:buNone/>
              <a:defRPr sz="1600">
                <a:solidFill>
                  <a:srgbClr val="D6D6CE"/>
                </a:solidFill>
              </a:defRPr>
            </a:lvl3pPr>
            <a:lvl4pPr marL="16002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4pPr>
            <a:lvl5pPr marL="20574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5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13" name="Espaço Reservado para Conteúdo 14">
            <a:extLst>
              <a:ext uri="{FF2B5EF4-FFF2-40B4-BE49-F238E27FC236}">
                <a16:creationId xmlns:a16="http://schemas.microsoft.com/office/drawing/2014/main" id="{2E8B8BDB-0692-45B8-B067-6FE257E0D4F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334373" y="1039066"/>
            <a:ext cx="2959101" cy="112658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Clr>
                <a:srgbClr val="263143"/>
              </a:buClr>
              <a:buFontTx/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 sz="1600">
                <a:solidFill>
                  <a:srgbClr val="D6D6CE"/>
                </a:solidFill>
              </a:defRPr>
            </a:lvl2pPr>
            <a:lvl3pPr marL="914400" indent="0" algn="ctr">
              <a:buFontTx/>
              <a:buNone/>
              <a:defRPr sz="1600">
                <a:solidFill>
                  <a:srgbClr val="D6D6CE"/>
                </a:solidFill>
              </a:defRPr>
            </a:lvl3pPr>
            <a:lvl4pPr marL="16002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4pPr>
            <a:lvl5pPr marL="20574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5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82039983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>
            <a:extLst>
              <a:ext uri="{FF2B5EF4-FFF2-40B4-BE49-F238E27FC236}">
                <a16:creationId xmlns:a16="http://schemas.microsoft.com/office/drawing/2014/main" id="{051BA9EF-AAE9-4F44-B721-A8FC20211A5A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2631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Espaço Reservado para Imagem 4">
            <a:extLst>
              <a:ext uri="{FF2B5EF4-FFF2-40B4-BE49-F238E27FC236}">
                <a16:creationId xmlns:a16="http://schemas.microsoft.com/office/drawing/2014/main" id="{E63DABBE-5D1B-4D62-B1A7-07691B7C47C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800">
                <a:solidFill>
                  <a:schemeClr val="bg1"/>
                </a:solidFill>
              </a:defRPr>
            </a:lvl1pPr>
          </a:lstStyle>
          <a:p>
            <a:endParaRPr lang="pt-BR"/>
          </a:p>
        </p:txBody>
      </p:sp>
      <p:sp>
        <p:nvSpPr>
          <p:cNvPr id="20" name="Espaço Reservado para Conteúdo 14">
            <a:extLst>
              <a:ext uri="{FF2B5EF4-FFF2-40B4-BE49-F238E27FC236}">
                <a16:creationId xmlns:a16="http://schemas.microsoft.com/office/drawing/2014/main" id="{5594F816-661A-47FA-A067-346B0AED943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95299" y="1039065"/>
            <a:ext cx="2273301" cy="112658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Clr>
                <a:srgbClr val="263143"/>
              </a:buClr>
              <a:buFontTx/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 sz="1600">
                <a:solidFill>
                  <a:srgbClr val="D6D6CE"/>
                </a:solidFill>
              </a:defRPr>
            </a:lvl2pPr>
            <a:lvl3pPr marL="914400" indent="0" algn="ctr">
              <a:buFontTx/>
              <a:buNone/>
              <a:defRPr sz="1600">
                <a:solidFill>
                  <a:srgbClr val="D6D6CE"/>
                </a:solidFill>
              </a:defRPr>
            </a:lvl3pPr>
            <a:lvl4pPr marL="16002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4pPr>
            <a:lvl5pPr marL="20574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5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10" name="Espaço Reservado para Conteúdo 14">
            <a:extLst>
              <a:ext uri="{FF2B5EF4-FFF2-40B4-BE49-F238E27FC236}">
                <a16:creationId xmlns:a16="http://schemas.microsoft.com/office/drawing/2014/main" id="{0101F868-645C-41C9-8648-D48044E73D1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471333" y="1039065"/>
            <a:ext cx="2273301" cy="112658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Clr>
                <a:srgbClr val="263143"/>
              </a:buClr>
              <a:buFontTx/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 sz="1600">
                <a:solidFill>
                  <a:srgbClr val="D6D6CE"/>
                </a:solidFill>
              </a:defRPr>
            </a:lvl2pPr>
            <a:lvl3pPr marL="914400" indent="0" algn="ctr">
              <a:buFontTx/>
              <a:buNone/>
              <a:defRPr sz="1600">
                <a:solidFill>
                  <a:srgbClr val="D6D6CE"/>
                </a:solidFill>
              </a:defRPr>
            </a:lvl3pPr>
            <a:lvl4pPr marL="16002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4pPr>
            <a:lvl5pPr marL="20574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5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11" name="Espaço Reservado para Conteúdo 14">
            <a:extLst>
              <a:ext uri="{FF2B5EF4-FFF2-40B4-BE49-F238E27FC236}">
                <a16:creationId xmlns:a16="http://schemas.microsoft.com/office/drawing/2014/main" id="{4EB653CC-9108-4C06-84AC-AC667DED049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447367" y="1039065"/>
            <a:ext cx="2273301" cy="112658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Clr>
                <a:srgbClr val="263143"/>
              </a:buClr>
              <a:buFontTx/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 sz="1600">
                <a:solidFill>
                  <a:srgbClr val="D6D6CE"/>
                </a:solidFill>
              </a:defRPr>
            </a:lvl2pPr>
            <a:lvl3pPr marL="914400" indent="0" algn="ctr">
              <a:buFontTx/>
              <a:buNone/>
              <a:defRPr sz="1600">
                <a:solidFill>
                  <a:srgbClr val="D6D6CE"/>
                </a:solidFill>
              </a:defRPr>
            </a:lvl3pPr>
            <a:lvl4pPr marL="16002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4pPr>
            <a:lvl5pPr marL="20574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5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12" name="Espaço Reservado para Conteúdo 14">
            <a:extLst>
              <a:ext uri="{FF2B5EF4-FFF2-40B4-BE49-F238E27FC236}">
                <a16:creationId xmlns:a16="http://schemas.microsoft.com/office/drawing/2014/main" id="{DE8C36B0-F68D-48CF-812C-B712A44171F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423400" y="1039065"/>
            <a:ext cx="2273301" cy="112658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Clr>
                <a:srgbClr val="263143"/>
              </a:buClr>
              <a:buFontTx/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 sz="1600">
                <a:solidFill>
                  <a:srgbClr val="D6D6CE"/>
                </a:solidFill>
              </a:defRPr>
            </a:lvl2pPr>
            <a:lvl3pPr marL="914400" indent="0" algn="ctr">
              <a:buFontTx/>
              <a:buNone/>
              <a:defRPr sz="1600">
                <a:solidFill>
                  <a:srgbClr val="D6D6CE"/>
                </a:solidFill>
              </a:defRPr>
            </a:lvl3pPr>
            <a:lvl4pPr marL="16002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4pPr>
            <a:lvl5pPr marL="20574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5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</p:spTree>
    <p:extLst>
      <p:ext uri="{BB962C8B-B14F-4D97-AF65-F5344CB8AC3E}">
        <p14:creationId xmlns:p14="http://schemas.microsoft.com/office/powerpoint/2010/main" val="318536127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>
            <a:extLst>
              <a:ext uri="{FF2B5EF4-FFF2-40B4-BE49-F238E27FC236}">
                <a16:creationId xmlns:a16="http://schemas.microsoft.com/office/drawing/2014/main" id="{051BA9EF-AAE9-4F44-B721-A8FC20211A5A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2631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Espaço Reservado para Imagem 4">
            <a:extLst>
              <a:ext uri="{FF2B5EF4-FFF2-40B4-BE49-F238E27FC236}">
                <a16:creationId xmlns:a16="http://schemas.microsoft.com/office/drawing/2014/main" id="{E63DABBE-5D1B-4D62-B1A7-07691B7C47C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573769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800">
                <a:solidFill>
                  <a:schemeClr val="bg1"/>
                </a:solidFill>
              </a:defRPr>
            </a:lvl1pPr>
          </a:lstStyle>
          <a:p>
            <a:endParaRPr lang="pt-BR"/>
          </a:p>
        </p:txBody>
      </p:sp>
      <p:sp>
        <p:nvSpPr>
          <p:cNvPr id="11" name="Espaço Reservado para Conteúdo 14">
            <a:extLst>
              <a:ext uri="{FF2B5EF4-FFF2-40B4-BE49-F238E27FC236}">
                <a16:creationId xmlns:a16="http://schemas.microsoft.com/office/drawing/2014/main" id="{4EB653CC-9108-4C06-84AC-AC667DED049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676853" y="1039066"/>
            <a:ext cx="5028482" cy="5999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Clr>
                <a:srgbClr val="263143"/>
              </a:buClr>
              <a:buFontTx/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 sz="1600">
                <a:solidFill>
                  <a:srgbClr val="D6D6CE"/>
                </a:solidFill>
              </a:defRPr>
            </a:lvl2pPr>
            <a:lvl3pPr marL="914400" indent="0" algn="ctr">
              <a:buFontTx/>
              <a:buNone/>
              <a:defRPr sz="1600">
                <a:solidFill>
                  <a:srgbClr val="D6D6CE"/>
                </a:solidFill>
              </a:defRPr>
            </a:lvl3pPr>
            <a:lvl4pPr marL="16002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4pPr>
            <a:lvl5pPr marL="20574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5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8" name="Espaço Reservado para Conteúdo 14">
            <a:extLst>
              <a:ext uri="{FF2B5EF4-FFF2-40B4-BE49-F238E27FC236}">
                <a16:creationId xmlns:a16="http://schemas.microsoft.com/office/drawing/2014/main" id="{73ACBC1C-005A-4368-8CEE-EE9244DA8EF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676853" y="1867202"/>
            <a:ext cx="5028482" cy="5999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Clr>
                <a:srgbClr val="263143"/>
              </a:buClr>
              <a:buFontTx/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 sz="1600">
                <a:solidFill>
                  <a:srgbClr val="D6D6CE"/>
                </a:solidFill>
              </a:defRPr>
            </a:lvl2pPr>
            <a:lvl3pPr marL="914400" indent="0" algn="ctr">
              <a:buFontTx/>
              <a:buNone/>
              <a:defRPr sz="1600">
                <a:solidFill>
                  <a:srgbClr val="D6D6CE"/>
                </a:solidFill>
              </a:defRPr>
            </a:lvl3pPr>
            <a:lvl4pPr marL="16002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4pPr>
            <a:lvl5pPr marL="20574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5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9" name="Espaço Reservado para Conteúdo 14">
            <a:extLst>
              <a:ext uri="{FF2B5EF4-FFF2-40B4-BE49-F238E27FC236}">
                <a16:creationId xmlns:a16="http://schemas.microsoft.com/office/drawing/2014/main" id="{5467ED13-2E97-4A0D-8FCC-873CC807DA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676853" y="2673355"/>
            <a:ext cx="5028482" cy="5999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Clr>
                <a:srgbClr val="263143"/>
              </a:buClr>
              <a:buFontTx/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 sz="1600">
                <a:solidFill>
                  <a:srgbClr val="D6D6CE"/>
                </a:solidFill>
              </a:defRPr>
            </a:lvl2pPr>
            <a:lvl3pPr marL="914400" indent="0" algn="ctr">
              <a:buFontTx/>
              <a:buNone/>
              <a:defRPr sz="1600">
                <a:solidFill>
                  <a:srgbClr val="D6D6CE"/>
                </a:solidFill>
              </a:defRPr>
            </a:lvl3pPr>
            <a:lvl4pPr marL="16002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4pPr>
            <a:lvl5pPr marL="20574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5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13" name="Espaço Reservado para Conteúdo 14">
            <a:extLst>
              <a:ext uri="{FF2B5EF4-FFF2-40B4-BE49-F238E27FC236}">
                <a16:creationId xmlns:a16="http://schemas.microsoft.com/office/drawing/2014/main" id="{668F97E6-5E3D-4975-A7AD-E54F875CE0B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676853" y="3487301"/>
            <a:ext cx="5028482" cy="5999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Clr>
                <a:srgbClr val="263143"/>
              </a:buClr>
              <a:buFontTx/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 sz="1600">
                <a:solidFill>
                  <a:srgbClr val="D6D6CE"/>
                </a:solidFill>
              </a:defRPr>
            </a:lvl2pPr>
            <a:lvl3pPr marL="914400" indent="0" algn="ctr">
              <a:buFontTx/>
              <a:buNone/>
              <a:defRPr sz="1600">
                <a:solidFill>
                  <a:srgbClr val="D6D6CE"/>
                </a:solidFill>
              </a:defRPr>
            </a:lvl3pPr>
            <a:lvl4pPr marL="16002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4pPr>
            <a:lvl5pPr marL="20574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5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14" name="Espaço Reservado para Conteúdo 14">
            <a:extLst>
              <a:ext uri="{FF2B5EF4-FFF2-40B4-BE49-F238E27FC236}">
                <a16:creationId xmlns:a16="http://schemas.microsoft.com/office/drawing/2014/main" id="{BBA61D6E-52D4-405A-B027-94619316B4FB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676853" y="4301247"/>
            <a:ext cx="5028482" cy="5999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Clr>
                <a:srgbClr val="263143"/>
              </a:buClr>
              <a:buFontTx/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 sz="1600">
                <a:solidFill>
                  <a:srgbClr val="D6D6CE"/>
                </a:solidFill>
              </a:defRPr>
            </a:lvl2pPr>
            <a:lvl3pPr marL="914400" indent="0" algn="ctr">
              <a:buFontTx/>
              <a:buNone/>
              <a:defRPr sz="1600">
                <a:solidFill>
                  <a:srgbClr val="D6D6CE"/>
                </a:solidFill>
              </a:defRPr>
            </a:lvl3pPr>
            <a:lvl4pPr marL="16002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4pPr>
            <a:lvl5pPr marL="20574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5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16" name="Espaço Reservado para Conteúdo 14">
            <a:extLst>
              <a:ext uri="{FF2B5EF4-FFF2-40B4-BE49-F238E27FC236}">
                <a16:creationId xmlns:a16="http://schemas.microsoft.com/office/drawing/2014/main" id="{33C43744-503E-4A52-A2F0-1B06FA473BE1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676853" y="5137738"/>
            <a:ext cx="5028482" cy="5999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Clr>
                <a:srgbClr val="263143"/>
              </a:buClr>
              <a:buFontTx/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 sz="1600">
                <a:solidFill>
                  <a:srgbClr val="D6D6CE"/>
                </a:solidFill>
              </a:defRPr>
            </a:lvl2pPr>
            <a:lvl3pPr marL="914400" indent="0" algn="ctr">
              <a:buFontTx/>
              <a:buNone/>
              <a:defRPr sz="1600">
                <a:solidFill>
                  <a:srgbClr val="D6D6CE"/>
                </a:solidFill>
              </a:defRPr>
            </a:lvl3pPr>
            <a:lvl4pPr marL="16002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4pPr>
            <a:lvl5pPr marL="20574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5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cxnSp>
        <p:nvCxnSpPr>
          <p:cNvPr id="17" name="Conector reto 16">
            <a:extLst>
              <a:ext uri="{FF2B5EF4-FFF2-40B4-BE49-F238E27FC236}">
                <a16:creationId xmlns:a16="http://schemas.microsoft.com/office/drawing/2014/main" id="{B492A7AA-FE60-408A-A672-68368E731806}"/>
              </a:ext>
            </a:extLst>
          </p:cNvPr>
          <p:cNvCxnSpPr>
            <a:cxnSpLocks/>
          </p:cNvCxnSpPr>
          <p:nvPr userDrawn="1"/>
        </p:nvCxnSpPr>
        <p:spPr>
          <a:xfrm>
            <a:off x="495299" y="6180107"/>
            <a:ext cx="1120140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Espaço Reservado para Número de Slide 5">
            <a:extLst>
              <a:ext uri="{FF2B5EF4-FFF2-40B4-BE49-F238E27FC236}">
                <a16:creationId xmlns:a16="http://schemas.microsoft.com/office/drawing/2014/main" id="{D50B2BC6-AC7E-42C4-B16E-1A4A05B7B6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54700" y="6336385"/>
            <a:ext cx="482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DC043D3B-68EA-494F-B371-61C74477040A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24" name="CaixaDeTexto 23">
            <a:extLst>
              <a:ext uri="{FF2B5EF4-FFF2-40B4-BE49-F238E27FC236}">
                <a16:creationId xmlns:a16="http://schemas.microsoft.com/office/drawing/2014/main" id="{A2A66185-50ED-46F2-8FE3-94D98AD57704}"/>
              </a:ext>
            </a:extLst>
          </p:cNvPr>
          <p:cNvSpPr txBox="1"/>
          <p:nvPr userDrawn="1"/>
        </p:nvSpPr>
        <p:spPr>
          <a:xfrm>
            <a:off x="8887918" y="6418920"/>
            <a:ext cx="280878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© 2021 Atlantica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ospitality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nternational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® |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onfidential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&amp;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roprietary</a:t>
            </a:r>
            <a:endParaRPr lang="pt-BR" sz="700" dirty="0">
              <a:solidFill>
                <a:schemeClr val="bg1"/>
              </a:solidFill>
            </a:endParaRPr>
          </a:p>
        </p:txBody>
      </p:sp>
      <p:grpSp>
        <p:nvGrpSpPr>
          <p:cNvPr id="18" name="Agrupar 17">
            <a:extLst>
              <a:ext uri="{FF2B5EF4-FFF2-40B4-BE49-F238E27FC236}">
                <a16:creationId xmlns:a16="http://schemas.microsoft.com/office/drawing/2014/main" id="{97CA21C5-D61E-43C7-BD07-1AC761B84D77}"/>
              </a:ext>
            </a:extLst>
          </p:cNvPr>
          <p:cNvGrpSpPr/>
          <p:nvPr userDrawn="1"/>
        </p:nvGrpSpPr>
        <p:grpSpPr>
          <a:xfrm>
            <a:off x="676454" y="6359913"/>
            <a:ext cx="3598823" cy="346377"/>
            <a:chOff x="676454" y="6359913"/>
            <a:chExt cx="3598823" cy="346377"/>
          </a:xfrm>
        </p:grpSpPr>
        <p:pic>
          <p:nvPicPr>
            <p:cNvPr id="19" name="Imagem 18">
              <a:extLst>
                <a:ext uri="{FF2B5EF4-FFF2-40B4-BE49-F238E27FC236}">
                  <a16:creationId xmlns:a16="http://schemas.microsoft.com/office/drawing/2014/main" id="{ABA1ECD3-CF64-4436-B703-C6177489144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76454" y="6359913"/>
              <a:ext cx="448325" cy="346377"/>
            </a:xfrm>
            <a:prstGeom prst="rect">
              <a:avLst/>
            </a:prstGeom>
          </p:spPr>
        </p:pic>
        <p:pic>
          <p:nvPicPr>
            <p:cNvPr id="20" name="Imagem 19">
              <a:extLst>
                <a:ext uri="{FF2B5EF4-FFF2-40B4-BE49-F238E27FC236}">
                  <a16:creationId xmlns:a16="http://schemas.microsoft.com/office/drawing/2014/main" id="{83C036A0-707F-41BA-B5E8-1F236DAC392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124779" y="6391807"/>
              <a:ext cx="3150498" cy="2703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6786560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>
            <a:extLst>
              <a:ext uri="{FF2B5EF4-FFF2-40B4-BE49-F238E27FC236}">
                <a16:creationId xmlns:a16="http://schemas.microsoft.com/office/drawing/2014/main" id="{051BA9EF-AAE9-4F44-B721-A8FC20211A5A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2631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Espaço Reservado para Imagem 4">
            <a:extLst>
              <a:ext uri="{FF2B5EF4-FFF2-40B4-BE49-F238E27FC236}">
                <a16:creationId xmlns:a16="http://schemas.microsoft.com/office/drawing/2014/main" id="{E63DABBE-5D1B-4D62-B1A7-07691B7C47C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57376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800">
                <a:solidFill>
                  <a:schemeClr val="bg1"/>
                </a:solidFill>
              </a:defRPr>
            </a:lvl1pPr>
          </a:lstStyle>
          <a:p>
            <a:endParaRPr lang="pt-BR"/>
          </a:p>
        </p:txBody>
      </p:sp>
      <p:sp>
        <p:nvSpPr>
          <p:cNvPr id="11" name="Espaço Reservado para Conteúdo 14">
            <a:extLst>
              <a:ext uri="{FF2B5EF4-FFF2-40B4-BE49-F238E27FC236}">
                <a16:creationId xmlns:a16="http://schemas.microsoft.com/office/drawing/2014/main" id="{4EB653CC-9108-4C06-84AC-AC667DED049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33759" y="1039066"/>
            <a:ext cx="5028482" cy="5999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Clr>
                <a:srgbClr val="263143"/>
              </a:buClr>
              <a:buFontTx/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 sz="1600">
                <a:solidFill>
                  <a:srgbClr val="D6D6CE"/>
                </a:solidFill>
              </a:defRPr>
            </a:lvl2pPr>
            <a:lvl3pPr marL="914400" indent="0" algn="ctr">
              <a:buFontTx/>
              <a:buNone/>
              <a:defRPr sz="1600">
                <a:solidFill>
                  <a:srgbClr val="D6D6CE"/>
                </a:solidFill>
              </a:defRPr>
            </a:lvl3pPr>
            <a:lvl4pPr marL="16002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4pPr>
            <a:lvl5pPr marL="20574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5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8" name="Espaço Reservado para Conteúdo 14">
            <a:extLst>
              <a:ext uri="{FF2B5EF4-FFF2-40B4-BE49-F238E27FC236}">
                <a16:creationId xmlns:a16="http://schemas.microsoft.com/office/drawing/2014/main" id="{73ACBC1C-005A-4368-8CEE-EE9244DA8EF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33759" y="1867202"/>
            <a:ext cx="5028482" cy="5999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Clr>
                <a:srgbClr val="263143"/>
              </a:buClr>
              <a:buFontTx/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 sz="1600">
                <a:solidFill>
                  <a:srgbClr val="D6D6CE"/>
                </a:solidFill>
              </a:defRPr>
            </a:lvl2pPr>
            <a:lvl3pPr marL="914400" indent="0" algn="ctr">
              <a:buFontTx/>
              <a:buNone/>
              <a:defRPr sz="1600">
                <a:solidFill>
                  <a:srgbClr val="D6D6CE"/>
                </a:solidFill>
              </a:defRPr>
            </a:lvl3pPr>
            <a:lvl4pPr marL="16002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4pPr>
            <a:lvl5pPr marL="20574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5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9" name="Espaço Reservado para Conteúdo 14">
            <a:extLst>
              <a:ext uri="{FF2B5EF4-FFF2-40B4-BE49-F238E27FC236}">
                <a16:creationId xmlns:a16="http://schemas.microsoft.com/office/drawing/2014/main" id="{5467ED13-2E97-4A0D-8FCC-873CC807DA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33759" y="2673355"/>
            <a:ext cx="5028482" cy="5999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Clr>
                <a:srgbClr val="263143"/>
              </a:buClr>
              <a:buFontTx/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 sz="1600">
                <a:solidFill>
                  <a:srgbClr val="D6D6CE"/>
                </a:solidFill>
              </a:defRPr>
            </a:lvl2pPr>
            <a:lvl3pPr marL="914400" indent="0" algn="ctr">
              <a:buFontTx/>
              <a:buNone/>
              <a:defRPr sz="1600">
                <a:solidFill>
                  <a:srgbClr val="D6D6CE"/>
                </a:solidFill>
              </a:defRPr>
            </a:lvl3pPr>
            <a:lvl4pPr marL="16002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4pPr>
            <a:lvl5pPr marL="20574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5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13" name="Espaço Reservado para Conteúdo 14">
            <a:extLst>
              <a:ext uri="{FF2B5EF4-FFF2-40B4-BE49-F238E27FC236}">
                <a16:creationId xmlns:a16="http://schemas.microsoft.com/office/drawing/2014/main" id="{668F97E6-5E3D-4975-A7AD-E54F875CE0B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33759" y="3487301"/>
            <a:ext cx="5028482" cy="5999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Clr>
                <a:srgbClr val="263143"/>
              </a:buClr>
              <a:buFontTx/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 sz="1600">
                <a:solidFill>
                  <a:srgbClr val="D6D6CE"/>
                </a:solidFill>
              </a:defRPr>
            </a:lvl2pPr>
            <a:lvl3pPr marL="914400" indent="0" algn="ctr">
              <a:buFontTx/>
              <a:buNone/>
              <a:defRPr sz="1600">
                <a:solidFill>
                  <a:srgbClr val="D6D6CE"/>
                </a:solidFill>
              </a:defRPr>
            </a:lvl3pPr>
            <a:lvl4pPr marL="16002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4pPr>
            <a:lvl5pPr marL="20574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5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14" name="Espaço Reservado para Conteúdo 14">
            <a:extLst>
              <a:ext uri="{FF2B5EF4-FFF2-40B4-BE49-F238E27FC236}">
                <a16:creationId xmlns:a16="http://schemas.microsoft.com/office/drawing/2014/main" id="{BBA61D6E-52D4-405A-B027-94619316B4FB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533759" y="4301247"/>
            <a:ext cx="5028482" cy="5999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Clr>
                <a:srgbClr val="263143"/>
              </a:buClr>
              <a:buFontTx/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 sz="1600">
                <a:solidFill>
                  <a:srgbClr val="D6D6CE"/>
                </a:solidFill>
              </a:defRPr>
            </a:lvl2pPr>
            <a:lvl3pPr marL="914400" indent="0" algn="ctr">
              <a:buFontTx/>
              <a:buNone/>
              <a:defRPr sz="1600">
                <a:solidFill>
                  <a:srgbClr val="D6D6CE"/>
                </a:solidFill>
              </a:defRPr>
            </a:lvl3pPr>
            <a:lvl4pPr marL="16002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4pPr>
            <a:lvl5pPr marL="20574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5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sp>
        <p:nvSpPr>
          <p:cNvPr id="16" name="Espaço Reservado para Conteúdo 14">
            <a:extLst>
              <a:ext uri="{FF2B5EF4-FFF2-40B4-BE49-F238E27FC236}">
                <a16:creationId xmlns:a16="http://schemas.microsoft.com/office/drawing/2014/main" id="{33C43744-503E-4A52-A2F0-1B06FA473BE1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33759" y="5137738"/>
            <a:ext cx="5028482" cy="5999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Clr>
                <a:srgbClr val="263143"/>
              </a:buClr>
              <a:buFontTx/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 sz="1600">
                <a:solidFill>
                  <a:srgbClr val="D6D6CE"/>
                </a:solidFill>
              </a:defRPr>
            </a:lvl2pPr>
            <a:lvl3pPr marL="914400" indent="0" algn="ctr">
              <a:buFontTx/>
              <a:buNone/>
              <a:defRPr sz="1600">
                <a:solidFill>
                  <a:srgbClr val="D6D6CE"/>
                </a:solidFill>
              </a:defRPr>
            </a:lvl3pPr>
            <a:lvl4pPr marL="16002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4pPr>
            <a:lvl5pPr marL="2057400" indent="-228600">
              <a:buFont typeface="Segoe UI" panose="020B0502040204020203" pitchFamily="34" charset="0"/>
              <a:buChar char="‒"/>
              <a:defRPr sz="1600">
                <a:solidFill>
                  <a:srgbClr val="D6D6CE"/>
                </a:solidFill>
              </a:defRPr>
            </a:lvl5pPr>
          </a:lstStyle>
          <a:p>
            <a:pPr lvl="0"/>
            <a:r>
              <a:rPr lang="pt-BR" dirty="0"/>
              <a:t>Clique para editar os estilos de texto Mestres</a:t>
            </a:r>
          </a:p>
        </p:txBody>
      </p:sp>
      <p:cxnSp>
        <p:nvCxnSpPr>
          <p:cNvPr id="17" name="Conector reto 16">
            <a:extLst>
              <a:ext uri="{FF2B5EF4-FFF2-40B4-BE49-F238E27FC236}">
                <a16:creationId xmlns:a16="http://schemas.microsoft.com/office/drawing/2014/main" id="{D287537E-319B-4BCD-AFBE-E6D4D72D5BAD}"/>
              </a:ext>
            </a:extLst>
          </p:cNvPr>
          <p:cNvCxnSpPr>
            <a:cxnSpLocks/>
          </p:cNvCxnSpPr>
          <p:nvPr userDrawn="1"/>
        </p:nvCxnSpPr>
        <p:spPr>
          <a:xfrm>
            <a:off x="495299" y="6180107"/>
            <a:ext cx="1120140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spaço Reservado para Número de Slide 5">
            <a:extLst>
              <a:ext uri="{FF2B5EF4-FFF2-40B4-BE49-F238E27FC236}">
                <a16:creationId xmlns:a16="http://schemas.microsoft.com/office/drawing/2014/main" id="{2D523BE7-FE64-4354-B20F-5D7F9E5A14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54700" y="6336385"/>
            <a:ext cx="482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DC043D3B-68EA-494F-B371-61C74477040A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EEBFBD40-5D85-40AB-9CB1-9070A3A8069B}"/>
              </a:ext>
            </a:extLst>
          </p:cNvPr>
          <p:cNvSpPr txBox="1"/>
          <p:nvPr userDrawn="1"/>
        </p:nvSpPr>
        <p:spPr>
          <a:xfrm>
            <a:off x="8887918" y="6418920"/>
            <a:ext cx="280878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© 2021 Atlantica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ospitality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nternational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® |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onfidential</a:t>
            </a:r>
            <a:r>
              <a:rPr lang="pt-BR" sz="7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&amp; </a:t>
            </a:r>
            <a:r>
              <a:rPr lang="pt-BR" sz="7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roprietary</a:t>
            </a:r>
            <a:endParaRPr lang="pt-BR" sz="700" dirty="0">
              <a:solidFill>
                <a:schemeClr val="bg1"/>
              </a:solidFill>
            </a:endParaRPr>
          </a:p>
        </p:txBody>
      </p:sp>
      <p:grpSp>
        <p:nvGrpSpPr>
          <p:cNvPr id="18" name="Agrupar 17">
            <a:extLst>
              <a:ext uri="{FF2B5EF4-FFF2-40B4-BE49-F238E27FC236}">
                <a16:creationId xmlns:a16="http://schemas.microsoft.com/office/drawing/2014/main" id="{C9FA8D68-B6FB-4067-9699-DB2134512D90}"/>
              </a:ext>
            </a:extLst>
          </p:cNvPr>
          <p:cNvGrpSpPr/>
          <p:nvPr userDrawn="1"/>
        </p:nvGrpSpPr>
        <p:grpSpPr>
          <a:xfrm>
            <a:off x="491986" y="6355133"/>
            <a:ext cx="3598823" cy="346377"/>
            <a:chOff x="676454" y="6359913"/>
            <a:chExt cx="3598823" cy="346377"/>
          </a:xfrm>
        </p:grpSpPr>
        <p:pic>
          <p:nvPicPr>
            <p:cNvPr id="19" name="Imagem 18">
              <a:extLst>
                <a:ext uri="{FF2B5EF4-FFF2-40B4-BE49-F238E27FC236}">
                  <a16:creationId xmlns:a16="http://schemas.microsoft.com/office/drawing/2014/main" id="{559A3EFD-390F-47E3-BB4B-D79929044D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76454" y="6359913"/>
              <a:ext cx="448325" cy="346377"/>
            </a:xfrm>
            <a:prstGeom prst="rect">
              <a:avLst/>
            </a:prstGeom>
          </p:spPr>
        </p:pic>
        <p:pic>
          <p:nvPicPr>
            <p:cNvPr id="20" name="Imagem 19">
              <a:extLst>
                <a:ext uri="{FF2B5EF4-FFF2-40B4-BE49-F238E27FC236}">
                  <a16:creationId xmlns:a16="http://schemas.microsoft.com/office/drawing/2014/main" id="{20986A63-8462-4004-97D7-24FF69A7A49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124779" y="6391807"/>
              <a:ext cx="3150498" cy="2703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6463739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 descr="Uma imagem contendo no interior, quarto, mesa, vivendo&#10;&#10;Descrição gerada automaticamente">
            <a:extLst>
              <a:ext uri="{FF2B5EF4-FFF2-40B4-BE49-F238E27FC236}">
                <a16:creationId xmlns:a16="http://schemas.microsoft.com/office/drawing/2014/main" id="{516C76DE-10BA-4354-B3D4-D1A5F07944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2428" y="0"/>
            <a:ext cx="10289572" cy="6858000"/>
          </a:xfrm>
          <a:prstGeom prst="rect">
            <a:avLst/>
          </a:prstGeom>
        </p:spPr>
      </p:pic>
      <p:sp>
        <p:nvSpPr>
          <p:cNvPr id="11" name="Retângulo 1">
            <a:extLst>
              <a:ext uri="{FF2B5EF4-FFF2-40B4-BE49-F238E27FC236}">
                <a16:creationId xmlns:a16="http://schemas.microsoft.com/office/drawing/2014/main" id="{01BC9695-60D4-4928-907E-035C5E6B75BC}"/>
              </a:ext>
            </a:extLst>
          </p:cNvPr>
          <p:cNvSpPr/>
          <p:nvPr userDrawn="1"/>
        </p:nvSpPr>
        <p:spPr>
          <a:xfrm>
            <a:off x="1371600" y="-8628"/>
            <a:ext cx="9056030" cy="6867270"/>
          </a:xfrm>
          <a:custGeom>
            <a:avLst/>
            <a:gdLst>
              <a:gd name="connsiteX0" fmla="*/ 0 w 4037162"/>
              <a:gd name="connsiteY0" fmla="*/ 0 h 6382408"/>
              <a:gd name="connsiteX1" fmla="*/ 4037162 w 4037162"/>
              <a:gd name="connsiteY1" fmla="*/ 0 h 6382408"/>
              <a:gd name="connsiteX2" fmla="*/ 4037162 w 4037162"/>
              <a:gd name="connsiteY2" fmla="*/ 6382408 h 6382408"/>
              <a:gd name="connsiteX3" fmla="*/ 0 w 4037162"/>
              <a:gd name="connsiteY3" fmla="*/ 6382408 h 6382408"/>
              <a:gd name="connsiteX4" fmla="*/ 0 w 4037162"/>
              <a:gd name="connsiteY4" fmla="*/ 0 h 6382408"/>
              <a:gd name="connsiteX0" fmla="*/ 0 w 8428008"/>
              <a:gd name="connsiteY0" fmla="*/ 8627 h 6391035"/>
              <a:gd name="connsiteX1" fmla="*/ 8428008 w 8428008"/>
              <a:gd name="connsiteY1" fmla="*/ 0 h 6391035"/>
              <a:gd name="connsiteX2" fmla="*/ 4037162 w 8428008"/>
              <a:gd name="connsiteY2" fmla="*/ 6391035 h 6391035"/>
              <a:gd name="connsiteX3" fmla="*/ 0 w 8428008"/>
              <a:gd name="connsiteY3" fmla="*/ 6391035 h 6391035"/>
              <a:gd name="connsiteX4" fmla="*/ 0 w 8428008"/>
              <a:gd name="connsiteY4" fmla="*/ 8627 h 6391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28008" h="6391035">
                <a:moveTo>
                  <a:pt x="0" y="8627"/>
                </a:moveTo>
                <a:lnTo>
                  <a:pt x="8428008" y="0"/>
                </a:lnTo>
                <a:lnTo>
                  <a:pt x="4037162" y="6391035"/>
                </a:lnTo>
                <a:lnTo>
                  <a:pt x="0" y="6391035"/>
                </a:lnTo>
                <a:lnTo>
                  <a:pt x="0" y="8627"/>
                </a:lnTo>
                <a:close/>
              </a:path>
            </a:pathLst>
          </a:custGeom>
          <a:solidFill>
            <a:srgbClr val="26314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433800E4-05E0-42CF-BA88-4A58517BB2E5}"/>
              </a:ext>
            </a:extLst>
          </p:cNvPr>
          <p:cNvSpPr/>
          <p:nvPr userDrawn="1"/>
        </p:nvSpPr>
        <p:spPr>
          <a:xfrm>
            <a:off x="0" y="-11266"/>
            <a:ext cx="9056030" cy="6869907"/>
          </a:xfrm>
          <a:custGeom>
            <a:avLst/>
            <a:gdLst>
              <a:gd name="connsiteX0" fmla="*/ 0 w 4037162"/>
              <a:gd name="connsiteY0" fmla="*/ 0 h 6382408"/>
              <a:gd name="connsiteX1" fmla="*/ 4037162 w 4037162"/>
              <a:gd name="connsiteY1" fmla="*/ 0 h 6382408"/>
              <a:gd name="connsiteX2" fmla="*/ 4037162 w 4037162"/>
              <a:gd name="connsiteY2" fmla="*/ 6382408 h 6382408"/>
              <a:gd name="connsiteX3" fmla="*/ 0 w 4037162"/>
              <a:gd name="connsiteY3" fmla="*/ 6382408 h 6382408"/>
              <a:gd name="connsiteX4" fmla="*/ 0 w 4037162"/>
              <a:gd name="connsiteY4" fmla="*/ 0 h 6382408"/>
              <a:gd name="connsiteX0" fmla="*/ 0 w 8428008"/>
              <a:gd name="connsiteY0" fmla="*/ 8627 h 6391035"/>
              <a:gd name="connsiteX1" fmla="*/ 8428008 w 8428008"/>
              <a:gd name="connsiteY1" fmla="*/ 0 h 6391035"/>
              <a:gd name="connsiteX2" fmla="*/ 4037162 w 8428008"/>
              <a:gd name="connsiteY2" fmla="*/ 6391035 h 6391035"/>
              <a:gd name="connsiteX3" fmla="*/ 0 w 8428008"/>
              <a:gd name="connsiteY3" fmla="*/ 6391035 h 6391035"/>
              <a:gd name="connsiteX4" fmla="*/ 0 w 8428008"/>
              <a:gd name="connsiteY4" fmla="*/ 8627 h 6391035"/>
              <a:gd name="connsiteX0" fmla="*/ 0 w 8428008"/>
              <a:gd name="connsiteY0" fmla="*/ 0 h 6393489"/>
              <a:gd name="connsiteX1" fmla="*/ 8428008 w 8428008"/>
              <a:gd name="connsiteY1" fmla="*/ 2454 h 6393489"/>
              <a:gd name="connsiteX2" fmla="*/ 4037162 w 8428008"/>
              <a:gd name="connsiteY2" fmla="*/ 6393489 h 6393489"/>
              <a:gd name="connsiteX3" fmla="*/ 0 w 8428008"/>
              <a:gd name="connsiteY3" fmla="*/ 6393489 h 6393489"/>
              <a:gd name="connsiteX4" fmla="*/ 0 w 8428008"/>
              <a:gd name="connsiteY4" fmla="*/ 0 h 6393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28008" h="6393489">
                <a:moveTo>
                  <a:pt x="0" y="0"/>
                </a:moveTo>
                <a:lnTo>
                  <a:pt x="8428008" y="2454"/>
                </a:lnTo>
                <a:lnTo>
                  <a:pt x="4037162" y="6393489"/>
                </a:lnTo>
                <a:lnTo>
                  <a:pt x="0" y="6393489"/>
                </a:lnTo>
                <a:lnTo>
                  <a:pt x="0" y="0"/>
                </a:lnTo>
                <a:close/>
              </a:path>
            </a:pathLst>
          </a:custGeom>
          <a:solidFill>
            <a:srgbClr val="2631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Espaço Reservado para Texto 15">
            <a:extLst>
              <a:ext uri="{FF2B5EF4-FFF2-40B4-BE49-F238E27FC236}">
                <a16:creationId xmlns:a16="http://schemas.microsoft.com/office/drawing/2014/main" id="{78745D04-FFFC-48C0-880D-8A1D37E5970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0006" y="422277"/>
            <a:ext cx="4857750" cy="1630363"/>
          </a:xfrm>
        </p:spPr>
        <p:txBody>
          <a:bodyPr anchor="b">
            <a:normAutofit/>
          </a:bodyPr>
          <a:lstStyle>
            <a:lvl1pPr marL="0" indent="0">
              <a:buNone/>
              <a:defRPr sz="4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/>
              <a:t>Clique para editar os estilos</a:t>
            </a:r>
          </a:p>
        </p:txBody>
      </p:sp>
      <p:sp>
        <p:nvSpPr>
          <p:cNvPr id="19" name="Espaço Reservado para Texto 15">
            <a:extLst>
              <a:ext uri="{FF2B5EF4-FFF2-40B4-BE49-F238E27FC236}">
                <a16:creationId xmlns:a16="http://schemas.microsoft.com/office/drawing/2014/main" id="{805B8DC4-8C9F-4407-8433-97BDB400CCD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0006" y="2213696"/>
            <a:ext cx="4857750" cy="1630363"/>
          </a:xfrm>
        </p:spPr>
        <p:txBody>
          <a:bodyPr anchor="t">
            <a:normAutofit/>
          </a:bodyPr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/>
              <a:t>Nome</a:t>
            </a:r>
          </a:p>
          <a:p>
            <a:pPr lvl="0"/>
            <a:r>
              <a:rPr lang="pt-BR" dirty="0"/>
              <a:t>E-mail</a:t>
            </a:r>
          </a:p>
          <a:p>
            <a:pPr lvl="0"/>
            <a:r>
              <a:rPr lang="pt-BR" dirty="0"/>
              <a:t>Telefone</a:t>
            </a:r>
          </a:p>
        </p:txBody>
      </p:sp>
      <p:cxnSp>
        <p:nvCxnSpPr>
          <p:cNvPr id="20" name="Conector reto 19">
            <a:extLst>
              <a:ext uri="{FF2B5EF4-FFF2-40B4-BE49-F238E27FC236}">
                <a16:creationId xmlns:a16="http://schemas.microsoft.com/office/drawing/2014/main" id="{5AE71AD0-A4D6-4C7E-9ADB-D5A9B43A463C}"/>
              </a:ext>
            </a:extLst>
          </p:cNvPr>
          <p:cNvCxnSpPr/>
          <p:nvPr userDrawn="1"/>
        </p:nvCxnSpPr>
        <p:spPr>
          <a:xfrm flipH="1">
            <a:off x="0" y="2130725"/>
            <a:ext cx="5357756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áfico 13">
            <a:extLst>
              <a:ext uri="{FF2B5EF4-FFF2-40B4-BE49-F238E27FC236}">
                <a16:creationId xmlns:a16="http://schemas.microsoft.com/office/drawing/2014/main" id="{9621B7A7-9A38-4240-A344-122584139A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00006" y="5609065"/>
            <a:ext cx="2862915" cy="571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133497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>
            <a:extLst>
              <a:ext uri="{FF2B5EF4-FFF2-40B4-BE49-F238E27FC236}">
                <a16:creationId xmlns:a16="http://schemas.microsoft.com/office/drawing/2014/main" id="{051BA9EF-AAE9-4F44-B721-A8FC20211A5A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2631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Espaço Reservado para Texto 7">
            <a:extLst>
              <a:ext uri="{FF2B5EF4-FFF2-40B4-BE49-F238E27FC236}">
                <a16:creationId xmlns:a16="http://schemas.microsoft.com/office/drawing/2014/main" id="{F9975247-CCB4-4D16-8A4F-B9D9DE385A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95300" y="6430809"/>
            <a:ext cx="11201400" cy="36195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1000">
                <a:solidFill>
                  <a:srgbClr val="D6D6CE"/>
                </a:solidFill>
              </a:defRPr>
            </a:lvl2pPr>
            <a:lvl3pPr marL="914400" indent="0" algn="ctr">
              <a:buNone/>
              <a:defRPr sz="1000">
                <a:solidFill>
                  <a:srgbClr val="D6D6CE"/>
                </a:solidFill>
              </a:defRPr>
            </a:lvl3pPr>
            <a:lvl4pPr marL="1371600" indent="0" algn="ctr">
              <a:buNone/>
              <a:defRPr sz="1000">
                <a:solidFill>
                  <a:srgbClr val="D6D6CE"/>
                </a:solidFill>
              </a:defRPr>
            </a:lvl4pPr>
            <a:lvl5pPr marL="1828800" indent="0" algn="ctr">
              <a:buNone/>
              <a:defRPr sz="1000">
                <a:solidFill>
                  <a:srgbClr val="D6D6CE"/>
                </a:solidFill>
              </a:defRPr>
            </a:lvl5pPr>
          </a:lstStyle>
          <a:p>
            <a:pPr lvl="0"/>
            <a:r>
              <a:rPr lang="pt-BR" dirty="0"/>
              <a:t>Insira aqui os dados de contato, endereço, telefone e site</a:t>
            </a:r>
          </a:p>
        </p:txBody>
      </p:sp>
      <p:cxnSp>
        <p:nvCxnSpPr>
          <p:cNvPr id="11" name="Conector reto 10">
            <a:extLst>
              <a:ext uri="{FF2B5EF4-FFF2-40B4-BE49-F238E27FC236}">
                <a16:creationId xmlns:a16="http://schemas.microsoft.com/office/drawing/2014/main" id="{7E27170F-0FFB-4010-83CC-B5786EA8CE8D}"/>
              </a:ext>
            </a:extLst>
          </p:cNvPr>
          <p:cNvCxnSpPr>
            <a:cxnSpLocks/>
          </p:cNvCxnSpPr>
          <p:nvPr userDrawn="1"/>
        </p:nvCxnSpPr>
        <p:spPr>
          <a:xfrm>
            <a:off x="495299" y="6357661"/>
            <a:ext cx="1120140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áfico 8">
            <a:extLst>
              <a:ext uri="{FF2B5EF4-FFF2-40B4-BE49-F238E27FC236}">
                <a16:creationId xmlns:a16="http://schemas.microsoft.com/office/drawing/2014/main" id="{82C8DD81-7370-4EBE-BF2B-3461E122632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165825" y="2844183"/>
            <a:ext cx="5860349" cy="1169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9334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6BEB2258-101A-43B0-BCB4-476987ED8E6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Imagem 8" descr="Uma imagem contendo desenho, relógio&#10;&#10;Descrição gerada automaticamente">
            <a:extLst>
              <a:ext uri="{FF2B5EF4-FFF2-40B4-BE49-F238E27FC236}">
                <a16:creationId xmlns:a16="http://schemas.microsoft.com/office/drawing/2014/main" id="{20D29901-C36C-4D01-B664-65D9F4A65FB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81547" y="2103219"/>
            <a:ext cx="6628906" cy="2651562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9ECDEDA0-1EB5-4C7E-A82F-70FD8AE112F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165838" y="2844182"/>
            <a:ext cx="5860343" cy="1169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21092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Piscina ao lado de um prédio&#10;&#10;Descrição gerada automaticamente">
            <a:extLst>
              <a:ext uri="{FF2B5EF4-FFF2-40B4-BE49-F238E27FC236}">
                <a16:creationId xmlns:a16="http://schemas.microsoft.com/office/drawing/2014/main" id="{0E9E10A5-3FA7-4331-B486-9761E97120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2" name="Retângulo 1">
            <a:extLst>
              <a:ext uri="{FF2B5EF4-FFF2-40B4-BE49-F238E27FC236}">
                <a16:creationId xmlns:a16="http://schemas.microsoft.com/office/drawing/2014/main" id="{86BE5670-3C38-4098-9D75-B1BD5DAEA97E}"/>
              </a:ext>
            </a:extLst>
          </p:cNvPr>
          <p:cNvSpPr/>
          <p:nvPr userDrawn="1"/>
        </p:nvSpPr>
        <p:spPr>
          <a:xfrm>
            <a:off x="-1" y="-1"/>
            <a:ext cx="12192001" cy="6857999"/>
          </a:xfrm>
          <a:prstGeom prst="rect">
            <a:avLst/>
          </a:prstGeom>
          <a:solidFill>
            <a:srgbClr val="263143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4A3ADDA5-30B7-42B0-A55A-0401A321F72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165825" y="2844183"/>
            <a:ext cx="5860349" cy="1169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68298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Piscina ao lado de um prédio&#10;&#10;Descrição gerada automaticamente">
            <a:extLst>
              <a:ext uri="{FF2B5EF4-FFF2-40B4-BE49-F238E27FC236}">
                <a16:creationId xmlns:a16="http://schemas.microsoft.com/office/drawing/2014/main" id="{0E9E10A5-3FA7-4331-B486-9761E97120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2" name="Retângulo 1">
            <a:extLst>
              <a:ext uri="{FF2B5EF4-FFF2-40B4-BE49-F238E27FC236}">
                <a16:creationId xmlns:a16="http://schemas.microsoft.com/office/drawing/2014/main" id="{86BE5670-3C38-4098-9D75-B1BD5DAEA97E}"/>
              </a:ext>
            </a:extLst>
          </p:cNvPr>
          <p:cNvSpPr/>
          <p:nvPr userDrawn="1"/>
        </p:nvSpPr>
        <p:spPr>
          <a:xfrm>
            <a:off x="-1" y="-1"/>
            <a:ext cx="12192001" cy="6857999"/>
          </a:xfrm>
          <a:prstGeom prst="rect">
            <a:avLst/>
          </a:prstGeom>
          <a:solidFill>
            <a:srgbClr val="FFFFFF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4B2EF1B5-E6F3-46A9-AF50-ACB8DD64C14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165838" y="2844182"/>
            <a:ext cx="5860343" cy="1169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07722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Piscina ao lado de um prédio&#10;&#10;Descrição gerada automaticamente">
            <a:extLst>
              <a:ext uri="{FF2B5EF4-FFF2-40B4-BE49-F238E27FC236}">
                <a16:creationId xmlns:a16="http://schemas.microsoft.com/office/drawing/2014/main" id="{0E9E10A5-3FA7-4331-B486-9761E97120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2" name="Retângulo 1">
            <a:extLst>
              <a:ext uri="{FF2B5EF4-FFF2-40B4-BE49-F238E27FC236}">
                <a16:creationId xmlns:a16="http://schemas.microsoft.com/office/drawing/2014/main" id="{86BE5670-3C38-4098-9D75-B1BD5DAEA97E}"/>
              </a:ext>
            </a:extLst>
          </p:cNvPr>
          <p:cNvSpPr/>
          <p:nvPr userDrawn="1"/>
        </p:nvSpPr>
        <p:spPr>
          <a:xfrm>
            <a:off x="-1" y="-1"/>
            <a:ext cx="12192001" cy="6857999"/>
          </a:xfrm>
          <a:prstGeom prst="rect">
            <a:avLst/>
          </a:prstGeom>
          <a:solidFill>
            <a:srgbClr val="263143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Espaço Reservado para Texto 8">
            <a:extLst>
              <a:ext uri="{FF2B5EF4-FFF2-40B4-BE49-F238E27FC236}">
                <a16:creationId xmlns:a16="http://schemas.microsoft.com/office/drawing/2014/main" id="{E635E7D9-B0D4-4878-8515-087FA071BC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6150" y="4934851"/>
            <a:ext cx="5219700" cy="581025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pt-BR" dirty="0"/>
              <a:t>Inserir Título aqui</a:t>
            </a:r>
          </a:p>
        </p:txBody>
      </p:sp>
      <p:sp>
        <p:nvSpPr>
          <p:cNvPr id="6" name="Espaço Reservado para Texto 8">
            <a:extLst>
              <a:ext uri="{FF2B5EF4-FFF2-40B4-BE49-F238E27FC236}">
                <a16:creationId xmlns:a16="http://schemas.microsoft.com/office/drawing/2014/main" id="{5AEE1FF5-8B55-4BD4-B315-8E0AC8D66F9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6150" y="5515876"/>
            <a:ext cx="5219700" cy="581025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pt-BR" dirty="0"/>
              <a:t>Inserir Subtítulo aqui</a:t>
            </a:r>
          </a:p>
        </p:txBody>
      </p:sp>
      <p:cxnSp>
        <p:nvCxnSpPr>
          <p:cNvPr id="7" name="Conector reto 6">
            <a:extLst>
              <a:ext uri="{FF2B5EF4-FFF2-40B4-BE49-F238E27FC236}">
                <a16:creationId xmlns:a16="http://schemas.microsoft.com/office/drawing/2014/main" id="{F3B7B8E7-CB0A-4B73-B3F8-D04351D5B0F8}"/>
              </a:ext>
            </a:extLst>
          </p:cNvPr>
          <p:cNvCxnSpPr/>
          <p:nvPr userDrawn="1"/>
        </p:nvCxnSpPr>
        <p:spPr>
          <a:xfrm>
            <a:off x="2777706" y="4753155"/>
            <a:ext cx="6642339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áfico 7">
            <a:extLst>
              <a:ext uri="{FF2B5EF4-FFF2-40B4-BE49-F238E27FC236}">
                <a16:creationId xmlns:a16="http://schemas.microsoft.com/office/drawing/2014/main" id="{D115FE86-26DD-4635-BEE2-21FB40627CA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165825" y="2844183"/>
            <a:ext cx="5860349" cy="1169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49968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Piscina ao lado de um prédio&#10;&#10;Descrição gerada automaticamente">
            <a:extLst>
              <a:ext uri="{FF2B5EF4-FFF2-40B4-BE49-F238E27FC236}">
                <a16:creationId xmlns:a16="http://schemas.microsoft.com/office/drawing/2014/main" id="{0E9E10A5-3FA7-4331-B486-9761E97120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2" name="Retângulo 1">
            <a:extLst>
              <a:ext uri="{FF2B5EF4-FFF2-40B4-BE49-F238E27FC236}">
                <a16:creationId xmlns:a16="http://schemas.microsoft.com/office/drawing/2014/main" id="{86BE5670-3C38-4098-9D75-B1BD5DAEA97E}"/>
              </a:ext>
            </a:extLst>
          </p:cNvPr>
          <p:cNvSpPr/>
          <p:nvPr userDrawn="1"/>
        </p:nvSpPr>
        <p:spPr>
          <a:xfrm>
            <a:off x="-1" y="-1"/>
            <a:ext cx="12192001" cy="6857999"/>
          </a:xfrm>
          <a:prstGeom prst="rect">
            <a:avLst/>
          </a:prstGeom>
          <a:solidFill>
            <a:srgbClr val="FFFFFF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Espaço Reservado para Texto 8">
            <a:extLst>
              <a:ext uri="{FF2B5EF4-FFF2-40B4-BE49-F238E27FC236}">
                <a16:creationId xmlns:a16="http://schemas.microsoft.com/office/drawing/2014/main" id="{3F9FBE3B-9004-44D6-930C-E0B2DB4C0F6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6150" y="4934851"/>
            <a:ext cx="5219700" cy="581025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b="1">
                <a:solidFill>
                  <a:srgbClr val="11385A"/>
                </a:solidFill>
              </a:defRPr>
            </a:lvl1pPr>
          </a:lstStyle>
          <a:p>
            <a:pPr lvl="0"/>
            <a:r>
              <a:rPr lang="pt-BR" dirty="0"/>
              <a:t>Inserir Título aqui</a:t>
            </a:r>
          </a:p>
        </p:txBody>
      </p:sp>
      <p:sp>
        <p:nvSpPr>
          <p:cNvPr id="7" name="Espaço Reservado para Texto 8">
            <a:extLst>
              <a:ext uri="{FF2B5EF4-FFF2-40B4-BE49-F238E27FC236}">
                <a16:creationId xmlns:a16="http://schemas.microsoft.com/office/drawing/2014/main" id="{B4AD89AE-21C8-48DA-8334-3147860A2C8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6150" y="5515876"/>
            <a:ext cx="5219700" cy="581025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buNone/>
              <a:defRPr sz="1800">
                <a:solidFill>
                  <a:srgbClr val="11385A"/>
                </a:solidFill>
              </a:defRPr>
            </a:lvl1pPr>
          </a:lstStyle>
          <a:p>
            <a:pPr lvl="0"/>
            <a:r>
              <a:rPr lang="pt-BR" dirty="0"/>
              <a:t>Inserir Subtítulo aqui</a:t>
            </a:r>
          </a:p>
        </p:txBody>
      </p:sp>
      <p:cxnSp>
        <p:nvCxnSpPr>
          <p:cNvPr id="8" name="Conector reto 7">
            <a:extLst>
              <a:ext uri="{FF2B5EF4-FFF2-40B4-BE49-F238E27FC236}">
                <a16:creationId xmlns:a16="http://schemas.microsoft.com/office/drawing/2014/main" id="{BB012B30-67A5-4E34-A673-A9717E2CB530}"/>
              </a:ext>
            </a:extLst>
          </p:cNvPr>
          <p:cNvCxnSpPr/>
          <p:nvPr userDrawn="1"/>
        </p:nvCxnSpPr>
        <p:spPr>
          <a:xfrm>
            <a:off x="2777706" y="4753155"/>
            <a:ext cx="6642339" cy="0"/>
          </a:xfrm>
          <a:prstGeom prst="line">
            <a:avLst/>
          </a:prstGeom>
          <a:ln w="19050">
            <a:solidFill>
              <a:srgbClr val="1138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áfico 8">
            <a:extLst>
              <a:ext uri="{FF2B5EF4-FFF2-40B4-BE49-F238E27FC236}">
                <a16:creationId xmlns:a16="http://schemas.microsoft.com/office/drawing/2014/main" id="{9D2F8ED7-A73E-46A7-8149-4924DA216B1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165838" y="2844182"/>
            <a:ext cx="5860343" cy="1169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39464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B62D54C7-BCBE-4F1F-B6DE-6F3D672489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DECAA2F2-4EF9-4105-A448-67F71117C32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9" name="Espaço Reservado para Rodapé 8">
            <a:extLst>
              <a:ext uri="{FF2B5EF4-FFF2-40B4-BE49-F238E27FC236}">
                <a16:creationId xmlns:a16="http://schemas.microsoft.com/office/drawing/2014/main" id="{6585F053-7C74-4A84-88CA-4F2B515C61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DC043D3B-68EA-494F-B371-61C74477040A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551405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709" r:id="rId2"/>
    <p:sldLayoutId id="2147483661" r:id="rId3"/>
    <p:sldLayoutId id="2147483710" r:id="rId4"/>
    <p:sldLayoutId id="2147483662" r:id="rId5"/>
    <p:sldLayoutId id="2147483701" r:id="rId6"/>
    <p:sldLayoutId id="2147483702" r:id="rId7"/>
    <p:sldLayoutId id="2147483707" r:id="rId8"/>
    <p:sldLayoutId id="2147483708" r:id="rId9"/>
    <p:sldLayoutId id="2147483663" r:id="rId10"/>
    <p:sldLayoutId id="2147483664" r:id="rId11"/>
    <p:sldLayoutId id="2147483649" r:id="rId12"/>
    <p:sldLayoutId id="2147483666" r:id="rId13"/>
    <p:sldLayoutId id="2147483667" r:id="rId14"/>
    <p:sldLayoutId id="2147483668" r:id="rId15"/>
    <p:sldLayoutId id="2147483684" r:id="rId16"/>
    <p:sldLayoutId id="2147483680" r:id="rId17"/>
    <p:sldLayoutId id="2147483674" r:id="rId18"/>
    <p:sldLayoutId id="2147483686" r:id="rId19"/>
    <p:sldLayoutId id="2147483685" r:id="rId20"/>
    <p:sldLayoutId id="2147483704" r:id="rId21"/>
    <p:sldLayoutId id="2147483705" r:id="rId22"/>
    <p:sldLayoutId id="2147483687" r:id="rId23"/>
    <p:sldLayoutId id="2147483690" r:id="rId24"/>
    <p:sldLayoutId id="2147483691" r:id="rId25"/>
    <p:sldLayoutId id="2147483692" r:id="rId26"/>
    <p:sldLayoutId id="2147483693" r:id="rId27"/>
    <p:sldLayoutId id="2147483694" r:id="rId28"/>
    <p:sldLayoutId id="2147483695" r:id="rId29"/>
    <p:sldLayoutId id="2147483688" r:id="rId30"/>
    <p:sldLayoutId id="2147483706" r:id="rId31"/>
    <p:sldLayoutId id="2147483689" r:id="rId32"/>
    <p:sldLayoutId id="2147483669" r:id="rId33"/>
    <p:sldLayoutId id="2147483675" r:id="rId34"/>
    <p:sldLayoutId id="2147483670" r:id="rId35"/>
    <p:sldLayoutId id="2147483676" r:id="rId36"/>
    <p:sldLayoutId id="2147483671" r:id="rId37"/>
    <p:sldLayoutId id="2147483677" r:id="rId38"/>
    <p:sldLayoutId id="2147483678" r:id="rId39"/>
    <p:sldLayoutId id="2147483698" r:id="rId40"/>
    <p:sldLayoutId id="2147483697" r:id="rId41"/>
    <p:sldLayoutId id="2147483696" r:id="rId42"/>
    <p:sldLayoutId id="2147483699" r:id="rId43"/>
    <p:sldLayoutId id="2147483700" r:id="rId44"/>
    <p:sldLayoutId id="2147483703" r:id="rId45"/>
    <p:sldLayoutId id="2147483673" r:id="rId4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rgbClr val="263143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rgbClr val="263143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rgbClr val="263143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263143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263143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263143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8.xml"/></Relationships>
</file>

<file path=ppt/slides/_rels/slide1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3" Type="http://schemas.openxmlformats.org/officeDocument/2006/relationships/image" Target="../media/image67.svg"/><Relationship Id="rId7" Type="http://schemas.openxmlformats.org/officeDocument/2006/relationships/image" Target="../media/image71.sv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70.png"/><Relationship Id="rId5" Type="http://schemas.openxmlformats.org/officeDocument/2006/relationships/image" Target="../media/image69.svg"/><Relationship Id="rId4" Type="http://schemas.openxmlformats.org/officeDocument/2006/relationships/image" Target="../media/image68.png"/><Relationship Id="rId9" Type="http://schemas.openxmlformats.org/officeDocument/2006/relationships/image" Target="../media/image73.svg"/></Relationships>
</file>

<file path=ppt/slides/_rels/slide10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2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2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2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2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chart" Target="../charts/chart3.xml"/><Relationship Id="rId7" Type="http://schemas.openxmlformats.org/officeDocument/2006/relationships/image" Target="../media/image47.pn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3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3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3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3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3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3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0.png"/><Relationship Id="rId2" Type="http://schemas.microsoft.com/office/2014/relationships/chartEx" Target="../charts/chartEx1.xml"/><Relationship Id="rId1" Type="http://schemas.openxmlformats.org/officeDocument/2006/relationships/slideLayout" Target="../slideLayouts/slideLayout3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3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0.png"/><Relationship Id="rId2" Type="http://schemas.microsoft.com/office/2014/relationships/chartEx" Target="../charts/chartEx2.xml"/><Relationship Id="rId1" Type="http://schemas.openxmlformats.org/officeDocument/2006/relationships/slideLayout" Target="../slideLayouts/slideLayout31.xml"/><Relationship Id="rId4" Type="http://schemas.openxmlformats.org/officeDocument/2006/relationships/chart" Target="../charts/char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3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38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3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40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41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4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43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44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3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3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3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3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sv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61.svg"/><Relationship Id="rId4" Type="http://schemas.openxmlformats.org/officeDocument/2006/relationships/image" Target="../media/image60.png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4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3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2.xml"/><Relationship Id="rId1" Type="http://schemas.openxmlformats.org/officeDocument/2006/relationships/tags" Target="../tags/tag1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2.xml"/><Relationship Id="rId1" Type="http://schemas.openxmlformats.org/officeDocument/2006/relationships/tags" Target="../tags/tag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32.svg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36.svg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16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1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sv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65.svg"/><Relationship Id="rId4" Type="http://schemas.openxmlformats.org/officeDocument/2006/relationships/image" Target="../media/image64.png"/></Relationships>
</file>

<file path=ppt/slides/_rels/slide9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13" Type="http://schemas.openxmlformats.org/officeDocument/2006/relationships/image" Target="../media/image77.svg"/><Relationship Id="rId3" Type="http://schemas.openxmlformats.org/officeDocument/2006/relationships/image" Target="../media/image67.svg"/><Relationship Id="rId7" Type="http://schemas.openxmlformats.org/officeDocument/2006/relationships/image" Target="../media/image71.svg"/><Relationship Id="rId12" Type="http://schemas.openxmlformats.org/officeDocument/2006/relationships/image" Target="../media/image76.png"/><Relationship Id="rId17" Type="http://schemas.openxmlformats.org/officeDocument/2006/relationships/image" Target="../media/image81.svg"/><Relationship Id="rId2" Type="http://schemas.openxmlformats.org/officeDocument/2006/relationships/image" Target="../media/image66.png"/><Relationship Id="rId16" Type="http://schemas.openxmlformats.org/officeDocument/2006/relationships/image" Target="../media/image80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70.png"/><Relationship Id="rId11" Type="http://schemas.openxmlformats.org/officeDocument/2006/relationships/image" Target="../media/image75.svg"/><Relationship Id="rId5" Type="http://schemas.openxmlformats.org/officeDocument/2006/relationships/image" Target="../media/image69.svg"/><Relationship Id="rId15" Type="http://schemas.openxmlformats.org/officeDocument/2006/relationships/image" Target="../media/image79.svg"/><Relationship Id="rId10" Type="http://schemas.openxmlformats.org/officeDocument/2006/relationships/image" Target="../media/image74.png"/><Relationship Id="rId4" Type="http://schemas.openxmlformats.org/officeDocument/2006/relationships/image" Target="../media/image68.png"/><Relationship Id="rId9" Type="http://schemas.openxmlformats.org/officeDocument/2006/relationships/image" Target="../media/image73.svg"/><Relationship Id="rId14" Type="http://schemas.openxmlformats.org/officeDocument/2006/relationships/image" Target="../media/image78.png"/></Relationships>
</file>

<file path=ppt/slides/_rels/slide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13" Type="http://schemas.openxmlformats.org/officeDocument/2006/relationships/image" Target="../media/image85.jpg"/><Relationship Id="rId3" Type="http://schemas.openxmlformats.org/officeDocument/2006/relationships/image" Target="../media/image67.svg"/><Relationship Id="rId7" Type="http://schemas.openxmlformats.org/officeDocument/2006/relationships/image" Target="../media/image71.svg"/><Relationship Id="rId12" Type="http://schemas.openxmlformats.org/officeDocument/2006/relationships/image" Target="../media/image84.jp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70.png"/><Relationship Id="rId11" Type="http://schemas.openxmlformats.org/officeDocument/2006/relationships/image" Target="../media/image83.jpeg"/><Relationship Id="rId5" Type="http://schemas.openxmlformats.org/officeDocument/2006/relationships/image" Target="../media/image69.svg"/><Relationship Id="rId10" Type="http://schemas.openxmlformats.org/officeDocument/2006/relationships/image" Target="../media/image82.jpeg"/><Relationship Id="rId4" Type="http://schemas.openxmlformats.org/officeDocument/2006/relationships/image" Target="../media/image68.png"/><Relationship Id="rId9" Type="http://schemas.openxmlformats.org/officeDocument/2006/relationships/image" Target="../media/image73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>
            <a:extLst>
              <a:ext uri="{FF2B5EF4-FFF2-40B4-BE49-F238E27FC236}">
                <a16:creationId xmlns:a16="http://schemas.microsoft.com/office/drawing/2014/main" id="{CBCF5ABE-B999-5D46-8C3C-24805364638D}"/>
              </a:ext>
            </a:extLst>
          </p:cNvPr>
          <p:cNvSpPr txBox="1"/>
          <p:nvPr/>
        </p:nvSpPr>
        <p:spPr>
          <a:xfrm>
            <a:off x="10873410" y="3597965"/>
            <a:ext cx="284122" cy="19397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883284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Texto 5">
            <a:extLst>
              <a:ext uri="{FF2B5EF4-FFF2-40B4-BE49-F238E27FC236}">
                <a16:creationId xmlns:a16="http://schemas.microsoft.com/office/drawing/2014/main" id="{8ECDEBDA-5CF8-444A-A01E-A6E44EFE7F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Inserir aqui o título do slide</a:t>
            </a:r>
          </a:p>
        </p:txBody>
      </p:sp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9A2A9900-5F1E-4FBB-92BC-5C082E391F8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erir aqui o subtítulo do slide</a:t>
            </a:r>
          </a:p>
        </p:txBody>
      </p:sp>
      <p:sp>
        <p:nvSpPr>
          <p:cNvPr id="8" name="Espaço Reservado para Texto 7">
            <a:extLst>
              <a:ext uri="{FF2B5EF4-FFF2-40B4-BE49-F238E27FC236}">
                <a16:creationId xmlns:a16="http://schemas.microsoft.com/office/drawing/2014/main" id="{C0525F25-55B9-42B7-B1CE-F137386D56C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BR" dirty="0" err="1"/>
              <a:t>Sed</a:t>
            </a:r>
            <a:r>
              <a:rPr lang="pt-BR" dirty="0"/>
              <a:t> ut </a:t>
            </a:r>
            <a:r>
              <a:rPr lang="pt-BR" dirty="0" err="1"/>
              <a:t>perspiciatis</a:t>
            </a:r>
            <a:r>
              <a:rPr lang="pt-BR" dirty="0"/>
              <a:t> </a:t>
            </a:r>
            <a:r>
              <a:rPr lang="pt-BR" dirty="0" err="1"/>
              <a:t>unde</a:t>
            </a:r>
            <a:r>
              <a:rPr lang="pt-BR" dirty="0"/>
              <a:t> omnis </a:t>
            </a:r>
            <a:r>
              <a:rPr lang="pt-BR" dirty="0" err="1"/>
              <a:t>iste</a:t>
            </a:r>
            <a:r>
              <a:rPr lang="pt-BR" dirty="0"/>
              <a:t> </a:t>
            </a:r>
            <a:r>
              <a:rPr lang="pt-BR" dirty="0" err="1"/>
              <a:t>natus</a:t>
            </a:r>
            <a:r>
              <a:rPr lang="pt-BR" dirty="0"/>
              <a:t> </a:t>
            </a:r>
            <a:r>
              <a:rPr lang="pt-BR" dirty="0" err="1"/>
              <a:t>err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accusantium</a:t>
            </a:r>
            <a:r>
              <a:rPr lang="pt-BR" dirty="0"/>
              <a:t> </a:t>
            </a:r>
            <a:r>
              <a:rPr lang="pt-BR" dirty="0" err="1"/>
              <a:t>doloremque</a:t>
            </a:r>
            <a:r>
              <a:rPr lang="pt-BR" dirty="0"/>
              <a:t> </a:t>
            </a:r>
            <a:r>
              <a:rPr lang="pt-BR" dirty="0" err="1"/>
              <a:t>laudantium</a:t>
            </a:r>
            <a:r>
              <a:rPr lang="pt-BR" dirty="0"/>
              <a:t>, </a:t>
            </a:r>
            <a:r>
              <a:rPr lang="pt-BR" dirty="0" err="1"/>
              <a:t>totam</a:t>
            </a:r>
            <a:r>
              <a:rPr lang="pt-BR" dirty="0"/>
              <a:t> rem </a:t>
            </a:r>
            <a:r>
              <a:rPr lang="pt-BR" dirty="0" err="1"/>
              <a:t>aperiam</a:t>
            </a:r>
            <a:r>
              <a:rPr lang="pt-BR" dirty="0"/>
              <a:t>, </a:t>
            </a:r>
            <a:r>
              <a:rPr lang="pt-BR" dirty="0" err="1"/>
              <a:t>eaque</a:t>
            </a:r>
            <a:r>
              <a:rPr lang="pt-BR" dirty="0"/>
              <a:t> </a:t>
            </a:r>
            <a:r>
              <a:rPr lang="pt-BR" dirty="0" err="1"/>
              <a:t>ipsa</a:t>
            </a:r>
            <a:r>
              <a:rPr lang="pt-BR" dirty="0"/>
              <a:t> </a:t>
            </a:r>
            <a:r>
              <a:rPr lang="pt-BR" dirty="0" err="1"/>
              <a:t>quae</a:t>
            </a:r>
            <a:r>
              <a:rPr lang="pt-BR" dirty="0"/>
              <a:t> </a:t>
            </a:r>
            <a:r>
              <a:rPr lang="pt-BR" dirty="0" err="1"/>
              <a:t>ab</a:t>
            </a:r>
            <a:r>
              <a:rPr lang="pt-BR" dirty="0"/>
              <a:t> </a:t>
            </a:r>
            <a:r>
              <a:rPr lang="pt-BR" dirty="0" err="1"/>
              <a:t>illo</a:t>
            </a:r>
            <a:r>
              <a:rPr lang="pt-BR" dirty="0"/>
              <a:t> </a:t>
            </a:r>
            <a:r>
              <a:rPr lang="pt-BR" dirty="0" err="1"/>
              <a:t>inventore</a:t>
            </a:r>
            <a:r>
              <a:rPr lang="pt-BR" dirty="0"/>
              <a:t> </a:t>
            </a:r>
            <a:r>
              <a:rPr lang="pt-BR" dirty="0" err="1"/>
              <a:t>veritatis</a:t>
            </a:r>
            <a:r>
              <a:rPr lang="pt-BR" dirty="0"/>
              <a:t> et </a:t>
            </a:r>
            <a:r>
              <a:rPr lang="pt-BR" dirty="0" err="1"/>
              <a:t>quasi</a:t>
            </a:r>
            <a:r>
              <a:rPr lang="pt-BR" dirty="0"/>
              <a:t> </a:t>
            </a:r>
            <a:r>
              <a:rPr lang="pt-BR" dirty="0" err="1"/>
              <a:t>architecto</a:t>
            </a:r>
            <a:r>
              <a:rPr lang="pt-BR" dirty="0"/>
              <a:t> </a:t>
            </a:r>
            <a:r>
              <a:rPr lang="pt-BR" dirty="0" err="1"/>
              <a:t>beatae</a:t>
            </a:r>
            <a:r>
              <a:rPr lang="pt-BR" dirty="0"/>
              <a:t> vitae </a:t>
            </a:r>
            <a:r>
              <a:rPr lang="pt-BR" dirty="0" err="1"/>
              <a:t>dicta</a:t>
            </a:r>
            <a:r>
              <a:rPr lang="pt-BR" dirty="0"/>
              <a:t> sunt </a:t>
            </a:r>
            <a:r>
              <a:rPr lang="pt-BR" dirty="0" err="1"/>
              <a:t>explicabo</a:t>
            </a:r>
            <a:r>
              <a:rPr lang="pt-BR" dirty="0"/>
              <a:t>. Nemo </a:t>
            </a:r>
            <a:r>
              <a:rPr lang="pt-BR" dirty="0" err="1"/>
              <a:t>enim</a:t>
            </a:r>
            <a:r>
              <a:rPr lang="pt-BR" dirty="0"/>
              <a:t> </a:t>
            </a:r>
            <a:r>
              <a:rPr lang="pt-BR" dirty="0" err="1"/>
              <a:t>ipsam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quia</a:t>
            </a:r>
            <a:r>
              <a:rPr lang="pt-BR" dirty="0"/>
              <a:t> </a:t>
            </a:r>
            <a:r>
              <a:rPr lang="pt-BR" dirty="0" err="1"/>
              <a:t>voluptas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spernatur</a:t>
            </a:r>
            <a:r>
              <a:rPr lang="pt-BR" dirty="0"/>
              <a:t> </a:t>
            </a:r>
            <a:r>
              <a:rPr lang="pt-BR" dirty="0" err="1"/>
              <a:t>aut</a:t>
            </a:r>
            <a:r>
              <a:rPr lang="pt-BR" dirty="0"/>
              <a:t> </a:t>
            </a:r>
            <a:r>
              <a:rPr lang="pt-BR" dirty="0" err="1"/>
              <a:t>odit</a:t>
            </a:r>
            <a:r>
              <a:rPr lang="pt-BR" dirty="0"/>
              <a:t> </a:t>
            </a:r>
            <a:r>
              <a:rPr lang="pt-BR" dirty="0" err="1"/>
              <a:t>aut</a:t>
            </a:r>
            <a:r>
              <a:rPr lang="pt-BR" dirty="0"/>
              <a:t> </a:t>
            </a:r>
            <a:r>
              <a:rPr lang="pt-BR" dirty="0" err="1"/>
              <a:t>fug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</a:t>
            </a:r>
            <a:r>
              <a:rPr lang="pt-BR" dirty="0" err="1"/>
              <a:t>quia</a:t>
            </a:r>
            <a:r>
              <a:rPr lang="pt-BR" dirty="0"/>
              <a:t> </a:t>
            </a:r>
            <a:r>
              <a:rPr lang="pt-BR" dirty="0" err="1"/>
              <a:t>consequuntur</a:t>
            </a:r>
            <a:r>
              <a:rPr lang="pt-BR" dirty="0"/>
              <a:t> </a:t>
            </a:r>
            <a:r>
              <a:rPr lang="pt-BR" dirty="0" err="1"/>
              <a:t>magni</a:t>
            </a:r>
            <a:r>
              <a:rPr lang="pt-BR" dirty="0"/>
              <a:t> </a:t>
            </a:r>
            <a:r>
              <a:rPr lang="pt-BR" dirty="0" err="1"/>
              <a:t>dolores</a:t>
            </a:r>
            <a:r>
              <a:rPr lang="pt-BR" dirty="0"/>
              <a:t> </a:t>
            </a:r>
            <a:r>
              <a:rPr lang="pt-BR" dirty="0" err="1"/>
              <a:t>eos</a:t>
            </a:r>
            <a:r>
              <a:rPr lang="pt-BR" dirty="0"/>
              <a:t> </a:t>
            </a:r>
            <a:r>
              <a:rPr lang="pt-BR" dirty="0" err="1"/>
              <a:t>qui</a:t>
            </a:r>
            <a:r>
              <a:rPr lang="pt-BR" dirty="0"/>
              <a:t> ratione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sequi</a:t>
            </a:r>
            <a:r>
              <a:rPr lang="pt-BR" dirty="0"/>
              <a:t> </a:t>
            </a:r>
            <a:r>
              <a:rPr lang="pt-BR" dirty="0" err="1"/>
              <a:t>nesciunt</a:t>
            </a:r>
            <a:r>
              <a:rPr lang="pt-BR" dirty="0"/>
              <a:t>. </a:t>
            </a:r>
          </a:p>
          <a:p>
            <a:pPr lvl="1"/>
            <a:r>
              <a:rPr lang="pt-BR" dirty="0"/>
              <a:t>Item 01</a:t>
            </a:r>
          </a:p>
          <a:p>
            <a:pPr lvl="1"/>
            <a:r>
              <a:rPr lang="pt-BR" dirty="0"/>
              <a:t>Item 02</a:t>
            </a:r>
          </a:p>
          <a:p>
            <a:pPr lvl="1"/>
            <a:r>
              <a:rPr lang="pt-BR" dirty="0"/>
              <a:t>Item 03</a:t>
            </a:r>
          </a:p>
          <a:p>
            <a:pPr lvl="1"/>
            <a:r>
              <a:rPr lang="pt-BR" dirty="0"/>
              <a:t>Item 04</a:t>
            </a:r>
          </a:p>
          <a:p>
            <a:endParaRPr lang="pt-BR" dirty="0"/>
          </a:p>
          <a:p>
            <a:r>
              <a:rPr lang="pt-BR" dirty="0" err="1"/>
              <a:t>Sed</a:t>
            </a:r>
            <a:r>
              <a:rPr lang="pt-BR" dirty="0"/>
              <a:t> ut </a:t>
            </a:r>
            <a:r>
              <a:rPr lang="pt-BR" dirty="0" err="1"/>
              <a:t>perspiciatis</a:t>
            </a:r>
            <a:r>
              <a:rPr lang="pt-BR" dirty="0"/>
              <a:t> </a:t>
            </a:r>
            <a:r>
              <a:rPr lang="pt-BR" dirty="0" err="1"/>
              <a:t>unde</a:t>
            </a:r>
            <a:r>
              <a:rPr lang="pt-BR" dirty="0"/>
              <a:t> omnis </a:t>
            </a:r>
            <a:r>
              <a:rPr lang="pt-BR" dirty="0" err="1"/>
              <a:t>iste</a:t>
            </a:r>
            <a:r>
              <a:rPr lang="pt-BR" dirty="0"/>
              <a:t> </a:t>
            </a:r>
            <a:r>
              <a:rPr lang="pt-BR" dirty="0" err="1"/>
              <a:t>natus</a:t>
            </a:r>
            <a:r>
              <a:rPr lang="pt-BR" dirty="0"/>
              <a:t> </a:t>
            </a:r>
            <a:r>
              <a:rPr lang="pt-BR" dirty="0" err="1"/>
              <a:t>err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accusantium</a:t>
            </a:r>
            <a:r>
              <a:rPr lang="pt-BR" dirty="0"/>
              <a:t> </a:t>
            </a:r>
            <a:r>
              <a:rPr lang="pt-BR" dirty="0" err="1"/>
              <a:t>doloremque</a:t>
            </a:r>
            <a:r>
              <a:rPr lang="pt-BR" dirty="0"/>
              <a:t> </a:t>
            </a:r>
            <a:r>
              <a:rPr lang="pt-BR" dirty="0" err="1"/>
              <a:t>laudantium</a:t>
            </a:r>
            <a:r>
              <a:rPr lang="pt-BR" dirty="0"/>
              <a:t>, </a:t>
            </a:r>
            <a:r>
              <a:rPr lang="pt-BR" dirty="0" err="1"/>
              <a:t>totam</a:t>
            </a:r>
            <a:r>
              <a:rPr lang="pt-BR" dirty="0"/>
              <a:t> rem </a:t>
            </a:r>
            <a:r>
              <a:rPr lang="pt-BR" dirty="0" err="1"/>
              <a:t>aperiam</a:t>
            </a:r>
            <a:r>
              <a:rPr lang="pt-BR" dirty="0"/>
              <a:t>, </a:t>
            </a:r>
            <a:r>
              <a:rPr lang="pt-BR" dirty="0" err="1"/>
              <a:t>eaque</a:t>
            </a:r>
            <a:r>
              <a:rPr lang="pt-BR" dirty="0"/>
              <a:t> </a:t>
            </a:r>
            <a:r>
              <a:rPr lang="pt-BR" dirty="0" err="1"/>
              <a:t>ipsa</a:t>
            </a:r>
            <a:r>
              <a:rPr lang="pt-BR" dirty="0"/>
              <a:t> </a:t>
            </a:r>
            <a:r>
              <a:rPr lang="pt-BR" dirty="0" err="1"/>
              <a:t>quae</a:t>
            </a:r>
            <a:r>
              <a:rPr lang="pt-BR" dirty="0"/>
              <a:t> </a:t>
            </a:r>
            <a:r>
              <a:rPr lang="pt-BR" dirty="0" err="1"/>
              <a:t>ab</a:t>
            </a:r>
            <a:r>
              <a:rPr lang="pt-BR" dirty="0"/>
              <a:t> </a:t>
            </a:r>
            <a:r>
              <a:rPr lang="pt-BR" dirty="0" err="1"/>
              <a:t>illo</a:t>
            </a:r>
            <a:r>
              <a:rPr lang="pt-BR" dirty="0"/>
              <a:t> </a:t>
            </a:r>
            <a:r>
              <a:rPr lang="pt-BR" dirty="0" err="1"/>
              <a:t>inventore</a:t>
            </a:r>
            <a:r>
              <a:rPr lang="pt-BR" dirty="0"/>
              <a:t> </a:t>
            </a:r>
            <a:r>
              <a:rPr lang="pt-BR" dirty="0" err="1"/>
              <a:t>veritatis</a:t>
            </a:r>
            <a:r>
              <a:rPr lang="pt-BR" dirty="0"/>
              <a:t> et </a:t>
            </a:r>
            <a:r>
              <a:rPr lang="pt-BR" dirty="0" err="1"/>
              <a:t>quasi</a:t>
            </a:r>
            <a:r>
              <a:rPr lang="pt-BR" dirty="0"/>
              <a:t> </a:t>
            </a:r>
            <a:r>
              <a:rPr lang="pt-BR" dirty="0" err="1"/>
              <a:t>architecto</a:t>
            </a:r>
            <a:r>
              <a:rPr lang="pt-BR" dirty="0"/>
              <a:t> </a:t>
            </a:r>
            <a:r>
              <a:rPr lang="pt-BR" dirty="0" err="1"/>
              <a:t>beatae</a:t>
            </a:r>
            <a:r>
              <a:rPr lang="pt-BR" dirty="0"/>
              <a:t> vitae </a:t>
            </a:r>
            <a:r>
              <a:rPr lang="pt-BR" dirty="0" err="1"/>
              <a:t>dicta</a:t>
            </a:r>
            <a:r>
              <a:rPr lang="pt-BR" dirty="0"/>
              <a:t> sunt </a:t>
            </a:r>
            <a:r>
              <a:rPr lang="pt-BR" dirty="0" err="1"/>
              <a:t>explicabo</a:t>
            </a:r>
            <a:endParaRPr lang="pt-BR" dirty="0"/>
          </a:p>
          <a:p>
            <a:r>
              <a:rPr lang="pt-BR" dirty="0" err="1"/>
              <a:t>Sed</a:t>
            </a:r>
            <a:r>
              <a:rPr lang="pt-BR" dirty="0"/>
              <a:t> ut </a:t>
            </a:r>
            <a:r>
              <a:rPr lang="pt-BR" dirty="0" err="1"/>
              <a:t>perspiciatis</a:t>
            </a:r>
            <a:r>
              <a:rPr lang="pt-BR" dirty="0"/>
              <a:t> </a:t>
            </a:r>
            <a:r>
              <a:rPr lang="pt-BR" dirty="0" err="1"/>
              <a:t>unde</a:t>
            </a:r>
            <a:r>
              <a:rPr lang="pt-BR" dirty="0"/>
              <a:t> omnis </a:t>
            </a:r>
            <a:r>
              <a:rPr lang="pt-BR" dirty="0" err="1"/>
              <a:t>iste</a:t>
            </a:r>
            <a:r>
              <a:rPr lang="pt-BR" dirty="0"/>
              <a:t> </a:t>
            </a:r>
            <a:r>
              <a:rPr lang="pt-BR" dirty="0" err="1"/>
              <a:t>natus</a:t>
            </a:r>
            <a:r>
              <a:rPr lang="pt-BR" dirty="0"/>
              <a:t> </a:t>
            </a:r>
            <a:r>
              <a:rPr lang="pt-BR" dirty="0" err="1"/>
              <a:t>err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accusantium</a:t>
            </a:r>
            <a:r>
              <a:rPr lang="pt-BR" dirty="0"/>
              <a:t> </a:t>
            </a:r>
            <a:r>
              <a:rPr lang="pt-BR" dirty="0" err="1"/>
              <a:t>doloremque</a:t>
            </a:r>
            <a:r>
              <a:rPr lang="pt-BR" dirty="0"/>
              <a:t> </a:t>
            </a:r>
            <a:r>
              <a:rPr lang="pt-BR" dirty="0" err="1"/>
              <a:t>laudantium</a:t>
            </a:r>
            <a:r>
              <a:rPr lang="pt-BR" dirty="0"/>
              <a:t>, </a:t>
            </a:r>
            <a:r>
              <a:rPr lang="pt-BR" dirty="0" err="1"/>
              <a:t>totam</a:t>
            </a:r>
            <a:r>
              <a:rPr lang="pt-BR" dirty="0"/>
              <a:t> rem </a:t>
            </a:r>
            <a:r>
              <a:rPr lang="pt-BR" dirty="0" err="1"/>
              <a:t>aperiam</a:t>
            </a:r>
            <a:r>
              <a:rPr lang="pt-BR" dirty="0"/>
              <a:t>, </a:t>
            </a:r>
            <a:r>
              <a:rPr lang="pt-BR" dirty="0" err="1"/>
              <a:t>eaque</a:t>
            </a:r>
            <a:r>
              <a:rPr lang="pt-BR" dirty="0"/>
              <a:t> </a:t>
            </a:r>
            <a:r>
              <a:rPr lang="pt-BR" dirty="0" err="1"/>
              <a:t>ipsa</a:t>
            </a:r>
            <a:r>
              <a:rPr lang="pt-BR" dirty="0"/>
              <a:t> </a:t>
            </a:r>
            <a:r>
              <a:rPr lang="pt-BR" dirty="0" err="1"/>
              <a:t>quae</a:t>
            </a:r>
            <a:r>
              <a:rPr lang="pt-BR" dirty="0"/>
              <a:t> </a:t>
            </a:r>
            <a:r>
              <a:rPr lang="pt-BR" dirty="0" err="1"/>
              <a:t>ab</a:t>
            </a:r>
            <a:r>
              <a:rPr lang="pt-BR" dirty="0"/>
              <a:t> </a:t>
            </a:r>
            <a:r>
              <a:rPr lang="pt-BR" dirty="0" err="1"/>
              <a:t>illo</a:t>
            </a:r>
            <a:r>
              <a:rPr lang="pt-BR" dirty="0"/>
              <a:t> </a:t>
            </a:r>
            <a:r>
              <a:rPr lang="pt-BR" dirty="0" err="1"/>
              <a:t>inventore</a:t>
            </a:r>
            <a:r>
              <a:rPr lang="pt-BR" dirty="0"/>
              <a:t> </a:t>
            </a:r>
            <a:r>
              <a:rPr lang="pt-BR" dirty="0" err="1"/>
              <a:t>veritatis</a:t>
            </a:r>
            <a:r>
              <a:rPr lang="pt-BR" dirty="0"/>
              <a:t> et </a:t>
            </a:r>
            <a:r>
              <a:rPr lang="pt-BR" dirty="0" err="1"/>
              <a:t>quasi</a:t>
            </a:r>
            <a:r>
              <a:rPr lang="pt-BR" dirty="0"/>
              <a:t> </a:t>
            </a:r>
            <a:r>
              <a:rPr lang="pt-BR" dirty="0" err="1"/>
              <a:t>architecto</a:t>
            </a:r>
            <a:r>
              <a:rPr lang="pt-BR" dirty="0"/>
              <a:t> </a:t>
            </a:r>
            <a:r>
              <a:rPr lang="pt-BR" dirty="0" err="1"/>
              <a:t>beatae</a:t>
            </a:r>
            <a:r>
              <a:rPr lang="pt-BR" dirty="0"/>
              <a:t> vitae </a:t>
            </a:r>
            <a:r>
              <a:rPr lang="pt-BR" dirty="0" err="1"/>
              <a:t>dicta</a:t>
            </a:r>
            <a:r>
              <a:rPr lang="pt-BR" dirty="0"/>
              <a:t> sunt </a:t>
            </a:r>
            <a:r>
              <a:rPr lang="pt-BR" dirty="0" err="1"/>
              <a:t>explicabo</a:t>
            </a:r>
            <a:endParaRPr lang="pt-BR" dirty="0"/>
          </a:p>
        </p:txBody>
      </p:sp>
      <p:pic>
        <p:nvPicPr>
          <p:cNvPr id="5" name="Espaço Reservado para Imagem 4" descr="Sala com mesa e cadeiras&#10;&#10;Descrição gerada automaticamente">
            <a:extLst>
              <a:ext uri="{FF2B5EF4-FFF2-40B4-BE49-F238E27FC236}">
                <a16:creationId xmlns:a16="http://schemas.microsoft.com/office/drawing/2014/main" id="{B82ABB76-F483-4D2C-B534-9A14A5DDC648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155470707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832FB50B-CFD5-4524-80E9-07CD1F46099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Cores por produto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B80B8F8E-B35A-424F-BEAF-10062C165E0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Paleta de apoio em apresentações</a:t>
            </a:r>
          </a:p>
        </p:txBody>
      </p:sp>
      <p:sp>
        <p:nvSpPr>
          <p:cNvPr id="13" name="Forma Livre: Forma 12">
            <a:extLst>
              <a:ext uri="{FF2B5EF4-FFF2-40B4-BE49-F238E27FC236}">
                <a16:creationId xmlns:a16="http://schemas.microsoft.com/office/drawing/2014/main" id="{7F5B4792-4498-42B7-A463-ABAF7BE62C9A}"/>
              </a:ext>
            </a:extLst>
          </p:cNvPr>
          <p:cNvSpPr/>
          <p:nvPr/>
        </p:nvSpPr>
        <p:spPr>
          <a:xfrm>
            <a:off x="571979" y="2124075"/>
            <a:ext cx="4723922" cy="1304925"/>
          </a:xfrm>
          <a:custGeom>
            <a:avLst/>
            <a:gdLst>
              <a:gd name="connsiteX0" fmla="*/ 0 w 5226367"/>
              <a:gd name="connsiteY0" fmla="*/ 0 h 2080260"/>
              <a:gd name="connsiteX1" fmla="*/ 5226368 w 5226367"/>
              <a:gd name="connsiteY1" fmla="*/ 0 h 2080260"/>
              <a:gd name="connsiteX2" fmla="*/ 5226368 w 5226367"/>
              <a:gd name="connsiteY2" fmla="*/ 2080260 h 2080260"/>
              <a:gd name="connsiteX3" fmla="*/ 0 w 5226367"/>
              <a:gd name="connsiteY3" fmla="*/ 2080260 h 2080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6367" h="2080260">
                <a:moveTo>
                  <a:pt x="0" y="0"/>
                </a:moveTo>
                <a:lnTo>
                  <a:pt x="5226368" y="0"/>
                </a:lnTo>
                <a:lnTo>
                  <a:pt x="5226368" y="2080260"/>
                </a:lnTo>
                <a:lnTo>
                  <a:pt x="0" y="2080260"/>
                </a:lnTo>
                <a:close/>
              </a:path>
            </a:pathLst>
          </a:custGeom>
          <a:noFill/>
          <a:ln w="9525" cap="flat">
            <a:solidFill>
              <a:srgbClr val="D6D6CE"/>
            </a:solidFill>
            <a:prstDash val="solid"/>
            <a:miter/>
          </a:ln>
        </p:spPr>
        <p:txBody>
          <a:bodyPr rtlCol="0" anchor="ctr"/>
          <a:lstStyle/>
          <a:p>
            <a:pPr algn="r"/>
            <a:endParaRPr lang="pt-BR"/>
          </a:p>
        </p:txBody>
      </p:sp>
      <p:sp>
        <p:nvSpPr>
          <p:cNvPr id="15" name="Forma Livre: Forma 14">
            <a:extLst>
              <a:ext uri="{FF2B5EF4-FFF2-40B4-BE49-F238E27FC236}">
                <a16:creationId xmlns:a16="http://schemas.microsoft.com/office/drawing/2014/main" id="{49603395-EF7D-4E3B-80A8-2106CCED2F15}"/>
              </a:ext>
            </a:extLst>
          </p:cNvPr>
          <p:cNvSpPr/>
          <p:nvPr/>
        </p:nvSpPr>
        <p:spPr>
          <a:xfrm>
            <a:off x="4061292" y="2212521"/>
            <a:ext cx="1128031" cy="1128031"/>
          </a:xfrm>
          <a:custGeom>
            <a:avLst/>
            <a:gdLst>
              <a:gd name="connsiteX0" fmla="*/ 0 w 1677352"/>
              <a:gd name="connsiteY0" fmla="*/ 0 h 1677352"/>
              <a:gd name="connsiteX1" fmla="*/ 1677353 w 1677352"/>
              <a:gd name="connsiteY1" fmla="*/ 0 h 1677352"/>
              <a:gd name="connsiteX2" fmla="*/ 1677353 w 1677352"/>
              <a:gd name="connsiteY2" fmla="*/ 1677353 h 1677352"/>
              <a:gd name="connsiteX3" fmla="*/ 0 w 1677352"/>
              <a:gd name="connsiteY3" fmla="*/ 1677353 h 167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7352" h="1677352">
                <a:moveTo>
                  <a:pt x="0" y="0"/>
                </a:moveTo>
                <a:lnTo>
                  <a:pt x="1677353" y="0"/>
                </a:lnTo>
                <a:lnTo>
                  <a:pt x="1677353" y="1677353"/>
                </a:lnTo>
                <a:lnTo>
                  <a:pt x="0" y="1677353"/>
                </a:lnTo>
                <a:close/>
              </a:path>
            </a:pathLst>
          </a:custGeom>
          <a:solidFill>
            <a:srgbClr val="5B667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r"/>
            <a:endParaRPr lang="pt-BR" dirty="0"/>
          </a:p>
        </p:txBody>
      </p:sp>
      <p:sp>
        <p:nvSpPr>
          <p:cNvPr id="16" name="Forma Livre: Forma 15">
            <a:extLst>
              <a:ext uri="{FF2B5EF4-FFF2-40B4-BE49-F238E27FC236}">
                <a16:creationId xmlns:a16="http://schemas.microsoft.com/office/drawing/2014/main" id="{209C6260-B882-4EE3-9CB0-913D80E9FAB5}"/>
              </a:ext>
            </a:extLst>
          </p:cNvPr>
          <p:cNvSpPr/>
          <p:nvPr/>
        </p:nvSpPr>
        <p:spPr>
          <a:xfrm rot="10800000">
            <a:off x="2933261" y="2212521"/>
            <a:ext cx="1128031" cy="1128031"/>
          </a:xfrm>
          <a:custGeom>
            <a:avLst/>
            <a:gdLst>
              <a:gd name="connsiteX0" fmla="*/ 0 w 1677352"/>
              <a:gd name="connsiteY0" fmla="*/ 0 h 1677352"/>
              <a:gd name="connsiteX1" fmla="*/ 1677353 w 1677352"/>
              <a:gd name="connsiteY1" fmla="*/ 0 h 1677352"/>
              <a:gd name="connsiteX2" fmla="*/ 1677353 w 1677352"/>
              <a:gd name="connsiteY2" fmla="*/ 1677353 h 1677352"/>
              <a:gd name="connsiteX3" fmla="*/ 0 w 1677352"/>
              <a:gd name="connsiteY3" fmla="*/ 1677353 h 167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7352" h="1677352">
                <a:moveTo>
                  <a:pt x="0" y="0"/>
                </a:moveTo>
                <a:lnTo>
                  <a:pt x="1677353" y="0"/>
                </a:lnTo>
                <a:lnTo>
                  <a:pt x="1677353" y="1677353"/>
                </a:lnTo>
                <a:lnTo>
                  <a:pt x="0" y="1677353"/>
                </a:lnTo>
                <a:close/>
              </a:path>
            </a:pathLst>
          </a:custGeom>
          <a:solidFill>
            <a:srgbClr val="FF352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r"/>
            <a:endParaRPr lang="pt-BR"/>
          </a:p>
        </p:txBody>
      </p:sp>
      <p:sp>
        <p:nvSpPr>
          <p:cNvPr id="17" name="Forma Livre: Forma 16">
            <a:extLst>
              <a:ext uri="{FF2B5EF4-FFF2-40B4-BE49-F238E27FC236}">
                <a16:creationId xmlns:a16="http://schemas.microsoft.com/office/drawing/2014/main" id="{D0B02E56-C760-4976-9DFF-3BF9E3E2AD9C}"/>
              </a:ext>
            </a:extLst>
          </p:cNvPr>
          <p:cNvSpPr/>
          <p:nvPr/>
        </p:nvSpPr>
        <p:spPr>
          <a:xfrm rot="10800000">
            <a:off x="1805230" y="2212521"/>
            <a:ext cx="1128031" cy="1128031"/>
          </a:xfrm>
          <a:custGeom>
            <a:avLst/>
            <a:gdLst>
              <a:gd name="connsiteX0" fmla="*/ 0 w 1677352"/>
              <a:gd name="connsiteY0" fmla="*/ 0 h 1677352"/>
              <a:gd name="connsiteX1" fmla="*/ 1677353 w 1677352"/>
              <a:gd name="connsiteY1" fmla="*/ 0 h 1677352"/>
              <a:gd name="connsiteX2" fmla="*/ 1677353 w 1677352"/>
              <a:gd name="connsiteY2" fmla="*/ 1677353 h 1677352"/>
              <a:gd name="connsiteX3" fmla="*/ 0 w 1677352"/>
              <a:gd name="connsiteY3" fmla="*/ 1677353 h 167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7352" h="1677352">
                <a:moveTo>
                  <a:pt x="0" y="0"/>
                </a:moveTo>
                <a:lnTo>
                  <a:pt x="1677353" y="0"/>
                </a:lnTo>
                <a:lnTo>
                  <a:pt x="1677353" y="1677353"/>
                </a:lnTo>
                <a:lnTo>
                  <a:pt x="0" y="1677353"/>
                </a:lnTo>
                <a:close/>
              </a:path>
            </a:pathLst>
          </a:custGeom>
          <a:solidFill>
            <a:srgbClr val="6F1F3B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r"/>
            <a:endParaRPr lang="pt-BR"/>
          </a:p>
        </p:txBody>
      </p:sp>
      <p:sp>
        <p:nvSpPr>
          <p:cNvPr id="18" name="Forma Livre: Forma 17">
            <a:extLst>
              <a:ext uri="{FF2B5EF4-FFF2-40B4-BE49-F238E27FC236}">
                <a16:creationId xmlns:a16="http://schemas.microsoft.com/office/drawing/2014/main" id="{6B109FCD-098F-4268-8909-A17187239AFE}"/>
              </a:ext>
            </a:extLst>
          </p:cNvPr>
          <p:cNvSpPr/>
          <p:nvPr/>
        </p:nvSpPr>
        <p:spPr>
          <a:xfrm rot="10800000">
            <a:off x="677198" y="2212521"/>
            <a:ext cx="1128031" cy="1128031"/>
          </a:xfrm>
          <a:custGeom>
            <a:avLst/>
            <a:gdLst>
              <a:gd name="connsiteX0" fmla="*/ 0 w 1677352"/>
              <a:gd name="connsiteY0" fmla="*/ 0 h 1677352"/>
              <a:gd name="connsiteX1" fmla="*/ 1677353 w 1677352"/>
              <a:gd name="connsiteY1" fmla="*/ 0 h 1677352"/>
              <a:gd name="connsiteX2" fmla="*/ 1677353 w 1677352"/>
              <a:gd name="connsiteY2" fmla="*/ 1677353 h 1677352"/>
              <a:gd name="connsiteX3" fmla="*/ 0 w 1677352"/>
              <a:gd name="connsiteY3" fmla="*/ 1677353 h 167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7352" h="1677352">
                <a:moveTo>
                  <a:pt x="0" y="0"/>
                </a:moveTo>
                <a:lnTo>
                  <a:pt x="1677353" y="0"/>
                </a:lnTo>
                <a:lnTo>
                  <a:pt x="1677353" y="1677353"/>
                </a:lnTo>
                <a:lnTo>
                  <a:pt x="0" y="1677353"/>
                </a:lnTo>
                <a:close/>
              </a:path>
            </a:pathLst>
          </a:custGeom>
          <a:solidFill>
            <a:srgbClr val="161F2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r"/>
            <a:endParaRPr lang="pt-BR"/>
          </a:p>
        </p:txBody>
      </p:sp>
      <p:sp>
        <p:nvSpPr>
          <p:cNvPr id="21" name="Forma Livre: Forma 20">
            <a:extLst>
              <a:ext uri="{FF2B5EF4-FFF2-40B4-BE49-F238E27FC236}">
                <a16:creationId xmlns:a16="http://schemas.microsoft.com/office/drawing/2014/main" id="{98024431-0541-427A-A5BF-509BDAD82F40}"/>
              </a:ext>
            </a:extLst>
          </p:cNvPr>
          <p:cNvSpPr/>
          <p:nvPr/>
        </p:nvSpPr>
        <p:spPr>
          <a:xfrm>
            <a:off x="598816" y="4259373"/>
            <a:ext cx="4723922" cy="1304925"/>
          </a:xfrm>
          <a:custGeom>
            <a:avLst/>
            <a:gdLst>
              <a:gd name="connsiteX0" fmla="*/ 0 w 5226367"/>
              <a:gd name="connsiteY0" fmla="*/ 0 h 2080260"/>
              <a:gd name="connsiteX1" fmla="*/ 5226368 w 5226367"/>
              <a:gd name="connsiteY1" fmla="*/ 0 h 2080260"/>
              <a:gd name="connsiteX2" fmla="*/ 5226368 w 5226367"/>
              <a:gd name="connsiteY2" fmla="*/ 2080260 h 2080260"/>
              <a:gd name="connsiteX3" fmla="*/ 0 w 5226367"/>
              <a:gd name="connsiteY3" fmla="*/ 2080260 h 2080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6367" h="2080260">
                <a:moveTo>
                  <a:pt x="0" y="0"/>
                </a:moveTo>
                <a:lnTo>
                  <a:pt x="5226368" y="0"/>
                </a:lnTo>
                <a:lnTo>
                  <a:pt x="5226368" y="2080260"/>
                </a:lnTo>
                <a:lnTo>
                  <a:pt x="0" y="2080260"/>
                </a:lnTo>
                <a:close/>
              </a:path>
            </a:pathLst>
          </a:custGeom>
          <a:noFill/>
          <a:ln w="9525" cap="flat">
            <a:solidFill>
              <a:srgbClr val="D6D6CE"/>
            </a:solidFill>
            <a:prstDash val="solid"/>
            <a:miter/>
          </a:ln>
        </p:spPr>
        <p:txBody>
          <a:bodyPr rtlCol="0" anchor="ctr"/>
          <a:lstStyle/>
          <a:p>
            <a:pPr algn="r"/>
            <a:endParaRPr lang="pt-BR"/>
          </a:p>
        </p:txBody>
      </p:sp>
      <p:pic>
        <p:nvPicPr>
          <p:cNvPr id="22" name="Gráfico 21">
            <a:extLst>
              <a:ext uri="{FF2B5EF4-FFF2-40B4-BE49-F238E27FC236}">
                <a16:creationId xmlns:a16="http://schemas.microsoft.com/office/drawing/2014/main" id="{27ADC735-6EA3-4C6A-9313-65AE1BE4DA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77877" y="3697556"/>
            <a:ext cx="1085629" cy="446427"/>
          </a:xfrm>
          <a:prstGeom prst="rect">
            <a:avLst/>
          </a:prstGeom>
        </p:spPr>
      </p:pic>
      <p:pic>
        <p:nvPicPr>
          <p:cNvPr id="26" name="Gráfico 25">
            <a:extLst>
              <a:ext uri="{FF2B5EF4-FFF2-40B4-BE49-F238E27FC236}">
                <a16:creationId xmlns:a16="http://schemas.microsoft.com/office/drawing/2014/main" id="{A14CF090-C8D8-4DA8-8857-19A985F5638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77878" y="1550781"/>
            <a:ext cx="1317116" cy="418523"/>
          </a:xfrm>
          <a:prstGeom prst="rect">
            <a:avLst/>
          </a:prstGeom>
        </p:spPr>
      </p:pic>
      <p:pic>
        <p:nvPicPr>
          <p:cNvPr id="27" name="Gráfico 26">
            <a:extLst>
              <a:ext uri="{FF2B5EF4-FFF2-40B4-BE49-F238E27FC236}">
                <a16:creationId xmlns:a16="http://schemas.microsoft.com/office/drawing/2014/main" id="{0B2286AC-A764-4E42-A926-38A422AAA67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060591" y="1516778"/>
            <a:ext cx="1152863" cy="452526"/>
          </a:xfrm>
          <a:prstGeom prst="rect">
            <a:avLst/>
          </a:prstGeom>
        </p:spPr>
      </p:pic>
      <p:pic>
        <p:nvPicPr>
          <p:cNvPr id="28" name="Gráfico 27">
            <a:extLst>
              <a:ext uri="{FF2B5EF4-FFF2-40B4-BE49-F238E27FC236}">
                <a16:creationId xmlns:a16="http://schemas.microsoft.com/office/drawing/2014/main" id="{1331F30F-5E18-467C-A5D5-71B61F87BC8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060591" y="3640518"/>
            <a:ext cx="1068973" cy="499520"/>
          </a:xfrm>
          <a:prstGeom prst="rect">
            <a:avLst/>
          </a:prstGeom>
        </p:spPr>
      </p:pic>
      <p:sp>
        <p:nvSpPr>
          <p:cNvPr id="30" name="Forma Livre: Forma 29">
            <a:extLst>
              <a:ext uri="{FF2B5EF4-FFF2-40B4-BE49-F238E27FC236}">
                <a16:creationId xmlns:a16="http://schemas.microsoft.com/office/drawing/2014/main" id="{78B2A106-ACD8-4873-A892-17CFEFFDE505}"/>
              </a:ext>
            </a:extLst>
          </p:cNvPr>
          <p:cNvSpPr/>
          <p:nvPr/>
        </p:nvSpPr>
        <p:spPr>
          <a:xfrm>
            <a:off x="9480094" y="2205293"/>
            <a:ext cx="1128031" cy="1128031"/>
          </a:xfrm>
          <a:custGeom>
            <a:avLst/>
            <a:gdLst>
              <a:gd name="connsiteX0" fmla="*/ 0 w 1677352"/>
              <a:gd name="connsiteY0" fmla="*/ 0 h 1677352"/>
              <a:gd name="connsiteX1" fmla="*/ 1677353 w 1677352"/>
              <a:gd name="connsiteY1" fmla="*/ 0 h 1677352"/>
              <a:gd name="connsiteX2" fmla="*/ 1677353 w 1677352"/>
              <a:gd name="connsiteY2" fmla="*/ 1677353 h 1677352"/>
              <a:gd name="connsiteX3" fmla="*/ 0 w 1677352"/>
              <a:gd name="connsiteY3" fmla="*/ 1677353 h 167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7352" h="1677352">
                <a:moveTo>
                  <a:pt x="0" y="0"/>
                </a:moveTo>
                <a:lnTo>
                  <a:pt x="1677353" y="0"/>
                </a:lnTo>
                <a:lnTo>
                  <a:pt x="1677353" y="1677353"/>
                </a:lnTo>
                <a:lnTo>
                  <a:pt x="0" y="1677353"/>
                </a:lnTo>
                <a:close/>
              </a:path>
            </a:pathLst>
          </a:custGeom>
          <a:solidFill>
            <a:srgbClr val="00C4B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r"/>
            <a:endParaRPr lang="pt-BR"/>
          </a:p>
        </p:txBody>
      </p:sp>
      <p:sp>
        <p:nvSpPr>
          <p:cNvPr id="31" name="Forma Livre: Forma 30">
            <a:extLst>
              <a:ext uri="{FF2B5EF4-FFF2-40B4-BE49-F238E27FC236}">
                <a16:creationId xmlns:a16="http://schemas.microsoft.com/office/drawing/2014/main" id="{1F34E349-A65A-4F8B-9249-52445EB4B058}"/>
              </a:ext>
            </a:extLst>
          </p:cNvPr>
          <p:cNvSpPr/>
          <p:nvPr/>
        </p:nvSpPr>
        <p:spPr>
          <a:xfrm rot="10800000">
            <a:off x="8352063" y="2205293"/>
            <a:ext cx="1128031" cy="1128031"/>
          </a:xfrm>
          <a:custGeom>
            <a:avLst/>
            <a:gdLst>
              <a:gd name="connsiteX0" fmla="*/ 0 w 1677352"/>
              <a:gd name="connsiteY0" fmla="*/ 0 h 1677352"/>
              <a:gd name="connsiteX1" fmla="*/ 1677353 w 1677352"/>
              <a:gd name="connsiteY1" fmla="*/ 0 h 1677352"/>
              <a:gd name="connsiteX2" fmla="*/ 1677353 w 1677352"/>
              <a:gd name="connsiteY2" fmla="*/ 1677353 h 1677352"/>
              <a:gd name="connsiteX3" fmla="*/ 0 w 1677352"/>
              <a:gd name="connsiteY3" fmla="*/ 1677353 h 167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7352" h="1677352">
                <a:moveTo>
                  <a:pt x="0" y="0"/>
                </a:moveTo>
                <a:lnTo>
                  <a:pt x="1677353" y="0"/>
                </a:lnTo>
                <a:lnTo>
                  <a:pt x="1677353" y="1677353"/>
                </a:lnTo>
                <a:lnTo>
                  <a:pt x="0" y="1677353"/>
                </a:lnTo>
                <a:close/>
              </a:path>
            </a:pathLst>
          </a:custGeom>
          <a:solidFill>
            <a:srgbClr val="8E969B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r"/>
            <a:endParaRPr lang="pt-BR"/>
          </a:p>
        </p:txBody>
      </p:sp>
      <p:sp>
        <p:nvSpPr>
          <p:cNvPr id="32" name="Forma Livre: Forma 31">
            <a:extLst>
              <a:ext uri="{FF2B5EF4-FFF2-40B4-BE49-F238E27FC236}">
                <a16:creationId xmlns:a16="http://schemas.microsoft.com/office/drawing/2014/main" id="{9F4B43EF-8F3F-45A3-8818-CDEBAE09AAC4}"/>
              </a:ext>
            </a:extLst>
          </p:cNvPr>
          <p:cNvSpPr/>
          <p:nvPr/>
        </p:nvSpPr>
        <p:spPr>
          <a:xfrm rot="10800000">
            <a:off x="7224032" y="2205293"/>
            <a:ext cx="1128031" cy="1128031"/>
          </a:xfrm>
          <a:custGeom>
            <a:avLst/>
            <a:gdLst>
              <a:gd name="connsiteX0" fmla="*/ 0 w 1677352"/>
              <a:gd name="connsiteY0" fmla="*/ 0 h 1677352"/>
              <a:gd name="connsiteX1" fmla="*/ 1677353 w 1677352"/>
              <a:gd name="connsiteY1" fmla="*/ 0 h 1677352"/>
              <a:gd name="connsiteX2" fmla="*/ 1677353 w 1677352"/>
              <a:gd name="connsiteY2" fmla="*/ 1677353 h 1677352"/>
              <a:gd name="connsiteX3" fmla="*/ 0 w 1677352"/>
              <a:gd name="connsiteY3" fmla="*/ 1677353 h 167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7352" h="1677352">
                <a:moveTo>
                  <a:pt x="0" y="0"/>
                </a:moveTo>
                <a:lnTo>
                  <a:pt x="1677353" y="0"/>
                </a:lnTo>
                <a:lnTo>
                  <a:pt x="1677353" y="1677353"/>
                </a:lnTo>
                <a:lnTo>
                  <a:pt x="0" y="1677353"/>
                </a:lnTo>
                <a:close/>
              </a:path>
            </a:pathLst>
          </a:custGeom>
          <a:solidFill>
            <a:srgbClr val="00729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r"/>
            <a:endParaRPr lang="pt-BR"/>
          </a:p>
        </p:txBody>
      </p:sp>
      <p:sp>
        <p:nvSpPr>
          <p:cNvPr id="33" name="Forma Livre: Forma 32">
            <a:extLst>
              <a:ext uri="{FF2B5EF4-FFF2-40B4-BE49-F238E27FC236}">
                <a16:creationId xmlns:a16="http://schemas.microsoft.com/office/drawing/2014/main" id="{D773692A-8F69-4D8E-BAA4-FAC7497EFDEC}"/>
              </a:ext>
            </a:extLst>
          </p:cNvPr>
          <p:cNvSpPr/>
          <p:nvPr/>
        </p:nvSpPr>
        <p:spPr>
          <a:xfrm rot="10800000">
            <a:off x="6096000" y="2205293"/>
            <a:ext cx="1128031" cy="1128031"/>
          </a:xfrm>
          <a:custGeom>
            <a:avLst/>
            <a:gdLst>
              <a:gd name="connsiteX0" fmla="*/ 0 w 1677352"/>
              <a:gd name="connsiteY0" fmla="*/ 0 h 1677352"/>
              <a:gd name="connsiteX1" fmla="*/ 1677353 w 1677352"/>
              <a:gd name="connsiteY1" fmla="*/ 0 h 1677352"/>
              <a:gd name="connsiteX2" fmla="*/ 1677353 w 1677352"/>
              <a:gd name="connsiteY2" fmla="*/ 1677353 h 1677352"/>
              <a:gd name="connsiteX3" fmla="*/ 0 w 1677352"/>
              <a:gd name="connsiteY3" fmla="*/ 1677353 h 167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7352" h="1677352">
                <a:moveTo>
                  <a:pt x="0" y="0"/>
                </a:moveTo>
                <a:lnTo>
                  <a:pt x="1677353" y="0"/>
                </a:lnTo>
                <a:lnTo>
                  <a:pt x="1677353" y="1677353"/>
                </a:lnTo>
                <a:lnTo>
                  <a:pt x="0" y="1677353"/>
                </a:lnTo>
                <a:close/>
              </a:path>
            </a:pathLst>
          </a:custGeom>
          <a:solidFill>
            <a:srgbClr val="10312B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r"/>
            <a:endParaRPr lang="pt-BR"/>
          </a:p>
        </p:txBody>
      </p:sp>
      <p:sp>
        <p:nvSpPr>
          <p:cNvPr id="34" name="Forma Livre: Forma 33">
            <a:extLst>
              <a:ext uri="{FF2B5EF4-FFF2-40B4-BE49-F238E27FC236}">
                <a16:creationId xmlns:a16="http://schemas.microsoft.com/office/drawing/2014/main" id="{DF7A04E5-8235-4E09-A7A6-561FC7D438D6}"/>
              </a:ext>
            </a:extLst>
          </p:cNvPr>
          <p:cNvSpPr/>
          <p:nvPr/>
        </p:nvSpPr>
        <p:spPr>
          <a:xfrm>
            <a:off x="5990101" y="2116846"/>
            <a:ext cx="4723922" cy="1304925"/>
          </a:xfrm>
          <a:custGeom>
            <a:avLst/>
            <a:gdLst>
              <a:gd name="connsiteX0" fmla="*/ 0 w 5226367"/>
              <a:gd name="connsiteY0" fmla="*/ 0 h 2080260"/>
              <a:gd name="connsiteX1" fmla="*/ 5226368 w 5226367"/>
              <a:gd name="connsiteY1" fmla="*/ 0 h 2080260"/>
              <a:gd name="connsiteX2" fmla="*/ 5226368 w 5226367"/>
              <a:gd name="connsiteY2" fmla="*/ 2080260 h 2080260"/>
              <a:gd name="connsiteX3" fmla="*/ 0 w 5226367"/>
              <a:gd name="connsiteY3" fmla="*/ 2080260 h 2080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6367" h="2080260">
                <a:moveTo>
                  <a:pt x="0" y="0"/>
                </a:moveTo>
                <a:lnTo>
                  <a:pt x="5226368" y="0"/>
                </a:lnTo>
                <a:lnTo>
                  <a:pt x="5226368" y="2080260"/>
                </a:lnTo>
                <a:lnTo>
                  <a:pt x="0" y="2080260"/>
                </a:lnTo>
                <a:close/>
              </a:path>
            </a:pathLst>
          </a:custGeom>
          <a:noFill/>
          <a:ln w="9525" cap="flat">
            <a:solidFill>
              <a:srgbClr val="D6D6CE"/>
            </a:solidFill>
            <a:prstDash val="solid"/>
            <a:miter/>
          </a:ln>
        </p:spPr>
        <p:txBody>
          <a:bodyPr rtlCol="0" anchor="ctr"/>
          <a:lstStyle/>
          <a:p>
            <a:pPr algn="r"/>
            <a:endParaRPr lang="pt-BR"/>
          </a:p>
        </p:txBody>
      </p:sp>
      <p:sp>
        <p:nvSpPr>
          <p:cNvPr id="36" name="Forma Livre: Forma 35">
            <a:extLst>
              <a:ext uri="{FF2B5EF4-FFF2-40B4-BE49-F238E27FC236}">
                <a16:creationId xmlns:a16="http://schemas.microsoft.com/office/drawing/2014/main" id="{F2336A1C-80EC-4D4D-AA3B-3C90C0D719A7}"/>
              </a:ext>
            </a:extLst>
          </p:cNvPr>
          <p:cNvSpPr/>
          <p:nvPr/>
        </p:nvSpPr>
        <p:spPr>
          <a:xfrm>
            <a:off x="9480094" y="4373170"/>
            <a:ext cx="1128031" cy="1128031"/>
          </a:xfrm>
          <a:custGeom>
            <a:avLst/>
            <a:gdLst>
              <a:gd name="connsiteX0" fmla="*/ 0 w 1677352"/>
              <a:gd name="connsiteY0" fmla="*/ 0 h 1677352"/>
              <a:gd name="connsiteX1" fmla="*/ 1677353 w 1677352"/>
              <a:gd name="connsiteY1" fmla="*/ 0 h 1677352"/>
              <a:gd name="connsiteX2" fmla="*/ 1677353 w 1677352"/>
              <a:gd name="connsiteY2" fmla="*/ 1677353 h 1677352"/>
              <a:gd name="connsiteX3" fmla="*/ 0 w 1677352"/>
              <a:gd name="connsiteY3" fmla="*/ 1677353 h 167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7352" h="1677352">
                <a:moveTo>
                  <a:pt x="0" y="0"/>
                </a:moveTo>
                <a:lnTo>
                  <a:pt x="1677353" y="0"/>
                </a:lnTo>
                <a:lnTo>
                  <a:pt x="1677353" y="1677353"/>
                </a:lnTo>
                <a:lnTo>
                  <a:pt x="0" y="1677353"/>
                </a:lnTo>
                <a:close/>
              </a:path>
            </a:pathLst>
          </a:custGeom>
          <a:solidFill>
            <a:srgbClr val="A2AAAD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r"/>
            <a:endParaRPr lang="pt-BR"/>
          </a:p>
        </p:txBody>
      </p:sp>
      <p:sp>
        <p:nvSpPr>
          <p:cNvPr id="37" name="Forma Livre: Forma 36">
            <a:extLst>
              <a:ext uri="{FF2B5EF4-FFF2-40B4-BE49-F238E27FC236}">
                <a16:creationId xmlns:a16="http://schemas.microsoft.com/office/drawing/2014/main" id="{481C5089-A65E-4BA5-BA22-DF48237A2263}"/>
              </a:ext>
            </a:extLst>
          </p:cNvPr>
          <p:cNvSpPr/>
          <p:nvPr/>
        </p:nvSpPr>
        <p:spPr>
          <a:xfrm rot="10800000">
            <a:off x="8352063" y="4373170"/>
            <a:ext cx="1128031" cy="1128031"/>
          </a:xfrm>
          <a:custGeom>
            <a:avLst/>
            <a:gdLst>
              <a:gd name="connsiteX0" fmla="*/ 0 w 1677352"/>
              <a:gd name="connsiteY0" fmla="*/ 0 h 1677352"/>
              <a:gd name="connsiteX1" fmla="*/ 1677353 w 1677352"/>
              <a:gd name="connsiteY1" fmla="*/ 0 h 1677352"/>
              <a:gd name="connsiteX2" fmla="*/ 1677353 w 1677352"/>
              <a:gd name="connsiteY2" fmla="*/ 1677353 h 1677352"/>
              <a:gd name="connsiteX3" fmla="*/ 0 w 1677352"/>
              <a:gd name="connsiteY3" fmla="*/ 1677353 h 167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7352" h="1677352">
                <a:moveTo>
                  <a:pt x="0" y="0"/>
                </a:moveTo>
                <a:lnTo>
                  <a:pt x="1677353" y="0"/>
                </a:lnTo>
                <a:lnTo>
                  <a:pt x="1677353" y="1677353"/>
                </a:lnTo>
                <a:lnTo>
                  <a:pt x="0" y="1677353"/>
                </a:lnTo>
                <a:close/>
              </a:path>
            </a:pathLst>
          </a:custGeom>
          <a:solidFill>
            <a:srgbClr val="5B677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r"/>
            <a:endParaRPr lang="pt-BR"/>
          </a:p>
        </p:txBody>
      </p:sp>
      <p:sp>
        <p:nvSpPr>
          <p:cNvPr id="38" name="Forma Livre: Forma 37">
            <a:extLst>
              <a:ext uri="{FF2B5EF4-FFF2-40B4-BE49-F238E27FC236}">
                <a16:creationId xmlns:a16="http://schemas.microsoft.com/office/drawing/2014/main" id="{9C25A4FD-0A79-4815-B952-3C2EC1FE049D}"/>
              </a:ext>
            </a:extLst>
          </p:cNvPr>
          <p:cNvSpPr/>
          <p:nvPr/>
        </p:nvSpPr>
        <p:spPr>
          <a:xfrm rot="10800000">
            <a:off x="7224032" y="4373170"/>
            <a:ext cx="1128031" cy="1128031"/>
          </a:xfrm>
          <a:custGeom>
            <a:avLst/>
            <a:gdLst>
              <a:gd name="connsiteX0" fmla="*/ 0 w 1677352"/>
              <a:gd name="connsiteY0" fmla="*/ 0 h 1677352"/>
              <a:gd name="connsiteX1" fmla="*/ 1677353 w 1677352"/>
              <a:gd name="connsiteY1" fmla="*/ 0 h 1677352"/>
              <a:gd name="connsiteX2" fmla="*/ 1677353 w 1677352"/>
              <a:gd name="connsiteY2" fmla="*/ 1677353 h 1677352"/>
              <a:gd name="connsiteX3" fmla="*/ 0 w 1677352"/>
              <a:gd name="connsiteY3" fmla="*/ 1677353 h 167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7352" h="1677352">
                <a:moveTo>
                  <a:pt x="0" y="0"/>
                </a:moveTo>
                <a:lnTo>
                  <a:pt x="1677353" y="0"/>
                </a:lnTo>
                <a:lnTo>
                  <a:pt x="1677353" y="1677353"/>
                </a:lnTo>
                <a:lnTo>
                  <a:pt x="0" y="1677353"/>
                </a:lnTo>
                <a:close/>
              </a:path>
            </a:pathLst>
          </a:custGeom>
          <a:solidFill>
            <a:srgbClr val="CC9F5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r"/>
            <a:endParaRPr lang="pt-BR" dirty="0"/>
          </a:p>
        </p:txBody>
      </p:sp>
      <p:sp>
        <p:nvSpPr>
          <p:cNvPr id="39" name="Forma Livre: Forma 38">
            <a:extLst>
              <a:ext uri="{FF2B5EF4-FFF2-40B4-BE49-F238E27FC236}">
                <a16:creationId xmlns:a16="http://schemas.microsoft.com/office/drawing/2014/main" id="{B72F59BB-57A0-4BEA-98B8-B4334141FF98}"/>
              </a:ext>
            </a:extLst>
          </p:cNvPr>
          <p:cNvSpPr/>
          <p:nvPr/>
        </p:nvSpPr>
        <p:spPr>
          <a:xfrm rot="10800000">
            <a:off x="6096000" y="4373170"/>
            <a:ext cx="1128031" cy="1128031"/>
          </a:xfrm>
          <a:custGeom>
            <a:avLst/>
            <a:gdLst>
              <a:gd name="connsiteX0" fmla="*/ 0 w 1677352"/>
              <a:gd name="connsiteY0" fmla="*/ 0 h 1677352"/>
              <a:gd name="connsiteX1" fmla="*/ 1677353 w 1677352"/>
              <a:gd name="connsiteY1" fmla="*/ 0 h 1677352"/>
              <a:gd name="connsiteX2" fmla="*/ 1677353 w 1677352"/>
              <a:gd name="connsiteY2" fmla="*/ 1677353 h 1677352"/>
              <a:gd name="connsiteX3" fmla="*/ 0 w 1677352"/>
              <a:gd name="connsiteY3" fmla="*/ 1677353 h 167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7352" h="1677352">
                <a:moveTo>
                  <a:pt x="0" y="0"/>
                </a:moveTo>
                <a:lnTo>
                  <a:pt x="1677353" y="0"/>
                </a:lnTo>
                <a:lnTo>
                  <a:pt x="1677353" y="1677353"/>
                </a:lnTo>
                <a:lnTo>
                  <a:pt x="0" y="1677353"/>
                </a:lnTo>
                <a:close/>
              </a:path>
            </a:pathLst>
          </a:custGeom>
          <a:solidFill>
            <a:srgbClr val="00216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r"/>
            <a:endParaRPr lang="pt-BR"/>
          </a:p>
        </p:txBody>
      </p:sp>
      <p:sp>
        <p:nvSpPr>
          <p:cNvPr id="40" name="Forma Livre: Forma 39">
            <a:extLst>
              <a:ext uri="{FF2B5EF4-FFF2-40B4-BE49-F238E27FC236}">
                <a16:creationId xmlns:a16="http://schemas.microsoft.com/office/drawing/2014/main" id="{92AB4BD7-482E-4C7A-A2B9-160F1695F4A4}"/>
              </a:ext>
            </a:extLst>
          </p:cNvPr>
          <p:cNvSpPr/>
          <p:nvPr/>
        </p:nvSpPr>
        <p:spPr>
          <a:xfrm>
            <a:off x="5990101" y="4263030"/>
            <a:ext cx="4723922" cy="1304925"/>
          </a:xfrm>
          <a:custGeom>
            <a:avLst/>
            <a:gdLst>
              <a:gd name="connsiteX0" fmla="*/ 0 w 5226367"/>
              <a:gd name="connsiteY0" fmla="*/ 0 h 2080260"/>
              <a:gd name="connsiteX1" fmla="*/ 5226368 w 5226367"/>
              <a:gd name="connsiteY1" fmla="*/ 0 h 2080260"/>
              <a:gd name="connsiteX2" fmla="*/ 5226368 w 5226367"/>
              <a:gd name="connsiteY2" fmla="*/ 2080260 h 2080260"/>
              <a:gd name="connsiteX3" fmla="*/ 0 w 5226367"/>
              <a:gd name="connsiteY3" fmla="*/ 2080260 h 2080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6367" h="2080260">
                <a:moveTo>
                  <a:pt x="0" y="0"/>
                </a:moveTo>
                <a:lnTo>
                  <a:pt x="5226368" y="0"/>
                </a:lnTo>
                <a:lnTo>
                  <a:pt x="5226368" y="2080260"/>
                </a:lnTo>
                <a:lnTo>
                  <a:pt x="0" y="2080260"/>
                </a:lnTo>
                <a:close/>
              </a:path>
            </a:pathLst>
          </a:custGeom>
          <a:noFill/>
          <a:ln w="9525" cap="flat">
            <a:solidFill>
              <a:srgbClr val="D6D6CE"/>
            </a:solidFill>
            <a:prstDash val="solid"/>
            <a:miter/>
          </a:ln>
        </p:spPr>
        <p:txBody>
          <a:bodyPr rtlCol="0" anchor="ctr"/>
          <a:lstStyle/>
          <a:p>
            <a:pPr algn="r"/>
            <a:endParaRPr lang="pt-BR"/>
          </a:p>
        </p:txBody>
      </p:sp>
      <p:sp>
        <p:nvSpPr>
          <p:cNvPr id="41" name="Forma Livre: Forma 40">
            <a:extLst>
              <a:ext uri="{FF2B5EF4-FFF2-40B4-BE49-F238E27FC236}">
                <a16:creationId xmlns:a16="http://schemas.microsoft.com/office/drawing/2014/main" id="{01B7F916-48C1-4A3C-ADBE-D115AA23BB12}"/>
              </a:ext>
            </a:extLst>
          </p:cNvPr>
          <p:cNvSpPr/>
          <p:nvPr/>
        </p:nvSpPr>
        <p:spPr>
          <a:xfrm>
            <a:off x="4088809" y="4352592"/>
            <a:ext cx="1128031" cy="1128031"/>
          </a:xfrm>
          <a:custGeom>
            <a:avLst/>
            <a:gdLst>
              <a:gd name="connsiteX0" fmla="*/ 0 w 1677352"/>
              <a:gd name="connsiteY0" fmla="*/ 0 h 1677352"/>
              <a:gd name="connsiteX1" fmla="*/ 1677353 w 1677352"/>
              <a:gd name="connsiteY1" fmla="*/ 0 h 1677352"/>
              <a:gd name="connsiteX2" fmla="*/ 1677353 w 1677352"/>
              <a:gd name="connsiteY2" fmla="*/ 1677353 h 1677352"/>
              <a:gd name="connsiteX3" fmla="*/ 0 w 1677352"/>
              <a:gd name="connsiteY3" fmla="*/ 1677353 h 167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7352" h="1677352">
                <a:moveTo>
                  <a:pt x="0" y="0"/>
                </a:moveTo>
                <a:lnTo>
                  <a:pt x="1677353" y="0"/>
                </a:lnTo>
                <a:lnTo>
                  <a:pt x="1677353" y="1677353"/>
                </a:lnTo>
                <a:lnTo>
                  <a:pt x="0" y="1677353"/>
                </a:lnTo>
                <a:close/>
              </a:path>
            </a:pathLst>
          </a:custGeom>
          <a:solidFill>
            <a:srgbClr val="5B667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r"/>
            <a:endParaRPr lang="pt-BR"/>
          </a:p>
        </p:txBody>
      </p:sp>
      <p:sp>
        <p:nvSpPr>
          <p:cNvPr id="42" name="Forma Livre: Forma 41">
            <a:extLst>
              <a:ext uri="{FF2B5EF4-FFF2-40B4-BE49-F238E27FC236}">
                <a16:creationId xmlns:a16="http://schemas.microsoft.com/office/drawing/2014/main" id="{8D512F2F-2BF2-4A60-88BB-77CE389D667E}"/>
              </a:ext>
            </a:extLst>
          </p:cNvPr>
          <p:cNvSpPr/>
          <p:nvPr/>
        </p:nvSpPr>
        <p:spPr>
          <a:xfrm rot="10800000">
            <a:off x="2960778" y="4352592"/>
            <a:ext cx="1128031" cy="1128031"/>
          </a:xfrm>
          <a:custGeom>
            <a:avLst/>
            <a:gdLst>
              <a:gd name="connsiteX0" fmla="*/ 0 w 1677352"/>
              <a:gd name="connsiteY0" fmla="*/ 0 h 1677352"/>
              <a:gd name="connsiteX1" fmla="*/ 1677353 w 1677352"/>
              <a:gd name="connsiteY1" fmla="*/ 0 h 1677352"/>
              <a:gd name="connsiteX2" fmla="*/ 1677353 w 1677352"/>
              <a:gd name="connsiteY2" fmla="*/ 1677353 h 1677352"/>
              <a:gd name="connsiteX3" fmla="*/ 0 w 1677352"/>
              <a:gd name="connsiteY3" fmla="*/ 1677353 h 167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7352" h="1677352">
                <a:moveTo>
                  <a:pt x="0" y="0"/>
                </a:moveTo>
                <a:lnTo>
                  <a:pt x="1677353" y="0"/>
                </a:lnTo>
                <a:lnTo>
                  <a:pt x="1677353" y="1677353"/>
                </a:lnTo>
                <a:lnTo>
                  <a:pt x="0" y="1677353"/>
                </a:lnTo>
                <a:close/>
              </a:path>
            </a:pathLst>
          </a:custGeom>
          <a:solidFill>
            <a:srgbClr val="00A0D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r"/>
            <a:endParaRPr lang="pt-BR"/>
          </a:p>
        </p:txBody>
      </p:sp>
      <p:sp>
        <p:nvSpPr>
          <p:cNvPr id="43" name="Forma Livre: Forma 42">
            <a:extLst>
              <a:ext uri="{FF2B5EF4-FFF2-40B4-BE49-F238E27FC236}">
                <a16:creationId xmlns:a16="http://schemas.microsoft.com/office/drawing/2014/main" id="{C8F80607-9890-4129-8E7D-5F02BAD0C092}"/>
              </a:ext>
            </a:extLst>
          </p:cNvPr>
          <p:cNvSpPr/>
          <p:nvPr/>
        </p:nvSpPr>
        <p:spPr>
          <a:xfrm rot="10800000">
            <a:off x="1832747" y="4352592"/>
            <a:ext cx="1128031" cy="1128031"/>
          </a:xfrm>
          <a:custGeom>
            <a:avLst/>
            <a:gdLst>
              <a:gd name="connsiteX0" fmla="*/ 0 w 1677352"/>
              <a:gd name="connsiteY0" fmla="*/ 0 h 1677352"/>
              <a:gd name="connsiteX1" fmla="*/ 1677353 w 1677352"/>
              <a:gd name="connsiteY1" fmla="*/ 0 h 1677352"/>
              <a:gd name="connsiteX2" fmla="*/ 1677353 w 1677352"/>
              <a:gd name="connsiteY2" fmla="*/ 1677353 h 1677352"/>
              <a:gd name="connsiteX3" fmla="*/ 0 w 1677352"/>
              <a:gd name="connsiteY3" fmla="*/ 1677353 h 167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7352" h="1677352">
                <a:moveTo>
                  <a:pt x="0" y="0"/>
                </a:moveTo>
                <a:lnTo>
                  <a:pt x="1677353" y="0"/>
                </a:lnTo>
                <a:lnTo>
                  <a:pt x="1677353" y="1677353"/>
                </a:lnTo>
                <a:lnTo>
                  <a:pt x="0" y="1677353"/>
                </a:lnTo>
                <a:close/>
              </a:path>
            </a:pathLst>
          </a:custGeom>
          <a:solidFill>
            <a:srgbClr val="005CB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r"/>
            <a:endParaRPr lang="pt-BR"/>
          </a:p>
        </p:txBody>
      </p:sp>
      <p:sp>
        <p:nvSpPr>
          <p:cNvPr id="44" name="Forma Livre: Forma 43">
            <a:extLst>
              <a:ext uri="{FF2B5EF4-FFF2-40B4-BE49-F238E27FC236}">
                <a16:creationId xmlns:a16="http://schemas.microsoft.com/office/drawing/2014/main" id="{83C4AAEA-F568-4EF3-BBA1-4326F4FA25AA}"/>
              </a:ext>
            </a:extLst>
          </p:cNvPr>
          <p:cNvSpPr/>
          <p:nvPr/>
        </p:nvSpPr>
        <p:spPr>
          <a:xfrm rot="10800000">
            <a:off x="704715" y="4352592"/>
            <a:ext cx="1128031" cy="1128031"/>
          </a:xfrm>
          <a:custGeom>
            <a:avLst/>
            <a:gdLst>
              <a:gd name="connsiteX0" fmla="*/ 0 w 1677352"/>
              <a:gd name="connsiteY0" fmla="*/ 0 h 1677352"/>
              <a:gd name="connsiteX1" fmla="*/ 1677353 w 1677352"/>
              <a:gd name="connsiteY1" fmla="*/ 0 h 1677352"/>
              <a:gd name="connsiteX2" fmla="*/ 1677353 w 1677352"/>
              <a:gd name="connsiteY2" fmla="*/ 1677353 h 1677352"/>
              <a:gd name="connsiteX3" fmla="*/ 0 w 1677352"/>
              <a:gd name="connsiteY3" fmla="*/ 1677353 h 167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7352" h="1677352">
                <a:moveTo>
                  <a:pt x="0" y="0"/>
                </a:moveTo>
                <a:lnTo>
                  <a:pt x="1677353" y="0"/>
                </a:lnTo>
                <a:lnTo>
                  <a:pt x="1677353" y="1677353"/>
                </a:lnTo>
                <a:lnTo>
                  <a:pt x="0" y="1677353"/>
                </a:lnTo>
                <a:close/>
              </a:path>
            </a:pathLst>
          </a:custGeom>
          <a:solidFill>
            <a:srgbClr val="002A3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88725552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03428F05-634E-47B5-98A8-10D361E07C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www.ahi.com.br</a:t>
            </a:r>
          </a:p>
        </p:txBody>
      </p:sp>
    </p:spTree>
    <p:extLst>
      <p:ext uri="{BB962C8B-B14F-4D97-AF65-F5344CB8AC3E}">
        <p14:creationId xmlns:p14="http://schemas.microsoft.com/office/powerpoint/2010/main" val="39946531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Texto 10">
            <a:extLst>
              <a:ext uri="{FF2B5EF4-FFF2-40B4-BE49-F238E27FC236}">
                <a16:creationId xmlns:a16="http://schemas.microsoft.com/office/drawing/2014/main" id="{FF8D0903-69D7-420F-A4AE-FEFCF9BE3A9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Inserir aqui o </a:t>
            </a:r>
            <a:br>
              <a:rPr lang="pt-BR" dirty="0"/>
            </a:br>
            <a:r>
              <a:rPr lang="pt-BR" dirty="0"/>
              <a:t>título de duas linhas do slide</a:t>
            </a:r>
          </a:p>
        </p:txBody>
      </p:sp>
      <p:sp>
        <p:nvSpPr>
          <p:cNvPr id="12" name="Espaço Reservado para Texto 11">
            <a:extLst>
              <a:ext uri="{FF2B5EF4-FFF2-40B4-BE49-F238E27FC236}">
                <a16:creationId xmlns:a16="http://schemas.microsoft.com/office/drawing/2014/main" id="{7D79604C-E4EB-4D29-BD2C-9160B3A59F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BR" dirty="0" err="1"/>
              <a:t>Sed</a:t>
            </a:r>
            <a:r>
              <a:rPr lang="pt-BR" dirty="0"/>
              <a:t> ut </a:t>
            </a:r>
            <a:r>
              <a:rPr lang="pt-BR" dirty="0" err="1"/>
              <a:t>perspiciatis</a:t>
            </a:r>
            <a:r>
              <a:rPr lang="pt-BR" dirty="0"/>
              <a:t> </a:t>
            </a:r>
            <a:r>
              <a:rPr lang="pt-BR" dirty="0" err="1"/>
              <a:t>unde</a:t>
            </a:r>
            <a:r>
              <a:rPr lang="pt-BR" dirty="0"/>
              <a:t> omnis </a:t>
            </a:r>
            <a:r>
              <a:rPr lang="pt-BR" dirty="0" err="1"/>
              <a:t>iste</a:t>
            </a:r>
            <a:r>
              <a:rPr lang="pt-BR" dirty="0"/>
              <a:t> </a:t>
            </a:r>
            <a:r>
              <a:rPr lang="pt-BR" dirty="0" err="1"/>
              <a:t>natus</a:t>
            </a:r>
            <a:r>
              <a:rPr lang="pt-BR" dirty="0"/>
              <a:t> </a:t>
            </a:r>
            <a:r>
              <a:rPr lang="pt-BR" dirty="0" err="1"/>
              <a:t>err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accusantium</a:t>
            </a:r>
            <a:r>
              <a:rPr lang="pt-BR" dirty="0"/>
              <a:t> </a:t>
            </a:r>
            <a:r>
              <a:rPr lang="pt-BR" dirty="0" err="1"/>
              <a:t>doloremque</a:t>
            </a:r>
            <a:r>
              <a:rPr lang="pt-BR" dirty="0"/>
              <a:t> </a:t>
            </a:r>
            <a:r>
              <a:rPr lang="pt-BR" dirty="0" err="1"/>
              <a:t>laudantium</a:t>
            </a:r>
            <a:r>
              <a:rPr lang="pt-BR" dirty="0"/>
              <a:t>, </a:t>
            </a:r>
            <a:r>
              <a:rPr lang="pt-BR" dirty="0" err="1"/>
              <a:t>totam</a:t>
            </a:r>
            <a:r>
              <a:rPr lang="pt-BR" dirty="0"/>
              <a:t> rem </a:t>
            </a:r>
            <a:r>
              <a:rPr lang="pt-BR" dirty="0" err="1"/>
              <a:t>aperiam</a:t>
            </a:r>
            <a:r>
              <a:rPr lang="pt-BR" dirty="0"/>
              <a:t>, </a:t>
            </a:r>
            <a:r>
              <a:rPr lang="pt-BR" dirty="0" err="1"/>
              <a:t>eaque</a:t>
            </a:r>
            <a:r>
              <a:rPr lang="pt-BR" dirty="0"/>
              <a:t> </a:t>
            </a:r>
            <a:r>
              <a:rPr lang="pt-BR" dirty="0" err="1"/>
              <a:t>ipsa</a:t>
            </a:r>
            <a:r>
              <a:rPr lang="pt-BR" dirty="0"/>
              <a:t> </a:t>
            </a:r>
            <a:r>
              <a:rPr lang="pt-BR" dirty="0" err="1"/>
              <a:t>quae</a:t>
            </a:r>
            <a:r>
              <a:rPr lang="pt-BR" dirty="0"/>
              <a:t> </a:t>
            </a:r>
            <a:r>
              <a:rPr lang="pt-BR" dirty="0" err="1"/>
              <a:t>ab</a:t>
            </a:r>
            <a:r>
              <a:rPr lang="pt-BR" dirty="0"/>
              <a:t> </a:t>
            </a:r>
            <a:r>
              <a:rPr lang="pt-BR" dirty="0" err="1"/>
              <a:t>illo</a:t>
            </a:r>
            <a:r>
              <a:rPr lang="pt-BR" dirty="0"/>
              <a:t> </a:t>
            </a:r>
            <a:r>
              <a:rPr lang="pt-BR" dirty="0" err="1"/>
              <a:t>inventore</a:t>
            </a:r>
            <a:r>
              <a:rPr lang="pt-BR" dirty="0"/>
              <a:t> </a:t>
            </a:r>
            <a:r>
              <a:rPr lang="pt-BR" dirty="0" err="1"/>
              <a:t>veritatis</a:t>
            </a:r>
            <a:r>
              <a:rPr lang="pt-BR" dirty="0"/>
              <a:t> et </a:t>
            </a:r>
            <a:r>
              <a:rPr lang="pt-BR" dirty="0" err="1"/>
              <a:t>quasi</a:t>
            </a:r>
            <a:r>
              <a:rPr lang="pt-BR" dirty="0"/>
              <a:t> </a:t>
            </a:r>
            <a:r>
              <a:rPr lang="pt-BR" dirty="0" err="1"/>
              <a:t>architecto</a:t>
            </a:r>
            <a:r>
              <a:rPr lang="pt-BR" dirty="0"/>
              <a:t> </a:t>
            </a:r>
            <a:r>
              <a:rPr lang="pt-BR" dirty="0" err="1"/>
              <a:t>beatae</a:t>
            </a:r>
            <a:r>
              <a:rPr lang="pt-BR" dirty="0"/>
              <a:t> vitae </a:t>
            </a:r>
            <a:r>
              <a:rPr lang="pt-BR" dirty="0" err="1"/>
              <a:t>dicta</a:t>
            </a:r>
            <a:r>
              <a:rPr lang="pt-BR" dirty="0"/>
              <a:t> sunt </a:t>
            </a:r>
            <a:r>
              <a:rPr lang="pt-BR" dirty="0" err="1"/>
              <a:t>explicabo</a:t>
            </a:r>
            <a:r>
              <a:rPr lang="pt-BR" dirty="0"/>
              <a:t>. Nemo </a:t>
            </a:r>
            <a:r>
              <a:rPr lang="pt-BR" dirty="0" err="1"/>
              <a:t>enim</a:t>
            </a:r>
            <a:r>
              <a:rPr lang="pt-BR" dirty="0"/>
              <a:t> </a:t>
            </a:r>
            <a:r>
              <a:rPr lang="pt-BR" dirty="0" err="1"/>
              <a:t>ipsam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quia</a:t>
            </a:r>
            <a:r>
              <a:rPr lang="pt-BR" dirty="0"/>
              <a:t> </a:t>
            </a:r>
            <a:r>
              <a:rPr lang="pt-BR" dirty="0" err="1"/>
              <a:t>voluptas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spernatur</a:t>
            </a:r>
            <a:r>
              <a:rPr lang="pt-BR" dirty="0"/>
              <a:t> </a:t>
            </a:r>
            <a:r>
              <a:rPr lang="pt-BR" dirty="0" err="1"/>
              <a:t>aut</a:t>
            </a:r>
            <a:r>
              <a:rPr lang="pt-BR" dirty="0"/>
              <a:t> </a:t>
            </a:r>
            <a:r>
              <a:rPr lang="pt-BR" dirty="0" err="1"/>
              <a:t>odit</a:t>
            </a:r>
            <a:r>
              <a:rPr lang="pt-BR" dirty="0"/>
              <a:t> </a:t>
            </a:r>
            <a:r>
              <a:rPr lang="pt-BR" dirty="0" err="1"/>
              <a:t>aut</a:t>
            </a:r>
            <a:r>
              <a:rPr lang="pt-BR" dirty="0"/>
              <a:t> </a:t>
            </a:r>
            <a:r>
              <a:rPr lang="pt-BR" dirty="0" err="1"/>
              <a:t>fug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</a:t>
            </a:r>
            <a:r>
              <a:rPr lang="pt-BR" dirty="0" err="1"/>
              <a:t>quia</a:t>
            </a:r>
            <a:r>
              <a:rPr lang="pt-BR" dirty="0"/>
              <a:t> </a:t>
            </a:r>
            <a:r>
              <a:rPr lang="pt-BR" dirty="0" err="1"/>
              <a:t>consequuntur</a:t>
            </a:r>
            <a:r>
              <a:rPr lang="pt-BR" dirty="0"/>
              <a:t> </a:t>
            </a:r>
            <a:r>
              <a:rPr lang="pt-BR" dirty="0" err="1"/>
              <a:t>magni</a:t>
            </a:r>
            <a:r>
              <a:rPr lang="pt-BR" dirty="0"/>
              <a:t> </a:t>
            </a:r>
            <a:r>
              <a:rPr lang="pt-BR" dirty="0" err="1"/>
              <a:t>dolores</a:t>
            </a:r>
            <a:r>
              <a:rPr lang="pt-BR" dirty="0"/>
              <a:t> </a:t>
            </a:r>
            <a:r>
              <a:rPr lang="pt-BR" dirty="0" err="1"/>
              <a:t>eos</a:t>
            </a:r>
            <a:r>
              <a:rPr lang="pt-BR" dirty="0"/>
              <a:t> </a:t>
            </a:r>
            <a:r>
              <a:rPr lang="pt-BR" dirty="0" err="1"/>
              <a:t>qui</a:t>
            </a:r>
            <a:r>
              <a:rPr lang="pt-BR" dirty="0"/>
              <a:t> ratione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sequi</a:t>
            </a:r>
            <a:r>
              <a:rPr lang="pt-BR" dirty="0"/>
              <a:t> </a:t>
            </a:r>
            <a:r>
              <a:rPr lang="pt-BR" dirty="0" err="1"/>
              <a:t>nesciunt</a:t>
            </a:r>
            <a:r>
              <a:rPr lang="pt-BR" dirty="0"/>
              <a:t>. </a:t>
            </a:r>
          </a:p>
          <a:p>
            <a:pPr lvl="1"/>
            <a:r>
              <a:rPr lang="pt-BR" dirty="0"/>
              <a:t>Item 01</a:t>
            </a:r>
          </a:p>
          <a:p>
            <a:pPr lvl="1"/>
            <a:r>
              <a:rPr lang="pt-BR" dirty="0"/>
              <a:t>Item 02</a:t>
            </a:r>
          </a:p>
          <a:p>
            <a:pPr lvl="1"/>
            <a:r>
              <a:rPr lang="pt-BR" dirty="0"/>
              <a:t>Item 03</a:t>
            </a:r>
          </a:p>
          <a:p>
            <a:pPr lvl="1"/>
            <a:r>
              <a:rPr lang="pt-BR" dirty="0"/>
              <a:t>Item 04</a:t>
            </a:r>
          </a:p>
          <a:p>
            <a:endParaRPr lang="pt-BR" dirty="0"/>
          </a:p>
          <a:p>
            <a:r>
              <a:rPr lang="pt-BR" dirty="0" err="1"/>
              <a:t>Sed</a:t>
            </a:r>
            <a:r>
              <a:rPr lang="pt-BR" dirty="0"/>
              <a:t> ut </a:t>
            </a:r>
            <a:r>
              <a:rPr lang="pt-BR" dirty="0" err="1"/>
              <a:t>perspiciatis</a:t>
            </a:r>
            <a:r>
              <a:rPr lang="pt-BR" dirty="0"/>
              <a:t> </a:t>
            </a:r>
            <a:r>
              <a:rPr lang="pt-BR" dirty="0" err="1"/>
              <a:t>unde</a:t>
            </a:r>
            <a:r>
              <a:rPr lang="pt-BR" dirty="0"/>
              <a:t> omnis </a:t>
            </a:r>
            <a:r>
              <a:rPr lang="pt-BR" dirty="0" err="1"/>
              <a:t>iste</a:t>
            </a:r>
            <a:r>
              <a:rPr lang="pt-BR" dirty="0"/>
              <a:t> </a:t>
            </a:r>
            <a:r>
              <a:rPr lang="pt-BR" dirty="0" err="1"/>
              <a:t>natus</a:t>
            </a:r>
            <a:r>
              <a:rPr lang="pt-BR" dirty="0"/>
              <a:t> </a:t>
            </a:r>
            <a:r>
              <a:rPr lang="pt-BR" dirty="0" err="1"/>
              <a:t>err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accusantium</a:t>
            </a:r>
            <a:r>
              <a:rPr lang="pt-BR" dirty="0"/>
              <a:t> </a:t>
            </a:r>
            <a:r>
              <a:rPr lang="pt-BR" dirty="0" err="1"/>
              <a:t>doloremque</a:t>
            </a:r>
            <a:r>
              <a:rPr lang="pt-BR" dirty="0"/>
              <a:t> </a:t>
            </a:r>
            <a:r>
              <a:rPr lang="pt-BR" dirty="0" err="1"/>
              <a:t>laudantium</a:t>
            </a:r>
            <a:r>
              <a:rPr lang="pt-BR" dirty="0"/>
              <a:t>, </a:t>
            </a:r>
            <a:r>
              <a:rPr lang="pt-BR" dirty="0" err="1"/>
              <a:t>totam</a:t>
            </a:r>
            <a:r>
              <a:rPr lang="pt-BR" dirty="0"/>
              <a:t> rem </a:t>
            </a:r>
            <a:r>
              <a:rPr lang="pt-BR" dirty="0" err="1"/>
              <a:t>aperiam</a:t>
            </a:r>
            <a:r>
              <a:rPr lang="pt-BR" dirty="0"/>
              <a:t>, </a:t>
            </a:r>
            <a:r>
              <a:rPr lang="pt-BR" dirty="0" err="1"/>
              <a:t>eaque</a:t>
            </a:r>
            <a:r>
              <a:rPr lang="pt-BR" dirty="0"/>
              <a:t> </a:t>
            </a:r>
            <a:r>
              <a:rPr lang="pt-BR" dirty="0" err="1"/>
              <a:t>ipsa</a:t>
            </a:r>
            <a:r>
              <a:rPr lang="pt-BR" dirty="0"/>
              <a:t> </a:t>
            </a:r>
            <a:r>
              <a:rPr lang="pt-BR" dirty="0" err="1"/>
              <a:t>quae</a:t>
            </a:r>
            <a:r>
              <a:rPr lang="pt-BR" dirty="0"/>
              <a:t> </a:t>
            </a:r>
            <a:r>
              <a:rPr lang="pt-BR" dirty="0" err="1"/>
              <a:t>ab</a:t>
            </a:r>
            <a:r>
              <a:rPr lang="pt-BR" dirty="0"/>
              <a:t> </a:t>
            </a:r>
            <a:r>
              <a:rPr lang="pt-BR" dirty="0" err="1"/>
              <a:t>illo</a:t>
            </a:r>
            <a:r>
              <a:rPr lang="pt-BR" dirty="0"/>
              <a:t> </a:t>
            </a:r>
            <a:r>
              <a:rPr lang="pt-BR" dirty="0" err="1"/>
              <a:t>inventore</a:t>
            </a:r>
            <a:r>
              <a:rPr lang="pt-BR" dirty="0"/>
              <a:t> </a:t>
            </a:r>
            <a:r>
              <a:rPr lang="pt-BR" dirty="0" err="1"/>
              <a:t>veritatis</a:t>
            </a:r>
            <a:r>
              <a:rPr lang="pt-BR" dirty="0"/>
              <a:t> et </a:t>
            </a:r>
            <a:r>
              <a:rPr lang="pt-BR" dirty="0" err="1"/>
              <a:t>quasi</a:t>
            </a:r>
            <a:r>
              <a:rPr lang="pt-BR" dirty="0"/>
              <a:t> </a:t>
            </a:r>
            <a:r>
              <a:rPr lang="pt-BR" dirty="0" err="1"/>
              <a:t>architecto</a:t>
            </a:r>
            <a:r>
              <a:rPr lang="pt-BR" dirty="0"/>
              <a:t> </a:t>
            </a:r>
            <a:r>
              <a:rPr lang="pt-BR" dirty="0" err="1"/>
              <a:t>beatae</a:t>
            </a:r>
            <a:r>
              <a:rPr lang="pt-BR" dirty="0"/>
              <a:t> vitae </a:t>
            </a:r>
            <a:r>
              <a:rPr lang="pt-BR" dirty="0" err="1"/>
              <a:t>dicta</a:t>
            </a:r>
            <a:r>
              <a:rPr lang="pt-BR" dirty="0"/>
              <a:t> sunt </a:t>
            </a:r>
            <a:r>
              <a:rPr lang="pt-BR" dirty="0" err="1"/>
              <a:t>explicabo</a:t>
            </a:r>
            <a:endParaRPr lang="pt-BR" dirty="0"/>
          </a:p>
          <a:p>
            <a:r>
              <a:rPr lang="pt-BR" dirty="0" err="1"/>
              <a:t>Sed</a:t>
            </a:r>
            <a:r>
              <a:rPr lang="pt-BR" dirty="0"/>
              <a:t> ut </a:t>
            </a:r>
            <a:r>
              <a:rPr lang="pt-BR" dirty="0" err="1"/>
              <a:t>perspiciatis</a:t>
            </a:r>
            <a:r>
              <a:rPr lang="pt-BR" dirty="0"/>
              <a:t> </a:t>
            </a:r>
            <a:r>
              <a:rPr lang="pt-BR" dirty="0" err="1"/>
              <a:t>unde</a:t>
            </a:r>
            <a:r>
              <a:rPr lang="pt-BR" dirty="0"/>
              <a:t> omnis </a:t>
            </a:r>
            <a:r>
              <a:rPr lang="pt-BR" dirty="0" err="1"/>
              <a:t>iste</a:t>
            </a:r>
            <a:r>
              <a:rPr lang="pt-BR" dirty="0"/>
              <a:t> </a:t>
            </a:r>
            <a:r>
              <a:rPr lang="pt-BR" dirty="0" err="1"/>
              <a:t>natus</a:t>
            </a:r>
            <a:r>
              <a:rPr lang="pt-BR" dirty="0"/>
              <a:t> </a:t>
            </a:r>
            <a:r>
              <a:rPr lang="pt-BR" dirty="0" err="1"/>
              <a:t>err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accusantium</a:t>
            </a:r>
            <a:r>
              <a:rPr lang="pt-BR" dirty="0"/>
              <a:t> </a:t>
            </a:r>
            <a:r>
              <a:rPr lang="pt-BR" dirty="0" err="1"/>
              <a:t>doloremque</a:t>
            </a:r>
            <a:r>
              <a:rPr lang="pt-BR" dirty="0"/>
              <a:t> </a:t>
            </a:r>
            <a:r>
              <a:rPr lang="pt-BR" dirty="0" err="1"/>
              <a:t>laudantium</a:t>
            </a:r>
            <a:r>
              <a:rPr lang="pt-BR" dirty="0"/>
              <a:t>, </a:t>
            </a:r>
            <a:r>
              <a:rPr lang="pt-BR" dirty="0" err="1"/>
              <a:t>totam</a:t>
            </a:r>
            <a:r>
              <a:rPr lang="pt-BR" dirty="0"/>
              <a:t> rem </a:t>
            </a:r>
            <a:r>
              <a:rPr lang="pt-BR" dirty="0" err="1"/>
              <a:t>aperiam</a:t>
            </a:r>
            <a:r>
              <a:rPr lang="pt-BR" dirty="0"/>
              <a:t>, </a:t>
            </a:r>
            <a:r>
              <a:rPr lang="pt-BR" dirty="0" err="1"/>
              <a:t>eaque</a:t>
            </a:r>
            <a:r>
              <a:rPr lang="pt-BR" dirty="0"/>
              <a:t> </a:t>
            </a:r>
            <a:r>
              <a:rPr lang="pt-BR" dirty="0" err="1"/>
              <a:t>ipsa</a:t>
            </a:r>
            <a:r>
              <a:rPr lang="pt-BR" dirty="0"/>
              <a:t> </a:t>
            </a:r>
            <a:r>
              <a:rPr lang="pt-BR" dirty="0" err="1"/>
              <a:t>quae</a:t>
            </a:r>
            <a:r>
              <a:rPr lang="pt-BR" dirty="0"/>
              <a:t> </a:t>
            </a:r>
            <a:r>
              <a:rPr lang="pt-BR" dirty="0" err="1"/>
              <a:t>ab</a:t>
            </a:r>
            <a:r>
              <a:rPr lang="pt-BR" dirty="0"/>
              <a:t> </a:t>
            </a:r>
            <a:r>
              <a:rPr lang="pt-BR" dirty="0" err="1"/>
              <a:t>illo</a:t>
            </a:r>
            <a:r>
              <a:rPr lang="pt-BR" dirty="0"/>
              <a:t> </a:t>
            </a:r>
            <a:r>
              <a:rPr lang="pt-BR" dirty="0" err="1"/>
              <a:t>inventore</a:t>
            </a:r>
            <a:r>
              <a:rPr lang="pt-BR" dirty="0"/>
              <a:t> </a:t>
            </a:r>
            <a:r>
              <a:rPr lang="pt-BR" dirty="0" err="1"/>
              <a:t>veritatis</a:t>
            </a:r>
            <a:r>
              <a:rPr lang="pt-BR" dirty="0"/>
              <a:t> et </a:t>
            </a:r>
            <a:r>
              <a:rPr lang="pt-BR" dirty="0" err="1"/>
              <a:t>quasi</a:t>
            </a:r>
            <a:r>
              <a:rPr lang="pt-BR" dirty="0"/>
              <a:t> </a:t>
            </a:r>
            <a:r>
              <a:rPr lang="pt-BR" dirty="0" err="1"/>
              <a:t>architecto</a:t>
            </a:r>
            <a:r>
              <a:rPr lang="pt-BR" dirty="0"/>
              <a:t> </a:t>
            </a:r>
            <a:r>
              <a:rPr lang="pt-BR" dirty="0" err="1"/>
              <a:t>beatae</a:t>
            </a:r>
            <a:r>
              <a:rPr lang="pt-BR" dirty="0"/>
              <a:t> vitae </a:t>
            </a:r>
            <a:r>
              <a:rPr lang="pt-BR" dirty="0" err="1"/>
              <a:t>dicta</a:t>
            </a:r>
            <a:r>
              <a:rPr lang="pt-BR" dirty="0"/>
              <a:t> sunt </a:t>
            </a:r>
            <a:r>
              <a:rPr lang="pt-BR" dirty="0" err="1"/>
              <a:t>explicabo</a:t>
            </a:r>
            <a:endParaRPr lang="pt-BR" dirty="0"/>
          </a:p>
          <a:p>
            <a:endParaRPr lang="pt-BR" dirty="0"/>
          </a:p>
        </p:txBody>
      </p:sp>
      <p:pic>
        <p:nvPicPr>
          <p:cNvPr id="3" name="Espaço Reservado para Imagem 2" descr="Quarto com cama e mesa de centro&#10;&#10;Descrição gerada automaticamente">
            <a:extLst>
              <a:ext uri="{FF2B5EF4-FFF2-40B4-BE49-F238E27FC236}">
                <a16:creationId xmlns:a16="http://schemas.microsoft.com/office/drawing/2014/main" id="{1594B045-B054-45F0-9A66-4CAF146DCA53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84263949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Texto 10">
            <a:extLst>
              <a:ext uri="{FF2B5EF4-FFF2-40B4-BE49-F238E27FC236}">
                <a16:creationId xmlns:a16="http://schemas.microsoft.com/office/drawing/2014/main" id="{FF8D0903-69D7-420F-A4AE-FEFCF9BE3A9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Inserir aqui o </a:t>
            </a:r>
            <a:br>
              <a:rPr lang="pt-BR" dirty="0"/>
            </a:br>
            <a:r>
              <a:rPr lang="pt-BR" dirty="0"/>
              <a:t>título de duas linhas do slide</a:t>
            </a:r>
          </a:p>
        </p:txBody>
      </p:sp>
      <p:sp>
        <p:nvSpPr>
          <p:cNvPr id="12" name="Espaço Reservado para Texto 11">
            <a:extLst>
              <a:ext uri="{FF2B5EF4-FFF2-40B4-BE49-F238E27FC236}">
                <a16:creationId xmlns:a16="http://schemas.microsoft.com/office/drawing/2014/main" id="{7D79604C-E4EB-4D29-BD2C-9160B3A59F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BR" dirty="0" err="1"/>
              <a:t>Sed</a:t>
            </a:r>
            <a:r>
              <a:rPr lang="pt-BR" dirty="0"/>
              <a:t> ut </a:t>
            </a:r>
            <a:r>
              <a:rPr lang="pt-BR" dirty="0" err="1"/>
              <a:t>perspiciatis</a:t>
            </a:r>
            <a:r>
              <a:rPr lang="pt-BR" dirty="0"/>
              <a:t> </a:t>
            </a:r>
            <a:r>
              <a:rPr lang="pt-BR" dirty="0" err="1"/>
              <a:t>unde</a:t>
            </a:r>
            <a:r>
              <a:rPr lang="pt-BR" dirty="0"/>
              <a:t> omnis </a:t>
            </a:r>
            <a:r>
              <a:rPr lang="pt-BR" dirty="0" err="1"/>
              <a:t>iste</a:t>
            </a:r>
            <a:r>
              <a:rPr lang="pt-BR" dirty="0"/>
              <a:t> </a:t>
            </a:r>
            <a:r>
              <a:rPr lang="pt-BR" dirty="0" err="1"/>
              <a:t>natus</a:t>
            </a:r>
            <a:r>
              <a:rPr lang="pt-BR" dirty="0"/>
              <a:t> </a:t>
            </a:r>
            <a:r>
              <a:rPr lang="pt-BR" dirty="0" err="1"/>
              <a:t>err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accusantium</a:t>
            </a:r>
            <a:r>
              <a:rPr lang="pt-BR" dirty="0"/>
              <a:t> </a:t>
            </a:r>
            <a:r>
              <a:rPr lang="pt-BR" dirty="0" err="1"/>
              <a:t>doloremque</a:t>
            </a:r>
            <a:r>
              <a:rPr lang="pt-BR" dirty="0"/>
              <a:t> </a:t>
            </a:r>
            <a:r>
              <a:rPr lang="pt-BR" dirty="0" err="1"/>
              <a:t>laudantium</a:t>
            </a:r>
            <a:r>
              <a:rPr lang="pt-BR" dirty="0"/>
              <a:t>, </a:t>
            </a:r>
            <a:r>
              <a:rPr lang="pt-BR" dirty="0" err="1"/>
              <a:t>totam</a:t>
            </a:r>
            <a:r>
              <a:rPr lang="pt-BR" dirty="0"/>
              <a:t> rem </a:t>
            </a:r>
            <a:r>
              <a:rPr lang="pt-BR" dirty="0" err="1"/>
              <a:t>aperiam</a:t>
            </a:r>
            <a:r>
              <a:rPr lang="pt-BR" dirty="0"/>
              <a:t>, </a:t>
            </a:r>
            <a:r>
              <a:rPr lang="pt-BR" dirty="0" err="1"/>
              <a:t>eaque</a:t>
            </a:r>
            <a:r>
              <a:rPr lang="pt-BR" dirty="0"/>
              <a:t> </a:t>
            </a:r>
            <a:r>
              <a:rPr lang="pt-BR" dirty="0" err="1"/>
              <a:t>ipsa</a:t>
            </a:r>
            <a:r>
              <a:rPr lang="pt-BR" dirty="0"/>
              <a:t> </a:t>
            </a:r>
            <a:r>
              <a:rPr lang="pt-BR" dirty="0" err="1"/>
              <a:t>quae</a:t>
            </a:r>
            <a:r>
              <a:rPr lang="pt-BR" dirty="0"/>
              <a:t> </a:t>
            </a:r>
            <a:r>
              <a:rPr lang="pt-BR" dirty="0" err="1"/>
              <a:t>ab</a:t>
            </a:r>
            <a:r>
              <a:rPr lang="pt-BR" dirty="0"/>
              <a:t> </a:t>
            </a:r>
            <a:r>
              <a:rPr lang="pt-BR" dirty="0" err="1"/>
              <a:t>illo</a:t>
            </a:r>
            <a:r>
              <a:rPr lang="pt-BR" dirty="0"/>
              <a:t> </a:t>
            </a:r>
            <a:r>
              <a:rPr lang="pt-BR" dirty="0" err="1"/>
              <a:t>inventore</a:t>
            </a:r>
            <a:r>
              <a:rPr lang="pt-BR" dirty="0"/>
              <a:t> </a:t>
            </a:r>
            <a:r>
              <a:rPr lang="pt-BR" dirty="0" err="1"/>
              <a:t>veritatis</a:t>
            </a:r>
            <a:r>
              <a:rPr lang="pt-BR" dirty="0"/>
              <a:t> et </a:t>
            </a:r>
            <a:r>
              <a:rPr lang="pt-BR" dirty="0" err="1"/>
              <a:t>quasi</a:t>
            </a:r>
            <a:r>
              <a:rPr lang="pt-BR" dirty="0"/>
              <a:t> </a:t>
            </a:r>
            <a:r>
              <a:rPr lang="pt-BR" dirty="0" err="1"/>
              <a:t>architecto</a:t>
            </a:r>
            <a:r>
              <a:rPr lang="pt-BR" dirty="0"/>
              <a:t> </a:t>
            </a:r>
            <a:r>
              <a:rPr lang="pt-BR" dirty="0" err="1"/>
              <a:t>beatae</a:t>
            </a:r>
            <a:r>
              <a:rPr lang="pt-BR" dirty="0"/>
              <a:t> vitae </a:t>
            </a:r>
            <a:r>
              <a:rPr lang="pt-BR" dirty="0" err="1"/>
              <a:t>dicta</a:t>
            </a:r>
            <a:r>
              <a:rPr lang="pt-BR" dirty="0"/>
              <a:t> sunt </a:t>
            </a:r>
            <a:r>
              <a:rPr lang="pt-BR" dirty="0" err="1"/>
              <a:t>explicabo</a:t>
            </a:r>
            <a:r>
              <a:rPr lang="pt-BR" dirty="0"/>
              <a:t>. Nemo </a:t>
            </a:r>
            <a:r>
              <a:rPr lang="pt-BR" dirty="0" err="1"/>
              <a:t>enim</a:t>
            </a:r>
            <a:r>
              <a:rPr lang="pt-BR" dirty="0"/>
              <a:t> </a:t>
            </a:r>
            <a:r>
              <a:rPr lang="pt-BR" dirty="0" err="1"/>
              <a:t>ipsam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quia</a:t>
            </a:r>
            <a:r>
              <a:rPr lang="pt-BR" dirty="0"/>
              <a:t> </a:t>
            </a:r>
            <a:r>
              <a:rPr lang="pt-BR" dirty="0" err="1"/>
              <a:t>voluptas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spernatur</a:t>
            </a:r>
            <a:r>
              <a:rPr lang="pt-BR" dirty="0"/>
              <a:t> </a:t>
            </a:r>
            <a:r>
              <a:rPr lang="pt-BR" dirty="0" err="1"/>
              <a:t>aut</a:t>
            </a:r>
            <a:r>
              <a:rPr lang="pt-BR" dirty="0"/>
              <a:t> </a:t>
            </a:r>
            <a:r>
              <a:rPr lang="pt-BR" dirty="0" err="1"/>
              <a:t>odit</a:t>
            </a:r>
            <a:r>
              <a:rPr lang="pt-BR" dirty="0"/>
              <a:t> </a:t>
            </a:r>
            <a:r>
              <a:rPr lang="pt-BR" dirty="0" err="1"/>
              <a:t>aut</a:t>
            </a:r>
            <a:r>
              <a:rPr lang="pt-BR" dirty="0"/>
              <a:t> </a:t>
            </a:r>
            <a:r>
              <a:rPr lang="pt-BR" dirty="0" err="1"/>
              <a:t>fug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</a:t>
            </a:r>
            <a:r>
              <a:rPr lang="pt-BR" dirty="0" err="1"/>
              <a:t>quia</a:t>
            </a:r>
            <a:r>
              <a:rPr lang="pt-BR" dirty="0"/>
              <a:t> </a:t>
            </a:r>
            <a:r>
              <a:rPr lang="pt-BR" dirty="0" err="1"/>
              <a:t>consequuntur</a:t>
            </a:r>
            <a:r>
              <a:rPr lang="pt-BR" dirty="0"/>
              <a:t> </a:t>
            </a:r>
            <a:r>
              <a:rPr lang="pt-BR" dirty="0" err="1"/>
              <a:t>magni</a:t>
            </a:r>
            <a:r>
              <a:rPr lang="pt-BR" dirty="0"/>
              <a:t> </a:t>
            </a:r>
            <a:r>
              <a:rPr lang="pt-BR" dirty="0" err="1"/>
              <a:t>dolores</a:t>
            </a:r>
            <a:r>
              <a:rPr lang="pt-BR" dirty="0"/>
              <a:t> </a:t>
            </a:r>
            <a:r>
              <a:rPr lang="pt-BR" dirty="0" err="1"/>
              <a:t>eos</a:t>
            </a:r>
            <a:r>
              <a:rPr lang="pt-BR" dirty="0"/>
              <a:t> </a:t>
            </a:r>
            <a:r>
              <a:rPr lang="pt-BR" dirty="0" err="1"/>
              <a:t>qui</a:t>
            </a:r>
            <a:r>
              <a:rPr lang="pt-BR" dirty="0"/>
              <a:t> ratione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sequi</a:t>
            </a:r>
            <a:r>
              <a:rPr lang="pt-BR" dirty="0"/>
              <a:t> </a:t>
            </a:r>
            <a:r>
              <a:rPr lang="pt-BR" dirty="0" err="1"/>
              <a:t>nesciunt</a:t>
            </a:r>
            <a:r>
              <a:rPr lang="pt-BR" dirty="0"/>
              <a:t>. </a:t>
            </a:r>
          </a:p>
          <a:p>
            <a:pPr lvl="1"/>
            <a:r>
              <a:rPr lang="pt-BR" dirty="0"/>
              <a:t>Item 01</a:t>
            </a:r>
          </a:p>
          <a:p>
            <a:pPr lvl="1"/>
            <a:r>
              <a:rPr lang="pt-BR" dirty="0"/>
              <a:t>Item 02</a:t>
            </a:r>
          </a:p>
          <a:p>
            <a:pPr lvl="1"/>
            <a:r>
              <a:rPr lang="pt-BR" dirty="0"/>
              <a:t>Item 03</a:t>
            </a:r>
          </a:p>
          <a:p>
            <a:pPr lvl="1"/>
            <a:r>
              <a:rPr lang="pt-BR" dirty="0"/>
              <a:t>Item 04</a:t>
            </a:r>
          </a:p>
          <a:p>
            <a:endParaRPr lang="pt-BR" dirty="0"/>
          </a:p>
          <a:p>
            <a:r>
              <a:rPr lang="pt-BR" dirty="0" err="1"/>
              <a:t>Sed</a:t>
            </a:r>
            <a:r>
              <a:rPr lang="pt-BR" dirty="0"/>
              <a:t> ut </a:t>
            </a:r>
            <a:r>
              <a:rPr lang="pt-BR" dirty="0" err="1"/>
              <a:t>perspiciatis</a:t>
            </a:r>
            <a:r>
              <a:rPr lang="pt-BR" dirty="0"/>
              <a:t> </a:t>
            </a:r>
            <a:r>
              <a:rPr lang="pt-BR" dirty="0" err="1"/>
              <a:t>unde</a:t>
            </a:r>
            <a:r>
              <a:rPr lang="pt-BR" dirty="0"/>
              <a:t> omnis </a:t>
            </a:r>
            <a:r>
              <a:rPr lang="pt-BR" dirty="0" err="1"/>
              <a:t>iste</a:t>
            </a:r>
            <a:r>
              <a:rPr lang="pt-BR" dirty="0"/>
              <a:t> </a:t>
            </a:r>
            <a:r>
              <a:rPr lang="pt-BR" dirty="0" err="1"/>
              <a:t>natus</a:t>
            </a:r>
            <a:r>
              <a:rPr lang="pt-BR" dirty="0"/>
              <a:t> </a:t>
            </a:r>
            <a:r>
              <a:rPr lang="pt-BR" dirty="0" err="1"/>
              <a:t>err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accusantium</a:t>
            </a:r>
            <a:r>
              <a:rPr lang="pt-BR" dirty="0"/>
              <a:t> </a:t>
            </a:r>
            <a:r>
              <a:rPr lang="pt-BR" dirty="0" err="1"/>
              <a:t>doloremque</a:t>
            </a:r>
            <a:r>
              <a:rPr lang="pt-BR" dirty="0"/>
              <a:t> </a:t>
            </a:r>
            <a:r>
              <a:rPr lang="pt-BR" dirty="0" err="1"/>
              <a:t>laudantium</a:t>
            </a:r>
            <a:r>
              <a:rPr lang="pt-BR" dirty="0"/>
              <a:t>, </a:t>
            </a:r>
            <a:r>
              <a:rPr lang="pt-BR" dirty="0" err="1"/>
              <a:t>totam</a:t>
            </a:r>
            <a:r>
              <a:rPr lang="pt-BR" dirty="0"/>
              <a:t> rem </a:t>
            </a:r>
            <a:r>
              <a:rPr lang="pt-BR" dirty="0" err="1"/>
              <a:t>aperiam</a:t>
            </a:r>
            <a:r>
              <a:rPr lang="pt-BR" dirty="0"/>
              <a:t>, </a:t>
            </a:r>
            <a:r>
              <a:rPr lang="pt-BR" dirty="0" err="1"/>
              <a:t>eaque</a:t>
            </a:r>
            <a:r>
              <a:rPr lang="pt-BR" dirty="0"/>
              <a:t> </a:t>
            </a:r>
            <a:r>
              <a:rPr lang="pt-BR" dirty="0" err="1"/>
              <a:t>ipsa</a:t>
            </a:r>
            <a:r>
              <a:rPr lang="pt-BR" dirty="0"/>
              <a:t> </a:t>
            </a:r>
            <a:r>
              <a:rPr lang="pt-BR" dirty="0" err="1"/>
              <a:t>quae</a:t>
            </a:r>
            <a:r>
              <a:rPr lang="pt-BR" dirty="0"/>
              <a:t> </a:t>
            </a:r>
            <a:r>
              <a:rPr lang="pt-BR" dirty="0" err="1"/>
              <a:t>ab</a:t>
            </a:r>
            <a:r>
              <a:rPr lang="pt-BR" dirty="0"/>
              <a:t> </a:t>
            </a:r>
            <a:r>
              <a:rPr lang="pt-BR" dirty="0" err="1"/>
              <a:t>illo</a:t>
            </a:r>
            <a:r>
              <a:rPr lang="pt-BR" dirty="0"/>
              <a:t> </a:t>
            </a:r>
            <a:r>
              <a:rPr lang="pt-BR" dirty="0" err="1"/>
              <a:t>inventore</a:t>
            </a:r>
            <a:r>
              <a:rPr lang="pt-BR" dirty="0"/>
              <a:t> </a:t>
            </a:r>
            <a:r>
              <a:rPr lang="pt-BR" dirty="0" err="1"/>
              <a:t>veritatis</a:t>
            </a:r>
            <a:r>
              <a:rPr lang="pt-BR" dirty="0"/>
              <a:t> et </a:t>
            </a:r>
            <a:r>
              <a:rPr lang="pt-BR" dirty="0" err="1"/>
              <a:t>quasi</a:t>
            </a:r>
            <a:r>
              <a:rPr lang="pt-BR" dirty="0"/>
              <a:t> </a:t>
            </a:r>
            <a:r>
              <a:rPr lang="pt-BR" dirty="0" err="1"/>
              <a:t>architecto</a:t>
            </a:r>
            <a:r>
              <a:rPr lang="pt-BR" dirty="0"/>
              <a:t> </a:t>
            </a:r>
            <a:r>
              <a:rPr lang="pt-BR" dirty="0" err="1"/>
              <a:t>beatae</a:t>
            </a:r>
            <a:r>
              <a:rPr lang="pt-BR" dirty="0"/>
              <a:t> vitae </a:t>
            </a:r>
            <a:r>
              <a:rPr lang="pt-BR" dirty="0" err="1"/>
              <a:t>dicta</a:t>
            </a:r>
            <a:r>
              <a:rPr lang="pt-BR" dirty="0"/>
              <a:t> sunt </a:t>
            </a:r>
            <a:r>
              <a:rPr lang="pt-BR" dirty="0" err="1"/>
              <a:t>explicabo</a:t>
            </a:r>
            <a:endParaRPr lang="pt-BR" dirty="0"/>
          </a:p>
          <a:p>
            <a:r>
              <a:rPr lang="pt-BR" dirty="0" err="1"/>
              <a:t>Sed</a:t>
            </a:r>
            <a:r>
              <a:rPr lang="pt-BR" dirty="0"/>
              <a:t> ut </a:t>
            </a:r>
            <a:r>
              <a:rPr lang="pt-BR" dirty="0" err="1"/>
              <a:t>perspiciatis</a:t>
            </a:r>
            <a:r>
              <a:rPr lang="pt-BR" dirty="0"/>
              <a:t> </a:t>
            </a:r>
            <a:r>
              <a:rPr lang="pt-BR" dirty="0" err="1"/>
              <a:t>unde</a:t>
            </a:r>
            <a:r>
              <a:rPr lang="pt-BR" dirty="0"/>
              <a:t> omnis </a:t>
            </a:r>
            <a:r>
              <a:rPr lang="pt-BR" dirty="0" err="1"/>
              <a:t>iste</a:t>
            </a:r>
            <a:r>
              <a:rPr lang="pt-BR" dirty="0"/>
              <a:t> </a:t>
            </a:r>
            <a:r>
              <a:rPr lang="pt-BR" dirty="0" err="1"/>
              <a:t>natus</a:t>
            </a:r>
            <a:r>
              <a:rPr lang="pt-BR" dirty="0"/>
              <a:t> </a:t>
            </a:r>
            <a:r>
              <a:rPr lang="pt-BR" dirty="0" err="1"/>
              <a:t>err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accusantium</a:t>
            </a:r>
            <a:r>
              <a:rPr lang="pt-BR" dirty="0"/>
              <a:t> </a:t>
            </a:r>
            <a:r>
              <a:rPr lang="pt-BR" dirty="0" err="1"/>
              <a:t>doloremque</a:t>
            </a:r>
            <a:r>
              <a:rPr lang="pt-BR" dirty="0"/>
              <a:t> </a:t>
            </a:r>
            <a:r>
              <a:rPr lang="pt-BR" dirty="0" err="1"/>
              <a:t>laudantium</a:t>
            </a:r>
            <a:r>
              <a:rPr lang="pt-BR" dirty="0"/>
              <a:t>, </a:t>
            </a:r>
            <a:r>
              <a:rPr lang="pt-BR" dirty="0" err="1"/>
              <a:t>totam</a:t>
            </a:r>
            <a:r>
              <a:rPr lang="pt-BR" dirty="0"/>
              <a:t> rem </a:t>
            </a:r>
            <a:r>
              <a:rPr lang="pt-BR" dirty="0" err="1"/>
              <a:t>aperiam</a:t>
            </a:r>
            <a:r>
              <a:rPr lang="pt-BR" dirty="0"/>
              <a:t>, </a:t>
            </a:r>
            <a:r>
              <a:rPr lang="pt-BR" dirty="0" err="1"/>
              <a:t>eaque</a:t>
            </a:r>
            <a:r>
              <a:rPr lang="pt-BR" dirty="0"/>
              <a:t> </a:t>
            </a:r>
            <a:r>
              <a:rPr lang="pt-BR" dirty="0" err="1"/>
              <a:t>ipsa</a:t>
            </a:r>
            <a:r>
              <a:rPr lang="pt-BR" dirty="0"/>
              <a:t> </a:t>
            </a:r>
            <a:r>
              <a:rPr lang="pt-BR" dirty="0" err="1"/>
              <a:t>quae</a:t>
            </a:r>
            <a:r>
              <a:rPr lang="pt-BR" dirty="0"/>
              <a:t> </a:t>
            </a:r>
            <a:r>
              <a:rPr lang="pt-BR" dirty="0" err="1"/>
              <a:t>ab</a:t>
            </a:r>
            <a:r>
              <a:rPr lang="pt-BR" dirty="0"/>
              <a:t> </a:t>
            </a:r>
            <a:r>
              <a:rPr lang="pt-BR" dirty="0" err="1"/>
              <a:t>illo</a:t>
            </a:r>
            <a:r>
              <a:rPr lang="pt-BR" dirty="0"/>
              <a:t> </a:t>
            </a:r>
            <a:r>
              <a:rPr lang="pt-BR" dirty="0" err="1"/>
              <a:t>inventore</a:t>
            </a:r>
            <a:r>
              <a:rPr lang="pt-BR" dirty="0"/>
              <a:t> </a:t>
            </a:r>
            <a:r>
              <a:rPr lang="pt-BR" dirty="0" err="1"/>
              <a:t>veritatis</a:t>
            </a:r>
            <a:r>
              <a:rPr lang="pt-BR" dirty="0"/>
              <a:t> et </a:t>
            </a:r>
            <a:r>
              <a:rPr lang="pt-BR" dirty="0" err="1"/>
              <a:t>quasi</a:t>
            </a:r>
            <a:r>
              <a:rPr lang="pt-BR" dirty="0"/>
              <a:t> </a:t>
            </a:r>
            <a:r>
              <a:rPr lang="pt-BR" dirty="0" err="1"/>
              <a:t>architecto</a:t>
            </a:r>
            <a:r>
              <a:rPr lang="pt-BR" dirty="0"/>
              <a:t> </a:t>
            </a:r>
            <a:r>
              <a:rPr lang="pt-BR" dirty="0" err="1"/>
              <a:t>beatae</a:t>
            </a:r>
            <a:r>
              <a:rPr lang="pt-BR" dirty="0"/>
              <a:t> vitae </a:t>
            </a:r>
            <a:r>
              <a:rPr lang="pt-BR" dirty="0" err="1"/>
              <a:t>dicta</a:t>
            </a:r>
            <a:r>
              <a:rPr lang="pt-BR" dirty="0"/>
              <a:t> sunt </a:t>
            </a:r>
            <a:r>
              <a:rPr lang="pt-BR" dirty="0" err="1"/>
              <a:t>explicabo</a:t>
            </a:r>
            <a:endParaRPr lang="pt-BR" dirty="0"/>
          </a:p>
          <a:p>
            <a:endParaRPr lang="pt-BR" dirty="0"/>
          </a:p>
        </p:txBody>
      </p:sp>
      <p:pic>
        <p:nvPicPr>
          <p:cNvPr id="5" name="Espaço Reservado para Imagem 4" descr="Uma imagem contendo no interior, teto, quarto, mesa&#10;&#10;Descrição gerada automaticamente">
            <a:extLst>
              <a:ext uri="{FF2B5EF4-FFF2-40B4-BE49-F238E27FC236}">
                <a16:creationId xmlns:a16="http://schemas.microsoft.com/office/drawing/2014/main" id="{F307DA9F-0DBB-4705-82C7-6780C922F58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17964166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ço Reservado para Texto 13">
            <a:extLst>
              <a:ext uri="{FF2B5EF4-FFF2-40B4-BE49-F238E27FC236}">
                <a16:creationId xmlns:a16="http://schemas.microsoft.com/office/drawing/2014/main" id="{216887EA-2B42-4EC8-B839-1E6F36C7066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Inserir aqui o </a:t>
            </a:r>
            <a:br>
              <a:rPr lang="pt-BR" dirty="0"/>
            </a:br>
            <a:r>
              <a:rPr lang="pt-BR" dirty="0"/>
              <a:t>título de duas linhas do slide</a:t>
            </a:r>
          </a:p>
        </p:txBody>
      </p:sp>
      <p:pic>
        <p:nvPicPr>
          <p:cNvPr id="4" name="Espaço Reservado para Imagem 3" descr="Piscina ao lado de um prédio&#10;&#10;Descrição gerada automaticamente">
            <a:extLst>
              <a:ext uri="{FF2B5EF4-FFF2-40B4-BE49-F238E27FC236}">
                <a16:creationId xmlns:a16="http://schemas.microsoft.com/office/drawing/2014/main" id="{D54E5C31-B3E8-4B80-AF53-3085A6FED0B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15" name="Espaço Reservado para Texto 14">
            <a:extLst>
              <a:ext uri="{FF2B5EF4-FFF2-40B4-BE49-F238E27FC236}">
                <a16:creationId xmlns:a16="http://schemas.microsoft.com/office/drawing/2014/main" id="{5A936923-E9E7-4E19-A005-F896DC90D5E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BR" dirty="0" err="1"/>
              <a:t>Sed</a:t>
            </a:r>
            <a:r>
              <a:rPr lang="pt-BR" dirty="0"/>
              <a:t> ut </a:t>
            </a:r>
            <a:r>
              <a:rPr lang="pt-BR" dirty="0" err="1"/>
              <a:t>perspiciatis</a:t>
            </a:r>
            <a:r>
              <a:rPr lang="pt-BR" dirty="0"/>
              <a:t> </a:t>
            </a:r>
            <a:r>
              <a:rPr lang="pt-BR" dirty="0" err="1"/>
              <a:t>unde</a:t>
            </a:r>
            <a:r>
              <a:rPr lang="pt-BR" dirty="0"/>
              <a:t> omnis </a:t>
            </a:r>
            <a:r>
              <a:rPr lang="pt-BR" dirty="0" err="1"/>
              <a:t>iste</a:t>
            </a:r>
            <a:r>
              <a:rPr lang="pt-BR" dirty="0"/>
              <a:t> </a:t>
            </a:r>
            <a:r>
              <a:rPr lang="pt-BR" dirty="0" err="1"/>
              <a:t>natus</a:t>
            </a:r>
            <a:r>
              <a:rPr lang="pt-BR" dirty="0"/>
              <a:t> </a:t>
            </a:r>
            <a:r>
              <a:rPr lang="pt-BR" dirty="0" err="1"/>
              <a:t>err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accusantium</a:t>
            </a:r>
            <a:r>
              <a:rPr lang="pt-BR" dirty="0"/>
              <a:t> </a:t>
            </a:r>
            <a:r>
              <a:rPr lang="pt-BR" dirty="0" err="1"/>
              <a:t>doloremque</a:t>
            </a:r>
            <a:r>
              <a:rPr lang="pt-BR" dirty="0"/>
              <a:t> </a:t>
            </a:r>
            <a:r>
              <a:rPr lang="pt-BR" dirty="0" err="1"/>
              <a:t>laudantium</a:t>
            </a:r>
            <a:r>
              <a:rPr lang="pt-BR" dirty="0"/>
              <a:t>, </a:t>
            </a:r>
            <a:r>
              <a:rPr lang="pt-BR" dirty="0" err="1"/>
              <a:t>totam</a:t>
            </a:r>
            <a:r>
              <a:rPr lang="pt-BR" dirty="0"/>
              <a:t> rem </a:t>
            </a:r>
            <a:r>
              <a:rPr lang="pt-BR" dirty="0" err="1"/>
              <a:t>aperiam</a:t>
            </a:r>
            <a:r>
              <a:rPr lang="pt-BR" dirty="0"/>
              <a:t>, </a:t>
            </a:r>
            <a:r>
              <a:rPr lang="pt-BR" dirty="0" err="1"/>
              <a:t>eaque</a:t>
            </a:r>
            <a:r>
              <a:rPr lang="pt-BR" dirty="0"/>
              <a:t> </a:t>
            </a:r>
            <a:r>
              <a:rPr lang="pt-BR" dirty="0" err="1"/>
              <a:t>ipsa</a:t>
            </a:r>
            <a:r>
              <a:rPr lang="pt-BR" dirty="0"/>
              <a:t> </a:t>
            </a:r>
            <a:r>
              <a:rPr lang="pt-BR" dirty="0" err="1"/>
              <a:t>quae</a:t>
            </a:r>
            <a:r>
              <a:rPr lang="pt-BR" dirty="0"/>
              <a:t> </a:t>
            </a:r>
            <a:r>
              <a:rPr lang="pt-BR" dirty="0" err="1"/>
              <a:t>ab</a:t>
            </a:r>
            <a:r>
              <a:rPr lang="pt-BR" dirty="0"/>
              <a:t> </a:t>
            </a:r>
            <a:r>
              <a:rPr lang="pt-BR" dirty="0" err="1"/>
              <a:t>illo</a:t>
            </a:r>
            <a:r>
              <a:rPr lang="pt-BR" dirty="0"/>
              <a:t> </a:t>
            </a:r>
            <a:r>
              <a:rPr lang="pt-BR" dirty="0" err="1"/>
              <a:t>inventore</a:t>
            </a:r>
            <a:r>
              <a:rPr lang="pt-BR" dirty="0"/>
              <a:t> </a:t>
            </a:r>
            <a:r>
              <a:rPr lang="pt-BR" dirty="0" err="1"/>
              <a:t>veritatis</a:t>
            </a:r>
            <a:r>
              <a:rPr lang="pt-BR" dirty="0"/>
              <a:t> et </a:t>
            </a:r>
            <a:r>
              <a:rPr lang="pt-BR" dirty="0" err="1"/>
              <a:t>quasi</a:t>
            </a:r>
            <a:r>
              <a:rPr lang="pt-BR" dirty="0"/>
              <a:t> </a:t>
            </a:r>
            <a:r>
              <a:rPr lang="pt-BR" dirty="0" err="1"/>
              <a:t>architecto</a:t>
            </a:r>
            <a:r>
              <a:rPr lang="pt-BR" dirty="0"/>
              <a:t> </a:t>
            </a:r>
            <a:r>
              <a:rPr lang="pt-BR" dirty="0" err="1"/>
              <a:t>beatae</a:t>
            </a:r>
            <a:r>
              <a:rPr lang="pt-BR" dirty="0"/>
              <a:t> vitae </a:t>
            </a:r>
            <a:r>
              <a:rPr lang="pt-BR" dirty="0" err="1"/>
              <a:t>dicta</a:t>
            </a:r>
            <a:r>
              <a:rPr lang="pt-BR" dirty="0"/>
              <a:t> sunt </a:t>
            </a:r>
            <a:r>
              <a:rPr lang="pt-BR" dirty="0" err="1"/>
              <a:t>explicabo</a:t>
            </a:r>
            <a:r>
              <a:rPr lang="pt-BR" dirty="0"/>
              <a:t>. Nemo </a:t>
            </a:r>
            <a:r>
              <a:rPr lang="pt-BR" dirty="0" err="1"/>
              <a:t>enim</a:t>
            </a:r>
            <a:r>
              <a:rPr lang="pt-BR" dirty="0"/>
              <a:t> </a:t>
            </a:r>
            <a:r>
              <a:rPr lang="pt-BR" dirty="0" err="1"/>
              <a:t>ipsam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quia</a:t>
            </a:r>
            <a:r>
              <a:rPr lang="pt-BR" dirty="0"/>
              <a:t> </a:t>
            </a:r>
            <a:r>
              <a:rPr lang="pt-BR" dirty="0" err="1"/>
              <a:t>voluptas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spernatur</a:t>
            </a:r>
            <a:r>
              <a:rPr lang="pt-BR" dirty="0"/>
              <a:t> </a:t>
            </a:r>
            <a:r>
              <a:rPr lang="pt-BR" dirty="0" err="1"/>
              <a:t>aut</a:t>
            </a:r>
            <a:r>
              <a:rPr lang="pt-BR" dirty="0"/>
              <a:t> </a:t>
            </a:r>
            <a:r>
              <a:rPr lang="pt-BR" dirty="0" err="1"/>
              <a:t>odit</a:t>
            </a:r>
            <a:r>
              <a:rPr lang="pt-BR" dirty="0"/>
              <a:t> </a:t>
            </a:r>
            <a:r>
              <a:rPr lang="pt-BR" dirty="0" err="1"/>
              <a:t>aut</a:t>
            </a:r>
            <a:r>
              <a:rPr lang="pt-BR" dirty="0"/>
              <a:t> </a:t>
            </a:r>
            <a:r>
              <a:rPr lang="pt-BR" dirty="0" err="1"/>
              <a:t>fug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</a:t>
            </a:r>
            <a:r>
              <a:rPr lang="pt-BR" dirty="0" err="1"/>
              <a:t>quia</a:t>
            </a:r>
            <a:r>
              <a:rPr lang="pt-BR" dirty="0"/>
              <a:t> </a:t>
            </a:r>
            <a:r>
              <a:rPr lang="pt-BR" dirty="0" err="1"/>
              <a:t>consequuntur</a:t>
            </a:r>
            <a:r>
              <a:rPr lang="pt-BR" dirty="0"/>
              <a:t> </a:t>
            </a:r>
            <a:r>
              <a:rPr lang="pt-BR" dirty="0" err="1"/>
              <a:t>magni</a:t>
            </a:r>
            <a:r>
              <a:rPr lang="pt-BR" dirty="0"/>
              <a:t> </a:t>
            </a:r>
            <a:r>
              <a:rPr lang="pt-BR" dirty="0" err="1"/>
              <a:t>dolores</a:t>
            </a:r>
            <a:r>
              <a:rPr lang="pt-BR" dirty="0"/>
              <a:t> </a:t>
            </a:r>
            <a:r>
              <a:rPr lang="pt-BR" dirty="0" err="1"/>
              <a:t>eos</a:t>
            </a:r>
            <a:r>
              <a:rPr lang="pt-BR" dirty="0"/>
              <a:t> </a:t>
            </a:r>
            <a:r>
              <a:rPr lang="pt-BR" dirty="0" err="1"/>
              <a:t>qui</a:t>
            </a:r>
            <a:r>
              <a:rPr lang="pt-BR" dirty="0"/>
              <a:t> ratione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sequi</a:t>
            </a:r>
            <a:r>
              <a:rPr lang="pt-BR" dirty="0"/>
              <a:t> </a:t>
            </a:r>
            <a:r>
              <a:rPr lang="pt-BR" dirty="0" err="1"/>
              <a:t>nesciunt</a:t>
            </a:r>
            <a:r>
              <a:rPr lang="pt-BR" dirty="0"/>
              <a:t>. </a:t>
            </a:r>
          </a:p>
          <a:p>
            <a:pPr lvl="1"/>
            <a:r>
              <a:rPr lang="pt-BR" dirty="0"/>
              <a:t>Item 01</a:t>
            </a:r>
          </a:p>
          <a:p>
            <a:pPr lvl="1"/>
            <a:r>
              <a:rPr lang="pt-BR" dirty="0"/>
              <a:t>Item 02</a:t>
            </a:r>
          </a:p>
          <a:p>
            <a:pPr lvl="1"/>
            <a:r>
              <a:rPr lang="pt-BR" dirty="0"/>
              <a:t>Item 03</a:t>
            </a:r>
          </a:p>
          <a:p>
            <a:pPr lvl="1"/>
            <a:r>
              <a:rPr lang="pt-BR" dirty="0"/>
              <a:t>Item 04</a:t>
            </a:r>
          </a:p>
          <a:p>
            <a:endParaRPr lang="pt-BR" dirty="0"/>
          </a:p>
          <a:p>
            <a:r>
              <a:rPr lang="pt-BR" dirty="0" err="1"/>
              <a:t>Sed</a:t>
            </a:r>
            <a:r>
              <a:rPr lang="pt-BR" dirty="0"/>
              <a:t> ut </a:t>
            </a:r>
            <a:r>
              <a:rPr lang="pt-BR" dirty="0" err="1"/>
              <a:t>perspiciatis</a:t>
            </a:r>
            <a:r>
              <a:rPr lang="pt-BR" dirty="0"/>
              <a:t> </a:t>
            </a:r>
            <a:r>
              <a:rPr lang="pt-BR" dirty="0" err="1"/>
              <a:t>unde</a:t>
            </a:r>
            <a:r>
              <a:rPr lang="pt-BR" dirty="0"/>
              <a:t> omnis </a:t>
            </a:r>
            <a:r>
              <a:rPr lang="pt-BR" dirty="0" err="1"/>
              <a:t>iste</a:t>
            </a:r>
            <a:r>
              <a:rPr lang="pt-BR" dirty="0"/>
              <a:t> </a:t>
            </a:r>
            <a:r>
              <a:rPr lang="pt-BR" dirty="0" err="1"/>
              <a:t>natus</a:t>
            </a:r>
            <a:r>
              <a:rPr lang="pt-BR" dirty="0"/>
              <a:t> </a:t>
            </a:r>
            <a:r>
              <a:rPr lang="pt-BR" dirty="0" err="1"/>
              <a:t>err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accusantium</a:t>
            </a:r>
            <a:r>
              <a:rPr lang="pt-BR" dirty="0"/>
              <a:t> </a:t>
            </a:r>
            <a:r>
              <a:rPr lang="pt-BR" dirty="0" err="1"/>
              <a:t>doloremque</a:t>
            </a:r>
            <a:r>
              <a:rPr lang="pt-BR" dirty="0"/>
              <a:t> </a:t>
            </a:r>
            <a:r>
              <a:rPr lang="pt-BR" dirty="0" err="1"/>
              <a:t>laudantium</a:t>
            </a:r>
            <a:r>
              <a:rPr lang="pt-BR" dirty="0"/>
              <a:t>, </a:t>
            </a:r>
            <a:r>
              <a:rPr lang="pt-BR" dirty="0" err="1"/>
              <a:t>totam</a:t>
            </a:r>
            <a:r>
              <a:rPr lang="pt-BR" dirty="0"/>
              <a:t> rem </a:t>
            </a:r>
            <a:r>
              <a:rPr lang="pt-BR" dirty="0" err="1"/>
              <a:t>aperiam</a:t>
            </a:r>
            <a:r>
              <a:rPr lang="pt-BR" dirty="0"/>
              <a:t>, </a:t>
            </a:r>
            <a:r>
              <a:rPr lang="pt-BR" dirty="0" err="1"/>
              <a:t>eaque</a:t>
            </a:r>
            <a:r>
              <a:rPr lang="pt-BR" dirty="0"/>
              <a:t> </a:t>
            </a:r>
            <a:r>
              <a:rPr lang="pt-BR" dirty="0" err="1"/>
              <a:t>ipsa</a:t>
            </a:r>
            <a:r>
              <a:rPr lang="pt-BR" dirty="0"/>
              <a:t> </a:t>
            </a:r>
            <a:r>
              <a:rPr lang="pt-BR" dirty="0" err="1"/>
              <a:t>quae</a:t>
            </a:r>
            <a:r>
              <a:rPr lang="pt-BR" dirty="0"/>
              <a:t> </a:t>
            </a:r>
            <a:r>
              <a:rPr lang="pt-BR" dirty="0" err="1"/>
              <a:t>ab</a:t>
            </a:r>
            <a:r>
              <a:rPr lang="pt-BR" dirty="0"/>
              <a:t> </a:t>
            </a:r>
            <a:r>
              <a:rPr lang="pt-BR" dirty="0" err="1"/>
              <a:t>illo</a:t>
            </a:r>
            <a:r>
              <a:rPr lang="pt-BR" dirty="0"/>
              <a:t> </a:t>
            </a:r>
            <a:r>
              <a:rPr lang="pt-BR" dirty="0" err="1"/>
              <a:t>inventore</a:t>
            </a:r>
            <a:r>
              <a:rPr lang="pt-BR" dirty="0"/>
              <a:t> </a:t>
            </a:r>
            <a:r>
              <a:rPr lang="pt-BR" dirty="0" err="1"/>
              <a:t>veritatis</a:t>
            </a:r>
            <a:r>
              <a:rPr lang="pt-BR" dirty="0"/>
              <a:t> et </a:t>
            </a:r>
            <a:r>
              <a:rPr lang="pt-BR" dirty="0" err="1"/>
              <a:t>quasi</a:t>
            </a:r>
            <a:r>
              <a:rPr lang="pt-BR" dirty="0"/>
              <a:t> </a:t>
            </a:r>
            <a:r>
              <a:rPr lang="pt-BR" dirty="0" err="1"/>
              <a:t>architecto</a:t>
            </a:r>
            <a:r>
              <a:rPr lang="pt-BR" dirty="0"/>
              <a:t> </a:t>
            </a:r>
            <a:r>
              <a:rPr lang="pt-BR" dirty="0" err="1"/>
              <a:t>beatae</a:t>
            </a:r>
            <a:r>
              <a:rPr lang="pt-BR" dirty="0"/>
              <a:t> vitae </a:t>
            </a:r>
            <a:r>
              <a:rPr lang="pt-BR" dirty="0" err="1"/>
              <a:t>dicta</a:t>
            </a:r>
            <a:r>
              <a:rPr lang="pt-BR" dirty="0"/>
              <a:t> sunt </a:t>
            </a:r>
            <a:r>
              <a:rPr lang="pt-BR" dirty="0" err="1"/>
              <a:t>explicabo</a:t>
            </a:r>
            <a:endParaRPr lang="pt-BR" dirty="0"/>
          </a:p>
          <a:p>
            <a:r>
              <a:rPr lang="pt-BR" dirty="0" err="1"/>
              <a:t>Sed</a:t>
            </a:r>
            <a:r>
              <a:rPr lang="pt-BR" dirty="0"/>
              <a:t> ut </a:t>
            </a:r>
            <a:r>
              <a:rPr lang="pt-BR" dirty="0" err="1"/>
              <a:t>perspiciatis</a:t>
            </a:r>
            <a:r>
              <a:rPr lang="pt-BR" dirty="0"/>
              <a:t> </a:t>
            </a:r>
            <a:r>
              <a:rPr lang="pt-BR" dirty="0" err="1"/>
              <a:t>unde</a:t>
            </a:r>
            <a:r>
              <a:rPr lang="pt-BR" dirty="0"/>
              <a:t> omnis </a:t>
            </a:r>
            <a:r>
              <a:rPr lang="pt-BR" dirty="0" err="1"/>
              <a:t>iste</a:t>
            </a:r>
            <a:r>
              <a:rPr lang="pt-BR" dirty="0"/>
              <a:t> </a:t>
            </a:r>
            <a:r>
              <a:rPr lang="pt-BR" dirty="0" err="1"/>
              <a:t>natus</a:t>
            </a:r>
            <a:r>
              <a:rPr lang="pt-BR" dirty="0"/>
              <a:t> </a:t>
            </a:r>
            <a:r>
              <a:rPr lang="pt-BR" dirty="0" err="1"/>
              <a:t>err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accusantium</a:t>
            </a:r>
            <a:r>
              <a:rPr lang="pt-BR" dirty="0"/>
              <a:t> </a:t>
            </a:r>
            <a:r>
              <a:rPr lang="pt-BR" dirty="0" err="1"/>
              <a:t>doloremque</a:t>
            </a:r>
            <a:r>
              <a:rPr lang="pt-BR" dirty="0"/>
              <a:t> </a:t>
            </a:r>
            <a:r>
              <a:rPr lang="pt-BR" dirty="0" err="1"/>
              <a:t>laudantium</a:t>
            </a:r>
            <a:r>
              <a:rPr lang="pt-BR" dirty="0"/>
              <a:t>, </a:t>
            </a:r>
            <a:r>
              <a:rPr lang="pt-BR" dirty="0" err="1"/>
              <a:t>totam</a:t>
            </a:r>
            <a:r>
              <a:rPr lang="pt-BR" dirty="0"/>
              <a:t> rem </a:t>
            </a:r>
            <a:r>
              <a:rPr lang="pt-BR" dirty="0" err="1"/>
              <a:t>aperiam</a:t>
            </a:r>
            <a:r>
              <a:rPr lang="pt-BR" dirty="0"/>
              <a:t>, </a:t>
            </a:r>
            <a:r>
              <a:rPr lang="pt-BR" dirty="0" err="1"/>
              <a:t>eaque</a:t>
            </a:r>
            <a:r>
              <a:rPr lang="pt-BR" dirty="0"/>
              <a:t> </a:t>
            </a:r>
            <a:r>
              <a:rPr lang="pt-BR" dirty="0" err="1"/>
              <a:t>ipsa</a:t>
            </a:r>
            <a:r>
              <a:rPr lang="pt-BR" dirty="0"/>
              <a:t> </a:t>
            </a:r>
            <a:r>
              <a:rPr lang="pt-BR" dirty="0" err="1"/>
              <a:t>quae</a:t>
            </a:r>
            <a:r>
              <a:rPr lang="pt-BR" dirty="0"/>
              <a:t> </a:t>
            </a:r>
            <a:r>
              <a:rPr lang="pt-BR" dirty="0" err="1"/>
              <a:t>ab</a:t>
            </a:r>
            <a:r>
              <a:rPr lang="pt-BR" dirty="0"/>
              <a:t> </a:t>
            </a:r>
            <a:r>
              <a:rPr lang="pt-BR" dirty="0" err="1"/>
              <a:t>illo</a:t>
            </a:r>
            <a:r>
              <a:rPr lang="pt-BR" dirty="0"/>
              <a:t> </a:t>
            </a:r>
            <a:r>
              <a:rPr lang="pt-BR" dirty="0" err="1"/>
              <a:t>inventore</a:t>
            </a:r>
            <a:r>
              <a:rPr lang="pt-BR" dirty="0"/>
              <a:t> </a:t>
            </a:r>
            <a:r>
              <a:rPr lang="pt-BR" dirty="0" err="1"/>
              <a:t>veritatis</a:t>
            </a:r>
            <a:r>
              <a:rPr lang="pt-BR" dirty="0"/>
              <a:t> et </a:t>
            </a:r>
            <a:r>
              <a:rPr lang="pt-BR" dirty="0" err="1"/>
              <a:t>quasi</a:t>
            </a:r>
            <a:r>
              <a:rPr lang="pt-BR" dirty="0"/>
              <a:t> </a:t>
            </a:r>
            <a:r>
              <a:rPr lang="pt-BR" dirty="0" err="1"/>
              <a:t>architecto</a:t>
            </a:r>
            <a:r>
              <a:rPr lang="pt-BR" dirty="0"/>
              <a:t> </a:t>
            </a:r>
            <a:r>
              <a:rPr lang="pt-BR" dirty="0" err="1"/>
              <a:t>beatae</a:t>
            </a:r>
            <a:r>
              <a:rPr lang="pt-BR" dirty="0"/>
              <a:t> vitae </a:t>
            </a:r>
            <a:r>
              <a:rPr lang="pt-BR" dirty="0" err="1"/>
              <a:t>dicta</a:t>
            </a:r>
            <a:r>
              <a:rPr lang="pt-BR" dirty="0"/>
              <a:t> sunt </a:t>
            </a:r>
            <a:r>
              <a:rPr lang="pt-BR" dirty="0" err="1"/>
              <a:t>explicabo</a:t>
            </a:r>
            <a:endParaRPr lang="pt-BR" dirty="0"/>
          </a:p>
        </p:txBody>
      </p:sp>
      <p:sp>
        <p:nvSpPr>
          <p:cNvPr id="18" name="Espaço Reservado para Texto 17">
            <a:extLst>
              <a:ext uri="{FF2B5EF4-FFF2-40B4-BE49-F238E27FC236}">
                <a16:creationId xmlns:a16="http://schemas.microsoft.com/office/drawing/2014/main" id="{75DC4227-DD03-4C02-BDC1-21575F4A587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pt-BR" dirty="0"/>
              <a:t>Inserir aqui o título da coluna</a:t>
            </a: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1798808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ço Reservado para Texto 13">
            <a:extLst>
              <a:ext uri="{FF2B5EF4-FFF2-40B4-BE49-F238E27FC236}">
                <a16:creationId xmlns:a16="http://schemas.microsoft.com/office/drawing/2014/main" id="{216887EA-2B42-4EC8-B839-1E6F36C7066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Inserir aqui o </a:t>
            </a:r>
            <a:br>
              <a:rPr lang="pt-BR" dirty="0"/>
            </a:br>
            <a:r>
              <a:rPr lang="pt-BR" dirty="0"/>
              <a:t>título de duas linhas do slide</a:t>
            </a:r>
          </a:p>
        </p:txBody>
      </p:sp>
      <p:pic>
        <p:nvPicPr>
          <p:cNvPr id="5" name="Espaço Reservado para Imagem 4" descr="Uma imagem contendo no interior, mesa, cama, pia&#10;&#10;Descrição gerada automaticamente">
            <a:extLst>
              <a:ext uri="{FF2B5EF4-FFF2-40B4-BE49-F238E27FC236}">
                <a16:creationId xmlns:a16="http://schemas.microsoft.com/office/drawing/2014/main" id="{395E5FC1-8B51-448C-A9D2-A71C87075AE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15" name="Espaço Reservado para Texto 14">
            <a:extLst>
              <a:ext uri="{FF2B5EF4-FFF2-40B4-BE49-F238E27FC236}">
                <a16:creationId xmlns:a16="http://schemas.microsoft.com/office/drawing/2014/main" id="{5A936923-E9E7-4E19-A005-F896DC90D5E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BR" dirty="0" err="1"/>
              <a:t>Sed</a:t>
            </a:r>
            <a:r>
              <a:rPr lang="pt-BR" dirty="0"/>
              <a:t> ut </a:t>
            </a:r>
            <a:r>
              <a:rPr lang="pt-BR" dirty="0" err="1"/>
              <a:t>perspiciatis</a:t>
            </a:r>
            <a:r>
              <a:rPr lang="pt-BR" dirty="0"/>
              <a:t> </a:t>
            </a:r>
            <a:r>
              <a:rPr lang="pt-BR" dirty="0" err="1"/>
              <a:t>unde</a:t>
            </a:r>
            <a:r>
              <a:rPr lang="pt-BR" dirty="0"/>
              <a:t> omnis </a:t>
            </a:r>
            <a:r>
              <a:rPr lang="pt-BR" dirty="0" err="1"/>
              <a:t>iste</a:t>
            </a:r>
            <a:r>
              <a:rPr lang="pt-BR" dirty="0"/>
              <a:t> </a:t>
            </a:r>
            <a:r>
              <a:rPr lang="pt-BR" dirty="0" err="1"/>
              <a:t>natus</a:t>
            </a:r>
            <a:r>
              <a:rPr lang="pt-BR" dirty="0"/>
              <a:t> </a:t>
            </a:r>
            <a:r>
              <a:rPr lang="pt-BR" dirty="0" err="1"/>
              <a:t>err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accusantium</a:t>
            </a:r>
            <a:r>
              <a:rPr lang="pt-BR" dirty="0"/>
              <a:t> </a:t>
            </a:r>
            <a:r>
              <a:rPr lang="pt-BR" dirty="0" err="1"/>
              <a:t>doloremque</a:t>
            </a:r>
            <a:r>
              <a:rPr lang="pt-BR" dirty="0"/>
              <a:t> </a:t>
            </a:r>
            <a:r>
              <a:rPr lang="pt-BR" dirty="0" err="1"/>
              <a:t>laudantium</a:t>
            </a:r>
            <a:r>
              <a:rPr lang="pt-BR" dirty="0"/>
              <a:t>, </a:t>
            </a:r>
            <a:r>
              <a:rPr lang="pt-BR" dirty="0" err="1"/>
              <a:t>totam</a:t>
            </a:r>
            <a:r>
              <a:rPr lang="pt-BR" dirty="0"/>
              <a:t> rem </a:t>
            </a:r>
            <a:r>
              <a:rPr lang="pt-BR" dirty="0" err="1"/>
              <a:t>aperiam</a:t>
            </a:r>
            <a:r>
              <a:rPr lang="pt-BR" dirty="0"/>
              <a:t>, </a:t>
            </a:r>
            <a:r>
              <a:rPr lang="pt-BR" dirty="0" err="1"/>
              <a:t>eaque</a:t>
            </a:r>
            <a:r>
              <a:rPr lang="pt-BR" dirty="0"/>
              <a:t> </a:t>
            </a:r>
            <a:r>
              <a:rPr lang="pt-BR" dirty="0" err="1"/>
              <a:t>ipsa</a:t>
            </a:r>
            <a:r>
              <a:rPr lang="pt-BR" dirty="0"/>
              <a:t> </a:t>
            </a:r>
            <a:r>
              <a:rPr lang="pt-BR" dirty="0" err="1"/>
              <a:t>quae</a:t>
            </a:r>
            <a:r>
              <a:rPr lang="pt-BR" dirty="0"/>
              <a:t> </a:t>
            </a:r>
            <a:r>
              <a:rPr lang="pt-BR" dirty="0" err="1"/>
              <a:t>ab</a:t>
            </a:r>
            <a:r>
              <a:rPr lang="pt-BR" dirty="0"/>
              <a:t> </a:t>
            </a:r>
            <a:r>
              <a:rPr lang="pt-BR" dirty="0" err="1"/>
              <a:t>illo</a:t>
            </a:r>
            <a:r>
              <a:rPr lang="pt-BR" dirty="0"/>
              <a:t> </a:t>
            </a:r>
            <a:r>
              <a:rPr lang="pt-BR" dirty="0" err="1"/>
              <a:t>inventore</a:t>
            </a:r>
            <a:r>
              <a:rPr lang="pt-BR" dirty="0"/>
              <a:t> </a:t>
            </a:r>
            <a:r>
              <a:rPr lang="pt-BR" dirty="0" err="1"/>
              <a:t>veritatis</a:t>
            </a:r>
            <a:r>
              <a:rPr lang="pt-BR" dirty="0"/>
              <a:t> et </a:t>
            </a:r>
            <a:r>
              <a:rPr lang="pt-BR" dirty="0" err="1"/>
              <a:t>quasi</a:t>
            </a:r>
            <a:r>
              <a:rPr lang="pt-BR" dirty="0"/>
              <a:t> </a:t>
            </a:r>
            <a:r>
              <a:rPr lang="pt-BR" dirty="0" err="1"/>
              <a:t>architecto</a:t>
            </a:r>
            <a:r>
              <a:rPr lang="pt-BR" dirty="0"/>
              <a:t> </a:t>
            </a:r>
            <a:r>
              <a:rPr lang="pt-BR" dirty="0" err="1"/>
              <a:t>beatae</a:t>
            </a:r>
            <a:r>
              <a:rPr lang="pt-BR" dirty="0"/>
              <a:t> vitae </a:t>
            </a:r>
            <a:r>
              <a:rPr lang="pt-BR" dirty="0" err="1"/>
              <a:t>dicta</a:t>
            </a:r>
            <a:r>
              <a:rPr lang="pt-BR" dirty="0"/>
              <a:t> sunt </a:t>
            </a:r>
            <a:r>
              <a:rPr lang="pt-BR" dirty="0" err="1"/>
              <a:t>explicabo</a:t>
            </a:r>
            <a:r>
              <a:rPr lang="pt-BR" dirty="0"/>
              <a:t>. Nemo </a:t>
            </a:r>
            <a:r>
              <a:rPr lang="pt-BR" dirty="0" err="1"/>
              <a:t>enim</a:t>
            </a:r>
            <a:r>
              <a:rPr lang="pt-BR" dirty="0"/>
              <a:t> </a:t>
            </a:r>
            <a:r>
              <a:rPr lang="pt-BR" dirty="0" err="1"/>
              <a:t>ipsam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quia</a:t>
            </a:r>
            <a:r>
              <a:rPr lang="pt-BR" dirty="0"/>
              <a:t> </a:t>
            </a:r>
            <a:r>
              <a:rPr lang="pt-BR" dirty="0" err="1"/>
              <a:t>voluptas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spernatur</a:t>
            </a:r>
            <a:r>
              <a:rPr lang="pt-BR" dirty="0"/>
              <a:t> </a:t>
            </a:r>
            <a:r>
              <a:rPr lang="pt-BR" dirty="0" err="1"/>
              <a:t>aut</a:t>
            </a:r>
            <a:r>
              <a:rPr lang="pt-BR" dirty="0"/>
              <a:t> </a:t>
            </a:r>
            <a:r>
              <a:rPr lang="pt-BR" dirty="0" err="1"/>
              <a:t>odit</a:t>
            </a:r>
            <a:r>
              <a:rPr lang="pt-BR" dirty="0"/>
              <a:t> </a:t>
            </a:r>
            <a:r>
              <a:rPr lang="pt-BR" dirty="0" err="1"/>
              <a:t>aut</a:t>
            </a:r>
            <a:r>
              <a:rPr lang="pt-BR" dirty="0"/>
              <a:t> </a:t>
            </a:r>
            <a:r>
              <a:rPr lang="pt-BR" dirty="0" err="1"/>
              <a:t>fug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</a:t>
            </a:r>
            <a:r>
              <a:rPr lang="pt-BR" dirty="0" err="1"/>
              <a:t>quia</a:t>
            </a:r>
            <a:r>
              <a:rPr lang="pt-BR" dirty="0"/>
              <a:t> </a:t>
            </a:r>
            <a:r>
              <a:rPr lang="pt-BR" dirty="0" err="1"/>
              <a:t>consequuntur</a:t>
            </a:r>
            <a:r>
              <a:rPr lang="pt-BR" dirty="0"/>
              <a:t> </a:t>
            </a:r>
            <a:r>
              <a:rPr lang="pt-BR" dirty="0" err="1"/>
              <a:t>magni</a:t>
            </a:r>
            <a:r>
              <a:rPr lang="pt-BR" dirty="0"/>
              <a:t> </a:t>
            </a:r>
            <a:r>
              <a:rPr lang="pt-BR" dirty="0" err="1"/>
              <a:t>dolores</a:t>
            </a:r>
            <a:r>
              <a:rPr lang="pt-BR" dirty="0"/>
              <a:t> </a:t>
            </a:r>
            <a:r>
              <a:rPr lang="pt-BR" dirty="0" err="1"/>
              <a:t>eos</a:t>
            </a:r>
            <a:r>
              <a:rPr lang="pt-BR" dirty="0"/>
              <a:t> </a:t>
            </a:r>
            <a:r>
              <a:rPr lang="pt-BR" dirty="0" err="1"/>
              <a:t>qui</a:t>
            </a:r>
            <a:r>
              <a:rPr lang="pt-BR" dirty="0"/>
              <a:t> ratione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sequi</a:t>
            </a:r>
            <a:r>
              <a:rPr lang="pt-BR" dirty="0"/>
              <a:t> </a:t>
            </a:r>
            <a:r>
              <a:rPr lang="pt-BR" dirty="0" err="1"/>
              <a:t>nesciunt</a:t>
            </a:r>
            <a:r>
              <a:rPr lang="pt-BR" dirty="0"/>
              <a:t>. </a:t>
            </a:r>
          </a:p>
          <a:p>
            <a:pPr lvl="1"/>
            <a:r>
              <a:rPr lang="pt-BR" dirty="0"/>
              <a:t>Item 01</a:t>
            </a:r>
          </a:p>
          <a:p>
            <a:pPr lvl="1"/>
            <a:r>
              <a:rPr lang="pt-BR" dirty="0"/>
              <a:t>Item 02</a:t>
            </a:r>
          </a:p>
          <a:p>
            <a:pPr lvl="1"/>
            <a:r>
              <a:rPr lang="pt-BR" dirty="0"/>
              <a:t>Item 03</a:t>
            </a:r>
          </a:p>
          <a:p>
            <a:pPr lvl="1"/>
            <a:r>
              <a:rPr lang="pt-BR" dirty="0"/>
              <a:t>Item 04</a:t>
            </a:r>
          </a:p>
          <a:p>
            <a:endParaRPr lang="pt-BR" dirty="0"/>
          </a:p>
          <a:p>
            <a:r>
              <a:rPr lang="pt-BR" dirty="0" err="1"/>
              <a:t>Sed</a:t>
            </a:r>
            <a:r>
              <a:rPr lang="pt-BR" dirty="0"/>
              <a:t> ut </a:t>
            </a:r>
            <a:r>
              <a:rPr lang="pt-BR" dirty="0" err="1"/>
              <a:t>perspiciatis</a:t>
            </a:r>
            <a:r>
              <a:rPr lang="pt-BR" dirty="0"/>
              <a:t> </a:t>
            </a:r>
            <a:r>
              <a:rPr lang="pt-BR" dirty="0" err="1"/>
              <a:t>unde</a:t>
            </a:r>
            <a:r>
              <a:rPr lang="pt-BR" dirty="0"/>
              <a:t> omnis </a:t>
            </a:r>
            <a:r>
              <a:rPr lang="pt-BR" dirty="0" err="1"/>
              <a:t>iste</a:t>
            </a:r>
            <a:r>
              <a:rPr lang="pt-BR" dirty="0"/>
              <a:t> </a:t>
            </a:r>
            <a:r>
              <a:rPr lang="pt-BR" dirty="0" err="1"/>
              <a:t>natus</a:t>
            </a:r>
            <a:r>
              <a:rPr lang="pt-BR" dirty="0"/>
              <a:t> </a:t>
            </a:r>
            <a:r>
              <a:rPr lang="pt-BR" dirty="0" err="1"/>
              <a:t>err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accusantium</a:t>
            </a:r>
            <a:r>
              <a:rPr lang="pt-BR" dirty="0"/>
              <a:t> </a:t>
            </a:r>
            <a:r>
              <a:rPr lang="pt-BR" dirty="0" err="1"/>
              <a:t>doloremque</a:t>
            </a:r>
            <a:r>
              <a:rPr lang="pt-BR" dirty="0"/>
              <a:t> </a:t>
            </a:r>
            <a:r>
              <a:rPr lang="pt-BR" dirty="0" err="1"/>
              <a:t>laudantium</a:t>
            </a:r>
            <a:r>
              <a:rPr lang="pt-BR" dirty="0"/>
              <a:t>, </a:t>
            </a:r>
            <a:r>
              <a:rPr lang="pt-BR" dirty="0" err="1"/>
              <a:t>totam</a:t>
            </a:r>
            <a:r>
              <a:rPr lang="pt-BR" dirty="0"/>
              <a:t> rem </a:t>
            </a:r>
            <a:r>
              <a:rPr lang="pt-BR" dirty="0" err="1"/>
              <a:t>aperiam</a:t>
            </a:r>
            <a:r>
              <a:rPr lang="pt-BR" dirty="0"/>
              <a:t>, </a:t>
            </a:r>
            <a:r>
              <a:rPr lang="pt-BR" dirty="0" err="1"/>
              <a:t>eaque</a:t>
            </a:r>
            <a:r>
              <a:rPr lang="pt-BR" dirty="0"/>
              <a:t> </a:t>
            </a:r>
            <a:r>
              <a:rPr lang="pt-BR" dirty="0" err="1"/>
              <a:t>ipsa</a:t>
            </a:r>
            <a:r>
              <a:rPr lang="pt-BR" dirty="0"/>
              <a:t> </a:t>
            </a:r>
            <a:r>
              <a:rPr lang="pt-BR" dirty="0" err="1"/>
              <a:t>quae</a:t>
            </a:r>
            <a:r>
              <a:rPr lang="pt-BR" dirty="0"/>
              <a:t> </a:t>
            </a:r>
            <a:r>
              <a:rPr lang="pt-BR" dirty="0" err="1"/>
              <a:t>ab</a:t>
            </a:r>
            <a:r>
              <a:rPr lang="pt-BR" dirty="0"/>
              <a:t> </a:t>
            </a:r>
            <a:r>
              <a:rPr lang="pt-BR" dirty="0" err="1"/>
              <a:t>illo</a:t>
            </a:r>
            <a:r>
              <a:rPr lang="pt-BR" dirty="0"/>
              <a:t> </a:t>
            </a:r>
            <a:r>
              <a:rPr lang="pt-BR" dirty="0" err="1"/>
              <a:t>inventore</a:t>
            </a:r>
            <a:r>
              <a:rPr lang="pt-BR" dirty="0"/>
              <a:t> </a:t>
            </a:r>
            <a:r>
              <a:rPr lang="pt-BR" dirty="0" err="1"/>
              <a:t>veritatis</a:t>
            </a:r>
            <a:r>
              <a:rPr lang="pt-BR" dirty="0"/>
              <a:t> et </a:t>
            </a:r>
            <a:r>
              <a:rPr lang="pt-BR" dirty="0" err="1"/>
              <a:t>quasi</a:t>
            </a:r>
            <a:r>
              <a:rPr lang="pt-BR" dirty="0"/>
              <a:t> </a:t>
            </a:r>
            <a:r>
              <a:rPr lang="pt-BR" dirty="0" err="1"/>
              <a:t>architecto</a:t>
            </a:r>
            <a:r>
              <a:rPr lang="pt-BR" dirty="0"/>
              <a:t> </a:t>
            </a:r>
            <a:r>
              <a:rPr lang="pt-BR" dirty="0" err="1"/>
              <a:t>beatae</a:t>
            </a:r>
            <a:r>
              <a:rPr lang="pt-BR" dirty="0"/>
              <a:t> vitae </a:t>
            </a:r>
            <a:r>
              <a:rPr lang="pt-BR" dirty="0" err="1"/>
              <a:t>dicta</a:t>
            </a:r>
            <a:r>
              <a:rPr lang="pt-BR" dirty="0"/>
              <a:t> sunt </a:t>
            </a:r>
            <a:r>
              <a:rPr lang="pt-BR" dirty="0" err="1"/>
              <a:t>explicabo</a:t>
            </a:r>
            <a:endParaRPr lang="pt-BR" dirty="0"/>
          </a:p>
          <a:p>
            <a:r>
              <a:rPr lang="pt-BR" dirty="0" err="1"/>
              <a:t>Sed</a:t>
            </a:r>
            <a:r>
              <a:rPr lang="pt-BR" dirty="0"/>
              <a:t> ut </a:t>
            </a:r>
            <a:r>
              <a:rPr lang="pt-BR" dirty="0" err="1"/>
              <a:t>perspiciatis</a:t>
            </a:r>
            <a:r>
              <a:rPr lang="pt-BR" dirty="0"/>
              <a:t> </a:t>
            </a:r>
            <a:r>
              <a:rPr lang="pt-BR" dirty="0" err="1"/>
              <a:t>unde</a:t>
            </a:r>
            <a:r>
              <a:rPr lang="pt-BR" dirty="0"/>
              <a:t> omnis </a:t>
            </a:r>
            <a:r>
              <a:rPr lang="pt-BR" dirty="0" err="1"/>
              <a:t>iste</a:t>
            </a:r>
            <a:r>
              <a:rPr lang="pt-BR" dirty="0"/>
              <a:t> </a:t>
            </a:r>
            <a:r>
              <a:rPr lang="pt-BR" dirty="0" err="1"/>
              <a:t>natus</a:t>
            </a:r>
            <a:r>
              <a:rPr lang="pt-BR" dirty="0"/>
              <a:t> </a:t>
            </a:r>
            <a:r>
              <a:rPr lang="pt-BR" dirty="0" err="1"/>
              <a:t>err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accusantium</a:t>
            </a:r>
            <a:r>
              <a:rPr lang="pt-BR" dirty="0"/>
              <a:t> </a:t>
            </a:r>
            <a:r>
              <a:rPr lang="pt-BR" dirty="0" err="1"/>
              <a:t>doloremque</a:t>
            </a:r>
            <a:r>
              <a:rPr lang="pt-BR" dirty="0"/>
              <a:t> </a:t>
            </a:r>
            <a:r>
              <a:rPr lang="pt-BR" dirty="0" err="1"/>
              <a:t>laudantium</a:t>
            </a:r>
            <a:r>
              <a:rPr lang="pt-BR" dirty="0"/>
              <a:t>, </a:t>
            </a:r>
            <a:r>
              <a:rPr lang="pt-BR" dirty="0" err="1"/>
              <a:t>totam</a:t>
            </a:r>
            <a:r>
              <a:rPr lang="pt-BR" dirty="0"/>
              <a:t> rem </a:t>
            </a:r>
            <a:r>
              <a:rPr lang="pt-BR" dirty="0" err="1"/>
              <a:t>aperiam</a:t>
            </a:r>
            <a:r>
              <a:rPr lang="pt-BR" dirty="0"/>
              <a:t>, </a:t>
            </a:r>
            <a:r>
              <a:rPr lang="pt-BR" dirty="0" err="1"/>
              <a:t>eaque</a:t>
            </a:r>
            <a:r>
              <a:rPr lang="pt-BR" dirty="0"/>
              <a:t> </a:t>
            </a:r>
            <a:r>
              <a:rPr lang="pt-BR" dirty="0" err="1"/>
              <a:t>ipsa</a:t>
            </a:r>
            <a:r>
              <a:rPr lang="pt-BR" dirty="0"/>
              <a:t> </a:t>
            </a:r>
            <a:r>
              <a:rPr lang="pt-BR" dirty="0" err="1"/>
              <a:t>quae</a:t>
            </a:r>
            <a:r>
              <a:rPr lang="pt-BR" dirty="0"/>
              <a:t> </a:t>
            </a:r>
            <a:r>
              <a:rPr lang="pt-BR" dirty="0" err="1"/>
              <a:t>ab</a:t>
            </a:r>
            <a:r>
              <a:rPr lang="pt-BR" dirty="0"/>
              <a:t> </a:t>
            </a:r>
            <a:r>
              <a:rPr lang="pt-BR" dirty="0" err="1"/>
              <a:t>illo</a:t>
            </a:r>
            <a:r>
              <a:rPr lang="pt-BR" dirty="0"/>
              <a:t> </a:t>
            </a:r>
            <a:r>
              <a:rPr lang="pt-BR" dirty="0" err="1"/>
              <a:t>inventore</a:t>
            </a:r>
            <a:r>
              <a:rPr lang="pt-BR" dirty="0"/>
              <a:t> </a:t>
            </a:r>
            <a:r>
              <a:rPr lang="pt-BR" dirty="0" err="1"/>
              <a:t>veritatis</a:t>
            </a:r>
            <a:r>
              <a:rPr lang="pt-BR" dirty="0"/>
              <a:t> et </a:t>
            </a:r>
            <a:r>
              <a:rPr lang="pt-BR" dirty="0" err="1"/>
              <a:t>quasi</a:t>
            </a:r>
            <a:r>
              <a:rPr lang="pt-BR" dirty="0"/>
              <a:t> </a:t>
            </a:r>
            <a:r>
              <a:rPr lang="pt-BR" dirty="0" err="1"/>
              <a:t>architecto</a:t>
            </a:r>
            <a:r>
              <a:rPr lang="pt-BR" dirty="0"/>
              <a:t> </a:t>
            </a:r>
            <a:r>
              <a:rPr lang="pt-BR" dirty="0" err="1"/>
              <a:t>beatae</a:t>
            </a:r>
            <a:r>
              <a:rPr lang="pt-BR" dirty="0"/>
              <a:t> vitae </a:t>
            </a:r>
            <a:r>
              <a:rPr lang="pt-BR" dirty="0" err="1"/>
              <a:t>dicta</a:t>
            </a:r>
            <a:r>
              <a:rPr lang="pt-BR" dirty="0"/>
              <a:t> sunt </a:t>
            </a:r>
            <a:r>
              <a:rPr lang="pt-BR" dirty="0" err="1"/>
              <a:t>explicabo</a:t>
            </a:r>
            <a:endParaRPr lang="pt-BR" dirty="0"/>
          </a:p>
        </p:txBody>
      </p:sp>
      <p:sp>
        <p:nvSpPr>
          <p:cNvPr id="18" name="Espaço Reservado para Texto 17">
            <a:extLst>
              <a:ext uri="{FF2B5EF4-FFF2-40B4-BE49-F238E27FC236}">
                <a16:creationId xmlns:a16="http://schemas.microsoft.com/office/drawing/2014/main" id="{75DC4227-DD03-4C02-BDC1-21575F4A587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pt-BR" dirty="0"/>
              <a:t>Inserir aqui o título da coluna</a:t>
            </a: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109874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5213DFF6-914E-4179-B35A-907FD28A37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Inserir aqui o Título do slide</a:t>
            </a:r>
          </a:p>
        </p:txBody>
      </p:sp>
      <p:sp>
        <p:nvSpPr>
          <p:cNvPr id="6" name="Espaço Reservado para Texto 5">
            <a:extLst>
              <a:ext uri="{FF2B5EF4-FFF2-40B4-BE49-F238E27FC236}">
                <a16:creationId xmlns:a16="http://schemas.microsoft.com/office/drawing/2014/main" id="{DDB751BD-26E1-4D38-ABF4-C354DBB221C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erir subtítulo do slide aqui</a:t>
            </a:r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4A4C602D-F747-4CAE-BB56-8C61919640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2211" y="6434041"/>
            <a:ext cx="482600" cy="365125"/>
          </a:xfrm>
        </p:spPr>
        <p:txBody>
          <a:bodyPr/>
          <a:lstStyle/>
          <a:p>
            <a:fld id="{DC043D3B-68EA-494F-B371-61C74477040A}" type="slidenum">
              <a:rPr lang="pt-BR" smtClean="0"/>
              <a:pPr/>
              <a:t>15</a:t>
            </a:fld>
            <a:endParaRPr lang="pt-BR"/>
          </a:p>
        </p:txBody>
      </p:sp>
      <p:graphicFrame>
        <p:nvGraphicFramePr>
          <p:cNvPr id="7" name="Tabela 7">
            <a:extLst>
              <a:ext uri="{FF2B5EF4-FFF2-40B4-BE49-F238E27FC236}">
                <a16:creationId xmlns:a16="http://schemas.microsoft.com/office/drawing/2014/main" id="{10936FA5-D46E-4BEB-9FCA-07B25A0DFB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6471415"/>
              </p:ext>
            </p:extLst>
          </p:nvPr>
        </p:nvGraphicFramePr>
        <p:xfrm>
          <a:off x="598816" y="1085426"/>
          <a:ext cx="11097882" cy="4820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49647">
                  <a:extLst>
                    <a:ext uri="{9D8B030D-6E8A-4147-A177-3AD203B41FA5}">
                      <a16:colId xmlns:a16="http://schemas.microsoft.com/office/drawing/2014/main" val="2247156374"/>
                    </a:ext>
                  </a:extLst>
                </a:gridCol>
                <a:gridCol w="1849647">
                  <a:extLst>
                    <a:ext uri="{9D8B030D-6E8A-4147-A177-3AD203B41FA5}">
                      <a16:colId xmlns:a16="http://schemas.microsoft.com/office/drawing/2014/main" val="4253176118"/>
                    </a:ext>
                  </a:extLst>
                </a:gridCol>
                <a:gridCol w="1849647">
                  <a:extLst>
                    <a:ext uri="{9D8B030D-6E8A-4147-A177-3AD203B41FA5}">
                      <a16:colId xmlns:a16="http://schemas.microsoft.com/office/drawing/2014/main" val="1759096537"/>
                    </a:ext>
                  </a:extLst>
                </a:gridCol>
                <a:gridCol w="1849647">
                  <a:extLst>
                    <a:ext uri="{9D8B030D-6E8A-4147-A177-3AD203B41FA5}">
                      <a16:colId xmlns:a16="http://schemas.microsoft.com/office/drawing/2014/main" val="334922029"/>
                    </a:ext>
                  </a:extLst>
                </a:gridCol>
                <a:gridCol w="1849647">
                  <a:extLst>
                    <a:ext uri="{9D8B030D-6E8A-4147-A177-3AD203B41FA5}">
                      <a16:colId xmlns:a16="http://schemas.microsoft.com/office/drawing/2014/main" val="1468520204"/>
                    </a:ext>
                  </a:extLst>
                </a:gridCol>
                <a:gridCol w="1849647">
                  <a:extLst>
                    <a:ext uri="{9D8B030D-6E8A-4147-A177-3AD203B41FA5}">
                      <a16:colId xmlns:a16="http://schemas.microsoft.com/office/drawing/2014/main" val="393939384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300" b="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Categoria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D6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300" b="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Coluna 01</a:t>
                      </a:r>
                      <a:endParaRPr lang="pt-BR" sz="1300" b="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D6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b="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Coluna 02</a:t>
                      </a:r>
                      <a:endParaRPr lang="pt-BR" sz="1300" b="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D6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b="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Coluna 03</a:t>
                      </a:r>
                      <a:endParaRPr lang="pt-BR" sz="1300" b="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D6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b="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Coluna 04</a:t>
                      </a:r>
                      <a:endParaRPr lang="pt-BR" sz="1300" b="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D6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b="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Coluna 05</a:t>
                      </a:r>
                      <a:endParaRPr lang="pt-BR" sz="1300" b="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D6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84186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inha 0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EE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99392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inha 0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EE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121578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inha 0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EE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001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inha 0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EE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31275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inha 0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EE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65938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inha 06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EE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45905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inha 07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EE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40470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inha 08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EE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3241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inha 09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EE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86146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inha 1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EE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79658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inha 1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EE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6737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inha 1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EE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77635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1126149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E211AA33-EC32-496E-80F1-2354F5076FF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Tabela de Comparação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56240380-6FBF-46B5-9CE3-8E5FF0591D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Comparativos entre produtos e serviços</a:t>
            </a:r>
          </a:p>
        </p:txBody>
      </p:sp>
      <p:graphicFrame>
        <p:nvGraphicFramePr>
          <p:cNvPr id="6" name="Tabela 6">
            <a:extLst>
              <a:ext uri="{FF2B5EF4-FFF2-40B4-BE49-F238E27FC236}">
                <a16:creationId xmlns:a16="http://schemas.microsoft.com/office/drawing/2014/main" id="{558E1D7F-DB7E-4FFE-B031-506A321478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3438384"/>
              </p:ext>
            </p:extLst>
          </p:nvPr>
        </p:nvGraphicFramePr>
        <p:xfrm>
          <a:off x="587375" y="944563"/>
          <a:ext cx="11125200" cy="5191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90650">
                  <a:extLst>
                    <a:ext uri="{9D8B030D-6E8A-4147-A177-3AD203B41FA5}">
                      <a16:colId xmlns:a16="http://schemas.microsoft.com/office/drawing/2014/main" val="3509203106"/>
                    </a:ext>
                  </a:extLst>
                </a:gridCol>
                <a:gridCol w="1390650">
                  <a:extLst>
                    <a:ext uri="{9D8B030D-6E8A-4147-A177-3AD203B41FA5}">
                      <a16:colId xmlns:a16="http://schemas.microsoft.com/office/drawing/2014/main" val="1041694003"/>
                    </a:ext>
                  </a:extLst>
                </a:gridCol>
                <a:gridCol w="1390650">
                  <a:extLst>
                    <a:ext uri="{9D8B030D-6E8A-4147-A177-3AD203B41FA5}">
                      <a16:colId xmlns:a16="http://schemas.microsoft.com/office/drawing/2014/main" val="3863400129"/>
                    </a:ext>
                  </a:extLst>
                </a:gridCol>
                <a:gridCol w="1390650">
                  <a:extLst>
                    <a:ext uri="{9D8B030D-6E8A-4147-A177-3AD203B41FA5}">
                      <a16:colId xmlns:a16="http://schemas.microsoft.com/office/drawing/2014/main" val="3375034444"/>
                    </a:ext>
                  </a:extLst>
                </a:gridCol>
                <a:gridCol w="1390650">
                  <a:extLst>
                    <a:ext uri="{9D8B030D-6E8A-4147-A177-3AD203B41FA5}">
                      <a16:colId xmlns:a16="http://schemas.microsoft.com/office/drawing/2014/main" val="3447589092"/>
                    </a:ext>
                  </a:extLst>
                </a:gridCol>
                <a:gridCol w="1390650">
                  <a:extLst>
                    <a:ext uri="{9D8B030D-6E8A-4147-A177-3AD203B41FA5}">
                      <a16:colId xmlns:a16="http://schemas.microsoft.com/office/drawing/2014/main" val="1791773698"/>
                    </a:ext>
                  </a:extLst>
                </a:gridCol>
                <a:gridCol w="1390650">
                  <a:extLst>
                    <a:ext uri="{9D8B030D-6E8A-4147-A177-3AD203B41FA5}">
                      <a16:colId xmlns:a16="http://schemas.microsoft.com/office/drawing/2014/main" val="3635438909"/>
                    </a:ext>
                  </a:extLst>
                </a:gridCol>
                <a:gridCol w="1390650">
                  <a:extLst>
                    <a:ext uri="{9D8B030D-6E8A-4147-A177-3AD203B41FA5}">
                      <a16:colId xmlns:a16="http://schemas.microsoft.com/office/drawing/2014/main" val="413230086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pt-BR" sz="13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pt-BR" sz="13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Hotel Comum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314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pt-BR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3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Hotel Padrão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99DBD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pt-BR" sz="13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Hotel VIP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618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pt-BR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228861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Categoria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D6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tem 01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D6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tem 02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D6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tem 03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D6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tem 04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D6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tem 05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D6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tem 06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D6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tem 06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D6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2694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300" b="1" dirty="0">
                          <a:solidFill>
                            <a:srgbClr val="B1B1A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exto 0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59605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b="1" dirty="0">
                          <a:solidFill>
                            <a:srgbClr val="B1B1A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exto 0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97581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300" b="1" dirty="0">
                          <a:solidFill>
                            <a:srgbClr val="B1B1A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exto 0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41202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300" b="1" dirty="0">
                          <a:solidFill>
                            <a:srgbClr val="B1B1A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exto 0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51746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300" b="1" dirty="0">
                          <a:solidFill>
                            <a:srgbClr val="B1B1A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exto 0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40478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300" b="1" dirty="0">
                          <a:solidFill>
                            <a:srgbClr val="B1B1A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exto 0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77852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300" b="1" dirty="0">
                          <a:solidFill>
                            <a:srgbClr val="B1B1A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exto 0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68410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300" b="1" dirty="0">
                          <a:solidFill>
                            <a:srgbClr val="B1B1A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exto 0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7717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300" b="1" dirty="0">
                          <a:solidFill>
                            <a:srgbClr val="B1B1A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exto 0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34615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300" b="1" dirty="0">
                          <a:solidFill>
                            <a:srgbClr val="B1B1A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exto 0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62365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300" b="1" dirty="0">
                          <a:solidFill>
                            <a:srgbClr val="B1B1A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exto 0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69572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300" b="1" dirty="0">
                          <a:solidFill>
                            <a:srgbClr val="B1B1A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exto 0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kern="1200" dirty="0">
                          <a:solidFill>
                            <a:srgbClr val="B1B1A1"/>
                          </a:solidFill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  <a:endParaRPr lang="pt-BR" sz="1300" dirty="0">
                        <a:solidFill>
                          <a:srgbClr val="B1B1A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20936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675841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Texto 5">
            <a:extLst>
              <a:ext uri="{FF2B5EF4-FFF2-40B4-BE49-F238E27FC236}">
                <a16:creationId xmlns:a16="http://schemas.microsoft.com/office/drawing/2014/main" id="{8A6E8D12-FD9E-4B5A-B873-10E083AD84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Inserir aqui o título do slide</a:t>
            </a:r>
          </a:p>
        </p:txBody>
      </p:sp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723BFD7E-E0CF-4EE8-B7C4-9F8A8540592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erir aqui o subtítulo do slide</a:t>
            </a:r>
          </a:p>
        </p:txBody>
      </p:sp>
      <p:sp>
        <p:nvSpPr>
          <p:cNvPr id="8" name="Espaço Reservado para Texto 7">
            <a:extLst>
              <a:ext uri="{FF2B5EF4-FFF2-40B4-BE49-F238E27FC236}">
                <a16:creationId xmlns:a16="http://schemas.microsoft.com/office/drawing/2014/main" id="{4E696062-7C5E-4FA9-9AC0-60110AC92A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BR" dirty="0" err="1"/>
              <a:t>Sed</a:t>
            </a:r>
            <a:r>
              <a:rPr lang="pt-BR" dirty="0"/>
              <a:t> ut </a:t>
            </a:r>
            <a:r>
              <a:rPr lang="pt-BR" dirty="0" err="1"/>
              <a:t>perspiciatis</a:t>
            </a:r>
            <a:r>
              <a:rPr lang="pt-BR" dirty="0"/>
              <a:t> </a:t>
            </a:r>
            <a:r>
              <a:rPr lang="pt-BR" dirty="0" err="1"/>
              <a:t>unde</a:t>
            </a:r>
            <a:r>
              <a:rPr lang="pt-BR" dirty="0"/>
              <a:t> omnis </a:t>
            </a:r>
            <a:r>
              <a:rPr lang="pt-BR" dirty="0" err="1"/>
              <a:t>iste</a:t>
            </a:r>
            <a:r>
              <a:rPr lang="pt-BR" dirty="0"/>
              <a:t> </a:t>
            </a:r>
            <a:r>
              <a:rPr lang="pt-BR" dirty="0" err="1"/>
              <a:t>natus</a:t>
            </a:r>
            <a:r>
              <a:rPr lang="pt-BR" dirty="0"/>
              <a:t> </a:t>
            </a:r>
            <a:r>
              <a:rPr lang="pt-BR" dirty="0" err="1"/>
              <a:t>err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accusantium</a:t>
            </a:r>
            <a:r>
              <a:rPr lang="pt-BR" dirty="0"/>
              <a:t> </a:t>
            </a:r>
            <a:r>
              <a:rPr lang="pt-BR" dirty="0" err="1"/>
              <a:t>doloremque</a:t>
            </a:r>
            <a:r>
              <a:rPr lang="pt-BR" dirty="0"/>
              <a:t> </a:t>
            </a:r>
            <a:r>
              <a:rPr lang="pt-BR" dirty="0" err="1"/>
              <a:t>laudantium</a:t>
            </a:r>
            <a:r>
              <a:rPr lang="pt-BR" dirty="0"/>
              <a:t>, </a:t>
            </a:r>
            <a:r>
              <a:rPr lang="pt-BR" dirty="0" err="1"/>
              <a:t>totam</a:t>
            </a:r>
            <a:r>
              <a:rPr lang="pt-BR" dirty="0"/>
              <a:t> rem </a:t>
            </a:r>
            <a:r>
              <a:rPr lang="pt-BR" dirty="0" err="1"/>
              <a:t>aperiam</a:t>
            </a:r>
            <a:r>
              <a:rPr lang="pt-BR" dirty="0"/>
              <a:t>, </a:t>
            </a:r>
            <a:r>
              <a:rPr lang="pt-BR" dirty="0" err="1"/>
              <a:t>eaque</a:t>
            </a:r>
            <a:r>
              <a:rPr lang="pt-BR" dirty="0"/>
              <a:t> </a:t>
            </a:r>
            <a:r>
              <a:rPr lang="pt-BR" dirty="0" err="1"/>
              <a:t>ipsa</a:t>
            </a:r>
            <a:r>
              <a:rPr lang="pt-BR" dirty="0"/>
              <a:t> </a:t>
            </a:r>
            <a:r>
              <a:rPr lang="pt-BR" dirty="0" err="1"/>
              <a:t>quae</a:t>
            </a:r>
            <a:r>
              <a:rPr lang="pt-BR" dirty="0"/>
              <a:t> </a:t>
            </a:r>
            <a:r>
              <a:rPr lang="pt-BR" dirty="0" err="1"/>
              <a:t>ab</a:t>
            </a:r>
            <a:r>
              <a:rPr lang="pt-BR" dirty="0"/>
              <a:t> </a:t>
            </a:r>
            <a:r>
              <a:rPr lang="pt-BR" dirty="0" err="1"/>
              <a:t>illo</a:t>
            </a:r>
            <a:r>
              <a:rPr lang="pt-BR" dirty="0"/>
              <a:t> </a:t>
            </a:r>
            <a:r>
              <a:rPr lang="pt-BR" dirty="0" err="1"/>
              <a:t>inventore</a:t>
            </a:r>
            <a:r>
              <a:rPr lang="pt-BR" dirty="0"/>
              <a:t> </a:t>
            </a:r>
            <a:r>
              <a:rPr lang="pt-BR" dirty="0" err="1"/>
              <a:t>veritatis</a:t>
            </a:r>
            <a:r>
              <a:rPr lang="pt-BR" dirty="0"/>
              <a:t> et </a:t>
            </a:r>
            <a:r>
              <a:rPr lang="pt-BR" dirty="0" err="1"/>
              <a:t>quasi</a:t>
            </a:r>
            <a:r>
              <a:rPr lang="pt-BR" dirty="0"/>
              <a:t> </a:t>
            </a:r>
            <a:r>
              <a:rPr lang="pt-BR" dirty="0" err="1"/>
              <a:t>architecto</a:t>
            </a:r>
            <a:r>
              <a:rPr lang="pt-BR" dirty="0"/>
              <a:t> </a:t>
            </a:r>
            <a:r>
              <a:rPr lang="pt-BR" dirty="0" err="1"/>
              <a:t>beatae</a:t>
            </a:r>
            <a:r>
              <a:rPr lang="pt-BR" dirty="0"/>
              <a:t> vitae </a:t>
            </a:r>
            <a:r>
              <a:rPr lang="pt-BR" dirty="0" err="1"/>
              <a:t>dicta</a:t>
            </a:r>
            <a:r>
              <a:rPr lang="pt-BR" dirty="0"/>
              <a:t> sunt </a:t>
            </a:r>
            <a:r>
              <a:rPr lang="pt-BR" dirty="0" err="1"/>
              <a:t>explicabo</a:t>
            </a:r>
            <a:r>
              <a:rPr lang="pt-BR" dirty="0"/>
              <a:t>. Nemo </a:t>
            </a:r>
            <a:r>
              <a:rPr lang="pt-BR" dirty="0" err="1"/>
              <a:t>enim</a:t>
            </a:r>
            <a:r>
              <a:rPr lang="pt-BR" dirty="0"/>
              <a:t> </a:t>
            </a:r>
            <a:r>
              <a:rPr lang="pt-BR" dirty="0" err="1"/>
              <a:t>ipsam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quia</a:t>
            </a:r>
            <a:r>
              <a:rPr lang="pt-BR" dirty="0"/>
              <a:t> </a:t>
            </a:r>
            <a:r>
              <a:rPr lang="pt-BR" dirty="0" err="1"/>
              <a:t>voluptas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spernatur</a:t>
            </a:r>
            <a:r>
              <a:rPr lang="pt-BR" dirty="0"/>
              <a:t> </a:t>
            </a:r>
            <a:r>
              <a:rPr lang="pt-BR" dirty="0" err="1"/>
              <a:t>aut</a:t>
            </a:r>
            <a:r>
              <a:rPr lang="pt-BR" dirty="0"/>
              <a:t> </a:t>
            </a:r>
            <a:r>
              <a:rPr lang="pt-BR" dirty="0" err="1"/>
              <a:t>odit</a:t>
            </a:r>
            <a:r>
              <a:rPr lang="pt-BR" dirty="0"/>
              <a:t> </a:t>
            </a:r>
            <a:r>
              <a:rPr lang="pt-BR" dirty="0" err="1"/>
              <a:t>aut</a:t>
            </a:r>
            <a:r>
              <a:rPr lang="pt-BR" dirty="0"/>
              <a:t> </a:t>
            </a:r>
            <a:r>
              <a:rPr lang="pt-BR" dirty="0" err="1"/>
              <a:t>fug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</a:t>
            </a:r>
            <a:r>
              <a:rPr lang="pt-BR" dirty="0" err="1"/>
              <a:t>quia</a:t>
            </a:r>
            <a:r>
              <a:rPr lang="pt-BR" dirty="0"/>
              <a:t> </a:t>
            </a:r>
            <a:r>
              <a:rPr lang="pt-BR" dirty="0" err="1"/>
              <a:t>consequuntur</a:t>
            </a:r>
            <a:r>
              <a:rPr lang="pt-BR" dirty="0"/>
              <a:t> </a:t>
            </a:r>
            <a:r>
              <a:rPr lang="pt-BR" dirty="0" err="1"/>
              <a:t>magni</a:t>
            </a:r>
            <a:r>
              <a:rPr lang="pt-BR" dirty="0"/>
              <a:t> </a:t>
            </a:r>
            <a:r>
              <a:rPr lang="pt-BR" dirty="0" err="1"/>
              <a:t>dolores</a:t>
            </a:r>
            <a:r>
              <a:rPr lang="pt-BR" dirty="0"/>
              <a:t> </a:t>
            </a:r>
            <a:r>
              <a:rPr lang="pt-BR" dirty="0" err="1"/>
              <a:t>eos</a:t>
            </a:r>
            <a:r>
              <a:rPr lang="pt-BR" dirty="0"/>
              <a:t> </a:t>
            </a:r>
            <a:r>
              <a:rPr lang="pt-BR" dirty="0" err="1"/>
              <a:t>qui</a:t>
            </a:r>
            <a:r>
              <a:rPr lang="pt-BR" dirty="0"/>
              <a:t> ratione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sequi</a:t>
            </a:r>
            <a:r>
              <a:rPr lang="pt-BR" dirty="0"/>
              <a:t> </a:t>
            </a:r>
            <a:r>
              <a:rPr lang="pt-BR" dirty="0" err="1"/>
              <a:t>nesciunt</a:t>
            </a:r>
            <a:r>
              <a:rPr lang="pt-BR" dirty="0"/>
              <a:t>. </a:t>
            </a:r>
          </a:p>
          <a:p>
            <a:pPr lvl="1"/>
            <a:r>
              <a:rPr lang="pt-BR" dirty="0"/>
              <a:t>Item 01</a:t>
            </a:r>
          </a:p>
          <a:p>
            <a:pPr lvl="1"/>
            <a:r>
              <a:rPr lang="pt-BR" dirty="0"/>
              <a:t>Item 02</a:t>
            </a:r>
          </a:p>
          <a:p>
            <a:pPr lvl="1"/>
            <a:r>
              <a:rPr lang="pt-BR" dirty="0"/>
              <a:t>Item 03</a:t>
            </a:r>
          </a:p>
          <a:p>
            <a:pPr lvl="1"/>
            <a:r>
              <a:rPr lang="pt-BR" dirty="0"/>
              <a:t>Item 04</a:t>
            </a:r>
          </a:p>
          <a:p>
            <a:endParaRPr lang="pt-BR" dirty="0"/>
          </a:p>
          <a:p>
            <a:r>
              <a:rPr lang="pt-BR" dirty="0" err="1"/>
              <a:t>Sed</a:t>
            </a:r>
            <a:r>
              <a:rPr lang="pt-BR" dirty="0"/>
              <a:t> ut </a:t>
            </a:r>
            <a:r>
              <a:rPr lang="pt-BR" dirty="0" err="1"/>
              <a:t>perspiciatis</a:t>
            </a:r>
            <a:r>
              <a:rPr lang="pt-BR" dirty="0"/>
              <a:t> </a:t>
            </a:r>
            <a:r>
              <a:rPr lang="pt-BR" dirty="0" err="1"/>
              <a:t>unde</a:t>
            </a:r>
            <a:r>
              <a:rPr lang="pt-BR" dirty="0"/>
              <a:t> omnis </a:t>
            </a:r>
            <a:r>
              <a:rPr lang="pt-BR" dirty="0" err="1"/>
              <a:t>iste</a:t>
            </a:r>
            <a:r>
              <a:rPr lang="pt-BR" dirty="0"/>
              <a:t> </a:t>
            </a:r>
            <a:r>
              <a:rPr lang="pt-BR" dirty="0" err="1"/>
              <a:t>natus</a:t>
            </a:r>
            <a:r>
              <a:rPr lang="pt-BR" dirty="0"/>
              <a:t> </a:t>
            </a:r>
            <a:r>
              <a:rPr lang="pt-BR" dirty="0" err="1"/>
              <a:t>err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accusantium</a:t>
            </a:r>
            <a:r>
              <a:rPr lang="pt-BR" dirty="0"/>
              <a:t> </a:t>
            </a:r>
            <a:r>
              <a:rPr lang="pt-BR" dirty="0" err="1"/>
              <a:t>doloremque</a:t>
            </a:r>
            <a:r>
              <a:rPr lang="pt-BR" dirty="0"/>
              <a:t> </a:t>
            </a:r>
            <a:r>
              <a:rPr lang="pt-BR" dirty="0" err="1"/>
              <a:t>laudantium</a:t>
            </a:r>
            <a:r>
              <a:rPr lang="pt-BR" dirty="0"/>
              <a:t>, </a:t>
            </a:r>
            <a:r>
              <a:rPr lang="pt-BR" dirty="0" err="1"/>
              <a:t>totam</a:t>
            </a:r>
            <a:r>
              <a:rPr lang="pt-BR" dirty="0"/>
              <a:t> rem </a:t>
            </a:r>
            <a:r>
              <a:rPr lang="pt-BR" dirty="0" err="1"/>
              <a:t>aperiam</a:t>
            </a:r>
            <a:r>
              <a:rPr lang="pt-BR" dirty="0"/>
              <a:t>, </a:t>
            </a:r>
            <a:r>
              <a:rPr lang="pt-BR" dirty="0" err="1"/>
              <a:t>eaque</a:t>
            </a:r>
            <a:r>
              <a:rPr lang="pt-BR" dirty="0"/>
              <a:t> </a:t>
            </a:r>
            <a:r>
              <a:rPr lang="pt-BR" dirty="0" err="1"/>
              <a:t>ipsa</a:t>
            </a:r>
            <a:r>
              <a:rPr lang="pt-BR" dirty="0"/>
              <a:t> </a:t>
            </a:r>
            <a:r>
              <a:rPr lang="pt-BR" dirty="0" err="1"/>
              <a:t>quae</a:t>
            </a:r>
            <a:r>
              <a:rPr lang="pt-BR" dirty="0"/>
              <a:t> </a:t>
            </a:r>
            <a:r>
              <a:rPr lang="pt-BR" dirty="0" err="1"/>
              <a:t>ab</a:t>
            </a:r>
            <a:r>
              <a:rPr lang="pt-BR" dirty="0"/>
              <a:t> </a:t>
            </a:r>
            <a:r>
              <a:rPr lang="pt-BR" dirty="0" err="1"/>
              <a:t>illo</a:t>
            </a:r>
            <a:r>
              <a:rPr lang="pt-BR" dirty="0"/>
              <a:t> </a:t>
            </a:r>
            <a:r>
              <a:rPr lang="pt-BR" dirty="0" err="1"/>
              <a:t>inventore</a:t>
            </a:r>
            <a:r>
              <a:rPr lang="pt-BR" dirty="0"/>
              <a:t> </a:t>
            </a:r>
            <a:r>
              <a:rPr lang="pt-BR" dirty="0" err="1"/>
              <a:t>veritatis</a:t>
            </a:r>
            <a:r>
              <a:rPr lang="pt-BR" dirty="0"/>
              <a:t> et </a:t>
            </a:r>
            <a:r>
              <a:rPr lang="pt-BR" dirty="0" err="1"/>
              <a:t>quasi</a:t>
            </a:r>
            <a:r>
              <a:rPr lang="pt-BR" dirty="0"/>
              <a:t> </a:t>
            </a:r>
            <a:r>
              <a:rPr lang="pt-BR" dirty="0" err="1"/>
              <a:t>architecto</a:t>
            </a:r>
            <a:r>
              <a:rPr lang="pt-BR" dirty="0"/>
              <a:t> </a:t>
            </a:r>
            <a:r>
              <a:rPr lang="pt-BR" dirty="0" err="1"/>
              <a:t>beatae</a:t>
            </a:r>
            <a:r>
              <a:rPr lang="pt-BR" dirty="0"/>
              <a:t> vitae </a:t>
            </a:r>
            <a:r>
              <a:rPr lang="pt-BR" dirty="0" err="1"/>
              <a:t>dicta</a:t>
            </a:r>
            <a:r>
              <a:rPr lang="pt-BR" dirty="0"/>
              <a:t> sunt </a:t>
            </a:r>
            <a:r>
              <a:rPr lang="pt-BR" dirty="0" err="1"/>
              <a:t>explicabo</a:t>
            </a:r>
            <a:endParaRPr lang="pt-BR" dirty="0"/>
          </a:p>
          <a:p>
            <a:r>
              <a:rPr lang="pt-BR" dirty="0" err="1"/>
              <a:t>Sed</a:t>
            </a:r>
            <a:r>
              <a:rPr lang="pt-BR" dirty="0"/>
              <a:t> ut </a:t>
            </a:r>
            <a:r>
              <a:rPr lang="pt-BR" dirty="0" err="1"/>
              <a:t>perspiciatis</a:t>
            </a:r>
            <a:r>
              <a:rPr lang="pt-BR" dirty="0"/>
              <a:t> </a:t>
            </a:r>
            <a:r>
              <a:rPr lang="pt-BR" dirty="0" err="1"/>
              <a:t>unde</a:t>
            </a:r>
            <a:r>
              <a:rPr lang="pt-BR" dirty="0"/>
              <a:t> omnis </a:t>
            </a:r>
            <a:r>
              <a:rPr lang="pt-BR" dirty="0" err="1"/>
              <a:t>iste</a:t>
            </a:r>
            <a:r>
              <a:rPr lang="pt-BR" dirty="0"/>
              <a:t> </a:t>
            </a:r>
            <a:r>
              <a:rPr lang="pt-BR" dirty="0" err="1"/>
              <a:t>natus</a:t>
            </a:r>
            <a:r>
              <a:rPr lang="pt-BR" dirty="0"/>
              <a:t> </a:t>
            </a:r>
            <a:r>
              <a:rPr lang="pt-BR" dirty="0" err="1"/>
              <a:t>err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accusantium</a:t>
            </a:r>
            <a:r>
              <a:rPr lang="pt-BR" dirty="0"/>
              <a:t> </a:t>
            </a:r>
            <a:r>
              <a:rPr lang="pt-BR" dirty="0" err="1"/>
              <a:t>doloremque</a:t>
            </a:r>
            <a:r>
              <a:rPr lang="pt-BR" dirty="0"/>
              <a:t> </a:t>
            </a:r>
            <a:r>
              <a:rPr lang="pt-BR" dirty="0" err="1"/>
              <a:t>laudantium</a:t>
            </a:r>
            <a:r>
              <a:rPr lang="pt-BR" dirty="0"/>
              <a:t>, </a:t>
            </a:r>
            <a:r>
              <a:rPr lang="pt-BR" dirty="0" err="1"/>
              <a:t>totam</a:t>
            </a:r>
            <a:r>
              <a:rPr lang="pt-BR" dirty="0"/>
              <a:t> rem </a:t>
            </a:r>
            <a:r>
              <a:rPr lang="pt-BR" dirty="0" err="1"/>
              <a:t>aperiam</a:t>
            </a:r>
            <a:r>
              <a:rPr lang="pt-BR" dirty="0"/>
              <a:t>, </a:t>
            </a:r>
            <a:r>
              <a:rPr lang="pt-BR" dirty="0" err="1"/>
              <a:t>eaque</a:t>
            </a:r>
            <a:r>
              <a:rPr lang="pt-BR" dirty="0"/>
              <a:t> </a:t>
            </a:r>
            <a:r>
              <a:rPr lang="pt-BR" dirty="0" err="1"/>
              <a:t>ipsa</a:t>
            </a:r>
            <a:r>
              <a:rPr lang="pt-BR" dirty="0"/>
              <a:t> </a:t>
            </a:r>
            <a:r>
              <a:rPr lang="pt-BR" dirty="0" err="1"/>
              <a:t>quae</a:t>
            </a:r>
            <a:r>
              <a:rPr lang="pt-BR" dirty="0"/>
              <a:t> </a:t>
            </a:r>
            <a:r>
              <a:rPr lang="pt-BR" dirty="0" err="1"/>
              <a:t>ab</a:t>
            </a:r>
            <a:r>
              <a:rPr lang="pt-BR" dirty="0"/>
              <a:t> </a:t>
            </a:r>
            <a:r>
              <a:rPr lang="pt-BR" dirty="0" err="1"/>
              <a:t>illo</a:t>
            </a:r>
            <a:r>
              <a:rPr lang="pt-BR" dirty="0"/>
              <a:t> </a:t>
            </a:r>
            <a:r>
              <a:rPr lang="pt-BR" dirty="0" err="1"/>
              <a:t>inventore</a:t>
            </a:r>
            <a:r>
              <a:rPr lang="pt-BR" dirty="0"/>
              <a:t> </a:t>
            </a:r>
            <a:r>
              <a:rPr lang="pt-BR" dirty="0" err="1"/>
              <a:t>veritatis</a:t>
            </a:r>
            <a:r>
              <a:rPr lang="pt-BR" dirty="0"/>
              <a:t> et </a:t>
            </a:r>
            <a:r>
              <a:rPr lang="pt-BR" dirty="0" err="1"/>
              <a:t>quasi</a:t>
            </a:r>
            <a:r>
              <a:rPr lang="pt-BR" dirty="0"/>
              <a:t> </a:t>
            </a:r>
            <a:r>
              <a:rPr lang="pt-BR" dirty="0" err="1"/>
              <a:t>architecto</a:t>
            </a:r>
            <a:r>
              <a:rPr lang="pt-BR" dirty="0"/>
              <a:t> </a:t>
            </a:r>
            <a:r>
              <a:rPr lang="pt-BR" dirty="0" err="1"/>
              <a:t>beatae</a:t>
            </a:r>
            <a:r>
              <a:rPr lang="pt-BR" dirty="0"/>
              <a:t> vitae </a:t>
            </a:r>
            <a:r>
              <a:rPr lang="pt-BR" dirty="0" err="1"/>
              <a:t>dicta</a:t>
            </a:r>
            <a:r>
              <a:rPr lang="pt-BR" dirty="0"/>
              <a:t> sunt </a:t>
            </a:r>
            <a:r>
              <a:rPr lang="pt-BR" dirty="0" err="1"/>
              <a:t>explicabo</a:t>
            </a:r>
            <a:endParaRPr lang="pt-BR" dirty="0"/>
          </a:p>
          <a:p>
            <a:endParaRPr lang="pt-BR" dirty="0"/>
          </a:p>
        </p:txBody>
      </p:sp>
      <p:graphicFrame>
        <p:nvGraphicFramePr>
          <p:cNvPr id="3" name="Tabela 7">
            <a:extLst>
              <a:ext uri="{FF2B5EF4-FFF2-40B4-BE49-F238E27FC236}">
                <a16:creationId xmlns:a16="http://schemas.microsoft.com/office/drawing/2014/main" id="{0A7D94B9-B7A8-465C-915F-7C7069BF83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6743737"/>
              </p:ext>
            </p:extLst>
          </p:nvPr>
        </p:nvGraphicFramePr>
        <p:xfrm>
          <a:off x="6337299" y="944563"/>
          <a:ext cx="5375275" cy="52212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5055">
                  <a:extLst>
                    <a:ext uri="{9D8B030D-6E8A-4147-A177-3AD203B41FA5}">
                      <a16:colId xmlns:a16="http://schemas.microsoft.com/office/drawing/2014/main" val="2247156374"/>
                    </a:ext>
                  </a:extLst>
                </a:gridCol>
                <a:gridCol w="1075055">
                  <a:extLst>
                    <a:ext uri="{9D8B030D-6E8A-4147-A177-3AD203B41FA5}">
                      <a16:colId xmlns:a16="http://schemas.microsoft.com/office/drawing/2014/main" val="4253176118"/>
                    </a:ext>
                  </a:extLst>
                </a:gridCol>
                <a:gridCol w="1075055">
                  <a:extLst>
                    <a:ext uri="{9D8B030D-6E8A-4147-A177-3AD203B41FA5}">
                      <a16:colId xmlns:a16="http://schemas.microsoft.com/office/drawing/2014/main" val="1759096537"/>
                    </a:ext>
                  </a:extLst>
                </a:gridCol>
                <a:gridCol w="1075055">
                  <a:extLst>
                    <a:ext uri="{9D8B030D-6E8A-4147-A177-3AD203B41FA5}">
                      <a16:colId xmlns:a16="http://schemas.microsoft.com/office/drawing/2014/main" val="334922029"/>
                    </a:ext>
                  </a:extLst>
                </a:gridCol>
                <a:gridCol w="1075055">
                  <a:extLst>
                    <a:ext uri="{9D8B030D-6E8A-4147-A177-3AD203B41FA5}">
                      <a16:colId xmlns:a16="http://schemas.microsoft.com/office/drawing/2014/main" val="1468520204"/>
                    </a:ext>
                  </a:extLst>
                </a:gridCol>
              </a:tblGrid>
              <a:tr h="401638">
                <a:tc>
                  <a:txBody>
                    <a:bodyPr/>
                    <a:lstStyle/>
                    <a:p>
                      <a:pPr algn="ctr"/>
                      <a:r>
                        <a:rPr lang="pt-BR" sz="1300" b="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Categoria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D6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300" b="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Coluna 01</a:t>
                      </a:r>
                      <a:endParaRPr lang="pt-BR" sz="1300" b="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D6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b="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Coluna 02</a:t>
                      </a:r>
                      <a:endParaRPr lang="pt-BR" sz="1300" b="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D6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b="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Coluna 03</a:t>
                      </a:r>
                      <a:endParaRPr lang="pt-BR" sz="1300" b="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D6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b="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Coluna 04</a:t>
                      </a:r>
                      <a:endParaRPr lang="pt-BR" sz="1300" b="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D6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8418677"/>
                  </a:ext>
                </a:extLst>
              </a:tr>
              <a:tr h="401638">
                <a:tc>
                  <a:txBody>
                    <a:bodyPr/>
                    <a:lstStyle/>
                    <a:p>
                      <a:pPr algn="ctr"/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inha 0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EE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9939208"/>
                  </a:ext>
                </a:extLst>
              </a:tr>
              <a:tr h="401638">
                <a:tc>
                  <a:txBody>
                    <a:bodyPr/>
                    <a:lstStyle/>
                    <a:p>
                      <a:pPr algn="ctr"/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inha 0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EE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1215785"/>
                  </a:ext>
                </a:extLst>
              </a:tr>
              <a:tr h="401638">
                <a:tc>
                  <a:txBody>
                    <a:bodyPr/>
                    <a:lstStyle/>
                    <a:p>
                      <a:pPr algn="ctr"/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inha 0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EE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00130"/>
                  </a:ext>
                </a:extLst>
              </a:tr>
              <a:tr h="401638">
                <a:tc>
                  <a:txBody>
                    <a:bodyPr/>
                    <a:lstStyle/>
                    <a:p>
                      <a:pPr algn="ctr"/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inha 0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EE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3127564"/>
                  </a:ext>
                </a:extLst>
              </a:tr>
              <a:tr h="401638">
                <a:tc>
                  <a:txBody>
                    <a:bodyPr/>
                    <a:lstStyle/>
                    <a:p>
                      <a:pPr algn="ctr"/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inha 0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EE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6593802"/>
                  </a:ext>
                </a:extLst>
              </a:tr>
              <a:tr h="401638">
                <a:tc>
                  <a:txBody>
                    <a:bodyPr/>
                    <a:lstStyle/>
                    <a:p>
                      <a:pPr algn="ctr"/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inha 06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EE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4590580"/>
                  </a:ext>
                </a:extLst>
              </a:tr>
              <a:tr h="401638">
                <a:tc>
                  <a:txBody>
                    <a:bodyPr/>
                    <a:lstStyle/>
                    <a:p>
                      <a:pPr algn="ctr"/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inha 07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EE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4047057"/>
                  </a:ext>
                </a:extLst>
              </a:tr>
              <a:tr h="401638">
                <a:tc>
                  <a:txBody>
                    <a:bodyPr/>
                    <a:lstStyle/>
                    <a:p>
                      <a:pPr algn="ctr"/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inha 08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EE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3241758"/>
                  </a:ext>
                </a:extLst>
              </a:tr>
              <a:tr h="401638">
                <a:tc>
                  <a:txBody>
                    <a:bodyPr/>
                    <a:lstStyle/>
                    <a:p>
                      <a:pPr algn="ctr"/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inha 09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EE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8614623"/>
                  </a:ext>
                </a:extLst>
              </a:tr>
              <a:tr h="401638">
                <a:tc>
                  <a:txBody>
                    <a:bodyPr/>
                    <a:lstStyle/>
                    <a:p>
                      <a:pPr algn="ctr"/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inha 1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EE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7965881"/>
                  </a:ext>
                </a:extLst>
              </a:tr>
              <a:tr h="401638">
                <a:tc>
                  <a:txBody>
                    <a:bodyPr/>
                    <a:lstStyle/>
                    <a:p>
                      <a:pPr algn="ctr"/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inha 1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EE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673798"/>
                  </a:ext>
                </a:extLst>
              </a:tr>
              <a:tr h="401638">
                <a:tc>
                  <a:txBody>
                    <a:bodyPr/>
                    <a:lstStyle/>
                    <a:p>
                      <a:pPr algn="ctr"/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inha 1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EE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>
                          <a:solidFill>
                            <a:srgbClr val="6E6E6E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77635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5751016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ço Reservado para Conteúdo 15">
            <a:extLst>
              <a:ext uri="{FF2B5EF4-FFF2-40B4-BE49-F238E27FC236}">
                <a16:creationId xmlns:a16="http://schemas.microsoft.com/office/drawing/2014/main" id="{2AD39FC1-61DB-4D27-9732-F2A993CBAD78}"/>
              </a:ext>
            </a:extLst>
          </p:cNvPr>
          <p:cNvSpPr txBox="1">
            <a:spLocks/>
          </p:cNvSpPr>
          <p:nvPr/>
        </p:nvSpPr>
        <p:spPr>
          <a:xfrm>
            <a:off x="4319241" y="1646785"/>
            <a:ext cx="3634920" cy="4389078"/>
          </a:xfrm>
          <a:prstGeom prst="rect">
            <a:avLst/>
          </a:prstGeom>
          <a:solidFill>
            <a:srgbClr val="D6D6CE"/>
          </a:solidFill>
          <a:ln>
            <a:solidFill>
              <a:srgbClr val="D6D6CE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endParaRPr lang="pt-BR" sz="1400" b="1" dirty="0">
              <a:solidFill>
                <a:srgbClr val="FF0000"/>
              </a:solidFill>
              <a:latin typeface="Trebuchet MS" panose="020B0603020202020204" pitchFamily="34" charset="0"/>
            </a:endParaRPr>
          </a:p>
          <a:p>
            <a:pPr marL="80963" indent="-80963">
              <a:lnSpc>
                <a:spcPct val="100000"/>
              </a:lnSpc>
            </a:pPr>
            <a:endParaRPr lang="en-US" sz="1300" b="1" dirty="0">
              <a:latin typeface="Trebuchet MS" panose="020B0603020202020204" pitchFamily="34" charset="0"/>
            </a:endParaRPr>
          </a:p>
        </p:txBody>
      </p:sp>
      <p:sp>
        <p:nvSpPr>
          <p:cNvPr id="12" name="Espaço Reservado para Conteúdo 15">
            <a:extLst>
              <a:ext uri="{FF2B5EF4-FFF2-40B4-BE49-F238E27FC236}">
                <a16:creationId xmlns:a16="http://schemas.microsoft.com/office/drawing/2014/main" id="{603E8C6E-007C-4D65-BA66-F6AEDA544F31}"/>
              </a:ext>
            </a:extLst>
          </p:cNvPr>
          <p:cNvSpPr txBox="1">
            <a:spLocks/>
          </p:cNvSpPr>
          <p:nvPr/>
        </p:nvSpPr>
        <p:spPr>
          <a:xfrm>
            <a:off x="598816" y="1646786"/>
            <a:ext cx="3634920" cy="4389080"/>
          </a:xfrm>
          <a:prstGeom prst="rect">
            <a:avLst/>
          </a:prstGeom>
          <a:solidFill>
            <a:schemeClr val="bg1"/>
          </a:solidFill>
          <a:ln>
            <a:solidFill>
              <a:srgbClr val="D6D6CE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endParaRPr lang="pt-BR" sz="1400" b="1" dirty="0">
              <a:latin typeface="Trebuchet MS" panose="020B0603020202020204" pitchFamily="34" charset="0"/>
            </a:endParaRPr>
          </a:p>
          <a:p>
            <a:pPr marL="0" indent="0">
              <a:lnSpc>
                <a:spcPct val="100000"/>
              </a:lnSpc>
              <a:buNone/>
            </a:pPr>
            <a:endParaRPr lang="en-US" sz="1400" b="1" dirty="0">
              <a:latin typeface="Trebuchet MS" panose="020B0603020202020204" pitchFamily="34" charset="0"/>
            </a:endParaRPr>
          </a:p>
          <a:p>
            <a:pPr marL="0" indent="0">
              <a:lnSpc>
                <a:spcPct val="100000"/>
              </a:lnSpc>
              <a:buNone/>
            </a:pPr>
            <a:endParaRPr lang="en-US" sz="1300" b="1" dirty="0">
              <a:latin typeface="Trebuchet MS" panose="020B0603020202020204" pitchFamily="34" charset="0"/>
            </a:endParaRP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06E7AE0C-1D29-4B0A-980D-4C495349FBB5}"/>
              </a:ext>
            </a:extLst>
          </p:cNvPr>
          <p:cNvSpPr txBox="1"/>
          <p:nvPr/>
        </p:nvSpPr>
        <p:spPr>
          <a:xfrm>
            <a:off x="4428341" y="1750428"/>
            <a:ext cx="3365836" cy="398820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50000"/>
              </a:lnSpc>
            </a:pPr>
            <a:r>
              <a:rPr lang="pt-BR" sz="1000" b="1" dirty="0">
                <a:solidFill>
                  <a:srgbClr val="26314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XXXXXXXXXXXXX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000" dirty="0">
                <a:latin typeface="Segoe UI" panose="020B0502040204020203" pitchFamily="34" charset="0"/>
                <a:cs typeface="Segoe UI" panose="020B0502040204020203" pitchFamily="34" charset="0"/>
              </a:rPr>
              <a:t>XXXXXXXX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000" dirty="0">
                <a:latin typeface="Segoe UI" panose="020B0502040204020203" pitchFamily="34" charset="0"/>
                <a:cs typeface="Segoe UI" panose="020B0502040204020203" pitchFamily="34" charset="0"/>
              </a:rPr>
              <a:t>XXXXXXXX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000" dirty="0">
                <a:latin typeface="Segoe UI" panose="020B0502040204020203" pitchFamily="34" charset="0"/>
                <a:cs typeface="Segoe UI" panose="020B0502040204020203" pitchFamily="34" charset="0"/>
              </a:rPr>
              <a:t>XXXXXXXX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000" dirty="0">
                <a:latin typeface="Segoe UI" panose="020B0502040204020203" pitchFamily="34" charset="0"/>
                <a:cs typeface="Segoe UI" panose="020B0502040204020203" pitchFamily="34" charset="0"/>
              </a:rPr>
              <a:t>XXXXXXXX</a:t>
            </a:r>
          </a:p>
          <a:p>
            <a:pPr>
              <a:lnSpc>
                <a:spcPct val="150000"/>
              </a:lnSpc>
            </a:pPr>
            <a:endParaRPr lang="pt-BR" sz="10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000" b="1" dirty="0">
                <a:solidFill>
                  <a:srgbClr val="26314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XXXXXXXXXXXXX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000" dirty="0">
                <a:latin typeface="Segoe UI" panose="020B0502040204020203" pitchFamily="34" charset="0"/>
                <a:cs typeface="Segoe UI" panose="020B0502040204020203" pitchFamily="34" charset="0"/>
              </a:rPr>
              <a:t>XXXXXXXX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000" dirty="0">
                <a:latin typeface="Segoe UI" panose="020B0502040204020203" pitchFamily="34" charset="0"/>
                <a:cs typeface="Segoe UI" panose="020B0502040204020203" pitchFamily="34" charset="0"/>
              </a:rPr>
              <a:t>XXXXXXXX</a:t>
            </a:r>
          </a:p>
          <a:p>
            <a:pPr marL="628650" lvl="1" indent="-171450">
              <a:lnSpc>
                <a:spcPct val="150000"/>
              </a:lnSpc>
              <a:buFont typeface="Trebuchet MS" panose="020B0603020202020204" pitchFamily="34" charset="0"/>
              <a:buChar char="―"/>
            </a:pPr>
            <a:r>
              <a:rPr lang="pt-BR" sz="1000" dirty="0">
                <a:latin typeface="Segoe UI" panose="020B0502040204020203" pitchFamily="34" charset="0"/>
                <a:cs typeface="Segoe UI" panose="020B0502040204020203" pitchFamily="34" charset="0"/>
              </a:rPr>
              <a:t>XXXXX</a:t>
            </a:r>
          </a:p>
          <a:p>
            <a:pPr marL="628650" lvl="1" indent="-171450">
              <a:lnSpc>
                <a:spcPct val="150000"/>
              </a:lnSpc>
              <a:buFont typeface="Trebuchet MS" panose="020B0603020202020204" pitchFamily="34" charset="0"/>
              <a:buChar char="―"/>
            </a:pPr>
            <a:r>
              <a:rPr lang="pt-BR" sz="1000" dirty="0">
                <a:latin typeface="Segoe UI" panose="020B0502040204020203" pitchFamily="34" charset="0"/>
                <a:cs typeface="Segoe UI" panose="020B0502040204020203" pitchFamily="34" charset="0"/>
              </a:rPr>
              <a:t>XXXXXXXXX</a:t>
            </a:r>
            <a:br>
              <a:rPr lang="pt-BR" sz="1000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pt-BR" sz="10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1000" b="1" dirty="0">
                <a:solidFill>
                  <a:srgbClr val="26314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XXXXXXXXXXXXX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000" dirty="0">
                <a:latin typeface="Segoe UI" panose="020B0502040204020203" pitchFamily="34" charset="0"/>
                <a:cs typeface="Segoe UI" panose="020B0502040204020203" pitchFamily="34" charset="0"/>
              </a:rPr>
              <a:t>XXXXXXXX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000" dirty="0">
                <a:latin typeface="Segoe UI" panose="020B0502040204020203" pitchFamily="34" charset="0"/>
                <a:cs typeface="Segoe UI" panose="020B0502040204020203" pitchFamily="34" charset="0"/>
              </a:rPr>
              <a:t>XXXXXXXX</a:t>
            </a:r>
            <a:br>
              <a:rPr lang="pt-BR" sz="1000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pt-BR" sz="1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77D264FB-A5FA-459D-887E-8C6ADA72A4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Become the best hotel operator option in brazil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BF284755-B2B8-4D39-9483-AA75AA25C1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ore flexible and as good as our key competitor</a:t>
            </a:r>
            <a:endParaRPr lang="pt-BR" dirty="0"/>
          </a:p>
        </p:txBody>
      </p:sp>
      <p:sp>
        <p:nvSpPr>
          <p:cNvPr id="7" name="Espaço Reservado para Conteúdo 18">
            <a:extLst>
              <a:ext uri="{FF2B5EF4-FFF2-40B4-BE49-F238E27FC236}">
                <a16:creationId xmlns:a16="http://schemas.microsoft.com/office/drawing/2014/main" id="{9477792B-DE31-4658-BAAD-6A8A33BE748B}"/>
              </a:ext>
            </a:extLst>
          </p:cNvPr>
          <p:cNvSpPr txBox="1">
            <a:spLocks/>
          </p:cNvSpPr>
          <p:nvPr/>
        </p:nvSpPr>
        <p:spPr>
          <a:xfrm>
            <a:off x="598816" y="1070784"/>
            <a:ext cx="3634920" cy="576000"/>
          </a:xfrm>
          <a:prstGeom prst="rect">
            <a:avLst/>
          </a:prstGeom>
          <a:solidFill>
            <a:srgbClr val="D6D6CE"/>
          </a:solidFill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2000" b="1" dirty="0">
                <a:solidFill>
                  <a:srgbClr val="263143"/>
                </a:solidFill>
                <a:latin typeface="Trebuchet MS" panose="020B0603020202020204" pitchFamily="34" charset="0"/>
              </a:rPr>
              <a:t>2019 (9+3)</a:t>
            </a:r>
          </a:p>
          <a:p>
            <a:pPr marL="0" indent="0" algn="ctr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100" dirty="0">
                <a:solidFill>
                  <a:srgbClr val="263143"/>
                </a:solidFill>
                <a:latin typeface="Trebuchet MS" panose="020B0603020202020204" pitchFamily="34" charset="0"/>
              </a:rPr>
              <a:t>FORECAST</a:t>
            </a:r>
            <a:endParaRPr lang="en-US" sz="1200" dirty="0">
              <a:solidFill>
                <a:srgbClr val="263143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Espaço Reservado para Conteúdo 19">
            <a:extLst>
              <a:ext uri="{FF2B5EF4-FFF2-40B4-BE49-F238E27FC236}">
                <a16:creationId xmlns:a16="http://schemas.microsoft.com/office/drawing/2014/main" id="{C5E86C0E-1672-41B0-A2ED-3745E8097DF7}"/>
              </a:ext>
            </a:extLst>
          </p:cNvPr>
          <p:cNvSpPr txBox="1">
            <a:spLocks/>
          </p:cNvSpPr>
          <p:nvPr/>
        </p:nvSpPr>
        <p:spPr>
          <a:xfrm>
            <a:off x="4319241" y="1070784"/>
            <a:ext cx="3634920" cy="576000"/>
          </a:xfrm>
          <a:prstGeom prst="rect">
            <a:avLst/>
          </a:prstGeom>
          <a:solidFill>
            <a:srgbClr val="263143"/>
          </a:solidFill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2000" b="1" dirty="0">
                <a:solidFill>
                  <a:schemeClr val="bg1"/>
                </a:solidFill>
                <a:latin typeface="Trebuchet MS" panose="020B0603020202020204" pitchFamily="34" charset="0"/>
              </a:rPr>
              <a:t>2019</a:t>
            </a:r>
          </a:p>
          <a:p>
            <a:pPr marL="0" indent="0" algn="ctr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100" dirty="0">
                <a:solidFill>
                  <a:schemeClr val="bg1"/>
                </a:solidFill>
                <a:latin typeface="Trebuchet MS" panose="020B0603020202020204" pitchFamily="34" charset="0"/>
              </a:rPr>
              <a:t>KEY INITIATIVES</a:t>
            </a:r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9" name="Espaço Reservado para Conteúdo 20">
            <a:extLst>
              <a:ext uri="{FF2B5EF4-FFF2-40B4-BE49-F238E27FC236}">
                <a16:creationId xmlns:a16="http://schemas.microsoft.com/office/drawing/2014/main" id="{856AEA43-2264-4B6F-9049-7B72CA510CEF}"/>
              </a:ext>
            </a:extLst>
          </p:cNvPr>
          <p:cNvSpPr txBox="1">
            <a:spLocks/>
          </p:cNvSpPr>
          <p:nvPr/>
        </p:nvSpPr>
        <p:spPr>
          <a:xfrm>
            <a:off x="8066143" y="1070784"/>
            <a:ext cx="3634920" cy="576000"/>
          </a:xfrm>
          <a:prstGeom prst="rect">
            <a:avLst/>
          </a:prstGeom>
          <a:solidFill>
            <a:srgbClr val="D6D6CE"/>
          </a:solidFill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2000" b="1" dirty="0">
                <a:solidFill>
                  <a:srgbClr val="263143"/>
                </a:solidFill>
                <a:latin typeface="Trebuchet MS" panose="020B0603020202020204" pitchFamily="34" charset="0"/>
              </a:rPr>
              <a:t>2023</a:t>
            </a:r>
          </a:p>
          <a:p>
            <a:pPr marL="0" indent="0" algn="ctr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100" dirty="0">
                <a:solidFill>
                  <a:srgbClr val="263143"/>
                </a:solidFill>
                <a:latin typeface="Trebuchet MS" panose="020B0603020202020204" pitchFamily="34" charset="0"/>
              </a:rPr>
              <a:t>TARGETS OLD LRP</a:t>
            </a:r>
            <a:endParaRPr lang="en-US" sz="1200" dirty="0">
              <a:solidFill>
                <a:srgbClr val="263143"/>
              </a:solidFill>
              <a:latin typeface="Trebuchet MS" panose="020B0603020202020204" pitchFamily="34" charset="0"/>
            </a:endParaRPr>
          </a:p>
        </p:txBody>
      </p:sp>
      <p:sp>
        <p:nvSpPr>
          <p:cNvPr id="13" name="Espaço Reservado para Conteúdo 15">
            <a:extLst>
              <a:ext uri="{FF2B5EF4-FFF2-40B4-BE49-F238E27FC236}">
                <a16:creationId xmlns:a16="http://schemas.microsoft.com/office/drawing/2014/main" id="{81820417-3A4D-42FA-9A69-A3690B9D8B63}"/>
              </a:ext>
            </a:extLst>
          </p:cNvPr>
          <p:cNvSpPr txBox="1">
            <a:spLocks/>
          </p:cNvSpPr>
          <p:nvPr/>
        </p:nvSpPr>
        <p:spPr>
          <a:xfrm>
            <a:off x="8066143" y="1646786"/>
            <a:ext cx="3634920" cy="4389079"/>
          </a:xfrm>
          <a:prstGeom prst="rect">
            <a:avLst/>
          </a:prstGeom>
          <a:solidFill>
            <a:schemeClr val="bg1"/>
          </a:solidFill>
          <a:ln>
            <a:solidFill>
              <a:srgbClr val="D6D6CE"/>
            </a:solidFill>
          </a:ln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400" dirty="0">
              <a:latin typeface="Trebuchet MS" panose="020B0603020202020204" pitchFamily="34" charset="0"/>
            </a:endParaRPr>
          </a:p>
        </p:txBody>
      </p:sp>
      <p:graphicFrame>
        <p:nvGraphicFramePr>
          <p:cNvPr id="14" name="Tabela 8">
            <a:extLst>
              <a:ext uri="{FF2B5EF4-FFF2-40B4-BE49-F238E27FC236}">
                <a16:creationId xmlns:a16="http://schemas.microsoft.com/office/drawing/2014/main" id="{89FB338F-FABD-4473-8779-F9F97DA5F7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9171843"/>
              </p:ext>
            </p:extLst>
          </p:nvPr>
        </p:nvGraphicFramePr>
        <p:xfrm>
          <a:off x="705394" y="1724302"/>
          <a:ext cx="3456414" cy="41191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2624">
                  <a:extLst>
                    <a:ext uri="{9D8B030D-6E8A-4147-A177-3AD203B41FA5}">
                      <a16:colId xmlns:a16="http://schemas.microsoft.com/office/drawing/2014/main" val="2243181824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762044057"/>
                    </a:ext>
                  </a:extLst>
                </a:gridCol>
                <a:gridCol w="894894">
                  <a:extLst>
                    <a:ext uri="{9D8B030D-6E8A-4147-A177-3AD203B41FA5}">
                      <a16:colId xmlns:a16="http://schemas.microsoft.com/office/drawing/2014/main" val="3698488521"/>
                    </a:ext>
                  </a:extLst>
                </a:gridCol>
                <a:gridCol w="530308">
                  <a:extLst>
                    <a:ext uri="{9D8B030D-6E8A-4147-A177-3AD203B41FA5}">
                      <a16:colId xmlns:a16="http://schemas.microsoft.com/office/drawing/2014/main" val="1366618089"/>
                    </a:ext>
                  </a:extLst>
                </a:gridCol>
                <a:gridCol w="530308">
                  <a:extLst>
                    <a:ext uri="{9D8B030D-6E8A-4147-A177-3AD203B41FA5}">
                      <a16:colId xmlns:a16="http://schemas.microsoft.com/office/drawing/2014/main" val="4213759080"/>
                    </a:ext>
                  </a:extLst>
                </a:gridCol>
              </a:tblGrid>
              <a:tr h="280074">
                <a:tc>
                  <a:txBody>
                    <a:bodyPr/>
                    <a:lstStyle/>
                    <a:p>
                      <a:endParaRPr lang="pt-BR" sz="10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0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pt-BR" sz="10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BUDGE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314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 sz="1200" dirty="0">
                        <a:latin typeface="Trebuchet MS" panose="020B0603020202020204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pt-BR" sz="1000" dirty="0"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5439771"/>
                  </a:ext>
                </a:extLst>
              </a:tr>
              <a:tr h="367520">
                <a:tc>
                  <a:txBody>
                    <a:bodyPr/>
                    <a:lstStyle/>
                    <a:p>
                      <a:endParaRPr lang="pt-BR" sz="10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0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rgbClr val="263143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019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>
                          <a:solidFill>
                            <a:srgbClr val="263143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vs. BG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1" dirty="0">
                          <a:solidFill>
                            <a:srgbClr val="263143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vs.</a:t>
                      </a:r>
                      <a:br>
                        <a:rPr lang="pt-BR" sz="900" b="1" dirty="0">
                          <a:solidFill>
                            <a:srgbClr val="263143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</a:br>
                      <a:r>
                        <a:rPr lang="pt-BR" sz="900" b="1" dirty="0">
                          <a:solidFill>
                            <a:srgbClr val="263143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5486750"/>
                  </a:ext>
                </a:extLst>
              </a:tr>
              <a:tr h="349485">
                <a:tc>
                  <a:txBody>
                    <a:bodyPr/>
                    <a:lstStyle/>
                    <a:p>
                      <a:pPr algn="r"/>
                      <a:r>
                        <a:rPr lang="pt-BR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EBITDA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0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X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</a:t>
                      </a:r>
                      <a:r>
                        <a:rPr lang="pt-BR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</a:t>
                      </a:r>
                      <a:r>
                        <a:rPr lang="pt-BR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475461"/>
                  </a:ext>
                </a:extLst>
              </a:tr>
              <a:tr h="352207">
                <a:tc>
                  <a:txBody>
                    <a:bodyPr/>
                    <a:lstStyle/>
                    <a:p>
                      <a:pPr algn="r"/>
                      <a:r>
                        <a:rPr lang="pt-BR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EBITDA </a:t>
                      </a:r>
                      <a:r>
                        <a:rPr lang="pt-BR" sz="900" b="1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argin</a:t>
                      </a:r>
                      <a:endParaRPr lang="pt-BR" sz="9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0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X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</a:t>
                      </a:r>
                      <a:r>
                        <a:rPr lang="pt-BR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</a:t>
                      </a:r>
                      <a:r>
                        <a:rPr lang="pt-BR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3119058"/>
                  </a:ext>
                </a:extLst>
              </a:tr>
              <a:tr h="349485">
                <a:tc>
                  <a:txBody>
                    <a:bodyPr/>
                    <a:lstStyle/>
                    <a:p>
                      <a:pPr algn="r"/>
                      <a:r>
                        <a:rPr lang="pt-BR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NET FE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0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X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</a:t>
                      </a:r>
                      <a:r>
                        <a:rPr lang="pt-BR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</a:t>
                      </a:r>
                      <a:r>
                        <a:rPr lang="pt-BR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7525007"/>
                  </a:ext>
                </a:extLst>
              </a:tr>
              <a:tr h="349485">
                <a:tc>
                  <a:txBody>
                    <a:bodyPr/>
                    <a:lstStyle/>
                    <a:p>
                      <a:pPr algn="r"/>
                      <a:r>
                        <a:rPr lang="pt-BR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OTAL COST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0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X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</a:t>
                      </a:r>
                      <a:r>
                        <a:rPr lang="pt-BR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</a:t>
                      </a:r>
                      <a:r>
                        <a:rPr lang="pt-BR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423089"/>
                  </a:ext>
                </a:extLst>
              </a:tr>
              <a:tr h="280074">
                <a:tc>
                  <a:txBody>
                    <a:bodyPr/>
                    <a:lstStyle/>
                    <a:p>
                      <a:pPr algn="r"/>
                      <a:r>
                        <a:rPr lang="pt-BR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#HOTEL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0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X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</a:t>
                      </a:r>
                      <a:r>
                        <a:rPr lang="pt-BR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</a:t>
                      </a:r>
                      <a:r>
                        <a:rPr lang="pt-BR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91554109"/>
                  </a:ext>
                </a:extLst>
              </a:tr>
              <a:tr h="349485">
                <a:tc>
                  <a:txBody>
                    <a:bodyPr/>
                    <a:lstStyle/>
                    <a:p>
                      <a:pPr algn="r"/>
                      <a:r>
                        <a:rPr lang="pt-BR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#ROOM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0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X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</a:t>
                      </a:r>
                      <a:r>
                        <a:rPr lang="pt-BR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</a:t>
                      </a:r>
                      <a:r>
                        <a:rPr lang="pt-BR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4574094"/>
                  </a:ext>
                </a:extLst>
              </a:tr>
              <a:tr h="398148">
                <a:tc>
                  <a:txBody>
                    <a:bodyPr/>
                    <a:lstStyle/>
                    <a:p>
                      <a:pPr algn="r"/>
                      <a:r>
                        <a:rPr lang="pt-BR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OTAL SYSTEM REV.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0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X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</a:t>
                      </a:r>
                      <a:r>
                        <a:rPr lang="pt-BR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</a:t>
                      </a:r>
                      <a:r>
                        <a:rPr lang="pt-BR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4298335"/>
                  </a:ext>
                </a:extLst>
              </a:tr>
              <a:tr h="398148">
                <a:tc>
                  <a:txBody>
                    <a:bodyPr/>
                    <a:lstStyle/>
                    <a:p>
                      <a:pPr algn="r"/>
                      <a:r>
                        <a:rPr lang="pt-BR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HOTEL GOP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0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X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</a:t>
                      </a:r>
                      <a:r>
                        <a:rPr lang="pt-BR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</a:t>
                      </a:r>
                      <a:r>
                        <a:rPr lang="pt-BR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1030882"/>
                  </a:ext>
                </a:extLst>
              </a:tr>
              <a:tr h="364971">
                <a:tc>
                  <a:txBody>
                    <a:bodyPr/>
                    <a:lstStyle/>
                    <a:p>
                      <a:pPr algn="r"/>
                      <a:r>
                        <a:rPr lang="pt-BR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HOTEL GOP </a:t>
                      </a:r>
                      <a:r>
                        <a:rPr lang="pt-BR" sz="900" b="1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argin</a:t>
                      </a:r>
                      <a:endParaRPr lang="pt-BR" sz="9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0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X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</a:t>
                      </a:r>
                      <a:r>
                        <a:rPr lang="pt-BR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</a:t>
                      </a:r>
                      <a:r>
                        <a:rPr lang="pt-BR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2174310"/>
                  </a:ext>
                </a:extLst>
              </a:tr>
              <a:tr h="280074">
                <a:tc>
                  <a:txBody>
                    <a:bodyPr/>
                    <a:lstStyle/>
                    <a:p>
                      <a:pPr algn="r"/>
                      <a:r>
                        <a:rPr lang="pt-BR" sz="9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EVPA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0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X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</a:t>
                      </a:r>
                      <a:r>
                        <a:rPr lang="pt-BR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</a:t>
                      </a:r>
                      <a:r>
                        <a:rPr lang="pt-BR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5149371"/>
                  </a:ext>
                </a:extLst>
              </a:tr>
            </a:tbl>
          </a:graphicData>
        </a:graphic>
      </p:graphicFrame>
      <p:graphicFrame>
        <p:nvGraphicFramePr>
          <p:cNvPr id="15" name="Tabela 8">
            <a:extLst>
              <a:ext uri="{FF2B5EF4-FFF2-40B4-BE49-F238E27FC236}">
                <a16:creationId xmlns:a16="http://schemas.microsoft.com/office/drawing/2014/main" id="{4B6298F4-C307-4D37-BCB1-90E79A1A35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81117"/>
              </p:ext>
            </p:extLst>
          </p:nvPr>
        </p:nvGraphicFramePr>
        <p:xfrm>
          <a:off x="8144524" y="1750427"/>
          <a:ext cx="3483495" cy="42423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8558">
                  <a:extLst>
                    <a:ext uri="{9D8B030D-6E8A-4147-A177-3AD203B41FA5}">
                      <a16:colId xmlns:a16="http://schemas.microsoft.com/office/drawing/2014/main" val="2243181824"/>
                    </a:ext>
                  </a:extLst>
                </a:gridCol>
                <a:gridCol w="231585">
                  <a:extLst>
                    <a:ext uri="{9D8B030D-6E8A-4147-A177-3AD203B41FA5}">
                      <a16:colId xmlns:a16="http://schemas.microsoft.com/office/drawing/2014/main" val="762044057"/>
                    </a:ext>
                  </a:extLst>
                </a:gridCol>
                <a:gridCol w="1173352">
                  <a:extLst>
                    <a:ext uri="{9D8B030D-6E8A-4147-A177-3AD203B41FA5}">
                      <a16:colId xmlns:a16="http://schemas.microsoft.com/office/drawing/2014/main" val="3698488521"/>
                    </a:ext>
                  </a:extLst>
                </a:gridCol>
              </a:tblGrid>
              <a:tr h="353529">
                <a:tc>
                  <a:txBody>
                    <a:bodyPr/>
                    <a:lstStyle/>
                    <a:p>
                      <a:endParaRPr lang="pt-BR" sz="10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0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ARGET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6314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5439771"/>
                  </a:ext>
                </a:extLst>
              </a:tr>
              <a:tr h="353529">
                <a:tc>
                  <a:txBody>
                    <a:bodyPr/>
                    <a:lstStyle/>
                    <a:p>
                      <a:endParaRPr lang="pt-BR" sz="10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0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b="1" dirty="0">
                          <a:solidFill>
                            <a:srgbClr val="263143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02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5486750"/>
                  </a:ext>
                </a:extLst>
              </a:tr>
              <a:tr h="353529">
                <a:tc>
                  <a:txBody>
                    <a:bodyPr/>
                    <a:lstStyle/>
                    <a:p>
                      <a:r>
                        <a:rPr lang="pt-BR" sz="10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EBITDA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0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X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475461"/>
                  </a:ext>
                </a:extLst>
              </a:tr>
              <a:tr h="353529">
                <a:tc>
                  <a:txBody>
                    <a:bodyPr/>
                    <a:lstStyle/>
                    <a:p>
                      <a:r>
                        <a:rPr lang="pt-BR" sz="10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EBITDA </a:t>
                      </a:r>
                      <a:r>
                        <a:rPr lang="pt-BR" sz="1000" b="1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argin</a:t>
                      </a:r>
                      <a:endParaRPr lang="pt-BR" sz="10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0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X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3119058"/>
                  </a:ext>
                </a:extLst>
              </a:tr>
              <a:tr h="353529">
                <a:tc>
                  <a:txBody>
                    <a:bodyPr/>
                    <a:lstStyle/>
                    <a:p>
                      <a:r>
                        <a:rPr lang="pt-BR" sz="10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NET FE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0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X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7525007"/>
                  </a:ext>
                </a:extLst>
              </a:tr>
              <a:tr h="353529">
                <a:tc>
                  <a:txBody>
                    <a:bodyPr/>
                    <a:lstStyle/>
                    <a:p>
                      <a:r>
                        <a:rPr lang="pt-BR" sz="10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OTAL COST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0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X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423089"/>
                  </a:ext>
                </a:extLst>
              </a:tr>
              <a:tr h="353529">
                <a:tc>
                  <a:txBody>
                    <a:bodyPr/>
                    <a:lstStyle/>
                    <a:p>
                      <a:r>
                        <a:rPr lang="pt-BR" sz="10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#HOTEL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0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X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91554109"/>
                  </a:ext>
                </a:extLst>
              </a:tr>
              <a:tr h="353529">
                <a:tc>
                  <a:txBody>
                    <a:bodyPr/>
                    <a:lstStyle/>
                    <a:p>
                      <a:r>
                        <a:rPr lang="pt-BR" sz="10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#ROOM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0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X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4574094"/>
                  </a:ext>
                </a:extLst>
              </a:tr>
              <a:tr h="353529">
                <a:tc>
                  <a:txBody>
                    <a:bodyPr/>
                    <a:lstStyle/>
                    <a:p>
                      <a:r>
                        <a:rPr lang="pt-BR" sz="10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OTAL SYSTEM REV.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0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X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4298335"/>
                  </a:ext>
                </a:extLst>
              </a:tr>
              <a:tr h="353529">
                <a:tc>
                  <a:txBody>
                    <a:bodyPr/>
                    <a:lstStyle/>
                    <a:p>
                      <a:r>
                        <a:rPr lang="pt-BR" sz="10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HOTEL GOP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0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X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1030882"/>
                  </a:ext>
                </a:extLst>
              </a:tr>
              <a:tr h="353529">
                <a:tc>
                  <a:txBody>
                    <a:bodyPr/>
                    <a:lstStyle/>
                    <a:p>
                      <a:r>
                        <a:rPr lang="pt-BR" sz="10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HOTEL GOP </a:t>
                      </a:r>
                      <a:r>
                        <a:rPr lang="pt-BR" sz="1000" b="1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argin</a:t>
                      </a:r>
                      <a:endParaRPr lang="pt-BR" sz="10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0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X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2174310"/>
                  </a:ext>
                </a:extLst>
              </a:tr>
              <a:tr h="353529">
                <a:tc>
                  <a:txBody>
                    <a:bodyPr/>
                    <a:lstStyle/>
                    <a:p>
                      <a:r>
                        <a:rPr lang="pt-BR" sz="10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EVPA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0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XXX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6D6C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5149371"/>
                  </a:ext>
                </a:extLst>
              </a:tr>
            </a:tbl>
          </a:graphicData>
        </a:graphic>
      </p:graphicFrame>
      <p:grpSp>
        <p:nvGrpSpPr>
          <p:cNvPr id="24" name="Agrupar 66">
            <a:extLst>
              <a:ext uri="{FF2B5EF4-FFF2-40B4-BE49-F238E27FC236}">
                <a16:creationId xmlns:a16="http://schemas.microsoft.com/office/drawing/2014/main" id="{7B6B4606-23E3-459C-937B-8576B1F01164}"/>
              </a:ext>
            </a:extLst>
          </p:cNvPr>
          <p:cNvGrpSpPr/>
          <p:nvPr/>
        </p:nvGrpSpPr>
        <p:grpSpPr>
          <a:xfrm rot="10800000" flipV="1">
            <a:off x="5687866" y="2790493"/>
            <a:ext cx="119035" cy="123786"/>
            <a:chOff x="7994423" y="293019"/>
            <a:chExt cx="540000" cy="540000"/>
          </a:xfrm>
        </p:grpSpPr>
        <p:sp>
          <p:nvSpPr>
            <p:cNvPr id="25" name="Círculo Parcial 67">
              <a:extLst>
                <a:ext uri="{FF2B5EF4-FFF2-40B4-BE49-F238E27FC236}">
                  <a16:creationId xmlns:a16="http://schemas.microsoft.com/office/drawing/2014/main" id="{7C7918BB-A50D-419C-9532-911C424ABFCA}"/>
                </a:ext>
              </a:extLst>
            </p:cNvPr>
            <p:cNvSpPr/>
            <p:nvPr/>
          </p:nvSpPr>
          <p:spPr>
            <a:xfrm>
              <a:off x="7994423" y="293019"/>
              <a:ext cx="540000" cy="540000"/>
            </a:xfrm>
            <a:prstGeom prst="pie">
              <a:avLst>
                <a:gd name="adj1" fmla="val 5435845"/>
                <a:gd name="adj2" fmla="val 16200000"/>
              </a:avLst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Elipse 25">
              <a:extLst>
                <a:ext uri="{FF2B5EF4-FFF2-40B4-BE49-F238E27FC236}">
                  <a16:creationId xmlns:a16="http://schemas.microsoft.com/office/drawing/2014/main" id="{CFC1A485-A9AE-4AB5-A7E5-8F1DBD1FFCF1}"/>
                </a:ext>
              </a:extLst>
            </p:cNvPr>
            <p:cNvSpPr/>
            <p:nvPr/>
          </p:nvSpPr>
          <p:spPr>
            <a:xfrm>
              <a:off x="7994423" y="293019"/>
              <a:ext cx="540000" cy="54000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7" name="Agrupar 70">
            <a:extLst>
              <a:ext uri="{FF2B5EF4-FFF2-40B4-BE49-F238E27FC236}">
                <a16:creationId xmlns:a16="http://schemas.microsoft.com/office/drawing/2014/main" id="{12985072-DEB0-4029-B64C-124D2094542E}"/>
              </a:ext>
            </a:extLst>
          </p:cNvPr>
          <p:cNvGrpSpPr/>
          <p:nvPr/>
        </p:nvGrpSpPr>
        <p:grpSpPr>
          <a:xfrm>
            <a:off x="5414312" y="3448601"/>
            <a:ext cx="140723" cy="146340"/>
            <a:chOff x="7147038" y="201356"/>
            <a:chExt cx="540000" cy="551979"/>
          </a:xfrm>
        </p:grpSpPr>
        <p:sp>
          <p:nvSpPr>
            <p:cNvPr id="28" name="Círculo Parcial 71">
              <a:extLst>
                <a:ext uri="{FF2B5EF4-FFF2-40B4-BE49-F238E27FC236}">
                  <a16:creationId xmlns:a16="http://schemas.microsoft.com/office/drawing/2014/main" id="{2FE40DFE-0453-4C1F-B239-D20651EBD2FA}"/>
                </a:ext>
              </a:extLst>
            </p:cNvPr>
            <p:cNvSpPr/>
            <p:nvPr/>
          </p:nvSpPr>
          <p:spPr>
            <a:xfrm rot="5400000">
              <a:off x="7143045" y="213276"/>
              <a:ext cx="547986" cy="532131"/>
            </a:xfrm>
            <a:prstGeom prst="pie">
              <a:avLst>
                <a:gd name="adj1" fmla="val 10742158"/>
                <a:gd name="adj2" fmla="val 16200000"/>
              </a:avLst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Elipse 28">
              <a:extLst>
                <a:ext uri="{FF2B5EF4-FFF2-40B4-BE49-F238E27FC236}">
                  <a16:creationId xmlns:a16="http://schemas.microsoft.com/office/drawing/2014/main" id="{A6E9A5F0-8C2F-470B-9D75-408CA3E0F65F}"/>
                </a:ext>
              </a:extLst>
            </p:cNvPr>
            <p:cNvSpPr/>
            <p:nvPr/>
          </p:nvSpPr>
          <p:spPr>
            <a:xfrm>
              <a:off x="7147038" y="201356"/>
              <a:ext cx="540000" cy="54000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5" name="Gráfico 33">
            <a:extLst>
              <a:ext uri="{FF2B5EF4-FFF2-40B4-BE49-F238E27FC236}">
                <a16:creationId xmlns:a16="http://schemas.microsoft.com/office/drawing/2014/main" id="{AF9868CD-7467-404E-8B12-0B73CA018DB9}"/>
              </a:ext>
            </a:extLst>
          </p:cNvPr>
          <p:cNvGrpSpPr/>
          <p:nvPr/>
        </p:nvGrpSpPr>
        <p:grpSpPr>
          <a:xfrm>
            <a:off x="5687866" y="2054435"/>
            <a:ext cx="174028" cy="174028"/>
            <a:chOff x="3657600" y="990600"/>
            <a:chExt cx="1441741" cy="1441741"/>
          </a:xfrm>
          <a:solidFill>
            <a:schemeClr val="accent6"/>
          </a:solidFill>
        </p:grpSpPr>
        <p:sp>
          <p:nvSpPr>
            <p:cNvPr id="36" name="Forma Livre: Forma 35">
              <a:extLst>
                <a:ext uri="{FF2B5EF4-FFF2-40B4-BE49-F238E27FC236}">
                  <a16:creationId xmlns:a16="http://schemas.microsoft.com/office/drawing/2014/main" id="{54336BBF-AEA2-4D3B-8A68-2FA34CDD4F7E}"/>
                </a:ext>
              </a:extLst>
            </p:cNvPr>
            <p:cNvSpPr/>
            <p:nvPr/>
          </p:nvSpPr>
          <p:spPr>
            <a:xfrm>
              <a:off x="4000038" y="1171873"/>
              <a:ext cx="1074029" cy="798659"/>
            </a:xfrm>
            <a:custGeom>
              <a:avLst/>
              <a:gdLst>
                <a:gd name="connsiteX0" fmla="*/ 327745 w 1074029"/>
                <a:gd name="connsiteY0" fmla="*/ 798660 h 798659"/>
                <a:gd name="connsiteX1" fmla="*/ 326619 w 1074029"/>
                <a:gd name="connsiteY1" fmla="*/ 798660 h 798659"/>
                <a:gd name="connsiteX2" fmla="*/ 287760 w 1074029"/>
                <a:gd name="connsiteY2" fmla="*/ 781201 h 798659"/>
                <a:gd name="connsiteX3" fmla="*/ 14336 w 1074029"/>
                <a:gd name="connsiteY3" fmla="*/ 484124 h 798659"/>
                <a:gd name="connsiteX4" fmla="*/ 17433 w 1074029"/>
                <a:gd name="connsiteY4" fmla="*/ 407250 h 798659"/>
                <a:gd name="connsiteX5" fmla="*/ 94307 w 1074029"/>
                <a:gd name="connsiteY5" fmla="*/ 410347 h 798659"/>
                <a:gd name="connsiteX6" fmla="*/ 329435 w 1074029"/>
                <a:gd name="connsiteY6" fmla="*/ 665749 h 798659"/>
                <a:gd name="connsiteX7" fmla="*/ 981316 w 1074029"/>
                <a:gd name="connsiteY7" fmla="*/ 15839 h 798659"/>
                <a:gd name="connsiteX8" fmla="*/ 1058190 w 1074029"/>
                <a:gd name="connsiteY8" fmla="*/ 15839 h 798659"/>
                <a:gd name="connsiteX9" fmla="*/ 1058190 w 1074029"/>
                <a:gd name="connsiteY9" fmla="*/ 92714 h 798659"/>
                <a:gd name="connsiteX10" fmla="*/ 366042 w 1074029"/>
                <a:gd name="connsiteY10" fmla="*/ 782891 h 798659"/>
                <a:gd name="connsiteX11" fmla="*/ 327745 w 1074029"/>
                <a:gd name="connsiteY11" fmla="*/ 798660 h 798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74029" h="798659">
                  <a:moveTo>
                    <a:pt x="327745" y="798660"/>
                  </a:moveTo>
                  <a:cubicBezTo>
                    <a:pt x="327464" y="798660"/>
                    <a:pt x="326901" y="798660"/>
                    <a:pt x="326619" y="798660"/>
                  </a:cubicBezTo>
                  <a:cubicBezTo>
                    <a:pt x="311976" y="798378"/>
                    <a:pt x="297897" y="791902"/>
                    <a:pt x="287760" y="781201"/>
                  </a:cubicBezTo>
                  <a:lnTo>
                    <a:pt x="14336" y="484124"/>
                  </a:lnTo>
                  <a:cubicBezTo>
                    <a:pt x="-5939" y="462160"/>
                    <a:pt x="-4531" y="427806"/>
                    <a:pt x="17433" y="407250"/>
                  </a:cubicBezTo>
                  <a:cubicBezTo>
                    <a:pt x="39397" y="386975"/>
                    <a:pt x="73751" y="388383"/>
                    <a:pt x="94307" y="410347"/>
                  </a:cubicBezTo>
                  <a:lnTo>
                    <a:pt x="329435" y="665749"/>
                  </a:lnTo>
                  <a:lnTo>
                    <a:pt x="981316" y="15839"/>
                  </a:lnTo>
                  <a:cubicBezTo>
                    <a:pt x="1002435" y="-5280"/>
                    <a:pt x="1037071" y="-5280"/>
                    <a:pt x="1058190" y="15839"/>
                  </a:cubicBezTo>
                  <a:cubicBezTo>
                    <a:pt x="1079309" y="36959"/>
                    <a:pt x="1079309" y="71594"/>
                    <a:pt x="1058190" y="92714"/>
                  </a:cubicBezTo>
                  <a:lnTo>
                    <a:pt x="366042" y="782891"/>
                  </a:lnTo>
                  <a:cubicBezTo>
                    <a:pt x="355904" y="793028"/>
                    <a:pt x="342107" y="798660"/>
                    <a:pt x="327745" y="798660"/>
                  </a:cubicBezTo>
                  <a:close/>
                </a:path>
              </a:pathLst>
            </a:custGeom>
            <a:grpFill/>
            <a:ln w="28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  <p:sp>
          <p:nvSpPr>
            <p:cNvPr id="37" name="Forma Livre: Forma 36">
              <a:extLst>
                <a:ext uri="{FF2B5EF4-FFF2-40B4-BE49-F238E27FC236}">
                  <a16:creationId xmlns:a16="http://schemas.microsoft.com/office/drawing/2014/main" id="{C2559541-6908-4FFA-8D91-254FD321EEA4}"/>
                </a:ext>
              </a:extLst>
            </p:cNvPr>
            <p:cNvSpPr/>
            <p:nvPr/>
          </p:nvSpPr>
          <p:spPr>
            <a:xfrm>
              <a:off x="3657600" y="990600"/>
              <a:ext cx="1441741" cy="1441741"/>
            </a:xfrm>
            <a:custGeom>
              <a:avLst/>
              <a:gdLst>
                <a:gd name="connsiteX0" fmla="*/ 720871 w 1441741"/>
                <a:gd name="connsiteY0" fmla="*/ 1441741 h 1441741"/>
                <a:gd name="connsiteX1" fmla="*/ 0 w 1441741"/>
                <a:gd name="connsiteY1" fmla="*/ 720871 h 1441741"/>
                <a:gd name="connsiteX2" fmla="*/ 720871 w 1441741"/>
                <a:gd name="connsiteY2" fmla="*/ 0 h 1441741"/>
                <a:gd name="connsiteX3" fmla="*/ 775217 w 1441741"/>
                <a:gd name="connsiteY3" fmla="*/ 54347 h 1441741"/>
                <a:gd name="connsiteX4" fmla="*/ 720871 w 1441741"/>
                <a:gd name="connsiteY4" fmla="*/ 108694 h 1441741"/>
                <a:gd name="connsiteX5" fmla="*/ 108694 w 1441741"/>
                <a:gd name="connsiteY5" fmla="*/ 720871 h 1441741"/>
                <a:gd name="connsiteX6" fmla="*/ 720871 w 1441741"/>
                <a:gd name="connsiteY6" fmla="*/ 1333047 h 1441741"/>
                <a:gd name="connsiteX7" fmla="*/ 1333047 w 1441741"/>
                <a:gd name="connsiteY7" fmla="*/ 720871 h 1441741"/>
                <a:gd name="connsiteX8" fmla="*/ 1387394 w 1441741"/>
                <a:gd name="connsiteY8" fmla="*/ 666524 h 1441741"/>
                <a:gd name="connsiteX9" fmla="*/ 1441741 w 1441741"/>
                <a:gd name="connsiteY9" fmla="*/ 720871 h 1441741"/>
                <a:gd name="connsiteX10" fmla="*/ 720871 w 1441741"/>
                <a:gd name="connsiteY10" fmla="*/ 1441741 h 144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41741" h="1441741">
                  <a:moveTo>
                    <a:pt x="720871" y="1441741"/>
                  </a:moveTo>
                  <a:cubicBezTo>
                    <a:pt x="323265" y="1441741"/>
                    <a:pt x="0" y="1118476"/>
                    <a:pt x="0" y="720871"/>
                  </a:cubicBezTo>
                  <a:cubicBezTo>
                    <a:pt x="0" y="323265"/>
                    <a:pt x="323265" y="0"/>
                    <a:pt x="720871" y="0"/>
                  </a:cubicBezTo>
                  <a:cubicBezTo>
                    <a:pt x="751001" y="0"/>
                    <a:pt x="775217" y="24217"/>
                    <a:pt x="775217" y="54347"/>
                  </a:cubicBezTo>
                  <a:cubicBezTo>
                    <a:pt x="775217" y="84477"/>
                    <a:pt x="751001" y="108694"/>
                    <a:pt x="720871" y="108694"/>
                  </a:cubicBezTo>
                  <a:cubicBezTo>
                    <a:pt x="383244" y="108694"/>
                    <a:pt x="108694" y="383244"/>
                    <a:pt x="108694" y="720871"/>
                  </a:cubicBezTo>
                  <a:cubicBezTo>
                    <a:pt x="108694" y="1058497"/>
                    <a:pt x="383244" y="1333047"/>
                    <a:pt x="720871" y="1333047"/>
                  </a:cubicBezTo>
                  <a:cubicBezTo>
                    <a:pt x="1058497" y="1333047"/>
                    <a:pt x="1333047" y="1058497"/>
                    <a:pt x="1333047" y="720871"/>
                  </a:cubicBezTo>
                  <a:cubicBezTo>
                    <a:pt x="1333047" y="690740"/>
                    <a:pt x="1357264" y="666524"/>
                    <a:pt x="1387394" y="666524"/>
                  </a:cubicBezTo>
                  <a:cubicBezTo>
                    <a:pt x="1417524" y="666524"/>
                    <a:pt x="1441741" y="690740"/>
                    <a:pt x="1441741" y="720871"/>
                  </a:cubicBezTo>
                  <a:cubicBezTo>
                    <a:pt x="1441741" y="1118476"/>
                    <a:pt x="1118476" y="1441741"/>
                    <a:pt x="720871" y="1441741"/>
                  </a:cubicBezTo>
                  <a:close/>
                </a:path>
              </a:pathLst>
            </a:custGeom>
            <a:grpFill/>
            <a:ln w="28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dirty="0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</p:grpSp>
      <p:grpSp>
        <p:nvGrpSpPr>
          <p:cNvPr id="38" name="Gráfico 33">
            <a:extLst>
              <a:ext uri="{FF2B5EF4-FFF2-40B4-BE49-F238E27FC236}">
                <a16:creationId xmlns:a16="http://schemas.microsoft.com/office/drawing/2014/main" id="{A5D6C8B8-CDB3-4AA9-A722-A9D9A6A4387D}"/>
              </a:ext>
            </a:extLst>
          </p:cNvPr>
          <p:cNvGrpSpPr/>
          <p:nvPr/>
        </p:nvGrpSpPr>
        <p:grpSpPr>
          <a:xfrm>
            <a:off x="5687866" y="2293925"/>
            <a:ext cx="174028" cy="174028"/>
            <a:chOff x="3657600" y="990600"/>
            <a:chExt cx="1441741" cy="1441741"/>
          </a:xfrm>
          <a:solidFill>
            <a:schemeClr val="accent6"/>
          </a:solidFill>
        </p:grpSpPr>
        <p:sp>
          <p:nvSpPr>
            <p:cNvPr id="39" name="Forma Livre: Forma 38">
              <a:extLst>
                <a:ext uri="{FF2B5EF4-FFF2-40B4-BE49-F238E27FC236}">
                  <a16:creationId xmlns:a16="http://schemas.microsoft.com/office/drawing/2014/main" id="{9AFAC2D0-0319-4F1F-B23D-CAC970EB7CD4}"/>
                </a:ext>
              </a:extLst>
            </p:cNvPr>
            <p:cNvSpPr/>
            <p:nvPr/>
          </p:nvSpPr>
          <p:spPr>
            <a:xfrm>
              <a:off x="4000038" y="1171873"/>
              <a:ext cx="1074029" cy="798659"/>
            </a:xfrm>
            <a:custGeom>
              <a:avLst/>
              <a:gdLst>
                <a:gd name="connsiteX0" fmla="*/ 327745 w 1074029"/>
                <a:gd name="connsiteY0" fmla="*/ 798660 h 798659"/>
                <a:gd name="connsiteX1" fmla="*/ 326619 w 1074029"/>
                <a:gd name="connsiteY1" fmla="*/ 798660 h 798659"/>
                <a:gd name="connsiteX2" fmla="*/ 287760 w 1074029"/>
                <a:gd name="connsiteY2" fmla="*/ 781201 h 798659"/>
                <a:gd name="connsiteX3" fmla="*/ 14336 w 1074029"/>
                <a:gd name="connsiteY3" fmla="*/ 484124 h 798659"/>
                <a:gd name="connsiteX4" fmla="*/ 17433 w 1074029"/>
                <a:gd name="connsiteY4" fmla="*/ 407250 h 798659"/>
                <a:gd name="connsiteX5" fmla="*/ 94307 w 1074029"/>
                <a:gd name="connsiteY5" fmla="*/ 410347 h 798659"/>
                <a:gd name="connsiteX6" fmla="*/ 329435 w 1074029"/>
                <a:gd name="connsiteY6" fmla="*/ 665749 h 798659"/>
                <a:gd name="connsiteX7" fmla="*/ 981316 w 1074029"/>
                <a:gd name="connsiteY7" fmla="*/ 15839 h 798659"/>
                <a:gd name="connsiteX8" fmla="*/ 1058190 w 1074029"/>
                <a:gd name="connsiteY8" fmla="*/ 15839 h 798659"/>
                <a:gd name="connsiteX9" fmla="*/ 1058190 w 1074029"/>
                <a:gd name="connsiteY9" fmla="*/ 92714 h 798659"/>
                <a:gd name="connsiteX10" fmla="*/ 366042 w 1074029"/>
                <a:gd name="connsiteY10" fmla="*/ 782891 h 798659"/>
                <a:gd name="connsiteX11" fmla="*/ 327745 w 1074029"/>
                <a:gd name="connsiteY11" fmla="*/ 798660 h 798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74029" h="798659">
                  <a:moveTo>
                    <a:pt x="327745" y="798660"/>
                  </a:moveTo>
                  <a:cubicBezTo>
                    <a:pt x="327464" y="798660"/>
                    <a:pt x="326901" y="798660"/>
                    <a:pt x="326619" y="798660"/>
                  </a:cubicBezTo>
                  <a:cubicBezTo>
                    <a:pt x="311976" y="798378"/>
                    <a:pt x="297897" y="791902"/>
                    <a:pt x="287760" y="781201"/>
                  </a:cubicBezTo>
                  <a:lnTo>
                    <a:pt x="14336" y="484124"/>
                  </a:lnTo>
                  <a:cubicBezTo>
                    <a:pt x="-5939" y="462160"/>
                    <a:pt x="-4531" y="427806"/>
                    <a:pt x="17433" y="407250"/>
                  </a:cubicBezTo>
                  <a:cubicBezTo>
                    <a:pt x="39397" y="386975"/>
                    <a:pt x="73751" y="388383"/>
                    <a:pt x="94307" y="410347"/>
                  </a:cubicBezTo>
                  <a:lnTo>
                    <a:pt x="329435" y="665749"/>
                  </a:lnTo>
                  <a:lnTo>
                    <a:pt x="981316" y="15839"/>
                  </a:lnTo>
                  <a:cubicBezTo>
                    <a:pt x="1002435" y="-5280"/>
                    <a:pt x="1037071" y="-5280"/>
                    <a:pt x="1058190" y="15839"/>
                  </a:cubicBezTo>
                  <a:cubicBezTo>
                    <a:pt x="1079309" y="36959"/>
                    <a:pt x="1079309" y="71594"/>
                    <a:pt x="1058190" y="92714"/>
                  </a:cubicBezTo>
                  <a:lnTo>
                    <a:pt x="366042" y="782891"/>
                  </a:lnTo>
                  <a:cubicBezTo>
                    <a:pt x="355904" y="793028"/>
                    <a:pt x="342107" y="798660"/>
                    <a:pt x="327745" y="798660"/>
                  </a:cubicBezTo>
                  <a:close/>
                </a:path>
              </a:pathLst>
            </a:custGeom>
            <a:grpFill/>
            <a:ln w="28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  <p:sp>
          <p:nvSpPr>
            <p:cNvPr id="40" name="Forma Livre: Forma 39">
              <a:extLst>
                <a:ext uri="{FF2B5EF4-FFF2-40B4-BE49-F238E27FC236}">
                  <a16:creationId xmlns:a16="http://schemas.microsoft.com/office/drawing/2014/main" id="{FB2BC97E-780A-4987-8C80-1A2312670DAC}"/>
                </a:ext>
              </a:extLst>
            </p:cNvPr>
            <p:cNvSpPr/>
            <p:nvPr/>
          </p:nvSpPr>
          <p:spPr>
            <a:xfrm>
              <a:off x="3657600" y="990600"/>
              <a:ext cx="1441741" cy="1441741"/>
            </a:xfrm>
            <a:custGeom>
              <a:avLst/>
              <a:gdLst>
                <a:gd name="connsiteX0" fmla="*/ 720871 w 1441741"/>
                <a:gd name="connsiteY0" fmla="*/ 1441741 h 1441741"/>
                <a:gd name="connsiteX1" fmla="*/ 0 w 1441741"/>
                <a:gd name="connsiteY1" fmla="*/ 720871 h 1441741"/>
                <a:gd name="connsiteX2" fmla="*/ 720871 w 1441741"/>
                <a:gd name="connsiteY2" fmla="*/ 0 h 1441741"/>
                <a:gd name="connsiteX3" fmla="*/ 775217 w 1441741"/>
                <a:gd name="connsiteY3" fmla="*/ 54347 h 1441741"/>
                <a:gd name="connsiteX4" fmla="*/ 720871 w 1441741"/>
                <a:gd name="connsiteY4" fmla="*/ 108694 h 1441741"/>
                <a:gd name="connsiteX5" fmla="*/ 108694 w 1441741"/>
                <a:gd name="connsiteY5" fmla="*/ 720871 h 1441741"/>
                <a:gd name="connsiteX6" fmla="*/ 720871 w 1441741"/>
                <a:gd name="connsiteY6" fmla="*/ 1333047 h 1441741"/>
                <a:gd name="connsiteX7" fmla="*/ 1333047 w 1441741"/>
                <a:gd name="connsiteY7" fmla="*/ 720871 h 1441741"/>
                <a:gd name="connsiteX8" fmla="*/ 1387394 w 1441741"/>
                <a:gd name="connsiteY8" fmla="*/ 666524 h 1441741"/>
                <a:gd name="connsiteX9" fmla="*/ 1441741 w 1441741"/>
                <a:gd name="connsiteY9" fmla="*/ 720871 h 1441741"/>
                <a:gd name="connsiteX10" fmla="*/ 720871 w 1441741"/>
                <a:gd name="connsiteY10" fmla="*/ 1441741 h 144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41741" h="1441741">
                  <a:moveTo>
                    <a:pt x="720871" y="1441741"/>
                  </a:moveTo>
                  <a:cubicBezTo>
                    <a:pt x="323265" y="1441741"/>
                    <a:pt x="0" y="1118476"/>
                    <a:pt x="0" y="720871"/>
                  </a:cubicBezTo>
                  <a:cubicBezTo>
                    <a:pt x="0" y="323265"/>
                    <a:pt x="323265" y="0"/>
                    <a:pt x="720871" y="0"/>
                  </a:cubicBezTo>
                  <a:cubicBezTo>
                    <a:pt x="751001" y="0"/>
                    <a:pt x="775217" y="24217"/>
                    <a:pt x="775217" y="54347"/>
                  </a:cubicBezTo>
                  <a:cubicBezTo>
                    <a:pt x="775217" y="84477"/>
                    <a:pt x="751001" y="108694"/>
                    <a:pt x="720871" y="108694"/>
                  </a:cubicBezTo>
                  <a:cubicBezTo>
                    <a:pt x="383244" y="108694"/>
                    <a:pt x="108694" y="383244"/>
                    <a:pt x="108694" y="720871"/>
                  </a:cubicBezTo>
                  <a:cubicBezTo>
                    <a:pt x="108694" y="1058497"/>
                    <a:pt x="383244" y="1333047"/>
                    <a:pt x="720871" y="1333047"/>
                  </a:cubicBezTo>
                  <a:cubicBezTo>
                    <a:pt x="1058497" y="1333047"/>
                    <a:pt x="1333047" y="1058497"/>
                    <a:pt x="1333047" y="720871"/>
                  </a:cubicBezTo>
                  <a:cubicBezTo>
                    <a:pt x="1333047" y="690740"/>
                    <a:pt x="1357264" y="666524"/>
                    <a:pt x="1387394" y="666524"/>
                  </a:cubicBezTo>
                  <a:cubicBezTo>
                    <a:pt x="1417524" y="666524"/>
                    <a:pt x="1441741" y="690740"/>
                    <a:pt x="1441741" y="720871"/>
                  </a:cubicBezTo>
                  <a:cubicBezTo>
                    <a:pt x="1441741" y="1118476"/>
                    <a:pt x="1118476" y="1441741"/>
                    <a:pt x="720871" y="1441741"/>
                  </a:cubicBezTo>
                  <a:close/>
                </a:path>
              </a:pathLst>
            </a:custGeom>
            <a:grpFill/>
            <a:ln w="28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dirty="0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</p:grpSp>
      <p:grpSp>
        <p:nvGrpSpPr>
          <p:cNvPr id="41" name="Gráfico 33">
            <a:extLst>
              <a:ext uri="{FF2B5EF4-FFF2-40B4-BE49-F238E27FC236}">
                <a16:creationId xmlns:a16="http://schemas.microsoft.com/office/drawing/2014/main" id="{CC379FA4-2769-40DA-A400-A1D9B5F3A429}"/>
              </a:ext>
            </a:extLst>
          </p:cNvPr>
          <p:cNvGrpSpPr/>
          <p:nvPr/>
        </p:nvGrpSpPr>
        <p:grpSpPr>
          <a:xfrm>
            <a:off x="5687866" y="2515994"/>
            <a:ext cx="174028" cy="174028"/>
            <a:chOff x="3657600" y="990600"/>
            <a:chExt cx="1441741" cy="1441741"/>
          </a:xfrm>
          <a:solidFill>
            <a:schemeClr val="accent6"/>
          </a:solidFill>
        </p:grpSpPr>
        <p:sp>
          <p:nvSpPr>
            <p:cNvPr id="42" name="Forma Livre: Forma 41">
              <a:extLst>
                <a:ext uri="{FF2B5EF4-FFF2-40B4-BE49-F238E27FC236}">
                  <a16:creationId xmlns:a16="http://schemas.microsoft.com/office/drawing/2014/main" id="{7D48D1C6-6858-4D0E-9DE2-CA860A8B4461}"/>
                </a:ext>
              </a:extLst>
            </p:cNvPr>
            <p:cNvSpPr/>
            <p:nvPr/>
          </p:nvSpPr>
          <p:spPr>
            <a:xfrm>
              <a:off x="4000038" y="1171873"/>
              <a:ext cx="1074029" cy="798659"/>
            </a:xfrm>
            <a:custGeom>
              <a:avLst/>
              <a:gdLst>
                <a:gd name="connsiteX0" fmla="*/ 327745 w 1074029"/>
                <a:gd name="connsiteY0" fmla="*/ 798660 h 798659"/>
                <a:gd name="connsiteX1" fmla="*/ 326619 w 1074029"/>
                <a:gd name="connsiteY1" fmla="*/ 798660 h 798659"/>
                <a:gd name="connsiteX2" fmla="*/ 287760 w 1074029"/>
                <a:gd name="connsiteY2" fmla="*/ 781201 h 798659"/>
                <a:gd name="connsiteX3" fmla="*/ 14336 w 1074029"/>
                <a:gd name="connsiteY3" fmla="*/ 484124 h 798659"/>
                <a:gd name="connsiteX4" fmla="*/ 17433 w 1074029"/>
                <a:gd name="connsiteY4" fmla="*/ 407250 h 798659"/>
                <a:gd name="connsiteX5" fmla="*/ 94307 w 1074029"/>
                <a:gd name="connsiteY5" fmla="*/ 410347 h 798659"/>
                <a:gd name="connsiteX6" fmla="*/ 329435 w 1074029"/>
                <a:gd name="connsiteY6" fmla="*/ 665749 h 798659"/>
                <a:gd name="connsiteX7" fmla="*/ 981316 w 1074029"/>
                <a:gd name="connsiteY7" fmla="*/ 15839 h 798659"/>
                <a:gd name="connsiteX8" fmla="*/ 1058190 w 1074029"/>
                <a:gd name="connsiteY8" fmla="*/ 15839 h 798659"/>
                <a:gd name="connsiteX9" fmla="*/ 1058190 w 1074029"/>
                <a:gd name="connsiteY9" fmla="*/ 92714 h 798659"/>
                <a:gd name="connsiteX10" fmla="*/ 366042 w 1074029"/>
                <a:gd name="connsiteY10" fmla="*/ 782891 h 798659"/>
                <a:gd name="connsiteX11" fmla="*/ 327745 w 1074029"/>
                <a:gd name="connsiteY11" fmla="*/ 798660 h 798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74029" h="798659">
                  <a:moveTo>
                    <a:pt x="327745" y="798660"/>
                  </a:moveTo>
                  <a:cubicBezTo>
                    <a:pt x="327464" y="798660"/>
                    <a:pt x="326901" y="798660"/>
                    <a:pt x="326619" y="798660"/>
                  </a:cubicBezTo>
                  <a:cubicBezTo>
                    <a:pt x="311976" y="798378"/>
                    <a:pt x="297897" y="791902"/>
                    <a:pt x="287760" y="781201"/>
                  </a:cubicBezTo>
                  <a:lnTo>
                    <a:pt x="14336" y="484124"/>
                  </a:lnTo>
                  <a:cubicBezTo>
                    <a:pt x="-5939" y="462160"/>
                    <a:pt x="-4531" y="427806"/>
                    <a:pt x="17433" y="407250"/>
                  </a:cubicBezTo>
                  <a:cubicBezTo>
                    <a:pt x="39397" y="386975"/>
                    <a:pt x="73751" y="388383"/>
                    <a:pt x="94307" y="410347"/>
                  </a:cubicBezTo>
                  <a:lnTo>
                    <a:pt x="329435" y="665749"/>
                  </a:lnTo>
                  <a:lnTo>
                    <a:pt x="981316" y="15839"/>
                  </a:lnTo>
                  <a:cubicBezTo>
                    <a:pt x="1002435" y="-5280"/>
                    <a:pt x="1037071" y="-5280"/>
                    <a:pt x="1058190" y="15839"/>
                  </a:cubicBezTo>
                  <a:cubicBezTo>
                    <a:pt x="1079309" y="36959"/>
                    <a:pt x="1079309" y="71594"/>
                    <a:pt x="1058190" y="92714"/>
                  </a:cubicBezTo>
                  <a:lnTo>
                    <a:pt x="366042" y="782891"/>
                  </a:lnTo>
                  <a:cubicBezTo>
                    <a:pt x="355904" y="793028"/>
                    <a:pt x="342107" y="798660"/>
                    <a:pt x="327745" y="798660"/>
                  </a:cubicBezTo>
                  <a:close/>
                </a:path>
              </a:pathLst>
            </a:custGeom>
            <a:grpFill/>
            <a:ln w="28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  <p:sp>
          <p:nvSpPr>
            <p:cNvPr id="43" name="Forma Livre: Forma 42">
              <a:extLst>
                <a:ext uri="{FF2B5EF4-FFF2-40B4-BE49-F238E27FC236}">
                  <a16:creationId xmlns:a16="http://schemas.microsoft.com/office/drawing/2014/main" id="{C20DF5E1-87AE-4A5A-8D22-15DBD6E9D72D}"/>
                </a:ext>
              </a:extLst>
            </p:cNvPr>
            <p:cNvSpPr/>
            <p:nvPr/>
          </p:nvSpPr>
          <p:spPr>
            <a:xfrm>
              <a:off x="3657600" y="990600"/>
              <a:ext cx="1441741" cy="1441741"/>
            </a:xfrm>
            <a:custGeom>
              <a:avLst/>
              <a:gdLst>
                <a:gd name="connsiteX0" fmla="*/ 720871 w 1441741"/>
                <a:gd name="connsiteY0" fmla="*/ 1441741 h 1441741"/>
                <a:gd name="connsiteX1" fmla="*/ 0 w 1441741"/>
                <a:gd name="connsiteY1" fmla="*/ 720871 h 1441741"/>
                <a:gd name="connsiteX2" fmla="*/ 720871 w 1441741"/>
                <a:gd name="connsiteY2" fmla="*/ 0 h 1441741"/>
                <a:gd name="connsiteX3" fmla="*/ 775217 w 1441741"/>
                <a:gd name="connsiteY3" fmla="*/ 54347 h 1441741"/>
                <a:gd name="connsiteX4" fmla="*/ 720871 w 1441741"/>
                <a:gd name="connsiteY4" fmla="*/ 108694 h 1441741"/>
                <a:gd name="connsiteX5" fmla="*/ 108694 w 1441741"/>
                <a:gd name="connsiteY5" fmla="*/ 720871 h 1441741"/>
                <a:gd name="connsiteX6" fmla="*/ 720871 w 1441741"/>
                <a:gd name="connsiteY6" fmla="*/ 1333047 h 1441741"/>
                <a:gd name="connsiteX7" fmla="*/ 1333047 w 1441741"/>
                <a:gd name="connsiteY7" fmla="*/ 720871 h 1441741"/>
                <a:gd name="connsiteX8" fmla="*/ 1387394 w 1441741"/>
                <a:gd name="connsiteY8" fmla="*/ 666524 h 1441741"/>
                <a:gd name="connsiteX9" fmla="*/ 1441741 w 1441741"/>
                <a:gd name="connsiteY9" fmla="*/ 720871 h 1441741"/>
                <a:gd name="connsiteX10" fmla="*/ 720871 w 1441741"/>
                <a:gd name="connsiteY10" fmla="*/ 1441741 h 144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41741" h="1441741">
                  <a:moveTo>
                    <a:pt x="720871" y="1441741"/>
                  </a:moveTo>
                  <a:cubicBezTo>
                    <a:pt x="323265" y="1441741"/>
                    <a:pt x="0" y="1118476"/>
                    <a:pt x="0" y="720871"/>
                  </a:cubicBezTo>
                  <a:cubicBezTo>
                    <a:pt x="0" y="323265"/>
                    <a:pt x="323265" y="0"/>
                    <a:pt x="720871" y="0"/>
                  </a:cubicBezTo>
                  <a:cubicBezTo>
                    <a:pt x="751001" y="0"/>
                    <a:pt x="775217" y="24217"/>
                    <a:pt x="775217" y="54347"/>
                  </a:cubicBezTo>
                  <a:cubicBezTo>
                    <a:pt x="775217" y="84477"/>
                    <a:pt x="751001" y="108694"/>
                    <a:pt x="720871" y="108694"/>
                  </a:cubicBezTo>
                  <a:cubicBezTo>
                    <a:pt x="383244" y="108694"/>
                    <a:pt x="108694" y="383244"/>
                    <a:pt x="108694" y="720871"/>
                  </a:cubicBezTo>
                  <a:cubicBezTo>
                    <a:pt x="108694" y="1058497"/>
                    <a:pt x="383244" y="1333047"/>
                    <a:pt x="720871" y="1333047"/>
                  </a:cubicBezTo>
                  <a:cubicBezTo>
                    <a:pt x="1058497" y="1333047"/>
                    <a:pt x="1333047" y="1058497"/>
                    <a:pt x="1333047" y="720871"/>
                  </a:cubicBezTo>
                  <a:cubicBezTo>
                    <a:pt x="1333047" y="690740"/>
                    <a:pt x="1357264" y="666524"/>
                    <a:pt x="1387394" y="666524"/>
                  </a:cubicBezTo>
                  <a:cubicBezTo>
                    <a:pt x="1417524" y="666524"/>
                    <a:pt x="1441741" y="690740"/>
                    <a:pt x="1441741" y="720871"/>
                  </a:cubicBezTo>
                  <a:cubicBezTo>
                    <a:pt x="1441741" y="1118476"/>
                    <a:pt x="1118476" y="1441741"/>
                    <a:pt x="720871" y="1441741"/>
                  </a:cubicBezTo>
                  <a:close/>
                </a:path>
              </a:pathLst>
            </a:custGeom>
            <a:grpFill/>
            <a:ln w="28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dirty="0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</p:grpSp>
      <p:grpSp>
        <p:nvGrpSpPr>
          <p:cNvPr id="44" name="Gráfico 33">
            <a:extLst>
              <a:ext uri="{FF2B5EF4-FFF2-40B4-BE49-F238E27FC236}">
                <a16:creationId xmlns:a16="http://schemas.microsoft.com/office/drawing/2014/main" id="{1549036A-A243-4067-8829-12480FE1B44E}"/>
              </a:ext>
            </a:extLst>
          </p:cNvPr>
          <p:cNvGrpSpPr/>
          <p:nvPr/>
        </p:nvGrpSpPr>
        <p:grpSpPr>
          <a:xfrm>
            <a:off x="5414312" y="3678591"/>
            <a:ext cx="174028" cy="174028"/>
            <a:chOff x="3657600" y="990600"/>
            <a:chExt cx="1441741" cy="1441741"/>
          </a:xfrm>
          <a:solidFill>
            <a:schemeClr val="accent6"/>
          </a:solidFill>
        </p:grpSpPr>
        <p:sp>
          <p:nvSpPr>
            <p:cNvPr id="45" name="Forma Livre: Forma 44">
              <a:extLst>
                <a:ext uri="{FF2B5EF4-FFF2-40B4-BE49-F238E27FC236}">
                  <a16:creationId xmlns:a16="http://schemas.microsoft.com/office/drawing/2014/main" id="{D0D46EAD-4FAE-4BCA-A70A-BB297A3B7C3F}"/>
                </a:ext>
              </a:extLst>
            </p:cNvPr>
            <p:cNvSpPr/>
            <p:nvPr/>
          </p:nvSpPr>
          <p:spPr>
            <a:xfrm>
              <a:off x="4000038" y="1171873"/>
              <a:ext cx="1074029" cy="798659"/>
            </a:xfrm>
            <a:custGeom>
              <a:avLst/>
              <a:gdLst>
                <a:gd name="connsiteX0" fmla="*/ 327745 w 1074029"/>
                <a:gd name="connsiteY0" fmla="*/ 798660 h 798659"/>
                <a:gd name="connsiteX1" fmla="*/ 326619 w 1074029"/>
                <a:gd name="connsiteY1" fmla="*/ 798660 h 798659"/>
                <a:gd name="connsiteX2" fmla="*/ 287760 w 1074029"/>
                <a:gd name="connsiteY2" fmla="*/ 781201 h 798659"/>
                <a:gd name="connsiteX3" fmla="*/ 14336 w 1074029"/>
                <a:gd name="connsiteY3" fmla="*/ 484124 h 798659"/>
                <a:gd name="connsiteX4" fmla="*/ 17433 w 1074029"/>
                <a:gd name="connsiteY4" fmla="*/ 407250 h 798659"/>
                <a:gd name="connsiteX5" fmla="*/ 94307 w 1074029"/>
                <a:gd name="connsiteY5" fmla="*/ 410347 h 798659"/>
                <a:gd name="connsiteX6" fmla="*/ 329435 w 1074029"/>
                <a:gd name="connsiteY6" fmla="*/ 665749 h 798659"/>
                <a:gd name="connsiteX7" fmla="*/ 981316 w 1074029"/>
                <a:gd name="connsiteY7" fmla="*/ 15839 h 798659"/>
                <a:gd name="connsiteX8" fmla="*/ 1058190 w 1074029"/>
                <a:gd name="connsiteY8" fmla="*/ 15839 h 798659"/>
                <a:gd name="connsiteX9" fmla="*/ 1058190 w 1074029"/>
                <a:gd name="connsiteY9" fmla="*/ 92714 h 798659"/>
                <a:gd name="connsiteX10" fmla="*/ 366042 w 1074029"/>
                <a:gd name="connsiteY10" fmla="*/ 782891 h 798659"/>
                <a:gd name="connsiteX11" fmla="*/ 327745 w 1074029"/>
                <a:gd name="connsiteY11" fmla="*/ 798660 h 798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74029" h="798659">
                  <a:moveTo>
                    <a:pt x="327745" y="798660"/>
                  </a:moveTo>
                  <a:cubicBezTo>
                    <a:pt x="327464" y="798660"/>
                    <a:pt x="326901" y="798660"/>
                    <a:pt x="326619" y="798660"/>
                  </a:cubicBezTo>
                  <a:cubicBezTo>
                    <a:pt x="311976" y="798378"/>
                    <a:pt x="297897" y="791902"/>
                    <a:pt x="287760" y="781201"/>
                  </a:cubicBezTo>
                  <a:lnTo>
                    <a:pt x="14336" y="484124"/>
                  </a:lnTo>
                  <a:cubicBezTo>
                    <a:pt x="-5939" y="462160"/>
                    <a:pt x="-4531" y="427806"/>
                    <a:pt x="17433" y="407250"/>
                  </a:cubicBezTo>
                  <a:cubicBezTo>
                    <a:pt x="39397" y="386975"/>
                    <a:pt x="73751" y="388383"/>
                    <a:pt x="94307" y="410347"/>
                  </a:cubicBezTo>
                  <a:lnTo>
                    <a:pt x="329435" y="665749"/>
                  </a:lnTo>
                  <a:lnTo>
                    <a:pt x="981316" y="15839"/>
                  </a:lnTo>
                  <a:cubicBezTo>
                    <a:pt x="1002435" y="-5280"/>
                    <a:pt x="1037071" y="-5280"/>
                    <a:pt x="1058190" y="15839"/>
                  </a:cubicBezTo>
                  <a:cubicBezTo>
                    <a:pt x="1079309" y="36959"/>
                    <a:pt x="1079309" y="71594"/>
                    <a:pt x="1058190" y="92714"/>
                  </a:cubicBezTo>
                  <a:lnTo>
                    <a:pt x="366042" y="782891"/>
                  </a:lnTo>
                  <a:cubicBezTo>
                    <a:pt x="355904" y="793028"/>
                    <a:pt x="342107" y="798660"/>
                    <a:pt x="327745" y="798660"/>
                  </a:cubicBezTo>
                  <a:close/>
                </a:path>
              </a:pathLst>
            </a:custGeom>
            <a:grpFill/>
            <a:ln w="28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dirty="0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  <p:sp>
          <p:nvSpPr>
            <p:cNvPr id="46" name="Forma Livre: Forma 45">
              <a:extLst>
                <a:ext uri="{FF2B5EF4-FFF2-40B4-BE49-F238E27FC236}">
                  <a16:creationId xmlns:a16="http://schemas.microsoft.com/office/drawing/2014/main" id="{5F1F5DAA-C8CD-4317-9D18-49CCE1B504CA}"/>
                </a:ext>
              </a:extLst>
            </p:cNvPr>
            <p:cNvSpPr/>
            <p:nvPr/>
          </p:nvSpPr>
          <p:spPr>
            <a:xfrm>
              <a:off x="3657600" y="990600"/>
              <a:ext cx="1441741" cy="1441741"/>
            </a:xfrm>
            <a:custGeom>
              <a:avLst/>
              <a:gdLst>
                <a:gd name="connsiteX0" fmla="*/ 720871 w 1441741"/>
                <a:gd name="connsiteY0" fmla="*/ 1441741 h 1441741"/>
                <a:gd name="connsiteX1" fmla="*/ 0 w 1441741"/>
                <a:gd name="connsiteY1" fmla="*/ 720871 h 1441741"/>
                <a:gd name="connsiteX2" fmla="*/ 720871 w 1441741"/>
                <a:gd name="connsiteY2" fmla="*/ 0 h 1441741"/>
                <a:gd name="connsiteX3" fmla="*/ 775217 w 1441741"/>
                <a:gd name="connsiteY3" fmla="*/ 54347 h 1441741"/>
                <a:gd name="connsiteX4" fmla="*/ 720871 w 1441741"/>
                <a:gd name="connsiteY4" fmla="*/ 108694 h 1441741"/>
                <a:gd name="connsiteX5" fmla="*/ 108694 w 1441741"/>
                <a:gd name="connsiteY5" fmla="*/ 720871 h 1441741"/>
                <a:gd name="connsiteX6" fmla="*/ 720871 w 1441741"/>
                <a:gd name="connsiteY6" fmla="*/ 1333047 h 1441741"/>
                <a:gd name="connsiteX7" fmla="*/ 1333047 w 1441741"/>
                <a:gd name="connsiteY7" fmla="*/ 720871 h 1441741"/>
                <a:gd name="connsiteX8" fmla="*/ 1387394 w 1441741"/>
                <a:gd name="connsiteY8" fmla="*/ 666524 h 1441741"/>
                <a:gd name="connsiteX9" fmla="*/ 1441741 w 1441741"/>
                <a:gd name="connsiteY9" fmla="*/ 720871 h 1441741"/>
                <a:gd name="connsiteX10" fmla="*/ 720871 w 1441741"/>
                <a:gd name="connsiteY10" fmla="*/ 1441741 h 144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41741" h="1441741">
                  <a:moveTo>
                    <a:pt x="720871" y="1441741"/>
                  </a:moveTo>
                  <a:cubicBezTo>
                    <a:pt x="323265" y="1441741"/>
                    <a:pt x="0" y="1118476"/>
                    <a:pt x="0" y="720871"/>
                  </a:cubicBezTo>
                  <a:cubicBezTo>
                    <a:pt x="0" y="323265"/>
                    <a:pt x="323265" y="0"/>
                    <a:pt x="720871" y="0"/>
                  </a:cubicBezTo>
                  <a:cubicBezTo>
                    <a:pt x="751001" y="0"/>
                    <a:pt x="775217" y="24217"/>
                    <a:pt x="775217" y="54347"/>
                  </a:cubicBezTo>
                  <a:cubicBezTo>
                    <a:pt x="775217" y="84477"/>
                    <a:pt x="751001" y="108694"/>
                    <a:pt x="720871" y="108694"/>
                  </a:cubicBezTo>
                  <a:cubicBezTo>
                    <a:pt x="383244" y="108694"/>
                    <a:pt x="108694" y="383244"/>
                    <a:pt x="108694" y="720871"/>
                  </a:cubicBezTo>
                  <a:cubicBezTo>
                    <a:pt x="108694" y="1058497"/>
                    <a:pt x="383244" y="1333047"/>
                    <a:pt x="720871" y="1333047"/>
                  </a:cubicBezTo>
                  <a:cubicBezTo>
                    <a:pt x="1058497" y="1333047"/>
                    <a:pt x="1333047" y="1058497"/>
                    <a:pt x="1333047" y="720871"/>
                  </a:cubicBezTo>
                  <a:cubicBezTo>
                    <a:pt x="1333047" y="690740"/>
                    <a:pt x="1357264" y="666524"/>
                    <a:pt x="1387394" y="666524"/>
                  </a:cubicBezTo>
                  <a:cubicBezTo>
                    <a:pt x="1417524" y="666524"/>
                    <a:pt x="1441741" y="690740"/>
                    <a:pt x="1441741" y="720871"/>
                  </a:cubicBezTo>
                  <a:cubicBezTo>
                    <a:pt x="1441741" y="1118476"/>
                    <a:pt x="1118476" y="1441741"/>
                    <a:pt x="720871" y="1441741"/>
                  </a:cubicBezTo>
                  <a:close/>
                </a:path>
              </a:pathLst>
            </a:custGeom>
            <a:grpFill/>
            <a:ln w="28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dirty="0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</p:grpSp>
      <p:grpSp>
        <p:nvGrpSpPr>
          <p:cNvPr id="47" name="Gráfico 33">
            <a:extLst>
              <a:ext uri="{FF2B5EF4-FFF2-40B4-BE49-F238E27FC236}">
                <a16:creationId xmlns:a16="http://schemas.microsoft.com/office/drawing/2014/main" id="{CC8EBB19-C10D-48B9-9A34-4A2AE933EF77}"/>
              </a:ext>
            </a:extLst>
          </p:cNvPr>
          <p:cNvGrpSpPr/>
          <p:nvPr/>
        </p:nvGrpSpPr>
        <p:grpSpPr>
          <a:xfrm>
            <a:off x="5281619" y="4823383"/>
            <a:ext cx="174028" cy="174028"/>
            <a:chOff x="3657600" y="990600"/>
            <a:chExt cx="1441741" cy="1441741"/>
          </a:xfrm>
          <a:solidFill>
            <a:schemeClr val="accent6"/>
          </a:solidFill>
        </p:grpSpPr>
        <p:sp>
          <p:nvSpPr>
            <p:cNvPr id="48" name="Forma Livre: Forma 47">
              <a:extLst>
                <a:ext uri="{FF2B5EF4-FFF2-40B4-BE49-F238E27FC236}">
                  <a16:creationId xmlns:a16="http://schemas.microsoft.com/office/drawing/2014/main" id="{3CF9BBE5-C4F0-4BC7-A56F-6AAB6109CF91}"/>
                </a:ext>
              </a:extLst>
            </p:cNvPr>
            <p:cNvSpPr/>
            <p:nvPr/>
          </p:nvSpPr>
          <p:spPr>
            <a:xfrm>
              <a:off x="4000038" y="1171873"/>
              <a:ext cx="1074029" cy="798659"/>
            </a:xfrm>
            <a:custGeom>
              <a:avLst/>
              <a:gdLst>
                <a:gd name="connsiteX0" fmla="*/ 327745 w 1074029"/>
                <a:gd name="connsiteY0" fmla="*/ 798660 h 798659"/>
                <a:gd name="connsiteX1" fmla="*/ 326619 w 1074029"/>
                <a:gd name="connsiteY1" fmla="*/ 798660 h 798659"/>
                <a:gd name="connsiteX2" fmla="*/ 287760 w 1074029"/>
                <a:gd name="connsiteY2" fmla="*/ 781201 h 798659"/>
                <a:gd name="connsiteX3" fmla="*/ 14336 w 1074029"/>
                <a:gd name="connsiteY3" fmla="*/ 484124 h 798659"/>
                <a:gd name="connsiteX4" fmla="*/ 17433 w 1074029"/>
                <a:gd name="connsiteY4" fmla="*/ 407250 h 798659"/>
                <a:gd name="connsiteX5" fmla="*/ 94307 w 1074029"/>
                <a:gd name="connsiteY5" fmla="*/ 410347 h 798659"/>
                <a:gd name="connsiteX6" fmla="*/ 329435 w 1074029"/>
                <a:gd name="connsiteY6" fmla="*/ 665749 h 798659"/>
                <a:gd name="connsiteX7" fmla="*/ 981316 w 1074029"/>
                <a:gd name="connsiteY7" fmla="*/ 15839 h 798659"/>
                <a:gd name="connsiteX8" fmla="*/ 1058190 w 1074029"/>
                <a:gd name="connsiteY8" fmla="*/ 15839 h 798659"/>
                <a:gd name="connsiteX9" fmla="*/ 1058190 w 1074029"/>
                <a:gd name="connsiteY9" fmla="*/ 92714 h 798659"/>
                <a:gd name="connsiteX10" fmla="*/ 366042 w 1074029"/>
                <a:gd name="connsiteY10" fmla="*/ 782891 h 798659"/>
                <a:gd name="connsiteX11" fmla="*/ 327745 w 1074029"/>
                <a:gd name="connsiteY11" fmla="*/ 798660 h 798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74029" h="798659">
                  <a:moveTo>
                    <a:pt x="327745" y="798660"/>
                  </a:moveTo>
                  <a:cubicBezTo>
                    <a:pt x="327464" y="798660"/>
                    <a:pt x="326901" y="798660"/>
                    <a:pt x="326619" y="798660"/>
                  </a:cubicBezTo>
                  <a:cubicBezTo>
                    <a:pt x="311976" y="798378"/>
                    <a:pt x="297897" y="791902"/>
                    <a:pt x="287760" y="781201"/>
                  </a:cubicBezTo>
                  <a:lnTo>
                    <a:pt x="14336" y="484124"/>
                  </a:lnTo>
                  <a:cubicBezTo>
                    <a:pt x="-5939" y="462160"/>
                    <a:pt x="-4531" y="427806"/>
                    <a:pt x="17433" y="407250"/>
                  </a:cubicBezTo>
                  <a:cubicBezTo>
                    <a:pt x="39397" y="386975"/>
                    <a:pt x="73751" y="388383"/>
                    <a:pt x="94307" y="410347"/>
                  </a:cubicBezTo>
                  <a:lnTo>
                    <a:pt x="329435" y="665749"/>
                  </a:lnTo>
                  <a:lnTo>
                    <a:pt x="981316" y="15839"/>
                  </a:lnTo>
                  <a:cubicBezTo>
                    <a:pt x="1002435" y="-5280"/>
                    <a:pt x="1037071" y="-5280"/>
                    <a:pt x="1058190" y="15839"/>
                  </a:cubicBezTo>
                  <a:cubicBezTo>
                    <a:pt x="1079309" y="36959"/>
                    <a:pt x="1079309" y="71594"/>
                    <a:pt x="1058190" y="92714"/>
                  </a:cubicBezTo>
                  <a:lnTo>
                    <a:pt x="366042" y="782891"/>
                  </a:lnTo>
                  <a:cubicBezTo>
                    <a:pt x="355904" y="793028"/>
                    <a:pt x="342107" y="798660"/>
                    <a:pt x="327745" y="798660"/>
                  </a:cubicBezTo>
                  <a:close/>
                </a:path>
              </a:pathLst>
            </a:custGeom>
            <a:grpFill/>
            <a:ln w="28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dirty="0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  <p:sp>
          <p:nvSpPr>
            <p:cNvPr id="49" name="Forma Livre: Forma 48">
              <a:extLst>
                <a:ext uri="{FF2B5EF4-FFF2-40B4-BE49-F238E27FC236}">
                  <a16:creationId xmlns:a16="http://schemas.microsoft.com/office/drawing/2014/main" id="{9F57FEB8-0E79-4628-B9FB-E8E915978625}"/>
                </a:ext>
              </a:extLst>
            </p:cNvPr>
            <p:cNvSpPr/>
            <p:nvPr/>
          </p:nvSpPr>
          <p:spPr>
            <a:xfrm>
              <a:off x="3657600" y="990600"/>
              <a:ext cx="1441741" cy="1441741"/>
            </a:xfrm>
            <a:custGeom>
              <a:avLst/>
              <a:gdLst>
                <a:gd name="connsiteX0" fmla="*/ 720871 w 1441741"/>
                <a:gd name="connsiteY0" fmla="*/ 1441741 h 1441741"/>
                <a:gd name="connsiteX1" fmla="*/ 0 w 1441741"/>
                <a:gd name="connsiteY1" fmla="*/ 720871 h 1441741"/>
                <a:gd name="connsiteX2" fmla="*/ 720871 w 1441741"/>
                <a:gd name="connsiteY2" fmla="*/ 0 h 1441741"/>
                <a:gd name="connsiteX3" fmla="*/ 775217 w 1441741"/>
                <a:gd name="connsiteY3" fmla="*/ 54347 h 1441741"/>
                <a:gd name="connsiteX4" fmla="*/ 720871 w 1441741"/>
                <a:gd name="connsiteY4" fmla="*/ 108694 h 1441741"/>
                <a:gd name="connsiteX5" fmla="*/ 108694 w 1441741"/>
                <a:gd name="connsiteY5" fmla="*/ 720871 h 1441741"/>
                <a:gd name="connsiteX6" fmla="*/ 720871 w 1441741"/>
                <a:gd name="connsiteY6" fmla="*/ 1333047 h 1441741"/>
                <a:gd name="connsiteX7" fmla="*/ 1333047 w 1441741"/>
                <a:gd name="connsiteY7" fmla="*/ 720871 h 1441741"/>
                <a:gd name="connsiteX8" fmla="*/ 1387394 w 1441741"/>
                <a:gd name="connsiteY8" fmla="*/ 666524 h 1441741"/>
                <a:gd name="connsiteX9" fmla="*/ 1441741 w 1441741"/>
                <a:gd name="connsiteY9" fmla="*/ 720871 h 1441741"/>
                <a:gd name="connsiteX10" fmla="*/ 720871 w 1441741"/>
                <a:gd name="connsiteY10" fmla="*/ 1441741 h 144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41741" h="1441741">
                  <a:moveTo>
                    <a:pt x="720871" y="1441741"/>
                  </a:moveTo>
                  <a:cubicBezTo>
                    <a:pt x="323265" y="1441741"/>
                    <a:pt x="0" y="1118476"/>
                    <a:pt x="0" y="720871"/>
                  </a:cubicBezTo>
                  <a:cubicBezTo>
                    <a:pt x="0" y="323265"/>
                    <a:pt x="323265" y="0"/>
                    <a:pt x="720871" y="0"/>
                  </a:cubicBezTo>
                  <a:cubicBezTo>
                    <a:pt x="751001" y="0"/>
                    <a:pt x="775217" y="24217"/>
                    <a:pt x="775217" y="54347"/>
                  </a:cubicBezTo>
                  <a:cubicBezTo>
                    <a:pt x="775217" y="84477"/>
                    <a:pt x="751001" y="108694"/>
                    <a:pt x="720871" y="108694"/>
                  </a:cubicBezTo>
                  <a:cubicBezTo>
                    <a:pt x="383244" y="108694"/>
                    <a:pt x="108694" y="383244"/>
                    <a:pt x="108694" y="720871"/>
                  </a:cubicBezTo>
                  <a:cubicBezTo>
                    <a:pt x="108694" y="1058497"/>
                    <a:pt x="383244" y="1333047"/>
                    <a:pt x="720871" y="1333047"/>
                  </a:cubicBezTo>
                  <a:cubicBezTo>
                    <a:pt x="1058497" y="1333047"/>
                    <a:pt x="1333047" y="1058497"/>
                    <a:pt x="1333047" y="720871"/>
                  </a:cubicBezTo>
                  <a:cubicBezTo>
                    <a:pt x="1333047" y="690740"/>
                    <a:pt x="1357264" y="666524"/>
                    <a:pt x="1387394" y="666524"/>
                  </a:cubicBezTo>
                  <a:cubicBezTo>
                    <a:pt x="1417524" y="666524"/>
                    <a:pt x="1441741" y="690740"/>
                    <a:pt x="1441741" y="720871"/>
                  </a:cubicBezTo>
                  <a:cubicBezTo>
                    <a:pt x="1441741" y="1118476"/>
                    <a:pt x="1118476" y="1441741"/>
                    <a:pt x="720871" y="1441741"/>
                  </a:cubicBezTo>
                  <a:close/>
                </a:path>
              </a:pathLst>
            </a:custGeom>
            <a:grpFill/>
            <a:ln w="28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dirty="0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</p:grpSp>
      <p:grpSp>
        <p:nvGrpSpPr>
          <p:cNvPr id="50" name="Gráfico 33">
            <a:extLst>
              <a:ext uri="{FF2B5EF4-FFF2-40B4-BE49-F238E27FC236}">
                <a16:creationId xmlns:a16="http://schemas.microsoft.com/office/drawing/2014/main" id="{9E4D2314-0516-45F8-808A-5EE63334F210}"/>
              </a:ext>
            </a:extLst>
          </p:cNvPr>
          <p:cNvGrpSpPr/>
          <p:nvPr/>
        </p:nvGrpSpPr>
        <p:grpSpPr>
          <a:xfrm>
            <a:off x="5281619" y="5001910"/>
            <a:ext cx="174028" cy="174028"/>
            <a:chOff x="3657600" y="990600"/>
            <a:chExt cx="1441741" cy="1441741"/>
          </a:xfrm>
          <a:solidFill>
            <a:schemeClr val="accent6"/>
          </a:solidFill>
        </p:grpSpPr>
        <p:sp>
          <p:nvSpPr>
            <p:cNvPr id="51" name="Forma Livre: Forma 50">
              <a:extLst>
                <a:ext uri="{FF2B5EF4-FFF2-40B4-BE49-F238E27FC236}">
                  <a16:creationId xmlns:a16="http://schemas.microsoft.com/office/drawing/2014/main" id="{F8DFB482-8084-4C10-A2CA-903120ECD155}"/>
                </a:ext>
              </a:extLst>
            </p:cNvPr>
            <p:cNvSpPr/>
            <p:nvPr/>
          </p:nvSpPr>
          <p:spPr>
            <a:xfrm>
              <a:off x="4000038" y="1171873"/>
              <a:ext cx="1074029" cy="798659"/>
            </a:xfrm>
            <a:custGeom>
              <a:avLst/>
              <a:gdLst>
                <a:gd name="connsiteX0" fmla="*/ 327745 w 1074029"/>
                <a:gd name="connsiteY0" fmla="*/ 798660 h 798659"/>
                <a:gd name="connsiteX1" fmla="*/ 326619 w 1074029"/>
                <a:gd name="connsiteY1" fmla="*/ 798660 h 798659"/>
                <a:gd name="connsiteX2" fmla="*/ 287760 w 1074029"/>
                <a:gd name="connsiteY2" fmla="*/ 781201 h 798659"/>
                <a:gd name="connsiteX3" fmla="*/ 14336 w 1074029"/>
                <a:gd name="connsiteY3" fmla="*/ 484124 h 798659"/>
                <a:gd name="connsiteX4" fmla="*/ 17433 w 1074029"/>
                <a:gd name="connsiteY4" fmla="*/ 407250 h 798659"/>
                <a:gd name="connsiteX5" fmla="*/ 94307 w 1074029"/>
                <a:gd name="connsiteY5" fmla="*/ 410347 h 798659"/>
                <a:gd name="connsiteX6" fmla="*/ 329435 w 1074029"/>
                <a:gd name="connsiteY6" fmla="*/ 665749 h 798659"/>
                <a:gd name="connsiteX7" fmla="*/ 981316 w 1074029"/>
                <a:gd name="connsiteY7" fmla="*/ 15839 h 798659"/>
                <a:gd name="connsiteX8" fmla="*/ 1058190 w 1074029"/>
                <a:gd name="connsiteY8" fmla="*/ 15839 h 798659"/>
                <a:gd name="connsiteX9" fmla="*/ 1058190 w 1074029"/>
                <a:gd name="connsiteY9" fmla="*/ 92714 h 798659"/>
                <a:gd name="connsiteX10" fmla="*/ 366042 w 1074029"/>
                <a:gd name="connsiteY10" fmla="*/ 782891 h 798659"/>
                <a:gd name="connsiteX11" fmla="*/ 327745 w 1074029"/>
                <a:gd name="connsiteY11" fmla="*/ 798660 h 798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74029" h="798659">
                  <a:moveTo>
                    <a:pt x="327745" y="798660"/>
                  </a:moveTo>
                  <a:cubicBezTo>
                    <a:pt x="327464" y="798660"/>
                    <a:pt x="326901" y="798660"/>
                    <a:pt x="326619" y="798660"/>
                  </a:cubicBezTo>
                  <a:cubicBezTo>
                    <a:pt x="311976" y="798378"/>
                    <a:pt x="297897" y="791902"/>
                    <a:pt x="287760" y="781201"/>
                  </a:cubicBezTo>
                  <a:lnTo>
                    <a:pt x="14336" y="484124"/>
                  </a:lnTo>
                  <a:cubicBezTo>
                    <a:pt x="-5939" y="462160"/>
                    <a:pt x="-4531" y="427806"/>
                    <a:pt x="17433" y="407250"/>
                  </a:cubicBezTo>
                  <a:cubicBezTo>
                    <a:pt x="39397" y="386975"/>
                    <a:pt x="73751" y="388383"/>
                    <a:pt x="94307" y="410347"/>
                  </a:cubicBezTo>
                  <a:lnTo>
                    <a:pt x="329435" y="665749"/>
                  </a:lnTo>
                  <a:lnTo>
                    <a:pt x="981316" y="15839"/>
                  </a:lnTo>
                  <a:cubicBezTo>
                    <a:pt x="1002435" y="-5280"/>
                    <a:pt x="1037071" y="-5280"/>
                    <a:pt x="1058190" y="15839"/>
                  </a:cubicBezTo>
                  <a:cubicBezTo>
                    <a:pt x="1079309" y="36959"/>
                    <a:pt x="1079309" y="71594"/>
                    <a:pt x="1058190" y="92714"/>
                  </a:cubicBezTo>
                  <a:lnTo>
                    <a:pt x="366042" y="782891"/>
                  </a:lnTo>
                  <a:cubicBezTo>
                    <a:pt x="355904" y="793028"/>
                    <a:pt x="342107" y="798660"/>
                    <a:pt x="327745" y="798660"/>
                  </a:cubicBezTo>
                  <a:close/>
                </a:path>
              </a:pathLst>
            </a:custGeom>
            <a:grpFill/>
            <a:ln w="28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dirty="0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  <p:sp>
          <p:nvSpPr>
            <p:cNvPr id="52" name="Forma Livre: Forma 51">
              <a:extLst>
                <a:ext uri="{FF2B5EF4-FFF2-40B4-BE49-F238E27FC236}">
                  <a16:creationId xmlns:a16="http://schemas.microsoft.com/office/drawing/2014/main" id="{85097CB2-8313-458A-BE03-4C205820768F}"/>
                </a:ext>
              </a:extLst>
            </p:cNvPr>
            <p:cNvSpPr/>
            <p:nvPr/>
          </p:nvSpPr>
          <p:spPr>
            <a:xfrm>
              <a:off x="3657600" y="990600"/>
              <a:ext cx="1441741" cy="1441741"/>
            </a:xfrm>
            <a:custGeom>
              <a:avLst/>
              <a:gdLst>
                <a:gd name="connsiteX0" fmla="*/ 720871 w 1441741"/>
                <a:gd name="connsiteY0" fmla="*/ 1441741 h 1441741"/>
                <a:gd name="connsiteX1" fmla="*/ 0 w 1441741"/>
                <a:gd name="connsiteY1" fmla="*/ 720871 h 1441741"/>
                <a:gd name="connsiteX2" fmla="*/ 720871 w 1441741"/>
                <a:gd name="connsiteY2" fmla="*/ 0 h 1441741"/>
                <a:gd name="connsiteX3" fmla="*/ 775217 w 1441741"/>
                <a:gd name="connsiteY3" fmla="*/ 54347 h 1441741"/>
                <a:gd name="connsiteX4" fmla="*/ 720871 w 1441741"/>
                <a:gd name="connsiteY4" fmla="*/ 108694 h 1441741"/>
                <a:gd name="connsiteX5" fmla="*/ 108694 w 1441741"/>
                <a:gd name="connsiteY5" fmla="*/ 720871 h 1441741"/>
                <a:gd name="connsiteX6" fmla="*/ 720871 w 1441741"/>
                <a:gd name="connsiteY6" fmla="*/ 1333047 h 1441741"/>
                <a:gd name="connsiteX7" fmla="*/ 1333047 w 1441741"/>
                <a:gd name="connsiteY7" fmla="*/ 720871 h 1441741"/>
                <a:gd name="connsiteX8" fmla="*/ 1387394 w 1441741"/>
                <a:gd name="connsiteY8" fmla="*/ 666524 h 1441741"/>
                <a:gd name="connsiteX9" fmla="*/ 1441741 w 1441741"/>
                <a:gd name="connsiteY9" fmla="*/ 720871 h 1441741"/>
                <a:gd name="connsiteX10" fmla="*/ 720871 w 1441741"/>
                <a:gd name="connsiteY10" fmla="*/ 1441741 h 144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41741" h="1441741">
                  <a:moveTo>
                    <a:pt x="720871" y="1441741"/>
                  </a:moveTo>
                  <a:cubicBezTo>
                    <a:pt x="323265" y="1441741"/>
                    <a:pt x="0" y="1118476"/>
                    <a:pt x="0" y="720871"/>
                  </a:cubicBezTo>
                  <a:cubicBezTo>
                    <a:pt x="0" y="323265"/>
                    <a:pt x="323265" y="0"/>
                    <a:pt x="720871" y="0"/>
                  </a:cubicBezTo>
                  <a:cubicBezTo>
                    <a:pt x="751001" y="0"/>
                    <a:pt x="775217" y="24217"/>
                    <a:pt x="775217" y="54347"/>
                  </a:cubicBezTo>
                  <a:cubicBezTo>
                    <a:pt x="775217" y="84477"/>
                    <a:pt x="751001" y="108694"/>
                    <a:pt x="720871" y="108694"/>
                  </a:cubicBezTo>
                  <a:cubicBezTo>
                    <a:pt x="383244" y="108694"/>
                    <a:pt x="108694" y="383244"/>
                    <a:pt x="108694" y="720871"/>
                  </a:cubicBezTo>
                  <a:cubicBezTo>
                    <a:pt x="108694" y="1058497"/>
                    <a:pt x="383244" y="1333047"/>
                    <a:pt x="720871" y="1333047"/>
                  </a:cubicBezTo>
                  <a:cubicBezTo>
                    <a:pt x="1058497" y="1333047"/>
                    <a:pt x="1333047" y="1058497"/>
                    <a:pt x="1333047" y="720871"/>
                  </a:cubicBezTo>
                  <a:cubicBezTo>
                    <a:pt x="1333047" y="690740"/>
                    <a:pt x="1357264" y="666524"/>
                    <a:pt x="1387394" y="666524"/>
                  </a:cubicBezTo>
                  <a:cubicBezTo>
                    <a:pt x="1417524" y="666524"/>
                    <a:pt x="1441741" y="690740"/>
                    <a:pt x="1441741" y="720871"/>
                  </a:cubicBezTo>
                  <a:cubicBezTo>
                    <a:pt x="1441741" y="1118476"/>
                    <a:pt x="1118476" y="1441741"/>
                    <a:pt x="720871" y="1441741"/>
                  </a:cubicBezTo>
                  <a:close/>
                </a:path>
              </a:pathLst>
            </a:custGeom>
            <a:grpFill/>
            <a:ln w="28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dirty="0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0694511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Texto 5">
            <a:extLst>
              <a:ext uri="{FF2B5EF4-FFF2-40B4-BE49-F238E27FC236}">
                <a16:creationId xmlns:a16="http://schemas.microsoft.com/office/drawing/2014/main" id="{8A6E8D12-FD9E-4B5A-B873-10E083AD84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Inserir aqui o título do slide</a:t>
            </a:r>
          </a:p>
        </p:txBody>
      </p:sp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723BFD7E-E0CF-4EE8-B7C4-9F8A8540592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erir aqui o subtítulo do slide</a:t>
            </a:r>
          </a:p>
        </p:txBody>
      </p:sp>
      <p:sp>
        <p:nvSpPr>
          <p:cNvPr id="8" name="Espaço Reservado para Texto 7">
            <a:extLst>
              <a:ext uri="{FF2B5EF4-FFF2-40B4-BE49-F238E27FC236}">
                <a16:creationId xmlns:a16="http://schemas.microsoft.com/office/drawing/2014/main" id="{4E696062-7C5E-4FA9-9AC0-60110AC92A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BR" dirty="0" err="1"/>
              <a:t>Sed</a:t>
            </a:r>
            <a:r>
              <a:rPr lang="pt-BR" dirty="0"/>
              <a:t> ut </a:t>
            </a:r>
            <a:r>
              <a:rPr lang="pt-BR" dirty="0" err="1"/>
              <a:t>perspiciatis</a:t>
            </a:r>
            <a:r>
              <a:rPr lang="pt-BR" dirty="0"/>
              <a:t> </a:t>
            </a:r>
            <a:r>
              <a:rPr lang="pt-BR" dirty="0" err="1"/>
              <a:t>unde</a:t>
            </a:r>
            <a:r>
              <a:rPr lang="pt-BR" dirty="0"/>
              <a:t> omnis </a:t>
            </a:r>
            <a:r>
              <a:rPr lang="pt-BR" dirty="0" err="1"/>
              <a:t>iste</a:t>
            </a:r>
            <a:r>
              <a:rPr lang="pt-BR" dirty="0"/>
              <a:t> </a:t>
            </a:r>
            <a:r>
              <a:rPr lang="pt-BR" dirty="0" err="1"/>
              <a:t>natus</a:t>
            </a:r>
            <a:r>
              <a:rPr lang="pt-BR" dirty="0"/>
              <a:t> </a:t>
            </a:r>
            <a:r>
              <a:rPr lang="pt-BR" dirty="0" err="1"/>
              <a:t>err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accusantium</a:t>
            </a:r>
            <a:r>
              <a:rPr lang="pt-BR" dirty="0"/>
              <a:t> </a:t>
            </a:r>
            <a:r>
              <a:rPr lang="pt-BR" dirty="0" err="1"/>
              <a:t>doloremque</a:t>
            </a:r>
            <a:r>
              <a:rPr lang="pt-BR" dirty="0"/>
              <a:t> </a:t>
            </a:r>
            <a:r>
              <a:rPr lang="pt-BR" dirty="0" err="1"/>
              <a:t>laudantium</a:t>
            </a:r>
            <a:r>
              <a:rPr lang="pt-BR" dirty="0"/>
              <a:t>, </a:t>
            </a:r>
            <a:r>
              <a:rPr lang="pt-BR" dirty="0" err="1"/>
              <a:t>totam</a:t>
            </a:r>
            <a:r>
              <a:rPr lang="pt-BR" dirty="0"/>
              <a:t> rem </a:t>
            </a:r>
            <a:r>
              <a:rPr lang="pt-BR" dirty="0" err="1"/>
              <a:t>aperiam</a:t>
            </a:r>
            <a:r>
              <a:rPr lang="pt-BR" dirty="0"/>
              <a:t>, </a:t>
            </a:r>
            <a:r>
              <a:rPr lang="pt-BR" dirty="0" err="1"/>
              <a:t>eaque</a:t>
            </a:r>
            <a:r>
              <a:rPr lang="pt-BR" dirty="0"/>
              <a:t> </a:t>
            </a:r>
            <a:r>
              <a:rPr lang="pt-BR" dirty="0" err="1"/>
              <a:t>ipsa</a:t>
            </a:r>
            <a:r>
              <a:rPr lang="pt-BR" dirty="0"/>
              <a:t> </a:t>
            </a:r>
            <a:r>
              <a:rPr lang="pt-BR" dirty="0" err="1"/>
              <a:t>quae</a:t>
            </a:r>
            <a:r>
              <a:rPr lang="pt-BR" dirty="0"/>
              <a:t> </a:t>
            </a:r>
            <a:r>
              <a:rPr lang="pt-BR" dirty="0" err="1"/>
              <a:t>ab</a:t>
            </a:r>
            <a:r>
              <a:rPr lang="pt-BR" dirty="0"/>
              <a:t> </a:t>
            </a:r>
            <a:r>
              <a:rPr lang="pt-BR" dirty="0" err="1"/>
              <a:t>illo</a:t>
            </a:r>
            <a:r>
              <a:rPr lang="pt-BR" dirty="0"/>
              <a:t> </a:t>
            </a:r>
            <a:r>
              <a:rPr lang="pt-BR" dirty="0" err="1"/>
              <a:t>inventore</a:t>
            </a:r>
            <a:r>
              <a:rPr lang="pt-BR" dirty="0"/>
              <a:t> </a:t>
            </a:r>
            <a:r>
              <a:rPr lang="pt-BR" dirty="0" err="1"/>
              <a:t>veritatis</a:t>
            </a:r>
            <a:r>
              <a:rPr lang="pt-BR" dirty="0"/>
              <a:t> et </a:t>
            </a:r>
            <a:r>
              <a:rPr lang="pt-BR" dirty="0" err="1"/>
              <a:t>quasi</a:t>
            </a:r>
            <a:r>
              <a:rPr lang="pt-BR" dirty="0"/>
              <a:t> </a:t>
            </a:r>
            <a:r>
              <a:rPr lang="pt-BR" dirty="0" err="1"/>
              <a:t>architecto</a:t>
            </a:r>
            <a:r>
              <a:rPr lang="pt-BR" dirty="0"/>
              <a:t> </a:t>
            </a:r>
            <a:r>
              <a:rPr lang="pt-BR" dirty="0" err="1"/>
              <a:t>beatae</a:t>
            </a:r>
            <a:r>
              <a:rPr lang="pt-BR" dirty="0"/>
              <a:t> vitae </a:t>
            </a:r>
            <a:r>
              <a:rPr lang="pt-BR" dirty="0" err="1"/>
              <a:t>dicta</a:t>
            </a:r>
            <a:r>
              <a:rPr lang="pt-BR" dirty="0"/>
              <a:t> sunt </a:t>
            </a:r>
            <a:r>
              <a:rPr lang="pt-BR" dirty="0" err="1"/>
              <a:t>explicabo</a:t>
            </a:r>
            <a:r>
              <a:rPr lang="pt-BR" dirty="0"/>
              <a:t>. Nemo </a:t>
            </a:r>
            <a:r>
              <a:rPr lang="pt-BR" dirty="0" err="1"/>
              <a:t>enim</a:t>
            </a:r>
            <a:r>
              <a:rPr lang="pt-BR" dirty="0"/>
              <a:t> </a:t>
            </a:r>
            <a:r>
              <a:rPr lang="pt-BR" dirty="0" err="1"/>
              <a:t>ipsam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quia</a:t>
            </a:r>
            <a:r>
              <a:rPr lang="pt-BR" dirty="0"/>
              <a:t> </a:t>
            </a:r>
            <a:r>
              <a:rPr lang="pt-BR" dirty="0" err="1"/>
              <a:t>voluptas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spernatur</a:t>
            </a:r>
            <a:r>
              <a:rPr lang="pt-BR" dirty="0"/>
              <a:t> </a:t>
            </a:r>
            <a:r>
              <a:rPr lang="pt-BR" dirty="0" err="1"/>
              <a:t>aut</a:t>
            </a:r>
            <a:r>
              <a:rPr lang="pt-BR" dirty="0"/>
              <a:t> </a:t>
            </a:r>
            <a:r>
              <a:rPr lang="pt-BR" dirty="0" err="1"/>
              <a:t>odit</a:t>
            </a:r>
            <a:r>
              <a:rPr lang="pt-BR" dirty="0"/>
              <a:t> </a:t>
            </a:r>
            <a:r>
              <a:rPr lang="pt-BR" dirty="0" err="1"/>
              <a:t>aut</a:t>
            </a:r>
            <a:r>
              <a:rPr lang="pt-BR" dirty="0"/>
              <a:t> </a:t>
            </a:r>
            <a:r>
              <a:rPr lang="pt-BR" dirty="0" err="1"/>
              <a:t>fug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</a:t>
            </a:r>
            <a:r>
              <a:rPr lang="pt-BR" dirty="0" err="1"/>
              <a:t>quia</a:t>
            </a:r>
            <a:r>
              <a:rPr lang="pt-BR" dirty="0"/>
              <a:t> </a:t>
            </a:r>
            <a:r>
              <a:rPr lang="pt-BR" dirty="0" err="1"/>
              <a:t>consequuntur</a:t>
            </a:r>
            <a:r>
              <a:rPr lang="pt-BR" dirty="0"/>
              <a:t> </a:t>
            </a:r>
            <a:r>
              <a:rPr lang="pt-BR" dirty="0" err="1"/>
              <a:t>magni</a:t>
            </a:r>
            <a:r>
              <a:rPr lang="pt-BR" dirty="0"/>
              <a:t> </a:t>
            </a:r>
            <a:r>
              <a:rPr lang="pt-BR" dirty="0" err="1"/>
              <a:t>dolores</a:t>
            </a:r>
            <a:r>
              <a:rPr lang="pt-BR" dirty="0"/>
              <a:t> </a:t>
            </a:r>
            <a:r>
              <a:rPr lang="pt-BR" dirty="0" err="1"/>
              <a:t>eos</a:t>
            </a:r>
            <a:r>
              <a:rPr lang="pt-BR" dirty="0"/>
              <a:t> </a:t>
            </a:r>
            <a:r>
              <a:rPr lang="pt-BR" dirty="0" err="1"/>
              <a:t>qui</a:t>
            </a:r>
            <a:r>
              <a:rPr lang="pt-BR" dirty="0"/>
              <a:t> ratione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sequi</a:t>
            </a:r>
            <a:r>
              <a:rPr lang="pt-BR" dirty="0"/>
              <a:t> </a:t>
            </a:r>
            <a:r>
              <a:rPr lang="pt-BR" dirty="0" err="1"/>
              <a:t>nesciunt</a:t>
            </a:r>
            <a:r>
              <a:rPr lang="pt-BR" dirty="0"/>
              <a:t>. </a:t>
            </a:r>
          </a:p>
          <a:p>
            <a:pPr lvl="1"/>
            <a:r>
              <a:rPr lang="pt-BR" dirty="0"/>
              <a:t>Item 01</a:t>
            </a:r>
          </a:p>
          <a:p>
            <a:pPr lvl="1"/>
            <a:r>
              <a:rPr lang="pt-BR" dirty="0"/>
              <a:t>Item 02</a:t>
            </a:r>
          </a:p>
          <a:p>
            <a:pPr lvl="1"/>
            <a:r>
              <a:rPr lang="pt-BR" dirty="0"/>
              <a:t>Item 03</a:t>
            </a:r>
          </a:p>
          <a:p>
            <a:pPr lvl="1"/>
            <a:r>
              <a:rPr lang="pt-BR" dirty="0"/>
              <a:t>Item 04</a:t>
            </a:r>
          </a:p>
          <a:p>
            <a:endParaRPr lang="pt-BR" dirty="0"/>
          </a:p>
          <a:p>
            <a:r>
              <a:rPr lang="pt-BR" dirty="0" err="1"/>
              <a:t>Sed</a:t>
            </a:r>
            <a:r>
              <a:rPr lang="pt-BR" dirty="0"/>
              <a:t> ut </a:t>
            </a:r>
            <a:r>
              <a:rPr lang="pt-BR" dirty="0" err="1"/>
              <a:t>perspiciatis</a:t>
            </a:r>
            <a:r>
              <a:rPr lang="pt-BR" dirty="0"/>
              <a:t> </a:t>
            </a:r>
            <a:r>
              <a:rPr lang="pt-BR" dirty="0" err="1"/>
              <a:t>unde</a:t>
            </a:r>
            <a:r>
              <a:rPr lang="pt-BR" dirty="0"/>
              <a:t> omnis </a:t>
            </a:r>
            <a:r>
              <a:rPr lang="pt-BR" dirty="0" err="1"/>
              <a:t>iste</a:t>
            </a:r>
            <a:r>
              <a:rPr lang="pt-BR" dirty="0"/>
              <a:t> </a:t>
            </a:r>
            <a:r>
              <a:rPr lang="pt-BR" dirty="0" err="1"/>
              <a:t>natus</a:t>
            </a:r>
            <a:r>
              <a:rPr lang="pt-BR" dirty="0"/>
              <a:t> </a:t>
            </a:r>
            <a:r>
              <a:rPr lang="pt-BR" dirty="0" err="1"/>
              <a:t>err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accusantium</a:t>
            </a:r>
            <a:r>
              <a:rPr lang="pt-BR" dirty="0"/>
              <a:t> </a:t>
            </a:r>
            <a:r>
              <a:rPr lang="pt-BR" dirty="0" err="1"/>
              <a:t>doloremque</a:t>
            </a:r>
            <a:r>
              <a:rPr lang="pt-BR" dirty="0"/>
              <a:t> </a:t>
            </a:r>
            <a:r>
              <a:rPr lang="pt-BR" dirty="0" err="1"/>
              <a:t>laudantium</a:t>
            </a:r>
            <a:r>
              <a:rPr lang="pt-BR" dirty="0"/>
              <a:t>, </a:t>
            </a:r>
            <a:r>
              <a:rPr lang="pt-BR" dirty="0" err="1"/>
              <a:t>totam</a:t>
            </a:r>
            <a:r>
              <a:rPr lang="pt-BR" dirty="0"/>
              <a:t> rem </a:t>
            </a:r>
            <a:r>
              <a:rPr lang="pt-BR" dirty="0" err="1"/>
              <a:t>aperiam</a:t>
            </a:r>
            <a:r>
              <a:rPr lang="pt-BR" dirty="0"/>
              <a:t>, </a:t>
            </a:r>
            <a:r>
              <a:rPr lang="pt-BR" dirty="0" err="1"/>
              <a:t>eaque</a:t>
            </a:r>
            <a:r>
              <a:rPr lang="pt-BR" dirty="0"/>
              <a:t> </a:t>
            </a:r>
            <a:r>
              <a:rPr lang="pt-BR" dirty="0" err="1"/>
              <a:t>ipsa</a:t>
            </a:r>
            <a:r>
              <a:rPr lang="pt-BR" dirty="0"/>
              <a:t> </a:t>
            </a:r>
            <a:r>
              <a:rPr lang="pt-BR" dirty="0" err="1"/>
              <a:t>quae</a:t>
            </a:r>
            <a:r>
              <a:rPr lang="pt-BR" dirty="0"/>
              <a:t> </a:t>
            </a:r>
            <a:r>
              <a:rPr lang="pt-BR" dirty="0" err="1"/>
              <a:t>ab</a:t>
            </a:r>
            <a:r>
              <a:rPr lang="pt-BR" dirty="0"/>
              <a:t> </a:t>
            </a:r>
            <a:r>
              <a:rPr lang="pt-BR" dirty="0" err="1"/>
              <a:t>illo</a:t>
            </a:r>
            <a:r>
              <a:rPr lang="pt-BR" dirty="0"/>
              <a:t> </a:t>
            </a:r>
            <a:r>
              <a:rPr lang="pt-BR" dirty="0" err="1"/>
              <a:t>inventore</a:t>
            </a:r>
            <a:r>
              <a:rPr lang="pt-BR" dirty="0"/>
              <a:t> </a:t>
            </a:r>
            <a:r>
              <a:rPr lang="pt-BR" dirty="0" err="1"/>
              <a:t>veritatis</a:t>
            </a:r>
            <a:r>
              <a:rPr lang="pt-BR" dirty="0"/>
              <a:t> et </a:t>
            </a:r>
            <a:r>
              <a:rPr lang="pt-BR" dirty="0" err="1"/>
              <a:t>quasi</a:t>
            </a:r>
            <a:r>
              <a:rPr lang="pt-BR" dirty="0"/>
              <a:t> </a:t>
            </a:r>
            <a:r>
              <a:rPr lang="pt-BR" dirty="0" err="1"/>
              <a:t>architecto</a:t>
            </a:r>
            <a:r>
              <a:rPr lang="pt-BR" dirty="0"/>
              <a:t> </a:t>
            </a:r>
            <a:r>
              <a:rPr lang="pt-BR" dirty="0" err="1"/>
              <a:t>beatae</a:t>
            </a:r>
            <a:r>
              <a:rPr lang="pt-BR" dirty="0"/>
              <a:t> vitae </a:t>
            </a:r>
            <a:r>
              <a:rPr lang="pt-BR" dirty="0" err="1"/>
              <a:t>dicta</a:t>
            </a:r>
            <a:r>
              <a:rPr lang="pt-BR" dirty="0"/>
              <a:t> sunt </a:t>
            </a:r>
            <a:r>
              <a:rPr lang="pt-BR" dirty="0" err="1"/>
              <a:t>explicabo</a:t>
            </a:r>
            <a:endParaRPr lang="pt-BR" dirty="0"/>
          </a:p>
          <a:p>
            <a:r>
              <a:rPr lang="pt-BR" dirty="0" err="1"/>
              <a:t>Sed</a:t>
            </a:r>
            <a:r>
              <a:rPr lang="pt-BR" dirty="0"/>
              <a:t> ut </a:t>
            </a:r>
            <a:r>
              <a:rPr lang="pt-BR" dirty="0" err="1"/>
              <a:t>perspiciatis</a:t>
            </a:r>
            <a:r>
              <a:rPr lang="pt-BR" dirty="0"/>
              <a:t> </a:t>
            </a:r>
            <a:r>
              <a:rPr lang="pt-BR" dirty="0" err="1"/>
              <a:t>unde</a:t>
            </a:r>
            <a:r>
              <a:rPr lang="pt-BR" dirty="0"/>
              <a:t> omnis </a:t>
            </a:r>
            <a:r>
              <a:rPr lang="pt-BR" dirty="0" err="1"/>
              <a:t>iste</a:t>
            </a:r>
            <a:r>
              <a:rPr lang="pt-BR" dirty="0"/>
              <a:t> </a:t>
            </a:r>
            <a:r>
              <a:rPr lang="pt-BR" dirty="0" err="1"/>
              <a:t>natus</a:t>
            </a:r>
            <a:r>
              <a:rPr lang="pt-BR" dirty="0"/>
              <a:t> </a:t>
            </a:r>
            <a:r>
              <a:rPr lang="pt-BR" dirty="0" err="1"/>
              <a:t>err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accusantium</a:t>
            </a:r>
            <a:r>
              <a:rPr lang="pt-BR" dirty="0"/>
              <a:t> </a:t>
            </a:r>
            <a:r>
              <a:rPr lang="pt-BR" dirty="0" err="1"/>
              <a:t>doloremque</a:t>
            </a:r>
            <a:r>
              <a:rPr lang="pt-BR" dirty="0"/>
              <a:t> </a:t>
            </a:r>
            <a:r>
              <a:rPr lang="pt-BR" dirty="0" err="1"/>
              <a:t>laudantium</a:t>
            </a:r>
            <a:r>
              <a:rPr lang="pt-BR" dirty="0"/>
              <a:t>, </a:t>
            </a:r>
            <a:r>
              <a:rPr lang="pt-BR" dirty="0" err="1"/>
              <a:t>totam</a:t>
            </a:r>
            <a:r>
              <a:rPr lang="pt-BR" dirty="0"/>
              <a:t> rem </a:t>
            </a:r>
            <a:r>
              <a:rPr lang="pt-BR" dirty="0" err="1"/>
              <a:t>aperiam</a:t>
            </a:r>
            <a:r>
              <a:rPr lang="pt-BR" dirty="0"/>
              <a:t>, </a:t>
            </a:r>
            <a:r>
              <a:rPr lang="pt-BR" dirty="0" err="1"/>
              <a:t>eaque</a:t>
            </a:r>
            <a:r>
              <a:rPr lang="pt-BR" dirty="0"/>
              <a:t> </a:t>
            </a:r>
            <a:r>
              <a:rPr lang="pt-BR" dirty="0" err="1"/>
              <a:t>ipsa</a:t>
            </a:r>
            <a:r>
              <a:rPr lang="pt-BR" dirty="0"/>
              <a:t> </a:t>
            </a:r>
            <a:r>
              <a:rPr lang="pt-BR" dirty="0" err="1"/>
              <a:t>quae</a:t>
            </a:r>
            <a:r>
              <a:rPr lang="pt-BR" dirty="0"/>
              <a:t> </a:t>
            </a:r>
            <a:r>
              <a:rPr lang="pt-BR" dirty="0" err="1"/>
              <a:t>ab</a:t>
            </a:r>
            <a:r>
              <a:rPr lang="pt-BR" dirty="0"/>
              <a:t> </a:t>
            </a:r>
            <a:r>
              <a:rPr lang="pt-BR" dirty="0" err="1"/>
              <a:t>illo</a:t>
            </a:r>
            <a:r>
              <a:rPr lang="pt-BR" dirty="0"/>
              <a:t> </a:t>
            </a:r>
            <a:r>
              <a:rPr lang="pt-BR" dirty="0" err="1"/>
              <a:t>inventore</a:t>
            </a:r>
            <a:r>
              <a:rPr lang="pt-BR" dirty="0"/>
              <a:t> </a:t>
            </a:r>
            <a:r>
              <a:rPr lang="pt-BR" dirty="0" err="1"/>
              <a:t>veritatis</a:t>
            </a:r>
            <a:r>
              <a:rPr lang="pt-BR" dirty="0"/>
              <a:t> et </a:t>
            </a:r>
            <a:r>
              <a:rPr lang="pt-BR" dirty="0" err="1"/>
              <a:t>quasi</a:t>
            </a:r>
            <a:r>
              <a:rPr lang="pt-BR" dirty="0"/>
              <a:t> </a:t>
            </a:r>
            <a:r>
              <a:rPr lang="pt-BR" dirty="0" err="1"/>
              <a:t>architecto</a:t>
            </a:r>
            <a:r>
              <a:rPr lang="pt-BR" dirty="0"/>
              <a:t> </a:t>
            </a:r>
            <a:r>
              <a:rPr lang="pt-BR" dirty="0" err="1"/>
              <a:t>beatae</a:t>
            </a:r>
            <a:r>
              <a:rPr lang="pt-BR" dirty="0"/>
              <a:t> vitae </a:t>
            </a:r>
            <a:r>
              <a:rPr lang="pt-BR" dirty="0" err="1"/>
              <a:t>dicta</a:t>
            </a:r>
            <a:r>
              <a:rPr lang="pt-BR" dirty="0"/>
              <a:t> sunt </a:t>
            </a:r>
            <a:r>
              <a:rPr lang="pt-BR" dirty="0" err="1"/>
              <a:t>explicabo</a:t>
            </a:r>
            <a:endParaRPr lang="pt-BR" dirty="0"/>
          </a:p>
          <a:p>
            <a:endParaRPr lang="pt-BR" dirty="0"/>
          </a:p>
        </p:txBody>
      </p:sp>
      <p:grpSp>
        <p:nvGrpSpPr>
          <p:cNvPr id="22" name="Agrupar 21">
            <a:extLst>
              <a:ext uri="{FF2B5EF4-FFF2-40B4-BE49-F238E27FC236}">
                <a16:creationId xmlns:a16="http://schemas.microsoft.com/office/drawing/2014/main" id="{CB56B77F-E514-4414-A4C1-71FE969C05D6}"/>
              </a:ext>
            </a:extLst>
          </p:cNvPr>
          <p:cNvGrpSpPr/>
          <p:nvPr/>
        </p:nvGrpSpPr>
        <p:grpSpPr>
          <a:xfrm>
            <a:off x="6901071" y="5690796"/>
            <a:ext cx="1595418" cy="253916"/>
            <a:chOff x="1514459" y="6245541"/>
            <a:chExt cx="1565291" cy="253916"/>
          </a:xfrm>
        </p:grpSpPr>
        <p:sp>
          <p:nvSpPr>
            <p:cNvPr id="23" name="Retângulo 22">
              <a:extLst>
                <a:ext uri="{FF2B5EF4-FFF2-40B4-BE49-F238E27FC236}">
                  <a16:creationId xmlns:a16="http://schemas.microsoft.com/office/drawing/2014/main" id="{C7D2F9B5-0064-4B1E-AD57-D9A70C835327}"/>
                </a:ext>
              </a:extLst>
            </p:cNvPr>
            <p:cNvSpPr/>
            <p:nvPr/>
          </p:nvSpPr>
          <p:spPr>
            <a:xfrm>
              <a:off x="1514459" y="6316132"/>
              <a:ext cx="360000" cy="108000"/>
            </a:xfrm>
            <a:prstGeom prst="rect">
              <a:avLst/>
            </a:prstGeom>
            <a:solidFill>
              <a:srgbClr val="263143"/>
            </a:solidFill>
            <a:ln>
              <a:solidFill>
                <a:srgbClr val="66003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4" name="Retângulo 23">
              <a:extLst>
                <a:ext uri="{FF2B5EF4-FFF2-40B4-BE49-F238E27FC236}">
                  <a16:creationId xmlns:a16="http://schemas.microsoft.com/office/drawing/2014/main" id="{676D21E7-16F4-400D-96A6-CDA44BC6EE66}"/>
                </a:ext>
              </a:extLst>
            </p:cNvPr>
            <p:cNvSpPr/>
            <p:nvPr/>
          </p:nvSpPr>
          <p:spPr>
            <a:xfrm>
              <a:off x="1694146" y="6245541"/>
              <a:ext cx="1385604" cy="25391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pt-BR" sz="1000" kern="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rebuchet MS" panose="020B0603020202020204" pitchFamily="34" charset="0"/>
                </a:rPr>
                <a:t>FCST 2019 (9+3)</a:t>
              </a:r>
              <a:endParaRPr kumimoji="0" lang="pt-BR" sz="100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Trebuchet MS" panose="020B0603020202020204" pitchFamily="34" charset="0"/>
              </a:endParaRPr>
            </a:p>
          </p:txBody>
        </p:sp>
      </p:grpSp>
      <p:grpSp>
        <p:nvGrpSpPr>
          <p:cNvPr id="25" name="Agrupar 24">
            <a:extLst>
              <a:ext uri="{FF2B5EF4-FFF2-40B4-BE49-F238E27FC236}">
                <a16:creationId xmlns:a16="http://schemas.microsoft.com/office/drawing/2014/main" id="{3A117FB0-B8A1-4911-B77D-1AE989A8350D}"/>
              </a:ext>
            </a:extLst>
          </p:cNvPr>
          <p:cNvGrpSpPr/>
          <p:nvPr/>
        </p:nvGrpSpPr>
        <p:grpSpPr>
          <a:xfrm>
            <a:off x="8426524" y="5690796"/>
            <a:ext cx="1488224" cy="253916"/>
            <a:chOff x="1514459" y="6245541"/>
            <a:chExt cx="1460121" cy="253916"/>
          </a:xfrm>
        </p:grpSpPr>
        <p:sp>
          <p:nvSpPr>
            <p:cNvPr id="26" name="Retângulo 25">
              <a:extLst>
                <a:ext uri="{FF2B5EF4-FFF2-40B4-BE49-F238E27FC236}">
                  <a16:creationId xmlns:a16="http://schemas.microsoft.com/office/drawing/2014/main" id="{F4738C57-24AE-4B1A-A99A-0EF5642BEBD0}"/>
                </a:ext>
              </a:extLst>
            </p:cNvPr>
            <p:cNvSpPr/>
            <p:nvPr/>
          </p:nvSpPr>
          <p:spPr>
            <a:xfrm>
              <a:off x="1514459" y="6316132"/>
              <a:ext cx="360000" cy="108000"/>
            </a:xfrm>
            <a:prstGeom prst="rect">
              <a:avLst/>
            </a:prstGeom>
            <a:solidFill>
              <a:srgbClr val="D6D6C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7" name="Retângulo 26">
              <a:extLst>
                <a:ext uri="{FF2B5EF4-FFF2-40B4-BE49-F238E27FC236}">
                  <a16:creationId xmlns:a16="http://schemas.microsoft.com/office/drawing/2014/main" id="{73BC1375-281F-4308-AA71-2D0123A2C8CB}"/>
                </a:ext>
              </a:extLst>
            </p:cNvPr>
            <p:cNvSpPr/>
            <p:nvPr/>
          </p:nvSpPr>
          <p:spPr>
            <a:xfrm>
              <a:off x="1694146" y="6245541"/>
              <a:ext cx="1280434" cy="25391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pt-BR" sz="1000" kern="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rebuchet MS" panose="020B0603020202020204" pitchFamily="34" charset="0"/>
                </a:rPr>
                <a:t>BUDGET 2019</a:t>
              </a:r>
              <a:endParaRPr kumimoji="0" lang="pt-BR" sz="100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Trebuchet MS" panose="020B0603020202020204" pitchFamily="34" charset="0"/>
              </a:endParaRPr>
            </a:p>
          </p:txBody>
        </p:sp>
      </p:grpSp>
      <p:grpSp>
        <p:nvGrpSpPr>
          <p:cNvPr id="28" name="Agrupar 27">
            <a:extLst>
              <a:ext uri="{FF2B5EF4-FFF2-40B4-BE49-F238E27FC236}">
                <a16:creationId xmlns:a16="http://schemas.microsoft.com/office/drawing/2014/main" id="{E377D90F-8297-43EF-A99C-323BF4E5B010}"/>
              </a:ext>
            </a:extLst>
          </p:cNvPr>
          <p:cNvGrpSpPr/>
          <p:nvPr/>
        </p:nvGrpSpPr>
        <p:grpSpPr>
          <a:xfrm>
            <a:off x="9951978" y="5690796"/>
            <a:ext cx="1081150" cy="253916"/>
            <a:chOff x="1514459" y="6245541"/>
            <a:chExt cx="1060734" cy="253916"/>
          </a:xfrm>
        </p:grpSpPr>
        <p:sp>
          <p:nvSpPr>
            <p:cNvPr id="29" name="Retângulo 28">
              <a:extLst>
                <a:ext uri="{FF2B5EF4-FFF2-40B4-BE49-F238E27FC236}">
                  <a16:creationId xmlns:a16="http://schemas.microsoft.com/office/drawing/2014/main" id="{B205437F-DADC-4366-9A2A-4BC575C10FC7}"/>
                </a:ext>
              </a:extLst>
            </p:cNvPr>
            <p:cNvSpPr/>
            <p:nvPr/>
          </p:nvSpPr>
          <p:spPr>
            <a:xfrm>
              <a:off x="1514459" y="6316132"/>
              <a:ext cx="360000" cy="108000"/>
            </a:xfrm>
            <a:prstGeom prst="rect">
              <a:avLst/>
            </a:prstGeom>
            <a:solidFill>
              <a:srgbClr val="899D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0" name="Retângulo 29">
              <a:extLst>
                <a:ext uri="{FF2B5EF4-FFF2-40B4-BE49-F238E27FC236}">
                  <a16:creationId xmlns:a16="http://schemas.microsoft.com/office/drawing/2014/main" id="{470BE2AE-6609-4E62-A40B-D081F74C07A2}"/>
                </a:ext>
              </a:extLst>
            </p:cNvPr>
            <p:cNvSpPr/>
            <p:nvPr/>
          </p:nvSpPr>
          <p:spPr>
            <a:xfrm>
              <a:off x="1694146" y="6245541"/>
              <a:ext cx="881047" cy="25391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pt-BR" sz="1000" kern="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rebuchet MS" panose="020B0603020202020204" pitchFamily="34" charset="0"/>
                </a:rPr>
                <a:t> 2018 </a:t>
              </a:r>
              <a:endParaRPr kumimoji="0" lang="pt-BR" sz="100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Trebuchet MS" panose="020B0603020202020204" pitchFamily="34" charset="0"/>
              </a:endParaRPr>
            </a:p>
          </p:txBody>
        </p:sp>
      </p:grpSp>
      <p:graphicFrame>
        <p:nvGraphicFramePr>
          <p:cNvPr id="31" name="Gráfico 30">
            <a:extLst>
              <a:ext uri="{FF2B5EF4-FFF2-40B4-BE49-F238E27FC236}">
                <a16:creationId xmlns:a16="http://schemas.microsoft.com/office/drawing/2014/main" id="{C8B35E19-34B7-4104-BA38-223C8A4ADA3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18169663"/>
              </p:ext>
            </p:extLst>
          </p:nvPr>
        </p:nvGraphicFramePr>
        <p:xfrm>
          <a:off x="6232261" y="1040744"/>
          <a:ext cx="5464439" cy="44327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649722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AB72EF24-401E-4C06-A82B-C5F427876E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Atlantica Residences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CC57E5FE-AE0B-4ED1-B83E-E741CB691B6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Novo serviço de gestão e administração</a:t>
            </a:r>
          </a:p>
        </p:txBody>
      </p:sp>
    </p:spTree>
    <p:extLst>
      <p:ext uri="{BB962C8B-B14F-4D97-AF65-F5344CB8AC3E}">
        <p14:creationId xmlns:p14="http://schemas.microsoft.com/office/powerpoint/2010/main" val="162892971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Agrupar 38">
            <a:extLst>
              <a:ext uri="{FF2B5EF4-FFF2-40B4-BE49-F238E27FC236}">
                <a16:creationId xmlns:a16="http://schemas.microsoft.com/office/drawing/2014/main" id="{4952C6A6-6E4E-49B2-83FD-7849E7A27B94}"/>
              </a:ext>
            </a:extLst>
          </p:cNvPr>
          <p:cNvGrpSpPr/>
          <p:nvPr/>
        </p:nvGrpSpPr>
        <p:grpSpPr>
          <a:xfrm>
            <a:off x="573048" y="419927"/>
            <a:ext cx="11190961" cy="5231939"/>
            <a:chOff x="573048" y="402508"/>
            <a:chExt cx="11190961" cy="5231939"/>
          </a:xfrm>
        </p:grpSpPr>
        <p:graphicFrame>
          <p:nvGraphicFramePr>
            <p:cNvPr id="24" name="Gráfico 23">
              <a:extLst>
                <a:ext uri="{FF2B5EF4-FFF2-40B4-BE49-F238E27FC236}">
                  <a16:creationId xmlns:a16="http://schemas.microsoft.com/office/drawing/2014/main" id="{BD9DE7B3-662F-48FD-A7CD-A76986C18C64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441952001"/>
                </p:ext>
              </p:extLst>
            </p:nvPr>
          </p:nvGraphicFramePr>
          <p:xfrm>
            <a:off x="598816" y="402508"/>
            <a:ext cx="11165192" cy="191355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graphicFrame>
          <p:nvGraphicFramePr>
            <p:cNvPr id="8" name="Gráfico 7">
              <a:extLst>
                <a:ext uri="{FF2B5EF4-FFF2-40B4-BE49-F238E27FC236}">
                  <a16:creationId xmlns:a16="http://schemas.microsoft.com/office/drawing/2014/main" id="{161D90C5-BCF9-4B10-B683-CF6AC48A798C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254003921"/>
                </p:ext>
              </p:extLst>
            </p:nvPr>
          </p:nvGraphicFramePr>
          <p:xfrm>
            <a:off x="598816" y="2087331"/>
            <a:ext cx="11165193" cy="354711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pic>
          <p:nvPicPr>
            <p:cNvPr id="10" name="Picture 2" descr="Resultado de imagem para ACCOR">
              <a:extLst>
                <a:ext uri="{FF2B5EF4-FFF2-40B4-BE49-F238E27FC236}">
                  <a16:creationId xmlns:a16="http://schemas.microsoft.com/office/drawing/2014/main" id="{C4DA4067-DBB5-4508-A7B9-7FFA746514F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9434" t="9040" r="21094" b="3371"/>
            <a:stretch/>
          </p:blipFill>
          <p:spPr bwMode="auto">
            <a:xfrm>
              <a:off x="863698" y="2814826"/>
              <a:ext cx="588010" cy="5574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4" descr="Resultado de imagem para ATLANTICA HOTELS">
              <a:extLst>
                <a:ext uri="{FF2B5EF4-FFF2-40B4-BE49-F238E27FC236}">
                  <a16:creationId xmlns:a16="http://schemas.microsoft.com/office/drawing/2014/main" id="{91B55EAF-6E0D-4376-8B7E-E154750277F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3626" y="3940047"/>
              <a:ext cx="821650" cy="2687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6" descr="Resultado de imagem para NOBILE HOTELS LOGO">
              <a:extLst>
                <a:ext uri="{FF2B5EF4-FFF2-40B4-BE49-F238E27FC236}">
                  <a16:creationId xmlns:a16="http://schemas.microsoft.com/office/drawing/2014/main" id="{A2EFD1A3-FF6C-4585-A820-1B916338A62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9215" y="5186218"/>
              <a:ext cx="788620" cy="1737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8" descr="Resultado de imagem para NACIONAL INN HOTELS LOGO">
              <a:extLst>
                <a:ext uri="{FF2B5EF4-FFF2-40B4-BE49-F238E27FC236}">
                  <a16:creationId xmlns:a16="http://schemas.microsoft.com/office/drawing/2014/main" id="{AD6DECD7-5698-43EE-A8CC-CD41A7B6937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1065" y="4690629"/>
              <a:ext cx="832935" cy="1613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10" descr="Resultado de imagem para INTERCITY HOTELS">
              <a:extLst>
                <a:ext uri="{FF2B5EF4-FFF2-40B4-BE49-F238E27FC236}">
                  <a16:creationId xmlns:a16="http://schemas.microsoft.com/office/drawing/2014/main" id="{F92D9723-8DD3-4E47-8ED3-5767FA522F9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3048" y="4852001"/>
              <a:ext cx="1058802" cy="3894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" name="Retângulo 19">
              <a:extLst>
                <a:ext uri="{FF2B5EF4-FFF2-40B4-BE49-F238E27FC236}">
                  <a16:creationId xmlns:a16="http://schemas.microsoft.com/office/drawing/2014/main" id="{4A65DE22-5A5A-470A-8FFD-5B69CD2766B8}"/>
                </a:ext>
              </a:extLst>
            </p:cNvPr>
            <p:cNvSpPr/>
            <p:nvPr/>
          </p:nvSpPr>
          <p:spPr>
            <a:xfrm>
              <a:off x="599733" y="1311560"/>
              <a:ext cx="1156086" cy="25391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0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OTHER GROUPS</a:t>
              </a:r>
              <a:endParaRPr lang="pt-BR" sz="105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32" name="Espaço Reservado para Texto 31">
            <a:extLst>
              <a:ext uri="{FF2B5EF4-FFF2-40B4-BE49-F238E27FC236}">
                <a16:creationId xmlns:a16="http://schemas.microsoft.com/office/drawing/2014/main" id="{39916AD2-13E8-4344-BABB-A824D846BE5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 err="1"/>
              <a:t>Branded</a:t>
            </a:r>
            <a:r>
              <a:rPr lang="pt-BR" dirty="0"/>
              <a:t> </a:t>
            </a:r>
            <a:r>
              <a:rPr lang="pt-BR" dirty="0" err="1"/>
              <a:t>market</a:t>
            </a:r>
            <a:r>
              <a:rPr lang="pt-BR" dirty="0"/>
              <a:t> </a:t>
            </a:r>
            <a:r>
              <a:rPr lang="pt-BR" dirty="0" err="1"/>
              <a:t>share</a:t>
            </a:r>
            <a:r>
              <a:rPr lang="pt-BR" dirty="0"/>
              <a:t> </a:t>
            </a:r>
            <a:r>
              <a:rPr lang="pt-BR" dirty="0" err="1"/>
              <a:t>evolution</a:t>
            </a:r>
            <a:r>
              <a:rPr lang="pt-BR" dirty="0"/>
              <a:t> | top 5 players</a:t>
            </a:r>
          </a:p>
        </p:txBody>
      </p:sp>
      <p:sp>
        <p:nvSpPr>
          <p:cNvPr id="33" name="Espaço Reservado para Texto 32">
            <a:extLst>
              <a:ext uri="{FF2B5EF4-FFF2-40B4-BE49-F238E27FC236}">
                <a16:creationId xmlns:a16="http://schemas.microsoft.com/office/drawing/2014/main" id="{26FDCEC9-43C2-4E22-933F-E253699B769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Ahi return to increase market share in 2018 and in 2019 accelerated with a vert acquisition</a:t>
            </a:r>
            <a:endParaRPr lang="pt-BR" dirty="0"/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C916C978-2C86-49CC-ACC5-E2040C3EF741}"/>
              </a:ext>
            </a:extLst>
          </p:cNvPr>
          <p:cNvSpPr/>
          <p:nvPr/>
        </p:nvSpPr>
        <p:spPr>
          <a:xfrm>
            <a:off x="6450150" y="5939967"/>
            <a:ext cx="498856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pt-BR" sz="800" dirty="0">
                <a:latin typeface="Century Gothic" panose="020B0502020202020204" pitchFamily="34" charset="0"/>
              </a:rPr>
              <a:t>*JLL | </a:t>
            </a:r>
            <a:r>
              <a:rPr lang="pt-BR" sz="800" dirty="0" err="1">
                <a:latin typeface="Century Gothic" panose="020B0502020202020204" pitchFamily="34" charset="0"/>
              </a:rPr>
              <a:t>Lodging</a:t>
            </a:r>
            <a:r>
              <a:rPr lang="pt-BR" sz="800" dirty="0">
                <a:latin typeface="Century Gothic" panose="020B0502020202020204" pitchFamily="34" charset="0"/>
              </a:rPr>
              <a:t> </a:t>
            </a:r>
            <a:r>
              <a:rPr lang="pt-BR" sz="800" dirty="0" err="1">
                <a:latin typeface="Century Gothic" panose="020B0502020202020204" pitchFamily="34" charset="0"/>
              </a:rPr>
              <a:t>Industry</a:t>
            </a:r>
            <a:r>
              <a:rPr lang="pt-BR" sz="800" dirty="0">
                <a:latin typeface="Century Gothic" panose="020B0502020202020204" pitchFamily="34" charset="0"/>
              </a:rPr>
              <a:t> in </a:t>
            </a:r>
            <a:r>
              <a:rPr lang="pt-BR" sz="800" dirty="0" err="1">
                <a:latin typeface="Century Gothic" panose="020B0502020202020204" pitchFamily="34" charset="0"/>
              </a:rPr>
              <a:t>Number</a:t>
            </a:r>
            <a:r>
              <a:rPr lang="pt-BR" sz="800" dirty="0">
                <a:latin typeface="Century Gothic" panose="020B0502020202020204" pitchFamily="34" charset="0"/>
              </a:rPr>
              <a:t> – </a:t>
            </a:r>
            <a:r>
              <a:rPr lang="en-US" sz="800" dirty="0">
                <a:latin typeface="Century Gothic" panose="020B0502020202020204" pitchFamily="34" charset="0"/>
              </a:rPr>
              <a:t>Ranking of hotel management companies in Brazil1</a:t>
            </a:r>
            <a:r>
              <a:rPr lang="pt-BR" sz="800" dirty="0">
                <a:latin typeface="Century Gothic" panose="020B0502020202020204" pitchFamily="34" charset="0"/>
              </a:rPr>
              <a:t>2011-2019</a:t>
            </a:r>
            <a:endParaRPr lang="en-US" sz="8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857398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Texto 7">
            <a:extLst>
              <a:ext uri="{FF2B5EF4-FFF2-40B4-BE49-F238E27FC236}">
                <a16:creationId xmlns:a16="http://schemas.microsoft.com/office/drawing/2014/main" id="{4E07B9B6-3371-4ABC-A58C-EB1E35FBE85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Inserir aqui o título do slide</a:t>
            </a:r>
          </a:p>
        </p:txBody>
      </p:sp>
      <p:sp>
        <p:nvSpPr>
          <p:cNvPr id="9" name="Espaço Reservado para Texto 8">
            <a:extLst>
              <a:ext uri="{FF2B5EF4-FFF2-40B4-BE49-F238E27FC236}">
                <a16:creationId xmlns:a16="http://schemas.microsoft.com/office/drawing/2014/main" id="{2CBA2BF9-42C8-467C-8C5B-68BC1E7685A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erir aqui o subtítulo do slide</a:t>
            </a:r>
          </a:p>
        </p:txBody>
      </p:sp>
      <p:graphicFrame>
        <p:nvGraphicFramePr>
          <p:cNvPr id="12" name="Gráfico 11">
            <a:extLst>
              <a:ext uri="{FF2B5EF4-FFF2-40B4-BE49-F238E27FC236}">
                <a16:creationId xmlns:a16="http://schemas.microsoft.com/office/drawing/2014/main" id="{80527FA0-A95E-40B9-A123-1E3E2EEAD6A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93620438"/>
              </p:ext>
            </p:extLst>
          </p:nvPr>
        </p:nvGraphicFramePr>
        <p:xfrm>
          <a:off x="587375" y="944563"/>
          <a:ext cx="11125200" cy="51937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86592682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B05EC5C2-44CC-4FBB-A75A-9A60A589DF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Inserir aqui o título do slid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1C3EC40B-359E-401A-A24A-D7F1A7F1960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erir aqui o subtítulo do slide</a:t>
            </a:r>
          </a:p>
        </p:txBody>
      </p:sp>
      <p:graphicFrame>
        <p:nvGraphicFramePr>
          <p:cNvPr id="7" name="Gráfico 6">
            <a:extLst>
              <a:ext uri="{FF2B5EF4-FFF2-40B4-BE49-F238E27FC236}">
                <a16:creationId xmlns:a16="http://schemas.microsoft.com/office/drawing/2014/main" id="{358F6B41-B2CC-469D-9095-CBACA9DEDCE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51380368"/>
              </p:ext>
            </p:extLst>
          </p:nvPr>
        </p:nvGraphicFramePr>
        <p:xfrm>
          <a:off x="587375" y="944562"/>
          <a:ext cx="5508625" cy="52212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Gráfico 9">
            <a:extLst>
              <a:ext uri="{FF2B5EF4-FFF2-40B4-BE49-F238E27FC236}">
                <a16:creationId xmlns:a16="http://schemas.microsoft.com/office/drawing/2014/main" id="{B184B971-7400-41FF-9CE4-4A28E747983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0165433"/>
              </p:ext>
            </p:extLst>
          </p:nvPr>
        </p:nvGraphicFramePr>
        <p:xfrm>
          <a:off x="6095999" y="944562"/>
          <a:ext cx="5616575" cy="51937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62576511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5DAE9C30-291C-445A-B6E0-1B5782C866A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Inserir aqui o título do slid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DFD13722-5978-4049-B5A6-9D4B43441A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erir aqui o subtítulo do slide</a:t>
            </a:r>
          </a:p>
        </p:txBody>
      </p:sp>
      <p:graphicFrame>
        <p:nvGraphicFramePr>
          <p:cNvPr id="7" name="Gráfico 6">
            <a:extLst>
              <a:ext uri="{FF2B5EF4-FFF2-40B4-BE49-F238E27FC236}">
                <a16:creationId xmlns:a16="http://schemas.microsoft.com/office/drawing/2014/main" id="{4A1CDC16-C0C0-4F74-B139-3895F78C017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29901544"/>
              </p:ext>
            </p:extLst>
          </p:nvPr>
        </p:nvGraphicFramePr>
        <p:xfrm>
          <a:off x="587375" y="944563"/>
          <a:ext cx="11125200" cy="51937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8101113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F34DA3A9-FED1-4C67-8209-9652EC491DA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Inserir aqui o título do slid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D9E5B311-06F1-4A56-A846-58B1868625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erir aqui o subtítulo do slide</a:t>
            </a:r>
          </a:p>
        </p:txBody>
      </p:sp>
      <p:graphicFrame>
        <p:nvGraphicFramePr>
          <p:cNvPr id="7" name="Gráfico 6">
            <a:extLst>
              <a:ext uri="{FF2B5EF4-FFF2-40B4-BE49-F238E27FC236}">
                <a16:creationId xmlns:a16="http://schemas.microsoft.com/office/drawing/2014/main" id="{E16C16BD-8789-43CC-8B7B-EADCD710AC2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05076128"/>
              </p:ext>
            </p:extLst>
          </p:nvPr>
        </p:nvGraphicFramePr>
        <p:xfrm>
          <a:off x="587375" y="944562"/>
          <a:ext cx="11125200" cy="52212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25320090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1A25E08C-3268-40EC-B111-BB66CE7ADC5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Inserir aqui o título do slid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6F098720-AF91-42A4-9D0E-8F6FFA5E935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erir aqui o subtítulo do slide</a:t>
            </a:r>
          </a:p>
        </p:txBody>
      </p:sp>
      <p:graphicFrame>
        <p:nvGraphicFramePr>
          <p:cNvPr id="8" name="Gráfico 7">
            <a:extLst>
              <a:ext uri="{FF2B5EF4-FFF2-40B4-BE49-F238E27FC236}">
                <a16:creationId xmlns:a16="http://schemas.microsoft.com/office/drawing/2014/main" id="{E3C7E8BC-28CF-49A4-99C4-B0905474BAA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17774167"/>
              </p:ext>
            </p:extLst>
          </p:nvPr>
        </p:nvGraphicFramePr>
        <p:xfrm>
          <a:off x="587375" y="944562"/>
          <a:ext cx="5508625" cy="52212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Gráfico 13">
            <a:extLst>
              <a:ext uri="{FF2B5EF4-FFF2-40B4-BE49-F238E27FC236}">
                <a16:creationId xmlns:a16="http://schemas.microsoft.com/office/drawing/2014/main" id="{EF8BC6AA-A8FD-494F-B555-BD1B65334F7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10666100"/>
              </p:ext>
            </p:extLst>
          </p:nvPr>
        </p:nvGraphicFramePr>
        <p:xfrm>
          <a:off x="6095999" y="944563"/>
          <a:ext cx="5616575" cy="51937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3210113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E9DA8437-3FD1-42CF-B6AF-FB4EC06667E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Inserir aqui o título do slid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EDEE11E7-9266-4DC5-974F-F61BC247B0E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erir aqui o subtítulo do slide</a:t>
            </a:r>
          </a:p>
        </p:txBody>
      </p:sp>
      <p:graphicFrame>
        <p:nvGraphicFramePr>
          <p:cNvPr id="7" name="Gráfico 6">
            <a:extLst>
              <a:ext uri="{FF2B5EF4-FFF2-40B4-BE49-F238E27FC236}">
                <a16:creationId xmlns:a16="http://schemas.microsoft.com/office/drawing/2014/main" id="{7823D094-A998-4E4C-9538-2A08F5EB2BF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98541956"/>
              </p:ext>
            </p:extLst>
          </p:nvPr>
        </p:nvGraphicFramePr>
        <p:xfrm>
          <a:off x="587375" y="944562"/>
          <a:ext cx="11125200" cy="52212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64791194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3168F0DB-96D5-482F-9FB3-47BCA430CDC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Inserir aqui o título do slid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3699195A-2EA0-4B28-8552-E7E699150ED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erir aqui o subtítulo do slide</a:t>
            </a:r>
          </a:p>
        </p:txBody>
      </p:sp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7" name="Gráfico 6">
                <a:extLst>
                  <a:ext uri="{FF2B5EF4-FFF2-40B4-BE49-F238E27FC236}">
                    <a16:creationId xmlns:a16="http://schemas.microsoft.com/office/drawing/2014/main" id="{48402C33-911E-44B9-A2F3-92214A9DEEE5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150238172"/>
                  </p:ext>
                </p:extLst>
              </p:nvPr>
            </p:nvGraphicFramePr>
            <p:xfrm>
              <a:off x="598815" y="944562"/>
              <a:ext cx="11113759" cy="5221287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 xmlns="">
          <p:pic>
            <p:nvPicPr>
              <p:cNvPr id="7" name="Gráfico 6">
                <a:extLst>
                  <a:ext uri="{FF2B5EF4-FFF2-40B4-BE49-F238E27FC236}">
                    <a16:creationId xmlns:a16="http://schemas.microsoft.com/office/drawing/2014/main" id="{48402C33-911E-44B9-A2F3-92214A9DEEE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98815" y="944562"/>
                <a:ext cx="11113759" cy="5221287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403526908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041CB577-22B4-4A3D-9BAE-4CB9B7A7FC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Inserir aqui o título do slid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87889CF3-C153-4818-9DC7-365E5F19E15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erir aqui o subtítulo do slide</a:t>
            </a:r>
          </a:p>
        </p:txBody>
      </p:sp>
      <p:graphicFrame>
        <p:nvGraphicFramePr>
          <p:cNvPr id="7" name="Gráfico 6">
            <a:extLst>
              <a:ext uri="{FF2B5EF4-FFF2-40B4-BE49-F238E27FC236}">
                <a16:creationId xmlns:a16="http://schemas.microsoft.com/office/drawing/2014/main" id="{92F90FFF-ACCC-4833-8F53-40A9DB64482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4436634"/>
              </p:ext>
            </p:extLst>
          </p:nvPr>
        </p:nvGraphicFramePr>
        <p:xfrm>
          <a:off x="587375" y="944563"/>
          <a:ext cx="11125199" cy="51937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29135511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CBB5BEF2-E4A5-48AF-AF36-5EE91A24C16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Inserir aqui o título do slid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2DE6DA38-488F-49F3-A72C-30215C49CA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erir aqui o subtítulo do slide</a:t>
            </a:r>
          </a:p>
        </p:txBody>
      </p:sp>
      <mc:AlternateContent xmlns:mc="http://schemas.openxmlformats.org/markup-compatibility/2006" xmlns:cx2="http://schemas.microsoft.com/office/drawing/2015/10/21/chartex">
        <mc:Choice Requires="cx2">
          <p:graphicFrame>
            <p:nvGraphicFramePr>
              <p:cNvPr id="8" name="Gráfico 7">
                <a:extLst>
                  <a:ext uri="{FF2B5EF4-FFF2-40B4-BE49-F238E27FC236}">
                    <a16:creationId xmlns:a16="http://schemas.microsoft.com/office/drawing/2014/main" id="{63586736-B8A9-4491-B775-85C41559AB15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99829029"/>
                  </p:ext>
                </p:extLst>
              </p:nvPr>
            </p:nvGraphicFramePr>
            <p:xfrm>
              <a:off x="587376" y="944563"/>
              <a:ext cx="5377996" cy="519377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 xmlns="">
          <p:pic>
            <p:nvPicPr>
              <p:cNvPr id="8" name="Gráfico 7">
                <a:extLst>
                  <a:ext uri="{FF2B5EF4-FFF2-40B4-BE49-F238E27FC236}">
                    <a16:creationId xmlns:a16="http://schemas.microsoft.com/office/drawing/2014/main" id="{63586736-B8A9-4491-B775-85C41559AB1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87376" y="944563"/>
                <a:ext cx="5377996" cy="5193770"/>
              </a:xfrm>
              <a:prstGeom prst="rect">
                <a:avLst/>
              </a:prstGeom>
            </p:spPr>
          </p:pic>
        </mc:Fallback>
      </mc:AlternateContent>
      <p:graphicFrame>
        <p:nvGraphicFramePr>
          <p:cNvPr id="11" name="Gráfico 10">
            <a:extLst>
              <a:ext uri="{FF2B5EF4-FFF2-40B4-BE49-F238E27FC236}">
                <a16:creationId xmlns:a16="http://schemas.microsoft.com/office/drawing/2014/main" id="{10F1AE26-21C0-4674-9DEB-E3375220CFC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94951073"/>
              </p:ext>
            </p:extLst>
          </p:nvPr>
        </p:nvGraphicFramePr>
        <p:xfrm>
          <a:off x="6334578" y="944563"/>
          <a:ext cx="5377996" cy="51937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3400510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Agrupar 18">
            <a:extLst>
              <a:ext uri="{FF2B5EF4-FFF2-40B4-BE49-F238E27FC236}">
                <a16:creationId xmlns:a16="http://schemas.microsoft.com/office/drawing/2014/main" id="{ECB9CB4B-46F9-4AA5-B7C9-DBF2E6F91738}"/>
              </a:ext>
            </a:extLst>
          </p:cNvPr>
          <p:cNvGrpSpPr/>
          <p:nvPr/>
        </p:nvGrpSpPr>
        <p:grpSpPr>
          <a:xfrm>
            <a:off x="533400" y="589061"/>
            <a:ext cx="5429250" cy="1092607"/>
            <a:chOff x="666750" y="912911"/>
            <a:chExt cx="5429250" cy="1092607"/>
          </a:xfrm>
        </p:grpSpPr>
        <p:sp>
          <p:nvSpPr>
            <p:cNvPr id="4" name="CaixaDeTexto 3">
              <a:extLst>
                <a:ext uri="{FF2B5EF4-FFF2-40B4-BE49-F238E27FC236}">
                  <a16:creationId xmlns:a16="http://schemas.microsoft.com/office/drawing/2014/main" id="{9C878AEE-BCAD-4985-8C5A-BBD9D95557B8}"/>
                </a:ext>
              </a:extLst>
            </p:cNvPr>
            <p:cNvSpPr txBox="1"/>
            <p:nvPr/>
          </p:nvSpPr>
          <p:spPr>
            <a:xfrm>
              <a:off x="666750" y="1114425"/>
              <a:ext cx="809626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4000" b="1" dirty="0">
                  <a:solidFill>
                    <a:srgbClr val="263143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01</a:t>
              </a:r>
            </a:p>
          </p:txBody>
        </p:sp>
        <p:sp>
          <p:nvSpPr>
            <p:cNvPr id="10" name="CaixaDeTexto 9">
              <a:extLst>
                <a:ext uri="{FF2B5EF4-FFF2-40B4-BE49-F238E27FC236}">
                  <a16:creationId xmlns:a16="http://schemas.microsoft.com/office/drawing/2014/main" id="{88DB066D-8B15-43B2-8317-89263628940B}"/>
                </a:ext>
              </a:extLst>
            </p:cNvPr>
            <p:cNvSpPr txBox="1"/>
            <p:nvPr/>
          </p:nvSpPr>
          <p:spPr>
            <a:xfrm>
              <a:off x="1743075" y="1130365"/>
              <a:ext cx="4352925" cy="43088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pt-BR" sz="2200" b="1" dirty="0">
                  <a:solidFill>
                    <a:srgbClr val="263143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nserir item aqui</a:t>
              </a:r>
            </a:p>
          </p:txBody>
        </p:sp>
        <p:sp>
          <p:nvSpPr>
            <p:cNvPr id="12" name="CaixaDeTexto 11">
              <a:extLst>
                <a:ext uri="{FF2B5EF4-FFF2-40B4-BE49-F238E27FC236}">
                  <a16:creationId xmlns:a16="http://schemas.microsoft.com/office/drawing/2014/main" id="{D78D83F0-FD7C-4444-8855-C44856021191}"/>
                </a:ext>
              </a:extLst>
            </p:cNvPr>
            <p:cNvSpPr txBox="1"/>
            <p:nvPr/>
          </p:nvSpPr>
          <p:spPr>
            <a:xfrm>
              <a:off x="1743074" y="1498595"/>
              <a:ext cx="435292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400" dirty="0">
                  <a:solidFill>
                    <a:srgbClr val="263143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nserir subtítulo do item aqui</a:t>
              </a:r>
            </a:p>
          </p:txBody>
        </p:sp>
        <p:sp>
          <p:nvSpPr>
            <p:cNvPr id="18" name="CaixaDeTexto 17">
              <a:extLst>
                <a:ext uri="{FF2B5EF4-FFF2-40B4-BE49-F238E27FC236}">
                  <a16:creationId xmlns:a16="http://schemas.microsoft.com/office/drawing/2014/main" id="{195C59CE-91F3-4AA7-A6D7-E6F89F4796F2}"/>
                </a:ext>
              </a:extLst>
            </p:cNvPr>
            <p:cNvSpPr txBox="1"/>
            <p:nvPr/>
          </p:nvSpPr>
          <p:spPr>
            <a:xfrm>
              <a:off x="1176337" y="912911"/>
              <a:ext cx="809626" cy="10926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6500" dirty="0">
                  <a:solidFill>
                    <a:srgbClr val="263143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</a:t>
              </a:r>
            </a:p>
          </p:txBody>
        </p:sp>
      </p:grpSp>
      <p:grpSp>
        <p:nvGrpSpPr>
          <p:cNvPr id="20" name="Agrupar 19">
            <a:extLst>
              <a:ext uri="{FF2B5EF4-FFF2-40B4-BE49-F238E27FC236}">
                <a16:creationId xmlns:a16="http://schemas.microsoft.com/office/drawing/2014/main" id="{2D771F13-2BA5-4BBC-89BA-0E56D0769907}"/>
              </a:ext>
            </a:extLst>
          </p:cNvPr>
          <p:cNvGrpSpPr/>
          <p:nvPr/>
        </p:nvGrpSpPr>
        <p:grpSpPr>
          <a:xfrm>
            <a:off x="533399" y="1553473"/>
            <a:ext cx="5429250" cy="1092607"/>
            <a:chOff x="666750" y="912911"/>
            <a:chExt cx="5429250" cy="1092607"/>
          </a:xfrm>
        </p:grpSpPr>
        <p:sp>
          <p:nvSpPr>
            <p:cNvPr id="21" name="CaixaDeTexto 20">
              <a:extLst>
                <a:ext uri="{FF2B5EF4-FFF2-40B4-BE49-F238E27FC236}">
                  <a16:creationId xmlns:a16="http://schemas.microsoft.com/office/drawing/2014/main" id="{5E1CA750-1DD8-4ABA-993A-9FD879D71321}"/>
                </a:ext>
              </a:extLst>
            </p:cNvPr>
            <p:cNvSpPr txBox="1"/>
            <p:nvPr/>
          </p:nvSpPr>
          <p:spPr>
            <a:xfrm>
              <a:off x="666750" y="1114425"/>
              <a:ext cx="809626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4000" b="1" dirty="0">
                  <a:solidFill>
                    <a:srgbClr val="D6D6C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02</a:t>
              </a:r>
            </a:p>
          </p:txBody>
        </p:sp>
        <p:sp>
          <p:nvSpPr>
            <p:cNvPr id="22" name="CaixaDeTexto 21">
              <a:extLst>
                <a:ext uri="{FF2B5EF4-FFF2-40B4-BE49-F238E27FC236}">
                  <a16:creationId xmlns:a16="http://schemas.microsoft.com/office/drawing/2014/main" id="{DE883C5B-2B87-4002-B24C-F08403458F48}"/>
                </a:ext>
              </a:extLst>
            </p:cNvPr>
            <p:cNvSpPr txBox="1"/>
            <p:nvPr/>
          </p:nvSpPr>
          <p:spPr>
            <a:xfrm>
              <a:off x="1743075" y="1130365"/>
              <a:ext cx="4352925" cy="43088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pt-BR" sz="2200" b="1" dirty="0">
                  <a:solidFill>
                    <a:srgbClr val="D6D6C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nserir item aqui</a:t>
              </a:r>
            </a:p>
          </p:txBody>
        </p:sp>
        <p:sp>
          <p:nvSpPr>
            <p:cNvPr id="23" name="CaixaDeTexto 22">
              <a:extLst>
                <a:ext uri="{FF2B5EF4-FFF2-40B4-BE49-F238E27FC236}">
                  <a16:creationId xmlns:a16="http://schemas.microsoft.com/office/drawing/2014/main" id="{1B1FEB30-5387-441C-989D-10041235EDCA}"/>
                </a:ext>
              </a:extLst>
            </p:cNvPr>
            <p:cNvSpPr txBox="1"/>
            <p:nvPr/>
          </p:nvSpPr>
          <p:spPr>
            <a:xfrm>
              <a:off x="1743074" y="1498595"/>
              <a:ext cx="435292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400" dirty="0">
                  <a:solidFill>
                    <a:srgbClr val="D6D6C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nserir subtítulo do item aqui</a:t>
              </a:r>
            </a:p>
          </p:txBody>
        </p:sp>
        <p:sp>
          <p:nvSpPr>
            <p:cNvPr id="24" name="CaixaDeTexto 23">
              <a:extLst>
                <a:ext uri="{FF2B5EF4-FFF2-40B4-BE49-F238E27FC236}">
                  <a16:creationId xmlns:a16="http://schemas.microsoft.com/office/drawing/2014/main" id="{DAFC744F-02EA-463C-956B-7F8AF1296AD0}"/>
                </a:ext>
              </a:extLst>
            </p:cNvPr>
            <p:cNvSpPr txBox="1"/>
            <p:nvPr/>
          </p:nvSpPr>
          <p:spPr>
            <a:xfrm>
              <a:off x="1176337" y="912911"/>
              <a:ext cx="809626" cy="10926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6500" dirty="0">
                  <a:solidFill>
                    <a:srgbClr val="D6D6C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</a:t>
              </a:r>
            </a:p>
          </p:txBody>
        </p:sp>
      </p:grpSp>
      <p:grpSp>
        <p:nvGrpSpPr>
          <p:cNvPr id="25" name="Agrupar 24">
            <a:extLst>
              <a:ext uri="{FF2B5EF4-FFF2-40B4-BE49-F238E27FC236}">
                <a16:creationId xmlns:a16="http://schemas.microsoft.com/office/drawing/2014/main" id="{BF0DD420-F3E5-4D7C-9D15-D50C79B455B6}"/>
              </a:ext>
            </a:extLst>
          </p:cNvPr>
          <p:cNvGrpSpPr/>
          <p:nvPr/>
        </p:nvGrpSpPr>
        <p:grpSpPr>
          <a:xfrm>
            <a:off x="533400" y="2517887"/>
            <a:ext cx="5429250" cy="1092607"/>
            <a:chOff x="666750" y="912911"/>
            <a:chExt cx="5429250" cy="1092607"/>
          </a:xfrm>
        </p:grpSpPr>
        <p:sp>
          <p:nvSpPr>
            <p:cNvPr id="26" name="CaixaDeTexto 25">
              <a:extLst>
                <a:ext uri="{FF2B5EF4-FFF2-40B4-BE49-F238E27FC236}">
                  <a16:creationId xmlns:a16="http://schemas.microsoft.com/office/drawing/2014/main" id="{0DB8EF30-703D-4DAB-B9FD-4023DC51F19D}"/>
                </a:ext>
              </a:extLst>
            </p:cNvPr>
            <p:cNvSpPr txBox="1"/>
            <p:nvPr/>
          </p:nvSpPr>
          <p:spPr>
            <a:xfrm>
              <a:off x="666750" y="1114425"/>
              <a:ext cx="809626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4000" b="1" dirty="0">
                  <a:solidFill>
                    <a:srgbClr val="D6D6C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03</a:t>
              </a:r>
            </a:p>
          </p:txBody>
        </p:sp>
        <p:sp>
          <p:nvSpPr>
            <p:cNvPr id="27" name="CaixaDeTexto 26">
              <a:extLst>
                <a:ext uri="{FF2B5EF4-FFF2-40B4-BE49-F238E27FC236}">
                  <a16:creationId xmlns:a16="http://schemas.microsoft.com/office/drawing/2014/main" id="{C2CCEC04-56E1-41A2-8D68-E8B317AEE8B8}"/>
                </a:ext>
              </a:extLst>
            </p:cNvPr>
            <p:cNvSpPr txBox="1"/>
            <p:nvPr/>
          </p:nvSpPr>
          <p:spPr>
            <a:xfrm>
              <a:off x="1743075" y="1130365"/>
              <a:ext cx="4352925" cy="43088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pt-BR" sz="2200" b="1" dirty="0">
                  <a:solidFill>
                    <a:srgbClr val="D6D6C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nserir item aqui</a:t>
              </a:r>
            </a:p>
          </p:txBody>
        </p:sp>
        <p:sp>
          <p:nvSpPr>
            <p:cNvPr id="28" name="CaixaDeTexto 27">
              <a:extLst>
                <a:ext uri="{FF2B5EF4-FFF2-40B4-BE49-F238E27FC236}">
                  <a16:creationId xmlns:a16="http://schemas.microsoft.com/office/drawing/2014/main" id="{EBA5EFDF-BA8B-4184-AACA-300FCB068684}"/>
                </a:ext>
              </a:extLst>
            </p:cNvPr>
            <p:cNvSpPr txBox="1"/>
            <p:nvPr/>
          </p:nvSpPr>
          <p:spPr>
            <a:xfrm>
              <a:off x="1743074" y="1498595"/>
              <a:ext cx="435292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400" dirty="0">
                  <a:solidFill>
                    <a:srgbClr val="D6D6C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nserir subtítulo do item aqui</a:t>
              </a:r>
            </a:p>
          </p:txBody>
        </p:sp>
        <p:sp>
          <p:nvSpPr>
            <p:cNvPr id="29" name="CaixaDeTexto 28">
              <a:extLst>
                <a:ext uri="{FF2B5EF4-FFF2-40B4-BE49-F238E27FC236}">
                  <a16:creationId xmlns:a16="http://schemas.microsoft.com/office/drawing/2014/main" id="{95AB5677-B201-4E18-80BE-38AC326297A2}"/>
                </a:ext>
              </a:extLst>
            </p:cNvPr>
            <p:cNvSpPr txBox="1"/>
            <p:nvPr/>
          </p:nvSpPr>
          <p:spPr>
            <a:xfrm>
              <a:off x="1176337" y="912911"/>
              <a:ext cx="809626" cy="10926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6500" dirty="0">
                  <a:solidFill>
                    <a:srgbClr val="D6D6C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</a:t>
              </a:r>
            </a:p>
          </p:txBody>
        </p:sp>
      </p:grpSp>
      <p:grpSp>
        <p:nvGrpSpPr>
          <p:cNvPr id="30" name="Agrupar 29">
            <a:extLst>
              <a:ext uri="{FF2B5EF4-FFF2-40B4-BE49-F238E27FC236}">
                <a16:creationId xmlns:a16="http://schemas.microsoft.com/office/drawing/2014/main" id="{89571312-B50E-48EB-8E01-A4BD923A0AD0}"/>
              </a:ext>
            </a:extLst>
          </p:cNvPr>
          <p:cNvGrpSpPr/>
          <p:nvPr/>
        </p:nvGrpSpPr>
        <p:grpSpPr>
          <a:xfrm>
            <a:off x="533400" y="3482300"/>
            <a:ext cx="5429250" cy="1092607"/>
            <a:chOff x="666750" y="912911"/>
            <a:chExt cx="5429250" cy="1092607"/>
          </a:xfrm>
        </p:grpSpPr>
        <p:sp>
          <p:nvSpPr>
            <p:cNvPr id="31" name="CaixaDeTexto 30">
              <a:extLst>
                <a:ext uri="{FF2B5EF4-FFF2-40B4-BE49-F238E27FC236}">
                  <a16:creationId xmlns:a16="http://schemas.microsoft.com/office/drawing/2014/main" id="{61E6D0AA-700B-495E-A236-86B056135AEA}"/>
                </a:ext>
              </a:extLst>
            </p:cNvPr>
            <p:cNvSpPr txBox="1"/>
            <p:nvPr/>
          </p:nvSpPr>
          <p:spPr>
            <a:xfrm>
              <a:off x="666750" y="1114425"/>
              <a:ext cx="809626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4000" b="1" dirty="0">
                  <a:solidFill>
                    <a:srgbClr val="D6D6C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04</a:t>
              </a:r>
            </a:p>
          </p:txBody>
        </p:sp>
        <p:sp>
          <p:nvSpPr>
            <p:cNvPr id="32" name="CaixaDeTexto 31">
              <a:extLst>
                <a:ext uri="{FF2B5EF4-FFF2-40B4-BE49-F238E27FC236}">
                  <a16:creationId xmlns:a16="http://schemas.microsoft.com/office/drawing/2014/main" id="{96E69431-4018-40C9-BE9D-0DBE0665C0C8}"/>
                </a:ext>
              </a:extLst>
            </p:cNvPr>
            <p:cNvSpPr txBox="1"/>
            <p:nvPr/>
          </p:nvSpPr>
          <p:spPr>
            <a:xfrm>
              <a:off x="1743075" y="1130365"/>
              <a:ext cx="4352925" cy="43088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pt-BR" sz="2200" b="1" dirty="0">
                  <a:solidFill>
                    <a:srgbClr val="D6D6C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nserir item aqui</a:t>
              </a:r>
            </a:p>
          </p:txBody>
        </p:sp>
        <p:sp>
          <p:nvSpPr>
            <p:cNvPr id="33" name="CaixaDeTexto 32">
              <a:extLst>
                <a:ext uri="{FF2B5EF4-FFF2-40B4-BE49-F238E27FC236}">
                  <a16:creationId xmlns:a16="http://schemas.microsoft.com/office/drawing/2014/main" id="{B7C92A5E-F9B0-4077-B3CA-12096E905937}"/>
                </a:ext>
              </a:extLst>
            </p:cNvPr>
            <p:cNvSpPr txBox="1"/>
            <p:nvPr/>
          </p:nvSpPr>
          <p:spPr>
            <a:xfrm>
              <a:off x="1743074" y="1498595"/>
              <a:ext cx="435292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400" dirty="0">
                  <a:solidFill>
                    <a:srgbClr val="D6D6C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nserir subtítulo do item aqui</a:t>
              </a:r>
            </a:p>
          </p:txBody>
        </p:sp>
        <p:sp>
          <p:nvSpPr>
            <p:cNvPr id="34" name="CaixaDeTexto 33">
              <a:extLst>
                <a:ext uri="{FF2B5EF4-FFF2-40B4-BE49-F238E27FC236}">
                  <a16:creationId xmlns:a16="http://schemas.microsoft.com/office/drawing/2014/main" id="{01102808-94EB-4EDC-BE6E-CFECC7D49D64}"/>
                </a:ext>
              </a:extLst>
            </p:cNvPr>
            <p:cNvSpPr txBox="1"/>
            <p:nvPr/>
          </p:nvSpPr>
          <p:spPr>
            <a:xfrm>
              <a:off x="1176337" y="912911"/>
              <a:ext cx="809626" cy="10926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6500" dirty="0">
                  <a:solidFill>
                    <a:srgbClr val="D6D6C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</a:t>
              </a:r>
            </a:p>
          </p:txBody>
        </p:sp>
      </p:grpSp>
      <p:grpSp>
        <p:nvGrpSpPr>
          <p:cNvPr id="35" name="Agrupar 34">
            <a:extLst>
              <a:ext uri="{FF2B5EF4-FFF2-40B4-BE49-F238E27FC236}">
                <a16:creationId xmlns:a16="http://schemas.microsoft.com/office/drawing/2014/main" id="{ED6A0BEA-B58C-40BA-8505-B0A73D3F9206}"/>
              </a:ext>
            </a:extLst>
          </p:cNvPr>
          <p:cNvGrpSpPr/>
          <p:nvPr/>
        </p:nvGrpSpPr>
        <p:grpSpPr>
          <a:xfrm>
            <a:off x="533400" y="4446715"/>
            <a:ext cx="5429250" cy="1092607"/>
            <a:chOff x="666750" y="912911"/>
            <a:chExt cx="5429250" cy="1092607"/>
          </a:xfrm>
        </p:grpSpPr>
        <p:sp>
          <p:nvSpPr>
            <p:cNvPr id="36" name="CaixaDeTexto 35">
              <a:extLst>
                <a:ext uri="{FF2B5EF4-FFF2-40B4-BE49-F238E27FC236}">
                  <a16:creationId xmlns:a16="http://schemas.microsoft.com/office/drawing/2014/main" id="{155DD631-81D7-4806-8D25-2BE97869712E}"/>
                </a:ext>
              </a:extLst>
            </p:cNvPr>
            <p:cNvSpPr txBox="1"/>
            <p:nvPr/>
          </p:nvSpPr>
          <p:spPr>
            <a:xfrm>
              <a:off x="666750" y="1114425"/>
              <a:ext cx="809626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4000" b="1" dirty="0">
                  <a:solidFill>
                    <a:srgbClr val="D6D6C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05</a:t>
              </a:r>
            </a:p>
          </p:txBody>
        </p:sp>
        <p:sp>
          <p:nvSpPr>
            <p:cNvPr id="37" name="CaixaDeTexto 36">
              <a:extLst>
                <a:ext uri="{FF2B5EF4-FFF2-40B4-BE49-F238E27FC236}">
                  <a16:creationId xmlns:a16="http://schemas.microsoft.com/office/drawing/2014/main" id="{F8A1F144-E8DD-4014-B2A4-410114E7710F}"/>
                </a:ext>
              </a:extLst>
            </p:cNvPr>
            <p:cNvSpPr txBox="1"/>
            <p:nvPr/>
          </p:nvSpPr>
          <p:spPr>
            <a:xfrm>
              <a:off x="1743075" y="1130365"/>
              <a:ext cx="4352925" cy="43088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pt-BR" sz="2200" b="1" dirty="0">
                  <a:solidFill>
                    <a:srgbClr val="D6D6C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nserir item aqui</a:t>
              </a:r>
            </a:p>
          </p:txBody>
        </p:sp>
        <p:sp>
          <p:nvSpPr>
            <p:cNvPr id="38" name="CaixaDeTexto 37">
              <a:extLst>
                <a:ext uri="{FF2B5EF4-FFF2-40B4-BE49-F238E27FC236}">
                  <a16:creationId xmlns:a16="http://schemas.microsoft.com/office/drawing/2014/main" id="{04AA9E6B-236D-4B36-9AFE-311552B563D1}"/>
                </a:ext>
              </a:extLst>
            </p:cNvPr>
            <p:cNvSpPr txBox="1"/>
            <p:nvPr/>
          </p:nvSpPr>
          <p:spPr>
            <a:xfrm>
              <a:off x="1743074" y="1498595"/>
              <a:ext cx="435292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400" dirty="0">
                  <a:solidFill>
                    <a:srgbClr val="D6D6C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nserir subtítulo do item aqui</a:t>
              </a:r>
            </a:p>
          </p:txBody>
        </p:sp>
        <p:sp>
          <p:nvSpPr>
            <p:cNvPr id="39" name="CaixaDeTexto 38">
              <a:extLst>
                <a:ext uri="{FF2B5EF4-FFF2-40B4-BE49-F238E27FC236}">
                  <a16:creationId xmlns:a16="http://schemas.microsoft.com/office/drawing/2014/main" id="{67C9D088-D378-4003-8CA8-D66B85CB276A}"/>
                </a:ext>
              </a:extLst>
            </p:cNvPr>
            <p:cNvSpPr txBox="1"/>
            <p:nvPr/>
          </p:nvSpPr>
          <p:spPr>
            <a:xfrm>
              <a:off x="1176337" y="912911"/>
              <a:ext cx="809626" cy="10926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6500" dirty="0">
                  <a:solidFill>
                    <a:srgbClr val="D6D6C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8452728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501EDD92-0E40-4914-9E83-7A02B0A8BEE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pt-BR" dirty="0"/>
              <a:t>Inserir aqui o título do slide</a:t>
            </a:r>
          </a:p>
        </p:txBody>
      </p:sp>
      <p:sp>
        <p:nvSpPr>
          <p:cNvPr id="5" name="Espaço Reservado para Conteúdo 4">
            <a:extLst>
              <a:ext uri="{FF2B5EF4-FFF2-40B4-BE49-F238E27FC236}">
                <a16:creationId xmlns:a16="http://schemas.microsoft.com/office/drawing/2014/main" id="{58CE0749-B9E9-4BF8-8127-EE8A2C0A478A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pt-BR" dirty="0" err="1"/>
              <a:t>Sed</a:t>
            </a:r>
            <a:r>
              <a:rPr lang="pt-BR" dirty="0"/>
              <a:t> ut </a:t>
            </a:r>
            <a:r>
              <a:rPr lang="pt-BR" dirty="0" err="1"/>
              <a:t>perspiciatis</a:t>
            </a:r>
            <a:r>
              <a:rPr lang="pt-BR" dirty="0"/>
              <a:t> </a:t>
            </a:r>
            <a:r>
              <a:rPr lang="pt-BR" dirty="0" err="1"/>
              <a:t>unde</a:t>
            </a:r>
            <a:r>
              <a:rPr lang="pt-BR" dirty="0"/>
              <a:t> omnis </a:t>
            </a:r>
            <a:r>
              <a:rPr lang="pt-BR" dirty="0" err="1"/>
              <a:t>iste</a:t>
            </a:r>
            <a:r>
              <a:rPr lang="pt-BR" dirty="0"/>
              <a:t> </a:t>
            </a:r>
            <a:r>
              <a:rPr lang="pt-BR" dirty="0" err="1"/>
              <a:t>natus</a:t>
            </a:r>
            <a:r>
              <a:rPr lang="pt-BR" dirty="0"/>
              <a:t> </a:t>
            </a:r>
            <a:r>
              <a:rPr lang="pt-BR" dirty="0" err="1"/>
              <a:t>err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accusantium</a:t>
            </a:r>
            <a:r>
              <a:rPr lang="pt-BR" dirty="0"/>
              <a:t> </a:t>
            </a:r>
            <a:r>
              <a:rPr lang="pt-BR" dirty="0" err="1"/>
              <a:t>doloremque</a:t>
            </a:r>
            <a:r>
              <a:rPr lang="pt-BR" dirty="0"/>
              <a:t> </a:t>
            </a:r>
            <a:r>
              <a:rPr lang="pt-BR" dirty="0" err="1"/>
              <a:t>laudantium</a:t>
            </a:r>
            <a:r>
              <a:rPr lang="pt-BR" dirty="0"/>
              <a:t>, </a:t>
            </a:r>
            <a:r>
              <a:rPr lang="pt-BR" dirty="0" err="1"/>
              <a:t>totam</a:t>
            </a:r>
            <a:r>
              <a:rPr lang="pt-BR" dirty="0"/>
              <a:t> rem </a:t>
            </a:r>
            <a:r>
              <a:rPr lang="pt-BR" dirty="0" err="1"/>
              <a:t>aperiam</a:t>
            </a:r>
            <a:r>
              <a:rPr lang="pt-BR" dirty="0"/>
              <a:t>, </a:t>
            </a:r>
            <a:r>
              <a:rPr lang="pt-BR" dirty="0" err="1"/>
              <a:t>eaque</a:t>
            </a:r>
            <a:r>
              <a:rPr lang="pt-BR" dirty="0"/>
              <a:t> </a:t>
            </a:r>
            <a:r>
              <a:rPr lang="pt-BR" dirty="0" err="1"/>
              <a:t>ipsa</a:t>
            </a:r>
            <a:r>
              <a:rPr lang="pt-BR" dirty="0"/>
              <a:t> </a:t>
            </a:r>
            <a:r>
              <a:rPr lang="pt-BR" dirty="0" err="1"/>
              <a:t>quae</a:t>
            </a:r>
            <a:r>
              <a:rPr lang="pt-BR" dirty="0"/>
              <a:t> </a:t>
            </a:r>
            <a:r>
              <a:rPr lang="pt-BR" dirty="0" err="1"/>
              <a:t>ab</a:t>
            </a:r>
            <a:r>
              <a:rPr lang="pt-BR" dirty="0"/>
              <a:t> </a:t>
            </a:r>
            <a:r>
              <a:rPr lang="pt-BR" dirty="0" err="1"/>
              <a:t>illo</a:t>
            </a:r>
            <a:r>
              <a:rPr lang="pt-BR" dirty="0"/>
              <a:t> </a:t>
            </a:r>
            <a:r>
              <a:rPr lang="pt-BR" dirty="0" err="1"/>
              <a:t>inventore</a:t>
            </a:r>
            <a:r>
              <a:rPr lang="pt-BR" dirty="0"/>
              <a:t> </a:t>
            </a:r>
            <a:r>
              <a:rPr lang="pt-BR" dirty="0" err="1"/>
              <a:t>veritatis</a:t>
            </a:r>
            <a:r>
              <a:rPr lang="pt-BR" dirty="0"/>
              <a:t> et </a:t>
            </a:r>
            <a:r>
              <a:rPr lang="pt-BR" dirty="0" err="1"/>
              <a:t>quasi</a:t>
            </a:r>
            <a:r>
              <a:rPr lang="pt-BR" dirty="0"/>
              <a:t> </a:t>
            </a:r>
            <a:r>
              <a:rPr lang="pt-BR" dirty="0" err="1"/>
              <a:t>architecto</a:t>
            </a:r>
            <a:r>
              <a:rPr lang="pt-BR" dirty="0"/>
              <a:t> </a:t>
            </a:r>
            <a:r>
              <a:rPr lang="pt-BR" dirty="0" err="1"/>
              <a:t>beatae</a:t>
            </a:r>
            <a:r>
              <a:rPr lang="pt-BR" dirty="0"/>
              <a:t> vitae </a:t>
            </a:r>
            <a:r>
              <a:rPr lang="pt-BR" dirty="0" err="1"/>
              <a:t>dicta</a:t>
            </a:r>
            <a:r>
              <a:rPr lang="pt-BR" dirty="0"/>
              <a:t> sunt </a:t>
            </a:r>
            <a:r>
              <a:rPr lang="pt-BR" dirty="0" err="1"/>
              <a:t>explicabo</a:t>
            </a:r>
            <a:r>
              <a:rPr lang="pt-BR" dirty="0"/>
              <a:t>. Nemo </a:t>
            </a:r>
            <a:r>
              <a:rPr lang="pt-BR" dirty="0" err="1"/>
              <a:t>enim</a:t>
            </a:r>
            <a:r>
              <a:rPr lang="pt-BR" dirty="0"/>
              <a:t> </a:t>
            </a:r>
            <a:r>
              <a:rPr lang="pt-BR" dirty="0" err="1"/>
              <a:t>ipsam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quia</a:t>
            </a:r>
            <a:r>
              <a:rPr lang="pt-BR" dirty="0"/>
              <a:t> </a:t>
            </a:r>
            <a:r>
              <a:rPr lang="pt-BR" dirty="0" err="1"/>
              <a:t>voluptas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spernatur</a:t>
            </a:r>
            <a:r>
              <a:rPr lang="pt-BR" dirty="0"/>
              <a:t> </a:t>
            </a:r>
            <a:r>
              <a:rPr lang="pt-BR" dirty="0" err="1"/>
              <a:t>aut</a:t>
            </a:r>
            <a:r>
              <a:rPr lang="pt-BR" dirty="0"/>
              <a:t> </a:t>
            </a:r>
            <a:r>
              <a:rPr lang="pt-BR" dirty="0" err="1"/>
              <a:t>odit</a:t>
            </a:r>
            <a:r>
              <a:rPr lang="pt-BR" dirty="0"/>
              <a:t> </a:t>
            </a:r>
            <a:r>
              <a:rPr lang="pt-BR" dirty="0" err="1"/>
              <a:t>aut</a:t>
            </a:r>
            <a:r>
              <a:rPr lang="pt-BR" dirty="0"/>
              <a:t> </a:t>
            </a:r>
            <a:r>
              <a:rPr lang="pt-BR" dirty="0" err="1"/>
              <a:t>fug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</a:t>
            </a:r>
            <a:r>
              <a:rPr lang="pt-BR" dirty="0" err="1"/>
              <a:t>quia</a:t>
            </a:r>
            <a:r>
              <a:rPr lang="pt-BR" dirty="0"/>
              <a:t> </a:t>
            </a:r>
            <a:r>
              <a:rPr lang="pt-BR" dirty="0" err="1"/>
              <a:t>consequuntur</a:t>
            </a:r>
            <a:r>
              <a:rPr lang="pt-BR" dirty="0"/>
              <a:t> </a:t>
            </a:r>
            <a:r>
              <a:rPr lang="pt-BR" dirty="0" err="1"/>
              <a:t>magni</a:t>
            </a:r>
            <a:r>
              <a:rPr lang="pt-BR" dirty="0"/>
              <a:t> </a:t>
            </a:r>
            <a:r>
              <a:rPr lang="pt-BR" dirty="0" err="1"/>
              <a:t>dolores</a:t>
            </a:r>
            <a:r>
              <a:rPr lang="pt-BR" dirty="0"/>
              <a:t> </a:t>
            </a:r>
            <a:r>
              <a:rPr lang="pt-BR" dirty="0" err="1"/>
              <a:t>eos</a:t>
            </a:r>
            <a:r>
              <a:rPr lang="pt-BR" dirty="0"/>
              <a:t> </a:t>
            </a:r>
            <a:r>
              <a:rPr lang="pt-BR" dirty="0" err="1"/>
              <a:t>qui</a:t>
            </a:r>
            <a:r>
              <a:rPr lang="pt-BR" dirty="0"/>
              <a:t> ratione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sequi</a:t>
            </a:r>
            <a:r>
              <a:rPr lang="pt-BR" dirty="0"/>
              <a:t> </a:t>
            </a:r>
            <a:r>
              <a:rPr lang="pt-BR" dirty="0" err="1"/>
              <a:t>nesciunt</a:t>
            </a:r>
            <a:r>
              <a:rPr lang="pt-BR" dirty="0"/>
              <a:t>. </a:t>
            </a:r>
            <a:r>
              <a:rPr lang="pt-BR" dirty="0" err="1"/>
              <a:t>Sed</a:t>
            </a:r>
            <a:r>
              <a:rPr lang="pt-BR" dirty="0"/>
              <a:t> ut </a:t>
            </a:r>
            <a:r>
              <a:rPr lang="pt-BR" dirty="0" err="1"/>
              <a:t>perspiciatis</a:t>
            </a:r>
            <a:r>
              <a:rPr lang="pt-BR" dirty="0"/>
              <a:t> </a:t>
            </a:r>
            <a:r>
              <a:rPr lang="pt-BR" dirty="0" err="1"/>
              <a:t>unde</a:t>
            </a:r>
            <a:r>
              <a:rPr lang="pt-BR" dirty="0"/>
              <a:t> omnis </a:t>
            </a:r>
            <a:r>
              <a:rPr lang="pt-BR" dirty="0" err="1"/>
              <a:t>iste</a:t>
            </a:r>
            <a:r>
              <a:rPr lang="pt-BR" dirty="0"/>
              <a:t> </a:t>
            </a:r>
            <a:r>
              <a:rPr lang="pt-BR" dirty="0" err="1"/>
              <a:t>natus</a:t>
            </a:r>
            <a:r>
              <a:rPr lang="pt-BR" dirty="0"/>
              <a:t> </a:t>
            </a:r>
            <a:r>
              <a:rPr lang="pt-BR" dirty="0" err="1"/>
              <a:t>err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accusantium</a:t>
            </a:r>
            <a:r>
              <a:rPr lang="pt-BR" dirty="0"/>
              <a:t> </a:t>
            </a:r>
            <a:r>
              <a:rPr lang="pt-BR" dirty="0" err="1"/>
              <a:t>doloremque</a:t>
            </a:r>
            <a:r>
              <a:rPr lang="pt-BR" dirty="0"/>
              <a:t> </a:t>
            </a:r>
            <a:r>
              <a:rPr lang="pt-BR" dirty="0" err="1"/>
              <a:t>laudantium</a:t>
            </a:r>
            <a:r>
              <a:rPr lang="pt-BR" dirty="0"/>
              <a:t>, </a:t>
            </a:r>
            <a:r>
              <a:rPr lang="pt-BR" dirty="0" err="1"/>
              <a:t>totam</a:t>
            </a:r>
            <a:r>
              <a:rPr lang="pt-BR" dirty="0"/>
              <a:t> rem </a:t>
            </a:r>
            <a:r>
              <a:rPr lang="pt-BR" dirty="0" err="1"/>
              <a:t>aperiam</a:t>
            </a:r>
            <a:r>
              <a:rPr lang="pt-BR" dirty="0"/>
              <a:t>, </a:t>
            </a:r>
            <a:r>
              <a:rPr lang="pt-BR" dirty="0" err="1"/>
              <a:t>eaque</a:t>
            </a:r>
            <a:r>
              <a:rPr lang="pt-BR" dirty="0"/>
              <a:t> </a:t>
            </a:r>
            <a:r>
              <a:rPr lang="pt-BR" dirty="0" err="1"/>
              <a:t>ipsa</a:t>
            </a:r>
            <a:r>
              <a:rPr lang="pt-BR" dirty="0"/>
              <a:t> </a:t>
            </a:r>
            <a:r>
              <a:rPr lang="pt-BR" dirty="0" err="1"/>
              <a:t>quae</a:t>
            </a:r>
            <a:r>
              <a:rPr lang="pt-BR" dirty="0"/>
              <a:t> </a:t>
            </a:r>
            <a:r>
              <a:rPr lang="pt-BR" dirty="0" err="1"/>
              <a:t>ab</a:t>
            </a:r>
            <a:r>
              <a:rPr lang="pt-BR" dirty="0"/>
              <a:t> </a:t>
            </a:r>
            <a:r>
              <a:rPr lang="pt-BR" dirty="0" err="1"/>
              <a:t>illo</a:t>
            </a:r>
            <a:r>
              <a:rPr lang="pt-BR" dirty="0"/>
              <a:t> </a:t>
            </a:r>
            <a:r>
              <a:rPr lang="pt-BR" dirty="0" err="1"/>
              <a:t>inventore</a:t>
            </a:r>
            <a:r>
              <a:rPr lang="pt-BR" dirty="0"/>
              <a:t> </a:t>
            </a:r>
            <a:r>
              <a:rPr lang="pt-BR" dirty="0" err="1"/>
              <a:t>veritatis</a:t>
            </a:r>
            <a:r>
              <a:rPr lang="pt-BR" dirty="0"/>
              <a:t> et </a:t>
            </a:r>
            <a:r>
              <a:rPr lang="pt-BR" dirty="0" err="1"/>
              <a:t>quasi</a:t>
            </a:r>
            <a:r>
              <a:rPr lang="pt-BR" dirty="0"/>
              <a:t> </a:t>
            </a:r>
            <a:r>
              <a:rPr lang="pt-BR" dirty="0" err="1"/>
              <a:t>architecto</a:t>
            </a:r>
            <a:r>
              <a:rPr lang="pt-BR" dirty="0"/>
              <a:t> </a:t>
            </a:r>
            <a:r>
              <a:rPr lang="pt-BR" dirty="0" err="1"/>
              <a:t>beatae</a:t>
            </a:r>
            <a:r>
              <a:rPr lang="pt-BR" dirty="0"/>
              <a:t> vitae </a:t>
            </a:r>
            <a:r>
              <a:rPr lang="pt-BR" dirty="0" err="1"/>
              <a:t>dicta</a:t>
            </a:r>
            <a:r>
              <a:rPr lang="pt-BR" dirty="0"/>
              <a:t> sunt </a:t>
            </a:r>
            <a:r>
              <a:rPr lang="pt-BR" dirty="0" err="1"/>
              <a:t>explicabo</a:t>
            </a:r>
            <a:r>
              <a:rPr lang="pt-BR" dirty="0"/>
              <a:t>. Nemo </a:t>
            </a:r>
            <a:r>
              <a:rPr lang="pt-BR" dirty="0" err="1"/>
              <a:t>enim</a:t>
            </a:r>
            <a:r>
              <a:rPr lang="pt-BR" dirty="0"/>
              <a:t> </a:t>
            </a:r>
            <a:r>
              <a:rPr lang="pt-BR" dirty="0" err="1"/>
              <a:t>ipsam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quia</a:t>
            </a:r>
            <a:r>
              <a:rPr lang="pt-BR" dirty="0"/>
              <a:t> </a:t>
            </a:r>
            <a:r>
              <a:rPr lang="pt-BR" dirty="0" err="1"/>
              <a:t>voluptas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spernatur</a:t>
            </a:r>
            <a:r>
              <a:rPr lang="pt-BR" dirty="0"/>
              <a:t> </a:t>
            </a:r>
            <a:r>
              <a:rPr lang="pt-BR" dirty="0" err="1"/>
              <a:t>aut</a:t>
            </a:r>
            <a:r>
              <a:rPr lang="pt-BR" dirty="0"/>
              <a:t> </a:t>
            </a:r>
            <a:r>
              <a:rPr lang="pt-BR" dirty="0" err="1"/>
              <a:t>odit</a:t>
            </a:r>
            <a:r>
              <a:rPr lang="pt-BR" dirty="0"/>
              <a:t> </a:t>
            </a:r>
            <a:r>
              <a:rPr lang="pt-BR" dirty="0" err="1"/>
              <a:t>aut</a:t>
            </a:r>
            <a:r>
              <a:rPr lang="pt-BR" dirty="0"/>
              <a:t> </a:t>
            </a:r>
            <a:r>
              <a:rPr lang="pt-BR" dirty="0" err="1"/>
              <a:t>fug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</a:t>
            </a:r>
            <a:r>
              <a:rPr lang="pt-BR" dirty="0" err="1"/>
              <a:t>quia</a:t>
            </a:r>
            <a:r>
              <a:rPr lang="pt-BR" dirty="0"/>
              <a:t> </a:t>
            </a:r>
            <a:r>
              <a:rPr lang="pt-BR" dirty="0" err="1"/>
              <a:t>consequuntur</a:t>
            </a:r>
            <a:r>
              <a:rPr lang="pt-BR" dirty="0"/>
              <a:t> </a:t>
            </a:r>
            <a:r>
              <a:rPr lang="pt-BR" dirty="0" err="1"/>
              <a:t>magni</a:t>
            </a:r>
            <a:r>
              <a:rPr lang="pt-BR" dirty="0"/>
              <a:t> </a:t>
            </a:r>
            <a:r>
              <a:rPr lang="pt-BR" dirty="0" err="1"/>
              <a:t>dolores</a:t>
            </a:r>
            <a:r>
              <a:rPr lang="pt-BR" dirty="0"/>
              <a:t> </a:t>
            </a:r>
            <a:r>
              <a:rPr lang="pt-BR" dirty="0" err="1"/>
              <a:t>eos</a:t>
            </a:r>
            <a:r>
              <a:rPr lang="pt-BR" dirty="0"/>
              <a:t> </a:t>
            </a:r>
            <a:r>
              <a:rPr lang="pt-BR" dirty="0" err="1"/>
              <a:t>qui</a:t>
            </a:r>
            <a:r>
              <a:rPr lang="pt-BR" dirty="0"/>
              <a:t> ratione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sequi</a:t>
            </a:r>
            <a:r>
              <a:rPr lang="pt-BR" dirty="0"/>
              <a:t> </a:t>
            </a:r>
            <a:r>
              <a:rPr lang="pt-BR" dirty="0" err="1"/>
              <a:t>nesciunt</a:t>
            </a:r>
            <a:r>
              <a:rPr lang="pt-BR" dirty="0"/>
              <a:t>. </a:t>
            </a:r>
            <a:r>
              <a:rPr lang="pt-BR" dirty="0" err="1"/>
              <a:t>Sed</a:t>
            </a:r>
            <a:r>
              <a:rPr lang="pt-BR" dirty="0"/>
              <a:t> ut </a:t>
            </a:r>
            <a:r>
              <a:rPr lang="pt-BR" dirty="0" err="1"/>
              <a:t>perspiciatis</a:t>
            </a:r>
            <a:r>
              <a:rPr lang="pt-BR" dirty="0"/>
              <a:t> </a:t>
            </a:r>
            <a:r>
              <a:rPr lang="pt-BR" dirty="0" err="1"/>
              <a:t>unde</a:t>
            </a:r>
            <a:r>
              <a:rPr lang="pt-BR" dirty="0"/>
              <a:t> omnis </a:t>
            </a:r>
            <a:r>
              <a:rPr lang="pt-BR" dirty="0" err="1"/>
              <a:t>iste</a:t>
            </a:r>
            <a:r>
              <a:rPr lang="pt-BR" dirty="0"/>
              <a:t> </a:t>
            </a:r>
            <a:r>
              <a:rPr lang="pt-BR" dirty="0" err="1"/>
              <a:t>natus</a:t>
            </a:r>
            <a:r>
              <a:rPr lang="pt-BR" dirty="0"/>
              <a:t> </a:t>
            </a:r>
            <a:r>
              <a:rPr lang="pt-BR" dirty="0" err="1"/>
              <a:t>err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accusantium</a:t>
            </a:r>
            <a:r>
              <a:rPr lang="pt-BR" dirty="0"/>
              <a:t> </a:t>
            </a:r>
            <a:r>
              <a:rPr lang="pt-BR" dirty="0" err="1"/>
              <a:t>doloremque</a:t>
            </a:r>
            <a:r>
              <a:rPr lang="pt-BR" dirty="0"/>
              <a:t> </a:t>
            </a:r>
            <a:r>
              <a:rPr lang="pt-BR" dirty="0" err="1"/>
              <a:t>laudantium</a:t>
            </a:r>
            <a:r>
              <a:rPr lang="pt-BR" dirty="0"/>
              <a:t>, </a:t>
            </a:r>
            <a:r>
              <a:rPr lang="pt-BR" dirty="0" err="1"/>
              <a:t>totam</a:t>
            </a:r>
            <a:r>
              <a:rPr lang="pt-BR" dirty="0"/>
              <a:t> rem </a:t>
            </a:r>
            <a:r>
              <a:rPr lang="pt-BR" dirty="0" err="1"/>
              <a:t>aperiam</a:t>
            </a:r>
            <a:r>
              <a:rPr lang="pt-BR" dirty="0"/>
              <a:t>, </a:t>
            </a:r>
            <a:r>
              <a:rPr lang="pt-BR" dirty="0" err="1"/>
              <a:t>eaque</a:t>
            </a:r>
            <a:r>
              <a:rPr lang="pt-BR" dirty="0"/>
              <a:t> </a:t>
            </a:r>
            <a:r>
              <a:rPr lang="pt-BR" dirty="0" err="1"/>
              <a:t>ipsa</a:t>
            </a:r>
            <a:r>
              <a:rPr lang="pt-BR" dirty="0"/>
              <a:t> </a:t>
            </a:r>
            <a:r>
              <a:rPr lang="pt-BR" dirty="0" err="1"/>
              <a:t>quae</a:t>
            </a:r>
            <a:r>
              <a:rPr lang="pt-BR" dirty="0"/>
              <a:t> </a:t>
            </a:r>
            <a:r>
              <a:rPr lang="pt-BR" dirty="0" err="1"/>
              <a:t>ab</a:t>
            </a:r>
            <a:r>
              <a:rPr lang="pt-BR" dirty="0"/>
              <a:t> </a:t>
            </a:r>
            <a:r>
              <a:rPr lang="pt-BR" dirty="0" err="1"/>
              <a:t>illo</a:t>
            </a:r>
            <a:r>
              <a:rPr lang="pt-BR" dirty="0"/>
              <a:t> </a:t>
            </a:r>
            <a:r>
              <a:rPr lang="pt-BR" dirty="0" err="1"/>
              <a:t>inventore</a:t>
            </a:r>
            <a:r>
              <a:rPr lang="pt-BR" dirty="0"/>
              <a:t> </a:t>
            </a:r>
            <a:r>
              <a:rPr lang="pt-BR" dirty="0" err="1"/>
              <a:t>veritatis</a:t>
            </a:r>
            <a:r>
              <a:rPr lang="pt-BR" dirty="0"/>
              <a:t> et </a:t>
            </a:r>
            <a:r>
              <a:rPr lang="pt-BR" dirty="0" err="1"/>
              <a:t>quasi</a:t>
            </a:r>
            <a:r>
              <a:rPr lang="pt-BR" dirty="0"/>
              <a:t> </a:t>
            </a:r>
            <a:r>
              <a:rPr lang="pt-BR" dirty="0" err="1"/>
              <a:t>architecto</a:t>
            </a:r>
            <a:r>
              <a:rPr lang="pt-BR" dirty="0"/>
              <a:t> </a:t>
            </a:r>
            <a:r>
              <a:rPr lang="pt-BR" dirty="0" err="1"/>
              <a:t>beatae</a:t>
            </a:r>
            <a:r>
              <a:rPr lang="pt-BR" dirty="0"/>
              <a:t> vitae </a:t>
            </a:r>
            <a:r>
              <a:rPr lang="pt-BR" dirty="0" err="1"/>
              <a:t>dicta</a:t>
            </a:r>
            <a:r>
              <a:rPr lang="pt-BR" dirty="0"/>
              <a:t> sunt </a:t>
            </a:r>
            <a:r>
              <a:rPr lang="pt-BR" dirty="0" err="1"/>
              <a:t>explicabo</a:t>
            </a:r>
            <a:r>
              <a:rPr lang="pt-BR" dirty="0"/>
              <a:t>. Nemo </a:t>
            </a:r>
            <a:r>
              <a:rPr lang="pt-BR" dirty="0" err="1"/>
              <a:t>enim</a:t>
            </a:r>
            <a:r>
              <a:rPr lang="pt-BR" dirty="0"/>
              <a:t> </a:t>
            </a:r>
            <a:r>
              <a:rPr lang="pt-BR" dirty="0" err="1"/>
              <a:t>ipsam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quia</a:t>
            </a:r>
            <a:r>
              <a:rPr lang="pt-BR" dirty="0"/>
              <a:t> </a:t>
            </a:r>
            <a:r>
              <a:rPr lang="pt-BR" dirty="0" err="1"/>
              <a:t>voluptas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spernatur</a:t>
            </a:r>
            <a:r>
              <a:rPr lang="pt-BR" dirty="0"/>
              <a:t> </a:t>
            </a:r>
            <a:r>
              <a:rPr lang="pt-BR" dirty="0" err="1"/>
              <a:t>aut</a:t>
            </a:r>
            <a:r>
              <a:rPr lang="pt-BR" dirty="0"/>
              <a:t> </a:t>
            </a:r>
            <a:r>
              <a:rPr lang="pt-BR" dirty="0" err="1"/>
              <a:t>odit</a:t>
            </a:r>
            <a:r>
              <a:rPr lang="pt-BR" dirty="0"/>
              <a:t> </a:t>
            </a:r>
            <a:r>
              <a:rPr lang="pt-BR" dirty="0" err="1"/>
              <a:t>aut</a:t>
            </a:r>
            <a:r>
              <a:rPr lang="pt-BR" dirty="0"/>
              <a:t> </a:t>
            </a:r>
            <a:r>
              <a:rPr lang="pt-BR" dirty="0" err="1"/>
              <a:t>fug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</a:t>
            </a:r>
            <a:r>
              <a:rPr lang="pt-BR" dirty="0" err="1"/>
              <a:t>quia</a:t>
            </a:r>
            <a:r>
              <a:rPr lang="pt-BR" dirty="0"/>
              <a:t> </a:t>
            </a:r>
            <a:r>
              <a:rPr lang="pt-BR" dirty="0" err="1"/>
              <a:t>consequuntur</a:t>
            </a:r>
            <a:r>
              <a:rPr lang="pt-BR" dirty="0"/>
              <a:t> </a:t>
            </a:r>
            <a:r>
              <a:rPr lang="pt-BR" dirty="0" err="1"/>
              <a:t>magni</a:t>
            </a:r>
            <a:r>
              <a:rPr lang="pt-BR" dirty="0"/>
              <a:t> </a:t>
            </a:r>
            <a:r>
              <a:rPr lang="pt-BR" dirty="0" err="1"/>
              <a:t>dolores</a:t>
            </a:r>
            <a:r>
              <a:rPr lang="pt-BR" dirty="0"/>
              <a:t> </a:t>
            </a:r>
            <a:r>
              <a:rPr lang="pt-BR" dirty="0" err="1"/>
              <a:t>eos</a:t>
            </a:r>
            <a:r>
              <a:rPr lang="pt-BR" dirty="0"/>
              <a:t> </a:t>
            </a:r>
            <a:r>
              <a:rPr lang="pt-BR" dirty="0" err="1"/>
              <a:t>qui</a:t>
            </a:r>
            <a:r>
              <a:rPr lang="pt-BR" dirty="0"/>
              <a:t> ratione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sequi</a:t>
            </a:r>
            <a:r>
              <a:rPr lang="pt-BR" dirty="0"/>
              <a:t> </a:t>
            </a:r>
            <a:r>
              <a:rPr lang="pt-BR" dirty="0" err="1"/>
              <a:t>nesciunt</a:t>
            </a:r>
            <a:r>
              <a:rPr lang="pt-BR" dirty="0"/>
              <a:t>. </a:t>
            </a: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1892145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Conteúdo 4">
            <a:extLst>
              <a:ext uri="{FF2B5EF4-FFF2-40B4-BE49-F238E27FC236}">
                <a16:creationId xmlns:a16="http://schemas.microsoft.com/office/drawing/2014/main" id="{58CE0749-B9E9-4BF8-8127-EE8A2C0A478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pt-BR" dirty="0"/>
              <a:t>Inserir aqui o título do slide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501EDD92-0E40-4914-9E83-7A02B0A8BEE7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pt-BR" dirty="0" err="1"/>
              <a:t>Sed</a:t>
            </a:r>
            <a:r>
              <a:rPr lang="pt-BR" dirty="0"/>
              <a:t> ut </a:t>
            </a:r>
            <a:r>
              <a:rPr lang="pt-BR" dirty="0" err="1"/>
              <a:t>perspiciatis</a:t>
            </a:r>
            <a:r>
              <a:rPr lang="pt-BR" dirty="0"/>
              <a:t> </a:t>
            </a:r>
            <a:r>
              <a:rPr lang="pt-BR" dirty="0" err="1"/>
              <a:t>unde</a:t>
            </a:r>
            <a:r>
              <a:rPr lang="pt-BR" dirty="0"/>
              <a:t> omnis </a:t>
            </a:r>
            <a:r>
              <a:rPr lang="pt-BR" dirty="0" err="1"/>
              <a:t>iste</a:t>
            </a:r>
            <a:r>
              <a:rPr lang="pt-BR" dirty="0"/>
              <a:t> </a:t>
            </a:r>
            <a:r>
              <a:rPr lang="pt-BR" dirty="0" err="1"/>
              <a:t>natus</a:t>
            </a:r>
            <a:r>
              <a:rPr lang="pt-BR" dirty="0"/>
              <a:t> </a:t>
            </a:r>
            <a:r>
              <a:rPr lang="pt-BR" dirty="0" err="1"/>
              <a:t>err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accusantium</a:t>
            </a:r>
            <a:r>
              <a:rPr lang="pt-BR" dirty="0"/>
              <a:t> </a:t>
            </a:r>
            <a:r>
              <a:rPr lang="pt-BR" dirty="0" err="1"/>
              <a:t>doloremque</a:t>
            </a:r>
            <a:r>
              <a:rPr lang="pt-BR" dirty="0"/>
              <a:t> </a:t>
            </a:r>
            <a:r>
              <a:rPr lang="pt-BR" dirty="0" err="1"/>
              <a:t>laudantium</a:t>
            </a:r>
            <a:r>
              <a:rPr lang="pt-BR" dirty="0"/>
              <a:t>, </a:t>
            </a:r>
            <a:r>
              <a:rPr lang="pt-BR" dirty="0" err="1"/>
              <a:t>totam</a:t>
            </a:r>
            <a:r>
              <a:rPr lang="pt-BR" dirty="0"/>
              <a:t> rem </a:t>
            </a:r>
            <a:r>
              <a:rPr lang="pt-BR" dirty="0" err="1"/>
              <a:t>aperiam</a:t>
            </a:r>
            <a:r>
              <a:rPr lang="pt-BR" dirty="0"/>
              <a:t>, </a:t>
            </a:r>
            <a:r>
              <a:rPr lang="pt-BR" dirty="0" err="1"/>
              <a:t>eaque</a:t>
            </a:r>
            <a:r>
              <a:rPr lang="pt-BR" dirty="0"/>
              <a:t> </a:t>
            </a:r>
            <a:r>
              <a:rPr lang="pt-BR" dirty="0" err="1"/>
              <a:t>ipsa</a:t>
            </a:r>
            <a:r>
              <a:rPr lang="pt-BR" dirty="0"/>
              <a:t> </a:t>
            </a:r>
            <a:r>
              <a:rPr lang="pt-BR" dirty="0" err="1"/>
              <a:t>quae</a:t>
            </a:r>
            <a:r>
              <a:rPr lang="pt-BR" dirty="0"/>
              <a:t> </a:t>
            </a:r>
            <a:r>
              <a:rPr lang="pt-BR" dirty="0" err="1"/>
              <a:t>ab</a:t>
            </a:r>
            <a:r>
              <a:rPr lang="pt-BR" dirty="0"/>
              <a:t> </a:t>
            </a:r>
            <a:r>
              <a:rPr lang="pt-BR" dirty="0" err="1"/>
              <a:t>illo</a:t>
            </a:r>
            <a:r>
              <a:rPr lang="pt-BR" dirty="0"/>
              <a:t> </a:t>
            </a:r>
            <a:r>
              <a:rPr lang="pt-BR" dirty="0" err="1"/>
              <a:t>inventore</a:t>
            </a:r>
            <a:r>
              <a:rPr lang="pt-BR" dirty="0"/>
              <a:t> </a:t>
            </a:r>
            <a:r>
              <a:rPr lang="pt-BR" dirty="0" err="1"/>
              <a:t>veritatis</a:t>
            </a:r>
            <a:r>
              <a:rPr lang="pt-BR" dirty="0"/>
              <a:t> et </a:t>
            </a:r>
            <a:r>
              <a:rPr lang="pt-BR" dirty="0" err="1"/>
              <a:t>quasi</a:t>
            </a:r>
            <a:r>
              <a:rPr lang="pt-BR" dirty="0"/>
              <a:t> </a:t>
            </a:r>
            <a:r>
              <a:rPr lang="pt-BR" dirty="0" err="1"/>
              <a:t>architecto</a:t>
            </a:r>
            <a:r>
              <a:rPr lang="pt-BR" dirty="0"/>
              <a:t> </a:t>
            </a:r>
            <a:r>
              <a:rPr lang="pt-BR" dirty="0" err="1"/>
              <a:t>beatae</a:t>
            </a:r>
            <a:r>
              <a:rPr lang="pt-BR" dirty="0"/>
              <a:t> vitae </a:t>
            </a:r>
            <a:r>
              <a:rPr lang="pt-BR" dirty="0" err="1"/>
              <a:t>dicta</a:t>
            </a:r>
            <a:r>
              <a:rPr lang="pt-BR" dirty="0"/>
              <a:t> sunt </a:t>
            </a:r>
            <a:r>
              <a:rPr lang="pt-BR" dirty="0" err="1"/>
              <a:t>explicabo</a:t>
            </a:r>
            <a:r>
              <a:rPr lang="pt-BR" dirty="0"/>
              <a:t>. Nemo </a:t>
            </a:r>
            <a:r>
              <a:rPr lang="pt-BR" dirty="0" err="1"/>
              <a:t>enim</a:t>
            </a:r>
            <a:r>
              <a:rPr lang="pt-BR" dirty="0"/>
              <a:t> </a:t>
            </a:r>
            <a:r>
              <a:rPr lang="pt-BR" dirty="0" err="1"/>
              <a:t>ipsam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quia</a:t>
            </a:r>
            <a:r>
              <a:rPr lang="pt-BR" dirty="0"/>
              <a:t> </a:t>
            </a:r>
            <a:r>
              <a:rPr lang="pt-BR" dirty="0" err="1"/>
              <a:t>voluptas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spernatur</a:t>
            </a:r>
            <a:r>
              <a:rPr lang="pt-BR" dirty="0"/>
              <a:t> </a:t>
            </a:r>
            <a:r>
              <a:rPr lang="pt-BR" dirty="0" err="1"/>
              <a:t>aut</a:t>
            </a:r>
            <a:r>
              <a:rPr lang="pt-BR" dirty="0"/>
              <a:t> </a:t>
            </a:r>
            <a:r>
              <a:rPr lang="pt-BR" dirty="0" err="1"/>
              <a:t>odit</a:t>
            </a:r>
            <a:r>
              <a:rPr lang="pt-BR" dirty="0"/>
              <a:t> </a:t>
            </a:r>
            <a:r>
              <a:rPr lang="pt-BR" dirty="0" err="1"/>
              <a:t>aut</a:t>
            </a:r>
            <a:r>
              <a:rPr lang="pt-BR" dirty="0"/>
              <a:t> </a:t>
            </a:r>
            <a:r>
              <a:rPr lang="pt-BR" dirty="0" err="1"/>
              <a:t>fug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</a:t>
            </a:r>
            <a:r>
              <a:rPr lang="pt-BR" dirty="0" err="1"/>
              <a:t>quia</a:t>
            </a:r>
            <a:r>
              <a:rPr lang="pt-BR" dirty="0"/>
              <a:t> </a:t>
            </a:r>
            <a:r>
              <a:rPr lang="pt-BR" dirty="0" err="1"/>
              <a:t>consequuntur</a:t>
            </a:r>
            <a:r>
              <a:rPr lang="pt-BR" dirty="0"/>
              <a:t> </a:t>
            </a:r>
            <a:r>
              <a:rPr lang="pt-BR" dirty="0" err="1"/>
              <a:t>magni</a:t>
            </a:r>
            <a:r>
              <a:rPr lang="pt-BR" dirty="0"/>
              <a:t> </a:t>
            </a:r>
            <a:r>
              <a:rPr lang="pt-BR" dirty="0" err="1"/>
              <a:t>dolores</a:t>
            </a:r>
            <a:r>
              <a:rPr lang="pt-BR" dirty="0"/>
              <a:t> </a:t>
            </a:r>
            <a:r>
              <a:rPr lang="pt-BR" dirty="0" err="1"/>
              <a:t>eos</a:t>
            </a:r>
            <a:r>
              <a:rPr lang="pt-BR" dirty="0"/>
              <a:t> </a:t>
            </a:r>
            <a:r>
              <a:rPr lang="pt-BR" dirty="0" err="1"/>
              <a:t>qui</a:t>
            </a:r>
            <a:r>
              <a:rPr lang="pt-BR" dirty="0"/>
              <a:t> ratione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sequi</a:t>
            </a:r>
            <a:r>
              <a:rPr lang="pt-BR" dirty="0"/>
              <a:t> </a:t>
            </a:r>
            <a:r>
              <a:rPr lang="pt-BR" dirty="0" err="1"/>
              <a:t>nesciunt</a:t>
            </a:r>
            <a:r>
              <a:rPr lang="pt-BR" dirty="0"/>
              <a:t>. </a:t>
            </a:r>
          </a:p>
          <a:p>
            <a:pPr lvl="1"/>
            <a:r>
              <a:rPr lang="pt-BR" dirty="0"/>
              <a:t>Item 01</a:t>
            </a:r>
          </a:p>
          <a:p>
            <a:pPr lvl="1"/>
            <a:r>
              <a:rPr lang="pt-BR" dirty="0"/>
              <a:t>Item 02</a:t>
            </a:r>
          </a:p>
          <a:p>
            <a:pPr lvl="1"/>
            <a:r>
              <a:rPr lang="pt-BR" dirty="0"/>
              <a:t>Item 03</a:t>
            </a:r>
          </a:p>
          <a:p>
            <a:pPr lvl="1"/>
            <a:r>
              <a:rPr lang="pt-BR" dirty="0"/>
              <a:t>Item 04</a:t>
            </a:r>
          </a:p>
          <a:p>
            <a:r>
              <a:rPr lang="pt-BR" dirty="0" err="1"/>
              <a:t>Sed</a:t>
            </a:r>
            <a:r>
              <a:rPr lang="pt-BR" dirty="0"/>
              <a:t> ut </a:t>
            </a:r>
            <a:r>
              <a:rPr lang="pt-BR" dirty="0" err="1"/>
              <a:t>perspiciatis</a:t>
            </a:r>
            <a:r>
              <a:rPr lang="pt-BR" dirty="0"/>
              <a:t> </a:t>
            </a:r>
            <a:r>
              <a:rPr lang="pt-BR" dirty="0" err="1"/>
              <a:t>unde</a:t>
            </a:r>
            <a:r>
              <a:rPr lang="pt-BR" dirty="0"/>
              <a:t> omnis </a:t>
            </a:r>
            <a:r>
              <a:rPr lang="pt-BR" dirty="0" err="1"/>
              <a:t>iste</a:t>
            </a:r>
            <a:r>
              <a:rPr lang="pt-BR" dirty="0"/>
              <a:t> </a:t>
            </a:r>
            <a:r>
              <a:rPr lang="pt-BR" dirty="0" err="1"/>
              <a:t>natus</a:t>
            </a:r>
            <a:r>
              <a:rPr lang="pt-BR" dirty="0"/>
              <a:t> </a:t>
            </a:r>
            <a:r>
              <a:rPr lang="pt-BR" dirty="0" err="1"/>
              <a:t>err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accusantium</a:t>
            </a:r>
            <a:r>
              <a:rPr lang="pt-BR" dirty="0"/>
              <a:t> </a:t>
            </a:r>
            <a:r>
              <a:rPr lang="pt-BR" dirty="0" err="1"/>
              <a:t>doloremque</a:t>
            </a:r>
            <a:r>
              <a:rPr lang="pt-BR" dirty="0"/>
              <a:t> </a:t>
            </a:r>
            <a:r>
              <a:rPr lang="pt-BR" dirty="0" err="1"/>
              <a:t>laudantium</a:t>
            </a:r>
            <a:r>
              <a:rPr lang="pt-BR" dirty="0"/>
              <a:t>, </a:t>
            </a:r>
            <a:r>
              <a:rPr lang="pt-BR" dirty="0" err="1"/>
              <a:t>totam</a:t>
            </a:r>
            <a:r>
              <a:rPr lang="pt-BR" dirty="0"/>
              <a:t> rem </a:t>
            </a:r>
            <a:r>
              <a:rPr lang="pt-BR" dirty="0" err="1"/>
              <a:t>aperiam</a:t>
            </a:r>
            <a:r>
              <a:rPr lang="pt-BR" dirty="0"/>
              <a:t>, </a:t>
            </a:r>
            <a:r>
              <a:rPr lang="pt-BR" dirty="0" err="1"/>
              <a:t>eaque</a:t>
            </a:r>
            <a:r>
              <a:rPr lang="pt-BR" dirty="0"/>
              <a:t> </a:t>
            </a:r>
            <a:r>
              <a:rPr lang="pt-BR" dirty="0" err="1"/>
              <a:t>ipsa</a:t>
            </a:r>
            <a:r>
              <a:rPr lang="pt-BR" dirty="0"/>
              <a:t> </a:t>
            </a:r>
            <a:r>
              <a:rPr lang="pt-BR" dirty="0" err="1"/>
              <a:t>quae</a:t>
            </a:r>
            <a:r>
              <a:rPr lang="pt-BR" dirty="0"/>
              <a:t> </a:t>
            </a:r>
            <a:r>
              <a:rPr lang="pt-BR" dirty="0" err="1"/>
              <a:t>ab</a:t>
            </a:r>
            <a:r>
              <a:rPr lang="pt-BR" dirty="0"/>
              <a:t> </a:t>
            </a:r>
            <a:r>
              <a:rPr lang="pt-BR" dirty="0" err="1"/>
              <a:t>illo</a:t>
            </a:r>
            <a:r>
              <a:rPr lang="pt-BR" dirty="0"/>
              <a:t> </a:t>
            </a:r>
            <a:r>
              <a:rPr lang="pt-BR" dirty="0" err="1"/>
              <a:t>inventore</a:t>
            </a:r>
            <a:r>
              <a:rPr lang="pt-BR" dirty="0"/>
              <a:t> </a:t>
            </a:r>
            <a:r>
              <a:rPr lang="pt-BR" dirty="0" err="1"/>
              <a:t>veritatis</a:t>
            </a:r>
            <a:r>
              <a:rPr lang="pt-BR" dirty="0"/>
              <a:t> et </a:t>
            </a:r>
            <a:r>
              <a:rPr lang="pt-BR" dirty="0" err="1"/>
              <a:t>quasi</a:t>
            </a:r>
            <a:r>
              <a:rPr lang="pt-BR" dirty="0"/>
              <a:t> </a:t>
            </a:r>
            <a:r>
              <a:rPr lang="pt-BR" dirty="0" err="1"/>
              <a:t>architecto</a:t>
            </a:r>
            <a:r>
              <a:rPr lang="pt-BR" dirty="0"/>
              <a:t> </a:t>
            </a:r>
            <a:r>
              <a:rPr lang="pt-BR" dirty="0" err="1"/>
              <a:t>beatae</a:t>
            </a:r>
            <a:r>
              <a:rPr lang="pt-BR" dirty="0"/>
              <a:t> vitae </a:t>
            </a:r>
            <a:r>
              <a:rPr lang="pt-BR" dirty="0" err="1"/>
              <a:t>dicta</a:t>
            </a:r>
            <a:r>
              <a:rPr lang="pt-BR" dirty="0"/>
              <a:t> sunt </a:t>
            </a:r>
            <a:r>
              <a:rPr lang="pt-BR" dirty="0" err="1"/>
              <a:t>explicabo</a:t>
            </a:r>
            <a:r>
              <a:rPr lang="pt-BR" dirty="0"/>
              <a:t>. Nemo </a:t>
            </a:r>
            <a:r>
              <a:rPr lang="pt-BR" dirty="0" err="1"/>
              <a:t>enim</a:t>
            </a:r>
            <a:r>
              <a:rPr lang="pt-BR" dirty="0"/>
              <a:t> </a:t>
            </a:r>
            <a:r>
              <a:rPr lang="pt-BR" dirty="0" err="1"/>
              <a:t>ipsam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quia</a:t>
            </a:r>
            <a:r>
              <a:rPr lang="pt-BR" dirty="0"/>
              <a:t> </a:t>
            </a:r>
            <a:r>
              <a:rPr lang="pt-BR" dirty="0" err="1"/>
              <a:t>voluptas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spernatur</a:t>
            </a:r>
            <a:r>
              <a:rPr lang="pt-BR" dirty="0"/>
              <a:t> </a:t>
            </a:r>
            <a:r>
              <a:rPr lang="pt-BR" dirty="0" err="1"/>
              <a:t>aut</a:t>
            </a:r>
            <a:r>
              <a:rPr lang="pt-BR" dirty="0"/>
              <a:t> </a:t>
            </a:r>
            <a:r>
              <a:rPr lang="pt-BR" dirty="0" err="1"/>
              <a:t>odit</a:t>
            </a:r>
            <a:r>
              <a:rPr lang="pt-BR" dirty="0"/>
              <a:t> </a:t>
            </a:r>
            <a:r>
              <a:rPr lang="pt-BR" dirty="0" err="1"/>
              <a:t>aut</a:t>
            </a:r>
            <a:r>
              <a:rPr lang="pt-BR" dirty="0"/>
              <a:t> </a:t>
            </a:r>
            <a:r>
              <a:rPr lang="pt-BR" dirty="0" err="1"/>
              <a:t>fug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</a:t>
            </a:r>
            <a:r>
              <a:rPr lang="pt-BR" dirty="0" err="1"/>
              <a:t>quia</a:t>
            </a:r>
            <a:r>
              <a:rPr lang="pt-BR" dirty="0"/>
              <a:t> </a:t>
            </a:r>
            <a:r>
              <a:rPr lang="pt-BR" dirty="0" err="1"/>
              <a:t>consequuntur</a:t>
            </a:r>
            <a:r>
              <a:rPr lang="pt-BR" dirty="0"/>
              <a:t> </a:t>
            </a:r>
            <a:r>
              <a:rPr lang="pt-BR" dirty="0" err="1"/>
              <a:t>magni</a:t>
            </a:r>
            <a:r>
              <a:rPr lang="pt-BR" dirty="0"/>
              <a:t> </a:t>
            </a:r>
            <a:r>
              <a:rPr lang="pt-BR" dirty="0" err="1"/>
              <a:t>dolores</a:t>
            </a:r>
            <a:r>
              <a:rPr lang="pt-BR" dirty="0"/>
              <a:t> </a:t>
            </a:r>
            <a:r>
              <a:rPr lang="pt-BR" dirty="0" err="1"/>
              <a:t>eos</a:t>
            </a:r>
            <a:r>
              <a:rPr lang="pt-BR" dirty="0"/>
              <a:t> </a:t>
            </a:r>
            <a:r>
              <a:rPr lang="pt-BR" dirty="0" err="1"/>
              <a:t>qui</a:t>
            </a:r>
            <a:r>
              <a:rPr lang="pt-BR" dirty="0"/>
              <a:t> ratione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sequi</a:t>
            </a:r>
            <a:r>
              <a:rPr lang="pt-BR" dirty="0"/>
              <a:t> </a:t>
            </a:r>
            <a:r>
              <a:rPr lang="pt-BR" dirty="0" err="1"/>
              <a:t>nesciunt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67394313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Conteúdo 4">
            <a:extLst>
              <a:ext uri="{FF2B5EF4-FFF2-40B4-BE49-F238E27FC236}">
                <a16:creationId xmlns:a16="http://schemas.microsoft.com/office/drawing/2014/main" id="{58CE0749-B9E9-4BF8-8127-EE8A2C0A478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pt-BR" dirty="0"/>
              <a:t>Inserir aqui o título do slide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501EDD92-0E40-4914-9E83-7A02B0A8BEE7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pt-BR" dirty="0" err="1"/>
              <a:t>Sed</a:t>
            </a:r>
            <a:r>
              <a:rPr lang="pt-BR" dirty="0"/>
              <a:t> ut </a:t>
            </a:r>
            <a:r>
              <a:rPr lang="pt-BR" dirty="0" err="1"/>
              <a:t>perspiciatis</a:t>
            </a:r>
            <a:r>
              <a:rPr lang="pt-BR" dirty="0"/>
              <a:t> </a:t>
            </a:r>
            <a:r>
              <a:rPr lang="pt-BR" dirty="0" err="1"/>
              <a:t>unde</a:t>
            </a:r>
            <a:r>
              <a:rPr lang="pt-BR" dirty="0"/>
              <a:t> omnis </a:t>
            </a:r>
            <a:r>
              <a:rPr lang="pt-BR" dirty="0" err="1"/>
              <a:t>iste</a:t>
            </a:r>
            <a:r>
              <a:rPr lang="pt-BR" dirty="0"/>
              <a:t> </a:t>
            </a:r>
            <a:r>
              <a:rPr lang="pt-BR" dirty="0" err="1"/>
              <a:t>natus</a:t>
            </a:r>
            <a:r>
              <a:rPr lang="pt-BR" dirty="0"/>
              <a:t> </a:t>
            </a:r>
            <a:r>
              <a:rPr lang="pt-BR" dirty="0" err="1"/>
              <a:t>err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accusantium</a:t>
            </a:r>
            <a:r>
              <a:rPr lang="pt-BR" dirty="0"/>
              <a:t> </a:t>
            </a:r>
            <a:r>
              <a:rPr lang="pt-BR" dirty="0" err="1"/>
              <a:t>doloremque</a:t>
            </a:r>
            <a:r>
              <a:rPr lang="pt-BR" dirty="0"/>
              <a:t> </a:t>
            </a:r>
            <a:r>
              <a:rPr lang="pt-BR" dirty="0" err="1"/>
              <a:t>laudantium</a:t>
            </a:r>
            <a:r>
              <a:rPr lang="pt-BR" dirty="0"/>
              <a:t>, </a:t>
            </a:r>
            <a:r>
              <a:rPr lang="pt-BR" dirty="0" err="1"/>
              <a:t>totam</a:t>
            </a:r>
            <a:r>
              <a:rPr lang="pt-BR" dirty="0"/>
              <a:t> rem </a:t>
            </a:r>
            <a:r>
              <a:rPr lang="pt-BR" dirty="0" err="1"/>
              <a:t>aperiam</a:t>
            </a:r>
            <a:r>
              <a:rPr lang="pt-BR" dirty="0"/>
              <a:t>, </a:t>
            </a:r>
            <a:r>
              <a:rPr lang="pt-BR" dirty="0" err="1"/>
              <a:t>eaque</a:t>
            </a:r>
            <a:r>
              <a:rPr lang="pt-BR" dirty="0"/>
              <a:t> </a:t>
            </a:r>
            <a:r>
              <a:rPr lang="pt-BR" dirty="0" err="1"/>
              <a:t>ipsa</a:t>
            </a:r>
            <a:r>
              <a:rPr lang="pt-BR" dirty="0"/>
              <a:t> </a:t>
            </a:r>
            <a:r>
              <a:rPr lang="pt-BR" dirty="0" err="1"/>
              <a:t>quae</a:t>
            </a:r>
            <a:r>
              <a:rPr lang="pt-BR" dirty="0"/>
              <a:t> </a:t>
            </a:r>
            <a:r>
              <a:rPr lang="pt-BR" dirty="0" err="1"/>
              <a:t>ab</a:t>
            </a:r>
            <a:r>
              <a:rPr lang="pt-BR" dirty="0"/>
              <a:t> </a:t>
            </a:r>
            <a:r>
              <a:rPr lang="pt-BR" dirty="0" err="1"/>
              <a:t>illo</a:t>
            </a:r>
            <a:r>
              <a:rPr lang="pt-BR" dirty="0"/>
              <a:t> </a:t>
            </a:r>
            <a:r>
              <a:rPr lang="pt-BR" dirty="0" err="1"/>
              <a:t>inventore</a:t>
            </a:r>
            <a:r>
              <a:rPr lang="pt-BR" dirty="0"/>
              <a:t> </a:t>
            </a:r>
            <a:r>
              <a:rPr lang="pt-BR" dirty="0" err="1"/>
              <a:t>veritatis</a:t>
            </a:r>
            <a:r>
              <a:rPr lang="pt-BR" dirty="0"/>
              <a:t> et </a:t>
            </a:r>
            <a:r>
              <a:rPr lang="pt-BR" dirty="0" err="1"/>
              <a:t>quasi</a:t>
            </a:r>
            <a:r>
              <a:rPr lang="pt-BR" dirty="0"/>
              <a:t> </a:t>
            </a:r>
            <a:r>
              <a:rPr lang="pt-BR" dirty="0" err="1"/>
              <a:t>architecto</a:t>
            </a:r>
            <a:r>
              <a:rPr lang="pt-BR" dirty="0"/>
              <a:t> </a:t>
            </a:r>
            <a:r>
              <a:rPr lang="pt-BR" dirty="0" err="1"/>
              <a:t>beatae</a:t>
            </a:r>
            <a:r>
              <a:rPr lang="pt-BR" dirty="0"/>
              <a:t> vitae </a:t>
            </a:r>
            <a:r>
              <a:rPr lang="pt-BR" dirty="0" err="1"/>
              <a:t>dicta</a:t>
            </a:r>
            <a:r>
              <a:rPr lang="pt-BR" dirty="0"/>
              <a:t> sunt </a:t>
            </a:r>
            <a:r>
              <a:rPr lang="pt-BR" dirty="0" err="1"/>
              <a:t>explicabo</a:t>
            </a:r>
            <a:r>
              <a:rPr lang="pt-BR" dirty="0"/>
              <a:t>. Nemo </a:t>
            </a:r>
            <a:r>
              <a:rPr lang="pt-BR" dirty="0" err="1"/>
              <a:t>enim</a:t>
            </a:r>
            <a:r>
              <a:rPr lang="pt-BR" dirty="0"/>
              <a:t> </a:t>
            </a:r>
            <a:r>
              <a:rPr lang="pt-BR" dirty="0" err="1"/>
              <a:t>ipsam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quia</a:t>
            </a:r>
            <a:r>
              <a:rPr lang="pt-BR" dirty="0"/>
              <a:t> </a:t>
            </a:r>
            <a:r>
              <a:rPr lang="pt-BR" dirty="0" err="1"/>
              <a:t>voluptas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spernatur</a:t>
            </a:r>
            <a:r>
              <a:rPr lang="pt-BR" dirty="0"/>
              <a:t> </a:t>
            </a:r>
            <a:r>
              <a:rPr lang="pt-BR" dirty="0" err="1"/>
              <a:t>aut</a:t>
            </a:r>
            <a:r>
              <a:rPr lang="pt-BR" dirty="0"/>
              <a:t> </a:t>
            </a:r>
            <a:r>
              <a:rPr lang="pt-BR" dirty="0" err="1"/>
              <a:t>odit</a:t>
            </a:r>
            <a:r>
              <a:rPr lang="pt-BR" dirty="0"/>
              <a:t> </a:t>
            </a:r>
            <a:r>
              <a:rPr lang="pt-BR" dirty="0" err="1"/>
              <a:t>aut</a:t>
            </a:r>
            <a:r>
              <a:rPr lang="pt-BR" dirty="0"/>
              <a:t> </a:t>
            </a:r>
            <a:r>
              <a:rPr lang="pt-BR" dirty="0" err="1"/>
              <a:t>fug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</a:t>
            </a:r>
            <a:r>
              <a:rPr lang="pt-BR" dirty="0" err="1"/>
              <a:t>quia</a:t>
            </a:r>
            <a:r>
              <a:rPr lang="pt-BR" dirty="0"/>
              <a:t> </a:t>
            </a:r>
            <a:r>
              <a:rPr lang="pt-BR" dirty="0" err="1"/>
              <a:t>consequuntur</a:t>
            </a:r>
            <a:r>
              <a:rPr lang="pt-BR" dirty="0"/>
              <a:t> </a:t>
            </a:r>
            <a:r>
              <a:rPr lang="pt-BR" dirty="0" err="1"/>
              <a:t>magni</a:t>
            </a:r>
            <a:r>
              <a:rPr lang="pt-BR" dirty="0"/>
              <a:t> </a:t>
            </a:r>
            <a:r>
              <a:rPr lang="pt-BR" dirty="0" err="1"/>
              <a:t>dolores</a:t>
            </a:r>
            <a:r>
              <a:rPr lang="pt-BR" dirty="0"/>
              <a:t> </a:t>
            </a:r>
            <a:r>
              <a:rPr lang="pt-BR" dirty="0" err="1"/>
              <a:t>eos</a:t>
            </a:r>
            <a:r>
              <a:rPr lang="pt-BR" dirty="0"/>
              <a:t> </a:t>
            </a:r>
            <a:r>
              <a:rPr lang="pt-BR" dirty="0" err="1"/>
              <a:t>qui</a:t>
            </a:r>
            <a:r>
              <a:rPr lang="pt-BR" dirty="0"/>
              <a:t> ratione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sequi</a:t>
            </a:r>
            <a:r>
              <a:rPr lang="pt-BR" dirty="0"/>
              <a:t> </a:t>
            </a:r>
            <a:r>
              <a:rPr lang="pt-BR" dirty="0" err="1"/>
              <a:t>nesciunt</a:t>
            </a:r>
            <a:r>
              <a:rPr lang="pt-BR" dirty="0"/>
              <a:t>. </a:t>
            </a:r>
            <a:r>
              <a:rPr lang="pt-BR" dirty="0" err="1"/>
              <a:t>Sed</a:t>
            </a:r>
            <a:r>
              <a:rPr lang="pt-BR" dirty="0"/>
              <a:t> ut </a:t>
            </a:r>
            <a:r>
              <a:rPr lang="pt-BR" dirty="0" err="1"/>
              <a:t>perspiciatis</a:t>
            </a:r>
            <a:r>
              <a:rPr lang="pt-BR" dirty="0"/>
              <a:t> </a:t>
            </a:r>
            <a:r>
              <a:rPr lang="pt-BR" dirty="0" err="1"/>
              <a:t>unde</a:t>
            </a:r>
            <a:r>
              <a:rPr lang="pt-BR" dirty="0"/>
              <a:t> omnis </a:t>
            </a:r>
            <a:r>
              <a:rPr lang="pt-BR" dirty="0" err="1"/>
              <a:t>iste</a:t>
            </a:r>
            <a:r>
              <a:rPr lang="pt-BR" dirty="0"/>
              <a:t> </a:t>
            </a:r>
            <a:r>
              <a:rPr lang="pt-BR" dirty="0" err="1"/>
              <a:t>natus</a:t>
            </a:r>
            <a:r>
              <a:rPr lang="pt-BR" dirty="0"/>
              <a:t> </a:t>
            </a:r>
            <a:r>
              <a:rPr lang="pt-BR" dirty="0" err="1"/>
              <a:t>err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accusantium</a:t>
            </a:r>
            <a:r>
              <a:rPr lang="pt-BR" dirty="0"/>
              <a:t> </a:t>
            </a:r>
            <a:r>
              <a:rPr lang="pt-BR" dirty="0" err="1"/>
              <a:t>doloremque</a:t>
            </a:r>
            <a:r>
              <a:rPr lang="pt-BR" dirty="0"/>
              <a:t> </a:t>
            </a:r>
            <a:r>
              <a:rPr lang="pt-BR" dirty="0" err="1"/>
              <a:t>laudantium</a:t>
            </a:r>
            <a:r>
              <a:rPr lang="pt-BR" dirty="0"/>
              <a:t>, </a:t>
            </a:r>
            <a:r>
              <a:rPr lang="pt-BR" dirty="0" err="1"/>
              <a:t>totam</a:t>
            </a:r>
            <a:r>
              <a:rPr lang="pt-BR" dirty="0"/>
              <a:t> rem </a:t>
            </a:r>
            <a:r>
              <a:rPr lang="pt-BR" dirty="0" err="1"/>
              <a:t>aperiam</a:t>
            </a:r>
            <a:r>
              <a:rPr lang="pt-BR" dirty="0"/>
              <a:t>, </a:t>
            </a:r>
            <a:r>
              <a:rPr lang="pt-BR" dirty="0" err="1"/>
              <a:t>eaque</a:t>
            </a:r>
            <a:r>
              <a:rPr lang="pt-BR" dirty="0"/>
              <a:t> </a:t>
            </a:r>
            <a:r>
              <a:rPr lang="pt-BR" dirty="0" err="1"/>
              <a:t>ipsa</a:t>
            </a:r>
            <a:r>
              <a:rPr lang="pt-BR" dirty="0"/>
              <a:t> </a:t>
            </a:r>
            <a:r>
              <a:rPr lang="pt-BR" dirty="0" err="1"/>
              <a:t>quae</a:t>
            </a:r>
            <a:r>
              <a:rPr lang="pt-BR" dirty="0"/>
              <a:t> </a:t>
            </a:r>
            <a:r>
              <a:rPr lang="pt-BR" dirty="0" err="1"/>
              <a:t>ab</a:t>
            </a:r>
            <a:r>
              <a:rPr lang="pt-BR" dirty="0"/>
              <a:t> </a:t>
            </a:r>
            <a:r>
              <a:rPr lang="pt-BR" dirty="0" err="1"/>
              <a:t>illo</a:t>
            </a:r>
            <a:r>
              <a:rPr lang="pt-BR" dirty="0"/>
              <a:t> </a:t>
            </a:r>
            <a:r>
              <a:rPr lang="pt-BR" dirty="0" err="1"/>
              <a:t>inventore</a:t>
            </a:r>
            <a:r>
              <a:rPr lang="pt-BR" dirty="0"/>
              <a:t> </a:t>
            </a:r>
            <a:r>
              <a:rPr lang="pt-BR" dirty="0" err="1"/>
              <a:t>veritatis</a:t>
            </a:r>
            <a:r>
              <a:rPr lang="pt-BR" dirty="0"/>
              <a:t> et </a:t>
            </a:r>
            <a:r>
              <a:rPr lang="pt-BR" dirty="0" err="1"/>
              <a:t>quasi</a:t>
            </a:r>
            <a:r>
              <a:rPr lang="pt-BR" dirty="0"/>
              <a:t> </a:t>
            </a:r>
            <a:r>
              <a:rPr lang="pt-BR" dirty="0" err="1"/>
              <a:t>architecto</a:t>
            </a:r>
            <a:r>
              <a:rPr lang="pt-BR" dirty="0"/>
              <a:t> </a:t>
            </a:r>
            <a:r>
              <a:rPr lang="pt-BR" dirty="0" err="1"/>
              <a:t>beatae</a:t>
            </a:r>
            <a:r>
              <a:rPr lang="pt-BR" dirty="0"/>
              <a:t> vitae </a:t>
            </a:r>
            <a:r>
              <a:rPr lang="pt-BR" dirty="0" err="1"/>
              <a:t>dicta</a:t>
            </a:r>
            <a:r>
              <a:rPr lang="pt-BR" dirty="0"/>
              <a:t> sunt </a:t>
            </a:r>
            <a:r>
              <a:rPr lang="pt-BR" dirty="0" err="1"/>
              <a:t>explicabo</a:t>
            </a:r>
            <a:r>
              <a:rPr lang="pt-BR" dirty="0"/>
              <a:t>. Nemo </a:t>
            </a:r>
            <a:r>
              <a:rPr lang="pt-BR" dirty="0" err="1"/>
              <a:t>enim</a:t>
            </a:r>
            <a:r>
              <a:rPr lang="pt-BR" dirty="0"/>
              <a:t> </a:t>
            </a:r>
            <a:r>
              <a:rPr lang="pt-BR" dirty="0" err="1"/>
              <a:t>ipsam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quia</a:t>
            </a:r>
            <a:r>
              <a:rPr lang="pt-BR" dirty="0"/>
              <a:t> </a:t>
            </a:r>
            <a:r>
              <a:rPr lang="pt-BR" dirty="0" err="1"/>
              <a:t>voluptas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spernatur</a:t>
            </a:r>
            <a:r>
              <a:rPr lang="pt-BR" dirty="0"/>
              <a:t> </a:t>
            </a:r>
            <a:r>
              <a:rPr lang="pt-BR" dirty="0" err="1"/>
              <a:t>aut</a:t>
            </a:r>
            <a:r>
              <a:rPr lang="pt-BR" dirty="0"/>
              <a:t> </a:t>
            </a:r>
            <a:r>
              <a:rPr lang="pt-BR" dirty="0" err="1"/>
              <a:t>odit</a:t>
            </a:r>
            <a:r>
              <a:rPr lang="pt-BR" dirty="0"/>
              <a:t> </a:t>
            </a:r>
            <a:r>
              <a:rPr lang="pt-BR" dirty="0" err="1"/>
              <a:t>aut</a:t>
            </a:r>
            <a:r>
              <a:rPr lang="pt-BR" dirty="0"/>
              <a:t> </a:t>
            </a:r>
            <a:r>
              <a:rPr lang="pt-BR" dirty="0" err="1"/>
              <a:t>fug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</a:t>
            </a:r>
            <a:r>
              <a:rPr lang="pt-BR" dirty="0" err="1"/>
              <a:t>quia</a:t>
            </a:r>
            <a:r>
              <a:rPr lang="pt-BR" dirty="0"/>
              <a:t> </a:t>
            </a:r>
            <a:r>
              <a:rPr lang="pt-BR" dirty="0" err="1"/>
              <a:t>consequuntur</a:t>
            </a:r>
            <a:r>
              <a:rPr lang="pt-BR" dirty="0"/>
              <a:t> </a:t>
            </a:r>
            <a:r>
              <a:rPr lang="pt-BR" dirty="0" err="1"/>
              <a:t>magni</a:t>
            </a:r>
            <a:r>
              <a:rPr lang="pt-BR" dirty="0"/>
              <a:t> </a:t>
            </a:r>
            <a:r>
              <a:rPr lang="pt-BR" dirty="0" err="1"/>
              <a:t>dolores</a:t>
            </a:r>
            <a:r>
              <a:rPr lang="pt-BR" dirty="0"/>
              <a:t> </a:t>
            </a:r>
            <a:r>
              <a:rPr lang="pt-BR" dirty="0" err="1"/>
              <a:t>eos</a:t>
            </a:r>
            <a:r>
              <a:rPr lang="pt-BR" dirty="0"/>
              <a:t> </a:t>
            </a:r>
            <a:r>
              <a:rPr lang="pt-BR" dirty="0" err="1"/>
              <a:t>qui</a:t>
            </a:r>
            <a:r>
              <a:rPr lang="pt-BR" dirty="0"/>
              <a:t> ratione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sequi</a:t>
            </a:r>
            <a:r>
              <a:rPr lang="pt-BR" dirty="0"/>
              <a:t> </a:t>
            </a:r>
            <a:r>
              <a:rPr lang="pt-BR" dirty="0" err="1"/>
              <a:t>nesciunt</a:t>
            </a:r>
            <a:r>
              <a:rPr lang="pt-BR" dirty="0"/>
              <a:t>. </a:t>
            </a:r>
            <a:r>
              <a:rPr lang="pt-BR" dirty="0" err="1"/>
              <a:t>Sed</a:t>
            </a:r>
            <a:r>
              <a:rPr lang="pt-BR" dirty="0"/>
              <a:t> ut </a:t>
            </a:r>
            <a:r>
              <a:rPr lang="pt-BR" dirty="0" err="1"/>
              <a:t>perspiciatis</a:t>
            </a:r>
            <a:r>
              <a:rPr lang="pt-BR" dirty="0"/>
              <a:t> </a:t>
            </a:r>
            <a:r>
              <a:rPr lang="pt-BR" dirty="0" err="1"/>
              <a:t>unde</a:t>
            </a:r>
            <a:r>
              <a:rPr lang="pt-BR" dirty="0"/>
              <a:t> omnis </a:t>
            </a:r>
            <a:r>
              <a:rPr lang="pt-BR" dirty="0" err="1"/>
              <a:t>iste</a:t>
            </a:r>
            <a:r>
              <a:rPr lang="pt-BR" dirty="0"/>
              <a:t> </a:t>
            </a:r>
            <a:r>
              <a:rPr lang="pt-BR" dirty="0" err="1"/>
              <a:t>natus</a:t>
            </a:r>
            <a:r>
              <a:rPr lang="pt-BR" dirty="0"/>
              <a:t> </a:t>
            </a:r>
            <a:r>
              <a:rPr lang="pt-BR" dirty="0" err="1"/>
              <a:t>err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accusantium</a:t>
            </a:r>
            <a:r>
              <a:rPr lang="pt-BR" dirty="0"/>
              <a:t> </a:t>
            </a:r>
            <a:r>
              <a:rPr lang="pt-BR" dirty="0" err="1"/>
              <a:t>doloremque</a:t>
            </a:r>
            <a:r>
              <a:rPr lang="pt-BR" dirty="0"/>
              <a:t> </a:t>
            </a:r>
            <a:r>
              <a:rPr lang="pt-BR" dirty="0" err="1"/>
              <a:t>laudantium</a:t>
            </a:r>
            <a:r>
              <a:rPr lang="pt-BR" dirty="0"/>
              <a:t>, </a:t>
            </a:r>
            <a:r>
              <a:rPr lang="pt-BR" dirty="0" err="1"/>
              <a:t>totam</a:t>
            </a:r>
            <a:r>
              <a:rPr lang="pt-BR" dirty="0"/>
              <a:t> rem </a:t>
            </a:r>
            <a:r>
              <a:rPr lang="pt-BR" dirty="0" err="1"/>
              <a:t>aperiam</a:t>
            </a:r>
            <a:r>
              <a:rPr lang="pt-BR" dirty="0"/>
              <a:t>, </a:t>
            </a:r>
            <a:r>
              <a:rPr lang="pt-BR" dirty="0" err="1"/>
              <a:t>eaque</a:t>
            </a:r>
            <a:r>
              <a:rPr lang="pt-BR" dirty="0"/>
              <a:t> </a:t>
            </a:r>
            <a:r>
              <a:rPr lang="pt-BR" dirty="0" err="1"/>
              <a:t>ipsa</a:t>
            </a:r>
            <a:r>
              <a:rPr lang="pt-BR" dirty="0"/>
              <a:t> </a:t>
            </a:r>
            <a:r>
              <a:rPr lang="pt-BR" dirty="0" err="1"/>
              <a:t>quae</a:t>
            </a:r>
            <a:r>
              <a:rPr lang="pt-BR" dirty="0"/>
              <a:t> </a:t>
            </a:r>
            <a:r>
              <a:rPr lang="pt-BR" dirty="0" err="1"/>
              <a:t>ab</a:t>
            </a:r>
            <a:r>
              <a:rPr lang="pt-BR" dirty="0"/>
              <a:t> </a:t>
            </a:r>
            <a:r>
              <a:rPr lang="pt-BR" dirty="0" err="1"/>
              <a:t>illo</a:t>
            </a:r>
            <a:r>
              <a:rPr lang="pt-BR" dirty="0"/>
              <a:t> </a:t>
            </a:r>
            <a:r>
              <a:rPr lang="pt-BR" dirty="0" err="1"/>
              <a:t>inventore</a:t>
            </a:r>
            <a:r>
              <a:rPr lang="pt-BR" dirty="0"/>
              <a:t> </a:t>
            </a:r>
            <a:r>
              <a:rPr lang="pt-BR" dirty="0" err="1"/>
              <a:t>veritatis</a:t>
            </a:r>
            <a:r>
              <a:rPr lang="pt-BR" dirty="0"/>
              <a:t> et </a:t>
            </a:r>
            <a:r>
              <a:rPr lang="pt-BR" dirty="0" err="1"/>
              <a:t>quasi</a:t>
            </a:r>
            <a:r>
              <a:rPr lang="pt-BR" dirty="0"/>
              <a:t> </a:t>
            </a:r>
            <a:r>
              <a:rPr lang="pt-BR" dirty="0" err="1"/>
              <a:t>architecto</a:t>
            </a:r>
            <a:r>
              <a:rPr lang="pt-BR" dirty="0"/>
              <a:t> </a:t>
            </a:r>
            <a:r>
              <a:rPr lang="pt-BR" dirty="0" err="1"/>
              <a:t>beatae</a:t>
            </a:r>
            <a:r>
              <a:rPr lang="pt-BR" dirty="0"/>
              <a:t> vitae </a:t>
            </a:r>
            <a:r>
              <a:rPr lang="pt-BR" dirty="0" err="1"/>
              <a:t>dicta</a:t>
            </a:r>
            <a:r>
              <a:rPr lang="pt-BR" dirty="0"/>
              <a:t> sunt </a:t>
            </a:r>
            <a:r>
              <a:rPr lang="pt-BR" dirty="0" err="1"/>
              <a:t>explicabo</a:t>
            </a:r>
            <a:r>
              <a:rPr lang="pt-BR" dirty="0"/>
              <a:t>. Nemo </a:t>
            </a:r>
            <a:r>
              <a:rPr lang="pt-BR" dirty="0" err="1"/>
              <a:t>enim</a:t>
            </a:r>
            <a:r>
              <a:rPr lang="pt-BR" dirty="0"/>
              <a:t> </a:t>
            </a:r>
            <a:r>
              <a:rPr lang="pt-BR" dirty="0" err="1"/>
              <a:t>ipsam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quia</a:t>
            </a:r>
            <a:r>
              <a:rPr lang="pt-BR" dirty="0"/>
              <a:t> </a:t>
            </a:r>
            <a:r>
              <a:rPr lang="pt-BR" dirty="0" err="1"/>
              <a:t>voluptas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spernatur</a:t>
            </a:r>
            <a:r>
              <a:rPr lang="pt-BR" dirty="0"/>
              <a:t> </a:t>
            </a:r>
            <a:r>
              <a:rPr lang="pt-BR" dirty="0" err="1"/>
              <a:t>aut</a:t>
            </a:r>
            <a:r>
              <a:rPr lang="pt-BR" dirty="0"/>
              <a:t> </a:t>
            </a:r>
            <a:r>
              <a:rPr lang="pt-BR" dirty="0" err="1"/>
              <a:t>odit</a:t>
            </a:r>
            <a:r>
              <a:rPr lang="pt-BR" dirty="0"/>
              <a:t> </a:t>
            </a:r>
            <a:r>
              <a:rPr lang="pt-BR" dirty="0" err="1"/>
              <a:t>aut</a:t>
            </a:r>
            <a:r>
              <a:rPr lang="pt-BR" dirty="0"/>
              <a:t> </a:t>
            </a:r>
            <a:r>
              <a:rPr lang="pt-BR" dirty="0" err="1"/>
              <a:t>fug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</a:t>
            </a:r>
            <a:r>
              <a:rPr lang="pt-BR" dirty="0" err="1"/>
              <a:t>quia</a:t>
            </a:r>
            <a:r>
              <a:rPr lang="pt-BR" dirty="0"/>
              <a:t> </a:t>
            </a:r>
            <a:r>
              <a:rPr lang="pt-BR" dirty="0" err="1"/>
              <a:t>consequuntur</a:t>
            </a:r>
            <a:r>
              <a:rPr lang="pt-BR" dirty="0"/>
              <a:t> </a:t>
            </a:r>
            <a:r>
              <a:rPr lang="pt-BR" dirty="0" err="1"/>
              <a:t>magni</a:t>
            </a:r>
            <a:r>
              <a:rPr lang="pt-BR" dirty="0"/>
              <a:t> </a:t>
            </a:r>
            <a:r>
              <a:rPr lang="pt-BR" dirty="0" err="1"/>
              <a:t>dolores</a:t>
            </a:r>
            <a:r>
              <a:rPr lang="pt-BR" dirty="0"/>
              <a:t> </a:t>
            </a:r>
            <a:r>
              <a:rPr lang="pt-BR" dirty="0" err="1"/>
              <a:t>eos</a:t>
            </a:r>
            <a:r>
              <a:rPr lang="pt-BR" dirty="0"/>
              <a:t> </a:t>
            </a:r>
            <a:r>
              <a:rPr lang="pt-BR" dirty="0" err="1"/>
              <a:t>qui</a:t>
            </a:r>
            <a:r>
              <a:rPr lang="pt-BR" dirty="0"/>
              <a:t> ratione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sequi</a:t>
            </a:r>
            <a:r>
              <a:rPr lang="pt-BR" dirty="0"/>
              <a:t> </a:t>
            </a:r>
            <a:r>
              <a:rPr lang="pt-BR" dirty="0" err="1"/>
              <a:t>nesciunt</a:t>
            </a:r>
            <a:r>
              <a:rPr lang="pt-BR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414597344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Conteúdo 4">
            <a:extLst>
              <a:ext uri="{FF2B5EF4-FFF2-40B4-BE49-F238E27FC236}">
                <a16:creationId xmlns:a16="http://schemas.microsoft.com/office/drawing/2014/main" id="{58CE0749-B9E9-4BF8-8127-EE8A2C0A478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pt-BR" dirty="0"/>
              <a:t>Inserir aqui o título do slide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501EDD92-0E40-4914-9E83-7A02B0A8BEE7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pt-BR" dirty="0" err="1"/>
              <a:t>Sed</a:t>
            </a:r>
            <a:r>
              <a:rPr lang="pt-BR" dirty="0"/>
              <a:t> ut </a:t>
            </a:r>
            <a:r>
              <a:rPr lang="pt-BR" dirty="0" err="1"/>
              <a:t>perspiciatis</a:t>
            </a:r>
            <a:r>
              <a:rPr lang="pt-BR" dirty="0"/>
              <a:t> </a:t>
            </a:r>
            <a:r>
              <a:rPr lang="pt-BR" dirty="0" err="1"/>
              <a:t>unde</a:t>
            </a:r>
            <a:r>
              <a:rPr lang="pt-BR" dirty="0"/>
              <a:t> omnis </a:t>
            </a:r>
            <a:r>
              <a:rPr lang="pt-BR" dirty="0" err="1"/>
              <a:t>iste</a:t>
            </a:r>
            <a:r>
              <a:rPr lang="pt-BR" dirty="0"/>
              <a:t> </a:t>
            </a:r>
            <a:r>
              <a:rPr lang="pt-BR" dirty="0" err="1"/>
              <a:t>natus</a:t>
            </a:r>
            <a:r>
              <a:rPr lang="pt-BR" dirty="0"/>
              <a:t> </a:t>
            </a:r>
            <a:r>
              <a:rPr lang="pt-BR" dirty="0" err="1"/>
              <a:t>err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accusantium</a:t>
            </a:r>
            <a:r>
              <a:rPr lang="pt-BR" dirty="0"/>
              <a:t> </a:t>
            </a:r>
            <a:r>
              <a:rPr lang="pt-BR" dirty="0" err="1"/>
              <a:t>doloremque</a:t>
            </a:r>
            <a:r>
              <a:rPr lang="pt-BR" dirty="0"/>
              <a:t> </a:t>
            </a:r>
            <a:r>
              <a:rPr lang="pt-BR" dirty="0" err="1"/>
              <a:t>laudantium</a:t>
            </a:r>
            <a:r>
              <a:rPr lang="pt-BR" dirty="0"/>
              <a:t>, </a:t>
            </a:r>
            <a:r>
              <a:rPr lang="pt-BR" dirty="0" err="1"/>
              <a:t>totam</a:t>
            </a:r>
            <a:r>
              <a:rPr lang="pt-BR" dirty="0"/>
              <a:t> rem </a:t>
            </a:r>
            <a:r>
              <a:rPr lang="pt-BR" dirty="0" err="1"/>
              <a:t>aperiam</a:t>
            </a:r>
            <a:r>
              <a:rPr lang="pt-BR" dirty="0"/>
              <a:t>, </a:t>
            </a:r>
            <a:r>
              <a:rPr lang="pt-BR" dirty="0" err="1"/>
              <a:t>eaque</a:t>
            </a:r>
            <a:r>
              <a:rPr lang="pt-BR" dirty="0"/>
              <a:t> </a:t>
            </a:r>
            <a:r>
              <a:rPr lang="pt-BR" dirty="0" err="1"/>
              <a:t>ipsa</a:t>
            </a:r>
            <a:r>
              <a:rPr lang="pt-BR" dirty="0"/>
              <a:t> </a:t>
            </a:r>
            <a:r>
              <a:rPr lang="pt-BR" dirty="0" err="1"/>
              <a:t>quae</a:t>
            </a:r>
            <a:r>
              <a:rPr lang="pt-BR" dirty="0"/>
              <a:t> </a:t>
            </a:r>
            <a:r>
              <a:rPr lang="pt-BR" dirty="0" err="1"/>
              <a:t>ab</a:t>
            </a:r>
            <a:r>
              <a:rPr lang="pt-BR" dirty="0"/>
              <a:t> </a:t>
            </a:r>
            <a:r>
              <a:rPr lang="pt-BR" dirty="0" err="1"/>
              <a:t>illo</a:t>
            </a:r>
            <a:r>
              <a:rPr lang="pt-BR" dirty="0"/>
              <a:t> </a:t>
            </a:r>
            <a:r>
              <a:rPr lang="pt-BR" dirty="0" err="1"/>
              <a:t>inventore</a:t>
            </a:r>
            <a:r>
              <a:rPr lang="pt-BR" dirty="0"/>
              <a:t> </a:t>
            </a:r>
            <a:r>
              <a:rPr lang="pt-BR" dirty="0" err="1"/>
              <a:t>veritatis</a:t>
            </a:r>
            <a:r>
              <a:rPr lang="pt-BR" dirty="0"/>
              <a:t> et </a:t>
            </a:r>
            <a:r>
              <a:rPr lang="pt-BR" dirty="0" err="1"/>
              <a:t>quasi</a:t>
            </a:r>
            <a:r>
              <a:rPr lang="pt-BR" dirty="0"/>
              <a:t> </a:t>
            </a:r>
            <a:r>
              <a:rPr lang="pt-BR" dirty="0" err="1"/>
              <a:t>architecto</a:t>
            </a:r>
            <a:r>
              <a:rPr lang="pt-BR" dirty="0"/>
              <a:t> </a:t>
            </a:r>
            <a:r>
              <a:rPr lang="pt-BR" dirty="0" err="1"/>
              <a:t>beatae</a:t>
            </a:r>
            <a:r>
              <a:rPr lang="pt-BR" dirty="0"/>
              <a:t> vitae </a:t>
            </a:r>
            <a:r>
              <a:rPr lang="pt-BR" dirty="0" err="1"/>
              <a:t>dicta</a:t>
            </a:r>
            <a:r>
              <a:rPr lang="pt-BR" dirty="0"/>
              <a:t> sunt </a:t>
            </a:r>
            <a:r>
              <a:rPr lang="pt-BR" dirty="0" err="1"/>
              <a:t>explicabo</a:t>
            </a:r>
            <a:r>
              <a:rPr lang="pt-BR" dirty="0"/>
              <a:t>. Nemo </a:t>
            </a:r>
            <a:r>
              <a:rPr lang="pt-BR" dirty="0" err="1"/>
              <a:t>enim</a:t>
            </a:r>
            <a:r>
              <a:rPr lang="pt-BR" dirty="0"/>
              <a:t> </a:t>
            </a:r>
            <a:r>
              <a:rPr lang="pt-BR" dirty="0" err="1"/>
              <a:t>ipsam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quia</a:t>
            </a:r>
            <a:r>
              <a:rPr lang="pt-BR" dirty="0"/>
              <a:t> </a:t>
            </a:r>
            <a:r>
              <a:rPr lang="pt-BR" dirty="0" err="1"/>
              <a:t>voluptas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spernatur</a:t>
            </a:r>
            <a:r>
              <a:rPr lang="pt-BR" dirty="0"/>
              <a:t> </a:t>
            </a:r>
            <a:r>
              <a:rPr lang="pt-BR" dirty="0" err="1"/>
              <a:t>aut</a:t>
            </a:r>
            <a:r>
              <a:rPr lang="pt-BR" dirty="0"/>
              <a:t> </a:t>
            </a:r>
            <a:r>
              <a:rPr lang="pt-BR" dirty="0" err="1"/>
              <a:t>odit</a:t>
            </a:r>
            <a:r>
              <a:rPr lang="pt-BR" dirty="0"/>
              <a:t> </a:t>
            </a:r>
            <a:r>
              <a:rPr lang="pt-BR" dirty="0" err="1"/>
              <a:t>aut</a:t>
            </a:r>
            <a:r>
              <a:rPr lang="pt-BR" dirty="0"/>
              <a:t> </a:t>
            </a:r>
            <a:r>
              <a:rPr lang="pt-BR" dirty="0" err="1"/>
              <a:t>fug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</a:t>
            </a:r>
            <a:r>
              <a:rPr lang="pt-BR" dirty="0" err="1"/>
              <a:t>quia</a:t>
            </a:r>
            <a:r>
              <a:rPr lang="pt-BR" dirty="0"/>
              <a:t> </a:t>
            </a:r>
            <a:r>
              <a:rPr lang="pt-BR" dirty="0" err="1"/>
              <a:t>consequuntur</a:t>
            </a:r>
            <a:r>
              <a:rPr lang="pt-BR" dirty="0"/>
              <a:t> </a:t>
            </a:r>
            <a:r>
              <a:rPr lang="pt-BR" dirty="0" err="1"/>
              <a:t>magni</a:t>
            </a:r>
            <a:r>
              <a:rPr lang="pt-BR" dirty="0"/>
              <a:t> </a:t>
            </a:r>
            <a:r>
              <a:rPr lang="pt-BR" dirty="0" err="1"/>
              <a:t>dolores</a:t>
            </a:r>
            <a:r>
              <a:rPr lang="pt-BR" dirty="0"/>
              <a:t> </a:t>
            </a:r>
            <a:r>
              <a:rPr lang="pt-BR" dirty="0" err="1"/>
              <a:t>eos</a:t>
            </a:r>
            <a:r>
              <a:rPr lang="pt-BR" dirty="0"/>
              <a:t> </a:t>
            </a:r>
            <a:r>
              <a:rPr lang="pt-BR" dirty="0" err="1"/>
              <a:t>qui</a:t>
            </a:r>
            <a:r>
              <a:rPr lang="pt-BR" dirty="0"/>
              <a:t> ratione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sequi</a:t>
            </a:r>
            <a:r>
              <a:rPr lang="pt-BR" dirty="0"/>
              <a:t> </a:t>
            </a:r>
            <a:r>
              <a:rPr lang="pt-BR" dirty="0" err="1"/>
              <a:t>nesciunt</a:t>
            </a:r>
            <a:r>
              <a:rPr lang="pt-BR" dirty="0"/>
              <a:t>. </a:t>
            </a:r>
          </a:p>
          <a:p>
            <a:pPr lvl="1"/>
            <a:r>
              <a:rPr lang="pt-BR" dirty="0"/>
              <a:t>Item 01</a:t>
            </a:r>
          </a:p>
          <a:p>
            <a:pPr lvl="1"/>
            <a:r>
              <a:rPr lang="pt-BR" dirty="0"/>
              <a:t>Item 02</a:t>
            </a:r>
          </a:p>
          <a:p>
            <a:pPr lvl="1"/>
            <a:r>
              <a:rPr lang="pt-BR" dirty="0"/>
              <a:t>Item 03</a:t>
            </a:r>
          </a:p>
          <a:p>
            <a:pPr lvl="1"/>
            <a:r>
              <a:rPr lang="pt-BR" dirty="0"/>
              <a:t>Item 04</a:t>
            </a:r>
          </a:p>
          <a:p>
            <a:r>
              <a:rPr lang="pt-BR" dirty="0" err="1"/>
              <a:t>Sed</a:t>
            </a:r>
            <a:r>
              <a:rPr lang="pt-BR" dirty="0"/>
              <a:t> ut </a:t>
            </a:r>
            <a:r>
              <a:rPr lang="pt-BR" dirty="0" err="1"/>
              <a:t>perspiciatis</a:t>
            </a:r>
            <a:r>
              <a:rPr lang="pt-BR" dirty="0"/>
              <a:t> </a:t>
            </a:r>
            <a:r>
              <a:rPr lang="pt-BR" dirty="0" err="1"/>
              <a:t>unde</a:t>
            </a:r>
            <a:r>
              <a:rPr lang="pt-BR" dirty="0"/>
              <a:t> omnis </a:t>
            </a:r>
            <a:r>
              <a:rPr lang="pt-BR" dirty="0" err="1"/>
              <a:t>iste</a:t>
            </a:r>
            <a:r>
              <a:rPr lang="pt-BR" dirty="0"/>
              <a:t> </a:t>
            </a:r>
            <a:r>
              <a:rPr lang="pt-BR" dirty="0" err="1"/>
              <a:t>natus</a:t>
            </a:r>
            <a:r>
              <a:rPr lang="pt-BR" dirty="0"/>
              <a:t> </a:t>
            </a:r>
            <a:r>
              <a:rPr lang="pt-BR" dirty="0" err="1"/>
              <a:t>err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accusantium</a:t>
            </a:r>
            <a:r>
              <a:rPr lang="pt-BR" dirty="0"/>
              <a:t> </a:t>
            </a:r>
            <a:r>
              <a:rPr lang="pt-BR" dirty="0" err="1"/>
              <a:t>doloremque</a:t>
            </a:r>
            <a:r>
              <a:rPr lang="pt-BR" dirty="0"/>
              <a:t> </a:t>
            </a:r>
            <a:r>
              <a:rPr lang="pt-BR" dirty="0" err="1"/>
              <a:t>laudantium</a:t>
            </a:r>
            <a:r>
              <a:rPr lang="pt-BR" dirty="0"/>
              <a:t>, </a:t>
            </a:r>
            <a:r>
              <a:rPr lang="pt-BR" dirty="0" err="1"/>
              <a:t>totam</a:t>
            </a:r>
            <a:r>
              <a:rPr lang="pt-BR" dirty="0"/>
              <a:t> rem </a:t>
            </a:r>
            <a:r>
              <a:rPr lang="pt-BR" dirty="0" err="1"/>
              <a:t>aperiam</a:t>
            </a:r>
            <a:r>
              <a:rPr lang="pt-BR" dirty="0"/>
              <a:t>, </a:t>
            </a:r>
            <a:r>
              <a:rPr lang="pt-BR" dirty="0" err="1"/>
              <a:t>eaque</a:t>
            </a:r>
            <a:r>
              <a:rPr lang="pt-BR" dirty="0"/>
              <a:t> </a:t>
            </a:r>
            <a:r>
              <a:rPr lang="pt-BR" dirty="0" err="1"/>
              <a:t>ipsa</a:t>
            </a:r>
            <a:r>
              <a:rPr lang="pt-BR" dirty="0"/>
              <a:t> </a:t>
            </a:r>
            <a:r>
              <a:rPr lang="pt-BR" dirty="0" err="1"/>
              <a:t>quae</a:t>
            </a:r>
            <a:r>
              <a:rPr lang="pt-BR" dirty="0"/>
              <a:t> </a:t>
            </a:r>
            <a:r>
              <a:rPr lang="pt-BR" dirty="0" err="1"/>
              <a:t>ab</a:t>
            </a:r>
            <a:r>
              <a:rPr lang="pt-BR" dirty="0"/>
              <a:t> </a:t>
            </a:r>
            <a:r>
              <a:rPr lang="pt-BR" dirty="0" err="1"/>
              <a:t>illo</a:t>
            </a:r>
            <a:r>
              <a:rPr lang="pt-BR" dirty="0"/>
              <a:t> </a:t>
            </a:r>
            <a:r>
              <a:rPr lang="pt-BR" dirty="0" err="1"/>
              <a:t>inventore</a:t>
            </a:r>
            <a:r>
              <a:rPr lang="pt-BR" dirty="0"/>
              <a:t> </a:t>
            </a:r>
            <a:r>
              <a:rPr lang="pt-BR" dirty="0" err="1"/>
              <a:t>veritatis</a:t>
            </a:r>
            <a:r>
              <a:rPr lang="pt-BR" dirty="0"/>
              <a:t> et </a:t>
            </a:r>
            <a:r>
              <a:rPr lang="pt-BR" dirty="0" err="1"/>
              <a:t>quasi</a:t>
            </a:r>
            <a:r>
              <a:rPr lang="pt-BR" dirty="0"/>
              <a:t> </a:t>
            </a:r>
            <a:r>
              <a:rPr lang="pt-BR" dirty="0" err="1"/>
              <a:t>architecto</a:t>
            </a:r>
            <a:r>
              <a:rPr lang="pt-BR" dirty="0"/>
              <a:t> </a:t>
            </a:r>
            <a:r>
              <a:rPr lang="pt-BR" dirty="0" err="1"/>
              <a:t>beatae</a:t>
            </a:r>
            <a:r>
              <a:rPr lang="pt-BR" dirty="0"/>
              <a:t> vitae </a:t>
            </a:r>
            <a:r>
              <a:rPr lang="pt-BR" dirty="0" err="1"/>
              <a:t>dicta</a:t>
            </a:r>
            <a:r>
              <a:rPr lang="pt-BR" dirty="0"/>
              <a:t> sunt </a:t>
            </a:r>
            <a:r>
              <a:rPr lang="pt-BR" dirty="0" err="1"/>
              <a:t>explicabo</a:t>
            </a:r>
            <a:r>
              <a:rPr lang="pt-BR" dirty="0"/>
              <a:t>. Nemo </a:t>
            </a:r>
            <a:r>
              <a:rPr lang="pt-BR" dirty="0" err="1"/>
              <a:t>enim</a:t>
            </a:r>
            <a:r>
              <a:rPr lang="pt-BR" dirty="0"/>
              <a:t> </a:t>
            </a:r>
            <a:r>
              <a:rPr lang="pt-BR" dirty="0" err="1"/>
              <a:t>ipsam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quia</a:t>
            </a:r>
            <a:r>
              <a:rPr lang="pt-BR" dirty="0"/>
              <a:t> </a:t>
            </a:r>
            <a:r>
              <a:rPr lang="pt-BR" dirty="0" err="1"/>
              <a:t>voluptas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spernatur</a:t>
            </a:r>
            <a:r>
              <a:rPr lang="pt-BR" dirty="0"/>
              <a:t> </a:t>
            </a:r>
            <a:r>
              <a:rPr lang="pt-BR" dirty="0" err="1"/>
              <a:t>aut</a:t>
            </a:r>
            <a:r>
              <a:rPr lang="pt-BR" dirty="0"/>
              <a:t> </a:t>
            </a:r>
            <a:r>
              <a:rPr lang="pt-BR" dirty="0" err="1"/>
              <a:t>odit</a:t>
            </a:r>
            <a:r>
              <a:rPr lang="pt-BR" dirty="0"/>
              <a:t> </a:t>
            </a:r>
            <a:r>
              <a:rPr lang="pt-BR" dirty="0" err="1"/>
              <a:t>aut</a:t>
            </a:r>
            <a:r>
              <a:rPr lang="pt-BR" dirty="0"/>
              <a:t> </a:t>
            </a:r>
            <a:r>
              <a:rPr lang="pt-BR" dirty="0" err="1"/>
              <a:t>fug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</a:t>
            </a:r>
            <a:r>
              <a:rPr lang="pt-BR" dirty="0" err="1"/>
              <a:t>quia</a:t>
            </a:r>
            <a:r>
              <a:rPr lang="pt-BR" dirty="0"/>
              <a:t> </a:t>
            </a:r>
            <a:r>
              <a:rPr lang="pt-BR" dirty="0" err="1"/>
              <a:t>consequuntur</a:t>
            </a:r>
            <a:r>
              <a:rPr lang="pt-BR" dirty="0"/>
              <a:t> </a:t>
            </a:r>
            <a:r>
              <a:rPr lang="pt-BR" dirty="0" err="1"/>
              <a:t>magni</a:t>
            </a:r>
            <a:r>
              <a:rPr lang="pt-BR" dirty="0"/>
              <a:t> </a:t>
            </a:r>
            <a:r>
              <a:rPr lang="pt-BR" dirty="0" err="1"/>
              <a:t>dolores</a:t>
            </a:r>
            <a:r>
              <a:rPr lang="pt-BR" dirty="0"/>
              <a:t> </a:t>
            </a:r>
            <a:r>
              <a:rPr lang="pt-BR" dirty="0" err="1"/>
              <a:t>eos</a:t>
            </a:r>
            <a:r>
              <a:rPr lang="pt-BR" dirty="0"/>
              <a:t> </a:t>
            </a:r>
            <a:r>
              <a:rPr lang="pt-BR" dirty="0" err="1"/>
              <a:t>qui</a:t>
            </a:r>
            <a:r>
              <a:rPr lang="pt-BR" dirty="0"/>
              <a:t> ratione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sequi</a:t>
            </a:r>
            <a:r>
              <a:rPr lang="pt-BR" dirty="0"/>
              <a:t> </a:t>
            </a:r>
            <a:r>
              <a:rPr lang="pt-BR" dirty="0" err="1"/>
              <a:t>nesciunt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40987333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Espaço Reservado para Imagem 9" descr="Piscina com árvores ao fundo&#10;&#10;Descrição gerada automaticamente">
            <a:extLst>
              <a:ext uri="{FF2B5EF4-FFF2-40B4-BE49-F238E27FC236}">
                <a16:creationId xmlns:a16="http://schemas.microsoft.com/office/drawing/2014/main" id="{A22582E9-22E3-414F-BE9F-3249A5665F0B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1742BCBE-A93E-4759-8874-612123BF23C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pt-BR" dirty="0"/>
              <a:t>Inserir texto descritivo</a:t>
            </a:r>
          </a:p>
        </p:txBody>
      </p:sp>
      <p:sp>
        <p:nvSpPr>
          <p:cNvPr id="7" name="Espaço Reservado para Conteúdo 6">
            <a:extLst>
              <a:ext uri="{FF2B5EF4-FFF2-40B4-BE49-F238E27FC236}">
                <a16:creationId xmlns:a16="http://schemas.microsoft.com/office/drawing/2014/main" id="{3772F5C0-993B-44CE-8CAF-A9A47D1DB344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pt-BR" dirty="0"/>
              <a:t>Inserir texto descritivo</a:t>
            </a:r>
          </a:p>
        </p:txBody>
      </p:sp>
      <p:sp>
        <p:nvSpPr>
          <p:cNvPr id="8" name="Elipse 7">
            <a:extLst>
              <a:ext uri="{FF2B5EF4-FFF2-40B4-BE49-F238E27FC236}">
                <a16:creationId xmlns:a16="http://schemas.microsoft.com/office/drawing/2014/main" id="{09A298BC-ED41-4159-AE54-DE9DEBA8F361}"/>
              </a:ext>
            </a:extLst>
          </p:cNvPr>
          <p:cNvSpPr/>
          <p:nvPr/>
        </p:nvSpPr>
        <p:spPr>
          <a:xfrm>
            <a:off x="2489199" y="2673350"/>
            <a:ext cx="1511300" cy="1511300"/>
          </a:xfrm>
          <a:prstGeom prst="ellipse">
            <a:avLst/>
          </a:prstGeom>
          <a:solidFill>
            <a:srgbClr val="D6D6CE"/>
          </a:solidFill>
          <a:ln w="57150">
            <a:solidFill>
              <a:srgbClr val="263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Elipse 8">
            <a:extLst>
              <a:ext uri="{FF2B5EF4-FFF2-40B4-BE49-F238E27FC236}">
                <a16:creationId xmlns:a16="http://schemas.microsoft.com/office/drawing/2014/main" id="{CC3F09C1-9466-411E-886F-B9C86C7D4065}"/>
              </a:ext>
            </a:extLst>
          </p:cNvPr>
          <p:cNvSpPr/>
          <p:nvPr/>
        </p:nvSpPr>
        <p:spPr>
          <a:xfrm>
            <a:off x="8191503" y="2673350"/>
            <a:ext cx="1511300" cy="1511300"/>
          </a:xfrm>
          <a:prstGeom prst="ellipse">
            <a:avLst/>
          </a:prstGeom>
          <a:solidFill>
            <a:srgbClr val="D6D6CE"/>
          </a:solidFill>
          <a:ln w="57150">
            <a:solidFill>
              <a:srgbClr val="263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14" name="Gráfico 12">
            <a:extLst>
              <a:ext uri="{FF2B5EF4-FFF2-40B4-BE49-F238E27FC236}">
                <a16:creationId xmlns:a16="http://schemas.microsoft.com/office/drawing/2014/main" id="{60C10F9F-920C-45EB-AB4E-68DAE2783126}"/>
              </a:ext>
            </a:extLst>
          </p:cNvPr>
          <p:cNvGrpSpPr/>
          <p:nvPr/>
        </p:nvGrpSpPr>
        <p:grpSpPr>
          <a:xfrm>
            <a:off x="2917189" y="3095557"/>
            <a:ext cx="666886" cy="666886"/>
            <a:chOff x="3657600" y="4526280"/>
            <a:chExt cx="1341120" cy="1341120"/>
          </a:xfrm>
          <a:solidFill>
            <a:srgbClr val="263143"/>
          </a:solidFill>
        </p:grpSpPr>
        <p:sp>
          <p:nvSpPr>
            <p:cNvPr id="15" name="Forma Livre: Forma 14">
              <a:extLst>
                <a:ext uri="{FF2B5EF4-FFF2-40B4-BE49-F238E27FC236}">
                  <a16:creationId xmlns:a16="http://schemas.microsoft.com/office/drawing/2014/main" id="{8CA57B81-ABEE-4562-BAF8-09446FED8AF1}"/>
                </a:ext>
              </a:extLst>
            </p:cNvPr>
            <p:cNvSpPr/>
            <p:nvPr/>
          </p:nvSpPr>
          <p:spPr>
            <a:xfrm>
              <a:off x="3976139" y="4694902"/>
              <a:ext cx="999071" cy="742920"/>
            </a:xfrm>
            <a:custGeom>
              <a:avLst/>
              <a:gdLst>
                <a:gd name="connsiteX0" fmla="*/ 304872 w 999071"/>
                <a:gd name="connsiteY0" fmla="*/ 742920 h 742920"/>
                <a:gd name="connsiteX1" fmla="*/ 303824 w 999071"/>
                <a:gd name="connsiteY1" fmla="*/ 742920 h 742920"/>
                <a:gd name="connsiteX2" fmla="*/ 267677 w 999071"/>
                <a:gd name="connsiteY2" fmla="*/ 726680 h 742920"/>
                <a:gd name="connsiteX3" fmla="*/ 13335 w 999071"/>
                <a:gd name="connsiteY3" fmla="*/ 450336 h 742920"/>
                <a:gd name="connsiteX4" fmla="*/ 16217 w 999071"/>
                <a:gd name="connsiteY4" fmla="*/ 378827 h 742920"/>
                <a:gd name="connsiteX5" fmla="*/ 87725 w 999071"/>
                <a:gd name="connsiteY5" fmla="*/ 381708 h 742920"/>
                <a:gd name="connsiteX6" fmla="*/ 306443 w 999071"/>
                <a:gd name="connsiteY6" fmla="*/ 619286 h 742920"/>
                <a:gd name="connsiteX7" fmla="*/ 912829 w 999071"/>
                <a:gd name="connsiteY7" fmla="*/ 14734 h 742920"/>
                <a:gd name="connsiteX8" fmla="*/ 984338 w 999071"/>
                <a:gd name="connsiteY8" fmla="*/ 14734 h 742920"/>
                <a:gd name="connsiteX9" fmla="*/ 984338 w 999071"/>
                <a:gd name="connsiteY9" fmla="*/ 86243 h 742920"/>
                <a:gd name="connsiteX10" fmla="*/ 340495 w 999071"/>
                <a:gd name="connsiteY10" fmla="*/ 728252 h 742920"/>
                <a:gd name="connsiteX11" fmla="*/ 304872 w 999071"/>
                <a:gd name="connsiteY11" fmla="*/ 742920 h 742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99071" h="742920">
                  <a:moveTo>
                    <a:pt x="304872" y="742920"/>
                  </a:moveTo>
                  <a:cubicBezTo>
                    <a:pt x="304610" y="742920"/>
                    <a:pt x="304086" y="742920"/>
                    <a:pt x="303824" y="742920"/>
                  </a:cubicBezTo>
                  <a:cubicBezTo>
                    <a:pt x="290203" y="742658"/>
                    <a:pt x="277106" y="736634"/>
                    <a:pt x="267677" y="726680"/>
                  </a:cubicBezTo>
                  <a:lnTo>
                    <a:pt x="13335" y="450336"/>
                  </a:lnTo>
                  <a:cubicBezTo>
                    <a:pt x="-5524" y="429905"/>
                    <a:pt x="-4215" y="397949"/>
                    <a:pt x="16217" y="378827"/>
                  </a:cubicBezTo>
                  <a:cubicBezTo>
                    <a:pt x="36648" y="359968"/>
                    <a:pt x="68604" y="361277"/>
                    <a:pt x="87725" y="381708"/>
                  </a:cubicBezTo>
                  <a:lnTo>
                    <a:pt x="306443" y="619286"/>
                  </a:lnTo>
                  <a:lnTo>
                    <a:pt x="912829" y="14734"/>
                  </a:lnTo>
                  <a:cubicBezTo>
                    <a:pt x="932474" y="-4911"/>
                    <a:pt x="964692" y="-4911"/>
                    <a:pt x="984338" y="14734"/>
                  </a:cubicBezTo>
                  <a:cubicBezTo>
                    <a:pt x="1003983" y="34379"/>
                    <a:pt x="1003983" y="66598"/>
                    <a:pt x="984338" y="86243"/>
                  </a:cubicBezTo>
                  <a:lnTo>
                    <a:pt x="340495" y="728252"/>
                  </a:lnTo>
                  <a:cubicBezTo>
                    <a:pt x="331065" y="737682"/>
                    <a:pt x="318231" y="742920"/>
                    <a:pt x="304872" y="742920"/>
                  </a:cubicBezTo>
                  <a:close/>
                </a:path>
              </a:pathLst>
            </a:custGeom>
            <a:grpFill/>
            <a:ln w="26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6" name="Forma Livre: Forma 15">
              <a:extLst>
                <a:ext uri="{FF2B5EF4-FFF2-40B4-BE49-F238E27FC236}">
                  <a16:creationId xmlns:a16="http://schemas.microsoft.com/office/drawing/2014/main" id="{F3B83BD0-F837-41AA-9702-E660815E98D8}"/>
                </a:ext>
              </a:extLst>
            </p:cNvPr>
            <p:cNvSpPr/>
            <p:nvPr/>
          </p:nvSpPr>
          <p:spPr>
            <a:xfrm>
              <a:off x="3657600" y="4526280"/>
              <a:ext cx="1341120" cy="1341120"/>
            </a:xfrm>
            <a:custGeom>
              <a:avLst/>
              <a:gdLst>
                <a:gd name="connsiteX0" fmla="*/ 670560 w 1341120"/>
                <a:gd name="connsiteY0" fmla="*/ 1341120 h 1341120"/>
                <a:gd name="connsiteX1" fmla="*/ 0 w 1341120"/>
                <a:gd name="connsiteY1" fmla="*/ 670560 h 1341120"/>
                <a:gd name="connsiteX2" fmla="*/ 670560 w 1341120"/>
                <a:gd name="connsiteY2" fmla="*/ 0 h 1341120"/>
                <a:gd name="connsiteX3" fmla="*/ 721114 w 1341120"/>
                <a:gd name="connsiteY3" fmla="*/ 50554 h 1341120"/>
                <a:gd name="connsiteX4" fmla="*/ 670560 w 1341120"/>
                <a:gd name="connsiteY4" fmla="*/ 101108 h 1341120"/>
                <a:gd name="connsiteX5" fmla="*/ 101108 w 1341120"/>
                <a:gd name="connsiteY5" fmla="*/ 670560 h 1341120"/>
                <a:gd name="connsiteX6" fmla="*/ 670560 w 1341120"/>
                <a:gd name="connsiteY6" fmla="*/ 1240012 h 1341120"/>
                <a:gd name="connsiteX7" fmla="*/ 1240012 w 1341120"/>
                <a:gd name="connsiteY7" fmla="*/ 670560 h 1341120"/>
                <a:gd name="connsiteX8" fmla="*/ 1290566 w 1341120"/>
                <a:gd name="connsiteY8" fmla="*/ 620006 h 1341120"/>
                <a:gd name="connsiteX9" fmla="*/ 1341120 w 1341120"/>
                <a:gd name="connsiteY9" fmla="*/ 670560 h 1341120"/>
                <a:gd name="connsiteX10" fmla="*/ 670560 w 1341120"/>
                <a:gd name="connsiteY10" fmla="*/ 1341120 h 1341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41120" h="1341120">
                  <a:moveTo>
                    <a:pt x="670560" y="1341120"/>
                  </a:moveTo>
                  <a:cubicBezTo>
                    <a:pt x="300704" y="1341120"/>
                    <a:pt x="0" y="1040416"/>
                    <a:pt x="0" y="670560"/>
                  </a:cubicBezTo>
                  <a:cubicBezTo>
                    <a:pt x="0" y="300704"/>
                    <a:pt x="300704" y="0"/>
                    <a:pt x="670560" y="0"/>
                  </a:cubicBezTo>
                  <a:cubicBezTo>
                    <a:pt x="698587" y="0"/>
                    <a:pt x="721114" y="22527"/>
                    <a:pt x="721114" y="50554"/>
                  </a:cubicBezTo>
                  <a:cubicBezTo>
                    <a:pt x="721114" y="78581"/>
                    <a:pt x="698587" y="101108"/>
                    <a:pt x="670560" y="101108"/>
                  </a:cubicBezTo>
                  <a:cubicBezTo>
                    <a:pt x="356497" y="101108"/>
                    <a:pt x="101108" y="356497"/>
                    <a:pt x="101108" y="670560"/>
                  </a:cubicBezTo>
                  <a:cubicBezTo>
                    <a:pt x="101108" y="984623"/>
                    <a:pt x="356497" y="1240012"/>
                    <a:pt x="670560" y="1240012"/>
                  </a:cubicBezTo>
                  <a:cubicBezTo>
                    <a:pt x="984623" y="1240012"/>
                    <a:pt x="1240012" y="984623"/>
                    <a:pt x="1240012" y="670560"/>
                  </a:cubicBezTo>
                  <a:cubicBezTo>
                    <a:pt x="1240012" y="642533"/>
                    <a:pt x="1262539" y="620006"/>
                    <a:pt x="1290566" y="620006"/>
                  </a:cubicBezTo>
                  <a:cubicBezTo>
                    <a:pt x="1318593" y="620006"/>
                    <a:pt x="1341120" y="642533"/>
                    <a:pt x="1341120" y="670560"/>
                  </a:cubicBezTo>
                  <a:cubicBezTo>
                    <a:pt x="1341120" y="1040416"/>
                    <a:pt x="1040416" y="1341120"/>
                    <a:pt x="670560" y="1341120"/>
                  </a:cubicBezTo>
                  <a:close/>
                </a:path>
              </a:pathLst>
            </a:custGeom>
            <a:grpFill/>
            <a:ln w="26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sp>
        <p:nvSpPr>
          <p:cNvPr id="18" name="Gráfico 16">
            <a:extLst>
              <a:ext uri="{FF2B5EF4-FFF2-40B4-BE49-F238E27FC236}">
                <a16:creationId xmlns:a16="http://schemas.microsoft.com/office/drawing/2014/main" id="{A9F21652-79A1-4876-8130-9004501B1D38}"/>
              </a:ext>
            </a:extLst>
          </p:cNvPr>
          <p:cNvSpPr/>
          <p:nvPr/>
        </p:nvSpPr>
        <p:spPr>
          <a:xfrm>
            <a:off x="8622417" y="3072896"/>
            <a:ext cx="666886" cy="665988"/>
          </a:xfrm>
          <a:custGeom>
            <a:avLst/>
            <a:gdLst>
              <a:gd name="connsiteX0" fmla="*/ 849797 w 3656809"/>
              <a:gd name="connsiteY0" fmla="*/ 2335530 h 3651884"/>
              <a:gd name="connsiteX1" fmla="*/ 656440 w 3656809"/>
              <a:gd name="connsiteY1" fmla="*/ 3519488 h 3651884"/>
              <a:gd name="connsiteX2" fmla="*/ 703112 w 3656809"/>
              <a:gd name="connsiteY2" fmla="*/ 3630930 h 3651884"/>
              <a:gd name="connsiteX3" fmla="*/ 824080 w 3656809"/>
              <a:gd name="connsiteY3" fmla="*/ 3637598 h 3651884"/>
              <a:gd name="connsiteX4" fmla="*/ 1828967 w 3656809"/>
              <a:gd name="connsiteY4" fmla="*/ 3082290 h 3651884"/>
              <a:gd name="connsiteX5" fmla="*/ 2832902 w 3656809"/>
              <a:gd name="connsiteY5" fmla="*/ 3637598 h 3651884"/>
              <a:gd name="connsiteX6" fmla="*/ 2888147 w 3656809"/>
              <a:gd name="connsiteY6" fmla="*/ 3651885 h 3651884"/>
              <a:gd name="connsiteX7" fmla="*/ 2953870 w 3656809"/>
              <a:gd name="connsiteY7" fmla="*/ 3630930 h 3651884"/>
              <a:gd name="connsiteX8" fmla="*/ 3000542 w 3656809"/>
              <a:gd name="connsiteY8" fmla="*/ 3519488 h 3651884"/>
              <a:gd name="connsiteX9" fmla="*/ 2807185 w 3656809"/>
              <a:gd name="connsiteY9" fmla="*/ 2335530 h 3651884"/>
              <a:gd name="connsiteX10" fmla="*/ 3624430 w 3656809"/>
              <a:gd name="connsiteY10" fmla="*/ 1498283 h 3651884"/>
              <a:gd name="connsiteX11" fmla="*/ 3651100 w 3656809"/>
              <a:gd name="connsiteY11" fmla="*/ 1382078 h 3651884"/>
              <a:gd name="connsiteX12" fmla="*/ 3559660 w 3656809"/>
              <a:gd name="connsiteY12" fmla="*/ 1305878 h 3651884"/>
              <a:gd name="connsiteX13" fmla="*/ 2435710 w 3656809"/>
              <a:gd name="connsiteY13" fmla="*/ 1134428 h 3651884"/>
              <a:gd name="connsiteX14" fmla="*/ 1931837 w 3656809"/>
              <a:gd name="connsiteY14" fmla="*/ 60008 h 3651884"/>
              <a:gd name="connsiteX15" fmla="*/ 1725145 w 3656809"/>
              <a:gd name="connsiteY15" fmla="*/ 60008 h 3651884"/>
              <a:gd name="connsiteX16" fmla="*/ 1221272 w 3656809"/>
              <a:gd name="connsiteY16" fmla="*/ 1133475 h 3651884"/>
              <a:gd name="connsiteX17" fmla="*/ 97322 w 3656809"/>
              <a:gd name="connsiteY17" fmla="*/ 1304925 h 3651884"/>
              <a:gd name="connsiteX18" fmla="*/ 5882 w 3656809"/>
              <a:gd name="connsiteY18" fmla="*/ 1381125 h 3651884"/>
              <a:gd name="connsiteX19" fmla="*/ 32552 w 3656809"/>
              <a:gd name="connsiteY19" fmla="*/ 1497330 h 3651884"/>
              <a:gd name="connsiteX20" fmla="*/ 849797 w 3656809"/>
              <a:gd name="connsiteY20" fmla="*/ 2335530 h 3651884"/>
              <a:gd name="connsiteX21" fmla="*/ 1316522 w 3656809"/>
              <a:gd name="connsiteY21" fmla="*/ 1350645 h 3651884"/>
              <a:gd name="connsiteX22" fmla="*/ 1402247 w 3656809"/>
              <a:gd name="connsiteY22" fmla="*/ 1285875 h 3651884"/>
              <a:gd name="connsiteX23" fmla="*/ 1828967 w 3656809"/>
              <a:gd name="connsiteY23" fmla="*/ 377190 h 3651884"/>
              <a:gd name="connsiteX24" fmla="*/ 2255687 w 3656809"/>
              <a:gd name="connsiteY24" fmla="*/ 1285875 h 3651884"/>
              <a:gd name="connsiteX25" fmla="*/ 2341412 w 3656809"/>
              <a:gd name="connsiteY25" fmla="*/ 1350645 h 3651884"/>
              <a:gd name="connsiteX26" fmla="*/ 3306295 w 3656809"/>
              <a:gd name="connsiteY26" fmla="*/ 1498283 h 3651884"/>
              <a:gd name="connsiteX27" fmla="*/ 2604302 w 3656809"/>
              <a:gd name="connsiteY27" fmla="*/ 2217420 h 3651884"/>
              <a:gd name="connsiteX28" fmla="*/ 2572870 w 3656809"/>
              <a:gd name="connsiteY28" fmla="*/ 2315528 h 3651884"/>
              <a:gd name="connsiteX29" fmla="*/ 2737652 w 3656809"/>
              <a:gd name="connsiteY29" fmla="*/ 3324225 h 3651884"/>
              <a:gd name="connsiteX30" fmla="*/ 1884212 w 3656809"/>
              <a:gd name="connsiteY30" fmla="*/ 2852738 h 3651884"/>
              <a:gd name="connsiteX31" fmla="*/ 1828967 w 3656809"/>
              <a:gd name="connsiteY31" fmla="*/ 2838450 h 3651884"/>
              <a:gd name="connsiteX32" fmla="*/ 1773722 w 3656809"/>
              <a:gd name="connsiteY32" fmla="*/ 2852738 h 3651884"/>
              <a:gd name="connsiteX33" fmla="*/ 920282 w 3656809"/>
              <a:gd name="connsiteY33" fmla="*/ 3324225 h 3651884"/>
              <a:gd name="connsiteX34" fmla="*/ 1085065 w 3656809"/>
              <a:gd name="connsiteY34" fmla="*/ 2315528 h 3651884"/>
              <a:gd name="connsiteX35" fmla="*/ 1053632 w 3656809"/>
              <a:gd name="connsiteY35" fmla="*/ 2217420 h 3651884"/>
              <a:gd name="connsiteX36" fmla="*/ 351640 w 3656809"/>
              <a:gd name="connsiteY36" fmla="*/ 1498283 h 3651884"/>
              <a:gd name="connsiteX37" fmla="*/ 1316522 w 3656809"/>
              <a:gd name="connsiteY37" fmla="*/ 1350645 h 3651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3656809" h="3651884">
                <a:moveTo>
                  <a:pt x="849797" y="2335530"/>
                </a:moveTo>
                <a:lnTo>
                  <a:pt x="656440" y="3519488"/>
                </a:lnTo>
                <a:cubicBezTo>
                  <a:pt x="649772" y="3562350"/>
                  <a:pt x="667870" y="3606165"/>
                  <a:pt x="703112" y="3630930"/>
                </a:cubicBezTo>
                <a:cubicBezTo>
                  <a:pt x="738355" y="3655695"/>
                  <a:pt x="785980" y="3658553"/>
                  <a:pt x="824080" y="3637598"/>
                </a:cubicBezTo>
                <a:lnTo>
                  <a:pt x="1828967" y="3082290"/>
                </a:lnTo>
                <a:lnTo>
                  <a:pt x="2832902" y="3637598"/>
                </a:lnTo>
                <a:cubicBezTo>
                  <a:pt x="2850047" y="3647123"/>
                  <a:pt x="2869097" y="3651885"/>
                  <a:pt x="2888147" y="3651885"/>
                </a:cubicBezTo>
                <a:cubicBezTo>
                  <a:pt x="2911007" y="3651885"/>
                  <a:pt x="2934820" y="3645218"/>
                  <a:pt x="2953870" y="3630930"/>
                </a:cubicBezTo>
                <a:cubicBezTo>
                  <a:pt x="2990065" y="3605213"/>
                  <a:pt x="3008162" y="3562350"/>
                  <a:pt x="3000542" y="3519488"/>
                </a:cubicBezTo>
                <a:lnTo>
                  <a:pt x="2807185" y="2335530"/>
                </a:lnTo>
                <a:lnTo>
                  <a:pt x="3624430" y="1498283"/>
                </a:lnTo>
                <a:cubicBezTo>
                  <a:pt x="3653957" y="1467803"/>
                  <a:pt x="3664435" y="1423035"/>
                  <a:pt x="3651100" y="1382078"/>
                </a:cubicBezTo>
                <a:cubicBezTo>
                  <a:pt x="3637765" y="1341120"/>
                  <a:pt x="3602522" y="1311593"/>
                  <a:pt x="3559660" y="1305878"/>
                </a:cubicBezTo>
                <a:lnTo>
                  <a:pt x="2435710" y="1134428"/>
                </a:lnTo>
                <a:lnTo>
                  <a:pt x="1931837" y="60008"/>
                </a:lnTo>
                <a:cubicBezTo>
                  <a:pt x="1893737" y="-20003"/>
                  <a:pt x="1762292" y="-20003"/>
                  <a:pt x="1725145" y="60008"/>
                </a:cubicBezTo>
                <a:lnTo>
                  <a:pt x="1221272" y="1133475"/>
                </a:lnTo>
                <a:lnTo>
                  <a:pt x="97322" y="1304925"/>
                </a:lnTo>
                <a:cubicBezTo>
                  <a:pt x="55412" y="1311593"/>
                  <a:pt x="20170" y="1341120"/>
                  <a:pt x="5882" y="1381125"/>
                </a:cubicBezTo>
                <a:cubicBezTo>
                  <a:pt x="-7453" y="1422083"/>
                  <a:pt x="2072" y="1466850"/>
                  <a:pt x="32552" y="1497330"/>
                </a:cubicBezTo>
                <a:lnTo>
                  <a:pt x="849797" y="2335530"/>
                </a:lnTo>
                <a:close/>
                <a:moveTo>
                  <a:pt x="1316522" y="1350645"/>
                </a:moveTo>
                <a:cubicBezTo>
                  <a:pt x="1354622" y="1344930"/>
                  <a:pt x="1386055" y="1321118"/>
                  <a:pt x="1402247" y="1285875"/>
                </a:cubicBezTo>
                <a:lnTo>
                  <a:pt x="1828967" y="377190"/>
                </a:lnTo>
                <a:lnTo>
                  <a:pt x="2255687" y="1285875"/>
                </a:lnTo>
                <a:cubicBezTo>
                  <a:pt x="2271880" y="1320165"/>
                  <a:pt x="2304265" y="1344930"/>
                  <a:pt x="2341412" y="1350645"/>
                </a:cubicBezTo>
                <a:lnTo>
                  <a:pt x="3306295" y="1498283"/>
                </a:lnTo>
                <a:lnTo>
                  <a:pt x="2604302" y="2217420"/>
                </a:lnTo>
                <a:cubicBezTo>
                  <a:pt x="2578585" y="2243138"/>
                  <a:pt x="2567155" y="2280285"/>
                  <a:pt x="2572870" y="2315528"/>
                </a:cubicBezTo>
                <a:lnTo>
                  <a:pt x="2737652" y="3324225"/>
                </a:lnTo>
                <a:lnTo>
                  <a:pt x="1884212" y="2852738"/>
                </a:lnTo>
                <a:cubicBezTo>
                  <a:pt x="1867067" y="2843213"/>
                  <a:pt x="1848017" y="2838450"/>
                  <a:pt x="1828967" y="2838450"/>
                </a:cubicBezTo>
                <a:cubicBezTo>
                  <a:pt x="1809917" y="2838450"/>
                  <a:pt x="1790867" y="2843213"/>
                  <a:pt x="1773722" y="2852738"/>
                </a:cubicBezTo>
                <a:lnTo>
                  <a:pt x="920282" y="3324225"/>
                </a:lnTo>
                <a:lnTo>
                  <a:pt x="1085065" y="2315528"/>
                </a:lnTo>
                <a:cubicBezTo>
                  <a:pt x="1090780" y="2279333"/>
                  <a:pt x="1079350" y="2243138"/>
                  <a:pt x="1053632" y="2217420"/>
                </a:cubicBezTo>
                <a:lnTo>
                  <a:pt x="351640" y="1498283"/>
                </a:lnTo>
                <a:lnTo>
                  <a:pt x="1316522" y="1350645"/>
                </a:lnTo>
                <a:close/>
              </a:path>
            </a:pathLst>
          </a:custGeom>
          <a:solidFill>
            <a:srgbClr val="26314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61854629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Espaço Reservado para Imagem 13" descr="Quarto com cama e janela&#10;&#10;Descrição gerada automaticamente">
            <a:extLst>
              <a:ext uri="{FF2B5EF4-FFF2-40B4-BE49-F238E27FC236}">
                <a16:creationId xmlns:a16="http://schemas.microsoft.com/office/drawing/2014/main" id="{6FBEE36D-03FB-45C4-8660-D904A7C7324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64CDB228-5D11-4C2C-9272-149E66A07E5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pt-BR" dirty="0"/>
              <a:t>Inserir texto descritivo</a:t>
            </a:r>
          </a:p>
        </p:txBody>
      </p:sp>
      <p:sp>
        <p:nvSpPr>
          <p:cNvPr id="7" name="Espaço Reservado para Conteúdo 6">
            <a:extLst>
              <a:ext uri="{FF2B5EF4-FFF2-40B4-BE49-F238E27FC236}">
                <a16:creationId xmlns:a16="http://schemas.microsoft.com/office/drawing/2014/main" id="{4B4D897F-E41F-4A52-8D4C-687FA65F1C69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pt-BR" dirty="0"/>
              <a:t>Inserir texto descritivo</a:t>
            </a:r>
          </a:p>
        </p:txBody>
      </p:sp>
      <p:sp>
        <p:nvSpPr>
          <p:cNvPr id="8" name="Espaço Reservado para Conteúdo 7">
            <a:extLst>
              <a:ext uri="{FF2B5EF4-FFF2-40B4-BE49-F238E27FC236}">
                <a16:creationId xmlns:a16="http://schemas.microsoft.com/office/drawing/2014/main" id="{C593CF6C-D323-44CC-897C-1967C058FE01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pt-BR" dirty="0"/>
              <a:t>Inserir texto descritivo</a:t>
            </a:r>
          </a:p>
        </p:txBody>
      </p:sp>
      <p:sp>
        <p:nvSpPr>
          <p:cNvPr id="10" name="Elipse 9">
            <a:extLst>
              <a:ext uri="{FF2B5EF4-FFF2-40B4-BE49-F238E27FC236}">
                <a16:creationId xmlns:a16="http://schemas.microsoft.com/office/drawing/2014/main" id="{CEDF9E6A-35C9-4138-8812-CEE8B1C0DB3A}"/>
              </a:ext>
            </a:extLst>
          </p:cNvPr>
          <p:cNvSpPr/>
          <p:nvPr/>
        </p:nvSpPr>
        <p:spPr>
          <a:xfrm>
            <a:off x="1622426" y="2673350"/>
            <a:ext cx="1511300" cy="1511300"/>
          </a:xfrm>
          <a:prstGeom prst="ellipse">
            <a:avLst/>
          </a:prstGeom>
          <a:solidFill>
            <a:srgbClr val="D6D6CE"/>
          </a:solidFill>
          <a:ln w="57150">
            <a:solidFill>
              <a:srgbClr val="263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id="{0EAED8B0-EF4E-4459-8280-CF038520EACB}"/>
              </a:ext>
            </a:extLst>
          </p:cNvPr>
          <p:cNvSpPr/>
          <p:nvPr/>
        </p:nvSpPr>
        <p:spPr>
          <a:xfrm>
            <a:off x="5340350" y="2673350"/>
            <a:ext cx="1511300" cy="1511300"/>
          </a:xfrm>
          <a:prstGeom prst="ellipse">
            <a:avLst/>
          </a:prstGeom>
          <a:solidFill>
            <a:srgbClr val="D6D6CE"/>
          </a:solidFill>
          <a:ln w="57150">
            <a:solidFill>
              <a:srgbClr val="263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Elipse 12">
            <a:extLst>
              <a:ext uri="{FF2B5EF4-FFF2-40B4-BE49-F238E27FC236}">
                <a16:creationId xmlns:a16="http://schemas.microsoft.com/office/drawing/2014/main" id="{74AA2F07-F298-49FE-BD51-7CF19972C970}"/>
              </a:ext>
            </a:extLst>
          </p:cNvPr>
          <p:cNvSpPr/>
          <p:nvPr/>
        </p:nvSpPr>
        <p:spPr>
          <a:xfrm>
            <a:off x="9058274" y="2673350"/>
            <a:ext cx="1511300" cy="1511300"/>
          </a:xfrm>
          <a:prstGeom prst="ellipse">
            <a:avLst/>
          </a:prstGeom>
          <a:solidFill>
            <a:srgbClr val="D6D6CE"/>
          </a:solidFill>
          <a:ln w="57150">
            <a:solidFill>
              <a:srgbClr val="263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Gráfico 16">
            <a:extLst>
              <a:ext uri="{FF2B5EF4-FFF2-40B4-BE49-F238E27FC236}">
                <a16:creationId xmlns:a16="http://schemas.microsoft.com/office/drawing/2014/main" id="{9EF18EE1-4ED7-4BE1-88C4-CE18BCC8E126}"/>
              </a:ext>
            </a:extLst>
          </p:cNvPr>
          <p:cNvSpPr/>
          <p:nvPr/>
        </p:nvSpPr>
        <p:spPr>
          <a:xfrm>
            <a:off x="2045653" y="3095625"/>
            <a:ext cx="664845" cy="664845"/>
          </a:xfrm>
          <a:custGeom>
            <a:avLst/>
            <a:gdLst>
              <a:gd name="connsiteX0" fmla="*/ 660083 w 664845"/>
              <a:gd name="connsiteY0" fmla="*/ 321945 h 664845"/>
              <a:gd name="connsiteX1" fmla="*/ 543878 w 664845"/>
              <a:gd name="connsiteY1" fmla="*/ 204788 h 664845"/>
              <a:gd name="connsiteX2" fmla="*/ 543878 w 664845"/>
              <a:gd name="connsiteY2" fmla="*/ 45720 h 664845"/>
              <a:gd name="connsiteX3" fmla="*/ 528638 w 664845"/>
              <a:gd name="connsiteY3" fmla="*/ 30480 h 664845"/>
              <a:gd name="connsiteX4" fmla="*/ 438150 w 664845"/>
              <a:gd name="connsiteY4" fmla="*/ 30480 h 664845"/>
              <a:gd name="connsiteX5" fmla="*/ 422910 w 664845"/>
              <a:gd name="connsiteY5" fmla="*/ 45720 h 664845"/>
              <a:gd name="connsiteX6" fmla="*/ 422910 w 664845"/>
              <a:gd name="connsiteY6" fmla="*/ 84773 h 664845"/>
              <a:gd name="connsiteX7" fmla="*/ 342900 w 664845"/>
              <a:gd name="connsiteY7" fmla="*/ 4763 h 664845"/>
              <a:gd name="connsiteX8" fmla="*/ 332423 w 664845"/>
              <a:gd name="connsiteY8" fmla="*/ 0 h 664845"/>
              <a:gd name="connsiteX9" fmla="*/ 321945 w 664845"/>
              <a:gd name="connsiteY9" fmla="*/ 4763 h 664845"/>
              <a:gd name="connsiteX10" fmla="*/ 4763 w 664845"/>
              <a:gd name="connsiteY10" fmla="*/ 321945 h 664845"/>
              <a:gd name="connsiteX11" fmla="*/ 0 w 664845"/>
              <a:gd name="connsiteY11" fmla="*/ 332423 h 664845"/>
              <a:gd name="connsiteX12" fmla="*/ 15240 w 664845"/>
              <a:gd name="connsiteY12" fmla="*/ 347663 h 664845"/>
              <a:gd name="connsiteX13" fmla="*/ 25718 w 664845"/>
              <a:gd name="connsiteY13" fmla="*/ 342900 h 664845"/>
              <a:gd name="connsiteX14" fmla="*/ 90488 w 664845"/>
              <a:gd name="connsiteY14" fmla="*/ 278130 h 664845"/>
              <a:gd name="connsiteX15" fmla="*/ 90488 w 664845"/>
              <a:gd name="connsiteY15" fmla="*/ 649605 h 664845"/>
              <a:gd name="connsiteX16" fmla="*/ 105728 w 664845"/>
              <a:gd name="connsiteY16" fmla="*/ 664845 h 664845"/>
              <a:gd name="connsiteX17" fmla="*/ 559118 w 664845"/>
              <a:gd name="connsiteY17" fmla="*/ 664845 h 664845"/>
              <a:gd name="connsiteX18" fmla="*/ 574358 w 664845"/>
              <a:gd name="connsiteY18" fmla="*/ 649605 h 664845"/>
              <a:gd name="connsiteX19" fmla="*/ 574358 w 664845"/>
              <a:gd name="connsiteY19" fmla="*/ 278130 h 664845"/>
              <a:gd name="connsiteX20" fmla="*/ 639128 w 664845"/>
              <a:gd name="connsiteY20" fmla="*/ 342900 h 664845"/>
              <a:gd name="connsiteX21" fmla="*/ 649605 w 664845"/>
              <a:gd name="connsiteY21" fmla="*/ 347663 h 664845"/>
              <a:gd name="connsiteX22" fmla="*/ 664845 w 664845"/>
              <a:gd name="connsiteY22" fmla="*/ 332423 h 664845"/>
              <a:gd name="connsiteX23" fmla="*/ 660083 w 664845"/>
              <a:gd name="connsiteY23" fmla="*/ 321945 h 664845"/>
              <a:gd name="connsiteX24" fmla="*/ 453390 w 664845"/>
              <a:gd name="connsiteY24" fmla="*/ 60008 h 664845"/>
              <a:gd name="connsiteX25" fmla="*/ 513398 w 664845"/>
              <a:gd name="connsiteY25" fmla="*/ 60008 h 664845"/>
              <a:gd name="connsiteX26" fmla="*/ 513398 w 664845"/>
              <a:gd name="connsiteY26" fmla="*/ 174308 h 664845"/>
              <a:gd name="connsiteX27" fmla="*/ 453390 w 664845"/>
              <a:gd name="connsiteY27" fmla="*/ 114300 h 664845"/>
              <a:gd name="connsiteX28" fmla="*/ 453390 w 664845"/>
              <a:gd name="connsiteY28" fmla="*/ 60008 h 664845"/>
              <a:gd name="connsiteX29" fmla="*/ 241935 w 664845"/>
              <a:gd name="connsiteY29" fmla="*/ 634365 h 664845"/>
              <a:gd name="connsiteX30" fmla="*/ 120968 w 664845"/>
              <a:gd name="connsiteY30" fmla="*/ 634365 h 664845"/>
              <a:gd name="connsiteX31" fmla="*/ 120968 w 664845"/>
              <a:gd name="connsiteY31" fmla="*/ 603885 h 664845"/>
              <a:gd name="connsiteX32" fmla="*/ 241935 w 664845"/>
              <a:gd name="connsiteY32" fmla="*/ 603885 h 664845"/>
              <a:gd name="connsiteX33" fmla="*/ 241935 w 664845"/>
              <a:gd name="connsiteY33" fmla="*/ 634365 h 664845"/>
              <a:gd name="connsiteX34" fmla="*/ 392430 w 664845"/>
              <a:gd name="connsiteY34" fmla="*/ 634365 h 664845"/>
              <a:gd name="connsiteX35" fmla="*/ 271463 w 664845"/>
              <a:gd name="connsiteY35" fmla="*/ 634365 h 664845"/>
              <a:gd name="connsiteX36" fmla="*/ 271463 w 664845"/>
              <a:gd name="connsiteY36" fmla="*/ 392430 h 664845"/>
              <a:gd name="connsiteX37" fmla="*/ 392430 w 664845"/>
              <a:gd name="connsiteY37" fmla="*/ 392430 h 664845"/>
              <a:gd name="connsiteX38" fmla="*/ 392430 w 664845"/>
              <a:gd name="connsiteY38" fmla="*/ 634365 h 664845"/>
              <a:gd name="connsiteX39" fmla="*/ 543878 w 664845"/>
              <a:gd name="connsiteY39" fmla="*/ 634365 h 664845"/>
              <a:gd name="connsiteX40" fmla="*/ 422910 w 664845"/>
              <a:gd name="connsiteY40" fmla="*/ 634365 h 664845"/>
              <a:gd name="connsiteX41" fmla="*/ 422910 w 664845"/>
              <a:gd name="connsiteY41" fmla="*/ 603885 h 664845"/>
              <a:gd name="connsiteX42" fmla="*/ 543878 w 664845"/>
              <a:gd name="connsiteY42" fmla="*/ 603885 h 664845"/>
              <a:gd name="connsiteX43" fmla="*/ 543878 w 664845"/>
              <a:gd name="connsiteY43" fmla="*/ 634365 h 664845"/>
              <a:gd name="connsiteX44" fmla="*/ 543878 w 664845"/>
              <a:gd name="connsiteY44" fmla="*/ 574358 h 664845"/>
              <a:gd name="connsiteX45" fmla="*/ 422910 w 664845"/>
              <a:gd name="connsiteY45" fmla="*/ 574358 h 664845"/>
              <a:gd name="connsiteX46" fmla="*/ 422910 w 664845"/>
              <a:gd name="connsiteY46" fmla="*/ 377190 h 664845"/>
              <a:gd name="connsiteX47" fmla="*/ 407670 w 664845"/>
              <a:gd name="connsiteY47" fmla="*/ 361950 h 664845"/>
              <a:gd name="connsiteX48" fmla="*/ 257175 w 664845"/>
              <a:gd name="connsiteY48" fmla="*/ 361950 h 664845"/>
              <a:gd name="connsiteX49" fmla="*/ 241935 w 664845"/>
              <a:gd name="connsiteY49" fmla="*/ 377190 h 664845"/>
              <a:gd name="connsiteX50" fmla="*/ 241935 w 664845"/>
              <a:gd name="connsiteY50" fmla="*/ 573405 h 664845"/>
              <a:gd name="connsiteX51" fmla="*/ 120968 w 664845"/>
              <a:gd name="connsiteY51" fmla="*/ 573405 h 664845"/>
              <a:gd name="connsiteX52" fmla="*/ 120968 w 664845"/>
              <a:gd name="connsiteY52" fmla="*/ 247650 h 664845"/>
              <a:gd name="connsiteX53" fmla="*/ 332423 w 664845"/>
              <a:gd name="connsiteY53" fmla="*/ 36195 h 664845"/>
              <a:gd name="connsiteX54" fmla="*/ 543878 w 664845"/>
              <a:gd name="connsiteY54" fmla="*/ 247650 h 664845"/>
              <a:gd name="connsiteX55" fmla="*/ 543878 w 664845"/>
              <a:gd name="connsiteY55" fmla="*/ 574358 h 664845"/>
              <a:gd name="connsiteX56" fmla="*/ 347663 w 664845"/>
              <a:gd name="connsiteY56" fmla="*/ 543878 h 664845"/>
              <a:gd name="connsiteX57" fmla="*/ 362903 w 664845"/>
              <a:gd name="connsiteY57" fmla="*/ 528638 h 664845"/>
              <a:gd name="connsiteX58" fmla="*/ 347663 w 664845"/>
              <a:gd name="connsiteY58" fmla="*/ 513398 h 664845"/>
              <a:gd name="connsiteX59" fmla="*/ 332423 w 664845"/>
              <a:gd name="connsiteY59" fmla="*/ 528638 h 664845"/>
              <a:gd name="connsiteX60" fmla="*/ 347663 w 664845"/>
              <a:gd name="connsiteY60" fmla="*/ 543878 h 664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664845" h="664845">
                <a:moveTo>
                  <a:pt x="660083" y="321945"/>
                </a:moveTo>
                <a:lnTo>
                  <a:pt x="543878" y="204788"/>
                </a:lnTo>
                <a:lnTo>
                  <a:pt x="543878" y="45720"/>
                </a:lnTo>
                <a:cubicBezTo>
                  <a:pt x="543878" y="37148"/>
                  <a:pt x="537210" y="30480"/>
                  <a:pt x="528638" y="30480"/>
                </a:cubicBezTo>
                <a:lnTo>
                  <a:pt x="438150" y="30480"/>
                </a:lnTo>
                <a:cubicBezTo>
                  <a:pt x="429578" y="30480"/>
                  <a:pt x="422910" y="37148"/>
                  <a:pt x="422910" y="45720"/>
                </a:cubicBezTo>
                <a:lnTo>
                  <a:pt x="422910" y="84773"/>
                </a:lnTo>
                <a:lnTo>
                  <a:pt x="342900" y="4763"/>
                </a:lnTo>
                <a:cubicBezTo>
                  <a:pt x="340043" y="1905"/>
                  <a:pt x="336233" y="0"/>
                  <a:pt x="332423" y="0"/>
                </a:cubicBezTo>
                <a:cubicBezTo>
                  <a:pt x="328613" y="0"/>
                  <a:pt x="324803" y="1905"/>
                  <a:pt x="321945" y="4763"/>
                </a:cubicBezTo>
                <a:lnTo>
                  <a:pt x="4763" y="321945"/>
                </a:lnTo>
                <a:cubicBezTo>
                  <a:pt x="1905" y="323850"/>
                  <a:pt x="0" y="327660"/>
                  <a:pt x="0" y="332423"/>
                </a:cubicBezTo>
                <a:cubicBezTo>
                  <a:pt x="0" y="340995"/>
                  <a:pt x="6668" y="347663"/>
                  <a:pt x="15240" y="347663"/>
                </a:cubicBezTo>
                <a:cubicBezTo>
                  <a:pt x="19050" y="347663"/>
                  <a:pt x="22860" y="345758"/>
                  <a:pt x="25718" y="342900"/>
                </a:cubicBezTo>
                <a:lnTo>
                  <a:pt x="90488" y="278130"/>
                </a:lnTo>
                <a:lnTo>
                  <a:pt x="90488" y="649605"/>
                </a:lnTo>
                <a:cubicBezTo>
                  <a:pt x="90488" y="658178"/>
                  <a:pt x="97155" y="664845"/>
                  <a:pt x="105728" y="664845"/>
                </a:cubicBezTo>
                <a:lnTo>
                  <a:pt x="559118" y="664845"/>
                </a:lnTo>
                <a:cubicBezTo>
                  <a:pt x="567690" y="664845"/>
                  <a:pt x="574358" y="658178"/>
                  <a:pt x="574358" y="649605"/>
                </a:cubicBezTo>
                <a:lnTo>
                  <a:pt x="574358" y="278130"/>
                </a:lnTo>
                <a:lnTo>
                  <a:pt x="639128" y="342900"/>
                </a:lnTo>
                <a:cubicBezTo>
                  <a:pt x="641985" y="345758"/>
                  <a:pt x="645795" y="347663"/>
                  <a:pt x="649605" y="347663"/>
                </a:cubicBezTo>
                <a:cubicBezTo>
                  <a:pt x="658178" y="347663"/>
                  <a:pt x="664845" y="340995"/>
                  <a:pt x="664845" y="332423"/>
                </a:cubicBezTo>
                <a:cubicBezTo>
                  <a:pt x="664845" y="327660"/>
                  <a:pt x="662940" y="323850"/>
                  <a:pt x="660083" y="321945"/>
                </a:cubicBezTo>
                <a:close/>
                <a:moveTo>
                  <a:pt x="453390" y="60008"/>
                </a:moveTo>
                <a:lnTo>
                  <a:pt x="513398" y="60008"/>
                </a:lnTo>
                <a:lnTo>
                  <a:pt x="513398" y="174308"/>
                </a:lnTo>
                <a:lnTo>
                  <a:pt x="453390" y="114300"/>
                </a:lnTo>
                <a:lnTo>
                  <a:pt x="453390" y="60008"/>
                </a:lnTo>
                <a:close/>
                <a:moveTo>
                  <a:pt x="241935" y="634365"/>
                </a:moveTo>
                <a:lnTo>
                  <a:pt x="120968" y="634365"/>
                </a:lnTo>
                <a:lnTo>
                  <a:pt x="120968" y="603885"/>
                </a:lnTo>
                <a:lnTo>
                  <a:pt x="241935" y="603885"/>
                </a:lnTo>
                <a:lnTo>
                  <a:pt x="241935" y="634365"/>
                </a:lnTo>
                <a:close/>
                <a:moveTo>
                  <a:pt x="392430" y="634365"/>
                </a:moveTo>
                <a:lnTo>
                  <a:pt x="271463" y="634365"/>
                </a:lnTo>
                <a:lnTo>
                  <a:pt x="271463" y="392430"/>
                </a:lnTo>
                <a:lnTo>
                  <a:pt x="392430" y="392430"/>
                </a:lnTo>
                <a:lnTo>
                  <a:pt x="392430" y="634365"/>
                </a:lnTo>
                <a:close/>
                <a:moveTo>
                  <a:pt x="543878" y="634365"/>
                </a:moveTo>
                <a:lnTo>
                  <a:pt x="422910" y="634365"/>
                </a:lnTo>
                <a:lnTo>
                  <a:pt x="422910" y="603885"/>
                </a:lnTo>
                <a:lnTo>
                  <a:pt x="543878" y="603885"/>
                </a:lnTo>
                <a:lnTo>
                  <a:pt x="543878" y="634365"/>
                </a:lnTo>
                <a:close/>
                <a:moveTo>
                  <a:pt x="543878" y="574358"/>
                </a:moveTo>
                <a:lnTo>
                  <a:pt x="422910" y="574358"/>
                </a:lnTo>
                <a:lnTo>
                  <a:pt x="422910" y="377190"/>
                </a:lnTo>
                <a:cubicBezTo>
                  <a:pt x="422910" y="368618"/>
                  <a:pt x="416243" y="361950"/>
                  <a:pt x="407670" y="361950"/>
                </a:cubicBezTo>
                <a:lnTo>
                  <a:pt x="257175" y="361950"/>
                </a:lnTo>
                <a:cubicBezTo>
                  <a:pt x="248603" y="361950"/>
                  <a:pt x="241935" y="368618"/>
                  <a:pt x="241935" y="377190"/>
                </a:cubicBezTo>
                <a:lnTo>
                  <a:pt x="241935" y="573405"/>
                </a:lnTo>
                <a:lnTo>
                  <a:pt x="120968" y="573405"/>
                </a:lnTo>
                <a:lnTo>
                  <a:pt x="120968" y="247650"/>
                </a:lnTo>
                <a:lnTo>
                  <a:pt x="332423" y="36195"/>
                </a:lnTo>
                <a:lnTo>
                  <a:pt x="543878" y="247650"/>
                </a:lnTo>
                <a:lnTo>
                  <a:pt x="543878" y="574358"/>
                </a:lnTo>
                <a:close/>
                <a:moveTo>
                  <a:pt x="347663" y="543878"/>
                </a:moveTo>
                <a:cubicBezTo>
                  <a:pt x="356235" y="543878"/>
                  <a:pt x="362903" y="537210"/>
                  <a:pt x="362903" y="528638"/>
                </a:cubicBezTo>
                <a:cubicBezTo>
                  <a:pt x="362903" y="520065"/>
                  <a:pt x="356235" y="513398"/>
                  <a:pt x="347663" y="513398"/>
                </a:cubicBezTo>
                <a:cubicBezTo>
                  <a:pt x="339090" y="513398"/>
                  <a:pt x="332423" y="520065"/>
                  <a:pt x="332423" y="528638"/>
                </a:cubicBezTo>
                <a:cubicBezTo>
                  <a:pt x="332423" y="537210"/>
                  <a:pt x="339090" y="543878"/>
                  <a:pt x="347663" y="543878"/>
                </a:cubicBezTo>
                <a:close/>
              </a:path>
            </a:pathLst>
          </a:custGeom>
          <a:solidFill>
            <a:srgbClr val="26314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20" name="Gráfico 18">
            <a:extLst>
              <a:ext uri="{FF2B5EF4-FFF2-40B4-BE49-F238E27FC236}">
                <a16:creationId xmlns:a16="http://schemas.microsoft.com/office/drawing/2014/main" id="{09D29260-3260-423F-A96A-AC3834965D95}"/>
              </a:ext>
            </a:extLst>
          </p:cNvPr>
          <p:cNvSpPr/>
          <p:nvPr/>
        </p:nvSpPr>
        <p:spPr>
          <a:xfrm>
            <a:off x="5715000" y="3048000"/>
            <a:ext cx="761047" cy="761047"/>
          </a:xfrm>
          <a:custGeom>
            <a:avLst/>
            <a:gdLst>
              <a:gd name="connsiteX0" fmla="*/ 138113 w 761047"/>
              <a:gd name="connsiteY0" fmla="*/ 380048 h 761047"/>
              <a:gd name="connsiteX1" fmla="*/ 120968 w 761047"/>
              <a:gd name="connsiteY1" fmla="*/ 362903 h 761047"/>
              <a:gd name="connsiteX2" fmla="*/ 17145 w 761047"/>
              <a:gd name="connsiteY2" fmla="*/ 362903 h 761047"/>
              <a:gd name="connsiteX3" fmla="*/ 0 w 761047"/>
              <a:gd name="connsiteY3" fmla="*/ 380048 h 761047"/>
              <a:gd name="connsiteX4" fmla="*/ 17145 w 761047"/>
              <a:gd name="connsiteY4" fmla="*/ 397193 h 761047"/>
              <a:gd name="connsiteX5" fmla="*/ 120968 w 761047"/>
              <a:gd name="connsiteY5" fmla="*/ 397193 h 761047"/>
              <a:gd name="connsiteX6" fmla="*/ 138113 w 761047"/>
              <a:gd name="connsiteY6" fmla="*/ 380048 h 761047"/>
              <a:gd name="connsiteX7" fmla="*/ 184785 w 761047"/>
              <a:gd name="connsiteY7" fmla="*/ 551498 h 761047"/>
              <a:gd name="connsiteX8" fmla="*/ 111443 w 761047"/>
              <a:gd name="connsiteY8" fmla="*/ 624840 h 761047"/>
              <a:gd name="connsiteX9" fmla="*/ 111443 w 761047"/>
              <a:gd name="connsiteY9" fmla="*/ 649605 h 761047"/>
              <a:gd name="connsiteX10" fmla="*/ 136208 w 761047"/>
              <a:gd name="connsiteY10" fmla="*/ 649605 h 761047"/>
              <a:gd name="connsiteX11" fmla="*/ 209550 w 761047"/>
              <a:gd name="connsiteY11" fmla="*/ 576263 h 761047"/>
              <a:gd name="connsiteX12" fmla="*/ 209550 w 761047"/>
              <a:gd name="connsiteY12" fmla="*/ 551498 h 761047"/>
              <a:gd name="connsiteX13" fmla="*/ 184785 w 761047"/>
              <a:gd name="connsiteY13" fmla="*/ 551498 h 761047"/>
              <a:gd name="connsiteX14" fmla="*/ 380048 w 761047"/>
              <a:gd name="connsiteY14" fmla="*/ 138113 h 761047"/>
              <a:gd name="connsiteX15" fmla="*/ 397193 w 761047"/>
              <a:gd name="connsiteY15" fmla="*/ 120968 h 761047"/>
              <a:gd name="connsiteX16" fmla="*/ 397193 w 761047"/>
              <a:gd name="connsiteY16" fmla="*/ 17145 h 761047"/>
              <a:gd name="connsiteX17" fmla="*/ 380048 w 761047"/>
              <a:gd name="connsiteY17" fmla="*/ 0 h 761047"/>
              <a:gd name="connsiteX18" fmla="*/ 362903 w 761047"/>
              <a:gd name="connsiteY18" fmla="*/ 17145 h 761047"/>
              <a:gd name="connsiteX19" fmla="*/ 362903 w 761047"/>
              <a:gd name="connsiteY19" fmla="*/ 120968 h 761047"/>
              <a:gd name="connsiteX20" fmla="*/ 380048 w 761047"/>
              <a:gd name="connsiteY20" fmla="*/ 138113 h 761047"/>
              <a:gd name="connsiteX21" fmla="*/ 576263 w 761047"/>
              <a:gd name="connsiteY21" fmla="*/ 209550 h 761047"/>
              <a:gd name="connsiteX22" fmla="*/ 649605 w 761047"/>
              <a:gd name="connsiteY22" fmla="*/ 136208 h 761047"/>
              <a:gd name="connsiteX23" fmla="*/ 649605 w 761047"/>
              <a:gd name="connsiteY23" fmla="*/ 111443 h 761047"/>
              <a:gd name="connsiteX24" fmla="*/ 624840 w 761047"/>
              <a:gd name="connsiteY24" fmla="*/ 111443 h 761047"/>
              <a:gd name="connsiteX25" fmla="*/ 551498 w 761047"/>
              <a:gd name="connsiteY25" fmla="*/ 184785 h 761047"/>
              <a:gd name="connsiteX26" fmla="*/ 551498 w 761047"/>
              <a:gd name="connsiteY26" fmla="*/ 209550 h 761047"/>
              <a:gd name="connsiteX27" fmla="*/ 576263 w 761047"/>
              <a:gd name="connsiteY27" fmla="*/ 209550 h 761047"/>
              <a:gd name="connsiteX28" fmla="*/ 184785 w 761047"/>
              <a:gd name="connsiteY28" fmla="*/ 209550 h 761047"/>
              <a:gd name="connsiteX29" fmla="*/ 209550 w 761047"/>
              <a:gd name="connsiteY29" fmla="*/ 209550 h 761047"/>
              <a:gd name="connsiteX30" fmla="*/ 209550 w 761047"/>
              <a:gd name="connsiteY30" fmla="*/ 184785 h 761047"/>
              <a:gd name="connsiteX31" fmla="*/ 136208 w 761047"/>
              <a:gd name="connsiteY31" fmla="*/ 111443 h 761047"/>
              <a:gd name="connsiteX32" fmla="*/ 111443 w 761047"/>
              <a:gd name="connsiteY32" fmla="*/ 111443 h 761047"/>
              <a:gd name="connsiteX33" fmla="*/ 111443 w 761047"/>
              <a:gd name="connsiteY33" fmla="*/ 136208 h 761047"/>
              <a:gd name="connsiteX34" fmla="*/ 184785 w 761047"/>
              <a:gd name="connsiteY34" fmla="*/ 209550 h 761047"/>
              <a:gd name="connsiteX35" fmla="*/ 743903 w 761047"/>
              <a:gd name="connsiteY35" fmla="*/ 362903 h 761047"/>
              <a:gd name="connsiteX36" fmla="*/ 640080 w 761047"/>
              <a:gd name="connsiteY36" fmla="*/ 362903 h 761047"/>
              <a:gd name="connsiteX37" fmla="*/ 622935 w 761047"/>
              <a:gd name="connsiteY37" fmla="*/ 380048 h 761047"/>
              <a:gd name="connsiteX38" fmla="*/ 640080 w 761047"/>
              <a:gd name="connsiteY38" fmla="*/ 397193 h 761047"/>
              <a:gd name="connsiteX39" fmla="*/ 743903 w 761047"/>
              <a:gd name="connsiteY39" fmla="*/ 397193 h 761047"/>
              <a:gd name="connsiteX40" fmla="*/ 761048 w 761047"/>
              <a:gd name="connsiteY40" fmla="*/ 380048 h 761047"/>
              <a:gd name="connsiteX41" fmla="*/ 743903 w 761047"/>
              <a:gd name="connsiteY41" fmla="*/ 362903 h 761047"/>
              <a:gd name="connsiteX42" fmla="*/ 576263 w 761047"/>
              <a:gd name="connsiteY42" fmla="*/ 551498 h 761047"/>
              <a:gd name="connsiteX43" fmla="*/ 551498 w 761047"/>
              <a:gd name="connsiteY43" fmla="*/ 551498 h 761047"/>
              <a:gd name="connsiteX44" fmla="*/ 551498 w 761047"/>
              <a:gd name="connsiteY44" fmla="*/ 576263 h 761047"/>
              <a:gd name="connsiteX45" fmla="*/ 624840 w 761047"/>
              <a:gd name="connsiteY45" fmla="*/ 649605 h 761047"/>
              <a:gd name="connsiteX46" fmla="*/ 649605 w 761047"/>
              <a:gd name="connsiteY46" fmla="*/ 649605 h 761047"/>
              <a:gd name="connsiteX47" fmla="*/ 649605 w 761047"/>
              <a:gd name="connsiteY47" fmla="*/ 624840 h 761047"/>
              <a:gd name="connsiteX48" fmla="*/ 576263 w 761047"/>
              <a:gd name="connsiteY48" fmla="*/ 551498 h 761047"/>
              <a:gd name="connsiteX49" fmla="*/ 380048 w 761047"/>
              <a:gd name="connsiteY49" fmla="*/ 173355 h 761047"/>
              <a:gd name="connsiteX50" fmla="*/ 172403 w 761047"/>
              <a:gd name="connsiteY50" fmla="*/ 381000 h 761047"/>
              <a:gd name="connsiteX51" fmla="*/ 380048 w 761047"/>
              <a:gd name="connsiteY51" fmla="*/ 588645 h 761047"/>
              <a:gd name="connsiteX52" fmla="*/ 587693 w 761047"/>
              <a:gd name="connsiteY52" fmla="*/ 380048 h 761047"/>
              <a:gd name="connsiteX53" fmla="*/ 380048 w 761047"/>
              <a:gd name="connsiteY53" fmla="*/ 173355 h 761047"/>
              <a:gd name="connsiteX54" fmla="*/ 380048 w 761047"/>
              <a:gd name="connsiteY54" fmla="*/ 553403 h 761047"/>
              <a:gd name="connsiteX55" fmla="*/ 206693 w 761047"/>
              <a:gd name="connsiteY55" fmla="*/ 380048 h 761047"/>
              <a:gd name="connsiteX56" fmla="*/ 380048 w 761047"/>
              <a:gd name="connsiteY56" fmla="*/ 206693 h 761047"/>
              <a:gd name="connsiteX57" fmla="*/ 553403 w 761047"/>
              <a:gd name="connsiteY57" fmla="*/ 380048 h 761047"/>
              <a:gd name="connsiteX58" fmla="*/ 380048 w 761047"/>
              <a:gd name="connsiteY58" fmla="*/ 553403 h 761047"/>
              <a:gd name="connsiteX59" fmla="*/ 380048 w 761047"/>
              <a:gd name="connsiteY59" fmla="*/ 622935 h 761047"/>
              <a:gd name="connsiteX60" fmla="*/ 362903 w 761047"/>
              <a:gd name="connsiteY60" fmla="*/ 640080 h 761047"/>
              <a:gd name="connsiteX61" fmla="*/ 362903 w 761047"/>
              <a:gd name="connsiteY61" fmla="*/ 743903 h 761047"/>
              <a:gd name="connsiteX62" fmla="*/ 380048 w 761047"/>
              <a:gd name="connsiteY62" fmla="*/ 761048 h 761047"/>
              <a:gd name="connsiteX63" fmla="*/ 397193 w 761047"/>
              <a:gd name="connsiteY63" fmla="*/ 743903 h 761047"/>
              <a:gd name="connsiteX64" fmla="*/ 397193 w 761047"/>
              <a:gd name="connsiteY64" fmla="*/ 640080 h 761047"/>
              <a:gd name="connsiteX65" fmla="*/ 380048 w 761047"/>
              <a:gd name="connsiteY65" fmla="*/ 622935 h 7610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761047" h="761047">
                <a:moveTo>
                  <a:pt x="138113" y="380048"/>
                </a:moveTo>
                <a:cubicBezTo>
                  <a:pt x="138113" y="370523"/>
                  <a:pt x="130493" y="362903"/>
                  <a:pt x="120968" y="362903"/>
                </a:cubicBezTo>
                <a:lnTo>
                  <a:pt x="17145" y="362903"/>
                </a:lnTo>
                <a:cubicBezTo>
                  <a:pt x="7620" y="362903"/>
                  <a:pt x="0" y="370523"/>
                  <a:pt x="0" y="380048"/>
                </a:cubicBezTo>
                <a:cubicBezTo>
                  <a:pt x="0" y="389573"/>
                  <a:pt x="7620" y="397193"/>
                  <a:pt x="17145" y="397193"/>
                </a:cubicBezTo>
                <a:lnTo>
                  <a:pt x="120968" y="397193"/>
                </a:lnTo>
                <a:cubicBezTo>
                  <a:pt x="130493" y="398145"/>
                  <a:pt x="138113" y="389573"/>
                  <a:pt x="138113" y="380048"/>
                </a:cubicBezTo>
                <a:close/>
                <a:moveTo>
                  <a:pt x="184785" y="551498"/>
                </a:moveTo>
                <a:lnTo>
                  <a:pt x="111443" y="624840"/>
                </a:lnTo>
                <a:cubicBezTo>
                  <a:pt x="104775" y="631508"/>
                  <a:pt x="104775" y="642938"/>
                  <a:pt x="111443" y="649605"/>
                </a:cubicBezTo>
                <a:cubicBezTo>
                  <a:pt x="118110" y="656273"/>
                  <a:pt x="129540" y="656273"/>
                  <a:pt x="136208" y="649605"/>
                </a:cubicBezTo>
                <a:lnTo>
                  <a:pt x="209550" y="576263"/>
                </a:lnTo>
                <a:cubicBezTo>
                  <a:pt x="216218" y="569595"/>
                  <a:pt x="216218" y="558165"/>
                  <a:pt x="209550" y="551498"/>
                </a:cubicBezTo>
                <a:cubicBezTo>
                  <a:pt x="202883" y="544830"/>
                  <a:pt x="191453" y="544830"/>
                  <a:pt x="184785" y="551498"/>
                </a:cubicBezTo>
                <a:close/>
                <a:moveTo>
                  <a:pt x="380048" y="138113"/>
                </a:moveTo>
                <a:cubicBezTo>
                  <a:pt x="389573" y="138113"/>
                  <a:pt x="397193" y="130493"/>
                  <a:pt x="397193" y="120968"/>
                </a:cubicBezTo>
                <a:lnTo>
                  <a:pt x="397193" y="17145"/>
                </a:lnTo>
                <a:cubicBezTo>
                  <a:pt x="397193" y="7620"/>
                  <a:pt x="389573" y="0"/>
                  <a:pt x="380048" y="0"/>
                </a:cubicBezTo>
                <a:cubicBezTo>
                  <a:pt x="370523" y="0"/>
                  <a:pt x="362903" y="7620"/>
                  <a:pt x="362903" y="17145"/>
                </a:cubicBezTo>
                <a:lnTo>
                  <a:pt x="362903" y="120968"/>
                </a:lnTo>
                <a:cubicBezTo>
                  <a:pt x="362903" y="130493"/>
                  <a:pt x="370523" y="138113"/>
                  <a:pt x="380048" y="138113"/>
                </a:cubicBezTo>
                <a:close/>
                <a:moveTo>
                  <a:pt x="576263" y="209550"/>
                </a:moveTo>
                <a:lnTo>
                  <a:pt x="649605" y="136208"/>
                </a:lnTo>
                <a:cubicBezTo>
                  <a:pt x="656273" y="129540"/>
                  <a:pt x="656273" y="118110"/>
                  <a:pt x="649605" y="111443"/>
                </a:cubicBezTo>
                <a:cubicBezTo>
                  <a:pt x="642938" y="104775"/>
                  <a:pt x="631508" y="104775"/>
                  <a:pt x="624840" y="111443"/>
                </a:cubicBezTo>
                <a:lnTo>
                  <a:pt x="551498" y="184785"/>
                </a:lnTo>
                <a:cubicBezTo>
                  <a:pt x="544830" y="191453"/>
                  <a:pt x="544830" y="202883"/>
                  <a:pt x="551498" y="209550"/>
                </a:cubicBezTo>
                <a:cubicBezTo>
                  <a:pt x="558165" y="216218"/>
                  <a:pt x="569595" y="216218"/>
                  <a:pt x="576263" y="209550"/>
                </a:cubicBezTo>
                <a:close/>
                <a:moveTo>
                  <a:pt x="184785" y="209550"/>
                </a:moveTo>
                <a:cubicBezTo>
                  <a:pt x="191453" y="216218"/>
                  <a:pt x="202883" y="216218"/>
                  <a:pt x="209550" y="209550"/>
                </a:cubicBezTo>
                <a:cubicBezTo>
                  <a:pt x="216218" y="202883"/>
                  <a:pt x="216218" y="191453"/>
                  <a:pt x="209550" y="184785"/>
                </a:cubicBezTo>
                <a:lnTo>
                  <a:pt x="136208" y="111443"/>
                </a:lnTo>
                <a:cubicBezTo>
                  <a:pt x="129540" y="104775"/>
                  <a:pt x="118110" y="104775"/>
                  <a:pt x="111443" y="111443"/>
                </a:cubicBezTo>
                <a:cubicBezTo>
                  <a:pt x="104775" y="118110"/>
                  <a:pt x="104775" y="129540"/>
                  <a:pt x="111443" y="136208"/>
                </a:cubicBezTo>
                <a:lnTo>
                  <a:pt x="184785" y="209550"/>
                </a:lnTo>
                <a:close/>
                <a:moveTo>
                  <a:pt x="743903" y="362903"/>
                </a:moveTo>
                <a:lnTo>
                  <a:pt x="640080" y="362903"/>
                </a:lnTo>
                <a:cubicBezTo>
                  <a:pt x="630555" y="362903"/>
                  <a:pt x="622935" y="370523"/>
                  <a:pt x="622935" y="380048"/>
                </a:cubicBezTo>
                <a:cubicBezTo>
                  <a:pt x="622935" y="389573"/>
                  <a:pt x="630555" y="397193"/>
                  <a:pt x="640080" y="397193"/>
                </a:cubicBezTo>
                <a:lnTo>
                  <a:pt x="743903" y="397193"/>
                </a:lnTo>
                <a:cubicBezTo>
                  <a:pt x="753428" y="397193"/>
                  <a:pt x="761048" y="389573"/>
                  <a:pt x="761048" y="380048"/>
                </a:cubicBezTo>
                <a:cubicBezTo>
                  <a:pt x="761048" y="370523"/>
                  <a:pt x="753428" y="362903"/>
                  <a:pt x="743903" y="362903"/>
                </a:cubicBezTo>
                <a:close/>
                <a:moveTo>
                  <a:pt x="576263" y="551498"/>
                </a:moveTo>
                <a:cubicBezTo>
                  <a:pt x="569595" y="544830"/>
                  <a:pt x="558165" y="544830"/>
                  <a:pt x="551498" y="551498"/>
                </a:cubicBezTo>
                <a:cubicBezTo>
                  <a:pt x="544830" y="558165"/>
                  <a:pt x="544830" y="569595"/>
                  <a:pt x="551498" y="576263"/>
                </a:cubicBezTo>
                <a:lnTo>
                  <a:pt x="624840" y="649605"/>
                </a:lnTo>
                <a:cubicBezTo>
                  <a:pt x="631508" y="656273"/>
                  <a:pt x="642938" y="656273"/>
                  <a:pt x="649605" y="649605"/>
                </a:cubicBezTo>
                <a:cubicBezTo>
                  <a:pt x="656273" y="642938"/>
                  <a:pt x="656273" y="631508"/>
                  <a:pt x="649605" y="624840"/>
                </a:cubicBezTo>
                <a:lnTo>
                  <a:pt x="576263" y="551498"/>
                </a:lnTo>
                <a:close/>
                <a:moveTo>
                  <a:pt x="380048" y="173355"/>
                </a:moveTo>
                <a:cubicBezTo>
                  <a:pt x="265748" y="173355"/>
                  <a:pt x="172403" y="266700"/>
                  <a:pt x="172403" y="381000"/>
                </a:cubicBezTo>
                <a:cubicBezTo>
                  <a:pt x="172403" y="495300"/>
                  <a:pt x="265748" y="588645"/>
                  <a:pt x="380048" y="588645"/>
                </a:cubicBezTo>
                <a:cubicBezTo>
                  <a:pt x="494348" y="588645"/>
                  <a:pt x="587693" y="495300"/>
                  <a:pt x="587693" y="380048"/>
                </a:cubicBezTo>
                <a:cubicBezTo>
                  <a:pt x="587693" y="265748"/>
                  <a:pt x="495300" y="173355"/>
                  <a:pt x="380048" y="173355"/>
                </a:cubicBezTo>
                <a:close/>
                <a:moveTo>
                  <a:pt x="380048" y="553403"/>
                </a:moveTo>
                <a:cubicBezTo>
                  <a:pt x="284798" y="553403"/>
                  <a:pt x="206693" y="476250"/>
                  <a:pt x="206693" y="380048"/>
                </a:cubicBezTo>
                <a:cubicBezTo>
                  <a:pt x="206693" y="284798"/>
                  <a:pt x="283845" y="206693"/>
                  <a:pt x="380048" y="206693"/>
                </a:cubicBezTo>
                <a:cubicBezTo>
                  <a:pt x="476250" y="206693"/>
                  <a:pt x="553403" y="283845"/>
                  <a:pt x="553403" y="380048"/>
                </a:cubicBezTo>
                <a:cubicBezTo>
                  <a:pt x="553403" y="476250"/>
                  <a:pt x="476250" y="553403"/>
                  <a:pt x="380048" y="553403"/>
                </a:cubicBezTo>
                <a:close/>
                <a:moveTo>
                  <a:pt x="380048" y="622935"/>
                </a:moveTo>
                <a:cubicBezTo>
                  <a:pt x="370523" y="622935"/>
                  <a:pt x="362903" y="630555"/>
                  <a:pt x="362903" y="640080"/>
                </a:cubicBezTo>
                <a:lnTo>
                  <a:pt x="362903" y="743903"/>
                </a:lnTo>
                <a:cubicBezTo>
                  <a:pt x="362903" y="753428"/>
                  <a:pt x="370523" y="761048"/>
                  <a:pt x="380048" y="761048"/>
                </a:cubicBezTo>
                <a:cubicBezTo>
                  <a:pt x="389573" y="761048"/>
                  <a:pt x="397193" y="753428"/>
                  <a:pt x="397193" y="743903"/>
                </a:cubicBezTo>
                <a:lnTo>
                  <a:pt x="397193" y="640080"/>
                </a:lnTo>
                <a:cubicBezTo>
                  <a:pt x="398145" y="630555"/>
                  <a:pt x="389573" y="622935"/>
                  <a:pt x="380048" y="622935"/>
                </a:cubicBezTo>
                <a:close/>
              </a:path>
            </a:pathLst>
          </a:custGeom>
          <a:solidFill>
            <a:srgbClr val="26314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22" name="Gráfico 20">
            <a:extLst>
              <a:ext uri="{FF2B5EF4-FFF2-40B4-BE49-F238E27FC236}">
                <a16:creationId xmlns:a16="http://schemas.microsoft.com/office/drawing/2014/main" id="{6A25E67F-ACBC-42C3-A16A-989F730AD205}"/>
              </a:ext>
            </a:extLst>
          </p:cNvPr>
          <p:cNvSpPr/>
          <p:nvPr/>
        </p:nvSpPr>
        <p:spPr>
          <a:xfrm>
            <a:off x="9437209" y="3119437"/>
            <a:ext cx="753427" cy="616267"/>
          </a:xfrm>
          <a:custGeom>
            <a:avLst/>
            <a:gdLst>
              <a:gd name="connsiteX0" fmla="*/ 171450 w 753427"/>
              <a:gd name="connsiteY0" fmla="*/ 341948 h 616267"/>
              <a:gd name="connsiteX1" fmla="*/ 68580 w 753427"/>
              <a:gd name="connsiteY1" fmla="*/ 444818 h 616267"/>
              <a:gd name="connsiteX2" fmla="*/ 85725 w 753427"/>
              <a:gd name="connsiteY2" fmla="*/ 461963 h 616267"/>
              <a:gd name="connsiteX3" fmla="*/ 102870 w 753427"/>
              <a:gd name="connsiteY3" fmla="*/ 444818 h 616267"/>
              <a:gd name="connsiteX4" fmla="*/ 171450 w 753427"/>
              <a:gd name="connsiteY4" fmla="*/ 376238 h 616267"/>
              <a:gd name="connsiteX5" fmla="*/ 188595 w 753427"/>
              <a:gd name="connsiteY5" fmla="*/ 359093 h 616267"/>
              <a:gd name="connsiteX6" fmla="*/ 171450 w 753427"/>
              <a:gd name="connsiteY6" fmla="*/ 341948 h 616267"/>
              <a:gd name="connsiteX7" fmla="*/ 581978 w 753427"/>
              <a:gd name="connsiteY7" fmla="*/ 341948 h 616267"/>
              <a:gd name="connsiteX8" fmla="*/ 479108 w 753427"/>
              <a:gd name="connsiteY8" fmla="*/ 444818 h 616267"/>
              <a:gd name="connsiteX9" fmla="*/ 496253 w 753427"/>
              <a:gd name="connsiteY9" fmla="*/ 461963 h 616267"/>
              <a:gd name="connsiteX10" fmla="*/ 513398 w 753427"/>
              <a:gd name="connsiteY10" fmla="*/ 444818 h 616267"/>
              <a:gd name="connsiteX11" fmla="*/ 581978 w 753427"/>
              <a:gd name="connsiteY11" fmla="*/ 376238 h 616267"/>
              <a:gd name="connsiteX12" fmla="*/ 599123 w 753427"/>
              <a:gd name="connsiteY12" fmla="*/ 359093 h 616267"/>
              <a:gd name="connsiteX13" fmla="*/ 581978 w 753427"/>
              <a:gd name="connsiteY13" fmla="*/ 341948 h 616267"/>
              <a:gd name="connsiteX14" fmla="*/ 735330 w 753427"/>
              <a:gd name="connsiteY14" fmla="*/ 370523 h 616267"/>
              <a:gd name="connsiteX15" fmla="*/ 610553 w 753427"/>
              <a:gd name="connsiteY15" fmla="*/ 68580 h 616267"/>
              <a:gd name="connsiteX16" fmla="*/ 610553 w 753427"/>
              <a:gd name="connsiteY16" fmla="*/ 68580 h 616267"/>
              <a:gd name="connsiteX17" fmla="*/ 513398 w 753427"/>
              <a:gd name="connsiteY17" fmla="*/ 0 h 616267"/>
              <a:gd name="connsiteX18" fmla="*/ 410528 w 753427"/>
              <a:gd name="connsiteY18" fmla="*/ 102870 h 616267"/>
              <a:gd name="connsiteX19" fmla="*/ 341948 w 753427"/>
              <a:gd name="connsiteY19" fmla="*/ 102870 h 616267"/>
              <a:gd name="connsiteX20" fmla="*/ 239078 w 753427"/>
              <a:gd name="connsiteY20" fmla="*/ 0 h 616267"/>
              <a:gd name="connsiteX21" fmla="*/ 142875 w 753427"/>
              <a:gd name="connsiteY21" fmla="*/ 68580 h 616267"/>
              <a:gd name="connsiteX22" fmla="*/ 142875 w 753427"/>
              <a:gd name="connsiteY22" fmla="*/ 68580 h 616267"/>
              <a:gd name="connsiteX23" fmla="*/ 17145 w 753427"/>
              <a:gd name="connsiteY23" fmla="*/ 370523 h 616267"/>
              <a:gd name="connsiteX24" fmla="*/ 0 w 753427"/>
              <a:gd name="connsiteY24" fmla="*/ 444818 h 616267"/>
              <a:gd name="connsiteX25" fmla="*/ 171450 w 753427"/>
              <a:gd name="connsiteY25" fmla="*/ 616268 h 616267"/>
              <a:gd name="connsiteX26" fmla="*/ 339090 w 753427"/>
              <a:gd name="connsiteY26" fmla="*/ 479108 h 616267"/>
              <a:gd name="connsiteX27" fmla="*/ 414338 w 753427"/>
              <a:gd name="connsiteY27" fmla="*/ 479108 h 616267"/>
              <a:gd name="connsiteX28" fmla="*/ 581978 w 753427"/>
              <a:gd name="connsiteY28" fmla="*/ 616268 h 616267"/>
              <a:gd name="connsiteX29" fmla="*/ 753428 w 753427"/>
              <a:gd name="connsiteY29" fmla="*/ 444818 h 616267"/>
              <a:gd name="connsiteX30" fmla="*/ 735330 w 753427"/>
              <a:gd name="connsiteY30" fmla="*/ 370523 h 616267"/>
              <a:gd name="connsiteX31" fmla="*/ 171450 w 753427"/>
              <a:gd name="connsiteY31" fmla="*/ 581978 h 616267"/>
              <a:gd name="connsiteX32" fmla="*/ 34290 w 753427"/>
              <a:gd name="connsiteY32" fmla="*/ 444818 h 616267"/>
              <a:gd name="connsiteX33" fmla="*/ 171450 w 753427"/>
              <a:gd name="connsiteY33" fmla="*/ 307658 h 616267"/>
              <a:gd name="connsiteX34" fmla="*/ 308610 w 753427"/>
              <a:gd name="connsiteY34" fmla="*/ 444818 h 616267"/>
              <a:gd name="connsiteX35" fmla="*/ 171450 w 753427"/>
              <a:gd name="connsiteY35" fmla="*/ 581978 h 616267"/>
              <a:gd name="connsiteX36" fmla="*/ 307658 w 753427"/>
              <a:gd name="connsiteY36" fmla="*/ 342900 h 616267"/>
              <a:gd name="connsiteX37" fmla="*/ 170498 w 753427"/>
              <a:gd name="connsiteY37" fmla="*/ 274320 h 616267"/>
              <a:gd name="connsiteX38" fmla="*/ 84773 w 753427"/>
              <a:gd name="connsiteY38" fmla="*/ 298133 h 616267"/>
              <a:gd name="connsiteX39" fmla="*/ 177165 w 753427"/>
              <a:gd name="connsiteY39" fmla="*/ 75248 h 616267"/>
              <a:gd name="connsiteX40" fmla="*/ 177165 w 753427"/>
              <a:gd name="connsiteY40" fmla="*/ 75248 h 616267"/>
              <a:gd name="connsiteX41" fmla="*/ 239078 w 753427"/>
              <a:gd name="connsiteY41" fmla="*/ 35243 h 616267"/>
              <a:gd name="connsiteX42" fmla="*/ 306705 w 753427"/>
              <a:gd name="connsiteY42" fmla="*/ 98108 h 616267"/>
              <a:gd name="connsiteX43" fmla="*/ 307658 w 753427"/>
              <a:gd name="connsiteY43" fmla="*/ 98108 h 616267"/>
              <a:gd name="connsiteX44" fmla="*/ 307658 w 753427"/>
              <a:gd name="connsiteY44" fmla="*/ 342900 h 616267"/>
              <a:gd name="connsiteX45" fmla="*/ 410528 w 753427"/>
              <a:gd name="connsiteY45" fmla="*/ 444818 h 616267"/>
              <a:gd name="connsiteX46" fmla="*/ 341948 w 753427"/>
              <a:gd name="connsiteY46" fmla="*/ 444818 h 616267"/>
              <a:gd name="connsiteX47" fmla="*/ 341948 w 753427"/>
              <a:gd name="connsiteY47" fmla="*/ 410528 h 616267"/>
              <a:gd name="connsiteX48" fmla="*/ 410528 w 753427"/>
              <a:gd name="connsiteY48" fmla="*/ 410528 h 616267"/>
              <a:gd name="connsiteX49" fmla="*/ 410528 w 753427"/>
              <a:gd name="connsiteY49" fmla="*/ 444818 h 616267"/>
              <a:gd name="connsiteX50" fmla="*/ 410528 w 753427"/>
              <a:gd name="connsiteY50" fmla="*/ 376238 h 616267"/>
              <a:gd name="connsiteX51" fmla="*/ 341948 w 753427"/>
              <a:gd name="connsiteY51" fmla="*/ 376238 h 616267"/>
              <a:gd name="connsiteX52" fmla="*/ 341948 w 753427"/>
              <a:gd name="connsiteY52" fmla="*/ 137160 h 616267"/>
              <a:gd name="connsiteX53" fmla="*/ 410528 w 753427"/>
              <a:gd name="connsiteY53" fmla="*/ 137160 h 616267"/>
              <a:gd name="connsiteX54" fmla="*/ 410528 w 753427"/>
              <a:gd name="connsiteY54" fmla="*/ 376238 h 616267"/>
              <a:gd name="connsiteX55" fmla="*/ 444818 w 753427"/>
              <a:gd name="connsiteY55" fmla="*/ 97155 h 616267"/>
              <a:gd name="connsiteX56" fmla="*/ 444818 w 753427"/>
              <a:gd name="connsiteY56" fmla="*/ 97155 h 616267"/>
              <a:gd name="connsiteX57" fmla="*/ 513398 w 753427"/>
              <a:gd name="connsiteY57" fmla="*/ 34290 h 616267"/>
              <a:gd name="connsiteX58" fmla="*/ 575310 w 753427"/>
              <a:gd name="connsiteY58" fmla="*/ 74295 h 616267"/>
              <a:gd name="connsiteX59" fmla="*/ 575310 w 753427"/>
              <a:gd name="connsiteY59" fmla="*/ 74295 h 616267"/>
              <a:gd name="connsiteX60" fmla="*/ 667703 w 753427"/>
              <a:gd name="connsiteY60" fmla="*/ 297180 h 616267"/>
              <a:gd name="connsiteX61" fmla="*/ 581978 w 753427"/>
              <a:gd name="connsiteY61" fmla="*/ 273368 h 616267"/>
              <a:gd name="connsiteX62" fmla="*/ 444818 w 753427"/>
              <a:gd name="connsiteY62" fmla="*/ 341948 h 616267"/>
              <a:gd name="connsiteX63" fmla="*/ 444818 w 753427"/>
              <a:gd name="connsiteY63" fmla="*/ 97155 h 616267"/>
              <a:gd name="connsiteX64" fmla="*/ 581978 w 753427"/>
              <a:gd name="connsiteY64" fmla="*/ 581978 h 616267"/>
              <a:gd name="connsiteX65" fmla="*/ 444818 w 753427"/>
              <a:gd name="connsiteY65" fmla="*/ 444818 h 616267"/>
              <a:gd name="connsiteX66" fmla="*/ 581978 w 753427"/>
              <a:gd name="connsiteY66" fmla="*/ 307658 h 616267"/>
              <a:gd name="connsiteX67" fmla="*/ 719138 w 753427"/>
              <a:gd name="connsiteY67" fmla="*/ 444818 h 616267"/>
              <a:gd name="connsiteX68" fmla="*/ 581978 w 753427"/>
              <a:gd name="connsiteY68" fmla="*/ 581978 h 6162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753427" h="616267">
                <a:moveTo>
                  <a:pt x="171450" y="341948"/>
                </a:moveTo>
                <a:cubicBezTo>
                  <a:pt x="114300" y="341948"/>
                  <a:pt x="68580" y="387668"/>
                  <a:pt x="68580" y="444818"/>
                </a:cubicBezTo>
                <a:cubicBezTo>
                  <a:pt x="68580" y="454343"/>
                  <a:pt x="76200" y="461963"/>
                  <a:pt x="85725" y="461963"/>
                </a:cubicBezTo>
                <a:cubicBezTo>
                  <a:pt x="95250" y="461963"/>
                  <a:pt x="102870" y="454343"/>
                  <a:pt x="102870" y="444818"/>
                </a:cubicBezTo>
                <a:cubicBezTo>
                  <a:pt x="102870" y="406718"/>
                  <a:pt x="133350" y="376238"/>
                  <a:pt x="171450" y="376238"/>
                </a:cubicBezTo>
                <a:cubicBezTo>
                  <a:pt x="180975" y="376238"/>
                  <a:pt x="188595" y="368618"/>
                  <a:pt x="188595" y="359093"/>
                </a:cubicBezTo>
                <a:cubicBezTo>
                  <a:pt x="188595" y="349568"/>
                  <a:pt x="180975" y="341948"/>
                  <a:pt x="171450" y="341948"/>
                </a:cubicBezTo>
                <a:close/>
                <a:moveTo>
                  <a:pt x="581978" y="341948"/>
                </a:moveTo>
                <a:cubicBezTo>
                  <a:pt x="524828" y="341948"/>
                  <a:pt x="479108" y="387668"/>
                  <a:pt x="479108" y="444818"/>
                </a:cubicBezTo>
                <a:cubicBezTo>
                  <a:pt x="479108" y="454343"/>
                  <a:pt x="486728" y="461963"/>
                  <a:pt x="496253" y="461963"/>
                </a:cubicBezTo>
                <a:cubicBezTo>
                  <a:pt x="505778" y="461963"/>
                  <a:pt x="513398" y="454343"/>
                  <a:pt x="513398" y="444818"/>
                </a:cubicBezTo>
                <a:cubicBezTo>
                  <a:pt x="513398" y="406718"/>
                  <a:pt x="543878" y="376238"/>
                  <a:pt x="581978" y="376238"/>
                </a:cubicBezTo>
                <a:cubicBezTo>
                  <a:pt x="591503" y="376238"/>
                  <a:pt x="599123" y="368618"/>
                  <a:pt x="599123" y="359093"/>
                </a:cubicBezTo>
                <a:cubicBezTo>
                  <a:pt x="599123" y="349568"/>
                  <a:pt x="591503" y="341948"/>
                  <a:pt x="581978" y="341948"/>
                </a:cubicBezTo>
                <a:close/>
                <a:moveTo>
                  <a:pt x="735330" y="370523"/>
                </a:moveTo>
                <a:lnTo>
                  <a:pt x="610553" y="68580"/>
                </a:lnTo>
                <a:lnTo>
                  <a:pt x="610553" y="68580"/>
                </a:lnTo>
                <a:cubicBezTo>
                  <a:pt x="595313" y="28575"/>
                  <a:pt x="558165" y="0"/>
                  <a:pt x="513398" y="0"/>
                </a:cubicBezTo>
                <a:cubicBezTo>
                  <a:pt x="456248" y="0"/>
                  <a:pt x="410528" y="45720"/>
                  <a:pt x="410528" y="102870"/>
                </a:cubicBezTo>
                <a:lnTo>
                  <a:pt x="341948" y="102870"/>
                </a:lnTo>
                <a:cubicBezTo>
                  <a:pt x="341948" y="45720"/>
                  <a:pt x="296228" y="0"/>
                  <a:pt x="239078" y="0"/>
                </a:cubicBezTo>
                <a:cubicBezTo>
                  <a:pt x="195263" y="0"/>
                  <a:pt x="157163" y="28575"/>
                  <a:pt x="142875" y="68580"/>
                </a:cubicBezTo>
                <a:lnTo>
                  <a:pt x="142875" y="68580"/>
                </a:lnTo>
                <a:lnTo>
                  <a:pt x="17145" y="370523"/>
                </a:lnTo>
                <a:cubicBezTo>
                  <a:pt x="5715" y="393383"/>
                  <a:pt x="0" y="418148"/>
                  <a:pt x="0" y="444818"/>
                </a:cubicBezTo>
                <a:cubicBezTo>
                  <a:pt x="0" y="539115"/>
                  <a:pt x="76200" y="616268"/>
                  <a:pt x="171450" y="616268"/>
                </a:cubicBezTo>
                <a:cubicBezTo>
                  <a:pt x="254318" y="616268"/>
                  <a:pt x="322898" y="557213"/>
                  <a:pt x="339090" y="479108"/>
                </a:cubicBezTo>
                <a:lnTo>
                  <a:pt x="414338" y="479108"/>
                </a:lnTo>
                <a:cubicBezTo>
                  <a:pt x="430530" y="557213"/>
                  <a:pt x="499110" y="616268"/>
                  <a:pt x="581978" y="616268"/>
                </a:cubicBezTo>
                <a:cubicBezTo>
                  <a:pt x="676275" y="616268"/>
                  <a:pt x="753428" y="540068"/>
                  <a:pt x="753428" y="444818"/>
                </a:cubicBezTo>
                <a:cubicBezTo>
                  <a:pt x="752475" y="418148"/>
                  <a:pt x="746760" y="392430"/>
                  <a:pt x="735330" y="370523"/>
                </a:cubicBezTo>
                <a:close/>
                <a:moveTo>
                  <a:pt x="171450" y="581978"/>
                </a:moveTo>
                <a:cubicBezTo>
                  <a:pt x="96203" y="581978"/>
                  <a:pt x="34290" y="521018"/>
                  <a:pt x="34290" y="444818"/>
                </a:cubicBezTo>
                <a:cubicBezTo>
                  <a:pt x="34290" y="368618"/>
                  <a:pt x="95250" y="307658"/>
                  <a:pt x="171450" y="307658"/>
                </a:cubicBezTo>
                <a:cubicBezTo>
                  <a:pt x="247650" y="307658"/>
                  <a:pt x="308610" y="368618"/>
                  <a:pt x="308610" y="444818"/>
                </a:cubicBezTo>
                <a:cubicBezTo>
                  <a:pt x="308610" y="521018"/>
                  <a:pt x="246698" y="581978"/>
                  <a:pt x="171450" y="581978"/>
                </a:cubicBezTo>
                <a:close/>
                <a:moveTo>
                  <a:pt x="307658" y="342900"/>
                </a:moveTo>
                <a:cubicBezTo>
                  <a:pt x="276225" y="300990"/>
                  <a:pt x="226695" y="274320"/>
                  <a:pt x="170498" y="274320"/>
                </a:cubicBezTo>
                <a:cubicBezTo>
                  <a:pt x="139065" y="274320"/>
                  <a:pt x="109538" y="282893"/>
                  <a:pt x="84773" y="298133"/>
                </a:cubicBezTo>
                <a:lnTo>
                  <a:pt x="177165" y="75248"/>
                </a:lnTo>
                <a:lnTo>
                  <a:pt x="177165" y="75248"/>
                </a:lnTo>
                <a:cubicBezTo>
                  <a:pt x="187643" y="51435"/>
                  <a:pt x="211455" y="35243"/>
                  <a:pt x="239078" y="35243"/>
                </a:cubicBezTo>
                <a:cubicBezTo>
                  <a:pt x="275273" y="35243"/>
                  <a:pt x="303848" y="62865"/>
                  <a:pt x="306705" y="98108"/>
                </a:cubicBezTo>
                <a:lnTo>
                  <a:pt x="307658" y="98108"/>
                </a:lnTo>
                <a:lnTo>
                  <a:pt x="307658" y="342900"/>
                </a:lnTo>
                <a:close/>
                <a:moveTo>
                  <a:pt x="410528" y="444818"/>
                </a:moveTo>
                <a:lnTo>
                  <a:pt x="341948" y="444818"/>
                </a:lnTo>
                <a:lnTo>
                  <a:pt x="341948" y="410528"/>
                </a:lnTo>
                <a:lnTo>
                  <a:pt x="410528" y="410528"/>
                </a:lnTo>
                <a:lnTo>
                  <a:pt x="410528" y="444818"/>
                </a:lnTo>
                <a:close/>
                <a:moveTo>
                  <a:pt x="410528" y="376238"/>
                </a:moveTo>
                <a:lnTo>
                  <a:pt x="341948" y="376238"/>
                </a:lnTo>
                <a:lnTo>
                  <a:pt x="341948" y="137160"/>
                </a:lnTo>
                <a:lnTo>
                  <a:pt x="410528" y="137160"/>
                </a:lnTo>
                <a:lnTo>
                  <a:pt x="410528" y="376238"/>
                </a:lnTo>
                <a:close/>
                <a:moveTo>
                  <a:pt x="444818" y="97155"/>
                </a:moveTo>
                <a:lnTo>
                  <a:pt x="444818" y="97155"/>
                </a:lnTo>
                <a:cubicBezTo>
                  <a:pt x="448628" y="61913"/>
                  <a:pt x="477203" y="34290"/>
                  <a:pt x="513398" y="34290"/>
                </a:cubicBezTo>
                <a:cubicBezTo>
                  <a:pt x="541020" y="34290"/>
                  <a:pt x="564833" y="50483"/>
                  <a:pt x="575310" y="74295"/>
                </a:cubicBezTo>
                <a:lnTo>
                  <a:pt x="575310" y="74295"/>
                </a:lnTo>
                <a:lnTo>
                  <a:pt x="667703" y="297180"/>
                </a:lnTo>
                <a:cubicBezTo>
                  <a:pt x="641985" y="281940"/>
                  <a:pt x="613410" y="273368"/>
                  <a:pt x="581978" y="273368"/>
                </a:cubicBezTo>
                <a:cubicBezTo>
                  <a:pt x="525780" y="273368"/>
                  <a:pt x="476250" y="300038"/>
                  <a:pt x="444818" y="341948"/>
                </a:cubicBezTo>
                <a:lnTo>
                  <a:pt x="444818" y="97155"/>
                </a:lnTo>
                <a:close/>
                <a:moveTo>
                  <a:pt x="581978" y="581978"/>
                </a:moveTo>
                <a:cubicBezTo>
                  <a:pt x="506730" y="581978"/>
                  <a:pt x="444818" y="521018"/>
                  <a:pt x="444818" y="444818"/>
                </a:cubicBezTo>
                <a:cubicBezTo>
                  <a:pt x="444818" y="368618"/>
                  <a:pt x="505778" y="307658"/>
                  <a:pt x="581978" y="307658"/>
                </a:cubicBezTo>
                <a:cubicBezTo>
                  <a:pt x="658178" y="307658"/>
                  <a:pt x="719138" y="368618"/>
                  <a:pt x="719138" y="444818"/>
                </a:cubicBezTo>
                <a:cubicBezTo>
                  <a:pt x="719138" y="521018"/>
                  <a:pt x="657225" y="581978"/>
                  <a:pt x="581978" y="581978"/>
                </a:cubicBezTo>
                <a:close/>
              </a:path>
            </a:pathLst>
          </a:custGeom>
          <a:solidFill>
            <a:srgbClr val="26314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7674214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Espaço Reservado para Imagem 4" descr="Quarto com cama de solteiro&#10;&#10;Descrição gerada automaticamente">
            <a:extLst>
              <a:ext uri="{FF2B5EF4-FFF2-40B4-BE49-F238E27FC236}">
                <a16:creationId xmlns:a16="http://schemas.microsoft.com/office/drawing/2014/main" id="{89651EF0-2106-4360-BE93-D0FF0483E32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0" b="20"/>
          <a:stretch/>
        </p:blipFill>
        <p:spPr/>
      </p:pic>
      <p:sp>
        <p:nvSpPr>
          <p:cNvPr id="7" name="Espaço Reservado para Conteúdo 6">
            <a:extLst>
              <a:ext uri="{FF2B5EF4-FFF2-40B4-BE49-F238E27FC236}">
                <a16:creationId xmlns:a16="http://schemas.microsoft.com/office/drawing/2014/main" id="{F779F6B2-A112-4BB7-9D2C-60C750117BAF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pt-BR" dirty="0"/>
              <a:t>Inserir texto descritivo</a:t>
            </a:r>
          </a:p>
        </p:txBody>
      </p:sp>
      <p:sp>
        <p:nvSpPr>
          <p:cNvPr id="8" name="Espaço Reservado para Conteúdo 7">
            <a:extLst>
              <a:ext uri="{FF2B5EF4-FFF2-40B4-BE49-F238E27FC236}">
                <a16:creationId xmlns:a16="http://schemas.microsoft.com/office/drawing/2014/main" id="{6F71D8F8-5B88-46AF-BD03-A677D38C4D6F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pt-BR" dirty="0"/>
              <a:t>Inserir texto descritivo</a:t>
            </a:r>
          </a:p>
        </p:txBody>
      </p:sp>
      <p:sp>
        <p:nvSpPr>
          <p:cNvPr id="9" name="Espaço Reservado para Conteúdo 8">
            <a:extLst>
              <a:ext uri="{FF2B5EF4-FFF2-40B4-BE49-F238E27FC236}">
                <a16:creationId xmlns:a16="http://schemas.microsoft.com/office/drawing/2014/main" id="{61FB3F28-F972-4842-AD59-8F825417F4D8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9918700" y="4635500"/>
            <a:ext cx="2273300" cy="1127125"/>
          </a:xfrm>
        </p:spPr>
        <p:txBody>
          <a:bodyPr/>
          <a:lstStyle/>
          <a:p>
            <a:r>
              <a:rPr lang="pt-BR" dirty="0"/>
              <a:t>Inserir texto descritivo</a:t>
            </a:r>
          </a:p>
        </p:txBody>
      </p:sp>
      <p:sp>
        <p:nvSpPr>
          <p:cNvPr id="10" name="Espaço Reservado para Conteúdo 9">
            <a:extLst>
              <a:ext uri="{FF2B5EF4-FFF2-40B4-BE49-F238E27FC236}">
                <a16:creationId xmlns:a16="http://schemas.microsoft.com/office/drawing/2014/main" id="{A4AE86E5-DED2-4FE9-A12E-8330DFCB7B53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9918700" y="4635500"/>
            <a:ext cx="2273300" cy="1127125"/>
          </a:xfrm>
        </p:spPr>
        <p:txBody>
          <a:bodyPr/>
          <a:lstStyle/>
          <a:p>
            <a:r>
              <a:rPr lang="pt-BR" dirty="0"/>
              <a:t>Inserir texto descritivo</a:t>
            </a:r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id="{27D3C8E6-DEA7-49BB-9B9A-632AE52324A8}"/>
              </a:ext>
            </a:extLst>
          </p:cNvPr>
          <p:cNvSpPr/>
          <p:nvPr/>
        </p:nvSpPr>
        <p:spPr>
          <a:xfrm>
            <a:off x="876299" y="2673350"/>
            <a:ext cx="1511300" cy="1511300"/>
          </a:xfrm>
          <a:prstGeom prst="ellipse">
            <a:avLst/>
          </a:prstGeom>
          <a:solidFill>
            <a:srgbClr val="D6D6CE"/>
          </a:solidFill>
          <a:ln w="57150">
            <a:solidFill>
              <a:srgbClr val="263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Elipse 12">
            <a:extLst>
              <a:ext uri="{FF2B5EF4-FFF2-40B4-BE49-F238E27FC236}">
                <a16:creationId xmlns:a16="http://schemas.microsoft.com/office/drawing/2014/main" id="{00227B91-FF6D-4557-9DF8-A84A19C073D1}"/>
              </a:ext>
            </a:extLst>
          </p:cNvPr>
          <p:cNvSpPr/>
          <p:nvPr/>
        </p:nvSpPr>
        <p:spPr>
          <a:xfrm>
            <a:off x="3852333" y="2673350"/>
            <a:ext cx="1511300" cy="1511300"/>
          </a:xfrm>
          <a:prstGeom prst="ellipse">
            <a:avLst/>
          </a:prstGeom>
          <a:solidFill>
            <a:srgbClr val="D6D6CE"/>
          </a:solidFill>
          <a:ln w="57150">
            <a:solidFill>
              <a:srgbClr val="263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Elipse 13">
            <a:extLst>
              <a:ext uri="{FF2B5EF4-FFF2-40B4-BE49-F238E27FC236}">
                <a16:creationId xmlns:a16="http://schemas.microsoft.com/office/drawing/2014/main" id="{004E3AF5-EA7F-4669-B191-1131499DD730}"/>
              </a:ext>
            </a:extLst>
          </p:cNvPr>
          <p:cNvSpPr/>
          <p:nvPr/>
        </p:nvSpPr>
        <p:spPr>
          <a:xfrm>
            <a:off x="6828367" y="2673350"/>
            <a:ext cx="1511300" cy="1511300"/>
          </a:xfrm>
          <a:prstGeom prst="ellipse">
            <a:avLst/>
          </a:prstGeom>
          <a:solidFill>
            <a:srgbClr val="D6D6CE"/>
          </a:solidFill>
          <a:ln w="57150">
            <a:solidFill>
              <a:srgbClr val="263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Elipse 14">
            <a:extLst>
              <a:ext uri="{FF2B5EF4-FFF2-40B4-BE49-F238E27FC236}">
                <a16:creationId xmlns:a16="http://schemas.microsoft.com/office/drawing/2014/main" id="{3C0578BF-F8C3-43C8-8F58-24125488B279}"/>
              </a:ext>
            </a:extLst>
          </p:cNvPr>
          <p:cNvSpPr/>
          <p:nvPr/>
        </p:nvSpPr>
        <p:spPr>
          <a:xfrm>
            <a:off x="9804400" y="2673350"/>
            <a:ext cx="1511300" cy="1511300"/>
          </a:xfrm>
          <a:prstGeom prst="ellipse">
            <a:avLst/>
          </a:prstGeom>
          <a:solidFill>
            <a:srgbClr val="D6D6CE"/>
          </a:solidFill>
          <a:ln w="57150">
            <a:solidFill>
              <a:srgbClr val="263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grpSp>
        <p:nvGrpSpPr>
          <p:cNvPr id="19" name="Gráfico 17">
            <a:extLst>
              <a:ext uri="{FF2B5EF4-FFF2-40B4-BE49-F238E27FC236}">
                <a16:creationId xmlns:a16="http://schemas.microsoft.com/office/drawing/2014/main" id="{76FA0D02-217C-4B2A-9EEF-0DCCEED2C963}"/>
              </a:ext>
            </a:extLst>
          </p:cNvPr>
          <p:cNvGrpSpPr/>
          <p:nvPr/>
        </p:nvGrpSpPr>
        <p:grpSpPr>
          <a:xfrm>
            <a:off x="1342520" y="3098798"/>
            <a:ext cx="578858" cy="622301"/>
            <a:chOff x="4395787" y="1600200"/>
            <a:chExt cx="3401377" cy="3656647"/>
          </a:xfrm>
          <a:solidFill>
            <a:srgbClr val="263143"/>
          </a:solidFill>
        </p:grpSpPr>
        <p:sp>
          <p:nvSpPr>
            <p:cNvPr id="20" name="Forma Livre: Forma 19">
              <a:extLst>
                <a:ext uri="{FF2B5EF4-FFF2-40B4-BE49-F238E27FC236}">
                  <a16:creationId xmlns:a16="http://schemas.microsoft.com/office/drawing/2014/main" id="{43A08856-B624-493C-B79E-5FFEFE53359D}"/>
                </a:ext>
              </a:extLst>
            </p:cNvPr>
            <p:cNvSpPr/>
            <p:nvPr/>
          </p:nvSpPr>
          <p:spPr>
            <a:xfrm>
              <a:off x="6830377" y="2005012"/>
              <a:ext cx="507682" cy="506729"/>
            </a:xfrm>
            <a:custGeom>
              <a:avLst/>
              <a:gdLst>
                <a:gd name="connsiteX0" fmla="*/ 71438 w 507682"/>
                <a:gd name="connsiteY0" fmla="*/ 506730 h 506729"/>
                <a:gd name="connsiteX1" fmla="*/ 436245 w 507682"/>
                <a:gd name="connsiteY1" fmla="*/ 506730 h 506729"/>
                <a:gd name="connsiteX2" fmla="*/ 507682 w 507682"/>
                <a:gd name="connsiteY2" fmla="*/ 435292 h 506729"/>
                <a:gd name="connsiteX3" fmla="*/ 507682 w 507682"/>
                <a:gd name="connsiteY3" fmla="*/ 71438 h 506729"/>
                <a:gd name="connsiteX4" fmla="*/ 436245 w 507682"/>
                <a:gd name="connsiteY4" fmla="*/ 0 h 506729"/>
                <a:gd name="connsiteX5" fmla="*/ 71438 w 507682"/>
                <a:gd name="connsiteY5" fmla="*/ 0 h 506729"/>
                <a:gd name="connsiteX6" fmla="*/ 0 w 507682"/>
                <a:gd name="connsiteY6" fmla="*/ 71438 h 506729"/>
                <a:gd name="connsiteX7" fmla="*/ 0 w 507682"/>
                <a:gd name="connsiteY7" fmla="*/ 436245 h 506729"/>
                <a:gd name="connsiteX8" fmla="*/ 71438 w 507682"/>
                <a:gd name="connsiteY8" fmla="*/ 506730 h 506729"/>
                <a:gd name="connsiteX9" fmla="*/ 71438 w 507682"/>
                <a:gd name="connsiteY9" fmla="*/ 506730 h 506729"/>
                <a:gd name="connsiteX10" fmla="*/ 142875 w 507682"/>
                <a:gd name="connsiteY10" fmla="*/ 142875 h 506729"/>
                <a:gd name="connsiteX11" fmla="*/ 364807 w 507682"/>
                <a:gd name="connsiteY11" fmla="*/ 142875 h 506729"/>
                <a:gd name="connsiteX12" fmla="*/ 364807 w 507682"/>
                <a:gd name="connsiteY12" fmla="*/ 364808 h 506729"/>
                <a:gd name="connsiteX13" fmla="*/ 142875 w 507682"/>
                <a:gd name="connsiteY13" fmla="*/ 364808 h 506729"/>
                <a:gd name="connsiteX14" fmla="*/ 142875 w 507682"/>
                <a:gd name="connsiteY14" fmla="*/ 142875 h 506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07682" h="506729">
                  <a:moveTo>
                    <a:pt x="71438" y="506730"/>
                  </a:moveTo>
                  <a:lnTo>
                    <a:pt x="436245" y="506730"/>
                  </a:lnTo>
                  <a:cubicBezTo>
                    <a:pt x="475297" y="506730"/>
                    <a:pt x="507682" y="474345"/>
                    <a:pt x="507682" y="435292"/>
                  </a:cubicBezTo>
                  <a:lnTo>
                    <a:pt x="507682" y="71438"/>
                  </a:lnTo>
                  <a:cubicBezTo>
                    <a:pt x="507682" y="32385"/>
                    <a:pt x="475297" y="0"/>
                    <a:pt x="436245" y="0"/>
                  </a:cubicBezTo>
                  <a:lnTo>
                    <a:pt x="71438" y="0"/>
                  </a:lnTo>
                  <a:cubicBezTo>
                    <a:pt x="32385" y="0"/>
                    <a:pt x="0" y="32385"/>
                    <a:pt x="0" y="71438"/>
                  </a:cubicBezTo>
                  <a:lnTo>
                    <a:pt x="0" y="436245"/>
                  </a:lnTo>
                  <a:cubicBezTo>
                    <a:pt x="0" y="475298"/>
                    <a:pt x="32385" y="506730"/>
                    <a:pt x="71438" y="506730"/>
                  </a:cubicBezTo>
                  <a:lnTo>
                    <a:pt x="71438" y="506730"/>
                  </a:lnTo>
                  <a:close/>
                  <a:moveTo>
                    <a:pt x="142875" y="142875"/>
                  </a:moveTo>
                  <a:lnTo>
                    <a:pt x="364807" y="142875"/>
                  </a:lnTo>
                  <a:lnTo>
                    <a:pt x="364807" y="364808"/>
                  </a:lnTo>
                  <a:lnTo>
                    <a:pt x="142875" y="364808"/>
                  </a:lnTo>
                  <a:lnTo>
                    <a:pt x="142875" y="14287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1" name="Forma Livre: Forma 20">
              <a:extLst>
                <a:ext uri="{FF2B5EF4-FFF2-40B4-BE49-F238E27FC236}">
                  <a16:creationId xmlns:a16="http://schemas.microsoft.com/office/drawing/2014/main" id="{DB3B53B6-E0B1-4465-9185-96A0919520C9}"/>
                </a:ext>
              </a:extLst>
            </p:cNvPr>
            <p:cNvSpPr/>
            <p:nvPr/>
          </p:nvSpPr>
          <p:spPr>
            <a:xfrm>
              <a:off x="6830377" y="2753677"/>
              <a:ext cx="507682" cy="507682"/>
            </a:xfrm>
            <a:custGeom>
              <a:avLst/>
              <a:gdLst>
                <a:gd name="connsiteX0" fmla="*/ 71438 w 507682"/>
                <a:gd name="connsiteY0" fmla="*/ 507682 h 507682"/>
                <a:gd name="connsiteX1" fmla="*/ 436245 w 507682"/>
                <a:gd name="connsiteY1" fmla="*/ 507682 h 507682"/>
                <a:gd name="connsiteX2" fmla="*/ 507682 w 507682"/>
                <a:gd name="connsiteY2" fmla="*/ 436245 h 507682"/>
                <a:gd name="connsiteX3" fmla="*/ 507682 w 507682"/>
                <a:gd name="connsiteY3" fmla="*/ 71438 h 507682"/>
                <a:gd name="connsiteX4" fmla="*/ 436245 w 507682"/>
                <a:gd name="connsiteY4" fmla="*/ 0 h 507682"/>
                <a:gd name="connsiteX5" fmla="*/ 71438 w 507682"/>
                <a:gd name="connsiteY5" fmla="*/ 0 h 507682"/>
                <a:gd name="connsiteX6" fmla="*/ 0 w 507682"/>
                <a:gd name="connsiteY6" fmla="*/ 71438 h 507682"/>
                <a:gd name="connsiteX7" fmla="*/ 0 w 507682"/>
                <a:gd name="connsiteY7" fmla="*/ 436245 h 507682"/>
                <a:gd name="connsiteX8" fmla="*/ 71438 w 507682"/>
                <a:gd name="connsiteY8" fmla="*/ 507682 h 507682"/>
                <a:gd name="connsiteX9" fmla="*/ 71438 w 507682"/>
                <a:gd name="connsiteY9" fmla="*/ 507682 h 507682"/>
                <a:gd name="connsiteX10" fmla="*/ 142875 w 507682"/>
                <a:gd name="connsiteY10" fmla="*/ 142875 h 507682"/>
                <a:gd name="connsiteX11" fmla="*/ 364807 w 507682"/>
                <a:gd name="connsiteY11" fmla="*/ 142875 h 507682"/>
                <a:gd name="connsiteX12" fmla="*/ 364807 w 507682"/>
                <a:gd name="connsiteY12" fmla="*/ 364807 h 507682"/>
                <a:gd name="connsiteX13" fmla="*/ 142875 w 507682"/>
                <a:gd name="connsiteY13" fmla="*/ 364807 h 507682"/>
                <a:gd name="connsiteX14" fmla="*/ 142875 w 507682"/>
                <a:gd name="connsiteY14" fmla="*/ 142875 h 507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07682" h="507682">
                  <a:moveTo>
                    <a:pt x="71438" y="507682"/>
                  </a:moveTo>
                  <a:lnTo>
                    <a:pt x="436245" y="507682"/>
                  </a:lnTo>
                  <a:cubicBezTo>
                    <a:pt x="475297" y="507682"/>
                    <a:pt x="507682" y="475298"/>
                    <a:pt x="507682" y="436245"/>
                  </a:cubicBezTo>
                  <a:lnTo>
                    <a:pt x="507682" y="71438"/>
                  </a:lnTo>
                  <a:cubicBezTo>
                    <a:pt x="507682" y="32385"/>
                    <a:pt x="475297" y="0"/>
                    <a:pt x="436245" y="0"/>
                  </a:cubicBezTo>
                  <a:lnTo>
                    <a:pt x="71438" y="0"/>
                  </a:lnTo>
                  <a:cubicBezTo>
                    <a:pt x="32385" y="0"/>
                    <a:pt x="0" y="32385"/>
                    <a:pt x="0" y="71438"/>
                  </a:cubicBezTo>
                  <a:lnTo>
                    <a:pt x="0" y="436245"/>
                  </a:lnTo>
                  <a:cubicBezTo>
                    <a:pt x="0" y="475298"/>
                    <a:pt x="32385" y="507682"/>
                    <a:pt x="71438" y="507682"/>
                  </a:cubicBezTo>
                  <a:lnTo>
                    <a:pt x="71438" y="507682"/>
                  </a:lnTo>
                  <a:close/>
                  <a:moveTo>
                    <a:pt x="142875" y="142875"/>
                  </a:moveTo>
                  <a:lnTo>
                    <a:pt x="364807" y="142875"/>
                  </a:lnTo>
                  <a:lnTo>
                    <a:pt x="364807" y="364807"/>
                  </a:lnTo>
                  <a:lnTo>
                    <a:pt x="142875" y="364807"/>
                  </a:lnTo>
                  <a:lnTo>
                    <a:pt x="142875" y="14287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2" name="Forma Livre: Forma 21">
              <a:extLst>
                <a:ext uri="{FF2B5EF4-FFF2-40B4-BE49-F238E27FC236}">
                  <a16:creationId xmlns:a16="http://schemas.microsoft.com/office/drawing/2014/main" id="{1B6C8DE8-B159-4102-A3B8-8B9E9D2BE9A0}"/>
                </a:ext>
              </a:extLst>
            </p:cNvPr>
            <p:cNvSpPr/>
            <p:nvPr/>
          </p:nvSpPr>
          <p:spPr>
            <a:xfrm>
              <a:off x="6830377" y="3503295"/>
              <a:ext cx="507682" cy="507682"/>
            </a:xfrm>
            <a:custGeom>
              <a:avLst/>
              <a:gdLst>
                <a:gd name="connsiteX0" fmla="*/ 71438 w 507682"/>
                <a:gd name="connsiteY0" fmla="*/ 507683 h 507682"/>
                <a:gd name="connsiteX1" fmla="*/ 436245 w 507682"/>
                <a:gd name="connsiteY1" fmla="*/ 507683 h 507682"/>
                <a:gd name="connsiteX2" fmla="*/ 507682 w 507682"/>
                <a:gd name="connsiteY2" fmla="*/ 436245 h 507682"/>
                <a:gd name="connsiteX3" fmla="*/ 507682 w 507682"/>
                <a:gd name="connsiteY3" fmla="*/ 71438 h 507682"/>
                <a:gd name="connsiteX4" fmla="*/ 436245 w 507682"/>
                <a:gd name="connsiteY4" fmla="*/ 0 h 507682"/>
                <a:gd name="connsiteX5" fmla="*/ 71438 w 507682"/>
                <a:gd name="connsiteY5" fmla="*/ 0 h 507682"/>
                <a:gd name="connsiteX6" fmla="*/ 0 w 507682"/>
                <a:gd name="connsiteY6" fmla="*/ 71438 h 507682"/>
                <a:gd name="connsiteX7" fmla="*/ 0 w 507682"/>
                <a:gd name="connsiteY7" fmla="*/ 436245 h 507682"/>
                <a:gd name="connsiteX8" fmla="*/ 71438 w 507682"/>
                <a:gd name="connsiteY8" fmla="*/ 507683 h 507682"/>
                <a:gd name="connsiteX9" fmla="*/ 71438 w 507682"/>
                <a:gd name="connsiteY9" fmla="*/ 507683 h 507682"/>
                <a:gd name="connsiteX10" fmla="*/ 142875 w 507682"/>
                <a:gd name="connsiteY10" fmla="*/ 142875 h 507682"/>
                <a:gd name="connsiteX11" fmla="*/ 364807 w 507682"/>
                <a:gd name="connsiteY11" fmla="*/ 142875 h 507682"/>
                <a:gd name="connsiteX12" fmla="*/ 364807 w 507682"/>
                <a:gd name="connsiteY12" fmla="*/ 364808 h 507682"/>
                <a:gd name="connsiteX13" fmla="*/ 142875 w 507682"/>
                <a:gd name="connsiteY13" fmla="*/ 364808 h 507682"/>
                <a:gd name="connsiteX14" fmla="*/ 142875 w 507682"/>
                <a:gd name="connsiteY14" fmla="*/ 142875 h 507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07682" h="507682">
                  <a:moveTo>
                    <a:pt x="71438" y="507683"/>
                  </a:moveTo>
                  <a:lnTo>
                    <a:pt x="436245" y="507683"/>
                  </a:lnTo>
                  <a:cubicBezTo>
                    <a:pt x="475297" y="507683"/>
                    <a:pt x="507682" y="475297"/>
                    <a:pt x="507682" y="436245"/>
                  </a:cubicBezTo>
                  <a:lnTo>
                    <a:pt x="507682" y="71438"/>
                  </a:lnTo>
                  <a:cubicBezTo>
                    <a:pt x="507682" y="32385"/>
                    <a:pt x="475297" y="0"/>
                    <a:pt x="436245" y="0"/>
                  </a:cubicBezTo>
                  <a:lnTo>
                    <a:pt x="71438" y="0"/>
                  </a:lnTo>
                  <a:cubicBezTo>
                    <a:pt x="32385" y="0"/>
                    <a:pt x="0" y="32385"/>
                    <a:pt x="0" y="71438"/>
                  </a:cubicBezTo>
                  <a:lnTo>
                    <a:pt x="0" y="436245"/>
                  </a:lnTo>
                  <a:cubicBezTo>
                    <a:pt x="0" y="475297"/>
                    <a:pt x="32385" y="507683"/>
                    <a:pt x="71438" y="507683"/>
                  </a:cubicBezTo>
                  <a:lnTo>
                    <a:pt x="71438" y="507683"/>
                  </a:lnTo>
                  <a:close/>
                  <a:moveTo>
                    <a:pt x="142875" y="142875"/>
                  </a:moveTo>
                  <a:lnTo>
                    <a:pt x="364807" y="142875"/>
                  </a:lnTo>
                  <a:lnTo>
                    <a:pt x="364807" y="364808"/>
                  </a:lnTo>
                  <a:lnTo>
                    <a:pt x="142875" y="364808"/>
                  </a:lnTo>
                  <a:lnTo>
                    <a:pt x="142875" y="14287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3" name="Forma Livre: Forma 22">
              <a:extLst>
                <a:ext uri="{FF2B5EF4-FFF2-40B4-BE49-F238E27FC236}">
                  <a16:creationId xmlns:a16="http://schemas.microsoft.com/office/drawing/2014/main" id="{AC76C1A0-3926-439C-9A61-C3F3DCCFED6B}"/>
                </a:ext>
              </a:extLst>
            </p:cNvPr>
            <p:cNvSpPr/>
            <p:nvPr/>
          </p:nvSpPr>
          <p:spPr>
            <a:xfrm>
              <a:off x="4854892" y="2753677"/>
              <a:ext cx="507682" cy="507682"/>
            </a:xfrm>
            <a:custGeom>
              <a:avLst/>
              <a:gdLst>
                <a:gd name="connsiteX0" fmla="*/ 71438 w 507682"/>
                <a:gd name="connsiteY0" fmla="*/ 507682 h 507682"/>
                <a:gd name="connsiteX1" fmla="*/ 436245 w 507682"/>
                <a:gd name="connsiteY1" fmla="*/ 507682 h 507682"/>
                <a:gd name="connsiteX2" fmla="*/ 507683 w 507682"/>
                <a:gd name="connsiteY2" fmla="*/ 436245 h 507682"/>
                <a:gd name="connsiteX3" fmla="*/ 507683 w 507682"/>
                <a:gd name="connsiteY3" fmla="*/ 71438 h 507682"/>
                <a:gd name="connsiteX4" fmla="*/ 436245 w 507682"/>
                <a:gd name="connsiteY4" fmla="*/ 0 h 507682"/>
                <a:gd name="connsiteX5" fmla="*/ 71438 w 507682"/>
                <a:gd name="connsiteY5" fmla="*/ 0 h 507682"/>
                <a:gd name="connsiteX6" fmla="*/ 0 w 507682"/>
                <a:gd name="connsiteY6" fmla="*/ 71438 h 507682"/>
                <a:gd name="connsiteX7" fmla="*/ 0 w 507682"/>
                <a:gd name="connsiteY7" fmla="*/ 436245 h 507682"/>
                <a:gd name="connsiteX8" fmla="*/ 71438 w 507682"/>
                <a:gd name="connsiteY8" fmla="*/ 507682 h 507682"/>
                <a:gd name="connsiteX9" fmla="*/ 71438 w 507682"/>
                <a:gd name="connsiteY9" fmla="*/ 507682 h 507682"/>
                <a:gd name="connsiteX10" fmla="*/ 142875 w 507682"/>
                <a:gd name="connsiteY10" fmla="*/ 142875 h 507682"/>
                <a:gd name="connsiteX11" fmla="*/ 364808 w 507682"/>
                <a:gd name="connsiteY11" fmla="*/ 142875 h 507682"/>
                <a:gd name="connsiteX12" fmla="*/ 364808 w 507682"/>
                <a:gd name="connsiteY12" fmla="*/ 364807 h 507682"/>
                <a:gd name="connsiteX13" fmla="*/ 142875 w 507682"/>
                <a:gd name="connsiteY13" fmla="*/ 364807 h 507682"/>
                <a:gd name="connsiteX14" fmla="*/ 142875 w 507682"/>
                <a:gd name="connsiteY14" fmla="*/ 142875 h 507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07682" h="507682">
                  <a:moveTo>
                    <a:pt x="71438" y="507682"/>
                  </a:moveTo>
                  <a:lnTo>
                    <a:pt x="436245" y="507682"/>
                  </a:lnTo>
                  <a:cubicBezTo>
                    <a:pt x="475297" y="507682"/>
                    <a:pt x="507683" y="475298"/>
                    <a:pt x="507683" y="436245"/>
                  </a:cubicBezTo>
                  <a:lnTo>
                    <a:pt x="507683" y="71438"/>
                  </a:lnTo>
                  <a:cubicBezTo>
                    <a:pt x="507683" y="32385"/>
                    <a:pt x="475297" y="0"/>
                    <a:pt x="436245" y="0"/>
                  </a:cubicBezTo>
                  <a:lnTo>
                    <a:pt x="71438" y="0"/>
                  </a:lnTo>
                  <a:cubicBezTo>
                    <a:pt x="32385" y="0"/>
                    <a:pt x="0" y="32385"/>
                    <a:pt x="0" y="71438"/>
                  </a:cubicBezTo>
                  <a:lnTo>
                    <a:pt x="0" y="436245"/>
                  </a:lnTo>
                  <a:cubicBezTo>
                    <a:pt x="0" y="475298"/>
                    <a:pt x="32385" y="507682"/>
                    <a:pt x="71438" y="507682"/>
                  </a:cubicBezTo>
                  <a:lnTo>
                    <a:pt x="71438" y="507682"/>
                  </a:lnTo>
                  <a:close/>
                  <a:moveTo>
                    <a:pt x="142875" y="142875"/>
                  </a:moveTo>
                  <a:lnTo>
                    <a:pt x="364808" y="142875"/>
                  </a:lnTo>
                  <a:lnTo>
                    <a:pt x="364808" y="364807"/>
                  </a:lnTo>
                  <a:lnTo>
                    <a:pt x="142875" y="364807"/>
                  </a:lnTo>
                  <a:lnTo>
                    <a:pt x="142875" y="14287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4" name="Forma Livre: Forma 23">
              <a:extLst>
                <a:ext uri="{FF2B5EF4-FFF2-40B4-BE49-F238E27FC236}">
                  <a16:creationId xmlns:a16="http://schemas.microsoft.com/office/drawing/2014/main" id="{C413FE2A-EF40-4C88-85DE-BE270E5A2170}"/>
                </a:ext>
              </a:extLst>
            </p:cNvPr>
            <p:cNvSpPr/>
            <p:nvPr/>
          </p:nvSpPr>
          <p:spPr>
            <a:xfrm>
              <a:off x="5548312" y="2753677"/>
              <a:ext cx="507682" cy="507682"/>
            </a:xfrm>
            <a:custGeom>
              <a:avLst/>
              <a:gdLst>
                <a:gd name="connsiteX0" fmla="*/ 71438 w 507682"/>
                <a:gd name="connsiteY0" fmla="*/ 507682 h 507682"/>
                <a:gd name="connsiteX1" fmla="*/ 436245 w 507682"/>
                <a:gd name="connsiteY1" fmla="*/ 507682 h 507682"/>
                <a:gd name="connsiteX2" fmla="*/ 507683 w 507682"/>
                <a:gd name="connsiteY2" fmla="*/ 436245 h 507682"/>
                <a:gd name="connsiteX3" fmla="*/ 507683 w 507682"/>
                <a:gd name="connsiteY3" fmla="*/ 71438 h 507682"/>
                <a:gd name="connsiteX4" fmla="*/ 436245 w 507682"/>
                <a:gd name="connsiteY4" fmla="*/ 0 h 507682"/>
                <a:gd name="connsiteX5" fmla="*/ 71438 w 507682"/>
                <a:gd name="connsiteY5" fmla="*/ 0 h 507682"/>
                <a:gd name="connsiteX6" fmla="*/ 0 w 507682"/>
                <a:gd name="connsiteY6" fmla="*/ 71438 h 507682"/>
                <a:gd name="connsiteX7" fmla="*/ 0 w 507682"/>
                <a:gd name="connsiteY7" fmla="*/ 436245 h 507682"/>
                <a:gd name="connsiteX8" fmla="*/ 71438 w 507682"/>
                <a:gd name="connsiteY8" fmla="*/ 507682 h 507682"/>
                <a:gd name="connsiteX9" fmla="*/ 71438 w 507682"/>
                <a:gd name="connsiteY9" fmla="*/ 507682 h 507682"/>
                <a:gd name="connsiteX10" fmla="*/ 142875 w 507682"/>
                <a:gd name="connsiteY10" fmla="*/ 142875 h 507682"/>
                <a:gd name="connsiteX11" fmla="*/ 364808 w 507682"/>
                <a:gd name="connsiteY11" fmla="*/ 142875 h 507682"/>
                <a:gd name="connsiteX12" fmla="*/ 364808 w 507682"/>
                <a:gd name="connsiteY12" fmla="*/ 364807 h 507682"/>
                <a:gd name="connsiteX13" fmla="*/ 142875 w 507682"/>
                <a:gd name="connsiteY13" fmla="*/ 364807 h 507682"/>
                <a:gd name="connsiteX14" fmla="*/ 142875 w 507682"/>
                <a:gd name="connsiteY14" fmla="*/ 142875 h 507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07682" h="507682">
                  <a:moveTo>
                    <a:pt x="71438" y="507682"/>
                  </a:moveTo>
                  <a:lnTo>
                    <a:pt x="436245" y="507682"/>
                  </a:lnTo>
                  <a:cubicBezTo>
                    <a:pt x="475297" y="507682"/>
                    <a:pt x="507683" y="475298"/>
                    <a:pt x="507683" y="436245"/>
                  </a:cubicBezTo>
                  <a:lnTo>
                    <a:pt x="507683" y="71438"/>
                  </a:lnTo>
                  <a:cubicBezTo>
                    <a:pt x="507683" y="32385"/>
                    <a:pt x="475297" y="0"/>
                    <a:pt x="436245" y="0"/>
                  </a:cubicBezTo>
                  <a:lnTo>
                    <a:pt x="71438" y="0"/>
                  </a:lnTo>
                  <a:cubicBezTo>
                    <a:pt x="32385" y="0"/>
                    <a:pt x="0" y="32385"/>
                    <a:pt x="0" y="71438"/>
                  </a:cubicBezTo>
                  <a:lnTo>
                    <a:pt x="0" y="436245"/>
                  </a:lnTo>
                  <a:cubicBezTo>
                    <a:pt x="0" y="475298"/>
                    <a:pt x="32385" y="507682"/>
                    <a:pt x="71438" y="507682"/>
                  </a:cubicBezTo>
                  <a:lnTo>
                    <a:pt x="71438" y="507682"/>
                  </a:lnTo>
                  <a:close/>
                  <a:moveTo>
                    <a:pt x="142875" y="142875"/>
                  </a:moveTo>
                  <a:lnTo>
                    <a:pt x="364808" y="142875"/>
                  </a:lnTo>
                  <a:lnTo>
                    <a:pt x="364808" y="364807"/>
                  </a:lnTo>
                  <a:lnTo>
                    <a:pt x="142875" y="364807"/>
                  </a:lnTo>
                  <a:lnTo>
                    <a:pt x="142875" y="14287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5" name="Forma Livre: Forma 24">
              <a:extLst>
                <a:ext uri="{FF2B5EF4-FFF2-40B4-BE49-F238E27FC236}">
                  <a16:creationId xmlns:a16="http://schemas.microsoft.com/office/drawing/2014/main" id="{F5CCC81F-1C28-40EB-AF36-C30A6EE4AC47}"/>
                </a:ext>
              </a:extLst>
            </p:cNvPr>
            <p:cNvSpPr/>
            <p:nvPr/>
          </p:nvSpPr>
          <p:spPr>
            <a:xfrm>
              <a:off x="4854892" y="3503295"/>
              <a:ext cx="507682" cy="507682"/>
            </a:xfrm>
            <a:custGeom>
              <a:avLst/>
              <a:gdLst>
                <a:gd name="connsiteX0" fmla="*/ 436245 w 507682"/>
                <a:gd name="connsiteY0" fmla="*/ 507683 h 507682"/>
                <a:gd name="connsiteX1" fmla="*/ 507683 w 507682"/>
                <a:gd name="connsiteY1" fmla="*/ 436245 h 507682"/>
                <a:gd name="connsiteX2" fmla="*/ 507683 w 507682"/>
                <a:gd name="connsiteY2" fmla="*/ 71438 h 507682"/>
                <a:gd name="connsiteX3" fmla="*/ 436245 w 507682"/>
                <a:gd name="connsiteY3" fmla="*/ 0 h 507682"/>
                <a:gd name="connsiteX4" fmla="*/ 71438 w 507682"/>
                <a:gd name="connsiteY4" fmla="*/ 0 h 507682"/>
                <a:gd name="connsiteX5" fmla="*/ 0 w 507682"/>
                <a:gd name="connsiteY5" fmla="*/ 71438 h 507682"/>
                <a:gd name="connsiteX6" fmla="*/ 0 w 507682"/>
                <a:gd name="connsiteY6" fmla="*/ 436245 h 507682"/>
                <a:gd name="connsiteX7" fmla="*/ 71438 w 507682"/>
                <a:gd name="connsiteY7" fmla="*/ 507683 h 507682"/>
                <a:gd name="connsiteX8" fmla="*/ 436245 w 507682"/>
                <a:gd name="connsiteY8" fmla="*/ 507683 h 507682"/>
                <a:gd name="connsiteX9" fmla="*/ 142875 w 507682"/>
                <a:gd name="connsiteY9" fmla="*/ 142875 h 507682"/>
                <a:gd name="connsiteX10" fmla="*/ 364808 w 507682"/>
                <a:gd name="connsiteY10" fmla="*/ 142875 h 507682"/>
                <a:gd name="connsiteX11" fmla="*/ 364808 w 507682"/>
                <a:gd name="connsiteY11" fmla="*/ 364808 h 507682"/>
                <a:gd name="connsiteX12" fmla="*/ 142875 w 507682"/>
                <a:gd name="connsiteY12" fmla="*/ 364808 h 507682"/>
                <a:gd name="connsiteX13" fmla="*/ 142875 w 507682"/>
                <a:gd name="connsiteY13" fmla="*/ 142875 h 507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7682" h="507682">
                  <a:moveTo>
                    <a:pt x="436245" y="507683"/>
                  </a:moveTo>
                  <a:cubicBezTo>
                    <a:pt x="475297" y="507683"/>
                    <a:pt x="507683" y="475297"/>
                    <a:pt x="507683" y="436245"/>
                  </a:cubicBezTo>
                  <a:lnTo>
                    <a:pt x="507683" y="71438"/>
                  </a:lnTo>
                  <a:cubicBezTo>
                    <a:pt x="507683" y="32385"/>
                    <a:pt x="475297" y="0"/>
                    <a:pt x="436245" y="0"/>
                  </a:cubicBezTo>
                  <a:lnTo>
                    <a:pt x="71438" y="0"/>
                  </a:lnTo>
                  <a:cubicBezTo>
                    <a:pt x="32385" y="0"/>
                    <a:pt x="0" y="32385"/>
                    <a:pt x="0" y="71438"/>
                  </a:cubicBezTo>
                  <a:lnTo>
                    <a:pt x="0" y="436245"/>
                  </a:lnTo>
                  <a:cubicBezTo>
                    <a:pt x="0" y="475297"/>
                    <a:pt x="32385" y="507683"/>
                    <a:pt x="71438" y="507683"/>
                  </a:cubicBezTo>
                  <a:lnTo>
                    <a:pt x="436245" y="507683"/>
                  </a:lnTo>
                  <a:close/>
                  <a:moveTo>
                    <a:pt x="142875" y="142875"/>
                  </a:moveTo>
                  <a:lnTo>
                    <a:pt x="364808" y="142875"/>
                  </a:lnTo>
                  <a:lnTo>
                    <a:pt x="364808" y="364808"/>
                  </a:lnTo>
                  <a:lnTo>
                    <a:pt x="142875" y="364808"/>
                  </a:lnTo>
                  <a:lnTo>
                    <a:pt x="142875" y="14287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6" name="Forma Livre: Forma 25">
              <a:extLst>
                <a:ext uri="{FF2B5EF4-FFF2-40B4-BE49-F238E27FC236}">
                  <a16:creationId xmlns:a16="http://schemas.microsoft.com/office/drawing/2014/main" id="{B898E44F-FE90-4F21-B07D-E5CBD0A8DCF9}"/>
                </a:ext>
              </a:extLst>
            </p:cNvPr>
            <p:cNvSpPr/>
            <p:nvPr/>
          </p:nvSpPr>
          <p:spPr>
            <a:xfrm>
              <a:off x="5548312" y="3503295"/>
              <a:ext cx="507682" cy="507682"/>
            </a:xfrm>
            <a:custGeom>
              <a:avLst/>
              <a:gdLst>
                <a:gd name="connsiteX0" fmla="*/ 71438 w 507682"/>
                <a:gd name="connsiteY0" fmla="*/ 507683 h 507682"/>
                <a:gd name="connsiteX1" fmla="*/ 436245 w 507682"/>
                <a:gd name="connsiteY1" fmla="*/ 507683 h 507682"/>
                <a:gd name="connsiteX2" fmla="*/ 507683 w 507682"/>
                <a:gd name="connsiteY2" fmla="*/ 436245 h 507682"/>
                <a:gd name="connsiteX3" fmla="*/ 507683 w 507682"/>
                <a:gd name="connsiteY3" fmla="*/ 71438 h 507682"/>
                <a:gd name="connsiteX4" fmla="*/ 436245 w 507682"/>
                <a:gd name="connsiteY4" fmla="*/ 0 h 507682"/>
                <a:gd name="connsiteX5" fmla="*/ 71438 w 507682"/>
                <a:gd name="connsiteY5" fmla="*/ 0 h 507682"/>
                <a:gd name="connsiteX6" fmla="*/ 0 w 507682"/>
                <a:gd name="connsiteY6" fmla="*/ 71438 h 507682"/>
                <a:gd name="connsiteX7" fmla="*/ 0 w 507682"/>
                <a:gd name="connsiteY7" fmla="*/ 436245 h 507682"/>
                <a:gd name="connsiteX8" fmla="*/ 71438 w 507682"/>
                <a:gd name="connsiteY8" fmla="*/ 507683 h 507682"/>
                <a:gd name="connsiteX9" fmla="*/ 71438 w 507682"/>
                <a:gd name="connsiteY9" fmla="*/ 507683 h 507682"/>
                <a:gd name="connsiteX10" fmla="*/ 142875 w 507682"/>
                <a:gd name="connsiteY10" fmla="*/ 142875 h 507682"/>
                <a:gd name="connsiteX11" fmla="*/ 364808 w 507682"/>
                <a:gd name="connsiteY11" fmla="*/ 142875 h 507682"/>
                <a:gd name="connsiteX12" fmla="*/ 364808 w 507682"/>
                <a:gd name="connsiteY12" fmla="*/ 364808 h 507682"/>
                <a:gd name="connsiteX13" fmla="*/ 142875 w 507682"/>
                <a:gd name="connsiteY13" fmla="*/ 364808 h 507682"/>
                <a:gd name="connsiteX14" fmla="*/ 142875 w 507682"/>
                <a:gd name="connsiteY14" fmla="*/ 142875 h 507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07682" h="507682">
                  <a:moveTo>
                    <a:pt x="71438" y="507683"/>
                  </a:moveTo>
                  <a:lnTo>
                    <a:pt x="436245" y="507683"/>
                  </a:lnTo>
                  <a:cubicBezTo>
                    <a:pt x="475297" y="507683"/>
                    <a:pt x="507683" y="475297"/>
                    <a:pt x="507683" y="436245"/>
                  </a:cubicBezTo>
                  <a:lnTo>
                    <a:pt x="507683" y="71438"/>
                  </a:lnTo>
                  <a:cubicBezTo>
                    <a:pt x="507683" y="32385"/>
                    <a:pt x="475297" y="0"/>
                    <a:pt x="436245" y="0"/>
                  </a:cubicBezTo>
                  <a:lnTo>
                    <a:pt x="71438" y="0"/>
                  </a:lnTo>
                  <a:cubicBezTo>
                    <a:pt x="32385" y="0"/>
                    <a:pt x="0" y="32385"/>
                    <a:pt x="0" y="71438"/>
                  </a:cubicBezTo>
                  <a:lnTo>
                    <a:pt x="0" y="436245"/>
                  </a:lnTo>
                  <a:cubicBezTo>
                    <a:pt x="0" y="475297"/>
                    <a:pt x="32385" y="507683"/>
                    <a:pt x="71438" y="507683"/>
                  </a:cubicBezTo>
                  <a:lnTo>
                    <a:pt x="71438" y="507683"/>
                  </a:lnTo>
                  <a:close/>
                  <a:moveTo>
                    <a:pt x="142875" y="142875"/>
                  </a:moveTo>
                  <a:lnTo>
                    <a:pt x="364808" y="142875"/>
                  </a:lnTo>
                  <a:lnTo>
                    <a:pt x="364808" y="364808"/>
                  </a:lnTo>
                  <a:lnTo>
                    <a:pt x="142875" y="364808"/>
                  </a:lnTo>
                  <a:lnTo>
                    <a:pt x="142875" y="14287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7" name="Forma Livre: Forma 26">
              <a:extLst>
                <a:ext uri="{FF2B5EF4-FFF2-40B4-BE49-F238E27FC236}">
                  <a16:creationId xmlns:a16="http://schemas.microsoft.com/office/drawing/2014/main" id="{2C487895-9B3E-4E7C-B431-2660A472E9AF}"/>
                </a:ext>
              </a:extLst>
            </p:cNvPr>
            <p:cNvSpPr/>
            <p:nvPr/>
          </p:nvSpPr>
          <p:spPr>
            <a:xfrm>
              <a:off x="4395787" y="1600200"/>
              <a:ext cx="3401377" cy="3656647"/>
            </a:xfrm>
            <a:custGeom>
              <a:avLst/>
              <a:gdLst>
                <a:gd name="connsiteX0" fmla="*/ 3329940 w 3401377"/>
                <a:gd name="connsiteY0" fmla="*/ 3183255 h 3656647"/>
                <a:gd name="connsiteX1" fmla="*/ 3269933 w 3401377"/>
                <a:gd name="connsiteY1" fmla="*/ 3183255 h 3656647"/>
                <a:gd name="connsiteX2" fmla="*/ 3269933 w 3401377"/>
                <a:gd name="connsiteY2" fmla="*/ 71438 h 3656647"/>
                <a:gd name="connsiteX3" fmla="*/ 3198495 w 3401377"/>
                <a:gd name="connsiteY3" fmla="*/ 0 h 3656647"/>
                <a:gd name="connsiteX4" fmla="*/ 1484948 w 3401377"/>
                <a:gd name="connsiteY4" fmla="*/ 0 h 3656647"/>
                <a:gd name="connsiteX5" fmla="*/ 1413510 w 3401377"/>
                <a:gd name="connsiteY5" fmla="*/ 71438 h 3656647"/>
                <a:gd name="connsiteX6" fmla="*/ 1413510 w 3401377"/>
                <a:gd name="connsiteY6" fmla="*/ 768668 h 3656647"/>
                <a:gd name="connsiteX7" fmla="*/ 202883 w 3401377"/>
                <a:gd name="connsiteY7" fmla="*/ 768668 h 3656647"/>
                <a:gd name="connsiteX8" fmla="*/ 131445 w 3401377"/>
                <a:gd name="connsiteY8" fmla="*/ 840105 h 3656647"/>
                <a:gd name="connsiteX9" fmla="*/ 131445 w 3401377"/>
                <a:gd name="connsiteY9" fmla="*/ 3182303 h 3656647"/>
                <a:gd name="connsiteX10" fmla="*/ 71438 w 3401377"/>
                <a:gd name="connsiteY10" fmla="*/ 3182303 h 3656647"/>
                <a:gd name="connsiteX11" fmla="*/ 0 w 3401377"/>
                <a:gd name="connsiteY11" fmla="*/ 3253740 h 3656647"/>
                <a:gd name="connsiteX12" fmla="*/ 0 w 3401377"/>
                <a:gd name="connsiteY12" fmla="*/ 3585210 h 3656647"/>
                <a:gd name="connsiteX13" fmla="*/ 71438 w 3401377"/>
                <a:gd name="connsiteY13" fmla="*/ 3656648 h 3656647"/>
                <a:gd name="connsiteX14" fmla="*/ 3329940 w 3401377"/>
                <a:gd name="connsiteY14" fmla="*/ 3656648 h 3656647"/>
                <a:gd name="connsiteX15" fmla="*/ 3401378 w 3401377"/>
                <a:gd name="connsiteY15" fmla="*/ 3585210 h 3656647"/>
                <a:gd name="connsiteX16" fmla="*/ 3401378 w 3401377"/>
                <a:gd name="connsiteY16" fmla="*/ 3253740 h 3656647"/>
                <a:gd name="connsiteX17" fmla="*/ 3329940 w 3401377"/>
                <a:gd name="connsiteY17" fmla="*/ 3183255 h 3656647"/>
                <a:gd name="connsiteX18" fmla="*/ 3329940 w 3401377"/>
                <a:gd name="connsiteY18" fmla="*/ 3183255 h 3656647"/>
                <a:gd name="connsiteX19" fmla="*/ 1556385 w 3401377"/>
                <a:gd name="connsiteY19" fmla="*/ 142875 h 3656647"/>
                <a:gd name="connsiteX20" fmla="*/ 3127058 w 3401377"/>
                <a:gd name="connsiteY20" fmla="*/ 142875 h 3656647"/>
                <a:gd name="connsiteX21" fmla="*/ 3127058 w 3401377"/>
                <a:gd name="connsiteY21" fmla="*/ 3183255 h 3656647"/>
                <a:gd name="connsiteX22" fmla="*/ 2831783 w 3401377"/>
                <a:gd name="connsiteY22" fmla="*/ 3183255 h 3656647"/>
                <a:gd name="connsiteX23" fmla="*/ 2831783 w 3401377"/>
                <a:gd name="connsiteY23" fmla="*/ 3106103 h 3656647"/>
                <a:gd name="connsiteX24" fmla="*/ 2338388 w 3401377"/>
                <a:gd name="connsiteY24" fmla="*/ 2612708 h 3656647"/>
                <a:gd name="connsiteX25" fmla="*/ 1987868 w 3401377"/>
                <a:gd name="connsiteY25" fmla="*/ 2759393 h 3656647"/>
                <a:gd name="connsiteX26" fmla="*/ 1987868 w 3401377"/>
                <a:gd name="connsiteY26" fmla="*/ 2410778 h 3656647"/>
                <a:gd name="connsiteX27" fmla="*/ 2177415 w 3401377"/>
                <a:gd name="connsiteY27" fmla="*/ 2410778 h 3656647"/>
                <a:gd name="connsiteX28" fmla="*/ 2248853 w 3401377"/>
                <a:gd name="connsiteY28" fmla="*/ 2339340 h 3656647"/>
                <a:gd name="connsiteX29" fmla="*/ 2248853 w 3401377"/>
                <a:gd name="connsiteY29" fmla="*/ 1974533 h 3656647"/>
                <a:gd name="connsiteX30" fmla="*/ 2177415 w 3401377"/>
                <a:gd name="connsiteY30" fmla="*/ 1903095 h 3656647"/>
                <a:gd name="connsiteX31" fmla="*/ 1987868 w 3401377"/>
                <a:gd name="connsiteY31" fmla="*/ 1903095 h 3656647"/>
                <a:gd name="connsiteX32" fmla="*/ 1987868 w 3401377"/>
                <a:gd name="connsiteY32" fmla="*/ 1661160 h 3656647"/>
                <a:gd name="connsiteX33" fmla="*/ 2177415 w 3401377"/>
                <a:gd name="connsiteY33" fmla="*/ 1661160 h 3656647"/>
                <a:gd name="connsiteX34" fmla="*/ 2248853 w 3401377"/>
                <a:gd name="connsiteY34" fmla="*/ 1589723 h 3656647"/>
                <a:gd name="connsiteX35" fmla="*/ 2248853 w 3401377"/>
                <a:gd name="connsiteY35" fmla="*/ 1224915 h 3656647"/>
                <a:gd name="connsiteX36" fmla="*/ 2177415 w 3401377"/>
                <a:gd name="connsiteY36" fmla="*/ 1153478 h 3656647"/>
                <a:gd name="connsiteX37" fmla="*/ 1987868 w 3401377"/>
                <a:gd name="connsiteY37" fmla="*/ 1153478 h 3656647"/>
                <a:gd name="connsiteX38" fmla="*/ 1987868 w 3401377"/>
                <a:gd name="connsiteY38" fmla="*/ 911543 h 3656647"/>
                <a:gd name="connsiteX39" fmla="*/ 2177415 w 3401377"/>
                <a:gd name="connsiteY39" fmla="*/ 911543 h 3656647"/>
                <a:gd name="connsiteX40" fmla="*/ 2248853 w 3401377"/>
                <a:gd name="connsiteY40" fmla="*/ 840105 h 3656647"/>
                <a:gd name="connsiteX41" fmla="*/ 2248853 w 3401377"/>
                <a:gd name="connsiteY41" fmla="*/ 476250 h 3656647"/>
                <a:gd name="connsiteX42" fmla="*/ 2177415 w 3401377"/>
                <a:gd name="connsiteY42" fmla="*/ 404813 h 3656647"/>
                <a:gd name="connsiteX43" fmla="*/ 1812608 w 3401377"/>
                <a:gd name="connsiteY43" fmla="*/ 404813 h 3656647"/>
                <a:gd name="connsiteX44" fmla="*/ 1741170 w 3401377"/>
                <a:gd name="connsiteY44" fmla="*/ 476250 h 3656647"/>
                <a:gd name="connsiteX45" fmla="*/ 1741170 w 3401377"/>
                <a:gd name="connsiteY45" fmla="*/ 769620 h 3656647"/>
                <a:gd name="connsiteX46" fmla="*/ 1556385 w 3401377"/>
                <a:gd name="connsiteY46" fmla="*/ 769620 h 3656647"/>
                <a:gd name="connsiteX47" fmla="*/ 1556385 w 3401377"/>
                <a:gd name="connsiteY47" fmla="*/ 142875 h 3656647"/>
                <a:gd name="connsiteX48" fmla="*/ 1556385 w 3401377"/>
                <a:gd name="connsiteY48" fmla="*/ 142875 h 3656647"/>
                <a:gd name="connsiteX49" fmla="*/ 1884045 w 3401377"/>
                <a:gd name="connsiteY49" fmla="*/ 768668 h 3656647"/>
                <a:gd name="connsiteX50" fmla="*/ 1884045 w 3401377"/>
                <a:gd name="connsiteY50" fmla="*/ 547688 h 3656647"/>
                <a:gd name="connsiteX51" fmla="*/ 2105978 w 3401377"/>
                <a:gd name="connsiteY51" fmla="*/ 547688 h 3656647"/>
                <a:gd name="connsiteX52" fmla="*/ 2105978 w 3401377"/>
                <a:gd name="connsiteY52" fmla="*/ 769620 h 3656647"/>
                <a:gd name="connsiteX53" fmla="*/ 1884045 w 3401377"/>
                <a:gd name="connsiteY53" fmla="*/ 769620 h 3656647"/>
                <a:gd name="connsiteX54" fmla="*/ 1987868 w 3401377"/>
                <a:gd name="connsiteY54" fmla="*/ 1296353 h 3656647"/>
                <a:gd name="connsiteX55" fmla="*/ 2105978 w 3401377"/>
                <a:gd name="connsiteY55" fmla="*/ 1296353 h 3656647"/>
                <a:gd name="connsiteX56" fmla="*/ 2105978 w 3401377"/>
                <a:gd name="connsiteY56" fmla="*/ 1518285 h 3656647"/>
                <a:gd name="connsiteX57" fmla="*/ 1987868 w 3401377"/>
                <a:gd name="connsiteY57" fmla="*/ 1518285 h 3656647"/>
                <a:gd name="connsiteX58" fmla="*/ 1987868 w 3401377"/>
                <a:gd name="connsiteY58" fmla="*/ 1296353 h 3656647"/>
                <a:gd name="connsiteX59" fmla="*/ 1987868 w 3401377"/>
                <a:gd name="connsiteY59" fmla="*/ 2045970 h 3656647"/>
                <a:gd name="connsiteX60" fmla="*/ 2105978 w 3401377"/>
                <a:gd name="connsiteY60" fmla="*/ 2045970 h 3656647"/>
                <a:gd name="connsiteX61" fmla="*/ 2105978 w 3401377"/>
                <a:gd name="connsiteY61" fmla="*/ 2267903 h 3656647"/>
                <a:gd name="connsiteX62" fmla="*/ 1987868 w 3401377"/>
                <a:gd name="connsiteY62" fmla="*/ 2267903 h 3656647"/>
                <a:gd name="connsiteX63" fmla="*/ 1987868 w 3401377"/>
                <a:gd name="connsiteY63" fmla="*/ 2045970 h 3656647"/>
                <a:gd name="connsiteX64" fmla="*/ 1987868 w 3401377"/>
                <a:gd name="connsiteY64" fmla="*/ 3106103 h 3656647"/>
                <a:gd name="connsiteX65" fmla="*/ 2338388 w 3401377"/>
                <a:gd name="connsiteY65" fmla="*/ 2755583 h 3656647"/>
                <a:gd name="connsiteX66" fmla="*/ 2688908 w 3401377"/>
                <a:gd name="connsiteY66" fmla="*/ 3106103 h 3656647"/>
                <a:gd name="connsiteX67" fmla="*/ 2688908 w 3401377"/>
                <a:gd name="connsiteY67" fmla="*/ 3183255 h 3656647"/>
                <a:gd name="connsiteX68" fmla="*/ 1987868 w 3401377"/>
                <a:gd name="connsiteY68" fmla="*/ 3183255 h 3656647"/>
                <a:gd name="connsiteX69" fmla="*/ 1987868 w 3401377"/>
                <a:gd name="connsiteY69" fmla="*/ 3106103 h 3656647"/>
                <a:gd name="connsiteX70" fmla="*/ 1987868 w 3401377"/>
                <a:gd name="connsiteY70" fmla="*/ 3106103 h 3656647"/>
                <a:gd name="connsiteX71" fmla="*/ 274320 w 3401377"/>
                <a:gd name="connsiteY71" fmla="*/ 911543 h 3656647"/>
                <a:gd name="connsiteX72" fmla="*/ 1844993 w 3401377"/>
                <a:gd name="connsiteY72" fmla="*/ 911543 h 3656647"/>
                <a:gd name="connsiteX73" fmla="*/ 1844993 w 3401377"/>
                <a:gd name="connsiteY73" fmla="*/ 3182303 h 3656647"/>
                <a:gd name="connsiteX74" fmla="*/ 1478280 w 3401377"/>
                <a:gd name="connsiteY74" fmla="*/ 3182303 h 3656647"/>
                <a:gd name="connsiteX75" fmla="*/ 1478280 w 3401377"/>
                <a:gd name="connsiteY75" fmla="*/ 3029903 h 3656647"/>
                <a:gd name="connsiteX76" fmla="*/ 1060133 w 3401377"/>
                <a:gd name="connsiteY76" fmla="*/ 2611755 h 3656647"/>
                <a:gd name="connsiteX77" fmla="*/ 641033 w 3401377"/>
                <a:gd name="connsiteY77" fmla="*/ 3030855 h 3656647"/>
                <a:gd name="connsiteX78" fmla="*/ 641033 w 3401377"/>
                <a:gd name="connsiteY78" fmla="*/ 3183255 h 3656647"/>
                <a:gd name="connsiteX79" fmla="*/ 274320 w 3401377"/>
                <a:gd name="connsiteY79" fmla="*/ 3183255 h 3656647"/>
                <a:gd name="connsiteX80" fmla="*/ 274320 w 3401377"/>
                <a:gd name="connsiteY80" fmla="*/ 911543 h 3656647"/>
                <a:gd name="connsiteX81" fmla="*/ 1334453 w 3401377"/>
                <a:gd name="connsiteY81" fmla="*/ 3183255 h 3656647"/>
                <a:gd name="connsiteX82" fmla="*/ 783908 w 3401377"/>
                <a:gd name="connsiteY82" fmla="*/ 3183255 h 3656647"/>
                <a:gd name="connsiteX83" fmla="*/ 783908 w 3401377"/>
                <a:gd name="connsiteY83" fmla="*/ 3030855 h 3656647"/>
                <a:gd name="connsiteX84" fmla="*/ 1059180 w 3401377"/>
                <a:gd name="connsiteY84" fmla="*/ 2755583 h 3656647"/>
                <a:gd name="connsiteX85" fmla="*/ 1334453 w 3401377"/>
                <a:gd name="connsiteY85" fmla="*/ 3030855 h 3656647"/>
                <a:gd name="connsiteX86" fmla="*/ 1334453 w 3401377"/>
                <a:gd name="connsiteY86" fmla="*/ 3183255 h 3656647"/>
                <a:gd name="connsiteX87" fmla="*/ 3258503 w 3401377"/>
                <a:gd name="connsiteY87" fmla="*/ 3514725 h 3656647"/>
                <a:gd name="connsiteX88" fmla="*/ 142875 w 3401377"/>
                <a:gd name="connsiteY88" fmla="*/ 3514725 h 3656647"/>
                <a:gd name="connsiteX89" fmla="*/ 142875 w 3401377"/>
                <a:gd name="connsiteY89" fmla="*/ 3326130 h 3656647"/>
                <a:gd name="connsiteX90" fmla="*/ 3258503 w 3401377"/>
                <a:gd name="connsiteY90" fmla="*/ 3326130 h 3656647"/>
                <a:gd name="connsiteX91" fmla="*/ 3258503 w 3401377"/>
                <a:gd name="connsiteY91" fmla="*/ 3514725 h 3656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3401377" h="3656647">
                  <a:moveTo>
                    <a:pt x="3329940" y="3183255"/>
                  </a:moveTo>
                  <a:lnTo>
                    <a:pt x="3269933" y="3183255"/>
                  </a:lnTo>
                  <a:lnTo>
                    <a:pt x="3269933" y="71438"/>
                  </a:lnTo>
                  <a:cubicBezTo>
                    <a:pt x="3269933" y="32385"/>
                    <a:pt x="3237548" y="0"/>
                    <a:pt x="3198495" y="0"/>
                  </a:cubicBezTo>
                  <a:lnTo>
                    <a:pt x="1484948" y="0"/>
                  </a:lnTo>
                  <a:cubicBezTo>
                    <a:pt x="1445895" y="0"/>
                    <a:pt x="1413510" y="32385"/>
                    <a:pt x="1413510" y="71438"/>
                  </a:cubicBezTo>
                  <a:lnTo>
                    <a:pt x="1413510" y="768668"/>
                  </a:lnTo>
                  <a:lnTo>
                    <a:pt x="202883" y="768668"/>
                  </a:lnTo>
                  <a:cubicBezTo>
                    <a:pt x="163830" y="768668"/>
                    <a:pt x="131445" y="801053"/>
                    <a:pt x="131445" y="840105"/>
                  </a:cubicBezTo>
                  <a:lnTo>
                    <a:pt x="131445" y="3182303"/>
                  </a:lnTo>
                  <a:lnTo>
                    <a:pt x="71438" y="3182303"/>
                  </a:lnTo>
                  <a:cubicBezTo>
                    <a:pt x="32385" y="3182303"/>
                    <a:pt x="0" y="3214688"/>
                    <a:pt x="0" y="3253740"/>
                  </a:cubicBezTo>
                  <a:lnTo>
                    <a:pt x="0" y="3585210"/>
                  </a:lnTo>
                  <a:cubicBezTo>
                    <a:pt x="0" y="3624263"/>
                    <a:pt x="32385" y="3656648"/>
                    <a:pt x="71438" y="3656648"/>
                  </a:cubicBezTo>
                  <a:lnTo>
                    <a:pt x="3329940" y="3656648"/>
                  </a:lnTo>
                  <a:cubicBezTo>
                    <a:pt x="3368993" y="3656648"/>
                    <a:pt x="3401378" y="3624263"/>
                    <a:pt x="3401378" y="3585210"/>
                  </a:cubicBezTo>
                  <a:lnTo>
                    <a:pt x="3401378" y="3253740"/>
                  </a:lnTo>
                  <a:cubicBezTo>
                    <a:pt x="3401378" y="3214688"/>
                    <a:pt x="3368993" y="3183255"/>
                    <a:pt x="3329940" y="3183255"/>
                  </a:cubicBezTo>
                  <a:lnTo>
                    <a:pt x="3329940" y="3183255"/>
                  </a:lnTo>
                  <a:close/>
                  <a:moveTo>
                    <a:pt x="1556385" y="142875"/>
                  </a:moveTo>
                  <a:lnTo>
                    <a:pt x="3127058" y="142875"/>
                  </a:lnTo>
                  <a:lnTo>
                    <a:pt x="3127058" y="3183255"/>
                  </a:lnTo>
                  <a:lnTo>
                    <a:pt x="2831783" y="3183255"/>
                  </a:lnTo>
                  <a:lnTo>
                    <a:pt x="2831783" y="3106103"/>
                  </a:lnTo>
                  <a:cubicBezTo>
                    <a:pt x="2831783" y="2833688"/>
                    <a:pt x="2610803" y="2612708"/>
                    <a:pt x="2338388" y="2612708"/>
                  </a:cubicBezTo>
                  <a:cubicBezTo>
                    <a:pt x="2201228" y="2612708"/>
                    <a:pt x="2077403" y="2668905"/>
                    <a:pt x="1987868" y="2759393"/>
                  </a:cubicBezTo>
                  <a:lnTo>
                    <a:pt x="1987868" y="2410778"/>
                  </a:lnTo>
                  <a:lnTo>
                    <a:pt x="2177415" y="2410778"/>
                  </a:lnTo>
                  <a:cubicBezTo>
                    <a:pt x="2216468" y="2410778"/>
                    <a:pt x="2248853" y="2378393"/>
                    <a:pt x="2248853" y="2339340"/>
                  </a:cubicBezTo>
                  <a:lnTo>
                    <a:pt x="2248853" y="1974533"/>
                  </a:lnTo>
                  <a:cubicBezTo>
                    <a:pt x="2248853" y="1935480"/>
                    <a:pt x="2216468" y="1903095"/>
                    <a:pt x="2177415" y="1903095"/>
                  </a:cubicBezTo>
                  <a:lnTo>
                    <a:pt x="1987868" y="1903095"/>
                  </a:lnTo>
                  <a:lnTo>
                    <a:pt x="1987868" y="1661160"/>
                  </a:lnTo>
                  <a:lnTo>
                    <a:pt x="2177415" y="1661160"/>
                  </a:lnTo>
                  <a:cubicBezTo>
                    <a:pt x="2216468" y="1661160"/>
                    <a:pt x="2248853" y="1628775"/>
                    <a:pt x="2248853" y="1589723"/>
                  </a:cubicBezTo>
                  <a:lnTo>
                    <a:pt x="2248853" y="1224915"/>
                  </a:lnTo>
                  <a:cubicBezTo>
                    <a:pt x="2248853" y="1185863"/>
                    <a:pt x="2216468" y="1153478"/>
                    <a:pt x="2177415" y="1153478"/>
                  </a:cubicBezTo>
                  <a:lnTo>
                    <a:pt x="1987868" y="1153478"/>
                  </a:lnTo>
                  <a:lnTo>
                    <a:pt x="1987868" y="911543"/>
                  </a:lnTo>
                  <a:lnTo>
                    <a:pt x="2177415" y="911543"/>
                  </a:lnTo>
                  <a:cubicBezTo>
                    <a:pt x="2216468" y="911543"/>
                    <a:pt x="2248853" y="879158"/>
                    <a:pt x="2248853" y="840105"/>
                  </a:cubicBezTo>
                  <a:lnTo>
                    <a:pt x="2248853" y="476250"/>
                  </a:lnTo>
                  <a:cubicBezTo>
                    <a:pt x="2248853" y="437198"/>
                    <a:pt x="2216468" y="404813"/>
                    <a:pt x="2177415" y="404813"/>
                  </a:cubicBezTo>
                  <a:lnTo>
                    <a:pt x="1812608" y="404813"/>
                  </a:lnTo>
                  <a:cubicBezTo>
                    <a:pt x="1773555" y="404813"/>
                    <a:pt x="1741170" y="437198"/>
                    <a:pt x="1741170" y="476250"/>
                  </a:cubicBezTo>
                  <a:lnTo>
                    <a:pt x="1741170" y="769620"/>
                  </a:lnTo>
                  <a:lnTo>
                    <a:pt x="1556385" y="769620"/>
                  </a:lnTo>
                  <a:lnTo>
                    <a:pt x="1556385" y="142875"/>
                  </a:lnTo>
                  <a:lnTo>
                    <a:pt x="1556385" y="142875"/>
                  </a:lnTo>
                  <a:close/>
                  <a:moveTo>
                    <a:pt x="1884045" y="768668"/>
                  </a:moveTo>
                  <a:lnTo>
                    <a:pt x="1884045" y="547688"/>
                  </a:lnTo>
                  <a:lnTo>
                    <a:pt x="2105978" y="547688"/>
                  </a:lnTo>
                  <a:lnTo>
                    <a:pt x="2105978" y="769620"/>
                  </a:lnTo>
                  <a:lnTo>
                    <a:pt x="1884045" y="769620"/>
                  </a:lnTo>
                  <a:close/>
                  <a:moveTo>
                    <a:pt x="1987868" y="1296353"/>
                  </a:moveTo>
                  <a:lnTo>
                    <a:pt x="2105978" y="1296353"/>
                  </a:lnTo>
                  <a:lnTo>
                    <a:pt x="2105978" y="1518285"/>
                  </a:lnTo>
                  <a:lnTo>
                    <a:pt x="1987868" y="1518285"/>
                  </a:lnTo>
                  <a:lnTo>
                    <a:pt x="1987868" y="1296353"/>
                  </a:lnTo>
                  <a:close/>
                  <a:moveTo>
                    <a:pt x="1987868" y="2045970"/>
                  </a:moveTo>
                  <a:lnTo>
                    <a:pt x="2105978" y="2045970"/>
                  </a:lnTo>
                  <a:lnTo>
                    <a:pt x="2105978" y="2267903"/>
                  </a:lnTo>
                  <a:lnTo>
                    <a:pt x="1987868" y="2267903"/>
                  </a:lnTo>
                  <a:lnTo>
                    <a:pt x="1987868" y="2045970"/>
                  </a:lnTo>
                  <a:close/>
                  <a:moveTo>
                    <a:pt x="1987868" y="3106103"/>
                  </a:moveTo>
                  <a:cubicBezTo>
                    <a:pt x="1987868" y="2912745"/>
                    <a:pt x="2145030" y="2755583"/>
                    <a:pt x="2338388" y="2755583"/>
                  </a:cubicBezTo>
                  <a:cubicBezTo>
                    <a:pt x="2531745" y="2755583"/>
                    <a:pt x="2688908" y="2912745"/>
                    <a:pt x="2688908" y="3106103"/>
                  </a:cubicBezTo>
                  <a:lnTo>
                    <a:pt x="2688908" y="3183255"/>
                  </a:lnTo>
                  <a:lnTo>
                    <a:pt x="1987868" y="3183255"/>
                  </a:lnTo>
                  <a:lnTo>
                    <a:pt x="1987868" y="3106103"/>
                  </a:lnTo>
                  <a:lnTo>
                    <a:pt x="1987868" y="3106103"/>
                  </a:lnTo>
                  <a:close/>
                  <a:moveTo>
                    <a:pt x="274320" y="911543"/>
                  </a:moveTo>
                  <a:lnTo>
                    <a:pt x="1844993" y="911543"/>
                  </a:lnTo>
                  <a:lnTo>
                    <a:pt x="1844993" y="3182303"/>
                  </a:lnTo>
                  <a:lnTo>
                    <a:pt x="1478280" y="3182303"/>
                  </a:lnTo>
                  <a:lnTo>
                    <a:pt x="1478280" y="3029903"/>
                  </a:lnTo>
                  <a:cubicBezTo>
                    <a:pt x="1478280" y="2799398"/>
                    <a:pt x="1290638" y="2611755"/>
                    <a:pt x="1060133" y="2611755"/>
                  </a:cubicBezTo>
                  <a:cubicBezTo>
                    <a:pt x="829628" y="2611755"/>
                    <a:pt x="641033" y="2800350"/>
                    <a:pt x="641033" y="3030855"/>
                  </a:cubicBezTo>
                  <a:lnTo>
                    <a:pt x="641033" y="3183255"/>
                  </a:lnTo>
                  <a:lnTo>
                    <a:pt x="274320" y="3183255"/>
                  </a:lnTo>
                  <a:lnTo>
                    <a:pt x="274320" y="911543"/>
                  </a:lnTo>
                  <a:close/>
                  <a:moveTo>
                    <a:pt x="1334453" y="3183255"/>
                  </a:moveTo>
                  <a:lnTo>
                    <a:pt x="783908" y="3183255"/>
                  </a:lnTo>
                  <a:lnTo>
                    <a:pt x="783908" y="3030855"/>
                  </a:lnTo>
                  <a:cubicBezTo>
                    <a:pt x="783908" y="2879408"/>
                    <a:pt x="907733" y="2755583"/>
                    <a:pt x="1059180" y="2755583"/>
                  </a:cubicBezTo>
                  <a:cubicBezTo>
                    <a:pt x="1210628" y="2755583"/>
                    <a:pt x="1334453" y="2879408"/>
                    <a:pt x="1334453" y="3030855"/>
                  </a:cubicBezTo>
                  <a:lnTo>
                    <a:pt x="1334453" y="3183255"/>
                  </a:lnTo>
                  <a:close/>
                  <a:moveTo>
                    <a:pt x="3258503" y="3514725"/>
                  </a:moveTo>
                  <a:lnTo>
                    <a:pt x="142875" y="3514725"/>
                  </a:lnTo>
                  <a:lnTo>
                    <a:pt x="142875" y="3326130"/>
                  </a:lnTo>
                  <a:lnTo>
                    <a:pt x="3258503" y="3326130"/>
                  </a:lnTo>
                  <a:lnTo>
                    <a:pt x="3258503" y="35147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9" name="Gráfico 27">
            <a:extLst>
              <a:ext uri="{FF2B5EF4-FFF2-40B4-BE49-F238E27FC236}">
                <a16:creationId xmlns:a16="http://schemas.microsoft.com/office/drawing/2014/main" id="{4C2C0F1D-6B41-4523-B44A-36F6EC112FBF}"/>
              </a:ext>
            </a:extLst>
          </p:cNvPr>
          <p:cNvGrpSpPr/>
          <p:nvPr/>
        </p:nvGrpSpPr>
        <p:grpSpPr>
          <a:xfrm>
            <a:off x="4384263" y="3098799"/>
            <a:ext cx="447439" cy="643508"/>
            <a:chOff x="4400550" y="990600"/>
            <a:chExt cx="3390900" cy="4876800"/>
          </a:xfrm>
          <a:solidFill>
            <a:srgbClr val="263143"/>
          </a:solidFill>
        </p:grpSpPr>
        <p:sp>
          <p:nvSpPr>
            <p:cNvPr id="30" name="Forma Livre: Forma 29">
              <a:extLst>
                <a:ext uri="{FF2B5EF4-FFF2-40B4-BE49-F238E27FC236}">
                  <a16:creationId xmlns:a16="http://schemas.microsoft.com/office/drawing/2014/main" id="{CB4B65F9-9A77-4781-B140-CE904A83A0EF}"/>
                </a:ext>
              </a:extLst>
            </p:cNvPr>
            <p:cNvSpPr/>
            <p:nvPr/>
          </p:nvSpPr>
          <p:spPr>
            <a:xfrm>
              <a:off x="5373052" y="1947862"/>
              <a:ext cx="1445894" cy="1445895"/>
            </a:xfrm>
            <a:custGeom>
              <a:avLst/>
              <a:gdLst>
                <a:gd name="connsiteX0" fmla="*/ 722948 w 1445894"/>
                <a:gd name="connsiteY0" fmla="*/ 1445895 h 1445895"/>
                <a:gd name="connsiteX1" fmla="*/ 211455 w 1445894"/>
                <a:gd name="connsiteY1" fmla="*/ 1234440 h 1445895"/>
                <a:gd name="connsiteX2" fmla="*/ 211455 w 1445894"/>
                <a:gd name="connsiteY2" fmla="*/ 211455 h 1445895"/>
                <a:gd name="connsiteX3" fmla="*/ 722948 w 1445894"/>
                <a:gd name="connsiteY3" fmla="*/ 0 h 1445895"/>
                <a:gd name="connsiteX4" fmla="*/ 1234440 w 1445894"/>
                <a:gd name="connsiteY4" fmla="*/ 211455 h 1445895"/>
                <a:gd name="connsiteX5" fmla="*/ 1234440 w 1445894"/>
                <a:gd name="connsiteY5" fmla="*/ 1234440 h 1445895"/>
                <a:gd name="connsiteX6" fmla="*/ 722948 w 1445894"/>
                <a:gd name="connsiteY6" fmla="*/ 1445895 h 1445895"/>
                <a:gd name="connsiteX7" fmla="*/ 722948 w 1445894"/>
                <a:gd name="connsiteY7" fmla="*/ 1445895 h 1445895"/>
                <a:gd name="connsiteX8" fmla="*/ 722948 w 1445894"/>
                <a:gd name="connsiteY8" fmla="*/ 285750 h 1445895"/>
                <a:gd name="connsiteX9" fmla="*/ 413385 w 1445894"/>
                <a:gd name="connsiteY9" fmla="*/ 413385 h 1445895"/>
                <a:gd name="connsiteX10" fmla="*/ 413385 w 1445894"/>
                <a:gd name="connsiteY10" fmla="*/ 1031558 h 1445895"/>
                <a:gd name="connsiteX11" fmla="*/ 722948 w 1445894"/>
                <a:gd name="connsiteY11" fmla="*/ 1159193 h 1445895"/>
                <a:gd name="connsiteX12" fmla="*/ 1032510 w 1445894"/>
                <a:gd name="connsiteY12" fmla="*/ 1031558 h 1445895"/>
                <a:gd name="connsiteX13" fmla="*/ 1032510 w 1445894"/>
                <a:gd name="connsiteY13" fmla="*/ 413385 h 1445895"/>
                <a:gd name="connsiteX14" fmla="*/ 722948 w 1445894"/>
                <a:gd name="connsiteY14" fmla="*/ 285750 h 1445895"/>
                <a:gd name="connsiteX15" fmla="*/ 722948 w 1445894"/>
                <a:gd name="connsiteY15" fmla="*/ 285750 h 1445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45894" h="1445895">
                  <a:moveTo>
                    <a:pt x="722948" y="1445895"/>
                  </a:moveTo>
                  <a:cubicBezTo>
                    <a:pt x="538163" y="1445895"/>
                    <a:pt x="352425" y="1375410"/>
                    <a:pt x="211455" y="1234440"/>
                  </a:cubicBezTo>
                  <a:cubicBezTo>
                    <a:pt x="-70485" y="952500"/>
                    <a:pt x="-70485" y="493395"/>
                    <a:pt x="211455" y="211455"/>
                  </a:cubicBezTo>
                  <a:cubicBezTo>
                    <a:pt x="347663" y="75248"/>
                    <a:pt x="529590" y="0"/>
                    <a:pt x="722948" y="0"/>
                  </a:cubicBezTo>
                  <a:cubicBezTo>
                    <a:pt x="916305" y="0"/>
                    <a:pt x="1098233" y="75248"/>
                    <a:pt x="1234440" y="211455"/>
                  </a:cubicBezTo>
                  <a:cubicBezTo>
                    <a:pt x="1516380" y="493395"/>
                    <a:pt x="1516380" y="952500"/>
                    <a:pt x="1234440" y="1234440"/>
                  </a:cubicBezTo>
                  <a:cubicBezTo>
                    <a:pt x="1093470" y="1375410"/>
                    <a:pt x="907732" y="1445895"/>
                    <a:pt x="722948" y="1445895"/>
                  </a:cubicBezTo>
                  <a:lnTo>
                    <a:pt x="722948" y="1445895"/>
                  </a:lnTo>
                  <a:close/>
                  <a:moveTo>
                    <a:pt x="722948" y="285750"/>
                  </a:moveTo>
                  <a:cubicBezTo>
                    <a:pt x="610553" y="285750"/>
                    <a:pt x="499110" y="328613"/>
                    <a:pt x="413385" y="413385"/>
                  </a:cubicBezTo>
                  <a:cubicBezTo>
                    <a:pt x="242888" y="583883"/>
                    <a:pt x="242888" y="861060"/>
                    <a:pt x="413385" y="1031558"/>
                  </a:cubicBezTo>
                  <a:cubicBezTo>
                    <a:pt x="496253" y="1114425"/>
                    <a:pt x="605790" y="1159193"/>
                    <a:pt x="722948" y="1159193"/>
                  </a:cubicBezTo>
                  <a:cubicBezTo>
                    <a:pt x="840105" y="1159193"/>
                    <a:pt x="949643" y="1113473"/>
                    <a:pt x="1032510" y="1031558"/>
                  </a:cubicBezTo>
                  <a:cubicBezTo>
                    <a:pt x="1203008" y="861060"/>
                    <a:pt x="1203008" y="583883"/>
                    <a:pt x="1032510" y="413385"/>
                  </a:cubicBezTo>
                  <a:cubicBezTo>
                    <a:pt x="946785" y="328613"/>
                    <a:pt x="834390" y="285750"/>
                    <a:pt x="722948" y="285750"/>
                  </a:cubicBezTo>
                  <a:lnTo>
                    <a:pt x="722948" y="2857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1" name="Forma Livre: Forma 30">
              <a:extLst>
                <a:ext uri="{FF2B5EF4-FFF2-40B4-BE49-F238E27FC236}">
                  <a16:creationId xmlns:a16="http://schemas.microsoft.com/office/drawing/2014/main" id="{3D393BD4-4847-4155-AF1B-110DF6D7A2B0}"/>
                </a:ext>
              </a:extLst>
            </p:cNvPr>
            <p:cNvSpPr/>
            <p:nvPr/>
          </p:nvSpPr>
          <p:spPr>
            <a:xfrm>
              <a:off x="4400550" y="990600"/>
              <a:ext cx="3390900" cy="4876800"/>
            </a:xfrm>
            <a:custGeom>
              <a:avLst/>
              <a:gdLst>
                <a:gd name="connsiteX0" fmla="*/ 1696403 w 3390900"/>
                <a:gd name="connsiteY0" fmla="*/ 4876800 h 4876800"/>
                <a:gd name="connsiteX1" fmla="*/ 1585913 w 3390900"/>
                <a:gd name="connsiteY1" fmla="*/ 4747260 h 4876800"/>
                <a:gd name="connsiteX2" fmla="*/ 0 w 3390900"/>
                <a:gd name="connsiteY2" fmla="*/ 1695450 h 4876800"/>
                <a:gd name="connsiteX3" fmla="*/ 1695450 w 3390900"/>
                <a:gd name="connsiteY3" fmla="*/ 0 h 4876800"/>
                <a:gd name="connsiteX4" fmla="*/ 3390900 w 3390900"/>
                <a:gd name="connsiteY4" fmla="*/ 1695450 h 4876800"/>
                <a:gd name="connsiteX5" fmla="*/ 1805940 w 3390900"/>
                <a:gd name="connsiteY5" fmla="*/ 4745355 h 4876800"/>
                <a:gd name="connsiteX6" fmla="*/ 1696403 w 3390900"/>
                <a:gd name="connsiteY6" fmla="*/ 4876800 h 4876800"/>
                <a:gd name="connsiteX7" fmla="*/ 1695450 w 3390900"/>
                <a:gd name="connsiteY7" fmla="*/ 285750 h 4876800"/>
                <a:gd name="connsiteX8" fmla="*/ 285750 w 3390900"/>
                <a:gd name="connsiteY8" fmla="*/ 1695450 h 4876800"/>
                <a:gd name="connsiteX9" fmla="*/ 1039178 w 3390900"/>
                <a:gd name="connsiteY9" fmla="*/ 3523298 h 4876800"/>
                <a:gd name="connsiteX10" fmla="*/ 1693545 w 3390900"/>
                <a:gd name="connsiteY10" fmla="*/ 4427220 h 4876800"/>
                <a:gd name="connsiteX11" fmla="*/ 2352675 w 3390900"/>
                <a:gd name="connsiteY11" fmla="*/ 3500438 h 4876800"/>
                <a:gd name="connsiteX12" fmla="*/ 3104198 w 3390900"/>
                <a:gd name="connsiteY12" fmla="*/ 1696403 h 4876800"/>
                <a:gd name="connsiteX13" fmla="*/ 1695450 w 3390900"/>
                <a:gd name="connsiteY13" fmla="*/ 285750 h 4876800"/>
                <a:gd name="connsiteX14" fmla="*/ 1695450 w 3390900"/>
                <a:gd name="connsiteY14" fmla="*/ 285750 h 4876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390900" h="4876800">
                  <a:moveTo>
                    <a:pt x="1696403" y="4876800"/>
                  </a:moveTo>
                  <a:lnTo>
                    <a:pt x="1585913" y="4747260"/>
                  </a:lnTo>
                  <a:cubicBezTo>
                    <a:pt x="1521143" y="4671060"/>
                    <a:pt x="0" y="2869883"/>
                    <a:pt x="0" y="1695450"/>
                  </a:cubicBezTo>
                  <a:cubicBezTo>
                    <a:pt x="0" y="760095"/>
                    <a:pt x="760095" y="0"/>
                    <a:pt x="1695450" y="0"/>
                  </a:cubicBezTo>
                  <a:cubicBezTo>
                    <a:pt x="2630805" y="0"/>
                    <a:pt x="3390900" y="760095"/>
                    <a:pt x="3390900" y="1695450"/>
                  </a:cubicBezTo>
                  <a:cubicBezTo>
                    <a:pt x="3390900" y="2812733"/>
                    <a:pt x="1870710" y="4667250"/>
                    <a:pt x="1805940" y="4745355"/>
                  </a:cubicBezTo>
                  <a:lnTo>
                    <a:pt x="1696403" y="4876800"/>
                  </a:lnTo>
                  <a:close/>
                  <a:moveTo>
                    <a:pt x="1695450" y="285750"/>
                  </a:moveTo>
                  <a:cubicBezTo>
                    <a:pt x="918210" y="285750"/>
                    <a:pt x="285750" y="918210"/>
                    <a:pt x="285750" y="1695450"/>
                  </a:cubicBezTo>
                  <a:cubicBezTo>
                    <a:pt x="285750" y="2131695"/>
                    <a:pt x="545783" y="2764155"/>
                    <a:pt x="1039178" y="3523298"/>
                  </a:cubicBezTo>
                  <a:cubicBezTo>
                    <a:pt x="1294448" y="3916680"/>
                    <a:pt x="1552575" y="4251008"/>
                    <a:pt x="1693545" y="4427220"/>
                  </a:cubicBezTo>
                  <a:cubicBezTo>
                    <a:pt x="1835468" y="4246245"/>
                    <a:pt x="2095500" y="3901440"/>
                    <a:pt x="2352675" y="3500438"/>
                  </a:cubicBezTo>
                  <a:cubicBezTo>
                    <a:pt x="2844165" y="2732723"/>
                    <a:pt x="3104198" y="2108835"/>
                    <a:pt x="3104198" y="1696403"/>
                  </a:cubicBezTo>
                  <a:cubicBezTo>
                    <a:pt x="3104198" y="918210"/>
                    <a:pt x="2471738" y="285750"/>
                    <a:pt x="1695450" y="285750"/>
                  </a:cubicBezTo>
                  <a:lnTo>
                    <a:pt x="1695450" y="2857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3" name="Gráfico 31">
            <a:extLst>
              <a:ext uri="{FF2B5EF4-FFF2-40B4-BE49-F238E27FC236}">
                <a16:creationId xmlns:a16="http://schemas.microsoft.com/office/drawing/2014/main" id="{4C5B12FD-E397-4E08-BE39-CAE1B03C1DA5}"/>
              </a:ext>
            </a:extLst>
          </p:cNvPr>
          <p:cNvGrpSpPr/>
          <p:nvPr/>
        </p:nvGrpSpPr>
        <p:grpSpPr>
          <a:xfrm>
            <a:off x="7206015" y="3100255"/>
            <a:ext cx="716945" cy="627017"/>
            <a:chOff x="3657238" y="1295176"/>
            <a:chExt cx="4878376" cy="4266471"/>
          </a:xfrm>
          <a:solidFill>
            <a:srgbClr val="263143"/>
          </a:solidFill>
        </p:grpSpPr>
        <p:sp>
          <p:nvSpPr>
            <p:cNvPr id="34" name="Forma Livre: Forma 33">
              <a:extLst>
                <a:ext uri="{FF2B5EF4-FFF2-40B4-BE49-F238E27FC236}">
                  <a16:creationId xmlns:a16="http://schemas.microsoft.com/office/drawing/2014/main" id="{EE270748-54E2-4043-A85D-A6D815FE9DAD}"/>
                </a:ext>
              </a:extLst>
            </p:cNvPr>
            <p:cNvSpPr/>
            <p:nvPr/>
          </p:nvSpPr>
          <p:spPr>
            <a:xfrm>
              <a:off x="6319837" y="4434840"/>
              <a:ext cx="409575" cy="142875"/>
            </a:xfrm>
            <a:custGeom>
              <a:avLst/>
              <a:gdLst>
                <a:gd name="connsiteX0" fmla="*/ 338138 w 409575"/>
                <a:gd name="connsiteY0" fmla="*/ 0 h 142875"/>
                <a:gd name="connsiteX1" fmla="*/ 71438 w 409575"/>
                <a:gd name="connsiteY1" fmla="*/ 0 h 142875"/>
                <a:gd name="connsiteX2" fmla="*/ 0 w 409575"/>
                <a:gd name="connsiteY2" fmla="*/ 71438 h 142875"/>
                <a:gd name="connsiteX3" fmla="*/ 71438 w 409575"/>
                <a:gd name="connsiteY3" fmla="*/ 142875 h 142875"/>
                <a:gd name="connsiteX4" fmla="*/ 338138 w 409575"/>
                <a:gd name="connsiteY4" fmla="*/ 142875 h 142875"/>
                <a:gd name="connsiteX5" fmla="*/ 409575 w 409575"/>
                <a:gd name="connsiteY5" fmla="*/ 71438 h 142875"/>
                <a:gd name="connsiteX6" fmla="*/ 338138 w 409575"/>
                <a:gd name="connsiteY6" fmla="*/ 0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9575" h="142875">
                  <a:moveTo>
                    <a:pt x="338138" y="0"/>
                  </a:moveTo>
                  <a:lnTo>
                    <a:pt x="71438" y="0"/>
                  </a:lnTo>
                  <a:cubicBezTo>
                    <a:pt x="32385" y="0"/>
                    <a:pt x="0" y="32385"/>
                    <a:pt x="0" y="71438"/>
                  </a:cubicBezTo>
                  <a:cubicBezTo>
                    <a:pt x="0" y="110490"/>
                    <a:pt x="32385" y="142875"/>
                    <a:pt x="71438" y="142875"/>
                  </a:cubicBezTo>
                  <a:lnTo>
                    <a:pt x="338138" y="142875"/>
                  </a:lnTo>
                  <a:cubicBezTo>
                    <a:pt x="377190" y="142875"/>
                    <a:pt x="409575" y="110490"/>
                    <a:pt x="409575" y="71438"/>
                  </a:cubicBezTo>
                  <a:cubicBezTo>
                    <a:pt x="409575" y="32385"/>
                    <a:pt x="378143" y="0"/>
                    <a:pt x="338138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5" name="Forma Livre: Forma 34">
              <a:extLst>
                <a:ext uri="{FF2B5EF4-FFF2-40B4-BE49-F238E27FC236}">
                  <a16:creationId xmlns:a16="http://schemas.microsoft.com/office/drawing/2014/main" id="{3F095A90-1FC1-474A-A1F1-1084E765E8B9}"/>
                </a:ext>
              </a:extLst>
            </p:cNvPr>
            <p:cNvSpPr/>
            <p:nvPr/>
          </p:nvSpPr>
          <p:spPr>
            <a:xfrm>
              <a:off x="5760011" y="1295176"/>
              <a:ext cx="2775603" cy="4265518"/>
            </a:xfrm>
            <a:custGeom>
              <a:avLst/>
              <a:gdLst>
                <a:gd name="connsiteX0" fmla="*/ 2471494 w 2775603"/>
                <a:gd name="connsiteY0" fmla="*/ 2374807 h 4265518"/>
                <a:gd name="connsiteX1" fmla="*/ 2082874 w 2775603"/>
                <a:gd name="connsiteY1" fmla="*/ 2224311 h 4265518"/>
                <a:gd name="connsiteX2" fmla="*/ 1884754 w 2775603"/>
                <a:gd name="connsiteY2" fmla="*/ 2026191 h 4265518"/>
                <a:gd name="connsiteX3" fmla="*/ 1839034 w 2775603"/>
                <a:gd name="connsiteY3" fmla="*/ 2005236 h 4265518"/>
                <a:gd name="connsiteX4" fmla="*/ 1839034 w 2775603"/>
                <a:gd name="connsiteY4" fmla="*/ 1848074 h 4265518"/>
                <a:gd name="connsiteX5" fmla="*/ 2025724 w 2775603"/>
                <a:gd name="connsiteY5" fmla="*/ 1480409 h 4265518"/>
                <a:gd name="connsiteX6" fmla="*/ 2076206 w 2775603"/>
                <a:gd name="connsiteY6" fmla="*/ 1476599 h 4265518"/>
                <a:gd name="connsiteX7" fmla="*/ 2240036 w 2775603"/>
                <a:gd name="connsiteY7" fmla="*/ 1267049 h 4265518"/>
                <a:gd name="connsiteX8" fmla="*/ 2240036 w 2775603"/>
                <a:gd name="connsiteY8" fmla="*/ 1214661 h 4265518"/>
                <a:gd name="connsiteX9" fmla="*/ 2177171 w 2775603"/>
                <a:gd name="connsiteY9" fmla="*/ 1062261 h 4265518"/>
                <a:gd name="connsiteX10" fmla="*/ 2026676 w 2775603"/>
                <a:gd name="connsiteY10" fmla="*/ 252636 h 4265518"/>
                <a:gd name="connsiteX11" fmla="*/ 1296109 w 2775603"/>
                <a:gd name="connsiteY11" fmla="*/ 2129 h 4265518"/>
                <a:gd name="connsiteX12" fmla="*/ 747469 w 2775603"/>
                <a:gd name="connsiteY12" fmla="*/ 205011 h 4265518"/>
                <a:gd name="connsiteX13" fmla="*/ 600784 w 2775603"/>
                <a:gd name="connsiteY13" fmla="*/ 254541 h 4265518"/>
                <a:gd name="connsiteX14" fmla="*/ 426476 w 2775603"/>
                <a:gd name="connsiteY14" fmla="*/ 607919 h 4265518"/>
                <a:gd name="connsiteX15" fmla="*/ 476006 w 2775603"/>
                <a:gd name="connsiteY15" fmla="*/ 1023209 h 4265518"/>
                <a:gd name="connsiteX16" fmla="*/ 359801 w 2775603"/>
                <a:gd name="connsiteY16" fmla="*/ 1214661 h 4265518"/>
                <a:gd name="connsiteX17" fmla="*/ 359801 w 2775603"/>
                <a:gd name="connsiteY17" fmla="*/ 1266096 h 4265518"/>
                <a:gd name="connsiteX18" fmla="*/ 523631 w 2775603"/>
                <a:gd name="connsiteY18" fmla="*/ 1475646 h 4265518"/>
                <a:gd name="connsiteX19" fmla="*/ 574114 w 2775603"/>
                <a:gd name="connsiteY19" fmla="*/ 1479456 h 4265518"/>
                <a:gd name="connsiteX20" fmla="*/ 760804 w 2775603"/>
                <a:gd name="connsiteY20" fmla="*/ 1847121 h 4265518"/>
                <a:gd name="connsiteX21" fmla="*/ 760804 w 2775603"/>
                <a:gd name="connsiteY21" fmla="*/ 2005236 h 4265518"/>
                <a:gd name="connsiteX22" fmla="*/ 715084 w 2775603"/>
                <a:gd name="connsiteY22" fmla="*/ 2026191 h 4265518"/>
                <a:gd name="connsiteX23" fmla="*/ 516964 w 2775603"/>
                <a:gd name="connsiteY23" fmla="*/ 2224311 h 4265518"/>
                <a:gd name="connsiteX24" fmla="*/ 126439 w 2775603"/>
                <a:gd name="connsiteY24" fmla="*/ 2374807 h 4265518"/>
                <a:gd name="connsiteX25" fmla="*/ 31189 w 2775603"/>
                <a:gd name="connsiteY25" fmla="*/ 2425289 h 4265518"/>
                <a:gd name="connsiteX26" fmla="*/ 12139 w 2775603"/>
                <a:gd name="connsiteY26" fmla="*/ 2524349 h 4265518"/>
                <a:gd name="connsiteX27" fmla="*/ 71194 w 2775603"/>
                <a:gd name="connsiteY27" fmla="*/ 2555781 h 4265518"/>
                <a:gd name="connsiteX28" fmla="*/ 111199 w 2775603"/>
                <a:gd name="connsiteY28" fmla="*/ 2543399 h 4265518"/>
                <a:gd name="connsiteX29" fmla="*/ 177874 w 2775603"/>
                <a:gd name="connsiteY29" fmla="*/ 2508156 h 4265518"/>
                <a:gd name="connsiteX30" fmla="*/ 538871 w 2775603"/>
                <a:gd name="connsiteY30" fmla="*/ 2369091 h 4265518"/>
                <a:gd name="connsiteX31" fmla="*/ 815096 w 2775603"/>
                <a:gd name="connsiteY31" fmla="*/ 2783429 h 4265518"/>
                <a:gd name="connsiteX32" fmla="*/ 965591 w 2775603"/>
                <a:gd name="connsiteY32" fmla="*/ 2873917 h 4265518"/>
                <a:gd name="connsiteX33" fmla="*/ 985594 w 2775603"/>
                <a:gd name="connsiteY33" fmla="*/ 2874869 h 4265518"/>
                <a:gd name="connsiteX34" fmla="*/ 1086559 w 2775603"/>
                <a:gd name="connsiteY34" fmla="*/ 2848199 h 4265518"/>
                <a:gd name="connsiteX35" fmla="*/ 1027504 w 2775603"/>
                <a:gd name="connsiteY35" fmla="*/ 4191224 h 4265518"/>
                <a:gd name="connsiteX36" fmla="*/ 1096084 w 2775603"/>
                <a:gd name="connsiteY36" fmla="*/ 4265519 h 4265518"/>
                <a:gd name="connsiteX37" fmla="*/ 1098941 w 2775603"/>
                <a:gd name="connsiteY37" fmla="*/ 4265519 h 4265518"/>
                <a:gd name="connsiteX38" fmla="*/ 1170379 w 2775603"/>
                <a:gd name="connsiteY38" fmla="*/ 4196939 h 4265518"/>
                <a:gd name="connsiteX39" fmla="*/ 1225624 w 2775603"/>
                <a:gd name="connsiteY39" fmla="*/ 2950117 h 4265518"/>
                <a:gd name="connsiteX40" fmla="*/ 1374214 w 2775603"/>
                <a:gd name="connsiteY40" fmla="*/ 2950117 h 4265518"/>
                <a:gd name="connsiteX41" fmla="*/ 1429459 w 2775603"/>
                <a:gd name="connsiteY41" fmla="*/ 4196939 h 4265518"/>
                <a:gd name="connsiteX42" fmla="*/ 1500896 w 2775603"/>
                <a:gd name="connsiteY42" fmla="*/ 4265519 h 4265518"/>
                <a:gd name="connsiteX43" fmla="*/ 1503754 w 2775603"/>
                <a:gd name="connsiteY43" fmla="*/ 4265519 h 4265518"/>
                <a:gd name="connsiteX44" fmla="*/ 1572334 w 2775603"/>
                <a:gd name="connsiteY44" fmla="*/ 4191224 h 4265518"/>
                <a:gd name="connsiteX45" fmla="*/ 1512326 w 2775603"/>
                <a:gd name="connsiteY45" fmla="*/ 2848199 h 4265518"/>
                <a:gd name="connsiteX46" fmla="*/ 1613291 w 2775603"/>
                <a:gd name="connsiteY46" fmla="*/ 2874869 h 4265518"/>
                <a:gd name="connsiteX47" fmla="*/ 1633294 w 2775603"/>
                <a:gd name="connsiteY47" fmla="*/ 2873917 h 4265518"/>
                <a:gd name="connsiteX48" fmla="*/ 1783789 w 2775603"/>
                <a:gd name="connsiteY48" fmla="*/ 2783429 h 4265518"/>
                <a:gd name="connsiteX49" fmla="*/ 2060014 w 2775603"/>
                <a:gd name="connsiteY49" fmla="*/ 2369091 h 4265518"/>
                <a:gd name="connsiteX50" fmla="*/ 2421011 w 2775603"/>
                <a:gd name="connsiteY50" fmla="*/ 2508156 h 4265518"/>
                <a:gd name="connsiteX51" fmla="*/ 2549599 w 2775603"/>
                <a:gd name="connsiteY51" fmla="*/ 2597692 h 4265518"/>
                <a:gd name="connsiteX52" fmla="*/ 2302901 w 2775603"/>
                <a:gd name="connsiteY52" fmla="*/ 2844389 h 4265518"/>
                <a:gd name="connsiteX53" fmla="*/ 2164789 w 2775603"/>
                <a:gd name="connsiteY53" fmla="*/ 3178717 h 4265518"/>
                <a:gd name="connsiteX54" fmla="*/ 2164789 w 2775603"/>
                <a:gd name="connsiteY54" fmla="*/ 4194081 h 4265518"/>
                <a:gd name="connsiteX55" fmla="*/ 2236226 w 2775603"/>
                <a:gd name="connsiteY55" fmla="*/ 4265519 h 4265518"/>
                <a:gd name="connsiteX56" fmla="*/ 2307664 w 2775603"/>
                <a:gd name="connsiteY56" fmla="*/ 4194081 h 4265518"/>
                <a:gd name="connsiteX57" fmla="*/ 2307664 w 2775603"/>
                <a:gd name="connsiteY57" fmla="*/ 3178717 h 4265518"/>
                <a:gd name="connsiteX58" fmla="*/ 2403866 w 2775603"/>
                <a:gd name="connsiteY58" fmla="*/ 2945354 h 4265518"/>
                <a:gd name="connsiteX59" fmla="*/ 2621036 w 2775603"/>
                <a:gd name="connsiteY59" fmla="*/ 2728184 h 4265518"/>
                <a:gd name="connsiteX60" fmla="*/ 2632466 w 2775603"/>
                <a:gd name="connsiteY60" fmla="*/ 2828196 h 4265518"/>
                <a:gd name="connsiteX61" fmla="*/ 2577221 w 2775603"/>
                <a:gd name="connsiteY61" fmla="*/ 4191224 h 4265518"/>
                <a:gd name="connsiteX62" fmla="*/ 2645801 w 2775603"/>
                <a:gd name="connsiteY62" fmla="*/ 4265519 h 4265518"/>
                <a:gd name="connsiteX63" fmla="*/ 2648659 w 2775603"/>
                <a:gd name="connsiteY63" fmla="*/ 4265519 h 4265518"/>
                <a:gd name="connsiteX64" fmla="*/ 2720096 w 2775603"/>
                <a:gd name="connsiteY64" fmla="*/ 4196939 h 4265518"/>
                <a:gd name="connsiteX65" fmla="*/ 2775341 w 2775603"/>
                <a:gd name="connsiteY65" fmla="*/ 2833911 h 4265518"/>
                <a:gd name="connsiteX66" fmla="*/ 2471494 w 2775603"/>
                <a:gd name="connsiteY66" fmla="*/ 2374807 h 4265518"/>
                <a:gd name="connsiteX67" fmla="*/ 1298966 w 2775603"/>
                <a:gd name="connsiteY67" fmla="*/ 2450054 h 4265518"/>
                <a:gd name="connsiteX68" fmla="*/ 902726 w 2775603"/>
                <a:gd name="connsiteY68" fmla="*/ 2103344 h 4265518"/>
                <a:gd name="connsiteX69" fmla="*/ 902726 w 2775603"/>
                <a:gd name="connsiteY69" fmla="*/ 1966184 h 4265518"/>
                <a:gd name="connsiteX70" fmla="*/ 1298966 w 2775603"/>
                <a:gd name="connsiteY70" fmla="*/ 2081436 h 4265518"/>
                <a:gd name="connsiteX71" fmla="*/ 1695206 w 2775603"/>
                <a:gd name="connsiteY71" fmla="*/ 1966184 h 4265518"/>
                <a:gd name="connsiteX72" fmla="*/ 1695206 w 2775603"/>
                <a:gd name="connsiteY72" fmla="*/ 2103344 h 4265518"/>
                <a:gd name="connsiteX73" fmla="*/ 1298966 w 2775603"/>
                <a:gd name="connsiteY73" fmla="*/ 2450054 h 4265518"/>
                <a:gd name="connsiteX74" fmla="*/ 568399 w 2775603"/>
                <a:gd name="connsiteY74" fmla="*/ 1337534 h 4265518"/>
                <a:gd name="connsiteX75" fmla="*/ 552206 w 2775603"/>
                <a:gd name="connsiteY75" fmla="*/ 1336581 h 4265518"/>
                <a:gd name="connsiteX76" fmla="*/ 502676 w 2775603"/>
                <a:gd name="connsiteY76" fmla="*/ 1267049 h 4265518"/>
                <a:gd name="connsiteX77" fmla="*/ 502676 w 2775603"/>
                <a:gd name="connsiteY77" fmla="*/ 1215614 h 4265518"/>
                <a:gd name="connsiteX78" fmla="*/ 553159 w 2775603"/>
                <a:gd name="connsiteY78" fmla="*/ 1147986 h 4265518"/>
                <a:gd name="connsiteX79" fmla="*/ 614119 w 2775603"/>
                <a:gd name="connsiteY79" fmla="*/ 1171799 h 4265518"/>
                <a:gd name="connsiteX80" fmla="*/ 664601 w 2775603"/>
                <a:gd name="connsiteY80" fmla="*/ 1207041 h 4265518"/>
                <a:gd name="connsiteX81" fmla="*/ 751279 w 2775603"/>
                <a:gd name="connsiteY81" fmla="*/ 1192754 h 4265518"/>
                <a:gd name="connsiteX82" fmla="*/ 868436 w 2775603"/>
                <a:gd name="connsiteY82" fmla="*/ 1078454 h 4265518"/>
                <a:gd name="connsiteX83" fmla="*/ 854149 w 2775603"/>
                <a:gd name="connsiteY83" fmla="*/ 978441 h 4265518"/>
                <a:gd name="connsiteX84" fmla="*/ 754136 w 2775603"/>
                <a:gd name="connsiteY84" fmla="*/ 992729 h 4265518"/>
                <a:gd name="connsiteX85" fmla="*/ 698891 w 2775603"/>
                <a:gd name="connsiteY85" fmla="*/ 1052736 h 4265518"/>
                <a:gd name="connsiteX86" fmla="*/ 621739 w 2775603"/>
                <a:gd name="connsiteY86" fmla="*/ 1011779 h 4265518"/>
                <a:gd name="connsiteX87" fmla="*/ 570304 w 2775603"/>
                <a:gd name="connsiteY87" fmla="*/ 608871 h 4265518"/>
                <a:gd name="connsiteX88" fmla="*/ 670316 w 2775603"/>
                <a:gd name="connsiteY88" fmla="*/ 380271 h 4265518"/>
                <a:gd name="connsiteX89" fmla="*/ 776996 w 2775603"/>
                <a:gd name="connsiteY89" fmla="*/ 345981 h 4265518"/>
                <a:gd name="connsiteX90" fmla="*/ 826526 w 2775603"/>
                <a:gd name="connsiteY90" fmla="*/ 325979 h 4265518"/>
                <a:gd name="connsiteX91" fmla="*/ 1304681 w 2775603"/>
                <a:gd name="connsiteY91" fmla="*/ 145004 h 4265518"/>
                <a:gd name="connsiteX92" fmla="*/ 1919044 w 2775603"/>
                <a:gd name="connsiteY92" fmla="*/ 345981 h 4265518"/>
                <a:gd name="connsiteX93" fmla="*/ 2042869 w 2775603"/>
                <a:gd name="connsiteY93" fmla="*/ 1003206 h 4265518"/>
                <a:gd name="connsiteX94" fmla="*/ 1981909 w 2775603"/>
                <a:gd name="connsiteY94" fmla="*/ 1007016 h 4265518"/>
                <a:gd name="connsiteX95" fmla="*/ 1915234 w 2775603"/>
                <a:gd name="connsiteY95" fmla="*/ 846044 h 4265518"/>
                <a:gd name="connsiteX96" fmla="*/ 1831414 w 2775603"/>
                <a:gd name="connsiteY96" fmla="*/ 804134 h 4265518"/>
                <a:gd name="connsiteX97" fmla="*/ 888439 w 2775603"/>
                <a:gd name="connsiteY97" fmla="*/ 628874 h 4265518"/>
                <a:gd name="connsiteX98" fmla="*/ 788426 w 2775603"/>
                <a:gd name="connsiteY98" fmla="*/ 617444 h 4265518"/>
                <a:gd name="connsiteX99" fmla="*/ 777949 w 2775603"/>
                <a:gd name="connsiteY99" fmla="*/ 717456 h 4265518"/>
                <a:gd name="connsiteX100" fmla="*/ 1807601 w 2775603"/>
                <a:gd name="connsiteY100" fmla="*/ 955581 h 4265518"/>
                <a:gd name="connsiteX101" fmla="*/ 1859036 w 2775603"/>
                <a:gd name="connsiteY101" fmla="*/ 1080359 h 4265518"/>
                <a:gd name="connsiteX102" fmla="*/ 1994291 w 2775603"/>
                <a:gd name="connsiteY102" fmla="*/ 1149891 h 4265518"/>
                <a:gd name="connsiteX103" fmla="*/ 2047631 w 2775603"/>
                <a:gd name="connsiteY103" fmla="*/ 1146081 h 4265518"/>
                <a:gd name="connsiteX104" fmla="*/ 2098114 w 2775603"/>
                <a:gd name="connsiteY104" fmla="*/ 1212756 h 4265518"/>
                <a:gd name="connsiteX105" fmla="*/ 2098114 w 2775603"/>
                <a:gd name="connsiteY105" fmla="*/ 1265144 h 4265518"/>
                <a:gd name="connsiteX106" fmla="*/ 2048584 w 2775603"/>
                <a:gd name="connsiteY106" fmla="*/ 1334676 h 4265518"/>
                <a:gd name="connsiteX107" fmla="*/ 2032391 w 2775603"/>
                <a:gd name="connsiteY107" fmla="*/ 1335629 h 4265518"/>
                <a:gd name="connsiteX108" fmla="*/ 1887611 w 2775603"/>
                <a:gd name="connsiteY108" fmla="*/ 1448976 h 4265518"/>
                <a:gd name="connsiteX109" fmla="*/ 1300871 w 2775603"/>
                <a:gd name="connsiteY109" fmla="*/ 1937609 h 4265518"/>
                <a:gd name="connsiteX110" fmla="*/ 714131 w 2775603"/>
                <a:gd name="connsiteY110" fmla="*/ 1448976 h 4265518"/>
                <a:gd name="connsiteX111" fmla="*/ 568399 w 2775603"/>
                <a:gd name="connsiteY111" fmla="*/ 1337534 h 4265518"/>
                <a:gd name="connsiteX112" fmla="*/ 979879 w 2775603"/>
                <a:gd name="connsiteY112" fmla="*/ 2731042 h 4265518"/>
                <a:gd name="connsiteX113" fmla="*/ 934159 w 2775603"/>
                <a:gd name="connsiteY113" fmla="*/ 2703419 h 4265518"/>
                <a:gd name="connsiteX114" fmla="*/ 656029 w 2775603"/>
                <a:gd name="connsiteY114" fmla="*/ 2286224 h 4265518"/>
                <a:gd name="connsiteX115" fmla="*/ 767471 w 2775603"/>
                <a:gd name="connsiteY115" fmla="*/ 2174782 h 4265518"/>
                <a:gd name="connsiteX116" fmla="*/ 1194191 w 2775603"/>
                <a:gd name="connsiteY116" fmla="*/ 2548161 h 4265518"/>
                <a:gd name="connsiteX117" fmla="*/ 1029409 w 2775603"/>
                <a:gd name="connsiteY117" fmla="*/ 2712944 h 4265518"/>
                <a:gd name="connsiteX118" fmla="*/ 979879 w 2775603"/>
                <a:gd name="connsiteY118" fmla="*/ 2731042 h 4265518"/>
                <a:gd name="connsiteX119" fmla="*/ 1231339 w 2775603"/>
                <a:gd name="connsiteY119" fmla="*/ 2808194 h 4265518"/>
                <a:gd name="connsiteX120" fmla="*/ 1236101 w 2775603"/>
                <a:gd name="connsiteY120" fmla="*/ 2710086 h 4265518"/>
                <a:gd name="connsiteX121" fmla="*/ 1299919 w 2775603"/>
                <a:gd name="connsiteY121" fmla="*/ 2646269 h 4265518"/>
                <a:gd name="connsiteX122" fmla="*/ 1363736 w 2775603"/>
                <a:gd name="connsiteY122" fmla="*/ 2710086 h 4265518"/>
                <a:gd name="connsiteX123" fmla="*/ 1368499 w 2775603"/>
                <a:gd name="connsiteY123" fmla="*/ 2808194 h 4265518"/>
                <a:gd name="connsiteX124" fmla="*/ 1231339 w 2775603"/>
                <a:gd name="connsiteY124" fmla="*/ 2808194 h 4265518"/>
                <a:gd name="connsiteX125" fmla="*/ 1231339 w 2775603"/>
                <a:gd name="connsiteY125" fmla="*/ 2808194 h 4265518"/>
                <a:gd name="connsiteX126" fmla="*/ 1664726 w 2775603"/>
                <a:gd name="connsiteY126" fmla="*/ 2704371 h 4265518"/>
                <a:gd name="connsiteX127" fmla="*/ 1619006 w 2775603"/>
                <a:gd name="connsiteY127" fmla="*/ 2731994 h 4265518"/>
                <a:gd name="connsiteX128" fmla="*/ 1568524 w 2775603"/>
                <a:gd name="connsiteY128" fmla="*/ 2713896 h 4265518"/>
                <a:gd name="connsiteX129" fmla="*/ 1403741 w 2775603"/>
                <a:gd name="connsiteY129" fmla="*/ 2549114 h 4265518"/>
                <a:gd name="connsiteX130" fmla="*/ 1830461 w 2775603"/>
                <a:gd name="connsiteY130" fmla="*/ 2175734 h 4265518"/>
                <a:gd name="connsiteX131" fmla="*/ 1941904 w 2775603"/>
                <a:gd name="connsiteY131" fmla="*/ 2287177 h 4265518"/>
                <a:gd name="connsiteX132" fmla="*/ 1664726 w 2775603"/>
                <a:gd name="connsiteY132" fmla="*/ 2704371 h 4265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</a:cxnLst>
              <a:rect l="l" t="t" r="r" b="b"/>
              <a:pathLst>
                <a:path w="2775603" h="4265518">
                  <a:moveTo>
                    <a:pt x="2471494" y="2374807"/>
                  </a:moveTo>
                  <a:lnTo>
                    <a:pt x="2082874" y="2224311"/>
                  </a:lnTo>
                  <a:lnTo>
                    <a:pt x="1884754" y="2026191"/>
                  </a:lnTo>
                  <a:cubicBezTo>
                    <a:pt x="1872371" y="2013809"/>
                    <a:pt x="1855226" y="2006189"/>
                    <a:pt x="1839034" y="2005236"/>
                  </a:cubicBezTo>
                  <a:lnTo>
                    <a:pt x="1839034" y="1848074"/>
                  </a:lnTo>
                  <a:cubicBezTo>
                    <a:pt x="1932379" y="1748061"/>
                    <a:pt x="1999054" y="1622331"/>
                    <a:pt x="2025724" y="1480409"/>
                  </a:cubicBezTo>
                  <a:cubicBezTo>
                    <a:pt x="2042869" y="1481361"/>
                    <a:pt x="2059061" y="1479456"/>
                    <a:pt x="2076206" y="1476599"/>
                  </a:cubicBezTo>
                  <a:cubicBezTo>
                    <a:pt x="2171457" y="1457549"/>
                    <a:pt x="2240036" y="1368966"/>
                    <a:pt x="2240036" y="1267049"/>
                  </a:cubicBezTo>
                  <a:lnTo>
                    <a:pt x="2240036" y="1214661"/>
                  </a:lnTo>
                  <a:cubicBezTo>
                    <a:pt x="2240036" y="1155606"/>
                    <a:pt x="2216224" y="1101314"/>
                    <a:pt x="2177171" y="1062261"/>
                  </a:cubicBezTo>
                  <a:cubicBezTo>
                    <a:pt x="2240036" y="719361"/>
                    <a:pt x="2188601" y="439326"/>
                    <a:pt x="2026676" y="252636"/>
                  </a:cubicBezTo>
                  <a:cubicBezTo>
                    <a:pt x="1869514" y="71661"/>
                    <a:pt x="1617101" y="-15016"/>
                    <a:pt x="1296109" y="2129"/>
                  </a:cubicBezTo>
                  <a:cubicBezTo>
                    <a:pt x="999881" y="18321"/>
                    <a:pt x="808429" y="154529"/>
                    <a:pt x="747469" y="205011"/>
                  </a:cubicBezTo>
                  <a:cubicBezTo>
                    <a:pt x="714131" y="208821"/>
                    <a:pt x="657934" y="220251"/>
                    <a:pt x="600784" y="254541"/>
                  </a:cubicBezTo>
                  <a:cubicBezTo>
                    <a:pt x="521726" y="302166"/>
                    <a:pt x="426476" y="402179"/>
                    <a:pt x="426476" y="607919"/>
                  </a:cubicBezTo>
                  <a:cubicBezTo>
                    <a:pt x="426476" y="787941"/>
                    <a:pt x="455051" y="937484"/>
                    <a:pt x="476006" y="1023209"/>
                  </a:cubicBezTo>
                  <a:cubicBezTo>
                    <a:pt x="406474" y="1057499"/>
                    <a:pt x="359801" y="1130841"/>
                    <a:pt x="359801" y="1214661"/>
                  </a:cubicBezTo>
                  <a:lnTo>
                    <a:pt x="359801" y="1266096"/>
                  </a:lnTo>
                  <a:cubicBezTo>
                    <a:pt x="359801" y="1368014"/>
                    <a:pt x="428381" y="1456596"/>
                    <a:pt x="523631" y="1475646"/>
                  </a:cubicBezTo>
                  <a:cubicBezTo>
                    <a:pt x="539824" y="1479456"/>
                    <a:pt x="556969" y="1480409"/>
                    <a:pt x="574114" y="1479456"/>
                  </a:cubicBezTo>
                  <a:cubicBezTo>
                    <a:pt x="600784" y="1621379"/>
                    <a:pt x="667459" y="1748061"/>
                    <a:pt x="760804" y="1847121"/>
                  </a:cubicBezTo>
                  <a:lnTo>
                    <a:pt x="760804" y="2005236"/>
                  </a:lnTo>
                  <a:cubicBezTo>
                    <a:pt x="743659" y="2006189"/>
                    <a:pt x="727466" y="2012856"/>
                    <a:pt x="715084" y="2026191"/>
                  </a:cubicBezTo>
                  <a:lnTo>
                    <a:pt x="516964" y="2224311"/>
                  </a:lnTo>
                  <a:lnTo>
                    <a:pt x="126439" y="2374807"/>
                  </a:lnTo>
                  <a:cubicBezTo>
                    <a:pt x="93101" y="2388141"/>
                    <a:pt x="60716" y="2404334"/>
                    <a:pt x="31189" y="2425289"/>
                  </a:cubicBezTo>
                  <a:cubicBezTo>
                    <a:pt x="-1196" y="2447196"/>
                    <a:pt x="-9769" y="2491964"/>
                    <a:pt x="12139" y="2524349"/>
                  </a:cubicBezTo>
                  <a:cubicBezTo>
                    <a:pt x="26426" y="2544352"/>
                    <a:pt x="48334" y="2555781"/>
                    <a:pt x="71194" y="2555781"/>
                  </a:cubicBezTo>
                  <a:cubicBezTo>
                    <a:pt x="85481" y="2555781"/>
                    <a:pt x="98816" y="2551971"/>
                    <a:pt x="111199" y="2543399"/>
                  </a:cubicBezTo>
                  <a:cubicBezTo>
                    <a:pt x="132154" y="2529111"/>
                    <a:pt x="154061" y="2517681"/>
                    <a:pt x="177874" y="2508156"/>
                  </a:cubicBezTo>
                  <a:lnTo>
                    <a:pt x="538871" y="2369091"/>
                  </a:lnTo>
                  <a:lnTo>
                    <a:pt x="815096" y="2783429"/>
                  </a:lnTo>
                  <a:cubicBezTo>
                    <a:pt x="849386" y="2834864"/>
                    <a:pt x="904631" y="2867249"/>
                    <a:pt x="965591" y="2873917"/>
                  </a:cubicBezTo>
                  <a:cubicBezTo>
                    <a:pt x="972259" y="2874869"/>
                    <a:pt x="978926" y="2874869"/>
                    <a:pt x="985594" y="2874869"/>
                  </a:cubicBezTo>
                  <a:cubicBezTo>
                    <a:pt x="1020836" y="2874869"/>
                    <a:pt x="1056079" y="2865344"/>
                    <a:pt x="1086559" y="2848199"/>
                  </a:cubicBezTo>
                  <a:lnTo>
                    <a:pt x="1027504" y="4191224"/>
                  </a:lnTo>
                  <a:cubicBezTo>
                    <a:pt x="1025599" y="4230277"/>
                    <a:pt x="1056079" y="4263614"/>
                    <a:pt x="1096084" y="4265519"/>
                  </a:cubicBezTo>
                  <a:cubicBezTo>
                    <a:pt x="1097036" y="4265519"/>
                    <a:pt x="1097989" y="4265519"/>
                    <a:pt x="1098941" y="4265519"/>
                  </a:cubicBezTo>
                  <a:cubicBezTo>
                    <a:pt x="1137041" y="4265519"/>
                    <a:pt x="1168474" y="4235992"/>
                    <a:pt x="1170379" y="4196939"/>
                  </a:cubicBezTo>
                  <a:lnTo>
                    <a:pt x="1225624" y="2950117"/>
                  </a:lnTo>
                  <a:lnTo>
                    <a:pt x="1374214" y="2950117"/>
                  </a:lnTo>
                  <a:lnTo>
                    <a:pt x="1429459" y="4196939"/>
                  </a:lnTo>
                  <a:cubicBezTo>
                    <a:pt x="1431364" y="4235039"/>
                    <a:pt x="1462796" y="4265519"/>
                    <a:pt x="1500896" y="4265519"/>
                  </a:cubicBezTo>
                  <a:cubicBezTo>
                    <a:pt x="1501849" y="4265519"/>
                    <a:pt x="1502801" y="4265519"/>
                    <a:pt x="1503754" y="4265519"/>
                  </a:cubicBezTo>
                  <a:cubicBezTo>
                    <a:pt x="1542806" y="4263614"/>
                    <a:pt x="1573286" y="4230277"/>
                    <a:pt x="1572334" y="4191224"/>
                  </a:cubicBezTo>
                  <a:lnTo>
                    <a:pt x="1512326" y="2848199"/>
                  </a:lnTo>
                  <a:cubicBezTo>
                    <a:pt x="1542806" y="2865344"/>
                    <a:pt x="1577096" y="2874869"/>
                    <a:pt x="1613291" y="2874869"/>
                  </a:cubicBezTo>
                  <a:cubicBezTo>
                    <a:pt x="1619959" y="2874869"/>
                    <a:pt x="1626626" y="2874869"/>
                    <a:pt x="1633294" y="2873917"/>
                  </a:cubicBezTo>
                  <a:cubicBezTo>
                    <a:pt x="1694254" y="2868202"/>
                    <a:pt x="1749499" y="2834864"/>
                    <a:pt x="1783789" y="2783429"/>
                  </a:cubicBezTo>
                  <a:lnTo>
                    <a:pt x="2060014" y="2369091"/>
                  </a:lnTo>
                  <a:lnTo>
                    <a:pt x="2421011" y="2508156"/>
                  </a:lnTo>
                  <a:cubicBezTo>
                    <a:pt x="2471494" y="2527206"/>
                    <a:pt x="2515309" y="2558639"/>
                    <a:pt x="2549599" y="2597692"/>
                  </a:cubicBezTo>
                  <a:lnTo>
                    <a:pt x="2302901" y="2844389"/>
                  </a:lnTo>
                  <a:cubicBezTo>
                    <a:pt x="2213366" y="2933924"/>
                    <a:pt x="2164789" y="3052034"/>
                    <a:pt x="2164789" y="3178717"/>
                  </a:cubicBezTo>
                  <a:lnTo>
                    <a:pt x="2164789" y="4194081"/>
                  </a:lnTo>
                  <a:cubicBezTo>
                    <a:pt x="2164789" y="4233134"/>
                    <a:pt x="2197174" y="4265519"/>
                    <a:pt x="2236226" y="4265519"/>
                  </a:cubicBezTo>
                  <a:cubicBezTo>
                    <a:pt x="2275279" y="4265519"/>
                    <a:pt x="2307664" y="4233134"/>
                    <a:pt x="2307664" y="4194081"/>
                  </a:cubicBezTo>
                  <a:lnTo>
                    <a:pt x="2307664" y="3178717"/>
                  </a:lnTo>
                  <a:cubicBezTo>
                    <a:pt x="2307664" y="3091086"/>
                    <a:pt x="2341954" y="3008219"/>
                    <a:pt x="2403866" y="2945354"/>
                  </a:cubicBezTo>
                  <a:lnTo>
                    <a:pt x="2621036" y="2728184"/>
                  </a:lnTo>
                  <a:cubicBezTo>
                    <a:pt x="2629609" y="2760569"/>
                    <a:pt x="2633419" y="2793906"/>
                    <a:pt x="2632466" y="2828196"/>
                  </a:cubicBezTo>
                  <a:lnTo>
                    <a:pt x="2577221" y="4191224"/>
                  </a:lnTo>
                  <a:cubicBezTo>
                    <a:pt x="2575316" y="4230277"/>
                    <a:pt x="2606749" y="4263614"/>
                    <a:pt x="2645801" y="4265519"/>
                  </a:cubicBezTo>
                  <a:cubicBezTo>
                    <a:pt x="2646754" y="4265519"/>
                    <a:pt x="2647707" y="4265519"/>
                    <a:pt x="2648659" y="4265519"/>
                  </a:cubicBezTo>
                  <a:cubicBezTo>
                    <a:pt x="2686759" y="4265519"/>
                    <a:pt x="2718191" y="4235039"/>
                    <a:pt x="2720096" y="4196939"/>
                  </a:cubicBezTo>
                  <a:lnTo>
                    <a:pt x="2775341" y="2833911"/>
                  </a:lnTo>
                  <a:cubicBezTo>
                    <a:pt x="2782009" y="2632934"/>
                    <a:pt x="2661041" y="2448149"/>
                    <a:pt x="2471494" y="2374807"/>
                  </a:cubicBezTo>
                  <a:close/>
                  <a:moveTo>
                    <a:pt x="1298966" y="2450054"/>
                  </a:moveTo>
                  <a:lnTo>
                    <a:pt x="902726" y="2103344"/>
                  </a:lnTo>
                  <a:lnTo>
                    <a:pt x="902726" y="1966184"/>
                  </a:lnTo>
                  <a:cubicBezTo>
                    <a:pt x="1017979" y="2039526"/>
                    <a:pt x="1154186" y="2081436"/>
                    <a:pt x="1298966" y="2081436"/>
                  </a:cubicBezTo>
                  <a:cubicBezTo>
                    <a:pt x="1443746" y="2081436"/>
                    <a:pt x="1579954" y="2039526"/>
                    <a:pt x="1695206" y="1966184"/>
                  </a:cubicBezTo>
                  <a:lnTo>
                    <a:pt x="1695206" y="2103344"/>
                  </a:lnTo>
                  <a:lnTo>
                    <a:pt x="1298966" y="2450054"/>
                  </a:lnTo>
                  <a:close/>
                  <a:moveTo>
                    <a:pt x="568399" y="1337534"/>
                  </a:moveTo>
                  <a:cubicBezTo>
                    <a:pt x="562684" y="1337534"/>
                    <a:pt x="556969" y="1337534"/>
                    <a:pt x="552206" y="1336581"/>
                  </a:cubicBezTo>
                  <a:cubicBezTo>
                    <a:pt x="523631" y="1330866"/>
                    <a:pt x="502676" y="1300386"/>
                    <a:pt x="502676" y="1267049"/>
                  </a:cubicBezTo>
                  <a:lnTo>
                    <a:pt x="502676" y="1215614"/>
                  </a:lnTo>
                  <a:cubicBezTo>
                    <a:pt x="502676" y="1182276"/>
                    <a:pt x="524584" y="1152749"/>
                    <a:pt x="553159" y="1147986"/>
                  </a:cubicBezTo>
                  <a:cubicBezTo>
                    <a:pt x="576971" y="1144176"/>
                    <a:pt x="599831" y="1152749"/>
                    <a:pt x="614119" y="1171799"/>
                  </a:cubicBezTo>
                  <a:cubicBezTo>
                    <a:pt x="627454" y="1188944"/>
                    <a:pt x="644599" y="1201326"/>
                    <a:pt x="664601" y="1207041"/>
                  </a:cubicBezTo>
                  <a:cubicBezTo>
                    <a:pt x="694129" y="1215614"/>
                    <a:pt x="726514" y="1210851"/>
                    <a:pt x="751279" y="1192754"/>
                  </a:cubicBezTo>
                  <a:cubicBezTo>
                    <a:pt x="796046" y="1161321"/>
                    <a:pt x="835099" y="1122269"/>
                    <a:pt x="868436" y="1078454"/>
                  </a:cubicBezTo>
                  <a:cubicBezTo>
                    <a:pt x="892249" y="1047021"/>
                    <a:pt x="885581" y="1002254"/>
                    <a:pt x="854149" y="978441"/>
                  </a:cubicBezTo>
                  <a:cubicBezTo>
                    <a:pt x="822716" y="954629"/>
                    <a:pt x="777949" y="961296"/>
                    <a:pt x="754136" y="992729"/>
                  </a:cubicBezTo>
                  <a:cubicBezTo>
                    <a:pt x="737944" y="1014636"/>
                    <a:pt x="718894" y="1034639"/>
                    <a:pt x="698891" y="1052736"/>
                  </a:cubicBezTo>
                  <a:cubicBezTo>
                    <a:pt x="676031" y="1033686"/>
                    <a:pt x="649361" y="1019399"/>
                    <a:pt x="621739" y="1011779"/>
                  </a:cubicBezTo>
                  <a:cubicBezTo>
                    <a:pt x="603641" y="941294"/>
                    <a:pt x="570304" y="790799"/>
                    <a:pt x="570304" y="608871"/>
                  </a:cubicBezTo>
                  <a:cubicBezTo>
                    <a:pt x="570304" y="499334"/>
                    <a:pt x="603641" y="422181"/>
                    <a:pt x="670316" y="380271"/>
                  </a:cubicBezTo>
                  <a:cubicBezTo>
                    <a:pt x="721751" y="346934"/>
                    <a:pt x="776996" y="345981"/>
                    <a:pt x="776996" y="345981"/>
                  </a:cubicBezTo>
                  <a:cubicBezTo>
                    <a:pt x="795094" y="345981"/>
                    <a:pt x="813191" y="338361"/>
                    <a:pt x="826526" y="325979"/>
                  </a:cubicBezTo>
                  <a:cubicBezTo>
                    <a:pt x="828431" y="324074"/>
                    <a:pt x="1003691" y="161196"/>
                    <a:pt x="1304681" y="145004"/>
                  </a:cubicBezTo>
                  <a:cubicBezTo>
                    <a:pt x="1579954" y="129764"/>
                    <a:pt x="1792361" y="199296"/>
                    <a:pt x="1919044" y="345981"/>
                  </a:cubicBezTo>
                  <a:cubicBezTo>
                    <a:pt x="2046679" y="493619"/>
                    <a:pt x="2089541" y="720314"/>
                    <a:pt x="2042869" y="1003206"/>
                  </a:cubicBezTo>
                  <a:cubicBezTo>
                    <a:pt x="2023819" y="1002254"/>
                    <a:pt x="2002864" y="1004159"/>
                    <a:pt x="1981909" y="1007016"/>
                  </a:cubicBezTo>
                  <a:lnTo>
                    <a:pt x="1915234" y="846044"/>
                  </a:lnTo>
                  <a:cubicBezTo>
                    <a:pt x="1901899" y="812706"/>
                    <a:pt x="1865704" y="795561"/>
                    <a:pt x="1831414" y="804134"/>
                  </a:cubicBezTo>
                  <a:cubicBezTo>
                    <a:pt x="1824746" y="806039"/>
                    <a:pt x="1164664" y="972726"/>
                    <a:pt x="888439" y="628874"/>
                  </a:cubicBezTo>
                  <a:cubicBezTo>
                    <a:pt x="863674" y="598394"/>
                    <a:pt x="818906" y="593631"/>
                    <a:pt x="788426" y="617444"/>
                  </a:cubicBezTo>
                  <a:cubicBezTo>
                    <a:pt x="757946" y="642209"/>
                    <a:pt x="753184" y="686976"/>
                    <a:pt x="777949" y="717456"/>
                  </a:cubicBezTo>
                  <a:cubicBezTo>
                    <a:pt x="1060841" y="1068929"/>
                    <a:pt x="1620911" y="992729"/>
                    <a:pt x="1807601" y="955581"/>
                  </a:cubicBezTo>
                  <a:lnTo>
                    <a:pt x="1859036" y="1080359"/>
                  </a:lnTo>
                  <a:cubicBezTo>
                    <a:pt x="1880944" y="1133699"/>
                    <a:pt x="1938094" y="1163226"/>
                    <a:pt x="1994291" y="1149891"/>
                  </a:cubicBezTo>
                  <a:cubicBezTo>
                    <a:pt x="2017151" y="1144176"/>
                    <a:pt x="2039059" y="1144176"/>
                    <a:pt x="2047631" y="1146081"/>
                  </a:cubicBezTo>
                  <a:cubicBezTo>
                    <a:pt x="2076206" y="1151796"/>
                    <a:pt x="2098114" y="1180371"/>
                    <a:pt x="2098114" y="1212756"/>
                  </a:cubicBezTo>
                  <a:lnTo>
                    <a:pt x="2098114" y="1265144"/>
                  </a:lnTo>
                  <a:cubicBezTo>
                    <a:pt x="2098114" y="1299434"/>
                    <a:pt x="2077159" y="1328961"/>
                    <a:pt x="2048584" y="1334676"/>
                  </a:cubicBezTo>
                  <a:cubicBezTo>
                    <a:pt x="2042869" y="1335629"/>
                    <a:pt x="2037154" y="1336581"/>
                    <a:pt x="2032391" y="1335629"/>
                  </a:cubicBezTo>
                  <a:cubicBezTo>
                    <a:pt x="1963811" y="1330866"/>
                    <a:pt x="1899994" y="1380396"/>
                    <a:pt x="1887611" y="1448976"/>
                  </a:cubicBezTo>
                  <a:cubicBezTo>
                    <a:pt x="1835224" y="1731869"/>
                    <a:pt x="1589479" y="1937609"/>
                    <a:pt x="1300871" y="1937609"/>
                  </a:cubicBezTo>
                  <a:cubicBezTo>
                    <a:pt x="1013216" y="1937609"/>
                    <a:pt x="766519" y="1731869"/>
                    <a:pt x="714131" y="1448976"/>
                  </a:cubicBezTo>
                  <a:cubicBezTo>
                    <a:pt x="700796" y="1382301"/>
                    <a:pt x="636979" y="1331819"/>
                    <a:pt x="568399" y="1337534"/>
                  </a:cubicBezTo>
                  <a:close/>
                  <a:moveTo>
                    <a:pt x="979879" y="2731042"/>
                  </a:moveTo>
                  <a:cubicBezTo>
                    <a:pt x="969401" y="2730089"/>
                    <a:pt x="948446" y="2725327"/>
                    <a:pt x="934159" y="2703419"/>
                  </a:cubicBezTo>
                  <a:lnTo>
                    <a:pt x="656029" y="2286224"/>
                  </a:lnTo>
                  <a:lnTo>
                    <a:pt x="767471" y="2174782"/>
                  </a:lnTo>
                  <a:lnTo>
                    <a:pt x="1194191" y="2548161"/>
                  </a:lnTo>
                  <a:lnTo>
                    <a:pt x="1029409" y="2712944"/>
                  </a:lnTo>
                  <a:cubicBezTo>
                    <a:pt x="1012264" y="2731994"/>
                    <a:pt x="990356" y="2731994"/>
                    <a:pt x="979879" y="2731042"/>
                  </a:cubicBezTo>
                  <a:close/>
                  <a:moveTo>
                    <a:pt x="1231339" y="2808194"/>
                  </a:moveTo>
                  <a:lnTo>
                    <a:pt x="1236101" y="2710086"/>
                  </a:lnTo>
                  <a:lnTo>
                    <a:pt x="1299919" y="2646269"/>
                  </a:lnTo>
                  <a:lnTo>
                    <a:pt x="1363736" y="2710086"/>
                  </a:lnTo>
                  <a:lnTo>
                    <a:pt x="1368499" y="2808194"/>
                  </a:lnTo>
                  <a:lnTo>
                    <a:pt x="1231339" y="2808194"/>
                  </a:lnTo>
                  <a:lnTo>
                    <a:pt x="1231339" y="2808194"/>
                  </a:lnTo>
                  <a:close/>
                  <a:moveTo>
                    <a:pt x="1664726" y="2704371"/>
                  </a:moveTo>
                  <a:cubicBezTo>
                    <a:pt x="1650439" y="2725327"/>
                    <a:pt x="1630436" y="2731042"/>
                    <a:pt x="1619006" y="2731994"/>
                  </a:cubicBezTo>
                  <a:cubicBezTo>
                    <a:pt x="1607576" y="2732946"/>
                    <a:pt x="1586621" y="2731994"/>
                    <a:pt x="1568524" y="2713896"/>
                  </a:cubicBezTo>
                  <a:lnTo>
                    <a:pt x="1403741" y="2549114"/>
                  </a:lnTo>
                  <a:lnTo>
                    <a:pt x="1830461" y="2175734"/>
                  </a:lnTo>
                  <a:lnTo>
                    <a:pt x="1941904" y="2287177"/>
                  </a:lnTo>
                  <a:lnTo>
                    <a:pt x="1664726" y="27043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6" name="Forma Livre: Forma 35">
              <a:extLst>
                <a:ext uri="{FF2B5EF4-FFF2-40B4-BE49-F238E27FC236}">
                  <a16:creationId xmlns:a16="http://schemas.microsoft.com/office/drawing/2014/main" id="{138EB666-7653-4D75-95D2-80E85FAAC931}"/>
                </a:ext>
              </a:extLst>
            </p:cNvPr>
            <p:cNvSpPr/>
            <p:nvPr/>
          </p:nvSpPr>
          <p:spPr>
            <a:xfrm>
              <a:off x="3657238" y="1295400"/>
              <a:ext cx="2551363" cy="4266247"/>
            </a:xfrm>
            <a:custGeom>
              <a:avLst/>
              <a:gdLst>
                <a:gd name="connsiteX0" fmla="*/ 2265407 w 2551363"/>
                <a:gd name="connsiteY0" fmla="*/ 2748915 h 4266247"/>
                <a:gd name="connsiteX1" fmla="*/ 1916792 w 2551363"/>
                <a:gd name="connsiteY1" fmla="*/ 2596515 h 4266247"/>
                <a:gd name="connsiteX2" fmla="*/ 1726292 w 2551363"/>
                <a:gd name="connsiteY2" fmla="*/ 2406015 h 4266247"/>
                <a:gd name="connsiteX3" fmla="*/ 1680572 w 2551363"/>
                <a:gd name="connsiteY3" fmla="*/ 2385060 h 4266247"/>
                <a:gd name="connsiteX4" fmla="*/ 1680572 w 2551363"/>
                <a:gd name="connsiteY4" fmla="*/ 2272665 h 4266247"/>
                <a:gd name="connsiteX5" fmla="*/ 2001564 w 2551363"/>
                <a:gd name="connsiteY5" fmla="*/ 1792605 h 4266247"/>
                <a:gd name="connsiteX6" fmla="*/ 2057762 w 2551363"/>
                <a:gd name="connsiteY6" fmla="*/ 1786890 h 4266247"/>
                <a:gd name="connsiteX7" fmla="*/ 2215877 w 2551363"/>
                <a:gd name="connsiteY7" fmla="*/ 1578293 h 4266247"/>
                <a:gd name="connsiteX8" fmla="*/ 2215877 w 2551363"/>
                <a:gd name="connsiteY8" fmla="*/ 1525905 h 4266247"/>
                <a:gd name="connsiteX9" fmla="*/ 2124437 w 2551363"/>
                <a:gd name="connsiteY9" fmla="*/ 1350645 h 4266247"/>
                <a:gd name="connsiteX10" fmla="*/ 2149202 w 2551363"/>
                <a:gd name="connsiteY10" fmla="*/ 1152525 h 4266247"/>
                <a:gd name="connsiteX11" fmla="*/ 1748199 w 2551363"/>
                <a:gd name="connsiteY11" fmla="*/ 445770 h 4266247"/>
                <a:gd name="connsiteX12" fmla="*/ 1274807 w 2551363"/>
                <a:gd name="connsiteY12" fmla="*/ 0 h 4266247"/>
                <a:gd name="connsiteX13" fmla="*/ 802367 w 2551363"/>
                <a:gd name="connsiteY13" fmla="*/ 447675 h 4266247"/>
                <a:gd name="connsiteX14" fmla="*/ 401364 w 2551363"/>
                <a:gd name="connsiteY14" fmla="*/ 1153478 h 4266247"/>
                <a:gd name="connsiteX15" fmla="*/ 426129 w 2551363"/>
                <a:gd name="connsiteY15" fmla="*/ 1350645 h 4266247"/>
                <a:gd name="connsiteX16" fmla="*/ 334689 w 2551363"/>
                <a:gd name="connsiteY16" fmla="*/ 1527810 h 4266247"/>
                <a:gd name="connsiteX17" fmla="*/ 334689 w 2551363"/>
                <a:gd name="connsiteY17" fmla="*/ 1579245 h 4266247"/>
                <a:gd name="connsiteX18" fmla="*/ 492804 w 2551363"/>
                <a:gd name="connsiteY18" fmla="*/ 1787843 h 4266247"/>
                <a:gd name="connsiteX19" fmla="*/ 549002 w 2551363"/>
                <a:gd name="connsiteY19" fmla="*/ 1793558 h 4266247"/>
                <a:gd name="connsiteX20" fmla="*/ 869994 w 2551363"/>
                <a:gd name="connsiteY20" fmla="*/ 2273618 h 4266247"/>
                <a:gd name="connsiteX21" fmla="*/ 869994 w 2551363"/>
                <a:gd name="connsiteY21" fmla="*/ 2386013 h 4266247"/>
                <a:gd name="connsiteX22" fmla="*/ 824274 w 2551363"/>
                <a:gd name="connsiteY22" fmla="*/ 2406968 h 4266247"/>
                <a:gd name="connsiteX23" fmla="*/ 633774 w 2551363"/>
                <a:gd name="connsiteY23" fmla="*/ 2597468 h 4266247"/>
                <a:gd name="connsiteX24" fmla="*/ 285159 w 2551363"/>
                <a:gd name="connsiteY24" fmla="*/ 2749868 h 4266247"/>
                <a:gd name="connsiteX25" fmla="*/ 362 w 2551363"/>
                <a:gd name="connsiteY25" fmla="*/ 3202305 h 4266247"/>
                <a:gd name="connsiteX26" fmla="*/ 42272 w 2551363"/>
                <a:gd name="connsiteY26" fmla="*/ 4197668 h 4266247"/>
                <a:gd name="connsiteX27" fmla="*/ 113709 w 2551363"/>
                <a:gd name="connsiteY27" fmla="*/ 4266248 h 4266247"/>
                <a:gd name="connsiteX28" fmla="*/ 116567 w 2551363"/>
                <a:gd name="connsiteY28" fmla="*/ 4266248 h 4266247"/>
                <a:gd name="connsiteX29" fmla="*/ 185147 w 2551363"/>
                <a:gd name="connsiteY29" fmla="*/ 4191953 h 4266247"/>
                <a:gd name="connsiteX30" fmla="*/ 143237 w 2551363"/>
                <a:gd name="connsiteY30" fmla="*/ 3196590 h 4266247"/>
                <a:gd name="connsiteX31" fmla="*/ 188957 w 2551363"/>
                <a:gd name="connsiteY31" fmla="*/ 3016568 h 4266247"/>
                <a:gd name="connsiteX32" fmla="*/ 376599 w 2551363"/>
                <a:gd name="connsiteY32" fmla="*/ 3241358 h 4266247"/>
                <a:gd name="connsiteX33" fmla="*/ 468039 w 2551363"/>
                <a:gd name="connsiteY33" fmla="*/ 3494723 h 4266247"/>
                <a:gd name="connsiteX34" fmla="*/ 468039 w 2551363"/>
                <a:gd name="connsiteY34" fmla="*/ 4193858 h 4266247"/>
                <a:gd name="connsiteX35" fmla="*/ 539477 w 2551363"/>
                <a:gd name="connsiteY35" fmla="*/ 4265295 h 4266247"/>
                <a:gd name="connsiteX36" fmla="*/ 610914 w 2551363"/>
                <a:gd name="connsiteY36" fmla="*/ 4193858 h 4266247"/>
                <a:gd name="connsiteX37" fmla="*/ 610914 w 2551363"/>
                <a:gd name="connsiteY37" fmla="*/ 3494723 h 4266247"/>
                <a:gd name="connsiteX38" fmla="*/ 486137 w 2551363"/>
                <a:gd name="connsiteY38" fmla="*/ 3149918 h 4266247"/>
                <a:gd name="connsiteX39" fmla="*/ 287064 w 2551363"/>
                <a:gd name="connsiteY39" fmla="*/ 2910840 h 4266247"/>
                <a:gd name="connsiteX40" fmla="*/ 341357 w 2551363"/>
                <a:gd name="connsiteY40" fmla="*/ 2880360 h 4266247"/>
                <a:gd name="connsiteX41" fmla="*/ 645204 w 2551363"/>
                <a:gd name="connsiteY41" fmla="*/ 2747963 h 4266247"/>
                <a:gd name="connsiteX42" fmla="*/ 860469 w 2551363"/>
                <a:gd name="connsiteY42" fmla="*/ 3096578 h 4266247"/>
                <a:gd name="connsiteX43" fmla="*/ 956672 w 2551363"/>
                <a:gd name="connsiteY43" fmla="*/ 3160395 h 4266247"/>
                <a:gd name="connsiteX44" fmla="*/ 978579 w 2551363"/>
                <a:gd name="connsiteY44" fmla="*/ 3162300 h 4266247"/>
                <a:gd name="connsiteX45" fmla="*/ 1068114 w 2551363"/>
                <a:gd name="connsiteY45" fmla="*/ 3128963 h 4266247"/>
                <a:gd name="connsiteX46" fmla="*/ 1204322 w 2551363"/>
                <a:gd name="connsiteY46" fmla="*/ 3012758 h 4266247"/>
                <a:gd name="connsiteX47" fmla="*/ 1204322 w 2551363"/>
                <a:gd name="connsiteY47" fmla="*/ 4194810 h 4266247"/>
                <a:gd name="connsiteX48" fmla="*/ 1275759 w 2551363"/>
                <a:gd name="connsiteY48" fmla="*/ 4266248 h 4266247"/>
                <a:gd name="connsiteX49" fmla="*/ 1347197 w 2551363"/>
                <a:gd name="connsiteY49" fmla="*/ 4194810 h 4266247"/>
                <a:gd name="connsiteX50" fmla="*/ 1347197 w 2551363"/>
                <a:gd name="connsiteY50" fmla="*/ 3012758 h 4266247"/>
                <a:gd name="connsiteX51" fmla="*/ 1483404 w 2551363"/>
                <a:gd name="connsiteY51" fmla="*/ 3128963 h 4266247"/>
                <a:gd name="connsiteX52" fmla="*/ 1572939 w 2551363"/>
                <a:gd name="connsiteY52" fmla="*/ 3162300 h 4266247"/>
                <a:gd name="connsiteX53" fmla="*/ 1594847 w 2551363"/>
                <a:gd name="connsiteY53" fmla="*/ 3160395 h 4266247"/>
                <a:gd name="connsiteX54" fmla="*/ 1691049 w 2551363"/>
                <a:gd name="connsiteY54" fmla="*/ 3096578 h 4266247"/>
                <a:gd name="connsiteX55" fmla="*/ 1906314 w 2551363"/>
                <a:gd name="connsiteY55" fmla="*/ 2747963 h 4266247"/>
                <a:gd name="connsiteX56" fmla="*/ 2210162 w 2551363"/>
                <a:gd name="connsiteY56" fmla="*/ 2880360 h 4266247"/>
                <a:gd name="connsiteX57" fmla="*/ 2264454 w 2551363"/>
                <a:gd name="connsiteY57" fmla="*/ 2910840 h 4266247"/>
                <a:gd name="connsiteX58" fmla="*/ 2065382 w 2551363"/>
                <a:gd name="connsiteY58" fmla="*/ 3149918 h 4266247"/>
                <a:gd name="connsiteX59" fmla="*/ 1940604 w 2551363"/>
                <a:gd name="connsiteY59" fmla="*/ 3494723 h 4266247"/>
                <a:gd name="connsiteX60" fmla="*/ 1940604 w 2551363"/>
                <a:gd name="connsiteY60" fmla="*/ 4193858 h 4266247"/>
                <a:gd name="connsiteX61" fmla="*/ 2012042 w 2551363"/>
                <a:gd name="connsiteY61" fmla="*/ 4265295 h 4266247"/>
                <a:gd name="connsiteX62" fmla="*/ 2083479 w 2551363"/>
                <a:gd name="connsiteY62" fmla="*/ 4193858 h 4266247"/>
                <a:gd name="connsiteX63" fmla="*/ 2083479 w 2551363"/>
                <a:gd name="connsiteY63" fmla="*/ 3494723 h 4266247"/>
                <a:gd name="connsiteX64" fmla="*/ 2174919 w 2551363"/>
                <a:gd name="connsiteY64" fmla="*/ 3241358 h 4266247"/>
                <a:gd name="connsiteX65" fmla="*/ 2362562 w 2551363"/>
                <a:gd name="connsiteY65" fmla="*/ 3016568 h 4266247"/>
                <a:gd name="connsiteX66" fmla="*/ 2408282 w 2551363"/>
                <a:gd name="connsiteY66" fmla="*/ 3196590 h 4266247"/>
                <a:gd name="connsiteX67" fmla="*/ 2366372 w 2551363"/>
                <a:gd name="connsiteY67" fmla="*/ 4191953 h 4266247"/>
                <a:gd name="connsiteX68" fmla="*/ 2434952 w 2551363"/>
                <a:gd name="connsiteY68" fmla="*/ 4266248 h 4266247"/>
                <a:gd name="connsiteX69" fmla="*/ 2437809 w 2551363"/>
                <a:gd name="connsiteY69" fmla="*/ 4266248 h 4266247"/>
                <a:gd name="connsiteX70" fmla="*/ 2509247 w 2551363"/>
                <a:gd name="connsiteY70" fmla="*/ 4197668 h 4266247"/>
                <a:gd name="connsiteX71" fmla="*/ 2551157 w 2551363"/>
                <a:gd name="connsiteY71" fmla="*/ 3202305 h 4266247"/>
                <a:gd name="connsiteX72" fmla="*/ 2265407 w 2551363"/>
                <a:gd name="connsiteY72" fmla="*/ 2748915 h 4266247"/>
                <a:gd name="connsiteX73" fmla="*/ 1274807 w 2551363"/>
                <a:gd name="connsiteY73" fmla="*/ 142875 h 4266247"/>
                <a:gd name="connsiteX74" fmla="*/ 1592942 w 2551363"/>
                <a:gd name="connsiteY74" fmla="*/ 371475 h 4266247"/>
                <a:gd name="connsiteX75" fmla="*/ 1274807 w 2551363"/>
                <a:gd name="connsiteY75" fmla="*/ 313373 h 4266247"/>
                <a:gd name="connsiteX76" fmla="*/ 956672 w 2551363"/>
                <a:gd name="connsiteY76" fmla="*/ 371475 h 4266247"/>
                <a:gd name="connsiteX77" fmla="*/ 1274807 w 2551363"/>
                <a:gd name="connsiteY77" fmla="*/ 142875 h 4266247"/>
                <a:gd name="connsiteX78" fmla="*/ 688067 w 2551363"/>
                <a:gd name="connsiteY78" fmla="*/ 1763078 h 4266247"/>
                <a:gd name="connsiteX79" fmla="*/ 543287 w 2551363"/>
                <a:gd name="connsiteY79" fmla="*/ 1649730 h 4266247"/>
                <a:gd name="connsiteX80" fmla="*/ 524237 w 2551363"/>
                <a:gd name="connsiteY80" fmla="*/ 1647825 h 4266247"/>
                <a:gd name="connsiteX81" fmla="*/ 476612 w 2551363"/>
                <a:gd name="connsiteY81" fmla="*/ 1578293 h 4266247"/>
                <a:gd name="connsiteX82" fmla="*/ 476612 w 2551363"/>
                <a:gd name="connsiteY82" fmla="*/ 1526858 h 4266247"/>
                <a:gd name="connsiteX83" fmla="*/ 527094 w 2551363"/>
                <a:gd name="connsiteY83" fmla="*/ 1459230 h 4266247"/>
                <a:gd name="connsiteX84" fmla="*/ 588054 w 2551363"/>
                <a:gd name="connsiteY84" fmla="*/ 1483043 h 4266247"/>
                <a:gd name="connsiteX85" fmla="*/ 638537 w 2551363"/>
                <a:gd name="connsiteY85" fmla="*/ 1518285 h 4266247"/>
                <a:gd name="connsiteX86" fmla="*/ 725214 w 2551363"/>
                <a:gd name="connsiteY86" fmla="*/ 1503998 h 4266247"/>
                <a:gd name="connsiteX87" fmla="*/ 840467 w 2551363"/>
                <a:gd name="connsiteY87" fmla="*/ 1391603 h 4266247"/>
                <a:gd name="connsiteX88" fmla="*/ 826179 w 2551363"/>
                <a:gd name="connsiteY88" fmla="*/ 1291590 h 4266247"/>
                <a:gd name="connsiteX89" fmla="*/ 726167 w 2551363"/>
                <a:gd name="connsiteY89" fmla="*/ 1305878 h 4266247"/>
                <a:gd name="connsiteX90" fmla="*/ 671874 w 2551363"/>
                <a:gd name="connsiteY90" fmla="*/ 1364933 h 4266247"/>
                <a:gd name="connsiteX91" fmla="*/ 564242 w 2551363"/>
                <a:gd name="connsiteY91" fmla="*/ 1317308 h 4266247"/>
                <a:gd name="connsiteX92" fmla="*/ 543287 w 2551363"/>
                <a:gd name="connsiteY92" fmla="*/ 1153478 h 4266247"/>
                <a:gd name="connsiteX93" fmla="*/ 1273854 w 2551363"/>
                <a:gd name="connsiteY93" fmla="*/ 456248 h 4266247"/>
                <a:gd name="connsiteX94" fmla="*/ 2004422 w 2551363"/>
                <a:gd name="connsiteY94" fmla="*/ 1153478 h 4266247"/>
                <a:gd name="connsiteX95" fmla="*/ 1983467 w 2551363"/>
                <a:gd name="connsiteY95" fmla="*/ 1317308 h 4266247"/>
                <a:gd name="connsiteX96" fmla="*/ 1928222 w 2551363"/>
                <a:gd name="connsiteY96" fmla="*/ 1326833 h 4266247"/>
                <a:gd name="connsiteX97" fmla="*/ 1874882 w 2551363"/>
                <a:gd name="connsiteY97" fmla="*/ 1283018 h 4266247"/>
                <a:gd name="connsiteX98" fmla="*/ 1779632 w 2551363"/>
                <a:gd name="connsiteY98" fmla="*/ 1251585 h 4266247"/>
                <a:gd name="connsiteX99" fmla="*/ 861422 w 2551363"/>
                <a:gd name="connsiteY99" fmla="*/ 942023 h 4266247"/>
                <a:gd name="connsiteX100" fmla="*/ 760457 w 2551363"/>
                <a:gd name="connsiteY100" fmla="*/ 933450 h 4266247"/>
                <a:gd name="connsiteX101" fmla="*/ 751884 w 2551363"/>
                <a:gd name="connsiteY101" fmla="*/ 1034415 h 4266247"/>
                <a:gd name="connsiteX102" fmla="*/ 1345292 w 2551363"/>
                <a:gd name="connsiteY102" fmla="*/ 1362075 h 4266247"/>
                <a:gd name="connsiteX103" fmla="*/ 1786299 w 2551363"/>
                <a:gd name="connsiteY103" fmla="*/ 1395413 h 4266247"/>
                <a:gd name="connsiteX104" fmla="*/ 1870119 w 2551363"/>
                <a:gd name="connsiteY104" fmla="*/ 1463993 h 4266247"/>
                <a:gd name="connsiteX105" fmla="*/ 1951082 w 2551363"/>
                <a:gd name="connsiteY105" fmla="*/ 1470660 h 4266247"/>
                <a:gd name="connsiteX106" fmla="*/ 2021567 w 2551363"/>
                <a:gd name="connsiteY106" fmla="*/ 1461135 h 4266247"/>
                <a:gd name="connsiteX107" fmla="*/ 2072049 w 2551363"/>
                <a:gd name="connsiteY107" fmla="*/ 1527810 h 4266247"/>
                <a:gd name="connsiteX108" fmla="*/ 2072049 w 2551363"/>
                <a:gd name="connsiteY108" fmla="*/ 1580198 h 4266247"/>
                <a:gd name="connsiteX109" fmla="*/ 2024424 w 2551363"/>
                <a:gd name="connsiteY109" fmla="*/ 1649730 h 4266247"/>
                <a:gd name="connsiteX110" fmla="*/ 2005374 w 2551363"/>
                <a:gd name="connsiteY110" fmla="*/ 1651635 h 4266247"/>
                <a:gd name="connsiteX111" fmla="*/ 1860594 w 2551363"/>
                <a:gd name="connsiteY111" fmla="*/ 1764983 h 4266247"/>
                <a:gd name="connsiteX112" fmla="*/ 1273854 w 2551363"/>
                <a:gd name="connsiteY112" fmla="*/ 2253615 h 4266247"/>
                <a:gd name="connsiteX113" fmla="*/ 688067 w 2551363"/>
                <a:gd name="connsiteY113" fmla="*/ 1763078 h 4266247"/>
                <a:gd name="connsiteX114" fmla="*/ 1274807 w 2551363"/>
                <a:gd name="connsiteY114" fmla="*/ 2394585 h 4266247"/>
                <a:gd name="connsiteX115" fmla="*/ 1537697 w 2551363"/>
                <a:gd name="connsiteY115" fmla="*/ 2346008 h 4266247"/>
                <a:gd name="connsiteX116" fmla="*/ 1537697 w 2551363"/>
                <a:gd name="connsiteY116" fmla="*/ 2493645 h 4266247"/>
                <a:gd name="connsiteX117" fmla="*/ 1274807 w 2551363"/>
                <a:gd name="connsiteY117" fmla="*/ 2756535 h 4266247"/>
                <a:gd name="connsiteX118" fmla="*/ 1011917 w 2551363"/>
                <a:gd name="connsiteY118" fmla="*/ 2493645 h 4266247"/>
                <a:gd name="connsiteX119" fmla="*/ 1011917 w 2551363"/>
                <a:gd name="connsiteY119" fmla="*/ 2346008 h 4266247"/>
                <a:gd name="connsiteX120" fmla="*/ 1274807 w 2551363"/>
                <a:gd name="connsiteY120" fmla="*/ 2394585 h 4266247"/>
                <a:gd name="connsiteX121" fmla="*/ 978579 w 2551363"/>
                <a:gd name="connsiteY121" fmla="*/ 3016568 h 4266247"/>
                <a:gd name="connsiteX122" fmla="*/ 763314 w 2551363"/>
                <a:gd name="connsiteY122" fmla="*/ 2667953 h 4266247"/>
                <a:gd name="connsiteX123" fmla="*/ 873804 w 2551363"/>
                <a:gd name="connsiteY123" fmla="*/ 2557463 h 4266247"/>
                <a:gd name="connsiteX124" fmla="*/ 1170032 w 2551363"/>
                <a:gd name="connsiteY124" fmla="*/ 2853690 h 4266247"/>
                <a:gd name="connsiteX125" fmla="*/ 978579 w 2551363"/>
                <a:gd name="connsiteY125" fmla="*/ 3016568 h 4266247"/>
                <a:gd name="connsiteX126" fmla="*/ 1571034 w 2551363"/>
                <a:gd name="connsiteY126" fmla="*/ 3016568 h 4266247"/>
                <a:gd name="connsiteX127" fmla="*/ 1379582 w 2551363"/>
                <a:gd name="connsiteY127" fmla="*/ 2853690 h 4266247"/>
                <a:gd name="connsiteX128" fmla="*/ 1675809 w 2551363"/>
                <a:gd name="connsiteY128" fmla="*/ 2557463 h 4266247"/>
                <a:gd name="connsiteX129" fmla="*/ 1786299 w 2551363"/>
                <a:gd name="connsiteY129" fmla="*/ 2667953 h 4266247"/>
                <a:gd name="connsiteX130" fmla="*/ 1571034 w 2551363"/>
                <a:gd name="connsiteY130" fmla="*/ 3016568 h 4266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</a:cxnLst>
              <a:rect l="l" t="t" r="r" b="b"/>
              <a:pathLst>
                <a:path w="2551363" h="4266247">
                  <a:moveTo>
                    <a:pt x="2265407" y="2748915"/>
                  </a:moveTo>
                  <a:lnTo>
                    <a:pt x="1916792" y="2596515"/>
                  </a:lnTo>
                  <a:lnTo>
                    <a:pt x="1726292" y="2406015"/>
                  </a:lnTo>
                  <a:cubicBezTo>
                    <a:pt x="1713909" y="2393633"/>
                    <a:pt x="1696764" y="2386013"/>
                    <a:pt x="1680572" y="2385060"/>
                  </a:cubicBezTo>
                  <a:lnTo>
                    <a:pt x="1680572" y="2272665"/>
                  </a:lnTo>
                  <a:cubicBezTo>
                    <a:pt x="1843449" y="2165985"/>
                    <a:pt x="1962512" y="1995488"/>
                    <a:pt x="2001564" y="1792605"/>
                  </a:cubicBezTo>
                  <a:cubicBezTo>
                    <a:pt x="2020614" y="1793558"/>
                    <a:pt x="2039664" y="1791653"/>
                    <a:pt x="2057762" y="1786890"/>
                  </a:cubicBezTo>
                  <a:cubicBezTo>
                    <a:pt x="2149202" y="1764983"/>
                    <a:pt x="2215877" y="1677353"/>
                    <a:pt x="2215877" y="1578293"/>
                  </a:cubicBezTo>
                  <a:lnTo>
                    <a:pt x="2215877" y="1525905"/>
                  </a:lnTo>
                  <a:cubicBezTo>
                    <a:pt x="2215877" y="1453515"/>
                    <a:pt x="2179682" y="1388745"/>
                    <a:pt x="2124437" y="1350645"/>
                  </a:cubicBezTo>
                  <a:cubicBezTo>
                    <a:pt x="2140629" y="1285875"/>
                    <a:pt x="2149202" y="1219200"/>
                    <a:pt x="2149202" y="1152525"/>
                  </a:cubicBezTo>
                  <a:cubicBezTo>
                    <a:pt x="2149202" y="856298"/>
                    <a:pt x="1989182" y="596265"/>
                    <a:pt x="1748199" y="445770"/>
                  </a:cubicBezTo>
                  <a:cubicBezTo>
                    <a:pt x="1744389" y="200025"/>
                    <a:pt x="1533887" y="0"/>
                    <a:pt x="1274807" y="0"/>
                  </a:cubicBezTo>
                  <a:cubicBezTo>
                    <a:pt x="1015727" y="0"/>
                    <a:pt x="805224" y="200025"/>
                    <a:pt x="802367" y="447675"/>
                  </a:cubicBezTo>
                  <a:cubicBezTo>
                    <a:pt x="561384" y="597218"/>
                    <a:pt x="401364" y="857250"/>
                    <a:pt x="401364" y="1153478"/>
                  </a:cubicBezTo>
                  <a:cubicBezTo>
                    <a:pt x="401364" y="1220153"/>
                    <a:pt x="409937" y="1285875"/>
                    <a:pt x="426129" y="1350645"/>
                  </a:cubicBezTo>
                  <a:cubicBezTo>
                    <a:pt x="370884" y="1388745"/>
                    <a:pt x="334689" y="1454468"/>
                    <a:pt x="334689" y="1527810"/>
                  </a:cubicBezTo>
                  <a:lnTo>
                    <a:pt x="334689" y="1579245"/>
                  </a:lnTo>
                  <a:cubicBezTo>
                    <a:pt x="334689" y="1678305"/>
                    <a:pt x="401364" y="1765935"/>
                    <a:pt x="492804" y="1787843"/>
                  </a:cubicBezTo>
                  <a:cubicBezTo>
                    <a:pt x="511854" y="1792605"/>
                    <a:pt x="529952" y="1794510"/>
                    <a:pt x="549002" y="1793558"/>
                  </a:cubicBezTo>
                  <a:cubicBezTo>
                    <a:pt x="587102" y="1996440"/>
                    <a:pt x="706164" y="2166938"/>
                    <a:pt x="869994" y="2273618"/>
                  </a:cubicBezTo>
                  <a:lnTo>
                    <a:pt x="869994" y="2386013"/>
                  </a:lnTo>
                  <a:cubicBezTo>
                    <a:pt x="852849" y="2386965"/>
                    <a:pt x="836657" y="2393633"/>
                    <a:pt x="824274" y="2406968"/>
                  </a:cubicBezTo>
                  <a:lnTo>
                    <a:pt x="633774" y="2597468"/>
                  </a:lnTo>
                  <a:lnTo>
                    <a:pt x="285159" y="2749868"/>
                  </a:lnTo>
                  <a:cubicBezTo>
                    <a:pt x="106089" y="2827020"/>
                    <a:pt x="-7258" y="3008948"/>
                    <a:pt x="362" y="3202305"/>
                  </a:cubicBezTo>
                  <a:lnTo>
                    <a:pt x="42272" y="4197668"/>
                  </a:lnTo>
                  <a:cubicBezTo>
                    <a:pt x="44177" y="4235768"/>
                    <a:pt x="75609" y="4266248"/>
                    <a:pt x="113709" y="4266248"/>
                  </a:cubicBezTo>
                  <a:cubicBezTo>
                    <a:pt x="114662" y="4266248"/>
                    <a:pt x="115614" y="4266248"/>
                    <a:pt x="116567" y="4266248"/>
                  </a:cubicBezTo>
                  <a:cubicBezTo>
                    <a:pt x="155619" y="4264343"/>
                    <a:pt x="187052" y="4231005"/>
                    <a:pt x="185147" y="4191953"/>
                  </a:cubicBezTo>
                  <a:lnTo>
                    <a:pt x="143237" y="3196590"/>
                  </a:lnTo>
                  <a:cubicBezTo>
                    <a:pt x="140379" y="3132773"/>
                    <a:pt x="157524" y="3069908"/>
                    <a:pt x="188957" y="3016568"/>
                  </a:cubicBezTo>
                  <a:lnTo>
                    <a:pt x="376599" y="3241358"/>
                  </a:lnTo>
                  <a:cubicBezTo>
                    <a:pt x="435654" y="3312795"/>
                    <a:pt x="468039" y="3402330"/>
                    <a:pt x="468039" y="3494723"/>
                  </a:cubicBezTo>
                  <a:lnTo>
                    <a:pt x="468039" y="4193858"/>
                  </a:lnTo>
                  <a:cubicBezTo>
                    <a:pt x="468039" y="4232910"/>
                    <a:pt x="500424" y="4265295"/>
                    <a:pt x="539477" y="4265295"/>
                  </a:cubicBezTo>
                  <a:cubicBezTo>
                    <a:pt x="578529" y="4265295"/>
                    <a:pt x="610914" y="4232910"/>
                    <a:pt x="610914" y="4193858"/>
                  </a:cubicBezTo>
                  <a:lnTo>
                    <a:pt x="610914" y="3494723"/>
                  </a:lnTo>
                  <a:cubicBezTo>
                    <a:pt x="610914" y="3368993"/>
                    <a:pt x="566147" y="3246120"/>
                    <a:pt x="486137" y="3149918"/>
                  </a:cubicBezTo>
                  <a:lnTo>
                    <a:pt x="287064" y="2910840"/>
                  </a:lnTo>
                  <a:cubicBezTo>
                    <a:pt x="304209" y="2899410"/>
                    <a:pt x="322307" y="2888933"/>
                    <a:pt x="341357" y="2880360"/>
                  </a:cubicBezTo>
                  <a:lnTo>
                    <a:pt x="645204" y="2747963"/>
                  </a:lnTo>
                  <a:lnTo>
                    <a:pt x="860469" y="3096578"/>
                  </a:lnTo>
                  <a:cubicBezTo>
                    <a:pt x="881424" y="3130868"/>
                    <a:pt x="916667" y="3154680"/>
                    <a:pt x="956672" y="3160395"/>
                  </a:cubicBezTo>
                  <a:cubicBezTo>
                    <a:pt x="964292" y="3161348"/>
                    <a:pt x="970959" y="3162300"/>
                    <a:pt x="978579" y="3162300"/>
                  </a:cubicBezTo>
                  <a:cubicBezTo>
                    <a:pt x="1010964" y="3162300"/>
                    <a:pt x="1043349" y="3150870"/>
                    <a:pt x="1068114" y="3128963"/>
                  </a:cubicBezTo>
                  <a:lnTo>
                    <a:pt x="1204322" y="3012758"/>
                  </a:lnTo>
                  <a:lnTo>
                    <a:pt x="1204322" y="4194810"/>
                  </a:lnTo>
                  <a:cubicBezTo>
                    <a:pt x="1204322" y="4233863"/>
                    <a:pt x="1236707" y="4266248"/>
                    <a:pt x="1275759" y="4266248"/>
                  </a:cubicBezTo>
                  <a:cubicBezTo>
                    <a:pt x="1314812" y="4266248"/>
                    <a:pt x="1347197" y="4233863"/>
                    <a:pt x="1347197" y="4194810"/>
                  </a:cubicBezTo>
                  <a:lnTo>
                    <a:pt x="1347197" y="3012758"/>
                  </a:lnTo>
                  <a:lnTo>
                    <a:pt x="1483404" y="3128963"/>
                  </a:lnTo>
                  <a:cubicBezTo>
                    <a:pt x="1508169" y="3150870"/>
                    <a:pt x="1540554" y="3162300"/>
                    <a:pt x="1572939" y="3162300"/>
                  </a:cubicBezTo>
                  <a:cubicBezTo>
                    <a:pt x="1580559" y="3162300"/>
                    <a:pt x="1587227" y="3161348"/>
                    <a:pt x="1594847" y="3160395"/>
                  </a:cubicBezTo>
                  <a:cubicBezTo>
                    <a:pt x="1634852" y="3153728"/>
                    <a:pt x="1670094" y="3130868"/>
                    <a:pt x="1691049" y="3096578"/>
                  </a:cubicBezTo>
                  <a:lnTo>
                    <a:pt x="1906314" y="2747963"/>
                  </a:lnTo>
                  <a:lnTo>
                    <a:pt x="2210162" y="2880360"/>
                  </a:lnTo>
                  <a:cubicBezTo>
                    <a:pt x="2229212" y="2888933"/>
                    <a:pt x="2247309" y="2899410"/>
                    <a:pt x="2264454" y="2910840"/>
                  </a:cubicBezTo>
                  <a:lnTo>
                    <a:pt x="2065382" y="3149918"/>
                  </a:lnTo>
                  <a:cubicBezTo>
                    <a:pt x="1984419" y="3247073"/>
                    <a:pt x="1940604" y="3368993"/>
                    <a:pt x="1940604" y="3494723"/>
                  </a:cubicBezTo>
                  <a:lnTo>
                    <a:pt x="1940604" y="4193858"/>
                  </a:lnTo>
                  <a:cubicBezTo>
                    <a:pt x="1940604" y="4232910"/>
                    <a:pt x="1972989" y="4265295"/>
                    <a:pt x="2012042" y="4265295"/>
                  </a:cubicBezTo>
                  <a:cubicBezTo>
                    <a:pt x="2051094" y="4265295"/>
                    <a:pt x="2083479" y="4232910"/>
                    <a:pt x="2083479" y="4193858"/>
                  </a:cubicBezTo>
                  <a:lnTo>
                    <a:pt x="2083479" y="3494723"/>
                  </a:lnTo>
                  <a:cubicBezTo>
                    <a:pt x="2083479" y="3402330"/>
                    <a:pt x="2115864" y="3311843"/>
                    <a:pt x="2174919" y="3241358"/>
                  </a:cubicBezTo>
                  <a:lnTo>
                    <a:pt x="2362562" y="3016568"/>
                  </a:lnTo>
                  <a:cubicBezTo>
                    <a:pt x="2393994" y="3069908"/>
                    <a:pt x="2410187" y="3132773"/>
                    <a:pt x="2408282" y="3196590"/>
                  </a:cubicBezTo>
                  <a:lnTo>
                    <a:pt x="2366372" y="4191953"/>
                  </a:lnTo>
                  <a:cubicBezTo>
                    <a:pt x="2364467" y="4231005"/>
                    <a:pt x="2394947" y="4264343"/>
                    <a:pt x="2434952" y="4266248"/>
                  </a:cubicBezTo>
                  <a:cubicBezTo>
                    <a:pt x="2435904" y="4266248"/>
                    <a:pt x="2436857" y="4266248"/>
                    <a:pt x="2437809" y="4266248"/>
                  </a:cubicBezTo>
                  <a:cubicBezTo>
                    <a:pt x="2475909" y="4266248"/>
                    <a:pt x="2507342" y="4235768"/>
                    <a:pt x="2509247" y="4197668"/>
                  </a:cubicBezTo>
                  <a:lnTo>
                    <a:pt x="2551157" y="3202305"/>
                  </a:lnTo>
                  <a:cubicBezTo>
                    <a:pt x="2556872" y="3008948"/>
                    <a:pt x="2443524" y="2827020"/>
                    <a:pt x="2265407" y="2748915"/>
                  </a:cubicBezTo>
                  <a:close/>
                  <a:moveTo>
                    <a:pt x="1274807" y="142875"/>
                  </a:moveTo>
                  <a:cubicBezTo>
                    <a:pt x="1427207" y="142875"/>
                    <a:pt x="1554842" y="240030"/>
                    <a:pt x="1592942" y="371475"/>
                  </a:cubicBezTo>
                  <a:cubicBezTo>
                    <a:pt x="1493882" y="334328"/>
                    <a:pt x="1387202" y="313373"/>
                    <a:pt x="1274807" y="313373"/>
                  </a:cubicBezTo>
                  <a:cubicBezTo>
                    <a:pt x="1162412" y="313373"/>
                    <a:pt x="1055732" y="333375"/>
                    <a:pt x="956672" y="371475"/>
                  </a:cubicBezTo>
                  <a:cubicBezTo>
                    <a:pt x="994772" y="240030"/>
                    <a:pt x="1122407" y="142875"/>
                    <a:pt x="1274807" y="142875"/>
                  </a:cubicBezTo>
                  <a:close/>
                  <a:moveTo>
                    <a:pt x="688067" y="1763078"/>
                  </a:moveTo>
                  <a:cubicBezTo>
                    <a:pt x="675684" y="1694498"/>
                    <a:pt x="611867" y="1644968"/>
                    <a:pt x="543287" y="1649730"/>
                  </a:cubicBezTo>
                  <a:cubicBezTo>
                    <a:pt x="537572" y="1649730"/>
                    <a:pt x="530904" y="1649730"/>
                    <a:pt x="524237" y="1647825"/>
                  </a:cubicBezTo>
                  <a:cubicBezTo>
                    <a:pt x="496614" y="1641158"/>
                    <a:pt x="476612" y="1611630"/>
                    <a:pt x="476612" y="1578293"/>
                  </a:cubicBezTo>
                  <a:lnTo>
                    <a:pt x="476612" y="1526858"/>
                  </a:lnTo>
                  <a:cubicBezTo>
                    <a:pt x="476612" y="1493520"/>
                    <a:pt x="498519" y="1463993"/>
                    <a:pt x="527094" y="1459230"/>
                  </a:cubicBezTo>
                  <a:cubicBezTo>
                    <a:pt x="550907" y="1455420"/>
                    <a:pt x="573767" y="1463993"/>
                    <a:pt x="588054" y="1483043"/>
                  </a:cubicBezTo>
                  <a:cubicBezTo>
                    <a:pt x="601389" y="1500188"/>
                    <a:pt x="618534" y="1512570"/>
                    <a:pt x="638537" y="1518285"/>
                  </a:cubicBezTo>
                  <a:cubicBezTo>
                    <a:pt x="668064" y="1526858"/>
                    <a:pt x="700449" y="1522095"/>
                    <a:pt x="725214" y="1503998"/>
                  </a:cubicBezTo>
                  <a:cubicBezTo>
                    <a:pt x="769029" y="1472565"/>
                    <a:pt x="808082" y="1435418"/>
                    <a:pt x="840467" y="1391603"/>
                  </a:cubicBezTo>
                  <a:cubicBezTo>
                    <a:pt x="864279" y="1360170"/>
                    <a:pt x="857612" y="1315403"/>
                    <a:pt x="826179" y="1291590"/>
                  </a:cubicBezTo>
                  <a:cubicBezTo>
                    <a:pt x="794747" y="1267778"/>
                    <a:pt x="749979" y="1274445"/>
                    <a:pt x="726167" y="1305878"/>
                  </a:cubicBezTo>
                  <a:cubicBezTo>
                    <a:pt x="709974" y="1327785"/>
                    <a:pt x="691877" y="1346835"/>
                    <a:pt x="671874" y="1364933"/>
                  </a:cubicBezTo>
                  <a:cubicBezTo>
                    <a:pt x="641394" y="1339215"/>
                    <a:pt x="604247" y="1322070"/>
                    <a:pt x="564242" y="1317308"/>
                  </a:cubicBezTo>
                  <a:cubicBezTo>
                    <a:pt x="550907" y="1263968"/>
                    <a:pt x="543287" y="1208723"/>
                    <a:pt x="543287" y="1153478"/>
                  </a:cubicBezTo>
                  <a:cubicBezTo>
                    <a:pt x="543287" y="768668"/>
                    <a:pt x="870947" y="456248"/>
                    <a:pt x="1273854" y="456248"/>
                  </a:cubicBezTo>
                  <a:cubicBezTo>
                    <a:pt x="1676762" y="456248"/>
                    <a:pt x="2004422" y="768668"/>
                    <a:pt x="2004422" y="1153478"/>
                  </a:cubicBezTo>
                  <a:cubicBezTo>
                    <a:pt x="2004422" y="1208723"/>
                    <a:pt x="1997754" y="1263968"/>
                    <a:pt x="1983467" y="1317308"/>
                  </a:cubicBezTo>
                  <a:cubicBezTo>
                    <a:pt x="1964417" y="1319213"/>
                    <a:pt x="1945367" y="1322070"/>
                    <a:pt x="1928222" y="1326833"/>
                  </a:cubicBezTo>
                  <a:lnTo>
                    <a:pt x="1874882" y="1283018"/>
                  </a:lnTo>
                  <a:cubicBezTo>
                    <a:pt x="1848212" y="1261110"/>
                    <a:pt x="1813922" y="1249680"/>
                    <a:pt x="1779632" y="1251585"/>
                  </a:cubicBezTo>
                  <a:cubicBezTo>
                    <a:pt x="1674857" y="1258253"/>
                    <a:pt x="1136694" y="1271588"/>
                    <a:pt x="861422" y="942023"/>
                  </a:cubicBezTo>
                  <a:cubicBezTo>
                    <a:pt x="835704" y="911543"/>
                    <a:pt x="790937" y="907733"/>
                    <a:pt x="760457" y="933450"/>
                  </a:cubicBezTo>
                  <a:cubicBezTo>
                    <a:pt x="729977" y="959168"/>
                    <a:pt x="726167" y="1003935"/>
                    <a:pt x="751884" y="1034415"/>
                  </a:cubicBezTo>
                  <a:cubicBezTo>
                    <a:pt x="888092" y="1197293"/>
                    <a:pt x="1087164" y="1307783"/>
                    <a:pt x="1345292" y="1362075"/>
                  </a:cubicBezTo>
                  <a:cubicBezTo>
                    <a:pt x="1542459" y="1403985"/>
                    <a:pt x="1717719" y="1399223"/>
                    <a:pt x="1786299" y="1395413"/>
                  </a:cubicBezTo>
                  <a:lnTo>
                    <a:pt x="1870119" y="1463993"/>
                  </a:lnTo>
                  <a:cubicBezTo>
                    <a:pt x="1892979" y="1483043"/>
                    <a:pt x="1925364" y="1485900"/>
                    <a:pt x="1951082" y="1470660"/>
                  </a:cubicBezTo>
                  <a:cubicBezTo>
                    <a:pt x="1963464" y="1463993"/>
                    <a:pt x="2003469" y="1457325"/>
                    <a:pt x="2021567" y="1461135"/>
                  </a:cubicBezTo>
                  <a:cubicBezTo>
                    <a:pt x="2050142" y="1466850"/>
                    <a:pt x="2072049" y="1495425"/>
                    <a:pt x="2072049" y="1527810"/>
                  </a:cubicBezTo>
                  <a:lnTo>
                    <a:pt x="2072049" y="1580198"/>
                  </a:lnTo>
                  <a:cubicBezTo>
                    <a:pt x="2072049" y="1613535"/>
                    <a:pt x="2051094" y="1643063"/>
                    <a:pt x="2024424" y="1649730"/>
                  </a:cubicBezTo>
                  <a:cubicBezTo>
                    <a:pt x="2017757" y="1651635"/>
                    <a:pt x="2012042" y="1651635"/>
                    <a:pt x="2005374" y="1651635"/>
                  </a:cubicBezTo>
                  <a:cubicBezTo>
                    <a:pt x="1936794" y="1646873"/>
                    <a:pt x="1872977" y="1696403"/>
                    <a:pt x="1860594" y="1764983"/>
                  </a:cubicBezTo>
                  <a:cubicBezTo>
                    <a:pt x="1808207" y="2047875"/>
                    <a:pt x="1562462" y="2253615"/>
                    <a:pt x="1273854" y="2253615"/>
                  </a:cubicBezTo>
                  <a:cubicBezTo>
                    <a:pt x="987152" y="2251710"/>
                    <a:pt x="740454" y="2045970"/>
                    <a:pt x="688067" y="1763078"/>
                  </a:cubicBezTo>
                  <a:close/>
                  <a:moveTo>
                    <a:pt x="1274807" y="2394585"/>
                  </a:moveTo>
                  <a:cubicBezTo>
                    <a:pt x="1367199" y="2394585"/>
                    <a:pt x="1455782" y="2377440"/>
                    <a:pt x="1537697" y="2346008"/>
                  </a:cubicBezTo>
                  <a:lnTo>
                    <a:pt x="1537697" y="2493645"/>
                  </a:lnTo>
                  <a:lnTo>
                    <a:pt x="1274807" y="2756535"/>
                  </a:lnTo>
                  <a:lnTo>
                    <a:pt x="1011917" y="2493645"/>
                  </a:lnTo>
                  <a:lnTo>
                    <a:pt x="1011917" y="2346008"/>
                  </a:lnTo>
                  <a:cubicBezTo>
                    <a:pt x="1093832" y="2377440"/>
                    <a:pt x="1182414" y="2394585"/>
                    <a:pt x="1274807" y="2394585"/>
                  </a:cubicBezTo>
                  <a:close/>
                  <a:moveTo>
                    <a:pt x="978579" y="3016568"/>
                  </a:moveTo>
                  <a:lnTo>
                    <a:pt x="763314" y="2667953"/>
                  </a:lnTo>
                  <a:lnTo>
                    <a:pt x="873804" y="2557463"/>
                  </a:lnTo>
                  <a:lnTo>
                    <a:pt x="1170032" y="2853690"/>
                  </a:lnTo>
                  <a:lnTo>
                    <a:pt x="978579" y="3016568"/>
                  </a:lnTo>
                  <a:close/>
                  <a:moveTo>
                    <a:pt x="1571034" y="3016568"/>
                  </a:moveTo>
                  <a:lnTo>
                    <a:pt x="1379582" y="2853690"/>
                  </a:lnTo>
                  <a:lnTo>
                    <a:pt x="1675809" y="2557463"/>
                  </a:lnTo>
                  <a:lnTo>
                    <a:pt x="1786299" y="2667953"/>
                  </a:lnTo>
                  <a:lnTo>
                    <a:pt x="1571034" y="301656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7" name="Forma Livre: Forma 36">
              <a:extLst>
                <a:ext uri="{FF2B5EF4-FFF2-40B4-BE49-F238E27FC236}">
                  <a16:creationId xmlns:a16="http://schemas.microsoft.com/office/drawing/2014/main" id="{F5B89A20-9590-4FAE-952F-9990C4D02FE0}"/>
                </a:ext>
              </a:extLst>
            </p:cNvPr>
            <p:cNvSpPr/>
            <p:nvPr/>
          </p:nvSpPr>
          <p:spPr>
            <a:xfrm>
              <a:off x="4392929" y="4750117"/>
              <a:ext cx="343852" cy="142875"/>
            </a:xfrm>
            <a:custGeom>
              <a:avLst/>
              <a:gdLst>
                <a:gd name="connsiteX0" fmla="*/ 271463 w 343852"/>
                <a:gd name="connsiteY0" fmla="*/ 0 h 142875"/>
                <a:gd name="connsiteX1" fmla="*/ 71438 w 343852"/>
                <a:gd name="connsiteY1" fmla="*/ 0 h 142875"/>
                <a:gd name="connsiteX2" fmla="*/ 0 w 343852"/>
                <a:gd name="connsiteY2" fmla="*/ 71438 h 142875"/>
                <a:gd name="connsiteX3" fmla="*/ 71438 w 343852"/>
                <a:gd name="connsiteY3" fmla="*/ 142875 h 142875"/>
                <a:gd name="connsiteX4" fmla="*/ 272415 w 343852"/>
                <a:gd name="connsiteY4" fmla="*/ 142875 h 142875"/>
                <a:gd name="connsiteX5" fmla="*/ 343853 w 343852"/>
                <a:gd name="connsiteY5" fmla="*/ 71438 h 142875"/>
                <a:gd name="connsiteX6" fmla="*/ 271463 w 343852"/>
                <a:gd name="connsiteY6" fmla="*/ 0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3852" h="142875">
                  <a:moveTo>
                    <a:pt x="271463" y="0"/>
                  </a:moveTo>
                  <a:lnTo>
                    <a:pt x="71438" y="0"/>
                  </a:lnTo>
                  <a:cubicBezTo>
                    <a:pt x="32385" y="0"/>
                    <a:pt x="0" y="32385"/>
                    <a:pt x="0" y="71438"/>
                  </a:cubicBezTo>
                  <a:cubicBezTo>
                    <a:pt x="0" y="110490"/>
                    <a:pt x="32385" y="142875"/>
                    <a:pt x="71438" y="142875"/>
                  </a:cubicBezTo>
                  <a:lnTo>
                    <a:pt x="272415" y="142875"/>
                  </a:lnTo>
                  <a:cubicBezTo>
                    <a:pt x="311468" y="142875"/>
                    <a:pt x="343853" y="110490"/>
                    <a:pt x="343853" y="71438"/>
                  </a:cubicBezTo>
                  <a:cubicBezTo>
                    <a:pt x="343853" y="32385"/>
                    <a:pt x="311468" y="0"/>
                    <a:pt x="271463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9" name="Gráfico 37">
            <a:extLst>
              <a:ext uri="{FF2B5EF4-FFF2-40B4-BE49-F238E27FC236}">
                <a16:creationId xmlns:a16="http://schemas.microsoft.com/office/drawing/2014/main" id="{2CEE7906-7D09-43B9-A2B9-B7B5D6CAF408}"/>
              </a:ext>
            </a:extLst>
          </p:cNvPr>
          <p:cNvGrpSpPr/>
          <p:nvPr/>
        </p:nvGrpSpPr>
        <p:grpSpPr>
          <a:xfrm>
            <a:off x="10197091" y="3074897"/>
            <a:ext cx="691081" cy="691312"/>
            <a:chOff x="4267438" y="1600167"/>
            <a:chExt cx="3657361" cy="3658585"/>
          </a:xfrm>
          <a:solidFill>
            <a:srgbClr val="263143"/>
          </a:solidFill>
        </p:grpSpPr>
        <p:sp>
          <p:nvSpPr>
            <p:cNvPr id="40" name="Forma Livre: Forma 39">
              <a:extLst>
                <a:ext uri="{FF2B5EF4-FFF2-40B4-BE49-F238E27FC236}">
                  <a16:creationId xmlns:a16="http://schemas.microsoft.com/office/drawing/2014/main" id="{7152CD76-427A-45C9-B345-77B4E707B071}"/>
                </a:ext>
              </a:extLst>
            </p:cNvPr>
            <p:cNvSpPr/>
            <p:nvPr/>
          </p:nvSpPr>
          <p:spPr>
            <a:xfrm>
              <a:off x="4267438" y="1600167"/>
              <a:ext cx="3657361" cy="3658585"/>
            </a:xfrm>
            <a:custGeom>
              <a:avLst/>
              <a:gdLst>
                <a:gd name="connsiteX0" fmla="*/ 3413522 w 3657361"/>
                <a:gd name="connsiteY0" fmla="*/ 609633 h 3658585"/>
                <a:gd name="connsiteX1" fmla="*/ 1249442 w 3657361"/>
                <a:gd name="connsiteY1" fmla="*/ 609633 h 3658585"/>
                <a:gd name="connsiteX2" fmla="*/ 1109424 w 3657361"/>
                <a:gd name="connsiteY2" fmla="*/ 145765 h 3658585"/>
                <a:gd name="connsiteX3" fmla="*/ 854154 w 3657361"/>
                <a:gd name="connsiteY3" fmla="*/ 8605 h 3658585"/>
                <a:gd name="connsiteX4" fmla="*/ 543639 w 3657361"/>
                <a:gd name="connsiteY4" fmla="*/ 100045 h 3658585"/>
                <a:gd name="connsiteX5" fmla="*/ 453152 w 3657361"/>
                <a:gd name="connsiteY5" fmla="*/ 154338 h 3658585"/>
                <a:gd name="connsiteX6" fmla="*/ 103584 w 3657361"/>
                <a:gd name="connsiteY6" fmla="*/ 516288 h 3658585"/>
                <a:gd name="connsiteX7" fmla="*/ 51197 w 3657361"/>
                <a:gd name="connsiteY7" fmla="*/ 615348 h 3658585"/>
                <a:gd name="connsiteX8" fmla="*/ 150257 w 3657361"/>
                <a:gd name="connsiteY8" fmla="*/ 2148873 h 3658585"/>
                <a:gd name="connsiteX9" fmla="*/ 917972 w 3657361"/>
                <a:gd name="connsiteY9" fmla="*/ 3485231 h 3658585"/>
                <a:gd name="connsiteX10" fmla="*/ 1016079 w 3657361"/>
                <a:gd name="connsiteY10" fmla="*/ 3539523 h 3658585"/>
                <a:gd name="connsiteX11" fmla="*/ 1509474 w 3657361"/>
                <a:gd name="connsiteY11" fmla="*/ 3652871 h 3658585"/>
                <a:gd name="connsiteX12" fmla="*/ 1556147 w 3657361"/>
                <a:gd name="connsiteY12" fmla="*/ 3658586 h 3658585"/>
                <a:gd name="connsiteX13" fmla="*/ 1615202 w 3657361"/>
                <a:gd name="connsiteY13" fmla="*/ 3650013 h 3658585"/>
                <a:gd name="connsiteX14" fmla="*/ 1786652 w 3657361"/>
                <a:gd name="connsiteY14" fmla="*/ 3599531 h 3658585"/>
                <a:gd name="connsiteX15" fmla="*/ 1924764 w 3657361"/>
                <a:gd name="connsiteY15" fmla="*/ 3558573 h 3658585"/>
                <a:gd name="connsiteX16" fmla="*/ 2047637 w 3657361"/>
                <a:gd name="connsiteY16" fmla="*/ 3459513 h 3658585"/>
                <a:gd name="connsiteX17" fmla="*/ 2063829 w 3657361"/>
                <a:gd name="connsiteY17" fmla="*/ 3304256 h 3658585"/>
                <a:gd name="connsiteX18" fmla="*/ 1986677 w 3657361"/>
                <a:gd name="connsiteY18" fmla="*/ 3048986 h 3658585"/>
                <a:gd name="connsiteX19" fmla="*/ 3413522 w 3657361"/>
                <a:gd name="connsiteY19" fmla="*/ 3048986 h 3658585"/>
                <a:gd name="connsiteX20" fmla="*/ 3657362 w 3657361"/>
                <a:gd name="connsiteY20" fmla="*/ 2805146 h 3658585"/>
                <a:gd name="connsiteX21" fmla="*/ 3657362 w 3657361"/>
                <a:gd name="connsiteY21" fmla="*/ 853473 h 3658585"/>
                <a:gd name="connsiteX22" fmla="*/ 3413522 w 3657361"/>
                <a:gd name="connsiteY22" fmla="*/ 609633 h 3658585"/>
                <a:gd name="connsiteX23" fmla="*/ 3413522 w 3657361"/>
                <a:gd name="connsiteY23" fmla="*/ 609633 h 3658585"/>
                <a:gd name="connsiteX24" fmla="*/ 2453402 w 3657361"/>
                <a:gd name="connsiteY24" fmla="*/ 1810736 h 3658585"/>
                <a:gd name="connsiteX25" fmla="*/ 3527822 w 3657361"/>
                <a:gd name="connsiteY25" fmla="*/ 812516 h 3658585"/>
                <a:gd name="connsiteX26" fmla="*/ 3535442 w 3657361"/>
                <a:gd name="connsiteY26" fmla="*/ 853473 h 3658585"/>
                <a:gd name="connsiteX27" fmla="*/ 3535442 w 3657361"/>
                <a:gd name="connsiteY27" fmla="*/ 2804193 h 3658585"/>
                <a:gd name="connsiteX28" fmla="*/ 3528774 w 3657361"/>
                <a:gd name="connsiteY28" fmla="*/ 2842293 h 3658585"/>
                <a:gd name="connsiteX29" fmla="*/ 2453402 w 3657361"/>
                <a:gd name="connsiteY29" fmla="*/ 1810736 h 3658585"/>
                <a:gd name="connsiteX30" fmla="*/ 3413522 w 3657361"/>
                <a:gd name="connsiteY30" fmla="*/ 731553 h 3658585"/>
                <a:gd name="connsiteX31" fmla="*/ 3434477 w 3657361"/>
                <a:gd name="connsiteY31" fmla="*/ 733458 h 3658585"/>
                <a:gd name="connsiteX32" fmla="*/ 2158127 w 3657361"/>
                <a:gd name="connsiteY32" fmla="*/ 1918368 h 3658585"/>
                <a:gd name="connsiteX33" fmla="*/ 1992392 w 3657361"/>
                <a:gd name="connsiteY33" fmla="*/ 1918368 h 3658585"/>
                <a:gd name="connsiteX34" fmla="*/ 1114187 w 3657361"/>
                <a:gd name="connsiteY34" fmla="*/ 1105886 h 3658585"/>
                <a:gd name="connsiteX35" fmla="*/ 1178957 w 3657361"/>
                <a:gd name="connsiteY35" fmla="*/ 1086836 h 3658585"/>
                <a:gd name="connsiteX36" fmla="*/ 1301829 w 3657361"/>
                <a:gd name="connsiteY36" fmla="*/ 987775 h 3658585"/>
                <a:gd name="connsiteX37" fmla="*/ 1317069 w 3657361"/>
                <a:gd name="connsiteY37" fmla="*/ 832518 h 3658585"/>
                <a:gd name="connsiteX38" fmla="*/ 1286589 w 3657361"/>
                <a:gd name="connsiteY38" fmla="*/ 731553 h 3658585"/>
                <a:gd name="connsiteX39" fmla="*/ 3413522 w 3657361"/>
                <a:gd name="connsiteY39" fmla="*/ 731553 h 3658585"/>
                <a:gd name="connsiteX40" fmla="*/ 958929 w 3657361"/>
                <a:gd name="connsiteY40" fmla="*/ 2513681 h 3658585"/>
                <a:gd name="connsiteX41" fmla="*/ 683657 w 3657361"/>
                <a:gd name="connsiteY41" fmla="*/ 1990758 h 3658585"/>
                <a:gd name="connsiteX42" fmla="*/ 652224 w 3657361"/>
                <a:gd name="connsiteY42" fmla="*/ 1245903 h 3658585"/>
                <a:gd name="connsiteX43" fmla="*/ 659844 w 3657361"/>
                <a:gd name="connsiteY43" fmla="*/ 1239236 h 3658585"/>
                <a:gd name="connsiteX44" fmla="*/ 977027 w 3657361"/>
                <a:gd name="connsiteY44" fmla="*/ 1145891 h 3658585"/>
                <a:gd name="connsiteX45" fmla="*/ 1693307 w 3657361"/>
                <a:gd name="connsiteY45" fmla="*/ 1808830 h 3658585"/>
                <a:gd name="connsiteX46" fmla="*/ 958929 w 3657361"/>
                <a:gd name="connsiteY46" fmla="*/ 2513681 h 3658585"/>
                <a:gd name="connsiteX47" fmla="*/ 1940004 w 3657361"/>
                <a:gd name="connsiteY47" fmla="*/ 3400458 h 3658585"/>
                <a:gd name="connsiteX48" fmla="*/ 1889522 w 3657361"/>
                <a:gd name="connsiteY48" fmla="*/ 3440463 h 3658585"/>
                <a:gd name="connsiteX49" fmla="*/ 1808559 w 3657361"/>
                <a:gd name="connsiteY49" fmla="*/ 3464276 h 3658585"/>
                <a:gd name="connsiteX50" fmla="*/ 1659969 w 3657361"/>
                <a:gd name="connsiteY50" fmla="*/ 2972786 h 3658585"/>
                <a:gd name="connsiteX51" fmla="*/ 1615202 w 3657361"/>
                <a:gd name="connsiteY51" fmla="*/ 2929923 h 3658585"/>
                <a:gd name="connsiteX52" fmla="*/ 1556147 w 3657361"/>
                <a:gd name="connsiteY52" fmla="*/ 2948021 h 3658585"/>
                <a:gd name="connsiteX53" fmla="*/ 1542812 w 3657361"/>
                <a:gd name="connsiteY53" fmla="*/ 3008028 h 3658585"/>
                <a:gd name="connsiteX54" fmla="*/ 1691402 w 3657361"/>
                <a:gd name="connsiteY54" fmla="*/ 3498565 h 3658585"/>
                <a:gd name="connsiteX55" fmla="*/ 1579007 w 3657361"/>
                <a:gd name="connsiteY55" fmla="*/ 3531903 h 3658585"/>
                <a:gd name="connsiteX56" fmla="*/ 1535192 w 3657361"/>
                <a:gd name="connsiteY56" fmla="*/ 3532856 h 3658585"/>
                <a:gd name="connsiteX57" fmla="*/ 1043702 w 3657361"/>
                <a:gd name="connsiteY57" fmla="*/ 3419508 h 3658585"/>
                <a:gd name="connsiteX58" fmla="*/ 1002744 w 3657361"/>
                <a:gd name="connsiteY58" fmla="*/ 3397601 h 3658585"/>
                <a:gd name="connsiteX59" fmla="*/ 267414 w 3657361"/>
                <a:gd name="connsiteY59" fmla="*/ 2113631 h 3658585"/>
                <a:gd name="connsiteX60" fmla="*/ 170259 w 3657361"/>
                <a:gd name="connsiteY60" fmla="*/ 641066 h 3658585"/>
                <a:gd name="connsiteX61" fmla="*/ 191214 w 3657361"/>
                <a:gd name="connsiteY61" fmla="*/ 601061 h 3658585"/>
                <a:gd name="connsiteX62" fmla="*/ 540782 w 3657361"/>
                <a:gd name="connsiteY62" fmla="*/ 239110 h 3658585"/>
                <a:gd name="connsiteX63" fmla="*/ 576977 w 3657361"/>
                <a:gd name="connsiteY63" fmla="*/ 217203 h 3658585"/>
                <a:gd name="connsiteX64" fmla="*/ 690324 w 3657361"/>
                <a:gd name="connsiteY64" fmla="*/ 183865 h 3658585"/>
                <a:gd name="connsiteX65" fmla="*/ 838914 w 3657361"/>
                <a:gd name="connsiteY65" fmla="*/ 675356 h 3658585"/>
                <a:gd name="connsiteX66" fmla="*/ 897017 w 3657361"/>
                <a:gd name="connsiteY66" fmla="*/ 719171 h 3658585"/>
                <a:gd name="connsiteX67" fmla="*/ 914162 w 3657361"/>
                <a:gd name="connsiteY67" fmla="*/ 716313 h 3658585"/>
                <a:gd name="connsiteX68" fmla="*/ 955119 w 3657361"/>
                <a:gd name="connsiteY68" fmla="*/ 640113 h 3658585"/>
                <a:gd name="connsiteX69" fmla="*/ 808434 w 3657361"/>
                <a:gd name="connsiteY69" fmla="*/ 148623 h 3658585"/>
                <a:gd name="connsiteX70" fmla="*/ 888444 w 3657361"/>
                <a:gd name="connsiteY70" fmla="*/ 124810 h 3658585"/>
                <a:gd name="connsiteX71" fmla="*/ 993219 w 3657361"/>
                <a:gd name="connsiteY71" fmla="*/ 180055 h 3658585"/>
                <a:gd name="connsiteX72" fmla="*/ 1199912 w 3657361"/>
                <a:gd name="connsiteY72" fmla="*/ 867761 h 3658585"/>
                <a:gd name="connsiteX73" fmla="*/ 1194197 w 3657361"/>
                <a:gd name="connsiteY73" fmla="*/ 929673 h 3658585"/>
                <a:gd name="connsiteX74" fmla="*/ 1143714 w 3657361"/>
                <a:gd name="connsiteY74" fmla="*/ 969678 h 3658585"/>
                <a:gd name="connsiteX75" fmla="*/ 1062752 w 3657361"/>
                <a:gd name="connsiteY75" fmla="*/ 993491 h 3658585"/>
                <a:gd name="connsiteX76" fmla="*/ 1038939 w 3657361"/>
                <a:gd name="connsiteY76" fmla="*/ 914433 h 3658585"/>
                <a:gd name="connsiteX77" fmla="*/ 963692 w 3657361"/>
                <a:gd name="connsiteY77" fmla="*/ 875381 h 3658585"/>
                <a:gd name="connsiteX78" fmla="*/ 922734 w 3657361"/>
                <a:gd name="connsiteY78" fmla="*/ 949675 h 3658585"/>
                <a:gd name="connsiteX79" fmla="*/ 946547 w 3657361"/>
                <a:gd name="connsiteY79" fmla="*/ 1027781 h 3658585"/>
                <a:gd name="connsiteX80" fmla="*/ 626507 w 3657361"/>
                <a:gd name="connsiteY80" fmla="*/ 1122078 h 3658585"/>
                <a:gd name="connsiteX81" fmla="*/ 536019 w 3657361"/>
                <a:gd name="connsiteY81" fmla="*/ 1213518 h 3658585"/>
                <a:gd name="connsiteX82" fmla="*/ 568404 w 3657361"/>
                <a:gd name="connsiteY82" fmla="*/ 2025048 h 3658585"/>
                <a:gd name="connsiteX83" fmla="*/ 992267 w 3657361"/>
                <a:gd name="connsiteY83" fmla="*/ 2721326 h 3658585"/>
                <a:gd name="connsiteX84" fmla="*/ 1117997 w 3657361"/>
                <a:gd name="connsiteY84" fmla="*/ 2748948 h 3658585"/>
                <a:gd name="connsiteX85" fmla="*/ 1438989 w 3657361"/>
                <a:gd name="connsiteY85" fmla="*/ 2654651 h 3658585"/>
                <a:gd name="connsiteX86" fmla="*/ 1462802 w 3657361"/>
                <a:gd name="connsiteY86" fmla="*/ 2733708 h 3658585"/>
                <a:gd name="connsiteX87" fmla="*/ 1507569 w 3657361"/>
                <a:gd name="connsiteY87" fmla="*/ 2776571 h 3658585"/>
                <a:gd name="connsiteX88" fmla="*/ 1566624 w 3657361"/>
                <a:gd name="connsiteY88" fmla="*/ 2758473 h 3658585"/>
                <a:gd name="connsiteX89" fmla="*/ 1579959 w 3657361"/>
                <a:gd name="connsiteY89" fmla="*/ 2698465 h 3658585"/>
                <a:gd name="connsiteX90" fmla="*/ 1556147 w 3657361"/>
                <a:gd name="connsiteY90" fmla="*/ 2620361 h 3658585"/>
                <a:gd name="connsiteX91" fmla="*/ 1636157 w 3657361"/>
                <a:gd name="connsiteY91" fmla="*/ 2596548 h 3658585"/>
                <a:gd name="connsiteX92" fmla="*/ 1740932 w 3657361"/>
                <a:gd name="connsiteY92" fmla="*/ 2651793 h 3658585"/>
                <a:gd name="connsiteX93" fmla="*/ 1948577 w 3657361"/>
                <a:gd name="connsiteY93" fmla="*/ 3338546 h 3658585"/>
                <a:gd name="connsiteX94" fmla="*/ 1940004 w 3657361"/>
                <a:gd name="connsiteY94" fmla="*/ 3400458 h 3658585"/>
                <a:gd name="connsiteX95" fmla="*/ 1940004 w 3657361"/>
                <a:gd name="connsiteY95" fmla="*/ 3400458 h 3658585"/>
                <a:gd name="connsiteX96" fmla="*/ 1949529 w 3657361"/>
                <a:gd name="connsiteY96" fmla="*/ 2926113 h 3658585"/>
                <a:gd name="connsiteX97" fmla="*/ 1856184 w 3657361"/>
                <a:gd name="connsiteY97" fmla="*/ 2616551 h 3658585"/>
                <a:gd name="connsiteX98" fmla="*/ 1599962 w 3657361"/>
                <a:gd name="connsiteY98" fmla="*/ 2479390 h 3658585"/>
                <a:gd name="connsiteX99" fmla="*/ 1081802 w 3657361"/>
                <a:gd name="connsiteY99" fmla="*/ 2631790 h 3658585"/>
                <a:gd name="connsiteX100" fmla="*/ 1071324 w 3657361"/>
                <a:gd name="connsiteY100" fmla="*/ 2629886 h 3658585"/>
                <a:gd name="connsiteX101" fmla="*/ 1041797 w 3657361"/>
                <a:gd name="connsiteY101" fmla="*/ 2602263 h 3658585"/>
                <a:gd name="connsiteX102" fmla="*/ 1782842 w 3657361"/>
                <a:gd name="connsiteY102" fmla="*/ 1889793 h 3658585"/>
                <a:gd name="connsiteX103" fmla="*/ 1908572 w 3657361"/>
                <a:gd name="connsiteY103" fmla="*/ 2005998 h 3658585"/>
                <a:gd name="connsiteX104" fmla="*/ 2240042 w 3657361"/>
                <a:gd name="connsiteY104" fmla="*/ 2005998 h 3658585"/>
                <a:gd name="connsiteX105" fmla="*/ 2362915 w 3657361"/>
                <a:gd name="connsiteY105" fmla="*/ 1891698 h 3658585"/>
                <a:gd name="connsiteX106" fmla="*/ 3436382 w 3657361"/>
                <a:gd name="connsiteY106" fmla="*/ 2922303 h 3658585"/>
                <a:gd name="connsiteX107" fmla="*/ 3412569 w 3657361"/>
                <a:gd name="connsiteY107" fmla="*/ 2925161 h 3658585"/>
                <a:gd name="connsiteX108" fmla="*/ 1949529 w 3657361"/>
                <a:gd name="connsiteY108" fmla="*/ 2925161 h 3658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</a:cxnLst>
              <a:rect l="l" t="t" r="r" b="b"/>
              <a:pathLst>
                <a:path w="3657361" h="3658585">
                  <a:moveTo>
                    <a:pt x="3413522" y="609633"/>
                  </a:moveTo>
                  <a:lnTo>
                    <a:pt x="1249442" y="609633"/>
                  </a:lnTo>
                  <a:lnTo>
                    <a:pt x="1109424" y="145765"/>
                  </a:lnTo>
                  <a:cubicBezTo>
                    <a:pt x="1076087" y="38133"/>
                    <a:pt x="961787" y="-23780"/>
                    <a:pt x="854154" y="8605"/>
                  </a:cubicBezTo>
                  <a:lnTo>
                    <a:pt x="543639" y="100045"/>
                  </a:lnTo>
                  <a:cubicBezTo>
                    <a:pt x="509349" y="110523"/>
                    <a:pt x="478869" y="128620"/>
                    <a:pt x="453152" y="154338"/>
                  </a:cubicBezTo>
                  <a:lnTo>
                    <a:pt x="103584" y="516288"/>
                  </a:lnTo>
                  <a:cubicBezTo>
                    <a:pt x="76914" y="543911"/>
                    <a:pt x="58817" y="578201"/>
                    <a:pt x="51197" y="615348"/>
                  </a:cubicBezTo>
                  <a:cubicBezTo>
                    <a:pt x="15954" y="780131"/>
                    <a:pt x="-83106" y="1376396"/>
                    <a:pt x="150257" y="2148873"/>
                  </a:cubicBezTo>
                  <a:cubicBezTo>
                    <a:pt x="383619" y="2920398"/>
                    <a:pt x="796052" y="3366168"/>
                    <a:pt x="917972" y="3485231"/>
                  </a:cubicBezTo>
                  <a:cubicBezTo>
                    <a:pt x="945594" y="3511901"/>
                    <a:pt x="978932" y="3530951"/>
                    <a:pt x="1016079" y="3539523"/>
                  </a:cubicBezTo>
                  <a:lnTo>
                    <a:pt x="1509474" y="3652871"/>
                  </a:lnTo>
                  <a:cubicBezTo>
                    <a:pt x="1524714" y="3656681"/>
                    <a:pt x="1539954" y="3658586"/>
                    <a:pt x="1556147" y="3658586"/>
                  </a:cubicBezTo>
                  <a:cubicBezTo>
                    <a:pt x="1576149" y="3658586"/>
                    <a:pt x="1596152" y="3655728"/>
                    <a:pt x="1615202" y="3650013"/>
                  </a:cubicBezTo>
                  <a:lnTo>
                    <a:pt x="1786652" y="3599531"/>
                  </a:lnTo>
                  <a:lnTo>
                    <a:pt x="1924764" y="3558573"/>
                  </a:lnTo>
                  <a:cubicBezTo>
                    <a:pt x="1977152" y="3543333"/>
                    <a:pt x="2021919" y="3507138"/>
                    <a:pt x="2047637" y="3459513"/>
                  </a:cubicBezTo>
                  <a:cubicBezTo>
                    <a:pt x="2073354" y="3411888"/>
                    <a:pt x="2079069" y="3355690"/>
                    <a:pt x="2063829" y="3304256"/>
                  </a:cubicBezTo>
                  <a:lnTo>
                    <a:pt x="1986677" y="3048986"/>
                  </a:lnTo>
                  <a:lnTo>
                    <a:pt x="3413522" y="3048986"/>
                  </a:lnTo>
                  <a:cubicBezTo>
                    <a:pt x="3547824" y="3048986"/>
                    <a:pt x="3657362" y="2939448"/>
                    <a:pt x="3657362" y="2805146"/>
                  </a:cubicBezTo>
                  <a:lnTo>
                    <a:pt x="3657362" y="853473"/>
                  </a:lnTo>
                  <a:cubicBezTo>
                    <a:pt x="3657362" y="719171"/>
                    <a:pt x="3547824" y="609633"/>
                    <a:pt x="3413522" y="609633"/>
                  </a:cubicBezTo>
                  <a:lnTo>
                    <a:pt x="3413522" y="609633"/>
                  </a:lnTo>
                  <a:close/>
                  <a:moveTo>
                    <a:pt x="2453402" y="1810736"/>
                  </a:moveTo>
                  <a:lnTo>
                    <a:pt x="3527822" y="812516"/>
                  </a:lnTo>
                  <a:cubicBezTo>
                    <a:pt x="3532584" y="825850"/>
                    <a:pt x="3535442" y="839186"/>
                    <a:pt x="3535442" y="853473"/>
                  </a:cubicBezTo>
                  <a:lnTo>
                    <a:pt x="3535442" y="2804193"/>
                  </a:lnTo>
                  <a:cubicBezTo>
                    <a:pt x="3535442" y="2817528"/>
                    <a:pt x="3532584" y="2829911"/>
                    <a:pt x="3528774" y="2842293"/>
                  </a:cubicBezTo>
                  <a:lnTo>
                    <a:pt x="2453402" y="1810736"/>
                  </a:lnTo>
                  <a:close/>
                  <a:moveTo>
                    <a:pt x="3413522" y="731553"/>
                  </a:moveTo>
                  <a:cubicBezTo>
                    <a:pt x="3420190" y="731553"/>
                    <a:pt x="3427809" y="732506"/>
                    <a:pt x="3434477" y="733458"/>
                  </a:cubicBezTo>
                  <a:lnTo>
                    <a:pt x="2158127" y="1918368"/>
                  </a:lnTo>
                  <a:cubicBezTo>
                    <a:pt x="2111454" y="1962183"/>
                    <a:pt x="2039064" y="1962183"/>
                    <a:pt x="1992392" y="1918368"/>
                  </a:cubicBezTo>
                  <a:lnTo>
                    <a:pt x="1114187" y="1105886"/>
                  </a:lnTo>
                  <a:lnTo>
                    <a:pt x="1178957" y="1086836"/>
                  </a:lnTo>
                  <a:cubicBezTo>
                    <a:pt x="1231344" y="1071596"/>
                    <a:pt x="1276112" y="1035400"/>
                    <a:pt x="1301829" y="987775"/>
                  </a:cubicBezTo>
                  <a:cubicBezTo>
                    <a:pt x="1327547" y="940150"/>
                    <a:pt x="1333262" y="883953"/>
                    <a:pt x="1317069" y="832518"/>
                  </a:cubicBezTo>
                  <a:lnTo>
                    <a:pt x="1286589" y="731553"/>
                  </a:lnTo>
                  <a:lnTo>
                    <a:pt x="3413522" y="731553"/>
                  </a:lnTo>
                  <a:close/>
                  <a:moveTo>
                    <a:pt x="958929" y="2513681"/>
                  </a:moveTo>
                  <a:cubicBezTo>
                    <a:pt x="833199" y="2359376"/>
                    <a:pt x="739854" y="2182211"/>
                    <a:pt x="683657" y="1990758"/>
                  </a:cubicBezTo>
                  <a:cubicBezTo>
                    <a:pt x="604599" y="1749776"/>
                    <a:pt x="594122" y="1492601"/>
                    <a:pt x="652224" y="1245903"/>
                  </a:cubicBezTo>
                  <a:cubicBezTo>
                    <a:pt x="653177" y="1242093"/>
                    <a:pt x="656034" y="1240188"/>
                    <a:pt x="659844" y="1239236"/>
                  </a:cubicBezTo>
                  <a:lnTo>
                    <a:pt x="977027" y="1145891"/>
                  </a:lnTo>
                  <a:lnTo>
                    <a:pt x="1693307" y="1808830"/>
                  </a:lnTo>
                  <a:lnTo>
                    <a:pt x="958929" y="2513681"/>
                  </a:lnTo>
                  <a:close/>
                  <a:moveTo>
                    <a:pt x="1940004" y="3400458"/>
                  </a:moveTo>
                  <a:cubicBezTo>
                    <a:pt x="1929527" y="3420461"/>
                    <a:pt x="1911429" y="3434748"/>
                    <a:pt x="1889522" y="3440463"/>
                  </a:cubicBezTo>
                  <a:lnTo>
                    <a:pt x="1808559" y="3464276"/>
                  </a:lnTo>
                  <a:lnTo>
                    <a:pt x="1659969" y="2972786"/>
                  </a:lnTo>
                  <a:cubicBezTo>
                    <a:pt x="1654254" y="2951831"/>
                    <a:pt x="1637109" y="2935638"/>
                    <a:pt x="1615202" y="2929923"/>
                  </a:cubicBezTo>
                  <a:cubicBezTo>
                    <a:pt x="1593294" y="2925161"/>
                    <a:pt x="1571387" y="2931828"/>
                    <a:pt x="1556147" y="2948021"/>
                  </a:cubicBezTo>
                  <a:cubicBezTo>
                    <a:pt x="1540907" y="2964213"/>
                    <a:pt x="1536144" y="2987073"/>
                    <a:pt x="1542812" y="3008028"/>
                  </a:cubicBezTo>
                  <a:lnTo>
                    <a:pt x="1691402" y="3498565"/>
                  </a:lnTo>
                  <a:lnTo>
                    <a:pt x="1579007" y="3531903"/>
                  </a:lnTo>
                  <a:cubicBezTo>
                    <a:pt x="1564719" y="3535713"/>
                    <a:pt x="1549479" y="3536665"/>
                    <a:pt x="1535192" y="3532856"/>
                  </a:cubicBezTo>
                  <a:lnTo>
                    <a:pt x="1043702" y="3419508"/>
                  </a:lnTo>
                  <a:cubicBezTo>
                    <a:pt x="1028462" y="3415698"/>
                    <a:pt x="1014174" y="3408078"/>
                    <a:pt x="1002744" y="3397601"/>
                  </a:cubicBezTo>
                  <a:cubicBezTo>
                    <a:pt x="887492" y="3284253"/>
                    <a:pt x="492204" y="2857533"/>
                    <a:pt x="267414" y="2113631"/>
                  </a:cubicBezTo>
                  <a:cubicBezTo>
                    <a:pt x="42624" y="1369728"/>
                    <a:pt x="135969" y="798228"/>
                    <a:pt x="170259" y="641066"/>
                  </a:cubicBezTo>
                  <a:cubicBezTo>
                    <a:pt x="173117" y="625825"/>
                    <a:pt x="180737" y="612491"/>
                    <a:pt x="191214" y="601061"/>
                  </a:cubicBezTo>
                  <a:lnTo>
                    <a:pt x="540782" y="239110"/>
                  </a:lnTo>
                  <a:cubicBezTo>
                    <a:pt x="551259" y="228633"/>
                    <a:pt x="563642" y="221013"/>
                    <a:pt x="576977" y="217203"/>
                  </a:cubicBezTo>
                  <a:lnTo>
                    <a:pt x="690324" y="183865"/>
                  </a:lnTo>
                  <a:lnTo>
                    <a:pt x="838914" y="675356"/>
                  </a:lnTo>
                  <a:cubicBezTo>
                    <a:pt x="846534" y="701073"/>
                    <a:pt x="870347" y="719171"/>
                    <a:pt x="897017" y="719171"/>
                  </a:cubicBezTo>
                  <a:cubicBezTo>
                    <a:pt x="902732" y="719171"/>
                    <a:pt x="908447" y="718218"/>
                    <a:pt x="914162" y="716313"/>
                  </a:cubicBezTo>
                  <a:cubicBezTo>
                    <a:pt x="946547" y="706788"/>
                    <a:pt x="964644" y="672498"/>
                    <a:pt x="955119" y="640113"/>
                  </a:cubicBezTo>
                  <a:lnTo>
                    <a:pt x="808434" y="148623"/>
                  </a:lnTo>
                  <a:lnTo>
                    <a:pt x="888444" y="124810"/>
                  </a:lnTo>
                  <a:cubicBezTo>
                    <a:pt x="932259" y="111475"/>
                    <a:pt x="979884" y="136240"/>
                    <a:pt x="993219" y="180055"/>
                  </a:cubicBezTo>
                  <a:lnTo>
                    <a:pt x="1199912" y="867761"/>
                  </a:lnTo>
                  <a:cubicBezTo>
                    <a:pt x="1206579" y="888716"/>
                    <a:pt x="1203722" y="910623"/>
                    <a:pt x="1194197" y="929673"/>
                  </a:cubicBezTo>
                  <a:cubicBezTo>
                    <a:pt x="1183719" y="949675"/>
                    <a:pt x="1165622" y="963963"/>
                    <a:pt x="1143714" y="969678"/>
                  </a:cubicBezTo>
                  <a:lnTo>
                    <a:pt x="1062752" y="993491"/>
                  </a:lnTo>
                  <a:lnTo>
                    <a:pt x="1038939" y="914433"/>
                  </a:lnTo>
                  <a:cubicBezTo>
                    <a:pt x="1028462" y="883000"/>
                    <a:pt x="995124" y="865856"/>
                    <a:pt x="963692" y="875381"/>
                  </a:cubicBezTo>
                  <a:cubicBezTo>
                    <a:pt x="932259" y="884906"/>
                    <a:pt x="914162" y="918243"/>
                    <a:pt x="922734" y="949675"/>
                  </a:cubicBezTo>
                  <a:lnTo>
                    <a:pt x="946547" y="1027781"/>
                  </a:lnTo>
                  <a:lnTo>
                    <a:pt x="626507" y="1122078"/>
                  </a:lnTo>
                  <a:cubicBezTo>
                    <a:pt x="582692" y="1134461"/>
                    <a:pt x="548402" y="1169703"/>
                    <a:pt x="536019" y="1213518"/>
                  </a:cubicBezTo>
                  <a:cubicBezTo>
                    <a:pt x="471249" y="1482123"/>
                    <a:pt x="482679" y="1763111"/>
                    <a:pt x="568404" y="2025048"/>
                  </a:cubicBezTo>
                  <a:cubicBezTo>
                    <a:pt x="643652" y="2291748"/>
                    <a:pt x="789384" y="2531778"/>
                    <a:pt x="992267" y="2721326"/>
                  </a:cubicBezTo>
                  <a:cubicBezTo>
                    <a:pt x="1026557" y="2751806"/>
                    <a:pt x="1074182" y="2762283"/>
                    <a:pt x="1117997" y="2748948"/>
                  </a:cubicBezTo>
                  <a:lnTo>
                    <a:pt x="1438989" y="2654651"/>
                  </a:lnTo>
                  <a:lnTo>
                    <a:pt x="1462802" y="2733708"/>
                  </a:lnTo>
                  <a:cubicBezTo>
                    <a:pt x="1468517" y="2754663"/>
                    <a:pt x="1485662" y="2770856"/>
                    <a:pt x="1507569" y="2776571"/>
                  </a:cubicBezTo>
                  <a:cubicBezTo>
                    <a:pt x="1529477" y="2782286"/>
                    <a:pt x="1551384" y="2774665"/>
                    <a:pt x="1566624" y="2758473"/>
                  </a:cubicBezTo>
                  <a:cubicBezTo>
                    <a:pt x="1581864" y="2742281"/>
                    <a:pt x="1586627" y="2719421"/>
                    <a:pt x="1579959" y="2698465"/>
                  </a:cubicBezTo>
                  <a:lnTo>
                    <a:pt x="1556147" y="2620361"/>
                  </a:lnTo>
                  <a:lnTo>
                    <a:pt x="1636157" y="2596548"/>
                  </a:lnTo>
                  <a:cubicBezTo>
                    <a:pt x="1679972" y="2583213"/>
                    <a:pt x="1726644" y="2607978"/>
                    <a:pt x="1740932" y="2651793"/>
                  </a:cubicBezTo>
                  <a:lnTo>
                    <a:pt x="1948577" y="3338546"/>
                  </a:lnTo>
                  <a:cubicBezTo>
                    <a:pt x="1953339" y="3358548"/>
                    <a:pt x="1951434" y="3381408"/>
                    <a:pt x="1940004" y="3400458"/>
                  </a:cubicBezTo>
                  <a:lnTo>
                    <a:pt x="1940004" y="3400458"/>
                  </a:lnTo>
                  <a:close/>
                  <a:moveTo>
                    <a:pt x="1949529" y="2926113"/>
                  </a:moveTo>
                  <a:lnTo>
                    <a:pt x="1856184" y="2616551"/>
                  </a:lnTo>
                  <a:cubicBezTo>
                    <a:pt x="1822847" y="2507965"/>
                    <a:pt x="1708547" y="2447006"/>
                    <a:pt x="1599962" y="2479390"/>
                  </a:cubicBezTo>
                  <a:lnTo>
                    <a:pt x="1081802" y="2631790"/>
                  </a:lnTo>
                  <a:cubicBezTo>
                    <a:pt x="1077992" y="2632743"/>
                    <a:pt x="1074182" y="2631790"/>
                    <a:pt x="1071324" y="2629886"/>
                  </a:cubicBezTo>
                  <a:cubicBezTo>
                    <a:pt x="1062752" y="2622265"/>
                    <a:pt x="1053227" y="2612740"/>
                    <a:pt x="1041797" y="2602263"/>
                  </a:cubicBezTo>
                  <a:lnTo>
                    <a:pt x="1782842" y="1889793"/>
                  </a:lnTo>
                  <a:lnTo>
                    <a:pt x="1908572" y="2005998"/>
                  </a:lnTo>
                  <a:cubicBezTo>
                    <a:pt x="2001917" y="2092676"/>
                    <a:pt x="2146697" y="2092676"/>
                    <a:pt x="2240042" y="2005998"/>
                  </a:cubicBezTo>
                  <a:lnTo>
                    <a:pt x="2362915" y="1891698"/>
                  </a:lnTo>
                  <a:lnTo>
                    <a:pt x="3436382" y="2922303"/>
                  </a:lnTo>
                  <a:cubicBezTo>
                    <a:pt x="3428762" y="2924208"/>
                    <a:pt x="3420190" y="2925161"/>
                    <a:pt x="3412569" y="2925161"/>
                  </a:cubicBezTo>
                  <a:lnTo>
                    <a:pt x="1949529" y="29251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1" name="Forma Livre: Forma 40">
              <a:extLst>
                <a:ext uri="{FF2B5EF4-FFF2-40B4-BE49-F238E27FC236}">
                  <a16:creationId xmlns:a16="http://schemas.microsoft.com/office/drawing/2014/main" id="{C47743E8-C547-4EA7-BEF4-8EC916F327FF}"/>
                </a:ext>
              </a:extLst>
            </p:cNvPr>
            <p:cNvSpPr/>
            <p:nvPr/>
          </p:nvSpPr>
          <p:spPr>
            <a:xfrm>
              <a:off x="5791200" y="2453639"/>
              <a:ext cx="1097280" cy="121920"/>
            </a:xfrm>
            <a:custGeom>
              <a:avLst/>
              <a:gdLst>
                <a:gd name="connsiteX0" fmla="*/ 60960 w 1097280"/>
                <a:gd name="connsiteY0" fmla="*/ 121920 h 121920"/>
                <a:gd name="connsiteX1" fmla="*/ 1036320 w 1097280"/>
                <a:gd name="connsiteY1" fmla="*/ 121920 h 121920"/>
                <a:gd name="connsiteX2" fmla="*/ 1097280 w 1097280"/>
                <a:gd name="connsiteY2" fmla="*/ 60960 h 121920"/>
                <a:gd name="connsiteX3" fmla="*/ 1036320 w 1097280"/>
                <a:gd name="connsiteY3" fmla="*/ 0 h 121920"/>
                <a:gd name="connsiteX4" fmla="*/ 60960 w 1097280"/>
                <a:gd name="connsiteY4" fmla="*/ 0 h 121920"/>
                <a:gd name="connsiteX5" fmla="*/ 0 w 1097280"/>
                <a:gd name="connsiteY5" fmla="*/ 60960 h 121920"/>
                <a:gd name="connsiteX6" fmla="*/ 60960 w 1097280"/>
                <a:gd name="connsiteY6" fmla="*/ 121920 h 121920"/>
                <a:gd name="connsiteX7" fmla="*/ 60960 w 1097280"/>
                <a:gd name="connsiteY7" fmla="*/ 121920 h 121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97280" h="121920">
                  <a:moveTo>
                    <a:pt x="60960" y="121920"/>
                  </a:moveTo>
                  <a:lnTo>
                    <a:pt x="1036320" y="121920"/>
                  </a:lnTo>
                  <a:cubicBezTo>
                    <a:pt x="1069657" y="121920"/>
                    <a:pt x="1097280" y="94298"/>
                    <a:pt x="1097280" y="60960"/>
                  </a:cubicBezTo>
                  <a:cubicBezTo>
                    <a:pt x="1097280" y="27623"/>
                    <a:pt x="1069657" y="0"/>
                    <a:pt x="1036320" y="0"/>
                  </a:cubicBezTo>
                  <a:lnTo>
                    <a:pt x="60960" y="0"/>
                  </a:lnTo>
                  <a:cubicBezTo>
                    <a:pt x="27622" y="0"/>
                    <a:pt x="0" y="27623"/>
                    <a:pt x="0" y="60960"/>
                  </a:cubicBezTo>
                  <a:cubicBezTo>
                    <a:pt x="0" y="94298"/>
                    <a:pt x="27622" y="121920"/>
                    <a:pt x="60960" y="121920"/>
                  </a:cubicBezTo>
                  <a:lnTo>
                    <a:pt x="60960" y="12192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2" name="Forma Livre: Forma 41">
              <a:extLst>
                <a:ext uri="{FF2B5EF4-FFF2-40B4-BE49-F238E27FC236}">
                  <a16:creationId xmlns:a16="http://schemas.microsoft.com/office/drawing/2014/main" id="{A01CBD41-E4BD-4C93-9DA3-5735C7247E07}"/>
                </a:ext>
              </a:extLst>
            </p:cNvPr>
            <p:cNvSpPr/>
            <p:nvPr/>
          </p:nvSpPr>
          <p:spPr>
            <a:xfrm>
              <a:off x="7559040" y="2941320"/>
              <a:ext cx="121919" cy="975359"/>
            </a:xfrm>
            <a:custGeom>
              <a:avLst/>
              <a:gdLst>
                <a:gd name="connsiteX0" fmla="*/ 60960 w 121919"/>
                <a:gd name="connsiteY0" fmla="*/ 0 h 975359"/>
                <a:gd name="connsiteX1" fmla="*/ 0 w 121919"/>
                <a:gd name="connsiteY1" fmla="*/ 60960 h 975359"/>
                <a:gd name="connsiteX2" fmla="*/ 0 w 121919"/>
                <a:gd name="connsiteY2" fmla="*/ 914400 h 975359"/>
                <a:gd name="connsiteX3" fmla="*/ 60960 w 121919"/>
                <a:gd name="connsiteY3" fmla="*/ 975360 h 975359"/>
                <a:gd name="connsiteX4" fmla="*/ 121920 w 121919"/>
                <a:gd name="connsiteY4" fmla="*/ 914400 h 975359"/>
                <a:gd name="connsiteX5" fmla="*/ 121920 w 121919"/>
                <a:gd name="connsiteY5" fmla="*/ 60960 h 975359"/>
                <a:gd name="connsiteX6" fmla="*/ 60960 w 121919"/>
                <a:gd name="connsiteY6" fmla="*/ 0 h 975359"/>
                <a:gd name="connsiteX7" fmla="*/ 60960 w 121919"/>
                <a:gd name="connsiteY7" fmla="*/ 0 h 975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19" h="975359">
                  <a:moveTo>
                    <a:pt x="60960" y="0"/>
                  </a:moveTo>
                  <a:cubicBezTo>
                    <a:pt x="27622" y="0"/>
                    <a:pt x="0" y="27622"/>
                    <a:pt x="0" y="60960"/>
                  </a:cubicBezTo>
                  <a:lnTo>
                    <a:pt x="0" y="914400"/>
                  </a:lnTo>
                  <a:cubicBezTo>
                    <a:pt x="0" y="947738"/>
                    <a:pt x="27622" y="975360"/>
                    <a:pt x="60960" y="975360"/>
                  </a:cubicBezTo>
                  <a:cubicBezTo>
                    <a:pt x="94297" y="975360"/>
                    <a:pt x="121920" y="947738"/>
                    <a:pt x="121920" y="914400"/>
                  </a:cubicBezTo>
                  <a:lnTo>
                    <a:pt x="121920" y="60960"/>
                  </a:lnTo>
                  <a:cubicBezTo>
                    <a:pt x="121920" y="27622"/>
                    <a:pt x="94297" y="0"/>
                    <a:pt x="60960" y="0"/>
                  </a:cubicBezTo>
                  <a:lnTo>
                    <a:pt x="6096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</p:spTree>
    <p:extLst>
      <p:ext uri="{BB962C8B-B14F-4D97-AF65-F5344CB8AC3E}">
        <p14:creationId xmlns:p14="http://schemas.microsoft.com/office/powerpoint/2010/main" val="390794275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Espaço Reservado para Imagem 9" descr="Piscina com árvores ao fundo&#10;&#10;Descrição gerada automaticamente">
            <a:extLst>
              <a:ext uri="{FF2B5EF4-FFF2-40B4-BE49-F238E27FC236}">
                <a16:creationId xmlns:a16="http://schemas.microsoft.com/office/drawing/2014/main" id="{D67BE28A-F71C-480C-80A0-637AAB2EC4A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9" name="Espaço Reservado para Conteúdo 8">
            <a:extLst>
              <a:ext uri="{FF2B5EF4-FFF2-40B4-BE49-F238E27FC236}">
                <a16:creationId xmlns:a16="http://schemas.microsoft.com/office/drawing/2014/main" id="{E609924F-099A-4D94-8227-F8E7928A5B15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pt-BR" dirty="0"/>
              <a:t>Inserir texto descritivo</a:t>
            </a:r>
          </a:p>
        </p:txBody>
      </p:sp>
      <p:sp>
        <p:nvSpPr>
          <p:cNvPr id="10" name="Espaço Reservado para Conteúdo 9">
            <a:extLst>
              <a:ext uri="{FF2B5EF4-FFF2-40B4-BE49-F238E27FC236}">
                <a16:creationId xmlns:a16="http://schemas.microsoft.com/office/drawing/2014/main" id="{69D1662D-85CC-4D2F-9F9F-45B77BDE8FED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pt-BR" dirty="0"/>
              <a:t>Inserir texto descritivo</a:t>
            </a:r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id="{0792690D-0F6E-49FE-AA16-524380C10DAA}"/>
              </a:ext>
            </a:extLst>
          </p:cNvPr>
          <p:cNvSpPr/>
          <p:nvPr/>
        </p:nvSpPr>
        <p:spPr>
          <a:xfrm>
            <a:off x="2489199" y="1539875"/>
            <a:ext cx="1511300" cy="1511300"/>
          </a:xfrm>
          <a:prstGeom prst="ellipse">
            <a:avLst/>
          </a:prstGeom>
          <a:solidFill>
            <a:srgbClr val="D6D6CE"/>
          </a:solidFill>
          <a:ln w="57150">
            <a:solidFill>
              <a:srgbClr val="263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id="{0F4A5B96-CB35-486B-8829-2621E212A252}"/>
              </a:ext>
            </a:extLst>
          </p:cNvPr>
          <p:cNvSpPr/>
          <p:nvPr/>
        </p:nvSpPr>
        <p:spPr>
          <a:xfrm>
            <a:off x="8191503" y="1539875"/>
            <a:ext cx="1511300" cy="1511300"/>
          </a:xfrm>
          <a:prstGeom prst="ellipse">
            <a:avLst/>
          </a:prstGeom>
          <a:solidFill>
            <a:srgbClr val="D6D6CE"/>
          </a:solidFill>
          <a:ln w="57150">
            <a:solidFill>
              <a:srgbClr val="263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13" name="Gráfico 12">
            <a:extLst>
              <a:ext uri="{FF2B5EF4-FFF2-40B4-BE49-F238E27FC236}">
                <a16:creationId xmlns:a16="http://schemas.microsoft.com/office/drawing/2014/main" id="{6BCC289A-10AD-42C7-8F7B-CE4244624D23}"/>
              </a:ext>
            </a:extLst>
          </p:cNvPr>
          <p:cNvGrpSpPr/>
          <p:nvPr/>
        </p:nvGrpSpPr>
        <p:grpSpPr>
          <a:xfrm>
            <a:off x="2917189" y="1962082"/>
            <a:ext cx="666886" cy="666886"/>
            <a:chOff x="3657600" y="4526280"/>
            <a:chExt cx="1341120" cy="1341120"/>
          </a:xfrm>
          <a:solidFill>
            <a:srgbClr val="263143"/>
          </a:solidFill>
        </p:grpSpPr>
        <p:sp>
          <p:nvSpPr>
            <p:cNvPr id="14" name="Forma Livre: Forma 13">
              <a:extLst>
                <a:ext uri="{FF2B5EF4-FFF2-40B4-BE49-F238E27FC236}">
                  <a16:creationId xmlns:a16="http://schemas.microsoft.com/office/drawing/2014/main" id="{ADF2B81C-6F9C-43B7-BB8F-AC6B003DB8CC}"/>
                </a:ext>
              </a:extLst>
            </p:cNvPr>
            <p:cNvSpPr/>
            <p:nvPr/>
          </p:nvSpPr>
          <p:spPr>
            <a:xfrm>
              <a:off x="3976139" y="4694902"/>
              <a:ext cx="999071" cy="742920"/>
            </a:xfrm>
            <a:custGeom>
              <a:avLst/>
              <a:gdLst>
                <a:gd name="connsiteX0" fmla="*/ 304872 w 999071"/>
                <a:gd name="connsiteY0" fmla="*/ 742920 h 742920"/>
                <a:gd name="connsiteX1" fmla="*/ 303824 w 999071"/>
                <a:gd name="connsiteY1" fmla="*/ 742920 h 742920"/>
                <a:gd name="connsiteX2" fmla="*/ 267677 w 999071"/>
                <a:gd name="connsiteY2" fmla="*/ 726680 h 742920"/>
                <a:gd name="connsiteX3" fmla="*/ 13335 w 999071"/>
                <a:gd name="connsiteY3" fmla="*/ 450336 h 742920"/>
                <a:gd name="connsiteX4" fmla="*/ 16217 w 999071"/>
                <a:gd name="connsiteY4" fmla="*/ 378827 h 742920"/>
                <a:gd name="connsiteX5" fmla="*/ 87725 w 999071"/>
                <a:gd name="connsiteY5" fmla="*/ 381708 h 742920"/>
                <a:gd name="connsiteX6" fmla="*/ 306443 w 999071"/>
                <a:gd name="connsiteY6" fmla="*/ 619286 h 742920"/>
                <a:gd name="connsiteX7" fmla="*/ 912829 w 999071"/>
                <a:gd name="connsiteY7" fmla="*/ 14734 h 742920"/>
                <a:gd name="connsiteX8" fmla="*/ 984338 w 999071"/>
                <a:gd name="connsiteY8" fmla="*/ 14734 h 742920"/>
                <a:gd name="connsiteX9" fmla="*/ 984338 w 999071"/>
                <a:gd name="connsiteY9" fmla="*/ 86243 h 742920"/>
                <a:gd name="connsiteX10" fmla="*/ 340495 w 999071"/>
                <a:gd name="connsiteY10" fmla="*/ 728252 h 742920"/>
                <a:gd name="connsiteX11" fmla="*/ 304872 w 999071"/>
                <a:gd name="connsiteY11" fmla="*/ 742920 h 742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99071" h="742920">
                  <a:moveTo>
                    <a:pt x="304872" y="742920"/>
                  </a:moveTo>
                  <a:cubicBezTo>
                    <a:pt x="304610" y="742920"/>
                    <a:pt x="304086" y="742920"/>
                    <a:pt x="303824" y="742920"/>
                  </a:cubicBezTo>
                  <a:cubicBezTo>
                    <a:pt x="290203" y="742658"/>
                    <a:pt x="277106" y="736634"/>
                    <a:pt x="267677" y="726680"/>
                  </a:cubicBezTo>
                  <a:lnTo>
                    <a:pt x="13335" y="450336"/>
                  </a:lnTo>
                  <a:cubicBezTo>
                    <a:pt x="-5524" y="429905"/>
                    <a:pt x="-4215" y="397949"/>
                    <a:pt x="16217" y="378827"/>
                  </a:cubicBezTo>
                  <a:cubicBezTo>
                    <a:pt x="36648" y="359968"/>
                    <a:pt x="68604" y="361277"/>
                    <a:pt x="87725" y="381708"/>
                  </a:cubicBezTo>
                  <a:lnTo>
                    <a:pt x="306443" y="619286"/>
                  </a:lnTo>
                  <a:lnTo>
                    <a:pt x="912829" y="14734"/>
                  </a:lnTo>
                  <a:cubicBezTo>
                    <a:pt x="932474" y="-4911"/>
                    <a:pt x="964692" y="-4911"/>
                    <a:pt x="984338" y="14734"/>
                  </a:cubicBezTo>
                  <a:cubicBezTo>
                    <a:pt x="1003983" y="34379"/>
                    <a:pt x="1003983" y="66598"/>
                    <a:pt x="984338" y="86243"/>
                  </a:cubicBezTo>
                  <a:lnTo>
                    <a:pt x="340495" y="728252"/>
                  </a:lnTo>
                  <a:cubicBezTo>
                    <a:pt x="331065" y="737682"/>
                    <a:pt x="318231" y="742920"/>
                    <a:pt x="304872" y="742920"/>
                  </a:cubicBezTo>
                  <a:close/>
                </a:path>
              </a:pathLst>
            </a:custGeom>
            <a:grpFill/>
            <a:ln w="26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5" name="Forma Livre: Forma 14">
              <a:extLst>
                <a:ext uri="{FF2B5EF4-FFF2-40B4-BE49-F238E27FC236}">
                  <a16:creationId xmlns:a16="http://schemas.microsoft.com/office/drawing/2014/main" id="{B7EA53ED-549B-4B80-8BD1-84213814881A}"/>
                </a:ext>
              </a:extLst>
            </p:cNvPr>
            <p:cNvSpPr/>
            <p:nvPr/>
          </p:nvSpPr>
          <p:spPr>
            <a:xfrm>
              <a:off x="3657600" y="4526280"/>
              <a:ext cx="1341120" cy="1341120"/>
            </a:xfrm>
            <a:custGeom>
              <a:avLst/>
              <a:gdLst>
                <a:gd name="connsiteX0" fmla="*/ 670560 w 1341120"/>
                <a:gd name="connsiteY0" fmla="*/ 1341120 h 1341120"/>
                <a:gd name="connsiteX1" fmla="*/ 0 w 1341120"/>
                <a:gd name="connsiteY1" fmla="*/ 670560 h 1341120"/>
                <a:gd name="connsiteX2" fmla="*/ 670560 w 1341120"/>
                <a:gd name="connsiteY2" fmla="*/ 0 h 1341120"/>
                <a:gd name="connsiteX3" fmla="*/ 721114 w 1341120"/>
                <a:gd name="connsiteY3" fmla="*/ 50554 h 1341120"/>
                <a:gd name="connsiteX4" fmla="*/ 670560 w 1341120"/>
                <a:gd name="connsiteY4" fmla="*/ 101108 h 1341120"/>
                <a:gd name="connsiteX5" fmla="*/ 101108 w 1341120"/>
                <a:gd name="connsiteY5" fmla="*/ 670560 h 1341120"/>
                <a:gd name="connsiteX6" fmla="*/ 670560 w 1341120"/>
                <a:gd name="connsiteY6" fmla="*/ 1240012 h 1341120"/>
                <a:gd name="connsiteX7" fmla="*/ 1240012 w 1341120"/>
                <a:gd name="connsiteY7" fmla="*/ 670560 h 1341120"/>
                <a:gd name="connsiteX8" fmla="*/ 1290566 w 1341120"/>
                <a:gd name="connsiteY8" fmla="*/ 620006 h 1341120"/>
                <a:gd name="connsiteX9" fmla="*/ 1341120 w 1341120"/>
                <a:gd name="connsiteY9" fmla="*/ 670560 h 1341120"/>
                <a:gd name="connsiteX10" fmla="*/ 670560 w 1341120"/>
                <a:gd name="connsiteY10" fmla="*/ 1341120 h 1341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41120" h="1341120">
                  <a:moveTo>
                    <a:pt x="670560" y="1341120"/>
                  </a:moveTo>
                  <a:cubicBezTo>
                    <a:pt x="300704" y="1341120"/>
                    <a:pt x="0" y="1040416"/>
                    <a:pt x="0" y="670560"/>
                  </a:cubicBezTo>
                  <a:cubicBezTo>
                    <a:pt x="0" y="300704"/>
                    <a:pt x="300704" y="0"/>
                    <a:pt x="670560" y="0"/>
                  </a:cubicBezTo>
                  <a:cubicBezTo>
                    <a:pt x="698587" y="0"/>
                    <a:pt x="721114" y="22527"/>
                    <a:pt x="721114" y="50554"/>
                  </a:cubicBezTo>
                  <a:cubicBezTo>
                    <a:pt x="721114" y="78581"/>
                    <a:pt x="698587" y="101108"/>
                    <a:pt x="670560" y="101108"/>
                  </a:cubicBezTo>
                  <a:cubicBezTo>
                    <a:pt x="356497" y="101108"/>
                    <a:pt x="101108" y="356497"/>
                    <a:pt x="101108" y="670560"/>
                  </a:cubicBezTo>
                  <a:cubicBezTo>
                    <a:pt x="101108" y="984623"/>
                    <a:pt x="356497" y="1240012"/>
                    <a:pt x="670560" y="1240012"/>
                  </a:cubicBezTo>
                  <a:cubicBezTo>
                    <a:pt x="984623" y="1240012"/>
                    <a:pt x="1240012" y="984623"/>
                    <a:pt x="1240012" y="670560"/>
                  </a:cubicBezTo>
                  <a:cubicBezTo>
                    <a:pt x="1240012" y="642533"/>
                    <a:pt x="1262539" y="620006"/>
                    <a:pt x="1290566" y="620006"/>
                  </a:cubicBezTo>
                  <a:cubicBezTo>
                    <a:pt x="1318593" y="620006"/>
                    <a:pt x="1341120" y="642533"/>
                    <a:pt x="1341120" y="670560"/>
                  </a:cubicBezTo>
                  <a:cubicBezTo>
                    <a:pt x="1341120" y="1040416"/>
                    <a:pt x="1040416" y="1341120"/>
                    <a:pt x="670560" y="1341120"/>
                  </a:cubicBezTo>
                  <a:close/>
                </a:path>
              </a:pathLst>
            </a:custGeom>
            <a:grpFill/>
            <a:ln w="26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sp>
        <p:nvSpPr>
          <p:cNvPr id="16" name="Gráfico 16">
            <a:extLst>
              <a:ext uri="{FF2B5EF4-FFF2-40B4-BE49-F238E27FC236}">
                <a16:creationId xmlns:a16="http://schemas.microsoft.com/office/drawing/2014/main" id="{E0A885E5-C297-4576-9EBF-2E9FBFA4F342}"/>
              </a:ext>
            </a:extLst>
          </p:cNvPr>
          <p:cNvSpPr/>
          <p:nvPr/>
        </p:nvSpPr>
        <p:spPr>
          <a:xfrm>
            <a:off x="8622417" y="1939421"/>
            <a:ext cx="666886" cy="665988"/>
          </a:xfrm>
          <a:custGeom>
            <a:avLst/>
            <a:gdLst>
              <a:gd name="connsiteX0" fmla="*/ 849797 w 3656809"/>
              <a:gd name="connsiteY0" fmla="*/ 2335530 h 3651884"/>
              <a:gd name="connsiteX1" fmla="*/ 656440 w 3656809"/>
              <a:gd name="connsiteY1" fmla="*/ 3519488 h 3651884"/>
              <a:gd name="connsiteX2" fmla="*/ 703112 w 3656809"/>
              <a:gd name="connsiteY2" fmla="*/ 3630930 h 3651884"/>
              <a:gd name="connsiteX3" fmla="*/ 824080 w 3656809"/>
              <a:gd name="connsiteY3" fmla="*/ 3637598 h 3651884"/>
              <a:gd name="connsiteX4" fmla="*/ 1828967 w 3656809"/>
              <a:gd name="connsiteY4" fmla="*/ 3082290 h 3651884"/>
              <a:gd name="connsiteX5" fmla="*/ 2832902 w 3656809"/>
              <a:gd name="connsiteY5" fmla="*/ 3637598 h 3651884"/>
              <a:gd name="connsiteX6" fmla="*/ 2888147 w 3656809"/>
              <a:gd name="connsiteY6" fmla="*/ 3651885 h 3651884"/>
              <a:gd name="connsiteX7" fmla="*/ 2953870 w 3656809"/>
              <a:gd name="connsiteY7" fmla="*/ 3630930 h 3651884"/>
              <a:gd name="connsiteX8" fmla="*/ 3000542 w 3656809"/>
              <a:gd name="connsiteY8" fmla="*/ 3519488 h 3651884"/>
              <a:gd name="connsiteX9" fmla="*/ 2807185 w 3656809"/>
              <a:gd name="connsiteY9" fmla="*/ 2335530 h 3651884"/>
              <a:gd name="connsiteX10" fmla="*/ 3624430 w 3656809"/>
              <a:gd name="connsiteY10" fmla="*/ 1498283 h 3651884"/>
              <a:gd name="connsiteX11" fmla="*/ 3651100 w 3656809"/>
              <a:gd name="connsiteY11" fmla="*/ 1382078 h 3651884"/>
              <a:gd name="connsiteX12" fmla="*/ 3559660 w 3656809"/>
              <a:gd name="connsiteY12" fmla="*/ 1305878 h 3651884"/>
              <a:gd name="connsiteX13" fmla="*/ 2435710 w 3656809"/>
              <a:gd name="connsiteY13" fmla="*/ 1134428 h 3651884"/>
              <a:gd name="connsiteX14" fmla="*/ 1931837 w 3656809"/>
              <a:gd name="connsiteY14" fmla="*/ 60008 h 3651884"/>
              <a:gd name="connsiteX15" fmla="*/ 1725145 w 3656809"/>
              <a:gd name="connsiteY15" fmla="*/ 60008 h 3651884"/>
              <a:gd name="connsiteX16" fmla="*/ 1221272 w 3656809"/>
              <a:gd name="connsiteY16" fmla="*/ 1133475 h 3651884"/>
              <a:gd name="connsiteX17" fmla="*/ 97322 w 3656809"/>
              <a:gd name="connsiteY17" fmla="*/ 1304925 h 3651884"/>
              <a:gd name="connsiteX18" fmla="*/ 5882 w 3656809"/>
              <a:gd name="connsiteY18" fmla="*/ 1381125 h 3651884"/>
              <a:gd name="connsiteX19" fmla="*/ 32552 w 3656809"/>
              <a:gd name="connsiteY19" fmla="*/ 1497330 h 3651884"/>
              <a:gd name="connsiteX20" fmla="*/ 849797 w 3656809"/>
              <a:gd name="connsiteY20" fmla="*/ 2335530 h 3651884"/>
              <a:gd name="connsiteX21" fmla="*/ 1316522 w 3656809"/>
              <a:gd name="connsiteY21" fmla="*/ 1350645 h 3651884"/>
              <a:gd name="connsiteX22" fmla="*/ 1402247 w 3656809"/>
              <a:gd name="connsiteY22" fmla="*/ 1285875 h 3651884"/>
              <a:gd name="connsiteX23" fmla="*/ 1828967 w 3656809"/>
              <a:gd name="connsiteY23" fmla="*/ 377190 h 3651884"/>
              <a:gd name="connsiteX24" fmla="*/ 2255687 w 3656809"/>
              <a:gd name="connsiteY24" fmla="*/ 1285875 h 3651884"/>
              <a:gd name="connsiteX25" fmla="*/ 2341412 w 3656809"/>
              <a:gd name="connsiteY25" fmla="*/ 1350645 h 3651884"/>
              <a:gd name="connsiteX26" fmla="*/ 3306295 w 3656809"/>
              <a:gd name="connsiteY26" fmla="*/ 1498283 h 3651884"/>
              <a:gd name="connsiteX27" fmla="*/ 2604302 w 3656809"/>
              <a:gd name="connsiteY27" fmla="*/ 2217420 h 3651884"/>
              <a:gd name="connsiteX28" fmla="*/ 2572870 w 3656809"/>
              <a:gd name="connsiteY28" fmla="*/ 2315528 h 3651884"/>
              <a:gd name="connsiteX29" fmla="*/ 2737652 w 3656809"/>
              <a:gd name="connsiteY29" fmla="*/ 3324225 h 3651884"/>
              <a:gd name="connsiteX30" fmla="*/ 1884212 w 3656809"/>
              <a:gd name="connsiteY30" fmla="*/ 2852738 h 3651884"/>
              <a:gd name="connsiteX31" fmla="*/ 1828967 w 3656809"/>
              <a:gd name="connsiteY31" fmla="*/ 2838450 h 3651884"/>
              <a:gd name="connsiteX32" fmla="*/ 1773722 w 3656809"/>
              <a:gd name="connsiteY32" fmla="*/ 2852738 h 3651884"/>
              <a:gd name="connsiteX33" fmla="*/ 920282 w 3656809"/>
              <a:gd name="connsiteY33" fmla="*/ 3324225 h 3651884"/>
              <a:gd name="connsiteX34" fmla="*/ 1085065 w 3656809"/>
              <a:gd name="connsiteY34" fmla="*/ 2315528 h 3651884"/>
              <a:gd name="connsiteX35" fmla="*/ 1053632 w 3656809"/>
              <a:gd name="connsiteY35" fmla="*/ 2217420 h 3651884"/>
              <a:gd name="connsiteX36" fmla="*/ 351640 w 3656809"/>
              <a:gd name="connsiteY36" fmla="*/ 1498283 h 3651884"/>
              <a:gd name="connsiteX37" fmla="*/ 1316522 w 3656809"/>
              <a:gd name="connsiteY37" fmla="*/ 1350645 h 3651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3656809" h="3651884">
                <a:moveTo>
                  <a:pt x="849797" y="2335530"/>
                </a:moveTo>
                <a:lnTo>
                  <a:pt x="656440" y="3519488"/>
                </a:lnTo>
                <a:cubicBezTo>
                  <a:pt x="649772" y="3562350"/>
                  <a:pt x="667870" y="3606165"/>
                  <a:pt x="703112" y="3630930"/>
                </a:cubicBezTo>
                <a:cubicBezTo>
                  <a:pt x="738355" y="3655695"/>
                  <a:pt x="785980" y="3658553"/>
                  <a:pt x="824080" y="3637598"/>
                </a:cubicBezTo>
                <a:lnTo>
                  <a:pt x="1828967" y="3082290"/>
                </a:lnTo>
                <a:lnTo>
                  <a:pt x="2832902" y="3637598"/>
                </a:lnTo>
                <a:cubicBezTo>
                  <a:pt x="2850047" y="3647123"/>
                  <a:pt x="2869097" y="3651885"/>
                  <a:pt x="2888147" y="3651885"/>
                </a:cubicBezTo>
                <a:cubicBezTo>
                  <a:pt x="2911007" y="3651885"/>
                  <a:pt x="2934820" y="3645218"/>
                  <a:pt x="2953870" y="3630930"/>
                </a:cubicBezTo>
                <a:cubicBezTo>
                  <a:pt x="2990065" y="3605213"/>
                  <a:pt x="3008162" y="3562350"/>
                  <a:pt x="3000542" y="3519488"/>
                </a:cubicBezTo>
                <a:lnTo>
                  <a:pt x="2807185" y="2335530"/>
                </a:lnTo>
                <a:lnTo>
                  <a:pt x="3624430" y="1498283"/>
                </a:lnTo>
                <a:cubicBezTo>
                  <a:pt x="3653957" y="1467803"/>
                  <a:pt x="3664435" y="1423035"/>
                  <a:pt x="3651100" y="1382078"/>
                </a:cubicBezTo>
                <a:cubicBezTo>
                  <a:pt x="3637765" y="1341120"/>
                  <a:pt x="3602522" y="1311593"/>
                  <a:pt x="3559660" y="1305878"/>
                </a:cubicBezTo>
                <a:lnTo>
                  <a:pt x="2435710" y="1134428"/>
                </a:lnTo>
                <a:lnTo>
                  <a:pt x="1931837" y="60008"/>
                </a:lnTo>
                <a:cubicBezTo>
                  <a:pt x="1893737" y="-20003"/>
                  <a:pt x="1762292" y="-20003"/>
                  <a:pt x="1725145" y="60008"/>
                </a:cubicBezTo>
                <a:lnTo>
                  <a:pt x="1221272" y="1133475"/>
                </a:lnTo>
                <a:lnTo>
                  <a:pt x="97322" y="1304925"/>
                </a:lnTo>
                <a:cubicBezTo>
                  <a:pt x="55412" y="1311593"/>
                  <a:pt x="20170" y="1341120"/>
                  <a:pt x="5882" y="1381125"/>
                </a:cubicBezTo>
                <a:cubicBezTo>
                  <a:pt x="-7453" y="1422083"/>
                  <a:pt x="2072" y="1466850"/>
                  <a:pt x="32552" y="1497330"/>
                </a:cubicBezTo>
                <a:lnTo>
                  <a:pt x="849797" y="2335530"/>
                </a:lnTo>
                <a:close/>
                <a:moveTo>
                  <a:pt x="1316522" y="1350645"/>
                </a:moveTo>
                <a:cubicBezTo>
                  <a:pt x="1354622" y="1344930"/>
                  <a:pt x="1386055" y="1321118"/>
                  <a:pt x="1402247" y="1285875"/>
                </a:cubicBezTo>
                <a:lnTo>
                  <a:pt x="1828967" y="377190"/>
                </a:lnTo>
                <a:lnTo>
                  <a:pt x="2255687" y="1285875"/>
                </a:lnTo>
                <a:cubicBezTo>
                  <a:pt x="2271880" y="1320165"/>
                  <a:pt x="2304265" y="1344930"/>
                  <a:pt x="2341412" y="1350645"/>
                </a:cubicBezTo>
                <a:lnTo>
                  <a:pt x="3306295" y="1498283"/>
                </a:lnTo>
                <a:lnTo>
                  <a:pt x="2604302" y="2217420"/>
                </a:lnTo>
                <a:cubicBezTo>
                  <a:pt x="2578585" y="2243138"/>
                  <a:pt x="2567155" y="2280285"/>
                  <a:pt x="2572870" y="2315528"/>
                </a:cubicBezTo>
                <a:lnTo>
                  <a:pt x="2737652" y="3324225"/>
                </a:lnTo>
                <a:lnTo>
                  <a:pt x="1884212" y="2852738"/>
                </a:lnTo>
                <a:cubicBezTo>
                  <a:pt x="1867067" y="2843213"/>
                  <a:pt x="1848017" y="2838450"/>
                  <a:pt x="1828967" y="2838450"/>
                </a:cubicBezTo>
                <a:cubicBezTo>
                  <a:pt x="1809917" y="2838450"/>
                  <a:pt x="1790867" y="2843213"/>
                  <a:pt x="1773722" y="2852738"/>
                </a:cubicBezTo>
                <a:lnTo>
                  <a:pt x="920282" y="3324225"/>
                </a:lnTo>
                <a:lnTo>
                  <a:pt x="1085065" y="2315528"/>
                </a:lnTo>
                <a:cubicBezTo>
                  <a:pt x="1090780" y="2279333"/>
                  <a:pt x="1079350" y="2243138"/>
                  <a:pt x="1053632" y="2217420"/>
                </a:cubicBezTo>
                <a:lnTo>
                  <a:pt x="351640" y="1498283"/>
                </a:lnTo>
                <a:lnTo>
                  <a:pt x="1316522" y="1350645"/>
                </a:lnTo>
                <a:close/>
              </a:path>
            </a:pathLst>
          </a:custGeom>
          <a:solidFill>
            <a:srgbClr val="26314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2482428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Espaço Reservado para Imagem 13" descr="Quarto com cama e janela&#10;&#10;Descrição gerada automaticamente">
            <a:extLst>
              <a:ext uri="{FF2B5EF4-FFF2-40B4-BE49-F238E27FC236}">
                <a16:creationId xmlns:a16="http://schemas.microsoft.com/office/drawing/2014/main" id="{2D13A6DA-2B1F-4851-A34A-38D0E2A0D58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</p:pic>
      <p:sp>
        <p:nvSpPr>
          <p:cNvPr id="9" name="Espaço Reservado para Conteúdo 8">
            <a:extLst>
              <a:ext uri="{FF2B5EF4-FFF2-40B4-BE49-F238E27FC236}">
                <a16:creationId xmlns:a16="http://schemas.microsoft.com/office/drawing/2014/main" id="{C9934571-C7D7-4DEF-BE1B-DC8C78915500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pt-BR" dirty="0"/>
              <a:t>Inserir texto descritivo</a:t>
            </a:r>
          </a:p>
        </p:txBody>
      </p:sp>
      <p:sp>
        <p:nvSpPr>
          <p:cNvPr id="10" name="Espaço Reservado para Conteúdo 9">
            <a:extLst>
              <a:ext uri="{FF2B5EF4-FFF2-40B4-BE49-F238E27FC236}">
                <a16:creationId xmlns:a16="http://schemas.microsoft.com/office/drawing/2014/main" id="{22D967C8-B00C-4935-9D6B-15FD90D088B3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pt-BR" dirty="0"/>
              <a:t>Inserir texto descritivo</a:t>
            </a:r>
          </a:p>
        </p:txBody>
      </p:sp>
      <p:sp>
        <p:nvSpPr>
          <p:cNvPr id="11" name="Espaço Reservado para Conteúdo 10">
            <a:extLst>
              <a:ext uri="{FF2B5EF4-FFF2-40B4-BE49-F238E27FC236}">
                <a16:creationId xmlns:a16="http://schemas.microsoft.com/office/drawing/2014/main" id="{49F2FE19-2100-45C2-8D41-D4212832DCB0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pt-BR" dirty="0"/>
              <a:t>Inserir texto descritivo</a:t>
            </a:r>
          </a:p>
        </p:txBody>
      </p:sp>
      <p:sp>
        <p:nvSpPr>
          <p:cNvPr id="13" name="Elipse 12">
            <a:extLst>
              <a:ext uri="{FF2B5EF4-FFF2-40B4-BE49-F238E27FC236}">
                <a16:creationId xmlns:a16="http://schemas.microsoft.com/office/drawing/2014/main" id="{AA2D8438-7999-4B49-AE3D-54192129DC6D}"/>
              </a:ext>
            </a:extLst>
          </p:cNvPr>
          <p:cNvSpPr/>
          <p:nvPr/>
        </p:nvSpPr>
        <p:spPr>
          <a:xfrm>
            <a:off x="1622426" y="2673350"/>
            <a:ext cx="1511300" cy="1511300"/>
          </a:xfrm>
          <a:prstGeom prst="ellipse">
            <a:avLst/>
          </a:prstGeom>
          <a:solidFill>
            <a:srgbClr val="D6D6CE"/>
          </a:solidFill>
          <a:ln w="57150">
            <a:solidFill>
              <a:srgbClr val="263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Elipse 14">
            <a:extLst>
              <a:ext uri="{FF2B5EF4-FFF2-40B4-BE49-F238E27FC236}">
                <a16:creationId xmlns:a16="http://schemas.microsoft.com/office/drawing/2014/main" id="{FE2D2D61-87DC-4B99-BA05-FA390AB993D1}"/>
              </a:ext>
            </a:extLst>
          </p:cNvPr>
          <p:cNvSpPr/>
          <p:nvPr/>
        </p:nvSpPr>
        <p:spPr>
          <a:xfrm>
            <a:off x="5340350" y="2673350"/>
            <a:ext cx="1511300" cy="1511300"/>
          </a:xfrm>
          <a:prstGeom prst="ellipse">
            <a:avLst/>
          </a:prstGeom>
          <a:solidFill>
            <a:srgbClr val="D6D6CE"/>
          </a:solidFill>
          <a:ln w="57150">
            <a:solidFill>
              <a:srgbClr val="263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id="{F76A8539-BD04-4342-9D39-ABD57A06CB50}"/>
              </a:ext>
            </a:extLst>
          </p:cNvPr>
          <p:cNvSpPr/>
          <p:nvPr/>
        </p:nvSpPr>
        <p:spPr>
          <a:xfrm>
            <a:off x="9058274" y="2673350"/>
            <a:ext cx="1511300" cy="1511300"/>
          </a:xfrm>
          <a:prstGeom prst="ellipse">
            <a:avLst/>
          </a:prstGeom>
          <a:solidFill>
            <a:srgbClr val="D6D6CE"/>
          </a:solidFill>
          <a:ln w="57150">
            <a:solidFill>
              <a:srgbClr val="263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9" name="Gráfico 16">
            <a:extLst>
              <a:ext uri="{FF2B5EF4-FFF2-40B4-BE49-F238E27FC236}">
                <a16:creationId xmlns:a16="http://schemas.microsoft.com/office/drawing/2014/main" id="{0EC6D741-018B-41F4-8E99-D958907C1462}"/>
              </a:ext>
            </a:extLst>
          </p:cNvPr>
          <p:cNvSpPr/>
          <p:nvPr/>
        </p:nvSpPr>
        <p:spPr>
          <a:xfrm>
            <a:off x="2045653" y="3095625"/>
            <a:ext cx="664845" cy="664845"/>
          </a:xfrm>
          <a:custGeom>
            <a:avLst/>
            <a:gdLst>
              <a:gd name="connsiteX0" fmla="*/ 660083 w 664845"/>
              <a:gd name="connsiteY0" fmla="*/ 321945 h 664845"/>
              <a:gd name="connsiteX1" fmla="*/ 543878 w 664845"/>
              <a:gd name="connsiteY1" fmla="*/ 204788 h 664845"/>
              <a:gd name="connsiteX2" fmla="*/ 543878 w 664845"/>
              <a:gd name="connsiteY2" fmla="*/ 45720 h 664845"/>
              <a:gd name="connsiteX3" fmla="*/ 528638 w 664845"/>
              <a:gd name="connsiteY3" fmla="*/ 30480 h 664845"/>
              <a:gd name="connsiteX4" fmla="*/ 438150 w 664845"/>
              <a:gd name="connsiteY4" fmla="*/ 30480 h 664845"/>
              <a:gd name="connsiteX5" fmla="*/ 422910 w 664845"/>
              <a:gd name="connsiteY5" fmla="*/ 45720 h 664845"/>
              <a:gd name="connsiteX6" fmla="*/ 422910 w 664845"/>
              <a:gd name="connsiteY6" fmla="*/ 84773 h 664845"/>
              <a:gd name="connsiteX7" fmla="*/ 342900 w 664845"/>
              <a:gd name="connsiteY7" fmla="*/ 4763 h 664845"/>
              <a:gd name="connsiteX8" fmla="*/ 332423 w 664845"/>
              <a:gd name="connsiteY8" fmla="*/ 0 h 664845"/>
              <a:gd name="connsiteX9" fmla="*/ 321945 w 664845"/>
              <a:gd name="connsiteY9" fmla="*/ 4763 h 664845"/>
              <a:gd name="connsiteX10" fmla="*/ 4763 w 664845"/>
              <a:gd name="connsiteY10" fmla="*/ 321945 h 664845"/>
              <a:gd name="connsiteX11" fmla="*/ 0 w 664845"/>
              <a:gd name="connsiteY11" fmla="*/ 332423 h 664845"/>
              <a:gd name="connsiteX12" fmla="*/ 15240 w 664845"/>
              <a:gd name="connsiteY12" fmla="*/ 347663 h 664845"/>
              <a:gd name="connsiteX13" fmla="*/ 25718 w 664845"/>
              <a:gd name="connsiteY13" fmla="*/ 342900 h 664845"/>
              <a:gd name="connsiteX14" fmla="*/ 90488 w 664845"/>
              <a:gd name="connsiteY14" fmla="*/ 278130 h 664845"/>
              <a:gd name="connsiteX15" fmla="*/ 90488 w 664845"/>
              <a:gd name="connsiteY15" fmla="*/ 649605 h 664845"/>
              <a:gd name="connsiteX16" fmla="*/ 105728 w 664845"/>
              <a:gd name="connsiteY16" fmla="*/ 664845 h 664845"/>
              <a:gd name="connsiteX17" fmla="*/ 559118 w 664845"/>
              <a:gd name="connsiteY17" fmla="*/ 664845 h 664845"/>
              <a:gd name="connsiteX18" fmla="*/ 574358 w 664845"/>
              <a:gd name="connsiteY18" fmla="*/ 649605 h 664845"/>
              <a:gd name="connsiteX19" fmla="*/ 574358 w 664845"/>
              <a:gd name="connsiteY19" fmla="*/ 278130 h 664845"/>
              <a:gd name="connsiteX20" fmla="*/ 639128 w 664845"/>
              <a:gd name="connsiteY20" fmla="*/ 342900 h 664845"/>
              <a:gd name="connsiteX21" fmla="*/ 649605 w 664845"/>
              <a:gd name="connsiteY21" fmla="*/ 347663 h 664845"/>
              <a:gd name="connsiteX22" fmla="*/ 664845 w 664845"/>
              <a:gd name="connsiteY22" fmla="*/ 332423 h 664845"/>
              <a:gd name="connsiteX23" fmla="*/ 660083 w 664845"/>
              <a:gd name="connsiteY23" fmla="*/ 321945 h 664845"/>
              <a:gd name="connsiteX24" fmla="*/ 453390 w 664845"/>
              <a:gd name="connsiteY24" fmla="*/ 60008 h 664845"/>
              <a:gd name="connsiteX25" fmla="*/ 513398 w 664845"/>
              <a:gd name="connsiteY25" fmla="*/ 60008 h 664845"/>
              <a:gd name="connsiteX26" fmla="*/ 513398 w 664845"/>
              <a:gd name="connsiteY26" fmla="*/ 174308 h 664845"/>
              <a:gd name="connsiteX27" fmla="*/ 453390 w 664845"/>
              <a:gd name="connsiteY27" fmla="*/ 114300 h 664845"/>
              <a:gd name="connsiteX28" fmla="*/ 453390 w 664845"/>
              <a:gd name="connsiteY28" fmla="*/ 60008 h 664845"/>
              <a:gd name="connsiteX29" fmla="*/ 241935 w 664845"/>
              <a:gd name="connsiteY29" fmla="*/ 634365 h 664845"/>
              <a:gd name="connsiteX30" fmla="*/ 120968 w 664845"/>
              <a:gd name="connsiteY30" fmla="*/ 634365 h 664845"/>
              <a:gd name="connsiteX31" fmla="*/ 120968 w 664845"/>
              <a:gd name="connsiteY31" fmla="*/ 603885 h 664845"/>
              <a:gd name="connsiteX32" fmla="*/ 241935 w 664845"/>
              <a:gd name="connsiteY32" fmla="*/ 603885 h 664845"/>
              <a:gd name="connsiteX33" fmla="*/ 241935 w 664845"/>
              <a:gd name="connsiteY33" fmla="*/ 634365 h 664845"/>
              <a:gd name="connsiteX34" fmla="*/ 392430 w 664845"/>
              <a:gd name="connsiteY34" fmla="*/ 634365 h 664845"/>
              <a:gd name="connsiteX35" fmla="*/ 271463 w 664845"/>
              <a:gd name="connsiteY35" fmla="*/ 634365 h 664845"/>
              <a:gd name="connsiteX36" fmla="*/ 271463 w 664845"/>
              <a:gd name="connsiteY36" fmla="*/ 392430 h 664845"/>
              <a:gd name="connsiteX37" fmla="*/ 392430 w 664845"/>
              <a:gd name="connsiteY37" fmla="*/ 392430 h 664845"/>
              <a:gd name="connsiteX38" fmla="*/ 392430 w 664845"/>
              <a:gd name="connsiteY38" fmla="*/ 634365 h 664845"/>
              <a:gd name="connsiteX39" fmla="*/ 543878 w 664845"/>
              <a:gd name="connsiteY39" fmla="*/ 634365 h 664845"/>
              <a:gd name="connsiteX40" fmla="*/ 422910 w 664845"/>
              <a:gd name="connsiteY40" fmla="*/ 634365 h 664845"/>
              <a:gd name="connsiteX41" fmla="*/ 422910 w 664845"/>
              <a:gd name="connsiteY41" fmla="*/ 603885 h 664845"/>
              <a:gd name="connsiteX42" fmla="*/ 543878 w 664845"/>
              <a:gd name="connsiteY42" fmla="*/ 603885 h 664845"/>
              <a:gd name="connsiteX43" fmla="*/ 543878 w 664845"/>
              <a:gd name="connsiteY43" fmla="*/ 634365 h 664845"/>
              <a:gd name="connsiteX44" fmla="*/ 543878 w 664845"/>
              <a:gd name="connsiteY44" fmla="*/ 574358 h 664845"/>
              <a:gd name="connsiteX45" fmla="*/ 422910 w 664845"/>
              <a:gd name="connsiteY45" fmla="*/ 574358 h 664845"/>
              <a:gd name="connsiteX46" fmla="*/ 422910 w 664845"/>
              <a:gd name="connsiteY46" fmla="*/ 377190 h 664845"/>
              <a:gd name="connsiteX47" fmla="*/ 407670 w 664845"/>
              <a:gd name="connsiteY47" fmla="*/ 361950 h 664845"/>
              <a:gd name="connsiteX48" fmla="*/ 257175 w 664845"/>
              <a:gd name="connsiteY48" fmla="*/ 361950 h 664845"/>
              <a:gd name="connsiteX49" fmla="*/ 241935 w 664845"/>
              <a:gd name="connsiteY49" fmla="*/ 377190 h 664845"/>
              <a:gd name="connsiteX50" fmla="*/ 241935 w 664845"/>
              <a:gd name="connsiteY50" fmla="*/ 573405 h 664845"/>
              <a:gd name="connsiteX51" fmla="*/ 120968 w 664845"/>
              <a:gd name="connsiteY51" fmla="*/ 573405 h 664845"/>
              <a:gd name="connsiteX52" fmla="*/ 120968 w 664845"/>
              <a:gd name="connsiteY52" fmla="*/ 247650 h 664845"/>
              <a:gd name="connsiteX53" fmla="*/ 332423 w 664845"/>
              <a:gd name="connsiteY53" fmla="*/ 36195 h 664845"/>
              <a:gd name="connsiteX54" fmla="*/ 543878 w 664845"/>
              <a:gd name="connsiteY54" fmla="*/ 247650 h 664845"/>
              <a:gd name="connsiteX55" fmla="*/ 543878 w 664845"/>
              <a:gd name="connsiteY55" fmla="*/ 574358 h 664845"/>
              <a:gd name="connsiteX56" fmla="*/ 347663 w 664845"/>
              <a:gd name="connsiteY56" fmla="*/ 543878 h 664845"/>
              <a:gd name="connsiteX57" fmla="*/ 362903 w 664845"/>
              <a:gd name="connsiteY57" fmla="*/ 528638 h 664845"/>
              <a:gd name="connsiteX58" fmla="*/ 347663 w 664845"/>
              <a:gd name="connsiteY58" fmla="*/ 513398 h 664845"/>
              <a:gd name="connsiteX59" fmla="*/ 332423 w 664845"/>
              <a:gd name="connsiteY59" fmla="*/ 528638 h 664845"/>
              <a:gd name="connsiteX60" fmla="*/ 347663 w 664845"/>
              <a:gd name="connsiteY60" fmla="*/ 543878 h 664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664845" h="664845">
                <a:moveTo>
                  <a:pt x="660083" y="321945"/>
                </a:moveTo>
                <a:lnTo>
                  <a:pt x="543878" y="204788"/>
                </a:lnTo>
                <a:lnTo>
                  <a:pt x="543878" y="45720"/>
                </a:lnTo>
                <a:cubicBezTo>
                  <a:pt x="543878" y="37148"/>
                  <a:pt x="537210" y="30480"/>
                  <a:pt x="528638" y="30480"/>
                </a:cubicBezTo>
                <a:lnTo>
                  <a:pt x="438150" y="30480"/>
                </a:lnTo>
                <a:cubicBezTo>
                  <a:pt x="429578" y="30480"/>
                  <a:pt x="422910" y="37148"/>
                  <a:pt x="422910" y="45720"/>
                </a:cubicBezTo>
                <a:lnTo>
                  <a:pt x="422910" y="84773"/>
                </a:lnTo>
                <a:lnTo>
                  <a:pt x="342900" y="4763"/>
                </a:lnTo>
                <a:cubicBezTo>
                  <a:pt x="340043" y="1905"/>
                  <a:pt x="336233" y="0"/>
                  <a:pt x="332423" y="0"/>
                </a:cubicBezTo>
                <a:cubicBezTo>
                  <a:pt x="328613" y="0"/>
                  <a:pt x="324803" y="1905"/>
                  <a:pt x="321945" y="4763"/>
                </a:cubicBezTo>
                <a:lnTo>
                  <a:pt x="4763" y="321945"/>
                </a:lnTo>
                <a:cubicBezTo>
                  <a:pt x="1905" y="323850"/>
                  <a:pt x="0" y="327660"/>
                  <a:pt x="0" y="332423"/>
                </a:cubicBezTo>
                <a:cubicBezTo>
                  <a:pt x="0" y="340995"/>
                  <a:pt x="6668" y="347663"/>
                  <a:pt x="15240" y="347663"/>
                </a:cubicBezTo>
                <a:cubicBezTo>
                  <a:pt x="19050" y="347663"/>
                  <a:pt x="22860" y="345758"/>
                  <a:pt x="25718" y="342900"/>
                </a:cubicBezTo>
                <a:lnTo>
                  <a:pt x="90488" y="278130"/>
                </a:lnTo>
                <a:lnTo>
                  <a:pt x="90488" y="649605"/>
                </a:lnTo>
                <a:cubicBezTo>
                  <a:pt x="90488" y="658178"/>
                  <a:pt x="97155" y="664845"/>
                  <a:pt x="105728" y="664845"/>
                </a:cubicBezTo>
                <a:lnTo>
                  <a:pt x="559118" y="664845"/>
                </a:lnTo>
                <a:cubicBezTo>
                  <a:pt x="567690" y="664845"/>
                  <a:pt x="574358" y="658178"/>
                  <a:pt x="574358" y="649605"/>
                </a:cubicBezTo>
                <a:lnTo>
                  <a:pt x="574358" y="278130"/>
                </a:lnTo>
                <a:lnTo>
                  <a:pt x="639128" y="342900"/>
                </a:lnTo>
                <a:cubicBezTo>
                  <a:pt x="641985" y="345758"/>
                  <a:pt x="645795" y="347663"/>
                  <a:pt x="649605" y="347663"/>
                </a:cubicBezTo>
                <a:cubicBezTo>
                  <a:pt x="658178" y="347663"/>
                  <a:pt x="664845" y="340995"/>
                  <a:pt x="664845" y="332423"/>
                </a:cubicBezTo>
                <a:cubicBezTo>
                  <a:pt x="664845" y="327660"/>
                  <a:pt x="662940" y="323850"/>
                  <a:pt x="660083" y="321945"/>
                </a:cubicBezTo>
                <a:close/>
                <a:moveTo>
                  <a:pt x="453390" y="60008"/>
                </a:moveTo>
                <a:lnTo>
                  <a:pt x="513398" y="60008"/>
                </a:lnTo>
                <a:lnTo>
                  <a:pt x="513398" y="174308"/>
                </a:lnTo>
                <a:lnTo>
                  <a:pt x="453390" y="114300"/>
                </a:lnTo>
                <a:lnTo>
                  <a:pt x="453390" y="60008"/>
                </a:lnTo>
                <a:close/>
                <a:moveTo>
                  <a:pt x="241935" y="634365"/>
                </a:moveTo>
                <a:lnTo>
                  <a:pt x="120968" y="634365"/>
                </a:lnTo>
                <a:lnTo>
                  <a:pt x="120968" y="603885"/>
                </a:lnTo>
                <a:lnTo>
                  <a:pt x="241935" y="603885"/>
                </a:lnTo>
                <a:lnTo>
                  <a:pt x="241935" y="634365"/>
                </a:lnTo>
                <a:close/>
                <a:moveTo>
                  <a:pt x="392430" y="634365"/>
                </a:moveTo>
                <a:lnTo>
                  <a:pt x="271463" y="634365"/>
                </a:lnTo>
                <a:lnTo>
                  <a:pt x="271463" y="392430"/>
                </a:lnTo>
                <a:lnTo>
                  <a:pt x="392430" y="392430"/>
                </a:lnTo>
                <a:lnTo>
                  <a:pt x="392430" y="634365"/>
                </a:lnTo>
                <a:close/>
                <a:moveTo>
                  <a:pt x="543878" y="634365"/>
                </a:moveTo>
                <a:lnTo>
                  <a:pt x="422910" y="634365"/>
                </a:lnTo>
                <a:lnTo>
                  <a:pt x="422910" y="603885"/>
                </a:lnTo>
                <a:lnTo>
                  <a:pt x="543878" y="603885"/>
                </a:lnTo>
                <a:lnTo>
                  <a:pt x="543878" y="634365"/>
                </a:lnTo>
                <a:close/>
                <a:moveTo>
                  <a:pt x="543878" y="574358"/>
                </a:moveTo>
                <a:lnTo>
                  <a:pt x="422910" y="574358"/>
                </a:lnTo>
                <a:lnTo>
                  <a:pt x="422910" y="377190"/>
                </a:lnTo>
                <a:cubicBezTo>
                  <a:pt x="422910" y="368618"/>
                  <a:pt x="416243" y="361950"/>
                  <a:pt x="407670" y="361950"/>
                </a:cubicBezTo>
                <a:lnTo>
                  <a:pt x="257175" y="361950"/>
                </a:lnTo>
                <a:cubicBezTo>
                  <a:pt x="248603" y="361950"/>
                  <a:pt x="241935" y="368618"/>
                  <a:pt x="241935" y="377190"/>
                </a:cubicBezTo>
                <a:lnTo>
                  <a:pt x="241935" y="573405"/>
                </a:lnTo>
                <a:lnTo>
                  <a:pt x="120968" y="573405"/>
                </a:lnTo>
                <a:lnTo>
                  <a:pt x="120968" y="247650"/>
                </a:lnTo>
                <a:lnTo>
                  <a:pt x="332423" y="36195"/>
                </a:lnTo>
                <a:lnTo>
                  <a:pt x="543878" y="247650"/>
                </a:lnTo>
                <a:lnTo>
                  <a:pt x="543878" y="574358"/>
                </a:lnTo>
                <a:close/>
                <a:moveTo>
                  <a:pt x="347663" y="543878"/>
                </a:moveTo>
                <a:cubicBezTo>
                  <a:pt x="356235" y="543878"/>
                  <a:pt x="362903" y="537210"/>
                  <a:pt x="362903" y="528638"/>
                </a:cubicBezTo>
                <a:cubicBezTo>
                  <a:pt x="362903" y="520065"/>
                  <a:pt x="356235" y="513398"/>
                  <a:pt x="347663" y="513398"/>
                </a:cubicBezTo>
                <a:cubicBezTo>
                  <a:pt x="339090" y="513398"/>
                  <a:pt x="332423" y="520065"/>
                  <a:pt x="332423" y="528638"/>
                </a:cubicBezTo>
                <a:cubicBezTo>
                  <a:pt x="332423" y="537210"/>
                  <a:pt x="339090" y="543878"/>
                  <a:pt x="347663" y="543878"/>
                </a:cubicBezTo>
                <a:close/>
              </a:path>
            </a:pathLst>
          </a:custGeom>
          <a:solidFill>
            <a:srgbClr val="26314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21" name="Gráfico 18">
            <a:extLst>
              <a:ext uri="{FF2B5EF4-FFF2-40B4-BE49-F238E27FC236}">
                <a16:creationId xmlns:a16="http://schemas.microsoft.com/office/drawing/2014/main" id="{97F84FC9-452C-4304-A123-01ED7D5C7D15}"/>
              </a:ext>
            </a:extLst>
          </p:cNvPr>
          <p:cNvSpPr/>
          <p:nvPr/>
        </p:nvSpPr>
        <p:spPr>
          <a:xfrm>
            <a:off x="5715000" y="3048000"/>
            <a:ext cx="761047" cy="761047"/>
          </a:xfrm>
          <a:custGeom>
            <a:avLst/>
            <a:gdLst>
              <a:gd name="connsiteX0" fmla="*/ 138113 w 761047"/>
              <a:gd name="connsiteY0" fmla="*/ 380048 h 761047"/>
              <a:gd name="connsiteX1" fmla="*/ 120968 w 761047"/>
              <a:gd name="connsiteY1" fmla="*/ 362903 h 761047"/>
              <a:gd name="connsiteX2" fmla="*/ 17145 w 761047"/>
              <a:gd name="connsiteY2" fmla="*/ 362903 h 761047"/>
              <a:gd name="connsiteX3" fmla="*/ 0 w 761047"/>
              <a:gd name="connsiteY3" fmla="*/ 380048 h 761047"/>
              <a:gd name="connsiteX4" fmla="*/ 17145 w 761047"/>
              <a:gd name="connsiteY4" fmla="*/ 397193 h 761047"/>
              <a:gd name="connsiteX5" fmla="*/ 120968 w 761047"/>
              <a:gd name="connsiteY5" fmla="*/ 397193 h 761047"/>
              <a:gd name="connsiteX6" fmla="*/ 138113 w 761047"/>
              <a:gd name="connsiteY6" fmla="*/ 380048 h 761047"/>
              <a:gd name="connsiteX7" fmla="*/ 184785 w 761047"/>
              <a:gd name="connsiteY7" fmla="*/ 551498 h 761047"/>
              <a:gd name="connsiteX8" fmla="*/ 111443 w 761047"/>
              <a:gd name="connsiteY8" fmla="*/ 624840 h 761047"/>
              <a:gd name="connsiteX9" fmla="*/ 111443 w 761047"/>
              <a:gd name="connsiteY9" fmla="*/ 649605 h 761047"/>
              <a:gd name="connsiteX10" fmla="*/ 136208 w 761047"/>
              <a:gd name="connsiteY10" fmla="*/ 649605 h 761047"/>
              <a:gd name="connsiteX11" fmla="*/ 209550 w 761047"/>
              <a:gd name="connsiteY11" fmla="*/ 576263 h 761047"/>
              <a:gd name="connsiteX12" fmla="*/ 209550 w 761047"/>
              <a:gd name="connsiteY12" fmla="*/ 551498 h 761047"/>
              <a:gd name="connsiteX13" fmla="*/ 184785 w 761047"/>
              <a:gd name="connsiteY13" fmla="*/ 551498 h 761047"/>
              <a:gd name="connsiteX14" fmla="*/ 380048 w 761047"/>
              <a:gd name="connsiteY14" fmla="*/ 138113 h 761047"/>
              <a:gd name="connsiteX15" fmla="*/ 397193 w 761047"/>
              <a:gd name="connsiteY15" fmla="*/ 120968 h 761047"/>
              <a:gd name="connsiteX16" fmla="*/ 397193 w 761047"/>
              <a:gd name="connsiteY16" fmla="*/ 17145 h 761047"/>
              <a:gd name="connsiteX17" fmla="*/ 380048 w 761047"/>
              <a:gd name="connsiteY17" fmla="*/ 0 h 761047"/>
              <a:gd name="connsiteX18" fmla="*/ 362903 w 761047"/>
              <a:gd name="connsiteY18" fmla="*/ 17145 h 761047"/>
              <a:gd name="connsiteX19" fmla="*/ 362903 w 761047"/>
              <a:gd name="connsiteY19" fmla="*/ 120968 h 761047"/>
              <a:gd name="connsiteX20" fmla="*/ 380048 w 761047"/>
              <a:gd name="connsiteY20" fmla="*/ 138113 h 761047"/>
              <a:gd name="connsiteX21" fmla="*/ 576263 w 761047"/>
              <a:gd name="connsiteY21" fmla="*/ 209550 h 761047"/>
              <a:gd name="connsiteX22" fmla="*/ 649605 w 761047"/>
              <a:gd name="connsiteY22" fmla="*/ 136208 h 761047"/>
              <a:gd name="connsiteX23" fmla="*/ 649605 w 761047"/>
              <a:gd name="connsiteY23" fmla="*/ 111443 h 761047"/>
              <a:gd name="connsiteX24" fmla="*/ 624840 w 761047"/>
              <a:gd name="connsiteY24" fmla="*/ 111443 h 761047"/>
              <a:gd name="connsiteX25" fmla="*/ 551498 w 761047"/>
              <a:gd name="connsiteY25" fmla="*/ 184785 h 761047"/>
              <a:gd name="connsiteX26" fmla="*/ 551498 w 761047"/>
              <a:gd name="connsiteY26" fmla="*/ 209550 h 761047"/>
              <a:gd name="connsiteX27" fmla="*/ 576263 w 761047"/>
              <a:gd name="connsiteY27" fmla="*/ 209550 h 761047"/>
              <a:gd name="connsiteX28" fmla="*/ 184785 w 761047"/>
              <a:gd name="connsiteY28" fmla="*/ 209550 h 761047"/>
              <a:gd name="connsiteX29" fmla="*/ 209550 w 761047"/>
              <a:gd name="connsiteY29" fmla="*/ 209550 h 761047"/>
              <a:gd name="connsiteX30" fmla="*/ 209550 w 761047"/>
              <a:gd name="connsiteY30" fmla="*/ 184785 h 761047"/>
              <a:gd name="connsiteX31" fmla="*/ 136208 w 761047"/>
              <a:gd name="connsiteY31" fmla="*/ 111443 h 761047"/>
              <a:gd name="connsiteX32" fmla="*/ 111443 w 761047"/>
              <a:gd name="connsiteY32" fmla="*/ 111443 h 761047"/>
              <a:gd name="connsiteX33" fmla="*/ 111443 w 761047"/>
              <a:gd name="connsiteY33" fmla="*/ 136208 h 761047"/>
              <a:gd name="connsiteX34" fmla="*/ 184785 w 761047"/>
              <a:gd name="connsiteY34" fmla="*/ 209550 h 761047"/>
              <a:gd name="connsiteX35" fmla="*/ 743903 w 761047"/>
              <a:gd name="connsiteY35" fmla="*/ 362903 h 761047"/>
              <a:gd name="connsiteX36" fmla="*/ 640080 w 761047"/>
              <a:gd name="connsiteY36" fmla="*/ 362903 h 761047"/>
              <a:gd name="connsiteX37" fmla="*/ 622935 w 761047"/>
              <a:gd name="connsiteY37" fmla="*/ 380048 h 761047"/>
              <a:gd name="connsiteX38" fmla="*/ 640080 w 761047"/>
              <a:gd name="connsiteY38" fmla="*/ 397193 h 761047"/>
              <a:gd name="connsiteX39" fmla="*/ 743903 w 761047"/>
              <a:gd name="connsiteY39" fmla="*/ 397193 h 761047"/>
              <a:gd name="connsiteX40" fmla="*/ 761048 w 761047"/>
              <a:gd name="connsiteY40" fmla="*/ 380048 h 761047"/>
              <a:gd name="connsiteX41" fmla="*/ 743903 w 761047"/>
              <a:gd name="connsiteY41" fmla="*/ 362903 h 761047"/>
              <a:gd name="connsiteX42" fmla="*/ 576263 w 761047"/>
              <a:gd name="connsiteY42" fmla="*/ 551498 h 761047"/>
              <a:gd name="connsiteX43" fmla="*/ 551498 w 761047"/>
              <a:gd name="connsiteY43" fmla="*/ 551498 h 761047"/>
              <a:gd name="connsiteX44" fmla="*/ 551498 w 761047"/>
              <a:gd name="connsiteY44" fmla="*/ 576263 h 761047"/>
              <a:gd name="connsiteX45" fmla="*/ 624840 w 761047"/>
              <a:gd name="connsiteY45" fmla="*/ 649605 h 761047"/>
              <a:gd name="connsiteX46" fmla="*/ 649605 w 761047"/>
              <a:gd name="connsiteY46" fmla="*/ 649605 h 761047"/>
              <a:gd name="connsiteX47" fmla="*/ 649605 w 761047"/>
              <a:gd name="connsiteY47" fmla="*/ 624840 h 761047"/>
              <a:gd name="connsiteX48" fmla="*/ 576263 w 761047"/>
              <a:gd name="connsiteY48" fmla="*/ 551498 h 761047"/>
              <a:gd name="connsiteX49" fmla="*/ 380048 w 761047"/>
              <a:gd name="connsiteY49" fmla="*/ 173355 h 761047"/>
              <a:gd name="connsiteX50" fmla="*/ 172403 w 761047"/>
              <a:gd name="connsiteY50" fmla="*/ 381000 h 761047"/>
              <a:gd name="connsiteX51" fmla="*/ 380048 w 761047"/>
              <a:gd name="connsiteY51" fmla="*/ 588645 h 761047"/>
              <a:gd name="connsiteX52" fmla="*/ 587693 w 761047"/>
              <a:gd name="connsiteY52" fmla="*/ 380048 h 761047"/>
              <a:gd name="connsiteX53" fmla="*/ 380048 w 761047"/>
              <a:gd name="connsiteY53" fmla="*/ 173355 h 761047"/>
              <a:gd name="connsiteX54" fmla="*/ 380048 w 761047"/>
              <a:gd name="connsiteY54" fmla="*/ 553403 h 761047"/>
              <a:gd name="connsiteX55" fmla="*/ 206693 w 761047"/>
              <a:gd name="connsiteY55" fmla="*/ 380048 h 761047"/>
              <a:gd name="connsiteX56" fmla="*/ 380048 w 761047"/>
              <a:gd name="connsiteY56" fmla="*/ 206693 h 761047"/>
              <a:gd name="connsiteX57" fmla="*/ 553403 w 761047"/>
              <a:gd name="connsiteY57" fmla="*/ 380048 h 761047"/>
              <a:gd name="connsiteX58" fmla="*/ 380048 w 761047"/>
              <a:gd name="connsiteY58" fmla="*/ 553403 h 761047"/>
              <a:gd name="connsiteX59" fmla="*/ 380048 w 761047"/>
              <a:gd name="connsiteY59" fmla="*/ 622935 h 761047"/>
              <a:gd name="connsiteX60" fmla="*/ 362903 w 761047"/>
              <a:gd name="connsiteY60" fmla="*/ 640080 h 761047"/>
              <a:gd name="connsiteX61" fmla="*/ 362903 w 761047"/>
              <a:gd name="connsiteY61" fmla="*/ 743903 h 761047"/>
              <a:gd name="connsiteX62" fmla="*/ 380048 w 761047"/>
              <a:gd name="connsiteY62" fmla="*/ 761048 h 761047"/>
              <a:gd name="connsiteX63" fmla="*/ 397193 w 761047"/>
              <a:gd name="connsiteY63" fmla="*/ 743903 h 761047"/>
              <a:gd name="connsiteX64" fmla="*/ 397193 w 761047"/>
              <a:gd name="connsiteY64" fmla="*/ 640080 h 761047"/>
              <a:gd name="connsiteX65" fmla="*/ 380048 w 761047"/>
              <a:gd name="connsiteY65" fmla="*/ 622935 h 7610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761047" h="761047">
                <a:moveTo>
                  <a:pt x="138113" y="380048"/>
                </a:moveTo>
                <a:cubicBezTo>
                  <a:pt x="138113" y="370523"/>
                  <a:pt x="130493" y="362903"/>
                  <a:pt x="120968" y="362903"/>
                </a:cubicBezTo>
                <a:lnTo>
                  <a:pt x="17145" y="362903"/>
                </a:lnTo>
                <a:cubicBezTo>
                  <a:pt x="7620" y="362903"/>
                  <a:pt x="0" y="370523"/>
                  <a:pt x="0" y="380048"/>
                </a:cubicBezTo>
                <a:cubicBezTo>
                  <a:pt x="0" y="389573"/>
                  <a:pt x="7620" y="397193"/>
                  <a:pt x="17145" y="397193"/>
                </a:cubicBezTo>
                <a:lnTo>
                  <a:pt x="120968" y="397193"/>
                </a:lnTo>
                <a:cubicBezTo>
                  <a:pt x="130493" y="398145"/>
                  <a:pt x="138113" y="389573"/>
                  <a:pt x="138113" y="380048"/>
                </a:cubicBezTo>
                <a:close/>
                <a:moveTo>
                  <a:pt x="184785" y="551498"/>
                </a:moveTo>
                <a:lnTo>
                  <a:pt x="111443" y="624840"/>
                </a:lnTo>
                <a:cubicBezTo>
                  <a:pt x="104775" y="631508"/>
                  <a:pt x="104775" y="642938"/>
                  <a:pt x="111443" y="649605"/>
                </a:cubicBezTo>
                <a:cubicBezTo>
                  <a:pt x="118110" y="656273"/>
                  <a:pt x="129540" y="656273"/>
                  <a:pt x="136208" y="649605"/>
                </a:cubicBezTo>
                <a:lnTo>
                  <a:pt x="209550" y="576263"/>
                </a:lnTo>
                <a:cubicBezTo>
                  <a:pt x="216218" y="569595"/>
                  <a:pt x="216218" y="558165"/>
                  <a:pt x="209550" y="551498"/>
                </a:cubicBezTo>
                <a:cubicBezTo>
                  <a:pt x="202883" y="544830"/>
                  <a:pt x="191453" y="544830"/>
                  <a:pt x="184785" y="551498"/>
                </a:cubicBezTo>
                <a:close/>
                <a:moveTo>
                  <a:pt x="380048" y="138113"/>
                </a:moveTo>
                <a:cubicBezTo>
                  <a:pt x="389573" y="138113"/>
                  <a:pt x="397193" y="130493"/>
                  <a:pt x="397193" y="120968"/>
                </a:cubicBezTo>
                <a:lnTo>
                  <a:pt x="397193" y="17145"/>
                </a:lnTo>
                <a:cubicBezTo>
                  <a:pt x="397193" y="7620"/>
                  <a:pt x="389573" y="0"/>
                  <a:pt x="380048" y="0"/>
                </a:cubicBezTo>
                <a:cubicBezTo>
                  <a:pt x="370523" y="0"/>
                  <a:pt x="362903" y="7620"/>
                  <a:pt x="362903" y="17145"/>
                </a:cubicBezTo>
                <a:lnTo>
                  <a:pt x="362903" y="120968"/>
                </a:lnTo>
                <a:cubicBezTo>
                  <a:pt x="362903" y="130493"/>
                  <a:pt x="370523" y="138113"/>
                  <a:pt x="380048" y="138113"/>
                </a:cubicBezTo>
                <a:close/>
                <a:moveTo>
                  <a:pt x="576263" y="209550"/>
                </a:moveTo>
                <a:lnTo>
                  <a:pt x="649605" y="136208"/>
                </a:lnTo>
                <a:cubicBezTo>
                  <a:pt x="656273" y="129540"/>
                  <a:pt x="656273" y="118110"/>
                  <a:pt x="649605" y="111443"/>
                </a:cubicBezTo>
                <a:cubicBezTo>
                  <a:pt x="642938" y="104775"/>
                  <a:pt x="631508" y="104775"/>
                  <a:pt x="624840" y="111443"/>
                </a:cubicBezTo>
                <a:lnTo>
                  <a:pt x="551498" y="184785"/>
                </a:lnTo>
                <a:cubicBezTo>
                  <a:pt x="544830" y="191453"/>
                  <a:pt x="544830" y="202883"/>
                  <a:pt x="551498" y="209550"/>
                </a:cubicBezTo>
                <a:cubicBezTo>
                  <a:pt x="558165" y="216218"/>
                  <a:pt x="569595" y="216218"/>
                  <a:pt x="576263" y="209550"/>
                </a:cubicBezTo>
                <a:close/>
                <a:moveTo>
                  <a:pt x="184785" y="209550"/>
                </a:moveTo>
                <a:cubicBezTo>
                  <a:pt x="191453" y="216218"/>
                  <a:pt x="202883" y="216218"/>
                  <a:pt x="209550" y="209550"/>
                </a:cubicBezTo>
                <a:cubicBezTo>
                  <a:pt x="216218" y="202883"/>
                  <a:pt x="216218" y="191453"/>
                  <a:pt x="209550" y="184785"/>
                </a:cubicBezTo>
                <a:lnTo>
                  <a:pt x="136208" y="111443"/>
                </a:lnTo>
                <a:cubicBezTo>
                  <a:pt x="129540" y="104775"/>
                  <a:pt x="118110" y="104775"/>
                  <a:pt x="111443" y="111443"/>
                </a:cubicBezTo>
                <a:cubicBezTo>
                  <a:pt x="104775" y="118110"/>
                  <a:pt x="104775" y="129540"/>
                  <a:pt x="111443" y="136208"/>
                </a:cubicBezTo>
                <a:lnTo>
                  <a:pt x="184785" y="209550"/>
                </a:lnTo>
                <a:close/>
                <a:moveTo>
                  <a:pt x="743903" y="362903"/>
                </a:moveTo>
                <a:lnTo>
                  <a:pt x="640080" y="362903"/>
                </a:lnTo>
                <a:cubicBezTo>
                  <a:pt x="630555" y="362903"/>
                  <a:pt x="622935" y="370523"/>
                  <a:pt x="622935" y="380048"/>
                </a:cubicBezTo>
                <a:cubicBezTo>
                  <a:pt x="622935" y="389573"/>
                  <a:pt x="630555" y="397193"/>
                  <a:pt x="640080" y="397193"/>
                </a:cubicBezTo>
                <a:lnTo>
                  <a:pt x="743903" y="397193"/>
                </a:lnTo>
                <a:cubicBezTo>
                  <a:pt x="753428" y="397193"/>
                  <a:pt x="761048" y="389573"/>
                  <a:pt x="761048" y="380048"/>
                </a:cubicBezTo>
                <a:cubicBezTo>
                  <a:pt x="761048" y="370523"/>
                  <a:pt x="753428" y="362903"/>
                  <a:pt x="743903" y="362903"/>
                </a:cubicBezTo>
                <a:close/>
                <a:moveTo>
                  <a:pt x="576263" y="551498"/>
                </a:moveTo>
                <a:cubicBezTo>
                  <a:pt x="569595" y="544830"/>
                  <a:pt x="558165" y="544830"/>
                  <a:pt x="551498" y="551498"/>
                </a:cubicBezTo>
                <a:cubicBezTo>
                  <a:pt x="544830" y="558165"/>
                  <a:pt x="544830" y="569595"/>
                  <a:pt x="551498" y="576263"/>
                </a:cubicBezTo>
                <a:lnTo>
                  <a:pt x="624840" y="649605"/>
                </a:lnTo>
                <a:cubicBezTo>
                  <a:pt x="631508" y="656273"/>
                  <a:pt x="642938" y="656273"/>
                  <a:pt x="649605" y="649605"/>
                </a:cubicBezTo>
                <a:cubicBezTo>
                  <a:pt x="656273" y="642938"/>
                  <a:pt x="656273" y="631508"/>
                  <a:pt x="649605" y="624840"/>
                </a:cubicBezTo>
                <a:lnTo>
                  <a:pt x="576263" y="551498"/>
                </a:lnTo>
                <a:close/>
                <a:moveTo>
                  <a:pt x="380048" y="173355"/>
                </a:moveTo>
                <a:cubicBezTo>
                  <a:pt x="265748" y="173355"/>
                  <a:pt x="172403" y="266700"/>
                  <a:pt x="172403" y="381000"/>
                </a:cubicBezTo>
                <a:cubicBezTo>
                  <a:pt x="172403" y="495300"/>
                  <a:pt x="265748" y="588645"/>
                  <a:pt x="380048" y="588645"/>
                </a:cubicBezTo>
                <a:cubicBezTo>
                  <a:pt x="494348" y="588645"/>
                  <a:pt x="587693" y="495300"/>
                  <a:pt x="587693" y="380048"/>
                </a:cubicBezTo>
                <a:cubicBezTo>
                  <a:pt x="587693" y="265748"/>
                  <a:pt x="495300" y="173355"/>
                  <a:pt x="380048" y="173355"/>
                </a:cubicBezTo>
                <a:close/>
                <a:moveTo>
                  <a:pt x="380048" y="553403"/>
                </a:moveTo>
                <a:cubicBezTo>
                  <a:pt x="284798" y="553403"/>
                  <a:pt x="206693" y="476250"/>
                  <a:pt x="206693" y="380048"/>
                </a:cubicBezTo>
                <a:cubicBezTo>
                  <a:pt x="206693" y="284798"/>
                  <a:pt x="283845" y="206693"/>
                  <a:pt x="380048" y="206693"/>
                </a:cubicBezTo>
                <a:cubicBezTo>
                  <a:pt x="476250" y="206693"/>
                  <a:pt x="553403" y="283845"/>
                  <a:pt x="553403" y="380048"/>
                </a:cubicBezTo>
                <a:cubicBezTo>
                  <a:pt x="553403" y="476250"/>
                  <a:pt x="476250" y="553403"/>
                  <a:pt x="380048" y="553403"/>
                </a:cubicBezTo>
                <a:close/>
                <a:moveTo>
                  <a:pt x="380048" y="622935"/>
                </a:moveTo>
                <a:cubicBezTo>
                  <a:pt x="370523" y="622935"/>
                  <a:pt x="362903" y="630555"/>
                  <a:pt x="362903" y="640080"/>
                </a:cubicBezTo>
                <a:lnTo>
                  <a:pt x="362903" y="743903"/>
                </a:lnTo>
                <a:cubicBezTo>
                  <a:pt x="362903" y="753428"/>
                  <a:pt x="370523" y="761048"/>
                  <a:pt x="380048" y="761048"/>
                </a:cubicBezTo>
                <a:cubicBezTo>
                  <a:pt x="389573" y="761048"/>
                  <a:pt x="397193" y="753428"/>
                  <a:pt x="397193" y="743903"/>
                </a:cubicBezTo>
                <a:lnTo>
                  <a:pt x="397193" y="640080"/>
                </a:lnTo>
                <a:cubicBezTo>
                  <a:pt x="398145" y="630555"/>
                  <a:pt x="389573" y="622935"/>
                  <a:pt x="380048" y="622935"/>
                </a:cubicBezTo>
                <a:close/>
              </a:path>
            </a:pathLst>
          </a:custGeom>
          <a:solidFill>
            <a:srgbClr val="26314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23" name="Gráfico 20">
            <a:extLst>
              <a:ext uri="{FF2B5EF4-FFF2-40B4-BE49-F238E27FC236}">
                <a16:creationId xmlns:a16="http://schemas.microsoft.com/office/drawing/2014/main" id="{6A6E672F-F710-4F1D-A0E2-F0ABA024BB60}"/>
              </a:ext>
            </a:extLst>
          </p:cNvPr>
          <p:cNvSpPr/>
          <p:nvPr/>
        </p:nvSpPr>
        <p:spPr>
          <a:xfrm>
            <a:off x="9437209" y="3119437"/>
            <a:ext cx="753427" cy="616267"/>
          </a:xfrm>
          <a:custGeom>
            <a:avLst/>
            <a:gdLst>
              <a:gd name="connsiteX0" fmla="*/ 171450 w 753427"/>
              <a:gd name="connsiteY0" fmla="*/ 341948 h 616267"/>
              <a:gd name="connsiteX1" fmla="*/ 68580 w 753427"/>
              <a:gd name="connsiteY1" fmla="*/ 444818 h 616267"/>
              <a:gd name="connsiteX2" fmla="*/ 85725 w 753427"/>
              <a:gd name="connsiteY2" fmla="*/ 461963 h 616267"/>
              <a:gd name="connsiteX3" fmla="*/ 102870 w 753427"/>
              <a:gd name="connsiteY3" fmla="*/ 444818 h 616267"/>
              <a:gd name="connsiteX4" fmla="*/ 171450 w 753427"/>
              <a:gd name="connsiteY4" fmla="*/ 376238 h 616267"/>
              <a:gd name="connsiteX5" fmla="*/ 188595 w 753427"/>
              <a:gd name="connsiteY5" fmla="*/ 359093 h 616267"/>
              <a:gd name="connsiteX6" fmla="*/ 171450 w 753427"/>
              <a:gd name="connsiteY6" fmla="*/ 341948 h 616267"/>
              <a:gd name="connsiteX7" fmla="*/ 581978 w 753427"/>
              <a:gd name="connsiteY7" fmla="*/ 341948 h 616267"/>
              <a:gd name="connsiteX8" fmla="*/ 479108 w 753427"/>
              <a:gd name="connsiteY8" fmla="*/ 444818 h 616267"/>
              <a:gd name="connsiteX9" fmla="*/ 496253 w 753427"/>
              <a:gd name="connsiteY9" fmla="*/ 461963 h 616267"/>
              <a:gd name="connsiteX10" fmla="*/ 513398 w 753427"/>
              <a:gd name="connsiteY10" fmla="*/ 444818 h 616267"/>
              <a:gd name="connsiteX11" fmla="*/ 581978 w 753427"/>
              <a:gd name="connsiteY11" fmla="*/ 376238 h 616267"/>
              <a:gd name="connsiteX12" fmla="*/ 599123 w 753427"/>
              <a:gd name="connsiteY12" fmla="*/ 359093 h 616267"/>
              <a:gd name="connsiteX13" fmla="*/ 581978 w 753427"/>
              <a:gd name="connsiteY13" fmla="*/ 341948 h 616267"/>
              <a:gd name="connsiteX14" fmla="*/ 735330 w 753427"/>
              <a:gd name="connsiteY14" fmla="*/ 370523 h 616267"/>
              <a:gd name="connsiteX15" fmla="*/ 610553 w 753427"/>
              <a:gd name="connsiteY15" fmla="*/ 68580 h 616267"/>
              <a:gd name="connsiteX16" fmla="*/ 610553 w 753427"/>
              <a:gd name="connsiteY16" fmla="*/ 68580 h 616267"/>
              <a:gd name="connsiteX17" fmla="*/ 513398 w 753427"/>
              <a:gd name="connsiteY17" fmla="*/ 0 h 616267"/>
              <a:gd name="connsiteX18" fmla="*/ 410528 w 753427"/>
              <a:gd name="connsiteY18" fmla="*/ 102870 h 616267"/>
              <a:gd name="connsiteX19" fmla="*/ 341948 w 753427"/>
              <a:gd name="connsiteY19" fmla="*/ 102870 h 616267"/>
              <a:gd name="connsiteX20" fmla="*/ 239078 w 753427"/>
              <a:gd name="connsiteY20" fmla="*/ 0 h 616267"/>
              <a:gd name="connsiteX21" fmla="*/ 142875 w 753427"/>
              <a:gd name="connsiteY21" fmla="*/ 68580 h 616267"/>
              <a:gd name="connsiteX22" fmla="*/ 142875 w 753427"/>
              <a:gd name="connsiteY22" fmla="*/ 68580 h 616267"/>
              <a:gd name="connsiteX23" fmla="*/ 17145 w 753427"/>
              <a:gd name="connsiteY23" fmla="*/ 370523 h 616267"/>
              <a:gd name="connsiteX24" fmla="*/ 0 w 753427"/>
              <a:gd name="connsiteY24" fmla="*/ 444818 h 616267"/>
              <a:gd name="connsiteX25" fmla="*/ 171450 w 753427"/>
              <a:gd name="connsiteY25" fmla="*/ 616268 h 616267"/>
              <a:gd name="connsiteX26" fmla="*/ 339090 w 753427"/>
              <a:gd name="connsiteY26" fmla="*/ 479108 h 616267"/>
              <a:gd name="connsiteX27" fmla="*/ 414338 w 753427"/>
              <a:gd name="connsiteY27" fmla="*/ 479108 h 616267"/>
              <a:gd name="connsiteX28" fmla="*/ 581978 w 753427"/>
              <a:gd name="connsiteY28" fmla="*/ 616268 h 616267"/>
              <a:gd name="connsiteX29" fmla="*/ 753428 w 753427"/>
              <a:gd name="connsiteY29" fmla="*/ 444818 h 616267"/>
              <a:gd name="connsiteX30" fmla="*/ 735330 w 753427"/>
              <a:gd name="connsiteY30" fmla="*/ 370523 h 616267"/>
              <a:gd name="connsiteX31" fmla="*/ 171450 w 753427"/>
              <a:gd name="connsiteY31" fmla="*/ 581978 h 616267"/>
              <a:gd name="connsiteX32" fmla="*/ 34290 w 753427"/>
              <a:gd name="connsiteY32" fmla="*/ 444818 h 616267"/>
              <a:gd name="connsiteX33" fmla="*/ 171450 w 753427"/>
              <a:gd name="connsiteY33" fmla="*/ 307658 h 616267"/>
              <a:gd name="connsiteX34" fmla="*/ 308610 w 753427"/>
              <a:gd name="connsiteY34" fmla="*/ 444818 h 616267"/>
              <a:gd name="connsiteX35" fmla="*/ 171450 w 753427"/>
              <a:gd name="connsiteY35" fmla="*/ 581978 h 616267"/>
              <a:gd name="connsiteX36" fmla="*/ 307658 w 753427"/>
              <a:gd name="connsiteY36" fmla="*/ 342900 h 616267"/>
              <a:gd name="connsiteX37" fmla="*/ 170498 w 753427"/>
              <a:gd name="connsiteY37" fmla="*/ 274320 h 616267"/>
              <a:gd name="connsiteX38" fmla="*/ 84773 w 753427"/>
              <a:gd name="connsiteY38" fmla="*/ 298133 h 616267"/>
              <a:gd name="connsiteX39" fmla="*/ 177165 w 753427"/>
              <a:gd name="connsiteY39" fmla="*/ 75248 h 616267"/>
              <a:gd name="connsiteX40" fmla="*/ 177165 w 753427"/>
              <a:gd name="connsiteY40" fmla="*/ 75248 h 616267"/>
              <a:gd name="connsiteX41" fmla="*/ 239078 w 753427"/>
              <a:gd name="connsiteY41" fmla="*/ 35243 h 616267"/>
              <a:gd name="connsiteX42" fmla="*/ 306705 w 753427"/>
              <a:gd name="connsiteY42" fmla="*/ 98108 h 616267"/>
              <a:gd name="connsiteX43" fmla="*/ 307658 w 753427"/>
              <a:gd name="connsiteY43" fmla="*/ 98108 h 616267"/>
              <a:gd name="connsiteX44" fmla="*/ 307658 w 753427"/>
              <a:gd name="connsiteY44" fmla="*/ 342900 h 616267"/>
              <a:gd name="connsiteX45" fmla="*/ 410528 w 753427"/>
              <a:gd name="connsiteY45" fmla="*/ 444818 h 616267"/>
              <a:gd name="connsiteX46" fmla="*/ 341948 w 753427"/>
              <a:gd name="connsiteY46" fmla="*/ 444818 h 616267"/>
              <a:gd name="connsiteX47" fmla="*/ 341948 w 753427"/>
              <a:gd name="connsiteY47" fmla="*/ 410528 h 616267"/>
              <a:gd name="connsiteX48" fmla="*/ 410528 w 753427"/>
              <a:gd name="connsiteY48" fmla="*/ 410528 h 616267"/>
              <a:gd name="connsiteX49" fmla="*/ 410528 w 753427"/>
              <a:gd name="connsiteY49" fmla="*/ 444818 h 616267"/>
              <a:gd name="connsiteX50" fmla="*/ 410528 w 753427"/>
              <a:gd name="connsiteY50" fmla="*/ 376238 h 616267"/>
              <a:gd name="connsiteX51" fmla="*/ 341948 w 753427"/>
              <a:gd name="connsiteY51" fmla="*/ 376238 h 616267"/>
              <a:gd name="connsiteX52" fmla="*/ 341948 w 753427"/>
              <a:gd name="connsiteY52" fmla="*/ 137160 h 616267"/>
              <a:gd name="connsiteX53" fmla="*/ 410528 w 753427"/>
              <a:gd name="connsiteY53" fmla="*/ 137160 h 616267"/>
              <a:gd name="connsiteX54" fmla="*/ 410528 w 753427"/>
              <a:gd name="connsiteY54" fmla="*/ 376238 h 616267"/>
              <a:gd name="connsiteX55" fmla="*/ 444818 w 753427"/>
              <a:gd name="connsiteY55" fmla="*/ 97155 h 616267"/>
              <a:gd name="connsiteX56" fmla="*/ 444818 w 753427"/>
              <a:gd name="connsiteY56" fmla="*/ 97155 h 616267"/>
              <a:gd name="connsiteX57" fmla="*/ 513398 w 753427"/>
              <a:gd name="connsiteY57" fmla="*/ 34290 h 616267"/>
              <a:gd name="connsiteX58" fmla="*/ 575310 w 753427"/>
              <a:gd name="connsiteY58" fmla="*/ 74295 h 616267"/>
              <a:gd name="connsiteX59" fmla="*/ 575310 w 753427"/>
              <a:gd name="connsiteY59" fmla="*/ 74295 h 616267"/>
              <a:gd name="connsiteX60" fmla="*/ 667703 w 753427"/>
              <a:gd name="connsiteY60" fmla="*/ 297180 h 616267"/>
              <a:gd name="connsiteX61" fmla="*/ 581978 w 753427"/>
              <a:gd name="connsiteY61" fmla="*/ 273368 h 616267"/>
              <a:gd name="connsiteX62" fmla="*/ 444818 w 753427"/>
              <a:gd name="connsiteY62" fmla="*/ 341948 h 616267"/>
              <a:gd name="connsiteX63" fmla="*/ 444818 w 753427"/>
              <a:gd name="connsiteY63" fmla="*/ 97155 h 616267"/>
              <a:gd name="connsiteX64" fmla="*/ 581978 w 753427"/>
              <a:gd name="connsiteY64" fmla="*/ 581978 h 616267"/>
              <a:gd name="connsiteX65" fmla="*/ 444818 w 753427"/>
              <a:gd name="connsiteY65" fmla="*/ 444818 h 616267"/>
              <a:gd name="connsiteX66" fmla="*/ 581978 w 753427"/>
              <a:gd name="connsiteY66" fmla="*/ 307658 h 616267"/>
              <a:gd name="connsiteX67" fmla="*/ 719138 w 753427"/>
              <a:gd name="connsiteY67" fmla="*/ 444818 h 616267"/>
              <a:gd name="connsiteX68" fmla="*/ 581978 w 753427"/>
              <a:gd name="connsiteY68" fmla="*/ 581978 h 6162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753427" h="616267">
                <a:moveTo>
                  <a:pt x="171450" y="341948"/>
                </a:moveTo>
                <a:cubicBezTo>
                  <a:pt x="114300" y="341948"/>
                  <a:pt x="68580" y="387668"/>
                  <a:pt x="68580" y="444818"/>
                </a:cubicBezTo>
                <a:cubicBezTo>
                  <a:pt x="68580" y="454343"/>
                  <a:pt x="76200" y="461963"/>
                  <a:pt x="85725" y="461963"/>
                </a:cubicBezTo>
                <a:cubicBezTo>
                  <a:pt x="95250" y="461963"/>
                  <a:pt x="102870" y="454343"/>
                  <a:pt x="102870" y="444818"/>
                </a:cubicBezTo>
                <a:cubicBezTo>
                  <a:pt x="102870" y="406718"/>
                  <a:pt x="133350" y="376238"/>
                  <a:pt x="171450" y="376238"/>
                </a:cubicBezTo>
                <a:cubicBezTo>
                  <a:pt x="180975" y="376238"/>
                  <a:pt x="188595" y="368618"/>
                  <a:pt x="188595" y="359093"/>
                </a:cubicBezTo>
                <a:cubicBezTo>
                  <a:pt x="188595" y="349568"/>
                  <a:pt x="180975" y="341948"/>
                  <a:pt x="171450" y="341948"/>
                </a:cubicBezTo>
                <a:close/>
                <a:moveTo>
                  <a:pt x="581978" y="341948"/>
                </a:moveTo>
                <a:cubicBezTo>
                  <a:pt x="524828" y="341948"/>
                  <a:pt x="479108" y="387668"/>
                  <a:pt x="479108" y="444818"/>
                </a:cubicBezTo>
                <a:cubicBezTo>
                  <a:pt x="479108" y="454343"/>
                  <a:pt x="486728" y="461963"/>
                  <a:pt x="496253" y="461963"/>
                </a:cubicBezTo>
                <a:cubicBezTo>
                  <a:pt x="505778" y="461963"/>
                  <a:pt x="513398" y="454343"/>
                  <a:pt x="513398" y="444818"/>
                </a:cubicBezTo>
                <a:cubicBezTo>
                  <a:pt x="513398" y="406718"/>
                  <a:pt x="543878" y="376238"/>
                  <a:pt x="581978" y="376238"/>
                </a:cubicBezTo>
                <a:cubicBezTo>
                  <a:pt x="591503" y="376238"/>
                  <a:pt x="599123" y="368618"/>
                  <a:pt x="599123" y="359093"/>
                </a:cubicBezTo>
                <a:cubicBezTo>
                  <a:pt x="599123" y="349568"/>
                  <a:pt x="591503" y="341948"/>
                  <a:pt x="581978" y="341948"/>
                </a:cubicBezTo>
                <a:close/>
                <a:moveTo>
                  <a:pt x="735330" y="370523"/>
                </a:moveTo>
                <a:lnTo>
                  <a:pt x="610553" y="68580"/>
                </a:lnTo>
                <a:lnTo>
                  <a:pt x="610553" y="68580"/>
                </a:lnTo>
                <a:cubicBezTo>
                  <a:pt x="595313" y="28575"/>
                  <a:pt x="558165" y="0"/>
                  <a:pt x="513398" y="0"/>
                </a:cubicBezTo>
                <a:cubicBezTo>
                  <a:pt x="456248" y="0"/>
                  <a:pt x="410528" y="45720"/>
                  <a:pt x="410528" y="102870"/>
                </a:cubicBezTo>
                <a:lnTo>
                  <a:pt x="341948" y="102870"/>
                </a:lnTo>
                <a:cubicBezTo>
                  <a:pt x="341948" y="45720"/>
                  <a:pt x="296228" y="0"/>
                  <a:pt x="239078" y="0"/>
                </a:cubicBezTo>
                <a:cubicBezTo>
                  <a:pt x="195263" y="0"/>
                  <a:pt x="157163" y="28575"/>
                  <a:pt x="142875" y="68580"/>
                </a:cubicBezTo>
                <a:lnTo>
                  <a:pt x="142875" y="68580"/>
                </a:lnTo>
                <a:lnTo>
                  <a:pt x="17145" y="370523"/>
                </a:lnTo>
                <a:cubicBezTo>
                  <a:pt x="5715" y="393383"/>
                  <a:pt x="0" y="418148"/>
                  <a:pt x="0" y="444818"/>
                </a:cubicBezTo>
                <a:cubicBezTo>
                  <a:pt x="0" y="539115"/>
                  <a:pt x="76200" y="616268"/>
                  <a:pt x="171450" y="616268"/>
                </a:cubicBezTo>
                <a:cubicBezTo>
                  <a:pt x="254318" y="616268"/>
                  <a:pt x="322898" y="557213"/>
                  <a:pt x="339090" y="479108"/>
                </a:cubicBezTo>
                <a:lnTo>
                  <a:pt x="414338" y="479108"/>
                </a:lnTo>
                <a:cubicBezTo>
                  <a:pt x="430530" y="557213"/>
                  <a:pt x="499110" y="616268"/>
                  <a:pt x="581978" y="616268"/>
                </a:cubicBezTo>
                <a:cubicBezTo>
                  <a:pt x="676275" y="616268"/>
                  <a:pt x="753428" y="540068"/>
                  <a:pt x="753428" y="444818"/>
                </a:cubicBezTo>
                <a:cubicBezTo>
                  <a:pt x="752475" y="418148"/>
                  <a:pt x="746760" y="392430"/>
                  <a:pt x="735330" y="370523"/>
                </a:cubicBezTo>
                <a:close/>
                <a:moveTo>
                  <a:pt x="171450" y="581978"/>
                </a:moveTo>
                <a:cubicBezTo>
                  <a:pt x="96203" y="581978"/>
                  <a:pt x="34290" y="521018"/>
                  <a:pt x="34290" y="444818"/>
                </a:cubicBezTo>
                <a:cubicBezTo>
                  <a:pt x="34290" y="368618"/>
                  <a:pt x="95250" y="307658"/>
                  <a:pt x="171450" y="307658"/>
                </a:cubicBezTo>
                <a:cubicBezTo>
                  <a:pt x="247650" y="307658"/>
                  <a:pt x="308610" y="368618"/>
                  <a:pt x="308610" y="444818"/>
                </a:cubicBezTo>
                <a:cubicBezTo>
                  <a:pt x="308610" y="521018"/>
                  <a:pt x="246698" y="581978"/>
                  <a:pt x="171450" y="581978"/>
                </a:cubicBezTo>
                <a:close/>
                <a:moveTo>
                  <a:pt x="307658" y="342900"/>
                </a:moveTo>
                <a:cubicBezTo>
                  <a:pt x="276225" y="300990"/>
                  <a:pt x="226695" y="274320"/>
                  <a:pt x="170498" y="274320"/>
                </a:cubicBezTo>
                <a:cubicBezTo>
                  <a:pt x="139065" y="274320"/>
                  <a:pt x="109538" y="282893"/>
                  <a:pt x="84773" y="298133"/>
                </a:cubicBezTo>
                <a:lnTo>
                  <a:pt x="177165" y="75248"/>
                </a:lnTo>
                <a:lnTo>
                  <a:pt x="177165" y="75248"/>
                </a:lnTo>
                <a:cubicBezTo>
                  <a:pt x="187643" y="51435"/>
                  <a:pt x="211455" y="35243"/>
                  <a:pt x="239078" y="35243"/>
                </a:cubicBezTo>
                <a:cubicBezTo>
                  <a:pt x="275273" y="35243"/>
                  <a:pt x="303848" y="62865"/>
                  <a:pt x="306705" y="98108"/>
                </a:cubicBezTo>
                <a:lnTo>
                  <a:pt x="307658" y="98108"/>
                </a:lnTo>
                <a:lnTo>
                  <a:pt x="307658" y="342900"/>
                </a:lnTo>
                <a:close/>
                <a:moveTo>
                  <a:pt x="410528" y="444818"/>
                </a:moveTo>
                <a:lnTo>
                  <a:pt x="341948" y="444818"/>
                </a:lnTo>
                <a:lnTo>
                  <a:pt x="341948" y="410528"/>
                </a:lnTo>
                <a:lnTo>
                  <a:pt x="410528" y="410528"/>
                </a:lnTo>
                <a:lnTo>
                  <a:pt x="410528" y="444818"/>
                </a:lnTo>
                <a:close/>
                <a:moveTo>
                  <a:pt x="410528" y="376238"/>
                </a:moveTo>
                <a:lnTo>
                  <a:pt x="341948" y="376238"/>
                </a:lnTo>
                <a:lnTo>
                  <a:pt x="341948" y="137160"/>
                </a:lnTo>
                <a:lnTo>
                  <a:pt x="410528" y="137160"/>
                </a:lnTo>
                <a:lnTo>
                  <a:pt x="410528" y="376238"/>
                </a:lnTo>
                <a:close/>
                <a:moveTo>
                  <a:pt x="444818" y="97155"/>
                </a:moveTo>
                <a:lnTo>
                  <a:pt x="444818" y="97155"/>
                </a:lnTo>
                <a:cubicBezTo>
                  <a:pt x="448628" y="61913"/>
                  <a:pt x="477203" y="34290"/>
                  <a:pt x="513398" y="34290"/>
                </a:cubicBezTo>
                <a:cubicBezTo>
                  <a:pt x="541020" y="34290"/>
                  <a:pt x="564833" y="50483"/>
                  <a:pt x="575310" y="74295"/>
                </a:cubicBezTo>
                <a:lnTo>
                  <a:pt x="575310" y="74295"/>
                </a:lnTo>
                <a:lnTo>
                  <a:pt x="667703" y="297180"/>
                </a:lnTo>
                <a:cubicBezTo>
                  <a:pt x="641985" y="281940"/>
                  <a:pt x="613410" y="273368"/>
                  <a:pt x="581978" y="273368"/>
                </a:cubicBezTo>
                <a:cubicBezTo>
                  <a:pt x="525780" y="273368"/>
                  <a:pt x="476250" y="300038"/>
                  <a:pt x="444818" y="341948"/>
                </a:cubicBezTo>
                <a:lnTo>
                  <a:pt x="444818" y="97155"/>
                </a:lnTo>
                <a:close/>
                <a:moveTo>
                  <a:pt x="581978" y="581978"/>
                </a:moveTo>
                <a:cubicBezTo>
                  <a:pt x="506730" y="581978"/>
                  <a:pt x="444818" y="521018"/>
                  <a:pt x="444818" y="444818"/>
                </a:cubicBezTo>
                <a:cubicBezTo>
                  <a:pt x="444818" y="368618"/>
                  <a:pt x="505778" y="307658"/>
                  <a:pt x="581978" y="307658"/>
                </a:cubicBezTo>
                <a:cubicBezTo>
                  <a:pt x="658178" y="307658"/>
                  <a:pt x="719138" y="368618"/>
                  <a:pt x="719138" y="444818"/>
                </a:cubicBezTo>
                <a:cubicBezTo>
                  <a:pt x="719138" y="521018"/>
                  <a:pt x="657225" y="581978"/>
                  <a:pt x="581978" y="581978"/>
                </a:cubicBezTo>
                <a:close/>
              </a:path>
            </a:pathLst>
          </a:custGeom>
          <a:solidFill>
            <a:srgbClr val="26314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6501142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Espaço Reservado para Imagem 4" descr="Quarto com cama de solteiro&#10;&#10;Descrição gerada automaticamente">
            <a:extLst>
              <a:ext uri="{FF2B5EF4-FFF2-40B4-BE49-F238E27FC236}">
                <a16:creationId xmlns:a16="http://schemas.microsoft.com/office/drawing/2014/main" id="{068B50FD-B847-4FF1-AF35-383D2740B434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8" name="Espaço Reservado para Conteúdo 7">
            <a:extLst>
              <a:ext uri="{FF2B5EF4-FFF2-40B4-BE49-F238E27FC236}">
                <a16:creationId xmlns:a16="http://schemas.microsoft.com/office/drawing/2014/main" id="{745B1F6A-140C-4145-BB9A-4CCCD54751A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pt-BR" dirty="0"/>
              <a:t>Inserir texto descritivo</a:t>
            </a:r>
          </a:p>
        </p:txBody>
      </p:sp>
      <p:sp>
        <p:nvSpPr>
          <p:cNvPr id="9" name="Espaço Reservado para Conteúdo 8">
            <a:extLst>
              <a:ext uri="{FF2B5EF4-FFF2-40B4-BE49-F238E27FC236}">
                <a16:creationId xmlns:a16="http://schemas.microsoft.com/office/drawing/2014/main" id="{C588A9E9-2C40-4E82-8FAF-970D1CB2C073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pt-BR" dirty="0"/>
              <a:t>Inserir texto descritivo</a:t>
            </a:r>
          </a:p>
        </p:txBody>
      </p:sp>
      <p:sp>
        <p:nvSpPr>
          <p:cNvPr id="10" name="Espaço Reservado para Conteúdo 9">
            <a:extLst>
              <a:ext uri="{FF2B5EF4-FFF2-40B4-BE49-F238E27FC236}">
                <a16:creationId xmlns:a16="http://schemas.microsoft.com/office/drawing/2014/main" id="{C1640778-C742-4860-85EA-E60E1E93A22D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pt-BR" dirty="0"/>
              <a:t>Inserir texto descritivo</a:t>
            </a:r>
          </a:p>
        </p:txBody>
      </p:sp>
      <p:sp>
        <p:nvSpPr>
          <p:cNvPr id="11" name="Espaço Reservado para Conteúdo 10">
            <a:extLst>
              <a:ext uri="{FF2B5EF4-FFF2-40B4-BE49-F238E27FC236}">
                <a16:creationId xmlns:a16="http://schemas.microsoft.com/office/drawing/2014/main" id="{7620E960-2DDF-46F6-A71E-8A357FB4B39E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pt-BR" dirty="0"/>
              <a:t>Inserir texto descritivo</a:t>
            </a:r>
          </a:p>
        </p:txBody>
      </p:sp>
      <p:sp>
        <p:nvSpPr>
          <p:cNvPr id="13" name="Elipse 12">
            <a:extLst>
              <a:ext uri="{FF2B5EF4-FFF2-40B4-BE49-F238E27FC236}">
                <a16:creationId xmlns:a16="http://schemas.microsoft.com/office/drawing/2014/main" id="{C1D5D9A6-70DD-474D-8586-C158A8B01F60}"/>
              </a:ext>
            </a:extLst>
          </p:cNvPr>
          <p:cNvSpPr/>
          <p:nvPr/>
        </p:nvSpPr>
        <p:spPr>
          <a:xfrm>
            <a:off x="876299" y="2673350"/>
            <a:ext cx="1511300" cy="1511300"/>
          </a:xfrm>
          <a:prstGeom prst="ellipse">
            <a:avLst/>
          </a:prstGeom>
          <a:solidFill>
            <a:srgbClr val="D6D6CE"/>
          </a:solidFill>
          <a:ln w="57150">
            <a:solidFill>
              <a:srgbClr val="263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Elipse 14">
            <a:extLst>
              <a:ext uri="{FF2B5EF4-FFF2-40B4-BE49-F238E27FC236}">
                <a16:creationId xmlns:a16="http://schemas.microsoft.com/office/drawing/2014/main" id="{2A1A22A9-1BA8-45B6-B996-B0C69A9747AD}"/>
              </a:ext>
            </a:extLst>
          </p:cNvPr>
          <p:cNvSpPr/>
          <p:nvPr/>
        </p:nvSpPr>
        <p:spPr>
          <a:xfrm>
            <a:off x="3852333" y="2673350"/>
            <a:ext cx="1511300" cy="1511300"/>
          </a:xfrm>
          <a:prstGeom prst="ellipse">
            <a:avLst/>
          </a:prstGeom>
          <a:solidFill>
            <a:srgbClr val="D6D6CE"/>
          </a:solidFill>
          <a:ln w="57150">
            <a:solidFill>
              <a:srgbClr val="263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id="{3FC58041-CF14-4197-8EF8-AC51E18B29C1}"/>
              </a:ext>
            </a:extLst>
          </p:cNvPr>
          <p:cNvSpPr/>
          <p:nvPr/>
        </p:nvSpPr>
        <p:spPr>
          <a:xfrm>
            <a:off x="6828367" y="2673350"/>
            <a:ext cx="1511300" cy="1511300"/>
          </a:xfrm>
          <a:prstGeom prst="ellipse">
            <a:avLst/>
          </a:prstGeom>
          <a:solidFill>
            <a:srgbClr val="D6D6CE"/>
          </a:solidFill>
          <a:ln w="57150">
            <a:solidFill>
              <a:srgbClr val="263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9" name="Elipse 18">
            <a:extLst>
              <a:ext uri="{FF2B5EF4-FFF2-40B4-BE49-F238E27FC236}">
                <a16:creationId xmlns:a16="http://schemas.microsoft.com/office/drawing/2014/main" id="{7F255272-F16C-4CE7-9B99-CE38F7F49B15}"/>
              </a:ext>
            </a:extLst>
          </p:cNvPr>
          <p:cNvSpPr/>
          <p:nvPr/>
        </p:nvSpPr>
        <p:spPr>
          <a:xfrm>
            <a:off x="9804400" y="2673350"/>
            <a:ext cx="1511300" cy="1511300"/>
          </a:xfrm>
          <a:prstGeom prst="ellipse">
            <a:avLst/>
          </a:prstGeom>
          <a:solidFill>
            <a:srgbClr val="D6D6CE"/>
          </a:solidFill>
          <a:ln w="57150">
            <a:solidFill>
              <a:srgbClr val="263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grpSp>
        <p:nvGrpSpPr>
          <p:cNvPr id="20" name="Gráfico 17">
            <a:extLst>
              <a:ext uri="{FF2B5EF4-FFF2-40B4-BE49-F238E27FC236}">
                <a16:creationId xmlns:a16="http://schemas.microsoft.com/office/drawing/2014/main" id="{F748AA77-770E-4986-BEA9-6D894C5F5CFA}"/>
              </a:ext>
            </a:extLst>
          </p:cNvPr>
          <p:cNvGrpSpPr/>
          <p:nvPr/>
        </p:nvGrpSpPr>
        <p:grpSpPr>
          <a:xfrm>
            <a:off x="1342520" y="3098798"/>
            <a:ext cx="578858" cy="622301"/>
            <a:chOff x="4395787" y="1600200"/>
            <a:chExt cx="3401377" cy="3656647"/>
          </a:xfrm>
          <a:solidFill>
            <a:srgbClr val="263143"/>
          </a:solidFill>
        </p:grpSpPr>
        <p:sp>
          <p:nvSpPr>
            <p:cNvPr id="21" name="Forma Livre: Forma 20">
              <a:extLst>
                <a:ext uri="{FF2B5EF4-FFF2-40B4-BE49-F238E27FC236}">
                  <a16:creationId xmlns:a16="http://schemas.microsoft.com/office/drawing/2014/main" id="{0CF3C0CF-E6C0-421A-92FA-6F0957577B78}"/>
                </a:ext>
              </a:extLst>
            </p:cNvPr>
            <p:cNvSpPr/>
            <p:nvPr/>
          </p:nvSpPr>
          <p:spPr>
            <a:xfrm>
              <a:off x="6830377" y="2005012"/>
              <a:ext cx="507682" cy="506729"/>
            </a:xfrm>
            <a:custGeom>
              <a:avLst/>
              <a:gdLst>
                <a:gd name="connsiteX0" fmla="*/ 71438 w 507682"/>
                <a:gd name="connsiteY0" fmla="*/ 506730 h 506729"/>
                <a:gd name="connsiteX1" fmla="*/ 436245 w 507682"/>
                <a:gd name="connsiteY1" fmla="*/ 506730 h 506729"/>
                <a:gd name="connsiteX2" fmla="*/ 507682 w 507682"/>
                <a:gd name="connsiteY2" fmla="*/ 435292 h 506729"/>
                <a:gd name="connsiteX3" fmla="*/ 507682 w 507682"/>
                <a:gd name="connsiteY3" fmla="*/ 71438 h 506729"/>
                <a:gd name="connsiteX4" fmla="*/ 436245 w 507682"/>
                <a:gd name="connsiteY4" fmla="*/ 0 h 506729"/>
                <a:gd name="connsiteX5" fmla="*/ 71438 w 507682"/>
                <a:gd name="connsiteY5" fmla="*/ 0 h 506729"/>
                <a:gd name="connsiteX6" fmla="*/ 0 w 507682"/>
                <a:gd name="connsiteY6" fmla="*/ 71438 h 506729"/>
                <a:gd name="connsiteX7" fmla="*/ 0 w 507682"/>
                <a:gd name="connsiteY7" fmla="*/ 436245 h 506729"/>
                <a:gd name="connsiteX8" fmla="*/ 71438 w 507682"/>
                <a:gd name="connsiteY8" fmla="*/ 506730 h 506729"/>
                <a:gd name="connsiteX9" fmla="*/ 71438 w 507682"/>
                <a:gd name="connsiteY9" fmla="*/ 506730 h 506729"/>
                <a:gd name="connsiteX10" fmla="*/ 142875 w 507682"/>
                <a:gd name="connsiteY10" fmla="*/ 142875 h 506729"/>
                <a:gd name="connsiteX11" fmla="*/ 364807 w 507682"/>
                <a:gd name="connsiteY11" fmla="*/ 142875 h 506729"/>
                <a:gd name="connsiteX12" fmla="*/ 364807 w 507682"/>
                <a:gd name="connsiteY12" fmla="*/ 364808 h 506729"/>
                <a:gd name="connsiteX13" fmla="*/ 142875 w 507682"/>
                <a:gd name="connsiteY13" fmla="*/ 364808 h 506729"/>
                <a:gd name="connsiteX14" fmla="*/ 142875 w 507682"/>
                <a:gd name="connsiteY14" fmla="*/ 142875 h 506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07682" h="506729">
                  <a:moveTo>
                    <a:pt x="71438" y="506730"/>
                  </a:moveTo>
                  <a:lnTo>
                    <a:pt x="436245" y="506730"/>
                  </a:lnTo>
                  <a:cubicBezTo>
                    <a:pt x="475297" y="506730"/>
                    <a:pt x="507682" y="474345"/>
                    <a:pt x="507682" y="435292"/>
                  </a:cubicBezTo>
                  <a:lnTo>
                    <a:pt x="507682" y="71438"/>
                  </a:lnTo>
                  <a:cubicBezTo>
                    <a:pt x="507682" y="32385"/>
                    <a:pt x="475297" y="0"/>
                    <a:pt x="436245" y="0"/>
                  </a:cubicBezTo>
                  <a:lnTo>
                    <a:pt x="71438" y="0"/>
                  </a:lnTo>
                  <a:cubicBezTo>
                    <a:pt x="32385" y="0"/>
                    <a:pt x="0" y="32385"/>
                    <a:pt x="0" y="71438"/>
                  </a:cubicBezTo>
                  <a:lnTo>
                    <a:pt x="0" y="436245"/>
                  </a:lnTo>
                  <a:cubicBezTo>
                    <a:pt x="0" y="475298"/>
                    <a:pt x="32385" y="506730"/>
                    <a:pt x="71438" y="506730"/>
                  </a:cubicBezTo>
                  <a:lnTo>
                    <a:pt x="71438" y="506730"/>
                  </a:lnTo>
                  <a:close/>
                  <a:moveTo>
                    <a:pt x="142875" y="142875"/>
                  </a:moveTo>
                  <a:lnTo>
                    <a:pt x="364807" y="142875"/>
                  </a:lnTo>
                  <a:lnTo>
                    <a:pt x="364807" y="364808"/>
                  </a:lnTo>
                  <a:lnTo>
                    <a:pt x="142875" y="364808"/>
                  </a:lnTo>
                  <a:lnTo>
                    <a:pt x="142875" y="14287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2" name="Forma Livre: Forma 21">
              <a:extLst>
                <a:ext uri="{FF2B5EF4-FFF2-40B4-BE49-F238E27FC236}">
                  <a16:creationId xmlns:a16="http://schemas.microsoft.com/office/drawing/2014/main" id="{1AC298C1-CC44-4687-B0DA-E7B33C214F94}"/>
                </a:ext>
              </a:extLst>
            </p:cNvPr>
            <p:cNvSpPr/>
            <p:nvPr/>
          </p:nvSpPr>
          <p:spPr>
            <a:xfrm>
              <a:off x="6830377" y="2753677"/>
              <a:ext cx="507682" cy="507682"/>
            </a:xfrm>
            <a:custGeom>
              <a:avLst/>
              <a:gdLst>
                <a:gd name="connsiteX0" fmla="*/ 71438 w 507682"/>
                <a:gd name="connsiteY0" fmla="*/ 507682 h 507682"/>
                <a:gd name="connsiteX1" fmla="*/ 436245 w 507682"/>
                <a:gd name="connsiteY1" fmla="*/ 507682 h 507682"/>
                <a:gd name="connsiteX2" fmla="*/ 507682 w 507682"/>
                <a:gd name="connsiteY2" fmla="*/ 436245 h 507682"/>
                <a:gd name="connsiteX3" fmla="*/ 507682 w 507682"/>
                <a:gd name="connsiteY3" fmla="*/ 71438 h 507682"/>
                <a:gd name="connsiteX4" fmla="*/ 436245 w 507682"/>
                <a:gd name="connsiteY4" fmla="*/ 0 h 507682"/>
                <a:gd name="connsiteX5" fmla="*/ 71438 w 507682"/>
                <a:gd name="connsiteY5" fmla="*/ 0 h 507682"/>
                <a:gd name="connsiteX6" fmla="*/ 0 w 507682"/>
                <a:gd name="connsiteY6" fmla="*/ 71438 h 507682"/>
                <a:gd name="connsiteX7" fmla="*/ 0 w 507682"/>
                <a:gd name="connsiteY7" fmla="*/ 436245 h 507682"/>
                <a:gd name="connsiteX8" fmla="*/ 71438 w 507682"/>
                <a:gd name="connsiteY8" fmla="*/ 507682 h 507682"/>
                <a:gd name="connsiteX9" fmla="*/ 71438 w 507682"/>
                <a:gd name="connsiteY9" fmla="*/ 507682 h 507682"/>
                <a:gd name="connsiteX10" fmla="*/ 142875 w 507682"/>
                <a:gd name="connsiteY10" fmla="*/ 142875 h 507682"/>
                <a:gd name="connsiteX11" fmla="*/ 364807 w 507682"/>
                <a:gd name="connsiteY11" fmla="*/ 142875 h 507682"/>
                <a:gd name="connsiteX12" fmla="*/ 364807 w 507682"/>
                <a:gd name="connsiteY12" fmla="*/ 364807 h 507682"/>
                <a:gd name="connsiteX13" fmla="*/ 142875 w 507682"/>
                <a:gd name="connsiteY13" fmla="*/ 364807 h 507682"/>
                <a:gd name="connsiteX14" fmla="*/ 142875 w 507682"/>
                <a:gd name="connsiteY14" fmla="*/ 142875 h 507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07682" h="507682">
                  <a:moveTo>
                    <a:pt x="71438" y="507682"/>
                  </a:moveTo>
                  <a:lnTo>
                    <a:pt x="436245" y="507682"/>
                  </a:lnTo>
                  <a:cubicBezTo>
                    <a:pt x="475297" y="507682"/>
                    <a:pt x="507682" y="475298"/>
                    <a:pt x="507682" y="436245"/>
                  </a:cubicBezTo>
                  <a:lnTo>
                    <a:pt x="507682" y="71438"/>
                  </a:lnTo>
                  <a:cubicBezTo>
                    <a:pt x="507682" y="32385"/>
                    <a:pt x="475297" y="0"/>
                    <a:pt x="436245" y="0"/>
                  </a:cubicBezTo>
                  <a:lnTo>
                    <a:pt x="71438" y="0"/>
                  </a:lnTo>
                  <a:cubicBezTo>
                    <a:pt x="32385" y="0"/>
                    <a:pt x="0" y="32385"/>
                    <a:pt x="0" y="71438"/>
                  </a:cubicBezTo>
                  <a:lnTo>
                    <a:pt x="0" y="436245"/>
                  </a:lnTo>
                  <a:cubicBezTo>
                    <a:pt x="0" y="475298"/>
                    <a:pt x="32385" y="507682"/>
                    <a:pt x="71438" y="507682"/>
                  </a:cubicBezTo>
                  <a:lnTo>
                    <a:pt x="71438" y="507682"/>
                  </a:lnTo>
                  <a:close/>
                  <a:moveTo>
                    <a:pt x="142875" y="142875"/>
                  </a:moveTo>
                  <a:lnTo>
                    <a:pt x="364807" y="142875"/>
                  </a:lnTo>
                  <a:lnTo>
                    <a:pt x="364807" y="364807"/>
                  </a:lnTo>
                  <a:lnTo>
                    <a:pt x="142875" y="364807"/>
                  </a:lnTo>
                  <a:lnTo>
                    <a:pt x="142875" y="14287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3" name="Forma Livre: Forma 22">
              <a:extLst>
                <a:ext uri="{FF2B5EF4-FFF2-40B4-BE49-F238E27FC236}">
                  <a16:creationId xmlns:a16="http://schemas.microsoft.com/office/drawing/2014/main" id="{5FD7E9EA-C430-4C6E-A1BF-D8E78C8DA7EE}"/>
                </a:ext>
              </a:extLst>
            </p:cNvPr>
            <p:cNvSpPr/>
            <p:nvPr/>
          </p:nvSpPr>
          <p:spPr>
            <a:xfrm>
              <a:off x="6830377" y="3503295"/>
              <a:ext cx="507682" cy="507682"/>
            </a:xfrm>
            <a:custGeom>
              <a:avLst/>
              <a:gdLst>
                <a:gd name="connsiteX0" fmla="*/ 71438 w 507682"/>
                <a:gd name="connsiteY0" fmla="*/ 507683 h 507682"/>
                <a:gd name="connsiteX1" fmla="*/ 436245 w 507682"/>
                <a:gd name="connsiteY1" fmla="*/ 507683 h 507682"/>
                <a:gd name="connsiteX2" fmla="*/ 507682 w 507682"/>
                <a:gd name="connsiteY2" fmla="*/ 436245 h 507682"/>
                <a:gd name="connsiteX3" fmla="*/ 507682 w 507682"/>
                <a:gd name="connsiteY3" fmla="*/ 71438 h 507682"/>
                <a:gd name="connsiteX4" fmla="*/ 436245 w 507682"/>
                <a:gd name="connsiteY4" fmla="*/ 0 h 507682"/>
                <a:gd name="connsiteX5" fmla="*/ 71438 w 507682"/>
                <a:gd name="connsiteY5" fmla="*/ 0 h 507682"/>
                <a:gd name="connsiteX6" fmla="*/ 0 w 507682"/>
                <a:gd name="connsiteY6" fmla="*/ 71438 h 507682"/>
                <a:gd name="connsiteX7" fmla="*/ 0 w 507682"/>
                <a:gd name="connsiteY7" fmla="*/ 436245 h 507682"/>
                <a:gd name="connsiteX8" fmla="*/ 71438 w 507682"/>
                <a:gd name="connsiteY8" fmla="*/ 507683 h 507682"/>
                <a:gd name="connsiteX9" fmla="*/ 71438 w 507682"/>
                <a:gd name="connsiteY9" fmla="*/ 507683 h 507682"/>
                <a:gd name="connsiteX10" fmla="*/ 142875 w 507682"/>
                <a:gd name="connsiteY10" fmla="*/ 142875 h 507682"/>
                <a:gd name="connsiteX11" fmla="*/ 364807 w 507682"/>
                <a:gd name="connsiteY11" fmla="*/ 142875 h 507682"/>
                <a:gd name="connsiteX12" fmla="*/ 364807 w 507682"/>
                <a:gd name="connsiteY12" fmla="*/ 364808 h 507682"/>
                <a:gd name="connsiteX13" fmla="*/ 142875 w 507682"/>
                <a:gd name="connsiteY13" fmla="*/ 364808 h 507682"/>
                <a:gd name="connsiteX14" fmla="*/ 142875 w 507682"/>
                <a:gd name="connsiteY14" fmla="*/ 142875 h 507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07682" h="507682">
                  <a:moveTo>
                    <a:pt x="71438" y="507683"/>
                  </a:moveTo>
                  <a:lnTo>
                    <a:pt x="436245" y="507683"/>
                  </a:lnTo>
                  <a:cubicBezTo>
                    <a:pt x="475297" y="507683"/>
                    <a:pt x="507682" y="475297"/>
                    <a:pt x="507682" y="436245"/>
                  </a:cubicBezTo>
                  <a:lnTo>
                    <a:pt x="507682" y="71438"/>
                  </a:lnTo>
                  <a:cubicBezTo>
                    <a:pt x="507682" y="32385"/>
                    <a:pt x="475297" y="0"/>
                    <a:pt x="436245" y="0"/>
                  </a:cubicBezTo>
                  <a:lnTo>
                    <a:pt x="71438" y="0"/>
                  </a:lnTo>
                  <a:cubicBezTo>
                    <a:pt x="32385" y="0"/>
                    <a:pt x="0" y="32385"/>
                    <a:pt x="0" y="71438"/>
                  </a:cubicBezTo>
                  <a:lnTo>
                    <a:pt x="0" y="436245"/>
                  </a:lnTo>
                  <a:cubicBezTo>
                    <a:pt x="0" y="475297"/>
                    <a:pt x="32385" y="507683"/>
                    <a:pt x="71438" y="507683"/>
                  </a:cubicBezTo>
                  <a:lnTo>
                    <a:pt x="71438" y="507683"/>
                  </a:lnTo>
                  <a:close/>
                  <a:moveTo>
                    <a:pt x="142875" y="142875"/>
                  </a:moveTo>
                  <a:lnTo>
                    <a:pt x="364807" y="142875"/>
                  </a:lnTo>
                  <a:lnTo>
                    <a:pt x="364807" y="364808"/>
                  </a:lnTo>
                  <a:lnTo>
                    <a:pt x="142875" y="364808"/>
                  </a:lnTo>
                  <a:lnTo>
                    <a:pt x="142875" y="14287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4" name="Forma Livre: Forma 23">
              <a:extLst>
                <a:ext uri="{FF2B5EF4-FFF2-40B4-BE49-F238E27FC236}">
                  <a16:creationId xmlns:a16="http://schemas.microsoft.com/office/drawing/2014/main" id="{2DEC8D43-AF48-4590-850D-C6E8FCCDB3DA}"/>
                </a:ext>
              </a:extLst>
            </p:cNvPr>
            <p:cNvSpPr/>
            <p:nvPr/>
          </p:nvSpPr>
          <p:spPr>
            <a:xfrm>
              <a:off x="4854892" y="2753677"/>
              <a:ext cx="507682" cy="507682"/>
            </a:xfrm>
            <a:custGeom>
              <a:avLst/>
              <a:gdLst>
                <a:gd name="connsiteX0" fmla="*/ 71438 w 507682"/>
                <a:gd name="connsiteY0" fmla="*/ 507682 h 507682"/>
                <a:gd name="connsiteX1" fmla="*/ 436245 w 507682"/>
                <a:gd name="connsiteY1" fmla="*/ 507682 h 507682"/>
                <a:gd name="connsiteX2" fmla="*/ 507683 w 507682"/>
                <a:gd name="connsiteY2" fmla="*/ 436245 h 507682"/>
                <a:gd name="connsiteX3" fmla="*/ 507683 w 507682"/>
                <a:gd name="connsiteY3" fmla="*/ 71438 h 507682"/>
                <a:gd name="connsiteX4" fmla="*/ 436245 w 507682"/>
                <a:gd name="connsiteY4" fmla="*/ 0 h 507682"/>
                <a:gd name="connsiteX5" fmla="*/ 71438 w 507682"/>
                <a:gd name="connsiteY5" fmla="*/ 0 h 507682"/>
                <a:gd name="connsiteX6" fmla="*/ 0 w 507682"/>
                <a:gd name="connsiteY6" fmla="*/ 71438 h 507682"/>
                <a:gd name="connsiteX7" fmla="*/ 0 w 507682"/>
                <a:gd name="connsiteY7" fmla="*/ 436245 h 507682"/>
                <a:gd name="connsiteX8" fmla="*/ 71438 w 507682"/>
                <a:gd name="connsiteY8" fmla="*/ 507682 h 507682"/>
                <a:gd name="connsiteX9" fmla="*/ 71438 w 507682"/>
                <a:gd name="connsiteY9" fmla="*/ 507682 h 507682"/>
                <a:gd name="connsiteX10" fmla="*/ 142875 w 507682"/>
                <a:gd name="connsiteY10" fmla="*/ 142875 h 507682"/>
                <a:gd name="connsiteX11" fmla="*/ 364808 w 507682"/>
                <a:gd name="connsiteY11" fmla="*/ 142875 h 507682"/>
                <a:gd name="connsiteX12" fmla="*/ 364808 w 507682"/>
                <a:gd name="connsiteY12" fmla="*/ 364807 h 507682"/>
                <a:gd name="connsiteX13" fmla="*/ 142875 w 507682"/>
                <a:gd name="connsiteY13" fmla="*/ 364807 h 507682"/>
                <a:gd name="connsiteX14" fmla="*/ 142875 w 507682"/>
                <a:gd name="connsiteY14" fmla="*/ 142875 h 507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07682" h="507682">
                  <a:moveTo>
                    <a:pt x="71438" y="507682"/>
                  </a:moveTo>
                  <a:lnTo>
                    <a:pt x="436245" y="507682"/>
                  </a:lnTo>
                  <a:cubicBezTo>
                    <a:pt x="475297" y="507682"/>
                    <a:pt x="507683" y="475298"/>
                    <a:pt x="507683" y="436245"/>
                  </a:cubicBezTo>
                  <a:lnTo>
                    <a:pt x="507683" y="71438"/>
                  </a:lnTo>
                  <a:cubicBezTo>
                    <a:pt x="507683" y="32385"/>
                    <a:pt x="475297" y="0"/>
                    <a:pt x="436245" y="0"/>
                  </a:cubicBezTo>
                  <a:lnTo>
                    <a:pt x="71438" y="0"/>
                  </a:lnTo>
                  <a:cubicBezTo>
                    <a:pt x="32385" y="0"/>
                    <a:pt x="0" y="32385"/>
                    <a:pt x="0" y="71438"/>
                  </a:cubicBezTo>
                  <a:lnTo>
                    <a:pt x="0" y="436245"/>
                  </a:lnTo>
                  <a:cubicBezTo>
                    <a:pt x="0" y="475298"/>
                    <a:pt x="32385" y="507682"/>
                    <a:pt x="71438" y="507682"/>
                  </a:cubicBezTo>
                  <a:lnTo>
                    <a:pt x="71438" y="507682"/>
                  </a:lnTo>
                  <a:close/>
                  <a:moveTo>
                    <a:pt x="142875" y="142875"/>
                  </a:moveTo>
                  <a:lnTo>
                    <a:pt x="364808" y="142875"/>
                  </a:lnTo>
                  <a:lnTo>
                    <a:pt x="364808" y="364807"/>
                  </a:lnTo>
                  <a:lnTo>
                    <a:pt x="142875" y="364807"/>
                  </a:lnTo>
                  <a:lnTo>
                    <a:pt x="142875" y="14287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5" name="Forma Livre: Forma 24">
              <a:extLst>
                <a:ext uri="{FF2B5EF4-FFF2-40B4-BE49-F238E27FC236}">
                  <a16:creationId xmlns:a16="http://schemas.microsoft.com/office/drawing/2014/main" id="{C5F2968D-5B84-4F3E-84C8-EDFA70500768}"/>
                </a:ext>
              </a:extLst>
            </p:cNvPr>
            <p:cNvSpPr/>
            <p:nvPr/>
          </p:nvSpPr>
          <p:spPr>
            <a:xfrm>
              <a:off x="5548312" y="2753677"/>
              <a:ext cx="507682" cy="507682"/>
            </a:xfrm>
            <a:custGeom>
              <a:avLst/>
              <a:gdLst>
                <a:gd name="connsiteX0" fmla="*/ 71438 w 507682"/>
                <a:gd name="connsiteY0" fmla="*/ 507682 h 507682"/>
                <a:gd name="connsiteX1" fmla="*/ 436245 w 507682"/>
                <a:gd name="connsiteY1" fmla="*/ 507682 h 507682"/>
                <a:gd name="connsiteX2" fmla="*/ 507683 w 507682"/>
                <a:gd name="connsiteY2" fmla="*/ 436245 h 507682"/>
                <a:gd name="connsiteX3" fmla="*/ 507683 w 507682"/>
                <a:gd name="connsiteY3" fmla="*/ 71438 h 507682"/>
                <a:gd name="connsiteX4" fmla="*/ 436245 w 507682"/>
                <a:gd name="connsiteY4" fmla="*/ 0 h 507682"/>
                <a:gd name="connsiteX5" fmla="*/ 71438 w 507682"/>
                <a:gd name="connsiteY5" fmla="*/ 0 h 507682"/>
                <a:gd name="connsiteX6" fmla="*/ 0 w 507682"/>
                <a:gd name="connsiteY6" fmla="*/ 71438 h 507682"/>
                <a:gd name="connsiteX7" fmla="*/ 0 w 507682"/>
                <a:gd name="connsiteY7" fmla="*/ 436245 h 507682"/>
                <a:gd name="connsiteX8" fmla="*/ 71438 w 507682"/>
                <a:gd name="connsiteY8" fmla="*/ 507682 h 507682"/>
                <a:gd name="connsiteX9" fmla="*/ 71438 w 507682"/>
                <a:gd name="connsiteY9" fmla="*/ 507682 h 507682"/>
                <a:gd name="connsiteX10" fmla="*/ 142875 w 507682"/>
                <a:gd name="connsiteY10" fmla="*/ 142875 h 507682"/>
                <a:gd name="connsiteX11" fmla="*/ 364808 w 507682"/>
                <a:gd name="connsiteY11" fmla="*/ 142875 h 507682"/>
                <a:gd name="connsiteX12" fmla="*/ 364808 w 507682"/>
                <a:gd name="connsiteY12" fmla="*/ 364807 h 507682"/>
                <a:gd name="connsiteX13" fmla="*/ 142875 w 507682"/>
                <a:gd name="connsiteY13" fmla="*/ 364807 h 507682"/>
                <a:gd name="connsiteX14" fmla="*/ 142875 w 507682"/>
                <a:gd name="connsiteY14" fmla="*/ 142875 h 507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07682" h="507682">
                  <a:moveTo>
                    <a:pt x="71438" y="507682"/>
                  </a:moveTo>
                  <a:lnTo>
                    <a:pt x="436245" y="507682"/>
                  </a:lnTo>
                  <a:cubicBezTo>
                    <a:pt x="475297" y="507682"/>
                    <a:pt x="507683" y="475298"/>
                    <a:pt x="507683" y="436245"/>
                  </a:cubicBezTo>
                  <a:lnTo>
                    <a:pt x="507683" y="71438"/>
                  </a:lnTo>
                  <a:cubicBezTo>
                    <a:pt x="507683" y="32385"/>
                    <a:pt x="475297" y="0"/>
                    <a:pt x="436245" y="0"/>
                  </a:cubicBezTo>
                  <a:lnTo>
                    <a:pt x="71438" y="0"/>
                  </a:lnTo>
                  <a:cubicBezTo>
                    <a:pt x="32385" y="0"/>
                    <a:pt x="0" y="32385"/>
                    <a:pt x="0" y="71438"/>
                  </a:cubicBezTo>
                  <a:lnTo>
                    <a:pt x="0" y="436245"/>
                  </a:lnTo>
                  <a:cubicBezTo>
                    <a:pt x="0" y="475298"/>
                    <a:pt x="32385" y="507682"/>
                    <a:pt x="71438" y="507682"/>
                  </a:cubicBezTo>
                  <a:lnTo>
                    <a:pt x="71438" y="507682"/>
                  </a:lnTo>
                  <a:close/>
                  <a:moveTo>
                    <a:pt x="142875" y="142875"/>
                  </a:moveTo>
                  <a:lnTo>
                    <a:pt x="364808" y="142875"/>
                  </a:lnTo>
                  <a:lnTo>
                    <a:pt x="364808" y="364807"/>
                  </a:lnTo>
                  <a:lnTo>
                    <a:pt x="142875" y="364807"/>
                  </a:lnTo>
                  <a:lnTo>
                    <a:pt x="142875" y="14287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6" name="Forma Livre: Forma 25">
              <a:extLst>
                <a:ext uri="{FF2B5EF4-FFF2-40B4-BE49-F238E27FC236}">
                  <a16:creationId xmlns:a16="http://schemas.microsoft.com/office/drawing/2014/main" id="{A4DA6843-1F8D-44FF-B274-EA8C33E17381}"/>
                </a:ext>
              </a:extLst>
            </p:cNvPr>
            <p:cNvSpPr/>
            <p:nvPr/>
          </p:nvSpPr>
          <p:spPr>
            <a:xfrm>
              <a:off x="4854892" y="3503295"/>
              <a:ext cx="507682" cy="507682"/>
            </a:xfrm>
            <a:custGeom>
              <a:avLst/>
              <a:gdLst>
                <a:gd name="connsiteX0" fmla="*/ 436245 w 507682"/>
                <a:gd name="connsiteY0" fmla="*/ 507683 h 507682"/>
                <a:gd name="connsiteX1" fmla="*/ 507683 w 507682"/>
                <a:gd name="connsiteY1" fmla="*/ 436245 h 507682"/>
                <a:gd name="connsiteX2" fmla="*/ 507683 w 507682"/>
                <a:gd name="connsiteY2" fmla="*/ 71438 h 507682"/>
                <a:gd name="connsiteX3" fmla="*/ 436245 w 507682"/>
                <a:gd name="connsiteY3" fmla="*/ 0 h 507682"/>
                <a:gd name="connsiteX4" fmla="*/ 71438 w 507682"/>
                <a:gd name="connsiteY4" fmla="*/ 0 h 507682"/>
                <a:gd name="connsiteX5" fmla="*/ 0 w 507682"/>
                <a:gd name="connsiteY5" fmla="*/ 71438 h 507682"/>
                <a:gd name="connsiteX6" fmla="*/ 0 w 507682"/>
                <a:gd name="connsiteY6" fmla="*/ 436245 h 507682"/>
                <a:gd name="connsiteX7" fmla="*/ 71438 w 507682"/>
                <a:gd name="connsiteY7" fmla="*/ 507683 h 507682"/>
                <a:gd name="connsiteX8" fmla="*/ 436245 w 507682"/>
                <a:gd name="connsiteY8" fmla="*/ 507683 h 507682"/>
                <a:gd name="connsiteX9" fmla="*/ 142875 w 507682"/>
                <a:gd name="connsiteY9" fmla="*/ 142875 h 507682"/>
                <a:gd name="connsiteX10" fmla="*/ 364808 w 507682"/>
                <a:gd name="connsiteY10" fmla="*/ 142875 h 507682"/>
                <a:gd name="connsiteX11" fmla="*/ 364808 w 507682"/>
                <a:gd name="connsiteY11" fmla="*/ 364808 h 507682"/>
                <a:gd name="connsiteX12" fmla="*/ 142875 w 507682"/>
                <a:gd name="connsiteY12" fmla="*/ 364808 h 507682"/>
                <a:gd name="connsiteX13" fmla="*/ 142875 w 507682"/>
                <a:gd name="connsiteY13" fmla="*/ 142875 h 507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7682" h="507682">
                  <a:moveTo>
                    <a:pt x="436245" y="507683"/>
                  </a:moveTo>
                  <a:cubicBezTo>
                    <a:pt x="475297" y="507683"/>
                    <a:pt x="507683" y="475297"/>
                    <a:pt x="507683" y="436245"/>
                  </a:cubicBezTo>
                  <a:lnTo>
                    <a:pt x="507683" y="71438"/>
                  </a:lnTo>
                  <a:cubicBezTo>
                    <a:pt x="507683" y="32385"/>
                    <a:pt x="475297" y="0"/>
                    <a:pt x="436245" y="0"/>
                  </a:cubicBezTo>
                  <a:lnTo>
                    <a:pt x="71438" y="0"/>
                  </a:lnTo>
                  <a:cubicBezTo>
                    <a:pt x="32385" y="0"/>
                    <a:pt x="0" y="32385"/>
                    <a:pt x="0" y="71438"/>
                  </a:cubicBezTo>
                  <a:lnTo>
                    <a:pt x="0" y="436245"/>
                  </a:lnTo>
                  <a:cubicBezTo>
                    <a:pt x="0" y="475297"/>
                    <a:pt x="32385" y="507683"/>
                    <a:pt x="71438" y="507683"/>
                  </a:cubicBezTo>
                  <a:lnTo>
                    <a:pt x="436245" y="507683"/>
                  </a:lnTo>
                  <a:close/>
                  <a:moveTo>
                    <a:pt x="142875" y="142875"/>
                  </a:moveTo>
                  <a:lnTo>
                    <a:pt x="364808" y="142875"/>
                  </a:lnTo>
                  <a:lnTo>
                    <a:pt x="364808" y="364808"/>
                  </a:lnTo>
                  <a:lnTo>
                    <a:pt x="142875" y="364808"/>
                  </a:lnTo>
                  <a:lnTo>
                    <a:pt x="142875" y="14287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7" name="Forma Livre: Forma 26">
              <a:extLst>
                <a:ext uri="{FF2B5EF4-FFF2-40B4-BE49-F238E27FC236}">
                  <a16:creationId xmlns:a16="http://schemas.microsoft.com/office/drawing/2014/main" id="{81E960C7-BD97-4F45-995C-C5D3695D3FCC}"/>
                </a:ext>
              </a:extLst>
            </p:cNvPr>
            <p:cNvSpPr/>
            <p:nvPr/>
          </p:nvSpPr>
          <p:spPr>
            <a:xfrm>
              <a:off x="5548312" y="3503295"/>
              <a:ext cx="507682" cy="507682"/>
            </a:xfrm>
            <a:custGeom>
              <a:avLst/>
              <a:gdLst>
                <a:gd name="connsiteX0" fmla="*/ 71438 w 507682"/>
                <a:gd name="connsiteY0" fmla="*/ 507683 h 507682"/>
                <a:gd name="connsiteX1" fmla="*/ 436245 w 507682"/>
                <a:gd name="connsiteY1" fmla="*/ 507683 h 507682"/>
                <a:gd name="connsiteX2" fmla="*/ 507683 w 507682"/>
                <a:gd name="connsiteY2" fmla="*/ 436245 h 507682"/>
                <a:gd name="connsiteX3" fmla="*/ 507683 w 507682"/>
                <a:gd name="connsiteY3" fmla="*/ 71438 h 507682"/>
                <a:gd name="connsiteX4" fmla="*/ 436245 w 507682"/>
                <a:gd name="connsiteY4" fmla="*/ 0 h 507682"/>
                <a:gd name="connsiteX5" fmla="*/ 71438 w 507682"/>
                <a:gd name="connsiteY5" fmla="*/ 0 h 507682"/>
                <a:gd name="connsiteX6" fmla="*/ 0 w 507682"/>
                <a:gd name="connsiteY6" fmla="*/ 71438 h 507682"/>
                <a:gd name="connsiteX7" fmla="*/ 0 w 507682"/>
                <a:gd name="connsiteY7" fmla="*/ 436245 h 507682"/>
                <a:gd name="connsiteX8" fmla="*/ 71438 w 507682"/>
                <a:gd name="connsiteY8" fmla="*/ 507683 h 507682"/>
                <a:gd name="connsiteX9" fmla="*/ 71438 w 507682"/>
                <a:gd name="connsiteY9" fmla="*/ 507683 h 507682"/>
                <a:gd name="connsiteX10" fmla="*/ 142875 w 507682"/>
                <a:gd name="connsiteY10" fmla="*/ 142875 h 507682"/>
                <a:gd name="connsiteX11" fmla="*/ 364808 w 507682"/>
                <a:gd name="connsiteY11" fmla="*/ 142875 h 507682"/>
                <a:gd name="connsiteX12" fmla="*/ 364808 w 507682"/>
                <a:gd name="connsiteY12" fmla="*/ 364808 h 507682"/>
                <a:gd name="connsiteX13" fmla="*/ 142875 w 507682"/>
                <a:gd name="connsiteY13" fmla="*/ 364808 h 507682"/>
                <a:gd name="connsiteX14" fmla="*/ 142875 w 507682"/>
                <a:gd name="connsiteY14" fmla="*/ 142875 h 507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07682" h="507682">
                  <a:moveTo>
                    <a:pt x="71438" y="507683"/>
                  </a:moveTo>
                  <a:lnTo>
                    <a:pt x="436245" y="507683"/>
                  </a:lnTo>
                  <a:cubicBezTo>
                    <a:pt x="475297" y="507683"/>
                    <a:pt x="507683" y="475297"/>
                    <a:pt x="507683" y="436245"/>
                  </a:cubicBezTo>
                  <a:lnTo>
                    <a:pt x="507683" y="71438"/>
                  </a:lnTo>
                  <a:cubicBezTo>
                    <a:pt x="507683" y="32385"/>
                    <a:pt x="475297" y="0"/>
                    <a:pt x="436245" y="0"/>
                  </a:cubicBezTo>
                  <a:lnTo>
                    <a:pt x="71438" y="0"/>
                  </a:lnTo>
                  <a:cubicBezTo>
                    <a:pt x="32385" y="0"/>
                    <a:pt x="0" y="32385"/>
                    <a:pt x="0" y="71438"/>
                  </a:cubicBezTo>
                  <a:lnTo>
                    <a:pt x="0" y="436245"/>
                  </a:lnTo>
                  <a:cubicBezTo>
                    <a:pt x="0" y="475297"/>
                    <a:pt x="32385" y="507683"/>
                    <a:pt x="71438" y="507683"/>
                  </a:cubicBezTo>
                  <a:lnTo>
                    <a:pt x="71438" y="507683"/>
                  </a:lnTo>
                  <a:close/>
                  <a:moveTo>
                    <a:pt x="142875" y="142875"/>
                  </a:moveTo>
                  <a:lnTo>
                    <a:pt x="364808" y="142875"/>
                  </a:lnTo>
                  <a:lnTo>
                    <a:pt x="364808" y="364808"/>
                  </a:lnTo>
                  <a:lnTo>
                    <a:pt x="142875" y="364808"/>
                  </a:lnTo>
                  <a:lnTo>
                    <a:pt x="142875" y="14287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8" name="Forma Livre: Forma 27">
              <a:extLst>
                <a:ext uri="{FF2B5EF4-FFF2-40B4-BE49-F238E27FC236}">
                  <a16:creationId xmlns:a16="http://schemas.microsoft.com/office/drawing/2014/main" id="{F07EED20-7A67-41BA-BC03-4268527D7684}"/>
                </a:ext>
              </a:extLst>
            </p:cNvPr>
            <p:cNvSpPr/>
            <p:nvPr/>
          </p:nvSpPr>
          <p:spPr>
            <a:xfrm>
              <a:off x="4395787" y="1600200"/>
              <a:ext cx="3401377" cy="3656647"/>
            </a:xfrm>
            <a:custGeom>
              <a:avLst/>
              <a:gdLst>
                <a:gd name="connsiteX0" fmla="*/ 3329940 w 3401377"/>
                <a:gd name="connsiteY0" fmla="*/ 3183255 h 3656647"/>
                <a:gd name="connsiteX1" fmla="*/ 3269933 w 3401377"/>
                <a:gd name="connsiteY1" fmla="*/ 3183255 h 3656647"/>
                <a:gd name="connsiteX2" fmla="*/ 3269933 w 3401377"/>
                <a:gd name="connsiteY2" fmla="*/ 71438 h 3656647"/>
                <a:gd name="connsiteX3" fmla="*/ 3198495 w 3401377"/>
                <a:gd name="connsiteY3" fmla="*/ 0 h 3656647"/>
                <a:gd name="connsiteX4" fmla="*/ 1484948 w 3401377"/>
                <a:gd name="connsiteY4" fmla="*/ 0 h 3656647"/>
                <a:gd name="connsiteX5" fmla="*/ 1413510 w 3401377"/>
                <a:gd name="connsiteY5" fmla="*/ 71438 h 3656647"/>
                <a:gd name="connsiteX6" fmla="*/ 1413510 w 3401377"/>
                <a:gd name="connsiteY6" fmla="*/ 768668 h 3656647"/>
                <a:gd name="connsiteX7" fmla="*/ 202883 w 3401377"/>
                <a:gd name="connsiteY7" fmla="*/ 768668 h 3656647"/>
                <a:gd name="connsiteX8" fmla="*/ 131445 w 3401377"/>
                <a:gd name="connsiteY8" fmla="*/ 840105 h 3656647"/>
                <a:gd name="connsiteX9" fmla="*/ 131445 w 3401377"/>
                <a:gd name="connsiteY9" fmla="*/ 3182303 h 3656647"/>
                <a:gd name="connsiteX10" fmla="*/ 71438 w 3401377"/>
                <a:gd name="connsiteY10" fmla="*/ 3182303 h 3656647"/>
                <a:gd name="connsiteX11" fmla="*/ 0 w 3401377"/>
                <a:gd name="connsiteY11" fmla="*/ 3253740 h 3656647"/>
                <a:gd name="connsiteX12" fmla="*/ 0 w 3401377"/>
                <a:gd name="connsiteY12" fmla="*/ 3585210 h 3656647"/>
                <a:gd name="connsiteX13" fmla="*/ 71438 w 3401377"/>
                <a:gd name="connsiteY13" fmla="*/ 3656648 h 3656647"/>
                <a:gd name="connsiteX14" fmla="*/ 3329940 w 3401377"/>
                <a:gd name="connsiteY14" fmla="*/ 3656648 h 3656647"/>
                <a:gd name="connsiteX15" fmla="*/ 3401378 w 3401377"/>
                <a:gd name="connsiteY15" fmla="*/ 3585210 h 3656647"/>
                <a:gd name="connsiteX16" fmla="*/ 3401378 w 3401377"/>
                <a:gd name="connsiteY16" fmla="*/ 3253740 h 3656647"/>
                <a:gd name="connsiteX17" fmla="*/ 3329940 w 3401377"/>
                <a:gd name="connsiteY17" fmla="*/ 3183255 h 3656647"/>
                <a:gd name="connsiteX18" fmla="*/ 3329940 w 3401377"/>
                <a:gd name="connsiteY18" fmla="*/ 3183255 h 3656647"/>
                <a:gd name="connsiteX19" fmla="*/ 1556385 w 3401377"/>
                <a:gd name="connsiteY19" fmla="*/ 142875 h 3656647"/>
                <a:gd name="connsiteX20" fmla="*/ 3127058 w 3401377"/>
                <a:gd name="connsiteY20" fmla="*/ 142875 h 3656647"/>
                <a:gd name="connsiteX21" fmla="*/ 3127058 w 3401377"/>
                <a:gd name="connsiteY21" fmla="*/ 3183255 h 3656647"/>
                <a:gd name="connsiteX22" fmla="*/ 2831783 w 3401377"/>
                <a:gd name="connsiteY22" fmla="*/ 3183255 h 3656647"/>
                <a:gd name="connsiteX23" fmla="*/ 2831783 w 3401377"/>
                <a:gd name="connsiteY23" fmla="*/ 3106103 h 3656647"/>
                <a:gd name="connsiteX24" fmla="*/ 2338388 w 3401377"/>
                <a:gd name="connsiteY24" fmla="*/ 2612708 h 3656647"/>
                <a:gd name="connsiteX25" fmla="*/ 1987868 w 3401377"/>
                <a:gd name="connsiteY25" fmla="*/ 2759393 h 3656647"/>
                <a:gd name="connsiteX26" fmla="*/ 1987868 w 3401377"/>
                <a:gd name="connsiteY26" fmla="*/ 2410778 h 3656647"/>
                <a:gd name="connsiteX27" fmla="*/ 2177415 w 3401377"/>
                <a:gd name="connsiteY27" fmla="*/ 2410778 h 3656647"/>
                <a:gd name="connsiteX28" fmla="*/ 2248853 w 3401377"/>
                <a:gd name="connsiteY28" fmla="*/ 2339340 h 3656647"/>
                <a:gd name="connsiteX29" fmla="*/ 2248853 w 3401377"/>
                <a:gd name="connsiteY29" fmla="*/ 1974533 h 3656647"/>
                <a:gd name="connsiteX30" fmla="*/ 2177415 w 3401377"/>
                <a:gd name="connsiteY30" fmla="*/ 1903095 h 3656647"/>
                <a:gd name="connsiteX31" fmla="*/ 1987868 w 3401377"/>
                <a:gd name="connsiteY31" fmla="*/ 1903095 h 3656647"/>
                <a:gd name="connsiteX32" fmla="*/ 1987868 w 3401377"/>
                <a:gd name="connsiteY32" fmla="*/ 1661160 h 3656647"/>
                <a:gd name="connsiteX33" fmla="*/ 2177415 w 3401377"/>
                <a:gd name="connsiteY33" fmla="*/ 1661160 h 3656647"/>
                <a:gd name="connsiteX34" fmla="*/ 2248853 w 3401377"/>
                <a:gd name="connsiteY34" fmla="*/ 1589723 h 3656647"/>
                <a:gd name="connsiteX35" fmla="*/ 2248853 w 3401377"/>
                <a:gd name="connsiteY35" fmla="*/ 1224915 h 3656647"/>
                <a:gd name="connsiteX36" fmla="*/ 2177415 w 3401377"/>
                <a:gd name="connsiteY36" fmla="*/ 1153478 h 3656647"/>
                <a:gd name="connsiteX37" fmla="*/ 1987868 w 3401377"/>
                <a:gd name="connsiteY37" fmla="*/ 1153478 h 3656647"/>
                <a:gd name="connsiteX38" fmla="*/ 1987868 w 3401377"/>
                <a:gd name="connsiteY38" fmla="*/ 911543 h 3656647"/>
                <a:gd name="connsiteX39" fmla="*/ 2177415 w 3401377"/>
                <a:gd name="connsiteY39" fmla="*/ 911543 h 3656647"/>
                <a:gd name="connsiteX40" fmla="*/ 2248853 w 3401377"/>
                <a:gd name="connsiteY40" fmla="*/ 840105 h 3656647"/>
                <a:gd name="connsiteX41" fmla="*/ 2248853 w 3401377"/>
                <a:gd name="connsiteY41" fmla="*/ 476250 h 3656647"/>
                <a:gd name="connsiteX42" fmla="*/ 2177415 w 3401377"/>
                <a:gd name="connsiteY42" fmla="*/ 404813 h 3656647"/>
                <a:gd name="connsiteX43" fmla="*/ 1812608 w 3401377"/>
                <a:gd name="connsiteY43" fmla="*/ 404813 h 3656647"/>
                <a:gd name="connsiteX44" fmla="*/ 1741170 w 3401377"/>
                <a:gd name="connsiteY44" fmla="*/ 476250 h 3656647"/>
                <a:gd name="connsiteX45" fmla="*/ 1741170 w 3401377"/>
                <a:gd name="connsiteY45" fmla="*/ 769620 h 3656647"/>
                <a:gd name="connsiteX46" fmla="*/ 1556385 w 3401377"/>
                <a:gd name="connsiteY46" fmla="*/ 769620 h 3656647"/>
                <a:gd name="connsiteX47" fmla="*/ 1556385 w 3401377"/>
                <a:gd name="connsiteY47" fmla="*/ 142875 h 3656647"/>
                <a:gd name="connsiteX48" fmla="*/ 1556385 w 3401377"/>
                <a:gd name="connsiteY48" fmla="*/ 142875 h 3656647"/>
                <a:gd name="connsiteX49" fmla="*/ 1884045 w 3401377"/>
                <a:gd name="connsiteY49" fmla="*/ 768668 h 3656647"/>
                <a:gd name="connsiteX50" fmla="*/ 1884045 w 3401377"/>
                <a:gd name="connsiteY50" fmla="*/ 547688 h 3656647"/>
                <a:gd name="connsiteX51" fmla="*/ 2105978 w 3401377"/>
                <a:gd name="connsiteY51" fmla="*/ 547688 h 3656647"/>
                <a:gd name="connsiteX52" fmla="*/ 2105978 w 3401377"/>
                <a:gd name="connsiteY52" fmla="*/ 769620 h 3656647"/>
                <a:gd name="connsiteX53" fmla="*/ 1884045 w 3401377"/>
                <a:gd name="connsiteY53" fmla="*/ 769620 h 3656647"/>
                <a:gd name="connsiteX54" fmla="*/ 1987868 w 3401377"/>
                <a:gd name="connsiteY54" fmla="*/ 1296353 h 3656647"/>
                <a:gd name="connsiteX55" fmla="*/ 2105978 w 3401377"/>
                <a:gd name="connsiteY55" fmla="*/ 1296353 h 3656647"/>
                <a:gd name="connsiteX56" fmla="*/ 2105978 w 3401377"/>
                <a:gd name="connsiteY56" fmla="*/ 1518285 h 3656647"/>
                <a:gd name="connsiteX57" fmla="*/ 1987868 w 3401377"/>
                <a:gd name="connsiteY57" fmla="*/ 1518285 h 3656647"/>
                <a:gd name="connsiteX58" fmla="*/ 1987868 w 3401377"/>
                <a:gd name="connsiteY58" fmla="*/ 1296353 h 3656647"/>
                <a:gd name="connsiteX59" fmla="*/ 1987868 w 3401377"/>
                <a:gd name="connsiteY59" fmla="*/ 2045970 h 3656647"/>
                <a:gd name="connsiteX60" fmla="*/ 2105978 w 3401377"/>
                <a:gd name="connsiteY60" fmla="*/ 2045970 h 3656647"/>
                <a:gd name="connsiteX61" fmla="*/ 2105978 w 3401377"/>
                <a:gd name="connsiteY61" fmla="*/ 2267903 h 3656647"/>
                <a:gd name="connsiteX62" fmla="*/ 1987868 w 3401377"/>
                <a:gd name="connsiteY62" fmla="*/ 2267903 h 3656647"/>
                <a:gd name="connsiteX63" fmla="*/ 1987868 w 3401377"/>
                <a:gd name="connsiteY63" fmla="*/ 2045970 h 3656647"/>
                <a:gd name="connsiteX64" fmla="*/ 1987868 w 3401377"/>
                <a:gd name="connsiteY64" fmla="*/ 3106103 h 3656647"/>
                <a:gd name="connsiteX65" fmla="*/ 2338388 w 3401377"/>
                <a:gd name="connsiteY65" fmla="*/ 2755583 h 3656647"/>
                <a:gd name="connsiteX66" fmla="*/ 2688908 w 3401377"/>
                <a:gd name="connsiteY66" fmla="*/ 3106103 h 3656647"/>
                <a:gd name="connsiteX67" fmla="*/ 2688908 w 3401377"/>
                <a:gd name="connsiteY67" fmla="*/ 3183255 h 3656647"/>
                <a:gd name="connsiteX68" fmla="*/ 1987868 w 3401377"/>
                <a:gd name="connsiteY68" fmla="*/ 3183255 h 3656647"/>
                <a:gd name="connsiteX69" fmla="*/ 1987868 w 3401377"/>
                <a:gd name="connsiteY69" fmla="*/ 3106103 h 3656647"/>
                <a:gd name="connsiteX70" fmla="*/ 1987868 w 3401377"/>
                <a:gd name="connsiteY70" fmla="*/ 3106103 h 3656647"/>
                <a:gd name="connsiteX71" fmla="*/ 274320 w 3401377"/>
                <a:gd name="connsiteY71" fmla="*/ 911543 h 3656647"/>
                <a:gd name="connsiteX72" fmla="*/ 1844993 w 3401377"/>
                <a:gd name="connsiteY72" fmla="*/ 911543 h 3656647"/>
                <a:gd name="connsiteX73" fmla="*/ 1844993 w 3401377"/>
                <a:gd name="connsiteY73" fmla="*/ 3182303 h 3656647"/>
                <a:gd name="connsiteX74" fmla="*/ 1478280 w 3401377"/>
                <a:gd name="connsiteY74" fmla="*/ 3182303 h 3656647"/>
                <a:gd name="connsiteX75" fmla="*/ 1478280 w 3401377"/>
                <a:gd name="connsiteY75" fmla="*/ 3029903 h 3656647"/>
                <a:gd name="connsiteX76" fmla="*/ 1060133 w 3401377"/>
                <a:gd name="connsiteY76" fmla="*/ 2611755 h 3656647"/>
                <a:gd name="connsiteX77" fmla="*/ 641033 w 3401377"/>
                <a:gd name="connsiteY77" fmla="*/ 3030855 h 3656647"/>
                <a:gd name="connsiteX78" fmla="*/ 641033 w 3401377"/>
                <a:gd name="connsiteY78" fmla="*/ 3183255 h 3656647"/>
                <a:gd name="connsiteX79" fmla="*/ 274320 w 3401377"/>
                <a:gd name="connsiteY79" fmla="*/ 3183255 h 3656647"/>
                <a:gd name="connsiteX80" fmla="*/ 274320 w 3401377"/>
                <a:gd name="connsiteY80" fmla="*/ 911543 h 3656647"/>
                <a:gd name="connsiteX81" fmla="*/ 1334453 w 3401377"/>
                <a:gd name="connsiteY81" fmla="*/ 3183255 h 3656647"/>
                <a:gd name="connsiteX82" fmla="*/ 783908 w 3401377"/>
                <a:gd name="connsiteY82" fmla="*/ 3183255 h 3656647"/>
                <a:gd name="connsiteX83" fmla="*/ 783908 w 3401377"/>
                <a:gd name="connsiteY83" fmla="*/ 3030855 h 3656647"/>
                <a:gd name="connsiteX84" fmla="*/ 1059180 w 3401377"/>
                <a:gd name="connsiteY84" fmla="*/ 2755583 h 3656647"/>
                <a:gd name="connsiteX85" fmla="*/ 1334453 w 3401377"/>
                <a:gd name="connsiteY85" fmla="*/ 3030855 h 3656647"/>
                <a:gd name="connsiteX86" fmla="*/ 1334453 w 3401377"/>
                <a:gd name="connsiteY86" fmla="*/ 3183255 h 3656647"/>
                <a:gd name="connsiteX87" fmla="*/ 3258503 w 3401377"/>
                <a:gd name="connsiteY87" fmla="*/ 3514725 h 3656647"/>
                <a:gd name="connsiteX88" fmla="*/ 142875 w 3401377"/>
                <a:gd name="connsiteY88" fmla="*/ 3514725 h 3656647"/>
                <a:gd name="connsiteX89" fmla="*/ 142875 w 3401377"/>
                <a:gd name="connsiteY89" fmla="*/ 3326130 h 3656647"/>
                <a:gd name="connsiteX90" fmla="*/ 3258503 w 3401377"/>
                <a:gd name="connsiteY90" fmla="*/ 3326130 h 3656647"/>
                <a:gd name="connsiteX91" fmla="*/ 3258503 w 3401377"/>
                <a:gd name="connsiteY91" fmla="*/ 3514725 h 3656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3401377" h="3656647">
                  <a:moveTo>
                    <a:pt x="3329940" y="3183255"/>
                  </a:moveTo>
                  <a:lnTo>
                    <a:pt x="3269933" y="3183255"/>
                  </a:lnTo>
                  <a:lnTo>
                    <a:pt x="3269933" y="71438"/>
                  </a:lnTo>
                  <a:cubicBezTo>
                    <a:pt x="3269933" y="32385"/>
                    <a:pt x="3237548" y="0"/>
                    <a:pt x="3198495" y="0"/>
                  </a:cubicBezTo>
                  <a:lnTo>
                    <a:pt x="1484948" y="0"/>
                  </a:lnTo>
                  <a:cubicBezTo>
                    <a:pt x="1445895" y="0"/>
                    <a:pt x="1413510" y="32385"/>
                    <a:pt x="1413510" y="71438"/>
                  </a:cubicBezTo>
                  <a:lnTo>
                    <a:pt x="1413510" y="768668"/>
                  </a:lnTo>
                  <a:lnTo>
                    <a:pt x="202883" y="768668"/>
                  </a:lnTo>
                  <a:cubicBezTo>
                    <a:pt x="163830" y="768668"/>
                    <a:pt x="131445" y="801053"/>
                    <a:pt x="131445" y="840105"/>
                  </a:cubicBezTo>
                  <a:lnTo>
                    <a:pt x="131445" y="3182303"/>
                  </a:lnTo>
                  <a:lnTo>
                    <a:pt x="71438" y="3182303"/>
                  </a:lnTo>
                  <a:cubicBezTo>
                    <a:pt x="32385" y="3182303"/>
                    <a:pt x="0" y="3214688"/>
                    <a:pt x="0" y="3253740"/>
                  </a:cubicBezTo>
                  <a:lnTo>
                    <a:pt x="0" y="3585210"/>
                  </a:lnTo>
                  <a:cubicBezTo>
                    <a:pt x="0" y="3624263"/>
                    <a:pt x="32385" y="3656648"/>
                    <a:pt x="71438" y="3656648"/>
                  </a:cubicBezTo>
                  <a:lnTo>
                    <a:pt x="3329940" y="3656648"/>
                  </a:lnTo>
                  <a:cubicBezTo>
                    <a:pt x="3368993" y="3656648"/>
                    <a:pt x="3401378" y="3624263"/>
                    <a:pt x="3401378" y="3585210"/>
                  </a:cubicBezTo>
                  <a:lnTo>
                    <a:pt x="3401378" y="3253740"/>
                  </a:lnTo>
                  <a:cubicBezTo>
                    <a:pt x="3401378" y="3214688"/>
                    <a:pt x="3368993" y="3183255"/>
                    <a:pt x="3329940" y="3183255"/>
                  </a:cubicBezTo>
                  <a:lnTo>
                    <a:pt x="3329940" y="3183255"/>
                  </a:lnTo>
                  <a:close/>
                  <a:moveTo>
                    <a:pt x="1556385" y="142875"/>
                  </a:moveTo>
                  <a:lnTo>
                    <a:pt x="3127058" y="142875"/>
                  </a:lnTo>
                  <a:lnTo>
                    <a:pt x="3127058" y="3183255"/>
                  </a:lnTo>
                  <a:lnTo>
                    <a:pt x="2831783" y="3183255"/>
                  </a:lnTo>
                  <a:lnTo>
                    <a:pt x="2831783" y="3106103"/>
                  </a:lnTo>
                  <a:cubicBezTo>
                    <a:pt x="2831783" y="2833688"/>
                    <a:pt x="2610803" y="2612708"/>
                    <a:pt x="2338388" y="2612708"/>
                  </a:cubicBezTo>
                  <a:cubicBezTo>
                    <a:pt x="2201228" y="2612708"/>
                    <a:pt x="2077403" y="2668905"/>
                    <a:pt x="1987868" y="2759393"/>
                  </a:cubicBezTo>
                  <a:lnTo>
                    <a:pt x="1987868" y="2410778"/>
                  </a:lnTo>
                  <a:lnTo>
                    <a:pt x="2177415" y="2410778"/>
                  </a:lnTo>
                  <a:cubicBezTo>
                    <a:pt x="2216468" y="2410778"/>
                    <a:pt x="2248853" y="2378393"/>
                    <a:pt x="2248853" y="2339340"/>
                  </a:cubicBezTo>
                  <a:lnTo>
                    <a:pt x="2248853" y="1974533"/>
                  </a:lnTo>
                  <a:cubicBezTo>
                    <a:pt x="2248853" y="1935480"/>
                    <a:pt x="2216468" y="1903095"/>
                    <a:pt x="2177415" y="1903095"/>
                  </a:cubicBezTo>
                  <a:lnTo>
                    <a:pt x="1987868" y="1903095"/>
                  </a:lnTo>
                  <a:lnTo>
                    <a:pt x="1987868" y="1661160"/>
                  </a:lnTo>
                  <a:lnTo>
                    <a:pt x="2177415" y="1661160"/>
                  </a:lnTo>
                  <a:cubicBezTo>
                    <a:pt x="2216468" y="1661160"/>
                    <a:pt x="2248853" y="1628775"/>
                    <a:pt x="2248853" y="1589723"/>
                  </a:cubicBezTo>
                  <a:lnTo>
                    <a:pt x="2248853" y="1224915"/>
                  </a:lnTo>
                  <a:cubicBezTo>
                    <a:pt x="2248853" y="1185863"/>
                    <a:pt x="2216468" y="1153478"/>
                    <a:pt x="2177415" y="1153478"/>
                  </a:cubicBezTo>
                  <a:lnTo>
                    <a:pt x="1987868" y="1153478"/>
                  </a:lnTo>
                  <a:lnTo>
                    <a:pt x="1987868" y="911543"/>
                  </a:lnTo>
                  <a:lnTo>
                    <a:pt x="2177415" y="911543"/>
                  </a:lnTo>
                  <a:cubicBezTo>
                    <a:pt x="2216468" y="911543"/>
                    <a:pt x="2248853" y="879158"/>
                    <a:pt x="2248853" y="840105"/>
                  </a:cubicBezTo>
                  <a:lnTo>
                    <a:pt x="2248853" y="476250"/>
                  </a:lnTo>
                  <a:cubicBezTo>
                    <a:pt x="2248853" y="437198"/>
                    <a:pt x="2216468" y="404813"/>
                    <a:pt x="2177415" y="404813"/>
                  </a:cubicBezTo>
                  <a:lnTo>
                    <a:pt x="1812608" y="404813"/>
                  </a:lnTo>
                  <a:cubicBezTo>
                    <a:pt x="1773555" y="404813"/>
                    <a:pt x="1741170" y="437198"/>
                    <a:pt x="1741170" y="476250"/>
                  </a:cubicBezTo>
                  <a:lnTo>
                    <a:pt x="1741170" y="769620"/>
                  </a:lnTo>
                  <a:lnTo>
                    <a:pt x="1556385" y="769620"/>
                  </a:lnTo>
                  <a:lnTo>
                    <a:pt x="1556385" y="142875"/>
                  </a:lnTo>
                  <a:lnTo>
                    <a:pt x="1556385" y="142875"/>
                  </a:lnTo>
                  <a:close/>
                  <a:moveTo>
                    <a:pt x="1884045" y="768668"/>
                  </a:moveTo>
                  <a:lnTo>
                    <a:pt x="1884045" y="547688"/>
                  </a:lnTo>
                  <a:lnTo>
                    <a:pt x="2105978" y="547688"/>
                  </a:lnTo>
                  <a:lnTo>
                    <a:pt x="2105978" y="769620"/>
                  </a:lnTo>
                  <a:lnTo>
                    <a:pt x="1884045" y="769620"/>
                  </a:lnTo>
                  <a:close/>
                  <a:moveTo>
                    <a:pt x="1987868" y="1296353"/>
                  </a:moveTo>
                  <a:lnTo>
                    <a:pt x="2105978" y="1296353"/>
                  </a:lnTo>
                  <a:lnTo>
                    <a:pt x="2105978" y="1518285"/>
                  </a:lnTo>
                  <a:lnTo>
                    <a:pt x="1987868" y="1518285"/>
                  </a:lnTo>
                  <a:lnTo>
                    <a:pt x="1987868" y="1296353"/>
                  </a:lnTo>
                  <a:close/>
                  <a:moveTo>
                    <a:pt x="1987868" y="2045970"/>
                  </a:moveTo>
                  <a:lnTo>
                    <a:pt x="2105978" y="2045970"/>
                  </a:lnTo>
                  <a:lnTo>
                    <a:pt x="2105978" y="2267903"/>
                  </a:lnTo>
                  <a:lnTo>
                    <a:pt x="1987868" y="2267903"/>
                  </a:lnTo>
                  <a:lnTo>
                    <a:pt x="1987868" y="2045970"/>
                  </a:lnTo>
                  <a:close/>
                  <a:moveTo>
                    <a:pt x="1987868" y="3106103"/>
                  </a:moveTo>
                  <a:cubicBezTo>
                    <a:pt x="1987868" y="2912745"/>
                    <a:pt x="2145030" y="2755583"/>
                    <a:pt x="2338388" y="2755583"/>
                  </a:cubicBezTo>
                  <a:cubicBezTo>
                    <a:pt x="2531745" y="2755583"/>
                    <a:pt x="2688908" y="2912745"/>
                    <a:pt x="2688908" y="3106103"/>
                  </a:cubicBezTo>
                  <a:lnTo>
                    <a:pt x="2688908" y="3183255"/>
                  </a:lnTo>
                  <a:lnTo>
                    <a:pt x="1987868" y="3183255"/>
                  </a:lnTo>
                  <a:lnTo>
                    <a:pt x="1987868" y="3106103"/>
                  </a:lnTo>
                  <a:lnTo>
                    <a:pt x="1987868" y="3106103"/>
                  </a:lnTo>
                  <a:close/>
                  <a:moveTo>
                    <a:pt x="274320" y="911543"/>
                  </a:moveTo>
                  <a:lnTo>
                    <a:pt x="1844993" y="911543"/>
                  </a:lnTo>
                  <a:lnTo>
                    <a:pt x="1844993" y="3182303"/>
                  </a:lnTo>
                  <a:lnTo>
                    <a:pt x="1478280" y="3182303"/>
                  </a:lnTo>
                  <a:lnTo>
                    <a:pt x="1478280" y="3029903"/>
                  </a:lnTo>
                  <a:cubicBezTo>
                    <a:pt x="1478280" y="2799398"/>
                    <a:pt x="1290638" y="2611755"/>
                    <a:pt x="1060133" y="2611755"/>
                  </a:cubicBezTo>
                  <a:cubicBezTo>
                    <a:pt x="829628" y="2611755"/>
                    <a:pt x="641033" y="2800350"/>
                    <a:pt x="641033" y="3030855"/>
                  </a:cubicBezTo>
                  <a:lnTo>
                    <a:pt x="641033" y="3183255"/>
                  </a:lnTo>
                  <a:lnTo>
                    <a:pt x="274320" y="3183255"/>
                  </a:lnTo>
                  <a:lnTo>
                    <a:pt x="274320" y="911543"/>
                  </a:lnTo>
                  <a:close/>
                  <a:moveTo>
                    <a:pt x="1334453" y="3183255"/>
                  </a:moveTo>
                  <a:lnTo>
                    <a:pt x="783908" y="3183255"/>
                  </a:lnTo>
                  <a:lnTo>
                    <a:pt x="783908" y="3030855"/>
                  </a:lnTo>
                  <a:cubicBezTo>
                    <a:pt x="783908" y="2879408"/>
                    <a:pt x="907733" y="2755583"/>
                    <a:pt x="1059180" y="2755583"/>
                  </a:cubicBezTo>
                  <a:cubicBezTo>
                    <a:pt x="1210628" y="2755583"/>
                    <a:pt x="1334453" y="2879408"/>
                    <a:pt x="1334453" y="3030855"/>
                  </a:cubicBezTo>
                  <a:lnTo>
                    <a:pt x="1334453" y="3183255"/>
                  </a:lnTo>
                  <a:close/>
                  <a:moveTo>
                    <a:pt x="3258503" y="3514725"/>
                  </a:moveTo>
                  <a:lnTo>
                    <a:pt x="142875" y="3514725"/>
                  </a:lnTo>
                  <a:lnTo>
                    <a:pt x="142875" y="3326130"/>
                  </a:lnTo>
                  <a:lnTo>
                    <a:pt x="3258503" y="3326130"/>
                  </a:lnTo>
                  <a:lnTo>
                    <a:pt x="3258503" y="35147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9" name="Gráfico 27">
            <a:extLst>
              <a:ext uri="{FF2B5EF4-FFF2-40B4-BE49-F238E27FC236}">
                <a16:creationId xmlns:a16="http://schemas.microsoft.com/office/drawing/2014/main" id="{AB7DFB98-A4A9-4E91-B928-7A41D76ECCCB}"/>
              </a:ext>
            </a:extLst>
          </p:cNvPr>
          <p:cNvGrpSpPr/>
          <p:nvPr/>
        </p:nvGrpSpPr>
        <p:grpSpPr>
          <a:xfrm>
            <a:off x="4384263" y="3098799"/>
            <a:ext cx="447439" cy="643508"/>
            <a:chOff x="4400550" y="990600"/>
            <a:chExt cx="3390900" cy="4876800"/>
          </a:xfrm>
          <a:solidFill>
            <a:srgbClr val="263143"/>
          </a:solidFill>
        </p:grpSpPr>
        <p:sp>
          <p:nvSpPr>
            <p:cNvPr id="30" name="Forma Livre: Forma 29">
              <a:extLst>
                <a:ext uri="{FF2B5EF4-FFF2-40B4-BE49-F238E27FC236}">
                  <a16:creationId xmlns:a16="http://schemas.microsoft.com/office/drawing/2014/main" id="{40496835-26B5-46D8-8B0B-EB46CF82A8B2}"/>
                </a:ext>
              </a:extLst>
            </p:cNvPr>
            <p:cNvSpPr/>
            <p:nvPr/>
          </p:nvSpPr>
          <p:spPr>
            <a:xfrm>
              <a:off x="5373052" y="1947862"/>
              <a:ext cx="1445894" cy="1445895"/>
            </a:xfrm>
            <a:custGeom>
              <a:avLst/>
              <a:gdLst>
                <a:gd name="connsiteX0" fmla="*/ 722948 w 1445894"/>
                <a:gd name="connsiteY0" fmla="*/ 1445895 h 1445895"/>
                <a:gd name="connsiteX1" fmla="*/ 211455 w 1445894"/>
                <a:gd name="connsiteY1" fmla="*/ 1234440 h 1445895"/>
                <a:gd name="connsiteX2" fmla="*/ 211455 w 1445894"/>
                <a:gd name="connsiteY2" fmla="*/ 211455 h 1445895"/>
                <a:gd name="connsiteX3" fmla="*/ 722948 w 1445894"/>
                <a:gd name="connsiteY3" fmla="*/ 0 h 1445895"/>
                <a:gd name="connsiteX4" fmla="*/ 1234440 w 1445894"/>
                <a:gd name="connsiteY4" fmla="*/ 211455 h 1445895"/>
                <a:gd name="connsiteX5" fmla="*/ 1234440 w 1445894"/>
                <a:gd name="connsiteY5" fmla="*/ 1234440 h 1445895"/>
                <a:gd name="connsiteX6" fmla="*/ 722948 w 1445894"/>
                <a:gd name="connsiteY6" fmla="*/ 1445895 h 1445895"/>
                <a:gd name="connsiteX7" fmla="*/ 722948 w 1445894"/>
                <a:gd name="connsiteY7" fmla="*/ 1445895 h 1445895"/>
                <a:gd name="connsiteX8" fmla="*/ 722948 w 1445894"/>
                <a:gd name="connsiteY8" fmla="*/ 285750 h 1445895"/>
                <a:gd name="connsiteX9" fmla="*/ 413385 w 1445894"/>
                <a:gd name="connsiteY9" fmla="*/ 413385 h 1445895"/>
                <a:gd name="connsiteX10" fmla="*/ 413385 w 1445894"/>
                <a:gd name="connsiteY10" fmla="*/ 1031558 h 1445895"/>
                <a:gd name="connsiteX11" fmla="*/ 722948 w 1445894"/>
                <a:gd name="connsiteY11" fmla="*/ 1159193 h 1445895"/>
                <a:gd name="connsiteX12" fmla="*/ 1032510 w 1445894"/>
                <a:gd name="connsiteY12" fmla="*/ 1031558 h 1445895"/>
                <a:gd name="connsiteX13" fmla="*/ 1032510 w 1445894"/>
                <a:gd name="connsiteY13" fmla="*/ 413385 h 1445895"/>
                <a:gd name="connsiteX14" fmla="*/ 722948 w 1445894"/>
                <a:gd name="connsiteY14" fmla="*/ 285750 h 1445895"/>
                <a:gd name="connsiteX15" fmla="*/ 722948 w 1445894"/>
                <a:gd name="connsiteY15" fmla="*/ 285750 h 1445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45894" h="1445895">
                  <a:moveTo>
                    <a:pt x="722948" y="1445895"/>
                  </a:moveTo>
                  <a:cubicBezTo>
                    <a:pt x="538163" y="1445895"/>
                    <a:pt x="352425" y="1375410"/>
                    <a:pt x="211455" y="1234440"/>
                  </a:cubicBezTo>
                  <a:cubicBezTo>
                    <a:pt x="-70485" y="952500"/>
                    <a:pt x="-70485" y="493395"/>
                    <a:pt x="211455" y="211455"/>
                  </a:cubicBezTo>
                  <a:cubicBezTo>
                    <a:pt x="347663" y="75248"/>
                    <a:pt x="529590" y="0"/>
                    <a:pt x="722948" y="0"/>
                  </a:cubicBezTo>
                  <a:cubicBezTo>
                    <a:pt x="916305" y="0"/>
                    <a:pt x="1098233" y="75248"/>
                    <a:pt x="1234440" y="211455"/>
                  </a:cubicBezTo>
                  <a:cubicBezTo>
                    <a:pt x="1516380" y="493395"/>
                    <a:pt x="1516380" y="952500"/>
                    <a:pt x="1234440" y="1234440"/>
                  </a:cubicBezTo>
                  <a:cubicBezTo>
                    <a:pt x="1093470" y="1375410"/>
                    <a:pt x="907732" y="1445895"/>
                    <a:pt x="722948" y="1445895"/>
                  </a:cubicBezTo>
                  <a:lnTo>
                    <a:pt x="722948" y="1445895"/>
                  </a:lnTo>
                  <a:close/>
                  <a:moveTo>
                    <a:pt x="722948" y="285750"/>
                  </a:moveTo>
                  <a:cubicBezTo>
                    <a:pt x="610553" y="285750"/>
                    <a:pt x="499110" y="328613"/>
                    <a:pt x="413385" y="413385"/>
                  </a:cubicBezTo>
                  <a:cubicBezTo>
                    <a:pt x="242888" y="583883"/>
                    <a:pt x="242888" y="861060"/>
                    <a:pt x="413385" y="1031558"/>
                  </a:cubicBezTo>
                  <a:cubicBezTo>
                    <a:pt x="496253" y="1114425"/>
                    <a:pt x="605790" y="1159193"/>
                    <a:pt x="722948" y="1159193"/>
                  </a:cubicBezTo>
                  <a:cubicBezTo>
                    <a:pt x="840105" y="1159193"/>
                    <a:pt x="949643" y="1113473"/>
                    <a:pt x="1032510" y="1031558"/>
                  </a:cubicBezTo>
                  <a:cubicBezTo>
                    <a:pt x="1203008" y="861060"/>
                    <a:pt x="1203008" y="583883"/>
                    <a:pt x="1032510" y="413385"/>
                  </a:cubicBezTo>
                  <a:cubicBezTo>
                    <a:pt x="946785" y="328613"/>
                    <a:pt x="834390" y="285750"/>
                    <a:pt x="722948" y="285750"/>
                  </a:cubicBezTo>
                  <a:lnTo>
                    <a:pt x="722948" y="2857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1" name="Forma Livre: Forma 30">
              <a:extLst>
                <a:ext uri="{FF2B5EF4-FFF2-40B4-BE49-F238E27FC236}">
                  <a16:creationId xmlns:a16="http://schemas.microsoft.com/office/drawing/2014/main" id="{1EEE8AAF-3BDB-40B2-9E60-618E5BB67667}"/>
                </a:ext>
              </a:extLst>
            </p:cNvPr>
            <p:cNvSpPr/>
            <p:nvPr/>
          </p:nvSpPr>
          <p:spPr>
            <a:xfrm>
              <a:off x="4400550" y="990600"/>
              <a:ext cx="3390900" cy="4876800"/>
            </a:xfrm>
            <a:custGeom>
              <a:avLst/>
              <a:gdLst>
                <a:gd name="connsiteX0" fmla="*/ 1696403 w 3390900"/>
                <a:gd name="connsiteY0" fmla="*/ 4876800 h 4876800"/>
                <a:gd name="connsiteX1" fmla="*/ 1585913 w 3390900"/>
                <a:gd name="connsiteY1" fmla="*/ 4747260 h 4876800"/>
                <a:gd name="connsiteX2" fmla="*/ 0 w 3390900"/>
                <a:gd name="connsiteY2" fmla="*/ 1695450 h 4876800"/>
                <a:gd name="connsiteX3" fmla="*/ 1695450 w 3390900"/>
                <a:gd name="connsiteY3" fmla="*/ 0 h 4876800"/>
                <a:gd name="connsiteX4" fmla="*/ 3390900 w 3390900"/>
                <a:gd name="connsiteY4" fmla="*/ 1695450 h 4876800"/>
                <a:gd name="connsiteX5" fmla="*/ 1805940 w 3390900"/>
                <a:gd name="connsiteY5" fmla="*/ 4745355 h 4876800"/>
                <a:gd name="connsiteX6" fmla="*/ 1696403 w 3390900"/>
                <a:gd name="connsiteY6" fmla="*/ 4876800 h 4876800"/>
                <a:gd name="connsiteX7" fmla="*/ 1695450 w 3390900"/>
                <a:gd name="connsiteY7" fmla="*/ 285750 h 4876800"/>
                <a:gd name="connsiteX8" fmla="*/ 285750 w 3390900"/>
                <a:gd name="connsiteY8" fmla="*/ 1695450 h 4876800"/>
                <a:gd name="connsiteX9" fmla="*/ 1039178 w 3390900"/>
                <a:gd name="connsiteY9" fmla="*/ 3523298 h 4876800"/>
                <a:gd name="connsiteX10" fmla="*/ 1693545 w 3390900"/>
                <a:gd name="connsiteY10" fmla="*/ 4427220 h 4876800"/>
                <a:gd name="connsiteX11" fmla="*/ 2352675 w 3390900"/>
                <a:gd name="connsiteY11" fmla="*/ 3500438 h 4876800"/>
                <a:gd name="connsiteX12" fmla="*/ 3104198 w 3390900"/>
                <a:gd name="connsiteY12" fmla="*/ 1696403 h 4876800"/>
                <a:gd name="connsiteX13" fmla="*/ 1695450 w 3390900"/>
                <a:gd name="connsiteY13" fmla="*/ 285750 h 4876800"/>
                <a:gd name="connsiteX14" fmla="*/ 1695450 w 3390900"/>
                <a:gd name="connsiteY14" fmla="*/ 285750 h 4876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390900" h="4876800">
                  <a:moveTo>
                    <a:pt x="1696403" y="4876800"/>
                  </a:moveTo>
                  <a:lnTo>
                    <a:pt x="1585913" y="4747260"/>
                  </a:lnTo>
                  <a:cubicBezTo>
                    <a:pt x="1521143" y="4671060"/>
                    <a:pt x="0" y="2869883"/>
                    <a:pt x="0" y="1695450"/>
                  </a:cubicBezTo>
                  <a:cubicBezTo>
                    <a:pt x="0" y="760095"/>
                    <a:pt x="760095" y="0"/>
                    <a:pt x="1695450" y="0"/>
                  </a:cubicBezTo>
                  <a:cubicBezTo>
                    <a:pt x="2630805" y="0"/>
                    <a:pt x="3390900" y="760095"/>
                    <a:pt x="3390900" y="1695450"/>
                  </a:cubicBezTo>
                  <a:cubicBezTo>
                    <a:pt x="3390900" y="2812733"/>
                    <a:pt x="1870710" y="4667250"/>
                    <a:pt x="1805940" y="4745355"/>
                  </a:cubicBezTo>
                  <a:lnTo>
                    <a:pt x="1696403" y="4876800"/>
                  </a:lnTo>
                  <a:close/>
                  <a:moveTo>
                    <a:pt x="1695450" y="285750"/>
                  </a:moveTo>
                  <a:cubicBezTo>
                    <a:pt x="918210" y="285750"/>
                    <a:pt x="285750" y="918210"/>
                    <a:pt x="285750" y="1695450"/>
                  </a:cubicBezTo>
                  <a:cubicBezTo>
                    <a:pt x="285750" y="2131695"/>
                    <a:pt x="545783" y="2764155"/>
                    <a:pt x="1039178" y="3523298"/>
                  </a:cubicBezTo>
                  <a:cubicBezTo>
                    <a:pt x="1294448" y="3916680"/>
                    <a:pt x="1552575" y="4251008"/>
                    <a:pt x="1693545" y="4427220"/>
                  </a:cubicBezTo>
                  <a:cubicBezTo>
                    <a:pt x="1835468" y="4246245"/>
                    <a:pt x="2095500" y="3901440"/>
                    <a:pt x="2352675" y="3500438"/>
                  </a:cubicBezTo>
                  <a:cubicBezTo>
                    <a:pt x="2844165" y="2732723"/>
                    <a:pt x="3104198" y="2108835"/>
                    <a:pt x="3104198" y="1696403"/>
                  </a:cubicBezTo>
                  <a:cubicBezTo>
                    <a:pt x="3104198" y="918210"/>
                    <a:pt x="2471738" y="285750"/>
                    <a:pt x="1695450" y="285750"/>
                  </a:cubicBezTo>
                  <a:lnTo>
                    <a:pt x="1695450" y="2857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2" name="Gráfico 31">
            <a:extLst>
              <a:ext uri="{FF2B5EF4-FFF2-40B4-BE49-F238E27FC236}">
                <a16:creationId xmlns:a16="http://schemas.microsoft.com/office/drawing/2014/main" id="{5792BB21-D046-4B45-9500-9F776698DF02}"/>
              </a:ext>
            </a:extLst>
          </p:cNvPr>
          <p:cNvGrpSpPr/>
          <p:nvPr/>
        </p:nvGrpSpPr>
        <p:grpSpPr>
          <a:xfrm>
            <a:off x="7206015" y="3100255"/>
            <a:ext cx="716945" cy="627017"/>
            <a:chOff x="3657238" y="1295176"/>
            <a:chExt cx="4878376" cy="4266471"/>
          </a:xfrm>
          <a:solidFill>
            <a:srgbClr val="263143"/>
          </a:solidFill>
        </p:grpSpPr>
        <p:sp>
          <p:nvSpPr>
            <p:cNvPr id="33" name="Forma Livre: Forma 32">
              <a:extLst>
                <a:ext uri="{FF2B5EF4-FFF2-40B4-BE49-F238E27FC236}">
                  <a16:creationId xmlns:a16="http://schemas.microsoft.com/office/drawing/2014/main" id="{C464C1A5-0971-4EB4-839C-0F832C392D32}"/>
                </a:ext>
              </a:extLst>
            </p:cNvPr>
            <p:cNvSpPr/>
            <p:nvPr/>
          </p:nvSpPr>
          <p:spPr>
            <a:xfrm>
              <a:off x="6319837" y="4434840"/>
              <a:ext cx="409575" cy="142875"/>
            </a:xfrm>
            <a:custGeom>
              <a:avLst/>
              <a:gdLst>
                <a:gd name="connsiteX0" fmla="*/ 338138 w 409575"/>
                <a:gd name="connsiteY0" fmla="*/ 0 h 142875"/>
                <a:gd name="connsiteX1" fmla="*/ 71438 w 409575"/>
                <a:gd name="connsiteY1" fmla="*/ 0 h 142875"/>
                <a:gd name="connsiteX2" fmla="*/ 0 w 409575"/>
                <a:gd name="connsiteY2" fmla="*/ 71438 h 142875"/>
                <a:gd name="connsiteX3" fmla="*/ 71438 w 409575"/>
                <a:gd name="connsiteY3" fmla="*/ 142875 h 142875"/>
                <a:gd name="connsiteX4" fmla="*/ 338138 w 409575"/>
                <a:gd name="connsiteY4" fmla="*/ 142875 h 142875"/>
                <a:gd name="connsiteX5" fmla="*/ 409575 w 409575"/>
                <a:gd name="connsiteY5" fmla="*/ 71438 h 142875"/>
                <a:gd name="connsiteX6" fmla="*/ 338138 w 409575"/>
                <a:gd name="connsiteY6" fmla="*/ 0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9575" h="142875">
                  <a:moveTo>
                    <a:pt x="338138" y="0"/>
                  </a:moveTo>
                  <a:lnTo>
                    <a:pt x="71438" y="0"/>
                  </a:lnTo>
                  <a:cubicBezTo>
                    <a:pt x="32385" y="0"/>
                    <a:pt x="0" y="32385"/>
                    <a:pt x="0" y="71438"/>
                  </a:cubicBezTo>
                  <a:cubicBezTo>
                    <a:pt x="0" y="110490"/>
                    <a:pt x="32385" y="142875"/>
                    <a:pt x="71438" y="142875"/>
                  </a:cubicBezTo>
                  <a:lnTo>
                    <a:pt x="338138" y="142875"/>
                  </a:lnTo>
                  <a:cubicBezTo>
                    <a:pt x="377190" y="142875"/>
                    <a:pt x="409575" y="110490"/>
                    <a:pt x="409575" y="71438"/>
                  </a:cubicBezTo>
                  <a:cubicBezTo>
                    <a:pt x="409575" y="32385"/>
                    <a:pt x="378143" y="0"/>
                    <a:pt x="338138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4" name="Forma Livre: Forma 33">
              <a:extLst>
                <a:ext uri="{FF2B5EF4-FFF2-40B4-BE49-F238E27FC236}">
                  <a16:creationId xmlns:a16="http://schemas.microsoft.com/office/drawing/2014/main" id="{F297F243-A0F7-4404-8CFC-A0B77F86FA70}"/>
                </a:ext>
              </a:extLst>
            </p:cNvPr>
            <p:cNvSpPr/>
            <p:nvPr/>
          </p:nvSpPr>
          <p:spPr>
            <a:xfrm>
              <a:off x="5760011" y="1295176"/>
              <a:ext cx="2775603" cy="4265518"/>
            </a:xfrm>
            <a:custGeom>
              <a:avLst/>
              <a:gdLst>
                <a:gd name="connsiteX0" fmla="*/ 2471494 w 2775603"/>
                <a:gd name="connsiteY0" fmla="*/ 2374807 h 4265518"/>
                <a:gd name="connsiteX1" fmla="*/ 2082874 w 2775603"/>
                <a:gd name="connsiteY1" fmla="*/ 2224311 h 4265518"/>
                <a:gd name="connsiteX2" fmla="*/ 1884754 w 2775603"/>
                <a:gd name="connsiteY2" fmla="*/ 2026191 h 4265518"/>
                <a:gd name="connsiteX3" fmla="*/ 1839034 w 2775603"/>
                <a:gd name="connsiteY3" fmla="*/ 2005236 h 4265518"/>
                <a:gd name="connsiteX4" fmla="*/ 1839034 w 2775603"/>
                <a:gd name="connsiteY4" fmla="*/ 1848074 h 4265518"/>
                <a:gd name="connsiteX5" fmla="*/ 2025724 w 2775603"/>
                <a:gd name="connsiteY5" fmla="*/ 1480409 h 4265518"/>
                <a:gd name="connsiteX6" fmla="*/ 2076206 w 2775603"/>
                <a:gd name="connsiteY6" fmla="*/ 1476599 h 4265518"/>
                <a:gd name="connsiteX7" fmla="*/ 2240036 w 2775603"/>
                <a:gd name="connsiteY7" fmla="*/ 1267049 h 4265518"/>
                <a:gd name="connsiteX8" fmla="*/ 2240036 w 2775603"/>
                <a:gd name="connsiteY8" fmla="*/ 1214661 h 4265518"/>
                <a:gd name="connsiteX9" fmla="*/ 2177171 w 2775603"/>
                <a:gd name="connsiteY9" fmla="*/ 1062261 h 4265518"/>
                <a:gd name="connsiteX10" fmla="*/ 2026676 w 2775603"/>
                <a:gd name="connsiteY10" fmla="*/ 252636 h 4265518"/>
                <a:gd name="connsiteX11" fmla="*/ 1296109 w 2775603"/>
                <a:gd name="connsiteY11" fmla="*/ 2129 h 4265518"/>
                <a:gd name="connsiteX12" fmla="*/ 747469 w 2775603"/>
                <a:gd name="connsiteY12" fmla="*/ 205011 h 4265518"/>
                <a:gd name="connsiteX13" fmla="*/ 600784 w 2775603"/>
                <a:gd name="connsiteY13" fmla="*/ 254541 h 4265518"/>
                <a:gd name="connsiteX14" fmla="*/ 426476 w 2775603"/>
                <a:gd name="connsiteY14" fmla="*/ 607919 h 4265518"/>
                <a:gd name="connsiteX15" fmla="*/ 476006 w 2775603"/>
                <a:gd name="connsiteY15" fmla="*/ 1023209 h 4265518"/>
                <a:gd name="connsiteX16" fmla="*/ 359801 w 2775603"/>
                <a:gd name="connsiteY16" fmla="*/ 1214661 h 4265518"/>
                <a:gd name="connsiteX17" fmla="*/ 359801 w 2775603"/>
                <a:gd name="connsiteY17" fmla="*/ 1266096 h 4265518"/>
                <a:gd name="connsiteX18" fmla="*/ 523631 w 2775603"/>
                <a:gd name="connsiteY18" fmla="*/ 1475646 h 4265518"/>
                <a:gd name="connsiteX19" fmla="*/ 574114 w 2775603"/>
                <a:gd name="connsiteY19" fmla="*/ 1479456 h 4265518"/>
                <a:gd name="connsiteX20" fmla="*/ 760804 w 2775603"/>
                <a:gd name="connsiteY20" fmla="*/ 1847121 h 4265518"/>
                <a:gd name="connsiteX21" fmla="*/ 760804 w 2775603"/>
                <a:gd name="connsiteY21" fmla="*/ 2005236 h 4265518"/>
                <a:gd name="connsiteX22" fmla="*/ 715084 w 2775603"/>
                <a:gd name="connsiteY22" fmla="*/ 2026191 h 4265518"/>
                <a:gd name="connsiteX23" fmla="*/ 516964 w 2775603"/>
                <a:gd name="connsiteY23" fmla="*/ 2224311 h 4265518"/>
                <a:gd name="connsiteX24" fmla="*/ 126439 w 2775603"/>
                <a:gd name="connsiteY24" fmla="*/ 2374807 h 4265518"/>
                <a:gd name="connsiteX25" fmla="*/ 31189 w 2775603"/>
                <a:gd name="connsiteY25" fmla="*/ 2425289 h 4265518"/>
                <a:gd name="connsiteX26" fmla="*/ 12139 w 2775603"/>
                <a:gd name="connsiteY26" fmla="*/ 2524349 h 4265518"/>
                <a:gd name="connsiteX27" fmla="*/ 71194 w 2775603"/>
                <a:gd name="connsiteY27" fmla="*/ 2555781 h 4265518"/>
                <a:gd name="connsiteX28" fmla="*/ 111199 w 2775603"/>
                <a:gd name="connsiteY28" fmla="*/ 2543399 h 4265518"/>
                <a:gd name="connsiteX29" fmla="*/ 177874 w 2775603"/>
                <a:gd name="connsiteY29" fmla="*/ 2508156 h 4265518"/>
                <a:gd name="connsiteX30" fmla="*/ 538871 w 2775603"/>
                <a:gd name="connsiteY30" fmla="*/ 2369091 h 4265518"/>
                <a:gd name="connsiteX31" fmla="*/ 815096 w 2775603"/>
                <a:gd name="connsiteY31" fmla="*/ 2783429 h 4265518"/>
                <a:gd name="connsiteX32" fmla="*/ 965591 w 2775603"/>
                <a:gd name="connsiteY32" fmla="*/ 2873917 h 4265518"/>
                <a:gd name="connsiteX33" fmla="*/ 985594 w 2775603"/>
                <a:gd name="connsiteY33" fmla="*/ 2874869 h 4265518"/>
                <a:gd name="connsiteX34" fmla="*/ 1086559 w 2775603"/>
                <a:gd name="connsiteY34" fmla="*/ 2848199 h 4265518"/>
                <a:gd name="connsiteX35" fmla="*/ 1027504 w 2775603"/>
                <a:gd name="connsiteY35" fmla="*/ 4191224 h 4265518"/>
                <a:gd name="connsiteX36" fmla="*/ 1096084 w 2775603"/>
                <a:gd name="connsiteY36" fmla="*/ 4265519 h 4265518"/>
                <a:gd name="connsiteX37" fmla="*/ 1098941 w 2775603"/>
                <a:gd name="connsiteY37" fmla="*/ 4265519 h 4265518"/>
                <a:gd name="connsiteX38" fmla="*/ 1170379 w 2775603"/>
                <a:gd name="connsiteY38" fmla="*/ 4196939 h 4265518"/>
                <a:gd name="connsiteX39" fmla="*/ 1225624 w 2775603"/>
                <a:gd name="connsiteY39" fmla="*/ 2950117 h 4265518"/>
                <a:gd name="connsiteX40" fmla="*/ 1374214 w 2775603"/>
                <a:gd name="connsiteY40" fmla="*/ 2950117 h 4265518"/>
                <a:gd name="connsiteX41" fmla="*/ 1429459 w 2775603"/>
                <a:gd name="connsiteY41" fmla="*/ 4196939 h 4265518"/>
                <a:gd name="connsiteX42" fmla="*/ 1500896 w 2775603"/>
                <a:gd name="connsiteY42" fmla="*/ 4265519 h 4265518"/>
                <a:gd name="connsiteX43" fmla="*/ 1503754 w 2775603"/>
                <a:gd name="connsiteY43" fmla="*/ 4265519 h 4265518"/>
                <a:gd name="connsiteX44" fmla="*/ 1572334 w 2775603"/>
                <a:gd name="connsiteY44" fmla="*/ 4191224 h 4265518"/>
                <a:gd name="connsiteX45" fmla="*/ 1512326 w 2775603"/>
                <a:gd name="connsiteY45" fmla="*/ 2848199 h 4265518"/>
                <a:gd name="connsiteX46" fmla="*/ 1613291 w 2775603"/>
                <a:gd name="connsiteY46" fmla="*/ 2874869 h 4265518"/>
                <a:gd name="connsiteX47" fmla="*/ 1633294 w 2775603"/>
                <a:gd name="connsiteY47" fmla="*/ 2873917 h 4265518"/>
                <a:gd name="connsiteX48" fmla="*/ 1783789 w 2775603"/>
                <a:gd name="connsiteY48" fmla="*/ 2783429 h 4265518"/>
                <a:gd name="connsiteX49" fmla="*/ 2060014 w 2775603"/>
                <a:gd name="connsiteY49" fmla="*/ 2369091 h 4265518"/>
                <a:gd name="connsiteX50" fmla="*/ 2421011 w 2775603"/>
                <a:gd name="connsiteY50" fmla="*/ 2508156 h 4265518"/>
                <a:gd name="connsiteX51" fmla="*/ 2549599 w 2775603"/>
                <a:gd name="connsiteY51" fmla="*/ 2597692 h 4265518"/>
                <a:gd name="connsiteX52" fmla="*/ 2302901 w 2775603"/>
                <a:gd name="connsiteY52" fmla="*/ 2844389 h 4265518"/>
                <a:gd name="connsiteX53" fmla="*/ 2164789 w 2775603"/>
                <a:gd name="connsiteY53" fmla="*/ 3178717 h 4265518"/>
                <a:gd name="connsiteX54" fmla="*/ 2164789 w 2775603"/>
                <a:gd name="connsiteY54" fmla="*/ 4194081 h 4265518"/>
                <a:gd name="connsiteX55" fmla="*/ 2236226 w 2775603"/>
                <a:gd name="connsiteY55" fmla="*/ 4265519 h 4265518"/>
                <a:gd name="connsiteX56" fmla="*/ 2307664 w 2775603"/>
                <a:gd name="connsiteY56" fmla="*/ 4194081 h 4265518"/>
                <a:gd name="connsiteX57" fmla="*/ 2307664 w 2775603"/>
                <a:gd name="connsiteY57" fmla="*/ 3178717 h 4265518"/>
                <a:gd name="connsiteX58" fmla="*/ 2403866 w 2775603"/>
                <a:gd name="connsiteY58" fmla="*/ 2945354 h 4265518"/>
                <a:gd name="connsiteX59" fmla="*/ 2621036 w 2775603"/>
                <a:gd name="connsiteY59" fmla="*/ 2728184 h 4265518"/>
                <a:gd name="connsiteX60" fmla="*/ 2632466 w 2775603"/>
                <a:gd name="connsiteY60" fmla="*/ 2828196 h 4265518"/>
                <a:gd name="connsiteX61" fmla="*/ 2577221 w 2775603"/>
                <a:gd name="connsiteY61" fmla="*/ 4191224 h 4265518"/>
                <a:gd name="connsiteX62" fmla="*/ 2645801 w 2775603"/>
                <a:gd name="connsiteY62" fmla="*/ 4265519 h 4265518"/>
                <a:gd name="connsiteX63" fmla="*/ 2648659 w 2775603"/>
                <a:gd name="connsiteY63" fmla="*/ 4265519 h 4265518"/>
                <a:gd name="connsiteX64" fmla="*/ 2720096 w 2775603"/>
                <a:gd name="connsiteY64" fmla="*/ 4196939 h 4265518"/>
                <a:gd name="connsiteX65" fmla="*/ 2775341 w 2775603"/>
                <a:gd name="connsiteY65" fmla="*/ 2833911 h 4265518"/>
                <a:gd name="connsiteX66" fmla="*/ 2471494 w 2775603"/>
                <a:gd name="connsiteY66" fmla="*/ 2374807 h 4265518"/>
                <a:gd name="connsiteX67" fmla="*/ 1298966 w 2775603"/>
                <a:gd name="connsiteY67" fmla="*/ 2450054 h 4265518"/>
                <a:gd name="connsiteX68" fmla="*/ 902726 w 2775603"/>
                <a:gd name="connsiteY68" fmla="*/ 2103344 h 4265518"/>
                <a:gd name="connsiteX69" fmla="*/ 902726 w 2775603"/>
                <a:gd name="connsiteY69" fmla="*/ 1966184 h 4265518"/>
                <a:gd name="connsiteX70" fmla="*/ 1298966 w 2775603"/>
                <a:gd name="connsiteY70" fmla="*/ 2081436 h 4265518"/>
                <a:gd name="connsiteX71" fmla="*/ 1695206 w 2775603"/>
                <a:gd name="connsiteY71" fmla="*/ 1966184 h 4265518"/>
                <a:gd name="connsiteX72" fmla="*/ 1695206 w 2775603"/>
                <a:gd name="connsiteY72" fmla="*/ 2103344 h 4265518"/>
                <a:gd name="connsiteX73" fmla="*/ 1298966 w 2775603"/>
                <a:gd name="connsiteY73" fmla="*/ 2450054 h 4265518"/>
                <a:gd name="connsiteX74" fmla="*/ 568399 w 2775603"/>
                <a:gd name="connsiteY74" fmla="*/ 1337534 h 4265518"/>
                <a:gd name="connsiteX75" fmla="*/ 552206 w 2775603"/>
                <a:gd name="connsiteY75" fmla="*/ 1336581 h 4265518"/>
                <a:gd name="connsiteX76" fmla="*/ 502676 w 2775603"/>
                <a:gd name="connsiteY76" fmla="*/ 1267049 h 4265518"/>
                <a:gd name="connsiteX77" fmla="*/ 502676 w 2775603"/>
                <a:gd name="connsiteY77" fmla="*/ 1215614 h 4265518"/>
                <a:gd name="connsiteX78" fmla="*/ 553159 w 2775603"/>
                <a:gd name="connsiteY78" fmla="*/ 1147986 h 4265518"/>
                <a:gd name="connsiteX79" fmla="*/ 614119 w 2775603"/>
                <a:gd name="connsiteY79" fmla="*/ 1171799 h 4265518"/>
                <a:gd name="connsiteX80" fmla="*/ 664601 w 2775603"/>
                <a:gd name="connsiteY80" fmla="*/ 1207041 h 4265518"/>
                <a:gd name="connsiteX81" fmla="*/ 751279 w 2775603"/>
                <a:gd name="connsiteY81" fmla="*/ 1192754 h 4265518"/>
                <a:gd name="connsiteX82" fmla="*/ 868436 w 2775603"/>
                <a:gd name="connsiteY82" fmla="*/ 1078454 h 4265518"/>
                <a:gd name="connsiteX83" fmla="*/ 854149 w 2775603"/>
                <a:gd name="connsiteY83" fmla="*/ 978441 h 4265518"/>
                <a:gd name="connsiteX84" fmla="*/ 754136 w 2775603"/>
                <a:gd name="connsiteY84" fmla="*/ 992729 h 4265518"/>
                <a:gd name="connsiteX85" fmla="*/ 698891 w 2775603"/>
                <a:gd name="connsiteY85" fmla="*/ 1052736 h 4265518"/>
                <a:gd name="connsiteX86" fmla="*/ 621739 w 2775603"/>
                <a:gd name="connsiteY86" fmla="*/ 1011779 h 4265518"/>
                <a:gd name="connsiteX87" fmla="*/ 570304 w 2775603"/>
                <a:gd name="connsiteY87" fmla="*/ 608871 h 4265518"/>
                <a:gd name="connsiteX88" fmla="*/ 670316 w 2775603"/>
                <a:gd name="connsiteY88" fmla="*/ 380271 h 4265518"/>
                <a:gd name="connsiteX89" fmla="*/ 776996 w 2775603"/>
                <a:gd name="connsiteY89" fmla="*/ 345981 h 4265518"/>
                <a:gd name="connsiteX90" fmla="*/ 826526 w 2775603"/>
                <a:gd name="connsiteY90" fmla="*/ 325979 h 4265518"/>
                <a:gd name="connsiteX91" fmla="*/ 1304681 w 2775603"/>
                <a:gd name="connsiteY91" fmla="*/ 145004 h 4265518"/>
                <a:gd name="connsiteX92" fmla="*/ 1919044 w 2775603"/>
                <a:gd name="connsiteY92" fmla="*/ 345981 h 4265518"/>
                <a:gd name="connsiteX93" fmla="*/ 2042869 w 2775603"/>
                <a:gd name="connsiteY93" fmla="*/ 1003206 h 4265518"/>
                <a:gd name="connsiteX94" fmla="*/ 1981909 w 2775603"/>
                <a:gd name="connsiteY94" fmla="*/ 1007016 h 4265518"/>
                <a:gd name="connsiteX95" fmla="*/ 1915234 w 2775603"/>
                <a:gd name="connsiteY95" fmla="*/ 846044 h 4265518"/>
                <a:gd name="connsiteX96" fmla="*/ 1831414 w 2775603"/>
                <a:gd name="connsiteY96" fmla="*/ 804134 h 4265518"/>
                <a:gd name="connsiteX97" fmla="*/ 888439 w 2775603"/>
                <a:gd name="connsiteY97" fmla="*/ 628874 h 4265518"/>
                <a:gd name="connsiteX98" fmla="*/ 788426 w 2775603"/>
                <a:gd name="connsiteY98" fmla="*/ 617444 h 4265518"/>
                <a:gd name="connsiteX99" fmla="*/ 777949 w 2775603"/>
                <a:gd name="connsiteY99" fmla="*/ 717456 h 4265518"/>
                <a:gd name="connsiteX100" fmla="*/ 1807601 w 2775603"/>
                <a:gd name="connsiteY100" fmla="*/ 955581 h 4265518"/>
                <a:gd name="connsiteX101" fmla="*/ 1859036 w 2775603"/>
                <a:gd name="connsiteY101" fmla="*/ 1080359 h 4265518"/>
                <a:gd name="connsiteX102" fmla="*/ 1994291 w 2775603"/>
                <a:gd name="connsiteY102" fmla="*/ 1149891 h 4265518"/>
                <a:gd name="connsiteX103" fmla="*/ 2047631 w 2775603"/>
                <a:gd name="connsiteY103" fmla="*/ 1146081 h 4265518"/>
                <a:gd name="connsiteX104" fmla="*/ 2098114 w 2775603"/>
                <a:gd name="connsiteY104" fmla="*/ 1212756 h 4265518"/>
                <a:gd name="connsiteX105" fmla="*/ 2098114 w 2775603"/>
                <a:gd name="connsiteY105" fmla="*/ 1265144 h 4265518"/>
                <a:gd name="connsiteX106" fmla="*/ 2048584 w 2775603"/>
                <a:gd name="connsiteY106" fmla="*/ 1334676 h 4265518"/>
                <a:gd name="connsiteX107" fmla="*/ 2032391 w 2775603"/>
                <a:gd name="connsiteY107" fmla="*/ 1335629 h 4265518"/>
                <a:gd name="connsiteX108" fmla="*/ 1887611 w 2775603"/>
                <a:gd name="connsiteY108" fmla="*/ 1448976 h 4265518"/>
                <a:gd name="connsiteX109" fmla="*/ 1300871 w 2775603"/>
                <a:gd name="connsiteY109" fmla="*/ 1937609 h 4265518"/>
                <a:gd name="connsiteX110" fmla="*/ 714131 w 2775603"/>
                <a:gd name="connsiteY110" fmla="*/ 1448976 h 4265518"/>
                <a:gd name="connsiteX111" fmla="*/ 568399 w 2775603"/>
                <a:gd name="connsiteY111" fmla="*/ 1337534 h 4265518"/>
                <a:gd name="connsiteX112" fmla="*/ 979879 w 2775603"/>
                <a:gd name="connsiteY112" fmla="*/ 2731042 h 4265518"/>
                <a:gd name="connsiteX113" fmla="*/ 934159 w 2775603"/>
                <a:gd name="connsiteY113" fmla="*/ 2703419 h 4265518"/>
                <a:gd name="connsiteX114" fmla="*/ 656029 w 2775603"/>
                <a:gd name="connsiteY114" fmla="*/ 2286224 h 4265518"/>
                <a:gd name="connsiteX115" fmla="*/ 767471 w 2775603"/>
                <a:gd name="connsiteY115" fmla="*/ 2174782 h 4265518"/>
                <a:gd name="connsiteX116" fmla="*/ 1194191 w 2775603"/>
                <a:gd name="connsiteY116" fmla="*/ 2548161 h 4265518"/>
                <a:gd name="connsiteX117" fmla="*/ 1029409 w 2775603"/>
                <a:gd name="connsiteY117" fmla="*/ 2712944 h 4265518"/>
                <a:gd name="connsiteX118" fmla="*/ 979879 w 2775603"/>
                <a:gd name="connsiteY118" fmla="*/ 2731042 h 4265518"/>
                <a:gd name="connsiteX119" fmla="*/ 1231339 w 2775603"/>
                <a:gd name="connsiteY119" fmla="*/ 2808194 h 4265518"/>
                <a:gd name="connsiteX120" fmla="*/ 1236101 w 2775603"/>
                <a:gd name="connsiteY120" fmla="*/ 2710086 h 4265518"/>
                <a:gd name="connsiteX121" fmla="*/ 1299919 w 2775603"/>
                <a:gd name="connsiteY121" fmla="*/ 2646269 h 4265518"/>
                <a:gd name="connsiteX122" fmla="*/ 1363736 w 2775603"/>
                <a:gd name="connsiteY122" fmla="*/ 2710086 h 4265518"/>
                <a:gd name="connsiteX123" fmla="*/ 1368499 w 2775603"/>
                <a:gd name="connsiteY123" fmla="*/ 2808194 h 4265518"/>
                <a:gd name="connsiteX124" fmla="*/ 1231339 w 2775603"/>
                <a:gd name="connsiteY124" fmla="*/ 2808194 h 4265518"/>
                <a:gd name="connsiteX125" fmla="*/ 1231339 w 2775603"/>
                <a:gd name="connsiteY125" fmla="*/ 2808194 h 4265518"/>
                <a:gd name="connsiteX126" fmla="*/ 1664726 w 2775603"/>
                <a:gd name="connsiteY126" fmla="*/ 2704371 h 4265518"/>
                <a:gd name="connsiteX127" fmla="*/ 1619006 w 2775603"/>
                <a:gd name="connsiteY127" fmla="*/ 2731994 h 4265518"/>
                <a:gd name="connsiteX128" fmla="*/ 1568524 w 2775603"/>
                <a:gd name="connsiteY128" fmla="*/ 2713896 h 4265518"/>
                <a:gd name="connsiteX129" fmla="*/ 1403741 w 2775603"/>
                <a:gd name="connsiteY129" fmla="*/ 2549114 h 4265518"/>
                <a:gd name="connsiteX130" fmla="*/ 1830461 w 2775603"/>
                <a:gd name="connsiteY130" fmla="*/ 2175734 h 4265518"/>
                <a:gd name="connsiteX131" fmla="*/ 1941904 w 2775603"/>
                <a:gd name="connsiteY131" fmla="*/ 2287177 h 4265518"/>
                <a:gd name="connsiteX132" fmla="*/ 1664726 w 2775603"/>
                <a:gd name="connsiteY132" fmla="*/ 2704371 h 4265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</a:cxnLst>
              <a:rect l="l" t="t" r="r" b="b"/>
              <a:pathLst>
                <a:path w="2775603" h="4265518">
                  <a:moveTo>
                    <a:pt x="2471494" y="2374807"/>
                  </a:moveTo>
                  <a:lnTo>
                    <a:pt x="2082874" y="2224311"/>
                  </a:lnTo>
                  <a:lnTo>
                    <a:pt x="1884754" y="2026191"/>
                  </a:lnTo>
                  <a:cubicBezTo>
                    <a:pt x="1872371" y="2013809"/>
                    <a:pt x="1855226" y="2006189"/>
                    <a:pt x="1839034" y="2005236"/>
                  </a:cubicBezTo>
                  <a:lnTo>
                    <a:pt x="1839034" y="1848074"/>
                  </a:lnTo>
                  <a:cubicBezTo>
                    <a:pt x="1932379" y="1748061"/>
                    <a:pt x="1999054" y="1622331"/>
                    <a:pt x="2025724" y="1480409"/>
                  </a:cubicBezTo>
                  <a:cubicBezTo>
                    <a:pt x="2042869" y="1481361"/>
                    <a:pt x="2059061" y="1479456"/>
                    <a:pt x="2076206" y="1476599"/>
                  </a:cubicBezTo>
                  <a:cubicBezTo>
                    <a:pt x="2171457" y="1457549"/>
                    <a:pt x="2240036" y="1368966"/>
                    <a:pt x="2240036" y="1267049"/>
                  </a:cubicBezTo>
                  <a:lnTo>
                    <a:pt x="2240036" y="1214661"/>
                  </a:lnTo>
                  <a:cubicBezTo>
                    <a:pt x="2240036" y="1155606"/>
                    <a:pt x="2216224" y="1101314"/>
                    <a:pt x="2177171" y="1062261"/>
                  </a:cubicBezTo>
                  <a:cubicBezTo>
                    <a:pt x="2240036" y="719361"/>
                    <a:pt x="2188601" y="439326"/>
                    <a:pt x="2026676" y="252636"/>
                  </a:cubicBezTo>
                  <a:cubicBezTo>
                    <a:pt x="1869514" y="71661"/>
                    <a:pt x="1617101" y="-15016"/>
                    <a:pt x="1296109" y="2129"/>
                  </a:cubicBezTo>
                  <a:cubicBezTo>
                    <a:pt x="999881" y="18321"/>
                    <a:pt x="808429" y="154529"/>
                    <a:pt x="747469" y="205011"/>
                  </a:cubicBezTo>
                  <a:cubicBezTo>
                    <a:pt x="714131" y="208821"/>
                    <a:pt x="657934" y="220251"/>
                    <a:pt x="600784" y="254541"/>
                  </a:cubicBezTo>
                  <a:cubicBezTo>
                    <a:pt x="521726" y="302166"/>
                    <a:pt x="426476" y="402179"/>
                    <a:pt x="426476" y="607919"/>
                  </a:cubicBezTo>
                  <a:cubicBezTo>
                    <a:pt x="426476" y="787941"/>
                    <a:pt x="455051" y="937484"/>
                    <a:pt x="476006" y="1023209"/>
                  </a:cubicBezTo>
                  <a:cubicBezTo>
                    <a:pt x="406474" y="1057499"/>
                    <a:pt x="359801" y="1130841"/>
                    <a:pt x="359801" y="1214661"/>
                  </a:cubicBezTo>
                  <a:lnTo>
                    <a:pt x="359801" y="1266096"/>
                  </a:lnTo>
                  <a:cubicBezTo>
                    <a:pt x="359801" y="1368014"/>
                    <a:pt x="428381" y="1456596"/>
                    <a:pt x="523631" y="1475646"/>
                  </a:cubicBezTo>
                  <a:cubicBezTo>
                    <a:pt x="539824" y="1479456"/>
                    <a:pt x="556969" y="1480409"/>
                    <a:pt x="574114" y="1479456"/>
                  </a:cubicBezTo>
                  <a:cubicBezTo>
                    <a:pt x="600784" y="1621379"/>
                    <a:pt x="667459" y="1748061"/>
                    <a:pt x="760804" y="1847121"/>
                  </a:cubicBezTo>
                  <a:lnTo>
                    <a:pt x="760804" y="2005236"/>
                  </a:lnTo>
                  <a:cubicBezTo>
                    <a:pt x="743659" y="2006189"/>
                    <a:pt x="727466" y="2012856"/>
                    <a:pt x="715084" y="2026191"/>
                  </a:cubicBezTo>
                  <a:lnTo>
                    <a:pt x="516964" y="2224311"/>
                  </a:lnTo>
                  <a:lnTo>
                    <a:pt x="126439" y="2374807"/>
                  </a:lnTo>
                  <a:cubicBezTo>
                    <a:pt x="93101" y="2388141"/>
                    <a:pt x="60716" y="2404334"/>
                    <a:pt x="31189" y="2425289"/>
                  </a:cubicBezTo>
                  <a:cubicBezTo>
                    <a:pt x="-1196" y="2447196"/>
                    <a:pt x="-9769" y="2491964"/>
                    <a:pt x="12139" y="2524349"/>
                  </a:cubicBezTo>
                  <a:cubicBezTo>
                    <a:pt x="26426" y="2544352"/>
                    <a:pt x="48334" y="2555781"/>
                    <a:pt x="71194" y="2555781"/>
                  </a:cubicBezTo>
                  <a:cubicBezTo>
                    <a:pt x="85481" y="2555781"/>
                    <a:pt x="98816" y="2551971"/>
                    <a:pt x="111199" y="2543399"/>
                  </a:cubicBezTo>
                  <a:cubicBezTo>
                    <a:pt x="132154" y="2529111"/>
                    <a:pt x="154061" y="2517681"/>
                    <a:pt x="177874" y="2508156"/>
                  </a:cubicBezTo>
                  <a:lnTo>
                    <a:pt x="538871" y="2369091"/>
                  </a:lnTo>
                  <a:lnTo>
                    <a:pt x="815096" y="2783429"/>
                  </a:lnTo>
                  <a:cubicBezTo>
                    <a:pt x="849386" y="2834864"/>
                    <a:pt x="904631" y="2867249"/>
                    <a:pt x="965591" y="2873917"/>
                  </a:cubicBezTo>
                  <a:cubicBezTo>
                    <a:pt x="972259" y="2874869"/>
                    <a:pt x="978926" y="2874869"/>
                    <a:pt x="985594" y="2874869"/>
                  </a:cubicBezTo>
                  <a:cubicBezTo>
                    <a:pt x="1020836" y="2874869"/>
                    <a:pt x="1056079" y="2865344"/>
                    <a:pt x="1086559" y="2848199"/>
                  </a:cubicBezTo>
                  <a:lnTo>
                    <a:pt x="1027504" y="4191224"/>
                  </a:lnTo>
                  <a:cubicBezTo>
                    <a:pt x="1025599" y="4230277"/>
                    <a:pt x="1056079" y="4263614"/>
                    <a:pt x="1096084" y="4265519"/>
                  </a:cubicBezTo>
                  <a:cubicBezTo>
                    <a:pt x="1097036" y="4265519"/>
                    <a:pt x="1097989" y="4265519"/>
                    <a:pt x="1098941" y="4265519"/>
                  </a:cubicBezTo>
                  <a:cubicBezTo>
                    <a:pt x="1137041" y="4265519"/>
                    <a:pt x="1168474" y="4235992"/>
                    <a:pt x="1170379" y="4196939"/>
                  </a:cubicBezTo>
                  <a:lnTo>
                    <a:pt x="1225624" y="2950117"/>
                  </a:lnTo>
                  <a:lnTo>
                    <a:pt x="1374214" y="2950117"/>
                  </a:lnTo>
                  <a:lnTo>
                    <a:pt x="1429459" y="4196939"/>
                  </a:lnTo>
                  <a:cubicBezTo>
                    <a:pt x="1431364" y="4235039"/>
                    <a:pt x="1462796" y="4265519"/>
                    <a:pt x="1500896" y="4265519"/>
                  </a:cubicBezTo>
                  <a:cubicBezTo>
                    <a:pt x="1501849" y="4265519"/>
                    <a:pt x="1502801" y="4265519"/>
                    <a:pt x="1503754" y="4265519"/>
                  </a:cubicBezTo>
                  <a:cubicBezTo>
                    <a:pt x="1542806" y="4263614"/>
                    <a:pt x="1573286" y="4230277"/>
                    <a:pt x="1572334" y="4191224"/>
                  </a:cubicBezTo>
                  <a:lnTo>
                    <a:pt x="1512326" y="2848199"/>
                  </a:lnTo>
                  <a:cubicBezTo>
                    <a:pt x="1542806" y="2865344"/>
                    <a:pt x="1577096" y="2874869"/>
                    <a:pt x="1613291" y="2874869"/>
                  </a:cubicBezTo>
                  <a:cubicBezTo>
                    <a:pt x="1619959" y="2874869"/>
                    <a:pt x="1626626" y="2874869"/>
                    <a:pt x="1633294" y="2873917"/>
                  </a:cubicBezTo>
                  <a:cubicBezTo>
                    <a:pt x="1694254" y="2868202"/>
                    <a:pt x="1749499" y="2834864"/>
                    <a:pt x="1783789" y="2783429"/>
                  </a:cubicBezTo>
                  <a:lnTo>
                    <a:pt x="2060014" y="2369091"/>
                  </a:lnTo>
                  <a:lnTo>
                    <a:pt x="2421011" y="2508156"/>
                  </a:lnTo>
                  <a:cubicBezTo>
                    <a:pt x="2471494" y="2527206"/>
                    <a:pt x="2515309" y="2558639"/>
                    <a:pt x="2549599" y="2597692"/>
                  </a:cubicBezTo>
                  <a:lnTo>
                    <a:pt x="2302901" y="2844389"/>
                  </a:lnTo>
                  <a:cubicBezTo>
                    <a:pt x="2213366" y="2933924"/>
                    <a:pt x="2164789" y="3052034"/>
                    <a:pt x="2164789" y="3178717"/>
                  </a:cubicBezTo>
                  <a:lnTo>
                    <a:pt x="2164789" y="4194081"/>
                  </a:lnTo>
                  <a:cubicBezTo>
                    <a:pt x="2164789" y="4233134"/>
                    <a:pt x="2197174" y="4265519"/>
                    <a:pt x="2236226" y="4265519"/>
                  </a:cubicBezTo>
                  <a:cubicBezTo>
                    <a:pt x="2275279" y="4265519"/>
                    <a:pt x="2307664" y="4233134"/>
                    <a:pt x="2307664" y="4194081"/>
                  </a:cubicBezTo>
                  <a:lnTo>
                    <a:pt x="2307664" y="3178717"/>
                  </a:lnTo>
                  <a:cubicBezTo>
                    <a:pt x="2307664" y="3091086"/>
                    <a:pt x="2341954" y="3008219"/>
                    <a:pt x="2403866" y="2945354"/>
                  </a:cubicBezTo>
                  <a:lnTo>
                    <a:pt x="2621036" y="2728184"/>
                  </a:lnTo>
                  <a:cubicBezTo>
                    <a:pt x="2629609" y="2760569"/>
                    <a:pt x="2633419" y="2793906"/>
                    <a:pt x="2632466" y="2828196"/>
                  </a:cubicBezTo>
                  <a:lnTo>
                    <a:pt x="2577221" y="4191224"/>
                  </a:lnTo>
                  <a:cubicBezTo>
                    <a:pt x="2575316" y="4230277"/>
                    <a:pt x="2606749" y="4263614"/>
                    <a:pt x="2645801" y="4265519"/>
                  </a:cubicBezTo>
                  <a:cubicBezTo>
                    <a:pt x="2646754" y="4265519"/>
                    <a:pt x="2647707" y="4265519"/>
                    <a:pt x="2648659" y="4265519"/>
                  </a:cubicBezTo>
                  <a:cubicBezTo>
                    <a:pt x="2686759" y="4265519"/>
                    <a:pt x="2718191" y="4235039"/>
                    <a:pt x="2720096" y="4196939"/>
                  </a:cubicBezTo>
                  <a:lnTo>
                    <a:pt x="2775341" y="2833911"/>
                  </a:lnTo>
                  <a:cubicBezTo>
                    <a:pt x="2782009" y="2632934"/>
                    <a:pt x="2661041" y="2448149"/>
                    <a:pt x="2471494" y="2374807"/>
                  </a:cubicBezTo>
                  <a:close/>
                  <a:moveTo>
                    <a:pt x="1298966" y="2450054"/>
                  </a:moveTo>
                  <a:lnTo>
                    <a:pt x="902726" y="2103344"/>
                  </a:lnTo>
                  <a:lnTo>
                    <a:pt x="902726" y="1966184"/>
                  </a:lnTo>
                  <a:cubicBezTo>
                    <a:pt x="1017979" y="2039526"/>
                    <a:pt x="1154186" y="2081436"/>
                    <a:pt x="1298966" y="2081436"/>
                  </a:cubicBezTo>
                  <a:cubicBezTo>
                    <a:pt x="1443746" y="2081436"/>
                    <a:pt x="1579954" y="2039526"/>
                    <a:pt x="1695206" y="1966184"/>
                  </a:cubicBezTo>
                  <a:lnTo>
                    <a:pt x="1695206" y="2103344"/>
                  </a:lnTo>
                  <a:lnTo>
                    <a:pt x="1298966" y="2450054"/>
                  </a:lnTo>
                  <a:close/>
                  <a:moveTo>
                    <a:pt x="568399" y="1337534"/>
                  </a:moveTo>
                  <a:cubicBezTo>
                    <a:pt x="562684" y="1337534"/>
                    <a:pt x="556969" y="1337534"/>
                    <a:pt x="552206" y="1336581"/>
                  </a:cubicBezTo>
                  <a:cubicBezTo>
                    <a:pt x="523631" y="1330866"/>
                    <a:pt x="502676" y="1300386"/>
                    <a:pt x="502676" y="1267049"/>
                  </a:cubicBezTo>
                  <a:lnTo>
                    <a:pt x="502676" y="1215614"/>
                  </a:lnTo>
                  <a:cubicBezTo>
                    <a:pt x="502676" y="1182276"/>
                    <a:pt x="524584" y="1152749"/>
                    <a:pt x="553159" y="1147986"/>
                  </a:cubicBezTo>
                  <a:cubicBezTo>
                    <a:pt x="576971" y="1144176"/>
                    <a:pt x="599831" y="1152749"/>
                    <a:pt x="614119" y="1171799"/>
                  </a:cubicBezTo>
                  <a:cubicBezTo>
                    <a:pt x="627454" y="1188944"/>
                    <a:pt x="644599" y="1201326"/>
                    <a:pt x="664601" y="1207041"/>
                  </a:cubicBezTo>
                  <a:cubicBezTo>
                    <a:pt x="694129" y="1215614"/>
                    <a:pt x="726514" y="1210851"/>
                    <a:pt x="751279" y="1192754"/>
                  </a:cubicBezTo>
                  <a:cubicBezTo>
                    <a:pt x="796046" y="1161321"/>
                    <a:pt x="835099" y="1122269"/>
                    <a:pt x="868436" y="1078454"/>
                  </a:cubicBezTo>
                  <a:cubicBezTo>
                    <a:pt x="892249" y="1047021"/>
                    <a:pt x="885581" y="1002254"/>
                    <a:pt x="854149" y="978441"/>
                  </a:cubicBezTo>
                  <a:cubicBezTo>
                    <a:pt x="822716" y="954629"/>
                    <a:pt x="777949" y="961296"/>
                    <a:pt x="754136" y="992729"/>
                  </a:cubicBezTo>
                  <a:cubicBezTo>
                    <a:pt x="737944" y="1014636"/>
                    <a:pt x="718894" y="1034639"/>
                    <a:pt x="698891" y="1052736"/>
                  </a:cubicBezTo>
                  <a:cubicBezTo>
                    <a:pt x="676031" y="1033686"/>
                    <a:pt x="649361" y="1019399"/>
                    <a:pt x="621739" y="1011779"/>
                  </a:cubicBezTo>
                  <a:cubicBezTo>
                    <a:pt x="603641" y="941294"/>
                    <a:pt x="570304" y="790799"/>
                    <a:pt x="570304" y="608871"/>
                  </a:cubicBezTo>
                  <a:cubicBezTo>
                    <a:pt x="570304" y="499334"/>
                    <a:pt x="603641" y="422181"/>
                    <a:pt x="670316" y="380271"/>
                  </a:cubicBezTo>
                  <a:cubicBezTo>
                    <a:pt x="721751" y="346934"/>
                    <a:pt x="776996" y="345981"/>
                    <a:pt x="776996" y="345981"/>
                  </a:cubicBezTo>
                  <a:cubicBezTo>
                    <a:pt x="795094" y="345981"/>
                    <a:pt x="813191" y="338361"/>
                    <a:pt x="826526" y="325979"/>
                  </a:cubicBezTo>
                  <a:cubicBezTo>
                    <a:pt x="828431" y="324074"/>
                    <a:pt x="1003691" y="161196"/>
                    <a:pt x="1304681" y="145004"/>
                  </a:cubicBezTo>
                  <a:cubicBezTo>
                    <a:pt x="1579954" y="129764"/>
                    <a:pt x="1792361" y="199296"/>
                    <a:pt x="1919044" y="345981"/>
                  </a:cubicBezTo>
                  <a:cubicBezTo>
                    <a:pt x="2046679" y="493619"/>
                    <a:pt x="2089541" y="720314"/>
                    <a:pt x="2042869" y="1003206"/>
                  </a:cubicBezTo>
                  <a:cubicBezTo>
                    <a:pt x="2023819" y="1002254"/>
                    <a:pt x="2002864" y="1004159"/>
                    <a:pt x="1981909" y="1007016"/>
                  </a:cubicBezTo>
                  <a:lnTo>
                    <a:pt x="1915234" y="846044"/>
                  </a:lnTo>
                  <a:cubicBezTo>
                    <a:pt x="1901899" y="812706"/>
                    <a:pt x="1865704" y="795561"/>
                    <a:pt x="1831414" y="804134"/>
                  </a:cubicBezTo>
                  <a:cubicBezTo>
                    <a:pt x="1824746" y="806039"/>
                    <a:pt x="1164664" y="972726"/>
                    <a:pt x="888439" y="628874"/>
                  </a:cubicBezTo>
                  <a:cubicBezTo>
                    <a:pt x="863674" y="598394"/>
                    <a:pt x="818906" y="593631"/>
                    <a:pt x="788426" y="617444"/>
                  </a:cubicBezTo>
                  <a:cubicBezTo>
                    <a:pt x="757946" y="642209"/>
                    <a:pt x="753184" y="686976"/>
                    <a:pt x="777949" y="717456"/>
                  </a:cubicBezTo>
                  <a:cubicBezTo>
                    <a:pt x="1060841" y="1068929"/>
                    <a:pt x="1620911" y="992729"/>
                    <a:pt x="1807601" y="955581"/>
                  </a:cubicBezTo>
                  <a:lnTo>
                    <a:pt x="1859036" y="1080359"/>
                  </a:lnTo>
                  <a:cubicBezTo>
                    <a:pt x="1880944" y="1133699"/>
                    <a:pt x="1938094" y="1163226"/>
                    <a:pt x="1994291" y="1149891"/>
                  </a:cubicBezTo>
                  <a:cubicBezTo>
                    <a:pt x="2017151" y="1144176"/>
                    <a:pt x="2039059" y="1144176"/>
                    <a:pt x="2047631" y="1146081"/>
                  </a:cubicBezTo>
                  <a:cubicBezTo>
                    <a:pt x="2076206" y="1151796"/>
                    <a:pt x="2098114" y="1180371"/>
                    <a:pt x="2098114" y="1212756"/>
                  </a:cubicBezTo>
                  <a:lnTo>
                    <a:pt x="2098114" y="1265144"/>
                  </a:lnTo>
                  <a:cubicBezTo>
                    <a:pt x="2098114" y="1299434"/>
                    <a:pt x="2077159" y="1328961"/>
                    <a:pt x="2048584" y="1334676"/>
                  </a:cubicBezTo>
                  <a:cubicBezTo>
                    <a:pt x="2042869" y="1335629"/>
                    <a:pt x="2037154" y="1336581"/>
                    <a:pt x="2032391" y="1335629"/>
                  </a:cubicBezTo>
                  <a:cubicBezTo>
                    <a:pt x="1963811" y="1330866"/>
                    <a:pt x="1899994" y="1380396"/>
                    <a:pt x="1887611" y="1448976"/>
                  </a:cubicBezTo>
                  <a:cubicBezTo>
                    <a:pt x="1835224" y="1731869"/>
                    <a:pt x="1589479" y="1937609"/>
                    <a:pt x="1300871" y="1937609"/>
                  </a:cubicBezTo>
                  <a:cubicBezTo>
                    <a:pt x="1013216" y="1937609"/>
                    <a:pt x="766519" y="1731869"/>
                    <a:pt x="714131" y="1448976"/>
                  </a:cubicBezTo>
                  <a:cubicBezTo>
                    <a:pt x="700796" y="1382301"/>
                    <a:pt x="636979" y="1331819"/>
                    <a:pt x="568399" y="1337534"/>
                  </a:cubicBezTo>
                  <a:close/>
                  <a:moveTo>
                    <a:pt x="979879" y="2731042"/>
                  </a:moveTo>
                  <a:cubicBezTo>
                    <a:pt x="969401" y="2730089"/>
                    <a:pt x="948446" y="2725327"/>
                    <a:pt x="934159" y="2703419"/>
                  </a:cubicBezTo>
                  <a:lnTo>
                    <a:pt x="656029" y="2286224"/>
                  </a:lnTo>
                  <a:lnTo>
                    <a:pt x="767471" y="2174782"/>
                  </a:lnTo>
                  <a:lnTo>
                    <a:pt x="1194191" y="2548161"/>
                  </a:lnTo>
                  <a:lnTo>
                    <a:pt x="1029409" y="2712944"/>
                  </a:lnTo>
                  <a:cubicBezTo>
                    <a:pt x="1012264" y="2731994"/>
                    <a:pt x="990356" y="2731994"/>
                    <a:pt x="979879" y="2731042"/>
                  </a:cubicBezTo>
                  <a:close/>
                  <a:moveTo>
                    <a:pt x="1231339" y="2808194"/>
                  </a:moveTo>
                  <a:lnTo>
                    <a:pt x="1236101" y="2710086"/>
                  </a:lnTo>
                  <a:lnTo>
                    <a:pt x="1299919" y="2646269"/>
                  </a:lnTo>
                  <a:lnTo>
                    <a:pt x="1363736" y="2710086"/>
                  </a:lnTo>
                  <a:lnTo>
                    <a:pt x="1368499" y="2808194"/>
                  </a:lnTo>
                  <a:lnTo>
                    <a:pt x="1231339" y="2808194"/>
                  </a:lnTo>
                  <a:lnTo>
                    <a:pt x="1231339" y="2808194"/>
                  </a:lnTo>
                  <a:close/>
                  <a:moveTo>
                    <a:pt x="1664726" y="2704371"/>
                  </a:moveTo>
                  <a:cubicBezTo>
                    <a:pt x="1650439" y="2725327"/>
                    <a:pt x="1630436" y="2731042"/>
                    <a:pt x="1619006" y="2731994"/>
                  </a:cubicBezTo>
                  <a:cubicBezTo>
                    <a:pt x="1607576" y="2732946"/>
                    <a:pt x="1586621" y="2731994"/>
                    <a:pt x="1568524" y="2713896"/>
                  </a:cubicBezTo>
                  <a:lnTo>
                    <a:pt x="1403741" y="2549114"/>
                  </a:lnTo>
                  <a:lnTo>
                    <a:pt x="1830461" y="2175734"/>
                  </a:lnTo>
                  <a:lnTo>
                    <a:pt x="1941904" y="2287177"/>
                  </a:lnTo>
                  <a:lnTo>
                    <a:pt x="1664726" y="27043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5" name="Forma Livre: Forma 34">
              <a:extLst>
                <a:ext uri="{FF2B5EF4-FFF2-40B4-BE49-F238E27FC236}">
                  <a16:creationId xmlns:a16="http://schemas.microsoft.com/office/drawing/2014/main" id="{2C6D7743-7E51-4C3F-82E6-29184EF83BEB}"/>
                </a:ext>
              </a:extLst>
            </p:cNvPr>
            <p:cNvSpPr/>
            <p:nvPr/>
          </p:nvSpPr>
          <p:spPr>
            <a:xfrm>
              <a:off x="3657238" y="1295400"/>
              <a:ext cx="2551363" cy="4266247"/>
            </a:xfrm>
            <a:custGeom>
              <a:avLst/>
              <a:gdLst>
                <a:gd name="connsiteX0" fmla="*/ 2265407 w 2551363"/>
                <a:gd name="connsiteY0" fmla="*/ 2748915 h 4266247"/>
                <a:gd name="connsiteX1" fmla="*/ 1916792 w 2551363"/>
                <a:gd name="connsiteY1" fmla="*/ 2596515 h 4266247"/>
                <a:gd name="connsiteX2" fmla="*/ 1726292 w 2551363"/>
                <a:gd name="connsiteY2" fmla="*/ 2406015 h 4266247"/>
                <a:gd name="connsiteX3" fmla="*/ 1680572 w 2551363"/>
                <a:gd name="connsiteY3" fmla="*/ 2385060 h 4266247"/>
                <a:gd name="connsiteX4" fmla="*/ 1680572 w 2551363"/>
                <a:gd name="connsiteY4" fmla="*/ 2272665 h 4266247"/>
                <a:gd name="connsiteX5" fmla="*/ 2001564 w 2551363"/>
                <a:gd name="connsiteY5" fmla="*/ 1792605 h 4266247"/>
                <a:gd name="connsiteX6" fmla="*/ 2057762 w 2551363"/>
                <a:gd name="connsiteY6" fmla="*/ 1786890 h 4266247"/>
                <a:gd name="connsiteX7" fmla="*/ 2215877 w 2551363"/>
                <a:gd name="connsiteY7" fmla="*/ 1578293 h 4266247"/>
                <a:gd name="connsiteX8" fmla="*/ 2215877 w 2551363"/>
                <a:gd name="connsiteY8" fmla="*/ 1525905 h 4266247"/>
                <a:gd name="connsiteX9" fmla="*/ 2124437 w 2551363"/>
                <a:gd name="connsiteY9" fmla="*/ 1350645 h 4266247"/>
                <a:gd name="connsiteX10" fmla="*/ 2149202 w 2551363"/>
                <a:gd name="connsiteY10" fmla="*/ 1152525 h 4266247"/>
                <a:gd name="connsiteX11" fmla="*/ 1748199 w 2551363"/>
                <a:gd name="connsiteY11" fmla="*/ 445770 h 4266247"/>
                <a:gd name="connsiteX12" fmla="*/ 1274807 w 2551363"/>
                <a:gd name="connsiteY12" fmla="*/ 0 h 4266247"/>
                <a:gd name="connsiteX13" fmla="*/ 802367 w 2551363"/>
                <a:gd name="connsiteY13" fmla="*/ 447675 h 4266247"/>
                <a:gd name="connsiteX14" fmla="*/ 401364 w 2551363"/>
                <a:gd name="connsiteY14" fmla="*/ 1153478 h 4266247"/>
                <a:gd name="connsiteX15" fmla="*/ 426129 w 2551363"/>
                <a:gd name="connsiteY15" fmla="*/ 1350645 h 4266247"/>
                <a:gd name="connsiteX16" fmla="*/ 334689 w 2551363"/>
                <a:gd name="connsiteY16" fmla="*/ 1527810 h 4266247"/>
                <a:gd name="connsiteX17" fmla="*/ 334689 w 2551363"/>
                <a:gd name="connsiteY17" fmla="*/ 1579245 h 4266247"/>
                <a:gd name="connsiteX18" fmla="*/ 492804 w 2551363"/>
                <a:gd name="connsiteY18" fmla="*/ 1787843 h 4266247"/>
                <a:gd name="connsiteX19" fmla="*/ 549002 w 2551363"/>
                <a:gd name="connsiteY19" fmla="*/ 1793558 h 4266247"/>
                <a:gd name="connsiteX20" fmla="*/ 869994 w 2551363"/>
                <a:gd name="connsiteY20" fmla="*/ 2273618 h 4266247"/>
                <a:gd name="connsiteX21" fmla="*/ 869994 w 2551363"/>
                <a:gd name="connsiteY21" fmla="*/ 2386013 h 4266247"/>
                <a:gd name="connsiteX22" fmla="*/ 824274 w 2551363"/>
                <a:gd name="connsiteY22" fmla="*/ 2406968 h 4266247"/>
                <a:gd name="connsiteX23" fmla="*/ 633774 w 2551363"/>
                <a:gd name="connsiteY23" fmla="*/ 2597468 h 4266247"/>
                <a:gd name="connsiteX24" fmla="*/ 285159 w 2551363"/>
                <a:gd name="connsiteY24" fmla="*/ 2749868 h 4266247"/>
                <a:gd name="connsiteX25" fmla="*/ 362 w 2551363"/>
                <a:gd name="connsiteY25" fmla="*/ 3202305 h 4266247"/>
                <a:gd name="connsiteX26" fmla="*/ 42272 w 2551363"/>
                <a:gd name="connsiteY26" fmla="*/ 4197668 h 4266247"/>
                <a:gd name="connsiteX27" fmla="*/ 113709 w 2551363"/>
                <a:gd name="connsiteY27" fmla="*/ 4266248 h 4266247"/>
                <a:gd name="connsiteX28" fmla="*/ 116567 w 2551363"/>
                <a:gd name="connsiteY28" fmla="*/ 4266248 h 4266247"/>
                <a:gd name="connsiteX29" fmla="*/ 185147 w 2551363"/>
                <a:gd name="connsiteY29" fmla="*/ 4191953 h 4266247"/>
                <a:gd name="connsiteX30" fmla="*/ 143237 w 2551363"/>
                <a:gd name="connsiteY30" fmla="*/ 3196590 h 4266247"/>
                <a:gd name="connsiteX31" fmla="*/ 188957 w 2551363"/>
                <a:gd name="connsiteY31" fmla="*/ 3016568 h 4266247"/>
                <a:gd name="connsiteX32" fmla="*/ 376599 w 2551363"/>
                <a:gd name="connsiteY32" fmla="*/ 3241358 h 4266247"/>
                <a:gd name="connsiteX33" fmla="*/ 468039 w 2551363"/>
                <a:gd name="connsiteY33" fmla="*/ 3494723 h 4266247"/>
                <a:gd name="connsiteX34" fmla="*/ 468039 w 2551363"/>
                <a:gd name="connsiteY34" fmla="*/ 4193858 h 4266247"/>
                <a:gd name="connsiteX35" fmla="*/ 539477 w 2551363"/>
                <a:gd name="connsiteY35" fmla="*/ 4265295 h 4266247"/>
                <a:gd name="connsiteX36" fmla="*/ 610914 w 2551363"/>
                <a:gd name="connsiteY36" fmla="*/ 4193858 h 4266247"/>
                <a:gd name="connsiteX37" fmla="*/ 610914 w 2551363"/>
                <a:gd name="connsiteY37" fmla="*/ 3494723 h 4266247"/>
                <a:gd name="connsiteX38" fmla="*/ 486137 w 2551363"/>
                <a:gd name="connsiteY38" fmla="*/ 3149918 h 4266247"/>
                <a:gd name="connsiteX39" fmla="*/ 287064 w 2551363"/>
                <a:gd name="connsiteY39" fmla="*/ 2910840 h 4266247"/>
                <a:gd name="connsiteX40" fmla="*/ 341357 w 2551363"/>
                <a:gd name="connsiteY40" fmla="*/ 2880360 h 4266247"/>
                <a:gd name="connsiteX41" fmla="*/ 645204 w 2551363"/>
                <a:gd name="connsiteY41" fmla="*/ 2747963 h 4266247"/>
                <a:gd name="connsiteX42" fmla="*/ 860469 w 2551363"/>
                <a:gd name="connsiteY42" fmla="*/ 3096578 h 4266247"/>
                <a:gd name="connsiteX43" fmla="*/ 956672 w 2551363"/>
                <a:gd name="connsiteY43" fmla="*/ 3160395 h 4266247"/>
                <a:gd name="connsiteX44" fmla="*/ 978579 w 2551363"/>
                <a:gd name="connsiteY44" fmla="*/ 3162300 h 4266247"/>
                <a:gd name="connsiteX45" fmla="*/ 1068114 w 2551363"/>
                <a:gd name="connsiteY45" fmla="*/ 3128963 h 4266247"/>
                <a:gd name="connsiteX46" fmla="*/ 1204322 w 2551363"/>
                <a:gd name="connsiteY46" fmla="*/ 3012758 h 4266247"/>
                <a:gd name="connsiteX47" fmla="*/ 1204322 w 2551363"/>
                <a:gd name="connsiteY47" fmla="*/ 4194810 h 4266247"/>
                <a:gd name="connsiteX48" fmla="*/ 1275759 w 2551363"/>
                <a:gd name="connsiteY48" fmla="*/ 4266248 h 4266247"/>
                <a:gd name="connsiteX49" fmla="*/ 1347197 w 2551363"/>
                <a:gd name="connsiteY49" fmla="*/ 4194810 h 4266247"/>
                <a:gd name="connsiteX50" fmla="*/ 1347197 w 2551363"/>
                <a:gd name="connsiteY50" fmla="*/ 3012758 h 4266247"/>
                <a:gd name="connsiteX51" fmla="*/ 1483404 w 2551363"/>
                <a:gd name="connsiteY51" fmla="*/ 3128963 h 4266247"/>
                <a:gd name="connsiteX52" fmla="*/ 1572939 w 2551363"/>
                <a:gd name="connsiteY52" fmla="*/ 3162300 h 4266247"/>
                <a:gd name="connsiteX53" fmla="*/ 1594847 w 2551363"/>
                <a:gd name="connsiteY53" fmla="*/ 3160395 h 4266247"/>
                <a:gd name="connsiteX54" fmla="*/ 1691049 w 2551363"/>
                <a:gd name="connsiteY54" fmla="*/ 3096578 h 4266247"/>
                <a:gd name="connsiteX55" fmla="*/ 1906314 w 2551363"/>
                <a:gd name="connsiteY55" fmla="*/ 2747963 h 4266247"/>
                <a:gd name="connsiteX56" fmla="*/ 2210162 w 2551363"/>
                <a:gd name="connsiteY56" fmla="*/ 2880360 h 4266247"/>
                <a:gd name="connsiteX57" fmla="*/ 2264454 w 2551363"/>
                <a:gd name="connsiteY57" fmla="*/ 2910840 h 4266247"/>
                <a:gd name="connsiteX58" fmla="*/ 2065382 w 2551363"/>
                <a:gd name="connsiteY58" fmla="*/ 3149918 h 4266247"/>
                <a:gd name="connsiteX59" fmla="*/ 1940604 w 2551363"/>
                <a:gd name="connsiteY59" fmla="*/ 3494723 h 4266247"/>
                <a:gd name="connsiteX60" fmla="*/ 1940604 w 2551363"/>
                <a:gd name="connsiteY60" fmla="*/ 4193858 h 4266247"/>
                <a:gd name="connsiteX61" fmla="*/ 2012042 w 2551363"/>
                <a:gd name="connsiteY61" fmla="*/ 4265295 h 4266247"/>
                <a:gd name="connsiteX62" fmla="*/ 2083479 w 2551363"/>
                <a:gd name="connsiteY62" fmla="*/ 4193858 h 4266247"/>
                <a:gd name="connsiteX63" fmla="*/ 2083479 w 2551363"/>
                <a:gd name="connsiteY63" fmla="*/ 3494723 h 4266247"/>
                <a:gd name="connsiteX64" fmla="*/ 2174919 w 2551363"/>
                <a:gd name="connsiteY64" fmla="*/ 3241358 h 4266247"/>
                <a:gd name="connsiteX65" fmla="*/ 2362562 w 2551363"/>
                <a:gd name="connsiteY65" fmla="*/ 3016568 h 4266247"/>
                <a:gd name="connsiteX66" fmla="*/ 2408282 w 2551363"/>
                <a:gd name="connsiteY66" fmla="*/ 3196590 h 4266247"/>
                <a:gd name="connsiteX67" fmla="*/ 2366372 w 2551363"/>
                <a:gd name="connsiteY67" fmla="*/ 4191953 h 4266247"/>
                <a:gd name="connsiteX68" fmla="*/ 2434952 w 2551363"/>
                <a:gd name="connsiteY68" fmla="*/ 4266248 h 4266247"/>
                <a:gd name="connsiteX69" fmla="*/ 2437809 w 2551363"/>
                <a:gd name="connsiteY69" fmla="*/ 4266248 h 4266247"/>
                <a:gd name="connsiteX70" fmla="*/ 2509247 w 2551363"/>
                <a:gd name="connsiteY70" fmla="*/ 4197668 h 4266247"/>
                <a:gd name="connsiteX71" fmla="*/ 2551157 w 2551363"/>
                <a:gd name="connsiteY71" fmla="*/ 3202305 h 4266247"/>
                <a:gd name="connsiteX72" fmla="*/ 2265407 w 2551363"/>
                <a:gd name="connsiteY72" fmla="*/ 2748915 h 4266247"/>
                <a:gd name="connsiteX73" fmla="*/ 1274807 w 2551363"/>
                <a:gd name="connsiteY73" fmla="*/ 142875 h 4266247"/>
                <a:gd name="connsiteX74" fmla="*/ 1592942 w 2551363"/>
                <a:gd name="connsiteY74" fmla="*/ 371475 h 4266247"/>
                <a:gd name="connsiteX75" fmla="*/ 1274807 w 2551363"/>
                <a:gd name="connsiteY75" fmla="*/ 313373 h 4266247"/>
                <a:gd name="connsiteX76" fmla="*/ 956672 w 2551363"/>
                <a:gd name="connsiteY76" fmla="*/ 371475 h 4266247"/>
                <a:gd name="connsiteX77" fmla="*/ 1274807 w 2551363"/>
                <a:gd name="connsiteY77" fmla="*/ 142875 h 4266247"/>
                <a:gd name="connsiteX78" fmla="*/ 688067 w 2551363"/>
                <a:gd name="connsiteY78" fmla="*/ 1763078 h 4266247"/>
                <a:gd name="connsiteX79" fmla="*/ 543287 w 2551363"/>
                <a:gd name="connsiteY79" fmla="*/ 1649730 h 4266247"/>
                <a:gd name="connsiteX80" fmla="*/ 524237 w 2551363"/>
                <a:gd name="connsiteY80" fmla="*/ 1647825 h 4266247"/>
                <a:gd name="connsiteX81" fmla="*/ 476612 w 2551363"/>
                <a:gd name="connsiteY81" fmla="*/ 1578293 h 4266247"/>
                <a:gd name="connsiteX82" fmla="*/ 476612 w 2551363"/>
                <a:gd name="connsiteY82" fmla="*/ 1526858 h 4266247"/>
                <a:gd name="connsiteX83" fmla="*/ 527094 w 2551363"/>
                <a:gd name="connsiteY83" fmla="*/ 1459230 h 4266247"/>
                <a:gd name="connsiteX84" fmla="*/ 588054 w 2551363"/>
                <a:gd name="connsiteY84" fmla="*/ 1483043 h 4266247"/>
                <a:gd name="connsiteX85" fmla="*/ 638537 w 2551363"/>
                <a:gd name="connsiteY85" fmla="*/ 1518285 h 4266247"/>
                <a:gd name="connsiteX86" fmla="*/ 725214 w 2551363"/>
                <a:gd name="connsiteY86" fmla="*/ 1503998 h 4266247"/>
                <a:gd name="connsiteX87" fmla="*/ 840467 w 2551363"/>
                <a:gd name="connsiteY87" fmla="*/ 1391603 h 4266247"/>
                <a:gd name="connsiteX88" fmla="*/ 826179 w 2551363"/>
                <a:gd name="connsiteY88" fmla="*/ 1291590 h 4266247"/>
                <a:gd name="connsiteX89" fmla="*/ 726167 w 2551363"/>
                <a:gd name="connsiteY89" fmla="*/ 1305878 h 4266247"/>
                <a:gd name="connsiteX90" fmla="*/ 671874 w 2551363"/>
                <a:gd name="connsiteY90" fmla="*/ 1364933 h 4266247"/>
                <a:gd name="connsiteX91" fmla="*/ 564242 w 2551363"/>
                <a:gd name="connsiteY91" fmla="*/ 1317308 h 4266247"/>
                <a:gd name="connsiteX92" fmla="*/ 543287 w 2551363"/>
                <a:gd name="connsiteY92" fmla="*/ 1153478 h 4266247"/>
                <a:gd name="connsiteX93" fmla="*/ 1273854 w 2551363"/>
                <a:gd name="connsiteY93" fmla="*/ 456248 h 4266247"/>
                <a:gd name="connsiteX94" fmla="*/ 2004422 w 2551363"/>
                <a:gd name="connsiteY94" fmla="*/ 1153478 h 4266247"/>
                <a:gd name="connsiteX95" fmla="*/ 1983467 w 2551363"/>
                <a:gd name="connsiteY95" fmla="*/ 1317308 h 4266247"/>
                <a:gd name="connsiteX96" fmla="*/ 1928222 w 2551363"/>
                <a:gd name="connsiteY96" fmla="*/ 1326833 h 4266247"/>
                <a:gd name="connsiteX97" fmla="*/ 1874882 w 2551363"/>
                <a:gd name="connsiteY97" fmla="*/ 1283018 h 4266247"/>
                <a:gd name="connsiteX98" fmla="*/ 1779632 w 2551363"/>
                <a:gd name="connsiteY98" fmla="*/ 1251585 h 4266247"/>
                <a:gd name="connsiteX99" fmla="*/ 861422 w 2551363"/>
                <a:gd name="connsiteY99" fmla="*/ 942023 h 4266247"/>
                <a:gd name="connsiteX100" fmla="*/ 760457 w 2551363"/>
                <a:gd name="connsiteY100" fmla="*/ 933450 h 4266247"/>
                <a:gd name="connsiteX101" fmla="*/ 751884 w 2551363"/>
                <a:gd name="connsiteY101" fmla="*/ 1034415 h 4266247"/>
                <a:gd name="connsiteX102" fmla="*/ 1345292 w 2551363"/>
                <a:gd name="connsiteY102" fmla="*/ 1362075 h 4266247"/>
                <a:gd name="connsiteX103" fmla="*/ 1786299 w 2551363"/>
                <a:gd name="connsiteY103" fmla="*/ 1395413 h 4266247"/>
                <a:gd name="connsiteX104" fmla="*/ 1870119 w 2551363"/>
                <a:gd name="connsiteY104" fmla="*/ 1463993 h 4266247"/>
                <a:gd name="connsiteX105" fmla="*/ 1951082 w 2551363"/>
                <a:gd name="connsiteY105" fmla="*/ 1470660 h 4266247"/>
                <a:gd name="connsiteX106" fmla="*/ 2021567 w 2551363"/>
                <a:gd name="connsiteY106" fmla="*/ 1461135 h 4266247"/>
                <a:gd name="connsiteX107" fmla="*/ 2072049 w 2551363"/>
                <a:gd name="connsiteY107" fmla="*/ 1527810 h 4266247"/>
                <a:gd name="connsiteX108" fmla="*/ 2072049 w 2551363"/>
                <a:gd name="connsiteY108" fmla="*/ 1580198 h 4266247"/>
                <a:gd name="connsiteX109" fmla="*/ 2024424 w 2551363"/>
                <a:gd name="connsiteY109" fmla="*/ 1649730 h 4266247"/>
                <a:gd name="connsiteX110" fmla="*/ 2005374 w 2551363"/>
                <a:gd name="connsiteY110" fmla="*/ 1651635 h 4266247"/>
                <a:gd name="connsiteX111" fmla="*/ 1860594 w 2551363"/>
                <a:gd name="connsiteY111" fmla="*/ 1764983 h 4266247"/>
                <a:gd name="connsiteX112" fmla="*/ 1273854 w 2551363"/>
                <a:gd name="connsiteY112" fmla="*/ 2253615 h 4266247"/>
                <a:gd name="connsiteX113" fmla="*/ 688067 w 2551363"/>
                <a:gd name="connsiteY113" fmla="*/ 1763078 h 4266247"/>
                <a:gd name="connsiteX114" fmla="*/ 1274807 w 2551363"/>
                <a:gd name="connsiteY114" fmla="*/ 2394585 h 4266247"/>
                <a:gd name="connsiteX115" fmla="*/ 1537697 w 2551363"/>
                <a:gd name="connsiteY115" fmla="*/ 2346008 h 4266247"/>
                <a:gd name="connsiteX116" fmla="*/ 1537697 w 2551363"/>
                <a:gd name="connsiteY116" fmla="*/ 2493645 h 4266247"/>
                <a:gd name="connsiteX117" fmla="*/ 1274807 w 2551363"/>
                <a:gd name="connsiteY117" fmla="*/ 2756535 h 4266247"/>
                <a:gd name="connsiteX118" fmla="*/ 1011917 w 2551363"/>
                <a:gd name="connsiteY118" fmla="*/ 2493645 h 4266247"/>
                <a:gd name="connsiteX119" fmla="*/ 1011917 w 2551363"/>
                <a:gd name="connsiteY119" fmla="*/ 2346008 h 4266247"/>
                <a:gd name="connsiteX120" fmla="*/ 1274807 w 2551363"/>
                <a:gd name="connsiteY120" fmla="*/ 2394585 h 4266247"/>
                <a:gd name="connsiteX121" fmla="*/ 978579 w 2551363"/>
                <a:gd name="connsiteY121" fmla="*/ 3016568 h 4266247"/>
                <a:gd name="connsiteX122" fmla="*/ 763314 w 2551363"/>
                <a:gd name="connsiteY122" fmla="*/ 2667953 h 4266247"/>
                <a:gd name="connsiteX123" fmla="*/ 873804 w 2551363"/>
                <a:gd name="connsiteY123" fmla="*/ 2557463 h 4266247"/>
                <a:gd name="connsiteX124" fmla="*/ 1170032 w 2551363"/>
                <a:gd name="connsiteY124" fmla="*/ 2853690 h 4266247"/>
                <a:gd name="connsiteX125" fmla="*/ 978579 w 2551363"/>
                <a:gd name="connsiteY125" fmla="*/ 3016568 h 4266247"/>
                <a:gd name="connsiteX126" fmla="*/ 1571034 w 2551363"/>
                <a:gd name="connsiteY126" fmla="*/ 3016568 h 4266247"/>
                <a:gd name="connsiteX127" fmla="*/ 1379582 w 2551363"/>
                <a:gd name="connsiteY127" fmla="*/ 2853690 h 4266247"/>
                <a:gd name="connsiteX128" fmla="*/ 1675809 w 2551363"/>
                <a:gd name="connsiteY128" fmla="*/ 2557463 h 4266247"/>
                <a:gd name="connsiteX129" fmla="*/ 1786299 w 2551363"/>
                <a:gd name="connsiteY129" fmla="*/ 2667953 h 4266247"/>
                <a:gd name="connsiteX130" fmla="*/ 1571034 w 2551363"/>
                <a:gd name="connsiteY130" fmla="*/ 3016568 h 4266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</a:cxnLst>
              <a:rect l="l" t="t" r="r" b="b"/>
              <a:pathLst>
                <a:path w="2551363" h="4266247">
                  <a:moveTo>
                    <a:pt x="2265407" y="2748915"/>
                  </a:moveTo>
                  <a:lnTo>
                    <a:pt x="1916792" y="2596515"/>
                  </a:lnTo>
                  <a:lnTo>
                    <a:pt x="1726292" y="2406015"/>
                  </a:lnTo>
                  <a:cubicBezTo>
                    <a:pt x="1713909" y="2393633"/>
                    <a:pt x="1696764" y="2386013"/>
                    <a:pt x="1680572" y="2385060"/>
                  </a:cubicBezTo>
                  <a:lnTo>
                    <a:pt x="1680572" y="2272665"/>
                  </a:lnTo>
                  <a:cubicBezTo>
                    <a:pt x="1843449" y="2165985"/>
                    <a:pt x="1962512" y="1995488"/>
                    <a:pt x="2001564" y="1792605"/>
                  </a:cubicBezTo>
                  <a:cubicBezTo>
                    <a:pt x="2020614" y="1793558"/>
                    <a:pt x="2039664" y="1791653"/>
                    <a:pt x="2057762" y="1786890"/>
                  </a:cubicBezTo>
                  <a:cubicBezTo>
                    <a:pt x="2149202" y="1764983"/>
                    <a:pt x="2215877" y="1677353"/>
                    <a:pt x="2215877" y="1578293"/>
                  </a:cubicBezTo>
                  <a:lnTo>
                    <a:pt x="2215877" y="1525905"/>
                  </a:lnTo>
                  <a:cubicBezTo>
                    <a:pt x="2215877" y="1453515"/>
                    <a:pt x="2179682" y="1388745"/>
                    <a:pt x="2124437" y="1350645"/>
                  </a:cubicBezTo>
                  <a:cubicBezTo>
                    <a:pt x="2140629" y="1285875"/>
                    <a:pt x="2149202" y="1219200"/>
                    <a:pt x="2149202" y="1152525"/>
                  </a:cubicBezTo>
                  <a:cubicBezTo>
                    <a:pt x="2149202" y="856298"/>
                    <a:pt x="1989182" y="596265"/>
                    <a:pt x="1748199" y="445770"/>
                  </a:cubicBezTo>
                  <a:cubicBezTo>
                    <a:pt x="1744389" y="200025"/>
                    <a:pt x="1533887" y="0"/>
                    <a:pt x="1274807" y="0"/>
                  </a:cubicBezTo>
                  <a:cubicBezTo>
                    <a:pt x="1015727" y="0"/>
                    <a:pt x="805224" y="200025"/>
                    <a:pt x="802367" y="447675"/>
                  </a:cubicBezTo>
                  <a:cubicBezTo>
                    <a:pt x="561384" y="597218"/>
                    <a:pt x="401364" y="857250"/>
                    <a:pt x="401364" y="1153478"/>
                  </a:cubicBezTo>
                  <a:cubicBezTo>
                    <a:pt x="401364" y="1220153"/>
                    <a:pt x="409937" y="1285875"/>
                    <a:pt x="426129" y="1350645"/>
                  </a:cubicBezTo>
                  <a:cubicBezTo>
                    <a:pt x="370884" y="1388745"/>
                    <a:pt x="334689" y="1454468"/>
                    <a:pt x="334689" y="1527810"/>
                  </a:cubicBezTo>
                  <a:lnTo>
                    <a:pt x="334689" y="1579245"/>
                  </a:lnTo>
                  <a:cubicBezTo>
                    <a:pt x="334689" y="1678305"/>
                    <a:pt x="401364" y="1765935"/>
                    <a:pt x="492804" y="1787843"/>
                  </a:cubicBezTo>
                  <a:cubicBezTo>
                    <a:pt x="511854" y="1792605"/>
                    <a:pt x="529952" y="1794510"/>
                    <a:pt x="549002" y="1793558"/>
                  </a:cubicBezTo>
                  <a:cubicBezTo>
                    <a:pt x="587102" y="1996440"/>
                    <a:pt x="706164" y="2166938"/>
                    <a:pt x="869994" y="2273618"/>
                  </a:cubicBezTo>
                  <a:lnTo>
                    <a:pt x="869994" y="2386013"/>
                  </a:lnTo>
                  <a:cubicBezTo>
                    <a:pt x="852849" y="2386965"/>
                    <a:pt x="836657" y="2393633"/>
                    <a:pt x="824274" y="2406968"/>
                  </a:cubicBezTo>
                  <a:lnTo>
                    <a:pt x="633774" y="2597468"/>
                  </a:lnTo>
                  <a:lnTo>
                    <a:pt x="285159" y="2749868"/>
                  </a:lnTo>
                  <a:cubicBezTo>
                    <a:pt x="106089" y="2827020"/>
                    <a:pt x="-7258" y="3008948"/>
                    <a:pt x="362" y="3202305"/>
                  </a:cubicBezTo>
                  <a:lnTo>
                    <a:pt x="42272" y="4197668"/>
                  </a:lnTo>
                  <a:cubicBezTo>
                    <a:pt x="44177" y="4235768"/>
                    <a:pt x="75609" y="4266248"/>
                    <a:pt x="113709" y="4266248"/>
                  </a:cubicBezTo>
                  <a:cubicBezTo>
                    <a:pt x="114662" y="4266248"/>
                    <a:pt x="115614" y="4266248"/>
                    <a:pt x="116567" y="4266248"/>
                  </a:cubicBezTo>
                  <a:cubicBezTo>
                    <a:pt x="155619" y="4264343"/>
                    <a:pt x="187052" y="4231005"/>
                    <a:pt x="185147" y="4191953"/>
                  </a:cubicBezTo>
                  <a:lnTo>
                    <a:pt x="143237" y="3196590"/>
                  </a:lnTo>
                  <a:cubicBezTo>
                    <a:pt x="140379" y="3132773"/>
                    <a:pt x="157524" y="3069908"/>
                    <a:pt x="188957" y="3016568"/>
                  </a:cubicBezTo>
                  <a:lnTo>
                    <a:pt x="376599" y="3241358"/>
                  </a:lnTo>
                  <a:cubicBezTo>
                    <a:pt x="435654" y="3312795"/>
                    <a:pt x="468039" y="3402330"/>
                    <a:pt x="468039" y="3494723"/>
                  </a:cubicBezTo>
                  <a:lnTo>
                    <a:pt x="468039" y="4193858"/>
                  </a:lnTo>
                  <a:cubicBezTo>
                    <a:pt x="468039" y="4232910"/>
                    <a:pt x="500424" y="4265295"/>
                    <a:pt x="539477" y="4265295"/>
                  </a:cubicBezTo>
                  <a:cubicBezTo>
                    <a:pt x="578529" y="4265295"/>
                    <a:pt x="610914" y="4232910"/>
                    <a:pt x="610914" y="4193858"/>
                  </a:cubicBezTo>
                  <a:lnTo>
                    <a:pt x="610914" y="3494723"/>
                  </a:lnTo>
                  <a:cubicBezTo>
                    <a:pt x="610914" y="3368993"/>
                    <a:pt x="566147" y="3246120"/>
                    <a:pt x="486137" y="3149918"/>
                  </a:cubicBezTo>
                  <a:lnTo>
                    <a:pt x="287064" y="2910840"/>
                  </a:lnTo>
                  <a:cubicBezTo>
                    <a:pt x="304209" y="2899410"/>
                    <a:pt x="322307" y="2888933"/>
                    <a:pt x="341357" y="2880360"/>
                  </a:cubicBezTo>
                  <a:lnTo>
                    <a:pt x="645204" y="2747963"/>
                  </a:lnTo>
                  <a:lnTo>
                    <a:pt x="860469" y="3096578"/>
                  </a:lnTo>
                  <a:cubicBezTo>
                    <a:pt x="881424" y="3130868"/>
                    <a:pt x="916667" y="3154680"/>
                    <a:pt x="956672" y="3160395"/>
                  </a:cubicBezTo>
                  <a:cubicBezTo>
                    <a:pt x="964292" y="3161348"/>
                    <a:pt x="970959" y="3162300"/>
                    <a:pt x="978579" y="3162300"/>
                  </a:cubicBezTo>
                  <a:cubicBezTo>
                    <a:pt x="1010964" y="3162300"/>
                    <a:pt x="1043349" y="3150870"/>
                    <a:pt x="1068114" y="3128963"/>
                  </a:cubicBezTo>
                  <a:lnTo>
                    <a:pt x="1204322" y="3012758"/>
                  </a:lnTo>
                  <a:lnTo>
                    <a:pt x="1204322" y="4194810"/>
                  </a:lnTo>
                  <a:cubicBezTo>
                    <a:pt x="1204322" y="4233863"/>
                    <a:pt x="1236707" y="4266248"/>
                    <a:pt x="1275759" y="4266248"/>
                  </a:cubicBezTo>
                  <a:cubicBezTo>
                    <a:pt x="1314812" y="4266248"/>
                    <a:pt x="1347197" y="4233863"/>
                    <a:pt x="1347197" y="4194810"/>
                  </a:cubicBezTo>
                  <a:lnTo>
                    <a:pt x="1347197" y="3012758"/>
                  </a:lnTo>
                  <a:lnTo>
                    <a:pt x="1483404" y="3128963"/>
                  </a:lnTo>
                  <a:cubicBezTo>
                    <a:pt x="1508169" y="3150870"/>
                    <a:pt x="1540554" y="3162300"/>
                    <a:pt x="1572939" y="3162300"/>
                  </a:cubicBezTo>
                  <a:cubicBezTo>
                    <a:pt x="1580559" y="3162300"/>
                    <a:pt x="1587227" y="3161348"/>
                    <a:pt x="1594847" y="3160395"/>
                  </a:cubicBezTo>
                  <a:cubicBezTo>
                    <a:pt x="1634852" y="3153728"/>
                    <a:pt x="1670094" y="3130868"/>
                    <a:pt x="1691049" y="3096578"/>
                  </a:cubicBezTo>
                  <a:lnTo>
                    <a:pt x="1906314" y="2747963"/>
                  </a:lnTo>
                  <a:lnTo>
                    <a:pt x="2210162" y="2880360"/>
                  </a:lnTo>
                  <a:cubicBezTo>
                    <a:pt x="2229212" y="2888933"/>
                    <a:pt x="2247309" y="2899410"/>
                    <a:pt x="2264454" y="2910840"/>
                  </a:cubicBezTo>
                  <a:lnTo>
                    <a:pt x="2065382" y="3149918"/>
                  </a:lnTo>
                  <a:cubicBezTo>
                    <a:pt x="1984419" y="3247073"/>
                    <a:pt x="1940604" y="3368993"/>
                    <a:pt x="1940604" y="3494723"/>
                  </a:cubicBezTo>
                  <a:lnTo>
                    <a:pt x="1940604" y="4193858"/>
                  </a:lnTo>
                  <a:cubicBezTo>
                    <a:pt x="1940604" y="4232910"/>
                    <a:pt x="1972989" y="4265295"/>
                    <a:pt x="2012042" y="4265295"/>
                  </a:cubicBezTo>
                  <a:cubicBezTo>
                    <a:pt x="2051094" y="4265295"/>
                    <a:pt x="2083479" y="4232910"/>
                    <a:pt x="2083479" y="4193858"/>
                  </a:cubicBezTo>
                  <a:lnTo>
                    <a:pt x="2083479" y="3494723"/>
                  </a:lnTo>
                  <a:cubicBezTo>
                    <a:pt x="2083479" y="3402330"/>
                    <a:pt x="2115864" y="3311843"/>
                    <a:pt x="2174919" y="3241358"/>
                  </a:cubicBezTo>
                  <a:lnTo>
                    <a:pt x="2362562" y="3016568"/>
                  </a:lnTo>
                  <a:cubicBezTo>
                    <a:pt x="2393994" y="3069908"/>
                    <a:pt x="2410187" y="3132773"/>
                    <a:pt x="2408282" y="3196590"/>
                  </a:cubicBezTo>
                  <a:lnTo>
                    <a:pt x="2366372" y="4191953"/>
                  </a:lnTo>
                  <a:cubicBezTo>
                    <a:pt x="2364467" y="4231005"/>
                    <a:pt x="2394947" y="4264343"/>
                    <a:pt x="2434952" y="4266248"/>
                  </a:cubicBezTo>
                  <a:cubicBezTo>
                    <a:pt x="2435904" y="4266248"/>
                    <a:pt x="2436857" y="4266248"/>
                    <a:pt x="2437809" y="4266248"/>
                  </a:cubicBezTo>
                  <a:cubicBezTo>
                    <a:pt x="2475909" y="4266248"/>
                    <a:pt x="2507342" y="4235768"/>
                    <a:pt x="2509247" y="4197668"/>
                  </a:cubicBezTo>
                  <a:lnTo>
                    <a:pt x="2551157" y="3202305"/>
                  </a:lnTo>
                  <a:cubicBezTo>
                    <a:pt x="2556872" y="3008948"/>
                    <a:pt x="2443524" y="2827020"/>
                    <a:pt x="2265407" y="2748915"/>
                  </a:cubicBezTo>
                  <a:close/>
                  <a:moveTo>
                    <a:pt x="1274807" y="142875"/>
                  </a:moveTo>
                  <a:cubicBezTo>
                    <a:pt x="1427207" y="142875"/>
                    <a:pt x="1554842" y="240030"/>
                    <a:pt x="1592942" y="371475"/>
                  </a:cubicBezTo>
                  <a:cubicBezTo>
                    <a:pt x="1493882" y="334328"/>
                    <a:pt x="1387202" y="313373"/>
                    <a:pt x="1274807" y="313373"/>
                  </a:cubicBezTo>
                  <a:cubicBezTo>
                    <a:pt x="1162412" y="313373"/>
                    <a:pt x="1055732" y="333375"/>
                    <a:pt x="956672" y="371475"/>
                  </a:cubicBezTo>
                  <a:cubicBezTo>
                    <a:pt x="994772" y="240030"/>
                    <a:pt x="1122407" y="142875"/>
                    <a:pt x="1274807" y="142875"/>
                  </a:cubicBezTo>
                  <a:close/>
                  <a:moveTo>
                    <a:pt x="688067" y="1763078"/>
                  </a:moveTo>
                  <a:cubicBezTo>
                    <a:pt x="675684" y="1694498"/>
                    <a:pt x="611867" y="1644968"/>
                    <a:pt x="543287" y="1649730"/>
                  </a:cubicBezTo>
                  <a:cubicBezTo>
                    <a:pt x="537572" y="1649730"/>
                    <a:pt x="530904" y="1649730"/>
                    <a:pt x="524237" y="1647825"/>
                  </a:cubicBezTo>
                  <a:cubicBezTo>
                    <a:pt x="496614" y="1641158"/>
                    <a:pt x="476612" y="1611630"/>
                    <a:pt x="476612" y="1578293"/>
                  </a:cubicBezTo>
                  <a:lnTo>
                    <a:pt x="476612" y="1526858"/>
                  </a:lnTo>
                  <a:cubicBezTo>
                    <a:pt x="476612" y="1493520"/>
                    <a:pt x="498519" y="1463993"/>
                    <a:pt x="527094" y="1459230"/>
                  </a:cubicBezTo>
                  <a:cubicBezTo>
                    <a:pt x="550907" y="1455420"/>
                    <a:pt x="573767" y="1463993"/>
                    <a:pt x="588054" y="1483043"/>
                  </a:cubicBezTo>
                  <a:cubicBezTo>
                    <a:pt x="601389" y="1500188"/>
                    <a:pt x="618534" y="1512570"/>
                    <a:pt x="638537" y="1518285"/>
                  </a:cubicBezTo>
                  <a:cubicBezTo>
                    <a:pt x="668064" y="1526858"/>
                    <a:pt x="700449" y="1522095"/>
                    <a:pt x="725214" y="1503998"/>
                  </a:cubicBezTo>
                  <a:cubicBezTo>
                    <a:pt x="769029" y="1472565"/>
                    <a:pt x="808082" y="1435418"/>
                    <a:pt x="840467" y="1391603"/>
                  </a:cubicBezTo>
                  <a:cubicBezTo>
                    <a:pt x="864279" y="1360170"/>
                    <a:pt x="857612" y="1315403"/>
                    <a:pt x="826179" y="1291590"/>
                  </a:cubicBezTo>
                  <a:cubicBezTo>
                    <a:pt x="794747" y="1267778"/>
                    <a:pt x="749979" y="1274445"/>
                    <a:pt x="726167" y="1305878"/>
                  </a:cubicBezTo>
                  <a:cubicBezTo>
                    <a:pt x="709974" y="1327785"/>
                    <a:pt x="691877" y="1346835"/>
                    <a:pt x="671874" y="1364933"/>
                  </a:cubicBezTo>
                  <a:cubicBezTo>
                    <a:pt x="641394" y="1339215"/>
                    <a:pt x="604247" y="1322070"/>
                    <a:pt x="564242" y="1317308"/>
                  </a:cubicBezTo>
                  <a:cubicBezTo>
                    <a:pt x="550907" y="1263968"/>
                    <a:pt x="543287" y="1208723"/>
                    <a:pt x="543287" y="1153478"/>
                  </a:cubicBezTo>
                  <a:cubicBezTo>
                    <a:pt x="543287" y="768668"/>
                    <a:pt x="870947" y="456248"/>
                    <a:pt x="1273854" y="456248"/>
                  </a:cubicBezTo>
                  <a:cubicBezTo>
                    <a:pt x="1676762" y="456248"/>
                    <a:pt x="2004422" y="768668"/>
                    <a:pt x="2004422" y="1153478"/>
                  </a:cubicBezTo>
                  <a:cubicBezTo>
                    <a:pt x="2004422" y="1208723"/>
                    <a:pt x="1997754" y="1263968"/>
                    <a:pt x="1983467" y="1317308"/>
                  </a:cubicBezTo>
                  <a:cubicBezTo>
                    <a:pt x="1964417" y="1319213"/>
                    <a:pt x="1945367" y="1322070"/>
                    <a:pt x="1928222" y="1326833"/>
                  </a:cubicBezTo>
                  <a:lnTo>
                    <a:pt x="1874882" y="1283018"/>
                  </a:lnTo>
                  <a:cubicBezTo>
                    <a:pt x="1848212" y="1261110"/>
                    <a:pt x="1813922" y="1249680"/>
                    <a:pt x="1779632" y="1251585"/>
                  </a:cubicBezTo>
                  <a:cubicBezTo>
                    <a:pt x="1674857" y="1258253"/>
                    <a:pt x="1136694" y="1271588"/>
                    <a:pt x="861422" y="942023"/>
                  </a:cubicBezTo>
                  <a:cubicBezTo>
                    <a:pt x="835704" y="911543"/>
                    <a:pt x="790937" y="907733"/>
                    <a:pt x="760457" y="933450"/>
                  </a:cubicBezTo>
                  <a:cubicBezTo>
                    <a:pt x="729977" y="959168"/>
                    <a:pt x="726167" y="1003935"/>
                    <a:pt x="751884" y="1034415"/>
                  </a:cubicBezTo>
                  <a:cubicBezTo>
                    <a:pt x="888092" y="1197293"/>
                    <a:pt x="1087164" y="1307783"/>
                    <a:pt x="1345292" y="1362075"/>
                  </a:cubicBezTo>
                  <a:cubicBezTo>
                    <a:pt x="1542459" y="1403985"/>
                    <a:pt x="1717719" y="1399223"/>
                    <a:pt x="1786299" y="1395413"/>
                  </a:cubicBezTo>
                  <a:lnTo>
                    <a:pt x="1870119" y="1463993"/>
                  </a:lnTo>
                  <a:cubicBezTo>
                    <a:pt x="1892979" y="1483043"/>
                    <a:pt x="1925364" y="1485900"/>
                    <a:pt x="1951082" y="1470660"/>
                  </a:cubicBezTo>
                  <a:cubicBezTo>
                    <a:pt x="1963464" y="1463993"/>
                    <a:pt x="2003469" y="1457325"/>
                    <a:pt x="2021567" y="1461135"/>
                  </a:cubicBezTo>
                  <a:cubicBezTo>
                    <a:pt x="2050142" y="1466850"/>
                    <a:pt x="2072049" y="1495425"/>
                    <a:pt x="2072049" y="1527810"/>
                  </a:cubicBezTo>
                  <a:lnTo>
                    <a:pt x="2072049" y="1580198"/>
                  </a:lnTo>
                  <a:cubicBezTo>
                    <a:pt x="2072049" y="1613535"/>
                    <a:pt x="2051094" y="1643063"/>
                    <a:pt x="2024424" y="1649730"/>
                  </a:cubicBezTo>
                  <a:cubicBezTo>
                    <a:pt x="2017757" y="1651635"/>
                    <a:pt x="2012042" y="1651635"/>
                    <a:pt x="2005374" y="1651635"/>
                  </a:cubicBezTo>
                  <a:cubicBezTo>
                    <a:pt x="1936794" y="1646873"/>
                    <a:pt x="1872977" y="1696403"/>
                    <a:pt x="1860594" y="1764983"/>
                  </a:cubicBezTo>
                  <a:cubicBezTo>
                    <a:pt x="1808207" y="2047875"/>
                    <a:pt x="1562462" y="2253615"/>
                    <a:pt x="1273854" y="2253615"/>
                  </a:cubicBezTo>
                  <a:cubicBezTo>
                    <a:pt x="987152" y="2251710"/>
                    <a:pt x="740454" y="2045970"/>
                    <a:pt x="688067" y="1763078"/>
                  </a:cubicBezTo>
                  <a:close/>
                  <a:moveTo>
                    <a:pt x="1274807" y="2394585"/>
                  </a:moveTo>
                  <a:cubicBezTo>
                    <a:pt x="1367199" y="2394585"/>
                    <a:pt x="1455782" y="2377440"/>
                    <a:pt x="1537697" y="2346008"/>
                  </a:cubicBezTo>
                  <a:lnTo>
                    <a:pt x="1537697" y="2493645"/>
                  </a:lnTo>
                  <a:lnTo>
                    <a:pt x="1274807" y="2756535"/>
                  </a:lnTo>
                  <a:lnTo>
                    <a:pt x="1011917" y="2493645"/>
                  </a:lnTo>
                  <a:lnTo>
                    <a:pt x="1011917" y="2346008"/>
                  </a:lnTo>
                  <a:cubicBezTo>
                    <a:pt x="1093832" y="2377440"/>
                    <a:pt x="1182414" y="2394585"/>
                    <a:pt x="1274807" y="2394585"/>
                  </a:cubicBezTo>
                  <a:close/>
                  <a:moveTo>
                    <a:pt x="978579" y="3016568"/>
                  </a:moveTo>
                  <a:lnTo>
                    <a:pt x="763314" y="2667953"/>
                  </a:lnTo>
                  <a:lnTo>
                    <a:pt x="873804" y="2557463"/>
                  </a:lnTo>
                  <a:lnTo>
                    <a:pt x="1170032" y="2853690"/>
                  </a:lnTo>
                  <a:lnTo>
                    <a:pt x="978579" y="3016568"/>
                  </a:lnTo>
                  <a:close/>
                  <a:moveTo>
                    <a:pt x="1571034" y="3016568"/>
                  </a:moveTo>
                  <a:lnTo>
                    <a:pt x="1379582" y="2853690"/>
                  </a:lnTo>
                  <a:lnTo>
                    <a:pt x="1675809" y="2557463"/>
                  </a:lnTo>
                  <a:lnTo>
                    <a:pt x="1786299" y="2667953"/>
                  </a:lnTo>
                  <a:lnTo>
                    <a:pt x="1571034" y="301656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6" name="Forma Livre: Forma 35">
              <a:extLst>
                <a:ext uri="{FF2B5EF4-FFF2-40B4-BE49-F238E27FC236}">
                  <a16:creationId xmlns:a16="http://schemas.microsoft.com/office/drawing/2014/main" id="{F03CDE66-1BCB-41DB-A6D6-FDC9C68B9A04}"/>
                </a:ext>
              </a:extLst>
            </p:cNvPr>
            <p:cNvSpPr/>
            <p:nvPr/>
          </p:nvSpPr>
          <p:spPr>
            <a:xfrm>
              <a:off x="4392929" y="4750117"/>
              <a:ext cx="343852" cy="142875"/>
            </a:xfrm>
            <a:custGeom>
              <a:avLst/>
              <a:gdLst>
                <a:gd name="connsiteX0" fmla="*/ 271463 w 343852"/>
                <a:gd name="connsiteY0" fmla="*/ 0 h 142875"/>
                <a:gd name="connsiteX1" fmla="*/ 71438 w 343852"/>
                <a:gd name="connsiteY1" fmla="*/ 0 h 142875"/>
                <a:gd name="connsiteX2" fmla="*/ 0 w 343852"/>
                <a:gd name="connsiteY2" fmla="*/ 71438 h 142875"/>
                <a:gd name="connsiteX3" fmla="*/ 71438 w 343852"/>
                <a:gd name="connsiteY3" fmla="*/ 142875 h 142875"/>
                <a:gd name="connsiteX4" fmla="*/ 272415 w 343852"/>
                <a:gd name="connsiteY4" fmla="*/ 142875 h 142875"/>
                <a:gd name="connsiteX5" fmla="*/ 343853 w 343852"/>
                <a:gd name="connsiteY5" fmla="*/ 71438 h 142875"/>
                <a:gd name="connsiteX6" fmla="*/ 271463 w 343852"/>
                <a:gd name="connsiteY6" fmla="*/ 0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3852" h="142875">
                  <a:moveTo>
                    <a:pt x="271463" y="0"/>
                  </a:moveTo>
                  <a:lnTo>
                    <a:pt x="71438" y="0"/>
                  </a:lnTo>
                  <a:cubicBezTo>
                    <a:pt x="32385" y="0"/>
                    <a:pt x="0" y="32385"/>
                    <a:pt x="0" y="71438"/>
                  </a:cubicBezTo>
                  <a:cubicBezTo>
                    <a:pt x="0" y="110490"/>
                    <a:pt x="32385" y="142875"/>
                    <a:pt x="71438" y="142875"/>
                  </a:cubicBezTo>
                  <a:lnTo>
                    <a:pt x="272415" y="142875"/>
                  </a:lnTo>
                  <a:cubicBezTo>
                    <a:pt x="311468" y="142875"/>
                    <a:pt x="343853" y="110490"/>
                    <a:pt x="343853" y="71438"/>
                  </a:cubicBezTo>
                  <a:cubicBezTo>
                    <a:pt x="343853" y="32385"/>
                    <a:pt x="311468" y="0"/>
                    <a:pt x="271463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7" name="Gráfico 37">
            <a:extLst>
              <a:ext uri="{FF2B5EF4-FFF2-40B4-BE49-F238E27FC236}">
                <a16:creationId xmlns:a16="http://schemas.microsoft.com/office/drawing/2014/main" id="{C4E6CB80-30E5-43DD-81F8-FF241FD28608}"/>
              </a:ext>
            </a:extLst>
          </p:cNvPr>
          <p:cNvGrpSpPr/>
          <p:nvPr/>
        </p:nvGrpSpPr>
        <p:grpSpPr>
          <a:xfrm>
            <a:off x="10197091" y="3074897"/>
            <a:ext cx="691081" cy="691312"/>
            <a:chOff x="4267438" y="1600167"/>
            <a:chExt cx="3657361" cy="3658585"/>
          </a:xfrm>
          <a:solidFill>
            <a:srgbClr val="263143"/>
          </a:solidFill>
        </p:grpSpPr>
        <p:sp>
          <p:nvSpPr>
            <p:cNvPr id="38" name="Forma Livre: Forma 37">
              <a:extLst>
                <a:ext uri="{FF2B5EF4-FFF2-40B4-BE49-F238E27FC236}">
                  <a16:creationId xmlns:a16="http://schemas.microsoft.com/office/drawing/2014/main" id="{9241F82B-8DC2-4C53-B8F4-A08E56B60B71}"/>
                </a:ext>
              </a:extLst>
            </p:cNvPr>
            <p:cNvSpPr/>
            <p:nvPr/>
          </p:nvSpPr>
          <p:spPr>
            <a:xfrm>
              <a:off x="4267438" y="1600167"/>
              <a:ext cx="3657361" cy="3658585"/>
            </a:xfrm>
            <a:custGeom>
              <a:avLst/>
              <a:gdLst>
                <a:gd name="connsiteX0" fmla="*/ 3413522 w 3657361"/>
                <a:gd name="connsiteY0" fmla="*/ 609633 h 3658585"/>
                <a:gd name="connsiteX1" fmla="*/ 1249442 w 3657361"/>
                <a:gd name="connsiteY1" fmla="*/ 609633 h 3658585"/>
                <a:gd name="connsiteX2" fmla="*/ 1109424 w 3657361"/>
                <a:gd name="connsiteY2" fmla="*/ 145765 h 3658585"/>
                <a:gd name="connsiteX3" fmla="*/ 854154 w 3657361"/>
                <a:gd name="connsiteY3" fmla="*/ 8605 h 3658585"/>
                <a:gd name="connsiteX4" fmla="*/ 543639 w 3657361"/>
                <a:gd name="connsiteY4" fmla="*/ 100045 h 3658585"/>
                <a:gd name="connsiteX5" fmla="*/ 453152 w 3657361"/>
                <a:gd name="connsiteY5" fmla="*/ 154338 h 3658585"/>
                <a:gd name="connsiteX6" fmla="*/ 103584 w 3657361"/>
                <a:gd name="connsiteY6" fmla="*/ 516288 h 3658585"/>
                <a:gd name="connsiteX7" fmla="*/ 51197 w 3657361"/>
                <a:gd name="connsiteY7" fmla="*/ 615348 h 3658585"/>
                <a:gd name="connsiteX8" fmla="*/ 150257 w 3657361"/>
                <a:gd name="connsiteY8" fmla="*/ 2148873 h 3658585"/>
                <a:gd name="connsiteX9" fmla="*/ 917972 w 3657361"/>
                <a:gd name="connsiteY9" fmla="*/ 3485231 h 3658585"/>
                <a:gd name="connsiteX10" fmla="*/ 1016079 w 3657361"/>
                <a:gd name="connsiteY10" fmla="*/ 3539523 h 3658585"/>
                <a:gd name="connsiteX11" fmla="*/ 1509474 w 3657361"/>
                <a:gd name="connsiteY11" fmla="*/ 3652871 h 3658585"/>
                <a:gd name="connsiteX12" fmla="*/ 1556147 w 3657361"/>
                <a:gd name="connsiteY12" fmla="*/ 3658586 h 3658585"/>
                <a:gd name="connsiteX13" fmla="*/ 1615202 w 3657361"/>
                <a:gd name="connsiteY13" fmla="*/ 3650013 h 3658585"/>
                <a:gd name="connsiteX14" fmla="*/ 1786652 w 3657361"/>
                <a:gd name="connsiteY14" fmla="*/ 3599531 h 3658585"/>
                <a:gd name="connsiteX15" fmla="*/ 1924764 w 3657361"/>
                <a:gd name="connsiteY15" fmla="*/ 3558573 h 3658585"/>
                <a:gd name="connsiteX16" fmla="*/ 2047637 w 3657361"/>
                <a:gd name="connsiteY16" fmla="*/ 3459513 h 3658585"/>
                <a:gd name="connsiteX17" fmla="*/ 2063829 w 3657361"/>
                <a:gd name="connsiteY17" fmla="*/ 3304256 h 3658585"/>
                <a:gd name="connsiteX18" fmla="*/ 1986677 w 3657361"/>
                <a:gd name="connsiteY18" fmla="*/ 3048986 h 3658585"/>
                <a:gd name="connsiteX19" fmla="*/ 3413522 w 3657361"/>
                <a:gd name="connsiteY19" fmla="*/ 3048986 h 3658585"/>
                <a:gd name="connsiteX20" fmla="*/ 3657362 w 3657361"/>
                <a:gd name="connsiteY20" fmla="*/ 2805146 h 3658585"/>
                <a:gd name="connsiteX21" fmla="*/ 3657362 w 3657361"/>
                <a:gd name="connsiteY21" fmla="*/ 853473 h 3658585"/>
                <a:gd name="connsiteX22" fmla="*/ 3413522 w 3657361"/>
                <a:gd name="connsiteY22" fmla="*/ 609633 h 3658585"/>
                <a:gd name="connsiteX23" fmla="*/ 3413522 w 3657361"/>
                <a:gd name="connsiteY23" fmla="*/ 609633 h 3658585"/>
                <a:gd name="connsiteX24" fmla="*/ 2453402 w 3657361"/>
                <a:gd name="connsiteY24" fmla="*/ 1810736 h 3658585"/>
                <a:gd name="connsiteX25" fmla="*/ 3527822 w 3657361"/>
                <a:gd name="connsiteY25" fmla="*/ 812516 h 3658585"/>
                <a:gd name="connsiteX26" fmla="*/ 3535442 w 3657361"/>
                <a:gd name="connsiteY26" fmla="*/ 853473 h 3658585"/>
                <a:gd name="connsiteX27" fmla="*/ 3535442 w 3657361"/>
                <a:gd name="connsiteY27" fmla="*/ 2804193 h 3658585"/>
                <a:gd name="connsiteX28" fmla="*/ 3528774 w 3657361"/>
                <a:gd name="connsiteY28" fmla="*/ 2842293 h 3658585"/>
                <a:gd name="connsiteX29" fmla="*/ 2453402 w 3657361"/>
                <a:gd name="connsiteY29" fmla="*/ 1810736 h 3658585"/>
                <a:gd name="connsiteX30" fmla="*/ 3413522 w 3657361"/>
                <a:gd name="connsiteY30" fmla="*/ 731553 h 3658585"/>
                <a:gd name="connsiteX31" fmla="*/ 3434477 w 3657361"/>
                <a:gd name="connsiteY31" fmla="*/ 733458 h 3658585"/>
                <a:gd name="connsiteX32" fmla="*/ 2158127 w 3657361"/>
                <a:gd name="connsiteY32" fmla="*/ 1918368 h 3658585"/>
                <a:gd name="connsiteX33" fmla="*/ 1992392 w 3657361"/>
                <a:gd name="connsiteY33" fmla="*/ 1918368 h 3658585"/>
                <a:gd name="connsiteX34" fmla="*/ 1114187 w 3657361"/>
                <a:gd name="connsiteY34" fmla="*/ 1105886 h 3658585"/>
                <a:gd name="connsiteX35" fmla="*/ 1178957 w 3657361"/>
                <a:gd name="connsiteY35" fmla="*/ 1086836 h 3658585"/>
                <a:gd name="connsiteX36" fmla="*/ 1301829 w 3657361"/>
                <a:gd name="connsiteY36" fmla="*/ 987775 h 3658585"/>
                <a:gd name="connsiteX37" fmla="*/ 1317069 w 3657361"/>
                <a:gd name="connsiteY37" fmla="*/ 832518 h 3658585"/>
                <a:gd name="connsiteX38" fmla="*/ 1286589 w 3657361"/>
                <a:gd name="connsiteY38" fmla="*/ 731553 h 3658585"/>
                <a:gd name="connsiteX39" fmla="*/ 3413522 w 3657361"/>
                <a:gd name="connsiteY39" fmla="*/ 731553 h 3658585"/>
                <a:gd name="connsiteX40" fmla="*/ 958929 w 3657361"/>
                <a:gd name="connsiteY40" fmla="*/ 2513681 h 3658585"/>
                <a:gd name="connsiteX41" fmla="*/ 683657 w 3657361"/>
                <a:gd name="connsiteY41" fmla="*/ 1990758 h 3658585"/>
                <a:gd name="connsiteX42" fmla="*/ 652224 w 3657361"/>
                <a:gd name="connsiteY42" fmla="*/ 1245903 h 3658585"/>
                <a:gd name="connsiteX43" fmla="*/ 659844 w 3657361"/>
                <a:gd name="connsiteY43" fmla="*/ 1239236 h 3658585"/>
                <a:gd name="connsiteX44" fmla="*/ 977027 w 3657361"/>
                <a:gd name="connsiteY44" fmla="*/ 1145891 h 3658585"/>
                <a:gd name="connsiteX45" fmla="*/ 1693307 w 3657361"/>
                <a:gd name="connsiteY45" fmla="*/ 1808830 h 3658585"/>
                <a:gd name="connsiteX46" fmla="*/ 958929 w 3657361"/>
                <a:gd name="connsiteY46" fmla="*/ 2513681 h 3658585"/>
                <a:gd name="connsiteX47" fmla="*/ 1940004 w 3657361"/>
                <a:gd name="connsiteY47" fmla="*/ 3400458 h 3658585"/>
                <a:gd name="connsiteX48" fmla="*/ 1889522 w 3657361"/>
                <a:gd name="connsiteY48" fmla="*/ 3440463 h 3658585"/>
                <a:gd name="connsiteX49" fmla="*/ 1808559 w 3657361"/>
                <a:gd name="connsiteY49" fmla="*/ 3464276 h 3658585"/>
                <a:gd name="connsiteX50" fmla="*/ 1659969 w 3657361"/>
                <a:gd name="connsiteY50" fmla="*/ 2972786 h 3658585"/>
                <a:gd name="connsiteX51" fmla="*/ 1615202 w 3657361"/>
                <a:gd name="connsiteY51" fmla="*/ 2929923 h 3658585"/>
                <a:gd name="connsiteX52" fmla="*/ 1556147 w 3657361"/>
                <a:gd name="connsiteY52" fmla="*/ 2948021 h 3658585"/>
                <a:gd name="connsiteX53" fmla="*/ 1542812 w 3657361"/>
                <a:gd name="connsiteY53" fmla="*/ 3008028 h 3658585"/>
                <a:gd name="connsiteX54" fmla="*/ 1691402 w 3657361"/>
                <a:gd name="connsiteY54" fmla="*/ 3498565 h 3658585"/>
                <a:gd name="connsiteX55" fmla="*/ 1579007 w 3657361"/>
                <a:gd name="connsiteY55" fmla="*/ 3531903 h 3658585"/>
                <a:gd name="connsiteX56" fmla="*/ 1535192 w 3657361"/>
                <a:gd name="connsiteY56" fmla="*/ 3532856 h 3658585"/>
                <a:gd name="connsiteX57" fmla="*/ 1043702 w 3657361"/>
                <a:gd name="connsiteY57" fmla="*/ 3419508 h 3658585"/>
                <a:gd name="connsiteX58" fmla="*/ 1002744 w 3657361"/>
                <a:gd name="connsiteY58" fmla="*/ 3397601 h 3658585"/>
                <a:gd name="connsiteX59" fmla="*/ 267414 w 3657361"/>
                <a:gd name="connsiteY59" fmla="*/ 2113631 h 3658585"/>
                <a:gd name="connsiteX60" fmla="*/ 170259 w 3657361"/>
                <a:gd name="connsiteY60" fmla="*/ 641066 h 3658585"/>
                <a:gd name="connsiteX61" fmla="*/ 191214 w 3657361"/>
                <a:gd name="connsiteY61" fmla="*/ 601061 h 3658585"/>
                <a:gd name="connsiteX62" fmla="*/ 540782 w 3657361"/>
                <a:gd name="connsiteY62" fmla="*/ 239110 h 3658585"/>
                <a:gd name="connsiteX63" fmla="*/ 576977 w 3657361"/>
                <a:gd name="connsiteY63" fmla="*/ 217203 h 3658585"/>
                <a:gd name="connsiteX64" fmla="*/ 690324 w 3657361"/>
                <a:gd name="connsiteY64" fmla="*/ 183865 h 3658585"/>
                <a:gd name="connsiteX65" fmla="*/ 838914 w 3657361"/>
                <a:gd name="connsiteY65" fmla="*/ 675356 h 3658585"/>
                <a:gd name="connsiteX66" fmla="*/ 897017 w 3657361"/>
                <a:gd name="connsiteY66" fmla="*/ 719171 h 3658585"/>
                <a:gd name="connsiteX67" fmla="*/ 914162 w 3657361"/>
                <a:gd name="connsiteY67" fmla="*/ 716313 h 3658585"/>
                <a:gd name="connsiteX68" fmla="*/ 955119 w 3657361"/>
                <a:gd name="connsiteY68" fmla="*/ 640113 h 3658585"/>
                <a:gd name="connsiteX69" fmla="*/ 808434 w 3657361"/>
                <a:gd name="connsiteY69" fmla="*/ 148623 h 3658585"/>
                <a:gd name="connsiteX70" fmla="*/ 888444 w 3657361"/>
                <a:gd name="connsiteY70" fmla="*/ 124810 h 3658585"/>
                <a:gd name="connsiteX71" fmla="*/ 993219 w 3657361"/>
                <a:gd name="connsiteY71" fmla="*/ 180055 h 3658585"/>
                <a:gd name="connsiteX72" fmla="*/ 1199912 w 3657361"/>
                <a:gd name="connsiteY72" fmla="*/ 867761 h 3658585"/>
                <a:gd name="connsiteX73" fmla="*/ 1194197 w 3657361"/>
                <a:gd name="connsiteY73" fmla="*/ 929673 h 3658585"/>
                <a:gd name="connsiteX74" fmla="*/ 1143714 w 3657361"/>
                <a:gd name="connsiteY74" fmla="*/ 969678 h 3658585"/>
                <a:gd name="connsiteX75" fmla="*/ 1062752 w 3657361"/>
                <a:gd name="connsiteY75" fmla="*/ 993491 h 3658585"/>
                <a:gd name="connsiteX76" fmla="*/ 1038939 w 3657361"/>
                <a:gd name="connsiteY76" fmla="*/ 914433 h 3658585"/>
                <a:gd name="connsiteX77" fmla="*/ 963692 w 3657361"/>
                <a:gd name="connsiteY77" fmla="*/ 875381 h 3658585"/>
                <a:gd name="connsiteX78" fmla="*/ 922734 w 3657361"/>
                <a:gd name="connsiteY78" fmla="*/ 949675 h 3658585"/>
                <a:gd name="connsiteX79" fmla="*/ 946547 w 3657361"/>
                <a:gd name="connsiteY79" fmla="*/ 1027781 h 3658585"/>
                <a:gd name="connsiteX80" fmla="*/ 626507 w 3657361"/>
                <a:gd name="connsiteY80" fmla="*/ 1122078 h 3658585"/>
                <a:gd name="connsiteX81" fmla="*/ 536019 w 3657361"/>
                <a:gd name="connsiteY81" fmla="*/ 1213518 h 3658585"/>
                <a:gd name="connsiteX82" fmla="*/ 568404 w 3657361"/>
                <a:gd name="connsiteY82" fmla="*/ 2025048 h 3658585"/>
                <a:gd name="connsiteX83" fmla="*/ 992267 w 3657361"/>
                <a:gd name="connsiteY83" fmla="*/ 2721326 h 3658585"/>
                <a:gd name="connsiteX84" fmla="*/ 1117997 w 3657361"/>
                <a:gd name="connsiteY84" fmla="*/ 2748948 h 3658585"/>
                <a:gd name="connsiteX85" fmla="*/ 1438989 w 3657361"/>
                <a:gd name="connsiteY85" fmla="*/ 2654651 h 3658585"/>
                <a:gd name="connsiteX86" fmla="*/ 1462802 w 3657361"/>
                <a:gd name="connsiteY86" fmla="*/ 2733708 h 3658585"/>
                <a:gd name="connsiteX87" fmla="*/ 1507569 w 3657361"/>
                <a:gd name="connsiteY87" fmla="*/ 2776571 h 3658585"/>
                <a:gd name="connsiteX88" fmla="*/ 1566624 w 3657361"/>
                <a:gd name="connsiteY88" fmla="*/ 2758473 h 3658585"/>
                <a:gd name="connsiteX89" fmla="*/ 1579959 w 3657361"/>
                <a:gd name="connsiteY89" fmla="*/ 2698465 h 3658585"/>
                <a:gd name="connsiteX90" fmla="*/ 1556147 w 3657361"/>
                <a:gd name="connsiteY90" fmla="*/ 2620361 h 3658585"/>
                <a:gd name="connsiteX91" fmla="*/ 1636157 w 3657361"/>
                <a:gd name="connsiteY91" fmla="*/ 2596548 h 3658585"/>
                <a:gd name="connsiteX92" fmla="*/ 1740932 w 3657361"/>
                <a:gd name="connsiteY92" fmla="*/ 2651793 h 3658585"/>
                <a:gd name="connsiteX93" fmla="*/ 1948577 w 3657361"/>
                <a:gd name="connsiteY93" fmla="*/ 3338546 h 3658585"/>
                <a:gd name="connsiteX94" fmla="*/ 1940004 w 3657361"/>
                <a:gd name="connsiteY94" fmla="*/ 3400458 h 3658585"/>
                <a:gd name="connsiteX95" fmla="*/ 1940004 w 3657361"/>
                <a:gd name="connsiteY95" fmla="*/ 3400458 h 3658585"/>
                <a:gd name="connsiteX96" fmla="*/ 1949529 w 3657361"/>
                <a:gd name="connsiteY96" fmla="*/ 2926113 h 3658585"/>
                <a:gd name="connsiteX97" fmla="*/ 1856184 w 3657361"/>
                <a:gd name="connsiteY97" fmla="*/ 2616551 h 3658585"/>
                <a:gd name="connsiteX98" fmla="*/ 1599962 w 3657361"/>
                <a:gd name="connsiteY98" fmla="*/ 2479390 h 3658585"/>
                <a:gd name="connsiteX99" fmla="*/ 1081802 w 3657361"/>
                <a:gd name="connsiteY99" fmla="*/ 2631790 h 3658585"/>
                <a:gd name="connsiteX100" fmla="*/ 1071324 w 3657361"/>
                <a:gd name="connsiteY100" fmla="*/ 2629886 h 3658585"/>
                <a:gd name="connsiteX101" fmla="*/ 1041797 w 3657361"/>
                <a:gd name="connsiteY101" fmla="*/ 2602263 h 3658585"/>
                <a:gd name="connsiteX102" fmla="*/ 1782842 w 3657361"/>
                <a:gd name="connsiteY102" fmla="*/ 1889793 h 3658585"/>
                <a:gd name="connsiteX103" fmla="*/ 1908572 w 3657361"/>
                <a:gd name="connsiteY103" fmla="*/ 2005998 h 3658585"/>
                <a:gd name="connsiteX104" fmla="*/ 2240042 w 3657361"/>
                <a:gd name="connsiteY104" fmla="*/ 2005998 h 3658585"/>
                <a:gd name="connsiteX105" fmla="*/ 2362915 w 3657361"/>
                <a:gd name="connsiteY105" fmla="*/ 1891698 h 3658585"/>
                <a:gd name="connsiteX106" fmla="*/ 3436382 w 3657361"/>
                <a:gd name="connsiteY106" fmla="*/ 2922303 h 3658585"/>
                <a:gd name="connsiteX107" fmla="*/ 3412569 w 3657361"/>
                <a:gd name="connsiteY107" fmla="*/ 2925161 h 3658585"/>
                <a:gd name="connsiteX108" fmla="*/ 1949529 w 3657361"/>
                <a:gd name="connsiteY108" fmla="*/ 2925161 h 3658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</a:cxnLst>
              <a:rect l="l" t="t" r="r" b="b"/>
              <a:pathLst>
                <a:path w="3657361" h="3658585">
                  <a:moveTo>
                    <a:pt x="3413522" y="609633"/>
                  </a:moveTo>
                  <a:lnTo>
                    <a:pt x="1249442" y="609633"/>
                  </a:lnTo>
                  <a:lnTo>
                    <a:pt x="1109424" y="145765"/>
                  </a:lnTo>
                  <a:cubicBezTo>
                    <a:pt x="1076087" y="38133"/>
                    <a:pt x="961787" y="-23780"/>
                    <a:pt x="854154" y="8605"/>
                  </a:cubicBezTo>
                  <a:lnTo>
                    <a:pt x="543639" y="100045"/>
                  </a:lnTo>
                  <a:cubicBezTo>
                    <a:pt x="509349" y="110523"/>
                    <a:pt x="478869" y="128620"/>
                    <a:pt x="453152" y="154338"/>
                  </a:cubicBezTo>
                  <a:lnTo>
                    <a:pt x="103584" y="516288"/>
                  </a:lnTo>
                  <a:cubicBezTo>
                    <a:pt x="76914" y="543911"/>
                    <a:pt x="58817" y="578201"/>
                    <a:pt x="51197" y="615348"/>
                  </a:cubicBezTo>
                  <a:cubicBezTo>
                    <a:pt x="15954" y="780131"/>
                    <a:pt x="-83106" y="1376396"/>
                    <a:pt x="150257" y="2148873"/>
                  </a:cubicBezTo>
                  <a:cubicBezTo>
                    <a:pt x="383619" y="2920398"/>
                    <a:pt x="796052" y="3366168"/>
                    <a:pt x="917972" y="3485231"/>
                  </a:cubicBezTo>
                  <a:cubicBezTo>
                    <a:pt x="945594" y="3511901"/>
                    <a:pt x="978932" y="3530951"/>
                    <a:pt x="1016079" y="3539523"/>
                  </a:cubicBezTo>
                  <a:lnTo>
                    <a:pt x="1509474" y="3652871"/>
                  </a:lnTo>
                  <a:cubicBezTo>
                    <a:pt x="1524714" y="3656681"/>
                    <a:pt x="1539954" y="3658586"/>
                    <a:pt x="1556147" y="3658586"/>
                  </a:cubicBezTo>
                  <a:cubicBezTo>
                    <a:pt x="1576149" y="3658586"/>
                    <a:pt x="1596152" y="3655728"/>
                    <a:pt x="1615202" y="3650013"/>
                  </a:cubicBezTo>
                  <a:lnTo>
                    <a:pt x="1786652" y="3599531"/>
                  </a:lnTo>
                  <a:lnTo>
                    <a:pt x="1924764" y="3558573"/>
                  </a:lnTo>
                  <a:cubicBezTo>
                    <a:pt x="1977152" y="3543333"/>
                    <a:pt x="2021919" y="3507138"/>
                    <a:pt x="2047637" y="3459513"/>
                  </a:cubicBezTo>
                  <a:cubicBezTo>
                    <a:pt x="2073354" y="3411888"/>
                    <a:pt x="2079069" y="3355690"/>
                    <a:pt x="2063829" y="3304256"/>
                  </a:cubicBezTo>
                  <a:lnTo>
                    <a:pt x="1986677" y="3048986"/>
                  </a:lnTo>
                  <a:lnTo>
                    <a:pt x="3413522" y="3048986"/>
                  </a:lnTo>
                  <a:cubicBezTo>
                    <a:pt x="3547824" y="3048986"/>
                    <a:pt x="3657362" y="2939448"/>
                    <a:pt x="3657362" y="2805146"/>
                  </a:cubicBezTo>
                  <a:lnTo>
                    <a:pt x="3657362" y="853473"/>
                  </a:lnTo>
                  <a:cubicBezTo>
                    <a:pt x="3657362" y="719171"/>
                    <a:pt x="3547824" y="609633"/>
                    <a:pt x="3413522" y="609633"/>
                  </a:cubicBezTo>
                  <a:lnTo>
                    <a:pt x="3413522" y="609633"/>
                  </a:lnTo>
                  <a:close/>
                  <a:moveTo>
                    <a:pt x="2453402" y="1810736"/>
                  </a:moveTo>
                  <a:lnTo>
                    <a:pt x="3527822" y="812516"/>
                  </a:lnTo>
                  <a:cubicBezTo>
                    <a:pt x="3532584" y="825850"/>
                    <a:pt x="3535442" y="839186"/>
                    <a:pt x="3535442" y="853473"/>
                  </a:cubicBezTo>
                  <a:lnTo>
                    <a:pt x="3535442" y="2804193"/>
                  </a:lnTo>
                  <a:cubicBezTo>
                    <a:pt x="3535442" y="2817528"/>
                    <a:pt x="3532584" y="2829911"/>
                    <a:pt x="3528774" y="2842293"/>
                  </a:cubicBezTo>
                  <a:lnTo>
                    <a:pt x="2453402" y="1810736"/>
                  </a:lnTo>
                  <a:close/>
                  <a:moveTo>
                    <a:pt x="3413522" y="731553"/>
                  </a:moveTo>
                  <a:cubicBezTo>
                    <a:pt x="3420190" y="731553"/>
                    <a:pt x="3427809" y="732506"/>
                    <a:pt x="3434477" y="733458"/>
                  </a:cubicBezTo>
                  <a:lnTo>
                    <a:pt x="2158127" y="1918368"/>
                  </a:lnTo>
                  <a:cubicBezTo>
                    <a:pt x="2111454" y="1962183"/>
                    <a:pt x="2039064" y="1962183"/>
                    <a:pt x="1992392" y="1918368"/>
                  </a:cubicBezTo>
                  <a:lnTo>
                    <a:pt x="1114187" y="1105886"/>
                  </a:lnTo>
                  <a:lnTo>
                    <a:pt x="1178957" y="1086836"/>
                  </a:lnTo>
                  <a:cubicBezTo>
                    <a:pt x="1231344" y="1071596"/>
                    <a:pt x="1276112" y="1035400"/>
                    <a:pt x="1301829" y="987775"/>
                  </a:cubicBezTo>
                  <a:cubicBezTo>
                    <a:pt x="1327547" y="940150"/>
                    <a:pt x="1333262" y="883953"/>
                    <a:pt x="1317069" y="832518"/>
                  </a:cubicBezTo>
                  <a:lnTo>
                    <a:pt x="1286589" y="731553"/>
                  </a:lnTo>
                  <a:lnTo>
                    <a:pt x="3413522" y="731553"/>
                  </a:lnTo>
                  <a:close/>
                  <a:moveTo>
                    <a:pt x="958929" y="2513681"/>
                  </a:moveTo>
                  <a:cubicBezTo>
                    <a:pt x="833199" y="2359376"/>
                    <a:pt x="739854" y="2182211"/>
                    <a:pt x="683657" y="1990758"/>
                  </a:cubicBezTo>
                  <a:cubicBezTo>
                    <a:pt x="604599" y="1749776"/>
                    <a:pt x="594122" y="1492601"/>
                    <a:pt x="652224" y="1245903"/>
                  </a:cubicBezTo>
                  <a:cubicBezTo>
                    <a:pt x="653177" y="1242093"/>
                    <a:pt x="656034" y="1240188"/>
                    <a:pt x="659844" y="1239236"/>
                  </a:cubicBezTo>
                  <a:lnTo>
                    <a:pt x="977027" y="1145891"/>
                  </a:lnTo>
                  <a:lnTo>
                    <a:pt x="1693307" y="1808830"/>
                  </a:lnTo>
                  <a:lnTo>
                    <a:pt x="958929" y="2513681"/>
                  </a:lnTo>
                  <a:close/>
                  <a:moveTo>
                    <a:pt x="1940004" y="3400458"/>
                  </a:moveTo>
                  <a:cubicBezTo>
                    <a:pt x="1929527" y="3420461"/>
                    <a:pt x="1911429" y="3434748"/>
                    <a:pt x="1889522" y="3440463"/>
                  </a:cubicBezTo>
                  <a:lnTo>
                    <a:pt x="1808559" y="3464276"/>
                  </a:lnTo>
                  <a:lnTo>
                    <a:pt x="1659969" y="2972786"/>
                  </a:lnTo>
                  <a:cubicBezTo>
                    <a:pt x="1654254" y="2951831"/>
                    <a:pt x="1637109" y="2935638"/>
                    <a:pt x="1615202" y="2929923"/>
                  </a:cubicBezTo>
                  <a:cubicBezTo>
                    <a:pt x="1593294" y="2925161"/>
                    <a:pt x="1571387" y="2931828"/>
                    <a:pt x="1556147" y="2948021"/>
                  </a:cubicBezTo>
                  <a:cubicBezTo>
                    <a:pt x="1540907" y="2964213"/>
                    <a:pt x="1536144" y="2987073"/>
                    <a:pt x="1542812" y="3008028"/>
                  </a:cubicBezTo>
                  <a:lnTo>
                    <a:pt x="1691402" y="3498565"/>
                  </a:lnTo>
                  <a:lnTo>
                    <a:pt x="1579007" y="3531903"/>
                  </a:lnTo>
                  <a:cubicBezTo>
                    <a:pt x="1564719" y="3535713"/>
                    <a:pt x="1549479" y="3536665"/>
                    <a:pt x="1535192" y="3532856"/>
                  </a:cubicBezTo>
                  <a:lnTo>
                    <a:pt x="1043702" y="3419508"/>
                  </a:lnTo>
                  <a:cubicBezTo>
                    <a:pt x="1028462" y="3415698"/>
                    <a:pt x="1014174" y="3408078"/>
                    <a:pt x="1002744" y="3397601"/>
                  </a:cubicBezTo>
                  <a:cubicBezTo>
                    <a:pt x="887492" y="3284253"/>
                    <a:pt x="492204" y="2857533"/>
                    <a:pt x="267414" y="2113631"/>
                  </a:cubicBezTo>
                  <a:cubicBezTo>
                    <a:pt x="42624" y="1369728"/>
                    <a:pt x="135969" y="798228"/>
                    <a:pt x="170259" y="641066"/>
                  </a:cubicBezTo>
                  <a:cubicBezTo>
                    <a:pt x="173117" y="625825"/>
                    <a:pt x="180737" y="612491"/>
                    <a:pt x="191214" y="601061"/>
                  </a:cubicBezTo>
                  <a:lnTo>
                    <a:pt x="540782" y="239110"/>
                  </a:lnTo>
                  <a:cubicBezTo>
                    <a:pt x="551259" y="228633"/>
                    <a:pt x="563642" y="221013"/>
                    <a:pt x="576977" y="217203"/>
                  </a:cubicBezTo>
                  <a:lnTo>
                    <a:pt x="690324" y="183865"/>
                  </a:lnTo>
                  <a:lnTo>
                    <a:pt x="838914" y="675356"/>
                  </a:lnTo>
                  <a:cubicBezTo>
                    <a:pt x="846534" y="701073"/>
                    <a:pt x="870347" y="719171"/>
                    <a:pt x="897017" y="719171"/>
                  </a:cubicBezTo>
                  <a:cubicBezTo>
                    <a:pt x="902732" y="719171"/>
                    <a:pt x="908447" y="718218"/>
                    <a:pt x="914162" y="716313"/>
                  </a:cubicBezTo>
                  <a:cubicBezTo>
                    <a:pt x="946547" y="706788"/>
                    <a:pt x="964644" y="672498"/>
                    <a:pt x="955119" y="640113"/>
                  </a:cubicBezTo>
                  <a:lnTo>
                    <a:pt x="808434" y="148623"/>
                  </a:lnTo>
                  <a:lnTo>
                    <a:pt x="888444" y="124810"/>
                  </a:lnTo>
                  <a:cubicBezTo>
                    <a:pt x="932259" y="111475"/>
                    <a:pt x="979884" y="136240"/>
                    <a:pt x="993219" y="180055"/>
                  </a:cubicBezTo>
                  <a:lnTo>
                    <a:pt x="1199912" y="867761"/>
                  </a:lnTo>
                  <a:cubicBezTo>
                    <a:pt x="1206579" y="888716"/>
                    <a:pt x="1203722" y="910623"/>
                    <a:pt x="1194197" y="929673"/>
                  </a:cubicBezTo>
                  <a:cubicBezTo>
                    <a:pt x="1183719" y="949675"/>
                    <a:pt x="1165622" y="963963"/>
                    <a:pt x="1143714" y="969678"/>
                  </a:cubicBezTo>
                  <a:lnTo>
                    <a:pt x="1062752" y="993491"/>
                  </a:lnTo>
                  <a:lnTo>
                    <a:pt x="1038939" y="914433"/>
                  </a:lnTo>
                  <a:cubicBezTo>
                    <a:pt x="1028462" y="883000"/>
                    <a:pt x="995124" y="865856"/>
                    <a:pt x="963692" y="875381"/>
                  </a:cubicBezTo>
                  <a:cubicBezTo>
                    <a:pt x="932259" y="884906"/>
                    <a:pt x="914162" y="918243"/>
                    <a:pt x="922734" y="949675"/>
                  </a:cubicBezTo>
                  <a:lnTo>
                    <a:pt x="946547" y="1027781"/>
                  </a:lnTo>
                  <a:lnTo>
                    <a:pt x="626507" y="1122078"/>
                  </a:lnTo>
                  <a:cubicBezTo>
                    <a:pt x="582692" y="1134461"/>
                    <a:pt x="548402" y="1169703"/>
                    <a:pt x="536019" y="1213518"/>
                  </a:cubicBezTo>
                  <a:cubicBezTo>
                    <a:pt x="471249" y="1482123"/>
                    <a:pt x="482679" y="1763111"/>
                    <a:pt x="568404" y="2025048"/>
                  </a:cubicBezTo>
                  <a:cubicBezTo>
                    <a:pt x="643652" y="2291748"/>
                    <a:pt x="789384" y="2531778"/>
                    <a:pt x="992267" y="2721326"/>
                  </a:cubicBezTo>
                  <a:cubicBezTo>
                    <a:pt x="1026557" y="2751806"/>
                    <a:pt x="1074182" y="2762283"/>
                    <a:pt x="1117997" y="2748948"/>
                  </a:cubicBezTo>
                  <a:lnTo>
                    <a:pt x="1438989" y="2654651"/>
                  </a:lnTo>
                  <a:lnTo>
                    <a:pt x="1462802" y="2733708"/>
                  </a:lnTo>
                  <a:cubicBezTo>
                    <a:pt x="1468517" y="2754663"/>
                    <a:pt x="1485662" y="2770856"/>
                    <a:pt x="1507569" y="2776571"/>
                  </a:cubicBezTo>
                  <a:cubicBezTo>
                    <a:pt x="1529477" y="2782286"/>
                    <a:pt x="1551384" y="2774665"/>
                    <a:pt x="1566624" y="2758473"/>
                  </a:cubicBezTo>
                  <a:cubicBezTo>
                    <a:pt x="1581864" y="2742281"/>
                    <a:pt x="1586627" y="2719421"/>
                    <a:pt x="1579959" y="2698465"/>
                  </a:cubicBezTo>
                  <a:lnTo>
                    <a:pt x="1556147" y="2620361"/>
                  </a:lnTo>
                  <a:lnTo>
                    <a:pt x="1636157" y="2596548"/>
                  </a:lnTo>
                  <a:cubicBezTo>
                    <a:pt x="1679972" y="2583213"/>
                    <a:pt x="1726644" y="2607978"/>
                    <a:pt x="1740932" y="2651793"/>
                  </a:cubicBezTo>
                  <a:lnTo>
                    <a:pt x="1948577" y="3338546"/>
                  </a:lnTo>
                  <a:cubicBezTo>
                    <a:pt x="1953339" y="3358548"/>
                    <a:pt x="1951434" y="3381408"/>
                    <a:pt x="1940004" y="3400458"/>
                  </a:cubicBezTo>
                  <a:lnTo>
                    <a:pt x="1940004" y="3400458"/>
                  </a:lnTo>
                  <a:close/>
                  <a:moveTo>
                    <a:pt x="1949529" y="2926113"/>
                  </a:moveTo>
                  <a:lnTo>
                    <a:pt x="1856184" y="2616551"/>
                  </a:lnTo>
                  <a:cubicBezTo>
                    <a:pt x="1822847" y="2507965"/>
                    <a:pt x="1708547" y="2447006"/>
                    <a:pt x="1599962" y="2479390"/>
                  </a:cubicBezTo>
                  <a:lnTo>
                    <a:pt x="1081802" y="2631790"/>
                  </a:lnTo>
                  <a:cubicBezTo>
                    <a:pt x="1077992" y="2632743"/>
                    <a:pt x="1074182" y="2631790"/>
                    <a:pt x="1071324" y="2629886"/>
                  </a:cubicBezTo>
                  <a:cubicBezTo>
                    <a:pt x="1062752" y="2622265"/>
                    <a:pt x="1053227" y="2612740"/>
                    <a:pt x="1041797" y="2602263"/>
                  </a:cubicBezTo>
                  <a:lnTo>
                    <a:pt x="1782842" y="1889793"/>
                  </a:lnTo>
                  <a:lnTo>
                    <a:pt x="1908572" y="2005998"/>
                  </a:lnTo>
                  <a:cubicBezTo>
                    <a:pt x="2001917" y="2092676"/>
                    <a:pt x="2146697" y="2092676"/>
                    <a:pt x="2240042" y="2005998"/>
                  </a:cubicBezTo>
                  <a:lnTo>
                    <a:pt x="2362915" y="1891698"/>
                  </a:lnTo>
                  <a:lnTo>
                    <a:pt x="3436382" y="2922303"/>
                  </a:lnTo>
                  <a:cubicBezTo>
                    <a:pt x="3428762" y="2924208"/>
                    <a:pt x="3420190" y="2925161"/>
                    <a:pt x="3412569" y="2925161"/>
                  </a:cubicBezTo>
                  <a:lnTo>
                    <a:pt x="1949529" y="29251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9" name="Forma Livre: Forma 38">
              <a:extLst>
                <a:ext uri="{FF2B5EF4-FFF2-40B4-BE49-F238E27FC236}">
                  <a16:creationId xmlns:a16="http://schemas.microsoft.com/office/drawing/2014/main" id="{6CD634AA-B23F-484A-A9E8-7D570E77EE49}"/>
                </a:ext>
              </a:extLst>
            </p:cNvPr>
            <p:cNvSpPr/>
            <p:nvPr/>
          </p:nvSpPr>
          <p:spPr>
            <a:xfrm>
              <a:off x="5791200" y="2453639"/>
              <a:ext cx="1097280" cy="121920"/>
            </a:xfrm>
            <a:custGeom>
              <a:avLst/>
              <a:gdLst>
                <a:gd name="connsiteX0" fmla="*/ 60960 w 1097280"/>
                <a:gd name="connsiteY0" fmla="*/ 121920 h 121920"/>
                <a:gd name="connsiteX1" fmla="*/ 1036320 w 1097280"/>
                <a:gd name="connsiteY1" fmla="*/ 121920 h 121920"/>
                <a:gd name="connsiteX2" fmla="*/ 1097280 w 1097280"/>
                <a:gd name="connsiteY2" fmla="*/ 60960 h 121920"/>
                <a:gd name="connsiteX3" fmla="*/ 1036320 w 1097280"/>
                <a:gd name="connsiteY3" fmla="*/ 0 h 121920"/>
                <a:gd name="connsiteX4" fmla="*/ 60960 w 1097280"/>
                <a:gd name="connsiteY4" fmla="*/ 0 h 121920"/>
                <a:gd name="connsiteX5" fmla="*/ 0 w 1097280"/>
                <a:gd name="connsiteY5" fmla="*/ 60960 h 121920"/>
                <a:gd name="connsiteX6" fmla="*/ 60960 w 1097280"/>
                <a:gd name="connsiteY6" fmla="*/ 121920 h 121920"/>
                <a:gd name="connsiteX7" fmla="*/ 60960 w 1097280"/>
                <a:gd name="connsiteY7" fmla="*/ 121920 h 121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97280" h="121920">
                  <a:moveTo>
                    <a:pt x="60960" y="121920"/>
                  </a:moveTo>
                  <a:lnTo>
                    <a:pt x="1036320" y="121920"/>
                  </a:lnTo>
                  <a:cubicBezTo>
                    <a:pt x="1069657" y="121920"/>
                    <a:pt x="1097280" y="94298"/>
                    <a:pt x="1097280" y="60960"/>
                  </a:cubicBezTo>
                  <a:cubicBezTo>
                    <a:pt x="1097280" y="27623"/>
                    <a:pt x="1069657" y="0"/>
                    <a:pt x="1036320" y="0"/>
                  </a:cubicBezTo>
                  <a:lnTo>
                    <a:pt x="60960" y="0"/>
                  </a:lnTo>
                  <a:cubicBezTo>
                    <a:pt x="27622" y="0"/>
                    <a:pt x="0" y="27623"/>
                    <a:pt x="0" y="60960"/>
                  </a:cubicBezTo>
                  <a:cubicBezTo>
                    <a:pt x="0" y="94298"/>
                    <a:pt x="27622" y="121920"/>
                    <a:pt x="60960" y="121920"/>
                  </a:cubicBezTo>
                  <a:lnTo>
                    <a:pt x="60960" y="12192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0" name="Forma Livre: Forma 39">
              <a:extLst>
                <a:ext uri="{FF2B5EF4-FFF2-40B4-BE49-F238E27FC236}">
                  <a16:creationId xmlns:a16="http://schemas.microsoft.com/office/drawing/2014/main" id="{9FF56B45-DA34-49D5-A0F8-51742A08C510}"/>
                </a:ext>
              </a:extLst>
            </p:cNvPr>
            <p:cNvSpPr/>
            <p:nvPr/>
          </p:nvSpPr>
          <p:spPr>
            <a:xfrm>
              <a:off x="7559040" y="2941320"/>
              <a:ext cx="121919" cy="975359"/>
            </a:xfrm>
            <a:custGeom>
              <a:avLst/>
              <a:gdLst>
                <a:gd name="connsiteX0" fmla="*/ 60960 w 121919"/>
                <a:gd name="connsiteY0" fmla="*/ 0 h 975359"/>
                <a:gd name="connsiteX1" fmla="*/ 0 w 121919"/>
                <a:gd name="connsiteY1" fmla="*/ 60960 h 975359"/>
                <a:gd name="connsiteX2" fmla="*/ 0 w 121919"/>
                <a:gd name="connsiteY2" fmla="*/ 914400 h 975359"/>
                <a:gd name="connsiteX3" fmla="*/ 60960 w 121919"/>
                <a:gd name="connsiteY3" fmla="*/ 975360 h 975359"/>
                <a:gd name="connsiteX4" fmla="*/ 121920 w 121919"/>
                <a:gd name="connsiteY4" fmla="*/ 914400 h 975359"/>
                <a:gd name="connsiteX5" fmla="*/ 121920 w 121919"/>
                <a:gd name="connsiteY5" fmla="*/ 60960 h 975359"/>
                <a:gd name="connsiteX6" fmla="*/ 60960 w 121919"/>
                <a:gd name="connsiteY6" fmla="*/ 0 h 975359"/>
                <a:gd name="connsiteX7" fmla="*/ 60960 w 121919"/>
                <a:gd name="connsiteY7" fmla="*/ 0 h 975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19" h="975359">
                  <a:moveTo>
                    <a:pt x="60960" y="0"/>
                  </a:moveTo>
                  <a:cubicBezTo>
                    <a:pt x="27622" y="0"/>
                    <a:pt x="0" y="27622"/>
                    <a:pt x="0" y="60960"/>
                  </a:cubicBezTo>
                  <a:lnTo>
                    <a:pt x="0" y="914400"/>
                  </a:lnTo>
                  <a:cubicBezTo>
                    <a:pt x="0" y="947738"/>
                    <a:pt x="27622" y="975360"/>
                    <a:pt x="60960" y="975360"/>
                  </a:cubicBezTo>
                  <a:cubicBezTo>
                    <a:pt x="94297" y="975360"/>
                    <a:pt x="121920" y="947738"/>
                    <a:pt x="121920" y="914400"/>
                  </a:cubicBezTo>
                  <a:lnTo>
                    <a:pt x="121920" y="60960"/>
                  </a:lnTo>
                  <a:cubicBezTo>
                    <a:pt x="121920" y="27622"/>
                    <a:pt x="94297" y="0"/>
                    <a:pt x="60960" y="0"/>
                  </a:cubicBezTo>
                  <a:lnTo>
                    <a:pt x="6096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</p:spTree>
    <p:extLst>
      <p:ext uri="{BB962C8B-B14F-4D97-AF65-F5344CB8AC3E}">
        <p14:creationId xmlns:p14="http://schemas.microsoft.com/office/powerpoint/2010/main" val="14456518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041354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Espaço Reservado para Imagem 2" descr="Piscina ao lado de um prédio&#10;&#10;Descrição gerada automaticamente">
            <a:extLst>
              <a:ext uri="{FF2B5EF4-FFF2-40B4-BE49-F238E27FC236}">
                <a16:creationId xmlns:a16="http://schemas.microsoft.com/office/drawing/2014/main" id="{95346DED-610E-42A7-ADA3-CD9D8B63C65A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8" name="Espaço Reservado para Conteúdo 7">
            <a:extLst>
              <a:ext uri="{FF2B5EF4-FFF2-40B4-BE49-F238E27FC236}">
                <a16:creationId xmlns:a16="http://schemas.microsoft.com/office/drawing/2014/main" id="{C2FD9A40-8F28-4A4D-9920-5C425D5D4E88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pt-BR" dirty="0"/>
              <a:t>Inserir texto descritivo</a:t>
            </a:r>
          </a:p>
        </p:txBody>
      </p:sp>
      <p:sp>
        <p:nvSpPr>
          <p:cNvPr id="9" name="Espaço Reservado para Conteúdo 8">
            <a:extLst>
              <a:ext uri="{FF2B5EF4-FFF2-40B4-BE49-F238E27FC236}">
                <a16:creationId xmlns:a16="http://schemas.microsoft.com/office/drawing/2014/main" id="{CDD3AD1D-33B3-4AF2-BF77-265EDCBD0DCD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pt-BR" dirty="0"/>
              <a:t>Inserir texto descritivo</a:t>
            </a:r>
          </a:p>
        </p:txBody>
      </p:sp>
      <p:sp>
        <p:nvSpPr>
          <p:cNvPr id="10" name="Espaço Reservado para Conteúdo 9">
            <a:extLst>
              <a:ext uri="{FF2B5EF4-FFF2-40B4-BE49-F238E27FC236}">
                <a16:creationId xmlns:a16="http://schemas.microsoft.com/office/drawing/2014/main" id="{1CF7F089-7DCC-4327-87B0-8320BFFBCADE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pt-BR" dirty="0"/>
              <a:t>Inserir texto descritivo</a:t>
            </a:r>
          </a:p>
        </p:txBody>
      </p:sp>
      <p:sp>
        <p:nvSpPr>
          <p:cNvPr id="11" name="Espaço Reservado para Conteúdo 10">
            <a:extLst>
              <a:ext uri="{FF2B5EF4-FFF2-40B4-BE49-F238E27FC236}">
                <a16:creationId xmlns:a16="http://schemas.microsoft.com/office/drawing/2014/main" id="{A554697B-4EAF-48D4-81FB-3C965D179B4C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r>
              <a:rPr lang="pt-BR" dirty="0"/>
              <a:t>Inserir texto descritivo</a:t>
            </a:r>
          </a:p>
        </p:txBody>
      </p:sp>
      <p:sp>
        <p:nvSpPr>
          <p:cNvPr id="12" name="Espaço Reservado para Conteúdo 11">
            <a:extLst>
              <a:ext uri="{FF2B5EF4-FFF2-40B4-BE49-F238E27FC236}">
                <a16:creationId xmlns:a16="http://schemas.microsoft.com/office/drawing/2014/main" id="{622E54C0-9F36-45E7-B5CF-54BF43B82825}"/>
              </a:ext>
            </a:extLst>
          </p:cNvPr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r>
              <a:rPr lang="pt-BR" dirty="0"/>
              <a:t>Inserir texto descritivo</a:t>
            </a:r>
          </a:p>
        </p:txBody>
      </p:sp>
      <p:sp>
        <p:nvSpPr>
          <p:cNvPr id="13" name="Espaço Reservado para Conteúdo 12">
            <a:extLst>
              <a:ext uri="{FF2B5EF4-FFF2-40B4-BE49-F238E27FC236}">
                <a16:creationId xmlns:a16="http://schemas.microsoft.com/office/drawing/2014/main" id="{D10E01CD-9989-4D11-BD7D-788BB9DB67F2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r>
              <a:rPr lang="pt-BR" dirty="0"/>
              <a:t>Inserir texto descritivo</a:t>
            </a:r>
          </a:p>
        </p:txBody>
      </p:sp>
      <p:sp>
        <p:nvSpPr>
          <p:cNvPr id="15" name="Elipse 14">
            <a:extLst>
              <a:ext uri="{FF2B5EF4-FFF2-40B4-BE49-F238E27FC236}">
                <a16:creationId xmlns:a16="http://schemas.microsoft.com/office/drawing/2014/main" id="{34CF22C8-6122-4B05-841B-0D0E79502F6B}"/>
              </a:ext>
            </a:extLst>
          </p:cNvPr>
          <p:cNvSpPr/>
          <p:nvPr/>
        </p:nvSpPr>
        <p:spPr>
          <a:xfrm>
            <a:off x="5765498" y="1030839"/>
            <a:ext cx="661004" cy="661004"/>
          </a:xfrm>
          <a:prstGeom prst="ellipse">
            <a:avLst/>
          </a:prstGeom>
          <a:solidFill>
            <a:srgbClr val="D6D6CE"/>
          </a:solidFill>
          <a:ln w="57150">
            <a:solidFill>
              <a:srgbClr val="263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Elipse 15">
            <a:extLst>
              <a:ext uri="{FF2B5EF4-FFF2-40B4-BE49-F238E27FC236}">
                <a16:creationId xmlns:a16="http://schemas.microsoft.com/office/drawing/2014/main" id="{D6D4095F-74AF-41F4-8F1B-DB6ACF2226FF}"/>
              </a:ext>
            </a:extLst>
          </p:cNvPr>
          <p:cNvSpPr/>
          <p:nvPr/>
        </p:nvSpPr>
        <p:spPr>
          <a:xfrm>
            <a:off x="5765498" y="1840009"/>
            <a:ext cx="661004" cy="661004"/>
          </a:xfrm>
          <a:prstGeom prst="ellipse">
            <a:avLst/>
          </a:prstGeom>
          <a:solidFill>
            <a:srgbClr val="D6D6CE"/>
          </a:solidFill>
          <a:ln w="57150">
            <a:solidFill>
              <a:srgbClr val="263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id="{790FBE5F-AA0C-4427-BC6A-8AA7607A4ADF}"/>
              </a:ext>
            </a:extLst>
          </p:cNvPr>
          <p:cNvSpPr/>
          <p:nvPr/>
        </p:nvSpPr>
        <p:spPr>
          <a:xfrm>
            <a:off x="5765498" y="2649179"/>
            <a:ext cx="661004" cy="661004"/>
          </a:xfrm>
          <a:prstGeom prst="ellipse">
            <a:avLst/>
          </a:prstGeom>
          <a:solidFill>
            <a:srgbClr val="D6D6CE"/>
          </a:solidFill>
          <a:ln w="57150">
            <a:solidFill>
              <a:srgbClr val="263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Elipse 17">
            <a:extLst>
              <a:ext uri="{FF2B5EF4-FFF2-40B4-BE49-F238E27FC236}">
                <a16:creationId xmlns:a16="http://schemas.microsoft.com/office/drawing/2014/main" id="{F2C431CE-8803-4273-8C90-6E5EDB43D1CA}"/>
              </a:ext>
            </a:extLst>
          </p:cNvPr>
          <p:cNvSpPr/>
          <p:nvPr/>
        </p:nvSpPr>
        <p:spPr>
          <a:xfrm>
            <a:off x="5765498" y="3458349"/>
            <a:ext cx="661004" cy="661004"/>
          </a:xfrm>
          <a:prstGeom prst="ellipse">
            <a:avLst/>
          </a:prstGeom>
          <a:solidFill>
            <a:srgbClr val="D6D6CE"/>
          </a:solidFill>
          <a:ln w="57150">
            <a:solidFill>
              <a:srgbClr val="263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9" name="Elipse 18">
            <a:extLst>
              <a:ext uri="{FF2B5EF4-FFF2-40B4-BE49-F238E27FC236}">
                <a16:creationId xmlns:a16="http://schemas.microsoft.com/office/drawing/2014/main" id="{BAC0E0D8-110C-4371-BC85-A0B90122117C}"/>
              </a:ext>
            </a:extLst>
          </p:cNvPr>
          <p:cNvSpPr/>
          <p:nvPr/>
        </p:nvSpPr>
        <p:spPr>
          <a:xfrm>
            <a:off x="5765498" y="4267519"/>
            <a:ext cx="661004" cy="661004"/>
          </a:xfrm>
          <a:prstGeom prst="ellipse">
            <a:avLst/>
          </a:prstGeom>
          <a:solidFill>
            <a:srgbClr val="D6D6CE"/>
          </a:solidFill>
          <a:ln w="57150">
            <a:solidFill>
              <a:srgbClr val="263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0" name="Elipse 19">
            <a:extLst>
              <a:ext uri="{FF2B5EF4-FFF2-40B4-BE49-F238E27FC236}">
                <a16:creationId xmlns:a16="http://schemas.microsoft.com/office/drawing/2014/main" id="{15C07838-09DE-4E74-A8F3-0685532566F3}"/>
              </a:ext>
            </a:extLst>
          </p:cNvPr>
          <p:cNvSpPr/>
          <p:nvPr/>
        </p:nvSpPr>
        <p:spPr>
          <a:xfrm>
            <a:off x="5765498" y="5076688"/>
            <a:ext cx="661004" cy="661004"/>
          </a:xfrm>
          <a:prstGeom prst="ellipse">
            <a:avLst/>
          </a:prstGeom>
          <a:solidFill>
            <a:srgbClr val="D6D6CE"/>
          </a:solidFill>
          <a:ln w="57150">
            <a:solidFill>
              <a:srgbClr val="263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21" name="Gráfico 2">
            <a:extLst>
              <a:ext uri="{FF2B5EF4-FFF2-40B4-BE49-F238E27FC236}">
                <a16:creationId xmlns:a16="http://schemas.microsoft.com/office/drawing/2014/main" id="{9AC84BBD-4227-472E-B332-5C94EE22C550}"/>
              </a:ext>
            </a:extLst>
          </p:cNvPr>
          <p:cNvGrpSpPr/>
          <p:nvPr/>
        </p:nvGrpSpPr>
        <p:grpSpPr>
          <a:xfrm>
            <a:off x="5890168" y="2044047"/>
            <a:ext cx="411663" cy="246263"/>
            <a:chOff x="2686328" y="92006"/>
            <a:chExt cx="519568" cy="310813"/>
          </a:xfrm>
          <a:solidFill>
            <a:srgbClr val="263143"/>
          </a:solidFill>
        </p:grpSpPr>
        <p:sp>
          <p:nvSpPr>
            <p:cNvPr id="22" name="Forma Livre: Forma 21">
              <a:extLst>
                <a:ext uri="{FF2B5EF4-FFF2-40B4-BE49-F238E27FC236}">
                  <a16:creationId xmlns:a16="http://schemas.microsoft.com/office/drawing/2014/main" id="{8ABE6271-5473-4772-86E7-ADE7404B52C2}"/>
                </a:ext>
              </a:extLst>
            </p:cNvPr>
            <p:cNvSpPr/>
            <p:nvPr/>
          </p:nvSpPr>
          <p:spPr>
            <a:xfrm>
              <a:off x="2686328" y="92006"/>
              <a:ext cx="519568" cy="310813"/>
            </a:xfrm>
            <a:custGeom>
              <a:avLst/>
              <a:gdLst>
                <a:gd name="connsiteX0" fmla="*/ 155407 w 519568"/>
                <a:gd name="connsiteY0" fmla="*/ 310814 h 310813"/>
                <a:gd name="connsiteX1" fmla="*/ 0 w 519568"/>
                <a:gd name="connsiteY1" fmla="*/ 155407 h 310813"/>
                <a:gd name="connsiteX2" fmla="*/ 155407 w 519568"/>
                <a:gd name="connsiteY2" fmla="*/ 0 h 310813"/>
                <a:gd name="connsiteX3" fmla="*/ 289165 w 519568"/>
                <a:gd name="connsiteY3" fmla="*/ 76544 h 310813"/>
                <a:gd name="connsiteX4" fmla="*/ 440706 w 519568"/>
                <a:gd name="connsiteY4" fmla="*/ 76544 h 310813"/>
                <a:gd name="connsiteX5" fmla="*/ 519569 w 519568"/>
                <a:gd name="connsiteY5" fmla="*/ 155407 h 310813"/>
                <a:gd name="connsiteX6" fmla="*/ 451530 w 519568"/>
                <a:gd name="connsiteY6" fmla="*/ 232724 h 310813"/>
                <a:gd name="connsiteX7" fmla="*/ 441479 w 519568"/>
                <a:gd name="connsiteY7" fmla="*/ 234270 h 310813"/>
                <a:gd name="connsiteX8" fmla="*/ 434521 w 519568"/>
                <a:gd name="connsiteY8" fmla="*/ 227311 h 310813"/>
                <a:gd name="connsiteX9" fmla="*/ 420603 w 519568"/>
                <a:gd name="connsiteY9" fmla="*/ 211848 h 310813"/>
                <a:gd name="connsiteX10" fmla="*/ 393542 w 519568"/>
                <a:gd name="connsiteY10" fmla="*/ 242775 h 310813"/>
                <a:gd name="connsiteX11" fmla="*/ 366482 w 519568"/>
                <a:gd name="connsiteY11" fmla="*/ 211848 h 310813"/>
                <a:gd name="connsiteX12" fmla="*/ 347926 w 519568"/>
                <a:gd name="connsiteY12" fmla="*/ 233497 h 310813"/>
                <a:gd name="connsiteX13" fmla="*/ 337875 w 519568"/>
                <a:gd name="connsiteY13" fmla="*/ 234270 h 310813"/>
                <a:gd name="connsiteX14" fmla="*/ 289938 w 519568"/>
                <a:gd name="connsiteY14" fmla="*/ 234270 h 310813"/>
                <a:gd name="connsiteX15" fmla="*/ 155407 w 519568"/>
                <a:gd name="connsiteY15" fmla="*/ 310814 h 310813"/>
                <a:gd name="connsiteX16" fmla="*/ 155407 w 519568"/>
                <a:gd name="connsiteY16" fmla="*/ 310814 h 310813"/>
                <a:gd name="connsiteX17" fmla="*/ 155407 w 519568"/>
                <a:gd name="connsiteY17" fmla="*/ 40205 h 310813"/>
                <a:gd name="connsiteX18" fmla="*/ 40978 w 519568"/>
                <a:gd name="connsiteY18" fmla="*/ 154634 h 310813"/>
                <a:gd name="connsiteX19" fmla="*/ 155407 w 519568"/>
                <a:gd name="connsiteY19" fmla="*/ 269062 h 310813"/>
                <a:gd name="connsiteX20" fmla="*/ 259011 w 519568"/>
                <a:gd name="connsiteY20" fmla="*/ 204116 h 310813"/>
                <a:gd name="connsiteX21" fmla="*/ 264424 w 519568"/>
                <a:gd name="connsiteY21" fmla="*/ 192519 h 310813"/>
                <a:gd name="connsiteX22" fmla="*/ 327823 w 519568"/>
                <a:gd name="connsiteY22" fmla="*/ 192519 h 310813"/>
                <a:gd name="connsiteX23" fmla="*/ 365708 w 519568"/>
                <a:gd name="connsiteY23" fmla="*/ 149221 h 310813"/>
                <a:gd name="connsiteX24" fmla="*/ 392769 w 519568"/>
                <a:gd name="connsiteY24" fmla="*/ 180148 h 310813"/>
                <a:gd name="connsiteX25" fmla="*/ 419830 w 519568"/>
                <a:gd name="connsiteY25" fmla="*/ 149221 h 310813"/>
                <a:gd name="connsiteX26" fmla="*/ 455396 w 519568"/>
                <a:gd name="connsiteY26" fmla="*/ 189426 h 310813"/>
                <a:gd name="connsiteX27" fmla="*/ 477818 w 519568"/>
                <a:gd name="connsiteY27" fmla="*/ 155407 h 310813"/>
                <a:gd name="connsiteX28" fmla="*/ 439933 w 519568"/>
                <a:gd name="connsiteY28" fmla="*/ 117522 h 310813"/>
                <a:gd name="connsiteX29" fmla="*/ 263650 w 519568"/>
                <a:gd name="connsiteY29" fmla="*/ 117522 h 310813"/>
                <a:gd name="connsiteX30" fmla="*/ 258238 w 519568"/>
                <a:gd name="connsiteY30" fmla="*/ 105924 h 310813"/>
                <a:gd name="connsiteX31" fmla="*/ 155407 w 519568"/>
                <a:gd name="connsiteY31" fmla="*/ 40205 h 310813"/>
                <a:gd name="connsiteX32" fmla="*/ 155407 w 519568"/>
                <a:gd name="connsiteY32" fmla="*/ 40205 h 310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519568" h="310813">
                  <a:moveTo>
                    <a:pt x="155407" y="310814"/>
                  </a:moveTo>
                  <a:cubicBezTo>
                    <a:pt x="69585" y="310814"/>
                    <a:pt x="0" y="241228"/>
                    <a:pt x="0" y="155407"/>
                  </a:cubicBezTo>
                  <a:cubicBezTo>
                    <a:pt x="0" y="69585"/>
                    <a:pt x="69585" y="0"/>
                    <a:pt x="155407" y="0"/>
                  </a:cubicBezTo>
                  <a:cubicBezTo>
                    <a:pt x="210302" y="0"/>
                    <a:pt x="261331" y="30154"/>
                    <a:pt x="289165" y="76544"/>
                  </a:cubicBezTo>
                  <a:lnTo>
                    <a:pt x="440706" y="76544"/>
                  </a:lnTo>
                  <a:cubicBezTo>
                    <a:pt x="484003" y="76544"/>
                    <a:pt x="519569" y="112109"/>
                    <a:pt x="519569" y="155407"/>
                  </a:cubicBezTo>
                  <a:cubicBezTo>
                    <a:pt x="519569" y="194838"/>
                    <a:pt x="490188" y="228085"/>
                    <a:pt x="451530" y="232724"/>
                  </a:cubicBezTo>
                  <a:lnTo>
                    <a:pt x="441479" y="234270"/>
                  </a:lnTo>
                  <a:lnTo>
                    <a:pt x="434521" y="227311"/>
                  </a:lnTo>
                  <a:lnTo>
                    <a:pt x="420603" y="211848"/>
                  </a:lnTo>
                  <a:lnTo>
                    <a:pt x="393542" y="242775"/>
                  </a:lnTo>
                  <a:lnTo>
                    <a:pt x="366482" y="211848"/>
                  </a:lnTo>
                  <a:lnTo>
                    <a:pt x="347926" y="233497"/>
                  </a:lnTo>
                  <a:lnTo>
                    <a:pt x="337875" y="234270"/>
                  </a:lnTo>
                  <a:lnTo>
                    <a:pt x="289938" y="234270"/>
                  </a:lnTo>
                  <a:cubicBezTo>
                    <a:pt x="262104" y="280660"/>
                    <a:pt x="211075" y="310814"/>
                    <a:pt x="155407" y="310814"/>
                  </a:cubicBezTo>
                  <a:lnTo>
                    <a:pt x="155407" y="310814"/>
                  </a:lnTo>
                  <a:close/>
                  <a:moveTo>
                    <a:pt x="155407" y="40205"/>
                  </a:moveTo>
                  <a:cubicBezTo>
                    <a:pt x="92007" y="40205"/>
                    <a:pt x="40978" y="91234"/>
                    <a:pt x="40978" y="154634"/>
                  </a:cubicBezTo>
                  <a:cubicBezTo>
                    <a:pt x="40978" y="218033"/>
                    <a:pt x="92007" y="269062"/>
                    <a:pt x="155407" y="269062"/>
                  </a:cubicBezTo>
                  <a:cubicBezTo>
                    <a:pt x="199477" y="269062"/>
                    <a:pt x="239682" y="243548"/>
                    <a:pt x="259011" y="204116"/>
                  </a:cubicBezTo>
                  <a:lnTo>
                    <a:pt x="264424" y="192519"/>
                  </a:lnTo>
                  <a:lnTo>
                    <a:pt x="327823" y="192519"/>
                  </a:lnTo>
                  <a:lnTo>
                    <a:pt x="365708" y="149221"/>
                  </a:lnTo>
                  <a:lnTo>
                    <a:pt x="392769" y="180148"/>
                  </a:lnTo>
                  <a:lnTo>
                    <a:pt x="419830" y="149221"/>
                  </a:lnTo>
                  <a:lnTo>
                    <a:pt x="455396" y="189426"/>
                  </a:lnTo>
                  <a:cubicBezTo>
                    <a:pt x="468540" y="184014"/>
                    <a:pt x="477818" y="170097"/>
                    <a:pt x="477818" y="155407"/>
                  </a:cubicBezTo>
                  <a:cubicBezTo>
                    <a:pt x="477818" y="134531"/>
                    <a:pt x="460808" y="117522"/>
                    <a:pt x="439933" y="117522"/>
                  </a:cubicBezTo>
                  <a:lnTo>
                    <a:pt x="263650" y="117522"/>
                  </a:lnTo>
                  <a:lnTo>
                    <a:pt x="258238" y="105924"/>
                  </a:lnTo>
                  <a:cubicBezTo>
                    <a:pt x="239682" y="65719"/>
                    <a:pt x="199477" y="40205"/>
                    <a:pt x="155407" y="40205"/>
                  </a:cubicBezTo>
                  <a:lnTo>
                    <a:pt x="155407" y="40205"/>
                  </a:lnTo>
                  <a:close/>
                </a:path>
              </a:pathLst>
            </a:custGeom>
            <a:grpFill/>
            <a:ln w="7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3" name="Forma Livre: Forma 22">
              <a:extLst>
                <a:ext uri="{FF2B5EF4-FFF2-40B4-BE49-F238E27FC236}">
                  <a16:creationId xmlns:a16="http://schemas.microsoft.com/office/drawing/2014/main" id="{AED9AC30-2BCB-4F05-B756-92230DA1103D}"/>
                </a:ext>
              </a:extLst>
            </p:cNvPr>
            <p:cNvSpPr/>
            <p:nvPr/>
          </p:nvSpPr>
          <p:spPr>
            <a:xfrm>
              <a:off x="2774469" y="218033"/>
              <a:ext cx="58760" cy="58760"/>
            </a:xfrm>
            <a:custGeom>
              <a:avLst/>
              <a:gdLst>
                <a:gd name="connsiteX0" fmla="*/ 29381 w 58760"/>
                <a:gd name="connsiteY0" fmla="*/ 0 h 58760"/>
                <a:gd name="connsiteX1" fmla="*/ 0 w 58760"/>
                <a:gd name="connsiteY1" fmla="*/ 29380 h 58760"/>
                <a:gd name="connsiteX2" fmla="*/ 29381 w 58760"/>
                <a:gd name="connsiteY2" fmla="*/ 58761 h 58760"/>
                <a:gd name="connsiteX3" fmla="*/ 58761 w 58760"/>
                <a:gd name="connsiteY3" fmla="*/ 29380 h 58760"/>
                <a:gd name="connsiteX4" fmla="*/ 29381 w 58760"/>
                <a:gd name="connsiteY4" fmla="*/ 0 h 58760"/>
                <a:gd name="connsiteX5" fmla="*/ 29381 w 58760"/>
                <a:gd name="connsiteY5" fmla="*/ 0 h 58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760" h="58760">
                  <a:moveTo>
                    <a:pt x="29381" y="0"/>
                  </a:moveTo>
                  <a:cubicBezTo>
                    <a:pt x="13144" y="0"/>
                    <a:pt x="0" y="13144"/>
                    <a:pt x="0" y="29380"/>
                  </a:cubicBezTo>
                  <a:cubicBezTo>
                    <a:pt x="0" y="45617"/>
                    <a:pt x="13144" y="58761"/>
                    <a:pt x="29381" y="58761"/>
                  </a:cubicBezTo>
                  <a:cubicBezTo>
                    <a:pt x="45617" y="58761"/>
                    <a:pt x="58761" y="45617"/>
                    <a:pt x="58761" y="29380"/>
                  </a:cubicBezTo>
                  <a:cubicBezTo>
                    <a:pt x="58761" y="13144"/>
                    <a:pt x="44844" y="0"/>
                    <a:pt x="29381" y="0"/>
                  </a:cubicBezTo>
                  <a:lnTo>
                    <a:pt x="29381" y="0"/>
                  </a:lnTo>
                  <a:close/>
                </a:path>
              </a:pathLst>
            </a:custGeom>
            <a:grpFill/>
            <a:ln w="7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4" name="Gráfico 2">
            <a:extLst>
              <a:ext uri="{FF2B5EF4-FFF2-40B4-BE49-F238E27FC236}">
                <a16:creationId xmlns:a16="http://schemas.microsoft.com/office/drawing/2014/main" id="{46766531-B321-4ED4-BF07-77E7100A3592}"/>
              </a:ext>
            </a:extLst>
          </p:cNvPr>
          <p:cNvGrpSpPr/>
          <p:nvPr/>
        </p:nvGrpSpPr>
        <p:grpSpPr>
          <a:xfrm>
            <a:off x="5919277" y="2771176"/>
            <a:ext cx="351632" cy="404312"/>
            <a:chOff x="3986797" y="2531351"/>
            <a:chExt cx="443802" cy="510290"/>
          </a:xfrm>
          <a:solidFill>
            <a:srgbClr val="263143"/>
          </a:solidFill>
        </p:grpSpPr>
        <p:sp>
          <p:nvSpPr>
            <p:cNvPr id="25" name="Forma Livre: Forma 24">
              <a:extLst>
                <a:ext uri="{FF2B5EF4-FFF2-40B4-BE49-F238E27FC236}">
                  <a16:creationId xmlns:a16="http://schemas.microsoft.com/office/drawing/2014/main" id="{A5A4F297-789D-4DEF-B644-0A0DAAC21617}"/>
                </a:ext>
              </a:extLst>
            </p:cNvPr>
            <p:cNvSpPr/>
            <p:nvPr/>
          </p:nvSpPr>
          <p:spPr>
            <a:xfrm>
              <a:off x="4333491" y="2598932"/>
              <a:ext cx="80553" cy="92465"/>
            </a:xfrm>
            <a:custGeom>
              <a:avLst/>
              <a:gdLst>
                <a:gd name="connsiteX0" fmla="*/ 20561 w 80553"/>
                <a:gd name="connsiteY0" fmla="*/ 92466 h 92465"/>
                <a:gd name="connsiteX1" fmla="*/ 8190 w 80553"/>
                <a:gd name="connsiteY1" fmla="*/ 88600 h 92465"/>
                <a:gd name="connsiteX2" fmla="*/ 4324 w 80553"/>
                <a:gd name="connsiteY2" fmla="*/ 59993 h 92465"/>
                <a:gd name="connsiteX3" fmla="*/ 43756 w 80553"/>
                <a:gd name="connsiteY3" fmla="*/ 8190 h 92465"/>
                <a:gd name="connsiteX4" fmla="*/ 72363 w 80553"/>
                <a:gd name="connsiteY4" fmla="*/ 4325 h 92465"/>
                <a:gd name="connsiteX5" fmla="*/ 76229 w 80553"/>
                <a:gd name="connsiteY5" fmla="*/ 32932 h 92465"/>
                <a:gd name="connsiteX6" fmla="*/ 36797 w 80553"/>
                <a:gd name="connsiteY6" fmla="*/ 84734 h 92465"/>
                <a:gd name="connsiteX7" fmla="*/ 20561 w 80553"/>
                <a:gd name="connsiteY7" fmla="*/ 92466 h 92465"/>
                <a:gd name="connsiteX8" fmla="*/ 20561 w 80553"/>
                <a:gd name="connsiteY8" fmla="*/ 92466 h 92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0553" h="92465">
                  <a:moveTo>
                    <a:pt x="20561" y="92466"/>
                  </a:moveTo>
                  <a:cubicBezTo>
                    <a:pt x="15922" y="92466"/>
                    <a:pt x="12056" y="90919"/>
                    <a:pt x="8190" y="88600"/>
                  </a:cubicBezTo>
                  <a:cubicBezTo>
                    <a:pt x="-1088" y="81641"/>
                    <a:pt x="-2634" y="69271"/>
                    <a:pt x="4324" y="59993"/>
                  </a:cubicBezTo>
                  <a:lnTo>
                    <a:pt x="43756" y="8190"/>
                  </a:lnTo>
                  <a:cubicBezTo>
                    <a:pt x="50714" y="-1088"/>
                    <a:pt x="63085" y="-2634"/>
                    <a:pt x="72363" y="4325"/>
                  </a:cubicBezTo>
                  <a:cubicBezTo>
                    <a:pt x="81641" y="11283"/>
                    <a:pt x="83187" y="23654"/>
                    <a:pt x="76229" y="32932"/>
                  </a:cubicBezTo>
                  <a:lnTo>
                    <a:pt x="36797" y="84734"/>
                  </a:lnTo>
                  <a:cubicBezTo>
                    <a:pt x="32932" y="90146"/>
                    <a:pt x="26746" y="92466"/>
                    <a:pt x="20561" y="92466"/>
                  </a:cubicBezTo>
                  <a:lnTo>
                    <a:pt x="20561" y="92466"/>
                  </a:lnTo>
                  <a:close/>
                </a:path>
              </a:pathLst>
            </a:custGeom>
            <a:grpFill/>
            <a:ln w="7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6" name="Forma Livre: Forma 25">
              <a:extLst>
                <a:ext uri="{FF2B5EF4-FFF2-40B4-BE49-F238E27FC236}">
                  <a16:creationId xmlns:a16="http://schemas.microsoft.com/office/drawing/2014/main" id="{1715401B-134E-49C5-9D50-7109A6D83D1B}"/>
                </a:ext>
              </a:extLst>
            </p:cNvPr>
            <p:cNvSpPr/>
            <p:nvPr/>
          </p:nvSpPr>
          <p:spPr>
            <a:xfrm>
              <a:off x="3986797" y="2597844"/>
              <a:ext cx="443802" cy="443798"/>
            </a:xfrm>
            <a:custGeom>
              <a:avLst/>
              <a:gdLst>
                <a:gd name="connsiteX0" fmla="*/ 221899 w 443802"/>
                <a:gd name="connsiteY0" fmla="*/ 443798 h 443798"/>
                <a:gd name="connsiteX1" fmla="*/ 0 w 443802"/>
                <a:gd name="connsiteY1" fmla="*/ 221899 h 443798"/>
                <a:gd name="connsiteX2" fmla="*/ 221899 w 443802"/>
                <a:gd name="connsiteY2" fmla="*/ 0 h 443798"/>
                <a:gd name="connsiteX3" fmla="*/ 443798 w 443802"/>
                <a:gd name="connsiteY3" fmla="*/ 221899 h 443798"/>
                <a:gd name="connsiteX4" fmla="*/ 221899 w 443802"/>
                <a:gd name="connsiteY4" fmla="*/ 443798 h 443798"/>
                <a:gd name="connsiteX5" fmla="*/ 221899 w 443802"/>
                <a:gd name="connsiteY5" fmla="*/ 443798 h 443798"/>
                <a:gd name="connsiteX6" fmla="*/ 221899 w 443802"/>
                <a:gd name="connsiteY6" fmla="*/ 40205 h 443798"/>
                <a:gd name="connsiteX7" fmla="*/ 40978 w 443802"/>
                <a:gd name="connsiteY7" fmla="*/ 221126 h 443798"/>
                <a:gd name="connsiteX8" fmla="*/ 221899 w 443802"/>
                <a:gd name="connsiteY8" fmla="*/ 402047 h 443798"/>
                <a:gd name="connsiteX9" fmla="*/ 402820 w 443802"/>
                <a:gd name="connsiteY9" fmla="*/ 221126 h 443798"/>
                <a:gd name="connsiteX10" fmla="*/ 221899 w 443802"/>
                <a:gd name="connsiteY10" fmla="*/ 40205 h 443798"/>
                <a:gd name="connsiteX11" fmla="*/ 221899 w 443802"/>
                <a:gd name="connsiteY11" fmla="*/ 40205 h 443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43802" h="443798">
                  <a:moveTo>
                    <a:pt x="221899" y="443798"/>
                  </a:moveTo>
                  <a:cubicBezTo>
                    <a:pt x="99739" y="443798"/>
                    <a:pt x="0" y="344060"/>
                    <a:pt x="0" y="221899"/>
                  </a:cubicBezTo>
                  <a:cubicBezTo>
                    <a:pt x="0" y="99739"/>
                    <a:pt x="99739" y="0"/>
                    <a:pt x="221899" y="0"/>
                  </a:cubicBezTo>
                  <a:cubicBezTo>
                    <a:pt x="344060" y="0"/>
                    <a:pt x="443798" y="99739"/>
                    <a:pt x="443798" y="221899"/>
                  </a:cubicBezTo>
                  <a:cubicBezTo>
                    <a:pt x="444572" y="344060"/>
                    <a:pt x="344833" y="443798"/>
                    <a:pt x="221899" y="443798"/>
                  </a:cubicBezTo>
                  <a:lnTo>
                    <a:pt x="221899" y="443798"/>
                  </a:lnTo>
                  <a:close/>
                  <a:moveTo>
                    <a:pt x="221899" y="40205"/>
                  </a:moveTo>
                  <a:cubicBezTo>
                    <a:pt x="122160" y="40205"/>
                    <a:pt x="40978" y="121387"/>
                    <a:pt x="40978" y="221126"/>
                  </a:cubicBezTo>
                  <a:cubicBezTo>
                    <a:pt x="40978" y="320865"/>
                    <a:pt x="122160" y="402047"/>
                    <a:pt x="221899" y="402047"/>
                  </a:cubicBezTo>
                  <a:cubicBezTo>
                    <a:pt x="321638" y="402047"/>
                    <a:pt x="402820" y="320865"/>
                    <a:pt x="402820" y="221126"/>
                  </a:cubicBezTo>
                  <a:cubicBezTo>
                    <a:pt x="402820" y="121387"/>
                    <a:pt x="321638" y="40205"/>
                    <a:pt x="221899" y="40205"/>
                  </a:cubicBezTo>
                  <a:lnTo>
                    <a:pt x="221899" y="40205"/>
                  </a:lnTo>
                  <a:close/>
                </a:path>
              </a:pathLst>
            </a:custGeom>
            <a:grpFill/>
            <a:ln w="7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7" name="Forma Livre: Forma 26">
              <a:extLst>
                <a:ext uri="{FF2B5EF4-FFF2-40B4-BE49-F238E27FC236}">
                  <a16:creationId xmlns:a16="http://schemas.microsoft.com/office/drawing/2014/main" id="{031E8BE7-980D-4D75-AA80-E301CFD4BC52}"/>
                </a:ext>
              </a:extLst>
            </p:cNvPr>
            <p:cNvSpPr/>
            <p:nvPr/>
          </p:nvSpPr>
          <p:spPr>
            <a:xfrm>
              <a:off x="4187821" y="2662017"/>
              <a:ext cx="41750" cy="177828"/>
            </a:xfrm>
            <a:custGeom>
              <a:avLst/>
              <a:gdLst>
                <a:gd name="connsiteX0" fmla="*/ 20876 w 41750"/>
                <a:gd name="connsiteY0" fmla="*/ 177829 h 177828"/>
                <a:gd name="connsiteX1" fmla="*/ 0 w 41750"/>
                <a:gd name="connsiteY1" fmla="*/ 156953 h 177828"/>
                <a:gd name="connsiteX2" fmla="*/ 0 w 41750"/>
                <a:gd name="connsiteY2" fmla="*/ 20876 h 177828"/>
                <a:gd name="connsiteX3" fmla="*/ 20876 w 41750"/>
                <a:gd name="connsiteY3" fmla="*/ 0 h 177828"/>
                <a:gd name="connsiteX4" fmla="*/ 41751 w 41750"/>
                <a:gd name="connsiteY4" fmla="*/ 20876 h 177828"/>
                <a:gd name="connsiteX5" fmla="*/ 41751 w 41750"/>
                <a:gd name="connsiteY5" fmla="*/ 156953 h 177828"/>
                <a:gd name="connsiteX6" fmla="*/ 20876 w 41750"/>
                <a:gd name="connsiteY6" fmla="*/ 177829 h 177828"/>
                <a:gd name="connsiteX7" fmla="*/ 20876 w 41750"/>
                <a:gd name="connsiteY7" fmla="*/ 177829 h 177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750" h="177828">
                  <a:moveTo>
                    <a:pt x="20876" y="177829"/>
                  </a:moveTo>
                  <a:cubicBezTo>
                    <a:pt x="9278" y="177829"/>
                    <a:pt x="0" y="168551"/>
                    <a:pt x="0" y="156953"/>
                  </a:cubicBezTo>
                  <a:lnTo>
                    <a:pt x="0" y="20876"/>
                  </a:lnTo>
                  <a:cubicBezTo>
                    <a:pt x="0" y="9278"/>
                    <a:pt x="9278" y="0"/>
                    <a:pt x="20876" y="0"/>
                  </a:cubicBezTo>
                  <a:cubicBezTo>
                    <a:pt x="32473" y="0"/>
                    <a:pt x="41751" y="9278"/>
                    <a:pt x="41751" y="20876"/>
                  </a:cubicBezTo>
                  <a:lnTo>
                    <a:pt x="41751" y="156953"/>
                  </a:lnTo>
                  <a:cubicBezTo>
                    <a:pt x="41751" y="168551"/>
                    <a:pt x="32473" y="177829"/>
                    <a:pt x="20876" y="177829"/>
                  </a:cubicBezTo>
                  <a:lnTo>
                    <a:pt x="20876" y="177829"/>
                  </a:lnTo>
                  <a:close/>
                </a:path>
              </a:pathLst>
            </a:custGeom>
            <a:grpFill/>
            <a:ln w="7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8" name="Forma Livre: Forma 27">
              <a:extLst>
                <a:ext uri="{FF2B5EF4-FFF2-40B4-BE49-F238E27FC236}">
                  <a16:creationId xmlns:a16="http://schemas.microsoft.com/office/drawing/2014/main" id="{1DCB26FA-32FD-41FA-AC61-E31C5966B4F2}"/>
                </a:ext>
              </a:extLst>
            </p:cNvPr>
            <p:cNvSpPr/>
            <p:nvPr/>
          </p:nvSpPr>
          <p:spPr>
            <a:xfrm>
              <a:off x="4132152" y="2531351"/>
              <a:ext cx="153087" cy="41751"/>
            </a:xfrm>
            <a:custGeom>
              <a:avLst/>
              <a:gdLst>
                <a:gd name="connsiteX0" fmla="*/ 132212 w 153087"/>
                <a:gd name="connsiteY0" fmla="*/ 41751 h 41751"/>
                <a:gd name="connsiteX1" fmla="*/ 20876 w 153087"/>
                <a:gd name="connsiteY1" fmla="*/ 41751 h 41751"/>
                <a:gd name="connsiteX2" fmla="*/ 0 w 153087"/>
                <a:gd name="connsiteY2" fmla="*/ 20876 h 41751"/>
                <a:gd name="connsiteX3" fmla="*/ 20876 w 153087"/>
                <a:gd name="connsiteY3" fmla="*/ 0 h 41751"/>
                <a:gd name="connsiteX4" fmla="*/ 132212 w 153087"/>
                <a:gd name="connsiteY4" fmla="*/ 0 h 41751"/>
                <a:gd name="connsiteX5" fmla="*/ 153087 w 153087"/>
                <a:gd name="connsiteY5" fmla="*/ 20876 h 41751"/>
                <a:gd name="connsiteX6" fmla="*/ 132212 w 153087"/>
                <a:gd name="connsiteY6" fmla="*/ 41751 h 41751"/>
                <a:gd name="connsiteX7" fmla="*/ 132212 w 153087"/>
                <a:gd name="connsiteY7" fmla="*/ 41751 h 41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3087" h="41751">
                  <a:moveTo>
                    <a:pt x="132212" y="41751"/>
                  </a:moveTo>
                  <a:lnTo>
                    <a:pt x="20876" y="41751"/>
                  </a:lnTo>
                  <a:cubicBezTo>
                    <a:pt x="9278" y="41751"/>
                    <a:pt x="0" y="32473"/>
                    <a:pt x="0" y="20876"/>
                  </a:cubicBezTo>
                  <a:cubicBezTo>
                    <a:pt x="0" y="9278"/>
                    <a:pt x="9278" y="0"/>
                    <a:pt x="20876" y="0"/>
                  </a:cubicBezTo>
                  <a:lnTo>
                    <a:pt x="132212" y="0"/>
                  </a:lnTo>
                  <a:cubicBezTo>
                    <a:pt x="143809" y="0"/>
                    <a:pt x="153087" y="9278"/>
                    <a:pt x="153087" y="20876"/>
                  </a:cubicBezTo>
                  <a:cubicBezTo>
                    <a:pt x="153087" y="33246"/>
                    <a:pt x="143809" y="41751"/>
                    <a:pt x="132212" y="41751"/>
                  </a:cubicBezTo>
                  <a:lnTo>
                    <a:pt x="132212" y="41751"/>
                  </a:lnTo>
                  <a:close/>
                </a:path>
              </a:pathLst>
            </a:custGeom>
            <a:grpFill/>
            <a:ln w="7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9" name="Forma Livre: Forma 28">
              <a:extLst>
                <a:ext uri="{FF2B5EF4-FFF2-40B4-BE49-F238E27FC236}">
                  <a16:creationId xmlns:a16="http://schemas.microsoft.com/office/drawing/2014/main" id="{60683F4F-422A-478B-A60E-1628085DA17E}"/>
                </a:ext>
              </a:extLst>
            </p:cNvPr>
            <p:cNvSpPr/>
            <p:nvPr/>
          </p:nvSpPr>
          <p:spPr>
            <a:xfrm>
              <a:off x="4187821" y="2548361"/>
              <a:ext cx="41750" cy="89687"/>
            </a:xfrm>
            <a:custGeom>
              <a:avLst/>
              <a:gdLst>
                <a:gd name="connsiteX0" fmla="*/ 20876 w 41750"/>
                <a:gd name="connsiteY0" fmla="*/ 89688 h 89687"/>
                <a:gd name="connsiteX1" fmla="*/ 0 w 41750"/>
                <a:gd name="connsiteY1" fmla="*/ 68812 h 89687"/>
                <a:gd name="connsiteX2" fmla="*/ 0 w 41750"/>
                <a:gd name="connsiteY2" fmla="*/ 20875 h 89687"/>
                <a:gd name="connsiteX3" fmla="*/ 20876 w 41750"/>
                <a:gd name="connsiteY3" fmla="*/ 0 h 89687"/>
                <a:gd name="connsiteX4" fmla="*/ 41751 w 41750"/>
                <a:gd name="connsiteY4" fmla="*/ 20875 h 89687"/>
                <a:gd name="connsiteX5" fmla="*/ 41751 w 41750"/>
                <a:gd name="connsiteY5" fmla="*/ 68812 h 89687"/>
                <a:gd name="connsiteX6" fmla="*/ 20876 w 41750"/>
                <a:gd name="connsiteY6" fmla="*/ 89688 h 89687"/>
                <a:gd name="connsiteX7" fmla="*/ 20876 w 41750"/>
                <a:gd name="connsiteY7" fmla="*/ 89688 h 89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750" h="89687">
                  <a:moveTo>
                    <a:pt x="20876" y="89688"/>
                  </a:moveTo>
                  <a:cubicBezTo>
                    <a:pt x="9278" y="89688"/>
                    <a:pt x="0" y="80409"/>
                    <a:pt x="0" y="68812"/>
                  </a:cubicBezTo>
                  <a:lnTo>
                    <a:pt x="0" y="20875"/>
                  </a:lnTo>
                  <a:cubicBezTo>
                    <a:pt x="0" y="9278"/>
                    <a:pt x="9278" y="0"/>
                    <a:pt x="20876" y="0"/>
                  </a:cubicBezTo>
                  <a:cubicBezTo>
                    <a:pt x="32473" y="0"/>
                    <a:pt x="41751" y="9278"/>
                    <a:pt x="41751" y="20875"/>
                  </a:cubicBezTo>
                  <a:lnTo>
                    <a:pt x="41751" y="68812"/>
                  </a:lnTo>
                  <a:cubicBezTo>
                    <a:pt x="41751" y="80409"/>
                    <a:pt x="32473" y="89688"/>
                    <a:pt x="20876" y="89688"/>
                  </a:cubicBezTo>
                  <a:lnTo>
                    <a:pt x="20876" y="89688"/>
                  </a:lnTo>
                  <a:close/>
                </a:path>
              </a:pathLst>
            </a:custGeom>
            <a:grpFill/>
            <a:ln w="7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0" name="Gráfico 2">
            <a:extLst>
              <a:ext uri="{FF2B5EF4-FFF2-40B4-BE49-F238E27FC236}">
                <a16:creationId xmlns:a16="http://schemas.microsoft.com/office/drawing/2014/main" id="{5B752B6B-F996-4599-9462-AD59C7F8B059}"/>
              </a:ext>
            </a:extLst>
          </p:cNvPr>
          <p:cNvGrpSpPr/>
          <p:nvPr/>
        </p:nvGrpSpPr>
        <p:grpSpPr>
          <a:xfrm>
            <a:off x="5905450" y="1147049"/>
            <a:ext cx="381100" cy="381646"/>
            <a:chOff x="10242055" y="2546042"/>
            <a:chExt cx="480994" cy="481683"/>
          </a:xfrm>
          <a:solidFill>
            <a:srgbClr val="263143"/>
          </a:solidFill>
        </p:grpSpPr>
        <p:grpSp>
          <p:nvGrpSpPr>
            <p:cNvPr id="31" name="Gráfico 2">
              <a:extLst>
                <a:ext uri="{FF2B5EF4-FFF2-40B4-BE49-F238E27FC236}">
                  <a16:creationId xmlns:a16="http://schemas.microsoft.com/office/drawing/2014/main" id="{DDB06C65-8F79-4A0C-B3FC-9531994E3711}"/>
                </a:ext>
              </a:extLst>
            </p:cNvPr>
            <p:cNvGrpSpPr/>
            <p:nvPr/>
          </p:nvGrpSpPr>
          <p:grpSpPr>
            <a:xfrm>
              <a:off x="10244417" y="2591659"/>
              <a:ext cx="473546" cy="397408"/>
              <a:chOff x="10244417" y="2591659"/>
              <a:chExt cx="473546" cy="397408"/>
            </a:xfrm>
            <a:grpFill/>
          </p:grpSpPr>
          <p:sp>
            <p:nvSpPr>
              <p:cNvPr id="35" name="Forma Livre: Forma 34">
                <a:extLst>
                  <a:ext uri="{FF2B5EF4-FFF2-40B4-BE49-F238E27FC236}">
                    <a16:creationId xmlns:a16="http://schemas.microsoft.com/office/drawing/2014/main" id="{AE8FC6E8-A5DD-4299-BB50-D0778FF54273}"/>
                  </a:ext>
                </a:extLst>
              </p:cNvPr>
              <p:cNvSpPr/>
              <p:nvPr/>
            </p:nvSpPr>
            <p:spPr>
              <a:xfrm>
                <a:off x="10244417" y="2592432"/>
                <a:ext cx="264825" cy="396635"/>
              </a:xfrm>
              <a:custGeom>
                <a:avLst/>
                <a:gdLst>
                  <a:gd name="connsiteX0" fmla="*/ 20503 w 264825"/>
                  <a:gd name="connsiteY0" fmla="*/ 396635 h 396635"/>
                  <a:gd name="connsiteX1" fmla="*/ 11226 w 264825"/>
                  <a:gd name="connsiteY1" fmla="*/ 394316 h 396635"/>
                  <a:gd name="connsiteX2" fmla="*/ 1948 w 264825"/>
                  <a:gd name="connsiteY2" fmla="*/ 366482 h 396635"/>
                  <a:gd name="connsiteX3" fmla="*/ 7360 w 264825"/>
                  <a:gd name="connsiteY3" fmla="*/ 355657 h 396635"/>
                  <a:gd name="connsiteX4" fmla="*/ 39060 w 264825"/>
                  <a:gd name="connsiteY4" fmla="*/ 195612 h 396635"/>
                  <a:gd name="connsiteX5" fmla="*/ 231579 w 264825"/>
                  <a:gd name="connsiteY5" fmla="*/ 0 h 396635"/>
                  <a:gd name="connsiteX6" fmla="*/ 231579 w 264825"/>
                  <a:gd name="connsiteY6" fmla="*/ 0 h 396635"/>
                  <a:gd name="connsiteX7" fmla="*/ 243949 w 264825"/>
                  <a:gd name="connsiteY7" fmla="*/ 0 h 396635"/>
                  <a:gd name="connsiteX8" fmla="*/ 264825 w 264825"/>
                  <a:gd name="connsiteY8" fmla="*/ 20876 h 396635"/>
                  <a:gd name="connsiteX9" fmla="*/ 243949 w 264825"/>
                  <a:gd name="connsiteY9" fmla="*/ 41751 h 396635"/>
                  <a:gd name="connsiteX10" fmla="*/ 231579 w 264825"/>
                  <a:gd name="connsiteY10" fmla="*/ 41751 h 396635"/>
                  <a:gd name="connsiteX11" fmla="*/ 231579 w 264825"/>
                  <a:gd name="connsiteY11" fmla="*/ 41751 h 396635"/>
                  <a:gd name="connsiteX12" fmla="*/ 80038 w 264825"/>
                  <a:gd name="connsiteY12" fmla="*/ 199477 h 396635"/>
                  <a:gd name="connsiteX13" fmla="*/ 43698 w 264825"/>
                  <a:gd name="connsiteY13" fmla="*/ 375760 h 396635"/>
                  <a:gd name="connsiteX14" fmla="*/ 38287 w 264825"/>
                  <a:gd name="connsiteY14" fmla="*/ 386584 h 396635"/>
                  <a:gd name="connsiteX15" fmla="*/ 20503 w 264825"/>
                  <a:gd name="connsiteY15" fmla="*/ 396635 h 396635"/>
                  <a:gd name="connsiteX16" fmla="*/ 20503 w 264825"/>
                  <a:gd name="connsiteY16" fmla="*/ 396635 h 396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64825" h="396635">
                    <a:moveTo>
                      <a:pt x="20503" y="396635"/>
                    </a:moveTo>
                    <a:cubicBezTo>
                      <a:pt x="17411" y="396635"/>
                      <a:pt x="14319" y="395862"/>
                      <a:pt x="11226" y="394316"/>
                    </a:cubicBezTo>
                    <a:cubicBezTo>
                      <a:pt x="1174" y="388904"/>
                      <a:pt x="-2692" y="376533"/>
                      <a:pt x="1948" y="366482"/>
                    </a:cubicBezTo>
                    <a:lnTo>
                      <a:pt x="7360" y="355657"/>
                    </a:lnTo>
                    <a:cubicBezTo>
                      <a:pt x="25143" y="321638"/>
                      <a:pt x="30555" y="310814"/>
                      <a:pt x="39060" y="195612"/>
                    </a:cubicBezTo>
                    <a:cubicBezTo>
                      <a:pt x="48338" y="80410"/>
                      <a:pt x="127201" y="0"/>
                      <a:pt x="231579" y="0"/>
                    </a:cubicBezTo>
                    <a:cubicBezTo>
                      <a:pt x="231579" y="0"/>
                      <a:pt x="231579" y="0"/>
                      <a:pt x="231579" y="0"/>
                    </a:cubicBezTo>
                    <a:lnTo>
                      <a:pt x="243949" y="0"/>
                    </a:lnTo>
                    <a:cubicBezTo>
                      <a:pt x="255547" y="0"/>
                      <a:pt x="264825" y="9278"/>
                      <a:pt x="264825" y="20876"/>
                    </a:cubicBezTo>
                    <a:cubicBezTo>
                      <a:pt x="264825" y="32473"/>
                      <a:pt x="255547" y="41751"/>
                      <a:pt x="243949" y="41751"/>
                    </a:cubicBezTo>
                    <a:lnTo>
                      <a:pt x="231579" y="41751"/>
                    </a:lnTo>
                    <a:cubicBezTo>
                      <a:pt x="231579" y="41751"/>
                      <a:pt x="231579" y="41751"/>
                      <a:pt x="231579" y="41751"/>
                    </a:cubicBezTo>
                    <a:cubicBezTo>
                      <a:pt x="148076" y="41751"/>
                      <a:pt x="87770" y="105151"/>
                      <a:pt x="80038" y="199477"/>
                    </a:cubicBezTo>
                    <a:cubicBezTo>
                      <a:pt x="70759" y="318545"/>
                      <a:pt x="64575" y="334009"/>
                      <a:pt x="43698" y="375760"/>
                    </a:cubicBezTo>
                    <a:lnTo>
                      <a:pt x="38287" y="386584"/>
                    </a:lnTo>
                    <a:cubicBezTo>
                      <a:pt x="35194" y="391996"/>
                      <a:pt x="28235" y="396635"/>
                      <a:pt x="20503" y="396635"/>
                    </a:cubicBezTo>
                    <a:lnTo>
                      <a:pt x="20503" y="396635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6" name="Forma Livre: Forma 35">
                <a:extLst>
                  <a:ext uri="{FF2B5EF4-FFF2-40B4-BE49-F238E27FC236}">
                    <a16:creationId xmlns:a16="http://schemas.microsoft.com/office/drawing/2014/main" id="{F81F620A-38A5-455E-8F9D-CC348EDF373C}"/>
                  </a:ext>
                </a:extLst>
              </p:cNvPr>
              <p:cNvSpPr/>
              <p:nvPr/>
            </p:nvSpPr>
            <p:spPr>
              <a:xfrm>
                <a:off x="10452801" y="2591659"/>
                <a:ext cx="265162" cy="397408"/>
              </a:xfrm>
              <a:custGeom>
                <a:avLst/>
                <a:gdLst>
                  <a:gd name="connsiteX0" fmla="*/ 245094 w 265162"/>
                  <a:gd name="connsiteY0" fmla="*/ 397408 h 397408"/>
                  <a:gd name="connsiteX1" fmla="*/ 226539 w 265162"/>
                  <a:gd name="connsiteY1" fmla="*/ 385811 h 397408"/>
                  <a:gd name="connsiteX2" fmla="*/ 221126 w 265162"/>
                  <a:gd name="connsiteY2" fmla="*/ 374986 h 397408"/>
                  <a:gd name="connsiteX3" fmla="*/ 184787 w 265162"/>
                  <a:gd name="connsiteY3" fmla="*/ 199477 h 397408"/>
                  <a:gd name="connsiteX4" fmla="*/ 33247 w 265162"/>
                  <a:gd name="connsiteY4" fmla="*/ 41751 h 397408"/>
                  <a:gd name="connsiteX5" fmla="*/ 33247 w 265162"/>
                  <a:gd name="connsiteY5" fmla="*/ 41751 h 397408"/>
                  <a:gd name="connsiteX6" fmla="*/ 20875 w 265162"/>
                  <a:gd name="connsiteY6" fmla="*/ 41751 h 397408"/>
                  <a:gd name="connsiteX7" fmla="*/ 0 w 265162"/>
                  <a:gd name="connsiteY7" fmla="*/ 20875 h 397408"/>
                  <a:gd name="connsiteX8" fmla="*/ 20875 w 265162"/>
                  <a:gd name="connsiteY8" fmla="*/ 0 h 397408"/>
                  <a:gd name="connsiteX9" fmla="*/ 33247 w 265162"/>
                  <a:gd name="connsiteY9" fmla="*/ 0 h 397408"/>
                  <a:gd name="connsiteX10" fmla="*/ 33247 w 265162"/>
                  <a:gd name="connsiteY10" fmla="*/ 0 h 397408"/>
                  <a:gd name="connsiteX11" fmla="*/ 225765 w 265162"/>
                  <a:gd name="connsiteY11" fmla="*/ 195611 h 397408"/>
                  <a:gd name="connsiteX12" fmla="*/ 257465 w 265162"/>
                  <a:gd name="connsiteY12" fmla="*/ 355657 h 397408"/>
                  <a:gd name="connsiteX13" fmla="*/ 262877 w 265162"/>
                  <a:gd name="connsiteY13" fmla="*/ 367255 h 397408"/>
                  <a:gd name="connsiteX14" fmla="*/ 253599 w 265162"/>
                  <a:gd name="connsiteY14" fmla="*/ 395089 h 397408"/>
                  <a:gd name="connsiteX15" fmla="*/ 245094 w 265162"/>
                  <a:gd name="connsiteY15" fmla="*/ 397408 h 397408"/>
                  <a:gd name="connsiteX16" fmla="*/ 245094 w 265162"/>
                  <a:gd name="connsiteY16" fmla="*/ 397408 h 397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65162" h="397408">
                    <a:moveTo>
                      <a:pt x="245094" y="397408"/>
                    </a:moveTo>
                    <a:cubicBezTo>
                      <a:pt x="237362" y="397408"/>
                      <a:pt x="230404" y="393542"/>
                      <a:pt x="226539" y="385811"/>
                    </a:cubicBezTo>
                    <a:lnTo>
                      <a:pt x="221126" y="374986"/>
                    </a:lnTo>
                    <a:cubicBezTo>
                      <a:pt x="200251" y="334008"/>
                      <a:pt x="194065" y="318545"/>
                      <a:pt x="184787" y="199477"/>
                    </a:cubicBezTo>
                    <a:cubicBezTo>
                      <a:pt x="177056" y="105151"/>
                      <a:pt x="116748" y="41751"/>
                      <a:pt x="33247" y="41751"/>
                    </a:cubicBezTo>
                    <a:cubicBezTo>
                      <a:pt x="33247" y="41751"/>
                      <a:pt x="33247" y="41751"/>
                      <a:pt x="33247" y="41751"/>
                    </a:cubicBezTo>
                    <a:lnTo>
                      <a:pt x="20875" y="41751"/>
                    </a:lnTo>
                    <a:cubicBezTo>
                      <a:pt x="9278" y="41751"/>
                      <a:pt x="0" y="32473"/>
                      <a:pt x="0" y="20875"/>
                    </a:cubicBezTo>
                    <a:cubicBezTo>
                      <a:pt x="0" y="9278"/>
                      <a:pt x="9278" y="0"/>
                      <a:pt x="20875" y="0"/>
                    </a:cubicBezTo>
                    <a:lnTo>
                      <a:pt x="33247" y="0"/>
                    </a:lnTo>
                    <a:cubicBezTo>
                      <a:pt x="33247" y="0"/>
                      <a:pt x="33247" y="0"/>
                      <a:pt x="33247" y="0"/>
                    </a:cubicBezTo>
                    <a:cubicBezTo>
                      <a:pt x="137624" y="0"/>
                      <a:pt x="216487" y="80409"/>
                      <a:pt x="225765" y="195611"/>
                    </a:cubicBezTo>
                    <a:cubicBezTo>
                      <a:pt x="235043" y="311587"/>
                      <a:pt x="239682" y="321638"/>
                      <a:pt x="257465" y="355657"/>
                    </a:cubicBezTo>
                    <a:lnTo>
                      <a:pt x="262877" y="367255"/>
                    </a:lnTo>
                    <a:cubicBezTo>
                      <a:pt x="268289" y="377306"/>
                      <a:pt x="263650" y="389677"/>
                      <a:pt x="253599" y="395089"/>
                    </a:cubicBezTo>
                    <a:cubicBezTo>
                      <a:pt x="251280" y="396635"/>
                      <a:pt x="248187" y="397408"/>
                      <a:pt x="245094" y="397408"/>
                    </a:cubicBezTo>
                    <a:lnTo>
                      <a:pt x="245094" y="397408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32" name="Forma Livre: Forma 31">
              <a:extLst>
                <a:ext uri="{FF2B5EF4-FFF2-40B4-BE49-F238E27FC236}">
                  <a16:creationId xmlns:a16="http://schemas.microsoft.com/office/drawing/2014/main" id="{D48540EF-D781-4748-A1C5-EEBDDE14CF87}"/>
                </a:ext>
              </a:extLst>
            </p:cNvPr>
            <p:cNvSpPr/>
            <p:nvPr/>
          </p:nvSpPr>
          <p:spPr>
            <a:xfrm>
              <a:off x="10242055" y="2925667"/>
              <a:ext cx="480994" cy="64173"/>
            </a:xfrm>
            <a:custGeom>
              <a:avLst/>
              <a:gdLst>
                <a:gd name="connsiteX0" fmla="*/ 458933 w 480994"/>
                <a:gd name="connsiteY0" fmla="*/ 64173 h 64173"/>
                <a:gd name="connsiteX1" fmla="*/ 455067 w 480994"/>
                <a:gd name="connsiteY1" fmla="*/ 63400 h 64173"/>
                <a:gd name="connsiteX2" fmla="*/ 24413 w 480994"/>
                <a:gd name="connsiteY2" fmla="*/ 63400 h 64173"/>
                <a:gd name="connsiteX3" fmla="*/ 445 w 480994"/>
                <a:gd name="connsiteY3" fmla="*/ 47163 h 64173"/>
                <a:gd name="connsiteX4" fmla="*/ 16681 w 480994"/>
                <a:gd name="connsiteY4" fmla="*/ 23195 h 64173"/>
                <a:gd name="connsiteX5" fmla="*/ 464345 w 480994"/>
                <a:gd name="connsiteY5" fmla="*/ 23195 h 64173"/>
                <a:gd name="connsiteX6" fmla="*/ 480582 w 480994"/>
                <a:gd name="connsiteY6" fmla="*/ 47163 h 64173"/>
                <a:gd name="connsiteX7" fmla="*/ 458933 w 480994"/>
                <a:gd name="connsiteY7" fmla="*/ 64173 h 64173"/>
                <a:gd name="connsiteX8" fmla="*/ 458933 w 480994"/>
                <a:gd name="connsiteY8" fmla="*/ 64173 h 64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0994" h="64173">
                  <a:moveTo>
                    <a:pt x="458933" y="64173"/>
                  </a:moveTo>
                  <a:cubicBezTo>
                    <a:pt x="457387" y="64173"/>
                    <a:pt x="455840" y="64173"/>
                    <a:pt x="455067" y="63400"/>
                  </a:cubicBezTo>
                  <a:cubicBezTo>
                    <a:pt x="312031" y="34019"/>
                    <a:pt x="167449" y="34019"/>
                    <a:pt x="24413" y="63400"/>
                  </a:cubicBezTo>
                  <a:cubicBezTo>
                    <a:pt x="13588" y="65719"/>
                    <a:pt x="2763" y="58761"/>
                    <a:pt x="445" y="47163"/>
                  </a:cubicBezTo>
                  <a:cubicBezTo>
                    <a:pt x="-1875" y="36339"/>
                    <a:pt x="5083" y="25515"/>
                    <a:pt x="16681" y="23195"/>
                  </a:cubicBezTo>
                  <a:cubicBezTo>
                    <a:pt x="165129" y="-7732"/>
                    <a:pt x="315897" y="-7732"/>
                    <a:pt x="464345" y="23195"/>
                  </a:cubicBezTo>
                  <a:cubicBezTo>
                    <a:pt x="475169" y="25515"/>
                    <a:pt x="482901" y="36339"/>
                    <a:pt x="480582" y="47163"/>
                  </a:cubicBezTo>
                  <a:cubicBezTo>
                    <a:pt x="476716" y="57214"/>
                    <a:pt x="468211" y="64173"/>
                    <a:pt x="458933" y="64173"/>
                  </a:cubicBezTo>
                  <a:lnTo>
                    <a:pt x="458933" y="64173"/>
                  </a:lnTo>
                  <a:close/>
                </a:path>
              </a:pathLst>
            </a:custGeom>
            <a:grpFill/>
            <a:ln w="7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3" name="Forma Livre: Forma 32">
              <a:extLst>
                <a:ext uri="{FF2B5EF4-FFF2-40B4-BE49-F238E27FC236}">
                  <a16:creationId xmlns:a16="http://schemas.microsoft.com/office/drawing/2014/main" id="{702E8CEB-CB5B-4CDB-AC2B-0255AC23049A}"/>
                </a:ext>
              </a:extLst>
            </p:cNvPr>
            <p:cNvSpPr/>
            <p:nvPr/>
          </p:nvSpPr>
          <p:spPr>
            <a:xfrm>
              <a:off x="10460532" y="2546042"/>
              <a:ext cx="41751" cy="82729"/>
            </a:xfrm>
            <a:custGeom>
              <a:avLst/>
              <a:gdLst>
                <a:gd name="connsiteX0" fmla="*/ 20875 w 41751"/>
                <a:gd name="connsiteY0" fmla="*/ 82729 h 82729"/>
                <a:gd name="connsiteX1" fmla="*/ 0 w 41751"/>
                <a:gd name="connsiteY1" fmla="*/ 61853 h 82729"/>
                <a:gd name="connsiteX2" fmla="*/ 0 w 41751"/>
                <a:gd name="connsiteY2" fmla="*/ 20876 h 82729"/>
                <a:gd name="connsiteX3" fmla="*/ 20875 w 41751"/>
                <a:gd name="connsiteY3" fmla="*/ 0 h 82729"/>
                <a:gd name="connsiteX4" fmla="*/ 41751 w 41751"/>
                <a:gd name="connsiteY4" fmla="*/ 20876 h 82729"/>
                <a:gd name="connsiteX5" fmla="*/ 41751 w 41751"/>
                <a:gd name="connsiteY5" fmla="*/ 62627 h 82729"/>
                <a:gd name="connsiteX6" fmla="*/ 20875 w 41751"/>
                <a:gd name="connsiteY6" fmla="*/ 82729 h 82729"/>
                <a:gd name="connsiteX7" fmla="*/ 20875 w 41751"/>
                <a:gd name="connsiteY7" fmla="*/ 82729 h 82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751" h="82729">
                  <a:moveTo>
                    <a:pt x="20875" y="82729"/>
                  </a:moveTo>
                  <a:cubicBezTo>
                    <a:pt x="9278" y="82729"/>
                    <a:pt x="0" y="73451"/>
                    <a:pt x="0" y="61853"/>
                  </a:cubicBezTo>
                  <a:lnTo>
                    <a:pt x="0" y="20876"/>
                  </a:lnTo>
                  <a:cubicBezTo>
                    <a:pt x="0" y="9278"/>
                    <a:pt x="9278" y="0"/>
                    <a:pt x="20875" y="0"/>
                  </a:cubicBezTo>
                  <a:cubicBezTo>
                    <a:pt x="32473" y="0"/>
                    <a:pt x="41751" y="9278"/>
                    <a:pt x="41751" y="20876"/>
                  </a:cubicBezTo>
                  <a:lnTo>
                    <a:pt x="41751" y="62627"/>
                  </a:lnTo>
                  <a:cubicBezTo>
                    <a:pt x="41751" y="73451"/>
                    <a:pt x="32473" y="82729"/>
                    <a:pt x="20875" y="82729"/>
                  </a:cubicBezTo>
                  <a:lnTo>
                    <a:pt x="20875" y="82729"/>
                  </a:lnTo>
                  <a:close/>
                </a:path>
              </a:pathLst>
            </a:custGeom>
            <a:grpFill/>
            <a:ln w="7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4" name="Forma Livre: Forma 33">
              <a:extLst>
                <a:ext uri="{FF2B5EF4-FFF2-40B4-BE49-F238E27FC236}">
                  <a16:creationId xmlns:a16="http://schemas.microsoft.com/office/drawing/2014/main" id="{BCE8C650-2A3B-4901-A2C9-8E5CB9C33369}"/>
                </a:ext>
              </a:extLst>
            </p:cNvPr>
            <p:cNvSpPr/>
            <p:nvPr/>
          </p:nvSpPr>
          <p:spPr>
            <a:xfrm>
              <a:off x="10420328" y="2945770"/>
              <a:ext cx="123706" cy="81955"/>
            </a:xfrm>
            <a:custGeom>
              <a:avLst/>
              <a:gdLst>
                <a:gd name="connsiteX0" fmla="*/ 61080 w 123706"/>
                <a:gd name="connsiteY0" fmla="*/ 81956 h 81955"/>
                <a:gd name="connsiteX1" fmla="*/ 0 w 123706"/>
                <a:gd name="connsiteY1" fmla="*/ 20876 h 81955"/>
                <a:gd name="connsiteX2" fmla="*/ 20875 w 123706"/>
                <a:gd name="connsiteY2" fmla="*/ 0 h 81955"/>
                <a:gd name="connsiteX3" fmla="*/ 41750 w 123706"/>
                <a:gd name="connsiteY3" fmla="*/ 20876 h 81955"/>
                <a:gd name="connsiteX4" fmla="*/ 61853 w 123706"/>
                <a:gd name="connsiteY4" fmla="*/ 40978 h 81955"/>
                <a:gd name="connsiteX5" fmla="*/ 81956 w 123706"/>
                <a:gd name="connsiteY5" fmla="*/ 20876 h 81955"/>
                <a:gd name="connsiteX6" fmla="*/ 102831 w 123706"/>
                <a:gd name="connsiteY6" fmla="*/ 0 h 81955"/>
                <a:gd name="connsiteX7" fmla="*/ 123707 w 123706"/>
                <a:gd name="connsiteY7" fmla="*/ 20876 h 81955"/>
                <a:gd name="connsiteX8" fmla="*/ 61080 w 123706"/>
                <a:gd name="connsiteY8" fmla="*/ 81956 h 81955"/>
                <a:gd name="connsiteX9" fmla="*/ 61080 w 123706"/>
                <a:gd name="connsiteY9" fmla="*/ 81956 h 81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3706" h="81955">
                  <a:moveTo>
                    <a:pt x="61080" y="81956"/>
                  </a:moveTo>
                  <a:cubicBezTo>
                    <a:pt x="27061" y="81956"/>
                    <a:pt x="0" y="54122"/>
                    <a:pt x="0" y="20876"/>
                  </a:cubicBezTo>
                  <a:cubicBezTo>
                    <a:pt x="0" y="9278"/>
                    <a:pt x="9278" y="0"/>
                    <a:pt x="20875" y="0"/>
                  </a:cubicBezTo>
                  <a:cubicBezTo>
                    <a:pt x="32473" y="0"/>
                    <a:pt x="41750" y="9278"/>
                    <a:pt x="41750" y="20876"/>
                  </a:cubicBezTo>
                  <a:cubicBezTo>
                    <a:pt x="41750" y="31700"/>
                    <a:pt x="51029" y="40978"/>
                    <a:pt x="61853" y="40978"/>
                  </a:cubicBezTo>
                  <a:cubicBezTo>
                    <a:pt x="73451" y="40978"/>
                    <a:pt x="81956" y="31700"/>
                    <a:pt x="81956" y="20876"/>
                  </a:cubicBezTo>
                  <a:cubicBezTo>
                    <a:pt x="81956" y="9278"/>
                    <a:pt x="91233" y="0"/>
                    <a:pt x="102831" y="0"/>
                  </a:cubicBezTo>
                  <a:cubicBezTo>
                    <a:pt x="114428" y="0"/>
                    <a:pt x="123707" y="9278"/>
                    <a:pt x="123707" y="20876"/>
                  </a:cubicBezTo>
                  <a:cubicBezTo>
                    <a:pt x="122160" y="54895"/>
                    <a:pt x="95099" y="81956"/>
                    <a:pt x="61080" y="81956"/>
                  </a:cubicBezTo>
                  <a:lnTo>
                    <a:pt x="61080" y="81956"/>
                  </a:lnTo>
                  <a:close/>
                </a:path>
              </a:pathLst>
            </a:custGeom>
            <a:grpFill/>
            <a:ln w="7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7" name="Gráfico 2">
            <a:extLst>
              <a:ext uri="{FF2B5EF4-FFF2-40B4-BE49-F238E27FC236}">
                <a16:creationId xmlns:a16="http://schemas.microsoft.com/office/drawing/2014/main" id="{5DF31AE5-ECEE-4282-BABB-DA314892C17A}"/>
              </a:ext>
            </a:extLst>
          </p:cNvPr>
          <p:cNvGrpSpPr/>
          <p:nvPr/>
        </p:nvGrpSpPr>
        <p:grpSpPr>
          <a:xfrm>
            <a:off x="5913481" y="5212449"/>
            <a:ext cx="389940" cy="389482"/>
            <a:chOff x="3963455" y="3809559"/>
            <a:chExt cx="492151" cy="491573"/>
          </a:xfrm>
          <a:solidFill>
            <a:srgbClr val="263143"/>
          </a:solidFill>
        </p:grpSpPr>
        <p:sp>
          <p:nvSpPr>
            <p:cNvPr id="38" name="Forma Livre: Forma 37">
              <a:extLst>
                <a:ext uri="{FF2B5EF4-FFF2-40B4-BE49-F238E27FC236}">
                  <a16:creationId xmlns:a16="http://schemas.microsoft.com/office/drawing/2014/main" id="{3573FAD4-082E-440C-8DEC-E3FC30E40B70}"/>
                </a:ext>
              </a:extLst>
            </p:cNvPr>
            <p:cNvSpPr/>
            <p:nvPr/>
          </p:nvSpPr>
          <p:spPr>
            <a:xfrm>
              <a:off x="3963455" y="3809559"/>
              <a:ext cx="492151" cy="491573"/>
            </a:xfrm>
            <a:custGeom>
              <a:avLst/>
              <a:gdLst>
                <a:gd name="connsiteX0" fmla="*/ 176429 w 492151"/>
                <a:gd name="connsiteY0" fmla="*/ 491574 h 491573"/>
                <a:gd name="connsiteX1" fmla="*/ 174882 w 492151"/>
                <a:gd name="connsiteY1" fmla="*/ 491574 h 491573"/>
                <a:gd name="connsiteX2" fmla="*/ 25661 w 492151"/>
                <a:gd name="connsiteY2" fmla="*/ 486161 h 491573"/>
                <a:gd name="connsiteX3" fmla="*/ 5559 w 492151"/>
                <a:gd name="connsiteY3" fmla="*/ 466059 h 491573"/>
                <a:gd name="connsiteX4" fmla="*/ 147 w 492151"/>
                <a:gd name="connsiteY4" fmla="*/ 316838 h 491573"/>
                <a:gd name="connsiteX5" fmla="*/ 6332 w 492151"/>
                <a:gd name="connsiteY5" fmla="*/ 300601 h 491573"/>
                <a:gd name="connsiteX6" fmla="*/ 300909 w 492151"/>
                <a:gd name="connsiteY6" fmla="*/ 6024 h 491573"/>
                <a:gd name="connsiteX7" fmla="*/ 321784 w 492151"/>
                <a:gd name="connsiteY7" fmla="*/ 1385 h 491573"/>
                <a:gd name="connsiteX8" fmla="*/ 426935 w 492151"/>
                <a:gd name="connsiteY8" fmla="*/ 65558 h 491573"/>
                <a:gd name="connsiteX9" fmla="*/ 491108 w 492151"/>
                <a:gd name="connsiteY9" fmla="*/ 170709 h 491573"/>
                <a:gd name="connsiteX10" fmla="*/ 486469 w 492151"/>
                <a:gd name="connsiteY10" fmla="*/ 191585 h 491573"/>
                <a:gd name="connsiteX11" fmla="*/ 191892 w 492151"/>
                <a:gd name="connsiteY11" fmla="*/ 486161 h 491573"/>
                <a:gd name="connsiteX12" fmla="*/ 176429 w 492151"/>
                <a:gd name="connsiteY12" fmla="*/ 491574 h 491573"/>
                <a:gd name="connsiteX13" fmla="*/ 176429 w 492151"/>
                <a:gd name="connsiteY13" fmla="*/ 491574 h 491573"/>
                <a:gd name="connsiteX14" fmla="*/ 45763 w 492151"/>
                <a:gd name="connsiteY14" fmla="*/ 445184 h 491573"/>
                <a:gd name="connsiteX15" fmla="*/ 168697 w 492151"/>
                <a:gd name="connsiteY15" fmla="*/ 449823 h 491573"/>
                <a:gd name="connsiteX16" fmla="*/ 447038 w 492151"/>
                <a:gd name="connsiteY16" fmla="*/ 171482 h 491573"/>
                <a:gd name="connsiteX17" fmla="*/ 396782 w 492151"/>
                <a:gd name="connsiteY17" fmla="*/ 94939 h 491573"/>
                <a:gd name="connsiteX18" fmla="*/ 320238 w 492151"/>
                <a:gd name="connsiteY18" fmla="*/ 44683 h 491573"/>
                <a:gd name="connsiteX19" fmla="*/ 41898 w 492151"/>
                <a:gd name="connsiteY19" fmla="*/ 323023 h 491573"/>
                <a:gd name="connsiteX20" fmla="*/ 45763 w 492151"/>
                <a:gd name="connsiteY20" fmla="*/ 445184 h 491573"/>
                <a:gd name="connsiteX21" fmla="*/ 45763 w 492151"/>
                <a:gd name="connsiteY21" fmla="*/ 445184 h 49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2151" h="491573">
                  <a:moveTo>
                    <a:pt x="176429" y="491574"/>
                  </a:moveTo>
                  <a:cubicBezTo>
                    <a:pt x="175656" y="491574"/>
                    <a:pt x="175656" y="491574"/>
                    <a:pt x="174882" y="491574"/>
                  </a:cubicBezTo>
                  <a:cubicBezTo>
                    <a:pt x="127719" y="487708"/>
                    <a:pt x="77463" y="486935"/>
                    <a:pt x="25661" y="486161"/>
                  </a:cubicBezTo>
                  <a:cubicBezTo>
                    <a:pt x="14837" y="486161"/>
                    <a:pt x="5559" y="476884"/>
                    <a:pt x="5559" y="466059"/>
                  </a:cubicBezTo>
                  <a:cubicBezTo>
                    <a:pt x="4785" y="414257"/>
                    <a:pt x="4012" y="363228"/>
                    <a:pt x="147" y="316838"/>
                  </a:cubicBezTo>
                  <a:cubicBezTo>
                    <a:pt x="-627" y="310653"/>
                    <a:pt x="1693" y="305240"/>
                    <a:pt x="6332" y="300601"/>
                  </a:cubicBezTo>
                  <a:lnTo>
                    <a:pt x="300909" y="6024"/>
                  </a:lnTo>
                  <a:cubicBezTo>
                    <a:pt x="306321" y="612"/>
                    <a:pt x="314053" y="-1707"/>
                    <a:pt x="321784" y="1385"/>
                  </a:cubicBezTo>
                  <a:cubicBezTo>
                    <a:pt x="361216" y="14529"/>
                    <a:pt x="397555" y="36178"/>
                    <a:pt x="426935" y="65558"/>
                  </a:cubicBezTo>
                  <a:cubicBezTo>
                    <a:pt x="456316" y="94939"/>
                    <a:pt x="478737" y="131278"/>
                    <a:pt x="491108" y="170709"/>
                  </a:cubicBezTo>
                  <a:cubicBezTo>
                    <a:pt x="493428" y="177668"/>
                    <a:pt x="491881" y="186172"/>
                    <a:pt x="486469" y="191585"/>
                  </a:cubicBezTo>
                  <a:lnTo>
                    <a:pt x="191892" y="486161"/>
                  </a:lnTo>
                  <a:cubicBezTo>
                    <a:pt x="187253" y="489254"/>
                    <a:pt x="181841" y="491574"/>
                    <a:pt x="176429" y="491574"/>
                  </a:cubicBezTo>
                  <a:lnTo>
                    <a:pt x="176429" y="491574"/>
                  </a:lnTo>
                  <a:close/>
                  <a:moveTo>
                    <a:pt x="45763" y="445184"/>
                  </a:moveTo>
                  <a:cubicBezTo>
                    <a:pt x="88288" y="445957"/>
                    <a:pt x="129265" y="446730"/>
                    <a:pt x="168697" y="449823"/>
                  </a:cubicBezTo>
                  <a:lnTo>
                    <a:pt x="447038" y="171482"/>
                  </a:lnTo>
                  <a:cubicBezTo>
                    <a:pt x="436213" y="142875"/>
                    <a:pt x="418430" y="116587"/>
                    <a:pt x="396782" y="94939"/>
                  </a:cubicBezTo>
                  <a:cubicBezTo>
                    <a:pt x="375133" y="73290"/>
                    <a:pt x="348845" y="56280"/>
                    <a:pt x="320238" y="44683"/>
                  </a:cubicBezTo>
                  <a:lnTo>
                    <a:pt x="41898" y="323023"/>
                  </a:lnTo>
                  <a:cubicBezTo>
                    <a:pt x="44217" y="361682"/>
                    <a:pt x="44990" y="403433"/>
                    <a:pt x="45763" y="445184"/>
                  </a:cubicBezTo>
                  <a:lnTo>
                    <a:pt x="45763" y="445184"/>
                  </a:lnTo>
                  <a:close/>
                </a:path>
              </a:pathLst>
            </a:custGeom>
            <a:grpFill/>
            <a:ln w="7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9" name="Forma Livre: Forma 38">
              <a:extLst>
                <a:ext uri="{FF2B5EF4-FFF2-40B4-BE49-F238E27FC236}">
                  <a16:creationId xmlns:a16="http://schemas.microsoft.com/office/drawing/2014/main" id="{12567665-A203-4687-9053-91D65FE71BF1}"/>
                </a:ext>
              </a:extLst>
            </p:cNvPr>
            <p:cNvSpPr/>
            <p:nvPr/>
          </p:nvSpPr>
          <p:spPr>
            <a:xfrm>
              <a:off x="4235177" y="3869125"/>
              <a:ext cx="160432" cy="160625"/>
            </a:xfrm>
            <a:custGeom>
              <a:avLst/>
              <a:gdLst>
                <a:gd name="connsiteX0" fmla="*/ 149801 w 160432"/>
                <a:gd name="connsiteY0" fmla="*/ 160626 h 160625"/>
                <a:gd name="connsiteX1" fmla="*/ 142843 w 160432"/>
                <a:gd name="connsiteY1" fmla="*/ 157533 h 160625"/>
                <a:gd name="connsiteX2" fmla="*/ 2899 w 160432"/>
                <a:gd name="connsiteY2" fmla="*/ 17590 h 160625"/>
                <a:gd name="connsiteX3" fmla="*/ 2899 w 160432"/>
                <a:gd name="connsiteY3" fmla="*/ 2899 h 160625"/>
                <a:gd name="connsiteX4" fmla="*/ 17589 w 160432"/>
                <a:gd name="connsiteY4" fmla="*/ 2899 h 160625"/>
                <a:gd name="connsiteX5" fmla="*/ 157533 w 160432"/>
                <a:gd name="connsiteY5" fmla="*/ 142843 h 160625"/>
                <a:gd name="connsiteX6" fmla="*/ 157533 w 160432"/>
                <a:gd name="connsiteY6" fmla="*/ 157533 h 160625"/>
                <a:gd name="connsiteX7" fmla="*/ 149801 w 160432"/>
                <a:gd name="connsiteY7" fmla="*/ 160626 h 160625"/>
                <a:gd name="connsiteX8" fmla="*/ 149801 w 160432"/>
                <a:gd name="connsiteY8" fmla="*/ 160626 h 16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0432" h="160625">
                  <a:moveTo>
                    <a:pt x="149801" y="160626"/>
                  </a:moveTo>
                  <a:cubicBezTo>
                    <a:pt x="147482" y="160626"/>
                    <a:pt x="144389" y="159852"/>
                    <a:pt x="142843" y="157533"/>
                  </a:cubicBezTo>
                  <a:lnTo>
                    <a:pt x="2899" y="17590"/>
                  </a:lnTo>
                  <a:cubicBezTo>
                    <a:pt x="-966" y="13724"/>
                    <a:pt x="-966" y="6765"/>
                    <a:pt x="2899" y="2899"/>
                  </a:cubicBezTo>
                  <a:cubicBezTo>
                    <a:pt x="6765" y="-966"/>
                    <a:pt x="13723" y="-966"/>
                    <a:pt x="17589" y="2899"/>
                  </a:cubicBezTo>
                  <a:lnTo>
                    <a:pt x="157533" y="142843"/>
                  </a:lnTo>
                  <a:cubicBezTo>
                    <a:pt x="161399" y="146709"/>
                    <a:pt x="161399" y="153667"/>
                    <a:pt x="157533" y="157533"/>
                  </a:cubicBezTo>
                  <a:cubicBezTo>
                    <a:pt x="154440" y="159852"/>
                    <a:pt x="152121" y="160626"/>
                    <a:pt x="149801" y="160626"/>
                  </a:cubicBezTo>
                  <a:lnTo>
                    <a:pt x="149801" y="160626"/>
                  </a:lnTo>
                  <a:close/>
                </a:path>
              </a:pathLst>
            </a:custGeom>
            <a:grpFill/>
            <a:ln w="7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0" name="Forma Livre: Forma 39">
              <a:extLst>
                <a:ext uri="{FF2B5EF4-FFF2-40B4-BE49-F238E27FC236}">
                  <a16:creationId xmlns:a16="http://schemas.microsoft.com/office/drawing/2014/main" id="{FF6A5950-CF1C-4A54-ADF5-57BF396D250F}"/>
                </a:ext>
              </a:extLst>
            </p:cNvPr>
            <p:cNvSpPr/>
            <p:nvPr/>
          </p:nvSpPr>
          <p:spPr>
            <a:xfrm>
              <a:off x="3989491" y="4112855"/>
              <a:ext cx="160841" cy="161216"/>
            </a:xfrm>
            <a:custGeom>
              <a:avLst/>
              <a:gdLst>
                <a:gd name="connsiteX0" fmla="*/ 151166 w 160841"/>
                <a:gd name="connsiteY0" fmla="*/ 161217 h 161216"/>
                <a:gd name="connsiteX1" fmla="*/ 141115 w 160841"/>
                <a:gd name="connsiteY1" fmla="*/ 154259 h 161216"/>
                <a:gd name="connsiteX2" fmla="*/ 7357 w 160841"/>
                <a:gd name="connsiteY2" fmla="*/ 20500 h 161216"/>
                <a:gd name="connsiteX3" fmla="*/ 398 w 160841"/>
                <a:gd name="connsiteY3" fmla="*/ 7357 h 161216"/>
                <a:gd name="connsiteX4" fmla="*/ 13542 w 160841"/>
                <a:gd name="connsiteY4" fmla="*/ 398 h 161216"/>
                <a:gd name="connsiteX5" fmla="*/ 160444 w 160841"/>
                <a:gd name="connsiteY5" fmla="*/ 147300 h 161216"/>
                <a:gd name="connsiteX6" fmla="*/ 153486 w 160841"/>
                <a:gd name="connsiteY6" fmla="*/ 160444 h 161216"/>
                <a:gd name="connsiteX7" fmla="*/ 151166 w 160841"/>
                <a:gd name="connsiteY7" fmla="*/ 161217 h 161216"/>
                <a:gd name="connsiteX8" fmla="*/ 151166 w 160841"/>
                <a:gd name="connsiteY8" fmla="*/ 161217 h 161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0841" h="161216">
                  <a:moveTo>
                    <a:pt x="151166" y="161217"/>
                  </a:moveTo>
                  <a:cubicBezTo>
                    <a:pt x="146527" y="161217"/>
                    <a:pt x="142661" y="158125"/>
                    <a:pt x="141115" y="154259"/>
                  </a:cubicBezTo>
                  <a:cubicBezTo>
                    <a:pt x="120239" y="90859"/>
                    <a:pt x="70756" y="41376"/>
                    <a:pt x="7357" y="20500"/>
                  </a:cubicBezTo>
                  <a:cubicBezTo>
                    <a:pt x="1944" y="18954"/>
                    <a:pt x="-1148" y="12769"/>
                    <a:pt x="398" y="7357"/>
                  </a:cubicBezTo>
                  <a:cubicBezTo>
                    <a:pt x="1944" y="1945"/>
                    <a:pt x="8130" y="-1148"/>
                    <a:pt x="13542" y="398"/>
                  </a:cubicBezTo>
                  <a:cubicBezTo>
                    <a:pt x="83127" y="22820"/>
                    <a:pt x="138022" y="77715"/>
                    <a:pt x="160444" y="147300"/>
                  </a:cubicBezTo>
                  <a:cubicBezTo>
                    <a:pt x="161990" y="152712"/>
                    <a:pt x="158897" y="158125"/>
                    <a:pt x="153486" y="160444"/>
                  </a:cubicBezTo>
                  <a:cubicBezTo>
                    <a:pt x="153486" y="160444"/>
                    <a:pt x="152712" y="161217"/>
                    <a:pt x="151166" y="161217"/>
                  </a:cubicBezTo>
                  <a:lnTo>
                    <a:pt x="151166" y="161217"/>
                  </a:lnTo>
                  <a:close/>
                </a:path>
              </a:pathLst>
            </a:custGeom>
            <a:grpFill/>
            <a:ln w="7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1" name="Forma Livre: Forma 40">
              <a:extLst>
                <a:ext uri="{FF2B5EF4-FFF2-40B4-BE49-F238E27FC236}">
                  <a16:creationId xmlns:a16="http://schemas.microsoft.com/office/drawing/2014/main" id="{9E8AA0F9-24E7-40F5-9083-AECC3F44E3C1}"/>
                </a:ext>
              </a:extLst>
            </p:cNvPr>
            <p:cNvSpPr/>
            <p:nvPr/>
          </p:nvSpPr>
          <p:spPr>
            <a:xfrm>
              <a:off x="3975972" y="4190570"/>
              <a:ext cx="93553" cy="97418"/>
            </a:xfrm>
            <a:custGeom>
              <a:avLst/>
              <a:gdLst>
                <a:gd name="connsiteX0" fmla="*/ 82729 w 93553"/>
                <a:gd name="connsiteY0" fmla="*/ 97419 h 97418"/>
                <a:gd name="connsiteX1" fmla="*/ 82729 w 93553"/>
                <a:gd name="connsiteY1" fmla="*/ 97419 h 97418"/>
                <a:gd name="connsiteX2" fmla="*/ 12371 w 93553"/>
                <a:gd name="connsiteY2" fmla="*/ 95100 h 97418"/>
                <a:gd name="connsiteX3" fmla="*/ 2320 w 93553"/>
                <a:gd name="connsiteY3" fmla="*/ 85048 h 97418"/>
                <a:gd name="connsiteX4" fmla="*/ 0 w 93553"/>
                <a:gd name="connsiteY4" fmla="*/ 11598 h 97418"/>
                <a:gd name="connsiteX5" fmla="*/ 9278 w 93553"/>
                <a:gd name="connsiteY5" fmla="*/ 773 h 97418"/>
                <a:gd name="connsiteX6" fmla="*/ 15463 w 93553"/>
                <a:gd name="connsiteY6" fmla="*/ 0 h 97418"/>
                <a:gd name="connsiteX7" fmla="*/ 93553 w 93553"/>
                <a:gd name="connsiteY7" fmla="*/ 78090 h 97418"/>
                <a:gd name="connsiteX8" fmla="*/ 92780 w 93553"/>
                <a:gd name="connsiteY8" fmla="*/ 86595 h 97418"/>
                <a:gd name="connsiteX9" fmla="*/ 82729 w 93553"/>
                <a:gd name="connsiteY9" fmla="*/ 97419 h 97418"/>
                <a:gd name="connsiteX10" fmla="*/ 82729 w 93553"/>
                <a:gd name="connsiteY10" fmla="*/ 97419 h 97418"/>
                <a:gd name="connsiteX11" fmla="*/ 22422 w 93553"/>
                <a:gd name="connsiteY11" fmla="*/ 74997 h 97418"/>
                <a:gd name="connsiteX12" fmla="*/ 73451 w 93553"/>
                <a:gd name="connsiteY12" fmla="*/ 76544 h 97418"/>
                <a:gd name="connsiteX13" fmla="*/ 20876 w 93553"/>
                <a:gd name="connsiteY13" fmla="*/ 21649 h 97418"/>
                <a:gd name="connsiteX14" fmla="*/ 22422 w 93553"/>
                <a:gd name="connsiteY14" fmla="*/ 74997 h 97418"/>
                <a:gd name="connsiteX15" fmla="*/ 22422 w 93553"/>
                <a:gd name="connsiteY15" fmla="*/ 74997 h 97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3553" h="97418">
                  <a:moveTo>
                    <a:pt x="82729" y="97419"/>
                  </a:moveTo>
                  <a:cubicBezTo>
                    <a:pt x="82729" y="97419"/>
                    <a:pt x="82729" y="97419"/>
                    <a:pt x="82729" y="97419"/>
                  </a:cubicBezTo>
                  <a:lnTo>
                    <a:pt x="12371" y="95100"/>
                  </a:lnTo>
                  <a:cubicBezTo>
                    <a:pt x="6959" y="95100"/>
                    <a:pt x="2320" y="90461"/>
                    <a:pt x="2320" y="85048"/>
                  </a:cubicBezTo>
                  <a:lnTo>
                    <a:pt x="0" y="11598"/>
                  </a:lnTo>
                  <a:cubicBezTo>
                    <a:pt x="0" y="6185"/>
                    <a:pt x="3866" y="1546"/>
                    <a:pt x="9278" y="773"/>
                  </a:cubicBezTo>
                  <a:cubicBezTo>
                    <a:pt x="12371" y="0"/>
                    <a:pt x="13917" y="0"/>
                    <a:pt x="15463" y="0"/>
                  </a:cubicBezTo>
                  <a:cubicBezTo>
                    <a:pt x="58761" y="0"/>
                    <a:pt x="93553" y="34793"/>
                    <a:pt x="93553" y="78090"/>
                  </a:cubicBezTo>
                  <a:cubicBezTo>
                    <a:pt x="93553" y="81183"/>
                    <a:pt x="93553" y="83502"/>
                    <a:pt x="92780" y="86595"/>
                  </a:cubicBezTo>
                  <a:cubicBezTo>
                    <a:pt x="92780" y="92780"/>
                    <a:pt x="88141" y="97419"/>
                    <a:pt x="82729" y="97419"/>
                  </a:cubicBezTo>
                  <a:lnTo>
                    <a:pt x="82729" y="97419"/>
                  </a:lnTo>
                  <a:close/>
                  <a:moveTo>
                    <a:pt x="22422" y="74997"/>
                  </a:moveTo>
                  <a:lnTo>
                    <a:pt x="73451" y="76544"/>
                  </a:lnTo>
                  <a:cubicBezTo>
                    <a:pt x="71905" y="47163"/>
                    <a:pt x="49483" y="23968"/>
                    <a:pt x="20876" y="21649"/>
                  </a:cubicBezTo>
                  <a:lnTo>
                    <a:pt x="22422" y="74997"/>
                  </a:lnTo>
                  <a:lnTo>
                    <a:pt x="22422" y="74997"/>
                  </a:lnTo>
                  <a:close/>
                </a:path>
              </a:pathLst>
            </a:custGeom>
            <a:grpFill/>
            <a:ln w="7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42" name="Gráfico 2">
            <a:extLst>
              <a:ext uri="{FF2B5EF4-FFF2-40B4-BE49-F238E27FC236}">
                <a16:creationId xmlns:a16="http://schemas.microsoft.com/office/drawing/2014/main" id="{67D100B4-7589-4354-9B39-27D090F45445}"/>
              </a:ext>
            </a:extLst>
          </p:cNvPr>
          <p:cNvGrpSpPr/>
          <p:nvPr/>
        </p:nvGrpSpPr>
        <p:grpSpPr>
          <a:xfrm>
            <a:off x="5914324" y="4378726"/>
            <a:ext cx="349785" cy="393574"/>
            <a:chOff x="1436116" y="5038349"/>
            <a:chExt cx="509517" cy="573303"/>
          </a:xfrm>
          <a:solidFill>
            <a:srgbClr val="263143"/>
          </a:solidFill>
        </p:grpSpPr>
        <p:sp>
          <p:nvSpPr>
            <p:cNvPr id="43" name="Forma Livre: Forma 42">
              <a:extLst>
                <a:ext uri="{FF2B5EF4-FFF2-40B4-BE49-F238E27FC236}">
                  <a16:creationId xmlns:a16="http://schemas.microsoft.com/office/drawing/2014/main" id="{2C60A519-2803-4779-BDB3-92A06180352F}"/>
                </a:ext>
              </a:extLst>
            </p:cNvPr>
            <p:cNvSpPr/>
            <p:nvPr/>
          </p:nvSpPr>
          <p:spPr>
            <a:xfrm>
              <a:off x="1794866" y="5241305"/>
              <a:ext cx="150767" cy="370347"/>
            </a:xfrm>
            <a:custGeom>
              <a:avLst/>
              <a:gdLst>
                <a:gd name="connsiteX0" fmla="*/ 129892 w 150767"/>
                <a:gd name="connsiteY0" fmla="*/ 370347 h 370347"/>
                <a:gd name="connsiteX1" fmla="*/ 20876 w 150767"/>
                <a:gd name="connsiteY1" fmla="*/ 370347 h 370347"/>
                <a:gd name="connsiteX2" fmla="*/ 0 w 150767"/>
                <a:gd name="connsiteY2" fmla="*/ 349472 h 370347"/>
                <a:gd name="connsiteX3" fmla="*/ 0 w 150767"/>
                <a:gd name="connsiteY3" fmla="*/ 20875 h 370347"/>
                <a:gd name="connsiteX4" fmla="*/ 20876 w 150767"/>
                <a:gd name="connsiteY4" fmla="*/ 0 h 370347"/>
                <a:gd name="connsiteX5" fmla="*/ 129892 w 150767"/>
                <a:gd name="connsiteY5" fmla="*/ 0 h 370347"/>
                <a:gd name="connsiteX6" fmla="*/ 150768 w 150767"/>
                <a:gd name="connsiteY6" fmla="*/ 20875 h 370347"/>
                <a:gd name="connsiteX7" fmla="*/ 150768 w 150767"/>
                <a:gd name="connsiteY7" fmla="*/ 349472 h 370347"/>
                <a:gd name="connsiteX8" fmla="*/ 129892 w 150767"/>
                <a:gd name="connsiteY8" fmla="*/ 370347 h 370347"/>
                <a:gd name="connsiteX9" fmla="*/ 129892 w 150767"/>
                <a:gd name="connsiteY9" fmla="*/ 370347 h 370347"/>
                <a:gd name="connsiteX10" fmla="*/ 40978 w 150767"/>
                <a:gd name="connsiteY10" fmla="*/ 329369 h 370347"/>
                <a:gd name="connsiteX11" fmla="*/ 109017 w 150767"/>
                <a:gd name="connsiteY11" fmla="*/ 329369 h 370347"/>
                <a:gd name="connsiteX12" fmla="*/ 109017 w 150767"/>
                <a:gd name="connsiteY12" fmla="*/ 41751 h 370347"/>
                <a:gd name="connsiteX13" fmla="*/ 40978 w 150767"/>
                <a:gd name="connsiteY13" fmla="*/ 41751 h 370347"/>
                <a:gd name="connsiteX14" fmla="*/ 40978 w 150767"/>
                <a:gd name="connsiteY14" fmla="*/ 329369 h 370347"/>
                <a:gd name="connsiteX15" fmla="*/ 40978 w 150767"/>
                <a:gd name="connsiteY15" fmla="*/ 329369 h 370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0767" h="370347">
                  <a:moveTo>
                    <a:pt x="129892" y="370347"/>
                  </a:moveTo>
                  <a:lnTo>
                    <a:pt x="20876" y="370347"/>
                  </a:lnTo>
                  <a:cubicBezTo>
                    <a:pt x="9278" y="370347"/>
                    <a:pt x="0" y="361069"/>
                    <a:pt x="0" y="349472"/>
                  </a:cubicBezTo>
                  <a:lnTo>
                    <a:pt x="0" y="20875"/>
                  </a:lnTo>
                  <a:cubicBezTo>
                    <a:pt x="0" y="9278"/>
                    <a:pt x="9278" y="0"/>
                    <a:pt x="20876" y="0"/>
                  </a:cubicBezTo>
                  <a:lnTo>
                    <a:pt x="129892" y="0"/>
                  </a:lnTo>
                  <a:cubicBezTo>
                    <a:pt x="141490" y="0"/>
                    <a:pt x="150768" y="9278"/>
                    <a:pt x="150768" y="20875"/>
                  </a:cubicBezTo>
                  <a:lnTo>
                    <a:pt x="150768" y="349472"/>
                  </a:lnTo>
                  <a:cubicBezTo>
                    <a:pt x="149995" y="361843"/>
                    <a:pt x="140717" y="370347"/>
                    <a:pt x="129892" y="370347"/>
                  </a:cubicBezTo>
                  <a:lnTo>
                    <a:pt x="129892" y="370347"/>
                  </a:lnTo>
                  <a:close/>
                  <a:moveTo>
                    <a:pt x="40978" y="329369"/>
                  </a:moveTo>
                  <a:lnTo>
                    <a:pt x="109017" y="329369"/>
                  </a:lnTo>
                  <a:lnTo>
                    <a:pt x="109017" y="41751"/>
                  </a:lnTo>
                  <a:lnTo>
                    <a:pt x="40978" y="41751"/>
                  </a:lnTo>
                  <a:lnTo>
                    <a:pt x="40978" y="329369"/>
                  </a:lnTo>
                  <a:lnTo>
                    <a:pt x="40978" y="329369"/>
                  </a:lnTo>
                  <a:close/>
                </a:path>
              </a:pathLst>
            </a:custGeom>
            <a:grpFill/>
            <a:ln w="7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4" name="Forma Livre: Forma 43">
              <a:extLst>
                <a:ext uri="{FF2B5EF4-FFF2-40B4-BE49-F238E27FC236}">
                  <a16:creationId xmlns:a16="http://schemas.microsoft.com/office/drawing/2014/main" id="{F3DA57A1-1CD8-4C3B-8E4F-520F889B40FC}"/>
                </a:ext>
              </a:extLst>
            </p:cNvPr>
            <p:cNvSpPr/>
            <p:nvPr/>
          </p:nvSpPr>
          <p:spPr>
            <a:xfrm>
              <a:off x="1615491" y="5382022"/>
              <a:ext cx="150767" cy="229630"/>
            </a:xfrm>
            <a:custGeom>
              <a:avLst/>
              <a:gdLst>
                <a:gd name="connsiteX0" fmla="*/ 129892 w 150767"/>
                <a:gd name="connsiteY0" fmla="*/ 229631 h 229630"/>
                <a:gd name="connsiteX1" fmla="*/ 20876 w 150767"/>
                <a:gd name="connsiteY1" fmla="*/ 229631 h 229630"/>
                <a:gd name="connsiteX2" fmla="*/ 0 w 150767"/>
                <a:gd name="connsiteY2" fmla="*/ 208755 h 229630"/>
                <a:gd name="connsiteX3" fmla="*/ 0 w 150767"/>
                <a:gd name="connsiteY3" fmla="*/ 20876 h 229630"/>
                <a:gd name="connsiteX4" fmla="*/ 20876 w 150767"/>
                <a:gd name="connsiteY4" fmla="*/ 0 h 229630"/>
                <a:gd name="connsiteX5" fmla="*/ 129892 w 150767"/>
                <a:gd name="connsiteY5" fmla="*/ 0 h 229630"/>
                <a:gd name="connsiteX6" fmla="*/ 150768 w 150767"/>
                <a:gd name="connsiteY6" fmla="*/ 20876 h 229630"/>
                <a:gd name="connsiteX7" fmla="*/ 150768 w 150767"/>
                <a:gd name="connsiteY7" fmla="*/ 208755 h 229630"/>
                <a:gd name="connsiteX8" fmla="*/ 129892 w 150767"/>
                <a:gd name="connsiteY8" fmla="*/ 229631 h 229630"/>
                <a:gd name="connsiteX9" fmla="*/ 129892 w 150767"/>
                <a:gd name="connsiteY9" fmla="*/ 229631 h 229630"/>
                <a:gd name="connsiteX10" fmla="*/ 40978 w 150767"/>
                <a:gd name="connsiteY10" fmla="*/ 188653 h 229630"/>
                <a:gd name="connsiteX11" fmla="*/ 109017 w 150767"/>
                <a:gd name="connsiteY11" fmla="*/ 188653 h 229630"/>
                <a:gd name="connsiteX12" fmla="*/ 109017 w 150767"/>
                <a:gd name="connsiteY12" fmla="*/ 41751 h 229630"/>
                <a:gd name="connsiteX13" fmla="*/ 40978 w 150767"/>
                <a:gd name="connsiteY13" fmla="*/ 41751 h 229630"/>
                <a:gd name="connsiteX14" fmla="*/ 40978 w 150767"/>
                <a:gd name="connsiteY14" fmla="*/ 188653 h 229630"/>
                <a:gd name="connsiteX15" fmla="*/ 40978 w 150767"/>
                <a:gd name="connsiteY15" fmla="*/ 188653 h 229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0767" h="229630">
                  <a:moveTo>
                    <a:pt x="129892" y="229631"/>
                  </a:moveTo>
                  <a:lnTo>
                    <a:pt x="20876" y="229631"/>
                  </a:lnTo>
                  <a:cubicBezTo>
                    <a:pt x="9278" y="229631"/>
                    <a:pt x="0" y="220353"/>
                    <a:pt x="0" y="208755"/>
                  </a:cubicBezTo>
                  <a:lnTo>
                    <a:pt x="0" y="20876"/>
                  </a:lnTo>
                  <a:cubicBezTo>
                    <a:pt x="0" y="9278"/>
                    <a:pt x="9278" y="0"/>
                    <a:pt x="20876" y="0"/>
                  </a:cubicBezTo>
                  <a:lnTo>
                    <a:pt x="129892" y="0"/>
                  </a:lnTo>
                  <a:cubicBezTo>
                    <a:pt x="141490" y="0"/>
                    <a:pt x="150768" y="9278"/>
                    <a:pt x="150768" y="20876"/>
                  </a:cubicBezTo>
                  <a:lnTo>
                    <a:pt x="150768" y="208755"/>
                  </a:lnTo>
                  <a:cubicBezTo>
                    <a:pt x="149995" y="221126"/>
                    <a:pt x="140717" y="229631"/>
                    <a:pt x="129892" y="229631"/>
                  </a:cubicBezTo>
                  <a:lnTo>
                    <a:pt x="129892" y="229631"/>
                  </a:lnTo>
                  <a:close/>
                  <a:moveTo>
                    <a:pt x="40978" y="188653"/>
                  </a:moveTo>
                  <a:lnTo>
                    <a:pt x="109017" y="188653"/>
                  </a:lnTo>
                  <a:lnTo>
                    <a:pt x="109017" y="41751"/>
                  </a:lnTo>
                  <a:lnTo>
                    <a:pt x="40978" y="41751"/>
                  </a:lnTo>
                  <a:lnTo>
                    <a:pt x="40978" y="188653"/>
                  </a:lnTo>
                  <a:lnTo>
                    <a:pt x="40978" y="188653"/>
                  </a:lnTo>
                  <a:close/>
                </a:path>
              </a:pathLst>
            </a:custGeom>
            <a:grpFill/>
            <a:ln w="7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5" name="Forma Livre: Forma 44">
              <a:extLst>
                <a:ext uri="{FF2B5EF4-FFF2-40B4-BE49-F238E27FC236}">
                  <a16:creationId xmlns:a16="http://schemas.microsoft.com/office/drawing/2014/main" id="{D962CCB1-1046-4FF6-9336-F0D75C7B9D5D}"/>
                </a:ext>
              </a:extLst>
            </p:cNvPr>
            <p:cNvSpPr/>
            <p:nvPr/>
          </p:nvSpPr>
          <p:spPr>
            <a:xfrm>
              <a:off x="1436116" y="5484080"/>
              <a:ext cx="150767" cy="127572"/>
            </a:xfrm>
            <a:custGeom>
              <a:avLst/>
              <a:gdLst>
                <a:gd name="connsiteX0" fmla="*/ 129892 w 150767"/>
                <a:gd name="connsiteY0" fmla="*/ 127573 h 127572"/>
                <a:gd name="connsiteX1" fmla="*/ 20876 w 150767"/>
                <a:gd name="connsiteY1" fmla="*/ 127573 h 127572"/>
                <a:gd name="connsiteX2" fmla="*/ 0 w 150767"/>
                <a:gd name="connsiteY2" fmla="*/ 106697 h 127572"/>
                <a:gd name="connsiteX3" fmla="*/ 0 w 150767"/>
                <a:gd name="connsiteY3" fmla="*/ 20876 h 127572"/>
                <a:gd name="connsiteX4" fmla="*/ 20876 w 150767"/>
                <a:gd name="connsiteY4" fmla="*/ 0 h 127572"/>
                <a:gd name="connsiteX5" fmla="*/ 129892 w 150767"/>
                <a:gd name="connsiteY5" fmla="*/ 0 h 127572"/>
                <a:gd name="connsiteX6" fmla="*/ 150768 w 150767"/>
                <a:gd name="connsiteY6" fmla="*/ 20876 h 127572"/>
                <a:gd name="connsiteX7" fmla="*/ 150768 w 150767"/>
                <a:gd name="connsiteY7" fmla="*/ 106697 h 127572"/>
                <a:gd name="connsiteX8" fmla="*/ 129892 w 150767"/>
                <a:gd name="connsiteY8" fmla="*/ 127573 h 127572"/>
                <a:gd name="connsiteX9" fmla="*/ 129892 w 150767"/>
                <a:gd name="connsiteY9" fmla="*/ 127573 h 127572"/>
                <a:gd name="connsiteX10" fmla="*/ 40978 w 150767"/>
                <a:gd name="connsiteY10" fmla="*/ 86595 h 127572"/>
                <a:gd name="connsiteX11" fmla="*/ 109017 w 150767"/>
                <a:gd name="connsiteY11" fmla="*/ 86595 h 127572"/>
                <a:gd name="connsiteX12" fmla="*/ 109017 w 150767"/>
                <a:gd name="connsiteY12" fmla="*/ 41751 h 127572"/>
                <a:gd name="connsiteX13" fmla="*/ 40978 w 150767"/>
                <a:gd name="connsiteY13" fmla="*/ 41751 h 127572"/>
                <a:gd name="connsiteX14" fmla="*/ 40978 w 150767"/>
                <a:gd name="connsiteY14" fmla="*/ 86595 h 127572"/>
                <a:gd name="connsiteX15" fmla="*/ 40978 w 150767"/>
                <a:gd name="connsiteY15" fmla="*/ 86595 h 12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0767" h="127572">
                  <a:moveTo>
                    <a:pt x="129892" y="127573"/>
                  </a:moveTo>
                  <a:lnTo>
                    <a:pt x="20876" y="127573"/>
                  </a:lnTo>
                  <a:cubicBezTo>
                    <a:pt x="9278" y="127573"/>
                    <a:pt x="0" y="118295"/>
                    <a:pt x="0" y="106697"/>
                  </a:cubicBezTo>
                  <a:lnTo>
                    <a:pt x="0" y="20876"/>
                  </a:lnTo>
                  <a:cubicBezTo>
                    <a:pt x="0" y="9278"/>
                    <a:pt x="9278" y="0"/>
                    <a:pt x="20876" y="0"/>
                  </a:cubicBezTo>
                  <a:lnTo>
                    <a:pt x="129892" y="0"/>
                  </a:lnTo>
                  <a:cubicBezTo>
                    <a:pt x="141490" y="0"/>
                    <a:pt x="150768" y="9278"/>
                    <a:pt x="150768" y="20876"/>
                  </a:cubicBezTo>
                  <a:lnTo>
                    <a:pt x="150768" y="106697"/>
                  </a:lnTo>
                  <a:cubicBezTo>
                    <a:pt x="149995" y="119068"/>
                    <a:pt x="140717" y="127573"/>
                    <a:pt x="129892" y="127573"/>
                  </a:cubicBezTo>
                  <a:lnTo>
                    <a:pt x="129892" y="127573"/>
                  </a:lnTo>
                  <a:close/>
                  <a:moveTo>
                    <a:pt x="40978" y="86595"/>
                  </a:moveTo>
                  <a:lnTo>
                    <a:pt x="109017" y="86595"/>
                  </a:lnTo>
                  <a:lnTo>
                    <a:pt x="109017" y="41751"/>
                  </a:lnTo>
                  <a:lnTo>
                    <a:pt x="40978" y="41751"/>
                  </a:lnTo>
                  <a:lnTo>
                    <a:pt x="40978" y="86595"/>
                  </a:lnTo>
                  <a:lnTo>
                    <a:pt x="40978" y="86595"/>
                  </a:lnTo>
                  <a:close/>
                </a:path>
              </a:pathLst>
            </a:custGeom>
            <a:grpFill/>
            <a:ln w="7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6" name="Forma Livre: Forma 45">
              <a:extLst>
                <a:ext uri="{FF2B5EF4-FFF2-40B4-BE49-F238E27FC236}">
                  <a16:creationId xmlns:a16="http://schemas.microsoft.com/office/drawing/2014/main" id="{B0EE195E-914B-49BF-B62B-F40888BBD1A2}"/>
                </a:ext>
              </a:extLst>
            </p:cNvPr>
            <p:cNvSpPr/>
            <p:nvPr/>
          </p:nvSpPr>
          <p:spPr>
            <a:xfrm>
              <a:off x="1765099" y="5038349"/>
              <a:ext cx="120614" cy="200636"/>
            </a:xfrm>
            <a:custGeom>
              <a:avLst/>
              <a:gdLst>
                <a:gd name="connsiteX0" fmla="*/ 20489 w 120614"/>
                <a:gd name="connsiteY0" fmla="*/ 200637 h 200636"/>
                <a:gd name="connsiteX1" fmla="*/ 5799 w 120614"/>
                <a:gd name="connsiteY1" fmla="*/ 194451 h 200636"/>
                <a:gd name="connsiteX2" fmla="*/ 5799 w 120614"/>
                <a:gd name="connsiteY2" fmla="*/ 165071 h 200636"/>
                <a:gd name="connsiteX3" fmla="*/ 70745 w 120614"/>
                <a:gd name="connsiteY3" fmla="*/ 100125 h 200636"/>
                <a:gd name="connsiteX4" fmla="*/ 5799 w 120614"/>
                <a:gd name="connsiteY4" fmla="*/ 35179 h 200636"/>
                <a:gd name="connsiteX5" fmla="*/ 5799 w 120614"/>
                <a:gd name="connsiteY5" fmla="*/ 5799 h 200636"/>
                <a:gd name="connsiteX6" fmla="*/ 35179 w 120614"/>
                <a:gd name="connsiteY6" fmla="*/ 5799 h 200636"/>
                <a:gd name="connsiteX7" fmla="*/ 114815 w 120614"/>
                <a:gd name="connsiteY7" fmla="*/ 85435 h 200636"/>
                <a:gd name="connsiteX8" fmla="*/ 114815 w 120614"/>
                <a:gd name="connsiteY8" fmla="*/ 114042 h 200636"/>
                <a:gd name="connsiteX9" fmla="*/ 35179 w 120614"/>
                <a:gd name="connsiteY9" fmla="*/ 193678 h 200636"/>
                <a:gd name="connsiteX10" fmla="*/ 20489 w 120614"/>
                <a:gd name="connsiteY10" fmla="*/ 200637 h 200636"/>
                <a:gd name="connsiteX11" fmla="*/ 20489 w 120614"/>
                <a:gd name="connsiteY11" fmla="*/ 200637 h 200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0614" h="200636">
                  <a:moveTo>
                    <a:pt x="20489" y="200637"/>
                  </a:moveTo>
                  <a:cubicBezTo>
                    <a:pt x="15077" y="200637"/>
                    <a:pt x="9665" y="198317"/>
                    <a:pt x="5799" y="194451"/>
                  </a:cubicBezTo>
                  <a:cubicBezTo>
                    <a:pt x="-1933" y="186720"/>
                    <a:pt x="-1933" y="173576"/>
                    <a:pt x="5799" y="165071"/>
                  </a:cubicBezTo>
                  <a:lnTo>
                    <a:pt x="70745" y="100125"/>
                  </a:lnTo>
                  <a:lnTo>
                    <a:pt x="5799" y="35179"/>
                  </a:lnTo>
                  <a:cubicBezTo>
                    <a:pt x="-1933" y="27447"/>
                    <a:pt x="-1933" y="14303"/>
                    <a:pt x="5799" y="5799"/>
                  </a:cubicBezTo>
                  <a:cubicBezTo>
                    <a:pt x="13530" y="-1933"/>
                    <a:pt x="26674" y="-1933"/>
                    <a:pt x="35179" y="5799"/>
                  </a:cubicBezTo>
                  <a:lnTo>
                    <a:pt x="114815" y="85435"/>
                  </a:lnTo>
                  <a:cubicBezTo>
                    <a:pt x="122547" y="93167"/>
                    <a:pt x="122547" y="106311"/>
                    <a:pt x="114815" y="114042"/>
                  </a:cubicBezTo>
                  <a:lnTo>
                    <a:pt x="35179" y="193678"/>
                  </a:lnTo>
                  <a:cubicBezTo>
                    <a:pt x="31313" y="198317"/>
                    <a:pt x="25901" y="200637"/>
                    <a:pt x="20489" y="200637"/>
                  </a:cubicBezTo>
                  <a:lnTo>
                    <a:pt x="20489" y="200637"/>
                  </a:lnTo>
                  <a:close/>
                </a:path>
              </a:pathLst>
            </a:custGeom>
            <a:grpFill/>
            <a:ln w="7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7" name="Forma Livre: Forma 46">
              <a:extLst>
                <a:ext uri="{FF2B5EF4-FFF2-40B4-BE49-F238E27FC236}">
                  <a16:creationId xmlns:a16="http://schemas.microsoft.com/office/drawing/2014/main" id="{D578F061-54EC-401C-816D-41FC510E2AAC}"/>
                </a:ext>
              </a:extLst>
            </p:cNvPr>
            <p:cNvSpPr/>
            <p:nvPr/>
          </p:nvSpPr>
          <p:spPr>
            <a:xfrm>
              <a:off x="1495237" y="5118372"/>
              <a:ext cx="362255" cy="307720"/>
            </a:xfrm>
            <a:custGeom>
              <a:avLst/>
              <a:gdLst>
                <a:gd name="connsiteX0" fmla="*/ 20515 w 362255"/>
                <a:gd name="connsiteY0" fmla="*/ 307721 h 307720"/>
                <a:gd name="connsiteX1" fmla="*/ 16649 w 362255"/>
                <a:gd name="connsiteY1" fmla="*/ 307721 h 307720"/>
                <a:gd name="connsiteX2" fmla="*/ 413 w 362255"/>
                <a:gd name="connsiteY2" fmla="*/ 283753 h 307720"/>
                <a:gd name="connsiteX3" fmla="*/ 341380 w 362255"/>
                <a:gd name="connsiteY3" fmla="*/ 0 h 307720"/>
                <a:gd name="connsiteX4" fmla="*/ 362255 w 362255"/>
                <a:gd name="connsiteY4" fmla="*/ 20876 h 307720"/>
                <a:gd name="connsiteX5" fmla="*/ 341380 w 362255"/>
                <a:gd name="connsiteY5" fmla="*/ 41751 h 307720"/>
                <a:gd name="connsiteX6" fmla="*/ 40618 w 362255"/>
                <a:gd name="connsiteY6" fmla="*/ 292257 h 307720"/>
                <a:gd name="connsiteX7" fmla="*/ 20515 w 362255"/>
                <a:gd name="connsiteY7" fmla="*/ 307721 h 307720"/>
                <a:gd name="connsiteX8" fmla="*/ 20515 w 362255"/>
                <a:gd name="connsiteY8" fmla="*/ 307721 h 307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2255" h="307720">
                  <a:moveTo>
                    <a:pt x="20515" y="307721"/>
                  </a:moveTo>
                  <a:cubicBezTo>
                    <a:pt x="18969" y="307721"/>
                    <a:pt x="18196" y="307721"/>
                    <a:pt x="16649" y="307721"/>
                  </a:cubicBezTo>
                  <a:cubicBezTo>
                    <a:pt x="5825" y="305401"/>
                    <a:pt x="-1907" y="294577"/>
                    <a:pt x="413" y="283753"/>
                  </a:cubicBezTo>
                  <a:cubicBezTo>
                    <a:pt x="32113" y="119841"/>
                    <a:pt x="175922" y="0"/>
                    <a:pt x="341380" y="0"/>
                  </a:cubicBezTo>
                  <a:cubicBezTo>
                    <a:pt x="352978" y="0"/>
                    <a:pt x="362255" y="9278"/>
                    <a:pt x="362255" y="20876"/>
                  </a:cubicBezTo>
                  <a:cubicBezTo>
                    <a:pt x="362255" y="32473"/>
                    <a:pt x="352978" y="41751"/>
                    <a:pt x="341380" y="41751"/>
                  </a:cubicBezTo>
                  <a:cubicBezTo>
                    <a:pt x="195251" y="41751"/>
                    <a:pt x="68452" y="146902"/>
                    <a:pt x="40618" y="292257"/>
                  </a:cubicBezTo>
                  <a:cubicBezTo>
                    <a:pt x="39071" y="300763"/>
                    <a:pt x="30566" y="307721"/>
                    <a:pt x="20515" y="307721"/>
                  </a:cubicBezTo>
                  <a:lnTo>
                    <a:pt x="20515" y="307721"/>
                  </a:lnTo>
                  <a:close/>
                </a:path>
              </a:pathLst>
            </a:custGeom>
            <a:grpFill/>
            <a:ln w="7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48" name="Gráfico 2">
            <a:extLst>
              <a:ext uri="{FF2B5EF4-FFF2-40B4-BE49-F238E27FC236}">
                <a16:creationId xmlns:a16="http://schemas.microsoft.com/office/drawing/2014/main" id="{00B9EDBA-4D8E-4497-BB9D-81E314845FA8}"/>
              </a:ext>
            </a:extLst>
          </p:cNvPr>
          <p:cNvGrpSpPr/>
          <p:nvPr/>
        </p:nvGrpSpPr>
        <p:grpSpPr>
          <a:xfrm>
            <a:off x="5916377" y="3665468"/>
            <a:ext cx="376745" cy="272604"/>
            <a:chOff x="7740527" y="5153164"/>
            <a:chExt cx="475497" cy="344059"/>
          </a:xfrm>
          <a:solidFill>
            <a:srgbClr val="263143"/>
          </a:solidFill>
        </p:grpSpPr>
        <p:sp>
          <p:nvSpPr>
            <p:cNvPr id="49" name="Forma Livre: Forma 48">
              <a:extLst>
                <a:ext uri="{FF2B5EF4-FFF2-40B4-BE49-F238E27FC236}">
                  <a16:creationId xmlns:a16="http://schemas.microsoft.com/office/drawing/2014/main" id="{A8412006-15E7-4774-AD22-8779A3E3403B}"/>
                </a:ext>
              </a:extLst>
            </p:cNvPr>
            <p:cNvSpPr/>
            <p:nvPr/>
          </p:nvSpPr>
          <p:spPr>
            <a:xfrm>
              <a:off x="7741300" y="5153164"/>
              <a:ext cx="474724" cy="344059"/>
            </a:xfrm>
            <a:custGeom>
              <a:avLst/>
              <a:gdLst>
                <a:gd name="connsiteX0" fmla="*/ 426016 w 474724"/>
                <a:gd name="connsiteY0" fmla="*/ 344060 h 344059"/>
                <a:gd name="connsiteX1" fmla="*/ 48709 w 474724"/>
                <a:gd name="connsiteY1" fmla="*/ 344060 h 344059"/>
                <a:gd name="connsiteX2" fmla="*/ 0 w 474724"/>
                <a:gd name="connsiteY2" fmla="*/ 295350 h 344059"/>
                <a:gd name="connsiteX3" fmla="*/ 0 w 474724"/>
                <a:gd name="connsiteY3" fmla="*/ 48709 h 344059"/>
                <a:gd name="connsiteX4" fmla="*/ 48709 w 474724"/>
                <a:gd name="connsiteY4" fmla="*/ 0 h 344059"/>
                <a:gd name="connsiteX5" fmla="*/ 426016 w 474724"/>
                <a:gd name="connsiteY5" fmla="*/ 0 h 344059"/>
                <a:gd name="connsiteX6" fmla="*/ 474725 w 474724"/>
                <a:gd name="connsiteY6" fmla="*/ 48709 h 344059"/>
                <a:gd name="connsiteX7" fmla="*/ 474725 w 474724"/>
                <a:gd name="connsiteY7" fmla="*/ 295350 h 344059"/>
                <a:gd name="connsiteX8" fmla="*/ 426016 w 474724"/>
                <a:gd name="connsiteY8" fmla="*/ 344060 h 344059"/>
                <a:gd name="connsiteX9" fmla="*/ 426016 w 474724"/>
                <a:gd name="connsiteY9" fmla="*/ 344060 h 344059"/>
                <a:gd name="connsiteX10" fmla="*/ 48709 w 474724"/>
                <a:gd name="connsiteY10" fmla="*/ 40978 h 344059"/>
                <a:gd name="connsiteX11" fmla="*/ 40978 w 474724"/>
                <a:gd name="connsiteY11" fmla="*/ 48709 h 344059"/>
                <a:gd name="connsiteX12" fmla="*/ 40978 w 474724"/>
                <a:gd name="connsiteY12" fmla="*/ 295350 h 344059"/>
                <a:gd name="connsiteX13" fmla="*/ 48709 w 474724"/>
                <a:gd name="connsiteY13" fmla="*/ 303082 h 344059"/>
                <a:gd name="connsiteX14" fmla="*/ 426016 w 474724"/>
                <a:gd name="connsiteY14" fmla="*/ 303082 h 344059"/>
                <a:gd name="connsiteX15" fmla="*/ 433748 w 474724"/>
                <a:gd name="connsiteY15" fmla="*/ 295350 h 344059"/>
                <a:gd name="connsiteX16" fmla="*/ 433748 w 474724"/>
                <a:gd name="connsiteY16" fmla="*/ 48709 h 344059"/>
                <a:gd name="connsiteX17" fmla="*/ 426016 w 474724"/>
                <a:gd name="connsiteY17" fmla="*/ 40978 h 344059"/>
                <a:gd name="connsiteX18" fmla="*/ 48709 w 474724"/>
                <a:gd name="connsiteY18" fmla="*/ 40978 h 344059"/>
                <a:gd name="connsiteX19" fmla="*/ 48709 w 474724"/>
                <a:gd name="connsiteY19" fmla="*/ 40978 h 344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74724" h="344059">
                  <a:moveTo>
                    <a:pt x="426016" y="344060"/>
                  </a:moveTo>
                  <a:lnTo>
                    <a:pt x="48709" y="344060"/>
                  </a:lnTo>
                  <a:cubicBezTo>
                    <a:pt x="21649" y="344060"/>
                    <a:pt x="0" y="322411"/>
                    <a:pt x="0" y="295350"/>
                  </a:cubicBezTo>
                  <a:lnTo>
                    <a:pt x="0" y="48709"/>
                  </a:lnTo>
                  <a:cubicBezTo>
                    <a:pt x="0" y="21649"/>
                    <a:pt x="21649" y="0"/>
                    <a:pt x="48709" y="0"/>
                  </a:cubicBezTo>
                  <a:lnTo>
                    <a:pt x="426016" y="0"/>
                  </a:lnTo>
                  <a:cubicBezTo>
                    <a:pt x="453077" y="0"/>
                    <a:pt x="474725" y="21649"/>
                    <a:pt x="474725" y="48709"/>
                  </a:cubicBezTo>
                  <a:lnTo>
                    <a:pt x="474725" y="295350"/>
                  </a:lnTo>
                  <a:cubicBezTo>
                    <a:pt x="474725" y="322411"/>
                    <a:pt x="453077" y="344060"/>
                    <a:pt x="426016" y="344060"/>
                  </a:cubicBezTo>
                  <a:lnTo>
                    <a:pt x="426016" y="344060"/>
                  </a:lnTo>
                  <a:close/>
                  <a:moveTo>
                    <a:pt x="48709" y="40978"/>
                  </a:moveTo>
                  <a:cubicBezTo>
                    <a:pt x="44844" y="40978"/>
                    <a:pt x="40978" y="44071"/>
                    <a:pt x="40978" y="48709"/>
                  </a:cubicBezTo>
                  <a:lnTo>
                    <a:pt x="40978" y="295350"/>
                  </a:lnTo>
                  <a:cubicBezTo>
                    <a:pt x="40978" y="299216"/>
                    <a:pt x="44071" y="303082"/>
                    <a:pt x="48709" y="303082"/>
                  </a:cubicBezTo>
                  <a:lnTo>
                    <a:pt x="426016" y="303082"/>
                  </a:lnTo>
                  <a:cubicBezTo>
                    <a:pt x="429882" y="303082"/>
                    <a:pt x="433748" y="299989"/>
                    <a:pt x="433748" y="295350"/>
                  </a:cubicBezTo>
                  <a:lnTo>
                    <a:pt x="433748" y="48709"/>
                  </a:lnTo>
                  <a:cubicBezTo>
                    <a:pt x="433748" y="44844"/>
                    <a:pt x="430655" y="40978"/>
                    <a:pt x="426016" y="40978"/>
                  </a:cubicBezTo>
                  <a:lnTo>
                    <a:pt x="48709" y="40978"/>
                  </a:lnTo>
                  <a:lnTo>
                    <a:pt x="48709" y="40978"/>
                  </a:lnTo>
                  <a:close/>
                </a:path>
              </a:pathLst>
            </a:custGeom>
            <a:grpFill/>
            <a:ln w="7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50" name="Forma Livre: Forma 49">
              <a:extLst>
                <a:ext uri="{FF2B5EF4-FFF2-40B4-BE49-F238E27FC236}">
                  <a16:creationId xmlns:a16="http://schemas.microsoft.com/office/drawing/2014/main" id="{723041C8-02C6-44D3-A9DF-19BF364F16CF}"/>
                </a:ext>
              </a:extLst>
            </p:cNvPr>
            <p:cNvSpPr/>
            <p:nvPr/>
          </p:nvSpPr>
          <p:spPr>
            <a:xfrm>
              <a:off x="7740527" y="5242851"/>
              <a:ext cx="473951" cy="41751"/>
            </a:xfrm>
            <a:custGeom>
              <a:avLst/>
              <a:gdLst>
                <a:gd name="connsiteX0" fmla="*/ 453077 w 473951"/>
                <a:gd name="connsiteY0" fmla="*/ 41751 h 41751"/>
                <a:gd name="connsiteX1" fmla="*/ 20876 w 473951"/>
                <a:gd name="connsiteY1" fmla="*/ 41751 h 41751"/>
                <a:gd name="connsiteX2" fmla="*/ 0 w 473951"/>
                <a:gd name="connsiteY2" fmla="*/ 20876 h 41751"/>
                <a:gd name="connsiteX3" fmla="*/ 20876 w 473951"/>
                <a:gd name="connsiteY3" fmla="*/ 0 h 41751"/>
                <a:gd name="connsiteX4" fmla="*/ 453077 w 473951"/>
                <a:gd name="connsiteY4" fmla="*/ 0 h 41751"/>
                <a:gd name="connsiteX5" fmla="*/ 473952 w 473951"/>
                <a:gd name="connsiteY5" fmla="*/ 20876 h 41751"/>
                <a:gd name="connsiteX6" fmla="*/ 453077 w 473951"/>
                <a:gd name="connsiteY6" fmla="*/ 41751 h 41751"/>
                <a:gd name="connsiteX7" fmla="*/ 453077 w 473951"/>
                <a:gd name="connsiteY7" fmla="*/ 41751 h 41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73951" h="41751">
                  <a:moveTo>
                    <a:pt x="453077" y="41751"/>
                  </a:moveTo>
                  <a:lnTo>
                    <a:pt x="20876" y="41751"/>
                  </a:lnTo>
                  <a:cubicBezTo>
                    <a:pt x="9278" y="41751"/>
                    <a:pt x="0" y="32473"/>
                    <a:pt x="0" y="20876"/>
                  </a:cubicBezTo>
                  <a:cubicBezTo>
                    <a:pt x="0" y="9278"/>
                    <a:pt x="9278" y="0"/>
                    <a:pt x="20876" y="0"/>
                  </a:cubicBezTo>
                  <a:lnTo>
                    <a:pt x="453077" y="0"/>
                  </a:lnTo>
                  <a:cubicBezTo>
                    <a:pt x="464674" y="0"/>
                    <a:pt x="473952" y="9278"/>
                    <a:pt x="473952" y="20876"/>
                  </a:cubicBezTo>
                  <a:cubicBezTo>
                    <a:pt x="473952" y="32473"/>
                    <a:pt x="464674" y="41751"/>
                    <a:pt x="453077" y="41751"/>
                  </a:cubicBezTo>
                  <a:lnTo>
                    <a:pt x="453077" y="41751"/>
                  </a:lnTo>
                  <a:close/>
                </a:path>
              </a:pathLst>
            </a:custGeom>
            <a:grpFill/>
            <a:ln w="7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51" name="Forma Livre: Forma 50">
              <a:extLst>
                <a:ext uri="{FF2B5EF4-FFF2-40B4-BE49-F238E27FC236}">
                  <a16:creationId xmlns:a16="http://schemas.microsoft.com/office/drawing/2014/main" id="{FE4BA921-D649-4BEE-B0F1-2D139CDC5597}"/>
                </a:ext>
              </a:extLst>
            </p:cNvPr>
            <p:cNvSpPr/>
            <p:nvPr/>
          </p:nvSpPr>
          <p:spPr>
            <a:xfrm>
              <a:off x="7824029" y="5347229"/>
              <a:ext cx="47936" cy="40978"/>
            </a:xfrm>
            <a:custGeom>
              <a:avLst/>
              <a:gdLst>
                <a:gd name="connsiteX0" fmla="*/ 47937 w 47936"/>
                <a:gd name="connsiteY0" fmla="*/ 40978 h 40978"/>
                <a:gd name="connsiteX1" fmla="*/ 0 w 47936"/>
                <a:gd name="connsiteY1" fmla="*/ 40978 h 40978"/>
                <a:gd name="connsiteX2" fmla="*/ 0 w 47936"/>
                <a:gd name="connsiteY2" fmla="*/ 0 h 40978"/>
                <a:gd name="connsiteX3" fmla="*/ 47937 w 47936"/>
                <a:gd name="connsiteY3" fmla="*/ 0 h 40978"/>
                <a:gd name="connsiteX4" fmla="*/ 47937 w 47936"/>
                <a:gd name="connsiteY4" fmla="*/ 40978 h 40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936" h="40978">
                  <a:moveTo>
                    <a:pt x="47937" y="40978"/>
                  </a:moveTo>
                  <a:lnTo>
                    <a:pt x="0" y="40978"/>
                  </a:lnTo>
                  <a:lnTo>
                    <a:pt x="0" y="0"/>
                  </a:lnTo>
                  <a:lnTo>
                    <a:pt x="47937" y="0"/>
                  </a:lnTo>
                  <a:lnTo>
                    <a:pt x="47937" y="40978"/>
                  </a:lnTo>
                  <a:close/>
                </a:path>
              </a:pathLst>
            </a:custGeom>
            <a:grpFill/>
            <a:ln w="7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</p:spTree>
    <p:extLst>
      <p:ext uri="{BB962C8B-B14F-4D97-AF65-F5344CB8AC3E}">
        <p14:creationId xmlns:p14="http://schemas.microsoft.com/office/powerpoint/2010/main" val="95797220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Espaço Reservado para Imagem 4" descr="Quarto com cama de casal em frente a janela&#10;&#10;Descrição gerada automaticamente">
            <a:extLst>
              <a:ext uri="{FF2B5EF4-FFF2-40B4-BE49-F238E27FC236}">
                <a16:creationId xmlns:a16="http://schemas.microsoft.com/office/drawing/2014/main" id="{C00D968C-2E26-4AA2-8CB3-2328AF3C051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8" name="Espaço Reservado para Conteúdo 7">
            <a:extLst>
              <a:ext uri="{FF2B5EF4-FFF2-40B4-BE49-F238E27FC236}">
                <a16:creationId xmlns:a16="http://schemas.microsoft.com/office/drawing/2014/main" id="{C2FD9A40-8F28-4A4D-9920-5C425D5D4E88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pt-BR" dirty="0"/>
              <a:t>Inserir texto descritivo</a:t>
            </a:r>
          </a:p>
        </p:txBody>
      </p:sp>
      <p:sp>
        <p:nvSpPr>
          <p:cNvPr id="9" name="Espaço Reservado para Conteúdo 8">
            <a:extLst>
              <a:ext uri="{FF2B5EF4-FFF2-40B4-BE49-F238E27FC236}">
                <a16:creationId xmlns:a16="http://schemas.microsoft.com/office/drawing/2014/main" id="{CDD3AD1D-33B3-4AF2-BF77-265EDCBD0DCD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pt-BR" dirty="0"/>
              <a:t>Inserir texto descritivo</a:t>
            </a:r>
          </a:p>
        </p:txBody>
      </p:sp>
      <p:sp>
        <p:nvSpPr>
          <p:cNvPr id="10" name="Espaço Reservado para Conteúdo 9">
            <a:extLst>
              <a:ext uri="{FF2B5EF4-FFF2-40B4-BE49-F238E27FC236}">
                <a16:creationId xmlns:a16="http://schemas.microsoft.com/office/drawing/2014/main" id="{1CF7F089-7DCC-4327-87B0-8320BFFBCADE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pt-BR" dirty="0"/>
              <a:t>Inserir texto descritivo</a:t>
            </a:r>
          </a:p>
        </p:txBody>
      </p:sp>
      <p:sp>
        <p:nvSpPr>
          <p:cNvPr id="11" name="Espaço Reservado para Conteúdo 10">
            <a:extLst>
              <a:ext uri="{FF2B5EF4-FFF2-40B4-BE49-F238E27FC236}">
                <a16:creationId xmlns:a16="http://schemas.microsoft.com/office/drawing/2014/main" id="{A554697B-4EAF-48D4-81FB-3C965D179B4C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r>
              <a:rPr lang="pt-BR" dirty="0"/>
              <a:t>Inserir texto descritivo</a:t>
            </a:r>
          </a:p>
        </p:txBody>
      </p:sp>
      <p:sp>
        <p:nvSpPr>
          <p:cNvPr id="12" name="Espaço Reservado para Conteúdo 11">
            <a:extLst>
              <a:ext uri="{FF2B5EF4-FFF2-40B4-BE49-F238E27FC236}">
                <a16:creationId xmlns:a16="http://schemas.microsoft.com/office/drawing/2014/main" id="{622E54C0-9F36-45E7-B5CF-54BF43B82825}"/>
              </a:ext>
            </a:extLst>
          </p:cNvPr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r>
              <a:rPr lang="pt-BR" dirty="0"/>
              <a:t>Inserir texto descritivo</a:t>
            </a:r>
          </a:p>
        </p:txBody>
      </p:sp>
      <p:sp>
        <p:nvSpPr>
          <p:cNvPr id="13" name="Espaço Reservado para Conteúdo 12">
            <a:extLst>
              <a:ext uri="{FF2B5EF4-FFF2-40B4-BE49-F238E27FC236}">
                <a16:creationId xmlns:a16="http://schemas.microsoft.com/office/drawing/2014/main" id="{D10E01CD-9989-4D11-BD7D-788BB9DB67F2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r>
              <a:rPr lang="pt-BR" dirty="0"/>
              <a:t>Inserir texto descritivo</a:t>
            </a:r>
          </a:p>
        </p:txBody>
      </p:sp>
      <p:sp>
        <p:nvSpPr>
          <p:cNvPr id="15" name="Elipse 14">
            <a:extLst>
              <a:ext uri="{FF2B5EF4-FFF2-40B4-BE49-F238E27FC236}">
                <a16:creationId xmlns:a16="http://schemas.microsoft.com/office/drawing/2014/main" id="{34CF22C8-6122-4B05-841B-0D0E79502F6B}"/>
              </a:ext>
            </a:extLst>
          </p:cNvPr>
          <p:cNvSpPr/>
          <p:nvPr/>
        </p:nvSpPr>
        <p:spPr>
          <a:xfrm>
            <a:off x="5765498" y="1030839"/>
            <a:ext cx="661004" cy="661004"/>
          </a:xfrm>
          <a:prstGeom prst="ellipse">
            <a:avLst/>
          </a:prstGeom>
          <a:solidFill>
            <a:srgbClr val="D6D6CE"/>
          </a:solidFill>
          <a:ln w="57150">
            <a:solidFill>
              <a:srgbClr val="263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>
                <a:solidFill>
                  <a:srgbClr val="26314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</a:t>
            </a:r>
          </a:p>
        </p:txBody>
      </p:sp>
      <p:sp>
        <p:nvSpPr>
          <p:cNvPr id="16" name="Elipse 15">
            <a:extLst>
              <a:ext uri="{FF2B5EF4-FFF2-40B4-BE49-F238E27FC236}">
                <a16:creationId xmlns:a16="http://schemas.microsoft.com/office/drawing/2014/main" id="{D6D4095F-74AF-41F4-8F1B-DB6ACF2226FF}"/>
              </a:ext>
            </a:extLst>
          </p:cNvPr>
          <p:cNvSpPr/>
          <p:nvPr/>
        </p:nvSpPr>
        <p:spPr>
          <a:xfrm>
            <a:off x="5765498" y="1840009"/>
            <a:ext cx="661004" cy="661004"/>
          </a:xfrm>
          <a:prstGeom prst="ellipse">
            <a:avLst/>
          </a:prstGeom>
          <a:solidFill>
            <a:srgbClr val="D6D6CE"/>
          </a:solidFill>
          <a:ln w="57150">
            <a:solidFill>
              <a:srgbClr val="263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>
                <a:solidFill>
                  <a:srgbClr val="26314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</a:t>
            </a:r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id="{790FBE5F-AA0C-4427-BC6A-8AA7607A4ADF}"/>
              </a:ext>
            </a:extLst>
          </p:cNvPr>
          <p:cNvSpPr/>
          <p:nvPr/>
        </p:nvSpPr>
        <p:spPr>
          <a:xfrm>
            <a:off x="5765498" y="2649179"/>
            <a:ext cx="661004" cy="661004"/>
          </a:xfrm>
          <a:prstGeom prst="ellipse">
            <a:avLst/>
          </a:prstGeom>
          <a:solidFill>
            <a:srgbClr val="D6D6CE"/>
          </a:solidFill>
          <a:ln w="57150">
            <a:solidFill>
              <a:srgbClr val="263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>
                <a:solidFill>
                  <a:srgbClr val="26314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</a:t>
            </a:r>
          </a:p>
        </p:txBody>
      </p:sp>
      <p:sp>
        <p:nvSpPr>
          <p:cNvPr id="18" name="Elipse 17">
            <a:extLst>
              <a:ext uri="{FF2B5EF4-FFF2-40B4-BE49-F238E27FC236}">
                <a16:creationId xmlns:a16="http://schemas.microsoft.com/office/drawing/2014/main" id="{F2C431CE-8803-4273-8C90-6E5EDB43D1CA}"/>
              </a:ext>
            </a:extLst>
          </p:cNvPr>
          <p:cNvSpPr/>
          <p:nvPr/>
        </p:nvSpPr>
        <p:spPr>
          <a:xfrm>
            <a:off x="5765498" y="3458349"/>
            <a:ext cx="661004" cy="661004"/>
          </a:xfrm>
          <a:prstGeom prst="ellipse">
            <a:avLst/>
          </a:prstGeom>
          <a:solidFill>
            <a:srgbClr val="D6D6CE"/>
          </a:solidFill>
          <a:ln w="57150">
            <a:solidFill>
              <a:srgbClr val="263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>
                <a:solidFill>
                  <a:srgbClr val="26314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</a:t>
            </a:r>
          </a:p>
        </p:txBody>
      </p:sp>
      <p:sp>
        <p:nvSpPr>
          <p:cNvPr id="19" name="Elipse 18">
            <a:extLst>
              <a:ext uri="{FF2B5EF4-FFF2-40B4-BE49-F238E27FC236}">
                <a16:creationId xmlns:a16="http://schemas.microsoft.com/office/drawing/2014/main" id="{BAC0E0D8-110C-4371-BC85-A0B90122117C}"/>
              </a:ext>
            </a:extLst>
          </p:cNvPr>
          <p:cNvSpPr/>
          <p:nvPr/>
        </p:nvSpPr>
        <p:spPr>
          <a:xfrm>
            <a:off x="5765498" y="4267519"/>
            <a:ext cx="661004" cy="661004"/>
          </a:xfrm>
          <a:prstGeom prst="ellipse">
            <a:avLst/>
          </a:prstGeom>
          <a:solidFill>
            <a:srgbClr val="D6D6CE"/>
          </a:solidFill>
          <a:ln w="57150">
            <a:solidFill>
              <a:srgbClr val="263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>
                <a:solidFill>
                  <a:srgbClr val="26314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5</a:t>
            </a:r>
          </a:p>
        </p:txBody>
      </p:sp>
      <p:sp>
        <p:nvSpPr>
          <p:cNvPr id="20" name="Elipse 19">
            <a:extLst>
              <a:ext uri="{FF2B5EF4-FFF2-40B4-BE49-F238E27FC236}">
                <a16:creationId xmlns:a16="http://schemas.microsoft.com/office/drawing/2014/main" id="{15C07838-09DE-4E74-A8F3-0685532566F3}"/>
              </a:ext>
            </a:extLst>
          </p:cNvPr>
          <p:cNvSpPr/>
          <p:nvPr/>
        </p:nvSpPr>
        <p:spPr>
          <a:xfrm>
            <a:off x="5765498" y="5076688"/>
            <a:ext cx="661004" cy="661004"/>
          </a:xfrm>
          <a:prstGeom prst="ellipse">
            <a:avLst/>
          </a:prstGeom>
          <a:solidFill>
            <a:srgbClr val="D6D6CE"/>
          </a:solidFill>
          <a:ln w="57150">
            <a:solidFill>
              <a:srgbClr val="2631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>
                <a:solidFill>
                  <a:srgbClr val="26314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393905000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m 8" descr="Computador aberto em tela preta&#10;&#10;Descrição gerada automaticamente">
            <a:extLst>
              <a:ext uri="{FF2B5EF4-FFF2-40B4-BE49-F238E27FC236}">
                <a16:creationId xmlns:a16="http://schemas.microsoft.com/office/drawing/2014/main" id="{681C65B6-A397-4D56-8F69-0CDA2087121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93149" y="374904"/>
            <a:ext cx="9605702" cy="5790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037575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 descr="Mão segurando celular com tela ligada&#10;&#10;Descrição gerada automaticamente">
            <a:extLst>
              <a:ext uri="{FF2B5EF4-FFF2-40B4-BE49-F238E27FC236}">
                <a16:creationId xmlns:a16="http://schemas.microsoft.com/office/drawing/2014/main" id="{CCDC47FC-2F75-48AE-B1B1-9549C468D17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207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171959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Mão segurando telefone celular na mão&#10;&#10;Descrição gerada automaticamente">
            <a:extLst>
              <a:ext uri="{FF2B5EF4-FFF2-40B4-BE49-F238E27FC236}">
                <a16:creationId xmlns:a16="http://schemas.microsoft.com/office/drawing/2014/main" id="{B3A5CFD6-F598-4A9A-A7C2-8352A01C0B5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5488" y="92262"/>
            <a:ext cx="7666360" cy="609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945386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Foto em preto e branco&#10;&#10;Descrição gerada automaticamente">
            <a:extLst>
              <a:ext uri="{FF2B5EF4-FFF2-40B4-BE49-F238E27FC236}">
                <a16:creationId xmlns:a16="http://schemas.microsoft.com/office/drawing/2014/main" id="{FE414338-3C31-46D4-ABCC-D3755C0C4FB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06893" y="173338"/>
            <a:ext cx="3447288" cy="6145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940529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009AD7E4-B01D-4BE7-93AA-03A9045C06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Inserir aqui o título do slide</a:t>
            </a:r>
          </a:p>
        </p:txBody>
      </p:sp>
      <p:sp>
        <p:nvSpPr>
          <p:cNvPr id="6" name="Espaço Reservado para Texto 5">
            <a:extLst>
              <a:ext uri="{FF2B5EF4-FFF2-40B4-BE49-F238E27FC236}">
                <a16:creationId xmlns:a16="http://schemas.microsoft.com/office/drawing/2014/main" id="{D7DE009D-32CA-4E5B-A2AE-3083EADB79F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erir aqui o subtítulo do slide</a:t>
            </a:r>
          </a:p>
        </p:txBody>
      </p:sp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1FDA4440-90D7-40E4-A12A-89FD632A2E8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BR" dirty="0" err="1"/>
              <a:t>Sed</a:t>
            </a:r>
            <a:r>
              <a:rPr lang="pt-BR" dirty="0"/>
              <a:t> ut </a:t>
            </a:r>
            <a:r>
              <a:rPr lang="pt-BR" dirty="0" err="1"/>
              <a:t>perspiciatis</a:t>
            </a:r>
            <a:r>
              <a:rPr lang="pt-BR" dirty="0"/>
              <a:t> </a:t>
            </a:r>
            <a:r>
              <a:rPr lang="pt-BR" dirty="0" err="1"/>
              <a:t>unde</a:t>
            </a:r>
            <a:r>
              <a:rPr lang="pt-BR" dirty="0"/>
              <a:t> omnis </a:t>
            </a:r>
            <a:r>
              <a:rPr lang="pt-BR" dirty="0" err="1"/>
              <a:t>iste</a:t>
            </a:r>
            <a:r>
              <a:rPr lang="pt-BR" dirty="0"/>
              <a:t> </a:t>
            </a:r>
            <a:r>
              <a:rPr lang="pt-BR" dirty="0" err="1"/>
              <a:t>natus</a:t>
            </a:r>
            <a:r>
              <a:rPr lang="pt-BR" dirty="0"/>
              <a:t> </a:t>
            </a:r>
            <a:r>
              <a:rPr lang="pt-BR" dirty="0" err="1"/>
              <a:t>err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accusantium</a:t>
            </a:r>
            <a:r>
              <a:rPr lang="pt-BR" dirty="0"/>
              <a:t> </a:t>
            </a:r>
            <a:r>
              <a:rPr lang="pt-BR" dirty="0" err="1"/>
              <a:t>doloremque</a:t>
            </a:r>
            <a:r>
              <a:rPr lang="pt-BR" dirty="0"/>
              <a:t> </a:t>
            </a:r>
            <a:r>
              <a:rPr lang="pt-BR" dirty="0" err="1"/>
              <a:t>laudantium</a:t>
            </a:r>
            <a:r>
              <a:rPr lang="pt-BR" dirty="0"/>
              <a:t>, </a:t>
            </a:r>
            <a:r>
              <a:rPr lang="pt-BR" dirty="0" err="1"/>
              <a:t>totam</a:t>
            </a:r>
            <a:r>
              <a:rPr lang="pt-BR" dirty="0"/>
              <a:t> rem </a:t>
            </a:r>
            <a:r>
              <a:rPr lang="pt-BR" dirty="0" err="1"/>
              <a:t>aperiam</a:t>
            </a:r>
            <a:r>
              <a:rPr lang="pt-BR" dirty="0"/>
              <a:t>, </a:t>
            </a:r>
            <a:r>
              <a:rPr lang="pt-BR" dirty="0" err="1"/>
              <a:t>eaque</a:t>
            </a:r>
            <a:r>
              <a:rPr lang="pt-BR" dirty="0"/>
              <a:t> </a:t>
            </a:r>
            <a:r>
              <a:rPr lang="pt-BR" dirty="0" err="1"/>
              <a:t>ipsa</a:t>
            </a:r>
            <a:r>
              <a:rPr lang="pt-BR" dirty="0"/>
              <a:t> </a:t>
            </a:r>
            <a:r>
              <a:rPr lang="pt-BR" dirty="0" err="1"/>
              <a:t>quae</a:t>
            </a:r>
            <a:r>
              <a:rPr lang="pt-BR" dirty="0"/>
              <a:t> </a:t>
            </a:r>
            <a:r>
              <a:rPr lang="pt-BR" dirty="0" err="1"/>
              <a:t>ab</a:t>
            </a:r>
            <a:r>
              <a:rPr lang="pt-BR" dirty="0"/>
              <a:t> </a:t>
            </a:r>
            <a:r>
              <a:rPr lang="pt-BR" dirty="0" err="1"/>
              <a:t>illo</a:t>
            </a:r>
            <a:r>
              <a:rPr lang="pt-BR" dirty="0"/>
              <a:t> </a:t>
            </a:r>
            <a:r>
              <a:rPr lang="pt-BR" dirty="0" err="1"/>
              <a:t>inventore</a:t>
            </a:r>
            <a:r>
              <a:rPr lang="pt-BR" dirty="0"/>
              <a:t> </a:t>
            </a:r>
            <a:r>
              <a:rPr lang="pt-BR" dirty="0" err="1"/>
              <a:t>veritatis</a:t>
            </a:r>
            <a:r>
              <a:rPr lang="pt-BR" dirty="0"/>
              <a:t> et </a:t>
            </a:r>
            <a:r>
              <a:rPr lang="pt-BR" dirty="0" err="1"/>
              <a:t>quasi</a:t>
            </a:r>
            <a:r>
              <a:rPr lang="pt-BR" dirty="0"/>
              <a:t> </a:t>
            </a:r>
            <a:r>
              <a:rPr lang="pt-BR" dirty="0" err="1"/>
              <a:t>architecto</a:t>
            </a:r>
            <a:r>
              <a:rPr lang="pt-BR" dirty="0"/>
              <a:t> </a:t>
            </a:r>
            <a:r>
              <a:rPr lang="pt-BR" dirty="0" err="1"/>
              <a:t>beatae</a:t>
            </a:r>
            <a:r>
              <a:rPr lang="pt-BR" dirty="0"/>
              <a:t> vitae </a:t>
            </a:r>
            <a:r>
              <a:rPr lang="pt-BR" dirty="0" err="1"/>
              <a:t>dicta</a:t>
            </a:r>
            <a:r>
              <a:rPr lang="pt-BR" dirty="0"/>
              <a:t> sunt </a:t>
            </a:r>
            <a:r>
              <a:rPr lang="pt-BR" dirty="0" err="1"/>
              <a:t>explicabo</a:t>
            </a:r>
            <a:r>
              <a:rPr lang="pt-BR" dirty="0"/>
              <a:t>. Nemo </a:t>
            </a:r>
            <a:r>
              <a:rPr lang="pt-BR" dirty="0" err="1"/>
              <a:t>enim</a:t>
            </a:r>
            <a:r>
              <a:rPr lang="pt-BR" dirty="0"/>
              <a:t> </a:t>
            </a:r>
            <a:r>
              <a:rPr lang="pt-BR" dirty="0" err="1"/>
              <a:t>ipsam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quia</a:t>
            </a:r>
            <a:r>
              <a:rPr lang="pt-BR" dirty="0"/>
              <a:t> </a:t>
            </a:r>
            <a:r>
              <a:rPr lang="pt-BR" dirty="0" err="1"/>
              <a:t>voluptas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spernatur</a:t>
            </a:r>
            <a:r>
              <a:rPr lang="pt-BR" dirty="0"/>
              <a:t> </a:t>
            </a:r>
            <a:r>
              <a:rPr lang="pt-BR" dirty="0" err="1"/>
              <a:t>aut</a:t>
            </a:r>
            <a:r>
              <a:rPr lang="pt-BR" dirty="0"/>
              <a:t> </a:t>
            </a:r>
            <a:r>
              <a:rPr lang="pt-BR" dirty="0" err="1"/>
              <a:t>odit</a:t>
            </a:r>
            <a:r>
              <a:rPr lang="pt-BR" dirty="0"/>
              <a:t> </a:t>
            </a:r>
            <a:r>
              <a:rPr lang="pt-BR" dirty="0" err="1"/>
              <a:t>aut</a:t>
            </a:r>
            <a:r>
              <a:rPr lang="pt-BR" dirty="0"/>
              <a:t> </a:t>
            </a:r>
            <a:r>
              <a:rPr lang="pt-BR" dirty="0" err="1"/>
              <a:t>fug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</a:t>
            </a:r>
            <a:r>
              <a:rPr lang="pt-BR" dirty="0" err="1"/>
              <a:t>quia</a:t>
            </a:r>
            <a:r>
              <a:rPr lang="pt-BR" dirty="0"/>
              <a:t> </a:t>
            </a:r>
            <a:r>
              <a:rPr lang="pt-BR" dirty="0" err="1"/>
              <a:t>consequuntur</a:t>
            </a:r>
            <a:r>
              <a:rPr lang="pt-BR" dirty="0"/>
              <a:t> </a:t>
            </a:r>
            <a:r>
              <a:rPr lang="pt-BR" dirty="0" err="1"/>
              <a:t>magni</a:t>
            </a:r>
            <a:r>
              <a:rPr lang="pt-BR" dirty="0"/>
              <a:t> </a:t>
            </a:r>
            <a:r>
              <a:rPr lang="pt-BR" dirty="0" err="1"/>
              <a:t>dolores</a:t>
            </a:r>
            <a:r>
              <a:rPr lang="pt-BR" dirty="0"/>
              <a:t> </a:t>
            </a:r>
            <a:r>
              <a:rPr lang="pt-BR" dirty="0" err="1"/>
              <a:t>eos</a:t>
            </a:r>
            <a:r>
              <a:rPr lang="pt-BR" dirty="0"/>
              <a:t> </a:t>
            </a:r>
            <a:r>
              <a:rPr lang="pt-BR" dirty="0" err="1"/>
              <a:t>qui</a:t>
            </a:r>
            <a:r>
              <a:rPr lang="pt-BR" dirty="0"/>
              <a:t> ratione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sequi</a:t>
            </a:r>
            <a:r>
              <a:rPr lang="pt-BR" dirty="0"/>
              <a:t> </a:t>
            </a:r>
            <a:r>
              <a:rPr lang="pt-BR" dirty="0" err="1"/>
              <a:t>nesciunt</a:t>
            </a:r>
            <a:r>
              <a:rPr lang="pt-BR" dirty="0"/>
              <a:t>. </a:t>
            </a:r>
          </a:p>
          <a:p>
            <a:pPr lvl="1"/>
            <a:r>
              <a:rPr lang="pt-BR" dirty="0"/>
              <a:t>Item 01</a:t>
            </a:r>
          </a:p>
          <a:p>
            <a:pPr lvl="1"/>
            <a:r>
              <a:rPr lang="pt-BR" dirty="0"/>
              <a:t>Item 02</a:t>
            </a:r>
          </a:p>
          <a:p>
            <a:pPr lvl="1"/>
            <a:r>
              <a:rPr lang="pt-BR" dirty="0"/>
              <a:t>Item 03</a:t>
            </a:r>
          </a:p>
          <a:p>
            <a:pPr lvl="1"/>
            <a:r>
              <a:rPr lang="pt-BR" dirty="0"/>
              <a:t>Item 04</a:t>
            </a:r>
          </a:p>
          <a:p>
            <a:endParaRPr lang="pt-BR" dirty="0"/>
          </a:p>
          <a:p>
            <a:r>
              <a:rPr lang="pt-BR" dirty="0" err="1"/>
              <a:t>Sed</a:t>
            </a:r>
            <a:r>
              <a:rPr lang="pt-BR" dirty="0"/>
              <a:t> ut </a:t>
            </a:r>
            <a:r>
              <a:rPr lang="pt-BR" dirty="0" err="1"/>
              <a:t>perspiciatis</a:t>
            </a:r>
            <a:r>
              <a:rPr lang="pt-BR" dirty="0"/>
              <a:t> </a:t>
            </a:r>
            <a:r>
              <a:rPr lang="pt-BR" dirty="0" err="1"/>
              <a:t>unde</a:t>
            </a:r>
            <a:r>
              <a:rPr lang="pt-BR" dirty="0"/>
              <a:t> omnis </a:t>
            </a:r>
            <a:r>
              <a:rPr lang="pt-BR" dirty="0" err="1"/>
              <a:t>iste</a:t>
            </a:r>
            <a:r>
              <a:rPr lang="pt-BR" dirty="0"/>
              <a:t> </a:t>
            </a:r>
            <a:r>
              <a:rPr lang="pt-BR" dirty="0" err="1"/>
              <a:t>natus</a:t>
            </a:r>
            <a:r>
              <a:rPr lang="pt-BR" dirty="0"/>
              <a:t> </a:t>
            </a:r>
            <a:r>
              <a:rPr lang="pt-BR" dirty="0" err="1"/>
              <a:t>err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accusantium</a:t>
            </a:r>
            <a:r>
              <a:rPr lang="pt-BR" dirty="0"/>
              <a:t> </a:t>
            </a:r>
            <a:r>
              <a:rPr lang="pt-BR" dirty="0" err="1"/>
              <a:t>doloremque</a:t>
            </a:r>
            <a:r>
              <a:rPr lang="pt-BR" dirty="0"/>
              <a:t> </a:t>
            </a:r>
            <a:r>
              <a:rPr lang="pt-BR" dirty="0" err="1"/>
              <a:t>laudantium</a:t>
            </a:r>
            <a:r>
              <a:rPr lang="pt-BR" dirty="0"/>
              <a:t>, </a:t>
            </a:r>
            <a:r>
              <a:rPr lang="pt-BR" dirty="0" err="1"/>
              <a:t>totam</a:t>
            </a:r>
            <a:r>
              <a:rPr lang="pt-BR" dirty="0"/>
              <a:t> rem </a:t>
            </a:r>
            <a:r>
              <a:rPr lang="pt-BR" dirty="0" err="1"/>
              <a:t>aperiam</a:t>
            </a:r>
            <a:r>
              <a:rPr lang="pt-BR" dirty="0"/>
              <a:t>, </a:t>
            </a:r>
            <a:r>
              <a:rPr lang="pt-BR" dirty="0" err="1"/>
              <a:t>eaque</a:t>
            </a:r>
            <a:r>
              <a:rPr lang="pt-BR" dirty="0"/>
              <a:t> </a:t>
            </a:r>
            <a:r>
              <a:rPr lang="pt-BR" dirty="0" err="1"/>
              <a:t>ipsa</a:t>
            </a:r>
            <a:r>
              <a:rPr lang="pt-BR" dirty="0"/>
              <a:t> </a:t>
            </a:r>
            <a:r>
              <a:rPr lang="pt-BR" dirty="0" err="1"/>
              <a:t>quae</a:t>
            </a:r>
            <a:r>
              <a:rPr lang="pt-BR" dirty="0"/>
              <a:t> </a:t>
            </a:r>
            <a:r>
              <a:rPr lang="pt-BR" dirty="0" err="1"/>
              <a:t>ab</a:t>
            </a:r>
            <a:r>
              <a:rPr lang="pt-BR" dirty="0"/>
              <a:t> </a:t>
            </a:r>
            <a:r>
              <a:rPr lang="pt-BR" dirty="0" err="1"/>
              <a:t>illo</a:t>
            </a:r>
            <a:r>
              <a:rPr lang="pt-BR" dirty="0"/>
              <a:t> </a:t>
            </a:r>
            <a:r>
              <a:rPr lang="pt-BR" dirty="0" err="1"/>
              <a:t>inventore</a:t>
            </a:r>
            <a:r>
              <a:rPr lang="pt-BR" dirty="0"/>
              <a:t> </a:t>
            </a:r>
            <a:r>
              <a:rPr lang="pt-BR" dirty="0" err="1"/>
              <a:t>veritatis</a:t>
            </a:r>
            <a:r>
              <a:rPr lang="pt-BR" dirty="0"/>
              <a:t> et </a:t>
            </a:r>
            <a:r>
              <a:rPr lang="pt-BR" dirty="0" err="1"/>
              <a:t>quasi</a:t>
            </a:r>
            <a:r>
              <a:rPr lang="pt-BR" dirty="0"/>
              <a:t> </a:t>
            </a:r>
            <a:r>
              <a:rPr lang="pt-BR" dirty="0" err="1"/>
              <a:t>architecto</a:t>
            </a:r>
            <a:r>
              <a:rPr lang="pt-BR" dirty="0"/>
              <a:t> </a:t>
            </a:r>
            <a:r>
              <a:rPr lang="pt-BR" dirty="0" err="1"/>
              <a:t>beatae</a:t>
            </a:r>
            <a:r>
              <a:rPr lang="pt-BR" dirty="0"/>
              <a:t> vitae </a:t>
            </a:r>
            <a:r>
              <a:rPr lang="pt-BR" dirty="0" err="1"/>
              <a:t>dicta</a:t>
            </a:r>
            <a:r>
              <a:rPr lang="pt-BR" dirty="0"/>
              <a:t> sunt </a:t>
            </a:r>
            <a:r>
              <a:rPr lang="pt-BR" dirty="0" err="1"/>
              <a:t>explicabo</a:t>
            </a:r>
            <a:endParaRPr lang="pt-BR" dirty="0"/>
          </a:p>
          <a:p>
            <a:r>
              <a:rPr lang="pt-BR" dirty="0" err="1"/>
              <a:t>Sed</a:t>
            </a:r>
            <a:r>
              <a:rPr lang="pt-BR" dirty="0"/>
              <a:t> ut </a:t>
            </a:r>
            <a:r>
              <a:rPr lang="pt-BR" dirty="0" err="1"/>
              <a:t>perspiciatis</a:t>
            </a:r>
            <a:r>
              <a:rPr lang="pt-BR" dirty="0"/>
              <a:t> </a:t>
            </a:r>
            <a:r>
              <a:rPr lang="pt-BR" dirty="0" err="1"/>
              <a:t>unde</a:t>
            </a:r>
            <a:r>
              <a:rPr lang="pt-BR" dirty="0"/>
              <a:t> omnis </a:t>
            </a:r>
            <a:r>
              <a:rPr lang="pt-BR" dirty="0" err="1"/>
              <a:t>iste</a:t>
            </a:r>
            <a:r>
              <a:rPr lang="pt-BR" dirty="0"/>
              <a:t> </a:t>
            </a:r>
            <a:r>
              <a:rPr lang="pt-BR" dirty="0" err="1"/>
              <a:t>natus</a:t>
            </a:r>
            <a:r>
              <a:rPr lang="pt-BR" dirty="0"/>
              <a:t> </a:t>
            </a:r>
            <a:r>
              <a:rPr lang="pt-BR" dirty="0" err="1"/>
              <a:t>err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accusantium</a:t>
            </a:r>
            <a:r>
              <a:rPr lang="pt-BR" dirty="0"/>
              <a:t> </a:t>
            </a:r>
            <a:r>
              <a:rPr lang="pt-BR" dirty="0" err="1"/>
              <a:t>doloremque</a:t>
            </a:r>
            <a:r>
              <a:rPr lang="pt-BR" dirty="0"/>
              <a:t> </a:t>
            </a:r>
            <a:r>
              <a:rPr lang="pt-BR" dirty="0" err="1"/>
              <a:t>laudantium</a:t>
            </a:r>
            <a:r>
              <a:rPr lang="pt-BR" dirty="0"/>
              <a:t>, </a:t>
            </a:r>
            <a:r>
              <a:rPr lang="pt-BR" dirty="0" err="1"/>
              <a:t>totam</a:t>
            </a:r>
            <a:r>
              <a:rPr lang="pt-BR" dirty="0"/>
              <a:t> rem </a:t>
            </a:r>
            <a:r>
              <a:rPr lang="pt-BR" dirty="0" err="1"/>
              <a:t>aperiam</a:t>
            </a:r>
            <a:r>
              <a:rPr lang="pt-BR" dirty="0"/>
              <a:t>, </a:t>
            </a:r>
            <a:r>
              <a:rPr lang="pt-BR" dirty="0" err="1"/>
              <a:t>eaque</a:t>
            </a:r>
            <a:r>
              <a:rPr lang="pt-BR" dirty="0"/>
              <a:t> </a:t>
            </a:r>
            <a:r>
              <a:rPr lang="pt-BR" dirty="0" err="1"/>
              <a:t>ipsa</a:t>
            </a:r>
            <a:r>
              <a:rPr lang="pt-BR" dirty="0"/>
              <a:t> </a:t>
            </a:r>
            <a:r>
              <a:rPr lang="pt-BR" dirty="0" err="1"/>
              <a:t>quae</a:t>
            </a:r>
            <a:r>
              <a:rPr lang="pt-BR" dirty="0"/>
              <a:t> </a:t>
            </a:r>
            <a:r>
              <a:rPr lang="pt-BR" dirty="0" err="1"/>
              <a:t>ab</a:t>
            </a:r>
            <a:r>
              <a:rPr lang="pt-BR" dirty="0"/>
              <a:t> </a:t>
            </a:r>
            <a:r>
              <a:rPr lang="pt-BR" dirty="0" err="1"/>
              <a:t>illo</a:t>
            </a:r>
            <a:r>
              <a:rPr lang="pt-BR" dirty="0"/>
              <a:t> </a:t>
            </a:r>
            <a:r>
              <a:rPr lang="pt-BR" dirty="0" err="1"/>
              <a:t>inventore</a:t>
            </a:r>
            <a:r>
              <a:rPr lang="pt-BR" dirty="0"/>
              <a:t> </a:t>
            </a:r>
            <a:r>
              <a:rPr lang="pt-BR" dirty="0" err="1"/>
              <a:t>veritatis</a:t>
            </a:r>
            <a:r>
              <a:rPr lang="pt-BR" dirty="0"/>
              <a:t> et </a:t>
            </a:r>
            <a:r>
              <a:rPr lang="pt-BR" dirty="0" err="1"/>
              <a:t>quasi</a:t>
            </a:r>
            <a:r>
              <a:rPr lang="pt-BR" dirty="0"/>
              <a:t> </a:t>
            </a:r>
            <a:r>
              <a:rPr lang="pt-BR" dirty="0" err="1"/>
              <a:t>architecto</a:t>
            </a:r>
            <a:r>
              <a:rPr lang="pt-BR" dirty="0"/>
              <a:t> </a:t>
            </a:r>
            <a:r>
              <a:rPr lang="pt-BR" dirty="0" err="1"/>
              <a:t>beatae</a:t>
            </a:r>
            <a:r>
              <a:rPr lang="pt-BR" dirty="0"/>
              <a:t> vitae </a:t>
            </a:r>
            <a:r>
              <a:rPr lang="pt-BR" dirty="0" err="1"/>
              <a:t>dicta</a:t>
            </a:r>
            <a:r>
              <a:rPr lang="pt-BR" dirty="0"/>
              <a:t> sunt </a:t>
            </a:r>
            <a:r>
              <a:rPr lang="pt-BR" dirty="0" err="1"/>
              <a:t>explicabo</a:t>
            </a:r>
            <a:endParaRPr lang="pt-BR" dirty="0"/>
          </a:p>
          <a:p>
            <a:endParaRPr lang="pt-BR" dirty="0"/>
          </a:p>
        </p:txBody>
      </p:sp>
      <p:sp>
        <p:nvSpPr>
          <p:cNvPr id="8" name="Espaço Reservado para Texto 7">
            <a:extLst>
              <a:ext uri="{FF2B5EF4-FFF2-40B4-BE49-F238E27FC236}">
                <a16:creationId xmlns:a16="http://schemas.microsoft.com/office/drawing/2014/main" id="{8FCC349F-CB43-46A3-A248-AF0DFBD6A60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 dirty="0" err="1"/>
              <a:t>Sed</a:t>
            </a:r>
            <a:r>
              <a:rPr lang="pt-BR" dirty="0"/>
              <a:t> ut </a:t>
            </a:r>
            <a:r>
              <a:rPr lang="pt-BR" dirty="0" err="1"/>
              <a:t>perspiciatis</a:t>
            </a:r>
            <a:r>
              <a:rPr lang="pt-BR" dirty="0"/>
              <a:t> </a:t>
            </a:r>
            <a:r>
              <a:rPr lang="pt-BR" dirty="0" err="1"/>
              <a:t>unde</a:t>
            </a:r>
            <a:r>
              <a:rPr lang="pt-BR" dirty="0"/>
              <a:t> omnis </a:t>
            </a:r>
            <a:r>
              <a:rPr lang="pt-BR" dirty="0" err="1"/>
              <a:t>iste</a:t>
            </a:r>
            <a:r>
              <a:rPr lang="pt-BR" dirty="0"/>
              <a:t> </a:t>
            </a:r>
            <a:r>
              <a:rPr lang="pt-BR" dirty="0" err="1"/>
              <a:t>natus</a:t>
            </a:r>
            <a:r>
              <a:rPr lang="pt-BR" dirty="0"/>
              <a:t> </a:t>
            </a:r>
            <a:r>
              <a:rPr lang="pt-BR" dirty="0" err="1"/>
              <a:t>err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accusantium</a:t>
            </a:r>
            <a:r>
              <a:rPr lang="pt-BR" dirty="0"/>
              <a:t> </a:t>
            </a:r>
            <a:r>
              <a:rPr lang="pt-BR" dirty="0" err="1"/>
              <a:t>doloremque</a:t>
            </a:r>
            <a:r>
              <a:rPr lang="pt-BR" dirty="0"/>
              <a:t> </a:t>
            </a:r>
            <a:r>
              <a:rPr lang="pt-BR" dirty="0" err="1"/>
              <a:t>laudantium</a:t>
            </a:r>
            <a:r>
              <a:rPr lang="pt-BR" dirty="0"/>
              <a:t>, </a:t>
            </a:r>
            <a:r>
              <a:rPr lang="pt-BR" dirty="0" err="1"/>
              <a:t>totam</a:t>
            </a:r>
            <a:r>
              <a:rPr lang="pt-BR" dirty="0"/>
              <a:t> rem </a:t>
            </a:r>
            <a:r>
              <a:rPr lang="pt-BR" dirty="0" err="1"/>
              <a:t>aperiam</a:t>
            </a:r>
            <a:r>
              <a:rPr lang="pt-BR" dirty="0"/>
              <a:t>, </a:t>
            </a:r>
            <a:r>
              <a:rPr lang="pt-BR" dirty="0" err="1"/>
              <a:t>eaque</a:t>
            </a:r>
            <a:r>
              <a:rPr lang="pt-BR" dirty="0"/>
              <a:t> </a:t>
            </a:r>
            <a:r>
              <a:rPr lang="pt-BR" dirty="0" err="1"/>
              <a:t>ipsa</a:t>
            </a:r>
            <a:r>
              <a:rPr lang="pt-BR" dirty="0"/>
              <a:t> </a:t>
            </a:r>
            <a:r>
              <a:rPr lang="pt-BR" dirty="0" err="1"/>
              <a:t>quae</a:t>
            </a:r>
            <a:r>
              <a:rPr lang="pt-BR" dirty="0"/>
              <a:t> </a:t>
            </a:r>
            <a:r>
              <a:rPr lang="pt-BR" dirty="0" err="1"/>
              <a:t>ab</a:t>
            </a:r>
            <a:r>
              <a:rPr lang="pt-BR" dirty="0"/>
              <a:t> </a:t>
            </a:r>
            <a:r>
              <a:rPr lang="pt-BR" dirty="0" err="1"/>
              <a:t>illo</a:t>
            </a:r>
            <a:r>
              <a:rPr lang="pt-BR" dirty="0"/>
              <a:t> </a:t>
            </a:r>
            <a:r>
              <a:rPr lang="pt-BR" dirty="0" err="1"/>
              <a:t>inventore</a:t>
            </a:r>
            <a:r>
              <a:rPr lang="pt-BR" dirty="0"/>
              <a:t> </a:t>
            </a:r>
            <a:r>
              <a:rPr lang="pt-BR" dirty="0" err="1"/>
              <a:t>veritatis</a:t>
            </a:r>
            <a:r>
              <a:rPr lang="pt-BR" dirty="0"/>
              <a:t> et </a:t>
            </a:r>
            <a:r>
              <a:rPr lang="pt-BR" dirty="0" err="1"/>
              <a:t>quasi</a:t>
            </a:r>
            <a:r>
              <a:rPr lang="pt-BR" dirty="0"/>
              <a:t> </a:t>
            </a:r>
            <a:r>
              <a:rPr lang="pt-BR" dirty="0" err="1"/>
              <a:t>architecto</a:t>
            </a:r>
            <a:r>
              <a:rPr lang="pt-BR" dirty="0"/>
              <a:t> </a:t>
            </a:r>
            <a:r>
              <a:rPr lang="pt-BR" dirty="0" err="1"/>
              <a:t>beatae</a:t>
            </a:r>
            <a:r>
              <a:rPr lang="pt-BR" dirty="0"/>
              <a:t> vitae </a:t>
            </a:r>
            <a:r>
              <a:rPr lang="pt-BR" dirty="0" err="1"/>
              <a:t>dicta</a:t>
            </a:r>
            <a:r>
              <a:rPr lang="pt-BR" dirty="0"/>
              <a:t> sunt </a:t>
            </a:r>
            <a:r>
              <a:rPr lang="pt-BR" dirty="0" err="1"/>
              <a:t>explicabo</a:t>
            </a:r>
            <a:r>
              <a:rPr lang="pt-BR" dirty="0"/>
              <a:t>. Nemo </a:t>
            </a:r>
            <a:r>
              <a:rPr lang="pt-BR" dirty="0" err="1"/>
              <a:t>enim</a:t>
            </a:r>
            <a:r>
              <a:rPr lang="pt-BR" dirty="0"/>
              <a:t> </a:t>
            </a:r>
            <a:r>
              <a:rPr lang="pt-BR" dirty="0" err="1"/>
              <a:t>ipsam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quia</a:t>
            </a:r>
            <a:r>
              <a:rPr lang="pt-BR" dirty="0"/>
              <a:t> </a:t>
            </a:r>
            <a:r>
              <a:rPr lang="pt-BR" dirty="0" err="1"/>
              <a:t>voluptas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spernatur</a:t>
            </a:r>
            <a:r>
              <a:rPr lang="pt-BR" dirty="0"/>
              <a:t> </a:t>
            </a:r>
            <a:r>
              <a:rPr lang="pt-BR" dirty="0" err="1"/>
              <a:t>aut</a:t>
            </a:r>
            <a:r>
              <a:rPr lang="pt-BR" dirty="0"/>
              <a:t> </a:t>
            </a:r>
            <a:r>
              <a:rPr lang="pt-BR" dirty="0" err="1"/>
              <a:t>odit</a:t>
            </a:r>
            <a:r>
              <a:rPr lang="pt-BR" dirty="0"/>
              <a:t> </a:t>
            </a:r>
            <a:r>
              <a:rPr lang="pt-BR" dirty="0" err="1"/>
              <a:t>aut</a:t>
            </a:r>
            <a:r>
              <a:rPr lang="pt-BR" dirty="0"/>
              <a:t> </a:t>
            </a:r>
            <a:r>
              <a:rPr lang="pt-BR" dirty="0" err="1"/>
              <a:t>fug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</a:t>
            </a:r>
            <a:r>
              <a:rPr lang="pt-BR" dirty="0" err="1"/>
              <a:t>quia</a:t>
            </a:r>
            <a:r>
              <a:rPr lang="pt-BR" dirty="0"/>
              <a:t> </a:t>
            </a:r>
            <a:r>
              <a:rPr lang="pt-BR" dirty="0" err="1"/>
              <a:t>consequuntur</a:t>
            </a:r>
            <a:r>
              <a:rPr lang="pt-BR" dirty="0"/>
              <a:t> </a:t>
            </a:r>
            <a:r>
              <a:rPr lang="pt-BR" dirty="0" err="1"/>
              <a:t>magni</a:t>
            </a:r>
            <a:r>
              <a:rPr lang="pt-BR" dirty="0"/>
              <a:t> </a:t>
            </a:r>
            <a:r>
              <a:rPr lang="pt-BR" dirty="0" err="1"/>
              <a:t>dolores</a:t>
            </a:r>
            <a:r>
              <a:rPr lang="pt-BR" dirty="0"/>
              <a:t> </a:t>
            </a:r>
            <a:r>
              <a:rPr lang="pt-BR" dirty="0" err="1"/>
              <a:t>eos</a:t>
            </a:r>
            <a:r>
              <a:rPr lang="pt-BR" dirty="0"/>
              <a:t> </a:t>
            </a:r>
            <a:r>
              <a:rPr lang="pt-BR" dirty="0" err="1"/>
              <a:t>qui</a:t>
            </a:r>
            <a:r>
              <a:rPr lang="pt-BR" dirty="0"/>
              <a:t> ratione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sequi</a:t>
            </a:r>
            <a:r>
              <a:rPr lang="pt-BR" dirty="0"/>
              <a:t> </a:t>
            </a:r>
            <a:r>
              <a:rPr lang="pt-BR" dirty="0" err="1"/>
              <a:t>nesciunt</a:t>
            </a:r>
            <a:r>
              <a:rPr lang="pt-BR" dirty="0"/>
              <a:t>. </a:t>
            </a:r>
          </a:p>
          <a:p>
            <a:pPr lvl="1"/>
            <a:r>
              <a:rPr lang="pt-BR" dirty="0"/>
              <a:t>Item 01</a:t>
            </a:r>
          </a:p>
          <a:p>
            <a:pPr lvl="1"/>
            <a:r>
              <a:rPr lang="pt-BR" dirty="0"/>
              <a:t>Item 02</a:t>
            </a:r>
          </a:p>
          <a:p>
            <a:pPr lvl="1"/>
            <a:r>
              <a:rPr lang="pt-BR" dirty="0"/>
              <a:t>Item 03</a:t>
            </a:r>
          </a:p>
          <a:p>
            <a:pPr lvl="1"/>
            <a:r>
              <a:rPr lang="pt-BR" dirty="0"/>
              <a:t>Item 04</a:t>
            </a:r>
          </a:p>
          <a:p>
            <a:endParaRPr lang="pt-BR" dirty="0"/>
          </a:p>
          <a:p>
            <a:r>
              <a:rPr lang="pt-BR" dirty="0" err="1"/>
              <a:t>Sed</a:t>
            </a:r>
            <a:r>
              <a:rPr lang="pt-BR" dirty="0"/>
              <a:t> ut </a:t>
            </a:r>
            <a:r>
              <a:rPr lang="pt-BR" dirty="0" err="1"/>
              <a:t>perspiciatis</a:t>
            </a:r>
            <a:r>
              <a:rPr lang="pt-BR" dirty="0"/>
              <a:t> </a:t>
            </a:r>
            <a:r>
              <a:rPr lang="pt-BR" dirty="0" err="1"/>
              <a:t>unde</a:t>
            </a:r>
            <a:r>
              <a:rPr lang="pt-BR" dirty="0"/>
              <a:t> omnis </a:t>
            </a:r>
            <a:r>
              <a:rPr lang="pt-BR" dirty="0" err="1"/>
              <a:t>iste</a:t>
            </a:r>
            <a:r>
              <a:rPr lang="pt-BR" dirty="0"/>
              <a:t> </a:t>
            </a:r>
            <a:r>
              <a:rPr lang="pt-BR" dirty="0" err="1"/>
              <a:t>natus</a:t>
            </a:r>
            <a:r>
              <a:rPr lang="pt-BR" dirty="0"/>
              <a:t> </a:t>
            </a:r>
            <a:r>
              <a:rPr lang="pt-BR" dirty="0" err="1"/>
              <a:t>err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accusantium</a:t>
            </a:r>
            <a:r>
              <a:rPr lang="pt-BR" dirty="0"/>
              <a:t> </a:t>
            </a:r>
            <a:r>
              <a:rPr lang="pt-BR" dirty="0" err="1"/>
              <a:t>doloremque</a:t>
            </a:r>
            <a:r>
              <a:rPr lang="pt-BR" dirty="0"/>
              <a:t> </a:t>
            </a:r>
            <a:r>
              <a:rPr lang="pt-BR" dirty="0" err="1"/>
              <a:t>laudantium</a:t>
            </a:r>
            <a:r>
              <a:rPr lang="pt-BR" dirty="0"/>
              <a:t>, </a:t>
            </a:r>
            <a:r>
              <a:rPr lang="pt-BR" dirty="0" err="1"/>
              <a:t>totam</a:t>
            </a:r>
            <a:r>
              <a:rPr lang="pt-BR" dirty="0"/>
              <a:t> rem </a:t>
            </a:r>
            <a:r>
              <a:rPr lang="pt-BR" dirty="0" err="1"/>
              <a:t>aperiam</a:t>
            </a:r>
            <a:r>
              <a:rPr lang="pt-BR" dirty="0"/>
              <a:t>, </a:t>
            </a:r>
            <a:r>
              <a:rPr lang="pt-BR" dirty="0" err="1"/>
              <a:t>eaque</a:t>
            </a:r>
            <a:r>
              <a:rPr lang="pt-BR" dirty="0"/>
              <a:t> </a:t>
            </a:r>
            <a:r>
              <a:rPr lang="pt-BR" dirty="0" err="1"/>
              <a:t>ipsa</a:t>
            </a:r>
            <a:r>
              <a:rPr lang="pt-BR" dirty="0"/>
              <a:t> </a:t>
            </a:r>
            <a:r>
              <a:rPr lang="pt-BR" dirty="0" err="1"/>
              <a:t>quae</a:t>
            </a:r>
            <a:r>
              <a:rPr lang="pt-BR" dirty="0"/>
              <a:t> </a:t>
            </a:r>
            <a:r>
              <a:rPr lang="pt-BR" dirty="0" err="1"/>
              <a:t>ab</a:t>
            </a:r>
            <a:r>
              <a:rPr lang="pt-BR" dirty="0"/>
              <a:t> </a:t>
            </a:r>
            <a:r>
              <a:rPr lang="pt-BR" dirty="0" err="1"/>
              <a:t>illo</a:t>
            </a:r>
            <a:r>
              <a:rPr lang="pt-BR" dirty="0"/>
              <a:t> </a:t>
            </a:r>
            <a:r>
              <a:rPr lang="pt-BR" dirty="0" err="1"/>
              <a:t>inventore</a:t>
            </a:r>
            <a:r>
              <a:rPr lang="pt-BR" dirty="0"/>
              <a:t> </a:t>
            </a:r>
            <a:r>
              <a:rPr lang="pt-BR" dirty="0" err="1"/>
              <a:t>veritatis</a:t>
            </a:r>
            <a:r>
              <a:rPr lang="pt-BR" dirty="0"/>
              <a:t> et </a:t>
            </a:r>
            <a:r>
              <a:rPr lang="pt-BR" dirty="0" err="1"/>
              <a:t>quasi</a:t>
            </a:r>
            <a:r>
              <a:rPr lang="pt-BR" dirty="0"/>
              <a:t> </a:t>
            </a:r>
            <a:r>
              <a:rPr lang="pt-BR" dirty="0" err="1"/>
              <a:t>architecto</a:t>
            </a:r>
            <a:r>
              <a:rPr lang="pt-BR" dirty="0"/>
              <a:t> </a:t>
            </a:r>
            <a:r>
              <a:rPr lang="pt-BR" dirty="0" err="1"/>
              <a:t>beatae</a:t>
            </a:r>
            <a:r>
              <a:rPr lang="pt-BR" dirty="0"/>
              <a:t> vitae </a:t>
            </a:r>
            <a:r>
              <a:rPr lang="pt-BR" dirty="0" err="1"/>
              <a:t>dicta</a:t>
            </a:r>
            <a:r>
              <a:rPr lang="pt-BR" dirty="0"/>
              <a:t> sunt </a:t>
            </a:r>
            <a:r>
              <a:rPr lang="pt-BR" dirty="0" err="1"/>
              <a:t>explicabo</a:t>
            </a:r>
            <a:endParaRPr lang="pt-BR" dirty="0"/>
          </a:p>
          <a:p>
            <a:r>
              <a:rPr lang="pt-BR" dirty="0" err="1"/>
              <a:t>Sed</a:t>
            </a:r>
            <a:r>
              <a:rPr lang="pt-BR" dirty="0"/>
              <a:t> ut </a:t>
            </a:r>
            <a:r>
              <a:rPr lang="pt-BR" dirty="0" err="1"/>
              <a:t>perspiciatis</a:t>
            </a:r>
            <a:r>
              <a:rPr lang="pt-BR" dirty="0"/>
              <a:t> </a:t>
            </a:r>
            <a:r>
              <a:rPr lang="pt-BR" dirty="0" err="1"/>
              <a:t>unde</a:t>
            </a:r>
            <a:r>
              <a:rPr lang="pt-BR" dirty="0"/>
              <a:t> omnis </a:t>
            </a:r>
            <a:r>
              <a:rPr lang="pt-BR" dirty="0" err="1"/>
              <a:t>iste</a:t>
            </a:r>
            <a:r>
              <a:rPr lang="pt-BR" dirty="0"/>
              <a:t> </a:t>
            </a:r>
            <a:r>
              <a:rPr lang="pt-BR" dirty="0" err="1"/>
              <a:t>natus</a:t>
            </a:r>
            <a:r>
              <a:rPr lang="pt-BR" dirty="0"/>
              <a:t> </a:t>
            </a:r>
            <a:r>
              <a:rPr lang="pt-BR" dirty="0" err="1"/>
              <a:t>err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accusantium</a:t>
            </a:r>
            <a:r>
              <a:rPr lang="pt-BR" dirty="0"/>
              <a:t> </a:t>
            </a:r>
            <a:r>
              <a:rPr lang="pt-BR" dirty="0" err="1"/>
              <a:t>doloremque</a:t>
            </a:r>
            <a:r>
              <a:rPr lang="pt-BR" dirty="0"/>
              <a:t> </a:t>
            </a:r>
            <a:r>
              <a:rPr lang="pt-BR" dirty="0" err="1"/>
              <a:t>laudantium</a:t>
            </a:r>
            <a:r>
              <a:rPr lang="pt-BR" dirty="0"/>
              <a:t>, </a:t>
            </a:r>
            <a:r>
              <a:rPr lang="pt-BR" dirty="0" err="1"/>
              <a:t>totam</a:t>
            </a:r>
            <a:r>
              <a:rPr lang="pt-BR" dirty="0"/>
              <a:t> rem </a:t>
            </a:r>
            <a:r>
              <a:rPr lang="pt-BR" dirty="0" err="1"/>
              <a:t>aperiam</a:t>
            </a:r>
            <a:r>
              <a:rPr lang="pt-BR" dirty="0"/>
              <a:t>, </a:t>
            </a:r>
            <a:r>
              <a:rPr lang="pt-BR" dirty="0" err="1"/>
              <a:t>eaque</a:t>
            </a:r>
            <a:r>
              <a:rPr lang="pt-BR" dirty="0"/>
              <a:t> </a:t>
            </a:r>
            <a:r>
              <a:rPr lang="pt-BR" dirty="0" err="1"/>
              <a:t>ipsa</a:t>
            </a:r>
            <a:r>
              <a:rPr lang="pt-BR" dirty="0"/>
              <a:t> </a:t>
            </a:r>
            <a:r>
              <a:rPr lang="pt-BR" dirty="0" err="1"/>
              <a:t>quae</a:t>
            </a:r>
            <a:r>
              <a:rPr lang="pt-BR" dirty="0"/>
              <a:t> </a:t>
            </a:r>
            <a:r>
              <a:rPr lang="pt-BR" dirty="0" err="1"/>
              <a:t>ab</a:t>
            </a:r>
            <a:r>
              <a:rPr lang="pt-BR" dirty="0"/>
              <a:t> </a:t>
            </a:r>
            <a:r>
              <a:rPr lang="pt-BR" dirty="0" err="1"/>
              <a:t>illo</a:t>
            </a:r>
            <a:r>
              <a:rPr lang="pt-BR" dirty="0"/>
              <a:t> </a:t>
            </a:r>
            <a:r>
              <a:rPr lang="pt-BR" dirty="0" err="1"/>
              <a:t>inventore</a:t>
            </a:r>
            <a:r>
              <a:rPr lang="pt-BR" dirty="0"/>
              <a:t> </a:t>
            </a:r>
            <a:r>
              <a:rPr lang="pt-BR" dirty="0" err="1"/>
              <a:t>veritatis</a:t>
            </a:r>
            <a:r>
              <a:rPr lang="pt-BR" dirty="0"/>
              <a:t> et </a:t>
            </a:r>
            <a:r>
              <a:rPr lang="pt-BR" dirty="0" err="1"/>
              <a:t>quasi</a:t>
            </a:r>
            <a:r>
              <a:rPr lang="pt-BR" dirty="0"/>
              <a:t> </a:t>
            </a:r>
            <a:r>
              <a:rPr lang="pt-BR" dirty="0" err="1"/>
              <a:t>architecto</a:t>
            </a:r>
            <a:r>
              <a:rPr lang="pt-BR" dirty="0"/>
              <a:t> </a:t>
            </a:r>
            <a:r>
              <a:rPr lang="pt-BR" dirty="0" err="1"/>
              <a:t>beatae</a:t>
            </a:r>
            <a:r>
              <a:rPr lang="pt-BR" dirty="0"/>
              <a:t> vitae </a:t>
            </a:r>
            <a:r>
              <a:rPr lang="pt-BR" dirty="0" err="1"/>
              <a:t>dicta</a:t>
            </a:r>
            <a:r>
              <a:rPr lang="pt-BR" dirty="0"/>
              <a:t> sunt </a:t>
            </a:r>
            <a:r>
              <a:rPr lang="pt-BR" dirty="0" err="1"/>
              <a:t>explicabo</a:t>
            </a:r>
            <a:endParaRPr lang="pt-BR" dirty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88134564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19D50E25-A058-4BF6-906A-3E6B29FC295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Inserir aqui o título do slide</a:t>
            </a:r>
          </a:p>
        </p:txBody>
      </p:sp>
      <p:sp>
        <p:nvSpPr>
          <p:cNvPr id="6" name="Espaço Reservado para Texto 5">
            <a:extLst>
              <a:ext uri="{FF2B5EF4-FFF2-40B4-BE49-F238E27FC236}">
                <a16:creationId xmlns:a16="http://schemas.microsoft.com/office/drawing/2014/main" id="{FD0D0541-CF39-46EA-AD09-D9029243353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erir aqui o subtítulo do slide</a:t>
            </a:r>
          </a:p>
        </p:txBody>
      </p:sp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4A37A0A3-571D-4AF4-AEC8-279909FBC2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pt-BR" dirty="0" err="1"/>
              <a:t>Sed</a:t>
            </a:r>
            <a:r>
              <a:rPr lang="pt-BR" dirty="0"/>
              <a:t> ut </a:t>
            </a:r>
            <a:r>
              <a:rPr lang="pt-BR" dirty="0" err="1"/>
              <a:t>perspiciatis</a:t>
            </a:r>
            <a:r>
              <a:rPr lang="pt-BR" dirty="0"/>
              <a:t> </a:t>
            </a:r>
            <a:r>
              <a:rPr lang="pt-BR" dirty="0" err="1"/>
              <a:t>unde</a:t>
            </a:r>
            <a:r>
              <a:rPr lang="pt-BR" dirty="0"/>
              <a:t> omnis </a:t>
            </a:r>
            <a:r>
              <a:rPr lang="pt-BR" dirty="0" err="1"/>
              <a:t>iste</a:t>
            </a:r>
            <a:r>
              <a:rPr lang="pt-BR" dirty="0"/>
              <a:t> </a:t>
            </a:r>
            <a:r>
              <a:rPr lang="pt-BR" dirty="0" err="1"/>
              <a:t>natus</a:t>
            </a:r>
            <a:r>
              <a:rPr lang="pt-BR" dirty="0"/>
              <a:t> </a:t>
            </a:r>
            <a:r>
              <a:rPr lang="pt-BR" dirty="0" err="1"/>
              <a:t>err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accusantium</a:t>
            </a:r>
            <a:r>
              <a:rPr lang="pt-BR" dirty="0"/>
              <a:t> </a:t>
            </a:r>
            <a:r>
              <a:rPr lang="pt-BR" dirty="0" err="1"/>
              <a:t>doloremque</a:t>
            </a:r>
            <a:r>
              <a:rPr lang="pt-BR" dirty="0"/>
              <a:t> </a:t>
            </a:r>
            <a:r>
              <a:rPr lang="pt-BR" dirty="0" err="1"/>
              <a:t>laudantium</a:t>
            </a:r>
            <a:r>
              <a:rPr lang="pt-BR" dirty="0"/>
              <a:t>, </a:t>
            </a:r>
            <a:r>
              <a:rPr lang="pt-BR" dirty="0" err="1"/>
              <a:t>totam</a:t>
            </a:r>
            <a:r>
              <a:rPr lang="pt-BR" dirty="0"/>
              <a:t> rem </a:t>
            </a:r>
            <a:r>
              <a:rPr lang="pt-BR" dirty="0" err="1"/>
              <a:t>aperiam</a:t>
            </a:r>
            <a:r>
              <a:rPr lang="pt-BR" dirty="0"/>
              <a:t>, </a:t>
            </a:r>
            <a:r>
              <a:rPr lang="pt-BR" dirty="0" err="1"/>
              <a:t>eaque</a:t>
            </a:r>
            <a:r>
              <a:rPr lang="pt-BR" dirty="0"/>
              <a:t> </a:t>
            </a:r>
            <a:r>
              <a:rPr lang="pt-BR" dirty="0" err="1"/>
              <a:t>ipsa</a:t>
            </a:r>
            <a:r>
              <a:rPr lang="pt-BR" dirty="0"/>
              <a:t> </a:t>
            </a:r>
            <a:r>
              <a:rPr lang="pt-BR" dirty="0" err="1"/>
              <a:t>quae</a:t>
            </a:r>
            <a:r>
              <a:rPr lang="pt-BR" dirty="0"/>
              <a:t> </a:t>
            </a:r>
            <a:r>
              <a:rPr lang="pt-BR" dirty="0" err="1"/>
              <a:t>ab</a:t>
            </a:r>
            <a:r>
              <a:rPr lang="pt-BR" dirty="0"/>
              <a:t> </a:t>
            </a:r>
            <a:r>
              <a:rPr lang="pt-BR" dirty="0" err="1"/>
              <a:t>illo</a:t>
            </a:r>
            <a:r>
              <a:rPr lang="pt-BR" dirty="0"/>
              <a:t> </a:t>
            </a:r>
            <a:r>
              <a:rPr lang="pt-BR" dirty="0" err="1"/>
              <a:t>inventore</a:t>
            </a:r>
            <a:r>
              <a:rPr lang="pt-BR" dirty="0"/>
              <a:t> </a:t>
            </a:r>
            <a:r>
              <a:rPr lang="pt-BR" dirty="0" err="1"/>
              <a:t>veritatis</a:t>
            </a:r>
            <a:r>
              <a:rPr lang="pt-BR" dirty="0"/>
              <a:t> et </a:t>
            </a:r>
            <a:r>
              <a:rPr lang="pt-BR" dirty="0" err="1"/>
              <a:t>quasi</a:t>
            </a:r>
            <a:r>
              <a:rPr lang="pt-BR" dirty="0"/>
              <a:t> </a:t>
            </a:r>
            <a:r>
              <a:rPr lang="pt-BR" dirty="0" err="1"/>
              <a:t>architecto</a:t>
            </a:r>
            <a:r>
              <a:rPr lang="pt-BR" dirty="0"/>
              <a:t> </a:t>
            </a:r>
            <a:r>
              <a:rPr lang="pt-BR" dirty="0" err="1"/>
              <a:t>beatae</a:t>
            </a:r>
            <a:r>
              <a:rPr lang="pt-BR" dirty="0"/>
              <a:t> vitae </a:t>
            </a:r>
            <a:r>
              <a:rPr lang="pt-BR" dirty="0" err="1"/>
              <a:t>dicta</a:t>
            </a:r>
            <a:r>
              <a:rPr lang="pt-BR" dirty="0"/>
              <a:t> sunt </a:t>
            </a:r>
            <a:r>
              <a:rPr lang="pt-BR" dirty="0" err="1"/>
              <a:t>explicabo</a:t>
            </a:r>
            <a:r>
              <a:rPr lang="pt-BR" dirty="0"/>
              <a:t>. Nemo </a:t>
            </a:r>
            <a:r>
              <a:rPr lang="pt-BR" dirty="0" err="1"/>
              <a:t>enim</a:t>
            </a:r>
            <a:r>
              <a:rPr lang="pt-BR" dirty="0"/>
              <a:t> </a:t>
            </a:r>
            <a:r>
              <a:rPr lang="pt-BR" dirty="0" err="1"/>
              <a:t>ipsam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quia</a:t>
            </a:r>
            <a:r>
              <a:rPr lang="pt-BR" dirty="0"/>
              <a:t> </a:t>
            </a:r>
            <a:r>
              <a:rPr lang="pt-BR" dirty="0" err="1"/>
              <a:t>voluptas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spernatur</a:t>
            </a:r>
            <a:r>
              <a:rPr lang="pt-BR" dirty="0"/>
              <a:t> </a:t>
            </a:r>
            <a:r>
              <a:rPr lang="pt-BR" dirty="0" err="1"/>
              <a:t>aut</a:t>
            </a:r>
            <a:r>
              <a:rPr lang="pt-BR" dirty="0"/>
              <a:t> </a:t>
            </a:r>
            <a:r>
              <a:rPr lang="pt-BR" dirty="0" err="1"/>
              <a:t>odit</a:t>
            </a:r>
            <a:r>
              <a:rPr lang="pt-BR" dirty="0"/>
              <a:t> </a:t>
            </a:r>
            <a:r>
              <a:rPr lang="pt-BR" dirty="0" err="1"/>
              <a:t>aut</a:t>
            </a:r>
            <a:r>
              <a:rPr lang="pt-BR" dirty="0"/>
              <a:t> </a:t>
            </a:r>
            <a:r>
              <a:rPr lang="pt-BR" dirty="0" err="1"/>
              <a:t>fug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</a:t>
            </a:r>
            <a:r>
              <a:rPr lang="pt-BR" dirty="0" err="1"/>
              <a:t>quia</a:t>
            </a:r>
            <a:r>
              <a:rPr lang="pt-BR" dirty="0"/>
              <a:t> </a:t>
            </a:r>
            <a:r>
              <a:rPr lang="pt-BR" dirty="0" err="1"/>
              <a:t>consequuntur</a:t>
            </a:r>
            <a:r>
              <a:rPr lang="pt-BR" dirty="0"/>
              <a:t> </a:t>
            </a:r>
            <a:r>
              <a:rPr lang="pt-BR" dirty="0" err="1"/>
              <a:t>magni</a:t>
            </a:r>
            <a:r>
              <a:rPr lang="pt-BR" dirty="0"/>
              <a:t> </a:t>
            </a:r>
            <a:r>
              <a:rPr lang="pt-BR" dirty="0" err="1"/>
              <a:t>dolores</a:t>
            </a:r>
            <a:r>
              <a:rPr lang="pt-BR" dirty="0"/>
              <a:t> </a:t>
            </a:r>
            <a:r>
              <a:rPr lang="pt-BR" dirty="0" err="1"/>
              <a:t>eos</a:t>
            </a:r>
            <a:r>
              <a:rPr lang="pt-BR" dirty="0"/>
              <a:t> </a:t>
            </a:r>
            <a:r>
              <a:rPr lang="pt-BR" dirty="0" err="1"/>
              <a:t>qui</a:t>
            </a:r>
            <a:r>
              <a:rPr lang="pt-BR" dirty="0"/>
              <a:t> ratione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sequi</a:t>
            </a:r>
            <a:r>
              <a:rPr lang="pt-BR" dirty="0"/>
              <a:t> </a:t>
            </a:r>
            <a:r>
              <a:rPr lang="pt-BR" dirty="0" err="1"/>
              <a:t>nesciunt</a:t>
            </a:r>
            <a:r>
              <a:rPr lang="pt-BR" dirty="0"/>
              <a:t>. </a:t>
            </a:r>
          </a:p>
          <a:p>
            <a:pPr lvl="1"/>
            <a:r>
              <a:rPr lang="pt-BR" dirty="0"/>
              <a:t>Item 01</a:t>
            </a:r>
          </a:p>
          <a:p>
            <a:pPr lvl="1"/>
            <a:r>
              <a:rPr lang="pt-BR" dirty="0"/>
              <a:t>Item 02</a:t>
            </a:r>
          </a:p>
          <a:p>
            <a:pPr lvl="1"/>
            <a:r>
              <a:rPr lang="pt-BR" dirty="0"/>
              <a:t>Item 03</a:t>
            </a:r>
          </a:p>
          <a:p>
            <a:pPr lvl="1"/>
            <a:r>
              <a:rPr lang="pt-BR" dirty="0"/>
              <a:t>Item 04</a:t>
            </a:r>
          </a:p>
          <a:p>
            <a:endParaRPr lang="pt-BR" dirty="0"/>
          </a:p>
          <a:p>
            <a:r>
              <a:rPr lang="pt-BR" dirty="0" err="1"/>
              <a:t>Sed</a:t>
            </a:r>
            <a:r>
              <a:rPr lang="pt-BR" dirty="0"/>
              <a:t> ut </a:t>
            </a:r>
            <a:r>
              <a:rPr lang="pt-BR" dirty="0" err="1"/>
              <a:t>perspiciatis</a:t>
            </a:r>
            <a:r>
              <a:rPr lang="pt-BR" dirty="0"/>
              <a:t> </a:t>
            </a:r>
            <a:r>
              <a:rPr lang="pt-BR" dirty="0" err="1"/>
              <a:t>unde</a:t>
            </a:r>
            <a:r>
              <a:rPr lang="pt-BR" dirty="0"/>
              <a:t> omnis </a:t>
            </a:r>
            <a:r>
              <a:rPr lang="pt-BR" dirty="0" err="1"/>
              <a:t>iste</a:t>
            </a:r>
            <a:r>
              <a:rPr lang="pt-BR" dirty="0"/>
              <a:t> </a:t>
            </a:r>
            <a:r>
              <a:rPr lang="pt-BR" dirty="0" err="1"/>
              <a:t>natus</a:t>
            </a:r>
            <a:r>
              <a:rPr lang="pt-BR" dirty="0"/>
              <a:t> </a:t>
            </a:r>
            <a:r>
              <a:rPr lang="pt-BR" dirty="0" err="1"/>
              <a:t>err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accusantium</a:t>
            </a:r>
            <a:r>
              <a:rPr lang="pt-BR" dirty="0"/>
              <a:t> </a:t>
            </a:r>
            <a:r>
              <a:rPr lang="pt-BR" dirty="0" err="1"/>
              <a:t>doloremque</a:t>
            </a:r>
            <a:r>
              <a:rPr lang="pt-BR" dirty="0"/>
              <a:t> </a:t>
            </a:r>
            <a:r>
              <a:rPr lang="pt-BR" dirty="0" err="1"/>
              <a:t>laudantium</a:t>
            </a:r>
            <a:r>
              <a:rPr lang="pt-BR" dirty="0"/>
              <a:t>, </a:t>
            </a:r>
            <a:r>
              <a:rPr lang="pt-BR" dirty="0" err="1"/>
              <a:t>totam</a:t>
            </a:r>
            <a:r>
              <a:rPr lang="pt-BR" dirty="0"/>
              <a:t> rem </a:t>
            </a:r>
            <a:r>
              <a:rPr lang="pt-BR" dirty="0" err="1"/>
              <a:t>aperiam</a:t>
            </a:r>
            <a:r>
              <a:rPr lang="pt-BR" dirty="0"/>
              <a:t>, </a:t>
            </a:r>
            <a:r>
              <a:rPr lang="pt-BR" dirty="0" err="1"/>
              <a:t>eaque</a:t>
            </a:r>
            <a:r>
              <a:rPr lang="pt-BR" dirty="0"/>
              <a:t> </a:t>
            </a:r>
            <a:r>
              <a:rPr lang="pt-BR" dirty="0" err="1"/>
              <a:t>ipsa</a:t>
            </a:r>
            <a:r>
              <a:rPr lang="pt-BR" dirty="0"/>
              <a:t> </a:t>
            </a:r>
            <a:r>
              <a:rPr lang="pt-BR" dirty="0" err="1"/>
              <a:t>quae</a:t>
            </a:r>
            <a:r>
              <a:rPr lang="pt-BR" dirty="0"/>
              <a:t> </a:t>
            </a:r>
            <a:r>
              <a:rPr lang="pt-BR" dirty="0" err="1"/>
              <a:t>ab</a:t>
            </a:r>
            <a:r>
              <a:rPr lang="pt-BR" dirty="0"/>
              <a:t> </a:t>
            </a:r>
            <a:r>
              <a:rPr lang="pt-BR" dirty="0" err="1"/>
              <a:t>illo</a:t>
            </a:r>
            <a:r>
              <a:rPr lang="pt-BR" dirty="0"/>
              <a:t> </a:t>
            </a:r>
            <a:r>
              <a:rPr lang="pt-BR" dirty="0" err="1"/>
              <a:t>inventore</a:t>
            </a:r>
            <a:r>
              <a:rPr lang="pt-BR" dirty="0"/>
              <a:t> </a:t>
            </a:r>
            <a:r>
              <a:rPr lang="pt-BR" dirty="0" err="1"/>
              <a:t>veritatis</a:t>
            </a:r>
            <a:r>
              <a:rPr lang="pt-BR" dirty="0"/>
              <a:t> et </a:t>
            </a:r>
            <a:r>
              <a:rPr lang="pt-BR" dirty="0" err="1"/>
              <a:t>quasi</a:t>
            </a:r>
            <a:r>
              <a:rPr lang="pt-BR" dirty="0"/>
              <a:t> </a:t>
            </a:r>
            <a:r>
              <a:rPr lang="pt-BR" dirty="0" err="1"/>
              <a:t>architecto</a:t>
            </a:r>
            <a:r>
              <a:rPr lang="pt-BR" dirty="0"/>
              <a:t> </a:t>
            </a:r>
            <a:r>
              <a:rPr lang="pt-BR" dirty="0" err="1"/>
              <a:t>beatae</a:t>
            </a:r>
            <a:r>
              <a:rPr lang="pt-BR" dirty="0"/>
              <a:t> vitae </a:t>
            </a:r>
            <a:r>
              <a:rPr lang="pt-BR" dirty="0" err="1"/>
              <a:t>dicta</a:t>
            </a:r>
            <a:r>
              <a:rPr lang="pt-BR" dirty="0"/>
              <a:t> sunt </a:t>
            </a:r>
            <a:r>
              <a:rPr lang="pt-BR" dirty="0" err="1"/>
              <a:t>explicabo</a:t>
            </a:r>
            <a:endParaRPr lang="pt-BR" dirty="0"/>
          </a:p>
          <a:p>
            <a:r>
              <a:rPr lang="pt-BR" dirty="0" err="1"/>
              <a:t>Sed</a:t>
            </a:r>
            <a:r>
              <a:rPr lang="pt-BR" dirty="0"/>
              <a:t> ut </a:t>
            </a:r>
            <a:r>
              <a:rPr lang="pt-BR" dirty="0" err="1"/>
              <a:t>perspiciatis</a:t>
            </a:r>
            <a:r>
              <a:rPr lang="pt-BR" dirty="0"/>
              <a:t> </a:t>
            </a:r>
            <a:r>
              <a:rPr lang="pt-BR" dirty="0" err="1"/>
              <a:t>unde</a:t>
            </a:r>
            <a:r>
              <a:rPr lang="pt-BR" dirty="0"/>
              <a:t> omnis </a:t>
            </a:r>
            <a:r>
              <a:rPr lang="pt-BR" dirty="0" err="1"/>
              <a:t>iste</a:t>
            </a:r>
            <a:r>
              <a:rPr lang="pt-BR" dirty="0"/>
              <a:t> </a:t>
            </a:r>
            <a:r>
              <a:rPr lang="pt-BR" dirty="0" err="1"/>
              <a:t>natus</a:t>
            </a:r>
            <a:r>
              <a:rPr lang="pt-BR" dirty="0"/>
              <a:t> </a:t>
            </a:r>
            <a:r>
              <a:rPr lang="pt-BR" dirty="0" err="1"/>
              <a:t>err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accusantium</a:t>
            </a:r>
            <a:r>
              <a:rPr lang="pt-BR" dirty="0"/>
              <a:t> </a:t>
            </a:r>
            <a:r>
              <a:rPr lang="pt-BR" dirty="0" err="1"/>
              <a:t>doloremque</a:t>
            </a:r>
            <a:r>
              <a:rPr lang="pt-BR" dirty="0"/>
              <a:t> </a:t>
            </a:r>
            <a:r>
              <a:rPr lang="pt-BR" dirty="0" err="1"/>
              <a:t>laudantium</a:t>
            </a:r>
            <a:r>
              <a:rPr lang="pt-BR" dirty="0"/>
              <a:t>, </a:t>
            </a:r>
            <a:r>
              <a:rPr lang="pt-BR" dirty="0" err="1"/>
              <a:t>totam</a:t>
            </a:r>
            <a:r>
              <a:rPr lang="pt-BR" dirty="0"/>
              <a:t> rem </a:t>
            </a:r>
            <a:r>
              <a:rPr lang="pt-BR" dirty="0" err="1"/>
              <a:t>aperiam</a:t>
            </a:r>
            <a:r>
              <a:rPr lang="pt-BR" dirty="0"/>
              <a:t>, </a:t>
            </a:r>
            <a:r>
              <a:rPr lang="pt-BR" dirty="0" err="1"/>
              <a:t>eaque</a:t>
            </a:r>
            <a:r>
              <a:rPr lang="pt-BR" dirty="0"/>
              <a:t> </a:t>
            </a:r>
            <a:r>
              <a:rPr lang="pt-BR" dirty="0" err="1"/>
              <a:t>ipsa</a:t>
            </a:r>
            <a:r>
              <a:rPr lang="pt-BR" dirty="0"/>
              <a:t> </a:t>
            </a:r>
            <a:r>
              <a:rPr lang="pt-BR" dirty="0" err="1"/>
              <a:t>quae</a:t>
            </a:r>
            <a:r>
              <a:rPr lang="pt-BR" dirty="0"/>
              <a:t> </a:t>
            </a:r>
            <a:r>
              <a:rPr lang="pt-BR" dirty="0" err="1"/>
              <a:t>ab</a:t>
            </a:r>
            <a:r>
              <a:rPr lang="pt-BR" dirty="0"/>
              <a:t> </a:t>
            </a:r>
            <a:r>
              <a:rPr lang="pt-BR" dirty="0" err="1"/>
              <a:t>illo</a:t>
            </a:r>
            <a:r>
              <a:rPr lang="pt-BR" dirty="0"/>
              <a:t> </a:t>
            </a:r>
            <a:r>
              <a:rPr lang="pt-BR" dirty="0" err="1"/>
              <a:t>inventore</a:t>
            </a:r>
            <a:r>
              <a:rPr lang="pt-BR" dirty="0"/>
              <a:t> </a:t>
            </a:r>
            <a:r>
              <a:rPr lang="pt-BR" dirty="0" err="1"/>
              <a:t>veritatis</a:t>
            </a:r>
            <a:r>
              <a:rPr lang="pt-BR" dirty="0"/>
              <a:t> et </a:t>
            </a:r>
            <a:r>
              <a:rPr lang="pt-BR" dirty="0" err="1"/>
              <a:t>quasi</a:t>
            </a:r>
            <a:r>
              <a:rPr lang="pt-BR" dirty="0"/>
              <a:t> </a:t>
            </a:r>
            <a:r>
              <a:rPr lang="pt-BR" dirty="0" err="1"/>
              <a:t>architecto</a:t>
            </a:r>
            <a:r>
              <a:rPr lang="pt-BR" dirty="0"/>
              <a:t> </a:t>
            </a:r>
            <a:r>
              <a:rPr lang="pt-BR" dirty="0" err="1"/>
              <a:t>beatae</a:t>
            </a:r>
            <a:r>
              <a:rPr lang="pt-BR" dirty="0"/>
              <a:t> vitae </a:t>
            </a:r>
            <a:r>
              <a:rPr lang="pt-BR" dirty="0" err="1"/>
              <a:t>dicta</a:t>
            </a:r>
            <a:r>
              <a:rPr lang="pt-BR" dirty="0"/>
              <a:t> sunt </a:t>
            </a:r>
            <a:r>
              <a:rPr lang="pt-BR" dirty="0" err="1"/>
              <a:t>explicabo</a:t>
            </a:r>
            <a:endParaRPr lang="pt-BR" dirty="0"/>
          </a:p>
        </p:txBody>
      </p:sp>
      <p:sp>
        <p:nvSpPr>
          <p:cNvPr id="8" name="Espaço Reservado para Texto 7">
            <a:extLst>
              <a:ext uri="{FF2B5EF4-FFF2-40B4-BE49-F238E27FC236}">
                <a16:creationId xmlns:a16="http://schemas.microsoft.com/office/drawing/2014/main" id="{B204F4E7-1F49-4FB0-A070-AF90945676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pt-BR" dirty="0" err="1"/>
              <a:t>Sed</a:t>
            </a:r>
            <a:r>
              <a:rPr lang="pt-BR" dirty="0"/>
              <a:t> ut </a:t>
            </a:r>
            <a:r>
              <a:rPr lang="pt-BR" dirty="0" err="1"/>
              <a:t>perspiciatis</a:t>
            </a:r>
            <a:r>
              <a:rPr lang="pt-BR" dirty="0"/>
              <a:t> </a:t>
            </a:r>
            <a:r>
              <a:rPr lang="pt-BR" dirty="0" err="1"/>
              <a:t>unde</a:t>
            </a:r>
            <a:r>
              <a:rPr lang="pt-BR" dirty="0"/>
              <a:t> omnis </a:t>
            </a:r>
            <a:r>
              <a:rPr lang="pt-BR" dirty="0" err="1"/>
              <a:t>iste</a:t>
            </a:r>
            <a:r>
              <a:rPr lang="pt-BR" dirty="0"/>
              <a:t> </a:t>
            </a:r>
            <a:r>
              <a:rPr lang="pt-BR" dirty="0" err="1"/>
              <a:t>natus</a:t>
            </a:r>
            <a:r>
              <a:rPr lang="pt-BR" dirty="0"/>
              <a:t> </a:t>
            </a:r>
            <a:r>
              <a:rPr lang="pt-BR" dirty="0" err="1"/>
              <a:t>err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accusantium</a:t>
            </a:r>
            <a:r>
              <a:rPr lang="pt-BR" dirty="0"/>
              <a:t> </a:t>
            </a:r>
            <a:r>
              <a:rPr lang="pt-BR" dirty="0" err="1"/>
              <a:t>doloremque</a:t>
            </a:r>
            <a:r>
              <a:rPr lang="pt-BR" dirty="0"/>
              <a:t> </a:t>
            </a:r>
            <a:r>
              <a:rPr lang="pt-BR" dirty="0" err="1"/>
              <a:t>laudantium</a:t>
            </a:r>
            <a:r>
              <a:rPr lang="pt-BR" dirty="0"/>
              <a:t>, </a:t>
            </a:r>
            <a:r>
              <a:rPr lang="pt-BR" dirty="0" err="1"/>
              <a:t>totam</a:t>
            </a:r>
            <a:r>
              <a:rPr lang="pt-BR" dirty="0"/>
              <a:t> rem </a:t>
            </a:r>
            <a:r>
              <a:rPr lang="pt-BR" dirty="0" err="1"/>
              <a:t>aperiam</a:t>
            </a:r>
            <a:r>
              <a:rPr lang="pt-BR" dirty="0"/>
              <a:t>, </a:t>
            </a:r>
            <a:r>
              <a:rPr lang="pt-BR" dirty="0" err="1"/>
              <a:t>eaque</a:t>
            </a:r>
            <a:r>
              <a:rPr lang="pt-BR" dirty="0"/>
              <a:t> </a:t>
            </a:r>
            <a:r>
              <a:rPr lang="pt-BR" dirty="0" err="1"/>
              <a:t>ipsa</a:t>
            </a:r>
            <a:r>
              <a:rPr lang="pt-BR" dirty="0"/>
              <a:t> </a:t>
            </a:r>
            <a:r>
              <a:rPr lang="pt-BR" dirty="0" err="1"/>
              <a:t>quae</a:t>
            </a:r>
            <a:r>
              <a:rPr lang="pt-BR" dirty="0"/>
              <a:t> </a:t>
            </a:r>
            <a:r>
              <a:rPr lang="pt-BR" dirty="0" err="1"/>
              <a:t>ab</a:t>
            </a:r>
            <a:r>
              <a:rPr lang="pt-BR" dirty="0"/>
              <a:t> </a:t>
            </a:r>
            <a:r>
              <a:rPr lang="pt-BR" dirty="0" err="1"/>
              <a:t>illo</a:t>
            </a:r>
            <a:r>
              <a:rPr lang="pt-BR" dirty="0"/>
              <a:t> </a:t>
            </a:r>
            <a:r>
              <a:rPr lang="pt-BR" dirty="0" err="1"/>
              <a:t>inventore</a:t>
            </a:r>
            <a:r>
              <a:rPr lang="pt-BR" dirty="0"/>
              <a:t> </a:t>
            </a:r>
            <a:r>
              <a:rPr lang="pt-BR" dirty="0" err="1"/>
              <a:t>veritatis</a:t>
            </a:r>
            <a:r>
              <a:rPr lang="pt-BR" dirty="0"/>
              <a:t> et </a:t>
            </a:r>
            <a:r>
              <a:rPr lang="pt-BR" dirty="0" err="1"/>
              <a:t>quasi</a:t>
            </a:r>
            <a:r>
              <a:rPr lang="pt-BR" dirty="0"/>
              <a:t> </a:t>
            </a:r>
            <a:r>
              <a:rPr lang="pt-BR" dirty="0" err="1"/>
              <a:t>architecto</a:t>
            </a:r>
            <a:r>
              <a:rPr lang="pt-BR" dirty="0"/>
              <a:t> </a:t>
            </a:r>
            <a:r>
              <a:rPr lang="pt-BR" dirty="0" err="1"/>
              <a:t>beatae</a:t>
            </a:r>
            <a:r>
              <a:rPr lang="pt-BR" dirty="0"/>
              <a:t> vitae </a:t>
            </a:r>
            <a:r>
              <a:rPr lang="pt-BR" dirty="0" err="1"/>
              <a:t>dicta</a:t>
            </a:r>
            <a:r>
              <a:rPr lang="pt-BR" dirty="0"/>
              <a:t> sunt </a:t>
            </a:r>
            <a:r>
              <a:rPr lang="pt-BR" dirty="0" err="1"/>
              <a:t>explicabo</a:t>
            </a:r>
            <a:r>
              <a:rPr lang="pt-BR" dirty="0"/>
              <a:t>. Nemo </a:t>
            </a:r>
            <a:r>
              <a:rPr lang="pt-BR" dirty="0" err="1"/>
              <a:t>enim</a:t>
            </a:r>
            <a:r>
              <a:rPr lang="pt-BR" dirty="0"/>
              <a:t> </a:t>
            </a:r>
            <a:r>
              <a:rPr lang="pt-BR" dirty="0" err="1"/>
              <a:t>ipsam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quia</a:t>
            </a:r>
            <a:r>
              <a:rPr lang="pt-BR" dirty="0"/>
              <a:t> </a:t>
            </a:r>
            <a:r>
              <a:rPr lang="pt-BR" dirty="0" err="1"/>
              <a:t>voluptas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aspernatur</a:t>
            </a:r>
            <a:r>
              <a:rPr lang="pt-BR" dirty="0"/>
              <a:t> </a:t>
            </a:r>
            <a:r>
              <a:rPr lang="pt-BR" dirty="0" err="1"/>
              <a:t>aut</a:t>
            </a:r>
            <a:r>
              <a:rPr lang="pt-BR" dirty="0"/>
              <a:t> </a:t>
            </a:r>
            <a:r>
              <a:rPr lang="pt-BR" dirty="0" err="1"/>
              <a:t>odit</a:t>
            </a:r>
            <a:r>
              <a:rPr lang="pt-BR" dirty="0"/>
              <a:t> </a:t>
            </a:r>
            <a:r>
              <a:rPr lang="pt-BR" dirty="0" err="1"/>
              <a:t>aut</a:t>
            </a:r>
            <a:r>
              <a:rPr lang="pt-BR" dirty="0"/>
              <a:t> </a:t>
            </a:r>
            <a:r>
              <a:rPr lang="pt-BR" dirty="0" err="1"/>
              <a:t>fugit</a:t>
            </a:r>
            <a:r>
              <a:rPr lang="pt-BR" dirty="0"/>
              <a:t>, </a:t>
            </a:r>
            <a:r>
              <a:rPr lang="pt-BR" dirty="0" err="1"/>
              <a:t>sed</a:t>
            </a:r>
            <a:r>
              <a:rPr lang="pt-BR" dirty="0"/>
              <a:t> </a:t>
            </a:r>
            <a:r>
              <a:rPr lang="pt-BR" dirty="0" err="1"/>
              <a:t>quia</a:t>
            </a:r>
            <a:r>
              <a:rPr lang="pt-BR" dirty="0"/>
              <a:t> </a:t>
            </a:r>
            <a:r>
              <a:rPr lang="pt-BR" dirty="0" err="1"/>
              <a:t>consequuntur</a:t>
            </a:r>
            <a:r>
              <a:rPr lang="pt-BR" dirty="0"/>
              <a:t> </a:t>
            </a:r>
            <a:r>
              <a:rPr lang="pt-BR" dirty="0" err="1"/>
              <a:t>magni</a:t>
            </a:r>
            <a:r>
              <a:rPr lang="pt-BR" dirty="0"/>
              <a:t> </a:t>
            </a:r>
            <a:r>
              <a:rPr lang="pt-BR" dirty="0" err="1"/>
              <a:t>dolores</a:t>
            </a:r>
            <a:r>
              <a:rPr lang="pt-BR" dirty="0"/>
              <a:t> </a:t>
            </a:r>
            <a:r>
              <a:rPr lang="pt-BR" dirty="0" err="1"/>
              <a:t>eos</a:t>
            </a:r>
            <a:r>
              <a:rPr lang="pt-BR" dirty="0"/>
              <a:t> </a:t>
            </a:r>
            <a:r>
              <a:rPr lang="pt-BR" dirty="0" err="1"/>
              <a:t>qui</a:t>
            </a:r>
            <a:r>
              <a:rPr lang="pt-BR" dirty="0"/>
              <a:t> ratione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sequi</a:t>
            </a:r>
            <a:r>
              <a:rPr lang="pt-BR" dirty="0"/>
              <a:t> </a:t>
            </a:r>
            <a:r>
              <a:rPr lang="pt-BR" dirty="0" err="1"/>
              <a:t>nesciunt</a:t>
            </a:r>
            <a:r>
              <a:rPr lang="pt-BR" dirty="0"/>
              <a:t>. </a:t>
            </a:r>
          </a:p>
          <a:p>
            <a:pPr lvl="1"/>
            <a:r>
              <a:rPr lang="pt-BR" dirty="0"/>
              <a:t>Item 01</a:t>
            </a:r>
          </a:p>
          <a:p>
            <a:pPr lvl="1"/>
            <a:r>
              <a:rPr lang="pt-BR" dirty="0"/>
              <a:t>Item 02</a:t>
            </a:r>
          </a:p>
          <a:p>
            <a:pPr lvl="1"/>
            <a:r>
              <a:rPr lang="pt-BR" dirty="0"/>
              <a:t>Item 03</a:t>
            </a:r>
          </a:p>
          <a:p>
            <a:pPr lvl="1"/>
            <a:r>
              <a:rPr lang="pt-BR" dirty="0"/>
              <a:t>Item 04</a:t>
            </a:r>
          </a:p>
          <a:p>
            <a:endParaRPr lang="pt-BR" dirty="0"/>
          </a:p>
          <a:p>
            <a:r>
              <a:rPr lang="pt-BR" dirty="0" err="1"/>
              <a:t>Sed</a:t>
            </a:r>
            <a:r>
              <a:rPr lang="pt-BR" dirty="0"/>
              <a:t> ut </a:t>
            </a:r>
            <a:r>
              <a:rPr lang="pt-BR" dirty="0" err="1"/>
              <a:t>perspiciatis</a:t>
            </a:r>
            <a:r>
              <a:rPr lang="pt-BR" dirty="0"/>
              <a:t> </a:t>
            </a:r>
            <a:r>
              <a:rPr lang="pt-BR" dirty="0" err="1"/>
              <a:t>unde</a:t>
            </a:r>
            <a:r>
              <a:rPr lang="pt-BR" dirty="0"/>
              <a:t> omnis </a:t>
            </a:r>
            <a:r>
              <a:rPr lang="pt-BR" dirty="0" err="1"/>
              <a:t>iste</a:t>
            </a:r>
            <a:r>
              <a:rPr lang="pt-BR" dirty="0"/>
              <a:t> </a:t>
            </a:r>
            <a:r>
              <a:rPr lang="pt-BR" dirty="0" err="1"/>
              <a:t>natus</a:t>
            </a:r>
            <a:r>
              <a:rPr lang="pt-BR" dirty="0"/>
              <a:t> </a:t>
            </a:r>
            <a:r>
              <a:rPr lang="pt-BR" dirty="0" err="1"/>
              <a:t>err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accusantium</a:t>
            </a:r>
            <a:r>
              <a:rPr lang="pt-BR" dirty="0"/>
              <a:t> </a:t>
            </a:r>
            <a:r>
              <a:rPr lang="pt-BR" dirty="0" err="1"/>
              <a:t>doloremque</a:t>
            </a:r>
            <a:r>
              <a:rPr lang="pt-BR" dirty="0"/>
              <a:t> </a:t>
            </a:r>
            <a:r>
              <a:rPr lang="pt-BR" dirty="0" err="1"/>
              <a:t>laudantium</a:t>
            </a:r>
            <a:r>
              <a:rPr lang="pt-BR" dirty="0"/>
              <a:t>, </a:t>
            </a:r>
            <a:r>
              <a:rPr lang="pt-BR" dirty="0" err="1"/>
              <a:t>totam</a:t>
            </a:r>
            <a:r>
              <a:rPr lang="pt-BR" dirty="0"/>
              <a:t> rem </a:t>
            </a:r>
            <a:r>
              <a:rPr lang="pt-BR" dirty="0" err="1"/>
              <a:t>aperiam</a:t>
            </a:r>
            <a:r>
              <a:rPr lang="pt-BR" dirty="0"/>
              <a:t>, </a:t>
            </a:r>
            <a:r>
              <a:rPr lang="pt-BR" dirty="0" err="1"/>
              <a:t>eaque</a:t>
            </a:r>
            <a:r>
              <a:rPr lang="pt-BR" dirty="0"/>
              <a:t> </a:t>
            </a:r>
            <a:r>
              <a:rPr lang="pt-BR" dirty="0" err="1"/>
              <a:t>ipsa</a:t>
            </a:r>
            <a:r>
              <a:rPr lang="pt-BR" dirty="0"/>
              <a:t> </a:t>
            </a:r>
            <a:r>
              <a:rPr lang="pt-BR" dirty="0" err="1"/>
              <a:t>quae</a:t>
            </a:r>
            <a:r>
              <a:rPr lang="pt-BR" dirty="0"/>
              <a:t> </a:t>
            </a:r>
            <a:r>
              <a:rPr lang="pt-BR" dirty="0" err="1"/>
              <a:t>ab</a:t>
            </a:r>
            <a:r>
              <a:rPr lang="pt-BR" dirty="0"/>
              <a:t> </a:t>
            </a:r>
            <a:r>
              <a:rPr lang="pt-BR" dirty="0" err="1"/>
              <a:t>illo</a:t>
            </a:r>
            <a:r>
              <a:rPr lang="pt-BR" dirty="0"/>
              <a:t> </a:t>
            </a:r>
            <a:r>
              <a:rPr lang="pt-BR" dirty="0" err="1"/>
              <a:t>inventore</a:t>
            </a:r>
            <a:r>
              <a:rPr lang="pt-BR" dirty="0"/>
              <a:t> </a:t>
            </a:r>
            <a:r>
              <a:rPr lang="pt-BR" dirty="0" err="1"/>
              <a:t>veritatis</a:t>
            </a:r>
            <a:r>
              <a:rPr lang="pt-BR" dirty="0"/>
              <a:t> et </a:t>
            </a:r>
            <a:r>
              <a:rPr lang="pt-BR" dirty="0" err="1"/>
              <a:t>quasi</a:t>
            </a:r>
            <a:r>
              <a:rPr lang="pt-BR" dirty="0"/>
              <a:t> </a:t>
            </a:r>
            <a:r>
              <a:rPr lang="pt-BR" dirty="0" err="1"/>
              <a:t>architecto</a:t>
            </a:r>
            <a:r>
              <a:rPr lang="pt-BR" dirty="0"/>
              <a:t> </a:t>
            </a:r>
            <a:r>
              <a:rPr lang="pt-BR" dirty="0" err="1"/>
              <a:t>beatae</a:t>
            </a:r>
            <a:r>
              <a:rPr lang="pt-BR" dirty="0"/>
              <a:t> vitae </a:t>
            </a:r>
            <a:r>
              <a:rPr lang="pt-BR" dirty="0" err="1"/>
              <a:t>dicta</a:t>
            </a:r>
            <a:r>
              <a:rPr lang="pt-BR" dirty="0"/>
              <a:t> sunt </a:t>
            </a:r>
            <a:r>
              <a:rPr lang="pt-BR" dirty="0" err="1"/>
              <a:t>explicabo</a:t>
            </a:r>
            <a:endParaRPr lang="pt-BR" dirty="0"/>
          </a:p>
          <a:p>
            <a:r>
              <a:rPr lang="pt-BR" dirty="0" err="1"/>
              <a:t>Sed</a:t>
            </a:r>
            <a:r>
              <a:rPr lang="pt-BR" dirty="0"/>
              <a:t> ut </a:t>
            </a:r>
            <a:r>
              <a:rPr lang="pt-BR" dirty="0" err="1"/>
              <a:t>perspiciatis</a:t>
            </a:r>
            <a:r>
              <a:rPr lang="pt-BR" dirty="0"/>
              <a:t> </a:t>
            </a:r>
            <a:r>
              <a:rPr lang="pt-BR" dirty="0" err="1"/>
              <a:t>unde</a:t>
            </a:r>
            <a:r>
              <a:rPr lang="pt-BR" dirty="0"/>
              <a:t> omnis </a:t>
            </a:r>
            <a:r>
              <a:rPr lang="pt-BR" dirty="0" err="1"/>
              <a:t>iste</a:t>
            </a:r>
            <a:r>
              <a:rPr lang="pt-BR" dirty="0"/>
              <a:t> </a:t>
            </a:r>
            <a:r>
              <a:rPr lang="pt-BR" dirty="0" err="1"/>
              <a:t>natus</a:t>
            </a:r>
            <a:r>
              <a:rPr lang="pt-BR" dirty="0"/>
              <a:t> </a:t>
            </a:r>
            <a:r>
              <a:rPr lang="pt-BR" dirty="0" err="1"/>
              <a:t>error</a:t>
            </a:r>
            <a:r>
              <a:rPr lang="pt-BR" dirty="0"/>
              <a:t> </a:t>
            </a:r>
            <a:r>
              <a:rPr lang="pt-BR" dirty="0" err="1"/>
              <a:t>sit</a:t>
            </a:r>
            <a:r>
              <a:rPr lang="pt-BR" dirty="0"/>
              <a:t> </a:t>
            </a:r>
            <a:r>
              <a:rPr lang="pt-BR" dirty="0" err="1"/>
              <a:t>voluptatem</a:t>
            </a:r>
            <a:r>
              <a:rPr lang="pt-BR" dirty="0"/>
              <a:t> </a:t>
            </a:r>
            <a:r>
              <a:rPr lang="pt-BR" dirty="0" err="1"/>
              <a:t>accusantium</a:t>
            </a:r>
            <a:r>
              <a:rPr lang="pt-BR" dirty="0"/>
              <a:t> </a:t>
            </a:r>
            <a:r>
              <a:rPr lang="pt-BR" dirty="0" err="1"/>
              <a:t>doloremque</a:t>
            </a:r>
            <a:r>
              <a:rPr lang="pt-BR" dirty="0"/>
              <a:t> </a:t>
            </a:r>
            <a:r>
              <a:rPr lang="pt-BR" dirty="0" err="1"/>
              <a:t>laudantium</a:t>
            </a:r>
            <a:r>
              <a:rPr lang="pt-BR" dirty="0"/>
              <a:t>, </a:t>
            </a:r>
            <a:r>
              <a:rPr lang="pt-BR" dirty="0" err="1"/>
              <a:t>totam</a:t>
            </a:r>
            <a:r>
              <a:rPr lang="pt-BR" dirty="0"/>
              <a:t> rem </a:t>
            </a:r>
            <a:r>
              <a:rPr lang="pt-BR" dirty="0" err="1"/>
              <a:t>aperiam</a:t>
            </a:r>
            <a:r>
              <a:rPr lang="pt-BR" dirty="0"/>
              <a:t>, </a:t>
            </a:r>
            <a:r>
              <a:rPr lang="pt-BR" dirty="0" err="1"/>
              <a:t>eaque</a:t>
            </a:r>
            <a:r>
              <a:rPr lang="pt-BR" dirty="0"/>
              <a:t> </a:t>
            </a:r>
            <a:r>
              <a:rPr lang="pt-BR" dirty="0" err="1"/>
              <a:t>ipsa</a:t>
            </a:r>
            <a:r>
              <a:rPr lang="pt-BR" dirty="0"/>
              <a:t> </a:t>
            </a:r>
            <a:r>
              <a:rPr lang="pt-BR" dirty="0" err="1"/>
              <a:t>quae</a:t>
            </a:r>
            <a:r>
              <a:rPr lang="pt-BR" dirty="0"/>
              <a:t> </a:t>
            </a:r>
            <a:r>
              <a:rPr lang="pt-BR" dirty="0" err="1"/>
              <a:t>ab</a:t>
            </a:r>
            <a:r>
              <a:rPr lang="pt-BR" dirty="0"/>
              <a:t> </a:t>
            </a:r>
            <a:r>
              <a:rPr lang="pt-BR" dirty="0" err="1"/>
              <a:t>illo</a:t>
            </a:r>
            <a:r>
              <a:rPr lang="pt-BR" dirty="0"/>
              <a:t> </a:t>
            </a:r>
            <a:r>
              <a:rPr lang="pt-BR" dirty="0" err="1"/>
              <a:t>inventore</a:t>
            </a:r>
            <a:r>
              <a:rPr lang="pt-BR" dirty="0"/>
              <a:t> </a:t>
            </a:r>
            <a:r>
              <a:rPr lang="pt-BR" dirty="0" err="1"/>
              <a:t>veritatis</a:t>
            </a:r>
            <a:r>
              <a:rPr lang="pt-BR" dirty="0"/>
              <a:t> et </a:t>
            </a:r>
            <a:r>
              <a:rPr lang="pt-BR" dirty="0" err="1"/>
              <a:t>quasi</a:t>
            </a:r>
            <a:r>
              <a:rPr lang="pt-BR" dirty="0"/>
              <a:t> </a:t>
            </a:r>
            <a:r>
              <a:rPr lang="pt-BR" dirty="0" err="1"/>
              <a:t>architecto</a:t>
            </a:r>
            <a:r>
              <a:rPr lang="pt-BR" dirty="0"/>
              <a:t> </a:t>
            </a:r>
            <a:r>
              <a:rPr lang="pt-BR" dirty="0" err="1"/>
              <a:t>beatae</a:t>
            </a:r>
            <a:r>
              <a:rPr lang="pt-BR" dirty="0"/>
              <a:t> vitae </a:t>
            </a:r>
            <a:r>
              <a:rPr lang="pt-BR" dirty="0" err="1"/>
              <a:t>dicta</a:t>
            </a:r>
            <a:r>
              <a:rPr lang="pt-BR" dirty="0"/>
              <a:t> sunt </a:t>
            </a:r>
            <a:r>
              <a:rPr lang="pt-BR" dirty="0" err="1"/>
              <a:t>explicabo</a:t>
            </a:r>
            <a:endParaRPr lang="pt-BR" dirty="0"/>
          </a:p>
          <a:p>
            <a:endParaRPr lang="pt-BR" dirty="0"/>
          </a:p>
        </p:txBody>
      </p:sp>
      <p:sp>
        <p:nvSpPr>
          <p:cNvPr id="9" name="Espaço Reservado para Texto 8">
            <a:extLst>
              <a:ext uri="{FF2B5EF4-FFF2-40B4-BE49-F238E27FC236}">
                <a16:creationId xmlns:a16="http://schemas.microsoft.com/office/drawing/2014/main" id="{EAF211ED-68E2-41BE-8580-30674F7EDAB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pt-BR" dirty="0"/>
              <a:t>Inserir aqui o título da coluna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C66F4092-D964-4A76-A0DF-051EEE9A08C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pt-BR" dirty="0"/>
              <a:t>Inserir aqui o título da coluna</a:t>
            </a:r>
          </a:p>
        </p:txBody>
      </p:sp>
    </p:spTree>
    <p:extLst>
      <p:ext uri="{BB962C8B-B14F-4D97-AF65-F5344CB8AC3E}">
        <p14:creationId xmlns:p14="http://schemas.microsoft.com/office/powerpoint/2010/main" val="218683413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64F09F59-CB26-46FB-A359-7B67CC1AA1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New business development pipelin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97C68798-99AE-4F02-89B7-281B73A8754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err="1"/>
              <a:t>Atlantica</a:t>
            </a:r>
            <a:r>
              <a:rPr lang="en-US" dirty="0"/>
              <a:t> and vert pipeline</a:t>
            </a:r>
          </a:p>
        </p:txBody>
      </p:sp>
      <p:sp>
        <p:nvSpPr>
          <p:cNvPr id="20" name="Espaço Reservado para Texto 19">
            <a:extLst>
              <a:ext uri="{FF2B5EF4-FFF2-40B4-BE49-F238E27FC236}">
                <a16:creationId xmlns:a16="http://schemas.microsoft.com/office/drawing/2014/main" id="{B1568282-2E3C-40B5-ACE3-6A916AE6BA33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98816" y="1033463"/>
            <a:ext cx="4606852" cy="402715"/>
          </a:xfrm>
        </p:spPr>
        <p:txBody>
          <a:bodyPr anchor="ctr">
            <a:normAutofit/>
          </a:bodyPr>
          <a:lstStyle/>
          <a:p>
            <a:pPr marL="0" indent="0" algn="ctr">
              <a:buNone/>
            </a:pPr>
            <a:r>
              <a:rPr lang="pt-BR" sz="1800" b="1" dirty="0">
                <a:solidFill>
                  <a:srgbClr val="11385A"/>
                </a:solidFill>
              </a:rPr>
              <a:t>TOTAL OF PROJECTS = #109</a:t>
            </a:r>
          </a:p>
        </p:txBody>
      </p:sp>
      <p:sp>
        <p:nvSpPr>
          <p:cNvPr id="10" name="Forma Livre: Forma 9">
            <a:extLst>
              <a:ext uri="{FF2B5EF4-FFF2-40B4-BE49-F238E27FC236}">
                <a16:creationId xmlns:a16="http://schemas.microsoft.com/office/drawing/2014/main" id="{2FCBEB82-A7B3-4F89-B7CB-E18952770533}"/>
              </a:ext>
            </a:extLst>
          </p:cNvPr>
          <p:cNvSpPr/>
          <p:nvPr/>
        </p:nvSpPr>
        <p:spPr>
          <a:xfrm>
            <a:off x="726905" y="1454411"/>
            <a:ext cx="4478763" cy="874144"/>
          </a:xfrm>
          <a:custGeom>
            <a:avLst/>
            <a:gdLst>
              <a:gd name="connsiteX0" fmla="*/ 4153414 w 4478763"/>
              <a:gd name="connsiteY0" fmla="*/ 874145 h 874144"/>
              <a:gd name="connsiteX1" fmla="*/ 325349 w 4478763"/>
              <a:gd name="connsiteY1" fmla="*/ 874145 h 874144"/>
              <a:gd name="connsiteX2" fmla="*/ 0 w 4478763"/>
              <a:gd name="connsiteY2" fmla="*/ 0 h 874144"/>
              <a:gd name="connsiteX3" fmla="*/ 4478763 w 4478763"/>
              <a:gd name="connsiteY3" fmla="*/ 0 h 874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78763" h="874144">
                <a:moveTo>
                  <a:pt x="4153414" y="874145"/>
                </a:moveTo>
                <a:lnTo>
                  <a:pt x="325349" y="874145"/>
                </a:lnTo>
                <a:lnTo>
                  <a:pt x="0" y="0"/>
                </a:lnTo>
                <a:lnTo>
                  <a:pt x="4478763" y="0"/>
                </a:lnTo>
                <a:close/>
              </a:path>
            </a:pathLst>
          </a:custGeom>
          <a:solidFill>
            <a:srgbClr val="263143"/>
          </a:solidFill>
          <a:ln w="12270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12" name="Forma Livre: Forma 11">
            <a:extLst>
              <a:ext uri="{FF2B5EF4-FFF2-40B4-BE49-F238E27FC236}">
                <a16:creationId xmlns:a16="http://schemas.microsoft.com/office/drawing/2014/main" id="{8976C0F0-96A1-47EB-BC7D-278DF6A7579C}"/>
              </a:ext>
            </a:extLst>
          </p:cNvPr>
          <p:cNvSpPr/>
          <p:nvPr/>
        </p:nvSpPr>
        <p:spPr>
          <a:xfrm>
            <a:off x="1130828" y="2689509"/>
            <a:ext cx="3688104" cy="872916"/>
          </a:xfrm>
          <a:custGeom>
            <a:avLst/>
            <a:gdLst>
              <a:gd name="connsiteX0" fmla="*/ 3362756 w 3688104"/>
              <a:gd name="connsiteY0" fmla="*/ 872917 h 872916"/>
              <a:gd name="connsiteX1" fmla="*/ 325349 w 3688104"/>
              <a:gd name="connsiteY1" fmla="*/ 872917 h 872916"/>
              <a:gd name="connsiteX2" fmla="*/ 0 w 3688104"/>
              <a:gd name="connsiteY2" fmla="*/ 0 h 872916"/>
              <a:gd name="connsiteX3" fmla="*/ 3688104 w 3688104"/>
              <a:gd name="connsiteY3" fmla="*/ 0 h 872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88104" h="872916">
                <a:moveTo>
                  <a:pt x="3362756" y="872917"/>
                </a:moveTo>
                <a:lnTo>
                  <a:pt x="325349" y="872917"/>
                </a:lnTo>
                <a:lnTo>
                  <a:pt x="0" y="0"/>
                </a:lnTo>
                <a:lnTo>
                  <a:pt x="3688104" y="0"/>
                </a:lnTo>
                <a:close/>
              </a:path>
            </a:pathLst>
          </a:custGeom>
          <a:solidFill>
            <a:srgbClr val="4B6185"/>
          </a:solidFill>
          <a:ln w="12270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14" name="Forma Livre: Forma 13">
            <a:extLst>
              <a:ext uri="{FF2B5EF4-FFF2-40B4-BE49-F238E27FC236}">
                <a16:creationId xmlns:a16="http://schemas.microsoft.com/office/drawing/2014/main" id="{BF640D43-6A96-474F-BEC7-588C6F119933}"/>
              </a:ext>
            </a:extLst>
          </p:cNvPr>
          <p:cNvSpPr/>
          <p:nvPr/>
        </p:nvSpPr>
        <p:spPr>
          <a:xfrm>
            <a:off x="1559306" y="3903735"/>
            <a:ext cx="2877801" cy="872917"/>
          </a:xfrm>
          <a:custGeom>
            <a:avLst/>
            <a:gdLst>
              <a:gd name="connsiteX0" fmla="*/ 2552453 w 2877801"/>
              <a:gd name="connsiteY0" fmla="*/ 872917 h 872917"/>
              <a:gd name="connsiteX1" fmla="*/ 325349 w 2877801"/>
              <a:gd name="connsiteY1" fmla="*/ 872917 h 872917"/>
              <a:gd name="connsiteX2" fmla="*/ 0 w 2877801"/>
              <a:gd name="connsiteY2" fmla="*/ 0 h 872917"/>
              <a:gd name="connsiteX3" fmla="*/ 2877802 w 2877801"/>
              <a:gd name="connsiteY3" fmla="*/ 0 h 872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77801" h="872917">
                <a:moveTo>
                  <a:pt x="2552453" y="872917"/>
                </a:moveTo>
                <a:lnTo>
                  <a:pt x="325349" y="872917"/>
                </a:lnTo>
                <a:lnTo>
                  <a:pt x="0" y="0"/>
                </a:lnTo>
                <a:lnTo>
                  <a:pt x="2877802" y="0"/>
                </a:lnTo>
                <a:close/>
              </a:path>
            </a:pathLst>
          </a:custGeom>
          <a:solidFill>
            <a:srgbClr val="899DBD"/>
          </a:solidFill>
          <a:ln w="12270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16" name="Forma Livre: Forma 15">
            <a:extLst>
              <a:ext uri="{FF2B5EF4-FFF2-40B4-BE49-F238E27FC236}">
                <a16:creationId xmlns:a16="http://schemas.microsoft.com/office/drawing/2014/main" id="{BF6A69B9-92F2-4DE8-8ECA-E889A9ECDA04}"/>
              </a:ext>
            </a:extLst>
          </p:cNvPr>
          <p:cNvSpPr/>
          <p:nvPr/>
        </p:nvSpPr>
        <p:spPr>
          <a:xfrm>
            <a:off x="1962002" y="5124100"/>
            <a:ext cx="2046627" cy="874144"/>
          </a:xfrm>
          <a:custGeom>
            <a:avLst/>
            <a:gdLst>
              <a:gd name="connsiteX0" fmla="*/ 1721279 w 2046627"/>
              <a:gd name="connsiteY0" fmla="*/ 874145 h 874144"/>
              <a:gd name="connsiteX1" fmla="*/ 325349 w 2046627"/>
              <a:gd name="connsiteY1" fmla="*/ 874145 h 874144"/>
              <a:gd name="connsiteX2" fmla="*/ 0 w 2046627"/>
              <a:gd name="connsiteY2" fmla="*/ 0 h 874144"/>
              <a:gd name="connsiteX3" fmla="*/ 2046628 w 2046627"/>
              <a:gd name="connsiteY3" fmla="*/ 0 h 874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46627" h="874144">
                <a:moveTo>
                  <a:pt x="1721279" y="874145"/>
                </a:moveTo>
                <a:lnTo>
                  <a:pt x="325349" y="874145"/>
                </a:lnTo>
                <a:lnTo>
                  <a:pt x="0" y="0"/>
                </a:lnTo>
                <a:lnTo>
                  <a:pt x="2046628" y="0"/>
                </a:lnTo>
                <a:close/>
              </a:path>
            </a:pathLst>
          </a:custGeom>
          <a:solidFill>
            <a:srgbClr val="C6D0E0"/>
          </a:solidFill>
          <a:ln w="12270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23" name="Retângulo 22">
            <a:extLst>
              <a:ext uri="{FF2B5EF4-FFF2-40B4-BE49-F238E27FC236}">
                <a16:creationId xmlns:a16="http://schemas.microsoft.com/office/drawing/2014/main" id="{59B92E53-1DAE-48ED-AD54-9F785E3F2B23}"/>
              </a:ext>
            </a:extLst>
          </p:cNvPr>
          <p:cNvSpPr/>
          <p:nvPr/>
        </p:nvSpPr>
        <p:spPr>
          <a:xfrm>
            <a:off x="5078170" y="1663666"/>
            <a:ext cx="210179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2400" b="1" dirty="0">
                <a:solidFill>
                  <a:srgbClr val="263143"/>
                </a:solidFill>
                <a:latin typeface="Trebuchet MS" panose="020B0603020202020204" pitchFamily="34" charset="0"/>
              </a:rPr>
              <a:t>CONTACT</a:t>
            </a:r>
          </a:p>
        </p:txBody>
      </p:sp>
      <p:sp>
        <p:nvSpPr>
          <p:cNvPr id="25" name="Retângulo 24">
            <a:extLst>
              <a:ext uri="{FF2B5EF4-FFF2-40B4-BE49-F238E27FC236}">
                <a16:creationId xmlns:a16="http://schemas.microsoft.com/office/drawing/2014/main" id="{79B76DA1-9CCD-4168-9BDF-9D3B74462020}"/>
              </a:ext>
            </a:extLst>
          </p:cNvPr>
          <p:cNvSpPr/>
          <p:nvPr/>
        </p:nvSpPr>
        <p:spPr>
          <a:xfrm>
            <a:off x="4836594" y="2869578"/>
            <a:ext cx="258494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2400" b="1" dirty="0">
                <a:solidFill>
                  <a:srgbClr val="263143"/>
                </a:solidFill>
                <a:latin typeface="Trebuchet MS" panose="020B0603020202020204" pitchFamily="34" charset="0"/>
              </a:rPr>
              <a:t>PROPOSAL</a:t>
            </a:r>
          </a:p>
        </p:txBody>
      </p:sp>
      <p:sp>
        <p:nvSpPr>
          <p:cNvPr id="27" name="Retângulo 26">
            <a:extLst>
              <a:ext uri="{FF2B5EF4-FFF2-40B4-BE49-F238E27FC236}">
                <a16:creationId xmlns:a16="http://schemas.microsoft.com/office/drawing/2014/main" id="{081DD048-42E0-4818-AEB2-53BD67EB6A09}"/>
              </a:ext>
            </a:extLst>
          </p:cNvPr>
          <p:cNvSpPr/>
          <p:nvPr/>
        </p:nvSpPr>
        <p:spPr>
          <a:xfrm>
            <a:off x="4720833" y="4109360"/>
            <a:ext cx="281646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2400" b="1" dirty="0">
                <a:solidFill>
                  <a:srgbClr val="263143"/>
                </a:solidFill>
                <a:latin typeface="Trebuchet MS" panose="020B0603020202020204" pitchFamily="34" charset="0"/>
              </a:rPr>
              <a:t>NEGOTIATING</a:t>
            </a:r>
          </a:p>
        </p:txBody>
      </p:sp>
      <p:sp>
        <p:nvSpPr>
          <p:cNvPr id="29" name="Retângulo 28">
            <a:extLst>
              <a:ext uri="{FF2B5EF4-FFF2-40B4-BE49-F238E27FC236}">
                <a16:creationId xmlns:a16="http://schemas.microsoft.com/office/drawing/2014/main" id="{B606E8EC-8C9C-44D3-9D23-ADE3D632A2FC}"/>
              </a:ext>
            </a:extLst>
          </p:cNvPr>
          <p:cNvSpPr/>
          <p:nvPr/>
        </p:nvSpPr>
        <p:spPr>
          <a:xfrm>
            <a:off x="5078170" y="5330339"/>
            <a:ext cx="210179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2400" b="1" dirty="0">
                <a:solidFill>
                  <a:srgbClr val="263143"/>
                </a:solidFill>
                <a:latin typeface="Trebuchet MS" panose="020B0603020202020204" pitchFamily="34" charset="0"/>
              </a:rPr>
              <a:t>MOU</a:t>
            </a:r>
          </a:p>
        </p:txBody>
      </p:sp>
      <p:cxnSp>
        <p:nvCxnSpPr>
          <p:cNvPr id="41" name="Conector reto 40">
            <a:extLst>
              <a:ext uri="{FF2B5EF4-FFF2-40B4-BE49-F238E27FC236}">
                <a16:creationId xmlns:a16="http://schemas.microsoft.com/office/drawing/2014/main" id="{5EF62A3A-B8D1-4FC7-8F45-23CCCB14BF67}"/>
              </a:ext>
            </a:extLst>
          </p:cNvPr>
          <p:cNvCxnSpPr>
            <a:stCxn id="10" idx="0"/>
            <a:endCxn id="10" idx="0"/>
          </p:cNvCxnSpPr>
          <p:nvPr/>
        </p:nvCxnSpPr>
        <p:spPr>
          <a:xfrm>
            <a:off x="4880319" y="2328556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ector reto 42">
            <a:extLst>
              <a:ext uri="{FF2B5EF4-FFF2-40B4-BE49-F238E27FC236}">
                <a16:creationId xmlns:a16="http://schemas.microsoft.com/office/drawing/2014/main" id="{7439F29E-E2C4-4190-8818-A397CAB4B1CE}"/>
              </a:ext>
            </a:extLst>
          </p:cNvPr>
          <p:cNvCxnSpPr>
            <a:cxnSpLocks/>
          </p:cNvCxnSpPr>
          <p:nvPr/>
        </p:nvCxnSpPr>
        <p:spPr>
          <a:xfrm flipV="1">
            <a:off x="4880319" y="2310321"/>
            <a:ext cx="2656978" cy="1"/>
          </a:xfrm>
          <a:prstGeom prst="line">
            <a:avLst/>
          </a:prstGeom>
          <a:ln w="19050">
            <a:solidFill>
              <a:srgbClr val="26314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ector reto 43">
            <a:extLst>
              <a:ext uri="{FF2B5EF4-FFF2-40B4-BE49-F238E27FC236}">
                <a16:creationId xmlns:a16="http://schemas.microsoft.com/office/drawing/2014/main" id="{EB48C2F5-BE56-4CA8-8E75-15ED3D38A662}"/>
              </a:ext>
            </a:extLst>
          </p:cNvPr>
          <p:cNvCxnSpPr>
            <a:cxnSpLocks/>
          </p:cNvCxnSpPr>
          <p:nvPr/>
        </p:nvCxnSpPr>
        <p:spPr>
          <a:xfrm flipV="1">
            <a:off x="4471022" y="3547713"/>
            <a:ext cx="3066275" cy="1"/>
          </a:xfrm>
          <a:prstGeom prst="line">
            <a:avLst/>
          </a:prstGeom>
          <a:ln w="19050">
            <a:solidFill>
              <a:srgbClr val="4B618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ector reto 46">
            <a:extLst>
              <a:ext uri="{FF2B5EF4-FFF2-40B4-BE49-F238E27FC236}">
                <a16:creationId xmlns:a16="http://schemas.microsoft.com/office/drawing/2014/main" id="{352551D3-D012-4EFA-95B8-B426A9211477}"/>
              </a:ext>
            </a:extLst>
          </p:cNvPr>
          <p:cNvCxnSpPr>
            <a:cxnSpLocks/>
          </p:cNvCxnSpPr>
          <p:nvPr/>
        </p:nvCxnSpPr>
        <p:spPr>
          <a:xfrm flipV="1">
            <a:off x="4113685" y="4767943"/>
            <a:ext cx="3423612" cy="1"/>
          </a:xfrm>
          <a:prstGeom prst="line">
            <a:avLst/>
          </a:prstGeom>
          <a:ln w="19050">
            <a:solidFill>
              <a:srgbClr val="AEBCD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ector reto 48">
            <a:extLst>
              <a:ext uri="{FF2B5EF4-FFF2-40B4-BE49-F238E27FC236}">
                <a16:creationId xmlns:a16="http://schemas.microsoft.com/office/drawing/2014/main" id="{7A4CC22E-6D09-464B-B6AD-E12B8E58A913}"/>
              </a:ext>
            </a:extLst>
          </p:cNvPr>
          <p:cNvCxnSpPr>
            <a:cxnSpLocks/>
          </p:cNvCxnSpPr>
          <p:nvPr/>
        </p:nvCxnSpPr>
        <p:spPr>
          <a:xfrm flipV="1">
            <a:off x="3643422" y="5990880"/>
            <a:ext cx="3893875" cy="1"/>
          </a:xfrm>
          <a:prstGeom prst="line">
            <a:avLst/>
          </a:prstGeom>
          <a:ln w="19050">
            <a:solidFill>
              <a:srgbClr val="C6D0E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Agrupar 55">
            <a:extLst>
              <a:ext uri="{FF2B5EF4-FFF2-40B4-BE49-F238E27FC236}">
                <a16:creationId xmlns:a16="http://schemas.microsoft.com/office/drawing/2014/main" id="{D9426D7D-246D-4815-9D00-7D7E5F6A86A7}"/>
              </a:ext>
            </a:extLst>
          </p:cNvPr>
          <p:cNvGrpSpPr/>
          <p:nvPr/>
        </p:nvGrpSpPr>
        <p:grpSpPr>
          <a:xfrm>
            <a:off x="7517401" y="1458882"/>
            <a:ext cx="3842919" cy="866679"/>
            <a:chOff x="7622176" y="1381317"/>
            <a:chExt cx="3842919" cy="866679"/>
          </a:xfrm>
        </p:grpSpPr>
        <p:cxnSp>
          <p:nvCxnSpPr>
            <p:cNvPr id="52" name="Conector reto 51">
              <a:extLst>
                <a:ext uri="{FF2B5EF4-FFF2-40B4-BE49-F238E27FC236}">
                  <a16:creationId xmlns:a16="http://schemas.microsoft.com/office/drawing/2014/main" id="{3F60CAC7-3DE2-497D-8AA8-E7003DE92D3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622176" y="1381317"/>
              <a:ext cx="327389" cy="866679"/>
            </a:xfrm>
            <a:prstGeom prst="line">
              <a:avLst/>
            </a:prstGeom>
            <a:ln w="38100">
              <a:solidFill>
                <a:srgbClr val="26314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Conector reto 53">
              <a:extLst>
                <a:ext uri="{FF2B5EF4-FFF2-40B4-BE49-F238E27FC236}">
                  <a16:creationId xmlns:a16="http://schemas.microsoft.com/office/drawing/2014/main" id="{EEA6FB25-8C8A-4237-89EF-A955B8A8510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622176" y="2232757"/>
              <a:ext cx="3842919" cy="1"/>
            </a:xfrm>
            <a:prstGeom prst="line">
              <a:avLst/>
            </a:prstGeom>
            <a:ln w="38100">
              <a:solidFill>
                <a:srgbClr val="26314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7" name="Agrupar 56">
            <a:extLst>
              <a:ext uri="{FF2B5EF4-FFF2-40B4-BE49-F238E27FC236}">
                <a16:creationId xmlns:a16="http://schemas.microsoft.com/office/drawing/2014/main" id="{3B3F7D83-A1DE-40B5-B9F3-D899ABC77E03}"/>
              </a:ext>
            </a:extLst>
          </p:cNvPr>
          <p:cNvGrpSpPr/>
          <p:nvPr/>
        </p:nvGrpSpPr>
        <p:grpSpPr>
          <a:xfrm>
            <a:off x="7517401" y="2685702"/>
            <a:ext cx="3842919" cy="866679"/>
            <a:chOff x="7622176" y="1381317"/>
            <a:chExt cx="3842919" cy="866679"/>
          </a:xfrm>
        </p:grpSpPr>
        <p:cxnSp>
          <p:nvCxnSpPr>
            <p:cNvPr id="58" name="Conector reto 57">
              <a:extLst>
                <a:ext uri="{FF2B5EF4-FFF2-40B4-BE49-F238E27FC236}">
                  <a16:creationId xmlns:a16="http://schemas.microsoft.com/office/drawing/2014/main" id="{2AF1F4C0-DC53-475B-80EC-301F9006A5D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622176" y="1381317"/>
              <a:ext cx="327389" cy="866679"/>
            </a:xfrm>
            <a:prstGeom prst="line">
              <a:avLst/>
            </a:prstGeom>
            <a:ln w="38100">
              <a:solidFill>
                <a:srgbClr val="4B618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Conector reto 58">
              <a:extLst>
                <a:ext uri="{FF2B5EF4-FFF2-40B4-BE49-F238E27FC236}">
                  <a16:creationId xmlns:a16="http://schemas.microsoft.com/office/drawing/2014/main" id="{5BFFF3A1-087A-4C9F-831D-7FBB76A58B4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622176" y="2232757"/>
              <a:ext cx="3842919" cy="1"/>
            </a:xfrm>
            <a:prstGeom prst="line">
              <a:avLst/>
            </a:prstGeom>
            <a:ln w="38100">
              <a:solidFill>
                <a:srgbClr val="4B618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0" name="Agrupar 59">
            <a:extLst>
              <a:ext uri="{FF2B5EF4-FFF2-40B4-BE49-F238E27FC236}">
                <a16:creationId xmlns:a16="http://schemas.microsoft.com/office/drawing/2014/main" id="{05FFFC1C-BB32-4080-83BB-E5A3D14AC739}"/>
              </a:ext>
            </a:extLst>
          </p:cNvPr>
          <p:cNvGrpSpPr/>
          <p:nvPr/>
        </p:nvGrpSpPr>
        <p:grpSpPr>
          <a:xfrm>
            <a:off x="7517401" y="3899187"/>
            <a:ext cx="3842919" cy="866679"/>
            <a:chOff x="7622176" y="1381317"/>
            <a:chExt cx="3842919" cy="866679"/>
          </a:xfrm>
        </p:grpSpPr>
        <p:cxnSp>
          <p:nvCxnSpPr>
            <p:cNvPr id="61" name="Conector reto 60">
              <a:extLst>
                <a:ext uri="{FF2B5EF4-FFF2-40B4-BE49-F238E27FC236}">
                  <a16:creationId xmlns:a16="http://schemas.microsoft.com/office/drawing/2014/main" id="{FE17CC27-3AED-4A33-892B-B4D25AEB14E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622176" y="1381317"/>
              <a:ext cx="327389" cy="866679"/>
            </a:xfrm>
            <a:prstGeom prst="line">
              <a:avLst/>
            </a:prstGeom>
            <a:ln w="38100">
              <a:solidFill>
                <a:srgbClr val="899DB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Conector reto 61">
              <a:extLst>
                <a:ext uri="{FF2B5EF4-FFF2-40B4-BE49-F238E27FC236}">
                  <a16:creationId xmlns:a16="http://schemas.microsoft.com/office/drawing/2014/main" id="{8E20C820-2018-4177-B08F-BA85CADD8A1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622176" y="2232757"/>
              <a:ext cx="3842919" cy="1"/>
            </a:xfrm>
            <a:prstGeom prst="line">
              <a:avLst/>
            </a:prstGeom>
            <a:ln w="38100">
              <a:solidFill>
                <a:srgbClr val="899DB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3" name="Agrupar 62">
            <a:extLst>
              <a:ext uri="{FF2B5EF4-FFF2-40B4-BE49-F238E27FC236}">
                <a16:creationId xmlns:a16="http://schemas.microsoft.com/office/drawing/2014/main" id="{8E555B09-7C94-4C70-9E92-AAA8770FA68A}"/>
              </a:ext>
            </a:extLst>
          </p:cNvPr>
          <p:cNvGrpSpPr/>
          <p:nvPr/>
        </p:nvGrpSpPr>
        <p:grpSpPr>
          <a:xfrm>
            <a:off x="7517401" y="5118387"/>
            <a:ext cx="3842919" cy="866679"/>
            <a:chOff x="7622176" y="1381317"/>
            <a:chExt cx="3842919" cy="866679"/>
          </a:xfrm>
        </p:grpSpPr>
        <p:cxnSp>
          <p:nvCxnSpPr>
            <p:cNvPr id="64" name="Conector reto 63">
              <a:extLst>
                <a:ext uri="{FF2B5EF4-FFF2-40B4-BE49-F238E27FC236}">
                  <a16:creationId xmlns:a16="http://schemas.microsoft.com/office/drawing/2014/main" id="{A67E1397-6AEB-4D5E-99CB-57F82445D6B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622176" y="1381317"/>
              <a:ext cx="327389" cy="866679"/>
            </a:xfrm>
            <a:prstGeom prst="line">
              <a:avLst/>
            </a:prstGeom>
            <a:ln w="38100">
              <a:solidFill>
                <a:srgbClr val="C6D0E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Conector reto 64">
              <a:extLst>
                <a:ext uri="{FF2B5EF4-FFF2-40B4-BE49-F238E27FC236}">
                  <a16:creationId xmlns:a16="http://schemas.microsoft.com/office/drawing/2014/main" id="{0414B0A3-D2EF-439C-8981-B8B4F6C68F9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622176" y="2232757"/>
              <a:ext cx="3842919" cy="1"/>
            </a:xfrm>
            <a:prstGeom prst="line">
              <a:avLst/>
            </a:prstGeom>
            <a:ln w="38100">
              <a:solidFill>
                <a:srgbClr val="C6D0E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tângulo 65">
            <a:extLst>
              <a:ext uri="{FF2B5EF4-FFF2-40B4-BE49-F238E27FC236}">
                <a16:creationId xmlns:a16="http://schemas.microsoft.com/office/drawing/2014/main" id="{EDEEC673-7997-4528-A0AE-975789F85C1F}"/>
              </a:ext>
            </a:extLst>
          </p:cNvPr>
          <p:cNvSpPr/>
          <p:nvPr/>
        </p:nvSpPr>
        <p:spPr>
          <a:xfrm>
            <a:off x="8535745" y="1654141"/>
            <a:ext cx="210179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2400" b="1" dirty="0">
                <a:solidFill>
                  <a:srgbClr val="263143"/>
                </a:solidFill>
                <a:latin typeface="Trebuchet MS" panose="020B0603020202020204" pitchFamily="34" charset="0"/>
              </a:rPr>
              <a:t>50</a:t>
            </a:r>
          </a:p>
        </p:txBody>
      </p:sp>
      <p:sp>
        <p:nvSpPr>
          <p:cNvPr id="67" name="Retângulo 66">
            <a:extLst>
              <a:ext uri="{FF2B5EF4-FFF2-40B4-BE49-F238E27FC236}">
                <a16:creationId xmlns:a16="http://schemas.microsoft.com/office/drawing/2014/main" id="{5C721BC8-C4AE-4A2E-9627-12F5951BF829}"/>
              </a:ext>
            </a:extLst>
          </p:cNvPr>
          <p:cNvSpPr/>
          <p:nvPr/>
        </p:nvSpPr>
        <p:spPr>
          <a:xfrm>
            <a:off x="8294169" y="2860053"/>
            <a:ext cx="258494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2400" b="1" dirty="0">
                <a:solidFill>
                  <a:srgbClr val="263143"/>
                </a:solidFill>
                <a:latin typeface="Trebuchet MS" panose="020B0603020202020204" pitchFamily="34" charset="0"/>
              </a:rPr>
              <a:t>39</a:t>
            </a:r>
          </a:p>
        </p:txBody>
      </p:sp>
      <p:sp>
        <p:nvSpPr>
          <p:cNvPr id="68" name="Retângulo 67">
            <a:extLst>
              <a:ext uri="{FF2B5EF4-FFF2-40B4-BE49-F238E27FC236}">
                <a16:creationId xmlns:a16="http://schemas.microsoft.com/office/drawing/2014/main" id="{15C2B117-DE3F-42A1-B41C-D55D71ED87E6}"/>
              </a:ext>
            </a:extLst>
          </p:cNvPr>
          <p:cNvSpPr/>
          <p:nvPr/>
        </p:nvSpPr>
        <p:spPr>
          <a:xfrm>
            <a:off x="8178408" y="4109360"/>
            <a:ext cx="281646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2400" b="1" dirty="0">
                <a:solidFill>
                  <a:srgbClr val="263143"/>
                </a:solidFill>
                <a:latin typeface="Trebuchet MS" panose="020B0603020202020204" pitchFamily="34" charset="0"/>
              </a:rPr>
              <a:t>12</a:t>
            </a:r>
          </a:p>
        </p:txBody>
      </p:sp>
      <p:sp>
        <p:nvSpPr>
          <p:cNvPr id="69" name="Retângulo 68">
            <a:extLst>
              <a:ext uri="{FF2B5EF4-FFF2-40B4-BE49-F238E27FC236}">
                <a16:creationId xmlns:a16="http://schemas.microsoft.com/office/drawing/2014/main" id="{C11CA18A-2003-48D5-8A6D-4E85D2D4973C}"/>
              </a:ext>
            </a:extLst>
          </p:cNvPr>
          <p:cNvSpPr/>
          <p:nvPr/>
        </p:nvSpPr>
        <p:spPr>
          <a:xfrm>
            <a:off x="8535745" y="5330339"/>
            <a:ext cx="210179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2400" b="1" dirty="0">
                <a:solidFill>
                  <a:srgbClr val="263143"/>
                </a:solidFill>
                <a:latin typeface="Trebuchet MS" panose="020B0603020202020204" pitchFamily="34" charset="0"/>
              </a:rPr>
              <a:t>08</a:t>
            </a:r>
          </a:p>
        </p:txBody>
      </p:sp>
      <p:grpSp>
        <p:nvGrpSpPr>
          <p:cNvPr id="70" name="Gráfico 37">
            <a:extLst>
              <a:ext uri="{FF2B5EF4-FFF2-40B4-BE49-F238E27FC236}">
                <a16:creationId xmlns:a16="http://schemas.microsoft.com/office/drawing/2014/main" id="{9BFA39C4-8951-42CA-A448-42B51CF68A17}"/>
              </a:ext>
            </a:extLst>
          </p:cNvPr>
          <p:cNvGrpSpPr/>
          <p:nvPr/>
        </p:nvGrpSpPr>
        <p:grpSpPr>
          <a:xfrm>
            <a:off x="2624090" y="1539317"/>
            <a:ext cx="691081" cy="691312"/>
            <a:chOff x="4267438" y="1600167"/>
            <a:chExt cx="3657361" cy="3658585"/>
          </a:xfrm>
          <a:solidFill>
            <a:schemeClr val="bg1"/>
          </a:solidFill>
        </p:grpSpPr>
        <p:sp>
          <p:nvSpPr>
            <p:cNvPr id="71" name="Forma Livre: Forma 70">
              <a:extLst>
                <a:ext uri="{FF2B5EF4-FFF2-40B4-BE49-F238E27FC236}">
                  <a16:creationId xmlns:a16="http://schemas.microsoft.com/office/drawing/2014/main" id="{C92B41A3-E9D8-41AB-9C7A-41979AA05D9A}"/>
                </a:ext>
              </a:extLst>
            </p:cNvPr>
            <p:cNvSpPr/>
            <p:nvPr/>
          </p:nvSpPr>
          <p:spPr>
            <a:xfrm>
              <a:off x="4267438" y="1600167"/>
              <a:ext cx="3657361" cy="3658585"/>
            </a:xfrm>
            <a:custGeom>
              <a:avLst/>
              <a:gdLst>
                <a:gd name="connsiteX0" fmla="*/ 3413522 w 3657361"/>
                <a:gd name="connsiteY0" fmla="*/ 609633 h 3658585"/>
                <a:gd name="connsiteX1" fmla="*/ 1249442 w 3657361"/>
                <a:gd name="connsiteY1" fmla="*/ 609633 h 3658585"/>
                <a:gd name="connsiteX2" fmla="*/ 1109424 w 3657361"/>
                <a:gd name="connsiteY2" fmla="*/ 145765 h 3658585"/>
                <a:gd name="connsiteX3" fmla="*/ 854154 w 3657361"/>
                <a:gd name="connsiteY3" fmla="*/ 8605 h 3658585"/>
                <a:gd name="connsiteX4" fmla="*/ 543639 w 3657361"/>
                <a:gd name="connsiteY4" fmla="*/ 100045 h 3658585"/>
                <a:gd name="connsiteX5" fmla="*/ 453152 w 3657361"/>
                <a:gd name="connsiteY5" fmla="*/ 154338 h 3658585"/>
                <a:gd name="connsiteX6" fmla="*/ 103584 w 3657361"/>
                <a:gd name="connsiteY6" fmla="*/ 516288 h 3658585"/>
                <a:gd name="connsiteX7" fmla="*/ 51197 w 3657361"/>
                <a:gd name="connsiteY7" fmla="*/ 615348 h 3658585"/>
                <a:gd name="connsiteX8" fmla="*/ 150257 w 3657361"/>
                <a:gd name="connsiteY8" fmla="*/ 2148873 h 3658585"/>
                <a:gd name="connsiteX9" fmla="*/ 917972 w 3657361"/>
                <a:gd name="connsiteY9" fmla="*/ 3485231 h 3658585"/>
                <a:gd name="connsiteX10" fmla="*/ 1016079 w 3657361"/>
                <a:gd name="connsiteY10" fmla="*/ 3539523 h 3658585"/>
                <a:gd name="connsiteX11" fmla="*/ 1509474 w 3657361"/>
                <a:gd name="connsiteY11" fmla="*/ 3652871 h 3658585"/>
                <a:gd name="connsiteX12" fmla="*/ 1556147 w 3657361"/>
                <a:gd name="connsiteY12" fmla="*/ 3658586 h 3658585"/>
                <a:gd name="connsiteX13" fmla="*/ 1615202 w 3657361"/>
                <a:gd name="connsiteY13" fmla="*/ 3650013 h 3658585"/>
                <a:gd name="connsiteX14" fmla="*/ 1786652 w 3657361"/>
                <a:gd name="connsiteY14" fmla="*/ 3599531 h 3658585"/>
                <a:gd name="connsiteX15" fmla="*/ 1924764 w 3657361"/>
                <a:gd name="connsiteY15" fmla="*/ 3558573 h 3658585"/>
                <a:gd name="connsiteX16" fmla="*/ 2047637 w 3657361"/>
                <a:gd name="connsiteY16" fmla="*/ 3459513 h 3658585"/>
                <a:gd name="connsiteX17" fmla="*/ 2063829 w 3657361"/>
                <a:gd name="connsiteY17" fmla="*/ 3304256 h 3658585"/>
                <a:gd name="connsiteX18" fmla="*/ 1986677 w 3657361"/>
                <a:gd name="connsiteY18" fmla="*/ 3048986 h 3658585"/>
                <a:gd name="connsiteX19" fmla="*/ 3413522 w 3657361"/>
                <a:gd name="connsiteY19" fmla="*/ 3048986 h 3658585"/>
                <a:gd name="connsiteX20" fmla="*/ 3657362 w 3657361"/>
                <a:gd name="connsiteY20" fmla="*/ 2805146 h 3658585"/>
                <a:gd name="connsiteX21" fmla="*/ 3657362 w 3657361"/>
                <a:gd name="connsiteY21" fmla="*/ 853473 h 3658585"/>
                <a:gd name="connsiteX22" fmla="*/ 3413522 w 3657361"/>
                <a:gd name="connsiteY22" fmla="*/ 609633 h 3658585"/>
                <a:gd name="connsiteX23" fmla="*/ 3413522 w 3657361"/>
                <a:gd name="connsiteY23" fmla="*/ 609633 h 3658585"/>
                <a:gd name="connsiteX24" fmla="*/ 2453402 w 3657361"/>
                <a:gd name="connsiteY24" fmla="*/ 1810736 h 3658585"/>
                <a:gd name="connsiteX25" fmla="*/ 3527822 w 3657361"/>
                <a:gd name="connsiteY25" fmla="*/ 812516 h 3658585"/>
                <a:gd name="connsiteX26" fmla="*/ 3535442 w 3657361"/>
                <a:gd name="connsiteY26" fmla="*/ 853473 h 3658585"/>
                <a:gd name="connsiteX27" fmla="*/ 3535442 w 3657361"/>
                <a:gd name="connsiteY27" fmla="*/ 2804193 h 3658585"/>
                <a:gd name="connsiteX28" fmla="*/ 3528774 w 3657361"/>
                <a:gd name="connsiteY28" fmla="*/ 2842293 h 3658585"/>
                <a:gd name="connsiteX29" fmla="*/ 2453402 w 3657361"/>
                <a:gd name="connsiteY29" fmla="*/ 1810736 h 3658585"/>
                <a:gd name="connsiteX30" fmla="*/ 3413522 w 3657361"/>
                <a:gd name="connsiteY30" fmla="*/ 731553 h 3658585"/>
                <a:gd name="connsiteX31" fmla="*/ 3434477 w 3657361"/>
                <a:gd name="connsiteY31" fmla="*/ 733458 h 3658585"/>
                <a:gd name="connsiteX32" fmla="*/ 2158127 w 3657361"/>
                <a:gd name="connsiteY32" fmla="*/ 1918368 h 3658585"/>
                <a:gd name="connsiteX33" fmla="*/ 1992392 w 3657361"/>
                <a:gd name="connsiteY33" fmla="*/ 1918368 h 3658585"/>
                <a:gd name="connsiteX34" fmla="*/ 1114187 w 3657361"/>
                <a:gd name="connsiteY34" fmla="*/ 1105886 h 3658585"/>
                <a:gd name="connsiteX35" fmla="*/ 1178957 w 3657361"/>
                <a:gd name="connsiteY35" fmla="*/ 1086836 h 3658585"/>
                <a:gd name="connsiteX36" fmla="*/ 1301829 w 3657361"/>
                <a:gd name="connsiteY36" fmla="*/ 987775 h 3658585"/>
                <a:gd name="connsiteX37" fmla="*/ 1317069 w 3657361"/>
                <a:gd name="connsiteY37" fmla="*/ 832518 h 3658585"/>
                <a:gd name="connsiteX38" fmla="*/ 1286589 w 3657361"/>
                <a:gd name="connsiteY38" fmla="*/ 731553 h 3658585"/>
                <a:gd name="connsiteX39" fmla="*/ 3413522 w 3657361"/>
                <a:gd name="connsiteY39" fmla="*/ 731553 h 3658585"/>
                <a:gd name="connsiteX40" fmla="*/ 958929 w 3657361"/>
                <a:gd name="connsiteY40" fmla="*/ 2513681 h 3658585"/>
                <a:gd name="connsiteX41" fmla="*/ 683657 w 3657361"/>
                <a:gd name="connsiteY41" fmla="*/ 1990758 h 3658585"/>
                <a:gd name="connsiteX42" fmla="*/ 652224 w 3657361"/>
                <a:gd name="connsiteY42" fmla="*/ 1245903 h 3658585"/>
                <a:gd name="connsiteX43" fmla="*/ 659844 w 3657361"/>
                <a:gd name="connsiteY43" fmla="*/ 1239236 h 3658585"/>
                <a:gd name="connsiteX44" fmla="*/ 977027 w 3657361"/>
                <a:gd name="connsiteY44" fmla="*/ 1145891 h 3658585"/>
                <a:gd name="connsiteX45" fmla="*/ 1693307 w 3657361"/>
                <a:gd name="connsiteY45" fmla="*/ 1808830 h 3658585"/>
                <a:gd name="connsiteX46" fmla="*/ 958929 w 3657361"/>
                <a:gd name="connsiteY46" fmla="*/ 2513681 h 3658585"/>
                <a:gd name="connsiteX47" fmla="*/ 1940004 w 3657361"/>
                <a:gd name="connsiteY47" fmla="*/ 3400458 h 3658585"/>
                <a:gd name="connsiteX48" fmla="*/ 1889522 w 3657361"/>
                <a:gd name="connsiteY48" fmla="*/ 3440463 h 3658585"/>
                <a:gd name="connsiteX49" fmla="*/ 1808559 w 3657361"/>
                <a:gd name="connsiteY49" fmla="*/ 3464276 h 3658585"/>
                <a:gd name="connsiteX50" fmla="*/ 1659969 w 3657361"/>
                <a:gd name="connsiteY50" fmla="*/ 2972786 h 3658585"/>
                <a:gd name="connsiteX51" fmla="*/ 1615202 w 3657361"/>
                <a:gd name="connsiteY51" fmla="*/ 2929923 h 3658585"/>
                <a:gd name="connsiteX52" fmla="*/ 1556147 w 3657361"/>
                <a:gd name="connsiteY52" fmla="*/ 2948021 h 3658585"/>
                <a:gd name="connsiteX53" fmla="*/ 1542812 w 3657361"/>
                <a:gd name="connsiteY53" fmla="*/ 3008028 h 3658585"/>
                <a:gd name="connsiteX54" fmla="*/ 1691402 w 3657361"/>
                <a:gd name="connsiteY54" fmla="*/ 3498565 h 3658585"/>
                <a:gd name="connsiteX55" fmla="*/ 1579007 w 3657361"/>
                <a:gd name="connsiteY55" fmla="*/ 3531903 h 3658585"/>
                <a:gd name="connsiteX56" fmla="*/ 1535192 w 3657361"/>
                <a:gd name="connsiteY56" fmla="*/ 3532856 h 3658585"/>
                <a:gd name="connsiteX57" fmla="*/ 1043702 w 3657361"/>
                <a:gd name="connsiteY57" fmla="*/ 3419508 h 3658585"/>
                <a:gd name="connsiteX58" fmla="*/ 1002744 w 3657361"/>
                <a:gd name="connsiteY58" fmla="*/ 3397601 h 3658585"/>
                <a:gd name="connsiteX59" fmla="*/ 267414 w 3657361"/>
                <a:gd name="connsiteY59" fmla="*/ 2113631 h 3658585"/>
                <a:gd name="connsiteX60" fmla="*/ 170259 w 3657361"/>
                <a:gd name="connsiteY60" fmla="*/ 641066 h 3658585"/>
                <a:gd name="connsiteX61" fmla="*/ 191214 w 3657361"/>
                <a:gd name="connsiteY61" fmla="*/ 601061 h 3658585"/>
                <a:gd name="connsiteX62" fmla="*/ 540782 w 3657361"/>
                <a:gd name="connsiteY62" fmla="*/ 239110 h 3658585"/>
                <a:gd name="connsiteX63" fmla="*/ 576977 w 3657361"/>
                <a:gd name="connsiteY63" fmla="*/ 217203 h 3658585"/>
                <a:gd name="connsiteX64" fmla="*/ 690324 w 3657361"/>
                <a:gd name="connsiteY64" fmla="*/ 183865 h 3658585"/>
                <a:gd name="connsiteX65" fmla="*/ 838914 w 3657361"/>
                <a:gd name="connsiteY65" fmla="*/ 675356 h 3658585"/>
                <a:gd name="connsiteX66" fmla="*/ 897017 w 3657361"/>
                <a:gd name="connsiteY66" fmla="*/ 719171 h 3658585"/>
                <a:gd name="connsiteX67" fmla="*/ 914162 w 3657361"/>
                <a:gd name="connsiteY67" fmla="*/ 716313 h 3658585"/>
                <a:gd name="connsiteX68" fmla="*/ 955119 w 3657361"/>
                <a:gd name="connsiteY68" fmla="*/ 640113 h 3658585"/>
                <a:gd name="connsiteX69" fmla="*/ 808434 w 3657361"/>
                <a:gd name="connsiteY69" fmla="*/ 148623 h 3658585"/>
                <a:gd name="connsiteX70" fmla="*/ 888444 w 3657361"/>
                <a:gd name="connsiteY70" fmla="*/ 124810 h 3658585"/>
                <a:gd name="connsiteX71" fmla="*/ 993219 w 3657361"/>
                <a:gd name="connsiteY71" fmla="*/ 180055 h 3658585"/>
                <a:gd name="connsiteX72" fmla="*/ 1199912 w 3657361"/>
                <a:gd name="connsiteY72" fmla="*/ 867761 h 3658585"/>
                <a:gd name="connsiteX73" fmla="*/ 1194197 w 3657361"/>
                <a:gd name="connsiteY73" fmla="*/ 929673 h 3658585"/>
                <a:gd name="connsiteX74" fmla="*/ 1143714 w 3657361"/>
                <a:gd name="connsiteY74" fmla="*/ 969678 h 3658585"/>
                <a:gd name="connsiteX75" fmla="*/ 1062752 w 3657361"/>
                <a:gd name="connsiteY75" fmla="*/ 993491 h 3658585"/>
                <a:gd name="connsiteX76" fmla="*/ 1038939 w 3657361"/>
                <a:gd name="connsiteY76" fmla="*/ 914433 h 3658585"/>
                <a:gd name="connsiteX77" fmla="*/ 963692 w 3657361"/>
                <a:gd name="connsiteY77" fmla="*/ 875381 h 3658585"/>
                <a:gd name="connsiteX78" fmla="*/ 922734 w 3657361"/>
                <a:gd name="connsiteY78" fmla="*/ 949675 h 3658585"/>
                <a:gd name="connsiteX79" fmla="*/ 946547 w 3657361"/>
                <a:gd name="connsiteY79" fmla="*/ 1027781 h 3658585"/>
                <a:gd name="connsiteX80" fmla="*/ 626507 w 3657361"/>
                <a:gd name="connsiteY80" fmla="*/ 1122078 h 3658585"/>
                <a:gd name="connsiteX81" fmla="*/ 536019 w 3657361"/>
                <a:gd name="connsiteY81" fmla="*/ 1213518 h 3658585"/>
                <a:gd name="connsiteX82" fmla="*/ 568404 w 3657361"/>
                <a:gd name="connsiteY82" fmla="*/ 2025048 h 3658585"/>
                <a:gd name="connsiteX83" fmla="*/ 992267 w 3657361"/>
                <a:gd name="connsiteY83" fmla="*/ 2721326 h 3658585"/>
                <a:gd name="connsiteX84" fmla="*/ 1117997 w 3657361"/>
                <a:gd name="connsiteY84" fmla="*/ 2748948 h 3658585"/>
                <a:gd name="connsiteX85" fmla="*/ 1438989 w 3657361"/>
                <a:gd name="connsiteY85" fmla="*/ 2654651 h 3658585"/>
                <a:gd name="connsiteX86" fmla="*/ 1462802 w 3657361"/>
                <a:gd name="connsiteY86" fmla="*/ 2733708 h 3658585"/>
                <a:gd name="connsiteX87" fmla="*/ 1507569 w 3657361"/>
                <a:gd name="connsiteY87" fmla="*/ 2776571 h 3658585"/>
                <a:gd name="connsiteX88" fmla="*/ 1566624 w 3657361"/>
                <a:gd name="connsiteY88" fmla="*/ 2758473 h 3658585"/>
                <a:gd name="connsiteX89" fmla="*/ 1579959 w 3657361"/>
                <a:gd name="connsiteY89" fmla="*/ 2698465 h 3658585"/>
                <a:gd name="connsiteX90" fmla="*/ 1556147 w 3657361"/>
                <a:gd name="connsiteY90" fmla="*/ 2620361 h 3658585"/>
                <a:gd name="connsiteX91" fmla="*/ 1636157 w 3657361"/>
                <a:gd name="connsiteY91" fmla="*/ 2596548 h 3658585"/>
                <a:gd name="connsiteX92" fmla="*/ 1740932 w 3657361"/>
                <a:gd name="connsiteY92" fmla="*/ 2651793 h 3658585"/>
                <a:gd name="connsiteX93" fmla="*/ 1948577 w 3657361"/>
                <a:gd name="connsiteY93" fmla="*/ 3338546 h 3658585"/>
                <a:gd name="connsiteX94" fmla="*/ 1940004 w 3657361"/>
                <a:gd name="connsiteY94" fmla="*/ 3400458 h 3658585"/>
                <a:gd name="connsiteX95" fmla="*/ 1940004 w 3657361"/>
                <a:gd name="connsiteY95" fmla="*/ 3400458 h 3658585"/>
                <a:gd name="connsiteX96" fmla="*/ 1949529 w 3657361"/>
                <a:gd name="connsiteY96" fmla="*/ 2926113 h 3658585"/>
                <a:gd name="connsiteX97" fmla="*/ 1856184 w 3657361"/>
                <a:gd name="connsiteY97" fmla="*/ 2616551 h 3658585"/>
                <a:gd name="connsiteX98" fmla="*/ 1599962 w 3657361"/>
                <a:gd name="connsiteY98" fmla="*/ 2479390 h 3658585"/>
                <a:gd name="connsiteX99" fmla="*/ 1081802 w 3657361"/>
                <a:gd name="connsiteY99" fmla="*/ 2631790 h 3658585"/>
                <a:gd name="connsiteX100" fmla="*/ 1071324 w 3657361"/>
                <a:gd name="connsiteY100" fmla="*/ 2629886 h 3658585"/>
                <a:gd name="connsiteX101" fmla="*/ 1041797 w 3657361"/>
                <a:gd name="connsiteY101" fmla="*/ 2602263 h 3658585"/>
                <a:gd name="connsiteX102" fmla="*/ 1782842 w 3657361"/>
                <a:gd name="connsiteY102" fmla="*/ 1889793 h 3658585"/>
                <a:gd name="connsiteX103" fmla="*/ 1908572 w 3657361"/>
                <a:gd name="connsiteY103" fmla="*/ 2005998 h 3658585"/>
                <a:gd name="connsiteX104" fmla="*/ 2240042 w 3657361"/>
                <a:gd name="connsiteY104" fmla="*/ 2005998 h 3658585"/>
                <a:gd name="connsiteX105" fmla="*/ 2362915 w 3657361"/>
                <a:gd name="connsiteY105" fmla="*/ 1891698 h 3658585"/>
                <a:gd name="connsiteX106" fmla="*/ 3436382 w 3657361"/>
                <a:gd name="connsiteY106" fmla="*/ 2922303 h 3658585"/>
                <a:gd name="connsiteX107" fmla="*/ 3412569 w 3657361"/>
                <a:gd name="connsiteY107" fmla="*/ 2925161 h 3658585"/>
                <a:gd name="connsiteX108" fmla="*/ 1949529 w 3657361"/>
                <a:gd name="connsiteY108" fmla="*/ 2925161 h 3658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</a:cxnLst>
              <a:rect l="l" t="t" r="r" b="b"/>
              <a:pathLst>
                <a:path w="3657361" h="3658585">
                  <a:moveTo>
                    <a:pt x="3413522" y="609633"/>
                  </a:moveTo>
                  <a:lnTo>
                    <a:pt x="1249442" y="609633"/>
                  </a:lnTo>
                  <a:lnTo>
                    <a:pt x="1109424" y="145765"/>
                  </a:lnTo>
                  <a:cubicBezTo>
                    <a:pt x="1076087" y="38133"/>
                    <a:pt x="961787" y="-23780"/>
                    <a:pt x="854154" y="8605"/>
                  </a:cubicBezTo>
                  <a:lnTo>
                    <a:pt x="543639" y="100045"/>
                  </a:lnTo>
                  <a:cubicBezTo>
                    <a:pt x="509349" y="110523"/>
                    <a:pt x="478869" y="128620"/>
                    <a:pt x="453152" y="154338"/>
                  </a:cubicBezTo>
                  <a:lnTo>
                    <a:pt x="103584" y="516288"/>
                  </a:lnTo>
                  <a:cubicBezTo>
                    <a:pt x="76914" y="543911"/>
                    <a:pt x="58817" y="578201"/>
                    <a:pt x="51197" y="615348"/>
                  </a:cubicBezTo>
                  <a:cubicBezTo>
                    <a:pt x="15954" y="780131"/>
                    <a:pt x="-83106" y="1376396"/>
                    <a:pt x="150257" y="2148873"/>
                  </a:cubicBezTo>
                  <a:cubicBezTo>
                    <a:pt x="383619" y="2920398"/>
                    <a:pt x="796052" y="3366168"/>
                    <a:pt x="917972" y="3485231"/>
                  </a:cubicBezTo>
                  <a:cubicBezTo>
                    <a:pt x="945594" y="3511901"/>
                    <a:pt x="978932" y="3530951"/>
                    <a:pt x="1016079" y="3539523"/>
                  </a:cubicBezTo>
                  <a:lnTo>
                    <a:pt x="1509474" y="3652871"/>
                  </a:lnTo>
                  <a:cubicBezTo>
                    <a:pt x="1524714" y="3656681"/>
                    <a:pt x="1539954" y="3658586"/>
                    <a:pt x="1556147" y="3658586"/>
                  </a:cubicBezTo>
                  <a:cubicBezTo>
                    <a:pt x="1576149" y="3658586"/>
                    <a:pt x="1596152" y="3655728"/>
                    <a:pt x="1615202" y="3650013"/>
                  </a:cubicBezTo>
                  <a:lnTo>
                    <a:pt x="1786652" y="3599531"/>
                  </a:lnTo>
                  <a:lnTo>
                    <a:pt x="1924764" y="3558573"/>
                  </a:lnTo>
                  <a:cubicBezTo>
                    <a:pt x="1977152" y="3543333"/>
                    <a:pt x="2021919" y="3507138"/>
                    <a:pt x="2047637" y="3459513"/>
                  </a:cubicBezTo>
                  <a:cubicBezTo>
                    <a:pt x="2073354" y="3411888"/>
                    <a:pt x="2079069" y="3355690"/>
                    <a:pt x="2063829" y="3304256"/>
                  </a:cubicBezTo>
                  <a:lnTo>
                    <a:pt x="1986677" y="3048986"/>
                  </a:lnTo>
                  <a:lnTo>
                    <a:pt x="3413522" y="3048986"/>
                  </a:lnTo>
                  <a:cubicBezTo>
                    <a:pt x="3547824" y="3048986"/>
                    <a:pt x="3657362" y="2939448"/>
                    <a:pt x="3657362" y="2805146"/>
                  </a:cubicBezTo>
                  <a:lnTo>
                    <a:pt x="3657362" y="853473"/>
                  </a:lnTo>
                  <a:cubicBezTo>
                    <a:pt x="3657362" y="719171"/>
                    <a:pt x="3547824" y="609633"/>
                    <a:pt x="3413522" y="609633"/>
                  </a:cubicBezTo>
                  <a:lnTo>
                    <a:pt x="3413522" y="609633"/>
                  </a:lnTo>
                  <a:close/>
                  <a:moveTo>
                    <a:pt x="2453402" y="1810736"/>
                  </a:moveTo>
                  <a:lnTo>
                    <a:pt x="3527822" y="812516"/>
                  </a:lnTo>
                  <a:cubicBezTo>
                    <a:pt x="3532584" y="825850"/>
                    <a:pt x="3535442" y="839186"/>
                    <a:pt x="3535442" y="853473"/>
                  </a:cubicBezTo>
                  <a:lnTo>
                    <a:pt x="3535442" y="2804193"/>
                  </a:lnTo>
                  <a:cubicBezTo>
                    <a:pt x="3535442" y="2817528"/>
                    <a:pt x="3532584" y="2829911"/>
                    <a:pt x="3528774" y="2842293"/>
                  </a:cubicBezTo>
                  <a:lnTo>
                    <a:pt x="2453402" y="1810736"/>
                  </a:lnTo>
                  <a:close/>
                  <a:moveTo>
                    <a:pt x="3413522" y="731553"/>
                  </a:moveTo>
                  <a:cubicBezTo>
                    <a:pt x="3420190" y="731553"/>
                    <a:pt x="3427809" y="732506"/>
                    <a:pt x="3434477" y="733458"/>
                  </a:cubicBezTo>
                  <a:lnTo>
                    <a:pt x="2158127" y="1918368"/>
                  </a:lnTo>
                  <a:cubicBezTo>
                    <a:pt x="2111454" y="1962183"/>
                    <a:pt x="2039064" y="1962183"/>
                    <a:pt x="1992392" y="1918368"/>
                  </a:cubicBezTo>
                  <a:lnTo>
                    <a:pt x="1114187" y="1105886"/>
                  </a:lnTo>
                  <a:lnTo>
                    <a:pt x="1178957" y="1086836"/>
                  </a:lnTo>
                  <a:cubicBezTo>
                    <a:pt x="1231344" y="1071596"/>
                    <a:pt x="1276112" y="1035400"/>
                    <a:pt x="1301829" y="987775"/>
                  </a:cubicBezTo>
                  <a:cubicBezTo>
                    <a:pt x="1327547" y="940150"/>
                    <a:pt x="1333262" y="883953"/>
                    <a:pt x="1317069" y="832518"/>
                  </a:cubicBezTo>
                  <a:lnTo>
                    <a:pt x="1286589" y="731553"/>
                  </a:lnTo>
                  <a:lnTo>
                    <a:pt x="3413522" y="731553"/>
                  </a:lnTo>
                  <a:close/>
                  <a:moveTo>
                    <a:pt x="958929" y="2513681"/>
                  </a:moveTo>
                  <a:cubicBezTo>
                    <a:pt x="833199" y="2359376"/>
                    <a:pt x="739854" y="2182211"/>
                    <a:pt x="683657" y="1990758"/>
                  </a:cubicBezTo>
                  <a:cubicBezTo>
                    <a:pt x="604599" y="1749776"/>
                    <a:pt x="594122" y="1492601"/>
                    <a:pt x="652224" y="1245903"/>
                  </a:cubicBezTo>
                  <a:cubicBezTo>
                    <a:pt x="653177" y="1242093"/>
                    <a:pt x="656034" y="1240188"/>
                    <a:pt x="659844" y="1239236"/>
                  </a:cubicBezTo>
                  <a:lnTo>
                    <a:pt x="977027" y="1145891"/>
                  </a:lnTo>
                  <a:lnTo>
                    <a:pt x="1693307" y="1808830"/>
                  </a:lnTo>
                  <a:lnTo>
                    <a:pt x="958929" y="2513681"/>
                  </a:lnTo>
                  <a:close/>
                  <a:moveTo>
                    <a:pt x="1940004" y="3400458"/>
                  </a:moveTo>
                  <a:cubicBezTo>
                    <a:pt x="1929527" y="3420461"/>
                    <a:pt x="1911429" y="3434748"/>
                    <a:pt x="1889522" y="3440463"/>
                  </a:cubicBezTo>
                  <a:lnTo>
                    <a:pt x="1808559" y="3464276"/>
                  </a:lnTo>
                  <a:lnTo>
                    <a:pt x="1659969" y="2972786"/>
                  </a:lnTo>
                  <a:cubicBezTo>
                    <a:pt x="1654254" y="2951831"/>
                    <a:pt x="1637109" y="2935638"/>
                    <a:pt x="1615202" y="2929923"/>
                  </a:cubicBezTo>
                  <a:cubicBezTo>
                    <a:pt x="1593294" y="2925161"/>
                    <a:pt x="1571387" y="2931828"/>
                    <a:pt x="1556147" y="2948021"/>
                  </a:cubicBezTo>
                  <a:cubicBezTo>
                    <a:pt x="1540907" y="2964213"/>
                    <a:pt x="1536144" y="2987073"/>
                    <a:pt x="1542812" y="3008028"/>
                  </a:cubicBezTo>
                  <a:lnTo>
                    <a:pt x="1691402" y="3498565"/>
                  </a:lnTo>
                  <a:lnTo>
                    <a:pt x="1579007" y="3531903"/>
                  </a:lnTo>
                  <a:cubicBezTo>
                    <a:pt x="1564719" y="3535713"/>
                    <a:pt x="1549479" y="3536665"/>
                    <a:pt x="1535192" y="3532856"/>
                  </a:cubicBezTo>
                  <a:lnTo>
                    <a:pt x="1043702" y="3419508"/>
                  </a:lnTo>
                  <a:cubicBezTo>
                    <a:pt x="1028462" y="3415698"/>
                    <a:pt x="1014174" y="3408078"/>
                    <a:pt x="1002744" y="3397601"/>
                  </a:cubicBezTo>
                  <a:cubicBezTo>
                    <a:pt x="887492" y="3284253"/>
                    <a:pt x="492204" y="2857533"/>
                    <a:pt x="267414" y="2113631"/>
                  </a:cubicBezTo>
                  <a:cubicBezTo>
                    <a:pt x="42624" y="1369728"/>
                    <a:pt x="135969" y="798228"/>
                    <a:pt x="170259" y="641066"/>
                  </a:cubicBezTo>
                  <a:cubicBezTo>
                    <a:pt x="173117" y="625825"/>
                    <a:pt x="180737" y="612491"/>
                    <a:pt x="191214" y="601061"/>
                  </a:cubicBezTo>
                  <a:lnTo>
                    <a:pt x="540782" y="239110"/>
                  </a:lnTo>
                  <a:cubicBezTo>
                    <a:pt x="551259" y="228633"/>
                    <a:pt x="563642" y="221013"/>
                    <a:pt x="576977" y="217203"/>
                  </a:cubicBezTo>
                  <a:lnTo>
                    <a:pt x="690324" y="183865"/>
                  </a:lnTo>
                  <a:lnTo>
                    <a:pt x="838914" y="675356"/>
                  </a:lnTo>
                  <a:cubicBezTo>
                    <a:pt x="846534" y="701073"/>
                    <a:pt x="870347" y="719171"/>
                    <a:pt x="897017" y="719171"/>
                  </a:cubicBezTo>
                  <a:cubicBezTo>
                    <a:pt x="902732" y="719171"/>
                    <a:pt x="908447" y="718218"/>
                    <a:pt x="914162" y="716313"/>
                  </a:cubicBezTo>
                  <a:cubicBezTo>
                    <a:pt x="946547" y="706788"/>
                    <a:pt x="964644" y="672498"/>
                    <a:pt x="955119" y="640113"/>
                  </a:cubicBezTo>
                  <a:lnTo>
                    <a:pt x="808434" y="148623"/>
                  </a:lnTo>
                  <a:lnTo>
                    <a:pt x="888444" y="124810"/>
                  </a:lnTo>
                  <a:cubicBezTo>
                    <a:pt x="932259" y="111475"/>
                    <a:pt x="979884" y="136240"/>
                    <a:pt x="993219" y="180055"/>
                  </a:cubicBezTo>
                  <a:lnTo>
                    <a:pt x="1199912" y="867761"/>
                  </a:lnTo>
                  <a:cubicBezTo>
                    <a:pt x="1206579" y="888716"/>
                    <a:pt x="1203722" y="910623"/>
                    <a:pt x="1194197" y="929673"/>
                  </a:cubicBezTo>
                  <a:cubicBezTo>
                    <a:pt x="1183719" y="949675"/>
                    <a:pt x="1165622" y="963963"/>
                    <a:pt x="1143714" y="969678"/>
                  </a:cubicBezTo>
                  <a:lnTo>
                    <a:pt x="1062752" y="993491"/>
                  </a:lnTo>
                  <a:lnTo>
                    <a:pt x="1038939" y="914433"/>
                  </a:lnTo>
                  <a:cubicBezTo>
                    <a:pt x="1028462" y="883000"/>
                    <a:pt x="995124" y="865856"/>
                    <a:pt x="963692" y="875381"/>
                  </a:cubicBezTo>
                  <a:cubicBezTo>
                    <a:pt x="932259" y="884906"/>
                    <a:pt x="914162" y="918243"/>
                    <a:pt x="922734" y="949675"/>
                  </a:cubicBezTo>
                  <a:lnTo>
                    <a:pt x="946547" y="1027781"/>
                  </a:lnTo>
                  <a:lnTo>
                    <a:pt x="626507" y="1122078"/>
                  </a:lnTo>
                  <a:cubicBezTo>
                    <a:pt x="582692" y="1134461"/>
                    <a:pt x="548402" y="1169703"/>
                    <a:pt x="536019" y="1213518"/>
                  </a:cubicBezTo>
                  <a:cubicBezTo>
                    <a:pt x="471249" y="1482123"/>
                    <a:pt x="482679" y="1763111"/>
                    <a:pt x="568404" y="2025048"/>
                  </a:cubicBezTo>
                  <a:cubicBezTo>
                    <a:pt x="643652" y="2291748"/>
                    <a:pt x="789384" y="2531778"/>
                    <a:pt x="992267" y="2721326"/>
                  </a:cubicBezTo>
                  <a:cubicBezTo>
                    <a:pt x="1026557" y="2751806"/>
                    <a:pt x="1074182" y="2762283"/>
                    <a:pt x="1117997" y="2748948"/>
                  </a:cubicBezTo>
                  <a:lnTo>
                    <a:pt x="1438989" y="2654651"/>
                  </a:lnTo>
                  <a:lnTo>
                    <a:pt x="1462802" y="2733708"/>
                  </a:lnTo>
                  <a:cubicBezTo>
                    <a:pt x="1468517" y="2754663"/>
                    <a:pt x="1485662" y="2770856"/>
                    <a:pt x="1507569" y="2776571"/>
                  </a:cubicBezTo>
                  <a:cubicBezTo>
                    <a:pt x="1529477" y="2782286"/>
                    <a:pt x="1551384" y="2774665"/>
                    <a:pt x="1566624" y="2758473"/>
                  </a:cubicBezTo>
                  <a:cubicBezTo>
                    <a:pt x="1581864" y="2742281"/>
                    <a:pt x="1586627" y="2719421"/>
                    <a:pt x="1579959" y="2698465"/>
                  </a:cubicBezTo>
                  <a:lnTo>
                    <a:pt x="1556147" y="2620361"/>
                  </a:lnTo>
                  <a:lnTo>
                    <a:pt x="1636157" y="2596548"/>
                  </a:lnTo>
                  <a:cubicBezTo>
                    <a:pt x="1679972" y="2583213"/>
                    <a:pt x="1726644" y="2607978"/>
                    <a:pt x="1740932" y="2651793"/>
                  </a:cubicBezTo>
                  <a:lnTo>
                    <a:pt x="1948577" y="3338546"/>
                  </a:lnTo>
                  <a:cubicBezTo>
                    <a:pt x="1953339" y="3358548"/>
                    <a:pt x="1951434" y="3381408"/>
                    <a:pt x="1940004" y="3400458"/>
                  </a:cubicBezTo>
                  <a:lnTo>
                    <a:pt x="1940004" y="3400458"/>
                  </a:lnTo>
                  <a:close/>
                  <a:moveTo>
                    <a:pt x="1949529" y="2926113"/>
                  </a:moveTo>
                  <a:lnTo>
                    <a:pt x="1856184" y="2616551"/>
                  </a:lnTo>
                  <a:cubicBezTo>
                    <a:pt x="1822847" y="2507965"/>
                    <a:pt x="1708547" y="2447006"/>
                    <a:pt x="1599962" y="2479390"/>
                  </a:cubicBezTo>
                  <a:lnTo>
                    <a:pt x="1081802" y="2631790"/>
                  </a:lnTo>
                  <a:cubicBezTo>
                    <a:pt x="1077992" y="2632743"/>
                    <a:pt x="1074182" y="2631790"/>
                    <a:pt x="1071324" y="2629886"/>
                  </a:cubicBezTo>
                  <a:cubicBezTo>
                    <a:pt x="1062752" y="2622265"/>
                    <a:pt x="1053227" y="2612740"/>
                    <a:pt x="1041797" y="2602263"/>
                  </a:cubicBezTo>
                  <a:lnTo>
                    <a:pt x="1782842" y="1889793"/>
                  </a:lnTo>
                  <a:lnTo>
                    <a:pt x="1908572" y="2005998"/>
                  </a:lnTo>
                  <a:cubicBezTo>
                    <a:pt x="2001917" y="2092676"/>
                    <a:pt x="2146697" y="2092676"/>
                    <a:pt x="2240042" y="2005998"/>
                  </a:cubicBezTo>
                  <a:lnTo>
                    <a:pt x="2362915" y="1891698"/>
                  </a:lnTo>
                  <a:lnTo>
                    <a:pt x="3436382" y="2922303"/>
                  </a:lnTo>
                  <a:cubicBezTo>
                    <a:pt x="3428762" y="2924208"/>
                    <a:pt x="3420190" y="2925161"/>
                    <a:pt x="3412569" y="2925161"/>
                  </a:cubicBezTo>
                  <a:lnTo>
                    <a:pt x="1949529" y="292516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72" name="Forma Livre: Forma 71">
              <a:extLst>
                <a:ext uri="{FF2B5EF4-FFF2-40B4-BE49-F238E27FC236}">
                  <a16:creationId xmlns:a16="http://schemas.microsoft.com/office/drawing/2014/main" id="{7EE94362-FE1B-4335-A6A5-F893D9BEFDED}"/>
                </a:ext>
              </a:extLst>
            </p:cNvPr>
            <p:cNvSpPr/>
            <p:nvPr/>
          </p:nvSpPr>
          <p:spPr>
            <a:xfrm>
              <a:off x="5791200" y="2453639"/>
              <a:ext cx="1097280" cy="121920"/>
            </a:xfrm>
            <a:custGeom>
              <a:avLst/>
              <a:gdLst>
                <a:gd name="connsiteX0" fmla="*/ 60960 w 1097280"/>
                <a:gd name="connsiteY0" fmla="*/ 121920 h 121920"/>
                <a:gd name="connsiteX1" fmla="*/ 1036320 w 1097280"/>
                <a:gd name="connsiteY1" fmla="*/ 121920 h 121920"/>
                <a:gd name="connsiteX2" fmla="*/ 1097280 w 1097280"/>
                <a:gd name="connsiteY2" fmla="*/ 60960 h 121920"/>
                <a:gd name="connsiteX3" fmla="*/ 1036320 w 1097280"/>
                <a:gd name="connsiteY3" fmla="*/ 0 h 121920"/>
                <a:gd name="connsiteX4" fmla="*/ 60960 w 1097280"/>
                <a:gd name="connsiteY4" fmla="*/ 0 h 121920"/>
                <a:gd name="connsiteX5" fmla="*/ 0 w 1097280"/>
                <a:gd name="connsiteY5" fmla="*/ 60960 h 121920"/>
                <a:gd name="connsiteX6" fmla="*/ 60960 w 1097280"/>
                <a:gd name="connsiteY6" fmla="*/ 121920 h 121920"/>
                <a:gd name="connsiteX7" fmla="*/ 60960 w 1097280"/>
                <a:gd name="connsiteY7" fmla="*/ 121920 h 121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97280" h="121920">
                  <a:moveTo>
                    <a:pt x="60960" y="121920"/>
                  </a:moveTo>
                  <a:lnTo>
                    <a:pt x="1036320" y="121920"/>
                  </a:lnTo>
                  <a:cubicBezTo>
                    <a:pt x="1069657" y="121920"/>
                    <a:pt x="1097280" y="94298"/>
                    <a:pt x="1097280" y="60960"/>
                  </a:cubicBezTo>
                  <a:cubicBezTo>
                    <a:pt x="1097280" y="27623"/>
                    <a:pt x="1069657" y="0"/>
                    <a:pt x="1036320" y="0"/>
                  </a:cubicBezTo>
                  <a:lnTo>
                    <a:pt x="60960" y="0"/>
                  </a:lnTo>
                  <a:cubicBezTo>
                    <a:pt x="27622" y="0"/>
                    <a:pt x="0" y="27623"/>
                    <a:pt x="0" y="60960"/>
                  </a:cubicBezTo>
                  <a:cubicBezTo>
                    <a:pt x="0" y="94298"/>
                    <a:pt x="27622" y="121920"/>
                    <a:pt x="60960" y="121920"/>
                  </a:cubicBezTo>
                  <a:lnTo>
                    <a:pt x="60960" y="12192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73" name="Forma Livre: Forma 72">
              <a:extLst>
                <a:ext uri="{FF2B5EF4-FFF2-40B4-BE49-F238E27FC236}">
                  <a16:creationId xmlns:a16="http://schemas.microsoft.com/office/drawing/2014/main" id="{1B421979-8E89-4CCA-95D9-ACE855BCB073}"/>
                </a:ext>
              </a:extLst>
            </p:cNvPr>
            <p:cNvSpPr/>
            <p:nvPr/>
          </p:nvSpPr>
          <p:spPr>
            <a:xfrm>
              <a:off x="7559040" y="2941320"/>
              <a:ext cx="121919" cy="975359"/>
            </a:xfrm>
            <a:custGeom>
              <a:avLst/>
              <a:gdLst>
                <a:gd name="connsiteX0" fmla="*/ 60960 w 121919"/>
                <a:gd name="connsiteY0" fmla="*/ 0 h 975359"/>
                <a:gd name="connsiteX1" fmla="*/ 0 w 121919"/>
                <a:gd name="connsiteY1" fmla="*/ 60960 h 975359"/>
                <a:gd name="connsiteX2" fmla="*/ 0 w 121919"/>
                <a:gd name="connsiteY2" fmla="*/ 914400 h 975359"/>
                <a:gd name="connsiteX3" fmla="*/ 60960 w 121919"/>
                <a:gd name="connsiteY3" fmla="*/ 975360 h 975359"/>
                <a:gd name="connsiteX4" fmla="*/ 121920 w 121919"/>
                <a:gd name="connsiteY4" fmla="*/ 914400 h 975359"/>
                <a:gd name="connsiteX5" fmla="*/ 121920 w 121919"/>
                <a:gd name="connsiteY5" fmla="*/ 60960 h 975359"/>
                <a:gd name="connsiteX6" fmla="*/ 60960 w 121919"/>
                <a:gd name="connsiteY6" fmla="*/ 0 h 975359"/>
                <a:gd name="connsiteX7" fmla="*/ 60960 w 121919"/>
                <a:gd name="connsiteY7" fmla="*/ 0 h 975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19" h="975359">
                  <a:moveTo>
                    <a:pt x="60960" y="0"/>
                  </a:moveTo>
                  <a:cubicBezTo>
                    <a:pt x="27622" y="0"/>
                    <a:pt x="0" y="27622"/>
                    <a:pt x="0" y="60960"/>
                  </a:cubicBezTo>
                  <a:lnTo>
                    <a:pt x="0" y="914400"/>
                  </a:lnTo>
                  <a:cubicBezTo>
                    <a:pt x="0" y="947738"/>
                    <a:pt x="27622" y="975360"/>
                    <a:pt x="60960" y="975360"/>
                  </a:cubicBezTo>
                  <a:cubicBezTo>
                    <a:pt x="94297" y="975360"/>
                    <a:pt x="121920" y="947738"/>
                    <a:pt x="121920" y="914400"/>
                  </a:cubicBezTo>
                  <a:lnTo>
                    <a:pt x="121920" y="60960"/>
                  </a:lnTo>
                  <a:cubicBezTo>
                    <a:pt x="121920" y="27622"/>
                    <a:pt x="94297" y="0"/>
                    <a:pt x="60960" y="0"/>
                  </a:cubicBezTo>
                  <a:lnTo>
                    <a:pt x="6096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sp>
        <p:nvSpPr>
          <p:cNvPr id="79" name="Gráfico 77">
            <a:extLst>
              <a:ext uri="{FF2B5EF4-FFF2-40B4-BE49-F238E27FC236}">
                <a16:creationId xmlns:a16="http://schemas.microsoft.com/office/drawing/2014/main" id="{5A8A4D8F-C6D7-4CDE-B45E-2F6D62415B47}"/>
              </a:ext>
            </a:extLst>
          </p:cNvPr>
          <p:cNvSpPr/>
          <p:nvPr/>
        </p:nvSpPr>
        <p:spPr>
          <a:xfrm>
            <a:off x="2624090" y="2860053"/>
            <a:ext cx="791682" cy="579832"/>
          </a:xfrm>
          <a:custGeom>
            <a:avLst/>
            <a:gdLst>
              <a:gd name="connsiteX0" fmla="*/ 4832033 w 4877752"/>
              <a:gd name="connsiteY0" fmla="*/ 8236 h 3572491"/>
              <a:gd name="connsiteX1" fmla="*/ 4746308 w 4877752"/>
              <a:gd name="connsiteY1" fmla="*/ 16809 h 3572491"/>
              <a:gd name="connsiteX2" fmla="*/ 3425190 w 4877752"/>
              <a:gd name="connsiteY2" fmla="*/ 1026459 h 3572491"/>
              <a:gd name="connsiteX3" fmla="*/ 3384233 w 4877752"/>
              <a:gd name="connsiteY3" fmla="*/ 1237914 h 3572491"/>
              <a:gd name="connsiteX4" fmla="*/ 3175635 w 4877752"/>
              <a:gd name="connsiteY4" fmla="*/ 1295064 h 3572491"/>
              <a:gd name="connsiteX5" fmla="*/ 2871788 w 4877752"/>
              <a:gd name="connsiteY5" fmla="*/ 1165524 h 3572491"/>
              <a:gd name="connsiteX6" fmla="*/ 2855595 w 4877752"/>
              <a:gd name="connsiteY6" fmla="*/ 1160761 h 3572491"/>
              <a:gd name="connsiteX7" fmla="*/ 2334578 w 4877752"/>
              <a:gd name="connsiteY7" fmla="*/ 1218864 h 3572491"/>
              <a:gd name="connsiteX8" fmla="*/ 1503998 w 4877752"/>
              <a:gd name="connsiteY8" fmla="*/ 1218864 h 3572491"/>
              <a:gd name="connsiteX9" fmla="*/ 1452563 w 4877752"/>
              <a:gd name="connsiteY9" fmla="*/ 1026459 h 3572491"/>
              <a:gd name="connsiteX10" fmla="*/ 130493 w 4877752"/>
              <a:gd name="connsiteY10" fmla="*/ 16809 h 3572491"/>
              <a:gd name="connsiteX11" fmla="*/ 44768 w 4877752"/>
              <a:gd name="connsiteY11" fmla="*/ 8236 h 3572491"/>
              <a:gd name="connsiteX12" fmla="*/ 0 w 4877752"/>
              <a:gd name="connsiteY12" fmla="*/ 80626 h 3572491"/>
              <a:gd name="connsiteX13" fmla="*/ 0 w 4877752"/>
              <a:gd name="connsiteY13" fmla="*/ 2031346 h 3572491"/>
              <a:gd name="connsiteX14" fmla="*/ 40958 w 4877752"/>
              <a:gd name="connsiteY14" fmla="*/ 2101831 h 3572491"/>
              <a:gd name="connsiteX15" fmla="*/ 543878 w 4877752"/>
              <a:gd name="connsiteY15" fmla="*/ 2389486 h 3572491"/>
              <a:gd name="connsiteX16" fmla="*/ 623888 w 4877752"/>
              <a:gd name="connsiteY16" fmla="*/ 2410442 h 3572491"/>
              <a:gd name="connsiteX17" fmla="*/ 735330 w 4877752"/>
              <a:gd name="connsiteY17" fmla="*/ 2366626 h 3572491"/>
              <a:gd name="connsiteX18" fmla="*/ 829628 w 4877752"/>
              <a:gd name="connsiteY18" fmla="*/ 2441874 h 3572491"/>
              <a:gd name="connsiteX19" fmla="*/ 798195 w 4877752"/>
              <a:gd name="connsiteY19" fmla="*/ 2687619 h 3572491"/>
              <a:gd name="connsiteX20" fmla="*/ 1000125 w 4877752"/>
              <a:gd name="connsiteY20" fmla="*/ 2831446 h 3572491"/>
              <a:gd name="connsiteX21" fmla="*/ 1021080 w 4877752"/>
              <a:gd name="connsiteY21" fmla="*/ 2832399 h 3572491"/>
              <a:gd name="connsiteX22" fmla="*/ 1058228 w 4877752"/>
              <a:gd name="connsiteY22" fmla="*/ 2829542 h 3572491"/>
              <a:gd name="connsiteX23" fmla="*/ 1123950 w 4877752"/>
              <a:gd name="connsiteY23" fmla="*/ 2986704 h 3572491"/>
              <a:gd name="connsiteX24" fmla="*/ 1123950 w 4877752"/>
              <a:gd name="connsiteY24" fmla="*/ 2986704 h 3572491"/>
              <a:gd name="connsiteX25" fmla="*/ 1317308 w 4877752"/>
              <a:gd name="connsiteY25" fmla="*/ 3086717 h 3572491"/>
              <a:gd name="connsiteX26" fmla="*/ 1341120 w 4877752"/>
              <a:gd name="connsiteY26" fmla="*/ 3087669 h 3572491"/>
              <a:gd name="connsiteX27" fmla="*/ 1344930 w 4877752"/>
              <a:gd name="connsiteY27" fmla="*/ 3087669 h 3572491"/>
              <a:gd name="connsiteX28" fmla="*/ 1401128 w 4877752"/>
              <a:gd name="connsiteY28" fmla="*/ 3231496 h 3572491"/>
              <a:gd name="connsiteX29" fmla="*/ 1586865 w 4877752"/>
              <a:gd name="connsiteY29" fmla="*/ 3317221 h 3572491"/>
              <a:gd name="connsiteX30" fmla="*/ 1669733 w 4877752"/>
              <a:gd name="connsiteY30" fmla="*/ 3301982 h 3572491"/>
              <a:gd name="connsiteX31" fmla="*/ 1882140 w 4877752"/>
              <a:gd name="connsiteY31" fmla="*/ 3476289 h 3572491"/>
              <a:gd name="connsiteX32" fmla="*/ 1903095 w 4877752"/>
              <a:gd name="connsiteY32" fmla="*/ 3477242 h 3572491"/>
              <a:gd name="connsiteX33" fmla="*/ 2056448 w 4877752"/>
              <a:gd name="connsiteY33" fmla="*/ 3421996 h 3572491"/>
              <a:gd name="connsiteX34" fmla="*/ 2184083 w 4877752"/>
              <a:gd name="connsiteY34" fmla="*/ 3323889 h 3572491"/>
              <a:gd name="connsiteX35" fmla="*/ 2484120 w 4877752"/>
              <a:gd name="connsiteY35" fmla="*/ 3524867 h 3572491"/>
              <a:gd name="connsiteX36" fmla="*/ 2641283 w 4877752"/>
              <a:gd name="connsiteY36" fmla="*/ 3572492 h 3572491"/>
              <a:gd name="connsiteX37" fmla="*/ 2698433 w 4877752"/>
              <a:gd name="connsiteY37" fmla="*/ 3566776 h 3572491"/>
              <a:gd name="connsiteX38" fmla="*/ 2925128 w 4877752"/>
              <a:gd name="connsiteY38" fmla="*/ 3317221 h 3572491"/>
              <a:gd name="connsiteX39" fmla="*/ 3165158 w 4877752"/>
              <a:gd name="connsiteY39" fmla="*/ 3281026 h 3572491"/>
              <a:gd name="connsiteX40" fmla="*/ 3286125 w 4877752"/>
              <a:gd name="connsiteY40" fmla="*/ 3070524 h 3572491"/>
              <a:gd name="connsiteX41" fmla="*/ 3559493 w 4877752"/>
              <a:gd name="connsiteY41" fmla="*/ 3016232 h 3572491"/>
              <a:gd name="connsiteX42" fmla="*/ 3654743 w 4877752"/>
              <a:gd name="connsiteY42" fmla="*/ 2754294 h 3572491"/>
              <a:gd name="connsiteX43" fmla="*/ 3854768 w 4877752"/>
              <a:gd name="connsiteY43" fmla="*/ 2632374 h 3572491"/>
              <a:gd name="connsiteX44" fmla="*/ 3891915 w 4877752"/>
              <a:gd name="connsiteY44" fmla="*/ 2399964 h 3572491"/>
              <a:gd name="connsiteX45" fmla="*/ 4051935 w 4877752"/>
              <a:gd name="connsiteY45" fmla="*/ 2239944 h 3572491"/>
              <a:gd name="connsiteX46" fmla="*/ 4117658 w 4877752"/>
              <a:gd name="connsiteY46" fmla="*/ 2338051 h 3572491"/>
              <a:gd name="connsiteX47" fmla="*/ 4333875 w 4877752"/>
              <a:gd name="connsiteY47" fmla="*/ 2389486 h 3572491"/>
              <a:gd name="connsiteX48" fmla="*/ 4836795 w 4877752"/>
              <a:gd name="connsiteY48" fmla="*/ 2101831 h 3572491"/>
              <a:gd name="connsiteX49" fmla="*/ 4877753 w 4877752"/>
              <a:gd name="connsiteY49" fmla="*/ 2031346 h 3572491"/>
              <a:gd name="connsiteX50" fmla="*/ 4877753 w 4877752"/>
              <a:gd name="connsiteY50" fmla="*/ 80626 h 3572491"/>
              <a:gd name="connsiteX51" fmla="*/ 4832033 w 4877752"/>
              <a:gd name="connsiteY51" fmla="*/ 8236 h 3572491"/>
              <a:gd name="connsiteX52" fmla="*/ 162878 w 4877752"/>
              <a:gd name="connsiteY52" fmla="*/ 245409 h 3572491"/>
              <a:gd name="connsiteX53" fmla="*/ 1070610 w 4877752"/>
              <a:gd name="connsiteY53" fmla="*/ 938829 h 3572491"/>
              <a:gd name="connsiteX54" fmla="*/ 325755 w 4877752"/>
              <a:gd name="connsiteY54" fmla="*/ 2078019 h 3572491"/>
              <a:gd name="connsiteX55" fmla="*/ 162878 w 4877752"/>
              <a:gd name="connsiteY55" fmla="*/ 1984674 h 3572491"/>
              <a:gd name="connsiteX56" fmla="*/ 162878 w 4877752"/>
              <a:gd name="connsiteY56" fmla="*/ 245409 h 3572491"/>
              <a:gd name="connsiteX57" fmla="*/ 466725 w 4877752"/>
              <a:gd name="connsiteY57" fmla="*/ 2158029 h 3572491"/>
              <a:gd name="connsiteX58" fmla="*/ 1199198 w 4877752"/>
              <a:gd name="connsiteY58" fmla="*/ 1037889 h 3572491"/>
              <a:gd name="connsiteX59" fmla="*/ 1352550 w 4877752"/>
              <a:gd name="connsiteY59" fmla="*/ 1155046 h 3572491"/>
              <a:gd name="connsiteX60" fmla="*/ 624840 w 4877752"/>
              <a:gd name="connsiteY60" fmla="*/ 2248517 h 3572491"/>
              <a:gd name="connsiteX61" fmla="*/ 466725 w 4877752"/>
              <a:gd name="connsiteY61" fmla="*/ 2158029 h 3572491"/>
              <a:gd name="connsiteX62" fmla="*/ 1014413 w 4877752"/>
              <a:gd name="connsiteY62" fmla="*/ 2670474 h 3572491"/>
              <a:gd name="connsiteX63" fmla="*/ 945833 w 4877752"/>
              <a:gd name="connsiteY63" fmla="*/ 2617134 h 3572491"/>
              <a:gd name="connsiteX64" fmla="*/ 966788 w 4877752"/>
              <a:gd name="connsiteY64" fmla="*/ 2532361 h 3572491"/>
              <a:gd name="connsiteX65" fmla="*/ 1169670 w 4877752"/>
              <a:gd name="connsiteY65" fmla="*/ 2375199 h 3572491"/>
              <a:gd name="connsiteX66" fmla="*/ 1221105 w 4877752"/>
              <a:gd name="connsiteY66" fmla="*/ 2356149 h 3572491"/>
              <a:gd name="connsiteX67" fmla="*/ 1227773 w 4877752"/>
              <a:gd name="connsiteY67" fmla="*/ 2356149 h 3572491"/>
              <a:gd name="connsiteX68" fmla="*/ 1296353 w 4877752"/>
              <a:gd name="connsiteY68" fmla="*/ 2409489 h 3572491"/>
              <a:gd name="connsiteX69" fmla="*/ 1275398 w 4877752"/>
              <a:gd name="connsiteY69" fmla="*/ 2494261 h 3572491"/>
              <a:gd name="connsiteX70" fmla="*/ 1072515 w 4877752"/>
              <a:gd name="connsiteY70" fmla="*/ 2651424 h 3572491"/>
              <a:gd name="connsiteX71" fmla="*/ 1014413 w 4877752"/>
              <a:gd name="connsiteY71" fmla="*/ 2670474 h 3572491"/>
              <a:gd name="connsiteX72" fmla="*/ 1330643 w 4877752"/>
              <a:gd name="connsiteY72" fmla="*/ 2924792 h 3572491"/>
              <a:gd name="connsiteX73" fmla="*/ 1224915 w 4877752"/>
              <a:gd name="connsiteY73" fmla="*/ 2841924 h 3572491"/>
              <a:gd name="connsiteX74" fmla="*/ 1259205 w 4877752"/>
              <a:gd name="connsiteY74" fmla="*/ 2712384 h 3572491"/>
              <a:gd name="connsiteX75" fmla="*/ 1515428 w 4877752"/>
              <a:gd name="connsiteY75" fmla="*/ 2514264 h 3572491"/>
              <a:gd name="connsiteX76" fmla="*/ 1649730 w 4877752"/>
              <a:gd name="connsiteY76" fmla="*/ 2499024 h 3572491"/>
              <a:gd name="connsiteX77" fmla="*/ 1715453 w 4877752"/>
              <a:gd name="connsiteY77" fmla="*/ 2617134 h 3572491"/>
              <a:gd name="connsiteX78" fmla="*/ 1677353 w 4877752"/>
              <a:gd name="connsiteY78" fmla="*/ 2696192 h 3572491"/>
              <a:gd name="connsiteX79" fmla="*/ 1607820 w 4877752"/>
              <a:gd name="connsiteY79" fmla="*/ 2750484 h 3572491"/>
              <a:gd name="connsiteX80" fmla="*/ 1419225 w 4877752"/>
              <a:gd name="connsiteY80" fmla="*/ 2896217 h 3572491"/>
              <a:gd name="connsiteX81" fmla="*/ 1330643 w 4877752"/>
              <a:gd name="connsiteY81" fmla="*/ 2924792 h 3572491"/>
              <a:gd name="connsiteX82" fmla="*/ 1525905 w 4877752"/>
              <a:gd name="connsiteY82" fmla="*/ 3126721 h 3572491"/>
              <a:gd name="connsiteX83" fmla="*/ 1506855 w 4877752"/>
              <a:gd name="connsiteY83" fmla="*/ 3068619 h 3572491"/>
              <a:gd name="connsiteX84" fmla="*/ 1532573 w 4877752"/>
              <a:gd name="connsiteY84" fmla="*/ 3016232 h 3572491"/>
              <a:gd name="connsiteX85" fmla="*/ 1722120 w 4877752"/>
              <a:gd name="connsiteY85" fmla="*/ 2867642 h 3572491"/>
              <a:gd name="connsiteX86" fmla="*/ 1778318 w 4877752"/>
              <a:gd name="connsiteY86" fmla="*/ 2824779 h 3572491"/>
              <a:gd name="connsiteX87" fmla="*/ 1780223 w 4877752"/>
              <a:gd name="connsiteY87" fmla="*/ 2822874 h 3572491"/>
              <a:gd name="connsiteX88" fmla="*/ 1837373 w 4877752"/>
              <a:gd name="connsiteY88" fmla="*/ 2778107 h 3572491"/>
              <a:gd name="connsiteX89" fmla="*/ 1888808 w 4877752"/>
              <a:gd name="connsiteY89" fmla="*/ 2759057 h 3572491"/>
              <a:gd name="connsiteX90" fmla="*/ 1895475 w 4877752"/>
              <a:gd name="connsiteY90" fmla="*/ 2759057 h 3572491"/>
              <a:gd name="connsiteX91" fmla="*/ 1964055 w 4877752"/>
              <a:gd name="connsiteY91" fmla="*/ 2812396 h 3572491"/>
              <a:gd name="connsiteX92" fmla="*/ 1943100 w 4877752"/>
              <a:gd name="connsiteY92" fmla="*/ 2897169 h 3572491"/>
              <a:gd name="connsiteX93" fmla="*/ 1752600 w 4877752"/>
              <a:gd name="connsiteY93" fmla="*/ 3045759 h 3572491"/>
              <a:gd name="connsiteX94" fmla="*/ 1745933 w 4877752"/>
              <a:gd name="connsiteY94" fmla="*/ 3050521 h 3572491"/>
              <a:gd name="connsiteX95" fmla="*/ 1745933 w 4877752"/>
              <a:gd name="connsiteY95" fmla="*/ 3050521 h 3572491"/>
              <a:gd name="connsiteX96" fmla="*/ 1637348 w 4877752"/>
              <a:gd name="connsiteY96" fmla="*/ 3135294 h 3572491"/>
              <a:gd name="connsiteX97" fmla="*/ 1579245 w 4877752"/>
              <a:gd name="connsiteY97" fmla="*/ 3154344 h 3572491"/>
              <a:gd name="connsiteX98" fmla="*/ 1525905 w 4877752"/>
              <a:gd name="connsiteY98" fmla="*/ 3126721 h 3572491"/>
              <a:gd name="connsiteX99" fmla="*/ 1525905 w 4877752"/>
              <a:gd name="connsiteY99" fmla="*/ 3126721 h 3572491"/>
              <a:gd name="connsiteX100" fmla="*/ 1953578 w 4877752"/>
              <a:gd name="connsiteY100" fmla="*/ 3296267 h 3572491"/>
              <a:gd name="connsiteX101" fmla="*/ 1895475 w 4877752"/>
              <a:gd name="connsiteY101" fmla="*/ 3314364 h 3572491"/>
              <a:gd name="connsiteX102" fmla="*/ 1826895 w 4877752"/>
              <a:gd name="connsiteY102" fmla="*/ 3261024 h 3572491"/>
              <a:gd name="connsiteX103" fmla="*/ 1847850 w 4877752"/>
              <a:gd name="connsiteY103" fmla="*/ 3177204 h 3572491"/>
              <a:gd name="connsiteX104" fmla="*/ 1851660 w 4877752"/>
              <a:gd name="connsiteY104" fmla="*/ 3174346 h 3572491"/>
              <a:gd name="connsiteX105" fmla="*/ 2051685 w 4877752"/>
              <a:gd name="connsiteY105" fmla="*/ 3020042 h 3572491"/>
              <a:gd name="connsiteX106" fmla="*/ 2162175 w 4877752"/>
              <a:gd name="connsiteY106" fmla="*/ 3027661 h 3572491"/>
              <a:gd name="connsiteX107" fmla="*/ 2156460 w 4877752"/>
              <a:gd name="connsiteY107" fmla="*/ 3139104 h 3572491"/>
              <a:gd name="connsiteX108" fmla="*/ 1953578 w 4877752"/>
              <a:gd name="connsiteY108" fmla="*/ 3296267 h 3572491"/>
              <a:gd name="connsiteX109" fmla="*/ 3718560 w 4877752"/>
              <a:gd name="connsiteY109" fmla="*/ 2542839 h 3572491"/>
              <a:gd name="connsiteX110" fmla="*/ 3550920 w 4877752"/>
              <a:gd name="connsiteY110" fmla="*/ 2578082 h 3572491"/>
              <a:gd name="connsiteX111" fmla="*/ 3549968 w 4877752"/>
              <a:gd name="connsiteY111" fmla="*/ 2578082 h 3572491"/>
              <a:gd name="connsiteX112" fmla="*/ 3016568 w 4877752"/>
              <a:gd name="connsiteY112" fmla="*/ 2209464 h 3572491"/>
              <a:gd name="connsiteX113" fmla="*/ 2935605 w 4877752"/>
              <a:gd name="connsiteY113" fmla="*/ 2202796 h 3572491"/>
              <a:gd name="connsiteX114" fmla="*/ 2888933 w 4877752"/>
              <a:gd name="connsiteY114" fmla="*/ 2269471 h 3572491"/>
              <a:gd name="connsiteX115" fmla="*/ 2924175 w 4877752"/>
              <a:gd name="connsiteY115" fmla="*/ 2342814 h 3572491"/>
              <a:gd name="connsiteX116" fmla="*/ 3440430 w 4877752"/>
              <a:gd name="connsiteY116" fmla="*/ 2700001 h 3572491"/>
              <a:gd name="connsiteX117" fmla="*/ 3440430 w 4877752"/>
              <a:gd name="connsiteY117" fmla="*/ 2700001 h 3572491"/>
              <a:gd name="connsiteX118" fmla="*/ 3492818 w 4877752"/>
              <a:gd name="connsiteY118" fmla="*/ 2824779 h 3572491"/>
              <a:gd name="connsiteX119" fmla="*/ 3397568 w 4877752"/>
              <a:gd name="connsiteY119" fmla="*/ 2920029 h 3572491"/>
              <a:gd name="connsiteX120" fmla="*/ 3307080 w 4877752"/>
              <a:gd name="connsiteY120" fmla="*/ 2902884 h 3572491"/>
              <a:gd name="connsiteX121" fmla="*/ 2772728 w 4877752"/>
              <a:gd name="connsiteY121" fmla="*/ 2533314 h 3572491"/>
              <a:gd name="connsiteX122" fmla="*/ 2659380 w 4877752"/>
              <a:gd name="connsiteY122" fmla="*/ 2554269 h 3572491"/>
              <a:gd name="connsiteX123" fmla="*/ 2680335 w 4877752"/>
              <a:gd name="connsiteY123" fmla="*/ 2667617 h 3572491"/>
              <a:gd name="connsiteX124" fmla="*/ 3070860 w 4877752"/>
              <a:gd name="connsiteY124" fmla="*/ 2937174 h 3572491"/>
              <a:gd name="connsiteX125" fmla="*/ 3070860 w 4877752"/>
              <a:gd name="connsiteY125" fmla="*/ 2937174 h 3572491"/>
              <a:gd name="connsiteX126" fmla="*/ 3106103 w 4877752"/>
              <a:gd name="connsiteY126" fmla="*/ 3111482 h 3572491"/>
              <a:gd name="connsiteX127" fmla="*/ 2939415 w 4877752"/>
              <a:gd name="connsiteY127" fmla="*/ 3146724 h 3572491"/>
              <a:gd name="connsiteX128" fmla="*/ 2795588 w 4877752"/>
              <a:gd name="connsiteY128" fmla="*/ 3044807 h 3572491"/>
              <a:gd name="connsiteX129" fmla="*/ 2795588 w 4877752"/>
              <a:gd name="connsiteY129" fmla="*/ 3044807 h 3572491"/>
              <a:gd name="connsiteX130" fmla="*/ 2795588 w 4877752"/>
              <a:gd name="connsiteY130" fmla="*/ 3044807 h 3572491"/>
              <a:gd name="connsiteX131" fmla="*/ 2647950 w 4877752"/>
              <a:gd name="connsiteY131" fmla="*/ 2940984 h 3572491"/>
              <a:gd name="connsiteX132" fmla="*/ 2566988 w 4877752"/>
              <a:gd name="connsiteY132" fmla="*/ 2933364 h 3572491"/>
              <a:gd name="connsiteX133" fmla="*/ 2520315 w 4877752"/>
              <a:gd name="connsiteY133" fmla="*/ 3000039 h 3572491"/>
              <a:gd name="connsiteX134" fmla="*/ 2554605 w 4877752"/>
              <a:gd name="connsiteY134" fmla="*/ 3074334 h 3572491"/>
              <a:gd name="connsiteX135" fmla="*/ 2705100 w 4877752"/>
              <a:gd name="connsiteY135" fmla="*/ 3181014 h 3572491"/>
              <a:gd name="connsiteX136" fmla="*/ 2726055 w 4877752"/>
              <a:gd name="connsiteY136" fmla="*/ 3200064 h 3572491"/>
              <a:gd name="connsiteX137" fmla="*/ 2737485 w 4877752"/>
              <a:gd name="connsiteY137" fmla="*/ 3364846 h 3572491"/>
              <a:gd name="connsiteX138" fmla="*/ 2574608 w 4877752"/>
              <a:gd name="connsiteY138" fmla="*/ 3390564 h 3572491"/>
              <a:gd name="connsiteX139" fmla="*/ 2306955 w 4877752"/>
              <a:gd name="connsiteY139" fmla="*/ 3211494 h 3572491"/>
              <a:gd name="connsiteX140" fmla="*/ 2322195 w 4877752"/>
              <a:gd name="connsiteY140" fmla="*/ 2977179 h 3572491"/>
              <a:gd name="connsiteX141" fmla="*/ 2130743 w 4877752"/>
              <a:gd name="connsiteY141" fmla="*/ 2841924 h 3572491"/>
              <a:gd name="connsiteX142" fmla="*/ 1909763 w 4877752"/>
              <a:gd name="connsiteY142" fmla="*/ 2599036 h 3572491"/>
              <a:gd name="connsiteX143" fmla="*/ 1878330 w 4877752"/>
              <a:gd name="connsiteY143" fmla="*/ 2599036 h 3572491"/>
              <a:gd name="connsiteX144" fmla="*/ 1732598 w 4877752"/>
              <a:gd name="connsiteY144" fmla="*/ 2359006 h 3572491"/>
              <a:gd name="connsiteX145" fmla="*/ 1452563 w 4877752"/>
              <a:gd name="connsiteY145" fmla="*/ 2362817 h 3572491"/>
              <a:gd name="connsiteX146" fmla="*/ 1290638 w 4877752"/>
              <a:gd name="connsiteY146" fmla="*/ 2204701 h 3572491"/>
              <a:gd name="connsiteX147" fmla="*/ 1068705 w 4877752"/>
              <a:gd name="connsiteY147" fmla="*/ 2249469 h 3572491"/>
              <a:gd name="connsiteX148" fmla="*/ 957263 w 4877752"/>
              <a:gd name="connsiteY148" fmla="*/ 2335194 h 3572491"/>
              <a:gd name="connsiteX149" fmla="*/ 830580 w 4877752"/>
              <a:gd name="connsiteY149" fmla="*/ 2234229 h 3572491"/>
              <a:gd name="connsiteX150" fmla="*/ 1399223 w 4877752"/>
              <a:gd name="connsiteY150" fmla="*/ 1381741 h 3572491"/>
              <a:gd name="connsiteX151" fmla="*/ 2112645 w 4877752"/>
              <a:gd name="connsiteY151" fmla="*/ 1381741 h 3572491"/>
              <a:gd name="connsiteX152" fmla="*/ 2036445 w 4877752"/>
              <a:gd name="connsiteY152" fmla="*/ 1598911 h 3572491"/>
              <a:gd name="connsiteX153" fmla="*/ 2229803 w 4877752"/>
              <a:gd name="connsiteY153" fmla="*/ 1788459 h 3572491"/>
              <a:gd name="connsiteX154" fmla="*/ 2671763 w 4877752"/>
              <a:gd name="connsiteY154" fmla="*/ 1724641 h 3572491"/>
              <a:gd name="connsiteX155" fmla="*/ 2879408 w 4877752"/>
              <a:gd name="connsiteY155" fmla="*/ 1856086 h 3572491"/>
              <a:gd name="connsiteX156" fmla="*/ 2893695 w 4877752"/>
              <a:gd name="connsiteY156" fmla="*/ 1862754 h 3572491"/>
              <a:gd name="connsiteX157" fmla="*/ 3686175 w 4877752"/>
              <a:gd name="connsiteY157" fmla="*/ 2373294 h 3572491"/>
              <a:gd name="connsiteX158" fmla="*/ 3725228 w 4877752"/>
              <a:gd name="connsiteY158" fmla="*/ 2414251 h 3572491"/>
              <a:gd name="connsiteX159" fmla="*/ 3726180 w 4877752"/>
              <a:gd name="connsiteY159" fmla="*/ 2417109 h 3572491"/>
              <a:gd name="connsiteX160" fmla="*/ 3718560 w 4877752"/>
              <a:gd name="connsiteY160" fmla="*/ 2542839 h 3572491"/>
              <a:gd name="connsiteX161" fmla="*/ 3801428 w 4877752"/>
              <a:gd name="connsiteY161" fmla="*/ 2260899 h 3572491"/>
              <a:gd name="connsiteX162" fmla="*/ 3773805 w 4877752"/>
              <a:gd name="connsiteY162" fmla="*/ 2237086 h 3572491"/>
              <a:gd name="connsiteX163" fmla="*/ 2969895 w 4877752"/>
              <a:gd name="connsiteY163" fmla="*/ 1718926 h 3572491"/>
              <a:gd name="connsiteX164" fmla="*/ 2958465 w 4877752"/>
              <a:gd name="connsiteY164" fmla="*/ 1714164 h 3572491"/>
              <a:gd name="connsiteX165" fmla="*/ 2719388 w 4877752"/>
              <a:gd name="connsiteY165" fmla="*/ 1561764 h 3572491"/>
              <a:gd name="connsiteX166" fmla="*/ 2635568 w 4877752"/>
              <a:gd name="connsiteY166" fmla="*/ 1559859 h 3572491"/>
              <a:gd name="connsiteX167" fmla="*/ 2255520 w 4877752"/>
              <a:gd name="connsiteY167" fmla="*/ 1626534 h 3572491"/>
              <a:gd name="connsiteX168" fmla="*/ 2195513 w 4877752"/>
              <a:gd name="connsiteY168" fmla="*/ 1569384 h 3572491"/>
              <a:gd name="connsiteX169" fmla="*/ 2233613 w 4877752"/>
              <a:gd name="connsiteY169" fmla="*/ 1490326 h 3572491"/>
              <a:gd name="connsiteX170" fmla="*/ 2404110 w 4877752"/>
              <a:gd name="connsiteY170" fmla="*/ 1376026 h 3572491"/>
              <a:gd name="connsiteX171" fmla="*/ 2417445 w 4877752"/>
              <a:gd name="connsiteY171" fmla="*/ 1358881 h 3572491"/>
              <a:gd name="connsiteX172" fmla="*/ 2426018 w 4877752"/>
              <a:gd name="connsiteY172" fmla="*/ 1350309 h 3572491"/>
              <a:gd name="connsiteX173" fmla="*/ 2815590 w 4877752"/>
              <a:gd name="connsiteY173" fmla="*/ 1317924 h 3572491"/>
              <a:gd name="connsiteX174" fmla="*/ 3137535 w 4877752"/>
              <a:gd name="connsiteY174" fmla="*/ 1455084 h 3572491"/>
              <a:gd name="connsiteX175" fmla="*/ 3190875 w 4877752"/>
              <a:gd name="connsiteY175" fmla="*/ 1458894 h 3572491"/>
              <a:gd name="connsiteX176" fmla="*/ 3478530 w 4877752"/>
              <a:gd name="connsiteY176" fmla="*/ 1380789 h 3572491"/>
              <a:gd name="connsiteX177" fmla="*/ 3959543 w 4877752"/>
              <a:gd name="connsiteY177" fmla="*/ 2101831 h 3572491"/>
              <a:gd name="connsiteX178" fmla="*/ 3801428 w 4877752"/>
              <a:gd name="connsiteY178" fmla="*/ 2260899 h 3572491"/>
              <a:gd name="connsiteX179" fmla="*/ 4251960 w 4877752"/>
              <a:gd name="connsiteY179" fmla="*/ 2248517 h 3572491"/>
              <a:gd name="connsiteX180" fmla="*/ 3523298 w 4877752"/>
              <a:gd name="connsiteY180" fmla="*/ 1155999 h 3572491"/>
              <a:gd name="connsiteX181" fmla="*/ 3676650 w 4877752"/>
              <a:gd name="connsiteY181" fmla="*/ 1038841 h 3572491"/>
              <a:gd name="connsiteX182" fmla="*/ 4410075 w 4877752"/>
              <a:gd name="connsiteY182" fmla="*/ 2158029 h 3572491"/>
              <a:gd name="connsiteX183" fmla="*/ 4251960 w 4877752"/>
              <a:gd name="connsiteY183" fmla="*/ 2248517 h 3572491"/>
              <a:gd name="connsiteX184" fmla="*/ 4713923 w 4877752"/>
              <a:gd name="connsiteY184" fmla="*/ 1984674 h 3572491"/>
              <a:gd name="connsiteX185" fmla="*/ 4551045 w 4877752"/>
              <a:gd name="connsiteY185" fmla="*/ 2078019 h 3572491"/>
              <a:gd name="connsiteX186" fmla="*/ 3807143 w 4877752"/>
              <a:gd name="connsiteY186" fmla="*/ 939781 h 3572491"/>
              <a:gd name="connsiteX187" fmla="*/ 4714875 w 4877752"/>
              <a:gd name="connsiteY187" fmla="*/ 245409 h 3572491"/>
              <a:gd name="connsiteX188" fmla="*/ 4714875 w 4877752"/>
              <a:gd name="connsiteY188" fmla="*/ 1984674 h 3572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</a:cxnLst>
            <a:rect l="l" t="t" r="r" b="b"/>
            <a:pathLst>
              <a:path w="4877752" h="3572491">
                <a:moveTo>
                  <a:pt x="4832033" y="8236"/>
                </a:moveTo>
                <a:cubicBezTo>
                  <a:pt x="4804410" y="-5099"/>
                  <a:pt x="4771073" y="-2241"/>
                  <a:pt x="4746308" y="16809"/>
                </a:cubicBezTo>
                <a:lnTo>
                  <a:pt x="3425190" y="1026459"/>
                </a:lnTo>
                <a:cubicBezTo>
                  <a:pt x="3360420" y="1076941"/>
                  <a:pt x="3342323" y="1167429"/>
                  <a:pt x="3384233" y="1237914"/>
                </a:cubicBezTo>
                <a:lnTo>
                  <a:pt x="3175635" y="1295064"/>
                </a:lnTo>
                <a:lnTo>
                  <a:pt x="2871788" y="1165524"/>
                </a:lnTo>
                <a:cubicBezTo>
                  <a:pt x="2866073" y="1163619"/>
                  <a:pt x="2861310" y="1161714"/>
                  <a:pt x="2855595" y="1160761"/>
                </a:cubicBezTo>
                <a:cubicBezTo>
                  <a:pt x="2564130" y="1104564"/>
                  <a:pt x="2412683" y="1158856"/>
                  <a:pt x="2334578" y="1218864"/>
                </a:cubicBezTo>
                <a:lnTo>
                  <a:pt x="1503998" y="1218864"/>
                </a:lnTo>
                <a:cubicBezTo>
                  <a:pt x="1532573" y="1150284"/>
                  <a:pt x="1511618" y="1072179"/>
                  <a:pt x="1452563" y="1026459"/>
                </a:cubicBezTo>
                <a:lnTo>
                  <a:pt x="130493" y="16809"/>
                </a:lnTo>
                <a:cubicBezTo>
                  <a:pt x="105728" y="-2241"/>
                  <a:pt x="72390" y="-5099"/>
                  <a:pt x="44768" y="8236"/>
                </a:cubicBezTo>
                <a:cubicBezTo>
                  <a:pt x="17145" y="21571"/>
                  <a:pt x="0" y="50146"/>
                  <a:pt x="0" y="80626"/>
                </a:cubicBezTo>
                <a:lnTo>
                  <a:pt x="0" y="2031346"/>
                </a:lnTo>
                <a:cubicBezTo>
                  <a:pt x="0" y="2060874"/>
                  <a:pt x="15240" y="2087544"/>
                  <a:pt x="40958" y="2101831"/>
                </a:cubicBezTo>
                <a:lnTo>
                  <a:pt x="543878" y="2389486"/>
                </a:lnTo>
                <a:cubicBezTo>
                  <a:pt x="568643" y="2403774"/>
                  <a:pt x="596265" y="2410442"/>
                  <a:pt x="623888" y="2410442"/>
                </a:cubicBezTo>
                <a:cubicBezTo>
                  <a:pt x="664845" y="2410442"/>
                  <a:pt x="704850" y="2394249"/>
                  <a:pt x="735330" y="2366626"/>
                </a:cubicBezTo>
                <a:lnTo>
                  <a:pt x="829628" y="2441874"/>
                </a:lnTo>
                <a:cubicBezTo>
                  <a:pt x="774383" y="2512359"/>
                  <a:pt x="762953" y="2606657"/>
                  <a:pt x="798195" y="2687619"/>
                </a:cubicBezTo>
                <a:cubicBezTo>
                  <a:pt x="833438" y="2769534"/>
                  <a:pt x="911543" y="2824779"/>
                  <a:pt x="1000125" y="2831446"/>
                </a:cubicBezTo>
                <a:cubicBezTo>
                  <a:pt x="1006793" y="2832399"/>
                  <a:pt x="1013460" y="2832399"/>
                  <a:pt x="1021080" y="2832399"/>
                </a:cubicBezTo>
                <a:cubicBezTo>
                  <a:pt x="1033463" y="2832399"/>
                  <a:pt x="1045845" y="2831446"/>
                  <a:pt x="1058228" y="2829542"/>
                </a:cubicBezTo>
                <a:cubicBezTo>
                  <a:pt x="1062990" y="2887644"/>
                  <a:pt x="1085850" y="2942889"/>
                  <a:pt x="1123950" y="2986704"/>
                </a:cubicBezTo>
                <a:lnTo>
                  <a:pt x="1123950" y="2986704"/>
                </a:lnTo>
                <a:cubicBezTo>
                  <a:pt x="1172528" y="3044807"/>
                  <a:pt x="1242060" y="3080049"/>
                  <a:pt x="1317308" y="3086717"/>
                </a:cubicBezTo>
                <a:cubicBezTo>
                  <a:pt x="1324928" y="3087669"/>
                  <a:pt x="1333500" y="3087669"/>
                  <a:pt x="1341120" y="3087669"/>
                </a:cubicBezTo>
                <a:cubicBezTo>
                  <a:pt x="1342073" y="3087669"/>
                  <a:pt x="1343978" y="3087669"/>
                  <a:pt x="1344930" y="3087669"/>
                </a:cubicBezTo>
                <a:cubicBezTo>
                  <a:pt x="1346835" y="3140057"/>
                  <a:pt x="1366838" y="3191492"/>
                  <a:pt x="1401128" y="3231496"/>
                </a:cubicBezTo>
                <a:cubicBezTo>
                  <a:pt x="1447800" y="3285789"/>
                  <a:pt x="1515428" y="3317221"/>
                  <a:pt x="1586865" y="3317221"/>
                </a:cubicBezTo>
                <a:cubicBezTo>
                  <a:pt x="1615440" y="3317221"/>
                  <a:pt x="1643063" y="3312459"/>
                  <a:pt x="1669733" y="3301982"/>
                </a:cubicBezTo>
                <a:cubicBezTo>
                  <a:pt x="1696403" y="3399136"/>
                  <a:pt x="1781175" y="3468669"/>
                  <a:pt x="1882140" y="3476289"/>
                </a:cubicBezTo>
                <a:cubicBezTo>
                  <a:pt x="1888808" y="3477242"/>
                  <a:pt x="1895475" y="3477242"/>
                  <a:pt x="1903095" y="3477242"/>
                </a:cubicBezTo>
                <a:cubicBezTo>
                  <a:pt x="1959293" y="3477242"/>
                  <a:pt x="2013585" y="3458192"/>
                  <a:pt x="2056448" y="3421996"/>
                </a:cubicBezTo>
                <a:lnTo>
                  <a:pt x="2184083" y="3323889"/>
                </a:lnTo>
                <a:lnTo>
                  <a:pt x="2484120" y="3524867"/>
                </a:lnTo>
                <a:cubicBezTo>
                  <a:pt x="2530793" y="3555346"/>
                  <a:pt x="2585085" y="3572492"/>
                  <a:pt x="2641283" y="3572492"/>
                </a:cubicBezTo>
                <a:cubicBezTo>
                  <a:pt x="2660333" y="3572492"/>
                  <a:pt x="2679383" y="3570586"/>
                  <a:pt x="2698433" y="3566776"/>
                </a:cubicBezTo>
                <a:cubicBezTo>
                  <a:pt x="2820353" y="3542011"/>
                  <a:pt x="2912745" y="3441046"/>
                  <a:pt x="2925128" y="3317221"/>
                </a:cubicBezTo>
                <a:cubicBezTo>
                  <a:pt x="3006090" y="3341986"/>
                  <a:pt x="3094673" y="3328651"/>
                  <a:pt x="3165158" y="3281026"/>
                </a:cubicBezTo>
                <a:cubicBezTo>
                  <a:pt x="3235643" y="3233401"/>
                  <a:pt x="3280410" y="3156249"/>
                  <a:pt x="3286125" y="3070524"/>
                </a:cubicBezTo>
                <a:cubicBezTo>
                  <a:pt x="3380423" y="3101957"/>
                  <a:pt x="3484245" y="3081001"/>
                  <a:pt x="3559493" y="3016232"/>
                </a:cubicBezTo>
                <a:cubicBezTo>
                  <a:pt x="3634740" y="2951461"/>
                  <a:pt x="3670935" y="2852401"/>
                  <a:pt x="3654743" y="2754294"/>
                </a:cubicBezTo>
                <a:cubicBezTo>
                  <a:pt x="3736658" y="2744769"/>
                  <a:pt x="3809048" y="2700001"/>
                  <a:pt x="3854768" y="2632374"/>
                </a:cubicBezTo>
                <a:cubicBezTo>
                  <a:pt x="3900488" y="2563794"/>
                  <a:pt x="3913823" y="2479021"/>
                  <a:pt x="3891915" y="2399964"/>
                </a:cubicBezTo>
                <a:lnTo>
                  <a:pt x="4051935" y="2239944"/>
                </a:lnTo>
                <a:lnTo>
                  <a:pt x="4117658" y="2338051"/>
                </a:lnTo>
                <a:cubicBezTo>
                  <a:pt x="4165283" y="2409489"/>
                  <a:pt x="4259580" y="2431396"/>
                  <a:pt x="4333875" y="2389486"/>
                </a:cubicBezTo>
                <a:lnTo>
                  <a:pt x="4836795" y="2101831"/>
                </a:lnTo>
                <a:cubicBezTo>
                  <a:pt x="4862513" y="2087544"/>
                  <a:pt x="4877753" y="2060874"/>
                  <a:pt x="4877753" y="2031346"/>
                </a:cubicBezTo>
                <a:lnTo>
                  <a:pt x="4877753" y="80626"/>
                </a:lnTo>
                <a:cubicBezTo>
                  <a:pt x="4876800" y="50146"/>
                  <a:pt x="4859655" y="21571"/>
                  <a:pt x="4832033" y="8236"/>
                </a:cubicBezTo>
                <a:close/>
                <a:moveTo>
                  <a:pt x="162878" y="245409"/>
                </a:moveTo>
                <a:lnTo>
                  <a:pt x="1070610" y="938829"/>
                </a:lnTo>
                <a:lnTo>
                  <a:pt x="325755" y="2078019"/>
                </a:lnTo>
                <a:lnTo>
                  <a:pt x="162878" y="1984674"/>
                </a:lnTo>
                <a:lnTo>
                  <a:pt x="162878" y="245409"/>
                </a:lnTo>
                <a:close/>
                <a:moveTo>
                  <a:pt x="466725" y="2158029"/>
                </a:moveTo>
                <a:lnTo>
                  <a:pt x="1199198" y="1037889"/>
                </a:lnTo>
                <a:lnTo>
                  <a:pt x="1352550" y="1155046"/>
                </a:lnTo>
                <a:lnTo>
                  <a:pt x="624840" y="2248517"/>
                </a:lnTo>
                <a:lnTo>
                  <a:pt x="466725" y="2158029"/>
                </a:lnTo>
                <a:close/>
                <a:moveTo>
                  <a:pt x="1014413" y="2670474"/>
                </a:moveTo>
                <a:cubicBezTo>
                  <a:pt x="982980" y="2667617"/>
                  <a:pt x="956310" y="2646661"/>
                  <a:pt x="945833" y="2617134"/>
                </a:cubicBezTo>
                <a:cubicBezTo>
                  <a:pt x="935355" y="2587607"/>
                  <a:pt x="943928" y="2554269"/>
                  <a:pt x="966788" y="2532361"/>
                </a:cubicBezTo>
                <a:lnTo>
                  <a:pt x="1169670" y="2375199"/>
                </a:lnTo>
                <a:cubicBezTo>
                  <a:pt x="1183958" y="2362817"/>
                  <a:pt x="1202055" y="2356149"/>
                  <a:pt x="1221105" y="2356149"/>
                </a:cubicBezTo>
                <a:cubicBezTo>
                  <a:pt x="1223010" y="2356149"/>
                  <a:pt x="1225868" y="2356149"/>
                  <a:pt x="1227773" y="2356149"/>
                </a:cubicBezTo>
                <a:cubicBezTo>
                  <a:pt x="1259205" y="2359006"/>
                  <a:pt x="1285875" y="2379961"/>
                  <a:pt x="1296353" y="2409489"/>
                </a:cubicBezTo>
                <a:cubicBezTo>
                  <a:pt x="1306830" y="2439017"/>
                  <a:pt x="1298258" y="2472354"/>
                  <a:pt x="1275398" y="2494261"/>
                </a:cubicBezTo>
                <a:lnTo>
                  <a:pt x="1072515" y="2651424"/>
                </a:lnTo>
                <a:cubicBezTo>
                  <a:pt x="1056323" y="2665711"/>
                  <a:pt x="1035368" y="2672379"/>
                  <a:pt x="1014413" y="2670474"/>
                </a:cubicBezTo>
                <a:close/>
                <a:moveTo>
                  <a:pt x="1330643" y="2924792"/>
                </a:moveTo>
                <a:cubicBezTo>
                  <a:pt x="1282065" y="2920982"/>
                  <a:pt x="1241108" y="2888596"/>
                  <a:pt x="1224915" y="2841924"/>
                </a:cubicBezTo>
                <a:cubicBezTo>
                  <a:pt x="1209675" y="2796204"/>
                  <a:pt x="1223010" y="2744769"/>
                  <a:pt x="1259205" y="2712384"/>
                </a:cubicBezTo>
                <a:lnTo>
                  <a:pt x="1515428" y="2514264"/>
                </a:lnTo>
                <a:cubicBezTo>
                  <a:pt x="1553528" y="2482832"/>
                  <a:pt x="1605915" y="2476164"/>
                  <a:pt x="1649730" y="2499024"/>
                </a:cubicBezTo>
                <a:cubicBezTo>
                  <a:pt x="1693545" y="2521884"/>
                  <a:pt x="1719263" y="2568557"/>
                  <a:pt x="1715453" y="2617134"/>
                </a:cubicBezTo>
                <a:cubicBezTo>
                  <a:pt x="1713548" y="2647614"/>
                  <a:pt x="1699260" y="2675236"/>
                  <a:pt x="1677353" y="2696192"/>
                </a:cubicBezTo>
                <a:lnTo>
                  <a:pt x="1607820" y="2750484"/>
                </a:lnTo>
                <a:lnTo>
                  <a:pt x="1419225" y="2896217"/>
                </a:lnTo>
                <a:cubicBezTo>
                  <a:pt x="1395413" y="2918124"/>
                  <a:pt x="1363028" y="2927649"/>
                  <a:pt x="1330643" y="2924792"/>
                </a:cubicBezTo>
                <a:close/>
                <a:moveTo>
                  <a:pt x="1525905" y="3126721"/>
                </a:moveTo>
                <a:cubicBezTo>
                  <a:pt x="1512570" y="3110529"/>
                  <a:pt x="1505903" y="3089574"/>
                  <a:pt x="1506855" y="3068619"/>
                </a:cubicBezTo>
                <a:cubicBezTo>
                  <a:pt x="1507808" y="3048617"/>
                  <a:pt x="1517333" y="3029567"/>
                  <a:pt x="1532573" y="3016232"/>
                </a:cubicBezTo>
                <a:lnTo>
                  <a:pt x="1722120" y="2867642"/>
                </a:lnTo>
                <a:lnTo>
                  <a:pt x="1778318" y="2824779"/>
                </a:lnTo>
                <a:cubicBezTo>
                  <a:pt x="1779270" y="2823826"/>
                  <a:pt x="1779270" y="2823826"/>
                  <a:pt x="1780223" y="2822874"/>
                </a:cubicBezTo>
                <a:lnTo>
                  <a:pt x="1837373" y="2778107"/>
                </a:lnTo>
                <a:cubicBezTo>
                  <a:pt x="1851660" y="2765724"/>
                  <a:pt x="1869758" y="2759057"/>
                  <a:pt x="1888808" y="2759057"/>
                </a:cubicBezTo>
                <a:cubicBezTo>
                  <a:pt x="1890713" y="2759057"/>
                  <a:pt x="1893570" y="2759057"/>
                  <a:pt x="1895475" y="2759057"/>
                </a:cubicBezTo>
                <a:cubicBezTo>
                  <a:pt x="1926908" y="2761914"/>
                  <a:pt x="1953578" y="2782869"/>
                  <a:pt x="1964055" y="2812396"/>
                </a:cubicBezTo>
                <a:cubicBezTo>
                  <a:pt x="1974533" y="2841924"/>
                  <a:pt x="1965960" y="2875261"/>
                  <a:pt x="1943100" y="2897169"/>
                </a:cubicBezTo>
                <a:lnTo>
                  <a:pt x="1752600" y="3045759"/>
                </a:lnTo>
                <a:lnTo>
                  <a:pt x="1745933" y="3050521"/>
                </a:lnTo>
                <a:lnTo>
                  <a:pt x="1745933" y="3050521"/>
                </a:lnTo>
                <a:lnTo>
                  <a:pt x="1637348" y="3135294"/>
                </a:lnTo>
                <a:cubicBezTo>
                  <a:pt x="1621155" y="3148629"/>
                  <a:pt x="1600200" y="3155296"/>
                  <a:pt x="1579245" y="3154344"/>
                </a:cubicBezTo>
                <a:cubicBezTo>
                  <a:pt x="1558290" y="3153392"/>
                  <a:pt x="1539240" y="3142914"/>
                  <a:pt x="1525905" y="3126721"/>
                </a:cubicBezTo>
                <a:lnTo>
                  <a:pt x="1525905" y="3126721"/>
                </a:lnTo>
                <a:close/>
                <a:moveTo>
                  <a:pt x="1953578" y="3296267"/>
                </a:moveTo>
                <a:cubicBezTo>
                  <a:pt x="1937385" y="3310554"/>
                  <a:pt x="1916430" y="3317221"/>
                  <a:pt x="1895475" y="3314364"/>
                </a:cubicBezTo>
                <a:cubicBezTo>
                  <a:pt x="1864043" y="3311507"/>
                  <a:pt x="1837373" y="3290551"/>
                  <a:pt x="1826895" y="3261024"/>
                </a:cubicBezTo>
                <a:cubicBezTo>
                  <a:pt x="1816418" y="3231496"/>
                  <a:pt x="1824990" y="3198159"/>
                  <a:pt x="1847850" y="3177204"/>
                </a:cubicBezTo>
                <a:lnTo>
                  <a:pt x="1851660" y="3174346"/>
                </a:lnTo>
                <a:lnTo>
                  <a:pt x="2051685" y="3020042"/>
                </a:lnTo>
                <a:cubicBezTo>
                  <a:pt x="2085023" y="2992419"/>
                  <a:pt x="2133600" y="2995276"/>
                  <a:pt x="2162175" y="3027661"/>
                </a:cubicBezTo>
                <a:cubicBezTo>
                  <a:pt x="2190750" y="3060046"/>
                  <a:pt x="2188845" y="3109576"/>
                  <a:pt x="2156460" y="3139104"/>
                </a:cubicBezTo>
                <a:lnTo>
                  <a:pt x="1953578" y="3296267"/>
                </a:lnTo>
                <a:close/>
                <a:moveTo>
                  <a:pt x="3718560" y="2542839"/>
                </a:moveTo>
                <a:cubicBezTo>
                  <a:pt x="3681413" y="2598084"/>
                  <a:pt x="3607118" y="2613324"/>
                  <a:pt x="3550920" y="2578082"/>
                </a:cubicBezTo>
                <a:lnTo>
                  <a:pt x="3549968" y="2578082"/>
                </a:lnTo>
                <a:lnTo>
                  <a:pt x="3016568" y="2209464"/>
                </a:lnTo>
                <a:cubicBezTo>
                  <a:pt x="2992755" y="2193271"/>
                  <a:pt x="2961323" y="2190414"/>
                  <a:pt x="2935605" y="2202796"/>
                </a:cubicBezTo>
                <a:cubicBezTo>
                  <a:pt x="2909888" y="2215179"/>
                  <a:pt x="2891790" y="2240896"/>
                  <a:pt x="2888933" y="2269471"/>
                </a:cubicBezTo>
                <a:cubicBezTo>
                  <a:pt x="2887028" y="2298046"/>
                  <a:pt x="2900363" y="2326621"/>
                  <a:pt x="2924175" y="2342814"/>
                </a:cubicBezTo>
                <a:lnTo>
                  <a:pt x="3440430" y="2700001"/>
                </a:lnTo>
                <a:lnTo>
                  <a:pt x="3440430" y="2700001"/>
                </a:lnTo>
                <a:cubicBezTo>
                  <a:pt x="3481388" y="2727624"/>
                  <a:pt x="3502343" y="2776201"/>
                  <a:pt x="3492818" y="2824779"/>
                </a:cubicBezTo>
                <a:cubicBezTo>
                  <a:pt x="3483293" y="2873357"/>
                  <a:pt x="3445193" y="2910504"/>
                  <a:pt x="3397568" y="2920029"/>
                </a:cubicBezTo>
                <a:cubicBezTo>
                  <a:pt x="3366135" y="2926696"/>
                  <a:pt x="3333750" y="2920029"/>
                  <a:pt x="3307080" y="2902884"/>
                </a:cubicBezTo>
                <a:lnTo>
                  <a:pt x="2772728" y="2533314"/>
                </a:lnTo>
                <a:cubicBezTo>
                  <a:pt x="2735580" y="2507596"/>
                  <a:pt x="2685098" y="2517121"/>
                  <a:pt x="2659380" y="2554269"/>
                </a:cubicBezTo>
                <a:cubicBezTo>
                  <a:pt x="2633663" y="2591417"/>
                  <a:pt x="2643188" y="2641899"/>
                  <a:pt x="2680335" y="2667617"/>
                </a:cubicBezTo>
                <a:lnTo>
                  <a:pt x="3070860" y="2937174"/>
                </a:lnTo>
                <a:lnTo>
                  <a:pt x="3070860" y="2937174"/>
                </a:lnTo>
                <a:cubicBezTo>
                  <a:pt x="3127058" y="2977179"/>
                  <a:pt x="3142298" y="3053379"/>
                  <a:pt x="3106103" y="3111482"/>
                </a:cubicBezTo>
                <a:cubicBezTo>
                  <a:pt x="3069908" y="3166726"/>
                  <a:pt x="2994660" y="3182919"/>
                  <a:pt x="2939415" y="3146724"/>
                </a:cubicBezTo>
                <a:lnTo>
                  <a:pt x="2795588" y="3044807"/>
                </a:lnTo>
                <a:lnTo>
                  <a:pt x="2795588" y="3044807"/>
                </a:lnTo>
                <a:lnTo>
                  <a:pt x="2795588" y="3044807"/>
                </a:lnTo>
                <a:lnTo>
                  <a:pt x="2647950" y="2940984"/>
                </a:lnTo>
                <a:cubicBezTo>
                  <a:pt x="2624138" y="2923839"/>
                  <a:pt x="2593658" y="2920982"/>
                  <a:pt x="2566988" y="2933364"/>
                </a:cubicBezTo>
                <a:cubicBezTo>
                  <a:pt x="2540318" y="2945746"/>
                  <a:pt x="2522220" y="2970511"/>
                  <a:pt x="2520315" y="3000039"/>
                </a:cubicBezTo>
                <a:cubicBezTo>
                  <a:pt x="2517458" y="3028614"/>
                  <a:pt x="2530793" y="3057189"/>
                  <a:pt x="2554605" y="3074334"/>
                </a:cubicBezTo>
                <a:lnTo>
                  <a:pt x="2705100" y="3181014"/>
                </a:lnTo>
                <a:cubicBezTo>
                  <a:pt x="2712720" y="3186729"/>
                  <a:pt x="2719388" y="3193396"/>
                  <a:pt x="2726055" y="3200064"/>
                </a:cubicBezTo>
                <a:cubicBezTo>
                  <a:pt x="2771775" y="3243879"/>
                  <a:pt x="2777490" y="3315317"/>
                  <a:pt x="2737485" y="3364846"/>
                </a:cubicBezTo>
                <a:cubicBezTo>
                  <a:pt x="2698433" y="3414376"/>
                  <a:pt x="2626995" y="3425807"/>
                  <a:pt x="2574608" y="3390564"/>
                </a:cubicBezTo>
                <a:lnTo>
                  <a:pt x="2306955" y="3211494"/>
                </a:lnTo>
                <a:cubicBezTo>
                  <a:pt x="2352675" y="3141009"/>
                  <a:pt x="2358390" y="3052426"/>
                  <a:pt x="2322195" y="2977179"/>
                </a:cubicBezTo>
                <a:cubicBezTo>
                  <a:pt x="2286000" y="2901932"/>
                  <a:pt x="2213610" y="2850496"/>
                  <a:pt x="2130743" y="2841924"/>
                </a:cubicBezTo>
                <a:cubicBezTo>
                  <a:pt x="2132648" y="2715242"/>
                  <a:pt x="2035493" y="2609514"/>
                  <a:pt x="1909763" y="2599036"/>
                </a:cubicBezTo>
                <a:cubicBezTo>
                  <a:pt x="1899285" y="2598084"/>
                  <a:pt x="1888808" y="2598084"/>
                  <a:pt x="1878330" y="2599036"/>
                </a:cubicBezTo>
                <a:cubicBezTo>
                  <a:pt x="1875473" y="2499024"/>
                  <a:pt x="1820228" y="2407584"/>
                  <a:pt x="1732598" y="2359006"/>
                </a:cubicBezTo>
                <a:cubicBezTo>
                  <a:pt x="1644968" y="2310429"/>
                  <a:pt x="1538288" y="2312334"/>
                  <a:pt x="1452563" y="2362817"/>
                </a:cubicBezTo>
                <a:cubicBezTo>
                  <a:pt x="1427798" y="2286617"/>
                  <a:pt x="1367790" y="2226609"/>
                  <a:pt x="1290638" y="2204701"/>
                </a:cubicBezTo>
                <a:cubicBezTo>
                  <a:pt x="1213485" y="2181842"/>
                  <a:pt x="1130618" y="2198986"/>
                  <a:pt x="1068705" y="2249469"/>
                </a:cubicBezTo>
                <a:lnTo>
                  <a:pt x="957263" y="2335194"/>
                </a:lnTo>
                <a:lnTo>
                  <a:pt x="830580" y="2234229"/>
                </a:lnTo>
                <a:lnTo>
                  <a:pt x="1399223" y="1381741"/>
                </a:lnTo>
                <a:lnTo>
                  <a:pt x="2112645" y="1381741"/>
                </a:lnTo>
                <a:cubicBezTo>
                  <a:pt x="2050733" y="1436034"/>
                  <a:pt x="2022158" y="1518901"/>
                  <a:pt x="2036445" y="1598911"/>
                </a:cubicBezTo>
                <a:cubicBezTo>
                  <a:pt x="2053590" y="1697019"/>
                  <a:pt x="2130743" y="1773219"/>
                  <a:pt x="2229803" y="1788459"/>
                </a:cubicBezTo>
                <a:cubicBezTo>
                  <a:pt x="2380298" y="1809414"/>
                  <a:pt x="2533650" y="1787506"/>
                  <a:pt x="2671763" y="1724641"/>
                </a:cubicBezTo>
                <a:lnTo>
                  <a:pt x="2879408" y="1856086"/>
                </a:lnTo>
                <a:cubicBezTo>
                  <a:pt x="2884170" y="1858944"/>
                  <a:pt x="2888933" y="1860849"/>
                  <a:pt x="2893695" y="1862754"/>
                </a:cubicBezTo>
                <a:lnTo>
                  <a:pt x="3686175" y="2373294"/>
                </a:lnTo>
                <a:cubicBezTo>
                  <a:pt x="3701415" y="2383771"/>
                  <a:pt x="3714750" y="2398059"/>
                  <a:pt x="3725228" y="2414251"/>
                </a:cubicBezTo>
                <a:cubicBezTo>
                  <a:pt x="3725228" y="2415204"/>
                  <a:pt x="3726180" y="2416156"/>
                  <a:pt x="3726180" y="2417109"/>
                </a:cubicBezTo>
                <a:cubicBezTo>
                  <a:pt x="3746183" y="2457114"/>
                  <a:pt x="3743325" y="2505692"/>
                  <a:pt x="3718560" y="2542839"/>
                </a:cubicBezTo>
                <a:close/>
                <a:moveTo>
                  <a:pt x="3801428" y="2260899"/>
                </a:moveTo>
                <a:cubicBezTo>
                  <a:pt x="3792855" y="2252326"/>
                  <a:pt x="3783330" y="2244706"/>
                  <a:pt x="3773805" y="2237086"/>
                </a:cubicBezTo>
                <a:lnTo>
                  <a:pt x="2969895" y="1718926"/>
                </a:lnTo>
                <a:cubicBezTo>
                  <a:pt x="2966085" y="1717021"/>
                  <a:pt x="2962275" y="1716069"/>
                  <a:pt x="2958465" y="1714164"/>
                </a:cubicBezTo>
                <a:lnTo>
                  <a:pt x="2719388" y="1561764"/>
                </a:lnTo>
                <a:cubicBezTo>
                  <a:pt x="2693670" y="1545571"/>
                  <a:pt x="2661285" y="1544619"/>
                  <a:pt x="2635568" y="1559859"/>
                </a:cubicBezTo>
                <a:cubicBezTo>
                  <a:pt x="2518410" y="1620819"/>
                  <a:pt x="2386013" y="1643679"/>
                  <a:pt x="2255520" y="1626534"/>
                </a:cubicBezTo>
                <a:cubicBezTo>
                  <a:pt x="2225040" y="1622724"/>
                  <a:pt x="2200275" y="1599864"/>
                  <a:pt x="2195513" y="1569384"/>
                </a:cubicBezTo>
                <a:cubicBezTo>
                  <a:pt x="2189798" y="1537951"/>
                  <a:pt x="2205038" y="1505566"/>
                  <a:pt x="2233613" y="1490326"/>
                </a:cubicBezTo>
                <a:cubicBezTo>
                  <a:pt x="2294573" y="1458894"/>
                  <a:pt x="2351723" y="1420794"/>
                  <a:pt x="2404110" y="1376026"/>
                </a:cubicBezTo>
                <a:cubicBezTo>
                  <a:pt x="2409825" y="1371264"/>
                  <a:pt x="2414588" y="1365549"/>
                  <a:pt x="2417445" y="1358881"/>
                </a:cubicBezTo>
                <a:cubicBezTo>
                  <a:pt x="2420303" y="1356024"/>
                  <a:pt x="2423160" y="1353166"/>
                  <a:pt x="2426018" y="1350309"/>
                </a:cubicBezTo>
                <a:cubicBezTo>
                  <a:pt x="2449830" y="1330306"/>
                  <a:pt x="2547938" y="1268394"/>
                  <a:pt x="2815590" y="1317924"/>
                </a:cubicBezTo>
                <a:lnTo>
                  <a:pt x="3137535" y="1455084"/>
                </a:lnTo>
                <a:cubicBezTo>
                  <a:pt x="3154680" y="1462704"/>
                  <a:pt x="3172778" y="1463656"/>
                  <a:pt x="3190875" y="1458894"/>
                </a:cubicBezTo>
                <a:lnTo>
                  <a:pt x="3478530" y="1380789"/>
                </a:lnTo>
                <a:lnTo>
                  <a:pt x="3959543" y="2101831"/>
                </a:lnTo>
                <a:lnTo>
                  <a:pt x="3801428" y="2260899"/>
                </a:lnTo>
                <a:close/>
                <a:moveTo>
                  <a:pt x="4251960" y="2248517"/>
                </a:moveTo>
                <a:lnTo>
                  <a:pt x="3523298" y="1155999"/>
                </a:lnTo>
                <a:lnTo>
                  <a:pt x="3676650" y="1038841"/>
                </a:lnTo>
                <a:lnTo>
                  <a:pt x="4410075" y="2158029"/>
                </a:lnTo>
                <a:lnTo>
                  <a:pt x="4251960" y="2248517"/>
                </a:lnTo>
                <a:close/>
                <a:moveTo>
                  <a:pt x="4713923" y="1984674"/>
                </a:moveTo>
                <a:lnTo>
                  <a:pt x="4551045" y="2078019"/>
                </a:lnTo>
                <a:lnTo>
                  <a:pt x="3807143" y="939781"/>
                </a:lnTo>
                <a:lnTo>
                  <a:pt x="4714875" y="245409"/>
                </a:lnTo>
                <a:lnTo>
                  <a:pt x="4714875" y="1984674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pic>
        <p:nvPicPr>
          <p:cNvPr id="80" name="Gráfico 79">
            <a:extLst>
              <a:ext uri="{FF2B5EF4-FFF2-40B4-BE49-F238E27FC236}">
                <a16:creationId xmlns:a16="http://schemas.microsoft.com/office/drawing/2014/main" id="{48E07BC1-2C8D-4F13-98BA-379D65DE8AB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39594" y="4061735"/>
            <a:ext cx="560674" cy="615140"/>
          </a:xfrm>
          <a:prstGeom prst="rect">
            <a:avLst/>
          </a:prstGeom>
        </p:spPr>
      </p:pic>
      <p:pic>
        <p:nvPicPr>
          <p:cNvPr id="81" name="Gráfico 80">
            <a:extLst>
              <a:ext uri="{FF2B5EF4-FFF2-40B4-BE49-F238E27FC236}">
                <a16:creationId xmlns:a16="http://schemas.microsoft.com/office/drawing/2014/main" id="{0A33D6C3-30E2-4B52-8949-388365F5DD7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711415" y="5269252"/>
            <a:ext cx="617033" cy="617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499005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ço Reservado para Texto 8">
            <a:extLst>
              <a:ext uri="{FF2B5EF4-FFF2-40B4-BE49-F238E27FC236}">
                <a16:creationId xmlns:a16="http://schemas.microsoft.com/office/drawing/2014/main" id="{05F2DE88-103C-4659-8889-8BFC96EF9AF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Inserir aqui o título do slid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7F394A56-DAFE-4A7A-BD1D-5E16809FE8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erir aqui o subtítulo do slide</a:t>
            </a:r>
          </a:p>
        </p:txBody>
      </p:sp>
      <p:grpSp>
        <p:nvGrpSpPr>
          <p:cNvPr id="21" name="Agrupar 20">
            <a:extLst>
              <a:ext uri="{FF2B5EF4-FFF2-40B4-BE49-F238E27FC236}">
                <a16:creationId xmlns:a16="http://schemas.microsoft.com/office/drawing/2014/main" id="{7B1FE3F3-07F2-4CE9-9AC4-2E3336331C2F}"/>
              </a:ext>
            </a:extLst>
          </p:cNvPr>
          <p:cNvGrpSpPr/>
          <p:nvPr/>
        </p:nvGrpSpPr>
        <p:grpSpPr>
          <a:xfrm>
            <a:off x="587375" y="1144203"/>
            <a:ext cx="11125200" cy="992778"/>
            <a:chOff x="587375" y="1314993"/>
            <a:chExt cx="10768594" cy="992778"/>
          </a:xfrm>
        </p:grpSpPr>
        <p:sp>
          <p:nvSpPr>
            <p:cNvPr id="14" name="Seta: para a Direita 13">
              <a:extLst>
                <a:ext uri="{FF2B5EF4-FFF2-40B4-BE49-F238E27FC236}">
                  <a16:creationId xmlns:a16="http://schemas.microsoft.com/office/drawing/2014/main" id="{C71B3301-B5F2-4044-9460-DC0626B13CAA}"/>
                </a:ext>
              </a:extLst>
            </p:cNvPr>
            <p:cNvSpPr/>
            <p:nvPr/>
          </p:nvSpPr>
          <p:spPr>
            <a:xfrm>
              <a:off x="8294459" y="1314993"/>
              <a:ext cx="3061510" cy="992777"/>
            </a:xfrm>
            <a:prstGeom prst="rightArrow">
              <a:avLst>
                <a:gd name="adj1" fmla="val 100000"/>
                <a:gd name="adj2" fmla="val 0"/>
              </a:avLst>
            </a:prstGeom>
            <a:solidFill>
              <a:srgbClr val="899DBD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pt-BR" dirty="0"/>
            </a:p>
          </p:txBody>
        </p:sp>
        <p:sp>
          <p:nvSpPr>
            <p:cNvPr id="13" name="Seta: para a Direita 12">
              <a:extLst>
                <a:ext uri="{FF2B5EF4-FFF2-40B4-BE49-F238E27FC236}">
                  <a16:creationId xmlns:a16="http://schemas.microsoft.com/office/drawing/2014/main" id="{D8746946-6C49-4615-BA6A-8CB30E67E098}"/>
                </a:ext>
              </a:extLst>
            </p:cNvPr>
            <p:cNvSpPr/>
            <p:nvPr/>
          </p:nvSpPr>
          <p:spPr>
            <a:xfrm>
              <a:off x="5725431" y="1314993"/>
              <a:ext cx="3061516" cy="992777"/>
            </a:xfrm>
            <a:prstGeom prst="rightArrow">
              <a:avLst>
                <a:gd name="adj1" fmla="val 100000"/>
                <a:gd name="adj2" fmla="val 50000"/>
              </a:avLst>
            </a:prstGeom>
            <a:solidFill>
              <a:srgbClr val="4B6185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pt-BR"/>
            </a:p>
          </p:txBody>
        </p:sp>
        <p:sp>
          <p:nvSpPr>
            <p:cNvPr id="12" name="Seta: para a Direita 11">
              <a:extLst>
                <a:ext uri="{FF2B5EF4-FFF2-40B4-BE49-F238E27FC236}">
                  <a16:creationId xmlns:a16="http://schemas.microsoft.com/office/drawing/2014/main" id="{EA6E0033-047D-4D66-8D95-56D370225D05}"/>
                </a:ext>
              </a:extLst>
            </p:cNvPr>
            <p:cNvSpPr/>
            <p:nvPr/>
          </p:nvSpPr>
          <p:spPr>
            <a:xfrm>
              <a:off x="3156403" y="1314994"/>
              <a:ext cx="3061516" cy="992777"/>
            </a:xfrm>
            <a:prstGeom prst="rightArrow">
              <a:avLst>
                <a:gd name="adj1" fmla="val 100000"/>
                <a:gd name="adj2" fmla="val 50000"/>
              </a:avLst>
            </a:prstGeom>
            <a:solidFill>
              <a:srgbClr val="11385A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pt-BR"/>
            </a:p>
          </p:txBody>
        </p:sp>
        <p:sp>
          <p:nvSpPr>
            <p:cNvPr id="11" name="Seta: para a Direita 10">
              <a:extLst>
                <a:ext uri="{FF2B5EF4-FFF2-40B4-BE49-F238E27FC236}">
                  <a16:creationId xmlns:a16="http://schemas.microsoft.com/office/drawing/2014/main" id="{BFC11CD4-2ABE-4AED-A370-569CB6784ECF}"/>
                </a:ext>
              </a:extLst>
            </p:cNvPr>
            <p:cNvSpPr/>
            <p:nvPr/>
          </p:nvSpPr>
          <p:spPr>
            <a:xfrm>
              <a:off x="587375" y="1314994"/>
              <a:ext cx="3061516" cy="992777"/>
            </a:xfrm>
            <a:prstGeom prst="rightArrow">
              <a:avLst>
                <a:gd name="adj1" fmla="val 100000"/>
                <a:gd name="adj2" fmla="val 50000"/>
              </a:avLst>
            </a:prstGeom>
            <a:solidFill>
              <a:srgbClr val="263143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pt-BR"/>
            </a:p>
          </p:txBody>
        </p:sp>
      </p:grpSp>
      <p:cxnSp>
        <p:nvCxnSpPr>
          <p:cNvPr id="16" name="Conector reto 15">
            <a:extLst>
              <a:ext uri="{FF2B5EF4-FFF2-40B4-BE49-F238E27FC236}">
                <a16:creationId xmlns:a16="http://schemas.microsoft.com/office/drawing/2014/main" id="{69BCD682-4C92-4939-87D0-1C797EA9BD6C}"/>
              </a:ext>
            </a:extLst>
          </p:cNvPr>
          <p:cNvCxnSpPr/>
          <p:nvPr/>
        </p:nvCxnSpPr>
        <p:spPr>
          <a:xfrm>
            <a:off x="3210837" y="2412400"/>
            <a:ext cx="0" cy="3701324"/>
          </a:xfrm>
          <a:prstGeom prst="line">
            <a:avLst/>
          </a:prstGeom>
          <a:ln w="38100">
            <a:solidFill>
              <a:srgbClr val="D6D6C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ector reto 16">
            <a:extLst>
              <a:ext uri="{FF2B5EF4-FFF2-40B4-BE49-F238E27FC236}">
                <a16:creationId xmlns:a16="http://schemas.microsoft.com/office/drawing/2014/main" id="{C5260DAC-EEDF-4117-B899-A408AF0C9D28}"/>
              </a:ext>
            </a:extLst>
          </p:cNvPr>
          <p:cNvCxnSpPr/>
          <p:nvPr/>
        </p:nvCxnSpPr>
        <p:spPr>
          <a:xfrm>
            <a:off x="5964923" y="2412400"/>
            <a:ext cx="0" cy="3701324"/>
          </a:xfrm>
          <a:prstGeom prst="line">
            <a:avLst/>
          </a:prstGeom>
          <a:ln w="38100">
            <a:solidFill>
              <a:srgbClr val="D6D6C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to 17">
            <a:extLst>
              <a:ext uri="{FF2B5EF4-FFF2-40B4-BE49-F238E27FC236}">
                <a16:creationId xmlns:a16="http://schemas.microsoft.com/office/drawing/2014/main" id="{EC81CBD7-B786-4058-8567-E44726BB9C0C}"/>
              </a:ext>
            </a:extLst>
          </p:cNvPr>
          <p:cNvCxnSpPr/>
          <p:nvPr/>
        </p:nvCxnSpPr>
        <p:spPr>
          <a:xfrm>
            <a:off x="8719009" y="2412400"/>
            <a:ext cx="0" cy="3701324"/>
          </a:xfrm>
          <a:prstGeom prst="line">
            <a:avLst/>
          </a:prstGeom>
          <a:ln w="38100">
            <a:solidFill>
              <a:srgbClr val="D6D6C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5C06562A-9206-4DFF-AB2E-7E505240F9C9}"/>
              </a:ext>
            </a:extLst>
          </p:cNvPr>
          <p:cNvSpPr txBox="1"/>
          <p:nvPr/>
        </p:nvSpPr>
        <p:spPr>
          <a:xfrm>
            <a:off x="682995" y="2443371"/>
            <a:ext cx="2301600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200" b="0" i="0" dirty="0">
              <a:solidFill>
                <a:srgbClr val="000000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200" dirty="0">
              <a:solidFill>
                <a:srgbClr val="00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" name="CaixaDeTexto 23">
            <a:extLst>
              <a:ext uri="{FF2B5EF4-FFF2-40B4-BE49-F238E27FC236}">
                <a16:creationId xmlns:a16="http://schemas.microsoft.com/office/drawing/2014/main" id="{99359042-79DE-434C-958D-F8C8FAFCEC84}"/>
              </a:ext>
            </a:extLst>
          </p:cNvPr>
          <p:cNvSpPr txBox="1"/>
          <p:nvPr/>
        </p:nvSpPr>
        <p:spPr>
          <a:xfrm>
            <a:off x="3472992" y="2443371"/>
            <a:ext cx="2301600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200" b="0" i="0" dirty="0">
              <a:solidFill>
                <a:srgbClr val="000000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200" dirty="0">
              <a:solidFill>
                <a:srgbClr val="00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CaixaDeTexto 24">
            <a:extLst>
              <a:ext uri="{FF2B5EF4-FFF2-40B4-BE49-F238E27FC236}">
                <a16:creationId xmlns:a16="http://schemas.microsoft.com/office/drawing/2014/main" id="{840763FD-EBDE-46B1-8BBF-E9C587C22B86}"/>
              </a:ext>
            </a:extLst>
          </p:cNvPr>
          <p:cNvSpPr txBox="1"/>
          <p:nvPr/>
        </p:nvSpPr>
        <p:spPr>
          <a:xfrm>
            <a:off x="6155255" y="2443371"/>
            <a:ext cx="2301600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200" b="0" i="0" dirty="0">
              <a:solidFill>
                <a:srgbClr val="000000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200" dirty="0">
              <a:solidFill>
                <a:srgbClr val="00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" name="CaixaDeTexto 25">
            <a:extLst>
              <a:ext uri="{FF2B5EF4-FFF2-40B4-BE49-F238E27FC236}">
                <a16:creationId xmlns:a16="http://schemas.microsoft.com/office/drawing/2014/main" id="{5098BA34-EB91-420B-858F-AC7BEEF22D9E}"/>
              </a:ext>
            </a:extLst>
          </p:cNvPr>
          <p:cNvSpPr txBox="1"/>
          <p:nvPr/>
        </p:nvSpPr>
        <p:spPr>
          <a:xfrm>
            <a:off x="9058479" y="2443371"/>
            <a:ext cx="2301600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200" b="0" i="0" dirty="0">
              <a:solidFill>
                <a:srgbClr val="000000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pt-BR" sz="1200" dirty="0">
              <a:solidFill>
                <a:srgbClr val="00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" name="Elipse 27">
            <a:extLst>
              <a:ext uri="{FF2B5EF4-FFF2-40B4-BE49-F238E27FC236}">
                <a16:creationId xmlns:a16="http://schemas.microsoft.com/office/drawing/2014/main" id="{F9C4E167-B177-412B-AE6F-65C0DB3A467D}"/>
              </a:ext>
            </a:extLst>
          </p:cNvPr>
          <p:cNvSpPr/>
          <p:nvPr/>
        </p:nvSpPr>
        <p:spPr>
          <a:xfrm>
            <a:off x="852331" y="1396751"/>
            <a:ext cx="487680" cy="487680"/>
          </a:xfrm>
          <a:prstGeom prst="ellipse">
            <a:avLst/>
          </a:prstGeom>
          <a:solidFill>
            <a:srgbClr val="ECE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500" b="1" dirty="0">
                <a:solidFill>
                  <a:srgbClr val="26314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</a:t>
            </a:r>
          </a:p>
        </p:txBody>
      </p:sp>
      <p:sp>
        <p:nvSpPr>
          <p:cNvPr id="29" name="Elipse 28">
            <a:extLst>
              <a:ext uri="{FF2B5EF4-FFF2-40B4-BE49-F238E27FC236}">
                <a16:creationId xmlns:a16="http://schemas.microsoft.com/office/drawing/2014/main" id="{6D64AFEA-4D69-468A-82CD-5B9CB06C432C}"/>
              </a:ext>
            </a:extLst>
          </p:cNvPr>
          <p:cNvSpPr/>
          <p:nvPr/>
        </p:nvSpPr>
        <p:spPr>
          <a:xfrm>
            <a:off x="3870332" y="1396751"/>
            <a:ext cx="487680" cy="487680"/>
          </a:xfrm>
          <a:prstGeom prst="ellipse">
            <a:avLst/>
          </a:prstGeom>
          <a:solidFill>
            <a:srgbClr val="ECE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500" b="1" dirty="0">
                <a:solidFill>
                  <a:srgbClr val="26314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</a:t>
            </a:r>
          </a:p>
        </p:txBody>
      </p:sp>
      <p:sp>
        <p:nvSpPr>
          <p:cNvPr id="30" name="Elipse 29">
            <a:extLst>
              <a:ext uri="{FF2B5EF4-FFF2-40B4-BE49-F238E27FC236}">
                <a16:creationId xmlns:a16="http://schemas.microsoft.com/office/drawing/2014/main" id="{9339118A-8372-49A3-91F6-E8C69F2EB9D7}"/>
              </a:ext>
            </a:extLst>
          </p:cNvPr>
          <p:cNvSpPr/>
          <p:nvPr/>
        </p:nvSpPr>
        <p:spPr>
          <a:xfrm>
            <a:off x="6503318" y="1396751"/>
            <a:ext cx="487680" cy="487680"/>
          </a:xfrm>
          <a:prstGeom prst="ellipse">
            <a:avLst/>
          </a:prstGeom>
          <a:solidFill>
            <a:srgbClr val="ECE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500" b="1" dirty="0">
                <a:solidFill>
                  <a:srgbClr val="26314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</a:t>
            </a:r>
          </a:p>
        </p:txBody>
      </p:sp>
      <p:sp>
        <p:nvSpPr>
          <p:cNvPr id="31" name="Elipse 30">
            <a:extLst>
              <a:ext uri="{FF2B5EF4-FFF2-40B4-BE49-F238E27FC236}">
                <a16:creationId xmlns:a16="http://schemas.microsoft.com/office/drawing/2014/main" id="{031918A7-5618-4CF4-83E7-336C98CB54C5}"/>
              </a:ext>
            </a:extLst>
          </p:cNvPr>
          <p:cNvSpPr/>
          <p:nvPr/>
        </p:nvSpPr>
        <p:spPr>
          <a:xfrm>
            <a:off x="9157421" y="1396751"/>
            <a:ext cx="487680" cy="487680"/>
          </a:xfrm>
          <a:prstGeom prst="ellipse">
            <a:avLst/>
          </a:prstGeom>
          <a:solidFill>
            <a:srgbClr val="ECE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500" b="1" dirty="0">
                <a:solidFill>
                  <a:srgbClr val="26314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</a:t>
            </a:r>
          </a:p>
        </p:txBody>
      </p:sp>
      <p:sp>
        <p:nvSpPr>
          <p:cNvPr id="32" name="CaixaDeTexto 31">
            <a:extLst>
              <a:ext uri="{FF2B5EF4-FFF2-40B4-BE49-F238E27FC236}">
                <a16:creationId xmlns:a16="http://schemas.microsoft.com/office/drawing/2014/main" id="{F468E72E-E68B-4FA4-947E-F10B24E45B87}"/>
              </a:ext>
            </a:extLst>
          </p:cNvPr>
          <p:cNvSpPr txBox="1"/>
          <p:nvPr/>
        </p:nvSpPr>
        <p:spPr>
          <a:xfrm>
            <a:off x="1419497" y="1455925"/>
            <a:ext cx="18219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itle</a:t>
            </a:r>
            <a:r>
              <a:rPr lang="pt-BR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01</a:t>
            </a:r>
          </a:p>
        </p:txBody>
      </p: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2EA0FAA9-A619-443E-9B26-B082CB89BBAD}"/>
              </a:ext>
            </a:extLst>
          </p:cNvPr>
          <p:cNvSpPr txBox="1"/>
          <p:nvPr/>
        </p:nvSpPr>
        <p:spPr>
          <a:xfrm>
            <a:off x="4397968" y="1455925"/>
            <a:ext cx="18219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itle</a:t>
            </a:r>
            <a:r>
              <a:rPr lang="pt-BR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02</a:t>
            </a:r>
          </a:p>
        </p:txBody>
      </p:sp>
      <p:sp>
        <p:nvSpPr>
          <p:cNvPr id="34" name="CaixaDeTexto 33">
            <a:extLst>
              <a:ext uri="{FF2B5EF4-FFF2-40B4-BE49-F238E27FC236}">
                <a16:creationId xmlns:a16="http://schemas.microsoft.com/office/drawing/2014/main" id="{1EDD4022-CC2D-4A5B-AD29-3C29DF7C1AED}"/>
              </a:ext>
            </a:extLst>
          </p:cNvPr>
          <p:cNvSpPr txBox="1"/>
          <p:nvPr/>
        </p:nvSpPr>
        <p:spPr>
          <a:xfrm>
            <a:off x="7052070" y="1455925"/>
            <a:ext cx="18219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itle</a:t>
            </a:r>
            <a:r>
              <a:rPr lang="pt-BR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03</a:t>
            </a:r>
          </a:p>
        </p:txBody>
      </p:sp>
      <p:sp>
        <p:nvSpPr>
          <p:cNvPr id="35" name="CaixaDeTexto 34">
            <a:extLst>
              <a:ext uri="{FF2B5EF4-FFF2-40B4-BE49-F238E27FC236}">
                <a16:creationId xmlns:a16="http://schemas.microsoft.com/office/drawing/2014/main" id="{A0E2C8F0-5562-483B-94F8-71F7A349987C}"/>
              </a:ext>
            </a:extLst>
          </p:cNvPr>
          <p:cNvSpPr txBox="1"/>
          <p:nvPr/>
        </p:nvSpPr>
        <p:spPr>
          <a:xfrm>
            <a:off x="9706173" y="1455925"/>
            <a:ext cx="18219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itle</a:t>
            </a:r>
            <a:r>
              <a:rPr lang="pt-BR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04</a:t>
            </a:r>
          </a:p>
        </p:txBody>
      </p:sp>
    </p:spTree>
    <p:extLst>
      <p:ext uri="{BB962C8B-B14F-4D97-AF65-F5344CB8AC3E}">
        <p14:creationId xmlns:p14="http://schemas.microsoft.com/office/powerpoint/2010/main" val="42387417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8DBA6661-5DE9-4EF7-BDE7-4D2D0253E44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Inserir aqui o </a:t>
            </a:r>
            <a:br>
              <a:rPr lang="pt-BR" dirty="0"/>
            </a:br>
            <a:r>
              <a:rPr lang="pt-BR" dirty="0"/>
              <a:t>Título do slide</a:t>
            </a:r>
          </a:p>
        </p:txBody>
      </p:sp>
      <p:sp>
        <p:nvSpPr>
          <p:cNvPr id="8" name="Espaço Reservado para Texto 7">
            <a:extLst>
              <a:ext uri="{FF2B5EF4-FFF2-40B4-BE49-F238E27FC236}">
                <a16:creationId xmlns:a16="http://schemas.microsoft.com/office/drawing/2014/main" id="{D29312AB-5252-4555-997E-787668AA3C7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erir aqui o texto de destaque</a:t>
            </a:r>
          </a:p>
        </p:txBody>
      </p:sp>
      <p:pic>
        <p:nvPicPr>
          <p:cNvPr id="2" name="Gráfico 1">
            <a:extLst>
              <a:ext uri="{FF2B5EF4-FFF2-40B4-BE49-F238E27FC236}">
                <a16:creationId xmlns:a16="http://schemas.microsoft.com/office/drawing/2014/main" id="{40B6A2A8-EABC-48B9-BD6F-9D57FEB3AFA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5488" y="4062549"/>
            <a:ext cx="5866512" cy="2795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941644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02EF04F5-81D5-40B6-915E-8C9E4205243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Inserir aqui o título do slide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9F996B25-9D77-47D7-BF73-DDE61EAA982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erir aqui o subtítulo do slide</a:t>
            </a:r>
          </a:p>
        </p:txBody>
      </p:sp>
      <p:grpSp>
        <p:nvGrpSpPr>
          <p:cNvPr id="84" name="Agrupar 83">
            <a:extLst>
              <a:ext uri="{FF2B5EF4-FFF2-40B4-BE49-F238E27FC236}">
                <a16:creationId xmlns:a16="http://schemas.microsoft.com/office/drawing/2014/main" id="{F95C5819-F4C0-4B79-9EFE-473BD35811A1}"/>
              </a:ext>
            </a:extLst>
          </p:cNvPr>
          <p:cNvGrpSpPr/>
          <p:nvPr/>
        </p:nvGrpSpPr>
        <p:grpSpPr>
          <a:xfrm>
            <a:off x="4265958" y="1536237"/>
            <a:ext cx="3651984" cy="4092726"/>
            <a:chOff x="4412409" y="1536237"/>
            <a:chExt cx="3651984" cy="4092726"/>
          </a:xfrm>
        </p:grpSpPr>
        <p:sp>
          <p:nvSpPr>
            <p:cNvPr id="8" name="Forma Livre: Forma 7">
              <a:extLst>
                <a:ext uri="{FF2B5EF4-FFF2-40B4-BE49-F238E27FC236}">
                  <a16:creationId xmlns:a16="http://schemas.microsoft.com/office/drawing/2014/main" id="{20B7B9D6-C5FB-4EF2-893B-087873EF7244}"/>
                </a:ext>
              </a:extLst>
            </p:cNvPr>
            <p:cNvSpPr/>
            <p:nvPr/>
          </p:nvSpPr>
          <p:spPr>
            <a:xfrm>
              <a:off x="4806877" y="1536237"/>
              <a:ext cx="1910780" cy="1314843"/>
            </a:xfrm>
            <a:custGeom>
              <a:avLst/>
              <a:gdLst>
                <a:gd name="connsiteX0" fmla="*/ 1910780 w 1910780"/>
                <a:gd name="connsiteY0" fmla="*/ 625891 h 1314843"/>
                <a:gd name="connsiteX1" fmla="*/ 1379482 w 1910780"/>
                <a:gd name="connsiteY1" fmla="*/ 0 h 1314843"/>
                <a:gd name="connsiteX2" fmla="*/ 1379482 w 1910780"/>
                <a:gd name="connsiteY2" fmla="*/ 206528 h 1314843"/>
                <a:gd name="connsiteX3" fmla="*/ 0 w 1910780"/>
                <a:gd name="connsiteY3" fmla="*/ 919129 h 1314843"/>
                <a:gd name="connsiteX4" fmla="*/ 499767 w 1910780"/>
                <a:gd name="connsiteY4" fmla="*/ 833996 h 1314843"/>
                <a:gd name="connsiteX5" fmla="*/ 641656 w 1910780"/>
                <a:gd name="connsiteY5" fmla="*/ 1314844 h 1314843"/>
                <a:gd name="connsiteX6" fmla="*/ 1379482 w 1910780"/>
                <a:gd name="connsiteY6" fmla="*/ 955390 h 1314843"/>
                <a:gd name="connsiteX7" fmla="*/ 1379482 w 1910780"/>
                <a:gd name="connsiteY7" fmla="*/ 1212368 h 1314843"/>
                <a:gd name="connsiteX8" fmla="*/ 1910780 w 1910780"/>
                <a:gd name="connsiteY8" fmla="*/ 625891 h 1314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10780" h="1314843">
                  <a:moveTo>
                    <a:pt x="1910780" y="625891"/>
                  </a:moveTo>
                  <a:cubicBezTo>
                    <a:pt x="1734206" y="417786"/>
                    <a:pt x="1557633" y="208105"/>
                    <a:pt x="1379482" y="0"/>
                  </a:cubicBezTo>
                  <a:cubicBezTo>
                    <a:pt x="1379482" y="69368"/>
                    <a:pt x="1379482" y="137160"/>
                    <a:pt x="1379482" y="206528"/>
                  </a:cubicBezTo>
                  <a:cubicBezTo>
                    <a:pt x="818230" y="227023"/>
                    <a:pt x="321617" y="501343"/>
                    <a:pt x="0" y="919129"/>
                  </a:cubicBezTo>
                  <a:cubicBezTo>
                    <a:pt x="258554" y="874986"/>
                    <a:pt x="499767" y="833996"/>
                    <a:pt x="499767" y="833996"/>
                  </a:cubicBezTo>
                  <a:cubicBezTo>
                    <a:pt x="499767" y="833996"/>
                    <a:pt x="588054" y="1138270"/>
                    <a:pt x="641656" y="1314844"/>
                  </a:cubicBezTo>
                  <a:cubicBezTo>
                    <a:pt x="826113" y="1109892"/>
                    <a:pt x="1086244" y="974309"/>
                    <a:pt x="1379482" y="955390"/>
                  </a:cubicBezTo>
                  <a:cubicBezTo>
                    <a:pt x="1379482" y="1040524"/>
                    <a:pt x="1379482" y="1125658"/>
                    <a:pt x="1379482" y="1212368"/>
                  </a:cubicBezTo>
                  <a:cubicBezTo>
                    <a:pt x="1557633" y="1015299"/>
                    <a:pt x="1734206" y="821383"/>
                    <a:pt x="1910780" y="625891"/>
                  </a:cubicBezTo>
                  <a:close/>
                </a:path>
              </a:pathLst>
            </a:custGeom>
            <a:solidFill>
              <a:srgbClr val="11385A"/>
            </a:solidFill>
            <a:ln w="157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9" name="Forma Livre: Forma 8">
              <a:extLst>
                <a:ext uri="{FF2B5EF4-FFF2-40B4-BE49-F238E27FC236}">
                  <a16:creationId xmlns:a16="http://schemas.microsoft.com/office/drawing/2014/main" id="{BDD120D1-D7FF-4A34-B52B-FC12C8AB392D}"/>
                </a:ext>
              </a:extLst>
            </p:cNvPr>
            <p:cNvSpPr/>
            <p:nvPr/>
          </p:nvSpPr>
          <p:spPr>
            <a:xfrm>
              <a:off x="6496940" y="1773545"/>
              <a:ext cx="1505606" cy="1541867"/>
            </a:xfrm>
            <a:custGeom>
              <a:avLst/>
              <a:gdLst>
                <a:gd name="connsiteX0" fmla="*/ 1207638 w 1505606"/>
                <a:gd name="connsiteY0" fmla="*/ 1541867 h 1541867"/>
                <a:gd name="connsiteX1" fmla="*/ 1505607 w 1505606"/>
                <a:gd name="connsiteY1" fmla="*/ 775663 h 1541867"/>
                <a:gd name="connsiteX2" fmla="*/ 1324303 w 1505606"/>
                <a:gd name="connsiteY2" fmla="*/ 873409 h 1541867"/>
                <a:gd name="connsiteX3" fmla="*/ 40990 w 1505606"/>
                <a:gd name="connsiteY3" fmla="*/ 0 h 1541867"/>
                <a:gd name="connsiteX4" fmla="*/ 354724 w 1505606"/>
                <a:gd name="connsiteY4" fmla="*/ 398867 h 1541867"/>
                <a:gd name="connsiteX5" fmla="*/ 0 w 1505606"/>
                <a:gd name="connsiteY5" fmla="*/ 753591 h 1541867"/>
                <a:gd name="connsiteX6" fmla="*/ 668458 w 1505606"/>
                <a:gd name="connsiteY6" fmla="*/ 1231286 h 1541867"/>
                <a:gd name="connsiteX7" fmla="*/ 443011 w 1505606"/>
                <a:gd name="connsiteY7" fmla="*/ 1352681 h 1541867"/>
                <a:gd name="connsiteX8" fmla="*/ 1207638 w 1505606"/>
                <a:gd name="connsiteY8" fmla="*/ 1541867 h 1541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05606" h="1541867">
                  <a:moveTo>
                    <a:pt x="1207638" y="1541867"/>
                  </a:moveTo>
                  <a:cubicBezTo>
                    <a:pt x="1306961" y="1286466"/>
                    <a:pt x="1406284" y="1031065"/>
                    <a:pt x="1505607" y="775663"/>
                  </a:cubicBezTo>
                  <a:cubicBezTo>
                    <a:pt x="1445698" y="808771"/>
                    <a:pt x="1384212" y="840302"/>
                    <a:pt x="1324303" y="873409"/>
                  </a:cubicBezTo>
                  <a:cubicBezTo>
                    <a:pt x="1037371" y="389408"/>
                    <a:pt x="559676" y="83557"/>
                    <a:pt x="40990" y="0"/>
                  </a:cubicBezTo>
                  <a:cubicBezTo>
                    <a:pt x="201799" y="206528"/>
                    <a:pt x="354724" y="398867"/>
                    <a:pt x="354724" y="398867"/>
                  </a:cubicBezTo>
                  <a:cubicBezTo>
                    <a:pt x="354724" y="398867"/>
                    <a:pt x="129277" y="621161"/>
                    <a:pt x="0" y="753591"/>
                  </a:cubicBezTo>
                  <a:cubicBezTo>
                    <a:pt x="268014" y="816654"/>
                    <a:pt x="510803" y="982191"/>
                    <a:pt x="668458" y="1231286"/>
                  </a:cubicBezTo>
                  <a:cubicBezTo>
                    <a:pt x="592783" y="1272277"/>
                    <a:pt x="518686" y="1313267"/>
                    <a:pt x="443011" y="1352681"/>
                  </a:cubicBezTo>
                  <a:cubicBezTo>
                    <a:pt x="696836" y="1415743"/>
                    <a:pt x="952237" y="1478805"/>
                    <a:pt x="1207638" y="1541867"/>
                  </a:cubicBezTo>
                  <a:close/>
                </a:path>
              </a:pathLst>
            </a:custGeom>
            <a:solidFill>
              <a:srgbClr val="4B6185"/>
            </a:solidFill>
            <a:ln w="157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0" name="Forma Livre: Forma 9">
              <a:extLst>
                <a:ext uri="{FF2B5EF4-FFF2-40B4-BE49-F238E27FC236}">
                  <a16:creationId xmlns:a16="http://schemas.microsoft.com/office/drawing/2014/main" id="{84CE52E1-44D0-4B90-9C93-DEFEE1C31C73}"/>
                </a:ext>
              </a:extLst>
            </p:cNvPr>
            <p:cNvSpPr/>
            <p:nvPr/>
          </p:nvSpPr>
          <p:spPr>
            <a:xfrm>
              <a:off x="6977788" y="2923602"/>
              <a:ext cx="1086605" cy="1794115"/>
            </a:xfrm>
            <a:custGeom>
              <a:avLst/>
              <a:gdLst>
                <a:gd name="connsiteX0" fmla="*/ 233330 w 1086605"/>
                <a:gd name="connsiteY0" fmla="*/ 1794115 h 1794115"/>
                <a:gd name="connsiteX1" fmla="*/ 1042101 w 1086605"/>
                <a:gd name="connsiteY1" fmla="*/ 1655379 h 1794115"/>
                <a:gd name="connsiteX2" fmla="*/ 865527 w 1086605"/>
                <a:gd name="connsiteY2" fmla="*/ 1549750 h 1794115"/>
                <a:gd name="connsiteX3" fmla="*/ 955390 w 1086605"/>
                <a:gd name="connsiteY3" fmla="*/ 0 h 1794115"/>
                <a:gd name="connsiteX4" fmla="*/ 774087 w 1086605"/>
                <a:gd name="connsiteY4" fmla="*/ 472965 h 1794115"/>
                <a:gd name="connsiteX5" fmla="*/ 286932 w 1086605"/>
                <a:gd name="connsiteY5" fmla="*/ 349994 h 1794115"/>
                <a:gd name="connsiteX6" fmla="*/ 220717 w 1086605"/>
                <a:gd name="connsiteY6" fmla="*/ 1168225 h 1794115"/>
                <a:gd name="connsiteX7" fmla="*/ 0 w 1086605"/>
                <a:gd name="connsiteY7" fmla="*/ 1037371 h 1794115"/>
                <a:gd name="connsiteX8" fmla="*/ 233330 w 1086605"/>
                <a:gd name="connsiteY8" fmla="*/ 1794115 h 1794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86605" h="1794115">
                  <a:moveTo>
                    <a:pt x="233330" y="1794115"/>
                  </a:moveTo>
                  <a:cubicBezTo>
                    <a:pt x="502920" y="1748395"/>
                    <a:pt x="772510" y="1702675"/>
                    <a:pt x="1042101" y="1655379"/>
                  </a:cubicBezTo>
                  <a:cubicBezTo>
                    <a:pt x="983768" y="1620695"/>
                    <a:pt x="923859" y="1586011"/>
                    <a:pt x="865527" y="1549750"/>
                  </a:cubicBezTo>
                  <a:cubicBezTo>
                    <a:pt x="1133541" y="1054713"/>
                    <a:pt x="1150883" y="488731"/>
                    <a:pt x="955390" y="0"/>
                  </a:cubicBezTo>
                  <a:cubicBezTo>
                    <a:pt x="860797" y="244365"/>
                    <a:pt x="774087" y="472965"/>
                    <a:pt x="774087" y="472965"/>
                  </a:cubicBezTo>
                  <a:cubicBezTo>
                    <a:pt x="774087" y="472965"/>
                    <a:pt x="468236" y="394138"/>
                    <a:pt x="286932" y="349994"/>
                  </a:cubicBezTo>
                  <a:cubicBezTo>
                    <a:pt x="370490" y="613278"/>
                    <a:pt x="353148" y="906517"/>
                    <a:pt x="220717" y="1168225"/>
                  </a:cubicBezTo>
                  <a:cubicBezTo>
                    <a:pt x="146619" y="1124081"/>
                    <a:pt x="74098" y="1081514"/>
                    <a:pt x="0" y="1037371"/>
                  </a:cubicBezTo>
                  <a:cubicBezTo>
                    <a:pt x="78828" y="1291195"/>
                    <a:pt x="156079" y="1541867"/>
                    <a:pt x="233330" y="1794115"/>
                  </a:cubicBezTo>
                  <a:close/>
                </a:path>
              </a:pathLst>
            </a:custGeom>
            <a:solidFill>
              <a:srgbClr val="899DBD"/>
            </a:solidFill>
            <a:ln w="157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1" name="Forma Livre: Forma 10">
              <a:extLst>
                <a:ext uri="{FF2B5EF4-FFF2-40B4-BE49-F238E27FC236}">
                  <a16:creationId xmlns:a16="http://schemas.microsoft.com/office/drawing/2014/main" id="{B984F74D-13B2-4842-96C1-C75E09DD865E}"/>
                </a:ext>
              </a:extLst>
            </p:cNvPr>
            <p:cNvSpPr/>
            <p:nvPr/>
          </p:nvSpPr>
          <p:spPr>
            <a:xfrm>
              <a:off x="5724430" y="4344074"/>
              <a:ext cx="1921816" cy="1284889"/>
            </a:xfrm>
            <a:custGeom>
              <a:avLst/>
              <a:gdLst>
                <a:gd name="connsiteX0" fmla="*/ 0 w 1921816"/>
                <a:gd name="connsiteY0" fmla="*/ 638503 h 1284889"/>
                <a:gd name="connsiteX1" fmla="*/ 507650 w 1921816"/>
                <a:gd name="connsiteY1" fmla="*/ 1284889 h 1284889"/>
                <a:gd name="connsiteX2" fmla="*/ 515532 w 1921816"/>
                <a:gd name="connsiteY2" fmla="*/ 1079938 h 1284889"/>
                <a:gd name="connsiteX3" fmla="*/ 1921816 w 1921816"/>
                <a:gd name="connsiteY3" fmla="*/ 420939 h 1284889"/>
                <a:gd name="connsiteX4" fmla="*/ 1418896 w 1921816"/>
                <a:gd name="connsiteY4" fmla="*/ 487154 h 1284889"/>
                <a:gd name="connsiteX5" fmla="*/ 1295925 w 1921816"/>
                <a:gd name="connsiteY5" fmla="*/ 0 h 1284889"/>
                <a:gd name="connsiteX6" fmla="*/ 545487 w 1921816"/>
                <a:gd name="connsiteY6" fmla="*/ 331076 h 1284889"/>
                <a:gd name="connsiteX7" fmla="*/ 554946 w 1921816"/>
                <a:gd name="connsiteY7" fmla="*/ 75674 h 1284889"/>
                <a:gd name="connsiteX8" fmla="*/ 0 w 1921816"/>
                <a:gd name="connsiteY8" fmla="*/ 638503 h 1284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21816" h="1284889">
                  <a:moveTo>
                    <a:pt x="0" y="638503"/>
                  </a:moveTo>
                  <a:cubicBezTo>
                    <a:pt x="168691" y="854491"/>
                    <a:pt x="337382" y="1068902"/>
                    <a:pt x="507650" y="1284889"/>
                  </a:cubicBezTo>
                  <a:cubicBezTo>
                    <a:pt x="510803" y="1217098"/>
                    <a:pt x="512379" y="1147729"/>
                    <a:pt x="515532" y="1079938"/>
                  </a:cubicBezTo>
                  <a:cubicBezTo>
                    <a:pt x="1076785" y="1079938"/>
                    <a:pt x="1584434" y="824536"/>
                    <a:pt x="1921816" y="420939"/>
                  </a:cubicBezTo>
                  <a:cubicBezTo>
                    <a:pt x="1661685" y="454047"/>
                    <a:pt x="1418896" y="487154"/>
                    <a:pt x="1418896" y="487154"/>
                  </a:cubicBezTo>
                  <a:cubicBezTo>
                    <a:pt x="1418896" y="487154"/>
                    <a:pt x="1343222" y="179727"/>
                    <a:pt x="1295925" y="0"/>
                  </a:cubicBezTo>
                  <a:cubicBezTo>
                    <a:pt x="1103586" y="198645"/>
                    <a:pt x="838725" y="323193"/>
                    <a:pt x="545487" y="331076"/>
                  </a:cubicBezTo>
                  <a:cubicBezTo>
                    <a:pt x="548640" y="245942"/>
                    <a:pt x="551793" y="160808"/>
                    <a:pt x="554946" y="75674"/>
                  </a:cubicBezTo>
                  <a:cubicBezTo>
                    <a:pt x="368913" y="263284"/>
                    <a:pt x="184457" y="450894"/>
                    <a:pt x="0" y="638503"/>
                  </a:cubicBezTo>
                  <a:close/>
                </a:path>
              </a:pathLst>
            </a:custGeom>
            <a:solidFill>
              <a:srgbClr val="11385A"/>
            </a:solidFill>
            <a:ln w="157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2" name="Forma Livre: Forma 11">
              <a:extLst>
                <a:ext uri="{FF2B5EF4-FFF2-40B4-BE49-F238E27FC236}">
                  <a16:creationId xmlns:a16="http://schemas.microsoft.com/office/drawing/2014/main" id="{398C7088-BF52-4EF7-998A-2E4B6A9AB852}"/>
                </a:ext>
              </a:extLst>
            </p:cNvPr>
            <p:cNvSpPr/>
            <p:nvPr/>
          </p:nvSpPr>
          <p:spPr>
            <a:xfrm>
              <a:off x="4486837" y="3907369"/>
              <a:ext cx="1489840" cy="1472498"/>
            </a:xfrm>
            <a:custGeom>
              <a:avLst/>
              <a:gdLst>
                <a:gd name="connsiteX0" fmla="*/ 320040 w 1489840"/>
                <a:gd name="connsiteY0" fmla="*/ 0 h 1472498"/>
                <a:gd name="connsiteX1" fmla="*/ 0 w 1489840"/>
                <a:gd name="connsiteY1" fmla="*/ 756745 h 1472498"/>
                <a:gd name="connsiteX2" fmla="*/ 184457 w 1489840"/>
                <a:gd name="connsiteY2" fmla="*/ 663728 h 1472498"/>
                <a:gd name="connsiteX3" fmla="*/ 1425202 w 1489840"/>
                <a:gd name="connsiteY3" fmla="*/ 1472499 h 1472498"/>
                <a:gd name="connsiteX4" fmla="*/ 1124081 w 1489840"/>
                <a:gd name="connsiteY4" fmla="*/ 1064172 h 1472498"/>
                <a:gd name="connsiteX5" fmla="*/ 1489841 w 1489840"/>
                <a:gd name="connsiteY5" fmla="*/ 720484 h 1472498"/>
                <a:gd name="connsiteX6" fmla="*/ 852914 w 1489840"/>
                <a:gd name="connsiteY6" fmla="*/ 326346 h 1472498"/>
                <a:gd name="connsiteX7" fmla="*/ 1081514 w 1489840"/>
                <a:gd name="connsiteY7" fmla="*/ 211258 h 1472498"/>
                <a:gd name="connsiteX8" fmla="*/ 320040 w 1489840"/>
                <a:gd name="connsiteY8" fmla="*/ 0 h 1472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89840" h="1472498">
                  <a:moveTo>
                    <a:pt x="320040" y="0"/>
                  </a:moveTo>
                  <a:cubicBezTo>
                    <a:pt x="212834" y="252248"/>
                    <a:pt x="107205" y="504496"/>
                    <a:pt x="0" y="756745"/>
                  </a:cubicBezTo>
                  <a:cubicBezTo>
                    <a:pt x="61486" y="725214"/>
                    <a:pt x="122971" y="695259"/>
                    <a:pt x="184457" y="663728"/>
                  </a:cubicBezTo>
                  <a:cubicBezTo>
                    <a:pt x="457200" y="1155612"/>
                    <a:pt x="908094" y="1373176"/>
                    <a:pt x="1425202" y="1472499"/>
                  </a:cubicBezTo>
                  <a:cubicBezTo>
                    <a:pt x="1270700" y="1261241"/>
                    <a:pt x="1124081" y="1064172"/>
                    <a:pt x="1124081" y="1064172"/>
                  </a:cubicBezTo>
                  <a:cubicBezTo>
                    <a:pt x="1124081" y="1064172"/>
                    <a:pt x="1355834" y="848185"/>
                    <a:pt x="1489841" y="720484"/>
                  </a:cubicBezTo>
                  <a:cubicBezTo>
                    <a:pt x="1223404" y="649539"/>
                    <a:pt x="1002687" y="578594"/>
                    <a:pt x="852914" y="326346"/>
                  </a:cubicBezTo>
                  <a:cubicBezTo>
                    <a:pt x="928589" y="288509"/>
                    <a:pt x="1005840" y="249095"/>
                    <a:pt x="1081514" y="211258"/>
                  </a:cubicBezTo>
                  <a:cubicBezTo>
                    <a:pt x="827689" y="140313"/>
                    <a:pt x="573865" y="70945"/>
                    <a:pt x="320040" y="0"/>
                  </a:cubicBezTo>
                  <a:close/>
                </a:path>
              </a:pathLst>
            </a:custGeom>
            <a:solidFill>
              <a:srgbClr val="4B6185"/>
            </a:solidFill>
            <a:ln w="157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3" name="Forma Livre: Forma 12">
              <a:extLst>
                <a:ext uri="{FF2B5EF4-FFF2-40B4-BE49-F238E27FC236}">
                  <a16:creationId xmlns:a16="http://schemas.microsoft.com/office/drawing/2014/main" id="{3353D4AB-B953-4345-921B-3398EEE40676}"/>
                </a:ext>
              </a:extLst>
            </p:cNvPr>
            <p:cNvSpPr/>
            <p:nvPr/>
          </p:nvSpPr>
          <p:spPr>
            <a:xfrm>
              <a:off x="4412409" y="2475861"/>
              <a:ext cx="1080267" cy="1803574"/>
            </a:xfrm>
            <a:custGeom>
              <a:avLst/>
              <a:gdLst>
                <a:gd name="connsiteX0" fmla="*/ 839056 w 1080267"/>
                <a:gd name="connsiteY0" fmla="*/ 0 h 1803574"/>
                <a:gd name="connsiteX1" fmla="*/ 31861 w 1080267"/>
                <a:gd name="connsiteY1" fmla="*/ 149772 h 1803574"/>
                <a:gd name="connsiteX2" fmla="*/ 210012 w 1080267"/>
                <a:gd name="connsiteY2" fmla="*/ 252248 h 1803574"/>
                <a:gd name="connsiteX3" fmla="*/ 139067 w 1080267"/>
                <a:gd name="connsiteY3" fmla="*/ 1803575 h 1803574"/>
                <a:gd name="connsiteX4" fmla="*/ 314064 w 1080267"/>
                <a:gd name="connsiteY4" fmla="*/ 1327456 h 1803574"/>
                <a:gd name="connsiteX5" fmla="*/ 802795 w 1080267"/>
                <a:gd name="connsiteY5" fmla="*/ 1444121 h 1803574"/>
                <a:gd name="connsiteX6" fmla="*/ 857974 w 1080267"/>
                <a:gd name="connsiteY6" fmla="*/ 624314 h 1803574"/>
                <a:gd name="connsiteX7" fmla="*/ 1080268 w 1080267"/>
                <a:gd name="connsiteY7" fmla="*/ 752015 h 1803574"/>
                <a:gd name="connsiteX8" fmla="*/ 839056 w 1080267"/>
                <a:gd name="connsiteY8" fmla="*/ 0 h 1803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80267" h="1803574">
                  <a:moveTo>
                    <a:pt x="839056" y="0"/>
                  </a:moveTo>
                  <a:cubicBezTo>
                    <a:pt x="569465" y="50450"/>
                    <a:pt x="301452" y="99323"/>
                    <a:pt x="31861" y="149772"/>
                  </a:cubicBezTo>
                  <a:cubicBezTo>
                    <a:pt x="91770" y="184457"/>
                    <a:pt x="150103" y="217564"/>
                    <a:pt x="210012" y="252248"/>
                  </a:cubicBezTo>
                  <a:cubicBezTo>
                    <a:pt x="-51696" y="748862"/>
                    <a:pt x="-61155" y="1316420"/>
                    <a:pt x="139067" y="1803575"/>
                  </a:cubicBezTo>
                  <a:cubicBezTo>
                    <a:pt x="230507" y="1557633"/>
                    <a:pt x="314064" y="1327456"/>
                    <a:pt x="314064" y="1327456"/>
                  </a:cubicBezTo>
                  <a:cubicBezTo>
                    <a:pt x="314064" y="1327456"/>
                    <a:pt x="621492" y="1403131"/>
                    <a:pt x="802795" y="1444121"/>
                  </a:cubicBezTo>
                  <a:cubicBezTo>
                    <a:pt x="716085" y="1182414"/>
                    <a:pt x="728697" y="889175"/>
                    <a:pt x="857974" y="624314"/>
                  </a:cubicBezTo>
                  <a:cubicBezTo>
                    <a:pt x="932072" y="666881"/>
                    <a:pt x="1006170" y="709448"/>
                    <a:pt x="1080268" y="752015"/>
                  </a:cubicBezTo>
                  <a:cubicBezTo>
                    <a:pt x="999864" y="501343"/>
                    <a:pt x="919460" y="250672"/>
                    <a:pt x="839056" y="0"/>
                  </a:cubicBezTo>
                  <a:close/>
                </a:path>
              </a:pathLst>
            </a:custGeom>
            <a:solidFill>
              <a:srgbClr val="899DBD"/>
            </a:solidFill>
            <a:ln w="157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sp>
        <p:nvSpPr>
          <p:cNvPr id="14" name="Elipse 13">
            <a:extLst>
              <a:ext uri="{FF2B5EF4-FFF2-40B4-BE49-F238E27FC236}">
                <a16:creationId xmlns:a16="http://schemas.microsoft.com/office/drawing/2014/main" id="{DBBAD63E-570D-46A9-B798-D4E69A7C6767}"/>
              </a:ext>
            </a:extLst>
          </p:cNvPr>
          <p:cNvSpPr/>
          <p:nvPr/>
        </p:nvSpPr>
        <p:spPr>
          <a:xfrm>
            <a:off x="5572772" y="1893175"/>
            <a:ext cx="487680" cy="487680"/>
          </a:xfrm>
          <a:prstGeom prst="ellipse">
            <a:avLst/>
          </a:prstGeom>
          <a:solidFill>
            <a:srgbClr val="ECE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500" b="1" dirty="0">
                <a:solidFill>
                  <a:srgbClr val="26314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</a:t>
            </a:r>
          </a:p>
        </p:txBody>
      </p:sp>
      <p:sp>
        <p:nvSpPr>
          <p:cNvPr id="15" name="Elipse 14">
            <a:extLst>
              <a:ext uri="{FF2B5EF4-FFF2-40B4-BE49-F238E27FC236}">
                <a16:creationId xmlns:a16="http://schemas.microsoft.com/office/drawing/2014/main" id="{2C41E420-CB15-40FF-8542-34BB4452ECE7}"/>
              </a:ext>
            </a:extLst>
          </p:cNvPr>
          <p:cNvSpPr/>
          <p:nvPr/>
        </p:nvSpPr>
        <p:spPr>
          <a:xfrm>
            <a:off x="7027931" y="2435922"/>
            <a:ext cx="487680" cy="487680"/>
          </a:xfrm>
          <a:prstGeom prst="ellipse">
            <a:avLst/>
          </a:prstGeom>
          <a:solidFill>
            <a:srgbClr val="ECE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500" b="1" dirty="0">
                <a:solidFill>
                  <a:srgbClr val="26314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</a:t>
            </a:r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id="{AE86D258-5705-403A-8BCF-A9FF42736157}"/>
              </a:ext>
            </a:extLst>
          </p:cNvPr>
          <p:cNvSpPr/>
          <p:nvPr/>
        </p:nvSpPr>
        <p:spPr>
          <a:xfrm>
            <a:off x="7228296" y="3859772"/>
            <a:ext cx="487680" cy="487680"/>
          </a:xfrm>
          <a:prstGeom prst="ellipse">
            <a:avLst/>
          </a:prstGeom>
          <a:solidFill>
            <a:srgbClr val="ECE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500" b="1" dirty="0">
                <a:solidFill>
                  <a:srgbClr val="26314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</a:t>
            </a:r>
          </a:p>
        </p:txBody>
      </p:sp>
      <p:sp>
        <p:nvSpPr>
          <p:cNvPr id="19" name="Elipse 18">
            <a:extLst>
              <a:ext uri="{FF2B5EF4-FFF2-40B4-BE49-F238E27FC236}">
                <a16:creationId xmlns:a16="http://schemas.microsoft.com/office/drawing/2014/main" id="{BF4BD669-4AA5-4EC1-88E2-F0887D7F7423}"/>
              </a:ext>
            </a:extLst>
          </p:cNvPr>
          <p:cNvSpPr/>
          <p:nvPr/>
        </p:nvSpPr>
        <p:spPr>
          <a:xfrm>
            <a:off x="6089271" y="4790988"/>
            <a:ext cx="487680" cy="487680"/>
          </a:xfrm>
          <a:prstGeom prst="ellipse">
            <a:avLst/>
          </a:prstGeom>
          <a:solidFill>
            <a:srgbClr val="ECE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500" b="1" dirty="0">
                <a:solidFill>
                  <a:srgbClr val="26314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</a:t>
            </a:r>
          </a:p>
        </p:txBody>
      </p:sp>
      <p:sp>
        <p:nvSpPr>
          <p:cNvPr id="21" name="Elipse 20">
            <a:extLst>
              <a:ext uri="{FF2B5EF4-FFF2-40B4-BE49-F238E27FC236}">
                <a16:creationId xmlns:a16="http://schemas.microsoft.com/office/drawing/2014/main" id="{54B54B52-2B09-4C71-BB2D-770DDC815487}"/>
              </a:ext>
            </a:extLst>
          </p:cNvPr>
          <p:cNvSpPr/>
          <p:nvPr/>
        </p:nvSpPr>
        <p:spPr>
          <a:xfrm>
            <a:off x="4766788" y="4327931"/>
            <a:ext cx="487680" cy="487680"/>
          </a:xfrm>
          <a:prstGeom prst="ellipse">
            <a:avLst/>
          </a:prstGeom>
          <a:solidFill>
            <a:srgbClr val="ECE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500" b="1" dirty="0">
                <a:solidFill>
                  <a:srgbClr val="26314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5</a:t>
            </a:r>
          </a:p>
        </p:txBody>
      </p:sp>
      <p:sp>
        <p:nvSpPr>
          <p:cNvPr id="23" name="Elipse 22">
            <a:extLst>
              <a:ext uri="{FF2B5EF4-FFF2-40B4-BE49-F238E27FC236}">
                <a16:creationId xmlns:a16="http://schemas.microsoft.com/office/drawing/2014/main" id="{60D26257-4871-4BCF-BA5D-5A7014E34C93}"/>
              </a:ext>
            </a:extLst>
          </p:cNvPr>
          <p:cNvSpPr/>
          <p:nvPr/>
        </p:nvSpPr>
        <p:spPr>
          <a:xfrm>
            <a:off x="4511241" y="2851080"/>
            <a:ext cx="487680" cy="487680"/>
          </a:xfrm>
          <a:prstGeom prst="ellipse">
            <a:avLst/>
          </a:prstGeom>
          <a:solidFill>
            <a:srgbClr val="ECE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500" b="1" dirty="0">
                <a:solidFill>
                  <a:srgbClr val="26314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6</a:t>
            </a:r>
          </a:p>
        </p:txBody>
      </p:sp>
      <p:sp>
        <p:nvSpPr>
          <p:cNvPr id="25" name="CaixaDeTexto 24">
            <a:extLst>
              <a:ext uri="{FF2B5EF4-FFF2-40B4-BE49-F238E27FC236}">
                <a16:creationId xmlns:a16="http://schemas.microsoft.com/office/drawing/2014/main" id="{26FA2CFA-6AE9-42AB-8A6A-DB816B1B4024}"/>
              </a:ext>
            </a:extLst>
          </p:cNvPr>
          <p:cNvSpPr txBox="1"/>
          <p:nvPr/>
        </p:nvSpPr>
        <p:spPr>
          <a:xfrm>
            <a:off x="633185" y="1258999"/>
            <a:ext cx="31391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600" b="1" dirty="0">
                <a:solidFill>
                  <a:srgbClr val="B1B1A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Título aqui</a:t>
            </a:r>
          </a:p>
        </p:txBody>
      </p:sp>
      <p:sp>
        <p:nvSpPr>
          <p:cNvPr id="27" name="CaixaDeTexto 26">
            <a:extLst>
              <a:ext uri="{FF2B5EF4-FFF2-40B4-BE49-F238E27FC236}">
                <a16:creationId xmlns:a16="http://schemas.microsoft.com/office/drawing/2014/main" id="{2FAF70CD-1D80-4E01-AE77-B04D54DDEDFB}"/>
              </a:ext>
            </a:extLst>
          </p:cNvPr>
          <p:cNvSpPr txBox="1"/>
          <p:nvPr/>
        </p:nvSpPr>
        <p:spPr>
          <a:xfrm>
            <a:off x="633184" y="1641478"/>
            <a:ext cx="313917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A3C5402B-A62F-41E9-985C-9A46F06A4EF1}"/>
              </a:ext>
            </a:extLst>
          </p:cNvPr>
          <p:cNvSpPr txBox="1"/>
          <p:nvPr/>
        </p:nvSpPr>
        <p:spPr>
          <a:xfrm>
            <a:off x="581444" y="2754325"/>
            <a:ext cx="31909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600" b="1" dirty="0">
                <a:solidFill>
                  <a:srgbClr val="B1B1A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Título aqui</a:t>
            </a:r>
          </a:p>
        </p:txBody>
      </p:sp>
      <p:sp>
        <p:nvSpPr>
          <p:cNvPr id="35" name="CaixaDeTexto 34">
            <a:extLst>
              <a:ext uri="{FF2B5EF4-FFF2-40B4-BE49-F238E27FC236}">
                <a16:creationId xmlns:a16="http://schemas.microsoft.com/office/drawing/2014/main" id="{430D805E-7298-4066-AFF9-806E2C7D954D}"/>
              </a:ext>
            </a:extLst>
          </p:cNvPr>
          <p:cNvSpPr txBox="1"/>
          <p:nvPr/>
        </p:nvSpPr>
        <p:spPr>
          <a:xfrm>
            <a:off x="581443" y="3136804"/>
            <a:ext cx="319091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53A414BB-9254-4237-92F6-0E580026781F}"/>
              </a:ext>
            </a:extLst>
          </p:cNvPr>
          <p:cNvSpPr txBox="1"/>
          <p:nvPr/>
        </p:nvSpPr>
        <p:spPr>
          <a:xfrm>
            <a:off x="581443" y="4478622"/>
            <a:ext cx="31439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600" b="1" dirty="0">
                <a:solidFill>
                  <a:srgbClr val="B1B1A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Título aqui</a:t>
            </a:r>
          </a:p>
        </p:txBody>
      </p:sp>
      <p:sp>
        <p:nvSpPr>
          <p:cNvPr id="37" name="CaixaDeTexto 36">
            <a:extLst>
              <a:ext uri="{FF2B5EF4-FFF2-40B4-BE49-F238E27FC236}">
                <a16:creationId xmlns:a16="http://schemas.microsoft.com/office/drawing/2014/main" id="{C84CD26F-1385-4ABC-8471-DAE265773BCA}"/>
              </a:ext>
            </a:extLst>
          </p:cNvPr>
          <p:cNvSpPr txBox="1"/>
          <p:nvPr/>
        </p:nvSpPr>
        <p:spPr>
          <a:xfrm>
            <a:off x="586246" y="4861101"/>
            <a:ext cx="313917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8" name="CaixaDeTexto 37">
            <a:extLst>
              <a:ext uri="{FF2B5EF4-FFF2-40B4-BE49-F238E27FC236}">
                <a16:creationId xmlns:a16="http://schemas.microsoft.com/office/drawing/2014/main" id="{A0D6E7D5-F2A4-4146-A9D5-3475CE025A11}"/>
              </a:ext>
            </a:extLst>
          </p:cNvPr>
          <p:cNvSpPr txBox="1"/>
          <p:nvPr/>
        </p:nvSpPr>
        <p:spPr>
          <a:xfrm>
            <a:off x="8574752" y="1258999"/>
            <a:ext cx="31391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>
                <a:solidFill>
                  <a:srgbClr val="B1B1A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Título aqui</a:t>
            </a:r>
          </a:p>
        </p:txBody>
      </p:sp>
      <p:sp>
        <p:nvSpPr>
          <p:cNvPr id="39" name="CaixaDeTexto 38">
            <a:extLst>
              <a:ext uri="{FF2B5EF4-FFF2-40B4-BE49-F238E27FC236}">
                <a16:creationId xmlns:a16="http://schemas.microsoft.com/office/drawing/2014/main" id="{FE2A0FDB-416A-45AE-8251-2DA121FFC00A}"/>
              </a:ext>
            </a:extLst>
          </p:cNvPr>
          <p:cNvSpPr txBox="1"/>
          <p:nvPr/>
        </p:nvSpPr>
        <p:spPr>
          <a:xfrm>
            <a:off x="8574751" y="1641478"/>
            <a:ext cx="313917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0" name="CaixaDeTexto 39">
            <a:extLst>
              <a:ext uri="{FF2B5EF4-FFF2-40B4-BE49-F238E27FC236}">
                <a16:creationId xmlns:a16="http://schemas.microsoft.com/office/drawing/2014/main" id="{9D5023F3-3040-489B-AD37-7D9575196D7A}"/>
              </a:ext>
            </a:extLst>
          </p:cNvPr>
          <p:cNvSpPr txBox="1"/>
          <p:nvPr/>
        </p:nvSpPr>
        <p:spPr>
          <a:xfrm>
            <a:off x="8574752" y="4484163"/>
            <a:ext cx="31391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>
                <a:solidFill>
                  <a:srgbClr val="B1B1A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Título aqui</a:t>
            </a:r>
          </a:p>
        </p:txBody>
      </p:sp>
      <p:sp>
        <p:nvSpPr>
          <p:cNvPr id="41" name="CaixaDeTexto 40">
            <a:extLst>
              <a:ext uri="{FF2B5EF4-FFF2-40B4-BE49-F238E27FC236}">
                <a16:creationId xmlns:a16="http://schemas.microsoft.com/office/drawing/2014/main" id="{D768EDD8-C40B-452E-A7E5-885CF34A5097}"/>
              </a:ext>
            </a:extLst>
          </p:cNvPr>
          <p:cNvSpPr txBox="1"/>
          <p:nvPr/>
        </p:nvSpPr>
        <p:spPr>
          <a:xfrm>
            <a:off x="8574751" y="4866642"/>
            <a:ext cx="313917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2" name="CaixaDeTexto 41">
            <a:extLst>
              <a:ext uri="{FF2B5EF4-FFF2-40B4-BE49-F238E27FC236}">
                <a16:creationId xmlns:a16="http://schemas.microsoft.com/office/drawing/2014/main" id="{8C49CFA2-247B-4BDC-856F-19587B2F458A}"/>
              </a:ext>
            </a:extLst>
          </p:cNvPr>
          <p:cNvSpPr txBox="1"/>
          <p:nvPr/>
        </p:nvSpPr>
        <p:spPr>
          <a:xfrm>
            <a:off x="8574752" y="2754325"/>
            <a:ext cx="31391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>
                <a:solidFill>
                  <a:srgbClr val="B1B1A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Título aqui</a:t>
            </a:r>
          </a:p>
        </p:txBody>
      </p:sp>
      <p:sp>
        <p:nvSpPr>
          <p:cNvPr id="43" name="CaixaDeTexto 42">
            <a:extLst>
              <a:ext uri="{FF2B5EF4-FFF2-40B4-BE49-F238E27FC236}">
                <a16:creationId xmlns:a16="http://schemas.microsoft.com/office/drawing/2014/main" id="{F45A7C4F-3C7B-4646-BD3B-EBADB6B1744F}"/>
              </a:ext>
            </a:extLst>
          </p:cNvPr>
          <p:cNvSpPr txBox="1"/>
          <p:nvPr/>
        </p:nvSpPr>
        <p:spPr>
          <a:xfrm>
            <a:off x="8574751" y="3136804"/>
            <a:ext cx="313917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45" name="Conector: Angulado 44">
            <a:extLst>
              <a:ext uri="{FF2B5EF4-FFF2-40B4-BE49-F238E27FC236}">
                <a16:creationId xmlns:a16="http://schemas.microsoft.com/office/drawing/2014/main" id="{19A2EEC3-0CC5-4342-8436-458922D2C2C7}"/>
              </a:ext>
            </a:extLst>
          </p:cNvPr>
          <p:cNvCxnSpPr>
            <a:stCxn id="14" idx="0"/>
            <a:endCxn id="25" idx="3"/>
          </p:cNvCxnSpPr>
          <p:nvPr/>
        </p:nvCxnSpPr>
        <p:spPr>
          <a:xfrm rot="16200000" flipV="1">
            <a:off x="4562038" y="638600"/>
            <a:ext cx="464899" cy="2044251"/>
          </a:xfrm>
          <a:prstGeom prst="bentConnector2">
            <a:avLst/>
          </a:prstGeom>
          <a:ln w="28575">
            <a:solidFill>
              <a:srgbClr val="B5B5A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ector: Angulado 48">
            <a:extLst>
              <a:ext uri="{FF2B5EF4-FFF2-40B4-BE49-F238E27FC236}">
                <a16:creationId xmlns:a16="http://schemas.microsoft.com/office/drawing/2014/main" id="{C382CFBC-E3FE-4D36-A113-D9D99EFE5107}"/>
              </a:ext>
            </a:extLst>
          </p:cNvPr>
          <p:cNvCxnSpPr>
            <a:stCxn id="15" idx="0"/>
            <a:endCxn id="38" idx="1"/>
          </p:cNvCxnSpPr>
          <p:nvPr/>
        </p:nvCxnSpPr>
        <p:spPr>
          <a:xfrm rot="5400000" flipH="1" flipV="1">
            <a:off x="7419438" y="1280609"/>
            <a:ext cx="1007646" cy="1302981"/>
          </a:xfrm>
          <a:prstGeom prst="bentConnector2">
            <a:avLst/>
          </a:prstGeom>
          <a:ln w="28575">
            <a:solidFill>
              <a:srgbClr val="B5B5A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ector: Angulado 50">
            <a:extLst>
              <a:ext uri="{FF2B5EF4-FFF2-40B4-BE49-F238E27FC236}">
                <a16:creationId xmlns:a16="http://schemas.microsoft.com/office/drawing/2014/main" id="{6C3940A4-8A95-4A2D-94C1-44736A686A35}"/>
              </a:ext>
            </a:extLst>
          </p:cNvPr>
          <p:cNvCxnSpPr>
            <a:stCxn id="17" idx="6"/>
            <a:endCxn id="42" idx="1"/>
          </p:cNvCxnSpPr>
          <p:nvPr/>
        </p:nvCxnSpPr>
        <p:spPr>
          <a:xfrm flipV="1">
            <a:off x="7715976" y="2923602"/>
            <a:ext cx="858776" cy="1180010"/>
          </a:xfrm>
          <a:prstGeom prst="bentConnector3">
            <a:avLst>
              <a:gd name="adj1" fmla="val 50000"/>
            </a:avLst>
          </a:prstGeom>
          <a:ln w="28575">
            <a:solidFill>
              <a:srgbClr val="B5B5A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ector: Angulado 60">
            <a:extLst>
              <a:ext uri="{FF2B5EF4-FFF2-40B4-BE49-F238E27FC236}">
                <a16:creationId xmlns:a16="http://schemas.microsoft.com/office/drawing/2014/main" id="{687ED3A3-915A-4456-8F6E-0EAE92B6F7F7}"/>
              </a:ext>
            </a:extLst>
          </p:cNvPr>
          <p:cNvCxnSpPr>
            <a:stCxn id="19" idx="6"/>
            <a:endCxn id="40" idx="1"/>
          </p:cNvCxnSpPr>
          <p:nvPr/>
        </p:nvCxnSpPr>
        <p:spPr>
          <a:xfrm flipV="1">
            <a:off x="6576951" y="4653440"/>
            <a:ext cx="1997801" cy="381388"/>
          </a:xfrm>
          <a:prstGeom prst="bentConnector3">
            <a:avLst>
              <a:gd name="adj1" fmla="val 50000"/>
            </a:avLst>
          </a:prstGeom>
          <a:ln w="28575">
            <a:solidFill>
              <a:srgbClr val="B5B5A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ector: Angulado 63">
            <a:extLst>
              <a:ext uri="{FF2B5EF4-FFF2-40B4-BE49-F238E27FC236}">
                <a16:creationId xmlns:a16="http://schemas.microsoft.com/office/drawing/2014/main" id="{170766F1-7D62-4F95-BFEB-57F4988A818D}"/>
              </a:ext>
            </a:extLst>
          </p:cNvPr>
          <p:cNvCxnSpPr>
            <a:stCxn id="21" idx="2"/>
            <a:endCxn id="36" idx="3"/>
          </p:cNvCxnSpPr>
          <p:nvPr/>
        </p:nvCxnSpPr>
        <p:spPr>
          <a:xfrm rot="10800000" flipV="1">
            <a:off x="3725422" y="4571771"/>
            <a:ext cx="1041366" cy="76128"/>
          </a:xfrm>
          <a:prstGeom prst="bentConnector3">
            <a:avLst>
              <a:gd name="adj1" fmla="val 62544"/>
            </a:avLst>
          </a:prstGeom>
          <a:ln w="28575">
            <a:solidFill>
              <a:srgbClr val="B5B5A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Conector: Angulado 76">
            <a:extLst>
              <a:ext uri="{FF2B5EF4-FFF2-40B4-BE49-F238E27FC236}">
                <a16:creationId xmlns:a16="http://schemas.microsoft.com/office/drawing/2014/main" id="{950B5E6B-1598-4A5C-A554-01CC19731DD3}"/>
              </a:ext>
            </a:extLst>
          </p:cNvPr>
          <p:cNvCxnSpPr>
            <a:cxnSpLocks/>
            <a:stCxn id="23" idx="2"/>
            <a:endCxn id="33" idx="3"/>
          </p:cNvCxnSpPr>
          <p:nvPr/>
        </p:nvCxnSpPr>
        <p:spPr>
          <a:xfrm rot="10800000">
            <a:off x="3772363" y="2923602"/>
            <a:ext cx="738879" cy="171318"/>
          </a:xfrm>
          <a:prstGeom prst="bentConnector3">
            <a:avLst/>
          </a:prstGeom>
          <a:ln w="28575">
            <a:solidFill>
              <a:srgbClr val="B5B5A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4431772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BD681BEE-6E30-4E99-9840-3B0691BA13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Inserir aqui o título do slid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CBA04BE5-BC42-43C4-B3EC-911DF2BE288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erir aqui o subtítulo do slide</a:t>
            </a:r>
          </a:p>
        </p:txBody>
      </p:sp>
      <p:sp>
        <p:nvSpPr>
          <p:cNvPr id="8" name="Círculo Parcial 7">
            <a:extLst>
              <a:ext uri="{FF2B5EF4-FFF2-40B4-BE49-F238E27FC236}">
                <a16:creationId xmlns:a16="http://schemas.microsoft.com/office/drawing/2014/main" id="{8BF99CC2-F518-4C2D-98DE-1FA3EF66DFCA}"/>
              </a:ext>
            </a:extLst>
          </p:cNvPr>
          <p:cNvSpPr/>
          <p:nvPr/>
        </p:nvSpPr>
        <p:spPr>
          <a:xfrm rot="5400000">
            <a:off x="4176848" y="1407033"/>
            <a:ext cx="3944984" cy="3944984"/>
          </a:xfrm>
          <a:prstGeom prst="pie">
            <a:avLst>
              <a:gd name="adj1" fmla="val 10810066"/>
              <a:gd name="adj2" fmla="val 16200000"/>
            </a:avLst>
          </a:prstGeom>
          <a:solidFill>
            <a:srgbClr val="1138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10" name="Círculo Parcial 9">
            <a:extLst>
              <a:ext uri="{FF2B5EF4-FFF2-40B4-BE49-F238E27FC236}">
                <a16:creationId xmlns:a16="http://schemas.microsoft.com/office/drawing/2014/main" id="{520C37FF-54A9-45EB-8489-2EC0E803FED2}"/>
              </a:ext>
            </a:extLst>
          </p:cNvPr>
          <p:cNvSpPr/>
          <p:nvPr/>
        </p:nvSpPr>
        <p:spPr>
          <a:xfrm>
            <a:off x="4077788" y="1407033"/>
            <a:ext cx="3944984" cy="3944984"/>
          </a:xfrm>
          <a:prstGeom prst="pie">
            <a:avLst>
              <a:gd name="adj1" fmla="val 10810066"/>
              <a:gd name="adj2" fmla="val 16200000"/>
            </a:avLst>
          </a:prstGeom>
          <a:solidFill>
            <a:srgbClr val="2631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13" name="Círculo Parcial 12">
            <a:extLst>
              <a:ext uri="{FF2B5EF4-FFF2-40B4-BE49-F238E27FC236}">
                <a16:creationId xmlns:a16="http://schemas.microsoft.com/office/drawing/2014/main" id="{0FCDA95B-593C-4D16-A954-8D8AAFD7A354}"/>
              </a:ext>
            </a:extLst>
          </p:cNvPr>
          <p:cNvSpPr/>
          <p:nvPr/>
        </p:nvSpPr>
        <p:spPr>
          <a:xfrm rot="16200000">
            <a:off x="4077788" y="1506093"/>
            <a:ext cx="3944984" cy="3944984"/>
          </a:xfrm>
          <a:prstGeom prst="pie">
            <a:avLst>
              <a:gd name="adj1" fmla="val 10810066"/>
              <a:gd name="adj2" fmla="val 16200000"/>
            </a:avLst>
          </a:prstGeom>
          <a:solidFill>
            <a:srgbClr val="899D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14" name="Círculo Parcial 13">
            <a:extLst>
              <a:ext uri="{FF2B5EF4-FFF2-40B4-BE49-F238E27FC236}">
                <a16:creationId xmlns:a16="http://schemas.microsoft.com/office/drawing/2014/main" id="{3E329054-B7C5-42F3-ABCC-139BCFC126AE}"/>
              </a:ext>
            </a:extLst>
          </p:cNvPr>
          <p:cNvSpPr/>
          <p:nvPr/>
        </p:nvSpPr>
        <p:spPr>
          <a:xfrm rot="10800000">
            <a:off x="4176848" y="1506093"/>
            <a:ext cx="3944984" cy="3944984"/>
          </a:xfrm>
          <a:prstGeom prst="pie">
            <a:avLst>
              <a:gd name="adj1" fmla="val 10810066"/>
              <a:gd name="adj2" fmla="val 16200000"/>
            </a:avLst>
          </a:prstGeom>
          <a:solidFill>
            <a:srgbClr val="4B61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15" name="Elipse 14">
            <a:extLst>
              <a:ext uri="{FF2B5EF4-FFF2-40B4-BE49-F238E27FC236}">
                <a16:creationId xmlns:a16="http://schemas.microsoft.com/office/drawing/2014/main" id="{6149EFB9-950D-4D4A-BE3F-B0F40425A501}"/>
              </a:ext>
            </a:extLst>
          </p:cNvPr>
          <p:cNvSpPr/>
          <p:nvPr/>
        </p:nvSpPr>
        <p:spPr>
          <a:xfrm>
            <a:off x="4930139" y="2251764"/>
            <a:ext cx="2362200" cy="2362200"/>
          </a:xfrm>
          <a:prstGeom prst="ellipse">
            <a:avLst/>
          </a:prstGeom>
          <a:solidFill>
            <a:srgbClr val="D6D6CE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" name="CaixaDeTexto 23">
            <a:extLst>
              <a:ext uri="{FF2B5EF4-FFF2-40B4-BE49-F238E27FC236}">
                <a16:creationId xmlns:a16="http://schemas.microsoft.com/office/drawing/2014/main" id="{DF611DF2-974A-4FDA-8303-317E3D8E848F}"/>
              </a:ext>
            </a:extLst>
          </p:cNvPr>
          <p:cNvSpPr txBox="1"/>
          <p:nvPr/>
        </p:nvSpPr>
        <p:spPr>
          <a:xfrm>
            <a:off x="583655" y="1258999"/>
            <a:ext cx="34446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600" b="1" dirty="0">
                <a:solidFill>
                  <a:srgbClr val="B1B1A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Título aqui</a:t>
            </a:r>
          </a:p>
        </p:txBody>
      </p:sp>
      <p:sp>
        <p:nvSpPr>
          <p:cNvPr id="26" name="CaixaDeTexto 25">
            <a:extLst>
              <a:ext uri="{FF2B5EF4-FFF2-40B4-BE49-F238E27FC236}">
                <a16:creationId xmlns:a16="http://schemas.microsoft.com/office/drawing/2014/main" id="{9FE86C23-FC32-4435-AB7E-67676A0F460B}"/>
              </a:ext>
            </a:extLst>
          </p:cNvPr>
          <p:cNvSpPr txBox="1"/>
          <p:nvPr/>
        </p:nvSpPr>
        <p:spPr>
          <a:xfrm>
            <a:off x="583654" y="1641478"/>
            <a:ext cx="344460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" name="CaixaDeTexto 26">
            <a:extLst>
              <a:ext uri="{FF2B5EF4-FFF2-40B4-BE49-F238E27FC236}">
                <a16:creationId xmlns:a16="http://schemas.microsoft.com/office/drawing/2014/main" id="{630E1B3D-9246-4A32-BDCD-16BCFD8D7E88}"/>
              </a:ext>
            </a:extLst>
          </p:cNvPr>
          <p:cNvSpPr txBox="1"/>
          <p:nvPr/>
        </p:nvSpPr>
        <p:spPr>
          <a:xfrm>
            <a:off x="583655" y="4237600"/>
            <a:ext cx="34446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600" b="1" dirty="0">
                <a:solidFill>
                  <a:srgbClr val="B1B1A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Título aqui</a:t>
            </a:r>
          </a:p>
        </p:txBody>
      </p: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D7845528-F58B-4B60-99DB-270250153F44}"/>
              </a:ext>
            </a:extLst>
          </p:cNvPr>
          <p:cNvSpPr txBox="1"/>
          <p:nvPr/>
        </p:nvSpPr>
        <p:spPr>
          <a:xfrm>
            <a:off x="583654" y="4620079"/>
            <a:ext cx="344460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2EB78923-2710-4E63-A93D-17181F0E8A24}"/>
              </a:ext>
            </a:extLst>
          </p:cNvPr>
          <p:cNvSpPr txBox="1"/>
          <p:nvPr/>
        </p:nvSpPr>
        <p:spPr>
          <a:xfrm>
            <a:off x="8220892" y="1258999"/>
            <a:ext cx="34446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>
                <a:solidFill>
                  <a:srgbClr val="B1B1A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Título aqui</a:t>
            </a:r>
          </a:p>
        </p:txBody>
      </p:sp>
      <p:sp>
        <p:nvSpPr>
          <p:cNvPr id="30" name="CaixaDeTexto 29">
            <a:extLst>
              <a:ext uri="{FF2B5EF4-FFF2-40B4-BE49-F238E27FC236}">
                <a16:creationId xmlns:a16="http://schemas.microsoft.com/office/drawing/2014/main" id="{1EFC6FED-5C06-44DB-8838-C7B1016FA1C1}"/>
              </a:ext>
            </a:extLst>
          </p:cNvPr>
          <p:cNvSpPr txBox="1"/>
          <p:nvPr/>
        </p:nvSpPr>
        <p:spPr>
          <a:xfrm>
            <a:off x="8220891" y="1641478"/>
            <a:ext cx="344460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1" name="CaixaDeTexto 30">
            <a:extLst>
              <a:ext uri="{FF2B5EF4-FFF2-40B4-BE49-F238E27FC236}">
                <a16:creationId xmlns:a16="http://schemas.microsoft.com/office/drawing/2014/main" id="{6E3DF99A-F6A8-4AEA-818B-ACF2AFE49C1F}"/>
              </a:ext>
            </a:extLst>
          </p:cNvPr>
          <p:cNvSpPr txBox="1"/>
          <p:nvPr/>
        </p:nvSpPr>
        <p:spPr>
          <a:xfrm>
            <a:off x="8220892" y="4237600"/>
            <a:ext cx="34446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>
                <a:solidFill>
                  <a:srgbClr val="B1B1A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Título aqui</a:t>
            </a:r>
          </a:p>
        </p:txBody>
      </p:sp>
      <p:sp>
        <p:nvSpPr>
          <p:cNvPr id="32" name="CaixaDeTexto 31">
            <a:extLst>
              <a:ext uri="{FF2B5EF4-FFF2-40B4-BE49-F238E27FC236}">
                <a16:creationId xmlns:a16="http://schemas.microsoft.com/office/drawing/2014/main" id="{E41CB866-63DB-48E4-87B3-BE0335D37F15}"/>
              </a:ext>
            </a:extLst>
          </p:cNvPr>
          <p:cNvSpPr txBox="1"/>
          <p:nvPr/>
        </p:nvSpPr>
        <p:spPr>
          <a:xfrm>
            <a:off x="8220891" y="4620079"/>
            <a:ext cx="344460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3" name="Retângulo 32">
            <a:extLst>
              <a:ext uri="{FF2B5EF4-FFF2-40B4-BE49-F238E27FC236}">
                <a16:creationId xmlns:a16="http://schemas.microsoft.com/office/drawing/2014/main" id="{5D8E0E41-9E2C-4FA5-B610-B6F5761AECA9}"/>
              </a:ext>
            </a:extLst>
          </p:cNvPr>
          <p:cNvSpPr/>
          <p:nvPr/>
        </p:nvSpPr>
        <p:spPr>
          <a:xfrm rot="2873938">
            <a:off x="3980076" y="1655829"/>
            <a:ext cx="3638323" cy="4001438"/>
          </a:xfrm>
          <a:prstGeom prst="rect">
            <a:avLst/>
          </a:prstGeom>
          <a:noFill/>
        </p:spPr>
        <p:txBody>
          <a:bodyPr wrap="none" lIns="91440" tIns="45720" rIns="91440" bIns="45720">
            <a:prstTxWarp prst="textArchUp">
              <a:avLst>
                <a:gd name="adj" fmla="val 12227209"/>
              </a:avLst>
            </a:prstTxWarp>
            <a:spAutoFit/>
          </a:bodyPr>
          <a:lstStyle/>
          <a:p>
            <a:pPr algn="ctr"/>
            <a:r>
              <a:rPr lang="pt-BR" sz="2000" b="0" cap="none" spc="0" dirty="0">
                <a:ln w="0"/>
                <a:solidFill>
                  <a:schemeClr val="bg1"/>
                </a:solidFill>
              </a:rPr>
              <a:t>Insira o texto aqui</a:t>
            </a:r>
          </a:p>
        </p:txBody>
      </p:sp>
      <p:sp>
        <p:nvSpPr>
          <p:cNvPr id="35" name="Retângulo 34">
            <a:extLst>
              <a:ext uri="{FF2B5EF4-FFF2-40B4-BE49-F238E27FC236}">
                <a16:creationId xmlns:a16="http://schemas.microsoft.com/office/drawing/2014/main" id="{C5D16F35-02FC-471E-9B53-0A9F6F4FEDB4}"/>
              </a:ext>
            </a:extLst>
          </p:cNvPr>
          <p:cNvSpPr/>
          <p:nvPr/>
        </p:nvSpPr>
        <p:spPr>
          <a:xfrm rot="8100000">
            <a:off x="3977038" y="1195689"/>
            <a:ext cx="3638323" cy="4001438"/>
          </a:xfrm>
          <a:prstGeom prst="rect">
            <a:avLst/>
          </a:prstGeom>
          <a:noFill/>
        </p:spPr>
        <p:txBody>
          <a:bodyPr wrap="none" lIns="91440" tIns="45720" rIns="91440" bIns="45720">
            <a:prstTxWarp prst="textArchUp">
              <a:avLst>
                <a:gd name="adj" fmla="val 12227209"/>
              </a:avLst>
            </a:prstTxWarp>
            <a:spAutoFit/>
          </a:bodyPr>
          <a:lstStyle/>
          <a:p>
            <a:pPr algn="ctr"/>
            <a:r>
              <a:rPr lang="pt-BR" sz="2000" b="0" cap="none" spc="0" dirty="0">
                <a:ln w="0"/>
                <a:solidFill>
                  <a:schemeClr val="bg1"/>
                </a:solidFill>
              </a:rPr>
              <a:t>Insira o texto aqui</a:t>
            </a:r>
          </a:p>
        </p:txBody>
      </p:sp>
      <p:sp>
        <p:nvSpPr>
          <p:cNvPr id="37" name="Retângulo 36">
            <a:extLst>
              <a:ext uri="{FF2B5EF4-FFF2-40B4-BE49-F238E27FC236}">
                <a16:creationId xmlns:a16="http://schemas.microsoft.com/office/drawing/2014/main" id="{75463F3A-8CA3-473D-A962-857E6D4BD1B9}"/>
              </a:ext>
            </a:extLst>
          </p:cNvPr>
          <p:cNvSpPr/>
          <p:nvPr/>
        </p:nvSpPr>
        <p:spPr>
          <a:xfrm rot="13500000">
            <a:off x="4573572" y="1182622"/>
            <a:ext cx="3638323" cy="4001438"/>
          </a:xfrm>
          <a:prstGeom prst="rect">
            <a:avLst/>
          </a:prstGeom>
          <a:noFill/>
        </p:spPr>
        <p:txBody>
          <a:bodyPr wrap="none" lIns="91440" tIns="45720" rIns="91440" bIns="45720">
            <a:prstTxWarp prst="textArchUp">
              <a:avLst>
                <a:gd name="adj" fmla="val 12227209"/>
              </a:avLst>
            </a:prstTxWarp>
            <a:spAutoFit/>
          </a:bodyPr>
          <a:lstStyle/>
          <a:p>
            <a:pPr algn="ctr"/>
            <a:r>
              <a:rPr lang="pt-BR" sz="2000" b="0" cap="none" spc="0" dirty="0">
                <a:ln w="0"/>
                <a:solidFill>
                  <a:schemeClr val="bg1"/>
                </a:solidFill>
              </a:rPr>
              <a:t>Insira o texto aqui</a:t>
            </a:r>
          </a:p>
        </p:txBody>
      </p:sp>
      <p:sp>
        <p:nvSpPr>
          <p:cNvPr id="41" name="Retângulo 40">
            <a:extLst>
              <a:ext uri="{FF2B5EF4-FFF2-40B4-BE49-F238E27FC236}">
                <a16:creationId xmlns:a16="http://schemas.microsoft.com/office/drawing/2014/main" id="{C174B617-D1E8-443B-A156-4723AF29A012}"/>
              </a:ext>
            </a:extLst>
          </p:cNvPr>
          <p:cNvSpPr/>
          <p:nvPr/>
        </p:nvSpPr>
        <p:spPr>
          <a:xfrm rot="18732310">
            <a:off x="4602745" y="1624033"/>
            <a:ext cx="3638323" cy="4001438"/>
          </a:xfrm>
          <a:prstGeom prst="rect">
            <a:avLst/>
          </a:prstGeom>
          <a:noFill/>
        </p:spPr>
        <p:txBody>
          <a:bodyPr wrap="none" lIns="91440" tIns="45720" rIns="91440" bIns="45720">
            <a:prstTxWarp prst="textArchUp">
              <a:avLst>
                <a:gd name="adj" fmla="val 12227209"/>
              </a:avLst>
            </a:prstTxWarp>
            <a:spAutoFit/>
          </a:bodyPr>
          <a:lstStyle/>
          <a:p>
            <a:pPr algn="ctr"/>
            <a:r>
              <a:rPr lang="pt-BR" sz="2000" b="0" cap="none" spc="0" dirty="0">
                <a:ln w="0"/>
                <a:solidFill>
                  <a:schemeClr val="bg1"/>
                </a:solidFill>
              </a:rPr>
              <a:t>Insira o texto aqui</a:t>
            </a:r>
          </a:p>
        </p:txBody>
      </p:sp>
      <p:sp>
        <p:nvSpPr>
          <p:cNvPr id="42" name="CaixaDeTexto 41">
            <a:extLst>
              <a:ext uri="{FF2B5EF4-FFF2-40B4-BE49-F238E27FC236}">
                <a16:creationId xmlns:a16="http://schemas.microsoft.com/office/drawing/2014/main" id="{A1CFE1BD-B948-40B8-AF56-15A6E185C929}"/>
              </a:ext>
            </a:extLst>
          </p:cNvPr>
          <p:cNvSpPr txBox="1"/>
          <p:nvPr/>
        </p:nvSpPr>
        <p:spPr>
          <a:xfrm>
            <a:off x="5262156" y="3108613"/>
            <a:ext cx="16807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/>
              <a:t>Inserir a </a:t>
            </a:r>
          </a:p>
          <a:p>
            <a:pPr algn="ctr"/>
            <a:r>
              <a:rPr lang="pt-BR" b="1" dirty="0"/>
              <a:t>texto aqui</a:t>
            </a:r>
          </a:p>
        </p:txBody>
      </p:sp>
    </p:spTree>
    <p:extLst>
      <p:ext uri="{BB962C8B-B14F-4D97-AF65-F5344CB8AC3E}">
        <p14:creationId xmlns:p14="http://schemas.microsoft.com/office/powerpoint/2010/main" val="3960120050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C29510D1-94FA-4E99-BB76-01A6627C89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Inserir aqui o título do slid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B7B7A5A3-FE00-4630-A17B-EB086F27AC2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erir aqui o subtítulo do slide</a:t>
            </a:r>
          </a:p>
        </p:txBody>
      </p:sp>
      <p:sp>
        <p:nvSpPr>
          <p:cNvPr id="9" name="Lágrima 8">
            <a:extLst>
              <a:ext uri="{FF2B5EF4-FFF2-40B4-BE49-F238E27FC236}">
                <a16:creationId xmlns:a16="http://schemas.microsoft.com/office/drawing/2014/main" id="{6B8402EB-9B0F-4FA7-AE1A-A4EFBC292273}"/>
              </a:ext>
            </a:extLst>
          </p:cNvPr>
          <p:cNvSpPr/>
          <p:nvPr/>
        </p:nvSpPr>
        <p:spPr>
          <a:xfrm rot="10800000" flipH="1">
            <a:off x="699222" y="1010372"/>
            <a:ext cx="5155478" cy="5155478"/>
          </a:xfrm>
          <a:prstGeom prst="teardrop">
            <a:avLst/>
          </a:prstGeom>
          <a:solidFill>
            <a:srgbClr val="899D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Lágrima 6">
            <a:extLst>
              <a:ext uri="{FF2B5EF4-FFF2-40B4-BE49-F238E27FC236}">
                <a16:creationId xmlns:a16="http://schemas.microsoft.com/office/drawing/2014/main" id="{CC446512-5A56-4FD9-A0BC-CF5F675F2DCE}"/>
              </a:ext>
            </a:extLst>
          </p:cNvPr>
          <p:cNvSpPr/>
          <p:nvPr/>
        </p:nvSpPr>
        <p:spPr>
          <a:xfrm rot="10800000" flipH="1">
            <a:off x="1822448" y="2133600"/>
            <a:ext cx="4032250" cy="4032250"/>
          </a:xfrm>
          <a:prstGeom prst="teardrop">
            <a:avLst/>
          </a:prstGeom>
          <a:solidFill>
            <a:srgbClr val="4B61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Lágrima 4">
            <a:extLst>
              <a:ext uri="{FF2B5EF4-FFF2-40B4-BE49-F238E27FC236}">
                <a16:creationId xmlns:a16="http://schemas.microsoft.com/office/drawing/2014/main" id="{A2253400-1BE2-468D-A3D3-820758BD5D18}"/>
              </a:ext>
            </a:extLst>
          </p:cNvPr>
          <p:cNvSpPr/>
          <p:nvPr/>
        </p:nvSpPr>
        <p:spPr>
          <a:xfrm rot="10800000" flipH="1">
            <a:off x="2780571" y="3091724"/>
            <a:ext cx="3074126" cy="3074126"/>
          </a:xfrm>
          <a:prstGeom prst="teardrop">
            <a:avLst/>
          </a:prstGeom>
          <a:solidFill>
            <a:srgbClr val="1138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F32C4C3E-C69B-458A-A1A0-73E14366EBBA}"/>
              </a:ext>
            </a:extLst>
          </p:cNvPr>
          <p:cNvSpPr txBox="1"/>
          <p:nvPr/>
        </p:nvSpPr>
        <p:spPr>
          <a:xfrm>
            <a:off x="3431177" y="4401295"/>
            <a:ext cx="20290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tem 03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B6CF29E9-9E3F-4EB2-B75C-7E9EAB69B4B3}"/>
              </a:ext>
            </a:extLst>
          </p:cNvPr>
          <p:cNvSpPr txBox="1"/>
          <p:nvPr/>
        </p:nvSpPr>
        <p:spPr>
          <a:xfrm>
            <a:off x="1920239" y="2907058"/>
            <a:ext cx="20290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tem 02</a:t>
            </a: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4A00B025-2C07-4C57-A1D6-9F4FD1872A36}"/>
              </a:ext>
            </a:extLst>
          </p:cNvPr>
          <p:cNvSpPr txBox="1"/>
          <p:nvPr/>
        </p:nvSpPr>
        <p:spPr>
          <a:xfrm>
            <a:off x="905690" y="2034653"/>
            <a:ext cx="20290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tem 01</a:t>
            </a:r>
          </a:p>
        </p:txBody>
      </p:sp>
      <p:cxnSp>
        <p:nvCxnSpPr>
          <p:cNvPr id="17" name="Conector de Seta Reta 16">
            <a:extLst>
              <a:ext uri="{FF2B5EF4-FFF2-40B4-BE49-F238E27FC236}">
                <a16:creationId xmlns:a16="http://schemas.microsoft.com/office/drawing/2014/main" id="{998CCA51-51FC-4EAA-B964-DBDB5B4887D9}"/>
              </a:ext>
            </a:extLst>
          </p:cNvPr>
          <p:cNvCxnSpPr>
            <a:cxnSpLocks/>
          </p:cNvCxnSpPr>
          <p:nvPr/>
        </p:nvCxnSpPr>
        <p:spPr>
          <a:xfrm>
            <a:off x="4972594" y="1828800"/>
            <a:ext cx="2238103" cy="0"/>
          </a:xfrm>
          <a:prstGeom prst="straightConnector1">
            <a:avLst/>
          </a:prstGeom>
          <a:ln w="38100">
            <a:solidFill>
              <a:srgbClr val="B5B5A7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ector de Seta Reta 18">
            <a:extLst>
              <a:ext uri="{FF2B5EF4-FFF2-40B4-BE49-F238E27FC236}">
                <a16:creationId xmlns:a16="http://schemas.microsoft.com/office/drawing/2014/main" id="{C192C116-794D-4BD3-A7D8-53D9965FA44E}"/>
              </a:ext>
            </a:extLst>
          </p:cNvPr>
          <p:cNvCxnSpPr>
            <a:cxnSpLocks/>
          </p:cNvCxnSpPr>
          <p:nvPr/>
        </p:nvCxnSpPr>
        <p:spPr>
          <a:xfrm>
            <a:off x="5286103" y="3282840"/>
            <a:ext cx="1924593" cy="0"/>
          </a:xfrm>
          <a:prstGeom prst="straightConnector1">
            <a:avLst/>
          </a:prstGeom>
          <a:ln w="38100">
            <a:solidFill>
              <a:srgbClr val="B5B5A7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 de Seta Reta 19">
            <a:extLst>
              <a:ext uri="{FF2B5EF4-FFF2-40B4-BE49-F238E27FC236}">
                <a16:creationId xmlns:a16="http://schemas.microsoft.com/office/drawing/2014/main" id="{722D56F5-08E5-465F-82BF-380F884C2005}"/>
              </a:ext>
            </a:extLst>
          </p:cNvPr>
          <p:cNvCxnSpPr>
            <a:cxnSpLocks/>
          </p:cNvCxnSpPr>
          <p:nvPr/>
        </p:nvCxnSpPr>
        <p:spPr>
          <a:xfrm>
            <a:off x="5364480" y="4770627"/>
            <a:ext cx="1846215" cy="0"/>
          </a:xfrm>
          <a:prstGeom prst="straightConnector1">
            <a:avLst/>
          </a:prstGeom>
          <a:ln w="38100">
            <a:solidFill>
              <a:srgbClr val="B5B5A7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aixaDeTexto 23">
            <a:extLst>
              <a:ext uri="{FF2B5EF4-FFF2-40B4-BE49-F238E27FC236}">
                <a16:creationId xmlns:a16="http://schemas.microsoft.com/office/drawing/2014/main" id="{2E877B01-31E7-41E8-B3E4-FEF7CD945C18}"/>
              </a:ext>
            </a:extLst>
          </p:cNvPr>
          <p:cNvSpPr txBox="1"/>
          <p:nvPr/>
        </p:nvSpPr>
        <p:spPr>
          <a:xfrm>
            <a:off x="7419704" y="1659523"/>
            <a:ext cx="34446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>
                <a:solidFill>
                  <a:srgbClr val="B1B1A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Título aqui</a:t>
            </a:r>
          </a:p>
        </p:txBody>
      </p:sp>
      <p:sp>
        <p:nvSpPr>
          <p:cNvPr id="26" name="CaixaDeTexto 25">
            <a:extLst>
              <a:ext uri="{FF2B5EF4-FFF2-40B4-BE49-F238E27FC236}">
                <a16:creationId xmlns:a16="http://schemas.microsoft.com/office/drawing/2014/main" id="{C7170EC5-9DAB-431E-BE44-6ED47C291BBA}"/>
              </a:ext>
            </a:extLst>
          </p:cNvPr>
          <p:cNvSpPr txBox="1"/>
          <p:nvPr/>
        </p:nvSpPr>
        <p:spPr>
          <a:xfrm>
            <a:off x="7419703" y="2042002"/>
            <a:ext cx="344460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" name="CaixaDeTexto 26">
            <a:extLst>
              <a:ext uri="{FF2B5EF4-FFF2-40B4-BE49-F238E27FC236}">
                <a16:creationId xmlns:a16="http://schemas.microsoft.com/office/drawing/2014/main" id="{4DA0F52E-907A-46F8-A7E8-0E6CC0DEC3A8}"/>
              </a:ext>
            </a:extLst>
          </p:cNvPr>
          <p:cNvSpPr txBox="1"/>
          <p:nvPr/>
        </p:nvSpPr>
        <p:spPr>
          <a:xfrm>
            <a:off x="7419704" y="3113383"/>
            <a:ext cx="34446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>
                <a:solidFill>
                  <a:srgbClr val="B1B1A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Título aqui</a:t>
            </a:r>
          </a:p>
        </p:txBody>
      </p: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7561BC60-A024-495E-A409-B8C237C93338}"/>
              </a:ext>
            </a:extLst>
          </p:cNvPr>
          <p:cNvSpPr txBox="1"/>
          <p:nvPr/>
        </p:nvSpPr>
        <p:spPr>
          <a:xfrm>
            <a:off x="7419703" y="3495862"/>
            <a:ext cx="344460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4E1A8676-C2C9-4DFD-BA9D-5CE16FF06E4D}"/>
              </a:ext>
            </a:extLst>
          </p:cNvPr>
          <p:cNvSpPr txBox="1"/>
          <p:nvPr/>
        </p:nvSpPr>
        <p:spPr>
          <a:xfrm>
            <a:off x="7419704" y="4603020"/>
            <a:ext cx="34446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>
                <a:solidFill>
                  <a:srgbClr val="B1B1A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Título aqui</a:t>
            </a:r>
          </a:p>
        </p:txBody>
      </p:sp>
      <p:sp>
        <p:nvSpPr>
          <p:cNvPr id="30" name="CaixaDeTexto 29">
            <a:extLst>
              <a:ext uri="{FF2B5EF4-FFF2-40B4-BE49-F238E27FC236}">
                <a16:creationId xmlns:a16="http://schemas.microsoft.com/office/drawing/2014/main" id="{2DAC06DF-7CBB-4664-BBFC-CA4FA197BF9A}"/>
              </a:ext>
            </a:extLst>
          </p:cNvPr>
          <p:cNvSpPr txBox="1"/>
          <p:nvPr/>
        </p:nvSpPr>
        <p:spPr>
          <a:xfrm>
            <a:off x="7419703" y="4985499"/>
            <a:ext cx="344460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1377295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0704D15E-160A-45C4-A8E0-E3074401C2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Inserir aqui o título do slid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2A97DB5A-22D2-4BD7-AE15-B492D52EE4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erir aqui o subtítulo do slide</a:t>
            </a:r>
          </a:p>
        </p:txBody>
      </p:sp>
      <p:sp>
        <p:nvSpPr>
          <p:cNvPr id="7" name="Forma Livre: Forma 6">
            <a:extLst>
              <a:ext uri="{FF2B5EF4-FFF2-40B4-BE49-F238E27FC236}">
                <a16:creationId xmlns:a16="http://schemas.microsoft.com/office/drawing/2014/main" id="{75A47BDA-03E6-4E0A-B66B-1B0D8C579E1D}"/>
              </a:ext>
            </a:extLst>
          </p:cNvPr>
          <p:cNvSpPr/>
          <p:nvPr/>
        </p:nvSpPr>
        <p:spPr>
          <a:xfrm>
            <a:off x="4644883" y="944562"/>
            <a:ext cx="3001952" cy="3301694"/>
          </a:xfrm>
          <a:custGeom>
            <a:avLst/>
            <a:gdLst>
              <a:gd name="connsiteX0" fmla="*/ 627698 w 1259204"/>
              <a:gd name="connsiteY0" fmla="*/ 0 h 1384934"/>
              <a:gd name="connsiteX1" fmla="*/ 0 w 1259204"/>
              <a:gd name="connsiteY1" fmla="*/ 1003935 h 1384934"/>
              <a:gd name="connsiteX2" fmla="*/ 627698 w 1259204"/>
              <a:gd name="connsiteY2" fmla="*/ 1384935 h 1384934"/>
              <a:gd name="connsiteX3" fmla="*/ 1259205 w 1259204"/>
              <a:gd name="connsiteY3" fmla="*/ 1022033 h 1384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59204" h="1384934">
                <a:moveTo>
                  <a:pt x="627698" y="0"/>
                </a:moveTo>
                <a:lnTo>
                  <a:pt x="0" y="1003935"/>
                </a:lnTo>
                <a:lnTo>
                  <a:pt x="627698" y="1384935"/>
                </a:lnTo>
                <a:lnTo>
                  <a:pt x="1259205" y="1022033"/>
                </a:lnTo>
                <a:close/>
              </a:path>
            </a:pathLst>
          </a:custGeom>
          <a:solidFill>
            <a:srgbClr val="4B618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 dirty="0"/>
          </a:p>
        </p:txBody>
      </p:sp>
      <p:sp>
        <p:nvSpPr>
          <p:cNvPr id="8" name="Forma Livre: Forma 7">
            <a:extLst>
              <a:ext uri="{FF2B5EF4-FFF2-40B4-BE49-F238E27FC236}">
                <a16:creationId xmlns:a16="http://schemas.microsoft.com/office/drawing/2014/main" id="{6D6B87C0-5EE1-44A1-A55F-E4349AE48BBD}"/>
              </a:ext>
            </a:extLst>
          </p:cNvPr>
          <p:cNvSpPr/>
          <p:nvPr/>
        </p:nvSpPr>
        <p:spPr>
          <a:xfrm>
            <a:off x="2891853" y="3476467"/>
            <a:ext cx="3163177" cy="2693130"/>
          </a:xfrm>
          <a:custGeom>
            <a:avLst/>
            <a:gdLst>
              <a:gd name="connsiteX0" fmla="*/ 0 w 1326832"/>
              <a:gd name="connsiteY0" fmla="*/ 1129665 h 1129665"/>
              <a:gd name="connsiteX1" fmla="*/ 703898 w 1326832"/>
              <a:gd name="connsiteY1" fmla="*/ 0 h 1129665"/>
              <a:gd name="connsiteX2" fmla="*/ 1326833 w 1326832"/>
              <a:gd name="connsiteY2" fmla="*/ 378142 h 1129665"/>
              <a:gd name="connsiteX3" fmla="*/ 1326833 w 1326832"/>
              <a:gd name="connsiteY3" fmla="*/ 1129665 h 1129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26832" h="1129665">
                <a:moveTo>
                  <a:pt x="0" y="1129665"/>
                </a:moveTo>
                <a:lnTo>
                  <a:pt x="703898" y="0"/>
                </a:lnTo>
                <a:lnTo>
                  <a:pt x="1326833" y="378142"/>
                </a:lnTo>
                <a:lnTo>
                  <a:pt x="1326833" y="1129665"/>
                </a:lnTo>
                <a:close/>
              </a:path>
            </a:pathLst>
          </a:custGeom>
          <a:solidFill>
            <a:srgbClr val="BFCADB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9" name="Forma Livre: Forma 8">
            <a:extLst>
              <a:ext uri="{FF2B5EF4-FFF2-40B4-BE49-F238E27FC236}">
                <a16:creationId xmlns:a16="http://schemas.microsoft.com/office/drawing/2014/main" id="{E32464B6-670D-485E-B79F-EEAE056109A0}"/>
              </a:ext>
            </a:extLst>
          </p:cNvPr>
          <p:cNvSpPr/>
          <p:nvPr/>
        </p:nvSpPr>
        <p:spPr>
          <a:xfrm>
            <a:off x="6224963" y="3476467"/>
            <a:ext cx="3163177" cy="2693130"/>
          </a:xfrm>
          <a:custGeom>
            <a:avLst/>
            <a:gdLst>
              <a:gd name="connsiteX0" fmla="*/ 1326833 w 1326832"/>
              <a:gd name="connsiteY0" fmla="*/ 1129665 h 1129665"/>
              <a:gd name="connsiteX1" fmla="*/ 623888 w 1326832"/>
              <a:gd name="connsiteY1" fmla="*/ 0 h 1129665"/>
              <a:gd name="connsiteX2" fmla="*/ 0 w 1326832"/>
              <a:gd name="connsiteY2" fmla="*/ 378142 h 1129665"/>
              <a:gd name="connsiteX3" fmla="*/ 0 w 1326832"/>
              <a:gd name="connsiteY3" fmla="*/ 1129665 h 1129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26832" h="1129665">
                <a:moveTo>
                  <a:pt x="1326833" y="1129665"/>
                </a:moveTo>
                <a:lnTo>
                  <a:pt x="623888" y="0"/>
                </a:lnTo>
                <a:lnTo>
                  <a:pt x="0" y="378142"/>
                </a:lnTo>
                <a:lnTo>
                  <a:pt x="0" y="1129665"/>
                </a:lnTo>
                <a:close/>
              </a:path>
            </a:pathLst>
          </a:custGeom>
          <a:solidFill>
            <a:srgbClr val="899DBD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grpSp>
        <p:nvGrpSpPr>
          <p:cNvPr id="13" name="Agrupar 12">
            <a:extLst>
              <a:ext uri="{FF2B5EF4-FFF2-40B4-BE49-F238E27FC236}">
                <a16:creationId xmlns:a16="http://schemas.microsoft.com/office/drawing/2014/main" id="{0A967A7E-AA9A-4021-8416-9B8ACB7D578A}"/>
              </a:ext>
            </a:extLst>
          </p:cNvPr>
          <p:cNvGrpSpPr/>
          <p:nvPr/>
        </p:nvGrpSpPr>
        <p:grpSpPr>
          <a:xfrm>
            <a:off x="4806742" y="2899954"/>
            <a:ext cx="2643044" cy="2643044"/>
            <a:chOff x="4806742" y="2899954"/>
            <a:chExt cx="2643044" cy="2643044"/>
          </a:xfrm>
        </p:grpSpPr>
        <p:sp>
          <p:nvSpPr>
            <p:cNvPr id="12" name="Elipse 11">
              <a:extLst>
                <a:ext uri="{FF2B5EF4-FFF2-40B4-BE49-F238E27FC236}">
                  <a16:creationId xmlns:a16="http://schemas.microsoft.com/office/drawing/2014/main" id="{F29746E0-B355-4E3E-AFA1-E1AF29E0B9D7}"/>
                </a:ext>
              </a:extLst>
            </p:cNvPr>
            <p:cNvSpPr/>
            <p:nvPr/>
          </p:nvSpPr>
          <p:spPr>
            <a:xfrm>
              <a:off x="4806742" y="2899954"/>
              <a:ext cx="2643044" cy="2643044"/>
            </a:xfrm>
            <a:prstGeom prst="ellipse">
              <a:avLst/>
            </a:prstGeom>
            <a:noFill/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pt-BR"/>
            </a:p>
          </p:txBody>
        </p:sp>
        <p:sp>
          <p:nvSpPr>
            <p:cNvPr id="10" name="Elipse 9">
              <a:extLst>
                <a:ext uri="{FF2B5EF4-FFF2-40B4-BE49-F238E27FC236}">
                  <a16:creationId xmlns:a16="http://schemas.microsoft.com/office/drawing/2014/main" id="{C944C069-BDDD-446D-B30C-F7B84D8FD570}"/>
                </a:ext>
              </a:extLst>
            </p:cNvPr>
            <p:cNvSpPr/>
            <p:nvPr/>
          </p:nvSpPr>
          <p:spPr>
            <a:xfrm>
              <a:off x="4909064" y="3002276"/>
              <a:ext cx="2438400" cy="24384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pt-BR"/>
            </a:p>
          </p:txBody>
        </p:sp>
      </p:grp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04536C42-F2D4-4F74-A2E0-150E4915F60B}"/>
              </a:ext>
            </a:extLst>
          </p:cNvPr>
          <p:cNvSpPr txBox="1"/>
          <p:nvPr/>
        </p:nvSpPr>
        <p:spPr>
          <a:xfrm>
            <a:off x="5251269" y="2187423"/>
            <a:ext cx="17242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tem 01</a:t>
            </a: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DB5B009D-942D-435F-8F5F-324EE539623B}"/>
              </a:ext>
            </a:extLst>
          </p:cNvPr>
          <p:cNvSpPr txBox="1"/>
          <p:nvPr/>
        </p:nvSpPr>
        <p:spPr>
          <a:xfrm>
            <a:off x="3448595" y="5392771"/>
            <a:ext cx="17242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tem 03</a:t>
            </a: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8084E23B-4460-445D-A974-8F3643A38D17}"/>
              </a:ext>
            </a:extLst>
          </p:cNvPr>
          <p:cNvSpPr txBox="1"/>
          <p:nvPr/>
        </p:nvSpPr>
        <p:spPr>
          <a:xfrm>
            <a:off x="6784686" y="5392771"/>
            <a:ext cx="17242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tem 02</a:t>
            </a: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BFDA14B5-4BCC-4B58-A077-F5B573910300}"/>
              </a:ext>
            </a:extLst>
          </p:cNvPr>
          <p:cNvSpPr txBox="1"/>
          <p:nvPr/>
        </p:nvSpPr>
        <p:spPr>
          <a:xfrm>
            <a:off x="5262156" y="3873969"/>
            <a:ext cx="16807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solidFill>
                  <a:srgbClr val="11385A"/>
                </a:solidFill>
              </a:rPr>
              <a:t>Inserir a </a:t>
            </a:r>
          </a:p>
          <a:p>
            <a:pPr algn="ctr"/>
            <a:r>
              <a:rPr lang="pt-BR" b="1" dirty="0">
                <a:solidFill>
                  <a:srgbClr val="11385A"/>
                </a:solidFill>
              </a:rPr>
              <a:t>texto aqui</a:t>
            </a:r>
          </a:p>
        </p:txBody>
      </p: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684AE75F-4515-420C-9B0E-F2E612ABD117}"/>
              </a:ext>
            </a:extLst>
          </p:cNvPr>
          <p:cNvSpPr txBox="1"/>
          <p:nvPr/>
        </p:nvSpPr>
        <p:spPr>
          <a:xfrm>
            <a:off x="7419704" y="1268294"/>
            <a:ext cx="34446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>
                <a:solidFill>
                  <a:srgbClr val="B1B1A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Título aqui</a:t>
            </a:r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5D7A1C72-5489-4898-82AE-D3F15B19C964}"/>
              </a:ext>
            </a:extLst>
          </p:cNvPr>
          <p:cNvSpPr txBox="1"/>
          <p:nvPr/>
        </p:nvSpPr>
        <p:spPr>
          <a:xfrm>
            <a:off x="7419703" y="1650773"/>
            <a:ext cx="344460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CaixaDeTexto 24">
            <a:extLst>
              <a:ext uri="{FF2B5EF4-FFF2-40B4-BE49-F238E27FC236}">
                <a16:creationId xmlns:a16="http://schemas.microsoft.com/office/drawing/2014/main" id="{1505DCB9-69F5-4B33-8CB9-1EB29C4AC40F}"/>
              </a:ext>
            </a:extLst>
          </p:cNvPr>
          <p:cNvSpPr txBox="1"/>
          <p:nvPr/>
        </p:nvSpPr>
        <p:spPr>
          <a:xfrm>
            <a:off x="8943703" y="3809085"/>
            <a:ext cx="27529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>
                <a:solidFill>
                  <a:srgbClr val="B1B1A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Título aqui</a:t>
            </a:r>
          </a:p>
        </p:txBody>
      </p:sp>
      <p:sp>
        <p:nvSpPr>
          <p:cNvPr id="27" name="CaixaDeTexto 26">
            <a:extLst>
              <a:ext uri="{FF2B5EF4-FFF2-40B4-BE49-F238E27FC236}">
                <a16:creationId xmlns:a16="http://schemas.microsoft.com/office/drawing/2014/main" id="{74A589AF-8DD4-42D1-9ADE-E31B0965CD78}"/>
              </a:ext>
            </a:extLst>
          </p:cNvPr>
          <p:cNvSpPr txBox="1"/>
          <p:nvPr/>
        </p:nvSpPr>
        <p:spPr>
          <a:xfrm>
            <a:off x="8943702" y="4191564"/>
            <a:ext cx="275299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5A82896C-8D1D-45D9-A072-22350052317A}"/>
              </a:ext>
            </a:extLst>
          </p:cNvPr>
          <p:cNvSpPr txBox="1"/>
          <p:nvPr/>
        </p:nvSpPr>
        <p:spPr>
          <a:xfrm>
            <a:off x="714103" y="3809085"/>
            <a:ext cx="27529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600" b="1" dirty="0">
                <a:solidFill>
                  <a:srgbClr val="B1B1A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Título aqui</a:t>
            </a:r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C3D256E6-2FB9-4998-B198-05157A1E9D58}"/>
              </a:ext>
            </a:extLst>
          </p:cNvPr>
          <p:cNvSpPr txBox="1"/>
          <p:nvPr/>
        </p:nvSpPr>
        <p:spPr>
          <a:xfrm>
            <a:off x="714102" y="4191564"/>
            <a:ext cx="275299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CaixaDeTexto 29">
            <a:extLst>
              <a:ext uri="{FF2B5EF4-FFF2-40B4-BE49-F238E27FC236}">
                <a16:creationId xmlns:a16="http://schemas.microsoft.com/office/drawing/2014/main" id="{347FBC98-943D-45FE-A555-6E9A5319041D}"/>
              </a:ext>
            </a:extLst>
          </p:cNvPr>
          <p:cNvSpPr txBox="1"/>
          <p:nvPr/>
        </p:nvSpPr>
        <p:spPr>
          <a:xfrm>
            <a:off x="576162" y="1282747"/>
            <a:ext cx="400383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5499704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lipse 14">
            <a:extLst>
              <a:ext uri="{FF2B5EF4-FFF2-40B4-BE49-F238E27FC236}">
                <a16:creationId xmlns:a16="http://schemas.microsoft.com/office/drawing/2014/main" id="{8B2EB1CA-32CC-4DF4-906E-3D94CC5229EA}"/>
              </a:ext>
            </a:extLst>
          </p:cNvPr>
          <p:cNvSpPr/>
          <p:nvPr/>
        </p:nvSpPr>
        <p:spPr>
          <a:xfrm rot="10800000">
            <a:off x="5980702" y="3499033"/>
            <a:ext cx="1948180" cy="1948180"/>
          </a:xfrm>
          <a:prstGeom prst="ellipse">
            <a:avLst/>
          </a:prstGeom>
          <a:solidFill>
            <a:srgbClr val="899D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11" name="Agrupar 10">
            <a:extLst>
              <a:ext uri="{FF2B5EF4-FFF2-40B4-BE49-F238E27FC236}">
                <a16:creationId xmlns:a16="http://schemas.microsoft.com/office/drawing/2014/main" id="{07CC311C-18B1-4DE7-92A8-1E5A5DA33CEF}"/>
              </a:ext>
            </a:extLst>
          </p:cNvPr>
          <p:cNvGrpSpPr/>
          <p:nvPr/>
        </p:nvGrpSpPr>
        <p:grpSpPr>
          <a:xfrm rot="5400000">
            <a:off x="5778864" y="1630046"/>
            <a:ext cx="2351858" cy="1948180"/>
            <a:chOff x="3906520" y="1428206"/>
            <a:chExt cx="2351858" cy="1948180"/>
          </a:xfrm>
          <a:solidFill>
            <a:srgbClr val="4B6185"/>
          </a:solidFill>
        </p:grpSpPr>
        <p:sp>
          <p:nvSpPr>
            <p:cNvPr id="12" name="Elipse 11">
              <a:extLst>
                <a:ext uri="{FF2B5EF4-FFF2-40B4-BE49-F238E27FC236}">
                  <a16:creationId xmlns:a16="http://schemas.microsoft.com/office/drawing/2014/main" id="{F0733806-8A26-49A3-B339-CA8B4DB1DD87}"/>
                </a:ext>
              </a:extLst>
            </p:cNvPr>
            <p:cNvSpPr/>
            <p:nvPr/>
          </p:nvSpPr>
          <p:spPr>
            <a:xfrm>
              <a:off x="3906520" y="1428206"/>
              <a:ext cx="1948180" cy="19481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3" name="Retângulo: Cantos Arredondados 12">
              <a:extLst>
                <a:ext uri="{FF2B5EF4-FFF2-40B4-BE49-F238E27FC236}">
                  <a16:creationId xmlns:a16="http://schemas.microsoft.com/office/drawing/2014/main" id="{B4EF0786-DCD3-4C0A-8973-102854F09865}"/>
                </a:ext>
              </a:extLst>
            </p:cNvPr>
            <p:cNvSpPr/>
            <p:nvPr/>
          </p:nvSpPr>
          <p:spPr>
            <a:xfrm>
              <a:off x="5451021" y="2151018"/>
              <a:ext cx="807357" cy="465567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b"/>
            <a:lstStyle/>
            <a:p>
              <a:pPr algn="ctr"/>
              <a:r>
                <a:rPr lang="pt-BR" sz="25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2</a:t>
              </a:r>
            </a:p>
          </p:txBody>
        </p:sp>
      </p:grpSp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892D1702-DCCB-47D0-9BFC-AB1DABD84B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Inserir aqui o título do slid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6C5B0944-B9D1-4104-97F0-5C10F1DA84F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erir aqui o subtítulo do slide</a:t>
            </a:r>
          </a:p>
        </p:txBody>
      </p:sp>
      <p:grpSp>
        <p:nvGrpSpPr>
          <p:cNvPr id="10" name="Agrupar 9">
            <a:extLst>
              <a:ext uri="{FF2B5EF4-FFF2-40B4-BE49-F238E27FC236}">
                <a16:creationId xmlns:a16="http://schemas.microsoft.com/office/drawing/2014/main" id="{6B67DC9B-C462-44C9-AF4F-33AD5AE5C87E}"/>
              </a:ext>
            </a:extLst>
          </p:cNvPr>
          <p:cNvGrpSpPr/>
          <p:nvPr/>
        </p:nvGrpSpPr>
        <p:grpSpPr>
          <a:xfrm>
            <a:off x="3906520" y="1428206"/>
            <a:ext cx="2351858" cy="1948180"/>
            <a:chOff x="3906520" y="1428206"/>
            <a:chExt cx="2351858" cy="1948180"/>
          </a:xfrm>
          <a:solidFill>
            <a:srgbClr val="11385A"/>
          </a:solidFill>
        </p:grpSpPr>
        <p:sp>
          <p:nvSpPr>
            <p:cNvPr id="5" name="Elipse 4">
              <a:extLst>
                <a:ext uri="{FF2B5EF4-FFF2-40B4-BE49-F238E27FC236}">
                  <a16:creationId xmlns:a16="http://schemas.microsoft.com/office/drawing/2014/main" id="{C67EC9BA-8F77-41FF-8A93-EE8C998BDB62}"/>
                </a:ext>
              </a:extLst>
            </p:cNvPr>
            <p:cNvSpPr/>
            <p:nvPr/>
          </p:nvSpPr>
          <p:spPr>
            <a:xfrm>
              <a:off x="3906520" y="1428206"/>
              <a:ext cx="1948180" cy="19481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" name="Retângulo: Cantos Arredondados 8">
              <a:extLst>
                <a:ext uri="{FF2B5EF4-FFF2-40B4-BE49-F238E27FC236}">
                  <a16:creationId xmlns:a16="http://schemas.microsoft.com/office/drawing/2014/main" id="{464B240F-CACF-42D7-B7B0-60B1C1939C37}"/>
                </a:ext>
              </a:extLst>
            </p:cNvPr>
            <p:cNvSpPr/>
            <p:nvPr/>
          </p:nvSpPr>
          <p:spPr>
            <a:xfrm>
              <a:off x="5451021" y="2151017"/>
              <a:ext cx="807357" cy="465567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pt-BR" sz="25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1</a:t>
              </a:r>
            </a:p>
          </p:txBody>
        </p:sp>
      </p:grpSp>
      <p:grpSp>
        <p:nvGrpSpPr>
          <p:cNvPr id="24" name="Agrupar 23">
            <a:extLst>
              <a:ext uri="{FF2B5EF4-FFF2-40B4-BE49-F238E27FC236}">
                <a16:creationId xmlns:a16="http://schemas.microsoft.com/office/drawing/2014/main" id="{3FB2ECCB-FB3B-4DDA-B2F2-10C6DCE4DAD4}"/>
              </a:ext>
            </a:extLst>
          </p:cNvPr>
          <p:cNvGrpSpPr/>
          <p:nvPr/>
        </p:nvGrpSpPr>
        <p:grpSpPr>
          <a:xfrm rot="16200000">
            <a:off x="3715361" y="3274687"/>
            <a:ext cx="2351858" cy="1948180"/>
            <a:chOff x="3906520" y="1428206"/>
            <a:chExt cx="2351858" cy="1948180"/>
          </a:xfrm>
          <a:solidFill>
            <a:srgbClr val="BFCADB"/>
          </a:solidFill>
        </p:grpSpPr>
        <p:sp>
          <p:nvSpPr>
            <p:cNvPr id="25" name="Elipse 24">
              <a:extLst>
                <a:ext uri="{FF2B5EF4-FFF2-40B4-BE49-F238E27FC236}">
                  <a16:creationId xmlns:a16="http://schemas.microsoft.com/office/drawing/2014/main" id="{52BD8924-E53A-4AD5-8A29-344F1B42CF71}"/>
                </a:ext>
              </a:extLst>
            </p:cNvPr>
            <p:cNvSpPr/>
            <p:nvPr/>
          </p:nvSpPr>
          <p:spPr>
            <a:xfrm>
              <a:off x="3906520" y="1428206"/>
              <a:ext cx="1948180" cy="19481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6" name="Retângulo: Cantos Arredondados 25">
              <a:extLst>
                <a:ext uri="{FF2B5EF4-FFF2-40B4-BE49-F238E27FC236}">
                  <a16:creationId xmlns:a16="http://schemas.microsoft.com/office/drawing/2014/main" id="{7B69B523-6C40-4BD1-A8E3-55208A4B6A82}"/>
                </a:ext>
              </a:extLst>
            </p:cNvPr>
            <p:cNvSpPr/>
            <p:nvPr/>
          </p:nvSpPr>
          <p:spPr>
            <a:xfrm>
              <a:off x="5451021" y="2151017"/>
              <a:ext cx="807357" cy="465567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tlCol="0" anchor="t"/>
            <a:lstStyle/>
            <a:p>
              <a:pPr algn="ctr"/>
              <a:r>
                <a:rPr lang="pt-BR" sz="25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4</a:t>
              </a:r>
            </a:p>
          </p:txBody>
        </p:sp>
      </p:grpSp>
      <p:sp>
        <p:nvSpPr>
          <p:cNvPr id="16" name="Retângulo: Cantos Arredondados 15">
            <a:extLst>
              <a:ext uri="{FF2B5EF4-FFF2-40B4-BE49-F238E27FC236}">
                <a16:creationId xmlns:a16="http://schemas.microsoft.com/office/drawing/2014/main" id="{0988E42A-B0D7-4E4F-A5B8-3AE9235611E0}"/>
              </a:ext>
            </a:extLst>
          </p:cNvPr>
          <p:cNvSpPr/>
          <p:nvPr/>
        </p:nvSpPr>
        <p:spPr>
          <a:xfrm>
            <a:off x="5577024" y="4258835"/>
            <a:ext cx="807357" cy="465567"/>
          </a:xfrm>
          <a:prstGeom prst="roundRect">
            <a:avLst>
              <a:gd name="adj" fmla="val 50000"/>
            </a:avLst>
          </a:prstGeom>
          <a:solidFill>
            <a:srgbClr val="899D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2500" b="1" dirty="0">
                <a:latin typeface="Segoe UI" panose="020B0502040204020203" pitchFamily="34" charset="0"/>
                <a:cs typeface="Segoe UI" panose="020B0502040204020203" pitchFamily="34" charset="0"/>
              </a:rPr>
              <a:t>3</a:t>
            </a:r>
          </a:p>
        </p:txBody>
      </p:sp>
      <p:sp>
        <p:nvSpPr>
          <p:cNvPr id="27" name="Elipse 26">
            <a:extLst>
              <a:ext uri="{FF2B5EF4-FFF2-40B4-BE49-F238E27FC236}">
                <a16:creationId xmlns:a16="http://schemas.microsoft.com/office/drawing/2014/main" id="{EF7DD020-66DA-4A93-93FB-F360EE5D89B2}"/>
              </a:ext>
            </a:extLst>
          </p:cNvPr>
          <p:cNvSpPr/>
          <p:nvPr/>
        </p:nvSpPr>
        <p:spPr>
          <a:xfrm>
            <a:off x="587375" y="4408822"/>
            <a:ext cx="126272" cy="126272"/>
          </a:xfrm>
          <a:prstGeom prst="ellipse">
            <a:avLst/>
          </a:prstGeom>
          <a:solidFill>
            <a:srgbClr val="B5B5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29" name="Conector: Angulado 28">
            <a:extLst>
              <a:ext uri="{FF2B5EF4-FFF2-40B4-BE49-F238E27FC236}">
                <a16:creationId xmlns:a16="http://schemas.microsoft.com/office/drawing/2014/main" id="{000A733A-E2FC-4077-AE95-F20D2F913D06}"/>
              </a:ext>
            </a:extLst>
          </p:cNvPr>
          <p:cNvCxnSpPr>
            <a:stCxn id="25" idx="2"/>
            <a:endCxn id="27" idx="4"/>
          </p:cNvCxnSpPr>
          <p:nvPr/>
        </p:nvCxnSpPr>
        <p:spPr>
          <a:xfrm rot="5400000" flipH="1">
            <a:off x="2326095" y="2859511"/>
            <a:ext cx="889612" cy="4240779"/>
          </a:xfrm>
          <a:prstGeom prst="bentConnector3">
            <a:avLst>
              <a:gd name="adj1" fmla="val -25697"/>
            </a:avLst>
          </a:prstGeom>
          <a:ln w="19050">
            <a:solidFill>
              <a:srgbClr val="B5B5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Elipse 32">
            <a:extLst>
              <a:ext uri="{FF2B5EF4-FFF2-40B4-BE49-F238E27FC236}">
                <a16:creationId xmlns:a16="http://schemas.microsoft.com/office/drawing/2014/main" id="{B9916B5B-BAF3-4D06-94D4-1D5ABB703BFD}"/>
              </a:ext>
            </a:extLst>
          </p:cNvPr>
          <p:cNvSpPr/>
          <p:nvPr/>
        </p:nvSpPr>
        <p:spPr>
          <a:xfrm>
            <a:off x="11586303" y="4395399"/>
            <a:ext cx="126272" cy="126272"/>
          </a:xfrm>
          <a:prstGeom prst="ellipse">
            <a:avLst/>
          </a:prstGeom>
          <a:solidFill>
            <a:srgbClr val="B5B5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35" name="Conector: Angulado 34">
            <a:extLst>
              <a:ext uri="{FF2B5EF4-FFF2-40B4-BE49-F238E27FC236}">
                <a16:creationId xmlns:a16="http://schemas.microsoft.com/office/drawing/2014/main" id="{7FA0EC87-E184-4C57-830B-CF10D4C485E2}"/>
              </a:ext>
            </a:extLst>
          </p:cNvPr>
          <p:cNvCxnSpPr>
            <a:stCxn id="15" idx="0"/>
            <a:endCxn id="33" idx="4"/>
          </p:cNvCxnSpPr>
          <p:nvPr/>
        </p:nvCxnSpPr>
        <p:spPr>
          <a:xfrm rot="5400000" flipH="1" flipV="1">
            <a:off x="8839344" y="2637118"/>
            <a:ext cx="925542" cy="4694647"/>
          </a:xfrm>
          <a:prstGeom prst="bentConnector3">
            <a:avLst>
              <a:gd name="adj1" fmla="val -24699"/>
            </a:avLst>
          </a:prstGeom>
          <a:ln w="19050">
            <a:solidFill>
              <a:srgbClr val="B5B5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Elipse 36">
            <a:extLst>
              <a:ext uri="{FF2B5EF4-FFF2-40B4-BE49-F238E27FC236}">
                <a16:creationId xmlns:a16="http://schemas.microsoft.com/office/drawing/2014/main" id="{924F6B3B-B752-4FE0-BE28-559306DD860C}"/>
              </a:ext>
            </a:extLst>
          </p:cNvPr>
          <p:cNvSpPr/>
          <p:nvPr/>
        </p:nvSpPr>
        <p:spPr>
          <a:xfrm>
            <a:off x="587375" y="1515568"/>
            <a:ext cx="126272" cy="126272"/>
          </a:xfrm>
          <a:prstGeom prst="ellipse">
            <a:avLst/>
          </a:prstGeom>
          <a:solidFill>
            <a:srgbClr val="B5B5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9" name="Elipse 38">
            <a:extLst>
              <a:ext uri="{FF2B5EF4-FFF2-40B4-BE49-F238E27FC236}">
                <a16:creationId xmlns:a16="http://schemas.microsoft.com/office/drawing/2014/main" id="{DDC426F3-8525-4150-925D-54AC89868926}"/>
              </a:ext>
            </a:extLst>
          </p:cNvPr>
          <p:cNvSpPr/>
          <p:nvPr/>
        </p:nvSpPr>
        <p:spPr>
          <a:xfrm>
            <a:off x="11586303" y="1516194"/>
            <a:ext cx="126272" cy="126272"/>
          </a:xfrm>
          <a:prstGeom prst="ellipse">
            <a:avLst/>
          </a:prstGeom>
          <a:solidFill>
            <a:srgbClr val="B5B5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43" name="Conector: Angulado 42">
            <a:extLst>
              <a:ext uri="{FF2B5EF4-FFF2-40B4-BE49-F238E27FC236}">
                <a16:creationId xmlns:a16="http://schemas.microsoft.com/office/drawing/2014/main" id="{E2470879-D7B7-4766-B48E-20460D48A850}"/>
              </a:ext>
            </a:extLst>
          </p:cNvPr>
          <p:cNvCxnSpPr>
            <a:stCxn id="5" idx="0"/>
            <a:endCxn id="37" idx="0"/>
          </p:cNvCxnSpPr>
          <p:nvPr/>
        </p:nvCxnSpPr>
        <p:spPr>
          <a:xfrm rot="16200000" flipH="1" flipV="1">
            <a:off x="2721880" y="-643163"/>
            <a:ext cx="87362" cy="4230099"/>
          </a:xfrm>
          <a:prstGeom prst="bentConnector3">
            <a:avLst>
              <a:gd name="adj1" fmla="val -261670"/>
            </a:avLst>
          </a:prstGeom>
          <a:ln w="19050">
            <a:solidFill>
              <a:srgbClr val="B5B5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ector: Angulado 44">
            <a:extLst>
              <a:ext uri="{FF2B5EF4-FFF2-40B4-BE49-F238E27FC236}">
                <a16:creationId xmlns:a16="http://schemas.microsoft.com/office/drawing/2014/main" id="{79709C5C-B515-4689-B27A-8B41F6CC8FF0}"/>
              </a:ext>
            </a:extLst>
          </p:cNvPr>
          <p:cNvCxnSpPr>
            <a:stCxn id="12" idx="2"/>
            <a:endCxn id="39" idx="0"/>
          </p:cNvCxnSpPr>
          <p:nvPr/>
        </p:nvCxnSpPr>
        <p:spPr>
          <a:xfrm rot="16200000" flipH="1">
            <a:off x="9258122" y="-875123"/>
            <a:ext cx="87987" cy="4694646"/>
          </a:xfrm>
          <a:prstGeom prst="bentConnector3">
            <a:avLst>
              <a:gd name="adj1" fmla="val -259811"/>
            </a:avLst>
          </a:prstGeom>
          <a:ln w="19050">
            <a:solidFill>
              <a:srgbClr val="B5B5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CaixaDeTexto 46">
            <a:extLst>
              <a:ext uri="{FF2B5EF4-FFF2-40B4-BE49-F238E27FC236}">
                <a16:creationId xmlns:a16="http://schemas.microsoft.com/office/drawing/2014/main" id="{DB7B39DE-9140-4B42-B0A2-8C68E73F2373}"/>
              </a:ext>
            </a:extLst>
          </p:cNvPr>
          <p:cNvSpPr txBox="1"/>
          <p:nvPr/>
        </p:nvSpPr>
        <p:spPr>
          <a:xfrm>
            <a:off x="792481" y="1408158"/>
            <a:ext cx="29880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solidFill>
                  <a:srgbClr val="B1B1A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Título aqui</a:t>
            </a:r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1B288039-30F5-4F86-9989-E9BFE29CA49B}"/>
              </a:ext>
            </a:extLst>
          </p:cNvPr>
          <p:cNvSpPr txBox="1"/>
          <p:nvPr/>
        </p:nvSpPr>
        <p:spPr>
          <a:xfrm>
            <a:off x="792480" y="1790637"/>
            <a:ext cx="29880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0" name="CaixaDeTexto 49">
            <a:extLst>
              <a:ext uri="{FF2B5EF4-FFF2-40B4-BE49-F238E27FC236}">
                <a16:creationId xmlns:a16="http://schemas.microsoft.com/office/drawing/2014/main" id="{EF063991-5FD2-4F27-A919-CA0FCBBDD8DB}"/>
              </a:ext>
            </a:extLst>
          </p:cNvPr>
          <p:cNvSpPr txBox="1"/>
          <p:nvPr/>
        </p:nvSpPr>
        <p:spPr>
          <a:xfrm>
            <a:off x="792481" y="4281987"/>
            <a:ext cx="29880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solidFill>
                  <a:srgbClr val="B1B1A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Título aqui</a:t>
            </a:r>
          </a:p>
        </p:txBody>
      </p:sp>
      <p:sp>
        <p:nvSpPr>
          <p:cNvPr id="51" name="CaixaDeTexto 50">
            <a:extLst>
              <a:ext uri="{FF2B5EF4-FFF2-40B4-BE49-F238E27FC236}">
                <a16:creationId xmlns:a16="http://schemas.microsoft.com/office/drawing/2014/main" id="{5B65D1E4-0C20-4341-9278-DA88AE16EB60}"/>
              </a:ext>
            </a:extLst>
          </p:cNvPr>
          <p:cNvSpPr txBox="1"/>
          <p:nvPr/>
        </p:nvSpPr>
        <p:spPr>
          <a:xfrm>
            <a:off x="792480" y="4664466"/>
            <a:ext cx="29880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3" name="CaixaDeTexto 52">
            <a:extLst>
              <a:ext uri="{FF2B5EF4-FFF2-40B4-BE49-F238E27FC236}">
                <a16:creationId xmlns:a16="http://schemas.microsoft.com/office/drawing/2014/main" id="{E7783448-7AC6-4A63-ADCC-75DBA309ECF6}"/>
              </a:ext>
            </a:extLst>
          </p:cNvPr>
          <p:cNvSpPr txBox="1"/>
          <p:nvPr/>
        </p:nvSpPr>
        <p:spPr>
          <a:xfrm>
            <a:off x="8255249" y="4281987"/>
            <a:ext cx="29880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solidFill>
                  <a:srgbClr val="B1B1A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Título aqui</a:t>
            </a:r>
          </a:p>
        </p:txBody>
      </p:sp>
      <p:sp>
        <p:nvSpPr>
          <p:cNvPr id="54" name="CaixaDeTexto 53">
            <a:extLst>
              <a:ext uri="{FF2B5EF4-FFF2-40B4-BE49-F238E27FC236}">
                <a16:creationId xmlns:a16="http://schemas.microsoft.com/office/drawing/2014/main" id="{41961981-665A-423E-92ED-34297D3EED99}"/>
              </a:ext>
            </a:extLst>
          </p:cNvPr>
          <p:cNvSpPr txBox="1"/>
          <p:nvPr/>
        </p:nvSpPr>
        <p:spPr>
          <a:xfrm>
            <a:off x="8255248" y="4664466"/>
            <a:ext cx="29880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6" name="CaixaDeTexto 55">
            <a:extLst>
              <a:ext uri="{FF2B5EF4-FFF2-40B4-BE49-F238E27FC236}">
                <a16:creationId xmlns:a16="http://schemas.microsoft.com/office/drawing/2014/main" id="{33924343-7665-4FCD-94B8-D9DC216E37D4}"/>
              </a:ext>
            </a:extLst>
          </p:cNvPr>
          <p:cNvSpPr txBox="1"/>
          <p:nvPr/>
        </p:nvSpPr>
        <p:spPr>
          <a:xfrm>
            <a:off x="8255248" y="1408158"/>
            <a:ext cx="29880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solidFill>
                  <a:srgbClr val="B1B1A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Título aqui</a:t>
            </a:r>
          </a:p>
        </p:txBody>
      </p:sp>
      <p:sp>
        <p:nvSpPr>
          <p:cNvPr id="57" name="CaixaDeTexto 56">
            <a:extLst>
              <a:ext uri="{FF2B5EF4-FFF2-40B4-BE49-F238E27FC236}">
                <a16:creationId xmlns:a16="http://schemas.microsoft.com/office/drawing/2014/main" id="{D6DA39B7-EA89-4603-A8D1-6319E2E09463}"/>
              </a:ext>
            </a:extLst>
          </p:cNvPr>
          <p:cNvSpPr txBox="1"/>
          <p:nvPr/>
        </p:nvSpPr>
        <p:spPr>
          <a:xfrm>
            <a:off x="8255247" y="1790637"/>
            <a:ext cx="29880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0" name="Forma Livre: Forma 59">
            <a:extLst>
              <a:ext uri="{FF2B5EF4-FFF2-40B4-BE49-F238E27FC236}">
                <a16:creationId xmlns:a16="http://schemas.microsoft.com/office/drawing/2014/main" id="{D85E5D08-167D-457D-A241-ADE1DBF97CC5}"/>
              </a:ext>
            </a:extLst>
          </p:cNvPr>
          <p:cNvSpPr/>
          <p:nvPr/>
        </p:nvSpPr>
        <p:spPr>
          <a:xfrm>
            <a:off x="6606893" y="4175474"/>
            <a:ext cx="691212" cy="692390"/>
          </a:xfrm>
          <a:custGeom>
            <a:avLst/>
            <a:gdLst>
              <a:gd name="connsiteX0" fmla="*/ 306341 w 387245"/>
              <a:gd name="connsiteY0" fmla="*/ 387905 h 387905"/>
              <a:gd name="connsiteX1" fmla="*/ 95442 w 387245"/>
              <a:gd name="connsiteY1" fmla="*/ 293754 h 387905"/>
              <a:gd name="connsiteX2" fmla="*/ 94186 w 387245"/>
              <a:gd name="connsiteY2" fmla="*/ 292498 h 387905"/>
              <a:gd name="connsiteX3" fmla="*/ 94186 w 387245"/>
              <a:gd name="connsiteY3" fmla="*/ 292498 h 387905"/>
              <a:gd name="connsiteX4" fmla="*/ 34 w 387245"/>
              <a:gd name="connsiteY4" fmla="*/ 75949 h 387905"/>
              <a:gd name="connsiteX5" fmla="*/ 34 w 387245"/>
              <a:gd name="connsiteY5" fmla="*/ 70300 h 387905"/>
              <a:gd name="connsiteX6" fmla="*/ 3800 w 387245"/>
              <a:gd name="connsiteY6" fmla="*/ 65906 h 387905"/>
              <a:gd name="connsiteX7" fmla="*/ 20120 w 387245"/>
              <a:gd name="connsiteY7" fmla="*/ 47703 h 387905"/>
              <a:gd name="connsiteX8" fmla="*/ 91048 w 387245"/>
              <a:gd name="connsiteY8" fmla="*/ 1883 h 387905"/>
              <a:gd name="connsiteX9" fmla="*/ 101718 w 387245"/>
              <a:gd name="connsiteY9" fmla="*/ 0 h 387905"/>
              <a:gd name="connsiteX10" fmla="*/ 136241 w 387245"/>
              <a:gd name="connsiteY10" fmla="*/ 18830 h 387905"/>
              <a:gd name="connsiteX11" fmla="*/ 165114 w 387245"/>
              <a:gd name="connsiteY11" fmla="*/ 108588 h 387905"/>
              <a:gd name="connsiteX12" fmla="*/ 152560 w 387245"/>
              <a:gd name="connsiteY12" fmla="*/ 146877 h 387905"/>
              <a:gd name="connsiteX13" fmla="*/ 123059 w 387245"/>
              <a:gd name="connsiteY13" fmla="*/ 165707 h 387905"/>
              <a:gd name="connsiteX14" fmla="*/ 126825 w 387245"/>
              <a:gd name="connsiteY14" fmla="*/ 175750 h 387905"/>
              <a:gd name="connsiteX15" fmla="*/ 166369 w 387245"/>
              <a:gd name="connsiteY15" fmla="*/ 222198 h 387905"/>
              <a:gd name="connsiteX16" fmla="*/ 212190 w 387245"/>
              <a:gd name="connsiteY16" fmla="*/ 261114 h 387905"/>
              <a:gd name="connsiteX17" fmla="*/ 221605 w 387245"/>
              <a:gd name="connsiteY17" fmla="*/ 264880 h 387905"/>
              <a:gd name="connsiteX18" fmla="*/ 231647 w 387245"/>
              <a:gd name="connsiteY18" fmla="*/ 250444 h 387905"/>
              <a:gd name="connsiteX19" fmla="*/ 241063 w 387245"/>
              <a:gd name="connsiteY19" fmla="*/ 235379 h 387905"/>
              <a:gd name="connsiteX20" fmla="*/ 271819 w 387245"/>
              <a:gd name="connsiteY20" fmla="*/ 222198 h 387905"/>
              <a:gd name="connsiteX21" fmla="*/ 278096 w 387245"/>
              <a:gd name="connsiteY21" fmla="*/ 222826 h 387905"/>
              <a:gd name="connsiteX22" fmla="*/ 369737 w 387245"/>
              <a:gd name="connsiteY22" fmla="*/ 252327 h 387905"/>
              <a:gd name="connsiteX23" fmla="*/ 385429 w 387245"/>
              <a:gd name="connsiteY23" fmla="*/ 297520 h 387905"/>
              <a:gd name="connsiteX24" fmla="*/ 339608 w 387245"/>
              <a:gd name="connsiteY24" fmla="*/ 368447 h 387905"/>
              <a:gd name="connsiteX25" fmla="*/ 321406 w 387245"/>
              <a:gd name="connsiteY25" fmla="*/ 384767 h 387905"/>
              <a:gd name="connsiteX26" fmla="*/ 317012 w 387245"/>
              <a:gd name="connsiteY26" fmla="*/ 387905 h 387905"/>
              <a:gd name="connsiteX27" fmla="*/ 306341 w 387245"/>
              <a:gd name="connsiteY27" fmla="*/ 387905 h 387905"/>
              <a:gd name="connsiteX28" fmla="*/ 306341 w 387245"/>
              <a:gd name="connsiteY28" fmla="*/ 387905 h 387905"/>
              <a:gd name="connsiteX29" fmla="*/ 33929 w 387245"/>
              <a:gd name="connsiteY29" fmla="*/ 82226 h 387905"/>
              <a:gd name="connsiteX30" fmla="*/ 118038 w 387245"/>
              <a:gd name="connsiteY30" fmla="*/ 268646 h 387905"/>
              <a:gd name="connsiteX31" fmla="*/ 119921 w 387245"/>
              <a:gd name="connsiteY31" fmla="*/ 270529 h 387905"/>
              <a:gd name="connsiteX32" fmla="*/ 305714 w 387245"/>
              <a:gd name="connsiteY32" fmla="*/ 354011 h 387905"/>
              <a:gd name="connsiteX33" fmla="*/ 317012 w 387245"/>
              <a:gd name="connsiteY33" fmla="*/ 343968 h 387905"/>
              <a:gd name="connsiteX34" fmla="*/ 355300 w 387245"/>
              <a:gd name="connsiteY34" fmla="*/ 284966 h 387905"/>
              <a:gd name="connsiteX35" fmla="*/ 354045 w 387245"/>
              <a:gd name="connsiteY35" fmla="*/ 281200 h 387905"/>
              <a:gd name="connsiteX36" fmla="*/ 271819 w 387245"/>
              <a:gd name="connsiteY36" fmla="*/ 255465 h 387905"/>
              <a:gd name="connsiteX37" fmla="*/ 268053 w 387245"/>
              <a:gd name="connsiteY37" fmla="*/ 256093 h 387905"/>
              <a:gd name="connsiteX38" fmla="*/ 251106 w 387245"/>
              <a:gd name="connsiteY38" fmla="*/ 282455 h 387905"/>
              <a:gd name="connsiteX39" fmla="*/ 193359 w 387245"/>
              <a:gd name="connsiteY39" fmla="*/ 287477 h 387905"/>
              <a:gd name="connsiteX40" fmla="*/ 143772 w 387245"/>
              <a:gd name="connsiteY40" fmla="*/ 244795 h 387905"/>
              <a:gd name="connsiteX41" fmla="*/ 101090 w 387245"/>
              <a:gd name="connsiteY41" fmla="*/ 194580 h 387905"/>
              <a:gd name="connsiteX42" fmla="*/ 91675 w 387245"/>
              <a:gd name="connsiteY42" fmla="*/ 158175 h 387905"/>
              <a:gd name="connsiteX43" fmla="*/ 106112 w 387245"/>
              <a:gd name="connsiteY43" fmla="*/ 136834 h 387905"/>
              <a:gd name="connsiteX44" fmla="*/ 132474 w 387245"/>
              <a:gd name="connsiteY44" fmla="*/ 119886 h 387905"/>
              <a:gd name="connsiteX45" fmla="*/ 133102 w 387245"/>
              <a:gd name="connsiteY45" fmla="*/ 115493 h 387905"/>
              <a:gd name="connsiteX46" fmla="*/ 106740 w 387245"/>
              <a:gd name="connsiteY46" fmla="*/ 33895 h 387905"/>
              <a:gd name="connsiteX47" fmla="*/ 102346 w 387245"/>
              <a:gd name="connsiteY47" fmla="*/ 32639 h 387905"/>
              <a:gd name="connsiteX48" fmla="*/ 44599 w 387245"/>
              <a:gd name="connsiteY48" fmla="*/ 70928 h 387905"/>
              <a:gd name="connsiteX49" fmla="*/ 33929 w 387245"/>
              <a:gd name="connsiteY49" fmla="*/ 82226 h 387905"/>
              <a:gd name="connsiteX50" fmla="*/ 33929 w 387245"/>
              <a:gd name="connsiteY50" fmla="*/ 82226 h 3879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387245" h="387905">
                <a:moveTo>
                  <a:pt x="306341" y="387905"/>
                </a:moveTo>
                <a:cubicBezTo>
                  <a:pt x="232275" y="387905"/>
                  <a:pt x="155071" y="353383"/>
                  <a:pt x="95442" y="293754"/>
                </a:cubicBezTo>
                <a:lnTo>
                  <a:pt x="94186" y="292498"/>
                </a:lnTo>
                <a:lnTo>
                  <a:pt x="94186" y="292498"/>
                </a:lnTo>
                <a:cubicBezTo>
                  <a:pt x="32046" y="230358"/>
                  <a:pt x="-1221" y="151898"/>
                  <a:pt x="34" y="75949"/>
                </a:cubicBezTo>
                <a:lnTo>
                  <a:pt x="34" y="70300"/>
                </a:lnTo>
                <a:lnTo>
                  <a:pt x="3800" y="65906"/>
                </a:lnTo>
                <a:cubicBezTo>
                  <a:pt x="9449" y="59002"/>
                  <a:pt x="14471" y="53353"/>
                  <a:pt x="20120" y="47703"/>
                </a:cubicBezTo>
                <a:cubicBezTo>
                  <a:pt x="40205" y="27618"/>
                  <a:pt x="64058" y="11926"/>
                  <a:pt x="91048" y="1883"/>
                </a:cubicBezTo>
                <a:cubicBezTo>
                  <a:pt x="94186" y="628"/>
                  <a:pt x="97952" y="0"/>
                  <a:pt x="101718" y="0"/>
                </a:cubicBezTo>
                <a:cubicBezTo>
                  <a:pt x="110506" y="0"/>
                  <a:pt x="131219" y="4394"/>
                  <a:pt x="136241" y="18830"/>
                </a:cubicBezTo>
                <a:cubicBezTo>
                  <a:pt x="145656" y="43938"/>
                  <a:pt x="156954" y="77204"/>
                  <a:pt x="165114" y="108588"/>
                </a:cubicBezTo>
                <a:cubicBezTo>
                  <a:pt x="167625" y="117376"/>
                  <a:pt x="165114" y="138717"/>
                  <a:pt x="152560" y="146877"/>
                </a:cubicBezTo>
                <a:lnTo>
                  <a:pt x="123059" y="165707"/>
                </a:lnTo>
                <a:cubicBezTo>
                  <a:pt x="123059" y="165707"/>
                  <a:pt x="123059" y="170729"/>
                  <a:pt x="126825" y="175750"/>
                </a:cubicBezTo>
                <a:cubicBezTo>
                  <a:pt x="138124" y="191442"/>
                  <a:pt x="151305" y="207134"/>
                  <a:pt x="166369" y="222198"/>
                </a:cubicBezTo>
                <a:cubicBezTo>
                  <a:pt x="181433" y="236635"/>
                  <a:pt x="196498" y="249816"/>
                  <a:pt x="212190" y="261114"/>
                </a:cubicBezTo>
                <a:cubicBezTo>
                  <a:pt x="215328" y="263625"/>
                  <a:pt x="218466" y="264880"/>
                  <a:pt x="221605" y="264880"/>
                </a:cubicBezTo>
                <a:lnTo>
                  <a:pt x="231647" y="250444"/>
                </a:lnTo>
                <a:lnTo>
                  <a:pt x="241063" y="235379"/>
                </a:lnTo>
                <a:cubicBezTo>
                  <a:pt x="249223" y="222826"/>
                  <a:pt x="269936" y="222198"/>
                  <a:pt x="271819" y="222198"/>
                </a:cubicBezTo>
                <a:cubicBezTo>
                  <a:pt x="274330" y="222198"/>
                  <a:pt x="276213" y="222198"/>
                  <a:pt x="278096" y="222826"/>
                </a:cubicBezTo>
                <a:cubicBezTo>
                  <a:pt x="317012" y="231614"/>
                  <a:pt x="340236" y="239145"/>
                  <a:pt x="369737" y="252327"/>
                </a:cubicBezTo>
                <a:cubicBezTo>
                  <a:pt x="382918" y="257976"/>
                  <a:pt x="391078" y="282455"/>
                  <a:pt x="385429" y="297520"/>
                </a:cubicBezTo>
                <a:cubicBezTo>
                  <a:pt x="375386" y="323882"/>
                  <a:pt x="359694" y="347734"/>
                  <a:pt x="339608" y="368447"/>
                </a:cubicBezTo>
                <a:cubicBezTo>
                  <a:pt x="333959" y="374096"/>
                  <a:pt x="327683" y="379746"/>
                  <a:pt x="321406" y="384767"/>
                </a:cubicBezTo>
                <a:lnTo>
                  <a:pt x="317012" y="387905"/>
                </a:lnTo>
                <a:lnTo>
                  <a:pt x="306341" y="387905"/>
                </a:lnTo>
                <a:lnTo>
                  <a:pt x="306341" y="387905"/>
                </a:lnTo>
                <a:close/>
                <a:moveTo>
                  <a:pt x="33929" y="82226"/>
                </a:moveTo>
                <a:cubicBezTo>
                  <a:pt x="33929" y="146877"/>
                  <a:pt x="65313" y="215922"/>
                  <a:pt x="118038" y="268646"/>
                </a:cubicBezTo>
                <a:lnTo>
                  <a:pt x="119921" y="270529"/>
                </a:lnTo>
                <a:cubicBezTo>
                  <a:pt x="172646" y="323255"/>
                  <a:pt x="240435" y="354011"/>
                  <a:pt x="305714" y="354011"/>
                </a:cubicBezTo>
                <a:cubicBezTo>
                  <a:pt x="309480" y="350873"/>
                  <a:pt x="313246" y="347106"/>
                  <a:pt x="317012" y="343968"/>
                </a:cubicBezTo>
                <a:cubicBezTo>
                  <a:pt x="333959" y="327020"/>
                  <a:pt x="346513" y="306935"/>
                  <a:pt x="355300" y="284966"/>
                </a:cubicBezTo>
                <a:cubicBezTo>
                  <a:pt x="355300" y="284966"/>
                  <a:pt x="354673" y="283083"/>
                  <a:pt x="354045" y="281200"/>
                </a:cubicBezTo>
                <a:cubicBezTo>
                  <a:pt x="328310" y="269902"/>
                  <a:pt x="306969" y="262998"/>
                  <a:pt x="271819" y="255465"/>
                </a:cubicBezTo>
                <a:cubicBezTo>
                  <a:pt x="271192" y="255465"/>
                  <a:pt x="269308" y="256093"/>
                  <a:pt x="268053" y="256093"/>
                </a:cubicBezTo>
                <a:lnTo>
                  <a:pt x="251106" y="282455"/>
                </a:lnTo>
                <a:cubicBezTo>
                  <a:pt x="240435" y="299403"/>
                  <a:pt x="212817" y="301913"/>
                  <a:pt x="193359" y="287477"/>
                </a:cubicBezTo>
                <a:cubicBezTo>
                  <a:pt x="176412" y="275551"/>
                  <a:pt x="159464" y="261114"/>
                  <a:pt x="143772" y="244795"/>
                </a:cubicBezTo>
                <a:cubicBezTo>
                  <a:pt x="127453" y="228475"/>
                  <a:pt x="113644" y="211528"/>
                  <a:pt x="101090" y="194580"/>
                </a:cubicBezTo>
                <a:cubicBezTo>
                  <a:pt x="92931" y="183282"/>
                  <a:pt x="89792" y="170101"/>
                  <a:pt x="91675" y="158175"/>
                </a:cubicBezTo>
                <a:cubicBezTo>
                  <a:pt x="93558" y="148760"/>
                  <a:pt x="98580" y="141228"/>
                  <a:pt x="106112" y="136834"/>
                </a:cubicBezTo>
                <a:lnTo>
                  <a:pt x="132474" y="119886"/>
                </a:lnTo>
                <a:cubicBezTo>
                  <a:pt x="133102" y="118631"/>
                  <a:pt x="133102" y="116121"/>
                  <a:pt x="133102" y="115493"/>
                </a:cubicBezTo>
                <a:cubicBezTo>
                  <a:pt x="125570" y="87875"/>
                  <a:pt x="115527" y="57747"/>
                  <a:pt x="106740" y="33895"/>
                </a:cubicBezTo>
                <a:cubicBezTo>
                  <a:pt x="105484" y="33267"/>
                  <a:pt x="103601" y="32639"/>
                  <a:pt x="102346" y="32639"/>
                </a:cubicBezTo>
                <a:cubicBezTo>
                  <a:pt x="81005" y="40799"/>
                  <a:pt x="60919" y="53980"/>
                  <a:pt x="44599" y="70928"/>
                </a:cubicBezTo>
                <a:cubicBezTo>
                  <a:pt x="40205" y="74694"/>
                  <a:pt x="37067" y="78460"/>
                  <a:pt x="33929" y="82226"/>
                </a:cubicBezTo>
                <a:lnTo>
                  <a:pt x="33929" y="82226"/>
                </a:lnTo>
                <a:close/>
              </a:path>
            </a:pathLst>
          </a:custGeom>
          <a:solidFill>
            <a:schemeClr val="bg1"/>
          </a:solidFill>
          <a:ln w="627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grpSp>
        <p:nvGrpSpPr>
          <p:cNvPr id="61" name="Gráfico 2">
            <a:extLst>
              <a:ext uri="{FF2B5EF4-FFF2-40B4-BE49-F238E27FC236}">
                <a16:creationId xmlns:a16="http://schemas.microsoft.com/office/drawing/2014/main" id="{0557D4D3-FDF9-421C-A4B1-9175C6D65DE4}"/>
              </a:ext>
            </a:extLst>
          </p:cNvPr>
          <p:cNvGrpSpPr/>
          <p:nvPr/>
        </p:nvGrpSpPr>
        <p:grpSpPr>
          <a:xfrm>
            <a:off x="4532148" y="4096719"/>
            <a:ext cx="761996" cy="676472"/>
            <a:chOff x="2330164" y="3641112"/>
            <a:chExt cx="388161" cy="344595"/>
          </a:xfrm>
          <a:solidFill>
            <a:schemeClr val="bg1"/>
          </a:solidFill>
        </p:grpSpPr>
        <p:sp>
          <p:nvSpPr>
            <p:cNvPr id="62" name="Forma Livre: Forma 61">
              <a:extLst>
                <a:ext uri="{FF2B5EF4-FFF2-40B4-BE49-F238E27FC236}">
                  <a16:creationId xmlns:a16="http://schemas.microsoft.com/office/drawing/2014/main" id="{3BB8BABA-E1CA-41AB-A747-8C2C9A4917FD}"/>
                </a:ext>
              </a:extLst>
            </p:cNvPr>
            <p:cNvSpPr/>
            <p:nvPr/>
          </p:nvSpPr>
          <p:spPr>
            <a:xfrm>
              <a:off x="2388033" y="3641112"/>
              <a:ext cx="145621" cy="161941"/>
            </a:xfrm>
            <a:custGeom>
              <a:avLst/>
              <a:gdLst>
                <a:gd name="connsiteX0" fmla="*/ 72811 w 145621"/>
                <a:gd name="connsiteY0" fmla="*/ 161941 h 161941"/>
                <a:gd name="connsiteX1" fmla="*/ 0 w 145621"/>
                <a:gd name="connsiteY1" fmla="*/ 80971 h 161941"/>
                <a:gd name="connsiteX2" fmla="*/ 72811 w 145621"/>
                <a:gd name="connsiteY2" fmla="*/ 0 h 161941"/>
                <a:gd name="connsiteX3" fmla="*/ 145621 w 145621"/>
                <a:gd name="connsiteY3" fmla="*/ 80971 h 161941"/>
                <a:gd name="connsiteX4" fmla="*/ 72811 w 145621"/>
                <a:gd name="connsiteY4" fmla="*/ 161941 h 161941"/>
                <a:gd name="connsiteX5" fmla="*/ 72811 w 145621"/>
                <a:gd name="connsiteY5" fmla="*/ 161941 h 161941"/>
                <a:gd name="connsiteX6" fmla="*/ 72811 w 145621"/>
                <a:gd name="connsiteY6" fmla="*/ 33267 h 161941"/>
                <a:gd name="connsiteX7" fmla="*/ 33895 w 145621"/>
                <a:gd name="connsiteY7" fmla="*/ 80971 h 161941"/>
                <a:gd name="connsiteX8" fmla="*/ 72811 w 145621"/>
                <a:gd name="connsiteY8" fmla="*/ 128674 h 161941"/>
                <a:gd name="connsiteX9" fmla="*/ 111727 w 145621"/>
                <a:gd name="connsiteY9" fmla="*/ 80971 h 161941"/>
                <a:gd name="connsiteX10" fmla="*/ 72811 w 145621"/>
                <a:gd name="connsiteY10" fmla="*/ 33267 h 161941"/>
                <a:gd name="connsiteX11" fmla="*/ 72811 w 145621"/>
                <a:gd name="connsiteY11" fmla="*/ 33267 h 161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5621" h="161941">
                  <a:moveTo>
                    <a:pt x="72811" y="161941"/>
                  </a:moveTo>
                  <a:cubicBezTo>
                    <a:pt x="32639" y="161941"/>
                    <a:pt x="0" y="125536"/>
                    <a:pt x="0" y="80971"/>
                  </a:cubicBezTo>
                  <a:cubicBezTo>
                    <a:pt x="0" y="36405"/>
                    <a:pt x="32639" y="0"/>
                    <a:pt x="72811" y="0"/>
                  </a:cubicBezTo>
                  <a:cubicBezTo>
                    <a:pt x="112982" y="0"/>
                    <a:pt x="145621" y="36405"/>
                    <a:pt x="145621" y="80971"/>
                  </a:cubicBezTo>
                  <a:cubicBezTo>
                    <a:pt x="145621" y="125536"/>
                    <a:pt x="112982" y="161941"/>
                    <a:pt x="72811" y="161941"/>
                  </a:cubicBezTo>
                  <a:lnTo>
                    <a:pt x="72811" y="161941"/>
                  </a:lnTo>
                  <a:close/>
                  <a:moveTo>
                    <a:pt x="72811" y="33267"/>
                  </a:moveTo>
                  <a:cubicBezTo>
                    <a:pt x="51470" y="33267"/>
                    <a:pt x="33895" y="54608"/>
                    <a:pt x="33895" y="80971"/>
                  </a:cubicBezTo>
                  <a:cubicBezTo>
                    <a:pt x="33895" y="107333"/>
                    <a:pt x="51470" y="128674"/>
                    <a:pt x="72811" y="128674"/>
                  </a:cubicBezTo>
                  <a:cubicBezTo>
                    <a:pt x="94152" y="128674"/>
                    <a:pt x="111727" y="107333"/>
                    <a:pt x="111727" y="80971"/>
                  </a:cubicBezTo>
                  <a:cubicBezTo>
                    <a:pt x="111727" y="54608"/>
                    <a:pt x="94152" y="33267"/>
                    <a:pt x="72811" y="33267"/>
                  </a:cubicBezTo>
                  <a:lnTo>
                    <a:pt x="72811" y="33267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63" name="Forma Livre: Forma 62">
              <a:extLst>
                <a:ext uri="{FF2B5EF4-FFF2-40B4-BE49-F238E27FC236}">
                  <a16:creationId xmlns:a16="http://schemas.microsoft.com/office/drawing/2014/main" id="{14C38D72-F370-4496-BA0A-848F0CBFBB82}"/>
                </a:ext>
              </a:extLst>
            </p:cNvPr>
            <p:cNvSpPr/>
            <p:nvPr/>
          </p:nvSpPr>
          <p:spPr>
            <a:xfrm>
              <a:off x="2330164" y="3819216"/>
              <a:ext cx="257592" cy="166491"/>
            </a:xfrm>
            <a:custGeom>
              <a:avLst/>
              <a:gdLst>
                <a:gd name="connsiteX0" fmla="*/ 236757 w 257592"/>
                <a:gd name="connsiteY0" fmla="*/ 166492 h 166491"/>
                <a:gd name="connsiteX1" fmla="*/ 22091 w 257592"/>
                <a:gd name="connsiteY1" fmla="*/ 166492 h 166491"/>
                <a:gd name="connsiteX2" fmla="*/ 5144 w 257592"/>
                <a:gd name="connsiteY2" fmla="*/ 150800 h 166491"/>
                <a:gd name="connsiteX3" fmla="*/ 122 w 257592"/>
                <a:gd name="connsiteY3" fmla="*/ 81128 h 166491"/>
                <a:gd name="connsiteX4" fmla="*/ 44687 w 257592"/>
                <a:gd name="connsiteY4" fmla="*/ 14593 h 166491"/>
                <a:gd name="connsiteX5" fmla="*/ 212905 w 257592"/>
                <a:gd name="connsiteY5" fmla="*/ 14593 h 166491"/>
                <a:gd name="connsiteX6" fmla="*/ 257471 w 257592"/>
                <a:gd name="connsiteY6" fmla="*/ 81128 h 166491"/>
                <a:gd name="connsiteX7" fmla="*/ 252449 w 257592"/>
                <a:gd name="connsiteY7" fmla="*/ 150172 h 166491"/>
                <a:gd name="connsiteX8" fmla="*/ 236757 w 257592"/>
                <a:gd name="connsiteY8" fmla="*/ 166492 h 166491"/>
                <a:gd name="connsiteX9" fmla="*/ 236757 w 257592"/>
                <a:gd name="connsiteY9" fmla="*/ 166492 h 166491"/>
                <a:gd name="connsiteX10" fmla="*/ 37783 w 257592"/>
                <a:gd name="connsiteY10" fmla="*/ 133225 h 166491"/>
                <a:gd name="connsiteX11" fmla="*/ 221693 w 257592"/>
                <a:gd name="connsiteY11" fmla="*/ 133225 h 166491"/>
                <a:gd name="connsiteX12" fmla="*/ 225459 w 257592"/>
                <a:gd name="connsiteY12" fmla="*/ 79245 h 166491"/>
                <a:gd name="connsiteX13" fmla="*/ 202862 w 257592"/>
                <a:gd name="connsiteY13" fmla="*/ 46605 h 166491"/>
                <a:gd name="connsiteX14" fmla="*/ 57241 w 257592"/>
                <a:gd name="connsiteY14" fmla="*/ 46605 h 166491"/>
                <a:gd name="connsiteX15" fmla="*/ 34645 w 257592"/>
                <a:gd name="connsiteY15" fmla="*/ 79245 h 166491"/>
                <a:gd name="connsiteX16" fmla="*/ 37783 w 257592"/>
                <a:gd name="connsiteY16" fmla="*/ 133225 h 166491"/>
                <a:gd name="connsiteX17" fmla="*/ 37783 w 257592"/>
                <a:gd name="connsiteY17" fmla="*/ 133225 h 166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57592" h="166491">
                  <a:moveTo>
                    <a:pt x="236757" y="166492"/>
                  </a:moveTo>
                  <a:lnTo>
                    <a:pt x="22091" y="166492"/>
                  </a:lnTo>
                  <a:cubicBezTo>
                    <a:pt x="13304" y="166492"/>
                    <a:pt x="5771" y="159587"/>
                    <a:pt x="5144" y="150800"/>
                  </a:cubicBezTo>
                  <a:lnTo>
                    <a:pt x="122" y="81128"/>
                  </a:lnTo>
                  <a:cubicBezTo>
                    <a:pt x="-1761" y="54137"/>
                    <a:pt x="18325" y="24637"/>
                    <a:pt x="44687" y="14593"/>
                  </a:cubicBezTo>
                  <a:cubicBezTo>
                    <a:pt x="99295" y="-4864"/>
                    <a:pt x="158925" y="-4864"/>
                    <a:pt x="212905" y="14593"/>
                  </a:cubicBezTo>
                  <a:cubicBezTo>
                    <a:pt x="239268" y="24637"/>
                    <a:pt x="259354" y="54137"/>
                    <a:pt x="257471" y="81128"/>
                  </a:cubicBezTo>
                  <a:lnTo>
                    <a:pt x="252449" y="150172"/>
                  </a:lnTo>
                  <a:cubicBezTo>
                    <a:pt x="253077" y="160215"/>
                    <a:pt x="245545" y="166492"/>
                    <a:pt x="236757" y="166492"/>
                  </a:cubicBezTo>
                  <a:lnTo>
                    <a:pt x="236757" y="166492"/>
                  </a:lnTo>
                  <a:close/>
                  <a:moveTo>
                    <a:pt x="37783" y="133225"/>
                  </a:moveTo>
                  <a:lnTo>
                    <a:pt x="221693" y="133225"/>
                  </a:lnTo>
                  <a:lnTo>
                    <a:pt x="225459" y="79245"/>
                  </a:lnTo>
                  <a:cubicBezTo>
                    <a:pt x="226087" y="68574"/>
                    <a:pt x="216044" y="51627"/>
                    <a:pt x="202862" y="46605"/>
                  </a:cubicBezTo>
                  <a:cubicBezTo>
                    <a:pt x="156414" y="29658"/>
                    <a:pt x="104317" y="29658"/>
                    <a:pt x="57241" y="46605"/>
                  </a:cubicBezTo>
                  <a:cubicBezTo>
                    <a:pt x="44060" y="51627"/>
                    <a:pt x="34017" y="68574"/>
                    <a:pt x="34645" y="79245"/>
                  </a:cubicBezTo>
                  <a:lnTo>
                    <a:pt x="37783" y="133225"/>
                  </a:lnTo>
                  <a:lnTo>
                    <a:pt x="37783" y="133225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64" name="Forma Livre: Forma 63">
              <a:extLst>
                <a:ext uri="{FF2B5EF4-FFF2-40B4-BE49-F238E27FC236}">
                  <a16:creationId xmlns:a16="http://schemas.microsoft.com/office/drawing/2014/main" id="{386156E4-6EC9-4192-A253-CD0682C3218C}"/>
                </a:ext>
              </a:extLst>
            </p:cNvPr>
            <p:cNvSpPr/>
            <p:nvPr/>
          </p:nvSpPr>
          <p:spPr>
            <a:xfrm>
              <a:off x="2330164" y="3819216"/>
              <a:ext cx="257592" cy="166491"/>
            </a:xfrm>
            <a:custGeom>
              <a:avLst/>
              <a:gdLst>
                <a:gd name="connsiteX0" fmla="*/ 236757 w 257592"/>
                <a:gd name="connsiteY0" fmla="*/ 166492 h 166491"/>
                <a:gd name="connsiteX1" fmla="*/ 22091 w 257592"/>
                <a:gd name="connsiteY1" fmla="*/ 166492 h 166491"/>
                <a:gd name="connsiteX2" fmla="*/ 5144 w 257592"/>
                <a:gd name="connsiteY2" fmla="*/ 150800 h 166491"/>
                <a:gd name="connsiteX3" fmla="*/ 122 w 257592"/>
                <a:gd name="connsiteY3" fmla="*/ 81128 h 166491"/>
                <a:gd name="connsiteX4" fmla="*/ 44687 w 257592"/>
                <a:gd name="connsiteY4" fmla="*/ 14593 h 166491"/>
                <a:gd name="connsiteX5" fmla="*/ 212905 w 257592"/>
                <a:gd name="connsiteY5" fmla="*/ 14593 h 166491"/>
                <a:gd name="connsiteX6" fmla="*/ 257471 w 257592"/>
                <a:gd name="connsiteY6" fmla="*/ 81128 h 166491"/>
                <a:gd name="connsiteX7" fmla="*/ 252449 w 257592"/>
                <a:gd name="connsiteY7" fmla="*/ 150172 h 166491"/>
                <a:gd name="connsiteX8" fmla="*/ 236757 w 257592"/>
                <a:gd name="connsiteY8" fmla="*/ 166492 h 166491"/>
                <a:gd name="connsiteX9" fmla="*/ 236757 w 257592"/>
                <a:gd name="connsiteY9" fmla="*/ 166492 h 166491"/>
                <a:gd name="connsiteX10" fmla="*/ 37783 w 257592"/>
                <a:gd name="connsiteY10" fmla="*/ 133225 h 166491"/>
                <a:gd name="connsiteX11" fmla="*/ 221693 w 257592"/>
                <a:gd name="connsiteY11" fmla="*/ 133225 h 166491"/>
                <a:gd name="connsiteX12" fmla="*/ 225459 w 257592"/>
                <a:gd name="connsiteY12" fmla="*/ 79245 h 166491"/>
                <a:gd name="connsiteX13" fmla="*/ 202862 w 257592"/>
                <a:gd name="connsiteY13" fmla="*/ 46605 h 166491"/>
                <a:gd name="connsiteX14" fmla="*/ 57241 w 257592"/>
                <a:gd name="connsiteY14" fmla="*/ 46605 h 166491"/>
                <a:gd name="connsiteX15" fmla="*/ 34645 w 257592"/>
                <a:gd name="connsiteY15" fmla="*/ 79245 h 166491"/>
                <a:gd name="connsiteX16" fmla="*/ 37783 w 257592"/>
                <a:gd name="connsiteY16" fmla="*/ 133225 h 166491"/>
                <a:gd name="connsiteX17" fmla="*/ 37783 w 257592"/>
                <a:gd name="connsiteY17" fmla="*/ 133225 h 166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57592" h="166491">
                  <a:moveTo>
                    <a:pt x="236757" y="166492"/>
                  </a:moveTo>
                  <a:lnTo>
                    <a:pt x="22091" y="166492"/>
                  </a:lnTo>
                  <a:cubicBezTo>
                    <a:pt x="13304" y="166492"/>
                    <a:pt x="5771" y="159587"/>
                    <a:pt x="5144" y="150800"/>
                  </a:cubicBezTo>
                  <a:lnTo>
                    <a:pt x="122" y="81128"/>
                  </a:lnTo>
                  <a:cubicBezTo>
                    <a:pt x="-1761" y="54137"/>
                    <a:pt x="18325" y="24637"/>
                    <a:pt x="44687" y="14593"/>
                  </a:cubicBezTo>
                  <a:cubicBezTo>
                    <a:pt x="99295" y="-4864"/>
                    <a:pt x="158925" y="-4864"/>
                    <a:pt x="212905" y="14593"/>
                  </a:cubicBezTo>
                  <a:cubicBezTo>
                    <a:pt x="239268" y="24637"/>
                    <a:pt x="259354" y="54137"/>
                    <a:pt x="257471" y="81128"/>
                  </a:cubicBezTo>
                  <a:lnTo>
                    <a:pt x="252449" y="150172"/>
                  </a:lnTo>
                  <a:cubicBezTo>
                    <a:pt x="253077" y="160215"/>
                    <a:pt x="245545" y="166492"/>
                    <a:pt x="236757" y="166492"/>
                  </a:cubicBezTo>
                  <a:lnTo>
                    <a:pt x="236757" y="166492"/>
                  </a:lnTo>
                  <a:close/>
                  <a:moveTo>
                    <a:pt x="37783" y="133225"/>
                  </a:moveTo>
                  <a:lnTo>
                    <a:pt x="221693" y="133225"/>
                  </a:lnTo>
                  <a:lnTo>
                    <a:pt x="225459" y="79245"/>
                  </a:lnTo>
                  <a:cubicBezTo>
                    <a:pt x="226087" y="68574"/>
                    <a:pt x="216044" y="51627"/>
                    <a:pt x="202862" y="46605"/>
                  </a:cubicBezTo>
                  <a:cubicBezTo>
                    <a:pt x="156414" y="29658"/>
                    <a:pt x="104317" y="29658"/>
                    <a:pt x="57241" y="46605"/>
                  </a:cubicBezTo>
                  <a:cubicBezTo>
                    <a:pt x="44060" y="51627"/>
                    <a:pt x="34017" y="68574"/>
                    <a:pt x="34645" y="79245"/>
                  </a:cubicBezTo>
                  <a:lnTo>
                    <a:pt x="37783" y="133225"/>
                  </a:lnTo>
                  <a:lnTo>
                    <a:pt x="37783" y="133225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65" name="Forma Livre: Forma 64">
              <a:extLst>
                <a:ext uri="{FF2B5EF4-FFF2-40B4-BE49-F238E27FC236}">
                  <a16:creationId xmlns:a16="http://schemas.microsoft.com/office/drawing/2014/main" id="{73987C5C-462C-4D34-87D5-58256373C3E8}"/>
                </a:ext>
              </a:extLst>
            </p:cNvPr>
            <p:cNvSpPr/>
            <p:nvPr/>
          </p:nvSpPr>
          <p:spPr>
            <a:xfrm>
              <a:off x="2592029" y="3837539"/>
              <a:ext cx="126297" cy="148168"/>
            </a:xfrm>
            <a:custGeom>
              <a:avLst/>
              <a:gdLst>
                <a:gd name="connsiteX0" fmla="*/ 104822 w 126297"/>
                <a:gd name="connsiteY0" fmla="*/ 148169 h 148168"/>
                <a:gd name="connsiteX1" fmla="*/ 19458 w 126297"/>
                <a:gd name="connsiteY1" fmla="*/ 148169 h 148168"/>
                <a:gd name="connsiteX2" fmla="*/ 2511 w 126297"/>
                <a:gd name="connsiteY2" fmla="*/ 131221 h 148168"/>
                <a:gd name="connsiteX3" fmla="*/ 19458 w 126297"/>
                <a:gd name="connsiteY3" fmla="*/ 114274 h 148168"/>
                <a:gd name="connsiteX4" fmla="*/ 89758 w 126297"/>
                <a:gd name="connsiteY4" fmla="*/ 114274 h 148168"/>
                <a:gd name="connsiteX5" fmla="*/ 92896 w 126297"/>
                <a:gd name="connsiteY5" fmla="*/ 69709 h 148168"/>
                <a:gd name="connsiteX6" fmla="*/ 74694 w 126297"/>
                <a:gd name="connsiteY6" fmla="*/ 43974 h 148168"/>
                <a:gd name="connsiteX7" fmla="*/ 16320 w 126297"/>
                <a:gd name="connsiteY7" fmla="*/ 33303 h 148168"/>
                <a:gd name="connsiteX8" fmla="*/ 0 w 126297"/>
                <a:gd name="connsiteY8" fmla="*/ 16356 h 148168"/>
                <a:gd name="connsiteX9" fmla="*/ 16947 w 126297"/>
                <a:gd name="connsiteY9" fmla="*/ 37 h 148168"/>
                <a:gd name="connsiteX10" fmla="*/ 85992 w 126297"/>
                <a:gd name="connsiteY10" fmla="*/ 12590 h 148168"/>
                <a:gd name="connsiteX11" fmla="*/ 126163 w 126297"/>
                <a:gd name="connsiteY11" fmla="*/ 72220 h 148168"/>
                <a:gd name="connsiteX12" fmla="*/ 121770 w 126297"/>
                <a:gd name="connsiteY12" fmla="*/ 131849 h 148168"/>
                <a:gd name="connsiteX13" fmla="*/ 104822 w 126297"/>
                <a:gd name="connsiteY13" fmla="*/ 148169 h 148168"/>
                <a:gd name="connsiteX14" fmla="*/ 104822 w 126297"/>
                <a:gd name="connsiteY14" fmla="*/ 148169 h 148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6297" h="148168">
                  <a:moveTo>
                    <a:pt x="104822" y="148169"/>
                  </a:moveTo>
                  <a:lnTo>
                    <a:pt x="19458" y="148169"/>
                  </a:lnTo>
                  <a:cubicBezTo>
                    <a:pt x="10043" y="148169"/>
                    <a:pt x="2511" y="140636"/>
                    <a:pt x="2511" y="131221"/>
                  </a:cubicBezTo>
                  <a:cubicBezTo>
                    <a:pt x="2511" y="121806"/>
                    <a:pt x="10043" y="114274"/>
                    <a:pt x="19458" y="114274"/>
                  </a:cubicBezTo>
                  <a:lnTo>
                    <a:pt x="89758" y="114274"/>
                  </a:lnTo>
                  <a:lnTo>
                    <a:pt x="92896" y="69709"/>
                  </a:lnTo>
                  <a:cubicBezTo>
                    <a:pt x="93524" y="61549"/>
                    <a:pt x="85364" y="47740"/>
                    <a:pt x="74694" y="43974"/>
                  </a:cubicBezTo>
                  <a:cubicBezTo>
                    <a:pt x="55863" y="37069"/>
                    <a:pt x="36405" y="33931"/>
                    <a:pt x="16320" y="33303"/>
                  </a:cubicBezTo>
                  <a:cubicBezTo>
                    <a:pt x="6904" y="33303"/>
                    <a:pt x="0" y="25771"/>
                    <a:pt x="0" y="16356"/>
                  </a:cubicBezTo>
                  <a:cubicBezTo>
                    <a:pt x="0" y="6941"/>
                    <a:pt x="7532" y="-591"/>
                    <a:pt x="16947" y="37"/>
                  </a:cubicBezTo>
                  <a:cubicBezTo>
                    <a:pt x="40799" y="664"/>
                    <a:pt x="64023" y="4430"/>
                    <a:pt x="85992" y="12590"/>
                  </a:cubicBezTo>
                  <a:cubicBezTo>
                    <a:pt x="109844" y="21377"/>
                    <a:pt x="128046" y="48368"/>
                    <a:pt x="126163" y="72220"/>
                  </a:cubicBezTo>
                  <a:lnTo>
                    <a:pt x="121770" y="131849"/>
                  </a:lnTo>
                  <a:cubicBezTo>
                    <a:pt x="121142" y="141892"/>
                    <a:pt x="113610" y="148169"/>
                    <a:pt x="104822" y="148169"/>
                  </a:cubicBezTo>
                  <a:lnTo>
                    <a:pt x="104822" y="148169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66" name="Forma Livre: Forma 65">
              <a:extLst>
                <a:ext uri="{FF2B5EF4-FFF2-40B4-BE49-F238E27FC236}">
                  <a16:creationId xmlns:a16="http://schemas.microsoft.com/office/drawing/2014/main" id="{F2915AD4-8653-4C44-81C5-9D7A2894C551}"/>
                </a:ext>
              </a:extLst>
            </p:cNvPr>
            <p:cNvSpPr/>
            <p:nvPr/>
          </p:nvSpPr>
          <p:spPr>
            <a:xfrm>
              <a:off x="2570688" y="3686305"/>
              <a:ext cx="120514" cy="134323"/>
            </a:xfrm>
            <a:custGeom>
              <a:avLst/>
              <a:gdLst>
                <a:gd name="connsiteX0" fmla="*/ 60257 w 120514"/>
                <a:gd name="connsiteY0" fmla="*/ 134323 h 134323"/>
                <a:gd name="connsiteX1" fmla="*/ 0 w 120514"/>
                <a:gd name="connsiteY1" fmla="*/ 67162 h 134323"/>
                <a:gd name="connsiteX2" fmla="*/ 60257 w 120514"/>
                <a:gd name="connsiteY2" fmla="*/ 0 h 134323"/>
                <a:gd name="connsiteX3" fmla="*/ 120514 w 120514"/>
                <a:gd name="connsiteY3" fmla="*/ 67162 h 134323"/>
                <a:gd name="connsiteX4" fmla="*/ 60257 w 120514"/>
                <a:gd name="connsiteY4" fmla="*/ 134323 h 134323"/>
                <a:gd name="connsiteX5" fmla="*/ 60257 w 120514"/>
                <a:gd name="connsiteY5" fmla="*/ 134323 h 134323"/>
                <a:gd name="connsiteX6" fmla="*/ 60257 w 120514"/>
                <a:gd name="connsiteY6" fmla="*/ 33895 h 134323"/>
                <a:gd name="connsiteX7" fmla="*/ 33267 w 120514"/>
                <a:gd name="connsiteY7" fmla="*/ 67162 h 134323"/>
                <a:gd name="connsiteX8" fmla="*/ 60257 w 120514"/>
                <a:gd name="connsiteY8" fmla="*/ 100428 h 134323"/>
                <a:gd name="connsiteX9" fmla="*/ 87247 w 120514"/>
                <a:gd name="connsiteY9" fmla="*/ 67162 h 134323"/>
                <a:gd name="connsiteX10" fmla="*/ 60257 w 120514"/>
                <a:gd name="connsiteY10" fmla="*/ 33895 h 134323"/>
                <a:gd name="connsiteX11" fmla="*/ 60257 w 120514"/>
                <a:gd name="connsiteY11" fmla="*/ 33895 h 134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0514" h="134323">
                  <a:moveTo>
                    <a:pt x="60257" y="134323"/>
                  </a:moveTo>
                  <a:cubicBezTo>
                    <a:pt x="26990" y="134323"/>
                    <a:pt x="0" y="104195"/>
                    <a:pt x="0" y="67162"/>
                  </a:cubicBezTo>
                  <a:cubicBezTo>
                    <a:pt x="0" y="30128"/>
                    <a:pt x="26990" y="0"/>
                    <a:pt x="60257" y="0"/>
                  </a:cubicBezTo>
                  <a:cubicBezTo>
                    <a:pt x="93524" y="0"/>
                    <a:pt x="120514" y="30128"/>
                    <a:pt x="120514" y="67162"/>
                  </a:cubicBezTo>
                  <a:cubicBezTo>
                    <a:pt x="120514" y="104195"/>
                    <a:pt x="93524" y="134323"/>
                    <a:pt x="60257" y="134323"/>
                  </a:cubicBezTo>
                  <a:lnTo>
                    <a:pt x="60257" y="134323"/>
                  </a:lnTo>
                  <a:close/>
                  <a:moveTo>
                    <a:pt x="60257" y="33895"/>
                  </a:moveTo>
                  <a:cubicBezTo>
                    <a:pt x="45193" y="33895"/>
                    <a:pt x="33267" y="48959"/>
                    <a:pt x="33267" y="67162"/>
                  </a:cubicBezTo>
                  <a:cubicBezTo>
                    <a:pt x="33267" y="85364"/>
                    <a:pt x="45193" y="100428"/>
                    <a:pt x="60257" y="100428"/>
                  </a:cubicBezTo>
                  <a:cubicBezTo>
                    <a:pt x="75321" y="100428"/>
                    <a:pt x="87247" y="85364"/>
                    <a:pt x="87247" y="67162"/>
                  </a:cubicBezTo>
                  <a:cubicBezTo>
                    <a:pt x="87247" y="48959"/>
                    <a:pt x="75321" y="33895"/>
                    <a:pt x="60257" y="33895"/>
                  </a:cubicBezTo>
                  <a:lnTo>
                    <a:pt x="60257" y="33895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67" name="Gráfico 2">
            <a:extLst>
              <a:ext uri="{FF2B5EF4-FFF2-40B4-BE49-F238E27FC236}">
                <a16:creationId xmlns:a16="http://schemas.microsoft.com/office/drawing/2014/main" id="{82034041-D4AC-4DE7-88C8-7CE50CBAD2D2}"/>
              </a:ext>
            </a:extLst>
          </p:cNvPr>
          <p:cNvGrpSpPr/>
          <p:nvPr/>
        </p:nvGrpSpPr>
        <p:grpSpPr>
          <a:xfrm>
            <a:off x="6584742" y="2066350"/>
            <a:ext cx="807356" cy="769551"/>
            <a:chOff x="8448899" y="5682950"/>
            <a:chExt cx="415522" cy="396065"/>
          </a:xfrm>
          <a:solidFill>
            <a:schemeClr val="bg1"/>
          </a:solidFill>
        </p:grpSpPr>
        <p:sp>
          <p:nvSpPr>
            <p:cNvPr id="68" name="Forma Livre: Forma 67">
              <a:extLst>
                <a:ext uri="{FF2B5EF4-FFF2-40B4-BE49-F238E27FC236}">
                  <a16:creationId xmlns:a16="http://schemas.microsoft.com/office/drawing/2014/main" id="{F12BAC29-EB2C-4FDA-8B6C-2740FD962A7B}"/>
                </a:ext>
              </a:extLst>
            </p:cNvPr>
            <p:cNvSpPr/>
            <p:nvPr/>
          </p:nvSpPr>
          <p:spPr>
            <a:xfrm>
              <a:off x="8448899" y="5804092"/>
              <a:ext cx="283710" cy="274923"/>
            </a:xfrm>
            <a:custGeom>
              <a:avLst/>
              <a:gdLst>
                <a:gd name="connsiteX0" fmla="*/ 65906 w 283710"/>
                <a:gd name="connsiteY0" fmla="*/ 274923 h 274923"/>
                <a:gd name="connsiteX1" fmla="*/ 58374 w 283710"/>
                <a:gd name="connsiteY1" fmla="*/ 273040 h 274923"/>
                <a:gd name="connsiteX2" fmla="*/ 48958 w 283710"/>
                <a:gd name="connsiteY2" fmla="*/ 257976 h 274923"/>
                <a:gd name="connsiteX3" fmla="*/ 48958 w 283710"/>
                <a:gd name="connsiteY3" fmla="*/ 212155 h 274923"/>
                <a:gd name="connsiteX4" fmla="*/ 33267 w 283710"/>
                <a:gd name="connsiteY4" fmla="*/ 212155 h 274923"/>
                <a:gd name="connsiteX5" fmla="*/ 0 w 283710"/>
                <a:gd name="connsiteY5" fmla="*/ 178888 h 274923"/>
                <a:gd name="connsiteX6" fmla="*/ 0 w 283710"/>
                <a:gd name="connsiteY6" fmla="*/ 33267 h 274923"/>
                <a:gd name="connsiteX7" fmla="*/ 33267 w 283710"/>
                <a:gd name="connsiteY7" fmla="*/ 0 h 274923"/>
                <a:gd name="connsiteX8" fmla="*/ 250444 w 283710"/>
                <a:gd name="connsiteY8" fmla="*/ 0 h 274923"/>
                <a:gd name="connsiteX9" fmla="*/ 283710 w 283710"/>
                <a:gd name="connsiteY9" fmla="*/ 33267 h 274923"/>
                <a:gd name="connsiteX10" fmla="*/ 283710 w 283710"/>
                <a:gd name="connsiteY10" fmla="*/ 178888 h 274923"/>
                <a:gd name="connsiteX11" fmla="*/ 250444 w 283710"/>
                <a:gd name="connsiteY11" fmla="*/ 212155 h 274923"/>
                <a:gd name="connsiteX12" fmla="*/ 151270 w 283710"/>
                <a:gd name="connsiteY12" fmla="*/ 212155 h 274923"/>
                <a:gd name="connsiteX13" fmla="*/ 76576 w 283710"/>
                <a:gd name="connsiteY13" fmla="*/ 271157 h 274923"/>
                <a:gd name="connsiteX14" fmla="*/ 65906 w 283710"/>
                <a:gd name="connsiteY14" fmla="*/ 274923 h 274923"/>
                <a:gd name="connsiteX15" fmla="*/ 65906 w 283710"/>
                <a:gd name="connsiteY15" fmla="*/ 274923 h 274923"/>
                <a:gd name="connsiteX16" fmla="*/ 33895 w 283710"/>
                <a:gd name="connsiteY16" fmla="*/ 33267 h 274923"/>
                <a:gd name="connsiteX17" fmla="*/ 33895 w 283710"/>
                <a:gd name="connsiteY17" fmla="*/ 178888 h 274923"/>
                <a:gd name="connsiteX18" fmla="*/ 65906 w 283710"/>
                <a:gd name="connsiteY18" fmla="*/ 178888 h 274923"/>
                <a:gd name="connsiteX19" fmla="*/ 82853 w 283710"/>
                <a:gd name="connsiteY19" fmla="*/ 195836 h 274923"/>
                <a:gd name="connsiteX20" fmla="*/ 82853 w 283710"/>
                <a:gd name="connsiteY20" fmla="*/ 224081 h 274923"/>
                <a:gd name="connsiteX21" fmla="*/ 134951 w 283710"/>
                <a:gd name="connsiteY21" fmla="*/ 182654 h 274923"/>
                <a:gd name="connsiteX22" fmla="*/ 145621 w 283710"/>
                <a:gd name="connsiteY22" fmla="*/ 178888 h 274923"/>
                <a:gd name="connsiteX23" fmla="*/ 251071 w 283710"/>
                <a:gd name="connsiteY23" fmla="*/ 178888 h 274923"/>
                <a:gd name="connsiteX24" fmla="*/ 251071 w 283710"/>
                <a:gd name="connsiteY24" fmla="*/ 33267 h 274923"/>
                <a:gd name="connsiteX25" fmla="*/ 33895 w 283710"/>
                <a:gd name="connsiteY25" fmla="*/ 33267 h 274923"/>
                <a:gd name="connsiteX26" fmla="*/ 33895 w 283710"/>
                <a:gd name="connsiteY26" fmla="*/ 33267 h 27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83710" h="274923">
                  <a:moveTo>
                    <a:pt x="65906" y="274923"/>
                  </a:moveTo>
                  <a:cubicBezTo>
                    <a:pt x="63395" y="274923"/>
                    <a:pt x="60885" y="274296"/>
                    <a:pt x="58374" y="273040"/>
                  </a:cubicBezTo>
                  <a:cubicBezTo>
                    <a:pt x="52725" y="270529"/>
                    <a:pt x="48958" y="264253"/>
                    <a:pt x="48958" y="257976"/>
                  </a:cubicBezTo>
                  <a:lnTo>
                    <a:pt x="48958" y="212155"/>
                  </a:lnTo>
                  <a:lnTo>
                    <a:pt x="33267" y="212155"/>
                  </a:lnTo>
                  <a:cubicBezTo>
                    <a:pt x="15064" y="212155"/>
                    <a:pt x="0" y="197091"/>
                    <a:pt x="0" y="178888"/>
                  </a:cubicBezTo>
                  <a:lnTo>
                    <a:pt x="0" y="33267"/>
                  </a:lnTo>
                  <a:cubicBezTo>
                    <a:pt x="0" y="15064"/>
                    <a:pt x="15064" y="0"/>
                    <a:pt x="33267" y="0"/>
                  </a:cubicBezTo>
                  <a:lnTo>
                    <a:pt x="250444" y="0"/>
                  </a:lnTo>
                  <a:cubicBezTo>
                    <a:pt x="268646" y="0"/>
                    <a:pt x="283710" y="15064"/>
                    <a:pt x="283710" y="33267"/>
                  </a:cubicBezTo>
                  <a:lnTo>
                    <a:pt x="283710" y="178888"/>
                  </a:lnTo>
                  <a:cubicBezTo>
                    <a:pt x="283710" y="197091"/>
                    <a:pt x="268646" y="212155"/>
                    <a:pt x="250444" y="212155"/>
                  </a:cubicBezTo>
                  <a:lnTo>
                    <a:pt x="151270" y="212155"/>
                  </a:lnTo>
                  <a:lnTo>
                    <a:pt x="76576" y="271157"/>
                  </a:lnTo>
                  <a:cubicBezTo>
                    <a:pt x="73438" y="274296"/>
                    <a:pt x="69672" y="274923"/>
                    <a:pt x="65906" y="274923"/>
                  </a:cubicBezTo>
                  <a:lnTo>
                    <a:pt x="65906" y="274923"/>
                  </a:lnTo>
                  <a:close/>
                  <a:moveTo>
                    <a:pt x="33895" y="33267"/>
                  </a:moveTo>
                  <a:lnTo>
                    <a:pt x="33895" y="178888"/>
                  </a:lnTo>
                  <a:lnTo>
                    <a:pt x="65906" y="178888"/>
                  </a:lnTo>
                  <a:cubicBezTo>
                    <a:pt x="75321" y="178888"/>
                    <a:pt x="82853" y="186421"/>
                    <a:pt x="82853" y="195836"/>
                  </a:cubicBezTo>
                  <a:lnTo>
                    <a:pt x="82853" y="224081"/>
                  </a:lnTo>
                  <a:lnTo>
                    <a:pt x="134951" y="182654"/>
                  </a:lnTo>
                  <a:cubicBezTo>
                    <a:pt x="138089" y="180144"/>
                    <a:pt x="141855" y="178888"/>
                    <a:pt x="145621" y="178888"/>
                  </a:cubicBezTo>
                  <a:lnTo>
                    <a:pt x="251071" y="178888"/>
                  </a:lnTo>
                  <a:lnTo>
                    <a:pt x="251071" y="33267"/>
                  </a:lnTo>
                  <a:lnTo>
                    <a:pt x="33895" y="33267"/>
                  </a:lnTo>
                  <a:lnTo>
                    <a:pt x="33895" y="33267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69" name="Forma Livre: Forma 68">
              <a:extLst>
                <a:ext uri="{FF2B5EF4-FFF2-40B4-BE49-F238E27FC236}">
                  <a16:creationId xmlns:a16="http://schemas.microsoft.com/office/drawing/2014/main" id="{D6945EDD-0690-4302-B145-5C17D95D15CB}"/>
                </a:ext>
              </a:extLst>
            </p:cNvPr>
            <p:cNvSpPr/>
            <p:nvPr/>
          </p:nvSpPr>
          <p:spPr>
            <a:xfrm>
              <a:off x="8580711" y="5682950"/>
              <a:ext cx="283710" cy="275550"/>
            </a:xfrm>
            <a:custGeom>
              <a:avLst/>
              <a:gdLst>
                <a:gd name="connsiteX0" fmla="*/ 219060 w 283710"/>
                <a:gd name="connsiteY0" fmla="*/ 275551 h 275550"/>
                <a:gd name="connsiteX1" fmla="*/ 208389 w 283710"/>
                <a:gd name="connsiteY1" fmla="*/ 271785 h 275550"/>
                <a:gd name="connsiteX2" fmla="*/ 129302 w 283710"/>
                <a:gd name="connsiteY2" fmla="*/ 209017 h 275550"/>
                <a:gd name="connsiteX3" fmla="*/ 126791 w 283710"/>
                <a:gd name="connsiteY3" fmla="*/ 185793 h 275550"/>
                <a:gd name="connsiteX4" fmla="*/ 150015 w 283710"/>
                <a:gd name="connsiteY4" fmla="*/ 183282 h 275550"/>
                <a:gd name="connsiteX5" fmla="*/ 202112 w 283710"/>
                <a:gd name="connsiteY5" fmla="*/ 224709 h 275550"/>
                <a:gd name="connsiteX6" fmla="*/ 202112 w 283710"/>
                <a:gd name="connsiteY6" fmla="*/ 196463 h 275550"/>
                <a:gd name="connsiteX7" fmla="*/ 219060 w 283710"/>
                <a:gd name="connsiteY7" fmla="*/ 179516 h 275550"/>
                <a:gd name="connsiteX8" fmla="*/ 251071 w 283710"/>
                <a:gd name="connsiteY8" fmla="*/ 179516 h 275550"/>
                <a:gd name="connsiteX9" fmla="*/ 251071 w 283710"/>
                <a:gd name="connsiteY9" fmla="*/ 33267 h 275550"/>
                <a:gd name="connsiteX10" fmla="*/ 33895 w 283710"/>
                <a:gd name="connsiteY10" fmla="*/ 33267 h 275550"/>
                <a:gd name="connsiteX11" fmla="*/ 33895 w 283710"/>
                <a:gd name="connsiteY11" fmla="*/ 133695 h 275550"/>
                <a:gd name="connsiteX12" fmla="*/ 16947 w 283710"/>
                <a:gd name="connsiteY12" fmla="*/ 150643 h 275550"/>
                <a:gd name="connsiteX13" fmla="*/ 0 w 283710"/>
                <a:gd name="connsiteY13" fmla="*/ 133695 h 275550"/>
                <a:gd name="connsiteX14" fmla="*/ 0 w 283710"/>
                <a:gd name="connsiteY14" fmla="*/ 33267 h 275550"/>
                <a:gd name="connsiteX15" fmla="*/ 33267 w 283710"/>
                <a:gd name="connsiteY15" fmla="*/ 0 h 275550"/>
                <a:gd name="connsiteX16" fmla="*/ 250444 w 283710"/>
                <a:gd name="connsiteY16" fmla="*/ 0 h 275550"/>
                <a:gd name="connsiteX17" fmla="*/ 283710 w 283710"/>
                <a:gd name="connsiteY17" fmla="*/ 33267 h 275550"/>
                <a:gd name="connsiteX18" fmla="*/ 283710 w 283710"/>
                <a:gd name="connsiteY18" fmla="*/ 178888 h 275550"/>
                <a:gd name="connsiteX19" fmla="*/ 250444 w 283710"/>
                <a:gd name="connsiteY19" fmla="*/ 212155 h 275550"/>
                <a:gd name="connsiteX20" fmla="*/ 234752 w 283710"/>
                <a:gd name="connsiteY20" fmla="*/ 212155 h 275550"/>
                <a:gd name="connsiteX21" fmla="*/ 234752 w 283710"/>
                <a:gd name="connsiteY21" fmla="*/ 257976 h 275550"/>
                <a:gd name="connsiteX22" fmla="*/ 225337 w 283710"/>
                <a:gd name="connsiteY22" fmla="*/ 273040 h 275550"/>
                <a:gd name="connsiteX23" fmla="*/ 219060 w 283710"/>
                <a:gd name="connsiteY23" fmla="*/ 275551 h 275550"/>
                <a:gd name="connsiteX24" fmla="*/ 219060 w 283710"/>
                <a:gd name="connsiteY24" fmla="*/ 275551 h 275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83710" h="275550">
                  <a:moveTo>
                    <a:pt x="219060" y="275551"/>
                  </a:moveTo>
                  <a:cubicBezTo>
                    <a:pt x="215293" y="275551"/>
                    <a:pt x="211527" y="274296"/>
                    <a:pt x="208389" y="271785"/>
                  </a:cubicBezTo>
                  <a:lnTo>
                    <a:pt x="129302" y="209017"/>
                  </a:lnTo>
                  <a:cubicBezTo>
                    <a:pt x="121770" y="203368"/>
                    <a:pt x="120514" y="192697"/>
                    <a:pt x="126791" y="185793"/>
                  </a:cubicBezTo>
                  <a:cubicBezTo>
                    <a:pt x="132440" y="178261"/>
                    <a:pt x="143110" y="177005"/>
                    <a:pt x="150015" y="183282"/>
                  </a:cubicBezTo>
                  <a:lnTo>
                    <a:pt x="202112" y="224709"/>
                  </a:lnTo>
                  <a:lnTo>
                    <a:pt x="202112" y="196463"/>
                  </a:lnTo>
                  <a:cubicBezTo>
                    <a:pt x="202112" y="187048"/>
                    <a:pt x="209645" y="179516"/>
                    <a:pt x="219060" y="179516"/>
                  </a:cubicBezTo>
                  <a:lnTo>
                    <a:pt x="251071" y="179516"/>
                  </a:lnTo>
                  <a:lnTo>
                    <a:pt x="251071" y="33267"/>
                  </a:lnTo>
                  <a:lnTo>
                    <a:pt x="33895" y="33267"/>
                  </a:lnTo>
                  <a:lnTo>
                    <a:pt x="33895" y="133695"/>
                  </a:lnTo>
                  <a:cubicBezTo>
                    <a:pt x="33895" y="143111"/>
                    <a:pt x="26362" y="150643"/>
                    <a:pt x="16947" y="150643"/>
                  </a:cubicBezTo>
                  <a:cubicBezTo>
                    <a:pt x="7532" y="150643"/>
                    <a:pt x="0" y="143111"/>
                    <a:pt x="0" y="133695"/>
                  </a:cubicBezTo>
                  <a:lnTo>
                    <a:pt x="0" y="33267"/>
                  </a:lnTo>
                  <a:cubicBezTo>
                    <a:pt x="0" y="15064"/>
                    <a:pt x="15064" y="0"/>
                    <a:pt x="33267" y="0"/>
                  </a:cubicBezTo>
                  <a:lnTo>
                    <a:pt x="250444" y="0"/>
                  </a:lnTo>
                  <a:cubicBezTo>
                    <a:pt x="268646" y="0"/>
                    <a:pt x="283710" y="15064"/>
                    <a:pt x="283710" y="33267"/>
                  </a:cubicBezTo>
                  <a:lnTo>
                    <a:pt x="283710" y="178888"/>
                  </a:lnTo>
                  <a:cubicBezTo>
                    <a:pt x="283710" y="197091"/>
                    <a:pt x="268646" y="212155"/>
                    <a:pt x="250444" y="212155"/>
                  </a:cubicBezTo>
                  <a:lnTo>
                    <a:pt x="234752" y="212155"/>
                  </a:lnTo>
                  <a:lnTo>
                    <a:pt x="234752" y="257976"/>
                  </a:lnTo>
                  <a:cubicBezTo>
                    <a:pt x="234752" y="264253"/>
                    <a:pt x="230985" y="270529"/>
                    <a:pt x="225337" y="273040"/>
                  </a:cubicBezTo>
                  <a:cubicBezTo>
                    <a:pt x="224081" y="274923"/>
                    <a:pt x="221570" y="275551"/>
                    <a:pt x="219060" y="275551"/>
                  </a:cubicBezTo>
                  <a:lnTo>
                    <a:pt x="219060" y="275551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70" name="Gráfico 2">
            <a:extLst>
              <a:ext uri="{FF2B5EF4-FFF2-40B4-BE49-F238E27FC236}">
                <a16:creationId xmlns:a16="http://schemas.microsoft.com/office/drawing/2014/main" id="{6018BF7D-832F-4751-9F31-82234E50DC3F}"/>
              </a:ext>
            </a:extLst>
          </p:cNvPr>
          <p:cNvGrpSpPr/>
          <p:nvPr/>
        </p:nvGrpSpPr>
        <p:grpSpPr>
          <a:xfrm>
            <a:off x="4570677" y="1935956"/>
            <a:ext cx="817342" cy="774075"/>
            <a:chOff x="2307690" y="1541527"/>
            <a:chExt cx="432784" cy="409874"/>
          </a:xfrm>
          <a:solidFill>
            <a:schemeClr val="bg1"/>
          </a:solidFill>
        </p:grpSpPr>
        <p:grpSp>
          <p:nvGrpSpPr>
            <p:cNvPr id="71" name="Gráfico 2">
              <a:extLst>
                <a:ext uri="{FF2B5EF4-FFF2-40B4-BE49-F238E27FC236}">
                  <a16:creationId xmlns:a16="http://schemas.microsoft.com/office/drawing/2014/main" id="{3419F7EC-48A0-4AEE-BF50-E3A2D513618E}"/>
                </a:ext>
              </a:extLst>
            </p:cNvPr>
            <p:cNvGrpSpPr/>
            <p:nvPr/>
          </p:nvGrpSpPr>
          <p:grpSpPr>
            <a:xfrm>
              <a:off x="2464610" y="1612141"/>
              <a:ext cx="275864" cy="275864"/>
              <a:chOff x="2464610" y="1612141"/>
              <a:chExt cx="275864" cy="275864"/>
            </a:xfrm>
            <a:grpFill/>
          </p:grpSpPr>
          <p:sp>
            <p:nvSpPr>
              <p:cNvPr id="78" name="Forma Livre: Forma 77">
                <a:extLst>
                  <a:ext uri="{FF2B5EF4-FFF2-40B4-BE49-F238E27FC236}">
                    <a16:creationId xmlns:a16="http://schemas.microsoft.com/office/drawing/2014/main" id="{FAAA6703-4A30-4BE9-80BD-3E5197415BC7}"/>
                  </a:ext>
                </a:extLst>
              </p:cNvPr>
              <p:cNvSpPr/>
              <p:nvPr/>
            </p:nvSpPr>
            <p:spPr>
              <a:xfrm>
                <a:off x="2464610" y="1612141"/>
                <a:ext cx="275864" cy="275864"/>
              </a:xfrm>
              <a:custGeom>
                <a:avLst/>
                <a:gdLst>
                  <a:gd name="connsiteX0" fmla="*/ 16947 w 275864"/>
                  <a:gd name="connsiteY0" fmla="*/ 275237 h 275864"/>
                  <a:gd name="connsiteX1" fmla="*/ 5021 w 275864"/>
                  <a:gd name="connsiteY1" fmla="*/ 270216 h 275864"/>
                  <a:gd name="connsiteX2" fmla="*/ 0 w 275864"/>
                  <a:gd name="connsiteY2" fmla="*/ 257662 h 275864"/>
                  <a:gd name="connsiteX3" fmla="*/ 3766 w 275864"/>
                  <a:gd name="connsiteY3" fmla="*/ 196777 h 275864"/>
                  <a:gd name="connsiteX4" fmla="*/ 8787 w 275864"/>
                  <a:gd name="connsiteY4" fmla="*/ 186107 h 275864"/>
                  <a:gd name="connsiteX5" fmla="*/ 190187 w 275864"/>
                  <a:gd name="connsiteY5" fmla="*/ 4708 h 275864"/>
                  <a:gd name="connsiteX6" fmla="*/ 214038 w 275864"/>
                  <a:gd name="connsiteY6" fmla="*/ 4708 h 275864"/>
                  <a:gd name="connsiteX7" fmla="*/ 271157 w 275864"/>
                  <a:gd name="connsiteY7" fmla="*/ 61826 h 275864"/>
                  <a:gd name="connsiteX8" fmla="*/ 271157 w 275864"/>
                  <a:gd name="connsiteY8" fmla="*/ 85678 h 275864"/>
                  <a:gd name="connsiteX9" fmla="*/ 89758 w 275864"/>
                  <a:gd name="connsiteY9" fmla="*/ 267077 h 275864"/>
                  <a:gd name="connsiteX10" fmla="*/ 79088 w 275864"/>
                  <a:gd name="connsiteY10" fmla="*/ 272099 h 275864"/>
                  <a:gd name="connsiteX11" fmla="*/ 18203 w 275864"/>
                  <a:gd name="connsiteY11" fmla="*/ 275865 h 275864"/>
                  <a:gd name="connsiteX12" fmla="*/ 16947 w 275864"/>
                  <a:gd name="connsiteY12" fmla="*/ 275237 h 275864"/>
                  <a:gd name="connsiteX13" fmla="*/ 16947 w 275864"/>
                  <a:gd name="connsiteY13" fmla="*/ 275237 h 275864"/>
                  <a:gd name="connsiteX14" fmla="*/ 37033 w 275864"/>
                  <a:gd name="connsiteY14" fmla="*/ 204937 h 275864"/>
                  <a:gd name="connsiteX15" fmla="*/ 35150 w 275864"/>
                  <a:gd name="connsiteY15" fmla="*/ 240715 h 275864"/>
                  <a:gd name="connsiteX16" fmla="*/ 70928 w 275864"/>
                  <a:gd name="connsiteY16" fmla="*/ 238832 h 275864"/>
                  <a:gd name="connsiteX17" fmla="*/ 236007 w 275864"/>
                  <a:gd name="connsiteY17" fmla="*/ 73752 h 275864"/>
                  <a:gd name="connsiteX18" fmla="*/ 202113 w 275864"/>
                  <a:gd name="connsiteY18" fmla="*/ 39858 h 275864"/>
                  <a:gd name="connsiteX19" fmla="*/ 37033 w 275864"/>
                  <a:gd name="connsiteY19" fmla="*/ 204937 h 275864"/>
                  <a:gd name="connsiteX20" fmla="*/ 37033 w 275864"/>
                  <a:gd name="connsiteY20" fmla="*/ 204937 h 275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75864" h="275864">
                    <a:moveTo>
                      <a:pt x="16947" y="275237"/>
                    </a:moveTo>
                    <a:cubicBezTo>
                      <a:pt x="12554" y="275237"/>
                      <a:pt x="8160" y="273354"/>
                      <a:pt x="5021" y="270216"/>
                    </a:cubicBezTo>
                    <a:cubicBezTo>
                      <a:pt x="1883" y="267077"/>
                      <a:pt x="0" y="262056"/>
                      <a:pt x="0" y="257662"/>
                    </a:cubicBezTo>
                    <a:lnTo>
                      <a:pt x="3766" y="196777"/>
                    </a:lnTo>
                    <a:cubicBezTo>
                      <a:pt x="3766" y="192384"/>
                      <a:pt x="5649" y="188617"/>
                      <a:pt x="8787" y="186107"/>
                    </a:cubicBezTo>
                    <a:lnTo>
                      <a:pt x="190187" y="4708"/>
                    </a:lnTo>
                    <a:cubicBezTo>
                      <a:pt x="196463" y="-1569"/>
                      <a:pt x="207762" y="-1569"/>
                      <a:pt x="214038" y="4708"/>
                    </a:cubicBezTo>
                    <a:lnTo>
                      <a:pt x="271157" y="61826"/>
                    </a:lnTo>
                    <a:cubicBezTo>
                      <a:pt x="277434" y="68103"/>
                      <a:pt x="277434" y="78774"/>
                      <a:pt x="271157" y="85678"/>
                    </a:cubicBezTo>
                    <a:lnTo>
                      <a:pt x="89758" y="267077"/>
                    </a:lnTo>
                    <a:cubicBezTo>
                      <a:pt x="86620" y="270216"/>
                      <a:pt x="82854" y="271471"/>
                      <a:pt x="79088" y="272099"/>
                    </a:cubicBezTo>
                    <a:lnTo>
                      <a:pt x="18203" y="275865"/>
                    </a:lnTo>
                    <a:cubicBezTo>
                      <a:pt x="17575" y="275237"/>
                      <a:pt x="17575" y="275237"/>
                      <a:pt x="16947" y="275237"/>
                    </a:cubicBezTo>
                    <a:lnTo>
                      <a:pt x="16947" y="275237"/>
                    </a:lnTo>
                    <a:close/>
                    <a:moveTo>
                      <a:pt x="37033" y="204937"/>
                    </a:moveTo>
                    <a:lnTo>
                      <a:pt x="35150" y="240715"/>
                    </a:lnTo>
                    <a:lnTo>
                      <a:pt x="70928" y="238832"/>
                    </a:lnTo>
                    <a:lnTo>
                      <a:pt x="236007" y="73752"/>
                    </a:lnTo>
                    <a:lnTo>
                      <a:pt x="202113" y="39858"/>
                    </a:lnTo>
                    <a:lnTo>
                      <a:pt x="37033" y="204937"/>
                    </a:lnTo>
                    <a:lnTo>
                      <a:pt x="37033" y="204937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79" name="Forma Livre: Forma 78">
                <a:extLst>
                  <a:ext uri="{FF2B5EF4-FFF2-40B4-BE49-F238E27FC236}">
                    <a16:creationId xmlns:a16="http://schemas.microsoft.com/office/drawing/2014/main" id="{C44B4DE4-20F2-43C0-9E44-106F1008CCC4}"/>
                  </a:ext>
                </a:extLst>
              </p:cNvPr>
              <p:cNvSpPr/>
              <p:nvPr/>
            </p:nvSpPr>
            <p:spPr>
              <a:xfrm>
                <a:off x="2632357" y="1652155"/>
                <a:ext cx="68103" cy="68260"/>
              </a:xfrm>
              <a:custGeom>
                <a:avLst/>
                <a:gdLst>
                  <a:gd name="connsiteX0" fmla="*/ 59472 w 68103"/>
                  <a:gd name="connsiteY0" fmla="*/ 68260 h 68260"/>
                  <a:gd name="connsiteX1" fmla="*/ 53823 w 68103"/>
                  <a:gd name="connsiteY1" fmla="*/ 65749 h 68260"/>
                  <a:gd name="connsiteX2" fmla="*/ 2354 w 68103"/>
                  <a:gd name="connsiteY2" fmla="*/ 14280 h 68260"/>
                  <a:gd name="connsiteX3" fmla="*/ 2354 w 68103"/>
                  <a:gd name="connsiteY3" fmla="*/ 2354 h 68260"/>
                  <a:gd name="connsiteX4" fmla="*/ 14280 w 68103"/>
                  <a:gd name="connsiteY4" fmla="*/ 2354 h 68260"/>
                  <a:gd name="connsiteX5" fmla="*/ 65749 w 68103"/>
                  <a:gd name="connsiteY5" fmla="*/ 53824 h 68260"/>
                  <a:gd name="connsiteX6" fmla="*/ 65749 w 68103"/>
                  <a:gd name="connsiteY6" fmla="*/ 65749 h 68260"/>
                  <a:gd name="connsiteX7" fmla="*/ 59472 w 68103"/>
                  <a:gd name="connsiteY7" fmla="*/ 68260 h 68260"/>
                  <a:gd name="connsiteX8" fmla="*/ 59472 w 68103"/>
                  <a:gd name="connsiteY8" fmla="*/ 68260 h 68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8103" h="68260">
                    <a:moveTo>
                      <a:pt x="59472" y="68260"/>
                    </a:moveTo>
                    <a:cubicBezTo>
                      <a:pt x="57589" y="68260"/>
                      <a:pt x="55079" y="67632"/>
                      <a:pt x="53823" y="65749"/>
                    </a:cubicBezTo>
                    <a:lnTo>
                      <a:pt x="2354" y="14280"/>
                    </a:lnTo>
                    <a:cubicBezTo>
                      <a:pt x="-785" y="11141"/>
                      <a:pt x="-785" y="5492"/>
                      <a:pt x="2354" y="2354"/>
                    </a:cubicBezTo>
                    <a:cubicBezTo>
                      <a:pt x="5492" y="-785"/>
                      <a:pt x="11141" y="-785"/>
                      <a:pt x="14280" y="2354"/>
                    </a:cubicBezTo>
                    <a:lnTo>
                      <a:pt x="65749" y="53824"/>
                    </a:lnTo>
                    <a:cubicBezTo>
                      <a:pt x="68888" y="56962"/>
                      <a:pt x="68888" y="62611"/>
                      <a:pt x="65749" y="65749"/>
                    </a:cubicBezTo>
                    <a:cubicBezTo>
                      <a:pt x="63866" y="67005"/>
                      <a:pt x="61356" y="68260"/>
                      <a:pt x="59472" y="68260"/>
                    </a:cubicBezTo>
                    <a:lnTo>
                      <a:pt x="59472" y="68260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80" name="Forma Livre: Forma 79">
                <a:extLst>
                  <a:ext uri="{FF2B5EF4-FFF2-40B4-BE49-F238E27FC236}">
                    <a16:creationId xmlns:a16="http://schemas.microsoft.com/office/drawing/2014/main" id="{C3525271-CA30-4B87-83B5-61D71157DDE1}"/>
                  </a:ext>
                </a:extLst>
              </p:cNvPr>
              <p:cNvSpPr/>
              <p:nvPr/>
            </p:nvSpPr>
            <p:spPr>
              <a:xfrm>
                <a:off x="2481557" y="1827748"/>
                <a:ext cx="41598" cy="42682"/>
              </a:xfrm>
              <a:custGeom>
                <a:avLst/>
                <a:gdLst>
                  <a:gd name="connsiteX0" fmla="*/ 9415 w 41598"/>
                  <a:gd name="connsiteY0" fmla="*/ 0 h 42682"/>
                  <a:gd name="connsiteX1" fmla="*/ 5649 w 41598"/>
                  <a:gd name="connsiteY1" fmla="*/ 0 h 42682"/>
                  <a:gd name="connsiteX2" fmla="*/ 2511 w 41598"/>
                  <a:gd name="connsiteY2" fmla="*/ 628 h 42682"/>
                  <a:gd name="connsiteX3" fmla="*/ 0 w 41598"/>
                  <a:gd name="connsiteY3" fmla="*/ 42682 h 42682"/>
                  <a:gd name="connsiteX4" fmla="*/ 40171 w 41598"/>
                  <a:gd name="connsiteY4" fmla="*/ 40171 h 42682"/>
                  <a:gd name="connsiteX5" fmla="*/ 41427 w 41598"/>
                  <a:gd name="connsiteY5" fmla="*/ 35778 h 42682"/>
                  <a:gd name="connsiteX6" fmla="*/ 9415 w 41598"/>
                  <a:gd name="connsiteY6" fmla="*/ 0 h 42682"/>
                  <a:gd name="connsiteX7" fmla="*/ 9415 w 41598"/>
                  <a:gd name="connsiteY7" fmla="*/ 0 h 426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598" h="42682">
                    <a:moveTo>
                      <a:pt x="9415" y="0"/>
                    </a:moveTo>
                    <a:cubicBezTo>
                      <a:pt x="8160" y="0"/>
                      <a:pt x="6905" y="0"/>
                      <a:pt x="5649" y="0"/>
                    </a:cubicBezTo>
                    <a:cubicBezTo>
                      <a:pt x="4394" y="0"/>
                      <a:pt x="3766" y="628"/>
                      <a:pt x="2511" y="628"/>
                    </a:cubicBezTo>
                    <a:lnTo>
                      <a:pt x="0" y="42682"/>
                    </a:lnTo>
                    <a:lnTo>
                      <a:pt x="40171" y="40171"/>
                    </a:lnTo>
                    <a:cubicBezTo>
                      <a:pt x="40799" y="38916"/>
                      <a:pt x="40799" y="37033"/>
                      <a:pt x="41427" y="35778"/>
                    </a:cubicBezTo>
                    <a:cubicBezTo>
                      <a:pt x="43310" y="15064"/>
                      <a:pt x="29501" y="0"/>
                      <a:pt x="9415" y="0"/>
                    </a:cubicBezTo>
                    <a:lnTo>
                      <a:pt x="9415" y="0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72" name="Gráfico 2">
              <a:extLst>
                <a:ext uri="{FF2B5EF4-FFF2-40B4-BE49-F238E27FC236}">
                  <a16:creationId xmlns:a16="http://schemas.microsoft.com/office/drawing/2014/main" id="{A1328746-AB10-400B-9124-A5B914C64D62}"/>
                </a:ext>
              </a:extLst>
            </p:cNvPr>
            <p:cNvGrpSpPr/>
            <p:nvPr/>
          </p:nvGrpSpPr>
          <p:grpSpPr>
            <a:xfrm>
              <a:off x="2307690" y="1541527"/>
              <a:ext cx="309445" cy="409874"/>
              <a:chOff x="2307690" y="1541527"/>
              <a:chExt cx="309445" cy="409874"/>
            </a:xfrm>
            <a:grpFill/>
          </p:grpSpPr>
          <p:sp>
            <p:nvSpPr>
              <p:cNvPr id="75" name="Forma Livre: Forma 74">
                <a:extLst>
                  <a:ext uri="{FF2B5EF4-FFF2-40B4-BE49-F238E27FC236}">
                    <a16:creationId xmlns:a16="http://schemas.microsoft.com/office/drawing/2014/main" id="{AF8EBF51-2585-4E8E-963E-08875EE70ABD}"/>
                  </a:ext>
                </a:extLst>
              </p:cNvPr>
              <p:cNvSpPr/>
              <p:nvPr/>
            </p:nvSpPr>
            <p:spPr>
              <a:xfrm>
                <a:off x="2307690" y="1583581"/>
                <a:ext cx="309445" cy="367819"/>
              </a:xfrm>
              <a:custGeom>
                <a:avLst/>
                <a:gdLst>
                  <a:gd name="connsiteX0" fmla="*/ 271157 w 309445"/>
                  <a:gd name="connsiteY0" fmla="*/ 367820 h 367819"/>
                  <a:gd name="connsiteX1" fmla="*/ 38288 w 309445"/>
                  <a:gd name="connsiteY1" fmla="*/ 367820 h 367819"/>
                  <a:gd name="connsiteX2" fmla="*/ 0 w 309445"/>
                  <a:gd name="connsiteY2" fmla="*/ 329531 h 367819"/>
                  <a:gd name="connsiteX3" fmla="*/ 0 w 309445"/>
                  <a:gd name="connsiteY3" fmla="*/ 16947 h 367819"/>
                  <a:gd name="connsiteX4" fmla="*/ 16947 w 309445"/>
                  <a:gd name="connsiteY4" fmla="*/ 0 h 367819"/>
                  <a:gd name="connsiteX5" fmla="*/ 33895 w 309445"/>
                  <a:gd name="connsiteY5" fmla="*/ 16947 h 367819"/>
                  <a:gd name="connsiteX6" fmla="*/ 33895 w 309445"/>
                  <a:gd name="connsiteY6" fmla="*/ 329531 h 367819"/>
                  <a:gd name="connsiteX7" fmla="*/ 38288 w 309445"/>
                  <a:gd name="connsiteY7" fmla="*/ 333925 h 367819"/>
                  <a:gd name="connsiteX8" fmla="*/ 271157 w 309445"/>
                  <a:gd name="connsiteY8" fmla="*/ 333925 h 367819"/>
                  <a:gd name="connsiteX9" fmla="*/ 275551 w 309445"/>
                  <a:gd name="connsiteY9" fmla="*/ 329531 h 367819"/>
                  <a:gd name="connsiteX10" fmla="*/ 275551 w 309445"/>
                  <a:gd name="connsiteY10" fmla="*/ 230986 h 367819"/>
                  <a:gd name="connsiteX11" fmla="*/ 292498 w 309445"/>
                  <a:gd name="connsiteY11" fmla="*/ 214038 h 367819"/>
                  <a:gd name="connsiteX12" fmla="*/ 309446 w 309445"/>
                  <a:gd name="connsiteY12" fmla="*/ 230986 h 367819"/>
                  <a:gd name="connsiteX13" fmla="*/ 309446 w 309445"/>
                  <a:gd name="connsiteY13" fmla="*/ 329531 h 367819"/>
                  <a:gd name="connsiteX14" fmla="*/ 271157 w 309445"/>
                  <a:gd name="connsiteY14" fmla="*/ 367820 h 367819"/>
                  <a:gd name="connsiteX15" fmla="*/ 271157 w 309445"/>
                  <a:gd name="connsiteY15" fmla="*/ 367820 h 367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09445" h="367819">
                    <a:moveTo>
                      <a:pt x="271157" y="367820"/>
                    </a:moveTo>
                    <a:lnTo>
                      <a:pt x="38288" y="367820"/>
                    </a:lnTo>
                    <a:cubicBezTo>
                      <a:pt x="17575" y="367820"/>
                      <a:pt x="0" y="350872"/>
                      <a:pt x="0" y="329531"/>
                    </a:cubicBezTo>
                    <a:lnTo>
                      <a:pt x="0" y="16947"/>
                    </a:lnTo>
                    <a:cubicBezTo>
                      <a:pt x="0" y="7532"/>
                      <a:pt x="7532" y="0"/>
                      <a:pt x="16947" y="0"/>
                    </a:cubicBezTo>
                    <a:cubicBezTo>
                      <a:pt x="26362" y="0"/>
                      <a:pt x="33895" y="7532"/>
                      <a:pt x="33895" y="16947"/>
                    </a:cubicBezTo>
                    <a:lnTo>
                      <a:pt x="33895" y="329531"/>
                    </a:lnTo>
                    <a:cubicBezTo>
                      <a:pt x="33895" y="332042"/>
                      <a:pt x="35778" y="333925"/>
                      <a:pt x="38288" y="333925"/>
                    </a:cubicBezTo>
                    <a:lnTo>
                      <a:pt x="271157" y="333925"/>
                    </a:lnTo>
                    <a:cubicBezTo>
                      <a:pt x="273668" y="333925"/>
                      <a:pt x="275551" y="332042"/>
                      <a:pt x="275551" y="329531"/>
                    </a:cubicBezTo>
                    <a:lnTo>
                      <a:pt x="275551" y="230986"/>
                    </a:lnTo>
                    <a:cubicBezTo>
                      <a:pt x="275551" y="221570"/>
                      <a:pt x="283083" y="214038"/>
                      <a:pt x="292498" y="214038"/>
                    </a:cubicBezTo>
                    <a:cubicBezTo>
                      <a:pt x="301913" y="214038"/>
                      <a:pt x="309446" y="221570"/>
                      <a:pt x="309446" y="230986"/>
                    </a:cubicBezTo>
                    <a:lnTo>
                      <a:pt x="309446" y="329531"/>
                    </a:lnTo>
                    <a:cubicBezTo>
                      <a:pt x="308818" y="350872"/>
                      <a:pt x="291871" y="367820"/>
                      <a:pt x="271157" y="367820"/>
                    </a:cubicBezTo>
                    <a:lnTo>
                      <a:pt x="271157" y="367820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76" name="Forma Livre: Forma 75">
                <a:extLst>
                  <a:ext uri="{FF2B5EF4-FFF2-40B4-BE49-F238E27FC236}">
                    <a16:creationId xmlns:a16="http://schemas.microsoft.com/office/drawing/2014/main" id="{982ABF84-9B87-4A27-9296-D788363400BB}"/>
                  </a:ext>
                </a:extLst>
              </p:cNvPr>
              <p:cNvSpPr/>
              <p:nvPr/>
            </p:nvSpPr>
            <p:spPr>
              <a:xfrm>
                <a:off x="2561900" y="1610571"/>
                <a:ext cx="55235" cy="99800"/>
              </a:xfrm>
              <a:custGeom>
                <a:avLst/>
                <a:gdLst>
                  <a:gd name="connsiteX0" fmla="*/ 38288 w 55235"/>
                  <a:gd name="connsiteY0" fmla="*/ 99801 h 99800"/>
                  <a:gd name="connsiteX1" fmla="*/ 21341 w 55235"/>
                  <a:gd name="connsiteY1" fmla="*/ 82854 h 99800"/>
                  <a:gd name="connsiteX2" fmla="*/ 21341 w 55235"/>
                  <a:gd name="connsiteY2" fmla="*/ 38288 h 99800"/>
                  <a:gd name="connsiteX3" fmla="*/ 16947 w 55235"/>
                  <a:gd name="connsiteY3" fmla="*/ 33895 h 99800"/>
                  <a:gd name="connsiteX4" fmla="*/ 0 w 55235"/>
                  <a:gd name="connsiteY4" fmla="*/ 16947 h 99800"/>
                  <a:gd name="connsiteX5" fmla="*/ 16947 w 55235"/>
                  <a:gd name="connsiteY5" fmla="*/ 0 h 99800"/>
                  <a:gd name="connsiteX6" fmla="*/ 55236 w 55235"/>
                  <a:gd name="connsiteY6" fmla="*/ 38288 h 99800"/>
                  <a:gd name="connsiteX7" fmla="*/ 55236 w 55235"/>
                  <a:gd name="connsiteY7" fmla="*/ 82854 h 99800"/>
                  <a:gd name="connsiteX8" fmla="*/ 38288 w 55235"/>
                  <a:gd name="connsiteY8" fmla="*/ 99801 h 99800"/>
                  <a:gd name="connsiteX9" fmla="*/ 38288 w 55235"/>
                  <a:gd name="connsiteY9" fmla="*/ 99801 h 99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5235" h="99800">
                    <a:moveTo>
                      <a:pt x="38288" y="99801"/>
                    </a:moveTo>
                    <a:cubicBezTo>
                      <a:pt x="28873" y="99801"/>
                      <a:pt x="21341" y="92269"/>
                      <a:pt x="21341" y="82854"/>
                    </a:cubicBezTo>
                    <a:lnTo>
                      <a:pt x="21341" y="38288"/>
                    </a:lnTo>
                    <a:cubicBezTo>
                      <a:pt x="21341" y="35778"/>
                      <a:pt x="19458" y="33895"/>
                      <a:pt x="16947" y="33895"/>
                    </a:cubicBezTo>
                    <a:cubicBezTo>
                      <a:pt x="7532" y="33895"/>
                      <a:pt x="0" y="26363"/>
                      <a:pt x="0" y="16947"/>
                    </a:cubicBezTo>
                    <a:cubicBezTo>
                      <a:pt x="0" y="7532"/>
                      <a:pt x="7532" y="0"/>
                      <a:pt x="16947" y="0"/>
                    </a:cubicBezTo>
                    <a:cubicBezTo>
                      <a:pt x="37661" y="0"/>
                      <a:pt x="55236" y="16947"/>
                      <a:pt x="55236" y="38288"/>
                    </a:cubicBezTo>
                    <a:lnTo>
                      <a:pt x="55236" y="82854"/>
                    </a:lnTo>
                    <a:cubicBezTo>
                      <a:pt x="54608" y="92269"/>
                      <a:pt x="47076" y="99801"/>
                      <a:pt x="38288" y="99801"/>
                    </a:cubicBezTo>
                    <a:lnTo>
                      <a:pt x="38288" y="99801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77" name="Forma Livre: Forma 76">
                <a:extLst>
                  <a:ext uri="{FF2B5EF4-FFF2-40B4-BE49-F238E27FC236}">
                    <a16:creationId xmlns:a16="http://schemas.microsoft.com/office/drawing/2014/main" id="{AB0A36AC-1B39-48B6-A330-DD42A4CDF305}"/>
                  </a:ext>
                </a:extLst>
              </p:cNvPr>
              <p:cNvSpPr/>
              <p:nvPr/>
            </p:nvSpPr>
            <p:spPr>
              <a:xfrm>
                <a:off x="2308318" y="1541527"/>
                <a:ext cx="308817" cy="102939"/>
              </a:xfrm>
              <a:custGeom>
                <a:avLst/>
                <a:gdLst>
                  <a:gd name="connsiteX0" fmla="*/ 267391 w 308817"/>
                  <a:gd name="connsiteY0" fmla="*/ 102939 h 102939"/>
                  <a:gd name="connsiteX1" fmla="*/ 51470 w 308817"/>
                  <a:gd name="connsiteY1" fmla="*/ 102939 h 102939"/>
                  <a:gd name="connsiteX2" fmla="*/ 0 w 308817"/>
                  <a:gd name="connsiteY2" fmla="*/ 51470 h 102939"/>
                  <a:gd name="connsiteX3" fmla="*/ 51470 w 308817"/>
                  <a:gd name="connsiteY3" fmla="*/ 0 h 102939"/>
                  <a:gd name="connsiteX4" fmla="*/ 291871 w 308817"/>
                  <a:gd name="connsiteY4" fmla="*/ 0 h 102939"/>
                  <a:gd name="connsiteX5" fmla="*/ 308818 w 308817"/>
                  <a:gd name="connsiteY5" fmla="*/ 16947 h 102939"/>
                  <a:gd name="connsiteX6" fmla="*/ 291871 w 308817"/>
                  <a:gd name="connsiteY6" fmla="*/ 33895 h 102939"/>
                  <a:gd name="connsiteX7" fmla="*/ 51470 w 308817"/>
                  <a:gd name="connsiteY7" fmla="*/ 33895 h 102939"/>
                  <a:gd name="connsiteX8" fmla="*/ 33267 w 308817"/>
                  <a:gd name="connsiteY8" fmla="*/ 52097 h 102939"/>
                  <a:gd name="connsiteX9" fmla="*/ 51470 w 308817"/>
                  <a:gd name="connsiteY9" fmla="*/ 70300 h 102939"/>
                  <a:gd name="connsiteX10" fmla="*/ 267391 w 308817"/>
                  <a:gd name="connsiteY10" fmla="*/ 70300 h 102939"/>
                  <a:gd name="connsiteX11" fmla="*/ 284338 w 308817"/>
                  <a:gd name="connsiteY11" fmla="*/ 87247 h 102939"/>
                  <a:gd name="connsiteX12" fmla="*/ 267391 w 308817"/>
                  <a:gd name="connsiteY12" fmla="*/ 102939 h 102939"/>
                  <a:gd name="connsiteX13" fmla="*/ 267391 w 308817"/>
                  <a:gd name="connsiteY13" fmla="*/ 102939 h 1029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08817" h="102939">
                    <a:moveTo>
                      <a:pt x="267391" y="102939"/>
                    </a:moveTo>
                    <a:lnTo>
                      <a:pt x="51470" y="102939"/>
                    </a:lnTo>
                    <a:cubicBezTo>
                      <a:pt x="23224" y="102939"/>
                      <a:pt x="0" y="79715"/>
                      <a:pt x="0" y="51470"/>
                    </a:cubicBezTo>
                    <a:cubicBezTo>
                      <a:pt x="0" y="23224"/>
                      <a:pt x="23224" y="0"/>
                      <a:pt x="51470" y="0"/>
                    </a:cubicBezTo>
                    <a:lnTo>
                      <a:pt x="291871" y="0"/>
                    </a:lnTo>
                    <a:cubicBezTo>
                      <a:pt x="301286" y="0"/>
                      <a:pt x="308818" y="7532"/>
                      <a:pt x="308818" y="16947"/>
                    </a:cubicBezTo>
                    <a:cubicBezTo>
                      <a:pt x="308818" y="26363"/>
                      <a:pt x="301286" y="33895"/>
                      <a:pt x="291871" y="33895"/>
                    </a:cubicBezTo>
                    <a:lnTo>
                      <a:pt x="51470" y="33895"/>
                    </a:lnTo>
                    <a:cubicBezTo>
                      <a:pt x="41427" y="33895"/>
                      <a:pt x="33267" y="42055"/>
                      <a:pt x="33267" y="52097"/>
                    </a:cubicBezTo>
                    <a:cubicBezTo>
                      <a:pt x="33267" y="62140"/>
                      <a:pt x="41427" y="70300"/>
                      <a:pt x="51470" y="70300"/>
                    </a:cubicBezTo>
                    <a:lnTo>
                      <a:pt x="267391" y="70300"/>
                    </a:lnTo>
                    <a:cubicBezTo>
                      <a:pt x="276806" y="70300"/>
                      <a:pt x="284338" y="77832"/>
                      <a:pt x="284338" y="87247"/>
                    </a:cubicBezTo>
                    <a:cubicBezTo>
                      <a:pt x="284338" y="96663"/>
                      <a:pt x="276179" y="102939"/>
                      <a:pt x="267391" y="102939"/>
                    </a:cubicBezTo>
                    <a:lnTo>
                      <a:pt x="267391" y="102939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73" name="Forma Livre: Forma 72">
              <a:extLst>
                <a:ext uri="{FF2B5EF4-FFF2-40B4-BE49-F238E27FC236}">
                  <a16:creationId xmlns:a16="http://schemas.microsoft.com/office/drawing/2014/main" id="{31C109AD-D002-4362-92FD-83CA4E1E0CB5}"/>
                </a:ext>
              </a:extLst>
            </p:cNvPr>
            <p:cNvSpPr/>
            <p:nvPr/>
          </p:nvSpPr>
          <p:spPr>
            <a:xfrm>
              <a:off x="2376735" y="1689659"/>
              <a:ext cx="118631" cy="16319"/>
            </a:xfrm>
            <a:custGeom>
              <a:avLst/>
              <a:gdLst>
                <a:gd name="connsiteX0" fmla="*/ 110471 w 118631"/>
                <a:gd name="connsiteY0" fmla="*/ 16320 h 16319"/>
                <a:gd name="connsiteX1" fmla="*/ 8160 w 118631"/>
                <a:gd name="connsiteY1" fmla="*/ 16320 h 16319"/>
                <a:gd name="connsiteX2" fmla="*/ 0 w 118631"/>
                <a:gd name="connsiteY2" fmla="*/ 8160 h 16319"/>
                <a:gd name="connsiteX3" fmla="*/ 8160 w 118631"/>
                <a:gd name="connsiteY3" fmla="*/ 0 h 16319"/>
                <a:gd name="connsiteX4" fmla="*/ 110471 w 118631"/>
                <a:gd name="connsiteY4" fmla="*/ 0 h 16319"/>
                <a:gd name="connsiteX5" fmla="*/ 118631 w 118631"/>
                <a:gd name="connsiteY5" fmla="*/ 8160 h 16319"/>
                <a:gd name="connsiteX6" fmla="*/ 110471 w 118631"/>
                <a:gd name="connsiteY6" fmla="*/ 16320 h 16319"/>
                <a:gd name="connsiteX7" fmla="*/ 110471 w 118631"/>
                <a:gd name="connsiteY7" fmla="*/ 16320 h 16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631" h="16319">
                  <a:moveTo>
                    <a:pt x="110471" y="16320"/>
                  </a:moveTo>
                  <a:lnTo>
                    <a:pt x="8160" y="16320"/>
                  </a:lnTo>
                  <a:cubicBezTo>
                    <a:pt x="3766" y="16320"/>
                    <a:pt x="0" y="12554"/>
                    <a:pt x="0" y="8160"/>
                  </a:cubicBezTo>
                  <a:cubicBezTo>
                    <a:pt x="0" y="3766"/>
                    <a:pt x="3766" y="0"/>
                    <a:pt x="8160" y="0"/>
                  </a:cubicBezTo>
                  <a:lnTo>
                    <a:pt x="110471" y="0"/>
                  </a:lnTo>
                  <a:cubicBezTo>
                    <a:pt x="114865" y="0"/>
                    <a:pt x="118631" y="3766"/>
                    <a:pt x="118631" y="8160"/>
                  </a:cubicBezTo>
                  <a:cubicBezTo>
                    <a:pt x="118631" y="12554"/>
                    <a:pt x="115493" y="16320"/>
                    <a:pt x="110471" y="16320"/>
                  </a:cubicBezTo>
                  <a:lnTo>
                    <a:pt x="110471" y="16320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74" name="Forma Livre: Forma 73">
              <a:extLst>
                <a:ext uri="{FF2B5EF4-FFF2-40B4-BE49-F238E27FC236}">
                  <a16:creationId xmlns:a16="http://schemas.microsoft.com/office/drawing/2014/main" id="{6544B03E-6F04-4CDE-8822-DAC2D6C63B42}"/>
                </a:ext>
              </a:extLst>
            </p:cNvPr>
            <p:cNvSpPr/>
            <p:nvPr/>
          </p:nvSpPr>
          <p:spPr>
            <a:xfrm>
              <a:off x="2376735" y="1735479"/>
              <a:ext cx="118631" cy="16319"/>
            </a:xfrm>
            <a:custGeom>
              <a:avLst/>
              <a:gdLst>
                <a:gd name="connsiteX0" fmla="*/ 110471 w 118631"/>
                <a:gd name="connsiteY0" fmla="*/ 16320 h 16319"/>
                <a:gd name="connsiteX1" fmla="*/ 8160 w 118631"/>
                <a:gd name="connsiteY1" fmla="*/ 16320 h 16319"/>
                <a:gd name="connsiteX2" fmla="*/ 0 w 118631"/>
                <a:gd name="connsiteY2" fmla="*/ 8160 h 16319"/>
                <a:gd name="connsiteX3" fmla="*/ 8160 w 118631"/>
                <a:gd name="connsiteY3" fmla="*/ 0 h 16319"/>
                <a:gd name="connsiteX4" fmla="*/ 110471 w 118631"/>
                <a:gd name="connsiteY4" fmla="*/ 0 h 16319"/>
                <a:gd name="connsiteX5" fmla="*/ 118631 w 118631"/>
                <a:gd name="connsiteY5" fmla="*/ 8160 h 16319"/>
                <a:gd name="connsiteX6" fmla="*/ 110471 w 118631"/>
                <a:gd name="connsiteY6" fmla="*/ 16320 h 16319"/>
                <a:gd name="connsiteX7" fmla="*/ 110471 w 118631"/>
                <a:gd name="connsiteY7" fmla="*/ 16320 h 16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631" h="16319">
                  <a:moveTo>
                    <a:pt x="110471" y="16320"/>
                  </a:moveTo>
                  <a:lnTo>
                    <a:pt x="8160" y="16320"/>
                  </a:lnTo>
                  <a:cubicBezTo>
                    <a:pt x="3766" y="16320"/>
                    <a:pt x="0" y="12554"/>
                    <a:pt x="0" y="8160"/>
                  </a:cubicBezTo>
                  <a:cubicBezTo>
                    <a:pt x="0" y="3766"/>
                    <a:pt x="3766" y="0"/>
                    <a:pt x="8160" y="0"/>
                  </a:cubicBezTo>
                  <a:lnTo>
                    <a:pt x="110471" y="0"/>
                  </a:lnTo>
                  <a:cubicBezTo>
                    <a:pt x="114865" y="0"/>
                    <a:pt x="118631" y="3766"/>
                    <a:pt x="118631" y="8160"/>
                  </a:cubicBezTo>
                  <a:cubicBezTo>
                    <a:pt x="118631" y="13181"/>
                    <a:pt x="115493" y="16320"/>
                    <a:pt x="110471" y="16320"/>
                  </a:cubicBezTo>
                  <a:lnTo>
                    <a:pt x="110471" y="16320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</p:spTree>
    <p:extLst>
      <p:ext uri="{BB962C8B-B14F-4D97-AF65-F5344CB8AC3E}">
        <p14:creationId xmlns:p14="http://schemas.microsoft.com/office/powerpoint/2010/main" val="1878681484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F048784B-1B6D-4577-806A-1D539ADF3F8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Inserir aqui o título do slid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D418DAA9-DFAE-4611-B4A9-95734EF7E6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erir aqui o subtítulo do slide</a:t>
            </a:r>
          </a:p>
          <a:p>
            <a:endParaRPr lang="pt-BR" dirty="0"/>
          </a:p>
        </p:txBody>
      </p:sp>
      <p:sp>
        <p:nvSpPr>
          <p:cNvPr id="7" name="Forma Livre: Forma 6">
            <a:extLst>
              <a:ext uri="{FF2B5EF4-FFF2-40B4-BE49-F238E27FC236}">
                <a16:creationId xmlns:a16="http://schemas.microsoft.com/office/drawing/2014/main" id="{9DB2A8BC-C102-4317-875A-8A4F5E96AB0C}"/>
              </a:ext>
            </a:extLst>
          </p:cNvPr>
          <p:cNvSpPr/>
          <p:nvPr/>
        </p:nvSpPr>
        <p:spPr>
          <a:xfrm>
            <a:off x="6112441" y="3546475"/>
            <a:ext cx="2620351" cy="2619375"/>
          </a:xfrm>
          <a:custGeom>
            <a:avLst/>
            <a:gdLst>
              <a:gd name="connsiteX0" fmla="*/ 342900 w 2555557"/>
              <a:gd name="connsiteY0" fmla="*/ 1255395 h 2554605"/>
              <a:gd name="connsiteX1" fmla="*/ 117157 w 2555557"/>
              <a:gd name="connsiteY1" fmla="*/ 1187767 h 2554605"/>
              <a:gd name="connsiteX2" fmla="*/ 0 w 2555557"/>
              <a:gd name="connsiteY2" fmla="*/ 1260157 h 2554605"/>
              <a:gd name="connsiteX3" fmla="*/ 0 w 2555557"/>
              <a:gd name="connsiteY3" fmla="*/ 1979295 h 2554605"/>
              <a:gd name="connsiteX4" fmla="*/ 713422 w 2555557"/>
              <a:gd name="connsiteY4" fmla="*/ 1979295 h 2554605"/>
              <a:gd name="connsiteX5" fmla="*/ 785813 w 2555557"/>
              <a:gd name="connsiteY5" fmla="*/ 2096452 h 2554605"/>
              <a:gd name="connsiteX6" fmla="*/ 721995 w 2555557"/>
              <a:gd name="connsiteY6" fmla="*/ 2322195 h 2554605"/>
              <a:gd name="connsiteX7" fmla="*/ 988695 w 2555557"/>
              <a:gd name="connsiteY7" fmla="*/ 2554605 h 2554605"/>
              <a:gd name="connsiteX8" fmla="*/ 1255395 w 2555557"/>
              <a:gd name="connsiteY8" fmla="*/ 2322195 h 2554605"/>
              <a:gd name="connsiteX9" fmla="*/ 1187767 w 2555557"/>
              <a:gd name="connsiteY9" fmla="*/ 2096452 h 2554605"/>
              <a:gd name="connsiteX10" fmla="*/ 1260157 w 2555557"/>
              <a:gd name="connsiteY10" fmla="*/ 1979295 h 2554605"/>
              <a:gd name="connsiteX11" fmla="*/ 1980248 w 2555557"/>
              <a:gd name="connsiteY11" fmla="*/ 1979295 h 2554605"/>
              <a:gd name="connsiteX12" fmla="*/ 1980248 w 2555557"/>
              <a:gd name="connsiteY12" fmla="*/ 1979295 h 2554605"/>
              <a:gd name="connsiteX13" fmla="*/ 1980248 w 2555557"/>
              <a:gd name="connsiteY13" fmla="*/ 1979295 h 2554605"/>
              <a:gd name="connsiteX14" fmla="*/ 1980248 w 2555557"/>
              <a:gd name="connsiteY14" fmla="*/ 1260157 h 2554605"/>
              <a:gd name="connsiteX15" fmla="*/ 2097405 w 2555557"/>
              <a:gd name="connsiteY15" fmla="*/ 1187767 h 2554605"/>
              <a:gd name="connsiteX16" fmla="*/ 2323148 w 2555557"/>
              <a:gd name="connsiteY16" fmla="*/ 1255395 h 2554605"/>
              <a:gd name="connsiteX17" fmla="*/ 2555558 w 2555557"/>
              <a:gd name="connsiteY17" fmla="*/ 988695 h 2554605"/>
              <a:gd name="connsiteX18" fmla="*/ 2323148 w 2555557"/>
              <a:gd name="connsiteY18" fmla="*/ 721995 h 2554605"/>
              <a:gd name="connsiteX19" fmla="*/ 2097405 w 2555557"/>
              <a:gd name="connsiteY19" fmla="*/ 785813 h 2554605"/>
              <a:gd name="connsiteX20" fmla="*/ 1980248 w 2555557"/>
              <a:gd name="connsiteY20" fmla="*/ 713422 h 2554605"/>
              <a:gd name="connsiteX21" fmla="*/ 1980248 w 2555557"/>
              <a:gd name="connsiteY21" fmla="*/ 0 h 2554605"/>
              <a:gd name="connsiteX22" fmla="*/ 1980248 w 2555557"/>
              <a:gd name="connsiteY22" fmla="*/ 137160 h 2554605"/>
              <a:gd name="connsiteX23" fmla="*/ 1980248 w 2555557"/>
              <a:gd name="connsiteY23" fmla="*/ 0 h 2554605"/>
              <a:gd name="connsiteX24" fmla="*/ 1261110 w 2555557"/>
              <a:gd name="connsiteY24" fmla="*/ 0 h 2554605"/>
              <a:gd name="connsiteX25" fmla="*/ 1188720 w 2555557"/>
              <a:gd name="connsiteY25" fmla="*/ 117157 h 2554605"/>
              <a:gd name="connsiteX26" fmla="*/ 1256348 w 2555557"/>
              <a:gd name="connsiteY26" fmla="*/ 342900 h 2554605"/>
              <a:gd name="connsiteX27" fmla="*/ 989647 w 2555557"/>
              <a:gd name="connsiteY27" fmla="*/ 575310 h 2554605"/>
              <a:gd name="connsiteX28" fmla="*/ 722947 w 2555557"/>
              <a:gd name="connsiteY28" fmla="*/ 342900 h 2554605"/>
              <a:gd name="connsiteX29" fmla="*/ 786765 w 2555557"/>
              <a:gd name="connsiteY29" fmla="*/ 117157 h 2554605"/>
              <a:gd name="connsiteX30" fmla="*/ 714375 w 2555557"/>
              <a:gd name="connsiteY30" fmla="*/ 0 h 2554605"/>
              <a:gd name="connsiteX31" fmla="*/ 953 w 2555557"/>
              <a:gd name="connsiteY31" fmla="*/ 0 h 2554605"/>
              <a:gd name="connsiteX32" fmla="*/ 953 w 2555557"/>
              <a:gd name="connsiteY32" fmla="*/ 713422 h 2554605"/>
              <a:gd name="connsiteX33" fmla="*/ 118110 w 2555557"/>
              <a:gd name="connsiteY33" fmla="*/ 785813 h 2554605"/>
              <a:gd name="connsiteX34" fmla="*/ 343853 w 2555557"/>
              <a:gd name="connsiteY34" fmla="*/ 721995 h 2554605"/>
              <a:gd name="connsiteX35" fmla="*/ 576263 w 2555557"/>
              <a:gd name="connsiteY35" fmla="*/ 988695 h 2554605"/>
              <a:gd name="connsiteX36" fmla="*/ 342900 w 2555557"/>
              <a:gd name="connsiteY36" fmla="*/ 1255395 h 25546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2555557" h="2554605">
                <a:moveTo>
                  <a:pt x="342900" y="1255395"/>
                </a:moveTo>
                <a:cubicBezTo>
                  <a:pt x="280988" y="1255395"/>
                  <a:pt x="196215" y="1227773"/>
                  <a:pt x="117157" y="1187767"/>
                </a:cubicBezTo>
                <a:cubicBezTo>
                  <a:pt x="63817" y="1160145"/>
                  <a:pt x="0" y="1200150"/>
                  <a:pt x="0" y="1260157"/>
                </a:cubicBezTo>
                <a:lnTo>
                  <a:pt x="0" y="1979295"/>
                </a:lnTo>
                <a:lnTo>
                  <a:pt x="713422" y="1979295"/>
                </a:lnTo>
                <a:cubicBezTo>
                  <a:pt x="773430" y="1979295"/>
                  <a:pt x="811530" y="2042160"/>
                  <a:pt x="785813" y="2096452"/>
                </a:cubicBezTo>
                <a:cubicBezTo>
                  <a:pt x="747713" y="2175510"/>
                  <a:pt x="721995" y="2260283"/>
                  <a:pt x="721995" y="2322195"/>
                </a:cubicBezTo>
                <a:cubicBezTo>
                  <a:pt x="721995" y="2473643"/>
                  <a:pt x="842010" y="2554605"/>
                  <a:pt x="988695" y="2554605"/>
                </a:cubicBezTo>
                <a:cubicBezTo>
                  <a:pt x="1136332" y="2554605"/>
                  <a:pt x="1255395" y="2472690"/>
                  <a:pt x="1255395" y="2322195"/>
                </a:cubicBezTo>
                <a:cubicBezTo>
                  <a:pt x="1255395" y="2260283"/>
                  <a:pt x="1227773" y="2175510"/>
                  <a:pt x="1187767" y="2096452"/>
                </a:cubicBezTo>
                <a:cubicBezTo>
                  <a:pt x="1160145" y="2043113"/>
                  <a:pt x="1200150" y="1979295"/>
                  <a:pt x="1260157" y="1979295"/>
                </a:cubicBezTo>
                <a:lnTo>
                  <a:pt x="1980248" y="1979295"/>
                </a:lnTo>
                <a:lnTo>
                  <a:pt x="1980248" y="1979295"/>
                </a:lnTo>
                <a:lnTo>
                  <a:pt x="1980248" y="1979295"/>
                </a:lnTo>
                <a:lnTo>
                  <a:pt x="1980248" y="1260157"/>
                </a:lnTo>
                <a:cubicBezTo>
                  <a:pt x="1980248" y="1200150"/>
                  <a:pt x="2043113" y="1160145"/>
                  <a:pt x="2097405" y="1187767"/>
                </a:cubicBezTo>
                <a:cubicBezTo>
                  <a:pt x="2175510" y="1227773"/>
                  <a:pt x="2261235" y="1255395"/>
                  <a:pt x="2323148" y="1255395"/>
                </a:cubicBezTo>
                <a:cubicBezTo>
                  <a:pt x="2474595" y="1255395"/>
                  <a:pt x="2555558" y="1135380"/>
                  <a:pt x="2555558" y="988695"/>
                </a:cubicBezTo>
                <a:cubicBezTo>
                  <a:pt x="2555558" y="841057"/>
                  <a:pt x="2473642" y="721995"/>
                  <a:pt x="2323148" y="721995"/>
                </a:cubicBezTo>
                <a:cubicBezTo>
                  <a:pt x="2261235" y="721995"/>
                  <a:pt x="2176463" y="747713"/>
                  <a:pt x="2097405" y="785813"/>
                </a:cubicBezTo>
                <a:cubicBezTo>
                  <a:pt x="2043113" y="812482"/>
                  <a:pt x="1980248" y="773430"/>
                  <a:pt x="1980248" y="713422"/>
                </a:cubicBezTo>
                <a:lnTo>
                  <a:pt x="1980248" y="0"/>
                </a:lnTo>
                <a:lnTo>
                  <a:pt x="1980248" y="137160"/>
                </a:lnTo>
                <a:lnTo>
                  <a:pt x="1980248" y="0"/>
                </a:lnTo>
                <a:lnTo>
                  <a:pt x="1261110" y="0"/>
                </a:lnTo>
                <a:cubicBezTo>
                  <a:pt x="1201103" y="0"/>
                  <a:pt x="1161098" y="62865"/>
                  <a:pt x="1188720" y="117157"/>
                </a:cubicBezTo>
                <a:cubicBezTo>
                  <a:pt x="1228725" y="195263"/>
                  <a:pt x="1256348" y="280988"/>
                  <a:pt x="1256348" y="342900"/>
                </a:cubicBezTo>
                <a:cubicBezTo>
                  <a:pt x="1256348" y="494347"/>
                  <a:pt x="1136332" y="575310"/>
                  <a:pt x="989647" y="575310"/>
                </a:cubicBezTo>
                <a:cubicBezTo>
                  <a:pt x="842010" y="575310"/>
                  <a:pt x="722947" y="493395"/>
                  <a:pt x="722947" y="342900"/>
                </a:cubicBezTo>
                <a:cubicBezTo>
                  <a:pt x="722947" y="280988"/>
                  <a:pt x="748665" y="196215"/>
                  <a:pt x="786765" y="117157"/>
                </a:cubicBezTo>
                <a:cubicBezTo>
                  <a:pt x="813435" y="62865"/>
                  <a:pt x="774382" y="0"/>
                  <a:pt x="714375" y="0"/>
                </a:cubicBezTo>
                <a:lnTo>
                  <a:pt x="953" y="0"/>
                </a:lnTo>
                <a:lnTo>
                  <a:pt x="953" y="713422"/>
                </a:lnTo>
                <a:cubicBezTo>
                  <a:pt x="953" y="773430"/>
                  <a:pt x="63817" y="811530"/>
                  <a:pt x="118110" y="785813"/>
                </a:cubicBezTo>
                <a:cubicBezTo>
                  <a:pt x="197167" y="747713"/>
                  <a:pt x="281940" y="721995"/>
                  <a:pt x="343853" y="721995"/>
                </a:cubicBezTo>
                <a:cubicBezTo>
                  <a:pt x="495300" y="721995"/>
                  <a:pt x="576263" y="842010"/>
                  <a:pt x="576263" y="988695"/>
                </a:cubicBezTo>
                <a:cubicBezTo>
                  <a:pt x="576263" y="1136332"/>
                  <a:pt x="494347" y="1255395"/>
                  <a:pt x="342900" y="1255395"/>
                </a:cubicBezTo>
                <a:close/>
              </a:path>
            </a:pathLst>
          </a:custGeom>
          <a:solidFill>
            <a:srgbClr val="899DBD"/>
          </a:solidFill>
          <a:ln w="5715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8" name="Forma Livre: Forma 7">
            <a:extLst>
              <a:ext uri="{FF2B5EF4-FFF2-40B4-BE49-F238E27FC236}">
                <a16:creationId xmlns:a16="http://schemas.microsoft.com/office/drawing/2014/main" id="{B22BB2FD-9B3B-42EA-B273-B394BCEBBCA5}"/>
              </a:ext>
            </a:extLst>
          </p:cNvPr>
          <p:cNvSpPr/>
          <p:nvPr/>
        </p:nvSpPr>
        <p:spPr>
          <a:xfrm>
            <a:off x="3494043" y="927100"/>
            <a:ext cx="2619375" cy="2619375"/>
          </a:xfrm>
          <a:custGeom>
            <a:avLst/>
            <a:gdLst>
              <a:gd name="connsiteX0" fmla="*/ 2211705 w 2554605"/>
              <a:gd name="connsiteY0" fmla="*/ 1299210 h 2554605"/>
              <a:gd name="connsiteX1" fmla="*/ 2437448 w 2554605"/>
              <a:gd name="connsiteY1" fmla="*/ 1366838 h 2554605"/>
              <a:gd name="connsiteX2" fmla="*/ 2554605 w 2554605"/>
              <a:gd name="connsiteY2" fmla="*/ 1294448 h 2554605"/>
              <a:gd name="connsiteX3" fmla="*/ 2554605 w 2554605"/>
              <a:gd name="connsiteY3" fmla="*/ 575310 h 2554605"/>
              <a:gd name="connsiteX4" fmla="*/ 1841183 w 2554605"/>
              <a:gd name="connsiteY4" fmla="*/ 575310 h 2554605"/>
              <a:gd name="connsiteX5" fmla="*/ 1768793 w 2554605"/>
              <a:gd name="connsiteY5" fmla="*/ 458153 h 2554605"/>
              <a:gd name="connsiteX6" fmla="*/ 1832610 w 2554605"/>
              <a:gd name="connsiteY6" fmla="*/ 232410 h 2554605"/>
              <a:gd name="connsiteX7" fmla="*/ 1565910 w 2554605"/>
              <a:gd name="connsiteY7" fmla="*/ 0 h 2554605"/>
              <a:gd name="connsiteX8" fmla="*/ 1299210 w 2554605"/>
              <a:gd name="connsiteY8" fmla="*/ 232410 h 2554605"/>
              <a:gd name="connsiteX9" fmla="*/ 1366838 w 2554605"/>
              <a:gd name="connsiteY9" fmla="*/ 458153 h 2554605"/>
              <a:gd name="connsiteX10" fmla="*/ 1294448 w 2554605"/>
              <a:gd name="connsiteY10" fmla="*/ 575310 h 2554605"/>
              <a:gd name="connsiteX11" fmla="*/ 575310 w 2554605"/>
              <a:gd name="connsiteY11" fmla="*/ 575310 h 2554605"/>
              <a:gd name="connsiteX12" fmla="*/ 575310 w 2554605"/>
              <a:gd name="connsiteY12" fmla="*/ 575310 h 2554605"/>
              <a:gd name="connsiteX13" fmla="*/ 575310 w 2554605"/>
              <a:gd name="connsiteY13" fmla="*/ 575310 h 2554605"/>
              <a:gd name="connsiteX14" fmla="*/ 575310 w 2554605"/>
              <a:gd name="connsiteY14" fmla="*/ 1294448 h 2554605"/>
              <a:gd name="connsiteX15" fmla="*/ 458153 w 2554605"/>
              <a:gd name="connsiteY15" fmla="*/ 1366838 h 2554605"/>
              <a:gd name="connsiteX16" fmla="*/ 232410 w 2554605"/>
              <a:gd name="connsiteY16" fmla="*/ 1299210 h 2554605"/>
              <a:gd name="connsiteX17" fmla="*/ 0 w 2554605"/>
              <a:gd name="connsiteY17" fmla="*/ 1565910 h 2554605"/>
              <a:gd name="connsiteX18" fmla="*/ 232410 w 2554605"/>
              <a:gd name="connsiteY18" fmla="*/ 1832610 h 2554605"/>
              <a:gd name="connsiteX19" fmla="*/ 458153 w 2554605"/>
              <a:gd name="connsiteY19" fmla="*/ 1768793 h 2554605"/>
              <a:gd name="connsiteX20" fmla="*/ 575310 w 2554605"/>
              <a:gd name="connsiteY20" fmla="*/ 1841183 h 2554605"/>
              <a:gd name="connsiteX21" fmla="*/ 575310 w 2554605"/>
              <a:gd name="connsiteY21" fmla="*/ 2554605 h 2554605"/>
              <a:gd name="connsiteX22" fmla="*/ 575310 w 2554605"/>
              <a:gd name="connsiteY22" fmla="*/ 2417445 h 2554605"/>
              <a:gd name="connsiteX23" fmla="*/ 575310 w 2554605"/>
              <a:gd name="connsiteY23" fmla="*/ 2554605 h 2554605"/>
              <a:gd name="connsiteX24" fmla="*/ 1294448 w 2554605"/>
              <a:gd name="connsiteY24" fmla="*/ 2554605 h 2554605"/>
              <a:gd name="connsiteX25" fmla="*/ 1366838 w 2554605"/>
              <a:gd name="connsiteY25" fmla="*/ 2437448 h 2554605"/>
              <a:gd name="connsiteX26" fmla="*/ 1299210 w 2554605"/>
              <a:gd name="connsiteY26" fmla="*/ 2211705 h 2554605"/>
              <a:gd name="connsiteX27" fmla="*/ 1565910 w 2554605"/>
              <a:gd name="connsiteY27" fmla="*/ 1979295 h 2554605"/>
              <a:gd name="connsiteX28" fmla="*/ 1832610 w 2554605"/>
              <a:gd name="connsiteY28" fmla="*/ 2211705 h 2554605"/>
              <a:gd name="connsiteX29" fmla="*/ 1768793 w 2554605"/>
              <a:gd name="connsiteY29" fmla="*/ 2437448 h 2554605"/>
              <a:gd name="connsiteX30" fmla="*/ 1841183 w 2554605"/>
              <a:gd name="connsiteY30" fmla="*/ 2554605 h 2554605"/>
              <a:gd name="connsiteX31" fmla="*/ 2554605 w 2554605"/>
              <a:gd name="connsiteY31" fmla="*/ 2554605 h 2554605"/>
              <a:gd name="connsiteX32" fmla="*/ 2554605 w 2554605"/>
              <a:gd name="connsiteY32" fmla="*/ 1841183 h 2554605"/>
              <a:gd name="connsiteX33" fmla="*/ 2437448 w 2554605"/>
              <a:gd name="connsiteY33" fmla="*/ 1768793 h 2554605"/>
              <a:gd name="connsiteX34" fmla="*/ 2211705 w 2554605"/>
              <a:gd name="connsiteY34" fmla="*/ 1832610 h 2554605"/>
              <a:gd name="connsiteX35" fmla="*/ 1979295 w 2554605"/>
              <a:gd name="connsiteY35" fmla="*/ 1565910 h 2554605"/>
              <a:gd name="connsiteX36" fmla="*/ 2211705 w 2554605"/>
              <a:gd name="connsiteY36" fmla="*/ 1299210 h 25546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2554605" h="2554605">
                <a:moveTo>
                  <a:pt x="2211705" y="1299210"/>
                </a:moveTo>
                <a:cubicBezTo>
                  <a:pt x="2273618" y="1299210"/>
                  <a:pt x="2358390" y="1326833"/>
                  <a:pt x="2437448" y="1366838"/>
                </a:cubicBezTo>
                <a:cubicBezTo>
                  <a:pt x="2490788" y="1394460"/>
                  <a:pt x="2554605" y="1354455"/>
                  <a:pt x="2554605" y="1294448"/>
                </a:cubicBezTo>
                <a:lnTo>
                  <a:pt x="2554605" y="575310"/>
                </a:lnTo>
                <a:lnTo>
                  <a:pt x="1841183" y="575310"/>
                </a:lnTo>
                <a:cubicBezTo>
                  <a:pt x="1781175" y="575310"/>
                  <a:pt x="1743075" y="512445"/>
                  <a:pt x="1768793" y="458153"/>
                </a:cubicBezTo>
                <a:cubicBezTo>
                  <a:pt x="1806893" y="379095"/>
                  <a:pt x="1832610" y="294323"/>
                  <a:pt x="1832610" y="232410"/>
                </a:cubicBezTo>
                <a:cubicBezTo>
                  <a:pt x="1832610" y="80963"/>
                  <a:pt x="1712595" y="0"/>
                  <a:pt x="1565910" y="0"/>
                </a:cubicBezTo>
                <a:cubicBezTo>
                  <a:pt x="1418273" y="0"/>
                  <a:pt x="1299210" y="81915"/>
                  <a:pt x="1299210" y="232410"/>
                </a:cubicBezTo>
                <a:cubicBezTo>
                  <a:pt x="1299210" y="294323"/>
                  <a:pt x="1326833" y="379095"/>
                  <a:pt x="1366838" y="458153"/>
                </a:cubicBezTo>
                <a:cubicBezTo>
                  <a:pt x="1394460" y="511493"/>
                  <a:pt x="1354455" y="575310"/>
                  <a:pt x="1294448" y="575310"/>
                </a:cubicBezTo>
                <a:lnTo>
                  <a:pt x="575310" y="575310"/>
                </a:lnTo>
                <a:lnTo>
                  <a:pt x="575310" y="575310"/>
                </a:lnTo>
                <a:lnTo>
                  <a:pt x="575310" y="575310"/>
                </a:lnTo>
                <a:lnTo>
                  <a:pt x="575310" y="1294448"/>
                </a:lnTo>
                <a:cubicBezTo>
                  <a:pt x="575310" y="1354455"/>
                  <a:pt x="512445" y="1394460"/>
                  <a:pt x="458153" y="1366838"/>
                </a:cubicBezTo>
                <a:cubicBezTo>
                  <a:pt x="380048" y="1326833"/>
                  <a:pt x="294323" y="1299210"/>
                  <a:pt x="232410" y="1299210"/>
                </a:cubicBezTo>
                <a:cubicBezTo>
                  <a:pt x="80963" y="1299210"/>
                  <a:pt x="0" y="1419225"/>
                  <a:pt x="0" y="1565910"/>
                </a:cubicBezTo>
                <a:cubicBezTo>
                  <a:pt x="0" y="1713548"/>
                  <a:pt x="81915" y="1832610"/>
                  <a:pt x="232410" y="1832610"/>
                </a:cubicBezTo>
                <a:cubicBezTo>
                  <a:pt x="294323" y="1832610"/>
                  <a:pt x="379095" y="1806893"/>
                  <a:pt x="458153" y="1768793"/>
                </a:cubicBezTo>
                <a:cubicBezTo>
                  <a:pt x="512445" y="1742123"/>
                  <a:pt x="575310" y="1781175"/>
                  <a:pt x="575310" y="1841183"/>
                </a:cubicBezTo>
                <a:lnTo>
                  <a:pt x="575310" y="2554605"/>
                </a:lnTo>
                <a:lnTo>
                  <a:pt x="575310" y="2417445"/>
                </a:lnTo>
                <a:lnTo>
                  <a:pt x="575310" y="2554605"/>
                </a:lnTo>
                <a:lnTo>
                  <a:pt x="1294448" y="2554605"/>
                </a:lnTo>
                <a:cubicBezTo>
                  <a:pt x="1354455" y="2554605"/>
                  <a:pt x="1394460" y="2491740"/>
                  <a:pt x="1366838" y="2437448"/>
                </a:cubicBezTo>
                <a:cubicBezTo>
                  <a:pt x="1326833" y="2359343"/>
                  <a:pt x="1299210" y="2273618"/>
                  <a:pt x="1299210" y="2211705"/>
                </a:cubicBezTo>
                <a:cubicBezTo>
                  <a:pt x="1299210" y="2060258"/>
                  <a:pt x="1419225" y="1979295"/>
                  <a:pt x="1565910" y="1979295"/>
                </a:cubicBezTo>
                <a:cubicBezTo>
                  <a:pt x="1713548" y="1979295"/>
                  <a:pt x="1832610" y="2061210"/>
                  <a:pt x="1832610" y="2211705"/>
                </a:cubicBezTo>
                <a:cubicBezTo>
                  <a:pt x="1832610" y="2273618"/>
                  <a:pt x="1806893" y="2358390"/>
                  <a:pt x="1768793" y="2437448"/>
                </a:cubicBezTo>
                <a:cubicBezTo>
                  <a:pt x="1742123" y="2491740"/>
                  <a:pt x="1781175" y="2554605"/>
                  <a:pt x="1841183" y="2554605"/>
                </a:cubicBezTo>
                <a:lnTo>
                  <a:pt x="2554605" y="2554605"/>
                </a:lnTo>
                <a:lnTo>
                  <a:pt x="2554605" y="1841183"/>
                </a:lnTo>
                <a:cubicBezTo>
                  <a:pt x="2554605" y="1781175"/>
                  <a:pt x="2491740" y="1743075"/>
                  <a:pt x="2437448" y="1768793"/>
                </a:cubicBezTo>
                <a:cubicBezTo>
                  <a:pt x="2358390" y="1806893"/>
                  <a:pt x="2273618" y="1832610"/>
                  <a:pt x="2211705" y="1832610"/>
                </a:cubicBezTo>
                <a:cubicBezTo>
                  <a:pt x="2060258" y="1832610"/>
                  <a:pt x="1979295" y="1712595"/>
                  <a:pt x="1979295" y="1565910"/>
                </a:cubicBezTo>
                <a:cubicBezTo>
                  <a:pt x="1979295" y="1418273"/>
                  <a:pt x="2061210" y="1299210"/>
                  <a:pt x="2211705" y="1299210"/>
                </a:cubicBezTo>
                <a:close/>
              </a:path>
            </a:pathLst>
          </a:custGeom>
          <a:solidFill>
            <a:srgbClr val="263143"/>
          </a:solidFill>
          <a:ln w="5715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pt-BR" dirty="0"/>
          </a:p>
        </p:txBody>
      </p:sp>
      <p:sp>
        <p:nvSpPr>
          <p:cNvPr id="9" name="Forma Livre: Forma 8">
            <a:extLst>
              <a:ext uri="{FF2B5EF4-FFF2-40B4-BE49-F238E27FC236}">
                <a16:creationId xmlns:a16="http://schemas.microsoft.com/office/drawing/2014/main" id="{8C88B5E4-C318-4A93-90AE-6E209CEEB77C}"/>
              </a:ext>
            </a:extLst>
          </p:cNvPr>
          <p:cNvSpPr/>
          <p:nvPr/>
        </p:nvSpPr>
        <p:spPr>
          <a:xfrm>
            <a:off x="5521568" y="1515043"/>
            <a:ext cx="2620351" cy="2619374"/>
          </a:xfrm>
          <a:custGeom>
            <a:avLst/>
            <a:gdLst>
              <a:gd name="connsiteX0" fmla="*/ 2212658 w 2555557"/>
              <a:gd name="connsiteY0" fmla="*/ 1255395 h 2554604"/>
              <a:gd name="connsiteX1" fmla="*/ 2438400 w 2555557"/>
              <a:gd name="connsiteY1" fmla="*/ 1187767 h 2554604"/>
              <a:gd name="connsiteX2" fmla="*/ 2555558 w 2555557"/>
              <a:gd name="connsiteY2" fmla="*/ 1260158 h 2554604"/>
              <a:gd name="connsiteX3" fmla="*/ 2555558 w 2555557"/>
              <a:gd name="connsiteY3" fmla="*/ 1979295 h 2554604"/>
              <a:gd name="connsiteX4" fmla="*/ 1842135 w 2555557"/>
              <a:gd name="connsiteY4" fmla="*/ 1979295 h 2554604"/>
              <a:gd name="connsiteX5" fmla="*/ 1769745 w 2555557"/>
              <a:gd name="connsiteY5" fmla="*/ 2096452 h 2554604"/>
              <a:gd name="connsiteX6" fmla="*/ 1833563 w 2555557"/>
              <a:gd name="connsiteY6" fmla="*/ 2322195 h 2554604"/>
              <a:gd name="connsiteX7" fmla="*/ 1566863 w 2555557"/>
              <a:gd name="connsiteY7" fmla="*/ 2554605 h 2554604"/>
              <a:gd name="connsiteX8" fmla="*/ 1300163 w 2555557"/>
              <a:gd name="connsiteY8" fmla="*/ 2322195 h 2554604"/>
              <a:gd name="connsiteX9" fmla="*/ 1367790 w 2555557"/>
              <a:gd name="connsiteY9" fmla="*/ 2096452 h 2554604"/>
              <a:gd name="connsiteX10" fmla="*/ 1295400 w 2555557"/>
              <a:gd name="connsiteY10" fmla="*/ 1979295 h 2554604"/>
              <a:gd name="connsiteX11" fmla="*/ 575310 w 2555557"/>
              <a:gd name="connsiteY11" fmla="*/ 1979295 h 2554604"/>
              <a:gd name="connsiteX12" fmla="*/ 575310 w 2555557"/>
              <a:gd name="connsiteY12" fmla="*/ 1979295 h 2554604"/>
              <a:gd name="connsiteX13" fmla="*/ 575310 w 2555557"/>
              <a:gd name="connsiteY13" fmla="*/ 1979295 h 2554604"/>
              <a:gd name="connsiteX14" fmla="*/ 575310 w 2555557"/>
              <a:gd name="connsiteY14" fmla="*/ 1260158 h 2554604"/>
              <a:gd name="connsiteX15" fmla="*/ 458152 w 2555557"/>
              <a:gd name="connsiteY15" fmla="*/ 1187767 h 2554604"/>
              <a:gd name="connsiteX16" fmla="*/ 232410 w 2555557"/>
              <a:gd name="connsiteY16" fmla="*/ 1255395 h 2554604"/>
              <a:gd name="connsiteX17" fmla="*/ 0 w 2555557"/>
              <a:gd name="connsiteY17" fmla="*/ 988695 h 2554604"/>
              <a:gd name="connsiteX18" fmla="*/ 232410 w 2555557"/>
              <a:gd name="connsiteY18" fmla="*/ 721995 h 2554604"/>
              <a:gd name="connsiteX19" fmla="*/ 458152 w 2555557"/>
              <a:gd name="connsiteY19" fmla="*/ 785812 h 2554604"/>
              <a:gd name="connsiteX20" fmla="*/ 575310 w 2555557"/>
              <a:gd name="connsiteY20" fmla="*/ 713423 h 2554604"/>
              <a:gd name="connsiteX21" fmla="*/ 575310 w 2555557"/>
              <a:gd name="connsiteY21" fmla="*/ 0 h 2554604"/>
              <a:gd name="connsiteX22" fmla="*/ 575310 w 2555557"/>
              <a:gd name="connsiteY22" fmla="*/ 137160 h 2554604"/>
              <a:gd name="connsiteX23" fmla="*/ 575310 w 2555557"/>
              <a:gd name="connsiteY23" fmla="*/ 0 h 2554604"/>
              <a:gd name="connsiteX24" fmla="*/ 1294448 w 2555557"/>
              <a:gd name="connsiteY24" fmla="*/ 0 h 2554604"/>
              <a:gd name="connsiteX25" fmla="*/ 1366838 w 2555557"/>
              <a:gd name="connsiteY25" fmla="*/ 117157 h 2554604"/>
              <a:gd name="connsiteX26" fmla="*/ 1299210 w 2555557"/>
              <a:gd name="connsiteY26" fmla="*/ 342900 h 2554604"/>
              <a:gd name="connsiteX27" fmla="*/ 1565910 w 2555557"/>
              <a:gd name="connsiteY27" fmla="*/ 575310 h 2554604"/>
              <a:gd name="connsiteX28" fmla="*/ 1832610 w 2555557"/>
              <a:gd name="connsiteY28" fmla="*/ 342900 h 2554604"/>
              <a:gd name="connsiteX29" fmla="*/ 1768792 w 2555557"/>
              <a:gd name="connsiteY29" fmla="*/ 117157 h 2554604"/>
              <a:gd name="connsiteX30" fmla="*/ 1841182 w 2555557"/>
              <a:gd name="connsiteY30" fmla="*/ 0 h 2554604"/>
              <a:gd name="connsiteX31" fmla="*/ 2554605 w 2555557"/>
              <a:gd name="connsiteY31" fmla="*/ 0 h 2554604"/>
              <a:gd name="connsiteX32" fmla="*/ 2554605 w 2555557"/>
              <a:gd name="connsiteY32" fmla="*/ 713423 h 2554604"/>
              <a:gd name="connsiteX33" fmla="*/ 2437448 w 2555557"/>
              <a:gd name="connsiteY33" fmla="*/ 785812 h 2554604"/>
              <a:gd name="connsiteX34" fmla="*/ 2211705 w 2555557"/>
              <a:gd name="connsiteY34" fmla="*/ 721995 h 2554604"/>
              <a:gd name="connsiteX35" fmla="*/ 1979295 w 2555557"/>
              <a:gd name="connsiteY35" fmla="*/ 988695 h 2554604"/>
              <a:gd name="connsiteX36" fmla="*/ 2212658 w 2555557"/>
              <a:gd name="connsiteY36" fmla="*/ 1255395 h 2554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2555557" h="2554604">
                <a:moveTo>
                  <a:pt x="2212658" y="1255395"/>
                </a:moveTo>
                <a:cubicBezTo>
                  <a:pt x="2274570" y="1255395"/>
                  <a:pt x="2359342" y="1227773"/>
                  <a:pt x="2438400" y="1187767"/>
                </a:cubicBezTo>
                <a:cubicBezTo>
                  <a:pt x="2491740" y="1160145"/>
                  <a:pt x="2555558" y="1200150"/>
                  <a:pt x="2555558" y="1260158"/>
                </a:cubicBezTo>
                <a:lnTo>
                  <a:pt x="2555558" y="1979295"/>
                </a:lnTo>
                <a:lnTo>
                  <a:pt x="1842135" y="1979295"/>
                </a:lnTo>
                <a:cubicBezTo>
                  <a:pt x="1782128" y="1979295"/>
                  <a:pt x="1744028" y="2042160"/>
                  <a:pt x="1769745" y="2096452"/>
                </a:cubicBezTo>
                <a:cubicBezTo>
                  <a:pt x="1807845" y="2175510"/>
                  <a:pt x="1833563" y="2260283"/>
                  <a:pt x="1833563" y="2322195"/>
                </a:cubicBezTo>
                <a:cubicBezTo>
                  <a:pt x="1833563" y="2473643"/>
                  <a:pt x="1713548" y="2554605"/>
                  <a:pt x="1566863" y="2554605"/>
                </a:cubicBezTo>
                <a:cubicBezTo>
                  <a:pt x="1420178" y="2554605"/>
                  <a:pt x="1300163" y="2472690"/>
                  <a:pt x="1300163" y="2322195"/>
                </a:cubicBezTo>
                <a:cubicBezTo>
                  <a:pt x="1300163" y="2260283"/>
                  <a:pt x="1327785" y="2175510"/>
                  <a:pt x="1367790" y="2096452"/>
                </a:cubicBezTo>
                <a:cubicBezTo>
                  <a:pt x="1395413" y="2043113"/>
                  <a:pt x="1355407" y="1979295"/>
                  <a:pt x="1295400" y="1979295"/>
                </a:cubicBezTo>
                <a:lnTo>
                  <a:pt x="575310" y="1979295"/>
                </a:lnTo>
                <a:lnTo>
                  <a:pt x="575310" y="1979295"/>
                </a:lnTo>
                <a:lnTo>
                  <a:pt x="575310" y="1979295"/>
                </a:lnTo>
                <a:lnTo>
                  <a:pt x="575310" y="1260158"/>
                </a:lnTo>
                <a:cubicBezTo>
                  <a:pt x="575310" y="1200150"/>
                  <a:pt x="512445" y="1160145"/>
                  <a:pt x="458152" y="1187767"/>
                </a:cubicBezTo>
                <a:cubicBezTo>
                  <a:pt x="380047" y="1227773"/>
                  <a:pt x="294322" y="1255395"/>
                  <a:pt x="232410" y="1255395"/>
                </a:cubicBezTo>
                <a:cubicBezTo>
                  <a:pt x="80963" y="1255395"/>
                  <a:pt x="0" y="1135380"/>
                  <a:pt x="0" y="988695"/>
                </a:cubicBezTo>
                <a:cubicBezTo>
                  <a:pt x="0" y="842010"/>
                  <a:pt x="81915" y="721995"/>
                  <a:pt x="232410" y="721995"/>
                </a:cubicBezTo>
                <a:cubicBezTo>
                  <a:pt x="294322" y="721995"/>
                  <a:pt x="379095" y="747712"/>
                  <a:pt x="458152" y="785812"/>
                </a:cubicBezTo>
                <a:cubicBezTo>
                  <a:pt x="512445" y="812483"/>
                  <a:pt x="575310" y="773430"/>
                  <a:pt x="575310" y="713423"/>
                </a:cubicBezTo>
                <a:lnTo>
                  <a:pt x="575310" y="0"/>
                </a:lnTo>
                <a:lnTo>
                  <a:pt x="575310" y="137160"/>
                </a:lnTo>
                <a:lnTo>
                  <a:pt x="575310" y="0"/>
                </a:lnTo>
                <a:lnTo>
                  <a:pt x="1294448" y="0"/>
                </a:lnTo>
                <a:cubicBezTo>
                  <a:pt x="1354455" y="0"/>
                  <a:pt x="1394460" y="62865"/>
                  <a:pt x="1366838" y="117157"/>
                </a:cubicBezTo>
                <a:cubicBezTo>
                  <a:pt x="1326832" y="195262"/>
                  <a:pt x="1299210" y="280987"/>
                  <a:pt x="1299210" y="342900"/>
                </a:cubicBezTo>
                <a:cubicBezTo>
                  <a:pt x="1299210" y="494347"/>
                  <a:pt x="1419225" y="575310"/>
                  <a:pt x="1565910" y="575310"/>
                </a:cubicBezTo>
                <a:cubicBezTo>
                  <a:pt x="1712595" y="575310"/>
                  <a:pt x="1832610" y="493395"/>
                  <a:pt x="1832610" y="342900"/>
                </a:cubicBezTo>
                <a:cubicBezTo>
                  <a:pt x="1832610" y="280987"/>
                  <a:pt x="1806892" y="196215"/>
                  <a:pt x="1768792" y="117157"/>
                </a:cubicBezTo>
                <a:cubicBezTo>
                  <a:pt x="1742123" y="62865"/>
                  <a:pt x="1781175" y="0"/>
                  <a:pt x="1841182" y="0"/>
                </a:cubicBezTo>
                <a:lnTo>
                  <a:pt x="2554605" y="0"/>
                </a:lnTo>
                <a:lnTo>
                  <a:pt x="2554605" y="713423"/>
                </a:lnTo>
                <a:cubicBezTo>
                  <a:pt x="2554605" y="773430"/>
                  <a:pt x="2491740" y="811530"/>
                  <a:pt x="2437448" y="785812"/>
                </a:cubicBezTo>
                <a:cubicBezTo>
                  <a:pt x="2358390" y="747712"/>
                  <a:pt x="2273617" y="721995"/>
                  <a:pt x="2211705" y="721995"/>
                </a:cubicBezTo>
                <a:cubicBezTo>
                  <a:pt x="2060257" y="721995"/>
                  <a:pt x="1979295" y="842010"/>
                  <a:pt x="1979295" y="988695"/>
                </a:cubicBezTo>
                <a:cubicBezTo>
                  <a:pt x="1979295" y="1135380"/>
                  <a:pt x="2061210" y="1255395"/>
                  <a:pt x="2212658" y="1255395"/>
                </a:cubicBezTo>
                <a:close/>
              </a:path>
            </a:pathLst>
          </a:custGeom>
          <a:solidFill>
            <a:srgbClr val="11385A"/>
          </a:solidFill>
          <a:ln w="5715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10" name="Forma Livre: Forma 9">
            <a:extLst>
              <a:ext uri="{FF2B5EF4-FFF2-40B4-BE49-F238E27FC236}">
                <a16:creationId xmlns:a16="http://schemas.microsoft.com/office/drawing/2014/main" id="{88EA36C2-6EBE-4D57-AD3E-1F0BEFB1AC54}"/>
              </a:ext>
            </a:extLst>
          </p:cNvPr>
          <p:cNvSpPr/>
          <p:nvPr/>
        </p:nvSpPr>
        <p:spPr>
          <a:xfrm>
            <a:off x="4082962" y="2959508"/>
            <a:ext cx="2619375" cy="2619374"/>
          </a:xfrm>
          <a:custGeom>
            <a:avLst/>
            <a:gdLst>
              <a:gd name="connsiteX0" fmla="*/ 342900 w 2554605"/>
              <a:gd name="connsiteY0" fmla="*/ 1299210 h 2554604"/>
              <a:gd name="connsiteX1" fmla="*/ 117157 w 2554605"/>
              <a:gd name="connsiteY1" fmla="*/ 1366838 h 2554604"/>
              <a:gd name="connsiteX2" fmla="*/ 0 w 2554605"/>
              <a:gd name="connsiteY2" fmla="*/ 1294448 h 2554604"/>
              <a:gd name="connsiteX3" fmla="*/ 0 w 2554605"/>
              <a:gd name="connsiteY3" fmla="*/ 575310 h 2554604"/>
              <a:gd name="connsiteX4" fmla="*/ 713423 w 2554605"/>
              <a:gd name="connsiteY4" fmla="*/ 575310 h 2554604"/>
              <a:gd name="connsiteX5" fmla="*/ 785813 w 2554605"/>
              <a:gd name="connsiteY5" fmla="*/ 458153 h 2554604"/>
              <a:gd name="connsiteX6" fmla="*/ 721995 w 2554605"/>
              <a:gd name="connsiteY6" fmla="*/ 232410 h 2554604"/>
              <a:gd name="connsiteX7" fmla="*/ 988695 w 2554605"/>
              <a:gd name="connsiteY7" fmla="*/ 0 h 2554604"/>
              <a:gd name="connsiteX8" fmla="*/ 1255395 w 2554605"/>
              <a:gd name="connsiteY8" fmla="*/ 232410 h 2554604"/>
              <a:gd name="connsiteX9" fmla="*/ 1187768 w 2554605"/>
              <a:gd name="connsiteY9" fmla="*/ 458153 h 2554604"/>
              <a:gd name="connsiteX10" fmla="*/ 1260158 w 2554605"/>
              <a:gd name="connsiteY10" fmla="*/ 575310 h 2554604"/>
              <a:gd name="connsiteX11" fmla="*/ 1979295 w 2554605"/>
              <a:gd name="connsiteY11" fmla="*/ 575310 h 2554604"/>
              <a:gd name="connsiteX12" fmla="*/ 1979295 w 2554605"/>
              <a:gd name="connsiteY12" fmla="*/ 575310 h 2554604"/>
              <a:gd name="connsiteX13" fmla="*/ 1979295 w 2554605"/>
              <a:gd name="connsiteY13" fmla="*/ 575310 h 2554604"/>
              <a:gd name="connsiteX14" fmla="*/ 1979295 w 2554605"/>
              <a:gd name="connsiteY14" fmla="*/ 1294448 h 2554604"/>
              <a:gd name="connsiteX15" fmla="*/ 2096453 w 2554605"/>
              <a:gd name="connsiteY15" fmla="*/ 1366838 h 2554604"/>
              <a:gd name="connsiteX16" fmla="*/ 2322195 w 2554605"/>
              <a:gd name="connsiteY16" fmla="*/ 1299210 h 2554604"/>
              <a:gd name="connsiteX17" fmla="*/ 2554605 w 2554605"/>
              <a:gd name="connsiteY17" fmla="*/ 1565910 h 2554604"/>
              <a:gd name="connsiteX18" fmla="*/ 2322195 w 2554605"/>
              <a:gd name="connsiteY18" fmla="*/ 1832610 h 2554604"/>
              <a:gd name="connsiteX19" fmla="*/ 2096453 w 2554605"/>
              <a:gd name="connsiteY19" fmla="*/ 1768792 h 2554604"/>
              <a:gd name="connsiteX20" fmla="*/ 1979295 w 2554605"/>
              <a:gd name="connsiteY20" fmla="*/ 1841182 h 2554604"/>
              <a:gd name="connsiteX21" fmla="*/ 1979295 w 2554605"/>
              <a:gd name="connsiteY21" fmla="*/ 2554605 h 2554604"/>
              <a:gd name="connsiteX22" fmla="*/ 1979295 w 2554605"/>
              <a:gd name="connsiteY22" fmla="*/ 2417445 h 2554604"/>
              <a:gd name="connsiteX23" fmla="*/ 1979295 w 2554605"/>
              <a:gd name="connsiteY23" fmla="*/ 2554605 h 2554604"/>
              <a:gd name="connsiteX24" fmla="*/ 1260158 w 2554605"/>
              <a:gd name="connsiteY24" fmla="*/ 2554605 h 2554604"/>
              <a:gd name="connsiteX25" fmla="*/ 1187768 w 2554605"/>
              <a:gd name="connsiteY25" fmla="*/ 2437448 h 2554604"/>
              <a:gd name="connsiteX26" fmla="*/ 1255395 w 2554605"/>
              <a:gd name="connsiteY26" fmla="*/ 2211705 h 2554604"/>
              <a:gd name="connsiteX27" fmla="*/ 988695 w 2554605"/>
              <a:gd name="connsiteY27" fmla="*/ 1979295 h 2554604"/>
              <a:gd name="connsiteX28" fmla="*/ 721995 w 2554605"/>
              <a:gd name="connsiteY28" fmla="*/ 2211705 h 2554604"/>
              <a:gd name="connsiteX29" fmla="*/ 785813 w 2554605"/>
              <a:gd name="connsiteY29" fmla="*/ 2437448 h 2554604"/>
              <a:gd name="connsiteX30" fmla="*/ 713423 w 2554605"/>
              <a:gd name="connsiteY30" fmla="*/ 2554605 h 2554604"/>
              <a:gd name="connsiteX31" fmla="*/ 953 w 2554605"/>
              <a:gd name="connsiteY31" fmla="*/ 2554605 h 2554604"/>
              <a:gd name="connsiteX32" fmla="*/ 953 w 2554605"/>
              <a:gd name="connsiteY32" fmla="*/ 1841182 h 2554604"/>
              <a:gd name="connsiteX33" fmla="*/ 118110 w 2554605"/>
              <a:gd name="connsiteY33" fmla="*/ 1768792 h 2554604"/>
              <a:gd name="connsiteX34" fmla="*/ 343853 w 2554605"/>
              <a:gd name="connsiteY34" fmla="*/ 1832610 h 2554604"/>
              <a:gd name="connsiteX35" fmla="*/ 576263 w 2554605"/>
              <a:gd name="connsiteY35" fmla="*/ 1565910 h 2554604"/>
              <a:gd name="connsiteX36" fmla="*/ 342900 w 2554605"/>
              <a:gd name="connsiteY36" fmla="*/ 1299210 h 2554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2554605" h="2554604">
                <a:moveTo>
                  <a:pt x="342900" y="1299210"/>
                </a:moveTo>
                <a:cubicBezTo>
                  <a:pt x="280988" y="1299210"/>
                  <a:pt x="196215" y="1326832"/>
                  <a:pt x="117157" y="1366838"/>
                </a:cubicBezTo>
                <a:cubicBezTo>
                  <a:pt x="63818" y="1394460"/>
                  <a:pt x="0" y="1354455"/>
                  <a:pt x="0" y="1294448"/>
                </a:cubicBezTo>
                <a:lnTo>
                  <a:pt x="0" y="575310"/>
                </a:lnTo>
                <a:lnTo>
                  <a:pt x="713423" y="575310"/>
                </a:lnTo>
                <a:cubicBezTo>
                  <a:pt x="773430" y="575310"/>
                  <a:pt x="811530" y="512445"/>
                  <a:pt x="785813" y="458153"/>
                </a:cubicBezTo>
                <a:cubicBezTo>
                  <a:pt x="747713" y="379095"/>
                  <a:pt x="721995" y="294322"/>
                  <a:pt x="721995" y="232410"/>
                </a:cubicBezTo>
                <a:cubicBezTo>
                  <a:pt x="721995" y="80963"/>
                  <a:pt x="842010" y="0"/>
                  <a:pt x="988695" y="0"/>
                </a:cubicBezTo>
                <a:cubicBezTo>
                  <a:pt x="1136333" y="0"/>
                  <a:pt x="1255395" y="81915"/>
                  <a:pt x="1255395" y="232410"/>
                </a:cubicBezTo>
                <a:cubicBezTo>
                  <a:pt x="1255395" y="294322"/>
                  <a:pt x="1227773" y="379095"/>
                  <a:pt x="1187768" y="458153"/>
                </a:cubicBezTo>
                <a:cubicBezTo>
                  <a:pt x="1160145" y="511492"/>
                  <a:pt x="1200150" y="575310"/>
                  <a:pt x="1260158" y="575310"/>
                </a:cubicBezTo>
                <a:lnTo>
                  <a:pt x="1979295" y="575310"/>
                </a:lnTo>
                <a:lnTo>
                  <a:pt x="1979295" y="575310"/>
                </a:lnTo>
                <a:lnTo>
                  <a:pt x="1979295" y="575310"/>
                </a:lnTo>
                <a:lnTo>
                  <a:pt x="1979295" y="1294448"/>
                </a:lnTo>
                <a:cubicBezTo>
                  <a:pt x="1979295" y="1354455"/>
                  <a:pt x="2042160" y="1394460"/>
                  <a:pt x="2096453" y="1366838"/>
                </a:cubicBezTo>
                <a:cubicBezTo>
                  <a:pt x="2174558" y="1326832"/>
                  <a:pt x="2260283" y="1299210"/>
                  <a:pt x="2322195" y="1299210"/>
                </a:cubicBezTo>
                <a:cubicBezTo>
                  <a:pt x="2473643" y="1299210"/>
                  <a:pt x="2554605" y="1419225"/>
                  <a:pt x="2554605" y="1565910"/>
                </a:cubicBezTo>
                <a:cubicBezTo>
                  <a:pt x="2554605" y="1713548"/>
                  <a:pt x="2472690" y="1832610"/>
                  <a:pt x="2322195" y="1832610"/>
                </a:cubicBezTo>
                <a:cubicBezTo>
                  <a:pt x="2260283" y="1832610"/>
                  <a:pt x="2175510" y="1806892"/>
                  <a:pt x="2096453" y="1768792"/>
                </a:cubicBezTo>
                <a:cubicBezTo>
                  <a:pt x="2042160" y="1742123"/>
                  <a:pt x="1979295" y="1781175"/>
                  <a:pt x="1979295" y="1841182"/>
                </a:cubicBezTo>
                <a:lnTo>
                  <a:pt x="1979295" y="2554605"/>
                </a:lnTo>
                <a:lnTo>
                  <a:pt x="1979295" y="2417445"/>
                </a:lnTo>
                <a:lnTo>
                  <a:pt x="1979295" y="2554605"/>
                </a:lnTo>
                <a:lnTo>
                  <a:pt x="1260158" y="2554605"/>
                </a:lnTo>
                <a:cubicBezTo>
                  <a:pt x="1200150" y="2554605"/>
                  <a:pt x="1160145" y="2491740"/>
                  <a:pt x="1187768" y="2437448"/>
                </a:cubicBezTo>
                <a:cubicBezTo>
                  <a:pt x="1227773" y="2359342"/>
                  <a:pt x="1255395" y="2273617"/>
                  <a:pt x="1255395" y="2211705"/>
                </a:cubicBezTo>
                <a:cubicBezTo>
                  <a:pt x="1255395" y="2060257"/>
                  <a:pt x="1135380" y="1979295"/>
                  <a:pt x="988695" y="1979295"/>
                </a:cubicBezTo>
                <a:cubicBezTo>
                  <a:pt x="841058" y="1979295"/>
                  <a:pt x="721995" y="2061210"/>
                  <a:pt x="721995" y="2211705"/>
                </a:cubicBezTo>
                <a:cubicBezTo>
                  <a:pt x="721995" y="2273617"/>
                  <a:pt x="747713" y="2358390"/>
                  <a:pt x="785813" y="2437448"/>
                </a:cubicBezTo>
                <a:cubicBezTo>
                  <a:pt x="812483" y="2491740"/>
                  <a:pt x="773430" y="2554605"/>
                  <a:pt x="713423" y="2554605"/>
                </a:cubicBezTo>
                <a:lnTo>
                  <a:pt x="953" y="2554605"/>
                </a:lnTo>
                <a:lnTo>
                  <a:pt x="953" y="1841182"/>
                </a:lnTo>
                <a:cubicBezTo>
                  <a:pt x="953" y="1781175"/>
                  <a:pt x="63818" y="1743075"/>
                  <a:pt x="118110" y="1768792"/>
                </a:cubicBezTo>
                <a:cubicBezTo>
                  <a:pt x="197168" y="1806892"/>
                  <a:pt x="281940" y="1832610"/>
                  <a:pt x="343853" y="1832610"/>
                </a:cubicBezTo>
                <a:cubicBezTo>
                  <a:pt x="495300" y="1832610"/>
                  <a:pt x="576263" y="1712595"/>
                  <a:pt x="576263" y="1565910"/>
                </a:cubicBezTo>
                <a:cubicBezTo>
                  <a:pt x="576263" y="1419225"/>
                  <a:pt x="494347" y="1299210"/>
                  <a:pt x="342900" y="1299210"/>
                </a:cubicBezTo>
                <a:close/>
              </a:path>
            </a:pathLst>
          </a:custGeom>
          <a:solidFill>
            <a:srgbClr val="BFCADB"/>
          </a:solidFill>
          <a:ln w="5715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6C09C6D9-C009-4BD0-93DC-F8F64D9F3393}"/>
              </a:ext>
            </a:extLst>
          </p:cNvPr>
          <p:cNvSpPr txBox="1"/>
          <p:nvPr/>
        </p:nvSpPr>
        <p:spPr>
          <a:xfrm>
            <a:off x="4193445" y="1563289"/>
            <a:ext cx="405880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F298B4DE-DC13-4EB1-8A67-9CCBDEA92B5A}"/>
              </a:ext>
            </a:extLst>
          </p:cNvPr>
          <p:cNvSpPr txBox="1"/>
          <p:nvPr/>
        </p:nvSpPr>
        <p:spPr>
          <a:xfrm>
            <a:off x="6220970" y="1563289"/>
            <a:ext cx="405880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</a:t>
            </a: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A98C6A71-793F-43D2-B147-5A1E8E9AF7B9}"/>
              </a:ext>
            </a:extLst>
          </p:cNvPr>
          <p:cNvSpPr txBox="1"/>
          <p:nvPr/>
        </p:nvSpPr>
        <p:spPr>
          <a:xfrm>
            <a:off x="4193445" y="3628665"/>
            <a:ext cx="405880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</a:t>
            </a: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B4FDA612-7D8D-47AB-B91E-EA746FB29607}"/>
              </a:ext>
            </a:extLst>
          </p:cNvPr>
          <p:cNvSpPr txBox="1"/>
          <p:nvPr/>
        </p:nvSpPr>
        <p:spPr>
          <a:xfrm>
            <a:off x="6220970" y="3628665"/>
            <a:ext cx="405880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</a:t>
            </a: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773F970C-49A8-4050-8138-B4584BC8B1E0}"/>
              </a:ext>
            </a:extLst>
          </p:cNvPr>
          <p:cNvSpPr txBox="1"/>
          <p:nvPr/>
        </p:nvSpPr>
        <p:spPr>
          <a:xfrm>
            <a:off x="6220970" y="2717074"/>
            <a:ext cx="13310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título aqui</a:t>
            </a: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328F0283-E02F-4593-A444-41AB5CEF4CCE}"/>
              </a:ext>
            </a:extLst>
          </p:cNvPr>
          <p:cNvSpPr txBox="1"/>
          <p:nvPr/>
        </p:nvSpPr>
        <p:spPr>
          <a:xfrm>
            <a:off x="6728569" y="4768153"/>
            <a:ext cx="13310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título aqui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8E27B2D3-F12E-49B4-94EF-DD68853D7166}"/>
              </a:ext>
            </a:extLst>
          </p:cNvPr>
          <p:cNvSpPr txBox="1"/>
          <p:nvPr/>
        </p:nvSpPr>
        <p:spPr>
          <a:xfrm>
            <a:off x="4653589" y="3664162"/>
            <a:ext cx="13310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título aqui</a:t>
            </a: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8175C375-0752-449A-852A-C142E0B17708}"/>
              </a:ext>
            </a:extLst>
          </p:cNvPr>
          <p:cNvSpPr txBox="1"/>
          <p:nvPr/>
        </p:nvSpPr>
        <p:spPr>
          <a:xfrm>
            <a:off x="4193445" y="2163229"/>
            <a:ext cx="13310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título aqui</a:t>
            </a:r>
          </a:p>
        </p:txBody>
      </p: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691FB520-D85F-4E99-974A-C0859A371990}"/>
              </a:ext>
            </a:extLst>
          </p:cNvPr>
          <p:cNvSpPr txBox="1"/>
          <p:nvPr/>
        </p:nvSpPr>
        <p:spPr>
          <a:xfrm>
            <a:off x="8891451" y="1746032"/>
            <a:ext cx="28211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>
                <a:solidFill>
                  <a:srgbClr val="B1B1A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Título aqui</a:t>
            </a:r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CDC97137-CB54-4630-9B98-2DAD9B955703}"/>
              </a:ext>
            </a:extLst>
          </p:cNvPr>
          <p:cNvSpPr txBox="1"/>
          <p:nvPr/>
        </p:nvSpPr>
        <p:spPr>
          <a:xfrm>
            <a:off x="8891450" y="2128511"/>
            <a:ext cx="282112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" name="CaixaDeTexto 23">
            <a:extLst>
              <a:ext uri="{FF2B5EF4-FFF2-40B4-BE49-F238E27FC236}">
                <a16:creationId xmlns:a16="http://schemas.microsoft.com/office/drawing/2014/main" id="{DFBD2934-937C-43AA-9282-507C54677BA5}"/>
              </a:ext>
            </a:extLst>
          </p:cNvPr>
          <p:cNvSpPr txBox="1"/>
          <p:nvPr/>
        </p:nvSpPr>
        <p:spPr>
          <a:xfrm>
            <a:off x="8891451" y="3971939"/>
            <a:ext cx="28211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>
                <a:solidFill>
                  <a:srgbClr val="B1B1A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Título aqui</a:t>
            </a:r>
          </a:p>
        </p:txBody>
      </p:sp>
      <p:sp>
        <p:nvSpPr>
          <p:cNvPr id="25" name="CaixaDeTexto 24">
            <a:extLst>
              <a:ext uri="{FF2B5EF4-FFF2-40B4-BE49-F238E27FC236}">
                <a16:creationId xmlns:a16="http://schemas.microsoft.com/office/drawing/2014/main" id="{24223258-BBF5-41AC-B86A-9745CEC72C3C}"/>
              </a:ext>
            </a:extLst>
          </p:cNvPr>
          <p:cNvSpPr txBox="1"/>
          <p:nvPr/>
        </p:nvSpPr>
        <p:spPr>
          <a:xfrm>
            <a:off x="8891450" y="4354418"/>
            <a:ext cx="282112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" name="CaixaDeTexto 25">
            <a:extLst>
              <a:ext uri="{FF2B5EF4-FFF2-40B4-BE49-F238E27FC236}">
                <a16:creationId xmlns:a16="http://schemas.microsoft.com/office/drawing/2014/main" id="{BBE933DC-FB2C-4D71-BBC3-208DC3A3E204}"/>
              </a:ext>
            </a:extLst>
          </p:cNvPr>
          <p:cNvSpPr txBox="1"/>
          <p:nvPr/>
        </p:nvSpPr>
        <p:spPr>
          <a:xfrm>
            <a:off x="581837" y="1746032"/>
            <a:ext cx="28211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600" b="1" dirty="0">
                <a:solidFill>
                  <a:srgbClr val="B1B1A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Título aqui</a:t>
            </a:r>
          </a:p>
        </p:txBody>
      </p:sp>
      <p:sp>
        <p:nvSpPr>
          <p:cNvPr id="27" name="CaixaDeTexto 26">
            <a:extLst>
              <a:ext uri="{FF2B5EF4-FFF2-40B4-BE49-F238E27FC236}">
                <a16:creationId xmlns:a16="http://schemas.microsoft.com/office/drawing/2014/main" id="{D5B9628D-4C2A-4C65-88F3-A9D8E83D0DB6}"/>
              </a:ext>
            </a:extLst>
          </p:cNvPr>
          <p:cNvSpPr txBox="1"/>
          <p:nvPr/>
        </p:nvSpPr>
        <p:spPr>
          <a:xfrm>
            <a:off x="581836" y="2128511"/>
            <a:ext cx="282112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BE0A0FEB-9978-45CD-A182-FFF1E8CD389F}"/>
              </a:ext>
            </a:extLst>
          </p:cNvPr>
          <p:cNvSpPr txBox="1"/>
          <p:nvPr/>
        </p:nvSpPr>
        <p:spPr>
          <a:xfrm>
            <a:off x="581837" y="3971939"/>
            <a:ext cx="28211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600" b="1" dirty="0">
                <a:solidFill>
                  <a:srgbClr val="B1B1A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Título aqui</a:t>
            </a:r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7A3288F1-FD06-4696-84A0-99A22306EEB9}"/>
              </a:ext>
            </a:extLst>
          </p:cNvPr>
          <p:cNvSpPr txBox="1"/>
          <p:nvPr/>
        </p:nvSpPr>
        <p:spPr>
          <a:xfrm>
            <a:off x="581836" y="4354418"/>
            <a:ext cx="282112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7266985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F048784B-1B6D-4577-806A-1D539ADF3F8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Inserir aqui o título do slid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D418DAA9-DFAE-4611-B4A9-95734EF7E6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erir aqui o subtítulo do slide</a:t>
            </a:r>
          </a:p>
          <a:p>
            <a:endParaRPr lang="pt-BR" dirty="0"/>
          </a:p>
        </p:txBody>
      </p:sp>
      <p:sp>
        <p:nvSpPr>
          <p:cNvPr id="20" name="Retângulo 19">
            <a:extLst>
              <a:ext uri="{FF2B5EF4-FFF2-40B4-BE49-F238E27FC236}">
                <a16:creationId xmlns:a16="http://schemas.microsoft.com/office/drawing/2014/main" id="{A72E0734-FC88-47A9-A190-CB38E4529D98}"/>
              </a:ext>
            </a:extLst>
          </p:cNvPr>
          <p:cNvSpPr/>
          <p:nvPr/>
        </p:nvSpPr>
        <p:spPr>
          <a:xfrm>
            <a:off x="587375" y="4646835"/>
            <a:ext cx="11109325" cy="1166949"/>
          </a:xfrm>
          <a:prstGeom prst="rect">
            <a:avLst/>
          </a:prstGeom>
          <a:solidFill>
            <a:srgbClr val="BFCA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>
                <a:solidFill>
                  <a:srgbClr val="11385A"/>
                </a:solidFill>
              </a:rPr>
              <a:t>Inserir texto aqui</a:t>
            </a:r>
            <a:endParaRPr lang="pt-BR" dirty="0">
              <a:solidFill>
                <a:srgbClr val="11385A"/>
              </a:solidFill>
            </a:endParaRPr>
          </a:p>
        </p:txBody>
      </p:sp>
      <p:sp>
        <p:nvSpPr>
          <p:cNvPr id="6" name="Triângulo isósceles 5">
            <a:extLst>
              <a:ext uri="{FF2B5EF4-FFF2-40B4-BE49-F238E27FC236}">
                <a16:creationId xmlns:a16="http://schemas.microsoft.com/office/drawing/2014/main" id="{DB278AFA-FADB-4F5E-9E4E-BEB47E5D1EC6}"/>
              </a:ext>
            </a:extLst>
          </p:cNvPr>
          <p:cNvSpPr/>
          <p:nvPr/>
        </p:nvSpPr>
        <p:spPr>
          <a:xfrm>
            <a:off x="1736850" y="4370540"/>
            <a:ext cx="322217" cy="277773"/>
          </a:xfrm>
          <a:prstGeom prst="triangle">
            <a:avLst/>
          </a:prstGeom>
          <a:solidFill>
            <a:srgbClr val="2631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5" name="Seta: para a Direita 4">
            <a:extLst>
              <a:ext uri="{FF2B5EF4-FFF2-40B4-BE49-F238E27FC236}">
                <a16:creationId xmlns:a16="http://schemas.microsoft.com/office/drawing/2014/main" id="{888BA5DC-63F4-4E3E-8CB6-86159801973C}"/>
              </a:ext>
            </a:extLst>
          </p:cNvPr>
          <p:cNvSpPr/>
          <p:nvPr/>
        </p:nvSpPr>
        <p:spPr>
          <a:xfrm rot="5400000">
            <a:off x="608181" y="4803589"/>
            <a:ext cx="1722983" cy="853440"/>
          </a:xfrm>
          <a:prstGeom prst="rightArrow">
            <a:avLst>
              <a:gd name="adj1" fmla="val 100000"/>
              <a:gd name="adj2" fmla="val 50000"/>
            </a:avLst>
          </a:prstGeom>
          <a:solidFill>
            <a:srgbClr val="4B6185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pt-BR" sz="4000" b="1" dirty="0">
                <a:latin typeface="Segoe UI" panose="020B0502040204020203" pitchFamily="34" charset="0"/>
                <a:cs typeface="Segoe UI" panose="020B0502040204020203" pitchFamily="34" charset="0"/>
              </a:rPr>
              <a:t>3</a:t>
            </a:r>
          </a:p>
        </p:txBody>
      </p:sp>
      <p:sp>
        <p:nvSpPr>
          <p:cNvPr id="38" name="Retângulo 37">
            <a:extLst>
              <a:ext uri="{FF2B5EF4-FFF2-40B4-BE49-F238E27FC236}">
                <a16:creationId xmlns:a16="http://schemas.microsoft.com/office/drawing/2014/main" id="{44A1346C-ECB4-4E9C-9C0A-960EE93314FB}"/>
              </a:ext>
            </a:extLst>
          </p:cNvPr>
          <p:cNvSpPr/>
          <p:nvPr/>
        </p:nvSpPr>
        <p:spPr>
          <a:xfrm>
            <a:off x="587375" y="3042767"/>
            <a:ext cx="11109325" cy="1166949"/>
          </a:xfrm>
          <a:prstGeom prst="rect">
            <a:avLst/>
          </a:prstGeom>
          <a:solidFill>
            <a:srgbClr val="BFCA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>
                <a:solidFill>
                  <a:srgbClr val="11385A"/>
                </a:solidFill>
              </a:rPr>
              <a:t>Inserir texto aqui</a:t>
            </a:r>
            <a:endParaRPr lang="pt-BR" dirty="0">
              <a:solidFill>
                <a:srgbClr val="11385A"/>
              </a:solidFill>
            </a:endParaRPr>
          </a:p>
        </p:txBody>
      </p:sp>
      <p:sp>
        <p:nvSpPr>
          <p:cNvPr id="40" name="Triângulo isósceles 39">
            <a:extLst>
              <a:ext uri="{FF2B5EF4-FFF2-40B4-BE49-F238E27FC236}">
                <a16:creationId xmlns:a16="http://schemas.microsoft.com/office/drawing/2014/main" id="{3FFFE624-1420-4430-8631-B8DDAE6E0DF5}"/>
              </a:ext>
            </a:extLst>
          </p:cNvPr>
          <p:cNvSpPr/>
          <p:nvPr/>
        </p:nvSpPr>
        <p:spPr>
          <a:xfrm>
            <a:off x="1736850" y="2766472"/>
            <a:ext cx="322217" cy="277773"/>
          </a:xfrm>
          <a:prstGeom prst="triangle">
            <a:avLst/>
          </a:prstGeom>
          <a:solidFill>
            <a:srgbClr val="2631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41" name="Seta: para a Direita 40">
            <a:extLst>
              <a:ext uri="{FF2B5EF4-FFF2-40B4-BE49-F238E27FC236}">
                <a16:creationId xmlns:a16="http://schemas.microsoft.com/office/drawing/2014/main" id="{2C89FC56-16DD-4FC4-8628-2AE455E25E73}"/>
              </a:ext>
            </a:extLst>
          </p:cNvPr>
          <p:cNvSpPr/>
          <p:nvPr/>
        </p:nvSpPr>
        <p:spPr>
          <a:xfrm rot="5400000">
            <a:off x="608181" y="3199521"/>
            <a:ext cx="1722983" cy="853440"/>
          </a:xfrm>
          <a:prstGeom prst="rightArrow">
            <a:avLst>
              <a:gd name="adj1" fmla="val 100000"/>
              <a:gd name="adj2" fmla="val 50000"/>
            </a:avLst>
          </a:prstGeom>
          <a:solidFill>
            <a:srgbClr val="4B6185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pt-BR" sz="4000" b="1" dirty="0">
                <a:latin typeface="Segoe UI" panose="020B0502040204020203" pitchFamily="34" charset="0"/>
                <a:cs typeface="Segoe UI" panose="020B0502040204020203" pitchFamily="34" charset="0"/>
              </a:rPr>
              <a:t>2</a:t>
            </a:r>
          </a:p>
        </p:txBody>
      </p:sp>
      <p:sp>
        <p:nvSpPr>
          <p:cNvPr id="42" name="Retângulo 41">
            <a:extLst>
              <a:ext uri="{FF2B5EF4-FFF2-40B4-BE49-F238E27FC236}">
                <a16:creationId xmlns:a16="http://schemas.microsoft.com/office/drawing/2014/main" id="{9F061608-EE72-421B-A3FE-551A89298585}"/>
              </a:ext>
            </a:extLst>
          </p:cNvPr>
          <p:cNvSpPr/>
          <p:nvPr/>
        </p:nvSpPr>
        <p:spPr>
          <a:xfrm>
            <a:off x="587375" y="1438700"/>
            <a:ext cx="11109325" cy="1166949"/>
          </a:xfrm>
          <a:prstGeom prst="rect">
            <a:avLst/>
          </a:prstGeom>
          <a:solidFill>
            <a:srgbClr val="BFCA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>
                <a:solidFill>
                  <a:srgbClr val="11385A"/>
                </a:solidFill>
              </a:rPr>
              <a:t>Inserir texto aqui</a:t>
            </a:r>
          </a:p>
        </p:txBody>
      </p:sp>
      <p:grpSp>
        <p:nvGrpSpPr>
          <p:cNvPr id="43" name="Agrupar 42">
            <a:extLst>
              <a:ext uri="{FF2B5EF4-FFF2-40B4-BE49-F238E27FC236}">
                <a16:creationId xmlns:a16="http://schemas.microsoft.com/office/drawing/2014/main" id="{685AB7F9-BE67-4A87-BAD2-434BFAA9CA2C}"/>
              </a:ext>
            </a:extLst>
          </p:cNvPr>
          <p:cNvGrpSpPr/>
          <p:nvPr/>
        </p:nvGrpSpPr>
        <p:grpSpPr>
          <a:xfrm>
            <a:off x="1042953" y="1160682"/>
            <a:ext cx="1016114" cy="1722983"/>
            <a:chOff x="598816" y="1219857"/>
            <a:chExt cx="1016114" cy="1722983"/>
          </a:xfrm>
          <a:solidFill>
            <a:srgbClr val="4B6185"/>
          </a:solidFill>
        </p:grpSpPr>
        <p:sp>
          <p:nvSpPr>
            <p:cNvPr id="44" name="Triângulo isósceles 43">
              <a:extLst>
                <a:ext uri="{FF2B5EF4-FFF2-40B4-BE49-F238E27FC236}">
                  <a16:creationId xmlns:a16="http://schemas.microsoft.com/office/drawing/2014/main" id="{ECA78EEB-3A61-47C3-AD8C-55BC106B1DDB}"/>
                </a:ext>
              </a:extLst>
            </p:cNvPr>
            <p:cNvSpPr/>
            <p:nvPr/>
          </p:nvSpPr>
          <p:spPr>
            <a:xfrm>
              <a:off x="1292713" y="1221580"/>
              <a:ext cx="322217" cy="277773"/>
            </a:xfrm>
            <a:prstGeom prst="triangle">
              <a:avLst/>
            </a:prstGeom>
            <a:solidFill>
              <a:srgbClr val="2631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5" name="Seta: para a Direita 44">
              <a:extLst>
                <a:ext uri="{FF2B5EF4-FFF2-40B4-BE49-F238E27FC236}">
                  <a16:creationId xmlns:a16="http://schemas.microsoft.com/office/drawing/2014/main" id="{C2EFC1B8-7409-4A0E-80A6-661FD671A6C0}"/>
                </a:ext>
              </a:extLst>
            </p:cNvPr>
            <p:cNvSpPr/>
            <p:nvPr/>
          </p:nvSpPr>
          <p:spPr>
            <a:xfrm rot="5400000">
              <a:off x="164044" y="1654629"/>
              <a:ext cx="1722983" cy="853440"/>
            </a:xfrm>
            <a:prstGeom prst="rightArrow">
              <a:avLst>
                <a:gd name="adj1" fmla="val 100000"/>
                <a:gd name="adj2" fmla="val 50000"/>
              </a:avLst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r>
                <a:rPr lang="pt-BR" sz="40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48509036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Agrupar 35">
            <a:extLst>
              <a:ext uri="{FF2B5EF4-FFF2-40B4-BE49-F238E27FC236}">
                <a16:creationId xmlns:a16="http://schemas.microsoft.com/office/drawing/2014/main" id="{4550D5EF-0384-4D2A-BAED-09B173B2690E}"/>
              </a:ext>
            </a:extLst>
          </p:cNvPr>
          <p:cNvGrpSpPr/>
          <p:nvPr/>
        </p:nvGrpSpPr>
        <p:grpSpPr>
          <a:xfrm>
            <a:off x="587375" y="5143699"/>
            <a:ext cx="11109325" cy="1025167"/>
            <a:chOff x="587375" y="944562"/>
            <a:chExt cx="11109325" cy="1025167"/>
          </a:xfrm>
        </p:grpSpPr>
        <p:sp>
          <p:nvSpPr>
            <p:cNvPr id="37" name="Retângulo 36">
              <a:extLst>
                <a:ext uri="{FF2B5EF4-FFF2-40B4-BE49-F238E27FC236}">
                  <a16:creationId xmlns:a16="http://schemas.microsoft.com/office/drawing/2014/main" id="{BD21E3DE-EF7D-4D64-AE30-BF4F087911A4}"/>
                </a:ext>
              </a:extLst>
            </p:cNvPr>
            <p:cNvSpPr/>
            <p:nvPr/>
          </p:nvSpPr>
          <p:spPr>
            <a:xfrm>
              <a:off x="587375" y="1222580"/>
              <a:ext cx="11109325" cy="485894"/>
            </a:xfrm>
            <a:prstGeom prst="rect">
              <a:avLst/>
            </a:prstGeom>
            <a:solidFill>
              <a:srgbClr val="BFCAD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62000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pt-BR" dirty="0">
                  <a:solidFill>
                    <a:srgbClr val="11385A"/>
                  </a:solidFill>
                </a:rPr>
                <a:t>Inserir texto aqui</a:t>
              </a:r>
            </a:p>
          </p:txBody>
        </p:sp>
        <p:sp>
          <p:nvSpPr>
            <p:cNvPr id="39" name="Triângulo isósceles 38">
              <a:extLst>
                <a:ext uri="{FF2B5EF4-FFF2-40B4-BE49-F238E27FC236}">
                  <a16:creationId xmlns:a16="http://schemas.microsoft.com/office/drawing/2014/main" id="{DE390852-4AAC-4CC2-B3E6-8C27C2EEFE07}"/>
                </a:ext>
              </a:extLst>
            </p:cNvPr>
            <p:cNvSpPr/>
            <p:nvPr/>
          </p:nvSpPr>
          <p:spPr>
            <a:xfrm>
              <a:off x="1736850" y="946284"/>
              <a:ext cx="322217" cy="277773"/>
            </a:xfrm>
            <a:prstGeom prst="triangle">
              <a:avLst/>
            </a:prstGeom>
            <a:solidFill>
              <a:srgbClr val="2631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6" name="Seta: para a Direita 45">
              <a:extLst>
                <a:ext uri="{FF2B5EF4-FFF2-40B4-BE49-F238E27FC236}">
                  <a16:creationId xmlns:a16="http://schemas.microsoft.com/office/drawing/2014/main" id="{96AC65BE-D007-4E6A-A75E-24EB4FED7D6C}"/>
                </a:ext>
              </a:extLst>
            </p:cNvPr>
            <p:cNvSpPr/>
            <p:nvPr/>
          </p:nvSpPr>
          <p:spPr>
            <a:xfrm rot="5400000">
              <a:off x="957089" y="1030426"/>
              <a:ext cx="1025167" cy="853440"/>
            </a:xfrm>
            <a:prstGeom prst="rightArrow">
              <a:avLst>
                <a:gd name="adj1" fmla="val 100000"/>
                <a:gd name="adj2" fmla="val 50000"/>
              </a:avLst>
            </a:prstGeom>
            <a:solidFill>
              <a:srgbClr val="4B6185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360000" tIns="46800" rtlCol="0" anchor="ctr"/>
            <a:lstStyle/>
            <a:p>
              <a:pPr algn="ctr"/>
              <a:r>
                <a:rPr lang="pt-BR" sz="40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6</a:t>
              </a:r>
            </a:p>
          </p:txBody>
        </p:sp>
      </p:grpSp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F048784B-1B6D-4577-806A-1D539ADF3F8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Inserir aqui o título do slid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D418DAA9-DFAE-4611-B4A9-95734EF7E6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erir aqui o subtítulo do slide</a:t>
            </a:r>
          </a:p>
          <a:p>
            <a:endParaRPr lang="pt-BR" dirty="0"/>
          </a:p>
        </p:txBody>
      </p:sp>
      <p:grpSp>
        <p:nvGrpSpPr>
          <p:cNvPr id="32" name="Agrupar 31">
            <a:extLst>
              <a:ext uri="{FF2B5EF4-FFF2-40B4-BE49-F238E27FC236}">
                <a16:creationId xmlns:a16="http://schemas.microsoft.com/office/drawing/2014/main" id="{5212B91B-8DA2-41A1-A3F5-066B34D2C86F}"/>
              </a:ext>
            </a:extLst>
          </p:cNvPr>
          <p:cNvGrpSpPr/>
          <p:nvPr/>
        </p:nvGrpSpPr>
        <p:grpSpPr>
          <a:xfrm>
            <a:off x="587375" y="4303870"/>
            <a:ext cx="11109325" cy="1025167"/>
            <a:chOff x="587375" y="944562"/>
            <a:chExt cx="11109325" cy="1025167"/>
          </a:xfrm>
        </p:grpSpPr>
        <p:sp>
          <p:nvSpPr>
            <p:cNvPr id="33" name="Retângulo 32">
              <a:extLst>
                <a:ext uri="{FF2B5EF4-FFF2-40B4-BE49-F238E27FC236}">
                  <a16:creationId xmlns:a16="http://schemas.microsoft.com/office/drawing/2014/main" id="{570C94B3-061D-46C4-BF83-E5FB1EA0F8DC}"/>
                </a:ext>
              </a:extLst>
            </p:cNvPr>
            <p:cNvSpPr/>
            <p:nvPr/>
          </p:nvSpPr>
          <p:spPr>
            <a:xfrm>
              <a:off x="587375" y="1222580"/>
              <a:ext cx="11109325" cy="485894"/>
            </a:xfrm>
            <a:prstGeom prst="rect">
              <a:avLst/>
            </a:prstGeom>
            <a:solidFill>
              <a:srgbClr val="BFCAD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62000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pt-BR" dirty="0">
                  <a:solidFill>
                    <a:srgbClr val="11385A"/>
                  </a:solidFill>
                </a:rPr>
                <a:t>Inserir texto aqui</a:t>
              </a:r>
            </a:p>
          </p:txBody>
        </p:sp>
        <p:sp>
          <p:nvSpPr>
            <p:cNvPr id="34" name="Triângulo isósceles 33">
              <a:extLst>
                <a:ext uri="{FF2B5EF4-FFF2-40B4-BE49-F238E27FC236}">
                  <a16:creationId xmlns:a16="http://schemas.microsoft.com/office/drawing/2014/main" id="{3DFF5457-3403-4B50-B9C8-168E45BE312D}"/>
                </a:ext>
              </a:extLst>
            </p:cNvPr>
            <p:cNvSpPr/>
            <p:nvPr/>
          </p:nvSpPr>
          <p:spPr>
            <a:xfrm>
              <a:off x="1736850" y="946284"/>
              <a:ext cx="322217" cy="277773"/>
            </a:xfrm>
            <a:prstGeom prst="triangle">
              <a:avLst/>
            </a:prstGeom>
            <a:solidFill>
              <a:srgbClr val="2631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5" name="Seta: para a Direita 34">
              <a:extLst>
                <a:ext uri="{FF2B5EF4-FFF2-40B4-BE49-F238E27FC236}">
                  <a16:creationId xmlns:a16="http://schemas.microsoft.com/office/drawing/2014/main" id="{A7CCDDD4-C504-4818-9615-C26B612D210A}"/>
                </a:ext>
              </a:extLst>
            </p:cNvPr>
            <p:cNvSpPr/>
            <p:nvPr/>
          </p:nvSpPr>
          <p:spPr>
            <a:xfrm rot="5400000">
              <a:off x="957089" y="1030426"/>
              <a:ext cx="1025167" cy="853440"/>
            </a:xfrm>
            <a:prstGeom prst="rightArrow">
              <a:avLst>
                <a:gd name="adj1" fmla="val 100000"/>
                <a:gd name="adj2" fmla="val 50000"/>
              </a:avLst>
            </a:prstGeom>
            <a:solidFill>
              <a:srgbClr val="4B6185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360000" tIns="46800" rtlCol="0" anchor="ctr"/>
            <a:lstStyle/>
            <a:p>
              <a:pPr algn="ctr"/>
              <a:r>
                <a:rPr lang="pt-BR" sz="40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5</a:t>
              </a:r>
            </a:p>
          </p:txBody>
        </p:sp>
      </p:grpSp>
      <p:grpSp>
        <p:nvGrpSpPr>
          <p:cNvPr id="28" name="Agrupar 27">
            <a:extLst>
              <a:ext uri="{FF2B5EF4-FFF2-40B4-BE49-F238E27FC236}">
                <a16:creationId xmlns:a16="http://schemas.microsoft.com/office/drawing/2014/main" id="{57E7AEE1-ACBB-43DC-961A-BA56C5F6D46C}"/>
              </a:ext>
            </a:extLst>
          </p:cNvPr>
          <p:cNvGrpSpPr/>
          <p:nvPr/>
        </p:nvGrpSpPr>
        <p:grpSpPr>
          <a:xfrm>
            <a:off x="587375" y="3464043"/>
            <a:ext cx="11109325" cy="1025167"/>
            <a:chOff x="587375" y="944562"/>
            <a:chExt cx="11109325" cy="1025167"/>
          </a:xfrm>
        </p:grpSpPr>
        <p:sp>
          <p:nvSpPr>
            <p:cNvPr id="29" name="Retângulo 28">
              <a:extLst>
                <a:ext uri="{FF2B5EF4-FFF2-40B4-BE49-F238E27FC236}">
                  <a16:creationId xmlns:a16="http://schemas.microsoft.com/office/drawing/2014/main" id="{6C173448-23F9-4527-9E7D-0BE4FF755805}"/>
                </a:ext>
              </a:extLst>
            </p:cNvPr>
            <p:cNvSpPr/>
            <p:nvPr/>
          </p:nvSpPr>
          <p:spPr>
            <a:xfrm>
              <a:off x="587375" y="1222580"/>
              <a:ext cx="11109325" cy="485894"/>
            </a:xfrm>
            <a:prstGeom prst="rect">
              <a:avLst/>
            </a:prstGeom>
            <a:solidFill>
              <a:srgbClr val="BFCAD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62000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pt-BR" dirty="0">
                  <a:solidFill>
                    <a:srgbClr val="11385A"/>
                  </a:solidFill>
                </a:rPr>
                <a:t>Inserir texto aqui</a:t>
              </a:r>
            </a:p>
          </p:txBody>
        </p:sp>
        <p:sp>
          <p:nvSpPr>
            <p:cNvPr id="30" name="Triângulo isósceles 29">
              <a:extLst>
                <a:ext uri="{FF2B5EF4-FFF2-40B4-BE49-F238E27FC236}">
                  <a16:creationId xmlns:a16="http://schemas.microsoft.com/office/drawing/2014/main" id="{4A0126D4-AD3D-436C-BC36-FA13A296177E}"/>
                </a:ext>
              </a:extLst>
            </p:cNvPr>
            <p:cNvSpPr/>
            <p:nvPr/>
          </p:nvSpPr>
          <p:spPr>
            <a:xfrm>
              <a:off x="1736850" y="946284"/>
              <a:ext cx="322217" cy="277773"/>
            </a:xfrm>
            <a:prstGeom prst="triangle">
              <a:avLst/>
            </a:prstGeom>
            <a:solidFill>
              <a:srgbClr val="2631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1" name="Seta: para a Direita 30">
              <a:extLst>
                <a:ext uri="{FF2B5EF4-FFF2-40B4-BE49-F238E27FC236}">
                  <a16:creationId xmlns:a16="http://schemas.microsoft.com/office/drawing/2014/main" id="{001B8A3F-FFE4-4431-8F15-F537C14C7CB0}"/>
                </a:ext>
              </a:extLst>
            </p:cNvPr>
            <p:cNvSpPr/>
            <p:nvPr/>
          </p:nvSpPr>
          <p:spPr>
            <a:xfrm rot="5400000">
              <a:off x="957089" y="1030426"/>
              <a:ext cx="1025167" cy="853440"/>
            </a:xfrm>
            <a:prstGeom prst="rightArrow">
              <a:avLst>
                <a:gd name="adj1" fmla="val 100000"/>
                <a:gd name="adj2" fmla="val 50000"/>
              </a:avLst>
            </a:prstGeom>
            <a:solidFill>
              <a:srgbClr val="4B6185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360000" tIns="46800" rtlCol="0" anchor="ctr"/>
            <a:lstStyle/>
            <a:p>
              <a:pPr algn="ctr"/>
              <a:r>
                <a:rPr lang="pt-BR" sz="40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4</a:t>
              </a:r>
            </a:p>
          </p:txBody>
        </p:sp>
      </p:grpSp>
      <p:grpSp>
        <p:nvGrpSpPr>
          <p:cNvPr id="24" name="Agrupar 23">
            <a:extLst>
              <a:ext uri="{FF2B5EF4-FFF2-40B4-BE49-F238E27FC236}">
                <a16:creationId xmlns:a16="http://schemas.microsoft.com/office/drawing/2014/main" id="{D56FD69A-3E38-40EB-979B-797485A41808}"/>
              </a:ext>
            </a:extLst>
          </p:cNvPr>
          <p:cNvGrpSpPr/>
          <p:nvPr/>
        </p:nvGrpSpPr>
        <p:grpSpPr>
          <a:xfrm>
            <a:off x="587375" y="2624216"/>
            <a:ext cx="11109325" cy="1025167"/>
            <a:chOff x="587375" y="944562"/>
            <a:chExt cx="11109325" cy="1025167"/>
          </a:xfrm>
        </p:grpSpPr>
        <p:sp>
          <p:nvSpPr>
            <p:cNvPr id="25" name="Retângulo 24">
              <a:extLst>
                <a:ext uri="{FF2B5EF4-FFF2-40B4-BE49-F238E27FC236}">
                  <a16:creationId xmlns:a16="http://schemas.microsoft.com/office/drawing/2014/main" id="{A26796C3-F80E-442E-B87B-3200D4ED6C8C}"/>
                </a:ext>
              </a:extLst>
            </p:cNvPr>
            <p:cNvSpPr/>
            <p:nvPr/>
          </p:nvSpPr>
          <p:spPr>
            <a:xfrm>
              <a:off x="587375" y="1222580"/>
              <a:ext cx="11109325" cy="485894"/>
            </a:xfrm>
            <a:prstGeom prst="rect">
              <a:avLst/>
            </a:prstGeom>
            <a:solidFill>
              <a:srgbClr val="BFCAD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62000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pt-BR" dirty="0">
                  <a:solidFill>
                    <a:srgbClr val="11385A"/>
                  </a:solidFill>
                </a:rPr>
                <a:t>Inserir texto aqui</a:t>
              </a:r>
            </a:p>
          </p:txBody>
        </p:sp>
        <p:sp>
          <p:nvSpPr>
            <p:cNvPr id="26" name="Triângulo isósceles 25">
              <a:extLst>
                <a:ext uri="{FF2B5EF4-FFF2-40B4-BE49-F238E27FC236}">
                  <a16:creationId xmlns:a16="http://schemas.microsoft.com/office/drawing/2014/main" id="{F14734BA-5307-4B01-BFD5-2B3001F871C4}"/>
                </a:ext>
              </a:extLst>
            </p:cNvPr>
            <p:cNvSpPr/>
            <p:nvPr/>
          </p:nvSpPr>
          <p:spPr>
            <a:xfrm>
              <a:off x="1736850" y="946284"/>
              <a:ext cx="322217" cy="277773"/>
            </a:xfrm>
            <a:prstGeom prst="triangle">
              <a:avLst/>
            </a:prstGeom>
            <a:solidFill>
              <a:srgbClr val="2631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7" name="Seta: para a Direita 26">
              <a:extLst>
                <a:ext uri="{FF2B5EF4-FFF2-40B4-BE49-F238E27FC236}">
                  <a16:creationId xmlns:a16="http://schemas.microsoft.com/office/drawing/2014/main" id="{E66D777A-0794-4897-962D-5AAE5454AC96}"/>
                </a:ext>
              </a:extLst>
            </p:cNvPr>
            <p:cNvSpPr/>
            <p:nvPr/>
          </p:nvSpPr>
          <p:spPr>
            <a:xfrm rot="5400000">
              <a:off x="957089" y="1030426"/>
              <a:ext cx="1025167" cy="853440"/>
            </a:xfrm>
            <a:prstGeom prst="rightArrow">
              <a:avLst>
                <a:gd name="adj1" fmla="val 100000"/>
                <a:gd name="adj2" fmla="val 50000"/>
              </a:avLst>
            </a:prstGeom>
            <a:solidFill>
              <a:srgbClr val="4B6185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360000" tIns="46800" rtlCol="0" anchor="ctr"/>
            <a:lstStyle/>
            <a:p>
              <a:pPr algn="ctr"/>
              <a:r>
                <a:rPr lang="pt-BR" sz="40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3</a:t>
              </a:r>
            </a:p>
          </p:txBody>
        </p:sp>
      </p:grpSp>
      <p:grpSp>
        <p:nvGrpSpPr>
          <p:cNvPr id="19" name="Agrupar 18">
            <a:extLst>
              <a:ext uri="{FF2B5EF4-FFF2-40B4-BE49-F238E27FC236}">
                <a16:creationId xmlns:a16="http://schemas.microsoft.com/office/drawing/2014/main" id="{6B08C433-C375-403A-9988-258333C1A971}"/>
              </a:ext>
            </a:extLst>
          </p:cNvPr>
          <p:cNvGrpSpPr/>
          <p:nvPr/>
        </p:nvGrpSpPr>
        <p:grpSpPr>
          <a:xfrm>
            <a:off x="587375" y="1784389"/>
            <a:ext cx="11109325" cy="1025167"/>
            <a:chOff x="587375" y="944562"/>
            <a:chExt cx="11109325" cy="1025167"/>
          </a:xfrm>
        </p:grpSpPr>
        <p:sp>
          <p:nvSpPr>
            <p:cNvPr id="21" name="Retângulo 20">
              <a:extLst>
                <a:ext uri="{FF2B5EF4-FFF2-40B4-BE49-F238E27FC236}">
                  <a16:creationId xmlns:a16="http://schemas.microsoft.com/office/drawing/2014/main" id="{5EC8DB2A-F026-4963-B6A2-5456D0C8EFD7}"/>
                </a:ext>
              </a:extLst>
            </p:cNvPr>
            <p:cNvSpPr/>
            <p:nvPr/>
          </p:nvSpPr>
          <p:spPr>
            <a:xfrm>
              <a:off x="587375" y="1222580"/>
              <a:ext cx="11109325" cy="485894"/>
            </a:xfrm>
            <a:prstGeom prst="rect">
              <a:avLst/>
            </a:prstGeom>
            <a:solidFill>
              <a:srgbClr val="BFCAD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62000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pt-BR" dirty="0">
                  <a:solidFill>
                    <a:srgbClr val="11385A"/>
                  </a:solidFill>
                </a:rPr>
                <a:t>Inserir texto aqui</a:t>
              </a:r>
            </a:p>
          </p:txBody>
        </p:sp>
        <p:sp>
          <p:nvSpPr>
            <p:cNvPr id="22" name="Triângulo isósceles 21">
              <a:extLst>
                <a:ext uri="{FF2B5EF4-FFF2-40B4-BE49-F238E27FC236}">
                  <a16:creationId xmlns:a16="http://schemas.microsoft.com/office/drawing/2014/main" id="{57597A15-5387-4F99-84C8-DEAF50140E67}"/>
                </a:ext>
              </a:extLst>
            </p:cNvPr>
            <p:cNvSpPr/>
            <p:nvPr/>
          </p:nvSpPr>
          <p:spPr>
            <a:xfrm>
              <a:off x="1736850" y="946284"/>
              <a:ext cx="322217" cy="277773"/>
            </a:xfrm>
            <a:prstGeom prst="triangle">
              <a:avLst/>
            </a:prstGeom>
            <a:solidFill>
              <a:srgbClr val="2631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3" name="Seta: para a Direita 22">
              <a:extLst>
                <a:ext uri="{FF2B5EF4-FFF2-40B4-BE49-F238E27FC236}">
                  <a16:creationId xmlns:a16="http://schemas.microsoft.com/office/drawing/2014/main" id="{7C070843-3742-42BF-A3EB-E78C89840C1F}"/>
                </a:ext>
              </a:extLst>
            </p:cNvPr>
            <p:cNvSpPr/>
            <p:nvPr/>
          </p:nvSpPr>
          <p:spPr>
            <a:xfrm rot="5400000">
              <a:off x="957089" y="1030426"/>
              <a:ext cx="1025167" cy="853440"/>
            </a:xfrm>
            <a:prstGeom prst="rightArrow">
              <a:avLst>
                <a:gd name="adj1" fmla="val 100000"/>
                <a:gd name="adj2" fmla="val 50000"/>
              </a:avLst>
            </a:prstGeom>
            <a:solidFill>
              <a:srgbClr val="4B6185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360000" tIns="46800" rtlCol="0" anchor="ctr"/>
            <a:lstStyle/>
            <a:p>
              <a:pPr algn="ctr"/>
              <a:r>
                <a:rPr lang="pt-BR" sz="40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2</a:t>
              </a:r>
            </a:p>
          </p:txBody>
        </p:sp>
      </p:grpSp>
      <p:grpSp>
        <p:nvGrpSpPr>
          <p:cNvPr id="7" name="Agrupar 6">
            <a:extLst>
              <a:ext uri="{FF2B5EF4-FFF2-40B4-BE49-F238E27FC236}">
                <a16:creationId xmlns:a16="http://schemas.microsoft.com/office/drawing/2014/main" id="{A339ED3A-4995-4844-902B-336D4297B4DC}"/>
              </a:ext>
            </a:extLst>
          </p:cNvPr>
          <p:cNvGrpSpPr/>
          <p:nvPr/>
        </p:nvGrpSpPr>
        <p:grpSpPr>
          <a:xfrm>
            <a:off x="587375" y="944562"/>
            <a:ext cx="11109325" cy="1025167"/>
            <a:chOff x="587375" y="944562"/>
            <a:chExt cx="11109325" cy="1025167"/>
          </a:xfrm>
        </p:grpSpPr>
        <p:sp>
          <p:nvSpPr>
            <p:cNvPr id="44" name="Triângulo isósceles 43">
              <a:extLst>
                <a:ext uri="{FF2B5EF4-FFF2-40B4-BE49-F238E27FC236}">
                  <a16:creationId xmlns:a16="http://schemas.microsoft.com/office/drawing/2014/main" id="{ECA78EEB-3A61-47C3-AD8C-55BC106B1DDB}"/>
                </a:ext>
              </a:extLst>
            </p:cNvPr>
            <p:cNvSpPr/>
            <p:nvPr/>
          </p:nvSpPr>
          <p:spPr>
            <a:xfrm>
              <a:off x="1736850" y="946284"/>
              <a:ext cx="322217" cy="277773"/>
            </a:xfrm>
            <a:prstGeom prst="triangle">
              <a:avLst/>
            </a:prstGeom>
            <a:solidFill>
              <a:srgbClr val="2631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2" name="Retângulo 41">
              <a:extLst>
                <a:ext uri="{FF2B5EF4-FFF2-40B4-BE49-F238E27FC236}">
                  <a16:creationId xmlns:a16="http://schemas.microsoft.com/office/drawing/2014/main" id="{9F061608-EE72-421B-A3FE-551A89298585}"/>
                </a:ext>
              </a:extLst>
            </p:cNvPr>
            <p:cNvSpPr/>
            <p:nvPr/>
          </p:nvSpPr>
          <p:spPr>
            <a:xfrm>
              <a:off x="587375" y="1222580"/>
              <a:ext cx="11109325" cy="485894"/>
            </a:xfrm>
            <a:prstGeom prst="rect">
              <a:avLst/>
            </a:prstGeom>
            <a:solidFill>
              <a:srgbClr val="BFCAD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620000"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pt-BR" dirty="0">
                  <a:solidFill>
                    <a:srgbClr val="11385A"/>
                  </a:solidFill>
                </a:rPr>
                <a:t>Inserir texto aqui</a:t>
              </a:r>
            </a:p>
          </p:txBody>
        </p:sp>
        <p:sp>
          <p:nvSpPr>
            <p:cNvPr id="45" name="Seta: para a Direita 44">
              <a:extLst>
                <a:ext uri="{FF2B5EF4-FFF2-40B4-BE49-F238E27FC236}">
                  <a16:creationId xmlns:a16="http://schemas.microsoft.com/office/drawing/2014/main" id="{C2EFC1B8-7409-4A0E-80A6-661FD671A6C0}"/>
                </a:ext>
              </a:extLst>
            </p:cNvPr>
            <p:cNvSpPr/>
            <p:nvPr/>
          </p:nvSpPr>
          <p:spPr>
            <a:xfrm rot="5400000">
              <a:off x="957089" y="1030426"/>
              <a:ext cx="1025167" cy="853440"/>
            </a:xfrm>
            <a:prstGeom prst="rightArrow">
              <a:avLst>
                <a:gd name="adj1" fmla="val 100000"/>
                <a:gd name="adj2" fmla="val 50000"/>
              </a:avLst>
            </a:prstGeom>
            <a:solidFill>
              <a:srgbClr val="4B6185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360000" tIns="46800" rtlCol="0" anchor="ctr"/>
            <a:lstStyle/>
            <a:p>
              <a:pPr algn="ctr"/>
              <a:r>
                <a:rPr lang="pt-BR" sz="40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43837506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01E3C732-9E5E-470F-961F-C559645BA3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Inserir aqui o título do slid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7A730A45-6774-43E5-864B-4D6C32A51A2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erir aqui o subtítulo do slide</a:t>
            </a:r>
          </a:p>
        </p:txBody>
      </p:sp>
      <p:sp>
        <p:nvSpPr>
          <p:cNvPr id="9" name="Forma Livre: Forma 8">
            <a:extLst>
              <a:ext uri="{FF2B5EF4-FFF2-40B4-BE49-F238E27FC236}">
                <a16:creationId xmlns:a16="http://schemas.microsoft.com/office/drawing/2014/main" id="{A26C914B-86AC-4E06-BD11-C6BCC68822C2}"/>
              </a:ext>
            </a:extLst>
          </p:cNvPr>
          <p:cNvSpPr/>
          <p:nvPr/>
        </p:nvSpPr>
        <p:spPr>
          <a:xfrm>
            <a:off x="8901499" y="1528037"/>
            <a:ext cx="2812428" cy="2812429"/>
          </a:xfrm>
          <a:custGeom>
            <a:avLst/>
            <a:gdLst>
              <a:gd name="connsiteX0" fmla="*/ 1406215 w 2812428"/>
              <a:gd name="connsiteY0" fmla="*/ 0 h 2812429"/>
              <a:gd name="connsiteX1" fmla="*/ 2812429 w 2812428"/>
              <a:gd name="connsiteY1" fmla="*/ 1406215 h 2812429"/>
              <a:gd name="connsiteX2" fmla="*/ 1406215 w 2812428"/>
              <a:gd name="connsiteY2" fmla="*/ 2812429 h 2812429"/>
              <a:gd name="connsiteX3" fmla="*/ 0 w 2812428"/>
              <a:gd name="connsiteY3" fmla="*/ 1406215 h 2812429"/>
              <a:gd name="connsiteX4" fmla="*/ 1406215 w 2812428"/>
              <a:gd name="connsiteY4" fmla="*/ 0 h 2812429"/>
              <a:gd name="connsiteX5" fmla="*/ 1406215 w 2812428"/>
              <a:gd name="connsiteY5" fmla="*/ 0 h 2812429"/>
              <a:gd name="connsiteX6" fmla="*/ 1406215 w 2812428"/>
              <a:gd name="connsiteY6" fmla="*/ 39249 h 2812429"/>
              <a:gd name="connsiteX7" fmla="*/ 39250 w 2812428"/>
              <a:gd name="connsiteY7" fmla="*/ 1406215 h 2812429"/>
              <a:gd name="connsiteX8" fmla="*/ 1406215 w 2812428"/>
              <a:gd name="connsiteY8" fmla="*/ 2773180 h 2812429"/>
              <a:gd name="connsiteX9" fmla="*/ 2773180 w 2812428"/>
              <a:gd name="connsiteY9" fmla="*/ 1406215 h 2812429"/>
              <a:gd name="connsiteX10" fmla="*/ 1406215 w 2812428"/>
              <a:gd name="connsiteY10" fmla="*/ 39249 h 2812429"/>
              <a:gd name="connsiteX11" fmla="*/ 1406215 w 2812428"/>
              <a:gd name="connsiteY11" fmla="*/ 39249 h 28124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812428" h="2812429">
                <a:moveTo>
                  <a:pt x="1406215" y="0"/>
                </a:moveTo>
                <a:cubicBezTo>
                  <a:pt x="2183084" y="0"/>
                  <a:pt x="2812429" y="629345"/>
                  <a:pt x="2812429" y="1406215"/>
                </a:cubicBezTo>
                <a:cubicBezTo>
                  <a:pt x="2812429" y="2183084"/>
                  <a:pt x="2183084" y="2812429"/>
                  <a:pt x="1406215" y="2812429"/>
                </a:cubicBezTo>
                <a:cubicBezTo>
                  <a:pt x="629345" y="2812429"/>
                  <a:pt x="0" y="2183084"/>
                  <a:pt x="0" y="1406215"/>
                </a:cubicBezTo>
                <a:cubicBezTo>
                  <a:pt x="0" y="629345"/>
                  <a:pt x="629345" y="0"/>
                  <a:pt x="1406215" y="0"/>
                </a:cubicBezTo>
                <a:lnTo>
                  <a:pt x="1406215" y="0"/>
                </a:lnTo>
                <a:close/>
                <a:moveTo>
                  <a:pt x="1406215" y="39249"/>
                </a:moveTo>
                <a:cubicBezTo>
                  <a:pt x="651001" y="39249"/>
                  <a:pt x="39250" y="651000"/>
                  <a:pt x="39250" y="1406215"/>
                </a:cubicBezTo>
                <a:cubicBezTo>
                  <a:pt x="39250" y="2161429"/>
                  <a:pt x="651001" y="2773180"/>
                  <a:pt x="1406215" y="2773180"/>
                </a:cubicBezTo>
                <a:cubicBezTo>
                  <a:pt x="2161429" y="2773180"/>
                  <a:pt x="2773180" y="2161429"/>
                  <a:pt x="2773180" y="1406215"/>
                </a:cubicBezTo>
                <a:cubicBezTo>
                  <a:pt x="2773180" y="651000"/>
                  <a:pt x="2160752" y="39249"/>
                  <a:pt x="1406215" y="39249"/>
                </a:cubicBezTo>
                <a:lnTo>
                  <a:pt x="1406215" y="39249"/>
                </a:lnTo>
                <a:close/>
              </a:path>
            </a:pathLst>
          </a:custGeom>
          <a:solidFill>
            <a:srgbClr val="5E7AA8"/>
          </a:solidFill>
          <a:ln w="6767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10" name="Forma Livre: Forma 9">
            <a:extLst>
              <a:ext uri="{FF2B5EF4-FFF2-40B4-BE49-F238E27FC236}">
                <a16:creationId xmlns:a16="http://schemas.microsoft.com/office/drawing/2014/main" id="{AACDA658-87EF-49A2-8F96-6D6226B3977C}"/>
              </a:ext>
            </a:extLst>
          </p:cNvPr>
          <p:cNvSpPr/>
          <p:nvPr/>
        </p:nvSpPr>
        <p:spPr>
          <a:xfrm>
            <a:off x="587375" y="1528037"/>
            <a:ext cx="2812428" cy="2812429"/>
          </a:xfrm>
          <a:custGeom>
            <a:avLst/>
            <a:gdLst>
              <a:gd name="connsiteX0" fmla="*/ 1406215 w 2812428"/>
              <a:gd name="connsiteY0" fmla="*/ 0 h 2812429"/>
              <a:gd name="connsiteX1" fmla="*/ 2812429 w 2812428"/>
              <a:gd name="connsiteY1" fmla="*/ 1406215 h 2812429"/>
              <a:gd name="connsiteX2" fmla="*/ 1406215 w 2812428"/>
              <a:gd name="connsiteY2" fmla="*/ 2812429 h 2812429"/>
              <a:gd name="connsiteX3" fmla="*/ 0 w 2812428"/>
              <a:gd name="connsiteY3" fmla="*/ 1406215 h 2812429"/>
              <a:gd name="connsiteX4" fmla="*/ 1406215 w 2812428"/>
              <a:gd name="connsiteY4" fmla="*/ 0 h 2812429"/>
              <a:gd name="connsiteX5" fmla="*/ 1406215 w 2812428"/>
              <a:gd name="connsiteY5" fmla="*/ 0 h 2812429"/>
              <a:gd name="connsiteX6" fmla="*/ 1406215 w 2812428"/>
              <a:gd name="connsiteY6" fmla="*/ 39249 h 2812429"/>
              <a:gd name="connsiteX7" fmla="*/ 39249 w 2812428"/>
              <a:gd name="connsiteY7" fmla="*/ 1406215 h 2812429"/>
              <a:gd name="connsiteX8" fmla="*/ 1406215 w 2812428"/>
              <a:gd name="connsiteY8" fmla="*/ 2773180 h 2812429"/>
              <a:gd name="connsiteX9" fmla="*/ 2773179 w 2812428"/>
              <a:gd name="connsiteY9" fmla="*/ 1406215 h 2812429"/>
              <a:gd name="connsiteX10" fmla="*/ 1406215 w 2812428"/>
              <a:gd name="connsiteY10" fmla="*/ 39249 h 2812429"/>
              <a:gd name="connsiteX11" fmla="*/ 1406215 w 2812428"/>
              <a:gd name="connsiteY11" fmla="*/ 39249 h 28124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812428" h="2812429">
                <a:moveTo>
                  <a:pt x="1406215" y="0"/>
                </a:moveTo>
                <a:cubicBezTo>
                  <a:pt x="2183084" y="0"/>
                  <a:pt x="2812429" y="629345"/>
                  <a:pt x="2812429" y="1406215"/>
                </a:cubicBezTo>
                <a:cubicBezTo>
                  <a:pt x="2812429" y="2183084"/>
                  <a:pt x="2183084" y="2812429"/>
                  <a:pt x="1406215" y="2812429"/>
                </a:cubicBezTo>
                <a:cubicBezTo>
                  <a:pt x="629345" y="2812429"/>
                  <a:pt x="0" y="2182407"/>
                  <a:pt x="0" y="1406215"/>
                </a:cubicBezTo>
                <a:cubicBezTo>
                  <a:pt x="0" y="629345"/>
                  <a:pt x="629345" y="0"/>
                  <a:pt x="1406215" y="0"/>
                </a:cubicBezTo>
                <a:lnTo>
                  <a:pt x="1406215" y="0"/>
                </a:lnTo>
                <a:close/>
                <a:moveTo>
                  <a:pt x="1406215" y="39249"/>
                </a:moveTo>
                <a:cubicBezTo>
                  <a:pt x="651000" y="39249"/>
                  <a:pt x="39249" y="651000"/>
                  <a:pt x="39249" y="1406215"/>
                </a:cubicBezTo>
                <a:cubicBezTo>
                  <a:pt x="39249" y="2161429"/>
                  <a:pt x="651000" y="2773180"/>
                  <a:pt x="1406215" y="2773180"/>
                </a:cubicBezTo>
                <a:cubicBezTo>
                  <a:pt x="2161429" y="2773180"/>
                  <a:pt x="2773179" y="2161429"/>
                  <a:pt x="2773179" y="1406215"/>
                </a:cubicBezTo>
                <a:cubicBezTo>
                  <a:pt x="2773179" y="651000"/>
                  <a:pt x="2160752" y="39249"/>
                  <a:pt x="1406215" y="39249"/>
                </a:cubicBezTo>
                <a:lnTo>
                  <a:pt x="1406215" y="39249"/>
                </a:lnTo>
                <a:close/>
              </a:path>
            </a:pathLst>
          </a:custGeom>
          <a:solidFill>
            <a:srgbClr val="11385A"/>
          </a:solidFill>
          <a:ln w="6767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11" name="Forma Livre: Forma 10">
            <a:extLst>
              <a:ext uri="{FF2B5EF4-FFF2-40B4-BE49-F238E27FC236}">
                <a16:creationId xmlns:a16="http://schemas.microsoft.com/office/drawing/2014/main" id="{B357ADE3-882E-4390-9492-7AE7B3CF1CC5}"/>
              </a:ext>
            </a:extLst>
          </p:cNvPr>
          <p:cNvSpPr/>
          <p:nvPr/>
        </p:nvSpPr>
        <p:spPr>
          <a:xfrm>
            <a:off x="2250064" y="1528037"/>
            <a:ext cx="2812428" cy="2812429"/>
          </a:xfrm>
          <a:custGeom>
            <a:avLst/>
            <a:gdLst>
              <a:gd name="connsiteX0" fmla="*/ 1406215 w 2812428"/>
              <a:gd name="connsiteY0" fmla="*/ 0 h 2812429"/>
              <a:gd name="connsiteX1" fmla="*/ 2812429 w 2812428"/>
              <a:gd name="connsiteY1" fmla="*/ 1406215 h 2812429"/>
              <a:gd name="connsiteX2" fmla="*/ 1406215 w 2812428"/>
              <a:gd name="connsiteY2" fmla="*/ 2812429 h 2812429"/>
              <a:gd name="connsiteX3" fmla="*/ 0 w 2812428"/>
              <a:gd name="connsiteY3" fmla="*/ 1406215 h 2812429"/>
              <a:gd name="connsiteX4" fmla="*/ 1406215 w 2812428"/>
              <a:gd name="connsiteY4" fmla="*/ 0 h 2812429"/>
              <a:gd name="connsiteX5" fmla="*/ 1406215 w 2812428"/>
              <a:gd name="connsiteY5" fmla="*/ 0 h 2812429"/>
              <a:gd name="connsiteX6" fmla="*/ 1406215 w 2812428"/>
              <a:gd name="connsiteY6" fmla="*/ 39249 h 2812429"/>
              <a:gd name="connsiteX7" fmla="*/ 39250 w 2812428"/>
              <a:gd name="connsiteY7" fmla="*/ 1406215 h 2812429"/>
              <a:gd name="connsiteX8" fmla="*/ 1406215 w 2812428"/>
              <a:gd name="connsiteY8" fmla="*/ 2773180 h 2812429"/>
              <a:gd name="connsiteX9" fmla="*/ 2773180 w 2812428"/>
              <a:gd name="connsiteY9" fmla="*/ 1406215 h 2812429"/>
              <a:gd name="connsiteX10" fmla="*/ 1406215 w 2812428"/>
              <a:gd name="connsiteY10" fmla="*/ 39249 h 2812429"/>
              <a:gd name="connsiteX11" fmla="*/ 1406215 w 2812428"/>
              <a:gd name="connsiteY11" fmla="*/ 39249 h 28124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812428" h="2812429">
                <a:moveTo>
                  <a:pt x="1406215" y="0"/>
                </a:moveTo>
                <a:cubicBezTo>
                  <a:pt x="2183084" y="0"/>
                  <a:pt x="2812429" y="629345"/>
                  <a:pt x="2812429" y="1406215"/>
                </a:cubicBezTo>
                <a:cubicBezTo>
                  <a:pt x="2812429" y="2183084"/>
                  <a:pt x="2183084" y="2812429"/>
                  <a:pt x="1406215" y="2812429"/>
                </a:cubicBezTo>
                <a:cubicBezTo>
                  <a:pt x="629345" y="2812429"/>
                  <a:pt x="0" y="2183084"/>
                  <a:pt x="0" y="1406215"/>
                </a:cubicBezTo>
                <a:cubicBezTo>
                  <a:pt x="0" y="629345"/>
                  <a:pt x="629345" y="0"/>
                  <a:pt x="1406215" y="0"/>
                </a:cubicBezTo>
                <a:lnTo>
                  <a:pt x="1406215" y="0"/>
                </a:lnTo>
                <a:close/>
                <a:moveTo>
                  <a:pt x="1406215" y="39249"/>
                </a:moveTo>
                <a:cubicBezTo>
                  <a:pt x="651000" y="39249"/>
                  <a:pt x="39250" y="651000"/>
                  <a:pt x="39250" y="1406215"/>
                </a:cubicBezTo>
                <a:cubicBezTo>
                  <a:pt x="39250" y="2161429"/>
                  <a:pt x="651000" y="2773180"/>
                  <a:pt x="1406215" y="2773180"/>
                </a:cubicBezTo>
                <a:cubicBezTo>
                  <a:pt x="2161429" y="2773180"/>
                  <a:pt x="2773180" y="2161429"/>
                  <a:pt x="2773180" y="1406215"/>
                </a:cubicBezTo>
                <a:cubicBezTo>
                  <a:pt x="2773180" y="651000"/>
                  <a:pt x="2161429" y="39249"/>
                  <a:pt x="1406215" y="39249"/>
                </a:cubicBezTo>
                <a:lnTo>
                  <a:pt x="1406215" y="39249"/>
                </a:lnTo>
                <a:close/>
              </a:path>
            </a:pathLst>
          </a:custGeom>
          <a:solidFill>
            <a:srgbClr val="4B6185"/>
          </a:solidFill>
          <a:ln w="6767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12" name="Forma Livre: Forma 11">
            <a:extLst>
              <a:ext uri="{FF2B5EF4-FFF2-40B4-BE49-F238E27FC236}">
                <a16:creationId xmlns:a16="http://schemas.microsoft.com/office/drawing/2014/main" id="{9FD1A461-A527-4187-BBB0-A5490E70434C}"/>
              </a:ext>
            </a:extLst>
          </p:cNvPr>
          <p:cNvSpPr/>
          <p:nvPr/>
        </p:nvSpPr>
        <p:spPr>
          <a:xfrm>
            <a:off x="3912754" y="1528037"/>
            <a:ext cx="2812428" cy="2812429"/>
          </a:xfrm>
          <a:custGeom>
            <a:avLst/>
            <a:gdLst>
              <a:gd name="connsiteX0" fmla="*/ 1406215 w 2812428"/>
              <a:gd name="connsiteY0" fmla="*/ 0 h 2812429"/>
              <a:gd name="connsiteX1" fmla="*/ 2812429 w 2812428"/>
              <a:gd name="connsiteY1" fmla="*/ 1406215 h 2812429"/>
              <a:gd name="connsiteX2" fmla="*/ 1406215 w 2812428"/>
              <a:gd name="connsiteY2" fmla="*/ 2812429 h 2812429"/>
              <a:gd name="connsiteX3" fmla="*/ 0 w 2812428"/>
              <a:gd name="connsiteY3" fmla="*/ 1406215 h 2812429"/>
              <a:gd name="connsiteX4" fmla="*/ 1406215 w 2812428"/>
              <a:gd name="connsiteY4" fmla="*/ 0 h 2812429"/>
              <a:gd name="connsiteX5" fmla="*/ 1406215 w 2812428"/>
              <a:gd name="connsiteY5" fmla="*/ 0 h 2812429"/>
              <a:gd name="connsiteX6" fmla="*/ 1406215 w 2812428"/>
              <a:gd name="connsiteY6" fmla="*/ 39249 h 2812429"/>
              <a:gd name="connsiteX7" fmla="*/ 39250 w 2812428"/>
              <a:gd name="connsiteY7" fmla="*/ 1406215 h 2812429"/>
              <a:gd name="connsiteX8" fmla="*/ 1406215 w 2812428"/>
              <a:gd name="connsiteY8" fmla="*/ 2773180 h 2812429"/>
              <a:gd name="connsiteX9" fmla="*/ 2773180 w 2812428"/>
              <a:gd name="connsiteY9" fmla="*/ 1406215 h 2812429"/>
              <a:gd name="connsiteX10" fmla="*/ 1406215 w 2812428"/>
              <a:gd name="connsiteY10" fmla="*/ 39249 h 2812429"/>
              <a:gd name="connsiteX11" fmla="*/ 1406215 w 2812428"/>
              <a:gd name="connsiteY11" fmla="*/ 39249 h 28124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812428" h="2812429">
                <a:moveTo>
                  <a:pt x="1406215" y="0"/>
                </a:moveTo>
                <a:cubicBezTo>
                  <a:pt x="2183084" y="0"/>
                  <a:pt x="2812429" y="629345"/>
                  <a:pt x="2812429" y="1406215"/>
                </a:cubicBezTo>
                <a:cubicBezTo>
                  <a:pt x="2812429" y="2183084"/>
                  <a:pt x="2183084" y="2812429"/>
                  <a:pt x="1406215" y="2812429"/>
                </a:cubicBezTo>
                <a:cubicBezTo>
                  <a:pt x="629345" y="2812429"/>
                  <a:pt x="0" y="2183084"/>
                  <a:pt x="0" y="1406215"/>
                </a:cubicBezTo>
                <a:cubicBezTo>
                  <a:pt x="0" y="629345"/>
                  <a:pt x="630022" y="0"/>
                  <a:pt x="1406215" y="0"/>
                </a:cubicBezTo>
                <a:lnTo>
                  <a:pt x="1406215" y="0"/>
                </a:lnTo>
                <a:close/>
                <a:moveTo>
                  <a:pt x="1406215" y="39249"/>
                </a:moveTo>
                <a:cubicBezTo>
                  <a:pt x="651000" y="39249"/>
                  <a:pt x="39250" y="651000"/>
                  <a:pt x="39250" y="1406215"/>
                </a:cubicBezTo>
                <a:cubicBezTo>
                  <a:pt x="39250" y="2161429"/>
                  <a:pt x="651000" y="2773180"/>
                  <a:pt x="1406215" y="2773180"/>
                </a:cubicBezTo>
                <a:cubicBezTo>
                  <a:pt x="2161429" y="2773180"/>
                  <a:pt x="2773180" y="2161429"/>
                  <a:pt x="2773180" y="1406215"/>
                </a:cubicBezTo>
                <a:cubicBezTo>
                  <a:pt x="2773180" y="651000"/>
                  <a:pt x="2161429" y="39249"/>
                  <a:pt x="1406215" y="39249"/>
                </a:cubicBezTo>
                <a:lnTo>
                  <a:pt x="1406215" y="39249"/>
                </a:lnTo>
                <a:close/>
              </a:path>
            </a:pathLst>
          </a:custGeom>
          <a:solidFill>
            <a:srgbClr val="899DBD"/>
          </a:solidFill>
          <a:ln w="6767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13" name="Forma Livre: Forma 12">
            <a:extLst>
              <a:ext uri="{FF2B5EF4-FFF2-40B4-BE49-F238E27FC236}">
                <a16:creationId xmlns:a16="http://schemas.microsoft.com/office/drawing/2014/main" id="{E2D2FD74-2B51-4AAE-B488-D4C3738DF9F6}"/>
              </a:ext>
            </a:extLst>
          </p:cNvPr>
          <p:cNvSpPr/>
          <p:nvPr/>
        </p:nvSpPr>
        <p:spPr>
          <a:xfrm>
            <a:off x="5575443" y="1528037"/>
            <a:ext cx="2812428" cy="2812429"/>
          </a:xfrm>
          <a:custGeom>
            <a:avLst/>
            <a:gdLst>
              <a:gd name="connsiteX0" fmla="*/ 1406215 w 2812428"/>
              <a:gd name="connsiteY0" fmla="*/ 0 h 2812429"/>
              <a:gd name="connsiteX1" fmla="*/ 2812429 w 2812428"/>
              <a:gd name="connsiteY1" fmla="*/ 1406215 h 2812429"/>
              <a:gd name="connsiteX2" fmla="*/ 1406215 w 2812428"/>
              <a:gd name="connsiteY2" fmla="*/ 2812429 h 2812429"/>
              <a:gd name="connsiteX3" fmla="*/ 0 w 2812428"/>
              <a:gd name="connsiteY3" fmla="*/ 1406215 h 2812429"/>
              <a:gd name="connsiteX4" fmla="*/ 1406215 w 2812428"/>
              <a:gd name="connsiteY4" fmla="*/ 0 h 2812429"/>
              <a:gd name="connsiteX5" fmla="*/ 1406215 w 2812428"/>
              <a:gd name="connsiteY5" fmla="*/ 0 h 2812429"/>
              <a:gd name="connsiteX6" fmla="*/ 1406215 w 2812428"/>
              <a:gd name="connsiteY6" fmla="*/ 39249 h 2812429"/>
              <a:gd name="connsiteX7" fmla="*/ 39250 w 2812428"/>
              <a:gd name="connsiteY7" fmla="*/ 1406215 h 2812429"/>
              <a:gd name="connsiteX8" fmla="*/ 1406215 w 2812428"/>
              <a:gd name="connsiteY8" fmla="*/ 2773180 h 2812429"/>
              <a:gd name="connsiteX9" fmla="*/ 2773180 w 2812428"/>
              <a:gd name="connsiteY9" fmla="*/ 1406215 h 2812429"/>
              <a:gd name="connsiteX10" fmla="*/ 1406215 w 2812428"/>
              <a:gd name="connsiteY10" fmla="*/ 39249 h 2812429"/>
              <a:gd name="connsiteX11" fmla="*/ 1406215 w 2812428"/>
              <a:gd name="connsiteY11" fmla="*/ 39249 h 28124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812428" h="2812429">
                <a:moveTo>
                  <a:pt x="1406215" y="0"/>
                </a:moveTo>
                <a:cubicBezTo>
                  <a:pt x="2183084" y="0"/>
                  <a:pt x="2812429" y="629345"/>
                  <a:pt x="2812429" y="1406215"/>
                </a:cubicBezTo>
                <a:cubicBezTo>
                  <a:pt x="2812429" y="2183084"/>
                  <a:pt x="2183084" y="2812429"/>
                  <a:pt x="1406215" y="2812429"/>
                </a:cubicBezTo>
                <a:cubicBezTo>
                  <a:pt x="629345" y="2812429"/>
                  <a:pt x="0" y="2183084"/>
                  <a:pt x="0" y="1406215"/>
                </a:cubicBezTo>
                <a:cubicBezTo>
                  <a:pt x="677" y="629345"/>
                  <a:pt x="630022" y="0"/>
                  <a:pt x="1406215" y="0"/>
                </a:cubicBezTo>
                <a:lnTo>
                  <a:pt x="1406215" y="0"/>
                </a:lnTo>
                <a:close/>
                <a:moveTo>
                  <a:pt x="1406215" y="39249"/>
                </a:moveTo>
                <a:cubicBezTo>
                  <a:pt x="651000" y="39249"/>
                  <a:pt x="39250" y="651000"/>
                  <a:pt x="39250" y="1406215"/>
                </a:cubicBezTo>
                <a:cubicBezTo>
                  <a:pt x="39250" y="2161429"/>
                  <a:pt x="651000" y="2773180"/>
                  <a:pt x="1406215" y="2773180"/>
                </a:cubicBezTo>
                <a:cubicBezTo>
                  <a:pt x="2161429" y="2773180"/>
                  <a:pt x="2773180" y="2161429"/>
                  <a:pt x="2773180" y="1406215"/>
                </a:cubicBezTo>
                <a:cubicBezTo>
                  <a:pt x="2773180" y="651000"/>
                  <a:pt x="2161429" y="39249"/>
                  <a:pt x="1406215" y="39249"/>
                </a:cubicBezTo>
                <a:lnTo>
                  <a:pt x="1406215" y="39249"/>
                </a:lnTo>
                <a:close/>
              </a:path>
            </a:pathLst>
          </a:custGeom>
          <a:solidFill>
            <a:srgbClr val="BFCADB"/>
          </a:solidFill>
          <a:ln w="6767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14" name="Forma Livre: Forma 13">
            <a:extLst>
              <a:ext uri="{FF2B5EF4-FFF2-40B4-BE49-F238E27FC236}">
                <a16:creationId xmlns:a16="http://schemas.microsoft.com/office/drawing/2014/main" id="{AB112894-08BC-41B0-BBCC-78A3D90DD6E6}"/>
              </a:ext>
            </a:extLst>
          </p:cNvPr>
          <p:cNvSpPr/>
          <p:nvPr/>
        </p:nvSpPr>
        <p:spPr>
          <a:xfrm>
            <a:off x="7238133" y="1528037"/>
            <a:ext cx="2812429" cy="2812429"/>
          </a:xfrm>
          <a:custGeom>
            <a:avLst/>
            <a:gdLst>
              <a:gd name="connsiteX0" fmla="*/ 1406214 w 2812429"/>
              <a:gd name="connsiteY0" fmla="*/ 0 h 2812429"/>
              <a:gd name="connsiteX1" fmla="*/ 2812429 w 2812429"/>
              <a:gd name="connsiteY1" fmla="*/ 1406215 h 2812429"/>
              <a:gd name="connsiteX2" fmla="*/ 1406214 w 2812429"/>
              <a:gd name="connsiteY2" fmla="*/ 2812429 h 2812429"/>
              <a:gd name="connsiteX3" fmla="*/ 0 w 2812429"/>
              <a:gd name="connsiteY3" fmla="*/ 1406215 h 2812429"/>
              <a:gd name="connsiteX4" fmla="*/ 1406214 w 2812429"/>
              <a:gd name="connsiteY4" fmla="*/ 0 h 2812429"/>
              <a:gd name="connsiteX5" fmla="*/ 1406214 w 2812429"/>
              <a:gd name="connsiteY5" fmla="*/ 0 h 2812429"/>
              <a:gd name="connsiteX6" fmla="*/ 1406214 w 2812429"/>
              <a:gd name="connsiteY6" fmla="*/ 39249 h 2812429"/>
              <a:gd name="connsiteX7" fmla="*/ 39249 w 2812429"/>
              <a:gd name="connsiteY7" fmla="*/ 1406215 h 2812429"/>
              <a:gd name="connsiteX8" fmla="*/ 1406214 w 2812429"/>
              <a:gd name="connsiteY8" fmla="*/ 2773180 h 2812429"/>
              <a:gd name="connsiteX9" fmla="*/ 2773179 w 2812429"/>
              <a:gd name="connsiteY9" fmla="*/ 1406215 h 2812429"/>
              <a:gd name="connsiteX10" fmla="*/ 1406214 w 2812429"/>
              <a:gd name="connsiteY10" fmla="*/ 39249 h 2812429"/>
              <a:gd name="connsiteX11" fmla="*/ 1406214 w 2812429"/>
              <a:gd name="connsiteY11" fmla="*/ 39249 h 28124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812429" h="2812429">
                <a:moveTo>
                  <a:pt x="1406214" y="0"/>
                </a:moveTo>
                <a:cubicBezTo>
                  <a:pt x="2183084" y="0"/>
                  <a:pt x="2812429" y="629345"/>
                  <a:pt x="2812429" y="1406215"/>
                </a:cubicBezTo>
                <a:cubicBezTo>
                  <a:pt x="2812429" y="2183084"/>
                  <a:pt x="2183084" y="2812429"/>
                  <a:pt x="1406214" y="2812429"/>
                </a:cubicBezTo>
                <a:cubicBezTo>
                  <a:pt x="629346" y="2812429"/>
                  <a:pt x="0" y="2183084"/>
                  <a:pt x="0" y="1406215"/>
                </a:cubicBezTo>
                <a:cubicBezTo>
                  <a:pt x="677" y="629345"/>
                  <a:pt x="630022" y="0"/>
                  <a:pt x="1406214" y="0"/>
                </a:cubicBezTo>
                <a:lnTo>
                  <a:pt x="1406214" y="0"/>
                </a:lnTo>
                <a:close/>
                <a:moveTo>
                  <a:pt x="1406214" y="39249"/>
                </a:moveTo>
                <a:cubicBezTo>
                  <a:pt x="651000" y="39249"/>
                  <a:pt x="39249" y="651000"/>
                  <a:pt x="39249" y="1406215"/>
                </a:cubicBezTo>
                <a:cubicBezTo>
                  <a:pt x="39249" y="2161429"/>
                  <a:pt x="651000" y="2773180"/>
                  <a:pt x="1406214" y="2773180"/>
                </a:cubicBezTo>
                <a:cubicBezTo>
                  <a:pt x="2161429" y="2773180"/>
                  <a:pt x="2773179" y="2161429"/>
                  <a:pt x="2773179" y="1406215"/>
                </a:cubicBezTo>
                <a:cubicBezTo>
                  <a:pt x="2773856" y="651000"/>
                  <a:pt x="2161429" y="39249"/>
                  <a:pt x="1406214" y="39249"/>
                </a:cubicBezTo>
                <a:lnTo>
                  <a:pt x="1406214" y="39249"/>
                </a:lnTo>
                <a:close/>
              </a:path>
            </a:pathLst>
          </a:custGeom>
          <a:solidFill>
            <a:srgbClr val="899DBD"/>
          </a:solidFill>
          <a:ln w="6767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15" name="Forma Livre: Forma 14">
            <a:extLst>
              <a:ext uri="{FF2B5EF4-FFF2-40B4-BE49-F238E27FC236}">
                <a16:creationId xmlns:a16="http://schemas.microsoft.com/office/drawing/2014/main" id="{BC26047D-7E0A-4EB5-9B18-6E33E532D635}"/>
              </a:ext>
            </a:extLst>
          </p:cNvPr>
          <p:cNvSpPr/>
          <p:nvPr/>
        </p:nvSpPr>
        <p:spPr>
          <a:xfrm>
            <a:off x="9311587" y="1938126"/>
            <a:ext cx="1992250" cy="1992250"/>
          </a:xfrm>
          <a:custGeom>
            <a:avLst/>
            <a:gdLst>
              <a:gd name="connsiteX0" fmla="*/ 996126 w 1992250"/>
              <a:gd name="connsiteY0" fmla="*/ 0 h 1992250"/>
              <a:gd name="connsiteX1" fmla="*/ 1992251 w 1992250"/>
              <a:gd name="connsiteY1" fmla="*/ 996125 h 1992250"/>
              <a:gd name="connsiteX2" fmla="*/ 996126 w 1992250"/>
              <a:gd name="connsiteY2" fmla="*/ 1992250 h 1992250"/>
              <a:gd name="connsiteX3" fmla="*/ 1 w 1992250"/>
              <a:gd name="connsiteY3" fmla="*/ 996125 h 1992250"/>
              <a:gd name="connsiteX4" fmla="*/ 996126 w 1992250"/>
              <a:gd name="connsiteY4" fmla="*/ 0 h 1992250"/>
              <a:gd name="connsiteX5" fmla="*/ 996126 w 1992250"/>
              <a:gd name="connsiteY5" fmla="*/ 0 h 19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92250" h="1992250">
                <a:moveTo>
                  <a:pt x="996126" y="0"/>
                </a:moveTo>
                <a:cubicBezTo>
                  <a:pt x="1546295" y="0"/>
                  <a:pt x="1992251" y="445955"/>
                  <a:pt x="1992251" y="996125"/>
                </a:cubicBezTo>
                <a:cubicBezTo>
                  <a:pt x="1992251" y="1546295"/>
                  <a:pt x="1546295" y="1992250"/>
                  <a:pt x="996126" y="1992250"/>
                </a:cubicBezTo>
                <a:cubicBezTo>
                  <a:pt x="445956" y="1992250"/>
                  <a:pt x="1" y="1546295"/>
                  <a:pt x="1" y="996125"/>
                </a:cubicBezTo>
                <a:cubicBezTo>
                  <a:pt x="-676" y="445955"/>
                  <a:pt x="445956" y="0"/>
                  <a:pt x="996126" y="0"/>
                </a:cubicBezTo>
                <a:lnTo>
                  <a:pt x="996126" y="0"/>
                </a:lnTo>
                <a:close/>
              </a:path>
            </a:pathLst>
          </a:custGeom>
          <a:solidFill>
            <a:srgbClr val="5E7AA8"/>
          </a:solidFill>
          <a:ln w="6767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16" name="Forma Livre: Forma 15">
            <a:extLst>
              <a:ext uri="{FF2B5EF4-FFF2-40B4-BE49-F238E27FC236}">
                <a16:creationId xmlns:a16="http://schemas.microsoft.com/office/drawing/2014/main" id="{A9D19F5D-018C-4572-9E80-34383F61FBB6}"/>
              </a:ext>
            </a:extLst>
          </p:cNvPr>
          <p:cNvSpPr/>
          <p:nvPr/>
        </p:nvSpPr>
        <p:spPr>
          <a:xfrm>
            <a:off x="7653636" y="1938126"/>
            <a:ext cx="2149925" cy="1993603"/>
          </a:xfrm>
          <a:custGeom>
            <a:avLst/>
            <a:gdLst>
              <a:gd name="connsiteX0" fmla="*/ 0 w 2149925"/>
              <a:gd name="connsiteY0" fmla="*/ 996125 h 1993603"/>
              <a:gd name="connsiteX1" fmla="*/ 996125 w 2149925"/>
              <a:gd name="connsiteY1" fmla="*/ 0 h 1993603"/>
              <a:gd name="connsiteX2" fmla="*/ 1963152 w 2149925"/>
              <a:gd name="connsiteY2" fmla="*/ 757245 h 1993603"/>
              <a:gd name="connsiteX3" fmla="*/ 2149925 w 2149925"/>
              <a:gd name="connsiteY3" fmla="*/ 996802 h 1993603"/>
              <a:gd name="connsiteX4" fmla="*/ 1963152 w 2149925"/>
              <a:gd name="connsiteY4" fmla="*/ 1236359 h 1993603"/>
              <a:gd name="connsiteX5" fmla="*/ 996125 w 2149925"/>
              <a:gd name="connsiteY5" fmla="*/ 1993604 h 1993603"/>
              <a:gd name="connsiteX6" fmla="*/ 0 w 2149925"/>
              <a:gd name="connsiteY6" fmla="*/ 996125 h 1993603"/>
              <a:gd name="connsiteX7" fmla="*/ 0 w 2149925"/>
              <a:gd name="connsiteY7" fmla="*/ 996125 h 19936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49925" h="1993603">
                <a:moveTo>
                  <a:pt x="0" y="996125"/>
                </a:moveTo>
                <a:cubicBezTo>
                  <a:pt x="0" y="445955"/>
                  <a:pt x="445956" y="0"/>
                  <a:pt x="996125" y="0"/>
                </a:cubicBezTo>
                <a:cubicBezTo>
                  <a:pt x="1463736" y="0"/>
                  <a:pt x="1856231" y="322117"/>
                  <a:pt x="1963152" y="757245"/>
                </a:cubicBezTo>
                <a:lnTo>
                  <a:pt x="2149925" y="996802"/>
                </a:lnTo>
                <a:lnTo>
                  <a:pt x="1963152" y="1236359"/>
                </a:lnTo>
                <a:cubicBezTo>
                  <a:pt x="1856231" y="1670810"/>
                  <a:pt x="1463736" y="1993604"/>
                  <a:pt x="996125" y="1993604"/>
                </a:cubicBezTo>
                <a:cubicBezTo>
                  <a:pt x="445956" y="1992250"/>
                  <a:pt x="0" y="1546295"/>
                  <a:pt x="0" y="996125"/>
                </a:cubicBezTo>
                <a:lnTo>
                  <a:pt x="0" y="996125"/>
                </a:lnTo>
                <a:close/>
              </a:path>
            </a:pathLst>
          </a:custGeom>
          <a:solidFill>
            <a:srgbClr val="899DBD"/>
          </a:solidFill>
          <a:ln w="6767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17" name="Forma Livre: Forma 16">
            <a:extLst>
              <a:ext uri="{FF2B5EF4-FFF2-40B4-BE49-F238E27FC236}">
                <a16:creationId xmlns:a16="http://schemas.microsoft.com/office/drawing/2014/main" id="{49FA9884-3471-49C4-97F6-16BD10AC72E1}"/>
              </a:ext>
            </a:extLst>
          </p:cNvPr>
          <p:cNvSpPr/>
          <p:nvPr/>
        </p:nvSpPr>
        <p:spPr>
          <a:xfrm>
            <a:off x="5990946" y="1938126"/>
            <a:ext cx="2149924" cy="1993603"/>
          </a:xfrm>
          <a:custGeom>
            <a:avLst/>
            <a:gdLst>
              <a:gd name="connsiteX0" fmla="*/ 0 w 2149924"/>
              <a:gd name="connsiteY0" fmla="*/ 996125 h 1993603"/>
              <a:gd name="connsiteX1" fmla="*/ 996125 w 2149924"/>
              <a:gd name="connsiteY1" fmla="*/ 0 h 1993603"/>
              <a:gd name="connsiteX2" fmla="*/ 1963151 w 2149924"/>
              <a:gd name="connsiteY2" fmla="*/ 757245 h 1993603"/>
              <a:gd name="connsiteX3" fmla="*/ 2149924 w 2149924"/>
              <a:gd name="connsiteY3" fmla="*/ 996802 h 1993603"/>
              <a:gd name="connsiteX4" fmla="*/ 1963151 w 2149924"/>
              <a:gd name="connsiteY4" fmla="*/ 1236359 h 1993603"/>
              <a:gd name="connsiteX5" fmla="*/ 996125 w 2149924"/>
              <a:gd name="connsiteY5" fmla="*/ 1993604 h 1993603"/>
              <a:gd name="connsiteX6" fmla="*/ 0 w 2149924"/>
              <a:gd name="connsiteY6" fmla="*/ 996125 h 1993603"/>
              <a:gd name="connsiteX7" fmla="*/ 0 w 2149924"/>
              <a:gd name="connsiteY7" fmla="*/ 996125 h 19936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49924" h="1993603">
                <a:moveTo>
                  <a:pt x="0" y="996125"/>
                </a:moveTo>
                <a:cubicBezTo>
                  <a:pt x="0" y="445955"/>
                  <a:pt x="445956" y="0"/>
                  <a:pt x="996125" y="0"/>
                </a:cubicBezTo>
                <a:cubicBezTo>
                  <a:pt x="1463735" y="0"/>
                  <a:pt x="1856231" y="322117"/>
                  <a:pt x="1963151" y="757245"/>
                </a:cubicBezTo>
                <a:lnTo>
                  <a:pt x="2149924" y="996802"/>
                </a:lnTo>
                <a:lnTo>
                  <a:pt x="1963151" y="1236359"/>
                </a:lnTo>
                <a:cubicBezTo>
                  <a:pt x="1856231" y="1670810"/>
                  <a:pt x="1463735" y="1993604"/>
                  <a:pt x="996125" y="1993604"/>
                </a:cubicBezTo>
                <a:cubicBezTo>
                  <a:pt x="445956" y="1992250"/>
                  <a:pt x="0" y="1546295"/>
                  <a:pt x="0" y="996125"/>
                </a:cubicBezTo>
                <a:lnTo>
                  <a:pt x="0" y="996125"/>
                </a:lnTo>
                <a:close/>
              </a:path>
            </a:pathLst>
          </a:custGeom>
          <a:solidFill>
            <a:srgbClr val="BFCADB"/>
          </a:solidFill>
          <a:ln w="6767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18" name="Forma Livre: Forma 17">
            <a:extLst>
              <a:ext uri="{FF2B5EF4-FFF2-40B4-BE49-F238E27FC236}">
                <a16:creationId xmlns:a16="http://schemas.microsoft.com/office/drawing/2014/main" id="{302484F5-4B97-49AD-AEA5-A4D7AE1911A0}"/>
              </a:ext>
            </a:extLst>
          </p:cNvPr>
          <p:cNvSpPr/>
          <p:nvPr/>
        </p:nvSpPr>
        <p:spPr>
          <a:xfrm>
            <a:off x="4328257" y="1938126"/>
            <a:ext cx="2149924" cy="1992250"/>
          </a:xfrm>
          <a:custGeom>
            <a:avLst/>
            <a:gdLst>
              <a:gd name="connsiteX0" fmla="*/ 0 w 2149924"/>
              <a:gd name="connsiteY0" fmla="*/ 996125 h 1992250"/>
              <a:gd name="connsiteX1" fmla="*/ 996125 w 2149924"/>
              <a:gd name="connsiteY1" fmla="*/ 0 h 1992250"/>
              <a:gd name="connsiteX2" fmla="*/ 1963151 w 2149924"/>
              <a:gd name="connsiteY2" fmla="*/ 757245 h 1992250"/>
              <a:gd name="connsiteX3" fmla="*/ 2149925 w 2149924"/>
              <a:gd name="connsiteY3" fmla="*/ 996802 h 1992250"/>
              <a:gd name="connsiteX4" fmla="*/ 1963151 w 2149924"/>
              <a:gd name="connsiteY4" fmla="*/ 1236359 h 1992250"/>
              <a:gd name="connsiteX5" fmla="*/ 996125 w 2149924"/>
              <a:gd name="connsiteY5" fmla="*/ 1992250 h 1992250"/>
              <a:gd name="connsiteX6" fmla="*/ 0 w 2149924"/>
              <a:gd name="connsiteY6" fmla="*/ 996125 h 1992250"/>
              <a:gd name="connsiteX7" fmla="*/ 0 w 2149924"/>
              <a:gd name="connsiteY7" fmla="*/ 996125 h 19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49924" h="1992250">
                <a:moveTo>
                  <a:pt x="0" y="996125"/>
                </a:moveTo>
                <a:cubicBezTo>
                  <a:pt x="0" y="445955"/>
                  <a:pt x="445956" y="0"/>
                  <a:pt x="996125" y="0"/>
                </a:cubicBezTo>
                <a:cubicBezTo>
                  <a:pt x="1463735" y="0"/>
                  <a:pt x="1856230" y="322117"/>
                  <a:pt x="1963151" y="757245"/>
                </a:cubicBezTo>
                <a:lnTo>
                  <a:pt x="2149925" y="996802"/>
                </a:lnTo>
                <a:lnTo>
                  <a:pt x="1963151" y="1236359"/>
                </a:lnTo>
                <a:cubicBezTo>
                  <a:pt x="1856230" y="1670134"/>
                  <a:pt x="1463735" y="1992250"/>
                  <a:pt x="996125" y="1992250"/>
                </a:cubicBezTo>
                <a:cubicBezTo>
                  <a:pt x="445956" y="1992250"/>
                  <a:pt x="0" y="1546295"/>
                  <a:pt x="0" y="996125"/>
                </a:cubicBezTo>
                <a:lnTo>
                  <a:pt x="0" y="996125"/>
                </a:lnTo>
                <a:close/>
              </a:path>
            </a:pathLst>
          </a:custGeom>
          <a:solidFill>
            <a:srgbClr val="899DBD"/>
          </a:solidFill>
          <a:ln w="6767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19" name="Forma Livre: Forma 18">
            <a:extLst>
              <a:ext uri="{FF2B5EF4-FFF2-40B4-BE49-F238E27FC236}">
                <a16:creationId xmlns:a16="http://schemas.microsoft.com/office/drawing/2014/main" id="{937C3C80-A1D7-4B64-BEE3-42E7153A8CC2}"/>
              </a:ext>
            </a:extLst>
          </p:cNvPr>
          <p:cNvSpPr/>
          <p:nvPr/>
        </p:nvSpPr>
        <p:spPr>
          <a:xfrm>
            <a:off x="2665567" y="1938126"/>
            <a:ext cx="2149924" cy="1992250"/>
          </a:xfrm>
          <a:custGeom>
            <a:avLst/>
            <a:gdLst>
              <a:gd name="connsiteX0" fmla="*/ 0 w 2149924"/>
              <a:gd name="connsiteY0" fmla="*/ 996125 h 1992250"/>
              <a:gd name="connsiteX1" fmla="*/ 996125 w 2149924"/>
              <a:gd name="connsiteY1" fmla="*/ 0 h 1992250"/>
              <a:gd name="connsiteX2" fmla="*/ 1963151 w 2149924"/>
              <a:gd name="connsiteY2" fmla="*/ 757245 h 1992250"/>
              <a:gd name="connsiteX3" fmla="*/ 2149925 w 2149924"/>
              <a:gd name="connsiteY3" fmla="*/ 996802 h 1992250"/>
              <a:gd name="connsiteX4" fmla="*/ 1963151 w 2149924"/>
              <a:gd name="connsiteY4" fmla="*/ 1236359 h 1992250"/>
              <a:gd name="connsiteX5" fmla="*/ 996125 w 2149924"/>
              <a:gd name="connsiteY5" fmla="*/ 1992250 h 1992250"/>
              <a:gd name="connsiteX6" fmla="*/ 0 w 2149924"/>
              <a:gd name="connsiteY6" fmla="*/ 996125 h 1992250"/>
              <a:gd name="connsiteX7" fmla="*/ 0 w 2149924"/>
              <a:gd name="connsiteY7" fmla="*/ 996125 h 19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49924" h="1992250">
                <a:moveTo>
                  <a:pt x="0" y="996125"/>
                </a:moveTo>
                <a:cubicBezTo>
                  <a:pt x="0" y="445955"/>
                  <a:pt x="445955" y="0"/>
                  <a:pt x="996125" y="0"/>
                </a:cubicBezTo>
                <a:cubicBezTo>
                  <a:pt x="1463735" y="0"/>
                  <a:pt x="1856230" y="322117"/>
                  <a:pt x="1963151" y="757245"/>
                </a:cubicBezTo>
                <a:lnTo>
                  <a:pt x="2149925" y="996802"/>
                </a:lnTo>
                <a:lnTo>
                  <a:pt x="1963151" y="1236359"/>
                </a:lnTo>
                <a:cubicBezTo>
                  <a:pt x="1856230" y="1670134"/>
                  <a:pt x="1463735" y="1992250"/>
                  <a:pt x="996125" y="1992250"/>
                </a:cubicBezTo>
                <a:cubicBezTo>
                  <a:pt x="445955" y="1992250"/>
                  <a:pt x="0" y="1546295"/>
                  <a:pt x="0" y="996125"/>
                </a:cubicBezTo>
                <a:lnTo>
                  <a:pt x="0" y="996125"/>
                </a:lnTo>
                <a:close/>
              </a:path>
            </a:pathLst>
          </a:custGeom>
          <a:solidFill>
            <a:srgbClr val="4B6185"/>
          </a:solidFill>
          <a:ln w="6767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20" name="Forma Livre: Forma 19">
            <a:extLst>
              <a:ext uri="{FF2B5EF4-FFF2-40B4-BE49-F238E27FC236}">
                <a16:creationId xmlns:a16="http://schemas.microsoft.com/office/drawing/2014/main" id="{3075EA8F-B055-43C0-BC14-6C8EE21F9183}"/>
              </a:ext>
            </a:extLst>
          </p:cNvPr>
          <p:cNvSpPr/>
          <p:nvPr/>
        </p:nvSpPr>
        <p:spPr>
          <a:xfrm>
            <a:off x="1002201" y="1938126"/>
            <a:ext cx="2150601" cy="1992250"/>
          </a:xfrm>
          <a:custGeom>
            <a:avLst/>
            <a:gdLst>
              <a:gd name="connsiteX0" fmla="*/ 0 w 2150601"/>
              <a:gd name="connsiteY0" fmla="*/ 996125 h 1992250"/>
              <a:gd name="connsiteX1" fmla="*/ 996125 w 2150601"/>
              <a:gd name="connsiteY1" fmla="*/ 0 h 1992250"/>
              <a:gd name="connsiteX2" fmla="*/ 1963151 w 2150601"/>
              <a:gd name="connsiteY2" fmla="*/ 757245 h 1992250"/>
              <a:gd name="connsiteX3" fmla="*/ 2150601 w 2150601"/>
              <a:gd name="connsiteY3" fmla="*/ 996802 h 1992250"/>
              <a:gd name="connsiteX4" fmla="*/ 1963151 w 2150601"/>
              <a:gd name="connsiteY4" fmla="*/ 1236359 h 1992250"/>
              <a:gd name="connsiteX5" fmla="*/ 996802 w 2150601"/>
              <a:gd name="connsiteY5" fmla="*/ 1992250 h 1992250"/>
              <a:gd name="connsiteX6" fmla="*/ 0 w 2150601"/>
              <a:gd name="connsiteY6" fmla="*/ 996125 h 1992250"/>
              <a:gd name="connsiteX7" fmla="*/ 0 w 2150601"/>
              <a:gd name="connsiteY7" fmla="*/ 996125 h 19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50601" h="1992250">
                <a:moveTo>
                  <a:pt x="0" y="996125"/>
                </a:moveTo>
                <a:cubicBezTo>
                  <a:pt x="0" y="445955"/>
                  <a:pt x="445955" y="0"/>
                  <a:pt x="996125" y="0"/>
                </a:cubicBezTo>
                <a:cubicBezTo>
                  <a:pt x="1463735" y="0"/>
                  <a:pt x="1856230" y="322117"/>
                  <a:pt x="1963151" y="757245"/>
                </a:cubicBezTo>
                <a:lnTo>
                  <a:pt x="2150601" y="996802"/>
                </a:lnTo>
                <a:lnTo>
                  <a:pt x="1963151" y="1236359"/>
                </a:lnTo>
                <a:cubicBezTo>
                  <a:pt x="1856907" y="1670134"/>
                  <a:pt x="1464412" y="1992250"/>
                  <a:pt x="996802" y="1992250"/>
                </a:cubicBezTo>
                <a:cubicBezTo>
                  <a:pt x="446632" y="1992250"/>
                  <a:pt x="0" y="1546295"/>
                  <a:pt x="0" y="996125"/>
                </a:cubicBezTo>
                <a:lnTo>
                  <a:pt x="0" y="996125"/>
                </a:lnTo>
                <a:close/>
              </a:path>
            </a:pathLst>
          </a:custGeom>
          <a:solidFill>
            <a:srgbClr val="11385A"/>
          </a:solidFill>
          <a:ln w="6767" cap="flat">
            <a:noFill/>
            <a:prstDash val="solid"/>
            <a:miter/>
          </a:ln>
        </p:spPr>
        <p:txBody>
          <a:bodyPr rtlCol="0" anchor="ctr"/>
          <a:lstStyle/>
          <a:p>
            <a:endParaRPr lang="pt-BR" dirty="0"/>
          </a:p>
        </p:txBody>
      </p:sp>
      <p:grpSp>
        <p:nvGrpSpPr>
          <p:cNvPr id="24" name="Agrupar 23">
            <a:extLst>
              <a:ext uri="{FF2B5EF4-FFF2-40B4-BE49-F238E27FC236}">
                <a16:creationId xmlns:a16="http://schemas.microsoft.com/office/drawing/2014/main" id="{7B2200D3-7479-4870-89BB-94E6AA4C4085}"/>
              </a:ext>
            </a:extLst>
          </p:cNvPr>
          <p:cNvGrpSpPr/>
          <p:nvPr/>
        </p:nvGrpSpPr>
        <p:grpSpPr>
          <a:xfrm>
            <a:off x="1864663" y="4198564"/>
            <a:ext cx="257174" cy="608567"/>
            <a:chOff x="1864663" y="4198564"/>
            <a:chExt cx="257174" cy="608567"/>
          </a:xfrm>
        </p:grpSpPr>
        <p:cxnSp>
          <p:nvCxnSpPr>
            <p:cNvPr id="21" name="Conector reto 20">
              <a:extLst>
                <a:ext uri="{FF2B5EF4-FFF2-40B4-BE49-F238E27FC236}">
                  <a16:creationId xmlns:a16="http://schemas.microsoft.com/office/drawing/2014/main" id="{72BB602B-51FA-420A-83B1-F5BD1BCF0A4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998013" y="4331914"/>
              <a:ext cx="0" cy="475217"/>
            </a:xfrm>
            <a:prstGeom prst="line">
              <a:avLst/>
            </a:prstGeom>
            <a:ln w="38100">
              <a:solidFill>
                <a:srgbClr val="D6D6CE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Elipse 21">
              <a:extLst>
                <a:ext uri="{FF2B5EF4-FFF2-40B4-BE49-F238E27FC236}">
                  <a16:creationId xmlns:a16="http://schemas.microsoft.com/office/drawing/2014/main" id="{67AEA0A4-CD06-46AA-8262-C1A8ACA44F94}"/>
                </a:ext>
              </a:extLst>
            </p:cNvPr>
            <p:cNvSpPr/>
            <p:nvPr/>
          </p:nvSpPr>
          <p:spPr>
            <a:xfrm>
              <a:off x="1864663" y="4198564"/>
              <a:ext cx="257174" cy="257174"/>
            </a:xfrm>
            <a:prstGeom prst="ellipse">
              <a:avLst/>
            </a:prstGeom>
            <a:solidFill>
              <a:srgbClr val="2631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25" name="Agrupar 24">
            <a:extLst>
              <a:ext uri="{FF2B5EF4-FFF2-40B4-BE49-F238E27FC236}">
                <a16:creationId xmlns:a16="http://schemas.microsoft.com/office/drawing/2014/main" id="{630F728A-94FD-438B-9F7F-46384C52750E}"/>
              </a:ext>
            </a:extLst>
          </p:cNvPr>
          <p:cNvGrpSpPr/>
          <p:nvPr/>
        </p:nvGrpSpPr>
        <p:grpSpPr>
          <a:xfrm>
            <a:off x="3527691" y="4198564"/>
            <a:ext cx="257174" cy="608567"/>
            <a:chOff x="1864663" y="4198564"/>
            <a:chExt cx="257174" cy="608567"/>
          </a:xfrm>
          <a:solidFill>
            <a:srgbClr val="4B6185"/>
          </a:solidFill>
        </p:grpSpPr>
        <p:cxnSp>
          <p:nvCxnSpPr>
            <p:cNvPr id="26" name="Conector reto 25">
              <a:extLst>
                <a:ext uri="{FF2B5EF4-FFF2-40B4-BE49-F238E27FC236}">
                  <a16:creationId xmlns:a16="http://schemas.microsoft.com/office/drawing/2014/main" id="{DF0C73CC-4A7B-4EB3-A5C5-B28BCD2B829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998013" y="4331914"/>
              <a:ext cx="0" cy="475217"/>
            </a:xfrm>
            <a:prstGeom prst="line">
              <a:avLst/>
            </a:prstGeom>
            <a:grpFill/>
            <a:ln w="38100">
              <a:solidFill>
                <a:srgbClr val="D6D6CE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Elipse 26">
              <a:extLst>
                <a:ext uri="{FF2B5EF4-FFF2-40B4-BE49-F238E27FC236}">
                  <a16:creationId xmlns:a16="http://schemas.microsoft.com/office/drawing/2014/main" id="{87231ED7-6098-4977-9875-4B6549AA754D}"/>
                </a:ext>
              </a:extLst>
            </p:cNvPr>
            <p:cNvSpPr/>
            <p:nvPr/>
          </p:nvSpPr>
          <p:spPr>
            <a:xfrm>
              <a:off x="1864663" y="4198564"/>
              <a:ext cx="257174" cy="25717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28" name="Agrupar 27">
            <a:extLst>
              <a:ext uri="{FF2B5EF4-FFF2-40B4-BE49-F238E27FC236}">
                <a16:creationId xmlns:a16="http://schemas.microsoft.com/office/drawing/2014/main" id="{F9D8D3F1-F7FB-48E6-B0AD-2B1441F69690}"/>
              </a:ext>
            </a:extLst>
          </p:cNvPr>
          <p:cNvGrpSpPr/>
          <p:nvPr/>
        </p:nvGrpSpPr>
        <p:grpSpPr>
          <a:xfrm>
            <a:off x="5190381" y="4198564"/>
            <a:ext cx="257174" cy="608567"/>
            <a:chOff x="1864663" y="4198564"/>
            <a:chExt cx="257174" cy="608567"/>
          </a:xfrm>
          <a:solidFill>
            <a:srgbClr val="899DBD"/>
          </a:solidFill>
        </p:grpSpPr>
        <p:cxnSp>
          <p:nvCxnSpPr>
            <p:cNvPr id="29" name="Conector reto 28">
              <a:extLst>
                <a:ext uri="{FF2B5EF4-FFF2-40B4-BE49-F238E27FC236}">
                  <a16:creationId xmlns:a16="http://schemas.microsoft.com/office/drawing/2014/main" id="{6BDF227B-00D7-4275-BB74-E3952F3DE53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998013" y="4331914"/>
              <a:ext cx="0" cy="475217"/>
            </a:xfrm>
            <a:prstGeom prst="line">
              <a:avLst/>
            </a:prstGeom>
            <a:grpFill/>
            <a:ln w="38100">
              <a:solidFill>
                <a:srgbClr val="D6D6CE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Elipse 29">
              <a:extLst>
                <a:ext uri="{FF2B5EF4-FFF2-40B4-BE49-F238E27FC236}">
                  <a16:creationId xmlns:a16="http://schemas.microsoft.com/office/drawing/2014/main" id="{93285E22-795B-4BD5-895F-BEEC0614C39C}"/>
                </a:ext>
              </a:extLst>
            </p:cNvPr>
            <p:cNvSpPr/>
            <p:nvPr/>
          </p:nvSpPr>
          <p:spPr>
            <a:xfrm>
              <a:off x="1864663" y="4198564"/>
              <a:ext cx="257174" cy="25717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1" name="Agrupar 30">
            <a:extLst>
              <a:ext uri="{FF2B5EF4-FFF2-40B4-BE49-F238E27FC236}">
                <a16:creationId xmlns:a16="http://schemas.microsoft.com/office/drawing/2014/main" id="{197B8F30-14E5-44F0-BC2F-4506D8412FB6}"/>
              </a:ext>
            </a:extLst>
          </p:cNvPr>
          <p:cNvGrpSpPr/>
          <p:nvPr/>
        </p:nvGrpSpPr>
        <p:grpSpPr>
          <a:xfrm>
            <a:off x="6887784" y="4198564"/>
            <a:ext cx="257174" cy="608567"/>
            <a:chOff x="1864663" y="4198564"/>
            <a:chExt cx="257174" cy="608567"/>
          </a:xfrm>
          <a:solidFill>
            <a:srgbClr val="BFCADB"/>
          </a:solidFill>
        </p:grpSpPr>
        <p:cxnSp>
          <p:nvCxnSpPr>
            <p:cNvPr id="32" name="Conector reto 31">
              <a:extLst>
                <a:ext uri="{FF2B5EF4-FFF2-40B4-BE49-F238E27FC236}">
                  <a16:creationId xmlns:a16="http://schemas.microsoft.com/office/drawing/2014/main" id="{C9DA03A7-BAB5-47BC-B39E-691F4FF0D51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998013" y="4331914"/>
              <a:ext cx="0" cy="475217"/>
            </a:xfrm>
            <a:prstGeom prst="line">
              <a:avLst/>
            </a:prstGeom>
            <a:grpFill/>
            <a:ln w="38100">
              <a:solidFill>
                <a:srgbClr val="D6D6CE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Elipse 32">
              <a:extLst>
                <a:ext uri="{FF2B5EF4-FFF2-40B4-BE49-F238E27FC236}">
                  <a16:creationId xmlns:a16="http://schemas.microsoft.com/office/drawing/2014/main" id="{3DEC06AA-58F9-424B-A717-7B44A2848E45}"/>
                </a:ext>
              </a:extLst>
            </p:cNvPr>
            <p:cNvSpPr/>
            <p:nvPr/>
          </p:nvSpPr>
          <p:spPr>
            <a:xfrm>
              <a:off x="1864663" y="4198564"/>
              <a:ext cx="257174" cy="25717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4" name="Agrupar 33">
            <a:extLst>
              <a:ext uri="{FF2B5EF4-FFF2-40B4-BE49-F238E27FC236}">
                <a16:creationId xmlns:a16="http://schemas.microsoft.com/office/drawing/2014/main" id="{AA721D16-3173-4E36-BA98-A250A352843B}"/>
              </a:ext>
            </a:extLst>
          </p:cNvPr>
          <p:cNvGrpSpPr/>
          <p:nvPr/>
        </p:nvGrpSpPr>
        <p:grpSpPr>
          <a:xfrm>
            <a:off x="8530559" y="4198564"/>
            <a:ext cx="257174" cy="608567"/>
            <a:chOff x="1864663" y="4198564"/>
            <a:chExt cx="257174" cy="608567"/>
          </a:xfrm>
          <a:solidFill>
            <a:srgbClr val="899DBD"/>
          </a:solidFill>
        </p:grpSpPr>
        <p:cxnSp>
          <p:nvCxnSpPr>
            <p:cNvPr id="35" name="Conector reto 34">
              <a:extLst>
                <a:ext uri="{FF2B5EF4-FFF2-40B4-BE49-F238E27FC236}">
                  <a16:creationId xmlns:a16="http://schemas.microsoft.com/office/drawing/2014/main" id="{195B5CA8-D432-441C-9FBD-9599893BE14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998013" y="4331914"/>
              <a:ext cx="0" cy="475217"/>
            </a:xfrm>
            <a:prstGeom prst="line">
              <a:avLst/>
            </a:prstGeom>
            <a:grpFill/>
            <a:ln w="38100">
              <a:solidFill>
                <a:srgbClr val="D6D6CE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Elipse 35">
              <a:extLst>
                <a:ext uri="{FF2B5EF4-FFF2-40B4-BE49-F238E27FC236}">
                  <a16:creationId xmlns:a16="http://schemas.microsoft.com/office/drawing/2014/main" id="{F3AD5170-03D5-45AB-A058-4E7454600DA7}"/>
                </a:ext>
              </a:extLst>
            </p:cNvPr>
            <p:cNvSpPr/>
            <p:nvPr/>
          </p:nvSpPr>
          <p:spPr>
            <a:xfrm>
              <a:off x="1864663" y="4198564"/>
              <a:ext cx="257174" cy="25717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7" name="Agrupar 36">
            <a:extLst>
              <a:ext uri="{FF2B5EF4-FFF2-40B4-BE49-F238E27FC236}">
                <a16:creationId xmlns:a16="http://schemas.microsoft.com/office/drawing/2014/main" id="{89A42A72-5704-440E-AB03-9BF489EF5481}"/>
              </a:ext>
            </a:extLst>
          </p:cNvPr>
          <p:cNvGrpSpPr/>
          <p:nvPr/>
        </p:nvGrpSpPr>
        <p:grpSpPr>
          <a:xfrm>
            <a:off x="10222722" y="4198564"/>
            <a:ext cx="257174" cy="608567"/>
            <a:chOff x="1864663" y="4198564"/>
            <a:chExt cx="257174" cy="608567"/>
          </a:xfrm>
          <a:solidFill>
            <a:srgbClr val="4B6185"/>
          </a:solidFill>
        </p:grpSpPr>
        <p:cxnSp>
          <p:nvCxnSpPr>
            <p:cNvPr id="38" name="Conector reto 37">
              <a:extLst>
                <a:ext uri="{FF2B5EF4-FFF2-40B4-BE49-F238E27FC236}">
                  <a16:creationId xmlns:a16="http://schemas.microsoft.com/office/drawing/2014/main" id="{61D495C7-6E57-4D07-86CC-62ABF689D44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998013" y="4331914"/>
              <a:ext cx="0" cy="475217"/>
            </a:xfrm>
            <a:prstGeom prst="line">
              <a:avLst/>
            </a:prstGeom>
            <a:grpFill/>
            <a:ln w="38100">
              <a:solidFill>
                <a:srgbClr val="D6D6CE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Elipse 38">
              <a:extLst>
                <a:ext uri="{FF2B5EF4-FFF2-40B4-BE49-F238E27FC236}">
                  <a16:creationId xmlns:a16="http://schemas.microsoft.com/office/drawing/2014/main" id="{6C12AC79-C595-4379-8F5B-5B53E5757532}"/>
                </a:ext>
              </a:extLst>
            </p:cNvPr>
            <p:cNvSpPr/>
            <p:nvPr/>
          </p:nvSpPr>
          <p:spPr>
            <a:xfrm>
              <a:off x="1864663" y="4198564"/>
              <a:ext cx="257174" cy="25717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41" name="CaixaDeTexto 40">
            <a:extLst>
              <a:ext uri="{FF2B5EF4-FFF2-40B4-BE49-F238E27FC236}">
                <a16:creationId xmlns:a16="http://schemas.microsoft.com/office/drawing/2014/main" id="{6500B579-DA02-4002-948E-94913B737772}"/>
              </a:ext>
            </a:extLst>
          </p:cNvPr>
          <p:cNvSpPr txBox="1"/>
          <p:nvPr/>
        </p:nvSpPr>
        <p:spPr>
          <a:xfrm>
            <a:off x="1192420" y="4961031"/>
            <a:ext cx="159432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3" name="CaixaDeTexto 42">
            <a:extLst>
              <a:ext uri="{FF2B5EF4-FFF2-40B4-BE49-F238E27FC236}">
                <a16:creationId xmlns:a16="http://schemas.microsoft.com/office/drawing/2014/main" id="{2329936A-4CB3-4B4E-9308-96E01592C5C9}"/>
              </a:ext>
            </a:extLst>
          </p:cNvPr>
          <p:cNvSpPr txBox="1"/>
          <p:nvPr/>
        </p:nvSpPr>
        <p:spPr>
          <a:xfrm>
            <a:off x="2859116" y="4961031"/>
            <a:ext cx="159432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4" name="CaixaDeTexto 43">
            <a:extLst>
              <a:ext uri="{FF2B5EF4-FFF2-40B4-BE49-F238E27FC236}">
                <a16:creationId xmlns:a16="http://schemas.microsoft.com/office/drawing/2014/main" id="{D666B153-6317-49ED-ABCF-8F246525476A}"/>
              </a:ext>
            </a:extLst>
          </p:cNvPr>
          <p:cNvSpPr txBox="1"/>
          <p:nvPr/>
        </p:nvSpPr>
        <p:spPr>
          <a:xfrm>
            <a:off x="4525812" y="4961031"/>
            <a:ext cx="159432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5" name="CaixaDeTexto 44">
            <a:extLst>
              <a:ext uri="{FF2B5EF4-FFF2-40B4-BE49-F238E27FC236}">
                <a16:creationId xmlns:a16="http://schemas.microsoft.com/office/drawing/2014/main" id="{E177C0C0-9772-4FD2-990C-877EC8480F78}"/>
              </a:ext>
            </a:extLst>
          </p:cNvPr>
          <p:cNvSpPr txBox="1"/>
          <p:nvPr/>
        </p:nvSpPr>
        <p:spPr>
          <a:xfrm>
            <a:off x="6219209" y="4961031"/>
            <a:ext cx="159432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6" name="CaixaDeTexto 45">
            <a:extLst>
              <a:ext uri="{FF2B5EF4-FFF2-40B4-BE49-F238E27FC236}">
                <a16:creationId xmlns:a16="http://schemas.microsoft.com/office/drawing/2014/main" id="{2791815C-A15C-48A4-A821-265D73535D9A}"/>
              </a:ext>
            </a:extLst>
          </p:cNvPr>
          <p:cNvSpPr txBox="1"/>
          <p:nvPr/>
        </p:nvSpPr>
        <p:spPr>
          <a:xfrm>
            <a:off x="7861984" y="4961031"/>
            <a:ext cx="159432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7" name="CaixaDeTexto 46">
            <a:extLst>
              <a:ext uri="{FF2B5EF4-FFF2-40B4-BE49-F238E27FC236}">
                <a16:creationId xmlns:a16="http://schemas.microsoft.com/office/drawing/2014/main" id="{E96468CF-F0C3-4A4E-8E22-E42A7F80EED1}"/>
              </a:ext>
            </a:extLst>
          </p:cNvPr>
          <p:cNvSpPr txBox="1"/>
          <p:nvPr/>
        </p:nvSpPr>
        <p:spPr>
          <a:xfrm>
            <a:off x="9554147" y="4961031"/>
            <a:ext cx="159432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8" name="CaixaDeTexto 47">
            <a:extLst>
              <a:ext uri="{FF2B5EF4-FFF2-40B4-BE49-F238E27FC236}">
                <a16:creationId xmlns:a16="http://schemas.microsoft.com/office/drawing/2014/main" id="{9C930053-488E-4C03-B53A-0656BF383492}"/>
              </a:ext>
            </a:extLst>
          </p:cNvPr>
          <p:cNvSpPr txBox="1"/>
          <p:nvPr/>
        </p:nvSpPr>
        <p:spPr>
          <a:xfrm>
            <a:off x="1285385" y="3129340"/>
            <a:ext cx="13740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>
                <a:solidFill>
                  <a:schemeClr val="bg1"/>
                </a:solidFill>
              </a:rPr>
              <a:t>Inserir Título</a:t>
            </a:r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C27E9757-F2CA-4B5B-A688-8A800E3B54AC}"/>
              </a:ext>
            </a:extLst>
          </p:cNvPr>
          <p:cNvSpPr txBox="1"/>
          <p:nvPr/>
        </p:nvSpPr>
        <p:spPr>
          <a:xfrm>
            <a:off x="3053482" y="3129340"/>
            <a:ext cx="13740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>
                <a:solidFill>
                  <a:schemeClr val="bg1"/>
                </a:solidFill>
              </a:rPr>
              <a:t>Inserir Título</a:t>
            </a:r>
          </a:p>
        </p:txBody>
      </p:sp>
      <p:sp>
        <p:nvSpPr>
          <p:cNvPr id="50" name="CaixaDeTexto 49">
            <a:extLst>
              <a:ext uri="{FF2B5EF4-FFF2-40B4-BE49-F238E27FC236}">
                <a16:creationId xmlns:a16="http://schemas.microsoft.com/office/drawing/2014/main" id="{0D8B5FB4-800E-4C7F-A447-36D0FE5CF845}"/>
              </a:ext>
            </a:extLst>
          </p:cNvPr>
          <p:cNvSpPr txBox="1"/>
          <p:nvPr/>
        </p:nvSpPr>
        <p:spPr>
          <a:xfrm>
            <a:off x="4683352" y="3129340"/>
            <a:ext cx="13740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>
                <a:solidFill>
                  <a:schemeClr val="bg1"/>
                </a:solidFill>
              </a:rPr>
              <a:t>Inserir Título</a:t>
            </a:r>
          </a:p>
        </p:txBody>
      </p:sp>
      <p:sp>
        <p:nvSpPr>
          <p:cNvPr id="51" name="CaixaDeTexto 50">
            <a:extLst>
              <a:ext uri="{FF2B5EF4-FFF2-40B4-BE49-F238E27FC236}">
                <a16:creationId xmlns:a16="http://schemas.microsoft.com/office/drawing/2014/main" id="{AF83D159-2507-489F-B33D-7709B4E8AB69}"/>
              </a:ext>
            </a:extLst>
          </p:cNvPr>
          <p:cNvSpPr txBox="1"/>
          <p:nvPr/>
        </p:nvSpPr>
        <p:spPr>
          <a:xfrm>
            <a:off x="6398074" y="3129340"/>
            <a:ext cx="13740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>
                <a:solidFill>
                  <a:schemeClr val="bg1"/>
                </a:solidFill>
              </a:rPr>
              <a:t>Inserir Título</a:t>
            </a:r>
          </a:p>
        </p:txBody>
      </p:sp>
      <p:sp>
        <p:nvSpPr>
          <p:cNvPr id="52" name="CaixaDeTexto 51">
            <a:extLst>
              <a:ext uri="{FF2B5EF4-FFF2-40B4-BE49-F238E27FC236}">
                <a16:creationId xmlns:a16="http://schemas.microsoft.com/office/drawing/2014/main" id="{06C9E7A0-18D9-4475-AC87-3209B82F7F0C}"/>
              </a:ext>
            </a:extLst>
          </p:cNvPr>
          <p:cNvSpPr txBox="1"/>
          <p:nvPr/>
        </p:nvSpPr>
        <p:spPr>
          <a:xfrm>
            <a:off x="8082213" y="3129340"/>
            <a:ext cx="13740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>
                <a:solidFill>
                  <a:schemeClr val="bg1"/>
                </a:solidFill>
              </a:rPr>
              <a:t>Inserir Título</a:t>
            </a:r>
          </a:p>
        </p:txBody>
      </p:sp>
      <p:sp>
        <p:nvSpPr>
          <p:cNvPr id="53" name="CaixaDeTexto 52">
            <a:extLst>
              <a:ext uri="{FF2B5EF4-FFF2-40B4-BE49-F238E27FC236}">
                <a16:creationId xmlns:a16="http://schemas.microsoft.com/office/drawing/2014/main" id="{67628363-8530-4325-8190-9E3758E57F19}"/>
              </a:ext>
            </a:extLst>
          </p:cNvPr>
          <p:cNvSpPr txBox="1"/>
          <p:nvPr/>
        </p:nvSpPr>
        <p:spPr>
          <a:xfrm>
            <a:off x="9738948" y="3129340"/>
            <a:ext cx="13740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>
                <a:solidFill>
                  <a:schemeClr val="bg1"/>
                </a:solidFill>
              </a:rPr>
              <a:t>Inserir Título</a:t>
            </a:r>
          </a:p>
        </p:txBody>
      </p:sp>
      <p:sp>
        <p:nvSpPr>
          <p:cNvPr id="54" name="Forma Livre: Forma 53">
            <a:extLst>
              <a:ext uri="{FF2B5EF4-FFF2-40B4-BE49-F238E27FC236}">
                <a16:creationId xmlns:a16="http://schemas.microsoft.com/office/drawing/2014/main" id="{2441BC68-C498-452B-BDBE-779D316903C2}"/>
              </a:ext>
            </a:extLst>
          </p:cNvPr>
          <p:cNvSpPr/>
          <p:nvPr/>
        </p:nvSpPr>
        <p:spPr>
          <a:xfrm>
            <a:off x="4993858" y="2364409"/>
            <a:ext cx="687381" cy="656307"/>
          </a:xfrm>
          <a:custGeom>
            <a:avLst/>
            <a:gdLst>
              <a:gd name="connsiteX0" fmla="*/ 331267 w 421664"/>
              <a:gd name="connsiteY0" fmla="*/ 402445 h 402602"/>
              <a:gd name="connsiteX1" fmla="*/ 321190 w 421664"/>
              <a:gd name="connsiteY1" fmla="*/ 399296 h 402602"/>
              <a:gd name="connsiteX2" fmla="*/ 210975 w 421664"/>
              <a:gd name="connsiteY2" fmla="*/ 319311 h 402602"/>
              <a:gd name="connsiteX3" fmla="*/ 100759 w 421664"/>
              <a:gd name="connsiteY3" fmla="*/ 399296 h 402602"/>
              <a:gd name="connsiteX4" fmla="*/ 81235 w 421664"/>
              <a:gd name="connsiteY4" fmla="*/ 399296 h 402602"/>
              <a:gd name="connsiteX5" fmla="*/ 74937 w 421664"/>
              <a:gd name="connsiteY5" fmla="*/ 380402 h 402602"/>
              <a:gd name="connsiteX6" fmla="*/ 117134 w 421664"/>
              <a:gd name="connsiteY6" fmla="*/ 250662 h 402602"/>
              <a:gd name="connsiteX7" fmla="*/ 6918 w 421664"/>
              <a:gd name="connsiteY7" fmla="*/ 170677 h 402602"/>
              <a:gd name="connsiteX8" fmla="*/ 620 w 421664"/>
              <a:gd name="connsiteY8" fmla="*/ 151783 h 402602"/>
              <a:gd name="connsiteX9" fmla="*/ 16365 w 421664"/>
              <a:gd name="connsiteY9" fmla="*/ 140446 h 402602"/>
              <a:gd name="connsiteX10" fmla="*/ 152403 w 421664"/>
              <a:gd name="connsiteY10" fmla="*/ 140446 h 402602"/>
              <a:gd name="connsiteX11" fmla="*/ 194600 w 421664"/>
              <a:gd name="connsiteY11" fmla="*/ 10707 h 402602"/>
              <a:gd name="connsiteX12" fmla="*/ 210975 w 421664"/>
              <a:gd name="connsiteY12" fmla="*/ 0 h 402602"/>
              <a:gd name="connsiteX13" fmla="*/ 226720 w 421664"/>
              <a:gd name="connsiteY13" fmla="*/ 11336 h 402602"/>
              <a:gd name="connsiteX14" fmla="*/ 268917 w 421664"/>
              <a:gd name="connsiteY14" fmla="*/ 141076 h 402602"/>
              <a:gd name="connsiteX15" fmla="*/ 404954 w 421664"/>
              <a:gd name="connsiteY15" fmla="*/ 141076 h 402602"/>
              <a:gd name="connsiteX16" fmla="*/ 420700 w 421664"/>
              <a:gd name="connsiteY16" fmla="*/ 152413 h 402602"/>
              <a:gd name="connsiteX17" fmla="*/ 414402 w 421664"/>
              <a:gd name="connsiteY17" fmla="*/ 171307 h 402602"/>
              <a:gd name="connsiteX18" fmla="*/ 304815 w 421664"/>
              <a:gd name="connsiteY18" fmla="*/ 251292 h 402602"/>
              <a:gd name="connsiteX19" fmla="*/ 347012 w 421664"/>
              <a:gd name="connsiteY19" fmla="*/ 381031 h 402602"/>
              <a:gd name="connsiteX20" fmla="*/ 340714 w 421664"/>
              <a:gd name="connsiteY20" fmla="*/ 399925 h 402602"/>
              <a:gd name="connsiteX21" fmla="*/ 331267 w 421664"/>
              <a:gd name="connsiteY21" fmla="*/ 402445 h 402602"/>
              <a:gd name="connsiteX22" fmla="*/ 331267 w 421664"/>
              <a:gd name="connsiteY22" fmla="*/ 402445 h 402602"/>
              <a:gd name="connsiteX23" fmla="*/ 210975 w 421664"/>
              <a:gd name="connsiteY23" fmla="*/ 282152 h 402602"/>
              <a:gd name="connsiteX24" fmla="*/ 221052 w 421664"/>
              <a:gd name="connsiteY24" fmla="*/ 285301 h 402602"/>
              <a:gd name="connsiteX25" fmla="*/ 299777 w 421664"/>
              <a:gd name="connsiteY25" fmla="*/ 341983 h 402602"/>
              <a:gd name="connsiteX26" fmla="*/ 269547 w 421664"/>
              <a:gd name="connsiteY26" fmla="*/ 250032 h 402602"/>
              <a:gd name="connsiteX27" fmla="*/ 275845 w 421664"/>
              <a:gd name="connsiteY27" fmla="*/ 231138 h 402602"/>
              <a:gd name="connsiteX28" fmla="*/ 354570 w 421664"/>
              <a:gd name="connsiteY28" fmla="*/ 174456 h 402602"/>
              <a:gd name="connsiteX29" fmla="*/ 257580 w 421664"/>
              <a:gd name="connsiteY29" fmla="*/ 174456 h 402602"/>
              <a:gd name="connsiteX30" fmla="*/ 241835 w 421664"/>
              <a:gd name="connsiteY30" fmla="*/ 163119 h 402602"/>
              <a:gd name="connsiteX31" fmla="*/ 211605 w 421664"/>
              <a:gd name="connsiteY31" fmla="*/ 71168 h 402602"/>
              <a:gd name="connsiteX32" fmla="*/ 181374 w 421664"/>
              <a:gd name="connsiteY32" fmla="*/ 163119 h 402602"/>
              <a:gd name="connsiteX33" fmla="*/ 165629 w 421664"/>
              <a:gd name="connsiteY33" fmla="*/ 174456 h 402602"/>
              <a:gd name="connsiteX34" fmla="*/ 68639 w 421664"/>
              <a:gd name="connsiteY34" fmla="*/ 174456 h 402602"/>
              <a:gd name="connsiteX35" fmla="*/ 147365 w 421664"/>
              <a:gd name="connsiteY35" fmla="*/ 231138 h 402602"/>
              <a:gd name="connsiteX36" fmla="*/ 153663 w 421664"/>
              <a:gd name="connsiteY36" fmla="*/ 250032 h 402602"/>
              <a:gd name="connsiteX37" fmla="*/ 123432 w 421664"/>
              <a:gd name="connsiteY37" fmla="*/ 341983 h 402602"/>
              <a:gd name="connsiteX38" fmla="*/ 202158 w 421664"/>
              <a:gd name="connsiteY38" fmla="*/ 285301 h 402602"/>
              <a:gd name="connsiteX39" fmla="*/ 210975 w 421664"/>
              <a:gd name="connsiteY39" fmla="*/ 282152 h 402602"/>
              <a:gd name="connsiteX40" fmla="*/ 210975 w 421664"/>
              <a:gd name="connsiteY40" fmla="*/ 282152 h 402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21664" h="402602">
                <a:moveTo>
                  <a:pt x="331267" y="402445"/>
                </a:moveTo>
                <a:cubicBezTo>
                  <a:pt x="328118" y="402445"/>
                  <a:pt x="324339" y="401185"/>
                  <a:pt x="321190" y="399296"/>
                </a:cubicBezTo>
                <a:lnTo>
                  <a:pt x="210975" y="319311"/>
                </a:lnTo>
                <a:lnTo>
                  <a:pt x="100759" y="399296"/>
                </a:lnTo>
                <a:cubicBezTo>
                  <a:pt x="95091" y="403704"/>
                  <a:pt x="86904" y="403704"/>
                  <a:pt x="81235" y="399296"/>
                </a:cubicBezTo>
                <a:cubicBezTo>
                  <a:pt x="75567" y="394887"/>
                  <a:pt x="73048" y="387329"/>
                  <a:pt x="74937" y="380402"/>
                </a:cubicBezTo>
                <a:lnTo>
                  <a:pt x="117134" y="250662"/>
                </a:lnTo>
                <a:lnTo>
                  <a:pt x="6918" y="170677"/>
                </a:lnTo>
                <a:cubicBezTo>
                  <a:pt x="1250" y="166268"/>
                  <a:pt x="-1269" y="158711"/>
                  <a:pt x="620" y="151783"/>
                </a:cubicBezTo>
                <a:cubicBezTo>
                  <a:pt x="3139" y="144855"/>
                  <a:pt x="9437" y="140446"/>
                  <a:pt x="16365" y="140446"/>
                </a:cubicBezTo>
                <a:lnTo>
                  <a:pt x="152403" y="140446"/>
                </a:lnTo>
                <a:lnTo>
                  <a:pt x="194600" y="10707"/>
                </a:lnTo>
                <a:cubicBezTo>
                  <a:pt x="197749" y="4409"/>
                  <a:pt x="204047" y="0"/>
                  <a:pt x="210975" y="0"/>
                </a:cubicBezTo>
                <a:cubicBezTo>
                  <a:pt x="217903" y="0"/>
                  <a:pt x="224830" y="4409"/>
                  <a:pt x="226720" y="11336"/>
                </a:cubicBezTo>
                <a:lnTo>
                  <a:pt x="268917" y="141076"/>
                </a:lnTo>
                <a:lnTo>
                  <a:pt x="404954" y="141076"/>
                </a:lnTo>
                <a:cubicBezTo>
                  <a:pt x="411882" y="141076"/>
                  <a:pt x="418810" y="145485"/>
                  <a:pt x="420700" y="152413"/>
                </a:cubicBezTo>
                <a:cubicBezTo>
                  <a:pt x="423219" y="159340"/>
                  <a:pt x="420700" y="166898"/>
                  <a:pt x="414402" y="171307"/>
                </a:cubicBezTo>
                <a:lnTo>
                  <a:pt x="304815" y="251292"/>
                </a:lnTo>
                <a:lnTo>
                  <a:pt x="347012" y="381031"/>
                </a:lnTo>
                <a:cubicBezTo>
                  <a:pt x="349531" y="387959"/>
                  <a:pt x="347012" y="395517"/>
                  <a:pt x="340714" y="399925"/>
                </a:cubicBezTo>
                <a:cubicBezTo>
                  <a:pt x="338195" y="401815"/>
                  <a:pt x="334416" y="402445"/>
                  <a:pt x="331267" y="402445"/>
                </a:cubicBezTo>
                <a:lnTo>
                  <a:pt x="331267" y="402445"/>
                </a:lnTo>
                <a:close/>
                <a:moveTo>
                  <a:pt x="210975" y="282152"/>
                </a:moveTo>
                <a:cubicBezTo>
                  <a:pt x="214124" y="282152"/>
                  <a:pt x="217903" y="283412"/>
                  <a:pt x="221052" y="285301"/>
                </a:cubicBezTo>
                <a:lnTo>
                  <a:pt x="299777" y="341983"/>
                </a:lnTo>
                <a:lnTo>
                  <a:pt x="269547" y="250032"/>
                </a:lnTo>
                <a:cubicBezTo>
                  <a:pt x="267027" y="243104"/>
                  <a:pt x="269547" y="235547"/>
                  <a:pt x="275845" y="231138"/>
                </a:cubicBezTo>
                <a:lnTo>
                  <a:pt x="354570" y="174456"/>
                </a:lnTo>
                <a:lnTo>
                  <a:pt x="257580" y="174456"/>
                </a:lnTo>
                <a:cubicBezTo>
                  <a:pt x="250653" y="174456"/>
                  <a:pt x="243724" y="170047"/>
                  <a:pt x="241835" y="163119"/>
                </a:cubicBezTo>
                <a:lnTo>
                  <a:pt x="211605" y="71168"/>
                </a:lnTo>
                <a:lnTo>
                  <a:pt x="181374" y="163119"/>
                </a:lnTo>
                <a:cubicBezTo>
                  <a:pt x="178855" y="170047"/>
                  <a:pt x="172557" y="174456"/>
                  <a:pt x="165629" y="174456"/>
                </a:cubicBezTo>
                <a:lnTo>
                  <a:pt x="68639" y="174456"/>
                </a:lnTo>
                <a:lnTo>
                  <a:pt x="147365" y="231138"/>
                </a:lnTo>
                <a:cubicBezTo>
                  <a:pt x="153033" y="235547"/>
                  <a:pt x="155552" y="243104"/>
                  <a:pt x="153663" y="250032"/>
                </a:cubicBezTo>
                <a:lnTo>
                  <a:pt x="123432" y="341983"/>
                </a:lnTo>
                <a:lnTo>
                  <a:pt x="202158" y="285301"/>
                </a:lnTo>
                <a:cubicBezTo>
                  <a:pt x="204047" y="283412"/>
                  <a:pt x="207826" y="282152"/>
                  <a:pt x="210975" y="282152"/>
                </a:cubicBezTo>
                <a:lnTo>
                  <a:pt x="210975" y="282152"/>
                </a:lnTo>
                <a:close/>
              </a:path>
            </a:pathLst>
          </a:custGeom>
          <a:solidFill>
            <a:schemeClr val="bg1"/>
          </a:solidFill>
          <a:ln w="6294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grpSp>
        <p:nvGrpSpPr>
          <p:cNvPr id="55" name="Gráfico 2">
            <a:extLst>
              <a:ext uri="{FF2B5EF4-FFF2-40B4-BE49-F238E27FC236}">
                <a16:creationId xmlns:a16="http://schemas.microsoft.com/office/drawing/2014/main" id="{3B8CF8EE-DF48-4867-8A40-CE75FE493EBB}"/>
              </a:ext>
            </a:extLst>
          </p:cNvPr>
          <p:cNvGrpSpPr/>
          <p:nvPr/>
        </p:nvGrpSpPr>
        <p:grpSpPr>
          <a:xfrm>
            <a:off x="3367459" y="2381533"/>
            <a:ext cx="646809" cy="646809"/>
            <a:chOff x="4341995" y="1546900"/>
            <a:chExt cx="396776" cy="396776"/>
          </a:xfrm>
          <a:solidFill>
            <a:schemeClr val="bg1"/>
          </a:solidFill>
        </p:grpSpPr>
        <p:sp>
          <p:nvSpPr>
            <p:cNvPr id="56" name="Forma Livre: Forma 55">
              <a:extLst>
                <a:ext uri="{FF2B5EF4-FFF2-40B4-BE49-F238E27FC236}">
                  <a16:creationId xmlns:a16="http://schemas.microsoft.com/office/drawing/2014/main" id="{614E0572-34E1-4B2C-B011-B4FC922A8485}"/>
                </a:ext>
              </a:extLst>
            </p:cNvPr>
            <p:cNvSpPr/>
            <p:nvPr/>
          </p:nvSpPr>
          <p:spPr>
            <a:xfrm>
              <a:off x="4341995" y="1546900"/>
              <a:ext cx="396776" cy="396776"/>
            </a:xfrm>
            <a:custGeom>
              <a:avLst/>
              <a:gdLst>
                <a:gd name="connsiteX0" fmla="*/ 198388 w 396776"/>
                <a:gd name="connsiteY0" fmla="*/ 396776 h 396776"/>
                <a:gd name="connsiteX1" fmla="*/ 0 w 396776"/>
                <a:gd name="connsiteY1" fmla="*/ 198388 h 396776"/>
                <a:gd name="connsiteX2" fmla="*/ 198388 w 396776"/>
                <a:gd name="connsiteY2" fmla="*/ 0 h 396776"/>
                <a:gd name="connsiteX3" fmla="*/ 396776 w 396776"/>
                <a:gd name="connsiteY3" fmla="*/ 198388 h 396776"/>
                <a:gd name="connsiteX4" fmla="*/ 198388 w 396776"/>
                <a:gd name="connsiteY4" fmla="*/ 396776 h 396776"/>
                <a:gd name="connsiteX5" fmla="*/ 198388 w 396776"/>
                <a:gd name="connsiteY5" fmla="*/ 396776 h 396776"/>
                <a:gd name="connsiteX6" fmla="*/ 198388 w 396776"/>
                <a:gd name="connsiteY6" fmla="*/ 33380 h 396776"/>
                <a:gd name="connsiteX7" fmla="*/ 33380 w 396776"/>
                <a:gd name="connsiteY7" fmla="*/ 198388 h 396776"/>
                <a:gd name="connsiteX8" fmla="*/ 198388 w 396776"/>
                <a:gd name="connsiteY8" fmla="*/ 363397 h 396776"/>
                <a:gd name="connsiteX9" fmla="*/ 363397 w 396776"/>
                <a:gd name="connsiteY9" fmla="*/ 198388 h 396776"/>
                <a:gd name="connsiteX10" fmla="*/ 198388 w 396776"/>
                <a:gd name="connsiteY10" fmla="*/ 33380 h 396776"/>
                <a:gd name="connsiteX11" fmla="*/ 198388 w 396776"/>
                <a:gd name="connsiteY11" fmla="*/ 33380 h 396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96776" h="396776">
                  <a:moveTo>
                    <a:pt x="198388" y="396776"/>
                  </a:moveTo>
                  <a:cubicBezTo>
                    <a:pt x="88802" y="396776"/>
                    <a:pt x="0" y="307974"/>
                    <a:pt x="0" y="198388"/>
                  </a:cubicBezTo>
                  <a:cubicBezTo>
                    <a:pt x="0" y="89432"/>
                    <a:pt x="88802" y="0"/>
                    <a:pt x="198388" y="0"/>
                  </a:cubicBezTo>
                  <a:cubicBezTo>
                    <a:pt x="307974" y="0"/>
                    <a:pt x="396776" y="88802"/>
                    <a:pt x="396776" y="198388"/>
                  </a:cubicBezTo>
                  <a:cubicBezTo>
                    <a:pt x="396147" y="307344"/>
                    <a:pt x="307344" y="396776"/>
                    <a:pt x="198388" y="396776"/>
                  </a:cubicBezTo>
                  <a:lnTo>
                    <a:pt x="198388" y="396776"/>
                  </a:lnTo>
                  <a:close/>
                  <a:moveTo>
                    <a:pt x="198388" y="33380"/>
                  </a:moveTo>
                  <a:cubicBezTo>
                    <a:pt x="107697" y="33380"/>
                    <a:pt x="33380" y="107067"/>
                    <a:pt x="33380" y="198388"/>
                  </a:cubicBezTo>
                  <a:cubicBezTo>
                    <a:pt x="33380" y="289080"/>
                    <a:pt x="107067" y="363397"/>
                    <a:pt x="198388" y="363397"/>
                  </a:cubicBezTo>
                  <a:cubicBezTo>
                    <a:pt x="289080" y="363397"/>
                    <a:pt x="363397" y="289710"/>
                    <a:pt x="363397" y="198388"/>
                  </a:cubicBezTo>
                  <a:cubicBezTo>
                    <a:pt x="362767" y="107696"/>
                    <a:pt x="289080" y="33380"/>
                    <a:pt x="198388" y="33380"/>
                  </a:cubicBezTo>
                  <a:lnTo>
                    <a:pt x="198388" y="3338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57" name="Forma Livre: Forma 56">
              <a:extLst>
                <a:ext uri="{FF2B5EF4-FFF2-40B4-BE49-F238E27FC236}">
                  <a16:creationId xmlns:a16="http://schemas.microsoft.com/office/drawing/2014/main" id="{2E8D5C8B-C485-4B09-A113-694ED1EF0667}"/>
                </a:ext>
              </a:extLst>
            </p:cNvPr>
            <p:cNvSpPr/>
            <p:nvPr/>
          </p:nvSpPr>
          <p:spPr>
            <a:xfrm>
              <a:off x="4427019" y="1555718"/>
              <a:ext cx="226729" cy="379141"/>
            </a:xfrm>
            <a:custGeom>
              <a:avLst/>
              <a:gdLst>
                <a:gd name="connsiteX0" fmla="*/ 113365 w 226729"/>
                <a:gd name="connsiteY0" fmla="*/ 379142 h 379141"/>
                <a:gd name="connsiteX1" fmla="*/ 0 w 226729"/>
                <a:gd name="connsiteY1" fmla="*/ 189571 h 379141"/>
                <a:gd name="connsiteX2" fmla="*/ 113365 w 226729"/>
                <a:gd name="connsiteY2" fmla="*/ 0 h 379141"/>
                <a:gd name="connsiteX3" fmla="*/ 226729 w 226729"/>
                <a:gd name="connsiteY3" fmla="*/ 189571 h 379141"/>
                <a:gd name="connsiteX4" fmla="*/ 113365 w 226729"/>
                <a:gd name="connsiteY4" fmla="*/ 379142 h 379141"/>
                <a:gd name="connsiteX5" fmla="*/ 113365 w 226729"/>
                <a:gd name="connsiteY5" fmla="*/ 379142 h 379141"/>
                <a:gd name="connsiteX6" fmla="*/ 113365 w 226729"/>
                <a:gd name="connsiteY6" fmla="*/ 16375 h 379141"/>
                <a:gd name="connsiteX7" fmla="*/ 17005 w 226729"/>
                <a:gd name="connsiteY7" fmla="*/ 189571 h 379141"/>
                <a:gd name="connsiteX8" fmla="*/ 113365 w 226729"/>
                <a:gd name="connsiteY8" fmla="*/ 362767 h 379141"/>
                <a:gd name="connsiteX9" fmla="*/ 209725 w 226729"/>
                <a:gd name="connsiteY9" fmla="*/ 189571 h 379141"/>
                <a:gd name="connsiteX10" fmla="*/ 113365 w 226729"/>
                <a:gd name="connsiteY10" fmla="*/ 16375 h 379141"/>
                <a:gd name="connsiteX11" fmla="*/ 113365 w 226729"/>
                <a:gd name="connsiteY11" fmla="*/ 16375 h 379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6729" h="379141">
                  <a:moveTo>
                    <a:pt x="113365" y="379142"/>
                  </a:moveTo>
                  <a:cubicBezTo>
                    <a:pt x="51014" y="379142"/>
                    <a:pt x="0" y="294118"/>
                    <a:pt x="0" y="189571"/>
                  </a:cubicBezTo>
                  <a:cubicBezTo>
                    <a:pt x="0" y="85024"/>
                    <a:pt x="51014" y="0"/>
                    <a:pt x="113365" y="0"/>
                  </a:cubicBezTo>
                  <a:cubicBezTo>
                    <a:pt x="175715" y="0"/>
                    <a:pt x="226729" y="85024"/>
                    <a:pt x="226729" y="189571"/>
                  </a:cubicBezTo>
                  <a:cubicBezTo>
                    <a:pt x="226729" y="294118"/>
                    <a:pt x="175715" y="379142"/>
                    <a:pt x="113365" y="379142"/>
                  </a:cubicBezTo>
                  <a:lnTo>
                    <a:pt x="113365" y="379142"/>
                  </a:lnTo>
                  <a:close/>
                  <a:moveTo>
                    <a:pt x="113365" y="16375"/>
                  </a:moveTo>
                  <a:cubicBezTo>
                    <a:pt x="59831" y="16375"/>
                    <a:pt x="17005" y="93841"/>
                    <a:pt x="17005" y="189571"/>
                  </a:cubicBezTo>
                  <a:cubicBezTo>
                    <a:pt x="17005" y="285301"/>
                    <a:pt x="60461" y="362767"/>
                    <a:pt x="113365" y="362767"/>
                  </a:cubicBezTo>
                  <a:cubicBezTo>
                    <a:pt x="166898" y="362767"/>
                    <a:pt x="209725" y="285301"/>
                    <a:pt x="209725" y="189571"/>
                  </a:cubicBezTo>
                  <a:cubicBezTo>
                    <a:pt x="209725" y="93841"/>
                    <a:pt x="166268" y="16375"/>
                    <a:pt x="113365" y="16375"/>
                  </a:cubicBezTo>
                  <a:lnTo>
                    <a:pt x="113365" y="16375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58" name="Forma Livre: Forma 57">
              <a:extLst>
                <a:ext uri="{FF2B5EF4-FFF2-40B4-BE49-F238E27FC236}">
                  <a16:creationId xmlns:a16="http://schemas.microsoft.com/office/drawing/2014/main" id="{BCDB398A-2D8E-41E0-BCEB-B96239BE68E0}"/>
                </a:ext>
              </a:extLst>
            </p:cNvPr>
            <p:cNvSpPr/>
            <p:nvPr/>
          </p:nvSpPr>
          <p:spPr>
            <a:xfrm>
              <a:off x="4532196" y="1555718"/>
              <a:ext cx="197758" cy="379141"/>
            </a:xfrm>
            <a:custGeom>
              <a:avLst/>
              <a:gdLst>
                <a:gd name="connsiteX0" fmla="*/ 8187 w 197758"/>
                <a:gd name="connsiteY0" fmla="*/ 379142 h 379141"/>
                <a:gd name="connsiteX1" fmla="*/ 0 w 197758"/>
                <a:gd name="connsiteY1" fmla="*/ 370954 h 379141"/>
                <a:gd name="connsiteX2" fmla="*/ 0 w 197758"/>
                <a:gd name="connsiteY2" fmla="*/ 8187 h 379141"/>
                <a:gd name="connsiteX3" fmla="*/ 8187 w 197758"/>
                <a:gd name="connsiteY3" fmla="*/ 0 h 379141"/>
                <a:gd name="connsiteX4" fmla="*/ 197758 w 197758"/>
                <a:gd name="connsiteY4" fmla="*/ 189571 h 379141"/>
                <a:gd name="connsiteX5" fmla="*/ 8187 w 197758"/>
                <a:gd name="connsiteY5" fmla="*/ 379142 h 379141"/>
                <a:gd name="connsiteX6" fmla="*/ 8187 w 197758"/>
                <a:gd name="connsiteY6" fmla="*/ 379142 h 379141"/>
                <a:gd name="connsiteX7" fmla="*/ 16375 w 197758"/>
                <a:gd name="connsiteY7" fmla="*/ 16375 h 379141"/>
                <a:gd name="connsiteX8" fmla="*/ 16375 w 197758"/>
                <a:gd name="connsiteY8" fmla="*/ 362137 h 379141"/>
                <a:gd name="connsiteX9" fmla="*/ 181383 w 197758"/>
                <a:gd name="connsiteY9" fmla="*/ 188941 h 379141"/>
                <a:gd name="connsiteX10" fmla="*/ 16375 w 197758"/>
                <a:gd name="connsiteY10" fmla="*/ 16375 h 379141"/>
                <a:gd name="connsiteX11" fmla="*/ 16375 w 197758"/>
                <a:gd name="connsiteY11" fmla="*/ 16375 h 379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7758" h="379141">
                  <a:moveTo>
                    <a:pt x="8187" y="379142"/>
                  </a:moveTo>
                  <a:cubicBezTo>
                    <a:pt x="3779" y="379142"/>
                    <a:pt x="0" y="375363"/>
                    <a:pt x="0" y="370954"/>
                  </a:cubicBezTo>
                  <a:lnTo>
                    <a:pt x="0" y="8187"/>
                  </a:lnTo>
                  <a:cubicBezTo>
                    <a:pt x="0" y="3779"/>
                    <a:pt x="3779" y="0"/>
                    <a:pt x="8187" y="0"/>
                  </a:cubicBezTo>
                  <a:cubicBezTo>
                    <a:pt x="112735" y="0"/>
                    <a:pt x="197758" y="85024"/>
                    <a:pt x="197758" y="189571"/>
                  </a:cubicBezTo>
                  <a:cubicBezTo>
                    <a:pt x="197758" y="294118"/>
                    <a:pt x="112735" y="379142"/>
                    <a:pt x="8187" y="379142"/>
                  </a:cubicBezTo>
                  <a:lnTo>
                    <a:pt x="8187" y="379142"/>
                  </a:lnTo>
                  <a:close/>
                  <a:moveTo>
                    <a:pt x="16375" y="16375"/>
                  </a:moveTo>
                  <a:lnTo>
                    <a:pt x="16375" y="362137"/>
                  </a:lnTo>
                  <a:cubicBezTo>
                    <a:pt x="107696" y="357729"/>
                    <a:pt x="181383" y="282152"/>
                    <a:pt x="181383" y="188941"/>
                  </a:cubicBezTo>
                  <a:cubicBezTo>
                    <a:pt x="181383" y="96990"/>
                    <a:pt x="107696" y="20783"/>
                    <a:pt x="16375" y="16375"/>
                  </a:cubicBezTo>
                  <a:lnTo>
                    <a:pt x="16375" y="16375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59" name="Forma Livre: Forma 58">
              <a:extLst>
                <a:ext uri="{FF2B5EF4-FFF2-40B4-BE49-F238E27FC236}">
                  <a16:creationId xmlns:a16="http://schemas.microsoft.com/office/drawing/2014/main" id="{AC82519A-93D0-43A3-9D21-18451731F446}"/>
                </a:ext>
              </a:extLst>
            </p:cNvPr>
            <p:cNvSpPr/>
            <p:nvPr/>
          </p:nvSpPr>
          <p:spPr>
            <a:xfrm>
              <a:off x="4350183" y="1672861"/>
              <a:ext cx="379771" cy="144854"/>
            </a:xfrm>
            <a:custGeom>
              <a:avLst/>
              <a:gdLst>
                <a:gd name="connsiteX0" fmla="*/ 359618 w 379771"/>
                <a:gd name="connsiteY0" fmla="*/ 144855 h 144854"/>
                <a:gd name="connsiteX1" fmla="*/ 20154 w 379771"/>
                <a:gd name="connsiteY1" fmla="*/ 144855 h 144854"/>
                <a:gd name="connsiteX2" fmla="*/ 12596 w 379771"/>
                <a:gd name="connsiteY2" fmla="*/ 139187 h 144854"/>
                <a:gd name="connsiteX3" fmla="*/ 0 w 379771"/>
                <a:gd name="connsiteY3" fmla="*/ 72427 h 144854"/>
                <a:gd name="connsiteX4" fmla="*/ 12596 w 379771"/>
                <a:gd name="connsiteY4" fmla="*/ 5668 h 144854"/>
                <a:gd name="connsiteX5" fmla="*/ 20154 w 379771"/>
                <a:gd name="connsiteY5" fmla="*/ 0 h 144854"/>
                <a:gd name="connsiteX6" fmla="*/ 359618 w 379771"/>
                <a:gd name="connsiteY6" fmla="*/ 0 h 144854"/>
                <a:gd name="connsiteX7" fmla="*/ 367176 w 379771"/>
                <a:gd name="connsiteY7" fmla="*/ 5668 h 144854"/>
                <a:gd name="connsiteX8" fmla="*/ 379772 w 379771"/>
                <a:gd name="connsiteY8" fmla="*/ 72427 h 144854"/>
                <a:gd name="connsiteX9" fmla="*/ 367176 w 379771"/>
                <a:gd name="connsiteY9" fmla="*/ 139187 h 144854"/>
                <a:gd name="connsiteX10" fmla="*/ 359618 w 379771"/>
                <a:gd name="connsiteY10" fmla="*/ 144855 h 144854"/>
                <a:gd name="connsiteX11" fmla="*/ 359618 w 379771"/>
                <a:gd name="connsiteY11" fmla="*/ 144855 h 144854"/>
                <a:gd name="connsiteX12" fmla="*/ 26452 w 379771"/>
                <a:gd name="connsiteY12" fmla="*/ 127850 h 144854"/>
                <a:gd name="connsiteX13" fmla="*/ 353950 w 379771"/>
                <a:gd name="connsiteY13" fmla="*/ 127850 h 144854"/>
                <a:gd name="connsiteX14" fmla="*/ 363397 w 379771"/>
                <a:gd name="connsiteY14" fmla="*/ 72427 h 144854"/>
                <a:gd name="connsiteX15" fmla="*/ 353950 w 379771"/>
                <a:gd name="connsiteY15" fmla="*/ 17005 h 144854"/>
                <a:gd name="connsiteX16" fmla="*/ 26452 w 379771"/>
                <a:gd name="connsiteY16" fmla="*/ 17005 h 144854"/>
                <a:gd name="connsiteX17" fmla="*/ 17005 w 379771"/>
                <a:gd name="connsiteY17" fmla="*/ 72427 h 144854"/>
                <a:gd name="connsiteX18" fmla="*/ 26452 w 379771"/>
                <a:gd name="connsiteY18" fmla="*/ 127850 h 144854"/>
                <a:gd name="connsiteX19" fmla="*/ 26452 w 379771"/>
                <a:gd name="connsiteY19" fmla="*/ 127850 h 144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79771" h="144854">
                  <a:moveTo>
                    <a:pt x="359618" y="144855"/>
                  </a:moveTo>
                  <a:lnTo>
                    <a:pt x="20154" y="144855"/>
                  </a:lnTo>
                  <a:cubicBezTo>
                    <a:pt x="16375" y="144855"/>
                    <a:pt x="13856" y="142965"/>
                    <a:pt x="12596" y="139187"/>
                  </a:cubicBezTo>
                  <a:cubicBezTo>
                    <a:pt x="4409" y="117144"/>
                    <a:pt x="0" y="95100"/>
                    <a:pt x="0" y="72427"/>
                  </a:cubicBezTo>
                  <a:cubicBezTo>
                    <a:pt x="0" y="49755"/>
                    <a:pt x="4409" y="27082"/>
                    <a:pt x="12596" y="5668"/>
                  </a:cubicBezTo>
                  <a:cubicBezTo>
                    <a:pt x="13856" y="2519"/>
                    <a:pt x="17005" y="0"/>
                    <a:pt x="20154" y="0"/>
                  </a:cubicBezTo>
                  <a:lnTo>
                    <a:pt x="359618" y="0"/>
                  </a:lnTo>
                  <a:cubicBezTo>
                    <a:pt x="363397" y="0"/>
                    <a:pt x="365916" y="1889"/>
                    <a:pt x="367176" y="5668"/>
                  </a:cubicBezTo>
                  <a:cubicBezTo>
                    <a:pt x="375363" y="27711"/>
                    <a:pt x="379772" y="49755"/>
                    <a:pt x="379772" y="72427"/>
                  </a:cubicBezTo>
                  <a:cubicBezTo>
                    <a:pt x="379772" y="95100"/>
                    <a:pt x="375363" y="117773"/>
                    <a:pt x="367176" y="139187"/>
                  </a:cubicBezTo>
                  <a:cubicBezTo>
                    <a:pt x="366546" y="142336"/>
                    <a:pt x="363397" y="144855"/>
                    <a:pt x="359618" y="144855"/>
                  </a:cubicBezTo>
                  <a:lnTo>
                    <a:pt x="359618" y="144855"/>
                  </a:lnTo>
                  <a:close/>
                  <a:moveTo>
                    <a:pt x="26452" y="127850"/>
                  </a:moveTo>
                  <a:lnTo>
                    <a:pt x="353950" y="127850"/>
                  </a:lnTo>
                  <a:cubicBezTo>
                    <a:pt x="360248" y="109586"/>
                    <a:pt x="363397" y="91322"/>
                    <a:pt x="363397" y="72427"/>
                  </a:cubicBezTo>
                  <a:cubicBezTo>
                    <a:pt x="363397" y="53533"/>
                    <a:pt x="360248" y="34639"/>
                    <a:pt x="353950" y="17005"/>
                  </a:cubicBezTo>
                  <a:lnTo>
                    <a:pt x="26452" y="17005"/>
                  </a:lnTo>
                  <a:cubicBezTo>
                    <a:pt x="20154" y="35269"/>
                    <a:pt x="17005" y="54163"/>
                    <a:pt x="17005" y="72427"/>
                  </a:cubicBezTo>
                  <a:cubicBezTo>
                    <a:pt x="17005" y="91322"/>
                    <a:pt x="20154" y="109586"/>
                    <a:pt x="26452" y="127850"/>
                  </a:cubicBezTo>
                  <a:lnTo>
                    <a:pt x="26452" y="12785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sp>
        <p:nvSpPr>
          <p:cNvPr id="60" name="Forma Livre: Forma 59">
            <a:extLst>
              <a:ext uri="{FF2B5EF4-FFF2-40B4-BE49-F238E27FC236}">
                <a16:creationId xmlns:a16="http://schemas.microsoft.com/office/drawing/2014/main" id="{1A1E65AB-5DBD-4174-BEB7-909FA4993787}"/>
              </a:ext>
            </a:extLst>
          </p:cNvPr>
          <p:cNvSpPr/>
          <p:nvPr/>
        </p:nvSpPr>
        <p:spPr>
          <a:xfrm>
            <a:off x="6707349" y="2395908"/>
            <a:ext cx="644470" cy="642703"/>
          </a:xfrm>
          <a:custGeom>
            <a:avLst/>
            <a:gdLst>
              <a:gd name="connsiteX0" fmla="*/ 341809 w 395341"/>
              <a:gd name="connsiteY0" fmla="*/ 33380 h 394257"/>
              <a:gd name="connsiteX1" fmla="*/ 355034 w 395341"/>
              <a:gd name="connsiteY1" fmla="*/ 38418 h 394257"/>
              <a:gd name="connsiteX2" fmla="*/ 293314 w 395341"/>
              <a:gd name="connsiteY2" fmla="*/ 152413 h 394257"/>
              <a:gd name="connsiteX3" fmla="*/ 307169 w 395341"/>
              <a:gd name="connsiteY3" fmla="*/ 183903 h 394257"/>
              <a:gd name="connsiteX4" fmla="*/ 317876 w 395341"/>
              <a:gd name="connsiteY4" fmla="*/ 178235 h 394257"/>
              <a:gd name="connsiteX5" fmla="*/ 322914 w 395341"/>
              <a:gd name="connsiteY5" fmla="*/ 180124 h 394257"/>
              <a:gd name="connsiteX6" fmla="*/ 314097 w 395341"/>
              <a:gd name="connsiteY6" fmla="*/ 200278 h 394257"/>
              <a:gd name="connsiteX7" fmla="*/ 329213 w 395341"/>
              <a:gd name="connsiteY7" fmla="*/ 234287 h 394257"/>
              <a:gd name="connsiteX8" fmla="*/ 339919 w 395341"/>
              <a:gd name="connsiteY8" fmla="*/ 228619 h 394257"/>
              <a:gd name="connsiteX9" fmla="*/ 344958 w 395341"/>
              <a:gd name="connsiteY9" fmla="*/ 230508 h 394257"/>
              <a:gd name="connsiteX10" fmla="*/ 336770 w 395341"/>
              <a:gd name="connsiteY10" fmla="*/ 250662 h 394257"/>
              <a:gd name="connsiteX11" fmla="*/ 355664 w 395341"/>
              <a:gd name="connsiteY11" fmla="*/ 293489 h 394257"/>
              <a:gd name="connsiteX12" fmla="*/ 358183 w 395341"/>
              <a:gd name="connsiteY12" fmla="*/ 335056 h 394257"/>
              <a:gd name="connsiteX13" fmla="*/ 246078 w 395341"/>
              <a:gd name="connsiteY13" fmla="*/ 193980 h 394257"/>
              <a:gd name="connsiteX14" fmla="*/ 242929 w 395341"/>
              <a:gd name="connsiteY14" fmla="*/ 196499 h 394257"/>
              <a:gd name="connsiteX15" fmla="*/ 139012 w 395341"/>
              <a:gd name="connsiteY15" fmla="*/ 274595 h 394257"/>
              <a:gd name="connsiteX16" fmla="*/ 135233 w 395341"/>
              <a:gd name="connsiteY16" fmla="*/ 360878 h 394257"/>
              <a:gd name="connsiteX17" fmla="*/ 99964 w 395341"/>
              <a:gd name="connsiteY17" fmla="*/ 301046 h 394257"/>
              <a:gd name="connsiteX18" fmla="*/ 86738 w 395341"/>
              <a:gd name="connsiteY18" fmla="*/ 307344 h 394257"/>
              <a:gd name="connsiteX19" fmla="*/ 86108 w 395341"/>
              <a:gd name="connsiteY19" fmla="*/ 307344 h 394257"/>
              <a:gd name="connsiteX20" fmla="*/ 92406 w 395341"/>
              <a:gd name="connsiteY20" fmla="*/ 293489 h 394257"/>
              <a:gd name="connsiteX21" fmla="*/ 32575 w 395341"/>
              <a:gd name="connsiteY21" fmla="*/ 258220 h 394257"/>
              <a:gd name="connsiteX22" fmla="*/ 118858 w 395341"/>
              <a:gd name="connsiteY22" fmla="*/ 254441 h 394257"/>
              <a:gd name="connsiteX23" fmla="*/ 196954 w 395341"/>
              <a:gd name="connsiteY23" fmla="*/ 150523 h 394257"/>
              <a:gd name="connsiteX24" fmla="*/ 199473 w 395341"/>
              <a:gd name="connsiteY24" fmla="*/ 147374 h 394257"/>
              <a:gd name="connsiteX25" fmla="*/ 57137 w 395341"/>
              <a:gd name="connsiteY25" fmla="*/ 34639 h 394257"/>
              <a:gd name="connsiteX26" fmla="*/ 98704 w 395341"/>
              <a:gd name="connsiteY26" fmla="*/ 37158 h 394257"/>
              <a:gd name="connsiteX27" fmla="*/ 141531 w 395341"/>
              <a:gd name="connsiteY27" fmla="*/ 56053 h 394257"/>
              <a:gd name="connsiteX28" fmla="*/ 156646 w 395341"/>
              <a:gd name="connsiteY28" fmla="*/ 45346 h 394257"/>
              <a:gd name="connsiteX29" fmla="*/ 161684 w 395341"/>
              <a:gd name="connsiteY29" fmla="*/ 47235 h 394257"/>
              <a:gd name="connsiteX30" fmla="*/ 158535 w 395341"/>
              <a:gd name="connsiteY30" fmla="*/ 62980 h 394257"/>
              <a:gd name="connsiteX31" fmla="*/ 192545 w 395341"/>
              <a:gd name="connsiteY31" fmla="*/ 78096 h 394257"/>
              <a:gd name="connsiteX32" fmla="*/ 207660 w 395341"/>
              <a:gd name="connsiteY32" fmla="*/ 67389 h 394257"/>
              <a:gd name="connsiteX33" fmla="*/ 212699 w 395341"/>
              <a:gd name="connsiteY33" fmla="*/ 69278 h 394257"/>
              <a:gd name="connsiteX34" fmla="*/ 208920 w 395341"/>
              <a:gd name="connsiteY34" fmla="*/ 85653 h 394257"/>
              <a:gd name="connsiteX35" fmla="*/ 240410 w 395341"/>
              <a:gd name="connsiteY35" fmla="*/ 99509 h 394257"/>
              <a:gd name="connsiteX36" fmla="*/ 341809 w 395341"/>
              <a:gd name="connsiteY36" fmla="*/ 33380 h 394257"/>
              <a:gd name="connsiteX37" fmla="*/ 341809 w 395341"/>
              <a:gd name="connsiteY37" fmla="*/ 0 h 394257"/>
              <a:gd name="connsiteX38" fmla="*/ 242300 w 395341"/>
              <a:gd name="connsiteY38" fmla="*/ 52904 h 394257"/>
              <a:gd name="connsiteX39" fmla="*/ 237261 w 395341"/>
              <a:gd name="connsiteY39" fmla="*/ 46606 h 394257"/>
              <a:gd name="connsiteX40" fmla="*/ 208290 w 395341"/>
              <a:gd name="connsiteY40" fmla="*/ 34639 h 394257"/>
              <a:gd name="connsiteX41" fmla="*/ 194434 w 395341"/>
              <a:gd name="connsiteY41" fmla="*/ 37158 h 394257"/>
              <a:gd name="connsiteX42" fmla="*/ 185617 w 395341"/>
              <a:gd name="connsiteY42" fmla="*/ 24562 h 394257"/>
              <a:gd name="connsiteX43" fmla="*/ 156646 w 395341"/>
              <a:gd name="connsiteY43" fmla="*/ 12596 h 394257"/>
              <a:gd name="connsiteX44" fmla="*/ 136492 w 395341"/>
              <a:gd name="connsiteY44" fmla="*/ 17635 h 394257"/>
              <a:gd name="connsiteX45" fmla="*/ 112560 w 395341"/>
              <a:gd name="connsiteY45" fmla="*/ 6928 h 394257"/>
              <a:gd name="connsiteX46" fmla="*/ 101223 w 395341"/>
              <a:gd name="connsiteY46" fmla="*/ 4409 h 394257"/>
              <a:gd name="connsiteX47" fmla="*/ 59657 w 395341"/>
              <a:gd name="connsiteY47" fmla="*/ 1889 h 394257"/>
              <a:gd name="connsiteX48" fmla="*/ 57767 w 395341"/>
              <a:gd name="connsiteY48" fmla="*/ 1889 h 394257"/>
              <a:gd name="connsiteX49" fmla="*/ 26907 w 395341"/>
              <a:gd name="connsiteY49" fmla="*/ 23303 h 394257"/>
              <a:gd name="connsiteX50" fmla="*/ 37613 w 395341"/>
              <a:gd name="connsiteY50" fmla="*/ 61721 h 394257"/>
              <a:gd name="connsiteX51" fmla="*/ 153497 w 395341"/>
              <a:gd name="connsiteY51" fmla="*/ 153672 h 394257"/>
              <a:gd name="connsiteX52" fmla="*/ 101853 w 395341"/>
              <a:gd name="connsiteY52" fmla="*/ 222321 h 394257"/>
              <a:gd name="connsiteX53" fmla="*/ 31945 w 395341"/>
              <a:gd name="connsiteY53" fmla="*/ 225470 h 394257"/>
              <a:gd name="connsiteX54" fmla="*/ 1084 w 395341"/>
              <a:gd name="connsiteY54" fmla="*/ 250662 h 394257"/>
              <a:gd name="connsiteX55" fmla="*/ 16830 w 395341"/>
              <a:gd name="connsiteY55" fmla="*/ 287191 h 394257"/>
              <a:gd name="connsiteX56" fmla="*/ 53988 w 395341"/>
              <a:gd name="connsiteY56" fmla="*/ 308604 h 394257"/>
              <a:gd name="connsiteX57" fmla="*/ 63435 w 395341"/>
              <a:gd name="connsiteY57" fmla="*/ 330647 h 394257"/>
              <a:gd name="connsiteX58" fmla="*/ 86108 w 395341"/>
              <a:gd name="connsiteY58" fmla="*/ 340724 h 394257"/>
              <a:gd name="connsiteX59" fmla="*/ 107521 w 395341"/>
              <a:gd name="connsiteY59" fmla="*/ 377882 h 394257"/>
              <a:gd name="connsiteX60" fmla="*/ 136492 w 395341"/>
              <a:gd name="connsiteY60" fmla="*/ 394257 h 394257"/>
              <a:gd name="connsiteX61" fmla="*/ 144680 w 395341"/>
              <a:gd name="connsiteY61" fmla="*/ 392998 h 394257"/>
              <a:gd name="connsiteX62" fmla="*/ 169872 w 395341"/>
              <a:gd name="connsiteY62" fmla="*/ 362137 h 394257"/>
              <a:gd name="connsiteX63" fmla="*/ 173021 w 395341"/>
              <a:gd name="connsiteY63" fmla="*/ 292229 h 394257"/>
              <a:gd name="connsiteX64" fmla="*/ 241670 w 395341"/>
              <a:gd name="connsiteY64" fmla="*/ 240585 h 394257"/>
              <a:gd name="connsiteX65" fmla="*/ 333621 w 395341"/>
              <a:gd name="connsiteY65" fmla="*/ 356469 h 394257"/>
              <a:gd name="connsiteX66" fmla="*/ 360073 w 395341"/>
              <a:gd name="connsiteY66" fmla="*/ 369065 h 394257"/>
              <a:gd name="connsiteX67" fmla="*/ 372039 w 395341"/>
              <a:gd name="connsiteY67" fmla="*/ 366546 h 394257"/>
              <a:gd name="connsiteX68" fmla="*/ 393453 w 395341"/>
              <a:gd name="connsiteY68" fmla="*/ 333166 h 394257"/>
              <a:gd name="connsiteX69" fmla="*/ 390933 w 395341"/>
              <a:gd name="connsiteY69" fmla="*/ 291599 h 394257"/>
              <a:gd name="connsiteX70" fmla="*/ 388414 w 395341"/>
              <a:gd name="connsiteY70" fmla="*/ 280263 h 394257"/>
              <a:gd name="connsiteX71" fmla="*/ 377707 w 395341"/>
              <a:gd name="connsiteY71" fmla="*/ 256330 h 394257"/>
              <a:gd name="connsiteX72" fmla="*/ 382746 w 395341"/>
              <a:gd name="connsiteY72" fmla="*/ 239325 h 394257"/>
              <a:gd name="connsiteX73" fmla="*/ 370779 w 395341"/>
              <a:gd name="connsiteY73" fmla="*/ 207206 h 394257"/>
              <a:gd name="connsiteX74" fmla="*/ 358183 w 395341"/>
              <a:gd name="connsiteY74" fmla="*/ 198388 h 394257"/>
              <a:gd name="connsiteX75" fmla="*/ 360073 w 395341"/>
              <a:gd name="connsiteY75" fmla="*/ 188311 h 394257"/>
              <a:gd name="connsiteX76" fmla="*/ 348736 w 395341"/>
              <a:gd name="connsiteY76" fmla="*/ 156191 h 394257"/>
              <a:gd name="connsiteX77" fmla="*/ 342438 w 395341"/>
              <a:gd name="connsiteY77" fmla="*/ 151153 h 394257"/>
              <a:gd name="connsiteX78" fmla="*/ 395342 w 395341"/>
              <a:gd name="connsiteY78" fmla="*/ 52274 h 394257"/>
              <a:gd name="connsiteX79" fmla="*/ 380856 w 395341"/>
              <a:gd name="connsiteY79" fmla="*/ 15115 h 394257"/>
              <a:gd name="connsiteX80" fmla="*/ 341809 w 395341"/>
              <a:gd name="connsiteY80" fmla="*/ 0 h 394257"/>
              <a:gd name="connsiteX81" fmla="*/ 341809 w 395341"/>
              <a:gd name="connsiteY81" fmla="*/ 0 h 39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</a:cxnLst>
            <a:rect l="l" t="t" r="r" b="b"/>
            <a:pathLst>
              <a:path w="395341" h="394257">
                <a:moveTo>
                  <a:pt x="341809" y="33380"/>
                </a:moveTo>
                <a:cubicBezTo>
                  <a:pt x="347477" y="33380"/>
                  <a:pt x="351885" y="35269"/>
                  <a:pt x="355034" y="38418"/>
                </a:cubicBezTo>
                <a:cubicBezTo>
                  <a:pt x="372039" y="55423"/>
                  <a:pt x="344958" y="102028"/>
                  <a:pt x="293314" y="152413"/>
                </a:cubicBezTo>
                <a:lnTo>
                  <a:pt x="307169" y="183903"/>
                </a:lnTo>
                <a:cubicBezTo>
                  <a:pt x="310948" y="180124"/>
                  <a:pt x="314727" y="178235"/>
                  <a:pt x="317876" y="178235"/>
                </a:cubicBezTo>
                <a:cubicBezTo>
                  <a:pt x="319765" y="178235"/>
                  <a:pt x="321655" y="178864"/>
                  <a:pt x="322914" y="180124"/>
                </a:cubicBezTo>
                <a:cubicBezTo>
                  <a:pt x="327953" y="185162"/>
                  <a:pt x="323544" y="193980"/>
                  <a:pt x="314097" y="200278"/>
                </a:cubicBezTo>
                <a:lnTo>
                  <a:pt x="329213" y="234287"/>
                </a:lnTo>
                <a:cubicBezTo>
                  <a:pt x="332991" y="231138"/>
                  <a:pt x="336770" y="228619"/>
                  <a:pt x="339919" y="228619"/>
                </a:cubicBezTo>
                <a:cubicBezTo>
                  <a:pt x="341809" y="228619"/>
                  <a:pt x="343698" y="229249"/>
                  <a:pt x="344958" y="230508"/>
                </a:cubicBezTo>
                <a:cubicBezTo>
                  <a:pt x="349996" y="235547"/>
                  <a:pt x="345587" y="244364"/>
                  <a:pt x="336770" y="250662"/>
                </a:cubicBezTo>
                <a:lnTo>
                  <a:pt x="355664" y="293489"/>
                </a:lnTo>
                <a:lnTo>
                  <a:pt x="358183" y="335056"/>
                </a:lnTo>
                <a:lnTo>
                  <a:pt x="246078" y="193980"/>
                </a:lnTo>
                <a:cubicBezTo>
                  <a:pt x="244819" y="194609"/>
                  <a:pt x="244189" y="195869"/>
                  <a:pt x="242929" y="196499"/>
                </a:cubicBezTo>
                <a:cubicBezTo>
                  <a:pt x="203252" y="227359"/>
                  <a:pt x="166723" y="255071"/>
                  <a:pt x="139012" y="274595"/>
                </a:cubicBezTo>
                <a:lnTo>
                  <a:pt x="135233" y="360878"/>
                </a:lnTo>
                <a:lnTo>
                  <a:pt x="99964" y="301046"/>
                </a:lnTo>
                <a:cubicBezTo>
                  <a:pt x="93036" y="305455"/>
                  <a:pt x="88627" y="307344"/>
                  <a:pt x="86738" y="307344"/>
                </a:cubicBezTo>
                <a:cubicBezTo>
                  <a:pt x="86738" y="307344"/>
                  <a:pt x="86108" y="307344"/>
                  <a:pt x="86108" y="307344"/>
                </a:cubicBezTo>
                <a:cubicBezTo>
                  <a:pt x="85478" y="306715"/>
                  <a:pt x="87368" y="301676"/>
                  <a:pt x="92406" y="293489"/>
                </a:cubicBezTo>
                <a:lnTo>
                  <a:pt x="32575" y="258220"/>
                </a:lnTo>
                <a:lnTo>
                  <a:pt x="118858" y="254441"/>
                </a:lnTo>
                <a:cubicBezTo>
                  <a:pt x="139012" y="226729"/>
                  <a:pt x="166093" y="190201"/>
                  <a:pt x="196954" y="150523"/>
                </a:cubicBezTo>
                <a:cubicBezTo>
                  <a:pt x="197583" y="149264"/>
                  <a:pt x="198843" y="148634"/>
                  <a:pt x="199473" y="147374"/>
                </a:cubicBezTo>
                <a:lnTo>
                  <a:pt x="57137" y="34639"/>
                </a:lnTo>
                <a:lnTo>
                  <a:pt x="98704" y="37158"/>
                </a:lnTo>
                <a:lnTo>
                  <a:pt x="141531" y="56053"/>
                </a:lnTo>
                <a:cubicBezTo>
                  <a:pt x="145939" y="49755"/>
                  <a:pt x="152237" y="45346"/>
                  <a:pt x="156646" y="45346"/>
                </a:cubicBezTo>
                <a:cubicBezTo>
                  <a:pt x="158535" y="45346"/>
                  <a:pt x="160425" y="45976"/>
                  <a:pt x="161684" y="47235"/>
                </a:cubicBezTo>
                <a:cubicBezTo>
                  <a:pt x="165463" y="51014"/>
                  <a:pt x="163574" y="57312"/>
                  <a:pt x="158535" y="62980"/>
                </a:cubicBezTo>
                <a:lnTo>
                  <a:pt x="192545" y="78096"/>
                </a:lnTo>
                <a:cubicBezTo>
                  <a:pt x="197583" y="71168"/>
                  <a:pt x="203252" y="67389"/>
                  <a:pt x="207660" y="67389"/>
                </a:cubicBezTo>
                <a:cubicBezTo>
                  <a:pt x="209550" y="67389"/>
                  <a:pt x="211439" y="68019"/>
                  <a:pt x="212699" y="69278"/>
                </a:cubicBezTo>
                <a:cubicBezTo>
                  <a:pt x="216477" y="73057"/>
                  <a:pt x="214588" y="79355"/>
                  <a:pt x="208920" y="85653"/>
                </a:cubicBezTo>
                <a:lnTo>
                  <a:pt x="240410" y="99509"/>
                </a:lnTo>
                <a:cubicBezTo>
                  <a:pt x="281977" y="58572"/>
                  <a:pt x="319765" y="33380"/>
                  <a:pt x="341809" y="33380"/>
                </a:cubicBezTo>
                <a:moveTo>
                  <a:pt x="341809" y="0"/>
                </a:moveTo>
                <a:cubicBezTo>
                  <a:pt x="310318" y="0"/>
                  <a:pt x="273160" y="25192"/>
                  <a:pt x="242300" y="52904"/>
                </a:cubicBezTo>
                <a:cubicBezTo>
                  <a:pt x="241040" y="50384"/>
                  <a:pt x="239151" y="48495"/>
                  <a:pt x="237261" y="46606"/>
                </a:cubicBezTo>
                <a:cubicBezTo>
                  <a:pt x="229704" y="39048"/>
                  <a:pt x="219626" y="34639"/>
                  <a:pt x="208290" y="34639"/>
                </a:cubicBezTo>
                <a:cubicBezTo>
                  <a:pt x="203252" y="34639"/>
                  <a:pt x="198843" y="35269"/>
                  <a:pt x="194434" y="37158"/>
                </a:cubicBezTo>
                <a:cubicBezTo>
                  <a:pt x="192545" y="32120"/>
                  <a:pt x="189396" y="28341"/>
                  <a:pt x="185617" y="24562"/>
                </a:cubicBezTo>
                <a:cubicBezTo>
                  <a:pt x="178060" y="17005"/>
                  <a:pt x="167982" y="12596"/>
                  <a:pt x="156646" y="12596"/>
                </a:cubicBezTo>
                <a:cubicBezTo>
                  <a:pt x="149718" y="12596"/>
                  <a:pt x="142790" y="14486"/>
                  <a:pt x="136492" y="17635"/>
                </a:cubicBezTo>
                <a:lnTo>
                  <a:pt x="112560" y="6928"/>
                </a:lnTo>
                <a:cubicBezTo>
                  <a:pt x="108781" y="5668"/>
                  <a:pt x="105002" y="4409"/>
                  <a:pt x="101223" y="4409"/>
                </a:cubicBezTo>
                <a:lnTo>
                  <a:pt x="59657" y="1889"/>
                </a:lnTo>
                <a:cubicBezTo>
                  <a:pt x="59026" y="1889"/>
                  <a:pt x="58397" y="1889"/>
                  <a:pt x="57767" y="1889"/>
                </a:cubicBezTo>
                <a:cubicBezTo>
                  <a:pt x="43911" y="1889"/>
                  <a:pt x="31315" y="10077"/>
                  <a:pt x="26907" y="23303"/>
                </a:cubicBezTo>
                <a:cubicBezTo>
                  <a:pt x="21868" y="37158"/>
                  <a:pt x="25647" y="52274"/>
                  <a:pt x="37613" y="61721"/>
                </a:cubicBezTo>
                <a:lnTo>
                  <a:pt x="153497" y="153672"/>
                </a:lnTo>
                <a:cubicBezTo>
                  <a:pt x="134603" y="178235"/>
                  <a:pt x="116969" y="202167"/>
                  <a:pt x="101853" y="222321"/>
                </a:cubicBezTo>
                <a:lnTo>
                  <a:pt x="31945" y="225470"/>
                </a:lnTo>
                <a:cubicBezTo>
                  <a:pt x="17460" y="226100"/>
                  <a:pt x="4864" y="236176"/>
                  <a:pt x="1084" y="250662"/>
                </a:cubicBezTo>
                <a:cubicBezTo>
                  <a:pt x="-2694" y="265147"/>
                  <a:pt x="3604" y="280263"/>
                  <a:pt x="16830" y="287191"/>
                </a:cubicBezTo>
                <a:lnTo>
                  <a:pt x="53988" y="308604"/>
                </a:lnTo>
                <a:cubicBezTo>
                  <a:pt x="53988" y="316162"/>
                  <a:pt x="56507" y="323719"/>
                  <a:pt x="63435" y="330647"/>
                </a:cubicBezTo>
                <a:cubicBezTo>
                  <a:pt x="69104" y="336945"/>
                  <a:pt x="77921" y="340724"/>
                  <a:pt x="86108" y="340724"/>
                </a:cubicBezTo>
                <a:lnTo>
                  <a:pt x="107521" y="377882"/>
                </a:lnTo>
                <a:cubicBezTo>
                  <a:pt x="113819" y="388589"/>
                  <a:pt x="124526" y="394257"/>
                  <a:pt x="136492" y="394257"/>
                </a:cubicBezTo>
                <a:cubicBezTo>
                  <a:pt x="139012" y="394257"/>
                  <a:pt x="142161" y="393627"/>
                  <a:pt x="144680" y="392998"/>
                </a:cubicBezTo>
                <a:cubicBezTo>
                  <a:pt x="159165" y="389219"/>
                  <a:pt x="169242" y="376623"/>
                  <a:pt x="169872" y="362137"/>
                </a:cubicBezTo>
                <a:lnTo>
                  <a:pt x="173021" y="292229"/>
                </a:lnTo>
                <a:cubicBezTo>
                  <a:pt x="193805" y="277114"/>
                  <a:pt x="217107" y="259479"/>
                  <a:pt x="241670" y="240585"/>
                </a:cubicBezTo>
                <a:lnTo>
                  <a:pt x="333621" y="356469"/>
                </a:lnTo>
                <a:cubicBezTo>
                  <a:pt x="339919" y="364656"/>
                  <a:pt x="349996" y="369065"/>
                  <a:pt x="360073" y="369065"/>
                </a:cubicBezTo>
                <a:cubicBezTo>
                  <a:pt x="363852" y="369065"/>
                  <a:pt x="368260" y="368435"/>
                  <a:pt x="372039" y="366546"/>
                </a:cubicBezTo>
                <a:cubicBezTo>
                  <a:pt x="385895" y="361507"/>
                  <a:pt x="394082" y="347652"/>
                  <a:pt x="393453" y="333166"/>
                </a:cubicBezTo>
                <a:lnTo>
                  <a:pt x="390933" y="291599"/>
                </a:lnTo>
                <a:cubicBezTo>
                  <a:pt x="390933" y="287820"/>
                  <a:pt x="389674" y="284042"/>
                  <a:pt x="388414" y="280263"/>
                </a:cubicBezTo>
                <a:lnTo>
                  <a:pt x="377707" y="256330"/>
                </a:lnTo>
                <a:cubicBezTo>
                  <a:pt x="380226" y="250662"/>
                  <a:pt x="382116" y="244994"/>
                  <a:pt x="382746" y="239325"/>
                </a:cubicBezTo>
                <a:cubicBezTo>
                  <a:pt x="384006" y="227359"/>
                  <a:pt x="379597" y="215393"/>
                  <a:pt x="370779" y="207206"/>
                </a:cubicBezTo>
                <a:cubicBezTo>
                  <a:pt x="367001" y="203427"/>
                  <a:pt x="362592" y="200907"/>
                  <a:pt x="358183" y="198388"/>
                </a:cubicBezTo>
                <a:cubicBezTo>
                  <a:pt x="359443" y="195239"/>
                  <a:pt x="360073" y="191460"/>
                  <a:pt x="360073" y="188311"/>
                </a:cubicBezTo>
                <a:cubicBezTo>
                  <a:pt x="361332" y="176345"/>
                  <a:pt x="356924" y="164379"/>
                  <a:pt x="348736" y="156191"/>
                </a:cubicBezTo>
                <a:cubicBezTo>
                  <a:pt x="346847" y="154302"/>
                  <a:pt x="344328" y="152413"/>
                  <a:pt x="342438" y="151153"/>
                </a:cubicBezTo>
                <a:cubicBezTo>
                  <a:pt x="370150" y="120293"/>
                  <a:pt x="395342" y="83764"/>
                  <a:pt x="395342" y="52274"/>
                </a:cubicBezTo>
                <a:cubicBezTo>
                  <a:pt x="395342" y="33380"/>
                  <a:pt x="387155" y="21413"/>
                  <a:pt x="380856" y="15115"/>
                </a:cubicBezTo>
                <a:cubicBezTo>
                  <a:pt x="372039" y="8187"/>
                  <a:pt x="360073" y="0"/>
                  <a:pt x="341809" y="0"/>
                </a:cubicBezTo>
                <a:lnTo>
                  <a:pt x="341809" y="0"/>
                </a:lnTo>
                <a:close/>
              </a:path>
            </a:pathLst>
          </a:custGeom>
          <a:solidFill>
            <a:schemeClr val="bg1"/>
          </a:solidFill>
          <a:ln w="6294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grpSp>
        <p:nvGrpSpPr>
          <p:cNvPr id="61" name="Gráfico 2">
            <a:extLst>
              <a:ext uri="{FF2B5EF4-FFF2-40B4-BE49-F238E27FC236}">
                <a16:creationId xmlns:a16="http://schemas.microsoft.com/office/drawing/2014/main" id="{9299C034-DF21-48DC-B816-48A53B5A58D6}"/>
              </a:ext>
            </a:extLst>
          </p:cNvPr>
          <p:cNvGrpSpPr/>
          <p:nvPr/>
        </p:nvGrpSpPr>
        <p:grpSpPr>
          <a:xfrm>
            <a:off x="10050146" y="2389333"/>
            <a:ext cx="568921" cy="660156"/>
            <a:chOff x="8457921" y="3610138"/>
            <a:chExt cx="348996" cy="404963"/>
          </a:xfrm>
          <a:solidFill>
            <a:schemeClr val="bg1"/>
          </a:solidFill>
        </p:grpSpPr>
        <p:sp>
          <p:nvSpPr>
            <p:cNvPr id="62" name="Forma Livre: Forma 61">
              <a:extLst>
                <a:ext uri="{FF2B5EF4-FFF2-40B4-BE49-F238E27FC236}">
                  <a16:creationId xmlns:a16="http://schemas.microsoft.com/office/drawing/2014/main" id="{E0D922AC-209D-4E1C-A482-D22D3C0E0B7D}"/>
                </a:ext>
              </a:extLst>
            </p:cNvPr>
            <p:cNvSpPr/>
            <p:nvPr/>
          </p:nvSpPr>
          <p:spPr>
            <a:xfrm>
              <a:off x="8487994" y="3610138"/>
              <a:ext cx="288449" cy="288450"/>
            </a:xfrm>
            <a:custGeom>
              <a:avLst/>
              <a:gdLst>
                <a:gd name="connsiteX0" fmla="*/ 144224 w 288449"/>
                <a:gd name="connsiteY0" fmla="*/ 288450 h 288450"/>
                <a:gd name="connsiteX1" fmla="*/ 0 w 288449"/>
                <a:gd name="connsiteY1" fmla="*/ 144225 h 288450"/>
                <a:gd name="connsiteX2" fmla="*/ 144224 w 288449"/>
                <a:gd name="connsiteY2" fmla="*/ 0 h 288450"/>
                <a:gd name="connsiteX3" fmla="*/ 288450 w 288449"/>
                <a:gd name="connsiteY3" fmla="*/ 144225 h 288450"/>
                <a:gd name="connsiteX4" fmla="*/ 144224 w 288449"/>
                <a:gd name="connsiteY4" fmla="*/ 288450 h 288450"/>
                <a:gd name="connsiteX5" fmla="*/ 144224 w 288449"/>
                <a:gd name="connsiteY5" fmla="*/ 288450 h 288450"/>
                <a:gd name="connsiteX6" fmla="*/ 144224 w 288449"/>
                <a:gd name="connsiteY6" fmla="*/ 32750 h 288450"/>
                <a:gd name="connsiteX7" fmla="*/ 33379 w 288449"/>
                <a:gd name="connsiteY7" fmla="*/ 143595 h 288450"/>
                <a:gd name="connsiteX8" fmla="*/ 144224 w 288449"/>
                <a:gd name="connsiteY8" fmla="*/ 254441 h 288450"/>
                <a:gd name="connsiteX9" fmla="*/ 255071 w 288449"/>
                <a:gd name="connsiteY9" fmla="*/ 143595 h 288450"/>
                <a:gd name="connsiteX10" fmla="*/ 144224 w 288449"/>
                <a:gd name="connsiteY10" fmla="*/ 32750 h 288450"/>
                <a:gd name="connsiteX11" fmla="*/ 144224 w 288449"/>
                <a:gd name="connsiteY11" fmla="*/ 32750 h 288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8449" h="288450">
                  <a:moveTo>
                    <a:pt x="144224" y="288450"/>
                  </a:moveTo>
                  <a:cubicBezTo>
                    <a:pt x="64869" y="288450"/>
                    <a:pt x="0" y="223580"/>
                    <a:pt x="0" y="144225"/>
                  </a:cubicBezTo>
                  <a:cubicBezTo>
                    <a:pt x="0" y="64870"/>
                    <a:pt x="64869" y="0"/>
                    <a:pt x="144224" y="0"/>
                  </a:cubicBezTo>
                  <a:cubicBezTo>
                    <a:pt x="223580" y="0"/>
                    <a:pt x="288450" y="64870"/>
                    <a:pt x="288450" y="144225"/>
                  </a:cubicBezTo>
                  <a:cubicBezTo>
                    <a:pt x="288450" y="223580"/>
                    <a:pt x="223580" y="288450"/>
                    <a:pt x="144224" y="288450"/>
                  </a:cubicBezTo>
                  <a:lnTo>
                    <a:pt x="144224" y="288450"/>
                  </a:lnTo>
                  <a:close/>
                  <a:moveTo>
                    <a:pt x="144224" y="32750"/>
                  </a:moveTo>
                  <a:cubicBezTo>
                    <a:pt x="83134" y="32750"/>
                    <a:pt x="33379" y="82504"/>
                    <a:pt x="33379" y="143595"/>
                  </a:cubicBezTo>
                  <a:cubicBezTo>
                    <a:pt x="33379" y="204686"/>
                    <a:pt x="83134" y="254441"/>
                    <a:pt x="144224" y="254441"/>
                  </a:cubicBezTo>
                  <a:cubicBezTo>
                    <a:pt x="205316" y="254441"/>
                    <a:pt x="255071" y="204686"/>
                    <a:pt x="255071" y="143595"/>
                  </a:cubicBezTo>
                  <a:cubicBezTo>
                    <a:pt x="255071" y="83134"/>
                    <a:pt x="205316" y="32750"/>
                    <a:pt x="144224" y="32750"/>
                  </a:cubicBezTo>
                  <a:lnTo>
                    <a:pt x="144224" y="3275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63" name="Forma Livre: Forma 62">
              <a:extLst>
                <a:ext uri="{FF2B5EF4-FFF2-40B4-BE49-F238E27FC236}">
                  <a16:creationId xmlns:a16="http://schemas.microsoft.com/office/drawing/2014/main" id="{F5BF0A78-B7E0-4991-AB66-7BF17B932712}"/>
                </a:ext>
              </a:extLst>
            </p:cNvPr>
            <p:cNvSpPr/>
            <p:nvPr/>
          </p:nvSpPr>
          <p:spPr>
            <a:xfrm>
              <a:off x="8549085" y="3671229"/>
              <a:ext cx="166268" cy="166268"/>
            </a:xfrm>
            <a:custGeom>
              <a:avLst/>
              <a:gdLst>
                <a:gd name="connsiteX0" fmla="*/ 83134 w 166268"/>
                <a:gd name="connsiteY0" fmla="*/ 166268 h 166268"/>
                <a:gd name="connsiteX1" fmla="*/ 0 w 166268"/>
                <a:gd name="connsiteY1" fmla="*/ 83134 h 166268"/>
                <a:gd name="connsiteX2" fmla="*/ 83134 w 166268"/>
                <a:gd name="connsiteY2" fmla="*/ 0 h 166268"/>
                <a:gd name="connsiteX3" fmla="*/ 166268 w 166268"/>
                <a:gd name="connsiteY3" fmla="*/ 83134 h 166268"/>
                <a:gd name="connsiteX4" fmla="*/ 83134 w 166268"/>
                <a:gd name="connsiteY4" fmla="*/ 166268 h 166268"/>
                <a:gd name="connsiteX5" fmla="*/ 83134 w 166268"/>
                <a:gd name="connsiteY5" fmla="*/ 166268 h 166268"/>
                <a:gd name="connsiteX6" fmla="*/ 83134 w 166268"/>
                <a:gd name="connsiteY6" fmla="*/ 16375 h 166268"/>
                <a:gd name="connsiteX7" fmla="*/ 16375 w 166268"/>
                <a:gd name="connsiteY7" fmla="*/ 83134 h 166268"/>
                <a:gd name="connsiteX8" fmla="*/ 83134 w 166268"/>
                <a:gd name="connsiteY8" fmla="*/ 149893 h 166268"/>
                <a:gd name="connsiteX9" fmla="*/ 149894 w 166268"/>
                <a:gd name="connsiteY9" fmla="*/ 83134 h 166268"/>
                <a:gd name="connsiteX10" fmla="*/ 83134 w 166268"/>
                <a:gd name="connsiteY10" fmla="*/ 16375 h 166268"/>
                <a:gd name="connsiteX11" fmla="*/ 83134 w 166268"/>
                <a:gd name="connsiteY11" fmla="*/ 16375 h 166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6268" h="166268">
                  <a:moveTo>
                    <a:pt x="83134" y="166268"/>
                  </a:moveTo>
                  <a:cubicBezTo>
                    <a:pt x="37159" y="166268"/>
                    <a:pt x="0" y="129110"/>
                    <a:pt x="0" y="83134"/>
                  </a:cubicBezTo>
                  <a:cubicBezTo>
                    <a:pt x="0" y="37158"/>
                    <a:pt x="37159" y="0"/>
                    <a:pt x="83134" y="0"/>
                  </a:cubicBezTo>
                  <a:cubicBezTo>
                    <a:pt x="129110" y="0"/>
                    <a:pt x="166268" y="37158"/>
                    <a:pt x="166268" y="83134"/>
                  </a:cubicBezTo>
                  <a:cubicBezTo>
                    <a:pt x="166268" y="129110"/>
                    <a:pt x="129110" y="166268"/>
                    <a:pt x="83134" y="166268"/>
                  </a:cubicBezTo>
                  <a:lnTo>
                    <a:pt x="83134" y="166268"/>
                  </a:lnTo>
                  <a:close/>
                  <a:moveTo>
                    <a:pt x="83134" y="16375"/>
                  </a:moveTo>
                  <a:cubicBezTo>
                    <a:pt x="46606" y="16375"/>
                    <a:pt x="16375" y="45976"/>
                    <a:pt x="16375" y="83134"/>
                  </a:cubicBezTo>
                  <a:cubicBezTo>
                    <a:pt x="16375" y="119663"/>
                    <a:pt x="45976" y="149893"/>
                    <a:pt x="83134" y="149893"/>
                  </a:cubicBezTo>
                  <a:cubicBezTo>
                    <a:pt x="119663" y="149893"/>
                    <a:pt x="149894" y="120292"/>
                    <a:pt x="149894" y="83134"/>
                  </a:cubicBezTo>
                  <a:cubicBezTo>
                    <a:pt x="149894" y="46605"/>
                    <a:pt x="119663" y="16375"/>
                    <a:pt x="83134" y="16375"/>
                  </a:cubicBezTo>
                  <a:lnTo>
                    <a:pt x="83134" y="16375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64" name="Gráfico 2">
              <a:extLst>
                <a:ext uri="{FF2B5EF4-FFF2-40B4-BE49-F238E27FC236}">
                  <a16:creationId xmlns:a16="http://schemas.microsoft.com/office/drawing/2014/main" id="{3C867905-A6CF-4D7F-8DCA-B6E3CA42A997}"/>
                </a:ext>
              </a:extLst>
            </p:cNvPr>
            <p:cNvGrpSpPr/>
            <p:nvPr/>
          </p:nvGrpSpPr>
          <p:grpSpPr>
            <a:xfrm>
              <a:off x="8457921" y="3822256"/>
              <a:ext cx="348996" cy="192845"/>
              <a:chOff x="8457921" y="3822256"/>
              <a:chExt cx="348996" cy="192845"/>
            </a:xfrm>
            <a:grpFill/>
          </p:grpSpPr>
          <p:sp>
            <p:nvSpPr>
              <p:cNvPr id="65" name="Forma Livre: Forma 64">
                <a:extLst>
                  <a:ext uri="{FF2B5EF4-FFF2-40B4-BE49-F238E27FC236}">
                    <a16:creationId xmlns:a16="http://schemas.microsoft.com/office/drawing/2014/main" id="{97DEAE5F-B809-4AF8-998F-AC986C69FA3F}"/>
                  </a:ext>
                </a:extLst>
              </p:cNvPr>
              <p:cNvSpPr/>
              <p:nvPr/>
            </p:nvSpPr>
            <p:spPr>
              <a:xfrm>
                <a:off x="8457921" y="3822754"/>
                <a:ext cx="181482" cy="192347"/>
              </a:xfrm>
              <a:custGeom>
                <a:avLst/>
                <a:gdLst>
                  <a:gd name="connsiteX0" fmla="*/ 103130 w 181482"/>
                  <a:gd name="connsiteY0" fmla="*/ 192347 h 192347"/>
                  <a:gd name="connsiteX1" fmla="*/ 89274 w 181482"/>
                  <a:gd name="connsiteY1" fmla="*/ 184790 h 192347"/>
                  <a:gd name="connsiteX2" fmla="*/ 63452 w 181482"/>
                  <a:gd name="connsiteY2" fmla="*/ 145112 h 192347"/>
                  <a:gd name="connsiteX3" fmla="*/ 16217 w 181482"/>
                  <a:gd name="connsiteY3" fmla="*/ 143853 h 192347"/>
                  <a:gd name="connsiteX4" fmla="*/ 2362 w 181482"/>
                  <a:gd name="connsiteY4" fmla="*/ 135665 h 192347"/>
                  <a:gd name="connsiteX5" fmla="*/ 2362 w 181482"/>
                  <a:gd name="connsiteY5" fmla="*/ 119290 h 192347"/>
                  <a:gd name="connsiteX6" fmla="*/ 63452 w 181482"/>
                  <a:gd name="connsiteY6" fmla="*/ 8445 h 192347"/>
                  <a:gd name="connsiteX7" fmla="*/ 86125 w 181482"/>
                  <a:gd name="connsiteY7" fmla="*/ 2147 h 192347"/>
                  <a:gd name="connsiteX8" fmla="*/ 92423 w 181482"/>
                  <a:gd name="connsiteY8" fmla="*/ 24819 h 192347"/>
                  <a:gd name="connsiteX9" fmla="*/ 44558 w 181482"/>
                  <a:gd name="connsiteY9" fmla="*/ 111103 h 192347"/>
                  <a:gd name="connsiteX10" fmla="*/ 72899 w 181482"/>
                  <a:gd name="connsiteY10" fmla="*/ 111732 h 192347"/>
                  <a:gd name="connsiteX11" fmla="*/ 86756 w 181482"/>
                  <a:gd name="connsiteY11" fmla="*/ 119290 h 192347"/>
                  <a:gd name="connsiteX12" fmla="*/ 102501 w 181482"/>
                  <a:gd name="connsiteY12" fmla="*/ 143223 h 192347"/>
                  <a:gd name="connsiteX13" fmla="*/ 150366 w 181482"/>
                  <a:gd name="connsiteY13" fmla="*/ 56939 h 192347"/>
                  <a:gd name="connsiteX14" fmla="*/ 173038 w 181482"/>
                  <a:gd name="connsiteY14" fmla="*/ 50641 h 192347"/>
                  <a:gd name="connsiteX15" fmla="*/ 179336 w 181482"/>
                  <a:gd name="connsiteY15" fmla="*/ 73314 h 192347"/>
                  <a:gd name="connsiteX16" fmla="*/ 118246 w 181482"/>
                  <a:gd name="connsiteY16" fmla="*/ 184160 h 192347"/>
                  <a:gd name="connsiteX17" fmla="*/ 103130 w 181482"/>
                  <a:gd name="connsiteY17" fmla="*/ 192347 h 192347"/>
                  <a:gd name="connsiteX18" fmla="*/ 103130 w 181482"/>
                  <a:gd name="connsiteY18" fmla="*/ 192347 h 192347"/>
                  <a:gd name="connsiteX19" fmla="*/ 103130 w 181482"/>
                  <a:gd name="connsiteY19" fmla="*/ 192347 h 192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81482" h="192347">
                    <a:moveTo>
                      <a:pt x="103130" y="192347"/>
                    </a:moveTo>
                    <a:cubicBezTo>
                      <a:pt x="97462" y="192347"/>
                      <a:pt x="92423" y="189828"/>
                      <a:pt x="89274" y="184790"/>
                    </a:cubicBezTo>
                    <a:lnTo>
                      <a:pt x="63452" y="145112"/>
                    </a:lnTo>
                    <a:lnTo>
                      <a:pt x="16217" y="143853"/>
                    </a:lnTo>
                    <a:cubicBezTo>
                      <a:pt x="10549" y="143853"/>
                      <a:pt x="4881" y="140704"/>
                      <a:pt x="2362" y="135665"/>
                    </a:cubicBezTo>
                    <a:cubicBezTo>
                      <a:pt x="-787" y="130626"/>
                      <a:pt x="-787" y="124328"/>
                      <a:pt x="2362" y="119290"/>
                    </a:cubicBezTo>
                    <a:lnTo>
                      <a:pt x="63452" y="8445"/>
                    </a:lnTo>
                    <a:cubicBezTo>
                      <a:pt x="67862" y="257"/>
                      <a:pt x="77938" y="-2262"/>
                      <a:pt x="86125" y="2147"/>
                    </a:cubicBezTo>
                    <a:cubicBezTo>
                      <a:pt x="94313" y="6555"/>
                      <a:pt x="96832" y="16632"/>
                      <a:pt x="92423" y="24819"/>
                    </a:cubicBezTo>
                    <a:lnTo>
                      <a:pt x="44558" y="111103"/>
                    </a:lnTo>
                    <a:lnTo>
                      <a:pt x="72899" y="111732"/>
                    </a:lnTo>
                    <a:cubicBezTo>
                      <a:pt x="78568" y="111732"/>
                      <a:pt x="83607" y="114881"/>
                      <a:pt x="86756" y="119290"/>
                    </a:cubicBezTo>
                    <a:lnTo>
                      <a:pt x="102501" y="143223"/>
                    </a:lnTo>
                    <a:lnTo>
                      <a:pt x="150366" y="56939"/>
                    </a:lnTo>
                    <a:cubicBezTo>
                      <a:pt x="154774" y="48752"/>
                      <a:pt x="164851" y="46233"/>
                      <a:pt x="173038" y="50641"/>
                    </a:cubicBezTo>
                    <a:cubicBezTo>
                      <a:pt x="181226" y="55050"/>
                      <a:pt x="183745" y="65127"/>
                      <a:pt x="179336" y="73314"/>
                    </a:cubicBezTo>
                    <a:lnTo>
                      <a:pt x="118246" y="184160"/>
                    </a:lnTo>
                    <a:cubicBezTo>
                      <a:pt x="115097" y="189198"/>
                      <a:pt x="109428" y="192347"/>
                      <a:pt x="103130" y="192347"/>
                    </a:cubicBezTo>
                    <a:cubicBezTo>
                      <a:pt x="103760" y="192347"/>
                      <a:pt x="103130" y="192347"/>
                      <a:pt x="103130" y="192347"/>
                    </a:cubicBezTo>
                    <a:lnTo>
                      <a:pt x="103130" y="192347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66" name="Forma Livre: Forma 65">
                <a:extLst>
                  <a:ext uri="{FF2B5EF4-FFF2-40B4-BE49-F238E27FC236}">
                    <a16:creationId xmlns:a16="http://schemas.microsoft.com/office/drawing/2014/main" id="{F24EF46F-BE62-4C5F-BB85-580E2EC48E57}"/>
                  </a:ext>
                </a:extLst>
              </p:cNvPr>
              <p:cNvSpPr/>
              <p:nvPr/>
            </p:nvSpPr>
            <p:spPr>
              <a:xfrm>
                <a:off x="8625664" y="3822256"/>
                <a:ext cx="181253" cy="192845"/>
              </a:xfrm>
              <a:custGeom>
                <a:avLst/>
                <a:gdLst>
                  <a:gd name="connsiteX0" fmla="*/ 77723 w 181253"/>
                  <a:gd name="connsiteY0" fmla="*/ 192846 h 192845"/>
                  <a:gd name="connsiteX1" fmla="*/ 77723 w 181253"/>
                  <a:gd name="connsiteY1" fmla="*/ 192846 h 192845"/>
                  <a:gd name="connsiteX2" fmla="*/ 63237 w 181253"/>
                  <a:gd name="connsiteY2" fmla="*/ 184029 h 192845"/>
                  <a:gd name="connsiteX3" fmla="*/ 2146 w 181253"/>
                  <a:gd name="connsiteY3" fmla="*/ 73183 h 192845"/>
                  <a:gd name="connsiteX4" fmla="*/ 8445 w 181253"/>
                  <a:gd name="connsiteY4" fmla="*/ 50510 h 192845"/>
                  <a:gd name="connsiteX5" fmla="*/ 31117 w 181253"/>
                  <a:gd name="connsiteY5" fmla="*/ 56808 h 192845"/>
                  <a:gd name="connsiteX6" fmla="*/ 78982 w 181253"/>
                  <a:gd name="connsiteY6" fmla="*/ 143091 h 192845"/>
                  <a:gd name="connsiteX7" fmla="*/ 94727 w 181253"/>
                  <a:gd name="connsiteY7" fmla="*/ 119159 h 192845"/>
                  <a:gd name="connsiteX8" fmla="*/ 108584 w 181253"/>
                  <a:gd name="connsiteY8" fmla="*/ 111601 h 192845"/>
                  <a:gd name="connsiteX9" fmla="*/ 136925 w 181253"/>
                  <a:gd name="connsiteY9" fmla="*/ 110971 h 192845"/>
                  <a:gd name="connsiteX10" fmla="*/ 89060 w 181253"/>
                  <a:gd name="connsiteY10" fmla="*/ 24688 h 192845"/>
                  <a:gd name="connsiteX11" fmla="*/ 95358 w 181253"/>
                  <a:gd name="connsiteY11" fmla="*/ 2015 h 192845"/>
                  <a:gd name="connsiteX12" fmla="*/ 118031 w 181253"/>
                  <a:gd name="connsiteY12" fmla="*/ 8313 h 192845"/>
                  <a:gd name="connsiteX13" fmla="*/ 179121 w 181253"/>
                  <a:gd name="connsiteY13" fmla="*/ 119159 h 192845"/>
                  <a:gd name="connsiteX14" fmla="*/ 179121 w 181253"/>
                  <a:gd name="connsiteY14" fmla="*/ 135534 h 192845"/>
                  <a:gd name="connsiteX15" fmla="*/ 165266 w 181253"/>
                  <a:gd name="connsiteY15" fmla="*/ 143721 h 192845"/>
                  <a:gd name="connsiteX16" fmla="*/ 118031 w 181253"/>
                  <a:gd name="connsiteY16" fmla="*/ 144981 h 192845"/>
                  <a:gd name="connsiteX17" fmla="*/ 92209 w 181253"/>
                  <a:gd name="connsiteY17" fmla="*/ 184658 h 192845"/>
                  <a:gd name="connsiteX18" fmla="*/ 77723 w 181253"/>
                  <a:gd name="connsiteY18" fmla="*/ 192846 h 192845"/>
                  <a:gd name="connsiteX19" fmla="*/ 77723 w 181253"/>
                  <a:gd name="connsiteY19" fmla="*/ 192846 h 192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81253" h="192845">
                    <a:moveTo>
                      <a:pt x="77723" y="192846"/>
                    </a:moveTo>
                    <a:cubicBezTo>
                      <a:pt x="77723" y="192846"/>
                      <a:pt x="77093" y="192846"/>
                      <a:pt x="77723" y="192846"/>
                    </a:cubicBezTo>
                    <a:cubicBezTo>
                      <a:pt x="71425" y="192846"/>
                      <a:pt x="65757" y="189067"/>
                      <a:pt x="63237" y="184029"/>
                    </a:cubicBezTo>
                    <a:lnTo>
                      <a:pt x="2146" y="73183"/>
                    </a:lnTo>
                    <a:cubicBezTo>
                      <a:pt x="-2262" y="64995"/>
                      <a:pt x="257" y="54919"/>
                      <a:pt x="8445" y="50510"/>
                    </a:cubicBezTo>
                    <a:cubicBezTo>
                      <a:pt x="16632" y="46101"/>
                      <a:pt x="26709" y="49250"/>
                      <a:pt x="31117" y="56808"/>
                    </a:cubicBezTo>
                    <a:lnTo>
                      <a:pt x="78982" y="143091"/>
                    </a:lnTo>
                    <a:lnTo>
                      <a:pt x="94727" y="119159"/>
                    </a:lnTo>
                    <a:cubicBezTo>
                      <a:pt x="97876" y="114750"/>
                      <a:pt x="102915" y="111601"/>
                      <a:pt x="108584" y="111601"/>
                    </a:cubicBezTo>
                    <a:lnTo>
                      <a:pt x="136925" y="110971"/>
                    </a:lnTo>
                    <a:lnTo>
                      <a:pt x="89060" y="24688"/>
                    </a:lnTo>
                    <a:cubicBezTo>
                      <a:pt x="84651" y="16501"/>
                      <a:pt x="87170" y="6424"/>
                      <a:pt x="95358" y="2015"/>
                    </a:cubicBezTo>
                    <a:cubicBezTo>
                      <a:pt x="103545" y="-2394"/>
                      <a:pt x="113621" y="755"/>
                      <a:pt x="118031" y="8313"/>
                    </a:cubicBezTo>
                    <a:lnTo>
                      <a:pt x="179121" y="119159"/>
                    </a:lnTo>
                    <a:cubicBezTo>
                      <a:pt x="182270" y="124197"/>
                      <a:pt x="181641" y="130495"/>
                      <a:pt x="179121" y="135534"/>
                    </a:cubicBezTo>
                    <a:cubicBezTo>
                      <a:pt x="175972" y="140572"/>
                      <a:pt x="170934" y="143721"/>
                      <a:pt x="165266" y="143721"/>
                    </a:cubicBezTo>
                    <a:lnTo>
                      <a:pt x="118031" y="144981"/>
                    </a:lnTo>
                    <a:lnTo>
                      <a:pt x="92209" y="184658"/>
                    </a:lnTo>
                    <a:cubicBezTo>
                      <a:pt x="88429" y="190327"/>
                      <a:pt x="83391" y="192846"/>
                      <a:pt x="77723" y="192846"/>
                    </a:cubicBezTo>
                    <a:lnTo>
                      <a:pt x="77723" y="192846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67" name="Gráfico 2">
            <a:extLst>
              <a:ext uri="{FF2B5EF4-FFF2-40B4-BE49-F238E27FC236}">
                <a16:creationId xmlns:a16="http://schemas.microsoft.com/office/drawing/2014/main" id="{1E5C9DED-D101-42B3-B826-A7D5E8A8C49A}"/>
              </a:ext>
            </a:extLst>
          </p:cNvPr>
          <p:cNvGrpSpPr/>
          <p:nvPr/>
        </p:nvGrpSpPr>
        <p:grpSpPr>
          <a:xfrm>
            <a:off x="8385790" y="2357663"/>
            <a:ext cx="607796" cy="696860"/>
            <a:chOff x="8445797" y="2566080"/>
            <a:chExt cx="372844" cy="427479"/>
          </a:xfrm>
          <a:solidFill>
            <a:schemeClr val="bg1"/>
          </a:solidFill>
        </p:grpSpPr>
        <p:sp>
          <p:nvSpPr>
            <p:cNvPr id="68" name="Forma Livre: Forma 67">
              <a:extLst>
                <a:ext uri="{FF2B5EF4-FFF2-40B4-BE49-F238E27FC236}">
                  <a16:creationId xmlns:a16="http://schemas.microsoft.com/office/drawing/2014/main" id="{872E03F3-B8D4-4E24-AE78-7847AC8926F7}"/>
                </a:ext>
              </a:extLst>
            </p:cNvPr>
            <p:cNvSpPr/>
            <p:nvPr/>
          </p:nvSpPr>
          <p:spPr>
            <a:xfrm>
              <a:off x="8445797" y="2566080"/>
              <a:ext cx="372844" cy="427479"/>
            </a:xfrm>
            <a:custGeom>
              <a:avLst/>
              <a:gdLst>
                <a:gd name="connsiteX0" fmla="*/ 186422 w 372844"/>
                <a:gd name="connsiteY0" fmla="*/ 427479 h 427479"/>
                <a:gd name="connsiteX1" fmla="*/ 29601 w 372844"/>
                <a:gd name="connsiteY1" fmla="*/ 321672 h 427479"/>
                <a:gd name="connsiteX2" fmla="*/ 0 w 372844"/>
                <a:gd name="connsiteY2" fmla="*/ 246726 h 427479"/>
                <a:gd name="connsiteX3" fmla="*/ 0 w 372844"/>
                <a:gd name="connsiteY3" fmla="*/ 81717 h 427479"/>
                <a:gd name="connsiteX4" fmla="*/ 42827 w 372844"/>
                <a:gd name="connsiteY4" fmla="*/ 23145 h 427479"/>
                <a:gd name="connsiteX5" fmla="*/ 330017 w 372844"/>
                <a:gd name="connsiteY5" fmla="*/ 23145 h 427479"/>
                <a:gd name="connsiteX6" fmla="*/ 372844 w 372844"/>
                <a:gd name="connsiteY6" fmla="*/ 81717 h 427479"/>
                <a:gd name="connsiteX7" fmla="*/ 372844 w 372844"/>
                <a:gd name="connsiteY7" fmla="*/ 246096 h 427479"/>
                <a:gd name="connsiteX8" fmla="*/ 343243 w 372844"/>
                <a:gd name="connsiteY8" fmla="*/ 320413 h 427479"/>
                <a:gd name="connsiteX9" fmla="*/ 186422 w 372844"/>
                <a:gd name="connsiteY9" fmla="*/ 427479 h 427479"/>
                <a:gd name="connsiteX10" fmla="*/ 186422 w 372844"/>
                <a:gd name="connsiteY10" fmla="*/ 427479 h 427479"/>
                <a:gd name="connsiteX11" fmla="*/ 186422 w 372844"/>
                <a:gd name="connsiteY11" fmla="*/ 34482 h 427479"/>
                <a:gd name="connsiteX12" fmla="*/ 53533 w 372844"/>
                <a:gd name="connsiteY12" fmla="*/ 55895 h 427479"/>
                <a:gd name="connsiteX13" fmla="*/ 33380 w 372844"/>
                <a:gd name="connsiteY13" fmla="*/ 82347 h 427479"/>
                <a:gd name="connsiteX14" fmla="*/ 33380 w 372844"/>
                <a:gd name="connsiteY14" fmla="*/ 247355 h 427479"/>
                <a:gd name="connsiteX15" fmla="*/ 53533 w 372844"/>
                <a:gd name="connsiteY15" fmla="*/ 298999 h 427479"/>
                <a:gd name="connsiteX16" fmla="*/ 186422 w 372844"/>
                <a:gd name="connsiteY16" fmla="*/ 394730 h 427479"/>
                <a:gd name="connsiteX17" fmla="*/ 319311 w 372844"/>
                <a:gd name="connsiteY17" fmla="*/ 298999 h 427479"/>
                <a:gd name="connsiteX18" fmla="*/ 339464 w 372844"/>
                <a:gd name="connsiteY18" fmla="*/ 247355 h 427479"/>
                <a:gd name="connsiteX19" fmla="*/ 339464 w 372844"/>
                <a:gd name="connsiteY19" fmla="*/ 82977 h 427479"/>
                <a:gd name="connsiteX20" fmla="*/ 319941 w 372844"/>
                <a:gd name="connsiteY20" fmla="*/ 56525 h 427479"/>
                <a:gd name="connsiteX21" fmla="*/ 186422 w 372844"/>
                <a:gd name="connsiteY21" fmla="*/ 34482 h 427479"/>
                <a:gd name="connsiteX22" fmla="*/ 186422 w 372844"/>
                <a:gd name="connsiteY22" fmla="*/ 34482 h 427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72844" h="427479">
                  <a:moveTo>
                    <a:pt x="186422" y="427479"/>
                  </a:moveTo>
                  <a:cubicBezTo>
                    <a:pt x="141076" y="427479"/>
                    <a:pt x="98249" y="391581"/>
                    <a:pt x="29601" y="321672"/>
                  </a:cubicBezTo>
                  <a:cubicBezTo>
                    <a:pt x="11337" y="302148"/>
                    <a:pt x="0" y="268769"/>
                    <a:pt x="0" y="246726"/>
                  </a:cubicBezTo>
                  <a:lnTo>
                    <a:pt x="0" y="81717"/>
                  </a:lnTo>
                  <a:cubicBezTo>
                    <a:pt x="0" y="55895"/>
                    <a:pt x="18264" y="31333"/>
                    <a:pt x="42827" y="23145"/>
                  </a:cubicBezTo>
                  <a:cubicBezTo>
                    <a:pt x="135408" y="-7715"/>
                    <a:pt x="236806" y="-7715"/>
                    <a:pt x="330017" y="23145"/>
                  </a:cubicBezTo>
                  <a:cubicBezTo>
                    <a:pt x="353950" y="30703"/>
                    <a:pt x="372844" y="56525"/>
                    <a:pt x="372844" y="81717"/>
                  </a:cubicBezTo>
                  <a:lnTo>
                    <a:pt x="372844" y="246096"/>
                  </a:lnTo>
                  <a:cubicBezTo>
                    <a:pt x="372844" y="267509"/>
                    <a:pt x="361508" y="301519"/>
                    <a:pt x="343243" y="320413"/>
                  </a:cubicBezTo>
                  <a:cubicBezTo>
                    <a:pt x="274594" y="392210"/>
                    <a:pt x="231768" y="427479"/>
                    <a:pt x="186422" y="427479"/>
                  </a:cubicBezTo>
                  <a:lnTo>
                    <a:pt x="186422" y="427479"/>
                  </a:lnTo>
                  <a:close/>
                  <a:moveTo>
                    <a:pt x="186422" y="34482"/>
                  </a:moveTo>
                  <a:cubicBezTo>
                    <a:pt x="141076" y="34482"/>
                    <a:pt x="96360" y="41410"/>
                    <a:pt x="53533" y="55895"/>
                  </a:cubicBezTo>
                  <a:cubicBezTo>
                    <a:pt x="42827" y="59044"/>
                    <a:pt x="33380" y="71640"/>
                    <a:pt x="33380" y="82347"/>
                  </a:cubicBezTo>
                  <a:lnTo>
                    <a:pt x="33380" y="247355"/>
                  </a:lnTo>
                  <a:cubicBezTo>
                    <a:pt x="33380" y="261841"/>
                    <a:pt x="42197" y="287033"/>
                    <a:pt x="53533" y="298999"/>
                  </a:cubicBezTo>
                  <a:cubicBezTo>
                    <a:pt x="113994" y="360720"/>
                    <a:pt x="153043" y="394730"/>
                    <a:pt x="186422" y="394730"/>
                  </a:cubicBezTo>
                  <a:cubicBezTo>
                    <a:pt x="219802" y="394730"/>
                    <a:pt x="258849" y="361350"/>
                    <a:pt x="319311" y="298999"/>
                  </a:cubicBezTo>
                  <a:cubicBezTo>
                    <a:pt x="330647" y="287033"/>
                    <a:pt x="339464" y="261841"/>
                    <a:pt x="339464" y="247355"/>
                  </a:cubicBezTo>
                  <a:lnTo>
                    <a:pt x="339464" y="82977"/>
                  </a:lnTo>
                  <a:cubicBezTo>
                    <a:pt x="339464" y="72270"/>
                    <a:pt x="330017" y="59674"/>
                    <a:pt x="319941" y="56525"/>
                  </a:cubicBezTo>
                  <a:cubicBezTo>
                    <a:pt x="276484" y="41410"/>
                    <a:pt x="231768" y="34482"/>
                    <a:pt x="186422" y="34482"/>
                  </a:cubicBezTo>
                  <a:lnTo>
                    <a:pt x="186422" y="34482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69" name="Forma Livre: Forma 68">
              <a:extLst>
                <a:ext uri="{FF2B5EF4-FFF2-40B4-BE49-F238E27FC236}">
                  <a16:creationId xmlns:a16="http://schemas.microsoft.com/office/drawing/2014/main" id="{C4CD1A52-BE68-470F-A965-50B07DADEE1F}"/>
                </a:ext>
              </a:extLst>
            </p:cNvPr>
            <p:cNvSpPr/>
            <p:nvPr/>
          </p:nvSpPr>
          <p:spPr>
            <a:xfrm>
              <a:off x="8504369" y="2625282"/>
              <a:ext cx="256329" cy="310335"/>
            </a:xfrm>
            <a:custGeom>
              <a:avLst/>
              <a:gdLst>
                <a:gd name="connsiteX0" fmla="*/ 127850 w 256329"/>
                <a:gd name="connsiteY0" fmla="*/ 310336 h 310335"/>
                <a:gd name="connsiteX1" fmla="*/ 13226 w 256329"/>
                <a:gd name="connsiteY1" fmla="*/ 222163 h 310335"/>
                <a:gd name="connsiteX2" fmla="*/ 0 w 256329"/>
                <a:gd name="connsiteY2" fmla="*/ 188154 h 310335"/>
                <a:gd name="connsiteX3" fmla="*/ 0 w 256329"/>
                <a:gd name="connsiteY3" fmla="*/ 27554 h 310335"/>
                <a:gd name="connsiteX4" fmla="*/ 5668 w 256329"/>
                <a:gd name="connsiteY4" fmla="*/ 19366 h 310335"/>
                <a:gd name="connsiteX5" fmla="*/ 250661 w 256329"/>
                <a:gd name="connsiteY5" fmla="*/ 19366 h 310335"/>
                <a:gd name="connsiteX6" fmla="*/ 256330 w 256329"/>
                <a:gd name="connsiteY6" fmla="*/ 27554 h 310335"/>
                <a:gd name="connsiteX7" fmla="*/ 256330 w 256329"/>
                <a:gd name="connsiteY7" fmla="*/ 188154 h 310335"/>
                <a:gd name="connsiteX8" fmla="*/ 243104 w 256329"/>
                <a:gd name="connsiteY8" fmla="*/ 222163 h 310335"/>
                <a:gd name="connsiteX9" fmla="*/ 127850 w 256329"/>
                <a:gd name="connsiteY9" fmla="*/ 310336 h 310335"/>
                <a:gd name="connsiteX10" fmla="*/ 127850 w 256329"/>
                <a:gd name="connsiteY10" fmla="*/ 310336 h 310335"/>
                <a:gd name="connsiteX11" fmla="*/ 16375 w 256329"/>
                <a:gd name="connsiteY11" fmla="*/ 33852 h 310335"/>
                <a:gd name="connsiteX12" fmla="*/ 16375 w 256329"/>
                <a:gd name="connsiteY12" fmla="*/ 188154 h 310335"/>
                <a:gd name="connsiteX13" fmla="*/ 25192 w 256329"/>
                <a:gd name="connsiteY13" fmla="*/ 210827 h 310335"/>
                <a:gd name="connsiteX14" fmla="*/ 127850 w 256329"/>
                <a:gd name="connsiteY14" fmla="*/ 293961 h 310335"/>
                <a:gd name="connsiteX15" fmla="*/ 230508 w 256329"/>
                <a:gd name="connsiteY15" fmla="*/ 211457 h 310335"/>
                <a:gd name="connsiteX16" fmla="*/ 239325 w 256329"/>
                <a:gd name="connsiteY16" fmla="*/ 188154 h 310335"/>
                <a:gd name="connsiteX17" fmla="*/ 239325 w 256329"/>
                <a:gd name="connsiteY17" fmla="*/ 33852 h 310335"/>
                <a:gd name="connsiteX18" fmla="*/ 16375 w 256329"/>
                <a:gd name="connsiteY18" fmla="*/ 33852 h 310335"/>
                <a:gd name="connsiteX19" fmla="*/ 16375 w 256329"/>
                <a:gd name="connsiteY19" fmla="*/ 33852 h 310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56329" h="310335">
                  <a:moveTo>
                    <a:pt x="127850" y="310336"/>
                  </a:moveTo>
                  <a:cubicBezTo>
                    <a:pt x="101398" y="310336"/>
                    <a:pt x="56682" y="266879"/>
                    <a:pt x="13226" y="222163"/>
                  </a:cubicBezTo>
                  <a:cubicBezTo>
                    <a:pt x="6928" y="215236"/>
                    <a:pt x="0" y="196341"/>
                    <a:pt x="0" y="188154"/>
                  </a:cubicBezTo>
                  <a:lnTo>
                    <a:pt x="0" y="27554"/>
                  </a:lnTo>
                  <a:cubicBezTo>
                    <a:pt x="0" y="23775"/>
                    <a:pt x="2519" y="20626"/>
                    <a:pt x="5668" y="19366"/>
                  </a:cubicBezTo>
                  <a:cubicBezTo>
                    <a:pt x="85653" y="-6455"/>
                    <a:pt x="171306" y="-6455"/>
                    <a:pt x="250661" y="19366"/>
                  </a:cubicBezTo>
                  <a:cubicBezTo>
                    <a:pt x="253810" y="20626"/>
                    <a:pt x="256330" y="23775"/>
                    <a:pt x="256330" y="27554"/>
                  </a:cubicBezTo>
                  <a:lnTo>
                    <a:pt x="256330" y="188154"/>
                  </a:lnTo>
                  <a:cubicBezTo>
                    <a:pt x="256330" y="196971"/>
                    <a:pt x="249402" y="215865"/>
                    <a:pt x="243104" y="222163"/>
                  </a:cubicBezTo>
                  <a:cubicBezTo>
                    <a:pt x="199018" y="266879"/>
                    <a:pt x="154302" y="310336"/>
                    <a:pt x="127850" y="310336"/>
                  </a:cubicBezTo>
                  <a:lnTo>
                    <a:pt x="127850" y="310336"/>
                  </a:lnTo>
                  <a:close/>
                  <a:moveTo>
                    <a:pt x="16375" y="33852"/>
                  </a:moveTo>
                  <a:lnTo>
                    <a:pt x="16375" y="188154"/>
                  </a:lnTo>
                  <a:cubicBezTo>
                    <a:pt x="16375" y="193192"/>
                    <a:pt x="22043" y="207678"/>
                    <a:pt x="25192" y="210827"/>
                  </a:cubicBezTo>
                  <a:cubicBezTo>
                    <a:pt x="49124" y="235389"/>
                    <a:pt x="105807" y="293961"/>
                    <a:pt x="127850" y="293961"/>
                  </a:cubicBezTo>
                  <a:cubicBezTo>
                    <a:pt x="149893" y="293961"/>
                    <a:pt x="206575" y="236019"/>
                    <a:pt x="230508" y="211457"/>
                  </a:cubicBezTo>
                  <a:cubicBezTo>
                    <a:pt x="234287" y="207678"/>
                    <a:pt x="239325" y="193192"/>
                    <a:pt x="239325" y="188154"/>
                  </a:cubicBezTo>
                  <a:lnTo>
                    <a:pt x="239325" y="33852"/>
                  </a:lnTo>
                  <a:cubicBezTo>
                    <a:pt x="166898" y="11809"/>
                    <a:pt x="89432" y="11179"/>
                    <a:pt x="16375" y="33852"/>
                  </a:cubicBezTo>
                  <a:lnTo>
                    <a:pt x="16375" y="33852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70" name="Forma Livre: Forma 69">
              <a:extLst>
                <a:ext uri="{FF2B5EF4-FFF2-40B4-BE49-F238E27FC236}">
                  <a16:creationId xmlns:a16="http://schemas.microsoft.com/office/drawing/2014/main" id="{FE0EB12B-A0E6-4D38-BC20-335A83759EE6}"/>
                </a:ext>
              </a:extLst>
            </p:cNvPr>
            <p:cNvSpPr/>
            <p:nvPr/>
          </p:nvSpPr>
          <p:spPr>
            <a:xfrm>
              <a:off x="8624032" y="2627644"/>
              <a:ext cx="16374" cy="302935"/>
            </a:xfrm>
            <a:custGeom>
              <a:avLst/>
              <a:gdLst>
                <a:gd name="connsiteX0" fmla="*/ 8187 w 16374"/>
                <a:gd name="connsiteY0" fmla="*/ 302936 h 302935"/>
                <a:gd name="connsiteX1" fmla="*/ 0 w 16374"/>
                <a:gd name="connsiteY1" fmla="*/ 294748 h 302935"/>
                <a:gd name="connsiteX2" fmla="*/ 0 w 16374"/>
                <a:gd name="connsiteY2" fmla="*/ 8188 h 302935"/>
                <a:gd name="connsiteX3" fmla="*/ 8187 w 16374"/>
                <a:gd name="connsiteY3" fmla="*/ 0 h 302935"/>
                <a:gd name="connsiteX4" fmla="*/ 16375 w 16374"/>
                <a:gd name="connsiteY4" fmla="*/ 8188 h 302935"/>
                <a:gd name="connsiteX5" fmla="*/ 16375 w 16374"/>
                <a:gd name="connsiteY5" fmla="*/ 294748 h 302935"/>
                <a:gd name="connsiteX6" fmla="*/ 8187 w 16374"/>
                <a:gd name="connsiteY6" fmla="*/ 302936 h 302935"/>
                <a:gd name="connsiteX7" fmla="*/ 8187 w 16374"/>
                <a:gd name="connsiteY7" fmla="*/ 302936 h 302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374" h="302935">
                  <a:moveTo>
                    <a:pt x="8187" y="302936"/>
                  </a:moveTo>
                  <a:cubicBezTo>
                    <a:pt x="3779" y="302936"/>
                    <a:pt x="0" y="299157"/>
                    <a:pt x="0" y="294748"/>
                  </a:cubicBezTo>
                  <a:lnTo>
                    <a:pt x="0" y="8188"/>
                  </a:lnTo>
                  <a:cubicBezTo>
                    <a:pt x="0" y="3779"/>
                    <a:pt x="3779" y="0"/>
                    <a:pt x="8187" y="0"/>
                  </a:cubicBezTo>
                  <a:cubicBezTo>
                    <a:pt x="12596" y="0"/>
                    <a:pt x="16375" y="3779"/>
                    <a:pt x="16375" y="8188"/>
                  </a:cubicBezTo>
                  <a:lnTo>
                    <a:pt x="16375" y="294748"/>
                  </a:lnTo>
                  <a:cubicBezTo>
                    <a:pt x="16375" y="299157"/>
                    <a:pt x="12596" y="302936"/>
                    <a:pt x="8187" y="302936"/>
                  </a:cubicBezTo>
                  <a:lnTo>
                    <a:pt x="8187" y="302936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71" name="Gráfico 2">
            <a:extLst>
              <a:ext uri="{FF2B5EF4-FFF2-40B4-BE49-F238E27FC236}">
                <a16:creationId xmlns:a16="http://schemas.microsoft.com/office/drawing/2014/main" id="{7E2CC540-44B6-4147-9696-504F45F11630}"/>
              </a:ext>
            </a:extLst>
          </p:cNvPr>
          <p:cNvGrpSpPr/>
          <p:nvPr/>
        </p:nvGrpSpPr>
        <p:grpSpPr>
          <a:xfrm>
            <a:off x="1751601" y="2343864"/>
            <a:ext cx="499272" cy="668370"/>
            <a:chOff x="3372811" y="2583557"/>
            <a:chExt cx="306271" cy="410002"/>
          </a:xfrm>
          <a:solidFill>
            <a:schemeClr val="bg1"/>
          </a:solidFill>
        </p:grpSpPr>
        <p:grpSp>
          <p:nvGrpSpPr>
            <p:cNvPr id="72" name="Gráfico 2">
              <a:extLst>
                <a:ext uri="{FF2B5EF4-FFF2-40B4-BE49-F238E27FC236}">
                  <a16:creationId xmlns:a16="http://schemas.microsoft.com/office/drawing/2014/main" id="{0A0D0AD5-4B43-452C-8AEC-CEFCFAB3032A}"/>
                </a:ext>
              </a:extLst>
            </p:cNvPr>
            <p:cNvGrpSpPr/>
            <p:nvPr/>
          </p:nvGrpSpPr>
          <p:grpSpPr>
            <a:xfrm>
              <a:off x="3372811" y="2583557"/>
              <a:ext cx="306271" cy="173742"/>
              <a:chOff x="3372811" y="2583557"/>
              <a:chExt cx="306271" cy="173742"/>
            </a:xfrm>
            <a:grpFill/>
          </p:grpSpPr>
          <p:sp>
            <p:nvSpPr>
              <p:cNvPr id="74" name="Forma Livre: Forma 73">
                <a:extLst>
                  <a:ext uri="{FF2B5EF4-FFF2-40B4-BE49-F238E27FC236}">
                    <a16:creationId xmlns:a16="http://schemas.microsoft.com/office/drawing/2014/main" id="{54A2DD56-CE67-4201-B9DA-564F1B36D241}"/>
                  </a:ext>
                </a:extLst>
              </p:cNvPr>
              <p:cNvSpPr/>
              <p:nvPr/>
            </p:nvSpPr>
            <p:spPr>
              <a:xfrm>
                <a:off x="3470977" y="2583557"/>
                <a:ext cx="108326" cy="139186"/>
              </a:xfrm>
              <a:custGeom>
                <a:avLst/>
                <a:gdLst>
                  <a:gd name="connsiteX0" fmla="*/ 64870 w 108326"/>
                  <a:gd name="connsiteY0" fmla="*/ 83134 h 139186"/>
                  <a:gd name="connsiteX1" fmla="*/ 96990 w 108326"/>
                  <a:gd name="connsiteY1" fmla="*/ 42197 h 139186"/>
                  <a:gd name="connsiteX2" fmla="*/ 54793 w 108326"/>
                  <a:gd name="connsiteY2" fmla="*/ 0 h 139186"/>
                  <a:gd name="connsiteX3" fmla="*/ 12596 w 108326"/>
                  <a:gd name="connsiteY3" fmla="*/ 42197 h 139186"/>
                  <a:gd name="connsiteX4" fmla="*/ 22043 w 108326"/>
                  <a:gd name="connsiteY4" fmla="*/ 51644 h 139186"/>
                  <a:gd name="connsiteX5" fmla="*/ 31490 w 108326"/>
                  <a:gd name="connsiteY5" fmla="*/ 42197 h 139186"/>
                  <a:gd name="connsiteX6" fmla="*/ 54163 w 108326"/>
                  <a:gd name="connsiteY6" fmla="*/ 19524 h 139186"/>
                  <a:gd name="connsiteX7" fmla="*/ 76836 w 108326"/>
                  <a:gd name="connsiteY7" fmla="*/ 42197 h 139186"/>
                  <a:gd name="connsiteX8" fmla="*/ 54163 w 108326"/>
                  <a:gd name="connsiteY8" fmla="*/ 64870 h 139186"/>
                  <a:gd name="connsiteX9" fmla="*/ 44716 w 108326"/>
                  <a:gd name="connsiteY9" fmla="*/ 74317 h 139186"/>
                  <a:gd name="connsiteX10" fmla="*/ 45346 w 108326"/>
                  <a:gd name="connsiteY10" fmla="*/ 76206 h 139186"/>
                  <a:gd name="connsiteX11" fmla="*/ 44716 w 108326"/>
                  <a:gd name="connsiteY11" fmla="*/ 78096 h 139186"/>
                  <a:gd name="connsiteX12" fmla="*/ 44716 w 108326"/>
                  <a:gd name="connsiteY12" fmla="*/ 96360 h 139186"/>
                  <a:gd name="connsiteX13" fmla="*/ 0 w 108326"/>
                  <a:gd name="connsiteY13" fmla="*/ 101398 h 139186"/>
                  <a:gd name="connsiteX14" fmla="*/ 16375 w 108326"/>
                  <a:gd name="connsiteY14" fmla="*/ 139187 h 139186"/>
                  <a:gd name="connsiteX15" fmla="*/ 54163 w 108326"/>
                  <a:gd name="connsiteY15" fmla="*/ 138557 h 139186"/>
                  <a:gd name="connsiteX16" fmla="*/ 91951 w 108326"/>
                  <a:gd name="connsiteY16" fmla="*/ 139187 h 139186"/>
                  <a:gd name="connsiteX17" fmla="*/ 108326 w 108326"/>
                  <a:gd name="connsiteY17" fmla="*/ 101398 h 139186"/>
                  <a:gd name="connsiteX18" fmla="*/ 63610 w 108326"/>
                  <a:gd name="connsiteY18" fmla="*/ 96360 h 139186"/>
                  <a:gd name="connsiteX19" fmla="*/ 63610 w 108326"/>
                  <a:gd name="connsiteY19" fmla="*/ 83134 h 139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8326" h="139186">
                    <a:moveTo>
                      <a:pt x="64870" y="83134"/>
                    </a:moveTo>
                    <a:cubicBezTo>
                      <a:pt x="83134" y="78725"/>
                      <a:pt x="96990" y="62351"/>
                      <a:pt x="96990" y="42197"/>
                    </a:cubicBezTo>
                    <a:cubicBezTo>
                      <a:pt x="96990" y="18894"/>
                      <a:pt x="78096" y="0"/>
                      <a:pt x="54793" y="0"/>
                    </a:cubicBezTo>
                    <a:cubicBezTo>
                      <a:pt x="31490" y="0"/>
                      <a:pt x="12596" y="18894"/>
                      <a:pt x="12596" y="42197"/>
                    </a:cubicBezTo>
                    <a:cubicBezTo>
                      <a:pt x="12596" y="47235"/>
                      <a:pt x="17005" y="51644"/>
                      <a:pt x="22043" y="51644"/>
                    </a:cubicBezTo>
                    <a:cubicBezTo>
                      <a:pt x="27081" y="51644"/>
                      <a:pt x="31490" y="47235"/>
                      <a:pt x="31490" y="42197"/>
                    </a:cubicBezTo>
                    <a:cubicBezTo>
                      <a:pt x="31490" y="29601"/>
                      <a:pt x="41567" y="19524"/>
                      <a:pt x="54163" y="19524"/>
                    </a:cubicBezTo>
                    <a:cubicBezTo>
                      <a:pt x="66759" y="19524"/>
                      <a:pt x="76836" y="29601"/>
                      <a:pt x="76836" y="42197"/>
                    </a:cubicBezTo>
                    <a:cubicBezTo>
                      <a:pt x="76836" y="54793"/>
                      <a:pt x="66759" y="64870"/>
                      <a:pt x="54163" y="64870"/>
                    </a:cubicBezTo>
                    <a:cubicBezTo>
                      <a:pt x="49125" y="64870"/>
                      <a:pt x="44716" y="69278"/>
                      <a:pt x="44716" y="74317"/>
                    </a:cubicBezTo>
                    <a:cubicBezTo>
                      <a:pt x="44716" y="74947"/>
                      <a:pt x="44716" y="75576"/>
                      <a:pt x="45346" y="76206"/>
                    </a:cubicBezTo>
                    <a:cubicBezTo>
                      <a:pt x="45346" y="76836"/>
                      <a:pt x="44716" y="77466"/>
                      <a:pt x="44716" y="78096"/>
                    </a:cubicBezTo>
                    <a:lnTo>
                      <a:pt x="44716" y="96360"/>
                    </a:lnTo>
                    <a:cubicBezTo>
                      <a:pt x="28971" y="96990"/>
                      <a:pt x="14485" y="98249"/>
                      <a:pt x="0" y="101398"/>
                    </a:cubicBezTo>
                    <a:cubicBezTo>
                      <a:pt x="5038" y="117773"/>
                      <a:pt x="10707" y="129740"/>
                      <a:pt x="16375" y="139187"/>
                    </a:cubicBezTo>
                    <a:cubicBezTo>
                      <a:pt x="28341" y="138557"/>
                      <a:pt x="40937" y="138557"/>
                      <a:pt x="54163" y="138557"/>
                    </a:cubicBezTo>
                    <a:cubicBezTo>
                      <a:pt x="67389" y="138557"/>
                      <a:pt x="79985" y="138557"/>
                      <a:pt x="91951" y="139187"/>
                    </a:cubicBezTo>
                    <a:cubicBezTo>
                      <a:pt x="97620" y="129740"/>
                      <a:pt x="103288" y="117773"/>
                      <a:pt x="108326" y="101398"/>
                    </a:cubicBezTo>
                    <a:cubicBezTo>
                      <a:pt x="94471" y="98879"/>
                      <a:pt x="79355" y="96990"/>
                      <a:pt x="63610" y="96360"/>
                    </a:cubicBezTo>
                    <a:lnTo>
                      <a:pt x="63610" y="83134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75" name="Forma Livre: Forma 74">
                <a:extLst>
                  <a:ext uri="{FF2B5EF4-FFF2-40B4-BE49-F238E27FC236}">
                    <a16:creationId xmlns:a16="http://schemas.microsoft.com/office/drawing/2014/main" id="{89C149D1-9A87-4521-9038-21A773E884B5}"/>
                  </a:ext>
                </a:extLst>
              </p:cNvPr>
              <p:cNvSpPr/>
              <p:nvPr/>
            </p:nvSpPr>
            <p:spPr>
              <a:xfrm>
                <a:off x="3372811" y="2719595"/>
                <a:ext cx="26998" cy="37704"/>
              </a:xfrm>
              <a:custGeom>
                <a:avLst/>
                <a:gdLst>
                  <a:gd name="connsiteX0" fmla="*/ 2436 w 26998"/>
                  <a:gd name="connsiteY0" fmla="*/ 17005 h 37704"/>
                  <a:gd name="connsiteX1" fmla="*/ 5585 w 26998"/>
                  <a:gd name="connsiteY1" fmla="*/ 35269 h 37704"/>
                  <a:gd name="connsiteX2" fmla="*/ 23849 w 26998"/>
                  <a:gd name="connsiteY2" fmla="*/ 32120 h 37704"/>
                  <a:gd name="connsiteX3" fmla="*/ 26998 w 26998"/>
                  <a:gd name="connsiteY3" fmla="*/ 28341 h 37704"/>
                  <a:gd name="connsiteX4" fmla="*/ 19441 w 26998"/>
                  <a:gd name="connsiteY4" fmla="*/ 0 h 37704"/>
                  <a:gd name="connsiteX5" fmla="*/ 2436 w 26998"/>
                  <a:gd name="connsiteY5" fmla="*/ 17005 h 377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6998" h="37704">
                    <a:moveTo>
                      <a:pt x="2436" y="17005"/>
                    </a:moveTo>
                    <a:cubicBezTo>
                      <a:pt x="-1973" y="22673"/>
                      <a:pt x="-83" y="30860"/>
                      <a:pt x="5585" y="35269"/>
                    </a:cubicBezTo>
                    <a:cubicBezTo>
                      <a:pt x="11253" y="39678"/>
                      <a:pt x="19441" y="37788"/>
                      <a:pt x="23849" y="32120"/>
                    </a:cubicBezTo>
                    <a:cubicBezTo>
                      <a:pt x="25109" y="30860"/>
                      <a:pt x="25739" y="29601"/>
                      <a:pt x="26998" y="28341"/>
                    </a:cubicBezTo>
                    <a:cubicBezTo>
                      <a:pt x="25109" y="16375"/>
                      <a:pt x="21960" y="6298"/>
                      <a:pt x="19441" y="0"/>
                    </a:cubicBezTo>
                    <a:cubicBezTo>
                      <a:pt x="12513" y="4409"/>
                      <a:pt x="6845" y="10707"/>
                      <a:pt x="2436" y="17005"/>
                    </a:cubicBez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76" name="Forma Livre: Forma 75">
                <a:extLst>
                  <a:ext uri="{FF2B5EF4-FFF2-40B4-BE49-F238E27FC236}">
                    <a16:creationId xmlns:a16="http://schemas.microsoft.com/office/drawing/2014/main" id="{C8A9A398-1475-4C52-9455-912364C5A2D9}"/>
                  </a:ext>
                </a:extLst>
              </p:cNvPr>
              <p:cNvSpPr/>
              <p:nvPr/>
            </p:nvSpPr>
            <p:spPr>
              <a:xfrm>
                <a:off x="3652360" y="2718965"/>
                <a:ext cx="26722" cy="37788"/>
              </a:xfrm>
              <a:custGeom>
                <a:avLst/>
                <a:gdLst>
                  <a:gd name="connsiteX0" fmla="*/ 24562 w 26722"/>
                  <a:gd name="connsiteY0" fmla="*/ 17635 h 37788"/>
                  <a:gd name="connsiteX1" fmla="*/ 7558 w 26722"/>
                  <a:gd name="connsiteY1" fmla="*/ 0 h 37788"/>
                  <a:gd name="connsiteX2" fmla="*/ 0 w 26722"/>
                  <a:gd name="connsiteY2" fmla="*/ 28341 h 37788"/>
                  <a:gd name="connsiteX3" fmla="*/ 3149 w 26722"/>
                  <a:gd name="connsiteY3" fmla="*/ 32120 h 37788"/>
                  <a:gd name="connsiteX4" fmla="*/ 13856 w 26722"/>
                  <a:gd name="connsiteY4" fmla="*/ 37788 h 37788"/>
                  <a:gd name="connsiteX5" fmla="*/ 21413 w 26722"/>
                  <a:gd name="connsiteY5" fmla="*/ 35269 h 37788"/>
                  <a:gd name="connsiteX6" fmla="*/ 24562 w 26722"/>
                  <a:gd name="connsiteY6" fmla="*/ 17635 h 37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722" h="37788">
                    <a:moveTo>
                      <a:pt x="24562" y="17635"/>
                    </a:moveTo>
                    <a:cubicBezTo>
                      <a:pt x="20154" y="11337"/>
                      <a:pt x="14485" y="5668"/>
                      <a:pt x="7558" y="0"/>
                    </a:cubicBezTo>
                    <a:cubicBezTo>
                      <a:pt x="5038" y="6298"/>
                      <a:pt x="1889" y="16375"/>
                      <a:pt x="0" y="28341"/>
                    </a:cubicBezTo>
                    <a:cubicBezTo>
                      <a:pt x="1260" y="29601"/>
                      <a:pt x="2519" y="30861"/>
                      <a:pt x="3149" y="32120"/>
                    </a:cubicBezTo>
                    <a:cubicBezTo>
                      <a:pt x="5668" y="35899"/>
                      <a:pt x="9447" y="37788"/>
                      <a:pt x="13856" y="37788"/>
                    </a:cubicBezTo>
                    <a:cubicBezTo>
                      <a:pt x="16375" y="37788"/>
                      <a:pt x="18894" y="37159"/>
                      <a:pt x="21413" y="35269"/>
                    </a:cubicBezTo>
                    <a:cubicBezTo>
                      <a:pt x="27081" y="31490"/>
                      <a:pt x="28341" y="23303"/>
                      <a:pt x="24562" y="17635"/>
                    </a:cubicBez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73" name="Forma Livre: Forma 72">
              <a:extLst>
                <a:ext uri="{FF2B5EF4-FFF2-40B4-BE49-F238E27FC236}">
                  <a16:creationId xmlns:a16="http://schemas.microsoft.com/office/drawing/2014/main" id="{991915DC-42B6-42F9-AE87-E39E3AD2A1BD}"/>
                </a:ext>
              </a:extLst>
            </p:cNvPr>
            <p:cNvSpPr/>
            <p:nvPr/>
          </p:nvSpPr>
          <p:spPr>
            <a:xfrm>
              <a:off x="3380915" y="2662826"/>
              <a:ext cx="290969" cy="330734"/>
            </a:xfrm>
            <a:custGeom>
              <a:avLst/>
              <a:gdLst>
                <a:gd name="connsiteX0" fmla="*/ 267667 w 290969"/>
                <a:gd name="connsiteY0" fmla="*/ 330734 h 330734"/>
                <a:gd name="connsiteX1" fmla="*/ 22043 w 290969"/>
                <a:gd name="connsiteY1" fmla="*/ 330734 h 330734"/>
                <a:gd name="connsiteX2" fmla="*/ 5668 w 290969"/>
                <a:gd name="connsiteY2" fmla="*/ 314989 h 330734"/>
                <a:gd name="connsiteX3" fmla="*/ 0 w 290969"/>
                <a:gd name="connsiteY3" fmla="*/ 171394 h 330734"/>
                <a:gd name="connsiteX4" fmla="*/ 3149 w 290969"/>
                <a:gd name="connsiteY4" fmla="*/ 161317 h 330734"/>
                <a:gd name="connsiteX5" fmla="*/ 7558 w 290969"/>
                <a:gd name="connsiteY5" fmla="*/ 48582 h 330734"/>
                <a:gd name="connsiteX6" fmla="*/ 6928 w 290969"/>
                <a:gd name="connsiteY6" fmla="*/ 35986 h 330734"/>
                <a:gd name="connsiteX7" fmla="*/ 15115 w 290969"/>
                <a:gd name="connsiteY7" fmla="*/ 26539 h 330734"/>
                <a:gd name="connsiteX8" fmla="*/ 64870 w 290969"/>
                <a:gd name="connsiteY8" fmla="*/ 1977 h 330734"/>
                <a:gd name="connsiteX9" fmla="*/ 78725 w 290969"/>
                <a:gd name="connsiteY9" fmla="*/ 1347 h 330734"/>
                <a:gd name="connsiteX10" fmla="*/ 88173 w 290969"/>
                <a:gd name="connsiteY10" fmla="*/ 12053 h 330734"/>
                <a:gd name="connsiteX11" fmla="*/ 145485 w 290969"/>
                <a:gd name="connsiteY11" fmla="*/ 90779 h 330734"/>
                <a:gd name="connsiteX12" fmla="*/ 202797 w 290969"/>
                <a:gd name="connsiteY12" fmla="*/ 12053 h 330734"/>
                <a:gd name="connsiteX13" fmla="*/ 212244 w 290969"/>
                <a:gd name="connsiteY13" fmla="*/ 1347 h 330734"/>
                <a:gd name="connsiteX14" fmla="*/ 226100 w 290969"/>
                <a:gd name="connsiteY14" fmla="*/ 1977 h 330734"/>
                <a:gd name="connsiteX15" fmla="*/ 275854 w 290969"/>
                <a:gd name="connsiteY15" fmla="*/ 26539 h 330734"/>
                <a:gd name="connsiteX16" fmla="*/ 283412 w 290969"/>
                <a:gd name="connsiteY16" fmla="*/ 49212 h 330734"/>
                <a:gd name="connsiteX17" fmla="*/ 287820 w 290969"/>
                <a:gd name="connsiteY17" fmla="*/ 161947 h 330734"/>
                <a:gd name="connsiteX18" fmla="*/ 290969 w 290969"/>
                <a:gd name="connsiteY18" fmla="*/ 172024 h 330734"/>
                <a:gd name="connsiteX19" fmla="*/ 285301 w 290969"/>
                <a:gd name="connsiteY19" fmla="*/ 315619 h 330734"/>
                <a:gd name="connsiteX20" fmla="*/ 267667 w 290969"/>
                <a:gd name="connsiteY20" fmla="*/ 330734 h 330734"/>
                <a:gd name="connsiteX21" fmla="*/ 267667 w 290969"/>
                <a:gd name="connsiteY21" fmla="*/ 330734 h 330734"/>
                <a:gd name="connsiteX22" fmla="*/ 38418 w 290969"/>
                <a:gd name="connsiteY22" fmla="*/ 297355 h 330734"/>
                <a:gd name="connsiteX23" fmla="*/ 251922 w 290969"/>
                <a:gd name="connsiteY23" fmla="*/ 297355 h 330734"/>
                <a:gd name="connsiteX24" fmla="*/ 256330 w 290969"/>
                <a:gd name="connsiteY24" fmla="*/ 175173 h 330734"/>
                <a:gd name="connsiteX25" fmla="*/ 246253 w 290969"/>
                <a:gd name="connsiteY25" fmla="*/ 48582 h 330734"/>
                <a:gd name="connsiteX26" fmla="*/ 227989 w 290969"/>
                <a:gd name="connsiteY26" fmla="*/ 39135 h 330734"/>
                <a:gd name="connsiteX27" fmla="*/ 151153 w 290969"/>
                <a:gd name="connsiteY27" fmla="*/ 122899 h 330734"/>
                <a:gd name="connsiteX28" fmla="*/ 139817 w 290969"/>
                <a:gd name="connsiteY28" fmla="*/ 122899 h 330734"/>
                <a:gd name="connsiteX29" fmla="*/ 61721 w 290969"/>
                <a:gd name="connsiteY29" fmla="*/ 38505 h 330734"/>
                <a:gd name="connsiteX30" fmla="*/ 43456 w 290969"/>
                <a:gd name="connsiteY30" fmla="*/ 47952 h 330734"/>
                <a:gd name="connsiteX31" fmla="*/ 33380 w 290969"/>
                <a:gd name="connsiteY31" fmla="*/ 174543 h 330734"/>
                <a:gd name="connsiteX32" fmla="*/ 38418 w 290969"/>
                <a:gd name="connsiteY32" fmla="*/ 297355 h 330734"/>
                <a:gd name="connsiteX33" fmla="*/ 38418 w 290969"/>
                <a:gd name="connsiteY33" fmla="*/ 297355 h 330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90969" h="330734">
                  <a:moveTo>
                    <a:pt x="267667" y="330734"/>
                  </a:moveTo>
                  <a:lnTo>
                    <a:pt x="22043" y="330734"/>
                  </a:lnTo>
                  <a:cubicBezTo>
                    <a:pt x="13226" y="330734"/>
                    <a:pt x="5668" y="323806"/>
                    <a:pt x="5668" y="314989"/>
                  </a:cubicBezTo>
                  <a:lnTo>
                    <a:pt x="0" y="171394"/>
                  </a:lnTo>
                  <a:cubicBezTo>
                    <a:pt x="0" y="167615"/>
                    <a:pt x="630" y="163836"/>
                    <a:pt x="3149" y="161317"/>
                  </a:cubicBezTo>
                  <a:cubicBezTo>
                    <a:pt x="38418" y="112192"/>
                    <a:pt x="7558" y="49212"/>
                    <a:pt x="7558" y="48582"/>
                  </a:cubicBezTo>
                  <a:cubicBezTo>
                    <a:pt x="5668" y="44803"/>
                    <a:pt x="5039" y="39765"/>
                    <a:pt x="6928" y="35986"/>
                  </a:cubicBezTo>
                  <a:cubicBezTo>
                    <a:pt x="8188" y="31577"/>
                    <a:pt x="11337" y="28428"/>
                    <a:pt x="15115" y="26539"/>
                  </a:cubicBezTo>
                  <a:lnTo>
                    <a:pt x="64870" y="1977"/>
                  </a:lnTo>
                  <a:cubicBezTo>
                    <a:pt x="69278" y="-543"/>
                    <a:pt x="74317" y="-543"/>
                    <a:pt x="78725" y="1347"/>
                  </a:cubicBezTo>
                  <a:cubicBezTo>
                    <a:pt x="83134" y="3236"/>
                    <a:pt x="86913" y="7015"/>
                    <a:pt x="88173" y="12053"/>
                  </a:cubicBezTo>
                  <a:cubicBezTo>
                    <a:pt x="105807" y="73774"/>
                    <a:pt x="126591" y="84481"/>
                    <a:pt x="145485" y="90779"/>
                  </a:cubicBezTo>
                  <a:cubicBezTo>
                    <a:pt x="164379" y="83851"/>
                    <a:pt x="185162" y="72515"/>
                    <a:pt x="202797" y="12053"/>
                  </a:cubicBezTo>
                  <a:cubicBezTo>
                    <a:pt x="204056" y="7015"/>
                    <a:pt x="207835" y="3236"/>
                    <a:pt x="212244" y="1347"/>
                  </a:cubicBezTo>
                  <a:cubicBezTo>
                    <a:pt x="216652" y="-543"/>
                    <a:pt x="221691" y="-543"/>
                    <a:pt x="226100" y="1977"/>
                  </a:cubicBezTo>
                  <a:lnTo>
                    <a:pt x="275854" y="26539"/>
                  </a:lnTo>
                  <a:cubicBezTo>
                    <a:pt x="284042" y="30948"/>
                    <a:pt x="287191" y="40395"/>
                    <a:pt x="283412" y="49212"/>
                  </a:cubicBezTo>
                  <a:cubicBezTo>
                    <a:pt x="283412" y="49842"/>
                    <a:pt x="252551" y="112822"/>
                    <a:pt x="287820" y="161947"/>
                  </a:cubicBezTo>
                  <a:cubicBezTo>
                    <a:pt x="289710" y="165096"/>
                    <a:pt x="290969" y="168875"/>
                    <a:pt x="290969" y="172024"/>
                  </a:cubicBezTo>
                  <a:lnTo>
                    <a:pt x="285301" y="315619"/>
                  </a:lnTo>
                  <a:cubicBezTo>
                    <a:pt x="284042" y="323806"/>
                    <a:pt x="277114" y="330734"/>
                    <a:pt x="267667" y="330734"/>
                  </a:cubicBezTo>
                  <a:lnTo>
                    <a:pt x="267667" y="330734"/>
                  </a:lnTo>
                  <a:close/>
                  <a:moveTo>
                    <a:pt x="38418" y="297355"/>
                  </a:moveTo>
                  <a:lnTo>
                    <a:pt x="251922" y="297355"/>
                  </a:lnTo>
                  <a:lnTo>
                    <a:pt x="256330" y="175173"/>
                  </a:lnTo>
                  <a:cubicBezTo>
                    <a:pt x="225470" y="127308"/>
                    <a:pt x="237436" y="74404"/>
                    <a:pt x="246253" y="48582"/>
                  </a:cubicBezTo>
                  <a:lnTo>
                    <a:pt x="227989" y="39135"/>
                  </a:lnTo>
                  <a:cubicBezTo>
                    <a:pt x="206576" y="100226"/>
                    <a:pt x="179494" y="113452"/>
                    <a:pt x="151153" y="122899"/>
                  </a:cubicBezTo>
                  <a:cubicBezTo>
                    <a:pt x="148004" y="124159"/>
                    <a:pt x="143595" y="124159"/>
                    <a:pt x="139817" y="122899"/>
                  </a:cubicBezTo>
                  <a:cubicBezTo>
                    <a:pt x="110846" y="113452"/>
                    <a:pt x="83134" y="99596"/>
                    <a:pt x="61721" y="38505"/>
                  </a:cubicBezTo>
                  <a:lnTo>
                    <a:pt x="43456" y="47952"/>
                  </a:lnTo>
                  <a:cubicBezTo>
                    <a:pt x="52274" y="73774"/>
                    <a:pt x="64240" y="126678"/>
                    <a:pt x="33380" y="174543"/>
                  </a:cubicBezTo>
                  <a:lnTo>
                    <a:pt x="38418" y="297355"/>
                  </a:lnTo>
                  <a:lnTo>
                    <a:pt x="38418" y="297355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</p:spTree>
    <p:extLst>
      <p:ext uri="{BB962C8B-B14F-4D97-AF65-F5344CB8AC3E}">
        <p14:creationId xmlns:p14="http://schemas.microsoft.com/office/powerpoint/2010/main" val="3626412734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E1DB6B48-FF5F-4221-B246-2197205DB1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Inserir aqui o título do slid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C1D4153F-A61B-4828-8021-B6159DFACD7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erir aqui o subtítulo do slide</a:t>
            </a:r>
          </a:p>
        </p:txBody>
      </p:sp>
      <p:sp>
        <p:nvSpPr>
          <p:cNvPr id="7" name="Forma Livre: Forma 6">
            <a:extLst>
              <a:ext uri="{FF2B5EF4-FFF2-40B4-BE49-F238E27FC236}">
                <a16:creationId xmlns:a16="http://schemas.microsoft.com/office/drawing/2014/main" id="{BFD3B57A-1964-43BA-913B-ED7C78DA0746}"/>
              </a:ext>
            </a:extLst>
          </p:cNvPr>
          <p:cNvSpPr/>
          <p:nvPr/>
        </p:nvSpPr>
        <p:spPr>
          <a:xfrm>
            <a:off x="3813366" y="1269574"/>
            <a:ext cx="4561148" cy="4561148"/>
          </a:xfrm>
          <a:custGeom>
            <a:avLst/>
            <a:gdLst>
              <a:gd name="connsiteX0" fmla="*/ 2280574 w 4561148"/>
              <a:gd name="connsiteY0" fmla="*/ 0 h 4561148"/>
              <a:gd name="connsiteX1" fmla="*/ 4561148 w 4561148"/>
              <a:gd name="connsiteY1" fmla="*/ 2280574 h 4561148"/>
              <a:gd name="connsiteX2" fmla="*/ 2280574 w 4561148"/>
              <a:gd name="connsiteY2" fmla="*/ 4561148 h 4561148"/>
              <a:gd name="connsiteX3" fmla="*/ 0 w 4561148"/>
              <a:gd name="connsiteY3" fmla="*/ 2281261 h 4561148"/>
              <a:gd name="connsiteX4" fmla="*/ 2280574 w 4561148"/>
              <a:gd name="connsiteY4" fmla="*/ 0 h 4561148"/>
              <a:gd name="connsiteX5" fmla="*/ 2280574 w 4561148"/>
              <a:gd name="connsiteY5" fmla="*/ 0 h 4561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61148" h="4561148">
                <a:moveTo>
                  <a:pt x="2280574" y="0"/>
                </a:moveTo>
                <a:cubicBezTo>
                  <a:pt x="3540313" y="0"/>
                  <a:pt x="4561148" y="1020835"/>
                  <a:pt x="4561148" y="2280574"/>
                </a:cubicBezTo>
                <a:cubicBezTo>
                  <a:pt x="4561148" y="3540313"/>
                  <a:pt x="3540313" y="4561148"/>
                  <a:pt x="2280574" y="4561148"/>
                </a:cubicBezTo>
                <a:cubicBezTo>
                  <a:pt x="1020835" y="4561835"/>
                  <a:pt x="0" y="3540999"/>
                  <a:pt x="0" y="2281261"/>
                </a:cubicBezTo>
                <a:cubicBezTo>
                  <a:pt x="0" y="1021521"/>
                  <a:pt x="1020835" y="0"/>
                  <a:pt x="2280574" y="0"/>
                </a:cubicBezTo>
                <a:lnTo>
                  <a:pt x="2280574" y="0"/>
                </a:lnTo>
                <a:close/>
              </a:path>
            </a:pathLst>
          </a:custGeom>
          <a:solidFill>
            <a:srgbClr val="E4E4E4"/>
          </a:solidFill>
          <a:ln w="6861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8" name="Forma Livre: Forma 7">
            <a:extLst>
              <a:ext uri="{FF2B5EF4-FFF2-40B4-BE49-F238E27FC236}">
                <a16:creationId xmlns:a16="http://schemas.microsoft.com/office/drawing/2014/main" id="{745FF734-F04A-46EA-BBB4-9FF0F805B761}"/>
              </a:ext>
            </a:extLst>
          </p:cNvPr>
          <p:cNvSpPr/>
          <p:nvPr/>
        </p:nvSpPr>
        <p:spPr>
          <a:xfrm>
            <a:off x="5182946" y="1729533"/>
            <a:ext cx="1822674" cy="1821301"/>
          </a:xfrm>
          <a:custGeom>
            <a:avLst/>
            <a:gdLst>
              <a:gd name="connsiteX0" fmla="*/ 910994 w 1822674"/>
              <a:gd name="connsiteY0" fmla="*/ 1821301 h 1821301"/>
              <a:gd name="connsiteX1" fmla="*/ 0 w 1822674"/>
              <a:gd name="connsiteY1" fmla="*/ 243023 h 1821301"/>
              <a:gd name="connsiteX2" fmla="*/ 1822674 w 1822674"/>
              <a:gd name="connsiteY2" fmla="*/ 243023 h 1821301"/>
              <a:gd name="connsiteX3" fmla="*/ 910994 w 1822674"/>
              <a:gd name="connsiteY3" fmla="*/ 1821301 h 1821301"/>
              <a:gd name="connsiteX4" fmla="*/ 910994 w 1822674"/>
              <a:gd name="connsiteY4" fmla="*/ 1821301 h 1821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22674" h="1821301">
                <a:moveTo>
                  <a:pt x="910994" y="1821301"/>
                </a:moveTo>
                <a:lnTo>
                  <a:pt x="0" y="243023"/>
                </a:lnTo>
                <a:cubicBezTo>
                  <a:pt x="560876" y="-81008"/>
                  <a:pt x="1261799" y="-81008"/>
                  <a:pt x="1822674" y="243023"/>
                </a:cubicBezTo>
                <a:lnTo>
                  <a:pt x="910994" y="1821301"/>
                </a:lnTo>
                <a:lnTo>
                  <a:pt x="910994" y="1821301"/>
                </a:lnTo>
                <a:close/>
              </a:path>
            </a:pathLst>
          </a:custGeom>
          <a:solidFill>
            <a:srgbClr val="11385A"/>
          </a:solidFill>
          <a:ln w="6861" cap="flat">
            <a:noFill/>
            <a:prstDash val="solid"/>
            <a:miter/>
          </a:ln>
        </p:spPr>
        <p:txBody>
          <a:bodyPr rtlCol="0" anchor="ctr"/>
          <a:lstStyle/>
          <a:p>
            <a:endParaRPr lang="pt-BR" dirty="0"/>
          </a:p>
        </p:txBody>
      </p:sp>
      <p:sp>
        <p:nvSpPr>
          <p:cNvPr id="9" name="Forma Livre: Forma 8">
            <a:extLst>
              <a:ext uri="{FF2B5EF4-FFF2-40B4-BE49-F238E27FC236}">
                <a16:creationId xmlns:a16="http://schemas.microsoft.com/office/drawing/2014/main" id="{DFA65D30-5297-4666-9349-AF19FD207FE9}"/>
              </a:ext>
            </a:extLst>
          </p:cNvPr>
          <p:cNvSpPr/>
          <p:nvPr/>
        </p:nvSpPr>
        <p:spPr>
          <a:xfrm>
            <a:off x="6093940" y="1972556"/>
            <a:ext cx="1822674" cy="1578278"/>
          </a:xfrm>
          <a:custGeom>
            <a:avLst/>
            <a:gdLst>
              <a:gd name="connsiteX0" fmla="*/ 0 w 1822674"/>
              <a:gd name="connsiteY0" fmla="*/ 1578278 h 1578278"/>
              <a:gd name="connsiteX1" fmla="*/ 911680 w 1822674"/>
              <a:gd name="connsiteY1" fmla="*/ 0 h 1578278"/>
              <a:gd name="connsiteX2" fmla="*/ 1822674 w 1822674"/>
              <a:gd name="connsiteY2" fmla="*/ 1578278 h 1578278"/>
              <a:gd name="connsiteX3" fmla="*/ 0 w 1822674"/>
              <a:gd name="connsiteY3" fmla="*/ 1578278 h 1578278"/>
              <a:gd name="connsiteX4" fmla="*/ 0 w 1822674"/>
              <a:gd name="connsiteY4" fmla="*/ 1578278 h 15782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22674" h="1578278">
                <a:moveTo>
                  <a:pt x="0" y="1578278"/>
                </a:moveTo>
                <a:lnTo>
                  <a:pt x="911680" y="0"/>
                </a:lnTo>
                <a:cubicBezTo>
                  <a:pt x="1475302" y="325404"/>
                  <a:pt x="1822674" y="927470"/>
                  <a:pt x="1822674" y="1578278"/>
                </a:cubicBezTo>
                <a:lnTo>
                  <a:pt x="0" y="1578278"/>
                </a:lnTo>
                <a:lnTo>
                  <a:pt x="0" y="1578278"/>
                </a:lnTo>
                <a:close/>
              </a:path>
            </a:pathLst>
          </a:custGeom>
          <a:solidFill>
            <a:srgbClr val="4B6185"/>
          </a:solidFill>
          <a:ln w="6861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10" name="Forma Livre: Forma 9">
            <a:extLst>
              <a:ext uri="{FF2B5EF4-FFF2-40B4-BE49-F238E27FC236}">
                <a16:creationId xmlns:a16="http://schemas.microsoft.com/office/drawing/2014/main" id="{D1C4D06D-36D5-418D-B97F-5D8E6973221A}"/>
              </a:ext>
            </a:extLst>
          </p:cNvPr>
          <p:cNvSpPr/>
          <p:nvPr/>
        </p:nvSpPr>
        <p:spPr>
          <a:xfrm>
            <a:off x="6093940" y="3550834"/>
            <a:ext cx="1822674" cy="1578277"/>
          </a:xfrm>
          <a:custGeom>
            <a:avLst/>
            <a:gdLst>
              <a:gd name="connsiteX0" fmla="*/ 0 w 1822674"/>
              <a:gd name="connsiteY0" fmla="*/ 0 h 1578277"/>
              <a:gd name="connsiteX1" fmla="*/ 1822674 w 1822674"/>
              <a:gd name="connsiteY1" fmla="*/ 0 h 1578277"/>
              <a:gd name="connsiteX2" fmla="*/ 911680 w 1822674"/>
              <a:gd name="connsiteY2" fmla="*/ 1578278 h 1578277"/>
              <a:gd name="connsiteX3" fmla="*/ 0 w 1822674"/>
              <a:gd name="connsiteY3" fmla="*/ 0 h 1578277"/>
              <a:gd name="connsiteX4" fmla="*/ 0 w 1822674"/>
              <a:gd name="connsiteY4" fmla="*/ 0 h 1578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22674" h="1578277">
                <a:moveTo>
                  <a:pt x="0" y="0"/>
                </a:moveTo>
                <a:lnTo>
                  <a:pt x="1822674" y="0"/>
                </a:lnTo>
                <a:cubicBezTo>
                  <a:pt x="1822674" y="650808"/>
                  <a:pt x="1475302" y="1252874"/>
                  <a:pt x="911680" y="1578278"/>
                </a:cubicBez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899DBD"/>
          </a:solidFill>
          <a:ln w="6861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11" name="Forma Livre: Forma 10">
            <a:extLst>
              <a:ext uri="{FF2B5EF4-FFF2-40B4-BE49-F238E27FC236}">
                <a16:creationId xmlns:a16="http://schemas.microsoft.com/office/drawing/2014/main" id="{E9CF63D0-CF67-4E1F-B28A-0CCBCCAD1ABF}"/>
              </a:ext>
            </a:extLst>
          </p:cNvPr>
          <p:cNvSpPr/>
          <p:nvPr/>
        </p:nvSpPr>
        <p:spPr>
          <a:xfrm>
            <a:off x="5182946" y="3550834"/>
            <a:ext cx="1822674" cy="1821301"/>
          </a:xfrm>
          <a:custGeom>
            <a:avLst/>
            <a:gdLst>
              <a:gd name="connsiteX0" fmla="*/ 910994 w 1822674"/>
              <a:gd name="connsiteY0" fmla="*/ 0 h 1821301"/>
              <a:gd name="connsiteX1" fmla="*/ 1822674 w 1822674"/>
              <a:gd name="connsiteY1" fmla="*/ 1578278 h 1821301"/>
              <a:gd name="connsiteX2" fmla="*/ 0 w 1822674"/>
              <a:gd name="connsiteY2" fmla="*/ 1578278 h 1821301"/>
              <a:gd name="connsiteX3" fmla="*/ 910994 w 1822674"/>
              <a:gd name="connsiteY3" fmla="*/ 0 h 1821301"/>
              <a:gd name="connsiteX4" fmla="*/ 910994 w 1822674"/>
              <a:gd name="connsiteY4" fmla="*/ 0 h 1821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22674" h="1821301">
                <a:moveTo>
                  <a:pt x="910994" y="0"/>
                </a:moveTo>
                <a:lnTo>
                  <a:pt x="1822674" y="1578278"/>
                </a:lnTo>
                <a:cubicBezTo>
                  <a:pt x="1261799" y="1902309"/>
                  <a:pt x="560876" y="1902309"/>
                  <a:pt x="0" y="1578278"/>
                </a:cubicBezTo>
                <a:lnTo>
                  <a:pt x="910994" y="0"/>
                </a:lnTo>
                <a:lnTo>
                  <a:pt x="910994" y="0"/>
                </a:lnTo>
                <a:close/>
              </a:path>
            </a:pathLst>
          </a:custGeom>
          <a:solidFill>
            <a:srgbClr val="BFCADB"/>
          </a:solidFill>
          <a:ln w="6861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12" name="Forma Livre: Forma 11">
            <a:extLst>
              <a:ext uri="{FF2B5EF4-FFF2-40B4-BE49-F238E27FC236}">
                <a16:creationId xmlns:a16="http://schemas.microsoft.com/office/drawing/2014/main" id="{F96A06C7-F3B9-4765-A713-4C34116F39DC}"/>
              </a:ext>
            </a:extLst>
          </p:cNvPr>
          <p:cNvSpPr/>
          <p:nvPr/>
        </p:nvSpPr>
        <p:spPr>
          <a:xfrm>
            <a:off x="4271952" y="3550834"/>
            <a:ext cx="1821987" cy="1578277"/>
          </a:xfrm>
          <a:custGeom>
            <a:avLst/>
            <a:gdLst>
              <a:gd name="connsiteX0" fmla="*/ 1821988 w 1821987"/>
              <a:gd name="connsiteY0" fmla="*/ 0 h 1578277"/>
              <a:gd name="connsiteX1" fmla="*/ 910994 w 1821987"/>
              <a:gd name="connsiteY1" fmla="*/ 1578278 h 1578277"/>
              <a:gd name="connsiteX2" fmla="*/ 0 w 1821987"/>
              <a:gd name="connsiteY2" fmla="*/ 0 h 1578277"/>
              <a:gd name="connsiteX3" fmla="*/ 1821988 w 1821987"/>
              <a:gd name="connsiteY3" fmla="*/ 0 h 1578277"/>
              <a:gd name="connsiteX4" fmla="*/ 1821988 w 1821987"/>
              <a:gd name="connsiteY4" fmla="*/ 0 h 1578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21987" h="1578277">
                <a:moveTo>
                  <a:pt x="1821988" y="0"/>
                </a:moveTo>
                <a:lnTo>
                  <a:pt x="910994" y="1578278"/>
                </a:lnTo>
                <a:cubicBezTo>
                  <a:pt x="347372" y="1252874"/>
                  <a:pt x="0" y="650808"/>
                  <a:pt x="0" y="0"/>
                </a:cubicBezTo>
                <a:lnTo>
                  <a:pt x="1821988" y="0"/>
                </a:lnTo>
                <a:lnTo>
                  <a:pt x="1821988" y="0"/>
                </a:lnTo>
                <a:close/>
              </a:path>
            </a:pathLst>
          </a:custGeom>
          <a:solidFill>
            <a:srgbClr val="4B6185"/>
          </a:solidFill>
          <a:ln w="6861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13" name="Forma Livre: Forma 12">
            <a:extLst>
              <a:ext uri="{FF2B5EF4-FFF2-40B4-BE49-F238E27FC236}">
                <a16:creationId xmlns:a16="http://schemas.microsoft.com/office/drawing/2014/main" id="{C43E1555-296E-4671-B9D4-2D47DAEF2040}"/>
              </a:ext>
            </a:extLst>
          </p:cNvPr>
          <p:cNvSpPr/>
          <p:nvPr/>
        </p:nvSpPr>
        <p:spPr>
          <a:xfrm>
            <a:off x="4271952" y="1972556"/>
            <a:ext cx="1821987" cy="1578278"/>
          </a:xfrm>
          <a:custGeom>
            <a:avLst/>
            <a:gdLst>
              <a:gd name="connsiteX0" fmla="*/ 1821988 w 1821987"/>
              <a:gd name="connsiteY0" fmla="*/ 1578278 h 1578278"/>
              <a:gd name="connsiteX1" fmla="*/ 0 w 1821987"/>
              <a:gd name="connsiteY1" fmla="*/ 1578278 h 1578278"/>
              <a:gd name="connsiteX2" fmla="*/ 910994 w 1821987"/>
              <a:gd name="connsiteY2" fmla="*/ 0 h 1578278"/>
              <a:gd name="connsiteX3" fmla="*/ 1821988 w 1821987"/>
              <a:gd name="connsiteY3" fmla="*/ 1578278 h 1578278"/>
              <a:gd name="connsiteX4" fmla="*/ 1821988 w 1821987"/>
              <a:gd name="connsiteY4" fmla="*/ 1578278 h 15782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21987" h="1578278">
                <a:moveTo>
                  <a:pt x="1821988" y="1578278"/>
                </a:moveTo>
                <a:lnTo>
                  <a:pt x="0" y="1578278"/>
                </a:lnTo>
                <a:cubicBezTo>
                  <a:pt x="0" y="927470"/>
                  <a:pt x="347372" y="325404"/>
                  <a:pt x="910994" y="0"/>
                </a:cubicBezTo>
                <a:lnTo>
                  <a:pt x="1821988" y="1578278"/>
                </a:lnTo>
                <a:lnTo>
                  <a:pt x="1821988" y="1578278"/>
                </a:lnTo>
                <a:close/>
              </a:path>
            </a:pathLst>
          </a:custGeom>
          <a:solidFill>
            <a:srgbClr val="899DBD"/>
          </a:solidFill>
          <a:ln w="6861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14" name="Forma Livre: Forma 13">
            <a:extLst>
              <a:ext uri="{FF2B5EF4-FFF2-40B4-BE49-F238E27FC236}">
                <a16:creationId xmlns:a16="http://schemas.microsoft.com/office/drawing/2014/main" id="{D54CD7CD-CE6D-4CEF-A427-84CF0A5917DB}"/>
              </a:ext>
            </a:extLst>
          </p:cNvPr>
          <p:cNvSpPr/>
          <p:nvPr/>
        </p:nvSpPr>
        <p:spPr>
          <a:xfrm>
            <a:off x="5358691" y="2815586"/>
            <a:ext cx="1470496" cy="1470496"/>
          </a:xfrm>
          <a:custGeom>
            <a:avLst/>
            <a:gdLst>
              <a:gd name="connsiteX0" fmla="*/ 735248 w 1470496"/>
              <a:gd name="connsiteY0" fmla="*/ 0 h 1470496"/>
              <a:gd name="connsiteX1" fmla="*/ 1470496 w 1470496"/>
              <a:gd name="connsiteY1" fmla="*/ 735248 h 1470496"/>
              <a:gd name="connsiteX2" fmla="*/ 735248 w 1470496"/>
              <a:gd name="connsiteY2" fmla="*/ 1470497 h 1470496"/>
              <a:gd name="connsiteX3" fmla="*/ 0 w 1470496"/>
              <a:gd name="connsiteY3" fmla="*/ 735248 h 1470496"/>
              <a:gd name="connsiteX4" fmla="*/ 735248 w 1470496"/>
              <a:gd name="connsiteY4" fmla="*/ 0 h 1470496"/>
              <a:gd name="connsiteX5" fmla="*/ 735248 w 1470496"/>
              <a:gd name="connsiteY5" fmla="*/ 0 h 14704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70496" h="1470496">
                <a:moveTo>
                  <a:pt x="735248" y="0"/>
                </a:moveTo>
                <a:cubicBezTo>
                  <a:pt x="1141660" y="0"/>
                  <a:pt x="1470496" y="329523"/>
                  <a:pt x="1470496" y="735248"/>
                </a:cubicBezTo>
                <a:cubicBezTo>
                  <a:pt x="1470496" y="1141660"/>
                  <a:pt x="1140973" y="1470497"/>
                  <a:pt x="735248" y="1470497"/>
                </a:cubicBezTo>
                <a:cubicBezTo>
                  <a:pt x="328836" y="1470497"/>
                  <a:pt x="0" y="1140974"/>
                  <a:pt x="0" y="735248"/>
                </a:cubicBezTo>
                <a:cubicBezTo>
                  <a:pt x="0" y="328836"/>
                  <a:pt x="329523" y="0"/>
                  <a:pt x="735248" y="0"/>
                </a:cubicBezTo>
                <a:lnTo>
                  <a:pt x="735248" y="0"/>
                </a:lnTo>
                <a:close/>
              </a:path>
            </a:pathLst>
          </a:custGeom>
          <a:solidFill>
            <a:srgbClr val="FFFFFF"/>
          </a:solidFill>
          <a:ln w="6861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15" name="Forma Livre: Forma 14">
            <a:extLst>
              <a:ext uri="{FF2B5EF4-FFF2-40B4-BE49-F238E27FC236}">
                <a16:creationId xmlns:a16="http://schemas.microsoft.com/office/drawing/2014/main" id="{709CE2BF-6B07-49A7-89BF-29CE8D42B59A}"/>
              </a:ext>
            </a:extLst>
          </p:cNvPr>
          <p:cNvSpPr/>
          <p:nvPr/>
        </p:nvSpPr>
        <p:spPr>
          <a:xfrm>
            <a:off x="5769222" y="944857"/>
            <a:ext cx="649435" cy="746918"/>
          </a:xfrm>
          <a:custGeom>
            <a:avLst/>
            <a:gdLst>
              <a:gd name="connsiteX0" fmla="*/ 324718 w 649435"/>
              <a:gd name="connsiteY0" fmla="*/ 0 h 746918"/>
              <a:gd name="connsiteX1" fmla="*/ 649435 w 649435"/>
              <a:gd name="connsiteY1" fmla="*/ 324717 h 746918"/>
              <a:gd name="connsiteX2" fmla="*/ 402979 w 649435"/>
              <a:gd name="connsiteY2" fmla="*/ 639824 h 746918"/>
              <a:gd name="connsiteX3" fmla="*/ 324718 w 649435"/>
              <a:gd name="connsiteY3" fmla="*/ 746919 h 746918"/>
              <a:gd name="connsiteX4" fmla="*/ 246456 w 649435"/>
              <a:gd name="connsiteY4" fmla="*/ 639824 h 746918"/>
              <a:gd name="connsiteX5" fmla="*/ 0 w 649435"/>
              <a:gd name="connsiteY5" fmla="*/ 324717 h 746918"/>
              <a:gd name="connsiteX6" fmla="*/ 324718 w 649435"/>
              <a:gd name="connsiteY6" fmla="*/ 0 h 746918"/>
              <a:gd name="connsiteX7" fmla="*/ 324718 w 649435"/>
              <a:gd name="connsiteY7" fmla="*/ 0 h 746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9435" h="746918">
                <a:moveTo>
                  <a:pt x="324718" y="0"/>
                </a:moveTo>
                <a:cubicBezTo>
                  <a:pt x="503896" y="0"/>
                  <a:pt x="649435" y="145539"/>
                  <a:pt x="649435" y="324717"/>
                </a:cubicBezTo>
                <a:cubicBezTo>
                  <a:pt x="649435" y="477122"/>
                  <a:pt x="544400" y="604812"/>
                  <a:pt x="402979" y="639824"/>
                </a:cubicBezTo>
                <a:lnTo>
                  <a:pt x="324718" y="746919"/>
                </a:lnTo>
                <a:lnTo>
                  <a:pt x="246456" y="639824"/>
                </a:lnTo>
                <a:cubicBezTo>
                  <a:pt x="105036" y="604812"/>
                  <a:pt x="0" y="477122"/>
                  <a:pt x="0" y="324717"/>
                </a:cubicBezTo>
                <a:cubicBezTo>
                  <a:pt x="0" y="145539"/>
                  <a:pt x="145539" y="0"/>
                  <a:pt x="324718" y="0"/>
                </a:cubicBezTo>
                <a:lnTo>
                  <a:pt x="324718" y="0"/>
                </a:lnTo>
                <a:close/>
              </a:path>
            </a:pathLst>
          </a:custGeom>
          <a:solidFill>
            <a:srgbClr val="11385A"/>
          </a:solidFill>
          <a:ln w="6861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16" name="Forma Livre: Forma 15">
            <a:extLst>
              <a:ext uri="{FF2B5EF4-FFF2-40B4-BE49-F238E27FC236}">
                <a16:creationId xmlns:a16="http://schemas.microsoft.com/office/drawing/2014/main" id="{37AD61B3-C041-4C4A-A3E2-6C5266F84C0A}"/>
              </a:ext>
            </a:extLst>
          </p:cNvPr>
          <p:cNvSpPr/>
          <p:nvPr/>
        </p:nvSpPr>
        <p:spPr>
          <a:xfrm>
            <a:off x="5857095" y="1032729"/>
            <a:ext cx="473689" cy="473689"/>
          </a:xfrm>
          <a:custGeom>
            <a:avLst/>
            <a:gdLst>
              <a:gd name="connsiteX0" fmla="*/ 236845 w 473689"/>
              <a:gd name="connsiteY0" fmla="*/ 0 h 473689"/>
              <a:gd name="connsiteX1" fmla="*/ 473689 w 473689"/>
              <a:gd name="connsiteY1" fmla="*/ 236845 h 473689"/>
              <a:gd name="connsiteX2" fmla="*/ 236845 w 473689"/>
              <a:gd name="connsiteY2" fmla="*/ 473689 h 473689"/>
              <a:gd name="connsiteX3" fmla="*/ 0 w 473689"/>
              <a:gd name="connsiteY3" fmla="*/ 236845 h 473689"/>
              <a:gd name="connsiteX4" fmla="*/ 236845 w 473689"/>
              <a:gd name="connsiteY4" fmla="*/ 0 h 473689"/>
              <a:gd name="connsiteX5" fmla="*/ 236845 w 473689"/>
              <a:gd name="connsiteY5" fmla="*/ 0 h 4736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3689" h="473689">
                <a:moveTo>
                  <a:pt x="236845" y="0"/>
                </a:moveTo>
                <a:cubicBezTo>
                  <a:pt x="367967" y="0"/>
                  <a:pt x="473689" y="106408"/>
                  <a:pt x="473689" y="236845"/>
                </a:cubicBezTo>
                <a:cubicBezTo>
                  <a:pt x="473689" y="367967"/>
                  <a:pt x="367281" y="473689"/>
                  <a:pt x="236845" y="473689"/>
                </a:cubicBezTo>
                <a:cubicBezTo>
                  <a:pt x="105722" y="473689"/>
                  <a:pt x="0" y="367281"/>
                  <a:pt x="0" y="236845"/>
                </a:cubicBezTo>
                <a:cubicBezTo>
                  <a:pt x="0" y="106408"/>
                  <a:pt x="106408" y="0"/>
                  <a:pt x="236845" y="0"/>
                </a:cubicBezTo>
                <a:lnTo>
                  <a:pt x="236845" y="0"/>
                </a:lnTo>
                <a:close/>
              </a:path>
            </a:pathLst>
          </a:custGeom>
          <a:solidFill>
            <a:srgbClr val="FFFFFF"/>
          </a:solidFill>
          <a:ln w="6861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17" name="Forma Livre: Forma 16">
            <a:extLst>
              <a:ext uri="{FF2B5EF4-FFF2-40B4-BE49-F238E27FC236}">
                <a16:creationId xmlns:a16="http://schemas.microsoft.com/office/drawing/2014/main" id="{02474CC6-ABE0-442F-AFDF-131A90DE7E09}"/>
              </a:ext>
            </a:extLst>
          </p:cNvPr>
          <p:cNvSpPr/>
          <p:nvPr/>
        </p:nvSpPr>
        <p:spPr>
          <a:xfrm>
            <a:off x="7672904" y="2018923"/>
            <a:ext cx="690352" cy="649410"/>
          </a:xfrm>
          <a:custGeom>
            <a:avLst/>
            <a:gdLst>
              <a:gd name="connsiteX0" fmla="*/ 646689 w 690352"/>
              <a:gd name="connsiteY0" fmla="*/ 162332 h 649410"/>
              <a:gd name="connsiteX1" fmla="*/ 527923 w 690352"/>
              <a:gd name="connsiteY1" fmla="*/ 605815 h 649410"/>
              <a:gd name="connsiteX2" fmla="*/ 131809 w 690352"/>
              <a:gd name="connsiteY2" fmla="*/ 549521 h 649410"/>
              <a:gd name="connsiteX3" fmla="*/ 0 w 690352"/>
              <a:gd name="connsiteY3" fmla="*/ 535105 h 649410"/>
              <a:gd name="connsiteX4" fmla="*/ 53547 w 690352"/>
              <a:gd name="connsiteY4" fmla="*/ 414279 h 649410"/>
              <a:gd name="connsiteX5" fmla="*/ 203206 w 690352"/>
              <a:gd name="connsiteY5" fmla="*/ 42879 h 649410"/>
              <a:gd name="connsiteX6" fmla="*/ 646689 w 690352"/>
              <a:gd name="connsiteY6" fmla="*/ 162332 h 649410"/>
              <a:gd name="connsiteX7" fmla="*/ 646689 w 690352"/>
              <a:gd name="connsiteY7" fmla="*/ 162332 h 649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0352" h="649410">
                <a:moveTo>
                  <a:pt x="646689" y="162332"/>
                </a:moveTo>
                <a:cubicBezTo>
                  <a:pt x="736621" y="317482"/>
                  <a:pt x="683074" y="515882"/>
                  <a:pt x="527923" y="605815"/>
                </a:cubicBezTo>
                <a:cubicBezTo>
                  <a:pt x="396114" y="682017"/>
                  <a:pt x="232725" y="655243"/>
                  <a:pt x="131809" y="549521"/>
                </a:cubicBezTo>
                <a:lnTo>
                  <a:pt x="0" y="535105"/>
                </a:lnTo>
                <a:lnTo>
                  <a:pt x="53547" y="414279"/>
                </a:lnTo>
                <a:cubicBezTo>
                  <a:pt x="13043" y="274232"/>
                  <a:pt x="71396" y="119082"/>
                  <a:pt x="203206" y="42879"/>
                </a:cubicBezTo>
                <a:cubicBezTo>
                  <a:pt x="358356" y="-45680"/>
                  <a:pt x="556756" y="7181"/>
                  <a:pt x="646689" y="162332"/>
                </a:cubicBezTo>
                <a:lnTo>
                  <a:pt x="646689" y="162332"/>
                </a:lnTo>
                <a:close/>
              </a:path>
            </a:pathLst>
          </a:custGeom>
          <a:solidFill>
            <a:srgbClr val="4B6185"/>
          </a:solidFill>
          <a:ln w="6861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18" name="Forma Livre: Forma 17">
            <a:extLst>
              <a:ext uri="{FF2B5EF4-FFF2-40B4-BE49-F238E27FC236}">
                <a16:creationId xmlns:a16="http://schemas.microsoft.com/office/drawing/2014/main" id="{6E1FA3EB-8851-4474-B9BD-F5C768BEE41A}"/>
              </a:ext>
            </a:extLst>
          </p:cNvPr>
          <p:cNvSpPr/>
          <p:nvPr/>
        </p:nvSpPr>
        <p:spPr>
          <a:xfrm>
            <a:off x="7801124" y="2106955"/>
            <a:ext cx="474001" cy="474002"/>
          </a:xfrm>
          <a:custGeom>
            <a:avLst/>
            <a:gdLst>
              <a:gd name="connsiteX0" fmla="*/ 442266 w 474001"/>
              <a:gd name="connsiteY0" fmla="*/ 118235 h 474002"/>
              <a:gd name="connsiteX1" fmla="*/ 355767 w 474001"/>
              <a:gd name="connsiteY1" fmla="*/ 442266 h 474002"/>
              <a:gd name="connsiteX2" fmla="*/ 31736 w 474001"/>
              <a:gd name="connsiteY2" fmla="*/ 355767 h 474002"/>
              <a:gd name="connsiteX3" fmla="*/ 118235 w 474001"/>
              <a:gd name="connsiteY3" fmla="*/ 31736 h 474002"/>
              <a:gd name="connsiteX4" fmla="*/ 442266 w 474001"/>
              <a:gd name="connsiteY4" fmla="*/ 118235 h 474002"/>
              <a:gd name="connsiteX5" fmla="*/ 442266 w 474001"/>
              <a:gd name="connsiteY5" fmla="*/ 118235 h 474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4001" h="474002">
                <a:moveTo>
                  <a:pt x="442266" y="118235"/>
                </a:moveTo>
                <a:cubicBezTo>
                  <a:pt x="507484" y="231509"/>
                  <a:pt x="469040" y="376362"/>
                  <a:pt x="355767" y="442266"/>
                </a:cubicBezTo>
                <a:cubicBezTo>
                  <a:pt x="242493" y="507485"/>
                  <a:pt x="97640" y="469040"/>
                  <a:pt x="31736" y="355767"/>
                </a:cubicBezTo>
                <a:cubicBezTo>
                  <a:pt x="-33482" y="242493"/>
                  <a:pt x="4962" y="97640"/>
                  <a:pt x="118235" y="31736"/>
                </a:cubicBezTo>
                <a:cubicBezTo>
                  <a:pt x="231509" y="-33483"/>
                  <a:pt x="376362" y="4962"/>
                  <a:pt x="442266" y="118235"/>
                </a:cubicBezTo>
                <a:lnTo>
                  <a:pt x="442266" y="118235"/>
                </a:lnTo>
                <a:close/>
              </a:path>
            </a:pathLst>
          </a:custGeom>
          <a:solidFill>
            <a:srgbClr val="FFFFFF"/>
          </a:solidFill>
          <a:ln w="6861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19" name="Forma Livre: Forma 18">
            <a:extLst>
              <a:ext uri="{FF2B5EF4-FFF2-40B4-BE49-F238E27FC236}">
                <a16:creationId xmlns:a16="http://schemas.microsoft.com/office/drawing/2014/main" id="{4DDDA4FE-7BE3-46C9-9FE4-66958CE63199}"/>
              </a:ext>
            </a:extLst>
          </p:cNvPr>
          <p:cNvSpPr/>
          <p:nvPr/>
        </p:nvSpPr>
        <p:spPr>
          <a:xfrm>
            <a:off x="3821877" y="2019131"/>
            <a:ext cx="690352" cy="649202"/>
          </a:xfrm>
          <a:custGeom>
            <a:avLst/>
            <a:gdLst>
              <a:gd name="connsiteX0" fmla="*/ 43663 w 690352"/>
              <a:gd name="connsiteY0" fmla="*/ 162124 h 649202"/>
              <a:gd name="connsiteX1" fmla="*/ 162429 w 690352"/>
              <a:gd name="connsiteY1" fmla="*/ 605607 h 649202"/>
              <a:gd name="connsiteX2" fmla="*/ 558543 w 690352"/>
              <a:gd name="connsiteY2" fmla="*/ 549313 h 649202"/>
              <a:gd name="connsiteX3" fmla="*/ 690352 w 690352"/>
              <a:gd name="connsiteY3" fmla="*/ 534897 h 649202"/>
              <a:gd name="connsiteX4" fmla="*/ 636805 w 690352"/>
              <a:gd name="connsiteY4" fmla="*/ 414758 h 649202"/>
              <a:gd name="connsiteX5" fmla="*/ 487146 w 690352"/>
              <a:gd name="connsiteY5" fmla="*/ 43358 h 649202"/>
              <a:gd name="connsiteX6" fmla="*/ 43663 w 690352"/>
              <a:gd name="connsiteY6" fmla="*/ 162124 h 649202"/>
              <a:gd name="connsiteX7" fmla="*/ 43663 w 690352"/>
              <a:gd name="connsiteY7" fmla="*/ 162124 h 649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0352" h="649202">
                <a:moveTo>
                  <a:pt x="43663" y="162124"/>
                </a:moveTo>
                <a:cubicBezTo>
                  <a:pt x="-46269" y="317274"/>
                  <a:pt x="7278" y="515675"/>
                  <a:pt x="162429" y="605607"/>
                </a:cubicBezTo>
                <a:cubicBezTo>
                  <a:pt x="294238" y="681809"/>
                  <a:pt x="457627" y="655035"/>
                  <a:pt x="558543" y="549313"/>
                </a:cubicBezTo>
                <a:lnTo>
                  <a:pt x="690352" y="534897"/>
                </a:lnTo>
                <a:lnTo>
                  <a:pt x="636805" y="414758"/>
                </a:lnTo>
                <a:cubicBezTo>
                  <a:pt x="677309" y="274711"/>
                  <a:pt x="618956" y="119560"/>
                  <a:pt x="487146" y="43358"/>
                </a:cubicBezTo>
                <a:cubicBezTo>
                  <a:pt x="331996" y="-45888"/>
                  <a:pt x="133596" y="6973"/>
                  <a:pt x="43663" y="162124"/>
                </a:cubicBezTo>
                <a:lnTo>
                  <a:pt x="43663" y="162124"/>
                </a:lnTo>
                <a:close/>
              </a:path>
            </a:pathLst>
          </a:custGeom>
          <a:solidFill>
            <a:srgbClr val="899DBD"/>
          </a:solidFill>
          <a:ln w="6861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20" name="Forma Livre: Forma 19">
            <a:extLst>
              <a:ext uri="{FF2B5EF4-FFF2-40B4-BE49-F238E27FC236}">
                <a16:creationId xmlns:a16="http://schemas.microsoft.com/office/drawing/2014/main" id="{30C2AD6E-BBB2-4D3D-BD40-DE4856D221B5}"/>
              </a:ext>
            </a:extLst>
          </p:cNvPr>
          <p:cNvSpPr/>
          <p:nvPr/>
        </p:nvSpPr>
        <p:spPr>
          <a:xfrm>
            <a:off x="3910007" y="2106955"/>
            <a:ext cx="474001" cy="474002"/>
          </a:xfrm>
          <a:custGeom>
            <a:avLst/>
            <a:gdLst>
              <a:gd name="connsiteX0" fmla="*/ 31736 w 474001"/>
              <a:gd name="connsiteY0" fmla="*/ 118235 h 474002"/>
              <a:gd name="connsiteX1" fmla="*/ 118235 w 474001"/>
              <a:gd name="connsiteY1" fmla="*/ 442266 h 474002"/>
              <a:gd name="connsiteX2" fmla="*/ 442266 w 474001"/>
              <a:gd name="connsiteY2" fmla="*/ 355767 h 474002"/>
              <a:gd name="connsiteX3" fmla="*/ 355767 w 474001"/>
              <a:gd name="connsiteY3" fmla="*/ 31736 h 474002"/>
              <a:gd name="connsiteX4" fmla="*/ 31736 w 474001"/>
              <a:gd name="connsiteY4" fmla="*/ 118235 h 474002"/>
              <a:gd name="connsiteX5" fmla="*/ 31736 w 474001"/>
              <a:gd name="connsiteY5" fmla="*/ 118235 h 474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4001" h="474002">
                <a:moveTo>
                  <a:pt x="31736" y="118235"/>
                </a:moveTo>
                <a:cubicBezTo>
                  <a:pt x="-33483" y="231509"/>
                  <a:pt x="4962" y="376362"/>
                  <a:pt x="118235" y="442266"/>
                </a:cubicBezTo>
                <a:cubicBezTo>
                  <a:pt x="231509" y="507485"/>
                  <a:pt x="376362" y="469040"/>
                  <a:pt x="442266" y="355767"/>
                </a:cubicBezTo>
                <a:cubicBezTo>
                  <a:pt x="507484" y="242493"/>
                  <a:pt x="469040" y="97640"/>
                  <a:pt x="355767" y="31736"/>
                </a:cubicBezTo>
                <a:cubicBezTo>
                  <a:pt x="242493" y="-33483"/>
                  <a:pt x="96954" y="4962"/>
                  <a:pt x="31736" y="118235"/>
                </a:cubicBezTo>
                <a:lnTo>
                  <a:pt x="31736" y="118235"/>
                </a:lnTo>
                <a:close/>
              </a:path>
            </a:pathLst>
          </a:custGeom>
          <a:solidFill>
            <a:srgbClr val="FFFFFF"/>
          </a:solidFill>
          <a:ln w="6861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21" name="Forma Livre: Forma 20">
            <a:extLst>
              <a:ext uri="{FF2B5EF4-FFF2-40B4-BE49-F238E27FC236}">
                <a16:creationId xmlns:a16="http://schemas.microsoft.com/office/drawing/2014/main" id="{FDB6568F-B184-4679-8DFE-1D3B28EB2DF6}"/>
              </a:ext>
            </a:extLst>
          </p:cNvPr>
          <p:cNvSpPr/>
          <p:nvPr/>
        </p:nvSpPr>
        <p:spPr>
          <a:xfrm>
            <a:off x="7672904" y="4418233"/>
            <a:ext cx="690352" cy="649715"/>
          </a:xfrm>
          <a:custGeom>
            <a:avLst/>
            <a:gdLst>
              <a:gd name="connsiteX0" fmla="*/ 646689 w 690352"/>
              <a:gd name="connsiteY0" fmla="*/ 487079 h 649715"/>
              <a:gd name="connsiteX1" fmla="*/ 527923 w 690352"/>
              <a:gd name="connsiteY1" fmla="*/ 43596 h 649715"/>
              <a:gd name="connsiteX2" fmla="*/ 131809 w 690352"/>
              <a:gd name="connsiteY2" fmla="*/ 99889 h 649715"/>
              <a:gd name="connsiteX3" fmla="*/ 0 w 690352"/>
              <a:gd name="connsiteY3" fmla="*/ 114306 h 649715"/>
              <a:gd name="connsiteX4" fmla="*/ 53547 w 690352"/>
              <a:gd name="connsiteY4" fmla="*/ 235131 h 649715"/>
              <a:gd name="connsiteX5" fmla="*/ 203206 w 690352"/>
              <a:gd name="connsiteY5" fmla="*/ 606531 h 649715"/>
              <a:gd name="connsiteX6" fmla="*/ 646689 w 690352"/>
              <a:gd name="connsiteY6" fmla="*/ 487079 h 649715"/>
              <a:gd name="connsiteX7" fmla="*/ 646689 w 690352"/>
              <a:gd name="connsiteY7" fmla="*/ 487079 h 649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0352" h="649715">
                <a:moveTo>
                  <a:pt x="646689" y="487079"/>
                </a:moveTo>
                <a:cubicBezTo>
                  <a:pt x="736621" y="331928"/>
                  <a:pt x="683074" y="133528"/>
                  <a:pt x="527923" y="43596"/>
                </a:cubicBezTo>
                <a:cubicBezTo>
                  <a:pt x="396114" y="-32606"/>
                  <a:pt x="232725" y="-5833"/>
                  <a:pt x="131809" y="99889"/>
                </a:cubicBezTo>
                <a:lnTo>
                  <a:pt x="0" y="114306"/>
                </a:lnTo>
                <a:lnTo>
                  <a:pt x="53547" y="235131"/>
                </a:lnTo>
                <a:cubicBezTo>
                  <a:pt x="13043" y="375178"/>
                  <a:pt x="71396" y="530329"/>
                  <a:pt x="203206" y="606531"/>
                </a:cubicBezTo>
                <a:cubicBezTo>
                  <a:pt x="358356" y="695777"/>
                  <a:pt x="556756" y="642229"/>
                  <a:pt x="646689" y="487079"/>
                </a:cubicBezTo>
                <a:lnTo>
                  <a:pt x="646689" y="487079"/>
                </a:lnTo>
                <a:close/>
              </a:path>
            </a:pathLst>
          </a:custGeom>
          <a:solidFill>
            <a:srgbClr val="899DBD"/>
          </a:solidFill>
          <a:ln w="6861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22" name="Forma Livre: Forma 21">
            <a:extLst>
              <a:ext uri="{FF2B5EF4-FFF2-40B4-BE49-F238E27FC236}">
                <a16:creationId xmlns:a16="http://schemas.microsoft.com/office/drawing/2014/main" id="{9BC08F8D-4AA1-4853-B436-40CECCAB55CF}"/>
              </a:ext>
            </a:extLst>
          </p:cNvPr>
          <p:cNvSpPr/>
          <p:nvPr/>
        </p:nvSpPr>
        <p:spPr>
          <a:xfrm>
            <a:off x="7801124" y="4505608"/>
            <a:ext cx="474001" cy="474307"/>
          </a:xfrm>
          <a:custGeom>
            <a:avLst/>
            <a:gdLst>
              <a:gd name="connsiteX0" fmla="*/ 442266 w 474001"/>
              <a:gd name="connsiteY0" fmla="*/ 355767 h 474307"/>
              <a:gd name="connsiteX1" fmla="*/ 355767 w 474001"/>
              <a:gd name="connsiteY1" fmla="*/ 31736 h 474307"/>
              <a:gd name="connsiteX2" fmla="*/ 31736 w 474001"/>
              <a:gd name="connsiteY2" fmla="*/ 118236 h 474307"/>
              <a:gd name="connsiteX3" fmla="*/ 118235 w 474001"/>
              <a:gd name="connsiteY3" fmla="*/ 442266 h 474307"/>
              <a:gd name="connsiteX4" fmla="*/ 442266 w 474001"/>
              <a:gd name="connsiteY4" fmla="*/ 355767 h 474307"/>
              <a:gd name="connsiteX5" fmla="*/ 442266 w 474001"/>
              <a:gd name="connsiteY5" fmla="*/ 355767 h 4743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4001" h="474307">
                <a:moveTo>
                  <a:pt x="442266" y="355767"/>
                </a:moveTo>
                <a:cubicBezTo>
                  <a:pt x="507484" y="242493"/>
                  <a:pt x="469040" y="97640"/>
                  <a:pt x="355767" y="31736"/>
                </a:cubicBezTo>
                <a:cubicBezTo>
                  <a:pt x="242493" y="-33483"/>
                  <a:pt x="97640" y="4962"/>
                  <a:pt x="31736" y="118236"/>
                </a:cubicBezTo>
                <a:cubicBezTo>
                  <a:pt x="-33482" y="231509"/>
                  <a:pt x="4962" y="376362"/>
                  <a:pt x="118235" y="442266"/>
                </a:cubicBezTo>
                <a:cubicBezTo>
                  <a:pt x="231509" y="508171"/>
                  <a:pt x="376362" y="469040"/>
                  <a:pt x="442266" y="355767"/>
                </a:cubicBezTo>
                <a:lnTo>
                  <a:pt x="442266" y="355767"/>
                </a:lnTo>
                <a:close/>
              </a:path>
            </a:pathLst>
          </a:custGeom>
          <a:solidFill>
            <a:srgbClr val="FFFFFF"/>
          </a:solidFill>
          <a:ln w="6861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23" name="Forma Livre: Forma 22">
            <a:extLst>
              <a:ext uri="{FF2B5EF4-FFF2-40B4-BE49-F238E27FC236}">
                <a16:creationId xmlns:a16="http://schemas.microsoft.com/office/drawing/2014/main" id="{A09E52FE-BC99-4462-B724-0823CA0256D5}"/>
              </a:ext>
            </a:extLst>
          </p:cNvPr>
          <p:cNvSpPr/>
          <p:nvPr/>
        </p:nvSpPr>
        <p:spPr>
          <a:xfrm>
            <a:off x="3821877" y="4418233"/>
            <a:ext cx="690352" cy="649507"/>
          </a:xfrm>
          <a:custGeom>
            <a:avLst/>
            <a:gdLst>
              <a:gd name="connsiteX0" fmla="*/ 43663 w 690352"/>
              <a:gd name="connsiteY0" fmla="*/ 487079 h 649507"/>
              <a:gd name="connsiteX1" fmla="*/ 162429 w 690352"/>
              <a:gd name="connsiteY1" fmla="*/ 43596 h 649507"/>
              <a:gd name="connsiteX2" fmla="*/ 558543 w 690352"/>
              <a:gd name="connsiteY2" fmla="*/ 99889 h 649507"/>
              <a:gd name="connsiteX3" fmla="*/ 690352 w 690352"/>
              <a:gd name="connsiteY3" fmla="*/ 114306 h 649507"/>
              <a:gd name="connsiteX4" fmla="*/ 636805 w 690352"/>
              <a:gd name="connsiteY4" fmla="*/ 234444 h 649507"/>
              <a:gd name="connsiteX5" fmla="*/ 487146 w 690352"/>
              <a:gd name="connsiteY5" fmla="*/ 605844 h 649507"/>
              <a:gd name="connsiteX6" fmla="*/ 43663 w 690352"/>
              <a:gd name="connsiteY6" fmla="*/ 487079 h 649507"/>
              <a:gd name="connsiteX7" fmla="*/ 43663 w 690352"/>
              <a:gd name="connsiteY7" fmla="*/ 487079 h 649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0352" h="649507">
                <a:moveTo>
                  <a:pt x="43663" y="487079"/>
                </a:moveTo>
                <a:cubicBezTo>
                  <a:pt x="-46269" y="331928"/>
                  <a:pt x="7278" y="133528"/>
                  <a:pt x="162429" y="43596"/>
                </a:cubicBezTo>
                <a:cubicBezTo>
                  <a:pt x="294238" y="-32606"/>
                  <a:pt x="457627" y="-5833"/>
                  <a:pt x="558543" y="99889"/>
                </a:cubicBezTo>
                <a:lnTo>
                  <a:pt x="690352" y="114306"/>
                </a:lnTo>
                <a:lnTo>
                  <a:pt x="636805" y="234444"/>
                </a:lnTo>
                <a:cubicBezTo>
                  <a:pt x="677309" y="374492"/>
                  <a:pt x="618956" y="529642"/>
                  <a:pt x="487146" y="605844"/>
                </a:cubicBezTo>
                <a:cubicBezTo>
                  <a:pt x="331996" y="695777"/>
                  <a:pt x="133596" y="642229"/>
                  <a:pt x="43663" y="487079"/>
                </a:cubicBezTo>
                <a:lnTo>
                  <a:pt x="43663" y="487079"/>
                </a:lnTo>
                <a:close/>
              </a:path>
            </a:pathLst>
          </a:custGeom>
          <a:solidFill>
            <a:srgbClr val="4B6185"/>
          </a:solidFill>
          <a:ln w="6861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24" name="Forma Livre: Forma 23">
            <a:extLst>
              <a:ext uri="{FF2B5EF4-FFF2-40B4-BE49-F238E27FC236}">
                <a16:creationId xmlns:a16="http://schemas.microsoft.com/office/drawing/2014/main" id="{403AB420-26C4-4AA3-BE29-C0D2137CAF51}"/>
              </a:ext>
            </a:extLst>
          </p:cNvPr>
          <p:cNvSpPr/>
          <p:nvPr/>
        </p:nvSpPr>
        <p:spPr>
          <a:xfrm>
            <a:off x="3910007" y="4505608"/>
            <a:ext cx="474001" cy="474307"/>
          </a:xfrm>
          <a:custGeom>
            <a:avLst/>
            <a:gdLst>
              <a:gd name="connsiteX0" fmla="*/ 31736 w 474001"/>
              <a:gd name="connsiteY0" fmla="*/ 355767 h 474307"/>
              <a:gd name="connsiteX1" fmla="*/ 118235 w 474001"/>
              <a:gd name="connsiteY1" fmla="*/ 31736 h 474307"/>
              <a:gd name="connsiteX2" fmla="*/ 442266 w 474001"/>
              <a:gd name="connsiteY2" fmla="*/ 118236 h 474307"/>
              <a:gd name="connsiteX3" fmla="*/ 355767 w 474001"/>
              <a:gd name="connsiteY3" fmla="*/ 442266 h 474307"/>
              <a:gd name="connsiteX4" fmla="*/ 31736 w 474001"/>
              <a:gd name="connsiteY4" fmla="*/ 355767 h 474307"/>
              <a:gd name="connsiteX5" fmla="*/ 31736 w 474001"/>
              <a:gd name="connsiteY5" fmla="*/ 355767 h 4743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4001" h="474307">
                <a:moveTo>
                  <a:pt x="31736" y="355767"/>
                </a:moveTo>
                <a:cubicBezTo>
                  <a:pt x="-33483" y="242493"/>
                  <a:pt x="4962" y="97640"/>
                  <a:pt x="118235" y="31736"/>
                </a:cubicBezTo>
                <a:cubicBezTo>
                  <a:pt x="231509" y="-33483"/>
                  <a:pt x="376362" y="4962"/>
                  <a:pt x="442266" y="118236"/>
                </a:cubicBezTo>
                <a:cubicBezTo>
                  <a:pt x="507484" y="231509"/>
                  <a:pt x="469040" y="376362"/>
                  <a:pt x="355767" y="442266"/>
                </a:cubicBezTo>
                <a:cubicBezTo>
                  <a:pt x="242493" y="508171"/>
                  <a:pt x="96954" y="469040"/>
                  <a:pt x="31736" y="355767"/>
                </a:cubicBezTo>
                <a:lnTo>
                  <a:pt x="31736" y="355767"/>
                </a:lnTo>
                <a:close/>
              </a:path>
            </a:pathLst>
          </a:custGeom>
          <a:solidFill>
            <a:srgbClr val="FFFFFF"/>
          </a:solidFill>
          <a:ln w="6861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25" name="Forma Livre: Forma 24">
            <a:extLst>
              <a:ext uri="{FF2B5EF4-FFF2-40B4-BE49-F238E27FC236}">
                <a16:creationId xmlns:a16="http://schemas.microsoft.com/office/drawing/2014/main" id="{C5CBA110-5AE3-4713-9F93-9A1D999AC893}"/>
              </a:ext>
            </a:extLst>
          </p:cNvPr>
          <p:cNvSpPr/>
          <p:nvPr/>
        </p:nvSpPr>
        <p:spPr>
          <a:xfrm>
            <a:off x="5769222" y="5420878"/>
            <a:ext cx="649435" cy="746232"/>
          </a:xfrm>
          <a:custGeom>
            <a:avLst/>
            <a:gdLst>
              <a:gd name="connsiteX0" fmla="*/ 324718 w 649435"/>
              <a:gd name="connsiteY0" fmla="*/ 746232 h 746232"/>
              <a:gd name="connsiteX1" fmla="*/ 649435 w 649435"/>
              <a:gd name="connsiteY1" fmla="*/ 421515 h 746232"/>
              <a:gd name="connsiteX2" fmla="*/ 402979 w 649435"/>
              <a:gd name="connsiteY2" fmla="*/ 106408 h 746232"/>
              <a:gd name="connsiteX3" fmla="*/ 324718 w 649435"/>
              <a:gd name="connsiteY3" fmla="*/ 0 h 746232"/>
              <a:gd name="connsiteX4" fmla="*/ 246456 w 649435"/>
              <a:gd name="connsiteY4" fmla="*/ 107095 h 746232"/>
              <a:gd name="connsiteX5" fmla="*/ 0 w 649435"/>
              <a:gd name="connsiteY5" fmla="*/ 422201 h 746232"/>
              <a:gd name="connsiteX6" fmla="*/ 324718 w 649435"/>
              <a:gd name="connsiteY6" fmla="*/ 746232 h 746232"/>
              <a:gd name="connsiteX7" fmla="*/ 324718 w 649435"/>
              <a:gd name="connsiteY7" fmla="*/ 746232 h 746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9435" h="746232">
                <a:moveTo>
                  <a:pt x="324718" y="746232"/>
                </a:moveTo>
                <a:cubicBezTo>
                  <a:pt x="503896" y="746232"/>
                  <a:pt x="649435" y="600693"/>
                  <a:pt x="649435" y="421515"/>
                </a:cubicBezTo>
                <a:cubicBezTo>
                  <a:pt x="649435" y="269111"/>
                  <a:pt x="544400" y="141420"/>
                  <a:pt x="402979" y="106408"/>
                </a:cubicBezTo>
                <a:lnTo>
                  <a:pt x="324718" y="0"/>
                </a:lnTo>
                <a:lnTo>
                  <a:pt x="246456" y="107095"/>
                </a:lnTo>
                <a:cubicBezTo>
                  <a:pt x="105036" y="142107"/>
                  <a:pt x="0" y="269797"/>
                  <a:pt x="0" y="422201"/>
                </a:cubicBezTo>
                <a:cubicBezTo>
                  <a:pt x="0" y="600693"/>
                  <a:pt x="145539" y="746232"/>
                  <a:pt x="324718" y="746232"/>
                </a:cubicBezTo>
                <a:lnTo>
                  <a:pt x="324718" y="746232"/>
                </a:lnTo>
                <a:close/>
              </a:path>
            </a:pathLst>
          </a:custGeom>
          <a:solidFill>
            <a:srgbClr val="BFCADB"/>
          </a:solidFill>
          <a:ln w="6861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26" name="Forma Livre: Forma 25">
            <a:extLst>
              <a:ext uri="{FF2B5EF4-FFF2-40B4-BE49-F238E27FC236}">
                <a16:creationId xmlns:a16="http://schemas.microsoft.com/office/drawing/2014/main" id="{3049C6DA-A266-43C4-B7FD-BA8FC8828A00}"/>
              </a:ext>
            </a:extLst>
          </p:cNvPr>
          <p:cNvSpPr/>
          <p:nvPr/>
        </p:nvSpPr>
        <p:spPr>
          <a:xfrm>
            <a:off x="5857095" y="5605548"/>
            <a:ext cx="473689" cy="473689"/>
          </a:xfrm>
          <a:custGeom>
            <a:avLst/>
            <a:gdLst>
              <a:gd name="connsiteX0" fmla="*/ 236845 w 473689"/>
              <a:gd name="connsiteY0" fmla="*/ 473689 h 473689"/>
              <a:gd name="connsiteX1" fmla="*/ 473689 w 473689"/>
              <a:gd name="connsiteY1" fmla="*/ 236845 h 473689"/>
              <a:gd name="connsiteX2" fmla="*/ 236845 w 473689"/>
              <a:gd name="connsiteY2" fmla="*/ 0 h 473689"/>
              <a:gd name="connsiteX3" fmla="*/ 0 w 473689"/>
              <a:gd name="connsiteY3" fmla="*/ 236845 h 473689"/>
              <a:gd name="connsiteX4" fmla="*/ 236845 w 473689"/>
              <a:gd name="connsiteY4" fmla="*/ 473689 h 473689"/>
              <a:gd name="connsiteX5" fmla="*/ 236845 w 473689"/>
              <a:gd name="connsiteY5" fmla="*/ 473689 h 4736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3689" h="473689">
                <a:moveTo>
                  <a:pt x="236845" y="473689"/>
                </a:moveTo>
                <a:cubicBezTo>
                  <a:pt x="367967" y="473689"/>
                  <a:pt x="473689" y="367281"/>
                  <a:pt x="473689" y="236845"/>
                </a:cubicBezTo>
                <a:cubicBezTo>
                  <a:pt x="473689" y="105722"/>
                  <a:pt x="367281" y="0"/>
                  <a:pt x="236845" y="0"/>
                </a:cubicBezTo>
                <a:cubicBezTo>
                  <a:pt x="105722" y="0"/>
                  <a:pt x="0" y="106408"/>
                  <a:pt x="0" y="236845"/>
                </a:cubicBezTo>
                <a:cubicBezTo>
                  <a:pt x="0" y="367967"/>
                  <a:pt x="106408" y="473689"/>
                  <a:pt x="236845" y="473689"/>
                </a:cubicBezTo>
                <a:lnTo>
                  <a:pt x="236845" y="473689"/>
                </a:lnTo>
                <a:close/>
              </a:path>
            </a:pathLst>
          </a:custGeom>
          <a:solidFill>
            <a:srgbClr val="FFFFFF"/>
          </a:solidFill>
          <a:ln w="6861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27" name="Forma Livre: Forma 26">
            <a:extLst>
              <a:ext uri="{FF2B5EF4-FFF2-40B4-BE49-F238E27FC236}">
                <a16:creationId xmlns:a16="http://schemas.microsoft.com/office/drawing/2014/main" id="{A23D94C4-7B6E-493A-A3BD-0BEE17D96BCF}"/>
              </a:ext>
            </a:extLst>
          </p:cNvPr>
          <p:cNvSpPr/>
          <p:nvPr/>
        </p:nvSpPr>
        <p:spPr>
          <a:xfrm>
            <a:off x="6489367" y="1533879"/>
            <a:ext cx="1138227" cy="663165"/>
          </a:xfrm>
          <a:custGeom>
            <a:avLst/>
            <a:gdLst>
              <a:gd name="connsiteX0" fmla="*/ 1025641 w 1138227"/>
              <a:gd name="connsiteY0" fmla="*/ 573233 h 663165"/>
              <a:gd name="connsiteX1" fmla="*/ 0 w 1138227"/>
              <a:gd name="connsiteY1" fmla="*/ 30206 h 663165"/>
              <a:gd name="connsiteX2" fmla="*/ 1373 w 1138227"/>
              <a:gd name="connsiteY2" fmla="*/ 0 h 663165"/>
              <a:gd name="connsiteX3" fmla="*/ 1046922 w 1138227"/>
              <a:gd name="connsiteY3" fmla="*/ 551951 h 663165"/>
              <a:gd name="connsiteX4" fmla="*/ 1092918 w 1138227"/>
              <a:gd name="connsiteY4" fmla="*/ 508701 h 663165"/>
              <a:gd name="connsiteX5" fmla="*/ 1138227 w 1138227"/>
              <a:gd name="connsiteY5" fmla="*/ 663165 h 663165"/>
              <a:gd name="connsiteX6" fmla="*/ 983763 w 1138227"/>
              <a:gd name="connsiteY6" fmla="*/ 618542 h 663165"/>
              <a:gd name="connsiteX7" fmla="*/ 1025641 w 1138227"/>
              <a:gd name="connsiteY7" fmla="*/ 573233 h 663165"/>
              <a:gd name="connsiteX8" fmla="*/ 1025641 w 1138227"/>
              <a:gd name="connsiteY8" fmla="*/ 573233 h 6631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38227" h="663165">
                <a:moveTo>
                  <a:pt x="1025641" y="573233"/>
                </a:moveTo>
                <a:cubicBezTo>
                  <a:pt x="743486" y="295884"/>
                  <a:pt x="387876" y="107781"/>
                  <a:pt x="0" y="30206"/>
                </a:cubicBezTo>
                <a:lnTo>
                  <a:pt x="1373" y="0"/>
                </a:lnTo>
                <a:cubicBezTo>
                  <a:pt x="397487" y="78262"/>
                  <a:pt x="759276" y="269797"/>
                  <a:pt x="1046922" y="551951"/>
                </a:cubicBezTo>
                <a:lnTo>
                  <a:pt x="1092918" y="508701"/>
                </a:lnTo>
                <a:lnTo>
                  <a:pt x="1138227" y="663165"/>
                </a:lnTo>
                <a:lnTo>
                  <a:pt x="983763" y="618542"/>
                </a:lnTo>
                <a:lnTo>
                  <a:pt x="1025641" y="573233"/>
                </a:lnTo>
                <a:lnTo>
                  <a:pt x="1025641" y="573233"/>
                </a:lnTo>
                <a:close/>
              </a:path>
            </a:pathLst>
          </a:custGeom>
          <a:solidFill>
            <a:srgbClr val="4B6185"/>
          </a:solidFill>
          <a:ln w="6861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28" name="Forma Livre: Forma 27">
            <a:extLst>
              <a:ext uri="{FF2B5EF4-FFF2-40B4-BE49-F238E27FC236}">
                <a16:creationId xmlns:a16="http://schemas.microsoft.com/office/drawing/2014/main" id="{096FBB5E-E981-4028-A7B3-5F4045758905}"/>
              </a:ext>
            </a:extLst>
          </p:cNvPr>
          <p:cNvSpPr/>
          <p:nvPr/>
        </p:nvSpPr>
        <p:spPr>
          <a:xfrm>
            <a:off x="7963296" y="2831376"/>
            <a:ext cx="184313" cy="1475302"/>
          </a:xfrm>
          <a:custGeom>
            <a:avLst/>
            <a:gdLst>
              <a:gd name="connsiteX0" fmla="*/ 27460 w 184313"/>
              <a:gd name="connsiteY0" fmla="*/ 10298 h 1475302"/>
              <a:gd name="connsiteX1" fmla="*/ 55607 w 184313"/>
              <a:gd name="connsiteY1" fmla="*/ 0 h 1475302"/>
              <a:gd name="connsiteX2" fmla="*/ 87873 w 184313"/>
              <a:gd name="connsiteY2" fmla="*/ 1345552 h 1475302"/>
              <a:gd name="connsiteX3" fmla="*/ 147599 w 184313"/>
              <a:gd name="connsiteY3" fmla="*/ 1365461 h 1475302"/>
              <a:gd name="connsiteX4" fmla="*/ 30206 w 184313"/>
              <a:gd name="connsiteY4" fmla="*/ 1475302 h 1475302"/>
              <a:gd name="connsiteX5" fmla="*/ 0 w 184313"/>
              <a:gd name="connsiteY5" fmla="*/ 1316719 h 1475302"/>
              <a:gd name="connsiteX6" fmla="*/ 59726 w 184313"/>
              <a:gd name="connsiteY6" fmla="*/ 1335941 h 1475302"/>
              <a:gd name="connsiteX7" fmla="*/ 27460 w 184313"/>
              <a:gd name="connsiteY7" fmla="*/ 10298 h 1475302"/>
              <a:gd name="connsiteX8" fmla="*/ 27460 w 184313"/>
              <a:gd name="connsiteY8" fmla="*/ 10298 h 1475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4313" h="1475302">
                <a:moveTo>
                  <a:pt x="27460" y="10298"/>
                </a:moveTo>
                <a:lnTo>
                  <a:pt x="55607" y="0"/>
                </a:lnTo>
                <a:cubicBezTo>
                  <a:pt x="215563" y="429066"/>
                  <a:pt x="226547" y="908935"/>
                  <a:pt x="87873" y="1345552"/>
                </a:cubicBezTo>
                <a:lnTo>
                  <a:pt x="147599" y="1365461"/>
                </a:lnTo>
                <a:lnTo>
                  <a:pt x="30206" y="1475302"/>
                </a:lnTo>
                <a:lnTo>
                  <a:pt x="0" y="1316719"/>
                </a:lnTo>
                <a:lnTo>
                  <a:pt x="59726" y="1335941"/>
                </a:lnTo>
                <a:cubicBezTo>
                  <a:pt x="196341" y="900010"/>
                  <a:pt x="187416" y="439364"/>
                  <a:pt x="27460" y="10298"/>
                </a:cubicBezTo>
                <a:lnTo>
                  <a:pt x="27460" y="10298"/>
                </a:lnTo>
                <a:close/>
              </a:path>
            </a:pathLst>
          </a:custGeom>
          <a:solidFill>
            <a:srgbClr val="899DBD"/>
          </a:solidFill>
          <a:ln w="6861" cap="flat">
            <a:noFill/>
            <a:prstDash val="solid"/>
            <a:miter/>
          </a:ln>
        </p:spPr>
        <p:txBody>
          <a:bodyPr rtlCol="0" anchor="ctr"/>
          <a:lstStyle/>
          <a:p>
            <a:endParaRPr lang="pt-BR" dirty="0"/>
          </a:p>
        </p:txBody>
      </p:sp>
      <p:sp>
        <p:nvSpPr>
          <p:cNvPr id="29" name="Forma Livre: Forma 28">
            <a:extLst>
              <a:ext uri="{FF2B5EF4-FFF2-40B4-BE49-F238E27FC236}">
                <a16:creationId xmlns:a16="http://schemas.microsoft.com/office/drawing/2014/main" id="{B3171468-93A2-4AC0-813A-67CE732292FD}"/>
              </a:ext>
            </a:extLst>
          </p:cNvPr>
          <p:cNvSpPr/>
          <p:nvPr/>
        </p:nvSpPr>
        <p:spPr>
          <a:xfrm>
            <a:off x="6461220" y="4903252"/>
            <a:ext cx="1162255" cy="699550"/>
          </a:xfrm>
          <a:custGeom>
            <a:avLst/>
            <a:gdLst>
              <a:gd name="connsiteX0" fmla="*/ 133869 w 1162255"/>
              <a:gd name="connsiteY0" fmla="*/ 609618 h 699550"/>
              <a:gd name="connsiteX1" fmla="*/ 1140287 w 1162255"/>
              <a:gd name="connsiteY1" fmla="*/ 0 h 699550"/>
              <a:gd name="connsiteX2" fmla="*/ 1162255 w 1162255"/>
              <a:gd name="connsiteY2" fmla="*/ 19909 h 699550"/>
              <a:gd name="connsiteX3" fmla="*/ 140734 w 1162255"/>
              <a:gd name="connsiteY3" fmla="*/ 638451 h 699550"/>
              <a:gd name="connsiteX4" fmla="*/ 155837 w 1162255"/>
              <a:gd name="connsiteY4" fmla="*/ 699550 h 699550"/>
              <a:gd name="connsiteX5" fmla="*/ 0 w 1162255"/>
              <a:gd name="connsiteY5" fmla="*/ 658360 h 699550"/>
              <a:gd name="connsiteX6" fmla="*/ 118079 w 1162255"/>
              <a:gd name="connsiteY6" fmla="*/ 549205 h 699550"/>
              <a:gd name="connsiteX7" fmla="*/ 133869 w 1162255"/>
              <a:gd name="connsiteY7" fmla="*/ 609618 h 699550"/>
              <a:gd name="connsiteX8" fmla="*/ 133869 w 1162255"/>
              <a:gd name="connsiteY8" fmla="*/ 609618 h 699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62255" h="699550">
                <a:moveTo>
                  <a:pt x="133869" y="609618"/>
                </a:moveTo>
                <a:cubicBezTo>
                  <a:pt x="522431" y="510761"/>
                  <a:pt x="871863" y="297944"/>
                  <a:pt x="1140287" y="0"/>
                </a:cubicBezTo>
                <a:lnTo>
                  <a:pt x="1162255" y="19909"/>
                </a:lnTo>
                <a:cubicBezTo>
                  <a:pt x="891085" y="321285"/>
                  <a:pt x="534102" y="538907"/>
                  <a:pt x="140734" y="638451"/>
                </a:cubicBezTo>
                <a:lnTo>
                  <a:pt x="155837" y="699550"/>
                </a:lnTo>
                <a:lnTo>
                  <a:pt x="0" y="658360"/>
                </a:lnTo>
                <a:lnTo>
                  <a:pt x="118079" y="549205"/>
                </a:lnTo>
                <a:lnTo>
                  <a:pt x="133869" y="609618"/>
                </a:lnTo>
                <a:lnTo>
                  <a:pt x="133869" y="609618"/>
                </a:lnTo>
                <a:close/>
              </a:path>
            </a:pathLst>
          </a:custGeom>
          <a:solidFill>
            <a:srgbClr val="BFCADB"/>
          </a:solidFill>
          <a:ln w="6861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30" name="Forma Livre: Forma 29">
            <a:extLst>
              <a:ext uri="{FF2B5EF4-FFF2-40B4-BE49-F238E27FC236}">
                <a16:creationId xmlns:a16="http://schemas.microsoft.com/office/drawing/2014/main" id="{95391964-F84D-4BAF-8922-AC6001F86566}"/>
              </a:ext>
            </a:extLst>
          </p:cNvPr>
          <p:cNvSpPr/>
          <p:nvPr/>
        </p:nvSpPr>
        <p:spPr>
          <a:xfrm>
            <a:off x="4557538" y="4898446"/>
            <a:ext cx="1125183" cy="663851"/>
          </a:xfrm>
          <a:custGeom>
            <a:avLst/>
            <a:gdLst>
              <a:gd name="connsiteX0" fmla="*/ 110528 w 1125183"/>
              <a:gd name="connsiteY0" fmla="*/ 89932 h 663851"/>
              <a:gd name="connsiteX1" fmla="*/ 1125184 w 1125183"/>
              <a:gd name="connsiteY1" fmla="*/ 635018 h 663851"/>
              <a:gd name="connsiteX2" fmla="*/ 1119005 w 1125183"/>
              <a:gd name="connsiteY2" fmla="*/ 663851 h 663851"/>
              <a:gd name="connsiteX3" fmla="*/ 89246 w 1125183"/>
              <a:gd name="connsiteY3" fmla="*/ 110527 h 663851"/>
              <a:gd name="connsiteX4" fmla="*/ 44623 w 1125183"/>
              <a:gd name="connsiteY4" fmla="*/ 155150 h 663851"/>
              <a:gd name="connsiteX5" fmla="*/ 0 w 1125183"/>
              <a:gd name="connsiteY5" fmla="*/ 0 h 663851"/>
              <a:gd name="connsiteX6" fmla="*/ 154464 w 1125183"/>
              <a:gd name="connsiteY6" fmla="*/ 45309 h 663851"/>
              <a:gd name="connsiteX7" fmla="*/ 110528 w 1125183"/>
              <a:gd name="connsiteY7" fmla="*/ 89932 h 663851"/>
              <a:gd name="connsiteX8" fmla="*/ 110528 w 1125183"/>
              <a:gd name="connsiteY8" fmla="*/ 89932 h 6638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25183" h="663851">
                <a:moveTo>
                  <a:pt x="110528" y="89932"/>
                </a:moveTo>
                <a:cubicBezTo>
                  <a:pt x="388563" y="365221"/>
                  <a:pt x="742113" y="555383"/>
                  <a:pt x="1125184" y="635018"/>
                </a:cubicBezTo>
                <a:lnTo>
                  <a:pt x="1119005" y="663851"/>
                </a:lnTo>
                <a:cubicBezTo>
                  <a:pt x="731816" y="582844"/>
                  <a:pt x="370027" y="389249"/>
                  <a:pt x="89246" y="110527"/>
                </a:cubicBezTo>
                <a:lnTo>
                  <a:pt x="44623" y="155150"/>
                </a:lnTo>
                <a:lnTo>
                  <a:pt x="0" y="0"/>
                </a:lnTo>
                <a:lnTo>
                  <a:pt x="154464" y="45309"/>
                </a:lnTo>
                <a:lnTo>
                  <a:pt x="110528" y="89932"/>
                </a:lnTo>
                <a:lnTo>
                  <a:pt x="110528" y="89932"/>
                </a:lnTo>
                <a:close/>
              </a:path>
            </a:pathLst>
          </a:custGeom>
          <a:solidFill>
            <a:srgbClr val="899DBD"/>
          </a:solidFill>
          <a:ln w="6861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31" name="Forma Livre: Forma 30">
            <a:extLst>
              <a:ext uri="{FF2B5EF4-FFF2-40B4-BE49-F238E27FC236}">
                <a16:creationId xmlns:a16="http://schemas.microsoft.com/office/drawing/2014/main" id="{2E5E22F1-065B-490B-8D18-F42E8982C5B4}"/>
              </a:ext>
            </a:extLst>
          </p:cNvPr>
          <p:cNvSpPr/>
          <p:nvPr/>
        </p:nvSpPr>
        <p:spPr>
          <a:xfrm>
            <a:off x="4039959" y="2793618"/>
            <a:ext cx="185996" cy="1449214"/>
          </a:xfrm>
          <a:custGeom>
            <a:avLst/>
            <a:gdLst>
              <a:gd name="connsiteX0" fmla="*/ 147552 w 185996"/>
              <a:gd name="connsiteY0" fmla="*/ 1438917 h 1449214"/>
              <a:gd name="connsiteX1" fmla="*/ 119405 w 185996"/>
              <a:gd name="connsiteY1" fmla="*/ 1449215 h 1449214"/>
              <a:gd name="connsiteX2" fmla="*/ 97437 w 185996"/>
              <a:gd name="connsiteY2" fmla="*/ 129063 h 1449214"/>
              <a:gd name="connsiteX3" fmla="*/ 37711 w 185996"/>
              <a:gd name="connsiteY3" fmla="*/ 109841 h 1449214"/>
              <a:gd name="connsiteX4" fmla="*/ 155790 w 185996"/>
              <a:gd name="connsiteY4" fmla="*/ 0 h 1449214"/>
              <a:gd name="connsiteX5" fmla="*/ 185997 w 185996"/>
              <a:gd name="connsiteY5" fmla="*/ 158583 h 1449214"/>
              <a:gd name="connsiteX6" fmla="*/ 126271 w 185996"/>
              <a:gd name="connsiteY6" fmla="*/ 139361 h 1449214"/>
              <a:gd name="connsiteX7" fmla="*/ 147552 w 185996"/>
              <a:gd name="connsiteY7" fmla="*/ 1438917 h 1449214"/>
              <a:gd name="connsiteX8" fmla="*/ 147552 w 185996"/>
              <a:gd name="connsiteY8" fmla="*/ 1438917 h 1449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5996" h="1449214">
                <a:moveTo>
                  <a:pt x="147552" y="1438917"/>
                </a:moveTo>
                <a:lnTo>
                  <a:pt x="119405" y="1449215"/>
                </a:lnTo>
                <a:cubicBezTo>
                  <a:pt x="-31626" y="1025641"/>
                  <a:pt x="-39864" y="557443"/>
                  <a:pt x="97437" y="129063"/>
                </a:cubicBezTo>
                <a:lnTo>
                  <a:pt x="37711" y="109841"/>
                </a:lnTo>
                <a:lnTo>
                  <a:pt x="155790" y="0"/>
                </a:lnTo>
                <a:lnTo>
                  <a:pt x="185997" y="158583"/>
                </a:lnTo>
                <a:lnTo>
                  <a:pt x="126271" y="139361"/>
                </a:lnTo>
                <a:cubicBezTo>
                  <a:pt x="-8285" y="563622"/>
                  <a:pt x="-2793" y="1018776"/>
                  <a:pt x="147552" y="1438917"/>
                </a:cubicBezTo>
                <a:lnTo>
                  <a:pt x="147552" y="1438917"/>
                </a:lnTo>
                <a:close/>
              </a:path>
            </a:pathLst>
          </a:custGeom>
          <a:solidFill>
            <a:srgbClr val="4B6185"/>
          </a:solidFill>
          <a:ln w="6861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32" name="Forma Livre: Forma 31">
            <a:extLst>
              <a:ext uri="{FF2B5EF4-FFF2-40B4-BE49-F238E27FC236}">
                <a16:creationId xmlns:a16="http://schemas.microsoft.com/office/drawing/2014/main" id="{6D1051CC-315B-42EC-AB14-BC9FD3113C8C}"/>
              </a:ext>
            </a:extLst>
          </p:cNvPr>
          <p:cNvSpPr/>
          <p:nvPr/>
        </p:nvSpPr>
        <p:spPr>
          <a:xfrm>
            <a:off x="4585685" y="1492689"/>
            <a:ext cx="1163628" cy="682387"/>
          </a:xfrm>
          <a:custGeom>
            <a:avLst/>
            <a:gdLst>
              <a:gd name="connsiteX0" fmla="*/ 1029760 w 1163628"/>
              <a:gd name="connsiteY0" fmla="*/ 89932 h 682387"/>
              <a:gd name="connsiteX1" fmla="*/ 21968 w 1163628"/>
              <a:gd name="connsiteY1" fmla="*/ 682387 h 682387"/>
              <a:gd name="connsiteX2" fmla="*/ 0 w 1163628"/>
              <a:gd name="connsiteY2" fmla="*/ 662479 h 682387"/>
              <a:gd name="connsiteX3" fmla="*/ 1022894 w 1163628"/>
              <a:gd name="connsiteY3" fmla="*/ 61099 h 682387"/>
              <a:gd name="connsiteX4" fmla="*/ 1008478 w 1163628"/>
              <a:gd name="connsiteY4" fmla="*/ 0 h 682387"/>
              <a:gd name="connsiteX5" fmla="*/ 1163628 w 1163628"/>
              <a:gd name="connsiteY5" fmla="*/ 43250 h 682387"/>
              <a:gd name="connsiteX6" fmla="*/ 1044176 w 1163628"/>
              <a:gd name="connsiteY6" fmla="*/ 151718 h 682387"/>
              <a:gd name="connsiteX7" fmla="*/ 1029760 w 1163628"/>
              <a:gd name="connsiteY7" fmla="*/ 89932 h 682387"/>
              <a:gd name="connsiteX8" fmla="*/ 1029760 w 1163628"/>
              <a:gd name="connsiteY8" fmla="*/ 89932 h 682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63628" h="682387">
                <a:moveTo>
                  <a:pt x="1029760" y="89932"/>
                </a:moveTo>
                <a:cubicBezTo>
                  <a:pt x="643943" y="183984"/>
                  <a:pt x="291765" y="391309"/>
                  <a:pt x="21968" y="682387"/>
                </a:cubicBezTo>
                <a:lnTo>
                  <a:pt x="0" y="662479"/>
                </a:lnTo>
                <a:cubicBezTo>
                  <a:pt x="273230" y="367967"/>
                  <a:pt x="632272" y="155837"/>
                  <a:pt x="1022894" y="61099"/>
                </a:cubicBezTo>
                <a:lnTo>
                  <a:pt x="1008478" y="0"/>
                </a:lnTo>
                <a:lnTo>
                  <a:pt x="1163628" y="43250"/>
                </a:lnTo>
                <a:lnTo>
                  <a:pt x="1044176" y="151718"/>
                </a:lnTo>
                <a:lnTo>
                  <a:pt x="1029760" y="89932"/>
                </a:lnTo>
                <a:lnTo>
                  <a:pt x="1029760" y="89932"/>
                </a:lnTo>
                <a:close/>
              </a:path>
            </a:pathLst>
          </a:custGeom>
          <a:solidFill>
            <a:srgbClr val="263143"/>
          </a:solidFill>
          <a:ln w="6861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45" name="CaixaDeTexto 44">
            <a:extLst>
              <a:ext uri="{FF2B5EF4-FFF2-40B4-BE49-F238E27FC236}">
                <a16:creationId xmlns:a16="http://schemas.microsoft.com/office/drawing/2014/main" id="{83955436-6976-4775-9A6F-17901285592D}"/>
              </a:ext>
            </a:extLst>
          </p:cNvPr>
          <p:cNvSpPr txBox="1"/>
          <p:nvPr/>
        </p:nvSpPr>
        <p:spPr>
          <a:xfrm>
            <a:off x="9093208" y="960003"/>
            <a:ext cx="26193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>
                <a:solidFill>
                  <a:srgbClr val="B1B1A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- Inserir Título aqui</a:t>
            </a:r>
          </a:p>
        </p:txBody>
      </p:sp>
      <p:sp>
        <p:nvSpPr>
          <p:cNvPr id="46" name="CaixaDeTexto 45">
            <a:extLst>
              <a:ext uri="{FF2B5EF4-FFF2-40B4-BE49-F238E27FC236}">
                <a16:creationId xmlns:a16="http://schemas.microsoft.com/office/drawing/2014/main" id="{67E5A857-2B9B-47E3-94C4-848EE729D70D}"/>
              </a:ext>
            </a:extLst>
          </p:cNvPr>
          <p:cNvSpPr txBox="1"/>
          <p:nvPr/>
        </p:nvSpPr>
        <p:spPr>
          <a:xfrm>
            <a:off x="9093207" y="1342482"/>
            <a:ext cx="261936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7" name="CaixaDeTexto 46">
            <a:extLst>
              <a:ext uri="{FF2B5EF4-FFF2-40B4-BE49-F238E27FC236}">
                <a16:creationId xmlns:a16="http://schemas.microsoft.com/office/drawing/2014/main" id="{50FC6754-C60B-4118-968F-90D3CE157571}"/>
              </a:ext>
            </a:extLst>
          </p:cNvPr>
          <p:cNvSpPr txBox="1"/>
          <p:nvPr/>
        </p:nvSpPr>
        <p:spPr>
          <a:xfrm>
            <a:off x="9093207" y="2754325"/>
            <a:ext cx="26099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>
                <a:solidFill>
                  <a:srgbClr val="B1B1A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5- Inserir Título aqui</a:t>
            </a:r>
          </a:p>
        </p:txBody>
      </p:sp>
      <p:sp>
        <p:nvSpPr>
          <p:cNvPr id="48" name="CaixaDeTexto 47">
            <a:extLst>
              <a:ext uri="{FF2B5EF4-FFF2-40B4-BE49-F238E27FC236}">
                <a16:creationId xmlns:a16="http://schemas.microsoft.com/office/drawing/2014/main" id="{99DAE46A-31E3-46D8-ACD7-3C84D16EEE4E}"/>
              </a:ext>
            </a:extLst>
          </p:cNvPr>
          <p:cNvSpPr txBox="1"/>
          <p:nvPr/>
        </p:nvSpPr>
        <p:spPr>
          <a:xfrm>
            <a:off x="9093206" y="3136804"/>
            <a:ext cx="260994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43AB5205-6E3C-43A4-AB94-153F32B9A0D1}"/>
              </a:ext>
            </a:extLst>
          </p:cNvPr>
          <p:cNvSpPr txBox="1"/>
          <p:nvPr/>
        </p:nvSpPr>
        <p:spPr>
          <a:xfrm>
            <a:off x="9093206" y="4478622"/>
            <a:ext cx="25715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>
                <a:solidFill>
                  <a:srgbClr val="B1B1A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6- Inserir Título aqui</a:t>
            </a:r>
          </a:p>
        </p:txBody>
      </p:sp>
      <p:sp>
        <p:nvSpPr>
          <p:cNvPr id="50" name="CaixaDeTexto 49">
            <a:extLst>
              <a:ext uri="{FF2B5EF4-FFF2-40B4-BE49-F238E27FC236}">
                <a16:creationId xmlns:a16="http://schemas.microsoft.com/office/drawing/2014/main" id="{2AE1BCA2-E73E-48F3-A174-FC747D0FEC89}"/>
              </a:ext>
            </a:extLst>
          </p:cNvPr>
          <p:cNvSpPr txBox="1"/>
          <p:nvPr/>
        </p:nvSpPr>
        <p:spPr>
          <a:xfrm>
            <a:off x="9098009" y="4861101"/>
            <a:ext cx="256762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1" name="CaixaDeTexto 50">
            <a:extLst>
              <a:ext uri="{FF2B5EF4-FFF2-40B4-BE49-F238E27FC236}">
                <a16:creationId xmlns:a16="http://schemas.microsoft.com/office/drawing/2014/main" id="{5B85F665-20FC-40C1-99AD-AAA18E8333A7}"/>
              </a:ext>
            </a:extLst>
          </p:cNvPr>
          <p:cNvSpPr txBox="1"/>
          <p:nvPr/>
        </p:nvSpPr>
        <p:spPr>
          <a:xfrm>
            <a:off x="596649" y="960003"/>
            <a:ext cx="26193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>
                <a:solidFill>
                  <a:srgbClr val="B1B1A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- Inserir Título aqui</a:t>
            </a:r>
          </a:p>
        </p:txBody>
      </p:sp>
      <p:sp>
        <p:nvSpPr>
          <p:cNvPr id="52" name="CaixaDeTexto 51">
            <a:extLst>
              <a:ext uri="{FF2B5EF4-FFF2-40B4-BE49-F238E27FC236}">
                <a16:creationId xmlns:a16="http://schemas.microsoft.com/office/drawing/2014/main" id="{075100CA-7E1D-409D-A90A-7D2D7AD5664B}"/>
              </a:ext>
            </a:extLst>
          </p:cNvPr>
          <p:cNvSpPr txBox="1"/>
          <p:nvPr/>
        </p:nvSpPr>
        <p:spPr>
          <a:xfrm>
            <a:off x="596648" y="1342482"/>
            <a:ext cx="261936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3" name="CaixaDeTexto 52">
            <a:extLst>
              <a:ext uri="{FF2B5EF4-FFF2-40B4-BE49-F238E27FC236}">
                <a16:creationId xmlns:a16="http://schemas.microsoft.com/office/drawing/2014/main" id="{8266085C-503D-4F46-B880-0AD0FB6208E1}"/>
              </a:ext>
            </a:extLst>
          </p:cNvPr>
          <p:cNvSpPr txBox="1"/>
          <p:nvPr/>
        </p:nvSpPr>
        <p:spPr>
          <a:xfrm>
            <a:off x="596648" y="2754325"/>
            <a:ext cx="26099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>
                <a:solidFill>
                  <a:srgbClr val="B1B1A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- Inserir Título aqui</a:t>
            </a:r>
          </a:p>
        </p:txBody>
      </p:sp>
      <p:sp>
        <p:nvSpPr>
          <p:cNvPr id="54" name="CaixaDeTexto 53">
            <a:extLst>
              <a:ext uri="{FF2B5EF4-FFF2-40B4-BE49-F238E27FC236}">
                <a16:creationId xmlns:a16="http://schemas.microsoft.com/office/drawing/2014/main" id="{16A7B295-04FA-4376-AA6B-E52022F35D39}"/>
              </a:ext>
            </a:extLst>
          </p:cNvPr>
          <p:cNvSpPr txBox="1"/>
          <p:nvPr/>
        </p:nvSpPr>
        <p:spPr>
          <a:xfrm>
            <a:off x="596647" y="3136804"/>
            <a:ext cx="260994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5" name="CaixaDeTexto 54">
            <a:extLst>
              <a:ext uri="{FF2B5EF4-FFF2-40B4-BE49-F238E27FC236}">
                <a16:creationId xmlns:a16="http://schemas.microsoft.com/office/drawing/2014/main" id="{8A6E0BB5-EC49-4F9E-ACEF-116D8488C9BC}"/>
              </a:ext>
            </a:extLst>
          </p:cNvPr>
          <p:cNvSpPr txBox="1"/>
          <p:nvPr/>
        </p:nvSpPr>
        <p:spPr>
          <a:xfrm>
            <a:off x="596647" y="4478622"/>
            <a:ext cx="25715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>
                <a:solidFill>
                  <a:srgbClr val="B1B1A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- Inserir Título aqui</a:t>
            </a:r>
          </a:p>
        </p:txBody>
      </p:sp>
      <p:sp>
        <p:nvSpPr>
          <p:cNvPr id="56" name="CaixaDeTexto 55">
            <a:extLst>
              <a:ext uri="{FF2B5EF4-FFF2-40B4-BE49-F238E27FC236}">
                <a16:creationId xmlns:a16="http://schemas.microsoft.com/office/drawing/2014/main" id="{07E37941-09D2-47FE-9085-1B561BB2636C}"/>
              </a:ext>
            </a:extLst>
          </p:cNvPr>
          <p:cNvSpPr txBox="1"/>
          <p:nvPr/>
        </p:nvSpPr>
        <p:spPr>
          <a:xfrm>
            <a:off x="601450" y="4861101"/>
            <a:ext cx="256762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7" name="CaixaDeTexto 56">
            <a:extLst>
              <a:ext uri="{FF2B5EF4-FFF2-40B4-BE49-F238E27FC236}">
                <a16:creationId xmlns:a16="http://schemas.microsoft.com/office/drawing/2014/main" id="{FE2BE74B-DE17-44B8-9FC7-1EC00DBDC5F9}"/>
              </a:ext>
            </a:extLst>
          </p:cNvPr>
          <p:cNvSpPr txBox="1"/>
          <p:nvPr/>
        </p:nvSpPr>
        <p:spPr>
          <a:xfrm>
            <a:off x="5912251" y="1034031"/>
            <a:ext cx="345674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500" b="1" dirty="0">
                <a:solidFill>
                  <a:srgbClr val="B1B1A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</a:t>
            </a:r>
          </a:p>
        </p:txBody>
      </p:sp>
      <p:sp>
        <p:nvSpPr>
          <p:cNvPr id="58" name="CaixaDeTexto 57">
            <a:extLst>
              <a:ext uri="{FF2B5EF4-FFF2-40B4-BE49-F238E27FC236}">
                <a16:creationId xmlns:a16="http://schemas.microsoft.com/office/drawing/2014/main" id="{A1668408-11A2-463F-A570-8D8EB1EE31CA}"/>
              </a:ext>
            </a:extLst>
          </p:cNvPr>
          <p:cNvSpPr txBox="1"/>
          <p:nvPr/>
        </p:nvSpPr>
        <p:spPr>
          <a:xfrm>
            <a:off x="5912251" y="5625832"/>
            <a:ext cx="345674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500" b="1" dirty="0">
                <a:solidFill>
                  <a:srgbClr val="B1B1A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</a:t>
            </a:r>
          </a:p>
        </p:txBody>
      </p:sp>
      <p:sp>
        <p:nvSpPr>
          <p:cNvPr id="59" name="CaixaDeTexto 58">
            <a:extLst>
              <a:ext uri="{FF2B5EF4-FFF2-40B4-BE49-F238E27FC236}">
                <a16:creationId xmlns:a16="http://schemas.microsoft.com/office/drawing/2014/main" id="{A46CDEF0-ACBF-4B24-AB06-70D5A1788978}"/>
              </a:ext>
            </a:extLst>
          </p:cNvPr>
          <p:cNvSpPr txBox="1"/>
          <p:nvPr/>
        </p:nvSpPr>
        <p:spPr>
          <a:xfrm>
            <a:off x="7863858" y="4520561"/>
            <a:ext cx="345674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500" b="1" dirty="0">
                <a:solidFill>
                  <a:srgbClr val="B1B1A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</a:t>
            </a:r>
          </a:p>
        </p:txBody>
      </p:sp>
      <p:sp>
        <p:nvSpPr>
          <p:cNvPr id="60" name="CaixaDeTexto 59">
            <a:extLst>
              <a:ext uri="{FF2B5EF4-FFF2-40B4-BE49-F238E27FC236}">
                <a16:creationId xmlns:a16="http://schemas.microsoft.com/office/drawing/2014/main" id="{E41B2893-8BFB-46A5-88D8-5A781B548C5E}"/>
              </a:ext>
            </a:extLst>
          </p:cNvPr>
          <p:cNvSpPr txBox="1"/>
          <p:nvPr/>
        </p:nvSpPr>
        <p:spPr>
          <a:xfrm>
            <a:off x="3973482" y="4520561"/>
            <a:ext cx="345674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500" b="1" dirty="0">
                <a:solidFill>
                  <a:srgbClr val="B1B1A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5</a:t>
            </a:r>
          </a:p>
        </p:txBody>
      </p:sp>
      <p:sp>
        <p:nvSpPr>
          <p:cNvPr id="61" name="CaixaDeTexto 60">
            <a:extLst>
              <a:ext uri="{FF2B5EF4-FFF2-40B4-BE49-F238E27FC236}">
                <a16:creationId xmlns:a16="http://schemas.microsoft.com/office/drawing/2014/main" id="{E93C9983-737B-48C3-AEFC-B18F11C784C1}"/>
              </a:ext>
            </a:extLst>
          </p:cNvPr>
          <p:cNvSpPr txBox="1"/>
          <p:nvPr/>
        </p:nvSpPr>
        <p:spPr>
          <a:xfrm>
            <a:off x="7863858" y="2100929"/>
            <a:ext cx="345674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500" b="1" dirty="0">
                <a:solidFill>
                  <a:srgbClr val="B1B1A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</a:t>
            </a:r>
          </a:p>
        </p:txBody>
      </p:sp>
      <p:sp>
        <p:nvSpPr>
          <p:cNvPr id="62" name="CaixaDeTexto 61">
            <a:extLst>
              <a:ext uri="{FF2B5EF4-FFF2-40B4-BE49-F238E27FC236}">
                <a16:creationId xmlns:a16="http://schemas.microsoft.com/office/drawing/2014/main" id="{758AB3E4-B931-4762-B51A-52BDAE1CBA37}"/>
              </a:ext>
            </a:extLst>
          </p:cNvPr>
          <p:cNvSpPr txBox="1"/>
          <p:nvPr/>
        </p:nvSpPr>
        <p:spPr>
          <a:xfrm>
            <a:off x="3973482" y="2100929"/>
            <a:ext cx="345674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500" b="1" dirty="0">
                <a:solidFill>
                  <a:srgbClr val="B1B1A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6</a:t>
            </a:r>
          </a:p>
        </p:txBody>
      </p:sp>
      <p:sp>
        <p:nvSpPr>
          <p:cNvPr id="64" name="CaixaDeTexto 63">
            <a:extLst>
              <a:ext uri="{FF2B5EF4-FFF2-40B4-BE49-F238E27FC236}">
                <a16:creationId xmlns:a16="http://schemas.microsoft.com/office/drawing/2014/main" id="{7B519406-9A35-41F0-AE87-605B8DBCAEDB}"/>
              </a:ext>
            </a:extLst>
          </p:cNvPr>
          <p:cNvSpPr txBox="1"/>
          <p:nvPr/>
        </p:nvSpPr>
        <p:spPr>
          <a:xfrm>
            <a:off x="4406936" y="3180472"/>
            <a:ext cx="102451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Título</a:t>
            </a:r>
          </a:p>
        </p:txBody>
      </p:sp>
      <p:sp>
        <p:nvSpPr>
          <p:cNvPr id="66" name="CaixaDeTexto 65">
            <a:extLst>
              <a:ext uri="{FF2B5EF4-FFF2-40B4-BE49-F238E27FC236}">
                <a16:creationId xmlns:a16="http://schemas.microsoft.com/office/drawing/2014/main" id="{CBCE413B-D726-4156-8CDF-EC61CE6DB5F6}"/>
              </a:ext>
            </a:extLst>
          </p:cNvPr>
          <p:cNvSpPr txBox="1"/>
          <p:nvPr/>
        </p:nvSpPr>
        <p:spPr>
          <a:xfrm>
            <a:off x="6847656" y="3180472"/>
            <a:ext cx="102451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Título</a:t>
            </a:r>
          </a:p>
        </p:txBody>
      </p:sp>
      <p:sp>
        <p:nvSpPr>
          <p:cNvPr id="67" name="CaixaDeTexto 66">
            <a:extLst>
              <a:ext uri="{FF2B5EF4-FFF2-40B4-BE49-F238E27FC236}">
                <a16:creationId xmlns:a16="http://schemas.microsoft.com/office/drawing/2014/main" id="{A7E613C2-E6A4-4B9F-98C2-367D72F5973D}"/>
              </a:ext>
            </a:extLst>
          </p:cNvPr>
          <p:cNvSpPr txBox="1"/>
          <p:nvPr/>
        </p:nvSpPr>
        <p:spPr>
          <a:xfrm>
            <a:off x="4406936" y="3647877"/>
            <a:ext cx="102451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Título</a:t>
            </a:r>
          </a:p>
        </p:txBody>
      </p:sp>
      <p:sp>
        <p:nvSpPr>
          <p:cNvPr id="68" name="CaixaDeTexto 67">
            <a:extLst>
              <a:ext uri="{FF2B5EF4-FFF2-40B4-BE49-F238E27FC236}">
                <a16:creationId xmlns:a16="http://schemas.microsoft.com/office/drawing/2014/main" id="{59256FCF-872A-45D0-9079-512243B1AAA0}"/>
              </a:ext>
            </a:extLst>
          </p:cNvPr>
          <p:cNvSpPr txBox="1"/>
          <p:nvPr/>
        </p:nvSpPr>
        <p:spPr>
          <a:xfrm>
            <a:off x="6847656" y="3647877"/>
            <a:ext cx="102451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Título</a:t>
            </a:r>
          </a:p>
        </p:txBody>
      </p:sp>
      <p:sp>
        <p:nvSpPr>
          <p:cNvPr id="69" name="CaixaDeTexto 68">
            <a:extLst>
              <a:ext uri="{FF2B5EF4-FFF2-40B4-BE49-F238E27FC236}">
                <a16:creationId xmlns:a16="http://schemas.microsoft.com/office/drawing/2014/main" id="{52E80956-4F46-4269-9024-A543403584D7}"/>
              </a:ext>
            </a:extLst>
          </p:cNvPr>
          <p:cNvSpPr txBox="1"/>
          <p:nvPr/>
        </p:nvSpPr>
        <p:spPr>
          <a:xfrm>
            <a:off x="5587288" y="2436362"/>
            <a:ext cx="102451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Título</a:t>
            </a:r>
          </a:p>
        </p:txBody>
      </p:sp>
      <p:sp>
        <p:nvSpPr>
          <p:cNvPr id="70" name="CaixaDeTexto 69">
            <a:extLst>
              <a:ext uri="{FF2B5EF4-FFF2-40B4-BE49-F238E27FC236}">
                <a16:creationId xmlns:a16="http://schemas.microsoft.com/office/drawing/2014/main" id="{58DA9D34-767E-4DB8-A622-AFC27587DDE7}"/>
              </a:ext>
            </a:extLst>
          </p:cNvPr>
          <p:cNvSpPr txBox="1"/>
          <p:nvPr/>
        </p:nvSpPr>
        <p:spPr>
          <a:xfrm>
            <a:off x="5587288" y="4416956"/>
            <a:ext cx="102451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Título</a:t>
            </a:r>
          </a:p>
        </p:txBody>
      </p:sp>
      <p:sp>
        <p:nvSpPr>
          <p:cNvPr id="71" name="Forma Livre: Forma 70">
            <a:extLst>
              <a:ext uri="{FF2B5EF4-FFF2-40B4-BE49-F238E27FC236}">
                <a16:creationId xmlns:a16="http://schemas.microsoft.com/office/drawing/2014/main" id="{F5C74DD2-93D1-4870-B2F1-76718D146BFF}"/>
              </a:ext>
            </a:extLst>
          </p:cNvPr>
          <p:cNvSpPr/>
          <p:nvPr/>
        </p:nvSpPr>
        <p:spPr>
          <a:xfrm>
            <a:off x="7073145" y="4108653"/>
            <a:ext cx="341801" cy="387689"/>
          </a:xfrm>
          <a:custGeom>
            <a:avLst/>
            <a:gdLst>
              <a:gd name="connsiteX0" fmla="*/ 196391 w 341801"/>
              <a:gd name="connsiteY0" fmla="*/ 387689 h 387689"/>
              <a:gd name="connsiteX1" fmla="*/ 0 w 341801"/>
              <a:gd name="connsiteY1" fmla="*/ 191298 h 387689"/>
              <a:gd name="connsiteX2" fmla="*/ 150734 w 341801"/>
              <a:gd name="connsiteY2" fmla="*/ 536 h 387689"/>
              <a:gd name="connsiteX3" fmla="*/ 168871 w 341801"/>
              <a:gd name="connsiteY3" fmla="*/ 8667 h 387689"/>
              <a:gd name="connsiteX4" fmla="*/ 166370 w 341801"/>
              <a:gd name="connsiteY4" fmla="*/ 28681 h 387689"/>
              <a:gd name="connsiteX5" fmla="*/ 120712 w 341801"/>
              <a:gd name="connsiteY5" fmla="*/ 141888 h 387689"/>
              <a:gd name="connsiteX6" fmla="*/ 283328 w 341801"/>
              <a:gd name="connsiteY6" fmla="*/ 304504 h 387689"/>
              <a:gd name="connsiteX7" fmla="*/ 321481 w 341801"/>
              <a:gd name="connsiteY7" fmla="*/ 300126 h 387689"/>
              <a:gd name="connsiteX8" fmla="*/ 339619 w 341801"/>
              <a:gd name="connsiteY8" fmla="*/ 308257 h 387689"/>
              <a:gd name="connsiteX9" fmla="*/ 337117 w 341801"/>
              <a:gd name="connsiteY9" fmla="*/ 328271 h 387689"/>
              <a:gd name="connsiteX10" fmla="*/ 196391 w 341801"/>
              <a:gd name="connsiteY10" fmla="*/ 387689 h 387689"/>
              <a:gd name="connsiteX11" fmla="*/ 196391 w 341801"/>
              <a:gd name="connsiteY11" fmla="*/ 387689 h 387689"/>
              <a:gd name="connsiteX12" fmla="*/ 107577 w 341801"/>
              <a:gd name="connsiteY12" fmla="*/ 54950 h 387689"/>
              <a:gd name="connsiteX13" fmla="*/ 33149 w 341801"/>
              <a:gd name="connsiteY13" fmla="*/ 191924 h 387689"/>
              <a:gd name="connsiteX14" fmla="*/ 195766 w 341801"/>
              <a:gd name="connsiteY14" fmla="*/ 354540 h 387689"/>
              <a:gd name="connsiteX15" fmla="*/ 268943 w 341801"/>
              <a:gd name="connsiteY15" fmla="*/ 337028 h 387689"/>
              <a:gd name="connsiteX16" fmla="*/ 86938 w 341801"/>
              <a:gd name="connsiteY16" fmla="*/ 141262 h 387689"/>
              <a:gd name="connsiteX17" fmla="*/ 107577 w 341801"/>
              <a:gd name="connsiteY17" fmla="*/ 54950 h 387689"/>
              <a:gd name="connsiteX18" fmla="*/ 107577 w 341801"/>
              <a:gd name="connsiteY18" fmla="*/ 54950 h 3876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341801" h="387689">
                <a:moveTo>
                  <a:pt x="196391" y="387689"/>
                </a:moveTo>
                <a:cubicBezTo>
                  <a:pt x="88189" y="387689"/>
                  <a:pt x="0" y="299501"/>
                  <a:pt x="0" y="191298"/>
                </a:cubicBezTo>
                <a:cubicBezTo>
                  <a:pt x="0" y="99982"/>
                  <a:pt x="61920" y="21801"/>
                  <a:pt x="150734" y="536"/>
                </a:cubicBezTo>
                <a:cubicBezTo>
                  <a:pt x="158239" y="-1340"/>
                  <a:pt x="165119" y="1787"/>
                  <a:pt x="168871" y="8667"/>
                </a:cubicBezTo>
                <a:cubicBezTo>
                  <a:pt x="172624" y="14921"/>
                  <a:pt x="171373" y="23052"/>
                  <a:pt x="166370" y="28681"/>
                </a:cubicBezTo>
                <a:cubicBezTo>
                  <a:pt x="136974" y="59328"/>
                  <a:pt x="120712" y="99357"/>
                  <a:pt x="120712" y="141888"/>
                </a:cubicBezTo>
                <a:cubicBezTo>
                  <a:pt x="120712" y="231952"/>
                  <a:pt x="193889" y="304504"/>
                  <a:pt x="283328" y="304504"/>
                </a:cubicBezTo>
                <a:cubicBezTo>
                  <a:pt x="295837" y="304504"/>
                  <a:pt x="308346" y="303253"/>
                  <a:pt x="321481" y="300126"/>
                </a:cubicBezTo>
                <a:cubicBezTo>
                  <a:pt x="328987" y="298250"/>
                  <a:pt x="335866" y="301377"/>
                  <a:pt x="339619" y="308257"/>
                </a:cubicBezTo>
                <a:cubicBezTo>
                  <a:pt x="343372" y="314512"/>
                  <a:pt x="342121" y="322643"/>
                  <a:pt x="337117" y="328271"/>
                </a:cubicBezTo>
                <a:cubicBezTo>
                  <a:pt x="300216" y="366424"/>
                  <a:pt x="249554" y="387689"/>
                  <a:pt x="196391" y="387689"/>
                </a:cubicBezTo>
                <a:lnTo>
                  <a:pt x="196391" y="387689"/>
                </a:lnTo>
                <a:close/>
                <a:moveTo>
                  <a:pt x="107577" y="54950"/>
                </a:moveTo>
                <a:cubicBezTo>
                  <a:pt x="61920" y="84346"/>
                  <a:pt x="33149" y="135008"/>
                  <a:pt x="33149" y="191924"/>
                </a:cubicBezTo>
                <a:cubicBezTo>
                  <a:pt x="33149" y="281988"/>
                  <a:pt x="106326" y="354540"/>
                  <a:pt x="195766" y="354540"/>
                </a:cubicBezTo>
                <a:cubicBezTo>
                  <a:pt x="221409" y="354540"/>
                  <a:pt x="246427" y="348912"/>
                  <a:pt x="268943" y="337028"/>
                </a:cubicBezTo>
                <a:cubicBezTo>
                  <a:pt x="167620" y="329522"/>
                  <a:pt x="86938" y="244461"/>
                  <a:pt x="86938" y="141262"/>
                </a:cubicBezTo>
                <a:cubicBezTo>
                  <a:pt x="87563" y="111241"/>
                  <a:pt x="94443" y="81219"/>
                  <a:pt x="107577" y="54950"/>
                </a:cubicBezTo>
                <a:lnTo>
                  <a:pt x="107577" y="54950"/>
                </a:lnTo>
                <a:close/>
              </a:path>
            </a:pathLst>
          </a:custGeom>
          <a:solidFill>
            <a:schemeClr val="bg1"/>
          </a:solidFill>
          <a:ln w="6251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grpSp>
        <p:nvGrpSpPr>
          <p:cNvPr id="72" name="Gráfico 2">
            <a:extLst>
              <a:ext uri="{FF2B5EF4-FFF2-40B4-BE49-F238E27FC236}">
                <a16:creationId xmlns:a16="http://schemas.microsoft.com/office/drawing/2014/main" id="{9985365A-279B-4ECE-A654-92D9B7F2B826}"/>
              </a:ext>
            </a:extLst>
          </p:cNvPr>
          <p:cNvGrpSpPr/>
          <p:nvPr/>
        </p:nvGrpSpPr>
        <p:grpSpPr>
          <a:xfrm>
            <a:off x="6994956" y="2619819"/>
            <a:ext cx="387153" cy="385902"/>
            <a:chOff x="9471635" y="522785"/>
            <a:chExt cx="387153" cy="385902"/>
          </a:xfrm>
          <a:solidFill>
            <a:schemeClr val="bg1"/>
          </a:solidFill>
        </p:grpSpPr>
        <p:grpSp>
          <p:nvGrpSpPr>
            <p:cNvPr id="73" name="Gráfico 2">
              <a:extLst>
                <a:ext uri="{FF2B5EF4-FFF2-40B4-BE49-F238E27FC236}">
                  <a16:creationId xmlns:a16="http://schemas.microsoft.com/office/drawing/2014/main" id="{DBC62D19-BC10-4067-941A-1C8079A62F36}"/>
                </a:ext>
              </a:extLst>
            </p:cNvPr>
            <p:cNvGrpSpPr/>
            <p:nvPr/>
          </p:nvGrpSpPr>
          <p:grpSpPr>
            <a:xfrm>
              <a:off x="9648637" y="522785"/>
              <a:ext cx="33774" cy="385902"/>
              <a:chOff x="9648637" y="522785"/>
              <a:chExt cx="33774" cy="385902"/>
            </a:xfrm>
            <a:grpFill/>
          </p:grpSpPr>
          <p:sp>
            <p:nvSpPr>
              <p:cNvPr id="84" name="Forma Livre: Forma 83">
                <a:extLst>
                  <a:ext uri="{FF2B5EF4-FFF2-40B4-BE49-F238E27FC236}">
                    <a16:creationId xmlns:a16="http://schemas.microsoft.com/office/drawing/2014/main" id="{DE49A26F-CCD5-46B1-8F94-BA80FC8EBFB0}"/>
                  </a:ext>
                </a:extLst>
              </p:cNvPr>
              <p:cNvSpPr/>
              <p:nvPr/>
            </p:nvSpPr>
            <p:spPr>
              <a:xfrm>
                <a:off x="9648637" y="522785"/>
                <a:ext cx="33774" cy="66297"/>
              </a:xfrm>
              <a:custGeom>
                <a:avLst/>
                <a:gdLst>
                  <a:gd name="connsiteX0" fmla="*/ 16887 w 33774"/>
                  <a:gd name="connsiteY0" fmla="*/ 66298 h 66297"/>
                  <a:gd name="connsiteX1" fmla="*/ 0 w 33774"/>
                  <a:gd name="connsiteY1" fmla="*/ 49410 h 66297"/>
                  <a:gd name="connsiteX2" fmla="*/ 0 w 33774"/>
                  <a:gd name="connsiteY2" fmla="*/ 16887 h 66297"/>
                  <a:gd name="connsiteX3" fmla="*/ 16887 w 33774"/>
                  <a:gd name="connsiteY3" fmla="*/ 0 h 66297"/>
                  <a:gd name="connsiteX4" fmla="*/ 33774 w 33774"/>
                  <a:gd name="connsiteY4" fmla="*/ 16887 h 66297"/>
                  <a:gd name="connsiteX5" fmla="*/ 33774 w 33774"/>
                  <a:gd name="connsiteY5" fmla="*/ 50036 h 66297"/>
                  <a:gd name="connsiteX6" fmla="*/ 16887 w 33774"/>
                  <a:gd name="connsiteY6" fmla="*/ 66298 h 66297"/>
                  <a:gd name="connsiteX7" fmla="*/ 16887 w 33774"/>
                  <a:gd name="connsiteY7" fmla="*/ 66298 h 662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774" h="66297">
                    <a:moveTo>
                      <a:pt x="16887" y="66298"/>
                    </a:moveTo>
                    <a:cubicBezTo>
                      <a:pt x="7505" y="66298"/>
                      <a:pt x="0" y="58792"/>
                      <a:pt x="0" y="49410"/>
                    </a:cubicBezTo>
                    <a:lnTo>
                      <a:pt x="0" y="16887"/>
                    </a:lnTo>
                    <a:cubicBezTo>
                      <a:pt x="0" y="7505"/>
                      <a:pt x="7505" y="0"/>
                      <a:pt x="16887" y="0"/>
                    </a:cubicBezTo>
                    <a:cubicBezTo>
                      <a:pt x="26269" y="0"/>
                      <a:pt x="33774" y="7505"/>
                      <a:pt x="33774" y="16887"/>
                    </a:cubicBezTo>
                    <a:lnTo>
                      <a:pt x="33774" y="50036"/>
                    </a:lnTo>
                    <a:cubicBezTo>
                      <a:pt x="33149" y="58792"/>
                      <a:pt x="25643" y="66298"/>
                      <a:pt x="16887" y="66298"/>
                    </a:cubicBezTo>
                    <a:lnTo>
                      <a:pt x="16887" y="66298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85" name="Forma Livre: Forma 84">
                <a:extLst>
                  <a:ext uri="{FF2B5EF4-FFF2-40B4-BE49-F238E27FC236}">
                    <a16:creationId xmlns:a16="http://schemas.microsoft.com/office/drawing/2014/main" id="{8AE847E4-8FF8-4299-B97F-13287603C18A}"/>
                  </a:ext>
                </a:extLst>
              </p:cNvPr>
              <p:cNvSpPr/>
              <p:nvPr/>
            </p:nvSpPr>
            <p:spPr>
              <a:xfrm>
                <a:off x="9648637" y="841764"/>
                <a:ext cx="33774" cy="66923"/>
              </a:xfrm>
              <a:custGeom>
                <a:avLst/>
                <a:gdLst>
                  <a:gd name="connsiteX0" fmla="*/ 16887 w 33774"/>
                  <a:gd name="connsiteY0" fmla="*/ 66923 h 66923"/>
                  <a:gd name="connsiteX1" fmla="*/ 0 w 33774"/>
                  <a:gd name="connsiteY1" fmla="*/ 50036 h 66923"/>
                  <a:gd name="connsiteX2" fmla="*/ 0 w 33774"/>
                  <a:gd name="connsiteY2" fmla="*/ 16887 h 66923"/>
                  <a:gd name="connsiteX3" fmla="*/ 16887 w 33774"/>
                  <a:gd name="connsiteY3" fmla="*/ 0 h 66923"/>
                  <a:gd name="connsiteX4" fmla="*/ 33774 w 33774"/>
                  <a:gd name="connsiteY4" fmla="*/ 16887 h 66923"/>
                  <a:gd name="connsiteX5" fmla="*/ 33774 w 33774"/>
                  <a:gd name="connsiteY5" fmla="*/ 50036 h 66923"/>
                  <a:gd name="connsiteX6" fmla="*/ 16887 w 33774"/>
                  <a:gd name="connsiteY6" fmla="*/ 66923 h 66923"/>
                  <a:gd name="connsiteX7" fmla="*/ 16887 w 33774"/>
                  <a:gd name="connsiteY7" fmla="*/ 66923 h 66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774" h="66923">
                    <a:moveTo>
                      <a:pt x="16887" y="66923"/>
                    </a:moveTo>
                    <a:cubicBezTo>
                      <a:pt x="7505" y="66923"/>
                      <a:pt x="0" y="59418"/>
                      <a:pt x="0" y="50036"/>
                    </a:cubicBezTo>
                    <a:lnTo>
                      <a:pt x="0" y="16887"/>
                    </a:lnTo>
                    <a:cubicBezTo>
                      <a:pt x="0" y="7505"/>
                      <a:pt x="7505" y="0"/>
                      <a:pt x="16887" y="0"/>
                    </a:cubicBezTo>
                    <a:cubicBezTo>
                      <a:pt x="26269" y="0"/>
                      <a:pt x="33774" y="7505"/>
                      <a:pt x="33774" y="16887"/>
                    </a:cubicBezTo>
                    <a:lnTo>
                      <a:pt x="33774" y="50036"/>
                    </a:lnTo>
                    <a:cubicBezTo>
                      <a:pt x="33149" y="59418"/>
                      <a:pt x="25643" y="66923"/>
                      <a:pt x="16887" y="66923"/>
                    </a:cubicBezTo>
                    <a:lnTo>
                      <a:pt x="16887" y="66923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74" name="Gráfico 2">
              <a:extLst>
                <a:ext uri="{FF2B5EF4-FFF2-40B4-BE49-F238E27FC236}">
                  <a16:creationId xmlns:a16="http://schemas.microsoft.com/office/drawing/2014/main" id="{A2D4CAC9-C8EF-46B5-982B-8B98560625D7}"/>
                </a:ext>
              </a:extLst>
            </p:cNvPr>
            <p:cNvGrpSpPr/>
            <p:nvPr/>
          </p:nvGrpSpPr>
          <p:grpSpPr>
            <a:xfrm>
              <a:off x="9471635" y="698536"/>
              <a:ext cx="387153" cy="33774"/>
              <a:chOff x="9471635" y="698536"/>
              <a:chExt cx="387153" cy="33774"/>
            </a:xfrm>
            <a:grpFill/>
          </p:grpSpPr>
          <p:sp>
            <p:nvSpPr>
              <p:cNvPr id="82" name="Forma Livre: Forma 81">
                <a:extLst>
                  <a:ext uri="{FF2B5EF4-FFF2-40B4-BE49-F238E27FC236}">
                    <a16:creationId xmlns:a16="http://schemas.microsoft.com/office/drawing/2014/main" id="{F14981F4-B89E-4579-87F0-6501F49F9A70}"/>
                  </a:ext>
                </a:extLst>
              </p:cNvPr>
              <p:cNvSpPr/>
              <p:nvPr/>
            </p:nvSpPr>
            <p:spPr>
              <a:xfrm>
                <a:off x="9791865" y="698536"/>
                <a:ext cx="66922" cy="33774"/>
              </a:xfrm>
              <a:custGeom>
                <a:avLst/>
                <a:gdLst>
                  <a:gd name="connsiteX0" fmla="*/ 50036 w 66922"/>
                  <a:gd name="connsiteY0" fmla="*/ 33774 h 33774"/>
                  <a:gd name="connsiteX1" fmla="*/ 16887 w 66922"/>
                  <a:gd name="connsiteY1" fmla="*/ 33774 h 33774"/>
                  <a:gd name="connsiteX2" fmla="*/ 0 w 66922"/>
                  <a:gd name="connsiteY2" fmla="*/ 16887 h 33774"/>
                  <a:gd name="connsiteX3" fmla="*/ 16887 w 66922"/>
                  <a:gd name="connsiteY3" fmla="*/ 0 h 33774"/>
                  <a:gd name="connsiteX4" fmla="*/ 50036 w 66922"/>
                  <a:gd name="connsiteY4" fmla="*/ 0 h 33774"/>
                  <a:gd name="connsiteX5" fmla="*/ 66923 w 66922"/>
                  <a:gd name="connsiteY5" fmla="*/ 16887 h 33774"/>
                  <a:gd name="connsiteX6" fmla="*/ 50036 w 66922"/>
                  <a:gd name="connsiteY6" fmla="*/ 33774 h 33774"/>
                  <a:gd name="connsiteX7" fmla="*/ 50036 w 66922"/>
                  <a:gd name="connsiteY7" fmla="*/ 33774 h 33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922" h="33774">
                    <a:moveTo>
                      <a:pt x="50036" y="33774"/>
                    </a:moveTo>
                    <a:lnTo>
                      <a:pt x="16887" y="33774"/>
                    </a:lnTo>
                    <a:cubicBezTo>
                      <a:pt x="7505" y="33774"/>
                      <a:pt x="0" y="26269"/>
                      <a:pt x="0" y="16887"/>
                    </a:cubicBezTo>
                    <a:cubicBezTo>
                      <a:pt x="0" y="7505"/>
                      <a:pt x="7505" y="0"/>
                      <a:pt x="16887" y="0"/>
                    </a:cubicBezTo>
                    <a:lnTo>
                      <a:pt x="50036" y="0"/>
                    </a:lnTo>
                    <a:cubicBezTo>
                      <a:pt x="59418" y="0"/>
                      <a:pt x="66923" y="7505"/>
                      <a:pt x="66923" y="16887"/>
                    </a:cubicBezTo>
                    <a:cubicBezTo>
                      <a:pt x="66297" y="26269"/>
                      <a:pt x="58792" y="33774"/>
                      <a:pt x="50036" y="33774"/>
                    </a:cubicBezTo>
                    <a:lnTo>
                      <a:pt x="50036" y="33774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83" name="Forma Livre: Forma 82">
                <a:extLst>
                  <a:ext uri="{FF2B5EF4-FFF2-40B4-BE49-F238E27FC236}">
                    <a16:creationId xmlns:a16="http://schemas.microsoft.com/office/drawing/2014/main" id="{156E8944-E318-4F5B-B93C-7A52421D201A}"/>
                  </a:ext>
                </a:extLst>
              </p:cNvPr>
              <p:cNvSpPr/>
              <p:nvPr/>
            </p:nvSpPr>
            <p:spPr>
              <a:xfrm>
                <a:off x="9471635" y="698536"/>
                <a:ext cx="66923" cy="33774"/>
              </a:xfrm>
              <a:custGeom>
                <a:avLst/>
                <a:gdLst>
                  <a:gd name="connsiteX0" fmla="*/ 50036 w 66923"/>
                  <a:gd name="connsiteY0" fmla="*/ 33774 h 33774"/>
                  <a:gd name="connsiteX1" fmla="*/ 16888 w 66923"/>
                  <a:gd name="connsiteY1" fmla="*/ 33774 h 33774"/>
                  <a:gd name="connsiteX2" fmla="*/ 0 w 66923"/>
                  <a:gd name="connsiteY2" fmla="*/ 16887 h 33774"/>
                  <a:gd name="connsiteX3" fmla="*/ 16888 w 66923"/>
                  <a:gd name="connsiteY3" fmla="*/ 0 h 33774"/>
                  <a:gd name="connsiteX4" fmla="*/ 50036 w 66923"/>
                  <a:gd name="connsiteY4" fmla="*/ 0 h 33774"/>
                  <a:gd name="connsiteX5" fmla="*/ 66924 w 66923"/>
                  <a:gd name="connsiteY5" fmla="*/ 16887 h 33774"/>
                  <a:gd name="connsiteX6" fmla="*/ 50036 w 66923"/>
                  <a:gd name="connsiteY6" fmla="*/ 33774 h 33774"/>
                  <a:gd name="connsiteX7" fmla="*/ 50036 w 66923"/>
                  <a:gd name="connsiteY7" fmla="*/ 33774 h 33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923" h="33774">
                    <a:moveTo>
                      <a:pt x="50036" y="33774"/>
                    </a:moveTo>
                    <a:lnTo>
                      <a:pt x="16888" y="33774"/>
                    </a:lnTo>
                    <a:cubicBezTo>
                      <a:pt x="7506" y="33774"/>
                      <a:pt x="0" y="26269"/>
                      <a:pt x="0" y="16887"/>
                    </a:cubicBezTo>
                    <a:cubicBezTo>
                      <a:pt x="0" y="7505"/>
                      <a:pt x="7506" y="0"/>
                      <a:pt x="16888" y="0"/>
                    </a:cubicBezTo>
                    <a:lnTo>
                      <a:pt x="50036" y="0"/>
                    </a:lnTo>
                    <a:cubicBezTo>
                      <a:pt x="59418" y="0"/>
                      <a:pt x="66924" y="7505"/>
                      <a:pt x="66924" y="16887"/>
                    </a:cubicBezTo>
                    <a:cubicBezTo>
                      <a:pt x="66924" y="26269"/>
                      <a:pt x="59418" y="33774"/>
                      <a:pt x="50036" y="33774"/>
                    </a:cubicBezTo>
                    <a:lnTo>
                      <a:pt x="50036" y="33774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75" name="Gráfico 2">
              <a:extLst>
                <a:ext uri="{FF2B5EF4-FFF2-40B4-BE49-F238E27FC236}">
                  <a16:creationId xmlns:a16="http://schemas.microsoft.com/office/drawing/2014/main" id="{B93510CB-5984-4562-ADE0-29F92BCEF0D1}"/>
                </a:ext>
              </a:extLst>
            </p:cNvPr>
            <p:cNvGrpSpPr/>
            <p:nvPr/>
          </p:nvGrpSpPr>
          <p:grpSpPr>
            <a:xfrm>
              <a:off x="9523860" y="574384"/>
              <a:ext cx="282702" cy="283015"/>
              <a:chOff x="9523860" y="574384"/>
              <a:chExt cx="282702" cy="283015"/>
            </a:xfrm>
            <a:grpFill/>
          </p:grpSpPr>
          <p:sp>
            <p:nvSpPr>
              <p:cNvPr id="80" name="Forma Livre: Forma 79">
                <a:extLst>
                  <a:ext uri="{FF2B5EF4-FFF2-40B4-BE49-F238E27FC236}">
                    <a16:creationId xmlns:a16="http://schemas.microsoft.com/office/drawing/2014/main" id="{D7E905CA-4581-472C-9BB1-C782DAA7767D}"/>
                  </a:ext>
                </a:extLst>
              </p:cNvPr>
              <p:cNvSpPr/>
              <p:nvPr/>
            </p:nvSpPr>
            <p:spPr>
              <a:xfrm>
                <a:off x="9750273" y="574384"/>
                <a:ext cx="56290" cy="56603"/>
              </a:xfrm>
              <a:custGeom>
                <a:avLst/>
                <a:gdLst>
                  <a:gd name="connsiteX0" fmla="*/ 16575 w 56290"/>
                  <a:gd name="connsiteY0" fmla="*/ 56603 h 56603"/>
                  <a:gd name="connsiteX1" fmla="*/ 4691 w 56290"/>
                  <a:gd name="connsiteY1" fmla="*/ 51600 h 56603"/>
                  <a:gd name="connsiteX2" fmla="*/ 4691 w 56290"/>
                  <a:gd name="connsiteY2" fmla="*/ 27832 h 56603"/>
                  <a:gd name="connsiteX3" fmla="*/ 27832 w 56290"/>
                  <a:gd name="connsiteY3" fmla="*/ 4691 h 56603"/>
                  <a:gd name="connsiteX4" fmla="*/ 51600 w 56290"/>
                  <a:gd name="connsiteY4" fmla="*/ 4691 h 56603"/>
                  <a:gd name="connsiteX5" fmla="*/ 51600 w 56290"/>
                  <a:gd name="connsiteY5" fmla="*/ 28458 h 56603"/>
                  <a:gd name="connsiteX6" fmla="*/ 28458 w 56290"/>
                  <a:gd name="connsiteY6" fmla="*/ 51600 h 56603"/>
                  <a:gd name="connsiteX7" fmla="*/ 16575 w 56290"/>
                  <a:gd name="connsiteY7" fmla="*/ 56603 h 56603"/>
                  <a:gd name="connsiteX8" fmla="*/ 16575 w 56290"/>
                  <a:gd name="connsiteY8" fmla="*/ 56603 h 566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6290" h="56603">
                    <a:moveTo>
                      <a:pt x="16575" y="56603"/>
                    </a:moveTo>
                    <a:cubicBezTo>
                      <a:pt x="12196" y="56603"/>
                      <a:pt x="7818" y="54727"/>
                      <a:pt x="4691" y="51600"/>
                    </a:cubicBezTo>
                    <a:cubicBezTo>
                      <a:pt x="-1564" y="45345"/>
                      <a:pt x="-1564" y="34712"/>
                      <a:pt x="4691" y="27832"/>
                    </a:cubicBezTo>
                    <a:lnTo>
                      <a:pt x="27832" y="4691"/>
                    </a:lnTo>
                    <a:cubicBezTo>
                      <a:pt x="34087" y="-1564"/>
                      <a:pt x="44720" y="-1564"/>
                      <a:pt x="51600" y="4691"/>
                    </a:cubicBezTo>
                    <a:cubicBezTo>
                      <a:pt x="57854" y="10945"/>
                      <a:pt x="57854" y="21578"/>
                      <a:pt x="51600" y="28458"/>
                    </a:cubicBezTo>
                    <a:lnTo>
                      <a:pt x="28458" y="51600"/>
                    </a:lnTo>
                    <a:cubicBezTo>
                      <a:pt x="24705" y="54727"/>
                      <a:pt x="20952" y="56603"/>
                      <a:pt x="16575" y="56603"/>
                    </a:cubicBezTo>
                    <a:lnTo>
                      <a:pt x="16575" y="56603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81" name="Forma Livre: Forma 80">
                <a:extLst>
                  <a:ext uri="{FF2B5EF4-FFF2-40B4-BE49-F238E27FC236}">
                    <a16:creationId xmlns:a16="http://schemas.microsoft.com/office/drawing/2014/main" id="{AF51D6D3-5E5D-4384-B696-9F400C7FB446}"/>
                  </a:ext>
                </a:extLst>
              </p:cNvPr>
              <p:cNvSpPr/>
              <p:nvPr/>
            </p:nvSpPr>
            <p:spPr>
              <a:xfrm>
                <a:off x="9523860" y="800797"/>
                <a:ext cx="56290" cy="56603"/>
              </a:xfrm>
              <a:custGeom>
                <a:avLst/>
                <a:gdLst>
                  <a:gd name="connsiteX0" fmla="*/ 16574 w 56290"/>
                  <a:gd name="connsiteY0" fmla="*/ 56603 h 56603"/>
                  <a:gd name="connsiteX1" fmla="*/ 4691 w 56290"/>
                  <a:gd name="connsiteY1" fmla="*/ 51600 h 56603"/>
                  <a:gd name="connsiteX2" fmla="*/ 4691 w 56290"/>
                  <a:gd name="connsiteY2" fmla="*/ 27832 h 56603"/>
                  <a:gd name="connsiteX3" fmla="*/ 27832 w 56290"/>
                  <a:gd name="connsiteY3" fmla="*/ 4691 h 56603"/>
                  <a:gd name="connsiteX4" fmla="*/ 51600 w 56290"/>
                  <a:gd name="connsiteY4" fmla="*/ 4691 h 56603"/>
                  <a:gd name="connsiteX5" fmla="*/ 51600 w 56290"/>
                  <a:gd name="connsiteY5" fmla="*/ 28458 h 56603"/>
                  <a:gd name="connsiteX6" fmla="*/ 28457 w 56290"/>
                  <a:gd name="connsiteY6" fmla="*/ 51600 h 56603"/>
                  <a:gd name="connsiteX7" fmla="*/ 16574 w 56290"/>
                  <a:gd name="connsiteY7" fmla="*/ 56603 h 56603"/>
                  <a:gd name="connsiteX8" fmla="*/ 16574 w 56290"/>
                  <a:gd name="connsiteY8" fmla="*/ 56603 h 566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6290" h="56603">
                    <a:moveTo>
                      <a:pt x="16574" y="56603"/>
                    </a:moveTo>
                    <a:cubicBezTo>
                      <a:pt x="12196" y="56603"/>
                      <a:pt x="7818" y="54727"/>
                      <a:pt x="4691" y="51600"/>
                    </a:cubicBezTo>
                    <a:cubicBezTo>
                      <a:pt x="-1564" y="45345"/>
                      <a:pt x="-1564" y="34712"/>
                      <a:pt x="4691" y="27832"/>
                    </a:cubicBezTo>
                    <a:lnTo>
                      <a:pt x="27832" y="4691"/>
                    </a:lnTo>
                    <a:cubicBezTo>
                      <a:pt x="34087" y="-1564"/>
                      <a:pt x="44719" y="-1564"/>
                      <a:pt x="51600" y="4691"/>
                    </a:cubicBezTo>
                    <a:cubicBezTo>
                      <a:pt x="57854" y="10945"/>
                      <a:pt x="57854" y="21578"/>
                      <a:pt x="51600" y="28458"/>
                    </a:cubicBezTo>
                    <a:lnTo>
                      <a:pt x="28457" y="51600"/>
                    </a:lnTo>
                    <a:cubicBezTo>
                      <a:pt x="25330" y="54727"/>
                      <a:pt x="20952" y="56603"/>
                      <a:pt x="16574" y="56603"/>
                    </a:cubicBezTo>
                    <a:lnTo>
                      <a:pt x="16574" y="56603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76" name="Gráfico 2">
              <a:extLst>
                <a:ext uri="{FF2B5EF4-FFF2-40B4-BE49-F238E27FC236}">
                  <a16:creationId xmlns:a16="http://schemas.microsoft.com/office/drawing/2014/main" id="{C923EAB7-B1F1-4A49-AD4D-A34C0B50AB3B}"/>
                </a:ext>
              </a:extLst>
            </p:cNvPr>
            <p:cNvGrpSpPr/>
            <p:nvPr/>
          </p:nvGrpSpPr>
          <p:grpSpPr>
            <a:xfrm>
              <a:off x="9524486" y="574384"/>
              <a:ext cx="282077" cy="283015"/>
              <a:chOff x="9524486" y="574384"/>
              <a:chExt cx="282077" cy="283015"/>
            </a:xfrm>
            <a:grpFill/>
          </p:grpSpPr>
          <p:sp>
            <p:nvSpPr>
              <p:cNvPr id="78" name="Forma Livre: Forma 77">
                <a:extLst>
                  <a:ext uri="{FF2B5EF4-FFF2-40B4-BE49-F238E27FC236}">
                    <a16:creationId xmlns:a16="http://schemas.microsoft.com/office/drawing/2014/main" id="{FDC74C0B-936D-497C-8A98-27BE835257B1}"/>
                  </a:ext>
                </a:extLst>
              </p:cNvPr>
              <p:cNvSpPr/>
              <p:nvPr/>
            </p:nvSpPr>
            <p:spPr>
              <a:xfrm>
                <a:off x="9750273" y="800797"/>
                <a:ext cx="56290" cy="56603"/>
              </a:xfrm>
              <a:custGeom>
                <a:avLst/>
                <a:gdLst>
                  <a:gd name="connsiteX0" fmla="*/ 39716 w 56290"/>
                  <a:gd name="connsiteY0" fmla="*/ 56603 h 56603"/>
                  <a:gd name="connsiteX1" fmla="*/ 27832 w 56290"/>
                  <a:gd name="connsiteY1" fmla="*/ 51600 h 56603"/>
                  <a:gd name="connsiteX2" fmla="*/ 4691 w 56290"/>
                  <a:gd name="connsiteY2" fmla="*/ 28458 h 56603"/>
                  <a:gd name="connsiteX3" fmla="*/ 4691 w 56290"/>
                  <a:gd name="connsiteY3" fmla="*/ 4691 h 56603"/>
                  <a:gd name="connsiteX4" fmla="*/ 28458 w 56290"/>
                  <a:gd name="connsiteY4" fmla="*/ 4691 h 56603"/>
                  <a:gd name="connsiteX5" fmla="*/ 51600 w 56290"/>
                  <a:gd name="connsiteY5" fmla="*/ 27832 h 56603"/>
                  <a:gd name="connsiteX6" fmla="*/ 51600 w 56290"/>
                  <a:gd name="connsiteY6" fmla="*/ 51600 h 56603"/>
                  <a:gd name="connsiteX7" fmla="*/ 39716 w 56290"/>
                  <a:gd name="connsiteY7" fmla="*/ 56603 h 56603"/>
                  <a:gd name="connsiteX8" fmla="*/ 39716 w 56290"/>
                  <a:gd name="connsiteY8" fmla="*/ 56603 h 566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6290" h="56603">
                    <a:moveTo>
                      <a:pt x="39716" y="56603"/>
                    </a:moveTo>
                    <a:cubicBezTo>
                      <a:pt x="35338" y="56603"/>
                      <a:pt x="30959" y="54727"/>
                      <a:pt x="27832" y="51600"/>
                    </a:cubicBezTo>
                    <a:lnTo>
                      <a:pt x="4691" y="28458"/>
                    </a:lnTo>
                    <a:cubicBezTo>
                      <a:pt x="-1564" y="22203"/>
                      <a:pt x="-1564" y="11571"/>
                      <a:pt x="4691" y="4691"/>
                    </a:cubicBezTo>
                    <a:cubicBezTo>
                      <a:pt x="10945" y="-1564"/>
                      <a:pt x="21578" y="-1564"/>
                      <a:pt x="28458" y="4691"/>
                    </a:cubicBezTo>
                    <a:lnTo>
                      <a:pt x="51600" y="27832"/>
                    </a:lnTo>
                    <a:cubicBezTo>
                      <a:pt x="57854" y="34087"/>
                      <a:pt x="57854" y="44720"/>
                      <a:pt x="51600" y="51600"/>
                    </a:cubicBezTo>
                    <a:cubicBezTo>
                      <a:pt x="48472" y="54727"/>
                      <a:pt x="44094" y="56603"/>
                      <a:pt x="39716" y="56603"/>
                    </a:cubicBezTo>
                    <a:lnTo>
                      <a:pt x="39716" y="56603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79" name="Forma Livre: Forma 78">
                <a:extLst>
                  <a:ext uri="{FF2B5EF4-FFF2-40B4-BE49-F238E27FC236}">
                    <a16:creationId xmlns:a16="http://schemas.microsoft.com/office/drawing/2014/main" id="{671961CE-7BF1-4EBC-877D-75DE6B6D47A4}"/>
                  </a:ext>
                </a:extLst>
              </p:cNvPr>
              <p:cNvSpPr/>
              <p:nvPr/>
            </p:nvSpPr>
            <p:spPr>
              <a:xfrm>
                <a:off x="9524486" y="574384"/>
                <a:ext cx="56290" cy="56603"/>
              </a:xfrm>
              <a:custGeom>
                <a:avLst/>
                <a:gdLst>
                  <a:gd name="connsiteX0" fmla="*/ 39716 w 56290"/>
                  <a:gd name="connsiteY0" fmla="*/ 56603 h 56603"/>
                  <a:gd name="connsiteX1" fmla="*/ 27832 w 56290"/>
                  <a:gd name="connsiteY1" fmla="*/ 51600 h 56603"/>
                  <a:gd name="connsiteX2" fmla="*/ 4691 w 56290"/>
                  <a:gd name="connsiteY2" fmla="*/ 28458 h 56603"/>
                  <a:gd name="connsiteX3" fmla="*/ 4691 w 56290"/>
                  <a:gd name="connsiteY3" fmla="*/ 4691 h 56603"/>
                  <a:gd name="connsiteX4" fmla="*/ 28457 w 56290"/>
                  <a:gd name="connsiteY4" fmla="*/ 4691 h 56603"/>
                  <a:gd name="connsiteX5" fmla="*/ 51600 w 56290"/>
                  <a:gd name="connsiteY5" fmla="*/ 27832 h 56603"/>
                  <a:gd name="connsiteX6" fmla="*/ 51600 w 56290"/>
                  <a:gd name="connsiteY6" fmla="*/ 51600 h 56603"/>
                  <a:gd name="connsiteX7" fmla="*/ 39716 w 56290"/>
                  <a:gd name="connsiteY7" fmla="*/ 56603 h 56603"/>
                  <a:gd name="connsiteX8" fmla="*/ 39716 w 56290"/>
                  <a:gd name="connsiteY8" fmla="*/ 56603 h 566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6290" h="56603">
                    <a:moveTo>
                      <a:pt x="39716" y="56603"/>
                    </a:moveTo>
                    <a:cubicBezTo>
                      <a:pt x="35338" y="56603"/>
                      <a:pt x="30959" y="54727"/>
                      <a:pt x="27832" y="51600"/>
                    </a:cubicBezTo>
                    <a:lnTo>
                      <a:pt x="4691" y="28458"/>
                    </a:lnTo>
                    <a:cubicBezTo>
                      <a:pt x="-1564" y="22203"/>
                      <a:pt x="-1564" y="11571"/>
                      <a:pt x="4691" y="4691"/>
                    </a:cubicBezTo>
                    <a:cubicBezTo>
                      <a:pt x="10945" y="-1564"/>
                      <a:pt x="21578" y="-1564"/>
                      <a:pt x="28457" y="4691"/>
                    </a:cubicBezTo>
                    <a:lnTo>
                      <a:pt x="51600" y="27832"/>
                    </a:lnTo>
                    <a:cubicBezTo>
                      <a:pt x="57854" y="34087"/>
                      <a:pt x="57854" y="44720"/>
                      <a:pt x="51600" y="51600"/>
                    </a:cubicBezTo>
                    <a:cubicBezTo>
                      <a:pt x="47847" y="54727"/>
                      <a:pt x="43468" y="56603"/>
                      <a:pt x="39716" y="56603"/>
                    </a:cubicBezTo>
                    <a:lnTo>
                      <a:pt x="39716" y="56603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77" name="Forma Livre: Forma 76">
              <a:extLst>
                <a:ext uri="{FF2B5EF4-FFF2-40B4-BE49-F238E27FC236}">
                  <a16:creationId xmlns:a16="http://schemas.microsoft.com/office/drawing/2014/main" id="{C05D5A8C-383A-4E7F-9033-1965157CE65B}"/>
                </a:ext>
              </a:extLst>
            </p:cNvPr>
            <p:cNvSpPr/>
            <p:nvPr/>
          </p:nvSpPr>
          <p:spPr>
            <a:xfrm>
              <a:off x="9564202" y="614726"/>
              <a:ext cx="202645" cy="202645"/>
            </a:xfrm>
            <a:custGeom>
              <a:avLst/>
              <a:gdLst>
                <a:gd name="connsiteX0" fmla="*/ 101322 w 202645"/>
                <a:gd name="connsiteY0" fmla="*/ 202646 h 202645"/>
                <a:gd name="connsiteX1" fmla="*/ 0 w 202645"/>
                <a:gd name="connsiteY1" fmla="*/ 101323 h 202645"/>
                <a:gd name="connsiteX2" fmla="*/ 101322 w 202645"/>
                <a:gd name="connsiteY2" fmla="*/ 0 h 202645"/>
                <a:gd name="connsiteX3" fmla="*/ 202646 w 202645"/>
                <a:gd name="connsiteY3" fmla="*/ 101323 h 202645"/>
                <a:gd name="connsiteX4" fmla="*/ 101322 w 202645"/>
                <a:gd name="connsiteY4" fmla="*/ 202646 h 202645"/>
                <a:gd name="connsiteX5" fmla="*/ 101322 w 202645"/>
                <a:gd name="connsiteY5" fmla="*/ 202646 h 202645"/>
                <a:gd name="connsiteX6" fmla="*/ 101322 w 202645"/>
                <a:gd name="connsiteY6" fmla="*/ 33149 h 202645"/>
                <a:gd name="connsiteX7" fmla="*/ 33149 w 202645"/>
                <a:gd name="connsiteY7" fmla="*/ 101323 h 202645"/>
                <a:gd name="connsiteX8" fmla="*/ 101322 w 202645"/>
                <a:gd name="connsiteY8" fmla="*/ 169497 h 202645"/>
                <a:gd name="connsiteX9" fmla="*/ 169497 w 202645"/>
                <a:gd name="connsiteY9" fmla="*/ 101323 h 202645"/>
                <a:gd name="connsiteX10" fmla="*/ 101322 w 202645"/>
                <a:gd name="connsiteY10" fmla="*/ 33149 h 202645"/>
                <a:gd name="connsiteX11" fmla="*/ 101322 w 202645"/>
                <a:gd name="connsiteY11" fmla="*/ 33149 h 20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5" h="202645">
                  <a:moveTo>
                    <a:pt x="101322" y="202646"/>
                  </a:moveTo>
                  <a:cubicBezTo>
                    <a:pt x="45658" y="202646"/>
                    <a:pt x="0" y="156988"/>
                    <a:pt x="0" y="101323"/>
                  </a:cubicBezTo>
                  <a:cubicBezTo>
                    <a:pt x="0" y="45658"/>
                    <a:pt x="45658" y="0"/>
                    <a:pt x="101322" y="0"/>
                  </a:cubicBezTo>
                  <a:cubicBezTo>
                    <a:pt x="156988" y="0"/>
                    <a:pt x="202646" y="45658"/>
                    <a:pt x="202646" y="101323"/>
                  </a:cubicBezTo>
                  <a:cubicBezTo>
                    <a:pt x="202646" y="156988"/>
                    <a:pt x="156988" y="202646"/>
                    <a:pt x="101322" y="202646"/>
                  </a:cubicBezTo>
                  <a:lnTo>
                    <a:pt x="101322" y="202646"/>
                  </a:lnTo>
                  <a:close/>
                  <a:moveTo>
                    <a:pt x="101322" y="33149"/>
                  </a:moveTo>
                  <a:cubicBezTo>
                    <a:pt x="63796" y="33149"/>
                    <a:pt x="33149" y="63796"/>
                    <a:pt x="33149" y="101323"/>
                  </a:cubicBezTo>
                  <a:cubicBezTo>
                    <a:pt x="33149" y="138850"/>
                    <a:pt x="63796" y="169497"/>
                    <a:pt x="101322" y="169497"/>
                  </a:cubicBezTo>
                  <a:cubicBezTo>
                    <a:pt x="138849" y="169497"/>
                    <a:pt x="169497" y="138850"/>
                    <a:pt x="169497" y="101323"/>
                  </a:cubicBezTo>
                  <a:cubicBezTo>
                    <a:pt x="169497" y="63796"/>
                    <a:pt x="138849" y="33149"/>
                    <a:pt x="101322" y="33149"/>
                  </a:cubicBezTo>
                  <a:lnTo>
                    <a:pt x="101322" y="33149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86" name="Gráfico 2">
            <a:extLst>
              <a:ext uri="{FF2B5EF4-FFF2-40B4-BE49-F238E27FC236}">
                <a16:creationId xmlns:a16="http://schemas.microsoft.com/office/drawing/2014/main" id="{DF9A7A2F-C1C2-4269-B6A1-652F03797235}"/>
              </a:ext>
            </a:extLst>
          </p:cNvPr>
          <p:cNvGrpSpPr/>
          <p:nvPr/>
        </p:nvGrpSpPr>
        <p:grpSpPr>
          <a:xfrm>
            <a:off x="5895974" y="1916885"/>
            <a:ext cx="420301" cy="400131"/>
            <a:chOff x="3338480" y="1548678"/>
            <a:chExt cx="420301" cy="400131"/>
          </a:xfrm>
          <a:solidFill>
            <a:schemeClr val="bg1"/>
          </a:solidFill>
        </p:grpSpPr>
        <p:sp>
          <p:nvSpPr>
            <p:cNvPr id="87" name="Forma Livre: Forma 86">
              <a:extLst>
                <a:ext uri="{FF2B5EF4-FFF2-40B4-BE49-F238E27FC236}">
                  <a16:creationId xmlns:a16="http://schemas.microsoft.com/office/drawing/2014/main" id="{FF7FAD21-6F64-4F0E-9F41-93CBB227B8C4}"/>
                </a:ext>
              </a:extLst>
            </p:cNvPr>
            <p:cNvSpPr/>
            <p:nvPr/>
          </p:nvSpPr>
          <p:spPr>
            <a:xfrm>
              <a:off x="3338480" y="1548678"/>
              <a:ext cx="420301" cy="250023"/>
            </a:xfrm>
            <a:custGeom>
              <a:avLst/>
              <a:gdLst>
                <a:gd name="connsiteX0" fmla="*/ 210776 w 420301"/>
                <a:gd name="connsiteY0" fmla="*/ 250023 h 250023"/>
                <a:gd name="connsiteX1" fmla="*/ 202646 w 420301"/>
                <a:gd name="connsiteY1" fmla="*/ 248147 h 250023"/>
                <a:gd name="connsiteX2" fmla="*/ 8756 w 420301"/>
                <a:gd name="connsiteY2" fmla="*/ 139319 h 250023"/>
                <a:gd name="connsiteX3" fmla="*/ 0 w 420301"/>
                <a:gd name="connsiteY3" fmla="*/ 124933 h 250023"/>
                <a:gd name="connsiteX4" fmla="*/ 8756 w 420301"/>
                <a:gd name="connsiteY4" fmla="*/ 110548 h 250023"/>
                <a:gd name="connsiteX5" fmla="*/ 201395 w 420301"/>
                <a:gd name="connsiteY5" fmla="*/ 2345 h 250023"/>
                <a:gd name="connsiteX6" fmla="*/ 217656 w 420301"/>
                <a:gd name="connsiteY6" fmla="*/ 2345 h 250023"/>
                <a:gd name="connsiteX7" fmla="*/ 411546 w 420301"/>
                <a:gd name="connsiteY7" fmla="*/ 111174 h 250023"/>
                <a:gd name="connsiteX8" fmla="*/ 420302 w 420301"/>
                <a:gd name="connsiteY8" fmla="*/ 125559 h 250023"/>
                <a:gd name="connsiteX9" fmla="*/ 411546 w 420301"/>
                <a:gd name="connsiteY9" fmla="*/ 139944 h 250023"/>
                <a:gd name="connsiteX10" fmla="*/ 218907 w 420301"/>
                <a:gd name="connsiteY10" fmla="*/ 248147 h 250023"/>
                <a:gd name="connsiteX11" fmla="*/ 210776 w 420301"/>
                <a:gd name="connsiteY11" fmla="*/ 250023 h 250023"/>
                <a:gd name="connsiteX12" fmla="*/ 210776 w 420301"/>
                <a:gd name="connsiteY12" fmla="*/ 250023 h 250023"/>
                <a:gd name="connsiteX13" fmla="*/ 51287 w 420301"/>
                <a:gd name="connsiteY13" fmla="*/ 124933 h 250023"/>
                <a:gd name="connsiteX14" fmla="*/ 211402 w 420301"/>
                <a:gd name="connsiteY14" fmla="*/ 214373 h 250023"/>
                <a:gd name="connsiteX15" fmla="*/ 370266 w 420301"/>
                <a:gd name="connsiteY15" fmla="*/ 125559 h 250023"/>
                <a:gd name="connsiteX16" fmla="*/ 210151 w 420301"/>
                <a:gd name="connsiteY16" fmla="*/ 36120 h 250023"/>
                <a:gd name="connsiteX17" fmla="*/ 51287 w 420301"/>
                <a:gd name="connsiteY17" fmla="*/ 124933 h 250023"/>
                <a:gd name="connsiteX18" fmla="*/ 51287 w 420301"/>
                <a:gd name="connsiteY18" fmla="*/ 124933 h 250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20301" h="250023">
                  <a:moveTo>
                    <a:pt x="210776" y="250023"/>
                  </a:moveTo>
                  <a:cubicBezTo>
                    <a:pt x="208275" y="250023"/>
                    <a:pt x="205147" y="249398"/>
                    <a:pt x="202646" y="248147"/>
                  </a:cubicBezTo>
                  <a:lnTo>
                    <a:pt x="8756" y="139319"/>
                  </a:lnTo>
                  <a:cubicBezTo>
                    <a:pt x="3753" y="136192"/>
                    <a:pt x="0" y="130563"/>
                    <a:pt x="0" y="124933"/>
                  </a:cubicBezTo>
                  <a:cubicBezTo>
                    <a:pt x="0" y="118679"/>
                    <a:pt x="3127" y="113050"/>
                    <a:pt x="8756" y="110548"/>
                  </a:cubicBezTo>
                  <a:lnTo>
                    <a:pt x="201395" y="2345"/>
                  </a:lnTo>
                  <a:cubicBezTo>
                    <a:pt x="206398" y="-782"/>
                    <a:pt x="212653" y="-782"/>
                    <a:pt x="217656" y="2345"/>
                  </a:cubicBezTo>
                  <a:lnTo>
                    <a:pt x="411546" y="111174"/>
                  </a:lnTo>
                  <a:cubicBezTo>
                    <a:pt x="416549" y="114301"/>
                    <a:pt x="420302" y="119930"/>
                    <a:pt x="420302" y="125559"/>
                  </a:cubicBezTo>
                  <a:cubicBezTo>
                    <a:pt x="420302" y="131188"/>
                    <a:pt x="417175" y="137442"/>
                    <a:pt x="411546" y="139944"/>
                  </a:cubicBezTo>
                  <a:lnTo>
                    <a:pt x="218907" y="248147"/>
                  </a:lnTo>
                  <a:cubicBezTo>
                    <a:pt x="216405" y="249398"/>
                    <a:pt x="213904" y="250023"/>
                    <a:pt x="210776" y="250023"/>
                  </a:cubicBezTo>
                  <a:lnTo>
                    <a:pt x="210776" y="250023"/>
                  </a:lnTo>
                  <a:close/>
                  <a:moveTo>
                    <a:pt x="51287" y="124933"/>
                  </a:moveTo>
                  <a:lnTo>
                    <a:pt x="211402" y="214373"/>
                  </a:lnTo>
                  <a:lnTo>
                    <a:pt x="370266" y="125559"/>
                  </a:lnTo>
                  <a:lnTo>
                    <a:pt x="210151" y="36120"/>
                  </a:lnTo>
                  <a:lnTo>
                    <a:pt x="51287" y="124933"/>
                  </a:lnTo>
                  <a:lnTo>
                    <a:pt x="51287" y="124933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88" name="Forma Livre: Forma 87">
              <a:extLst>
                <a:ext uri="{FF2B5EF4-FFF2-40B4-BE49-F238E27FC236}">
                  <a16:creationId xmlns:a16="http://schemas.microsoft.com/office/drawing/2014/main" id="{EAB2E536-0EB6-49AD-A6DE-6FFB85EA4066}"/>
                </a:ext>
              </a:extLst>
            </p:cNvPr>
            <p:cNvSpPr/>
            <p:nvPr/>
          </p:nvSpPr>
          <p:spPr>
            <a:xfrm>
              <a:off x="3338850" y="1732148"/>
              <a:ext cx="419561" cy="141606"/>
            </a:xfrm>
            <a:custGeom>
              <a:avLst/>
              <a:gdLst>
                <a:gd name="connsiteX0" fmla="*/ 210406 w 419561"/>
                <a:gd name="connsiteY0" fmla="*/ 141607 h 141606"/>
                <a:gd name="connsiteX1" fmla="*/ 202276 w 419561"/>
                <a:gd name="connsiteY1" fmla="*/ 139731 h 141606"/>
                <a:gd name="connsiteX2" fmla="*/ 8386 w 419561"/>
                <a:gd name="connsiteY2" fmla="*/ 30902 h 141606"/>
                <a:gd name="connsiteX3" fmla="*/ 2132 w 419561"/>
                <a:gd name="connsiteY3" fmla="*/ 8386 h 141606"/>
                <a:gd name="connsiteX4" fmla="*/ 24648 w 419561"/>
                <a:gd name="connsiteY4" fmla="*/ 2132 h 141606"/>
                <a:gd name="connsiteX5" fmla="*/ 210406 w 419561"/>
                <a:gd name="connsiteY5" fmla="*/ 105956 h 141606"/>
                <a:gd name="connsiteX6" fmla="*/ 394914 w 419561"/>
                <a:gd name="connsiteY6" fmla="*/ 2757 h 141606"/>
                <a:gd name="connsiteX7" fmla="*/ 417430 w 419561"/>
                <a:gd name="connsiteY7" fmla="*/ 9012 h 141606"/>
                <a:gd name="connsiteX8" fmla="*/ 411176 w 419561"/>
                <a:gd name="connsiteY8" fmla="*/ 31528 h 141606"/>
                <a:gd name="connsiteX9" fmla="*/ 218537 w 419561"/>
                <a:gd name="connsiteY9" fmla="*/ 139731 h 141606"/>
                <a:gd name="connsiteX10" fmla="*/ 210406 w 419561"/>
                <a:gd name="connsiteY10" fmla="*/ 141607 h 141606"/>
                <a:gd name="connsiteX11" fmla="*/ 210406 w 419561"/>
                <a:gd name="connsiteY11" fmla="*/ 141607 h 141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9561" h="141606">
                  <a:moveTo>
                    <a:pt x="210406" y="141607"/>
                  </a:moveTo>
                  <a:cubicBezTo>
                    <a:pt x="207905" y="141607"/>
                    <a:pt x="204777" y="140981"/>
                    <a:pt x="202276" y="139731"/>
                  </a:cubicBezTo>
                  <a:lnTo>
                    <a:pt x="8386" y="30902"/>
                  </a:lnTo>
                  <a:cubicBezTo>
                    <a:pt x="255" y="26524"/>
                    <a:pt x="-2246" y="16517"/>
                    <a:pt x="2132" y="8386"/>
                  </a:cubicBezTo>
                  <a:cubicBezTo>
                    <a:pt x="6510" y="255"/>
                    <a:pt x="16517" y="-2246"/>
                    <a:pt x="24648" y="2132"/>
                  </a:cubicBezTo>
                  <a:lnTo>
                    <a:pt x="210406" y="105956"/>
                  </a:lnTo>
                  <a:lnTo>
                    <a:pt x="394914" y="2757"/>
                  </a:lnTo>
                  <a:cubicBezTo>
                    <a:pt x="403045" y="-1621"/>
                    <a:pt x="413052" y="881"/>
                    <a:pt x="417430" y="9012"/>
                  </a:cubicBezTo>
                  <a:cubicBezTo>
                    <a:pt x="421808" y="17143"/>
                    <a:pt x="419306" y="27150"/>
                    <a:pt x="411176" y="31528"/>
                  </a:cubicBezTo>
                  <a:lnTo>
                    <a:pt x="218537" y="139731"/>
                  </a:lnTo>
                  <a:cubicBezTo>
                    <a:pt x="216035" y="140981"/>
                    <a:pt x="213534" y="141607"/>
                    <a:pt x="210406" y="141607"/>
                  </a:cubicBezTo>
                  <a:lnTo>
                    <a:pt x="210406" y="141607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89" name="Forma Livre: Forma 88">
              <a:extLst>
                <a:ext uri="{FF2B5EF4-FFF2-40B4-BE49-F238E27FC236}">
                  <a16:creationId xmlns:a16="http://schemas.microsoft.com/office/drawing/2014/main" id="{E5E0A214-0F4C-42CD-B729-437CF5B3FA12}"/>
                </a:ext>
              </a:extLst>
            </p:cNvPr>
            <p:cNvSpPr/>
            <p:nvPr/>
          </p:nvSpPr>
          <p:spPr>
            <a:xfrm>
              <a:off x="3338850" y="1807202"/>
              <a:ext cx="419561" cy="141606"/>
            </a:xfrm>
            <a:custGeom>
              <a:avLst/>
              <a:gdLst>
                <a:gd name="connsiteX0" fmla="*/ 210406 w 419561"/>
                <a:gd name="connsiteY0" fmla="*/ 141607 h 141606"/>
                <a:gd name="connsiteX1" fmla="*/ 202276 w 419561"/>
                <a:gd name="connsiteY1" fmla="*/ 139731 h 141606"/>
                <a:gd name="connsiteX2" fmla="*/ 8386 w 419561"/>
                <a:gd name="connsiteY2" fmla="*/ 30902 h 141606"/>
                <a:gd name="connsiteX3" fmla="*/ 2132 w 419561"/>
                <a:gd name="connsiteY3" fmla="*/ 8386 h 141606"/>
                <a:gd name="connsiteX4" fmla="*/ 24648 w 419561"/>
                <a:gd name="connsiteY4" fmla="*/ 2132 h 141606"/>
                <a:gd name="connsiteX5" fmla="*/ 210406 w 419561"/>
                <a:gd name="connsiteY5" fmla="*/ 105956 h 141606"/>
                <a:gd name="connsiteX6" fmla="*/ 394914 w 419561"/>
                <a:gd name="connsiteY6" fmla="*/ 2757 h 141606"/>
                <a:gd name="connsiteX7" fmla="*/ 417430 w 419561"/>
                <a:gd name="connsiteY7" fmla="*/ 9012 h 141606"/>
                <a:gd name="connsiteX8" fmla="*/ 411176 w 419561"/>
                <a:gd name="connsiteY8" fmla="*/ 31528 h 141606"/>
                <a:gd name="connsiteX9" fmla="*/ 218537 w 419561"/>
                <a:gd name="connsiteY9" fmla="*/ 139731 h 141606"/>
                <a:gd name="connsiteX10" fmla="*/ 210406 w 419561"/>
                <a:gd name="connsiteY10" fmla="*/ 141607 h 141606"/>
                <a:gd name="connsiteX11" fmla="*/ 210406 w 419561"/>
                <a:gd name="connsiteY11" fmla="*/ 141607 h 141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9561" h="141606">
                  <a:moveTo>
                    <a:pt x="210406" y="141607"/>
                  </a:moveTo>
                  <a:cubicBezTo>
                    <a:pt x="207905" y="141607"/>
                    <a:pt x="204777" y="140981"/>
                    <a:pt x="202276" y="139731"/>
                  </a:cubicBezTo>
                  <a:lnTo>
                    <a:pt x="8386" y="30902"/>
                  </a:lnTo>
                  <a:cubicBezTo>
                    <a:pt x="255" y="26524"/>
                    <a:pt x="-2246" y="16517"/>
                    <a:pt x="2132" y="8386"/>
                  </a:cubicBezTo>
                  <a:cubicBezTo>
                    <a:pt x="6510" y="255"/>
                    <a:pt x="16517" y="-2246"/>
                    <a:pt x="24648" y="2132"/>
                  </a:cubicBezTo>
                  <a:lnTo>
                    <a:pt x="210406" y="105956"/>
                  </a:lnTo>
                  <a:lnTo>
                    <a:pt x="394914" y="2757"/>
                  </a:lnTo>
                  <a:cubicBezTo>
                    <a:pt x="403045" y="-1621"/>
                    <a:pt x="413052" y="881"/>
                    <a:pt x="417430" y="9012"/>
                  </a:cubicBezTo>
                  <a:cubicBezTo>
                    <a:pt x="421808" y="17143"/>
                    <a:pt x="419306" y="27150"/>
                    <a:pt x="411176" y="31528"/>
                  </a:cubicBezTo>
                  <a:lnTo>
                    <a:pt x="218537" y="139731"/>
                  </a:lnTo>
                  <a:cubicBezTo>
                    <a:pt x="216035" y="140981"/>
                    <a:pt x="213534" y="141607"/>
                    <a:pt x="210406" y="141607"/>
                  </a:cubicBezTo>
                  <a:lnTo>
                    <a:pt x="210406" y="141607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90" name="Gráfico 2">
            <a:extLst>
              <a:ext uri="{FF2B5EF4-FFF2-40B4-BE49-F238E27FC236}">
                <a16:creationId xmlns:a16="http://schemas.microsoft.com/office/drawing/2014/main" id="{84C78AA8-2E7A-44E5-B29A-D3679ADEC8A2}"/>
              </a:ext>
            </a:extLst>
          </p:cNvPr>
          <p:cNvGrpSpPr/>
          <p:nvPr/>
        </p:nvGrpSpPr>
        <p:grpSpPr>
          <a:xfrm>
            <a:off x="4843570" y="4155168"/>
            <a:ext cx="259543" cy="400287"/>
            <a:chOff x="5451569" y="5672108"/>
            <a:chExt cx="259543" cy="400287"/>
          </a:xfrm>
          <a:solidFill>
            <a:schemeClr val="bg1"/>
          </a:solidFill>
        </p:grpSpPr>
        <p:sp>
          <p:nvSpPr>
            <p:cNvPr id="91" name="Forma Livre: Forma 90">
              <a:extLst>
                <a:ext uri="{FF2B5EF4-FFF2-40B4-BE49-F238E27FC236}">
                  <a16:creationId xmlns:a16="http://schemas.microsoft.com/office/drawing/2014/main" id="{064CCD8E-9B2E-42E3-9AEC-9AD6D4844EC2}"/>
                </a:ext>
              </a:extLst>
            </p:cNvPr>
            <p:cNvSpPr/>
            <p:nvPr/>
          </p:nvSpPr>
          <p:spPr>
            <a:xfrm>
              <a:off x="5451569" y="5672108"/>
              <a:ext cx="259543" cy="293335"/>
            </a:xfrm>
            <a:custGeom>
              <a:avLst/>
              <a:gdLst>
                <a:gd name="connsiteX0" fmla="*/ 129772 w 259543"/>
                <a:gd name="connsiteY0" fmla="*/ 293335 h 293335"/>
                <a:gd name="connsiteX1" fmla="*/ 26573 w 259543"/>
                <a:gd name="connsiteY1" fmla="*/ 248303 h 293335"/>
                <a:gd name="connsiteX2" fmla="*/ 14689 w 259543"/>
                <a:gd name="connsiteY2" fmla="*/ 89439 h 293335"/>
                <a:gd name="connsiteX3" fmla="*/ 47213 w 259543"/>
                <a:gd name="connsiteY3" fmla="*/ 9382 h 293335"/>
                <a:gd name="connsiteX4" fmla="*/ 62224 w 259543"/>
                <a:gd name="connsiteY4" fmla="*/ 0 h 293335"/>
                <a:gd name="connsiteX5" fmla="*/ 197321 w 259543"/>
                <a:gd name="connsiteY5" fmla="*/ 0 h 293335"/>
                <a:gd name="connsiteX6" fmla="*/ 212332 w 259543"/>
                <a:gd name="connsiteY6" fmla="*/ 9382 h 293335"/>
                <a:gd name="connsiteX7" fmla="*/ 244855 w 259543"/>
                <a:gd name="connsiteY7" fmla="*/ 89439 h 293335"/>
                <a:gd name="connsiteX8" fmla="*/ 232971 w 259543"/>
                <a:gd name="connsiteY8" fmla="*/ 248303 h 293335"/>
                <a:gd name="connsiteX9" fmla="*/ 129772 w 259543"/>
                <a:gd name="connsiteY9" fmla="*/ 293335 h 293335"/>
                <a:gd name="connsiteX10" fmla="*/ 129772 w 259543"/>
                <a:gd name="connsiteY10" fmla="*/ 293335 h 293335"/>
                <a:gd name="connsiteX11" fmla="*/ 72856 w 259543"/>
                <a:gd name="connsiteY11" fmla="*/ 33149 h 293335"/>
                <a:gd name="connsiteX12" fmla="*/ 45962 w 259543"/>
                <a:gd name="connsiteY12" fmla="*/ 100697 h 293335"/>
                <a:gd name="connsiteX13" fmla="*/ 52842 w 259543"/>
                <a:gd name="connsiteY13" fmla="*/ 227663 h 293335"/>
                <a:gd name="connsiteX14" fmla="*/ 129772 w 259543"/>
                <a:gd name="connsiteY14" fmla="*/ 260187 h 293335"/>
                <a:gd name="connsiteX15" fmla="*/ 206702 w 259543"/>
                <a:gd name="connsiteY15" fmla="*/ 227663 h 293335"/>
                <a:gd name="connsiteX16" fmla="*/ 213582 w 259543"/>
                <a:gd name="connsiteY16" fmla="*/ 100072 h 293335"/>
                <a:gd name="connsiteX17" fmla="*/ 186688 w 259543"/>
                <a:gd name="connsiteY17" fmla="*/ 33149 h 293335"/>
                <a:gd name="connsiteX18" fmla="*/ 72856 w 259543"/>
                <a:gd name="connsiteY18" fmla="*/ 33149 h 293335"/>
                <a:gd name="connsiteX19" fmla="*/ 72856 w 259543"/>
                <a:gd name="connsiteY19" fmla="*/ 33149 h 293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59543" h="293335">
                  <a:moveTo>
                    <a:pt x="129772" y="293335"/>
                  </a:moveTo>
                  <a:cubicBezTo>
                    <a:pt x="85365" y="293335"/>
                    <a:pt x="49715" y="277699"/>
                    <a:pt x="26573" y="248303"/>
                  </a:cubicBezTo>
                  <a:cubicBezTo>
                    <a:pt x="-4074" y="209526"/>
                    <a:pt x="-8452" y="151359"/>
                    <a:pt x="14689" y="89439"/>
                  </a:cubicBezTo>
                  <a:cubicBezTo>
                    <a:pt x="22195" y="65672"/>
                    <a:pt x="32828" y="38778"/>
                    <a:pt x="47213" y="9382"/>
                  </a:cubicBezTo>
                  <a:cubicBezTo>
                    <a:pt x="49715" y="3753"/>
                    <a:pt x="55969" y="0"/>
                    <a:pt x="62224" y="0"/>
                  </a:cubicBezTo>
                  <a:lnTo>
                    <a:pt x="197321" y="0"/>
                  </a:lnTo>
                  <a:cubicBezTo>
                    <a:pt x="203575" y="0"/>
                    <a:pt x="209830" y="3753"/>
                    <a:pt x="212332" y="9382"/>
                  </a:cubicBezTo>
                  <a:cubicBezTo>
                    <a:pt x="226717" y="38778"/>
                    <a:pt x="237350" y="65046"/>
                    <a:pt x="244855" y="89439"/>
                  </a:cubicBezTo>
                  <a:cubicBezTo>
                    <a:pt x="267996" y="151359"/>
                    <a:pt x="263618" y="209526"/>
                    <a:pt x="232971" y="248303"/>
                  </a:cubicBezTo>
                  <a:cubicBezTo>
                    <a:pt x="209830" y="277699"/>
                    <a:pt x="174179" y="293335"/>
                    <a:pt x="129772" y="293335"/>
                  </a:cubicBezTo>
                  <a:lnTo>
                    <a:pt x="129772" y="293335"/>
                  </a:lnTo>
                  <a:close/>
                  <a:moveTo>
                    <a:pt x="72856" y="33149"/>
                  </a:moveTo>
                  <a:cubicBezTo>
                    <a:pt x="61598" y="57541"/>
                    <a:pt x="52842" y="80057"/>
                    <a:pt x="45962" y="100697"/>
                  </a:cubicBezTo>
                  <a:cubicBezTo>
                    <a:pt x="26573" y="151984"/>
                    <a:pt x="29075" y="198268"/>
                    <a:pt x="52842" y="227663"/>
                  </a:cubicBezTo>
                  <a:cubicBezTo>
                    <a:pt x="69729" y="248929"/>
                    <a:pt x="95998" y="260187"/>
                    <a:pt x="129772" y="260187"/>
                  </a:cubicBezTo>
                  <a:cubicBezTo>
                    <a:pt x="163546" y="260187"/>
                    <a:pt x="189815" y="248929"/>
                    <a:pt x="206702" y="227663"/>
                  </a:cubicBezTo>
                  <a:cubicBezTo>
                    <a:pt x="229844" y="198268"/>
                    <a:pt x="232346" y="151359"/>
                    <a:pt x="213582" y="100072"/>
                  </a:cubicBezTo>
                  <a:cubicBezTo>
                    <a:pt x="206702" y="78806"/>
                    <a:pt x="197946" y="56916"/>
                    <a:pt x="186688" y="33149"/>
                  </a:cubicBezTo>
                  <a:lnTo>
                    <a:pt x="72856" y="33149"/>
                  </a:lnTo>
                  <a:lnTo>
                    <a:pt x="72856" y="33149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92" name="Forma Livre: Forma 91">
              <a:extLst>
                <a:ext uri="{FF2B5EF4-FFF2-40B4-BE49-F238E27FC236}">
                  <a16:creationId xmlns:a16="http://schemas.microsoft.com/office/drawing/2014/main" id="{299A15A2-B7A2-4D01-8092-0358ADB999C5}"/>
                </a:ext>
              </a:extLst>
            </p:cNvPr>
            <p:cNvSpPr/>
            <p:nvPr/>
          </p:nvSpPr>
          <p:spPr>
            <a:xfrm>
              <a:off x="5559450" y="5932921"/>
              <a:ext cx="33774" cy="139475"/>
            </a:xfrm>
            <a:custGeom>
              <a:avLst/>
              <a:gdLst>
                <a:gd name="connsiteX0" fmla="*/ 16887 w 33774"/>
                <a:gd name="connsiteY0" fmla="*/ 139475 h 139475"/>
                <a:gd name="connsiteX1" fmla="*/ 0 w 33774"/>
                <a:gd name="connsiteY1" fmla="*/ 122588 h 139475"/>
                <a:gd name="connsiteX2" fmla="*/ 0 w 33774"/>
                <a:gd name="connsiteY2" fmla="*/ 16887 h 139475"/>
                <a:gd name="connsiteX3" fmla="*/ 16887 w 33774"/>
                <a:gd name="connsiteY3" fmla="*/ 0 h 139475"/>
                <a:gd name="connsiteX4" fmla="*/ 33774 w 33774"/>
                <a:gd name="connsiteY4" fmla="*/ 16887 h 139475"/>
                <a:gd name="connsiteX5" fmla="*/ 33774 w 33774"/>
                <a:gd name="connsiteY5" fmla="*/ 122588 h 139475"/>
                <a:gd name="connsiteX6" fmla="*/ 16887 w 33774"/>
                <a:gd name="connsiteY6" fmla="*/ 139475 h 139475"/>
                <a:gd name="connsiteX7" fmla="*/ 16887 w 33774"/>
                <a:gd name="connsiteY7" fmla="*/ 139475 h 139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774" h="139475">
                  <a:moveTo>
                    <a:pt x="16887" y="139475"/>
                  </a:moveTo>
                  <a:cubicBezTo>
                    <a:pt x="7505" y="139475"/>
                    <a:pt x="0" y="131970"/>
                    <a:pt x="0" y="122588"/>
                  </a:cubicBezTo>
                  <a:lnTo>
                    <a:pt x="0" y="16887"/>
                  </a:lnTo>
                  <a:cubicBezTo>
                    <a:pt x="0" y="7505"/>
                    <a:pt x="7505" y="0"/>
                    <a:pt x="16887" y="0"/>
                  </a:cubicBezTo>
                  <a:cubicBezTo>
                    <a:pt x="26269" y="0"/>
                    <a:pt x="33774" y="7505"/>
                    <a:pt x="33774" y="16887"/>
                  </a:cubicBezTo>
                  <a:lnTo>
                    <a:pt x="33774" y="122588"/>
                  </a:lnTo>
                  <a:cubicBezTo>
                    <a:pt x="33774" y="131970"/>
                    <a:pt x="26269" y="139475"/>
                    <a:pt x="16887" y="139475"/>
                  </a:cubicBezTo>
                  <a:lnTo>
                    <a:pt x="16887" y="139475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93" name="Forma Livre: Forma 92">
              <a:extLst>
                <a:ext uri="{FF2B5EF4-FFF2-40B4-BE49-F238E27FC236}">
                  <a16:creationId xmlns:a16="http://schemas.microsoft.com/office/drawing/2014/main" id="{EE4F80D6-58BF-41D5-872D-9F2E74DB8C63}"/>
                </a:ext>
              </a:extLst>
            </p:cNvPr>
            <p:cNvSpPr/>
            <p:nvPr/>
          </p:nvSpPr>
          <p:spPr>
            <a:xfrm>
              <a:off x="5506912" y="6038622"/>
              <a:ext cx="139475" cy="33774"/>
            </a:xfrm>
            <a:custGeom>
              <a:avLst/>
              <a:gdLst>
                <a:gd name="connsiteX0" fmla="*/ 121963 w 139475"/>
                <a:gd name="connsiteY0" fmla="*/ 33774 h 33774"/>
                <a:gd name="connsiteX1" fmla="*/ 16887 w 139475"/>
                <a:gd name="connsiteY1" fmla="*/ 33774 h 33774"/>
                <a:gd name="connsiteX2" fmla="*/ 0 w 139475"/>
                <a:gd name="connsiteY2" fmla="*/ 16887 h 33774"/>
                <a:gd name="connsiteX3" fmla="*/ 16887 w 139475"/>
                <a:gd name="connsiteY3" fmla="*/ 0 h 33774"/>
                <a:gd name="connsiteX4" fmla="*/ 122588 w 139475"/>
                <a:gd name="connsiteY4" fmla="*/ 0 h 33774"/>
                <a:gd name="connsiteX5" fmla="*/ 139475 w 139475"/>
                <a:gd name="connsiteY5" fmla="*/ 16887 h 33774"/>
                <a:gd name="connsiteX6" fmla="*/ 121963 w 139475"/>
                <a:gd name="connsiteY6" fmla="*/ 33774 h 33774"/>
                <a:gd name="connsiteX7" fmla="*/ 121963 w 139475"/>
                <a:gd name="connsiteY7" fmla="*/ 33774 h 33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9475" h="33774">
                  <a:moveTo>
                    <a:pt x="121963" y="33774"/>
                  </a:moveTo>
                  <a:lnTo>
                    <a:pt x="16887" y="33774"/>
                  </a:lnTo>
                  <a:cubicBezTo>
                    <a:pt x="7505" y="33774"/>
                    <a:pt x="0" y="26269"/>
                    <a:pt x="0" y="16887"/>
                  </a:cubicBezTo>
                  <a:cubicBezTo>
                    <a:pt x="0" y="7505"/>
                    <a:pt x="7505" y="0"/>
                    <a:pt x="16887" y="0"/>
                  </a:cubicBezTo>
                  <a:lnTo>
                    <a:pt x="122588" y="0"/>
                  </a:lnTo>
                  <a:cubicBezTo>
                    <a:pt x="131970" y="0"/>
                    <a:pt x="139475" y="7505"/>
                    <a:pt x="139475" y="16887"/>
                  </a:cubicBezTo>
                  <a:cubicBezTo>
                    <a:pt x="138850" y="26269"/>
                    <a:pt x="131344" y="33774"/>
                    <a:pt x="121963" y="33774"/>
                  </a:cubicBezTo>
                  <a:lnTo>
                    <a:pt x="121963" y="33774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94" name="Forma Livre: Forma 93">
              <a:extLst>
                <a:ext uri="{FF2B5EF4-FFF2-40B4-BE49-F238E27FC236}">
                  <a16:creationId xmlns:a16="http://schemas.microsoft.com/office/drawing/2014/main" id="{580EA119-5A1B-4D2C-B9F4-1AD497D324E4}"/>
                </a:ext>
              </a:extLst>
            </p:cNvPr>
            <p:cNvSpPr/>
            <p:nvPr/>
          </p:nvSpPr>
          <p:spPr>
            <a:xfrm>
              <a:off x="5462505" y="5825969"/>
              <a:ext cx="235794" cy="16261"/>
            </a:xfrm>
            <a:custGeom>
              <a:avLst/>
              <a:gdLst>
                <a:gd name="connsiteX0" fmla="*/ 227663 w 235794"/>
                <a:gd name="connsiteY0" fmla="*/ 16262 h 16261"/>
                <a:gd name="connsiteX1" fmla="*/ 8131 w 235794"/>
                <a:gd name="connsiteY1" fmla="*/ 16262 h 16261"/>
                <a:gd name="connsiteX2" fmla="*/ 0 w 235794"/>
                <a:gd name="connsiteY2" fmla="*/ 8131 h 16261"/>
                <a:gd name="connsiteX3" fmla="*/ 8131 w 235794"/>
                <a:gd name="connsiteY3" fmla="*/ 0 h 16261"/>
                <a:gd name="connsiteX4" fmla="*/ 227663 w 235794"/>
                <a:gd name="connsiteY4" fmla="*/ 0 h 16261"/>
                <a:gd name="connsiteX5" fmla="*/ 235794 w 235794"/>
                <a:gd name="connsiteY5" fmla="*/ 8131 h 16261"/>
                <a:gd name="connsiteX6" fmla="*/ 227663 w 235794"/>
                <a:gd name="connsiteY6" fmla="*/ 16262 h 16261"/>
                <a:gd name="connsiteX7" fmla="*/ 227663 w 235794"/>
                <a:gd name="connsiteY7" fmla="*/ 16262 h 16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5794" h="16261">
                  <a:moveTo>
                    <a:pt x="227663" y="16262"/>
                  </a:moveTo>
                  <a:lnTo>
                    <a:pt x="8131" y="16262"/>
                  </a:lnTo>
                  <a:cubicBezTo>
                    <a:pt x="3753" y="16262"/>
                    <a:pt x="0" y="12509"/>
                    <a:pt x="0" y="8131"/>
                  </a:cubicBezTo>
                  <a:cubicBezTo>
                    <a:pt x="0" y="3753"/>
                    <a:pt x="3753" y="0"/>
                    <a:pt x="8131" y="0"/>
                  </a:cubicBezTo>
                  <a:lnTo>
                    <a:pt x="227663" y="0"/>
                  </a:lnTo>
                  <a:cubicBezTo>
                    <a:pt x="232042" y="0"/>
                    <a:pt x="235794" y="3753"/>
                    <a:pt x="235794" y="8131"/>
                  </a:cubicBezTo>
                  <a:cubicBezTo>
                    <a:pt x="235794" y="12509"/>
                    <a:pt x="232042" y="16262"/>
                    <a:pt x="227663" y="16262"/>
                  </a:cubicBezTo>
                  <a:lnTo>
                    <a:pt x="227663" y="16262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95" name="Gráfico 2">
            <a:extLst>
              <a:ext uri="{FF2B5EF4-FFF2-40B4-BE49-F238E27FC236}">
                <a16:creationId xmlns:a16="http://schemas.microsoft.com/office/drawing/2014/main" id="{F1C09F0A-699D-4580-A022-472FC3E42989}"/>
              </a:ext>
            </a:extLst>
          </p:cNvPr>
          <p:cNvGrpSpPr/>
          <p:nvPr/>
        </p:nvGrpSpPr>
        <p:grpSpPr>
          <a:xfrm>
            <a:off x="5899459" y="4767858"/>
            <a:ext cx="423429" cy="325985"/>
            <a:chOff x="6398177" y="5713262"/>
            <a:chExt cx="423429" cy="325985"/>
          </a:xfrm>
          <a:solidFill>
            <a:schemeClr val="bg1"/>
          </a:solidFill>
        </p:grpSpPr>
        <p:grpSp>
          <p:nvGrpSpPr>
            <p:cNvPr id="96" name="Gráfico 2">
              <a:extLst>
                <a:ext uri="{FF2B5EF4-FFF2-40B4-BE49-F238E27FC236}">
                  <a16:creationId xmlns:a16="http://schemas.microsoft.com/office/drawing/2014/main" id="{5A5729DB-20A1-481D-BC13-C3DAEE6CBC89}"/>
                </a:ext>
              </a:extLst>
            </p:cNvPr>
            <p:cNvGrpSpPr/>
            <p:nvPr/>
          </p:nvGrpSpPr>
          <p:grpSpPr>
            <a:xfrm>
              <a:off x="6534614" y="5713262"/>
              <a:ext cx="114905" cy="97070"/>
              <a:chOff x="6534614" y="5713262"/>
              <a:chExt cx="114905" cy="97070"/>
            </a:xfrm>
            <a:grpFill/>
          </p:grpSpPr>
          <p:sp>
            <p:nvSpPr>
              <p:cNvPr id="101" name="Forma Livre: Forma 100">
                <a:extLst>
                  <a:ext uri="{FF2B5EF4-FFF2-40B4-BE49-F238E27FC236}">
                    <a16:creationId xmlns:a16="http://schemas.microsoft.com/office/drawing/2014/main" id="{52F77EC7-6B09-4A72-82BD-D5363260B5C8}"/>
                  </a:ext>
                </a:extLst>
              </p:cNvPr>
              <p:cNvSpPr/>
              <p:nvPr/>
            </p:nvSpPr>
            <p:spPr>
              <a:xfrm>
                <a:off x="6620301" y="5713262"/>
                <a:ext cx="29218" cy="97070"/>
              </a:xfrm>
              <a:custGeom>
                <a:avLst/>
                <a:gdLst>
                  <a:gd name="connsiteX0" fmla="*/ 14296 w 29218"/>
                  <a:gd name="connsiteY0" fmla="*/ 97071 h 97070"/>
                  <a:gd name="connsiteX1" fmla="*/ 9293 w 29218"/>
                  <a:gd name="connsiteY1" fmla="*/ 95194 h 97070"/>
                  <a:gd name="connsiteX2" fmla="*/ 8042 w 29218"/>
                  <a:gd name="connsiteY2" fmla="*/ 83311 h 97070"/>
                  <a:gd name="connsiteX3" fmla="*/ 6791 w 29218"/>
                  <a:gd name="connsiteY3" fmla="*/ 51413 h 97070"/>
                  <a:gd name="connsiteX4" fmla="*/ 8042 w 29218"/>
                  <a:gd name="connsiteY4" fmla="*/ 3253 h 97070"/>
                  <a:gd name="connsiteX5" fmla="*/ 19926 w 29218"/>
                  <a:gd name="connsiteY5" fmla="*/ 2002 h 97070"/>
                  <a:gd name="connsiteX6" fmla="*/ 21176 w 29218"/>
                  <a:gd name="connsiteY6" fmla="*/ 13886 h 97070"/>
                  <a:gd name="connsiteX7" fmla="*/ 22427 w 29218"/>
                  <a:gd name="connsiteY7" fmla="*/ 45784 h 97070"/>
                  <a:gd name="connsiteX8" fmla="*/ 21176 w 29218"/>
                  <a:gd name="connsiteY8" fmla="*/ 93943 h 97070"/>
                  <a:gd name="connsiteX9" fmla="*/ 14296 w 29218"/>
                  <a:gd name="connsiteY9" fmla="*/ 97071 h 97070"/>
                  <a:gd name="connsiteX10" fmla="*/ 14296 w 29218"/>
                  <a:gd name="connsiteY10" fmla="*/ 97071 h 97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218" h="97070">
                    <a:moveTo>
                      <a:pt x="14296" y="97071"/>
                    </a:moveTo>
                    <a:cubicBezTo>
                      <a:pt x="12420" y="97071"/>
                      <a:pt x="10544" y="96445"/>
                      <a:pt x="9293" y="95194"/>
                    </a:cubicBezTo>
                    <a:cubicBezTo>
                      <a:pt x="5540" y="92067"/>
                      <a:pt x="4915" y="87064"/>
                      <a:pt x="8042" y="83311"/>
                    </a:cubicBezTo>
                    <a:cubicBezTo>
                      <a:pt x="15547" y="73929"/>
                      <a:pt x="12420" y="65173"/>
                      <a:pt x="6791" y="51413"/>
                    </a:cubicBezTo>
                    <a:cubicBezTo>
                      <a:pt x="1162" y="37653"/>
                      <a:pt x="-5718" y="20140"/>
                      <a:pt x="8042" y="3253"/>
                    </a:cubicBezTo>
                    <a:cubicBezTo>
                      <a:pt x="11169" y="-499"/>
                      <a:pt x="16173" y="-1125"/>
                      <a:pt x="19926" y="2002"/>
                    </a:cubicBezTo>
                    <a:cubicBezTo>
                      <a:pt x="23678" y="5129"/>
                      <a:pt x="24304" y="10133"/>
                      <a:pt x="21176" y="13886"/>
                    </a:cubicBezTo>
                    <a:cubicBezTo>
                      <a:pt x="13671" y="23268"/>
                      <a:pt x="16798" y="32024"/>
                      <a:pt x="22427" y="45784"/>
                    </a:cubicBezTo>
                    <a:cubicBezTo>
                      <a:pt x="28056" y="59544"/>
                      <a:pt x="34936" y="77056"/>
                      <a:pt x="21176" y="93943"/>
                    </a:cubicBezTo>
                    <a:cubicBezTo>
                      <a:pt x="19300" y="96445"/>
                      <a:pt x="16798" y="97071"/>
                      <a:pt x="14296" y="97071"/>
                    </a:cubicBezTo>
                    <a:lnTo>
                      <a:pt x="14296" y="97071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02" name="Forma Livre: Forma 101">
                <a:extLst>
                  <a:ext uri="{FF2B5EF4-FFF2-40B4-BE49-F238E27FC236}">
                    <a16:creationId xmlns:a16="http://schemas.microsoft.com/office/drawing/2014/main" id="{CB283664-6401-4A5C-928B-C08EA5FAB1B7}"/>
                  </a:ext>
                </a:extLst>
              </p:cNvPr>
              <p:cNvSpPr/>
              <p:nvPr/>
            </p:nvSpPr>
            <p:spPr>
              <a:xfrm>
                <a:off x="6577770" y="5713262"/>
                <a:ext cx="29218" cy="97070"/>
              </a:xfrm>
              <a:custGeom>
                <a:avLst/>
                <a:gdLst>
                  <a:gd name="connsiteX0" fmla="*/ 14297 w 29218"/>
                  <a:gd name="connsiteY0" fmla="*/ 97071 h 97070"/>
                  <a:gd name="connsiteX1" fmla="*/ 9293 w 29218"/>
                  <a:gd name="connsiteY1" fmla="*/ 95194 h 97070"/>
                  <a:gd name="connsiteX2" fmla="*/ 8042 w 29218"/>
                  <a:gd name="connsiteY2" fmla="*/ 83311 h 97070"/>
                  <a:gd name="connsiteX3" fmla="*/ 6791 w 29218"/>
                  <a:gd name="connsiteY3" fmla="*/ 51413 h 97070"/>
                  <a:gd name="connsiteX4" fmla="*/ 8042 w 29218"/>
                  <a:gd name="connsiteY4" fmla="*/ 3253 h 97070"/>
                  <a:gd name="connsiteX5" fmla="*/ 19926 w 29218"/>
                  <a:gd name="connsiteY5" fmla="*/ 2002 h 97070"/>
                  <a:gd name="connsiteX6" fmla="*/ 21177 w 29218"/>
                  <a:gd name="connsiteY6" fmla="*/ 13886 h 97070"/>
                  <a:gd name="connsiteX7" fmla="*/ 22427 w 29218"/>
                  <a:gd name="connsiteY7" fmla="*/ 45784 h 97070"/>
                  <a:gd name="connsiteX8" fmla="*/ 21177 w 29218"/>
                  <a:gd name="connsiteY8" fmla="*/ 93943 h 97070"/>
                  <a:gd name="connsiteX9" fmla="*/ 14297 w 29218"/>
                  <a:gd name="connsiteY9" fmla="*/ 97071 h 97070"/>
                  <a:gd name="connsiteX10" fmla="*/ 14297 w 29218"/>
                  <a:gd name="connsiteY10" fmla="*/ 97071 h 97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218" h="97070">
                    <a:moveTo>
                      <a:pt x="14297" y="97071"/>
                    </a:moveTo>
                    <a:cubicBezTo>
                      <a:pt x="12420" y="97071"/>
                      <a:pt x="10544" y="96445"/>
                      <a:pt x="9293" y="95194"/>
                    </a:cubicBezTo>
                    <a:cubicBezTo>
                      <a:pt x="5540" y="92067"/>
                      <a:pt x="4915" y="87064"/>
                      <a:pt x="8042" y="83311"/>
                    </a:cubicBezTo>
                    <a:cubicBezTo>
                      <a:pt x="15547" y="73929"/>
                      <a:pt x="12420" y="65173"/>
                      <a:pt x="6791" y="51413"/>
                    </a:cubicBezTo>
                    <a:cubicBezTo>
                      <a:pt x="1162" y="37653"/>
                      <a:pt x="-5718" y="20140"/>
                      <a:pt x="8042" y="3253"/>
                    </a:cubicBezTo>
                    <a:cubicBezTo>
                      <a:pt x="11169" y="-499"/>
                      <a:pt x="16173" y="-1125"/>
                      <a:pt x="19926" y="2002"/>
                    </a:cubicBezTo>
                    <a:cubicBezTo>
                      <a:pt x="23678" y="5129"/>
                      <a:pt x="24304" y="10133"/>
                      <a:pt x="21177" y="13886"/>
                    </a:cubicBezTo>
                    <a:cubicBezTo>
                      <a:pt x="13671" y="23268"/>
                      <a:pt x="16798" y="32024"/>
                      <a:pt x="22427" y="45784"/>
                    </a:cubicBezTo>
                    <a:cubicBezTo>
                      <a:pt x="28056" y="59544"/>
                      <a:pt x="34936" y="77056"/>
                      <a:pt x="21177" y="93943"/>
                    </a:cubicBezTo>
                    <a:cubicBezTo>
                      <a:pt x="19300" y="96445"/>
                      <a:pt x="16798" y="97071"/>
                      <a:pt x="14297" y="97071"/>
                    </a:cubicBezTo>
                    <a:lnTo>
                      <a:pt x="14297" y="97071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03" name="Forma Livre: Forma 102">
                <a:extLst>
                  <a:ext uri="{FF2B5EF4-FFF2-40B4-BE49-F238E27FC236}">
                    <a16:creationId xmlns:a16="http://schemas.microsoft.com/office/drawing/2014/main" id="{89F7AC66-761E-493E-AAFB-A051F65339EB}"/>
                  </a:ext>
                </a:extLst>
              </p:cNvPr>
              <p:cNvSpPr/>
              <p:nvPr/>
            </p:nvSpPr>
            <p:spPr>
              <a:xfrm>
                <a:off x="6534614" y="5713262"/>
                <a:ext cx="29218" cy="97070"/>
              </a:xfrm>
              <a:custGeom>
                <a:avLst/>
                <a:gdLst>
                  <a:gd name="connsiteX0" fmla="*/ 14297 w 29218"/>
                  <a:gd name="connsiteY0" fmla="*/ 97071 h 97070"/>
                  <a:gd name="connsiteX1" fmla="*/ 9293 w 29218"/>
                  <a:gd name="connsiteY1" fmla="*/ 95194 h 97070"/>
                  <a:gd name="connsiteX2" fmla="*/ 8042 w 29218"/>
                  <a:gd name="connsiteY2" fmla="*/ 83311 h 97070"/>
                  <a:gd name="connsiteX3" fmla="*/ 6791 w 29218"/>
                  <a:gd name="connsiteY3" fmla="*/ 51413 h 97070"/>
                  <a:gd name="connsiteX4" fmla="*/ 8042 w 29218"/>
                  <a:gd name="connsiteY4" fmla="*/ 3253 h 97070"/>
                  <a:gd name="connsiteX5" fmla="*/ 19925 w 29218"/>
                  <a:gd name="connsiteY5" fmla="*/ 2002 h 97070"/>
                  <a:gd name="connsiteX6" fmla="*/ 21176 w 29218"/>
                  <a:gd name="connsiteY6" fmla="*/ 13886 h 97070"/>
                  <a:gd name="connsiteX7" fmla="*/ 22427 w 29218"/>
                  <a:gd name="connsiteY7" fmla="*/ 45784 h 97070"/>
                  <a:gd name="connsiteX8" fmla="*/ 21176 w 29218"/>
                  <a:gd name="connsiteY8" fmla="*/ 93943 h 97070"/>
                  <a:gd name="connsiteX9" fmla="*/ 14297 w 29218"/>
                  <a:gd name="connsiteY9" fmla="*/ 97071 h 97070"/>
                  <a:gd name="connsiteX10" fmla="*/ 14297 w 29218"/>
                  <a:gd name="connsiteY10" fmla="*/ 97071 h 97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218" h="97070">
                    <a:moveTo>
                      <a:pt x="14297" y="97071"/>
                    </a:moveTo>
                    <a:cubicBezTo>
                      <a:pt x="12420" y="97071"/>
                      <a:pt x="10544" y="96445"/>
                      <a:pt x="9293" y="95194"/>
                    </a:cubicBezTo>
                    <a:cubicBezTo>
                      <a:pt x="5540" y="92067"/>
                      <a:pt x="4915" y="87064"/>
                      <a:pt x="8042" y="83311"/>
                    </a:cubicBezTo>
                    <a:cubicBezTo>
                      <a:pt x="15547" y="73929"/>
                      <a:pt x="12420" y="65173"/>
                      <a:pt x="6791" y="51413"/>
                    </a:cubicBezTo>
                    <a:cubicBezTo>
                      <a:pt x="1162" y="37653"/>
                      <a:pt x="-5718" y="20140"/>
                      <a:pt x="8042" y="3253"/>
                    </a:cubicBezTo>
                    <a:cubicBezTo>
                      <a:pt x="11169" y="-499"/>
                      <a:pt x="16173" y="-1125"/>
                      <a:pt x="19925" y="2002"/>
                    </a:cubicBezTo>
                    <a:cubicBezTo>
                      <a:pt x="23678" y="5129"/>
                      <a:pt x="24304" y="10133"/>
                      <a:pt x="21176" y="13886"/>
                    </a:cubicBezTo>
                    <a:cubicBezTo>
                      <a:pt x="13671" y="23268"/>
                      <a:pt x="16798" y="32024"/>
                      <a:pt x="22427" y="45784"/>
                    </a:cubicBezTo>
                    <a:cubicBezTo>
                      <a:pt x="28056" y="59544"/>
                      <a:pt x="34936" y="77056"/>
                      <a:pt x="21176" y="93943"/>
                    </a:cubicBezTo>
                    <a:cubicBezTo>
                      <a:pt x="19300" y="96445"/>
                      <a:pt x="16798" y="97071"/>
                      <a:pt x="14297" y="97071"/>
                    </a:cubicBezTo>
                    <a:lnTo>
                      <a:pt x="14297" y="97071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97" name="Gráfico 2">
              <a:extLst>
                <a:ext uri="{FF2B5EF4-FFF2-40B4-BE49-F238E27FC236}">
                  <a16:creationId xmlns:a16="http://schemas.microsoft.com/office/drawing/2014/main" id="{C8663070-CB32-4B08-B90F-2660243FD6C2}"/>
                </a:ext>
              </a:extLst>
            </p:cNvPr>
            <p:cNvGrpSpPr/>
            <p:nvPr/>
          </p:nvGrpSpPr>
          <p:grpSpPr>
            <a:xfrm>
              <a:off x="6406308" y="5839729"/>
              <a:ext cx="415298" cy="193263"/>
              <a:chOff x="6406308" y="5839729"/>
              <a:chExt cx="415298" cy="193263"/>
            </a:xfrm>
            <a:grpFill/>
          </p:grpSpPr>
          <p:sp>
            <p:nvSpPr>
              <p:cNvPr id="99" name="Forma Livre: Forma 98">
                <a:extLst>
                  <a:ext uri="{FF2B5EF4-FFF2-40B4-BE49-F238E27FC236}">
                    <a16:creationId xmlns:a16="http://schemas.microsoft.com/office/drawing/2014/main" id="{925E87C3-72C1-4516-9CE0-309531C13E8D}"/>
                  </a:ext>
                </a:extLst>
              </p:cNvPr>
              <p:cNvSpPr/>
              <p:nvPr/>
            </p:nvSpPr>
            <p:spPr>
              <a:xfrm>
                <a:off x="6406308" y="5839729"/>
                <a:ext cx="353378" cy="193263"/>
              </a:xfrm>
              <a:custGeom>
                <a:avLst/>
                <a:gdLst>
                  <a:gd name="connsiteX0" fmla="*/ 176377 w 353378"/>
                  <a:gd name="connsiteY0" fmla="*/ 193264 h 193263"/>
                  <a:gd name="connsiteX1" fmla="*/ 0 w 353378"/>
                  <a:gd name="connsiteY1" fmla="*/ 16887 h 193263"/>
                  <a:gd name="connsiteX2" fmla="*/ 16887 w 353378"/>
                  <a:gd name="connsiteY2" fmla="*/ 0 h 193263"/>
                  <a:gd name="connsiteX3" fmla="*/ 336492 w 353378"/>
                  <a:gd name="connsiteY3" fmla="*/ 0 h 193263"/>
                  <a:gd name="connsiteX4" fmla="*/ 353379 w 353378"/>
                  <a:gd name="connsiteY4" fmla="*/ 16887 h 193263"/>
                  <a:gd name="connsiteX5" fmla="*/ 176377 w 353378"/>
                  <a:gd name="connsiteY5" fmla="*/ 193264 h 193263"/>
                  <a:gd name="connsiteX6" fmla="*/ 176377 w 353378"/>
                  <a:gd name="connsiteY6" fmla="*/ 193264 h 193263"/>
                  <a:gd name="connsiteX7" fmla="*/ 34400 w 353378"/>
                  <a:gd name="connsiteY7" fmla="*/ 33149 h 193263"/>
                  <a:gd name="connsiteX8" fmla="*/ 176377 w 353378"/>
                  <a:gd name="connsiteY8" fmla="*/ 159490 h 193263"/>
                  <a:gd name="connsiteX9" fmla="*/ 318354 w 353378"/>
                  <a:gd name="connsiteY9" fmla="*/ 33149 h 193263"/>
                  <a:gd name="connsiteX10" fmla="*/ 34400 w 353378"/>
                  <a:gd name="connsiteY10" fmla="*/ 33149 h 193263"/>
                  <a:gd name="connsiteX11" fmla="*/ 34400 w 353378"/>
                  <a:gd name="connsiteY11" fmla="*/ 33149 h 193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53378" h="193263">
                    <a:moveTo>
                      <a:pt x="176377" y="193264"/>
                    </a:moveTo>
                    <a:cubicBezTo>
                      <a:pt x="79432" y="193264"/>
                      <a:pt x="0" y="114457"/>
                      <a:pt x="0" y="16887"/>
                    </a:cubicBezTo>
                    <a:cubicBezTo>
                      <a:pt x="0" y="7505"/>
                      <a:pt x="7505" y="0"/>
                      <a:pt x="16887" y="0"/>
                    </a:cubicBezTo>
                    <a:lnTo>
                      <a:pt x="336492" y="0"/>
                    </a:lnTo>
                    <a:cubicBezTo>
                      <a:pt x="345874" y="0"/>
                      <a:pt x="353379" y="7505"/>
                      <a:pt x="353379" y="16887"/>
                    </a:cubicBezTo>
                    <a:cubicBezTo>
                      <a:pt x="352754" y="113832"/>
                      <a:pt x="273321" y="193264"/>
                      <a:pt x="176377" y="193264"/>
                    </a:cubicBezTo>
                    <a:lnTo>
                      <a:pt x="176377" y="193264"/>
                    </a:lnTo>
                    <a:close/>
                    <a:moveTo>
                      <a:pt x="34400" y="33149"/>
                    </a:moveTo>
                    <a:cubicBezTo>
                      <a:pt x="42531" y="104450"/>
                      <a:pt x="103199" y="159490"/>
                      <a:pt x="176377" y="159490"/>
                    </a:cubicBezTo>
                    <a:cubicBezTo>
                      <a:pt x="249554" y="159490"/>
                      <a:pt x="310223" y="104450"/>
                      <a:pt x="318354" y="33149"/>
                    </a:cubicBezTo>
                    <a:lnTo>
                      <a:pt x="34400" y="33149"/>
                    </a:lnTo>
                    <a:lnTo>
                      <a:pt x="34400" y="33149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00" name="Forma Livre: Forma 99">
                <a:extLst>
                  <a:ext uri="{FF2B5EF4-FFF2-40B4-BE49-F238E27FC236}">
                    <a16:creationId xmlns:a16="http://schemas.microsoft.com/office/drawing/2014/main" id="{2180A73C-84D6-4762-8618-FCF740CBFF0B}"/>
                  </a:ext>
                </a:extLst>
              </p:cNvPr>
              <p:cNvSpPr/>
              <p:nvPr/>
            </p:nvSpPr>
            <p:spPr>
              <a:xfrm>
                <a:off x="6719033" y="5874129"/>
                <a:ext cx="102573" cy="102573"/>
              </a:xfrm>
              <a:custGeom>
                <a:avLst/>
                <a:gdLst>
                  <a:gd name="connsiteX0" fmla="*/ 51287 w 102573"/>
                  <a:gd name="connsiteY0" fmla="*/ 102574 h 102573"/>
                  <a:gd name="connsiteX1" fmla="*/ 0 w 102573"/>
                  <a:gd name="connsiteY1" fmla="*/ 51287 h 102573"/>
                  <a:gd name="connsiteX2" fmla="*/ 51287 w 102573"/>
                  <a:gd name="connsiteY2" fmla="*/ 0 h 102573"/>
                  <a:gd name="connsiteX3" fmla="*/ 102574 w 102573"/>
                  <a:gd name="connsiteY3" fmla="*/ 51287 h 102573"/>
                  <a:gd name="connsiteX4" fmla="*/ 51287 w 102573"/>
                  <a:gd name="connsiteY4" fmla="*/ 102574 h 102573"/>
                  <a:gd name="connsiteX5" fmla="*/ 51287 w 102573"/>
                  <a:gd name="connsiteY5" fmla="*/ 102574 h 102573"/>
                  <a:gd name="connsiteX6" fmla="*/ 51287 w 102573"/>
                  <a:gd name="connsiteY6" fmla="*/ 33774 h 102573"/>
                  <a:gd name="connsiteX7" fmla="*/ 33774 w 102573"/>
                  <a:gd name="connsiteY7" fmla="*/ 51287 h 102573"/>
                  <a:gd name="connsiteX8" fmla="*/ 51287 w 102573"/>
                  <a:gd name="connsiteY8" fmla="*/ 68799 h 102573"/>
                  <a:gd name="connsiteX9" fmla="*/ 68799 w 102573"/>
                  <a:gd name="connsiteY9" fmla="*/ 51287 h 102573"/>
                  <a:gd name="connsiteX10" fmla="*/ 51287 w 102573"/>
                  <a:gd name="connsiteY10" fmla="*/ 33774 h 102573"/>
                  <a:gd name="connsiteX11" fmla="*/ 51287 w 102573"/>
                  <a:gd name="connsiteY11" fmla="*/ 33774 h 102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2573" h="102573">
                    <a:moveTo>
                      <a:pt x="51287" y="102574"/>
                    </a:moveTo>
                    <a:cubicBezTo>
                      <a:pt x="23142" y="102574"/>
                      <a:pt x="0" y="79432"/>
                      <a:pt x="0" y="51287"/>
                    </a:cubicBezTo>
                    <a:cubicBezTo>
                      <a:pt x="0" y="23142"/>
                      <a:pt x="23142" y="0"/>
                      <a:pt x="51287" y="0"/>
                    </a:cubicBezTo>
                    <a:cubicBezTo>
                      <a:pt x="79432" y="0"/>
                      <a:pt x="102574" y="23142"/>
                      <a:pt x="102574" y="51287"/>
                    </a:cubicBezTo>
                    <a:cubicBezTo>
                      <a:pt x="102574" y="79432"/>
                      <a:pt x="79432" y="102574"/>
                      <a:pt x="51287" y="102574"/>
                    </a:cubicBezTo>
                    <a:lnTo>
                      <a:pt x="51287" y="102574"/>
                    </a:lnTo>
                    <a:close/>
                    <a:moveTo>
                      <a:pt x="51287" y="33774"/>
                    </a:moveTo>
                    <a:cubicBezTo>
                      <a:pt x="41280" y="33774"/>
                      <a:pt x="33774" y="41905"/>
                      <a:pt x="33774" y="51287"/>
                    </a:cubicBezTo>
                    <a:cubicBezTo>
                      <a:pt x="33774" y="61294"/>
                      <a:pt x="41905" y="68799"/>
                      <a:pt x="51287" y="68799"/>
                    </a:cubicBezTo>
                    <a:cubicBezTo>
                      <a:pt x="61294" y="68799"/>
                      <a:pt x="68799" y="60669"/>
                      <a:pt x="68799" y="51287"/>
                    </a:cubicBezTo>
                    <a:cubicBezTo>
                      <a:pt x="68799" y="41905"/>
                      <a:pt x="61294" y="33774"/>
                      <a:pt x="51287" y="33774"/>
                    </a:cubicBezTo>
                    <a:lnTo>
                      <a:pt x="51287" y="33774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98" name="Forma Livre: Forma 97">
              <a:extLst>
                <a:ext uri="{FF2B5EF4-FFF2-40B4-BE49-F238E27FC236}">
                  <a16:creationId xmlns:a16="http://schemas.microsoft.com/office/drawing/2014/main" id="{6A7ADC11-33A9-43E9-9A47-61C090388E19}"/>
                </a:ext>
              </a:extLst>
            </p:cNvPr>
            <p:cNvSpPr/>
            <p:nvPr/>
          </p:nvSpPr>
          <p:spPr>
            <a:xfrm>
              <a:off x="6398177" y="6005473"/>
              <a:ext cx="394033" cy="33774"/>
            </a:xfrm>
            <a:custGeom>
              <a:avLst/>
              <a:gdLst>
                <a:gd name="connsiteX0" fmla="*/ 377146 w 394033"/>
                <a:gd name="connsiteY0" fmla="*/ 33774 h 33774"/>
                <a:gd name="connsiteX1" fmla="*/ 16887 w 394033"/>
                <a:gd name="connsiteY1" fmla="*/ 33774 h 33774"/>
                <a:gd name="connsiteX2" fmla="*/ 0 w 394033"/>
                <a:gd name="connsiteY2" fmla="*/ 16887 h 33774"/>
                <a:gd name="connsiteX3" fmla="*/ 16887 w 394033"/>
                <a:gd name="connsiteY3" fmla="*/ 0 h 33774"/>
                <a:gd name="connsiteX4" fmla="*/ 377146 w 394033"/>
                <a:gd name="connsiteY4" fmla="*/ 0 h 33774"/>
                <a:gd name="connsiteX5" fmla="*/ 394033 w 394033"/>
                <a:gd name="connsiteY5" fmla="*/ 16887 h 33774"/>
                <a:gd name="connsiteX6" fmla="*/ 377146 w 394033"/>
                <a:gd name="connsiteY6" fmla="*/ 33774 h 33774"/>
                <a:gd name="connsiteX7" fmla="*/ 377146 w 394033"/>
                <a:gd name="connsiteY7" fmla="*/ 33774 h 33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4033" h="33774">
                  <a:moveTo>
                    <a:pt x="377146" y="33774"/>
                  </a:moveTo>
                  <a:lnTo>
                    <a:pt x="16887" y="33774"/>
                  </a:lnTo>
                  <a:cubicBezTo>
                    <a:pt x="7505" y="33774"/>
                    <a:pt x="0" y="26269"/>
                    <a:pt x="0" y="16887"/>
                  </a:cubicBezTo>
                  <a:cubicBezTo>
                    <a:pt x="0" y="7505"/>
                    <a:pt x="7505" y="0"/>
                    <a:pt x="16887" y="0"/>
                  </a:cubicBezTo>
                  <a:lnTo>
                    <a:pt x="377146" y="0"/>
                  </a:lnTo>
                  <a:cubicBezTo>
                    <a:pt x="386528" y="0"/>
                    <a:pt x="394033" y="7505"/>
                    <a:pt x="394033" y="16887"/>
                  </a:cubicBezTo>
                  <a:cubicBezTo>
                    <a:pt x="393408" y="26269"/>
                    <a:pt x="385902" y="33774"/>
                    <a:pt x="377146" y="33774"/>
                  </a:cubicBezTo>
                  <a:lnTo>
                    <a:pt x="377146" y="33774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04" name="Gráfico 2">
            <a:extLst>
              <a:ext uri="{FF2B5EF4-FFF2-40B4-BE49-F238E27FC236}">
                <a16:creationId xmlns:a16="http://schemas.microsoft.com/office/drawing/2014/main" id="{151A83C2-9934-4532-A27F-F01C8D6F4675}"/>
              </a:ext>
            </a:extLst>
          </p:cNvPr>
          <p:cNvGrpSpPr/>
          <p:nvPr/>
        </p:nvGrpSpPr>
        <p:grpSpPr>
          <a:xfrm>
            <a:off x="4771845" y="2600559"/>
            <a:ext cx="381063" cy="408418"/>
            <a:chOff x="3357841" y="5667730"/>
            <a:chExt cx="381063" cy="408418"/>
          </a:xfrm>
          <a:solidFill>
            <a:schemeClr val="bg1"/>
          </a:solidFill>
        </p:grpSpPr>
        <p:sp>
          <p:nvSpPr>
            <p:cNvPr id="105" name="Forma Livre: Forma 104">
              <a:extLst>
                <a:ext uri="{FF2B5EF4-FFF2-40B4-BE49-F238E27FC236}">
                  <a16:creationId xmlns:a16="http://schemas.microsoft.com/office/drawing/2014/main" id="{559BC321-D332-4BC9-87E4-8BDC66CC8F6F}"/>
                </a:ext>
              </a:extLst>
            </p:cNvPr>
            <p:cNvSpPr/>
            <p:nvPr/>
          </p:nvSpPr>
          <p:spPr>
            <a:xfrm>
              <a:off x="3357841" y="5867874"/>
              <a:ext cx="178288" cy="208274"/>
            </a:xfrm>
            <a:custGeom>
              <a:avLst/>
              <a:gdLst>
                <a:gd name="connsiteX0" fmla="*/ 88842 w 178288"/>
                <a:gd name="connsiteY0" fmla="*/ 208275 h 208274"/>
                <a:gd name="connsiteX1" fmla="*/ 88842 w 178288"/>
                <a:gd name="connsiteY1" fmla="*/ 208275 h 208274"/>
                <a:gd name="connsiteX2" fmla="*/ 28 w 178288"/>
                <a:gd name="connsiteY2" fmla="*/ 88814 h 208274"/>
                <a:gd name="connsiteX3" fmla="*/ 88216 w 178288"/>
                <a:gd name="connsiteY3" fmla="*/ 0 h 208274"/>
                <a:gd name="connsiteX4" fmla="*/ 90093 w 178288"/>
                <a:gd name="connsiteY4" fmla="*/ 0 h 208274"/>
                <a:gd name="connsiteX5" fmla="*/ 178281 w 178288"/>
                <a:gd name="connsiteY5" fmla="*/ 89439 h 208274"/>
                <a:gd name="connsiteX6" fmla="*/ 88842 w 178288"/>
                <a:gd name="connsiteY6" fmla="*/ 208275 h 208274"/>
                <a:gd name="connsiteX7" fmla="*/ 88842 w 178288"/>
                <a:gd name="connsiteY7" fmla="*/ 208275 h 208274"/>
                <a:gd name="connsiteX8" fmla="*/ 88842 w 178288"/>
                <a:gd name="connsiteY8" fmla="*/ 208275 h 208274"/>
                <a:gd name="connsiteX9" fmla="*/ 88842 w 178288"/>
                <a:gd name="connsiteY9" fmla="*/ 33149 h 208274"/>
                <a:gd name="connsiteX10" fmla="*/ 33177 w 178288"/>
                <a:gd name="connsiteY10" fmla="*/ 88188 h 208274"/>
                <a:gd name="connsiteX11" fmla="*/ 88842 w 178288"/>
                <a:gd name="connsiteY11" fmla="*/ 174501 h 208274"/>
                <a:gd name="connsiteX12" fmla="*/ 144507 w 178288"/>
                <a:gd name="connsiteY12" fmla="*/ 88188 h 208274"/>
                <a:gd name="connsiteX13" fmla="*/ 88842 w 178288"/>
                <a:gd name="connsiteY13" fmla="*/ 33149 h 208274"/>
                <a:gd name="connsiteX14" fmla="*/ 88842 w 178288"/>
                <a:gd name="connsiteY14" fmla="*/ 33149 h 208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8288" h="208274">
                  <a:moveTo>
                    <a:pt x="88842" y="208275"/>
                  </a:moveTo>
                  <a:cubicBezTo>
                    <a:pt x="88216" y="208275"/>
                    <a:pt x="88216" y="208275"/>
                    <a:pt x="88842" y="208275"/>
                  </a:cubicBezTo>
                  <a:cubicBezTo>
                    <a:pt x="30050" y="206398"/>
                    <a:pt x="28" y="129468"/>
                    <a:pt x="28" y="88814"/>
                  </a:cubicBezTo>
                  <a:cubicBezTo>
                    <a:pt x="-1223" y="43156"/>
                    <a:pt x="39431" y="2502"/>
                    <a:pt x="88216" y="0"/>
                  </a:cubicBezTo>
                  <a:cubicBezTo>
                    <a:pt x="88842" y="0"/>
                    <a:pt x="89467" y="0"/>
                    <a:pt x="90093" y="0"/>
                  </a:cubicBezTo>
                  <a:cubicBezTo>
                    <a:pt x="138878" y="2502"/>
                    <a:pt x="178906" y="43156"/>
                    <a:pt x="178281" y="89439"/>
                  </a:cubicBezTo>
                  <a:cubicBezTo>
                    <a:pt x="177656" y="129468"/>
                    <a:pt x="147009" y="206398"/>
                    <a:pt x="88842" y="208275"/>
                  </a:cubicBezTo>
                  <a:cubicBezTo>
                    <a:pt x="88842" y="208275"/>
                    <a:pt x="88842" y="208275"/>
                    <a:pt x="88842" y="208275"/>
                  </a:cubicBezTo>
                  <a:lnTo>
                    <a:pt x="88842" y="208275"/>
                  </a:lnTo>
                  <a:close/>
                  <a:moveTo>
                    <a:pt x="88842" y="33149"/>
                  </a:moveTo>
                  <a:cubicBezTo>
                    <a:pt x="58820" y="35025"/>
                    <a:pt x="32551" y="60669"/>
                    <a:pt x="33177" y="88188"/>
                  </a:cubicBezTo>
                  <a:cubicBezTo>
                    <a:pt x="33177" y="118210"/>
                    <a:pt x="55693" y="173250"/>
                    <a:pt x="88842" y="174501"/>
                  </a:cubicBezTo>
                  <a:cubicBezTo>
                    <a:pt x="121365" y="172624"/>
                    <a:pt x="144507" y="117584"/>
                    <a:pt x="144507" y="88188"/>
                  </a:cubicBezTo>
                  <a:cubicBezTo>
                    <a:pt x="144507" y="60669"/>
                    <a:pt x="118863" y="35651"/>
                    <a:pt x="88842" y="33149"/>
                  </a:cubicBezTo>
                  <a:lnTo>
                    <a:pt x="88842" y="33149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06" name="Forma Livre: Forma 105">
              <a:extLst>
                <a:ext uri="{FF2B5EF4-FFF2-40B4-BE49-F238E27FC236}">
                  <a16:creationId xmlns:a16="http://schemas.microsoft.com/office/drawing/2014/main" id="{9EA158ED-1FED-46A6-A1AD-7EC6967018D6}"/>
                </a:ext>
              </a:extLst>
            </p:cNvPr>
            <p:cNvSpPr/>
            <p:nvPr/>
          </p:nvSpPr>
          <p:spPr>
            <a:xfrm>
              <a:off x="3399715" y="5667730"/>
              <a:ext cx="94501" cy="230827"/>
            </a:xfrm>
            <a:custGeom>
              <a:avLst/>
              <a:gdLst>
                <a:gd name="connsiteX0" fmla="*/ 71986 w 94501"/>
                <a:gd name="connsiteY0" fmla="*/ 230791 h 230827"/>
                <a:gd name="connsiteX1" fmla="*/ 71986 w 94501"/>
                <a:gd name="connsiteY1" fmla="*/ 230791 h 230827"/>
                <a:gd name="connsiteX2" fmla="*/ 55099 w 94501"/>
                <a:gd name="connsiteY2" fmla="*/ 213904 h 230827"/>
                <a:gd name="connsiteX3" fmla="*/ 60728 w 94501"/>
                <a:gd name="connsiteY3" fmla="*/ 41905 h 230827"/>
                <a:gd name="connsiteX4" fmla="*/ 58851 w 94501"/>
                <a:gd name="connsiteY4" fmla="*/ 38152 h 230827"/>
                <a:gd name="connsiteX5" fmla="*/ 46968 w 94501"/>
                <a:gd name="connsiteY5" fmla="*/ 33774 h 230827"/>
                <a:gd name="connsiteX6" fmla="*/ 46968 w 94501"/>
                <a:gd name="connsiteY6" fmla="*/ 33774 h 230827"/>
                <a:gd name="connsiteX7" fmla="*/ 35084 w 94501"/>
                <a:gd name="connsiteY7" fmla="*/ 38152 h 230827"/>
                <a:gd name="connsiteX8" fmla="*/ 33208 w 94501"/>
                <a:gd name="connsiteY8" fmla="*/ 41905 h 230827"/>
                <a:gd name="connsiteX9" fmla="*/ 38837 w 94501"/>
                <a:gd name="connsiteY9" fmla="*/ 213904 h 230827"/>
                <a:gd name="connsiteX10" fmla="*/ 22575 w 94501"/>
                <a:gd name="connsiteY10" fmla="*/ 230791 h 230827"/>
                <a:gd name="connsiteX11" fmla="*/ 5688 w 94501"/>
                <a:gd name="connsiteY11" fmla="*/ 214529 h 230827"/>
                <a:gd name="connsiteX12" fmla="*/ 59 w 94501"/>
                <a:gd name="connsiteY12" fmla="*/ 42530 h 230827"/>
                <a:gd name="connsiteX13" fmla="*/ 11317 w 94501"/>
                <a:gd name="connsiteY13" fmla="*/ 14385 h 230827"/>
                <a:gd name="connsiteX14" fmla="*/ 47593 w 94501"/>
                <a:gd name="connsiteY14" fmla="*/ 0 h 230827"/>
                <a:gd name="connsiteX15" fmla="*/ 47593 w 94501"/>
                <a:gd name="connsiteY15" fmla="*/ 0 h 230827"/>
                <a:gd name="connsiteX16" fmla="*/ 83244 w 94501"/>
                <a:gd name="connsiteY16" fmla="*/ 14385 h 230827"/>
                <a:gd name="connsiteX17" fmla="*/ 94502 w 94501"/>
                <a:gd name="connsiteY17" fmla="*/ 42530 h 230827"/>
                <a:gd name="connsiteX18" fmla="*/ 88873 w 94501"/>
                <a:gd name="connsiteY18" fmla="*/ 214529 h 230827"/>
                <a:gd name="connsiteX19" fmla="*/ 71986 w 94501"/>
                <a:gd name="connsiteY19" fmla="*/ 230791 h 230827"/>
                <a:gd name="connsiteX20" fmla="*/ 71986 w 94501"/>
                <a:gd name="connsiteY20" fmla="*/ 230791 h 230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4501" h="230827">
                  <a:moveTo>
                    <a:pt x="71986" y="230791"/>
                  </a:moveTo>
                  <a:cubicBezTo>
                    <a:pt x="71360" y="230791"/>
                    <a:pt x="71360" y="230791"/>
                    <a:pt x="71986" y="230791"/>
                  </a:cubicBezTo>
                  <a:cubicBezTo>
                    <a:pt x="61979" y="230791"/>
                    <a:pt x="55099" y="222660"/>
                    <a:pt x="55099" y="213904"/>
                  </a:cubicBezTo>
                  <a:lnTo>
                    <a:pt x="60728" y="41905"/>
                  </a:lnTo>
                  <a:cubicBezTo>
                    <a:pt x="60728" y="40029"/>
                    <a:pt x="59477" y="38778"/>
                    <a:pt x="58851" y="38152"/>
                  </a:cubicBezTo>
                  <a:cubicBezTo>
                    <a:pt x="56350" y="35651"/>
                    <a:pt x="51972" y="33774"/>
                    <a:pt x="46968" y="33774"/>
                  </a:cubicBezTo>
                  <a:lnTo>
                    <a:pt x="46968" y="33774"/>
                  </a:lnTo>
                  <a:cubicBezTo>
                    <a:pt x="41964" y="33774"/>
                    <a:pt x="37586" y="35651"/>
                    <a:pt x="35084" y="38152"/>
                  </a:cubicBezTo>
                  <a:cubicBezTo>
                    <a:pt x="34459" y="38778"/>
                    <a:pt x="33208" y="40654"/>
                    <a:pt x="33208" y="41905"/>
                  </a:cubicBezTo>
                  <a:lnTo>
                    <a:pt x="38837" y="213904"/>
                  </a:lnTo>
                  <a:cubicBezTo>
                    <a:pt x="38837" y="223285"/>
                    <a:pt x="31957" y="230791"/>
                    <a:pt x="22575" y="230791"/>
                  </a:cubicBezTo>
                  <a:cubicBezTo>
                    <a:pt x="13819" y="231416"/>
                    <a:pt x="5688" y="223911"/>
                    <a:pt x="5688" y="214529"/>
                  </a:cubicBezTo>
                  <a:lnTo>
                    <a:pt x="59" y="42530"/>
                  </a:lnTo>
                  <a:cubicBezTo>
                    <a:pt x="-566" y="32523"/>
                    <a:pt x="3812" y="22516"/>
                    <a:pt x="11317" y="14385"/>
                  </a:cubicBezTo>
                  <a:cubicBezTo>
                    <a:pt x="20074" y="5004"/>
                    <a:pt x="33208" y="0"/>
                    <a:pt x="47593" y="0"/>
                  </a:cubicBezTo>
                  <a:lnTo>
                    <a:pt x="47593" y="0"/>
                  </a:lnTo>
                  <a:cubicBezTo>
                    <a:pt x="61353" y="0"/>
                    <a:pt x="74488" y="5004"/>
                    <a:pt x="83244" y="14385"/>
                  </a:cubicBezTo>
                  <a:cubicBezTo>
                    <a:pt x="90749" y="22516"/>
                    <a:pt x="94502" y="32523"/>
                    <a:pt x="94502" y="42530"/>
                  </a:cubicBezTo>
                  <a:lnTo>
                    <a:pt x="88873" y="214529"/>
                  </a:lnTo>
                  <a:cubicBezTo>
                    <a:pt x="88247" y="223911"/>
                    <a:pt x="80742" y="230791"/>
                    <a:pt x="71986" y="230791"/>
                  </a:cubicBezTo>
                  <a:lnTo>
                    <a:pt x="71986" y="230791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07" name="Forma Livre: Forma 106">
              <a:extLst>
                <a:ext uri="{FF2B5EF4-FFF2-40B4-BE49-F238E27FC236}">
                  <a16:creationId xmlns:a16="http://schemas.microsoft.com/office/drawing/2014/main" id="{63A92D5F-92CC-4352-8BE9-00D5D71F3B41}"/>
                </a:ext>
              </a:extLst>
            </p:cNvPr>
            <p:cNvSpPr/>
            <p:nvPr/>
          </p:nvSpPr>
          <p:spPr>
            <a:xfrm>
              <a:off x="3602360" y="5667730"/>
              <a:ext cx="93876" cy="230827"/>
            </a:xfrm>
            <a:custGeom>
              <a:avLst/>
              <a:gdLst>
                <a:gd name="connsiteX0" fmla="*/ 71986 w 93876"/>
                <a:gd name="connsiteY0" fmla="*/ 230791 h 230827"/>
                <a:gd name="connsiteX1" fmla="*/ 71986 w 93876"/>
                <a:gd name="connsiteY1" fmla="*/ 230791 h 230827"/>
                <a:gd name="connsiteX2" fmla="*/ 55099 w 93876"/>
                <a:gd name="connsiteY2" fmla="*/ 213904 h 230827"/>
                <a:gd name="connsiteX3" fmla="*/ 60728 w 93876"/>
                <a:gd name="connsiteY3" fmla="*/ 41905 h 230827"/>
                <a:gd name="connsiteX4" fmla="*/ 58851 w 93876"/>
                <a:gd name="connsiteY4" fmla="*/ 38152 h 230827"/>
                <a:gd name="connsiteX5" fmla="*/ 46968 w 93876"/>
                <a:gd name="connsiteY5" fmla="*/ 33774 h 230827"/>
                <a:gd name="connsiteX6" fmla="*/ 46968 w 93876"/>
                <a:gd name="connsiteY6" fmla="*/ 33774 h 230827"/>
                <a:gd name="connsiteX7" fmla="*/ 35084 w 93876"/>
                <a:gd name="connsiteY7" fmla="*/ 38152 h 230827"/>
                <a:gd name="connsiteX8" fmla="*/ 33208 w 93876"/>
                <a:gd name="connsiteY8" fmla="*/ 41905 h 230827"/>
                <a:gd name="connsiteX9" fmla="*/ 38837 w 93876"/>
                <a:gd name="connsiteY9" fmla="*/ 213904 h 230827"/>
                <a:gd name="connsiteX10" fmla="*/ 22575 w 93876"/>
                <a:gd name="connsiteY10" fmla="*/ 230791 h 230827"/>
                <a:gd name="connsiteX11" fmla="*/ 5688 w 93876"/>
                <a:gd name="connsiteY11" fmla="*/ 214529 h 230827"/>
                <a:gd name="connsiteX12" fmla="*/ 59 w 93876"/>
                <a:gd name="connsiteY12" fmla="*/ 42530 h 230827"/>
                <a:gd name="connsiteX13" fmla="*/ 11317 w 93876"/>
                <a:gd name="connsiteY13" fmla="*/ 14385 h 230827"/>
                <a:gd name="connsiteX14" fmla="*/ 46968 w 93876"/>
                <a:gd name="connsiteY14" fmla="*/ 0 h 230827"/>
                <a:gd name="connsiteX15" fmla="*/ 46968 w 93876"/>
                <a:gd name="connsiteY15" fmla="*/ 0 h 230827"/>
                <a:gd name="connsiteX16" fmla="*/ 82618 w 93876"/>
                <a:gd name="connsiteY16" fmla="*/ 14385 h 230827"/>
                <a:gd name="connsiteX17" fmla="*/ 93876 w 93876"/>
                <a:gd name="connsiteY17" fmla="*/ 42530 h 230827"/>
                <a:gd name="connsiteX18" fmla="*/ 88247 w 93876"/>
                <a:gd name="connsiteY18" fmla="*/ 214529 h 230827"/>
                <a:gd name="connsiteX19" fmla="*/ 71986 w 93876"/>
                <a:gd name="connsiteY19" fmla="*/ 230791 h 230827"/>
                <a:gd name="connsiteX20" fmla="*/ 71986 w 93876"/>
                <a:gd name="connsiteY20" fmla="*/ 230791 h 230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3876" h="230827">
                  <a:moveTo>
                    <a:pt x="71986" y="230791"/>
                  </a:moveTo>
                  <a:cubicBezTo>
                    <a:pt x="71986" y="230791"/>
                    <a:pt x="71986" y="230791"/>
                    <a:pt x="71986" y="230791"/>
                  </a:cubicBezTo>
                  <a:cubicBezTo>
                    <a:pt x="61979" y="230791"/>
                    <a:pt x="55099" y="222660"/>
                    <a:pt x="55099" y="213904"/>
                  </a:cubicBezTo>
                  <a:lnTo>
                    <a:pt x="60728" y="41905"/>
                  </a:lnTo>
                  <a:cubicBezTo>
                    <a:pt x="60728" y="40029"/>
                    <a:pt x="59477" y="38778"/>
                    <a:pt x="58851" y="38152"/>
                  </a:cubicBezTo>
                  <a:cubicBezTo>
                    <a:pt x="56350" y="35651"/>
                    <a:pt x="51971" y="33774"/>
                    <a:pt x="46968" y="33774"/>
                  </a:cubicBezTo>
                  <a:lnTo>
                    <a:pt x="46968" y="33774"/>
                  </a:lnTo>
                  <a:cubicBezTo>
                    <a:pt x="41964" y="33774"/>
                    <a:pt x="37586" y="35651"/>
                    <a:pt x="35084" y="38152"/>
                  </a:cubicBezTo>
                  <a:cubicBezTo>
                    <a:pt x="34459" y="38778"/>
                    <a:pt x="33208" y="40654"/>
                    <a:pt x="33208" y="41905"/>
                  </a:cubicBezTo>
                  <a:lnTo>
                    <a:pt x="38837" y="213904"/>
                  </a:lnTo>
                  <a:cubicBezTo>
                    <a:pt x="38837" y="223285"/>
                    <a:pt x="31957" y="230791"/>
                    <a:pt x="22575" y="230791"/>
                  </a:cubicBezTo>
                  <a:cubicBezTo>
                    <a:pt x="13194" y="231416"/>
                    <a:pt x="5688" y="223911"/>
                    <a:pt x="5688" y="214529"/>
                  </a:cubicBezTo>
                  <a:lnTo>
                    <a:pt x="59" y="42530"/>
                  </a:lnTo>
                  <a:cubicBezTo>
                    <a:pt x="-566" y="32523"/>
                    <a:pt x="3812" y="22516"/>
                    <a:pt x="11317" y="14385"/>
                  </a:cubicBezTo>
                  <a:cubicBezTo>
                    <a:pt x="20074" y="5004"/>
                    <a:pt x="33208" y="0"/>
                    <a:pt x="46968" y="0"/>
                  </a:cubicBezTo>
                  <a:lnTo>
                    <a:pt x="46968" y="0"/>
                  </a:lnTo>
                  <a:cubicBezTo>
                    <a:pt x="60728" y="0"/>
                    <a:pt x="73862" y="5004"/>
                    <a:pt x="82618" y="14385"/>
                  </a:cubicBezTo>
                  <a:cubicBezTo>
                    <a:pt x="90124" y="22516"/>
                    <a:pt x="93876" y="31898"/>
                    <a:pt x="93876" y="42530"/>
                  </a:cubicBezTo>
                  <a:lnTo>
                    <a:pt x="88247" y="214529"/>
                  </a:lnTo>
                  <a:cubicBezTo>
                    <a:pt x="88873" y="223911"/>
                    <a:pt x="81367" y="230791"/>
                    <a:pt x="71986" y="230791"/>
                  </a:cubicBezTo>
                  <a:lnTo>
                    <a:pt x="71986" y="230791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08" name="Forma Livre: Forma 107">
              <a:extLst>
                <a:ext uri="{FF2B5EF4-FFF2-40B4-BE49-F238E27FC236}">
                  <a16:creationId xmlns:a16="http://schemas.microsoft.com/office/drawing/2014/main" id="{053E9AB2-37C4-44F2-BD14-A02AFF86218B}"/>
                </a:ext>
              </a:extLst>
            </p:cNvPr>
            <p:cNvSpPr/>
            <p:nvPr/>
          </p:nvSpPr>
          <p:spPr>
            <a:xfrm>
              <a:off x="3558638" y="5874754"/>
              <a:ext cx="180266" cy="201394"/>
            </a:xfrm>
            <a:custGeom>
              <a:avLst/>
              <a:gdLst>
                <a:gd name="connsiteX0" fmla="*/ 164493 w 180266"/>
                <a:gd name="connsiteY0" fmla="*/ 201395 h 201394"/>
                <a:gd name="connsiteX1" fmla="*/ 147606 w 180266"/>
                <a:gd name="connsiteY1" fmla="*/ 184508 h 201394"/>
                <a:gd name="connsiteX2" fmla="*/ 147606 w 180266"/>
                <a:gd name="connsiteY2" fmla="*/ 90065 h 201394"/>
                <a:gd name="connsiteX3" fmla="*/ 90690 w 180266"/>
                <a:gd name="connsiteY3" fmla="*/ 33149 h 201394"/>
                <a:gd name="connsiteX4" fmla="*/ 33774 w 180266"/>
                <a:gd name="connsiteY4" fmla="*/ 90065 h 201394"/>
                <a:gd name="connsiteX5" fmla="*/ 33774 w 180266"/>
                <a:gd name="connsiteY5" fmla="*/ 184508 h 201394"/>
                <a:gd name="connsiteX6" fmla="*/ 16887 w 180266"/>
                <a:gd name="connsiteY6" fmla="*/ 201395 h 201394"/>
                <a:gd name="connsiteX7" fmla="*/ 0 w 180266"/>
                <a:gd name="connsiteY7" fmla="*/ 184508 h 201394"/>
                <a:gd name="connsiteX8" fmla="*/ 0 w 180266"/>
                <a:gd name="connsiteY8" fmla="*/ 90065 h 201394"/>
                <a:gd name="connsiteX9" fmla="*/ 90065 w 180266"/>
                <a:gd name="connsiteY9" fmla="*/ 0 h 201394"/>
                <a:gd name="connsiteX10" fmla="*/ 180130 w 180266"/>
                <a:gd name="connsiteY10" fmla="*/ 90065 h 201394"/>
                <a:gd name="connsiteX11" fmla="*/ 180130 w 180266"/>
                <a:gd name="connsiteY11" fmla="*/ 184508 h 201394"/>
                <a:gd name="connsiteX12" fmla="*/ 164493 w 180266"/>
                <a:gd name="connsiteY12" fmla="*/ 201395 h 201394"/>
                <a:gd name="connsiteX13" fmla="*/ 164493 w 180266"/>
                <a:gd name="connsiteY13" fmla="*/ 201395 h 201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0266" h="201394">
                  <a:moveTo>
                    <a:pt x="164493" y="201395"/>
                  </a:moveTo>
                  <a:cubicBezTo>
                    <a:pt x="155112" y="201395"/>
                    <a:pt x="147606" y="193889"/>
                    <a:pt x="147606" y="184508"/>
                  </a:cubicBezTo>
                  <a:lnTo>
                    <a:pt x="147606" y="90065"/>
                  </a:lnTo>
                  <a:cubicBezTo>
                    <a:pt x="147606" y="58792"/>
                    <a:pt x="121963" y="33149"/>
                    <a:pt x="90690" y="33149"/>
                  </a:cubicBezTo>
                  <a:cubicBezTo>
                    <a:pt x="59418" y="33149"/>
                    <a:pt x="33774" y="58792"/>
                    <a:pt x="33774" y="90065"/>
                  </a:cubicBezTo>
                  <a:lnTo>
                    <a:pt x="33774" y="184508"/>
                  </a:lnTo>
                  <a:cubicBezTo>
                    <a:pt x="33774" y="193889"/>
                    <a:pt x="26269" y="201395"/>
                    <a:pt x="16887" y="201395"/>
                  </a:cubicBezTo>
                  <a:cubicBezTo>
                    <a:pt x="7505" y="201395"/>
                    <a:pt x="0" y="193889"/>
                    <a:pt x="0" y="184508"/>
                  </a:cubicBezTo>
                  <a:lnTo>
                    <a:pt x="0" y="90065"/>
                  </a:lnTo>
                  <a:cubicBezTo>
                    <a:pt x="0" y="40029"/>
                    <a:pt x="40654" y="0"/>
                    <a:pt x="90065" y="0"/>
                  </a:cubicBezTo>
                  <a:cubicBezTo>
                    <a:pt x="140101" y="0"/>
                    <a:pt x="180130" y="40654"/>
                    <a:pt x="180130" y="90065"/>
                  </a:cubicBezTo>
                  <a:lnTo>
                    <a:pt x="180130" y="184508"/>
                  </a:lnTo>
                  <a:cubicBezTo>
                    <a:pt x="181380" y="193889"/>
                    <a:pt x="173875" y="201395"/>
                    <a:pt x="164493" y="201395"/>
                  </a:cubicBezTo>
                  <a:lnTo>
                    <a:pt x="164493" y="201395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09" name="Forma Livre: Forma 108">
              <a:extLst>
                <a:ext uri="{FF2B5EF4-FFF2-40B4-BE49-F238E27FC236}">
                  <a16:creationId xmlns:a16="http://schemas.microsoft.com/office/drawing/2014/main" id="{E99002BB-3F12-41CC-98B0-78BDAD7ACEA3}"/>
                </a:ext>
              </a:extLst>
            </p:cNvPr>
            <p:cNvSpPr/>
            <p:nvPr/>
          </p:nvSpPr>
          <p:spPr>
            <a:xfrm>
              <a:off x="3608048" y="5972949"/>
              <a:ext cx="33774" cy="103199"/>
            </a:xfrm>
            <a:custGeom>
              <a:avLst/>
              <a:gdLst>
                <a:gd name="connsiteX0" fmla="*/ 16887 w 33774"/>
                <a:gd name="connsiteY0" fmla="*/ 103199 h 103199"/>
                <a:gd name="connsiteX1" fmla="*/ 0 w 33774"/>
                <a:gd name="connsiteY1" fmla="*/ 86312 h 103199"/>
                <a:gd name="connsiteX2" fmla="*/ 0 w 33774"/>
                <a:gd name="connsiteY2" fmla="*/ 16887 h 103199"/>
                <a:gd name="connsiteX3" fmla="*/ 16887 w 33774"/>
                <a:gd name="connsiteY3" fmla="*/ 0 h 103199"/>
                <a:gd name="connsiteX4" fmla="*/ 33774 w 33774"/>
                <a:gd name="connsiteY4" fmla="*/ 16887 h 103199"/>
                <a:gd name="connsiteX5" fmla="*/ 33774 w 33774"/>
                <a:gd name="connsiteY5" fmla="*/ 86938 h 103199"/>
                <a:gd name="connsiteX6" fmla="*/ 16887 w 33774"/>
                <a:gd name="connsiteY6" fmla="*/ 103199 h 103199"/>
                <a:gd name="connsiteX7" fmla="*/ 16887 w 33774"/>
                <a:gd name="connsiteY7" fmla="*/ 103199 h 103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774" h="103199">
                  <a:moveTo>
                    <a:pt x="16887" y="103199"/>
                  </a:moveTo>
                  <a:cubicBezTo>
                    <a:pt x="7505" y="103199"/>
                    <a:pt x="0" y="95694"/>
                    <a:pt x="0" y="86312"/>
                  </a:cubicBezTo>
                  <a:lnTo>
                    <a:pt x="0" y="16887"/>
                  </a:lnTo>
                  <a:cubicBezTo>
                    <a:pt x="0" y="7505"/>
                    <a:pt x="7505" y="0"/>
                    <a:pt x="16887" y="0"/>
                  </a:cubicBezTo>
                  <a:cubicBezTo>
                    <a:pt x="26269" y="0"/>
                    <a:pt x="33774" y="7505"/>
                    <a:pt x="33774" y="16887"/>
                  </a:cubicBezTo>
                  <a:lnTo>
                    <a:pt x="33774" y="86938"/>
                  </a:lnTo>
                  <a:cubicBezTo>
                    <a:pt x="33774" y="95694"/>
                    <a:pt x="26269" y="103199"/>
                    <a:pt x="16887" y="103199"/>
                  </a:cubicBezTo>
                  <a:lnTo>
                    <a:pt x="16887" y="103199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10" name="Forma Livre: Forma 109">
              <a:extLst>
                <a:ext uri="{FF2B5EF4-FFF2-40B4-BE49-F238E27FC236}">
                  <a16:creationId xmlns:a16="http://schemas.microsoft.com/office/drawing/2014/main" id="{8219DEC5-120A-4E50-B0D4-438D0B8E1B36}"/>
                </a:ext>
              </a:extLst>
            </p:cNvPr>
            <p:cNvSpPr/>
            <p:nvPr/>
          </p:nvSpPr>
          <p:spPr>
            <a:xfrm>
              <a:off x="3657459" y="5972949"/>
              <a:ext cx="33774" cy="103199"/>
            </a:xfrm>
            <a:custGeom>
              <a:avLst/>
              <a:gdLst>
                <a:gd name="connsiteX0" fmla="*/ 16887 w 33774"/>
                <a:gd name="connsiteY0" fmla="*/ 103199 h 103199"/>
                <a:gd name="connsiteX1" fmla="*/ 0 w 33774"/>
                <a:gd name="connsiteY1" fmla="*/ 86312 h 103199"/>
                <a:gd name="connsiteX2" fmla="*/ 0 w 33774"/>
                <a:gd name="connsiteY2" fmla="*/ 16887 h 103199"/>
                <a:gd name="connsiteX3" fmla="*/ 16887 w 33774"/>
                <a:gd name="connsiteY3" fmla="*/ 0 h 103199"/>
                <a:gd name="connsiteX4" fmla="*/ 33774 w 33774"/>
                <a:gd name="connsiteY4" fmla="*/ 16887 h 103199"/>
                <a:gd name="connsiteX5" fmla="*/ 33774 w 33774"/>
                <a:gd name="connsiteY5" fmla="*/ 86938 h 103199"/>
                <a:gd name="connsiteX6" fmla="*/ 16887 w 33774"/>
                <a:gd name="connsiteY6" fmla="*/ 103199 h 103199"/>
                <a:gd name="connsiteX7" fmla="*/ 16887 w 33774"/>
                <a:gd name="connsiteY7" fmla="*/ 103199 h 103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774" h="103199">
                  <a:moveTo>
                    <a:pt x="16887" y="103199"/>
                  </a:moveTo>
                  <a:cubicBezTo>
                    <a:pt x="7505" y="103199"/>
                    <a:pt x="0" y="95694"/>
                    <a:pt x="0" y="86312"/>
                  </a:cubicBezTo>
                  <a:lnTo>
                    <a:pt x="0" y="16887"/>
                  </a:lnTo>
                  <a:cubicBezTo>
                    <a:pt x="0" y="7505"/>
                    <a:pt x="7505" y="0"/>
                    <a:pt x="16887" y="0"/>
                  </a:cubicBezTo>
                  <a:cubicBezTo>
                    <a:pt x="26269" y="0"/>
                    <a:pt x="33774" y="7505"/>
                    <a:pt x="33774" y="16887"/>
                  </a:cubicBezTo>
                  <a:lnTo>
                    <a:pt x="33774" y="86938"/>
                  </a:lnTo>
                  <a:cubicBezTo>
                    <a:pt x="33149" y="95694"/>
                    <a:pt x="25643" y="103199"/>
                    <a:pt x="16887" y="103199"/>
                  </a:cubicBezTo>
                  <a:lnTo>
                    <a:pt x="16887" y="103199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</p:spTree>
    <p:extLst>
      <p:ext uri="{BB962C8B-B14F-4D97-AF65-F5344CB8AC3E}">
        <p14:creationId xmlns:p14="http://schemas.microsoft.com/office/powerpoint/2010/main" val="39555253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8DBA6661-5DE9-4EF7-BDE7-4D2D0253E44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Inserir aqui o </a:t>
            </a:r>
            <a:br>
              <a:rPr lang="pt-BR" dirty="0"/>
            </a:br>
            <a:r>
              <a:rPr lang="pt-BR" dirty="0"/>
              <a:t>Título do slide</a:t>
            </a:r>
          </a:p>
        </p:txBody>
      </p:sp>
      <p:sp>
        <p:nvSpPr>
          <p:cNvPr id="8" name="Espaço Reservado para Texto 7">
            <a:extLst>
              <a:ext uri="{FF2B5EF4-FFF2-40B4-BE49-F238E27FC236}">
                <a16:creationId xmlns:a16="http://schemas.microsoft.com/office/drawing/2014/main" id="{D29312AB-5252-4555-997E-787668AA3C7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erir aqui o texto de destaque</a:t>
            </a:r>
          </a:p>
        </p:txBody>
      </p:sp>
      <p:pic>
        <p:nvPicPr>
          <p:cNvPr id="10" name="Gráfico 9">
            <a:extLst>
              <a:ext uri="{FF2B5EF4-FFF2-40B4-BE49-F238E27FC236}">
                <a16:creationId xmlns:a16="http://schemas.microsoft.com/office/drawing/2014/main" id="{5BD7DF75-A910-4441-AD7F-2C394B14B6E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5488" y="4062549"/>
            <a:ext cx="5866512" cy="2795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4172920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9ADFE4FC-06ED-4C1E-9ADF-28ED46E6B4F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Inserir aqui o título do slid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A7A36A2B-E678-4738-982D-5BA083C38A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erir aqui o subtítulo do slide</a:t>
            </a:r>
          </a:p>
        </p:txBody>
      </p:sp>
      <p:sp>
        <p:nvSpPr>
          <p:cNvPr id="7" name="Forma Livre: Forma 6">
            <a:extLst>
              <a:ext uri="{FF2B5EF4-FFF2-40B4-BE49-F238E27FC236}">
                <a16:creationId xmlns:a16="http://schemas.microsoft.com/office/drawing/2014/main" id="{D5D068B9-39D4-434C-A69B-498CE7943893}"/>
              </a:ext>
            </a:extLst>
          </p:cNvPr>
          <p:cNvSpPr/>
          <p:nvPr/>
        </p:nvSpPr>
        <p:spPr>
          <a:xfrm>
            <a:off x="4985808" y="1191419"/>
            <a:ext cx="2198798" cy="907510"/>
          </a:xfrm>
          <a:custGeom>
            <a:avLst/>
            <a:gdLst>
              <a:gd name="connsiteX0" fmla="*/ 384115 w 2198798"/>
              <a:gd name="connsiteY0" fmla="*/ 907510 h 907510"/>
              <a:gd name="connsiteX1" fmla="*/ 0 w 2198798"/>
              <a:gd name="connsiteY1" fmla="*/ 764858 h 907510"/>
              <a:gd name="connsiteX2" fmla="*/ 1099399 w 2198798"/>
              <a:gd name="connsiteY2" fmla="*/ 0 h 907510"/>
              <a:gd name="connsiteX3" fmla="*/ 2198799 w 2198798"/>
              <a:gd name="connsiteY3" fmla="*/ 764858 h 907510"/>
              <a:gd name="connsiteX4" fmla="*/ 1814684 w 2198798"/>
              <a:gd name="connsiteY4" fmla="*/ 907510 h 907510"/>
              <a:gd name="connsiteX5" fmla="*/ 1099399 w 2198798"/>
              <a:gd name="connsiteY5" fmla="*/ 410083 h 907510"/>
              <a:gd name="connsiteX6" fmla="*/ 384115 w 2198798"/>
              <a:gd name="connsiteY6" fmla="*/ 907510 h 907510"/>
              <a:gd name="connsiteX7" fmla="*/ 384115 w 2198798"/>
              <a:gd name="connsiteY7" fmla="*/ 907510 h 9075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98798" h="907510">
                <a:moveTo>
                  <a:pt x="384115" y="907510"/>
                </a:moveTo>
                <a:lnTo>
                  <a:pt x="0" y="764858"/>
                </a:lnTo>
                <a:cubicBezTo>
                  <a:pt x="170643" y="305201"/>
                  <a:pt x="609054" y="0"/>
                  <a:pt x="1099399" y="0"/>
                </a:cubicBezTo>
                <a:cubicBezTo>
                  <a:pt x="1589745" y="0"/>
                  <a:pt x="2028493" y="305201"/>
                  <a:pt x="2198799" y="764858"/>
                </a:cubicBezTo>
                <a:lnTo>
                  <a:pt x="1814684" y="907510"/>
                </a:lnTo>
                <a:cubicBezTo>
                  <a:pt x="1706767" y="617147"/>
                  <a:pt x="1427196" y="410083"/>
                  <a:pt x="1099399" y="410083"/>
                </a:cubicBezTo>
                <a:cubicBezTo>
                  <a:pt x="771603" y="410083"/>
                  <a:pt x="492032" y="616810"/>
                  <a:pt x="384115" y="907510"/>
                </a:cubicBezTo>
                <a:lnTo>
                  <a:pt x="384115" y="907510"/>
                </a:lnTo>
                <a:close/>
              </a:path>
            </a:pathLst>
          </a:custGeom>
          <a:solidFill>
            <a:srgbClr val="CACACA"/>
          </a:solidFill>
          <a:ln w="3372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grpSp>
        <p:nvGrpSpPr>
          <p:cNvPr id="33" name="Agrupar 32">
            <a:extLst>
              <a:ext uri="{FF2B5EF4-FFF2-40B4-BE49-F238E27FC236}">
                <a16:creationId xmlns:a16="http://schemas.microsoft.com/office/drawing/2014/main" id="{84157231-215B-4B2B-9AAB-D936CA74343D}"/>
              </a:ext>
            </a:extLst>
          </p:cNvPr>
          <p:cNvGrpSpPr/>
          <p:nvPr/>
        </p:nvGrpSpPr>
        <p:grpSpPr>
          <a:xfrm>
            <a:off x="3323894" y="2600740"/>
            <a:ext cx="2323915" cy="2146912"/>
            <a:chOff x="3323894" y="2600740"/>
            <a:chExt cx="2323915" cy="2146912"/>
          </a:xfrm>
          <a:solidFill>
            <a:srgbClr val="4B6185"/>
          </a:solidFill>
        </p:grpSpPr>
        <p:sp>
          <p:nvSpPr>
            <p:cNvPr id="10" name="Forma Livre: Forma 9">
              <a:extLst>
                <a:ext uri="{FF2B5EF4-FFF2-40B4-BE49-F238E27FC236}">
                  <a16:creationId xmlns:a16="http://schemas.microsoft.com/office/drawing/2014/main" id="{1AC0EDA6-39F8-4DEF-B990-3EDCAD12726C}"/>
                </a:ext>
              </a:extLst>
            </p:cNvPr>
            <p:cNvSpPr/>
            <p:nvPr/>
          </p:nvSpPr>
          <p:spPr>
            <a:xfrm>
              <a:off x="4746032" y="2600740"/>
              <a:ext cx="901777" cy="820502"/>
            </a:xfrm>
            <a:custGeom>
              <a:avLst/>
              <a:gdLst>
                <a:gd name="connsiteX0" fmla="*/ 309585 w 901777"/>
                <a:gd name="connsiteY0" fmla="*/ 324761 h 820502"/>
                <a:gd name="connsiteX1" fmla="*/ 152432 w 901777"/>
                <a:gd name="connsiteY1" fmla="*/ 440097 h 820502"/>
                <a:gd name="connsiteX2" fmla="*/ 66436 w 901777"/>
                <a:gd name="connsiteY2" fmla="*/ 323075 h 820502"/>
                <a:gd name="connsiteX3" fmla="*/ 0 w 901777"/>
                <a:gd name="connsiteY3" fmla="*/ 754067 h 820502"/>
                <a:gd name="connsiteX4" fmla="*/ 430991 w 901777"/>
                <a:gd name="connsiteY4" fmla="*/ 820503 h 820502"/>
                <a:gd name="connsiteX5" fmla="*/ 344996 w 901777"/>
                <a:gd name="connsiteY5" fmla="*/ 703481 h 820502"/>
                <a:gd name="connsiteX6" fmla="*/ 503835 w 901777"/>
                <a:gd name="connsiteY6" fmla="*/ 587133 h 820502"/>
                <a:gd name="connsiteX7" fmla="*/ 666722 w 901777"/>
                <a:gd name="connsiteY7" fmla="*/ 724727 h 820502"/>
                <a:gd name="connsiteX8" fmla="*/ 901777 w 901777"/>
                <a:gd name="connsiteY8" fmla="*/ 388837 h 820502"/>
                <a:gd name="connsiteX9" fmla="*/ 613438 w 901777"/>
                <a:gd name="connsiteY9" fmla="*/ 0 h 820502"/>
                <a:gd name="connsiteX10" fmla="*/ 223589 w 901777"/>
                <a:gd name="connsiteY10" fmla="*/ 126802 h 820502"/>
                <a:gd name="connsiteX11" fmla="*/ 309585 w 901777"/>
                <a:gd name="connsiteY11" fmla="*/ 324761 h 820502"/>
                <a:gd name="connsiteX12" fmla="*/ 309585 w 901777"/>
                <a:gd name="connsiteY12" fmla="*/ 324761 h 820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01777" h="820502">
                  <a:moveTo>
                    <a:pt x="309585" y="324761"/>
                  </a:moveTo>
                  <a:lnTo>
                    <a:pt x="152432" y="440097"/>
                  </a:lnTo>
                  <a:lnTo>
                    <a:pt x="66436" y="323075"/>
                  </a:lnTo>
                  <a:cubicBezTo>
                    <a:pt x="44178" y="467750"/>
                    <a:pt x="22258" y="609391"/>
                    <a:pt x="0" y="754067"/>
                  </a:cubicBezTo>
                  <a:cubicBezTo>
                    <a:pt x="144675" y="776324"/>
                    <a:pt x="286316" y="798245"/>
                    <a:pt x="430991" y="820503"/>
                  </a:cubicBezTo>
                  <a:lnTo>
                    <a:pt x="344996" y="703481"/>
                  </a:lnTo>
                  <a:lnTo>
                    <a:pt x="503835" y="587133"/>
                  </a:lnTo>
                  <a:cubicBezTo>
                    <a:pt x="553747" y="637719"/>
                    <a:pt x="608042" y="683583"/>
                    <a:pt x="666722" y="724727"/>
                  </a:cubicBezTo>
                  <a:lnTo>
                    <a:pt x="901777" y="388837"/>
                  </a:lnTo>
                  <a:cubicBezTo>
                    <a:pt x="767556" y="294747"/>
                    <a:pt x="665373" y="158840"/>
                    <a:pt x="613438" y="0"/>
                  </a:cubicBezTo>
                  <a:lnTo>
                    <a:pt x="223589" y="126802"/>
                  </a:lnTo>
                  <a:cubicBezTo>
                    <a:pt x="246522" y="195261"/>
                    <a:pt x="275187" y="261698"/>
                    <a:pt x="309585" y="324761"/>
                  </a:cubicBezTo>
                  <a:lnTo>
                    <a:pt x="309585" y="324761"/>
                  </a:lnTo>
                  <a:close/>
                </a:path>
              </a:pathLst>
            </a:custGeom>
            <a:grpFill/>
            <a:ln w="33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14" name="Gráfico 4">
              <a:extLst>
                <a:ext uri="{FF2B5EF4-FFF2-40B4-BE49-F238E27FC236}">
                  <a16:creationId xmlns:a16="http://schemas.microsoft.com/office/drawing/2014/main" id="{5CEEC0A2-53CC-4330-B8F5-D6870BE00C49}"/>
                </a:ext>
              </a:extLst>
            </p:cNvPr>
            <p:cNvGrpSpPr/>
            <p:nvPr/>
          </p:nvGrpSpPr>
          <p:grpSpPr>
            <a:xfrm>
              <a:off x="3323894" y="3039393"/>
              <a:ext cx="1626335" cy="1708259"/>
              <a:chOff x="3323894" y="3039393"/>
              <a:chExt cx="1626335" cy="1708259"/>
            </a:xfrm>
            <a:grpFill/>
          </p:grpSpPr>
          <p:sp>
            <p:nvSpPr>
              <p:cNvPr id="15" name="Forma Livre: Forma 14">
                <a:extLst>
                  <a:ext uri="{FF2B5EF4-FFF2-40B4-BE49-F238E27FC236}">
                    <a16:creationId xmlns:a16="http://schemas.microsoft.com/office/drawing/2014/main" id="{CDA9A84B-20E3-4024-A1A2-2001CE4DC005}"/>
                  </a:ext>
                </a:extLst>
              </p:cNvPr>
              <p:cNvSpPr/>
              <p:nvPr/>
            </p:nvSpPr>
            <p:spPr>
              <a:xfrm>
                <a:off x="3400111" y="3126388"/>
                <a:ext cx="1454607" cy="1526548"/>
              </a:xfrm>
              <a:custGeom>
                <a:avLst/>
                <a:gdLst>
                  <a:gd name="connsiteX0" fmla="*/ 1448442 w 1454607"/>
                  <a:gd name="connsiteY0" fmla="*/ 745070 h 1526548"/>
                  <a:gd name="connsiteX1" fmla="*/ 915941 w 1454607"/>
                  <a:gd name="connsiteY1" fmla="*/ 12249 h 1526548"/>
                  <a:gd name="connsiteX2" fmla="*/ 881543 w 1454607"/>
                  <a:gd name="connsiteY2" fmla="*/ 1795 h 1526548"/>
                  <a:gd name="connsiteX3" fmla="*/ 20572 w 1454607"/>
                  <a:gd name="connsiteY3" fmla="*/ 281703 h 1526548"/>
                  <a:gd name="connsiteX4" fmla="*/ 0 w 1454607"/>
                  <a:gd name="connsiteY4" fmla="*/ 310031 h 1526548"/>
                  <a:gd name="connsiteX5" fmla="*/ 0 w 1454607"/>
                  <a:gd name="connsiteY5" fmla="*/ 310031 h 1526548"/>
                  <a:gd name="connsiteX6" fmla="*/ 0 w 1454607"/>
                  <a:gd name="connsiteY6" fmla="*/ 1216530 h 1526548"/>
                  <a:gd name="connsiteX7" fmla="*/ 22595 w 1454607"/>
                  <a:gd name="connsiteY7" fmla="*/ 1245532 h 1526548"/>
                  <a:gd name="connsiteX8" fmla="*/ 882892 w 1454607"/>
                  <a:gd name="connsiteY8" fmla="*/ 1525103 h 1526548"/>
                  <a:gd name="connsiteX9" fmla="*/ 916278 w 1454607"/>
                  <a:gd name="connsiteY9" fmla="*/ 1514312 h 1526548"/>
                  <a:gd name="connsiteX10" fmla="*/ 1449116 w 1454607"/>
                  <a:gd name="connsiteY10" fmla="*/ 780817 h 1526548"/>
                  <a:gd name="connsiteX11" fmla="*/ 1448442 w 1454607"/>
                  <a:gd name="connsiteY11" fmla="*/ 745070 h 1526548"/>
                  <a:gd name="connsiteX12" fmla="*/ 1448442 w 1454607"/>
                  <a:gd name="connsiteY12" fmla="*/ 745070 h 152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454607" h="1526548">
                    <a:moveTo>
                      <a:pt x="1448442" y="745070"/>
                    </a:moveTo>
                    <a:lnTo>
                      <a:pt x="915941" y="12249"/>
                    </a:lnTo>
                    <a:cubicBezTo>
                      <a:pt x="907848" y="1120"/>
                      <a:pt x="893684" y="-2589"/>
                      <a:pt x="881543" y="1795"/>
                    </a:cubicBezTo>
                    <a:lnTo>
                      <a:pt x="20572" y="281703"/>
                    </a:lnTo>
                    <a:cubicBezTo>
                      <a:pt x="8094" y="285750"/>
                      <a:pt x="0" y="297553"/>
                      <a:pt x="0" y="310031"/>
                    </a:cubicBezTo>
                    <a:lnTo>
                      <a:pt x="0" y="310031"/>
                    </a:lnTo>
                    <a:lnTo>
                      <a:pt x="0" y="1216530"/>
                    </a:lnTo>
                    <a:cubicBezTo>
                      <a:pt x="0" y="1230356"/>
                      <a:pt x="9443" y="1242160"/>
                      <a:pt x="22595" y="1245532"/>
                    </a:cubicBezTo>
                    <a:lnTo>
                      <a:pt x="882892" y="1525103"/>
                    </a:lnTo>
                    <a:cubicBezTo>
                      <a:pt x="895370" y="1529150"/>
                      <a:pt x="908859" y="1524429"/>
                      <a:pt x="916278" y="1514312"/>
                    </a:cubicBezTo>
                    <a:lnTo>
                      <a:pt x="1449116" y="780817"/>
                    </a:lnTo>
                    <a:cubicBezTo>
                      <a:pt x="1456873" y="769688"/>
                      <a:pt x="1456198" y="755187"/>
                      <a:pt x="1448442" y="745070"/>
                    </a:cubicBezTo>
                    <a:lnTo>
                      <a:pt x="1448442" y="745070"/>
                    </a:lnTo>
                    <a:close/>
                  </a:path>
                </a:pathLst>
              </a:custGeom>
              <a:grpFill/>
              <a:ln w="33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6" name="Forma Livre: Forma 15">
                <a:extLst>
                  <a:ext uri="{FF2B5EF4-FFF2-40B4-BE49-F238E27FC236}">
                    <a16:creationId xmlns:a16="http://schemas.microsoft.com/office/drawing/2014/main" id="{B09827F4-ACCB-413A-B1C2-DFD75A045260}"/>
                  </a:ext>
                </a:extLst>
              </p:cNvPr>
              <p:cNvSpPr/>
              <p:nvPr/>
            </p:nvSpPr>
            <p:spPr>
              <a:xfrm>
                <a:off x="3323894" y="3039393"/>
                <a:ext cx="1626335" cy="1708259"/>
              </a:xfrm>
              <a:custGeom>
                <a:avLst/>
                <a:gdLst>
                  <a:gd name="connsiteX0" fmla="*/ 1623469 w 1626335"/>
                  <a:gd name="connsiteY0" fmla="*/ 845216 h 1708259"/>
                  <a:gd name="connsiteX1" fmla="*/ 1013741 w 1626335"/>
                  <a:gd name="connsiteY1" fmla="*/ 6165 h 1708259"/>
                  <a:gd name="connsiteX2" fmla="*/ 996541 w 1626335"/>
                  <a:gd name="connsiteY2" fmla="*/ 770 h 1708259"/>
                  <a:gd name="connsiteX3" fmla="*/ 10454 w 1626335"/>
                  <a:gd name="connsiteY3" fmla="*/ 321147 h 1708259"/>
                  <a:gd name="connsiteX4" fmla="*/ 0 w 1626335"/>
                  <a:gd name="connsiteY4" fmla="*/ 335311 h 1708259"/>
                  <a:gd name="connsiteX5" fmla="*/ 0 w 1626335"/>
                  <a:gd name="connsiteY5" fmla="*/ 1372658 h 1708259"/>
                  <a:gd name="connsiteX6" fmla="*/ 11129 w 1626335"/>
                  <a:gd name="connsiteY6" fmla="*/ 1387159 h 1708259"/>
                  <a:gd name="connsiteX7" fmla="*/ 996879 w 1626335"/>
                  <a:gd name="connsiteY7" fmla="*/ 1707537 h 1708259"/>
                  <a:gd name="connsiteX8" fmla="*/ 1013403 w 1626335"/>
                  <a:gd name="connsiteY8" fmla="*/ 1702141 h 1708259"/>
                  <a:gd name="connsiteX9" fmla="*/ 1623132 w 1626335"/>
                  <a:gd name="connsiteY9" fmla="*/ 862753 h 1708259"/>
                  <a:gd name="connsiteX10" fmla="*/ 1623469 w 1626335"/>
                  <a:gd name="connsiteY10" fmla="*/ 845216 h 1708259"/>
                  <a:gd name="connsiteX11" fmla="*/ 1623469 w 1626335"/>
                  <a:gd name="connsiteY11" fmla="*/ 845216 h 1708259"/>
                  <a:gd name="connsiteX12" fmla="*/ 1593117 w 1626335"/>
                  <a:gd name="connsiteY12" fmla="*/ 854322 h 1708259"/>
                  <a:gd name="connsiteX13" fmla="*/ 996204 w 1626335"/>
                  <a:gd name="connsiteY13" fmla="*/ 1676173 h 1708259"/>
                  <a:gd name="connsiteX14" fmla="*/ 30014 w 1626335"/>
                  <a:gd name="connsiteY14" fmla="*/ 1362204 h 1708259"/>
                  <a:gd name="connsiteX15" fmla="*/ 30014 w 1626335"/>
                  <a:gd name="connsiteY15" fmla="*/ 346440 h 1708259"/>
                  <a:gd name="connsiteX16" fmla="*/ 996204 w 1626335"/>
                  <a:gd name="connsiteY16" fmla="*/ 32470 h 1708259"/>
                  <a:gd name="connsiteX17" fmla="*/ 1593117 w 1626335"/>
                  <a:gd name="connsiteY17" fmla="*/ 854322 h 1708259"/>
                  <a:gd name="connsiteX18" fmla="*/ 1593117 w 1626335"/>
                  <a:gd name="connsiteY18" fmla="*/ 854322 h 1708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626335" h="1708259">
                    <a:moveTo>
                      <a:pt x="1623469" y="845216"/>
                    </a:moveTo>
                    <a:lnTo>
                      <a:pt x="1013741" y="6165"/>
                    </a:lnTo>
                    <a:cubicBezTo>
                      <a:pt x="1009694" y="770"/>
                      <a:pt x="1002612" y="-1254"/>
                      <a:pt x="996541" y="770"/>
                    </a:cubicBezTo>
                    <a:lnTo>
                      <a:pt x="10454" y="321147"/>
                    </a:lnTo>
                    <a:cubicBezTo>
                      <a:pt x="4047" y="323170"/>
                      <a:pt x="0" y="328903"/>
                      <a:pt x="0" y="335311"/>
                    </a:cubicBezTo>
                    <a:lnTo>
                      <a:pt x="0" y="1372658"/>
                    </a:lnTo>
                    <a:cubicBezTo>
                      <a:pt x="0" y="1379740"/>
                      <a:pt x="4721" y="1385473"/>
                      <a:pt x="11129" y="1387159"/>
                    </a:cubicBezTo>
                    <a:lnTo>
                      <a:pt x="996879" y="1707537"/>
                    </a:lnTo>
                    <a:cubicBezTo>
                      <a:pt x="1003286" y="1709560"/>
                      <a:pt x="1010031" y="1707199"/>
                      <a:pt x="1013403" y="1702141"/>
                    </a:cubicBezTo>
                    <a:lnTo>
                      <a:pt x="1623132" y="862753"/>
                    </a:lnTo>
                    <a:cubicBezTo>
                      <a:pt x="1627516" y="857694"/>
                      <a:pt x="1627178" y="850612"/>
                      <a:pt x="1623469" y="845216"/>
                    </a:cubicBezTo>
                    <a:lnTo>
                      <a:pt x="1623469" y="845216"/>
                    </a:lnTo>
                    <a:close/>
                    <a:moveTo>
                      <a:pt x="1593117" y="854322"/>
                    </a:moveTo>
                    <a:lnTo>
                      <a:pt x="996204" y="1676173"/>
                    </a:lnTo>
                    <a:lnTo>
                      <a:pt x="30014" y="1362204"/>
                    </a:lnTo>
                    <a:lnTo>
                      <a:pt x="30014" y="346440"/>
                    </a:lnTo>
                    <a:lnTo>
                      <a:pt x="996204" y="32470"/>
                    </a:lnTo>
                    <a:lnTo>
                      <a:pt x="1593117" y="854322"/>
                    </a:lnTo>
                    <a:lnTo>
                      <a:pt x="1593117" y="854322"/>
                    </a:lnTo>
                    <a:close/>
                  </a:path>
                </a:pathLst>
              </a:custGeom>
              <a:grpFill/>
              <a:ln w="33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32" name="Agrupar 31">
            <a:extLst>
              <a:ext uri="{FF2B5EF4-FFF2-40B4-BE49-F238E27FC236}">
                <a16:creationId xmlns:a16="http://schemas.microsoft.com/office/drawing/2014/main" id="{F307A416-1124-4EAA-AD0A-7EC0A92CF2DC}"/>
              </a:ext>
            </a:extLst>
          </p:cNvPr>
          <p:cNvGrpSpPr/>
          <p:nvPr/>
        </p:nvGrpSpPr>
        <p:grpSpPr>
          <a:xfrm>
            <a:off x="2676474" y="1559298"/>
            <a:ext cx="2693787" cy="1708259"/>
            <a:chOff x="2676474" y="1559298"/>
            <a:chExt cx="2693787" cy="1708259"/>
          </a:xfrm>
          <a:solidFill>
            <a:srgbClr val="263143"/>
          </a:solidFill>
        </p:grpSpPr>
        <p:sp>
          <p:nvSpPr>
            <p:cNvPr id="12" name="Forma Livre: Forma 11">
              <a:extLst>
                <a:ext uri="{FF2B5EF4-FFF2-40B4-BE49-F238E27FC236}">
                  <a16:creationId xmlns:a16="http://schemas.microsoft.com/office/drawing/2014/main" id="{DD1D9A43-9833-4E81-854C-0308D2E4824A}"/>
                </a:ext>
              </a:extLst>
            </p:cNvPr>
            <p:cNvSpPr/>
            <p:nvPr/>
          </p:nvSpPr>
          <p:spPr>
            <a:xfrm>
              <a:off x="4406769" y="1955939"/>
              <a:ext cx="963492" cy="770928"/>
            </a:xfrm>
            <a:custGeom>
              <a:avLst/>
              <a:gdLst>
                <a:gd name="connsiteX0" fmla="*/ 520360 w 963492"/>
                <a:gd name="connsiteY0" fmla="*/ 224264 h 770928"/>
                <a:gd name="connsiteX1" fmla="*/ 313970 w 963492"/>
                <a:gd name="connsiteY1" fmla="*/ 216507 h 770928"/>
                <a:gd name="connsiteX2" fmla="*/ 319365 w 963492"/>
                <a:gd name="connsiteY2" fmla="*/ 71495 h 770928"/>
                <a:gd name="connsiteX3" fmla="*/ 0 w 963492"/>
                <a:gd name="connsiteY3" fmla="*/ 368265 h 770928"/>
                <a:gd name="connsiteX4" fmla="*/ 296770 w 963492"/>
                <a:gd name="connsiteY4" fmla="*/ 687630 h 770928"/>
                <a:gd name="connsiteX5" fmla="*/ 302166 w 963492"/>
                <a:gd name="connsiteY5" fmla="*/ 542618 h 770928"/>
                <a:gd name="connsiteX6" fmla="*/ 514627 w 963492"/>
                <a:gd name="connsiteY6" fmla="*/ 550374 h 770928"/>
                <a:gd name="connsiteX7" fmla="*/ 563527 w 963492"/>
                <a:gd name="connsiteY7" fmla="*/ 770928 h 770928"/>
                <a:gd name="connsiteX8" fmla="*/ 953375 w 963492"/>
                <a:gd name="connsiteY8" fmla="*/ 644127 h 770928"/>
                <a:gd name="connsiteX9" fmla="*/ 915941 w 963492"/>
                <a:gd name="connsiteY9" fmla="*/ 408059 h 770928"/>
                <a:gd name="connsiteX10" fmla="*/ 963492 w 963492"/>
                <a:gd name="connsiteY10" fmla="*/ 142652 h 770928"/>
                <a:gd name="connsiteX11" fmla="*/ 579377 w 963492"/>
                <a:gd name="connsiteY11" fmla="*/ 0 h 770928"/>
                <a:gd name="connsiteX12" fmla="*/ 520360 w 963492"/>
                <a:gd name="connsiteY12" fmla="*/ 224264 h 770928"/>
                <a:gd name="connsiteX13" fmla="*/ 520360 w 963492"/>
                <a:gd name="connsiteY13" fmla="*/ 224264 h 770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63492" h="770928">
                  <a:moveTo>
                    <a:pt x="520360" y="224264"/>
                  </a:moveTo>
                  <a:lnTo>
                    <a:pt x="313970" y="216507"/>
                  </a:lnTo>
                  <a:lnTo>
                    <a:pt x="319365" y="71495"/>
                  </a:lnTo>
                  <a:cubicBezTo>
                    <a:pt x="212123" y="170980"/>
                    <a:pt x="107242" y="268442"/>
                    <a:pt x="0" y="368265"/>
                  </a:cubicBezTo>
                  <a:cubicBezTo>
                    <a:pt x="99486" y="475507"/>
                    <a:pt x="197285" y="580388"/>
                    <a:pt x="296770" y="687630"/>
                  </a:cubicBezTo>
                  <a:lnTo>
                    <a:pt x="302166" y="542618"/>
                  </a:lnTo>
                  <a:lnTo>
                    <a:pt x="514627" y="550374"/>
                  </a:lnTo>
                  <a:cubicBezTo>
                    <a:pt x="523732" y="625241"/>
                    <a:pt x="540257" y="699097"/>
                    <a:pt x="563527" y="770928"/>
                  </a:cubicBezTo>
                  <a:lnTo>
                    <a:pt x="953375" y="644127"/>
                  </a:lnTo>
                  <a:cubicBezTo>
                    <a:pt x="929094" y="569934"/>
                    <a:pt x="915941" y="490346"/>
                    <a:pt x="915941" y="408059"/>
                  </a:cubicBezTo>
                  <a:cubicBezTo>
                    <a:pt x="915941" y="314644"/>
                    <a:pt x="932803" y="225276"/>
                    <a:pt x="963492" y="142652"/>
                  </a:cubicBezTo>
                  <a:lnTo>
                    <a:pt x="579377" y="0"/>
                  </a:lnTo>
                  <a:cubicBezTo>
                    <a:pt x="552060" y="72844"/>
                    <a:pt x="532501" y="148048"/>
                    <a:pt x="520360" y="224264"/>
                  </a:cubicBezTo>
                  <a:lnTo>
                    <a:pt x="520360" y="224264"/>
                  </a:lnTo>
                  <a:close/>
                </a:path>
              </a:pathLst>
            </a:custGeom>
            <a:grpFill/>
            <a:ln w="33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17" name="Gráfico 4">
              <a:extLst>
                <a:ext uri="{FF2B5EF4-FFF2-40B4-BE49-F238E27FC236}">
                  <a16:creationId xmlns:a16="http://schemas.microsoft.com/office/drawing/2014/main" id="{5CEEC0A2-53CC-4330-B8F5-D6870BE00C49}"/>
                </a:ext>
              </a:extLst>
            </p:cNvPr>
            <p:cNvGrpSpPr/>
            <p:nvPr/>
          </p:nvGrpSpPr>
          <p:grpSpPr>
            <a:xfrm>
              <a:off x="2676474" y="1559298"/>
              <a:ext cx="1626425" cy="1708259"/>
              <a:chOff x="2676474" y="1559298"/>
              <a:chExt cx="1626425" cy="1708259"/>
            </a:xfrm>
            <a:grpFill/>
          </p:grpSpPr>
          <p:sp>
            <p:nvSpPr>
              <p:cNvPr id="18" name="Forma Livre: Forma 17">
                <a:extLst>
                  <a:ext uri="{FF2B5EF4-FFF2-40B4-BE49-F238E27FC236}">
                    <a16:creationId xmlns:a16="http://schemas.microsoft.com/office/drawing/2014/main" id="{DAE37ACB-413F-4FA7-9A9D-C3D77F341BAA}"/>
                  </a:ext>
                </a:extLst>
              </p:cNvPr>
              <p:cNvSpPr/>
              <p:nvPr/>
            </p:nvSpPr>
            <p:spPr>
              <a:xfrm>
                <a:off x="2775288" y="1649967"/>
                <a:ext cx="1454430" cy="1526548"/>
              </a:xfrm>
              <a:custGeom>
                <a:avLst/>
                <a:gdLst>
                  <a:gd name="connsiteX0" fmla="*/ 5989 w 1454430"/>
                  <a:gd name="connsiteY0" fmla="*/ 781479 h 1526548"/>
                  <a:gd name="connsiteX1" fmla="*/ 538489 w 1454430"/>
                  <a:gd name="connsiteY1" fmla="*/ 1514300 h 1526548"/>
                  <a:gd name="connsiteX2" fmla="*/ 572888 w 1454430"/>
                  <a:gd name="connsiteY2" fmla="*/ 1524754 h 1526548"/>
                  <a:gd name="connsiteX3" fmla="*/ 1433859 w 1454430"/>
                  <a:gd name="connsiteY3" fmla="*/ 1244846 h 1526548"/>
                  <a:gd name="connsiteX4" fmla="*/ 1454431 w 1454430"/>
                  <a:gd name="connsiteY4" fmla="*/ 1216518 h 1526548"/>
                  <a:gd name="connsiteX5" fmla="*/ 1454431 w 1454430"/>
                  <a:gd name="connsiteY5" fmla="*/ 310019 h 1526548"/>
                  <a:gd name="connsiteX6" fmla="*/ 1431836 w 1454430"/>
                  <a:gd name="connsiteY6" fmla="*/ 281017 h 1526548"/>
                  <a:gd name="connsiteX7" fmla="*/ 571539 w 1454430"/>
                  <a:gd name="connsiteY7" fmla="*/ 1445 h 1526548"/>
                  <a:gd name="connsiteX8" fmla="*/ 538152 w 1454430"/>
                  <a:gd name="connsiteY8" fmla="*/ 12237 h 1526548"/>
                  <a:gd name="connsiteX9" fmla="*/ 5652 w 1454430"/>
                  <a:gd name="connsiteY9" fmla="*/ 746069 h 1526548"/>
                  <a:gd name="connsiteX10" fmla="*/ 5989 w 1454430"/>
                  <a:gd name="connsiteY10" fmla="*/ 781479 h 1526548"/>
                  <a:gd name="connsiteX11" fmla="*/ 5989 w 1454430"/>
                  <a:gd name="connsiteY11" fmla="*/ 781479 h 152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454430" h="1526548">
                    <a:moveTo>
                      <a:pt x="5989" y="781479"/>
                    </a:moveTo>
                    <a:lnTo>
                      <a:pt x="538489" y="1514300"/>
                    </a:lnTo>
                    <a:cubicBezTo>
                      <a:pt x="546583" y="1525429"/>
                      <a:pt x="560747" y="1529138"/>
                      <a:pt x="572888" y="1524754"/>
                    </a:cubicBezTo>
                    <a:lnTo>
                      <a:pt x="1433859" y="1244846"/>
                    </a:lnTo>
                    <a:cubicBezTo>
                      <a:pt x="1446337" y="1240799"/>
                      <a:pt x="1454431" y="1228995"/>
                      <a:pt x="1454431" y="1216518"/>
                    </a:cubicBezTo>
                    <a:lnTo>
                      <a:pt x="1454431" y="310019"/>
                    </a:lnTo>
                    <a:cubicBezTo>
                      <a:pt x="1454431" y="296192"/>
                      <a:pt x="1444988" y="284389"/>
                      <a:pt x="1431836" y="281017"/>
                    </a:cubicBezTo>
                    <a:lnTo>
                      <a:pt x="571539" y="1445"/>
                    </a:lnTo>
                    <a:cubicBezTo>
                      <a:pt x="559061" y="-2602"/>
                      <a:pt x="545571" y="2120"/>
                      <a:pt x="538152" y="12237"/>
                    </a:cubicBezTo>
                    <a:lnTo>
                      <a:pt x="5652" y="746069"/>
                    </a:lnTo>
                    <a:cubicBezTo>
                      <a:pt x="-2105" y="756861"/>
                      <a:pt x="-1768" y="771362"/>
                      <a:pt x="5989" y="781479"/>
                    </a:cubicBezTo>
                    <a:lnTo>
                      <a:pt x="5989" y="781479"/>
                    </a:lnTo>
                    <a:close/>
                  </a:path>
                </a:pathLst>
              </a:custGeom>
              <a:grpFill/>
              <a:ln w="33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9" name="Forma Livre: Forma 18">
                <a:extLst>
                  <a:ext uri="{FF2B5EF4-FFF2-40B4-BE49-F238E27FC236}">
                    <a16:creationId xmlns:a16="http://schemas.microsoft.com/office/drawing/2014/main" id="{8C2D2D5D-6B8E-4CDB-B48D-8F690CFDF41F}"/>
                  </a:ext>
                </a:extLst>
              </p:cNvPr>
              <p:cNvSpPr/>
              <p:nvPr/>
            </p:nvSpPr>
            <p:spPr>
              <a:xfrm>
                <a:off x="2676474" y="1559298"/>
                <a:ext cx="1626425" cy="1708259"/>
              </a:xfrm>
              <a:custGeom>
                <a:avLst/>
                <a:gdLst>
                  <a:gd name="connsiteX0" fmla="*/ 2957 w 1626425"/>
                  <a:gd name="connsiteY0" fmla="*/ 863043 h 1708259"/>
                  <a:gd name="connsiteX1" fmla="*/ 612685 w 1626425"/>
                  <a:gd name="connsiteY1" fmla="*/ 1702094 h 1708259"/>
                  <a:gd name="connsiteX2" fmla="*/ 629884 w 1626425"/>
                  <a:gd name="connsiteY2" fmla="*/ 1707490 h 1708259"/>
                  <a:gd name="connsiteX3" fmla="*/ 1615971 w 1626425"/>
                  <a:gd name="connsiteY3" fmla="*/ 1387112 h 1708259"/>
                  <a:gd name="connsiteX4" fmla="*/ 1626425 w 1626425"/>
                  <a:gd name="connsiteY4" fmla="*/ 1372948 h 1708259"/>
                  <a:gd name="connsiteX5" fmla="*/ 1626425 w 1626425"/>
                  <a:gd name="connsiteY5" fmla="*/ 335601 h 1708259"/>
                  <a:gd name="connsiteX6" fmla="*/ 1615297 w 1626425"/>
                  <a:gd name="connsiteY6" fmla="*/ 321100 h 1708259"/>
                  <a:gd name="connsiteX7" fmla="*/ 629547 w 1626425"/>
                  <a:gd name="connsiteY7" fmla="*/ 723 h 1708259"/>
                  <a:gd name="connsiteX8" fmla="*/ 613022 w 1626425"/>
                  <a:gd name="connsiteY8" fmla="*/ 6118 h 1708259"/>
                  <a:gd name="connsiteX9" fmla="*/ 2619 w 1626425"/>
                  <a:gd name="connsiteY9" fmla="*/ 845506 h 1708259"/>
                  <a:gd name="connsiteX10" fmla="*/ 2957 w 1626425"/>
                  <a:gd name="connsiteY10" fmla="*/ 863043 h 1708259"/>
                  <a:gd name="connsiteX11" fmla="*/ 2957 w 1626425"/>
                  <a:gd name="connsiteY11" fmla="*/ 863043 h 1708259"/>
                  <a:gd name="connsiteX12" fmla="*/ 33308 w 1626425"/>
                  <a:gd name="connsiteY12" fmla="*/ 854275 h 1708259"/>
                  <a:gd name="connsiteX13" fmla="*/ 630221 w 1626425"/>
                  <a:gd name="connsiteY13" fmla="*/ 32423 h 1708259"/>
                  <a:gd name="connsiteX14" fmla="*/ 1596411 w 1626425"/>
                  <a:gd name="connsiteY14" fmla="*/ 346393 h 1708259"/>
                  <a:gd name="connsiteX15" fmla="*/ 1596411 w 1626425"/>
                  <a:gd name="connsiteY15" fmla="*/ 1362157 h 1708259"/>
                  <a:gd name="connsiteX16" fmla="*/ 630221 w 1626425"/>
                  <a:gd name="connsiteY16" fmla="*/ 1675789 h 1708259"/>
                  <a:gd name="connsiteX17" fmla="*/ 33308 w 1626425"/>
                  <a:gd name="connsiteY17" fmla="*/ 854275 h 1708259"/>
                  <a:gd name="connsiteX18" fmla="*/ 33308 w 1626425"/>
                  <a:gd name="connsiteY18" fmla="*/ 854275 h 1708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626425" h="1708259">
                    <a:moveTo>
                      <a:pt x="2957" y="863043"/>
                    </a:moveTo>
                    <a:lnTo>
                      <a:pt x="612685" y="1702094"/>
                    </a:lnTo>
                    <a:cubicBezTo>
                      <a:pt x="616732" y="1707490"/>
                      <a:pt x="623814" y="1709513"/>
                      <a:pt x="629884" y="1707490"/>
                    </a:cubicBezTo>
                    <a:lnTo>
                      <a:pt x="1615971" y="1387112"/>
                    </a:lnTo>
                    <a:cubicBezTo>
                      <a:pt x="1622379" y="1385089"/>
                      <a:pt x="1626425" y="1379356"/>
                      <a:pt x="1626425" y="1372948"/>
                    </a:cubicBezTo>
                    <a:lnTo>
                      <a:pt x="1626425" y="335601"/>
                    </a:lnTo>
                    <a:cubicBezTo>
                      <a:pt x="1626425" y="328519"/>
                      <a:pt x="1621704" y="322786"/>
                      <a:pt x="1615297" y="321100"/>
                    </a:cubicBezTo>
                    <a:lnTo>
                      <a:pt x="629547" y="723"/>
                    </a:lnTo>
                    <a:cubicBezTo>
                      <a:pt x="623139" y="-1301"/>
                      <a:pt x="616394" y="1060"/>
                      <a:pt x="613022" y="6118"/>
                    </a:cubicBezTo>
                    <a:lnTo>
                      <a:pt x="2619" y="845506"/>
                    </a:lnTo>
                    <a:cubicBezTo>
                      <a:pt x="-1090" y="850902"/>
                      <a:pt x="-753" y="857984"/>
                      <a:pt x="2957" y="863043"/>
                    </a:cubicBezTo>
                    <a:lnTo>
                      <a:pt x="2957" y="863043"/>
                    </a:lnTo>
                    <a:close/>
                    <a:moveTo>
                      <a:pt x="33308" y="854275"/>
                    </a:moveTo>
                    <a:lnTo>
                      <a:pt x="630221" y="32423"/>
                    </a:lnTo>
                    <a:lnTo>
                      <a:pt x="1596411" y="346393"/>
                    </a:lnTo>
                    <a:lnTo>
                      <a:pt x="1596411" y="1362157"/>
                    </a:lnTo>
                    <a:lnTo>
                      <a:pt x="630221" y="1675789"/>
                    </a:lnTo>
                    <a:lnTo>
                      <a:pt x="33308" y="854275"/>
                    </a:lnTo>
                    <a:lnTo>
                      <a:pt x="33308" y="854275"/>
                    </a:lnTo>
                    <a:close/>
                  </a:path>
                </a:pathLst>
              </a:custGeom>
              <a:grpFill/>
              <a:ln w="33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35" name="Agrupar 34">
            <a:extLst>
              <a:ext uri="{FF2B5EF4-FFF2-40B4-BE49-F238E27FC236}">
                <a16:creationId xmlns:a16="http://schemas.microsoft.com/office/drawing/2014/main" id="{FCA7EB8E-0FB7-4ECE-8328-CE8BE1DC47B7}"/>
              </a:ext>
            </a:extLst>
          </p:cNvPr>
          <p:cNvGrpSpPr/>
          <p:nvPr/>
        </p:nvGrpSpPr>
        <p:grpSpPr>
          <a:xfrm>
            <a:off x="6085545" y="2985193"/>
            <a:ext cx="1683962" cy="2680760"/>
            <a:chOff x="6085545" y="2985193"/>
            <a:chExt cx="1683962" cy="2680760"/>
          </a:xfrm>
          <a:solidFill>
            <a:srgbClr val="BFCADB"/>
          </a:solidFill>
        </p:grpSpPr>
        <p:sp>
          <p:nvSpPr>
            <p:cNvPr id="9" name="Forma Livre: Forma 8">
              <a:extLst>
                <a:ext uri="{FF2B5EF4-FFF2-40B4-BE49-F238E27FC236}">
                  <a16:creationId xmlns:a16="http://schemas.microsoft.com/office/drawing/2014/main" id="{9E8382EB-B65D-4AC4-813A-2D291D5B912F}"/>
                </a:ext>
              </a:extLst>
            </p:cNvPr>
            <p:cNvSpPr/>
            <p:nvPr/>
          </p:nvSpPr>
          <p:spPr>
            <a:xfrm>
              <a:off x="6085545" y="2985193"/>
              <a:ext cx="724389" cy="975632"/>
            </a:xfrm>
            <a:custGeom>
              <a:avLst/>
              <a:gdLst>
                <a:gd name="connsiteX0" fmla="*/ 521709 w 724389"/>
                <a:gd name="connsiteY0" fmla="*/ 429305 h 975632"/>
                <a:gd name="connsiteX1" fmla="*/ 585784 w 724389"/>
                <a:gd name="connsiteY1" fmla="*/ 632660 h 975632"/>
                <a:gd name="connsiteX2" fmla="*/ 724389 w 724389"/>
                <a:gd name="connsiteY2" fmla="*/ 589156 h 975632"/>
                <a:gd name="connsiteX3" fmla="*/ 522721 w 724389"/>
                <a:gd name="connsiteY3" fmla="*/ 975633 h 975632"/>
                <a:gd name="connsiteX4" fmla="*/ 136245 w 724389"/>
                <a:gd name="connsiteY4" fmla="*/ 773964 h 975632"/>
                <a:gd name="connsiteX5" fmla="*/ 274850 w 724389"/>
                <a:gd name="connsiteY5" fmla="*/ 730460 h 975632"/>
                <a:gd name="connsiteX6" fmla="*/ 212461 w 724389"/>
                <a:gd name="connsiteY6" fmla="*/ 532500 h 975632"/>
                <a:gd name="connsiteX7" fmla="*/ 0 w 724389"/>
                <a:gd name="connsiteY7" fmla="*/ 552060 h 975632"/>
                <a:gd name="connsiteX8" fmla="*/ 0 w 724389"/>
                <a:gd name="connsiteY8" fmla="*/ 141640 h 975632"/>
                <a:gd name="connsiteX9" fmla="*/ 443132 w 724389"/>
                <a:gd name="connsiteY9" fmla="*/ 0 h 975632"/>
                <a:gd name="connsiteX10" fmla="*/ 681223 w 724389"/>
                <a:gd name="connsiteY10" fmla="*/ 333867 h 975632"/>
                <a:gd name="connsiteX11" fmla="*/ 521709 w 724389"/>
                <a:gd name="connsiteY11" fmla="*/ 429305 h 975632"/>
                <a:gd name="connsiteX12" fmla="*/ 521709 w 724389"/>
                <a:gd name="connsiteY12" fmla="*/ 429305 h 975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24389" h="975632">
                  <a:moveTo>
                    <a:pt x="521709" y="429305"/>
                  </a:moveTo>
                  <a:lnTo>
                    <a:pt x="585784" y="632660"/>
                  </a:lnTo>
                  <a:lnTo>
                    <a:pt x="724389" y="589156"/>
                  </a:lnTo>
                  <a:cubicBezTo>
                    <a:pt x="656604" y="718993"/>
                    <a:pt x="590506" y="845795"/>
                    <a:pt x="522721" y="975633"/>
                  </a:cubicBezTo>
                  <a:cubicBezTo>
                    <a:pt x="392884" y="907847"/>
                    <a:pt x="265744" y="841749"/>
                    <a:pt x="136245" y="773964"/>
                  </a:cubicBezTo>
                  <a:lnTo>
                    <a:pt x="274850" y="730460"/>
                  </a:lnTo>
                  <a:lnTo>
                    <a:pt x="212461" y="532500"/>
                  </a:lnTo>
                  <a:cubicBezTo>
                    <a:pt x="142652" y="545315"/>
                    <a:pt x="71495" y="552060"/>
                    <a:pt x="0" y="552060"/>
                  </a:cubicBezTo>
                  <a:lnTo>
                    <a:pt x="0" y="141640"/>
                  </a:lnTo>
                  <a:cubicBezTo>
                    <a:pt x="165247" y="141640"/>
                    <a:pt x="318016" y="89031"/>
                    <a:pt x="443132" y="0"/>
                  </a:cubicBezTo>
                  <a:lnTo>
                    <a:pt x="681223" y="333867"/>
                  </a:lnTo>
                  <a:cubicBezTo>
                    <a:pt x="630300" y="369951"/>
                    <a:pt x="577016" y="401652"/>
                    <a:pt x="521709" y="429305"/>
                  </a:cubicBezTo>
                  <a:lnTo>
                    <a:pt x="521709" y="429305"/>
                  </a:lnTo>
                  <a:close/>
                </a:path>
              </a:pathLst>
            </a:custGeom>
            <a:grpFill/>
            <a:ln w="3372" cap="flat">
              <a:solidFill>
                <a:srgbClr val="BFCADB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20" name="Gráfico 4">
              <a:extLst>
                <a:ext uri="{FF2B5EF4-FFF2-40B4-BE49-F238E27FC236}">
                  <a16:creationId xmlns:a16="http://schemas.microsoft.com/office/drawing/2014/main" id="{5CEEC0A2-53CC-4330-B8F5-D6870BE00C49}"/>
                </a:ext>
              </a:extLst>
            </p:cNvPr>
            <p:cNvGrpSpPr/>
            <p:nvPr/>
          </p:nvGrpSpPr>
          <p:grpSpPr>
            <a:xfrm>
              <a:off x="6142876" y="3957695"/>
              <a:ext cx="1626631" cy="1708258"/>
              <a:chOff x="6142876" y="3957695"/>
              <a:chExt cx="1626631" cy="1708258"/>
            </a:xfrm>
            <a:grpFill/>
          </p:grpSpPr>
          <p:sp>
            <p:nvSpPr>
              <p:cNvPr id="21" name="Forma Livre: Forma 20">
                <a:extLst>
                  <a:ext uri="{FF2B5EF4-FFF2-40B4-BE49-F238E27FC236}">
                    <a16:creationId xmlns:a16="http://schemas.microsoft.com/office/drawing/2014/main" id="{BD4297B1-E6C5-410D-9DE7-5A63F0064683}"/>
                  </a:ext>
                </a:extLst>
              </p:cNvPr>
              <p:cNvSpPr/>
              <p:nvPr/>
            </p:nvSpPr>
            <p:spPr>
              <a:xfrm>
                <a:off x="6212010" y="4049086"/>
                <a:ext cx="1454897" cy="1526548"/>
              </a:xfrm>
              <a:custGeom>
                <a:avLst/>
                <a:gdLst>
                  <a:gd name="connsiteX0" fmla="*/ 1448779 w 1454897"/>
                  <a:gd name="connsiteY0" fmla="*/ 781142 h 1526548"/>
                  <a:gd name="connsiteX1" fmla="*/ 1449116 w 1454897"/>
                  <a:gd name="connsiteY1" fmla="*/ 745732 h 1526548"/>
                  <a:gd name="connsiteX2" fmla="*/ 916278 w 1454897"/>
                  <a:gd name="connsiteY2" fmla="*/ 12237 h 1526548"/>
                  <a:gd name="connsiteX3" fmla="*/ 882892 w 1454897"/>
                  <a:gd name="connsiteY3" fmla="*/ 1445 h 1526548"/>
                  <a:gd name="connsiteX4" fmla="*/ 22595 w 1454897"/>
                  <a:gd name="connsiteY4" fmla="*/ 281017 h 1526548"/>
                  <a:gd name="connsiteX5" fmla="*/ 0 w 1454897"/>
                  <a:gd name="connsiteY5" fmla="*/ 310019 h 1526548"/>
                  <a:gd name="connsiteX6" fmla="*/ 0 w 1454897"/>
                  <a:gd name="connsiteY6" fmla="*/ 1216518 h 1526548"/>
                  <a:gd name="connsiteX7" fmla="*/ 20572 w 1454897"/>
                  <a:gd name="connsiteY7" fmla="*/ 1244846 h 1526548"/>
                  <a:gd name="connsiteX8" fmla="*/ 881880 w 1454897"/>
                  <a:gd name="connsiteY8" fmla="*/ 1524754 h 1526548"/>
                  <a:gd name="connsiteX9" fmla="*/ 916278 w 1454897"/>
                  <a:gd name="connsiteY9" fmla="*/ 1514300 h 1526548"/>
                  <a:gd name="connsiteX10" fmla="*/ 1448779 w 1454897"/>
                  <a:gd name="connsiteY10" fmla="*/ 781142 h 1526548"/>
                  <a:gd name="connsiteX11" fmla="*/ 1448779 w 1454897"/>
                  <a:gd name="connsiteY11" fmla="*/ 781142 h 152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454897" h="1526548">
                    <a:moveTo>
                      <a:pt x="1448779" y="781142"/>
                    </a:moveTo>
                    <a:cubicBezTo>
                      <a:pt x="1456536" y="771025"/>
                      <a:pt x="1457210" y="756523"/>
                      <a:pt x="1449116" y="745732"/>
                    </a:cubicBezTo>
                    <a:lnTo>
                      <a:pt x="916278" y="12237"/>
                    </a:lnTo>
                    <a:cubicBezTo>
                      <a:pt x="908859" y="2120"/>
                      <a:pt x="895370" y="-2602"/>
                      <a:pt x="882892" y="1445"/>
                    </a:cubicBezTo>
                    <a:lnTo>
                      <a:pt x="22595" y="281017"/>
                    </a:lnTo>
                    <a:cubicBezTo>
                      <a:pt x="9780" y="284389"/>
                      <a:pt x="0" y="296192"/>
                      <a:pt x="0" y="310019"/>
                    </a:cubicBezTo>
                    <a:lnTo>
                      <a:pt x="0" y="1216518"/>
                    </a:lnTo>
                    <a:cubicBezTo>
                      <a:pt x="0" y="1228996"/>
                      <a:pt x="8094" y="1240799"/>
                      <a:pt x="20572" y="1244846"/>
                    </a:cubicBezTo>
                    <a:lnTo>
                      <a:pt x="881880" y="1524754"/>
                    </a:lnTo>
                    <a:cubicBezTo>
                      <a:pt x="894021" y="1529138"/>
                      <a:pt x="908185" y="1525428"/>
                      <a:pt x="916278" y="1514300"/>
                    </a:cubicBezTo>
                    <a:lnTo>
                      <a:pt x="1448779" y="781142"/>
                    </a:lnTo>
                    <a:lnTo>
                      <a:pt x="1448779" y="781142"/>
                    </a:lnTo>
                    <a:close/>
                  </a:path>
                </a:pathLst>
              </a:custGeom>
              <a:grpFill/>
              <a:ln w="3372" cap="flat">
                <a:solidFill>
                  <a:srgbClr val="BFCADB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2" name="Forma Livre: Forma 21">
                <a:extLst>
                  <a:ext uri="{FF2B5EF4-FFF2-40B4-BE49-F238E27FC236}">
                    <a16:creationId xmlns:a16="http://schemas.microsoft.com/office/drawing/2014/main" id="{7D295126-8682-4D01-8D98-FF72D1F20EDF}"/>
                  </a:ext>
                </a:extLst>
              </p:cNvPr>
              <p:cNvSpPr/>
              <p:nvPr/>
            </p:nvSpPr>
            <p:spPr>
              <a:xfrm>
                <a:off x="6142876" y="3957695"/>
                <a:ext cx="1626631" cy="1708258"/>
              </a:xfrm>
              <a:custGeom>
                <a:avLst/>
                <a:gdLst>
                  <a:gd name="connsiteX0" fmla="*/ 1623806 w 1626631"/>
                  <a:gd name="connsiteY0" fmla="*/ 845216 h 1708258"/>
                  <a:gd name="connsiteX1" fmla="*/ 1014078 w 1626631"/>
                  <a:gd name="connsiteY1" fmla="*/ 6165 h 1708258"/>
                  <a:gd name="connsiteX2" fmla="*/ 996879 w 1626631"/>
                  <a:gd name="connsiteY2" fmla="*/ 770 h 1708258"/>
                  <a:gd name="connsiteX3" fmla="*/ 10454 w 1626631"/>
                  <a:gd name="connsiteY3" fmla="*/ 321147 h 1708258"/>
                  <a:gd name="connsiteX4" fmla="*/ 0 w 1626631"/>
                  <a:gd name="connsiteY4" fmla="*/ 335311 h 1708258"/>
                  <a:gd name="connsiteX5" fmla="*/ 0 w 1626631"/>
                  <a:gd name="connsiteY5" fmla="*/ 1372658 h 1708258"/>
                  <a:gd name="connsiteX6" fmla="*/ 11129 w 1626631"/>
                  <a:gd name="connsiteY6" fmla="*/ 1387159 h 1708258"/>
                  <a:gd name="connsiteX7" fmla="*/ 996879 w 1626631"/>
                  <a:gd name="connsiteY7" fmla="*/ 1707536 h 1708258"/>
                  <a:gd name="connsiteX8" fmla="*/ 1013403 w 1626631"/>
                  <a:gd name="connsiteY8" fmla="*/ 1702141 h 1708258"/>
                  <a:gd name="connsiteX9" fmla="*/ 1623131 w 1626631"/>
                  <a:gd name="connsiteY9" fmla="*/ 862753 h 1708258"/>
                  <a:gd name="connsiteX10" fmla="*/ 1623806 w 1626631"/>
                  <a:gd name="connsiteY10" fmla="*/ 845216 h 1708258"/>
                  <a:gd name="connsiteX11" fmla="*/ 1623806 w 1626631"/>
                  <a:gd name="connsiteY11" fmla="*/ 845216 h 1708258"/>
                  <a:gd name="connsiteX12" fmla="*/ 1593455 w 1626631"/>
                  <a:gd name="connsiteY12" fmla="*/ 854322 h 1708258"/>
                  <a:gd name="connsiteX13" fmla="*/ 996541 w 1626631"/>
                  <a:gd name="connsiteY13" fmla="*/ 1676173 h 1708258"/>
                  <a:gd name="connsiteX14" fmla="*/ 30689 w 1626631"/>
                  <a:gd name="connsiteY14" fmla="*/ 1362204 h 1708258"/>
                  <a:gd name="connsiteX15" fmla="*/ 30689 w 1626631"/>
                  <a:gd name="connsiteY15" fmla="*/ 346440 h 1708258"/>
                  <a:gd name="connsiteX16" fmla="*/ 996541 w 1626631"/>
                  <a:gd name="connsiteY16" fmla="*/ 32470 h 1708258"/>
                  <a:gd name="connsiteX17" fmla="*/ 1593455 w 1626631"/>
                  <a:gd name="connsiteY17" fmla="*/ 854322 h 1708258"/>
                  <a:gd name="connsiteX18" fmla="*/ 1593455 w 1626631"/>
                  <a:gd name="connsiteY18" fmla="*/ 854322 h 1708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626631" h="1708258">
                    <a:moveTo>
                      <a:pt x="1623806" y="845216"/>
                    </a:moveTo>
                    <a:lnTo>
                      <a:pt x="1014078" y="6165"/>
                    </a:lnTo>
                    <a:cubicBezTo>
                      <a:pt x="1010031" y="770"/>
                      <a:pt x="1002949" y="-1254"/>
                      <a:pt x="996879" y="770"/>
                    </a:cubicBezTo>
                    <a:lnTo>
                      <a:pt x="10454" y="321147"/>
                    </a:lnTo>
                    <a:cubicBezTo>
                      <a:pt x="4047" y="323170"/>
                      <a:pt x="0" y="328903"/>
                      <a:pt x="0" y="335311"/>
                    </a:cubicBezTo>
                    <a:lnTo>
                      <a:pt x="0" y="1372658"/>
                    </a:lnTo>
                    <a:cubicBezTo>
                      <a:pt x="0" y="1379740"/>
                      <a:pt x="4721" y="1385473"/>
                      <a:pt x="11129" y="1387159"/>
                    </a:cubicBezTo>
                    <a:lnTo>
                      <a:pt x="996879" y="1707536"/>
                    </a:lnTo>
                    <a:cubicBezTo>
                      <a:pt x="1003286" y="1709560"/>
                      <a:pt x="1009694" y="1707199"/>
                      <a:pt x="1013403" y="1702141"/>
                    </a:cubicBezTo>
                    <a:lnTo>
                      <a:pt x="1623131" y="862753"/>
                    </a:lnTo>
                    <a:cubicBezTo>
                      <a:pt x="1627853" y="857694"/>
                      <a:pt x="1627516" y="850275"/>
                      <a:pt x="1623806" y="845216"/>
                    </a:cubicBezTo>
                    <a:lnTo>
                      <a:pt x="1623806" y="845216"/>
                    </a:lnTo>
                    <a:close/>
                    <a:moveTo>
                      <a:pt x="1593455" y="854322"/>
                    </a:moveTo>
                    <a:lnTo>
                      <a:pt x="996541" y="1676173"/>
                    </a:lnTo>
                    <a:lnTo>
                      <a:pt x="30689" y="1362204"/>
                    </a:lnTo>
                    <a:lnTo>
                      <a:pt x="30689" y="346440"/>
                    </a:lnTo>
                    <a:lnTo>
                      <a:pt x="996541" y="32470"/>
                    </a:lnTo>
                    <a:lnTo>
                      <a:pt x="1593455" y="854322"/>
                    </a:lnTo>
                    <a:lnTo>
                      <a:pt x="1593455" y="854322"/>
                    </a:lnTo>
                    <a:close/>
                  </a:path>
                </a:pathLst>
              </a:custGeom>
              <a:grpFill/>
              <a:ln w="3372" cap="flat">
                <a:solidFill>
                  <a:srgbClr val="BFCADB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34" name="Agrupar 33">
            <a:extLst>
              <a:ext uri="{FF2B5EF4-FFF2-40B4-BE49-F238E27FC236}">
                <a16:creationId xmlns:a16="http://schemas.microsoft.com/office/drawing/2014/main" id="{E7FABD26-A6C3-4310-9CDE-2C1BC4736857}"/>
              </a:ext>
            </a:extLst>
          </p:cNvPr>
          <p:cNvGrpSpPr/>
          <p:nvPr/>
        </p:nvGrpSpPr>
        <p:grpSpPr>
          <a:xfrm>
            <a:off x="4412755" y="2989240"/>
            <a:ext cx="1672452" cy="2676713"/>
            <a:chOff x="4412755" y="2989240"/>
            <a:chExt cx="1672452" cy="2676713"/>
          </a:xfrm>
          <a:solidFill>
            <a:srgbClr val="899DBD"/>
          </a:solidFill>
        </p:grpSpPr>
        <p:sp>
          <p:nvSpPr>
            <p:cNvPr id="11" name="Forma Livre: Forma 10">
              <a:extLst>
                <a:ext uri="{FF2B5EF4-FFF2-40B4-BE49-F238E27FC236}">
                  <a16:creationId xmlns:a16="http://schemas.microsoft.com/office/drawing/2014/main" id="{2C819272-4321-4D9C-A282-696C89BDCC22}"/>
                </a:ext>
              </a:extLst>
            </p:cNvPr>
            <p:cNvSpPr/>
            <p:nvPr/>
          </p:nvSpPr>
          <p:spPr>
            <a:xfrm>
              <a:off x="5388809" y="2989240"/>
              <a:ext cx="696398" cy="978667"/>
            </a:xfrm>
            <a:custGeom>
              <a:avLst/>
              <a:gdLst>
                <a:gd name="connsiteX0" fmla="*/ 200995 w 696398"/>
                <a:gd name="connsiteY0" fmla="*/ 437736 h 978667"/>
                <a:gd name="connsiteX1" fmla="*/ 138605 w 696398"/>
                <a:gd name="connsiteY1" fmla="*/ 635696 h 978667"/>
                <a:gd name="connsiteX2" fmla="*/ 0 w 696398"/>
                <a:gd name="connsiteY2" fmla="*/ 592192 h 978667"/>
                <a:gd name="connsiteX3" fmla="*/ 201669 w 696398"/>
                <a:gd name="connsiteY3" fmla="*/ 978668 h 978667"/>
                <a:gd name="connsiteX4" fmla="*/ 588145 w 696398"/>
                <a:gd name="connsiteY4" fmla="*/ 776999 h 978667"/>
                <a:gd name="connsiteX5" fmla="*/ 449540 w 696398"/>
                <a:gd name="connsiteY5" fmla="*/ 733495 h 978667"/>
                <a:gd name="connsiteX6" fmla="*/ 512603 w 696398"/>
                <a:gd name="connsiteY6" fmla="*/ 533175 h 978667"/>
                <a:gd name="connsiteX7" fmla="*/ 696399 w 696398"/>
                <a:gd name="connsiteY7" fmla="*/ 547676 h 978667"/>
                <a:gd name="connsiteX8" fmla="*/ 696399 w 696398"/>
                <a:gd name="connsiteY8" fmla="*/ 137594 h 978667"/>
                <a:gd name="connsiteX9" fmla="*/ 259000 w 696398"/>
                <a:gd name="connsiteY9" fmla="*/ 0 h 978667"/>
                <a:gd name="connsiteX10" fmla="*/ 23944 w 696398"/>
                <a:gd name="connsiteY10" fmla="*/ 335890 h 978667"/>
                <a:gd name="connsiteX11" fmla="*/ 200995 w 696398"/>
                <a:gd name="connsiteY11" fmla="*/ 437736 h 978667"/>
                <a:gd name="connsiteX12" fmla="*/ 200995 w 696398"/>
                <a:gd name="connsiteY12" fmla="*/ 437736 h 978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96398" h="978667">
                  <a:moveTo>
                    <a:pt x="200995" y="437736"/>
                  </a:moveTo>
                  <a:lnTo>
                    <a:pt x="138605" y="635696"/>
                  </a:lnTo>
                  <a:lnTo>
                    <a:pt x="0" y="592192"/>
                  </a:lnTo>
                  <a:cubicBezTo>
                    <a:pt x="67785" y="722029"/>
                    <a:pt x="133884" y="848831"/>
                    <a:pt x="201669" y="978668"/>
                  </a:cubicBezTo>
                  <a:cubicBezTo>
                    <a:pt x="331506" y="910883"/>
                    <a:pt x="458645" y="844784"/>
                    <a:pt x="588145" y="776999"/>
                  </a:cubicBezTo>
                  <a:lnTo>
                    <a:pt x="449540" y="733495"/>
                  </a:lnTo>
                  <a:lnTo>
                    <a:pt x="512603" y="533175"/>
                  </a:lnTo>
                  <a:cubicBezTo>
                    <a:pt x="572969" y="542618"/>
                    <a:pt x="634684" y="547676"/>
                    <a:pt x="696399" y="547676"/>
                  </a:cubicBezTo>
                  <a:lnTo>
                    <a:pt x="696399" y="137594"/>
                  </a:lnTo>
                  <a:cubicBezTo>
                    <a:pt x="533849" y="137594"/>
                    <a:pt x="383104" y="86670"/>
                    <a:pt x="259000" y="0"/>
                  </a:cubicBezTo>
                  <a:lnTo>
                    <a:pt x="23944" y="335890"/>
                  </a:lnTo>
                  <a:cubicBezTo>
                    <a:pt x="80263" y="375010"/>
                    <a:pt x="139280" y="409071"/>
                    <a:pt x="200995" y="437736"/>
                  </a:cubicBezTo>
                  <a:lnTo>
                    <a:pt x="200995" y="437736"/>
                  </a:lnTo>
                  <a:close/>
                </a:path>
              </a:pathLst>
            </a:custGeom>
            <a:grpFill/>
            <a:ln w="33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23" name="Gráfico 4">
              <a:extLst>
                <a:ext uri="{FF2B5EF4-FFF2-40B4-BE49-F238E27FC236}">
                  <a16:creationId xmlns:a16="http://schemas.microsoft.com/office/drawing/2014/main" id="{5CEEC0A2-53CC-4330-B8F5-D6870BE00C49}"/>
                </a:ext>
              </a:extLst>
            </p:cNvPr>
            <p:cNvGrpSpPr/>
            <p:nvPr/>
          </p:nvGrpSpPr>
          <p:grpSpPr>
            <a:xfrm>
              <a:off x="4412755" y="3957695"/>
              <a:ext cx="1626588" cy="1708258"/>
              <a:chOff x="4412755" y="3957695"/>
              <a:chExt cx="1626588" cy="1708258"/>
            </a:xfrm>
            <a:grpFill/>
          </p:grpSpPr>
          <p:sp>
            <p:nvSpPr>
              <p:cNvPr id="24" name="Forma Livre: Forma 23">
                <a:extLst>
                  <a:ext uri="{FF2B5EF4-FFF2-40B4-BE49-F238E27FC236}">
                    <a16:creationId xmlns:a16="http://schemas.microsoft.com/office/drawing/2014/main" id="{5525B368-9BA6-420D-B751-45AD186DFE74}"/>
                  </a:ext>
                </a:extLst>
              </p:cNvPr>
              <p:cNvSpPr/>
              <p:nvPr/>
            </p:nvSpPr>
            <p:spPr>
              <a:xfrm>
                <a:off x="4515649" y="4049086"/>
                <a:ext cx="1454897" cy="1526548"/>
              </a:xfrm>
              <a:custGeom>
                <a:avLst/>
                <a:gdLst>
                  <a:gd name="connsiteX0" fmla="*/ 6119 w 1454897"/>
                  <a:gd name="connsiteY0" fmla="*/ 781142 h 1526548"/>
                  <a:gd name="connsiteX1" fmla="*/ 5781 w 1454897"/>
                  <a:gd name="connsiteY1" fmla="*/ 745732 h 1526548"/>
                  <a:gd name="connsiteX2" fmla="*/ 538619 w 1454897"/>
                  <a:gd name="connsiteY2" fmla="*/ 12237 h 1526548"/>
                  <a:gd name="connsiteX3" fmla="*/ 572006 w 1454897"/>
                  <a:gd name="connsiteY3" fmla="*/ 1445 h 1526548"/>
                  <a:gd name="connsiteX4" fmla="*/ 1432302 w 1454897"/>
                  <a:gd name="connsiteY4" fmla="*/ 281017 h 1526548"/>
                  <a:gd name="connsiteX5" fmla="*/ 1454897 w 1454897"/>
                  <a:gd name="connsiteY5" fmla="*/ 310019 h 1526548"/>
                  <a:gd name="connsiteX6" fmla="*/ 1454897 w 1454897"/>
                  <a:gd name="connsiteY6" fmla="*/ 1216518 h 1526548"/>
                  <a:gd name="connsiteX7" fmla="*/ 1434326 w 1454897"/>
                  <a:gd name="connsiteY7" fmla="*/ 1244846 h 1526548"/>
                  <a:gd name="connsiteX8" fmla="*/ 573355 w 1454897"/>
                  <a:gd name="connsiteY8" fmla="*/ 1524754 h 1526548"/>
                  <a:gd name="connsiteX9" fmla="*/ 538956 w 1454897"/>
                  <a:gd name="connsiteY9" fmla="*/ 1514300 h 1526548"/>
                  <a:gd name="connsiteX10" fmla="*/ 6119 w 1454897"/>
                  <a:gd name="connsiteY10" fmla="*/ 781142 h 1526548"/>
                  <a:gd name="connsiteX11" fmla="*/ 6119 w 1454897"/>
                  <a:gd name="connsiteY11" fmla="*/ 781142 h 152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454897" h="1526548">
                    <a:moveTo>
                      <a:pt x="6119" y="781142"/>
                    </a:moveTo>
                    <a:cubicBezTo>
                      <a:pt x="-1638" y="771025"/>
                      <a:pt x="-2312" y="756523"/>
                      <a:pt x="5781" y="745732"/>
                    </a:cubicBezTo>
                    <a:lnTo>
                      <a:pt x="538619" y="12237"/>
                    </a:lnTo>
                    <a:cubicBezTo>
                      <a:pt x="546038" y="2120"/>
                      <a:pt x="559528" y="-2602"/>
                      <a:pt x="572006" y="1445"/>
                    </a:cubicBezTo>
                    <a:lnTo>
                      <a:pt x="1432302" y="281017"/>
                    </a:lnTo>
                    <a:cubicBezTo>
                      <a:pt x="1445118" y="284389"/>
                      <a:pt x="1454897" y="296192"/>
                      <a:pt x="1454897" y="310019"/>
                    </a:cubicBezTo>
                    <a:lnTo>
                      <a:pt x="1454897" y="1216518"/>
                    </a:lnTo>
                    <a:cubicBezTo>
                      <a:pt x="1454897" y="1228996"/>
                      <a:pt x="1446804" y="1240799"/>
                      <a:pt x="1434326" y="1244846"/>
                    </a:cubicBezTo>
                    <a:lnTo>
                      <a:pt x="573355" y="1524754"/>
                    </a:lnTo>
                    <a:cubicBezTo>
                      <a:pt x="561214" y="1529138"/>
                      <a:pt x="547050" y="1525428"/>
                      <a:pt x="538956" y="1514300"/>
                    </a:cubicBezTo>
                    <a:lnTo>
                      <a:pt x="6119" y="781142"/>
                    </a:lnTo>
                    <a:lnTo>
                      <a:pt x="6119" y="781142"/>
                    </a:lnTo>
                    <a:close/>
                  </a:path>
                </a:pathLst>
              </a:custGeom>
              <a:grpFill/>
              <a:ln w="33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5" name="Forma Livre: Forma 24">
                <a:extLst>
                  <a:ext uri="{FF2B5EF4-FFF2-40B4-BE49-F238E27FC236}">
                    <a16:creationId xmlns:a16="http://schemas.microsoft.com/office/drawing/2014/main" id="{F07DE817-F2DA-4FB4-A091-4FDBF89FAFFB}"/>
                  </a:ext>
                </a:extLst>
              </p:cNvPr>
              <p:cNvSpPr/>
              <p:nvPr/>
            </p:nvSpPr>
            <p:spPr>
              <a:xfrm>
                <a:off x="4412755" y="3957695"/>
                <a:ext cx="1626588" cy="1708258"/>
              </a:xfrm>
              <a:custGeom>
                <a:avLst/>
                <a:gdLst>
                  <a:gd name="connsiteX0" fmla="*/ 3119 w 1626588"/>
                  <a:gd name="connsiteY0" fmla="*/ 845216 h 1708258"/>
                  <a:gd name="connsiteX1" fmla="*/ 612848 w 1626588"/>
                  <a:gd name="connsiteY1" fmla="*/ 6165 h 1708258"/>
                  <a:gd name="connsiteX2" fmla="*/ 630047 w 1626588"/>
                  <a:gd name="connsiteY2" fmla="*/ 770 h 1708258"/>
                  <a:gd name="connsiteX3" fmla="*/ 1616134 w 1626588"/>
                  <a:gd name="connsiteY3" fmla="*/ 321147 h 1708258"/>
                  <a:gd name="connsiteX4" fmla="*/ 1626588 w 1626588"/>
                  <a:gd name="connsiteY4" fmla="*/ 335311 h 1708258"/>
                  <a:gd name="connsiteX5" fmla="*/ 1626588 w 1626588"/>
                  <a:gd name="connsiteY5" fmla="*/ 1372658 h 1708258"/>
                  <a:gd name="connsiteX6" fmla="*/ 1615460 w 1626588"/>
                  <a:gd name="connsiteY6" fmla="*/ 1387159 h 1708258"/>
                  <a:gd name="connsiteX7" fmla="*/ 629710 w 1626588"/>
                  <a:gd name="connsiteY7" fmla="*/ 1707536 h 1708258"/>
                  <a:gd name="connsiteX8" fmla="*/ 613185 w 1626588"/>
                  <a:gd name="connsiteY8" fmla="*/ 1702141 h 1708258"/>
                  <a:gd name="connsiteX9" fmla="*/ 3457 w 1626588"/>
                  <a:gd name="connsiteY9" fmla="*/ 862753 h 1708258"/>
                  <a:gd name="connsiteX10" fmla="*/ 3119 w 1626588"/>
                  <a:gd name="connsiteY10" fmla="*/ 845216 h 1708258"/>
                  <a:gd name="connsiteX11" fmla="*/ 3119 w 1626588"/>
                  <a:gd name="connsiteY11" fmla="*/ 845216 h 1708258"/>
                  <a:gd name="connsiteX12" fmla="*/ 33471 w 1626588"/>
                  <a:gd name="connsiteY12" fmla="*/ 854322 h 1708258"/>
                  <a:gd name="connsiteX13" fmla="*/ 630384 w 1626588"/>
                  <a:gd name="connsiteY13" fmla="*/ 1676173 h 1708258"/>
                  <a:gd name="connsiteX14" fmla="*/ 1596574 w 1626588"/>
                  <a:gd name="connsiteY14" fmla="*/ 1362204 h 1708258"/>
                  <a:gd name="connsiteX15" fmla="*/ 1596574 w 1626588"/>
                  <a:gd name="connsiteY15" fmla="*/ 346440 h 1708258"/>
                  <a:gd name="connsiteX16" fmla="*/ 630384 w 1626588"/>
                  <a:gd name="connsiteY16" fmla="*/ 32470 h 1708258"/>
                  <a:gd name="connsiteX17" fmla="*/ 33471 w 1626588"/>
                  <a:gd name="connsiteY17" fmla="*/ 854322 h 1708258"/>
                  <a:gd name="connsiteX18" fmla="*/ 33471 w 1626588"/>
                  <a:gd name="connsiteY18" fmla="*/ 854322 h 1708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626588" h="1708258">
                    <a:moveTo>
                      <a:pt x="3119" y="845216"/>
                    </a:moveTo>
                    <a:lnTo>
                      <a:pt x="612848" y="6165"/>
                    </a:lnTo>
                    <a:cubicBezTo>
                      <a:pt x="616895" y="770"/>
                      <a:pt x="623977" y="-1254"/>
                      <a:pt x="630047" y="770"/>
                    </a:cubicBezTo>
                    <a:lnTo>
                      <a:pt x="1616134" y="321147"/>
                    </a:lnTo>
                    <a:cubicBezTo>
                      <a:pt x="1622541" y="323170"/>
                      <a:pt x="1626588" y="328903"/>
                      <a:pt x="1626588" y="335311"/>
                    </a:cubicBezTo>
                    <a:lnTo>
                      <a:pt x="1626588" y="1372658"/>
                    </a:lnTo>
                    <a:cubicBezTo>
                      <a:pt x="1626588" y="1379740"/>
                      <a:pt x="1621867" y="1385473"/>
                      <a:pt x="1615460" y="1387159"/>
                    </a:cubicBezTo>
                    <a:lnTo>
                      <a:pt x="629710" y="1707536"/>
                    </a:lnTo>
                    <a:cubicBezTo>
                      <a:pt x="623302" y="1709560"/>
                      <a:pt x="616557" y="1707199"/>
                      <a:pt x="613185" y="1702141"/>
                    </a:cubicBezTo>
                    <a:lnTo>
                      <a:pt x="3457" y="862753"/>
                    </a:lnTo>
                    <a:cubicBezTo>
                      <a:pt x="-1265" y="857694"/>
                      <a:pt x="-927" y="850275"/>
                      <a:pt x="3119" y="845216"/>
                    </a:cubicBezTo>
                    <a:lnTo>
                      <a:pt x="3119" y="845216"/>
                    </a:lnTo>
                    <a:close/>
                    <a:moveTo>
                      <a:pt x="33471" y="854322"/>
                    </a:moveTo>
                    <a:lnTo>
                      <a:pt x="630384" y="1676173"/>
                    </a:lnTo>
                    <a:lnTo>
                      <a:pt x="1596574" y="1362204"/>
                    </a:lnTo>
                    <a:lnTo>
                      <a:pt x="1596574" y="346440"/>
                    </a:lnTo>
                    <a:lnTo>
                      <a:pt x="630384" y="32470"/>
                    </a:lnTo>
                    <a:lnTo>
                      <a:pt x="33471" y="854322"/>
                    </a:lnTo>
                    <a:lnTo>
                      <a:pt x="33471" y="854322"/>
                    </a:lnTo>
                    <a:close/>
                  </a:path>
                </a:pathLst>
              </a:custGeom>
              <a:grpFill/>
              <a:ln w="33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36" name="Agrupar 35">
            <a:extLst>
              <a:ext uri="{FF2B5EF4-FFF2-40B4-BE49-F238E27FC236}">
                <a16:creationId xmlns:a16="http://schemas.microsoft.com/office/drawing/2014/main" id="{42353C30-4073-4D5D-8B5C-ABF42C8C61C3}"/>
              </a:ext>
            </a:extLst>
          </p:cNvPr>
          <p:cNvGrpSpPr/>
          <p:nvPr/>
        </p:nvGrpSpPr>
        <p:grpSpPr>
          <a:xfrm>
            <a:off x="6529015" y="2600740"/>
            <a:ext cx="2338752" cy="2146912"/>
            <a:chOff x="6529015" y="2600740"/>
            <a:chExt cx="2338752" cy="2146912"/>
          </a:xfrm>
          <a:solidFill>
            <a:srgbClr val="899DBD"/>
          </a:solidFill>
        </p:grpSpPr>
        <p:sp>
          <p:nvSpPr>
            <p:cNvPr id="8" name="Forma Livre: Forma 7">
              <a:extLst>
                <a:ext uri="{FF2B5EF4-FFF2-40B4-BE49-F238E27FC236}">
                  <a16:creationId xmlns:a16="http://schemas.microsoft.com/office/drawing/2014/main" id="{CEC635F8-AA1E-4B03-AA22-19022B11B2CC}"/>
                </a:ext>
              </a:extLst>
            </p:cNvPr>
            <p:cNvSpPr/>
            <p:nvPr/>
          </p:nvSpPr>
          <p:spPr>
            <a:xfrm>
              <a:off x="6529015" y="2600740"/>
              <a:ext cx="923697" cy="813420"/>
            </a:xfrm>
            <a:custGeom>
              <a:avLst/>
              <a:gdLst>
                <a:gd name="connsiteX0" fmla="*/ 596576 w 923697"/>
                <a:gd name="connsiteY0" fmla="*/ 304864 h 813420"/>
                <a:gd name="connsiteX1" fmla="*/ 771266 w 923697"/>
                <a:gd name="connsiteY1" fmla="*/ 433015 h 813420"/>
                <a:gd name="connsiteX2" fmla="*/ 857262 w 923697"/>
                <a:gd name="connsiteY2" fmla="*/ 315993 h 813420"/>
                <a:gd name="connsiteX3" fmla="*/ 923698 w 923697"/>
                <a:gd name="connsiteY3" fmla="*/ 746985 h 813420"/>
                <a:gd name="connsiteX4" fmla="*/ 492706 w 923697"/>
                <a:gd name="connsiteY4" fmla="*/ 813421 h 813420"/>
                <a:gd name="connsiteX5" fmla="*/ 578702 w 923697"/>
                <a:gd name="connsiteY5" fmla="*/ 696399 h 813420"/>
                <a:gd name="connsiteX6" fmla="*/ 407722 w 923697"/>
                <a:gd name="connsiteY6" fmla="*/ 570946 h 813420"/>
                <a:gd name="connsiteX7" fmla="*/ 238091 w 923697"/>
                <a:gd name="connsiteY7" fmla="*/ 718656 h 813420"/>
                <a:gd name="connsiteX8" fmla="*/ 0 w 923697"/>
                <a:gd name="connsiteY8" fmla="*/ 384790 h 813420"/>
                <a:gd name="connsiteX9" fmla="*/ 282606 w 923697"/>
                <a:gd name="connsiteY9" fmla="*/ 0 h 813420"/>
                <a:gd name="connsiteX10" fmla="*/ 672455 w 923697"/>
                <a:gd name="connsiteY10" fmla="*/ 126802 h 813420"/>
                <a:gd name="connsiteX11" fmla="*/ 596576 w 923697"/>
                <a:gd name="connsiteY11" fmla="*/ 304864 h 813420"/>
                <a:gd name="connsiteX12" fmla="*/ 596576 w 923697"/>
                <a:gd name="connsiteY12" fmla="*/ 304864 h 813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23697" h="813420">
                  <a:moveTo>
                    <a:pt x="596576" y="304864"/>
                  </a:moveTo>
                  <a:lnTo>
                    <a:pt x="771266" y="433015"/>
                  </a:lnTo>
                  <a:lnTo>
                    <a:pt x="857262" y="315993"/>
                  </a:lnTo>
                  <a:cubicBezTo>
                    <a:pt x="879519" y="460669"/>
                    <a:pt x="901440" y="602309"/>
                    <a:pt x="923698" y="746985"/>
                  </a:cubicBezTo>
                  <a:cubicBezTo>
                    <a:pt x="779022" y="769242"/>
                    <a:pt x="637382" y="791163"/>
                    <a:pt x="492706" y="813421"/>
                  </a:cubicBezTo>
                  <a:lnTo>
                    <a:pt x="578702" y="696399"/>
                  </a:lnTo>
                  <a:lnTo>
                    <a:pt x="407722" y="570946"/>
                  </a:lnTo>
                  <a:cubicBezTo>
                    <a:pt x="356462" y="625241"/>
                    <a:pt x="299468" y="674815"/>
                    <a:pt x="238091" y="718656"/>
                  </a:cubicBezTo>
                  <a:lnTo>
                    <a:pt x="0" y="384790"/>
                  </a:lnTo>
                  <a:cubicBezTo>
                    <a:pt x="131186" y="291037"/>
                    <a:pt x="231346" y="156479"/>
                    <a:pt x="282606" y="0"/>
                  </a:cubicBezTo>
                  <a:lnTo>
                    <a:pt x="672455" y="126802"/>
                  </a:lnTo>
                  <a:cubicBezTo>
                    <a:pt x="651209" y="188179"/>
                    <a:pt x="626253" y="247871"/>
                    <a:pt x="596576" y="304864"/>
                  </a:cubicBezTo>
                  <a:lnTo>
                    <a:pt x="596576" y="304864"/>
                  </a:lnTo>
                  <a:close/>
                </a:path>
              </a:pathLst>
            </a:custGeom>
            <a:grpFill/>
            <a:ln w="33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26" name="Gráfico 4">
              <a:extLst>
                <a:ext uri="{FF2B5EF4-FFF2-40B4-BE49-F238E27FC236}">
                  <a16:creationId xmlns:a16="http://schemas.microsoft.com/office/drawing/2014/main" id="{5CEEC0A2-53CC-4330-B8F5-D6870BE00C49}"/>
                </a:ext>
              </a:extLst>
            </p:cNvPr>
            <p:cNvGrpSpPr/>
            <p:nvPr/>
          </p:nvGrpSpPr>
          <p:grpSpPr>
            <a:xfrm>
              <a:off x="7241179" y="3039393"/>
              <a:ext cx="1626588" cy="1708259"/>
              <a:chOff x="7241179" y="3039393"/>
              <a:chExt cx="1626588" cy="1708259"/>
            </a:xfrm>
            <a:grpFill/>
          </p:grpSpPr>
          <p:sp>
            <p:nvSpPr>
              <p:cNvPr id="27" name="Forma Livre: Forma 26">
                <a:extLst>
                  <a:ext uri="{FF2B5EF4-FFF2-40B4-BE49-F238E27FC236}">
                    <a16:creationId xmlns:a16="http://schemas.microsoft.com/office/drawing/2014/main" id="{E5520296-AB3E-4890-9DE0-6231E7638BC3}"/>
                  </a:ext>
                </a:extLst>
              </p:cNvPr>
              <p:cNvSpPr/>
              <p:nvPr/>
            </p:nvSpPr>
            <p:spPr>
              <a:xfrm>
                <a:off x="7336784" y="3126388"/>
                <a:ext cx="1454767" cy="1526548"/>
              </a:xfrm>
              <a:custGeom>
                <a:avLst/>
                <a:gdLst>
                  <a:gd name="connsiteX0" fmla="*/ 5989 w 1454767"/>
                  <a:gd name="connsiteY0" fmla="*/ 745070 h 1526548"/>
                  <a:gd name="connsiteX1" fmla="*/ 538489 w 1454767"/>
                  <a:gd name="connsiteY1" fmla="*/ 12249 h 1526548"/>
                  <a:gd name="connsiteX2" fmla="*/ 572888 w 1454767"/>
                  <a:gd name="connsiteY2" fmla="*/ 1795 h 1526548"/>
                  <a:gd name="connsiteX3" fmla="*/ 1434196 w 1454767"/>
                  <a:gd name="connsiteY3" fmla="*/ 281703 h 1526548"/>
                  <a:gd name="connsiteX4" fmla="*/ 1454768 w 1454767"/>
                  <a:gd name="connsiteY4" fmla="*/ 310031 h 1526548"/>
                  <a:gd name="connsiteX5" fmla="*/ 1454768 w 1454767"/>
                  <a:gd name="connsiteY5" fmla="*/ 310031 h 1526548"/>
                  <a:gd name="connsiteX6" fmla="*/ 1454768 w 1454767"/>
                  <a:gd name="connsiteY6" fmla="*/ 1216530 h 1526548"/>
                  <a:gd name="connsiteX7" fmla="*/ 1432173 w 1454767"/>
                  <a:gd name="connsiteY7" fmla="*/ 1245532 h 1526548"/>
                  <a:gd name="connsiteX8" fmla="*/ 571876 w 1454767"/>
                  <a:gd name="connsiteY8" fmla="*/ 1525103 h 1526548"/>
                  <a:gd name="connsiteX9" fmla="*/ 538489 w 1454767"/>
                  <a:gd name="connsiteY9" fmla="*/ 1514312 h 1526548"/>
                  <a:gd name="connsiteX10" fmla="*/ 5651 w 1454767"/>
                  <a:gd name="connsiteY10" fmla="*/ 780817 h 1526548"/>
                  <a:gd name="connsiteX11" fmla="*/ 5989 w 1454767"/>
                  <a:gd name="connsiteY11" fmla="*/ 745070 h 1526548"/>
                  <a:gd name="connsiteX12" fmla="*/ 5989 w 1454767"/>
                  <a:gd name="connsiteY12" fmla="*/ 745070 h 152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454767" h="1526548">
                    <a:moveTo>
                      <a:pt x="5989" y="745070"/>
                    </a:moveTo>
                    <a:lnTo>
                      <a:pt x="538489" y="12249"/>
                    </a:lnTo>
                    <a:cubicBezTo>
                      <a:pt x="546583" y="1120"/>
                      <a:pt x="560747" y="-2589"/>
                      <a:pt x="572888" y="1795"/>
                    </a:cubicBezTo>
                    <a:lnTo>
                      <a:pt x="1434196" y="281703"/>
                    </a:lnTo>
                    <a:cubicBezTo>
                      <a:pt x="1446674" y="285750"/>
                      <a:pt x="1454768" y="297553"/>
                      <a:pt x="1454768" y="310031"/>
                    </a:cubicBezTo>
                    <a:lnTo>
                      <a:pt x="1454768" y="310031"/>
                    </a:lnTo>
                    <a:lnTo>
                      <a:pt x="1454768" y="1216530"/>
                    </a:lnTo>
                    <a:cubicBezTo>
                      <a:pt x="1454768" y="1230356"/>
                      <a:pt x="1445325" y="1242160"/>
                      <a:pt x="1432173" y="1245532"/>
                    </a:cubicBezTo>
                    <a:lnTo>
                      <a:pt x="571876" y="1525103"/>
                    </a:lnTo>
                    <a:cubicBezTo>
                      <a:pt x="559398" y="1529150"/>
                      <a:pt x="545909" y="1524429"/>
                      <a:pt x="538489" y="1514312"/>
                    </a:cubicBezTo>
                    <a:lnTo>
                      <a:pt x="5651" y="780817"/>
                    </a:lnTo>
                    <a:cubicBezTo>
                      <a:pt x="-2105" y="769688"/>
                      <a:pt x="-1768" y="755187"/>
                      <a:pt x="5989" y="745070"/>
                    </a:cubicBezTo>
                    <a:lnTo>
                      <a:pt x="5989" y="745070"/>
                    </a:lnTo>
                    <a:close/>
                  </a:path>
                </a:pathLst>
              </a:custGeom>
              <a:grpFill/>
              <a:ln w="33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8" name="Forma Livre: Forma 27">
                <a:extLst>
                  <a:ext uri="{FF2B5EF4-FFF2-40B4-BE49-F238E27FC236}">
                    <a16:creationId xmlns:a16="http://schemas.microsoft.com/office/drawing/2014/main" id="{8D268CFA-94D1-4B86-928C-0905F5014BE0}"/>
                  </a:ext>
                </a:extLst>
              </p:cNvPr>
              <p:cNvSpPr/>
              <p:nvPr/>
            </p:nvSpPr>
            <p:spPr>
              <a:xfrm>
                <a:off x="7241179" y="3039393"/>
                <a:ext cx="1626588" cy="1708259"/>
              </a:xfrm>
              <a:custGeom>
                <a:avLst/>
                <a:gdLst>
                  <a:gd name="connsiteX0" fmla="*/ 3119 w 1626588"/>
                  <a:gd name="connsiteY0" fmla="*/ 845216 h 1708259"/>
                  <a:gd name="connsiteX1" fmla="*/ 612848 w 1626588"/>
                  <a:gd name="connsiteY1" fmla="*/ 6165 h 1708259"/>
                  <a:gd name="connsiteX2" fmla="*/ 630047 w 1626588"/>
                  <a:gd name="connsiteY2" fmla="*/ 770 h 1708259"/>
                  <a:gd name="connsiteX3" fmla="*/ 1616134 w 1626588"/>
                  <a:gd name="connsiteY3" fmla="*/ 321147 h 1708259"/>
                  <a:gd name="connsiteX4" fmla="*/ 1626588 w 1626588"/>
                  <a:gd name="connsiteY4" fmla="*/ 335311 h 1708259"/>
                  <a:gd name="connsiteX5" fmla="*/ 1626588 w 1626588"/>
                  <a:gd name="connsiteY5" fmla="*/ 1372658 h 1708259"/>
                  <a:gd name="connsiteX6" fmla="*/ 1615459 w 1626588"/>
                  <a:gd name="connsiteY6" fmla="*/ 1387159 h 1708259"/>
                  <a:gd name="connsiteX7" fmla="*/ 629710 w 1626588"/>
                  <a:gd name="connsiteY7" fmla="*/ 1707537 h 1708259"/>
                  <a:gd name="connsiteX8" fmla="*/ 613185 w 1626588"/>
                  <a:gd name="connsiteY8" fmla="*/ 1702141 h 1708259"/>
                  <a:gd name="connsiteX9" fmla="*/ 3457 w 1626588"/>
                  <a:gd name="connsiteY9" fmla="*/ 862753 h 1708259"/>
                  <a:gd name="connsiteX10" fmla="*/ 3119 w 1626588"/>
                  <a:gd name="connsiteY10" fmla="*/ 845216 h 1708259"/>
                  <a:gd name="connsiteX11" fmla="*/ 3119 w 1626588"/>
                  <a:gd name="connsiteY11" fmla="*/ 845216 h 1708259"/>
                  <a:gd name="connsiteX12" fmla="*/ 33471 w 1626588"/>
                  <a:gd name="connsiteY12" fmla="*/ 854322 h 1708259"/>
                  <a:gd name="connsiteX13" fmla="*/ 630384 w 1626588"/>
                  <a:gd name="connsiteY13" fmla="*/ 1676173 h 1708259"/>
                  <a:gd name="connsiteX14" fmla="*/ 1596237 w 1626588"/>
                  <a:gd name="connsiteY14" fmla="*/ 1362204 h 1708259"/>
                  <a:gd name="connsiteX15" fmla="*/ 1596237 w 1626588"/>
                  <a:gd name="connsiteY15" fmla="*/ 346440 h 1708259"/>
                  <a:gd name="connsiteX16" fmla="*/ 630384 w 1626588"/>
                  <a:gd name="connsiteY16" fmla="*/ 32470 h 1708259"/>
                  <a:gd name="connsiteX17" fmla="*/ 33471 w 1626588"/>
                  <a:gd name="connsiteY17" fmla="*/ 854322 h 1708259"/>
                  <a:gd name="connsiteX18" fmla="*/ 33471 w 1626588"/>
                  <a:gd name="connsiteY18" fmla="*/ 854322 h 1708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626588" h="1708259">
                    <a:moveTo>
                      <a:pt x="3119" y="845216"/>
                    </a:moveTo>
                    <a:lnTo>
                      <a:pt x="612848" y="6165"/>
                    </a:lnTo>
                    <a:cubicBezTo>
                      <a:pt x="616895" y="770"/>
                      <a:pt x="623977" y="-1254"/>
                      <a:pt x="630047" y="770"/>
                    </a:cubicBezTo>
                    <a:lnTo>
                      <a:pt x="1616134" y="321147"/>
                    </a:lnTo>
                    <a:cubicBezTo>
                      <a:pt x="1622541" y="323170"/>
                      <a:pt x="1626588" y="328903"/>
                      <a:pt x="1626588" y="335311"/>
                    </a:cubicBezTo>
                    <a:lnTo>
                      <a:pt x="1626588" y="1372658"/>
                    </a:lnTo>
                    <a:cubicBezTo>
                      <a:pt x="1626588" y="1379740"/>
                      <a:pt x="1621867" y="1385473"/>
                      <a:pt x="1615459" y="1387159"/>
                    </a:cubicBezTo>
                    <a:lnTo>
                      <a:pt x="629710" y="1707537"/>
                    </a:lnTo>
                    <a:cubicBezTo>
                      <a:pt x="623302" y="1709560"/>
                      <a:pt x="616895" y="1707199"/>
                      <a:pt x="613185" y="1702141"/>
                    </a:cubicBezTo>
                    <a:lnTo>
                      <a:pt x="3457" y="862753"/>
                    </a:lnTo>
                    <a:cubicBezTo>
                      <a:pt x="-1265" y="857694"/>
                      <a:pt x="-927" y="850612"/>
                      <a:pt x="3119" y="845216"/>
                    </a:cubicBezTo>
                    <a:lnTo>
                      <a:pt x="3119" y="845216"/>
                    </a:lnTo>
                    <a:close/>
                    <a:moveTo>
                      <a:pt x="33471" y="854322"/>
                    </a:moveTo>
                    <a:lnTo>
                      <a:pt x="630384" y="1676173"/>
                    </a:lnTo>
                    <a:lnTo>
                      <a:pt x="1596237" y="1362204"/>
                    </a:lnTo>
                    <a:lnTo>
                      <a:pt x="1596237" y="346440"/>
                    </a:lnTo>
                    <a:lnTo>
                      <a:pt x="630384" y="32470"/>
                    </a:lnTo>
                    <a:lnTo>
                      <a:pt x="33471" y="854322"/>
                    </a:lnTo>
                    <a:lnTo>
                      <a:pt x="33471" y="854322"/>
                    </a:lnTo>
                    <a:close/>
                  </a:path>
                </a:pathLst>
              </a:custGeom>
              <a:grpFill/>
              <a:ln w="33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37" name="Agrupar 36">
            <a:extLst>
              <a:ext uri="{FF2B5EF4-FFF2-40B4-BE49-F238E27FC236}">
                <a16:creationId xmlns:a16="http://schemas.microsoft.com/office/drawing/2014/main" id="{1CA3DE4E-73D3-47C3-9352-2D1AC2213C8E}"/>
              </a:ext>
            </a:extLst>
          </p:cNvPr>
          <p:cNvGrpSpPr/>
          <p:nvPr/>
        </p:nvGrpSpPr>
        <p:grpSpPr>
          <a:xfrm>
            <a:off x="6800155" y="1559298"/>
            <a:ext cx="2714947" cy="1708259"/>
            <a:chOff x="6800155" y="1559298"/>
            <a:chExt cx="2714947" cy="1708259"/>
          </a:xfrm>
          <a:solidFill>
            <a:srgbClr val="4B6185"/>
          </a:solidFill>
        </p:grpSpPr>
        <p:sp>
          <p:nvSpPr>
            <p:cNvPr id="13" name="Forma Livre: Forma 12">
              <a:extLst>
                <a:ext uri="{FF2B5EF4-FFF2-40B4-BE49-F238E27FC236}">
                  <a16:creationId xmlns:a16="http://schemas.microsoft.com/office/drawing/2014/main" id="{789AF869-B605-4882-BD51-0C17C8BD01C0}"/>
                </a:ext>
              </a:extLst>
            </p:cNvPr>
            <p:cNvSpPr/>
            <p:nvPr/>
          </p:nvSpPr>
          <p:spPr>
            <a:xfrm>
              <a:off x="6800155" y="1955939"/>
              <a:ext cx="946292" cy="770928"/>
            </a:xfrm>
            <a:custGeom>
              <a:avLst/>
              <a:gdLst>
                <a:gd name="connsiteX0" fmla="*/ 443132 w 946292"/>
                <a:gd name="connsiteY0" fmla="*/ 223589 h 770928"/>
                <a:gd name="connsiteX1" fmla="*/ 632323 w 946292"/>
                <a:gd name="connsiteY1" fmla="*/ 216507 h 770928"/>
                <a:gd name="connsiteX2" fmla="*/ 626927 w 946292"/>
                <a:gd name="connsiteY2" fmla="*/ 71495 h 770928"/>
                <a:gd name="connsiteX3" fmla="*/ 946293 w 946292"/>
                <a:gd name="connsiteY3" fmla="*/ 368265 h 770928"/>
                <a:gd name="connsiteX4" fmla="*/ 649522 w 946292"/>
                <a:gd name="connsiteY4" fmla="*/ 687630 h 770928"/>
                <a:gd name="connsiteX5" fmla="*/ 644127 w 946292"/>
                <a:gd name="connsiteY5" fmla="*/ 542618 h 770928"/>
                <a:gd name="connsiteX6" fmla="*/ 448865 w 946292"/>
                <a:gd name="connsiteY6" fmla="*/ 549700 h 770928"/>
                <a:gd name="connsiteX7" fmla="*/ 399965 w 946292"/>
                <a:gd name="connsiteY7" fmla="*/ 770928 h 770928"/>
                <a:gd name="connsiteX8" fmla="*/ 10117 w 946292"/>
                <a:gd name="connsiteY8" fmla="*/ 644127 h 770928"/>
                <a:gd name="connsiteX9" fmla="*/ 47551 w 946292"/>
                <a:gd name="connsiteY9" fmla="*/ 408059 h 770928"/>
                <a:gd name="connsiteX10" fmla="*/ 0 w 946292"/>
                <a:gd name="connsiteY10" fmla="*/ 142652 h 770928"/>
                <a:gd name="connsiteX11" fmla="*/ 384115 w 946292"/>
                <a:gd name="connsiteY11" fmla="*/ 0 h 770928"/>
                <a:gd name="connsiteX12" fmla="*/ 443132 w 946292"/>
                <a:gd name="connsiteY12" fmla="*/ 223589 h 770928"/>
                <a:gd name="connsiteX13" fmla="*/ 443132 w 946292"/>
                <a:gd name="connsiteY13" fmla="*/ 223589 h 770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46292" h="770928">
                  <a:moveTo>
                    <a:pt x="443132" y="223589"/>
                  </a:moveTo>
                  <a:lnTo>
                    <a:pt x="632323" y="216507"/>
                  </a:lnTo>
                  <a:lnTo>
                    <a:pt x="626927" y="71495"/>
                  </a:lnTo>
                  <a:cubicBezTo>
                    <a:pt x="734169" y="170980"/>
                    <a:pt x="839051" y="268442"/>
                    <a:pt x="946293" y="368265"/>
                  </a:cubicBezTo>
                  <a:cubicBezTo>
                    <a:pt x="846807" y="475507"/>
                    <a:pt x="749008" y="580388"/>
                    <a:pt x="649522" y="687630"/>
                  </a:cubicBezTo>
                  <a:lnTo>
                    <a:pt x="644127" y="542618"/>
                  </a:lnTo>
                  <a:lnTo>
                    <a:pt x="448865" y="549700"/>
                  </a:lnTo>
                  <a:cubicBezTo>
                    <a:pt x="439759" y="624904"/>
                    <a:pt x="423235" y="698759"/>
                    <a:pt x="399965" y="770928"/>
                  </a:cubicBezTo>
                  <a:lnTo>
                    <a:pt x="10117" y="644127"/>
                  </a:lnTo>
                  <a:cubicBezTo>
                    <a:pt x="34398" y="569934"/>
                    <a:pt x="47551" y="490346"/>
                    <a:pt x="47551" y="408059"/>
                  </a:cubicBezTo>
                  <a:cubicBezTo>
                    <a:pt x="47551" y="314644"/>
                    <a:pt x="30689" y="225276"/>
                    <a:pt x="0" y="142652"/>
                  </a:cubicBezTo>
                  <a:lnTo>
                    <a:pt x="384115" y="0"/>
                  </a:lnTo>
                  <a:cubicBezTo>
                    <a:pt x="411432" y="72844"/>
                    <a:pt x="430991" y="147711"/>
                    <a:pt x="443132" y="223589"/>
                  </a:cubicBezTo>
                  <a:lnTo>
                    <a:pt x="443132" y="223589"/>
                  </a:lnTo>
                  <a:close/>
                </a:path>
              </a:pathLst>
            </a:custGeom>
            <a:grpFill/>
            <a:ln w="33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29" name="Gráfico 4">
              <a:extLst>
                <a:ext uri="{FF2B5EF4-FFF2-40B4-BE49-F238E27FC236}">
                  <a16:creationId xmlns:a16="http://schemas.microsoft.com/office/drawing/2014/main" id="{5CEEC0A2-53CC-4330-B8F5-D6870BE00C49}"/>
                </a:ext>
              </a:extLst>
            </p:cNvPr>
            <p:cNvGrpSpPr/>
            <p:nvPr/>
          </p:nvGrpSpPr>
          <p:grpSpPr>
            <a:xfrm>
              <a:off x="7888425" y="1559298"/>
              <a:ext cx="1626677" cy="1708259"/>
              <a:chOff x="7888425" y="1559298"/>
              <a:chExt cx="1626677" cy="1708259"/>
            </a:xfrm>
            <a:grpFill/>
          </p:grpSpPr>
          <p:sp>
            <p:nvSpPr>
              <p:cNvPr id="30" name="Forma Livre: Forma 29">
                <a:extLst>
                  <a:ext uri="{FF2B5EF4-FFF2-40B4-BE49-F238E27FC236}">
                    <a16:creationId xmlns:a16="http://schemas.microsoft.com/office/drawing/2014/main" id="{415FFA88-B48B-485D-9AA8-95487920C873}"/>
                  </a:ext>
                </a:extLst>
              </p:cNvPr>
              <p:cNvSpPr/>
              <p:nvPr/>
            </p:nvSpPr>
            <p:spPr>
              <a:xfrm>
                <a:off x="7961269" y="1649967"/>
                <a:ext cx="1454897" cy="1526548"/>
              </a:xfrm>
              <a:custGeom>
                <a:avLst/>
                <a:gdLst>
                  <a:gd name="connsiteX0" fmla="*/ 1448779 w 1454897"/>
                  <a:gd name="connsiteY0" fmla="*/ 781479 h 1526548"/>
                  <a:gd name="connsiteX1" fmla="*/ 916279 w 1454897"/>
                  <a:gd name="connsiteY1" fmla="*/ 1514300 h 1526548"/>
                  <a:gd name="connsiteX2" fmla="*/ 881880 w 1454897"/>
                  <a:gd name="connsiteY2" fmla="*/ 1524754 h 1526548"/>
                  <a:gd name="connsiteX3" fmla="*/ 20572 w 1454897"/>
                  <a:gd name="connsiteY3" fmla="*/ 1244846 h 1526548"/>
                  <a:gd name="connsiteX4" fmla="*/ 0 w 1454897"/>
                  <a:gd name="connsiteY4" fmla="*/ 1216518 h 1526548"/>
                  <a:gd name="connsiteX5" fmla="*/ 0 w 1454897"/>
                  <a:gd name="connsiteY5" fmla="*/ 310019 h 1526548"/>
                  <a:gd name="connsiteX6" fmla="*/ 22595 w 1454897"/>
                  <a:gd name="connsiteY6" fmla="*/ 281017 h 1526548"/>
                  <a:gd name="connsiteX7" fmla="*/ 882892 w 1454897"/>
                  <a:gd name="connsiteY7" fmla="*/ 1445 h 1526548"/>
                  <a:gd name="connsiteX8" fmla="*/ 916279 w 1454897"/>
                  <a:gd name="connsiteY8" fmla="*/ 12237 h 1526548"/>
                  <a:gd name="connsiteX9" fmla="*/ 1449117 w 1454897"/>
                  <a:gd name="connsiteY9" fmla="*/ 745732 h 1526548"/>
                  <a:gd name="connsiteX10" fmla="*/ 1448779 w 1454897"/>
                  <a:gd name="connsiteY10" fmla="*/ 781479 h 1526548"/>
                  <a:gd name="connsiteX11" fmla="*/ 1448779 w 1454897"/>
                  <a:gd name="connsiteY11" fmla="*/ 781479 h 152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454897" h="1526548">
                    <a:moveTo>
                      <a:pt x="1448779" y="781479"/>
                    </a:moveTo>
                    <a:lnTo>
                      <a:pt x="916279" y="1514300"/>
                    </a:lnTo>
                    <a:cubicBezTo>
                      <a:pt x="908185" y="1525429"/>
                      <a:pt x="894021" y="1529138"/>
                      <a:pt x="881880" y="1524754"/>
                    </a:cubicBezTo>
                    <a:lnTo>
                      <a:pt x="20572" y="1244846"/>
                    </a:lnTo>
                    <a:cubicBezTo>
                      <a:pt x="8094" y="1240799"/>
                      <a:pt x="0" y="1228995"/>
                      <a:pt x="0" y="1216518"/>
                    </a:cubicBezTo>
                    <a:lnTo>
                      <a:pt x="0" y="310019"/>
                    </a:lnTo>
                    <a:cubicBezTo>
                      <a:pt x="0" y="296192"/>
                      <a:pt x="9443" y="284389"/>
                      <a:pt x="22595" y="281017"/>
                    </a:cubicBezTo>
                    <a:lnTo>
                      <a:pt x="882892" y="1445"/>
                    </a:lnTo>
                    <a:cubicBezTo>
                      <a:pt x="895370" y="-2602"/>
                      <a:pt x="908859" y="2120"/>
                      <a:pt x="916279" y="12237"/>
                    </a:cubicBezTo>
                    <a:lnTo>
                      <a:pt x="1449117" y="745732"/>
                    </a:lnTo>
                    <a:cubicBezTo>
                      <a:pt x="1457210" y="756861"/>
                      <a:pt x="1456536" y="771362"/>
                      <a:pt x="1448779" y="781479"/>
                    </a:cubicBezTo>
                    <a:lnTo>
                      <a:pt x="1448779" y="781479"/>
                    </a:lnTo>
                    <a:close/>
                  </a:path>
                </a:pathLst>
              </a:custGeom>
              <a:grpFill/>
              <a:ln w="33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1" name="Forma Livre: Forma 30">
                <a:extLst>
                  <a:ext uri="{FF2B5EF4-FFF2-40B4-BE49-F238E27FC236}">
                    <a16:creationId xmlns:a16="http://schemas.microsoft.com/office/drawing/2014/main" id="{90A9F251-B2EE-44D6-ABB6-0BB4437C8A6F}"/>
                  </a:ext>
                </a:extLst>
              </p:cNvPr>
              <p:cNvSpPr/>
              <p:nvPr/>
            </p:nvSpPr>
            <p:spPr>
              <a:xfrm>
                <a:off x="7888425" y="1559298"/>
                <a:ext cx="1626677" cy="1708259"/>
              </a:xfrm>
              <a:custGeom>
                <a:avLst/>
                <a:gdLst>
                  <a:gd name="connsiteX0" fmla="*/ 1623469 w 1626677"/>
                  <a:gd name="connsiteY0" fmla="*/ 863043 h 1708259"/>
                  <a:gd name="connsiteX1" fmla="*/ 1013741 w 1626677"/>
                  <a:gd name="connsiteY1" fmla="*/ 1702094 h 1708259"/>
                  <a:gd name="connsiteX2" fmla="*/ 996541 w 1626677"/>
                  <a:gd name="connsiteY2" fmla="*/ 1707490 h 1708259"/>
                  <a:gd name="connsiteX3" fmla="*/ 10454 w 1626677"/>
                  <a:gd name="connsiteY3" fmla="*/ 1387112 h 1708259"/>
                  <a:gd name="connsiteX4" fmla="*/ 0 w 1626677"/>
                  <a:gd name="connsiteY4" fmla="*/ 1372948 h 1708259"/>
                  <a:gd name="connsiteX5" fmla="*/ 0 w 1626677"/>
                  <a:gd name="connsiteY5" fmla="*/ 335601 h 1708259"/>
                  <a:gd name="connsiteX6" fmla="*/ 11129 w 1626677"/>
                  <a:gd name="connsiteY6" fmla="*/ 321100 h 1708259"/>
                  <a:gd name="connsiteX7" fmla="*/ 996879 w 1626677"/>
                  <a:gd name="connsiteY7" fmla="*/ 723 h 1708259"/>
                  <a:gd name="connsiteX8" fmla="*/ 1013403 w 1626677"/>
                  <a:gd name="connsiteY8" fmla="*/ 6118 h 1708259"/>
                  <a:gd name="connsiteX9" fmla="*/ 1623806 w 1626677"/>
                  <a:gd name="connsiteY9" fmla="*/ 845506 h 1708259"/>
                  <a:gd name="connsiteX10" fmla="*/ 1623469 w 1626677"/>
                  <a:gd name="connsiteY10" fmla="*/ 863043 h 1708259"/>
                  <a:gd name="connsiteX11" fmla="*/ 1623469 w 1626677"/>
                  <a:gd name="connsiteY11" fmla="*/ 863043 h 1708259"/>
                  <a:gd name="connsiteX12" fmla="*/ 1593117 w 1626677"/>
                  <a:gd name="connsiteY12" fmla="*/ 854275 h 1708259"/>
                  <a:gd name="connsiteX13" fmla="*/ 996204 w 1626677"/>
                  <a:gd name="connsiteY13" fmla="*/ 32423 h 1708259"/>
                  <a:gd name="connsiteX14" fmla="*/ 30352 w 1626677"/>
                  <a:gd name="connsiteY14" fmla="*/ 346393 h 1708259"/>
                  <a:gd name="connsiteX15" fmla="*/ 30352 w 1626677"/>
                  <a:gd name="connsiteY15" fmla="*/ 1362157 h 1708259"/>
                  <a:gd name="connsiteX16" fmla="*/ 996204 w 1626677"/>
                  <a:gd name="connsiteY16" fmla="*/ 1676126 h 1708259"/>
                  <a:gd name="connsiteX17" fmla="*/ 1593117 w 1626677"/>
                  <a:gd name="connsiteY17" fmla="*/ 854275 h 1708259"/>
                  <a:gd name="connsiteX18" fmla="*/ 1593117 w 1626677"/>
                  <a:gd name="connsiteY18" fmla="*/ 854275 h 1708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626677" h="1708259">
                    <a:moveTo>
                      <a:pt x="1623469" y="863043"/>
                    </a:moveTo>
                    <a:lnTo>
                      <a:pt x="1013741" y="1702094"/>
                    </a:lnTo>
                    <a:cubicBezTo>
                      <a:pt x="1009694" y="1707490"/>
                      <a:pt x="1002612" y="1709513"/>
                      <a:pt x="996541" y="1707490"/>
                    </a:cubicBezTo>
                    <a:lnTo>
                      <a:pt x="10454" y="1387112"/>
                    </a:lnTo>
                    <a:cubicBezTo>
                      <a:pt x="4047" y="1385089"/>
                      <a:pt x="0" y="1379356"/>
                      <a:pt x="0" y="1372948"/>
                    </a:cubicBezTo>
                    <a:lnTo>
                      <a:pt x="0" y="335601"/>
                    </a:lnTo>
                    <a:cubicBezTo>
                      <a:pt x="0" y="328519"/>
                      <a:pt x="4721" y="322786"/>
                      <a:pt x="11129" y="321100"/>
                    </a:cubicBezTo>
                    <a:lnTo>
                      <a:pt x="996879" y="723"/>
                    </a:lnTo>
                    <a:cubicBezTo>
                      <a:pt x="1003286" y="-1301"/>
                      <a:pt x="1010031" y="1060"/>
                      <a:pt x="1013403" y="6118"/>
                    </a:cubicBezTo>
                    <a:lnTo>
                      <a:pt x="1623806" y="845506"/>
                    </a:lnTo>
                    <a:cubicBezTo>
                      <a:pt x="1627853" y="850902"/>
                      <a:pt x="1627516" y="857984"/>
                      <a:pt x="1623469" y="863043"/>
                    </a:cubicBezTo>
                    <a:lnTo>
                      <a:pt x="1623469" y="863043"/>
                    </a:lnTo>
                    <a:close/>
                    <a:moveTo>
                      <a:pt x="1593117" y="854275"/>
                    </a:moveTo>
                    <a:lnTo>
                      <a:pt x="996204" y="32423"/>
                    </a:lnTo>
                    <a:lnTo>
                      <a:pt x="30352" y="346393"/>
                    </a:lnTo>
                    <a:lnTo>
                      <a:pt x="30352" y="1362157"/>
                    </a:lnTo>
                    <a:lnTo>
                      <a:pt x="996204" y="1676126"/>
                    </a:lnTo>
                    <a:lnTo>
                      <a:pt x="1593117" y="854275"/>
                    </a:lnTo>
                    <a:lnTo>
                      <a:pt x="1593117" y="854275"/>
                    </a:lnTo>
                    <a:close/>
                  </a:path>
                </a:pathLst>
              </a:custGeom>
              <a:grpFill/>
              <a:ln w="33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sp>
        <p:nvSpPr>
          <p:cNvPr id="39" name="Retângulo 38">
            <a:extLst>
              <a:ext uri="{FF2B5EF4-FFF2-40B4-BE49-F238E27FC236}">
                <a16:creationId xmlns:a16="http://schemas.microsoft.com/office/drawing/2014/main" id="{74F87694-A30F-4FFB-87BC-820F9C22B207}"/>
              </a:ext>
            </a:extLst>
          </p:cNvPr>
          <p:cNvSpPr/>
          <p:nvPr/>
        </p:nvSpPr>
        <p:spPr>
          <a:xfrm>
            <a:off x="4923852" y="1441903"/>
            <a:ext cx="2336716" cy="2921830"/>
          </a:xfrm>
          <a:prstGeom prst="rect">
            <a:avLst/>
          </a:prstGeom>
          <a:noFill/>
        </p:spPr>
        <p:txBody>
          <a:bodyPr wrap="none" lIns="91440" tIns="45720" rIns="91440" bIns="45720">
            <a:prstTxWarp prst="textArchUp">
              <a:avLst>
                <a:gd name="adj" fmla="val 12227209"/>
              </a:avLst>
            </a:prstTxWarp>
            <a:spAutoFit/>
          </a:bodyPr>
          <a:lstStyle/>
          <a:p>
            <a:pPr algn="ctr"/>
            <a:r>
              <a:rPr lang="pt-BR" sz="2000" b="0" cap="none" spc="0" dirty="0">
                <a:ln w="0"/>
                <a:solidFill>
                  <a:schemeClr val="bg1"/>
                </a:solidFill>
              </a:rPr>
              <a:t>Insira o texto aqui</a:t>
            </a:r>
          </a:p>
        </p:txBody>
      </p:sp>
      <p:sp>
        <p:nvSpPr>
          <p:cNvPr id="41" name="CaixaDeTexto 40">
            <a:extLst>
              <a:ext uri="{FF2B5EF4-FFF2-40B4-BE49-F238E27FC236}">
                <a16:creationId xmlns:a16="http://schemas.microsoft.com/office/drawing/2014/main" id="{FE494290-8016-4DC3-90DE-1DA78606CB4C}"/>
              </a:ext>
            </a:extLst>
          </p:cNvPr>
          <p:cNvSpPr txBox="1"/>
          <p:nvPr/>
        </p:nvSpPr>
        <p:spPr>
          <a:xfrm>
            <a:off x="5603006" y="2589689"/>
            <a:ext cx="9869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>
                <a:latin typeface="Segoe UI" panose="020B0502040204020203" pitchFamily="34" charset="0"/>
                <a:cs typeface="Segoe UI" panose="020B0502040204020203" pitchFamily="34" charset="0"/>
              </a:rPr>
              <a:t>Inserir texto</a:t>
            </a:r>
          </a:p>
        </p:txBody>
      </p:sp>
      <p:sp>
        <p:nvSpPr>
          <p:cNvPr id="42" name="CaixaDeTexto 41">
            <a:extLst>
              <a:ext uri="{FF2B5EF4-FFF2-40B4-BE49-F238E27FC236}">
                <a16:creationId xmlns:a16="http://schemas.microsoft.com/office/drawing/2014/main" id="{71107D97-DDD9-4654-B25F-9A5A564124EC}"/>
              </a:ext>
            </a:extLst>
          </p:cNvPr>
          <p:cNvSpPr txBox="1"/>
          <p:nvPr/>
        </p:nvSpPr>
        <p:spPr>
          <a:xfrm>
            <a:off x="3264415" y="2043909"/>
            <a:ext cx="629660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sso </a:t>
            </a:r>
          </a:p>
          <a:p>
            <a:pPr algn="ctr"/>
            <a:r>
              <a:rPr lang="pt-BR" sz="3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1</a:t>
            </a:r>
          </a:p>
        </p:txBody>
      </p:sp>
      <p:sp>
        <p:nvSpPr>
          <p:cNvPr id="44" name="CaixaDeTexto 43">
            <a:extLst>
              <a:ext uri="{FF2B5EF4-FFF2-40B4-BE49-F238E27FC236}">
                <a16:creationId xmlns:a16="http://schemas.microsoft.com/office/drawing/2014/main" id="{695FE39C-9138-4395-88B5-E98CB649EC0F}"/>
              </a:ext>
            </a:extLst>
          </p:cNvPr>
          <p:cNvSpPr txBox="1"/>
          <p:nvPr/>
        </p:nvSpPr>
        <p:spPr>
          <a:xfrm>
            <a:off x="3769574" y="3520330"/>
            <a:ext cx="629660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sso </a:t>
            </a:r>
          </a:p>
          <a:p>
            <a:pPr algn="ctr"/>
            <a:r>
              <a:rPr lang="pt-BR" sz="3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2</a:t>
            </a:r>
          </a:p>
        </p:txBody>
      </p:sp>
      <p:sp>
        <p:nvSpPr>
          <p:cNvPr id="46" name="CaixaDeTexto 45">
            <a:extLst>
              <a:ext uri="{FF2B5EF4-FFF2-40B4-BE49-F238E27FC236}">
                <a16:creationId xmlns:a16="http://schemas.microsoft.com/office/drawing/2014/main" id="{143EB9D9-F546-4C4C-97CB-F7526D1D414E}"/>
              </a:ext>
            </a:extLst>
          </p:cNvPr>
          <p:cNvSpPr txBox="1"/>
          <p:nvPr/>
        </p:nvSpPr>
        <p:spPr>
          <a:xfrm>
            <a:off x="7852847" y="3520330"/>
            <a:ext cx="629660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sso </a:t>
            </a:r>
          </a:p>
          <a:p>
            <a:pPr algn="ctr"/>
            <a:r>
              <a:rPr lang="pt-BR" sz="3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5</a:t>
            </a:r>
          </a:p>
        </p:txBody>
      </p:sp>
      <p:sp>
        <p:nvSpPr>
          <p:cNvPr id="48" name="CaixaDeTexto 47">
            <a:extLst>
              <a:ext uri="{FF2B5EF4-FFF2-40B4-BE49-F238E27FC236}">
                <a16:creationId xmlns:a16="http://schemas.microsoft.com/office/drawing/2014/main" id="{423B3881-DEAE-44A3-AB18-B77F50AEC913}"/>
              </a:ext>
            </a:extLst>
          </p:cNvPr>
          <p:cNvSpPr txBox="1"/>
          <p:nvPr/>
        </p:nvSpPr>
        <p:spPr>
          <a:xfrm>
            <a:off x="8328741" y="2043909"/>
            <a:ext cx="629660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sso </a:t>
            </a:r>
          </a:p>
          <a:p>
            <a:pPr algn="ctr"/>
            <a:r>
              <a:rPr lang="pt-BR" sz="3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6</a:t>
            </a:r>
          </a:p>
        </p:txBody>
      </p:sp>
      <p:sp>
        <p:nvSpPr>
          <p:cNvPr id="50" name="CaixaDeTexto 49">
            <a:extLst>
              <a:ext uri="{FF2B5EF4-FFF2-40B4-BE49-F238E27FC236}">
                <a16:creationId xmlns:a16="http://schemas.microsoft.com/office/drawing/2014/main" id="{8AB31A10-2D14-4841-ACDB-A0A71B681F94}"/>
              </a:ext>
            </a:extLst>
          </p:cNvPr>
          <p:cNvSpPr txBox="1"/>
          <p:nvPr/>
        </p:nvSpPr>
        <p:spPr>
          <a:xfrm>
            <a:off x="4985808" y="4456012"/>
            <a:ext cx="629660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sso </a:t>
            </a:r>
          </a:p>
          <a:p>
            <a:pPr algn="ctr"/>
            <a:r>
              <a:rPr lang="pt-BR" sz="3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3</a:t>
            </a:r>
          </a:p>
        </p:txBody>
      </p:sp>
      <p:sp>
        <p:nvSpPr>
          <p:cNvPr id="52" name="CaixaDeTexto 51">
            <a:extLst>
              <a:ext uri="{FF2B5EF4-FFF2-40B4-BE49-F238E27FC236}">
                <a16:creationId xmlns:a16="http://schemas.microsoft.com/office/drawing/2014/main" id="{7DDBF02F-BF3D-46F2-BF9F-F9C33F8BC599}"/>
              </a:ext>
            </a:extLst>
          </p:cNvPr>
          <p:cNvSpPr txBox="1"/>
          <p:nvPr/>
        </p:nvSpPr>
        <p:spPr>
          <a:xfrm>
            <a:off x="6573411" y="4456012"/>
            <a:ext cx="629660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sso </a:t>
            </a:r>
          </a:p>
          <a:p>
            <a:pPr algn="ctr"/>
            <a:r>
              <a:rPr lang="pt-BR" sz="3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4</a:t>
            </a:r>
          </a:p>
        </p:txBody>
      </p:sp>
      <p:grpSp>
        <p:nvGrpSpPr>
          <p:cNvPr id="53" name="Gráfico 2">
            <a:extLst>
              <a:ext uri="{FF2B5EF4-FFF2-40B4-BE49-F238E27FC236}">
                <a16:creationId xmlns:a16="http://schemas.microsoft.com/office/drawing/2014/main" id="{3F97BE88-241F-4CB2-9927-3C8357F517AD}"/>
              </a:ext>
            </a:extLst>
          </p:cNvPr>
          <p:cNvGrpSpPr/>
          <p:nvPr/>
        </p:nvGrpSpPr>
        <p:grpSpPr>
          <a:xfrm>
            <a:off x="5710021" y="1861489"/>
            <a:ext cx="702908" cy="705093"/>
            <a:chOff x="8463832" y="4672921"/>
            <a:chExt cx="394678" cy="395905"/>
          </a:xfrm>
          <a:solidFill>
            <a:srgbClr val="4B6185"/>
          </a:solidFill>
        </p:grpSpPr>
        <p:sp>
          <p:nvSpPr>
            <p:cNvPr id="54" name="Forma Livre: Forma 53">
              <a:extLst>
                <a:ext uri="{FF2B5EF4-FFF2-40B4-BE49-F238E27FC236}">
                  <a16:creationId xmlns:a16="http://schemas.microsoft.com/office/drawing/2014/main" id="{0E361585-0E9C-41E5-B805-3738157E20A2}"/>
                </a:ext>
              </a:extLst>
            </p:cNvPr>
            <p:cNvSpPr/>
            <p:nvPr/>
          </p:nvSpPr>
          <p:spPr>
            <a:xfrm>
              <a:off x="8463832" y="4681116"/>
              <a:ext cx="385786" cy="387709"/>
            </a:xfrm>
            <a:custGeom>
              <a:avLst/>
              <a:gdLst>
                <a:gd name="connsiteX0" fmla="*/ 305789 w 385786"/>
                <a:gd name="connsiteY0" fmla="*/ 387710 h 387709"/>
                <a:gd name="connsiteX1" fmla="*/ 95227 w 385786"/>
                <a:gd name="connsiteY1" fmla="*/ 293777 h 387709"/>
                <a:gd name="connsiteX2" fmla="*/ 93967 w 385786"/>
                <a:gd name="connsiteY2" fmla="*/ 292516 h 387709"/>
                <a:gd name="connsiteX3" fmla="*/ 34 w 385786"/>
                <a:gd name="connsiteY3" fmla="*/ 76281 h 387709"/>
                <a:gd name="connsiteX4" fmla="*/ 34 w 385786"/>
                <a:gd name="connsiteY4" fmla="*/ 70607 h 387709"/>
                <a:gd name="connsiteX5" fmla="*/ 3186 w 385786"/>
                <a:gd name="connsiteY5" fmla="*/ 66194 h 387709"/>
                <a:gd name="connsiteX6" fmla="*/ 19577 w 385786"/>
                <a:gd name="connsiteY6" fmla="*/ 47912 h 387709"/>
                <a:gd name="connsiteX7" fmla="*/ 90185 w 385786"/>
                <a:gd name="connsiteY7" fmla="*/ 1891 h 387709"/>
                <a:gd name="connsiteX8" fmla="*/ 100901 w 385786"/>
                <a:gd name="connsiteY8" fmla="*/ 0 h 387709"/>
                <a:gd name="connsiteX9" fmla="*/ 134944 w 385786"/>
                <a:gd name="connsiteY9" fmla="*/ 18913 h 387709"/>
                <a:gd name="connsiteX10" fmla="*/ 163944 w 385786"/>
                <a:gd name="connsiteY10" fmla="*/ 108433 h 387709"/>
                <a:gd name="connsiteX11" fmla="*/ 151335 w 385786"/>
                <a:gd name="connsiteY11" fmla="*/ 146258 h 387709"/>
                <a:gd name="connsiteX12" fmla="*/ 121706 w 385786"/>
                <a:gd name="connsiteY12" fmla="*/ 165171 h 387709"/>
                <a:gd name="connsiteX13" fmla="*/ 125488 w 385786"/>
                <a:gd name="connsiteY13" fmla="*/ 175257 h 387709"/>
                <a:gd name="connsiteX14" fmla="*/ 164574 w 385786"/>
                <a:gd name="connsiteY14" fmla="*/ 221278 h 387709"/>
                <a:gd name="connsiteX15" fmla="*/ 210595 w 385786"/>
                <a:gd name="connsiteY15" fmla="*/ 260364 h 387709"/>
                <a:gd name="connsiteX16" fmla="*/ 220051 w 385786"/>
                <a:gd name="connsiteY16" fmla="*/ 264147 h 387709"/>
                <a:gd name="connsiteX17" fmla="*/ 221943 w 385786"/>
                <a:gd name="connsiteY17" fmla="*/ 264147 h 387709"/>
                <a:gd name="connsiteX18" fmla="*/ 239594 w 385786"/>
                <a:gd name="connsiteY18" fmla="*/ 235148 h 387709"/>
                <a:gd name="connsiteX19" fmla="*/ 270485 w 385786"/>
                <a:gd name="connsiteY19" fmla="*/ 221909 h 387709"/>
                <a:gd name="connsiteX20" fmla="*/ 276789 w 385786"/>
                <a:gd name="connsiteY20" fmla="*/ 222539 h 387709"/>
                <a:gd name="connsiteX21" fmla="*/ 368201 w 385786"/>
                <a:gd name="connsiteY21" fmla="*/ 252169 h 387709"/>
                <a:gd name="connsiteX22" fmla="*/ 383961 w 385786"/>
                <a:gd name="connsiteY22" fmla="*/ 296929 h 387709"/>
                <a:gd name="connsiteX23" fmla="*/ 337940 w 385786"/>
                <a:gd name="connsiteY23" fmla="*/ 367536 h 387709"/>
                <a:gd name="connsiteX24" fmla="*/ 319658 w 385786"/>
                <a:gd name="connsiteY24" fmla="*/ 383927 h 387709"/>
                <a:gd name="connsiteX25" fmla="*/ 315245 w 385786"/>
                <a:gd name="connsiteY25" fmla="*/ 387079 h 387709"/>
                <a:gd name="connsiteX26" fmla="*/ 305789 w 385786"/>
                <a:gd name="connsiteY26" fmla="*/ 387710 h 387709"/>
                <a:gd name="connsiteX27" fmla="*/ 305789 w 385786"/>
                <a:gd name="connsiteY27" fmla="*/ 387710 h 387709"/>
                <a:gd name="connsiteX28" fmla="*/ 33447 w 385786"/>
                <a:gd name="connsiteY28" fmla="*/ 83216 h 387709"/>
                <a:gd name="connsiteX29" fmla="*/ 117292 w 385786"/>
                <a:gd name="connsiteY29" fmla="*/ 269191 h 387709"/>
                <a:gd name="connsiteX30" fmla="*/ 119184 w 385786"/>
                <a:gd name="connsiteY30" fmla="*/ 271082 h 387709"/>
                <a:gd name="connsiteX31" fmla="*/ 305158 w 385786"/>
                <a:gd name="connsiteY31" fmla="*/ 354298 h 387709"/>
                <a:gd name="connsiteX32" fmla="*/ 316506 w 385786"/>
                <a:gd name="connsiteY32" fmla="*/ 344211 h 387709"/>
                <a:gd name="connsiteX33" fmla="*/ 354962 w 385786"/>
                <a:gd name="connsiteY33" fmla="*/ 284951 h 387709"/>
                <a:gd name="connsiteX34" fmla="*/ 353701 w 385786"/>
                <a:gd name="connsiteY34" fmla="*/ 281168 h 387709"/>
                <a:gd name="connsiteX35" fmla="*/ 271746 w 385786"/>
                <a:gd name="connsiteY35" fmla="*/ 255321 h 387709"/>
                <a:gd name="connsiteX36" fmla="*/ 267963 w 385786"/>
                <a:gd name="connsiteY36" fmla="*/ 255951 h 387709"/>
                <a:gd name="connsiteX37" fmla="*/ 250942 w 385786"/>
                <a:gd name="connsiteY37" fmla="*/ 282429 h 387709"/>
                <a:gd name="connsiteX38" fmla="*/ 192943 w 385786"/>
                <a:gd name="connsiteY38" fmla="*/ 287473 h 387709"/>
                <a:gd name="connsiteX39" fmla="*/ 143140 w 385786"/>
                <a:gd name="connsiteY39" fmla="*/ 245234 h 387709"/>
                <a:gd name="connsiteX40" fmla="*/ 100271 w 385786"/>
                <a:gd name="connsiteY40" fmla="*/ 195431 h 387709"/>
                <a:gd name="connsiteX41" fmla="*/ 90815 w 385786"/>
                <a:gd name="connsiteY41" fmla="*/ 158867 h 387709"/>
                <a:gd name="connsiteX42" fmla="*/ 105315 w 385786"/>
                <a:gd name="connsiteY42" fmla="*/ 137432 h 387709"/>
                <a:gd name="connsiteX43" fmla="*/ 131792 w 385786"/>
                <a:gd name="connsiteY43" fmla="*/ 120411 h 387709"/>
                <a:gd name="connsiteX44" fmla="*/ 132423 w 385786"/>
                <a:gd name="connsiteY44" fmla="*/ 115998 h 387709"/>
                <a:gd name="connsiteX45" fmla="*/ 105945 w 385786"/>
                <a:gd name="connsiteY45" fmla="*/ 34673 h 387709"/>
                <a:gd name="connsiteX46" fmla="*/ 101532 w 385786"/>
                <a:gd name="connsiteY46" fmla="*/ 33412 h 387709"/>
                <a:gd name="connsiteX47" fmla="*/ 43533 w 385786"/>
                <a:gd name="connsiteY47" fmla="*/ 71868 h 387709"/>
                <a:gd name="connsiteX48" fmla="*/ 33447 w 385786"/>
                <a:gd name="connsiteY48" fmla="*/ 83216 h 387709"/>
                <a:gd name="connsiteX49" fmla="*/ 33447 w 385786"/>
                <a:gd name="connsiteY49" fmla="*/ 83216 h 387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385786" h="387709">
                  <a:moveTo>
                    <a:pt x="305789" y="387710"/>
                  </a:moveTo>
                  <a:cubicBezTo>
                    <a:pt x="231399" y="387710"/>
                    <a:pt x="155118" y="353667"/>
                    <a:pt x="95227" y="293777"/>
                  </a:cubicBezTo>
                  <a:lnTo>
                    <a:pt x="93967" y="292516"/>
                  </a:lnTo>
                  <a:cubicBezTo>
                    <a:pt x="32816" y="231365"/>
                    <a:pt x="-1227" y="152562"/>
                    <a:pt x="34" y="76281"/>
                  </a:cubicBezTo>
                  <a:lnTo>
                    <a:pt x="34" y="70607"/>
                  </a:lnTo>
                  <a:lnTo>
                    <a:pt x="3186" y="66194"/>
                  </a:lnTo>
                  <a:cubicBezTo>
                    <a:pt x="8230" y="59259"/>
                    <a:pt x="13904" y="53586"/>
                    <a:pt x="19577" y="47912"/>
                  </a:cubicBezTo>
                  <a:cubicBezTo>
                    <a:pt x="39751" y="27738"/>
                    <a:pt x="63706" y="11978"/>
                    <a:pt x="90185" y="1891"/>
                  </a:cubicBezTo>
                  <a:cubicBezTo>
                    <a:pt x="93337" y="630"/>
                    <a:pt x="97119" y="0"/>
                    <a:pt x="100901" y="0"/>
                  </a:cubicBezTo>
                  <a:cubicBezTo>
                    <a:pt x="109727" y="0"/>
                    <a:pt x="129901" y="4413"/>
                    <a:pt x="134944" y="18913"/>
                  </a:cubicBezTo>
                  <a:cubicBezTo>
                    <a:pt x="143770" y="44130"/>
                    <a:pt x="155749" y="76912"/>
                    <a:pt x="163944" y="108433"/>
                  </a:cubicBezTo>
                  <a:cubicBezTo>
                    <a:pt x="166466" y="117889"/>
                    <a:pt x="163313" y="138693"/>
                    <a:pt x="151335" y="146258"/>
                  </a:cubicBezTo>
                  <a:lnTo>
                    <a:pt x="121706" y="165171"/>
                  </a:lnTo>
                  <a:cubicBezTo>
                    <a:pt x="121706" y="165171"/>
                    <a:pt x="121706" y="170214"/>
                    <a:pt x="125488" y="175257"/>
                  </a:cubicBezTo>
                  <a:cubicBezTo>
                    <a:pt x="136836" y="191018"/>
                    <a:pt x="150075" y="206148"/>
                    <a:pt x="164574" y="221278"/>
                  </a:cubicBezTo>
                  <a:cubicBezTo>
                    <a:pt x="179074" y="235778"/>
                    <a:pt x="194835" y="249017"/>
                    <a:pt x="210595" y="260364"/>
                  </a:cubicBezTo>
                  <a:cubicBezTo>
                    <a:pt x="213747" y="262886"/>
                    <a:pt x="216899" y="264147"/>
                    <a:pt x="220051" y="264147"/>
                  </a:cubicBezTo>
                  <a:cubicBezTo>
                    <a:pt x="220682" y="264147"/>
                    <a:pt x="221312" y="264147"/>
                    <a:pt x="221943" y="264147"/>
                  </a:cubicBezTo>
                  <a:lnTo>
                    <a:pt x="239594" y="235148"/>
                  </a:lnTo>
                  <a:cubicBezTo>
                    <a:pt x="247790" y="222539"/>
                    <a:pt x="267963" y="221909"/>
                    <a:pt x="270485" y="221909"/>
                  </a:cubicBezTo>
                  <a:cubicBezTo>
                    <a:pt x="273007" y="221909"/>
                    <a:pt x="274898" y="221909"/>
                    <a:pt x="276789" y="222539"/>
                  </a:cubicBezTo>
                  <a:cubicBezTo>
                    <a:pt x="315875" y="231365"/>
                    <a:pt x="338571" y="238930"/>
                    <a:pt x="368201" y="252169"/>
                  </a:cubicBezTo>
                  <a:cubicBezTo>
                    <a:pt x="381439" y="257843"/>
                    <a:pt x="389635" y="281799"/>
                    <a:pt x="383961" y="296929"/>
                  </a:cubicBezTo>
                  <a:cubicBezTo>
                    <a:pt x="373875" y="323407"/>
                    <a:pt x="358114" y="347363"/>
                    <a:pt x="337940" y="367536"/>
                  </a:cubicBezTo>
                  <a:cubicBezTo>
                    <a:pt x="332267" y="373210"/>
                    <a:pt x="325963" y="378884"/>
                    <a:pt x="319658" y="383927"/>
                  </a:cubicBezTo>
                  <a:lnTo>
                    <a:pt x="315245" y="387079"/>
                  </a:lnTo>
                  <a:lnTo>
                    <a:pt x="305789" y="387710"/>
                  </a:lnTo>
                  <a:lnTo>
                    <a:pt x="305789" y="387710"/>
                  </a:lnTo>
                  <a:close/>
                  <a:moveTo>
                    <a:pt x="33447" y="83216"/>
                  </a:moveTo>
                  <a:cubicBezTo>
                    <a:pt x="33447" y="147519"/>
                    <a:pt x="64968" y="216865"/>
                    <a:pt x="117292" y="269191"/>
                  </a:cubicBezTo>
                  <a:lnTo>
                    <a:pt x="119184" y="271082"/>
                  </a:lnTo>
                  <a:cubicBezTo>
                    <a:pt x="172139" y="324037"/>
                    <a:pt x="239594" y="354298"/>
                    <a:pt x="305158" y="354298"/>
                  </a:cubicBezTo>
                  <a:cubicBezTo>
                    <a:pt x="308941" y="351145"/>
                    <a:pt x="312723" y="347363"/>
                    <a:pt x="316506" y="344211"/>
                  </a:cubicBezTo>
                  <a:cubicBezTo>
                    <a:pt x="333527" y="327189"/>
                    <a:pt x="346136" y="307646"/>
                    <a:pt x="354962" y="284951"/>
                  </a:cubicBezTo>
                  <a:cubicBezTo>
                    <a:pt x="354962" y="284951"/>
                    <a:pt x="354332" y="283060"/>
                    <a:pt x="353701" y="281168"/>
                  </a:cubicBezTo>
                  <a:cubicBezTo>
                    <a:pt x="327854" y="269821"/>
                    <a:pt x="306419" y="262886"/>
                    <a:pt x="271746" y="255321"/>
                  </a:cubicBezTo>
                  <a:cubicBezTo>
                    <a:pt x="271115" y="255321"/>
                    <a:pt x="269225" y="255951"/>
                    <a:pt x="267963" y="255951"/>
                  </a:cubicBezTo>
                  <a:lnTo>
                    <a:pt x="250942" y="282429"/>
                  </a:lnTo>
                  <a:cubicBezTo>
                    <a:pt x="240225" y="299451"/>
                    <a:pt x="213117" y="301972"/>
                    <a:pt x="192943" y="287473"/>
                  </a:cubicBezTo>
                  <a:cubicBezTo>
                    <a:pt x="175922" y="275495"/>
                    <a:pt x="159531" y="260995"/>
                    <a:pt x="143140" y="245234"/>
                  </a:cubicBezTo>
                  <a:cubicBezTo>
                    <a:pt x="127380" y="228843"/>
                    <a:pt x="112880" y="211822"/>
                    <a:pt x="100271" y="195431"/>
                  </a:cubicBezTo>
                  <a:cubicBezTo>
                    <a:pt x="92075" y="184083"/>
                    <a:pt x="88923" y="170844"/>
                    <a:pt x="90815" y="158867"/>
                  </a:cubicBezTo>
                  <a:cubicBezTo>
                    <a:pt x="92706" y="149410"/>
                    <a:pt x="97749" y="141845"/>
                    <a:pt x="105315" y="137432"/>
                  </a:cubicBezTo>
                  <a:lnTo>
                    <a:pt x="131792" y="120411"/>
                  </a:lnTo>
                  <a:cubicBezTo>
                    <a:pt x="132423" y="119150"/>
                    <a:pt x="132423" y="116628"/>
                    <a:pt x="132423" y="115998"/>
                  </a:cubicBezTo>
                  <a:cubicBezTo>
                    <a:pt x="124858" y="88889"/>
                    <a:pt x="114771" y="58629"/>
                    <a:pt x="105945" y="34673"/>
                  </a:cubicBezTo>
                  <a:cubicBezTo>
                    <a:pt x="104684" y="34043"/>
                    <a:pt x="102793" y="33412"/>
                    <a:pt x="101532" y="33412"/>
                  </a:cubicBezTo>
                  <a:cubicBezTo>
                    <a:pt x="80098" y="41608"/>
                    <a:pt x="60554" y="54847"/>
                    <a:pt x="43533" y="71868"/>
                  </a:cubicBezTo>
                  <a:cubicBezTo>
                    <a:pt x="40381" y="75020"/>
                    <a:pt x="37229" y="78803"/>
                    <a:pt x="33447" y="83216"/>
                  </a:cubicBezTo>
                  <a:lnTo>
                    <a:pt x="33447" y="83216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55" name="Forma Livre: Forma 54">
              <a:extLst>
                <a:ext uri="{FF2B5EF4-FFF2-40B4-BE49-F238E27FC236}">
                  <a16:creationId xmlns:a16="http://schemas.microsoft.com/office/drawing/2014/main" id="{D8F548EB-3164-4819-BBB5-9079C4109680}"/>
                </a:ext>
              </a:extLst>
            </p:cNvPr>
            <p:cNvSpPr/>
            <p:nvPr/>
          </p:nvSpPr>
          <p:spPr>
            <a:xfrm>
              <a:off x="8647950" y="4672921"/>
              <a:ext cx="210560" cy="210560"/>
            </a:xfrm>
            <a:custGeom>
              <a:avLst/>
              <a:gdLst>
                <a:gd name="connsiteX0" fmla="*/ 194170 w 210560"/>
                <a:gd name="connsiteY0" fmla="*/ 210561 h 210560"/>
                <a:gd name="connsiteX1" fmla="*/ 177779 w 210560"/>
                <a:gd name="connsiteY1" fmla="*/ 194170 h 210560"/>
                <a:gd name="connsiteX2" fmla="*/ 16391 w 210560"/>
                <a:gd name="connsiteY2" fmla="*/ 32782 h 210560"/>
                <a:gd name="connsiteX3" fmla="*/ 0 w 210560"/>
                <a:gd name="connsiteY3" fmla="*/ 16391 h 210560"/>
                <a:gd name="connsiteX4" fmla="*/ 16391 w 210560"/>
                <a:gd name="connsiteY4" fmla="*/ 0 h 210560"/>
                <a:gd name="connsiteX5" fmla="*/ 210561 w 210560"/>
                <a:gd name="connsiteY5" fmla="*/ 194170 h 210560"/>
                <a:gd name="connsiteX6" fmla="*/ 194170 w 210560"/>
                <a:gd name="connsiteY6" fmla="*/ 210561 h 210560"/>
                <a:gd name="connsiteX7" fmla="*/ 194170 w 210560"/>
                <a:gd name="connsiteY7" fmla="*/ 210561 h 210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0560" h="210560">
                  <a:moveTo>
                    <a:pt x="194170" y="210561"/>
                  </a:moveTo>
                  <a:cubicBezTo>
                    <a:pt x="184713" y="210561"/>
                    <a:pt x="177779" y="202996"/>
                    <a:pt x="177779" y="194170"/>
                  </a:cubicBezTo>
                  <a:cubicBezTo>
                    <a:pt x="177779" y="105280"/>
                    <a:pt x="105280" y="32782"/>
                    <a:pt x="16391" y="32782"/>
                  </a:cubicBezTo>
                  <a:cubicBezTo>
                    <a:pt x="6934" y="32782"/>
                    <a:pt x="0" y="25217"/>
                    <a:pt x="0" y="16391"/>
                  </a:cubicBezTo>
                  <a:cubicBezTo>
                    <a:pt x="0" y="6934"/>
                    <a:pt x="7565" y="0"/>
                    <a:pt x="16391" y="0"/>
                  </a:cubicBezTo>
                  <a:cubicBezTo>
                    <a:pt x="123563" y="0"/>
                    <a:pt x="210561" y="86998"/>
                    <a:pt x="210561" y="194170"/>
                  </a:cubicBezTo>
                  <a:cubicBezTo>
                    <a:pt x="210561" y="202996"/>
                    <a:pt x="202996" y="210561"/>
                    <a:pt x="194170" y="210561"/>
                  </a:cubicBezTo>
                  <a:lnTo>
                    <a:pt x="194170" y="21056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56" name="Forma Livre: Forma 55">
              <a:extLst>
                <a:ext uri="{FF2B5EF4-FFF2-40B4-BE49-F238E27FC236}">
                  <a16:creationId xmlns:a16="http://schemas.microsoft.com/office/drawing/2014/main" id="{323ADD74-A74F-4EEE-9A7F-49F6276031F5}"/>
                </a:ext>
              </a:extLst>
            </p:cNvPr>
            <p:cNvSpPr/>
            <p:nvPr/>
          </p:nvSpPr>
          <p:spPr>
            <a:xfrm>
              <a:off x="8647950" y="4725246"/>
              <a:ext cx="158866" cy="158235"/>
            </a:xfrm>
            <a:custGeom>
              <a:avLst/>
              <a:gdLst>
                <a:gd name="connsiteX0" fmla="*/ 141845 w 158866"/>
                <a:gd name="connsiteY0" fmla="*/ 158236 h 158235"/>
                <a:gd name="connsiteX1" fmla="*/ 125453 w 158866"/>
                <a:gd name="connsiteY1" fmla="*/ 141845 h 158235"/>
                <a:gd name="connsiteX2" fmla="*/ 16391 w 158866"/>
                <a:gd name="connsiteY2" fmla="*/ 32782 h 158235"/>
                <a:gd name="connsiteX3" fmla="*/ 0 w 158866"/>
                <a:gd name="connsiteY3" fmla="*/ 16391 h 158235"/>
                <a:gd name="connsiteX4" fmla="*/ 16391 w 158866"/>
                <a:gd name="connsiteY4" fmla="*/ 0 h 158235"/>
                <a:gd name="connsiteX5" fmla="*/ 158866 w 158866"/>
                <a:gd name="connsiteY5" fmla="*/ 142475 h 158235"/>
                <a:gd name="connsiteX6" fmla="*/ 141845 w 158866"/>
                <a:gd name="connsiteY6" fmla="*/ 158236 h 158235"/>
                <a:gd name="connsiteX7" fmla="*/ 141845 w 158866"/>
                <a:gd name="connsiteY7" fmla="*/ 158236 h 158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8866" h="158235">
                  <a:moveTo>
                    <a:pt x="141845" y="158236"/>
                  </a:moveTo>
                  <a:cubicBezTo>
                    <a:pt x="132389" y="158236"/>
                    <a:pt x="125453" y="150671"/>
                    <a:pt x="125453" y="141845"/>
                  </a:cubicBezTo>
                  <a:cubicBezTo>
                    <a:pt x="125453" y="81955"/>
                    <a:pt x="76281" y="32782"/>
                    <a:pt x="16391" y="32782"/>
                  </a:cubicBezTo>
                  <a:cubicBezTo>
                    <a:pt x="6934" y="32782"/>
                    <a:pt x="0" y="25217"/>
                    <a:pt x="0" y="16391"/>
                  </a:cubicBezTo>
                  <a:cubicBezTo>
                    <a:pt x="0" y="7565"/>
                    <a:pt x="7565" y="0"/>
                    <a:pt x="16391" y="0"/>
                  </a:cubicBezTo>
                  <a:cubicBezTo>
                    <a:pt x="94563" y="0"/>
                    <a:pt x="158866" y="63673"/>
                    <a:pt x="158866" y="142475"/>
                  </a:cubicBezTo>
                  <a:cubicBezTo>
                    <a:pt x="158236" y="150671"/>
                    <a:pt x="150670" y="158236"/>
                    <a:pt x="141845" y="158236"/>
                  </a:cubicBezTo>
                  <a:lnTo>
                    <a:pt x="141845" y="158236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57" name="Forma Livre: Forma 56">
              <a:extLst>
                <a:ext uri="{FF2B5EF4-FFF2-40B4-BE49-F238E27FC236}">
                  <a16:creationId xmlns:a16="http://schemas.microsoft.com/office/drawing/2014/main" id="{6688EEB9-C89B-4AAA-A02A-7F07AAC79EB5}"/>
                </a:ext>
              </a:extLst>
            </p:cNvPr>
            <p:cNvSpPr/>
            <p:nvPr/>
          </p:nvSpPr>
          <p:spPr>
            <a:xfrm>
              <a:off x="8647950" y="4780723"/>
              <a:ext cx="103388" cy="102758"/>
            </a:xfrm>
            <a:custGeom>
              <a:avLst/>
              <a:gdLst>
                <a:gd name="connsiteX0" fmla="*/ 86998 w 103388"/>
                <a:gd name="connsiteY0" fmla="*/ 102759 h 102758"/>
                <a:gd name="connsiteX1" fmla="*/ 70607 w 103388"/>
                <a:gd name="connsiteY1" fmla="*/ 86368 h 102758"/>
                <a:gd name="connsiteX2" fmla="*/ 16391 w 103388"/>
                <a:gd name="connsiteY2" fmla="*/ 32782 h 102758"/>
                <a:gd name="connsiteX3" fmla="*/ 0 w 103388"/>
                <a:gd name="connsiteY3" fmla="*/ 16391 h 102758"/>
                <a:gd name="connsiteX4" fmla="*/ 16391 w 103388"/>
                <a:gd name="connsiteY4" fmla="*/ 0 h 102758"/>
                <a:gd name="connsiteX5" fmla="*/ 103389 w 103388"/>
                <a:gd name="connsiteY5" fmla="*/ 86998 h 102758"/>
                <a:gd name="connsiteX6" fmla="*/ 86998 w 103388"/>
                <a:gd name="connsiteY6" fmla="*/ 102759 h 102758"/>
                <a:gd name="connsiteX7" fmla="*/ 86998 w 103388"/>
                <a:gd name="connsiteY7" fmla="*/ 102759 h 102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3388" h="102758">
                  <a:moveTo>
                    <a:pt x="86998" y="102759"/>
                  </a:moveTo>
                  <a:cubicBezTo>
                    <a:pt x="77542" y="102759"/>
                    <a:pt x="70607" y="95194"/>
                    <a:pt x="70607" y="86368"/>
                  </a:cubicBezTo>
                  <a:cubicBezTo>
                    <a:pt x="70607" y="56738"/>
                    <a:pt x="46651" y="32782"/>
                    <a:pt x="16391" y="32782"/>
                  </a:cubicBezTo>
                  <a:cubicBezTo>
                    <a:pt x="6934" y="32782"/>
                    <a:pt x="0" y="25217"/>
                    <a:pt x="0" y="16391"/>
                  </a:cubicBezTo>
                  <a:cubicBezTo>
                    <a:pt x="0" y="6934"/>
                    <a:pt x="7565" y="0"/>
                    <a:pt x="16391" y="0"/>
                  </a:cubicBezTo>
                  <a:cubicBezTo>
                    <a:pt x="64303" y="0"/>
                    <a:pt x="103389" y="39086"/>
                    <a:pt x="103389" y="86998"/>
                  </a:cubicBezTo>
                  <a:cubicBezTo>
                    <a:pt x="103389" y="95194"/>
                    <a:pt x="95824" y="102759"/>
                    <a:pt x="86998" y="102759"/>
                  </a:cubicBezTo>
                  <a:lnTo>
                    <a:pt x="86998" y="102759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sp>
        <p:nvSpPr>
          <p:cNvPr id="59" name="CaixaDeTexto 58">
            <a:extLst>
              <a:ext uri="{FF2B5EF4-FFF2-40B4-BE49-F238E27FC236}">
                <a16:creationId xmlns:a16="http://schemas.microsoft.com/office/drawing/2014/main" id="{A1B72009-148A-4484-BC2A-358548DAC748}"/>
              </a:ext>
            </a:extLst>
          </p:cNvPr>
          <p:cNvSpPr txBox="1"/>
          <p:nvPr/>
        </p:nvSpPr>
        <p:spPr>
          <a:xfrm>
            <a:off x="482776" y="1400411"/>
            <a:ext cx="210241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0" name="CaixaDeTexto 59">
            <a:extLst>
              <a:ext uri="{FF2B5EF4-FFF2-40B4-BE49-F238E27FC236}">
                <a16:creationId xmlns:a16="http://schemas.microsoft.com/office/drawing/2014/main" id="{29676F67-21AF-4918-9F29-EB743D9ECB7F}"/>
              </a:ext>
            </a:extLst>
          </p:cNvPr>
          <p:cNvSpPr txBox="1"/>
          <p:nvPr/>
        </p:nvSpPr>
        <p:spPr>
          <a:xfrm>
            <a:off x="490373" y="3439643"/>
            <a:ext cx="265811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1" name="CaixaDeTexto 60">
            <a:extLst>
              <a:ext uri="{FF2B5EF4-FFF2-40B4-BE49-F238E27FC236}">
                <a16:creationId xmlns:a16="http://schemas.microsoft.com/office/drawing/2014/main" id="{0E075A3F-902E-490D-A9D8-5DBE1B82B5D0}"/>
              </a:ext>
            </a:extLst>
          </p:cNvPr>
          <p:cNvSpPr txBox="1"/>
          <p:nvPr/>
        </p:nvSpPr>
        <p:spPr>
          <a:xfrm>
            <a:off x="1722282" y="4916948"/>
            <a:ext cx="271002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2" name="CaixaDeTexto 61">
            <a:extLst>
              <a:ext uri="{FF2B5EF4-FFF2-40B4-BE49-F238E27FC236}">
                <a16:creationId xmlns:a16="http://schemas.microsoft.com/office/drawing/2014/main" id="{51FF5987-65B9-427B-93FE-CF0F7A634958}"/>
              </a:ext>
            </a:extLst>
          </p:cNvPr>
          <p:cNvSpPr txBox="1"/>
          <p:nvPr/>
        </p:nvSpPr>
        <p:spPr>
          <a:xfrm>
            <a:off x="7961269" y="4916948"/>
            <a:ext cx="271002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3" name="CaixaDeTexto 62">
            <a:extLst>
              <a:ext uri="{FF2B5EF4-FFF2-40B4-BE49-F238E27FC236}">
                <a16:creationId xmlns:a16="http://schemas.microsoft.com/office/drawing/2014/main" id="{2ECBBFAD-4347-44E1-818E-01CA12C8CF72}"/>
              </a:ext>
            </a:extLst>
          </p:cNvPr>
          <p:cNvSpPr txBox="1"/>
          <p:nvPr/>
        </p:nvSpPr>
        <p:spPr>
          <a:xfrm>
            <a:off x="9064467" y="3439643"/>
            <a:ext cx="265811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4" name="CaixaDeTexto 63">
            <a:extLst>
              <a:ext uri="{FF2B5EF4-FFF2-40B4-BE49-F238E27FC236}">
                <a16:creationId xmlns:a16="http://schemas.microsoft.com/office/drawing/2014/main" id="{74B2CB35-FB80-4FD2-A83D-BC86B1A196FE}"/>
              </a:ext>
            </a:extLst>
          </p:cNvPr>
          <p:cNvSpPr txBox="1"/>
          <p:nvPr/>
        </p:nvSpPr>
        <p:spPr>
          <a:xfrm>
            <a:off x="9606813" y="1400411"/>
            <a:ext cx="210241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66" name="Conector reto 65">
            <a:extLst>
              <a:ext uri="{FF2B5EF4-FFF2-40B4-BE49-F238E27FC236}">
                <a16:creationId xmlns:a16="http://schemas.microsoft.com/office/drawing/2014/main" id="{8D19EAA1-0E2C-40A2-B685-1A47E351E1EC}"/>
              </a:ext>
            </a:extLst>
          </p:cNvPr>
          <p:cNvCxnSpPr/>
          <p:nvPr/>
        </p:nvCxnSpPr>
        <p:spPr>
          <a:xfrm flipH="1">
            <a:off x="598816" y="2566580"/>
            <a:ext cx="1887209" cy="0"/>
          </a:xfrm>
          <a:prstGeom prst="line">
            <a:avLst/>
          </a:prstGeom>
          <a:ln w="57150">
            <a:solidFill>
              <a:srgbClr val="D6D6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ector reto 66">
            <a:extLst>
              <a:ext uri="{FF2B5EF4-FFF2-40B4-BE49-F238E27FC236}">
                <a16:creationId xmlns:a16="http://schemas.microsoft.com/office/drawing/2014/main" id="{2C3ED6A9-05A2-4BB5-B064-1E68191DDE8E}"/>
              </a:ext>
            </a:extLst>
          </p:cNvPr>
          <p:cNvCxnSpPr/>
          <p:nvPr/>
        </p:nvCxnSpPr>
        <p:spPr>
          <a:xfrm flipH="1">
            <a:off x="1151986" y="4633452"/>
            <a:ext cx="1887209" cy="0"/>
          </a:xfrm>
          <a:prstGeom prst="line">
            <a:avLst/>
          </a:prstGeom>
          <a:ln w="57150">
            <a:solidFill>
              <a:srgbClr val="D6D6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Conector reto 67">
            <a:extLst>
              <a:ext uri="{FF2B5EF4-FFF2-40B4-BE49-F238E27FC236}">
                <a16:creationId xmlns:a16="http://schemas.microsoft.com/office/drawing/2014/main" id="{276DA044-E3CD-4744-936D-7C7A92BD10E4}"/>
              </a:ext>
            </a:extLst>
          </p:cNvPr>
          <p:cNvCxnSpPr/>
          <p:nvPr/>
        </p:nvCxnSpPr>
        <p:spPr>
          <a:xfrm flipH="1">
            <a:off x="2455261" y="6132052"/>
            <a:ext cx="1887209" cy="0"/>
          </a:xfrm>
          <a:prstGeom prst="line">
            <a:avLst/>
          </a:prstGeom>
          <a:ln w="57150">
            <a:solidFill>
              <a:srgbClr val="D6D6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Conector reto 68">
            <a:extLst>
              <a:ext uri="{FF2B5EF4-FFF2-40B4-BE49-F238E27FC236}">
                <a16:creationId xmlns:a16="http://schemas.microsoft.com/office/drawing/2014/main" id="{57AE4EE8-4E67-48A1-B1B9-C3E315F8750A}"/>
              </a:ext>
            </a:extLst>
          </p:cNvPr>
          <p:cNvCxnSpPr/>
          <p:nvPr/>
        </p:nvCxnSpPr>
        <p:spPr>
          <a:xfrm flipH="1">
            <a:off x="8064167" y="6132052"/>
            <a:ext cx="1887209" cy="0"/>
          </a:xfrm>
          <a:prstGeom prst="line">
            <a:avLst/>
          </a:prstGeom>
          <a:ln w="57150">
            <a:solidFill>
              <a:srgbClr val="D6D6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Conector reto 69">
            <a:extLst>
              <a:ext uri="{FF2B5EF4-FFF2-40B4-BE49-F238E27FC236}">
                <a16:creationId xmlns:a16="http://schemas.microsoft.com/office/drawing/2014/main" id="{47E74CA6-247F-40C2-8291-7C6A7D301C5F}"/>
              </a:ext>
            </a:extLst>
          </p:cNvPr>
          <p:cNvCxnSpPr/>
          <p:nvPr/>
        </p:nvCxnSpPr>
        <p:spPr>
          <a:xfrm flipH="1">
            <a:off x="8037469" y="6132052"/>
            <a:ext cx="1887209" cy="0"/>
          </a:xfrm>
          <a:prstGeom prst="line">
            <a:avLst/>
          </a:prstGeom>
          <a:ln w="57150">
            <a:solidFill>
              <a:srgbClr val="D6D6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Conector reto 70">
            <a:extLst>
              <a:ext uri="{FF2B5EF4-FFF2-40B4-BE49-F238E27FC236}">
                <a16:creationId xmlns:a16="http://schemas.microsoft.com/office/drawing/2014/main" id="{E3ABDD72-DD74-4230-8CF6-EB54573D1405}"/>
              </a:ext>
            </a:extLst>
          </p:cNvPr>
          <p:cNvCxnSpPr/>
          <p:nvPr/>
        </p:nvCxnSpPr>
        <p:spPr>
          <a:xfrm flipH="1">
            <a:off x="9157013" y="4633452"/>
            <a:ext cx="1887209" cy="0"/>
          </a:xfrm>
          <a:prstGeom prst="line">
            <a:avLst/>
          </a:prstGeom>
          <a:ln w="57150">
            <a:solidFill>
              <a:srgbClr val="D6D6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ector reto 71">
            <a:extLst>
              <a:ext uri="{FF2B5EF4-FFF2-40B4-BE49-F238E27FC236}">
                <a16:creationId xmlns:a16="http://schemas.microsoft.com/office/drawing/2014/main" id="{A6431EB5-408A-443A-BDBD-4094A5049384}"/>
              </a:ext>
            </a:extLst>
          </p:cNvPr>
          <p:cNvCxnSpPr/>
          <p:nvPr/>
        </p:nvCxnSpPr>
        <p:spPr>
          <a:xfrm flipH="1">
            <a:off x="9714413" y="2566580"/>
            <a:ext cx="1887209" cy="0"/>
          </a:xfrm>
          <a:prstGeom prst="line">
            <a:avLst/>
          </a:prstGeom>
          <a:ln w="57150">
            <a:solidFill>
              <a:srgbClr val="D6D6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8646166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EA45E677-64EB-4C3A-9469-219F1EDF82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Inserir aqui o título do slide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4060297D-254F-4AFD-9ECE-1BB5548D441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erir aqui o subtítulo do slide</a:t>
            </a:r>
          </a:p>
        </p:txBody>
      </p:sp>
      <p:cxnSp>
        <p:nvCxnSpPr>
          <p:cNvPr id="18" name="Conector: Angulado 17">
            <a:extLst>
              <a:ext uri="{FF2B5EF4-FFF2-40B4-BE49-F238E27FC236}">
                <a16:creationId xmlns:a16="http://schemas.microsoft.com/office/drawing/2014/main" id="{764B4B02-3D4F-48B5-B343-ADC64496A8F4}"/>
              </a:ext>
            </a:extLst>
          </p:cNvPr>
          <p:cNvCxnSpPr>
            <a:stCxn id="8" idx="4"/>
            <a:endCxn id="9" idx="6"/>
          </p:cNvCxnSpPr>
          <p:nvPr/>
        </p:nvCxnSpPr>
        <p:spPr>
          <a:xfrm rot="5400000">
            <a:off x="4542071" y="1279658"/>
            <a:ext cx="836147" cy="2271713"/>
          </a:xfrm>
          <a:prstGeom prst="bentConnector2">
            <a:avLst/>
          </a:prstGeom>
          <a:ln w="19050">
            <a:solidFill>
              <a:srgbClr val="D6D6CE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: Angulado 19">
            <a:extLst>
              <a:ext uri="{FF2B5EF4-FFF2-40B4-BE49-F238E27FC236}">
                <a16:creationId xmlns:a16="http://schemas.microsoft.com/office/drawing/2014/main" id="{A54647F3-2FF5-45F2-ADD7-B728D7DDFDB0}"/>
              </a:ext>
            </a:extLst>
          </p:cNvPr>
          <p:cNvCxnSpPr>
            <a:cxnSpLocks/>
            <a:stCxn id="8" idx="4"/>
            <a:endCxn id="10" idx="2"/>
          </p:cNvCxnSpPr>
          <p:nvPr/>
        </p:nvCxnSpPr>
        <p:spPr>
          <a:xfrm rot="16200000" flipH="1">
            <a:off x="6946340" y="1147101"/>
            <a:ext cx="836147" cy="2536826"/>
          </a:xfrm>
          <a:prstGeom prst="bentConnector2">
            <a:avLst/>
          </a:prstGeom>
          <a:ln w="19050">
            <a:solidFill>
              <a:srgbClr val="D6D6CE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: Angulado 22">
            <a:extLst>
              <a:ext uri="{FF2B5EF4-FFF2-40B4-BE49-F238E27FC236}">
                <a16:creationId xmlns:a16="http://schemas.microsoft.com/office/drawing/2014/main" id="{EAC90CDC-1441-4AF3-A6A9-BC5715045A78}"/>
              </a:ext>
            </a:extLst>
          </p:cNvPr>
          <p:cNvCxnSpPr>
            <a:stCxn id="9" idx="4"/>
            <a:endCxn id="11" idx="0"/>
          </p:cNvCxnSpPr>
          <p:nvPr/>
        </p:nvCxnSpPr>
        <p:spPr>
          <a:xfrm rot="5400000">
            <a:off x="1741859" y="3025304"/>
            <a:ext cx="1216870" cy="1890713"/>
          </a:xfrm>
          <a:prstGeom prst="bentConnector3">
            <a:avLst>
              <a:gd name="adj1" fmla="val 50000"/>
            </a:avLst>
          </a:prstGeom>
          <a:ln w="19050">
            <a:solidFill>
              <a:srgbClr val="D6D6CE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ector: Angulado 24">
            <a:extLst>
              <a:ext uri="{FF2B5EF4-FFF2-40B4-BE49-F238E27FC236}">
                <a16:creationId xmlns:a16="http://schemas.microsoft.com/office/drawing/2014/main" id="{3D4115A4-73DE-41FD-9C0C-42E2CCA6560F}"/>
              </a:ext>
            </a:extLst>
          </p:cNvPr>
          <p:cNvCxnSpPr>
            <a:stCxn id="9" idx="4"/>
            <a:endCxn id="13" idx="0"/>
          </p:cNvCxnSpPr>
          <p:nvPr/>
        </p:nvCxnSpPr>
        <p:spPr>
          <a:xfrm rot="16200000" flipH="1">
            <a:off x="3606377" y="3051497"/>
            <a:ext cx="1216870" cy="1838325"/>
          </a:xfrm>
          <a:prstGeom prst="bentConnector3">
            <a:avLst>
              <a:gd name="adj1" fmla="val 50000"/>
            </a:avLst>
          </a:prstGeom>
          <a:ln w="19050">
            <a:solidFill>
              <a:srgbClr val="D6D6CE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ector reto 28">
            <a:extLst>
              <a:ext uri="{FF2B5EF4-FFF2-40B4-BE49-F238E27FC236}">
                <a16:creationId xmlns:a16="http://schemas.microsoft.com/office/drawing/2014/main" id="{D2199AD5-45E3-43F5-846D-B869B6B4B9FC}"/>
              </a:ext>
            </a:extLst>
          </p:cNvPr>
          <p:cNvCxnSpPr>
            <a:cxnSpLocks/>
            <a:stCxn id="9" idx="4"/>
            <a:endCxn id="12" idx="0"/>
          </p:cNvCxnSpPr>
          <p:nvPr/>
        </p:nvCxnSpPr>
        <p:spPr>
          <a:xfrm>
            <a:off x="3295650" y="3362225"/>
            <a:ext cx="0" cy="1216870"/>
          </a:xfrm>
          <a:prstGeom prst="line">
            <a:avLst/>
          </a:prstGeom>
          <a:ln w="19050">
            <a:solidFill>
              <a:srgbClr val="D6D6CE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ector: Angulado 30">
            <a:extLst>
              <a:ext uri="{FF2B5EF4-FFF2-40B4-BE49-F238E27FC236}">
                <a16:creationId xmlns:a16="http://schemas.microsoft.com/office/drawing/2014/main" id="{9B26990A-1C23-421C-8F9A-282700EE7E66}"/>
              </a:ext>
            </a:extLst>
          </p:cNvPr>
          <p:cNvCxnSpPr>
            <a:stCxn id="10" idx="4"/>
            <a:endCxn id="14" idx="0"/>
          </p:cNvCxnSpPr>
          <p:nvPr/>
        </p:nvCxnSpPr>
        <p:spPr>
          <a:xfrm rot="5400000">
            <a:off x="7567192" y="2984823"/>
            <a:ext cx="1216870" cy="1971675"/>
          </a:xfrm>
          <a:prstGeom prst="bentConnector3">
            <a:avLst>
              <a:gd name="adj1" fmla="val 71470"/>
            </a:avLst>
          </a:prstGeom>
          <a:ln w="19050">
            <a:solidFill>
              <a:srgbClr val="D6D6CE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ector: Angulado 32">
            <a:extLst>
              <a:ext uri="{FF2B5EF4-FFF2-40B4-BE49-F238E27FC236}">
                <a16:creationId xmlns:a16="http://schemas.microsoft.com/office/drawing/2014/main" id="{F4086B8E-88F5-47D0-8DC1-F6C5620A397F}"/>
              </a:ext>
            </a:extLst>
          </p:cNvPr>
          <p:cNvCxnSpPr>
            <a:stCxn id="10" idx="4"/>
            <a:endCxn id="16" idx="0"/>
          </p:cNvCxnSpPr>
          <p:nvPr/>
        </p:nvCxnSpPr>
        <p:spPr>
          <a:xfrm rot="16200000" flipH="1">
            <a:off x="9423772" y="3099917"/>
            <a:ext cx="1216870" cy="1741486"/>
          </a:xfrm>
          <a:prstGeom prst="bentConnector3">
            <a:avLst>
              <a:gd name="adj1" fmla="val 71470"/>
            </a:avLst>
          </a:prstGeom>
          <a:ln w="19050">
            <a:solidFill>
              <a:srgbClr val="D6D6CE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ector reto 34">
            <a:extLst>
              <a:ext uri="{FF2B5EF4-FFF2-40B4-BE49-F238E27FC236}">
                <a16:creationId xmlns:a16="http://schemas.microsoft.com/office/drawing/2014/main" id="{9AD8A76C-EFC0-4EF8-A278-46A0CEDF3602}"/>
              </a:ext>
            </a:extLst>
          </p:cNvPr>
          <p:cNvCxnSpPr>
            <a:stCxn id="10" idx="4"/>
            <a:endCxn id="15" idx="0"/>
          </p:cNvCxnSpPr>
          <p:nvPr/>
        </p:nvCxnSpPr>
        <p:spPr>
          <a:xfrm>
            <a:off x="9161464" y="3362225"/>
            <a:ext cx="0" cy="1216870"/>
          </a:xfrm>
          <a:prstGeom prst="line">
            <a:avLst/>
          </a:prstGeom>
          <a:ln w="19050">
            <a:solidFill>
              <a:srgbClr val="D6D6CE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tângulo: Cantos Arredondados 38">
            <a:extLst>
              <a:ext uri="{FF2B5EF4-FFF2-40B4-BE49-F238E27FC236}">
                <a16:creationId xmlns:a16="http://schemas.microsoft.com/office/drawing/2014/main" id="{9A18C17C-E75F-4732-86D3-896A76DBCC7B}"/>
              </a:ext>
            </a:extLst>
          </p:cNvPr>
          <p:cNvSpPr/>
          <p:nvPr/>
        </p:nvSpPr>
        <p:spPr>
          <a:xfrm>
            <a:off x="2486024" y="3470597"/>
            <a:ext cx="1619250" cy="426629"/>
          </a:xfrm>
          <a:prstGeom prst="roundRect">
            <a:avLst>
              <a:gd name="adj" fmla="val 50000"/>
            </a:avLst>
          </a:prstGeom>
          <a:solidFill>
            <a:srgbClr val="D6D6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>
                <a:solidFill>
                  <a:srgbClr val="26314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ome</a:t>
            </a:r>
          </a:p>
          <a:p>
            <a:pPr algn="ctr"/>
            <a:r>
              <a:rPr lang="pt-BR" sz="1000" dirty="0">
                <a:solidFill>
                  <a:srgbClr val="26314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go</a:t>
            </a:r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id="{62DB9704-E0CF-45FD-A0A1-96C784BF504B}"/>
              </a:ext>
            </a:extLst>
          </p:cNvPr>
          <p:cNvSpPr/>
          <p:nvPr/>
        </p:nvSpPr>
        <p:spPr>
          <a:xfrm>
            <a:off x="876299" y="4579095"/>
            <a:ext cx="1057275" cy="1057275"/>
          </a:xfrm>
          <a:prstGeom prst="ellipse">
            <a:avLst/>
          </a:prstGeom>
          <a:solidFill>
            <a:schemeClr val="bg1"/>
          </a:solidFill>
          <a:ln w="57150">
            <a:solidFill>
              <a:srgbClr val="4B618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id="{21E4F2D0-CA6E-4550-B554-EF3EA004B794}"/>
              </a:ext>
            </a:extLst>
          </p:cNvPr>
          <p:cNvSpPr/>
          <p:nvPr/>
        </p:nvSpPr>
        <p:spPr>
          <a:xfrm>
            <a:off x="2767012" y="4579095"/>
            <a:ext cx="1057275" cy="1057275"/>
          </a:xfrm>
          <a:prstGeom prst="ellipse">
            <a:avLst/>
          </a:prstGeom>
          <a:solidFill>
            <a:schemeClr val="bg1"/>
          </a:solidFill>
          <a:ln w="57150">
            <a:solidFill>
              <a:srgbClr val="4B618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Elipse 12">
            <a:extLst>
              <a:ext uri="{FF2B5EF4-FFF2-40B4-BE49-F238E27FC236}">
                <a16:creationId xmlns:a16="http://schemas.microsoft.com/office/drawing/2014/main" id="{59F7904F-FAC0-4E76-BE0B-638653DE7CD4}"/>
              </a:ext>
            </a:extLst>
          </p:cNvPr>
          <p:cNvSpPr/>
          <p:nvPr/>
        </p:nvSpPr>
        <p:spPr>
          <a:xfrm>
            <a:off x="4605337" y="4579095"/>
            <a:ext cx="1057275" cy="1057275"/>
          </a:xfrm>
          <a:prstGeom prst="ellipse">
            <a:avLst/>
          </a:prstGeom>
          <a:solidFill>
            <a:schemeClr val="bg1"/>
          </a:solidFill>
          <a:ln w="57150">
            <a:solidFill>
              <a:srgbClr val="4B618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Elipse 13">
            <a:extLst>
              <a:ext uri="{FF2B5EF4-FFF2-40B4-BE49-F238E27FC236}">
                <a16:creationId xmlns:a16="http://schemas.microsoft.com/office/drawing/2014/main" id="{1D5503C0-2959-4FB4-8F58-D5516EEAA06A}"/>
              </a:ext>
            </a:extLst>
          </p:cNvPr>
          <p:cNvSpPr/>
          <p:nvPr/>
        </p:nvSpPr>
        <p:spPr>
          <a:xfrm>
            <a:off x="6661151" y="4579095"/>
            <a:ext cx="1057275" cy="1057275"/>
          </a:xfrm>
          <a:prstGeom prst="ellipse">
            <a:avLst/>
          </a:prstGeom>
          <a:solidFill>
            <a:schemeClr val="bg1"/>
          </a:solidFill>
          <a:ln w="57150">
            <a:solidFill>
              <a:srgbClr val="4B618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Elipse 14">
            <a:extLst>
              <a:ext uri="{FF2B5EF4-FFF2-40B4-BE49-F238E27FC236}">
                <a16:creationId xmlns:a16="http://schemas.microsoft.com/office/drawing/2014/main" id="{EB4C2080-E0F6-4583-A71B-7B802D248DBF}"/>
              </a:ext>
            </a:extLst>
          </p:cNvPr>
          <p:cNvSpPr/>
          <p:nvPr/>
        </p:nvSpPr>
        <p:spPr>
          <a:xfrm>
            <a:off x="8632826" y="4579095"/>
            <a:ext cx="1057275" cy="1057275"/>
          </a:xfrm>
          <a:prstGeom prst="ellipse">
            <a:avLst/>
          </a:prstGeom>
          <a:solidFill>
            <a:schemeClr val="bg1"/>
          </a:solidFill>
          <a:ln w="57150">
            <a:solidFill>
              <a:srgbClr val="4B618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Elipse 15">
            <a:extLst>
              <a:ext uri="{FF2B5EF4-FFF2-40B4-BE49-F238E27FC236}">
                <a16:creationId xmlns:a16="http://schemas.microsoft.com/office/drawing/2014/main" id="{E24DDD37-1D15-44D5-825B-466D5AD1050E}"/>
              </a:ext>
            </a:extLst>
          </p:cNvPr>
          <p:cNvSpPr/>
          <p:nvPr/>
        </p:nvSpPr>
        <p:spPr>
          <a:xfrm>
            <a:off x="10374312" y="4579095"/>
            <a:ext cx="1057275" cy="1057275"/>
          </a:xfrm>
          <a:prstGeom prst="ellipse">
            <a:avLst/>
          </a:prstGeom>
          <a:solidFill>
            <a:schemeClr val="bg1"/>
          </a:solidFill>
          <a:ln w="57150">
            <a:solidFill>
              <a:srgbClr val="4B618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Elipse 7">
            <a:extLst>
              <a:ext uri="{FF2B5EF4-FFF2-40B4-BE49-F238E27FC236}">
                <a16:creationId xmlns:a16="http://schemas.microsoft.com/office/drawing/2014/main" id="{BE6A3195-5BB7-47B6-AA52-4C147EA9F090}"/>
              </a:ext>
            </a:extLst>
          </p:cNvPr>
          <p:cNvSpPr/>
          <p:nvPr/>
        </p:nvSpPr>
        <p:spPr>
          <a:xfrm>
            <a:off x="5567362" y="940166"/>
            <a:ext cx="1057275" cy="1057275"/>
          </a:xfrm>
          <a:prstGeom prst="ellipse">
            <a:avLst/>
          </a:prstGeom>
          <a:noFill/>
          <a:ln w="57150">
            <a:solidFill>
              <a:srgbClr val="4B618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Elipse 8">
            <a:extLst>
              <a:ext uri="{FF2B5EF4-FFF2-40B4-BE49-F238E27FC236}">
                <a16:creationId xmlns:a16="http://schemas.microsoft.com/office/drawing/2014/main" id="{C855D8E5-319F-41D4-82A7-67B756A03F6A}"/>
              </a:ext>
            </a:extLst>
          </p:cNvPr>
          <p:cNvSpPr/>
          <p:nvPr/>
        </p:nvSpPr>
        <p:spPr>
          <a:xfrm>
            <a:off x="2767012" y="2304950"/>
            <a:ext cx="1057275" cy="1057275"/>
          </a:xfrm>
          <a:prstGeom prst="ellipse">
            <a:avLst/>
          </a:prstGeom>
          <a:noFill/>
          <a:ln w="57150">
            <a:solidFill>
              <a:srgbClr val="4B618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Elipse 9">
            <a:extLst>
              <a:ext uri="{FF2B5EF4-FFF2-40B4-BE49-F238E27FC236}">
                <a16:creationId xmlns:a16="http://schemas.microsoft.com/office/drawing/2014/main" id="{D3B8E916-20A4-4111-8351-FD1D2BB7BB87}"/>
              </a:ext>
            </a:extLst>
          </p:cNvPr>
          <p:cNvSpPr/>
          <p:nvPr/>
        </p:nvSpPr>
        <p:spPr>
          <a:xfrm>
            <a:off x="8632826" y="2304950"/>
            <a:ext cx="1057275" cy="1057275"/>
          </a:xfrm>
          <a:prstGeom prst="ellipse">
            <a:avLst/>
          </a:prstGeom>
          <a:noFill/>
          <a:ln w="57150">
            <a:solidFill>
              <a:srgbClr val="4B618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4" name="Retângulo: Cantos Arredondados 33">
            <a:extLst>
              <a:ext uri="{FF2B5EF4-FFF2-40B4-BE49-F238E27FC236}">
                <a16:creationId xmlns:a16="http://schemas.microsoft.com/office/drawing/2014/main" id="{1A06896D-3B82-4437-91AA-6B48FE438891}"/>
              </a:ext>
            </a:extLst>
          </p:cNvPr>
          <p:cNvSpPr/>
          <p:nvPr/>
        </p:nvSpPr>
        <p:spPr>
          <a:xfrm>
            <a:off x="8351841" y="3470597"/>
            <a:ext cx="1619250" cy="426629"/>
          </a:xfrm>
          <a:prstGeom prst="roundRect">
            <a:avLst>
              <a:gd name="adj" fmla="val 50000"/>
            </a:avLst>
          </a:prstGeom>
          <a:solidFill>
            <a:srgbClr val="D6D6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>
                <a:solidFill>
                  <a:srgbClr val="26314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ome</a:t>
            </a:r>
          </a:p>
          <a:p>
            <a:pPr algn="ctr"/>
            <a:r>
              <a:rPr lang="pt-BR" sz="1000" dirty="0">
                <a:solidFill>
                  <a:srgbClr val="26314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go</a:t>
            </a:r>
          </a:p>
        </p:txBody>
      </p:sp>
      <p:sp>
        <p:nvSpPr>
          <p:cNvPr id="36" name="Retângulo: Cantos Arredondados 35">
            <a:extLst>
              <a:ext uri="{FF2B5EF4-FFF2-40B4-BE49-F238E27FC236}">
                <a16:creationId xmlns:a16="http://schemas.microsoft.com/office/drawing/2014/main" id="{1A470739-EEF0-419F-80D3-9AEF63652A92}"/>
              </a:ext>
            </a:extLst>
          </p:cNvPr>
          <p:cNvSpPr/>
          <p:nvPr/>
        </p:nvSpPr>
        <p:spPr>
          <a:xfrm>
            <a:off x="5276762" y="2157746"/>
            <a:ext cx="1619250" cy="426629"/>
          </a:xfrm>
          <a:prstGeom prst="roundRect">
            <a:avLst>
              <a:gd name="adj" fmla="val 50000"/>
            </a:avLst>
          </a:prstGeom>
          <a:solidFill>
            <a:srgbClr val="D6D6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>
                <a:solidFill>
                  <a:srgbClr val="26314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ome</a:t>
            </a:r>
          </a:p>
          <a:p>
            <a:pPr algn="ctr"/>
            <a:r>
              <a:rPr lang="pt-BR" sz="1000" dirty="0">
                <a:solidFill>
                  <a:srgbClr val="26314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go</a:t>
            </a:r>
          </a:p>
        </p:txBody>
      </p:sp>
      <p:sp>
        <p:nvSpPr>
          <p:cNvPr id="38" name="Retângulo: Cantos Arredondados 37">
            <a:extLst>
              <a:ext uri="{FF2B5EF4-FFF2-40B4-BE49-F238E27FC236}">
                <a16:creationId xmlns:a16="http://schemas.microsoft.com/office/drawing/2014/main" id="{A8302DD9-9BD9-465B-8DC8-E4E6B6F57557}"/>
              </a:ext>
            </a:extLst>
          </p:cNvPr>
          <p:cNvSpPr/>
          <p:nvPr/>
        </p:nvSpPr>
        <p:spPr>
          <a:xfrm>
            <a:off x="2486024" y="5736547"/>
            <a:ext cx="1619250" cy="426629"/>
          </a:xfrm>
          <a:prstGeom prst="roundRect">
            <a:avLst>
              <a:gd name="adj" fmla="val 50000"/>
            </a:avLst>
          </a:prstGeom>
          <a:solidFill>
            <a:srgbClr val="D6D6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>
                <a:solidFill>
                  <a:srgbClr val="26314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ome</a:t>
            </a:r>
          </a:p>
          <a:p>
            <a:pPr algn="ctr"/>
            <a:r>
              <a:rPr lang="pt-BR" sz="1000" dirty="0">
                <a:solidFill>
                  <a:srgbClr val="26314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go</a:t>
            </a:r>
          </a:p>
        </p:txBody>
      </p:sp>
      <p:sp>
        <p:nvSpPr>
          <p:cNvPr id="40" name="Retângulo: Cantos Arredondados 39">
            <a:extLst>
              <a:ext uri="{FF2B5EF4-FFF2-40B4-BE49-F238E27FC236}">
                <a16:creationId xmlns:a16="http://schemas.microsoft.com/office/drawing/2014/main" id="{BB412CA7-C436-4B28-A844-D838D599C2A6}"/>
              </a:ext>
            </a:extLst>
          </p:cNvPr>
          <p:cNvSpPr/>
          <p:nvPr/>
        </p:nvSpPr>
        <p:spPr>
          <a:xfrm>
            <a:off x="598816" y="5736547"/>
            <a:ext cx="1619250" cy="426629"/>
          </a:xfrm>
          <a:prstGeom prst="roundRect">
            <a:avLst>
              <a:gd name="adj" fmla="val 50000"/>
            </a:avLst>
          </a:prstGeom>
          <a:solidFill>
            <a:srgbClr val="D6D6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>
                <a:solidFill>
                  <a:srgbClr val="26314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ome</a:t>
            </a:r>
          </a:p>
          <a:p>
            <a:pPr algn="ctr"/>
            <a:r>
              <a:rPr lang="pt-BR" sz="1000" dirty="0">
                <a:solidFill>
                  <a:srgbClr val="26314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go</a:t>
            </a:r>
          </a:p>
        </p:txBody>
      </p:sp>
      <p:sp>
        <p:nvSpPr>
          <p:cNvPr id="44" name="Retângulo: Cantos Arredondados 43">
            <a:extLst>
              <a:ext uri="{FF2B5EF4-FFF2-40B4-BE49-F238E27FC236}">
                <a16:creationId xmlns:a16="http://schemas.microsoft.com/office/drawing/2014/main" id="{101629AB-6FF1-409C-8E1F-93F59BE84D89}"/>
              </a:ext>
            </a:extLst>
          </p:cNvPr>
          <p:cNvSpPr/>
          <p:nvPr/>
        </p:nvSpPr>
        <p:spPr>
          <a:xfrm>
            <a:off x="4324349" y="5736547"/>
            <a:ext cx="1619250" cy="426629"/>
          </a:xfrm>
          <a:prstGeom prst="roundRect">
            <a:avLst>
              <a:gd name="adj" fmla="val 50000"/>
            </a:avLst>
          </a:prstGeom>
          <a:solidFill>
            <a:srgbClr val="D6D6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>
                <a:solidFill>
                  <a:srgbClr val="26314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ome</a:t>
            </a:r>
          </a:p>
          <a:p>
            <a:pPr algn="ctr"/>
            <a:r>
              <a:rPr lang="pt-BR" sz="1000" dirty="0">
                <a:solidFill>
                  <a:srgbClr val="26314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go</a:t>
            </a:r>
          </a:p>
        </p:txBody>
      </p:sp>
      <p:sp>
        <p:nvSpPr>
          <p:cNvPr id="49" name="Retângulo: Cantos Arredondados 48">
            <a:extLst>
              <a:ext uri="{FF2B5EF4-FFF2-40B4-BE49-F238E27FC236}">
                <a16:creationId xmlns:a16="http://schemas.microsoft.com/office/drawing/2014/main" id="{82A68D79-825B-4E79-BD16-AF49BA17295D}"/>
              </a:ext>
            </a:extLst>
          </p:cNvPr>
          <p:cNvSpPr/>
          <p:nvPr/>
        </p:nvSpPr>
        <p:spPr>
          <a:xfrm>
            <a:off x="6380163" y="5736547"/>
            <a:ext cx="1619250" cy="426629"/>
          </a:xfrm>
          <a:prstGeom prst="roundRect">
            <a:avLst>
              <a:gd name="adj" fmla="val 50000"/>
            </a:avLst>
          </a:prstGeom>
          <a:solidFill>
            <a:srgbClr val="D6D6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>
                <a:solidFill>
                  <a:srgbClr val="26314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ome</a:t>
            </a:r>
          </a:p>
          <a:p>
            <a:pPr algn="ctr"/>
            <a:r>
              <a:rPr lang="pt-BR" sz="1000" dirty="0">
                <a:solidFill>
                  <a:srgbClr val="26314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go</a:t>
            </a:r>
          </a:p>
        </p:txBody>
      </p:sp>
      <p:sp>
        <p:nvSpPr>
          <p:cNvPr id="50" name="Retângulo: Cantos Arredondados 49">
            <a:extLst>
              <a:ext uri="{FF2B5EF4-FFF2-40B4-BE49-F238E27FC236}">
                <a16:creationId xmlns:a16="http://schemas.microsoft.com/office/drawing/2014/main" id="{CB6D6D64-1858-49EF-B244-9C88AC7BA137}"/>
              </a:ext>
            </a:extLst>
          </p:cNvPr>
          <p:cNvSpPr/>
          <p:nvPr/>
        </p:nvSpPr>
        <p:spPr>
          <a:xfrm>
            <a:off x="8351841" y="5736547"/>
            <a:ext cx="1619250" cy="426629"/>
          </a:xfrm>
          <a:prstGeom prst="roundRect">
            <a:avLst>
              <a:gd name="adj" fmla="val 50000"/>
            </a:avLst>
          </a:prstGeom>
          <a:solidFill>
            <a:srgbClr val="D6D6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>
                <a:solidFill>
                  <a:srgbClr val="26314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ome</a:t>
            </a:r>
          </a:p>
          <a:p>
            <a:pPr algn="ctr"/>
            <a:r>
              <a:rPr lang="pt-BR" sz="1000" dirty="0">
                <a:solidFill>
                  <a:srgbClr val="26314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go</a:t>
            </a:r>
          </a:p>
        </p:txBody>
      </p:sp>
      <p:sp>
        <p:nvSpPr>
          <p:cNvPr id="51" name="Retângulo: Cantos Arredondados 50">
            <a:extLst>
              <a:ext uri="{FF2B5EF4-FFF2-40B4-BE49-F238E27FC236}">
                <a16:creationId xmlns:a16="http://schemas.microsoft.com/office/drawing/2014/main" id="{CCF1399B-4731-4D4F-8177-FA23F5A26ADF}"/>
              </a:ext>
            </a:extLst>
          </p:cNvPr>
          <p:cNvSpPr/>
          <p:nvPr/>
        </p:nvSpPr>
        <p:spPr>
          <a:xfrm>
            <a:off x="10077450" y="5736547"/>
            <a:ext cx="1619250" cy="426629"/>
          </a:xfrm>
          <a:prstGeom prst="roundRect">
            <a:avLst>
              <a:gd name="adj" fmla="val 50000"/>
            </a:avLst>
          </a:prstGeom>
          <a:solidFill>
            <a:srgbClr val="D6D6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>
                <a:solidFill>
                  <a:srgbClr val="26314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ome</a:t>
            </a:r>
          </a:p>
          <a:p>
            <a:pPr algn="ctr"/>
            <a:r>
              <a:rPr lang="pt-BR" sz="1000" dirty="0">
                <a:solidFill>
                  <a:srgbClr val="26314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rgo</a:t>
            </a:r>
          </a:p>
        </p:txBody>
      </p:sp>
    </p:spTree>
    <p:extLst>
      <p:ext uri="{BB962C8B-B14F-4D97-AF65-F5344CB8AC3E}">
        <p14:creationId xmlns:p14="http://schemas.microsoft.com/office/powerpoint/2010/main" val="1711984311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1A9B2E14-B837-4786-BCCD-EDF864E7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Inserir aqui o título do slide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5F50BB99-6F0A-484C-B480-1CA70F5F614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erir aqui o subtítulo do slide</a:t>
            </a:r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44DF4BF2-25AB-47CE-9D56-4D572B0D7A46}"/>
              </a:ext>
            </a:extLst>
          </p:cNvPr>
          <p:cNvSpPr/>
          <p:nvPr/>
        </p:nvSpPr>
        <p:spPr>
          <a:xfrm>
            <a:off x="587375" y="944563"/>
            <a:ext cx="2432050" cy="2484437"/>
          </a:xfrm>
          <a:prstGeom prst="rect">
            <a:avLst/>
          </a:prstGeom>
          <a:solidFill>
            <a:srgbClr val="4B6185"/>
          </a:solidFill>
          <a:ln>
            <a:solidFill>
              <a:srgbClr val="D6D6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C8A09743-FF51-468D-A751-408E0F14C727}"/>
              </a:ext>
            </a:extLst>
          </p:cNvPr>
          <p:cNvSpPr/>
          <p:nvPr/>
        </p:nvSpPr>
        <p:spPr>
          <a:xfrm>
            <a:off x="739775" y="1096963"/>
            <a:ext cx="2432050" cy="24844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Retângulo 11">
            <a:extLst>
              <a:ext uri="{FF2B5EF4-FFF2-40B4-BE49-F238E27FC236}">
                <a16:creationId xmlns:a16="http://schemas.microsoft.com/office/drawing/2014/main" id="{CA8AAA2F-7A5A-4897-AB2C-5859D21AE8CF}"/>
              </a:ext>
            </a:extLst>
          </p:cNvPr>
          <p:cNvSpPr/>
          <p:nvPr/>
        </p:nvSpPr>
        <p:spPr>
          <a:xfrm>
            <a:off x="9131300" y="944563"/>
            <a:ext cx="2432050" cy="2484437"/>
          </a:xfrm>
          <a:prstGeom prst="rect">
            <a:avLst/>
          </a:prstGeom>
          <a:solidFill>
            <a:srgbClr val="4B6185"/>
          </a:solidFill>
          <a:ln>
            <a:solidFill>
              <a:srgbClr val="D6D6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1F643225-A10A-4625-9E6D-744667708AFC}"/>
              </a:ext>
            </a:extLst>
          </p:cNvPr>
          <p:cNvSpPr/>
          <p:nvPr/>
        </p:nvSpPr>
        <p:spPr>
          <a:xfrm>
            <a:off x="9283700" y="1096963"/>
            <a:ext cx="2432050" cy="24844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Retângulo 14">
            <a:extLst>
              <a:ext uri="{FF2B5EF4-FFF2-40B4-BE49-F238E27FC236}">
                <a16:creationId xmlns:a16="http://schemas.microsoft.com/office/drawing/2014/main" id="{8A6B3AD8-F271-4814-8545-ED72479630A3}"/>
              </a:ext>
            </a:extLst>
          </p:cNvPr>
          <p:cNvSpPr/>
          <p:nvPr/>
        </p:nvSpPr>
        <p:spPr>
          <a:xfrm>
            <a:off x="6283325" y="944563"/>
            <a:ext cx="2432050" cy="2484437"/>
          </a:xfrm>
          <a:prstGeom prst="rect">
            <a:avLst/>
          </a:prstGeom>
          <a:solidFill>
            <a:srgbClr val="4B6185"/>
          </a:solidFill>
          <a:ln>
            <a:solidFill>
              <a:srgbClr val="D6D6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id="{FCC79EA2-59A6-433E-9CAF-E0A4A2B75F1B}"/>
              </a:ext>
            </a:extLst>
          </p:cNvPr>
          <p:cNvSpPr/>
          <p:nvPr/>
        </p:nvSpPr>
        <p:spPr>
          <a:xfrm>
            <a:off x="6435725" y="1096963"/>
            <a:ext cx="2432050" cy="24844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Retângulo 17">
            <a:extLst>
              <a:ext uri="{FF2B5EF4-FFF2-40B4-BE49-F238E27FC236}">
                <a16:creationId xmlns:a16="http://schemas.microsoft.com/office/drawing/2014/main" id="{84752507-090E-4450-8B71-A6022344354A}"/>
              </a:ext>
            </a:extLst>
          </p:cNvPr>
          <p:cNvSpPr/>
          <p:nvPr/>
        </p:nvSpPr>
        <p:spPr>
          <a:xfrm>
            <a:off x="3435350" y="944563"/>
            <a:ext cx="2432050" cy="2484437"/>
          </a:xfrm>
          <a:prstGeom prst="rect">
            <a:avLst/>
          </a:prstGeom>
          <a:solidFill>
            <a:srgbClr val="4B6185"/>
          </a:solidFill>
          <a:ln>
            <a:solidFill>
              <a:srgbClr val="D6D6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9" name="Retângulo 18">
            <a:extLst>
              <a:ext uri="{FF2B5EF4-FFF2-40B4-BE49-F238E27FC236}">
                <a16:creationId xmlns:a16="http://schemas.microsoft.com/office/drawing/2014/main" id="{1DAB20C3-A32E-4A68-9B79-C7777F8B6614}"/>
              </a:ext>
            </a:extLst>
          </p:cNvPr>
          <p:cNvSpPr/>
          <p:nvPr/>
        </p:nvSpPr>
        <p:spPr>
          <a:xfrm>
            <a:off x="3587750" y="1096963"/>
            <a:ext cx="2432050" cy="24844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7BE457D3-52A0-4499-85F6-804E78F7689A}"/>
              </a:ext>
            </a:extLst>
          </p:cNvPr>
          <p:cNvSpPr txBox="1"/>
          <p:nvPr/>
        </p:nvSpPr>
        <p:spPr>
          <a:xfrm>
            <a:off x="739775" y="3692764"/>
            <a:ext cx="24320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solidFill>
                  <a:srgbClr val="4B618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Título aqui</a:t>
            </a:r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87992E34-AAB2-4A97-B630-93607FA8CB22}"/>
              </a:ext>
            </a:extLst>
          </p:cNvPr>
          <p:cNvSpPr txBox="1"/>
          <p:nvPr/>
        </p:nvSpPr>
        <p:spPr>
          <a:xfrm>
            <a:off x="739775" y="4527315"/>
            <a:ext cx="243204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" name="CaixaDeTexto 23">
            <a:extLst>
              <a:ext uri="{FF2B5EF4-FFF2-40B4-BE49-F238E27FC236}">
                <a16:creationId xmlns:a16="http://schemas.microsoft.com/office/drawing/2014/main" id="{4FC28519-C1F4-4EB9-9F7D-304B15085DD6}"/>
              </a:ext>
            </a:extLst>
          </p:cNvPr>
          <p:cNvSpPr txBox="1"/>
          <p:nvPr/>
        </p:nvSpPr>
        <p:spPr>
          <a:xfrm>
            <a:off x="3587750" y="3692764"/>
            <a:ext cx="24320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solidFill>
                  <a:srgbClr val="4B618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Título aqui</a:t>
            </a:r>
          </a:p>
        </p:txBody>
      </p:sp>
      <p:sp>
        <p:nvSpPr>
          <p:cNvPr id="25" name="CaixaDeTexto 24">
            <a:extLst>
              <a:ext uri="{FF2B5EF4-FFF2-40B4-BE49-F238E27FC236}">
                <a16:creationId xmlns:a16="http://schemas.microsoft.com/office/drawing/2014/main" id="{58B80D7C-2493-4EA3-AA72-EAC99CC88B45}"/>
              </a:ext>
            </a:extLst>
          </p:cNvPr>
          <p:cNvSpPr txBox="1"/>
          <p:nvPr/>
        </p:nvSpPr>
        <p:spPr>
          <a:xfrm>
            <a:off x="3587750" y="4527315"/>
            <a:ext cx="243204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" name="CaixaDeTexto 25">
            <a:extLst>
              <a:ext uri="{FF2B5EF4-FFF2-40B4-BE49-F238E27FC236}">
                <a16:creationId xmlns:a16="http://schemas.microsoft.com/office/drawing/2014/main" id="{601EEE92-52CD-4148-9CBF-75D1E977E645}"/>
              </a:ext>
            </a:extLst>
          </p:cNvPr>
          <p:cNvSpPr txBox="1"/>
          <p:nvPr/>
        </p:nvSpPr>
        <p:spPr>
          <a:xfrm>
            <a:off x="6435725" y="3692764"/>
            <a:ext cx="24320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solidFill>
                  <a:srgbClr val="4B618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Título aqui</a:t>
            </a:r>
          </a:p>
        </p:txBody>
      </p:sp>
      <p:sp>
        <p:nvSpPr>
          <p:cNvPr id="27" name="CaixaDeTexto 26">
            <a:extLst>
              <a:ext uri="{FF2B5EF4-FFF2-40B4-BE49-F238E27FC236}">
                <a16:creationId xmlns:a16="http://schemas.microsoft.com/office/drawing/2014/main" id="{0973B767-6BC3-4781-8BBA-CC921C6401BE}"/>
              </a:ext>
            </a:extLst>
          </p:cNvPr>
          <p:cNvSpPr txBox="1"/>
          <p:nvPr/>
        </p:nvSpPr>
        <p:spPr>
          <a:xfrm>
            <a:off x="6435725" y="4527315"/>
            <a:ext cx="243204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74EE107C-AEF6-4D88-8E36-12EF78C9921C}"/>
              </a:ext>
            </a:extLst>
          </p:cNvPr>
          <p:cNvSpPr txBox="1"/>
          <p:nvPr/>
        </p:nvSpPr>
        <p:spPr>
          <a:xfrm>
            <a:off x="9274175" y="3692764"/>
            <a:ext cx="24320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solidFill>
                  <a:srgbClr val="4B618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Título aqui</a:t>
            </a:r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A089B31D-20A1-49AF-9FDA-0861CE9C79E9}"/>
              </a:ext>
            </a:extLst>
          </p:cNvPr>
          <p:cNvSpPr txBox="1"/>
          <p:nvPr/>
        </p:nvSpPr>
        <p:spPr>
          <a:xfrm>
            <a:off x="9274175" y="4527315"/>
            <a:ext cx="243204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Retângulo: Cantos Arredondados 29">
            <a:extLst>
              <a:ext uri="{FF2B5EF4-FFF2-40B4-BE49-F238E27FC236}">
                <a16:creationId xmlns:a16="http://schemas.microsoft.com/office/drawing/2014/main" id="{AED0DA07-57C6-4DA6-91F7-60DC0DA6AFF1}"/>
              </a:ext>
            </a:extLst>
          </p:cNvPr>
          <p:cNvSpPr/>
          <p:nvPr/>
        </p:nvSpPr>
        <p:spPr>
          <a:xfrm>
            <a:off x="1085850" y="4098497"/>
            <a:ext cx="1771650" cy="309597"/>
          </a:xfrm>
          <a:prstGeom prst="roundRect">
            <a:avLst>
              <a:gd name="adj" fmla="val 50000"/>
            </a:avLst>
          </a:prstGeom>
          <a:solidFill>
            <a:srgbClr val="4B61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>
                <a:latin typeface="Segoe UI" panose="020B0502040204020203" pitchFamily="34" charset="0"/>
                <a:cs typeface="Segoe UI" panose="020B0502040204020203" pitchFamily="34" charset="0"/>
              </a:rPr>
              <a:t>Cargo</a:t>
            </a:r>
          </a:p>
        </p:txBody>
      </p:sp>
      <p:sp>
        <p:nvSpPr>
          <p:cNvPr id="31" name="Retângulo: Cantos Arredondados 30">
            <a:extLst>
              <a:ext uri="{FF2B5EF4-FFF2-40B4-BE49-F238E27FC236}">
                <a16:creationId xmlns:a16="http://schemas.microsoft.com/office/drawing/2014/main" id="{B0B6E946-1B44-48E2-B656-B25156BB8ED0}"/>
              </a:ext>
            </a:extLst>
          </p:cNvPr>
          <p:cNvSpPr/>
          <p:nvPr/>
        </p:nvSpPr>
        <p:spPr>
          <a:xfrm>
            <a:off x="3936999" y="4098497"/>
            <a:ext cx="1771650" cy="309597"/>
          </a:xfrm>
          <a:prstGeom prst="roundRect">
            <a:avLst>
              <a:gd name="adj" fmla="val 50000"/>
            </a:avLst>
          </a:prstGeom>
          <a:solidFill>
            <a:srgbClr val="4B61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>
                <a:latin typeface="Segoe UI" panose="020B0502040204020203" pitchFamily="34" charset="0"/>
                <a:cs typeface="Segoe UI" panose="020B0502040204020203" pitchFamily="34" charset="0"/>
              </a:rPr>
              <a:t>Cargo</a:t>
            </a:r>
          </a:p>
        </p:txBody>
      </p:sp>
      <p:sp>
        <p:nvSpPr>
          <p:cNvPr id="32" name="Retângulo: Cantos Arredondados 31">
            <a:extLst>
              <a:ext uri="{FF2B5EF4-FFF2-40B4-BE49-F238E27FC236}">
                <a16:creationId xmlns:a16="http://schemas.microsoft.com/office/drawing/2014/main" id="{0B3CD62B-84EE-47CD-ABC8-781B945D180C}"/>
              </a:ext>
            </a:extLst>
          </p:cNvPr>
          <p:cNvSpPr/>
          <p:nvPr/>
        </p:nvSpPr>
        <p:spPr>
          <a:xfrm>
            <a:off x="6759573" y="4098497"/>
            <a:ext cx="1771650" cy="309597"/>
          </a:xfrm>
          <a:prstGeom prst="roundRect">
            <a:avLst>
              <a:gd name="adj" fmla="val 50000"/>
            </a:avLst>
          </a:prstGeom>
          <a:solidFill>
            <a:srgbClr val="4B61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>
                <a:latin typeface="Segoe UI" panose="020B0502040204020203" pitchFamily="34" charset="0"/>
                <a:cs typeface="Segoe UI" panose="020B0502040204020203" pitchFamily="34" charset="0"/>
              </a:rPr>
              <a:t>Cargo</a:t>
            </a:r>
          </a:p>
        </p:txBody>
      </p:sp>
      <p:sp>
        <p:nvSpPr>
          <p:cNvPr id="33" name="Retângulo: Cantos Arredondados 32">
            <a:extLst>
              <a:ext uri="{FF2B5EF4-FFF2-40B4-BE49-F238E27FC236}">
                <a16:creationId xmlns:a16="http://schemas.microsoft.com/office/drawing/2014/main" id="{A2C23F57-5356-4E07-89EB-94F0BF1CD256}"/>
              </a:ext>
            </a:extLst>
          </p:cNvPr>
          <p:cNvSpPr/>
          <p:nvPr/>
        </p:nvSpPr>
        <p:spPr>
          <a:xfrm>
            <a:off x="9613900" y="4098497"/>
            <a:ext cx="1771650" cy="309597"/>
          </a:xfrm>
          <a:prstGeom prst="roundRect">
            <a:avLst>
              <a:gd name="adj" fmla="val 50000"/>
            </a:avLst>
          </a:prstGeom>
          <a:solidFill>
            <a:srgbClr val="4B61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>
                <a:latin typeface="Segoe UI" panose="020B0502040204020203" pitchFamily="34" charset="0"/>
                <a:cs typeface="Segoe UI" panose="020B0502040204020203" pitchFamily="34" charset="0"/>
              </a:rPr>
              <a:t>Cargo</a:t>
            </a:r>
          </a:p>
        </p:txBody>
      </p:sp>
    </p:spTree>
    <p:extLst>
      <p:ext uri="{BB962C8B-B14F-4D97-AF65-F5344CB8AC3E}">
        <p14:creationId xmlns:p14="http://schemas.microsoft.com/office/powerpoint/2010/main" val="2520490114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Texto 6">
            <a:extLst>
              <a:ext uri="{FF2B5EF4-FFF2-40B4-BE49-F238E27FC236}">
                <a16:creationId xmlns:a16="http://schemas.microsoft.com/office/drawing/2014/main" id="{FCB4A03F-11B4-4BBA-BF88-9F6D0A0B221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Inserir aqui o título do slide</a:t>
            </a:r>
          </a:p>
        </p:txBody>
      </p:sp>
      <p:sp>
        <p:nvSpPr>
          <p:cNvPr id="9" name="Espaço Reservado para Texto 8">
            <a:extLst>
              <a:ext uri="{FF2B5EF4-FFF2-40B4-BE49-F238E27FC236}">
                <a16:creationId xmlns:a16="http://schemas.microsoft.com/office/drawing/2014/main" id="{DDC862B4-C818-46C4-95BE-AE5DC860BCF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erir aqui o subtítulo do slide</a:t>
            </a:r>
          </a:p>
        </p:txBody>
      </p:sp>
      <p:grpSp>
        <p:nvGrpSpPr>
          <p:cNvPr id="25" name="Agrupar 24">
            <a:extLst>
              <a:ext uri="{FF2B5EF4-FFF2-40B4-BE49-F238E27FC236}">
                <a16:creationId xmlns:a16="http://schemas.microsoft.com/office/drawing/2014/main" id="{43B1B92C-6C6B-439D-80FE-045AEDBDB25B}"/>
              </a:ext>
            </a:extLst>
          </p:cNvPr>
          <p:cNvGrpSpPr/>
          <p:nvPr/>
        </p:nvGrpSpPr>
        <p:grpSpPr>
          <a:xfrm>
            <a:off x="598816" y="982663"/>
            <a:ext cx="3373109" cy="2290227"/>
            <a:chOff x="608340" y="944563"/>
            <a:chExt cx="3373109" cy="2290227"/>
          </a:xfrm>
        </p:grpSpPr>
        <p:sp>
          <p:nvSpPr>
            <p:cNvPr id="8" name="Retângulo: Cantos Arredondados 7">
              <a:extLst>
                <a:ext uri="{FF2B5EF4-FFF2-40B4-BE49-F238E27FC236}">
                  <a16:creationId xmlns:a16="http://schemas.microsoft.com/office/drawing/2014/main" id="{E6AF397A-D44E-44C4-8421-A226BFE38467}"/>
                </a:ext>
              </a:extLst>
            </p:cNvPr>
            <p:cNvSpPr/>
            <p:nvPr/>
          </p:nvSpPr>
          <p:spPr>
            <a:xfrm>
              <a:off x="608340" y="1628775"/>
              <a:ext cx="3373109" cy="1606015"/>
            </a:xfrm>
            <a:prstGeom prst="roundRect">
              <a:avLst>
                <a:gd name="adj" fmla="val 6585"/>
              </a:avLst>
            </a:prstGeom>
            <a:solidFill>
              <a:srgbClr val="ECEC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600" b="1" dirty="0">
                  <a:solidFill>
                    <a:srgbClr val="263143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Nome completo</a:t>
              </a:r>
            </a:p>
            <a:p>
              <a:pPr algn="ctr"/>
              <a:r>
                <a:rPr lang="pt-BR" sz="1600" dirty="0">
                  <a:solidFill>
                    <a:srgbClr val="263143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argo que ocupa</a:t>
              </a:r>
            </a:p>
          </p:txBody>
        </p:sp>
        <p:sp>
          <p:nvSpPr>
            <p:cNvPr id="6" name="Elipse 5">
              <a:extLst>
                <a:ext uri="{FF2B5EF4-FFF2-40B4-BE49-F238E27FC236}">
                  <a16:creationId xmlns:a16="http://schemas.microsoft.com/office/drawing/2014/main" id="{D8E117EE-B1F9-42E3-9A6E-C0D5BD29E49F}"/>
                </a:ext>
              </a:extLst>
            </p:cNvPr>
            <p:cNvSpPr/>
            <p:nvPr/>
          </p:nvSpPr>
          <p:spPr>
            <a:xfrm>
              <a:off x="1766256" y="944563"/>
              <a:ext cx="1057275" cy="1057275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D6D6C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24" name="Agrupar 23">
            <a:extLst>
              <a:ext uri="{FF2B5EF4-FFF2-40B4-BE49-F238E27FC236}">
                <a16:creationId xmlns:a16="http://schemas.microsoft.com/office/drawing/2014/main" id="{E2967C91-55AA-4A88-9C60-43713C23FD07}"/>
              </a:ext>
            </a:extLst>
          </p:cNvPr>
          <p:cNvGrpSpPr/>
          <p:nvPr/>
        </p:nvGrpSpPr>
        <p:grpSpPr>
          <a:xfrm>
            <a:off x="4470729" y="982663"/>
            <a:ext cx="3373109" cy="2290227"/>
            <a:chOff x="4408815" y="944563"/>
            <a:chExt cx="3373109" cy="2290227"/>
          </a:xfrm>
        </p:grpSpPr>
        <p:sp>
          <p:nvSpPr>
            <p:cNvPr id="19" name="Retângulo: Cantos Arredondados 18">
              <a:extLst>
                <a:ext uri="{FF2B5EF4-FFF2-40B4-BE49-F238E27FC236}">
                  <a16:creationId xmlns:a16="http://schemas.microsoft.com/office/drawing/2014/main" id="{C8E393A4-BDCE-4229-9963-A222518B5959}"/>
                </a:ext>
              </a:extLst>
            </p:cNvPr>
            <p:cNvSpPr/>
            <p:nvPr/>
          </p:nvSpPr>
          <p:spPr>
            <a:xfrm>
              <a:off x="4408815" y="1628775"/>
              <a:ext cx="3373109" cy="1606015"/>
            </a:xfrm>
            <a:prstGeom prst="roundRect">
              <a:avLst>
                <a:gd name="adj" fmla="val 6585"/>
              </a:avLst>
            </a:prstGeom>
            <a:solidFill>
              <a:srgbClr val="ECEC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600" b="1" dirty="0">
                  <a:solidFill>
                    <a:srgbClr val="263143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Nome completo</a:t>
              </a:r>
            </a:p>
            <a:p>
              <a:pPr algn="ctr"/>
              <a:r>
                <a:rPr lang="pt-BR" sz="1600" dirty="0">
                  <a:solidFill>
                    <a:srgbClr val="263143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argo que ocupa</a:t>
              </a:r>
            </a:p>
          </p:txBody>
        </p:sp>
        <p:sp>
          <p:nvSpPr>
            <p:cNvPr id="20" name="Elipse 19">
              <a:extLst>
                <a:ext uri="{FF2B5EF4-FFF2-40B4-BE49-F238E27FC236}">
                  <a16:creationId xmlns:a16="http://schemas.microsoft.com/office/drawing/2014/main" id="{90741C86-2923-4335-8CA3-3DF25BA487F3}"/>
                </a:ext>
              </a:extLst>
            </p:cNvPr>
            <p:cNvSpPr/>
            <p:nvPr/>
          </p:nvSpPr>
          <p:spPr>
            <a:xfrm>
              <a:off x="5566731" y="944563"/>
              <a:ext cx="1057275" cy="1057275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D6D6C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600"/>
            </a:p>
          </p:txBody>
        </p:sp>
      </p:grpSp>
      <p:grpSp>
        <p:nvGrpSpPr>
          <p:cNvPr id="23" name="Agrupar 22">
            <a:extLst>
              <a:ext uri="{FF2B5EF4-FFF2-40B4-BE49-F238E27FC236}">
                <a16:creationId xmlns:a16="http://schemas.microsoft.com/office/drawing/2014/main" id="{CE6EB6C7-9673-4F7D-8887-1472C51F1A95}"/>
              </a:ext>
            </a:extLst>
          </p:cNvPr>
          <p:cNvGrpSpPr/>
          <p:nvPr/>
        </p:nvGrpSpPr>
        <p:grpSpPr>
          <a:xfrm>
            <a:off x="8342641" y="982663"/>
            <a:ext cx="3373109" cy="2290227"/>
            <a:chOff x="8352165" y="944563"/>
            <a:chExt cx="3373109" cy="2290227"/>
          </a:xfrm>
        </p:grpSpPr>
        <p:sp>
          <p:nvSpPr>
            <p:cNvPr id="21" name="Retângulo: Cantos Arredondados 20">
              <a:extLst>
                <a:ext uri="{FF2B5EF4-FFF2-40B4-BE49-F238E27FC236}">
                  <a16:creationId xmlns:a16="http://schemas.microsoft.com/office/drawing/2014/main" id="{A8F8C5ED-AE14-4A6F-828F-06BFF13A56EC}"/>
                </a:ext>
              </a:extLst>
            </p:cNvPr>
            <p:cNvSpPr/>
            <p:nvPr/>
          </p:nvSpPr>
          <p:spPr>
            <a:xfrm>
              <a:off x="8352165" y="1628775"/>
              <a:ext cx="3373109" cy="1606015"/>
            </a:xfrm>
            <a:prstGeom prst="roundRect">
              <a:avLst>
                <a:gd name="adj" fmla="val 6585"/>
              </a:avLst>
            </a:prstGeom>
            <a:solidFill>
              <a:srgbClr val="ECEC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600" b="1" dirty="0">
                  <a:solidFill>
                    <a:srgbClr val="263143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Nome completo</a:t>
              </a:r>
            </a:p>
            <a:p>
              <a:pPr algn="ctr"/>
              <a:r>
                <a:rPr lang="pt-BR" sz="1600" dirty="0">
                  <a:solidFill>
                    <a:srgbClr val="263143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argo que ocupa</a:t>
              </a:r>
            </a:p>
          </p:txBody>
        </p:sp>
        <p:sp>
          <p:nvSpPr>
            <p:cNvPr id="22" name="Elipse 21">
              <a:extLst>
                <a:ext uri="{FF2B5EF4-FFF2-40B4-BE49-F238E27FC236}">
                  <a16:creationId xmlns:a16="http://schemas.microsoft.com/office/drawing/2014/main" id="{F3F30DC4-638D-4156-BE19-C265962C73C9}"/>
                </a:ext>
              </a:extLst>
            </p:cNvPr>
            <p:cNvSpPr/>
            <p:nvPr/>
          </p:nvSpPr>
          <p:spPr>
            <a:xfrm>
              <a:off x="9510081" y="944563"/>
              <a:ext cx="1057275" cy="1057275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D6D6C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600"/>
            </a:p>
          </p:txBody>
        </p:sp>
      </p:grpSp>
      <p:grpSp>
        <p:nvGrpSpPr>
          <p:cNvPr id="26" name="Agrupar 25">
            <a:extLst>
              <a:ext uri="{FF2B5EF4-FFF2-40B4-BE49-F238E27FC236}">
                <a16:creationId xmlns:a16="http://schemas.microsoft.com/office/drawing/2014/main" id="{EFF8EEA1-6FD0-4423-BB2B-6737E9880FD4}"/>
              </a:ext>
            </a:extLst>
          </p:cNvPr>
          <p:cNvGrpSpPr/>
          <p:nvPr/>
        </p:nvGrpSpPr>
        <p:grpSpPr>
          <a:xfrm>
            <a:off x="598816" y="3708352"/>
            <a:ext cx="3373109" cy="2290227"/>
            <a:chOff x="608340" y="944563"/>
            <a:chExt cx="3373109" cy="2290227"/>
          </a:xfrm>
        </p:grpSpPr>
        <p:sp>
          <p:nvSpPr>
            <p:cNvPr id="27" name="Retângulo: Cantos Arredondados 26">
              <a:extLst>
                <a:ext uri="{FF2B5EF4-FFF2-40B4-BE49-F238E27FC236}">
                  <a16:creationId xmlns:a16="http://schemas.microsoft.com/office/drawing/2014/main" id="{FC993A8E-A528-4B3D-98F2-C8CD5F46C070}"/>
                </a:ext>
              </a:extLst>
            </p:cNvPr>
            <p:cNvSpPr/>
            <p:nvPr/>
          </p:nvSpPr>
          <p:spPr>
            <a:xfrm>
              <a:off x="608340" y="1628775"/>
              <a:ext cx="3373109" cy="1606015"/>
            </a:xfrm>
            <a:prstGeom prst="roundRect">
              <a:avLst>
                <a:gd name="adj" fmla="val 6585"/>
              </a:avLst>
            </a:prstGeom>
            <a:solidFill>
              <a:srgbClr val="ECEC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600" b="1" dirty="0">
                  <a:solidFill>
                    <a:srgbClr val="263143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Nome completo</a:t>
              </a:r>
            </a:p>
            <a:p>
              <a:pPr algn="ctr"/>
              <a:r>
                <a:rPr lang="pt-BR" sz="1600" dirty="0">
                  <a:solidFill>
                    <a:srgbClr val="263143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argo que ocupa</a:t>
              </a:r>
            </a:p>
          </p:txBody>
        </p:sp>
        <p:sp>
          <p:nvSpPr>
            <p:cNvPr id="28" name="Elipse 27">
              <a:extLst>
                <a:ext uri="{FF2B5EF4-FFF2-40B4-BE49-F238E27FC236}">
                  <a16:creationId xmlns:a16="http://schemas.microsoft.com/office/drawing/2014/main" id="{5BEDDA16-AADA-4055-A1ED-00D814C1D9B4}"/>
                </a:ext>
              </a:extLst>
            </p:cNvPr>
            <p:cNvSpPr/>
            <p:nvPr/>
          </p:nvSpPr>
          <p:spPr>
            <a:xfrm>
              <a:off x="1766256" y="944563"/>
              <a:ext cx="1057275" cy="1057275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D6D6C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600"/>
            </a:p>
          </p:txBody>
        </p:sp>
      </p:grpSp>
      <p:grpSp>
        <p:nvGrpSpPr>
          <p:cNvPr id="29" name="Agrupar 28">
            <a:extLst>
              <a:ext uri="{FF2B5EF4-FFF2-40B4-BE49-F238E27FC236}">
                <a16:creationId xmlns:a16="http://schemas.microsoft.com/office/drawing/2014/main" id="{E196FB2A-53F5-4183-A739-F39F13E92DE6}"/>
              </a:ext>
            </a:extLst>
          </p:cNvPr>
          <p:cNvGrpSpPr/>
          <p:nvPr/>
        </p:nvGrpSpPr>
        <p:grpSpPr>
          <a:xfrm>
            <a:off x="4470729" y="3708352"/>
            <a:ext cx="3373109" cy="2290227"/>
            <a:chOff x="4408815" y="944563"/>
            <a:chExt cx="3373109" cy="2290227"/>
          </a:xfrm>
        </p:grpSpPr>
        <p:sp>
          <p:nvSpPr>
            <p:cNvPr id="30" name="Retângulo: Cantos Arredondados 29">
              <a:extLst>
                <a:ext uri="{FF2B5EF4-FFF2-40B4-BE49-F238E27FC236}">
                  <a16:creationId xmlns:a16="http://schemas.microsoft.com/office/drawing/2014/main" id="{A877A538-C149-4A06-AE58-26A7A6ADF572}"/>
                </a:ext>
              </a:extLst>
            </p:cNvPr>
            <p:cNvSpPr/>
            <p:nvPr/>
          </p:nvSpPr>
          <p:spPr>
            <a:xfrm>
              <a:off x="4408815" y="1628775"/>
              <a:ext cx="3373109" cy="1606015"/>
            </a:xfrm>
            <a:prstGeom prst="roundRect">
              <a:avLst>
                <a:gd name="adj" fmla="val 6585"/>
              </a:avLst>
            </a:prstGeom>
            <a:solidFill>
              <a:srgbClr val="ECEC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600" b="1" dirty="0">
                  <a:solidFill>
                    <a:srgbClr val="263143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Nome completo</a:t>
              </a:r>
            </a:p>
            <a:p>
              <a:pPr algn="ctr"/>
              <a:r>
                <a:rPr lang="pt-BR" sz="1600" dirty="0">
                  <a:solidFill>
                    <a:srgbClr val="263143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argo que ocupa</a:t>
              </a:r>
            </a:p>
          </p:txBody>
        </p:sp>
        <p:sp>
          <p:nvSpPr>
            <p:cNvPr id="31" name="Elipse 30">
              <a:extLst>
                <a:ext uri="{FF2B5EF4-FFF2-40B4-BE49-F238E27FC236}">
                  <a16:creationId xmlns:a16="http://schemas.microsoft.com/office/drawing/2014/main" id="{4671003A-EABE-4DD0-94FA-F8E9D62B0A67}"/>
                </a:ext>
              </a:extLst>
            </p:cNvPr>
            <p:cNvSpPr/>
            <p:nvPr/>
          </p:nvSpPr>
          <p:spPr>
            <a:xfrm>
              <a:off x="5566731" y="944563"/>
              <a:ext cx="1057275" cy="1057275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D6D6C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600"/>
            </a:p>
          </p:txBody>
        </p:sp>
      </p:grpSp>
      <p:grpSp>
        <p:nvGrpSpPr>
          <p:cNvPr id="32" name="Agrupar 31">
            <a:extLst>
              <a:ext uri="{FF2B5EF4-FFF2-40B4-BE49-F238E27FC236}">
                <a16:creationId xmlns:a16="http://schemas.microsoft.com/office/drawing/2014/main" id="{F32359EC-E96F-40B4-8250-0592DF376FA0}"/>
              </a:ext>
            </a:extLst>
          </p:cNvPr>
          <p:cNvGrpSpPr/>
          <p:nvPr/>
        </p:nvGrpSpPr>
        <p:grpSpPr>
          <a:xfrm>
            <a:off x="8342641" y="3708352"/>
            <a:ext cx="3373109" cy="2290227"/>
            <a:chOff x="8352165" y="944563"/>
            <a:chExt cx="3373109" cy="2290227"/>
          </a:xfrm>
        </p:grpSpPr>
        <p:sp>
          <p:nvSpPr>
            <p:cNvPr id="33" name="Retângulo: Cantos Arredondados 32">
              <a:extLst>
                <a:ext uri="{FF2B5EF4-FFF2-40B4-BE49-F238E27FC236}">
                  <a16:creationId xmlns:a16="http://schemas.microsoft.com/office/drawing/2014/main" id="{B407EDEB-8E59-464C-B7E8-C228C660ACF9}"/>
                </a:ext>
              </a:extLst>
            </p:cNvPr>
            <p:cNvSpPr/>
            <p:nvPr/>
          </p:nvSpPr>
          <p:spPr>
            <a:xfrm>
              <a:off x="8352165" y="1628775"/>
              <a:ext cx="3373109" cy="1606015"/>
            </a:xfrm>
            <a:prstGeom prst="roundRect">
              <a:avLst>
                <a:gd name="adj" fmla="val 6585"/>
              </a:avLst>
            </a:prstGeom>
            <a:solidFill>
              <a:srgbClr val="ECEC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600" b="1" dirty="0">
                  <a:solidFill>
                    <a:srgbClr val="263143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Nome completo</a:t>
              </a:r>
            </a:p>
            <a:p>
              <a:pPr algn="ctr"/>
              <a:r>
                <a:rPr lang="pt-BR" sz="1600" dirty="0">
                  <a:solidFill>
                    <a:srgbClr val="263143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argo que ocupa</a:t>
              </a:r>
            </a:p>
          </p:txBody>
        </p:sp>
        <p:sp>
          <p:nvSpPr>
            <p:cNvPr id="34" name="Elipse 33">
              <a:extLst>
                <a:ext uri="{FF2B5EF4-FFF2-40B4-BE49-F238E27FC236}">
                  <a16:creationId xmlns:a16="http://schemas.microsoft.com/office/drawing/2014/main" id="{8F869736-8C5E-492F-84D8-BD672BD545C5}"/>
                </a:ext>
              </a:extLst>
            </p:cNvPr>
            <p:cNvSpPr/>
            <p:nvPr/>
          </p:nvSpPr>
          <p:spPr>
            <a:xfrm>
              <a:off x="9510081" y="944563"/>
              <a:ext cx="1057275" cy="1057275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D6D6C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600"/>
            </a:p>
          </p:txBody>
        </p:sp>
      </p:grpSp>
    </p:spTree>
    <p:extLst>
      <p:ext uri="{BB962C8B-B14F-4D97-AF65-F5344CB8AC3E}">
        <p14:creationId xmlns:p14="http://schemas.microsoft.com/office/powerpoint/2010/main" val="834055927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ço Reservado para Texto 8">
            <a:extLst>
              <a:ext uri="{FF2B5EF4-FFF2-40B4-BE49-F238E27FC236}">
                <a16:creationId xmlns:a16="http://schemas.microsoft.com/office/drawing/2014/main" id="{6C2AF7D6-3704-4E1D-859F-89793DF5722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Inserir aqui o título do slid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85703862-054C-4AB7-92A9-DE6B179D459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erir aqui o subtítulo do slide</a:t>
            </a:r>
          </a:p>
        </p:txBody>
      </p:sp>
      <p:cxnSp>
        <p:nvCxnSpPr>
          <p:cNvPr id="12" name="Conector reto 11">
            <a:extLst>
              <a:ext uri="{FF2B5EF4-FFF2-40B4-BE49-F238E27FC236}">
                <a16:creationId xmlns:a16="http://schemas.microsoft.com/office/drawing/2014/main" id="{0D791CF5-8EED-4519-B55E-A232406312B7}"/>
              </a:ext>
            </a:extLst>
          </p:cNvPr>
          <p:cNvCxnSpPr>
            <a:cxnSpLocks/>
          </p:cNvCxnSpPr>
          <p:nvPr/>
        </p:nvCxnSpPr>
        <p:spPr>
          <a:xfrm>
            <a:off x="0" y="3600450"/>
            <a:ext cx="12192000" cy="0"/>
          </a:xfrm>
          <a:prstGeom prst="line">
            <a:avLst/>
          </a:prstGeom>
          <a:ln w="38100">
            <a:solidFill>
              <a:srgbClr val="D6D6CE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to 12">
            <a:extLst>
              <a:ext uri="{FF2B5EF4-FFF2-40B4-BE49-F238E27FC236}">
                <a16:creationId xmlns:a16="http://schemas.microsoft.com/office/drawing/2014/main" id="{26C89823-C609-412B-9CC7-DB9A5566B8E1}"/>
              </a:ext>
            </a:extLst>
          </p:cNvPr>
          <p:cNvCxnSpPr>
            <a:cxnSpLocks/>
          </p:cNvCxnSpPr>
          <p:nvPr/>
        </p:nvCxnSpPr>
        <p:spPr>
          <a:xfrm flipV="1">
            <a:off x="1033789" y="2076450"/>
            <a:ext cx="0" cy="1524000"/>
          </a:xfrm>
          <a:prstGeom prst="line">
            <a:avLst/>
          </a:prstGeom>
          <a:ln w="38100">
            <a:solidFill>
              <a:srgbClr val="D6D6C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to 14">
            <a:extLst>
              <a:ext uri="{FF2B5EF4-FFF2-40B4-BE49-F238E27FC236}">
                <a16:creationId xmlns:a16="http://schemas.microsoft.com/office/drawing/2014/main" id="{A8D8F865-A73A-42CA-92E9-2E9B6BBB7053}"/>
              </a:ext>
            </a:extLst>
          </p:cNvPr>
          <p:cNvCxnSpPr>
            <a:cxnSpLocks/>
          </p:cNvCxnSpPr>
          <p:nvPr/>
        </p:nvCxnSpPr>
        <p:spPr>
          <a:xfrm flipV="1">
            <a:off x="11273163" y="3600450"/>
            <a:ext cx="0" cy="1524000"/>
          </a:xfrm>
          <a:prstGeom prst="line">
            <a:avLst/>
          </a:prstGeom>
          <a:ln w="38100">
            <a:solidFill>
              <a:srgbClr val="D6D6C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to 15">
            <a:extLst>
              <a:ext uri="{FF2B5EF4-FFF2-40B4-BE49-F238E27FC236}">
                <a16:creationId xmlns:a16="http://schemas.microsoft.com/office/drawing/2014/main" id="{24150524-4639-429A-B015-A6E822BF2C9B}"/>
              </a:ext>
            </a:extLst>
          </p:cNvPr>
          <p:cNvCxnSpPr>
            <a:cxnSpLocks/>
          </p:cNvCxnSpPr>
          <p:nvPr/>
        </p:nvCxnSpPr>
        <p:spPr>
          <a:xfrm flipV="1">
            <a:off x="5129539" y="2076450"/>
            <a:ext cx="0" cy="1524000"/>
          </a:xfrm>
          <a:prstGeom prst="line">
            <a:avLst/>
          </a:prstGeom>
          <a:ln w="38100">
            <a:solidFill>
              <a:srgbClr val="D6D6C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ector reto 16">
            <a:extLst>
              <a:ext uri="{FF2B5EF4-FFF2-40B4-BE49-F238E27FC236}">
                <a16:creationId xmlns:a16="http://schemas.microsoft.com/office/drawing/2014/main" id="{8BE60E32-2F3A-4333-BB08-6E858F45753B}"/>
              </a:ext>
            </a:extLst>
          </p:cNvPr>
          <p:cNvCxnSpPr>
            <a:cxnSpLocks/>
          </p:cNvCxnSpPr>
          <p:nvPr/>
        </p:nvCxnSpPr>
        <p:spPr>
          <a:xfrm flipV="1">
            <a:off x="3081664" y="3600450"/>
            <a:ext cx="0" cy="1524000"/>
          </a:xfrm>
          <a:prstGeom prst="line">
            <a:avLst/>
          </a:prstGeom>
          <a:ln w="38100">
            <a:solidFill>
              <a:srgbClr val="D6D6C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to 17">
            <a:extLst>
              <a:ext uri="{FF2B5EF4-FFF2-40B4-BE49-F238E27FC236}">
                <a16:creationId xmlns:a16="http://schemas.microsoft.com/office/drawing/2014/main" id="{220B9C52-DA1F-403D-BED9-0F649113763F}"/>
              </a:ext>
            </a:extLst>
          </p:cNvPr>
          <p:cNvCxnSpPr>
            <a:cxnSpLocks/>
          </p:cNvCxnSpPr>
          <p:nvPr/>
        </p:nvCxnSpPr>
        <p:spPr>
          <a:xfrm flipV="1">
            <a:off x="7177414" y="3600450"/>
            <a:ext cx="0" cy="1524000"/>
          </a:xfrm>
          <a:prstGeom prst="line">
            <a:avLst/>
          </a:prstGeom>
          <a:ln w="38100">
            <a:solidFill>
              <a:srgbClr val="D6D6C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ector reto 18">
            <a:extLst>
              <a:ext uri="{FF2B5EF4-FFF2-40B4-BE49-F238E27FC236}">
                <a16:creationId xmlns:a16="http://schemas.microsoft.com/office/drawing/2014/main" id="{4D2F0195-A770-4FD3-BC45-8043417D8283}"/>
              </a:ext>
            </a:extLst>
          </p:cNvPr>
          <p:cNvCxnSpPr>
            <a:cxnSpLocks/>
          </p:cNvCxnSpPr>
          <p:nvPr/>
        </p:nvCxnSpPr>
        <p:spPr>
          <a:xfrm flipV="1">
            <a:off x="9225289" y="2076450"/>
            <a:ext cx="0" cy="1524000"/>
          </a:xfrm>
          <a:prstGeom prst="line">
            <a:avLst/>
          </a:prstGeom>
          <a:ln w="38100">
            <a:solidFill>
              <a:srgbClr val="D6D6C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Agrupar 27">
            <a:extLst>
              <a:ext uri="{FF2B5EF4-FFF2-40B4-BE49-F238E27FC236}">
                <a16:creationId xmlns:a16="http://schemas.microsoft.com/office/drawing/2014/main" id="{3C336C43-4B1D-412A-AA95-5C584BECE9AC}"/>
              </a:ext>
            </a:extLst>
          </p:cNvPr>
          <p:cNvGrpSpPr/>
          <p:nvPr/>
        </p:nvGrpSpPr>
        <p:grpSpPr>
          <a:xfrm>
            <a:off x="598816" y="1199847"/>
            <a:ext cx="869945" cy="869945"/>
            <a:chOff x="598816" y="1028397"/>
            <a:chExt cx="869945" cy="869945"/>
          </a:xfrm>
        </p:grpSpPr>
        <p:sp>
          <p:nvSpPr>
            <p:cNvPr id="20" name="Elipse 19">
              <a:extLst>
                <a:ext uri="{FF2B5EF4-FFF2-40B4-BE49-F238E27FC236}">
                  <a16:creationId xmlns:a16="http://schemas.microsoft.com/office/drawing/2014/main" id="{53FAF39B-F9EF-4329-BB94-5FAA3A5CA146}"/>
                </a:ext>
              </a:extLst>
            </p:cNvPr>
            <p:cNvSpPr/>
            <p:nvPr/>
          </p:nvSpPr>
          <p:spPr>
            <a:xfrm>
              <a:off x="598816" y="1028397"/>
              <a:ext cx="869945" cy="869945"/>
            </a:xfrm>
            <a:prstGeom prst="ellipse">
              <a:avLst/>
            </a:prstGeom>
            <a:solidFill>
              <a:srgbClr val="2631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5" name="Elipse 24">
              <a:extLst>
                <a:ext uri="{FF2B5EF4-FFF2-40B4-BE49-F238E27FC236}">
                  <a16:creationId xmlns:a16="http://schemas.microsoft.com/office/drawing/2014/main" id="{F22439CA-FE75-4741-B15B-7F1C32CB5F19}"/>
                </a:ext>
              </a:extLst>
            </p:cNvPr>
            <p:cNvSpPr/>
            <p:nvPr/>
          </p:nvSpPr>
          <p:spPr>
            <a:xfrm>
              <a:off x="690258" y="1119839"/>
              <a:ext cx="687059" cy="687059"/>
            </a:xfrm>
            <a:prstGeom prst="ellipse">
              <a:avLst/>
            </a:prstGeom>
            <a:solidFill>
              <a:srgbClr val="263143"/>
            </a:solidFill>
            <a:ln w="57150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2000</a:t>
              </a:r>
            </a:p>
          </p:txBody>
        </p:sp>
      </p:grpSp>
      <p:grpSp>
        <p:nvGrpSpPr>
          <p:cNvPr id="27" name="Agrupar 26">
            <a:extLst>
              <a:ext uri="{FF2B5EF4-FFF2-40B4-BE49-F238E27FC236}">
                <a16:creationId xmlns:a16="http://schemas.microsoft.com/office/drawing/2014/main" id="{DF08AEF8-765B-4443-B65A-C59119825C3B}"/>
              </a:ext>
            </a:extLst>
          </p:cNvPr>
          <p:cNvGrpSpPr/>
          <p:nvPr/>
        </p:nvGrpSpPr>
        <p:grpSpPr>
          <a:xfrm>
            <a:off x="10838191" y="5131109"/>
            <a:ext cx="869945" cy="869945"/>
            <a:chOff x="10838191" y="4959659"/>
            <a:chExt cx="869945" cy="869945"/>
          </a:xfrm>
        </p:grpSpPr>
        <p:sp>
          <p:nvSpPr>
            <p:cNvPr id="21" name="Elipse 20">
              <a:extLst>
                <a:ext uri="{FF2B5EF4-FFF2-40B4-BE49-F238E27FC236}">
                  <a16:creationId xmlns:a16="http://schemas.microsoft.com/office/drawing/2014/main" id="{49F54997-96C0-4EE7-91D9-EA94FEFF63C4}"/>
                </a:ext>
              </a:extLst>
            </p:cNvPr>
            <p:cNvSpPr/>
            <p:nvPr/>
          </p:nvSpPr>
          <p:spPr>
            <a:xfrm>
              <a:off x="10838191" y="4959659"/>
              <a:ext cx="869945" cy="869945"/>
            </a:xfrm>
            <a:prstGeom prst="ellipse">
              <a:avLst/>
            </a:prstGeom>
            <a:solidFill>
              <a:srgbClr val="2631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6" name="Elipse 25">
              <a:extLst>
                <a:ext uri="{FF2B5EF4-FFF2-40B4-BE49-F238E27FC236}">
                  <a16:creationId xmlns:a16="http://schemas.microsoft.com/office/drawing/2014/main" id="{5C7120D1-8193-4470-AA62-9C8858299217}"/>
                </a:ext>
              </a:extLst>
            </p:cNvPr>
            <p:cNvSpPr/>
            <p:nvPr/>
          </p:nvSpPr>
          <p:spPr>
            <a:xfrm>
              <a:off x="10929633" y="5051101"/>
              <a:ext cx="687059" cy="687059"/>
            </a:xfrm>
            <a:prstGeom prst="ellipse">
              <a:avLst/>
            </a:prstGeom>
            <a:solidFill>
              <a:srgbClr val="263143"/>
            </a:solidFill>
            <a:ln w="57150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2020</a:t>
              </a:r>
            </a:p>
          </p:txBody>
        </p:sp>
      </p:grpSp>
      <p:grpSp>
        <p:nvGrpSpPr>
          <p:cNvPr id="29" name="Agrupar 28">
            <a:extLst>
              <a:ext uri="{FF2B5EF4-FFF2-40B4-BE49-F238E27FC236}">
                <a16:creationId xmlns:a16="http://schemas.microsoft.com/office/drawing/2014/main" id="{22EB18D1-D3C7-40F1-BBCE-0170318338DC}"/>
              </a:ext>
            </a:extLst>
          </p:cNvPr>
          <p:cNvGrpSpPr/>
          <p:nvPr/>
        </p:nvGrpSpPr>
        <p:grpSpPr>
          <a:xfrm>
            <a:off x="4694566" y="1199847"/>
            <a:ext cx="869945" cy="869945"/>
            <a:chOff x="598816" y="1028397"/>
            <a:chExt cx="869945" cy="869945"/>
          </a:xfrm>
        </p:grpSpPr>
        <p:sp>
          <p:nvSpPr>
            <p:cNvPr id="30" name="Elipse 29">
              <a:extLst>
                <a:ext uri="{FF2B5EF4-FFF2-40B4-BE49-F238E27FC236}">
                  <a16:creationId xmlns:a16="http://schemas.microsoft.com/office/drawing/2014/main" id="{F8DCC11D-32E7-41E9-A624-F2C4F305A868}"/>
                </a:ext>
              </a:extLst>
            </p:cNvPr>
            <p:cNvSpPr/>
            <p:nvPr/>
          </p:nvSpPr>
          <p:spPr>
            <a:xfrm>
              <a:off x="598816" y="1028397"/>
              <a:ext cx="869945" cy="869945"/>
            </a:xfrm>
            <a:prstGeom prst="ellipse">
              <a:avLst/>
            </a:prstGeom>
            <a:solidFill>
              <a:srgbClr val="2631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1" name="Elipse 30">
              <a:extLst>
                <a:ext uri="{FF2B5EF4-FFF2-40B4-BE49-F238E27FC236}">
                  <a16:creationId xmlns:a16="http://schemas.microsoft.com/office/drawing/2014/main" id="{CE94692B-D7EA-4914-88EE-12CD78642988}"/>
                </a:ext>
              </a:extLst>
            </p:cNvPr>
            <p:cNvSpPr/>
            <p:nvPr/>
          </p:nvSpPr>
          <p:spPr>
            <a:xfrm>
              <a:off x="690258" y="1119839"/>
              <a:ext cx="687059" cy="687059"/>
            </a:xfrm>
            <a:prstGeom prst="ellipse">
              <a:avLst/>
            </a:prstGeom>
            <a:solidFill>
              <a:srgbClr val="263143"/>
            </a:solidFill>
            <a:ln w="57150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2010</a:t>
              </a:r>
            </a:p>
          </p:txBody>
        </p:sp>
      </p:grpSp>
      <p:grpSp>
        <p:nvGrpSpPr>
          <p:cNvPr id="32" name="Agrupar 31">
            <a:extLst>
              <a:ext uri="{FF2B5EF4-FFF2-40B4-BE49-F238E27FC236}">
                <a16:creationId xmlns:a16="http://schemas.microsoft.com/office/drawing/2014/main" id="{EA974DBF-300A-4CA2-BCE6-C974EB037CA8}"/>
              </a:ext>
            </a:extLst>
          </p:cNvPr>
          <p:cNvGrpSpPr/>
          <p:nvPr/>
        </p:nvGrpSpPr>
        <p:grpSpPr>
          <a:xfrm>
            <a:off x="8790316" y="1199847"/>
            <a:ext cx="869945" cy="869945"/>
            <a:chOff x="598816" y="1028397"/>
            <a:chExt cx="869945" cy="869945"/>
          </a:xfrm>
        </p:grpSpPr>
        <p:sp>
          <p:nvSpPr>
            <p:cNvPr id="33" name="Elipse 32">
              <a:extLst>
                <a:ext uri="{FF2B5EF4-FFF2-40B4-BE49-F238E27FC236}">
                  <a16:creationId xmlns:a16="http://schemas.microsoft.com/office/drawing/2014/main" id="{A31CB470-863A-4301-840E-0DA20F30353A}"/>
                </a:ext>
              </a:extLst>
            </p:cNvPr>
            <p:cNvSpPr/>
            <p:nvPr/>
          </p:nvSpPr>
          <p:spPr>
            <a:xfrm>
              <a:off x="598816" y="1028397"/>
              <a:ext cx="869945" cy="869945"/>
            </a:xfrm>
            <a:prstGeom prst="ellipse">
              <a:avLst/>
            </a:prstGeom>
            <a:solidFill>
              <a:srgbClr val="2631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4" name="Elipse 33">
              <a:extLst>
                <a:ext uri="{FF2B5EF4-FFF2-40B4-BE49-F238E27FC236}">
                  <a16:creationId xmlns:a16="http://schemas.microsoft.com/office/drawing/2014/main" id="{A4D49EC9-7C75-44A4-82DB-AB6170E64784}"/>
                </a:ext>
              </a:extLst>
            </p:cNvPr>
            <p:cNvSpPr/>
            <p:nvPr/>
          </p:nvSpPr>
          <p:spPr>
            <a:xfrm>
              <a:off x="690258" y="1119839"/>
              <a:ext cx="687059" cy="687059"/>
            </a:xfrm>
            <a:prstGeom prst="ellipse">
              <a:avLst/>
            </a:prstGeom>
            <a:solidFill>
              <a:srgbClr val="263143"/>
            </a:solidFill>
            <a:ln w="57150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2018</a:t>
              </a:r>
            </a:p>
          </p:txBody>
        </p:sp>
      </p:grpSp>
      <p:grpSp>
        <p:nvGrpSpPr>
          <p:cNvPr id="35" name="Agrupar 34">
            <a:extLst>
              <a:ext uri="{FF2B5EF4-FFF2-40B4-BE49-F238E27FC236}">
                <a16:creationId xmlns:a16="http://schemas.microsoft.com/office/drawing/2014/main" id="{AEC99D69-3183-4E8D-95A9-197D7DB90B0E}"/>
              </a:ext>
            </a:extLst>
          </p:cNvPr>
          <p:cNvGrpSpPr/>
          <p:nvPr/>
        </p:nvGrpSpPr>
        <p:grpSpPr>
          <a:xfrm>
            <a:off x="6742441" y="5131109"/>
            <a:ext cx="869945" cy="869945"/>
            <a:chOff x="10838191" y="4959659"/>
            <a:chExt cx="869945" cy="869945"/>
          </a:xfrm>
        </p:grpSpPr>
        <p:sp>
          <p:nvSpPr>
            <p:cNvPr id="36" name="Elipse 35">
              <a:extLst>
                <a:ext uri="{FF2B5EF4-FFF2-40B4-BE49-F238E27FC236}">
                  <a16:creationId xmlns:a16="http://schemas.microsoft.com/office/drawing/2014/main" id="{E0397B99-490F-4CE4-A19E-F12C84CC5A31}"/>
                </a:ext>
              </a:extLst>
            </p:cNvPr>
            <p:cNvSpPr/>
            <p:nvPr/>
          </p:nvSpPr>
          <p:spPr>
            <a:xfrm>
              <a:off x="10838191" y="4959659"/>
              <a:ext cx="869945" cy="869945"/>
            </a:xfrm>
            <a:prstGeom prst="ellipse">
              <a:avLst/>
            </a:prstGeom>
            <a:solidFill>
              <a:srgbClr val="2631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7" name="Elipse 36">
              <a:extLst>
                <a:ext uri="{FF2B5EF4-FFF2-40B4-BE49-F238E27FC236}">
                  <a16:creationId xmlns:a16="http://schemas.microsoft.com/office/drawing/2014/main" id="{619D7C87-AEAA-4135-8642-6BF52F4B523C}"/>
                </a:ext>
              </a:extLst>
            </p:cNvPr>
            <p:cNvSpPr/>
            <p:nvPr/>
          </p:nvSpPr>
          <p:spPr>
            <a:xfrm>
              <a:off x="10929633" y="5051101"/>
              <a:ext cx="687059" cy="687059"/>
            </a:xfrm>
            <a:prstGeom prst="ellipse">
              <a:avLst/>
            </a:prstGeom>
            <a:solidFill>
              <a:srgbClr val="263143"/>
            </a:solidFill>
            <a:ln w="57150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2015</a:t>
              </a:r>
            </a:p>
          </p:txBody>
        </p:sp>
      </p:grpSp>
      <p:grpSp>
        <p:nvGrpSpPr>
          <p:cNvPr id="38" name="Agrupar 37">
            <a:extLst>
              <a:ext uri="{FF2B5EF4-FFF2-40B4-BE49-F238E27FC236}">
                <a16:creationId xmlns:a16="http://schemas.microsoft.com/office/drawing/2014/main" id="{A24F8A80-1F72-44AF-830A-C4F067AEB130}"/>
              </a:ext>
            </a:extLst>
          </p:cNvPr>
          <p:cNvGrpSpPr/>
          <p:nvPr/>
        </p:nvGrpSpPr>
        <p:grpSpPr>
          <a:xfrm>
            <a:off x="2646691" y="5131109"/>
            <a:ext cx="869945" cy="869945"/>
            <a:chOff x="10838191" y="4959659"/>
            <a:chExt cx="869945" cy="869945"/>
          </a:xfrm>
        </p:grpSpPr>
        <p:sp>
          <p:nvSpPr>
            <p:cNvPr id="39" name="Elipse 38">
              <a:extLst>
                <a:ext uri="{FF2B5EF4-FFF2-40B4-BE49-F238E27FC236}">
                  <a16:creationId xmlns:a16="http://schemas.microsoft.com/office/drawing/2014/main" id="{FBC20C7E-A558-49EC-88DA-CCC07C651FD2}"/>
                </a:ext>
              </a:extLst>
            </p:cNvPr>
            <p:cNvSpPr/>
            <p:nvPr/>
          </p:nvSpPr>
          <p:spPr>
            <a:xfrm>
              <a:off x="10838191" y="4959659"/>
              <a:ext cx="869945" cy="869945"/>
            </a:xfrm>
            <a:prstGeom prst="ellipse">
              <a:avLst/>
            </a:prstGeom>
            <a:solidFill>
              <a:srgbClr val="2631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0" name="Elipse 39">
              <a:extLst>
                <a:ext uri="{FF2B5EF4-FFF2-40B4-BE49-F238E27FC236}">
                  <a16:creationId xmlns:a16="http://schemas.microsoft.com/office/drawing/2014/main" id="{A2779EA7-8690-427A-BF6E-51CC8DB0D34C}"/>
                </a:ext>
              </a:extLst>
            </p:cNvPr>
            <p:cNvSpPr/>
            <p:nvPr/>
          </p:nvSpPr>
          <p:spPr>
            <a:xfrm>
              <a:off x="10929633" y="5051101"/>
              <a:ext cx="687059" cy="687059"/>
            </a:xfrm>
            <a:prstGeom prst="ellipse">
              <a:avLst/>
            </a:prstGeom>
            <a:solidFill>
              <a:srgbClr val="263143"/>
            </a:solidFill>
            <a:ln w="57150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2005</a:t>
              </a:r>
            </a:p>
          </p:txBody>
        </p:sp>
      </p:grpSp>
      <p:sp>
        <p:nvSpPr>
          <p:cNvPr id="42" name="CaixaDeTexto 41">
            <a:extLst>
              <a:ext uri="{FF2B5EF4-FFF2-40B4-BE49-F238E27FC236}">
                <a16:creationId xmlns:a16="http://schemas.microsoft.com/office/drawing/2014/main" id="{B282FC84-FBD3-47C4-B702-EFEC5256A309}"/>
              </a:ext>
            </a:extLst>
          </p:cNvPr>
          <p:cNvSpPr txBox="1"/>
          <p:nvPr/>
        </p:nvSpPr>
        <p:spPr>
          <a:xfrm>
            <a:off x="2067250" y="1838325"/>
            <a:ext cx="20288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solidFill>
                  <a:srgbClr val="B1B1A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Título aqui</a:t>
            </a:r>
          </a:p>
        </p:txBody>
      </p:sp>
      <p:sp>
        <p:nvSpPr>
          <p:cNvPr id="43" name="CaixaDeTexto 42">
            <a:extLst>
              <a:ext uri="{FF2B5EF4-FFF2-40B4-BE49-F238E27FC236}">
                <a16:creationId xmlns:a16="http://schemas.microsoft.com/office/drawing/2014/main" id="{AA8B54FE-6558-49F6-B99E-3AAC7BD1B696}"/>
              </a:ext>
            </a:extLst>
          </p:cNvPr>
          <p:cNvSpPr txBox="1"/>
          <p:nvPr/>
        </p:nvSpPr>
        <p:spPr>
          <a:xfrm>
            <a:off x="1686412" y="2333625"/>
            <a:ext cx="279049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incididun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ut labore et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e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magna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liqua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4" name="CaixaDeTexto 43">
            <a:extLst>
              <a:ext uri="{FF2B5EF4-FFF2-40B4-BE49-F238E27FC236}">
                <a16:creationId xmlns:a16="http://schemas.microsoft.com/office/drawing/2014/main" id="{687E1998-AA71-4DA9-B8F3-579B3BE3E005}"/>
              </a:ext>
            </a:extLst>
          </p:cNvPr>
          <p:cNvSpPr txBox="1"/>
          <p:nvPr/>
        </p:nvSpPr>
        <p:spPr>
          <a:xfrm>
            <a:off x="6125693" y="1838325"/>
            <a:ext cx="20288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solidFill>
                  <a:srgbClr val="B1B1A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Título aqui</a:t>
            </a:r>
          </a:p>
        </p:txBody>
      </p:sp>
      <p:sp>
        <p:nvSpPr>
          <p:cNvPr id="45" name="CaixaDeTexto 44">
            <a:extLst>
              <a:ext uri="{FF2B5EF4-FFF2-40B4-BE49-F238E27FC236}">
                <a16:creationId xmlns:a16="http://schemas.microsoft.com/office/drawing/2014/main" id="{CCA1C8B7-F6ED-4C36-B821-D6FA08436A58}"/>
              </a:ext>
            </a:extLst>
          </p:cNvPr>
          <p:cNvSpPr txBox="1"/>
          <p:nvPr/>
        </p:nvSpPr>
        <p:spPr>
          <a:xfrm>
            <a:off x="5744855" y="2333625"/>
            <a:ext cx="279049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incididun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ut labore et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e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magna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liqua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6" name="CaixaDeTexto 45">
            <a:extLst>
              <a:ext uri="{FF2B5EF4-FFF2-40B4-BE49-F238E27FC236}">
                <a16:creationId xmlns:a16="http://schemas.microsoft.com/office/drawing/2014/main" id="{B0569833-9FB6-4EAC-848E-F4C9EFCE8FA7}"/>
              </a:ext>
            </a:extLst>
          </p:cNvPr>
          <p:cNvSpPr txBox="1"/>
          <p:nvPr/>
        </p:nvSpPr>
        <p:spPr>
          <a:xfrm>
            <a:off x="9751703" y="1838325"/>
            <a:ext cx="20288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solidFill>
                  <a:srgbClr val="B1B1A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Título aqui</a:t>
            </a:r>
          </a:p>
        </p:txBody>
      </p:sp>
      <p:sp>
        <p:nvSpPr>
          <p:cNvPr id="47" name="CaixaDeTexto 46">
            <a:extLst>
              <a:ext uri="{FF2B5EF4-FFF2-40B4-BE49-F238E27FC236}">
                <a16:creationId xmlns:a16="http://schemas.microsoft.com/office/drawing/2014/main" id="{DBBC8D60-FFA5-4057-A637-F056E47F531C}"/>
              </a:ext>
            </a:extLst>
          </p:cNvPr>
          <p:cNvSpPr txBox="1"/>
          <p:nvPr/>
        </p:nvSpPr>
        <p:spPr>
          <a:xfrm>
            <a:off x="9915226" y="2333625"/>
            <a:ext cx="179734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8" name="CaixaDeTexto 47">
            <a:extLst>
              <a:ext uri="{FF2B5EF4-FFF2-40B4-BE49-F238E27FC236}">
                <a16:creationId xmlns:a16="http://schemas.microsoft.com/office/drawing/2014/main" id="{DE6AF666-A2B3-440A-8D6B-FC14586F5C9D}"/>
              </a:ext>
            </a:extLst>
          </p:cNvPr>
          <p:cNvSpPr txBox="1"/>
          <p:nvPr/>
        </p:nvSpPr>
        <p:spPr>
          <a:xfrm>
            <a:off x="533658" y="3974723"/>
            <a:ext cx="20288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solidFill>
                  <a:srgbClr val="B1B1A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Título aqui</a:t>
            </a:r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86741F12-4C77-4A7A-A589-E09ADEEF9EB7}"/>
              </a:ext>
            </a:extLst>
          </p:cNvPr>
          <p:cNvSpPr txBox="1"/>
          <p:nvPr/>
        </p:nvSpPr>
        <p:spPr>
          <a:xfrm>
            <a:off x="697181" y="4470023"/>
            <a:ext cx="179734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0" name="CaixaDeTexto 49">
            <a:extLst>
              <a:ext uri="{FF2B5EF4-FFF2-40B4-BE49-F238E27FC236}">
                <a16:creationId xmlns:a16="http://schemas.microsoft.com/office/drawing/2014/main" id="{C96175FD-C2F6-4BE9-A26F-3F752882F7BD}"/>
              </a:ext>
            </a:extLst>
          </p:cNvPr>
          <p:cNvSpPr txBox="1"/>
          <p:nvPr/>
        </p:nvSpPr>
        <p:spPr>
          <a:xfrm>
            <a:off x="4115126" y="3953945"/>
            <a:ext cx="20288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solidFill>
                  <a:srgbClr val="B1B1A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Título aqui</a:t>
            </a:r>
          </a:p>
        </p:txBody>
      </p:sp>
      <p:sp>
        <p:nvSpPr>
          <p:cNvPr id="51" name="CaixaDeTexto 50">
            <a:extLst>
              <a:ext uri="{FF2B5EF4-FFF2-40B4-BE49-F238E27FC236}">
                <a16:creationId xmlns:a16="http://schemas.microsoft.com/office/drawing/2014/main" id="{DC5D09BD-532A-4F1A-8A75-09960638FF77}"/>
              </a:ext>
            </a:extLst>
          </p:cNvPr>
          <p:cNvSpPr txBox="1"/>
          <p:nvPr/>
        </p:nvSpPr>
        <p:spPr>
          <a:xfrm>
            <a:off x="3734288" y="4449245"/>
            <a:ext cx="279049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incididun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ut labore et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e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magna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liqua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2" name="CaixaDeTexto 51">
            <a:extLst>
              <a:ext uri="{FF2B5EF4-FFF2-40B4-BE49-F238E27FC236}">
                <a16:creationId xmlns:a16="http://schemas.microsoft.com/office/drawing/2014/main" id="{BE528073-C626-4681-88EE-0B63EC3B22E5}"/>
              </a:ext>
            </a:extLst>
          </p:cNvPr>
          <p:cNvSpPr txBox="1"/>
          <p:nvPr/>
        </p:nvSpPr>
        <p:spPr>
          <a:xfrm>
            <a:off x="8219293" y="3953945"/>
            <a:ext cx="20288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solidFill>
                  <a:srgbClr val="B1B1A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Título aqui</a:t>
            </a:r>
          </a:p>
        </p:txBody>
      </p:sp>
      <p:sp>
        <p:nvSpPr>
          <p:cNvPr id="53" name="CaixaDeTexto 52">
            <a:extLst>
              <a:ext uri="{FF2B5EF4-FFF2-40B4-BE49-F238E27FC236}">
                <a16:creationId xmlns:a16="http://schemas.microsoft.com/office/drawing/2014/main" id="{FECE8254-F592-468D-B639-77DC4236268B}"/>
              </a:ext>
            </a:extLst>
          </p:cNvPr>
          <p:cNvSpPr txBox="1"/>
          <p:nvPr/>
        </p:nvSpPr>
        <p:spPr>
          <a:xfrm>
            <a:off x="7838455" y="4449245"/>
            <a:ext cx="279049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incididun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ut labore et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e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magna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liqua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4" name="Elipse 53">
            <a:extLst>
              <a:ext uri="{FF2B5EF4-FFF2-40B4-BE49-F238E27FC236}">
                <a16:creationId xmlns:a16="http://schemas.microsoft.com/office/drawing/2014/main" id="{ECD27937-9B37-49F0-901A-C29F2E9E5F9F}"/>
              </a:ext>
            </a:extLst>
          </p:cNvPr>
          <p:cNvSpPr/>
          <p:nvPr/>
        </p:nvSpPr>
        <p:spPr>
          <a:xfrm>
            <a:off x="890914" y="3467100"/>
            <a:ext cx="257174" cy="257174"/>
          </a:xfrm>
          <a:prstGeom prst="ellipse">
            <a:avLst/>
          </a:prstGeom>
          <a:solidFill>
            <a:srgbClr val="2631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5" name="Elipse 54">
            <a:extLst>
              <a:ext uri="{FF2B5EF4-FFF2-40B4-BE49-F238E27FC236}">
                <a16:creationId xmlns:a16="http://schemas.microsoft.com/office/drawing/2014/main" id="{A7698181-D81D-443A-9767-0B8B9FFE8A0E}"/>
              </a:ext>
            </a:extLst>
          </p:cNvPr>
          <p:cNvSpPr/>
          <p:nvPr/>
        </p:nvSpPr>
        <p:spPr>
          <a:xfrm>
            <a:off x="2948314" y="3467100"/>
            <a:ext cx="257174" cy="257174"/>
          </a:xfrm>
          <a:prstGeom prst="ellipse">
            <a:avLst/>
          </a:prstGeom>
          <a:solidFill>
            <a:srgbClr val="2631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6" name="Elipse 55">
            <a:extLst>
              <a:ext uri="{FF2B5EF4-FFF2-40B4-BE49-F238E27FC236}">
                <a16:creationId xmlns:a16="http://schemas.microsoft.com/office/drawing/2014/main" id="{6EABB9A4-8136-42A9-AF47-28F565F64AA3}"/>
              </a:ext>
            </a:extLst>
          </p:cNvPr>
          <p:cNvSpPr/>
          <p:nvPr/>
        </p:nvSpPr>
        <p:spPr>
          <a:xfrm>
            <a:off x="5005714" y="3467100"/>
            <a:ext cx="257174" cy="257174"/>
          </a:xfrm>
          <a:prstGeom prst="ellipse">
            <a:avLst/>
          </a:prstGeom>
          <a:solidFill>
            <a:srgbClr val="2631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7" name="Elipse 56">
            <a:extLst>
              <a:ext uri="{FF2B5EF4-FFF2-40B4-BE49-F238E27FC236}">
                <a16:creationId xmlns:a16="http://schemas.microsoft.com/office/drawing/2014/main" id="{9B52CAE1-D657-485A-8DF1-C7CEF0C57330}"/>
              </a:ext>
            </a:extLst>
          </p:cNvPr>
          <p:cNvSpPr/>
          <p:nvPr/>
        </p:nvSpPr>
        <p:spPr>
          <a:xfrm>
            <a:off x="7063114" y="3467100"/>
            <a:ext cx="257174" cy="257174"/>
          </a:xfrm>
          <a:prstGeom prst="ellipse">
            <a:avLst/>
          </a:prstGeom>
          <a:solidFill>
            <a:srgbClr val="2631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8" name="Elipse 57">
            <a:extLst>
              <a:ext uri="{FF2B5EF4-FFF2-40B4-BE49-F238E27FC236}">
                <a16:creationId xmlns:a16="http://schemas.microsoft.com/office/drawing/2014/main" id="{F5DFB5F8-B86E-4481-A792-49731B3FC5E5}"/>
              </a:ext>
            </a:extLst>
          </p:cNvPr>
          <p:cNvSpPr/>
          <p:nvPr/>
        </p:nvSpPr>
        <p:spPr>
          <a:xfrm>
            <a:off x="9110991" y="3467100"/>
            <a:ext cx="257174" cy="257174"/>
          </a:xfrm>
          <a:prstGeom prst="ellipse">
            <a:avLst/>
          </a:prstGeom>
          <a:solidFill>
            <a:srgbClr val="2631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9" name="Elipse 58">
            <a:extLst>
              <a:ext uri="{FF2B5EF4-FFF2-40B4-BE49-F238E27FC236}">
                <a16:creationId xmlns:a16="http://schemas.microsoft.com/office/drawing/2014/main" id="{99814F9F-3A42-40E3-B731-6B813E8CD04C}"/>
              </a:ext>
            </a:extLst>
          </p:cNvPr>
          <p:cNvSpPr/>
          <p:nvPr/>
        </p:nvSpPr>
        <p:spPr>
          <a:xfrm>
            <a:off x="11149341" y="3467100"/>
            <a:ext cx="257174" cy="257174"/>
          </a:xfrm>
          <a:prstGeom prst="ellipse">
            <a:avLst/>
          </a:prstGeom>
          <a:solidFill>
            <a:srgbClr val="2631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84860560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ço Reservado para Texto 8">
            <a:extLst>
              <a:ext uri="{FF2B5EF4-FFF2-40B4-BE49-F238E27FC236}">
                <a16:creationId xmlns:a16="http://schemas.microsoft.com/office/drawing/2014/main" id="{6C2AF7D6-3704-4E1D-859F-89793DF5722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Inserir aqui o título do slid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85703862-054C-4AB7-92A9-DE6B179D459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erir aqui o subtítulo do slide</a:t>
            </a:r>
          </a:p>
        </p:txBody>
      </p:sp>
      <p:cxnSp>
        <p:nvCxnSpPr>
          <p:cNvPr id="12" name="Conector reto 11">
            <a:extLst>
              <a:ext uri="{FF2B5EF4-FFF2-40B4-BE49-F238E27FC236}">
                <a16:creationId xmlns:a16="http://schemas.microsoft.com/office/drawing/2014/main" id="{0D791CF5-8EED-4519-B55E-A232406312B7}"/>
              </a:ext>
            </a:extLst>
          </p:cNvPr>
          <p:cNvCxnSpPr>
            <a:cxnSpLocks/>
          </p:cNvCxnSpPr>
          <p:nvPr/>
        </p:nvCxnSpPr>
        <p:spPr>
          <a:xfrm>
            <a:off x="0" y="1628775"/>
            <a:ext cx="12192000" cy="0"/>
          </a:xfrm>
          <a:prstGeom prst="line">
            <a:avLst/>
          </a:prstGeom>
          <a:ln w="38100">
            <a:solidFill>
              <a:srgbClr val="D6D6CE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to 12">
            <a:extLst>
              <a:ext uri="{FF2B5EF4-FFF2-40B4-BE49-F238E27FC236}">
                <a16:creationId xmlns:a16="http://schemas.microsoft.com/office/drawing/2014/main" id="{26C89823-C609-412B-9CC7-DB9A5566B8E1}"/>
              </a:ext>
            </a:extLst>
          </p:cNvPr>
          <p:cNvCxnSpPr>
            <a:cxnSpLocks/>
          </p:cNvCxnSpPr>
          <p:nvPr/>
        </p:nvCxnSpPr>
        <p:spPr>
          <a:xfrm flipV="1">
            <a:off x="1618939" y="2076450"/>
            <a:ext cx="0" cy="895350"/>
          </a:xfrm>
          <a:prstGeom prst="line">
            <a:avLst/>
          </a:prstGeom>
          <a:ln w="38100">
            <a:solidFill>
              <a:srgbClr val="D6D6C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Agrupar 27">
            <a:extLst>
              <a:ext uri="{FF2B5EF4-FFF2-40B4-BE49-F238E27FC236}">
                <a16:creationId xmlns:a16="http://schemas.microsoft.com/office/drawing/2014/main" id="{3C336C43-4B1D-412A-AA95-5C584BECE9AC}"/>
              </a:ext>
            </a:extLst>
          </p:cNvPr>
          <p:cNvGrpSpPr/>
          <p:nvPr/>
        </p:nvGrpSpPr>
        <p:grpSpPr>
          <a:xfrm>
            <a:off x="1183967" y="1199847"/>
            <a:ext cx="869945" cy="869945"/>
            <a:chOff x="598816" y="1028397"/>
            <a:chExt cx="869945" cy="869945"/>
          </a:xfrm>
        </p:grpSpPr>
        <p:sp>
          <p:nvSpPr>
            <p:cNvPr id="20" name="Elipse 19">
              <a:extLst>
                <a:ext uri="{FF2B5EF4-FFF2-40B4-BE49-F238E27FC236}">
                  <a16:creationId xmlns:a16="http://schemas.microsoft.com/office/drawing/2014/main" id="{53FAF39B-F9EF-4329-BB94-5FAA3A5CA146}"/>
                </a:ext>
              </a:extLst>
            </p:cNvPr>
            <p:cNvSpPr/>
            <p:nvPr/>
          </p:nvSpPr>
          <p:spPr>
            <a:xfrm>
              <a:off x="598816" y="1028397"/>
              <a:ext cx="869945" cy="869945"/>
            </a:xfrm>
            <a:prstGeom prst="ellipse">
              <a:avLst/>
            </a:prstGeom>
            <a:solidFill>
              <a:srgbClr val="2631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5" name="Elipse 24">
              <a:extLst>
                <a:ext uri="{FF2B5EF4-FFF2-40B4-BE49-F238E27FC236}">
                  <a16:creationId xmlns:a16="http://schemas.microsoft.com/office/drawing/2014/main" id="{F22439CA-FE75-4741-B15B-7F1C32CB5F19}"/>
                </a:ext>
              </a:extLst>
            </p:cNvPr>
            <p:cNvSpPr/>
            <p:nvPr/>
          </p:nvSpPr>
          <p:spPr>
            <a:xfrm>
              <a:off x="690258" y="1119839"/>
              <a:ext cx="687059" cy="687059"/>
            </a:xfrm>
            <a:prstGeom prst="ellipse">
              <a:avLst/>
            </a:prstGeom>
            <a:solidFill>
              <a:srgbClr val="263143"/>
            </a:solidFill>
            <a:ln w="57150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2000</a:t>
              </a:r>
            </a:p>
          </p:txBody>
        </p:sp>
      </p:grpSp>
      <p:sp>
        <p:nvSpPr>
          <p:cNvPr id="48" name="CaixaDeTexto 47">
            <a:extLst>
              <a:ext uri="{FF2B5EF4-FFF2-40B4-BE49-F238E27FC236}">
                <a16:creationId xmlns:a16="http://schemas.microsoft.com/office/drawing/2014/main" id="{DE6AF666-A2B3-440A-8D6B-FC14586F5C9D}"/>
              </a:ext>
            </a:extLst>
          </p:cNvPr>
          <p:cNvSpPr txBox="1"/>
          <p:nvPr/>
        </p:nvSpPr>
        <p:spPr>
          <a:xfrm>
            <a:off x="665362" y="3368126"/>
            <a:ext cx="19071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solidFill>
                  <a:srgbClr val="B1B1A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Título aqui</a:t>
            </a:r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86741F12-4C77-4A7A-A589-E09ADEEF9EB7}"/>
              </a:ext>
            </a:extLst>
          </p:cNvPr>
          <p:cNvSpPr txBox="1"/>
          <p:nvPr/>
        </p:nvSpPr>
        <p:spPr>
          <a:xfrm>
            <a:off x="665362" y="3850852"/>
            <a:ext cx="190715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4" name="Elipse 53">
            <a:extLst>
              <a:ext uri="{FF2B5EF4-FFF2-40B4-BE49-F238E27FC236}">
                <a16:creationId xmlns:a16="http://schemas.microsoft.com/office/drawing/2014/main" id="{ECD27937-9B37-49F0-901A-C29F2E9E5F9F}"/>
              </a:ext>
            </a:extLst>
          </p:cNvPr>
          <p:cNvSpPr/>
          <p:nvPr/>
        </p:nvSpPr>
        <p:spPr>
          <a:xfrm>
            <a:off x="1490352" y="2894147"/>
            <a:ext cx="257174" cy="257174"/>
          </a:xfrm>
          <a:prstGeom prst="ellipse">
            <a:avLst/>
          </a:prstGeom>
          <a:solidFill>
            <a:srgbClr val="2631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60" name="Conector reto 59">
            <a:extLst>
              <a:ext uri="{FF2B5EF4-FFF2-40B4-BE49-F238E27FC236}">
                <a16:creationId xmlns:a16="http://schemas.microsoft.com/office/drawing/2014/main" id="{44B6826F-98CE-40AF-B802-5AC9E1714C09}"/>
              </a:ext>
            </a:extLst>
          </p:cNvPr>
          <p:cNvCxnSpPr>
            <a:cxnSpLocks/>
          </p:cNvCxnSpPr>
          <p:nvPr/>
        </p:nvCxnSpPr>
        <p:spPr>
          <a:xfrm flipV="1">
            <a:off x="3885165" y="2076450"/>
            <a:ext cx="0" cy="895350"/>
          </a:xfrm>
          <a:prstGeom prst="line">
            <a:avLst/>
          </a:prstGeom>
          <a:ln w="38100">
            <a:solidFill>
              <a:srgbClr val="D6D6C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1" name="Agrupar 60">
            <a:extLst>
              <a:ext uri="{FF2B5EF4-FFF2-40B4-BE49-F238E27FC236}">
                <a16:creationId xmlns:a16="http://schemas.microsoft.com/office/drawing/2014/main" id="{DD000C3E-0C6B-432F-9E1F-47768239AA01}"/>
              </a:ext>
            </a:extLst>
          </p:cNvPr>
          <p:cNvGrpSpPr/>
          <p:nvPr/>
        </p:nvGrpSpPr>
        <p:grpSpPr>
          <a:xfrm>
            <a:off x="3450193" y="1199847"/>
            <a:ext cx="869945" cy="869945"/>
            <a:chOff x="598816" y="1028397"/>
            <a:chExt cx="869945" cy="869945"/>
          </a:xfrm>
        </p:grpSpPr>
        <p:sp>
          <p:nvSpPr>
            <p:cNvPr id="62" name="Elipse 61">
              <a:extLst>
                <a:ext uri="{FF2B5EF4-FFF2-40B4-BE49-F238E27FC236}">
                  <a16:creationId xmlns:a16="http://schemas.microsoft.com/office/drawing/2014/main" id="{18A03AC8-885F-47AA-B01B-B8AEEF626667}"/>
                </a:ext>
              </a:extLst>
            </p:cNvPr>
            <p:cNvSpPr/>
            <p:nvPr/>
          </p:nvSpPr>
          <p:spPr>
            <a:xfrm>
              <a:off x="598816" y="1028397"/>
              <a:ext cx="869945" cy="869945"/>
            </a:xfrm>
            <a:prstGeom prst="ellipse">
              <a:avLst/>
            </a:prstGeom>
            <a:solidFill>
              <a:srgbClr val="2631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63" name="Elipse 62">
              <a:extLst>
                <a:ext uri="{FF2B5EF4-FFF2-40B4-BE49-F238E27FC236}">
                  <a16:creationId xmlns:a16="http://schemas.microsoft.com/office/drawing/2014/main" id="{9195DD29-1A49-4DCE-B8B7-899AE6A7F22F}"/>
                </a:ext>
              </a:extLst>
            </p:cNvPr>
            <p:cNvSpPr/>
            <p:nvPr/>
          </p:nvSpPr>
          <p:spPr>
            <a:xfrm>
              <a:off x="690258" y="1119839"/>
              <a:ext cx="687059" cy="687059"/>
            </a:xfrm>
            <a:prstGeom prst="ellipse">
              <a:avLst/>
            </a:prstGeom>
            <a:solidFill>
              <a:srgbClr val="263143"/>
            </a:solidFill>
            <a:ln w="57150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2000</a:t>
              </a:r>
            </a:p>
          </p:txBody>
        </p:sp>
      </p:grpSp>
      <p:sp>
        <p:nvSpPr>
          <p:cNvPr id="64" name="CaixaDeTexto 63">
            <a:extLst>
              <a:ext uri="{FF2B5EF4-FFF2-40B4-BE49-F238E27FC236}">
                <a16:creationId xmlns:a16="http://schemas.microsoft.com/office/drawing/2014/main" id="{3A96A388-05A5-47D4-AA1A-AD63E7DA849A}"/>
              </a:ext>
            </a:extLst>
          </p:cNvPr>
          <p:cNvSpPr txBox="1"/>
          <p:nvPr/>
        </p:nvSpPr>
        <p:spPr>
          <a:xfrm>
            <a:off x="2931588" y="3368126"/>
            <a:ext cx="19071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solidFill>
                  <a:srgbClr val="B1B1A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Título aqui</a:t>
            </a:r>
          </a:p>
        </p:txBody>
      </p:sp>
      <p:sp>
        <p:nvSpPr>
          <p:cNvPr id="65" name="CaixaDeTexto 64">
            <a:extLst>
              <a:ext uri="{FF2B5EF4-FFF2-40B4-BE49-F238E27FC236}">
                <a16:creationId xmlns:a16="http://schemas.microsoft.com/office/drawing/2014/main" id="{712AB4F9-D056-4324-B9B9-D471EBA95560}"/>
              </a:ext>
            </a:extLst>
          </p:cNvPr>
          <p:cNvSpPr txBox="1"/>
          <p:nvPr/>
        </p:nvSpPr>
        <p:spPr>
          <a:xfrm>
            <a:off x="2931588" y="3850852"/>
            <a:ext cx="190715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6" name="Elipse 65">
            <a:extLst>
              <a:ext uri="{FF2B5EF4-FFF2-40B4-BE49-F238E27FC236}">
                <a16:creationId xmlns:a16="http://schemas.microsoft.com/office/drawing/2014/main" id="{89900FB4-C972-47B0-AF4C-87FE8E30E3C7}"/>
              </a:ext>
            </a:extLst>
          </p:cNvPr>
          <p:cNvSpPr/>
          <p:nvPr/>
        </p:nvSpPr>
        <p:spPr>
          <a:xfrm>
            <a:off x="3756578" y="2894147"/>
            <a:ext cx="257174" cy="257174"/>
          </a:xfrm>
          <a:prstGeom prst="ellipse">
            <a:avLst/>
          </a:prstGeom>
          <a:solidFill>
            <a:srgbClr val="2631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67" name="Conector reto 66">
            <a:extLst>
              <a:ext uri="{FF2B5EF4-FFF2-40B4-BE49-F238E27FC236}">
                <a16:creationId xmlns:a16="http://schemas.microsoft.com/office/drawing/2014/main" id="{FC0363E6-4B10-4F3F-AF1F-237AFEFB3CD3}"/>
              </a:ext>
            </a:extLst>
          </p:cNvPr>
          <p:cNvCxnSpPr>
            <a:cxnSpLocks/>
          </p:cNvCxnSpPr>
          <p:nvPr/>
        </p:nvCxnSpPr>
        <p:spPr>
          <a:xfrm flipV="1">
            <a:off x="6151391" y="2076450"/>
            <a:ext cx="0" cy="895350"/>
          </a:xfrm>
          <a:prstGeom prst="line">
            <a:avLst/>
          </a:prstGeom>
          <a:ln w="38100">
            <a:solidFill>
              <a:srgbClr val="D6D6C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Agrupar 67">
            <a:extLst>
              <a:ext uri="{FF2B5EF4-FFF2-40B4-BE49-F238E27FC236}">
                <a16:creationId xmlns:a16="http://schemas.microsoft.com/office/drawing/2014/main" id="{087F93A2-3CD8-4FE1-8738-C09BB7097599}"/>
              </a:ext>
            </a:extLst>
          </p:cNvPr>
          <p:cNvGrpSpPr/>
          <p:nvPr/>
        </p:nvGrpSpPr>
        <p:grpSpPr>
          <a:xfrm>
            <a:off x="5716419" y="1199847"/>
            <a:ext cx="869945" cy="869945"/>
            <a:chOff x="598816" y="1028397"/>
            <a:chExt cx="869945" cy="869945"/>
          </a:xfrm>
        </p:grpSpPr>
        <p:sp>
          <p:nvSpPr>
            <p:cNvPr id="69" name="Elipse 68">
              <a:extLst>
                <a:ext uri="{FF2B5EF4-FFF2-40B4-BE49-F238E27FC236}">
                  <a16:creationId xmlns:a16="http://schemas.microsoft.com/office/drawing/2014/main" id="{564DF89E-E415-4046-9F6C-CE579AFF865D}"/>
                </a:ext>
              </a:extLst>
            </p:cNvPr>
            <p:cNvSpPr/>
            <p:nvPr/>
          </p:nvSpPr>
          <p:spPr>
            <a:xfrm>
              <a:off x="598816" y="1028397"/>
              <a:ext cx="869945" cy="869945"/>
            </a:xfrm>
            <a:prstGeom prst="ellipse">
              <a:avLst/>
            </a:prstGeom>
            <a:solidFill>
              <a:srgbClr val="2631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0" name="Elipse 69">
              <a:extLst>
                <a:ext uri="{FF2B5EF4-FFF2-40B4-BE49-F238E27FC236}">
                  <a16:creationId xmlns:a16="http://schemas.microsoft.com/office/drawing/2014/main" id="{621BFEA8-A750-42BC-8FBD-453D9F32FA01}"/>
                </a:ext>
              </a:extLst>
            </p:cNvPr>
            <p:cNvSpPr/>
            <p:nvPr/>
          </p:nvSpPr>
          <p:spPr>
            <a:xfrm>
              <a:off x="690258" y="1119839"/>
              <a:ext cx="687059" cy="687059"/>
            </a:xfrm>
            <a:prstGeom prst="ellipse">
              <a:avLst/>
            </a:prstGeom>
            <a:solidFill>
              <a:srgbClr val="263143"/>
            </a:solidFill>
            <a:ln w="57150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2000</a:t>
              </a:r>
            </a:p>
          </p:txBody>
        </p:sp>
      </p:grpSp>
      <p:sp>
        <p:nvSpPr>
          <p:cNvPr id="71" name="CaixaDeTexto 70">
            <a:extLst>
              <a:ext uri="{FF2B5EF4-FFF2-40B4-BE49-F238E27FC236}">
                <a16:creationId xmlns:a16="http://schemas.microsoft.com/office/drawing/2014/main" id="{D937A427-2416-4248-9DC1-A15BC7187D04}"/>
              </a:ext>
            </a:extLst>
          </p:cNvPr>
          <p:cNvSpPr txBox="1"/>
          <p:nvPr/>
        </p:nvSpPr>
        <p:spPr>
          <a:xfrm>
            <a:off x="5197814" y="3368126"/>
            <a:ext cx="19071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solidFill>
                  <a:srgbClr val="B1B1A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Título aqui</a:t>
            </a:r>
          </a:p>
        </p:txBody>
      </p:sp>
      <p:sp>
        <p:nvSpPr>
          <p:cNvPr id="72" name="CaixaDeTexto 71">
            <a:extLst>
              <a:ext uri="{FF2B5EF4-FFF2-40B4-BE49-F238E27FC236}">
                <a16:creationId xmlns:a16="http://schemas.microsoft.com/office/drawing/2014/main" id="{F78E30CA-9BF0-4F41-9B39-FD6C4DF0CCC8}"/>
              </a:ext>
            </a:extLst>
          </p:cNvPr>
          <p:cNvSpPr txBox="1"/>
          <p:nvPr/>
        </p:nvSpPr>
        <p:spPr>
          <a:xfrm>
            <a:off x="5197814" y="3850852"/>
            <a:ext cx="190715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3" name="Elipse 72">
            <a:extLst>
              <a:ext uri="{FF2B5EF4-FFF2-40B4-BE49-F238E27FC236}">
                <a16:creationId xmlns:a16="http://schemas.microsoft.com/office/drawing/2014/main" id="{E1FD7321-CB82-437F-B95C-D43A041DAAC5}"/>
              </a:ext>
            </a:extLst>
          </p:cNvPr>
          <p:cNvSpPr/>
          <p:nvPr/>
        </p:nvSpPr>
        <p:spPr>
          <a:xfrm>
            <a:off x="6022804" y="2894147"/>
            <a:ext cx="257174" cy="257174"/>
          </a:xfrm>
          <a:prstGeom prst="ellipse">
            <a:avLst/>
          </a:prstGeom>
          <a:solidFill>
            <a:srgbClr val="2631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74" name="Conector reto 73">
            <a:extLst>
              <a:ext uri="{FF2B5EF4-FFF2-40B4-BE49-F238E27FC236}">
                <a16:creationId xmlns:a16="http://schemas.microsoft.com/office/drawing/2014/main" id="{6DF9810D-31FD-4617-A61B-45D92D8DF8BC}"/>
              </a:ext>
            </a:extLst>
          </p:cNvPr>
          <p:cNvCxnSpPr>
            <a:cxnSpLocks/>
          </p:cNvCxnSpPr>
          <p:nvPr/>
        </p:nvCxnSpPr>
        <p:spPr>
          <a:xfrm flipV="1">
            <a:off x="8417617" y="2076450"/>
            <a:ext cx="0" cy="895350"/>
          </a:xfrm>
          <a:prstGeom prst="line">
            <a:avLst/>
          </a:prstGeom>
          <a:ln w="38100">
            <a:solidFill>
              <a:srgbClr val="D6D6C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5" name="Agrupar 74">
            <a:extLst>
              <a:ext uri="{FF2B5EF4-FFF2-40B4-BE49-F238E27FC236}">
                <a16:creationId xmlns:a16="http://schemas.microsoft.com/office/drawing/2014/main" id="{6FACF362-C997-496B-9D1A-CC93EF9049B9}"/>
              </a:ext>
            </a:extLst>
          </p:cNvPr>
          <p:cNvGrpSpPr/>
          <p:nvPr/>
        </p:nvGrpSpPr>
        <p:grpSpPr>
          <a:xfrm>
            <a:off x="7982645" y="1199847"/>
            <a:ext cx="869945" cy="869945"/>
            <a:chOff x="598816" y="1028397"/>
            <a:chExt cx="869945" cy="869945"/>
          </a:xfrm>
        </p:grpSpPr>
        <p:sp>
          <p:nvSpPr>
            <p:cNvPr id="76" name="Elipse 75">
              <a:extLst>
                <a:ext uri="{FF2B5EF4-FFF2-40B4-BE49-F238E27FC236}">
                  <a16:creationId xmlns:a16="http://schemas.microsoft.com/office/drawing/2014/main" id="{88507EB6-78BC-4D23-B79D-63619EDCF8BF}"/>
                </a:ext>
              </a:extLst>
            </p:cNvPr>
            <p:cNvSpPr/>
            <p:nvPr/>
          </p:nvSpPr>
          <p:spPr>
            <a:xfrm>
              <a:off x="598816" y="1028397"/>
              <a:ext cx="869945" cy="869945"/>
            </a:xfrm>
            <a:prstGeom prst="ellipse">
              <a:avLst/>
            </a:prstGeom>
            <a:solidFill>
              <a:srgbClr val="2631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7" name="Elipse 76">
              <a:extLst>
                <a:ext uri="{FF2B5EF4-FFF2-40B4-BE49-F238E27FC236}">
                  <a16:creationId xmlns:a16="http://schemas.microsoft.com/office/drawing/2014/main" id="{F8BD23C2-C488-49C6-8241-BA7B7C55A964}"/>
                </a:ext>
              </a:extLst>
            </p:cNvPr>
            <p:cNvSpPr/>
            <p:nvPr/>
          </p:nvSpPr>
          <p:spPr>
            <a:xfrm>
              <a:off x="690258" y="1119839"/>
              <a:ext cx="687059" cy="687059"/>
            </a:xfrm>
            <a:prstGeom prst="ellipse">
              <a:avLst/>
            </a:prstGeom>
            <a:solidFill>
              <a:srgbClr val="263143"/>
            </a:solidFill>
            <a:ln w="57150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2000</a:t>
              </a:r>
            </a:p>
          </p:txBody>
        </p:sp>
      </p:grpSp>
      <p:sp>
        <p:nvSpPr>
          <p:cNvPr id="78" name="CaixaDeTexto 77">
            <a:extLst>
              <a:ext uri="{FF2B5EF4-FFF2-40B4-BE49-F238E27FC236}">
                <a16:creationId xmlns:a16="http://schemas.microsoft.com/office/drawing/2014/main" id="{139CE7A2-2512-4868-A2E1-22110309CF0B}"/>
              </a:ext>
            </a:extLst>
          </p:cNvPr>
          <p:cNvSpPr txBox="1"/>
          <p:nvPr/>
        </p:nvSpPr>
        <p:spPr>
          <a:xfrm>
            <a:off x="7464040" y="3368126"/>
            <a:ext cx="19071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solidFill>
                  <a:srgbClr val="B1B1A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Título aqui</a:t>
            </a:r>
          </a:p>
        </p:txBody>
      </p:sp>
      <p:sp>
        <p:nvSpPr>
          <p:cNvPr id="79" name="CaixaDeTexto 78">
            <a:extLst>
              <a:ext uri="{FF2B5EF4-FFF2-40B4-BE49-F238E27FC236}">
                <a16:creationId xmlns:a16="http://schemas.microsoft.com/office/drawing/2014/main" id="{77C3F7F1-8EC2-41F0-9374-A2610DE5F93C}"/>
              </a:ext>
            </a:extLst>
          </p:cNvPr>
          <p:cNvSpPr txBox="1"/>
          <p:nvPr/>
        </p:nvSpPr>
        <p:spPr>
          <a:xfrm>
            <a:off x="7464040" y="3850852"/>
            <a:ext cx="190715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0" name="Elipse 79">
            <a:extLst>
              <a:ext uri="{FF2B5EF4-FFF2-40B4-BE49-F238E27FC236}">
                <a16:creationId xmlns:a16="http://schemas.microsoft.com/office/drawing/2014/main" id="{379D6091-BC80-41B6-875B-D077703108D7}"/>
              </a:ext>
            </a:extLst>
          </p:cNvPr>
          <p:cNvSpPr/>
          <p:nvPr/>
        </p:nvSpPr>
        <p:spPr>
          <a:xfrm>
            <a:off x="8289030" y="2894147"/>
            <a:ext cx="257174" cy="257174"/>
          </a:xfrm>
          <a:prstGeom prst="ellipse">
            <a:avLst/>
          </a:prstGeom>
          <a:solidFill>
            <a:srgbClr val="2631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81" name="Conector reto 80">
            <a:extLst>
              <a:ext uri="{FF2B5EF4-FFF2-40B4-BE49-F238E27FC236}">
                <a16:creationId xmlns:a16="http://schemas.microsoft.com/office/drawing/2014/main" id="{BFE27259-9303-45B4-B289-33290497980B}"/>
              </a:ext>
            </a:extLst>
          </p:cNvPr>
          <p:cNvCxnSpPr>
            <a:cxnSpLocks/>
          </p:cNvCxnSpPr>
          <p:nvPr/>
        </p:nvCxnSpPr>
        <p:spPr>
          <a:xfrm flipV="1">
            <a:off x="10683843" y="2076450"/>
            <a:ext cx="0" cy="895350"/>
          </a:xfrm>
          <a:prstGeom prst="line">
            <a:avLst/>
          </a:prstGeom>
          <a:ln w="38100">
            <a:solidFill>
              <a:srgbClr val="D6D6C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2" name="Agrupar 81">
            <a:extLst>
              <a:ext uri="{FF2B5EF4-FFF2-40B4-BE49-F238E27FC236}">
                <a16:creationId xmlns:a16="http://schemas.microsoft.com/office/drawing/2014/main" id="{059A3828-75FE-488B-A5C9-8241F97B2B0B}"/>
              </a:ext>
            </a:extLst>
          </p:cNvPr>
          <p:cNvGrpSpPr/>
          <p:nvPr/>
        </p:nvGrpSpPr>
        <p:grpSpPr>
          <a:xfrm>
            <a:off x="10248871" y="1199847"/>
            <a:ext cx="869945" cy="869945"/>
            <a:chOff x="598816" y="1028397"/>
            <a:chExt cx="869945" cy="869945"/>
          </a:xfrm>
        </p:grpSpPr>
        <p:sp>
          <p:nvSpPr>
            <p:cNvPr id="83" name="Elipse 82">
              <a:extLst>
                <a:ext uri="{FF2B5EF4-FFF2-40B4-BE49-F238E27FC236}">
                  <a16:creationId xmlns:a16="http://schemas.microsoft.com/office/drawing/2014/main" id="{1C26949C-40C0-48EF-9384-2C94CBDBFAFB}"/>
                </a:ext>
              </a:extLst>
            </p:cNvPr>
            <p:cNvSpPr/>
            <p:nvPr/>
          </p:nvSpPr>
          <p:spPr>
            <a:xfrm>
              <a:off x="598816" y="1028397"/>
              <a:ext cx="869945" cy="869945"/>
            </a:xfrm>
            <a:prstGeom prst="ellipse">
              <a:avLst/>
            </a:prstGeom>
            <a:solidFill>
              <a:srgbClr val="2631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4" name="Elipse 83">
              <a:extLst>
                <a:ext uri="{FF2B5EF4-FFF2-40B4-BE49-F238E27FC236}">
                  <a16:creationId xmlns:a16="http://schemas.microsoft.com/office/drawing/2014/main" id="{D537B4C1-DD15-46B2-80DB-E5685D779612}"/>
                </a:ext>
              </a:extLst>
            </p:cNvPr>
            <p:cNvSpPr/>
            <p:nvPr/>
          </p:nvSpPr>
          <p:spPr>
            <a:xfrm>
              <a:off x="690258" y="1119839"/>
              <a:ext cx="687059" cy="687059"/>
            </a:xfrm>
            <a:prstGeom prst="ellipse">
              <a:avLst/>
            </a:prstGeom>
            <a:solidFill>
              <a:srgbClr val="263143"/>
            </a:solidFill>
            <a:ln w="57150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0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2000</a:t>
              </a:r>
            </a:p>
          </p:txBody>
        </p:sp>
      </p:grpSp>
      <p:sp>
        <p:nvSpPr>
          <p:cNvPr id="85" name="CaixaDeTexto 84">
            <a:extLst>
              <a:ext uri="{FF2B5EF4-FFF2-40B4-BE49-F238E27FC236}">
                <a16:creationId xmlns:a16="http://schemas.microsoft.com/office/drawing/2014/main" id="{90D05AA0-AF9D-4840-A5A1-7E5B012D2500}"/>
              </a:ext>
            </a:extLst>
          </p:cNvPr>
          <p:cNvSpPr txBox="1"/>
          <p:nvPr/>
        </p:nvSpPr>
        <p:spPr>
          <a:xfrm>
            <a:off x="9730266" y="3368126"/>
            <a:ext cx="19071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solidFill>
                  <a:srgbClr val="B1B1A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Título aqui</a:t>
            </a:r>
          </a:p>
        </p:txBody>
      </p:sp>
      <p:sp>
        <p:nvSpPr>
          <p:cNvPr id="86" name="CaixaDeTexto 85">
            <a:extLst>
              <a:ext uri="{FF2B5EF4-FFF2-40B4-BE49-F238E27FC236}">
                <a16:creationId xmlns:a16="http://schemas.microsoft.com/office/drawing/2014/main" id="{3C6CC7FB-8692-47B4-BE03-3AD855AA1E5A}"/>
              </a:ext>
            </a:extLst>
          </p:cNvPr>
          <p:cNvSpPr txBox="1"/>
          <p:nvPr/>
        </p:nvSpPr>
        <p:spPr>
          <a:xfrm>
            <a:off x="9730266" y="3850852"/>
            <a:ext cx="190715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2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7" name="Elipse 86">
            <a:extLst>
              <a:ext uri="{FF2B5EF4-FFF2-40B4-BE49-F238E27FC236}">
                <a16:creationId xmlns:a16="http://schemas.microsoft.com/office/drawing/2014/main" id="{682C998D-813C-4ACF-B66D-2F569DE2097D}"/>
              </a:ext>
            </a:extLst>
          </p:cNvPr>
          <p:cNvSpPr/>
          <p:nvPr/>
        </p:nvSpPr>
        <p:spPr>
          <a:xfrm>
            <a:off x="10555256" y="2894147"/>
            <a:ext cx="257174" cy="257174"/>
          </a:xfrm>
          <a:prstGeom prst="ellipse">
            <a:avLst/>
          </a:prstGeom>
          <a:solidFill>
            <a:srgbClr val="2631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21346239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1BD7B2F7-804E-44D9-9342-7ECB931A52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Inserir aqui o título do slid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4BF51ED5-C8D5-4A9B-9D5E-21F0EC41B6D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erir aqui o subtítulo do slide</a:t>
            </a:r>
          </a:p>
        </p:txBody>
      </p:sp>
      <p:grpSp>
        <p:nvGrpSpPr>
          <p:cNvPr id="21" name="Agrupar 20">
            <a:extLst>
              <a:ext uri="{FF2B5EF4-FFF2-40B4-BE49-F238E27FC236}">
                <a16:creationId xmlns:a16="http://schemas.microsoft.com/office/drawing/2014/main" id="{41CE3D89-5319-4DBC-83EA-F1D3AD4F15E7}"/>
              </a:ext>
            </a:extLst>
          </p:cNvPr>
          <p:cNvGrpSpPr/>
          <p:nvPr/>
        </p:nvGrpSpPr>
        <p:grpSpPr>
          <a:xfrm>
            <a:off x="0" y="1455082"/>
            <a:ext cx="12192000" cy="3534430"/>
            <a:chOff x="0" y="1569382"/>
            <a:chExt cx="12192000" cy="3534430"/>
          </a:xfrm>
        </p:grpSpPr>
        <p:sp>
          <p:nvSpPr>
            <p:cNvPr id="6" name="Arco 5">
              <a:extLst>
                <a:ext uri="{FF2B5EF4-FFF2-40B4-BE49-F238E27FC236}">
                  <a16:creationId xmlns:a16="http://schemas.microsoft.com/office/drawing/2014/main" id="{B77A2CA5-58BA-43B0-92AE-BFD7CBFF8CB4}"/>
                </a:ext>
              </a:extLst>
            </p:cNvPr>
            <p:cNvSpPr/>
            <p:nvPr/>
          </p:nvSpPr>
          <p:spPr>
            <a:xfrm>
              <a:off x="9929485" y="1569382"/>
              <a:ext cx="1767215" cy="1767215"/>
            </a:xfrm>
            <a:prstGeom prst="arc">
              <a:avLst>
                <a:gd name="adj1" fmla="val 16200000"/>
                <a:gd name="adj2" fmla="val 5411089"/>
              </a:avLst>
            </a:prstGeom>
            <a:ln w="57150">
              <a:solidFill>
                <a:srgbClr val="D6D6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" name="Arco 7">
              <a:extLst>
                <a:ext uri="{FF2B5EF4-FFF2-40B4-BE49-F238E27FC236}">
                  <a16:creationId xmlns:a16="http://schemas.microsoft.com/office/drawing/2014/main" id="{89F5D0DE-9B36-4CFD-88F2-6BD3641874AD}"/>
                </a:ext>
              </a:extLst>
            </p:cNvPr>
            <p:cNvSpPr/>
            <p:nvPr/>
          </p:nvSpPr>
          <p:spPr>
            <a:xfrm rot="10800000">
              <a:off x="587375" y="3336597"/>
              <a:ext cx="1767215" cy="1767215"/>
            </a:xfrm>
            <a:prstGeom prst="arc">
              <a:avLst>
                <a:gd name="adj1" fmla="val 16200000"/>
                <a:gd name="adj2" fmla="val 5411089"/>
              </a:avLst>
            </a:prstGeom>
            <a:ln w="57150">
              <a:solidFill>
                <a:srgbClr val="D6D6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cxnSp>
          <p:nvCxnSpPr>
            <p:cNvPr id="10" name="Conector reto 9">
              <a:extLst>
                <a:ext uri="{FF2B5EF4-FFF2-40B4-BE49-F238E27FC236}">
                  <a16:creationId xmlns:a16="http://schemas.microsoft.com/office/drawing/2014/main" id="{04884813-30D2-4E62-BA95-5D6EAC121548}"/>
                </a:ext>
              </a:extLst>
            </p:cNvPr>
            <p:cNvCxnSpPr>
              <a:cxnSpLocks/>
              <a:stCxn id="8" idx="2"/>
              <a:endCxn id="6" idx="2"/>
            </p:cNvCxnSpPr>
            <p:nvPr/>
          </p:nvCxnSpPr>
          <p:spPr>
            <a:xfrm flipV="1">
              <a:off x="1473833" y="3336592"/>
              <a:ext cx="9336409" cy="10"/>
            </a:xfrm>
            <a:prstGeom prst="line">
              <a:avLst/>
            </a:prstGeom>
            <a:ln w="57150">
              <a:solidFill>
                <a:srgbClr val="D6D6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Conector reto 11">
              <a:extLst>
                <a:ext uri="{FF2B5EF4-FFF2-40B4-BE49-F238E27FC236}">
                  <a16:creationId xmlns:a16="http://schemas.microsoft.com/office/drawing/2014/main" id="{FF22B2D5-6E1D-4600-B721-469C164C9F15}"/>
                </a:ext>
              </a:extLst>
            </p:cNvPr>
            <p:cNvCxnSpPr>
              <a:cxnSpLocks/>
              <a:endCxn id="6" idx="0"/>
            </p:cNvCxnSpPr>
            <p:nvPr/>
          </p:nvCxnSpPr>
          <p:spPr>
            <a:xfrm>
              <a:off x="0" y="1569382"/>
              <a:ext cx="10813092" cy="0"/>
            </a:xfrm>
            <a:prstGeom prst="line">
              <a:avLst/>
            </a:prstGeom>
            <a:ln w="57150">
              <a:solidFill>
                <a:srgbClr val="D6D6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ector reto 14">
              <a:extLst>
                <a:ext uri="{FF2B5EF4-FFF2-40B4-BE49-F238E27FC236}">
                  <a16:creationId xmlns:a16="http://schemas.microsoft.com/office/drawing/2014/main" id="{F6B545D9-9BDE-4A91-A54B-5A14C426F932}"/>
                </a:ext>
              </a:extLst>
            </p:cNvPr>
            <p:cNvCxnSpPr>
              <a:cxnSpLocks/>
              <a:stCxn id="8" idx="0"/>
            </p:cNvCxnSpPr>
            <p:nvPr/>
          </p:nvCxnSpPr>
          <p:spPr>
            <a:xfrm>
              <a:off x="1470983" y="5103812"/>
              <a:ext cx="10721017" cy="0"/>
            </a:xfrm>
            <a:prstGeom prst="line">
              <a:avLst/>
            </a:prstGeom>
            <a:ln w="57150">
              <a:solidFill>
                <a:srgbClr val="D6D6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Agrupar 21">
            <a:extLst>
              <a:ext uri="{FF2B5EF4-FFF2-40B4-BE49-F238E27FC236}">
                <a16:creationId xmlns:a16="http://schemas.microsoft.com/office/drawing/2014/main" id="{DF4FF514-17A9-45BF-9394-501C8B890B74}"/>
              </a:ext>
            </a:extLst>
          </p:cNvPr>
          <p:cNvGrpSpPr/>
          <p:nvPr/>
        </p:nvGrpSpPr>
        <p:grpSpPr>
          <a:xfrm>
            <a:off x="1919617" y="1033767"/>
            <a:ext cx="869945" cy="869945"/>
            <a:chOff x="598816" y="1028397"/>
            <a:chExt cx="869945" cy="869945"/>
          </a:xfrm>
        </p:grpSpPr>
        <p:sp>
          <p:nvSpPr>
            <p:cNvPr id="23" name="Elipse 22">
              <a:extLst>
                <a:ext uri="{FF2B5EF4-FFF2-40B4-BE49-F238E27FC236}">
                  <a16:creationId xmlns:a16="http://schemas.microsoft.com/office/drawing/2014/main" id="{DB505E0B-10FD-45E9-A954-4ABDF1D6DF35}"/>
                </a:ext>
              </a:extLst>
            </p:cNvPr>
            <p:cNvSpPr/>
            <p:nvPr/>
          </p:nvSpPr>
          <p:spPr>
            <a:xfrm>
              <a:off x="598816" y="1028397"/>
              <a:ext cx="869945" cy="869945"/>
            </a:xfrm>
            <a:prstGeom prst="ellipse">
              <a:avLst/>
            </a:prstGeom>
            <a:solidFill>
              <a:srgbClr val="2631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4" name="Elipse 23">
              <a:extLst>
                <a:ext uri="{FF2B5EF4-FFF2-40B4-BE49-F238E27FC236}">
                  <a16:creationId xmlns:a16="http://schemas.microsoft.com/office/drawing/2014/main" id="{5F9C00F6-553D-4387-884F-60150F9F3EDE}"/>
                </a:ext>
              </a:extLst>
            </p:cNvPr>
            <p:cNvSpPr/>
            <p:nvPr/>
          </p:nvSpPr>
          <p:spPr>
            <a:xfrm>
              <a:off x="690258" y="1119839"/>
              <a:ext cx="687059" cy="687059"/>
            </a:xfrm>
            <a:prstGeom prst="ellipse">
              <a:avLst/>
            </a:prstGeom>
            <a:solidFill>
              <a:srgbClr val="263143"/>
            </a:solidFill>
            <a:ln w="57150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000" b="1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25" name="Agrupar 24">
            <a:extLst>
              <a:ext uri="{FF2B5EF4-FFF2-40B4-BE49-F238E27FC236}">
                <a16:creationId xmlns:a16="http://schemas.microsoft.com/office/drawing/2014/main" id="{0F2ADC16-EFCC-42EE-9DDD-AE1F7D0DDA1B}"/>
              </a:ext>
            </a:extLst>
          </p:cNvPr>
          <p:cNvGrpSpPr/>
          <p:nvPr/>
        </p:nvGrpSpPr>
        <p:grpSpPr>
          <a:xfrm>
            <a:off x="5661027" y="1033767"/>
            <a:ext cx="869945" cy="869945"/>
            <a:chOff x="598816" y="1028397"/>
            <a:chExt cx="869945" cy="869945"/>
          </a:xfrm>
        </p:grpSpPr>
        <p:sp>
          <p:nvSpPr>
            <p:cNvPr id="26" name="Elipse 25">
              <a:extLst>
                <a:ext uri="{FF2B5EF4-FFF2-40B4-BE49-F238E27FC236}">
                  <a16:creationId xmlns:a16="http://schemas.microsoft.com/office/drawing/2014/main" id="{72A7197C-6D83-48B4-B4BB-00E0C9B147A1}"/>
                </a:ext>
              </a:extLst>
            </p:cNvPr>
            <p:cNvSpPr/>
            <p:nvPr/>
          </p:nvSpPr>
          <p:spPr>
            <a:xfrm>
              <a:off x="598816" y="1028397"/>
              <a:ext cx="869945" cy="869945"/>
            </a:xfrm>
            <a:prstGeom prst="ellipse">
              <a:avLst/>
            </a:prstGeom>
            <a:solidFill>
              <a:srgbClr val="2631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7" name="Elipse 26">
              <a:extLst>
                <a:ext uri="{FF2B5EF4-FFF2-40B4-BE49-F238E27FC236}">
                  <a16:creationId xmlns:a16="http://schemas.microsoft.com/office/drawing/2014/main" id="{03C07C84-CBB3-4D0F-8A78-1DA01D6EC646}"/>
                </a:ext>
              </a:extLst>
            </p:cNvPr>
            <p:cNvSpPr/>
            <p:nvPr/>
          </p:nvSpPr>
          <p:spPr>
            <a:xfrm>
              <a:off x="690258" y="1119839"/>
              <a:ext cx="687059" cy="687059"/>
            </a:xfrm>
            <a:prstGeom prst="ellipse">
              <a:avLst/>
            </a:prstGeom>
            <a:solidFill>
              <a:srgbClr val="263143"/>
            </a:solidFill>
            <a:ln w="57150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000" b="1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28" name="Agrupar 27">
            <a:extLst>
              <a:ext uri="{FF2B5EF4-FFF2-40B4-BE49-F238E27FC236}">
                <a16:creationId xmlns:a16="http://schemas.microsoft.com/office/drawing/2014/main" id="{274EC7E5-9333-4AE6-A5C6-25F402344B18}"/>
              </a:ext>
            </a:extLst>
          </p:cNvPr>
          <p:cNvGrpSpPr/>
          <p:nvPr/>
        </p:nvGrpSpPr>
        <p:grpSpPr>
          <a:xfrm>
            <a:off x="9766302" y="1033767"/>
            <a:ext cx="869945" cy="869945"/>
            <a:chOff x="598816" y="1028397"/>
            <a:chExt cx="869945" cy="869945"/>
          </a:xfrm>
        </p:grpSpPr>
        <p:sp>
          <p:nvSpPr>
            <p:cNvPr id="29" name="Elipse 28">
              <a:extLst>
                <a:ext uri="{FF2B5EF4-FFF2-40B4-BE49-F238E27FC236}">
                  <a16:creationId xmlns:a16="http://schemas.microsoft.com/office/drawing/2014/main" id="{1346B4D4-E5CE-403A-A44F-7D9387C4F193}"/>
                </a:ext>
              </a:extLst>
            </p:cNvPr>
            <p:cNvSpPr/>
            <p:nvPr/>
          </p:nvSpPr>
          <p:spPr>
            <a:xfrm>
              <a:off x="598816" y="1028397"/>
              <a:ext cx="869945" cy="869945"/>
            </a:xfrm>
            <a:prstGeom prst="ellipse">
              <a:avLst/>
            </a:prstGeom>
            <a:solidFill>
              <a:srgbClr val="2631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0" name="Elipse 29">
              <a:extLst>
                <a:ext uri="{FF2B5EF4-FFF2-40B4-BE49-F238E27FC236}">
                  <a16:creationId xmlns:a16="http://schemas.microsoft.com/office/drawing/2014/main" id="{38012D6D-AE87-4122-967C-BD82FCCDD384}"/>
                </a:ext>
              </a:extLst>
            </p:cNvPr>
            <p:cNvSpPr/>
            <p:nvPr/>
          </p:nvSpPr>
          <p:spPr>
            <a:xfrm>
              <a:off x="690258" y="1119839"/>
              <a:ext cx="687059" cy="687059"/>
            </a:xfrm>
            <a:prstGeom prst="ellipse">
              <a:avLst/>
            </a:prstGeom>
            <a:solidFill>
              <a:srgbClr val="263143"/>
            </a:solidFill>
            <a:ln w="57150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000" b="1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31" name="Agrupar 30">
            <a:extLst>
              <a:ext uri="{FF2B5EF4-FFF2-40B4-BE49-F238E27FC236}">
                <a16:creationId xmlns:a16="http://schemas.microsoft.com/office/drawing/2014/main" id="{D31EB79E-3BA1-4436-AD92-77399D02DBD4}"/>
              </a:ext>
            </a:extLst>
          </p:cNvPr>
          <p:cNvGrpSpPr/>
          <p:nvPr/>
        </p:nvGrpSpPr>
        <p:grpSpPr>
          <a:xfrm>
            <a:off x="1919617" y="2795892"/>
            <a:ext cx="869945" cy="869945"/>
            <a:chOff x="598816" y="1028397"/>
            <a:chExt cx="869945" cy="869945"/>
          </a:xfrm>
        </p:grpSpPr>
        <p:sp>
          <p:nvSpPr>
            <p:cNvPr id="32" name="Elipse 31">
              <a:extLst>
                <a:ext uri="{FF2B5EF4-FFF2-40B4-BE49-F238E27FC236}">
                  <a16:creationId xmlns:a16="http://schemas.microsoft.com/office/drawing/2014/main" id="{0ADE90CE-3469-42FA-AD51-022ABA66C4AC}"/>
                </a:ext>
              </a:extLst>
            </p:cNvPr>
            <p:cNvSpPr/>
            <p:nvPr/>
          </p:nvSpPr>
          <p:spPr>
            <a:xfrm>
              <a:off x="598816" y="1028397"/>
              <a:ext cx="869945" cy="869945"/>
            </a:xfrm>
            <a:prstGeom prst="ellipse">
              <a:avLst/>
            </a:prstGeom>
            <a:solidFill>
              <a:srgbClr val="2631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3" name="Elipse 32">
              <a:extLst>
                <a:ext uri="{FF2B5EF4-FFF2-40B4-BE49-F238E27FC236}">
                  <a16:creationId xmlns:a16="http://schemas.microsoft.com/office/drawing/2014/main" id="{93FA66FE-ABBF-43E0-AF90-78B58A4875B6}"/>
                </a:ext>
              </a:extLst>
            </p:cNvPr>
            <p:cNvSpPr/>
            <p:nvPr/>
          </p:nvSpPr>
          <p:spPr>
            <a:xfrm>
              <a:off x="690258" y="1119839"/>
              <a:ext cx="687059" cy="687059"/>
            </a:xfrm>
            <a:prstGeom prst="ellipse">
              <a:avLst/>
            </a:prstGeom>
            <a:solidFill>
              <a:srgbClr val="263143"/>
            </a:solidFill>
            <a:ln w="57150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000" b="1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34" name="Agrupar 33">
            <a:extLst>
              <a:ext uri="{FF2B5EF4-FFF2-40B4-BE49-F238E27FC236}">
                <a16:creationId xmlns:a16="http://schemas.microsoft.com/office/drawing/2014/main" id="{196BCD99-A7B8-4AB5-95B3-6425EB50613B}"/>
              </a:ext>
            </a:extLst>
          </p:cNvPr>
          <p:cNvGrpSpPr/>
          <p:nvPr/>
        </p:nvGrpSpPr>
        <p:grpSpPr>
          <a:xfrm>
            <a:off x="5661027" y="2795892"/>
            <a:ext cx="869945" cy="869945"/>
            <a:chOff x="598816" y="1028397"/>
            <a:chExt cx="869945" cy="869945"/>
          </a:xfrm>
        </p:grpSpPr>
        <p:sp>
          <p:nvSpPr>
            <p:cNvPr id="35" name="Elipse 34">
              <a:extLst>
                <a:ext uri="{FF2B5EF4-FFF2-40B4-BE49-F238E27FC236}">
                  <a16:creationId xmlns:a16="http://schemas.microsoft.com/office/drawing/2014/main" id="{12101073-5B97-45E7-87DF-EC7A1015B266}"/>
                </a:ext>
              </a:extLst>
            </p:cNvPr>
            <p:cNvSpPr/>
            <p:nvPr/>
          </p:nvSpPr>
          <p:spPr>
            <a:xfrm>
              <a:off x="598816" y="1028397"/>
              <a:ext cx="869945" cy="869945"/>
            </a:xfrm>
            <a:prstGeom prst="ellipse">
              <a:avLst/>
            </a:prstGeom>
            <a:solidFill>
              <a:srgbClr val="2631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6" name="Elipse 35">
              <a:extLst>
                <a:ext uri="{FF2B5EF4-FFF2-40B4-BE49-F238E27FC236}">
                  <a16:creationId xmlns:a16="http://schemas.microsoft.com/office/drawing/2014/main" id="{07E13D0C-2766-4774-B4D1-594E00A9C2C9}"/>
                </a:ext>
              </a:extLst>
            </p:cNvPr>
            <p:cNvSpPr/>
            <p:nvPr/>
          </p:nvSpPr>
          <p:spPr>
            <a:xfrm>
              <a:off x="690258" y="1119839"/>
              <a:ext cx="687059" cy="687059"/>
            </a:xfrm>
            <a:prstGeom prst="ellipse">
              <a:avLst/>
            </a:prstGeom>
            <a:solidFill>
              <a:srgbClr val="263143"/>
            </a:solidFill>
            <a:ln w="57150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000" b="1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37" name="Agrupar 36">
            <a:extLst>
              <a:ext uri="{FF2B5EF4-FFF2-40B4-BE49-F238E27FC236}">
                <a16:creationId xmlns:a16="http://schemas.microsoft.com/office/drawing/2014/main" id="{3F637290-3744-4D84-8C67-9DA6BBF04B1B}"/>
              </a:ext>
            </a:extLst>
          </p:cNvPr>
          <p:cNvGrpSpPr/>
          <p:nvPr/>
        </p:nvGrpSpPr>
        <p:grpSpPr>
          <a:xfrm>
            <a:off x="9766302" y="2795892"/>
            <a:ext cx="869945" cy="869945"/>
            <a:chOff x="598816" y="1028397"/>
            <a:chExt cx="869945" cy="869945"/>
          </a:xfrm>
        </p:grpSpPr>
        <p:sp>
          <p:nvSpPr>
            <p:cNvPr id="38" name="Elipse 37">
              <a:extLst>
                <a:ext uri="{FF2B5EF4-FFF2-40B4-BE49-F238E27FC236}">
                  <a16:creationId xmlns:a16="http://schemas.microsoft.com/office/drawing/2014/main" id="{6C8A510C-0987-4F37-B275-FF40639D500B}"/>
                </a:ext>
              </a:extLst>
            </p:cNvPr>
            <p:cNvSpPr/>
            <p:nvPr/>
          </p:nvSpPr>
          <p:spPr>
            <a:xfrm>
              <a:off x="598816" y="1028397"/>
              <a:ext cx="869945" cy="869945"/>
            </a:xfrm>
            <a:prstGeom prst="ellipse">
              <a:avLst/>
            </a:prstGeom>
            <a:solidFill>
              <a:srgbClr val="2631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9" name="Elipse 38">
              <a:extLst>
                <a:ext uri="{FF2B5EF4-FFF2-40B4-BE49-F238E27FC236}">
                  <a16:creationId xmlns:a16="http://schemas.microsoft.com/office/drawing/2014/main" id="{318E5944-71BB-46E9-8219-632ED6EA6D76}"/>
                </a:ext>
              </a:extLst>
            </p:cNvPr>
            <p:cNvSpPr/>
            <p:nvPr/>
          </p:nvSpPr>
          <p:spPr>
            <a:xfrm>
              <a:off x="690258" y="1119839"/>
              <a:ext cx="687059" cy="687059"/>
            </a:xfrm>
            <a:prstGeom prst="ellipse">
              <a:avLst/>
            </a:prstGeom>
            <a:solidFill>
              <a:srgbClr val="263143"/>
            </a:solidFill>
            <a:ln w="57150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000" b="1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40" name="Agrupar 39">
            <a:extLst>
              <a:ext uri="{FF2B5EF4-FFF2-40B4-BE49-F238E27FC236}">
                <a16:creationId xmlns:a16="http://schemas.microsoft.com/office/drawing/2014/main" id="{59C0E204-6302-44C2-8CD4-2BB2397FE85A}"/>
              </a:ext>
            </a:extLst>
          </p:cNvPr>
          <p:cNvGrpSpPr/>
          <p:nvPr/>
        </p:nvGrpSpPr>
        <p:grpSpPr>
          <a:xfrm>
            <a:off x="1919617" y="4567542"/>
            <a:ext cx="869945" cy="869945"/>
            <a:chOff x="598816" y="1028397"/>
            <a:chExt cx="869945" cy="869945"/>
          </a:xfrm>
        </p:grpSpPr>
        <p:sp>
          <p:nvSpPr>
            <p:cNvPr id="41" name="Elipse 40">
              <a:extLst>
                <a:ext uri="{FF2B5EF4-FFF2-40B4-BE49-F238E27FC236}">
                  <a16:creationId xmlns:a16="http://schemas.microsoft.com/office/drawing/2014/main" id="{F78C713A-3E96-4EB9-97E0-D9238D7253F7}"/>
                </a:ext>
              </a:extLst>
            </p:cNvPr>
            <p:cNvSpPr/>
            <p:nvPr/>
          </p:nvSpPr>
          <p:spPr>
            <a:xfrm>
              <a:off x="598816" y="1028397"/>
              <a:ext cx="869945" cy="869945"/>
            </a:xfrm>
            <a:prstGeom prst="ellipse">
              <a:avLst/>
            </a:prstGeom>
            <a:solidFill>
              <a:srgbClr val="2631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2" name="Elipse 41">
              <a:extLst>
                <a:ext uri="{FF2B5EF4-FFF2-40B4-BE49-F238E27FC236}">
                  <a16:creationId xmlns:a16="http://schemas.microsoft.com/office/drawing/2014/main" id="{34679B9C-7362-4583-ABD1-1ED61798824F}"/>
                </a:ext>
              </a:extLst>
            </p:cNvPr>
            <p:cNvSpPr/>
            <p:nvPr/>
          </p:nvSpPr>
          <p:spPr>
            <a:xfrm>
              <a:off x="690258" y="1119839"/>
              <a:ext cx="687059" cy="687059"/>
            </a:xfrm>
            <a:prstGeom prst="ellipse">
              <a:avLst/>
            </a:prstGeom>
            <a:solidFill>
              <a:srgbClr val="263143"/>
            </a:solidFill>
            <a:ln w="57150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000" b="1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43" name="Agrupar 42">
            <a:extLst>
              <a:ext uri="{FF2B5EF4-FFF2-40B4-BE49-F238E27FC236}">
                <a16:creationId xmlns:a16="http://schemas.microsoft.com/office/drawing/2014/main" id="{5AF7F8BF-8E61-47A0-9B32-AF020AE8DC9F}"/>
              </a:ext>
            </a:extLst>
          </p:cNvPr>
          <p:cNvGrpSpPr/>
          <p:nvPr/>
        </p:nvGrpSpPr>
        <p:grpSpPr>
          <a:xfrm>
            <a:off x="5661027" y="4567542"/>
            <a:ext cx="869945" cy="869945"/>
            <a:chOff x="598816" y="1028397"/>
            <a:chExt cx="869945" cy="869945"/>
          </a:xfrm>
        </p:grpSpPr>
        <p:sp>
          <p:nvSpPr>
            <p:cNvPr id="44" name="Elipse 43">
              <a:extLst>
                <a:ext uri="{FF2B5EF4-FFF2-40B4-BE49-F238E27FC236}">
                  <a16:creationId xmlns:a16="http://schemas.microsoft.com/office/drawing/2014/main" id="{15CC97DF-0D22-43E8-9DEE-D9C7CF108B61}"/>
                </a:ext>
              </a:extLst>
            </p:cNvPr>
            <p:cNvSpPr/>
            <p:nvPr/>
          </p:nvSpPr>
          <p:spPr>
            <a:xfrm>
              <a:off x="598816" y="1028397"/>
              <a:ext cx="869945" cy="869945"/>
            </a:xfrm>
            <a:prstGeom prst="ellipse">
              <a:avLst/>
            </a:prstGeom>
            <a:solidFill>
              <a:srgbClr val="2631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5" name="Elipse 44">
              <a:extLst>
                <a:ext uri="{FF2B5EF4-FFF2-40B4-BE49-F238E27FC236}">
                  <a16:creationId xmlns:a16="http://schemas.microsoft.com/office/drawing/2014/main" id="{8F72996A-AD8B-4687-BAD2-0527765CE293}"/>
                </a:ext>
              </a:extLst>
            </p:cNvPr>
            <p:cNvSpPr/>
            <p:nvPr/>
          </p:nvSpPr>
          <p:spPr>
            <a:xfrm>
              <a:off x="690258" y="1119839"/>
              <a:ext cx="687059" cy="687059"/>
            </a:xfrm>
            <a:prstGeom prst="ellipse">
              <a:avLst/>
            </a:prstGeom>
            <a:solidFill>
              <a:srgbClr val="263143"/>
            </a:solidFill>
            <a:ln w="57150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000" b="1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46" name="Agrupar 45">
            <a:extLst>
              <a:ext uri="{FF2B5EF4-FFF2-40B4-BE49-F238E27FC236}">
                <a16:creationId xmlns:a16="http://schemas.microsoft.com/office/drawing/2014/main" id="{8C0D973C-9638-4FFD-A479-FDB49C1C26EC}"/>
              </a:ext>
            </a:extLst>
          </p:cNvPr>
          <p:cNvGrpSpPr/>
          <p:nvPr/>
        </p:nvGrpSpPr>
        <p:grpSpPr>
          <a:xfrm>
            <a:off x="9766302" y="4567542"/>
            <a:ext cx="869945" cy="869945"/>
            <a:chOff x="598816" y="1028397"/>
            <a:chExt cx="869945" cy="869945"/>
          </a:xfrm>
        </p:grpSpPr>
        <p:sp>
          <p:nvSpPr>
            <p:cNvPr id="47" name="Elipse 46">
              <a:extLst>
                <a:ext uri="{FF2B5EF4-FFF2-40B4-BE49-F238E27FC236}">
                  <a16:creationId xmlns:a16="http://schemas.microsoft.com/office/drawing/2014/main" id="{D62404C0-06CF-4081-954D-B89331C1DCE1}"/>
                </a:ext>
              </a:extLst>
            </p:cNvPr>
            <p:cNvSpPr/>
            <p:nvPr/>
          </p:nvSpPr>
          <p:spPr>
            <a:xfrm>
              <a:off x="598816" y="1028397"/>
              <a:ext cx="869945" cy="869945"/>
            </a:xfrm>
            <a:prstGeom prst="ellipse">
              <a:avLst/>
            </a:prstGeom>
            <a:solidFill>
              <a:srgbClr val="2631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8" name="Elipse 47">
              <a:extLst>
                <a:ext uri="{FF2B5EF4-FFF2-40B4-BE49-F238E27FC236}">
                  <a16:creationId xmlns:a16="http://schemas.microsoft.com/office/drawing/2014/main" id="{E1970D13-845D-4FA1-A715-F05913E9F190}"/>
                </a:ext>
              </a:extLst>
            </p:cNvPr>
            <p:cNvSpPr/>
            <p:nvPr/>
          </p:nvSpPr>
          <p:spPr>
            <a:xfrm>
              <a:off x="690258" y="1119839"/>
              <a:ext cx="687059" cy="687059"/>
            </a:xfrm>
            <a:prstGeom prst="ellipse">
              <a:avLst/>
            </a:prstGeom>
            <a:solidFill>
              <a:srgbClr val="263143"/>
            </a:solidFill>
            <a:ln w="57150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000" b="1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50" name="CaixaDeTexto 49">
            <a:extLst>
              <a:ext uri="{FF2B5EF4-FFF2-40B4-BE49-F238E27FC236}">
                <a16:creationId xmlns:a16="http://schemas.microsoft.com/office/drawing/2014/main" id="{B6A57B85-FCB6-4698-86DE-673097B91457}"/>
              </a:ext>
            </a:extLst>
          </p:cNvPr>
          <p:cNvSpPr txBox="1"/>
          <p:nvPr/>
        </p:nvSpPr>
        <p:spPr>
          <a:xfrm>
            <a:off x="1354706" y="2033389"/>
            <a:ext cx="199976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incididun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1" name="CaixaDeTexto 50">
            <a:extLst>
              <a:ext uri="{FF2B5EF4-FFF2-40B4-BE49-F238E27FC236}">
                <a16:creationId xmlns:a16="http://schemas.microsoft.com/office/drawing/2014/main" id="{8039076F-C39C-4D21-BDB4-CCF0AD791443}"/>
              </a:ext>
            </a:extLst>
          </p:cNvPr>
          <p:cNvSpPr txBox="1"/>
          <p:nvPr/>
        </p:nvSpPr>
        <p:spPr>
          <a:xfrm>
            <a:off x="5096116" y="2033389"/>
            <a:ext cx="199976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incididun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2" name="CaixaDeTexto 51">
            <a:extLst>
              <a:ext uri="{FF2B5EF4-FFF2-40B4-BE49-F238E27FC236}">
                <a16:creationId xmlns:a16="http://schemas.microsoft.com/office/drawing/2014/main" id="{B66E90D7-D67E-49CB-87FA-5404EB69E7F3}"/>
              </a:ext>
            </a:extLst>
          </p:cNvPr>
          <p:cNvSpPr txBox="1"/>
          <p:nvPr/>
        </p:nvSpPr>
        <p:spPr>
          <a:xfrm>
            <a:off x="9201391" y="2033389"/>
            <a:ext cx="199976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incididun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3" name="CaixaDeTexto 52">
            <a:extLst>
              <a:ext uri="{FF2B5EF4-FFF2-40B4-BE49-F238E27FC236}">
                <a16:creationId xmlns:a16="http://schemas.microsoft.com/office/drawing/2014/main" id="{E1087F04-2922-48CA-96D4-B4D815D8993A}"/>
              </a:ext>
            </a:extLst>
          </p:cNvPr>
          <p:cNvSpPr txBox="1"/>
          <p:nvPr/>
        </p:nvSpPr>
        <p:spPr>
          <a:xfrm>
            <a:off x="1354706" y="3834995"/>
            <a:ext cx="199976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incididun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4" name="CaixaDeTexto 53">
            <a:extLst>
              <a:ext uri="{FF2B5EF4-FFF2-40B4-BE49-F238E27FC236}">
                <a16:creationId xmlns:a16="http://schemas.microsoft.com/office/drawing/2014/main" id="{5C3A62A2-D6A2-4574-9954-CF5159EF28EB}"/>
              </a:ext>
            </a:extLst>
          </p:cNvPr>
          <p:cNvSpPr txBox="1"/>
          <p:nvPr/>
        </p:nvSpPr>
        <p:spPr>
          <a:xfrm>
            <a:off x="5096116" y="3834995"/>
            <a:ext cx="199976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incididun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5" name="CaixaDeTexto 54">
            <a:extLst>
              <a:ext uri="{FF2B5EF4-FFF2-40B4-BE49-F238E27FC236}">
                <a16:creationId xmlns:a16="http://schemas.microsoft.com/office/drawing/2014/main" id="{0E654E0C-9C35-4580-B548-9AFCD4E64681}"/>
              </a:ext>
            </a:extLst>
          </p:cNvPr>
          <p:cNvSpPr txBox="1"/>
          <p:nvPr/>
        </p:nvSpPr>
        <p:spPr>
          <a:xfrm>
            <a:off x="9201391" y="3834995"/>
            <a:ext cx="199976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incididun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6" name="CaixaDeTexto 55">
            <a:extLst>
              <a:ext uri="{FF2B5EF4-FFF2-40B4-BE49-F238E27FC236}">
                <a16:creationId xmlns:a16="http://schemas.microsoft.com/office/drawing/2014/main" id="{7415CDAF-44B2-43AA-9620-F88B24F30927}"/>
              </a:ext>
            </a:extLst>
          </p:cNvPr>
          <p:cNvSpPr txBox="1"/>
          <p:nvPr/>
        </p:nvSpPr>
        <p:spPr>
          <a:xfrm>
            <a:off x="1354706" y="5578096"/>
            <a:ext cx="199976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incididun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7" name="CaixaDeTexto 56">
            <a:extLst>
              <a:ext uri="{FF2B5EF4-FFF2-40B4-BE49-F238E27FC236}">
                <a16:creationId xmlns:a16="http://schemas.microsoft.com/office/drawing/2014/main" id="{20A01C93-CAE4-4090-9679-E5958CF7D428}"/>
              </a:ext>
            </a:extLst>
          </p:cNvPr>
          <p:cNvSpPr txBox="1"/>
          <p:nvPr/>
        </p:nvSpPr>
        <p:spPr>
          <a:xfrm>
            <a:off x="5096116" y="5578096"/>
            <a:ext cx="199976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incididun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8" name="CaixaDeTexto 57">
            <a:extLst>
              <a:ext uri="{FF2B5EF4-FFF2-40B4-BE49-F238E27FC236}">
                <a16:creationId xmlns:a16="http://schemas.microsoft.com/office/drawing/2014/main" id="{73A83F66-C9F9-444F-8740-4C52B95BEABD}"/>
              </a:ext>
            </a:extLst>
          </p:cNvPr>
          <p:cNvSpPr txBox="1"/>
          <p:nvPr/>
        </p:nvSpPr>
        <p:spPr>
          <a:xfrm>
            <a:off x="9201391" y="5578096"/>
            <a:ext cx="199976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ipsum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lit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ed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o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iusmod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empor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pt-BR" sz="1000" b="0" i="0" dirty="0" err="1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incididun</a:t>
            </a:r>
            <a:r>
              <a:rPr lang="pt-BR" sz="10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pt-BR" sz="1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59" name="Gráfico 2">
            <a:extLst>
              <a:ext uri="{FF2B5EF4-FFF2-40B4-BE49-F238E27FC236}">
                <a16:creationId xmlns:a16="http://schemas.microsoft.com/office/drawing/2014/main" id="{9666EBCD-E642-4DE0-A087-52292716CE54}"/>
              </a:ext>
            </a:extLst>
          </p:cNvPr>
          <p:cNvGrpSpPr/>
          <p:nvPr/>
        </p:nvGrpSpPr>
        <p:grpSpPr>
          <a:xfrm>
            <a:off x="2206966" y="4821501"/>
            <a:ext cx="282766" cy="393084"/>
            <a:chOff x="2297384" y="5772187"/>
            <a:chExt cx="286760" cy="398636"/>
          </a:xfrm>
          <a:solidFill>
            <a:schemeClr val="bg1"/>
          </a:solidFill>
        </p:grpSpPr>
        <p:sp>
          <p:nvSpPr>
            <p:cNvPr id="60" name="Forma Livre: Forma 59">
              <a:extLst>
                <a:ext uri="{FF2B5EF4-FFF2-40B4-BE49-F238E27FC236}">
                  <a16:creationId xmlns:a16="http://schemas.microsoft.com/office/drawing/2014/main" id="{F42F80F4-75FA-4CCE-B895-1F3BCC1BB2C9}"/>
                </a:ext>
              </a:extLst>
            </p:cNvPr>
            <p:cNvSpPr/>
            <p:nvPr/>
          </p:nvSpPr>
          <p:spPr>
            <a:xfrm>
              <a:off x="2297384" y="5772187"/>
              <a:ext cx="286760" cy="398636"/>
            </a:xfrm>
            <a:custGeom>
              <a:avLst/>
              <a:gdLst>
                <a:gd name="connsiteX0" fmla="*/ 143380 w 286760"/>
                <a:gd name="connsiteY0" fmla="*/ 54009 h 398636"/>
                <a:gd name="connsiteX1" fmla="*/ 252684 w 286760"/>
                <a:gd name="connsiteY1" fmla="*/ 237896 h 398636"/>
                <a:gd name="connsiteX2" fmla="*/ 144023 w 286760"/>
                <a:gd name="connsiteY2" fmla="*/ 364559 h 398636"/>
                <a:gd name="connsiteX3" fmla="*/ 34720 w 286760"/>
                <a:gd name="connsiteY3" fmla="*/ 237896 h 398636"/>
                <a:gd name="connsiteX4" fmla="*/ 143380 w 286760"/>
                <a:gd name="connsiteY4" fmla="*/ 54009 h 398636"/>
                <a:gd name="connsiteX5" fmla="*/ 143380 w 286760"/>
                <a:gd name="connsiteY5" fmla="*/ 0 h 398636"/>
                <a:gd name="connsiteX6" fmla="*/ 143380 w 286760"/>
                <a:gd name="connsiteY6" fmla="*/ 1929 h 398636"/>
                <a:gd name="connsiteX7" fmla="*/ 143380 w 286760"/>
                <a:gd name="connsiteY7" fmla="*/ 0 h 398636"/>
                <a:gd name="connsiteX8" fmla="*/ 143380 w 286760"/>
                <a:gd name="connsiteY8" fmla="*/ 0 h 398636"/>
                <a:gd name="connsiteX9" fmla="*/ 143380 w 286760"/>
                <a:gd name="connsiteY9" fmla="*/ 1929 h 398636"/>
                <a:gd name="connsiteX10" fmla="*/ 0 w 286760"/>
                <a:gd name="connsiteY10" fmla="*/ 237896 h 398636"/>
                <a:gd name="connsiteX11" fmla="*/ 143380 w 286760"/>
                <a:gd name="connsiteY11" fmla="*/ 398636 h 398636"/>
                <a:gd name="connsiteX12" fmla="*/ 286761 w 286760"/>
                <a:gd name="connsiteY12" fmla="*/ 237896 h 398636"/>
                <a:gd name="connsiteX13" fmla="*/ 143380 w 286760"/>
                <a:gd name="connsiteY13" fmla="*/ 1929 h 398636"/>
                <a:gd name="connsiteX14" fmla="*/ 143380 w 286760"/>
                <a:gd name="connsiteY14" fmla="*/ 1929 h 398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86760" h="398636">
                  <a:moveTo>
                    <a:pt x="143380" y="54009"/>
                  </a:moveTo>
                  <a:cubicBezTo>
                    <a:pt x="180029" y="94515"/>
                    <a:pt x="252684" y="177457"/>
                    <a:pt x="252684" y="237896"/>
                  </a:cubicBezTo>
                  <a:cubicBezTo>
                    <a:pt x="252684" y="286761"/>
                    <a:pt x="223108" y="363916"/>
                    <a:pt x="144023" y="364559"/>
                  </a:cubicBezTo>
                  <a:cubicBezTo>
                    <a:pt x="64296" y="363916"/>
                    <a:pt x="34720" y="286761"/>
                    <a:pt x="34720" y="237896"/>
                  </a:cubicBezTo>
                  <a:cubicBezTo>
                    <a:pt x="34720" y="177457"/>
                    <a:pt x="106732" y="94515"/>
                    <a:pt x="143380" y="54009"/>
                  </a:cubicBezTo>
                  <a:moveTo>
                    <a:pt x="143380" y="0"/>
                  </a:moveTo>
                  <a:cubicBezTo>
                    <a:pt x="142737" y="0"/>
                    <a:pt x="142737" y="643"/>
                    <a:pt x="143380" y="1929"/>
                  </a:cubicBezTo>
                  <a:cubicBezTo>
                    <a:pt x="144023" y="643"/>
                    <a:pt x="144023" y="0"/>
                    <a:pt x="143380" y="0"/>
                  </a:cubicBezTo>
                  <a:lnTo>
                    <a:pt x="143380" y="0"/>
                  </a:lnTo>
                  <a:close/>
                  <a:moveTo>
                    <a:pt x="143380" y="1929"/>
                  </a:moveTo>
                  <a:cubicBezTo>
                    <a:pt x="135665" y="17360"/>
                    <a:pt x="0" y="140166"/>
                    <a:pt x="0" y="237896"/>
                  </a:cubicBezTo>
                  <a:cubicBezTo>
                    <a:pt x="0" y="311194"/>
                    <a:pt x="46936" y="397350"/>
                    <a:pt x="143380" y="398636"/>
                  </a:cubicBezTo>
                  <a:cubicBezTo>
                    <a:pt x="239182" y="397993"/>
                    <a:pt x="286761" y="311194"/>
                    <a:pt x="286761" y="237896"/>
                  </a:cubicBezTo>
                  <a:cubicBezTo>
                    <a:pt x="286761" y="140166"/>
                    <a:pt x="151096" y="17360"/>
                    <a:pt x="143380" y="1929"/>
                  </a:cubicBezTo>
                  <a:lnTo>
                    <a:pt x="143380" y="1929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61" name="Forma Livre: Forma 60">
              <a:extLst>
                <a:ext uri="{FF2B5EF4-FFF2-40B4-BE49-F238E27FC236}">
                  <a16:creationId xmlns:a16="http://schemas.microsoft.com/office/drawing/2014/main" id="{EEF8E0DE-BEFD-448A-B5C2-7E7DE70DC6FD}"/>
                </a:ext>
              </a:extLst>
            </p:cNvPr>
            <p:cNvSpPr/>
            <p:nvPr/>
          </p:nvSpPr>
          <p:spPr>
            <a:xfrm>
              <a:off x="2356536" y="5996581"/>
              <a:ext cx="91300" cy="106088"/>
            </a:xfrm>
            <a:custGeom>
              <a:avLst/>
              <a:gdLst>
                <a:gd name="connsiteX0" fmla="*/ 84228 w 91300"/>
                <a:gd name="connsiteY0" fmla="*/ 106089 h 106088"/>
                <a:gd name="connsiteX1" fmla="*/ 84228 w 91300"/>
                <a:gd name="connsiteY1" fmla="*/ 106089 h 106088"/>
                <a:gd name="connsiteX2" fmla="*/ 0 w 91300"/>
                <a:gd name="connsiteY2" fmla="*/ 7072 h 106088"/>
                <a:gd name="connsiteX3" fmla="*/ 7073 w 91300"/>
                <a:gd name="connsiteY3" fmla="*/ 0 h 106088"/>
                <a:gd name="connsiteX4" fmla="*/ 7073 w 91300"/>
                <a:gd name="connsiteY4" fmla="*/ 0 h 106088"/>
                <a:gd name="connsiteX5" fmla="*/ 14145 w 91300"/>
                <a:gd name="connsiteY5" fmla="*/ 7072 h 106088"/>
                <a:gd name="connsiteX6" fmla="*/ 84228 w 91300"/>
                <a:gd name="connsiteY6" fmla="*/ 91943 h 106088"/>
                <a:gd name="connsiteX7" fmla="*/ 91301 w 91300"/>
                <a:gd name="connsiteY7" fmla="*/ 99016 h 106088"/>
                <a:gd name="connsiteX8" fmla="*/ 84228 w 91300"/>
                <a:gd name="connsiteY8" fmla="*/ 106089 h 106088"/>
                <a:gd name="connsiteX9" fmla="*/ 84228 w 91300"/>
                <a:gd name="connsiteY9" fmla="*/ 106089 h 106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1300" h="106088">
                  <a:moveTo>
                    <a:pt x="84228" y="106089"/>
                  </a:moveTo>
                  <a:cubicBezTo>
                    <a:pt x="84228" y="106089"/>
                    <a:pt x="84228" y="106089"/>
                    <a:pt x="84228" y="106089"/>
                  </a:cubicBezTo>
                  <a:cubicBezTo>
                    <a:pt x="22504" y="105445"/>
                    <a:pt x="0" y="46293"/>
                    <a:pt x="0" y="7072"/>
                  </a:cubicBezTo>
                  <a:cubicBezTo>
                    <a:pt x="0" y="3215"/>
                    <a:pt x="3215" y="0"/>
                    <a:pt x="7073" y="0"/>
                  </a:cubicBezTo>
                  <a:lnTo>
                    <a:pt x="7073" y="0"/>
                  </a:lnTo>
                  <a:cubicBezTo>
                    <a:pt x="10930" y="0"/>
                    <a:pt x="14145" y="3215"/>
                    <a:pt x="14145" y="7072"/>
                  </a:cubicBezTo>
                  <a:cubicBezTo>
                    <a:pt x="14145" y="40506"/>
                    <a:pt x="32791" y="91300"/>
                    <a:pt x="84228" y="91943"/>
                  </a:cubicBezTo>
                  <a:cubicBezTo>
                    <a:pt x="88086" y="91943"/>
                    <a:pt x="91301" y="95158"/>
                    <a:pt x="91301" y="99016"/>
                  </a:cubicBezTo>
                  <a:cubicBezTo>
                    <a:pt x="91301" y="102874"/>
                    <a:pt x="88086" y="106089"/>
                    <a:pt x="84228" y="106089"/>
                  </a:cubicBezTo>
                  <a:lnTo>
                    <a:pt x="84228" y="106089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62" name="Gráfico 2">
            <a:extLst>
              <a:ext uri="{FF2B5EF4-FFF2-40B4-BE49-F238E27FC236}">
                <a16:creationId xmlns:a16="http://schemas.microsoft.com/office/drawing/2014/main" id="{A36E3D53-EA8E-4368-B75B-AEF21870493A}"/>
              </a:ext>
            </a:extLst>
          </p:cNvPr>
          <p:cNvGrpSpPr/>
          <p:nvPr/>
        </p:nvGrpSpPr>
        <p:grpSpPr>
          <a:xfrm>
            <a:off x="5873638" y="4905634"/>
            <a:ext cx="458471" cy="192104"/>
            <a:chOff x="4293414" y="5873775"/>
            <a:chExt cx="464946" cy="194817"/>
          </a:xfrm>
          <a:solidFill>
            <a:schemeClr val="bg1"/>
          </a:solidFill>
        </p:grpSpPr>
        <p:sp>
          <p:nvSpPr>
            <p:cNvPr id="63" name="Forma Livre: Forma 62">
              <a:extLst>
                <a:ext uri="{FF2B5EF4-FFF2-40B4-BE49-F238E27FC236}">
                  <a16:creationId xmlns:a16="http://schemas.microsoft.com/office/drawing/2014/main" id="{39BD02C8-0A41-4722-855B-A75F711182FC}"/>
                </a:ext>
              </a:extLst>
            </p:cNvPr>
            <p:cNvSpPr/>
            <p:nvPr/>
          </p:nvSpPr>
          <p:spPr>
            <a:xfrm>
              <a:off x="4295708" y="5873775"/>
              <a:ext cx="459074" cy="194817"/>
            </a:xfrm>
            <a:custGeom>
              <a:avLst/>
              <a:gdLst>
                <a:gd name="connsiteX0" fmla="*/ 366488 w 459074"/>
                <a:gd name="connsiteY0" fmla="*/ 34077 h 194817"/>
                <a:gd name="connsiteX1" fmla="*/ 403137 w 459074"/>
                <a:gd name="connsiteY1" fmla="*/ 45651 h 194817"/>
                <a:gd name="connsiteX2" fmla="*/ 415996 w 459074"/>
                <a:gd name="connsiteY2" fmla="*/ 55938 h 194817"/>
                <a:gd name="connsiteX3" fmla="*/ 425641 w 459074"/>
                <a:gd name="connsiteY3" fmla="*/ 53366 h 194817"/>
                <a:gd name="connsiteX4" fmla="*/ 425641 w 459074"/>
                <a:gd name="connsiteY4" fmla="*/ 71369 h 194817"/>
                <a:gd name="connsiteX5" fmla="*/ 421783 w 459074"/>
                <a:gd name="connsiteY5" fmla="*/ 75869 h 194817"/>
                <a:gd name="connsiteX6" fmla="*/ 419854 w 459074"/>
                <a:gd name="connsiteY6" fmla="*/ 83585 h 194817"/>
                <a:gd name="connsiteX7" fmla="*/ 418568 w 459074"/>
                <a:gd name="connsiteY7" fmla="*/ 88086 h 194817"/>
                <a:gd name="connsiteX8" fmla="*/ 418568 w 459074"/>
                <a:gd name="connsiteY8" fmla="*/ 91301 h 194817"/>
                <a:gd name="connsiteX9" fmla="*/ 358130 w 459074"/>
                <a:gd name="connsiteY9" fmla="*/ 160740 h 194817"/>
                <a:gd name="connsiteX10" fmla="*/ 351700 w 459074"/>
                <a:gd name="connsiteY10" fmla="*/ 160098 h 194817"/>
                <a:gd name="connsiteX11" fmla="*/ 280331 w 459074"/>
                <a:gd name="connsiteY11" fmla="*/ 97730 h 194817"/>
                <a:gd name="connsiteX12" fmla="*/ 275831 w 459074"/>
                <a:gd name="connsiteY12" fmla="*/ 83585 h 194817"/>
                <a:gd name="connsiteX13" fmla="*/ 282903 w 459074"/>
                <a:gd name="connsiteY13" fmla="*/ 71369 h 194817"/>
                <a:gd name="connsiteX14" fmla="*/ 283546 w 459074"/>
                <a:gd name="connsiteY14" fmla="*/ 70083 h 194817"/>
                <a:gd name="connsiteX15" fmla="*/ 284189 w 459074"/>
                <a:gd name="connsiteY15" fmla="*/ 69440 h 194817"/>
                <a:gd name="connsiteX16" fmla="*/ 351057 w 459074"/>
                <a:gd name="connsiteY16" fmla="*/ 34720 h 194817"/>
                <a:gd name="connsiteX17" fmla="*/ 366488 w 459074"/>
                <a:gd name="connsiteY17" fmla="*/ 34077 h 194817"/>
                <a:gd name="connsiteX18" fmla="*/ 93872 w 459074"/>
                <a:gd name="connsiteY18" fmla="*/ 34077 h 194817"/>
                <a:gd name="connsiteX19" fmla="*/ 109946 w 459074"/>
                <a:gd name="connsiteY19" fmla="*/ 35363 h 194817"/>
                <a:gd name="connsiteX20" fmla="*/ 176814 w 459074"/>
                <a:gd name="connsiteY20" fmla="*/ 70083 h 194817"/>
                <a:gd name="connsiteX21" fmla="*/ 177457 w 459074"/>
                <a:gd name="connsiteY21" fmla="*/ 71369 h 194817"/>
                <a:gd name="connsiteX22" fmla="*/ 185173 w 459074"/>
                <a:gd name="connsiteY22" fmla="*/ 84228 h 194817"/>
                <a:gd name="connsiteX23" fmla="*/ 181315 w 459074"/>
                <a:gd name="connsiteY23" fmla="*/ 98373 h 194817"/>
                <a:gd name="connsiteX24" fmla="*/ 109946 w 459074"/>
                <a:gd name="connsiteY24" fmla="*/ 160740 h 194817"/>
                <a:gd name="connsiteX25" fmla="*/ 103517 w 459074"/>
                <a:gd name="connsiteY25" fmla="*/ 161384 h 194817"/>
                <a:gd name="connsiteX26" fmla="*/ 42435 w 459074"/>
                <a:gd name="connsiteY26" fmla="*/ 90658 h 194817"/>
                <a:gd name="connsiteX27" fmla="*/ 42435 w 459074"/>
                <a:gd name="connsiteY27" fmla="*/ 89372 h 194817"/>
                <a:gd name="connsiteX28" fmla="*/ 42435 w 459074"/>
                <a:gd name="connsiteY28" fmla="*/ 88086 h 194817"/>
                <a:gd name="connsiteX29" fmla="*/ 41149 w 459074"/>
                <a:gd name="connsiteY29" fmla="*/ 77799 h 194817"/>
                <a:gd name="connsiteX30" fmla="*/ 35363 w 459074"/>
                <a:gd name="connsiteY30" fmla="*/ 71369 h 194817"/>
                <a:gd name="connsiteX31" fmla="*/ 35363 w 459074"/>
                <a:gd name="connsiteY31" fmla="*/ 53366 h 194817"/>
                <a:gd name="connsiteX32" fmla="*/ 45007 w 459074"/>
                <a:gd name="connsiteY32" fmla="*/ 55938 h 194817"/>
                <a:gd name="connsiteX33" fmla="*/ 57867 w 459074"/>
                <a:gd name="connsiteY33" fmla="*/ 45651 h 194817"/>
                <a:gd name="connsiteX34" fmla="*/ 93872 w 459074"/>
                <a:gd name="connsiteY34" fmla="*/ 34077 h 194817"/>
                <a:gd name="connsiteX35" fmla="*/ 366488 w 459074"/>
                <a:gd name="connsiteY35" fmla="*/ 0 h 194817"/>
                <a:gd name="connsiteX36" fmla="*/ 344627 w 459074"/>
                <a:gd name="connsiteY36" fmla="*/ 1929 h 194817"/>
                <a:gd name="connsiteX37" fmla="*/ 255256 w 459074"/>
                <a:gd name="connsiteY37" fmla="*/ 50794 h 194817"/>
                <a:gd name="connsiteX38" fmla="*/ 253327 w 459074"/>
                <a:gd name="connsiteY38" fmla="*/ 54009 h 194817"/>
                <a:gd name="connsiteX39" fmla="*/ 250112 w 459074"/>
                <a:gd name="connsiteY39" fmla="*/ 53366 h 194817"/>
                <a:gd name="connsiteX40" fmla="*/ 209605 w 459074"/>
                <a:gd name="connsiteY40" fmla="*/ 53366 h 194817"/>
                <a:gd name="connsiteX41" fmla="*/ 206390 w 459074"/>
                <a:gd name="connsiteY41" fmla="*/ 54009 h 194817"/>
                <a:gd name="connsiteX42" fmla="*/ 204462 w 459074"/>
                <a:gd name="connsiteY42" fmla="*/ 50794 h 194817"/>
                <a:gd name="connsiteX43" fmla="*/ 115090 w 459074"/>
                <a:gd name="connsiteY43" fmla="*/ 1929 h 194817"/>
                <a:gd name="connsiteX44" fmla="*/ 93229 w 459074"/>
                <a:gd name="connsiteY44" fmla="*/ 0 h 194817"/>
                <a:gd name="connsiteX45" fmla="*/ 35363 w 459074"/>
                <a:gd name="connsiteY45" fmla="*/ 18646 h 194817"/>
                <a:gd name="connsiteX46" fmla="*/ 28933 w 459074"/>
                <a:gd name="connsiteY46" fmla="*/ 18003 h 194817"/>
                <a:gd name="connsiteX47" fmla="*/ 0 w 459074"/>
                <a:gd name="connsiteY47" fmla="*/ 46936 h 194817"/>
                <a:gd name="connsiteX48" fmla="*/ 0 w 459074"/>
                <a:gd name="connsiteY48" fmla="*/ 73941 h 194817"/>
                <a:gd name="connsiteX49" fmla="*/ 7716 w 459074"/>
                <a:gd name="connsiteY49" fmla="*/ 93229 h 194817"/>
                <a:gd name="connsiteX50" fmla="*/ 7716 w 459074"/>
                <a:gd name="connsiteY50" fmla="*/ 93873 h 194817"/>
                <a:gd name="connsiteX51" fmla="*/ 102231 w 459074"/>
                <a:gd name="connsiteY51" fmla="*/ 194817 h 194817"/>
                <a:gd name="connsiteX52" fmla="*/ 113804 w 459074"/>
                <a:gd name="connsiteY52" fmla="*/ 194174 h 194817"/>
                <a:gd name="connsiteX53" fmla="*/ 212820 w 459074"/>
                <a:gd name="connsiteY53" fmla="*/ 107375 h 194817"/>
                <a:gd name="connsiteX54" fmla="*/ 246254 w 459074"/>
                <a:gd name="connsiteY54" fmla="*/ 107375 h 194817"/>
                <a:gd name="connsiteX55" fmla="*/ 345270 w 459074"/>
                <a:gd name="connsiteY55" fmla="*/ 194174 h 194817"/>
                <a:gd name="connsiteX56" fmla="*/ 356844 w 459074"/>
                <a:gd name="connsiteY56" fmla="*/ 194817 h 194817"/>
                <a:gd name="connsiteX57" fmla="*/ 451359 w 459074"/>
                <a:gd name="connsiteY57" fmla="*/ 93873 h 194817"/>
                <a:gd name="connsiteX58" fmla="*/ 451359 w 459074"/>
                <a:gd name="connsiteY58" fmla="*/ 93229 h 194817"/>
                <a:gd name="connsiteX59" fmla="*/ 459075 w 459074"/>
                <a:gd name="connsiteY59" fmla="*/ 73941 h 194817"/>
                <a:gd name="connsiteX60" fmla="*/ 459075 w 459074"/>
                <a:gd name="connsiteY60" fmla="*/ 46936 h 194817"/>
                <a:gd name="connsiteX61" fmla="*/ 430141 w 459074"/>
                <a:gd name="connsiteY61" fmla="*/ 18003 h 194817"/>
                <a:gd name="connsiteX62" fmla="*/ 423712 w 459074"/>
                <a:gd name="connsiteY62" fmla="*/ 18646 h 194817"/>
                <a:gd name="connsiteX63" fmla="*/ 366488 w 459074"/>
                <a:gd name="connsiteY63" fmla="*/ 0 h 194817"/>
                <a:gd name="connsiteX64" fmla="*/ 366488 w 459074"/>
                <a:gd name="connsiteY64" fmla="*/ 0 h 194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459074" h="194817">
                  <a:moveTo>
                    <a:pt x="366488" y="34077"/>
                  </a:moveTo>
                  <a:cubicBezTo>
                    <a:pt x="381276" y="34077"/>
                    <a:pt x="394135" y="37935"/>
                    <a:pt x="403137" y="45651"/>
                  </a:cubicBezTo>
                  <a:lnTo>
                    <a:pt x="415996" y="55938"/>
                  </a:lnTo>
                  <a:lnTo>
                    <a:pt x="425641" y="53366"/>
                  </a:lnTo>
                  <a:lnTo>
                    <a:pt x="425641" y="71369"/>
                  </a:lnTo>
                  <a:lnTo>
                    <a:pt x="421783" y="75869"/>
                  </a:lnTo>
                  <a:lnTo>
                    <a:pt x="419854" y="83585"/>
                  </a:lnTo>
                  <a:lnTo>
                    <a:pt x="418568" y="88086"/>
                  </a:lnTo>
                  <a:lnTo>
                    <a:pt x="418568" y="91301"/>
                  </a:lnTo>
                  <a:cubicBezTo>
                    <a:pt x="413424" y="129878"/>
                    <a:pt x="386420" y="160740"/>
                    <a:pt x="358130" y="160740"/>
                  </a:cubicBezTo>
                  <a:cubicBezTo>
                    <a:pt x="356201" y="160740"/>
                    <a:pt x="353629" y="160740"/>
                    <a:pt x="351700" y="160098"/>
                  </a:cubicBezTo>
                  <a:cubicBezTo>
                    <a:pt x="320838" y="155597"/>
                    <a:pt x="288690" y="127306"/>
                    <a:pt x="280331" y="97730"/>
                  </a:cubicBezTo>
                  <a:lnTo>
                    <a:pt x="275831" y="83585"/>
                  </a:lnTo>
                  <a:lnTo>
                    <a:pt x="282903" y="71369"/>
                  </a:lnTo>
                  <a:lnTo>
                    <a:pt x="283546" y="70083"/>
                  </a:lnTo>
                  <a:lnTo>
                    <a:pt x="284189" y="69440"/>
                  </a:lnTo>
                  <a:cubicBezTo>
                    <a:pt x="295762" y="52723"/>
                    <a:pt x="320195" y="39864"/>
                    <a:pt x="351057" y="34720"/>
                  </a:cubicBezTo>
                  <a:cubicBezTo>
                    <a:pt x="356201" y="34720"/>
                    <a:pt x="361344" y="34077"/>
                    <a:pt x="366488" y="34077"/>
                  </a:cubicBezTo>
                  <a:moveTo>
                    <a:pt x="93872" y="34077"/>
                  </a:moveTo>
                  <a:cubicBezTo>
                    <a:pt x="99016" y="34077"/>
                    <a:pt x="104160" y="34720"/>
                    <a:pt x="109946" y="35363"/>
                  </a:cubicBezTo>
                  <a:cubicBezTo>
                    <a:pt x="140166" y="40506"/>
                    <a:pt x="165241" y="53366"/>
                    <a:pt x="176814" y="70083"/>
                  </a:cubicBezTo>
                  <a:lnTo>
                    <a:pt x="177457" y="71369"/>
                  </a:lnTo>
                  <a:lnTo>
                    <a:pt x="185173" y="84228"/>
                  </a:lnTo>
                  <a:lnTo>
                    <a:pt x="181315" y="98373"/>
                  </a:lnTo>
                  <a:cubicBezTo>
                    <a:pt x="172314" y="127949"/>
                    <a:pt x="140166" y="156240"/>
                    <a:pt x="109946" y="160740"/>
                  </a:cubicBezTo>
                  <a:cubicBezTo>
                    <a:pt x="108017" y="161384"/>
                    <a:pt x="105446" y="161384"/>
                    <a:pt x="103517" y="161384"/>
                  </a:cubicBezTo>
                  <a:cubicBezTo>
                    <a:pt x="74584" y="161384"/>
                    <a:pt x="47579" y="129878"/>
                    <a:pt x="42435" y="90658"/>
                  </a:cubicBezTo>
                  <a:lnTo>
                    <a:pt x="42435" y="89372"/>
                  </a:lnTo>
                  <a:lnTo>
                    <a:pt x="42435" y="88086"/>
                  </a:lnTo>
                  <a:lnTo>
                    <a:pt x="41149" y="77799"/>
                  </a:lnTo>
                  <a:lnTo>
                    <a:pt x="35363" y="71369"/>
                  </a:lnTo>
                  <a:lnTo>
                    <a:pt x="35363" y="53366"/>
                  </a:lnTo>
                  <a:lnTo>
                    <a:pt x="45007" y="55938"/>
                  </a:lnTo>
                  <a:lnTo>
                    <a:pt x="57867" y="45651"/>
                  </a:lnTo>
                  <a:cubicBezTo>
                    <a:pt x="66225" y="37935"/>
                    <a:pt x="79084" y="34077"/>
                    <a:pt x="93872" y="34077"/>
                  </a:cubicBezTo>
                  <a:moveTo>
                    <a:pt x="366488" y="0"/>
                  </a:moveTo>
                  <a:cubicBezTo>
                    <a:pt x="359416" y="0"/>
                    <a:pt x="352343" y="643"/>
                    <a:pt x="344627" y="1929"/>
                  </a:cubicBezTo>
                  <a:cubicBezTo>
                    <a:pt x="304764" y="8358"/>
                    <a:pt x="271973" y="26362"/>
                    <a:pt x="255256" y="50794"/>
                  </a:cubicBezTo>
                  <a:cubicBezTo>
                    <a:pt x="254613" y="52080"/>
                    <a:pt x="253970" y="53366"/>
                    <a:pt x="253327" y="54009"/>
                  </a:cubicBezTo>
                  <a:cubicBezTo>
                    <a:pt x="252041" y="53366"/>
                    <a:pt x="251398" y="53366"/>
                    <a:pt x="250112" y="53366"/>
                  </a:cubicBezTo>
                  <a:lnTo>
                    <a:pt x="209605" y="53366"/>
                  </a:lnTo>
                  <a:cubicBezTo>
                    <a:pt x="208320" y="53366"/>
                    <a:pt x="207034" y="53366"/>
                    <a:pt x="206390" y="54009"/>
                  </a:cubicBezTo>
                  <a:cubicBezTo>
                    <a:pt x="205748" y="52723"/>
                    <a:pt x="205105" y="51437"/>
                    <a:pt x="204462" y="50794"/>
                  </a:cubicBezTo>
                  <a:cubicBezTo>
                    <a:pt x="187745" y="26362"/>
                    <a:pt x="154954" y="8358"/>
                    <a:pt x="115090" y="1929"/>
                  </a:cubicBezTo>
                  <a:cubicBezTo>
                    <a:pt x="108017" y="643"/>
                    <a:pt x="100302" y="0"/>
                    <a:pt x="93229" y="0"/>
                  </a:cubicBezTo>
                  <a:cubicBezTo>
                    <a:pt x="70726" y="0"/>
                    <a:pt x="50151" y="6430"/>
                    <a:pt x="35363" y="18646"/>
                  </a:cubicBezTo>
                  <a:cubicBezTo>
                    <a:pt x="33434" y="18003"/>
                    <a:pt x="30862" y="18003"/>
                    <a:pt x="28933" y="18003"/>
                  </a:cubicBezTo>
                  <a:cubicBezTo>
                    <a:pt x="12859" y="18003"/>
                    <a:pt x="0" y="30862"/>
                    <a:pt x="0" y="46936"/>
                  </a:cubicBezTo>
                  <a:lnTo>
                    <a:pt x="0" y="73941"/>
                  </a:lnTo>
                  <a:cubicBezTo>
                    <a:pt x="0" y="81656"/>
                    <a:pt x="3215" y="88086"/>
                    <a:pt x="7716" y="93229"/>
                  </a:cubicBezTo>
                  <a:cubicBezTo>
                    <a:pt x="7716" y="93229"/>
                    <a:pt x="7716" y="93873"/>
                    <a:pt x="7716" y="93873"/>
                  </a:cubicBezTo>
                  <a:cubicBezTo>
                    <a:pt x="14145" y="150453"/>
                    <a:pt x="55938" y="194817"/>
                    <a:pt x="102231" y="194817"/>
                  </a:cubicBezTo>
                  <a:cubicBezTo>
                    <a:pt x="106089" y="194817"/>
                    <a:pt x="109946" y="194174"/>
                    <a:pt x="113804" y="194174"/>
                  </a:cubicBezTo>
                  <a:cubicBezTo>
                    <a:pt x="157526" y="187102"/>
                    <a:pt x="200604" y="149167"/>
                    <a:pt x="212820" y="107375"/>
                  </a:cubicBezTo>
                  <a:lnTo>
                    <a:pt x="246254" y="107375"/>
                  </a:lnTo>
                  <a:cubicBezTo>
                    <a:pt x="258471" y="149167"/>
                    <a:pt x="301549" y="187102"/>
                    <a:pt x="345270" y="194174"/>
                  </a:cubicBezTo>
                  <a:cubicBezTo>
                    <a:pt x="349128" y="194817"/>
                    <a:pt x="352986" y="194817"/>
                    <a:pt x="356844" y="194817"/>
                  </a:cubicBezTo>
                  <a:cubicBezTo>
                    <a:pt x="403780" y="194817"/>
                    <a:pt x="444929" y="150453"/>
                    <a:pt x="451359" y="93873"/>
                  </a:cubicBezTo>
                  <a:cubicBezTo>
                    <a:pt x="451359" y="93873"/>
                    <a:pt x="451359" y="93229"/>
                    <a:pt x="451359" y="93229"/>
                  </a:cubicBezTo>
                  <a:cubicBezTo>
                    <a:pt x="455860" y="88086"/>
                    <a:pt x="459075" y="81656"/>
                    <a:pt x="459075" y="73941"/>
                  </a:cubicBezTo>
                  <a:lnTo>
                    <a:pt x="459075" y="46936"/>
                  </a:lnTo>
                  <a:cubicBezTo>
                    <a:pt x="459075" y="30862"/>
                    <a:pt x="446215" y="18003"/>
                    <a:pt x="430141" y="18003"/>
                  </a:cubicBezTo>
                  <a:cubicBezTo>
                    <a:pt x="427569" y="18003"/>
                    <a:pt x="425641" y="18646"/>
                    <a:pt x="423712" y="18646"/>
                  </a:cubicBezTo>
                  <a:cubicBezTo>
                    <a:pt x="409566" y="6430"/>
                    <a:pt x="389634" y="0"/>
                    <a:pt x="366488" y="0"/>
                  </a:cubicBezTo>
                  <a:lnTo>
                    <a:pt x="366488" y="0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64" name="Forma Livre: Forma 63">
              <a:extLst>
                <a:ext uri="{FF2B5EF4-FFF2-40B4-BE49-F238E27FC236}">
                  <a16:creationId xmlns:a16="http://schemas.microsoft.com/office/drawing/2014/main" id="{67C376C1-763D-4AF6-B9E5-1B4C7BE1CAA0}"/>
                </a:ext>
              </a:extLst>
            </p:cNvPr>
            <p:cNvSpPr/>
            <p:nvPr/>
          </p:nvSpPr>
          <p:spPr>
            <a:xfrm>
              <a:off x="4293414" y="6023585"/>
              <a:ext cx="36370" cy="33434"/>
            </a:xfrm>
            <a:custGeom>
              <a:avLst/>
              <a:gdLst>
                <a:gd name="connsiteX0" fmla="*/ 18367 w 36370"/>
                <a:gd name="connsiteY0" fmla="*/ 0 h 33434"/>
                <a:gd name="connsiteX1" fmla="*/ 8080 w 36370"/>
                <a:gd name="connsiteY1" fmla="*/ 5144 h 33434"/>
                <a:gd name="connsiteX2" fmla="*/ 1650 w 36370"/>
                <a:gd name="connsiteY2" fmla="*/ 25076 h 33434"/>
                <a:gd name="connsiteX3" fmla="*/ 14510 w 36370"/>
                <a:gd name="connsiteY3" fmla="*/ 33434 h 33434"/>
                <a:gd name="connsiteX4" fmla="*/ 20939 w 36370"/>
                <a:gd name="connsiteY4" fmla="*/ 32148 h 33434"/>
                <a:gd name="connsiteX5" fmla="*/ 36370 w 36370"/>
                <a:gd name="connsiteY5" fmla="*/ 24433 h 33434"/>
                <a:gd name="connsiteX6" fmla="*/ 18367 w 36370"/>
                <a:gd name="connsiteY6" fmla="*/ 0 h 33434"/>
                <a:gd name="connsiteX7" fmla="*/ 18367 w 36370"/>
                <a:gd name="connsiteY7" fmla="*/ 0 h 33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370" h="33434">
                  <a:moveTo>
                    <a:pt x="18367" y="0"/>
                  </a:moveTo>
                  <a:lnTo>
                    <a:pt x="8080" y="5144"/>
                  </a:lnTo>
                  <a:cubicBezTo>
                    <a:pt x="1007" y="9002"/>
                    <a:pt x="-2207" y="17360"/>
                    <a:pt x="1650" y="25076"/>
                  </a:cubicBezTo>
                  <a:cubicBezTo>
                    <a:pt x="4222" y="30219"/>
                    <a:pt x="9366" y="33434"/>
                    <a:pt x="14510" y="33434"/>
                  </a:cubicBezTo>
                  <a:cubicBezTo>
                    <a:pt x="16439" y="33434"/>
                    <a:pt x="19010" y="32791"/>
                    <a:pt x="20939" y="32148"/>
                  </a:cubicBezTo>
                  <a:lnTo>
                    <a:pt x="36370" y="24433"/>
                  </a:lnTo>
                  <a:cubicBezTo>
                    <a:pt x="29941" y="16717"/>
                    <a:pt x="23511" y="9002"/>
                    <a:pt x="18367" y="0"/>
                  </a:cubicBezTo>
                  <a:lnTo>
                    <a:pt x="18367" y="0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65" name="Forma Livre: Forma 64">
              <a:extLst>
                <a:ext uri="{FF2B5EF4-FFF2-40B4-BE49-F238E27FC236}">
                  <a16:creationId xmlns:a16="http://schemas.microsoft.com/office/drawing/2014/main" id="{D9569B0A-55A9-4714-B0DA-64AC860C85CC}"/>
                </a:ext>
              </a:extLst>
            </p:cNvPr>
            <p:cNvSpPr/>
            <p:nvPr/>
          </p:nvSpPr>
          <p:spPr>
            <a:xfrm>
              <a:off x="4721991" y="6023585"/>
              <a:ext cx="36370" cy="32791"/>
            </a:xfrm>
            <a:custGeom>
              <a:avLst/>
              <a:gdLst>
                <a:gd name="connsiteX0" fmla="*/ 18003 w 36370"/>
                <a:gd name="connsiteY0" fmla="*/ 0 h 32791"/>
                <a:gd name="connsiteX1" fmla="*/ 0 w 36370"/>
                <a:gd name="connsiteY1" fmla="*/ 23790 h 32791"/>
                <a:gd name="connsiteX2" fmla="*/ 15431 w 36370"/>
                <a:gd name="connsiteY2" fmla="*/ 31505 h 32791"/>
                <a:gd name="connsiteX3" fmla="*/ 21861 w 36370"/>
                <a:gd name="connsiteY3" fmla="*/ 32791 h 32791"/>
                <a:gd name="connsiteX4" fmla="*/ 34720 w 36370"/>
                <a:gd name="connsiteY4" fmla="*/ 24433 h 32791"/>
                <a:gd name="connsiteX5" fmla="*/ 28290 w 36370"/>
                <a:gd name="connsiteY5" fmla="*/ 4501 h 32791"/>
                <a:gd name="connsiteX6" fmla="*/ 18003 w 36370"/>
                <a:gd name="connsiteY6" fmla="*/ 0 h 32791"/>
                <a:gd name="connsiteX7" fmla="*/ 18003 w 36370"/>
                <a:gd name="connsiteY7" fmla="*/ 0 h 32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370" h="32791">
                  <a:moveTo>
                    <a:pt x="18003" y="0"/>
                  </a:moveTo>
                  <a:cubicBezTo>
                    <a:pt x="12859" y="9002"/>
                    <a:pt x="6430" y="16717"/>
                    <a:pt x="0" y="23790"/>
                  </a:cubicBezTo>
                  <a:lnTo>
                    <a:pt x="15431" y="31505"/>
                  </a:lnTo>
                  <a:cubicBezTo>
                    <a:pt x="17360" y="32791"/>
                    <a:pt x="19932" y="32791"/>
                    <a:pt x="21861" y="32791"/>
                  </a:cubicBezTo>
                  <a:cubicBezTo>
                    <a:pt x="27004" y="32791"/>
                    <a:pt x="32148" y="29576"/>
                    <a:pt x="34720" y="24433"/>
                  </a:cubicBezTo>
                  <a:cubicBezTo>
                    <a:pt x="38578" y="17360"/>
                    <a:pt x="35363" y="8359"/>
                    <a:pt x="28290" y="4501"/>
                  </a:cubicBezTo>
                  <a:lnTo>
                    <a:pt x="18003" y="0"/>
                  </a:lnTo>
                  <a:lnTo>
                    <a:pt x="18003" y="0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sp>
        <p:nvSpPr>
          <p:cNvPr id="66" name="Forma Livre: Forma 65">
            <a:extLst>
              <a:ext uri="{FF2B5EF4-FFF2-40B4-BE49-F238E27FC236}">
                <a16:creationId xmlns:a16="http://schemas.microsoft.com/office/drawing/2014/main" id="{5C2FE42A-F5BE-4412-9DEC-DA1D9A62F502}"/>
              </a:ext>
            </a:extLst>
          </p:cNvPr>
          <p:cNvSpPr/>
          <p:nvPr/>
        </p:nvSpPr>
        <p:spPr>
          <a:xfrm>
            <a:off x="9994829" y="3086326"/>
            <a:ext cx="415274" cy="265648"/>
          </a:xfrm>
          <a:custGeom>
            <a:avLst/>
            <a:gdLst>
              <a:gd name="connsiteX0" fmla="*/ 325339 w 421139"/>
              <a:gd name="connsiteY0" fmla="*/ 269401 h 269400"/>
              <a:gd name="connsiteX1" fmla="*/ 86157 w 421139"/>
              <a:gd name="connsiteY1" fmla="*/ 269401 h 269400"/>
              <a:gd name="connsiteX2" fmla="*/ 62367 w 421139"/>
              <a:gd name="connsiteY2" fmla="*/ 265543 h 269400"/>
              <a:gd name="connsiteX3" fmla="*/ 0 w 421139"/>
              <a:gd name="connsiteY3" fmla="*/ 181315 h 269400"/>
              <a:gd name="connsiteX4" fmla="*/ 87443 w 421139"/>
              <a:gd name="connsiteY4" fmla="*/ 93229 h 269400"/>
              <a:gd name="connsiteX5" fmla="*/ 199318 w 421139"/>
              <a:gd name="connsiteY5" fmla="*/ 0 h 269400"/>
              <a:gd name="connsiteX6" fmla="*/ 304764 w 421139"/>
              <a:gd name="connsiteY6" fmla="*/ 71369 h 269400"/>
              <a:gd name="connsiteX7" fmla="*/ 321481 w 421139"/>
              <a:gd name="connsiteY7" fmla="*/ 70083 h 269400"/>
              <a:gd name="connsiteX8" fmla="*/ 421140 w 421139"/>
              <a:gd name="connsiteY8" fmla="*/ 169742 h 269400"/>
              <a:gd name="connsiteX9" fmla="*/ 351057 w 421139"/>
              <a:gd name="connsiteY9" fmla="*/ 264900 h 269400"/>
              <a:gd name="connsiteX10" fmla="*/ 325339 w 421139"/>
              <a:gd name="connsiteY10" fmla="*/ 269401 h 269400"/>
              <a:gd name="connsiteX11" fmla="*/ 325339 w 421139"/>
              <a:gd name="connsiteY11" fmla="*/ 269401 h 269400"/>
              <a:gd name="connsiteX12" fmla="*/ 87443 w 421139"/>
              <a:gd name="connsiteY12" fmla="*/ 127306 h 269400"/>
              <a:gd name="connsiteX13" fmla="*/ 33434 w 421139"/>
              <a:gd name="connsiteY13" fmla="*/ 181315 h 269400"/>
              <a:gd name="connsiteX14" fmla="*/ 72012 w 421139"/>
              <a:gd name="connsiteY14" fmla="*/ 233395 h 269400"/>
              <a:gd name="connsiteX15" fmla="*/ 85514 w 421139"/>
              <a:gd name="connsiteY15" fmla="*/ 235967 h 269400"/>
              <a:gd name="connsiteX16" fmla="*/ 324695 w 421139"/>
              <a:gd name="connsiteY16" fmla="*/ 235967 h 269400"/>
              <a:gd name="connsiteX17" fmla="*/ 339484 w 421139"/>
              <a:gd name="connsiteY17" fmla="*/ 233395 h 269400"/>
              <a:gd name="connsiteX18" fmla="*/ 386420 w 421139"/>
              <a:gd name="connsiteY18" fmla="*/ 170385 h 269400"/>
              <a:gd name="connsiteX19" fmla="*/ 320195 w 421139"/>
              <a:gd name="connsiteY19" fmla="*/ 104159 h 269400"/>
              <a:gd name="connsiteX20" fmla="*/ 298334 w 421139"/>
              <a:gd name="connsiteY20" fmla="*/ 108017 h 269400"/>
              <a:gd name="connsiteX21" fmla="*/ 280331 w 421139"/>
              <a:gd name="connsiteY21" fmla="*/ 114447 h 269400"/>
              <a:gd name="connsiteX22" fmla="*/ 275830 w 421139"/>
              <a:gd name="connsiteY22" fmla="*/ 95801 h 269400"/>
              <a:gd name="connsiteX23" fmla="*/ 198032 w 421139"/>
              <a:gd name="connsiteY23" fmla="*/ 34077 h 269400"/>
              <a:gd name="connsiteX24" fmla="*/ 118305 w 421139"/>
              <a:gd name="connsiteY24" fmla="*/ 112518 h 269400"/>
              <a:gd name="connsiteX25" fmla="*/ 117662 w 421139"/>
              <a:gd name="connsiteY25" fmla="*/ 133093 h 269400"/>
              <a:gd name="connsiteX26" fmla="*/ 97730 w 421139"/>
              <a:gd name="connsiteY26" fmla="*/ 129235 h 269400"/>
              <a:gd name="connsiteX27" fmla="*/ 87443 w 421139"/>
              <a:gd name="connsiteY27" fmla="*/ 127306 h 269400"/>
              <a:gd name="connsiteX28" fmla="*/ 87443 w 421139"/>
              <a:gd name="connsiteY28" fmla="*/ 127306 h 26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421139" h="269400">
                <a:moveTo>
                  <a:pt x="325339" y="269401"/>
                </a:moveTo>
                <a:lnTo>
                  <a:pt x="86157" y="269401"/>
                </a:lnTo>
                <a:cubicBezTo>
                  <a:pt x="77798" y="269401"/>
                  <a:pt x="70083" y="268115"/>
                  <a:pt x="62367" y="265543"/>
                </a:cubicBezTo>
                <a:cubicBezTo>
                  <a:pt x="25718" y="254613"/>
                  <a:pt x="0" y="219893"/>
                  <a:pt x="0" y="181315"/>
                </a:cubicBezTo>
                <a:cubicBezTo>
                  <a:pt x="0" y="133093"/>
                  <a:pt x="39221" y="93872"/>
                  <a:pt x="87443" y="93229"/>
                </a:cubicBezTo>
                <a:cubicBezTo>
                  <a:pt x="97087" y="40506"/>
                  <a:pt x="144023" y="0"/>
                  <a:pt x="199318" y="0"/>
                </a:cubicBezTo>
                <a:cubicBezTo>
                  <a:pt x="246254" y="0"/>
                  <a:pt x="287404" y="28290"/>
                  <a:pt x="304764" y="71369"/>
                </a:cubicBezTo>
                <a:cubicBezTo>
                  <a:pt x="310550" y="70726"/>
                  <a:pt x="315694" y="70083"/>
                  <a:pt x="321481" y="70083"/>
                </a:cubicBezTo>
                <a:cubicBezTo>
                  <a:pt x="376775" y="70083"/>
                  <a:pt x="421140" y="115090"/>
                  <a:pt x="421140" y="169742"/>
                </a:cubicBezTo>
                <a:cubicBezTo>
                  <a:pt x="421140" y="213463"/>
                  <a:pt x="392849" y="252041"/>
                  <a:pt x="351057" y="264900"/>
                </a:cubicBezTo>
                <a:cubicBezTo>
                  <a:pt x="343341" y="268115"/>
                  <a:pt x="334340" y="269401"/>
                  <a:pt x="325339" y="269401"/>
                </a:cubicBezTo>
                <a:lnTo>
                  <a:pt x="325339" y="269401"/>
                </a:lnTo>
                <a:close/>
                <a:moveTo>
                  <a:pt x="87443" y="127306"/>
                </a:moveTo>
                <a:cubicBezTo>
                  <a:pt x="57867" y="127306"/>
                  <a:pt x="33434" y="151739"/>
                  <a:pt x="33434" y="181315"/>
                </a:cubicBezTo>
                <a:cubicBezTo>
                  <a:pt x="33434" y="205104"/>
                  <a:pt x="49508" y="226322"/>
                  <a:pt x="72012" y="233395"/>
                </a:cubicBezTo>
                <a:cubicBezTo>
                  <a:pt x="76512" y="234681"/>
                  <a:pt x="81013" y="235967"/>
                  <a:pt x="85514" y="235967"/>
                </a:cubicBezTo>
                <a:lnTo>
                  <a:pt x="324695" y="235967"/>
                </a:lnTo>
                <a:cubicBezTo>
                  <a:pt x="329839" y="235967"/>
                  <a:pt x="334340" y="235324"/>
                  <a:pt x="339484" y="233395"/>
                </a:cubicBezTo>
                <a:cubicBezTo>
                  <a:pt x="367774" y="224393"/>
                  <a:pt x="386420" y="199318"/>
                  <a:pt x="386420" y="170385"/>
                </a:cubicBezTo>
                <a:cubicBezTo>
                  <a:pt x="386420" y="133736"/>
                  <a:pt x="356843" y="104159"/>
                  <a:pt x="320195" y="104159"/>
                </a:cubicBezTo>
                <a:cubicBezTo>
                  <a:pt x="312479" y="104159"/>
                  <a:pt x="305406" y="105445"/>
                  <a:pt x="298334" y="108017"/>
                </a:cubicBezTo>
                <a:lnTo>
                  <a:pt x="280331" y="114447"/>
                </a:lnTo>
                <a:lnTo>
                  <a:pt x="275830" y="95801"/>
                </a:lnTo>
                <a:cubicBezTo>
                  <a:pt x="267472" y="59795"/>
                  <a:pt x="235324" y="34077"/>
                  <a:pt x="198032" y="34077"/>
                </a:cubicBezTo>
                <a:cubicBezTo>
                  <a:pt x="154954" y="34077"/>
                  <a:pt x="118948" y="69440"/>
                  <a:pt x="118305" y="112518"/>
                </a:cubicBezTo>
                <a:lnTo>
                  <a:pt x="117662" y="133093"/>
                </a:lnTo>
                <a:lnTo>
                  <a:pt x="97730" y="129235"/>
                </a:lnTo>
                <a:cubicBezTo>
                  <a:pt x="95158" y="127949"/>
                  <a:pt x="91300" y="127306"/>
                  <a:pt x="87443" y="127306"/>
                </a:cubicBezTo>
                <a:lnTo>
                  <a:pt x="87443" y="127306"/>
                </a:lnTo>
                <a:close/>
              </a:path>
            </a:pathLst>
          </a:custGeom>
          <a:solidFill>
            <a:schemeClr val="bg1"/>
          </a:solidFill>
          <a:ln w="64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grpSp>
        <p:nvGrpSpPr>
          <p:cNvPr id="67" name="Gráfico 2">
            <a:extLst>
              <a:ext uri="{FF2B5EF4-FFF2-40B4-BE49-F238E27FC236}">
                <a16:creationId xmlns:a16="http://schemas.microsoft.com/office/drawing/2014/main" id="{5C3DB00A-F9B5-4E5F-9687-D4CB0B7D7C41}"/>
              </a:ext>
            </a:extLst>
          </p:cNvPr>
          <p:cNvGrpSpPr/>
          <p:nvPr/>
        </p:nvGrpSpPr>
        <p:grpSpPr>
          <a:xfrm>
            <a:off x="5889849" y="3015618"/>
            <a:ext cx="430490" cy="430490"/>
            <a:chOff x="1187632" y="4701656"/>
            <a:chExt cx="436570" cy="436570"/>
          </a:xfrm>
          <a:solidFill>
            <a:schemeClr val="bg1"/>
          </a:solidFill>
        </p:grpSpPr>
        <p:sp>
          <p:nvSpPr>
            <p:cNvPr id="68" name="Forma Livre: Forma 67">
              <a:extLst>
                <a:ext uri="{FF2B5EF4-FFF2-40B4-BE49-F238E27FC236}">
                  <a16:creationId xmlns:a16="http://schemas.microsoft.com/office/drawing/2014/main" id="{AA729548-B7A4-474A-BB7D-03026ED11802}"/>
                </a:ext>
              </a:extLst>
            </p:cNvPr>
            <p:cNvSpPr/>
            <p:nvPr/>
          </p:nvSpPr>
          <p:spPr>
            <a:xfrm>
              <a:off x="1291792" y="4805173"/>
              <a:ext cx="227614" cy="228251"/>
            </a:xfrm>
            <a:custGeom>
              <a:avLst/>
              <a:gdLst>
                <a:gd name="connsiteX0" fmla="*/ 113804 w 227614"/>
                <a:gd name="connsiteY0" fmla="*/ 228251 h 228251"/>
                <a:gd name="connsiteX1" fmla="*/ 0 w 227614"/>
                <a:gd name="connsiteY1" fmla="*/ 114447 h 228251"/>
                <a:gd name="connsiteX2" fmla="*/ 113804 w 227614"/>
                <a:gd name="connsiteY2" fmla="*/ 0 h 228251"/>
                <a:gd name="connsiteX3" fmla="*/ 227608 w 227614"/>
                <a:gd name="connsiteY3" fmla="*/ 114447 h 228251"/>
                <a:gd name="connsiteX4" fmla="*/ 113804 w 227614"/>
                <a:gd name="connsiteY4" fmla="*/ 228251 h 228251"/>
                <a:gd name="connsiteX5" fmla="*/ 113804 w 227614"/>
                <a:gd name="connsiteY5" fmla="*/ 228251 h 228251"/>
                <a:gd name="connsiteX6" fmla="*/ 113804 w 227614"/>
                <a:gd name="connsiteY6" fmla="*/ 34077 h 228251"/>
                <a:gd name="connsiteX7" fmla="*/ 33434 w 227614"/>
                <a:gd name="connsiteY7" fmla="*/ 114447 h 228251"/>
                <a:gd name="connsiteX8" fmla="*/ 113804 w 227614"/>
                <a:gd name="connsiteY8" fmla="*/ 194818 h 228251"/>
                <a:gd name="connsiteX9" fmla="*/ 194174 w 227614"/>
                <a:gd name="connsiteY9" fmla="*/ 114447 h 228251"/>
                <a:gd name="connsiteX10" fmla="*/ 113804 w 227614"/>
                <a:gd name="connsiteY10" fmla="*/ 34077 h 228251"/>
                <a:gd name="connsiteX11" fmla="*/ 113804 w 227614"/>
                <a:gd name="connsiteY11" fmla="*/ 34077 h 22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7614" h="228251">
                  <a:moveTo>
                    <a:pt x="113804" y="228251"/>
                  </a:moveTo>
                  <a:cubicBezTo>
                    <a:pt x="50794" y="228251"/>
                    <a:pt x="0" y="176814"/>
                    <a:pt x="0" y="114447"/>
                  </a:cubicBezTo>
                  <a:cubicBezTo>
                    <a:pt x="0" y="51437"/>
                    <a:pt x="51437" y="0"/>
                    <a:pt x="113804" y="0"/>
                  </a:cubicBezTo>
                  <a:cubicBezTo>
                    <a:pt x="176814" y="0"/>
                    <a:pt x="227608" y="51437"/>
                    <a:pt x="227608" y="114447"/>
                  </a:cubicBezTo>
                  <a:cubicBezTo>
                    <a:pt x="228251" y="177458"/>
                    <a:pt x="176814" y="228251"/>
                    <a:pt x="113804" y="228251"/>
                  </a:cubicBezTo>
                  <a:lnTo>
                    <a:pt x="113804" y="228251"/>
                  </a:lnTo>
                  <a:close/>
                  <a:moveTo>
                    <a:pt x="113804" y="34077"/>
                  </a:moveTo>
                  <a:cubicBezTo>
                    <a:pt x="69440" y="34077"/>
                    <a:pt x="33434" y="70083"/>
                    <a:pt x="33434" y="114447"/>
                  </a:cubicBezTo>
                  <a:cubicBezTo>
                    <a:pt x="33434" y="158812"/>
                    <a:pt x="69440" y="194818"/>
                    <a:pt x="113804" y="194818"/>
                  </a:cubicBezTo>
                  <a:cubicBezTo>
                    <a:pt x="158169" y="194818"/>
                    <a:pt x="194174" y="158812"/>
                    <a:pt x="194174" y="114447"/>
                  </a:cubicBezTo>
                  <a:cubicBezTo>
                    <a:pt x="194174" y="70083"/>
                    <a:pt x="158169" y="34077"/>
                    <a:pt x="113804" y="34077"/>
                  </a:cubicBezTo>
                  <a:lnTo>
                    <a:pt x="113804" y="34077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69" name="Forma Livre: Forma 68">
              <a:extLst>
                <a:ext uri="{FF2B5EF4-FFF2-40B4-BE49-F238E27FC236}">
                  <a16:creationId xmlns:a16="http://schemas.microsoft.com/office/drawing/2014/main" id="{2EAA1FAD-7551-4465-8CF3-A134CDB85C58}"/>
                </a:ext>
              </a:extLst>
            </p:cNvPr>
            <p:cNvSpPr/>
            <p:nvPr/>
          </p:nvSpPr>
          <p:spPr>
            <a:xfrm>
              <a:off x="1391451" y="4701656"/>
              <a:ext cx="33433" cy="71368"/>
            </a:xfrm>
            <a:custGeom>
              <a:avLst/>
              <a:gdLst>
                <a:gd name="connsiteX0" fmla="*/ 16717 w 33433"/>
                <a:gd name="connsiteY0" fmla="*/ 71369 h 71368"/>
                <a:gd name="connsiteX1" fmla="*/ 0 w 33433"/>
                <a:gd name="connsiteY1" fmla="*/ 54652 h 71368"/>
                <a:gd name="connsiteX2" fmla="*/ 0 w 33433"/>
                <a:gd name="connsiteY2" fmla="*/ 16717 h 71368"/>
                <a:gd name="connsiteX3" fmla="*/ 16717 w 33433"/>
                <a:gd name="connsiteY3" fmla="*/ 0 h 71368"/>
                <a:gd name="connsiteX4" fmla="*/ 33434 w 33433"/>
                <a:gd name="connsiteY4" fmla="*/ 16717 h 71368"/>
                <a:gd name="connsiteX5" fmla="*/ 33434 w 33433"/>
                <a:gd name="connsiteY5" fmla="*/ 54652 h 71368"/>
                <a:gd name="connsiteX6" fmla="*/ 16717 w 33433"/>
                <a:gd name="connsiteY6" fmla="*/ 71369 h 71368"/>
                <a:gd name="connsiteX7" fmla="*/ 16717 w 33433"/>
                <a:gd name="connsiteY7" fmla="*/ 71369 h 71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433" h="71368">
                  <a:moveTo>
                    <a:pt x="16717" y="71369"/>
                  </a:moveTo>
                  <a:cubicBezTo>
                    <a:pt x="7073" y="71369"/>
                    <a:pt x="0" y="63653"/>
                    <a:pt x="0" y="54652"/>
                  </a:cubicBezTo>
                  <a:lnTo>
                    <a:pt x="0" y="16717"/>
                  </a:lnTo>
                  <a:cubicBezTo>
                    <a:pt x="0" y="7072"/>
                    <a:pt x="7716" y="0"/>
                    <a:pt x="16717" y="0"/>
                  </a:cubicBezTo>
                  <a:cubicBezTo>
                    <a:pt x="26361" y="0"/>
                    <a:pt x="33434" y="7716"/>
                    <a:pt x="33434" y="16717"/>
                  </a:cubicBezTo>
                  <a:lnTo>
                    <a:pt x="33434" y="54652"/>
                  </a:lnTo>
                  <a:cubicBezTo>
                    <a:pt x="33434" y="63653"/>
                    <a:pt x="26361" y="71369"/>
                    <a:pt x="16717" y="71369"/>
                  </a:cubicBezTo>
                  <a:lnTo>
                    <a:pt x="16717" y="71369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70" name="Forma Livre: Forma 69">
              <a:extLst>
                <a:ext uri="{FF2B5EF4-FFF2-40B4-BE49-F238E27FC236}">
                  <a16:creationId xmlns:a16="http://schemas.microsoft.com/office/drawing/2014/main" id="{A37CA368-97BE-4F37-9960-3F4BA43CDBCC}"/>
                </a:ext>
              </a:extLst>
            </p:cNvPr>
            <p:cNvSpPr/>
            <p:nvPr/>
          </p:nvSpPr>
          <p:spPr>
            <a:xfrm>
              <a:off x="1290244" y="4727112"/>
              <a:ext cx="52604" cy="66487"/>
            </a:xfrm>
            <a:custGeom>
              <a:avLst/>
              <a:gdLst>
                <a:gd name="connsiteX0" fmla="*/ 35625 w 52604"/>
                <a:gd name="connsiteY0" fmla="*/ 66488 h 66487"/>
                <a:gd name="connsiteX1" fmla="*/ 20837 w 52604"/>
                <a:gd name="connsiteY1" fmla="*/ 58129 h 66487"/>
                <a:gd name="connsiteX2" fmla="*/ 2191 w 52604"/>
                <a:gd name="connsiteY2" fmla="*/ 25338 h 66487"/>
                <a:gd name="connsiteX3" fmla="*/ 8621 w 52604"/>
                <a:gd name="connsiteY3" fmla="*/ 2191 h 66487"/>
                <a:gd name="connsiteX4" fmla="*/ 31768 w 52604"/>
                <a:gd name="connsiteY4" fmla="*/ 8621 h 66487"/>
                <a:gd name="connsiteX5" fmla="*/ 50414 w 52604"/>
                <a:gd name="connsiteY5" fmla="*/ 41412 h 66487"/>
                <a:gd name="connsiteX6" fmla="*/ 43984 w 52604"/>
                <a:gd name="connsiteY6" fmla="*/ 64559 h 66487"/>
                <a:gd name="connsiteX7" fmla="*/ 35625 w 52604"/>
                <a:gd name="connsiteY7" fmla="*/ 66488 h 66487"/>
                <a:gd name="connsiteX8" fmla="*/ 35625 w 52604"/>
                <a:gd name="connsiteY8" fmla="*/ 66488 h 66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604" h="66487">
                  <a:moveTo>
                    <a:pt x="35625" y="66488"/>
                  </a:moveTo>
                  <a:cubicBezTo>
                    <a:pt x="29839" y="66488"/>
                    <a:pt x="24052" y="63273"/>
                    <a:pt x="20837" y="58129"/>
                  </a:cubicBezTo>
                  <a:lnTo>
                    <a:pt x="2191" y="25338"/>
                  </a:lnTo>
                  <a:cubicBezTo>
                    <a:pt x="-2309" y="16979"/>
                    <a:pt x="263" y="6692"/>
                    <a:pt x="8621" y="2191"/>
                  </a:cubicBezTo>
                  <a:cubicBezTo>
                    <a:pt x="16980" y="-2309"/>
                    <a:pt x="27267" y="263"/>
                    <a:pt x="31768" y="8621"/>
                  </a:cubicBezTo>
                  <a:lnTo>
                    <a:pt x="50414" y="41412"/>
                  </a:lnTo>
                  <a:cubicBezTo>
                    <a:pt x="54914" y="49771"/>
                    <a:pt x="52342" y="60058"/>
                    <a:pt x="43984" y="64559"/>
                  </a:cubicBezTo>
                  <a:cubicBezTo>
                    <a:pt x="42055" y="65845"/>
                    <a:pt x="38840" y="66488"/>
                    <a:pt x="35625" y="66488"/>
                  </a:cubicBezTo>
                  <a:lnTo>
                    <a:pt x="35625" y="66488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71" name="Forma Livre: Forma 70">
              <a:extLst>
                <a:ext uri="{FF2B5EF4-FFF2-40B4-BE49-F238E27FC236}">
                  <a16:creationId xmlns:a16="http://schemas.microsoft.com/office/drawing/2014/main" id="{845CFFE5-DA5A-48DE-98A4-0760DD7FBE03}"/>
                </a:ext>
              </a:extLst>
            </p:cNvPr>
            <p:cNvSpPr/>
            <p:nvPr/>
          </p:nvSpPr>
          <p:spPr>
            <a:xfrm>
              <a:off x="1215660" y="4799124"/>
              <a:ext cx="66750" cy="53628"/>
            </a:xfrm>
            <a:custGeom>
              <a:avLst/>
              <a:gdLst>
                <a:gd name="connsiteX0" fmla="*/ 49771 w 66750"/>
                <a:gd name="connsiteY0" fmla="*/ 53628 h 53628"/>
                <a:gd name="connsiteX1" fmla="*/ 41412 w 66750"/>
                <a:gd name="connsiteY1" fmla="*/ 51056 h 53628"/>
                <a:gd name="connsiteX2" fmla="*/ 8621 w 66750"/>
                <a:gd name="connsiteY2" fmla="*/ 31767 h 53628"/>
                <a:gd name="connsiteX3" fmla="*/ 2191 w 66750"/>
                <a:gd name="connsiteY3" fmla="*/ 8621 h 53628"/>
                <a:gd name="connsiteX4" fmla="*/ 25338 w 66750"/>
                <a:gd name="connsiteY4" fmla="*/ 2191 h 53628"/>
                <a:gd name="connsiteX5" fmla="*/ 58129 w 66750"/>
                <a:gd name="connsiteY5" fmla="*/ 21480 h 53628"/>
                <a:gd name="connsiteX6" fmla="*/ 64559 w 66750"/>
                <a:gd name="connsiteY6" fmla="*/ 44627 h 53628"/>
                <a:gd name="connsiteX7" fmla="*/ 49771 w 66750"/>
                <a:gd name="connsiteY7" fmla="*/ 53628 h 53628"/>
                <a:gd name="connsiteX8" fmla="*/ 49771 w 66750"/>
                <a:gd name="connsiteY8" fmla="*/ 53628 h 53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6750" h="53628">
                  <a:moveTo>
                    <a:pt x="49771" y="53628"/>
                  </a:moveTo>
                  <a:cubicBezTo>
                    <a:pt x="47199" y="53628"/>
                    <a:pt x="43984" y="52986"/>
                    <a:pt x="41412" y="51056"/>
                  </a:cubicBezTo>
                  <a:lnTo>
                    <a:pt x="8621" y="31767"/>
                  </a:lnTo>
                  <a:cubicBezTo>
                    <a:pt x="263" y="27267"/>
                    <a:pt x="-2309" y="16979"/>
                    <a:pt x="2191" y="8621"/>
                  </a:cubicBezTo>
                  <a:cubicBezTo>
                    <a:pt x="6692" y="263"/>
                    <a:pt x="16980" y="-2309"/>
                    <a:pt x="25338" y="2191"/>
                  </a:cubicBezTo>
                  <a:lnTo>
                    <a:pt x="58129" y="21480"/>
                  </a:lnTo>
                  <a:cubicBezTo>
                    <a:pt x="66488" y="25981"/>
                    <a:pt x="69059" y="36268"/>
                    <a:pt x="64559" y="44627"/>
                  </a:cubicBezTo>
                  <a:cubicBezTo>
                    <a:pt x="61344" y="50414"/>
                    <a:pt x="55557" y="53628"/>
                    <a:pt x="49771" y="53628"/>
                  </a:cubicBezTo>
                  <a:lnTo>
                    <a:pt x="49771" y="53628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72" name="Forma Livre: Forma 71">
              <a:extLst>
                <a:ext uri="{FF2B5EF4-FFF2-40B4-BE49-F238E27FC236}">
                  <a16:creationId xmlns:a16="http://schemas.microsoft.com/office/drawing/2014/main" id="{A4D8830C-F8FD-4BBB-8BA9-F057F7371050}"/>
                </a:ext>
              </a:extLst>
            </p:cNvPr>
            <p:cNvSpPr/>
            <p:nvPr/>
          </p:nvSpPr>
          <p:spPr>
            <a:xfrm>
              <a:off x="1187632" y="4900974"/>
              <a:ext cx="71406" cy="33434"/>
            </a:xfrm>
            <a:custGeom>
              <a:avLst/>
              <a:gdLst>
                <a:gd name="connsiteX0" fmla="*/ 54652 w 71406"/>
                <a:gd name="connsiteY0" fmla="*/ 33434 h 33434"/>
                <a:gd name="connsiteX1" fmla="*/ 16717 w 71406"/>
                <a:gd name="connsiteY1" fmla="*/ 33434 h 33434"/>
                <a:gd name="connsiteX2" fmla="*/ 0 w 71406"/>
                <a:gd name="connsiteY2" fmla="*/ 16717 h 33434"/>
                <a:gd name="connsiteX3" fmla="*/ 16717 w 71406"/>
                <a:gd name="connsiteY3" fmla="*/ 0 h 33434"/>
                <a:gd name="connsiteX4" fmla="*/ 54652 w 71406"/>
                <a:gd name="connsiteY4" fmla="*/ 0 h 33434"/>
                <a:gd name="connsiteX5" fmla="*/ 71369 w 71406"/>
                <a:gd name="connsiteY5" fmla="*/ 16717 h 33434"/>
                <a:gd name="connsiteX6" fmla="*/ 54652 w 71406"/>
                <a:gd name="connsiteY6" fmla="*/ 33434 h 33434"/>
                <a:gd name="connsiteX7" fmla="*/ 54652 w 71406"/>
                <a:gd name="connsiteY7" fmla="*/ 33434 h 33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1406" h="33434">
                  <a:moveTo>
                    <a:pt x="54652" y="33434"/>
                  </a:moveTo>
                  <a:lnTo>
                    <a:pt x="16717" y="33434"/>
                  </a:lnTo>
                  <a:cubicBezTo>
                    <a:pt x="7073" y="33434"/>
                    <a:pt x="0" y="25718"/>
                    <a:pt x="0" y="16717"/>
                  </a:cubicBezTo>
                  <a:cubicBezTo>
                    <a:pt x="0" y="7072"/>
                    <a:pt x="7716" y="0"/>
                    <a:pt x="16717" y="0"/>
                  </a:cubicBezTo>
                  <a:lnTo>
                    <a:pt x="54652" y="0"/>
                  </a:lnTo>
                  <a:cubicBezTo>
                    <a:pt x="64296" y="0"/>
                    <a:pt x="71369" y="7716"/>
                    <a:pt x="71369" y="16717"/>
                  </a:cubicBezTo>
                  <a:cubicBezTo>
                    <a:pt x="72012" y="25718"/>
                    <a:pt x="64296" y="33434"/>
                    <a:pt x="54652" y="33434"/>
                  </a:cubicBezTo>
                  <a:lnTo>
                    <a:pt x="54652" y="33434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73" name="Forma Livre: Forma 72">
              <a:extLst>
                <a:ext uri="{FF2B5EF4-FFF2-40B4-BE49-F238E27FC236}">
                  <a16:creationId xmlns:a16="http://schemas.microsoft.com/office/drawing/2014/main" id="{A674FA3C-16F7-4968-8EC3-84E853C57A9B}"/>
                </a:ext>
              </a:extLst>
            </p:cNvPr>
            <p:cNvSpPr/>
            <p:nvPr/>
          </p:nvSpPr>
          <p:spPr>
            <a:xfrm>
              <a:off x="1213088" y="4983011"/>
              <a:ext cx="66750" cy="52342"/>
            </a:xfrm>
            <a:custGeom>
              <a:avLst/>
              <a:gdLst>
                <a:gd name="connsiteX0" fmla="*/ 16980 w 66750"/>
                <a:gd name="connsiteY0" fmla="*/ 52343 h 52342"/>
                <a:gd name="connsiteX1" fmla="*/ 2191 w 66750"/>
                <a:gd name="connsiteY1" fmla="*/ 43984 h 52342"/>
                <a:gd name="connsiteX2" fmla="*/ 8621 w 66750"/>
                <a:gd name="connsiteY2" fmla="*/ 20837 h 52342"/>
                <a:gd name="connsiteX3" fmla="*/ 41412 w 66750"/>
                <a:gd name="connsiteY3" fmla="*/ 2191 h 52342"/>
                <a:gd name="connsiteX4" fmla="*/ 64559 w 66750"/>
                <a:gd name="connsiteY4" fmla="*/ 8621 h 52342"/>
                <a:gd name="connsiteX5" fmla="*/ 58129 w 66750"/>
                <a:gd name="connsiteY5" fmla="*/ 31768 h 52342"/>
                <a:gd name="connsiteX6" fmla="*/ 25338 w 66750"/>
                <a:gd name="connsiteY6" fmla="*/ 50413 h 52342"/>
                <a:gd name="connsiteX7" fmla="*/ 16980 w 66750"/>
                <a:gd name="connsiteY7" fmla="*/ 52343 h 52342"/>
                <a:gd name="connsiteX8" fmla="*/ 16980 w 66750"/>
                <a:gd name="connsiteY8" fmla="*/ 52343 h 52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6750" h="52342">
                  <a:moveTo>
                    <a:pt x="16980" y="52343"/>
                  </a:moveTo>
                  <a:cubicBezTo>
                    <a:pt x="11193" y="52343"/>
                    <a:pt x="5406" y="49128"/>
                    <a:pt x="2191" y="43984"/>
                  </a:cubicBezTo>
                  <a:cubicBezTo>
                    <a:pt x="-2309" y="35625"/>
                    <a:pt x="263" y="25338"/>
                    <a:pt x="8621" y="20837"/>
                  </a:cubicBezTo>
                  <a:lnTo>
                    <a:pt x="41412" y="2191"/>
                  </a:lnTo>
                  <a:cubicBezTo>
                    <a:pt x="49771" y="-2309"/>
                    <a:pt x="60058" y="262"/>
                    <a:pt x="64559" y="8621"/>
                  </a:cubicBezTo>
                  <a:cubicBezTo>
                    <a:pt x="69059" y="16980"/>
                    <a:pt x="66488" y="27267"/>
                    <a:pt x="58129" y="31768"/>
                  </a:cubicBezTo>
                  <a:lnTo>
                    <a:pt x="25338" y="50413"/>
                  </a:lnTo>
                  <a:cubicBezTo>
                    <a:pt x="22766" y="51699"/>
                    <a:pt x="20194" y="52343"/>
                    <a:pt x="16980" y="52343"/>
                  </a:cubicBezTo>
                  <a:lnTo>
                    <a:pt x="16980" y="52343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74" name="Forma Livre: Forma 73">
              <a:extLst>
                <a:ext uri="{FF2B5EF4-FFF2-40B4-BE49-F238E27FC236}">
                  <a16:creationId xmlns:a16="http://schemas.microsoft.com/office/drawing/2014/main" id="{46CEB621-15DF-4836-9358-1B0670B2F2C1}"/>
                </a:ext>
              </a:extLst>
            </p:cNvPr>
            <p:cNvSpPr/>
            <p:nvPr/>
          </p:nvSpPr>
          <p:spPr>
            <a:xfrm>
              <a:off x="1286386" y="5042806"/>
              <a:ext cx="52604" cy="67130"/>
            </a:xfrm>
            <a:custGeom>
              <a:avLst/>
              <a:gdLst>
                <a:gd name="connsiteX0" fmla="*/ 16980 w 52604"/>
                <a:gd name="connsiteY0" fmla="*/ 67130 h 67130"/>
                <a:gd name="connsiteX1" fmla="*/ 8621 w 52604"/>
                <a:gd name="connsiteY1" fmla="*/ 64558 h 67130"/>
                <a:gd name="connsiteX2" fmla="*/ 2191 w 52604"/>
                <a:gd name="connsiteY2" fmla="*/ 41412 h 67130"/>
                <a:gd name="connsiteX3" fmla="*/ 20837 w 52604"/>
                <a:gd name="connsiteY3" fmla="*/ 8621 h 67130"/>
                <a:gd name="connsiteX4" fmla="*/ 43984 w 52604"/>
                <a:gd name="connsiteY4" fmla="*/ 2192 h 67130"/>
                <a:gd name="connsiteX5" fmla="*/ 50414 w 52604"/>
                <a:gd name="connsiteY5" fmla="*/ 25338 h 67130"/>
                <a:gd name="connsiteX6" fmla="*/ 31768 w 52604"/>
                <a:gd name="connsiteY6" fmla="*/ 58129 h 67130"/>
                <a:gd name="connsiteX7" fmla="*/ 16980 w 52604"/>
                <a:gd name="connsiteY7" fmla="*/ 67130 h 67130"/>
                <a:gd name="connsiteX8" fmla="*/ 16980 w 52604"/>
                <a:gd name="connsiteY8" fmla="*/ 67130 h 67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604" h="67130">
                  <a:moveTo>
                    <a:pt x="16980" y="67130"/>
                  </a:moveTo>
                  <a:cubicBezTo>
                    <a:pt x="14408" y="67130"/>
                    <a:pt x="11193" y="66488"/>
                    <a:pt x="8621" y="64558"/>
                  </a:cubicBezTo>
                  <a:cubicBezTo>
                    <a:pt x="263" y="60058"/>
                    <a:pt x="-2309" y="49770"/>
                    <a:pt x="2191" y="41412"/>
                  </a:cubicBezTo>
                  <a:lnTo>
                    <a:pt x="20837" y="8621"/>
                  </a:lnTo>
                  <a:cubicBezTo>
                    <a:pt x="25338" y="262"/>
                    <a:pt x="35625" y="-2309"/>
                    <a:pt x="43984" y="2192"/>
                  </a:cubicBezTo>
                  <a:cubicBezTo>
                    <a:pt x="52342" y="6692"/>
                    <a:pt x="54914" y="16980"/>
                    <a:pt x="50414" y="25338"/>
                  </a:cubicBezTo>
                  <a:lnTo>
                    <a:pt x="31768" y="58129"/>
                  </a:lnTo>
                  <a:cubicBezTo>
                    <a:pt x="28553" y="63916"/>
                    <a:pt x="22766" y="67130"/>
                    <a:pt x="16980" y="67130"/>
                  </a:cubicBezTo>
                  <a:lnTo>
                    <a:pt x="16980" y="67130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75" name="Forma Livre: Forma 74">
              <a:extLst>
                <a:ext uri="{FF2B5EF4-FFF2-40B4-BE49-F238E27FC236}">
                  <a16:creationId xmlns:a16="http://schemas.microsoft.com/office/drawing/2014/main" id="{44853D74-DC25-4CF4-98E0-5429D2AC7163}"/>
                </a:ext>
              </a:extLst>
            </p:cNvPr>
            <p:cNvSpPr/>
            <p:nvPr/>
          </p:nvSpPr>
          <p:spPr>
            <a:xfrm>
              <a:off x="1386950" y="5066858"/>
              <a:ext cx="33433" cy="71368"/>
            </a:xfrm>
            <a:custGeom>
              <a:avLst/>
              <a:gdLst>
                <a:gd name="connsiteX0" fmla="*/ 16717 w 33433"/>
                <a:gd name="connsiteY0" fmla="*/ 71369 h 71368"/>
                <a:gd name="connsiteX1" fmla="*/ 0 w 33433"/>
                <a:gd name="connsiteY1" fmla="*/ 54652 h 71368"/>
                <a:gd name="connsiteX2" fmla="*/ 0 w 33433"/>
                <a:gd name="connsiteY2" fmla="*/ 16717 h 71368"/>
                <a:gd name="connsiteX3" fmla="*/ 16717 w 33433"/>
                <a:gd name="connsiteY3" fmla="*/ 0 h 71368"/>
                <a:gd name="connsiteX4" fmla="*/ 33434 w 33433"/>
                <a:gd name="connsiteY4" fmla="*/ 16717 h 71368"/>
                <a:gd name="connsiteX5" fmla="*/ 33434 w 33433"/>
                <a:gd name="connsiteY5" fmla="*/ 54652 h 71368"/>
                <a:gd name="connsiteX6" fmla="*/ 16717 w 33433"/>
                <a:gd name="connsiteY6" fmla="*/ 71369 h 71368"/>
                <a:gd name="connsiteX7" fmla="*/ 16717 w 33433"/>
                <a:gd name="connsiteY7" fmla="*/ 71369 h 71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433" h="71368">
                  <a:moveTo>
                    <a:pt x="16717" y="71369"/>
                  </a:moveTo>
                  <a:cubicBezTo>
                    <a:pt x="7073" y="71369"/>
                    <a:pt x="0" y="63653"/>
                    <a:pt x="0" y="54652"/>
                  </a:cubicBezTo>
                  <a:lnTo>
                    <a:pt x="0" y="16717"/>
                  </a:lnTo>
                  <a:cubicBezTo>
                    <a:pt x="0" y="7073"/>
                    <a:pt x="7716" y="0"/>
                    <a:pt x="16717" y="0"/>
                  </a:cubicBezTo>
                  <a:cubicBezTo>
                    <a:pt x="26361" y="0"/>
                    <a:pt x="33434" y="7716"/>
                    <a:pt x="33434" y="16717"/>
                  </a:cubicBezTo>
                  <a:lnTo>
                    <a:pt x="33434" y="54652"/>
                  </a:lnTo>
                  <a:cubicBezTo>
                    <a:pt x="33434" y="63653"/>
                    <a:pt x="25718" y="71369"/>
                    <a:pt x="16717" y="71369"/>
                  </a:cubicBezTo>
                  <a:lnTo>
                    <a:pt x="16717" y="71369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76" name="Forma Livre: Forma 75">
              <a:extLst>
                <a:ext uri="{FF2B5EF4-FFF2-40B4-BE49-F238E27FC236}">
                  <a16:creationId xmlns:a16="http://schemas.microsoft.com/office/drawing/2014/main" id="{120A297B-A225-4AFA-9B23-AC16B71B71BF}"/>
                </a:ext>
              </a:extLst>
            </p:cNvPr>
            <p:cNvSpPr/>
            <p:nvPr/>
          </p:nvSpPr>
          <p:spPr>
            <a:xfrm>
              <a:off x="1468344" y="5045378"/>
              <a:ext cx="53247" cy="66487"/>
            </a:xfrm>
            <a:custGeom>
              <a:avLst/>
              <a:gdLst>
                <a:gd name="connsiteX0" fmla="*/ 36268 w 53247"/>
                <a:gd name="connsiteY0" fmla="*/ 66488 h 66487"/>
                <a:gd name="connsiteX1" fmla="*/ 21480 w 53247"/>
                <a:gd name="connsiteY1" fmla="*/ 58129 h 66487"/>
                <a:gd name="connsiteX2" fmla="*/ 2191 w 53247"/>
                <a:gd name="connsiteY2" fmla="*/ 25338 h 66487"/>
                <a:gd name="connsiteX3" fmla="*/ 8621 w 53247"/>
                <a:gd name="connsiteY3" fmla="*/ 2191 h 66487"/>
                <a:gd name="connsiteX4" fmla="*/ 31768 w 53247"/>
                <a:gd name="connsiteY4" fmla="*/ 8621 h 66487"/>
                <a:gd name="connsiteX5" fmla="*/ 51056 w 53247"/>
                <a:gd name="connsiteY5" fmla="*/ 41412 h 66487"/>
                <a:gd name="connsiteX6" fmla="*/ 44627 w 53247"/>
                <a:gd name="connsiteY6" fmla="*/ 64559 h 66487"/>
                <a:gd name="connsiteX7" fmla="*/ 36268 w 53247"/>
                <a:gd name="connsiteY7" fmla="*/ 66488 h 66487"/>
                <a:gd name="connsiteX8" fmla="*/ 36268 w 53247"/>
                <a:gd name="connsiteY8" fmla="*/ 66488 h 66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247" h="66487">
                  <a:moveTo>
                    <a:pt x="36268" y="66488"/>
                  </a:moveTo>
                  <a:cubicBezTo>
                    <a:pt x="30482" y="66488"/>
                    <a:pt x="24695" y="63273"/>
                    <a:pt x="21480" y="58129"/>
                  </a:cubicBezTo>
                  <a:lnTo>
                    <a:pt x="2191" y="25338"/>
                  </a:lnTo>
                  <a:cubicBezTo>
                    <a:pt x="-2309" y="16979"/>
                    <a:pt x="263" y="6692"/>
                    <a:pt x="8621" y="2191"/>
                  </a:cubicBezTo>
                  <a:cubicBezTo>
                    <a:pt x="16980" y="-2309"/>
                    <a:pt x="27267" y="263"/>
                    <a:pt x="31768" y="8621"/>
                  </a:cubicBezTo>
                  <a:lnTo>
                    <a:pt x="51056" y="41412"/>
                  </a:lnTo>
                  <a:cubicBezTo>
                    <a:pt x="55557" y="49771"/>
                    <a:pt x="52985" y="60058"/>
                    <a:pt x="44627" y="64559"/>
                  </a:cubicBezTo>
                  <a:cubicBezTo>
                    <a:pt x="42055" y="65845"/>
                    <a:pt x="38840" y="66488"/>
                    <a:pt x="36268" y="66488"/>
                  </a:cubicBezTo>
                  <a:lnTo>
                    <a:pt x="36268" y="66488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77" name="Forma Livre: Forma 76">
              <a:extLst>
                <a:ext uri="{FF2B5EF4-FFF2-40B4-BE49-F238E27FC236}">
                  <a16:creationId xmlns:a16="http://schemas.microsoft.com/office/drawing/2014/main" id="{A4CEAD8D-9917-4C47-B30D-9E5ED86FEA8C}"/>
                </a:ext>
              </a:extLst>
            </p:cNvPr>
            <p:cNvSpPr/>
            <p:nvPr/>
          </p:nvSpPr>
          <p:spPr>
            <a:xfrm>
              <a:off x="1529425" y="4986226"/>
              <a:ext cx="66750" cy="52985"/>
            </a:xfrm>
            <a:custGeom>
              <a:avLst/>
              <a:gdLst>
                <a:gd name="connsiteX0" fmla="*/ 49771 w 66750"/>
                <a:gd name="connsiteY0" fmla="*/ 52985 h 52985"/>
                <a:gd name="connsiteX1" fmla="*/ 41412 w 66750"/>
                <a:gd name="connsiteY1" fmla="*/ 50413 h 52985"/>
                <a:gd name="connsiteX2" fmla="*/ 8621 w 66750"/>
                <a:gd name="connsiteY2" fmla="*/ 31768 h 52985"/>
                <a:gd name="connsiteX3" fmla="*/ 2191 w 66750"/>
                <a:gd name="connsiteY3" fmla="*/ 8621 h 52985"/>
                <a:gd name="connsiteX4" fmla="*/ 25338 w 66750"/>
                <a:gd name="connsiteY4" fmla="*/ 2191 h 52985"/>
                <a:gd name="connsiteX5" fmla="*/ 58129 w 66750"/>
                <a:gd name="connsiteY5" fmla="*/ 20837 h 52985"/>
                <a:gd name="connsiteX6" fmla="*/ 64559 w 66750"/>
                <a:gd name="connsiteY6" fmla="*/ 43984 h 52985"/>
                <a:gd name="connsiteX7" fmla="*/ 49771 w 66750"/>
                <a:gd name="connsiteY7" fmla="*/ 52985 h 52985"/>
                <a:gd name="connsiteX8" fmla="*/ 49771 w 66750"/>
                <a:gd name="connsiteY8" fmla="*/ 52985 h 5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6750" h="52985">
                  <a:moveTo>
                    <a:pt x="49771" y="52985"/>
                  </a:moveTo>
                  <a:cubicBezTo>
                    <a:pt x="47199" y="52985"/>
                    <a:pt x="43984" y="52343"/>
                    <a:pt x="41412" y="50413"/>
                  </a:cubicBezTo>
                  <a:lnTo>
                    <a:pt x="8621" y="31768"/>
                  </a:lnTo>
                  <a:cubicBezTo>
                    <a:pt x="263" y="27267"/>
                    <a:pt x="-2309" y="16980"/>
                    <a:pt x="2191" y="8621"/>
                  </a:cubicBezTo>
                  <a:cubicBezTo>
                    <a:pt x="6692" y="262"/>
                    <a:pt x="16980" y="-2309"/>
                    <a:pt x="25338" y="2191"/>
                  </a:cubicBezTo>
                  <a:lnTo>
                    <a:pt x="58129" y="20837"/>
                  </a:lnTo>
                  <a:cubicBezTo>
                    <a:pt x="66488" y="25338"/>
                    <a:pt x="69059" y="35625"/>
                    <a:pt x="64559" y="43984"/>
                  </a:cubicBezTo>
                  <a:cubicBezTo>
                    <a:pt x="61344" y="49771"/>
                    <a:pt x="55557" y="52985"/>
                    <a:pt x="49771" y="52985"/>
                  </a:cubicBezTo>
                  <a:lnTo>
                    <a:pt x="49771" y="52985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78" name="Forma Livre: Forma 77">
              <a:extLst>
                <a:ext uri="{FF2B5EF4-FFF2-40B4-BE49-F238E27FC236}">
                  <a16:creationId xmlns:a16="http://schemas.microsoft.com/office/drawing/2014/main" id="{2B6B4C0D-6AE7-4D4D-8EB0-BF21B52D679E}"/>
                </a:ext>
              </a:extLst>
            </p:cNvPr>
            <p:cNvSpPr/>
            <p:nvPr/>
          </p:nvSpPr>
          <p:spPr>
            <a:xfrm>
              <a:off x="1552834" y="4905475"/>
              <a:ext cx="71368" cy="33434"/>
            </a:xfrm>
            <a:custGeom>
              <a:avLst/>
              <a:gdLst>
                <a:gd name="connsiteX0" fmla="*/ 54652 w 71368"/>
                <a:gd name="connsiteY0" fmla="*/ 33434 h 33434"/>
                <a:gd name="connsiteX1" fmla="*/ 16717 w 71368"/>
                <a:gd name="connsiteY1" fmla="*/ 33434 h 33434"/>
                <a:gd name="connsiteX2" fmla="*/ 0 w 71368"/>
                <a:gd name="connsiteY2" fmla="*/ 16717 h 33434"/>
                <a:gd name="connsiteX3" fmla="*/ 16717 w 71368"/>
                <a:gd name="connsiteY3" fmla="*/ 0 h 33434"/>
                <a:gd name="connsiteX4" fmla="*/ 54652 w 71368"/>
                <a:gd name="connsiteY4" fmla="*/ 0 h 33434"/>
                <a:gd name="connsiteX5" fmla="*/ 71369 w 71368"/>
                <a:gd name="connsiteY5" fmla="*/ 16717 h 33434"/>
                <a:gd name="connsiteX6" fmla="*/ 54652 w 71368"/>
                <a:gd name="connsiteY6" fmla="*/ 33434 h 33434"/>
                <a:gd name="connsiteX7" fmla="*/ 54652 w 71368"/>
                <a:gd name="connsiteY7" fmla="*/ 33434 h 33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1368" h="33434">
                  <a:moveTo>
                    <a:pt x="54652" y="33434"/>
                  </a:moveTo>
                  <a:lnTo>
                    <a:pt x="16717" y="33434"/>
                  </a:lnTo>
                  <a:cubicBezTo>
                    <a:pt x="7073" y="33434"/>
                    <a:pt x="0" y="25718"/>
                    <a:pt x="0" y="16717"/>
                  </a:cubicBezTo>
                  <a:cubicBezTo>
                    <a:pt x="0" y="7716"/>
                    <a:pt x="7716" y="0"/>
                    <a:pt x="16717" y="0"/>
                  </a:cubicBezTo>
                  <a:lnTo>
                    <a:pt x="54652" y="0"/>
                  </a:lnTo>
                  <a:cubicBezTo>
                    <a:pt x="64296" y="0"/>
                    <a:pt x="71369" y="7716"/>
                    <a:pt x="71369" y="16717"/>
                  </a:cubicBezTo>
                  <a:cubicBezTo>
                    <a:pt x="71369" y="25718"/>
                    <a:pt x="63653" y="33434"/>
                    <a:pt x="54652" y="33434"/>
                  </a:cubicBezTo>
                  <a:lnTo>
                    <a:pt x="54652" y="33434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79" name="Forma Livre: Forma 78">
              <a:extLst>
                <a:ext uri="{FF2B5EF4-FFF2-40B4-BE49-F238E27FC236}">
                  <a16:creationId xmlns:a16="http://schemas.microsoft.com/office/drawing/2014/main" id="{57D6F6A4-79DE-45E0-93BB-9A28F5F6E58F}"/>
                </a:ext>
              </a:extLst>
            </p:cNvPr>
            <p:cNvSpPr/>
            <p:nvPr/>
          </p:nvSpPr>
          <p:spPr>
            <a:xfrm>
              <a:off x="1531354" y="4804268"/>
              <a:ext cx="66750" cy="52342"/>
            </a:xfrm>
            <a:custGeom>
              <a:avLst/>
              <a:gdLst>
                <a:gd name="connsiteX0" fmla="*/ 16980 w 66750"/>
                <a:gd name="connsiteY0" fmla="*/ 52342 h 52342"/>
                <a:gd name="connsiteX1" fmla="*/ 2191 w 66750"/>
                <a:gd name="connsiteY1" fmla="*/ 43984 h 52342"/>
                <a:gd name="connsiteX2" fmla="*/ 8621 w 66750"/>
                <a:gd name="connsiteY2" fmla="*/ 20837 h 52342"/>
                <a:gd name="connsiteX3" fmla="*/ 41412 w 66750"/>
                <a:gd name="connsiteY3" fmla="*/ 2191 h 52342"/>
                <a:gd name="connsiteX4" fmla="*/ 64559 w 66750"/>
                <a:gd name="connsiteY4" fmla="*/ 8621 h 52342"/>
                <a:gd name="connsiteX5" fmla="*/ 58129 w 66750"/>
                <a:gd name="connsiteY5" fmla="*/ 31768 h 52342"/>
                <a:gd name="connsiteX6" fmla="*/ 25338 w 66750"/>
                <a:gd name="connsiteY6" fmla="*/ 50414 h 52342"/>
                <a:gd name="connsiteX7" fmla="*/ 16980 w 66750"/>
                <a:gd name="connsiteY7" fmla="*/ 52342 h 52342"/>
                <a:gd name="connsiteX8" fmla="*/ 16980 w 66750"/>
                <a:gd name="connsiteY8" fmla="*/ 52342 h 52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6750" h="52342">
                  <a:moveTo>
                    <a:pt x="16980" y="52342"/>
                  </a:moveTo>
                  <a:cubicBezTo>
                    <a:pt x="11193" y="52342"/>
                    <a:pt x="5406" y="49128"/>
                    <a:pt x="2191" y="43984"/>
                  </a:cubicBezTo>
                  <a:cubicBezTo>
                    <a:pt x="-2309" y="35626"/>
                    <a:pt x="263" y="25338"/>
                    <a:pt x="8621" y="20837"/>
                  </a:cubicBezTo>
                  <a:lnTo>
                    <a:pt x="41412" y="2191"/>
                  </a:lnTo>
                  <a:cubicBezTo>
                    <a:pt x="49771" y="-2309"/>
                    <a:pt x="60058" y="263"/>
                    <a:pt x="64559" y="8621"/>
                  </a:cubicBezTo>
                  <a:cubicBezTo>
                    <a:pt x="69059" y="16979"/>
                    <a:pt x="66488" y="27267"/>
                    <a:pt x="58129" y="31768"/>
                  </a:cubicBezTo>
                  <a:lnTo>
                    <a:pt x="25338" y="50414"/>
                  </a:lnTo>
                  <a:cubicBezTo>
                    <a:pt x="22766" y="51700"/>
                    <a:pt x="20194" y="52342"/>
                    <a:pt x="16980" y="52342"/>
                  </a:cubicBezTo>
                  <a:lnTo>
                    <a:pt x="16980" y="52342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80" name="Forma Livre: Forma 79">
              <a:extLst>
                <a:ext uri="{FF2B5EF4-FFF2-40B4-BE49-F238E27FC236}">
                  <a16:creationId xmlns:a16="http://schemas.microsoft.com/office/drawing/2014/main" id="{AA549176-C9C0-4E04-925C-E1606EE8AA24}"/>
                </a:ext>
              </a:extLst>
            </p:cNvPr>
            <p:cNvSpPr/>
            <p:nvPr/>
          </p:nvSpPr>
          <p:spPr>
            <a:xfrm>
              <a:off x="1472845" y="4729041"/>
              <a:ext cx="53247" cy="67130"/>
            </a:xfrm>
            <a:custGeom>
              <a:avLst/>
              <a:gdLst>
                <a:gd name="connsiteX0" fmla="*/ 16980 w 53247"/>
                <a:gd name="connsiteY0" fmla="*/ 67131 h 67130"/>
                <a:gd name="connsiteX1" fmla="*/ 8621 w 53247"/>
                <a:gd name="connsiteY1" fmla="*/ 64559 h 67130"/>
                <a:gd name="connsiteX2" fmla="*/ 2191 w 53247"/>
                <a:gd name="connsiteY2" fmla="*/ 41412 h 67130"/>
                <a:gd name="connsiteX3" fmla="*/ 21480 w 53247"/>
                <a:gd name="connsiteY3" fmla="*/ 8621 h 67130"/>
                <a:gd name="connsiteX4" fmla="*/ 44627 w 53247"/>
                <a:gd name="connsiteY4" fmla="*/ 2191 h 67130"/>
                <a:gd name="connsiteX5" fmla="*/ 51056 w 53247"/>
                <a:gd name="connsiteY5" fmla="*/ 25338 h 67130"/>
                <a:gd name="connsiteX6" fmla="*/ 31768 w 53247"/>
                <a:gd name="connsiteY6" fmla="*/ 58129 h 67130"/>
                <a:gd name="connsiteX7" fmla="*/ 16980 w 53247"/>
                <a:gd name="connsiteY7" fmla="*/ 67131 h 67130"/>
                <a:gd name="connsiteX8" fmla="*/ 16980 w 53247"/>
                <a:gd name="connsiteY8" fmla="*/ 67131 h 67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247" h="67130">
                  <a:moveTo>
                    <a:pt x="16980" y="67131"/>
                  </a:moveTo>
                  <a:cubicBezTo>
                    <a:pt x="14408" y="67131"/>
                    <a:pt x="11193" y="66487"/>
                    <a:pt x="8621" y="64559"/>
                  </a:cubicBezTo>
                  <a:cubicBezTo>
                    <a:pt x="263" y="60058"/>
                    <a:pt x="-2309" y="49771"/>
                    <a:pt x="2191" y="41412"/>
                  </a:cubicBezTo>
                  <a:lnTo>
                    <a:pt x="21480" y="8621"/>
                  </a:lnTo>
                  <a:cubicBezTo>
                    <a:pt x="25981" y="262"/>
                    <a:pt x="36268" y="-2309"/>
                    <a:pt x="44627" y="2191"/>
                  </a:cubicBezTo>
                  <a:cubicBezTo>
                    <a:pt x="52985" y="6692"/>
                    <a:pt x="55557" y="16980"/>
                    <a:pt x="51056" y="25338"/>
                  </a:cubicBezTo>
                  <a:lnTo>
                    <a:pt x="31768" y="58129"/>
                  </a:lnTo>
                  <a:cubicBezTo>
                    <a:pt x="28553" y="63916"/>
                    <a:pt x="22766" y="67131"/>
                    <a:pt x="16980" y="67131"/>
                  </a:cubicBezTo>
                  <a:lnTo>
                    <a:pt x="16980" y="67131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81" name="Gráfico 2">
            <a:extLst>
              <a:ext uri="{FF2B5EF4-FFF2-40B4-BE49-F238E27FC236}">
                <a16:creationId xmlns:a16="http://schemas.microsoft.com/office/drawing/2014/main" id="{E6A58F1B-1486-481C-A840-114C4B40DAF4}"/>
              </a:ext>
            </a:extLst>
          </p:cNvPr>
          <p:cNvGrpSpPr/>
          <p:nvPr/>
        </p:nvGrpSpPr>
        <p:grpSpPr>
          <a:xfrm>
            <a:off x="2112419" y="1313581"/>
            <a:ext cx="498963" cy="316369"/>
            <a:chOff x="3227749" y="557127"/>
            <a:chExt cx="506010" cy="320837"/>
          </a:xfrm>
          <a:solidFill>
            <a:schemeClr val="bg1"/>
          </a:solidFill>
        </p:grpSpPr>
        <p:sp>
          <p:nvSpPr>
            <p:cNvPr id="82" name="Forma Livre: Forma 81">
              <a:extLst>
                <a:ext uri="{FF2B5EF4-FFF2-40B4-BE49-F238E27FC236}">
                  <a16:creationId xmlns:a16="http://schemas.microsoft.com/office/drawing/2014/main" id="{8B0F51BA-B1AA-4627-B232-3F7DDFDAACAA}"/>
                </a:ext>
              </a:extLst>
            </p:cNvPr>
            <p:cNvSpPr/>
            <p:nvPr/>
          </p:nvSpPr>
          <p:spPr>
            <a:xfrm>
              <a:off x="3274042" y="557127"/>
              <a:ext cx="407031" cy="271329"/>
            </a:xfrm>
            <a:custGeom>
              <a:avLst/>
              <a:gdLst>
                <a:gd name="connsiteX0" fmla="*/ 390277 w 407031"/>
                <a:gd name="connsiteY0" fmla="*/ 271330 h 271329"/>
                <a:gd name="connsiteX1" fmla="*/ 16717 w 407031"/>
                <a:gd name="connsiteY1" fmla="*/ 271330 h 271329"/>
                <a:gd name="connsiteX2" fmla="*/ 0 w 407031"/>
                <a:gd name="connsiteY2" fmla="*/ 254613 h 271329"/>
                <a:gd name="connsiteX3" fmla="*/ 0 w 407031"/>
                <a:gd name="connsiteY3" fmla="*/ 16717 h 271329"/>
                <a:gd name="connsiteX4" fmla="*/ 16717 w 407031"/>
                <a:gd name="connsiteY4" fmla="*/ 0 h 271329"/>
                <a:gd name="connsiteX5" fmla="*/ 390277 w 407031"/>
                <a:gd name="connsiteY5" fmla="*/ 0 h 271329"/>
                <a:gd name="connsiteX6" fmla="*/ 406994 w 407031"/>
                <a:gd name="connsiteY6" fmla="*/ 16717 h 271329"/>
                <a:gd name="connsiteX7" fmla="*/ 406994 w 407031"/>
                <a:gd name="connsiteY7" fmla="*/ 254613 h 271329"/>
                <a:gd name="connsiteX8" fmla="*/ 390277 w 407031"/>
                <a:gd name="connsiteY8" fmla="*/ 271330 h 271329"/>
                <a:gd name="connsiteX9" fmla="*/ 390277 w 407031"/>
                <a:gd name="connsiteY9" fmla="*/ 271330 h 271329"/>
                <a:gd name="connsiteX10" fmla="*/ 34077 w 407031"/>
                <a:gd name="connsiteY10" fmla="*/ 237253 h 271329"/>
                <a:gd name="connsiteX11" fmla="*/ 373561 w 407031"/>
                <a:gd name="connsiteY11" fmla="*/ 237253 h 271329"/>
                <a:gd name="connsiteX12" fmla="*/ 373561 w 407031"/>
                <a:gd name="connsiteY12" fmla="*/ 33434 h 271329"/>
                <a:gd name="connsiteX13" fmla="*/ 34077 w 407031"/>
                <a:gd name="connsiteY13" fmla="*/ 33434 h 271329"/>
                <a:gd name="connsiteX14" fmla="*/ 34077 w 407031"/>
                <a:gd name="connsiteY14" fmla="*/ 237253 h 271329"/>
                <a:gd name="connsiteX15" fmla="*/ 34077 w 407031"/>
                <a:gd name="connsiteY15" fmla="*/ 237253 h 271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7031" h="271329">
                  <a:moveTo>
                    <a:pt x="390277" y="271330"/>
                  </a:moveTo>
                  <a:lnTo>
                    <a:pt x="16717" y="271330"/>
                  </a:lnTo>
                  <a:cubicBezTo>
                    <a:pt x="7073" y="271330"/>
                    <a:pt x="0" y="263614"/>
                    <a:pt x="0" y="254613"/>
                  </a:cubicBezTo>
                  <a:lnTo>
                    <a:pt x="0" y="16717"/>
                  </a:lnTo>
                  <a:cubicBezTo>
                    <a:pt x="0" y="7073"/>
                    <a:pt x="7715" y="0"/>
                    <a:pt x="16717" y="0"/>
                  </a:cubicBezTo>
                  <a:lnTo>
                    <a:pt x="390277" y="0"/>
                  </a:lnTo>
                  <a:cubicBezTo>
                    <a:pt x="399922" y="0"/>
                    <a:pt x="406994" y="7716"/>
                    <a:pt x="406994" y="16717"/>
                  </a:cubicBezTo>
                  <a:lnTo>
                    <a:pt x="406994" y="254613"/>
                  </a:lnTo>
                  <a:cubicBezTo>
                    <a:pt x="407637" y="263614"/>
                    <a:pt x="399922" y="271330"/>
                    <a:pt x="390277" y="271330"/>
                  </a:cubicBezTo>
                  <a:lnTo>
                    <a:pt x="390277" y="271330"/>
                  </a:lnTo>
                  <a:close/>
                  <a:moveTo>
                    <a:pt x="34077" y="237253"/>
                  </a:moveTo>
                  <a:lnTo>
                    <a:pt x="373561" y="237253"/>
                  </a:lnTo>
                  <a:lnTo>
                    <a:pt x="373561" y="33434"/>
                  </a:lnTo>
                  <a:lnTo>
                    <a:pt x="34077" y="33434"/>
                  </a:lnTo>
                  <a:lnTo>
                    <a:pt x="34077" y="237253"/>
                  </a:lnTo>
                  <a:lnTo>
                    <a:pt x="34077" y="237253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83" name="Forma Livre: Forma 82">
              <a:extLst>
                <a:ext uri="{FF2B5EF4-FFF2-40B4-BE49-F238E27FC236}">
                  <a16:creationId xmlns:a16="http://schemas.microsoft.com/office/drawing/2014/main" id="{3AFC8E06-AD41-4AC9-A8BC-5F74B105DFDE}"/>
                </a:ext>
              </a:extLst>
            </p:cNvPr>
            <p:cNvSpPr/>
            <p:nvPr/>
          </p:nvSpPr>
          <p:spPr>
            <a:xfrm>
              <a:off x="3317120" y="598919"/>
              <a:ext cx="322123" cy="186458"/>
            </a:xfrm>
            <a:custGeom>
              <a:avLst/>
              <a:gdLst>
                <a:gd name="connsiteX0" fmla="*/ 313765 w 322123"/>
                <a:gd name="connsiteY0" fmla="*/ 186459 h 186458"/>
                <a:gd name="connsiteX1" fmla="*/ 8359 w 322123"/>
                <a:gd name="connsiteY1" fmla="*/ 186459 h 186458"/>
                <a:gd name="connsiteX2" fmla="*/ 0 w 322123"/>
                <a:gd name="connsiteY2" fmla="*/ 178100 h 186458"/>
                <a:gd name="connsiteX3" fmla="*/ 0 w 322123"/>
                <a:gd name="connsiteY3" fmla="*/ 8359 h 186458"/>
                <a:gd name="connsiteX4" fmla="*/ 8359 w 322123"/>
                <a:gd name="connsiteY4" fmla="*/ 0 h 186458"/>
                <a:gd name="connsiteX5" fmla="*/ 313765 w 322123"/>
                <a:gd name="connsiteY5" fmla="*/ 0 h 186458"/>
                <a:gd name="connsiteX6" fmla="*/ 322124 w 322123"/>
                <a:gd name="connsiteY6" fmla="*/ 8359 h 186458"/>
                <a:gd name="connsiteX7" fmla="*/ 322124 w 322123"/>
                <a:gd name="connsiteY7" fmla="*/ 178100 h 186458"/>
                <a:gd name="connsiteX8" fmla="*/ 313765 w 322123"/>
                <a:gd name="connsiteY8" fmla="*/ 186459 h 186458"/>
                <a:gd name="connsiteX9" fmla="*/ 313765 w 322123"/>
                <a:gd name="connsiteY9" fmla="*/ 186459 h 186458"/>
                <a:gd name="connsiteX10" fmla="*/ 16074 w 322123"/>
                <a:gd name="connsiteY10" fmla="*/ 169742 h 186458"/>
                <a:gd name="connsiteX11" fmla="*/ 304764 w 322123"/>
                <a:gd name="connsiteY11" fmla="*/ 169742 h 186458"/>
                <a:gd name="connsiteX12" fmla="*/ 304764 w 322123"/>
                <a:gd name="connsiteY12" fmla="*/ 16717 h 186458"/>
                <a:gd name="connsiteX13" fmla="*/ 16074 w 322123"/>
                <a:gd name="connsiteY13" fmla="*/ 16717 h 186458"/>
                <a:gd name="connsiteX14" fmla="*/ 16074 w 322123"/>
                <a:gd name="connsiteY14" fmla="*/ 169742 h 186458"/>
                <a:gd name="connsiteX15" fmla="*/ 16074 w 322123"/>
                <a:gd name="connsiteY15" fmla="*/ 169742 h 186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2123" h="186458">
                  <a:moveTo>
                    <a:pt x="313765" y="186459"/>
                  </a:moveTo>
                  <a:lnTo>
                    <a:pt x="8359" y="186459"/>
                  </a:lnTo>
                  <a:cubicBezTo>
                    <a:pt x="3858" y="186459"/>
                    <a:pt x="0" y="182601"/>
                    <a:pt x="0" y="178100"/>
                  </a:cubicBezTo>
                  <a:lnTo>
                    <a:pt x="0" y="8359"/>
                  </a:lnTo>
                  <a:cubicBezTo>
                    <a:pt x="0" y="3858"/>
                    <a:pt x="3858" y="0"/>
                    <a:pt x="8359" y="0"/>
                  </a:cubicBezTo>
                  <a:lnTo>
                    <a:pt x="313765" y="0"/>
                  </a:lnTo>
                  <a:cubicBezTo>
                    <a:pt x="318266" y="0"/>
                    <a:pt x="322124" y="3858"/>
                    <a:pt x="322124" y="8359"/>
                  </a:cubicBezTo>
                  <a:lnTo>
                    <a:pt x="322124" y="178100"/>
                  </a:lnTo>
                  <a:cubicBezTo>
                    <a:pt x="322124" y="183244"/>
                    <a:pt x="318266" y="186459"/>
                    <a:pt x="313765" y="186459"/>
                  </a:cubicBezTo>
                  <a:lnTo>
                    <a:pt x="313765" y="186459"/>
                  </a:lnTo>
                  <a:close/>
                  <a:moveTo>
                    <a:pt x="16074" y="169742"/>
                  </a:moveTo>
                  <a:lnTo>
                    <a:pt x="304764" y="169742"/>
                  </a:lnTo>
                  <a:lnTo>
                    <a:pt x="304764" y="16717"/>
                  </a:lnTo>
                  <a:lnTo>
                    <a:pt x="16074" y="16717"/>
                  </a:lnTo>
                  <a:lnTo>
                    <a:pt x="16074" y="169742"/>
                  </a:lnTo>
                  <a:lnTo>
                    <a:pt x="16074" y="169742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84" name="Forma Livre: Forma 83">
              <a:extLst>
                <a:ext uri="{FF2B5EF4-FFF2-40B4-BE49-F238E27FC236}">
                  <a16:creationId xmlns:a16="http://schemas.microsoft.com/office/drawing/2014/main" id="{515E7638-CFFE-48D7-8A24-3B8BE187FA0A}"/>
                </a:ext>
              </a:extLst>
            </p:cNvPr>
            <p:cNvSpPr/>
            <p:nvPr/>
          </p:nvSpPr>
          <p:spPr>
            <a:xfrm>
              <a:off x="3227749" y="844531"/>
              <a:ext cx="506010" cy="33434"/>
            </a:xfrm>
            <a:custGeom>
              <a:avLst/>
              <a:gdLst>
                <a:gd name="connsiteX0" fmla="*/ 489294 w 506010"/>
                <a:gd name="connsiteY0" fmla="*/ 33434 h 33434"/>
                <a:gd name="connsiteX1" fmla="*/ 16717 w 506010"/>
                <a:gd name="connsiteY1" fmla="*/ 33434 h 33434"/>
                <a:gd name="connsiteX2" fmla="*/ 0 w 506010"/>
                <a:gd name="connsiteY2" fmla="*/ 16717 h 33434"/>
                <a:gd name="connsiteX3" fmla="*/ 16717 w 506010"/>
                <a:gd name="connsiteY3" fmla="*/ 0 h 33434"/>
                <a:gd name="connsiteX4" fmla="*/ 489294 w 506010"/>
                <a:gd name="connsiteY4" fmla="*/ 0 h 33434"/>
                <a:gd name="connsiteX5" fmla="*/ 506011 w 506010"/>
                <a:gd name="connsiteY5" fmla="*/ 16717 h 33434"/>
                <a:gd name="connsiteX6" fmla="*/ 489294 w 506010"/>
                <a:gd name="connsiteY6" fmla="*/ 33434 h 33434"/>
                <a:gd name="connsiteX7" fmla="*/ 489294 w 506010"/>
                <a:gd name="connsiteY7" fmla="*/ 33434 h 33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6010" h="33434">
                  <a:moveTo>
                    <a:pt x="489294" y="33434"/>
                  </a:moveTo>
                  <a:lnTo>
                    <a:pt x="16717" y="33434"/>
                  </a:lnTo>
                  <a:cubicBezTo>
                    <a:pt x="7073" y="33434"/>
                    <a:pt x="0" y="25718"/>
                    <a:pt x="0" y="16717"/>
                  </a:cubicBezTo>
                  <a:cubicBezTo>
                    <a:pt x="0" y="7073"/>
                    <a:pt x="7716" y="0"/>
                    <a:pt x="16717" y="0"/>
                  </a:cubicBezTo>
                  <a:lnTo>
                    <a:pt x="489294" y="0"/>
                  </a:lnTo>
                  <a:cubicBezTo>
                    <a:pt x="498938" y="0"/>
                    <a:pt x="506011" y="7716"/>
                    <a:pt x="506011" y="16717"/>
                  </a:cubicBezTo>
                  <a:cubicBezTo>
                    <a:pt x="506011" y="25718"/>
                    <a:pt x="498295" y="33434"/>
                    <a:pt x="489294" y="33434"/>
                  </a:cubicBezTo>
                  <a:lnTo>
                    <a:pt x="489294" y="33434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85" name="Gráfico 2">
            <a:extLst>
              <a:ext uri="{FF2B5EF4-FFF2-40B4-BE49-F238E27FC236}">
                <a16:creationId xmlns:a16="http://schemas.microsoft.com/office/drawing/2014/main" id="{B0DBEAD3-6241-4FFE-820C-783DB4722FF0}"/>
              </a:ext>
            </a:extLst>
          </p:cNvPr>
          <p:cNvGrpSpPr/>
          <p:nvPr/>
        </p:nvGrpSpPr>
        <p:grpSpPr>
          <a:xfrm>
            <a:off x="2123911" y="3045205"/>
            <a:ext cx="469674" cy="383795"/>
            <a:chOff x="1167304" y="2625952"/>
            <a:chExt cx="476308" cy="389216"/>
          </a:xfrm>
          <a:solidFill>
            <a:schemeClr val="bg1"/>
          </a:solidFill>
        </p:grpSpPr>
        <p:sp>
          <p:nvSpPr>
            <p:cNvPr id="86" name="Forma Livre: Forma 85">
              <a:extLst>
                <a:ext uri="{FF2B5EF4-FFF2-40B4-BE49-F238E27FC236}">
                  <a16:creationId xmlns:a16="http://schemas.microsoft.com/office/drawing/2014/main" id="{18A2E2C2-CAA9-4C08-926B-E608758745F9}"/>
                </a:ext>
              </a:extLst>
            </p:cNvPr>
            <p:cNvSpPr/>
            <p:nvPr/>
          </p:nvSpPr>
          <p:spPr>
            <a:xfrm>
              <a:off x="1169509" y="2634510"/>
              <a:ext cx="232993" cy="136975"/>
            </a:xfrm>
            <a:custGeom>
              <a:avLst/>
              <a:gdLst>
                <a:gd name="connsiteX0" fmla="*/ 68917 w 232993"/>
                <a:gd name="connsiteY0" fmla="*/ 136976 h 136975"/>
                <a:gd name="connsiteX1" fmla="*/ 57987 w 232993"/>
                <a:gd name="connsiteY1" fmla="*/ 133118 h 136975"/>
                <a:gd name="connsiteX2" fmla="*/ 5907 w 232993"/>
                <a:gd name="connsiteY2" fmla="*/ 88753 h 136975"/>
                <a:gd name="connsiteX3" fmla="*/ 121 w 232993"/>
                <a:gd name="connsiteY3" fmla="*/ 73322 h 136975"/>
                <a:gd name="connsiteX4" fmla="*/ 10408 w 232993"/>
                <a:gd name="connsiteY4" fmla="*/ 60463 h 136975"/>
                <a:gd name="connsiteX5" fmla="*/ 157646 w 232993"/>
                <a:gd name="connsiteY5" fmla="*/ 1311 h 136975"/>
                <a:gd name="connsiteX6" fmla="*/ 175006 w 232993"/>
                <a:gd name="connsiteY6" fmla="*/ 4526 h 136975"/>
                <a:gd name="connsiteX7" fmla="*/ 227086 w 232993"/>
                <a:gd name="connsiteY7" fmla="*/ 48890 h 136975"/>
                <a:gd name="connsiteX8" fmla="*/ 232873 w 232993"/>
                <a:gd name="connsiteY8" fmla="*/ 64321 h 136975"/>
                <a:gd name="connsiteX9" fmla="*/ 222585 w 232993"/>
                <a:gd name="connsiteY9" fmla="*/ 77180 h 136975"/>
                <a:gd name="connsiteX10" fmla="*/ 75347 w 232993"/>
                <a:gd name="connsiteY10" fmla="*/ 135690 h 136975"/>
                <a:gd name="connsiteX11" fmla="*/ 68917 w 232993"/>
                <a:gd name="connsiteY11" fmla="*/ 136976 h 136975"/>
                <a:gd name="connsiteX12" fmla="*/ 68917 w 232993"/>
                <a:gd name="connsiteY12" fmla="*/ 136976 h 136975"/>
                <a:gd name="connsiteX13" fmla="*/ 49629 w 232993"/>
                <a:gd name="connsiteY13" fmla="*/ 80395 h 136975"/>
                <a:gd name="connsiteX14" fmla="*/ 72132 w 232993"/>
                <a:gd name="connsiteY14" fmla="*/ 100327 h 136975"/>
                <a:gd name="connsiteX15" fmla="*/ 184008 w 232993"/>
                <a:gd name="connsiteY15" fmla="*/ 55320 h 136975"/>
                <a:gd name="connsiteX16" fmla="*/ 161504 w 232993"/>
                <a:gd name="connsiteY16" fmla="*/ 35388 h 136975"/>
                <a:gd name="connsiteX17" fmla="*/ 49629 w 232993"/>
                <a:gd name="connsiteY17" fmla="*/ 80395 h 136975"/>
                <a:gd name="connsiteX18" fmla="*/ 49629 w 232993"/>
                <a:gd name="connsiteY18" fmla="*/ 80395 h 136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32993" h="136975">
                  <a:moveTo>
                    <a:pt x="68917" y="136976"/>
                  </a:moveTo>
                  <a:cubicBezTo>
                    <a:pt x="65060" y="136976"/>
                    <a:pt x="61202" y="135690"/>
                    <a:pt x="57987" y="133118"/>
                  </a:cubicBezTo>
                  <a:lnTo>
                    <a:pt x="5907" y="88753"/>
                  </a:lnTo>
                  <a:cubicBezTo>
                    <a:pt x="1406" y="84896"/>
                    <a:pt x="-522" y="79109"/>
                    <a:pt x="121" y="73322"/>
                  </a:cubicBezTo>
                  <a:cubicBezTo>
                    <a:pt x="1406" y="67536"/>
                    <a:pt x="5264" y="62392"/>
                    <a:pt x="10408" y="60463"/>
                  </a:cubicBezTo>
                  <a:lnTo>
                    <a:pt x="157646" y="1311"/>
                  </a:lnTo>
                  <a:cubicBezTo>
                    <a:pt x="163433" y="-1261"/>
                    <a:pt x="170505" y="25"/>
                    <a:pt x="175006" y="4526"/>
                  </a:cubicBezTo>
                  <a:lnTo>
                    <a:pt x="227086" y="48890"/>
                  </a:lnTo>
                  <a:cubicBezTo>
                    <a:pt x="231587" y="52748"/>
                    <a:pt x="233516" y="58534"/>
                    <a:pt x="232873" y="64321"/>
                  </a:cubicBezTo>
                  <a:cubicBezTo>
                    <a:pt x="231587" y="70108"/>
                    <a:pt x="227729" y="75251"/>
                    <a:pt x="222585" y="77180"/>
                  </a:cubicBezTo>
                  <a:lnTo>
                    <a:pt x="75347" y="135690"/>
                  </a:lnTo>
                  <a:cubicBezTo>
                    <a:pt x="73418" y="136333"/>
                    <a:pt x="71489" y="136976"/>
                    <a:pt x="68917" y="136976"/>
                  </a:cubicBezTo>
                  <a:lnTo>
                    <a:pt x="68917" y="136976"/>
                  </a:lnTo>
                  <a:close/>
                  <a:moveTo>
                    <a:pt x="49629" y="80395"/>
                  </a:moveTo>
                  <a:lnTo>
                    <a:pt x="72132" y="100327"/>
                  </a:lnTo>
                  <a:lnTo>
                    <a:pt x="184008" y="55320"/>
                  </a:lnTo>
                  <a:lnTo>
                    <a:pt x="161504" y="35388"/>
                  </a:lnTo>
                  <a:lnTo>
                    <a:pt x="49629" y="80395"/>
                  </a:lnTo>
                  <a:lnTo>
                    <a:pt x="49629" y="80395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87" name="Forma Livre: Forma 86">
              <a:extLst>
                <a:ext uri="{FF2B5EF4-FFF2-40B4-BE49-F238E27FC236}">
                  <a16:creationId xmlns:a16="http://schemas.microsoft.com/office/drawing/2014/main" id="{AA41AC2B-92A1-4589-8E35-1E73C993FD57}"/>
                </a:ext>
              </a:extLst>
            </p:cNvPr>
            <p:cNvSpPr/>
            <p:nvPr/>
          </p:nvSpPr>
          <p:spPr>
            <a:xfrm>
              <a:off x="1365733" y="2815207"/>
              <a:ext cx="209605" cy="199961"/>
            </a:xfrm>
            <a:custGeom>
              <a:avLst/>
              <a:gdLst>
                <a:gd name="connsiteX0" fmla="*/ 17360 w 209605"/>
                <a:gd name="connsiteY0" fmla="*/ 199961 h 199961"/>
                <a:gd name="connsiteX1" fmla="*/ 7073 w 209605"/>
                <a:gd name="connsiteY1" fmla="*/ 196746 h 199961"/>
                <a:gd name="connsiteX2" fmla="*/ 0 w 209605"/>
                <a:gd name="connsiteY2" fmla="*/ 183244 h 199961"/>
                <a:gd name="connsiteX3" fmla="*/ 0 w 209605"/>
                <a:gd name="connsiteY3" fmla="*/ 16717 h 199961"/>
                <a:gd name="connsiteX4" fmla="*/ 16717 w 209605"/>
                <a:gd name="connsiteY4" fmla="*/ 0 h 199961"/>
                <a:gd name="connsiteX5" fmla="*/ 33434 w 209605"/>
                <a:gd name="connsiteY5" fmla="*/ 16717 h 199961"/>
                <a:gd name="connsiteX6" fmla="*/ 33434 w 209605"/>
                <a:gd name="connsiteY6" fmla="*/ 160097 h 199961"/>
                <a:gd name="connsiteX7" fmla="*/ 176171 w 209605"/>
                <a:gd name="connsiteY7" fmla="*/ 115090 h 199961"/>
                <a:gd name="connsiteX8" fmla="*/ 176171 w 209605"/>
                <a:gd name="connsiteY8" fmla="*/ 39221 h 199961"/>
                <a:gd name="connsiteX9" fmla="*/ 192888 w 209605"/>
                <a:gd name="connsiteY9" fmla="*/ 22504 h 199961"/>
                <a:gd name="connsiteX10" fmla="*/ 209605 w 209605"/>
                <a:gd name="connsiteY10" fmla="*/ 39221 h 199961"/>
                <a:gd name="connsiteX11" fmla="*/ 209605 w 209605"/>
                <a:gd name="connsiteY11" fmla="*/ 127306 h 199961"/>
                <a:gd name="connsiteX12" fmla="*/ 198032 w 209605"/>
                <a:gd name="connsiteY12" fmla="*/ 143380 h 199961"/>
                <a:gd name="connsiteX13" fmla="*/ 21218 w 209605"/>
                <a:gd name="connsiteY13" fmla="*/ 199318 h 199961"/>
                <a:gd name="connsiteX14" fmla="*/ 17360 w 209605"/>
                <a:gd name="connsiteY14" fmla="*/ 199961 h 199961"/>
                <a:gd name="connsiteX15" fmla="*/ 17360 w 209605"/>
                <a:gd name="connsiteY15" fmla="*/ 199961 h 199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9605" h="199961">
                  <a:moveTo>
                    <a:pt x="17360" y="199961"/>
                  </a:moveTo>
                  <a:cubicBezTo>
                    <a:pt x="13502" y="199961"/>
                    <a:pt x="10287" y="198675"/>
                    <a:pt x="7073" y="196746"/>
                  </a:cubicBezTo>
                  <a:cubicBezTo>
                    <a:pt x="2572" y="193531"/>
                    <a:pt x="0" y="188388"/>
                    <a:pt x="0" y="183244"/>
                  </a:cubicBezTo>
                  <a:lnTo>
                    <a:pt x="0" y="16717"/>
                  </a:lnTo>
                  <a:cubicBezTo>
                    <a:pt x="0" y="7073"/>
                    <a:pt x="7716" y="0"/>
                    <a:pt x="16717" y="0"/>
                  </a:cubicBezTo>
                  <a:cubicBezTo>
                    <a:pt x="25718" y="0"/>
                    <a:pt x="33434" y="7715"/>
                    <a:pt x="33434" y="16717"/>
                  </a:cubicBezTo>
                  <a:lnTo>
                    <a:pt x="33434" y="160097"/>
                  </a:lnTo>
                  <a:lnTo>
                    <a:pt x="176171" y="115090"/>
                  </a:lnTo>
                  <a:lnTo>
                    <a:pt x="176171" y="39221"/>
                  </a:lnTo>
                  <a:cubicBezTo>
                    <a:pt x="176171" y="29576"/>
                    <a:pt x="183887" y="22504"/>
                    <a:pt x="192888" y="22504"/>
                  </a:cubicBezTo>
                  <a:cubicBezTo>
                    <a:pt x="202533" y="22504"/>
                    <a:pt x="209605" y="30219"/>
                    <a:pt x="209605" y="39221"/>
                  </a:cubicBezTo>
                  <a:lnTo>
                    <a:pt x="209605" y="127306"/>
                  </a:lnTo>
                  <a:cubicBezTo>
                    <a:pt x="209605" y="135022"/>
                    <a:pt x="205105" y="141452"/>
                    <a:pt x="198032" y="143380"/>
                  </a:cubicBezTo>
                  <a:lnTo>
                    <a:pt x="21218" y="199318"/>
                  </a:lnTo>
                  <a:cubicBezTo>
                    <a:pt x="20575" y="199961"/>
                    <a:pt x="19289" y="199961"/>
                    <a:pt x="17360" y="199961"/>
                  </a:cubicBezTo>
                  <a:lnTo>
                    <a:pt x="17360" y="199961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88" name="Forma Livre: Forma 87">
              <a:extLst>
                <a:ext uri="{FF2B5EF4-FFF2-40B4-BE49-F238E27FC236}">
                  <a16:creationId xmlns:a16="http://schemas.microsoft.com/office/drawing/2014/main" id="{19484E2A-F0AF-40B2-AEE8-28AFC7458902}"/>
                </a:ext>
              </a:extLst>
            </p:cNvPr>
            <p:cNvSpPr/>
            <p:nvPr/>
          </p:nvSpPr>
          <p:spPr>
            <a:xfrm>
              <a:off x="1410619" y="2751529"/>
              <a:ext cx="232993" cy="136975"/>
            </a:xfrm>
            <a:custGeom>
              <a:avLst/>
              <a:gdLst>
                <a:gd name="connsiteX0" fmla="*/ 68917 w 232993"/>
                <a:gd name="connsiteY0" fmla="*/ 136976 h 136975"/>
                <a:gd name="connsiteX1" fmla="*/ 57987 w 232993"/>
                <a:gd name="connsiteY1" fmla="*/ 133118 h 136975"/>
                <a:gd name="connsiteX2" fmla="*/ 5907 w 232993"/>
                <a:gd name="connsiteY2" fmla="*/ 88754 h 136975"/>
                <a:gd name="connsiteX3" fmla="*/ 121 w 232993"/>
                <a:gd name="connsiteY3" fmla="*/ 73323 h 136975"/>
                <a:gd name="connsiteX4" fmla="*/ 10408 w 232993"/>
                <a:gd name="connsiteY4" fmla="*/ 60463 h 136975"/>
                <a:gd name="connsiteX5" fmla="*/ 157646 w 232993"/>
                <a:gd name="connsiteY5" fmla="*/ 1311 h 136975"/>
                <a:gd name="connsiteX6" fmla="*/ 175006 w 232993"/>
                <a:gd name="connsiteY6" fmla="*/ 4526 h 136975"/>
                <a:gd name="connsiteX7" fmla="*/ 227086 w 232993"/>
                <a:gd name="connsiteY7" fmla="*/ 48890 h 136975"/>
                <a:gd name="connsiteX8" fmla="*/ 232873 w 232993"/>
                <a:gd name="connsiteY8" fmla="*/ 64321 h 136975"/>
                <a:gd name="connsiteX9" fmla="*/ 222585 w 232993"/>
                <a:gd name="connsiteY9" fmla="*/ 77180 h 136975"/>
                <a:gd name="connsiteX10" fmla="*/ 75347 w 232993"/>
                <a:gd name="connsiteY10" fmla="*/ 136333 h 136975"/>
                <a:gd name="connsiteX11" fmla="*/ 68917 w 232993"/>
                <a:gd name="connsiteY11" fmla="*/ 136976 h 136975"/>
                <a:gd name="connsiteX12" fmla="*/ 68917 w 232993"/>
                <a:gd name="connsiteY12" fmla="*/ 136976 h 136975"/>
                <a:gd name="connsiteX13" fmla="*/ 49629 w 232993"/>
                <a:gd name="connsiteY13" fmla="*/ 81038 h 136975"/>
                <a:gd name="connsiteX14" fmla="*/ 72132 w 232993"/>
                <a:gd name="connsiteY14" fmla="*/ 100970 h 136975"/>
                <a:gd name="connsiteX15" fmla="*/ 184008 w 232993"/>
                <a:gd name="connsiteY15" fmla="*/ 55962 h 136975"/>
                <a:gd name="connsiteX16" fmla="*/ 160861 w 232993"/>
                <a:gd name="connsiteY16" fmla="*/ 36031 h 136975"/>
                <a:gd name="connsiteX17" fmla="*/ 49629 w 232993"/>
                <a:gd name="connsiteY17" fmla="*/ 81038 h 136975"/>
                <a:gd name="connsiteX18" fmla="*/ 49629 w 232993"/>
                <a:gd name="connsiteY18" fmla="*/ 81038 h 136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32993" h="136975">
                  <a:moveTo>
                    <a:pt x="68917" y="136976"/>
                  </a:moveTo>
                  <a:cubicBezTo>
                    <a:pt x="65060" y="136976"/>
                    <a:pt x="61202" y="135690"/>
                    <a:pt x="57987" y="133118"/>
                  </a:cubicBezTo>
                  <a:lnTo>
                    <a:pt x="5907" y="88754"/>
                  </a:lnTo>
                  <a:cubicBezTo>
                    <a:pt x="1406" y="84896"/>
                    <a:pt x="-522" y="79109"/>
                    <a:pt x="121" y="73323"/>
                  </a:cubicBezTo>
                  <a:cubicBezTo>
                    <a:pt x="1406" y="67536"/>
                    <a:pt x="5264" y="62392"/>
                    <a:pt x="10408" y="60463"/>
                  </a:cubicBezTo>
                  <a:lnTo>
                    <a:pt x="157646" y="1311"/>
                  </a:lnTo>
                  <a:cubicBezTo>
                    <a:pt x="163433" y="-1261"/>
                    <a:pt x="170505" y="25"/>
                    <a:pt x="175006" y="4526"/>
                  </a:cubicBezTo>
                  <a:lnTo>
                    <a:pt x="227086" y="48890"/>
                  </a:lnTo>
                  <a:cubicBezTo>
                    <a:pt x="231587" y="52748"/>
                    <a:pt x="233516" y="58534"/>
                    <a:pt x="232873" y="64321"/>
                  </a:cubicBezTo>
                  <a:cubicBezTo>
                    <a:pt x="231587" y="70108"/>
                    <a:pt x="227729" y="75251"/>
                    <a:pt x="222585" y="77180"/>
                  </a:cubicBezTo>
                  <a:lnTo>
                    <a:pt x="75347" y="136333"/>
                  </a:lnTo>
                  <a:cubicBezTo>
                    <a:pt x="73418" y="136333"/>
                    <a:pt x="70846" y="136976"/>
                    <a:pt x="68917" y="136976"/>
                  </a:cubicBezTo>
                  <a:lnTo>
                    <a:pt x="68917" y="136976"/>
                  </a:lnTo>
                  <a:close/>
                  <a:moveTo>
                    <a:pt x="49629" y="81038"/>
                  </a:moveTo>
                  <a:lnTo>
                    <a:pt x="72132" y="100970"/>
                  </a:lnTo>
                  <a:lnTo>
                    <a:pt x="184008" y="55962"/>
                  </a:lnTo>
                  <a:lnTo>
                    <a:pt x="160861" y="36031"/>
                  </a:lnTo>
                  <a:lnTo>
                    <a:pt x="49629" y="81038"/>
                  </a:lnTo>
                  <a:lnTo>
                    <a:pt x="49629" y="81038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89" name="Forma Livre: Forma 88">
              <a:extLst>
                <a:ext uri="{FF2B5EF4-FFF2-40B4-BE49-F238E27FC236}">
                  <a16:creationId xmlns:a16="http://schemas.microsoft.com/office/drawing/2014/main" id="{2DE9C62E-21F5-4354-B918-659DAA49EA48}"/>
                </a:ext>
              </a:extLst>
            </p:cNvPr>
            <p:cNvSpPr/>
            <p:nvPr/>
          </p:nvSpPr>
          <p:spPr>
            <a:xfrm>
              <a:off x="1394912" y="2625952"/>
              <a:ext cx="232253" cy="142319"/>
            </a:xfrm>
            <a:custGeom>
              <a:avLst/>
              <a:gdLst>
                <a:gd name="connsiteX0" fmla="*/ 164995 w 232253"/>
                <a:gd name="connsiteY0" fmla="*/ 142319 h 142319"/>
                <a:gd name="connsiteX1" fmla="*/ 158565 w 232253"/>
                <a:gd name="connsiteY1" fmla="*/ 141034 h 142319"/>
                <a:gd name="connsiteX2" fmla="*/ 10684 w 232253"/>
                <a:gd name="connsiteY2" fmla="*/ 81881 h 142319"/>
                <a:gd name="connsiteX3" fmla="*/ 397 w 232253"/>
                <a:gd name="connsiteY3" fmla="*/ 69665 h 142319"/>
                <a:gd name="connsiteX4" fmla="*/ 4897 w 232253"/>
                <a:gd name="connsiteY4" fmla="*/ 54234 h 142319"/>
                <a:gd name="connsiteX5" fmla="*/ 55691 w 232253"/>
                <a:gd name="connsiteY5" fmla="*/ 4726 h 142319"/>
                <a:gd name="connsiteX6" fmla="*/ 73694 w 232253"/>
                <a:gd name="connsiteY6" fmla="*/ 868 h 142319"/>
                <a:gd name="connsiteX7" fmla="*/ 221575 w 232253"/>
                <a:gd name="connsiteY7" fmla="*/ 60020 h 142319"/>
                <a:gd name="connsiteX8" fmla="*/ 231863 w 232253"/>
                <a:gd name="connsiteY8" fmla="*/ 72237 h 142319"/>
                <a:gd name="connsiteX9" fmla="*/ 226719 w 232253"/>
                <a:gd name="connsiteY9" fmla="*/ 87668 h 142319"/>
                <a:gd name="connsiteX10" fmla="*/ 175925 w 232253"/>
                <a:gd name="connsiteY10" fmla="*/ 137176 h 142319"/>
                <a:gd name="connsiteX11" fmla="*/ 164995 w 232253"/>
                <a:gd name="connsiteY11" fmla="*/ 142319 h 142319"/>
                <a:gd name="connsiteX12" fmla="*/ 164995 w 232253"/>
                <a:gd name="connsiteY12" fmla="*/ 142319 h 142319"/>
                <a:gd name="connsiteX13" fmla="*/ 47976 w 232253"/>
                <a:gd name="connsiteY13" fmla="*/ 60020 h 142319"/>
                <a:gd name="connsiteX14" fmla="*/ 161137 w 232253"/>
                <a:gd name="connsiteY14" fmla="*/ 105028 h 142319"/>
                <a:gd name="connsiteX15" fmla="*/ 184927 w 232253"/>
                <a:gd name="connsiteY15" fmla="*/ 81881 h 142319"/>
                <a:gd name="connsiteX16" fmla="*/ 71765 w 232253"/>
                <a:gd name="connsiteY16" fmla="*/ 36874 h 142319"/>
                <a:gd name="connsiteX17" fmla="*/ 47976 w 232253"/>
                <a:gd name="connsiteY17" fmla="*/ 60020 h 142319"/>
                <a:gd name="connsiteX18" fmla="*/ 47976 w 232253"/>
                <a:gd name="connsiteY18" fmla="*/ 60020 h 142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32253" h="142319">
                  <a:moveTo>
                    <a:pt x="164995" y="142319"/>
                  </a:moveTo>
                  <a:cubicBezTo>
                    <a:pt x="163066" y="142319"/>
                    <a:pt x="160494" y="141677"/>
                    <a:pt x="158565" y="141034"/>
                  </a:cubicBezTo>
                  <a:lnTo>
                    <a:pt x="10684" y="81881"/>
                  </a:lnTo>
                  <a:cubicBezTo>
                    <a:pt x="5540" y="79952"/>
                    <a:pt x="1683" y="74809"/>
                    <a:pt x="397" y="69665"/>
                  </a:cubicBezTo>
                  <a:cubicBezTo>
                    <a:pt x="-889" y="63878"/>
                    <a:pt x="1040" y="58092"/>
                    <a:pt x="4897" y="54234"/>
                  </a:cubicBezTo>
                  <a:lnTo>
                    <a:pt x="55691" y="4726"/>
                  </a:lnTo>
                  <a:cubicBezTo>
                    <a:pt x="60192" y="225"/>
                    <a:pt x="67908" y="-1061"/>
                    <a:pt x="73694" y="868"/>
                  </a:cubicBezTo>
                  <a:lnTo>
                    <a:pt x="221575" y="60020"/>
                  </a:lnTo>
                  <a:cubicBezTo>
                    <a:pt x="226719" y="61949"/>
                    <a:pt x="230577" y="67093"/>
                    <a:pt x="231863" y="72237"/>
                  </a:cubicBezTo>
                  <a:cubicBezTo>
                    <a:pt x="233149" y="78023"/>
                    <a:pt x="231220" y="83810"/>
                    <a:pt x="226719" y="87668"/>
                  </a:cubicBezTo>
                  <a:lnTo>
                    <a:pt x="175925" y="137176"/>
                  </a:lnTo>
                  <a:cubicBezTo>
                    <a:pt x="173996" y="140391"/>
                    <a:pt x="169496" y="142319"/>
                    <a:pt x="164995" y="142319"/>
                  </a:cubicBezTo>
                  <a:lnTo>
                    <a:pt x="164995" y="142319"/>
                  </a:lnTo>
                  <a:close/>
                  <a:moveTo>
                    <a:pt x="47976" y="60020"/>
                  </a:moveTo>
                  <a:lnTo>
                    <a:pt x="161137" y="105028"/>
                  </a:lnTo>
                  <a:lnTo>
                    <a:pt x="184927" y="81881"/>
                  </a:lnTo>
                  <a:lnTo>
                    <a:pt x="71765" y="36874"/>
                  </a:lnTo>
                  <a:lnTo>
                    <a:pt x="47976" y="60020"/>
                  </a:lnTo>
                  <a:lnTo>
                    <a:pt x="47976" y="60020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90" name="Forma Livre: Forma 89">
              <a:extLst>
                <a:ext uri="{FF2B5EF4-FFF2-40B4-BE49-F238E27FC236}">
                  <a16:creationId xmlns:a16="http://schemas.microsoft.com/office/drawing/2014/main" id="{138B9659-2087-4E10-BA3F-F69DFECF3AE7}"/>
                </a:ext>
              </a:extLst>
            </p:cNvPr>
            <p:cNvSpPr/>
            <p:nvPr/>
          </p:nvSpPr>
          <p:spPr>
            <a:xfrm>
              <a:off x="1227496" y="2844141"/>
              <a:ext cx="169945" cy="171027"/>
            </a:xfrm>
            <a:custGeom>
              <a:avLst/>
              <a:gdLst>
                <a:gd name="connsiteX0" fmla="*/ 153025 w 169945"/>
                <a:gd name="connsiteY0" fmla="*/ 171028 h 171027"/>
                <a:gd name="connsiteX1" fmla="*/ 146595 w 169945"/>
                <a:gd name="connsiteY1" fmla="*/ 169742 h 171027"/>
                <a:gd name="connsiteX2" fmla="*/ 10287 w 169945"/>
                <a:gd name="connsiteY2" fmla="*/ 113804 h 171027"/>
                <a:gd name="connsiteX3" fmla="*/ 0 w 169945"/>
                <a:gd name="connsiteY3" fmla="*/ 98373 h 171027"/>
                <a:gd name="connsiteX4" fmla="*/ 0 w 169945"/>
                <a:gd name="connsiteY4" fmla="*/ 16717 h 171027"/>
                <a:gd name="connsiteX5" fmla="*/ 16717 w 169945"/>
                <a:gd name="connsiteY5" fmla="*/ 0 h 171027"/>
                <a:gd name="connsiteX6" fmla="*/ 33434 w 169945"/>
                <a:gd name="connsiteY6" fmla="*/ 16717 h 171027"/>
                <a:gd name="connsiteX7" fmla="*/ 33434 w 169945"/>
                <a:gd name="connsiteY7" fmla="*/ 87443 h 171027"/>
                <a:gd name="connsiteX8" fmla="*/ 159454 w 169945"/>
                <a:gd name="connsiteY8" fmla="*/ 138880 h 171027"/>
                <a:gd name="connsiteX9" fmla="*/ 168456 w 169945"/>
                <a:gd name="connsiteY9" fmla="*/ 160740 h 171027"/>
                <a:gd name="connsiteX10" fmla="*/ 153025 w 169945"/>
                <a:gd name="connsiteY10" fmla="*/ 171028 h 171027"/>
                <a:gd name="connsiteX11" fmla="*/ 153025 w 169945"/>
                <a:gd name="connsiteY11" fmla="*/ 171028 h 171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9945" h="171027">
                  <a:moveTo>
                    <a:pt x="153025" y="171028"/>
                  </a:moveTo>
                  <a:cubicBezTo>
                    <a:pt x="151096" y="171028"/>
                    <a:pt x="148524" y="170385"/>
                    <a:pt x="146595" y="169742"/>
                  </a:cubicBezTo>
                  <a:lnTo>
                    <a:pt x="10287" y="113804"/>
                  </a:lnTo>
                  <a:cubicBezTo>
                    <a:pt x="3858" y="111232"/>
                    <a:pt x="0" y="104803"/>
                    <a:pt x="0" y="98373"/>
                  </a:cubicBezTo>
                  <a:lnTo>
                    <a:pt x="0" y="16717"/>
                  </a:lnTo>
                  <a:cubicBezTo>
                    <a:pt x="0" y="7073"/>
                    <a:pt x="7716" y="0"/>
                    <a:pt x="16717" y="0"/>
                  </a:cubicBezTo>
                  <a:cubicBezTo>
                    <a:pt x="26361" y="0"/>
                    <a:pt x="33434" y="7715"/>
                    <a:pt x="33434" y="16717"/>
                  </a:cubicBezTo>
                  <a:lnTo>
                    <a:pt x="33434" y="87443"/>
                  </a:lnTo>
                  <a:lnTo>
                    <a:pt x="159454" y="138880"/>
                  </a:lnTo>
                  <a:cubicBezTo>
                    <a:pt x="168456" y="142737"/>
                    <a:pt x="172314" y="152382"/>
                    <a:pt x="168456" y="160740"/>
                  </a:cubicBezTo>
                  <a:cubicBezTo>
                    <a:pt x="165884" y="167170"/>
                    <a:pt x="159454" y="171028"/>
                    <a:pt x="153025" y="171028"/>
                  </a:cubicBezTo>
                  <a:lnTo>
                    <a:pt x="153025" y="171028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91" name="Forma Livre: Forma 90">
              <a:extLst>
                <a:ext uri="{FF2B5EF4-FFF2-40B4-BE49-F238E27FC236}">
                  <a16:creationId xmlns:a16="http://schemas.microsoft.com/office/drawing/2014/main" id="{AD8AFCEB-263A-4BC6-8958-3C499F5FEBF6}"/>
                </a:ext>
              </a:extLst>
            </p:cNvPr>
            <p:cNvSpPr/>
            <p:nvPr/>
          </p:nvSpPr>
          <p:spPr>
            <a:xfrm>
              <a:off x="1167304" y="2755830"/>
              <a:ext cx="232253" cy="142319"/>
            </a:xfrm>
            <a:custGeom>
              <a:avLst/>
              <a:gdLst>
                <a:gd name="connsiteX0" fmla="*/ 164995 w 232253"/>
                <a:gd name="connsiteY0" fmla="*/ 142319 h 142319"/>
                <a:gd name="connsiteX1" fmla="*/ 158565 w 232253"/>
                <a:gd name="connsiteY1" fmla="*/ 141033 h 142319"/>
                <a:gd name="connsiteX2" fmla="*/ 10684 w 232253"/>
                <a:gd name="connsiteY2" fmla="*/ 81881 h 142319"/>
                <a:gd name="connsiteX3" fmla="*/ 397 w 232253"/>
                <a:gd name="connsiteY3" fmla="*/ 69665 h 142319"/>
                <a:gd name="connsiteX4" fmla="*/ 4897 w 232253"/>
                <a:gd name="connsiteY4" fmla="*/ 54234 h 142319"/>
                <a:gd name="connsiteX5" fmla="*/ 55691 w 232253"/>
                <a:gd name="connsiteY5" fmla="*/ 4726 h 142319"/>
                <a:gd name="connsiteX6" fmla="*/ 73694 w 232253"/>
                <a:gd name="connsiteY6" fmla="*/ 868 h 142319"/>
                <a:gd name="connsiteX7" fmla="*/ 221575 w 232253"/>
                <a:gd name="connsiteY7" fmla="*/ 60021 h 142319"/>
                <a:gd name="connsiteX8" fmla="*/ 231863 w 232253"/>
                <a:gd name="connsiteY8" fmla="*/ 72237 h 142319"/>
                <a:gd name="connsiteX9" fmla="*/ 226719 w 232253"/>
                <a:gd name="connsiteY9" fmla="*/ 87668 h 142319"/>
                <a:gd name="connsiteX10" fmla="*/ 175925 w 232253"/>
                <a:gd name="connsiteY10" fmla="*/ 137176 h 142319"/>
                <a:gd name="connsiteX11" fmla="*/ 164995 w 232253"/>
                <a:gd name="connsiteY11" fmla="*/ 142319 h 142319"/>
                <a:gd name="connsiteX12" fmla="*/ 164995 w 232253"/>
                <a:gd name="connsiteY12" fmla="*/ 142319 h 142319"/>
                <a:gd name="connsiteX13" fmla="*/ 47976 w 232253"/>
                <a:gd name="connsiteY13" fmla="*/ 60663 h 142319"/>
                <a:gd name="connsiteX14" fmla="*/ 161137 w 232253"/>
                <a:gd name="connsiteY14" fmla="*/ 105671 h 142319"/>
                <a:gd name="connsiteX15" fmla="*/ 184927 w 232253"/>
                <a:gd name="connsiteY15" fmla="*/ 82524 h 142319"/>
                <a:gd name="connsiteX16" fmla="*/ 71765 w 232253"/>
                <a:gd name="connsiteY16" fmla="*/ 37517 h 142319"/>
                <a:gd name="connsiteX17" fmla="*/ 47976 w 232253"/>
                <a:gd name="connsiteY17" fmla="*/ 60663 h 142319"/>
                <a:gd name="connsiteX18" fmla="*/ 47976 w 232253"/>
                <a:gd name="connsiteY18" fmla="*/ 60663 h 142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32253" h="142319">
                  <a:moveTo>
                    <a:pt x="164995" y="142319"/>
                  </a:moveTo>
                  <a:cubicBezTo>
                    <a:pt x="163066" y="142319"/>
                    <a:pt x="160494" y="141676"/>
                    <a:pt x="158565" y="141033"/>
                  </a:cubicBezTo>
                  <a:lnTo>
                    <a:pt x="10684" y="81881"/>
                  </a:lnTo>
                  <a:cubicBezTo>
                    <a:pt x="5540" y="79952"/>
                    <a:pt x="1683" y="74809"/>
                    <a:pt x="397" y="69665"/>
                  </a:cubicBezTo>
                  <a:cubicBezTo>
                    <a:pt x="-889" y="63878"/>
                    <a:pt x="1040" y="58092"/>
                    <a:pt x="4897" y="54234"/>
                  </a:cubicBezTo>
                  <a:lnTo>
                    <a:pt x="55691" y="4726"/>
                  </a:lnTo>
                  <a:cubicBezTo>
                    <a:pt x="60192" y="225"/>
                    <a:pt x="67908" y="-1061"/>
                    <a:pt x="73694" y="868"/>
                  </a:cubicBezTo>
                  <a:lnTo>
                    <a:pt x="221575" y="60021"/>
                  </a:lnTo>
                  <a:cubicBezTo>
                    <a:pt x="226719" y="61949"/>
                    <a:pt x="230577" y="67093"/>
                    <a:pt x="231863" y="72237"/>
                  </a:cubicBezTo>
                  <a:cubicBezTo>
                    <a:pt x="233149" y="78023"/>
                    <a:pt x="231220" y="83810"/>
                    <a:pt x="226719" y="87668"/>
                  </a:cubicBezTo>
                  <a:lnTo>
                    <a:pt x="175925" y="137176"/>
                  </a:lnTo>
                  <a:cubicBezTo>
                    <a:pt x="173996" y="141033"/>
                    <a:pt x="169496" y="142319"/>
                    <a:pt x="164995" y="142319"/>
                  </a:cubicBezTo>
                  <a:lnTo>
                    <a:pt x="164995" y="142319"/>
                  </a:lnTo>
                  <a:close/>
                  <a:moveTo>
                    <a:pt x="47976" y="60663"/>
                  </a:moveTo>
                  <a:lnTo>
                    <a:pt x="161137" y="105671"/>
                  </a:lnTo>
                  <a:lnTo>
                    <a:pt x="184927" y="82524"/>
                  </a:lnTo>
                  <a:lnTo>
                    <a:pt x="71765" y="37517"/>
                  </a:lnTo>
                  <a:lnTo>
                    <a:pt x="47976" y="60663"/>
                  </a:lnTo>
                  <a:lnTo>
                    <a:pt x="47976" y="60663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92" name="Gráfico 2">
            <a:extLst>
              <a:ext uri="{FF2B5EF4-FFF2-40B4-BE49-F238E27FC236}">
                <a16:creationId xmlns:a16="http://schemas.microsoft.com/office/drawing/2014/main" id="{AD2BDE10-70BF-4081-8FF2-6D8335161B28}"/>
              </a:ext>
            </a:extLst>
          </p:cNvPr>
          <p:cNvGrpSpPr/>
          <p:nvPr/>
        </p:nvGrpSpPr>
        <p:grpSpPr>
          <a:xfrm>
            <a:off x="10007681" y="1250299"/>
            <a:ext cx="387181" cy="388012"/>
            <a:chOff x="7449855" y="2623605"/>
            <a:chExt cx="392649" cy="393492"/>
          </a:xfrm>
          <a:solidFill>
            <a:schemeClr val="bg1"/>
          </a:solidFill>
        </p:grpSpPr>
        <p:sp>
          <p:nvSpPr>
            <p:cNvPr id="93" name="Forma Livre: Forma 92">
              <a:extLst>
                <a:ext uri="{FF2B5EF4-FFF2-40B4-BE49-F238E27FC236}">
                  <a16:creationId xmlns:a16="http://schemas.microsoft.com/office/drawing/2014/main" id="{E7419407-9E4F-4858-9490-094BE65BB582}"/>
                </a:ext>
              </a:extLst>
            </p:cNvPr>
            <p:cNvSpPr/>
            <p:nvPr/>
          </p:nvSpPr>
          <p:spPr>
            <a:xfrm>
              <a:off x="7449855" y="2745125"/>
              <a:ext cx="392649" cy="271972"/>
            </a:xfrm>
            <a:custGeom>
              <a:avLst/>
              <a:gdLst>
                <a:gd name="connsiteX0" fmla="*/ 344206 w 392649"/>
                <a:gd name="connsiteY0" fmla="*/ 271973 h 271972"/>
                <a:gd name="connsiteX1" fmla="*/ 49729 w 392649"/>
                <a:gd name="connsiteY1" fmla="*/ 271973 h 271972"/>
                <a:gd name="connsiteX2" fmla="*/ 9866 w 392649"/>
                <a:gd name="connsiteY2" fmla="*/ 254613 h 271972"/>
                <a:gd name="connsiteX3" fmla="*/ 865 w 392649"/>
                <a:gd name="connsiteY3" fmla="*/ 217964 h 271972"/>
                <a:gd name="connsiteX4" fmla="*/ 31084 w 392649"/>
                <a:gd name="connsiteY4" fmla="*/ 48222 h 271972"/>
                <a:gd name="connsiteX5" fmla="*/ 83164 w 392649"/>
                <a:gd name="connsiteY5" fmla="*/ 0 h 271972"/>
                <a:gd name="connsiteX6" fmla="*/ 309486 w 392649"/>
                <a:gd name="connsiteY6" fmla="*/ 0 h 271972"/>
                <a:gd name="connsiteX7" fmla="*/ 361566 w 392649"/>
                <a:gd name="connsiteY7" fmla="*/ 47579 h 271972"/>
                <a:gd name="connsiteX8" fmla="*/ 391785 w 392649"/>
                <a:gd name="connsiteY8" fmla="*/ 217321 h 271972"/>
                <a:gd name="connsiteX9" fmla="*/ 382783 w 392649"/>
                <a:gd name="connsiteY9" fmla="*/ 253970 h 271972"/>
                <a:gd name="connsiteX10" fmla="*/ 344206 w 392649"/>
                <a:gd name="connsiteY10" fmla="*/ 271973 h 271972"/>
                <a:gd name="connsiteX11" fmla="*/ 344206 w 392649"/>
                <a:gd name="connsiteY11" fmla="*/ 271973 h 271972"/>
                <a:gd name="connsiteX12" fmla="*/ 83806 w 392649"/>
                <a:gd name="connsiteY12" fmla="*/ 34077 h 271972"/>
                <a:gd name="connsiteX13" fmla="*/ 65161 w 392649"/>
                <a:gd name="connsiteY13" fmla="*/ 54009 h 271972"/>
                <a:gd name="connsiteX14" fmla="*/ 34941 w 392649"/>
                <a:gd name="connsiteY14" fmla="*/ 223751 h 271972"/>
                <a:gd name="connsiteX15" fmla="*/ 36870 w 392649"/>
                <a:gd name="connsiteY15" fmla="*/ 232752 h 271972"/>
                <a:gd name="connsiteX16" fmla="*/ 50373 w 392649"/>
                <a:gd name="connsiteY16" fmla="*/ 237896 h 271972"/>
                <a:gd name="connsiteX17" fmla="*/ 344849 w 392649"/>
                <a:gd name="connsiteY17" fmla="*/ 237896 h 271972"/>
                <a:gd name="connsiteX18" fmla="*/ 358351 w 392649"/>
                <a:gd name="connsiteY18" fmla="*/ 232752 h 271972"/>
                <a:gd name="connsiteX19" fmla="*/ 360280 w 392649"/>
                <a:gd name="connsiteY19" fmla="*/ 224394 h 271972"/>
                <a:gd name="connsiteX20" fmla="*/ 330061 w 392649"/>
                <a:gd name="connsiteY20" fmla="*/ 54652 h 271972"/>
                <a:gd name="connsiteX21" fmla="*/ 311415 w 392649"/>
                <a:gd name="connsiteY21" fmla="*/ 34720 h 271972"/>
                <a:gd name="connsiteX22" fmla="*/ 83806 w 392649"/>
                <a:gd name="connsiteY22" fmla="*/ 34720 h 271972"/>
                <a:gd name="connsiteX23" fmla="*/ 83806 w 392649"/>
                <a:gd name="connsiteY23" fmla="*/ 34077 h 271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2649" h="271972">
                  <a:moveTo>
                    <a:pt x="344206" y="271973"/>
                  </a:moveTo>
                  <a:lnTo>
                    <a:pt x="49729" y="271973"/>
                  </a:lnTo>
                  <a:cubicBezTo>
                    <a:pt x="33655" y="271973"/>
                    <a:pt x="19510" y="265543"/>
                    <a:pt x="9866" y="254613"/>
                  </a:cubicBezTo>
                  <a:cubicBezTo>
                    <a:pt x="1507" y="244325"/>
                    <a:pt x="-1707" y="231466"/>
                    <a:pt x="865" y="217964"/>
                  </a:cubicBezTo>
                  <a:lnTo>
                    <a:pt x="31084" y="48222"/>
                  </a:lnTo>
                  <a:cubicBezTo>
                    <a:pt x="36227" y="21218"/>
                    <a:pt x="59374" y="0"/>
                    <a:pt x="83164" y="0"/>
                  </a:cubicBezTo>
                  <a:lnTo>
                    <a:pt x="309486" y="0"/>
                  </a:lnTo>
                  <a:cubicBezTo>
                    <a:pt x="333918" y="0"/>
                    <a:pt x="357065" y="21218"/>
                    <a:pt x="361566" y="47579"/>
                  </a:cubicBezTo>
                  <a:lnTo>
                    <a:pt x="391785" y="217321"/>
                  </a:lnTo>
                  <a:cubicBezTo>
                    <a:pt x="394357" y="230823"/>
                    <a:pt x="391142" y="243682"/>
                    <a:pt x="382783" y="253970"/>
                  </a:cubicBezTo>
                  <a:cubicBezTo>
                    <a:pt x="374425" y="265543"/>
                    <a:pt x="359637" y="271973"/>
                    <a:pt x="344206" y="271973"/>
                  </a:cubicBezTo>
                  <a:lnTo>
                    <a:pt x="344206" y="271973"/>
                  </a:lnTo>
                  <a:close/>
                  <a:moveTo>
                    <a:pt x="83806" y="34077"/>
                  </a:moveTo>
                  <a:cubicBezTo>
                    <a:pt x="76734" y="34077"/>
                    <a:pt x="67090" y="42435"/>
                    <a:pt x="65161" y="54009"/>
                  </a:cubicBezTo>
                  <a:lnTo>
                    <a:pt x="34941" y="223751"/>
                  </a:lnTo>
                  <a:cubicBezTo>
                    <a:pt x="34299" y="226965"/>
                    <a:pt x="34941" y="230180"/>
                    <a:pt x="36870" y="232752"/>
                  </a:cubicBezTo>
                  <a:cubicBezTo>
                    <a:pt x="39442" y="235967"/>
                    <a:pt x="44586" y="237896"/>
                    <a:pt x="50373" y="237896"/>
                  </a:cubicBezTo>
                  <a:lnTo>
                    <a:pt x="344849" y="237896"/>
                  </a:lnTo>
                  <a:cubicBezTo>
                    <a:pt x="350635" y="237896"/>
                    <a:pt x="355779" y="235967"/>
                    <a:pt x="358351" y="232752"/>
                  </a:cubicBezTo>
                  <a:cubicBezTo>
                    <a:pt x="360280" y="230180"/>
                    <a:pt x="360923" y="227608"/>
                    <a:pt x="360280" y="224394"/>
                  </a:cubicBezTo>
                  <a:lnTo>
                    <a:pt x="330061" y="54652"/>
                  </a:lnTo>
                  <a:cubicBezTo>
                    <a:pt x="328132" y="43078"/>
                    <a:pt x="318487" y="34720"/>
                    <a:pt x="311415" y="34720"/>
                  </a:cubicBezTo>
                  <a:lnTo>
                    <a:pt x="83806" y="34720"/>
                  </a:lnTo>
                  <a:lnTo>
                    <a:pt x="83806" y="34077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94" name="Forma Livre: Forma 93">
              <a:extLst>
                <a:ext uri="{FF2B5EF4-FFF2-40B4-BE49-F238E27FC236}">
                  <a16:creationId xmlns:a16="http://schemas.microsoft.com/office/drawing/2014/main" id="{6ED65780-B3AF-4F44-B373-3A15523286B9}"/>
                </a:ext>
              </a:extLst>
            </p:cNvPr>
            <p:cNvSpPr/>
            <p:nvPr/>
          </p:nvSpPr>
          <p:spPr>
            <a:xfrm>
              <a:off x="7565166" y="2623605"/>
              <a:ext cx="160740" cy="208319"/>
            </a:xfrm>
            <a:custGeom>
              <a:avLst/>
              <a:gdLst>
                <a:gd name="connsiteX0" fmla="*/ 144024 w 160740"/>
                <a:gd name="connsiteY0" fmla="*/ 208320 h 208319"/>
                <a:gd name="connsiteX1" fmla="*/ 127306 w 160740"/>
                <a:gd name="connsiteY1" fmla="*/ 191603 h 208319"/>
                <a:gd name="connsiteX2" fmla="*/ 127306 w 160740"/>
                <a:gd name="connsiteY2" fmla="*/ 81013 h 208319"/>
                <a:gd name="connsiteX3" fmla="*/ 80370 w 160740"/>
                <a:gd name="connsiteY3" fmla="*/ 34077 h 208319"/>
                <a:gd name="connsiteX4" fmla="*/ 33434 w 160740"/>
                <a:gd name="connsiteY4" fmla="*/ 81013 h 208319"/>
                <a:gd name="connsiteX5" fmla="*/ 33434 w 160740"/>
                <a:gd name="connsiteY5" fmla="*/ 190960 h 208319"/>
                <a:gd name="connsiteX6" fmla="*/ 16717 w 160740"/>
                <a:gd name="connsiteY6" fmla="*/ 207677 h 208319"/>
                <a:gd name="connsiteX7" fmla="*/ 0 w 160740"/>
                <a:gd name="connsiteY7" fmla="*/ 190960 h 208319"/>
                <a:gd name="connsiteX8" fmla="*/ 0 w 160740"/>
                <a:gd name="connsiteY8" fmla="*/ 80370 h 208319"/>
                <a:gd name="connsiteX9" fmla="*/ 80370 w 160740"/>
                <a:gd name="connsiteY9" fmla="*/ 0 h 208319"/>
                <a:gd name="connsiteX10" fmla="*/ 160740 w 160740"/>
                <a:gd name="connsiteY10" fmla="*/ 80370 h 208319"/>
                <a:gd name="connsiteX11" fmla="*/ 160740 w 160740"/>
                <a:gd name="connsiteY11" fmla="*/ 190960 h 208319"/>
                <a:gd name="connsiteX12" fmla="*/ 144024 w 160740"/>
                <a:gd name="connsiteY12" fmla="*/ 208320 h 208319"/>
                <a:gd name="connsiteX13" fmla="*/ 144024 w 160740"/>
                <a:gd name="connsiteY13" fmla="*/ 208320 h 208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0740" h="208319">
                  <a:moveTo>
                    <a:pt x="144024" y="208320"/>
                  </a:moveTo>
                  <a:cubicBezTo>
                    <a:pt x="134379" y="208320"/>
                    <a:pt x="127306" y="200604"/>
                    <a:pt x="127306" y="191603"/>
                  </a:cubicBezTo>
                  <a:lnTo>
                    <a:pt x="127306" y="81013"/>
                  </a:lnTo>
                  <a:cubicBezTo>
                    <a:pt x="127306" y="55295"/>
                    <a:pt x="106089" y="34077"/>
                    <a:pt x="80370" y="34077"/>
                  </a:cubicBezTo>
                  <a:cubicBezTo>
                    <a:pt x="54652" y="34077"/>
                    <a:pt x="33434" y="55295"/>
                    <a:pt x="33434" y="81013"/>
                  </a:cubicBezTo>
                  <a:lnTo>
                    <a:pt x="33434" y="190960"/>
                  </a:lnTo>
                  <a:cubicBezTo>
                    <a:pt x="33434" y="200604"/>
                    <a:pt x="25718" y="207677"/>
                    <a:pt x="16717" y="207677"/>
                  </a:cubicBezTo>
                  <a:cubicBezTo>
                    <a:pt x="7072" y="207677"/>
                    <a:pt x="0" y="199961"/>
                    <a:pt x="0" y="190960"/>
                  </a:cubicBezTo>
                  <a:lnTo>
                    <a:pt x="0" y="80370"/>
                  </a:lnTo>
                  <a:cubicBezTo>
                    <a:pt x="0" y="36006"/>
                    <a:pt x="36006" y="0"/>
                    <a:pt x="80370" y="0"/>
                  </a:cubicBezTo>
                  <a:cubicBezTo>
                    <a:pt x="124735" y="0"/>
                    <a:pt x="160740" y="36006"/>
                    <a:pt x="160740" y="80370"/>
                  </a:cubicBezTo>
                  <a:lnTo>
                    <a:pt x="160740" y="190960"/>
                  </a:lnTo>
                  <a:cubicBezTo>
                    <a:pt x="160740" y="200604"/>
                    <a:pt x="153025" y="208320"/>
                    <a:pt x="144024" y="208320"/>
                  </a:cubicBezTo>
                  <a:lnTo>
                    <a:pt x="144024" y="208320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95" name="Gráfico 2">
            <a:extLst>
              <a:ext uri="{FF2B5EF4-FFF2-40B4-BE49-F238E27FC236}">
                <a16:creationId xmlns:a16="http://schemas.microsoft.com/office/drawing/2014/main" id="{DC98393D-6E01-479E-8CC3-B27A049DC566}"/>
              </a:ext>
            </a:extLst>
          </p:cNvPr>
          <p:cNvGrpSpPr/>
          <p:nvPr/>
        </p:nvGrpSpPr>
        <p:grpSpPr>
          <a:xfrm>
            <a:off x="9947562" y="4821501"/>
            <a:ext cx="513545" cy="337291"/>
            <a:chOff x="10503500" y="5800478"/>
            <a:chExt cx="520798" cy="342055"/>
          </a:xfrm>
          <a:solidFill>
            <a:schemeClr val="bg1"/>
          </a:solidFill>
        </p:grpSpPr>
        <p:sp>
          <p:nvSpPr>
            <p:cNvPr id="96" name="Forma Livre: Forma 95">
              <a:extLst>
                <a:ext uri="{FF2B5EF4-FFF2-40B4-BE49-F238E27FC236}">
                  <a16:creationId xmlns:a16="http://schemas.microsoft.com/office/drawing/2014/main" id="{AD5D91D9-B35F-43B6-9587-CB71D96B13F8}"/>
                </a:ext>
              </a:extLst>
            </p:cNvPr>
            <p:cNvSpPr/>
            <p:nvPr/>
          </p:nvSpPr>
          <p:spPr>
            <a:xfrm>
              <a:off x="10503500" y="5921354"/>
              <a:ext cx="221178" cy="221178"/>
            </a:xfrm>
            <a:custGeom>
              <a:avLst/>
              <a:gdLst>
                <a:gd name="connsiteX0" fmla="*/ 110589 w 221178"/>
                <a:gd name="connsiteY0" fmla="*/ 221179 h 221178"/>
                <a:gd name="connsiteX1" fmla="*/ 0 w 221178"/>
                <a:gd name="connsiteY1" fmla="*/ 110589 h 221178"/>
                <a:gd name="connsiteX2" fmla="*/ 110589 w 221178"/>
                <a:gd name="connsiteY2" fmla="*/ 0 h 221178"/>
                <a:gd name="connsiteX3" fmla="*/ 221179 w 221178"/>
                <a:gd name="connsiteY3" fmla="*/ 110589 h 221178"/>
                <a:gd name="connsiteX4" fmla="*/ 110589 w 221178"/>
                <a:gd name="connsiteY4" fmla="*/ 221179 h 221178"/>
                <a:gd name="connsiteX5" fmla="*/ 110589 w 221178"/>
                <a:gd name="connsiteY5" fmla="*/ 221179 h 221178"/>
                <a:gd name="connsiteX6" fmla="*/ 110589 w 221178"/>
                <a:gd name="connsiteY6" fmla="*/ 34077 h 221178"/>
                <a:gd name="connsiteX7" fmla="*/ 34077 w 221178"/>
                <a:gd name="connsiteY7" fmla="*/ 110589 h 221178"/>
                <a:gd name="connsiteX8" fmla="*/ 110589 w 221178"/>
                <a:gd name="connsiteY8" fmla="*/ 187102 h 221178"/>
                <a:gd name="connsiteX9" fmla="*/ 187102 w 221178"/>
                <a:gd name="connsiteY9" fmla="*/ 110589 h 221178"/>
                <a:gd name="connsiteX10" fmla="*/ 110589 w 221178"/>
                <a:gd name="connsiteY10" fmla="*/ 34077 h 221178"/>
                <a:gd name="connsiteX11" fmla="*/ 110589 w 221178"/>
                <a:gd name="connsiteY11" fmla="*/ 34077 h 221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1178" h="221178">
                  <a:moveTo>
                    <a:pt x="110589" y="221179"/>
                  </a:moveTo>
                  <a:cubicBezTo>
                    <a:pt x="49508" y="221179"/>
                    <a:pt x="0" y="171671"/>
                    <a:pt x="0" y="110589"/>
                  </a:cubicBezTo>
                  <a:cubicBezTo>
                    <a:pt x="0" y="49508"/>
                    <a:pt x="49508" y="0"/>
                    <a:pt x="110589" y="0"/>
                  </a:cubicBezTo>
                  <a:cubicBezTo>
                    <a:pt x="171670" y="0"/>
                    <a:pt x="221179" y="49508"/>
                    <a:pt x="221179" y="110589"/>
                  </a:cubicBezTo>
                  <a:cubicBezTo>
                    <a:pt x="220536" y="171671"/>
                    <a:pt x="171028" y="221179"/>
                    <a:pt x="110589" y="221179"/>
                  </a:cubicBezTo>
                  <a:lnTo>
                    <a:pt x="110589" y="221179"/>
                  </a:lnTo>
                  <a:close/>
                  <a:moveTo>
                    <a:pt x="110589" y="34077"/>
                  </a:moveTo>
                  <a:cubicBezTo>
                    <a:pt x="68154" y="34077"/>
                    <a:pt x="34077" y="68154"/>
                    <a:pt x="34077" y="110589"/>
                  </a:cubicBezTo>
                  <a:cubicBezTo>
                    <a:pt x="34077" y="153025"/>
                    <a:pt x="68154" y="187102"/>
                    <a:pt x="110589" y="187102"/>
                  </a:cubicBezTo>
                  <a:cubicBezTo>
                    <a:pt x="153025" y="187102"/>
                    <a:pt x="187102" y="153025"/>
                    <a:pt x="187102" y="110589"/>
                  </a:cubicBezTo>
                  <a:cubicBezTo>
                    <a:pt x="187102" y="68797"/>
                    <a:pt x="152382" y="34077"/>
                    <a:pt x="110589" y="34077"/>
                  </a:cubicBezTo>
                  <a:lnTo>
                    <a:pt x="110589" y="34077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97" name="Forma Livre: Forma 96">
              <a:extLst>
                <a:ext uri="{FF2B5EF4-FFF2-40B4-BE49-F238E27FC236}">
                  <a16:creationId xmlns:a16="http://schemas.microsoft.com/office/drawing/2014/main" id="{A16D65EC-22A7-411C-BF92-BC1512F34D5F}"/>
                </a:ext>
              </a:extLst>
            </p:cNvPr>
            <p:cNvSpPr/>
            <p:nvPr/>
          </p:nvSpPr>
          <p:spPr>
            <a:xfrm>
              <a:off x="10803120" y="5921354"/>
              <a:ext cx="221178" cy="221178"/>
            </a:xfrm>
            <a:custGeom>
              <a:avLst/>
              <a:gdLst>
                <a:gd name="connsiteX0" fmla="*/ 110590 w 221178"/>
                <a:gd name="connsiteY0" fmla="*/ 221179 h 221178"/>
                <a:gd name="connsiteX1" fmla="*/ 0 w 221178"/>
                <a:gd name="connsiteY1" fmla="*/ 110589 h 221178"/>
                <a:gd name="connsiteX2" fmla="*/ 110590 w 221178"/>
                <a:gd name="connsiteY2" fmla="*/ 0 h 221178"/>
                <a:gd name="connsiteX3" fmla="*/ 221179 w 221178"/>
                <a:gd name="connsiteY3" fmla="*/ 110589 h 221178"/>
                <a:gd name="connsiteX4" fmla="*/ 110590 w 221178"/>
                <a:gd name="connsiteY4" fmla="*/ 221179 h 221178"/>
                <a:gd name="connsiteX5" fmla="*/ 110590 w 221178"/>
                <a:gd name="connsiteY5" fmla="*/ 221179 h 221178"/>
                <a:gd name="connsiteX6" fmla="*/ 110590 w 221178"/>
                <a:gd name="connsiteY6" fmla="*/ 34077 h 221178"/>
                <a:gd name="connsiteX7" fmla="*/ 34077 w 221178"/>
                <a:gd name="connsiteY7" fmla="*/ 110589 h 221178"/>
                <a:gd name="connsiteX8" fmla="*/ 110590 w 221178"/>
                <a:gd name="connsiteY8" fmla="*/ 187102 h 221178"/>
                <a:gd name="connsiteX9" fmla="*/ 187102 w 221178"/>
                <a:gd name="connsiteY9" fmla="*/ 110589 h 221178"/>
                <a:gd name="connsiteX10" fmla="*/ 110590 w 221178"/>
                <a:gd name="connsiteY10" fmla="*/ 34077 h 221178"/>
                <a:gd name="connsiteX11" fmla="*/ 110590 w 221178"/>
                <a:gd name="connsiteY11" fmla="*/ 34077 h 221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1178" h="221178">
                  <a:moveTo>
                    <a:pt x="110590" y="221179"/>
                  </a:moveTo>
                  <a:cubicBezTo>
                    <a:pt x="49508" y="221179"/>
                    <a:pt x="0" y="171671"/>
                    <a:pt x="0" y="110589"/>
                  </a:cubicBezTo>
                  <a:cubicBezTo>
                    <a:pt x="0" y="49508"/>
                    <a:pt x="49508" y="0"/>
                    <a:pt x="110590" y="0"/>
                  </a:cubicBezTo>
                  <a:cubicBezTo>
                    <a:pt x="171671" y="0"/>
                    <a:pt x="221179" y="49508"/>
                    <a:pt x="221179" y="110589"/>
                  </a:cubicBezTo>
                  <a:cubicBezTo>
                    <a:pt x="221179" y="171671"/>
                    <a:pt x="171671" y="221179"/>
                    <a:pt x="110590" y="221179"/>
                  </a:cubicBezTo>
                  <a:lnTo>
                    <a:pt x="110590" y="221179"/>
                  </a:lnTo>
                  <a:close/>
                  <a:moveTo>
                    <a:pt x="110590" y="34077"/>
                  </a:moveTo>
                  <a:cubicBezTo>
                    <a:pt x="68154" y="34077"/>
                    <a:pt x="34077" y="68154"/>
                    <a:pt x="34077" y="110589"/>
                  </a:cubicBezTo>
                  <a:cubicBezTo>
                    <a:pt x="34077" y="153025"/>
                    <a:pt x="68154" y="187102"/>
                    <a:pt x="110590" y="187102"/>
                  </a:cubicBezTo>
                  <a:cubicBezTo>
                    <a:pt x="153025" y="187102"/>
                    <a:pt x="187102" y="153025"/>
                    <a:pt x="187102" y="110589"/>
                  </a:cubicBezTo>
                  <a:cubicBezTo>
                    <a:pt x="187102" y="68797"/>
                    <a:pt x="153025" y="34077"/>
                    <a:pt x="110590" y="34077"/>
                  </a:cubicBezTo>
                  <a:lnTo>
                    <a:pt x="110590" y="34077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98" name="Forma Livre: Forma 97">
              <a:extLst>
                <a:ext uri="{FF2B5EF4-FFF2-40B4-BE49-F238E27FC236}">
                  <a16:creationId xmlns:a16="http://schemas.microsoft.com/office/drawing/2014/main" id="{CBBF70FE-B72F-4797-B621-5C6BBC2390AB}"/>
                </a:ext>
              </a:extLst>
            </p:cNvPr>
            <p:cNvSpPr/>
            <p:nvPr/>
          </p:nvSpPr>
          <p:spPr>
            <a:xfrm>
              <a:off x="10667747" y="5853843"/>
              <a:ext cx="259815" cy="198032"/>
            </a:xfrm>
            <a:custGeom>
              <a:avLst/>
              <a:gdLst>
                <a:gd name="connsiteX0" fmla="*/ 243391 w 259815"/>
                <a:gd name="connsiteY0" fmla="*/ 198032 h 198032"/>
                <a:gd name="connsiteX1" fmla="*/ 96152 w 259815"/>
                <a:gd name="connsiteY1" fmla="*/ 198032 h 198032"/>
                <a:gd name="connsiteX2" fmla="*/ 80721 w 259815"/>
                <a:gd name="connsiteY2" fmla="*/ 188388 h 198032"/>
                <a:gd name="connsiteX3" fmla="*/ 1637 w 259815"/>
                <a:gd name="connsiteY3" fmla="*/ 24432 h 198032"/>
                <a:gd name="connsiteX4" fmla="*/ 2280 w 259815"/>
                <a:gd name="connsiteY4" fmla="*/ 7716 h 198032"/>
                <a:gd name="connsiteX5" fmla="*/ 16425 w 259815"/>
                <a:gd name="connsiteY5" fmla="*/ 0 h 198032"/>
                <a:gd name="connsiteX6" fmla="*/ 163663 w 259815"/>
                <a:gd name="connsiteY6" fmla="*/ 0 h 198032"/>
                <a:gd name="connsiteX7" fmla="*/ 179095 w 259815"/>
                <a:gd name="connsiteY7" fmla="*/ 9644 h 198032"/>
                <a:gd name="connsiteX8" fmla="*/ 258178 w 259815"/>
                <a:gd name="connsiteY8" fmla="*/ 173600 h 198032"/>
                <a:gd name="connsiteX9" fmla="*/ 257536 w 259815"/>
                <a:gd name="connsiteY9" fmla="*/ 190316 h 198032"/>
                <a:gd name="connsiteX10" fmla="*/ 243391 w 259815"/>
                <a:gd name="connsiteY10" fmla="*/ 198032 h 198032"/>
                <a:gd name="connsiteX11" fmla="*/ 243391 w 259815"/>
                <a:gd name="connsiteY11" fmla="*/ 198032 h 198032"/>
                <a:gd name="connsiteX12" fmla="*/ 107082 w 259815"/>
                <a:gd name="connsiteY12" fmla="*/ 164598 h 198032"/>
                <a:gd name="connsiteX13" fmla="*/ 216386 w 259815"/>
                <a:gd name="connsiteY13" fmla="*/ 164598 h 198032"/>
                <a:gd name="connsiteX14" fmla="*/ 153376 w 259815"/>
                <a:gd name="connsiteY14" fmla="*/ 34720 h 198032"/>
                <a:gd name="connsiteX15" fmla="*/ 44073 w 259815"/>
                <a:gd name="connsiteY15" fmla="*/ 34720 h 198032"/>
                <a:gd name="connsiteX16" fmla="*/ 107082 w 259815"/>
                <a:gd name="connsiteY16" fmla="*/ 164598 h 198032"/>
                <a:gd name="connsiteX17" fmla="*/ 107082 w 259815"/>
                <a:gd name="connsiteY17" fmla="*/ 164598 h 19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59815" h="198032">
                  <a:moveTo>
                    <a:pt x="243391" y="198032"/>
                  </a:moveTo>
                  <a:lnTo>
                    <a:pt x="96152" y="198032"/>
                  </a:lnTo>
                  <a:cubicBezTo>
                    <a:pt x="89723" y="198032"/>
                    <a:pt x="83936" y="194174"/>
                    <a:pt x="80721" y="188388"/>
                  </a:cubicBezTo>
                  <a:lnTo>
                    <a:pt x="1637" y="24432"/>
                  </a:lnTo>
                  <a:cubicBezTo>
                    <a:pt x="-935" y="19289"/>
                    <a:pt x="-292" y="12859"/>
                    <a:pt x="2280" y="7716"/>
                  </a:cubicBezTo>
                  <a:cubicBezTo>
                    <a:pt x="5495" y="2572"/>
                    <a:pt x="10638" y="0"/>
                    <a:pt x="16425" y="0"/>
                  </a:cubicBezTo>
                  <a:lnTo>
                    <a:pt x="163663" y="0"/>
                  </a:lnTo>
                  <a:cubicBezTo>
                    <a:pt x="170093" y="0"/>
                    <a:pt x="175880" y="3858"/>
                    <a:pt x="179095" y="9644"/>
                  </a:cubicBezTo>
                  <a:lnTo>
                    <a:pt x="258178" y="173600"/>
                  </a:lnTo>
                  <a:cubicBezTo>
                    <a:pt x="260750" y="178743"/>
                    <a:pt x="260108" y="185173"/>
                    <a:pt x="257536" y="190316"/>
                  </a:cubicBezTo>
                  <a:cubicBezTo>
                    <a:pt x="254321" y="195460"/>
                    <a:pt x="249178" y="198032"/>
                    <a:pt x="243391" y="198032"/>
                  </a:cubicBezTo>
                  <a:lnTo>
                    <a:pt x="243391" y="198032"/>
                  </a:lnTo>
                  <a:close/>
                  <a:moveTo>
                    <a:pt x="107082" y="164598"/>
                  </a:moveTo>
                  <a:lnTo>
                    <a:pt x="216386" y="164598"/>
                  </a:lnTo>
                  <a:lnTo>
                    <a:pt x="153376" y="34720"/>
                  </a:lnTo>
                  <a:lnTo>
                    <a:pt x="44073" y="34720"/>
                  </a:lnTo>
                  <a:lnTo>
                    <a:pt x="107082" y="164598"/>
                  </a:lnTo>
                  <a:lnTo>
                    <a:pt x="107082" y="164598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99" name="Forma Livre: Forma 98">
              <a:extLst>
                <a:ext uri="{FF2B5EF4-FFF2-40B4-BE49-F238E27FC236}">
                  <a16:creationId xmlns:a16="http://schemas.microsoft.com/office/drawing/2014/main" id="{F2D1B623-CB37-472F-8090-146716CEE72A}"/>
                </a:ext>
              </a:extLst>
            </p:cNvPr>
            <p:cNvSpPr/>
            <p:nvPr/>
          </p:nvSpPr>
          <p:spPr>
            <a:xfrm>
              <a:off x="10588156" y="5800478"/>
              <a:ext cx="172528" cy="251397"/>
            </a:xfrm>
            <a:custGeom>
              <a:avLst/>
              <a:gdLst>
                <a:gd name="connsiteX0" fmla="*/ 16932 w 172528"/>
                <a:gd name="connsiteY0" fmla="*/ 251398 h 251397"/>
                <a:gd name="connsiteX1" fmla="*/ 9859 w 172528"/>
                <a:gd name="connsiteY1" fmla="*/ 250112 h 251397"/>
                <a:gd name="connsiteX2" fmla="*/ 1501 w 172528"/>
                <a:gd name="connsiteY2" fmla="*/ 227608 h 251397"/>
                <a:gd name="connsiteX3" fmla="*/ 100517 w 172528"/>
                <a:gd name="connsiteY3" fmla="*/ 9644 h 251397"/>
                <a:gd name="connsiteX4" fmla="*/ 115948 w 172528"/>
                <a:gd name="connsiteY4" fmla="*/ 0 h 251397"/>
                <a:gd name="connsiteX5" fmla="*/ 155812 w 172528"/>
                <a:gd name="connsiteY5" fmla="*/ 0 h 251397"/>
                <a:gd name="connsiteX6" fmla="*/ 172529 w 172528"/>
                <a:gd name="connsiteY6" fmla="*/ 16717 h 251397"/>
                <a:gd name="connsiteX7" fmla="*/ 155812 w 172528"/>
                <a:gd name="connsiteY7" fmla="*/ 33434 h 251397"/>
                <a:gd name="connsiteX8" fmla="*/ 126879 w 172528"/>
                <a:gd name="connsiteY8" fmla="*/ 33434 h 251397"/>
                <a:gd name="connsiteX9" fmla="*/ 32363 w 172528"/>
                <a:gd name="connsiteY9" fmla="*/ 241111 h 251397"/>
                <a:gd name="connsiteX10" fmla="*/ 16932 w 172528"/>
                <a:gd name="connsiteY10" fmla="*/ 251398 h 251397"/>
                <a:gd name="connsiteX11" fmla="*/ 16932 w 172528"/>
                <a:gd name="connsiteY11" fmla="*/ 251398 h 251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72528" h="251397">
                  <a:moveTo>
                    <a:pt x="16932" y="251398"/>
                  </a:moveTo>
                  <a:cubicBezTo>
                    <a:pt x="14360" y="251398"/>
                    <a:pt x="12431" y="250755"/>
                    <a:pt x="9859" y="250112"/>
                  </a:cubicBezTo>
                  <a:cubicBezTo>
                    <a:pt x="1501" y="246254"/>
                    <a:pt x="-2356" y="235967"/>
                    <a:pt x="1501" y="227608"/>
                  </a:cubicBezTo>
                  <a:lnTo>
                    <a:pt x="100517" y="9644"/>
                  </a:lnTo>
                  <a:cubicBezTo>
                    <a:pt x="103089" y="3858"/>
                    <a:pt x="109518" y="0"/>
                    <a:pt x="115948" y="0"/>
                  </a:cubicBezTo>
                  <a:lnTo>
                    <a:pt x="155812" y="0"/>
                  </a:lnTo>
                  <a:cubicBezTo>
                    <a:pt x="165456" y="0"/>
                    <a:pt x="172529" y="7715"/>
                    <a:pt x="172529" y="16717"/>
                  </a:cubicBezTo>
                  <a:cubicBezTo>
                    <a:pt x="172529" y="26361"/>
                    <a:pt x="164814" y="33434"/>
                    <a:pt x="155812" y="33434"/>
                  </a:cubicBezTo>
                  <a:lnTo>
                    <a:pt x="126879" y="33434"/>
                  </a:lnTo>
                  <a:lnTo>
                    <a:pt x="32363" y="241111"/>
                  </a:lnTo>
                  <a:cubicBezTo>
                    <a:pt x="29792" y="248183"/>
                    <a:pt x="23362" y="251398"/>
                    <a:pt x="16932" y="251398"/>
                  </a:cubicBezTo>
                  <a:lnTo>
                    <a:pt x="16932" y="251398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00" name="Forma Livre: Forma 99">
              <a:extLst>
                <a:ext uri="{FF2B5EF4-FFF2-40B4-BE49-F238E27FC236}">
                  <a16:creationId xmlns:a16="http://schemas.microsoft.com/office/drawing/2014/main" id="{83020C32-1913-494D-A3D5-2BE7D9DDBEF8}"/>
                </a:ext>
              </a:extLst>
            </p:cNvPr>
            <p:cNvSpPr/>
            <p:nvPr/>
          </p:nvSpPr>
          <p:spPr>
            <a:xfrm>
              <a:off x="10793475" y="5800478"/>
              <a:ext cx="81694" cy="33433"/>
            </a:xfrm>
            <a:custGeom>
              <a:avLst/>
              <a:gdLst>
                <a:gd name="connsiteX0" fmla="*/ 64939 w 81694"/>
                <a:gd name="connsiteY0" fmla="*/ 33434 h 33433"/>
                <a:gd name="connsiteX1" fmla="*/ 16717 w 81694"/>
                <a:gd name="connsiteY1" fmla="*/ 33434 h 33433"/>
                <a:gd name="connsiteX2" fmla="*/ 0 w 81694"/>
                <a:gd name="connsiteY2" fmla="*/ 16717 h 33433"/>
                <a:gd name="connsiteX3" fmla="*/ 16717 w 81694"/>
                <a:gd name="connsiteY3" fmla="*/ 0 h 33433"/>
                <a:gd name="connsiteX4" fmla="*/ 64939 w 81694"/>
                <a:gd name="connsiteY4" fmla="*/ 0 h 33433"/>
                <a:gd name="connsiteX5" fmla="*/ 81657 w 81694"/>
                <a:gd name="connsiteY5" fmla="*/ 16717 h 33433"/>
                <a:gd name="connsiteX6" fmla="*/ 64939 w 81694"/>
                <a:gd name="connsiteY6" fmla="*/ 33434 h 33433"/>
                <a:gd name="connsiteX7" fmla="*/ 64939 w 81694"/>
                <a:gd name="connsiteY7" fmla="*/ 33434 h 33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694" h="33433">
                  <a:moveTo>
                    <a:pt x="64939" y="33434"/>
                  </a:moveTo>
                  <a:lnTo>
                    <a:pt x="16717" y="33434"/>
                  </a:lnTo>
                  <a:cubicBezTo>
                    <a:pt x="7072" y="33434"/>
                    <a:pt x="0" y="25718"/>
                    <a:pt x="0" y="16717"/>
                  </a:cubicBezTo>
                  <a:cubicBezTo>
                    <a:pt x="0" y="7072"/>
                    <a:pt x="7716" y="0"/>
                    <a:pt x="16717" y="0"/>
                  </a:cubicBezTo>
                  <a:lnTo>
                    <a:pt x="64939" y="0"/>
                  </a:lnTo>
                  <a:cubicBezTo>
                    <a:pt x="74583" y="0"/>
                    <a:pt x="81657" y="7715"/>
                    <a:pt x="81657" y="16717"/>
                  </a:cubicBezTo>
                  <a:cubicBezTo>
                    <a:pt x="82299" y="26361"/>
                    <a:pt x="74583" y="33434"/>
                    <a:pt x="64939" y="33434"/>
                  </a:cubicBezTo>
                  <a:lnTo>
                    <a:pt x="64939" y="33434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01" name="Forma Livre: Forma 100">
              <a:extLst>
                <a:ext uri="{FF2B5EF4-FFF2-40B4-BE49-F238E27FC236}">
                  <a16:creationId xmlns:a16="http://schemas.microsoft.com/office/drawing/2014/main" id="{F210EC77-1F8D-4992-A4D9-8C8A3BF7029F}"/>
                </a:ext>
              </a:extLst>
            </p:cNvPr>
            <p:cNvSpPr/>
            <p:nvPr/>
          </p:nvSpPr>
          <p:spPr>
            <a:xfrm>
              <a:off x="10747621" y="5861355"/>
              <a:ext cx="95565" cy="184090"/>
            </a:xfrm>
            <a:custGeom>
              <a:avLst/>
              <a:gdLst>
                <a:gd name="connsiteX0" fmla="*/ 16921 w 95565"/>
                <a:gd name="connsiteY0" fmla="*/ 184091 h 184090"/>
                <a:gd name="connsiteX1" fmla="*/ 10491 w 95565"/>
                <a:gd name="connsiteY1" fmla="*/ 182805 h 184090"/>
                <a:gd name="connsiteX2" fmla="*/ 1490 w 95565"/>
                <a:gd name="connsiteY2" fmla="*/ 160944 h 184090"/>
                <a:gd name="connsiteX3" fmla="*/ 63214 w 95565"/>
                <a:gd name="connsiteY3" fmla="*/ 10491 h 184090"/>
                <a:gd name="connsiteX4" fmla="*/ 85075 w 95565"/>
                <a:gd name="connsiteY4" fmla="*/ 1490 h 184090"/>
                <a:gd name="connsiteX5" fmla="*/ 94076 w 95565"/>
                <a:gd name="connsiteY5" fmla="*/ 23350 h 184090"/>
                <a:gd name="connsiteX6" fmla="*/ 32352 w 95565"/>
                <a:gd name="connsiteY6" fmla="*/ 173804 h 184090"/>
                <a:gd name="connsiteX7" fmla="*/ 16921 w 95565"/>
                <a:gd name="connsiteY7" fmla="*/ 184091 h 184090"/>
                <a:gd name="connsiteX8" fmla="*/ 16921 w 95565"/>
                <a:gd name="connsiteY8" fmla="*/ 184091 h 184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5565" h="184090">
                  <a:moveTo>
                    <a:pt x="16921" y="184091"/>
                  </a:moveTo>
                  <a:cubicBezTo>
                    <a:pt x="14992" y="184091"/>
                    <a:pt x="12420" y="183448"/>
                    <a:pt x="10491" y="182805"/>
                  </a:cubicBezTo>
                  <a:cubicBezTo>
                    <a:pt x="1490" y="178947"/>
                    <a:pt x="-2368" y="169303"/>
                    <a:pt x="1490" y="160944"/>
                  </a:cubicBezTo>
                  <a:lnTo>
                    <a:pt x="63214" y="10491"/>
                  </a:lnTo>
                  <a:cubicBezTo>
                    <a:pt x="67072" y="1490"/>
                    <a:pt x="76716" y="-2368"/>
                    <a:pt x="85075" y="1490"/>
                  </a:cubicBezTo>
                  <a:cubicBezTo>
                    <a:pt x="94076" y="5348"/>
                    <a:pt x="97934" y="14992"/>
                    <a:pt x="94076" y="23350"/>
                  </a:cubicBezTo>
                  <a:lnTo>
                    <a:pt x="32352" y="173804"/>
                  </a:lnTo>
                  <a:cubicBezTo>
                    <a:pt x="29780" y="180233"/>
                    <a:pt x="23350" y="184091"/>
                    <a:pt x="16921" y="184091"/>
                  </a:cubicBezTo>
                  <a:lnTo>
                    <a:pt x="16921" y="184091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02" name="Gráfico 2">
            <a:extLst>
              <a:ext uri="{FF2B5EF4-FFF2-40B4-BE49-F238E27FC236}">
                <a16:creationId xmlns:a16="http://schemas.microsoft.com/office/drawing/2014/main" id="{DE07CB77-2C2D-4E1B-A5C2-A17EAB215013}"/>
              </a:ext>
            </a:extLst>
          </p:cNvPr>
          <p:cNvGrpSpPr/>
          <p:nvPr/>
        </p:nvGrpSpPr>
        <p:grpSpPr>
          <a:xfrm>
            <a:off x="5901354" y="1267831"/>
            <a:ext cx="389292" cy="401813"/>
            <a:chOff x="10566825" y="513555"/>
            <a:chExt cx="394790" cy="407488"/>
          </a:xfrm>
          <a:solidFill>
            <a:schemeClr val="bg1"/>
          </a:solidFill>
        </p:grpSpPr>
        <p:sp>
          <p:nvSpPr>
            <p:cNvPr id="103" name="Forma Livre: Forma 102">
              <a:extLst>
                <a:ext uri="{FF2B5EF4-FFF2-40B4-BE49-F238E27FC236}">
                  <a16:creationId xmlns:a16="http://schemas.microsoft.com/office/drawing/2014/main" id="{39D709A5-F8B7-4539-A1F9-0C1F4BDE15B5}"/>
                </a:ext>
              </a:extLst>
            </p:cNvPr>
            <p:cNvSpPr/>
            <p:nvPr/>
          </p:nvSpPr>
          <p:spPr>
            <a:xfrm>
              <a:off x="10567153" y="671574"/>
              <a:ext cx="387705" cy="249469"/>
            </a:xfrm>
            <a:custGeom>
              <a:avLst/>
              <a:gdLst>
                <a:gd name="connsiteX0" fmla="*/ 354914 w 387705"/>
                <a:gd name="connsiteY0" fmla="*/ 249469 h 249469"/>
                <a:gd name="connsiteX1" fmla="*/ 32791 w 387705"/>
                <a:gd name="connsiteY1" fmla="*/ 249469 h 249469"/>
                <a:gd name="connsiteX2" fmla="*/ 0 w 387705"/>
                <a:gd name="connsiteY2" fmla="*/ 216678 h 249469"/>
                <a:gd name="connsiteX3" fmla="*/ 0 w 387705"/>
                <a:gd name="connsiteY3" fmla="*/ 32791 h 249469"/>
                <a:gd name="connsiteX4" fmla="*/ 32791 w 387705"/>
                <a:gd name="connsiteY4" fmla="*/ 0 h 249469"/>
                <a:gd name="connsiteX5" fmla="*/ 354914 w 387705"/>
                <a:gd name="connsiteY5" fmla="*/ 0 h 249469"/>
                <a:gd name="connsiteX6" fmla="*/ 387705 w 387705"/>
                <a:gd name="connsiteY6" fmla="*/ 32791 h 249469"/>
                <a:gd name="connsiteX7" fmla="*/ 387705 w 387705"/>
                <a:gd name="connsiteY7" fmla="*/ 216678 h 249469"/>
                <a:gd name="connsiteX8" fmla="*/ 354914 w 387705"/>
                <a:gd name="connsiteY8" fmla="*/ 249469 h 249469"/>
                <a:gd name="connsiteX9" fmla="*/ 354914 w 387705"/>
                <a:gd name="connsiteY9" fmla="*/ 249469 h 249469"/>
                <a:gd name="connsiteX10" fmla="*/ 354272 w 387705"/>
                <a:gd name="connsiteY10" fmla="*/ 32791 h 249469"/>
                <a:gd name="connsiteX11" fmla="*/ 33434 w 387705"/>
                <a:gd name="connsiteY11" fmla="*/ 33434 h 249469"/>
                <a:gd name="connsiteX12" fmla="*/ 34076 w 387705"/>
                <a:gd name="connsiteY12" fmla="*/ 216678 h 249469"/>
                <a:gd name="connsiteX13" fmla="*/ 354272 w 387705"/>
                <a:gd name="connsiteY13" fmla="*/ 216035 h 249469"/>
                <a:gd name="connsiteX14" fmla="*/ 354272 w 387705"/>
                <a:gd name="connsiteY14" fmla="*/ 32791 h 249469"/>
                <a:gd name="connsiteX15" fmla="*/ 354272 w 387705"/>
                <a:gd name="connsiteY15" fmla="*/ 32791 h 249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87705" h="249469">
                  <a:moveTo>
                    <a:pt x="354914" y="249469"/>
                  </a:moveTo>
                  <a:lnTo>
                    <a:pt x="32791" y="249469"/>
                  </a:lnTo>
                  <a:cubicBezTo>
                    <a:pt x="14788" y="249469"/>
                    <a:pt x="0" y="234681"/>
                    <a:pt x="0" y="216678"/>
                  </a:cubicBezTo>
                  <a:lnTo>
                    <a:pt x="0" y="32791"/>
                  </a:lnTo>
                  <a:cubicBezTo>
                    <a:pt x="0" y="14788"/>
                    <a:pt x="14788" y="0"/>
                    <a:pt x="32791" y="0"/>
                  </a:cubicBezTo>
                  <a:lnTo>
                    <a:pt x="354914" y="0"/>
                  </a:lnTo>
                  <a:cubicBezTo>
                    <a:pt x="372918" y="0"/>
                    <a:pt x="387705" y="14788"/>
                    <a:pt x="387705" y="32791"/>
                  </a:cubicBezTo>
                  <a:lnTo>
                    <a:pt x="387705" y="216678"/>
                  </a:lnTo>
                  <a:cubicBezTo>
                    <a:pt x="387705" y="234681"/>
                    <a:pt x="372918" y="249469"/>
                    <a:pt x="354914" y="249469"/>
                  </a:cubicBezTo>
                  <a:lnTo>
                    <a:pt x="354914" y="249469"/>
                  </a:lnTo>
                  <a:close/>
                  <a:moveTo>
                    <a:pt x="354272" y="32791"/>
                  </a:moveTo>
                  <a:lnTo>
                    <a:pt x="33434" y="33434"/>
                  </a:lnTo>
                  <a:lnTo>
                    <a:pt x="34076" y="216678"/>
                  </a:lnTo>
                  <a:lnTo>
                    <a:pt x="354272" y="216035"/>
                  </a:lnTo>
                  <a:lnTo>
                    <a:pt x="354272" y="32791"/>
                  </a:lnTo>
                  <a:lnTo>
                    <a:pt x="354272" y="32791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04" name="Forma Livre: Forma 103">
              <a:extLst>
                <a:ext uri="{FF2B5EF4-FFF2-40B4-BE49-F238E27FC236}">
                  <a16:creationId xmlns:a16="http://schemas.microsoft.com/office/drawing/2014/main" id="{8E44110D-B990-488D-BB75-5373191BE2FB}"/>
                </a:ext>
              </a:extLst>
            </p:cNvPr>
            <p:cNvSpPr/>
            <p:nvPr/>
          </p:nvSpPr>
          <p:spPr>
            <a:xfrm>
              <a:off x="10566825" y="513555"/>
              <a:ext cx="394790" cy="177308"/>
            </a:xfrm>
            <a:custGeom>
              <a:avLst/>
              <a:gdLst>
                <a:gd name="connsiteX0" fmla="*/ 352670 w 394790"/>
                <a:gd name="connsiteY0" fmla="*/ 177308 h 177308"/>
                <a:gd name="connsiteX1" fmla="*/ 347527 w 394790"/>
                <a:gd name="connsiteY1" fmla="*/ 176665 h 177308"/>
                <a:gd name="connsiteX2" fmla="*/ 28618 w 394790"/>
                <a:gd name="connsiteY2" fmla="*/ 130372 h 177308"/>
                <a:gd name="connsiteX3" fmla="*/ 6758 w 394790"/>
                <a:gd name="connsiteY3" fmla="*/ 117513 h 177308"/>
                <a:gd name="connsiteX4" fmla="*/ 328 w 394790"/>
                <a:gd name="connsiteY4" fmla="*/ 93080 h 177308"/>
                <a:gd name="connsiteX5" fmla="*/ 9972 w 394790"/>
                <a:gd name="connsiteY5" fmla="*/ 28141 h 177308"/>
                <a:gd name="connsiteX6" fmla="*/ 47264 w 394790"/>
                <a:gd name="connsiteY6" fmla="*/ 494 h 177308"/>
                <a:gd name="connsiteX7" fmla="*/ 366173 w 394790"/>
                <a:gd name="connsiteY7" fmla="*/ 46787 h 177308"/>
                <a:gd name="connsiteX8" fmla="*/ 388033 w 394790"/>
                <a:gd name="connsiteY8" fmla="*/ 59646 h 177308"/>
                <a:gd name="connsiteX9" fmla="*/ 394463 w 394790"/>
                <a:gd name="connsiteY9" fmla="*/ 84079 h 177308"/>
                <a:gd name="connsiteX10" fmla="*/ 384818 w 394790"/>
                <a:gd name="connsiteY10" fmla="*/ 149018 h 177308"/>
                <a:gd name="connsiteX11" fmla="*/ 352670 w 394790"/>
                <a:gd name="connsiteY11" fmla="*/ 177308 h 177308"/>
                <a:gd name="connsiteX12" fmla="*/ 352670 w 394790"/>
                <a:gd name="connsiteY12" fmla="*/ 177308 h 177308"/>
                <a:gd name="connsiteX13" fmla="*/ 43406 w 394790"/>
                <a:gd name="connsiteY13" fmla="*/ 33285 h 177308"/>
                <a:gd name="connsiteX14" fmla="*/ 35048 w 394790"/>
                <a:gd name="connsiteY14" fmla="*/ 97581 h 177308"/>
                <a:gd name="connsiteX15" fmla="*/ 352027 w 394790"/>
                <a:gd name="connsiteY15" fmla="*/ 143231 h 177308"/>
                <a:gd name="connsiteX16" fmla="*/ 361672 w 394790"/>
                <a:gd name="connsiteY16" fmla="*/ 78935 h 177308"/>
                <a:gd name="connsiteX17" fmla="*/ 43406 w 394790"/>
                <a:gd name="connsiteY17" fmla="*/ 33285 h 177308"/>
                <a:gd name="connsiteX18" fmla="*/ 43406 w 394790"/>
                <a:gd name="connsiteY18" fmla="*/ 33285 h 177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94790" h="177308">
                  <a:moveTo>
                    <a:pt x="352670" y="177308"/>
                  </a:moveTo>
                  <a:cubicBezTo>
                    <a:pt x="351385" y="177308"/>
                    <a:pt x="349455" y="177308"/>
                    <a:pt x="347527" y="176665"/>
                  </a:cubicBezTo>
                  <a:lnTo>
                    <a:pt x="28618" y="130372"/>
                  </a:lnTo>
                  <a:cubicBezTo>
                    <a:pt x="19617" y="129086"/>
                    <a:pt x="11901" y="124585"/>
                    <a:pt x="6758" y="117513"/>
                  </a:cubicBezTo>
                  <a:cubicBezTo>
                    <a:pt x="1613" y="110440"/>
                    <a:pt x="-959" y="101439"/>
                    <a:pt x="328" y="93080"/>
                  </a:cubicBezTo>
                  <a:lnTo>
                    <a:pt x="9972" y="28141"/>
                  </a:lnTo>
                  <a:cubicBezTo>
                    <a:pt x="12544" y="10138"/>
                    <a:pt x="29261" y="-2721"/>
                    <a:pt x="47264" y="494"/>
                  </a:cubicBezTo>
                  <a:lnTo>
                    <a:pt x="366173" y="46787"/>
                  </a:lnTo>
                  <a:cubicBezTo>
                    <a:pt x="375174" y="48073"/>
                    <a:pt x="382890" y="52574"/>
                    <a:pt x="388033" y="59646"/>
                  </a:cubicBezTo>
                  <a:cubicBezTo>
                    <a:pt x="393177" y="66719"/>
                    <a:pt x="395749" y="75720"/>
                    <a:pt x="394463" y="84079"/>
                  </a:cubicBezTo>
                  <a:lnTo>
                    <a:pt x="384818" y="149018"/>
                  </a:lnTo>
                  <a:cubicBezTo>
                    <a:pt x="382890" y="165092"/>
                    <a:pt x="368744" y="177308"/>
                    <a:pt x="352670" y="177308"/>
                  </a:cubicBezTo>
                  <a:lnTo>
                    <a:pt x="352670" y="177308"/>
                  </a:lnTo>
                  <a:close/>
                  <a:moveTo>
                    <a:pt x="43406" y="33285"/>
                  </a:moveTo>
                  <a:lnTo>
                    <a:pt x="35048" y="97581"/>
                  </a:lnTo>
                  <a:lnTo>
                    <a:pt x="352027" y="143231"/>
                  </a:lnTo>
                  <a:lnTo>
                    <a:pt x="361672" y="78935"/>
                  </a:lnTo>
                  <a:lnTo>
                    <a:pt x="43406" y="33285"/>
                  </a:lnTo>
                  <a:lnTo>
                    <a:pt x="43406" y="33285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05" name="Forma Livre: Forma 104">
              <a:extLst>
                <a:ext uri="{FF2B5EF4-FFF2-40B4-BE49-F238E27FC236}">
                  <a16:creationId xmlns:a16="http://schemas.microsoft.com/office/drawing/2014/main" id="{9DB44FDF-202D-425D-952D-232E956ADCAB}"/>
                </a:ext>
              </a:extLst>
            </p:cNvPr>
            <p:cNvSpPr/>
            <p:nvPr/>
          </p:nvSpPr>
          <p:spPr>
            <a:xfrm>
              <a:off x="10574226" y="763517"/>
              <a:ext cx="368417" cy="16716"/>
            </a:xfrm>
            <a:custGeom>
              <a:avLst/>
              <a:gdLst>
                <a:gd name="connsiteX0" fmla="*/ 360058 w 368417"/>
                <a:gd name="connsiteY0" fmla="*/ 16717 h 16716"/>
                <a:gd name="connsiteX1" fmla="*/ 8359 w 368417"/>
                <a:gd name="connsiteY1" fmla="*/ 16717 h 16716"/>
                <a:gd name="connsiteX2" fmla="*/ 0 w 368417"/>
                <a:gd name="connsiteY2" fmla="*/ 8358 h 16716"/>
                <a:gd name="connsiteX3" fmla="*/ 8359 w 368417"/>
                <a:gd name="connsiteY3" fmla="*/ 0 h 16716"/>
                <a:gd name="connsiteX4" fmla="*/ 360058 w 368417"/>
                <a:gd name="connsiteY4" fmla="*/ 0 h 16716"/>
                <a:gd name="connsiteX5" fmla="*/ 368417 w 368417"/>
                <a:gd name="connsiteY5" fmla="*/ 8358 h 16716"/>
                <a:gd name="connsiteX6" fmla="*/ 360058 w 368417"/>
                <a:gd name="connsiteY6" fmla="*/ 16717 h 16716"/>
                <a:gd name="connsiteX7" fmla="*/ 360058 w 368417"/>
                <a:gd name="connsiteY7" fmla="*/ 16717 h 16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8417" h="16716">
                  <a:moveTo>
                    <a:pt x="360058" y="16717"/>
                  </a:moveTo>
                  <a:lnTo>
                    <a:pt x="8359" y="16717"/>
                  </a:lnTo>
                  <a:cubicBezTo>
                    <a:pt x="3858" y="16717"/>
                    <a:pt x="0" y="12859"/>
                    <a:pt x="0" y="8358"/>
                  </a:cubicBezTo>
                  <a:cubicBezTo>
                    <a:pt x="0" y="3858"/>
                    <a:pt x="3858" y="0"/>
                    <a:pt x="8359" y="0"/>
                  </a:cubicBezTo>
                  <a:lnTo>
                    <a:pt x="360058" y="0"/>
                  </a:lnTo>
                  <a:cubicBezTo>
                    <a:pt x="364559" y="0"/>
                    <a:pt x="368417" y="3858"/>
                    <a:pt x="368417" y="8358"/>
                  </a:cubicBezTo>
                  <a:cubicBezTo>
                    <a:pt x="368417" y="12859"/>
                    <a:pt x="364559" y="16717"/>
                    <a:pt x="360058" y="16717"/>
                  </a:cubicBezTo>
                  <a:lnTo>
                    <a:pt x="360058" y="16717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06" name="Forma Livre: Forma 105">
              <a:extLst>
                <a:ext uri="{FF2B5EF4-FFF2-40B4-BE49-F238E27FC236}">
                  <a16:creationId xmlns:a16="http://schemas.microsoft.com/office/drawing/2014/main" id="{26C0F089-3F78-4FB0-8743-99F5CA11E2CC}"/>
                </a:ext>
              </a:extLst>
            </p:cNvPr>
            <p:cNvSpPr/>
            <p:nvPr/>
          </p:nvSpPr>
          <p:spPr>
            <a:xfrm>
              <a:off x="10609536" y="686310"/>
              <a:ext cx="61185" cy="87494"/>
            </a:xfrm>
            <a:custGeom>
              <a:avLst/>
              <a:gdLst>
                <a:gd name="connsiteX0" fmla="*/ 8411 w 61185"/>
                <a:gd name="connsiteY0" fmla="*/ 87495 h 87494"/>
                <a:gd name="connsiteX1" fmla="*/ 3910 w 61185"/>
                <a:gd name="connsiteY1" fmla="*/ 86209 h 87494"/>
                <a:gd name="connsiteX2" fmla="*/ 1338 w 61185"/>
                <a:gd name="connsiteY2" fmla="*/ 74636 h 87494"/>
                <a:gd name="connsiteX3" fmla="*/ 45702 w 61185"/>
                <a:gd name="connsiteY3" fmla="*/ 3910 h 87494"/>
                <a:gd name="connsiteX4" fmla="*/ 57276 w 61185"/>
                <a:gd name="connsiteY4" fmla="*/ 1338 h 87494"/>
                <a:gd name="connsiteX5" fmla="*/ 59848 w 61185"/>
                <a:gd name="connsiteY5" fmla="*/ 12911 h 87494"/>
                <a:gd name="connsiteX6" fmla="*/ 15483 w 61185"/>
                <a:gd name="connsiteY6" fmla="*/ 83637 h 87494"/>
                <a:gd name="connsiteX7" fmla="*/ 8411 w 61185"/>
                <a:gd name="connsiteY7" fmla="*/ 87495 h 87494"/>
                <a:gd name="connsiteX8" fmla="*/ 8411 w 61185"/>
                <a:gd name="connsiteY8" fmla="*/ 87495 h 87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1185" h="87494">
                  <a:moveTo>
                    <a:pt x="8411" y="87495"/>
                  </a:moveTo>
                  <a:cubicBezTo>
                    <a:pt x="7124" y="87495"/>
                    <a:pt x="5196" y="86852"/>
                    <a:pt x="3910" y="86209"/>
                  </a:cubicBezTo>
                  <a:cubicBezTo>
                    <a:pt x="52" y="83637"/>
                    <a:pt x="-1234" y="78493"/>
                    <a:pt x="1338" y="74636"/>
                  </a:cubicBezTo>
                  <a:lnTo>
                    <a:pt x="45702" y="3910"/>
                  </a:lnTo>
                  <a:cubicBezTo>
                    <a:pt x="48274" y="52"/>
                    <a:pt x="53418" y="-1234"/>
                    <a:pt x="57276" y="1338"/>
                  </a:cubicBezTo>
                  <a:cubicBezTo>
                    <a:pt x="61133" y="3910"/>
                    <a:pt x="62419" y="9054"/>
                    <a:pt x="59848" y="12911"/>
                  </a:cubicBezTo>
                  <a:lnTo>
                    <a:pt x="15483" y="83637"/>
                  </a:lnTo>
                  <a:cubicBezTo>
                    <a:pt x="14197" y="86209"/>
                    <a:pt x="11626" y="87495"/>
                    <a:pt x="8411" y="87495"/>
                  </a:cubicBezTo>
                  <a:lnTo>
                    <a:pt x="8411" y="87495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07" name="Forma Livre: Forma 106">
              <a:extLst>
                <a:ext uri="{FF2B5EF4-FFF2-40B4-BE49-F238E27FC236}">
                  <a16:creationId xmlns:a16="http://schemas.microsoft.com/office/drawing/2014/main" id="{D882CAFE-1834-4928-B218-AA5B3BBBCD04}"/>
                </a:ext>
              </a:extLst>
            </p:cNvPr>
            <p:cNvSpPr/>
            <p:nvPr/>
          </p:nvSpPr>
          <p:spPr>
            <a:xfrm>
              <a:off x="10686692" y="686310"/>
              <a:ext cx="61185" cy="87494"/>
            </a:xfrm>
            <a:custGeom>
              <a:avLst/>
              <a:gdLst>
                <a:gd name="connsiteX0" fmla="*/ 8411 w 61185"/>
                <a:gd name="connsiteY0" fmla="*/ 87495 h 87494"/>
                <a:gd name="connsiteX1" fmla="*/ 3910 w 61185"/>
                <a:gd name="connsiteY1" fmla="*/ 86209 h 87494"/>
                <a:gd name="connsiteX2" fmla="*/ 1338 w 61185"/>
                <a:gd name="connsiteY2" fmla="*/ 74636 h 87494"/>
                <a:gd name="connsiteX3" fmla="*/ 45702 w 61185"/>
                <a:gd name="connsiteY3" fmla="*/ 3910 h 87494"/>
                <a:gd name="connsiteX4" fmla="*/ 57276 w 61185"/>
                <a:gd name="connsiteY4" fmla="*/ 1338 h 87494"/>
                <a:gd name="connsiteX5" fmla="*/ 59848 w 61185"/>
                <a:gd name="connsiteY5" fmla="*/ 12911 h 87494"/>
                <a:gd name="connsiteX6" fmla="*/ 15483 w 61185"/>
                <a:gd name="connsiteY6" fmla="*/ 83637 h 87494"/>
                <a:gd name="connsiteX7" fmla="*/ 8411 w 61185"/>
                <a:gd name="connsiteY7" fmla="*/ 87495 h 87494"/>
                <a:gd name="connsiteX8" fmla="*/ 8411 w 61185"/>
                <a:gd name="connsiteY8" fmla="*/ 87495 h 87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1185" h="87494">
                  <a:moveTo>
                    <a:pt x="8411" y="87495"/>
                  </a:moveTo>
                  <a:cubicBezTo>
                    <a:pt x="7124" y="87495"/>
                    <a:pt x="5196" y="86852"/>
                    <a:pt x="3910" y="86209"/>
                  </a:cubicBezTo>
                  <a:cubicBezTo>
                    <a:pt x="52" y="83637"/>
                    <a:pt x="-1234" y="78493"/>
                    <a:pt x="1338" y="74636"/>
                  </a:cubicBezTo>
                  <a:lnTo>
                    <a:pt x="45702" y="3910"/>
                  </a:lnTo>
                  <a:cubicBezTo>
                    <a:pt x="48274" y="52"/>
                    <a:pt x="53418" y="-1234"/>
                    <a:pt x="57276" y="1338"/>
                  </a:cubicBezTo>
                  <a:cubicBezTo>
                    <a:pt x="61133" y="3910"/>
                    <a:pt x="62419" y="9054"/>
                    <a:pt x="59848" y="12911"/>
                  </a:cubicBezTo>
                  <a:lnTo>
                    <a:pt x="15483" y="83637"/>
                  </a:lnTo>
                  <a:cubicBezTo>
                    <a:pt x="14197" y="86209"/>
                    <a:pt x="11626" y="87495"/>
                    <a:pt x="8411" y="87495"/>
                  </a:cubicBezTo>
                  <a:lnTo>
                    <a:pt x="8411" y="87495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08" name="Forma Livre: Forma 107">
              <a:extLst>
                <a:ext uri="{FF2B5EF4-FFF2-40B4-BE49-F238E27FC236}">
                  <a16:creationId xmlns:a16="http://schemas.microsoft.com/office/drawing/2014/main" id="{CFE05C0D-0254-4215-BB8C-A3AAF7D8992F}"/>
                </a:ext>
              </a:extLst>
            </p:cNvPr>
            <p:cNvSpPr/>
            <p:nvPr/>
          </p:nvSpPr>
          <p:spPr>
            <a:xfrm>
              <a:off x="10763847" y="686310"/>
              <a:ext cx="61185" cy="87494"/>
            </a:xfrm>
            <a:custGeom>
              <a:avLst/>
              <a:gdLst>
                <a:gd name="connsiteX0" fmla="*/ 8411 w 61185"/>
                <a:gd name="connsiteY0" fmla="*/ 87495 h 87494"/>
                <a:gd name="connsiteX1" fmla="*/ 3910 w 61185"/>
                <a:gd name="connsiteY1" fmla="*/ 86209 h 87494"/>
                <a:gd name="connsiteX2" fmla="*/ 1338 w 61185"/>
                <a:gd name="connsiteY2" fmla="*/ 74636 h 87494"/>
                <a:gd name="connsiteX3" fmla="*/ 45702 w 61185"/>
                <a:gd name="connsiteY3" fmla="*/ 3910 h 87494"/>
                <a:gd name="connsiteX4" fmla="*/ 57276 w 61185"/>
                <a:gd name="connsiteY4" fmla="*/ 1338 h 87494"/>
                <a:gd name="connsiteX5" fmla="*/ 59848 w 61185"/>
                <a:gd name="connsiteY5" fmla="*/ 12911 h 87494"/>
                <a:gd name="connsiteX6" fmla="*/ 15483 w 61185"/>
                <a:gd name="connsiteY6" fmla="*/ 83637 h 87494"/>
                <a:gd name="connsiteX7" fmla="*/ 8411 w 61185"/>
                <a:gd name="connsiteY7" fmla="*/ 87495 h 87494"/>
                <a:gd name="connsiteX8" fmla="*/ 8411 w 61185"/>
                <a:gd name="connsiteY8" fmla="*/ 87495 h 87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1185" h="87494">
                  <a:moveTo>
                    <a:pt x="8411" y="87495"/>
                  </a:moveTo>
                  <a:cubicBezTo>
                    <a:pt x="7124" y="87495"/>
                    <a:pt x="5196" y="86852"/>
                    <a:pt x="3910" y="86209"/>
                  </a:cubicBezTo>
                  <a:cubicBezTo>
                    <a:pt x="52" y="83637"/>
                    <a:pt x="-1234" y="78493"/>
                    <a:pt x="1338" y="74636"/>
                  </a:cubicBezTo>
                  <a:lnTo>
                    <a:pt x="45702" y="3910"/>
                  </a:lnTo>
                  <a:cubicBezTo>
                    <a:pt x="48274" y="52"/>
                    <a:pt x="53418" y="-1234"/>
                    <a:pt x="57276" y="1338"/>
                  </a:cubicBezTo>
                  <a:cubicBezTo>
                    <a:pt x="61133" y="3910"/>
                    <a:pt x="62419" y="9054"/>
                    <a:pt x="59848" y="12911"/>
                  </a:cubicBezTo>
                  <a:lnTo>
                    <a:pt x="15483" y="83637"/>
                  </a:lnTo>
                  <a:cubicBezTo>
                    <a:pt x="14197" y="86209"/>
                    <a:pt x="11626" y="87495"/>
                    <a:pt x="8411" y="87495"/>
                  </a:cubicBezTo>
                  <a:lnTo>
                    <a:pt x="8411" y="87495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09" name="Forma Livre: Forma 108">
              <a:extLst>
                <a:ext uri="{FF2B5EF4-FFF2-40B4-BE49-F238E27FC236}">
                  <a16:creationId xmlns:a16="http://schemas.microsoft.com/office/drawing/2014/main" id="{378A7C47-F6A8-40C6-8F9A-49410828E77C}"/>
                </a:ext>
              </a:extLst>
            </p:cNvPr>
            <p:cNvSpPr/>
            <p:nvPr/>
          </p:nvSpPr>
          <p:spPr>
            <a:xfrm>
              <a:off x="10841002" y="686310"/>
              <a:ext cx="61185" cy="87494"/>
            </a:xfrm>
            <a:custGeom>
              <a:avLst/>
              <a:gdLst>
                <a:gd name="connsiteX0" fmla="*/ 8411 w 61185"/>
                <a:gd name="connsiteY0" fmla="*/ 87495 h 87494"/>
                <a:gd name="connsiteX1" fmla="*/ 3910 w 61185"/>
                <a:gd name="connsiteY1" fmla="*/ 86209 h 87494"/>
                <a:gd name="connsiteX2" fmla="*/ 1338 w 61185"/>
                <a:gd name="connsiteY2" fmla="*/ 74636 h 87494"/>
                <a:gd name="connsiteX3" fmla="*/ 45702 w 61185"/>
                <a:gd name="connsiteY3" fmla="*/ 3910 h 87494"/>
                <a:gd name="connsiteX4" fmla="*/ 57276 w 61185"/>
                <a:gd name="connsiteY4" fmla="*/ 1338 h 87494"/>
                <a:gd name="connsiteX5" fmla="*/ 59848 w 61185"/>
                <a:gd name="connsiteY5" fmla="*/ 12911 h 87494"/>
                <a:gd name="connsiteX6" fmla="*/ 15483 w 61185"/>
                <a:gd name="connsiteY6" fmla="*/ 83637 h 87494"/>
                <a:gd name="connsiteX7" fmla="*/ 8411 w 61185"/>
                <a:gd name="connsiteY7" fmla="*/ 87495 h 87494"/>
                <a:gd name="connsiteX8" fmla="*/ 8411 w 61185"/>
                <a:gd name="connsiteY8" fmla="*/ 87495 h 87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1185" h="87494">
                  <a:moveTo>
                    <a:pt x="8411" y="87495"/>
                  </a:moveTo>
                  <a:cubicBezTo>
                    <a:pt x="7124" y="87495"/>
                    <a:pt x="5196" y="86852"/>
                    <a:pt x="3910" y="86209"/>
                  </a:cubicBezTo>
                  <a:cubicBezTo>
                    <a:pt x="52" y="83637"/>
                    <a:pt x="-1234" y="78493"/>
                    <a:pt x="1338" y="74636"/>
                  </a:cubicBezTo>
                  <a:lnTo>
                    <a:pt x="45702" y="3910"/>
                  </a:lnTo>
                  <a:cubicBezTo>
                    <a:pt x="48274" y="52"/>
                    <a:pt x="53418" y="-1234"/>
                    <a:pt x="57276" y="1338"/>
                  </a:cubicBezTo>
                  <a:cubicBezTo>
                    <a:pt x="61133" y="3910"/>
                    <a:pt x="62419" y="9054"/>
                    <a:pt x="59848" y="12911"/>
                  </a:cubicBezTo>
                  <a:lnTo>
                    <a:pt x="15483" y="83637"/>
                  </a:lnTo>
                  <a:cubicBezTo>
                    <a:pt x="14197" y="86209"/>
                    <a:pt x="11626" y="87495"/>
                    <a:pt x="8411" y="87495"/>
                  </a:cubicBezTo>
                  <a:lnTo>
                    <a:pt x="8411" y="87495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10" name="Forma Livre: Forma 109">
              <a:extLst>
                <a:ext uri="{FF2B5EF4-FFF2-40B4-BE49-F238E27FC236}">
                  <a16:creationId xmlns:a16="http://schemas.microsoft.com/office/drawing/2014/main" id="{7654BFB2-FC64-4B21-81B4-A0119681DB84}"/>
                </a:ext>
              </a:extLst>
            </p:cNvPr>
            <p:cNvSpPr/>
            <p:nvPr/>
          </p:nvSpPr>
          <p:spPr>
            <a:xfrm>
              <a:off x="10621060" y="535807"/>
              <a:ext cx="50354" cy="92688"/>
            </a:xfrm>
            <a:custGeom>
              <a:avLst/>
              <a:gdLst>
                <a:gd name="connsiteX0" fmla="*/ 41895 w 50354"/>
                <a:gd name="connsiteY0" fmla="*/ 92688 h 92688"/>
                <a:gd name="connsiteX1" fmla="*/ 34179 w 50354"/>
                <a:gd name="connsiteY1" fmla="*/ 87545 h 92688"/>
                <a:gd name="connsiteX2" fmla="*/ 745 w 50354"/>
                <a:gd name="connsiteY2" fmla="*/ 11675 h 92688"/>
                <a:gd name="connsiteX3" fmla="*/ 5245 w 50354"/>
                <a:gd name="connsiteY3" fmla="*/ 745 h 92688"/>
                <a:gd name="connsiteX4" fmla="*/ 16176 w 50354"/>
                <a:gd name="connsiteY4" fmla="*/ 5246 h 92688"/>
                <a:gd name="connsiteX5" fmla="*/ 49610 w 50354"/>
                <a:gd name="connsiteY5" fmla="*/ 81115 h 92688"/>
                <a:gd name="connsiteX6" fmla="*/ 45109 w 50354"/>
                <a:gd name="connsiteY6" fmla="*/ 92045 h 92688"/>
                <a:gd name="connsiteX7" fmla="*/ 41895 w 50354"/>
                <a:gd name="connsiteY7" fmla="*/ 92688 h 92688"/>
                <a:gd name="connsiteX8" fmla="*/ 41895 w 50354"/>
                <a:gd name="connsiteY8" fmla="*/ 92688 h 92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354" h="92688">
                  <a:moveTo>
                    <a:pt x="41895" y="92688"/>
                  </a:moveTo>
                  <a:cubicBezTo>
                    <a:pt x="38680" y="92688"/>
                    <a:pt x="35465" y="90759"/>
                    <a:pt x="34179" y="87545"/>
                  </a:cubicBezTo>
                  <a:lnTo>
                    <a:pt x="745" y="11675"/>
                  </a:lnTo>
                  <a:cubicBezTo>
                    <a:pt x="-1184" y="7174"/>
                    <a:pt x="745" y="2674"/>
                    <a:pt x="5245" y="745"/>
                  </a:cubicBezTo>
                  <a:cubicBezTo>
                    <a:pt x="9747" y="-1184"/>
                    <a:pt x="14247" y="745"/>
                    <a:pt x="16176" y="5246"/>
                  </a:cubicBezTo>
                  <a:lnTo>
                    <a:pt x="49610" y="81115"/>
                  </a:lnTo>
                  <a:cubicBezTo>
                    <a:pt x="51539" y="85616"/>
                    <a:pt x="49610" y="90116"/>
                    <a:pt x="45109" y="92045"/>
                  </a:cubicBezTo>
                  <a:cubicBezTo>
                    <a:pt x="43823" y="92688"/>
                    <a:pt x="42537" y="92688"/>
                    <a:pt x="41895" y="92688"/>
                  </a:cubicBezTo>
                  <a:lnTo>
                    <a:pt x="41895" y="92688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11" name="Forma Livre: Forma 110">
              <a:extLst>
                <a:ext uri="{FF2B5EF4-FFF2-40B4-BE49-F238E27FC236}">
                  <a16:creationId xmlns:a16="http://schemas.microsoft.com/office/drawing/2014/main" id="{A963BA88-E0C7-4992-8871-111A6E1F570F}"/>
                </a:ext>
              </a:extLst>
            </p:cNvPr>
            <p:cNvSpPr/>
            <p:nvPr/>
          </p:nvSpPr>
          <p:spPr>
            <a:xfrm>
              <a:off x="10696929" y="546738"/>
              <a:ext cx="50354" cy="92688"/>
            </a:xfrm>
            <a:custGeom>
              <a:avLst/>
              <a:gdLst>
                <a:gd name="connsiteX0" fmla="*/ 41894 w 50354"/>
                <a:gd name="connsiteY0" fmla="*/ 92688 h 92688"/>
                <a:gd name="connsiteX1" fmla="*/ 34179 w 50354"/>
                <a:gd name="connsiteY1" fmla="*/ 87545 h 92688"/>
                <a:gd name="connsiteX2" fmla="*/ 745 w 50354"/>
                <a:gd name="connsiteY2" fmla="*/ 11675 h 92688"/>
                <a:gd name="connsiteX3" fmla="*/ 5246 w 50354"/>
                <a:gd name="connsiteY3" fmla="*/ 745 h 92688"/>
                <a:gd name="connsiteX4" fmla="*/ 16176 w 50354"/>
                <a:gd name="connsiteY4" fmla="*/ 5246 h 92688"/>
                <a:gd name="connsiteX5" fmla="*/ 49610 w 50354"/>
                <a:gd name="connsiteY5" fmla="*/ 81115 h 92688"/>
                <a:gd name="connsiteX6" fmla="*/ 45109 w 50354"/>
                <a:gd name="connsiteY6" fmla="*/ 92045 h 92688"/>
                <a:gd name="connsiteX7" fmla="*/ 41894 w 50354"/>
                <a:gd name="connsiteY7" fmla="*/ 92688 h 92688"/>
                <a:gd name="connsiteX8" fmla="*/ 41894 w 50354"/>
                <a:gd name="connsiteY8" fmla="*/ 92688 h 92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354" h="92688">
                  <a:moveTo>
                    <a:pt x="41894" y="92688"/>
                  </a:moveTo>
                  <a:cubicBezTo>
                    <a:pt x="38679" y="92688"/>
                    <a:pt x="35465" y="90759"/>
                    <a:pt x="34179" y="87545"/>
                  </a:cubicBezTo>
                  <a:lnTo>
                    <a:pt x="745" y="11675"/>
                  </a:lnTo>
                  <a:cubicBezTo>
                    <a:pt x="-1184" y="7174"/>
                    <a:pt x="745" y="2674"/>
                    <a:pt x="5246" y="745"/>
                  </a:cubicBezTo>
                  <a:cubicBezTo>
                    <a:pt x="9746" y="-1184"/>
                    <a:pt x="14247" y="745"/>
                    <a:pt x="16176" y="5246"/>
                  </a:cubicBezTo>
                  <a:lnTo>
                    <a:pt x="49610" y="81115"/>
                  </a:lnTo>
                  <a:cubicBezTo>
                    <a:pt x="51539" y="85616"/>
                    <a:pt x="49610" y="90116"/>
                    <a:pt x="45109" y="92045"/>
                  </a:cubicBezTo>
                  <a:cubicBezTo>
                    <a:pt x="44466" y="92688"/>
                    <a:pt x="43181" y="92688"/>
                    <a:pt x="41894" y="92688"/>
                  </a:cubicBezTo>
                  <a:lnTo>
                    <a:pt x="41894" y="92688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12" name="Forma Livre: Forma 111">
              <a:extLst>
                <a:ext uri="{FF2B5EF4-FFF2-40B4-BE49-F238E27FC236}">
                  <a16:creationId xmlns:a16="http://schemas.microsoft.com/office/drawing/2014/main" id="{C2DD2C59-1E6F-4D4C-A70A-9F9349CB0129}"/>
                </a:ext>
              </a:extLst>
            </p:cNvPr>
            <p:cNvSpPr/>
            <p:nvPr/>
          </p:nvSpPr>
          <p:spPr>
            <a:xfrm>
              <a:off x="10773442" y="558311"/>
              <a:ext cx="50354" cy="92688"/>
            </a:xfrm>
            <a:custGeom>
              <a:avLst/>
              <a:gdLst>
                <a:gd name="connsiteX0" fmla="*/ 41894 w 50354"/>
                <a:gd name="connsiteY0" fmla="*/ 92688 h 92688"/>
                <a:gd name="connsiteX1" fmla="*/ 34179 w 50354"/>
                <a:gd name="connsiteY1" fmla="*/ 87545 h 92688"/>
                <a:gd name="connsiteX2" fmla="*/ 745 w 50354"/>
                <a:gd name="connsiteY2" fmla="*/ 11675 h 92688"/>
                <a:gd name="connsiteX3" fmla="*/ 5246 w 50354"/>
                <a:gd name="connsiteY3" fmla="*/ 745 h 92688"/>
                <a:gd name="connsiteX4" fmla="*/ 16176 w 50354"/>
                <a:gd name="connsiteY4" fmla="*/ 5246 h 92688"/>
                <a:gd name="connsiteX5" fmla="*/ 49609 w 50354"/>
                <a:gd name="connsiteY5" fmla="*/ 81115 h 92688"/>
                <a:gd name="connsiteX6" fmla="*/ 45109 w 50354"/>
                <a:gd name="connsiteY6" fmla="*/ 92045 h 92688"/>
                <a:gd name="connsiteX7" fmla="*/ 41894 w 50354"/>
                <a:gd name="connsiteY7" fmla="*/ 92688 h 92688"/>
                <a:gd name="connsiteX8" fmla="*/ 41894 w 50354"/>
                <a:gd name="connsiteY8" fmla="*/ 92688 h 92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354" h="92688">
                  <a:moveTo>
                    <a:pt x="41894" y="92688"/>
                  </a:moveTo>
                  <a:cubicBezTo>
                    <a:pt x="38679" y="92688"/>
                    <a:pt x="35465" y="90759"/>
                    <a:pt x="34179" y="87545"/>
                  </a:cubicBezTo>
                  <a:lnTo>
                    <a:pt x="745" y="11675"/>
                  </a:lnTo>
                  <a:cubicBezTo>
                    <a:pt x="-1184" y="7174"/>
                    <a:pt x="745" y="2674"/>
                    <a:pt x="5246" y="745"/>
                  </a:cubicBezTo>
                  <a:cubicBezTo>
                    <a:pt x="9746" y="-1184"/>
                    <a:pt x="14247" y="745"/>
                    <a:pt x="16176" y="5246"/>
                  </a:cubicBezTo>
                  <a:lnTo>
                    <a:pt x="49609" y="81115"/>
                  </a:lnTo>
                  <a:cubicBezTo>
                    <a:pt x="51539" y="85616"/>
                    <a:pt x="49609" y="90116"/>
                    <a:pt x="45109" y="92045"/>
                  </a:cubicBezTo>
                  <a:cubicBezTo>
                    <a:pt x="44466" y="92045"/>
                    <a:pt x="43180" y="92688"/>
                    <a:pt x="41894" y="92688"/>
                  </a:cubicBezTo>
                  <a:lnTo>
                    <a:pt x="41894" y="92688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13" name="Forma Livre: Forma 112">
              <a:extLst>
                <a:ext uri="{FF2B5EF4-FFF2-40B4-BE49-F238E27FC236}">
                  <a16:creationId xmlns:a16="http://schemas.microsoft.com/office/drawing/2014/main" id="{38148931-2636-48E4-95D5-B864143B7F61}"/>
                </a:ext>
              </a:extLst>
            </p:cNvPr>
            <p:cNvSpPr/>
            <p:nvPr/>
          </p:nvSpPr>
          <p:spPr>
            <a:xfrm>
              <a:off x="10849954" y="569241"/>
              <a:ext cx="50354" cy="92688"/>
            </a:xfrm>
            <a:custGeom>
              <a:avLst/>
              <a:gdLst>
                <a:gd name="connsiteX0" fmla="*/ 41895 w 50354"/>
                <a:gd name="connsiteY0" fmla="*/ 92688 h 92688"/>
                <a:gd name="connsiteX1" fmla="*/ 34179 w 50354"/>
                <a:gd name="connsiteY1" fmla="*/ 87545 h 92688"/>
                <a:gd name="connsiteX2" fmla="*/ 745 w 50354"/>
                <a:gd name="connsiteY2" fmla="*/ 11675 h 92688"/>
                <a:gd name="connsiteX3" fmla="*/ 5245 w 50354"/>
                <a:gd name="connsiteY3" fmla="*/ 745 h 92688"/>
                <a:gd name="connsiteX4" fmla="*/ 16176 w 50354"/>
                <a:gd name="connsiteY4" fmla="*/ 5246 h 92688"/>
                <a:gd name="connsiteX5" fmla="*/ 49610 w 50354"/>
                <a:gd name="connsiteY5" fmla="*/ 81115 h 92688"/>
                <a:gd name="connsiteX6" fmla="*/ 45109 w 50354"/>
                <a:gd name="connsiteY6" fmla="*/ 92045 h 92688"/>
                <a:gd name="connsiteX7" fmla="*/ 41895 w 50354"/>
                <a:gd name="connsiteY7" fmla="*/ 92688 h 92688"/>
                <a:gd name="connsiteX8" fmla="*/ 41895 w 50354"/>
                <a:gd name="connsiteY8" fmla="*/ 92688 h 92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354" h="92688">
                  <a:moveTo>
                    <a:pt x="41895" y="92688"/>
                  </a:moveTo>
                  <a:cubicBezTo>
                    <a:pt x="38680" y="92688"/>
                    <a:pt x="35465" y="90759"/>
                    <a:pt x="34179" y="87545"/>
                  </a:cubicBezTo>
                  <a:lnTo>
                    <a:pt x="745" y="11675"/>
                  </a:lnTo>
                  <a:cubicBezTo>
                    <a:pt x="-1184" y="7174"/>
                    <a:pt x="745" y="2674"/>
                    <a:pt x="5245" y="745"/>
                  </a:cubicBezTo>
                  <a:cubicBezTo>
                    <a:pt x="9747" y="-1184"/>
                    <a:pt x="14247" y="745"/>
                    <a:pt x="16176" y="5246"/>
                  </a:cubicBezTo>
                  <a:lnTo>
                    <a:pt x="49610" y="81115"/>
                  </a:lnTo>
                  <a:cubicBezTo>
                    <a:pt x="51539" y="85616"/>
                    <a:pt x="49610" y="90116"/>
                    <a:pt x="45109" y="92045"/>
                  </a:cubicBezTo>
                  <a:cubicBezTo>
                    <a:pt x="43823" y="92688"/>
                    <a:pt x="43180" y="92688"/>
                    <a:pt x="41895" y="92688"/>
                  </a:cubicBezTo>
                  <a:lnTo>
                    <a:pt x="41895" y="92688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</p:spTree>
    <p:extLst>
      <p:ext uri="{BB962C8B-B14F-4D97-AF65-F5344CB8AC3E}">
        <p14:creationId xmlns:p14="http://schemas.microsoft.com/office/powerpoint/2010/main" val="3387917323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3"/>
          <p:cNvSpPr>
            <a:spLocks noChangeArrowheads="1"/>
          </p:cNvSpPr>
          <p:nvPr/>
        </p:nvSpPr>
        <p:spPr bwMode="auto">
          <a:xfrm>
            <a:off x="6383813" y="5029852"/>
            <a:ext cx="1162050" cy="1157287"/>
          </a:xfrm>
          <a:prstGeom prst="ellipse">
            <a:avLst/>
          </a:prstGeom>
          <a:solidFill>
            <a:srgbClr val="263143"/>
          </a:solidFill>
          <a:ln>
            <a:noFill/>
          </a:ln>
          <a:effectLst/>
        </p:spPr>
        <p:txBody>
          <a:bodyPr/>
          <a:lstStyle/>
          <a:p>
            <a:endParaRPr lang="pt-BR"/>
          </a:p>
        </p:txBody>
      </p:sp>
      <p:grpSp>
        <p:nvGrpSpPr>
          <p:cNvPr id="4" name="Group 4"/>
          <p:cNvGrpSpPr>
            <a:grpSpLocks/>
          </p:cNvGrpSpPr>
          <p:nvPr/>
        </p:nvGrpSpPr>
        <p:grpSpPr bwMode="auto">
          <a:xfrm>
            <a:off x="6393338" y="5158438"/>
            <a:ext cx="1066800" cy="858838"/>
            <a:chOff x="4876" y="3004"/>
            <a:chExt cx="988" cy="795"/>
          </a:xfrm>
        </p:grpSpPr>
        <p:sp>
          <p:nvSpPr>
            <p:cNvPr id="5" name="Freeform 5"/>
            <p:cNvSpPr>
              <a:spLocks/>
            </p:cNvSpPr>
            <p:nvPr/>
          </p:nvSpPr>
          <p:spPr bwMode="auto">
            <a:xfrm>
              <a:off x="4876" y="3313"/>
              <a:ext cx="324" cy="422"/>
            </a:xfrm>
            <a:custGeom>
              <a:avLst/>
              <a:gdLst>
                <a:gd name="T0" fmla="*/ 121 w 972"/>
                <a:gd name="T1" fmla="*/ 160 h 1267"/>
                <a:gd name="T2" fmla="*/ 68 w 972"/>
                <a:gd name="T3" fmla="*/ 198 h 1267"/>
                <a:gd name="T4" fmla="*/ 25 w 972"/>
                <a:gd name="T5" fmla="*/ 285 h 1267"/>
                <a:gd name="T6" fmla="*/ 16 w 972"/>
                <a:gd name="T7" fmla="*/ 367 h 1267"/>
                <a:gd name="T8" fmla="*/ 40 w 972"/>
                <a:gd name="T9" fmla="*/ 488 h 1267"/>
                <a:gd name="T10" fmla="*/ 124 w 972"/>
                <a:gd name="T11" fmla="*/ 598 h 1267"/>
                <a:gd name="T12" fmla="*/ 207 w 972"/>
                <a:gd name="T13" fmla="*/ 569 h 1267"/>
                <a:gd name="T14" fmla="*/ 372 w 972"/>
                <a:gd name="T15" fmla="*/ 604 h 1267"/>
                <a:gd name="T16" fmla="*/ 413 w 972"/>
                <a:gd name="T17" fmla="*/ 797 h 1267"/>
                <a:gd name="T18" fmla="*/ 415 w 972"/>
                <a:gd name="T19" fmla="*/ 847 h 1267"/>
                <a:gd name="T20" fmla="*/ 400 w 972"/>
                <a:gd name="T21" fmla="*/ 957 h 1267"/>
                <a:gd name="T22" fmla="*/ 447 w 972"/>
                <a:gd name="T23" fmla="*/ 1082 h 1267"/>
                <a:gd name="T24" fmla="*/ 493 w 972"/>
                <a:gd name="T25" fmla="*/ 1213 h 1267"/>
                <a:gd name="T26" fmla="*/ 565 w 972"/>
                <a:gd name="T27" fmla="*/ 1257 h 1267"/>
                <a:gd name="T28" fmla="*/ 691 w 972"/>
                <a:gd name="T29" fmla="*/ 1156 h 1267"/>
                <a:gd name="T30" fmla="*/ 721 w 972"/>
                <a:gd name="T31" fmla="*/ 1092 h 1267"/>
                <a:gd name="T32" fmla="*/ 737 w 972"/>
                <a:gd name="T33" fmla="*/ 1047 h 1267"/>
                <a:gd name="T34" fmla="*/ 803 w 972"/>
                <a:gd name="T35" fmla="*/ 934 h 1267"/>
                <a:gd name="T36" fmla="*/ 803 w 972"/>
                <a:gd name="T37" fmla="*/ 832 h 1267"/>
                <a:gd name="T38" fmla="*/ 793 w 972"/>
                <a:gd name="T39" fmla="*/ 778 h 1267"/>
                <a:gd name="T40" fmla="*/ 841 w 972"/>
                <a:gd name="T41" fmla="*/ 670 h 1267"/>
                <a:gd name="T42" fmla="*/ 972 w 972"/>
                <a:gd name="T43" fmla="*/ 450 h 1267"/>
                <a:gd name="T44" fmla="*/ 838 w 972"/>
                <a:gd name="T45" fmla="*/ 464 h 1267"/>
                <a:gd name="T46" fmla="*/ 781 w 972"/>
                <a:gd name="T47" fmla="*/ 384 h 1267"/>
                <a:gd name="T48" fmla="*/ 690 w 972"/>
                <a:gd name="T49" fmla="*/ 195 h 1267"/>
                <a:gd name="T50" fmla="*/ 693 w 972"/>
                <a:gd name="T51" fmla="*/ 136 h 1267"/>
                <a:gd name="T52" fmla="*/ 635 w 972"/>
                <a:gd name="T53" fmla="*/ 145 h 1267"/>
                <a:gd name="T54" fmla="*/ 504 w 972"/>
                <a:gd name="T55" fmla="*/ 169 h 1267"/>
                <a:gd name="T56" fmla="*/ 456 w 972"/>
                <a:gd name="T57" fmla="*/ 107 h 1267"/>
                <a:gd name="T58" fmla="*/ 404 w 972"/>
                <a:gd name="T59" fmla="*/ 31 h 1267"/>
                <a:gd name="T60" fmla="*/ 235 w 972"/>
                <a:gd name="T61" fmla="*/ 0 h 1267"/>
                <a:gd name="T62" fmla="*/ 177 w 972"/>
                <a:gd name="T63" fmla="*/ 67 h 1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72" h="1267">
                  <a:moveTo>
                    <a:pt x="140" y="100"/>
                  </a:moveTo>
                  <a:lnTo>
                    <a:pt x="121" y="160"/>
                  </a:lnTo>
                  <a:lnTo>
                    <a:pt x="99" y="179"/>
                  </a:lnTo>
                  <a:lnTo>
                    <a:pt x="68" y="198"/>
                  </a:lnTo>
                  <a:lnTo>
                    <a:pt x="52" y="232"/>
                  </a:lnTo>
                  <a:lnTo>
                    <a:pt x="25" y="285"/>
                  </a:lnTo>
                  <a:lnTo>
                    <a:pt x="25" y="319"/>
                  </a:lnTo>
                  <a:lnTo>
                    <a:pt x="16" y="367"/>
                  </a:lnTo>
                  <a:lnTo>
                    <a:pt x="0" y="429"/>
                  </a:lnTo>
                  <a:lnTo>
                    <a:pt x="40" y="488"/>
                  </a:lnTo>
                  <a:lnTo>
                    <a:pt x="81" y="541"/>
                  </a:lnTo>
                  <a:lnTo>
                    <a:pt x="124" y="598"/>
                  </a:lnTo>
                  <a:lnTo>
                    <a:pt x="147" y="569"/>
                  </a:lnTo>
                  <a:lnTo>
                    <a:pt x="207" y="569"/>
                  </a:lnTo>
                  <a:lnTo>
                    <a:pt x="296" y="569"/>
                  </a:lnTo>
                  <a:lnTo>
                    <a:pt x="372" y="604"/>
                  </a:lnTo>
                  <a:lnTo>
                    <a:pt x="365" y="684"/>
                  </a:lnTo>
                  <a:lnTo>
                    <a:pt x="413" y="797"/>
                  </a:lnTo>
                  <a:lnTo>
                    <a:pt x="421" y="816"/>
                  </a:lnTo>
                  <a:lnTo>
                    <a:pt x="415" y="847"/>
                  </a:lnTo>
                  <a:lnTo>
                    <a:pt x="432" y="879"/>
                  </a:lnTo>
                  <a:lnTo>
                    <a:pt x="400" y="957"/>
                  </a:lnTo>
                  <a:lnTo>
                    <a:pt x="425" y="1023"/>
                  </a:lnTo>
                  <a:lnTo>
                    <a:pt x="447" y="1082"/>
                  </a:lnTo>
                  <a:lnTo>
                    <a:pt x="465" y="1147"/>
                  </a:lnTo>
                  <a:lnTo>
                    <a:pt x="493" y="1213"/>
                  </a:lnTo>
                  <a:lnTo>
                    <a:pt x="515" y="1267"/>
                  </a:lnTo>
                  <a:lnTo>
                    <a:pt x="565" y="1257"/>
                  </a:lnTo>
                  <a:lnTo>
                    <a:pt x="653" y="1210"/>
                  </a:lnTo>
                  <a:lnTo>
                    <a:pt x="691" y="1156"/>
                  </a:lnTo>
                  <a:lnTo>
                    <a:pt x="691" y="1116"/>
                  </a:lnTo>
                  <a:lnTo>
                    <a:pt x="721" y="1092"/>
                  </a:lnTo>
                  <a:lnTo>
                    <a:pt x="741" y="1078"/>
                  </a:lnTo>
                  <a:lnTo>
                    <a:pt x="737" y="1047"/>
                  </a:lnTo>
                  <a:lnTo>
                    <a:pt x="731" y="1023"/>
                  </a:lnTo>
                  <a:lnTo>
                    <a:pt x="803" y="934"/>
                  </a:lnTo>
                  <a:lnTo>
                    <a:pt x="819" y="856"/>
                  </a:lnTo>
                  <a:lnTo>
                    <a:pt x="803" y="832"/>
                  </a:lnTo>
                  <a:lnTo>
                    <a:pt x="806" y="810"/>
                  </a:lnTo>
                  <a:lnTo>
                    <a:pt x="793" y="778"/>
                  </a:lnTo>
                  <a:lnTo>
                    <a:pt x="844" y="707"/>
                  </a:lnTo>
                  <a:lnTo>
                    <a:pt x="841" y="670"/>
                  </a:lnTo>
                  <a:lnTo>
                    <a:pt x="926" y="612"/>
                  </a:lnTo>
                  <a:lnTo>
                    <a:pt x="972" y="450"/>
                  </a:lnTo>
                  <a:lnTo>
                    <a:pt x="897" y="488"/>
                  </a:lnTo>
                  <a:lnTo>
                    <a:pt x="838" y="464"/>
                  </a:lnTo>
                  <a:lnTo>
                    <a:pt x="844" y="426"/>
                  </a:lnTo>
                  <a:lnTo>
                    <a:pt x="781" y="384"/>
                  </a:lnTo>
                  <a:lnTo>
                    <a:pt x="754" y="286"/>
                  </a:lnTo>
                  <a:lnTo>
                    <a:pt x="690" y="195"/>
                  </a:lnTo>
                  <a:lnTo>
                    <a:pt x="693" y="145"/>
                  </a:lnTo>
                  <a:lnTo>
                    <a:pt x="693" y="136"/>
                  </a:lnTo>
                  <a:lnTo>
                    <a:pt x="660" y="138"/>
                  </a:lnTo>
                  <a:lnTo>
                    <a:pt x="635" y="145"/>
                  </a:lnTo>
                  <a:lnTo>
                    <a:pt x="550" y="113"/>
                  </a:lnTo>
                  <a:lnTo>
                    <a:pt x="504" y="169"/>
                  </a:lnTo>
                  <a:lnTo>
                    <a:pt x="471" y="126"/>
                  </a:lnTo>
                  <a:lnTo>
                    <a:pt x="456" y="107"/>
                  </a:lnTo>
                  <a:lnTo>
                    <a:pt x="410" y="100"/>
                  </a:lnTo>
                  <a:lnTo>
                    <a:pt x="404" y="31"/>
                  </a:lnTo>
                  <a:lnTo>
                    <a:pt x="337" y="42"/>
                  </a:lnTo>
                  <a:lnTo>
                    <a:pt x="235" y="0"/>
                  </a:lnTo>
                  <a:lnTo>
                    <a:pt x="213" y="35"/>
                  </a:lnTo>
                  <a:lnTo>
                    <a:pt x="177" y="67"/>
                  </a:lnTo>
                  <a:lnTo>
                    <a:pt x="140" y="10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0" cap="flat" cmpd="sng">
                  <a:solidFill>
                    <a:schemeClr val="bg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6" name="Freeform 6"/>
            <p:cNvSpPr>
              <a:spLocks/>
            </p:cNvSpPr>
            <p:nvPr/>
          </p:nvSpPr>
          <p:spPr bwMode="auto">
            <a:xfrm>
              <a:off x="5810" y="3669"/>
              <a:ext cx="54" cy="77"/>
            </a:xfrm>
            <a:custGeom>
              <a:avLst/>
              <a:gdLst>
                <a:gd name="T0" fmla="*/ 108 w 164"/>
                <a:gd name="T1" fmla="*/ 0 h 233"/>
                <a:gd name="T2" fmla="*/ 103 w 164"/>
                <a:gd name="T3" fmla="*/ 80 h 233"/>
                <a:gd name="T4" fmla="*/ 46 w 164"/>
                <a:gd name="T5" fmla="*/ 136 h 233"/>
                <a:gd name="T6" fmla="*/ 12 w 164"/>
                <a:gd name="T7" fmla="*/ 177 h 233"/>
                <a:gd name="T8" fmla="*/ 0 w 164"/>
                <a:gd name="T9" fmla="*/ 196 h 233"/>
                <a:gd name="T10" fmla="*/ 14 w 164"/>
                <a:gd name="T11" fmla="*/ 211 h 233"/>
                <a:gd name="T12" fmla="*/ 46 w 164"/>
                <a:gd name="T13" fmla="*/ 233 h 233"/>
                <a:gd name="T14" fmla="*/ 78 w 164"/>
                <a:gd name="T15" fmla="*/ 181 h 233"/>
                <a:gd name="T16" fmla="*/ 124 w 164"/>
                <a:gd name="T17" fmla="*/ 136 h 233"/>
                <a:gd name="T18" fmla="*/ 149 w 164"/>
                <a:gd name="T19" fmla="*/ 93 h 233"/>
                <a:gd name="T20" fmla="*/ 164 w 164"/>
                <a:gd name="T21" fmla="*/ 58 h 233"/>
                <a:gd name="T22" fmla="*/ 153 w 164"/>
                <a:gd name="T23" fmla="*/ 39 h 233"/>
                <a:gd name="T24" fmla="*/ 108 w 164"/>
                <a:gd name="T25" fmla="*/ 0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4" h="233">
                  <a:moveTo>
                    <a:pt x="108" y="0"/>
                  </a:moveTo>
                  <a:lnTo>
                    <a:pt x="103" y="80"/>
                  </a:lnTo>
                  <a:lnTo>
                    <a:pt x="46" y="136"/>
                  </a:lnTo>
                  <a:lnTo>
                    <a:pt x="12" y="177"/>
                  </a:lnTo>
                  <a:lnTo>
                    <a:pt x="0" y="196"/>
                  </a:lnTo>
                  <a:lnTo>
                    <a:pt x="14" y="211"/>
                  </a:lnTo>
                  <a:lnTo>
                    <a:pt x="46" y="233"/>
                  </a:lnTo>
                  <a:lnTo>
                    <a:pt x="78" y="181"/>
                  </a:lnTo>
                  <a:lnTo>
                    <a:pt x="124" y="136"/>
                  </a:lnTo>
                  <a:lnTo>
                    <a:pt x="149" y="93"/>
                  </a:lnTo>
                  <a:lnTo>
                    <a:pt x="164" y="58"/>
                  </a:lnTo>
                  <a:lnTo>
                    <a:pt x="153" y="39"/>
                  </a:lnTo>
                  <a:lnTo>
                    <a:pt x="108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0" cap="flat" cmpd="sng">
                  <a:solidFill>
                    <a:schemeClr val="bg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7" name="Freeform 7"/>
            <p:cNvSpPr>
              <a:spLocks/>
            </p:cNvSpPr>
            <p:nvPr/>
          </p:nvSpPr>
          <p:spPr bwMode="auto">
            <a:xfrm>
              <a:off x="5606" y="3609"/>
              <a:ext cx="172" cy="160"/>
            </a:xfrm>
            <a:custGeom>
              <a:avLst/>
              <a:gdLst>
                <a:gd name="T0" fmla="*/ 357 w 517"/>
                <a:gd name="T1" fmla="*/ 29 h 481"/>
                <a:gd name="T2" fmla="*/ 360 w 517"/>
                <a:gd name="T3" fmla="*/ 46 h 481"/>
                <a:gd name="T4" fmla="*/ 354 w 517"/>
                <a:gd name="T5" fmla="*/ 82 h 481"/>
                <a:gd name="T6" fmla="*/ 322 w 517"/>
                <a:gd name="T7" fmla="*/ 78 h 481"/>
                <a:gd name="T8" fmla="*/ 301 w 517"/>
                <a:gd name="T9" fmla="*/ 7 h 481"/>
                <a:gd name="T10" fmla="*/ 241 w 517"/>
                <a:gd name="T11" fmla="*/ 0 h 481"/>
                <a:gd name="T12" fmla="*/ 226 w 517"/>
                <a:gd name="T13" fmla="*/ 22 h 481"/>
                <a:gd name="T14" fmla="*/ 194 w 517"/>
                <a:gd name="T15" fmla="*/ 53 h 481"/>
                <a:gd name="T16" fmla="*/ 163 w 517"/>
                <a:gd name="T17" fmla="*/ 47 h 481"/>
                <a:gd name="T18" fmla="*/ 125 w 517"/>
                <a:gd name="T19" fmla="*/ 88 h 481"/>
                <a:gd name="T20" fmla="*/ 112 w 517"/>
                <a:gd name="T21" fmla="*/ 93 h 481"/>
                <a:gd name="T22" fmla="*/ 95 w 517"/>
                <a:gd name="T23" fmla="*/ 128 h 481"/>
                <a:gd name="T24" fmla="*/ 34 w 517"/>
                <a:gd name="T25" fmla="*/ 146 h 481"/>
                <a:gd name="T26" fmla="*/ 0 w 517"/>
                <a:gd name="T27" fmla="*/ 206 h 481"/>
                <a:gd name="T28" fmla="*/ 17 w 517"/>
                <a:gd name="T29" fmla="*/ 262 h 481"/>
                <a:gd name="T30" fmla="*/ 10 w 517"/>
                <a:gd name="T31" fmla="*/ 279 h 481"/>
                <a:gd name="T32" fmla="*/ 29 w 517"/>
                <a:gd name="T33" fmla="*/ 343 h 481"/>
                <a:gd name="T34" fmla="*/ 63 w 517"/>
                <a:gd name="T35" fmla="*/ 388 h 481"/>
                <a:gd name="T36" fmla="*/ 141 w 517"/>
                <a:gd name="T37" fmla="*/ 369 h 481"/>
                <a:gd name="T38" fmla="*/ 181 w 517"/>
                <a:gd name="T39" fmla="*/ 344 h 481"/>
                <a:gd name="T40" fmla="*/ 192 w 517"/>
                <a:gd name="T41" fmla="*/ 337 h 481"/>
                <a:gd name="T42" fmla="*/ 247 w 517"/>
                <a:gd name="T43" fmla="*/ 344 h 481"/>
                <a:gd name="T44" fmla="*/ 272 w 517"/>
                <a:gd name="T45" fmla="*/ 375 h 481"/>
                <a:gd name="T46" fmla="*/ 286 w 517"/>
                <a:gd name="T47" fmla="*/ 399 h 481"/>
                <a:gd name="T48" fmla="*/ 339 w 517"/>
                <a:gd name="T49" fmla="*/ 415 h 481"/>
                <a:gd name="T50" fmla="*/ 389 w 517"/>
                <a:gd name="T51" fmla="*/ 463 h 481"/>
                <a:gd name="T52" fmla="*/ 413 w 517"/>
                <a:gd name="T53" fmla="*/ 479 h 481"/>
                <a:gd name="T54" fmla="*/ 454 w 517"/>
                <a:gd name="T55" fmla="*/ 447 h 481"/>
                <a:gd name="T56" fmla="*/ 478 w 517"/>
                <a:gd name="T57" fmla="*/ 402 h 481"/>
                <a:gd name="T58" fmla="*/ 507 w 517"/>
                <a:gd name="T59" fmla="*/ 340 h 481"/>
                <a:gd name="T60" fmla="*/ 511 w 517"/>
                <a:gd name="T61" fmla="*/ 253 h 481"/>
                <a:gd name="T62" fmla="*/ 478 w 517"/>
                <a:gd name="T63" fmla="*/ 196 h 481"/>
                <a:gd name="T64" fmla="*/ 464 w 517"/>
                <a:gd name="T65" fmla="*/ 159 h 481"/>
                <a:gd name="T66" fmla="*/ 428 w 517"/>
                <a:gd name="T67" fmla="*/ 131 h 481"/>
                <a:gd name="T68" fmla="*/ 410 w 517"/>
                <a:gd name="T69" fmla="*/ 65 h 481"/>
                <a:gd name="T70" fmla="*/ 375 w 517"/>
                <a:gd name="T71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17" h="481">
                  <a:moveTo>
                    <a:pt x="363" y="4"/>
                  </a:moveTo>
                  <a:lnTo>
                    <a:pt x="357" y="29"/>
                  </a:lnTo>
                  <a:lnTo>
                    <a:pt x="354" y="35"/>
                  </a:lnTo>
                  <a:lnTo>
                    <a:pt x="360" y="46"/>
                  </a:lnTo>
                  <a:lnTo>
                    <a:pt x="360" y="72"/>
                  </a:lnTo>
                  <a:lnTo>
                    <a:pt x="354" y="82"/>
                  </a:lnTo>
                  <a:lnTo>
                    <a:pt x="339" y="88"/>
                  </a:lnTo>
                  <a:lnTo>
                    <a:pt x="322" y="78"/>
                  </a:lnTo>
                  <a:lnTo>
                    <a:pt x="317" y="50"/>
                  </a:lnTo>
                  <a:lnTo>
                    <a:pt x="301" y="7"/>
                  </a:lnTo>
                  <a:lnTo>
                    <a:pt x="272" y="10"/>
                  </a:lnTo>
                  <a:lnTo>
                    <a:pt x="241" y="0"/>
                  </a:lnTo>
                  <a:lnTo>
                    <a:pt x="241" y="22"/>
                  </a:lnTo>
                  <a:lnTo>
                    <a:pt x="226" y="22"/>
                  </a:lnTo>
                  <a:lnTo>
                    <a:pt x="213" y="50"/>
                  </a:lnTo>
                  <a:lnTo>
                    <a:pt x="194" y="53"/>
                  </a:lnTo>
                  <a:lnTo>
                    <a:pt x="181" y="56"/>
                  </a:lnTo>
                  <a:lnTo>
                    <a:pt x="163" y="47"/>
                  </a:lnTo>
                  <a:lnTo>
                    <a:pt x="128" y="78"/>
                  </a:lnTo>
                  <a:lnTo>
                    <a:pt x="125" y="88"/>
                  </a:lnTo>
                  <a:lnTo>
                    <a:pt x="114" y="81"/>
                  </a:lnTo>
                  <a:lnTo>
                    <a:pt x="112" y="93"/>
                  </a:lnTo>
                  <a:lnTo>
                    <a:pt x="112" y="104"/>
                  </a:lnTo>
                  <a:lnTo>
                    <a:pt x="95" y="128"/>
                  </a:lnTo>
                  <a:lnTo>
                    <a:pt x="69" y="137"/>
                  </a:lnTo>
                  <a:lnTo>
                    <a:pt x="34" y="146"/>
                  </a:lnTo>
                  <a:lnTo>
                    <a:pt x="10" y="163"/>
                  </a:lnTo>
                  <a:lnTo>
                    <a:pt x="0" y="206"/>
                  </a:lnTo>
                  <a:lnTo>
                    <a:pt x="7" y="259"/>
                  </a:lnTo>
                  <a:lnTo>
                    <a:pt x="17" y="262"/>
                  </a:lnTo>
                  <a:lnTo>
                    <a:pt x="17" y="266"/>
                  </a:lnTo>
                  <a:lnTo>
                    <a:pt x="10" y="279"/>
                  </a:lnTo>
                  <a:lnTo>
                    <a:pt x="26" y="322"/>
                  </a:lnTo>
                  <a:lnTo>
                    <a:pt x="29" y="343"/>
                  </a:lnTo>
                  <a:lnTo>
                    <a:pt x="26" y="369"/>
                  </a:lnTo>
                  <a:lnTo>
                    <a:pt x="63" y="388"/>
                  </a:lnTo>
                  <a:lnTo>
                    <a:pt x="89" y="369"/>
                  </a:lnTo>
                  <a:lnTo>
                    <a:pt x="141" y="369"/>
                  </a:lnTo>
                  <a:lnTo>
                    <a:pt x="135" y="360"/>
                  </a:lnTo>
                  <a:lnTo>
                    <a:pt x="181" y="344"/>
                  </a:lnTo>
                  <a:lnTo>
                    <a:pt x="194" y="344"/>
                  </a:lnTo>
                  <a:lnTo>
                    <a:pt x="192" y="337"/>
                  </a:lnTo>
                  <a:lnTo>
                    <a:pt x="213" y="332"/>
                  </a:lnTo>
                  <a:lnTo>
                    <a:pt x="247" y="344"/>
                  </a:lnTo>
                  <a:lnTo>
                    <a:pt x="266" y="344"/>
                  </a:lnTo>
                  <a:lnTo>
                    <a:pt x="272" y="375"/>
                  </a:lnTo>
                  <a:lnTo>
                    <a:pt x="286" y="375"/>
                  </a:lnTo>
                  <a:lnTo>
                    <a:pt x="286" y="399"/>
                  </a:lnTo>
                  <a:lnTo>
                    <a:pt x="325" y="403"/>
                  </a:lnTo>
                  <a:lnTo>
                    <a:pt x="339" y="415"/>
                  </a:lnTo>
                  <a:lnTo>
                    <a:pt x="341" y="444"/>
                  </a:lnTo>
                  <a:lnTo>
                    <a:pt x="389" y="463"/>
                  </a:lnTo>
                  <a:lnTo>
                    <a:pt x="400" y="481"/>
                  </a:lnTo>
                  <a:lnTo>
                    <a:pt x="413" y="479"/>
                  </a:lnTo>
                  <a:lnTo>
                    <a:pt x="438" y="459"/>
                  </a:lnTo>
                  <a:lnTo>
                    <a:pt x="454" y="447"/>
                  </a:lnTo>
                  <a:lnTo>
                    <a:pt x="473" y="447"/>
                  </a:lnTo>
                  <a:lnTo>
                    <a:pt x="478" y="402"/>
                  </a:lnTo>
                  <a:lnTo>
                    <a:pt x="486" y="363"/>
                  </a:lnTo>
                  <a:lnTo>
                    <a:pt x="507" y="340"/>
                  </a:lnTo>
                  <a:lnTo>
                    <a:pt x="517" y="307"/>
                  </a:lnTo>
                  <a:lnTo>
                    <a:pt x="511" y="253"/>
                  </a:lnTo>
                  <a:lnTo>
                    <a:pt x="507" y="219"/>
                  </a:lnTo>
                  <a:lnTo>
                    <a:pt x="478" y="196"/>
                  </a:lnTo>
                  <a:lnTo>
                    <a:pt x="476" y="177"/>
                  </a:lnTo>
                  <a:lnTo>
                    <a:pt x="464" y="159"/>
                  </a:lnTo>
                  <a:lnTo>
                    <a:pt x="456" y="146"/>
                  </a:lnTo>
                  <a:lnTo>
                    <a:pt x="428" y="131"/>
                  </a:lnTo>
                  <a:lnTo>
                    <a:pt x="420" y="103"/>
                  </a:lnTo>
                  <a:lnTo>
                    <a:pt x="410" y="65"/>
                  </a:lnTo>
                  <a:lnTo>
                    <a:pt x="395" y="35"/>
                  </a:lnTo>
                  <a:lnTo>
                    <a:pt x="375" y="0"/>
                  </a:lnTo>
                  <a:lnTo>
                    <a:pt x="363" y="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0" cap="flat" cmpd="sng">
                  <a:solidFill>
                    <a:schemeClr val="bg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8" name="Freeform 8"/>
            <p:cNvSpPr>
              <a:spLocks/>
            </p:cNvSpPr>
            <p:nvPr/>
          </p:nvSpPr>
          <p:spPr bwMode="auto">
            <a:xfrm>
              <a:off x="5651" y="3530"/>
              <a:ext cx="90" cy="75"/>
            </a:xfrm>
            <a:custGeom>
              <a:avLst/>
              <a:gdLst>
                <a:gd name="T0" fmla="*/ 0 w 271"/>
                <a:gd name="T1" fmla="*/ 0 h 224"/>
                <a:gd name="T2" fmla="*/ 19 w 271"/>
                <a:gd name="T3" fmla="*/ 56 h 224"/>
                <a:gd name="T4" fmla="*/ 109 w 271"/>
                <a:gd name="T5" fmla="*/ 133 h 224"/>
                <a:gd name="T6" fmla="*/ 160 w 271"/>
                <a:gd name="T7" fmla="*/ 119 h 224"/>
                <a:gd name="T8" fmla="*/ 271 w 271"/>
                <a:gd name="T9" fmla="*/ 224 h 224"/>
                <a:gd name="T10" fmla="*/ 212 w 271"/>
                <a:gd name="T11" fmla="*/ 116 h 224"/>
                <a:gd name="T12" fmla="*/ 212 w 271"/>
                <a:gd name="T13" fmla="*/ 94 h 224"/>
                <a:gd name="T14" fmla="*/ 222 w 271"/>
                <a:gd name="T15" fmla="*/ 71 h 224"/>
                <a:gd name="T16" fmla="*/ 104 w 271"/>
                <a:gd name="T17" fmla="*/ 24 h 224"/>
                <a:gd name="T18" fmla="*/ 0 w 271"/>
                <a:gd name="T19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1" h="224">
                  <a:moveTo>
                    <a:pt x="0" y="0"/>
                  </a:moveTo>
                  <a:lnTo>
                    <a:pt x="19" y="56"/>
                  </a:lnTo>
                  <a:lnTo>
                    <a:pt x="109" y="133"/>
                  </a:lnTo>
                  <a:lnTo>
                    <a:pt x="160" y="119"/>
                  </a:lnTo>
                  <a:lnTo>
                    <a:pt x="271" y="224"/>
                  </a:lnTo>
                  <a:lnTo>
                    <a:pt x="212" y="116"/>
                  </a:lnTo>
                  <a:lnTo>
                    <a:pt x="212" y="94"/>
                  </a:lnTo>
                  <a:lnTo>
                    <a:pt x="222" y="71"/>
                  </a:lnTo>
                  <a:lnTo>
                    <a:pt x="104" y="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0" cap="flat" cmpd="sng">
                  <a:solidFill>
                    <a:schemeClr val="bg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9" name="Freeform 9"/>
            <p:cNvSpPr>
              <a:spLocks/>
            </p:cNvSpPr>
            <p:nvPr/>
          </p:nvSpPr>
          <p:spPr bwMode="auto">
            <a:xfrm>
              <a:off x="5554" y="3504"/>
              <a:ext cx="55" cy="72"/>
            </a:xfrm>
            <a:custGeom>
              <a:avLst/>
              <a:gdLst>
                <a:gd name="T0" fmla="*/ 125 w 166"/>
                <a:gd name="T1" fmla="*/ 0 h 215"/>
                <a:gd name="T2" fmla="*/ 59 w 166"/>
                <a:gd name="T3" fmla="*/ 111 h 215"/>
                <a:gd name="T4" fmla="*/ 0 w 166"/>
                <a:gd name="T5" fmla="*/ 114 h 215"/>
                <a:gd name="T6" fmla="*/ 19 w 166"/>
                <a:gd name="T7" fmla="*/ 193 h 215"/>
                <a:gd name="T8" fmla="*/ 137 w 166"/>
                <a:gd name="T9" fmla="*/ 215 h 215"/>
                <a:gd name="T10" fmla="*/ 166 w 166"/>
                <a:gd name="T11" fmla="*/ 64 h 215"/>
                <a:gd name="T12" fmla="*/ 125 w 166"/>
                <a:gd name="T13" fmla="*/ 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6" h="215">
                  <a:moveTo>
                    <a:pt x="125" y="0"/>
                  </a:moveTo>
                  <a:lnTo>
                    <a:pt x="59" y="111"/>
                  </a:lnTo>
                  <a:lnTo>
                    <a:pt x="0" y="114"/>
                  </a:lnTo>
                  <a:lnTo>
                    <a:pt x="19" y="193"/>
                  </a:lnTo>
                  <a:lnTo>
                    <a:pt x="137" y="215"/>
                  </a:lnTo>
                  <a:lnTo>
                    <a:pt x="166" y="64"/>
                  </a:lnTo>
                  <a:lnTo>
                    <a:pt x="125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0" cap="flat" cmpd="sng">
                  <a:solidFill>
                    <a:schemeClr val="bg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10" name="Freeform 10"/>
            <p:cNvSpPr>
              <a:spLocks/>
            </p:cNvSpPr>
            <p:nvPr/>
          </p:nvSpPr>
          <p:spPr bwMode="auto">
            <a:xfrm>
              <a:off x="5481" y="3553"/>
              <a:ext cx="60" cy="44"/>
            </a:xfrm>
            <a:custGeom>
              <a:avLst/>
              <a:gdLst>
                <a:gd name="T0" fmla="*/ 0 w 178"/>
                <a:gd name="T1" fmla="*/ 0 h 134"/>
                <a:gd name="T2" fmla="*/ 105 w 178"/>
                <a:gd name="T3" fmla="*/ 131 h 134"/>
                <a:gd name="T4" fmla="*/ 161 w 178"/>
                <a:gd name="T5" fmla="*/ 134 h 134"/>
                <a:gd name="T6" fmla="*/ 178 w 178"/>
                <a:gd name="T7" fmla="*/ 91 h 134"/>
                <a:gd name="T8" fmla="*/ 75 w 178"/>
                <a:gd name="T9" fmla="*/ 19 h 134"/>
                <a:gd name="T10" fmla="*/ 0 w 178"/>
                <a:gd name="T11" fmla="*/ 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8" h="134">
                  <a:moveTo>
                    <a:pt x="0" y="0"/>
                  </a:moveTo>
                  <a:lnTo>
                    <a:pt x="105" y="131"/>
                  </a:lnTo>
                  <a:lnTo>
                    <a:pt x="161" y="134"/>
                  </a:lnTo>
                  <a:lnTo>
                    <a:pt x="178" y="91"/>
                  </a:lnTo>
                  <a:lnTo>
                    <a:pt x="75" y="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0" cap="flat" cmpd="sng">
                  <a:solidFill>
                    <a:schemeClr val="bg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11" name="Freeform 11"/>
            <p:cNvSpPr>
              <a:spLocks/>
            </p:cNvSpPr>
            <p:nvPr/>
          </p:nvSpPr>
          <p:spPr bwMode="auto">
            <a:xfrm>
              <a:off x="5537" y="3598"/>
              <a:ext cx="103" cy="29"/>
            </a:xfrm>
            <a:custGeom>
              <a:avLst/>
              <a:gdLst>
                <a:gd name="T0" fmla="*/ 0 w 309"/>
                <a:gd name="T1" fmla="*/ 0 h 85"/>
                <a:gd name="T2" fmla="*/ 65 w 309"/>
                <a:gd name="T3" fmla="*/ 85 h 85"/>
                <a:gd name="T4" fmla="*/ 309 w 309"/>
                <a:gd name="T5" fmla="*/ 33 h 85"/>
                <a:gd name="T6" fmla="*/ 75 w 309"/>
                <a:gd name="T7" fmla="*/ 42 h 85"/>
                <a:gd name="T8" fmla="*/ 0 w 309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9" h="85">
                  <a:moveTo>
                    <a:pt x="0" y="0"/>
                  </a:moveTo>
                  <a:lnTo>
                    <a:pt x="65" y="85"/>
                  </a:lnTo>
                  <a:lnTo>
                    <a:pt x="309" y="33"/>
                  </a:lnTo>
                  <a:lnTo>
                    <a:pt x="75" y="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0" cap="flat" cmpd="sng">
                  <a:solidFill>
                    <a:schemeClr val="bg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12" name="Freeform 12"/>
            <p:cNvSpPr>
              <a:spLocks/>
            </p:cNvSpPr>
            <p:nvPr/>
          </p:nvSpPr>
          <p:spPr bwMode="auto">
            <a:xfrm>
              <a:off x="5739" y="3775"/>
              <a:ext cx="17" cy="24"/>
            </a:xfrm>
            <a:custGeom>
              <a:avLst/>
              <a:gdLst>
                <a:gd name="T0" fmla="*/ 16 w 53"/>
                <a:gd name="T1" fmla="*/ 0 h 72"/>
                <a:gd name="T2" fmla="*/ 0 w 53"/>
                <a:gd name="T3" fmla="*/ 0 h 72"/>
                <a:gd name="T4" fmla="*/ 3 w 53"/>
                <a:gd name="T5" fmla="*/ 16 h 72"/>
                <a:gd name="T6" fmla="*/ 16 w 53"/>
                <a:gd name="T7" fmla="*/ 29 h 72"/>
                <a:gd name="T8" fmla="*/ 16 w 53"/>
                <a:gd name="T9" fmla="*/ 54 h 72"/>
                <a:gd name="T10" fmla="*/ 37 w 53"/>
                <a:gd name="T11" fmla="*/ 72 h 72"/>
                <a:gd name="T12" fmla="*/ 46 w 53"/>
                <a:gd name="T13" fmla="*/ 58 h 72"/>
                <a:gd name="T14" fmla="*/ 46 w 53"/>
                <a:gd name="T15" fmla="*/ 45 h 72"/>
                <a:gd name="T16" fmla="*/ 52 w 53"/>
                <a:gd name="T17" fmla="*/ 35 h 72"/>
                <a:gd name="T18" fmla="*/ 53 w 53"/>
                <a:gd name="T19" fmla="*/ 4 h 72"/>
                <a:gd name="T20" fmla="*/ 30 w 53"/>
                <a:gd name="T21" fmla="*/ 11 h 72"/>
                <a:gd name="T22" fmla="*/ 16 w 53"/>
                <a:gd name="T23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3" h="72">
                  <a:moveTo>
                    <a:pt x="16" y="0"/>
                  </a:moveTo>
                  <a:lnTo>
                    <a:pt x="0" y="0"/>
                  </a:lnTo>
                  <a:lnTo>
                    <a:pt x="3" y="16"/>
                  </a:lnTo>
                  <a:lnTo>
                    <a:pt x="16" y="29"/>
                  </a:lnTo>
                  <a:lnTo>
                    <a:pt x="16" y="54"/>
                  </a:lnTo>
                  <a:lnTo>
                    <a:pt x="37" y="72"/>
                  </a:lnTo>
                  <a:lnTo>
                    <a:pt x="46" y="58"/>
                  </a:lnTo>
                  <a:lnTo>
                    <a:pt x="46" y="45"/>
                  </a:lnTo>
                  <a:lnTo>
                    <a:pt x="52" y="35"/>
                  </a:lnTo>
                  <a:lnTo>
                    <a:pt x="53" y="4"/>
                  </a:lnTo>
                  <a:lnTo>
                    <a:pt x="30" y="11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0" cap="flat" cmpd="sng">
                  <a:solidFill>
                    <a:schemeClr val="bg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13" name="Freeform 13"/>
            <p:cNvSpPr>
              <a:spLocks/>
            </p:cNvSpPr>
            <p:nvPr/>
          </p:nvSpPr>
          <p:spPr bwMode="auto">
            <a:xfrm>
              <a:off x="5632" y="3228"/>
              <a:ext cx="71" cy="116"/>
            </a:xfrm>
            <a:custGeom>
              <a:avLst/>
              <a:gdLst>
                <a:gd name="T0" fmla="*/ 142 w 214"/>
                <a:gd name="T1" fmla="*/ 0 h 348"/>
                <a:gd name="T2" fmla="*/ 142 w 214"/>
                <a:gd name="T3" fmla="*/ 45 h 348"/>
                <a:gd name="T4" fmla="*/ 122 w 214"/>
                <a:gd name="T5" fmla="*/ 72 h 348"/>
                <a:gd name="T6" fmla="*/ 129 w 214"/>
                <a:gd name="T7" fmla="*/ 122 h 348"/>
                <a:gd name="T8" fmla="*/ 107 w 214"/>
                <a:gd name="T9" fmla="*/ 182 h 348"/>
                <a:gd name="T10" fmla="*/ 73 w 214"/>
                <a:gd name="T11" fmla="*/ 235 h 348"/>
                <a:gd name="T12" fmla="*/ 11 w 214"/>
                <a:gd name="T13" fmla="*/ 284 h 348"/>
                <a:gd name="T14" fmla="*/ 0 w 214"/>
                <a:gd name="T15" fmla="*/ 348 h 348"/>
                <a:gd name="T16" fmla="*/ 23 w 214"/>
                <a:gd name="T17" fmla="*/ 348 h 348"/>
                <a:gd name="T18" fmla="*/ 29 w 214"/>
                <a:gd name="T19" fmla="*/ 288 h 348"/>
                <a:gd name="T20" fmla="*/ 101 w 214"/>
                <a:gd name="T21" fmla="*/ 282 h 348"/>
                <a:gd name="T22" fmla="*/ 161 w 214"/>
                <a:gd name="T23" fmla="*/ 241 h 348"/>
                <a:gd name="T24" fmla="*/ 158 w 214"/>
                <a:gd name="T25" fmla="*/ 157 h 348"/>
                <a:gd name="T26" fmla="*/ 175 w 214"/>
                <a:gd name="T27" fmla="*/ 125 h 348"/>
                <a:gd name="T28" fmla="*/ 148 w 214"/>
                <a:gd name="T29" fmla="*/ 79 h 348"/>
                <a:gd name="T30" fmla="*/ 189 w 214"/>
                <a:gd name="T31" fmla="*/ 59 h 348"/>
                <a:gd name="T32" fmla="*/ 214 w 214"/>
                <a:gd name="T33" fmla="*/ 13 h 348"/>
                <a:gd name="T34" fmla="*/ 158 w 214"/>
                <a:gd name="T35" fmla="*/ 23 h 348"/>
                <a:gd name="T36" fmla="*/ 142 w 214"/>
                <a:gd name="T37" fmla="*/ 0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4" h="348">
                  <a:moveTo>
                    <a:pt x="142" y="0"/>
                  </a:moveTo>
                  <a:lnTo>
                    <a:pt x="142" y="45"/>
                  </a:lnTo>
                  <a:lnTo>
                    <a:pt x="122" y="72"/>
                  </a:lnTo>
                  <a:lnTo>
                    <a:pt x="129" y="122"/>
                  </a:lnTo>
                  <a:lnTo>
                    <a:pt x="107" y="182"/>
                  </a:lnTo>
                  <a:lnTo>
                    <a:pt x="73" y="235"/>
                  </a:lnTo>
                  <a:lnTo>
                    <a:pt x="11" y="284"/>
                  </a:lnTo>
                  <a:lnTo>
                    <a:pt x="0" y="348"/>
                  </a:lnTo>
                  <a:lnTo>
                    <a:pt x="23" y="348"/>
                  </a:lnTo>
                  <a:lnTo>
                    <a:pt x="29" y="288"/>
                  </a:lnTo>
                  <a:lnTo>
                    <a:pt x="101" y="282"/>
                  </a:lnTo>
                  <a:lnTo>
                    <a:pt x="161" y="241"/>
                  </a:lnTo>
                  <a:lnTo>
                    <a:pt x="158" y="157"/>
                  </a:lnTo>
                  <a:lnTo>
                    <a:pt x="175" y="125"/>
                  </a:lnTo>
                  <a:lnTo>
                    <a:pt x="148" y="79"/>
                  </a:lnTo>
                  <a:lnTo>
                    <a:pt x="189" y="59"/>
                  </a:lnTo>
                  <a:lnTo>
                    <a:pt x="214" y="13"/>
                  </a:lnTo>
                  <a:lnTo>
                    <a:pt x="158" y="23"/>
                  </a:lnTo>
                  <a:lnTo>
                    <a:pt x="14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0" cap="flat" cmpd="sng">
                  <a:solidFill>
                    <a:schemeClr val="bg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14" name="Freeform 14"/>
            <p:cNvSpPr>
              <a:spLocks/>
            </p:cNvSpPr>
            <p:nvPr/>
          </p:nvSpPr>
          <p:spPr bwMode="auto">
            <a:xfrm>
              <a:off x="5603" y="3393"/>
              <a:ext cx="11" cy="17"/>
            </a:xfrm>
            <a:custGeom>
              <a:avLst/>
              <a:gdLst>
                <a:gd name="T0" fmla="*/ 19 w 32"/>
                <a:gd name="T1" fmla="*/ 0 h 52"/>
                <a:gd name="T2" fmla="*/ 32 w 32"/>
                <a:gd name="T3" fmla="*/ 21 h 52"/>
                <a:gd name="T4" fmla="*/ 12 w 32"/>
                <a:gd name="T5" fmla="*/ 50 h 52"/>
                <a:gd name="T6" fmla="*/ 0 w 32"/>
                <a:gd name="T7" fmla="*/ 52 h 52"/>
                <a:gd name="T8" fmla="*/ 6 w 32"/>
                <a:gd name="T9" fmla="*/ 24 h 52"/>
                <a:gd name="T10" fmla="*/ 19 w 32"/>
                <a:gd name="T1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" h="52">
                  <a:moveTo>
                    <a:pt x="19" y="0"/>
                  </a:moveTo>
                  <a:lnTo>
                    <a:pt x="32" y="21"/>
                  </a:lnTo>
                  <a:lnTo>
                    <a:pt x="12" y="50"/>
                  </a:lnTo>
                  <a:lnTo>
                    <a:pt x="0" y="52"/>
                  </a:lnTo>
                  <a:lnTo>
                    <a:pt x="6" y="24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0" cap="flat" cmpd="sng">
                  <a:solidFill>
                    <a:schemeClr val="bg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15" name="Freeform 15"/>
            <p:cNvSpPr>
              <a:spLocks/>
            </p:cNvSpPr>
            <p:nvPr/>
          </p:nvSpPr>
          <p:spPr bwMode="auto">
            <a:xfrm>
              <a:off x="5615" y="3418"/>
              <a:ext cx="17" cy="24"/>
            </a:xfrm>
            <a:custGeom>
              <a:avLst/>
              <a:gdLst>
                <a:gd name="T0" fmla="*/ 21 w 52"/>
                <a:gd name="T1" fmla="*/ 0 h 74"/>
                <a:gd name="T2" fmla="*/ 34 w 52"/>
                <a:gd name="T3" fmla="*/ 25 h 74"/>
                <a:gd name="T4" fmla="*/ 19 w 52"/>
                <a:gd name="T5" fmla="*/ 39 h 74"/>
                <a:gd name="T6" fmla="*/ 21 w 52"/>
                <a:gd name="T7" fmla="*/ 46 h 74"/>
                <a:gd name="T8" fmla="*/ 52 w 52"/>
                <a:gd name="T9" fmla="*/ 59 h 74"/>
                <a:gd name="T10" fmla="*/ 49 w 52"/>
                <a:gd name="T11" fmla="*/ 71 h 74"/>
                <a:gd name="T12" fmla="*/ 30 w 52"/>
                <a:gd name="T13" fmla="*/ 61 h 74"/>
                <a:gd name="T14" fmla="*/ 9 w 52"/>
                <a:gd name="T15" fmla="*/ 74 h 74"/>
                <a:gd name="T16" fmla="*/ 0 w 52"/>
                <a:gd name="T17" fmla="*/ 58 h 74"/>
                <a:gd name="T18" fmla="*/ 11 w 52"/>
                <a:gd name="T19" fmla="*/ 49 h 74"/>
                <a:gd name="T20" fmla="*/ 2 w 52"/>
                <a:gd name="T21" fmla="*/ 36 h 74"/>
                <a:gd name="T22" fmla="*/ 21 w 52"/>
                <a:gd name="T23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2" h="74">
                  <a:moveTo>
                    <a:pt x="21" y="0"/>
                  </a:moveTo>
                  <a:lnTo>
                    <a:pt x="34" y="25"/>
                  </a:lnTo>
                  <a:lnTo>
                    <a:pt x="19" y="39"/>
                  </a:lnTo>
                  <a:lnTo>
                    <a:pt x="21" y="46"/>
                  </a:lnTo>
                  <a:lnTo>
                    <a:pt x="52" y="59"/>
                  </a:lnTo>
                  <a:lnTo>
                    <a:pt x="49" y="71"/>
                  </a:lnTo>
                  <a:lnTo>
                    <a:pt x="30" y="61"/>
                  </a:lnTo>
                  <a:lnTo>
                    <a:pt x="9" y="74"/>
                  </a:lnTo>
                  <a:lnTo>
                    <a:pt x="0" y="58"/>
                  </a:lnTo>
                  <a:lnTo>
                    <a:pt x="11" y="49"/>
                  </a:lnTo>
                  <a:lnTo>
                    <a:pt x="2" y="36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0" cap="flat" cmpd="sng">
                  <a:solidFill>
                    <a:schemeClr val="bg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16" name="Freeform 16"/>
            <p:cNvSpPr>
              <a:spLocks/>
            </p:cNvSpPr>
            <p:nvPr/>
          </p:nvSpPr>
          <p:spPr bwMode="auto">
            <a:xfrm>
              <a:off x="5631" y="3445"/>
              <a:ext cx="7" cy="13"/>
            </a:xfrm>
            <a:custGeom>
              <a:avLst/>
              <a:gdLst>
                <a:gd name="T0" fmla="*/ 10 w 22"/>
                <a:gd name="T1" fmla="*/ 0 h 39"/>
                <a:gd name="T2" fmla="*/ 0 w 22"/>
                <a:gd name="T3" fmla="*/ 17 h 39"/>
                <a:gd name="T4" fmla="*/ 17 w 22"/>
                <a:gd name="T5" fmla="*/ 39 h 39"/>
                <a:gd name="T6" fmla="*/ 22 w 22"/>
                <a:gd name="T7" fmla="*/ 33 h 39"/>
                <a:gd name="T8" fmla="*/ 10 w 22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39">
                  <a:moveTo>
                    <a:pt x="10" y="0"/>
                  </a:moveTo>
                  <a:lnTo>
                    <a:pt x="0" y="17"/>
                  </a:lnTo>
                  <a:lnTo>
                    <a:pt x="17" y="39"/>
                  </a:lnTo>
                  <a:lnTo>
                    <a:pt x="22" y="33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0" cap="flat" cmpd="sng">
                  <a:solidFill>
                    <a:schemeClr val="bg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17" name="Freeform 17"/>
            <p:cNvSpPr>
              <a:spLocks/>
            </p:cNvSpPr>
            <p:nvPr/>
          </p:nvSpPr>
          <p:spPr bwMode="auto">
            <a:xfrm>
              <a:off x="5619" y="3445"/>
              <a:ext cx="3" cy="8"/>
            </a:xfrm>
            <a:custGeom>
              <a:avLst/>
              <a:gdLst>
                <a:gd name="T0" fmla="*/ 9 w 9"/>
                <a:gd name="T1" fmla="*/ 0 h 25"/>
                <a:gd name="T2" fmla="*/ 7 w 9"/>
                <a:gd name="T3" fmla="*/ 25 h 25"/>
                <a:gd name="T4" fmla="*/ 0 w 9"/>
                <a:gd name="T5" fmla="*/ 15 h 25"/>
                <a:gd name="T6" fmla="*/ 9 w 9"/>
                <a:gd name="T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25">
                  <a:moveTo>
                    <a:pt x="9" y="0"/>
                  </a:moveTo>
                  <a:lnTo>
                    <a:pt x="7" y="25"/>
                  </a:lnTo>
                  <a:lnTo>
                    <a:pt x="0" y="15"/>
                  </a:lnTo>
                  <a:lnTo>
                    <a:pt x="9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0" cap="flat" cmpd="sng">
                  <a:solidFill>
                    <a:schemeClr val="bg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18" name="Freeform 18"/>
            <p:cNvSpPr>
              <a:spLocks/>
            </p:cNvSpPr>
            <p:nvPr/>
          </p:nvSpPr>
          <p:spPr bwMode="auto">
            <a:xfrm>
              <a:off x="5379" y="3524"/>
              <a:ext cx="17" cy="32"/>
            </a:xfrm>
            <a:custGeom>
              <a:avLst/>
              <a:gdLst>
                <a:gd name="T0" fmla="*/ 24 w 52"/>
                <a:gd name="T1" fmla="*/ 0 h 96"/>
                <a:gd name="T2" fmla="*/ 0 w 52"/>
                <a:gd name="T3" fmla="*/ 46 h 96"/>
                <a:gd name="T4" fmla="*/ 21 w 52"/>
                <a:gd name="T5" fmla="*/ 96 h 96"/>
                <a:gd name="T6" fmla="*/ 52 w 52"/>
                <a:gd name="T7" fmla="*/ 56 h 96"/>
                <a:gd name="T8" fmla="*/ 24 w 52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96">
                  <a:moveTo>
                    <a:pt x="24" y="0"/>
                  </a:moveTo>
                  <a:lnTo>
                    <a:pt x="0" y="46"/>
                  </a:lnTo>
                  <a:lnTo>
                    <a:pt x="21" y="96"/>
                  </a:lnTo>
                  <a:lnTo>
                    <a:pt x="52" y="56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0" cap="flat" cmpd="sng">
                  <a:solidFill>
                    <a:schemeClr val="bg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19" name="Freeform 19"/>
            <p:cNvSpPr>
              <a:spLocks/>
            </p:cNvSpPr>
            <p:nvPr/>
          </p:nvSpPr>
          <p:spPr bwMode="auto">
            <a:xfrm>
              <a:off x="4975" y="3179"/>
              <a:ext cx="31" cy="49"/>
            </a:xfrm>
            <a:custGeom>
              <a:avLst/>
              <a:gdLst>
                <a:gd name="T0" fmla="*/ 73 w 92"/>
                <a:gd name="T1" fmla="*/ 0 h 148"/>
                <a:gd name="T2" fmla="*/ 54 w 92"/>
                <a:gd name="T3" fmla="*/ 0 h 148"/>
                <a:gd name="T4" fmla="*/ 42 w 92"/>
                <a:gd name="T5" fmla="*/ 10 h 148"/>
                <a:gd name="T6" fmla="*/ 32 w 92"/>
                <a:gd name="T7" fmla="*/ 20 h 148"/>
                <a:gd name="T8" fmla="*/ 32 w 92"/>
                <a:gd name="T9" fmla="*/ 63 h 148"/>
                <a:gd name="T10" fmla="*/ 45 w 92"/>
                <a:gd name="T11" fmla="*/ 70 h 148"/>
                <a:gd name="T12" fmla="*/ 45 w 92"/>
                <a:gd name="T13" fmla="*/ 89 h 148"/>
                <a:gd name="T14" fmla="*/ 35 w 92"/>
                <a:gd name="T15" fmla="*/ 91 h 148"/>
                <a:gd name="T16" fmla="*/ 23 w 92"/>
                <a:gd name="T17" fmla="*/ 106 h 148"/>
                <a:gd name="T18" fmla="*/ 23 w 92"/>
                <a:gd name="T19" fmla="*/ 125 h 148"/>
                <a:gd name="T20" fmla="*/ 0 w 92"/>
                <a:gd name="T21" fmla="*/ 148 h 148"/>
                <a:gd name="T22" fmla="*/ 69 w 92"/>
                <a:gd name="T23" fmla="*/ 148 h 148"/>
                <a:gd name="T24" fmla="*/ 92 w 92"/>
                <a:gd name="T25" fmla="*/ 120 h 148"/>
                <a:gd name="T26" fmla="*/ 69 w 92"/>
                <a:gd name="T27" fmla="*/ 98 h 148"/>
                <a:gd name="T28" fmla="*/ 69 w 92"/>
                <a:gd name="T29" fmla="*/ 32 h 148"/>
                <a:gd name="T30" fmla="*/ 82 w 92"/>
                <a:gd name="T31" fmla="*/ 19 h 148"/>
                <a:gd name="T32" fmla="*/ 60 w 92"/>
                <a:gd name="T33" fmla="*/ 19 h 148"/>
                <a:gd name="T34" fmla="*/ 73 w 92"/>
                <a:gd name="T35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2" h="148">
                  <a:moveTo>
                    <a:pt x="73" y="0"/>
                  </a:moveTo>
                  <a:lnTo>
                    <a:pt x="54" y="0"/>
                  </a:lnTo>
                  <a:lnTo>
                    <a:pt x="42" y="10"/>
                  </a:lnTo>
                  <a:lnTo>
                    <a:pt x="32" y="20"/>
                  </a:lnTo>
                  <a:lnTo>
                    <a:pt x="32" y="63"/>
                  </a:lnTo>
                  <a:lnTo>
                    <a:pt x="45" y="70"/>
                  </a:lnTo>
                  <a:lnTo>
                    <a:pt x="45" y="89"/>
                  </a:lnTo>
                  <a:lnTo>
                    <a:pt x="35" y="91"/>
                  </a:lnTo>
                  <a:lnTo>
                    <a:pt x="23" y="106"/>
                  </a:lnTo>
                  <a:lnTo>
                    <a:pt x="23" y="125"/>
                  </a:lnTo>
                  <a:lnTo>
                    <a:pt x="0" y="148"/>
                  </a:lnTo>
                  <a:lnTo>
                    <a:pt x="69" y="148"/>
                  </a:lnTo>
                  <a:lnTo>
                    <a:pt x="92" y="120"/>
                  </a:lnTo>
                  <a:lnTo>
                    <a:pt x="69" y="98"/>
                  </a:lnTo>
                  <a:lnTo>
                    <a:pt x="69" y="32"/>
                  </a:lnTo>
                  <a:lnTo>
                    <a:pt x="82" y="19"/>
                  </a:lnTo>
                  <a:lnTo>
                    <a:pt x="60" y="19"/>
                  </a:lnTo>
                  <a:lnTo>
                    <a:pt x="73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0" cap="flat" cmpd="sng">
                  <a:solidFill>
                    <a:schemeClr val="bg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20" name="Freeform 20"/>
            <p:cNvSpPr>
              <a:spLocks/>
            </p:cNvSpPr>
            <p:nvPr/>
          </p:nvSpPr>
          <p:spPr bwMode="auto">
            <a:xfrm>
              <a:off x="4964" y="3193"/>
              <a:ext cx="20" cy="20"/>
            </a:xfrm>
            <a:custGeom>
              <a:avLst/>
              <a:gdLst>
                <a:gd name="T0" fmla="*/ 56 w 58"/>
                <a:gd name="T1" fmla="*/ 1 h 60"/>
                <a:gd name="T2" fmla="*/ 41 w 58"/>
                <a:gd name="T3" fmla="*/ 0 h 60"/>
                <a:gd name="T4" fmla="*/ 24 w 58"/>
                <a:gd name="T5" fmla="*/ 19 h 60"/>
                <a:gd name="T6" fmla="*/ 2 w 58"/>
                <a:gd name="T7" fmla="*/ 43 h 60"/>
                <a:gd name="T8" fmla="*/ 0 w 58"/>
                <a:gd name="T9" fmla="*/ 60 h 60"/>
                <a:gd name="T10" fmla="*/ 34 w 58"/>
                <a:gd name="T11" fmla="*/ 60 h 60"/>
                <a:gd name="T12" fmla="*/ 50 w 58"/>
                <a:gd name="T13" fmla="*/ 45 h 60"/>
                <a:gd name="T14" fmla="*/ 47 w 58"/>
                <a:gd name="T15" fmla="*/ 20 h 60"/>
                <a:gd name="T16" fmla="*/ 58 w 58"/>
                <a:gd name="T17" fmla="*/ 19 h 60"/>
                <a:gd name="T18" fmla="*/ 56 w 58"/>
                <a:gd name="T19" fmla="*/ 1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8" h="60">
                  <a:moveTo>
                    <a:pt x="56" y="1"/>
                  </a:moveTo>
                  <a:lnTo>
                    <a:pt x="41" y="0"/>
                  </a:lnTo>
                  <a:lnTo>
                    <a:pt x="24" y="19"/>
                  </a:lnTo>
                  <a:lnTo>
                    <a:pt x="2" y="43"/>
                  </a:lnTo>
                  <a:lnTo>
                    <a:pt x="0" y="60"/>
                  </a:lnTo>
                  <a:lnTo>
                    <a:pt x="34" y="60"/>
                  </a:lnTo>
                  <a:lnTo>
                    <a:pt x="50" y="45"/>
                  </a:lnTo>
                  <a:lnTo>
                    <a:pt x="47" y="20"/>
                  </a:lnTo>
                  <a:lnTo>
                    <a:pt x="58" y="19"/>
                  </a:lnTo>
                  <a:lnTo>
                    <a:pt x="56" y="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0" cap="flat" cmpd="sng">
                  <a:solidFill>
                    <a:schemeClr val="bg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21" name="Freeform 21"/>
            <p:cNvSpPr>
              <a:spLocks/>
            </p:cNvSpPr>
            <p:nvPr/>
          </p:nvSpPr>
          <p:spPr bwMode="auto">
            <a:xfrm>
              <a:off x="5155" y="3596"/>
              <a:ext cx="22" cy="76"/>
            </a:xfrm>
            <a:custGeom>
              <a:avLst/>
              <a:gdLst>
                <a:gd name="T0" fmla="*/ 50 w 66"/>
                <a:gd name="T1" fmla="*/ 0 h 230"/>
                <a:gd name="T2" fmla="*/ 35 w 66"/>
                <a:gd name="T3" fmla="*/ 58 h 230"/>
                <a:gd name="T4" fmla="*/ 0 w 66"/>
                <a:gd name="T5" fmla="*/ 78 h 230"/>
                <a:gd name="T6" fmla="*/ 10 w 66"/>
                <a:gd name="T7" fmla="*/ 111 h 230"/>
                <a:gd name="T8" fmla="*/ 13 w 66"/>
                <a:gd name="T9" fmla="*/ 137 h 230"/>
                <a:gd name="T10" fmla="*/ 0 w 66"/>
                <a:gd name="T11" fmla="*/ 169 h 230"/>
                <a:gd name="T12" fmla="*/ 3 w 66"/>
                <a:gd name="T13" fmla="*/ 230 h 230"/>
                <a:gd name="T14" fmla="*/ 48 w 66"/>
                <a:gd name="T15" fmla="*/ 205 h 230"/>
                <a:gd name="T16" fmla="*/ 58 w 66"/>
                <a:gd name="T17" fmla="*/ 131 h 230"/>
                <a:gd name="T18" fmla="*/ 66 w 66"/>
                <a:gd name="T19" fmla="*/ 89 h 230"/>
                <a:gd name="T20" fmla="*/ 50 w 66"/>
                <a:gd name="T21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230">
                  <a:moveTo>
                    <a:pt x="50" y="0"/>
                  </a:moveTo>
                  <a:lnTo>
                    <a:pt x="35" y="58"/>
                  </a:lnTo>
                  <a:lnTo>
                    <a:pt x="0" y="78"/>
                  </a:lnTo>
                  <a:lnTo>
                    <a:pt x="10" y="111"/>
                  </a:lnTo>
                  <a:lnTo>
                    <a:pt x="13" y="137"/>
                  </a:lnTo>
                  <a:lnTo>
                    <a:pt x="0" y="169"/>
                  </a:lnTo>
                  <a:lnTo>
                    <a:pt x="3" y="230"/>
                  </a:lnTo>
                  <a:lnTo>
                    <a:pt x="48" y="205"/>
                  </a:lnTo>
                  <a:lnTo>
                    <a:pt x="58" y="131"/>
                  </a:lnTo>
                  <a:lnTo>
                    <a:pt x="66" y="89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0" cap="flat" cmpd="sng">
                  <a:solidFill>
                    <a:schemeClr val="bg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22" name="Freeform 22"/>
            <p:cNvSpPr>
              <a:spLocks/>
            </p:cNvSpPr>
            <p:nvPr/>
          </p:nvSpPr>
          <p:spPr bwMode="auto">
            <a:xfrm>
              <a:off x="5016" y="3283"/>
              <a:ext cx="3" cy="7"/>
            </a:xfrm>
            <a:custGeom>
              <a:avLst/>
              <a:gdLst>
                <a:gd name="T0" fmla="*/ 0 w 10"/>
                <a:gd name="T1" fmla="*/ 2 h 21"/>
                <a:gd name="T2" fmla="*/ 0 w 10"/>
                <a:gd name="T3" fmla="*/ 21 h 21"/>
                <a:gd name="T4" fmla="*/ 10 w 10"/>
                <a:gd name="T5" fmla="*/ 11 h 21"/>
                <a:gd name="T6" fmla="*/ 10 w 10"/>
                <a:gd name="T7" fmla="*/ 0 h 21"/>
                <a:gd name="T8" fmla="*/ 0 w 10"/>
                <a:gd name="T9" fmla="*/ 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21">
                  <a:moveTo>
                    <a:pt x="0" y="2"/>
                  </a:moveTo>
                  <a:lnTo>
                    <a:pt x="0" y="21"/>
                  </a:lnTo>
                  <a:lnTo>
                    <a:pt x="10" y="11"/>
                  </a:lnTo>
                  <a:lnTo>
                    <a:pt x="10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0" cap="flat" cmpd="sng">
                  <a:solidFill>
                    <a:schemeClr val="bg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23" name="Freeform 23"/>
            <p:cNvSpPr>
              <a:spLocks/>
            </p:cNvSpPr>
            <p:nvPr/>
          </p:nvSpPr>
          <p:spPr bwMode="auto">
            <a:xfrm>
              <a:off x="5015" y="3292"/>
              <a:ext cx="5" cy="15"/>
            </a:xfrm>
            <a:custGeom>
              <a:avLst/>
              <a:gdLst>
                <a:gd name="T0" fmla="*/ 12 w 13"/>
                <a:gd name="T1" fmla="*/ 0 h 43"/>
                <a:gd name="T2" fmla="*/ 0 w 13"/>
                <a:gd name="T3" fmla="*/ 18 h 43"/>
                <a:gd name="T4" fmla="*/ 0 w 13"/>
                <a:gd name="T5" fmla="*/ 43 h 43"/>
                <a:gd name="T6" fmla="*/ 13 w 13"/>
                <a:gd name="T7" fmla="*/ 41 h 43"/>
                <a:gd name="T8" fmla="*/ 12 w 13"/>
                <a:gd name="T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43">
                  <a:moveTo>
                    <a:pt x="12" y="0"/>
                  </a:moveTo>
                  <a:lnTo>
                    <a:pt x="0" y="18"/>
                  </a:lnTo>
                  <a:lnTo>
                    <a:pt x="0" y="43"/>
                  </a:lnTo>
                  <a:lnTo>
                    <a:pt x="13" y="41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0" cap="flat" cmpd="sng">
                  <a:solidFill>
                    <a:schemeClr val="bg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24" name="Freeform 24"/>
            <p:cNvSpPr>
              <a:spLocks/>
            </p:cNvSpPr>
            <p:nvPr/>
          </p:nvSpPr>
          <p:spPr bwMode="auto">
            <a:xfrm>
              <a:off x="5033" y="3315"/>
              <a:ext cx="9" cy="9"/>
            </a:xfrm>
            <a:custGeom>
              <a:avLst/>
              <a:gdLst>
                <a:gd name="T0" fmla="*/ 0 w 29"/>
                <a:gd name="T1" fmla="*/ 0 h 28"/>
                <a:gd name="T2" fmla="*/ 28 w 29"/>
                <a:gd name="T3" fmla="*/ 0 h 28"/>
                <a:gd name="T4" fmla="*/ 29 w 29"/>
                <a:gd name="T5" fmla="*/ 28 h 28"/>
                <a:gd name="T6" fmla="*/ 0 w 29"/>
                <a:gd name="T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28">
                  <a:moveTo>
                    <a:pt x="0" y="0"/>
                  </a:moveTo>
                  <a:lnTo>
                    <a:pt x="28" y="0"/>
                  </a:lnTo>
                  <a:lnTo>
                    <a:pt x="29" y="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0" cap="flat" cmpd="sng">
                  <a:solidFill>
                    <a:schemeClr val="bg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25" name="Freeform 25"/>
            <p:cNvSpPr>
              <a:spLocks/>
            </p:cNvSpPr>
            <p:nvPr/>
          </p:nvSpPr>
          <p:spPr bwMode="auto">
            <a:xfrm>
              <a:off x="4944" y="3004"/>
              <a:ext cx="854" cy="552"/>
            </a:xfrm>
            <a:custGeom>
              <a:avLst/>
              <a:gdLst>
                <a:gd name="T0" fmla="*/ 1214 w 2561"/>
                <a:gd name="T1" fmla="*/ 36 h 1656"/>
                <a:gd name="T2" fmla="*/ 1704 w 2561"/>
                <a:gd name="T3" fmla="*/ 16 h 1656"/>
                <a:gd name="T4" fmla="*/ 2013 w 2561"/>
                <a:gd name="T5" fmla="*/ 159 h 1656"/>
                <a:gd name="T6" fmla="*/ 2385 w 2561"/>
                <a:gd name="T7" fmla="*/ 198 h 1656"/>
                <a:gd name="T8" fmla="*/ 2551 w 2561"/>
                <a:gd name="T9" fmla="*/ 335 h 1656"/>
                <a:gd name="T10" fmla="*/ 2349 w 2561"/>
                <a:gd name="T11" fmla="*/ 473 h 1656"/>
                <a:gd name="T12" fmla="*/ 2263 w 2561"/>
                <a:gd name="T13" fmla="*/ 604 h 1656"/>
                <a:gd name="T14" fmla="*/ 2223 w 2561"/>
                <a:gd name="T15" fmla="*/ 473 h 1656"/>
                <a:gd name="T16" fmla="*/ 2095 w 2561"/>
                <a:gd name="T17" fmla="*/ 589 h 1656"/>
                <a:gd name="T18" fmla="*/ 2074 w 2561"/>
                <a:gd name="T19" fmla="*/ 787 h 1656"/>
                <a:gd name="T20" fmla="*/ 2069 w 2561"/>
                <a:gd name="T21" fmla="*/ 892 h 1656"/>
                <a:gd name="T22" fmla="*/ 2029 w 2561"/>
                <a:gd name="T23" fmla="*/ 891 h 1656"/>
                <a:gd name="T24" fmla="*/ 2004 w 2561"/>
                <a:gd name="T25" fmla="*/ 1056 h 1656"/>
                <a:gd name="T26" fmla="*/ 1830 w 2561"/>
                <a:gd name="T27" fmla="*/ 1267 h 1656"/>
                <a:gd name="T28" fmla="*/ 1741 w 2561"/>
                <a:gd name="T29" fmla="*/ 1525 h 1656"/>
                <a:gd name="T30" fmla="*/ 1757 w 2561"/>
                <a:gd name="T31" fmla="*/ 1656 h 1656"/>
                <a:gd name="T32" fmla="*/ 1407 w 2561"/>
                <a:gd name="T33" fmla="*/ 1284 h 1656"/>
                <a:gd name="T34" fmla="*/ 1242 w 2561"/>
                <a:gd name="T35" fmla="*/ 1594 h 1656"/>
                <a:gd name="T36" fmla="*/ 1022 w 2561"/>
                <a:gd name="T37" fmla="*/ 1313 h 1656"/>
                <a:gd name="T38" fmla="*/ 710 w 2561"/>
                <a:gd name="T39" fmla="*/ 1104 h 1656"/>
                <a:gd name="T40" fmla="*/ 832 w 2561"/>
                <a:gd name="T41" fmla="*/ 1242 h 1656"/>
                <a:gd name="T42" fmla="*/ 642 w 2561"/>
                <a:gd name="T43" fmla="*/ 1303 h 1656"/>
                <a:gd name="T44" fmla="*/ 487 w 2561"/>
                <a:gd name="T45" fmla="*/ 1081 h 1656"/>
                <a:gd name="T46" fmla="*/ 553 w 2561"/>
                <a:gd name="T47" fmla="*/ 931 h 1656"/>
                <a:gd name="T48" fmla="*/ 437 w 2561"/>
                <a:gd name="T49" fmla="*/ 892 h 1656"/>
                <a:gd name="T50" fmla="*/ 510 w 2561"/>
                <a:gd name="T51" fmla="*/ 848 h 1656"/>
                <a:gd name="T52" fmla="*/ 545 w 2561"/>
                <a:gd name="T53" fmla="*/ 791 h 1656"/>
                <a:gd name="T54" fmla="*/ 537 w 2561"/>
                <a:gd name="T55" fmla="*/ 782 h 1656"/>
                <a:gd name="T56" fmla="*/ 495 w 2561"/>
                <a:gd name="T57" fmla="*/ 787 h 1656"/>
                <a:gd name="T58" fmla="*/ 453 w 2561"/>
                <a:gd name="T59" fmla="*/ 791 h 1656"/>
                <a:gd name="T60" fmla="*/ 448 w 2561"/>
                <a:gd name="T61" fmla="*/ 878 h 1656"/>
                <a:gd name="T62" fmla="*/ 413 w 2561"/>
                <a:gd name="T63" fmla="*/ 931 h 1656"/>
                <a:gd name="T64" fmla="*/ 350 w 2561"/>
                <a:gd name="T65" fmla="*/ 903 h 1656"/>
                <a:gd name="T66" fmla="*/ 285 w 2561"/>
                <a:gd name="T67" fmla="*/ 795 h 1656"/>
                <a:gd name="T68" fmla="*/ 331 w 2561"/>
                <a:gd name="T69" fmla="*/ 901 h 1656"/>
                <a:gd name="T70" fmla="*/ 316 w 2561"/>
                <a:gd name="T71" fmla="*/ 917 h 1656"/>
                <a:gd name="T72" fmla="*/ 241 w 2561"/>
                <a:gd name="T73" fmla="*/ 841 h 1656"/>
                <a:gd name="T74" fmla="*/ 156 w 2561"/>
                <a:gd name="T75" fmla="*/ 820 h 1656"/>
                <a:gd name="T76" fmla="*/ 0 w 2561"/>
                <a:gd name="T77" fmla="*/ 832 h 1656"/>
                <a:gd name="T78" fmla="*/ 93 w 2561"/>
                <a:gd name="T79" fmla="*/ 803 h 1656"/>
                <a:gd name="T80" fmla="*/ 159 w 2561"/>
                <a:gd name="T81" fmla="*/ 694 h 1656"/>
                <a:gd name="T82" fmla="*/ 247 w 2561"/>
                <a:gd name="T83" fmla="*/ 638 h 1656"/>
                <a:gd name="T84" fmla="*/ 285 w 2561"/>
                <a:gd name="T85" fmla="*/ 610 h 1656"/>
                <a:gd name="T86" fmla="*/ 304 w 2561"/>
                <a:gd name="T87" fmla="*/ 645 h 1656"/>
                <a:gd name="T88" fmla="*/ 372 w 2561"/>
                <a:gd name="T89" fmla="*/ 614 h 1656"/>
                <a:gd name="T90" fmla="*/ 432 w 2561"/>
                <a:gd name="T91" fmla="*/ 550 h 1656"/>
                <a:gd name="T92" fmla="*/ 365 w 2561"/>
                <a:gd name="T93" fmla="*/ 486 h 1656"/>
                <a:gd name="T94" fmla="*/ 378 w 2561"/>
                <a:gd name="T95" fmla="*/ 423 h 1656"/>
                <a:gd name="T96" fmla="*/ 343 w 2561"/>
                <a:gd name="T97" fmla="*/ 539 h 1656"/>
                <a:gd name="T98" fmla="*/ 288 w 2561"/>
                <a:gd name="T99" fmla="*/ 617 h 1656"/>
                <a:gd name="T100" fmla="*/ 234 w 2561"/>
                <a:gd name="T101" fmla="*/ 559 h 1656"/>
                <a:gd name="T102" fmla="*/ 332 w 2561"/>
                <a:gd name="T103" fmla="*/ 372 h 1656"/>
                <a:gd name="T104" fmla="*/ 538 w 2561"/>
                <a:gd name="T105" fmla="*/ 386 h 1656"/>
                <a:gd name="T106" fmla="*/ 620 w 2561"/>
                <a:gd name="T107" fmla="*/ 398 h 1656"/>
                <a:gd name="T108" fmla="*/ 794 w 2561"/>
                <a:gd name="T109" fmla="*/ 238 h 1656"/>
                <a:gd name="T110" fmla="*/ 709 w 2561"/>
                <a:gd name="T111" fmla="*/ 370 h 1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561" h="1656">
                  <a:moveTo>
                    <a:pt x="881" y="289"/>
                  </a:moveTo>
                  <a:lnTo>
                    <a:pt x="1017" y="223"/>
                  </a:lnTo>
                  <a:lnTo>
                    <a:pt x="1219" y="136"/>
                  </a:lnTo>
                  <a:lnTo>
                    <a:pt x="1214" y="36"/>
                  </a:lnTo>
                  <a:lnTo>
                    <a:pt x="1378" y="16"/>
                  </a:lnTo>
                  <a:lnTo>
                    <a:pt x="1472" y="61"/>
                  </a:lnTo>
                  <a:lnTo>
                    <a:pt x="1658" y="0"/>
                  </a:lnTo>
                  <a:lnTo>
                    <a:pt x="1704" y="16"/>
                  </a:lnTo>
                  <a:lnTo>
                    <a:pt x="1739" y="36"/>
                  </a:lnTo>
                  <a:lnTo>
                    <a:pt x="1822" y="123"/>
                  </a:lnTo>
                  <a:lnTo>
                    <a:pt x="1867" y="178"/>
                  </a:lnTo>
                  <a:lnTo>
                    <a:pt x="2013" y="159"/>
                  </a:lnTo>
                  <a:lnTo>
                    <a:pt x="2047" y="156"/>
                  </a:lnTo>
                  <a:lnTo>
                    <a:pt x="2136" y="204"/>
                  </a:lnTo>
                  <a:lnTo>
                    <a:pt x="2238" y="201"/>
                  </a:lnTo>
                  <a:lnTo>
                    <a:pt x="2385" y="198"/>
                  </a:lnTo>
                  <a:lnTo>
                    <a:pt x="2536" y="238"/>
                  </a:lnTo>
                  <a:lnTo>
                    <a:pt x="2561" y="254"/>
                  </a:lnTo>
                  <a:lnTo>
                    <a:pt x="2561" y="289"/>
                  </a:lnTo>
                  <a:lnTo>
                    <a:pt x="2551" y="335"/>
                  </a:lnTo>
                  <a:lnTo>
                    <a:pt x="2455" y="370"/>
                  </a:lnTo>
                  <a:lnTo>
                    <a:pt x="2395" y="397"/>
                  </a:lnTo>
                  <a:lnTo>
                    <a:pt x="2414" y="444"/>
                  </a:lnTo>
                  <a:lnTo>
                    <a:pt x="2349" y="473"/>
                  </a:lnTo>
                  <a:lnTo>
                    <a:pt x="2344" y="538"/>
                  </a:lnTo>
                  <a:lnTo>
                    <a:pt x="2349" y="575"/>
                  </a:lnTo>
                  <a:lnTo>
                    <a:pt x="2283" y="659"/>
                  </a:lnTo>
                  <a:lnTo>
                    <a:pt x="2263" y="604"/>
                  </a:lnTo>
                  <a:lnTo>
                    <a:pt x="2263" y="578"/>
                  </a:lnTo>
                  <a:lnTo>
                    <a:pt x="2294" y="525"/>
                  </a:lnTo>
                  <a:lnTo>
                    <a:pt x="2288" y="401"/>
                  </a:lnTo>
                  <a:lnTo>
                    <a:pt x="2223" y="473"/>
                  </a:lnTo>
                  <a:lnTo>
                    <a:pt x="2170" y="509"/>
                  </a:lnTo>
                  <a:lnTo>
                    <a:pt x="2136" y="453"/>
                  </a:lnTo>
                  <a:lnTo>
                    <a:pt x="2104" y="525"/>
                  </a:lnTo>
                  <a:lnTo>
                    <a:pt x="2095" y="589"/>
                  </a:lnTo>
                  <a:lnTo>
                    <a:pt x="2130" y="589"/>
                  </a:lnTo>
                  <a:lnTo>
                    <a:pt x="2124" y="660"/>
                  </a:lnTo>
                  <a:lnTo>
                    <a:pt x="2095" y="757"/>
                  </a:lnTo>
                  <a:lnTo>
                    <a:pt x="2074" y="787"/>
                  </a:lnTo>
                  <a:lnTo>
                    <a:pt x="2045" y="817"/>
                  </a:lnTo>
                  <a:lnTo>
                    <a:pt x="2029" y="838"/>
                  </a:lnTo>
                  <a:lnTo>
                    <a:pt x="2058" y="873"/>
                  </a:lnTo>
                  <a:lnTo>
                    <a:pt x="2069" y="892"/>
                  </a:lnTo>
                  <a:lnTo>
                    <a:pt x="2054" y="934"/>
                  </a:lnTo>
                  <a:lnTo>
                    <a:pt x="2036" y="948"/>
                  </a:lnTo>
                  <a:lnTo>
                    <a:pt x="2033" y="920"/>
                  </a:lnTo>
                  <a:lnTo>
                    <a:pt x="2029" y="891"/>
                  </a:lnTo>
                  <a:lnTo>
                    <a:pt x="1997" y="864"/>
                  </a:lnTo>
                  <a:lnTo>
                    <a:pt x="1941" y="892"/>
                  </a:lnTo>
                  <a:lnTo>
                    <a:pt x="1994" y="1010"/>
                  </a:lnTo>
                  <a:lnTo>
                    <a:pt x="2004" y="1056"/>
                  </a:lnTo>
                  <a:lnTo>
                    <a:pt x="1994" y="1120"/>
                  </a:lnTo>
                  <a:lnTo>
                    <a:pt x="1942" y="1228"/>
                  </a:lnTo>
                  <a:lnTo>
                    <a:pt x="1852" y="1263"/>
                  </a:lnTo>
                  <a:lnTo>
                    <a:pt x="1830" y="1267"/>
                  </a:lnTo>
                  <a:lnTo>
                    <a:pt x="1758" y="1263"/>
                  </a:lnTo>
                  <a:lnTo>
                    <a:pt x="1797" y="1325"/>
                  </a:lnTo>
                  <a:lnTo>
                    <a:pt x="1804" y="1417"/>
                  </a:lnTo>
                  <a:lnTo>
                    <a:pt x="1741" y="1525"/>
                  </a:lnTo>
                  <a:lnTo>
                    <a:pt x="1670" y="1463"/>
                  </a:lnTo>
                  <a:lnTo>
                    <a:pt x="1658" y="1525"/>
                  </a:lnTo>
                  <a:lnTo>
                    <a:pt x="1713" y="1579"/>
                  </a:lnTo>
                  <a:lnTo>
                    <a:pt x="1757" y="1656"/>
                  </a:lnTo>
                  <a:lnTo>
                    <a:pt x="1680" y="1610"/>
                  </a:lnTo>
                  <a:lnTo>
                    <a:pt x="1594" y="1347"/>
                  </a:lnTo>
                  <a:lnTo>
                    <a:pt x="1478" y="1278"/>
                  </a:lnTo>
                  <a:lnTo>
                    <a:pt x="1407" y="1284"/>
                  </a:lnTo>
                  <a:lnTo>
                    <a:pt x="1300" y="1434"/>
                  </a:lnTo>
                  <a:lnTo>
                    <a:pt x="1311" y="1492"/>
                  </a:lnTo>
                  <a:lnTo>
                    <a:pt x="1279" y="1592"/>
                  </a:lnTo>
                  <a:lnTo>
                    <a:pt x="1242" y="1594"/>
                  </a:lnTo>
                  <a:lnTo>
                    <a:pt x="1123" y="1373"/>
                  </a:lnTo>
                  <a:lnTo>
                    <a:pt x="1120" y="1279"/>
                  </a:lnTo>
                  <a:lnTo>
                    <a:pt x="1098" y="1313"/>
                  </a:lnTo>
                  <a:lnTo>
                    <a:pt x="1022" y="1313"/>
                  </a:lnTo>
                  <a:lnTo>
                    <a:pt x="1059" y="1251"/>
                  </a:lnTo>
                  <a:lnTo>
                    <a:pt x="945" y="1182"/>
                  </a:lnTo>
                  <a:lnTo>
                    <a:pt x="825" y="1176"/>
                  </a:lnTo>
                  <a:lnTo>
                    <a:pt x="710" y="1104"/>
                  </a:lnTo>
                  <a:lnTo>
                    <a:pt x="704" y="1178"/>
                  </a:lnTo>
                  <a:lnTo>
                    <a:pt x="751" y="1210"/>
                  </a:lnTo>
                  <a:lnTo>
                    <a:pt x="798" y="1244"/>
                  </a:lnTo>
                  <a:lnTo>
                    <a:pt x="832" y="1242"/>
                  </a:lnTo>
                  <a:lnTo>
                    <a:pt x="737" y="1334"/>
                  </a:lnTo>
                  <a:lnTo>
                    <a:pt x="684" y="1348"/>
                  </a:lnTo>
                  <a:lnTo>
                    <a:pt x="642" y="1359"/>
                  </a:lnTo>
                  <a:lnTo>
                    <a:pt x="642" y="1303"/>
                  </a:lnTo>
                  <a:lnTo>
                    <a:pt x="573" y="1206"/>
                  </a:lnTo>
                  <a:lnTo>
                    <a:pt x="519" y="1137"/>
                  </a:lnTo>
                  <a:lnTo>
                    <a:pt x="494" y="1095"/>
                  </a:lnTo>
                  <a:lnTo>
                    <a:pt x="487" y="1081"/>
                  </a:lnTo>
                  <a:lnTo>
                    <a:pt x="485" y="1066"/>
                  </a:lnTo>
                  <a:lnTo>
                    <a:pt x="528" y="1034"/>
                  </a:lnTo>
                  <a:lnTo>
                    <a:pt x="563" y="1007"/>
                  </a:lnTo>
                  <a:lnTo>
                    <a:pt x="553" y="931"/>
                  </a:lnTo>
                  <a:lnTo>
                    <a:pt x="529" y="959"/>
                  </a:lnTo>
                  <a:lnTo>
                    <a:pt x="466" y="959"/>
                  </a:lnTo>
                  <a:lnTo>
                    <a:pt x="437" y="928"/>
                  </a:lnTo>
                  <a:lnTo>
                    <a:pt x="437" y="892"/>
                  </a:lnTo>
                  <a:lnTo>
                    <a:pt x="454" y="892"/>
                  </a:lnTo>
                  <a:lnTo>
                    <a:pt x="469" y="876"/>
                  </a:lnTo>
                  <a:lnTo>
                    <a:pt x="485" y="876"/>
                  </a:lnTo>
                  <a:lnTo>
                    <a:pt x="510" y="848"/>
                  </a:lnTo>
                  <a:lnTo>
                    <a:pt x="551" y="848"/>
                  </a:lnTo>
                  <a:lnTo>
                    <a:pt x="588" y="829"/>
                  </a:lnTo>
                  <a:lnTo>
                    <a:pt x="551" y="791"/>
                  </a:lnTo>
                  <a:lnTo>
                    <a:pt x="545" y="791"/>
                  </a:lnTo>
                  <a:lnTo>
                    <a:pt x="545" y="737"/>
                  </a:lnTo>
                  <a:lnTo>
                    <a:pt x="519" y="772"/>
                  </a:lnTo>
                  <a:lnTo>
                    <a:pt x="528" y="782"/>
                  </a:lnTo>
                  <a:lnTo>
                    <a:pt x="537" y="782"/>
                  </a:lnTo>
                  <a:lnTo>
                    <a:pt x="535" y="788"/>
                  </a:lnTo>
                  <a:lnTo>
                    <a:pt x="523" y="789"/>
                  </a:lnTo>
                  <a:lnTo>
                    <a:pt x="509" y="804"/>
                  </a:lnTo>
                  <a:lnTo>
                    <a:pt x="495" y="787"/>
                  </a:lnTo>
                  <a:lnTo>
                    <a:pt x="503" y="776"/>
                  </a:lnTo>
                  <a:lnTo>
                    <a:pt x="484" y="775"/>
                  </a:lnTo>
                  <a:lnTo>
                    <a:pt x="473" y="769"/>
                  </a:lnTo>
                  <a:lnTo>
                    <a:pt x="453" y="791"/>
                  </a:lnTo>
                  <a:lnTo>
                    <a:pt x="454" y="835"/>
                  </a:lnTo>
                  <a:lnTo>
                    <a:pt x="444" y="848"/>
                  </a:lnTo>
                  <a:lnTo>
                    <a:pt x="463" y="878"/>
                  </a:lnTo>
                  <a:lnTo>
                    <a:pt x="448" y="878"/>
                  </a:lnTo>
                  <a:lnTo>
                    <a:pt x="437" y="887"/>
                  </a:lnTo>
                  <a:lnTo>
                    <a:pt x="415" y="887"/>
                  </a:lnTo>
                  <a:lnTo>
                    <a:pt x="395" y="909"/>
                  </a:lnTo>
                  <a:lnTo>
                    <a:pt x="413" y="931"/>
                  </a:lnTo>
                  <a:lnTo>
                    <a:pt x="388" y="960"/>
                  </a:lnTo>
                  <a:lnTo>
                    <a:pt x="365" y="941"/>
                  </a:lnTo>
                  <a:lnTo>
                    <a:pt x="372" y="932"/>
                  </a:lnTo>
                  <a:lnTo>
                    <a:pt x="350" y="903"/>
                  </a:lnTo>
                  <a:lnTo>
                    <a:pt x="350" y="881"/>
                  </a:lnTo>
                  <a:lnTo>
                    <a:pt x="328" y="853"/>
                  </a:lnTo>
                  <a:lnTo>
                    <a:pt x="287" y="809"/>
                  </a:lnTo>
                  <a:lnTo>
                    <a:pt x="285" y="795"/>
                  </a:lnTo>
                  <a:lnTo>
                    <a:pt x="268" y="795"/>
                  </a:lnTo>
                  <a:lnTo>
                    <a:pt x="268" y="819"/>
                  </a:lnTo>
                  <a:lnTo>
                    <a:pt x="300" y="862"/>
                  </a:lnTo>
                  <a:lnTo>
                    <a:pt x="331" y="901"/>
                  </a:lnTo>
                  <a:lnTo>
                    <a:pt x="325" y="906"/>
                  </a:lnTo>
                  <a:lnTo>
                    <a:pt x="316" y="895"/>
                  </a:lnTo>
                  <a:lnTo>
                    <a:pt x="307" y="904"/>
                  </a:lnTo>
                  <a:lnTo>
                    <a:pt x="316" y="917"/>
                  </a:lnTo>
                  <a:lnTo>
                    <a:pt x="303" y="934"/>
                  </a:lnTo>
                  <a:lnTo>
                    <a:pt x="303" y="907"/>
                  </a:lnTo>
                  <a:lnTo>
                    <a:pt x="270" y="872"/>
                  </a:lnTo>
                  <a:lnTo>
                    <a:pt x="241" y="841"/>
                  </a:lnTo>
                  <a:lnTo>
                    <a:pt x="244" y="825"/>
                  </a:lnTo>
                  <a:lnTo>
                    <a:pt x="228" y="809"/>
                  </a:lnTo>
                  <a:lnTo>
                    <a:pt x="218" y="820"/>
                  </a:lnTo>
                  <a:lnTo>
                    <a:pt x="156" y="820"/>
                  </a:lnTo>
                  <a:lnTo>
                    <a:pt x="81" y="912"/>
                  </a:lnTo>
                  <a:lnTo>
                    <a:pt x="31" y="913"/>
                  </a:lnTo>
                  <a:lnTo>
                    <a:pt x="1" y="881"/>
                  </a:lnTo>
                  <a:lnTo>
                    <a:pt x="0" y="832"/>
                  </a:lnTo>
                  <a:lnTo>
                    <a:pt x="16" y="809"/>
                  </a:lnTo>
                  <a:lnTo>
                    <a:pt x="16" y="772"/>
                  </a:lnTo>
                  <a:lnTo>
                    <a:pt x="66" y="770"/>
                  </a:lnTo>
                  <a:lnTo>
                    <a:pt x="93" y="803"/>
                  </a:lnTo>
                  <a:lnTo>
                    <a:pt x="115" y="773"/>
                  </a:lnTo>
                  <a:lnTo>
                    <a:pt x="115" y="723"/>
                  </a:lnTo>
                  <a:lnTo>
                    <a:pt x="91" y="694"/>
                  </a:lnTo>
                  <a:lnTo>
                    <a:pt x="159" y="694"/>
                  </a:lnTo>
                  <a:lnTo>
                    <a:pt x="176" y="672"/>
                  </a:lnTo>
                  <a:lnTo>
                    <a:pt x="188" y="670"/>
                  </a:lnTo>
                  <a:lnTo>
                    <a:pt x="220" y="638"/>
                  </a:lnTo>
                  <a:lnTo>
                    <a:pt x="247" y="638"/>
                  </a:lnTo>
                  <a:lnTo>
                    <a:pt x="248" y="589"/>
                  </a:lnTo>
                  <a:lnTo>
                    <a:pt x="268" y="567"/>
                  </a:lnTo>
                  <a:lnTo>
                    <a:pt x="268" y="589"/>
                  </a:lnTo>
                  <a:lnTo>
                    <a:pt x="285" y="610"/>
                  </a:lnTo>
                  <a:lnTo>
                    <a:pt x="285" y="619"/>
                  </a:lnTo>
                  <a:lnTo>
                    <a:pt x="268" y="638"/>
                  </a:lnTo>
                  <a:lnTo>
                    <a:pt x="300" y="638"/>
                  </a:lnTo>
                  <a:lnTo>
                    <a:pt x="304" y="645"/>
                  </a:lnTo>
                  <a:lnTo>
                    <a:pt x="329" y="623"/>
                  </a:lnTo>
                  <a:lnTo>
                    <a:pt x="348" y="641"/>
                  </a:lnTo>
                  <a:lnTo>
                    <a:pt x="360" y="626"/>
                  </a:lnTo>
                  <a:lnTo>
                    <a:pt x="372" y="614"/>
                  </a:lnTo>
                  <a:lnTo>
                    <a:pt x="372" y="576"/>
                  </a:lnTo>
                  <a:lnTo>
                    <a:pt x="392" y="600"/>
                  </a:lnTo>
                  <a:lnTo>
                    <a:pt x="394" y="550"/>
                  </a:lnTo>
                  <a:lnTo>
                    <a:pt x="432" y="550"/>
                  </a:lnTo>
                  <a:lnTo>
                    <a:pt x="434" y="534"/>
                  </a:lnTo>
                  <a:lnTo>
                    <a:pt x="375" y="534"/>
                  </a:lnTo>
                  <a:lnTo>
                    <a:pt x="365" y="519"/>
                  </a:lnTo>
                  <a:lnTo>
                    <a:pt x="365" y="486"/>
                  </a:lnTo>
                  <a:lnTo>
                    <a:pt x="390" y="451"/>
                  </a:lnTo>
                  <a:lnTo>
                    <a:pt x="416" y="416"/>
                  </a:lnTo>
                  <a:lnTo>
                    <a:pt x="412" y="392"/>
                  </a:lnTo>
                  <a:lnTo>
                    <a:pt x="378" y="423"/>
                  </a:lnTo>
                  <a:lnTo>
                    <a:pt x="350" y="454"/>
                  </a:lnTo>
                  <a:lnTo>
                    <a:pt x="326" y="485"/>
                  </a:lnTo>
                  <a:lnTo>
                    <a:pt x="329" y="523"/>
                  </a:lnTo>
                  <a:lnTo>
                    <a:pt x="343" y="539"/>
                  </a:lnTo>
                  <a:lnTo>
                    <a:pt x="325" y="563"/>
                  </a:lnTo>
                  <a:lnTo>
                    <a:pt x="322" y="591"/>
                  </a:lnTo>
                  <a:lnTo>
                    <a:pt x="304" y="614"/>
                  </a:lnTo>
                  <a:lnTo>
                    <a:pt x="288" y="617"/>
                  </a:lnTo>
                  <a:lnTo>
                    <a:pt x="288" y="559"/>
                  </a:lnTo>
                  <a:lnTo>
                    <a:pt x="270" y="545"/>
                  </a:lnTo>
                  <a:lnTo>
                    <a:pt x="254" y="559"/>
                  </a:lnTo>
                  <a:lnTo>
                    <a:pt x="234" y="559"/>
                  </a:lnTo>
                  <a:lnTo>
                    <a:pt x="235" y="485"/>
                  </a:lnTo>
                  <a:lnTo>
                    <a:pt x="248" y="467"/>
                  </a:lnTo>
                  <a:lnTo>
                    <a:pt x="285" y="425"/>
                  </a:lnTo>
                  <a:lnTo>
                    <a:pt x="332" y="372"/>
                  </a:lnTo>
                  <a:lnTo>
                    <a:pt x="363" y="335"/>
                  </a:lnTo>
                  <a:lnTo>
                    <a:pt x="447" y="286"/>
                  </a:lnTo>
                  <a:lnTo>
                    <a:pt x="528" y="342"/>
                  </a:lnTo>
                  <a:lnTo>
                    <a:pt x="538" y="386"/>
                  </a:lnTo>
                  <a:lnTo>
                    <a:pt x="522" y="389"/>
                  </a:lnTo>
                  <a:lnTo>
                    <a:pt x="488" y="384"/>
                  </a:lnTo>
                  <a:lnTo>
                    <a:pt x="528" y="435"/>
                  </a:lnTo>
                  <a:lnTo>
                    <a:pt x="620" y="398"/>
                  </a:lnTo>
                  <a:lnTo>
                    <a:pt x="698" y="369"/>
                  </a:lnTo>
                  <a:lnTo>
                    <a:pt x="675" y="319"/>
                  </a:lnTo>
                  <a:lnTo>
                    <a:pt x="747" y="236"/>
                  </a:lnTo>
                  <a:lnTo>
                    <a:pt x="794" y="238"/>
                  </a:lnTo>
                  <a:lnTo>
                    <a:pt x="748" y="266"/>
                  </a:lnTo>
                  <a:lnTo>
                    <a:pt x="719" y="314"/>
                  </a:lnTo>
                  <a:lnTo>
                    <a:pt x="709" y="341"/>
                  </a:lnTo>
                  <a:lnTo>
                    <a:pt x="709" y="370"/>
                  </a:lnTo>
                  <a:lnTo>
                    <a:pt x="739" y="388"/>
                  </a:lnTo>
                  <a:lnTo>
                    <a:pt x="781" y="416"/>
                  </a:lnTo>
                  <a:lnTo>
                    <a:pt x="881" y="28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0" cap="flat" cmpd="sng">
                  <a:solidFill>
                    <a:schemeClr val="bg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6" name="Oval 26"/>
          <p:cNvSpPr>
            <a:spLocks noChangeArrowheads="1"/>
          </p:cNvSpPr>
          <p:nvPr/>
        </p:nvSpPr>
        <p:spPr bwMode="auto">
          <a:xfrm>
            <a:off x="4939188" y="5028263"/>
            <a:ext cx="1147762" cy="1163638"/>
          </a:xfrm>
          <a:prstGeom prst="ellipse">
            <a:avLst/>
          </a:prstGeom>
          <a:solidFill>
            <a:srgbClr val="263143"/>
          </a:solidFill>
          <a:ln w="9525" algn="ctr">
            <a:noFill/>
            <a:round/>
            <a:headEnd/>
            <a:tailEnd/>
          </a:ln>
          <a:effectLst/>
        </p:spPr>
        <p:txBody>
          <a:bodyPr/>
          <a:lstStyle/>
          <a:p>
            <a:endParaRPr lang="pt-BR"/>
          </a:p>
        </p:txBody>
      </p:sp>
      <p:grpSp>
        <p:nvGrpSpPr>
          <p:cNvPr id="27" name="Group 27"/>
          <p:cNvGrpSpPr>
            <a:grpSpLocks/>
          </p:cNvGrpSpPr>
          <p:nvPr/>
        </p:nvGrpSpPr>
        <p:grpSpPr bwMode="auto">
          <a:xfrm>
            <a:off x="5143975" y="5026677"/>
            <a:ext cx="933450" cy="1133475"/>
            <a:chOff x="2106" y="2978"/>
            <a:chExt cx="864" cy="1048"/>
          </a:xfrm>
        </p:grpSpPr>
        <p:grpSp>
          <p:nvGrpSpPr>
            <p:cNvPr id="28" name="Group 28"/>
            <p:cNvGrpSpPr>
              <a:grpSpLocks/>
            </p:cNvGrpSpPr>
            <p:nvPr/>
          </p:nvGrpSpPr>
          <p:grpSpPr bwMode="auto">
            <a:xfrm>
              <a:off x="2106" y="2978"/>
              <a:ext cx="864" cy="1048"/>
              <a:chOff x="3720" y="2882"/>
              <a:chExt cx="864" cy="1048"/>
            </a:xfrm>
          </p:grpSpPr>
          <p:grpSp>
            <p:nvGrpSpPr>
              <p:cNvPr id="38" name="Group 29"/>
              <p:cNvGrpSpPr>
                <a:grpSpLocks/>
              </p:cNvGrpSpPr>
              <p:nvPr/>
            </p:nvGrpSpPr>
            <p:grpSpPr bwMode="auto">
              <a:xfrm>
                <a:off x="3839" y="3522"/>
                <a:ext cx="289" cy="408"/>
                <a:chOff x="3839" y="3522"/>
                <a:chExt cx="289" cy="408"/>
              </a:xfrm>
            </p:grpSpPr>
            <p:sp>
              <p:nvSpPr>
                <p:cNvPr id="65" name="Freeform 30"/>
                <p:cNvSpPr>
                  <a:spLocks/>
                </p:cNvSpPr>
                <p:nvPr/>
              </p:nvSpPr>
              <p:spPr bwMode="auto">
                <a:xfrm>
                  <a:off x="3839" y="3522"/>
                  <a:ext cx="289" cy="394"/>
                </a:xfrm>
                <a:custGeom>
                  <a:avLst/>
                  <a:gdLst>
                    <a:gd name="T0" fmla="*/ 195 w 867"/>
                    <a:gd name="T1" fmla="*/ 0 h 1182"/>
                    <a:gd name="T2" fmla="*/ 208 w 867"/>
                    <a:gd name="T3" fmla="*/ 28 h 1182"/>
                    <a:gd name="T4" fmla="*/ 230 w 867"/>
                    <a:gd name="T5" fmla="*/ 3 h 1182"/>
                    <a:gd name="T6" fmla="*/ 261 w 867"/>
                    <a:gd name="T7" fmla="*/ 23 h 1182"/>
                    <a:gd name="T8" fmla="*/ 336 w 867"/>
                    <a:gd name="T9" fmla="*/ 38 h 1182"/>
                    <a:gd name="T10" fmla="*/ 373 w 867"/>
                    <a:gd name="T11" fmla="*/ 48 h 1182"/>
                    <a:gd name="T12" fmla="*/ 407 w 867"/>
                    <a:gd name="T13" fmla="*/ 79 h 1182"/>
                    <a:gd name="T14" fmla="*/ 464 w 867"/>
                    <a:gd name="T15" fmla="*/ 132 h 1182"/>
                    <a:gd name="T16" fmla="*/ 517 w 867"/>
                    <a:gd name="T17" fmla="*/ 141 h 1182"/>
                    <a:gd name="T18" fmla="*/ 576 w 867"/>
                    <a:gd name="T19" fmla="*/ 194 h 1182"/>
                    <a:gd name="T20" fmla="*/ 561 w 867"/>
                    <a:gd name="T21" fmla="*/ 253 h 1182"/>
                    <a:gd name="T22" fmla="*/ 604 w 867"/>
                    <a:gd name="T23" fmla="*/ 260 h 1182"/>
                    <a:gd name="T24" fmla="*/ 667 w 867"/>
                    <a:gd name="T25" fmla="*/ 260 h 1182"/>
                    <a:gd name="T26" fmla="*/ 740 w 867"/>
                    <a:gd name="T27" fmla="*/ 284 h 1182"/>
                    <a:gd name="T28" fmla="*/ 832 w 867"/>
                    <a:gd name="T29" fmla="*/ 316 h 1182"/>
                    <a:gd name="T30" fmla="*/ 864 w 867"/>
                    <a:gd name="T31" fmla="*/ 372 h 1182"/>
                    <a:gd name="T32" fmla="*/ 813 w 867"/>
                    <a:gd name="T33" fmla="*/ 438 h 1182"/>
                    <a:gd name="T34" fmla="*/ 796 w 867"/>
                    <a:gd name="T35" fmla="*/ 510 h 1182"/>
                    <a:gd name="T36" fmla="*/ 780 w 867"/>
                    <a:gd name="T37" fmla="*/ 598 h 1182"/>
                    <a:gd name="T38" fmla="*/ 729 w 867"/>
                    <a:gd name="T39" fmla="*/ 644 h 1182"/>
                    <a:gd name="T40" fmla="*/ 638 w 867"/>
                    <a:gd name="T41" fmla="*/ 673 h 1182"/>
                    <a:gd name="T42" fmla="*/ 629 w 867"/>
                    <a:gd name="T43" fmla="*/ 719 h 1182"/>
                    <a:gd name="T44" fmla="*/ 563 w 867"/>
                    <a:gd name="T45" fmla="*/ 820 h 1182"/>
                    <a:gd name="T46" fmla="*/ 466 w 867"/>
                    <a:gd name="T47" fmla="*/ 823 h 1182"/>
                    <a:gd name="T48" fmla="*/ 476 w 867"/>
                    <a:gd name="T49" fmla="*/ 907 h 1182"/>
                    <a:gd name="T50" fmla="*/ 383 w 867"/>
                    <a:gd name="T51" fmla="*/ 973 h 1182"/>
                    <a:gd name="T52" fmla="*/ 361 w 867"/>
                    <a:gd name="T53" fmla="*/ 1014 h 1182"/>
                    <a:gd name="T54" fmla="*/ 339 w 867"/>
                    <a:gd name="T55" fmla="*/ 1116 h 1182"/>
                    <a:gd name="T56" fmla="*/ 305 w 867"/>
                    <a:gd name="T57" fmla="*/ 1170 h 1182"/>
                    <a:gd name="T58" fmla="*/ 229 w 867"/>
                    <a:gd name="T59" fmla="*/ 1082 h 1182"/>
                    <a:gd name="T60" fmla="*/ 200 w 867"/>
                    <a:gd name="T61" fmla="*/ 882 h 1182"/>
                    <a:gd name="T62" fmla="*/ 205 w 867"/>
                    <a:gd name="T63" fmla="*/ 751 h 1182"/>
                    <a:gd name="T64" fmla="*/ 198 w 867"/>
                    <a:gd name="T65" fmla="*/ 547 h 1182"/>
                    <a:gd name="T66" fmla="*/ 154 w 867"/>
                    <a:gd name="T67" fmla="*/ 495 h 1182"/>
                    <a:gd name="T68" fmla="*/ 111 w 867"/>
                    <a:gd name="T69" fmla="*/ 492 h 1182"/>
                    <a:gd name="T70" fmla="*/ 91 w 867"/>
                    <a:gd name="T71" fmla="*/ 447 h 1182"/>
                    <a:gd name="T72" fmla="*/ 66 w 867"/>
                    <a:gd name="T73" fmla="*/ 395 h 1182"/>
                    <a:gd name="T74" fmla="*/ 45 w 867"/>
                    <a:gd name="T75" fmla="*/ 351 h 1182"/>
                    <a:gd name="T76" fmla="*/ 22 w 867"/>
                    <a:gd name="T77" fmla="*/ 304 h 1182"/>
                    <a:gd name="T78" fmla="*/ 22 w 867"/>
                    <a:gd name="T79" fmla="*/ 253 h 1182"/>
                    <a:gd name="T80" fmla="*/ 14 w 867"/>
                    <a:gd name="T81" fmla="*/ 209 h 1182"/>
                    <a:gd name="T82" fmla="*/ 63 w 867"/>
                    <a:gd name="T83" fmla="*/ 163 h 1182"/>
                    <a:gd name="T84" fmla="*/ 88 w 867"/>
                    <a:gd name="T85" fmla="*/ 100 h 11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867" h="1182">
                      <a:moveTo>
                        <a:pt x="103" y="34"/>
                      </a:moveTo>
                      <a:lnTo>
                        <a:pt x="153" y="0"/>
                      </a:lnTo>
                      <a:lnTo>
                        <a:pt x="195" y="0"/>
                      </a:lnTo>
                      <a:lnTo>
                        <a:pt x="208" y="3"/>
                      </a:lnTo>
                      <a:lnTo>
                        <a:pt x="208" y="13"/>
                      </a:lnTo>
                      <a:lnTo>
                        <a:pt x="208" y="28"/>
                      </a:lnTo>
                      <a:lnTo>
                        <a:pt x="219" y="34"/>
                      </a:lnTo>
                      <a:lnTo>
                        <a:pt x="226" y="19"/>
                      </a:lnTo>
                      <a:lnTo>
                        <a:pt x="230" y="3"/>
                      </a:lnTo>
                      <a:lnTo>
                        <a:pt x="241" y="3"/>
                      </a:lnTo>
                      <a:lnTo>
                        <a:pt x="247" y="13"/>
                      </a:lnTo>
                      <a:lnTo>
                        <a:pt x="261" y="23"/>
                      </a:lnTo>
                      <a:lnTo>
                        <a:pt x="276" y="34"/>
                      </a:lnTo>
                      <a:lnTo>
                        <a:pt x="316" y="34"/>
                      </a:lnTo>
                      <a:lnTo>
                        <a:pt x="336" y="38"/>
                      </a:lnTo>
                      <a:lnTo>
                        <a:pt x="347" y="40"/>
                      </a:lnTo>
                      <a:lnTo>
                        <a:pt x="357" y="40"/>
                      </a:lnTo>
                      <a:lnTo>
                        <a:pt x="373" y="48"/>
                      </a:lnTo>
                      <a:lnTo>
                        <a:pt x="379" y="60"/>
                      </a:lnTo>
                      <a:lnTo>
                        <a:pt x="379" y="70"/>
                      </a:lnTo>
                      <a:lnTo>
                        <a:pt x="407" y="79"/>
                      </a:lnTo>
                      <a:lnTo>
                        <a:pt x="424" y="101"/>
                      </a:lnTo>
                      <a:lnTo>
                        <a:pt x="448" y="122"/>
                      </a:lnTo>
                      <a:lnTo>
                        <a:pt x="464" y="132"/>
                      </a:lnTo>
                      <a:lnTo>
                        <a:pt x="474" y="132"/>
                      </a:lnTo>
                      <a:lnTo>
                        <a:pt x="499" y="132"/>
                      </a:lnTo>
                      <a:lnTo>
                        <a:pt x="517" y="141"/>
                      </a:lnTo>
                      <a:lnTo>
                        <a:pt x="535" y="162"/>
                      </a:lnTo>
                      <a:lnTo>
                        <a:pt x="561" y="176"/>
                      </a:lnTo>
                      <a:lnTo>
                        <a:pt x="576" y="194"/>
                      </a:lnTo>
                      <a:lnTo>
                        <a:pt x="583" y="219"/>
                      </a:lnTo>
                      <a:lnTo>
                        <a:pt x="573" y="229"/>
                      </a:lnTo>
                      <a:lnTo>
                        <a:pt x="561" y="253"/>
                      </a:lnTo>
                      <a:lnTo>
                        <a:pt x="576" y="269"/>
                      </a:lnTo>
                      <a:lnTo>
                        <a:pt x="586" y="273"/>
                      </a:lnTo>
                      <a:lnTo>
                        <a:pt x="604" y="260"/>
                      </a:lnTo>
                      <a:lnTo>
                        <a:pt x="629" y="253"/>
                      </a:lnTo>
                      <a:lnTo>
                        <a:pt x="649" y="260"/>
                      </a:lnTo>
                      <a:lnTo>
                        <a:pt x="667" y="260"/>
                      </a:lnTo>
                      <a:lnTo>
                        <a:pt x="691" y="270"/>
                      </a:lnTo>
                      <a:lnTo>
                        <a:pt x="716" y="284"/>
                      </a:lnTo>
                      <a:lnTo>
                        <a:pt x="740" y="284"/>
                      </a:lnTo>
                      <a:lnTo>
                        <a:pt x="771" y="285"/>
                      </a:lnTo>
                      <a:lnTo>
                        <a:pt x="801" y="309"/>
                      </a:lnTo>
                      <a:lnTo>
                        <a:pt x="832" y="316"/>
                      </a:lnTo>
                      <a:lnTo>
                        <a:pt x="854" y="325"/>
                      </a:lnTo>
                      <a:lnTo>
                        <a:pt x="867" y="345"/>
                      </a:lnTo>
                      <a:lnTo>
                        <a:pt x="864" y="372"/>
                      </a:lnTo>
                      <a:lnTo>
                        <a:pt x="848" y="395"/>
                      </a:lnTo>
                      <a:lnTo>
                        <a:pt x="832" y="416"/>
                      </a:lnTo>
                      <a:lnTo>
                        <a:pt x="813" y="438"/>
                      </a:lnTo>
                      <a:lnTo>
                        <a:pt x="805" y="464"/>
                      </a:lnTo>
                      <a:lnTo>
                        <a:pt x="782" y="482"/>
                      </a:lnTo>
                      <a:lnTo>
                        <a:pt x="796" y="510"/>
                      </a:lnTo>
                      <a:lnTo>
                        <a:pt x="795" y="545"/>
                      </a:lnTo>
                      <a:lnTo>
                        <a:pt x="780" y="572"/>
                      </a:lnTo>
                      <a:lnTo>
                        <a:pt x="780" y="598"/>
                      </a:lnTo>
                      <a:lnTo>
                        <a:pt x="767" y="623"/>
                      </a:lnTo>
                      <a:lnTo>
                        <a:pt x="749" y="634"/>
                      </a:lnTo>
                      <a:lnTo>
                        <a:pt x="729" y="644"/>
                      </a:lnTo>
                      <a:lnTo>
                        <a:pt x="704" y="642"/>
                      </a:lnTo>
                      <a:lnTo>
                        <a:pt x="667" y="650"/>
                      </a:lnTo>
                      <a:lnTo>
                        <a:pt x="638" y="673"/>
                      </a:lnTo>
                      <a:lnTo>
                        <a:pt x="621" y="694"/>
                      </a:lnTo>
                      <a:lnTo>
                        <a:pt x="613" y="706"/>
                      </a:lnTo>
                      <a:lnTo>
                        <a:pt x="629" y="719"/>
                      </a:lnTo>
                      <a:lnTo>
                        <a:pt x="629" y="739"/>
                      </a:lnTo>
                      <a:lnTo>
                        <a:pt x="588" y="772"/>
                      </a:lnTo>
                      <a:lnTo>
                        <a:pt x="563" y="820"/>
                      </a:lnTo>
                      <a:lnTo>
                        <a:pt x="529" y="847"/>
                      </a:lnTo>
                      <a:lnTo>
                        <a:pt x="501" y="848"/>
                      </a:lnTo>
                      <a:lnTo>
                        <a:pt x="466" y="823"/>
                      </a:lnTo>
                      <a:lnTo>
                        <a:pt x="464" y="859"/>
                      </a:lnTo>
                      <a:lnTo>
                        <a:pt x="480" y="876"/>
                      </a:lnTo>
                      <a:lnTo>
                        <a:pt x="476" y="907"/>
                      </a:lnTo>
                      <a:lnTo>
                        <a:pt x="427" y="935"/>
                      </a:lnTo>
                      <a:lnTo>
                        <a:pt x="407" y="931"/>
                      </a:lnTo>
                      <a:lnTo>
                        <a:pt x="383" y="973"/>
                      </a:lnTo>
                      <a:lnTo>
                        <a:pt x="361" y="978"/>
                      </a:lnTo>
                      <a:lnTo>
                        <a:pt x="352" y="995"/>
                      </a:lnTo>
                      <a:lnTo>
                        <a:pt x="361" y="1014"/>
                      </a:lnTo>
                      <a:lnTo>
                        <a:pt x="341" y="1042"/>
                      </a:lnTo>
                      <a:lnTo>
                        <a:pt x="358" y="1085"/>
                      </a:lnTo>
                      <a:lnTo>
                        <a:pt x="339" y="1116"/>
                      </a:lnTo>
                      <a:lnTo>
                        <a:pt x="325" y="1147"/>
                      </a:lnTo>
                      <a:lnTo>
                        <a:pt x="341" y="1170"/>
                      </a:lnTo>
                      <a:lnTo>
                        <a:pt x="305" y="1170"/>
                      </a:lnTo>
                      <a:lnTo>
                        <a:pt x="275" y="1182"/>
                      </a:lnTo>
                      <a:lnTo>
                        <a:pt x="239" y="1126"/>
                      </a:lnTo>
                      <a:lnTo>
                        <a:pt x="229" y="1082"/>
                      </a:lnTo>
                      <a:lnTo>
                        <a:pt x="229" y="983"/>
                      </a:lnTo>
                      <a:lnTo>
                        <a:pt x="197" y="944"/>
                      </a:lnTo>
                      <a:lnTo>
                        <a:pt x="200" y="882"/>
                      </a:lnTo>
                      <a:lnTo>
                        <a:pt x="216" y="841"/>
                      </a:lnTo>
                      <a:lnTo>
                        <a:pt x="207" y="798"/>
                      </a:lnTo>
                      <a:lnTo>
                        <a:pt x="205" y="751"/>
                      </a:lnTo>
                      <a:lnTo>
                        <a:pt x="208" y="634"/>
                      </a:lnTo>
                      <a:lnTo>
                        <a:pt x="220" y="581"/>
                      </a:lnTo>
                      <a:lnTo>
                        <a:pt x="198" y="547"/>
                      </a:lnTo>
                      <a:lnTo>
                        <a:pt x="175" y="526"/>
                      </a:lnTo>
                      <a:lnTo>
                        <a:pt x="157" y="513"/>
                      </a:lnTo>
                      <a:lnTo>
                        <a:pt x="154" y="495"/>
                      </a:lnTo>
                      <a:lnTo>
                        <a:pt x="139" y="498"/>
                      </a:lnTo>
                      <a:lnTo>
                        <a:pt x="119" y="503"/>
                      </a:lnTo>
                      <a:lnTo>
                        <a:pt x="111" y="492"/>
                      </a:lnTo>
                      <a:lnTo>
                        <a:pt x="97" y="479"/>
                      </a:lnTo>
                      <a:lnTo>
                        <a:pt x="88" y="457"/>
                      </a:lnTo>
                      <a:lnTo>
                        <a:pt x="91" y="447"/>
                      </a:lnTo>
                      <a:lnTo>
                        <a:pt x="82" y="422"/>
                      </a:lnTo>
                      <a:lnTo>
                        <a:pt x="70" y="398"/>
                      </a:lnTo>
                      <a:lnTo>
                        <a:pt x="66" y="395"/>
                      </a:lnTo>
                      <a:lnTo>
                        <a:pt x="66" y="385"/>
                      </a:lnTo>
                      <a:lnTo>
                        <a:pt x="60" y="376"/>
                      </a:lnTo>
                      <a:lnTo>
                        <a:pt x="45" y="351"/>
                      </a:lnTo>
                      <a:lnTo>
                        <a:pt x="42" y="341"/>
                      </a:lnTo>
                      <a:lnTo>
                        <a:pt x="25" y="329"/>
                      </a:lnTo>
                      <a:lnTo>
                        <a:pt x="22" y="304"/>
                      </a:lnTo>
                      <a:lnTo>
                        <a:pt x="11" y="288"/>
                      </a:lnTo>
                      <a:lnTo>
                        <a:pt x="0" y="270"/>
                      </a:lnTo>
                      <a:lnTo>
                        <a:pt x="22" y="253"/>
                      </a:lnTo>
                      <a:lnTo>
                        <a:pt x="41" y="242"/>
                      </a:lnTo>
                      <a:lnTo>
                        <a:pt x="22" y="232"/>
                      </a:lnTo>
                      <a:lnTo>
                        <a:pt x="14" y="209"/>
                      </a:lnTo>
                      <a:lnTo>
                        <a:pt x="20" y="191"/>
                      </a:lnTo>
                      <a:lnTo>
                        <a:pt x="41" y="173"/>
                      </a:lnTo>
                      <a:lnTo>
                        <a:pt x="63" y="163"/>
                      </a:lnTo>
                      <a:lnTo>
                        <a:pt x="81" y="135"/>
                      </a:lnTo>
                      <a:lnTo>
                        <a:pt x="91" y="120"/>
                      </a:lnTo>
                      <a:lnTo>
                        <a:pt x="88" y="100"/>
                      </a:lnTo>
                      <a:lnTo>
                        <a:pt x="88" y="81"/>
                      </a:lnTo>
                      <a:lnTo>
                        <a:pt x="103" y="3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0" cap="flat" cmpd="sng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66" name="Freeform 31"/>
                <p:cNvSpPr>
                  <a:spLocks/>
                </p:cNvSpPr>
                <p:nvPr/>
              </p:nvSpPr>
              <p:spPr bwMode="auto">
                <a:xfrm>
                  <a:off x="3940" y="3918"/>
                  <a:ext cx="33" cy="12"/>
                </a:xfrm>
                <a:custGeom>
                  <a:avLst/>
                  <a:gdLst>
                    <a:gd name="T0" fmla="*/ 33 w 97"/>
                    <a:gd name="T1" fmla="*/ 0 h 35"/>
                    <a:gd name="T2" fmla="*/ 0 w 97"/>
                    <a:gd name="T3" fmla="*/ 20 h 35"/>
                    <a:gd name="T4" fmla="*/ 21 w 97"/>
                    <a:gd name="T5" fmla="*/ 35 h 35"/>
                    <a:gd name="T6" fmla="*/ 62 w 97"/>
                    <a:gd name="T7" fmla="*/ 34 h 35"/>
                    <a:gd name="T8" fmla="*/ 97 w 97"/>
                    <a:gd name="T9" fmla="*/ 35 h 35"/>
                    <a:gd name="T10" fmla="*/ 64 w 97"/>
                    <a:gd name="T11" fmla="*/ 15 h 35"/>
                    <a:gd name="T12" fmla="*/ 33 w 97"/>
                    <a:gd name="T13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7" h="35">
                      <a:moveTo>
                        <a:pt x="33" y="0"/>
                      </a:moveTo>
                      <a:lnTo>
                        <a:pt x="0" y="20"/>
                      </a:lnTo>
                      <a:lnTo>
                        <a:pt x="21" y="35"/>
                      </a:lnTo>
                      <a:lnTo>
                        <a:pt x="62" y="34"/>
                      </a:lnTo>
                      <a:lnTo>
                        <a:pt x="97" y="35"/>
                      </a:lnTo>
                      <a:lnTo>
                        <a:pt x="64" y="15"/>
                      </a:lnTo>
                      <a:lnTo>
                        <a:pt x="33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0" cap="flat" cmpd="sng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pt-BR"/>
                </a:p>
              </p:txBody>
            </p:sp>
          </p:grpSp>
          <p:grpSp>
            <p:nvGrpSpPr>
              <p:cNvPr id="39" name="Group 32"/>
              <p:cNvGrpSpPr>
                <a:grpSpLocks/>
              </p:cNvGrpSpPr>
              <p:nvPr/>
            </p:nvGrpSpPr>
            <p:grpSpPr bwMode="auto">
              <a:xfrm>
                <a:off x="3720" y="3013"/>
                <a:ext cx="409" cy="534"/>
                <a:chOff x="3720" y="3013"/>
                <a:chExt cx="409" cy="534"/>
              </a:xfrm>
            </p:grpSpPr>
            <p:sp>
              <p:nvSpPr>
                <p:cNvPr id="52" name="Freeform 33"/>
                <p:cNvSpPr>
                  <a:spLocks/>
                </p:cNvSpPr>
                <p:nvPr/>
              </p:nvSpPr>
              <p:spPr bwMode="auto">
                <a:xfrm>
                  <a:off x="3944" y="3194"/>
                  <a:ext cx="11" cy="14"/>
                </a:xfrm>
                <a:custGeom>
                  <a:avLst/>
                  <a:gdLst>
                    <a:gd name="T0" fmla="*/ 0 w 33"/>
                    <a:gd name="T1" fmla="*/ 31 h 42"/>
                    <a:gd name="T2" fmla="*/ 33 w 33"/>
                    <a:gd name="T3" fmla="*/ 42 h 42"/>
                    <a:gd name="T4" fmla="*/ 31 w 33"/>
                    <a:gd name="T5" fmla="*/ 28 h 42"/>
                    <a:gd name="T6" fmla="*/ 33 w 33"/>
                    <a:gd name="T7" fmla="*/ 7 h 42"/>
                    <a:gd name="T8" fmla="*/ 16 w 33"/>
                    <a:gd name="T9" fmla="*/ 0 h 42"/>
                    <a:gd name="T10" fmla="*/ 10 w 33"/>
                    <a:gd name="T11" fmla="*/ 16 h 42"/>
                    <a:gd name="T12" fmla="*/ 0 w 33"/>
                    <a:gd name="T13" fmla="*/ 31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3" h="42">
                      <a:moveTo>
                        <a:pt x="0" y="31"/>
                      </a:moveTo>
                      <a:lnTo>
                        <a:pt x="33" y="42"/>
                      </a:lnTo>
                      <a:lnTo>
                        <a:pt x="31" y="28"/>
                      </a:lnTo>
                      <a:lnTo>
                        <a:pt x="33" y="7"/>
                      </a:lnTo>
                      <a:lnTo>
                        <a:pt x="16" y="0"/>
                      </a:lnTo>
                      <a:lnTo>
                        <a:pt x="10" y="16"/>
                      </a:lnTo>
                      <a:lnTo>
                        <a:pt x="0" y="31"/>
                      </a:ln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0" cap="flat" cmpd="sng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pt-BR"/>
                </a:p>
              </p:txBody>
            </p:sp>
            <p:grpSp>
              <p:nvGrpSpPr>
                <p:cNvPr id="53" name="Group 34"/>
                <p:cNvGrpSpPr>
                  <a:grpSpLocks/>
                </p:cNvGrpSpPr>
                <p:nvPr/>
              </p:nvGrpSpPr>
              <p:grpSpPr bwMode="auto">
                <a:xfrm>
                  <a:off x="3720" y="3013"/>
                  <a:ext cx="409" cy="534"/>
                  <a:chOff x="3720" y="3013"/>
                  <a:chExt cx="409" cy="534"/>
                </a:xfrm>
              </p:grpSpPr>
              <p:sp>
                <p:nvSpPr>
                  <p:cNvPr id="54" name="Freeform 35"/>
                  <p:cNvSpPr>
                    <a:spLocks/>
                  </p:cNvSpPr>
                  <p:nvPr/>
                </p:nvSpPr>
                <p:spPr bwMode="auto">
                  <a:xfrm>
                    <a:off x="3720" y="3013"/>
                    <a:ext cx="293" cy="534"/>
                  </a:xfrm>
                  <a:custGeom>
                    <a:avLst/>
                    <a:gdLst>
                      <a:gd name="T0" fmla="*/ 386 w 879"/>
                      <a:gd name="T1" fmla="*/ 1536 h 1602"/>
                      <a:gd name="T2" fmla="*/ 365 w 879"/>
                      <a:gd name="T3" fmla="*/ 1458 h 1602"/>
                      <a:gd name="T4" fmla="*/ 361 w 879"/>
                      <a:gd name="T5" fmla="*/ 1389 h 1602"/>
                      <a:gd name="T6" fmla="*/ 305 w 879"/>
                      <a:gd name="T7" fmla="*/ 1344 h 1602"/>
                      <a:gd name="T8" fmla="*/ 289 w 879"/>
                      <a:gd name="T9" fmla="*/ 1270 h 1602"/>
                      <a:gd name="T10" fmla="*/ 227 w 879"/>
                      <a:gd name="T11" fmla="*/ 1297 h 1602"/>
                      <a:gd name="T12" fmla="*/ 190 w 879"/>
                      <a:gd name="T13" fmla="*/ 1200 h 1602"/>
                      <a:gd name="T14" fmla="*/ 222 w 879"/>
                      <a:gd name="T15" fmla="*/ 1138 h 1602"/>
                      <a:gd name="T16" fmla="*/ 284 w 879"/>
                      <a:gd name="T17" fmla="*/ 1092 h 1602"/>
                      <a:gd name="T18" fmla="*/ 339 w 879"/>
                      <a:gd name="T19" fmla="*/ 1132 h 1602"/>
                      <a:gd name="T20" fmla="*/ 400 w 879"/>
                      <a:gd name="T21" fmla="*/ 1132 h 1602"/>
                      <a:gd name="T22" fmla="*/ 437 w 879"/>
                      <a:gd name="T23" fmla="*/ 1214 h 1602"/>
                      <a:gd name="T24" fmla="*/ 468 w 879"/>
                      <a:gd name="T25" fmla="*/ 1254 h 1602"/>
                      <a:gd name="T26" fmla="*/ 472 w 879"/>
                      <a:gd name="T27" fmla="*/ 1183 h 1602"/>
                      <a:gd name="T28" fmla="*/ 483 w 879"/>
                      <a:gd name="T29" fmla="*/ 1119 h 1602"/>
                      <a:gd name="T30" fmla="*/ 538 w 879"/>
                      <a:gd name="T31" fmla="*/ 1107 h 1602"/>
                      <a:gd name="T32" fmla="*/ 596 w 879"/>
                      <a:gd name="T33" fmla="*/ 1063 h 1602"/>
                      <a:gd name="T34" fmla="*/ 627 w 879"/>
                      <a:gd name="T35" fmla="*/ 1001 h 1602"/>
                      <a:gd name="T36" fmla="*/ 672 w 879"/>
                      <a:gd name="T37" fmla="*/ 969 h 1602"/>
                      <a:gd name="T38" fmla="*/ 765 w 879"/>
                      <a:gd name="T39" fmla="*/ 933 h 1602"/>
                      <a:gd name="T40" fmla="*/ 768 w 879"/>
                      <a:gd name="T41" fmla="*/ 913 h 1602"/>
                      <a:gd name="T42" fmla="*/ 744 w 879"/>
                      <a:gd name="T43" fmla="*/ 854 h 1602"/>
                      <a:gd name="T44" fmla="*/ 875 w 879"/>
                      <a:gd name="T45" fmla="*/ 805 h 1602"/>
                      <a:gd name="T46" fmla="*/ 837 w 879"/>
                      <a:gd name="T47" fmla="*/ 741 h 1602"/>
                      <a:gd name="T48" fmla="*/ 802 w 879"/>
                      <a:gd name="T49" fmla="*/ 707 h 1602"/>
                      <a:gd name="T50" fmla="*/ 727 w 879"/>
                      <a:gd name="T51" fmla="*/ 613 h 1602"/>
                      <a:gd name="T52" fmla="*/ 671 w 879"/>
                      <a:gd name="T53" fmla="*/ 729 h 1602"/>
                      <a:gd name="T54" fmla="*/ 635 w 879"/>
                      <a:gd name="T55" fmla="*/ 769 h 1602"/>
                      <a:gd name="T56" fmla="*/ 616 w 879"/>
                      <a:gd name="T57" fmla="*/ 730 h 1602"/>
                      <a:gd name="T58" fmla="*/ 553 w 879"/>
                      <a:gd name="T59" fmla="*/ 632 h 1602"/>
                      <a:gd name="T60" fmla="*/ 634 w 879"/>
                      <a:gd name="T61" fmla="*/ 553 h 1602"/>
                      <a:gd name="T62" fmla="*/ 710 w 879"/>
                      <a:gd name="T63" fmla="*/ 531 h 1602"/>
                      <a:gd name="T64" fmla="*/ 737 w 879"/>
                      <a:gd name="T65" fmla="*/ 494 h 1602"/>
                      <a:gd name="T66" fmla="*/ 685 w 879"/>
                      <a:gd name="T67" fmla="*/ 485 h 1602"/>
                      <a:gd name="T68" fmla="*/ 684 w 879"/>
                      <a:gd name="T69" fmla="*/ 435 h 1602"/>
                      <a:gd name="T70" fmla="*/ 584 w 879"/>
                      <a:gd name="T71" fmla="*/ 278 h 1602"/>
                      <a:gd name="T72" fmla="*/ 566 w 879"/>
                      <a:gd name="T73" fmla="*/ 139 h 1602"/>
                      <a:gd name="T74" fmla="*/ 510 w 879"/>
                      <a:gd name="T75" fmla="*/ 39 h 1602"/>
                      <a:gd name="T76" fmla="*/ 458 w 879"/>
                      <a:gd name="T77" fmla="*/ 44 h 1602"/>
                      <a:gd name="T78" fmla="*/ 396 w 879"/>
                      <a:gd name="T79" fmla="*/ 22 h 1602"/>
                      <a:gd name="T80" fmla="*/ 284 w 879"/>
                      <a:gd name="T81" fmla="*/ 84 h 1602"/>
                      <a:gd name="T82" fmla="*/ 278 w 879"/>
                      <a:gd name="T83" fmla="*/ 110 h 1602"/>
                      <a:gd name="T84" fmla="*/ 339 w 879"/>
                      <a:gd name="T85" fmla="*/ 169 h 1602"/>
                      <a:gd name="T86" fmla="*/ 344 w 879"/>
                      <a:gd name="T87" fmla="*/ 254 h 1602"/>
                      <a:gd name="T88" fmla="*/ 256 w 879"/>
                      <a:gd name="T89" fmla="*/ 406 h 1602"/>
                      <a:gd name="T90" fmla="*/ 183 w 879"/>
                      <a:gd name="T91" fmla="*/ 528 h 1602"/>
                      <a:gd name="T92" fmla="*/ 121 w 879"/>
                      <a:gd name="T93" fmla="*/ 592 h 1602"/>
                      <a:gd name="T94" fmla="*/ 49 w 879"/>
                      <a:gd name="T95" fmla="*/ 704 h 1602"/>
                      <a:gd name="T96" fmla="*/ 17 w 879"/>
                      <a:gd name="T97" fmla="*/ 766 h 1602"/>
                      <a:gd name="T98" fmla="*/ 18 w 879"/>
                      <a:gd name="T99" fmla="*/ 861 h 1602"/>
                      <a:gd name="T100" fmla="*/ 8 w 879"/>
                      <a:gd name="T101" fmla="*/ 1001 h 1602"/>
                      <a:gd name="T102" fmla="*/ 27 w 879"/>
                      <a:gd name="T103" fmla="*/ 985 h 1602"/>
                      <a:gd name="T104" fmla="*/ 49 w 879"/>
                      <a:gd name="T105" fmla="*/ 926 h 1602"/>
                      <a:gd name="T106" fmla="*/ 42 w 879"/>
                      <a:gd name="T107" fmla="*/ 1016 h 1602"/>
                      <a:gd name="T108" fmla="*/ 62 w 879"/>
                      <a:gd name="T109" fmla="*/ 1119 h 1602"/>
                      <a:gd name="T110" fmla="*/ 62 w 879"/>
                      <a:gd name="T111" fmla="*/ 1205 h 1602"/>
                      <a:gd name="T112" fmla="*/ 136 w 879"/>
                      <a:gd name="T113" fmla="*/ 1311 h 1602"/>
                      <a:gd name="T114" fmla="*/ 196 w 879"/>
                      <a:gd name="T115" fmla="*/ 1351 h 1602"/>
                      <a:gd name="T116" fmla="*/ 269 w 879"/>
                      <a:gd name="T117" fmla="*/ 1424 h 1602"/>
                      <a:gd name="T118" fmla="*/ 315 w 879"/>
                      <a:gd name="T119" fmla="*/ 1496 h 1602"/>
                      <a:gd name="T120" fmla="*/ 397 w 879"/>
                      <a:gd name="T121" fmla="*/ 1577 h 1602"/>
                      <a:gd name="T122" fmla="*/ 446 w 879"/>
                      <a:gd name="T123" fmla="*/ 1602 h 160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  <a:cxn ang="0">
                        <a:pos x="T122" y="T123"/>
                      </a:cxn>
                    </a:cxnLst>
                    <a:rect l="0" t="0" r="r" b="b"/>
                    <a:pathLst>
                      <a:path w="879" h="1602">
                        <a:moveTo>
                          <a:pt x="455" y="1566"/>
                        </a:moveTo>
                        <a:lnTo>
                          <a:pt x="418" y="1532"/>
                        </a:lnTo>
                        <a:lnTo>
                          <a:pt x="386" y="1536"/>
                        </a:lnTo>
                        <a:lnTo>
                          <a:pt x="355" y="1507"/>
                        </a:lnTo>
                        <a:lnTo>
                          <a:pt x="349" y="1472"/>
                        </a:lnTo>
                        <a:lnTo>
                          <a:pt x="365" y="1458"/>
                        </a:lnTo>
                        <a:lnTo>
                          <a:pt x="365" y="1448"/>
                        </a:lnTo>
                        <a:lnTo>
                          <a:pt x="377" y="1429"/>
                        </a:lnTo>
                        <a:lnTo>
                          <a:pt x="361" y="1389"/>
                        </a:lnTo>
                        <a:lnTo>
                          <a:pt x="336" y="1388"/>
                        </a:lnTo>
                        <a:lnTo>
                          <a:pt x="303" y="1361"/>
                        </a:lnTo>
                        <a:lnTo>
                          <a:pt x="305" y="1344"/>
                        </a:lnTo>
                        <a:lnTo>
                          <a:pt x="334" y="1297"/>
                        </a:lnTo>
                        <a:lnTo>
                          <a:pt x="325" y="1286"/>
                        </a:lnTo>
                        <a:lnTo>
                          <a:pt x="289" y="1270"/>
                        </a:lnTo>
                        <a:lnTo>
                          <a:pt x="269" y="1286"/>
                        </a:lnTo>
                        <a:lnTo>
                          <a:pt x="259" y="1301"/>
                        </a:lnTo>
                        <a:lnTo>
                          <a:pt x="227" y="1297"/>
                        </a:lnTo>
                        <a:lnTo>
                          <a:pt x="200" y="1285"/>
                        </a:lnTo>
                        <a:lnTo>
                          <a:pt x="175" y="1236"/>
                        </a:lnTo>
                        <a:lnTo>
                          <a:pt x="190" y="1200"/>
                        </a:lnTo>
                        <a:lnTo>
                          <a:pt x="196" y="1170"/>
                        </a:lnTo>
                        <a:lnTo>
                          <a:pt x="205" y="1154"/>
                        </a:lnTo>
                        <a:lnTo>
                          <a:pt x="222" y="1138"/>
                        </a:lnTo>
                        <a:lnTo>
                          <a:pt x="234" y="1122"/>
                        </a:lnTo>
                        <a:lnTo>
                          <a:pt x="259" y="1102"/>
                        </a:lnTo>
                        <a:lnTo>
                          <a:pt x="284" y="1092"/>
                        </a:lnTo>
                        <a:lnTo>
                          <a:pt x="305" y="1108"/>
                        </a:lnTo>
                        <a:lnTo>
                          <a:pt x="325" y="1113"/>
                        </a:lnTo>
                        <a:lnTo>
                          <a:pt x="339" y="1132"/>
                        </a:lnTo>
                        <a:lnTo>
                          <a:pt x="356" y="1129"/>
                        </a:lnTo>
                        <a:lnTo>
                          <a:pt x="381" y="1122"/>
                        </a:lnTo>
                        <a:lnTo>
                          <a:pt x="400" y="1132"/>
                        </a:lnTo>
                        <a:lnTo>
                          <a:pt x="437" y="1170"/>
                        </a:lnTo>
                        <a:lnTo>
                          <a:pt x="425" y="1198"/>
                        </a:lnTo>
                        <a:lnTo>
                          <a:pt x="437" y="1214"/>
                        </a:lnTo>
                        <a:lnTo>
                          <a:pt x="437" y="1225"/>
                        </a:lnTo>
                        <a:lnTo>
                          <a:pt x="452" y="1239"/>
                        </a:lnTo>
                        <a:lnTo>
                          <a:pt x="468" y="1254"/>
                        </a:lnTo>
                        <a:lnTo>
                          <a:pt x="474" y="1247"/>
                        </a:lnTo>
                        <a:lnTo>
                          <a:pt x="474" y="1220"/>
                        </a:lnTo>
                        <a:lnTo>
                          <a:pt x="472" y="1183"/>
                        </a:lnTo>
                        <a:lnTo>
                          <a:pt x="472" y="1150"/>
                        </a:lnTo>
                        <a:lnTo>
                          <a:pt x="468" y="1138"/>
                        </a:lnTo>
                        <a:lnTo>
                          <a:pt x="483" y="1119"/>
                        </a:lnTo>
                        <a:lnTo>
                          <a:pt x="509" y="1113"/>
                        </a:lnTo>
                        <a:lnTo>
                          <a:pt x="519" y="1101"/>
                        </a:lnTo>
                        <a:lnTo>
                          <a:pt x="538" y="1107"/>
                        </a:lnTo>
                        <a:lnTo>
                          <a:pt x="555" y="1091"/>
                        </a:lnTo>
                        <a:lnTo>
                          <a:pt x="580" y="1070"/>
                        </a:lnTo>
                        <a:lnTo>
                          <a:pt x="596" y="1063"/>
                        </a:lnTo>
                        <a:lnTo>
                          <a:pt x="588" y="1045"/>
                        </a:lnTo>
                        <a:lnTo>
                          <a:pt x="609" y="1020"/>
                        </a:lnTo>
                        <a:lnTo>
                          <a:pt x="627" y="1001"/>
                        </a:lnTo>
                        <a:lnTo>
                          <a:pt x="641" y="991"/>
                        </a:lnTo>
                        <a:lnTo>
                          <a:pt x="678" y="995"/>
                        </a:lnTo>
                        <a:lnTo>
                          <a:pt x="672" y="969"/>
                        </a:lnTo>
                        <a:lnTo>
                          <a:pt x="706" y="950"/>
                        </a:lnTo>
                        <a:lnTo>
                          <a:pt x="737" y="938"/>
                        </a:lnTo>
                        <a:lnTo>
                          <a:pt x="765" y="933"/>
                        </a:lnTo>
                        <a:lnTo>
                          <a:pt x="754" y="960"/>
                        </a:lnTo>
                        <a:lnTo>
                          <a:pt x="782" y="930"/>
                        </a:lnTo>
                        <a:lnTo>
                          <a:pt x="768" y="913"/>
                        </a:lnTo>
                        <a:lnTo>
                          <a:pt x="766" y="875"/>
                        </a:lnTo>
                        <a:lnTo>
                          <a:pt x="737" y="875"/>
                        </a:lnTo>
                        <a:lnTo>
                          <a:pt x="744" y="854"/>
                        </a:lnTo>
                        <a:lnTo>
                          <a:pt x="831" y="855"/>
                        </a:lnTo>
                        <a:lnTo>
                          <a:pt x="879" y="826"/>
                        </a:lnTo>
                        <a:lnTo>
                          <a:pt x="875" y="805"/>
                        </a:lnTo>
                        <a:lnTo>
                          <a:pt x="851" y="783"/>
                        </a:lnTo>
                        <a:lnTo>
                          <a:pt x="853" y="748"/>
                        </a:lnTo>
                        <a:lnTo>
                          <a:pt x="837" y="741"/>
                        </a:lnTo>
                        <a:lnTo>
                          <a:pt x="829" y="716"/>
                        </a:lnTo>
                        <a:lnTo>
                          <a:pt x="819" y="703"/>
                        </a:lnTo>
                        <a:lnTo>
                          <a:pt x="802" y="707"/>
                        </a:lnTo>
                        <a:lnTo>
                          <a:pt x="768" y="681"/>
                        </a:lnTo>
                        <a:lnTo>
                          <a:pt x="759" y="650"/>
                        </a:lnTo>
                        <a:lnTo>
                          <a:pt x="727" y="613"/>
                        </a:lnTo>
                        <a:lnTo>
                          <a:pt x="681" y="658"/>
                        </a:lnTo>
                        <a:lnTo>
                          <a:pt x="681" y="713"/>
                        </a:lnTo>
                        <a:lnTo>
                          <a:pt x="671" y="729"/>
                        </a:lnTo>
                        <a:lnTo>
                          <a:pt x="652" y="730"/>
                        </a:lnTo>
                        <a:lnTo>
                          <a:pt x="640" y="741"/>
                        </a:lnTo>
                        <a:lnTo>
                          <a:pt x="635" y="769"/>
                        </a:lnTo>
                        <a:lnTo>
                          <a:pt x="619" y="800"/>
                        </a:lnTo>
                        <a:lnTo>
                          <a:pt x="602" y="769"/>
                        </a:lnTo>
                        <a:lnTo>
                          <a:pt x="616" y="730"/>
                        </a:lnTo>
                        <a:lnTo>
                          <a:pt x="610" y="703"/>
                        </a:lnTo>
                        <a:lnTo>
                          <a:pt x="591" y="692"/>
                        </a:lnTo>
                        <a:lnTo>
                          <a:pt x="553" y="632"/>
                        </a:lnTo>
                        <a:lnTo>
                          <a:pt x="556" y="611"/>
                        </a:lnTo>
                        <a:lnTo>
                          <a:pt x="602" y="553"/>
                        </a:lnTo>
                        <a:lnTo>
                          <a:pt x="634" y="553"/>
                        </a:lnTo>
                        <a:lnTo>
                          <a:pt x="662" y="550"/>
                        </a:lnTo>
                        <a:lnTo>
                          <a:pt x="675" y="525"/>
                        </a:lnTo>
                        <a:lnTo>
                          <a:pt x="710" y="531"/>
                        </a:lnTo>
                        <a:lnTo>
                          <a:pt x="722" y="514"/>
                        </a:lnTo>
                        <a:lnTo>
                          <a:pt x="754" y="517"/>
                        </a:lnTo>
                        <a:lnTo>
                          <a:pt x="737" y="494"/>
                        </a:lnTo>
                        <a:lnTo>
                          <a:pt x="732" y="460"/>
                        </a:lnTo>
                        <a:lnTo>
                          <a:pt x="706" y="495"/>
                        </a:lnTo>
                        <a:lnTo>
                          <a:pt x="685" y="485"/>
                        </a:lnTo>
                        <a:lnTo>
                          <a:pt x="712" y="447"/>
                        </a:lnTo>
                        <a:lnTo>
                          <a:pt x="710" y="407"/>
                        </a:lnTo>
                        <a:lnTo>
                          <a:pt x="684" y="435"/>
                        </a:lnTo>
                        <a:lnTo>
                          <a:pt x="660" y="460"/>
                        </a:lnTo>
                        <a:lnTo>
                          <a:pt x="580" y="395"/>
                        </a:lnTo>
                        <a:lnTo>
                          <a:pt x="584" y="278"/>
                        </a:lnTo>
                        <a:lnTo>
                          <a:pt x="547" y="241"/>
                        </a:lnTo>
                        <a:lnTo>
                          <a:pt x="543" y="195"/>
                        </a:lnTo>
                        <a:lnTo>
                          <a:pt x="566" y="139"/>
                        </a:lnTo>
                        <a:lnTo>
                          <a:pt x="575" y="76"/>
                        </a:lnTo>
                        <a:lnTo>
                          <a:pt x="544" y="42"/>
                        </a:lnTo>
                        <a:lnTo>
                          <a:pt x="510" y="39"/>
                        </a:lnTo>
                        <a:lnTo>
                          <a:pt x="491" y="28"/>
                        </a:lnTo>
                        <a:lnTo>
                          <a:pt x="488" y="0"/>
                        </a:lnTo>
                        <a:lnTo>
                          <a:pt x="458" y="44"/>
                        </a:lnTo>
                        <a:lnTo>
                          <a:pt x="428" y="47"/>
                        </a:lnTo>
                        <a:lnTo>
                          <a:pt x="418" y="12"/>
                        </a:lnTo>
                        <a:lnTo>
                          <a:pt x="396" y="22"/>
                        </a:lnTo>
                        <a:lnTo>
                          <a:pt x="371" y="25"/>
                        </a:lnTo>
                        <a:lnTo>
                          <a:pt x="306" y="92"/>
                        </a:lnTo>
                        <a:lnTo>
                          <a:pt x="284" y="84"/>
                        </a:lnTo>
                        <a:lnTo>
                          <a:pt x="255" y="34"/>
                        </a:lnTo>
                        <a:lnTo>
                          <a:pt x="258" y="76"/>
                        </a:lnTo>
                        <a:lnTo>
                          <a:pt x="278" y="110"/>
                        </a:lnTo>
                        <a:lnTo>
                          <a:pt x="314" y="137"/>
                        </a:lnTo>
                        <a:lnTo>
                          <a:pt x="336" y="139"/>
                        </a:lnTo>
                        <a:lnTo>
                          <a:pt x="339" y="169"/>
                        </a:lnTo>
                        <a:lnTo>
                          <a:pt x="353" y="191"/>
                        </a:lnTo>
                        <a:lnTo>
                          <a:pt x="343" y="213"/>
                        </a:lnTo>
                        <a:lnTo>
                          <a:pt x="344" y="254"/>
                        </a:lnTo>
                        <a:lnTo>
                          <a:pt x="325" y="316"/>
                        </a:lnTo>
                        <a:lnTo>
                          <a:pt x="277" y="401"/>
                        </a:lnTo>
                        <a:lnTo>
                          <a:pt x="256" y="406"/>
                        </a:lnTo>
                        <a:lnTo>
                          <a:pt x="218" y="488"/>
                        </a:lnTo>
                        <a:lnTo>
                          <a:pt x="206" y="535"/>
                        </a:lnTo>
                        <a:lnTo>
                          <a:pt x="183" y="528"/>
                        </a:lnTo>
                        <a:lnTo>
                          <a:pt x="181" y="544"/>
                        </a:lnTo>
                        <a:lnTo>
                          <a:pt x="152" y="573"/>
                        </a:lnTo>
                        <a:lnTo>
                          <a:pt x="121" y="592"/>
                        </a:lnTo>
                        <a:lnTo>
                          <a:pt x="78" y="633"/>
                        </a:lnTo>
                        <a:lnTo>
                          <a:pt x="47" y="673"/>
                        </a:lnTo>
                        <a:lnTo>
                          <a:pt x="49" y="704"/>
                        </a:lnTo>
                        <a:lnTo>
                          <a:pt x="37" y="720"/>
                        </a:lnTo>
                        <a:lnTo>
                          <a:pt x="24" y="739"/>
                        </a:lnTo>
                        <a:lnTo>
                          <a:pt x="17" y="766"/>
                        </a:lnTo>
                        <a:lnTo>
                          <a:pt x="24" y="794"/>
                        </a:lnTo>
                        <a:lnTo>
                          <a:pt x="31" y="839"/>
                        </a:lnTo>
                        <a:lnTo>
                          <a:pt x="18" y="861"/>
                        </a:lnTo>
                        <a:lnTo>
                          <a:pt x="6" y="910"/>
                        </a:lnTo>
                        <a:lnTo>
                          <a:pt x="0" y="972"/>
                        </a:lnTo>
                        <a:lnTo>
                          <a:pt x="8" y="1001"/>
                        </a:lnTo>
                        <a:lnTo>
                          <a:pt x="2" y="1055"/>
                        </a:lnTo>
                        <a:lnTo>
                          <a:pt x="18" y="1076"/>
                        </a:lnTo>
                        <a:lnTo>
                          <a:pt x="27" y="985"/>
                        </a:lnTo>
                        <a:lnTo>
                          <a:pt x="27" y="917"/>
                        </a:lnTo>
                        <a:lnTo>
                          <a:pt x="45" y="894"/>
                        </a:lnTo>
                        <a:lnTo>
                          <a:pt x="49" y="926"/>
                        </a:lnTo>
                        <a:lnTo>
                          <a:pt x="43" y="948"/>
                        </a:lnTo>
                        <a:lnTo>
                          <a:pt x="43" y="973"/>
                        </a:lnTo>
                        <a:lnTo>
                          <a:pt x="42" y="1016"/>
                        </a:lnTo>
                        <a:lnTo>
                          <a:pt x="53" y="1057"/>
                        </a:lnTo>
                        <a:lnTo>
                          <a:pt x="56" y="1098"/>
                        </a:lnTo>
                        <a:lnTo>
                          <a:pt x="62" y="1119"/>
                        </a:lnTo>
                        <a:lnTo>
                          <a:pt x="70" y="1142"/>
                        </a:lnTo>
                        <a:lnTo>
                          <a:pt x="56" y="1170"/>
                        </a:lnTo>
                        <a:lnTo>
                          <a:pt x="62" y="1205"/>
                        </a:lnTo>
                        <a:lnTo>
                          <a:pt x="77" y="1251"/>
                        </a:lnTo>
                        <a:lnTo>
                          <a:pt x="105" y="1274"/>
                        </a:lnTo>
                        <a:lnTo>
                          <a:pt x="136" y="1311"/>
                        </a:lnTo>
                        <a:lnTo>
                          <a:pt x="159" y="1338"/>
                        </a:lnTo>
                        <a:lnTo>
                          <a:pt x="175" y="1333"/>
                        </a:lnTo>
                        <a:lnTo>
                          <a:pt x="196" y="1351"/>
                        </a:lnTo>
                        <a:lnTo>
                          <a:pt x="212" y="1361"/>
                        </a:lnTo>
                        <a:lnTo>
                          <a:pt x="224" y="1383"/>
                        </a:lnTo>
                        <a:lnTo>
                          <a:pt x="269" y="1424"/>
                        </a:lnTo>
                        <a:lnTo>
                          <a:pt x="284" y="1430"/>
                        </a:lnTo>
                        <a:lnTo>
                          <a:pt x="314" y="1455"/>
                        </a:lnTo>
                        <a:lnTo>
                          <a:pt x="315" y="1496"/>
                        </a:lnTo>
                        <a:lnTo>
                          <a:pt x="350" y="1538"/>
                        </a:lnTo>
                        <a:lnTo>
                          <a:pt x="381" y="1573"/>
                        </a:lnTo>
                        <a:lnTo>
                          <a:pt x="397" y="1577"/>
                        </a:lnTo>
                        <a:lnTo>
                          <a:pt x="412" y="1566"/>
                        </a:lnTo>
                        <a:lnTo>
                          <a:pt x="421" y="1561"/>
                        </a:lnTo>
                        <a:lnTo>
                          <a:pt x="446" y="1602"/>
                        </a:lnTo>
                        <a:lnTo>
                          <a:pt x="455" y="1566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0" cap="flat" cmpd="sng">
                        <a:solidFill>
                          <a:schemeClr val="bg2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pt-BR"/>
                  </a:p>
                </p:txBody>
              </p:sp>
              <p:sp>
                <p:nvSpPr>
                  <p:cNvPr id="55" name="Freeform 36"/>
                  <p:cNvSpPr>
                    <a:spLocks/>
                  </p:cNvSpPr>
                  <p:nvPr/>
                </p:nvSpPr>
                <p:spPr bwMode="auto">
                  <a:xfrm>
                    <a:off x="3849" y="3436"/>
                    <a:ext cx="51" cy="33"/>
                  </a:xfrm>
                  <a:custGeom>
                    <a:avLst/>
                    <a:gdLst>
                      <a:gd name="T0" fmla="*/ 3 w 153"/>
                      <a:gd name="T1" fmla="*/ 0 h 100"/>
                      <a:gd name="T2" fmla="*/ 46 w 153"/>
                      <a:gd name="T3" fmla="*/ 7 h 100"/>
                      <a:gd name="T4" fmla="*/ 71 w 153"/>
                      <a:gd name="T5" fmla="*/ 30 h 100"/>
                      <a:gd name="T6" fmla="*/ 87 w 153"/>
                      <a:gd name="T7" fmla="*/ 46 h 100"/>
                      <a:gd name="T8" fmla="*/ 100 w 153"/>
                      <a:gd name="T9" fmla="*/ 49 h 100"/>
                      <a:gd name="T10" fmla="*/ 121 w 153"/>
                      <a:gd name="T11" fmla="*/ 66 h 100"/>
                      <a:gd name="T12" fmla="*/ 137 w 153"/>
                      <a:gd name="T13" fmla="*/ 87 h 100"/>
                      <a:gd name="T14" fmla="*/ 153 w 153"/>
                      <a:gd name="T15" fmla="*/ 100 h 100"/>
                      <a:gd name="T16" fmla="*/ 118 w 153"/>
                      <a:gd name="T17" fmla="*/ 100 h 100"/>
                      <a:gd name="T18" fmla="*/ 96 w 153"/>
                      <a:gd name="T19" fmla="*/ 77 h 100"/>
                      <a:gd name="T20" fmla="*/ 66 w 153"/>
                      <a:gd name="T21" fmla="*/ 68 h 100"/>
                      <a:gd name="T22" fmla="*/ 50 w 153"/>
                      <a:gd name="T23" fmla="*/ 49 h 100"/>
                      <a:gd name="T24" fmla="*/ 21 w 153"/>
                      <a:gd name="T25" fmla="*/ 35 h 100"/>
                      <a:gd name="T26" fmla="*/ 0 w 153"/>
                      <a:gd name="T27" fmla="*/ 24 h 100"/>
                      <a:gd name="T28" fmla="*/ 3 w 153"/>
                      <a:gd name="T29" fmla="*/ 0 h 1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53" h="100">
                        <a:moveTo>
                          <a:pt x="3" y="0"/>
                        </a:moveTo>
                        <a:lnTo>
                          <a:pt x="46" y="7"/>
                        </a:lnTo>
                        <a:lnTo>
                          <a:pt x="71" y="30"/>
                        </a:lnTo>
                        <a:lnTo>
                          <a:pt x="87" y="46"/>
                        </a:lnTo>
                        <a:lnTo>
                          <a:pt x="100" y="49"/>
                        </a:lnTo>
                        <a:lnTo>
                          <a:pt x="121" y="66"/>
                        </a:lnTo>
                        <a:lnTo>
                          <a:pt x="137" y="87"/>
                        </a:lnTo>
                        <a:lnTo>
                          <a:pt x="153" y="100"/>
                        </a:lnTo>
                        <a:lnTo>
                          <a:pt x="118" y="100"/>
                        </a:lnTo>
                        <a:lnTo>
                          <a:pt x="96" y="77"/>
                        </a:lnTo>
                        <a:lnTo>
                          <a:pt x="66" y="68"/>
                        </a:lnTo>
                        <a:lnTo>
                          <a:pt x="50" y="49"/>
                        </a:lnTo>
                        <a:lnTo>
                          <a:pt x="21" y="35"/>
                        </a:lnTo>
                        <a:lnTo>
                          <a:pt x="0" y="24"/>
                        </a:lnTo>
                        <a:lnTo>
                          <a:pt x="3" y="0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0" cap="flat" cmpd="sng">
                        <a:solidFill>
                          <a:schemeClr val="bg2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pt-BR"/>
                  </a:p>
                </p:txBody>
              </p:sp>
              <p:sp>
                <p:nvSpPr>
                  <p:cNvPr id="56" name="Freeform 37"/>
                  <p:cNvSpPr>
                    <a:spLocks/>
                  </p:cNvSpPr>
                  <p:nvPr/>
                </p:nvSpPr>
                <p:spPr bwMode="auto">
                  <a:xfrm>
                    <a:off x="3900" y="3471"/>
                    <a:ext cx="29" cy="15"/>
                  </a:xfrm>
                  <a:custGeom>
                    <a:avLst/>
                    <a:gdLst>
                      <a:gd name="T0" fmla="*/ 0 w 87"/>
                      <a:gd name="T1" fmla="*/ 25 h 46"/>
                      <a:gd name="T2" fmla="*/ 27 w 87"/>
                      <a:gd name="T3" fmla="*/ 0 h 46"/>
                      <a:gd name="T4" fmla="*/ 58 w 87"/>
                      <a:gd name="T5" fmla="*/ 4 h 46"/>
                      <a:gd name="T6" fmla="*/ 87 w 87"/>
                      <a:gd name="T7" fmla="*/ 31 h 46"/>
                      <a:gd name="T8" fmla="*/ 87 w 87"/>
                      <a:gd name="T9" fmla="*/ 41 h 46"/>
                      <a:gd name="T10" fmla="*/ 67 w 87"/>
                      <a:gd name="T11" fmla="*/ 46 h 46"/>
                      <a:gd name="T12" fmla="*/ 50 w 87"/>
                      <a:gd name="T13" fmla="*/ 37 h 46"/>
                      <a:gd name="T14" fmla="*/ 27 w 87"/>
                      <a:gd name="T15" fmla="*/ 37 h 46"/>
                      <a:gd name="T16" fmla="*/ 0 w 87"/>
                      <a:gd name="T17" fmla="*/ 25 h 4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87" h="46">
                        <a:moveTo>
                          <a:pt x="0" y="25"/>
                        </a:moveTo>
                        <a:lnTo>
                          <a:pt x="27" y="0"/>
                        </a:lnTo>
                        <a:lnTo>
                          <a:pt x="58" y="4"/>
                        </a:lnTo>
                        <a:lnTo>
                          <a:pt x="87" y="31"/>
                        </a:lnTo>
                        <a:lnTo>
                          <a:pt x="87" y="41"/>
                        </a:lnTo>
                        <a:lnTo>
                          <a:pt x="67" y="46"/>
                        </a:lnTo>
                        <a:lnTo>
                          <a:pt x="50" y="37"/>
                        </a:lnTo>
                        <a:lnTo>
                          <a:pt x="27" y="37"/>
                        </a:lnTo>
                        <a:lnTo>
                          <a:pt x="0" y="25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0" cap="flat" cmpd="sng">
                        <a:solidFill>
                          <a:schemeClr val="bg2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pt-BR"/>
                  </a:p>
                </p:txBody>
              </p:sp>
              <p:sp>
                <p:nvSpPr>
                  <p:cNvPr id="57" name="Freeform 38"/>
                  <p:cNvSpPr>
                    <a:spLocks/>
                  </p:cNvSpPr>
                  <p:nvPr/>
                </p:nvSpPr>
                <p:spPr bwMode="auto">
                  <a:xfrm>
                    <a:off x="3918" y="3113"/>
                    <a:ext cx="28" cy="34"/>
                  </a:xfrm>
                  <a:custGeom>
                    <a:avLst/>
                    <a:gdLst>
                      <a:gd name="T0" fmla="*/ 19 w 84"/>
                      <a:gd name="T1" fmla="*/ 0 h 101"/>
                      <a:gd name="T2" fmla="*/ 41 w 84"/>
                      <a:gd name="T3" fmla="*/ 16 h 101"/>
                      <a:gd name="T4" fmla="*/ 49 w 84"/>
                      <a:gd name="T5" fmla="*/ 14 h 101"/>
                      <a:gd name="T6" fmla="*/ 81 w 84"/>
                      <a:gd name="T7" fmla="*/ 44 h 101"/>
                      <a:gd name="T8" fmla="*/ 84 w 84"/>
                      <a:gd name="T9" fmla="*/ 57 h 101"/>
                      <a:gd name="T10" fmla="*/ 72 w 84"/>
                      <a:gd name="T11" fmla="*/ 66 h 101"/>
                      <a:gd name="T12" fmla="*/ 72 w 84"/>
                      <a:gd name="T13" fmla="*/ 72 h 101"/>
                      <a:gd name="T14" fmla="*/ 62 w 84"/>
                      <a:gd name="T15" fmla="*/ 76 h 101"/>
                      <a:gd name="T16" fmla="*/ 62 w 84"/>
                      <a:gd name="T17" fmla="*/ 81 h 101"/>
                      <a:gd name="T18" fmla="*/ 52 w 84"/>
                      <a:gd name="T19" fmla="*/ 101 h 101"/>
                      <a:gd name="T20" fmla="*/ 36 w 84"/>
                      <a:gd name="T21" fmla="*/ 91 h 101"/>
                      <a:gd name="T22" fmla="*/ 25 w 84"/>
                      <a:gd name="T23" fmla="*/ 95 h 101"/>
                      <a:gd name="T24" fmla="*/ 0 w 84"/>
                      <a:gd name="T25" fmla="*/ 61 h 101"/>
                      <a:gd name="T26" fmla="*/ 15 w 84"/>
                      <a:gd name="T27" fmla="*/ 36 h 101"/>
                      <a:gd name="T28" fmla="*/ 19 w 84"/>
                      <a:gd name="T29" fmla="*/ 0 h 10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84" h="101">
                        <a:moveTo>
                          <a:pt x="19" y="0"/>
                        </a:moveTo>
                        <a:lnTo>
                          <a:pt x="41" y="16"/>
                        </a:lnTo>
                        <a:lnTo>
                          <a:pt x="49" y="14"/>
                        </a:lnTo>
                        <a:lnTo>
                          <a:pt x="81" y="44"/>
                        </a:lnTo>
                        <a:lnTo>
                          <a:pt x="84" y="57"/>
                        </a:lnTo>
                        <a:lnTo>
                          <a:pt x="72" y="66"/>
                        </a:lnTo>
                        <a:lnTo>
                          <a:pt x="72" y="72"/>
                        </a:lnTo>
                        <a:lnTo>
                          <a:pt x="62" y="76"/>
                        </a:lnTo>
                        <a:lnTo>
                          <a:pt x="62" y="81"/>
                        </a:lnTo>
                        <a:lnTo>
                          <a:pt x="52" y="101"/>
                        </a:lnTo>
                        <a:lnTo>
                          <a:pt x="36" y="91"/>
                        </a:lnTo>
                        <a:lnTo>
                          <a:pt x="25" y="95"/>
                        </a:lnTo>
                        <a:lnTo>
                          <a:pt x="0" y="61"/>
                        </a:lnTo>
                        <a:lnTo>
                          <a:pt x="15" y="36"/>
                        </a:lnTo>
                        <a:lnTo>
                          <a:pt x="19" y="0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0" cap="flat" cmpd="sng">
                        <a:solidFill>
                          <a:schemeClr val="bg2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pt-BR"/>
                  </a:p>
                </p:txBody>
              </p:sp>
              <p:sp>
                <p:nvSpPr>
                  <p:cNvPr id="58" name="Freeform 39"/>
                  <p:cNvSpPr>
                    <a:spLocks/>
                  </p:cNvSpPr>
                  <p:nvPr/>
                </p:nvSpPr>
                <p:spPr bwMode="auto">
                  <a:xfrm>
                    <a:off x="3947" y="3105"/>
                    <a:ext cx="18" cy="16"/>
                  </a:xfrm>
                  <a:custGeom>
                    <a:avLst/>
                    <a:gdLst>
                      <a:gd name="T0" fmla="*/ 0 w 54"/>
                      <a:gd name="T1" fmla="*/ 27 h 47"/>
                      <a:gd name="T2" fmla="*/ 31 w 54"/>
                      <a:gd name="T3" fmla="*/ 47 h 47"/>
                      <a:gd name="T4" fmla="*/ 37 w 54"/>
                      <a:gd name="T5" fmla="*/ 38 h 47"/>
                      <a:gd name="T6" fmla="*/ 54 w 54"/>
                      <a:gd name="T7" fmla="*/ 18 h 47"/>
                      <a:gd name="T8" fmla="*/ 46 w 54"/>
                      <a:gd name="T9" fmla="*/ 6 h 47"/>
                      <a:gd name="T10" fmla="*/ 35 w 54"/>
                      <a:gd name="T11" fmla="*/ 10 h 47"/>
                      <a:gd name="T12" fmla="*/ 31 w 54"/>
                      <a:gd name="T13" fmla="*/ 0 h 47"/>
                      <a:gd name="T14" fmla="*/ 22 w 54"/>
                      <a:gd name="T15" fmla="*/ 13 h 47"/>
                      <a:gd name="T16" fmla="*/ 0 w 54"/>
                      <a:gd name="T17" fmla="*/ 27 h 4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54" h="47">
                        <a:moveTo>
                          <a:pt x="0" y="27"/>
                        </a:moveTo>
                        <a:lnTo>
                          <a:pt x="31" y="47"/>
                        </a:lnTo>
                        <a:lnTo>
                          <a:pt x="37" y="38"/>
                        </a:lnTo>
                        <a:lnTo>
                          <a:pt x="54" y="18"/>
                        </a:lnTo>
                        <a:lnTo>
                          <a:pt x="46" y="6"/>
                        </a:lnTo>
                        <a:lnTo>
                          <a:pt x="35" y="10"/>
                        </a:lnTo>
                        <a:lnTo>
                          <a:pt x="31" y="0"/>
                        </a:lnTo>
                        <a:lnTo>
                          <a:pt x="22" y="13"/>
                        </a:lnTo>
                        <a:lnTo>
                          <a:pt x="0" y="27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0" cap="flat" cmpd="sng">
                        <a:solidFill>
                          <a:schemeClr val="bg2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pt-BR"/>
                  </a:p>
                </p:txBody>
              </p:sp>
              <p:sp>
                <p:nvSpPr>
                  <p:cNvPr id="59" name="Freeform 40"/>
                  <p:cNvSpPr>
                    <a:spLocks/>
                  </p:cNvSpPr>
                  <p:nvPr/>
                </p:nvSpPr>
                <p:spPr bwMode="auto">
                  <a:xfrm>
                    <a:off x="3923" y="3099"/>
                    <a:ext cx="18" cy="11"/>
                  </a:xfrm>
                  <a:custGeom>
                    <a:avLst/>
                    <a:gdLst>
                      <a:gd name="T0" fmla="*/ 0 w 54"/>
                      <a:gd name="T1" fmla="*/ 2 h 34"/>
                      <a:gd name="T2" fmla="*/ 29 w 54"/>
                      <a:gd name="T3" fmla="*/ 0 h 34"/>
                      <a:gd name="T4" fmla="*/ 54 w 54"/>
                      <a:gd name="T5" fmla="*/ 32 h 34"/>
                      <a:gd name="T6" fmla="*/ 32 w 54"/>
                      <a:gd name="T7" fmla="*/ 34 h 34"/>
                      <a:gd name="T8" fmla="*/ 31 w 54"/>
                      <a:gd name="T9" fmla="*/ 27 h 34"/>
                      <a:gd name="T10" fmla="*/ 19 w 54"/>
                      <a:gd name="T11" fmla="*/ 34 h 34"/>
                      <a:gd name="T12" fmla="*/ 18 w 54"/>
                      <a:gd name="T13" fmla="*/ 34 h 34"/>
                      <a:gd name="T14" fmla="*/ 9 w 54"/>
                      <a:gd name="T15" fmla="*/ 27 h 34"/>
                      <a:gd name="T16" fmla="*/ 12 w 54"/>
                      <a:gd name="T17" fmla="*/ 19 h 34"/>
                      <a:gd name="T18" fmla="*/ 0 w 54"/>
                      <a:gd name="T19" fmla="*/ 2 h 3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54" h="34">
                        <a:moveTo>
                          <a:pt x="0" y="2"/>
                        </a:moveTo>
                        <a:lnTo>
                          <a:pt x="29" y="0"/>
                        </a:lnTo>
                        <a:lnTo>
                          <a:pt x="54" y="32"/>
                        </a:lnTo>
                        <a:lnTo>
                          <a:pt x="32" y="34"/>
                        </a:lnTo>
                        <a:lnTo>
                          <a:pt x="31" y="27"/>
                        </a:lnTo>
                        <a:lnTo>
                          <a:pt x="19" y="34"/>
                        </a:lnTo>
                        <a:lnTo>
                          <a:pt x="18" y="34"/>
                        </a:lnTo>
                        <a:lnTo>
                          <a:pt x="9" y="27"/>
                        </a:lnTo>
                        <a:lnTo>
                          <a:pt x="12" y="19"/>
                        </a:lnTo>
                        <a:lnTo>
                          <a:pt x="0" y="2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0" cap="flat" cmpd="sng">
                        <a:solidFill>
                          <a:schemeClr val="bg2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pt-BR"/>
                  </a:p>
                </p:txBody>
              </p:sp>
              <p:sp>
                <p:nvSpPr>
                  <p:cNvPr id="60" name="Freeform 41"/>
                  <p:cNvSpPr>
                    <a:spLocks/>
                  </p:cNvSpPr>
                  <p:nvPr/>
                </p:nvSpPr>
                <p:spPr bwMode="auto">
                  <a:xfrm>
                    <a:off x="3964" y="3148"/>
                    <a:ext cx="45" cy="80"/>
                  </a:xfrm>
                  <a:custGeom>
                    <a:avLst/>
                    <a:gdLst>
                      <a:gd name="T0" fmla="*/ 58 w 133"/>
                      <a:gd name="T1" fmla="*/ 134 h 241"/>
                      <a:gd name="T2" fmla="*/ 36 w 133"/>
                      <a:gd name="T3" fmla="*/ 163 h 241"/>
                      <a:gd name="T4" fmla="*/ 27 w 133"/>
                      <a:gd name="T5" fmla="*/ 163 h 241"/>
                      <a:gd name="T6" fmla="*/ 18 w 133"/>
                      <a:gd name="T7" fmla="*/ 169 h 241"/>
                      <a:gd name="T8" fmla="*/ 6 w 133"/>
                      <a:gd name="T9" fmla="*/ 171 h 241"/>
                      <a:gd name="T10" fmla="*/ 5 w 133"/>
                      <a:gd name="T11" fmla="*/ 178 h 241"/>
                      <a:gd name="T12" fmla="*/ 22 w 133"/>
                      <a:gd name="T13" fmla="*/ 179 h 241"/>
                      <a:gd name="T14" fmla="*/ 30 w 133"/>
                      <a:gd name="T15" fmla="*/ 185 h 241"/>
                      <a:gd name="T16" fmla="*/ 37 w 133"/>
                      <a:gd name="T17" fmla="*/ 196 h 241"/>
                      <a:gd name="T18" fmla="*/ 37 w 133"/>
                      <a:gd name="T19" fmla="*/ 200 h 241"/>
                      <a:gd name="T20" fmla="*/ 50 w 133"/>
                      <a:gd name="T21" fmla="*/ 210 h 241"/>
                      <a:gd name="T22" fmla="*/ 50 w 133"/>
                      <a:gd name="T23" fmla="*/ 221 h 241"/>
                      <a:gd name="T24" fmla="*/ 58 w 133"/>
                      <a:gd name="T25" fmla="*/ 221 h 241"/>
                      <a:gd name="T26" fmla="*/ 83 w 133"/>
                      <a:gd name="T27" fmla="*/ 241 h 241"/>
                      <a:gd name="T28" fmla="*/ 77 w 133"/>
                      <a:gd name="T29" fmla="*/ 225 h 241"/>
                      <a:gd name="T30" fmla="*/ 77 w 133"/>
                      <a:gd name="T31" fmla="*/ 210 h 241"/>
                      <a:gd name="T32" fmla="*/ 84 w 133"/>
                      <a:gd name="T33" fmla="*/ 210 h 241"/>
                      <a:gd name="T34" fmla="*/ 92 w 133"/>
                      <a:gd name="T35" fmla="*/ 218 h 241"/>
                      <a:gd name="T36" fmla="*/ 97 w 133"/>
                      <a:gd name="T37" fmla="*/ 218 h 241"/>
                      <a:gd name="T38" fmla="*/ 100 w 133"/>
                      <a:gd name="T39" fmla="*/ 219 h 241"/>
                      <a:gd name="T40" fmla="*/ 105 w 133"/>
                      <a:gd name="T41" fmla="*/ 218 h 241"/>
                      <a:gd name="T42" fmla="*/ 105 w 133"/>
                      <a:gd name="T43" fmla="*/ 204 h 241"/>
                      <a:gd name="T44" fmla="*/ 97 w 133"/>
                      <a:gd name="T45" fmla="*/ 196 h 241"/>
                      <a:gd name="T46" fmla="*/ 95 w 133"/>
                      <a:gd name="T47" fmla="*/ 179 h 241"/>
                      <a:gd name="T48" fmla="*/ 99 w 133"/>
                      <a:gd name="T49" fmla="*/ 165 h 241"/>
                      <a:gd name="T50" fmla="*/ 127 w 133"/>
                      <a:gd name="T51" fmla="*/ 193 h 241"/>
                      <a:gd name="T52" fmla="*/ 127 w 133"/>
                      <a:gd name="T53" fmla="*/ 175 h 241"/>
                      <a:gd name="T54" fmla="*/ 133 w 133"/>
                      <a:gd name="T55" fmla="*/ 156 h 241"/>
                      <a:gd name="T56" fmla="*/ 114 w 133"/>
                      <a:gd name="T57" fmla="*/ 134 h 241"/>
                      <a:gd name="T58" fmla="*/ 112 w 133"/>
                      <a:gd name="T59" fmla="*/ 121 h 241"/>
                      <a:gd name="T60" fmla="*/ 114 w 133"/>
                      <a:gd name="T61" fmla="*/ 90 h 241"/>
                      <a:gd name="T62" fmla="*/ 87 w 133"/>
                      <a:gd name="T63" fmla="*/ 56 h 241"/>
                      <a:gd name="T64" fmla="*/ 62 w 133"/>
                      <a:gd name="T65" fmla="*/ 37 h 241"/>
                      <a:gd name="T66" fmla="*/ 68 w 133"/>
                      <a:gd name="T67" fmla="*/ 27 h 241"/>
                      <a:gd name="T68" fmla="*/ 56 w 133"/>
                      <a:gd name="T69" fmla="*/ 19 h 241"/>
                      <a:gd name="T70" fmla="*/ 56 w 133"/>
                      <a:gd name="T71" fmla="*/ 6 h 241"/>
                      <a:gd name="T72" fmla="*/ 36 w 133"/>
                      <a:gd name="T73" fmla="*/ 27 h 241"/>
                      <a:gd name="T74" fmla="*/ 30 w 133"/>
                      <a:gd name="T75" fmla="*/ 21 h 241"/>
                      <a:gd name="T76" fmla="*/ 37 w 133"/>
                      <a:gd name="T77" fmla="*/ 10 h 241"/>
                      <a:gd name="T78" fmla="*/ 37 w 133"/>
                      <a:gd name="T79" fmla="*/ 0 h 241"/>
                      <a:gd name="T80" fmla="*/ 27 w 133"/>
                      <a:gd name="T81" fmla="*/ 0 h 241"/>
                      <a:gd name="T82" fmla="*/ 15 w 133"/>
                      <a:gd name="T83" fmla="*/ 5 h 241"/>
                      <a:gd name="T84" fmla="*/ 0 w 133"/>
                      <a:gd name="T85" fmla="*/ 9 h 241"/>
                      <a:gd name="T86" fmla="*/ 0 w 133"/>
                      <a:gd name="T87" fmla="*/ 21 h 241"/>
                      <a:gd name="T88" fmla="*/ 0 w 133"/>
                      <a:gd name="T89" fmla="*/ 34 h 241"/>
                      <a:gd name="T90" fmla="*/ 5 w 133"/>
                      <a:gd name="T91" fmla="*/ 40 h 241"/>
                      <a:gd name="T92" fmla="*/ 21 w 133"/>
                      <a:gd name="T93" fmla="*/ 49 h 241"/>
                      <a:gd name="T94" fmla="*/ 18 w 133"/>
                      <a:gd name="T95" fmla="*/ 62 h 241"/>
                      <a:gd name="T96" fmla="*/ 25 w 133"/>
                      <a:gd name="T97" fmla="*/ 68 h 241"/>
                      <a:gd name="T98" fmla="*/ 33 w 133"/>
                      <a:gd name="T99" fmla="*/ 72 h 241"/>
                      <a:gd name="T100" fmla="*/ 46 w 133"/>
                      <a:gd name="T101" fmla="*/ 72 h 241"/>
                      <a:gd name="T102" fmla="*/ 56 w 133"/>
                      <a:gd name="T103" fmla="*/ 82 h 241"/>
                      <a:gd name="T104" fmla="*/ 58 w 133"/>
                      <a:gd name="T105" fmla="*/ 99 h 241"/>
                      <a:gd name="T106" fmla="*/ 56 w 133"/>
                      <a:gd name="T107" fmla="*/ 118 h 241"/>
                      <a:gd name="T108" fmla="*/ 58 w 133"/>
                      <a:gd name="T109" fmla="*/ 134 h 24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</a:cxnLst>
                    <a:rect l="0" t="0" r="r" b="b"/>
                    <a:pathLst>
                      <a:path w="133" h="241">
                        <a:moveTo>
                          <a:pt x="58" y="134"/>
                        </a:moveTo>
                        <a:lnTo>
                          <a:pt x="36" y="163"/>
                        </a:lnTo>
                        <a:lnTo>
                          <a:pt x="27" y="163"/>
                        </a:lnTo>
                        <a:lnTo>
                          <a:pt x="18" y="169"/>
                        </a:lnTo>
                        <a:lnTo>
                          <a:pt x="6" y="171"/>
                        </a:lnTo>
                        <a:lnTo>
                          <a:pt x="5" y="178"/>
                        </a:lnTo>
                        <a:lnTo>
                          <a:pt x="22" y="179"/>
                        </a:lnTo>
                        <a:lnTo>
                          <a:pt x="30" y="185"/>
                        </a:lnTo>
                        <a:lnTo>
                          <a:pt x="37" y="196"/>
                        </a:lnTo>
                        <a:lnTo>
                          <a:pt x="37" y="200"/>
                        </a:lnTo>
                        <a:lnTo>
                          <a:pt x="50" y="210"/>
                        </a:lnTo>
                        <a:lnTo>
                          <a:pt x="50" y="221"/>
                        </a:lnTo>
                        <a:lnTo>
                          <a:pt x="58" y="221"/>
                        </a:lnTo>
                        <a:lnTo>
                          <a:pt x="83" y="241"/>
                        </a:lnTo>
                        <a:lnTo>
                          <a:pt x="77" y="225"/>
                        </a:lnTo>
                        <a:lnTo>
                          <a:pt x="77" y="210"/>
                        </a:lnTo>
                        <a:lnTo>
                          <a:pt x="84" y="210"/>
                        </a:lnTo>
                        <a:lnTo>
                          <a:pt x="92" y="218"/>
                        </a:lnTo>
                        <a:lnTo>
                          <a:pt x="97" y="218"/>
                        </a:lnTo>
                        <a:lnTo>
                          <a:pt x="100" y="219"/>
                        </a:lnTo>
                        <a:lnTo>
                          <a:pt x="105" y="218"/>
                        </a:lnTo>
                        <a:lnTo>
                          <a:pt x="105" y="204"/>
                        </a:lnTo>
                        <a:lnTo>
                          <a:pt x="97" y="196"/>
                        </a:lnTo>
                        <a:lnTo>
                          <a:pt x="95" y="179"/>
                        </a:lnTo>
                        <a:lnTo>
                          <a:pt x="99" y="165"/>
                        </a:lnTo>
                        <a:lnTo>
                          <a:pt x="127" y="193"/>
                        </a:lnTo>
                        <a:lnTo>
                          <a:pt x="127" y="175"/>
                        </a:lnTo>
                        <a:lnTo>
                          <a:pt x="133" y="156"/>
                        </a:lnTo>
                        <a:lnTo>
                          <a:pt x="114" y="134"/>
                        </a:lnTo>
                        <a:lnTo>
                          <a:pt x="112" y="121"/>
                        </a:lnTo>
                        <a:lnTo>
                          <a:pt x="114" y="90"/>
                        </a:lnTo>
                        <a:lnTo>
                          <a:pt x="87" y="56"/>
                        </a:lnTo>
                        <a:lnTo>
                          <a:pt x="62" y="37"/>
                        </a:lnTo>
                        <a:lnTo>
                          <a:pt x="68" y="27"/>
                        </a:lnTo>
                        <a:lnTo>
                          <a:pt x="56" y="19"/>
                        </a:lnTo>
                        <a:lnTo>
                          <a:pt x="56" y="6"/>
                        </a:lnTo>
                        <a:lnTo>
                          <a:pt x="36" y="27"/>
                        </a:lnTo>
                        <a:lnTo>
                          <a:pt x="30" y="21"/>
                        </a:lnTo>
                        <a:lnTo>
                          <a:pt x="37" y="10"/>
                        </a:lnTo>
                        <a:lnTo>
                          <a:pt x="37" y="0"/>
                        </a:lnTo>
                        <a:lnTo>
                          <a:pt x="27" y="0"/>
                        </a:lnTo>
                        <a:lnTo>
                          <a:pt x="15" y="5"/>
                        </a:lnTo>
                        <a:lnTo>
                          <a:pt x="0" y="9"/>
                        </a:lnTo>
                        <a:lnTo>
                          <a:pt x="0" y="21"/>
                        </a:lnTo>
                        <a:lnTo>
                          <a:pt x="0" y="34"/>
                        </a:lnTo>
                        <a:lnTo>
                          <a:pt x="5" y="40"/>
                        </a:lnTo>
                        <a:lnTo>
                          <a:pt x="21" y="49"/>
                        </a:lnTo>
                        <a:lnTo>
                          <a:pt x="18" y="62"/>
                        </a:lnTo>
                        <a:lnTo>
                          <a:pt x="25" y="68"/>
                        </a:lnTo>
                        <a:lnTo>
                          <a:pt x="33" y="72"/>
                        </a:lnTo>
                        <a:lnTo>
                          <a:pt x="46" y="72"/>
                        </a:lnTo>
                        <a:lnTo>
                          <a:pt x="56" y="82"/>
                        </a:lnTo>
                        <a:lnTo>
                          <a:pt x="58" y="99"/>
                        </a:lnTo>
                        <a:lnTo>
                          <a:pt x="56" y="118"/>
                        </a:lnTo>
                        <a:lnTo>
                          <a:pt x="58" y="134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0" cap="flat" cmpd="sng">
                        <a:solidFill>
                          <a:schemeClr val="bg2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pt-BR"/>
                  </a:p>
                </p:txBody>
              </p:sp>
              <p:sp>
                <p:nvSpPr>
                  <p:cNvPr id="61" name="Freeform 42"/>
                  <p:cNvSpPr>
                    <a:spLocks/>
                  </p:cNvSpPr>
                  <p:nvPr/>
                </p:nvSpPr>
                <p:spPr bwMode="auto">
                  <a:xfrm>
                    <a:off x="3987" y="3104"/>
                    <a:ext cx="43" cy="36"/>
                  </a:xfrm>
                  <a:custGeom>
                    <a:avLst/>
                    <a:gdLst>
                      <a:gd name="T0" fmla="*/ 0 w 129"/>
                      <a:gd name="T1" fmla="*/ 79 h 107"/>
                      <a:gd name="T2" fmla="*/ 30 w 129"/>
                      <a:gd name="T3" fmla="*/ 107 h 107"/>
                      <a:gd name="T4" fmla="*/ 48 w 129"/>
                      <a:gd name="T5" fmla="*/ 89 h 107"/>
                      <a:gd name="T6" fmla="*/ 60 w 129"/>
                      <a:gd name="T7" fmla="*/ 91 h 107"/>
                      <a:gd name="T8" fmla="*/ 86 w 129"/>
                      <a:gd name="T9" fmla="*/ 54 h 107"/>
                      <a:gd name="T10" fmla="*/ 100 w 129"/>
                      <a:gd name="T11" fmla="*/ 57 h 107"/>
                      <a:gd name="T12" fmla="*/ 120 w 129"/>
                      <a:gd name="T13" fmla="*/ 32 h 107"/>
                      <a:gd name="T14" fmla="*/ 119 w 129"/>
                      <a:gd name="T15" fmla="*/ 25 h 107"/>
                      <a:gd name="T16" fmla="*/ 129 w 129"/>
                      <a:gd name="T17" fmla="*/ 17 h 107"/>
                      <a:gd name="T18" fmla="*/ 122 w 129"/>
                      <a:gd name="T19" fmla="*/ 10 h 107"/>
                      <a:gd name="T20" fmla="*/ 101 w 129"/>
                      <a:gd name="T21" fmla="*/ 10 h 107"/>
                      <a:gd name="T22" fmla="*/ 86 w 129"/>
                      <a:gd name="T23" fmla="*/ 9 h 107"/>
                      <a:gd name="T24" fmla="*/ 76 w 129"/>
                      <a:gd name="T25" fmla="*/ 0 h 107"/>
                      <a:gd name="T26" fmla="*/ 60 w 129"/>
                      <a:gd name="T27" fmla="*/ 1 h 107"/>
                      <a:gd name="T28" fmla="*/ 54 w 129"/>
                      <a:gd name="T29" fmla="*/ 10 h 107"/>
                      <a:gd name="T30" fmla="*/ 54 w 129"/>
                      <a:gd name="T31" fmla="*/ 20 h 107"/>
                      <a:gd name="T32" fmla="*/ 54 w 129"/>
                      <a:gd name="T33" fmla="*/ 41 h 107"/>
                      <a:gd name="T34" fmla="*/ 44 w 129"/>
                      <a:gd name="T35" fmla="*/ 44 h 107"/>
                      <a:gd name="T36" fmla="*/ 38 w 129"/>
                      <a:gd name="T37" fmla="*/ 53 h 107"/>
                      <a:gd name="T38" fmla="*/ 16 w 129"/>
                      <a:gd name="T39" fmla="*/ 75 h 107"/>
                      <a:gd name="T40" fmla="*/ 0 w 129"/>
                      <a:gd name="T41" fmla="*/ 79 h 10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</a:cxnLst>
                    <a:rect l="0" t="0" r="r" b="b"/>
                    <a:pathLst>
                      <a:path w="129" h="107">
                        <a:moveTo>
                          <a:pt x="0" y="79"/>
                        </a:moveTo>
                        <a:lnTo>
                          <a:pt x="30" y="107"/>
                        </a:lnTo>
                        <a:lnTo>
                          <a:pt x="48" y="89"/>
                        </a:lnTo>
                        <a:lnTo>
                          <a:pt x="60" y="91"/>
                        </a:lnTo>
                        <a:lnTo>
                          <a:pt x="86" y="54"/>
                        </a:lnTo>
                        <a:lnTo>
                          <a:pt x="100" y="57"/>
                        </a:lnTo>
                        <a:lnTo>
                          <a:pt x="120" y="32"/>
                        </a:lnTo>
                        <a:lnTo>
                          <a:pt x="119" y="25"/>
                        </a:lnTo>
                        <a:lnTo>
                          <a:pt x="129" y="17"/>
                        </a:lnTo>
                        <a:lnTo>
                          <a:pt x="122" y="10"/>
                        </a:lnTo>
                        <a:lnTo>
                          <a:pt x="101" y="10"/>
                        </a:lnTo>
                        <a:lnTo>
                          <a:pt x="86" y="9"/>
                        </a:lnTo>
                        <a:lnTo>
                          <a:pt x="76" y="0"/>
                        </a:lnTo>
                        <a:lnTo>
                          <a:pt x="60" y="1"/>
                        </a:lnTo>
                        <a:lnTo>
                          <a:pt x="54" y="10"/>
                        </a:lnTo>
                        <a:lnTo>
                          <a:pt x="54" y="20"/>
                        </a:lnTo>
                        <a:lnTo>
                          <a:pt x="54" y="41"/>
                        </a:lnTo>
                        <a:lnTo>
                          <a:pt x="44" y="44"/>
                        </a:lnTo>
                        <a:lnTo>
                          <a:pt x="38" y="53"/>
                        </a:lnTo>
                        <a:lnTo>
                          <a:pt x="16" y="75"/>
                        </a:lnTo>
                        <a:lnTo>
                          <a:pt x="0" y="79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0" cap="flat" cmpd="sng">
                        <a:solidFill>
                          <a:schemeClr val="bg2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pt-BR"/>
                  </a:p>
                </p:txBody>
              </p:sp>
              <p:sp>
                <p:nvSpPr>
                  <p:cNvPr id="62" name="Freeform 43"/>
                  <p:cNvSpPr>
                    <a:spLocks/>
                  </p:cNvSpPr>
                  <p:nvPr/>
                </p:nvSpPr>
                <p:spPr bwMode="auto">
                  <a:xfrm>
                    <a:off x="4106" y="3193"/>
                    <a:ext cx="23" cy="19"/>
                  </a:xfrm>
                  <a:custGeom>
                    <a:avLst/>
                    <a:gdLst>
                      <a:gd name="T0" fmla="*/ 0 w 68"/>
                      <a:gd name="T1" fmla="*/ 31 h 57"/>
                      <a:gd name="T2" fmla="*/ 24 w 68"/>
                      <a:gd name="T3" fmla="*/ 13 h 57"/>
                      <a:gd name="T4" fmla="*/ 33 w 68"/>
                      <a:gd name="T5" fmla="*/ 13 h 57"/>
                      <a:gd name="T6" fmla="*/ 33 w 68"/>
                      <a:gd name="T7" fmla="*/ 6 h 57"/>
                      <a:gd name="T8" fmla="*/ 37 w 68"/>
                      <a:gd name="T9" fmla="*/ 0 h 57"/>
                      <a:gd name="T10" fmla="*/ 46 w 68"/>
                      <a:gd name="T11" fmla="*/ 3 h 57"/>
                      <a:gd name="T12" fmla="*/ 59 w 68"/>
                      <a:gd name="T13" fmla="*/ 15 h 57"/>
                      <a:gd name="T14" fmla="*/ 59 w 68"/>
                      <a:gd name="T15" fmla="*/ 22 h 57"/>
                      <a:gd name="T16" fmla="*/ 68 w 68"/>
                      <a:gd name="T17" fmla="*/ 25 h 57"/>
                      <a:gd name="T18" fmla="*/ 66 w 68"/>
                      <a:gd name="T19" fmla="*/ 37 h 57"/>
                      <a:gd name="T20" fmla="*/ 59 w 68"/>
                      <a:gd name="T21" fmla="*/ 38 h 57"/>
                      <a:gd name="T22" fmla="*/ 59 w 68"/>
                      <a:gd name="T23" fmla="*/ 47 h 57"/>
                      <a:gd name="T24" fmla="*/ 49 w 68"/>
                      <a:gd name="T25" fmla="*/ 57 h 57"/>
                      <a:gd name="T26" fmla="*/ 16 w 68"/>
                      <a:gd name="T27" fmla="*/ 57 h 57"/>
                      <a:gd name="T28" fmla="*/ 13 w 68"/>
                      <a:gd name="T29" fmla="*/ 48 h 57"/>
                      <a:gd name="T30" fmla="*/ 0 w 68"/>
                      <a:gd name="T31" fmla="*/ 31 h 5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</a:cxnLst>
                    <a:rect l="0" t="0" r="r" b="b"/>
                    <a:pathLst>
                      <a:path w="68" h="57">
                        <a:moveTo>
                          <a:pt x="0" y="31"/>
                        </a:moveTo>
                        <a:lnTo>
                          <a:pt x="24" y="13"/>
                        </a:lnTo>
                        <a:lnTo>
                          <a:pt x="33" y="13"/>
                        </a:lnTo>
                        <a:lnTo>
                          <a:pt x="33" y="6"/>
                        </a:lnTo>
                        <a:lnTo>
                          <a:pt x="37" y="0"/>
                        </a:lnTo>
                        <a:lnTo>
                          <a:pt x="46" y="3"/>
                        </a:lnTo>
                        <a:lnTo>
                          <a:pt x="59" y="15"/>
                        </a:lnTo>
                        <a:lnTo>
                          <a:pt x="59" y="22"/>
                        </a:lnTo>
                        <a:lnTo>
                          <a:pt x="68" y="25"/>
                        </a:lnTo>
                        <a:lnTo>
                          <a:pt x="66" y="37"/>
                        </a:lnTo>
                        <a:lnTo>
                          <a:pt x="59" y="38"/>
                        </a:lnTo>
                        <a:lnTo>
                          <a:pt x="59" y="47"/>
                        </a:lnTo>
                        <a:lnTo>
                          <a:pt x="49" y="57"/>
                        </a:lnTo>
                        <a:lnTo>
                          <a:pt x="16" y="57"/>
                        </a:lnTo>
                        <a:lnTo>
                          <a:pt x="13" y="48"/>
                        </a:lnTo>
                        <a:lnTo>
                          <a:pt x="0" y="31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0" cap="flat" cmpd="sng">
                        <a:solidFill>
                          <a:schemeClr val="bg2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pt-BR"/>
                  </a:p>
                </p:txBody>
              </p:sp>
              <p:sp>
                <p:nvSpPr>
                  <p:cNvPr id="63" name="Freeform 44"/>
                  <p:cNvSpPr>
                    <a:spLocks/>
                  </p:cNvSpPr>
                  <p:nvPr/>
                </p:nvSpPr>
                <p:spPr bwMode="auto">
                  <a:xfrm>
                    <a:off x="4017" y="3108"/>
                    <a:ext cx="78" cy="132"/>
                  </a:xfrm>
                  <a:custGeom>
                    <a:avLst/>
                    <a:gdLst>
                      <a:gd name="T0" fmla="*/ 0 w 235"/>
                      <a:gd name="T1" fmla="*/ 82 h 395"/>
                      <a:gd name="T2" fmla="*/ 9 w 235"/>
                      <a:gd name="T3" fmla="*/ 70 h 395"/>
                      <a:gd name="T4" fmla="*/ 48 w 235"/>
                      <a:gd name="T5" fmla="*/ 30 h 395"/>
                      <a:gd name="T6" fmla="*/ 72 w 235"/>
                      <a:gd name="T7" fmla="*/ 14 h 395"/>
                      <a:gd name="T8" fmla="*/ 83 w 235"/>
                      <a:gd name="T9" fmla="*/ 13 h 395"/>
                      <a:gd name="T10" fmla="*/ 104 w 235"/>
                      <a:gd name="T11" fmla="*/ 2 h 395"/>
                      <a:gd name="T12" fmla="*/ 142 w 235"/>
                      <a:gd name="T13" fmla="*/ 16 h 395"/>
                      <a:gd name="T14" fmla="*/ 151 w 235"/>
                      <a:gd name="T15" fmla="*/ 30 h 395"/>
                      <a:gd name="T16" fmla="*/ 173 w 235"/>
                      <a:gd name="T17" fmla="*/ 30 h 395"/>
                      <a:gd name="T18" fmla="*/ 191 w 235"/>
                      <a:gd name="T19" fmla="*/ 94 h 395"/>
                      <a:gd name="T20" fmla="*/ 213 w 235"/>
                      <a:gd name="T21" fmla="*/ 139 h 395"/>
                      <a:gd name="T22" fmla="*/ 225 w 235"/>
                      <a:gd name="T23" fmla="*/ 183 h 395"/>
                      <a:gd name="T24" fmla="*/ 226 w 235"/>
                      <a:gd name="T25" fmla="*/ 235 h 395"/>
                      <a:gd name="T26" fmla="*/ 210 w 235"/>
                      <a:gd name="T27" fmla="*/ 248 h 395"/>
                      <a:gd name="T28" fmla="*/ 185 w 235"/>
                      <a:gd name="T29" fmla="*/ 267 h 395"/>
                      <a:gd name="T30" fmla="*/ 173 w 235"/>
                      <a:gd name="T31" fmla="*/ 291 h 395"/>
                      <a:gd name="T32" fmla="*/ 157 w 235"/>
                      <a:gd name="T33" fmla="*/ 297 h 395"/>
                      <a:gd name="T34" fmla="*/ 145 w 235"/>
                      <a:gd name="T35" fmla="*/ 317 h 395"/>
                      <a:gd name="T36" fmla="*/ 128 w 235"/>
                      <a:gd name="T37" fmla="*/ 344 h 395"/>
                      <a:gd name="T38" fmla="*/ 123 w 235"/>
                      <a:gd name="T39" fmla="*/ 377 h 395"/>
                      <a:gd name="T40" fmla="*/ 113 w 235"/>
                      <a:gd name="T41" fmla="*/ 395 h 395"/>
                      <a:gd name="T42" fmla="*/ 83 w 235"/>
                      <a:gd name="T43" fmla="*/ 394 h 395"/>
                      <a:gd name="T44" fmla="*/ 53 w 235"/>
                      <a:gd name="T45" fmla="*/ 370 h 395"/>
                      <a:gd name="T46" fmla="*/ 51 w 235"/>
                      <a:gd name="T47" fmla="*/ 348 h 395"/>
                      <a:gd name="T48" fmla="*/ 39 w 235"/>
                      <a:gd name="T49" fmla="*/ 319 h 395"/>
                      <a:gd name="T50" fmla="*/ 39 w 235"/>
                      <a:gd name="T51" fmla="*/ 291 h 395"/>
                      <a:gd name="T52" fmla="*/ 44 w 235"/>
                      <a:gd name="T53" fmla="*/ 274 h 395"/>
                      <a:gd name="T54" fmla="*/ 50 w 235"/>
                      <a:gd name="T55" fmla="*/ 251 h 395"/>
                      <a:gd name="T56" fmla="*/ 36 w 235"/>
                      <a:gd name="T57" fmla="*/ 224 h 395"/>
                      <a:gd name="T58" fmla="*/ 38 w 235"/>
                      <a:gd name="T59" fmla="*/ 182 h 395"/>
                      <a:gd name="T60" fmla="*/ 29 w 235"/>
                      <a:gd name="T61" fmla="*/ 138 h 395"/>
                      <a:gd name="T62" fmla="*/ 0 w 235"/>
                      <a:gd name="T63" fmla="*/ 117 h 39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</a:cxnLst>
                    <a:rect l="0" t="0" r="r" b="b"/>
                    <a:pathLst>
                      <a:path w="235" h="395">
                        <a:moveTo>
                          <a:pt x="0" y="117"/>
                        </a:moveTo>
                        <a:lnTo>
                          <a:pt x="0" y="82"/>
                        </a:lnTo>
                        <a:lnTo>
                          <a:pt x="10" y="77"/>
                        </a:lnTo>
                        <a:lnTo>
                          <a:pt x="9" y="70"/>
                        </a:lnTo>
                        <a:lnTo>
                          <a:pt x="34" y="41"/>
                        </a:lnTo>
                        <a:lnTo>
                          <a:pt x="48" y="30"/>
                        </a:lnTo>
                        <a:lnTo>
                          <a:pt x="56" y="25"/>
                        </a:lnTo>
                        <a:lnTo>
                          <a:pt x="72" y="14"/>
                        </a:lnTo>
                        <a:lnTo>
                          <a:pt x="76" y="14"/>
                        </a:lnTo>
                        <a:lnTo>
                          <a:pt x="83" y="13"/>
                        </a:lnTo>
                        <a:lnTo>
                          <a:pt x="91" y="4"/>
                        </a:lnTo>
                        <a:lnTo>
                          <a:pt x="104" y="2"/>
                        </a:lnTo>
                        <a:lnTo>
                          <a:pt x="128" y="0"/>
                        </a:lnTo>
                        <a:lnTo>
                          <a:pt x="142" y="16"/>
                        </a:lnTo>
                        <a:lnTo>
                          <a:pt x="141" y="25"/>
                        </a:lnTo>
                        <a:lnTo>
                          <a:pt x="151" y="30"/>
                        </a:lnTo>
                        <a:lnTo>
                          <a:pt x="172" y="7"/>
                        </a:lnTo>
                        <a:lnTo>
                          <a:pt x="173" y="30"/>
                        </a:lnTo>
                        <a:lnTo>
                          <a:pt x="183" y="64"/>
                        </a:lnTo>
                        <a:lnTo>
                          <a:pt x="191" y="94"/>
                        </a:lnTo>
                        <a:lnTo>
                          <a:pt x="211" y="123"/>
                        </a:lnTo>
                        <a:lnTo>
                          <a:pt x="213" y="139"/>
                        </a:lnTo>
                        <a:lnTo>
                          <a:pt x="217" y="170"/>
                        </a:lnTo>
                        <a:lnTo>
                          <a:pt x="225" y="183"/>
                        </a:lnTo>
                        <a:lnTo>
                          <a:pt x="235" y="214"/>
                        </a:lnTo>
                        <a:lnTo>
                          <a:pt x="226" y="235"/>
                        </a:lnTo>
                        <a:lnTo>
                          <a:pt x="225" y="244"/>
                        </a:lnTo>
                        <a:lnTo>
                          <a:pt x="210" y="248"/>
                        </a:lnTo>
                        <a:lnTo>
                          <a:pt x="194" y="260"/>
                        </a:lnTo>
                        <a:lnTo>
                          <a:pt x="185" y="267"/>
                        </a:lnTo>
                        <a:lnTo>
                          <a:pt x="188" y="276"/>
                        </a:lnTo>
                        <a:lnTo>
                          <a:pt x="173" y="291"/>
                        </a:lnTo>
                        <a:lnTo>
                          <a:pt x="163" y="297"/>
                        </a:lnTo>
                        <a:lnTo>
                          <a:pt x="157" y="297"/>
                        </a:lnTo>
                        <a:lnTo>
                          <a:pt x="142" y="307"/>
                        </a:lnTo>
                        <a:lnTo>
                          <a:pt x="145" y="317"/>
                        </a:lnTo>
                        <a:lnTo>
                          <a:pt x="128" y="330"/>
                        </a:lnTo>
                        <a:lnTo>
                          <a:pt x="128" y="344"/>
                        </a:lnTo>
                        <a:lnTo>
                          <a:pt x="123" y="360"/>
                        </a:lnTo>
                        <a:lnTo>
                          <a:pt x="123" y="377"/>
                        </a:lnTo>
                        <a:lnTo>
                          <a:pt x="120" y="388"/>
                        </a:lnTo>
                        <a:lnTo>
                          <a:pt x="113" y="395"/>
                        </a:lnTo>
                        <a:lnTo>
                          <a:pt x="97" y="395"/>
                        </a:lnTo>
                        <a:lnTo>
                          <a:pt x="83" y="394"/>
                        </a:lnTo>
                        <a:lnTo>
                          <a:pt x="63" y="382"/>
                        </a:lnTo>
                        <a:lnTo>
                          <a:pt x="53" y="370"/>
                        </a:lnTo>
                        <a:lnTo>
                          <a:pt x="51" y="360"/>
                        </a:lnTo>
                        <a:lnTo>
                          <a:pt x="51" y="348"/>
                        </a:lnTo>
                        <a:lnTo>
                          <a:pt x="44" y="330"/>
                        </a:lnTo>
                        <a:lnTo>
                          <a:pt x="39" y="319"/>
                        </a:lnTo>
                        <a:lnTo>
                          <a:pt x="41" y="307"/>
                        </a:lnTo>
                        <a:lnTo>
                          <a:pt x="39" y="291"/>
                        </a:lnTo>
                        <a:lnTo>
                          <a:pt x="32" y="286"/>
                        </a:lnTo>
                        <a:lnTo>
                          <a:pt x="44" y="274"/>
                        </a:lnTo>
                        <a:lnTo>
                          <a:pt x="51" y="260"/>
                        </a:lnTo>
                        <a:lnTo>
                          <a:pt x="50" y="251"/>
                        </a:lnTo>
                        <a:lnTo>
                          <a:pt x="45" y="238"/>
                        </a:lnTo>
                        <a:lnTo>
                          <a:pt x="36" y="224"/>
                        </a:lnTo>
                        <a:lnTo>
                          <a:pt x="41" y="204"/>
                        </a:lnTo>
                        <a:lnTo>
                          <a:pt x="38" y="182"/>
                        </a:lnTo>
                        <a:lnTo>
                          <a:pt x="34" y="161"/>
                        </a:lnTo>
                        <a:lnTo>
                          <a:pt x="29" y="138"/>
                        </a:lnTo>
                        <a:lnTo>
                          <a:pt x="16" y="129"/>
                        </a:lnTo>
                        <a:lnTo>
                          <a:pt x="0" y="117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0" cap="flat" cmpd="sng">
                        <a:solidFill>
                          <a:schemeClr val="bg2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pt-BR"/>
                  </a:p>
                </p:txBody>
              </p:sp>
              <p:sp>
                <p:nvSpPr>
                  <p:cNvPr id="64" name="Freeform 45"/>
                  <p:cNvSpPr>
                    <a:spLocks/>
                  </p:cNvSpPr>
                  <p:nvPr/>
                </p:nvSpPr>
                <p:spPr bwMode="auto">
                  <a:xfrm>
                    <a:off x="3997" y="3297"/>
                    <a:ext cx="25" cy="26"/>
                  </a:xfrm>
                  <a:custGeom>
                    <a:avLst/>
                    <a:gdLst>
                      <a:gd name="T0" fmla="*/ 0 w 77"/>
                      <a:gd name="T1" fmla="*/ 56 h 78"/>
                      <a:gd name="T2" fmla="*/ 28 w 77"/>
                      <a:gd name="T3" fmla="*/ 66 h 78"/>
                      <a:gd name="T4" fmla="*/ 47 w 77"/>
                      <a:gd name="T5" fmla="*/ 68 h 78"/>
                      <a:gd name="T6" fmla="*/ 61 w 77"/>
                      <a:gd name="T7" fmla="*/ 74 h 78"/>
                      <a:gd name="T8" fmla="*/ 68 w 77"/>
                      <a:gd name="T9" fmla="*/ 78 h 78"/>
                      <a:gd name="T10" fmla="*/ 77 w 77"/>
                      <a:gd name="T11" fmla="*/ 63 h 78"/>
                      <a:gd name="T12" fmla="*/ 74 w 77"/>
                      <a:gd name="T13" fmla="*/ 54 h 78"/>
                      <a:gd name="T14" fmla="*/ 77 w 77"/>
                      <a:gd name="T15" fmla="*/ 46 h 78"/>
                      <a:gd name="T16" fmla="*/ 72 w 77"/>
                      <a:gd name="T17" fmla="*/ 37 h 78"/>
                      <a:gd name="T18" fmla="*/ 67 w 77"/>
                      <a:gd name="T19" fmla="*/ 43 h 78"/>
                      <a:gd name="T20" fmla="*/ 47 w 77"/>
                      <a:gd name="T21" fmla="*/ 22 h 78"/>
                      <a:gd name="T22" fmla="*/ 47 w 77"/>
                      <a:gd name="T23" fmla="*/ 7 h 78"/>
                      <a:gd name="T24" fmla="*/ 56 w 77"/>
                      <a:gd name="T25" fmla="*/ 2 h 78"/>
                      <a:gd name="T26" fmla="*/ 50 w 77"/>
                      <a:gd name="T27" fmla="*/ 0 h 78"/>
                      <a:gd name="T28" fmla="*/ 30 w 77"/>
                      <a:gd name="T29" fmla="*/ 9 h 78"/>
                      <a:gd name="T30" fmla="*/ 30 w 77"/>
                      <a:gd name="T31" fmla="*/ 19 h 78"/>
                      <a:gd name="T32" fmla="*/ 25 w 77"/>
                      <a:gd name="T33" fmla="*/ 34 h 78"/>
                      <a:gd name="T34" fmla="*/ 15 w 77"/>
                      <a:gd name="T35" fmla="*/ 50 h 78"/>
                      <a:gd name="T36" fmla="*/ 0 w 77"/>
                      <a:gd name="T37" fmla="*/ 56 h 7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77" h="78">
                        <a:moveTo>
                          <a:pt x="0" y="56"/>
                        </a:moveTo>
                        <a:lnTo>
                          <a:pt x="28" y="66"/>
                        </a:lnTo>
                        <a:lnTo>
                          <a:pt x="47" y="68"/>
                        </a:lnTo>
                        <a:lnTo>
                          <a:pt x="61" y="74"/>
                        </a:lnTo>
                        <a:lnTo>
                          <a:pt x="68" y="78"/>
                        </a:lnTo>
                        <a:lnTo>
                          <a:pt x="77" y="63"/>
                        </a:lnTo>
                        <a:lnTo>
                          <a:pt x="74" y="54"/>
                        </a:lnTo>
                        <a:lnTo>
                          <a:pt x="77" y="46"/>
                        </a:lnTo>
                        <a:lnTo>
                          <a:pt x="72" y="37"/>
                        </a:lnTo>
                        <a:lnTo>
                          <a:pt x="67" y="43"/>
                        </a:lnTo>
                        <a:lnTo>
                          <a:pt x="47" y="22"/>
                        </a:lnTo>
                        <a:lnTo>
                          <a:pt x="47" y="7"/>
                        </a:lnTo>
                        <a:lnTo>
                          <a:pt x="56" y="2"/>
                        </a:lnTo>
                        <a:lnTo>
                          <a:pt x="50" y="0"/>
                        </a:lnTo>
                        <a:lnTo>
                          <a:pt x="30" y="9"/>
                        </a:lnTo>
                        <a:lnTo>
                          <a:pt x="30" y="19"/>
                        </a:lnTo>
                        <a:lnTo>
                          <a:pt x="25" y="34"/>
                        </a:lnTo>
                        <a:lnTo>
                          <a:pt x="15" y="50"/>
                        </a:lnTo>
                        <a:lnTo>
                          <a:pt x="0" y="56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0" cap="flat" cmpd="sng">
                        <a:solidFill>
                          <a:schemeClr val="bg2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pt-BR"/>
                  </a:p>
                </p:txBody>
              </p:sp>
            </p:grpSp>
          </p:grpSp>
          <p:grpSp>
            <p:nvGrpSpPr>
              <p:cNvPr id="40" name="Group 46"/>
              <p:cNvGrpSpPr>
                <a:grpSpLocks/>
              </p:cNvGrpSpPr>
              <p:nvPr/>
            </p:nvGrpSpPr>
            <p:grpSpPr bwMode="auto">
              <a:xfrm>
                <a:off x="4024" y="2975"/>
                <a:ext cx="13" cy="19"/>
                <a:chOff x="4024" y="2975"/>
                <a:chExt cx="13" cy="19"/>
              </a:xfrm>
            </p:grpSpPr>
            <p:sp>
              <p:nvSpPr>
                <p:cNvPr id="50" name="Freeform 47"/>
                <p:cNvSpPr>
                  <a:spLocks/>
                </p:cNvSpPr>
                <p:nvPr/>
              </p:nvSpPr>
              <p:spPr bwMode="auto">
                <a:xfrm>
                  <a:off x="4024" y="2985"/>
                  <a:ext cx="13" cy="9"/>
                </a:xfrm>
                <a:custGeom>
                  <a:avLst/>
                  <a:gdLst>
                    <a:gd name="T0" fmla="*/ 0 w 37"/>
                    <a:gd name="T1" fmla="*/ 19 h 27"/>
                    <a:gd name="T2" fmla="*/ 37 w 37"/>
                    <a:gd name="T3" fmla="*/ 27 h 27"/>
                    <a:gd name="T4" fmla="*/ 34 w 37"/>
                    <a:gd name="T5" fmla="*/ 11 h 27"/>
                    <a:gd name="T6" fmla="*/ 34 w 37"/>
                    <a:gd name="T7" fmla="*/ 0 h 27"/>
                    <a:gd name="T8" fmla="*/ 17 w 37"/>
                    <a:gd name="T9" fmla="*/ 7 h 27"/>
                    <a:gd name="T10" fmla="*/ 0 w 37"/>
                    <a:gd name="T11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7" h="27">
                      <a:moveTo>
                        <a:pt x="0" y="19"/>
                      </a:moveTo>
                      <a:lnTo>
                        <a:pt x="37" y="27"/>
                      </a:lnTo>
                      <a:lnTo>
                        <a:pt x="34" y="11"/>
                      </a:lnTo>
                      <a:lnTo>
                        <a:pt x="34" y="0"/>
                      </a:lnTo>
                      <a:lnTo>
                        <a:pt x="17" y="7"/>
                      </a:lnTo>
                      <a:lnTo>
                        <a:pt x="0" y="19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0" cap="flat" cmpd="sng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51" name="Freeform 48"/>
                <p:cNvSpPr>
                  <a:spLocks/>
                </p:cNvSpPr>
                <p:nvPr/>
              </p:nvSpPr>
              <p:spPr bwMode="auto">
                <a:xfrm>
                  <a:off x="4025" y="2975"/>
                  <a:ext cx="9" cy="4"/>
                </a:xfrm>
                <a:custGeom>
                  <a:avLst/>
                  <a:gdLst>
                    <a:gd name="T0" fmla="*/ 0 w 28"/>
                    <a:gd name="T1" fmla="*/ 8 h 14"/>
                    <a:gd name="T2" fmla="*/ 28 w 28"/>
                    <a:gd name="T3" fmla="*/ 0 h 14"/>
                    <a:gd name="T4" fmla="*/ 27 w 28"/>
                    <a:gd name="T5" fmla="*/ 14 h 14"/>
                    <a:gd name="T6" fmla="*/ 0 w 28"/>
                    <a:gd name="T7" fmla="*/ 8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8" h="14">
                      <a:moveTo>
                        <a:pt x="0" y="8"/>
                      </a:moveTo>
                      <a:lnTo>
                        <a:pt x="28" y="0"/>
                      </a:lnTo>
                      <a:lnTo>
                        <a:pt x="27" y="14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0" cap="flat" cmpd="sng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pt-BR"/>
                </a:p>
              </p:txBody>
            </p:sp>
          </p:grpSp>
          <p:sp>
            <p:nvSpPr>
              <p:cNvPr id="41" name="Freeform 49"/>
              <p:cNvSpPr>
                <a:spLocks/>
              </p:cNvSpPr>
              <p:nvPr/>
            </p:nvSpPr>
            <p:spPr bwMode="auto">
              <a:xfrm>
                <a:off x="4205" y="3271"/>
                <a:ext cx="379" cy="492"/>
              </a:xfrm>
              <a:custGeom>
                <a:avLst/>
                <a:gdLst>
                  <a:gd name="T0" fmla="*/ 159 w 1136"/>
                  <a:gd name="T1" fmla="*/ 198 h 1477"/>
                  <a:gd name="T2" fmla="*/ 221 w 1136"/>
                  <a:gd name="T3" fmla="*/ 136 h 1477"/>
                  <a:gd name="T4" fmla="*/ 312 w 1136"/>
                  <a:gd name="T5" fmla="*/ 157 h 1477"/>
                  <a:gd name="T6" fmla="*/ 353 w 1136"/>
                  <a:gd name="T7" fmla="*/ 142 h 1477"/>
                  <a:gd name="T8" fmla="*/ 390 w 1136"/>
                  <a:gd name="T9" fmla="*/ 132 h 1477"/>
                  <a:gd name="T10" fmla="*/ 456 w 1136"/>
                  <a:gd name="T11" fmla="*/ 116 h 1477"/>
                  <a:gd name="T12" fmla="*/ 466 w 1136"/>
                  <a:gd name="T13" fmla="*/ 50 h 1477"/>
                  <a:gd name="T14" fmla="*/ 538 w 1136"/>
                  <a:gd name="T15" fmla="*/ 8 h 1477"/>
                  <a:gd name="T16" fmla="*/ 584 w 1136"/>
                  <a:gd name="T17" fmla="*/ 0 h 1477"/>
                  <a:gd name="T18" fmla="*/ 650 w 1136"/>
                  <a:gd name="T19" fmla="*/ 25 h 1477"/>
                  <a:gd name="T20" fmla="*/ 701 w 1136"/>
                  <a:gd name="T21" fmla="*/ 45 h 1477"/>
                  <a:gd name="T22" fmla="*/ 767 w 1136"/>
                  <a:gd name="T23" fmla="*/ 81 h 1477"/>
                  <a:gd name="T24" fmla="*/ 823 w 1136"/>
                  <a:gd name="T25" fmla="*/ 147 h 1477"/>
                  <a:gd name="T26" fmla="*/ 936 w 1136"/>
                  <a:gd name="T27" fmla="*/ 153 h 1477"/>
                  <a:gd name="T28" fmla="*/ 1042 w 1136"/>
                  <a:gd name="T29" fmla="*/ 122 h 1477"/>
                  <a:gd name="T30" fmla="*/ 1063 w 1136"/>
                  <a:gd name="T31" fmla="*/ 60 h 1477"/>
                  <a:gd name="T32" fmla="*/ 1100 w 1136"/>
                  <a:gd name="T33" fmla="*/ 91 h 1477"/>
                  <a:gd name="T34" fmla="*/ 1120 w 1136"/>
                  <a:gd name="T35" fmla="*/ 208 h 1477"/>
                  <a:gd name="T36" fmla="*/ 1094 w 1136"/>
                  <a:gd name="T37" fmla="*/ 291 h 1477"/>
                  <a:gd name="T38" fmla="*/ 1114 w 1136"/>
                  <a:gd name="T39" fmla="*/ 347 h 1477"/>
                  <a:gd name="T40" fmla="*/ 1089 w 1136"/>
                  <a:gd name="T41" fmla="*/ 444 h 1477"/>
                  <a:gd name="T42" fmla="*/ 1058 w 1136"/>
                  <a:gd name="T43" fmla="*/ 504 h 1477"/>
                  <a:gd name="T44" fmla="*/ 1073 w 1136"/>
                  <a:gd name="T45" fmla="*/ 586 h 1477"/>
                  <a:gd name="T46" fmla="*/ 1069 w 1136"/>
                  <a:gd name="T47" fmla="*/ 642 h 1477"/>
                  <a:gd name="T48" fmla="*/ 1094 w 1136"/>
                  <a:gd name="T49" fmla="*/ 694 h 1477"/>
                  <a:gd name="T50" fmla="*/ 1127 w 1136"/>
                  <a:gd name="T51" fmla="*/ 780 h 1477"/>
                  <a:gd name="T52" fmla="*/ 1088 w 1136"/>
                  <a:gd name="T53" fmla="*/ 942 h 1477"/>
                  <a:gd name="T54" fmla="*/ 1039 w 1136"/>
                  <a:gd name="T55" fmla="*/ 1071 h 1477"/>
                  <a:gd name="T56" fmla="*/ 970 w 1136"/>
                  <a:gd name="T57" fmla="*/ 1217 h 1477"/>
                  <a:gd name="T58" fmla="*/ 898 w 1136"/>
                  <a:gd name="T59" fmla="*/ 1339 h 1477"/>
                  <a:gd name="T60" fmla="*/ 811 w 1136"/>
                  <a:gd name="T61" fmla="*/ 1458 h 1477"/>
                  <a:gd name="T62" fmla="*/ 732 w 1136"/>
                  <a:gd name="T63" fmla="*/ 1467 h 1477"/>
                  <a:gd name="T64" fmla="*/ 722 w 1136"/>
                  <a:gd name="T65" fmla="*/ 1410 h 1477"/>
                  <a:gd name="T66" fmla="*/ 712 w 1136"/>
                  <a:gd name="T67" fmla="*/ 1354 h 1477"/>
                  <a:gd name="T68" fmla="*/ 695 w 1136"/>
                  <a:gd name="T69" fmla="*/ 1308 h 1477"/>
                  <a:gd name="T70" fmla="*/ 676 w 1136"/>
                  <a:gd name="T71" fmla="*/ 1195 h 1477"/>
                  <a:gd name="T72" fmla="*/ 645 w 1136"/>
                  <a:gd name="T73" fmla="*/ 1144 h 1477"/>
                  <a:gd name="T74" fmla="*/ 640 w 1136"/>
                  <a:gd name="T75" fmla="*/ 1067 h 1477"/>
                  <a:gd name="T76" fmla="*/ 645 w 1136"/>
                  <a:gd name="T77" fmla="*/ 1010 h 1477"/>
                  <a:gd name="T78" fmla="*/ 656 w 1136"/>
                  <a:gd name="T79" fmla="*/ 964 h 1477"/>
                  <a:gd name="T80" fmla="*/ 640 w 1136"/>
                  <a:gd name="T81" fmla="*/ 883 h 1477"/>
                  <a:gd name="T82" fmla="*/ 528 w 1136"/>
                  <a:gd name="T83" fmla="*/ 776 h 1477"/>
                  <a:gd name="T84" fmla="*/ 512 w 1136"/>
                  <a:gd name="T85" fmla="*/ 694 h 1477"/>
                  <a:gd name="T86" fmla="*/ 435 w 1136"/>
                  <a:gd name="T87" fmla="*/ 714 h 1477"/>
                  <a:gd name="T88" fmla="*/ 385 w 1136"/>
                  <a:gd name="T89" fmla="*/ 719 h 1477"/>
                  <a:gd name="T90" fmla="*/ 332 w 1136"/>
                  <a:gd name="T91" fmla="*/ 749 h 1477"/>
                  <a:gd name="T92" fmla="*/ 271 w 1136"/>
                  <a:gd name="T93" fmla="*/ 770 h 1477"/>
                  <a:gd name="T94" fmla="*/ 179 w 1136"/>
                  <a:gd name="T95" fmla="*/ 797 h 1477"/>
                  <a:gd name="T96" fmla="*/ 57 w 1136"/>
                  <a:gd name="T97" fmla="*/ 704 h 1477"/>
                  <a:gd name="T98" fmla="*/ 31 w 1136"/>
                  <a:gd name="T99" fmla="*/ 582 h 1477"/>
                  <a:gd name="T100" fmla="*/ 0 w 1136"/>
                  <a:gd name="T101" fmla="*/ 525 h 1477"/>
                  <a:gd name="T102" fmla="*/ 27 w 1136"/>
                  <a:gd name="T103" fmla="*/ 464 h 1477"/>
                  <a:gd name="T104" fmla="*/ 27 w 1136"/>
                  <a:gd name="T105" fmla="*/ 398 h 1477"/>
                  <a:gd name="T106" fmla="*/ 72 w 1136"/>
                  <a:gd name="T107" fmla="*/ 361 h 1477"/>
                  <a:gd name="T108" fmla="*/ 52 w 1136"/>
                  <a:gd name="T109" fmla="*/ 326 h 1477"/>
                  <a:gd name="T110" fmla="*/ 68 w 1136"/>
                  <a:gd name="T111" fmla="*/ 285 h 14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36" h="1477">
                    <a:moveTo>
                      <a:pt x="93" y="223"/>
                    </a:moveTo>
                    <a:lnTo>
                      <a:pt x="159" y="198"/>
                    </a:lnTo>
                    <a:lnTo>
                      <a:pt x="190" y="147"/>
                    </a:lnTo>
                    <a:lnTo>
                      <a:pt x="221" y="136"/>
                    </a:lnTo>
                    <a:lnTo>
                      <a:pt x="266" y="101"/>
                    </a:lnTo>
                    <a:lnTo>
                      <a:pt x="312" y="157"/>
                    </a:lnTo>
                    <a:lnTo>
                      <a:pt x="337" y="136"/>
                    </a:lnTo>
                    <a:lnTo>
                      <a:pt x="353" y="142"/>
                    </a:lnTo>
                    <a:lnTo>
                      <a:pt x="375" y="132"/>
                    </a:lnTo>
                    <a:lnTo>
                      <a:pt x="390" y="132"/>
                    </a:lnTo>
                    <a:lnTo>
                      <a:pt x="421" y="136"/>
                    </a:lnTo>
                    <a:lnTo>
                      <a:pt x="456" y="116"/>
                    </a:lnTo>
                    <a:lnTo>
                      <a:pt x="431" y="86"/>
                    </a:lnTo>
                    <a:lnTo>
                      <a:pt x="466" y="50"/>
                    </a:lnTo>
                    <a:lnTo>
                      <a:pt x="497" y="50"/>
                    </a:lnTo>
                    <a:lnTo>
                      <a:pt x="538" y="8"/>
                    </a:lnTo>
                    <a:lnTo>
                      <a:pt x="569" y="8"/>
                    </a:lnTo>
                    <a:lnTo>
                      <a:pt x="584" y="0"/>
                    </a:lnTo>
                    <a:lnTo>
                      <a:pt x="629" y="8"/>
                    </a:lnTo>
                    <a:lnTo>
                      <a:pt x="650" y="25"/>
                    </a:lnTo>
                    <a:lnTo>
                      <a:pt x="666" y="29"/>
                    </a:lnTo>
                    <a:lnTo>
                      <a:pt x="701" y="45"/>
                    </a:lnTo>
                    <a:lnTo>
                      <a:pt x="737" y="60"/>
                    </a:lnTo>
                    <a:lnTo>
                      <a:pt x="767" y="81"/>
                    </a:lnTo>
                    <a:lnTo>
                      <a:pt x="809" y="122"/>
                    </a:lnTo>
                    <a:lnTo>
                      <a:pt x="823" y="147"/>
                    </a:lnTo>
                    <a:lnTo>
                      <a:pt x="869" y="142"/>
                    </a:lnTo>
                    <a:lnTo>
                      <a:pt x="936" y="153"/>
                    </a:lnTo>
                    <a:lnTo>
                      <a:pt x="972" y="173"/>
                    </a:lnTo>
                    <a:lnTo>
                      <a:pt x="1042" y="122"/>
                    </a:lnTo>
                    <a:lnTo>
                      <a:pt x="1038" y="91"/>
                    </a:lnTo>
                    <a:lnTo>
                      <a:pt x="1063" y="60"/>
                    </a:lnTo>
                    <a:lnTo>
                      <a:pt x="1089" y="50"/>
                    </a:lnTo>
                    <a:lnTo>
                      <a:pt x="1100" y="91"/>
                    </a:lnTo>
                    <a:lnTo>
                      <a:pt x="1104" y="147"/>
                    </a:lnTo>
                    <a:lnTo>
                      <a:pt x="1120" y="208"/>
                    </a:lnTo>
                    <a:lnTo>
                      <a:pt x="1120" y="254"/>
                    </a:lnTo>
                    <a:lnTo>
                      <a:pt x="1094" y="291"/>
                    </a:lnTo>
                    <a:lnTo>
                      <a:pt x="1125" y="301"/>
                    </a:lnTo>
                    <a:lnTo>
                      <a:pt x="1114" y="347"/>
                    </a:lnTo>
                    <a:lnTo>
                      <a:pt x="1104" y="403"/>
                    </a:lnTo>
                    <a:lnTo>
                      <a:pt x="1089" y="444"/>
                    </a:lnTo>
                    <a:lnTo>
                      <a:pt x="1069" y="479"/>
                    </a:lnTo>
                    <a:lnTo>
                      <a:pt x="1058" y="504"/>
                    </a:lnTo>
                    <a:lnTo>
                      <a:pt x="1063" y="541"/>
                    </a:lnTo>
                    <a:lnTo>
                      <a:pt x="1073" y="586"/>
                    </a:lnTo>
                    <a:lnTo>
                      <a:pt x="1063" y="617"/>
                    </a:lnTo>
                    <a:lnTo>
                      <a:pt x="1069" y="642"/>
                    </a:lnTo>
                    <a:lnTo>
                      <a:pt x="1079" y="663"/>
                    </a:lnTo>
                    <a:lnTo>
                      <a:pt x="1094" y="694"/>
                    </a:lnTo>
                    <a:lnTo>
                      <a:pt x="1136" y="741"/>
                    </a:lnTo>
                    <a:lnTo>
                      <a:pt x="1127" y="780"/>
                    </a:lnTo>
                    <a:lnTo>
                      <a:pt x="1110" y="858"/>
                    </a:lnTo>
                    <a:lnTo>
                      <a:pt x="1088" y="942"/>
                    </a:lnTo>
                    <a:lnTo>
                      <a:pt x="1067" y="1004"/>
                    </a:lnTo>
                    <a:lnTo>
                      <a:pt x="1039" y="1071"/>
                    </a:lnTo>
                    <a:lnTo>
                      <a:pt x="1003" y="1154"/>
                    </a:lnTo>
                    <a:lnTo>
                      <a:pt x="970" y="1217"/>
                    </a:lnTo>
                    <a:lnTo>
                      <a:pt x="932" y="1288"/>
                    </a:lnTo>
                    <a:lnTo>
                      <a:pt x="898" y="1339"/>
                    </a:lnTo>
                    <a:lnTo>
                      <a:pt x="861" y="1395"/>
                    </a:lnTo>
                    <a:lnTo>
                      <a:pt x="811" y="1458"/>
                    </a:lnTo>
                    <a:lnTo>
                      <a:pt x="769" y="1477"/>
                    </a:lnTo>
                    <a:lnTo>
                      <a:pt x="732" y="1467"/>
                    </a:lnTo>
                    <a:lnTo>
                      <a:pt x="712" y="1420"/>
                    </a:lnTo>
                    <a:lnTo>
                      <a:pt x="722" y="1410"/>
                    </a:lnTo>
                    <a:lnTo>
                      <a:pt x="732" y="1374"/>
                    </a:lnTo>
                    <a:lnTo>
                      <a:pt x="712" y="1354"/>
                    </a:lnTo>
                    <a:lnTo>
                      <a:pt x="712" y="1329"/>
                    </a:lnTo>
                    <a:lnTo>
                      <a:pt x="695" y="1308"/>
                    </a:lnTo>
                    <a:lnTo>
                      <a:pt x="695" y="1241"/>
                    </a:lnTo>
                    <a:lnTo>
                      <a:pt x="676" y="1195"/>
                    </a:lnTo>
                    <a:lnTo>
                      <a:pt x="666" y="1169"/>
                    </a:lnTo>
                    <a:lnTo>
                      <a:pt x="645" y="1144"/>
                    </a:lnTo>
                    <a:lnTo>
                      <a:pt x="615" y="1113"/>
                    </a:lnTo>
                    <a:lnTo>
                      <a:pt x="640" y="1067"/>
                    </a:lnTo>
                    <a:lnTo>
                      <a:pt x="645" y="1030"/>
                    </a:lnTo>
                    <a:lnTo>
                      <a:pt x="645" y="1010"/>
                    </a:lnTo>
                    <a:lnTo>
                      <a:pt x="666" y="995"/>
                    </a:lnTo>
                    <a:lnTo>
                      <a:pt x="656" y="964"/>
                    </a:lnTo>
                    <a:lnTo>
                      <a:pt x="650" y="923"/>
                    </a:lnTo>
                    <a:lnTo>
                      <a:pt x="640" y="883"/>
                    </a:lnTo>
                    <a:lnTo>
                      <a:pt x="538" y="801"/>
                    </a:lnTo>
                    <a:lnTo>
                      <a:pt x="528" y="776"/>
                    </a:lnTo>
                    <a:lnTo>
                      <a:pt x="538" y="719"/>
                    </a:lnTo>
                    <a:lnTo>
                      <a:pt x="512" y="694"/>
                    </a:lnTo>
                    <a:lnTo>
                      <a:pt x="487" y="708"/>
                    </a:lnTo>
                    <a:lnTo>
                      <a:pt x="435" y="714"/>
                    </a:lnTo>
                    <a:lnTo>
                      <a:pt x="416" y="689"/>
                    </a:lnTo>
                    <a:lnTo>
                      <a:pt x="385" y="719"/>
                    </a:lnTo>
                    <a:lnTo>
                      <a:pt x="368" y="749"/>
                    </a:lnTo>
                    <a:lnTo>
                      <a:pt x="332" y="749"/>
                    </a:lnTo>
                    <a:lnTo>
                      <a:pt x="307" y="770"/>
                    </a:lnTo>
                    <a:lnTo>
                      <a:pt x="271" y="770"/>
                    </a:lnTo>
                    <a:lnTo>
                      <a:pt x="231" y="801"/>
                    </a:lnTo>
                    <a:lnTo>
                      <a:pt x="179" y="797"/>
                    </a:lnTo>
                    <a:lnTo>
                      <a:pt x="113" y="745"/>
                    </a:lnTo>
                    <a:lnTo>
                      <a:pt x="57" y="704"/>
                    </a:lnTo>
                    <a:lnTo>
                      <a:pt x="31" y="673"/>
                    </a:lnTo>
                    <a:lnTo>
                      <a:pt x="31" y="582"/>
                    </a:lnTo>
                    <a:lnTo>
                      <a:pt x="0" y="555"/>
                    </a:lnTo>
                    <a:lnTo>
                      <a:pt x="0" y="525"/>
                    </a:lnTo>
                    <a:lnTo>
                      <a:pt x="6" y="500"/>
                    </a:lnTo>
                    <a:lnTo>
                      <a:pt x="27" y="464"/>
                    </a:lnTo>
                    <a:lnTo>
                      <a:pt x="10" y="433"/>
                    </a:lnTo>
                    <a:lnTo>
                      <a:pt x="27" y="398"/>
                    </a:lnTo>
                    <a:lnTo>
                      <a:pt x="52" y="382"/>
                    </a:lnTo>
                    <a:lnTo>
                      <a:pt x="72" y="361"/>
                    </a:lnTo>
                    <a:lnTo>
                      <a:pt x="72" y="341"/>
                    </a:lnTo>
                    <a:lnTo>
                      <a:pt x="52" y="326"/>
                    </a:lnTo>
                    <a:lnTo>
                      <a:pt x="52" y="301"/>
                    </a:lnTo>
                    <a:lnTo>
                      <a:pt x="68" y="285"/>
                    </a:lnTo>
                    <a:lnTo>
                      <a:pt x="93" y="223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0" cap="flat" cmpd="sng">
                    <a:solidFill>
                      <a:schemeClr val="bg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42" name="Freeform 50"/>
              <p:cNvSpPr>
                <a:spLocks/>
              </p:cNvSpPr>
              <p:nvPr/>
            </p:nvSpPr>
            <p:spPr bwMode="auto">
              <a:xfrm>
                <a:off x="3885" y="2882"/>
                <a:ext cx="656" cy="465"/>
              </a:xfrm>
              <a:custGeom>
                <a:avLst/>
                <a:gdLst>
                  <a:gd name="T0" fmla="*/ 1031 w 1968"/>
                  <a:gd name="T1" fmla="*/ 1391 h 1395"/>
                  <a:gd name="T2" fmla="*/ 1091 w 1968"/>
                  <a:gd name="T3" fmla="*/ 1257 h 1395"/>
                  <a:gd name="T4" fmla="*/ 1137 w 1968"/>
                  <a:gd name="T5" fmla="*/ 1190 h 1395"/>
                  <a:gd name="T6" fmla="*/ 1283 w 1968"/>
                  <a:gd name="T7" fmla="*/ 1154 h 1395"/>
                  <a:gd name="T8" fmla="*/ 1182 w 1968"/>
                  <a:gd name="T9" fmla="*/ 1097 h 1395"/>
                  <a:gd name="T10" fmla="*/ 1316 w 1968"/>
                  <a:gd name="T11" fmla="*/ 1140 h 1395"/>
                  <a:gd name="T12" fmla="*/ 1336 w 1968"/>
                  <a:gd name="T13" fmla="*/ 1074 h 1395"/>
                  <a:gd name="T14" fmla="*/ 1394 w 1968"/>
                  <a:gd name="T15" fmla="*/ 1087 h 1395"/>
                  <a:gd name="T16" fmla="*/ 1466 w 1968"/>
                  <a:gd name="T17" fmla="*/ 1053 h 1395"/>
                  <a:gd name="T18" fmla="*/ 1532 w 1968"/>
                  <a:gd name="T19" fmla="*/ 1051 h 1395"/>
                  <a:gd name="T20" fmla="*/ 1563 w 1968"/>
                  <a:gd name="T21" fmla="*/ 1148 h 1395"/>
                  <a:gd name="T22" fmla="*/ 1719 w 1968"/>
                  <a:gd name="T23" fmla="*/ 1179 h 1395"/>
                  <a:gd name="T24" fmla="*/ 1854 w 1968"/>
                  <a:gd name="T25" fmla="*/ 1251 h 1395"/>
                  <a:gd name="T26" fmla="*/ 1964 w 1968"/>
                  <a:gd name="T27" fmla="*/ 1171 h 1395"/>
                  <a:gd name="T28" fmla="*/ 1957 w 1968"/>
                  <a:gd name="T29" fmla="*/ 946 h 1395"/>
                  <a:gd name="T30" fmla="*/ 1888 w 1968"/>
                  <a:gd name="T31" fmla="*/ 854 h 1395"/>
                  <a:gd name="T32" fmla="*/ 1833 w 1968"/>
                  <a:gd name="T33" fmla="*/ 921 h 1395"/>
                  <a:gd name="T34" fmla="*/ 1770 w 1968"/>
                  <a:gd name="T35" fmla="*/ 950 h 1395"/>
                  <a:gd name="T36" fmla="*/ 1723 w 1968"/>
                  <a:gd name="T37" fmla="*/ 912 h 1395"/>
                  <a:gd name="T38" fmla="*/ 1811 w 1968"/>
                  <a:gd name="T39" fmla="*/ 854 h 1395"/>
                  <a:gd name="T40" fmla="*/ 1807 w 1968"/>
                  <a:gd name="T41" fmla="*/ 653 h 1395"/>
                  <a:gd name="T42" fmla="*/ 1503 w 1968"/>
                  <a:gd name="T43" fmla="*/ 338 h 1395"/>
                  <a:gd name="T44" fmla="*/ 1159 w 1968"/>
                  <a:gd name="T45" fmla="*/ 133 h 1395"/>
                  <a:gd name="T46" fmla="*/ 616 w 1968"/>
                  <a:gd name="T47" fmla="*/ 2 h 1395"/>
                  <a:gd name="T48" fmla="*/ 285 w 1968"/>
                  <a:gd name="T49" fmla="*/ 38 h 1395"/>
                  <a:gd name="T50" fmla="*/ 144 w 1968"/>
                  <a:gd name="T51" fmla="*/ 131 h 1395"/>
                  <a:gd name="T52" fmla="*/ 50 w 1968"/>
                  <a:gd name="T53" fmla="*/ 74 h 1395"/>
                  <a:gd name="T54" fmla="*/ 33 w 1968"/>
                  <a:gd name="T55" fmla="*/ 199 h 1395"/>
                  <a:gd name="T56" fmla="*/ 24 w 1968"/>
                  <a:gd name="T57" fmla="*/ 335 h 1395"/>
                  <a:gd name="T58" fmla="*/ 125 w 1968"/>
                  <a:gd name="T59" fmla="*/ 337 h 1395"/>
                  <a:gd name="T60" fmla="*/ 263 w 1968"/>
                  <a:gd name="T61" fmla="*/ 259 h 1395"/>
                  <a:gd name="T62" fmla="*/ 391 w 1968"/>
                  <a:gd name="T63" fmla="*/ 263 h 1395"/>
                  <a:gd name="T64" fmla="*/ 510 w 1968"/>
                  <a:gd name="T65" fmla="*/ 262 h 1395"/>
                  <a:gd name="T66" fmla="*/ 628 w 1968"/>
                  <a:gd name="T67" fmla="*/ 294 h 1395"/>
                  <a:gd name="T68" fmla="*/ 624 w 1968"/>
                  <a:gd name="T69" fmla="*/ 375 h 1395"/>
                  <a:gd name="T70" fmla="*/ 809 w 1968"/>
                  <a:gd name="T71" fmla="*/ 368 h 1395"/>
                  <a:gd name="T72" fmla="*/ 881 w 1968"/>
                  <a:gd name="T73" fmla="*/ 384 h 1395"/>
                  <a:gd name="T74" fmla="*/ 860 w 1968"/>
                  <a:gd name="T75" fmla="*/ 431 h 1395"/>
                  <a:gd name="T76" fmla="*/ 891 w 1968"/>
                  <a:gd name="T77" fmla="*/ 510 h 1395"/>
                  <a:gd name="T78" fmla="*/ 942 w 1968"/>
                  <a:gd name="T79" fmla="*/ 610 h 1395"/>
                  <a:gd name="T80" fmla="*/ 953 w 1968"/>
                  <a:gd name="T81" fmla="*/ 684 h 1395"/>
                  <a:gd name="T82" fmla="*/ 922 w 1968"/>
                  <a:gd name="T83" fmla="*/ 643 h 1395"/>
                  <a:gd name="T84" fmla="*/ 850 w 1968"/>
                  <a:gd name="T85" fmla="*/ 713 h 1395"/>
                  <a:gd name="T86" fmla="*/ 882 w 1968"/>
                  <a:gd name="T87" fmla="*/ 824 h 1395"/>
                  <a:gd name="T88" fmla="*/ 928 w 1968"/>
                  <a:gd name="T89" fmla="*/ 954 h 1395"/>
                  <a:gd name="T90" fmla="*/ 1023 w 1968"/>
                  <a:gd name="T91" fmla="*/ 946 h 1395"/>
                  <a:gd name="T92" fmla="*/ 985 w 1968"/>
                  <a:gd name="T93" fmla="*/ 847 h 1395"/>
                  <a:gd name="T94" fmla="*/ 944 w 1968"/>
                  <a:gd name="T95" fmla="*/ 754 h 1395"/>
                  <a:gd name="T96" fmla="*/ 1015 w 1968"/>
                  <a:gd name="T97" fmla="*/ 818 h 1395"/>
                  <a:gd name="T98" fmla="*/ 1050 w 1968"/>
                  <a:gd name="T99" fmla="*/ 824 h 1395"/>
                  <a:gd name="T100" fmla="*/ 1087 w 1968"/>
                  <a:gd name="T101" fmla="*/ 903 h 1395"/>
                  <a:gd name="T102" fmla="*/ 1040 w 1968"/>
                  <a:gd name="T103" fmla="*/ 993 h 1395"/>
                  <a:gd name="T104" fmla="*/ 978 w 1968"/>
                  <a:gd name="T105" fmla="*/ 960 h 1395"/>
                  <a:gd name="T106" fmla="*/ 1010 w 1968"/>
                  <a:gd name="T107" fmla="*/ 1018 h 1395"/>
                  <a:gd name="T108" fmla="*/ 978 w 1968"/>
                  <a:gd name="T109" fmla="*/ 1156 h 1395"/>
                  <a:gd name="T110" fmla="*/ 1025 w 1968"/>
                  <a:gd name="T111" fmla="*/ 1232 h 1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968" h="1395">
                    <a:moveTo>
                      <a:pt x="957" y="1298"/>
                    </a:moveTo>
                    <a:lnTo>
                      <a:pt x="985" y="1338"/>
                    </a:lnTo>
                    <a:lnTo>
                      <a:pt x="975" y="1360"/>
                    </a:lnTo>
                    <a:lnTo>
                      <a:pt x="988" y="1378"/>
                    </a:lnTo>
                    <a:lnTo>
                      <a:pt x="1004" y="1395"/>
                    </a:lnTo>
                    <a:lnTo>
                      <a:pt x="1031" y="1391"/>
                    </a:lnTo>
                    <a:lnTo>
                      <a:pt x="1056" y="1360"/>
                    </a:lnTo>
                    <a:lnTo>
                      <a:pt x="1087" y="1340"/>
                    </a:lnTo>
                    <a:lnTo>
                      <a:pt x="1101" y="1322"/>
                    </a:lnTo>
                    <a:lnTo>
                      <a:pt x="1095" y="1301"/>
                    </a:lnTo>
                    <a:lnTo>
                      <a:pt x="1091" y="1281"/>
                    </a:lnTo>
                    <a:lnTo>
                      <a:pt x="1091" y="1257"/>
                    </a:lnTo>
                    <a:lnTo>
                      <a:pt x="1107" y="1247"/>
                    </a:lnTo>
                    <a:lnTo>
                      <a:pt x="1107" y="1225"/>
                    </a:lnTo>
                    <a:lnTo>
                      <a:pt x="1101" y="1212"/>
                    </a:lnTo>
                    <a:lnTo>
                      <a:pt x="1112" y="1200"/>
                    </a:lnTo>
                    <a:lnTo>
                      <a:pt x="1131" y="1201"/>
                    </a:lnTo>
                    <a:lnTo>
                      <a:pt x="1137" y="1190"/>
                    </a:lnTo>
                    <a:lnTo>
                      <a:pt x="1137" y="1173"/>
                    </a:lnTo>
                    <a:lnTo>
                      <a:pt x="1142" y="1160"/>
                    </a:lnTo>
                    <a:lnTo>
                      <a:pt x="1186" y="1166"/>
                    </a:lnTo>
                    <a:lnTo>
                      <a:pt x="1203" y="1179"/>
                    </a:lnTo>
                    <a:lnTo>
                      <a:pt x="1281" y="1171"/>
                    </a:lnTo>
                    <a:lnTo>
                      <a:pt x="1283" y="1154"/>
                    </a:lnTo>
                    <a:lnTo>
                      <a:pt x="1260" y="1135"/>
                    </a:lnTo>
                    <a:lnTo>
                      <a:pt x="1207" y="1138"/>
                    </a:lnTo>
                    <a:lnTo>
                      <a:pt x="1182" y="1135"/>
                    </a:lnTo>
                    <a:lnTo>
                      <a:pt x="1173" y="1125"/>
                    </a:lnTo>
                    <a:lnTo>
                      <a:pt x="1173" y="1107"/>
                    </a:lnTo>
                    <a:lnTo>
                      <a:pt x="1182" y="1097"/>
                    </a:lnTo>
                    <a:lnTo>
                      <a:pt x="1203" y="1113"/>
                    </a:lnTo>
                    <a:lnTo>
                      <a:pt x="1234" y="1113"/>
                    </a:lnTo>
                    <a:lnTo>
                      <a:pt x="1253" y="1115"/>
                    </a:lnTo>
                    <a:lnTo>
                      <a:pt x="1273" y="1115"/>
                    </a:lnTo>
                    <a:lnTo>
                      <a:pt x="1289" y="1128"/>
                    </a:lnTo>
                    <a:lnTo>
                      <a:pt x="1316" y="1140"/>
                    </a:lnTo>
                    <a:lnTo>
                      <a:pt x="1338" y="1144"/>
                    </a:lnTo>
                    <a:lnTo>
                      <a:pt x="1338" y="1123"/>
                    </a:lnTo>
                    <a:lnTo>
                      <a:pt x="1354" y="1115"/>
                    </a:lnTo>
                    <a:lnTo>
                      <a:pt x="1347" y="1100"/>
                    </a:lnTo>
                    <a:lnTo>
                      <a:pt x="1333" y="1087"/>
                    </a:lnTo>
                    <a:lnTo>
                      <a:pt x="1336" y="1074"/>
                    </a:lnTo>
                    <a:lnTo>
                      <a:pt x="1344" y="1062"/>
                    </a:lnTo>
                    <a:lnTo>
                      <a:pt x="1361" y="1038"/>
                    </a:lnTo>
                    <a:lnTo>
                      <a:pt x="1372" y="1053"/>
                    </a:lnTo>
                    <a:lnTo>
                      <a:pt x="1363" y="1074"/>
                    </a:lnTo>
                    <a:lnTo>
                      <a:pt x="1378" y="1082"/>
                    </a:lnTo>
                    <a:lnTo>
                      <a:pt x="1394" y="1087"/>
                    </a:lnTo>
                    <a:lnTo>
                      <a:pt x="1408" y="1097"/>
                    </a:lnTo>
                    <a:lnTo>
                      <a:pt x="1430" y="1097"/>
                    </a:lnTo>
                    <a:lnTo>
                      <a:pt x="1450" y="1093"/>
                    </a:lnTo>
                    <a:lnTo>
                      <a:pt x="1455" y="1079"/>
                    </a:lnTo>
                    <a:lnTo>
                      <a:pt x="1455" y="1063"/>
                    </a:lnTo>
                    <a:lnTo>
                      <a:pt x="1466" y="1053"/>
                    </a:lnTo>
                    <a:lnTo>
                      <a:pt x="1486" y="1041"/>
                    </a:lnTo>
                    <a:lnTo>
                      <a:pt x="1495" y="1031"/>
                    </a:lnTo>
                    <a:lnTo>
                      <a:pt x="1491" y="1016"/>
                    </a:lnTo>
                    <a:lnTo>
                      <a:pt x="1498" y="1001"/>
                    </a:lnTo>
                    <a:lnTo>
                      <a:pt x="1520" y="1031"/>
                    </a:lnTo>
                    <a:lnTo>
                      <a:pt x="1532" y="1051"/>
                    </a:lnTo>
                    <a:lnTo>
                      <a:pt x="1536" y="1060"/>
                    </a:lnTo>
                    <a:lnTo>
                      <a:pt x="1547" y="1079"/>
                    </a:lnTo>
                    <a:lnTo>
                      <a:pt x="1555" y="1094"/>
                    </a:lnTo>
                    <a:lnTo>
                      <a:pt x="1554" y="1113"/>
                    </a:lnTo>
                    <a:lnTo>
                      <a:pt x="1552" y="1129"/>
                    </a:lnTo>
                    <a:lnTo>
                      <a:pt x="1563" y="1148"/>
                    </a:lnTo>
                    <a:lnTo>
                      <a:pt x="1582" y="1160"/>
                    </a:lnTo>
                    <a:lnTo>
                      <a:pt x="1601" y="1160"/>
                    </a:lnTo>
                    <a:lnTo>
                      <a:pt x="1623" y="1156"/>
                    </a:lnTo>
                    <a:lnTo>
                      <a:pt x="1658" y="1160"/>
                    </a:lnTo>
                    <a:lnTo>
                      <a:pt x="1698" y="1184"/>
                    </a:lnTo>
                    <a:lnTo>
                      <a:pt x="1719" y="1179"/>
                    </a:lnTo>
                    <a:lnTo>
                      <a:pt x="1735" y="1198"/>
                    </a:lnTo>
                    <a:lnTo>
                      <a:pt x="1749" y="1212"/>
                    </a:lnTo>
                    <a:lnTo>
                      <a:pt x="1782" y="1225"/>
                    </a:lnTo>
                    <a:lnTo>
                      <a:pt x="1802" y="1223"/>
                    </a:lnTo>
                    <a:lnTo>
                      <a:pt x="1827" y="1231"/>
                    </a:lnTo>
                    <a:lnTo>
                      <a:pt x="1854" y="1251"/>
                    </a:lnTo>
                    <a:lnTo>
                      <a:pt x="1889" y="1287"/>
                    </a:lnTo>
                    <a:lnTo>
                      <a:pt x="1918" y="1310"/>
                    </a:lnTo>
                    <a:lnTo>
                      <a:pt x="1935" y="1279"/>
                    </a:lnTo>
                    <a:lnTo>
                      <a:pt x="1942" y="1253"/>
                    </a:lnTo>
                    <a:lnTo>
                      <a:pt x="1957" y="1219"/>
                    </a:lnTo>
                    <a:lnTo>
                      <a:pt x="1964" y="1171"/>
                    </a:lnTo>
                    <a:lnTo>
                      <a:pt x="1968" y="1118"/>
                    </a:lnTo>
                    <a:lnTo>
                      <a:pt x="1961" y="1109"/>
                    </a:lnTo>
                    <a:lnTo>
                      <a:pt x="1967" y="1047"/>
                    </a:lnTo>
                    <a:lnTo>
                      <a:pt x="1965" y="1007"/>
                    </a:lnTo>
                    <a:lnTo>
                      <a:pt x="1957" y="982"/>
                    </a:lnTo>
                    <a:lnTo>
                      <a:pt x="1957" y="946"/>
                    </a:lnTo>
                    <a:lnTo>
                      <a:pt x="1941" y="929"/>
                    </a:lnTo>
                    <a:lnTo>
                      <a:pt x="1932" y="913"/>
                    </a:lnTo>
                    <a:lnTo>
                      <a:pt x="1921" y="888"/>
                    </a:lnTo>
                    <a:lnTo>
                      <a:pt x="1921" y="871"/>
                    </a:lnTo>
                    <a:lnTo>
                      <a:pt x="1910" y="854"/>
                    </a:lnTo>
                    <a:lnTo>
                      <a:pt x="1888" y="854"/>
                    </a:lnTo>
                    <a:lnTo>
                      <a:pt x="1870" y="854"/>
                    </a:lnTo>
                    <a:lnTo>
                      <a:pt x="1861" y="872"/>
                    </a:lnTo>
                    <a:lnTo>
                      <a:pt x="1846" y="875"/>
                    </a:lnTo>
                    <a:lnTo>
                      <a:pt x="1826" y="875"/>
                    </a:lnTo>
                    <a:lnTo>
                      <a:pt x="1826" y="903"/>
                    </a:lnTo>
                    <a:lnTo>
                      <a:pt x="1833" y="921"/>
                    </a:lnTo>
                    <a:lnTo>
                      <a:pt x="1829" y="937"/>
                    </a:lnTo>
                    <a:lnTo>
                      <a:pt x="1824" y="956"/>
                    </a:lnTo>
                    <a:lnTo>
                      <a:pt x="1807" y="962"/>
                    </a:lnTo>
                    <a:lnTo>
                      <a:pt x="1792" y="960"/>
                    </a:lnTo>
                    <a:lnTo>
                      <a:pt x="1780" y="954"/>
                    </a:lnTo>
                    <a:lnTo>
                      <a:pt x="1770" y="950"/>
                    </a:lnTo>
                    <a:lnTo>
                      <a:pt x="1760" y="950"/>
                    </a:lnTo>
                    <a:lnTo>
                      <a:pt x="1745" y="947"/>
                    </a:lnTo>
                    <a:lnTo>
                      <a:pt x="1729" y="946"/>
                    </a:lnTo>
                    <a:lnTo>
                      <a:pt x="1714" y="944"/>
                    </a:lnTo>
                    <a:lnTo>
                      <a:pt x="1704" y="925"/>
                    </a:lnTo>
                    <a:lnTo>
                      <a:pt x="1723" y="912"/>
                    </a:lnTo>
                    <a:lnTo>
                      <a:pt x="1735" y="910"/>
                    </a:lnTo>
                    <a:lnTo>
                      <a:pt x="1742" y="915"/>
                    </a:lnTo>
                    <a:lnTo>
                      <a:pt x="1755" y="913"/>
                    </a:lnTo>
                    <a:lnTo>
                      <a:pt x="1782" y="900"/>
                    </a:lnTo>
                    <a:lnTo>
                      <a:pt x="1794" y="878"/>
                    </a:lnTo>
                    <a:lnTo>
                      <a:pt x="1811" y="854"/>
                    </a:lnTo>
                    <a:lnTo>
                      <a:pt x="1826" y="832"/>
                    </a:lnTo>
                    <a:lnTo>
                      <a:pt x="1836" y="816"/>
                    </a:lnTo>
                    <a:lnTo>
                      <a:pt x="1852" y="800"/>
                    </a:lnTo>
                    <a:lnTo>
                      <a:pt x="1854" y="779"/>
                    </a:lnTo>
                    <a:lnTo>
                      <a:pt x="1867" y="737"/>
                    </a:lnTo>
                    <a:lnTo>
                      <a:pt x="1807" y="653"/>
                    </a:lnTo>
                    <a:lnTo>
                      <a:pt x="1749" y="577"/>
                    </a:lnTo>
                    <a:lnTo>
                      <a:pt x="1692" y="512"/>
                    </a:lnTo>
                    <a:lnTo>
                      <a:pt x="1633" y="455"/>
                    </a:lnTo>
                    <a:lnTo>
                      <a:pt x="1589" y="412"/>
                    </a:lnTo>
                    <a:lnTo>
                      <a:pt x="1552" y="378"/>
                    </a:lnTo>
                    <a:lnTo>
                      <a:pt x="1503" y="338"/>
                    </a:lnTo>
                    <a:lnTo>
                      <a:pt x="1453" y="300"/>
                    </a:lnTo>
                    <a:lnTo>
                      <a:pt x="1388" y="253"/>
                    </a:lnTo>
                    <a:lnTo>
                      <a:pt x="1333" y="218"/>
                    </a:lnTo>
                    <a:lnTo>
                      <a:pt x="1281" y="190"/>
                    </a:lnTo>
                    <a:lnTo>
                      <a:pt x="1225" y="163"/>
                    </a:lnTo>
                    <a:lnTo>
                      <a:pt x="1159" y="133"/>
                    </a:lnTo>
                    <a:lnTo>
                      <a:pt x="1064" y="94"/>
                    </a:lnTo>
                    <a:lnTo>
                      <a:pt x="965" y="61"/>
                    </a:lnTo>
                    <a:lnTo>
                      <a:pt x="878" y="38"/>
                    </a:lnTo>
                    <a:lnTo>
                      <a:pt x="815" y="27"/>
                    </a:lnTo>
                    <a:lnTo>
                      <a:pt x="725" y="12"/>
                    </a:lnTo>
                    <a:lnTo>
                      <a:pt x="616" y="2"/>
                    </a:lnTo>
                    <a:lnTo>
                      <a:pt x="474" y="0"/>
                    </a:lnTo>
                    <a:lnTo>
                      <a:pt x="362" y="8"/>
                    </a:lnTo>
                    <a:lnTo>
                      <a:pt x="352" y="27"/>
                    </a:lnTo>
                    <a:lnTo>
                      <a:pt x="330" y="33"/>
                    </a:lnTo>
                    <a:lnTo>
                      <a:pt x="315" y="38"/>
                    </a:lnTo>
                    <a:lnTo>
                      <a:pt x="285" y="38"/>
                    </a:lnTo>
                    <a:lnTo>
                      <a:pt x="256" y="50"/>
                    </a:lnTo>
                    <a:lnTo>
                      <a:pt x="219" y="55"/>
                    </a:lnTo>
                    <a:lnTo>
                      <a:pt x="194" y="83"/>
                    </a:lnTo>
                    <a:lnTo>
                      <a:pt x="190" y="105"/>
                    </a:lnTo>
                    <a:lnTo>
                      <a:pt x="169" y="133"/>
                    </a:lnTo>
                    <a:lnTo>
                      <a:pt x="144" y="131"/>
                    </a:lnTo>
                    <a:lnTo>
                      <a:pt x="121" y="155"/>
                    </a:lnTo>
                    <a:lnTo>
                      <a:pt x="121" y="122"/>
                    </a:lnTo>
                    <a:lnTo>
                      <a:pt x="141" y="71"/>
                    </a:lnTo>
                    <a:lnTo>
                      <a:pt x="144" y="47"/>
                    </a:lnTo>
                    <a:lnTo>
                      <a:pt x="91" y="62"/>
                    </a:lnTo>
                    <a:lnTo>
                      <a:pt x="50" y="74"/>
                    </a:lnTo>
                    <a:lnTo>
                      <a:pt x="53" y="93"/>
                    </a:lnTo>
                    <a:lnTo>
                      <a:pt x="86" y="116"/>
                    </a:lnTo>
                    <a:lnTo>
                      <a:pt x="81" y="133"/>
                    </a:lnTo>
                    <a:lnTo>
                      <a:pt x="75" y="156"/>
                    </a:lnTo>
                    <a:lnTo>
                      <a:pt x="58" y="177"/>
                    </a:lnTo>
                    <a:lnTo>
                      <a:pt x="33" y="199"/>
                    </a:lnTo>
                    <a:lnTo>
                      <a:pt x="30" y="231"/>
                    </a:lnTo>
                    <a:lnTo>
                      <a:pt x="18" y="262"/>
                    </a:lnTo>
                    <a:lnTo>
                      <a:pt x="21" y="285"/>
                    </a:lnTo>
                    <a:lnTo>
                      <a:pt x="53" y="283"/>
                    </a:lnTo>
                    <a:lnTo>
                      <a:pt x="50" y="321"/>
                    </a:lnTo>
                    <a:lnTo>
                      <a:pt x="24" y="335"/>
                    </a:lnTo>
                    <a:lnTo>
                      <a:pt x="0" y="359"/>
                    </a:lnTo>
                    <a:lnTo>
                      <a:pt x="28" y="385"/>
                    </a:lnTo>
                    <a:lnTo>
                      <a:pt x="59" y="356"/>
                    </a:lnTo>
                    <a:lnTo>
                      <a:pt x="75" y="353"/>
                    </a:lnTo>
                    <a:lnTo>
                      <a:pt x="103" y="347"/>
                    </a:lnTo>
                    <a:lnTo>
                      <a:pt x="125" y="337"/>
                    </a:lnTo>
                    <a:lnTo>
                      <a:pt x="144" y="335"/>
                    </a:lnTo>
                    <a:lnTo>
                      <a:pt x="169" y="313"/>
                    </a:lnTo>
                    <a:lnTo>
                      <a:pt x="191" y="281"/>
                    </a:lnTo>
                    <a:lnTo>
                      <a:pt x="213" y="275"/>
                    </a:lnTo>
                    <a:lnTo>
                      <a:pt x="234" y="265"/>
                    </a:lnTo>
                    <a:lnTo>
                      <a:pt x="263" y="259"/>
                    </a:lnTo>
                    <a:lnTo>
                      <a:pt x="274" y="265"/>
                    </a:lnTo>
                    <a:lnTo>
                      <a:pt x="293" y="262"/>
                    </a:lnTo>
                    <a:lnTo>
                      <a:pt x="308" y="256"/>
                    </a:lnTo>
                    <a:lnTo>
                      <a:pt x="343" y="255"/>
                    </a:lnTo>
                    <a:lnTo>
                      <a:pt x="355" y="260"/>
                    </a:lnTo>
                    <a:lnTo>
                      <a:pt x="391" y="263"/>
                    </a:lnTo>
                    <a:lnTo>
                      <a:pt x="416" y="256"/>
                    </a:lnTo>
                    <a:lnTo>
                      <a:pt x="437" y="235"/>
                    </a:lnTo>
                    <a:lnTo>
                      <a:pt x="469" y="240"/>
                    </a:lnTo>
                    <a:lnTo>
                      <a:pt x="497" y="235"/>
                    </a:lnTo>
                    <a:lnTo>
                      <a:pt x="513" y="235"/>
                    </a:lnTo>
                    <a:lnTo>
                      <a:pt x="510" y="262"/>
                    </a:lnTo>
                    <a:lnTo>
                      <a:pt x="521" y="271"/>
                    </a:lnTo>
                    <a:lnTo>
                      <a:pt x="538" y="281"/>
                    </a:lnTo>
                    <a:lnTo>
                      <a:pt x="557" y="268"/>
                    </a:lnTo>
                    <a:lnTo>
                      <a:pt x="579" y="277"/>
                    </a:lnTo>
                    <a:lnTo>
                      <a:pt x="601" y="288"/>
                    </a:lnTo>
                    <a:lnTo>
                      <a:pt x="628" y="294"/>
                    </a:lnTo>
                    <a:lnTo>
                      <a:pt x="671" y="300"/>
                    </a:lnTo>
                    <a:lnTo>
                      <a:pt x="621" y="308"/>
                    </a:lnTo>
                    <a:lnTo>
                      <a:pt x="601" y="313"/>
                    </a:lnTo>
                    <a:lnTo>
                      <a:pt x="593" y="324"/>
                    </a:lnTo>
                    <a:lnTo>
                      <a:pt x="609" y="358"/>
                    </a:lnTo>
                    <a:lnTo>
                      <a:pt x="624" y="375"/>
                    </a:lnTo>
                    <a:lnTo>
                      <a:pt x="657" y="371"/>
                    </a:lnTo>
                    <a:lnTo>
                      <a:pt x="682" y="378"/>
                    </a:lnTo>
                    <a:lnTo>
                      <a:pt x="712" y="391"/>
                    </a:lnTo>
                    <a:lnTo>
                      <a:pt x="744" y="393"/>
                    </a:lnTo>
                    <a:lnTo>
                      <a:pt x="763" y="396"/>
                    </a:lnTo>
                    <a:lnTo>
                      <a:pt x="809" y="368"/>
                    </a:lnTo>
                    <a:lnTo>
                      <a:pt x="819" y="369"/>
                    </a:lnTo>
                    <a:lnTo>
                      <a:pt x="796" y="393"/>
                    </a:lnTo>
                    <a:lnTo>
                      <a:pt x="822" y="424"/>
                    </a:lnTo>
                    <a:lnTo>
                      <a:pt x="872" y="412"/>
                    </a:lnTo>
                    <a:lnTo>
                      <a:pt x="881" y="406"/>
                    </a:lnTo>
                    <a:lnTo>
                      <a:pt x="881" y="384"/>
                    </a:lnTo>
                    <a:lnTo>
                      <a:pt x="900" y="393"/>
                    </a:lnTo>
                    <a:lnTo>
                      <a:pt x="934" y="418"/>
                    </a:lnTo>
                    <a:lnTo>
                      <a:pt x="900" y="413"/>
                    </a:lnTo>
                    <a:lnTo>
                      <a:pt x="891" y="421"/>
                    </a:lnTo>
                    <a:lnTo>
                      <a:pt x="878" y="425"/>
                    </a:lnTo>
                    <a:lnTo>
                      <a:pt x="860" y="431"/>
                    </a:lnTo>
                    <a:lnTo>
                      <a:pt x="841" y="432"/>
                    </a:lnTo>
                    <a:lnTo>
                      <a:pt x="819" y="449"/>
                    </a:lnTo>
                    <a:lnTo>
                      <a:pt x="841" y="459"/>
                    </a:lnTo>
                    <a:lnTo>
                      <a:pt x="904" y="457"/>
                    </a:lnTo>
                    <a:lnTo>
                      <a:pt x="898" y="481"/>
                    </a:lnTo>
                    <a:lnTo>
                      <a:pt x="891" y="510"/>
                    </a:lnTo>
                    <a:lnTo>
                      <a:pt x="910" y="513"/>
                    </a:lnTo>
                    <a:lnTo>
                      <a:pt x="925" y="525"/>
                    </a:lnTo>
                    <a:lnTo>
                      <a:pt x="932" y="557"/>
                    </a:lnTo>
                    <a:lnTo>
                      <a:pt x="944" y="572"/>
                    </a:lnTo>
                    <a:lnTo>
                      <a:pt x="942" y="588"/>
                    </a:lnTo>
                    <a:lnTo>
                      <a:pt x="942" y="610"/>
                    </a:lnTo>
                    <a:lnTo>
                      <a:pt x="1003" y="663"/>
                    </a:lnTo>
                    <a:lnTo>
                      <a:pt x="998" y="684"/>
                    </a:lnTo>
                    <a:lnTo>
                      <a:pt x="990" y="693"/>
                    </a:lnTo>
                    <a:lnTo>
                      <a:pt x="978" y="687"/>
                    </a:lnTo>
                    <a:lnTo>
                      <a:pt x="965" y="682"/>
                    </a:lnTo>
                    <a:lnTo>
                      <a:pt x="953" y="684"/>
                    </a:lnTo>
                    <a:lnTo>
                      <a:pt x="947" y="684"/>
                    </a:lnTo>
                    <a:lnTo>
                      <a:pt x="969" y="659"/>
                    </a:lnTo>
                    <a:lnTo>
                      <a:pt x="965" y="643"/>
                    </a:lnTo>
                    <a:lnTo>
                      <a:pt x="944" y="637"/>
                    </a:lnTo>
                    <a:lnTo>
                      <a:pt x="934" y="638"/>
                    </a:lnTo>
                    <a:lnTo>
                      <a:pt x="922" y="643"/>
                    </a:lnTo>
                    <a:lnTo>
                      <a:pt x="901" y="653"/>
                    </a:lnTo>
                    <a:lnTo>
                      <a:pt x="891" y="663"/>
                    </a:lnTo>
                    <a:lnTo>
                      <a:pt x="866" y="666"/>
                    </a:lnTo>
                    <a:lnTo>
                      <a:pt x="847" y="666"/>
                    </a:lnTo>
                    <a:lnTo>
                      <a:pt x="850" y="687"/>
                    </a:lnTo>
                    <a:lnTo>
                      <a:pt x="850" y="713"/>
                    </a:lnTo>
                    <a:lnTo>
                      <a:pt x="847" y="738"/>
                    </a:lnTo>
                    <a:lnTo>
                      <a:pt x="851" y="760"/>
                    </a:lnTo>
                    <a:lnTo>
                      <a:pt x="860" y="779"/>
                    </a:lnTo>
                    <a:lnTo>
                      <a:pt x="857" y="797"/>
                    </a:lnTo>
                    <a:lnTo>
                      <a:pt x="868" y="812"/>
                    </a:lnTo>
                    <a:lnTo>
                      <a:pt x="882" y="824"/>
                    </a:lnTo>
                    <a:lnTo>
                      <a:pt x="881" y="838"/>
                    </a:lnTo>
                    <a:lnTo>
                      <a:pt x="898" y="847"/>
                    </a:lnTo>
                    <a:lnTo>
                      <a:pt x="888" y="872"/>
                    </a:lnTo>
                    <a:lnTo>
                      <a:pt x="891" y="900"/>
                    </a:lnTo>
                    <a:lnTo>
                      <a:pt x="903" y="921"/>
                    </a:lnTo>
                    <a:lnTo>
                      <a:pt x="928" y="954"/>
                    </a:lnTo>
                    <a:lnTo>
                      <a:pt x="938" y="954"/>
                    </a:lnTo>
                    <a:lnTo>
                      <a:pt x="953" y="960"/>
                    </a:lnTo>
                    <a:lnTo>
                      <a:pt x="975" y="935"/>
                    </a:lnTo>
                    <a:lnTo>
                      <a:pt x="990" y="924"/>
                    </a:lnTo>
                    <a:lnTo>
                      <a:pt x="1009" y="941"/>
                    </a:lnTo>
                    <a:lnTo>
                      <a:pt x="1023" y="946"/>
                    </a:lnTo>
                    <a:lnTo>
                      <a:pt x="1044" y="940"/>
                    </a:lnTo>
                    <a:lnTo>
                      <a:pt x="1045" y="919"/>
                    </a:lnTo>
                    <a:lnTo>
                      <a:pt x="1025" y="896"/>
                    </a:lnTo>
                    <a:lnTo>
                      <a:pt x="1009" y="879"/>
                    </a:lnTo>
                    <a:lnTo>
                      <a:pt x="1004" y="863"/>
                    </a:lnTo>
                    <a:lnTo>
                      <a:pt x="985" y="847"/>
                    </a:lnTo>
                    <a:lnTo>
                      <a:pt x="969" y="844"/>
                    </a:lnTo>
                    <a:lnTo>
                      <a:pt x="963" y="818"/>
                    </a:lnTo>
                    <a:lnTo>
                      <a:pt x="953" y="802"/>
                    </a:lnTo>
                    <a:lnTo>
                      <a:pt x="942" y="790"/>
                    </a:lnTo>
                    <a:lnTo>
                      <a:pt x="938" y="759"/>
                    </a:lnTo>
                    <a:lnTo>
                      <a:pt x="944" y="754"/>
                    </a:lnTo>
                    <a:lnTo>
                      <a:pt x="963" y="774"/>
                    </a:lnTo>
                    <a:lnTo>
                      <a:pt x="965" y="790"/>
                    </a:lnTo>
                    <a:lnTo>
                      <a:pt x="978" y="807"/>
                    </a:lnTo>
                    <a:lnTo>
                      <a:pt x="992" y="822"/>
                    </a:lnTo>
                    <a:lnTo>
                      <a:pt x="1003" y="832"/>
                    </a:lnTo>
                    <a:lnTo>
                      <a:pt x="1015" y="818"/>
                    </a:lnTo>
                    <a:lnTo>
                      <a:pt x="1023" y="812"/>
                    </a:lnTo>
                    <a:lnTo>
                      <a:pt x="1035" y="807"/>
                    </a:lnTo>
                    <a:lnTo>
                      <a:pt x="1040" y="794"/>
                    </a:lnTo>
                    <a:lnTo>
                      <a:pt x="1054" y="790"/>
                    </a:lnTo>
                    <a:lnTo>
                      <a:pt x="1044" y="807"/>
                    </a:lnTo>
                    <a:lnTo>
                      <a:pt x="1050" y="824"/>
                    </a:lnTo>
                    <a:lnTo>
                      <a:pt x="1066" y="832"/>
                    </a:lnTo>
                    <a:lnTo>
                      <a:pt x="1064" y="847"/>
                    </a:lnTo>
                    <a:lnTo>
                      <a:pt x="1050" y="863"/>
                    </a:lnTo>
                    <a:lnTo>
                      <a:pt x="1056" y="878"/>
                    </a:lnTo>
                    <a:lnTo>
                      <a:pt x="1075" y="888"/>
                    </a:lnTo>
                    <a:lnTo>
                      <a:pt x="1087" y="903"/>
                    </a:lnTo>
                    <a:lnTo>
                      <a:pt x="1075" y="921"/>
                    </a:lnTo>
                    <a:lnTo>
                      <a:pt x="1064" y="940"/>
                    </a:lnTo>
                    <a:lnTo>
                      <a:pt x="1066" y="951"/>
                    </a:lnTo>
                    <a:lnTo>
                      <a:pt x="1059" y="966"/>
                    </a:lnTo>
                    <a:lnTo>
                      <a:pt x="1050" y="982"/>
                    </a:lnTo>
                    <a:lnTo>
                      <a:pt x="1040" y="993"/>
                    </a:lnTo>
                    <a:lnTo>
                      <a:pt x="1029" y="982"/>
                    </a:lnTo>
                    <a:lnTo>
                      <a:pt x="1010" y="982"/>
                    </a:lnTo>
                    <a:lnTo>
                      <a:pt x="1000" y="969"/>
                    </a:lnTo>
                    <a:lnTo>
                      <a:pt x="995" y="954"/>
                    </a:lnTo>
                    <a:lnTo>
                      <a:pt x="982" y="950"/>
                    </a:lnTo>
                    <a:lnTo>
                      <a:pt x="978" y="960"/>
                    </a:lnTo>
                    <a:lnTo>
                      <a:pt x="985" y="969"/>
                    </a:lnTo>
                    <a:lnTo>
                      <a:pt x="988" y="985"/>
                    </a:lnTo>
                    <a:lnTo>
                      <a:pt x="988" y="997"/>
                    </a:lnTo>
                    <a:lnTo>
                      <a:pt x="1000" y="996"/>
                    </a:lnTo>
                    <a:lnTo>
                      <a:pt x="1010" y="1001"/>
                    </a:lnTo>
                    <a:lnTo>
                      <a:pt x="1010" y="1018"/>
                    </a:lnTo>
                    <a:lnTo>
                      <a:pt x="998" y="1037"/>
                    </a:lnTo>
                    <a:lnTo>
                      <a:pt x="1003" y="1062"/>
                    </a:lnTo>
                    <a:lnTo>
                      <a:pt x="995" y="1093"/>
                    </a:lnTo>
                    <a:lnTo>
                      <a:pt x="1000" y="1123"/>
                    </a:lnTo>
                    <a:lnTo>
                      <a:pt x="995" y="1140"/>
                    </a:lnTo>
                    <a:lnTo>
                      <a:pt x="978" y="1156"/>
                    </a:lnTo>
                    <a:lnTo>
                      <a:pt x="978" y="1171"/>
                    </a:lnTo>
                    <a:lnTo>
                      <a:pt x="988" y="1190"/>
                    </a:lnTo>
                    <a:lnTo>
                      <a:pt x="1004" y="1194"/>
                    </a:lnTo>
                    <a:lnTo>
                      <a:pt x="1025" y="1206"/>
                    </a:lnTo>
                    <a:lnTo>
                      <a:pt x="1034" y="1225"/>
                    </a:lnTo>
                    <a:lnTo>
                      <a:pt x="1025" y="1232"/>
                    </a:lnTo>
                    <a:lnTo>
                      <a:pt x="1003" y="1256"/>
                    </a:lnTo>
                    <a:lnTo>
                      <a:pt x="979" y="1268"/>
                    </a:lnTo>
                    <a:lnTo>
                      <a:pt x="957" y="129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0" cap="flat" cmpd="sng">
                    <a:solidFill>
                      <a:schemeClr val="bg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  <p:grpSp>
            <p:nvGrpSpPr>
              <p:cNvPr id="43" name="Group 51"/>
              <p:cNvGrpSpPr>
                <a:grpSpLocks/>
              </p:cNvGrpSpPr>
              <p:nvPr/>
            </p:nvGrpSpPr>
            <p:grpSpPr bwMode="auto">
              <a:xfrm>
                <a:off x="4129" y="3045"/>
                <a:ext cx="221" cy="248"/>
                <a:chOff x="4129" y="3045"/>
                <a:chExt cx="221" cy="248"/>
              </a:xfrm>
            </p:grpSpPr>
            <p:sp>
              <p:nvSpPr>
                <p:cNvPr id="44" name="Freeform 52"/>
                <p:cNvSpPr>
                  <a:spLocks/>
                </p:cNvSpPr>
                <p:nvPr/>
              </p:nvSpPr>
              <p:spPr bwMode="auto">
                <a:xfrm>
                  <a:off x="4173" y="3242"/>
                  <a:ext cx="15" cy="20"/>
                </a:xfrm>
                <a:custGeom>
                  <a:avLst/>
                  <a:gdLst>
                    <a:gd name="T0" fmla="*/ 5 w 46"/>
                    <a:gd name="T1" fmla="*/ 0 h 61"/>
                    <a:gd name="T2" fmla="*/ 0 w 46"/>
                    <a:gd name="T3" fmla="*/ 24 h 61"/>
                    <a:gd name="T4" fmla="*/ 5 w 46"/>
                    <a:gd name="T5" fmla="*/ 50 h 61"/>
                    <a:gd name="T6" fmla="*/ 18 w 46"/>
                    <a:gd name="T7" fmla="*/ 50 h 61"/>
                    <a:gd name="T8" fmla="*/ 46 w 46"/>
                    <a:gd name="T9" fmla="*/ 61 h 61"/>
                    <a:gd name="T10" fmla="*/ 35 w 46"/>
                    <a:gd name="T11" fmla="*/ 36 h 61"/>
                    <a:gd name="T12" fmla="*/ 40 w 46"/>
                    <a:gd name="T13" fmla="*/ 25 h 61"/>
                    <a:gd name="T14" fmla="*/ 5 w 46"/>
                    <a:gd name="T15" fmla="*/ 0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6" h="61">
                      <a:moveTo>
                        <a:pt x="5" y="0"/>
                      </a:moveTo>
                      <a:lnTo>
                        <a:pt x="0" y="24"/>
                      </a:lnTo>
                      <a:lnTo>
                        <a:pt x="5" y="50"/>
                      </a:lnTo>
                      <a:lnTo>
                        <a:pt x="18" y="50"/>
                      </a:lnTo>
                      <a:lnTo>
                        <a:pt x="46" y="61"/>
                      </a:lnTo>
                      <a:lnTo>
                        <a:pt x="35" y="36"/>
                      </a:lnTo>
                      <a:lnTo>
                        <a:pt x="40" y="25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0" cap="flat" cmpd="sng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45" name="Freeform 53"/>
                <p:cNvSpPr>
                  <a:spLocks/>
                </p:cNvSpPr>
                <p:nvPr/>
              </p:nvSpPr>
              <p:spPr bwMode="auto">
                <a:xfrm>
                  <a:off x="4174" y="3219"/>
                  <a:ext cx="39" cy="49"/>
                </a:xfrm>
                <a:custGeom>
                  <a:avLst/>
                  <a:gdLst>
                    <a:gd name="T0" fmla="*/ 6 w 119"/>
                    <a:gd name="T1" fmla="*/ 0 h 146"/>
                    <a:gd name="T2" fmla="*/ 43 w 119"/>
                    <a:gd name="T3" fmla="*/ 21 h 146"/>
                    <a:gd name="T4" fmla="*/ 56 w 119"/>
                    <a:gd name="T5" fmla="*/ 21 h 146"/>
                    <a:gd name="T6" fmla="*/ 57 w 119"/>
                    <a:gd name="T7" fmla="*/ 41 h 146"/>
                    <a:gd name="T8" fmla="*/ 71 w 119"/>
                    <a:gd name="T9" fmla="*/ 56 h 146"/>
                    <a:gd name="T10" fmla="*/ 82 w 119"/>
                    <a:gd name="T11" fmla="*/ 69 h 146"/>
                    <a:gd name="T12" fmla="*/ 99 w 119"/>
                    <a:gd name="T13" fmla="*/ 66 h 146"/>
                    <a:gd name="T14" fmla="*/ 116 w 119"/>
                    <a:gd name="T15" fmla="*/ 83 h 146"/>
                    <a:gd name="T16" fmla="*/ 112 w 119"/>
                    <a:gd name="T17" fmla="*/ 99 h 146"/>
                    <a:gd name="T18" fmla="*/ 119 w 119"/>
                    <a:gd name="T19" fmla="*/ 109 h 146"/>
                    <a:gd name="T20" fmla="*/ 99 w 119"/>
                    <a:gd name="T21" fmla="*/ 128 h 146"/>
                    <a:gd name="T22" fmla="*/ 82 w 119"/>
                    <a:gd name="T23" fmla="*/ 144 h 146"/>
                    <a:gd name="T24" fmla="*/ 71 w 119"/>
                    <a:gd name="T25" fmla="*/ 146 h 146"/>
                    <a:gd name="T26" fmla="*/ 68 w 119"/>
                    <a:gd name="T27" fmla="*/ 134 h 146"/>
                    <a:gd name="T28" fmla="*/ 72 w 119"/>
                    <a:gd name="T29" fmla="*/ 119 h 146"/>
                    <a:gd name="T30" fmla="*/ 68 w 119"/>
                    <a:gd name="T31" fmla="*/ 105 h 146"/>
                    <a:gd name="T32" fmla="*/ 66 w 119"/>
                    <a:gd name="T33" fmla="*/ 77 h 146"/>
                    <a:gd name="T34" fmla="*/ 47 w 119"/>
                    <a:gd name="T35" fmla="*/ 64 h 146"/>
                    <a:gd name="T36" fmla="*/ 27 w 119"/>
                    <a:gd name="T37" fmla="*/ 62 h 146"/>
                    <a:gd name="T38" fmla="*/ 25 w 119"/>
                    <a:gd name="T39" fmla="*/ 52 h 146"/>
                    <a:gd name="T40" fmla="*/ 16 w 119"/>
                    <a:gd name="T41" fmla="*/ 41 h 146"/>
                    <a:gd name="T42" fmla="*/ 0 w 119"/>
                    <a:gd name="T43" fmla="*/ 31 h 146"/>
                    <a:gd name="T44" fmla="*/ 6 w 119"/>
                    <a:gd name="T45" fmla="*/ 0 h 1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19" h="146">
                      <a:moveTo>
                        <a:pt x="6" y="0"/>
                      </a:moveTo>
                      <a:lnTo>
                        <a:pt x="43" y="21"/>
                      </a:lnTo>
                      <a:lnTo>
                        <a:pt x="56" y="21"/>
                      </a:lnTo>
                      <a:lnTo>
                        <a:pt x="57" y="41"/>
                      </a:lnTo>
                      <a:lnTo>
                        <a:pt x="71" y="56"/>
                      </a:lnTo>
                      <a:lnTo>
                        <a:pt x="82" y="69"/>
                      </a:lnTo>
                      <a:lnTo>
                        <a:pt x="99" y="66"/>
                      </a:lnTo>
                      <a:lnTo>
                        <a:pt x="116" y="83"/>
                      </a:lnTo>
                      <a:lnTo>
                        <a:pt x="112" y="99"/>
                      </a:lnTo>
                      <a:lnTo>
                        <a:pt x="119" y="109"/>
                      </a:lnTo>
                      <a:lnTo>
                        <a:pt x="99" y="128"/>
                      </a:lnTo>
                      <a:lnTo>
                        <a:pt x="82" y="144"/>
                      </a:lnTo>
                      <a:lnTo>
                        <a:pt x="71" y="146"/>
                      </a:lnTo>
                      <a:lnTo>
                        <a:pt x="68" y="134"/>
                      </a:lnTo>
                      <a:lnTo>
                        <a:pt x="72" y="119"/>
                      </a:lnTo>
                      <a:lnTo>
                        <a:pt x="68" y="105"/>
                      </a:lnTo>
                      <a:lnTo>
                        <a:pt x="66" y="77"/>
                      </a:lnTo>
                      <a:lnTo>
                        <a:pt x="47" y="64"/>
                      </a:lnTo>
                      <a:lnTo>
                        <a:pt x="27" y="62"/>
                      </a:lnTo>
                      <a:lnTo>
                        <a:pt x="25" y="52"/>
                      </a:lnTo>
                      <a:lnTo>
                        <a:pt x="16" y="41"/>
                      </a:lnTo>
                      <a:lnTo>
                        <a:pt x="0" y="31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0" cap="flat" cmpd="sng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46" name="Freeform 54"/>
                <p:cNvSpPr>
                  <a:spLocks/>
                </p:cNvSpPr>
                <p:nvPr/>
              </p:nvSpPr>
              <p:spPr bwMode="auto">
                <a:xfrm>
                  <a:off x="4273" y="3279"/>
                  <a:ext cx="11" cy="14"/>
                </a:xfrm>
                <a:custGeom>
                  <a:avLst/>
                  <a:gdLst>
                    <a:gd name="T0" fmla="*/ 0 w 34"/>
                    <a:gd name="T1" fmla="*/ 0 h 41"/>
                    <a:gd name="T2" fmla="*/ 6 w 34"/>
                    <a:gd name="T3" fmla="*/ 36 h 41"/>
                    <a:gd name="T4" fmla="*/ 34 w 34"/>
                    <a:gd name="T5" fmla="*/ 41 h 41"/>
                    <a:gd name="T6" fmla="*/ 0 w 34"/>
                    <a:gd name="T7" fmla="*/ 0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4" h="41">
                      <a:moveTo>
                        <a:pt x="0" y="0"/>
                      </a:moveTo>
                      <a:lnTo>
                        <a:pt x="6" y="36"/>
                      </a:lnTo>
                      <a:lnTo>
                        <a:pt x="34" y="4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0" cap="flat" cmpd="sng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47" name="Freeform 55"/>
                <p:cNvSpPr>
                  <a:spLocks/>
                </p:cNvSpPr>
                <p:nvPr/>
              </p:nvSpPr>
              <p:spPr bwMode="auto">
                <a:xfrm>
                  <a:off x="4301" y="3281"/>
                  <a:ext cx="14" cy="12"/>
                </a:xfrm>
                <a:custGeom>
                  <a:avLst/>
                  <a:gdLst>
                    <a:gd name="T0" fmla="*/ 0 w 43"/>
                    <a:gd name="T1" fmla="*/ 28 h 34"/>
                    <a:gd name="T2" fmla="*/ 22 w 43"/>
                    <a:gd name="T3" fmla="*/ 0 h 34"/>
                    <a:gd name="T4" fmla="*/ 43 w 43"/>
                    <a:gd name="T5" fmla="*/ 7 h 34"/>
                    <a:gd name="T6" fmla="*/ 27 w 43"/>
                    <a:gd name="T7" fmla="*/ 34 h 34"/>
                    <a:gd name="T8" fmla="*/ 0 w 43"/>
                    <a:gd name="T9" fmla="*/ 28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3" h="34">
                      <a:moveTo>
                        <a:pt x="0" y="28"/>
                      </a:moveTo>
                      <a:lnTo>
                        <a:pt x="22" y="0"/>
                      </a:lnTo>
                      <a:lnTo>
                        <a:pt x="43" y="7"/>
                      </a:lnTo>
                      <a:lnTo>
                        <a:pt x="27" y="34"/>
                      </a:lnTo>
                      <a:lnTo>
                        <a:pt x="0" y="28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0" cap="flat" cmpd="sng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48" name="Freeform 56"/>
                <p:cNvSpPr>
                  <a:spLocks/>
                </p:cNvSpPr>
                <p:nvPr/>
              </p:nvSpPr>
              <p:spPr bwMode="auto">
                <a:xfrm>
                  <a:off x="4334" y="3261"/>
                  <a:ext cx="16" cy="14"/>
                </a:xfrm>
                <a:custGeom>
                  <a:avLst/>
                  <a:gdLst>
                    <a:gd name="T0" fmla="*/ 0 w 47"/>
                    <a:gd name="T1" fmla="*/ 30 h 44"/>
                    <a:gd name="T2" fmla="*/ 47 w 47"/>
                    <a:gd name="T3" fmla="*/ 44 h 44"/>
                    <a:gd name="T4" fmla="*/ 22 w 47"/>
                    <a:gd name="T5" fmla="*/ 0 h 44"/>
                    <a:gd name="T6" fmla="*/ 0 w 47"/>
                    <a:gd name="T7" fmla="*/ 30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7" h="44">
                      <a:moveTo>
                        <a:pt x="0" y="30"/>
                      </a:moveTo>
                      <a:lnTo>
                        <a:pt x="47" y="44"/>
                      </a:lnTo>
                      <a:lnTo>
                        <a:pt x="22" y="0"/>
                      </a:lnTo>
                      <a:lnTo>
                        <a:pt x="0" y="3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0" cap="flat" cmpd="sng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49" name="Freeform 57"/>
                <p:cNvSpPr>
                  <a:spLocks/>
                </p:cNvSpPr>
                <p:nvPr/>
              </p:nvSpPr>
              <p:spPr bwMode="auto">
                <a:xfrm>
                  <a:off x="4129" y="3045"/>
                  <a:ext cx="48" cy="22"/>
                </a:xfrm>
                <a:custGeom>
                  <a:avLst/>
                  <a:gdLst>
                    <a:gd name="T0" fmla="*/ 0 w 144"/>
                    <a:gd name="T1" fmla="*/ 42 h 67"/>
                    <a:gd name="T2" fmla="*/ 66 w 144"/>
                    <a:gd name="T3" fmla="*/ 46 h 67"/>
                    <a:gd name="T4" fmla="*/ 87 w 144"/>
                    <a:gd name="T5" fmla="*/ 62 h 67"/>
                    <a:gd name="T6" fmla="*/ 108 w 144"/>
                    <a:gd name="T7" fmla="*/ 67 h 67"/>
                    <a:gd name="T8" fmla="*/ 144 w 144"/>
                    <a:gd name="T9" fmla="*/ 52 h 67"/>
                    <a:gd name="T10" fmla="*/ 124 w 144"/>
                    <a:gd name="T11" fmla="*/ 31 h 67"/>
                    <a:gd name="T12" fmla="*/ 93 w 144"/>
                    <a:gd name="T13" fmla="*/ 31 h 67"/>
                    <a:gd name="T14" fmla="*/ 83 w 144"/>
                    <a:gd name="T15" fmla="*/ 0 h 67"/>
                    <a:gd name="T16" fmla="*/ 58 w 144"/>
                    <a:gd name="T17" fmla="*/ 5 h 67"/>
                    <a:gd name="T18" fmla="*/ 0 w 144"/>
                    <a:gd name="T19" fmla="*/ 42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44" h="67">
                      <a:moveTo>
                        <a:pt x="0" y="42"/>
                      </a:moveTo>
                      <a:lnTo>
                        <a:pt x="66" y="46"/>
                      </a:lnTo>
                      <a:lnTo>
                        <a:pt x="87" y="62"/>
                      </a:lnTo>
                      <a:lnTo>
                        <a:pt x="108" y="67"/>
                      </a:lnTo>
                      <a:lnTo>
                        <a:pt x="144" y="52"/>
                      </a:lnTo>
                      <a:lnTo>
                        <a:pt x="124" y="31"/>
                      </a:lnTo>
                      <a:lnTo>
                        <a:pt x="93" y="31"/>
                      </a:lnTo>
                      <a:lnTo>
                        <a:pt x="83" y="0"/>
                      </a:lnTo>
                      <a:lnTo>
                        <a:pt x="58" y="5"/>
                      </a:lnTo>
                      <a:lnTo>
                        <a:pt x="0" y="42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0" cap="flat" cmpd="sng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pt-BR"/>
                </a:p>
              </p:txBody>
            </p:sp>
          </p:grpSp>
        </p:grpSp>
        <p:grpSp>
          <p:nvGrpSpPr>
            <p:cNvPr id="29" name="Group 58"/>
            <p:cNvGrpSpPr>
              <a:grpSpLocks/>
            </p:cNvGrpSpPr>
            <p:nvPr/>
          </p:nvGrpSpPr>
          <p:grpSpPr bwMode="auto">
            <a:xfrm>
              <a:off x="2257" y="3198"/>
              <a:ext cx="680" cy="454"/>
              <a:chOff x="3871" y="3102"/>
              <a:chExt cx="680" cy="454"/>
            </a:xfrm>
          </p:grpSpPr>
          <p:grpSp>
            <p:nvGrpSpPr>
              <p:cNvPr id="30" name="Group 59"/>
              <p:cNvGrpSpPr>
                <a:grpSpLocks/>
              </p:cNvGrpSpPr>
              <p:nvPr/>
            </p:nvGrpSpPr>
            <p:grpSpPr bwMode="auto">
              <a:xfrm>
                <a:off x="3871" y="3279"/>
                <a:ext cx="54" cy="51"/>
                <a:chOff x="3871" y="3279"/>
                <a:chExt cx="54" cy="51"/>
              </a:xfrm>
            </p:grpSpPr>
            <p:sp>
              <p:nvSpPr>
                <p:cNvPr id="35" name="Freeform 60"/>
                <p:cNvSpPr>
                  <a:spLocks/>
                </p:cNvSpPr>
                <p:nvPr/>
              </p:nvSpPr>
              <p:spPr bwMode="auto">
                <a:xfrm>
                  <a:off x="3871" y="3279"/>
                  <a:ext cx="37" cy="41"/>
                </a:xfrm>
                <a:custGeom>
                  <a:avLst/>
                  <a:gdLst>
                    <a:gd name="T0" fmla="*/ 0 w 109"/>
                    <a:gd name="T1" fmla="*/ 11 h 122"/>
                    <a:gd name="T2" fmla="*/ 15 w 109"/>
                    <a:gd name="T3" fmla="*/ 4 h 122"/>
                    <a:gd name="T4" fmla="*/ 21 w 109"/>
                    <a:gd name="T5" fmla="*/ 7 h 122"/>
                    <a:gd name="T6" fmla="*/ 31 w 109"/>
                    <a:gd name="T7" fmla="*/ 4 h 122"/>
                    <a:gd name="T8" fmla="*/ 47 w 109"/>
                    <a:gd name="T9" fmla="*/ 0 h 122"/>
                    <a:gd name="T10" fmla="*/ 59 w 109"/>
                    <a:gd name="T11" fmla="*/ 7 h 122"/>
                    <a:gd name="T12" fmla="*/ 66 w 109"/>
                    <a:gd name="T13" fmla="*/ 7 h 122"/>
                    <a:gd name="T14" fmla="*/ 71 w 109"/>
                    <a:gd name="T15" fmla="*/ 20 h 122"/>
                    <a:gd name="T16" fmla="*/ 78 w 109"/>
                    <a:gd name="T17" fmla="*/ 25 h 122"/>
                    <a:gd name="T18" fmla="*/ 77 w 109"/>
                    <a:gd name="T19" fmla="*/ 35 h 122"/>
                    <a:gd name="T20" fmla="*/ 80 w 109"/>
                    <a:gd name="T21" fmla="*/ 47 h 122"/>
                    <a:gd name="T22" fmla="*/ 81 w 109"/>
                    <a:gd name="T23" fmla="*/ 56 h 122"/>
                    <a:gd name="T24" fmla="*/ 96 w 109"/>
                    <a:gd name="T25" fmla="*/ 73 h 122"/>
                    <a:gd name="T26" fmla="*/ 102 w 109"/>
                    <a:gd name="T27" fmla="*/ 78 h 122"/>
                    <a:gd name="T28" fmla="*/ 107 w 109"/>
                    <a:gd name="T29" fmla="*/ 79 h 122"/>
                    <a:gd name="T30" fmla="*/ 109 w 109"/>
                    <a:gd name="T31" fmla="*/ 89 h 122"/>
                    <a:gd name="T32" fmla="*/ 99 w 109"/>
                    <a:gd name="T33" fmla="*/ 100 h 122"/>
                    <a:gd name="T34" fmla="*/ 81 w 109"/>
                    <a:gd name="T35" fmla="*/ 122 h 122"/>
                    <a:gd name="T36" fmla="*/ 77 w 109"/>
                    <a:gd name="T37" fmla="*/ 120 h 122"/>
                    <a:gd name="T38" fmla="*/ 74 w 109"/>
                    <a:gd name="T39" fmla="*/ 108 h 122"/>
                    <a:gd name="T40" fmla="*/ 75 w 109"/>
                    <a:gd name="T41" fmla="*/ 91 h 122"/>
                    <a:gd name="T42" fmla="*/ 78 w 109"/>
                    <a:gd name="T43" fmla="*/ 85 h 122"/>
                    <a:gd name="T44" fmla="*/ 77 w 109"/>
                    <a:gd name="T45" fmla="*/ 76 h 122"/>
                    <a:gd name="T46" fmla="*/ 52 w 109"/>
                    <a:gd name="T47" fmla="*/ 79 h 122"/>
                    <a:gd name="T48" fmla="*/ 31 w 109"/>
                    <a:gd name="T49" fmla="*/ 97 h 122"/>
                    <a:gd name="T50" fmla="*/ 31 w 109"/>
                    <a:gd name="T51" fmla="*/ 104 h 122"/>
                    <a:gd name="T52" fmla="*/ 27 w 109"/>
                    <a:gd name="T53" fmla="*/ 116 h 122"/>
                    <a:gd name="T54" fmla="*/ 13 w 109"/>
                    <a:gd name="T55" fmla="*/ 117 h 122"/>
                    <a:gd name="T56" fmla="*/ 8 w 109"/>
                    <a:gd name="T57" fmla="*/ 111 h 122"/>
                    <a:gd name="T58" fmla="*/ 13 w 109"/>
                    <a:gd name="T59" fmla="*/ 100 h 122"/>
                    <a:gd name="T60" fmla="*/ 15 w 109"/>
                    <a:gd name="T61" fmla="*/ 91 h 122"/>
                    <a:gd name="T62" fmla="*/ 19 w 109"/>
                    <a:gd name="T63" fmla="*/ 89 h 122"/>
                    <a:gd name="T64" fmla="*/ 16 w 109"/>
                    <a:gd name="T65" fmla="*/ 81 h 122"/>
                    <a:gd name="T66" fmla="*/ 30 w 109"/>
                    <a:gd name="T67" fmla="*/ 64 h 122"/>
                    <a:gd name="T68" fmla="*/ 37 w 109"/>
                    <a:gd name="T69" fmla="*/ 64 h 122"/>
                    <a:gd name="T70" fmla="*/ 47 w 109"/>
                    <a:gd name="T71" fmla="*/ 66 h 122"/>
                    <a:gd name="T72" fmla="*/ 55 w 109"/>
                    <a:gd name="T73" fmla="*/ 58 h 122"/>
                    <a:gd name="T74" fmla="*/ 62 w 109"/>
                    <a:gd name="T75" fmla="*/ 57 h 122"/>
                    <a:gd name="T76" fmla="*/ 63 w 109"/>
                    <a:gd name="T77" fmla="*/ 51 h 122"/>
                    <a:gd name="T78" fmla="*/ 41 w 109"/>
                    <a:gd name="T79" fmla="*/ 48 h 122"/>
                    <a:gd name="T80" fmla="*/ 43 w 109"/>
                    <a:gd name="T81" fmla="*/ 29 h 122"/>
                    <a:gd name="T82" fmla="*/ 35 w 109"/>
                    <a:gd name="T83" fmla="*/ 29 h 122"/>
                    <a:gd name="T84" fmla="*/ 21 w 109"/>
                    <a:gd name="T85" fmla="*/ 29 h 122"/>
                    <a:gd name="T86" fmla="*/ 0 w 109"/>
                    <a:gd name="T87" fmla="*/ 11 h 1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109" h="122">
                      <a:moveTo>
                        <a:pt x="0" y="11"/>
                      </a:moveTo>
                      <a:lnTo>
                        <a:pt x="15" y="4"/>
                      </a:lnTo>
                      <a:lnTo>
                        <a:pt x="21" y="7"/>
                      </a:lnTo>
                      <a:lnTo>
                        <a:pt x="31" y="4"/>
                      </a:lnTo>
                      <a:lnTo>
                        <a:pt x="47" y="0"/>
                      </a:lnTo>
                      <a:lnTo>
                        <a:pt x="59" y="7"/>
                      </a:lnTo>
                      <a:lnTo>
                        <a:pt x="66" y="7"/>
                      </a:lnTo>
                      <a:lnTo>
                        <a:pt x="71" y="20"/>
                      </a:lnTo>
                      <a:lnTo>
                        <a:pt x="78" y="25"/>
                      </a:lnTo>
                      <a:lnTo>
                        <a:pt x="77" y="35"/>
                      </a:lnTo>
                      <a:lnTo>
                        <a:pt x="80" y="47"/>
                      </a:lnTo>
                      <a:lnTo>
                        <a:pt x="81" y="56"/>
                      </a:lnTo>
                      <a:lnTo>
                        <a:pt x="96" y="73"/>
                      </a:lnTo>
                      <a:lnTo>
                        <a:pt x="102" y="78"/>
                      </a:lnTo>
                      <a:lnTo>
                        <a:pt x="107" y="79"/>
                      </a:lnTo>
                      <a:lnTo>
                        <a:pt x="109" y="89"/>
                      </a:lnTo>
                      <a:lnTo>
                        <a:pt x="99" y="100"/>
                      </a:lnTo>
                      <a:lnTo>
                        <a:pt x="81" y="122"/>
                      </a:lnTo>
                      <a:lnTo>
                        <a:pt x="77" y="120"/>
                      </a:lnTo>
                      <a:lnTo>
                        <a:pt x="74" y="108"/>
                      </a:lnTo>
                      <a:lnTo>
                        <a:pt x="75" y="91"/>
                      </a:lnTo>
                      <a:lnTo>
                        <a:pt x="78" y="85"/>
                      </a:lnTo>
                      <a:lnTo>
                        <a:pt x="77" y="76"/>
                      </a:lnTo>
                      <a:lnTo>
                        <a:pt x="52" y="79"/>
                      </a:lnTo>
                      <a:lnTo>
                        <a:pt x="31" y="97"/>
                      </a:lnTo>
                      <a:lnTo>
                        <a:pt x="31" y="104"/>
                      </a:lnTo>
                      <a:lnTo>
                        <a:pt x="27" y="116"/>
                      </a:lnTo>
                      <a:lnTo>
                        <a:pt x="13" y="117"/>
                      </a:lnTo>
                      <a:lnTo>
                        <a:pt x="8" y="111"/>
                      </a:lnTo>
                      <a:lnTo>
                        <a:pt x="13" y="100"/>
                      </a:lnTo>
                      <a:lnTo>
                        <a:pt x="15" y="91"/>
                      </a:lnTo>
                      <a:lnTo>
                        <a:pt x="19" y="89"/>
                      </a:lnTo>
                      <a:lnTo>
                        <a:pt x="16" y="81"/>
                      </a:lnTo>
                      <a:lnTo>
                        <a:pt x="30" y="64"/>
                      </a:lnTo>
                      <a:lnTo>
                        <a:pt x="37" y="64"/>
                      </a:lnTo>
                      <a:lnTo>
                        <a:pt x="47" y="66"/>
                      </a:lnTo>
                      <a:lnTo>
                        <a:pt x="55" y="58"/>
                      </a:lnTo>
                      <a:lnTo>
                        <a:pt x="62" y="57"/>
                      </a:lnTo>
                      <a:lnTo>
                        <a:pt x="63" y="51"/>
                      </a:lnTo>
                      <a:lnTo>
                        <a:pt x="41" y="48"/>
                      </a:lnTo>
                      <a:lnTo>
                        <a:pt x="43" y="29"/>
                      </a:lnTo>
                      <a:lnTo>
                        <a:pt x="35" y="29"/>
                      </a:lnTo>
                      <a:lnTo>
                        <a:pt x="21" y="29"/>
                      </a:lnTo>
                      <a:lnTo>
                        <a:pt x="0" y="11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0" cap="flat" cmpd="sng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6" name="Freeform 61"/>
                <p:cNvSpPr>
                  <a:spLocks/>
                </p:cNvSpPr>
                <p:nvPr/>
              </p:nvSpPr>
              <p:spPr bwMode="auto">
                <a:xfrm>
                  <a:off x="3892" y="3325"/>
                  <a:ext cx="15" cy="5"/>
                </a:xfrm>
                <a:custGeom>
                  <a:avLst/>
                  <a:gdLst>
                    <a:gd name="T0" fmla="*/ 0 w 44"/>
                    <a:gd name="T1" fmla="*/ 12 h 16"/>
                    <a:gd name="T2" fmla="*/ 25 w 44"/>
                    <a:gd name="T3" fmla="*/ 16 h 16"/>
                    <a:gd name="T4" fmla="*/ 44 w 44"/>
                    <a:gd name="T5" fmla="*/ 1 h 16"/>
                    <a:gd name="T6" fmla="*/ 25 w 44"/>
                    <a:gd name="T7" fmla="*/ 0 h 16"/>
                    <a:gd name="T8" fmla="*/ 15 w 44"/>
                    <a:gd name="T9" fmla="*/ 4 h 16"/>
                    <a:gd name="T10" fmla="*/ 0 w 44"/>
                    <a:gd name="T11" fmla="*/ 12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4" h="16">
                      <a:moveTo>
                        <a:pt x="0" y="12"/>
                      </a:moveTo>
                      <a:lnTo>
                        <a:pt x="25" y="16"/>
                      </a:lnTo>
                      <a:lnTo>
                        <a:pt x="44" y="1"/>
                      </a:lnTo>
                      <a:lnTo>
                        <a:pt x="25" y="0"/>
                      </a:lnTo>
                      <a:lnTo>
                        <a:pt x="15" y="4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0" cap="flat" cmpd="sng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7" name="Freeform 62"/>
                <p:cNvSpPr>
                  <a:spLocks/>
                </p:cNvSpPr>
                <p:nvPr/>
              </p:nvSpPr>
              <p:spPr bwMode="auto">
                <a:xfrm>
                  <a:off x="3912" y="3322"/>
                  <a:ext cx="13" cy="5"/>
                </a:xfrm>
                <a:custGeom>
                  <a:avLst/>
                  <a:gdLst>
                    <a:gd name="T0" fmla="*/ 0 w 40"/>
                    <a:gd name="T1" fmla="*/ 10 h 15"/>
                    <a:gd name="T2" fmla="*/ 22 w 40"/>
                    <a:gd name="T3" fmla="*/ 15 h 15"/>
                    <a:gd name="T4" fmla="*/ 40 w 40"/>
                    <a:gd name="T5" fmla="*/ 2 h 15"/>
                    <a:gd name="T6" fmla="*/ 30 w 40"/>
                    <a:gd name="T7" fmla="*/ 0 h 15"/>
                    <a:gd name="T8" fmla="*/ 0 w 40"/>
                    <a:gd name="T9" fmla="*/ 1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0" h="15">
                      <a:moveTo>
                        <a:pt x="0" y="10"/>
                      </a:moveTo>
                      <a:lnTo>
                        <a:pt x="22" y="15"/>
                      </a:lnTo>
                      <a:lnTo>
                        <a:pt x="40" y="2"/>
                      </a:lnTo>
                      <a:lnTo>
                        <a:pt x="30" y="0"/>
                      </a:lnTo>
                      <a:lnTo>
                        <a:pt x="0" y="1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0" cap="flat" cmpd="sng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pt-BR"/>
                </a:p>
              </p:txBody>
            </p:sp>
          </p:grpSp>
          <p:grpSp>
            <p:nvGrpSpPr>
              <p:cNvPr id="31" name="Group 63"/>
              <p:cNvGrpSpPr>
                <a:grpSpLocks/>
              </p:cNvGrpSpPr>
              <p:nvPr/>
            </p:nvGrpSpPr>
            <p:grpSpPr bwMode="auto">
              <a:xfrm>
                <a:off x="4508" y="3451"/>
                <a:ext cx="43" cy="105"/>
                <a:chOff x="4508" y="3451"/>
                <a:chExt cx="43" cy="105"/>
              </a:xfrm>
            </p:grpSpPr>
            <p:sp>
              <p:nvSpPr>
                <p:cNvPr id="33" name="Freeform 64"/>
                <p:cNvSpPr>
                  <a:spLocks/>
                </p:cNvSpPr>
                <p:nvPr/>
              </p:nvSpPr>
              <p:spPr bwMode="auto">
                <a:xfrm>
                  <a:off x="4508" y="3451"/>
                  <a:ext cx="17" cy="29"/>
                </a:xfrm>
                <a:custGeom>
                  <a:avLst/>
                  <a:gdLst>
                    <a:gd name="T0" fmla="*/ 37 w 51"/>
                    <a:gd name="T1" fmla="*/ 0 h 86"/>
                    <a:gd name="T2" fmla="*/ 0 w 51"/>
                    <a:gd name="T3" fmla="*/ 25 h 86"/>
                    <a:gd name="T4" fmla="*/ 16 w 51"/>
                    <a:gd name="T5" fmla="*/ 60 h 86"/>
                    <a:gd name="T6" fmla="*/ 26 w 51"/>
                    <a:gd name="T7" fmla="*/ 86 h 86"/>
                    <a:gd name="T8" fmla="*/ 51 w 51"/>
                    <a:gd name="T9" fmla="*/ 66 h 86"/>
                    <a:gd name="T10" fmla="*/ 37 w 51"/>
                    <a:gd name="T11" fmla="*/ 0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1" h="86">
                      <a:moveTo>
                        <a:pt x="37" y="0"/>
                      </a:moveTo>
                      <a:lnTo>
                        <a:pt x="0" y="25"/>
                      </a:lnTo>
                      <a:lnTo>
                        <a:pt x="16" y="60"/>
                      </a:lnTo>
                      <a:lnTo>
                        <a:pt x="26" y="86"/>
                      </a:lnTo>
                      <a:lnTo>
                        <a:pt x="51" y="66"/>
                      </a:lnTo>
                      <a:lnTo>
                        <a:pt x="37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0" cap="flat" cmpd="sng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34" name="Freeform 65"/>
                <p:cNvSpPr>
                  <a:spLocks/>
                </p:cNvSpPr>
                <p:nvPr/>
              </p:nvSpPr>
              <p:spPr bwMode="auto">
                <a:xfrm>
                  <a:off x="4537" y="3526"/>
                  <a:ext cx="14" cy="30"/>
                </a:xfrm>
                <a:custGeom>
                  <a:avLst/>
                  <a:gdLst>
                    <a:gd name="T0" fmla="*/ 26 w 41"/>
                    <a:gd name="T1" fmla="*/ 0 h 89"/>
                    <a:gd name="T2" fmla="*/ 0 w 41"/>
                    <a:gd name="T3" fmla="*/ 17 h 89"/>
                    <a:gd name="T4" fmla="*/ 6 w 41"/>
                    <a:gd name="T5" fmla="*/ 47 h 89"/>
                    <a:gd name="T6" fmla="*/ 10 w 41"/>
                    <a:gd name="T7" fmla="*/ 85 h 89"/>
                    <a:gd name="T8" fmla="*/ 41 w 41"/>
                    <a:gd name="T9" fmla="*/ 89 h 89"/>
                    <a:gd name="T10" fmla="*/ 41 w 41"/>
                    <a:gd name="T11" fmla="*/ 60 h 89"/>
                    <a:gd name="T12" fmla="*/ 26 w 41"/>
                    <a:gd name="T13" fmla="*/ 0 h 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1" h="89">
                      <a:moveTo>
                        <a:pt x="26" y="0"/>
                      </a:moveTo>
                      <a:lnTo>
                        <a:pt x="0" y="17"/>
                      </a:lnTo>
                      <a:lnTo>
                        <a:pt x="6" y="47"/>
                      </a:lnTo>
                      <a:lnTo>
                        <a:pt x="10" y="85"/>
                      </a:lnTo>
                      <a:lnTo>
                        <a:pt x="41" y="89"/>
                      </a:lnTo>
                      <a:lnTo>
                        <a:pt x="41" y="60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0" cap="flat" cmpd="sng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pt-BR"/>
                </a:p>
              </p:txBody>
            </p:sp>
          </p:grpSp>
          <p:sp>
            <p:nvSpPr>
              <p:cNvPr id="32" name="Freeform 66"/>
              <p:cNvSpPr>
                <a:spLocks/>
              </p:cNvSpPr>
              <p:nvPr/>
            </p:nvSpPr>
            <p:spPr bwMode="auto">
              <a:xfrm>
                <a:off x="4342" y="3102"/>
                <a:ext cx="76" cy="52"/>
              </a:xfrm>
              <a:custGeom>
                <a:avLst/>
                <a:gdLst>
                  <a:gd name="T0" fmla="*/ 219 w 226"/>
                  <a:gd name="T1" fmla="*/ 97 h 157"/>
                  <a:gd name="T2" fmla="*/ 226 w 226"/>
                  <a:gd name="T3" fmla="*/ 141 h 157"/>
                  <a:gd name="T4" fmla="*/ 201 w 226"/>
                  <a:gd name="T5" fmla="*/ 153 h 157"/>
                  <a:gd name="T6" fmla="*/ 173 w 226"/>
                  <a:gd name="T7" fmla="*/ 157 h 157"/>
                  <a:gd name="T8" fmla="*/ 150 w 226"/>
                  <a:gd name="T9" fmla="*/ 143 h 157"/>
                  <a:gd name="T10" fmla="*/ 135 w 226"/>
                  <a:gd name="T11" fmla="*/ 122 h 157"/>
                  <a:gd name="T12" fmla="*/ 125 w 226"/>
                  <a:gd name="T13" fmla="*/ 110 h 157"/>
                  <a:gd name="T14" fmla="*/ 92 w 226"/>
                  <a:gd name="T15" fmla="*/ 115 h 157"/>
                  <a:gd name="T16" fmla="*/ 63 w 226"/>
                  <a:gd name="T17" fmla="*/ 118 h 157"/>
                  <a:gd name="T18" fmla="*/ 42 w 226"/>
                  <a:gd name="T19" fmla="*/ 110 h 157"/>
                  <a:gd name="T20" fmla="*/ 32 w 226"/>
                  <a:gd name="T21" fmla="*/ 91 h 157"/>
                  <a:gd name="T22" fmla="*/ 0 w 226"/>
                  <a:gd name="T23" fmla="*/ 90 h 157"/>
                  <a:gd name="T24" fmla="*/ 1 w 226"/>
                  <a:gd name="T25" fmla="*/ 70 h 157"/>
                  <a:gd name="T26" fmla="*/ 7 w 226"/>
                  <a:gd name="T27" fmla="*/ 56 h 157"/>
                  <a:gd name="T28" fmla="*/ 1 w 226"/>
                  <a:gd name="T29" fmla="*/ 38 h 157"/>
                  <a:gd name="T30" fmla="*/ 6 w 226"/>
                  <a:gd name="T31" fmla="*/ 25 h 157"/>
                  <a:gd name="T32" fmla="*/ 10 w 226"/>
                  <a:gd name="T33" fmla="*/ 13 h 157"/>
                  <a:gd name="T34" fmla="*/ 31 w 226"/>
                  <a:gd name="T35" fmla="*/ 0 h 157"/>
                  <a:gd name="T36" fmla="*/ 53 w 226"/>
                  <a:gd name="T37" fmla="*/ 4 h 157"/>
                  <a:gd name="T38" fmla="*/ 53 w 226"/>
                  <a:gd name="T39" fmla="*/ 23 h 157"/>
                  <a:gd name="T40" fmla="*/ 51 w 226"/>
                  <a:gd name="T41" fmla="*/ 38 h 157"/>
                  <a:gd name="T42" fmla="*/ 58 w 226"/>
                  <a:gd name="T43" fmla="*/ 45 h 157"/>
                  <a:gd name="T44" fmla="*/ 73 w 226"/>
                  <a:gd name="T45" fmla="*/ 50 h 157"/>
                  <a:gd name="T46" fmla="*/ 83 w 226"/>
                  <a:gd name="T47" fmla="*/ 54 h 157"/>
                  <a:gd name="T48" fmla="*/ 97 w 226"/>
                  <a:gd name="T49" fmla="*/ 48 h 157"/>
                  <a:gd name="T50" fmla="*/ 107 w 226"/>
                  <a:gd name="T51" fmla="*/ 48 h 157"/>
                  <a:gd name="T52" fmla="*/ 117 w 226"/>
                  <a:gd name="T53" fmla="*/ 35 h 157"/>
                  <a:gd name="T54" fmla="*/ 129 w 226"/>
                  <a:gd name="T55" fmla="*/ 40 h 157"/>
                  <a:gd name="T56" fmla="*/ 139 w 226"/>
                  <a:gd name="T57" fmla="*/ 54 h 157"/>
                  <a:gd name="T58" fmla="*/ 138 w 226"/>
                  <a:gd name="T59" fmla="*/ 65 h 157"/>
                  <a:gd name="T60" fmla="*/ 160 w 226"/>
                  <a:gd name="T61" fmla="*/ 65 h 157"/>
                  <a:gd name="T62" fmla="*/ 183 w 226"/>
                  <a:gd name="T63" fmla="*/ 60 h 157"/>
                  <a:gd name="T64" fmla="*/ 194 w 226"/>
                  <a:gd name="T65" fmla="*/ 69 h 157"/>
                  <a:gd name="T66" fmla="*/ 219 w 226"/>
                  <a:gd name="T67" fmla="*/ 97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26" h="157">
                    <a:moveTo>
                      <a:pt x="219" y="97"/>
                    </a:moveTo>
                    <a:lnTo>
                      <a:pt x="226" y="141"/>
                    </a:lnTo>
                    <a:lnTo>
                      <a:pt x="201" y="153"/>
                    </a:lnTo>
                    <a:lnTo>
                      <a:pt x="173" y="157"/>
                    </a:lnTo>
                    <a:lnTo>
                      <a:pt x="150" y="143"/>
                    </a:lnTo>
                    <a:lnTo>
                      <a:pt x="135" y="122"/>
                    </a:lnTo>
                    <a:lnTo>
                      <a:pt x="125" y="110"/>
                    </a:lnTo>
                    <a:lnTo>
                      <a:pt x="92" y="115"/>
                    </a:lnTo>
                    <a:lnTo>
                      <a:pt x="63" y="118"/>
                    </a:lnTo>
                    <a:lnTo>
                      <a:pt x="42" y="110"/>
                    </a:lnTo>
                    <a:lnTo>
                      <a:pt x="32" y="91"/>
                    </a:lnTo>
                    <a:lnTo>
                      <a:pt x="0" y="90"/>
                    </a:lnTo>
                    <a:lnTo>
                      <a:pt x="1" y="70"/>
                    </a:lnTo>
                    <a:lnTo>
                      <a:pt x="7" y="56"/>
                    </a:lnTo>
                    <a:lnTo>
                      <a:pt x="1" y="38"/>
                    </a:lnTo>
                    <a:lnTo>
                      <a:pt x="6" y="25"/>
                    </a:lnTo>
                    <a:lnTo>
                      <a:pt x="10" y="13"/>
                    </a:lnTo>
                    <a:lnTo>
                      <a:pt x="31" y="0"/>
                    </a:lnTo>
                    <a:lnTo>
                      <a:pt x="53" y="4"/>
                    </a:lnTo>
                    <a:lnTo>
                      <a:pt x="53" y="23"/>
                    </a:lnTo>
                    <a:lnTo>
                      <a:pt x="51" y="38"/>
                    </a:lnTo>
                    <a:lnTo>
                      <a:pt x="58" y="45"/>
                    </a:lnTo>
                    <a:lnTo>
                      <a:pt x="73" y="50"/>
                    </a:lnTo>
                    <a:lnTo>
                      <a:pt x="83" y="54"/>
                    </a:lnTo>
                    <a:lnTo>
                      <a:pt x="97" y="48"/>
                    </a:lnTo>
                    <a:lnTo>
                      <a:pt x="107" y="48"/>
                    </a:lnTo>
                    <a:lnTo>
                      <a:pt x="117" y="35"/>
                    </a:lnTo>
                    <a:lnTo>
                      <a:pt x="129" y="40"/>
                    </a:lnTo>
                    <a:lnTo>
                      <a:pt x="139" y="54"/>
                    </a:lnTo>
                    <a:lnTo>
                      <a:pt x="138" y="65"/>
                    </a:lnTo>
                    <a:lnTo>
                      <a:pt x="160" y="65"/>
                    </a:lnTo>
                    <a:lnTo>
                      <a:pt x="183" y="60"/>
                    </a:lnTo>
                    <a:lnTo>
                      <a:pt x="194" y="69"/>
                    </a:lnTo>
                    <a:lnTo>
                      <a:pt x="219" y="9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0" cap="flat" cmpd="sng">
                    <a:solidFill>
                      <a:schemeClr val="bg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</p:grpSp>
      </p:grpSp>
      <p:grpSp>
        <p:nvGrpSpPr>
          <p:cNvPr id="67" name="Agrupar 66"/>
          <p:cNvGrpSpPr/>
          <p:nvPr/>
        </p:nvGrpSpPr>
        <p:grpSpPr>
          <a:xfrm>
            <a:off x="1018537" y="607259"/>
            <a:ext cx="10730551" cy="4811751"/>
            <a:chOff x="2211388" y="2178050"/>
            <a:chExt cx="7816850" cy="3505201"/>
          </a:xfrm>
          <a:solidFill>
            <a:srgbClr val="D6D6CE"/>
          </a:solidFill>
        </p:grpSpPr>
        <p:sp>
          <p:nvSpPr>
            <p:cNvPr id="68" name="Freeform 68"/>
            <p:cNvSpPr>
              <a:spLocks/>
            </p:cNvSpPr>
            <p:nvPr/>
          </p:nvSpPr>
          <p:spPr bwMode="auto">
            <a:xfrm>
              <a:off x="9910763" y="4981575"/>
              <a:ext cx="117475" cy="217488"/>
            </a:xfrm>
            <a:custGeom>
              <a:avLst/>
              <a:gdLst>
                <a:gd name="T0" fmla="*/ 13 w 40"/>
                <a:gd name="T1" fmla="*/ 1 h 74"/>
                <a:gd name="T2" fmla="*/ 17 w 40"/>
                <a:gd name="T3" fmla="*/ 0 h 74"/>
                <a:gd name="T4" fmla="*/ 24 w 40"/>
                <a:gd name="T5" fmla="*/ 8 h 74"/>
                <a:gd name="T6" fmla="*/ 23 w 40"/>
                <a:gd name="T7" fmla="*/ 31 h 74"/>
                <a:gd name="T8" fmla="*/ 28 w 40"/>
                <a:gd name="T9" fmla="*/ 31 h 74"/>
                <a:gd name="T10" fmla="*/ 29 w 40"/>
                <a:gd name="T11" fmla="*/ 34 h 74"/>
                <a:gd name="T12" fmla="*/ 31 w 40"/>
                <a:gd name="T13" fmla="*/ 39 h 74"/>
                <a:gd name="T14" fmla="*/ 32 w 40"/>
                <a:gd name="T15" fmla="*/ 42 h 74"/>
                <a:gd name="T16" fmla="*/ 36 w 40"/>
                <a:gd name="T17" fmla="*/ 41 h 74"/>
                <a:gd name="T18" fmla="*/ 39 w 40"/>
                <a:gd name="T19" fmla="*/ 36 h 74"/>
                <a:gd name="T20" fmla="*/ 40 w 40"/>
                <a:gd name="T21" fmla="*/ 39 h 74"/>
                <a:gd name="T22" fmla="*/ 38 w 40"/>
                <a:gd name="T23" fmla="*/ 43 h 74"/>
                <a:gd name="T24" fmla="*/ 36 w 40"/>
                <a:gd name="T25" fmla="*/ 46 h 74"/>
                <a:gd name="T26" fmla="*/ 35 w 40"/>
                <a:gd name="T27" fmla="*/ 52 h 74"/>
                <a:gd name="T28" fmla="*/ 30 w 40"/>
                <a:gd name="T29" fmla="*/ 55 h 74"/>
                <a:gd name="T30" fmla="*/ 27 w 40"/>
                <a:gd name="T31" fmla="*/ 56 h 74"/>
                <a:gd name="T32" fmla="*/ 23 w 40"/>
                <a:gd name="T33" fmla="*/ 59 h 74"/>
                <a:gd name="T34" fmla="*/ 22 w 40"/>
                <a:gd name="T35" fmla="*/ 62 h 74"/>
                <a:gd name="T36" fmla="*/ 23 w 40"/>
                <a:gd name="T37" fmla="*/ 65 h 74"/>
                <a:gd name="T38" fmla="*/ 24 w 40"/>
                <a:gd name="T39" fmla="*/ 70 h 74"/>
                <a:gd name="T40" fmla="*/ 19 w 40"/>
                <a:gd name="T41" fmla="*/ 72 h 74"/>
                <a:gd name="T42" fmla="*/ 16 w 40"/>
                <a:gd name="T43" fmla="*/ 73 h 74"/>
                <a:gd name="T44" fmla="*/ 13 w 40"/>
                <a:gd name="T45" fmla="*/ 74 h 74"/>
                <a:gd name="T46" fmla="*/ 11 w 40"/>
                <a:gd name="T47" fmla="*/ 73 h 74"/>
                <a:gd name="T48" fmla="*/ 6 w 40"/>
                <a:gd name="T49" fmla="*/ 72 h 74"/>
                <a:gd name="T50" fmla="*/ 4 w 40"/>
                <a:gd name="T51" fmla="*/ 70 h 74"/>
                <a:gd name="T52" fmla="*/ 6 w 40"/>
                <a:gd name="T53" fmla="*/ 66 h 74"/>
                <a:gd name="T54" fmla="*/ 10 w 40"/>
                <a:gd name="T55" fmla="*/ 65 h 74"/>
                <a:gd name="T56" fmla="*/ 13 w 40"/>
                <a:gd name="T57" fmla="*/ 60 h 74"/>
                <a:gd name="T58" fmla="*/ 13 w 40"/>
                <a:gd name="T59" fmla="*/ 58 h 74"/>
                <a:gd name="T60" fmla="*/ 10 w 40"/>
                <a:gd name="T61" fmla="*/ 56 h 74"/>
                <a:gd name="T62" fmla="*/ 6 w 40"/>
                <a:gd name="T63" fmla="*/ 53 h 74"/>
                <a:gd name="T64" fmla="*/ 3 w 40"/>
                <a:gd name="T65" fmla="*/ 53 h 74"/>
                <a:gd name="T66" fmla="*/ 1 w 40"/>
                <a:gd name="T67" fmla="*/ 52 h 74"/>
                <a:gd name="T68" fmla="*/ 0 w 40"/>
                <a:gd name="T69" fmla="*/ 49 h 74"/>
                <a:gd name="T70" fmla="*/ 1 w 40"/>
                <a:gd name="T71" fmla="*/ 47 h 74"/>
                <a:gd name="T72" fmla="*/ 3 w 40"/>
                <a:gd name="T73" fmla="*/ 47 h 74"/>
                <a:gd name="T74" fmla="*/ 6 w 40"/>
                <a:gd name="T75" fmla="*/ 46 h 74"/>
                <a:gd name="T76" fmla="*/ 10 w 40"/>
                <a:gd name="T77" fmla="*/ 43 h 74"/>
                <a:gd name="T78" fmla="*/ 12 w 40"/>
                <a:gd name="T79" fmla="*/ 42 h 74"/>
                <a:gd name="T80" fmla="*/ 14 w 40"/>
                <a:gd name="T81" fmla="*/ 31 h 74"/>
                <a:gd name="T82" fmla="*/ 12 w 40"/>
                <a:gd name="T83" fmla="*/ 28 h 74"/>
                <a:gd name="T84" fmla="*/ 9 w 40"/>
                <a:gd name="T85" fmla="*/ 26 h 74"/>
                <a:gd name="T86" fmla="*/ 8 w 40"/>
                <a:gd name="T87" fmla="*/ 20 h 74"/>
                <a:gd name="T88" fmla="*/ 9 w 40"/>
                <a:gd name="T89" fmla="*/ 14 h 74"/>
                <a:gd name="T90" fmla="*/ 10 w 40"/>
                <a:gd name="T91" fmla="*/ 10 h 74"/>
                <a:gd name="T92" fmla="*/ 13 w 40"/>
                <a:gd name="T93" fmla="*/ 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0" h="74">
                  <a:moveTo>
                    <a:pt x="13" y="1"/>
                  </a:moveTo>
                  <a:lnTo>
                    <a:pt x="17" y="0"/>
                  </a:lnTo>
                  <a:lnTo>
                    <a:pt x="24" y="8"/>
                  </a:lnTo>
                  <a:lnTo>
                    <a:pt x="23" y="31"/>
                  </a:lnTo>
                  <a:lnTo>
                    <a:pt x="28" y="31"/>
                  </a:lnTo>
                  <a:lnTo>
                    <a:pt x="29" y="34"/>
                  </a:lnTo>
                  <a:lnTo>
                    <a:pt x="31" y="39"/>
                  </a:lnTo>
                  <a:lnTo>
                    <a:pt x="32" y="42"/>
                  </a:lnTo>
                  <a:lnTo>
                    <a:pt x="36" y="41"/>
                  </a:lnTo>
                  <a:lnTo>
                    <a:pt x="39" y="36"/>
                  </a:lnTo>
                  <a:lnTo>
                    <a:pt x="40" y="39"/>
                  </a:lnTo>
                  <a:lnTo>
                    <a:pt x="38" y="43"/>
                  </a:lnTo>
                  <a:lnTo>
                    <a:pt x="36" y="46"/>
                  </a:lnTo>
                  <a:lnTo>
                    <a:pt x="35" y="52"/>
                  </a:lnTo>
                  <a:lnTo>
                    <a:pt x="30" y="55"/>
                  </a:lnTo>
                  <a:lnTo>
                    <a:pt x="27" y="56"/>
                  </a:lnTo>
                  <a:lnTo>
                    <a:pt x="23" y="59"/>
                  </a:lnTo>
                  <a:lnTo>
                    <a:pt x="22" y="62"/>
                  </a:lnTo>
                  <a:lnTo>
                    <a:pt x="23" y="65"/>
                  </a:lnTo>
                  <a:lnTo>
                    <a:pt x="24" y="70"/>
                  </a:lnTo>
                  <a:lnTo>
                    <a:pt x="19" y="72"/>
                  </a:lnTo>
                  <a:lnTo>
                    <a:pt x="16" y="73"/>
                  </a:lnTo>
                  <a:lnTo>
                    <a:pt x="13" y="74"/>
                  </a:lnTo>
                  <a:lnTo>
                    <a:pt x="11" y="73"/>
                  </a:lnTo>
                  <a:lnTo>
                    <a:pt x="6" y="72"/>
                  </a:lnTo>
                  <a:lnTo>
                    <a:pt x="4" y="70"/>
                  </a:lnTo>
                  <a:lnTo>
                    <a:pt x="6" y="66"/>
                  </a:lnTo>
                  <a:lnTo>
                    <a:pt x="10" y="65"/>
                  </a:lnTo>
                  <a:lnTo>
                    <a:pt x="13" y="60"/>
                  </a:lnTo>
                  <a:lnTo>
                    <a:pt x="13" y="58"/>
                  </a:lnTo>
                  <a:lnTo>
                    <a:pt x="10" y="56"/>
                  </a:lnTo>
                  <a:lnTo>
                    <a:pt x="6" y="53"/>
                  </a:lnTo>
                  <a:lnTo>
                    <a:pt x="3" y="53"/>
                  </a:lnTo>
                  <a:lnTo>
                    <a:pt x="1" y="52"/>
                  </a:lnTo>
                  <a:lnTo>
                    <a:pt x="0" y="49"/>
                  </a:lnTo>
                  <a:lnTo>
                    <a:pt x="1" y="47"/>
                  </a:lnTo>
                  <a:lnTo>
                    <a:pt x="3" y="47"/>
                  </a:lnTo>
                  <a:lnTo>
                    <a:pt x="6" y="46"/>
                  </a:lnTo>
                  <a:lnTo>
                    <a:pt x="10" y="43"/>
                  </a:lnTo>
                  <a:lnTo>
                    <a:pt x="12" y="42"/>
                  </a:lnTo>
                  <a:lnTo>
                    <a:pt x="14" y="31"/>
                  </a:lnTo>
                  <a:lnTo>
                    <a:pt x="12" y="28"/>
                  </a:lnTo>
                  <a:lnTo>
                    <a:pt x="9" y="26"/>
                  </a:lnTo>
                  <a:lnTo>
                    <a:pt x="8" y="20"/>
                  </a:lnTo>
                  <a:lnTo>
                    <a:pt x="9" y="14"/>
                  </a:lnTo>
                  <a:lnTo>
                    <a:pt x="10" y="10"/>
                  </a:lnTo>
                  <a:lnTo>
                    <a:pt x="13" y="1"/>
                  </a:ln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69" name="Freeform 69"/>
            <p:cNvSpPr>
              <a:spLocks/>
            </p:cNvSpPr>
            <p:nvPr/>
          </p:nvSpPr>
          <p:spPr bwMode="auto">
            <a:xfrm>
              <a:off x="9685338" y="5153025"/>
              <a:ext cx="215900" cy="184150"/>
            </a:xfrm>
            <a:custGeom>
              <a:avLst/>
              <a:gdLst>
                <a:gd name="T0" fmla="*/ 52 w 74"/>
                <a:gd name="T1" fmla="*/ 0 h 63"/>
                <a:gd name="T2" fmla="*/ 61 w 74"/>
                <a:gd name="T3" fmla="*/ 0 h 63"/>
                <a:gd name="T4" fmla="*/ 74 w 74"/>
                <a:gd name="T5" fmla="*/ 18 h 63"/>
                <a:gd name="T6" fmla="*/ 60 w 74"/>
                <a:gd name="T7" fmla="*/ 32 h 63"/>
                <a:gd name="T8" fmla="*/ 60 w 74"/>
                <a:gd name="T9" fmla="*/ 38 h 63"/>
                <a:gd name="T10" fmla="*/ 57 w 74"/>
                <a:gd name="T11" fmla="*/ 40 h 63"/>
                <a:gd name="T12" fmla="*/ 49 w 74"/>
                <a:gd name="T13" fmla="*/ 40 h 63"/>
                <a:gd name="T14" fmla="*/ 39 w 74"/>
                <a:gd name="T15" fmla="*/ 48 h 63"/>
                <a:gd name="T16" fmla="*/ 30 w 74"/>
                <a:gd name="T17" fmla="*/ 56 h 63"/>
                <a:gd name="T18" fmla="*/ 24 w 74"/>
                <a:gd name="T19" fmla="*/ 63 h 63"/>
                <a:gd name="T20" fmla="*/ 24 w 74"/>
                <a:gd name="T21" fmla="*/ 57 h 63"/>
                <a:gd name="T22" fmla="*/ 13 w 74"/>
                <a:gd name="T23" fmla="*/ 58 h 63"/>
                <a:gd name="T24" fmla="*/ 8 w 74"/>
                <a:gd name="T25" fmla="*/ 58 h 63"/>
                <a:gd name="T26" fmla="*/ 0 w 74"/>
                <a:gd name="T27" fmla="*/ 58 h 63"/>
                <a:gd name="T28" fmla="*/ 11 w 74"/>
                <a:gd name="T29" fmla="*/ 48 h 63"/>
                <a:gd name="T30" fmla="*/ 15 w 74"/>
                <a:gd name="T31" fmla="*/ 43 h 63"/>
                <a:gd name="T32" fmla="*/ 19 w 74"/>
                <a:gd name="T33" fmla="*/ 43 h 63"/>
                <a:gd name="T34" fmla="*/ 27 w 74"/>
                <a:gd name="T35" fmla="*/ 35 h 63"/>
                <a:gd name="T36" fmla="*/ 30 w 74"/>
                <a:gd name="T37" fmla="*/ 35 h 63"/>
                <a:gd name="T38" fmla="*/ 30 w 74"/>
                <a:gd name="T39" fmla="*/ 34 h 63"/>
                <a:gd name="T40" fmla="*/ 34 w 74"/>
                <a:gd name="T41" fmla="*/ 31 h 63"/>
                <a:gd name="T42" fmla="*/ 39 w 74"/>
                <a:gd name="T43" fmla="*/ 31 h 63"/>
                <a:gd name="T44" fmla="*/ 37 w 74"/>
                <a:gd name="T45" fmla="*/ 22 h 63"/>
                <a:gd name="T46" fmla="*/ 38 w 74"/>
                <a:gd name="T47" fmla="*/ 22 h 63"/>
                <a:gd name="T48" fmla="*/ 43 w 74"/>
                <a:gd name="T49" fmla="*/ 17 h 63"/>
                <a:gd name="T50" fmla="*/ 45 w 74"/>
                <a:gd name="T51" fmla="*/ 21 h 63"/>
                <a:gd name="T52" fmla="*/ 53 w 74"/>
                <a:gd name="T53" fmla="*/ 14 h 63"/>
                <a:gd name="T54" fmla="*/ 52 w 74"/>
                <a:gd name="T55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4" h="63">
                  <a:moveTo>
                    <a:pt x="52" y="0"/>
                  </a:moveTo>
                  <a:lnTo>
                    <a:pt x="61" y="0"/>
                  </a:lnTo>
                  <a:lnTo>
                    <a:pt x="74" y="18"/>
                  </a:lnTo>
                  <a:lnTo>
                    <a:pt x="60" y="32"/>
                  </a:lnTo>
                  <a:lnTo>
                    <a:pt x="60" y="38"/>
                  </a:lnTo>
                  <a:lnTo>
                    <a:pt x="57" y="40"/>
                  </a:lnTo>
                  <a:lnTo>
                    <a:pt x="49" y="40"/>
                  </a:lnTo>
                  <a:lnTo>
                    <a:pt x="39" y="48"/>
                  </a:lnTo>
                  <a:lnTo>
                    <a:pt x="30" y="56"/>
                  </a:lnTo>
                  <a:lnTo>
                    <a:pt x="24" y="63"/>
                  </a:lnTo>
                  <a:lnTo>
                    <a:pt x="24" y="57"/>
                  </a:lnTo>
                  <a:lnTo>
                    <a:pt x="13" y="58"/>
                  </a:lnTo>
                  <a:lnTo>
                    <a:pt x="8" y="58"/>
                  </a:lnTo>
                  <a:lnTo>
                    <a:pt x="0" y="58"/>
                  </a:lnTo>
                  <a:lnTo>
                    <a:pt x="11" y="48"/>
                  </a:lnTo>
                  <a:lnTo>
                    <a:pt x="15" y="43"/>
                  </a:lnTo>
                  <a:lnTo>
                    <a:pt x="19" y="43"/>
                  </a:lnTo>
                  <a:lnTo>
                    <a:pt x="27" y="35"/>
                  </a:lnTo>
                  <a:lnTo>
                    <a:pt x="30" y="35"/>
                  </a:lnTo>
                  <a:lnTo>
                    <a:pt x="30" y="34"/>
                  </a:lnTo>
                  <a:lnTo>
                    <a:pt x="34" y="31"/>
                  </a:lnTo>
                  <a:lnTo>
                    <a:pt x="39" y="31"/>
                  </a:lnTo>
                  <a:lnTo>
                    <a:pt x="37" y="22"/>
                  </a:lnTo>
                  <a:lnTo>
                    <a:pt x="38" y="22"/>
                  </a:lnTo>
                  <a:lnTo>
                    <a:pt x="43" y="17"/>
                  </a:lnTo>
                  <a:lnTo>
                    <a:pt x="45" y="21"/>
                  </a:lnTo>
                  <a:lnTo>
                    <a:pt x="53" y="14"/>
                  </a:lnTo>
                  <a:lnTo>
                    <a:pt x="52" y="0"/>
                  </a:ln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70" name="Freeform 70"/>
            <p:cNvSpPr>
              <a:spLocks/>
            </p:cNvSpPr>
            <p:nvPr/>
          </p:nvSpPr>
          <p:spPr bwMode="auto">
            <a:xfrm>
              <a:off x="9467851" y="5268913"/>
              <a:ext cx="80963" cy="100013"/>
            </a:xfrm>
            <a:custGeom>
              <a:avLst/>
              <a:gdLst>
                <a:gd name="T0" fmla="*/ 0 w 28"/>
                <a:gd name="T1" fmla="*/ 0 h 34"/>
                <a:gd name="T2" fmla="*/ 6 w 28"/>
                <a:gd name="T3" fmla="*/ 0 h 34"/>
                <a:gd name="T4" fmla="*/ 13 w 28"/>
                <a:gd name="T5" fmla="*/ 4 h 34"/>
                <a:gd name="T6" fmla="*/ 28 w 28"/>
                <a:gd name="T7" fmla="*/ 4 h 34"/>
                <a:gd name="T8" fmla="*/ 26 w 28"/>
                <a:gd name="T9" fmla="*/ 11 h 34"/>
                <a:gd name="T10" fmla="*/ 28 w 28"/>
                <a:gd name="T11" fmla="*/ 17 h 34"/>
                <a:gd name="T12" fmla="*/ 23 w 28"/>
                <a:gd name="T13" fmla="*/ 17 h 34"/>
                <a:gd name="T14" fmla="*/ 22 w 28"/>
                <a:gd name="T15" fmla="*/ 18 h 34"/>
                <a:gd name="T16" fmla="*/ 19 w 28"/>
                <a:gd name="T17" fmla="*/ 19 h 34"/>
                <a:gd name="T18" fmla="*/ 22 w 28"/>
                <a:gd name="T19" fmla="*/ 34 h 34"/>
                <a:gd name="T20" fmla="*/ 13 w 28"/>
                <a:gd name="T21" fmla="*/ 33 h 34"/>
                <a:gd name="T22" fmla="*/ 5 w 28"/>
                <a:gd name="T23" fmla="*/ 28 h 34"/>
                <a:gd name="T24" fmla="*/ 5 w 28"/>
                <a:gd name="T25" fmla="*/ 18 h 34"/>
                <a:gd name="T26" fmla="*/ 5 w 28"/>
                <a:gd name="T27" fmla="*/ 14 h 34"/>
                <a:gd name="T28" fmla="*/ 0 w 28"/>
                <a:gd name="T29" fmla="*/ 11 h 34"/>
                <a:gd name="T30" fmla="*/ 0 w 28"/>
                <a:gd name="T31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34">
                  <a:moveTo>
                    <a:pt x="0" y="0"/>
                  </a:moveTo>
                  <a:lnTo>
                    <a:pt x="6" y="0"/>
                  </a:lnTo>
                  <a:lnTo>
                    <a:pt x="13" y="4"/>
                  </a:lnTo>
                  <a:lnTo>
                    <a:pt x="28" y="4"/>
                  </a:lnTo>
                  <a:lnTo>
                    <a:pt x="26" y="11"/>
                  </a:lnTo>
                  <a:lnTo>
                    <a:pt x="28" y="17"/>
                  </a:lnTo>
                  <a:lnTo>
                    <a:pt x="23" y="17"/>
                  </a:lnTo>
                  <a:lnTo>
                    <a:pt x="22" y="18"/>
                  </a:lnTo>
                  <a:lnTo>
                    <a:pt x="19" y="19"/>
                  </a:lnTo>
                  <a:lnTo>
                    <a:pt x="22" y="34"/>
                  </a:lnTo>
                  <a:lnTo>
                    <a:pt x="13" y="33"/>
                  </a:lnTo>
                  <a:lnTo>
                    <a:pt x="5" y="28"/>
                  </a:lnTo>
                  <a:lnTo>
                    <a:pt x="5" y="18"/>
                  </a:lnTo>
                  <a:lnTo>
                    <a:pt x="5" y="14"/>
                  </a:lnTo>
                  <a:lnTo>
                    <a:pt x="0" y="1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71" name="Freeform 71"/>
            <p:cNvSpPr>
              <a:spLocks/>
            </p:cNvSpPr>
            <p:nvPr/>
          </p:nvSpPr>
          <p:spPr bwMode="auto">
            <a:xfrm>
              <a:off x="9620251" y="4254500"/>
              <a:ext cx="133350" cy="104775"/>
            </a:xfrm>
            <a:custGeom>
              <a:avLst/>
              <a:gdLst>
                <a:gd name="T0" fmla="*/ 8 w 46"/>
                <a:gd name="T1" fmla="*/ 13 h 35"/>
                <a:gd name="T2" fmla="*/ 0 w 46"/>
                <a:gd name="T3" fmla="*/ 28 h 35"/>
                <a:gd name="T4" fmla="*/ 3 w 46"/>
                <a:gd name="T5" fmla="*/ 34 h 35"/>
                <a:gd name="T6" fmla="*/ 16 w 46"/>
                <a:gd name="T7" fmla="*/ 35 h 35"/>
                <a:gd name="T8" fmla="*/ 27 w 46"/>
                <a:gd name="T9" fmla="*/ 35 h 35"/>
                <a:gd name="T10" fmla="*/ 31 w 46"/>
                <a:gd name="T11" fmla="*/ 29 h 35"/>
                <a:gd name="T12" fmla="*/ 34 w 46"/>
                <a:gd name="T13" fmla="*/ 23 h 35"/>
                <a:gd name="T14" fmla="*/ 46 w 46"/>
                <a:gd name="T15" fmla="*/ 23 h 35"/>
                <a:gd name="T16" fmla="*/ 44 w 46"/>
                <a:gd name="T17" fmla="*/ 14 h 35"/>
                <a:gd name="T18" fmla="*/ 44 w 46"/>
                <a:gd name="T19" fmla="*/ 5 h 35"/>
                <a:gd name="T20" fmla="*/ 32 w 46"/>
                <a:gd name="T21" fmla="*/ 0 h 35"/>
                <a:gd name="T22" fmla="*/ 30 w 46"/>
                <a:gd name="T23" fmla="*/ 10 h 35"/>
                <a:gd name="T24" fmla="*/ 38 w 46"/>
                <a:gd name="T25" fmla="*/ 16 h 35"/>
                <a:gd name="T26" fmla="*/ 26 w 46"/>
                <a:gd name="T27" fmla="*/ 16 h 35"/>
                <a:gd name="T28" fmla="*/ 22 w 46"/>
                <a:gd name="T29" fmla="*/ 20 h 35"/>
                <a:gd name="T30" fmla="*/ 8 w 46"/>
                <a:gd name="T31" fmla="*/ 1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6" h="35">
                  <a:moveTo>
                    <a:pt x="8" y="13"/>
                  </a:moveTo>
                  <a:lnTo>
                    <a:pt x="0" y="28"/>
                  </a:lnTo>
                  <a:lnTo>
                    <a:pt x="3" y="34"/>
                  </a:lnTo>
                  <a:lnTo>
                    <a:pt x="16" y="35"/>
                  </a:lnTo>
                  <a:lnTo>
                    <a:pt x="27" y="35"/>
                  </a:lnTo>
                  <a:lnTo>
                    <a:pt x="31" y="29"/>
                  </a:lnTo>
                  <a:lnTo>
                    <a:pt x="34" y="23"/>
                  </a:lnTo>
                  <a:lnTo>
                    <a:pt x="46" y="23"/>
                  </a:lnTo>
                  <a:lnTo>
                    <a:pt x="44" y="14"/>
                  </a:lnTo>
                  <a:lnTo>
                    <a:pt x="44" y="5"/>
                  </a:lnTo>
                  <a:lnTo>
                    <a:pt x="32" y="0"/>
                  </a:lnTo>
                  <a:lnTo>
                    <a:pt x="30" y="10"/>
                  </a:lnTo>
                  <a:lnTo>
                    <a:pt x="38" y="16"/>
                  </a:lnTo>
                  <a:lnTo>
                    <a:pt x="26" y="16"/>
                  </a:lnTo>
                  <a:lnTo>
                    <a:pt x="22" y="20"/>
                  </a:lnTo>
                  <a:lnTo>
                    <a:pt x="8" y="13"/>
                  </a:ln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72" name="Freeform 72"/>
            <p:cNvSpPr>
              <a:spLocks/>
            </p:cNvSpPr>
            <p:nvPr/>
          </p:nvSpPr>
          <p:spPr bwMode="auto">
            <a:xfrm>
              <a:off x="8401051" y="3638550"/>
              <a:ext cx="82550" cy="76200"/>
            </a:xfrm>
            <a:custGeom>
              <a:avLst/>
              <a:gdLst>
                <a:gd name="T0" fmla="*/ 0 w 28"/>
                <a:gd name="T1" fmla="*/ 20 h 26"/>
                <a:gd name="T2" fmla="*/ 5 w 28"/>
                <a:gd name="T3" fmla="*/ 25 h 26"/>
                <a:gd name="T4" fmla="*/ 11 w 28"/>
                <a:gd name="T5" fmla="*/ 24 h 26"/>
                <a:gd name="T6" fmla="*/ 20 w 28"/>
                <a:gd name="T7" fmla="*/ 26 h 26"/>
                <a:gd name="T8" fmla="*/ 27 w 28"/>
                <a:gd name="T9" fmla="*/ 26 h 26"/>
                <a:gd name="T10" fmla="*/ 28 w 28"/>
                <a:gd name="T11" fmla="*/ 17 h 26"/>
                <a:gd name="T12" fmla="*/ 26 w 28"/>
                <a:gd name="T13" fmla="*/ 11 h 26"/>
                <a:gd name="T14" fmla="*/ 21 w 28"/>
                <a:gd name="T15" fmla="*/ 4 h 26"/>
                <a:gd name="T16" fmla="*/ 16 w 28"/>
                <a:gd name="T17" fmla="*/ 4 h 26"/>
                <a:gd name="T18" fmla="*/ 14 w 28"/>
                <a:gd name="T19" fmla="*/ 0 h 26"/>
                <a:gd name="T20" fmla="*/ 7 w 28"/>
                <a:gd name="T21" fmla="*/ 0 h 26"/>
                <a:gd name="T22" fmla="*/ 7 w 28"/>
                <a:gd name="T23" fmla="*/ 8 h 26"/>
                <a:gd name="T24" fmla="*/ 0 w 28"/>
                <a:gd name="T25" fmla="*/ 2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" h="26">
                  <a:moveTo>
                    <a:pt x="0" y="20"/>
                  </a:moveTo>
                  <a:lnTo>
                    <a:pt x="5" y="25"/>
                  </a:lnTo>
                  <a:lnTo>
                    <a:pt x="11" y="24"/>
                  </a:lnTo>
                  <a:lnTo>
                    <a:pt x="20" y="26"/>
                  </a:lnTo>
                  <a:lnTo>
                    <a:pt x="27" y="26"/>
                  </a:lnTo>
                  <a:lnTo>
                    <a:pt x="28" y="17"/>
                  </a:lnTo>
                  <a:lnTo>
                    <a:pt x="26" y="11"/>
                  </a:lnTo>
                  <a:lnTo>
                    <a:pt x="21" y="4"/>
                  </a:lnTo>
                  <a:lnTo>
                    <a:pt x="16" y="4"/>
                  </a:lnTo>
                  <a:lnTo>
                    <a:pt x="14" y="0"/>
                  </a:lnTo>
                  <a:lnTo>
                    <a:pt x="7" y="0"/>
                  </a:lnTo>
                  <a:lnTo>
                    <a:pt x="7" y="8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73" name="Freeform 73"/>
            <p:cNvSpPr>
              <a:spLocks/>
            </p:cNvSpPr>
            <p:nvPr/>
          </p:nvSpPr>
          <p:spPr bwMode="auto">
            <a:xfrm>
              <a:off x="8624888" y="3503613"/>
              <a:ext cx="77788" cy="96838"/>
            </a:xfrm>
            <a:custGeom>
              <a:avLst/>
              <a:gdLst>
                <a:gd name="T0" fmla="*/ 6 w 27"/>
                <a:gd name="T1" fmla="*/ 0 h 33"/>
                <a:gd name="T2" fmla="*/ 18 w 27"/>
                <a:gd name="T3" fmla="*/ 1 h 33"/>
                <a:gd name="T4" fmla="*/ 22 w 27"/>
                <a:gd name="T5" fmla="*/ 10 h 33"/>
                <a:gd name="T6" fmla="*/ 27 w 27"/>
                <a:gd name="T7" fmla="*/ 15 h 33"/>
                <a:gd name="T8" fmla="*/ 23 w 27"/>
                <a:gd name="T9" fmla="*/ 19 h 33"/>
                <a:gd name="T10" fmla="*/ 27 w 27"/>
                <a:gd name="T11" fmla="*/ 24 h 33"/>
                <a:gd name="T12" fmla="*/ 25 w 27"/>
                <a:gd name="T13" fmla="*/ 30 h 33"/>
                <a:gd name="T14" fmla="*/ 21 w 27"/>
                <a:gd name="T15" fmla="*/ 33 h 33"/>
                <a:gd name="T16" fmla="*/ 13 w 27"/>
                <a:gd name="T17" fmla="*/ 32 h 33"/>
                <a:gd name="T18" fmla="*/ 8 w 27"/>
                <a:gd name="T19" fmla="*/ 32 h 33"/>
                <a:gd name="T20" fmla="*/ 5 w 27"/>
                <a:gd name="T21" fmla="*/ 28 h 33"/>
                <a:gd name="T22" fmla="*/ 2 w 27"/>
                <a:gd name="T23" fmla="*/ 23 h 33"/>
                <a:gd name="T24" fmla="*/ 2 w 27"/>
                <a:gd name="T25" fmla="*/ 18 h 33"/>
                <a:gd name="T26" fmla="*/ 0 w 27"/>
                <a:gd name="T27" fmla="*/ 11 h 33"/>
                <a:gd name="T28" fmla="*/ 6 w 27"/>
                <a:gd name="T2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" h="33">
                  <a:moveTo>
                    <a:pt x="6" y="0"/>
                  </a:moveTo>
                  <a:lnTo>
                    <a:pt x="18" y="1"/>
                  </a:lnTo>
                  <a:lnTo>
                    <a:pt x="22" y="10"/>
                  </a:lnTo>
                  <a:lnTo>
                    <a:pt x="27" y="15"/>
                  </a:lnTo>
                  <a:lnTo>
                    <a:pt x="23" y="19"/>
                  </a:lnTo>
                  <a:lnTo>
                    <a:pt x="27" y="24"/>
                  </a:lnTo>
                  <a:lnTo>
                    <a:pt x="25" y="30"/>
                  </a:lnTo>
                  <a:lnTo>
                    <a:pt x="21" y="33"/>
                  </a:lnTo>
                  <a:lnTo>
                    <a:pt x="13" y="32"/>
                  </a:lnTo>
                  <a:lnTo>
                    <a:pt x="8" y="32"/>
                  </a:lnTo>
                  <a:lnTo>
                    <a:pt x="5" y="28"/>
                  </a:lnTo>
                  <a:lnTo>
                    <a:pt x="2" y="23"/>
                  </a:lnTo>
                  <a:lnTo>
                    <a:pt x="2" y="18"/>
                  </a:lnTo>
                  <a:lnTo>
                    <a:pt x="0" y="11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74" name="Freeform 74"/>
            <p:cNvSpPr>
              <a:spLocks/>
            </p:cNvSpPr>
            <p:nvPr/>
          </p:nvSpPr>
          <p:spPr bwMode="auto">
            <a:xfrm>
              <a:off x="8609013" y="2954338"/>
              <a:ext cx="141288" cy="90488"/>
            </a:xfrm>
            <a:custGeom>
              <a:avLst/>
              <a:gdLst>
                <a:gd name="T0" fmla="*/ 7 w 48"/>
                <a:gd name="T1" fmla="*/ 0 h 31"/>
                <a:gd name="T2" fmla="*/ 13 w 48"/>
                <a:gd name="T3" fmla="*/ 5 h 31"/>
                <a:gd name="T4" fmla="*/ 19 w 48"/>
                <a:gd name="T5" fmla="*/ 4 h 31"/>
                <a:gd name="T6" fmla="*/ 28 w 48"/>
                <a:gd name="T7" fmla="*/ 5 h 31"/>
                <a:gd name="T8" fmla="*/ 36 w 48"/>
                <a:gd name="T9" fmla="*/ 5 h 31"/>
                <a:gd name="T10" fmla="*/ 40 w 48"/>
                <a:gd name="T11" fmla="*/ 8 h 31"/>
                <a:gd name="T12" fmla="*/ 45 w 48"/>
                <a:gd name="T13" fmla="*/ 15 h 31"/>
                <a:gd name="T14" fmla="*/ 48 w 48"/>
                <a:gd name="T15" fmla="*/ 18 h 31"/>
                <a:gd name="T16" fmla="*/ 37 w 48"/>
                <a:gd name="T17" fmla="*/ 20 h 31"/>
                <a:gd name="T18" fmla="*/ 34 w 48"/>
                <a:gd name="T19" fmla="*/ 22 h 31"/>
                <a:gd name="T20" fmla="*/ 37 w 48"/>
                <a:gd name="T21" fmla="*/ 26 h 31"/>
                <a:gd name="T22" fmla="*/ 37 w 48"/>
                <a:gd name="T23" fmla="*/ 30 h 31"/>
                <a:gd name="T24" fmla="*/ 26 w 48"/>
                <a:gd name="T25" fmla="*/ 26 h 31"/>
                <a:gd name="T26" fmla="*/ 17 w 48"/>
                <a:gd name="T27" fmla="*/ 23 h 31"/>
                <a:gd name="T28" fmla="*/ 13 w 48"/>
                <a:gd name="T29" fmla="*/ 24 h 31"/>
                <a:gd name="T30" fmla="*/ 13 w 48"/>
                <a:gd name="T31" fmla="*/ 30 h 31"/>
                <a:gd name="T32" fmla="*/ 7 w 48"/>
                <a:gd name="T33" fmla="*/ 31 h 31"/>
                <a:gd name="T34" fmla="*/ 4 w 48"/>
                <a:gd name="T35" fmla="*/ 26 h 31"/>
                <a:gd name="T36" fmla="*/ 3 w 48"/>
                <a:gd name="T37" fmla="*/ 20 h 31"/>
                <a:gd name="T38" fmla="*/ 0 w 48"/>
                <a:gd name="T39" fmla="*/ 19 h 31"/>
                <a:gd name="T40" fmla="*/ 3 w 48"/>
                <a:gd name="T41" fmla="*/ 13 h 31"/>
                <a:gd name="T42" fmla="*/ 8 w 48"/>
                <a:gd name="T43" fmla="*/ 11 h 31"/>
                <a:gd name="T44" fmla="*/ 7 w 48"/>
                <a:gd name="T4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8" h="31">
                  <a:moveTo>
                    <a:pt x="7" y="0"/>
                  </a:moveTo>
                  <a:lnTo>
                    <a:pt x="13" y="5"/>
                  </a:lnTo>
                  <a:lnTo>
                    <a:pt x="19" y="4"/>
                  </a:lnTo>
                  <a:lnTo>
                    <a:pt x="28" y="5"/>
                  </a:lnTo>
                  <a:lnTo>
                    <a:pt x="36" y="5"/>
                  </a:lnTo>
                  <a:lnTo>
                    <a:pt x="40" y="8"/>
                  </a:lnTo>
                  <a:lnTo>
                    <a:pt x="45" y="15"/>
                  </a:lnTo>
                  <a:lnTo>
                    <a:pt x="48" y="18"/>
                  </a:lnTo>
                  <a:lnTo>
                    <a:pt x="37" y="20"/>
                  </a:lnTo>
                  <a:lnTo>
                    <a:pt x="34" y="22"/>
                  </a:lnTo>
                  <a:lnTo>
                    <a:pt x="37" y="26"/>
                  </a:lnTo>
                  <a:lnTo>
                    <a:pt x="37" y="30"/>
                  </a:lnTo>
                  <a:lnTo>
                    <a:pt x="26" y="26"/>
                  </a:lnTo>
                  <a:lnTo>
                    <a:pt x="17" y="23"/>
                  </a:lnTo>
                  <a:lnTo>
                    <a:pt x="13" y="24"/>
                  </a:lnTo>
                  <a:lnTo>
                    <a:pt x="13" y="30"/>
                  </a:lnTo>
                  <a:lnTo>
                    <a:pt x="7" y="31"/>
                  </a:lnTo>
                  <a:lnTo>
                    <a:pt x="4" y="26"/>
                  </a:lnTo>
                  <a:lnTo>
                    <a:pt x="3" y="20"/>
                  </a:lnTo>
                  <a:lnTo>
                    <a:pt x="0" y="19"/>
                  </a:lnTo>
                  <a:lnTo>
                    <a:pt x="3" y="13"/>
                  </a:lnTo>
                  <a:lnTo>
                    <a:pt x="8" y="11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75" name="Freeform 75"/>
            <p:cNvSpPr>
              <a:spLocks/>
            </p:cNvSpPr>
            <p:nvPr/>
          </p:nvSpPr>
          <p:spPr bwMode="auto">
            <a:xfrm>
              <a:off x="8728076" y="4492625"/>
              <a:ext cx="990600" cy="733425"/>
            </a:xfrm>
            <a:custGeom>
              <a:avLst/>
              <a:gdLst>
                <a:gd name="T0" fmla="*/ 260 w 337"/>
                <a:gd name="T1" fmla="*/ 20 h 250"/>
                <a:gd name="T2" fmla="*/ 273 w 337"/>
                <a:gd name="T3" fmla="*/ 29 h 250"/>
                <a:gd name="T4" fmla="*/ 287 w 337"/>
                <a:gd name="T5" fmla="*/ 66 h 250"/>
                <a:gd name="T6" fmla="*/ 318 w 337"/>
                <a:gd name="T7" fmla="*/ 104 h 250"/>
                <a:gd name="T8" fmla="*/ 337 w 337"/>
                <a:gd name="T9" fmla="*/ 143 h 250"/>
                <a:gd name="T10" fmla="*/ 323 w 337"/>
                <a:gd name="T11" fmla="*/ 179 h 250"/>
                <a:gd name="T12" fmla="*/ 310 w 337"/>
                <a:gd name="T13" fmla="*/ 202 h 250"/>
                <a:gd name="T14" fmla="*/ 302 w 337"/>
                <a:gd name="T15" fmla="*/ 224 h 250"/>
                <a:gd name="T16" fmla="*/ 294 w 337"/>
                <a:gd name="T17" fmla="*/ 237 h 250"/>
                <a:gd name="T18" fmla="*/ 278 w 337"/>
                <a:gd name="T19" fmla="*/ 246 h 250"/>
                <a:gd name="T20" fmla="*/ 252 w 337"/>
                <a:gd name="T21" fmla="*/ 243 h 250"/>
                <a:gd name="T22" fmla="*/ 226 w 337"/>
                <a:gd name="T23" fmla="*/ 237 h 250"/>
                <a:gd name="T24" fmla="*/ 212 w 337"/>
                <a:gd name="T25" fmla="*/ 223 h 250"/>
                <a:gd name="T26" fmla="*/ 208 w 337"/>
                <a:gd name="T27" fmla="*/ 205 h 250"/>
                <a:gd name="T28" fmla="*/ 199 w 337"/>
                <a:gd name="T29" fmla="*/ 197 h 250"/>
                <a:gd name="T30" fmla="*/ 185 w 337"/>
                <a:gd name="T31" fmla="*/ 198 h 250"/>
                <a:gd name="T32" fmla="*/ 172 w 337"/>
                <a:gd name="T33" fmla="*/ 184 h 250"/>
                <a:gd name="T34" fmla="*/ 161 w 337"/>
                <a:gd name="T35" fmla="*/ 182 h 250"/>
                <a:gd name="T36" fmla="*/ 143 w 337"/>
                <a:gd name="T37" fmla="*/ 184 h 250"/>
                <a:gd name="T38" fmla="*/ 128 w 337"/>
                <a:gd name="T39" fmla="*/ 186 h 250"/>
                <a:gd name="T40" fmla="*/ 115 w 337"/>
                <a:gd name="T41" fmla="*/ 194 h 250"/>
                <a:gd name="T42" fmla="*/ 96 w 337"/>
                <a:gd name="T43" fmla="*/ 200 h 250"/>
                <a:gd name="T44" fmla="*/ 77 w 337"/>
                <a:gd name="T45" fmla="*/ 209 h 250"/>
                <a:gd name="T46" fmla="*/ 67 w 337"/>
                <a:gd name="T47" fmla="*/ 213 h 250"/>
                <a:gd name="T48" fmla="*/ 39 w 337"/>
                <a:gd name="T49" fmla="*/ 211 h 250"/>
                <a:gd name="T50" fmla="*/ 33 w 337"/>
                <a:gd name="T51" fmla="*/ 206 h 250"/>
                <a:gd name="T52" fmla="*/ 33 w 337"/>
                <a:gd name="T53" fmla="*/ 179 h 250"/>
                <a:gd name="T54" fmla="*/ 24 w 337"/>
                <a:gd name="T55" fmla="*/ 163 h 250"/>
                <a:gd name="T56" fmla="*/ 15 w 337"/>
                <a:gd name="T57" fmla="*/ 150 h 250"/>
                <a:gd name="T58" fmla="*/ 3 w 337"/>
                <a:gd name="T59" fmla="*/ 104 h 250"/>
                <a:gd name="T60" fmla="*/ 4 w 337"/>
                <a:gd name="T61" fmla="*/ 89 h 250"/>
                <a:gd name="T62" fmla="*/ 28 w 337"/>
                <a:gd name="T63" fmla="*/ 81 h 250"/>
                <a:gd name="T64" fmla="*/ 46 w 337"/>
                <a:gd name="T65" fmla="*/ 79 h 250"/>
                <a:gd name="T66" fmla="*/ 56 w 337"/>
                <a:gd name="T67" fmla="*/ 75 h 250"/>
                <a:gd name="T68" fmla="*/ 62 w 337"/>
                <a:gd name="T69" fmla="*/ 62 h 250"/>
                <a:gd name="T70" fmla="*/ 60 w 337"/>
                <a:gd name="T71" fmla="*/ 55 h 250"/>
                <a:gd name="T72" fmla="*/ 84 w 337"/>
                <a:gd name="T73" fmla="*/ 37 h 250"/>
                <a:gd name="T74" fmla="*/ 103 w 337"/>
                <a:gd name="T75" fmla="*/ 23 h 250"/>
                <a:gd name="T76" fmla="*/ 120 w 337"/>
                <a:gd name="T77" fmla="*/ 33 h 250"/>
                <a:gd name="T78" fmla="*/ 133 w 337"/>
                <a:gd name="T79" fmla="*/ 22 h 250"/>
                <a:gd name="T80" fmla="*/ 146 w 337"/>
                <a:gd name="T81" fmla="*/ 10 h 250"/>
                <a:gd name="T82" fmla="*/ 160 w 337"/>
                <a:gd name="T83" fmla="*/ 3 h 250"/>
                <a:gd name="T84" fmla="*/ 182 w 337"/>
                <a:gd name="T85" fmla="*/ 5 h 250"/>
                <a:gd name="T86" fmla="*/ 190 w 337"/>
                <a:gd name="T87" fmla="*/ 14 h 250"/>
                <a:gd name="T88" fmla="*/ 190 w 337"/>
                <a:gd name="T89" fmla="*/ 26 h 250"/>
                <a:gd name="T90" fmla="*/ 209 w 337"/>
                <a:gd name="T91" fmla="*/ 46 h 250"/>
                <a:gd name="T92" fmla="*/ 225 w 337"/>
                <a:gd name="T93" fmla="*/ 52 h 250"/>
                <a:gd name="T94" fmla="*/ 238 w 337"/>
                <a:gd name="T95" fmla="*/ 33 h 250"/>
                <a:gd name="T96" fmla="*/ 242 w 337"/>
                <a:gd name="T97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37" h="250">
                  <a:moveTo>
                    <a:pt x="242" y="0"/>
                  </a:moveTo>
                  <a:lnTo>
                    <a:pt x="260" y="0"/>
                  </a:lnTo>
                  <a:lnTo>
                    <a:pt x="260" y="20"/>
                  </a:lnTo>
                  <a:lnTo>
                    <a:pt x="267" y="26"/>
                  </a:lnTo>
                  <a:lnTo>
                    <a:pt x="269" y="29"/>
                  </a:lnTo>
                  <a:lnTo>
                    <a:pt x="273" y="29"/>
                  </a:lnTo>
                  <a:lnTo>
                    <a:pt x="275" y="33"/>
                  </a:lnTo>
                  <a:lnTo>
                    <a:pt x="277" y="53"/>
                  </a:lnTo>
                  <a:lnTo>
                    <a:pt x="287" y="66"/>
                  </a:lnTo>
                  <a:lnTo>
                    <a:pt x="302" y="85"/>
                  </a:lnTo>
                  <a:lnTo>
                    <a:pt x="302" y="88"/>
                  </a:lnTo>
                  <a:lnTo>
                    <a:pt x="318" y="104"/>
                  </a:lnTo>
                  <a:lnTo>
                    <a:pt x="318" y="107"/>
                  </a:lnTo>
                  <a:lnTo>
                    <a:pt x="334" y="120"/>
                  </a:lnTo>
                  <a:lnTo>
                    <a:pt x="337" y="143"/>
                  </a:lnTo>
                  <a:lnTo>
                    <a:pt x="334" y="164"/>
                  </a:lnTo>
                  <a:lnTo>
                    <a:pt x="329" y="174"/>
                  </a:lnTo>
                  <a:lnTo>
                    <a:pt x="323" y="179"/>
                  </a:lnTo>
                  <a:lnTo>
                    <a:pt x="321" y="189"/>
                  </a:lnTo>
                  <a:lnTo>
                    <a:pt x="315" y="198"/>
                  </a:lnTo>
                  <a:lnTo>
                    <a:pt x="310" y="202"/>
                  </a:lnTo>
                  <a:lnTo>
                    <a:pt x="311" y="205"/>
                  </a:lnTo>
                  <a:lnTo>
                    <a:pt x="305" y="211"/>
                  </a:lnTo>
                  <a:lnTo>
                    <a:pt x="302" y="224"/>
                  </a:lnTo>
                  <a:lnTo>
                    <a:pt x="301" y="231"/>
                  </a:lnTo>
                  <a:lnTo>
                    <a:pt x="295" y="234"/>
                  </a:lnTo>
                  <a:lnTo>
                    <a:pt x="294" y="237"/>
                  </a:lnTo>
                  <a:lnTo>
                    <a:pt x="290" y="243"/>
                  </a:lnTo>
                  <a:lnTo>
                    <a:pt x="283" y="244"/>
                  </a:lnTo>
                  <a:lnTo>
                    <a:pt x="278" y="246"/>
                  </a:lnTo>
                  <a:lnTo>
                    <a:pt x="271" y="250"/>
                  </a:lnTo>
                  <a:lnTo>
                    <a:pt x="262" y="242"/>
                  </a:lnTo>
                  <a:lnTo>
                    <a:pt x="252" y="243"/>
                  </a:lnTo>
                  <a:lnTo>
                    <a:pt x="249" y="243"/>
                  </a:lnTo>
                  <a:lnTo>
                    <a:pt x="235" y="245"/>
                  </a:lnTo>
                  <a:lnTo>
                    <a:pt x="226" y="237"/>
                  </a:lnTo>
                  <a:lnTo>
                    <a:pt x="220" y="229"/>
                  </a:lnTo>
                  <a:lnTo>
                    <a:pt x="216" y="230"/>
                  </a:lnTo>
                  <a:lnTo>
                    <a:pt x="212" y="223"/>
                  </a:lnTo>
                  <a:lnTo>
                    <a:pt x="210" y="217"/>
                  </a:lnTo>
                  <a:lnTo>
                    <a:pt x="208" y="215"/>
                  </a:lnTo>
                  <a:lnTo>
                    <a:pt x="208" y="205"/>
                  </a:lnTo>
                  <a:lnTo>
                    <a:pt x="209" y="199"/>
                  </a:lnTo>
                  <a:lnTo>
                    <a:pt x="207" y="195"/>
                  </a:lnTo>
                  <a:lnTo>
                    <a:pt x="199" y="197"/>
                  </a:lnTo>
                  <a:lnTo>
                    <a:pt x="195" y="198"/>
                  </a:lnTo>
                  <a:lnTo>
                    <a:pt x="188" y="198"/>
                  </a:lnTo>
                  <a:lnTo>
                    <a:pt x="185" y="198"/>
                  </a:lnTo>
                  <a:lnTo>
                    <a:pt x="182" y="198"/>
                  </a:lnTo>
                  <a:lnTo>
                    <a:pt x="177" y="192"/>
                  </a:lnTo>
                  <a:lnTo>
                    <a:pt x="172" y="184"/>
                  </a:lnTo>
                  <a:lnTo>
                    <a:pt x="171" y="185"/>
                  </a:lnTo>
                  <a:lnTo>
                    <a:pt x="162" y="185"/>
                  </a:lnTo>
                  <a:lnTo>
                    <a:pt x="161" y="182"/>
                  </a:lnTo>
                  <a:lnTo>
                    <a:pt x="156" y="185"/>
                  </a:lnTo>
                  <a:lnTo>
                    <a:pt x="151" y="184"/>
                  </a:lnTo>
                  <a:lnTo>
                    <a:pt x="143" y="184"/>
                  </a:lnTo>
                  <a:lnTo>
                    <a:pt x="138" y="182"/>
                  </a:lnTo>
                  <a:lnTo>
                    <a:pt x="136" y="185"/>
                  </a:lnTo>
                  <a:lnTo>
                    <a:pt x="128" y="186"/>
                  </a:lnTo>
                  <a:lnTo>
                    <a:pt x="126" y="184"/>
                  </a:lnTo>
                  <a:lnTo>
                    <a:pt x="121" y="189"/>
                  </a:lnTo>
                  <a:lnTo>
                    <a:pt x="115" y="194"/>
                  </a:lnTo>
                  <a:lnTo>
                    <a:pt x="111" y="194"/>
                  </a:lnTo>
                  <a:lnTo>
                    <a:pt x="105" y="200"/>
                  </a:lnTo>
                  <a:lnTo>
                    <a:pt x="96" y="200"/>
                  </a:lnTo>
                  <a:lnTo>
                    <a:pt x="89" y="202"/>
                  </a:lnTo>
                  <a:lnTo>
                    <a:pt x="81" y="205"/>
                  </a:lnTo>
                  <a:lnTo>
                    <a:pt x="77" y="209"/>
                  </a:lnTo>
                  <a:lnTo>
                    <a:pt x="74" y="208"/>
                  </a:lnTo>
                  <a:lnTo>
                    <a:pt x="71" y="212"/>
                  </a:lnTo>
                  <a:lnTo>
                    <a:pt x="67" y="213"/>
                  </a:lnTo>
                  <a:lnTo>
                    <a:pt x="62" y="218"/>
                  </a:lnTo>
                  <a:lnTo>
                    <a:pt x="46" y="218"/>
                  </a:lnTo>
                  <a:lnTo>
                    <a:pt x="39" y="211"/>
                  </a:lnTo>
                  <a:lnTo>
                    <a:pt x="38" y="208"/>
                  </a:lnTo>
                  <a:lnTo>
                    <a:pt x="36" y="211"/>
                  </a:lnTo>
                  <a:lnTo>
                    <a:pt x="33" y="206"/>
                  </a:lnTo>
                  <a:lnTo>
                    <a:pt x="34" y="193"/>
                  </a:lnTo>
                  <a:lnTo>
                    <a:pt x="36" y="185"/>
                  </a:lnTo>
                  <a:lnTo>
                    <a:pt x="33" y="179"/>
                  </a:lnTo>
                  <a:lnTo>
                    <a:pt x="30" y="173"/>
                  </a:lnTo>
                  <a:lnTo>
                    <a:pt x="29" y="166"/>
                  </a:lnTo>
                  <a:lnTo>
                    <a:pt x="24" y="163"/>
                  </a:lnTo>
                  <a:lnTo>
                    <a:pt x="23" y="162"/>
                  </a:lnTo>
                  <a:lnTo>
                    <a:pt x="22" y="159"/>
                  </a:lnTo>
                  <a:lnTo>
                    <a:pt x="15" y="150"/>
                  </a:lnTo>
                  <a:lnTo>
                    <a:pt x="6" y="128"/>
                  </a:lnTo>
                  <a:lnTo>
                    <a:pt x="3" y="113"/>
                  </a:lnTo>
                  <a:lnTo>
                    <a:pt x="3" y="104"/>
                  </a:lnTo>
                  <a:lnTo>
                    <a:pt x="0" y="101"/>
                  </a:lnTo>
                  <a:lnTo>
                    <a:pt x="1" y="93"/>
                  </a:lnTo>
                  <a:lnTo>
                    <a:pt x="4" y="89"/>
                  </a:lnTo>
                  <a:lnTo>
                    <a:pt x="15" y="78"/>
                  </a:lnTo>
                  <a:lnTo>
                    <a:pt x="26" y="79"/>
                  </a:lnTo>
                  <a:lnTo>
                    <a:pt x="28" y="81"/>
                  </a:lnTo>
                  <a:lnTo>
                    <a:pt x="42" y="81"/>
                  </a:lnTo>
                  <a:lnTo>
                    <a:pt x="43" y="78"/>
                  </a:lnTo>
                  <a:lnTo>
                    <a:pt x="46" y="79"/>
                  </a:lnTo>
                  <a:lnTo>
                    <a:pt x="50" y="76"/>
                  </a:lnTo>
                  <a:lnTo>
                    <a:pt x="53" y="77"/>
                  </a:lnTo>
                  <a:lnTo>
                    <a:pt x="56" y="75"/>
                  </a:lnTo>
                  <a:lnTo>
                    <a:pt x="55" y="72"/>
                  </a:lnTo>
                  <a:lnTo>
                    <a:pt x="58" y="65"/>
                  </a:lnTo>
                  <a:lnTo>
                    <a:pt x="62" y="62"/>
                  </a:lnTo>
                  <a:lnTo>
                    <a:pt x="60" y="60"/>
                  </a:lnTo>
                  <a:lnTo>
                    <a:pt x="62" y="58"/>
                  </a:lnTo>
                  <a:lnTo>
                    <a:pt x="60" y="55"/>
                  </a:lnTo>
                  <a:lnTo>
                    <a:pt x="66" y="50"/>
                  </a:lnTo>
                  <a:lnTo>
                    <a:pt x="75" y="49"/>
                  </a:lnTo>
                  <a:lnTo>
                    <a:pt x="84" y="37"/>
                  </a:lnTo>
                  <a:lnTo>
                    <a:pt x="95" y="27"/>
                  </a:lnTo>
                  <a:lnTo>
                    <a:pt x="100" y="26"/>
                  </a:lnTo>
                  <a:lnTo>
                    <a:pt x="103" y="23"/>
                  </a:lnTo>
                  <a:lnTo>
                    <a:pt x="108" y="23"/>
                  </a:lnTo>
                  <a:lnTo>
                    <a:pt x="117" y="32"/>
                  </a:lnTo>
                  <a:lnTo>
                    <a:pt x="120" y="33"/>
                  </a:lnTo>
                  <a:lnTo>
                    <a:pt x="123" y="29"/>
                  </a:lnTo>
                  <a:lnTo>
                    <a:pt x="129" y="23"/>
                  </a:lnTo>
                  <a:lnTo>
                    <a:pt x="133" y="22"/>
                  </a:lnTo>
                  <a:lnTo>
                    <a:pt x="137" y="14"/>
                  </a:lnTo>
                  <a:lnTo>
                    <a:pt x="141" y="13"/>
                  </a:lnTo>
                  <a:lnTo>
                    <a:pt x="146" y="10"/>
                  </a:lnTo>
                  <a:lnTo>
                    <a:pt x="151" y="7"/>
                  </a:lnTo>
                  <a:lnTo>
                    <a:pt x="156" y="7"/>
                  </a:lnTo>
                  <a:lnTo>
                    <a:pt x="160" y="3"/>
                  </a:lnTo>
                  <a:lnTo>
                    <a:pt x="166" y="3"/>
                  </a:lnTo>
                  <a:lnTo>
                    <a:pt x="173" y="3"/>
                  </a:lnTo>
                  <a:lnTo>
                    <a:pt x="182" y="5"/>
                  </a:lnTo>
                  <a:lnTo>
                    <a:pt x="188" y="9"/>
                  </a:lnTo>
                  <a:lnTo>
                    <a:pt x="189" y="12"/>
                  </a:lnTo>
                  <a:lnTo>
                    <a:pt x="190" y="14"/>
                  </a:lnTo>
                  <a:lnTo>
                    <a:pt x="191" y="19"/>
                  </a:lnTo>
                  <a:lnTo>
                    <a:pt x="190" y="21"/>
                  </a:lnTo>
                  <a:lnTo>
                    <a:pt x="190" y="26"/>
                  </a:lnTo>
                  <a:lnTo>
                    <a:pt x="189" y="29"/>
                  </a:lnTo>
                  <a:lnTo>
                    <a:pt x="204" y="40"/>
                  </a:lnTo>
                  <a:lnTo>
                    <a:pt x="209" y="46"/>
                  </a:lnTo>
                  <a:lnTo>
                    <a:pt x="215" y="48"/>
                  </a:lnTo>
                  <a:lnTo>
                    <a:pt x="221" y="51"/>
                  </a:lnTo>
                  <a:lnTo>
                    <a:pt x="225" y="52"/>
                  </a:lnTo>
                  <a:lnTo>
                    <a:pt x="231" y="49"/>
                  </a:lnTo>
                  <a:lnTo>
                    <a:pt x="236" y="40"/>
                  </a:lnTo>
                  <a:lnTo>
                    <a:pt x="238" y="33"/>
                  </a:lnTo>
                  <a:lnTo>
                    <a:pt x="240" y="19"/>
                  </a:lnTo>
                  <a:lnTo>
                    <a:pt x="242" y="13"/>
                  </a:lnTo>
                  <a:lnTo>
                    <a:pt x="242" y="0"/>
                  </a:ln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76" name="Freeform 76"/>
            <p:cNvSpPr>
              <a:spLocks/>
            </p:cNvSpPr>
            <p:nvPr/>
          </p:nvSpPr>
          <p:spPr bwMode="auto">
            <a:xfrm>
              <a:off x="8497888" y="4337050"/>
              <a:ext cx="547688" cy="100013"/>
            </a:xfrm>
            <a:custGeom>
              <a:avLst/>
              <a:gdLst>
                <a:gd name="T0" fmla="*/ 14 w 186"/>
                <a:gd name="T1" fmla="*/ 5 h 34"/>
                <a:gd name="T2" fmla="*/ 37 w 186"/>
                <a:gd name="T3" fmla="*/ 5 h 34"/>
                <a:gd name="T4" fmla="*/ 51 w 186"/>
                <a:gd name="T5" fmla="*/ 6 h 34"/>
                <a:gd name="T6" fmla="*/ 63 w 186"/>
                <a:gd name="T7" fmla="*/ 16 h 34"/>
                <a:gd name="T8" fmla="*/ 74 w 186"/>
                <a:gd name="T9" fmla="*/ 18 h 34"/>
                <a:gd name="T10" fmla="*/ 91 w 186"/>
                <a:gd name="T11" fmla="*/ 22 h 34"/>
                <a:gd name="T12" fmla="*/ 101 w 186"/>
                <a:gd name="T13" fmla="*/ 24 h 34"/>
                <a:gd name="T14" fmla="*/ 105 w 186"/>
                <a:gd name="T15" fmla="*/ 16 h 34"/>
                <a:gd name="T16" fmla="*/ 127 w 186"/>
                <a:gd name="T17" fmla="*/ 18 h 34"/>
                <a:gd name="T18" fmla="*/ 143 w 186"/>
                <a:gd name="T19" fmla="*/ 21 h 34"/>
                <a:gd name="T20" fmla="*/ 154 w 186"/>
                <a:gd name="T21" fmla="*/ 22 h 34"/>
                <a:gd name="T22" fmla="*/ 162 w 186"/>
                <a:gd name="T23" fmla="*/ 18 h 34"/>
                <a:gd name="T24" fmla="*/ 175 w 186"/>
                <a:gd name="T25" fmla="*/ 16 h 34"/>
                <a:gd name="T26" fmla="*/ 186 w 186"/>
                <a:gd name="T27" fmla="*/ 14 h 34"/>
                <a:gd name="T28" fmla="*/ 183 w 186"/>
                <a:gd name="T29" fmla="*/ 24 h 34"/>
                <a:gd name="T30" fmla="*/ 175 w 186"/>
                <a:gd name="T31" fmla="*/ 27 h 34"/>
                <a:gd name="T32" fmla="*/ 169 w 186"/>
                <a:gd name="T33" fmla="*/ 28 h 34"/>
                <a:gd name="T34" fmla="*/ 161 w 186"/>
                <a:gd name="T35" fmla="*/ 31 h 34"/>
                <a:gd name="T36" fmla="*/ 153 w 186"/>
                <a:gd name="T37" fmla="*/ 31 h 34"/>
                <a:gd name="T38" fmla="*/ 146 w 186"/>
                <a:gd name="T39" fmla="*/ 32 h 34"/>
                <a:gd name="T40" fmla="*/ 135 w 186"/>
                <a:gd name="T41" fmla="*/ 34 h 34"/>
                <a:gd name="T42" fmla="*/ 128 w 186"/>
                <a:gd name="T43" fmla="*/ 27 h 34"/>
                <a:gd name="T44" fmla="*/ 120 w 186"/>
                <a:gd name="T45" fmla="*/ 34 h 34"/>
                <a:gd name="T46" fmla="*/ 109 w 186"/>
                <a:gd name="T47" fmla="*/ 27 h 34"/>
                <a:gd name="T48" fmla="*/ 103 w 186"/>
                <a:gd name="T49" fmla="*/ 28 h 34"/>
                <a:gd name="T50" fmla="*/ 94 w 186"/>
                <a:gd name="T51" fmla="*/ 31 h 34"/>
                <a:gd name="T52" fmla="*/ 85 w 186"/>
                <a:gd name="T53" fmla="*/ 29 h 34"/>
                <a:gd name="T54" fmla="*/ 75 w 186"/>
                <a:gd name="T55" fmla="*/ 28 h 34"/>
                <a:gd name="T56" fmla="*/ 65 w 186"/>
                <a:gd name="T57" fmla="*/ 31 h 34"/>
                <a:gd name="T58" fmla="*/ 52 w 186"/>
                <a:gd name="T59" fmla="*/ 26 h 34"/>
                <a:gd name="T60" fmla="*/ 34 w 186"/>
                <a:gd name="T61" fmla="*/ 23 h 34"/>
                <a:gd name="T62" fmla="*/ 21 w 186"/>
                <a:gd name="T63" fmla="*/ 20 h 34"/>
                <a:gd name="T64" fmla="*/ 8 w 186"/>
                <a:gd name="T65" fmla="*/ 15 h 34"/>
                <a:gd name="T66" fmla="*/ 1 w 186"/>
                <a:gd name="T67" fmla="*/ 13 h 34"/>
                <a:gd name="T68" fmla="*/ 0 w 186"/>
                <a:gd name="T6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6" h="34">
                  <a:moveTo>
                    <a:pt x="0" y="0"/>
                  </a:moveTo>
                  <a:lnTo>
                    <a:pt x="14" y="5"/>
                  </a:lnTo>
                  <a:lnTo>
                    <a:pt x="26" y="5"/>
                  </a:lnTo>
                  <a:lnTo>
                    <a:pt x="37" y="5"/>
                  </a:lnTo>
                  <a:lnTo>
                    <a:pt x="45" y="5"/>
                  </a:lnTo>
                  <a:lnTo>
                    <a:pt x="51" y="6"/>
                  </a:lnTo>
                  <a:lnTo>
                    <a:pt x="59" y="9"/>
                  </a:lnTo>
                  <a:lnTo>
                    <a:pt x="63" y="16"/>
                  </a:lnTo>
                  <a:lnTo>
                    <a:pt x="67" y="19"/>
                  </a:lnTo>
                  <a:lnTo>
                    <a:pt x="74" y="18"/>
                  </a:lnTo>
                  <a:lnTo>
                    <a:pt x="82" y="18"/>
                  </a:lnTo>
                  <a:lnTo>
                    <a:pt x="91" y="22"/>
                  </a:lnTo>
                  <a:lnTo>
                    <a:pt x="97" y="24"/>
                  </a:lnTo>
                  <a:lnTo>
                    <a:pt x="101" y="24"/>
                  </a:lnTo>
                  <a:lnTo>
                    <a:pt x="102" y="19"/>
                  </a:lnTo>
                  <a:lnTo>
                    <a:pt x="105" y="16"/>
                  </a:lnTo>
                  <a:lnTo>
                    <a:pt x="117" y="18"/>
                  </a:lnTo>
                  <a:lnTo>
                    <a:pt x="127" y="18"/>
                  </a:lnTo>
                  <a:lnTo>
                    <a:pt x="136" y="18"/>
                  </a:lnTo>
                  <a:lnTo>
                    <a:pt x="143" y="21"/>
                  </a:lnTo>
                  <a:lnTo>
                    <a:pt x="147" y="23"/>
                  </a:lnTo>
                  <a:lnTo>
                    <a:pt x="154" y="22"/>
                  </a:lnTo>
                  <a:lnTo>
                    <a:pt x="159" y="20"/>
                  </a:lnTo>
                  <a:lnTo>
                    <a:pt x="162" y="18"/>
                  </a:lnTo>
                  <a:lnTo>
                    <a:pt x="170" y="18"/>
                  </a:lnTo>
                  <a:lnTo>
                    <a:pt x="175" y="16"/>
                  </a:lnTo>
                  <a:lnTo>
                    <a:pt x="182" y="14"/>
                  </a:lnTo>
                  <a:lnTo>
                    <a:pt x="186" y="14"/>
                  </a:lnTo>
                  <a:lnTo>
                    <a:pt x="185" y="21"/>
                  </a:lnTo>
                  <a:lnTo>
                    <a:pt x="183" y="24"/>
                  </a:lnTo>
                  <a:lnTo>
                    <a:pt x="179" y="27"/>
                  </a:lnTo>
                  <a:lnTo>
                    <a:pt x="175" y="27"/>
                  </a:lnTo>
                  <a:lnTo>
                    <a:pt x="174" y="27"/>
                  </a:lnTo>
                  <a:lnTo>
                    <a:pt x="169" y="28"/>
                  </a:lnTo>
                  <a:lnTo>
                    <a:pt x="165" y="32"/>
                  </a:lnTo>
                  <a:lnTo>
                    <a:pt x="161" y="31"/>
                  </a:lnTo>
                  <a:lnTo>
                    <a:pt x="157" y="29"/>
                  </a:lnTo>
                  <a:lnTo>
                    <a:pt x="153" y="31"/>
                  </a:lnTo>
                  <a:lnTo>
                    <a:pt x="149" y="32"/>
                  </a:lnTo>
                  <a:lnTo>
                    <a:pt x="146" y="32"/>
                  </a:lnTo>
                  <a:lnTo>
                    <a:pt x="143" y="34"/>
                  </a:lnTo>
                  <a:lnTo>
                    <a:pt x="135" y="34"/>
                  </a:lnTo>
                  <a:lnTo>
                    <a:pt x="132" y="31"/>
                  </a:lnTo>
                  <a:lnTo>
                    <a:pt x="128" y="27"/>
                  </a:lnTo>
                  <a:lnTo>
                    <a:pt x="123" y="31"/>
                  </a:lnTo>
                  <a:lnTo>
                    <a:pt x="120" y="34"/>
                  </a:lnTo>
                  <a:lnTo>
                    <a:pt x="116" y="34"/>
                  </a:lnTo>
                  <a:lnTo>
                    <a:pt x="109" y="27"/>
                  </a:lnTo>
                  <a:lnTo>
                    <a:pt x="107" y="28"/>
                  </a:lnTo>
                  <a:lnTo>
                    <a:pt x="103" y="28"/>
                  </a:lnTo>
                  <a:lnTo>
                    <a:pt x="100" y="32"/>
                  </a:lnTo>
                  <a:lnTo>
                    <a:pt x="94" y="31"/>
                  </a:lnTo>
                  <a:lnTo>
                    <a:pt x="88" y="31"/>
                  </a:lnTo>
                  <a:lnTo>
                    <a:pt x="85" y="29"/>
                  </a:lnTo>
                  <a:lnTo>
                    <a:pt x="81" y="27"/>
                  </a:lnTo>
                  <a:lnTo>
                    <a:pt x="75" y="28"/>
                  </a:lnTo>
                  <a:lnTo>
                    <a:pt x="69" y="32"/>
                  </a:lnTo>
                  <a:lnTo>
                    <a:pt x="65" y="31"/>
                  </a:lnTo>
                  <a:lnTo>
                    <a:pt x="59" y="29"/>
                  </a:lnTo>
                  <a:lnTo>
                    <a:pt x="52" y="26"/>
                  </a:lnTo>
                  <a:lnTo>
                    <a:pt x="46" y="26"/>
                  </a:lnTo>
                  <a:lnTo>
                    <a:pt x="34" y="23"/>
                  </a:lnTo>
                  <a:lnTo>
                    <a:pt x="26" y="21"/>
                  </a:lnTo>
                  <a:lnTo>
                    <a:pt x="21" y="20"/>
                  </a:lnTo>
                  <a:lnTo>
                    <a:pt x="13" y="19"/>
                  </a:lnTo>
                  <a:lnTo>
                    <a:pt x="8" y="15"/>
                  </a:lnTo>
                  <a:lnTo>
                    <a:pt x="3" y="14"/>
                  </a:lnTo>
                  <a:lnTo>
                    <a:pt x="1" y="13"/>
                  </a:lnTo>
                  <a:lnTo>
                    <a:pt x="0" y="1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77" name="Freeform 77"/>
            <p:cNvSpPr>
              <a:spLocks/>
            </p:cNvSpPr>
            <p:nvPr/>
          </p:nvSpPr>
          <p:spPr bwMode="auto">
            <a:xfrm>
              <a:off x="8797926" y="4140200"/>
              <a:ext cx="247650" cy="192088"/>
            </a:xfrm>
            <a:custGeom>
              <a:avLst/>
              <a:gdLst>
                <a:gd name="T0" fmla="*/ 41 w 84"/>
                <a:gd name="T1" fmla="*/ 1 h 65"/>
                <a:gd name="T2" fmla="*/ 70 w 84"/>
                <a:gd name="T3" fmla="*/ 0 h 65"/>
                <a:gd name="T4" fmla="*/ 75 w 84"/>
                <a:gd name="T5" fmla="*/ 8 h 65"/>
                <a:gd name="T6" fmla="*/ 67 w 84"/>
                <a:gd name="T7" fmla="*/ 13 h 65"/>
                <a:gd name="T8" fmla="*/ 65 w 84"/>
                <a:gd name="T9" fmla="*/ 17 h 65"/>
                <a:gd name="T10" fmla="*/ 59 w 84"/>
                <a:gd name="T11" fmla="*/ 22 h 65"/>
                <a:gd name="T12" fmla="*/ 52 w 84"/>
                <a:gd name="T13" fmla="*/ 23 h 65"/>
                <a:gd name="T14" fmla="*/ 45 w 84"/>
                <a:gd name="T15" fmla="*/ 20 h 65"/>
                <a:gd name="T16" fmla="*/ 37 w 84"/>
                <a:gd name="T17" fmla="*/ 13 h 65"/>
                <a:gd name="T18" fmla="*/ 27 w 84"/>
                <a:gd name="T19" fmla="*/ 13 h 65"/>
                <a:gd name="T20" fmla="*/ 26 w 84"/>
                <a:gd name="T21" fmla="*/ 23 h 65"/>
                <a:gd name="T22" fmla="*/ 27 w 84"/>
                <a:gd name="T23" fmla="*/ 29 h 65"/>
                <a:gd name="T24" fmla="*/ 37 w 84"/>
                <a:gd name="T25" fmla="*/ 25 h 65"/>
                <a:gd name="T26" fmla="*/ 44 w 84"/>
                <a:gd name="T27" fmla="*/ 27 h 65"/>
                <a:gd name="T28" fmla="*/ 42 w 84"/>
                <a:gd name="T29" fmla="*/ 33 h 65"/>
                <a:gd name="T30" fmla="*/ 41 w 84"/>
                <a:gd name="T31" fmla="*/ 37 h 65"/>
                <a:gd name="T32" fmla="*/ 42 w 84"/>
                <a:gd name="T33" fmla="*/ 43 h 65"/>
                <a:gd name="T34" fmla="*/ 47 w 84"/>
                <a:gd name="T35" fmla="*/ 46 h 65"/>
                <a:gd name="T36" fmla="*/ 45 w 84"/>
                <a:gd name="T37" fmla="*/ 53 h 65"/>
                <a:gd name="T38" fmla="*/ 42 w 84"/>
                <a:gd name="T39" fmla="*/ 61 h 65"/>
                <a:gd name="T40" fmla="*/ 35 w 84"/>
                <a:gd name="T41" fmla="*/ 63 h 65"/>
                <a:gd name="T42" fmla="*/ 32 w 84"/>
                <a:gd name="T43" fmla="*/ 59 h 65"/>
                <a:gd name="T44" fmla="*/ 28 w 84"/>
                <a:gd name="T45" fmla="*/ 50 h 65"/>
                <a:gd name="T46" fmla="*/ 28 w 84"/>
                <a:gd name="T47" fmla="*/ 41 h 65"/>
                <a:gd name="T48" fmla="*/ 18 w 84"/>
                <a:gd name="T49" fmla="*/ 41 h 65"/>
                <a:gd name="T50" fmla="*/ 12 w 84"/>
                <a:gd name="T51" fmla="*/ 42 h 65"/>
                <a:gd name="T52" fmla="*/ 20 w 84"/>
                <a:gd name="T53" fmla="*/ 46 h 65"/>
                <a:gd name="T54" fmla="*/ 24 w 84"/>
                <a:gd name="T55" fmla="*/ 52 h 65"/>
                <a:gd name="T56" fmla="*/ 21 w 84"/>
                <a:gd name="T57" fmla="*/ 60 h 65"/>
                <a:gd name="T58" fmla="*/ 15 w 84"/>
                <a:gd name="T59" fmla="*/ 65 h 65"/>
                <a:gd name="T60" fmla="*/ 15 w 84"/>
                <a:gd name="T61" fmla="*/ 59 h 65"/>
                <a:gd name="T62" fmla="*/ 11 w 84"/>
                <a:gd name="T63" fmla="*/ 52 h 65"/>
                <a:gd name="T64" fmla="*/ 5 w 84"/>
                <a:gd name="T65" fmla="*/ 46 h 65"/>
                <a:gd name="T66" fmla="*/ 1 w 84"/>
                <a:gd name="T67" fmla="*/ 39 h 65"/>
                <a:gd name="T68" fmla="*/ 8 w 84"/>
                <a:gd name="T69" fmla="*/ 31 h 65"/>
                <a:gd name="T70" fmla="*/ 12 w 84"/>
                <a:gd name="T71" fmla="*/ 21 h 65"/>
                <a:gd name="T72" fmla="*/ 13 w 84"/>
                <a:gd name="T73" fmla="*/ 14 h 65"/>
                <a:gd name="T74" fmla="*/ 12 w 84"/>
                <a:gd name="T75" fmla="*/ 8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4" h="65">
                  <a:moveTo>
                    <a:pt x="21" y="0"/>
                  </a:moveTo>
                  <a:lnTo>
                    <a:pt x="41" y="1"/>
                  </a:lnTo>
                  <a:lnTo>
                    <a:pt x="60" y="1"/>
                  </a:lnTo>
                  <a:lnTo>
                    <a:pt x="70" y="0"/>
                  </a:lnTo>
                  <a:lnTo>
                    <a:pt x="84" y="6"/>
                  </a:lnTo>
                  <a:lnTo>
                    <a:pt x="75" y="8"/>
                  </a:lnTo>
                  <a:lnTo>
                    <a:pt x="70" y="11"/>
                  </a:lnTo>
                  <a:lnTo>
                    <a:pt x="67" y="13"/>
                  </a:lnTo>
                  <a:lnTo>
                    <a:pt x="65" y="15"/>
                  </a:lnTo>
                  <a:lnTo>
                    <a:pt x="65" y="17"/>
                  </a:lnTo>
                  <a:lnTo>
                    <a:pt x="65" y="20"/>
                  </a:lnTo>
                  <a:lnTo>
                    <a:pt x="59" y="22"/>
                  </a:lnTo>
                  <a:lnTo>
                    <a:pt x="54" y="22"/>
                  </a:lnTo>
                  <a:lnTo>
                    <a:pt x="52" y="23"/>
                  </a:lnTo>
                  <a:lnTo>
                    <a:pt x="47" y="23"/>
                  </a:lnTo>
                  <a:lnTo>
                    <a:pt x="45" y="20"/>
                  </a:lnTo>
                  <a:lnTo>
                    <a:pt x="41" y="16"/>
                  </a:lnTo>
                  <a:lnTo>
                    <a:pt x="37" y="13"/>
                  </a:lnTo>
                  <a:lnTo>
                    <a:pt x="29" y="13"/>
                  </a:lnTo>
                  <a:lnTo>
                    <a:pt x="27" y="13"/>
                  </a:lnTo>
                  <a:lnTo>
                    <a:pt x="25" y="18"/>
                  </a:lnTo>
                  <a:lnTo>
                    <a:pt x="26" y="23"/>
                  </a:lnTo>
                  <a:lnTo>
                    <a:pt x="26" y="26"/>
                  </a:lnTo>
                  <a:lnTo>
                    <a:pt x="27" y="29"/>
                  </a:lnTo>
                  <a:lnTo>
                    <a:pt x="31" y="28"/>
                  </a:lnTo>
                  <a:lnTo>
                    <a:pt x="37" y="25"/>
                  </a:lnTo>
                  <a:lnTo>
                    <a:pt x="41" y="25"/>
                  </a:lnTo>
                  <a:lnTo>
                    <a:pt x="44" y="27"/>
                  </a:lnTo>
                  <a:lnTo>
                    <a:pt x="44" y="29"/>
                  </a:lnTo>
                  <a:lnTo>
                    <a:pt x="42" y="33"/>
                  </a:lnTo>
                  <a:lnTo>
                    <a:pt x="41" y="35"/>
                  </a:lnTo>
                  <a:lnTo>
                    <a:pt x="41" y="37"/>
                  </a:lnTo>
                  <a:lnTo>
                    <a:pt x="40" y="40"/>
                  </a:lnTo>
                  <a:lnTo>
                    <a:pt x="42" y="43"/>
                  </a:lnTo>
                  <a:lnTo>
                    <a:pt x="46" y="47"/>
                  </a:lnTo>
                  <a:lnTo>
                    <a:pt x="47" y="46"/>
                  </a:lnTo>
                  <a:lnTo>
                    <a:pt x="47" y="50"/>
                  </a:lnTo>
                  <a:lnTo>
                    <a:pt x="45" y="53"/>
                  </a:lnTo>
                  <a:lnTo>
                    <a:pt x="43" y="56"/>
                  </a:lnTo>
                  <a:lnTo>
                    <a:pt x="42" y="61"/>
                  </a:lnTo>
                  <a:lnTo>
                    <a:pt x="38" y="63"/>
                  </a:lnTo>
                  <a:lnTo>
                    <a:pt x="35" y="63"/>
                  </a:lnTo>
                  <a:lnTo>
                    <a:pt x="32" y="63"/>
                  </a:lnTo>
                  <a:lnTo>
                    <a:pt x="32" y="59"/>
                  </a:lnTo>
                  <a:lnTo>
                    <a:pt x="31" y="52"/>
                  </a:lnTo>
                  <a:lnTo>
                    <a:pt x="28" y="50"/>
                  </a:lnTo>
                  <a:lnTo>
                    <a:pt x="27" y="47"/>
                  </a:lnTo>
                  <a:lnTo>
                    <a:pt x="28" y="41"/>
                  </a:lnTo>
                  <a:lnTo>
                    <a:pt x="25" y="39"/>
                  </a:lnTo>
                  <a:lnTo>
                    <a:pt x="18" y="41"/>
                  </a:lnTo>
                  <a:lnTo>
                    <a:pt x="15" y="39"/>
                  </a:lnTo>
                  <a:lnTo>
                    <a:pt x="12" y="42"/>
                  </a:lnTo>
                  <a:lnTo>
                    <a:pt x="15" y="44"/>
                  </a:lnTo>
                  <a:lnTo>
                    <a:pt x="20" y="46"/>
                  </a:lnTo>
                  <a:lnTo>
                    <a:pt x="21" y="48"/>
                  </a:lnTo>
                  <a:lnTo>
                    <a:pt x="24" y="52"/>
                  </a:lnTo>
                  <a:lnTo>
                    <a:pt x="24" y="55"/>
                  </a:lnTo>
                  <a:lnTo>
                    <a:pt x="21" y="60"/>
                  </a:lnTo>
                  <a:lnTo>
                    <a:pt x="17" y="64"/>
                  </a:lnTo>
                  <a:lnTo>
                    <a:pt x="15" y="65"/>
                  </a:lnTo>
                  <a:lnTo>
                    <a:pt x="15" y="62"/>
                  </a:lnTo>
                  <a:lnTo>
                    <a:pt x="15" y="59"/>
                  </a:lnTo>
                  <a:lnTo>
                    <a:pt x="16" y="55"/>
                  </a:lnTo>
                  <a:lnTo>
                    <a:pt x="11" y="52"/>
                  </a:lnTo>
                  <a:lnTo>
                    <a:pt x="6" y="49"/>
                  </a:lnTo>
                  <a:lnTo>
                    <a:pt x="5" y="46"/>
                  </a:lnTo>
                  <a:lnTo>
                    <a:pt x="0" y="44"/>
                  </a:lnTo>
                  <a:lnTo>
                    <a:pt x="1" y="39"/>
                  </a:lnTo>
                  <a:lnTo>
                    <a:pt x="5" y="36"/>
                  </a:lnTo>
                  <a:lnTo>
                    <a:pt x="8" y="31"/>
                  </a:lnTo>
                  <a:lnTo>
                    <a:pt x="11" y="26"/>
                  </a:lnTo>
                  <a:lnTo>
                    <a:pt x="12" y="21"/>
                  </a:lnTo>
                  <a:lnTo>
                    <a:pt x="11" y="16"/>
                  </a:lnTo>
                  <a:lnTo>
                    <a:pt x="13" y="14"/>
                  </a:lnTo>
                  <a:lnTo>
                    <a:pt x="15" y="12"/>
                  </a:lnTo>
                  <a:lnTo>
                    <a:pt x="12" y="8"/>
                  </a:lnTo>
                  <a:lnTo>
                    <a:pt x="21" y="0"/>
                  </a:ln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78" name="Freeform 78"/>
            <p:cNvSpPr>
              <a:spLocks/>
            </p:cNvSpPr>
            <p:nvPr/>
          </p:nvSpPr>
          <p:spPr bwMode="auto">
            <a:xfrm>
              <a:off x="8535988" y="4056063"/>
              <a:ext cx="273050" cy="261938"/>
            </a:xfrm>
            <a:custGeom>
              <a:avLst/>
              <a:gdLst>
                <a:gd name="T0" fmla="*/ 0 w 93"/>
                <a:gd name="T1" fmla="*/ 30 h 90"/>
                <a:gd name="T2" fmla="*/ 19 w 93"/>
                <a:gd name="T3" fmla="*/ 16 h 90"/>
                <a:gd name="T4" fmla="*/ 29 w 93"/>
                <a:gd name="T5" fmla="*/ 10 h 90"/>
                <a:gd name="T6" fmla="*/ 34 w 93"/>
                <a:gd name="T7" fmla="*/ 5 h 90"/>
                <a:gd name="T8" fmla="*/ 49 w 93"/>
                <a:gd name="T9" fmla="*/ 0 h 90"/>
                <a:gd name="T10" fmla="*/ 57 w 93"/>
                <a:gd name="T11" fmla="*/ 11 h 90"/>
                <a:gd name="T12" fmla="*/ 65 w 93"/>
                <a:gd name="T13" fmla="*/ 6 h 90"/>
                <a:gd name="T14" fmla="*/ 68 w 93"/>
                <a:gd name="T15" fmla="*/ 3 h 90"/>
                <a:gd name="T16" fmla="*/ 75 w 93"/>
                <a:gd name="T17" fmla="*/ 0 h 90"/>
                <a:gd name="T18" fmla="*/ 79 w 93"/>
                <a:gd name="T19" fmla="*/ 0 h 90"/>
                <a:gd name="T20" fmla="*/ 80 w 93"/>
                <a:gd name="T21" fmla="*/ 4 h 90"/>
                <a:gd name="T22" fmla="*/ 80 w 93"/>
                <a:gd name="T23" fmla="*/ 7 h 90"/>
                <a:gd name="T24" fmla="*/ 76 w 93"/>
                <a:gd name="T25" fmla="*/ 12 h 90"/>
                <a:gd name="T26" fmla="*/ 76 w 93"/>
                <a:gd name="T27" fmla="*/ 15 h 90"/>
                <a:gd name="T28" fmla="*/ 87 w 93"/>
                <a:gd name="T29" fmla="*/ 28 h 90"/>
                <a:gd name="T30" fmla="*/ 89 w 93"/>
                <a:gd name="T31" fmla="*/ 36 h 90"/>
                <a:gd name="T32" fmla="*/ 92 w 93"/>
                <a:gd name="T33" fmla="*/ 36 h 90"/>
                <a:gd name="T34" fmla="*/ 93 w 93"/>
                <a:gd name="T35" fmla="*/ 40 h 90"/>
                <a:gd name="T36" fmla="*/ 89 w 93"/>
                <a:gd name="T37" fmla="*/ 44 h 90"/>
                <a:gd name="T38" fmla="*/ 86 w 93"/>
                <a:gd name="T39" fmla="*/ 42 h 90"/>
                <a:gd name="T40" fmla="*/ 79 w 93"/>
                <a:gd name="T41" fmla="*/ 45 h 90"/>
                <a:gd name="T42" fmla="*/ 80 w 93"/>
                <a:gd name="T43" fmla="*/ 53 h 90"/>
                <a:gd name="T44" fmla="*/ 72 w 93"/>
                <a:gd name="T45" fmla="*/ 58 h 90"/>
                <a:gd name="T46" fmla="*/ 72 w 93"/>
                <a:gd name="T47" fmla="*/ 71 h 90"/>
                <a:gd name="T48" fmla="*/ 72 w 93"/>
                <a:gd name="T49" fmla="*/ 80 h 90"/>
                <a:gd name="T50" fmla="*/ 68 w 93"/>
                <a:gd name="T51" fmla="*/ 84 h 90"/>
                <a:gd name="T52" fmla="*/ 65 w 93"/>
                <a:gd name="T53" fmla="*/ 90 h 90"/>
                <a:gd name="T54" fmla="*/ 61 w 93"/>
                <a:gd name="T55" fmla="*/ 89 h 90"/>
                <a:gd name="T56" fmla="*/ 55 w 93"/>
                <a:gd name="T57" fmla="*/ 86 h 90"/>
                <a:gd name="T58" fmla="*/ 50 w 93"/>
                <a:gd name="T59" fmla="*/ 83 h 90"/>
                <a:gd name="T60" fmla="*/ 46 w 93"/>
                <a:gd name="T61" fmla="*/ 78 h 90"/>
                <a:gd name="T62" fmla="*/ 32 w 93"/>
                <a:gd name="T63" fmla="*/ 79 h 90"/>
                <a:gd name="T64" fmla="*/ 20 w 93"/>
                <a:gd name="T65" fmla="*/ 76 h 90"/>
                <a:gd name="T66" fmla="*/ 12 w 93"/>
                <a:gd name="T67" fmla="*/ 68 h 90"/>
                <a:gd name="T68" fmla="*/ 7 w 93"/>
                <a:gd name="T69" fmla="*/ 62 h 90"/>
                <a:gd name="T70" fmla="*/ 3 w 93"/>
                <a:gd name="T71" fmla="*/ 57 h 90"/>
                <a:gd name="T72" fmla="*/ 3 w 93"/>
                <a:gd name="T73" fmla="*/ 47 h 90"/>
                <a:gd name="T74" fmla="*/ 0 w 93"/>
                <a:gd name="T75" fmla="*/ 3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3" h="90">
                  <a:moveTo>
                    <a:pt x="0" y="30"/>
                  </a:moveTo>
                  <a:lnTo>
                    <a:pt x="19" y="16"/>
                  </a:lnTo>
                  <a:lnTo>
                    <a:pt x="29" y="10"/>
                  </a:lnTo>
                  <a:lnTo>
                    <a:pt x="34" y="5"/>
                  </a:lnTo>
                  <a:lnTo>
                    <a:pt x="49" y="0"/>
                  </a:lnTo>
                  <a:lnTo>
                    <a:pt x="57" y="11"/>
                  </a:lnTo>
                  <a:lnTo>
                    <a:pt x="65" y="6"/>
                  </a:lnTo>
                  <a:lnTo>
                    <a:pt x="68" y="3"/>
                  </a:lnTo>
                  <a:lnTo>
                    <a:pt x="75" y="0"/>
                  </a:lnTo>
                  <a:lnTo>
                    <a:pt x="79" y="0"/>
                  </a:lnTo>
                  <a:lnTo>
                    <a:pt x="80" y="4"/>
                  </a:lnTo>
                  <a:lnTo>
                    <a:pt x="80" y="7"/>
                  </a:lnTo>
                  <a:lnTo>
                    <a:pt x="76" y="12"/>
                  </a:lnTo>
                  <a:lnTo>
                    <a:pt x="76" y="15"/>
                  </a:lnTo>
                  <a:lnTo>
                    <a:pt x="87" y="28"/>
                  </a:lnTo>
                  <a:lnTo>
                    <a:pt x="89" y="36"/>
                  </a:lnTo>
                  <a:lnTo>
                    <a:pt x="92" y="36"/>
                  </a:lnTo>
                  <a:lnTo>
                    <a:pt x="93" y="40"/>
                  </a:lnTo>
                  <a:lnTo>
                    <a:pt x="89" y="44"/>
                  </a:lnTo>
                  <a:lnTo>
                    <a:pt x="86" y="42"/>
                  </a:lnTo>
                  <a:lnTo>
                    <a:pt x="79" y="45"/>
                  </a:lnTo>
                  <a:lnTo>
                    <a:pt x="80" y="53"/>
                  </a:lnTo>
                  <a:lnTo>
                    <a:pt x="72" y="58"/>
                  </a:lnTo>
                  <a:lnTo>
                    <a:pt x="72" y="71"/>
                  </a:lnTo>
                  <a:lnTo>
                    <a:pt x="72" y="80"/>
                  </a:lnTo>
                  <a:lnTo>
                    <a:pt x="68" y="84"/>
                  </a:lnTo>
                  <a:lnTo>
                    <a:pt x="65" y="90"/>
                  </a:lnTo>
                  <a:lnTo>
                    <a:pt x="61" y="89"/>
                  </a:lnTo>
                  <a:lnTo>
                    <a:pt x="55" y="86"/>
                  </a:lnTo>
                  <a:lnTo>
                    <a:pt x="50" y="83"/>
                  </a:lnTo>
                  <a:lnTo>
                    <a:pt x="46" y="78"/>
                  </a:lnTo>
                  <a:lnTo>
                    <a:pt x="32" y="79"/>
                  </a:lnTo>
                  <a:lnTo>
                    <a:pt x="20" y="76"/>
                  </a:lnTo>
                  <a:lnTo>
                    <a:pt x="12" y="68"/>
                  </a:lnTo>
                  <a:lnTo>
                    <a:pt x="7" y="62"/>
                  </a:lnTo>
                  <a:lnTo>
                    <a:pt x="3" y="57"/>
                  </a:lnTo>
                  <a:lnTo>
                    <a:pt x="3" y="47"/>
                  </a:lnTo>
                  <a:lnTo>
                    <a:pt x="0" y="30"/>
                  </a:ln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79" name="Freeform 79"/>
            <p:cNvSpPr>
              <a:spLocks/>
            </p:cNvSpPr>
            <p:nvPr/>
          </p:nvSpPr>
          <p:spPr bwMode="auto">
            <a:xfrm>
              <a:off x="9115426" y="4202113"/>
              <a:ext cx="522288" cy="250825"/>
            </a:xfrm>
            <a:custGeom>
              <a:avLst/>
              <a:gdLst>
                <a:gd name="T0" fmla="*/ 16 w 178"/>
                <a:gd name="T1" fmla="*/ 1 h 84"/>
                <a:gd name="T2" fmla="*/ 35 w 178"/>
                <a:gd name="T3" fmla="*/ 14 h 84"/>
                <a:gd name="T4" fmla="*/ 38 w 178"/>
                <a:gd name="T5" fmla="*/ 20 h 84"/>
                <a:gd name="T6" fmla="*/ 49 w 178"/>
                <a:gd name="T7" fmla="*/ 17 h 84"/>
                <a:gd name="T8" fmla="*/ 55 w 178"/>
                <a:gd name="T9" fmla="*/ 19 h 84"/>
                <a:gd name="T10" fmla="*/ 62 w 178"/>
                <a:gd name="T11" fmla="*/ 14 h 84"/>
                <a:gd name="T12" fmla="*/ 72 w 178"/>
                <a:gd name="T13" fmla="*/ 11 h 84"/>
                <a:gd name="T14" fmla="*/ 95 w 178"/>
                <a:gd name="T15" fmla="*/ 17 h 84"/>
                <a:gd name="T16" fmla="*/ 109 w 178"/>
                <a:gd name="T17" fmla="*/ 24 h 84"/>
                <a:gd name="T18" fmla="*/ 120 w 178"/>
                <a:gd name="T19" fmla="*/ 29 h 84"/>
                <a:gd name="T20" fmla="*/ 139 w 178"/>
                <a:gd name="T21" fmla="*/ 40 h 84"/>
                <a:gd name="T22" fmla="*/ 141 w 178"/>
                <a:gd name="T23" fmla="*/ 46 h 84"/>
                <a:gd name="T24" fmla="*/ 150 w 178"/>
                <a:gd name="T25" fmla="*/ 51 h 84"/>
                <a:gd name="T26" fmla="*/ 157 w 178"/>
                <a:gd name="T27" fmla="*/ 53 h 84"/>
                <a:gd name="T28" fmla="*/ 165 w 178"/>
                <a:gd name="T29" fmla="*/ 63 h 84"/>
                <a:gd name="T30" fmla="*/ 171 w 178"/>
                <a:gd name="T31" fmla="*/ 69 h 84"/>
                <a:gd name="T32" fmla="*/ 172 w 178"/>
                <a:gd name="T33" fmla="*/ 84 h 84"/>
                <a:gd name="T34" fmla="*/ 164 w 178"/>
                <a:gd name="T35" fmla="*/ 84 h 84"/>
                <a:gd name="T36" fmla="*/ 159 w 178"/>
                <a:gd name="T37" fmla="*/ 81 h 84"/>
                <a:gd name="T38" fmla="*/ 141 w 178"/>
                <a:gd name="T39" fmla="*/ 66 h 84"/>
                <a:gd name="T40" fmla="*/ 123 w 178"/>
                <a:gd name="T41" fmla="*/ 66 h 84"/>
                <a:gd name="T42" fmla="*/ 117 w 178"/>
                <a:gd name="T43" fmla="*/ 71 h 84"/>
                <a:gd name="T44" fmla="*/ 112 w 178"/>
                <a:gd name="T45" fmla="*/ 74 h 84"/>
                <a:gd name="T46" fmla="*/ 101 w 178"/>
                <a:gd name="T47" fmla="*/ 78 h 84"/>
                <a:gd name="T48" fmla="*/ 91 w 178"/>
                <a:gd name="T49" fmla="*/ 76 h 84"/>
                <a:gd name="T50" fmla="*/ 82 w 178"/>
                <a:gd name="T51" fmla="*/ 76 h 84"/>
                <a:gd name="T52" fmla="*/ 71 w 178"/>
                <a:gd name="T53" fmla="*/ 57 h 84"/>
                <a:gd name="T54" fmla="*/ 58 w 178"/>
                <a:gd name="T55" fmla="*/ 40 h 84"/>
                <a:gd name="T56" fmla="*/ 42 w 178"/>
                <a:gd name="T57" fmla="*/ 34 h 84"/>
                <a:gd name="T58" fmla="*/ 27 w 178"/>
                <a:gd name="T59" fmla="*/ 33 h 84"/>
                <a:gd name="T60" fmla="*/ 12 w 178"/>
                <a:gd name="T61" fmla="*/ 27 h 84"/>
                <a:gd name="T62" fmla="*/ 13 w 178"/>
                <a:gd name="T63" fmla="*/ 9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78" h="84">
                  <a:moveTo>
                    <a:pt x="0" y="0"/>
                  </a:moveTo>
                  <a:lnTo>
                    <a:pt x="16" y="1"/>
                  </a:lnTo>
                  <a:lnTo>
                    <a:pt x="29" y="2"/>
                  </a:lnTo>
                  <a:lnTo>
                    <a:pt x="35" y="14"/>
                  </a:lnTo>
                  <a:lnTo>
                    <a:pt x="36" y="18"/>
                  </a:lnTo>
                  <a:lnTo>
                    <a:pt x="38" y="20"/>
                  </a:lnTo>
                  <a:lnTo>
                    <a:pt x="42" y="17"/>
                  </a:lnTo>
                  <a:lnTo>
                    <a:pt x="49" y="17"/>
                  </a:lnTo>
                  <a:lnTo>
                    <a:pt x="53" y="20"/>
                  </a:lnTo>
                  <a:lnTo>
                    <a:pt x="55" y="19"/>
                  </a:lnTo>
                  <a:lnTo>
                    <a:pt x="61" y="14"/>
                  </a:lnTo>
                  <a:lnTo>
                    <a:pt x="62" y="14"/>
                  </a:lnTo>
                  <a:lnTo>
                    <a:pt x="67" y="11"/>
                  </a:lnTo>
                  <a:lnTo>
                    <a:pt x="72" y="11"/>
                  </a:lnTo>
                  <a:lnTo>
                    <a:pt x="88" y="17"/>
                  </a:lnTo>
                  <a:lnTo>
                    <a:pt x="95" y="17"/>
                  </a:lnTo>
                  <a:lnTo>
                    <a:pt x="102" y="22"/>
                  </a:lnTo>
                  <a:lnTo>
                    <a:pt x="109" y="24"/>
                  </a:lnTo>
                  <a:lnTo>
                    <a:pt x="115" y="28"/>
                  </a:lnTo>
                  <a:lnTo>
                    <a:pt x="120" y="29"/>
                  </a:lnTo>
                  <a:lnTo>
                    <a:pt x="133" y="33"/>
                  </a:lnTo>
                  <a:lnTo>
                    <a:pt x="139" y="40"/>
                  </a:lnTo>
                  <a:lnTo>
                    <a:pt x="142" y="44"/>
                  </a:lnTo>
                  <a:lnTo>
                    <a:pt x="141" y="46"/>
                  </a:lnTo>
                  <a:lnTo>
                    <a:pt x="146" y="50"/>
                  </a:lnTo>
                  <a:lnTo>
                    <a:pt x="150" y="51"/>
                  </a:lnTo>
                  <a:lnTo>
                    <a:pt x="152" y="52"/>
                  </a:lnTo>
                  <a:lnTo>
                    <a:pt x="157" y="53"/>
                  </a:lnTo>
                  <a:lnTo>
                    <a:pt x="165" y="59"/>
                  </a:lnTo>
                  <a:lnTo>
                    <a:pt x="165" y="63"/>
                  </a:lnTo>
                  <a:lnTo>
                    <a:pt x="170" y="67"/>
                  </a:lnTo>
                  <a:lnTo>
                    <a:pt x="171" y="69"/>
                  </a:lnTo>
                  <a:lnTo>
                    <a:pt x="178" y="77"/>
                  </a:lnTo>
                  <a:lnTo>
                    <a:pt x="172" y="84"/>
                  </a:lnTo>
                  <a:lnTo>
                    <a:pt x="170" y="84"/>
                  </a:lnTo>
                  <a:lnTo>
                    <a:pt x="164" y="84"/>
                  </a:lnTo>
                  <a:lnTo>
                    <a:pt x="162" y="81"/>
                  </a:lnTo>
                  <a:lnTo>
                    <a:pt x="159" y="81"/>
                  </a:lnTo>
                  <a:lnTo>
                    <a:pt x="156" y="82"/>
                  </a:lnTo>
                  <a:lnTo>
                    <a:pt x="141" y="66"/>
                  </a:lnTo>
                  <a:lnTo>
                    <a:pt x="132" y="67"/>
                  </a:lnTo>
                  <a:lnTo>
                    <a:pt x="123" y="66"/>
                  </a:lnTo>
                  <a:lnTo>
                    <a:pt x="120" y="68"/>
                  </a:lnTo>
                  <a:lnTo>
                    <a:pt x="117" y="71"/>
                  </a:lnTo>
                  <a:lnTo>
                    <a:pt x="116" y="69"/>
                  </a:lnTo>
                  <a:lnTo>
                    <a:pt x="112" y="74"/>
                  </a:lnTo>
                  <a:lnTo>
                    <a:pt x="106" y="81"/>
                  </a:lnTo>
                  <a:lnTo>
                    <a:pt x="101" y="78"/>
                  </a:lnTo>
                  <a:lnTo>
                    <a:pt x="95" y="76"/>
                  </a:lnTo>
                  <a:lnTo>
                    <a:pt x="91" y="76"/>
                  </a:lnTo>
                  <a:lnTo>
                    <a:pt x="85" y="74"/>
                  </a:lnTo>
                  <a:lnTo>
                    <a:pt x="82" y="76"/>
                  </a:lnTo>
                  <a:lnTo>
                    <a:pt x="78" y="66"/>
                  </a:lnTo>
                  <a:lnTo>
                    <a:pt x="71" y="57"/>
                  </a:lnTo>
                  <a:lnTo>
                    <a:pt x="64" y="46"/>
                  </a:lnTo>
                  <a:lnTo>
                    <a:pt x="58" y="40"/>
                  </a:lnTo>
                  <a:lnTo>
                    <a:pt x="53" y="34"/>
                  </a:lnTo>
                  <a:lnTo>
                    <a:pt x="42" y="34"/>
                  </a:lnTo>
                  <a:lnTo>
                    <a:pt x="32" y="37"/>
                  </a:lnTo>
                  <a:lnTo>
                    <a:pt x="27" y="33"/>
                  </a:lnTo>
                  <a:lnTo>
                    <a:pt x="17" y="30"/>
                  </a:lnTo>
                  <a:lnTo>
                    <a:pt x="12" y="27"/>
                  </a:lnTo>
                  <a:lnTo>
                    <a:pt x="12" y="15"/>
                  </a:lnTo>
                  <a:lnTo>
                    <a:pt x="13" y="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80" name="Freeform 80"/>
            <p:cNvSpPr>
              <a:spLocks/>
            </p:cNvSpPr>
            <p:nvPr/>
          </p:nvSpPr>
          <p:spPr bwMode="auto">
            <a:xfrm>
              <a:off x="8148638" y="4029075"/>
              <a:ext cx="315913" cy="325438"/>
            </a:xfrm>
            <a:custGeom>
              <a:avLst/>
              <a:gdLst>
                <a:gd name="T0" fmla="*/ 0 w 108"/>
                <a:gd name="T1" fmla="*/ 3 h 111"/>
                <a:gd name="T2" fmla="*/ 11 w 108"/>
                <a:gd name="T3" fmla="*/ 0 h 111"/>
                <a:gd name="T4" fmla="*/ 24 w 108"/>
                <a:gd name="T5" fmla="*/ 5 h 111"/>
                <a:gd name="T6" fmla="*/ 26 w 108"/>
                <a:gd name="T7" fmla="*/ 10 h 111"/>
                <a:gd name="T8" fmla="*/ 26 w 108"/>
                <a:gd name="T9" fmla="*/ 12 h 111"/>
                <a:gd name="T10" fmla="*/ 29 w 108"/>
                <a:gd name="T11" fmla="*/ 13 h 111"/>
                <a:gd name="T12" fmla="*/ 29 w 108"/>
                <a:gd name="T13" fmla="*/ 15 h 111"/>
                <a:gd name="T14" fmla="*/ 33 w 108"/>
                <a:gd name="T15" fmla="*/ 16 h 111"/>
                <a:gd name="T16" fmla="*/ 33 w 108"/>
                <a:gd name="T17" fmla="*/ 20 h 111"/>
                <a:gd name="T18" fmla="*/ 46 w 108"/>
                <a:gd name="T19" fmla="*/ 32 h 111"/>
                <a:gd name="T20" fmla="*/ 48 w 108"/>
                <a:gd name="T21" fmla="*/ 32 h 111"/>
                <a:gd name="T22" fmla="*/ 50 w 108"/>
                <a:gd name="T23" fmla="*/ 35 h 111"/>
                <a:gd name="T24" fmla="*/ 52 w 108"/>
                <a:gd name="T25" fmla="*/ 38 h 111"/>
                <a:gd name="T26" fmla="*/ 54 w 108"/>
                <a:gd name="T27" fmla="*/ 38 h 111"/>
                <a:gd name="T28" fmla="*/ 63 w 108"/>
                <a:gd name="T29" fmla="*/ 42 h 111"/>
                <a:gd name="T30" fmla="*/ 80 w 108"/>
                <a:gd name="T31" fmla="*/ 44 h 111"/>
                <a:gd name="T32" fmla="*/ 81 w 108"/>
                <a:gd name="T33" fmla="*/ 58 h 111"/>
                <a:gd name="T34" fmla="*/ 85 w 108"/>
                <a:gd name="T35" fmla="*/ 60 h 111"/>
                <a:gd name="T36" fmla="*/ 84 w 108"/>
                <a:gd name="T37" fmla="*/ 65 h 111"/>
                <a:gd name="T38" fmla="*/ 94 w 108"/>
                <a:gd name="T39" fmla="*/ 72 h 111"/>
                <a:gd name="T40" fmla="*/ 103 w 108"/>
                <a:gd name="T41" fmla="*/ 75 h 111"/>
                <a:gd name="T42" fmla="*/ 103 w 108"/>
                <a:gd name="T43" fmla="*/ 98 h 111"/>
                <a:gd name="T44" fmla="*/ 108 w 108"/>
                <a:gd name="T45" fmla="*/ 107 h 111"/>
                <a:gd name="T46" fmla="*/ 105 w 108"/>
                <a:gd name="T47" fmla="*/ 110 h 111"/>
                <a:gd name="T48" fmla="*/ 99 w 108"/>
                <a:gd name="T49" fmla="*/ 111 h 111"/>
                <a:gd name="T50" fmla="*/ 98 w 108"/>
                <a:gd name="T51" fmla="*/ 103 h 111"/>
                <a:gd name="T52" fmla="*/ 88 w 108"/>
                <a:gd name="T53" fmla="*/ 111 h 111"/>
                <a:gd name="T54" fmla="*/ 81 w 108"/>
                <a:gd name="T55" fmla="*/ 99 h 111"/>
                <a:gd name="T56" fmla="*/ 77 w 108"/>
                <a:gd name="T57" fmla="*/ 91 h 111"/>
                <a:gd name="T58" fmla="*/ 65 w 108"/>
                <a:gd name="T59" fmla="*/ 80 h 111"/>
                <a:gd name="T60" fmla="*/ 62 w 108"/>
                <a:gd name="T61" fmla="*/ 80 h 111"/>
                <a:gd name="T62" fmla="*/ 51 w 108"/>
                <a:gd name="T63" fmla="*/ 74 h 111"/>
                <a:gd name="T64" fmla="*/ 49 w 108"/>
                <a:gd name="T65" fmla="*/ 68 h 111"/>
                <a:gd name="T66" fmla="*/ 49 w 108"/>
                <a:gd name="T67" fmla="*/ 64 h 111"/>
                <a:gd name="T68" fmla="*/ 40 w 108"/>
                <a:gd name="T69" fmla="*/ 48 h 111"/>
                <a:gd name="T70" fmla="*/ 36 w 108"/>
                <a:gd name="T71" fmla="*/ 38 h 111"/>
                <a:gd name="T72" fmla="*/ 25 w 108"/>
                <a:gd name="T73" fmla="*/ 29 h 111"/>
                <a:gd name="T74" fmla="*/ 10 w 108"/>
                <a:gd name="T75" fmla="*/ 15 h 111"/>
                <a:gd name="T76" fmla="*/ 0 w 108"/>
                <a:gd name="T77" fmla="*/ 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8" h="111">
                  <a:moveTo>
                    <a:pt x="0" y="3"/>
                  </a:moveTo>
                  <a:lnTo>
                    <a:pt x="11" y="0"/>
                  </a:lnTo>
                  <a:lnTo>
                    <a:pt x="24" y="5"/>
                  </a:lnTo>
                  <a:lnTo>
                    <a:pt x="26" y="10"/>
                  </a:lnTo>
                  <a:lnTo>
                    <a:pt x="26" y="12"/>
                  </a:lnTo>
                  <a:lnTo>
                    <a:pt x="29" y="13"/>
                  </a:lnTo>
                  <a:lnTo>
                    <a:pt x="29" y="15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46" y="32"/>
                  </a:lnTo>
                  <a:lnTo>
                    <a:pt x="48" y="32"/>
                  </a:lnTo>
                  <a:lnTo>
                    <a:pt x="50" y="35"/>
                  </a:lnTo>
                  <a:lnTo>
                    <a:pt x="52" y="38"/>
                  </a:lnTo>
                  <a:lnTo>
                    <a:pt x="54" y="38"/>
                  </a:lnTo>
                  <a:lnTo>
                    <a:pt x="63" y="42"/>
                  </a:lnTo>
                  <a:lnTo>
                    <a:pt x="80" y="44"/>
                  </a:lnTo>
                  <a:lnTo>
                    <a:pt x="81" y="58"/>
                  </a:lnTo>
                  <a:lnTo>
                    <a:pt x="85" y="60"/>
                  </a:lnTo>
                  <a:lnTo>
                    <a:pt x="84" y="65"/>
                  </a:lnTo>
                  <a:lnTo>
                    <a:pt x="94" y="72"/>
                  </a:lnTo>
                  <a:lnTo>
                    <a:pt x="103" y="75"/>
                  </a:lnTo>
                  <a:lnTo>
                    <a:pt x="103" y="98"/>
                  </a:lnTo>
                  <a:lnTo>
                    <a:pt x="108" y="107"/>
                  </a:lnTo>
                  <a:lnTo>
                    <a:pt x="105" y="110"/>
                  </a:lnTo>
                  <a:lnTo>
                    <a:pt x="99" y="111"/>
                  </a:lnTo>
                  <a:lnTo>
                    <a:pt x="98" y="103"/>
                  </a:lnTo>
                  <a:lnTo>
                    <a:pt x="88" y="111"/>
                  </a:lnTo>
                  <a:lnTo>
                    <a:pt x="81" y="99"/>
                  </a:lnTo>
                  <a:lnTo>
                    <a:pt x="77" y="91"/>
                  </a:lnTo>
                  <a:lnTo>
                    <a:pt x="65" y="80"/>
                  </a:lnTo>
                  <a:lnTo>
                    <a:pt x="62" y="80"/>
                  </a:lnTo>
                  <a:lnTo>
                    <a:pt x="51" y="74"/>
                  </a:lnTo>
                  <a:lnTo>
                    <a:pt x="49" y="68"/>
                  </a:lnTo>
                  <a:lnTo>
                    <a:pt x="49" y="64"/>
                  </a:lnTo>
                  <a:lnTo>
                    <a:pt x="40" y="48"/>
                  </a:lnTo>
                  <a:lnTo>
                    <a:pt x="36" y="38"/>
                  </a:lnTo>
                  <a:lnTo>
                    <a:pt x="25" y="29"/>
                  </a:lnTo>
                  <a:lnTo>
                    <a:pt x="10" y="15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81" name="Freeform 81"/>
            <p:cNvSpPr>
              <a:spLocks/>
            </p:cNvSpPr>
            <p:nvPr/>
          </p:nvSpPr>
          <p:spPr bwMode="auto">
            <a:xfrm>
              <a:off x="8712201" y="3676650"/>
              <a:ext cx="306388" cy="360363"/>
            </a:xfrm>
            <a:custGeom>
              <a:avLst/>
              <a:gdLst>
                <a:gd name="T0" fmla="*/ 7 w 104"/>
                <a:gd name="T1" fmla="*/ 0 h 123"/>
                <a:gd name="T2" fmla="*/ 16 w 104"/>
                <a:gd name="T3" fmla="*/ 0 h 123"/>
                <a:gd name="T4" fmla="*/ 26 w 104"/>
                <a:gd name="T5" fmla="*/ 13 h 123"/>
                <a:gd name="T6" fmla="*/ 24 w 104"/>
                <a:gd name="T7" fmla="*/ 25 h 123"/>
                <a:gd name="T8" fmla="*/ 30 w 104"/>
                <a:gd name="T9" fmla="*/ 29 h 123"/>
                <a:gd name="T10" fmla="*/ 33 w 104"/>
                <a:gd name="T11" fmla="*/ 37 h 123"/>
                <a:gd name="T12" fmla="*/ 40 w 104"/>
                <a:gd name="T13" fmla="*/ 41 h 123"/>
                <a:gd name="T14" fmla="*/ 48 w 104"/>
                <a:gd name="T15" fmla="*/ 42 h 123"/>
                <a:gd name="T16" fmla="*/ 60 w 104"/>
                <a:gd name="T17" fmla="*/ 48 h 123"/>
                <a:gd name="T18" fmla="*/ 68 w 104"/>
                <a:gd name="T19" fmla="*/ 56 h 123"/>
                <a:gd name="T20" fmla="*/ 70 w 104"/>
                <a:gd name="T21" fmla="*/ 56 h 123"/>
                <a:gd name="T22" fmla="*/ 80 w 104"/>
                <a:gd name="T23" fmla="*/ 62 h 123"/>
                <a:gd name="T24" fmla="*/ 80 w 104"/>
                <a:gd name="T25" fmla="*/ 77 h 123"/>
                <a:gd name="T26" fmla="*/ 83 w 104"/>
                <a:gd name="T27" fmla="*/ 84 h 123"/>
                <a:gd name="T28" fmla="*/ 86 w 104"/>
                <a:gd name="T29" fmla="*/ 88 h 123"/>
                <a:gd name="T30" fmla="*/ 90 w 104"/>
                <a:gd name="T31" fmla="*/ 92 h 123"/>
                <a:gd name="T32" fmla="*/ 94 w 104"/>
                <a:gd name="T33" fmla="*/ 97 h 123"/>
                <a:gd name="T34" fmla="*/ 96 w 104"/>
                <a:gd name="T35" fmla="*/ 103 h 123"/>
                <a:gd name="T36" fmla="*/ 104 w 104"/>
                <a:gd name="T37" fmla="*/ 108 h 123"/>
                <a:gd name="T38" fmla="*/ 103 w 104"/>
                <a:gd name="T39" fmla="*/ 114 h 123"/>
                <a:gd name="T40" fmla="*/ 95 w 104"/>
                <a:gd name="T41" fmla="*/ 115 h 123"/>
                <a:gd name="T42" fmla="*/ 92 w 104"/>
                <a:gd name="T43" fmla="*/ 110 h 123"/>
                <a:gd name="T44" fmla="*/ 86 w 104"/>
                <a:gd name="T45" fmla="*/ 110 h 123"/>
                <a:gd name="T46" fmla="*/ 86 w 104"/>
                <a:gd name="T47" fmla="*/ 123 h 123"/>
                <a:gd name="T48" fmla="*/ 81 w 104"/>
                <a:gd name="T49" fmla="*/ 123 h 123"/>
                <a:gd name="T50" fmla="*/ 75 w 104"/>
                <a:gd name="T51" fmla="*/ 117 h 123"/>
                <a:gd name="T52" fmla="*/ 71 w 104"/>
                <a:gd name="T53" fmla="*/ 114 h 123"/>
                <a:gd name="T54" fmla="*/ 71 w 104"/>
                <a:gd name="T55" fmla="*/ 107 h 123"/>
                <a:gd name="T56" fmla="*/ 62 w 104"/>
                <a:gd name="T57" fmla="*/ 107 h 123"/>
                <a:gd name="T58" fmla="*/ 59 w 104"/>
                <a:gd name="T59" fmla="*/ 114 h 123"/>
                <a:gd name="T60" fmla="*/ 56 w 104"/>
                <a:gd name="T61" fmla="*/ 107 h 123"/>
                <a:gd name="T62" fmla="*/ 55 w 104"/>
                <a:gd name="T63" fmla="*/ 100 h 123"/>
                <a:gd name="T64" fmla="*/ 66 w 104"/>
                <a:gd name="T65" fmla="*/ 97 h 123"/>
                <a:gd name="T66" fmla="*/ 72 w 104"/>
                <a:gd name="T67" fmla="*/ 99 h 123"/>
                <a:gd name="T68" fmla="*/ 73 w 104"/>
                <a:gd name="T69" fmla="*/ 87 h 123"/>
                <a:gd name="T70" fmla="*/ 67 w 104"/>
                <a:gd name="T71" fmla="*/ 83 h 123"/>
                <a:gd name="T72" fmla="*/ 63 w 104"/>
                <a:gd name="T73" fmla="*/ 73 h 123"/>
                <a:gd name="T74" fmla="*/ 60 w 104"/>
                <a:gd name="T75" fmla="*/ 61 h 123"/>
                <a:gd name="T76" fmla="*/ 49 w 104"/>
                <a:gd name="T77" fmla="*/ 57 h 123"/>
                <a:gd name="T78" fmla="*/ 44 w 104"/>
                <a:gd name="T79" fmla="*/ 51 h 123"/>
                <a:gd name="T80" fmla="*/ 35 w 104"/>
                <a:gd name="T81" fmla="*/ 48 h 123"/>
                <a:gd name="T82" fmla="*/ 40 w 104"/>
                <a:gd name="T83" fmla="*/ 60 h 123"/>
                <a:gd name="T84" fmla="*/ 30 w 104"/>
                <a:gd name="T85" fmla="*/ 65 h 123"/>
                <a:gd name="T86" fmla="*/ 24 w 104"/>
                <a:gd name="T87" fmla="*/ 52 h 123"/>
                <a:gd name="T88" fmla="*/ 19 w 104"/>
                <a:gd name="T89" fmla="*/ 49 h 123"/>
                <a:gd name="T90" fmla="*/ 19 w 104"/>
                <a:gd name="T91" fmla="*/ 42 h 123"/>
                <a:gd name="T92" fmla="*/ 12 w 104"/>
                <a:gd name="T93" fmla="*/ 34 h 123"/>
                <a:gd name="T94" fmla="*/ 4 w 104"/>
                <a:gd name="T95" fmla="*/ 29 h 123"/>
                <a:gd name="T96" fmla="*/ 0 w 104"/>
                <a:gd name="T97" fmla="*/ 24 h 123"/>
                <a:gd name="T98" fmla="*/ 2 w 104"/>
                <a:gd name="T99" fmla="*/ 20 h 123"/>
                <a:gd name="T100" fmla="*/ 8 w 104"/>
                <a:gd name="T101" fmla="*/ 22 h 123"/>
                <a:gd name="T102" fmla="*/ 10 w 104"/>
                <a:gd name="T103" fmla="*/ 17 h 123"/>
                <a:gd name="T104" fmla="*/ 8 w 104"/>
                <a:gd name="T105" fmla="*/ 10 h 123"/>
                <a:gd name="T106" fmla="*/ 7 w 104"/>
                <a:gd name="T107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4" h="123">
                  <a:moveTo>
                    <a:pt x="7" y="0"/>
                  </a:moveTo>
                  <a:lnTo>
                    <a:pt x="16" y="0"/>
                  </a:lnTo>
                  <a:lnTo>
                    <a:pt x="26" y="13"/>
                  </a:lnTo>
                  <a:lnTo>
                    <a:pt x="24" y="25"/>
                  </a:lnTo>
                  <a:lnTo>
                    <a:pt x="30" y="29"/>
                  </a:lnTo>
                  <a:lnTo>
                    <a:pt x="33" y="37"/>
                  </a:lnTo>
                  <a:lnTo>
                    <a:pt x="40" y="41"/>
                  </a:lnTo>
                  <a:lnTo>
                    <a:pt x="48" y="42"/>
                  </a:lnTo>
                  <a:lnTo>
                    <a:pt x="60" y="48"/>
                  </a:lnTo>
                  <a:lnTo>
                    <a:pt x="68" y="56"/>
                  </a:lnTo>
                  <a:lnTo>
                    <a:pt x="70" y="56"/>
                  </a:lnTo>
                  <a:lnTo>
                    <a:pt x="80" y="62"/>
                  </a:lnTo>
                  <a:lnTo>
                    <a:pt x="80" y="77"/>
                  </a:lnTo>
                  <a:lnTo>
                    <a:pt x="83" y="84"/>
                  </a:lnTo>
                  <a:lnTo>
                    <a:pt x="86" y="88"/>
                  </a:lnTo>
                  <a:lnTo>
                    <a:pt x="90" y="92"/>
                  </a:lnTo>
                  <a:lnTo>
                    <a:pt x="94" y="97"/>
                  </a:lnTo>
                  <a:lnTo>
                    <a:pt x="96" y="103"/>
                  </a:lnTo>
                  <a:lnTo>
                    <a:pt x="104" y="108"/>
                  </a:lnTo>
                  <a:lnTo>
                    <a:pt x="103" y="114"/>
                  </a:lnTo>
                  <a:lnTo>
                    <a:pt x="95" y="115"/>
                  </a:lnTo>
                  <a:lnTo>
                    <a:pt x="92" y="110"/>
                  </a:lnTo>
                  <a:lnTo>
                    <a:pt x="86" y="110"/>
                  </a:lnTo>
                  <a:lnTo>
                    <a:pt x="86" y="123"/>
                  </a:lnTo>
                  <a:lnTo>
                    <a:pt x="81" y="123"/>
                  </a:lnTo>
                  <a:lnTo>
                    <a:pt x="75" y="117"/>
                  </a:lnTo>
                  <a:lnTo>
                    <a:pt x="71" y="114"/>
                  </a:lnTo>
                  <a:lnTo>
                    <a:pt x="71" y="107"/>
                  </a:lnTo>
                  <a:lnTo>
                    <a:pt x="62" y="107"/>
                  </a:lnTo>
                  <a:lnTo>
                    <a:pt x="59" y="114"/>
                  </a:lnTo>
                  <a:lnTo>
                    <a:pt x="56" y="107"/>
                  </a:lnTo>
                  <a:lnTo>
                    <a:pt x="55" y="100"/>
                  </a:lnTo>
                  <a:lnTo>
                    <a:pt x="66" y="97"/>
                  </a:lnTo>
                  <a:lnTo>
                    <a:pt x="72" y="99"/>
                  </a:lnTo>
                  <a:lnTo>
                    <a:pt x="73" y="87"/>
                  </a:lnTo>
                  <a:lnTo>
                    <a:pt x="67" y="83"/>
                  </a:lnTo>
                  <a:lnTo>
                    <a:pt x="63" y="73"/>
                  </a:lnTo>
                  <a:lnTo>
                    <a:pt x="60" y="61"/>
                  </a:lnTo>
                  <a:lnTo>
                    <a:pt x="49" y="57"/>
                  </a:lnTo>
                  <a:lnTo>
                    <a:pt x="44" y="51"/>
                  </a:lnTo>
                  <a:lnTo>
                    <a:pt x="35" y="48"/>
                  </a:lnTo>
                  <a:lnTo>
                    <a:pt x="40" y="60"/>
                  </a:lnTo>
                  <a:lnTo>
                    <a:pt x="30" y="65"/>
                  </a:lnTo>
                  <a:lnTo>
                    <a:pt x="24" y="52"/>
                  </a:lnTo>
                  <a:lnTo>
                    <a:pt x="19" y="49"/>
                  </a:lnTo>
                  <a:lnTo>
                    <a:pt x="19" y="42"/>
                  </a:lnTo>
                  <a:lnTo>
                    <a:pt x="12" y="34"/>
                  </a:lnTo>
                  <a:lnTo>
                    <a:pt x="4" y="29"/>
                  </a:lnTo>
                  <a:lnTo>
                    <a:pt x="0" y="24"/>
                  </a:lnTo>
                  <a:lnTo>
                    <a:pt x="2" y="20"/>
                  </a:lnTo>
                  <a:lnTo>
                    <a:pt x="8" y="22"/>
                  </a:lnTo>
                  <a:lnTo>
                    <a:pt x="10" y="17"/>
                  </a:lnTo>
                  <a:lnTo>
                    <a:pt x="8" y="1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82" name="Freeform 82"/>
            <p:cNvSpPr>
              <a:spLocks/>
            </p:cNvSpPr>
            <p:nvPr/>
          </p:nvSpPr>
          <p:spPr bwMode="auto">
            <a:xfrm>
              <a:off x="8640763" y="3063875"/>
              <a:ext cx="225425" cy="306388"/>
            </a:xfrm>
            <a:custGeom>
              <a:avLst/>
              <a:gdLst>
                <a:gd name="T0" fmla="*/ 16 w 77"/>
                <a:gd name="T1" fmla="*/ 0 h 105"/>
                <a:gd name="T2" fmla="*/ 31 w 77"/>
                <a:gd name="T3" fmla="*/ 7 h 105"/>
                <a:gd name="T4" fmla="*/ 40 w 77"/>
                <a:gd name="T5" fmla="*/ 15 h 105"/>
                <a:gd name="T6" fmla="*/ 46 w 77"/>
                <a:gd name="T7" fmla="*/ 24 h 105"/>
                <a:gd name="T8" fmla="*/ 51 w 77"/>
                <a:gd name="T9" fmla="*/ 24 h 105"/>
                <a:gd name="T10" fmla="*/ 50 w 77"/>
                <a:gd name="T11" fmla="*/ 30 h 105"/>
                <a:gd name="T12" fmla="*/ 56 w 77"/>
                <a:gd name="T13" fmla="*/ 34 h 105"/>
                <a:gd name="T14" fmla="*/ 60 w 77"/>
                <a:gd name="T15" fmla="*/ 40 h 105"/>
                <a:gd name="T16" fmla="*/ 70 w 77"/>
                <a:gd name="T17" fmla="*/ 52 h 105"/>
                <a:gd name="T18" fmla="*/ 77 w 77"/>
                <a:gd name="T19" fmla="*/ 66 h 105"/>
                <a:gd name="T20" fmla="*/ 64 w 77"/>
                <a:gd name="T21" fmla="*/ 65 h 105"/>
                <a:gd name="T22" fmla="*/ 54 w 77"/>
                <a:gd name="T23" fmla="*/ 63 h 105"/>
                <a:gd name="T24" fmla="*/ 61 w 77"/>
                <a:gd name="T25" fmla="*/ 73 h 105"/>
                <a:gd name="T26" fmla="*/ 61 w 77"/>
                <a:gd name="T27" fmla="*/ 79 h 105"/>
                <a:gd name="T28" fmla="*/ 61 w 77"/>
                <a:gd name="T29" fmla="*/ 85 h 105"/>
                <a:gd name="T30" fmla="*/ 57 w 77"/>
                <a:gd name="T31" fmla="*/ 82 h 105"/>
                <a:gd name="T32" fmla="*/ 52 w 77"/>
                <a:gd name="T33" fmla="*/ 77 h 105"/>
                <a:gd name="T34" fmla="*/ 43 w 77"/>
                <a:gd name="T35" fmla="*/ 71 h 105"/>
                <a:gd name="T36" fmla="*/ 38 w 77"/>
                <a:gd name="T37" fmla="*/ 68 h 105"/>
                <a:gd name="T38" fmla="*/ 30 w 77"/>
                <a:gd name="T39" fmla="*/ 71 h 105"/>
                <a:gd name="T40" fmla="*/ 25 w 77"/>
                <a:gd name="T41" fmla="*/ 73 h 105"/>
                <a:gd name="T42" fmla="*/ 28 w 77"/>
                <a:gd name="T43" fmla="*/ 78 h 105"/>
                <a:gd name="T44" fmla="*/ 36 w 77"/>
                <a:gd name="T45" fmla="*/ 82 h 105"/>
                <a:gd name="T46" fmla="*/ 44 w 77"/>
                <a:gd name="T47" fmla="*/ 86 h 105"/>
                <a:gd name="T48" fmla="*/ 47 w 77"/>
                <a:gd name="T49" fmla="*/ 93 h 105"/>
                <a:gd name="T50" fmla="*/ 46 w 77"/>
                <a:gd name="T51" fmla="*/ 102 h 105"/>
                <a:gd name="T52" fmla="*/ 46 w 77"/>
                <a:gd name="T53" fmla="*/ 105 h 105"/>
                <a:gd name="T54" fmla="*/ 43 w 77"/>
                <a:gd name="T55" fmla="*/ 105 h 105"/>
                <a:gd name="T56" fmla="*/ 38 w 77"/>
                <a:gd name="T57" fmla="*/ 102 h 105"/>
                <a:gd name="T58" fmla="*/ 36 w 77"/>
                <a:gd name="T59" fmla="*/ 101 h 105"/>
                <a:gd name="T60" fmla="*/ 33 w 77"/>
                <a:gd name="T61" fmla="*/ 99 h 105"/>
                <a:gd name="T62" fmla="*/ 30 w 77"/>
                <a:gd name="T63" fmla="*/ 104 h 105"/>
                <a:gd name="T64" fmla="*/ 25 w 77"/>
                <a:gd name="T65" fmla="*/ 105 h 105"/>
                <a:gd name="T66" fmla="*/ 21 w 77"/>
                <a:gd name="T67" fmla="*/ 101 h 105"/>
                <a:gd name="T68" fmla="*/ 21 w 77"/>
                <a:gd name="T69" fmla="*/ 92 h 105"/>
                <a:gd name="T70" fmla="*/ 20 w 77"/>
                <a:gd name="T71" fmla="*/ 87 h 105"/>
                <a:gd name="T72" fmla="*/ 15 w 77"/>
                <a:gd name="T73" fmla="*/ 84 h 105"/>
                <a:gd name="T74" fmla="*/ 10 w 77"/>
                <a:gd name="T75" fmla="*/ 89 h 105"/>
                <a:gd name="T76" fmla="*/ 2 w 77"/>
                <a:gd name="T77" fmla="*/ 89 h 105"/>
                <a:gd name="T78" fmla="*/ 0 w 77"/>
                <a:gd name="T79" fmla="*/ 85 h 105"/>
                <a:gd name="T80" fmla="*/ 2 w 77"/>
                <a:gd name="T81" fmla="*/ 75 h 105"/>
                <a:gd name="T82" fmla="*/ 8 w 77"/>
                <a:gd name="T83" fmla="*/ 69 h 105"/>
                <a:gd name="T84" fmla="*/ 7 w 77"/>
                <a:gd name="T85" fmla="*/ 53 h 105"/>
                <a:gd name="T86" fmla="*/ 7 w 77"/>
                <a:gd name="T87" fmla="*/ 49 h 105"/>
                <a:gd name="T88" fmla="*/ 13 w 77"/>
                <a:gd name="T89" fmla="*/ 48 h 105"/>
                <a:gd name="T90" fmla="*/ 18 w 77"/>
                <a:gd name="T91" fmla="*/ 52 h 105"/>
                <a:gd name="T92" fmla="*/ 27 w 77"/>
                <a:gd name="T93" fmla="*/ 54 h 105"/>
                <a:gd name="T94" fmla="*/ 27 w 77"/>
                <a:gd name="T95" fmla="*/ 47 h 105"/>
                <a:gd name="T96" fmla="*/ 23 w 77"/>
                <a:gd name="T97" fmla="*/ 43 h 105"/>
                <a:gd name="T98" fmla="*/ 21 w 77"/>
                <a:gd name="T99" fmla="*/ 40 h 105"/>
                <a:gd name="T100" fmla="*/ 24 w 77"/>
                <a:gd name="T101" fmla="*/ 40 h 105"/>
                <a:gd name="T102" fmla="*/ 26 w 77"/>
                <a:gd name="T103" fmla="*/ 40 h 105"/>
                <a:gd name="T104" fmla="*/ 28 w 77"/>
                <a:gd name="T105" fmla="*/ 40 h 105"/>
                <a:gd name="T106" fmla="*/ 30 w 77"/>
                <a:gd name="T107" fmla="*/ 40 h 105"/>
                <a:gd name="T108" fmla="*/ 33 w 77"/>
                <a:gd name="T109" fmla="*/ 37 h 105"/>
                <a:gd name="T110" fmla="*/ 32 w 77"/>
                <a:gd name="T111" fmla="*/ 34 h 105"/>
                <a:gd name="T112" fmla="*/ 29 w 77"/>
                <a:gd name="T113" fmla="*/ 27 h 105"/>
                <a:gd name="T114" fmla="*/ 23 w 77"/>
                <a:gd name="T115" fmla="*/ 20 h 105"/>
                <a:gd name="T116" fmla="*/ 15 w 77"/>
                <a:gd name="T117" fmla="*/ 16 h 105"/>
                <a:gd name="T118" fmla="*/ 12 w 77"/>
                <a:gd name="T119" fmla="*/ 10 h 105"/>
                <a:gd name="T120" fmla="*/ 16 w 77"/>
                <a:gd name="T121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7" h="105">
                  <a:moveTo>
                    <a:pt x="16" y="0"/>
                  </a:moveTo>
                  <a:lnTo>
                    <a:pt x="31" y="7"/>
                  </a:lnTo>
                  <a:lnTo>
                    <a:pt x="40" y="15"/>
                  </a:lnTo>
                  <a:lnTo>
                    <a:pt x="46" y="24"/>
                  </a:lnTo>
                  <a:lnTo>
                    <a:pt x="51" y="24"/>
                  </a:lnTo>
                  <a:lnTo>
                    <a:pt x="50" y="30"/>
                  </a:lnTo>
                  <a:lnTo>
                    <a:pt x="56" y="34"/>
                  </a:lnTo>
                  <a:lnTo>
                    <a:pt x="60" y="40"/>
                  </a:lnTo>
                  <a:lnTo>
                    <a:pt x="70" y="52"/>
                  </a:lnTo>
                  <a:lnTo>
                    <a:pt x="77" y="66"/>
                  </a:lnTo>
                  <a:lnTo>
                    <a:pt x="64" y="65"/>
                  </a:lnTo>
                  <a:lnTo>
                    <a:pt x="54" y="63"/>
                  </a:lnTo>
                  <a:lnTo>
                    <a:pt x="61" y="73"/>
                  </a:lnTo>
                  <a:lnTo>
                    <a:pt x="61" y="79"/>
                  </a:lnTo>
                  <a:lnTo>
                    <a:pt x="61" y="85"/>
                  </a:lnTo>
                  <a:lnTo>
                    <a:pt x="57" y="82"/>
                  </a:lnTo>
                  <a:lnTo>
                    <a:pt x="52" y="77"/>
                  </a:lnTo>
                  <a:lnTo>
                    <a:pt x="43" y="71"/>
                  </a:lnTo>
                  <a:lnTo>
                    <a:pt x="38" y="68"/>
                  </a:lnTo>
                  <a:lnTo>
                    <a:pt x="30" y="71"/>
                  </a:lnTo>
                  <a:lnTo>
                    <a:pt x="25" y="73"/>
                  </a:lnTo>
                  <a:lnTo>
                    <a:pt x="28" y="78"/>
                  </a:lnTo>
                  <a:lnTo>
                    <a:pt x="36" y="82"/>
                  </a:lnTo>
                  <a:lnTo>
                    <a:pt x="44" y="86"/>
                  </a:lnTo>
                  <a:lnTo>
                    <a:pt x="47" y="93"/>
                  </a:lnTo>
                  <a:lnTo>
                    <a:pt x="46" y="102"/>
                  </a:lnTo>
                  <a:lnTo>
                    <a:pt x="46" y="105"/>
                  </a:lnTo>
                  <a:lnTo>
                    <a:pt x="43" y="105"/>
                  </a:lnTo>
                  <a:lnTo>
                    <a:pt x="38" y="102"/>
                  </a:lnTo>
                  <a:lnTo>
                    <a:pt x="36" y="101"/>
                  </a:lnTo>
                  <a:lnTo>
                    <a:pt x="33" y="99"/>
                  </a:lnTo>
                  <a:lnTo>
                    <a:pt x="30" y="104"/>
                  </a:lnTo>
                  <a:lnTo>
                    <a:pt x="25" y="105"/>
                  </a:lnTo>
                  <a:lnTo>
                    <a:pt x="21" y="101"/>
                  </a:lnTo>
                  <a:lnTo>
                    <a:pt x="21" y="92"/>
                  </a:lnTo>
                  <a:lnTo>
                    <a:pt x="20" y="87"/>
                  </a:lnTo>
                  <a:lnTo>
                    <a:pt x="15" y="84"/>
                  </a:lnTo>
                  <a:lnTo>
                    <a:pt x="10" y="89"/>
                  </a:lnTo>
                  <a:lnTo>
                    <a:pt x="2" y="89"/>
                  </a:lnTo>
                  <a:lnTo>
                    <a:pt x="0" y="85"/>
                  </a:lnTo>
                  <a:lnTo>
                    <a:pt x="2" y="75"/>
                  </a:lnTo>
                  <a:lnTo>
                    <a:pt x="8" y="69"/>
                  </a:lnTo>
                  <a:lnTo>
                    <a:pt x="7" y="53"/>
                  </a:lnTo>
                  <a:lnTo>
                    <a:pt x="7" y="49"/>
                  </a:lnTo>
                  <a:lnTo>
                    <a:pt x="13" y="48"/>
                  </a:lnTo>
                  <a:lnTo>
                    <a:pt x="18" y="52"/>
                  </a:lnTo>
                  <a:lnTo>
                    <a:pt x="27" y="54"/>
                  </a:lnTo>
                  <a:lnTo>
                    <a:pt x="27" y="47"/>
                  </a:lnTo>
                  <a:lnTo>
                    <a:pt x="23" y="43"/>
                  </a:lnTo>
                  <a:lnTo>
                    <a:pt x="21" y="40"/>
                  </a:lnTo>
                  <a:lnTo>
                    <a:pt x="24" y="40"/>
                  </a:lnTo>
                  <a:lnTo>
                    <a:pt x="26" y="40"/>
                  </a:lnTo>
                  <a:lnTo>
                    <a:pt x="28" y="40"/>
                  </a:lnTo>
                  <a:lnTo>
                    <a:pt x="30" y="40"/>
                  </a:lnTo>
                  <a:lnTo>
                    <a:pt x="33" y="37"/>
                  </a:lnTo>
                  <a:lnTo>
                    <a:pt x="32" y="34"/>
                  </a:lnTo>
                  <a:lnTo>
                    <a:pt x="29" y="27"/>
                  </a:lnTo>
                  <a:lnTo>
                    <a:pt x="23" y="20"/>
                  </a:lnTo>
                  <a:lnTo>
                    <a:pt x="15" y="16"/>
                  </a:lnTo>
                  <a:lnTo>
                    <a:pt x="12" y="10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83" name="Freeform 83"/>
            <p:cNvSpPr>
              <a:spLocks/>
            </p:cNvSpPr>
            <p:nvPr/>
          </p:nvSpPr>
          <p:spPr bwMode="auto">
            <a:xfrm>
              <a:off x="8382001" y="2697163"/>
              <a:ext cx="247650" cy="247650"/>
            </a:xfrm>
            <a:custGeom>
              <a:avLst/>
              <a:gdLst>
                <a:gd name="T0" fmla="*/ 0 w 84"/>
                <a:gd name="T1" fmla="*/ 0 h 85"/>
                <a:gd name="T2" fmla="*/ 8 w 84"/>
                <a:gd name="T3" fmla="*/ 0 h 85"/>
                <a:gd name="T4" fmla="*/ 11 w 84"/>
                <a:gd name="T5" fmla="*/ 6 h 85"/>
                <a:gd name="T6" fmla="*/ 22 w 84"/>
                <a:gd name="T7" fmla="*/ 15 h 85"/>
                <a:gd name="T8" fmla="*/ 27 w 84"/>
                <a:gd name="T9" fmla="*/ 25 h 85"/>
                <a:gd name="T10" fmla="*/ 35 w 84"/>
                <a:gd name="T11" fmla="*/ 26 h 85"/>
                <a:gd name="T12" fmla="*/ 41 w 84"/>
                <a:gd name="T13" fmla="*/ 28 h 85"/>
                <a:gd name="T14" fmla="*/ 46 w 84"/>
                <a:gd name="T15" fmla="*/ 32 h 85"/>
                <a:gd name="T16" fmla="*/ 52 w 84"/>
                <a:gd name="T17" fmla="*/ 32 h 85"/>
                <a:gd name="T18" fmla="*/ 59 w 84"/>
                <a:gd name="T19" fmla="*/ 38 h 85"/>
                <a:gd name="T20" fmla="*/ 65 w 84"/>
                <a:gd name="T21" fmla="*/ 43 h 85"/>
                <a:gd name="T22" fmla="*/ 72 w 84"/>
                <a:gd name="T23" fmla="*/ 46 h 85"/>
                <a:gd name="T24" fmla="*/ 71 w 84"/>
                <a:gd name="T25" fmla="*/ 49 h 85"/>
                <a:gd name="T26" fmla="*/ 67 w 84"/>
                <a:gd name="T27" fmla="*/ 51 h 85"/>
                <a:gd name="T28" fmla="*/ 63 w 84"/>
                <a:gd name="T29" fmla="*/ 51 h 85"/>
                <a:gd name="T30" fmla="*/ 61 w 84"/>
                <a:gd name="T31" fmla="*/ 54 h 85"/>
                <a:gd name="T32" fmla="*/ 69 w 84"/>
                <a:gd name="T33" fmla="*/ 60 h 85"/>
                <a:gd name="T34" fmla="*/ 75 w 84"/>
                <a:gd name="T35" fmla="*/ 66 h 85"/>
                <a:gd name="T36" fmla="*/ 84 w 84"/>
                <a:gd name="T37" fmla="*/ 72 h 85"/>
                <a:gd name="T38" fmla="*/ 78 w 84"/>
                <a:gd name="T39" fmla="*/ 79 h 85"/>
                <a:gd name="T40" fmla="*/ 73 w 84"/>
                <a:gd name="T41" fmla="*/ 81 h 85"/>
                <a:gd name="T42" fmla="*/ 74 w 84"/>
                <a:gd name="T43" fmla="*/ 85 h 85"/>
                <a:gd name="T44" fmla="*/ 65 w 84"/>
                <a:gd name="T45" fmla="*/ 85 h 85"/>
                <a:gd name="T46" fmla="*/ 62 w 84"/>
                <a:gd name="T47" fmla="*/ 82 h 85"/>
                <a:gd name="T48" fmla="*/ 55 w 84"/>
                <a:gd name="T49" fmla="*/ 74 h 85"/>
                <a:gd name="T50" fmla="*/ 50 w 84"/>
                <a:gd name="T51" fmla="*/ 67 h 85"/>
                <a:gd name="T52" fmla="*/ 42 w 84"/>
                <a:gd name="T53" fmla="*/ 55 h 85"/>
                <a:gd name="T54" fmla="*/ 33 w 84"/>
                <a:gd name="T55" fmla="*/ 46 h 85"/>
                <a:gd name="T56" fmla="*/ 23 w 84"/>
                <a:gd name="T57" fmla="*/ 33 h 85"/>
                <a:gd name="T58" fmla="*/ 17 w 84"/>
                <a:gd name="T59" fmla="*/ 29 h 85"/>
                <a:gd name="T60" fmla="*/ 12 w 84"/>
                <a:gd name="T61" fmla="*/ 26 h 85"/>
                <a:gd name="T62" fmla="*/ 10 w 84"/>
                <a:gd name="T63" fmla="*/ 19 h 85"/>
                <a:gd name="T64" fmla="*/ 1 w 84"/>
                <a:gd name="T65" fmla="*/ 13 h 85"/>
                <a:gd name="T66" fmla="*/ 1 w 84"/>
                <a:gd name="T67" fmla="*/ 9 h 85"/>
                <a:gd name="T68" fmla="*/ 0 w 84"/>
                <a:gd name="T6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4" h="85">
                  <a:moveTo>
                    <a:pt x="0" y="0"/>
                  </a:moveTo>
                  <a:lnTo>
                    <a:pt x="8" y="0"/>
                  </a:lnTo>
                  <a:lnTo>
                    <a:pt x="11" y="6"/>
                  </a:lnTo>
                  <a:lnTo>
                    <a:pt x="22" y="15"/>
                  </a:lnTo>
                  <a:lnTo>
                    <a:pt x="27" y="25"/>
                  </a:lnTo>
                  <a:lnTo>
                    <a:pt x="35" y="26"/>
                  </a:lnTo>
                  <a:lnTo>
                    <a:pt x="41" y="28"/>
                  </a:lnTo>
                  <a:lnTo>
                    <a:pt x="46" y="32"/>
                  </a:lnTo>
                  <a:lnTo>
                    <a:pt x="52" y="32"/>
                  </a:lnTo>
                  <a:lnTo>
                    <a:pt x="59" y="38"/>
                  </a:lnTo>
                  <a:lnTo>
                    <a:pt x="65" y="43"/>
                  </a:lnTo>
                  <a:lnTo>
                    <a:pt x="72" y="46"/>
                  </a:lnTo>
                  <a:lnTo>
                    <a:pt x="71" y="49"/>
                  </a:lnTo>
                  <a:lnTo>
                    <a:pt x="67" y="51"/>
                  </a:lnTo>
                  <a:lnTo>
                    <a:pt x="63" y="51"/>
                  </a:lnTo>
                  <a:lnTo>
                    <a:pt x="61" y="54"/>
                  </a:lnTo>
                  <a:lnTo>
                    <a:pt x="69" y="60"/>
                  </a:lnTo>
                  <a:lnTo>
                    <a:pt x="75" y="66"/>
                  </a:lnTo>
                  <a:lnTo>
                    <a:pt x="84" y="72"/>
                  </a:lnTo>
                  <a:lnTo>
                    <a:pt x="78" y="79"/>
                  </a:lnTo>
                  <a:lnTo>
                    <a:pt x="73" y="81"/>
                  </a:lnTo>
                  <a:lnTo>
                    <a:pt x="74" y="85"/>
                  </a:lnTo>
                  <a:lnTo>
                    <a:pt x="65" y="85"/>
                  </a:lnTo>
                  <a:lnTo>
                    <a:pt x="62" y="82"/>
                  </a:lnTo>
                  <a:lnTo>
                    <a:pt x="55" y="74"/>
                  </a:lnTo>
                  <a:lnTo>
                    <a:pt x="50" y="67"/>
                  </a:lnTo>
                  <a:lnTo>
                    <a:pt x="42" y="55"/>
                  </a:lnTo>
                  <a:lnTo>
                    <a:pt x="33" y="46"/>
                  </a:lnTo>
                  <a:lnTo>
                    <a:pt x="23" y="33"/>
                  </a:lnTo>
                  <a:lnTo>
                    <a:pt x="17" y="29"/>
                  </a:lnTo>
                  <a:lnTo>
                    <a:pt x="12" y="26"/>
                  </a:lnTo>
                  <a:lnTo>
                    <a:pt x="10" y="19"/>
                  </a:lnTo>
                  <a:lnTo>
                    <a:pt x="1" y="13"/>
                  </a:lnTo>
                  <a:lnTo>
                    <a:pt x="1" y="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84" name="Freeform 84"/>
            <p:cNvSpPr>
              <a:spLocks/>
            </p:cNvSpPr>
            <p:nvPr/>
          </p:nvSpPr>
          <p:spPr bwMode="auto">
            <a:xfrm>
              <a:off x="5145088" y="3209925"/>
              <a:ext cx="1800225" cy="1895475"/>
            </a:xfrm>
            <a:custGeom>
              <a:avLst/>
              <a:gdLst>
                <a:gd name="T0" fmla="*/ 469 w 613"/>
                <a:gd name="T1" fmla="*/ 104 h 646"/>
                <a:gd name="T2" fmla="*/ 526 w 613"/>
                <a:gd name="T3" fmla="*/ 211 h 646"/>
                <a:gd name="T4" fmla="*/ 549 w 613"/>
                <a:gd name="T5" fmla="*/ 239 h 646"/>
                <a:gd name="T6" fmla="*/ 599 w 613"/>
                <a:gd name="T7" fmla="*/ 232 h 646"/>
                <a:gd name="T8" fmla="*/ 612 w 613"/>
                <a:gd name="T9" fmla="*/ 258 h 646"/>
                <a:gd name="T10" fmla="*/ 552 w 613"/>
                <a:gd name="T11" fmla="*/ 330 h 646"/>
                <a:gd name="T12" fmla="*/ 503 w 613"/>
                <a:gd name="T13" fmla="*/ 413 h 646"/>
                <a:gd name="T14" fmla="*/ 510 w 613"/>
                <a:gd name="T15" fmla="*/ 443 h 646"/>
                <a:gd name="T16" fmla="*/ 510 w 613"/>
                <a:gd name="T17" fmla="*/ 474 h 646"/>
                <a:gd name="T18" fmla="*/ 488 w 613"/>
                <a:gd name="T19" fmla="*/ 485 h 646"/>
                <a:gd name="T20" fmla="*/ 456 w 613"/>
                <a:gd name="T21" fmla="*/ 526 h 646"/>
                <a:gd name="T22" fmla="*/ 444 w 613"/>
                <a:gd name="T23" fmla="*/ 561 h 646"/>
                <a:gd name="T24" fmla="*/ 413 w 613"/>
                <a:gd name="T25" fmla="*/ 609 h 646"/>
                <a:gd name="T26" fmla="*/ 396 w 613"/>
                <a:gd name="T27" fmla="*/ 620 h 646"/>
                <a:gd name="T28" fmla="*/ 359 w 613"/>
                <a:gd name="T29" fmla="*/ 644 h 646"/>
                <a:gd name="T30" fmla="*/ 314 w 613"/>
                <a:gd name="T31" fmla="*/ 636 h 646"/>
                <a:gd name="T32" fmla="*/ 309 w 613"/>
                <a:gd name="T33" fmla="*/ 613 h 646"/>
                <a:gd name="T34" fmla="*/ 289 w 613"/>
                <a:gd name="T35" fmla="*/ 581 h 646"/>
                <a:gd name="T36" fmla="*/ 285 w 613"/>
                <a:gd name="T37" fmla="*/ 554 h 646"/>
                <a:gd name="T38" fmla="*/ 279 w 613"/>
                <a:gd name="T39" fmla="*/ 536 h 646"/>
                <a:gd name="T40" fmla="*/ 260 w 613"/>
                <a:gd name="T41" fmla="*/ 516 h 646"/>
                <a:gd name="T42" fmla="*/ 248 w 613"/>
                <a:gd name="T43" fmla="*/ 490 h 646"/>
                <a:gd name="T44" fmla="*/ 265 w 613"/>
                <a:gd name="T45" fmla="*/ 445 h 646"/>
                <a:gd name="T46" fmla="*/ 257 w 613"/>
                <a:gd name="T47" fmla="*/ 383 h 646"/>
                <a:gd name="T48" fmla="*/ 230 w 613"/>
                <a:gd name="T49" fmla="*/ 352 h 646"/>
                <a:gd name="T50" fmla="*/ 226 w 613"/>
                <a:gd name="T51" fmla="*/ 303 h 646"/>
                <a:gd name="T52" fmla="*/ 187 w 613"/>
                <a:gd name="T53" fmla="*/ 285 h 646"/>
                <a:gd name="T54" fmla="*/ 134 w 613"/>
                <a:gd name="T55" fmla="*/ 290 h 646"/>
                <a:gd name="T56" fmla="*/ 29 w 613"/>
                <a:gd name="T57" fmla="*/ 251 h 646"/>
                <a:gd name="T58" fmla="*/ 5 w 613"/>
                <a:gd name="T59" fmla="*/ 187 h 646"/>
                <a:gd name="T60" fmla="*/ 24 w 613"/>
                <a:gd name="T61" fmla="*/ 142 h 646"/>
                <a:gd name="T62" fmla="*/ 59 w 613"/>
                <a:gd name="T63" fmla="*/ 93 h 646"/>
                <a:gd name="T64" fmla="*/ 111 w 613"/>
                <a:gd name="T65" fmla="*/ 56 h 646"/>
                <a:gd name="T66" fmla="*/ 152 w 613"/>
                <a:gd name="T67" fmla="*/ 17 h 646"/>
                <a:gd name="T68" fmla="*/ 188 w 613"/>
                <a:gd name="T69" fmla="*/ 27 h 646"/>
                <a:gd name="T70" fmla="*/ 227 w 613"/>
                <a:gd name="T71" fmla="*/ 10 h 646"/>
                <a:gd name="T72" fmla="*/ 254 w 613"/>
                <a:gd name="T73" fmla="*/ 2 h 646"/>
                <a:gd name="T74" fmla="*/ 275 w 613"/>
                <a:gd name="T75" fmla="*/ 22 h 646"/>
                <a:gd name="T76" fmla="*/ 317 w 613"/>
                <a:gd name="T77" fmla="*/ 54 h 646"/>
                <a:gd name="T78" fmla="*/ 346 w 613"/>
                <a:gd name="T79" fmla="*/ 39 h 646"/>
                <a:gd name="T80" fmla="*/ 390 w 613"/>
                <a:gd name="T81" fmla="*/ 50 h 646"/>
                <a:gd name="T82" fmla="*/ 439 w 613"/>
                <a:gd name="T83" fmla="*/ 49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13" h="646">
                  <a:moveTo>
                    <a:pt x="459" y="77"/>
                  </a:moveTo>
                  <a:lnTo>
                    <a:pt x="469" y="104"/>
                  </a:lnTo>
                  <a:lnTo>
                    <a:pt x="488" y="145"/>
                  </a:lnTo>
                  <a:lnTo>
                    <a:pt x="526" y="211"/>
                  </a:lnTo>
                  <a:lnTo>
                    <a:pt x="540" y="220"/>
                  </a:lnTo>
                  <a:lnTo>
                    <a:pt x="549" y="239"/>
                  </a:lnTo>
                  <a:lnTo>
                    <a:pt x="579" y="238"/>
                  </a:lnTo>
                  <a:lnTo>
                    <a:pt x="599" y="232"/>
                  </a:lnTo>
                  <a:lnTo>
                    <a:pt x="613" y="232"/>
                  </a:lnTo>
                  <a:lnTo>
                    <a:pt x="612" y="258"/>
                  </a:lnTo>
                  <a:lnTo>
                    <a:pt x="607" y="272"/>
                  </a:lnTo>
                  <a:lnTo>
                    <a:pt x="552" y="330"/>
                  </a:lnTo>
                  <a:lnTo>
                    <a:pt x="502" y="390"/>
                  </a:lnTo>
                  <a:lnTo>
                    <a:pt x="503" y="413"/>
                  </a:lnTo>
                  <a:lnTo>
                    <a:pt x="517" y="430"/>
                  </a:lnTo>
                  <a:lnTo>
                    <a:pt x="510" y="443"/>
                  </a:lnTo>
                  <a:lnTo>
                    <a:pt x="514" y="461"/>
                  </a:lnTo>
                  <a:lnTo>
                    <a:pt x="510" y="474"/>
                  </a:lnTo>
                  <a:lnTo>
                    <a:pt x="498" y="485"/>
                  </a:lnTo>
                  <a:lnTo>
                    <a:pt x="488" y="485"/>
                  </a:lnTo>
                  <a:lnTo>
                    <a:pt x="471" y="504"/>
                  </a:lnTo>
                  <a:lnTo>
                    <a:pt x="456" y="526"/>
                  </a:lnTo>
                  <a:lnTo>
                    <a:pt x="459" y="550"/>
                  </a:lnTo>
                  <a:lnTo>
                    <a:pt x="444" y="561"/>
                  </a:lnTo>
                  <a:lnTo>
                    <a:pt x="430" y="586"/>
                  </a:lnTo>
                  <a:lnTo>
                    <a:pt x="413" y="609"/>
                  </a:lnTo>
                  <a:lnTo>
                    <a:pt x="404" y="618"/>
                  </a:lnTo>
                  <a:lnTo>
                    <a:pt x="396" y="620"/>
                  </a:lnTo>
                  <a:lnTo>
                    <a:pt x="382" y="635"/>
                  </a:lnTo>
                  <a:lnTo>
                    <a:pt x="359" y="644"/>
                  </a:lnTo>
                  <a:lnTo>
                    <a:pt x="330" y="646"/>
                  </a:lnTo>
                  <a:lnTo>
                    <a:pt x="314" y="636"/>
                  </a:lnTo>
                  <a:lnTo>
                    <a:pt x="312" y="626"/>
                  </a:lnTo>
                  <a:lnTo>
                    <a:pt x="309" y="613"/>
                  </a:lnTo>
                  <a:lnTo>
                    <a:pt x="298" y="606"/>
                  </a:lnTo>
                  <a:lnTo>
                    <a:pt x="289" y="581"/>
                  </a:lnTo>
                  <a:lnTo>
                    <a:pt x="286" y="569"/>
                  </a:lnTo>
                  <a:lnTo>
                    <a:pt x="285" y="554"/>
                  </a:lnTo>
                  <a:lnTo>
                    <a:pt x="280" y="543"/>
                  </a:lnTo>
                  <a:lnTo>
                    <a:pt x="279" y="536"/>
                  </a:lnTo>
                  <a:lnTo>
                    <a:pt x="270" y="525"/>
                  </a:lnTo>
                  <a:lnTo>
                    <a:pt x="260" y="516"/>
                  </a:lnTo>
                  <a:lnTo>
                    <a:pt x="253" y="501"/>
                  </a:lnTo>
                  <a:lnTo>
                    <a:pt x="248" y="490"/>
                  </a:lnTo>
                  <a:lnTo>
                    <a:pt x="250" y="472"/>
                  </a:lnTo>
                  <a:lnTo>
                    <a:pt x="265" y="445"/>
                  </a:lnTo>
                  <a:lnTo>
                    <a:pt x="268" y="416"/>
                  </a:lnTo>
                  <a:lnTo>
                    <a:pt x="257" y="383"/>
                  </a:lnTo>
                  <a:lnTo>
                    <a:pt x="241" y="370"/>
                  </a:lnTo>
                  <a:lnTo>
                    <a:pt x="230" y="352"/>
                  </a:lnTo>
                  <a:lnTo>
                    <a:pt x="234" y="324"/>
                  </a:lnTo>
                  <a:lnTo>
                    <a:pt x="226" y="303"/>
                  </a:lnTo>
                  <a:lnTo>
                    <a:pt x="207" y="301"/>
                  </a:lnTo>
                  <a:lnTo>
                    <a:pt x="187" y="285"/>
                  </a:lnTo>
                  <a:lnTo>
                    <a:pt x="162" y="276"/>
                  </a:lnTo>
                  <a:lnTo>
                    <a:pt x="134" y="290"/>
                  </a:lnTo>
                  <a:lnTo>
                    <a:pt x="66" y="286"/>
                  </a:lnTo>
                  <a:lnTo>
                    <a:pt x="29" y="251"/>
                  </a:lnTo>
                  <a:lnTo>
                    <a:pt x="0" y="203"/>
                  </a:lnTo>
                  <a:lnTo>
                    <a:pt x="5" y="187"/>
                  </a:lnTo>
                  <a:lnTo>
                    <a:pt x="18" y="175"/>
                  </a:lnTo>
                  <a:lnTo>
                    <a:pt x="24" y="142"/>
                  </a:lnTo>
                  <a:lnTo>
                    <a:pt x="33" y="118"/>
                  </a:lnTo>
                  <a:lnTo>
                    <a:pt x="59" y="93"/>
                  </a:lnTo>
                  <a:lnTo>
                    <a:pt x="86" y="82"/>
                  </a:lnTo>
                  <a:lnTo>
                    <a:pt x="111" y="56"/>
                  </a:lnTo>
                  <a:lnTo>
                    <a:pt x="117" y="45"/>
                  </a:lnTo>
                  <a:lnTo>
                    <a:pt x="152" y="17"/>
                  </a:lnTo>
                  <a:lnTo>
                    <a:pt x="173" y="28"/>
                  </a:lnTo>
                  <a:lnTo>
                    <a:pt x="188" y="27"/>
                  </a:lnTo>
                  <a:lnTo>
                    <a:pt x="206" y="12"/>
                  </a:lnTo>
                  <a:lnTo>
                    <a:pt x="227" y="10"/>
                  </a:lnTo>
                  <a:lnTo>
                    <a:pt x="241" y="14"/>
                  </a:lnTo>
                  <a:lnTo>
                    <a:pt x="254" y="2"/>
                  </a:lnTo>
                  <a:lnTo>
                    <a:pt x="271" y="0"/>
                  </a:lnTo>
                  <a:lnTo>
                    <a:pt x="275" y="22"/>
                  </a:lnTo>
                  <a:lnTo>
                    <a:pt x="286" y="38"/>
                  </a:lnTo>
                  <a:lnTo>
                    <a:pt x="317" y="54"/>
                  </a:lnTo>
                  <a:lnTo>
                    <a:pt x="343" y="57"/>
                  </a:lnTo>
                  <a:lnTo>
                    <a:pt x="346" y="39"/>
                  </a:lnTo>
                  <a:lnTo>
                    <a:pt x="366" y="39"/>
                  </a:lnTo>
                  <a:lnTo>
                    <a:pt x="390" y="50"/>
                  </a:lnTo>
                  <a:lnTo>
                    <a:pt x="416" y="56"/>
                  </a:lnTo>
                  <a:lnTo>
                    <a:pt x="439" y="49"/>
                  </a:lnTo>
                  <a:lnTo>
                    <a:pt x="459" y="77"/>
                  </a:ln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85" name="Freeform 85"/>
            <p:cNvSpPr>
              <a:spLocks/>
            </p:cNvSpPr>
            <p:nvPr/>
          </p:nvSpPr>
          <p:spPr bwMode="auto">
            <a:xfrm>
              <a:off x="5589588" y="2682875"/>
              <a:ext cx="114300" cy="134938"/>
            </a:xfrm>
            <a:custGeom>
              <a:avLst/>
              <a:gdLst>
                <a:gd name="T0" fmla="*/ 9 w 39"/>
                <a:gd name="T1" fmla="*/ 14 h 46"/>
                <a:gd name="T2" fmla="*/ 12 w 39"/>
                <a:gd name="T3" fmla="*/ 9 h 46"/>
                <a:gd name="T4" fmla="*/ 19 w 39"/>
                <a:gd name="T5" fmla="*/ 9 h 46"/>
                <a:gd name="T6" fmla="*/ 29 w 39"/>
                <a:gd name="T7" fmla="*/ 0 h 46"/>
                <a:gd name="T8" fmla="*/ 32 w 39"/>
                <a:gd name="T9" fmla="*/ 6 h 46"/>
                <a:gd name="T10" fmla="*/ 37 w 39"/>
                <a:gd name="T11" fmla="*/ 6 h 46"/>
                <a:gd name="T12" fmla="*/ 39 w 39"/>
                <a:gd name="T13" fmla="*/ 9 h 46"/>
                <a:gd name="T14" fmla="*/ 36 w 39"/>
                <a:gd name="T15" fmla="*/ 14 h 46"/>
                <a:gd name="T16" fmla="*/ 32 w 39"/>
                <a:gd name="T17" fmla="*/ 16 h 46"/>
                <a:gd name="T18" fmla="*/ 32 w 39"/>
                <a:gd name="T19" fmla="*/ 20 h 46"/>
                <a:gd name="T20" fmla="*/ 31 w 39"/>
                <a:gd name="T21" fmla="*/ 22 h 46"/>
                <a:gd name="T22" fmla="*/ 30 w 39"/>
                <a:gd name="T23" fmla="*/ 25 h 46"/>
                <a:gd name="T24" fmla="*/ 32 w 39"/>
                <a:gd name="T25" fmla="*/ 29 h 46"/>
                <a:gd name="T26" fmla="*/ 29 w 39"/>
                <a:gd name="T27" fmla="*/ 33 h 46"/>
                <a:gd name="T28" fmla="*/ 26 w 39"/>
                <a:gd name="T29" fmla="*/ 35 h 46"/>
                <a:gd name="T30" fmla="*/ 23 w 39"/>
                <a:gd name="T31" fmla="*/ 35 h 46"/>
                <a:gd name="T32" fmla="*/ 22 w 39"/>
                <a:gd name="T33" fmla="*/ 36 h 46"/>
                <a:gd name="T34" fmla="*/ 21 w 39"/>
                <a:gd name="T35" fmla="*/ 39 h 46"/>
                <a:gd name="T36" fmla="*/ 16 w 39"/>
                <a:gd name="T37" fmla="*/ 40 h 46"/>
                <a:gd name="T38" fmla="*/ 15 w 39"/>
                <a:gd name="T39" fmla="*/ 39 h 46"/>
                <a:gd name="T40" fmla="*/ 11 w 39"/>
                <a:gd name="T41" fmla="*/ 42 h 46"/>
                <a:gd name="T42" fmla="*/ 10 w 39"/>
                <a:gd name="T43" fmla="*/ 43 h 46"/>
                <a:gd name="T44" fmla="*/ 5 w 39"/>
                <a:gd name="T45" fmla="*/ 46 h 46"/>
                <a:gd name="T46" fmla="*/ 3 w 39"/>
                <a:gd name="T47" fmla="*/ 46 h 46"/>
                <a:gd name="T48" fmla="*/ 2 w 39"/>
                <a:gd name="T49" fmla="*/ 44 h 46"/>
                <a:gd name="T50" fmla="*/ 1 w 39"/>
                <a:gd name="T51" fmla="*/ 39 h 46"/>
                <a:gd name="T52" fmla="*/ 0 w 39"/>
                <a:gd name="T53" fmla="*/ 38 h 46"/>
                <a:gd name="T54" fmla="*/ 0 w 39"/>
                <a:gd name="T55" fmla="*/ 34 h 46"/>
                <a:gd name="T56" fmla="*/ 3 w 39"/>
                <a:gd name="T57" fmla="*/ 32 h 46"/>
                <a:gd name="T58" fmla="*/ 6 w 39"/>
                <a:gd name="T59" fmla="*/ 30 h 46"/>
                <a:gd name="T60" fmla="*/ 8 w 39"/>
                <a:gd name="T61" fmla="*/ 26 h 46"/>
                <a:gd name="T62" fmla="*/ 11 w 39"/>
                <a:gd name="T63" fmla="*/ 26 h 46"/>
                <a:gd name="T64" fmla="*/ 13 w 39"/>
                <a:gd name="T65" fmla="*/ 27 h 46"/>
                <a:gd name="T66" fmla="*/ 16 w 39"/>
                <a:gd name="T67" fmla="*/ 26 h 46"/>
                <a:gd name="T68" fmla="*/ 13 w 39"/>
                <a:gd name="T69" fmla="*/ 25 h 46"/>
                <a:gd name="T70" fmla="*/ 9 w 39"/>
                <a:gd name="T71" fmla="*/ 14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9" h="46">
                  <a:moveTo>
                    <a:pt x="9" y="14"/>
                  </a:moveTo>
                  <a:lnTo>
                    <a:pt x="12" y="9"/>
                  </a:lnTo>
                  <a:lnTo>
                    <a:pt x="19" y="9"/>
                  </a:lnTo>
                  <a:lnTo>
                    <a:pt x="29" y="0"/>
                  </a:lnTo>
                  <a:lnTo>
                    <a:pt x="32" y="6"/>
                  </a:lnTo>
                  <a:lnTo>
                    <a:pt x="37" y="6"/>
                  </a:lnTo>
                  <a:lnTo>
                    <a:pt x="39" y="9"/>
                  </a:lnTo>
                  <a:lnTo>
                    <a:pt x="36" y="14"/>
                  </a:lnTo>
                  <a:lnTo>
                    <a:pt x="32" y="16"/>
                  </a:lnTo>
                  <a:lnTo>
                    <a:pt x="32" y="20"/>
                  </a:lnTo>
                  <a:lnTo>
                    <a:pt x="31" y="22"/>
                  </a:lnTo>
                  <a:lnTo>
                    <a:pt x="30" y="25"/>
                  </a:lnTo>
                  <a:lnTo>
                    <a:pt x="32" y="29"/>
                  </a:lnTo>
                  <a:lnTo>
                    <a:pt x="29" y="33"/>
                  </a:lnTo>
                  <a:lnTo>
                    <a:pt x="26" y="35"/>
                  </a:lnTo>
                  <a:lnTo>
                    <a:pt x="23" y="35"/>
                  </a:lnTo>
                  <a:lnTo>
                    <a:pt x="22" y="36"/>
                  </a:lnTo>
                  <a:lnTo>
                    <a:pt x="21" y="39"/>
                  </a:lnTo>
                  <a:lnTo>
                    <a:pt x="16" y="40"/>
                  </a:lnTo>
                  <a:lnTo>
                    <a:pt x="15" y="39"/>
                  </a:lnTo>
                  <a:lnTo>
                    <a:pt x="11" y="42"/>
                  </a:lnTo>
                  <a:lnTo>
                    <a:pt x="10" y="43"/>
                  </a:lnTo>
                  <a:lnTo>
                    <a:pt x="5" y="46"/>
                  </a:lnTo>
                  <a:lnTo>
                    <a:pt x="3" y="46"/>
                  </a:lnTo>
                  <a:lnTo>
                    <a:pt x="2" y="44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4"/>
                  </a:lnTo>
                  <a:lnTo>
                    <a:pt x="3" y="32"/>
                  </a:lnTo>
                  <a:lnTo>
                    <a:pt x="6" y="30"/>
                  </a:lnTo>
                  <a:lnTo>
                    <a:pt x="8" y="26"/>
                  </a:lnTo>
                  <a:lnTo>
                    <a:pt x="11" y="26"/>
                  </a:lnTo>
                  <a:lnTo>
                    <a:pt x="13" y="27"/>
                  </a:lnTo>
                  <a:lnTo>
                    <a:pt x="16" y="26"/>
                  </a:lnTo>
                  <a:lnTo>
                    <a:pt x="13" y="25"/>
                  </a:lnTo>
                  <a:lnTo>
                    <a:pt x="9" y="14"/>
                  </a:ln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86" name="Freeform 86"/>
            <p:cNvSpPr>
              <a:spLocks/>
            </p:cNvSpPr>
            <p:nvPr/>
          </p:nvSpPr>
          <p:spPr bwMode="auto">
            <a:xfrm>
              <a:off x="5694363" y="2590800"/>
              <a:ext cx="138113" cy="244475"/>
            </a:xfrm>
            <a:custGeom>
              <a:avLst/>
              <a:gdLst>
                <a:gd name="T0" fmla="*/ 18 w 47"/>
                <a:gd name="T1" fmla="*/ 9 h 83"/>
                <a:gd name="T2" fmla="*/ 29 w 47"/>
                <a:gd name="T3" fmla="*/ 8 h 83"/>
                <a:gd name="T4" fmla="*/ 33 w 47"/>
                <a:gd name="T5" fmla="*/ 5 h 83"/>
                <a:gd name="T6" fmla="*/ 38 w 47"/>
                <a:gd name="T7" fmla="*/ 2 h 83"/>
                <a:gd name="T8" fmla="*/ 47 w 47"/>
                <a:gd name="T9" fmla="*/ 1 h 83"/>
                <a:gd name="T10" fmla="*/ 44 w 47"/>
                <a:gd name="T11" fmla="*/ 8 h 83"/>
                <a:gd name="T12" fmla="*/ 40 w 47"/>
                <a:gd name="T13" fmla="*/ 10 h 83"/>
                <a:gd name="T14" fmla="*/ 34 w 47"/>
                <a:gd name="T15" fmla="*/ 16 h 83"/>
                <a:gd name="T16" fmla="*/ 41 w 47"/>
                <a:gd name="T17" fmla="*/ 16 h 83"/>
                <a:gd name="T18" fmla="*/ 47 w 47"/>
                <a:gd name="T19" fmla="*/ 16 h 83"/>
                <a:gd name="T20" fmla="*/ 43 w 47"/>
                <a:gd name="T21" fmla="*/ 23 h 83"/>
                <a:gd name="T22" fmla="*/ 36 w 47"/>
                <a:gd name="T23" fmla="*/ 26 h 83"/>
                <a:gd name="T24" fmla="*/ 35 w 47"/>
                <a:gd name="T25" fmla="*/ 31 h 83"/>
                <a:gd name="T26" fmla="*/ 41 w 47"/>
                <a:gd name="T27" fmla="*/ 38 h 83"/>
                <a:gd name="T28" fmla="*/ 44 w 47"/>
                <a:gd name="T29" fmla="*/ 45 h 83"/>
                <a:gd name="T30" fmla="*/ 47 w 47"/>
                <a:gd name="T31" fmla="*/ 54 h 83"/>
                <a:gd name="T32" fmla="*/ 45 w 47"/>
                <a:gd name="T33" fmla="*/ 65 h 83"/>
                <a:gd name="T34" fmla="*/ 40 w 47"/>
                <a:gd name="T35" fmla="*/ 70 h 83"/>
                <a:gd name="T36" fmla="*/ 44 w 47"/>
                <a:gd name="T37" fmla="*/ 78 h 83"/>
                <a:gd name="T38" fmla="*/ 33 w 47"/>
                <a:gd name="T39" fmla="*/ 78 h 83"/>
                <a:gd name="T40" fmla="*/ 27 w 47"/>
                <a:gd name="T41" fmla="*/ 77 h 83"/>
                <a:gd name="T42" fmla="*/ 18 w 47"/>
                <a:gd name="T43" fmla="*/ 80 h 83"/>
                <a:gd name="T44" fmla="*/ 13 w 47"/>
                <a:gd name="T45" fmla="*/ 81 h 83"/>
                <a:gd name="T46" fmla="*/ 7 w 47"/>
                <a:gd name="T47" fmla="*/ 82 h 83"/>
                <a:gd name="T48" fmla="*/ 2 w 47"/>
                <a:gd name="T49" fmla="*/ 79 h 83"/>
                <a:gd name="T50" fmla="*/ 0 w 47"/>
                <a:gd name="T51" fmla="*/ 74 h 83"/>
                <a:gd name="T52" fmla="*/ 5 w 47"/>
                <a:gd name="T53" fmla="*/ 69 h 83"/>
                <a:gd name="T54" fmla="*/ 12 w 47"/>
                <a:gd name="T55" fmla="*/ 68 h 83"/>
                <a:gd name="T56" fmla="*/ 8 w 47"/>
                <a:gd name="T57" fmla="*/ 65 h 83"/>
                <a:gd name="T58" fmla="*/ 8 w 47"/>
                <a:gd name="T59" fmla="*/ 60 h 83"/>
                <a:gd name="T60" fmla="*/ 14 w 47"/>
                <a:gd name="T61" fmla="*/ 57 h 83"/>
                <a:gd name="T62" fmla="*/ 19 w 47"/>
                <a:gd name="T63" fmla="*/ 56 h 83"/>
                <a:gd name="T64" fmla="*/ 22 w 47"/>
                <a:gd name="T65" fmla="*/ 47 h 83"/>
                <a:gd name="T66" fmla="*/ 25 w 47"/>
                <a:gd name="T67" fmla="*/ 38 h 83"/>
                <a:gd name="T68" fmla="*/ 20 w 47"/>
                <a:gd name="T69" fmla="*/ 32 h 83"/>
                <a:gd name="T70" fmla="*/ 10 w 47"/>
                <a:gd name="T71" fmla="*/ 30 h 83"/>
                <a:gd name="T72" fmla="*/ 15 w 47"/>
                <a:gd name="T73" fmla="*/ 12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7" h="83">
                  <a:moveTo>
                    <a:pt x="15" y="12"/>
                  </a:moveTo>
                  <a:lnTo>
                    <a:pt x="18" y="9"/>
                  </a:lnTo>
                  <a:lnTo>
                    <a:pt x="27" y="10"/>
                  </a:lnTo>
                  <a:lnTo>
                    <a:pt x="29" y="8"/>
                  </a:lnTo>
                  <a:lnTo>
                    <a:pt x="31" y="5"/>
                  </a:lnTo>
                  <a:lnTo>
                    <a:pt x="33" y="5"/>
                  </a:lnTo>
                  <a:lnTo>
                    <a:pt x="35" y="4"/>
                  </a:lnTo>
                  <a:lnTo>
                    <a:pt x="38" y="2"/>
                  </a:lnTo>
                  <a:lnTo>
                    <a:pt x="42" y="0"/>
                  </a:lnTo>
                  <a:lnTo>
                    <a:pt x="47" y="1"/>
                  </a:lnTo>
                  <a:lnTo>
                    <a:pt x="46" y="5"/>
                  </a:lnTo>
                  <a:lnTo>
                    <a:pt x="44" y="8"/>
                  </a:lnTo>
                  <a:lnTo>
                    <a:pt x="42" y="9"/>
                  </a:lnTo>
                  <a:lnTo>
                    <a:pt x="40" y="10"/>
                  </a:lnTo>
                  <a:lnTo>
                    <a:pt x="34" y="12"/>
                  </a:lnTo>
                  <a:lnTo>
                    <a:pt x="34" y="16"/>
                  </a:lnTo>
                  <a:lnTo>
                    <a:pt x="35" y="18"/>
                  </a:lnTo>
                  <a:lnTo>
                    <a:pt x="41" y="16"/>
                  </a:lnTo>
                  <a:lnTo>
                    <a:pt x="46" y="14"/>
                  </a:lnTo>
                  <a:lnTo>
                    <a:pt x="47" y="16"/>
                  </a:lnTo>
                  <a:lnTo>
                    <a:pt x="47" y="22"/>
                  </a:lnTo>
                  <a:lnTo>
                    <a:pt x="43" y="23"/>
                  </a:lnTo>
                  <a:lnTo>
                    <a:pt x="39" y="23"/>
                  </a:lnTo>
                  <a:lnTo>
                    <a:pt x="36" y="26"/>
                  </a:lnTo>
                  <a:lnTo>
                    <a:pt x="35" y="28"/>
                  </a:lnTo>
                  <a:lnTo>
                    <a:pt x="35" y="31"/>
                  </a:lnTo>
                  <a:lnTo>
                    <a:pt x="38" y="35"/>
                  </a:lnTo>
                  <a:lnTo>
                    <a:pt x="41" y="38"/>
                  </a:lnTo>
                  <a:lnTo>
                    <a:pt x="43" y="41"/>
                  </a:lnTo>
                  <a:lnTo>
                    <a:pt x="44" y="45"/>
                  </a:lnTo>
                  <a:lnTo>
                    <a:pt x="45" y="49"/>
                  </a:lnTo>
                  <a:lnTo>
                    <a:pt x="47" y="54"/>
                  </a:lnTo>
                  <a:lnTo>
                    <a:pt x="47" y="61"/>
                  </a:lnTo>
                  <a:lnTo>
                    <a:pt x="45" y="65"/>
                  </a:lnTo>
                  <a:lnTo>
                    <a:pt x="41" y="68"/>
                  </a:lnTo>
                  <a:lnTo>
                    <a:pt x="40" y="70"/>
                  </a:lnTo>
                  <a:lnTo>
                    <a:pt x="42" y="74"/>
                  </a:lnTo>
                  <a:lnTo>
                    <a:pt x="44" y="78"/>
                  </a:lnTo>
                  <a:lnTo>
                    <a:pt x="38" y="78"/>
                  </a:lnTo>
                  <a:lnTo>
                    <a:pt x="33" y="78"/>
                  </a:lnTo>
                  <a:lnTo>
                    <a:pt x="31" y="77"/>
                  </a:lnTo>
                  <a:lnTo>
                    <a:pt x="27" y="77"/>
                  </a:lnTo>
                  <a:lnTo>
                    <a:pt x="22" y="78"/>
                  </a:lnTo>
                  <a:lnTo>
                    <a:pt x="18" y="80"/>
                  </a:lnTo>
                  <a:lnTo>
                    <a:pt x="15" y="80"/>
                  </a:lnTo>
                  <a:lnTo>
                    <a:pt x="13" y="81"/>
                  </a:lnTo>
                  <a:lnTo>
                    <a:pt x="8" y="83"/>
                  </a:lnTo>
                  <a:lnTo>
                    <a:pt x="7" y="82"/>
                  </a:lnTo>
                  <a:lnTo>
                    <a:pt x="5" y="80"/>
                  </a:lnTo>
                  <a:lnTo>
                    <a:pt x="2" y="79"/>
                  </a:lnTo>
                  <a:lnTo>
                    <a:pt x="0" y="78"/>
                  </a:lnTo>
                  <a:lnTo>
                    <a:pt x="0" y="74"/>
                  </a:lnTo>
                  <a:lnTo>
                    <a:pt x="2" y="69"/>
                  </a:lnTo>
                  <a:lnTo>
                    <a:pt x="5" y="69"/>
                  </a:lnTo>
                  <a:lnTo>
                    <a:pt x="8" y="68"/>
                  </a:lnTo>
                  <a:lnTo>
                    <a:pt x="12" y="68"/>
                  </a:lnTo>
                  <a:lnTo>
                    <a:pt x="12" y="67"/>
                  </a:lnTo>
                  <a:lnTo>
                    <a:pt x="8" y="65"/>
                  </a:lnTo>
                  <a:lnTo>
                    <a:pt x="8" y="62"/>
                  </a:lnTo>
                  <a:lnTo>
                    <a:pt x="8" y="60"/>
                  </a:lnTo>
                  <a:lnTo>
                    <a:pt x="12" y="58"/>
                  </a:lnTo>
                  <a:lnTo>
                    <a:pt x="14" y="57"/>
                  </a:lnTo>
                  <a:lnTo>
                    <a:pt x="16" y="56"/>
                  </a:lnTo>
                  <a:lnTo>
                    <a:pt x="19" y="56"/>
                  </a:lnTo>
                  <a:lnTo>
                    <a:pt x="21" y="55"/>
                  </a:lnTo>
                  <a:lnTo>
                    <a:pt x="22" y="47"/>
                  </a:lnTo>
                  <a:lnTo>
                    <a:pt x="25" y="41"/>
                  </a:lnTo>
                  <a:lnTo>
                    <a:pt x="25" y="38"/>
                  </a:lnTo>
                  <a:lnTo>
                    <a:pt x="18" y="37"/>
                  </a:lnTo>
                  <a:lnTo>
                    <a:pt x="20" y="32"/>
                  </a:lnTo>
                  <a:lnTo>
                    <a:pt x="15" y="29"/>
                  </a:lnTo>
                  <a:lnTo>
                    <a:pt x="10" y="30"/>
                  </a:lnTo>
                  <a:lnTo>
                    <a:pt x="16" y="23"/>
                  </a:lnTo>
                  <a:lnTo>
                    <a:pt x="15" y="12"/>
                  </a:ln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87" name="Freeform 87"/>
            <p:cNvSpPr>
              <a:spLocks/>
            </p:cNvSpPr>
            <p:nvPr/>
          </p:nvSpPr>
          <p:spPr bwMode="auto">
            <a:xfrm>
              <a:off x="5265738" y="2182813"/>
              <a:ext cx="798513" cy="412750"/>
            </a:xfrm>
            <a:custGeom>
              <a:avLst/>
              <a:gdLst>
                <a:gd name="T0" fmla="*/ 17 w 272"/>
                <a:gd name="T1" fmla="*/ 137 h 140"/>
                <a:gd name="T2" fmla="*/ 27 w 272"/>
                <a:gd name="T3" fmla="*/ 127 h 140"/>
                <a:gd name="T4" fmla="*/ 33 w 272"/>
                <a:gd name="T5" fmla="*/ 124 h 140"/>
                <a:gd name="T6" fmla="*/ 42 w 272"/>
                <a:gd name="T7" fmla="*/ 121 h 140"/>
                <a:gd name="T8" fmla="*/ 49 w 272"/>
                <a:gd name="T9" fmla="*/ 121 h 140"/>
                <a:gd name="T10" fmla="*/ 55 w 272"/>
                <a:gd name="T11" fmla="*/ 117 h 140"/>
                <a:gd name="T12" fmla="*/ 62 w 272"/>
                <a:gd name="T13" fmla="*/ 111 h 140"/>
                <a:gd name="T14" fmla="*/ 69 w 272"/>
                <a:gd name="T15" fmla="*/ 108 h 140"/>
                <a:gd name="T16" fmla="*/ 76 w 272"/>
                <a:gd name="T17" fmla="*/ 105 h 140"/>
                <a:gd name="T18" fmla="*/ 84 w 272"/>
                <a:gd name="T19" fmla="*/ 101 h 140"/>
                <a:gd name="T20" fmla="*/ 94 w 272"/>
                <a:gd name="T21" fmla="*/ 99 h 140"/>
                <a:gd name="T22" fmla="*/ 112 w 272"/>
                <a:gd name="T23" fmla="*/ 101 h 140"/>
                <a:gd name="T24" fmla="*/ 125 w 272"/>
                <a:gd name="T25" fmla="*/ 97 h 140"/>
                <a:gd name="T26" fmla="*/ 132 w 272"/>
                <a:gd name="T27" fmla="*/ 87 h 140"/>
                <a:gd name="T28" fmla="*/ 141 w 272"/>
                <a:gd name="T29" fmla="*/ 79 h 140"/>
                <a:gd name="T30" fmla="*/ 147 w 272"/>
                <a:gd name="T31" fmla="*/ 72 h 140"/>
                <a:gd name="T32" fmla="*/ 152 w 272"/>
                <a:gd name="T33" fmla="*/ 66 h 140"/>
                <a:gd name="T34" fmla="*/ 164 w 272"/>
                <a:gd name="T35" fmla="*/ 59 h 140"/>
                <a:gd name="T36" fmla="*/ 162 w 272"/>
                <a:gd name="T37" fmla="*/ 68 h 140"/>
                <a:gd name="T38" fmla="*/ 171 w 272"/>
                <a:gd name="T39" fmla="*/ 72 h 140"/>
                <a:gd name="T40" fmla="*/ 179 w 272"/>
                <a:gd name="T41" fmla="*/ 69 h 140"/>
                <a:gd name="T42" fmla="*/ 182 w 272"/>
                <a:gd name="T43" fmla="*/ 62 h 140"/>
                <a:gd name="T44" fmla="*/ 185 w 272"/>
                <a:gd name="T45" fmla="*/ 56 h 140"/>
                <a:gd name="T46" fmla="*/ 190 w 272"/>
                <a:gd name="T47" fmla="*/ 50 h 140"/>
                <a:gd name="T48" fmla="*/ 205 w 272"/>
                <a:gd name="T49" fmla="*/ 50 h 140"/>
                <a:gd name="T50" fmla="*/ 220 w 272"/>
                <a:gd name="T51" fmla="*/ 40 h 140"/>
                <a:gd name="T52" fmla="*/ 235 w 272"/>
                <a:gd name="T53" fmla="*/ 33 h 140"/>
                <a:gd name="T54" fmla="*/ 251 w 272"/>
                <a:gd name="T55" fmla="*/ 16 h 140"/>
                <a:gd name="T56" fmla="*/ 265 w 272"/>
                <a:gd name="T57" fmla="*/ 8 h 140"/>
                <a:gd name="T58" fmla="*/ 260 w 272"/>
                <a:gd name="T59" fmla="*/ 0 h 140"/>
                <a:gd name="T60" fmla="*/ 236 w 272"/>
                <a:gd name="T61" fmla="*/ 5 h 140"/>
                <a:gd name="T62" fmla="*/ 220 w 272"/>
                <a:gd name="T63" fmla="*/ 10 h 140"/>
                <a:gd name="T64" fmla="*/ 203 w 272"/>
                <a:gd name="T65" fmla="*/ 13 h 140"/>
                <a:gd name="T66" fmla="*/ 182 w 272"/>
                <a:gd name="T67" fmla="*/ 21 h 140"/>
                <a:gd name="T68" fmla="*/ 164 w 272"/>
                <a:gd name="T69" fmla="*/ 26 h 140"/>
                <a:gd name="T70" fmla="*/ 145 w 272"/>
                <a:gd name="T71" fmla="*/ 33 h 140"/>
                <a:gd name="T72" fmla="*/ 132 w 272"/>
                <a:gd name="T73" fmla="*/ 43 h 140"/>
                <a:gd name="T74" fmla="*/ 121 w 272"/>
                <a:gd name="T75" fmla="*/ 50 h 140"/>
                <a:gd name="T76" fmla="*/ 97 w 272"/>
                <a:gd name="T77" fmla="*/ 62 h 140"/>
                <a:gd name="T78" fmla="*/ 75 w 272"/>
                <a:gd name="T79" fmla="*/ 78 h 140"/>
                <a:gd name="T80" fmla="*/ 56 w 272"/>
                <a:gd name="T81" fmla="*/ 89 h 140"/>
                <a:gd name="T82" fmla="*/ 41 w 272"/>
                <a:gd name="T83" fmla="*/ 104 h 140"/>
                <a:gd name="T84" fmla="*/ 25 w 272"/>
                <a:gd name="T85" fmla="*/ 114 h 140"/>
                <a:gd name="T86" fmla="*/ 0 w 272"/>
                <a:gd name="T87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72" h="140">
                  <a:moveTo>
                    <a:pt x="0" y="140"/>
                  </a:moveTo>
                  <a:lnTo>
                    <a:pt x="17" y="137"/>
                  </a:lnTo>
                  <a:lnTo>
                    <a:pt x="23" y="131"/>
                  </a:lnTo>
                  <a:lnTo>
                    <a:pt x="27" y="127"/>
                  </a:lnTo>
                  <a:lnTo>
                    <a:pt x="29" y="124"/>
                  </a:lnTo>
                  <a:lnTo>
                    <a:pt x="33" y="124"/>
                  </a:lnTo>
                  <a:lnTo>
                    <a:pt x="37" y="121"/>
                  </a:lnTo>
                  <a:lnTo>
                    <a:pt x="42" y="121"/>
                  </a:lnTo>
                  <a:lnTo>
                    <a:pt x="45" y="121"/>
                  </a:lnTo>
                  <a:lnTo>
                    <a:pt x="49" y="121"/>
                  </a:lnTo>
                  <a:lnTo>
                    <a:pt x="51" y="121"/>
                  </a:lnTo>
                  <a:lnTo>
                    <a:pt x="55" y="117"/>
                  </a:lnTo>
                  <a:lnTo>
                    <a:pt x="57" y="114"/>
                  </a:lnTo>
                  <a:lnTo>
                    <a:pt x="62" y="111"/>
                  </a:lnTo>
                  <a:lnTo>
                    <a:pt x="66" y="110"/>
                  </a:lnTo>
                  <a:lnTo>
                    <a:pt x="69" y="108"/>
                  </a:lnTo>
                  <a:lnTo>
                    <a:pt x="73" y="107"/>
                  </a:lnTo>
                  <a:lnTo>
                    <a:pt x="76" y="105"/>
                  </a:lnTo>
                  <a:lnTo>
                    <a:pt x="80" y="103"/>
                  </a:lnTo>
                  <a:lnTo>
                    <a:pt x="84" y="101"/>
                  </a:lnTo>
                  <a:lnTo>
                    <a:pt x="89" y="98"/>
                  </a:lnTo>
                  <a:lnTo>
                    <a:pt x="94" y="99"/>
                  </a:lnTo>
                  <a:lnTo>
                    <a:pt x="104" y="101"/>
                  </a:lnTo>
                  <a:lnTo>
                    <a:pt x="112" y="101"/>
                  </a:lnTo>
                  <a:lnTo>
                    <a:pt x="121" y="98"/>
                  </a:lnTo>
                  <a:lnTo>
                    <a:pt x="125" y="97"/>
                  </a:lnTo>
                  <a:lnTo>
                    <a:pt x="128" y="91"/>
                  </a:lnTo>
                  <a:lnTo>
                    <a:pt x="132" y="87"/>
                  </a:lnTo>
                  <a:lnTo>
                    <a:pt x="139" y="82"/>
                  </a:lnTo>
                  <a:lnTo>
                    <a:pt x="141" y="79"/>
                  </a:lnTo>
                  <a:lnTo>
                    <a:pt x="141" y="75"/>
                  </a:lnTo>
                  <a:lnTo>
                    <a:pt x="147" y="72"/>
                  </a:lnTo>
                  <a:lnTo>
                    <a:pt x="150" y="69"/>
                  </a:lnTo>
                  <a:lnTo>
                    <a:pt x="152" y="66"/>
                  </a:lnTo>
                  <a:lnTo>
                    <a:pt x="154" y="65"/>
                  </a:lnTo>
                  <a:lnTo>
                    <a:pt x="164" y="59"/>
                  </a:lnTo>
                  <a:lnTo>
                    <a:pt x="164" y="65"/>
                  </a:lnTo>
                  <a:lnTo>
                    <a:pt x="162" y="68"/>
                  </a:lnTo>
                  <a:lnTo>
                    <a:pt x="164" y="71"/>
                  </a:lnTo>
                  <a:lnTo>
                    <a:pt x="171" y="72"/>
                  </a:lnTo>
                  <a:lnTo>
                    <a:pt x="175" y="72"/>
                  </a:lnTo>
                  <a:lnTo>
                    <a:pt x="179" y="69"/>
                  </a:lnTo>
                  <a:lnTo>
                    <a:pt x="182" y="65"/>
                  </a:lnTo>
                  <a:lnTo>
                    <a:pt x="182" y="62"/>
                  </a:lnTo>
                  <a:lnTo>
                    <a:pt x="185" y="59"/>
                  </a:lnTo>
                  <a:lnTo>
                    <a:pt x="185" y="56"/>
                  </a:lnTo>
                  <a:lnTo>
                    <a:pt x="188" y="52"/>
                  </a:lnTo>
                  <a:lnTo>
                    <a:pt x="190" y="50"/>
                  </a:lnTo>
                  <a:lnTo>
                    <a:pt x="195" y="50"/>
                  </a:lnTo>
                  <a:lnTo>
                    <a:pt x="205" y="50"/>
                  </a:lnTo>
                  <a:lnTo>
                    <a:pt x="213" y="46"/>
                  </a:lnTo>
                  <a:lnTo>
                    <a:pt x="220" y="40"/>
                  </a:lnTo>
                  <a:lnTo>
                    <a:pt x="228" y="38"/>
                  </a:lnTo>
                  <a:lnTo>
                    <a:pt x="235" y="33"/>
                  </a:lnTo>
                  <a:lnTo>
                    <a:pt x="240" y="25"/>
                  </a:lnTo>
                  <a:lnTo>
                    <a:pt x="251" y="16"/>
                  </a:lnTo>
                  <a:lnTo>
                    <a:pt x="258" y="12"/>
                  </a:lnTo>
                  <a:lnTo>
                    <a:pt x="265" y="8"/>
                  </a:lnTo>
                  <a:lnTo>
                    <a:pt x="272" y="3"/>
                  </a:lnTo>
                  <a:lnTo>
                    <a:pt x="260" y="0"/>
                  </a:lnTo>
                  <a:lnTo>
                    <a:pt x="248" y="0"/>
                  </a:lnTo>
                  <a:lnTo>
                    <a:pt x="236" y="5"/>
                  </a:lnTo>
                  <a:lnTo>
                    <a:pt x="230" y="8"/>
                  </a:lnTo>
                  <a:lnTo>
                    <a:pt x="220" y="10"/>
                  </a:lnTo>
                  <a:lnTo>
                    <a:pt x="209" y="11"/>
                  </a:lnTo>
                  <a:lnTo>
                    <a:pt x="203" y="13"/>
                  </a:lnTo>
                  <a:lnTo>
                    <a:pt x="190" y="18"/>
                  </a:lnTo>
                  <a:lnTo>
                    <a:pt x="182" y="21"/>
                  </a:lnTo>
                  <a:lnTo>
                    <a:pt x="174" y="24"/>
                  </a:lnTo>
                  <a:lnTo>
                    <a:pt x="164" y="26"/>
                  </a:lnTo>
                  <a:lnTo>
                    <a:pt x="154" y="29"/>
                  </a:lnTo>
                  <a:lnTo>
                    <a:pt x="145" y="33"/>
                  </a:lnTo>
                  <a:lnTo>
                    <a:pt x="138" y="38"/>
                  </a:lnTo>
                  <a:lnTo>
                    <a:pt x="132" y="43"/>
                  </a:lnTo>
                  <a:lnTo>
                    <a:pt x="126" y="47"/>
                  </a:lnTo>
                  <a:lnTo>
                    <a:pt x="121" y="50"/>
                  </a:lnTo>
                  <a:lnTo>
                    <a:pt x="110" y="56"/>
                  </a:lnTo>
                  <a:lnTo>
                    <a:pt x="97" y="62"/>
                  </a:lnTo>
                  <a:lnTo>
                    <a:pt x="84" y="69"/>
                  </a:lnTo>
                  <a:lnTo>
                    <a:pt x="75" y="78"/>
                  </a:lnTo>
                  <a:lnTo>
                    <a:pt x="65" y="85"/>
                  </a:lnTo>
                  <a:lnTo>
                    <a:pt x="56" y="89"/>
                  </a:lnTo>
                  <a:lnTo>
                    <a:pt x="47" y="98"/>
                  </a:lnTo>
                  <a:lnTo>
                    <a:pt x="41" y="104"/>
                  </a:lnTo>
                  <a:lnTo>
                    <a:pt x="33" y="110"/>
                  </a:lnTo>
                  <a:lnTo>
                    <a:pt x="25" y="114"/>
                  </a:lnTo>
                  <a:lnTo>
                    <a:pt x="17" y="118"/>
                  </a:lnTo>
                  <a:lnTo>
                    <a:pt x="0" y="140"/>
                  </a:ln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88" name="Freeform 88"/>
            <p:cNvSpPr>
              <a:spLocks/>
            </p:cNvSpPr>
            <p:nvPr/>
          </p:nvSpPr>
          <p:spPr bwMode="auto">
            <a:xfrm>
              <a:off x="6680201" y="4505325"/>
              <a:ext cx="233363" cy="401638"/>
            </a:xfrm>
            <a:custGeom>
              <a:avLst/>
              <a:gdLst>
                <a:gd name="T0" fmla="*/ 15 w 80"/>
                <a:gd name="T1" fmla="*/ 43 h 136"/>
                <a:gd name="T2" fmla="*/ 13 w 80"/>
                <a:gd name="T3" fmla="*/ 70 h 136"/>
                <a:gd name="T4" fmla="*/ 6 w 80"/>
                <a:gd name="T5" fmla="*/ 87 h 136"/>
                <a:gd name="T6" fmla="*/ 0 w 80"/>
                <a:gd name="T7" fmla="*/ 103 h 136"/>
                <a:gd name="T8" fmla="*/ 0 w 80"/>
                <a:gd name="T9" fmla="*/ 115 h 136"/>
                <a:gd name="T10" fmla="*/ 2 w 80"/>
                <a:gd name="T11" fmla="*/ 125 h 136"/>
                <a:gd name="T12" fmla="*/ 9 w 80"/>
                <a:gd name="T13" fmla="*/ 134 h 136"/>
                <a:gd name="T14" fmla="*/ 15 w 80"/>
                <a:gd name="T15" fmla="*/ 135 h 136"/>
                <a:gd name="T16" fmla="*/ 20 w 80"/>
                <a:gd name="T17" fmla="*/ 135 h 136"/>
                <a:gd name="T18" fmla="*/ 26 w 80"/>
                <a:gd name="T19" fmla="*/ 136 h 136"/>
                <a:gd name="T20" fmla="*/ 29 w 80"/>
                <a:gd name="T21" fmla="*/ 129 h 136"/>
                <a:gd name="T22" fmla="*/ 32 w 80"/>
                <a:gd name="T23" fmla="*/ 111 h 136"/>
                <a:gd name="T24" fmla="*/ 41 w 80"/>
                <a:gd name="T25" fmla="*/ 99 h 136"/>
                <a:gd name="T26" fmla="*/ 43 w 80"/>
                <a:gd name="T27" fmla="*/ 81 h 136"/>
                <a:gd name="T28" fmla="*/ 47 w 80"/>
                <a:gd name="T29" fmla="*/ 74 h 136"/>
                <a:gd name="T30" fmla="*/ 51 w 80"/>
                <a:gd name="T31" fmla="*/ 69 h 136"/>
                <a:gd name="T32" fmla="*/ 54 w 80"/>
                <a:gd name="T33" fmla="*/ 56 h 136"/>
                <a:gd name="T34" fmla="*/ 60 w 80"/>
                <a:gd name="T35" fmla="*/ 48 h 136"/>
                <a:gd name="T36" fmla="*/ 64 w 80"/>
                <a:gd name="T37" fmla="*/ 42 h 136"/>
                <a:gd name="T38" fmla="*/ 68 w 80"/>
                <a:gd name="T39" fmla="*/ 37 h 136"/>
                <a:gd name="T40" fmla="*/ 68 w 80"/>
                <a:gd name="T41" fmla="*/ 34 h 136"/>
                <a:gd name="T42" fmla="*/ 77 w 80"/>
                <a:gd name="T43" fmla="*/ 27 h 136"/>
                <a:gd name="T44" fmla="*/ 78 w 80"/>
                <a:gd name="T45" fmla="*/ 15 h 136"/>
                <a:gd name="T46" fmla="*/ 80 w 80"/>
                <a:gd name="T47" fmla="*/ 8 h 136"/>
                <a:gd name="T48" fmla="*/ 72 w 80"/>
                <a:gd name="T49" fmla="*/ 5 h 136"/>
                <a:gd name="T50" fmla="*/ 67 w 80"/>
                <a:gd name="T51" fmla="*/ 0 h 136"/>
                <a:gd name="T52" fmla="*/ 60 w 80"/>
                <a:gd name="T53" fmla="*/ 5 h 136"/>
                <a:gd name="T54" fmla="*/ 54 w 80"/>
                <a:gd name="T55" fmla="*/ 17 h 136"/>
                <a:gd name="T56" fmla="*/ 47 w 80"/>
                <a:gd name="T57" fmla="*/ 26 h 136"/>
                <a:gd name="T58" fmla="*/ 41 w 80"/>
                <a:gd name="T59" fmla="*/ 33 h 136"/>
                <a:gd name="T60" fmla="*/ 38 w 80"/>
                <a:gd name="T61" fmla="*/ 33 h 136"/>
                <a:gd name="T62" fmla="*/ 32 w 80"/>
                <a:gd name="T63" fmla="*/ 37 h 136"/>
                <a:gd name="T64" fmla="*/ 29 w 80"/>
                <a:gd name="T65" fmla="*/ 41 h 136"/>
                <a:gd name="T66" fmla="*/ 15 w 80"/>
                <a:gd name="T67" fmla="*/ 4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0" h="136">
                  <a:moveTo>
                    <a:pt x="15" y="43"/>
                  </a:moveTo>
                  <a:lnTo>
                    <a:pt x="13" y="70"/>
                  </a:lnTo>
                  <a:lnTo>
                    <a:pt x="6" y="87"/>
                  </a:lnTo>
                  <a:lnTo>
                    <a:pt x="0" y="103"/>
                  </a:lnTo>
                  <a:lnTo>
                    <a:pt x="0" y="115"/>
                  </a:lnTo>
                  <a:lnTo>
                    <a:pt x="2" y="125"/>
                  </a:lnTo>
                  <a:lnTo>
                    <a:pt x="9" y="134"/>
                  </a:lnTo>
                  <a:lnTo>
                    <a:pt x="15" y="135"/>
                  </a:lnTo>
                  <a:lnTo>
                    <a:pt x="20" y="135"/>
                  </a:lnTo>
                  <a:lnTo>
                    <a:pt x="26" y="136"/>
                  </a:lnTo>
                  <a:lnTo>
                    <a:pt x="29" y="129"/>
                  </a:lnTo>
                  <a:lnTo>
                    <a:pt x="32" y="111"/>
                  </a:lnTo>
                  <a:lnTo>
                    <a:pt x="41" y="99"/>
                  </a:lnTo>
                  <a:lnTo>
                    <a:pt x="43" y="81"/>
                  </a:lnTo>
                  <a:lnTo>
                    <a:pt x="47" y="74"/>
                  </a:lnTo>
                  <a:lnTo>
                    <a:pt x="51" y="69"/>
                  </a:lnTo>
                  <a:lnTo>
                    <a:pt x="54" y="56"/>
                  </a:lnTo>
                  <a:lnTo>
                    <a:pt x="60" y="48"/>
                  </a:lnTo>
                  <a:lnTo>
                    <a:pt x="64" y="42"/>
                  </a:lnTo>
                  <a:lnTo>
                    <a:pt x="68" y="37"/>
                  </a:lnTo>
                  <a:lnTo>
                    <a:pt x="68" y="34"/>
                  </a:lnTo>
                  <a:lnTo>
                    <a:pt x="77" y="27"/>
                  </a:lnTo>
                  <a:lnTo>
                    <a:pt x="78" y="15"/>
                  </a:lnTo>
                  <a:lnTo>
                    <a:pt x="80" y="8"/>
                  </a:lnTo>
                  <a:lnTo>
                    <a:pt x="72" y="5"/>
                  </a:lnTo>
                  <a:lnTo>
                    <a:pt x="67" y="0"/>
                  </a:lnTo>
                  <a:lnTo>
                    <a:pt x="60" y="5"/>
                  </a:lnTo>
                  <a:lnTo>
                    <a:pt x="54" y="17"/>
                  </a:lnTo>
                  <a:lnTo>
                    <a:pt x="47" y="26"/>
                  </a:lnTo>
                  <a:lnTo>
                    <a:pt x="41" y="33"/>
                  </a:lnTo>
                  <a:lnTo>
                    <a:pt x="38" y="33"/>
                  </a:lnTo>
                  <a:lnTo>
                    <a:pt x="32" y="37"/>
                  </a:lnTo>
                  <a:lnTo>
                    <a:pt x="29" y="41"/>
                  </a:lnTo>
                  <a:lnTo>
                    <a:pt x="15" y="43"/>
                  </a:ln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89" name="Freeform 89"/>
            <p:cNvSpPr>
              <a:spLocks/>
            </p:cNvSpPr>
            <p:nvPr/>
          </p:nvSpPr>
          <p:spPr bwMode="auto">
            <a:xfrm>
              <a:off x="5537201" y="2220913"/>
              <a:ext cx="3227388" cy="1895475"/>
            </a:xfrm>
            <a:custGeom>
              <a:avLst/>
              <a:gdLst>
                <a:gd name="T0" fmla="*/ 999 w 1098"/>
                <a:gd name="T1" fmla="*/ 291 h 645"/>
                <a:gd name="T2" fmla="*/ 967 w 1098"/>
                <a:gd name="T3" fmla="*/ 355 h 645"/>
                <a:gd name="T4" fmla="*/ 1017 w 1098"/>
                <a:gd name="T5" fmla="*/ 464 h 645"/>
                <a:gd name="T6" fmla="*/ 991 w 1098"/>
                <a:gd name="T7" fmla="*/ 529 h 645"/>
                <a:gd name="T8" fmla="*/ 935 w 1098"/>
                <a:gd name="T9" fmla="*/ 556 h 645"/>
                <a:gd name="T10" fmla="*/ 943 w 1098"/>
                <a:gd name="T11" fmla="*/ 619 h 645"/>
                <a:gd name="T12" fmla="*/ 921 w 1098"/>
                <a:gd name="T13" fmla="*/ 590 h 645"/>
                <a:gd name="T14" fmla="*/ 850 w 1098"/>
                <a:gd name="T15" fmla="*/ 499 h 645"/>
                <a:gd name="T16" fmla="*/ 747 w 1098"/>
                <a:gd name="T17" fmla="*/ 526 h 645"/>
                <a:gd name="T18" fmla="*/ 687 w 1098"/>
                <a:gd name="T19" fmla="*/ 540 h 645"/>
                <a:gd name="T20" fmla="*/ 561 w 1098"/>
                <a:gd name="T21" fmla="*/ 442 h 645"/>
                <a:gd name="T22" fmla="*/ 441 w 1098"/>
                <a:gd name="T23" fmla="*/ 421 h 645"/>
                <a:gd name="T24" fmla="*/ 543 w 1098"/>
                <a:gd name="T25" fmla="*/ 480 h 645"/>
                <a:gd name="T26" fmla="*/ 405 w 1098"/>
                <a:gd name="T27" fmla="*/ 531 h 645"/>
                <a:gd name="T28" fmla="*/ 363 w 1098"/>
                <a:gd name="T29" fmla="*/ 468 h 645"/>
                <a:gd name="T30" fmla="*/ 305 w 1098"/>
                <a:gd name="T31" fmla="*/ 386 h 645"/>
                <a:gd name="T32" fmla="*/ 274 w 1098"/>
                <a:gd name="T33" fmla="*/ 342 h 645"/>
                <a:gd name="T34" fmla="*/ 259 w 1098"/>
                <a:gd name="T35" fmla="*/ 315 h 645"/>
                <a:gd name="T36" fmla="*/ 239 w 1098"/>
                <a:gd name="T37" fmla="*/ 299 h 645"/>
                <a:gd name="T38" fmla="*/ 229 w 1098"/>
                <a:gd name="T39" fmla="*/ 333 h 645"/>
                <a:gd name="T40" fmla="*/ 196 w 1098"/>
                <a:gd name="T41" fmla="*/ 278 h 645"/>
                <a:gd name="T42" fmla="*/ 167 w 1098"/>
                <a:gd name="T43" fmla="*/ 271 h 645"/>
                <a:gd name="T44" fmla="*/ 200 w 1098"/>
                <a:gd name="T45" fmla="*/ 314 h 645"/>
                <a:gd name="T46" fmla="*/ 190 w 1098"/>
                <a:gd name="T47" fmla="*/ 311 h 645"/>
                <a:gd name="T48" fmla="*/ 158 w 1098"/>
                <a:gd name="T49" fmla="*/ 286 h 645"/>
                <a:gd name="T50" fmla="*/ 123 w 1098"/>
                <a:gd name="T51" fmla="*/ 270 h 645"/>
                <a:gd name="T52" fmla="*/ 85 w 1098"/>
                <a:gd name="T53" fmla="*/ 297 h 645"/>
                <a:gd name="T54" fmla="*/ 78 w 1098"/>
                <a:gd name="T55" fmla="*/ 326 h 645"/>
                <a:gd name="T56" fmla="*/ 45 w 1098"/>
                <a:gd name="T57" fmla="*/ 342 h 645"/>
                <a:gd name="T58" fmla="*/ 4 w 1098"/>
                <a:gd name="T59" fmla="*/ 321 h 645"/>
                <a:gd name="T60" fmla="*/ 45 w 1098"/>
                <a:gd name="T61" fmla="*/ 275 h 645"/>
                <a:gd name="T62" fmla="*/ 57 w 1098"/>
                <a:gd name="T63" fmla="*/ 224 h 645"/>
                <a:gd name="T64" fmla="*/ 100 w 1098"/>
                <a:gd name="T65" fmla="*/ 209 h 645"/>
                <a:gd name="T66" fmla="*/ 141 w 1098"/>
                <a:gd name="T67" fmla="*/ 183 h 645"/>
                <a:gd name="T68" fmla="*/ 164 w 1098"/>
                <a:gd name="T69" fmla="*/ 144 h 645"/>
                <a:gd name="T70" fmla="*/ 209 w 1098"/>
                <a:gd name="T71" fmla="*/ 143 h 645"/>
                <a:gd name="T72" fmla="*/ 243 w 1098"/>
                <a:gd name="T73" fmla="*/ 121 h 645"/>
                <a:gd name="T74" fmla="*/ 226 w 1098"/>
                <a:gd name="T75" fmla="*/ 95 h 645"/>
                <a:gd name="T76" fmla="*/ 260 w 1098"/>
                <a:gd name="T77" fmla="*/ 72 h 645"/>
                <a:gd name="T78" fmla="*/ 219 w 1098"/>
                <a:gd name="T79" fmla="*/ 84 h 645"/>
                <a:gd name="T80" fmla="*/ 209 w 1098"/>
                <a:gd name="T81" fmla="*/ 119 h 645"/>
                <a:gd name="T82" fmla="*/ 174 w 1098"/>
                <a:gd name="T83" fmla="*/ 154 h 645"/>
                <a:gd name="T84" fmla="*/ 165 w 1098"/>
                <a:gd name="T85" fmla="*/ 124 h 645"/>
                <a:gd name="T86" fmla="*/ 143 w 1098"/>
                <a:gd name="T87" fmla="*/ 131 h 645"/>
                <a:gd name="T88" fmla="*/ 122 w 1098"/>
                <a:gd name="T89" fmla="*/ 119 h 645"/>
                <a:gd name="T90" fmla="*/ 128 w 1098"/>
                <a:gd name="T91" fmla="*/ 104 h 645"/>
                <a:gd name="T92" fmla="*/ 145 w 1098"/>
                <a:gd name="T93" fmla="*/ 84 h 645"/>
                <a:gd name="T94" fmla="*/ 174 w 1098"/>
                <a:gd name="T95" fmla="*/ 60 h 645"/>
                <a:gd name="T96" fmla="*/ 208 w 1098"/>
                <a:gd name="T97" fmla="*/ 23 h 645"/>
                <a:gd name="T98" fmla="*/ 259 w 1098"/>
                <a:gd name="T99" fmla="*/ 6 h 645"/>
                <a:gd name="T100" fmla="*/ 306 w 1098"/>
                <a:gd name="T101" fmla="*/ 18 h 645"/>
                <a:gd name="T102" fmla="*/ 306 w 1098"/>
                <a:gd name="T103" fmla="*/ 74 h 645"/>
                <a:gd name="T104" fmla="*/ 326 w 1098"/>
                <a:gd name="T105" fmla="*/ 99 h 645"/>
                <a:gd name="T106" fmla="*/ 352 w 1098"/>
                <a:gd name="T107" fmla="*/ 87 h 645"/>
                <a:gd name="T108" fmla="*/ 405 w 1098"/>
                <a:gd name="T109" fmla="*/ 68 h 645"/>
                <a:gd name="T110" fmla="*/ 521 w 1098"/>
                <a:gd name="T111" fmla="*/ 3 h 645"/>
                <a:gd name="T112" fmla="*/ 689 w 1098"/>
                <a:gd name="T113" fmla="*/ 44 h 645"/>
                <a:gd name="T114" fmla="*/ 898 w 1098"/>
                <a:gd name="T115" fmla="*/ 57 h 645"/>
                <a:gd name="T116" fmla="*/ 1035 w 1098"/>
                <a:gd name="T117" fmla="*/ 96 h 645"/>
                <a:gd name="T118" fmla="*/ 1075 w 1098"/>
                <a:gd name="T119" fmla="*/ 170 h 645"/>
                <a:gd name="T120" fmla="*/ 1002 w 1098"/>
                <a:gd name="T121" fmla="*/ 132 h 645"/>
                <a:gd name="T122" fmla="*/ 928 w 1098"/>
                <a:gd name="T123" fmla="*/ 140 h 645"/>
                <a:gd name="T124" fmla="*/ 1011 w 1098"/>
                <a:gd name="T125" fmla="*/ 237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98" h="645">
                  <a:moveTo>
                    <a:pt x="1023" y="263"/>
                  </a:moveTo>
                  <a:lnTo>
                    <a:pt x="1013" y="281"/>
                  </a:lnTo>
                  <a:lnTo>
                    <a:pt x="1038" y="299"/>
                  </a:lnTo>
                  <a:lnTo>
                    <a:pt x="1047" y="317"/>
                  </a:lnTo>
                  <a:lnTo>
                    <a:pt x="1025" y="327"/>
                  </a:lnTo>
                  <a:lnTo>
                    <a:pt x="1019" y="309"/>
                  </a:lnTo>
                  <a:lnTo>
                    <a:pt x="999" y="291"/>
                  </a:lnTo>
                  <a:lnTo>
                    <a:pt x="993" y="272"/>
                  </a:lnTo>
                  <a:lnTo>
                    <a:pt x="980" y="281"/>
                  </a:lnTo>
                  <a:lnTo>
                    <a:pt x="967" y="289"/>
                  </a:lnTo>
                  <a:lnTo>
                    <a:pt x="965" y="304"/>
                  </a:lnTo>
                  <a:lnTo>
                    <a:pt x="979" y="320"/>
                  </a:lnTo>
                  <a:lnTo>
                    <a:pt x="970" y="333"/>
                  </a:lnTo>
                  <a:lnTo>
                    <a:pt x="967" y="355"/>
                  </a:lnTo>
                  <a:lnTo>
                    <a:pt x="984" y="369"/>
                  </a:lnTo>
                  <a:lnTo>
                    <a:pt x="1003" y="373"/>
                  </a:lnTo>
                  <a:lnTo>
                    <a:pt x="1023" y="388"/>
                  </a:lnTo>
                  <a:lnTo>
                    <a:pt x="1040" y="408"/>
                  </a:lnTo>
                  <a:lnTo>
                    <a:pt x="1041" y="438"/>
                  </a:lnTo>
                  <a:lnTo>
                    <a:pt x="1035" y="452"/>
                  </a:lnTo>
                  <a:lnTo>
                    <a:pt x="1017" y="464"/>
                  </a:lnTo>
                  <a:lnTo>
                    <a:pt x="995" y="470"/>
                  </a:lnTo>
                  <a:lnTo>
                    <a:pt x="981" y="479"/>
                  </a:lnTo>
                  <a:lnTo>
                    <a:pt x="973" y="474"/>
                  </a:lnTo>
                  <a:lnTo>
                    <a:pt x="966" y="479"/>
                  </a:lnTo>
                  <a:lnTo>
                    <a:pt x="964" y="501"/>
                  </a:lnTo>
                  <a:lnTo>
                    <a:pt x="969" y="514"/>
                  </a:lnTo>
                  <a:lnTo>
                    <a:pt x="991" y="529"/>
                  </a:lnTo>
                  <a:lnTo>
                    <a:pt x="1000" y="544"/>
                  </a:lnTo>
                  <a:lnTo>
                    <a:pt x="1007" y="553"/>
                  </a:lnTo>
                  <a:lnTo>
                    <a:pt x="1005" y="569"/>
                  </a:lnTo>
                  <a:lnTo>
                    <a:pt x="991" y="582"/>
                  </a:lnTo>
                  <a:lnTo>
                    <a:pt x="976" y="582"/>
                  </a:lnTo>
                  <a:lnTo>
                    <a:pt x="952" y="563"/>
                  </a:lnTo>
                  <a:lnTo>
                    <a:pt x="935" y="556"/>
                  </a:lnTo>
                  <a:lnTo>
                    <a:pt x="928" y="552"/>
                  </a:lnTo>
                  <a:lnTo>
                    <a:pt x="921" y="562"/>
                  </a:lnTo>
                  <a:lnTo>
                    <a:pt x="923" y="576"/>
                  </a:lnTo>
                  <a:lnTo>
                    <a:pt x="929" y="587"/>
                  </a:lnTo>
                  <a:lnTo>
                    <a:pt x="933" y="604"/>
                  </a:lnTo>
                  <a:lnTo>
                    <a:pt x="948" y="610"/>
                  </a:lnTo>
                  <a:lnTo>
                    <a:pt x="943" y="619"/>
                  </a:lnTo>
                  <a:lnTo>
                    <a:pt x="944" y="632"/>
                  </a:lnTo>
                  <a:lnTo>
                    <a:pt x="949" y="645"/>
                  </a:lnTo>
                  <a:lnTo>
                    <a:pt x="939" y="644"/>
                  </a:lnTo>
                  <a:lnTo>
                    <a:pt x="928" y="629"/>
                  </a:lnTo>
                  <a:lnTo>
                    <a:pt x="929" y="613"/>
                  </a:lnTo>
                  <a:lnTo>
                    <a:pt x="925" y="608"/>
                  </a:lnTo>
                  <a:lnTo>
                    <a:pt x="921" y="590"/>
                  </a:lnTo>
                  <a:lnTo>
                    <a:pt x="916" y="585"/>
                  </a:lnTo>
                  <a:lnTo>
                    <a:pt x="914" y="560"/>
                  </a:lnTo>
                  <a:lnTo>
                    <a:pt x="907" y="544"/>
                  </a:lnTo>
                  <a:lnTo>
                    <a:pt x="895" y="530"/>
                  </a:lnTo>
                  <a:lnTo>
                    <a:pt x="873" y="522"/>
                  </a:lnTo>
                  <a:lnTo>
                    <a:pt x="857" y="509"/>
                  </a:lnTo>
                  <a:lnTo>
                    <a:pt x="850" y="499"/>
                  </a:lnTo>
                  <a:lnTo>
                    <a:pt x="839" y="488"/>
                  </a:lnTo>
                  <a:lnTo>
                    <a:pt x="822" y="463"/>
                  </a:lnTo>
                  <a:lnTo>
                    <a:pt x="807" y="465"/>
                  </a:lnTo>
                  <a:lnTo>
                    <a:pt x="787" y="477"/>
                  </a:lnTo>
                  <a:lnTo>
                    <a:pt x="778" y="487"/>
                  </a:lnTo>
                  <a:lnTo>
                    <a:pt x="760" y="506"/>
                  </a:lnTo>
                  <a:lnTo>
                    <a:pt x="747" y="526"/>
                  </a:lnTo>
                  <a:lnTo>
                    <a:pt x="742" y="533"/>
                  </a:lnTo>
                  <a:lnTo>
                    <a:pt x="747" y="557"/>
                  </a:lnTo>
                  <a:lnTo>
                    <a:pt x="746" y="580"/>
                  </a:lnTo>
                  <a:lnTo>
                    <a:pt x="730" y="596"/>
                  </a:lnTo>
                  <a:lnTo>
                    <a:pt x="721" y="597"/>
                  </a:lnTo>
                  <a:lnTo>
                    <a:pt x="702" y="564"/>
                  </a:lnTo>
                  <a:lnTo>
                    <a:pt x="687" y="540"/>
                  </a:lnTo>
                  <a:lnTo>
                    <a:pt x="657" y="496"/>
                  </a:lnTo>
                  <a:lnTo>
                    <a:pt x="656" y="479"/>
                  </a:lnTo>
                  <a:lnTo>
                    <a:pt x="649" y="471"/>
                  </a:lnTo>
                  <a:lnTo>
                    <a:pt x="644" y="482"/>
                  </a:lnTo>
                  <a:lnTo>
                    <a:pt x="618" y="457"/>
                  </a:lnTo>
                  <a:lnTo>
                    <a:pt x="583" y="438"/>
                  </a:lnTo>
                  <a:lnTo>
                    <a:pt x="561" y="442"/>
                  </a:lnTo>
                  <a:lnTo>
                    <a:pt x="529" y="440"/>
                  </a:lnTo>
                  <a:lnTo>
                    <a:pt x="514" y="426"/>
                  </a:lnTo>
                  <a:lnTo>
                    <a:pt x="497" y="428"/>
                  </a:lnTo>
                  <a:lnTo>
                    <a:pt x="473" y="422"/>
                  </a:lnTo>
                  <a:lnTo>
                    <a:pt x="423" y="375"/>
                  </a:lnTo>
                  <a:lnTo>
                    <a:pt x="426" y="394"/>
                  </a:lnTo>
                  <a:lnTo>
                    <a:pt x="441" y="421"/>
                  </a:lnTo>
                  <a:lnTo>
                    <a:pt x="458" y="440"/>
                  </a:lnTo>
                  <a:lnTo>
                    <a:pt x="476" y="450"/>
                  </a:lnTo>
                  <a:lnTo>
                    <a:pt x="496" y="442"/>
                  </a:lnTo>
                  <a:lnTo>
                    <a:pt x="512" y="442"/>
                  </a:lnTo>
                  <a:lnTo>
                    <a:pt x="533" y="459"/>
                  </a:lnTo>
                  <a:lnTo>
                    <a:pt x="545" y="472"/>
                  </a:lnTo>
                  <a:lnTo>
                    <a:pt x="543" y="480"/>
                  </a:lnTo>
                  <a:lnTo>
                    <a:pt x="507" y="517"/>
                  </a:lnTo>
                  <a:lnTo>
                    <a:pt x="483" y="531"/>
                  </a:lnTo>
                  <a:lnTo>
                    <a:pt x="433" y="550"/>
                  </a:lnTo>
                  <a:lnTo>
                    <a:pt x="418" y="556"/>
                  </a:lnTo>
                  <a:lnTo>
                    <a:pt x="409" y="550"/>
                  </a:lnTo>
                  <a:lnTo>
                    <a:pt x="406" y="542"/>
                  </a:lnTo>
                  <a:lnTo>
                    <a:pt x="405" y="531"/>
                  </a:lnTo>
                  <a:lnTo>
                    <a:pt x="401" y="520"/>
                  </a:lnTo>
                  <a:lnTo>
                    <a:pt x="394" y="511"/>
                  </a:lnTo>
                  <a:lnTo>
                    <a:pt x="388" y="503"/>
                  </a:lnTo>
                  <a:lnTo>
                    <a:pt x="379" y="492"/>
                  </a:lnTo>
                  <a:lnTo>
                    <a:pt x="374" y="485"/>
                  </a:lnTo>
                  <a:lnTo>
                    <a:pt x="370" y="476"/>
                  </a:lnTo>
                  <a:lnTo>
                    <a:pt x="363" y="468"/>
                  </a:lnTo>
                  <a:lnTo>
                    <a:pt x="352" y="448"/>
                  </a:lnTo>
                  <a:lnTo>
                    <a:pt x="346" y="440"/>
                  </a:lnTo>
                  <a:lnTo>
                    <a:pt x="338" y="429"/>
                  </a:lnTo>
                  <a:lnTo>
                    <a:pt x="325" y="414"/>
                  </a:lnTo>
                  <a:lnTo>
                    <a:pt x="318" y="405"/>
                  </a:lnTo>
                  <a:lnTo>
                    <a:pt x="312" y="399"/>
                  </a:lnTo>
                  <a:lnTo>
                    <a:pt x="305" y="386"/>
                  </a:lnTo>
                  <a:lnTo>
                    <a:pt x="326" y="374"/>
                  </a:lnTo>
                  <a:lnTo>
                    <a:pt x="335" y="348"/>
                  </a:lnTo>
                  <a:lnTo>
                    <a:pt x="315" y="341"/>
                  </a:lnTo>
                  <a:lnTo>
                    <a:pt x="287" y="345"/>
                  </a:lnTo>
                  <a:lnTo>
                    <a:pt x="281" y="342"/>
                  </a:lnTo>
                  <a:lnTo>
                    <a:pt x="278" y="342"/>
                  </a:lnTo>
                  <a:lnTo>
                    <a:pt x="274" y="342"/>
                  </a:lnTo>
                  <a:lnTo>
                    <a:pt x="271" y="342"/>
                  </a:lnTo>
                  <a:lnTo>
                    <a:pt x="270" y="337"/>
                  </a:lnTo>
                  <a:lnTo>
                    <a:pt x="268" y="333"/>
                  </a:lnTo>
                  <a:lnTo>
                    <a:pt x="268" y="325"/>
                  </a:lnTo>
                  <a:lnTo>
                    <a:pt x="263" y="321"/>
                  </a:lnTo>
                  <a:lnTo>
                    <a:pt x="262" y="316"/>
                  </a:lnTo>
                  <a:lnTo>
                    <a:pt x="259" y="315"/>
                  </a:lnTo>
                  <a:lnTo>
                    <a:pt x="256" y="311"/>
                  </a:lnTo>
                  <a:lnTo>
                    <a:pt x="255" y="307"/>
                  </a:lnTo>
                  <a:lnTo>
                    <a:pt x="253" y="303"/>
                  </a:lnTo>
                  <a:lnTo>
                    <a:pt x="251" y="299"/>
                  </a:lnTo>
                  <a:lnTo>
                    <a:pt x="245" y="299"/>
                  </a:lnTo>
                  <a:lnTo>
                    <a:pt x="241" y="299"/>
                  </a:lnTo>
                  <a:lnTo>
                    <a:pt x="239" y="299"/>
                  </a:lnTo>
                  <a:lnTo>
                    <a:pt x="238" y="306"/>
                  </a:lnTo>
                  <a:lnTo>
                    <a:pt x="238" y="311"/>
                  </a:lnTo>
                  <a:lnTo>
                    <a:pt x="238" y="317"/>
                  </a:lnTo>
                  <a:lnTo>
                    <a:pt x="238" y="323"/>
                  </a:lnTo>
                  <a:lnTo>
                    <a:pt x="238" y="327"/>
                  </a:lnTo>
                  <a:lnTo>
                    <a:pt x="233" y="329"/>
                  </a:lnTo>
                  <a:lnTo>
                    <a:pt x="229" y="333"/>
                  </a:lnTo>
                  <a:lnTo>
                    <a:pt x="223" y="327"/>
                  </a:lnTo>
                  <a:lnTo>
                    <a:pt x="219" y="319"/>
                  </a:lnTo>
                  <a:lnTo>
                    <a:pt x="220" y="310"/>
                  </a:lnTo>
                  <a:lnTo>
                    <a:pt x="214" y="296"/>
                  </a:lnTo>
                  <a:lnTo>
                    <a:pt x="211" y="288"/>
                  </a:lnTo>
                  <a:lnTo>
                    <a:pt x="204" y="283"/>
                  </a:lnTo>
                  <a:lnTo>
                    <a:pt x="196" y="278"/>
                  </a:lnTo>
                  <a:lnTo>
                    <a:pt x="192" y="271"/>
                  </a:lnTo>
                  <a:lnTo>
                    <a:pt x="189" y="266"/>
                  </a:lnTo>
                  <a:lnTo>
                    <a:pt x="182" y="265"/>
                  </a:lnTo>
                  <a:lnTo>
                    <a:pt x="180" y="262"/>
                  </a:lnTo>
                  <a:lnTo>
                    <a:pt x="175" y="262"/>
                  </a:lnTo>
                  <a:lnTo>
                    <a:pt x="171" y="267"/>
                  </a:lnTo>
                  <a:lnTo>
                    <a:pt x="167" y="271"/>
                  </a:lnTo>
                  <a:lnTo>
                    <a:pt x="176" y="276"/>
                  </a:lnTo>
                  <a:lnTo>
                    <a:pt x="181" y="283"/>
                  </a:lnTo>
                  <a:lnTo>
                    <a:pt x="190" y="292"/>
                  </a:lnTo>
                  <a:lnTo>
                    <a:pt x="194" y="296"/>
                  </a:lnTo>
                  <a:lnTo>
                    <a:pt x="201" y="299"/>
                  </a:lnTo>
                  <a:lnTo>
                    <a:pt x="206" y="307"/>
                  </a:lnTo>
                  <a:lnTo>
                    <a:pt x="200" y="314"/>
                  </a:lnTo>
                  <a:lnTo>
                    <a:pt x="199" y="311"/>
                  </a:lnTo>
                  <a:lnTo>
                    <a:pt x="199" y="307"/>
                  </a:lnTo>
                  <a:lnTo>
                    <a:pt x="196" y="316"/>
                  </a:lnTo>
                  <a:lnTo>
                    <a:pt x="195" y="324"/>
                  </a:lnTo>
                  <a:lnTo>
                    <a:pt x="189" y="326"/>
                  </a:lnTo>
                  <a:lnTo>
                    <a:pt x="191" y="316"/>
                  </a:lnTo>
                  <a:lnTo>
                    <a:pt x="190" y="311"/>
                  </a:lnTo>
                  <a:lnTo>
                    <a:pt x="183" y="308"/>
                  </a:lnTo>
                  <a:lnTo>
                    <a:pt x="180" y="306"/>
                  </a:lnTo>
                  <a:lnTo>
                    <a:pt x="177" y="302"/>
                  </a:lnTo>
                  <a:lnTo>
                    <a:pt x="171" y="298"/>
                  </a:lnTo>
                  <a:lnTo>
                    <a:pt x="167" y="295"/>
                  </a:lnTo>
                  <a:lnTo>
                    <a:pt x="163" y="289"/>
                  </a:lnTo>
                  <a:lnTo>
                    <a:pt x="158" y="286"/>
                  </a:lnTo>
                  <a:lnTo>
                    <a:pt x="155" y="280"/>
                  </a:lnTo>
                  <a:lnTo>
                    <a:pt x="154" y="275"/>
                  </a:lnTo>
                  <a:lnTo>
                    <a:pt x="150" y="273"/>
                  </a:lnTo>
                  <a:lnTo>
                    <a:pt x="146" y="270"/>
                  </a:lnTo>
                  <a:lnTo>
                    <a:pt x="138" y="270"/>
                  </a:lnTo>
                  <a:lnTo>
                    <a:pt x="131" y="271"/>
                  </a:lnTo>
                  <a:lnTo>
                    <a:pt x="123" y="270"/>
                  </a:lnTo>
                  <a:lnTo>
                    <a:pt x="109" y="271"/>
                  </a:lnTo>
                  <a:lnTo>
                    <a:pt x="99" y="272"/>
                  </a:lnTo>
                  <a:lnTo>
                    <a:pt x="96" y="274"/>
                  </a:lnTo>
                  <a:lnTo>
                    <a:pt x="95" y="280"/>
                  </a:lnTo>
                  <a:lnTo>
                    <a:pt x="95" y="287"/>
                  </a:lnTo>
                  <a:lnTo>
                    <a:pt x="89" y="294"/>
                  </a:lnTo>
                  <a:lnTo>
                    <a:pt x="85" y="297"/>
                  </a:lnTo>
                  <a:lnTo>
                    <a:pt x="83" y="299"/>
                  </a:lnTo>
                  <a:lnTo>
                    <a:pt x="80" y="306"/>
                  </a:lnTo>
                  <a:lnTo>
                    <a:pt x="78" y="310"/>
                  </a:lnTo>
                  <a:lnTo>
                    <a:pt x="81" y="313"/>
                  </a:lnTo>
                  <a:lnTo>
                    <a:pt x="81" y="319"/>
                  </a:lnTo>
                  <a:lnTo>
                    <a:pt x="80" y="322"/>
                  </a:lnTo>
                  <a:lnTo>
                    <a:pt x="78" y="326"/>
                  </a:lnTo>
                  <a:lnTo>
                    <a:pt x="73" y="333"/>
                  </a:lnTo>
                  <a:lnTo>
                    <a:pt x="70" y="330"/>
                  </a:lnTo>
                  <a:lnTo>
                    <a:pt x="67" y="332"/>
                  </a:lnTo>
                  <a:lnTo>
                    <a:pt x="63" y="335"/>
                  </a:lnTo>
                  <a:lnTo>
                    <a:pt x="57" y="336"/>
                  </a:lnTo>
                  <a:lnTo>
                    <a:pt x="51" y="341"/>
                  </a:lnTo>
                  <a:lnTo>
                    <a:pt x="45" y="342"/>
                  </a:lnTo>
                  <a:lnTo>
                    <a:pt x="39" y="342"/>
                  </a:lnTo>
                  <a:lnTo>
                    <a:pt x="33" y="342"/>
                  </a:lnTo>
                  <a:lnTo>
                    <a:pt x="20" y="345"/>
                  </a:lnTo>
                  <a:lnTo>
                    <a:pt x="14" y="345"/>
                  </a:lnTo>
                  <a:lnTo>
                    <a:pt x="11" y="338"/>
                  </a:lnTo>
                  <a:lnTo>
                    <a:pt x="6" y="329"/>
                  </a:lnTo>
                  <a:lnTo>
                    <a:pt x="4" y="321"/>
                  </a:lnTo>
                  <a:lnTo>
                    <a:pt x="3" y="313"/>
                  </a:lnTo>
                  <a:lnTo>
                    <a:pt x="3" y="303"/>
                  </a:lnTo>
                  <a:lnTo>
                    <a:pt x="0" y="289"/>
                  </a:lnTo>
                  <a:lnTo>
                    <a:pt x="12" y="280"/>
                  </a:lnTo>
                  <a:lnTo>
                    <a:pt x="18" y="273"/>
                  </a:lnTo>
                  <a:lnTo>
                    <a:pt x="31" y="273"/>
                  </a:lnTo>
                  <a:lnTo>
                    <a:pt x="45" y="275"/>
                  </a:lnTo>
                  <a:lnTo>
                    <a:pt x="55" y="271"/>
                  </a:lnTo>
                  <a:lnTo>
                    <a:pt x="66" y="270"/>
                  </a:lnTo>
                  <a:lnTo>
                    <a:pt x="67" y="258"/>
                  </a:lnTo>
                  <a:lnTo>
                    <a:pt x="73" y="250"/>
                  </a:lnTo>
                  <a:lnTo>
                    <a:pt x="58" y="241"/>
                  </a:lnTo>
                  <a:lnTo>
                    <a:pt x="56" y="234"/>
                  </a:lnTo>
                  <a:lnTo>
                    <a:pt x="57" y="224"/>
                  </a:lnTo>
                  <a:lnTo>
                    <a:pt x="68" y="224"/>
                  </a:lnTo>
                  <a:lnTo>
                    <a:pt x="75" y="223"/>
                  </a:lnTo>
                  <a:lnTo>
                    <a:pt x="76" y="224"/>
                  </a:lnTo>
                  <a:lnTo>
                    <a:pt x="84" y="218"/>
                  </a:lnTo>
                  <a:lnTo>
                    <a:pt x="92" y="215"/>
                  </a:lnTo>
                  <a:lnTo>
                    <a:pt x="95" y="215"/>
                  </a:lnTo>
                  <a:lnTo>
                    <a:pt x="100" y="209"/>
                  </a:lnTo>
                  <a:lnTo>
                    <a:pt x="106" y="207"/>
                  </a:lnTo>
                  <a:lnTo>
                    <a:pt x="112" y="196"/>
                  </a:lnTo>
                  <a:lnTo>
                    <a:pt x="116" y="199"/>
                  </a:lnTo>
                  <a:lnTo>
                    <a:pt x="124" y="192"/>
                  </a:lnTo>
                  <a:lnTo>
                    <a:pt x="125" y="192"/>
                  </a:lnTo>
                  <a:lnTo>
                    <a:pt x="135" y="184"/>
                  </a:lnTo>
                  <a:lnTo>
                    <a:pt x="141" y="183"/>
                  </a:lnTo>
                  <a:lnTo>
                    <a:pt x="149" y="183"/>
                  </a:lnTo>
                  <a:lnTo>
                    <a:pt x="154" y="183"/>
                  </a:lnTo>
                  <a:lnTo>
                    <a:pt x="150" y="173"/>
                  </a:lnTo>
                  <a:lnTo>
                    <a:pt x="148" y="165"/>
                  </a:lnTo>
                  <a:lnTo>
                    <a:pt x="146" y="148"/>
                  </a:lnTo>
                  <a:lnTo>
                    <a:pt x="158" y="147"/>
                  </a:lnTo>
                  <a:lnTo>
                    <a:pt x="164" y="144"/>
                  </a:lnTo>
                  <a:lnTo>
                    <a:pt x="161" y="151"/>
                  </a:lnTo>
                  <a:lnTo>
                    <a:pt x="166" y="156"/>
                  </a:lnTo>
                  <a:lnTo>
                    <a:pt x="171" y="162"/>
                  </a:lnTo>
                  <a:lnTo>
                    <a:pt x="174" y="166"/>
                  </a:lnTo>
                  <a:lnTo>
                    <a:pt x="188" y="165"/>
                  </a:lnTo>
                  <a:lnTo>
                    <a:pt x="200" y="150"/>
                  </a:lnTo>
                  <a:lnTo>
                    <a:pt x="209" y="143"/>
                  </a:lnTo>
                  <a:lnTo>
                    <a:pt x="214" y="138"/>
                  </a:lnTo>
                  <a:lnTo>
                    <a:pt x="220" y="132"/>
                  </a:lnTo>
                  <a:lnTo>
                    <a:pt x="226" y="124"/>
                  </a:lnTo>
                  <a:lnTo>
                    <a:pt x="231" y="127"/>
                  </a:lnTo>
                  <a:lnTo>
                    <a:pt x="231" y="122"/>
                  </a:lnTo>
                  <a:lnTo>
                    <a:pt x="234" y="119"/>
                  </a:lnTo>
                  <a:lnTo>
                    <a:pt x="243" y="121"/>
                  </a:lnTo>
                  <a:lnTo>
                    <a:pt x="258" y="134"/>
                  </a:lnTo>
                  <a:lnTo>
                    <a:pt x="255" y="98"/>
                  </a:lnTo>
                  <a:lnTo>
                    <a:pt x="242" y="114"/>
                  </a:lnTo>
                  <a:lnTo>
                    <a:pt x="232" y="113"/>
                  </a:lnTo>
                  <a:lnTo>
                    <a:pt x="229" y="103"/>
                  </a:lnTo>
                  <a:lnTo>
                    <a:pt x="229" y="98"/>
                  </a:lnTo>
                  <a:lnTo>
                    <a:pt x="226" y="95"/>
                  </a:lnTo>
                  <a:lnTo>
                    <a:pt x="234" y="87"/>
                  </a:lnTo>
                  <a:lnTo>
                    <a:pt x="239" y="81"/>
                  </a:lnTo>
                  <a:lnTo>
                    <a:pt x="244" y="79"/>
                  </a:lnTo>
                  <a:lnTo>
                    <a:pt x="248" y="78"/>
                  </a:lnTo>
                  <a:lnTo>
                    <a:pt x="251" y="73"/>
                  </a:lnTo>
                  <a:lnTo>
                    <a:pt x="255" y="72"/>
                  </a:lnTo>
                  <a:lnTo>
                    <a:pt x="260" y="72"/>
                  </a:lnTo>
                  <a:lnTo>
                    <a:pt x="251" y="63"/>
                  </a:lnTo>
                  <a:lnTo>
                    <a:pt x="242" y="65"/>
                  </a:lnTo>
                  <a:lnTo>
                    <a:pt x="236" y="65"/>
                  </a:lnTo>
                  <a:lnTo>
                    <a:pt x="231" y="62"/>
                  </a:lnTo>
                  <a:lnTo>
                    <a:pt x="231" y="68"/>
                  </a:lnTo>
                  <a:lnTo>
                    <a:pt x="226" y="74"/>
                  </a:lnTo>
                  <a:lnTo>
                    <a:pt x="219" y="84"/>
                  </a:lnTo>
                  <a:lnTo>
                    <a:pt x="212" y="88"/>
                  </a:lnTo>
                  <a:lnTo>
                    <a:pt x="207" y="88"/>
                  </a:lnTo>
                  <a:lnTo>
                    <a:pt x="205" y="95"/>
                  </a:lnTo>
                  <a:lnTo>
                    <a:pt x="205" y="98"/>
                  </a:lnTo>
                  <a:lnTo>
                    <a:pt x="201" y="101"/>
                  </a:lnTo>
                  <a:lnTo>
                    <a:pt x="206" y="113"/>
                  </a:lnTo>
                  <a:lnTo>
                    <a:pt x="209" y="119"/>
                  </a:lnTo>
                  <a:lnTo>
                    <a:pt x="203" y="128"/>
                  </a:lnTo>
                  <a:lnTo>
                    <a:pt x="196" y="134"/>
                  </a:lnTo>
                  <a:lnTo>
                    <a:pt x="194" y="143"/>
                  </a:lnTo>
                  <a:lnTo>
                    <a:pt x="190" y="150"/>
                  </a:lnTo>
                  <a:lnTo>
                    <a:pt x="186" y="150"/>
                  </a:lnTo>
                  <a:lnTo>
                    <a:pt x="180" y="151"/>
                  </a:lnTo>
                  <a:lnTo>
                    <a:pt x="174" y="154"/>
                  </a:lnTo>
                  <a:lnTo>
                    <a:pt x="172" y="153"/>
                  </a:lnTo>
                  <a:lnTo>
                    <a:pt x="172" y="148"/>
                  </a:lnTo>
                  <a:lnTo>
                    <a:pt x="171" y="140"/>
                  </a:lnTo>
                  <a:lnTo>
                    <a:pt x="166" y="140"/>
                  </a:lnTo>
                  <a:lnTo>
                    <a:pt x="163" y="135"/>
                  </a:lnTo>
                  <a:lnTo>
                    <a:pt x="164" y="128"/>
                  </a:lnTo>
                  <a:lnTo>
                    <a:pt x="165" y="124"/>
                  </a:lnTo>
                  <a:lnTo>
                    <a:pt x="164" y="122"/>
                  </a:lnTo>
                  <a:lnTo>
                    <a:pt x="160" y="124"/>
                  </a:lnTo>
                  <a:lnTo>
                    <a:pt x="158" y="124"/>
                  </a:lnTo>
                  <a:lnTo>
                    <a:pt x="155" y="123"/>
                  </a:lnTo>
                  <a:lnTo>
                    <a:pt x="153" y="122"/>
                  </a:lnTo>
                  <a:lnTo>
                    <a:pt x="148" y="126"/>
                  </a:lnTo>
                  <a:lnTo>
                    <a:pt x="143" y="131"/>
                  </a:lnTo>
                  <a:lnTo>
                    <a:pt x="138" y="136"/>
                  </a:lnTo>
                  <a:lnTo>
                    <a:pt x="127" y="135"/>
                  </a:lnTo>
                  <a:lnTo>
                    <a:pt x="120" y="134"/>
                  </a:lnTo>
                  <a:lnTo>
                    <a:pt x="115" y="129"/>
                  </a:lnTo>
                  <a:lnTo>
                    <a:pt x="115" y="126"/>
                  </a:lnTo>
                  <a:lnTo>
                    <a:pt x="118" y="122"/>
                  </a:lnTo>
                  <a:lnTo>
                    <a:pt x="122" y="119"/>
                  </a:lnTo>
                  <a:lnTo>
                    <a:pt x="125" y="115"/>
                  </a:lnTo>
                  <a:lnTo>
                    <a:pt x="118" y="117"/>
                  </a:lnTo>
                  <a:lnTo>
                    <a:pt x="115" y="112"/>
                  </a:lnTo>
                  <a:lnTo>
                    <a:pt x="115" y="109"/>
                  </a:lnTo>
                  <a:lnTo>
                    <a:pt x="125" y="108"/>
                  </a:lnTo>
                  <a:lnTo>
                    <a:pt x="134" y="107"/>
                  </a:lnTo>
                  <a:lnTo>
                    <a:pt x="128" y="104"/>
                  </a:lnTo>
                  <a:lnTo>
                    <a:pt x="119" y="105"/>
                  </a:lnTo>
                  <a:lnTo>
                    <a:pt x="119" y="99"/>
                  </a:lnTo>
                  <a:lnTo>
                    <a:pt x="123" y="95"/>
                  </a:lnTo>
                  <a:lnTo>
                    <a:pt x="132" y="91"/>
                  </a:lnTo>
                  <a:lnTo>
                    <a:pt x="135" y="87"/>
                  </a:lnTo>
                  <a:lnTo>
                    <a:pt x="138" y="85"/>
                  </a:lnTo>
                  <a:lnTo>
                    <a:pt x="145" y="84"/>
                  </a:lnTo>
                  <a:lnTo>
                    <a:pt x="151" y="85"/>
                  </a:lnTo>
                  <a:lnTo>
                    <a:pt x="154" y="87"/>
                  </a:lnTo>
                  <a:lnTo>
                    <a:pt x="159" y="84"/>
                  </a:lnTo>
                  <a:lnTo>
                    <a:pt x="154" y="83"/>
                  </a:lnTo>
                  <a:lnTo>
                    <a:pt x="154" y="75"/>
                  </a:lnTo>
                  <a:lnTo>
                    <a:pt x="167" y="66"/>
                  </a:lnTo>
                  <a:lnTo>
                    <a:pt x="174" y="60"/>
                  </a:lnTo>
                  <a:lnTo>
                    <a:pt x="178" y="59"/>
                  </a:lnTo>
                  <a:lnTo>
                    <a:pt x="177" y="56"/>
                  </a:lnTo>
                  <a:lnTo>
                    <a:pt x="183" y="49"/>
                  </a:lnTo>
                  <a:lnTo>
                    <a:pt x="190" y="40"/>
                  </a:lnTo>
                  <a:lnTo>
                    <a:pt x="198" y="36"/>
                  </a:lnTo>
                  <a:lnTo>
                    <a:pt x="192" y="32"/>
                  </a:lnTo>
                  <a:lnTo>
                    <a:pt x="208" y="23"/>
                  </a:lnTo>
                  <a:lnTo>
                    <a:pt x="215" y="24"/>
                  </a:lnTo>
                  <a:lnTo>
                    <a:pt x="214" y="19"/>
                  </a:lnTo>
                  <a:lnTo>
                    <a:pt x="228" y="18"/>
                  </a:lnTo>
                  <a:lnTo>
                    <a:pt x="254" y="2"/>
                  </a:lnTo>
                  <a:lnTo>
                    <a:pt x="258" y="0"/>
                  </a:lnTo>
                  <a:lnTo>
                    <a:pt x="253" y="12"/>
                  </a:lnTo>
                  <a:lnTo>
                    <a:pt x="259" y="6"/>
                  </a:lnTo>
                  <a:lnTo>
                    <a:pt x="266" y="4"/>
                  </a:lnTo>
                  <a:lnTo>
                    <a:pt x="265" y="9"/>
                  </a:lnTo>
                  <a:lnTo>
                    <a:pt x="285" y="3"/>
                  </a:lnTo>
                  <a:lnTo>
                    <a:pt x="295" y="8"/>
                  </a:lnTo>
                  <a:lnTo>
                    <a:pt x="281" y="13"/>
                  </a:lnTo>
                  <a:lnTo>
                    <a:pt x="286" y="19"/>
                  </a:lnTo>
                  <a:lnTo>
                    <a:pt x="306" y="18"/>
                  </a:lnTo>
                  <a:lnTo>
                    <a:pt x="335" y="27"/>
                  </a:lnTo>
                  <a:lnTo>
                    <a:pt x="333" y="37"/>
                  </a:lnTo>
                  <a:lnTo>
                    <a:pt x="321" y="46"/>
                  </a:lnTo>
                  <a:lnTo>
                    <a:pt x="303" y="51"/>
                  </a:lnTo>
                  <a:lnTo>
                    <a:pt x="300" y="62"/>
                  </a:lnTo>
                  <a:lnTo>
                    <a:pt x="301" y="72"/>
                  </a:lnTo>
                  <a:lnTo>
                    <a:pt x="306" y="74"/>
                  </a:lnTo>
                  <a:lnTo>
                    <a:pt x="307" y="79"/>
                  </a:lnTo>
                  <a:lnTo>
                    <a:pt x="309" y="81"/>
                  </a:lnTo>
                  <a:lnTo>
                    <a:pt x="313" y="83"/>
                  </a:lnTo>
                  <a:lnTo>
                    <a:pt x="314" y="89"/>
                  </a:lnTo>
                  <a:lnTo>
                    <a:pt x="320" y="96"/>
                  </a:lnTo>
                  <a:lnTo>
                    <a:pt x="320" y="99"/>
                  </a:lnTo>
                  <a:lnTo>
                    <a:pt x="326" y="99"/>
                  </a:lnTo>
                  <a:lnTo>
                    <a:pt x="328" y="101"/>
                  </a:lnTo>
                  <a:lnTo>
                    <a:pt x="333" y="103"/>
                  </a:lnTo>
                  <a:lnTo>
                    <a:pt x="336" y="100"/>
                  </a:lnTo>
                  <a:lnTo>
                    <a:pt x="339" y="95"/>
                  </a:lnTo>
                  <a:lnTo>
                    <a:pt x="341" y="92"/>
                  </a:lnTo>
                  <a:lnTo>
                    <a:pt x="346" y="94"/>
                  </a:lnTo>
                  <a:lnTo>
                    <a:pt x="352" y="87"/>
                  </a:lnTo>
                  <a:lnTo>
                    <a:pt x="352" y="82"/>
                  </a:lnTo>
                  <a:lnTo>
                    <a:pt x="354" y="78"/>
                  </a:lnTo>
                  <a:lnTo>
                    <a:pt x="355" y="75"/>
                  </a:lnTo>
                  <a:lnTo>
                    <a:pt x="367" y="72"/>
                  </a:lnTo>
                  <a:lnTo>
                    <a:pt x="377" y="69"/>
                  </a:lnTo>
                  <a:lnTo>
                    <a:pt x="390" y="65"/>
                  </a:lnTo>
                  <a:lnTo>
                    <a:pt x="405" y="68"/>
                  </a:lnTo>
                  <a:lnTo>
                    <a:pt x="420" y="68"/>
                  </a:lnTo>
                  <a:lnTo>
                    <a:pt x="445" y="68"/>
                  </a:lnTo>
                  <a:lnTo>
                    <a:pt x="449" y="43"/>
                  </a:lnTo>
                  <a:lnTo>
                    <a:pt x="463" y="44"/>
                  </a:lnTo>
                  <a:lnTo>
                    <a:pt x="473" y="63"/>
                  </a:lnTo>
                  <a:lnTo>
                    <a:pt x="475" y="47"/>
                  </a:lnTo>
                  <a:lnTo>
                    <a:pt x="521" y="3"/>
                  </a:lnTo>
                  <a:lnTo>
                    <a:pt x="539" y="3"/>
                  </a:lnTo>
                  <a:lnTo>
                    <a:pt x="555" y="12"/>
                  </a:lnTo>
                  <a:lnTo>
                    <a:pt x="576" y="11"/>
                  </a:lnTo>
                  <a:lnTo>
                    <a:pt x="604" y="27"/>
                  </a:lnTo>
                  <a:lnTo>
                    <a:pt x="636" y="36"/>
                  </a:lnTo>
                  <a:lnTo>
                    <a:pt x="659" y="34"/>
                  </a:lnTo>
                  <a:lnTo>
                    <a:pt x="689" y="44"/>
                  </a:lnTo>
                  <a:lnTo>
                    <a:pt x="714" y="44"/>
                  </a:lnTo>
                  <a:lnTo>
                    <a:pt x="726" y="37"/>
                  </a:lnTo>
                  <a:lnTo>
                    <a:pt x="754" y="37"/>
                  </a:lnTo>
                  <a:lnTo>
                    <a:pt x="769" y="45"/>
                  </a:lnTo>
                  <a:lnTo>
                    <a:pt x="807" y="45"/>
                  </a:lnTo>
                  <a:lnTo>
                    <a:pt x="839" y="59"/>
                  </a:lnTo>
                  <a:lnTo>
                    <a:pt x="898" y="57"/>
                  </a:lnTo>
                  <a:lnTo>
                    <a:pt x="991" y="63"/>
                  </a:lnTo>
                  <a:lnTo>
                    <a:pt x="1036" y="82"/>
                  </a:lnTo>
                  <a:lnTo>
                    <a:pt x="1074" y="94"/>
                  </a:lnTo>
                  <a:lnTo>
                    <a:pt x="1098" y="104"/>
                  </a:lnTo>
                  <a:lnTo>
                    <a:pt x="1091" y="107"/>
                  </a:lnTo>
                  <a:lnTo>
                    <a:pt x="1074" y="99"/>
                  </a:lnTo>
                  <a:lnTo>
                    <a:pt x="1035" y="96"/>
                  </a:lnTo>
                  <a:lnTo>
                    <a:pt x="1046" y="104"/>
                  </a:lnTo>
                  <a:lnTo>
                    <a:pt x="1063" y="108"/>
                  </a:lnTo>
                  <a:lnTo>
                    <a:pt x="1058" y="121"/>
                  </a:lnTo>
                  <a:lnTo>
                    <a:pt x="1040" y="129"/>
                  </a:lnTo>
                  <a:lnTo>
                    <a:pt x="1034" y="142"/>
                  </a:lnTo>
                  <a:lnTo>
                    <a:pt x="1058" y="154"/>
                  </a:lnTo>
                  <a:lnTo>
                    <a:pt x="1075" y="170"/>
                  </a:lnTo>
                  <a:lnTo>
                    <a:pt x="1084" y="193"/>
                  </a:lnTo>
                  <a:lnTo>
                    <a:pt x="1073" y="195"/>
                  </a:lnTo>
                  <a:lnTo>
                    <a:pt x="1049" y="188"/>
                  </a:lnTo>
                  <a:lnTo>
                    <a:pt x="1024" y="171"/>
                  </a:lnTo>
                  <a:lnTo>
                    <a:pt x="1014" y="162"/>
                  </a:lnTo>
                  <a:lnTo>
                    <a:pt x="1008" y="150"/>
                  </a:lnTo>
                  <a:lnTo>
                    <a:pt x="1002" y="132"/>
                  </a:lnTo>
                  <a:lnTo>
                    <a:pt x="992" y="126"/>
                  </a:lnTo>
                  <a:lnTo>
                    <a:pt x="983" y="125"/>
                  </a:lnTo>
                  <a:lnTo>
                    <a:pt x="975" y="127"/>
                  </a:lnTo>
                  <a:lnTo>
                    <a:pt x="984" y="141"/>
                  </a:lnTo>
                  <a:lnTo>
                    <a:pt x="960" y="143"/>
                  </a:lnTo>
                  <a:lnTo>
                    <a:pt x="949" y="136"/>
                  </a:lnTo>
                  <a:lnTo>
                    <a:pt x="928" y="140"/>
                  </a:lnTo>
                  <a:lnTo>
                    <a:pt x="912" y="151"/>
                  </a:lnTo>
                  <a:lnTo>
                    <a:pt x="912" y="157"/>
                  </a:lnTo>
                  <a:lnTo>
                    <a:pt x="918" y="167"/>
                  </a:lnTo>
                  <a:lnTo>
                    <a:pt x="943" y="170"/>
                  </a:lnTo>
                  <a:lnTo>
                    <a:pt x="963" y="182"/>
                  </a:lnTo>
                  <a:lnTo>
                    <a:pt x="997" y="215"/>
                  </a:lnTo>
                  <a:lnTo>
                    <a:pt x="1011" y="237"/>
                  </a:lnTo>
                  <a:lnTo>
                    <a:pt x="1026" y="263"/>
                  </a:lnTo>
                  <a:lnTo>
                    <a:pt x="1023" y="263"/>
                  </a:ln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90" name="Freeform 90"/>
            <p:cNvSpPr>
              <a:spLocks/>
            </p:cNvSpPr>
            <p:nvPr/>
          </p:nvSpPr>
          <p:spPr bwMode="auto">
            <a:xfrm>
              <a:off x="5537201" y="2220913"/>
              <a:ext cx="3227388" cy="1895475"/>
            </a:xfrm>
            <a:custGeom>
              <a:avLst/>
              <a:gdLst>
                <a:gd name="T0" fmla="*/ 999 w 1098"/>
                <a:gd name="T1" fmla="*/ 291 h 645"/>
                <a:gd name="T2" fmla="*/ 967 w 1098"/>
                <a:gd name="T3" fmla="*/ 355 h 645"/>
                <a:gd name="T4" fmla="*/ 1017 w 1098"/>
                <a:gd name="T5" fmla="*/ 464 h 645"/>
                <a:gd name="T6" fmla="*/ 991 w 1098"/>
                <a:gd name="T7" fmla="*/ 529 h 645"/>
                <a:gd name="T8" fmla="*/ 935 w 1098"/>
                <a:gd name="T9" fmla="*/ 556 h 645"/>
                <a:gd name="T10" fmla="*/ 943 w 1098"/>
                <a:gd name="T11" fmla="*/ 619 h 645"/>
                <a:gd name="T12" fmla="*/ 921 w 1098"/>
                <a:gd name="T13" fmla="*/ 590 h 645"/>
                <a:gd name="T14" fmla="*/ 850 w 1098"/>
                <a:gd name="T15" fmla="*/ 499 h 645"/>
                <a:gd name="T16" fmla="*/ 747 w 1098"/>
                <a:gd name="T17" fmla="*/ 526 h 645"/>
                <a:gd name="T18" fmla="*/ 687 w 1098"/>
                <a:gd name="T19" fmla="*/ 540 h 645"/>
                <a:gd name="T20" fmla="*/ 561 w 1098"/>
                <a:gd name="T21" fmla="*/ 442 h 645"/>
                <a:gd name="T22" fmla="*/ 441 w 1098"/>
                <a:gd name="T23" fmla="*/ 421 h 645"/>
                <a:gd name="T24" fmla="*/ 543 w 1098"/>
                <a:gd name="T25" fmla="*/ 480 h 645"/>
                <a:gd name="T26" fmla="*/ 405 w 1098"/>
                <a:gd name="T27" fmla="*/ 531 h 645"/>
                <a:gd name="T28" fmla="*/ 363 w 1098"/>
                <a:gd name="T29" fmla="*/ 468 h 645"/>
                <a:gd name="T30" fmla="*/ 305 w 1098"/>
                <a:gd name="T31" fmla="*/ 386 h 645"/>
                <a:gd name="T32" fmla="*/ 274 w 1098"/>
                <a:gd name="T33" fmla="*/ 342 h 645"/>
                <a:gd name="T34" fmla="*/ 259 w 1098"/>
                <a:gd name="T35" fmla="*/ 315 h 645"/>
                <a:gd name="T36" fmla="*/ 239 w 1098"/>
                <a:gd name="T37" fmla="*/ 299 h 645"/>
                <a:gd name="T38" fmla="*/ 229 w 1098"/>
                <a:gd name="T39" fmla="*/ 333 h 645"/>
                <a:gd name="T40" fmla="*/ 196 w 1098"/>
                <a:gd name="T41" fmla="*/ 278 h 645"/>
                <a:gd name="T42" fmla="*/ 167 w 1098"/>
                <a:gd name="T43" fmla="*/ 271 h 645"/>
                <a:gd name="T44" fmla="*/ 200 w 1098"/>
                <a:gd name="T45" fmla="*/ 314 h 645"/>
                <a:gd name="T46" fmla="*/ 190 w 1098"/>
                <a:gd name="T47" fmla="*/ 311 h 645"/>
                <a:gd name="T48" fmla="*/ 158 w 1098"/>
                <a:gd name="T49" fmla="*/ 286 h 645"/>
                <a:gd name="T50" fmla="*/ 123 w 1098"/>
                <a:gd name="T51" fmla="*/ 270 h 645"/>
                <a:gd name="T52" fmla="*/ 85 w 1098"/>
                <a:gd name="T53" fmla="*/ 297 h 645"/>
                <a:gd name="T54" fmla="*/ 78 w 1098"/>
                <a:gd name="T55" fmla="*/ 326 h 645"/>
                <a:gd name="T56" fmla="*/ 45 w 1098"/>
                <a:gd name="T57" fmla="*/ 342 h 645"/>
                <a:gd name="T58" fmla="*/ 4 w 1098"/>
                <a:gd name="T59" fmla="*/ 321 h 645"/>
                <a:gd name="T60" fmla="*/ 45 w 1098"/>
                <a:gd name="T61" fmla="*/ 275 h 645"/>
                <a:gd name="T62" fmla="*/ 57 w 1098"/>
                <a:gd name="T63" fmla="*/ 224 h 645"/>
                <a:gd name="T64" fmla="*/ 100 w 1098"/>
                <a:gd name="T65" fmla="*/ 209 h 645"/>
                <a:gd name="T66" fmla="*/ 141 w 1098"/>
                <a:gd name="T67" fmla="*/ 183 h 645"/>
                <a:gd name="T68" fmla="*/ 164 w 1098"/>
                <a:gd name="T69" fmla="*/ 144 h 645"/>
                <a:gd name="T70" fmla="*/ 209 w 1098"/>
                <a:gd name="T71" fmla="*/ 143 h 645"/>
                <a:gd name="T72" fmla="*/ 243 w 1098"/>
                <a:gd name="T73" fmla="*/ 121 h 645"/>
                <a:gd name="T74" fmla="*/ 226 w 1098"/>
                <a:gd name="T75" fmla="*/ 95 h 645"/>
                <a:gd name="T76" fmla="*/ 260 w 1098"/>
                <a:gd name="T77" fmla="*/ 72 h 645"/>
                <a:gd name="T78" fmla="*/ 219 w 1098"/>
                <a:gd name="T79" fmla="*/ 84 h 645"/>
                <a:gd name="T80" fmla="*/ 209 w 1098"/>
                <a:gd name="T81" fmla="*/ 119 h 645"/>
                <a:gd name="T82" fmla="*/ 174 w 1098"/>
                <a:gd name="T83" fmla="*/ 154 h 645"/>
                <a:gd name="T84" fmla="*/ 165 w 1098"/>
                <a:gd name="T85" fmla="*/ 124 h 645"/>
                <a:gd name="T86" fmla="*/ 143 w 1098"/>
                <a:gd name="T87" fmla="*/ 131 h 645"/>
                <a:gd name="T88" fmla="*/ 122 w 1098"/>
                <a:gd name="T89" fmla="*/ 119 h 645"/>
                <a:gd name="T90" fmla="*/ 128 w 1098"/>
                <a:gd name="T91" fmla="*/ 104 h 645"/>
                <a:gd name="T92" fmla="*/ 145 w 1098"/>
                <a:gd name="T93" fmla="*/ 84 h 645"/>
                <a:gd name="T94" fmla="*/ 174 w 1098"/>
                <a:gd name="T95" fmla="*/ 60 h 645"/>
                <a:gd name="T96" fmla="*/ 208 w 1098"/>
                <a:gd name="T97" fmla="*/ 23 h 645"/>
                <a:gd name="T98" fmla="*/ 259 w 1098"/>
                <a:gd name="T99" fmla="*/ 6 h 645"/>
                <a:gd name="T100" fmla="*/ 306 w 1098"/>
                <a:gd name="T101" fmla="*/ 18 h 645"/>
                <a:gd name="T102" fmla="*/ 306 w 1098"/>
                <a:gd name="T103" fmla="*/ 74 h 645"/>
                <a:gd name="T104" fmla="*/ 326 w 1098"/>
                <a:gd name="T105" fmla="*/ 99 h 645"/>
                <a:gd name="T106" fmla="*/ 352 w 1098"/>
                <a:gd name="T107" fmla="*/ 87 h 645"/>
                <a:gd name="T108" fmla="*/ 405 w 1098"/>
                <a:gd name="T109" fmla="*/ 68 h 645"/>
                <a:gd name="T110" fmla="*/ 521 w 1098"/>
                <a:gd name="T111" fmla="*/ 3 h 645"/>
                <a:gd name="T112" fmla="*/ 689 w 1098"/>
                <a:gd name="T113" fmla="*/ 44 h 645"/>
                <a:gd name="T114" fmla="*/ 898 w 1098"/>
                <a:gd name="T115" fmla="*/ 57 h 645"/>
                <a:gd name="T116" fmla="*/ 1035 w 1098"/>
                <a:gd name="T117" fmla="*/ 96 h 645"/>
                <a:gd name="T118" fmla="*/ 1075 w 1098"/>
                <a:gd name="T119" fmla="*/ 170 h 645"/>
                <a:gd name="T120" fmla="*/ 1002 w 1098"/>
                <a:gd name="T121" fmla="*/ 132 h 645"/>
                <a:gd name="T122" fmla="*/ 928 w 1098"/>
                <a:gd name="T123" fmla="*/ 140 h 645"/>
                <a:gd name="T124" fmla="*/ 1011 w 1098"/>
                <a:gd name="T125" fmla="*/ 237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98" h="645">
                  <a:moveTo>
                    <a:pt x="1023" y="263"/>
                  </a:moveTo>
                  <a:lnTo>
                    <a:pt x="1013" y="281"/>
                  </a:lnTo>
                  <a:lnTo>
                    <a:pt x="1038" y="299"/>
                  </a:lnTo>
                  <a:lnTo>
                    <a:pt x="1047" y="317"/>
                  </a:lnTo>
                  <a:lnTo>
                    <a:pt x="1025" y="327"/>
                  </a:lnTo>
                  <a:lnTo>
                    <a:pt x="1019" y="309"/>
                  </a:lnTo>
                  <a:lnTo>
                    <a:pt x="999" y="291"/>
                  </a:lnTo>
                  <a:lnTo>
                    <a:pt x="993" y="272"/>
                  </a:lnTo>
                  <a:lnTo>
                    <a:pt x="980" y="281"/>
                  </a:lnTo>
                  <a:lnTo>
                    <a:pt x="967" y="289"/>
                  </a:lnTo>
                  <a:lnTo>
                    <a:pt x="965" y="304"/>
                  </a:lnTo>
                  <a:lnTo>
                    <a:pt x="979" y="320"/>
                  </a:lnTo>
                  <a:lnTo>
                    <a:pt x="970" y="333"/>
                  </a:lnTo>
                  <a:lnTo>
                    <a:pt x="967" y="355"/>
                  </a:lnTo>
                  <a:lnTo>
                    <a:pt x="984" y="369"/>
                  </a:lnTo>
                  <a:lnTo>
                    <a:pt x="1003" y="373"/>
                  </a:lnTo>
                  <a:lnTo>
                    <a:pt x="1023" y="388"/>
                  </a:lnTo>
                  <a:lnTo>
                    <a:pt x="1040" y="408"/>
                  </a:lnTo>
                  <a:lnTo>
                    <a:pt x="1041" y="438"/>
                  </a:lnTo>
                  <a:lnTo>
                    <a:pt x="1035" y="452"/>
                  </a:lnTo>
                  <a:lnTo>
                    <a:pt x="1017" y="464"/>
                  </a:lnTo>
                  <a:lnTo>
                    <a:pt x="995" y="470"/>
                  </a:lnTo>
                  <a:lnTo>
                    <a:pt x="981" y="479"/>
                  </a:lnTo>
                  <a:lnTo>
                    <a:pt x="973" y="474"/>
                  </a:lnTo>
                  <a:lnTo>
                    <a:pt x="966" y="479"/>
                  </a:lnTo>
                  <a:lnTo>
                    <a:pt x="964" y="501"/>
                  </a:lnTo>
                  <a:lnTo>
                    <a:pt x="969" y="514"/>
                  </a:lnTo>
                  <a:lnTo>
                    <a:pt x="991" y="529"/>
                  </a:lnTo>
                  <a:lnTo>
                    <a:pt x="1000" y="544"/>
                  </a:lnTo>
                  <a:lnTo>
                    <a:pt x="1007" y="553"/>
                  </a:lnTo>
                  <a:lnTo>
                    <a:pt x="1005" y="569"/>
                  </a:lnTo>
                  <a:lnTo>
                    <a:pt x="991" y="582"/>
                  </a:lnTo>
                  <a:lnTo>
                    <a:pt x="976" y="582"/>
                  </a:lnTo>
                  <a:lnTo>
                    <a:pt x="952" y="563"/>
                  </a:lnTo>
                  <a:lnTo>
                    <a:pt x="935" y="556"/>
                  </a:lnTo>
                  <a:lnTo>
                    <a:pt x="928" y="552"/>
                  </a:lnTo>
                  <a:lnTo>
                    <a:pt x="921" y="562"/>
                  </a:lnTo>
                  <a:lnTo>
                    <a:pt x="923" y="576"/>
                  </a:lnTo>
                  <a:lnTo>
                    <a:pt x="929" y="587"/>
                  </a:lnTo>
                  <a:lnTo>
                    <a:pt x="933" y="604"/>
                  </a:lnTo>
                  <a:lnTo>
                    <a:pt x="948" y="610"/>
                  </a:lnTo>
                  <a:lnTo>
                    <a:pt x="943" y="619"/>
                  </a:lnTo>
                  <a:lnTo>
                    <a:pt x="944" y="632"/>
                  </a:lnTo>
                  <a:lnTo>
                    <a:pt x="949" y="645"/>
                  </a:lnTo>
                  <a:lnTo>
                    <a:pt x="939" y="644"/>
                  </a:lnTo>
                  <a:lnTo>
                    <a:pt x="928" y="629"/>
                  </a:lnTo>
                  <a:lnTo>
                    <a:pt x="929" y="613"/>
                  </a:lnTo>
                  <a:lnTo>
                    <a:pt x="925" y="608"/>
                  </a:lnTo>
                  <a:lnTo>
                    <a:pt x="921" y="590"/>
                  </a:lnTo>
                  <a:lnTo>
                    <a:pt x="916" y="585"/>
                  </a:lnTo>
                  <a:lnTo>
                    <a:pt x="914" y="560"/>
                  </a:lnTo>
                  <a:lnTo>
                    <a:pt x="907" y="544"/>
                  </a:lnTo>
                  <a:lnTo>
                    <a:pt x="895" y="530"/>
                  </a:lnTo>
                  <a:lnTo>
                    <a:pt x="873" y="522"/>
                  </a:lnTo>
                  <a:lnTo>
                    <a:pt x="857" y="509"/>
                  </a:lnTo>
                  <a:lnTo>
                    <a:pt x="850" y="499"/>
                  </a:lnTo>
                  <a:lnTo>
                    <a:pt x="839" y="488"/>
                  </a:lnTo>
                  <a:lnTo>
                    <a:pt x="822" y="463"/>
                  </a:lnTo>
                  <a:lnTo>
                    <a:pt x="807" y="465"/>
                  </a:lnTo>
                  <a:lnTo>
                    <a:pt x="787" y="477"/>
                  </a:lnTo>
                  <a:lnTo>
                    <a:pt x="778" y="487"/>
                  </a:lnTo>
                  <a:lnTo>
                    <a:pt x="760" y="506"/>
                  </a:lnTo>
                  <a:lnTo>
                    <a:pt x="747" y="526"/>
                  </a:lnTo>
                  <a:lnTo>
                    <a:pt x="742" y="533"/>
                  </a:lnTo>
                  <a:lnTo>
                    <a:pt x="747" y="557"/>
                  </a:lnTo>
                  <a:lnTo>
                    <a:pt x="746" y="580"/>
                  </a:lnTo>
                  <a:lnTo>
                    <a:pt x="730" y="596"/>
                  </a:lnTo>
                  <a:lnTo>
                    <a:pt x="721" y="597"/>
                  </a:lnTo>
                  <a:lnTo>
                    <a:pt x="702" y="564"/>
                  </a:lnTo>
                  <a:lnTo>
                    <a:pt x="687" y="540"/>
                  </a:lnTo>
                  <a:lnTo>
                    <a:pt x="657" y="496"/>
                  </a:lnTo>
                  <a:lnTo>
                    <a:pt x="656" y="479"/>
                  </a:lnTo>
                  <a:lnTo>
                    <a:pt x="649" y="471"/>
                  </a:lnTo>
                  <a:lnTo>
                    <a:pt x="644" y="482"/>
                  </a:lnTo>
                  <a:lnTo>
                    <a:pt x="618" y="457"/>
                  </a:lnTo>
                  <a:lnTo>
                    <a:pt x="583" y="438"/>
                  </a:lnTo>
                  <a:lnTo>
                    <a:pt x="561" y="442"/>
                  </a:lnTo>
                  <a:lnTo>
                    <a:pt x="529" y="440"/>
                  </a:lnTo>
                  <a:lnTo>
                    <a:pt x="514" y="426"/>
                  </a:lnTo>
                  <a:lnTo>
                    <a:pt x="497" y="428"/>
                  </a:lnTo>
                  <a:lnTo>
                    <a:pt x="473" y="422"/>
                  </a:lnTo>
                  <a:lnTo>
                    <a:pt x="423" y="375"/>
                  </a:lnTo>
                  <a:lnTo>
                    <a:pt x="426" y="394"/>
                  </a:lnTo>
                  <a:lnTo>
                    <a:pt x="441" y="421"/>
                  </a:lnTo>
                  <a:lnTo>
                    <a:pt x="458" y="440"/>
                  </a:lnTo>
                  <a:lnTo>
                    <a:pt x="476" y="450"/>
                  </a:lnTo>
                  <a:lnTo>
                    <a:pt x="496" y="442"/>
                  </a:lnTo>
                  <a:lnTo>
                    <a:pt x="512" y="442"/>
                  </a:lnTo>
                  <a:lnTo>
                    <a:pt x="533" y="459"/>
                  </a:lnTo>
                  <a:lnTo>
                    <a:pt x="545" y="472"/>
                  </a:lnTo>
                  <a:lnTo>
                    <a:pt x="543" y="480"/>
                  </a:lnTo>
                  <a:lnTo>
                    <a:pt x="507" y="517"/>
                  </a:lnTo>
                  <a:lnTo>
                    <a:pt x="483" y="531"/>
                  </a:lnTo>
                  <a:lnTo>
                    <a:pt x="433" y="550"/>
                  </a:lnTo>
                  <a:lnTo>
                    <a:pt x="418" y="556"/>
                  </a:lnTo>
                  <a:lnTo>
                    <a:pt x="409" y="550"/>
                  </a:lnTo>
                  <a:lnTo>
                    <a:pt x="406" y="542"/>
                  </a:lnTo>
                  <a:lnTo>
                    <a:pt x="405" y="531"/>
                  </a:lnTo>
                  <a:lnTo>
                    <a:pt x="401" y="520"/>
                  </a:lnTo>
                  <a:lnTo>
                    <a:pt x="394" y="511"/>
                  </a:lnTo>
                  <a:lnTo>
                    <a:pt x="388" y="503"/>
                  </a:lnTo>
                  <a:lnTo>
                    <a:pt x="379" y="492"/>
                  </a:lnTo>
                  <a:lnTo>
                    <a:pt x="374" y="485"/>
                  </a:lnTo>
                  <a:lnTo>
                    <a:pt x="370" y="476"/>
                  </a:lnTo>
                  <a:lnTo>
                    <a:pt x="363" y="468"/>
                  </a:lnTo>
                  <a:lnTo>
                    <a:pt x="352" y="448"/>
                  </a:lnTo>
                  <a:lnTo>
                    <a:pt x="346" y="440"/>
                  </a:lnTo>
                  <a:lnTo>
                    <a:pt x="338" y="429"/>
                  </a:lnTo>
                  <a:lnTo>
                    <a:pt x="325" y="414"/>
                  </a:lnTo>
                  <a:lnTo>
                    <a:pt x="318" y="405"/>
                  </a:lnTo>
                  <a:lnTo>
                    <a:pt x="312" y="399"/>
                  </a:lnTo>
                  <a:lnTo>
                    <a:pt x="305" y="386"/>
                  </a:lnTo>
                  <a:lnTo>
                    <a:pt x="326" y="374"/>
                  </a:lnTo>
                  <a:lnTo>
                    <a:pt x="335" y="348"/>
                  </a:lnTo>
                  <a:lnTo>
                    <a:pt x="315" y="341"/>
                  </a:lnTo>
                  <a:lnTo>
                    <a:pt x="287" y="345"/>
                  </a:lnTo>
                  <a:lnTo>
                    <a:pt x="281" y="342"/>
                  </a:lnTo>
                  <a:lnTo>
                    <a:pt x="278" y="342"/>
                  </a:lnTo>
                  <a:lnTo>
                    <a:pt x="274" y="342"/>
                  </a:lnTo>
                  <a:lnTo>
                    <a:pt x="271" y="342"/>
                  </a:lnTo>
                  <a:lnTo>
                    <a:pt x="270" y="337"/>
                  </a:lnTo>
                  <a:lnTo>
                    <a:pt x="268" y="333"/>
                  </a:lnTo>
                  <a:lnTo>
                    <a:pt x="268" y="325"/>
                  </a:lnTo>
                  <a:lnTo>
                    <a:pt x="263" y="321"/>
                  </a:lnTo>
                  <a:lnTo>
                    <a:pt x="262" y="316"/>
                  </a:lnTo>
                  <a:lnTo>
                    <a:pt x="259" y="315"/>
                  </a:lnTo>
                  <a:lnTo>
                    <a:pt x="256" y="311"/>
                  </a:lnTo>
                  <a:lnTo>
                    <a:pt x="255" y="307"/>
                  </a:lnTo>
                  <a:lnTo>
                    <a:pt x="253" y="303"/>
                  </a:lnTo>
                  <a:lnTo>
                    <a:pt x="251" y="299"/>
                  </a:lnTo>
                  <a:lnTo>
                    <a:pt x="245" y="299"/>
                  </a:lnTo>
                  <a:lnTo>
                    <a:pt x="241" y="299"/>
                  </a:lnTo>
                  <a:lnTo>
                    <a:pt x="239" y="299"/>
                  </a:lnTo>
                  <a:lnTo>
                    <a:pt x="238" y="306"/>
                  </a:lnTo>
                  <a:lnTo>
                    <a:pt x="238" y="311"/>
                  </a:lnTo>
                  <a:lnTo>
                    <a:pt x="238" y="317"/>
                  </a:lnTo>
                  <a:lnTo>
                    <a:pt x="238" y="323"/>
                  </a:lnTo>
                  <a:lnTo>
                    <a:pt x="238" y="327"/>
                  </a:lnTo>
                  <a:lnTo>
                    <a:pt x="233" y="329"/>
                  </a:lnTo>
                  <a:lnTo>
                    <a:pt x="229" y="333"/>
                  </a:lnTo>
                  <a:lnTo>
                    <a:pt x="223" y="327"/>
                  </a:lnTo>
                  <a:lnTo>
                    <a:pt x="219" y="319"/>
                  </a:lnTo>
                  <a:lnTo>
                    <a:pt x="220" y="310"/>
                  </a:lnTo>
                  <a:lnTo>
                    <a:pt x="214" y="296"/>
                  </a:lnTo>
                  <a:lnTo>
                    <a:pt x="211" y="288"/>
                  </a:lnTo>
                  <a:lnTo>
                    <a:pt x="204" y="283"/>
                  </a:lnTo>
                  <a:lnTo>
                    <a:pt x="196" y="278"/>
                  </a:lnTo>
                  <a:lnTo>
                    <a:pt x="192" y="271"/>
                  </a:lnTo>
                  <a:lnTo>
                    <a:pt x="189" y="266"/>
                  </a:lnTo>
                  <a:lnTo>
                    <a:pt x="182" y="265"/>
                  </a:lnTo>
                  <a:lnTo>
                    <a:pt x="180" y="262"/>
                  </a:lnTo>
                  <a:lnTo>
                    <a:pt x="175" y="262"/>
                  </a:lnTo>
                  <a:lnTo>
                    <a:pt x="171" y="267"/>
                  </a:lnTo>
                  <a:lnTo>
                    <a:pt x="167" y="271"/>
                  </a:lnTo>
                  <a:lnTo>
                    <a:pt x="176" y="276"/>
                  </a:lnTo>
                  <a:lnTo>
                    <a:pt x="181" y="283"/>
                  </a:lnTo>
                  <a:lnTo>
                    <a:pt x="190" y="292"/>
                  </a:lnTo>
                  <a:lnTo>
                    <a:pt x="194" y="296"/>
                  </a:lnTo>
                  <a:lnTo>
                    <a:pt x="201" y="299"/>
                  </a:lnTo>
                  <a:lnTo>
                    <a:pt x="206" y="307"/>
                  </a:lnTo>
                  <a:lnTo>
                    <a:pt x="200" y="314"/>
                  </a:lnTo>
                  <a:lnTo>
                    <a:pt x="199" y="311"/>
                  </a:lnTo>
                  <a:lnTo>
                    <a:pt x="199" y="307"/>
                  </a:lnTo>
                  <a:lnTo>
                    <a:pt x="196" y="316"/>
                  </a:lnTo>
                  <a:lnTo>
                    <a:pt x="195" y="324"/>
                  </a:lnTo>
                  <a:lnTo>
                    <a:pt x="189" y="326"/>
                  </a:lnTo>
                  <a:lnTo>
                    <a:pt x="191" y="316"/>
                  </a:lnTo>
                  <a:lnTo>
                    <a:pt x="190" y="311"/>
                  </a:lnTo>
                  <a:lnTo>
                    <a:pt x="183" y="308"/>
                  </a:lnTo>
                  <a:lnTo>
                    <a:pt x="180" y="306"/>
                  </a:lnTo>
                  <a:lnTo>
                    <a:pt x="177" y="302"/>
                  </a:lnTo>
                  <a:lnTo>
                    <a:pt x="171" y="298"/>
                  </a:lnTo>
                  <a:lnTo>
                    <a:pt x="167" y="295"/>
                  </a:lnTo>
                  <a:lnTo>
                    <a:pt x="163" y="289"/>
                  </a:lnTo>
                  <a:lnTo>
                    <a:pt x="158" y="286"/>
                  </a:lnTo>
                  <a:lnTo>
                    <a:pt x="155" y="280"/>
                  </a:lnTo>
                  <a:lnTo>
                    <a:pt x="154" y="275"/>
                  </a:lnTo>
                  <a:lnTo>
                    <a:pt x="150" y="273"/>
                  </a:lnTo>
                  <a:lnTo>
                    <a:pt x="146" y="270"/>
                  </a:lnTo>
                  <a:lnTo>
                    <a:pt x="138" y="270"/>
                  </a:lnTo>
                  <a:lnTo>
                    <a:pt x="131" y="271"/>
                  </a:lnTo>
                  <a:lnTo>
                    <a:pt x="123" y="270"/>
                  </a:lnTo>
                  <a:lnTo>
                    <a:pt x="109" y="271"/>
                  </a:lnTo>
                  <a:lnTo>
                    <a:pt x="99" y="272"/>
                  </a:lnTo>
                  <a:lnTo>
                    <a:pt x="96" y="274"/>
                  </a:lnTo>
                  <a:lnTo>
                    <a:pt x="95" y="280"/>
                  </a:lnTo>
                  <a:lnTo>
                    <a:pt x="95" y="287"/>
                  </a:lnTo>
                  <a:lnTo>
                    <a:pt x="89" y="294"/>
                  </a:lnTo>
                  <a:lnTo>
                    <a:pt x="85" y="297"/>
                  </a:lnTo>
                  <a:lnTo>
                    <a:pt x="83" y="299"/>
                  </a:lnTo>
                  <a:lnTo>
                    <a:pt x="80" y="306"/>
                  </a:lnTo>
                  <a:lnTo>
                    <a:pt x="78" y="310"/>
                  </a:lnTo>
                  <a:lnTo>
                    <a:pt x="81" y="313"/>
                  </a:lnTo>
                  <a:lnTo>
                    <a:pt x="81" y="319"/>
                  </a:lnTo>
                  <a:lnTo>
                    <a:pt x="80" y="322"/>
                  </a:lnTo>
                  <a:lnTo>
                    <a:pt x="78" y="326"/>
                  </a:lnTo>
                  <a:lnTo>
                    <a:pt x="73" y="333"/>
                  </a:lnTo>
                  <a:lnTo>
                    <a:pt x="70" y="330"/>
                  </a:lnTo>
                  <a:lnTo>
                    <a:pt x="67" y="332"/>
                  </a:lnTo>
                  <a:lnTo>
                    <a:pt x="63" y="335"/>
                  </a:lnTo>
                  <a:lnTo>
                    <a:pt x="57" y="336"/>
                  </a:lnTo>
                  <a:lnTo>
                    <a:pt x="51" y="341"/>
                  </a:lnTo>
                  <a:lnTo>
                    <a:pt x="45" y="342"/>
                  </a:lnTo>
                  <a:lnTo>
                    <a:pt x="39" y="342"/>
                  </a:lnTo>
                  <a:lnTo>
                    <a:pt x="33" y="342"/>
                  </a:lnTo>
                  <a:lnTo>
                    <a:pt x="20" y="345"/>
                  </a:lnTo>
                  <a:lnTo>
                    <a:pt x="14" y="345"/>
                  </a:lnTo>
                  <a:lnTo>
                    <a:pt x="11" y="338"/>
                  </a:lnTo>
                  <a:lnTo>
                    <a:pt x="6" y="329"/>
                  </a:lnTo>
                  <a:lnTo>
                    <a:pt x="4" y="321"/>
                  </a:lnTo>
                  <a:lnTo>
                    <a:pt x="3" y="313"/>
                  </a:lnTo>
                  <a:lnTo>
                    <a:pt x="3" y="303"/>
                  </a:lnTo>
                  <a:lnTo>
                    <a:pt x="0" y="289"/>
                  </a:lnTo>
                  <a:lnTo>
                    <a:pt x="12" y="280"/>
                  </a:lnTo>
                  <a:lnTo>
                    <a:pt x="18" y="273"/>
                  </a:lnTo>
                  <a:lnTo>
                    <a:pt x="31" y="273"/>
                  </a:lnTo>
                  <a:lnTo>
                    <a:pt x="45" y="275"/>
                  </a:lnTo>
                  <a:lnTo>
                    <a:pt x="55" y="271"/>
                  </a:lnTo>
                  <a:lnTo>
                    <a:pt x="66" y="270"/>
                  </a:lnTo>
                  <a:lnTo>
                    <a:pt x="67" y="258"/>
                  </a:lnTo>
                  <a:lnTo>
                    <a:pt x="73" y="250"/>
                  </a:lnTo>
                  <a:lnTo>
                    <a:pt x="58" y="241"/>
                  </a:lnTo>
                  <a:lnTo>
                    <a:pt x="56" y="234"/>
                  </a:lnTo>
                  <a:lnTo>
                    <a:pt x="57" y="224"/>
                  </a:lnTo>
                  <a:lnTo>
                    <a:pt x="68" y="224"/>
                  </a:lnTo>
                  <a:lnTo>
                    <a:pt x="75" y="223"/>
                  </a:lnTo>
                  <a:lnTo>
                    <a:pt x="76" y="224"/>
                  </a:lnTo>
                  <a:lnTo>
                    <a:pt x="84" y="218"/>
                  </a:lnTo>
                  <a:lnTo>
                    <a:pt x="92" y="215"/>
                  </a:lnTo>
                  <a:lnTo>
                    <a:pt x="95" y="215"/>
                  </a:lnTo>
                  <a:lnTo>
                    <a:pt x="100" y="209"/>
                  </a:lnTo>
                  <a:lnTo>
                    <a:pt x="106" y="207"/>
                  </a:lnTo>
                  <a:lnTo>
                    <a:pt x="112" y="196"/>
                  </a:lnTo>
                  <a:lnTo>
                    <a:pt x="116" y="199"/>
                  </a:lnTo>
                  <a:lnTo>
                    <a:pt x="124" y="192"/>
                  </a:lnTo>
                  <a:lnTo>
                    <a:pt x="125" y="192"/>
                  </a:lnTo>
                  <a:lnTo>
                    <a:pt x="135" y="184"/>
                  </a:lnTo>
                  <a:lnTo>
                    <a:pt x="141" y="183"/>
                  </a:lnTo>
                  <a:lnTo>
                    <a:pt x="149" y="183"/>
                  </a:lnTo>
                  <a:lnTo>
                    <a:pt x="154" y="183"/>
                  </a:lnTo>
                  <a:lnTo>
                    <a:pt x="150" y="173"/>
                  </a:lnTo>
                  <a:lnTo>
                    <a:pt x="148" y="165"/>
                  </a:lnTo>
                  <a:lnTo>
                    <a:pt x="146" y="148"/>
                  </a:lnTo>
                  <a:lnTo>
                    <a:pt x="158" y="147"/>
                  </a:lnTo>
                  <a:lnTo>
                    <a:pt x="164" y="144"/>
                  </a:lnTo>
                  <a:lnTo>
                    <a:pt x="161" y="151"/>
                  </a:lnTo>
                  <a:lnTo>
                    <a:pt x="166" y="156"/>
                  </a:lnTo>
                  <a:lnTo>
                    <a:pt x="171" y="162"/>
                  </a:lnTo>
                  <a:lnTo>
                    <a:pt x="174" y="166"/>
                  </a:lnTo>
                  <a:lnTo>
                    <a:pt x="188" y="165"/>
                  </a:lnTo>
                  <a:lnTo>
                    <a:pt x="200" y="150"/>
                  </a:lnTo>
                  <a:lnTo>
                    <a:pt x="209" y="143"/>
                  </a:lnTo>
                  <a:lnTo>
                    <a:pt x="214" y="138"/>
                  </a:lnTo>
                  <a:lnTo>
                    <a:pt x="220" y="132"/>
                  </a:lnTo>
                  <a:lnTo>
                    <a:pt x="226" y="124"/>
                  </a:lnTo>
                  <a:lnTo>
                    <a:pt x="231" y="127"/>
                  </a:lnTo>
                  <a:lnTo>
                    <a:pt x="231" y="122"/>
                  </a:lnTo>
                  <a:lnTo>
                    <a:pt x="234" y="119"/>
                  </a:lnTo>
                  <a:lnTo>
                    <a:pt x="243" y="121"/>
                  </a:lnTo>
                  <a:lnTo>
                    <a:pt x="258" y="134"/>
                  </a:lnTo>
                  <a:lnTo>
                    <a:pt x="255" y="98"/>
                  </a:lnTo>
                  <a:lnTo>
                    <a:pt x="242" y="114"/>
                  </a:lnTo>
                  <a:lnTo>
                    <a:pt x="232" y="113"/>
                  </a:lnTo>
                  <a:lnTo>
                    <a:pt x="229" y="103"/>
                  </a:lnTo>
                  <a:lnTo>
                    <a:pt x="229" y="98"/>
                  </a:lnTo>
                  <a:lnTo>
                    <a:pt x="226" y="95"/>
                  </a:lnTo>
                  <a:lnTo>
                    <a:pt x="234" y="87"/>
                  </a:lnTo>
                  <a:lnTo>
                    <a:pt x="239" y="81"/>
                  </a:lnTo>
                  <a:lnTo>
                    <a:pt x="244" y="79"/>
                  </a:lnTo>
                  <a:lnTo>
                    <a:pt x="248" y="78"/>
                  </a:lnTo>
                  <a:lnTo>
                    <a:pt x="251" y="73"/>
                  </a:lnTo>
                  <a:lnTo>
                    <a:pt x="255" y="72"/>
                  </a:lnTo>
                  <a:lnTo>
                    <a:pt x="260" y="72"/>
                  </a:lnTo>
                  <a:lnTo>
                    <a:pt x="251" y="63"/>
                  </a:lnTo>
                  <a:lnTo>
                    <a:pt x="242" y="65"/>
                  </a:lnTo>
                  <a:lnTo>
                    <a:pt x="236" y="65"/>
                  </a:lnTo>
                  <a:lnTo>
                    <a:pt x="231" y="62"/>
                  </a:lnTo>
                  <a:lnTo>
                    <a:pt x="231" y="68"/>
                  </a:lnTo>
                  <a:lnTo>
                    <a:pt x="226" y="74"/>
                  </a:lnTo>
                  <a:lnTo>
                    <a:pt x="219" y="84"/>
                  </a:lnTo>
                  <a:lnTo>
                    <a:pt x="212" y="88"/>
                  </a:lnTo>
                  <a:lnTo>
                    <a:pt x="207" y="88"/>
                  </a:lnTo>
                  <a:lnTo>
                    <a:pt x="205" y="95"/>
                  </a:lnTo>
                  <a:lnTo>
                    <a:pt x="205" y="98"/>
                  </a:lnTo>
                  <a:lnTo>
                    <a:pt x="201" y="101"/>
                  </a:lnTo>
                  <a:lnTo>
                    <a:pt x="206" y="113"/>
                  </a:lnTo>
                  <a:lnTo>
                    <a:pt x="209" y="119"/>
                  </a:lnTo>
                  <a:lnTo>
                    <a:pt x="203" y="128"/>
                  </a:lnTo>
                  <a:lnTo>
                    <a:pt x="196" y="134"/>
                  </a:lnTo>
                  <a:lnTo>
                    <a:pt x="194" y="143"/>
                  </a:lnTo>
                  <a:lnTo>
                    <a:pt x="190" y="150"/>
                  </a:lnTo>
                  <a:lnTo>
                    <a:pt x="186" y="150"/>
                  </a:lnTo>
                  <a:lnTo>
                    <a:pt x="180" y="151"/>
                  </a:lnTo>
                  <a:lnTo>
                    <a:pt x="174" y="154"/>
                  </a:lnTo>
                  <a:lnTo>
                    <a:pt x="172" y="153"/>
                  </a:lnTo>
                  <a:lnTo>
                    <a:pt x="172" y="148"/>
                  </a:lnTo>
                  <a:lnTo>
                    <a:pt x="171" y="140"/>
                  </a:lnTo>
                  <a:lnTo>
                    <a:pt x="166" y="140"/>
                  </a:lnTo>
                  <a:lnTo>
                    <a:pt x="163" y="135"/>
                  </a:lnTo>
                  <a:lnTo>
                    <a:pt x="164" y="128"/>
                  </a:lnTo>
                  <a:lnTo>
                    <a:pt x="165" y="124"/>
                  </a:lnTo>
                  <a:lnTo>
                    <a:pt x="164" y="122"/>
                  </a:lnTo>
                  <a:lnTo>
                    <a:pt x="160" y="124"/>
                  </a:lnTo>
                  <a:lnTo>
                    <a:pt x="158" y="124"/>
                  </a:lnTo>
                  <a:lnTo>
                    <a:pt x="155" y="123"/>
                  </a:lnTo>
                  <a:lnTo>
                    <a:pt x="153" y="122"/>
                  </a:lnTo>
                  <a:lnTo>
                    <a:pt x="148" y="126"/>
                  </a:lnTo>
                  <a:lnTo>
                    <a:pt x="143" y="131"/>
                  </a:lnTo>
                  <a:lnTo>
                    <a:pt x="138" y="136"/>
                  </a:lnTo>
                  <a:lnTo>
                    <a:pt x="127" y="135"/>
                  </a:lnTo>
                  <a:lnTo>
                    <a:pt x="120" y="134"/>
                  </a:lnTo>
                  <a:lnTo>
                    <a:pt x="115" y="129"/>
                  </a:lnTo>
                  <a:lnTo>
                    <a:pt x="115" y="126"/>
                  </a:lnTo>
                  <a:lnTo>
                    <a:pt x="118" y="122"/>
                  </a:lnTo>
                  <a:lnTo>
                    <a:pt x="122" y="119"/>
                  </a:lnTo>
                  <a:lnTo>
                    <a:pt x="125" y="115"/>
                  </a:lnTo>
                  <a:lnTo>
                    <a:pt x="118" y="117"/>
                  </a:lnTo>
                  <a:lnTo>
                    <a:pt x="115" y="112"/>
                  </a:lnTo>
                  <a:lnTo>
                    <a:pt x="115" y="109"/>
                  </a:lnTo>
                  <a:lnTo>
                    <a:pt x="125" y="108"/>
                  </a:lnTo>
                  <a:lnTo>
                    <a:pt x="134" y="107"/>
                  </a:lnTo>
                  <a:lnTo>
                    <a:pt x="128" y="104"/>
                  </a:lnTo>
                  <a:lnTo>
                    <a:pt x="119" y="105"/>
                  </a:lnTo>
                  <a:lnTo>
                    <a:pt x="119" y="99"/>
                  </a:lnTo>
                  <a:lnTo>
                    <a:pt x="123" y="95"/>
                  </a:lnTo>
                  <a:lnTo>
                    <a:pt x="132" y="91"/>
                  </a:lnTo>
                  <a:lnTo>
                    <a:pt x="135" y="87"/>
                  </a:lnTo>
                  <a:lnTo>
                    <a:pt x="138" y="85"/>
                  </a:lnTo>
                  <a:lnTo>
                    <a:pt x="145" y="84"/>
                  </a:lnTo>
                  <a:lnTo>
                    <a:pt x="151" y="85"/>
                  </a:lnTo>
                  <a:lnTo>
                    <a:pt x="154" y="87"/>
                  </a:lnTo>
                  <a:lnTo>
                    <a:pt x="159" y="84"/>
                  </a:lnTo>
                  <a:lnTo>
                    <a:pt x="154" y="83"/>
                  </a:lnTo>
                  <a:lnTo>
                    <a:pt x="154" y="75"/>
                  </a:lnTo>
                  <a:lnTo>
                    <a:pt x="167" y="66"/>
                  </a:lnTo>
                  <a:lnTo>
                    <a:pt x="174" y="60"/>
                  </a:lnTo>
                  <a:lnTo>
                    <a:pt x="178" y="59"/>
                  </a:lnTo>
                  <a:lnTo>
                    <a:pt x="177" y="56"/>
                  </a:lnTo>
                  <a:lnTo>
                    <a:pt x="183" y="49"/>
                  </a:lnTo>
                  <a:lnTo>
                    <a:pt x="190" y="40"/>
                  </a:lnTo>
                  <a:lnTo>
                    <a:pt x="198" y="36"/>
                  </a:lnTo>
                  <a:lnTo>
                    <a:pt x="192" y="32"/>
                  </a:lnTo>
                  <a:lnTo>
                    <a:pt x="208" y="23"/>
                  </a:lnTo>
                  <a:lnTo>
                    <a:pt x="215" y="24"/>
                  </a:lnTo>
                  <a:lnTo>
                    <a:pt x="214" y="19"/>
                  </a:lnTo>
                  <a:lnTo>
                    <a:pt x="228" y="18"/>
                  </a:lnTo>
                  <a:lnTo>
                    <a:pt x="254" y="2"/>
                  </a:lnTo>
                  <a:lnTo>
                    <a:pt x="258" y="0"/>
                  </a:lnTo>
                  <a:lnTo>
                    <a:pt x="253" y="12"/>
                  </a:lnTo>
                  <a:lnTo>
                    <a:pt x="259" y="6"/>
                  </a:lnTo>
                  <a:lnTo>
                    <a:pt x="266" y="4"/>
                  </a:lnTo>
                  <a:lnTo>
                    <a:pt x="265" y="9"/>
                  </a:lnTo>
                  <a:lnTo>
                    <a:pt x="285" y="3"/>
                  </a:lnTo>
                  <a:lnTo>
                    <a:pt x="295" y="8"/>
                  </a:lnTo>
                  <a:lnTo>
                    <a:pt x="281" y="13"/>
                  </a:lnTo>
                  <a:lnTo>
                    <a:pt x="286" y="19"/>
                  </a:lnTo>
                  <a:lnTo>
                    <a:pt x="306" y="18"/>
                  </a:lnTo>
                  <a:lnTo>
                    <a:pt x="335" y="27"/>
                  </a:lnTo>
                  <a:lnTo>
                    <a:pt x="333" y="37"/>
                  </a:lnTo>
                  <a:lnTo>
                    <a:pt x="321" y="46"/>
                  </a:lnTo>
                  <a:lnTo>
                    <a:pt x="303" y="51"/>
                  </a:lnTo>
                  <a:lnTo>
                    <a:pt x="300" y="62"/>
                  </a:lnTo>
                  <a:lnTo>
                    <a:pt x="301" y="72"/>
                  </a:lnTo>
                  <a:lnTo>
                    <a:pt x="306" y="74"/>
                  </a:lnTo>
                  <a:lnTo>
                    <a:pt x="307" y="79"/>
                  </a:lnTo>
                  <a:lnTo>
                    <a:pt x="309" y="81"/>
                  </a:lnTo>
                  <a:lnTo>
                    <a:pt x="313" y="83"/>
                  </a:lnTo>
                  <a:lnTo>
                    <a:pt x="314" y="89"/>
                  </a:lnTo>
                  <a:lnTo>
                    <a:pt x="320" y="96"/>
                  </a:lnTo>
                  <a:lnTo>
                    <a:pt x="320" y="99"/>
                  </a:lnTo>
                  <a:lnTo>
                    <a:pt x="326" y="99"/>
                  </a:lnTo>
                  <a:lnTo>
                    <a:pt x="328" y="101"/>
                  </a:lnTo>
                  <a:lnTo>
                    <a:pt x="333" y="103"/>
                  </a:lnTo>
                  <a:lnTo>
                    <a:pt x="336" y="100"/>
                  </a:lnTo>
                  <a:lnTo>
                    <a:pt x="339" y="95"/>
                  </a:lnTo>
                  <a:lnTo>
                    <a:pt x="341" y="92"/>
                  </a:lnTo>
                  <a:lnTo>
                    <a:pt x="346" y="94"/>
                  </a:lnTo>
                  <a:lnTo>
                    <a:pt x="352" y="87"/>
                  </a:lnTo>
                  <a:lnTo>
                    <a:pt x="352" y="82"/>
                  </a:lnTo>
                  <a:lnTo>
                    <a:pt x="354" y="78"/>
                  </a:lnTo>
                  <a:lnTo>
                    <a:pt x="355" y="75"/>
                  </a:lnTo>
                  <a:lnTo>
                    <a:pt x="367" y="72"/>
                  </a:lnTo>
                  <a:lnTo>
                    <a:pt x="377" y="69"/>
                  </a:lnTo>
                  <a:lnTo>
                    <a:pt x="390" y="65"/>
                  </a:lnTo>
                  <a:lnTo>
                    <a:pt x="405" y="68"/>
                  </a:lnTo>
                  <a:lnTo>
                    <a:pt x="420" y="68"/>
                  </a:lnTo>
                  <a:lnTo>
                    <a:pt x="445" y="68"/>
                  </a:lnTo>
                  <a:lnTo>
                    <a:pt x="449" y="43"/>
                  </a:lnTo>
                  <a:lnTo>
                    <a:pt x="463" y="44"/>
                  </a:lnTo>
                  <a:lnTo>
                    <a:pt x="473" y="63"/>
                  </a:lnTo>
                  <a:lnTo>
                    <a:pt x="475" y="47"/>
                  </a:lnTo>
                  <a:lnTo>
                    <a:pt x="521" y="3"/>
                  </a:lnTo>
                  <a:lnTo>
                    <a:pt x="539" y="3"/>
                  </a:lnTo>
                  <a:lnTo>
                    <a:pt x="555" y="12"/>
                  </a:lnTo>
                  <a:lnTo>
                    <a:pt x="576" y="11"/>
                  </a:lnTo>
                  <a:lnTo>
                    <a:pt x="604" y="27"/>
                  </a:lnTo>
                  <a:lnTo>
                    <a:pt x="636" y="36"/>
                  </a:lnTo>
                  <a:lnTo>
                    <a:pt x="659" y="34"/>
                  </a:lnTo>
                  <a:lnTo>
                    <a:pt x="689" y="44"/>
                  </a:lnTo>
                  <a:lnTo>
                    <a:pt x="714" y="44"/>
                  </a:lnTo>
                  <a:lnTo>
                    <a:pt x="726" y="37"/>
                  </a:lnTo>
                  <a:lnTo>
                    <a:pt x="754" y="37"/>
                  </a:lnTo>
                  <a:lnTo>
                    <a:pt x="769" y="45"/>
                  </a:lnTo>
                  <a:lnTo>
                    <a:pt x="807" y="45"/>
                  </a:lnTo>
                  <a:lnTo>
                    <a:pt x="839" y="59"/>
                  </a:lnTo>
                  <a:lnTo>
                    <a:pt x="898" y="57"/>
                  </a:lnTo>
                  <a:lnTo>
                    <a:pt x="991" y="63"/>
                  </a:lnTo>
                  <a:lnTo>
                    <a:pt x="1036" y="82"/>
                  </a:lnTo>
                  <a:lnTo>
                    <a:pt x="1074" y="94"/>
                  </a:lnTo>
                  <a:lnTo>
                    <a:pt x="1098" y="104"/>
                  </a:lnTo>
                  <a:lnTo>
                    <a:pt x="1091" y="107"/>
                  </a:lnTo>
                  <a:lnTo>
                    <a:pt x="1074" y="99"/>
                  </a:lnTo>
                  <a:lnTo>
                    <a:pt x="1035" y="96"/>
                  </a:lnTo>
                  <a:lnTo>
                    <a:pt x="1046" y="104"/>
                  </a:lnTo>
                  <a:lnTo>
                    <a:pt x="1063" y="108"/>
                  </a:lnTo>
                  <a:lnTo>
                    <a:pt x="1058" y="121"/>
                  </a:lnTo>
                  <a:lnTo>
                    <a:pt x="1040" y="129"/>
                  </a:lnTo>
                  <a:lnTo>
                    <a:pt x="1034" y="142"/>
                  </a:lnTo>
                  <a:lnTo>
                    <a:pt x="1058" y="154"/>
                  </a:lnTo>
                  <a:lnTo>
                    <a:pt x="1075" y="170"/>
                  </a:lnTo>
                  <a:lnTo>
                    <a:pt x="1084" y="193"/>
                  </a:lnTo>
                  <a:lnTo>
                    <a:pt x="1073" y="195"/>
                  </a:lnTo>
                  <a:lnTo>
                    <a:pt x="1049" y="188"/>
                  </a:lnTo>
                  <a:lnTo>
                    <a:pt x="1024" y="171"/>
                  </a:lnTo>
                  <a:lnTo>
                    <a:pt x="1014" y="162"/>
                  </a:lnTo>
                  <a:lnTo>
                    <a:pt x="1008" y="150"/>
                  </a:lnTo>
                  <a:lnTo>
                    <a:pt x="1002" y="132"/>
                  </a:lnTo>
                  <a:lnTo>
                    <a:pt x="992" y="126"/>
                  </a:lnTo>
                  <a:lnTo>
                    <a:pt x="983" y="125"/>
                  </a:lnTo>
                  <a:lnTo>
                    <a:pt x="975" y="127"/>
                  </a:lnTo>
                  <a:lnTo>
                    <a:pt x="984" y="141"/>
                  </a:lnTo>
                  <a:lnTo>
                    <a:pt x="960" y="143"/>
                  </a:lnTo>
                  <a:lnTo>
                    <a:pt x="949" y="136"/>
                  </a:lnTo>
                  <a:lnTo>
                    <a:pt x="928" y="140"/>
                  </a:lnTo>
                  <a:lnTo>
                    <a:pt x="912" y="151"/>
                  </a:lnTo>
                  <a:lnTo>
                    <a:pt x="912" y="157"/>
                  </a:lnTo>
                  <a:lnTo>
                    <a:pt x="918" y="167"/>
                  </a:lnTo>
                  <a:lnTo>
                    <a:pt x="943" y="170"/>
                  </a:lnTo>
                  <a:lnTo>
                    <a:pt x="963" y="182"/>
                  </a:lnTo>
                  <a:lnTo>
                    <a:pt x="997" y="215"/>
                  </a:lnTo>
                  <a:lnTo>
                    <a:pt x="1011" y="237"/>
                  </a:lnTo>
                  <a:lnTo>
                    <a:pt x="1026" y="263"/>
                  </a:lnTo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91" name="Freeform 91"/>
            <p:cNvSpPr>
              <a:spLocks/>
            </p:cNvSpPr>
            <p:nvPr/>
          </p:nvSpPr>
          <p:spPr bwMode="auto">
            <a:xfrm>
              <a:off x="2211388" y="2333625"/>
              <a:ext cx="1911350" cy="1641475"/>
            </a:xfrm>
            <a:custGeom>
              <a:avLst/>
              <a:gdLst>
                <a:gd name="T0" fmla="*/ 52 w 651"/>
                <a:gd name="T1" fmla="*/ 105 h 560"/>
                <a:gd name="T2" fmla="*/ 42 w 651"/>
                <a:gd name="T3" fmla="*/ 74 h 560"/>
                <a:gd name="T4" fmla="*/ 93 w 651"/>
                <a:gd name="T5" fmla="*/ 48 h 560"/>
                <a:gd name="T6" fmla="*/ 116 w 651"/>
                <a:gd name="T7" fmla="*/ 28 h 560"/>
                <a:gd name="T8" fmla="*/ 156 w 651"/>
                <a:gd name="T9" fmla="*/ 24 h 560"/>
                <a:gd name="T10" fmla="*/ 280 w 651"/>
                <a:gd name="T11" fmla="*/ 25 h 560"/>
                <a:gd name="T12" fmla="*/ 343 w 651"/>
                <a:gd name="T13" fmla="*/ 35 h 560"/>
                <a:gd name="T14" fmla="*/ 319 w 651"/>
                <a:gd name="T15" fmla="*/ 34 h 560"/>
                <a:gd name="T16" fmla="*/ 303 w 651"/>
                <a:gd name="T17" fmla="*/ 1 h 560"/>
                <a:gd name="T18" fmla="*/ 334 w 651"/>
                <a:gd name="T19" fmla="*/ 0 h 560"/>
                <a:gd name="T20" fmla="*/ 358 w 651"/>
                <a:gd name="T21" fmla="*/ 15 h 560"/>
                <a:gd name="T22" fmla="*/ 395 w 651"/>
                <a:gd name="T23" fmla="*/ 38 h 560"/>
                <a:gd name="T24" fmla="*/ 388 w 651"/>
                <a:gd name="T25" fmla="*/ 12 h 560"/>
                <a:gd name="T26" fmla="*/ 457 w 651"/>
                <a:gd name="T27" fmla="*/ 37 h 560"/>
                <a:gd name="T28" fmla="*/ 458 w 651"/>
                <a:gd name="T29" fmla="*/ 47 h 560"/>
                <a:gd name="T30" fmla="*/ 436 w 651"/>
                <a:gd name="T31" fmla="*/ 72 h 560"/>
                <a:gd name="T32" fmla="*/ 419 w 651"/>
                <a:gd name="T33" fmla="*/ 113 h 560"/>
                <a:gd name="T34" fmla="*/ 483 w 651"/>
                <a:gd name="T35" fmla="*/ 136 h 560"/>
                <a:gd name="T36" fmla="*/ 485 w 651"/>
                <a:gd name="T37" fmla="*/ 172 h 560"/>
                <a:gd name="T38" fmla="*/ 494 w 651"/>
                <a:gd name="T39" fmla="*/ 144 h 560"/>
                <a:gd name="T40" fmla="*/ 494 w 651"/>
                <a:gd name="T41" fmla="*/ 92 h 560"/>
                <a:gd name="T42" fmla="*/ 539 w 651"/>
                <a:gd name="T43" fmla="*/ 106 h 560"/>
                <a:gd name="T44" fmla="*/ 567 w 651"/>
                <a:gd name="T45" fmla="*/ 91 h 560"/>
                <a:gd name="T46" fmla="*/ 617 w 651"/>
                <a:gd name="T47" fmla="*/ 129 h 560"/>
                <a:gd name="T48" fmla="*/ 651 w 651"/>
                <a:gd name="T49" fmla="*/ 162 h 560"/>
                <a:gd name="T50" fmla="*/ 624 w 651"/>
                <a:gd name="T51" fmla="*/ 175 h 560"/>
                <a:gd name="T52" fmla="*/ 577 w 651"/>
                <a:gd name="T53" fmla="*/ 186 h 560"/>
                <a:gd name="T54" fmla="*/ 610 w 651"/>
                <a:gd name="T55" fmla="*/ 193 h 560"/>
                <a:gd name="T56" fmla="*/ 624 w 651"/>
                <a:gd name="T57" fmla="*/ 223 h 560"/>
                <a:gd name="T58" fmla="*/ 611 w 651"/>
                <a:gd name="T59" fmla="*/ 225 h 560"/>
                <a:gd name="T60" fmla="*/ 592 w 651"/>
                <a:gd name="T61" fmla="*/ 237 h 560"/>
                <a:gd name="T62" fmla="*/ 562 w 651"/>
                <a:gd name="T63" fmla="*/ 265 h 560"/>
                <a:gd name="T64" fmla="*/ 559 w 651"/>
                <a:gd name="T65" fmla="*/ 304 h 560"/>
                <a:gd name="T66" fmla="*/ 527 w 651"/>
                <a:gd name="T67" fmla="*/ 363 h 560"/>
                <a:gd name="T68" fmla="*/ 536 w 651"/>
                <a:gd name="T69" fmla="*/ 413 h 560"/>
                <a:gd name="T70" fmla="*/ 518 w 651"/>
                <a:gd name="T71" fmla="*/ 379 h 560"/>
                <a:gd name="T72" fmla="*/ 487 w 651"/>
                <a:gd name="T73" fmla="*/ 364 h 560"/>
                <a:gd name="T74" fmla="*/ 460 w 651"/>
                <a:gd name="T75" fmla="*/ 374 h 560"/>
                <a:gd name="T76" fmla="*/ 414 w 651"/>
                <a:gd name="T77" fmla="*/ 379 h 560"/>
                <a:gd name="T78" fmla="*/ 391 w 651"/>
                <a:gd name="T79" fmla="*/ 416 h 560"/>
                <a:gd name="T80" fmla="*/ 443 w 651"/>
                <a:gd name="T81" fmla="*/ 466 h 560"/>
                <a:gd name="T82" fmla="*/ 452 w 651"/>
                <a:gd name="T83" fmla="*/ 438 h 560"/>
                <a:gd name="T84" fmla="*/ 481 w 651"/>
                <a:gd name="T85" fmla="*/ 458 h 560"/>
                <a:gd name="T86" fmla="*/ 497 w 651"/>
                <a:gd name="T87" fmla="*/ 486 h 560"/>
                <a:gd name="T88" fmla="*/ 510 w 651"/>
                <a:gd name="T89" fmla="*/ 512 h 560"/>
                <a:gd name="T90" fmla="*/ 540 w 651"/>
                <a:gd name="T91" fmla="*/ 550 h 560"/>
                <a:gd name="T92" fmla="*/ 585 w 651"/>
                <a:gd name="T93" fmla="*/ 549 h 560"/>
                <a:gd name="T94" fmla="*/ 558 w 651"/>
                <a:gd name="T95" fmla="*/ 554 h 560"/>
                <a:gd name="T96" fmla="*/ 505 w 651"/>
                <a:gd name="T97" fmla="*/ 548 h 560"/>
                <a:gd name="T98" fmla="*/ 468 w 651"/>
                <a:gd name="T99" fmla="*/ 514 h 560"/>
                <a:gd name="T100" fmla="*/ 439 w 651"/>
                <a:gd name="T101" fmla="*/ 500 h 560"/>
                <a:gd name="T102" fmla="*/ 396 w 651"/>
                <a:gd name="T103" fmla="*/ 484 h 560"/>
                <a:gd name="T104" fmla="*/ 320 w 651"/>
                <a:gd name="T105" fmla="*/ 430 h 560"/>
                <a:gd name="T106" fmla="*/ 258 w 651"/>
                <a:gd name="T107" fmla="*/ 351 h 560"/>
                <a:gd name="T108" fmla="*/ 279 w 651"/>
                <a:gd name="T109" fmla="*/ 422 h 560"/>
                <a:gd name="T110" fmla="*/ 239 w 651"/>
                <a:gd name="T111" fmla="*/ 373 h 560"/>
                <a:gd name="T112" fmla="*/ 202 w 651"/>
                <a:gd name="T113" fmla="*/ 277 h 560"/>
                <a:gd name="T114" fmla="*/ 206 w 651"/>
                <a:gd name="T115" fmla="*/ 205 h 560"/>
                <a:gd name="T116" fmla="*/ 193 w 651"/>
                <a:gd name="T117" fmla="*/ 151 h 560"/>
                <a:gd name="T118" fmla="*/ 182 w 651"/>
                <a:gd name="T119" fmla="*/ 119 h 560"/>
                <a:gd name="T120" fmla="*/ 157 w 651"/>
                <a:gd name="T121" fmla="*/ 100 h 560"/>
                <a:gd name="T122" fmla="*/ 104 w 651"/>
                <a:gd name="T123" fmla="*/ 105 h 560"/>
                <a:gd name="T124" fmla="*/ 64 w 651"/>
                <a:gd name="T125" fmla="*/ 125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51" h="560">
                  <a:moveTo>
                    <a:pt x="0" y="144"/>
                  </a:moveTo>
                  <a:lnTo>
                    <a:pt x="31" y="125"/>
                  </a:lnTo>
                  <a:lnTo>
                    <a:pt x="49" y="117"/>
                  </a:lnTo>
                  <a:lnTo>
                    <a:pt x="52" y="105"/>
                  </a:lnTo>
                  <a:lnTo>
                    <a:pt x="38" y="98"/>
                  </a:lnTo>
                  <a:lnTo>
                    <a:pt x="37" y="84"/>
                  </a:lnTo>
                  <a:lnTo>
                    <a:pt x="43" y="80"/>
                  </a:lnTo>
                  <a:lnTo>
                    <a:pt x="42" y="74"/>
                  </a:lnTo>
                  <a:lnTo>
                    <a:pt x="66" y="72"/>
                  </a:lnTo>
                  <a:lnTo>
                    <a:pt x="72" y="61"/>
                  </a:lnTo>
                  <a:lnTo>
                    <a:pt x="73" y="51"/>
                  </a:lnTo>
                  <a:lnTo>
                    <a:pt x="93" y="48"/>
                  </a:lnTo>
                  <a:lnTo>
                    <a:pt x="95" y="38"/>
                  </a:lnTo>
                  <a:lnTo>
                    <a:pt x="76" y="35"/>
                  </a:lnTo>
                  <a:lnTo>
                    <a:pt x="85" y="28"/>
                  </a:lnTo>
                  <a:lnTo>
                    <a:pt x="116" y="28"/>
                  </a:lnTo>
                  <a:lnTo>
                    <a:pt x="125" y="20"/>
                  </a:lnTo>
                  <a:lnTo>
                    <a:pt x="138" y="19"/>
                  </a:lnTo>
                  <a:lnTo>
                    <a:pt x="146" y="12"/>
                  </a:lnTo>
                  <a:lnTo>
                    <a:pt x="156" y="24"/>
                  </a:lnTo>
                  <a:lnTo>
                    <a:pt x="195" y="22"/>
                  </a:lnTo>
                  <a:lnTo>
                    <a:pt x="213" y="34"/>
                  </a:lnTo>
                  <a:lnTo>
                    <a:pt x="271" y="31"/>
                  </a:lnTo>
                  <a:lnTo>
                    <a:pt x="280" y="25"/>
                  </a:lnTo>
                  <a:lnTo>
                    <a:pt x="302" y="35"/>
                  </a:lnTo>
                  <a:lnTo>
                    <a:pt x="325" y="44"/>
                  </a:lnTo>
                  <a:lnTo>
                    <a:pt x="336" y="40"/>
                  </a:lnTo>
                  <a:lnTo>
                    <a:pt x="343" y="35"/>
                  </a:lnTo>
                  <a:lnTo>
                    <a:pt x="362" y="38"/>
                  </a:lnTo>
                  <a:lnTo>
                    <a:pt x="349" y="31"/>
                  </a:lnTo>
                  <a:lnTo>
                    <a:pt x="337" y="32"/>
                  </a:lnTo>
                  <a:lnTo>
                    <a:pt x="319" y="34"/>
                  </a:lnTo>
                  <a:lnTo>
                    <a:pt x="310" y="24"/>
                  </a:lnTo>
                  <a:lnTo>
                    <a:pt x="300" y="19"/>
                  </a:lnTo>
                  <a:lnTo>
                    <a:pt x="300" y="10"/>
                  </a:lnTo>
                  <a:lnTo>
                    <a:pt x="303" y="1"/>
                  </a:lnTo>
                  <a:lnTo>
                    <a:pt x="311" y="0"/>
                  </a:lnTo>
                  <a:lnTo>
                    <a:pt x="322" y="8"/>
                  </a:lnTo>
                  <a:lnTo>
                    <a:pt x="325" y="4"/>
                  </a:lnTo>
                  <a:lnTo>
                    <a:pt x="334" y="0"/>
                  </a:lnTo>
                  <a:lnTo>
                    <a:pt x="345" y="6"/>
                  </a:lnTo>
                  <a:lnTo>
                    <a:pt x="351" y="1"/>
                  </a:lnTo>
                  <a:lnTo>
                    <a:pt x="357" y="9"/>
                  </a:lnTo>
                  <a:lnTo>
                    <a:pt x="358" y="15"/>
                  </a:lnTo>
                  <a:lnTo>
                    <a:pt x="374" y="22"/>
                  </a:lnTo>
                  <a:lnTo>
                    <a:pt x="368" y="28"/>
                  </a:lnTo>
                  <a:lnTo>
                    <a:pt x="368" y="36"/>
                  </a:lnTo>
                  <a:lnTo>
                    <a:pt x="395" y="38"/>
                  </a:lnTo>
                  <a:lnTo>
                    <a:pt x="402" y="28"/>
                  </a:lnTo>
                  <a:lnTo>
                    <a:pt x="397" y="23"/>
                  </a:lnTo>
                  <a:lnTo>
                    <a:pt x="385" y="24"/>
                  </a:lnTo>
                  <a:lnTo>
                    <a:pt x="388" y="12"/>
                  </a:lnTo>
                  <a:lnTo>
                    <a:pt x="412" y="19"/>
                  </a:lnTo>
                  <a:lnTo>
                    <a:pt x="417" y="27"/>
                  </a:lnTo>
                  <a:lnTo>
                    <a:pt x="437" y="27"/>
                  </a:lnTo>
                  <a:lnTo>
                    <a:pt x="457" y="37"/>
                  </a:lnTo>
                  <a:lnTo>
                    <a:pt x="467" y="35"/>
                  </a:lnTo>
                  <a:lnTo>
                    <a:pt x="478" y="44"/>
                  </a:lnTo>
                  <a:lnTo>
                    <a:pt x="467" y="56"/>
                  </a:lnTo>
                  <a:lnTo>
                    <a:pt x="458" y="47"/>
                  </a:lnTo>
                  <a:lnTo>
                    <a:pt x="452" y="50"/>
                  </a:lnTo>
                  <a:lnTo>
                    <a:pt x="443" y="57"/>
                  </a:lnTo>
                  <a:lnTo>
                    <a:pt x="429" y="63"/>
                  </a:lnTo>
                  <a:lnTo>
                    <a:pt x="436" y="72"/>
                  </a:lnTo>
                  <a:lnTo>
                    <a:pt x="424" y="73"/>
                  </a:lnTo>
                  <a:lnTo>
                    <a:pt x="414" y="85"/>
                  </a:lnTo>
                  <a:lnTo>
                    <a:pt x="404" y="100"/>
                  </a:lnTo>
                  <a:lnTo>
                    <a:pt x="419" y="113"/>
                  </a:lnTo>
                  <a:lnTo>
                    <a:pt x="431" y="128"/>
                  </a:lnTo>
                  <a:lnTo>
                    <a:pt x="454" y="130"/>
                  </a:lnTo>
                  <a:lnTo>
                    <a:pt x="474" y="128"/>
                  </a:lnTo>
                  <a:lnTo>
                    <a:pt x="483" y="136"/>
                  </a:lnTo>
                  <a:lnTo>
                    <a:pt x="479" y="140"/>
                  </a:lnTo>
                  <a:lnTo>
                    <a:pt x="473" y="148"/>
                  </a:lnTo>
                  <a:lnTo>
                    <a:pt x="482" y="162"/>
                  </a:lnTo>
                  <a:lnTo>
                    <a:pt x="485" y="172"/>
                  </a:lnTo>
                  <a:lnTo>
                    <a:pt x="496" y="177"/>
                  </a:lnTo>
                  <a:lnTo>
                    <a:pt x="511" y="168"/>
                  </a:lnTo>
                  <a:lnTo>
                    <a:pt x="507" y="155"/>
                  </a:lnTo>
                  <a:lnTo>
                    <a:pt x="494" y="144"/>
                  </a:lnTo>
                  <a:lnTo>
                    <a:pt x="509" y="131"/>
                  </a:lnTo>
                  <a:lnTo>
                    <a:pt x="496" y="109"/>
                  </a:lnTo>
                  <a:lnTo>
                    <a:pt x="484" y="100"/>
                  </a:lnTo>
                  <a:lnTo>
                    <a:pt x="494" y="92"/>
                  </a:lnTo>
                  <a:lnTo>
                    <a:pt x="492" y="80"/>
                  </a:lnTo>
                  <a:lnTo>
                    <a:pt x="499" y="73"/>
                  </a:lnTo>
                  <a:lnTo>
                    <a:pt x="511" y="80"/>
                  </a:lnTo>
                  <a:lnTo>
                    <a:pt x="539" y="106"/>
                  </a:lnTo>
                  <a:lnTo>
                    <a:pt x="556" y="110"/>
                  </a:lnTo>
                  <a:lnTo>
                    <a:pt x="561" y="103"/>
                  </a:lnTo>
                  <a:lnTo>
                    <a:pt x="557" y="89"/>
                  </a:lnTo>
                  <a:lnTo>
                    <a:pt x="567" y="91"/>
                  </a:lnTo>
                  <a:lnTo>
                    <a:pt x="584" y="107"/>
                  </a:lnTo>
                  <a:lnTo>
                    <a:pt x="587" y="116"/>
                  </a:lnTo>
                  <a:lnTo>
                    <a:pt x="597" y="122"/>
                  </a:lnTo>
                  <a:lnTo>
                    <a:pt x="617" y="129"/>
                  </a:lnTo>
                  <a:lnTo>
                    <a:pt x="627" y="142"/>
                  </a:lnTo>
                  <a:lnTo>
                    <a:pt x="642" y="151"/>
                  </a:lnTo>
                  <a:lnTo>
                    <a:pt x="650" y="154"/>
                  </a:lnTo>
                  <a:lnTo>
                    <a:pt x="651" y="162"/>
                  </a:lnTo>
                  <a:lnTo>
                    <a:pt x="639" y="167"/>
                  </a:lnTo>
                  <a:lnTo>
                    <a:pt x="632" y="161"/>
                  </a:lnTo>
                  <a:lnTo>
                    <a:pt x="626" y="162"/>
                  </a:lnTo>
                  <a:lnTo>
                    <a:pt x="624" y="175"/>
                  </a:lnTo>
                  <a:lnTo>
                    <a:pt x="614" y="178"/>
                  </a:lnTo>
                  <a:lnTo>
                    <a:pt x="603" y="171"/>
                  </a:lnTo>
                  <a:lnTo>
                    <a:pt x="580" y="171"/>
                  </a:lnTo>
                  <a:lnTo>
                    <a:pt x="577" y="186"/>
                  </a:lnTo>
                  <a:lnTo>
                    <a:pt x="583" y="195"/>
                  </a:lnTo>
                  <a:lnTo>
                    <a:pt x="592" y="190"/>
                  </a:lnTo>
                  <a:lnTo>
                    <a:pt x="601" y="188"/>
                  </a:lnTo>
                  <a:lnTo>
                    <a:pt x="610" y="193"/>
                  </a:lnTo>
                  <a:lnTo>
                    <a:pt x="598" y="204"/>
                  </a:lnTo>
                  <a:lnTo>
                    <a:pt x="610" y="214"/>
                  </a:lnTo>
                  <a:lnTo>
                    <a:pt x="626" y="217"/>
                  </a:lnTo>
                  <a:lnTo>
                    <a:pt x="624" y="223"/>
                  </a:lnTo>
                  <a:lnTo>
                    <a:pt x="618" y="224"/>
                  </a:lnTo>
                  <a:lnTo>
                    <a:pt x="603" y="258"/>
                  </a:lnTo>
                  <a:lnTo>
                    <a:pt x="604" y="236"/>
                  </a:lnTo>
                  <a:lnTo>
                    <a:pt x="611" y="225"/>
                  </a:lnTo>
                  <a:lnTo>
                    <a:pt x="603" y="220"/>
                  </a:lnTo>
                  <a:lnTo>
                    <a:pt x="594" y="227"/>
                  </a:lnTo>
                  <a:lnTo>
                    <a:pt x="599" y="233"/>
                  </a:lnTo>
                  <a:lnTo>
                    <a:pt x="592" y="237"/>
                  </a:lnTo>
                  <a:lnTo>
                    <a:pt x="585" y="242"/>
                  </a:lnTo>
                  <a:lnTo>
                    <a:pt x="586" y="257"/>
                  </a:lnTo>
                  <a:lnTo>
                    <a:pt x="576" y="263"/>
                  </a:lnTo>
                  <a:lnTo>
                    <a:pt x="562" y="265"/>
                  </a:lnTo>
                  <a:lnTo>
                    <a:pt x="567" y="273"/>
                  </a:lnTo>
                  <a:lnTo>
                    <a:pt x="562" y="282"/>
                  </a:lnTo>
                  <a:lnTo>
                    <a:pt x="567" y="289"/>
                  </a:lnTo>
                  <a:lnTo>
                    <a:pt x="559" y="304"/>
                  </a:lnTo>
                  <a:lnTo>
                    <a:pt x="556" y="318"/>
                  </a:lnTo>
                  <a:lnTo>
                    <a:pt x="544" y="326"/>
                  </a:lnTo>
                  <a:lnTo>
                    <a:pt x="529" y="348"/>
                  </a:lnTo>
                  <a:lnTo>
                    <a:pt x="527" y="363"/>
                  </a:lnTo>
                  <a:lnTo>
                    <a:pt x="532" y="375"/>
                  </a:lnTo>
                  <a:lnTo>
                    <a:pt x="539" y="390"/>
                  </a:lnTo>
                  <a:lnTo>
                    <a:pt x="543" y="406"/>
                  </a:lnTo>
                  <a:lnTo>
                    <a:pt x="536" y="413"/>
                  </a:lnTo>
                  <a:lnTo>
                    <a:pt x="527" y="408"/>
                  </a:lnTo>
                  <a:lnTo>
                    <a:pt x="529" y="400"/>
                  </a:lnTo>
                  <a:lnTo>
                    <a:pt x="524" y="382"/>
                  </a:lnTo>
                  <a:lnTo>
                    <a:pt x="518" y="379"/>
                  </a:lnTo>
                  <a:lnTo>
                    <a:pt x="514" y="368"/>
                  </a:lnTo>
                  <a:lnTo>
                    <a:pt x="506" y="368"/>
                  </a:lnTo>
                  <a:lnTo>
                    <a:pt x="497" y="362"/>
                  </a:lnTo>
                  <a:lnTo>
                    <a:pt x="487" y="364"/>
                  </a:lnTo>
                  <a:lnTo>
                    <a:pt x="478" y="360"/>
                  </a:lnTo>
                  <a:lnTo>
                    <a:pt x="467" y="365"/>
                  </a:lnTo>
                  <a:lnTo>
                    <a:pt x="447" y="361"/>
                  </a:lnTo>
                  <a:lnTo>
                    <a:pt x="460" y="374"/>
                  </a:lnTo>
                  <a:lnTo>
                    <a:pt x="443" y="373"/>
                  </a:lnTo>
                  <a:lnTo>
                    <a:pt x="431" y="363"/>
                  </a:lnTo>
                  <a:lnTo>
                    <a:pt x="411" y="363"/>
                  </a:lnTo>
                  <a:lnTo>
                    <a:pt x="414" y="379"/>
                  </a:lnTo>
                  <a:lnTo>
                    <a:pt x="399" y="374"/>
                  </a:lnTo>
                  <a:lnTo>
                    <a:pt x="391" y="390"/>
                  </a:lnTo>
                  <a:lnTo>
                    <a:pt x="397" y="397"/>
                  </a:lnTo>
                  <a:lnTo>
                    <a:pt x="391" y="416"/>
                  </a:lnTo>
                  <a:lnTo>
                    <a:pt x="398" y="438"/>
                  </a:lnTo>
                  <a:lnTo>
                    <a:pt x="406" y="453"/>
                  </a:lnTo>
                  <a:lnTo>
                    <a:pt x="415" y="467"/>
                  </a:lnTo>
                  <a:lnTo>
                    <a:pt x="443" y="466"/>
                  </a:lnTo>
                  <a:lnTo>
                    <a:pt x="455" y="463"/>
                  </a:lnTo>
                  <a:lnTo>
                    <a:pt x="457" y="453"/>
                  </a:lnTo>
                  <a:lnTo>
                    <a:pt x="451" y="445"/>
                  </a:lnTo>
                  <a:lnTo>
                    <a:pt x="452" y="438"/>
                  </a:lnTo>
                  <a:lnTo>
                    <a:pt x="469" y="440"/>
                  </a:lnTo>
                  <a:lnTo>
                    <a:pt x="486" y="436"/>
                  </a:lnTo>
                  <a:lnTo>
                    <a:pt x="486" y="445"/>
                  </a:lnTo>
                  <a:lnTo>
                    <a:pt x="481" y="458"/>
                  </a:lnTo>
                  <a:lnTo>
                    <a:pt x="473" y="468"/>
                  </a:lnTo>
                  <a:lnTo>
                    <a:pt x="471" y="482"/>
                  </a:lnTo>
                  <a:lnTo>
                    <a:pt x="482" y="488"/>
                  </a:lnTo>
                  <a:lnTo>
                    <a:pt x="497" y="486"/>
                  </a:lnTo>
                  <a:lnTo>
                    <a:pt x="506" y="491"/>
                  </a:lnTo>
                  <a:lnTo>
                    <a:pt x="514" y="489"/>
                  </a:lnTo>
                  <a:lnTo>
                    <a:pt x="517" y="498"/>
                  </a:lnTo>
                  <a:lnTo>
                    <a:pt x="510" y="512"/>
                  </a:lnTo>
                  <a:lnTo>
                    <a:pt x="516" y="520"/>
                  </a:lnTo>
                  <a:lnTo>
                    <a:pt x="517" y="536"/>
                  </a:lnTo>
                  <a:lnTo>
                    <a:pt x="527" y="547"/>
                  </a:lnTo>
                  <a:lnTo>
                    <a:pt x="540" y="550"/>
                  </a:lnTo>
                  <a:lnTo>
                    <a:pt x="549" y="547"/>
                  </a:lnTo>
                  <a:lnTo>
                    <a:pt x="553" y="548"/>
                  </a:lnTo>
                  <a:lnTo>
                    <a:pt x="570" y="548"/>
                  </a:lnTo>
                  <a:lnTo>
                    <a:pt x="585" y="549"/>
                  </a:lnTo>
                  <a:lnTo>
                    <a:pt x="589" y="542"/>
                  </a:lnTo>
                  <a:lnTo>
                    <a:pt x="576" y="554"/>
                  </a:lnTo>
                  <a:lnTo>
                    <a:pt x="567" y="553"/>
                  </a:lnTo>
                  <a:lnTo>
                    <a:pt x="558" y="554"/>
                  </a:lnTo>
                  <a:lnTo>
                    <a:pt x="540" y="560"/>
                  </a:lnTo>
                  <a:lnTo>
                    <a:pt x="525" y="552"/>
                  </a:lnTo>
                  <a:lnTo>
                    <a:pt x="511" y="547"/>
                  </a:lnTo>
                  <a:lnTo>
                    <a:pt x="505" y="548"/>
                  </a:lnTo>
                  <a:lnTo>
                    <a:pt x="506" y="541"/>
                  </a:lnTo>
                  <a:lnTo>
                    <a:pt x="505" y="530"/>
                  </a:lnTo>
                  <a:lnTo>
                    <a:pt x="493" y="520"/>
                  </a:lnTo>
                  <a:lnTo>
                    <a:pt x="468" y="514"/>
                  </a:lnTo>
                  <a:lnTo>
                    <a:pt x="464" y="509"/>
                  </a:lnTo>
                  <a:lnTo>
                    <a:pt x="457" y="510"/>
                  </a:lnTo>
                  <a:lnTo>
                    <a:pt x="450" y="505"/>
                  </a:lnTo>
                  <a:lnTo>
                    <a:pt x="439" y="500"/>
                  </a:lnTo>
                  <a:lnTo>
                    <a:pt x="427" y="486"/>
                  </a:lnTo>
                  <a:lnTo>
                    <a:pt x="413" y="482"/>
                  </a:lnTo>
                  <a:lnTo>
                    <a:pt x="405" y="491"/>
                  </a:lnTo>
                  <a:lnTo>
                    <a:pt x="396" y="484"/>
                  </a:lnTo>
                  <a:lnTo>
                    <a:pt x="385" y="484"/>
                  </a:lnTo>
                  <a:lnTo>
                    <a:pt x="363" y="479"/>
                  </a:lnTo>
                  <a:lnTo>
                    <a:pt x="323" y="455"/>
                  </a:lnTo>
                  <a:lnTo>
                    <a:pt x="320" y="430"/>
                  </a:lnTo>
                  <a:lnTo>
                    <a:pt x="316" y="420"/>
                  </a:lnTo>
                  <a:lnTo>
                    <a:pt x="309" y="413"/>
                  </a:lnTo>
                  <a:lnTo>
                    <a:pt x="300" y="399"/>
                  </a:lnTo>
                  <a:lnTo>
                    <a:pt x="258" y="351"/>
                  </a:lnTo>
                  <a:lnTo>
                    <a:pt x="258" y="369"/>
                  </a:lnTo>
                  <a:lnTo>
                    <a:pt x="284" y="401"/>
                  </a:lnTo>
                  <a:lnTo>
                    <a:pt x="295" y="428"/>
                  </a:lnTo>
                  <a:lnTo>
                    <a:pt x="279" y="422"/>
                  </a:lnTo>
                  <a:lnTo>
                    <a:pt x="276" y="406"/>
                  </a:lnTo>
                  <a:lnTo>
                    <a:pt x="255" y="396"/>
                  </a:lnTo>
                  <a:lnTo>
                    <a:pt x="267" y="390"/>
                  </a:lnTo>
                  <a:lnTo>
                    <a:pt x="239" y="373"/>
                  </a:lnTo>
                  <a:lnTo>
                    <a:pt x="250" y="363"/>
                  </a:lnTo>
                  <a:lnTo>
                    <a:pt x="240" y="343"/>
                  </a:lnTo>
                  <a:lnTo>
                    <a:pt x="206" y="301"/>
                  </a:lnTo>
                  <a:lnTo>
                    <a:pt x="202" y="277"/>
                  </a:lnTo>
                  <a:lnTo>
                    <a:pt x="204" y="257"/>
                  </a:lnTo>
                  <a:lnTo>
                    <a:pt x="213" y="237"/>
                  </a:lnTo>
                  <a:lnTo>
                    <a:pt x="213" y="217"/>
                  </a:lnTo>
                  <a:lnTo>
                    <a:pt x="206" y="205"/>
                  </a:lnTo>
                  <a:lnTo>
                    <a:pt x="225" y="201"/>
                  </a:lnTo>
                  <a:lnTo>
                    <a:pt x="202" y="177"/>
                  </a:lnTo>
                  <a:lnTo>
                    <a:pt x="203" y="166"/>
                  </a:lnTo>
                  <a:lnTo>
                    <a:pt x="193" y="151"/>
                  </a:lnTo>
                  <a:lnTo>
                    <a:pt x="197" y="142"/>
                  </a:lnTo>
                  <a:lnTo>
                    <a:pt x="190" y="137"/>
                  </a:lnTo>
                  <a:lnTo>
                    <a:pt x="189" y="127"/>
                  </a:lnTo>
                  <a:lnTo>
                    <a:pt x="182" y="119"/>
                  </a:lnTo>
                  <a:lnTo>
                    <a:pt x="190" y="112"/>
                  </a:lnTo>
                  <a:lnTo>
                    <a:pt x="179" y="107"/>
                  </a:lnTo>
                  <a:lnTo>
                    <a:pt x="170" y="114"/>
                  </a:lnTo>
                  <a:lnTo>
                    <a:pt x="157" y="100"/>
                  </a:lnTo>
                  <a:lnTo>
                    <a:pt x="143" y="96"/>
                  </a:lnTo>
                  <a:lnTo>
                    <a:pt x="123" y="96"/>
                  </a:lnTo>
                  <a:lnTo>
                    <a:pt x="110" y="109"/>
                  </a:lnTo>
                  <a:lnTo>
                    <a:pt x="104" y="105"/>
                  </a:lnTo>
                  <a:lnTo>
                    <a:pt x="115" y="88"/>
                  </a:lnTo>
                  <a:lnTo>
                    <a:pt x="105" y="91"/>
                  </a:lnTo>
                  <a:lnTo>
                    <a:pt x="85" y="109"/>
                  </a:lnTo>
                  <a:lnTo>
                    <a:pt x="64" y="125"/>
                  </a:lnTo>
                  <a:lnTo>
                    <a:pt x="45" y="129"/>
                  </a:lnTo>
                  <a:lnTo>
                    <a:pt x="13" y="145"/>
                  </a:lnTo>
                  <a:lnTo>
                    <a:pt x="0" y="144"/>
                  </a:ln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92" name="Freeform 92"/>
            <p:cNvSpPr>
              <a:spLocks/>
            </p:cNvSpPr>
            <p:nvPr/>
          </p:nvSpPr>
          <p:spPr bwMode="auto">
            <a:xfrm>
              <a:off x="3578226" y="2178050"/>
              <a:ext cx="650875" cy="430213"/>
            </a:xfrm>
            <a:custGeom>
              <a:avLst/>
              <a:gdLst>
                <a:gd name="T0" fmla="*/ 0 w 221"/>
                <a:gd name="T1" fmla="*/ 30 h 147"/>
                <a:gd name="T2" fmla="*/ 5 w 221"/>
                <a:gd name="T3" fmla="*/ 19 h 147"/>
                <a:gd name="T4" fmla="*/ 5 w 221"/>
                <a:gd name="T5" fmla="*/ 11 h 147"/>
                <a:gd name="T6" fmla="*/ 13 w 221"/>
                <a:gd name="T7" fmla="*/ 0 h 147"/>
                <a:gd name="T8" fmla="*/ 53 w 221"/>
                <a:gd name="T9" fmla="*/ 7 h 147"/>
                <a:gd name="T10" fmla="*/ 122 w 221"/>
                <a:gd name="T11" fmla="*/ 20 h 147"/>
                <a:gd name="T12" fmla="*/ 149 w 221"/>
                <a:gd name="T13" fmla="*/ 31 h 147"/>
                <a:gd name="T14" fmla="*/ 185 w 221"/>
                <a:gd name="T15" fmla="*/ 41 h 147"/>
                <a:gd name="T16" fmla="*/ 203 w 221"/>
                <a:gd name="T17" fmla="*/ 60 h 147"/>
                <a:gd name="T18" fmla="*/ 221 w 221"/>
                <a:gd name="T19" fmla="*/ 70 h 147"/>
                <a:gd name="T20" fmla="*/ 214 w 221"/>
                <a:gd name="T21" fmla="*/ 77 h 147"/>
                <a:gd name="T22" fmla="*/ 214 w 221"/>
                <a:gd name="T23" fmla="*/ 86 h 147"/>
                <a:gd name="T24" fmla="*/ 207 w 221"/>
                <a:gd name="T25" fmla="*/ 88 h 147"/>
                <a:gd name="T26" fmla="*/ 201 w 221"/>
                <a:gd name="T27" fmla="*/ 96 h 147"/>
                <a:gd name="T28" fmla="*/ 207 w 221"/>
                <a:gd name="T29" fmla="*/ 104 h 147"/>
                <a:gd name="T30" fmla="*/ 206 w 221"/>
                <a:gd name="T31" fmla="*/ 110 h 147"/>
                <a:gd name="T32" fmla="*/ 199 w 221"/>
                <a:gd name="T33" fmla="*/ 118 h 147"/>
                <a:gd name="T34" fmla="*/ 200 w 221"/>
                <a:gd name="T35" fmla="*/ 126 h 147"/>
                <a:gd name="T36" fmla="*/ 212 w 221"/>
                <a:gd name="T37" fmla="*/ 134 h 147"/>
                <a:gd name="T38" fmla="*/ 213 w 221"/>
                <a:gd name="T39" fmla="*/ 142 h 147"/>
                <a:gd name="T40" fmla="*/ 210 w 221"/>
                <a:gd name="T41" fmla="*/ 146 h 147"/>
                <a:gd name="T42" fmla="*/ 198 w 221"/>
                <a:gd name="T43" fmla="*/ 147 h 147"/>
                <a:gd name="T44" fmla="*/ 189 w 221"/>
                <a:gd name="T45" fmla="*/ 143 h 147"/>
                <a:gd name="T46" fmla="*/ 179 w 221"/>
                <a:gd name="T47" fmla="*/ 133 h 147"/>
                <a:gd name="T48" fmla="*/ 175 w 221"/>
                <a:gd name="T49" fmla="*/ 133 h 147"/>
                <a:gd name="T50" fmla="*/ 170 w 221"/>
                <a:gd name="T51" fmla="*/ 129 h 147"/>
                <a:gd name="T52" fmla="*/ 165 w 221"/>
                <a:gd name="T53" fmla="*/ 117 h 147"/>
                <a:gd name="T54" fmla="*/ 159 w 221"/>
                <a:gd name="T55" fmla="*/ 113 h 147"/>
                <a:gd name="T56" fmla="*/ 146 w 221"/>
                <a:gd name="T57" fmla="*/ 107 h 147"/>
                <a:gd name="T58" fmla="*/ 135 w 221"/>
                <a:gd name="T59" fmla="*/ 103 h 147"/>
                <a:gd name="T60" fmla="*/ 119 w 221"/>
                <a:gd name="T61" fmla="*/ 92 h 147"/>
                <a:gd name="T62" fmla="*/ 112 w 221"/>
                <a:gd name="T63" fmla="*/ 84 h 147"/>
                <a:gd name="T64" fmla="*/ 113 w 221"/>
                <a:gd name="T65" fmla="*/ 78 h 147"/>
                <a:gd name="T66" fmla="*/ 120 w 221"/>
                <a:gd name="T67" fmla="*/ 73 h 147"/>
                <a:gd name="T68" fmla="*/ 114 w 221"/>
                <a:gd name="T69" fmla="*/ 66 h 147"/>
                <a:gd name="T70" fmla="*/ 108 w 221"/>
                <a:gd name="T71" fmla="*/ 70 h 147"/>
                <a:gd name="T72" fmla="*/ 98 w 221"/>
                <a:gd name="T73" fmla="*/ 60 h 147"/>
                <a:gd name="T74" fmla="*/ 96 w 221"/>
                <a:gd name="T75" fmla="*/ 65 h 147"/>
                <a:gd name="T76" fmla="*/ 87 w 221"/>
                <a:gd name="T77" fmla="*/ 65 h 147"/>
                <a:gd name="T78" fmla="*/ 85 w 221"/>
                <a:gd name="T79" fmla="*/ 61 h 147"/>
                <a:gd name="T80" fmla="*/ 85 w 221"/>
                <a:gd name="T81" fmla="*/ 54 h 147"/>
                <a:gd name="T82" fmla="*/ 81 w 221"/>
                <a:gd name="T83" fmla="*/ 50 h 147"/>
                <a:gd name="T84" fmla="*/ 75 w 221"/>
                <a:gd name="T85" fmla="*/ 51 h 147"/>
                <a:gd name="T86" fmla="*/ 67 w 221"/>
                <a:gd name="T87" fmla="*/ 40 h 147"/>
                <a:gd name="T88" fmla="*/ 61 w 221"/>
                <a:gd name="T89" fmla="*/ 39 h 147"/>
                <a:gd name="T90" fmla="*/ 52 w 221"/>
                <a:gd name="T91" fmla="*/ 34 h 147"/>
                <a:gd name="T92" fmla="*/ 33 w 221"/>
                <a:gd name="T93" fmla="*/ 35 h 147"/>
                <a:gd name="T94" fmla="*/ 14 w 221"/>
                <a:gd name="T95" fmla="*/ 34 h 147"/>
                <a:gd name="T96" fmla="*/ 0 w 221"/>
                <a:gd name="T97" fmla="*/ 3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1" h="147">
                  <a:moveTo>
                    <a:pt x="0" y="30"/>
                  </a:moveTo>
                  <a:lnTo>
                    <a:pt x="5" y="19"/>
                  </a:lnTo>
                  <a:lnTo>
                    <a:pt x="5" y="11"/>
                  </a:lnTo>
                  <a:lnTo>
                    <a:pt x="13" y="0"/>
                  </a:lnTo>
                  <a:lnTo>
                    <a:pt x="53" y="7"/>
                  </a:lnTo>
                  <a:lnTo>
                    <a:pt x="122" y="20"/>
                  </a:lnTo>
                  <a:lnTo>
                    <a:pt x="149" y="31"/>
                  </a:lnTo>
                  <a:lnTo>
                    <a:pt x="185" y="41"/>
                  </a:lnTo>
                  <a:lnTo>
                    <a:pt x="203" y="60"/>
                  </a:lnTo>
                  <a:lnTo>
                    <a:pt x="221" y="70"/>
                  </a:lnTo>
                  <a:lnTo>
                    <a:pt x="214" y="77"/>
                  </a:lnTo>
                  <a:lnTo>
                    <a:pt x="214" y="86"/>
                  </a:lnTo>
                  <a:lnTo>
                    <a:pt x="207" y="88"/>
                  </a:lnTo>
                  <a:lnTo>
                    <a:pt x="201" y="96"/>
                  </a:lnTo>
                  <a:lnTo>
                    <a:pt x="207" y="104"/>
                  </a:lnTo>
                  <a:lnTo>
                    <a:pt x="206" y="110"/>
                  </a:lnTo>
                  <a:lnTo>
                    <a:pt x="199" y="118"/>
                  </a:lnTo>
                  <a:lnTo>
                    <a:pt x="200" y="126"/>
                  </a:lnTo>
                  <a:lnTo>
                    <a:pt x="212" y="134"/>
                  </a:lnTo>
                  <a:lnTo>
                    <a:pt x="213" y="142"/>
                  </a:lnTo>
                  <a:lnTo>
                    <a:pt x="210" y="146"/>
                  </a:lnTo>
                  <a:lnTo>
                    <a:pt x="198" y="147"/>
                  </a:lnTo>
                  <a:lnTo>
                    <a:pt x="189" y="143"/>
                  </a:lnTo>
                  <a:lnTo>
                    <a:pt x="179" y="133"/>
                  </a:lnTo>
                  <a:lnTo>
                    <a:pt x="175" y="133"/>
                  </a:lnTo>
                  <a:lnTo>
                    <a:pt x="170" y="129"/>
                  </a:lnTo>
                  <a:lnTo>
                    <a:pt x="165" y="117"/>
                  </a:lnTo>
                  <a:lnTo>
                    <a:pt x="159" y="113"/>
                  </a:lnTo>
                  <a:lnTo>
                    <a:pt x="146" y="107"/>
                  </a:lnTo>
                  <a:lnTo>
                    <a:pt x="135" y="103"/>
                  </a:lnTo>
                  <a:lnTo>
                    <a:pt x="119" y="92"/>
                  </a:lnTo>
                  <a:lnTo>
                    <a:pt x="112" y="84"/>
                  </a:lnTo>
                  <a:lnTo>
                    <a:pt x="113" y="78"/>
                  </a:lnTo>
                  <a:lnTo>
                    <a:pt x="120" y="73"/>
                  </a:lnTo>
                  <a:lnTo>
                    <a:pt x="114" y="66"/>
                  </a:lnTo>
                  <a:lnTo>
                    <a:pt x="108" y="70"/>
                  </a:lnTo>
                  <a:lnTo>
                    <a:pt x="98" y="60"/>
                  </a:lnTo>
                  <a:lnTo>
                    <a:pt x="96" y="65"/>
                  </a:lnTo>
                  <a:lnTo>
                    <a:pt x="87" y="65"/>
                  </a:lnTo>
                  <a:lnTo>
                    <a:pt x="85" y="61"/>
                  </a:lnTo>
                  <a:lnTo>
                    <a:pt x="85" y="54"/>
                  </a:lnTo>
                  <a:lnTo>
                    <a:pt x="81" y="50"/>
                  </a:lnTo>
                  <a:lnTo>
                    <a:pt x="75" y="51"/>
                  </a:lnTo>
                  <a:lnTo>
                    <a:pt x="67" y="40"/>
                  </a:lnTo>
                  <a:lnTo>
                    <a:pt x="61" y="39"/>
                  </a:lnTo>
                  <a:lnTo>
                    <a:pt x="52" y="34"/>
                  </a:lnTo>
                  <a:lnTo>
                    <a:pt x="33" y="35"/>
                  </a:lnTo>
                  <a:lnTo>
                    <a:pt x="14" y="34"/>
                  </a:lnTo>
                  <a:lnTo>
                    <a:pt x="0" y="30"/>
                  </a:ln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93" name="Freeform 93"/>
            <p:cNvSpPr>
              <a:spLocks/>
            </p:cNvSpPr>
            <p:nvPr/>
          </p:nvSpPr>
          <p:spPr bwMode="auto">
            <a:xfrm>
              <a:off x="3440113" y="2330450"/>
              <a:ext cx="423863" cy="222250"/>
            </a:xfrm>
            <a:custGeom>
              <a:avLst/>
              <a:gdLst>
                <a:gd name="T0" fmla="*/ 5 w 144"/>
                <a:gd name="T1" fmla="*/ 0 h 76"/>
                <a:gd name="T2" fmla="*/ 0 w 144"/>
                <a:gd name="T3" fmla="*/ 6 h 76"/>
                <a:gd name="T4" fmla="*/ 0 w 144"/>
                <a:gd name="T5" fmla="*/ 13 h 76"/>
                <a:gd name="T6" fmla="*/ 10 w 144"/>
                <a:gd name="T7" fmla="*/ 21 h 76"/>
                <a:gd name="T8" fmla="*/ 16 w 144"/>
                <a:gd name="T9" fmla="*/ 19 h 76"/>
                <a:gd name="T10" fmla="*/ 18 w 144"/>
                <a:gd name="T11" fmla="*/ 22 h 76"/>
                <a:gd name="T12" fmla="*/ 26 w 144"/>
                <a:gd name="T13" fmla="*/ 23 h 76"/>
                <a:gd name="T14" fmla="*/ 30 w 144"/>
                <a:gd name="T15" fmla="*/ 18 h 76"/>
                <a:gd name="T16" fmla="*/ 44 w 144"/>
                <a:gd name="T17" fmla="*/ 19 h 76"/>
                <a:gd name="T18" fmla="*/ 46 w 144"/>
                <a:gd name="T19" fmla="*/ 24 h 76"/>
                <a:gd name="T20" fmla="*/ 51 w 144"/>
                <a:gd name="T21" fmla="*/ 26 h 76"/>
                <a:gd name="T22" fmla="*/ 63 w 144"/>
                <a:gd name="T23" fmla="*/ 25 h 76"/>
                <a:gd name="T24" fmla="*/ 67 w 144"/>
                <a:gd name="T25" fmla="*/ 28 h 76"/>
                <a:gd name="T26" fmla="*/ 73 w 144"/>
                <a:gd name="T27" fmla="*/ 31 h 76"/>
                <a:gd name="T28" fmla="*/ 78 w 144"/>
                <a:gd name="T29" fmla="*/ 37 h 76"/>
                <a:gd name="T30" fmla="*/ 78 w 144"/>
                <a:gd name="T31" fmla="*/ 45 h 76"/>
                <a:gd name="T32" fmla="*/ 74 w 144"/>
                <a:gd name="T33" fmla="*/ 47 h 76"/>
                <a:gd name="T34" fmla="*/ 76 w 144"/>
                <a:gd name="T35" fmla="*/ 50 h 76"/>
                <a:gd name="T36" fmla="*/ 70 w 144"/>
                <a:gd name="T37" fmla="*/ 55 h 76"/>
                <a:gd name="T38" fmla="*/ 70 w 144"/>
                <a:gd name="T39" fmla="*/ 62 h 76"/>
                <a:gd name="T40" fmla="*/ 79 w 144"/>
                <a:gd name="T41" fmla="*/ 63 h 76"/>
                <a:gd name="T42" fmla="*/ 84 w 144"/>
                <a:gd name="T43" fmla="*/ 61 h 76"/>
                <a:gd name="T44" fmla="*/ 86 w 144"/>
                <a:gd name="T45" fmla="*/ 58 h 76"/>
                <a:gd name="T46" fmla="*/ 89 w 144"/>
                <a:gd name="T47" fmla="*/ 61 h 76"/>
                <a:gd name="T48" fmla="*/ 94 w 144"/>
                <a:gd name="T49" fmla="*/ 59 h 76"/>
                <a:gd name="T50" fmla="*/ 105 w 144"/>
                <a:gd name="T51" fmla="*/ 63 h 76"/>
                <a:gd name="T52" fmla="*/ 112 w 144"/>
                <a:gd name="T53" fmla="*/ 70 h 76"/>
                <a:gd name="T54" fmla="*/ 114 w 144"/>
                <a:gd name="T55" fmla="*/ 70 h 76"/>
                <a:gd name="T56" fmla="*/ 115 w 144"/>
                <a:gd name="T57" fmla="*/ 74 h 76"/>
                <a:gd name="T58" fmla="*/ 122 w 144"/>
                <a:gd name="T59" fmla="*/ 76 h 76"/>
                <a:gd name="T60" fmla="*/ 130 w 144"/>
                <a:gd name="T61" fmla="*/ 76 h 76"/>
                <a:gd name="T62" fmla="*/ 125 w 144"/>
                <a:gd name="T63" fmla="*/ 72 h 76"/>
                <a:gd name="T64" fmla="*/ 127 w 144"/>
                <a:gd name="T65" fmla="*/ 68 h 76"/>
                <a:gd name="T66" fmla="*/ 133 w 144"/>
                <a:gd name="T67" fmla="*/ 72 h 76"/>
                <a:gd name="T68" fmla="*/ 140 w 144"/>
                <a:gd name="T69" fmla="*/ 73 h 76"/>
                <a:gd name="T70" fmla="*/ 141 w 144"/>
                <a:gd name="T71" fmla="*/ 67 h 76"/>
                <a:gd name="T72" fmla="*/ 134 w 144"/>
                <a:gd name="T73" fmla="*/ 62 h 76"/>
                <a:gd name="T74" fmla="*/ 129 w 144"/>
                <a:gd name="T75" fmla="*/ 62 h 76"/>
                <a:gd name="T76" fmla="*/ 122 w 144"/>
                <a:gd name="T77" fmla="*/ 57 h 76"/>
                <a:gd name="T78" fmla="*/ 129 w 144"/>
                <a:gd name="T79" fmla="*/ 57 h 76"/>
                <a:gd name="T80" fmla="*/ 134 w 144"/>
                <a:gd name="T81" fmla="*/ 60 h 76"/>
                <a:gd name="T82" fmla="*/ 144 w 144"/>
                <a:gd name="T83" fmla="*/ 60 h 76"/>
                <a:gd name="T84" fmla="*/ 142 w 144"/>
                <a:gd name="T85" fmla="*/ 54 h 76"/>
                <a:gd name="T86" fmla="*/ 133 w 144"/>
                <a:gd name="T87" fmla="*/ 48 h 76"/>
                <a:gd name="T88" fmla="*/ 127 w 144"/>
                <a:gd name="T89" fmla="*/ 47 h 76"/>
                <a:gd name="T90" fmla="*/ 118 w 144"/>
                <a:gd name="T91" fmla="*/ 40 h 76"/>
                <a:gd name="T92" fmla="*/ 107 w 144"/>
                <a:gd name="T93" fmla="*/ 38 h 76"/>
                <a:gd name="T94" fmla="*/ 98 w 144"/>
                <a:gd name="T95" fmla="*/ 35 h 76"/>
                <a:gd name="T96" fmla="*/ 91 w 144"/>
                <a:gd name="T97" fmla="*/ 26 h 76"/>
                <a:gd name="T98" fmla="*/ 86 w 144"/>
                <a:gd name="T99" fmla="*/ 14 h 76"/>
                <a:gd name="T100" fmla="*/ 79 w 144"/>
                <a:gd name="T101" fmla="*/ 14 h 76"/>
                <a:gd name="T102" fmla="*/ 77 w 144"/>
                <a:gd name="T103" fmla="*/ 11 h 76"/>
                <a:gd name="T104" fmla="*/ 73 w 144"/>
                <a:gd name="T105" fmla="*/ 12 h 76"/>
                <a:gd name="T106" fmla="*/ 66 w 144"/>
                <a:gd name="T107" fmla="*/ 7 h 76"/>
                <a:gd name="T108" fmla="*/ 54 w 144"/>
                <a:gd name="T109" fmla="*/ 5 h 76"/>
                <a:gd name="T110" fmla="*/ 49 w 144"/>
                <a:gd name="T111" fmla="*/ 8 h 76"/>
                <a:gd name="T112" fmla="*/ 38 w 144"/>
                <a:gd name="T113" fmla="*/ 5 h 76"/>
                <a:gd name="T114" fmla="*/ 31 w 144"/>
                <a:gd name="T115" fmla="*/ 5 h 76"/>
                <a:gd name="T116" fmla="*/ 28 w 144"/>
                <a:gd name="T117" fmla="*/ 1 h 76"/>
                <a:gd name="T118" fmla="*/ 24 w 144"/>
                <a:gd name="T119" fmla="*/ 0 h 76"/>
                <a:gd name="T120" fmla="*/ 18 w 144"/>
                <a:gd name="T121" fmla="*/ 1 h 76"/>
                <a:gd name="T122" fmla="*/ 5 w 144"/>
                <a:gd name="T123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44" h="76">
                  <a:moveTo>
                    <a:pt x="5" y="0"/>
                  </a:moveTo>
                  <a:lnTo>
                    <a:pt x="0" y="6"/>
                  </a:lnTo>
                  <a:lnTo>
                    <a:pt x="0" y="13"/>
                  </a:lnTo>
                  <a:lnTo>
                    <a:pt x="10" y="21"/>
                  </a:lnTo>
                  <a:lnTo>
                    <a:pt x="16" y="19"/>
                  </a:lnTo>
                  <a:lnTo>
                    <a:pt x="18" y="22"/>
                  </a:lnTo>
                  <a:lnTo>
                    <a:pt x="26" y="23"/>
                  </a:lnTo>
                  <a:lnTo>
                    <a:pt x="30" y="18"/>
                  </a:lnTo>
                  <a:lnTo>
                    <a:pt x="44" y="19"/>
                  </a:lnTo>
                  <a:lnTo>
                    <a:pt x="46" y="24"/>
                  </a:lnTo>
                  <a:lnTo>
                    <a:pt x="51" y="26"/>
                  </a:lnTo>
                  <a:lnTo>
                    <a:pt x="63" y="25"/>
                  </a:lnTo>
                  <a:lnTo>
                    <a:pt x="67" y="28"/>
                  </a:lnTo>
                  <a:lnTo>
                    <a:pt x="73" y="31"/>
                  </a:lnTo>
                  <a:lnTo>
                    <a:pt x="78" y="37"/>
                  </a:lnTo>
                  <a:lnTo>
                    <a:pt x="78" y="45"/>
                  </a:lnTo>
                  <a:lnTo>
                    <a:pt x="74" y="47"/>
                  </a:lnTo>
                  <a:lnTo>
                    <a:pt x="76" y="50"/>
                  </a:lnTo>
                  <a:lnTo>
                    <a:pt x="70" y="55"/>
                  </a:lnTo>
                  <a:lnTo>
                    <a:pt x="70" y="62"/>
                  </a:lnTo>
                  <a:lnTo>
                    <a:pt x="79" y="63"/>
                  </a:lnTo>
                  <a:lnTo>
                    <a:pt x="84" y="61"/>
                  </a:lnTo>
                  <a:lnTo>
                    <a:pt x="86" y="58"/>
                  </a:lnTo>
                  <a:lnTo>
                    <a:pt x="89" y="61"/>
                  </a:lnTo>
                  <a:lnTo>
                    <a:pt x="94" y="59"/>
                  </a:lnTo>
                  <a:lnTo>
                    <a:pt x="105" y="63"/>
                  </a:lnTo>
                  <a:lnTo>
                    <a:pt x="112" y="70"/>
                  </a:lnTo>
                  <a:lnTo>
                    <a:pt x="114" y="70"/>
                  </a:lnTo>
                  <a:lnTo>
                    <a:pt x="115" y="74"/>
                  </a:lnTo>
                  <a:lnTo>
                    <a:pt x="122" y="76"/>
                  </a:lnTo>
                  <a:lnTo>
                    <a:pt x="130" y="76"/>
                  </a:lnTo>
                  <a:lnTo>
                    <a:pt x="125" y="72"/>
                  </a:lnTo>
                  <a:lnTo>
                    <a:pt x="127" y="68"/>
                  </a:lnTo>
                  <a:lnTo>
                    <a:pt x="133" y="72"/>
                  </a:lnTo>
                  <a:lnTo>
                    <a:pt x="140" y="73"/>
                  </a:lnTo>
                  <a:lnTo>
                    <a:pt x="141" y="67"/>
                  </a:lnTo>
                  <a:lnTo>
                    <a:pt x="134" y="62"/>
                  </a:lnTo>
                  <a:lnTo>
                    <a:pt x="129" y="62"/>
                  </a:lnTo>
                  <a:lnTo>
                    <a:pt x="122" y="57"/>
                  </a:lnTo>
                  <a:lnTo>
                    <a:pt x="129" y="57"/>
                  </a:lnTo>
                  <a:lnTo>
                    <a:pt x="134" y="60"/>
                  </a:lnTo>
                  <a:lnTo>
                    <a:pt x="144" y="60"/>
                  </a:lnTo>
                  <a:lnTo>
                    <a:pt x="142" y="54"/>
                  </a:lnTo>
                  <a:lnTo>
                    <a:pt x="133" y="48"/>
                  </a:lnTo>
                  <a:lnTo>
                    <a:pt x="127" y="47"/>
                  </a:lnTo>
                  <a:lnTo>
                    <a:pt x="118" y="40"/>
                  </a:lnTo>
                  <a:lnTo>
                    <a:pt x="107" y="38"/>
                  </a:lnTo>
                  <a:lnTo>
                    <a:pt x="98" y="35"/>
                  </a:lnTo>
                  <a:lnTo>
                    <a:pt x="91" y="26"/>
                  </a:lnTo>
                  <a:lnTo>
                    <a:pt x="86" y="14"/>
                  </a:lnTo>
                  <a:lnTo>
                    <a:pt x="79" y="14"/>
                  </a:lnTo>
                  <a:lnTo>
                    <a:pt x="77" y="11"/>
                  </a:lnTo>
                  <a:lnTo>
                    <a:pt x="73" y="12"/>
                  </a:lnTo>
                  <a:lnTo>
                    <a:pt x="66" y="7"/>
                  </a:lnTo>
                  <a:lnTo>
                    <a:pt x="54" y="5"/>
                  </a:lnTo>
                  <a:lnTo>
                    <a:pt x="49" y="8"/>
                  </a:lnTo>
                  <a:lnTo>
                    <a:pt x="38" y="5"/>
                  </a:lnTo>
                  <a:lnTo>
                    <a:pt x="31" y="5"/>
                  </a:lnTo>
                  <a:lnTo>
                    <a:pt x="28" y="1"/>
                  </a:lnTo>
                  <a:lnTo>
                    <a:pt x="24" y="0"/>
                  </a:lnTo>
                  <a:lnTo>
                    <a:pt x="18" y="1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94" name="Freeform 94"/>
            <p:cNvSpPr>
              <a:spLocks/>
            </p:cNvSpPr>
            <p:nvPr/>
          </p:nvSpPr>
          <p:spPr bwMode="auto">
            <a:xfrm>
              <a:off x="3681413" y="3568700"/>
              <a:ext cx="296863" cy="98425"/>
            </a:xfrm>
            <a:custGeom>
              <a:avLst/>
              <a:gdLst>
                <a:gd name="T0" fmla="*/ 0 w 101"/>
                <a:gd name="T1" fmla="*/ 17 h 34"/>
                <a:gd name="T2" fmla="*/ 9 w 101"/>
                <a:gd name="T3" fmla="*/ 7 h 34"/>
                <a:gd name="T4" fmla="*/ 13 w 101"/>
                <a:gd name="T5" fmla="*/ 7 h 34"/>
                <a:gd name="T6" fmla="*/ 20 w 101"/>
                <a:gd name="T7" fmla="*/ 2 h 34"/>
                <a:gd name="T8" fmla="*/ 28 w 101"/>
                <a:gd name="T9" fmla="*/ 2 h 34"/>
                <a:gd name="T10" fmla="*/ 30 w 101"/>
                <a:gd name="T11" fmla="*/ 1 h 34"/>
                <a:gd name="T12" fmla="*/ 33 w 101"/>
                <a:gd name="T13" fmla="*/ 0 h 34"/>
                <a:gd name="T14" fmla="*/ 43 w 101"/>
                <a:gd name="T15" fmla="*/ 6 h 34"/>
                <a:gd name="T16" fmla="*/ 46 w 101"/>
                <a:gd name="T17" fmla="*/ 10 h 34"/>
                <a:gd name="T18" fmla="*/ 48 w 101"/>
                <a:gd name="T19" fmla="*/ 8 h 34"/>
                <a:gd name="T20" fmla="*/ 56 w 101"/>
                <a:gd name="T21" fmla="*/ 12 h 34"/>
                <a:gd name="T22" fmla="*/ 61 w 101"/>
                <a:gd name="T23" fmla="*/ 12 h 34"/>
                <a:gd name="T24" fmla="*/ 65 w 101"/>
                <a:gd name="T25" fmla="*/ 15 h 34"/>
                <a:gd name="T26" fmla="*/ 72 w 101"/>
                <a:gd name="T27" fmla="*/ 17 h 34"/>
                <a:gd name="T28" fmla="*/ 72 w 101"/>
                <a:gd name="T29" fmla="*/ 22 h 34"/>
                <a:gd name="T30" fmla="*/ 85 w 101"/>
                <a:gd name="T31" fmla="*/ 22 h 34"/>
                <a:gd name="T32" fmla="*/ 88 w 101"/>
                <a:gd name="T33" fmla="*/ 27 h 34"/>
                <a:gd name="T34" fmla="*/ 96 w 101"/>
                <a:gd name="T35" fmla="*/ 27 h 34"/>
                <a:gd name="T36" fmla="*/ 101 w 101"/>
                <a:gd name="T37" fmla="*/ 33 h 34"/>
                <a:gd name="T38" fmla="*/ 98 w 101"/>
                <a:gd name="T39" fmla="*/ 34 h 34"/>
                <a:gd name="T40" fmla="*/ 96 w 101"/>
                <a:gd name="T41" fmla="*/ 32 h 34"/>
                <a:gd name="T42" fmla="*/ 95 w 101"/>
                <a:gd name="T43" fmla="*/ 31 h 34"/>
                <a:gd name="T44" fmla="*/ 88 w 101"/>
                <a:gd name="T45" fmla="*/ 32 h 34"/>
                <a:gd name="T46" fmla="*/ 86 w 101"/>
                <a:gd name="T47" fmla="*/ 33 h 34"/>
                <a:gd name="T48" fmla="*/ 80 w 101"/>
                <a:gd name="T49" fmla="*/ 34 h 34"/>
                <a:gd name="T50" fmla="*/ 71 w 101"/>
                <a:gd name="T51" fmla="*/ 34 h 34"/>
                <a:gd name="T52" fmla="*/ 65 w 101"/>
                <a:gd name="T53" fmla="*/ 34 h 34"/>
                <a:gd name="T54" fmla="*/ 65 w 101"/>
                <a:gd name="T55" fmla="*/ 31 h 34"/>
                <a:gd name="T56" fmla="*/ 56 w 101"/>
                <a:gd name="T57" fmla="*/ 23 h 34"/>
                <a:gd name="T58" fmla="*/ 56 w 101"/>
                <a:gd name="T59" fmla="*/ 18 h 34"/>
                <a:gd name="T60" fmla="*/ 46 w 101"/>
                <a:gd name="T61" fmla="*/ 18 h 34"/>
                <a:gd name="T62" fmla="*/ 42 w 101"/>
                <a:gd name="T63" fmla="*/ 15 h 34"/>
                <a:gd name="T64" fmla="*/ 39 w 101"/>
                <a:gd name="T65" fmla="*/ 18 h 34"/>
                <a:gd name="T66" fmla="*/ 36 w 101"/>
                <a:gd name="T67" fmla="*/ 14 h 34"/>
                <a:gd name="T68" fmla="*/ 33 w 101"/>
                <a:gd name="T69" fmla="*/ 14 h 34"/>
                <a:gd name="T70" fmla="*/ 33 w 101"/>
                <a:gd name="T71" fmla="*/ 9 h 34"/>
                <a:gd name="T72" fmla="*/ 30 w 101"/>
                <a:gd name="T73" fmla="*/ 7 h 34"/>
                <a:gd name="T74" fmla="*/ 21 w 101"/>
                <a:gd name="T75" fmla="*/ 8 h 34"/>
                <a:gd name="T76" fmla="*/ 15 w 101"/>
                <a:gd name="T77" fmla="*/ 14 h 34"/>
                <a:gd name="T78" fmla="*/ 8 w 101"/>
                <a:gd name="T79" fmla="*/ 15 h 34"/>
                <a:gd name="T80" fmla="*/ 0 w 101"/>
                <a:gd name="T81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1" h="34">
                  <a:moveTo>
                    <a:pt x="0" y="17"/>
                  </a:moveTo>
                  <a:lnTo>
                    <a:pt x="9" y="7"/>
                  </a:lnTo>
                  <a:lnTo>
                    <a:pt x="13" y="7"/>
                  </a:lnTo>
                  <a:lnTo>
                    <a:pt x="20" y="2"/>
                  </a:lnTo>
                  <a:lnTo>
                    <a:pt x="28" y="2"/>
                  </a:lnTo>
                  <a:lnTo>
                    <a:pt x="30" y="1"/>
                  </a:lnTo>
                  <a:lnTo>
                    <a:pt x="33" y="0"/>
                  </a:lnTo>
                  <a:lnTo>
                    <a:pt x="43" y="6"/>
                  </a:lnTo>
                  <a:lnTo>
                    <a:pt x="46" y="10"/>
                  </a:lnTo>
                  <a:lnTo>
                    <a:pt x="48" y="8"/>
                  </a:lnTo>
                  <a:lnTo>
                    <a:pt x="56" y="12"/>
                  </a:lnTo>
                  <a:lnTo>
                    <a:pt x="61" y="12"/>
                  </a:lnTo>
                  <a:lnTo>
                    <a:pt x="65" y="15"/>
                  </a:lnTo>
                  <a:lnTo>
                    <a:pt x="72" y="17"/>
                  </a:lnTo>
                  <a:lnTo>
                    <a:pt x="72" y="22"/>
                  </a:lnTo>
                  <a:lnTo>
                    <a:pt x="85" y="22"/>
                  </a:lnTo>
                  <a:lnTo>
                    <a:pt x="88" y="27"/>
                  </a:lnTo>
                  <a:lnTo>
                    <a:pt x="96" y="27"/>
                  </a:lnTo>
                  <a:lnTo>
                    <a:pt x="101" y="33"/>
                  </a:lnTo>
                  <a:lnTo>
                    <a:pt x="98" y="34"/>
                  </a:lnTo>
                  <a:lnTo>
                    <a:pt x="96" y="32"/>
                  </a:lnTo>
                  <a:lnTo>
                    <a:pt x="95" y="31"/>
                  </a:lnTo>
                  <a:lnTo>
                    <a:pt x="88" y="32"/>
                  </a:lnTo>
                  <a:lnTo>
                    <a:pt x="86" y="33"/>
                  </a:lnTo>
                  <a:lnTo>
                    <a:pt x="80" y="34"/>
                  </a:lnTo>
                  <a:lnTo>
                    <a:pt x="71" y="34"/>
                  </a:lnTo>
                  <a:lnTo>
                    <a:pt x="65" y="34"/>
                  </a:lnTo>
                  <a:lnTo>
                    <a:pt x="65" y="31"/>
                  </a:lnTo>
                  <a:lnTo>
                    <a:pt x="56" y="23"/>
                  </a:lnTo>
                  <a:lnTo>
                    <a:pt x="56" y="18"/>
                  </a:lnTo>
                  <a:lnTo>
                    <a:pt x="46" y="18"/>
                  </a:lnTo>
                  <a:lnTo>
                    <a:pt x="42" y="15"/>
                  </a:lnTo>
                  <a:lnTo>
                    <a:pt x="39" y="18"/>
                  </a:lnTo>
                  <a:lnTo>
                    <a:pt x="36" y="14"/>
                  </a:lnTo>
                  <a:lnTo>
                    <a:pt x="33" y="14"/>
                  </a:lnTo>
                  <a:lnTo>
                    <a:pt x="33" y="9"/>
                  </a:lnTo>
                  <a:lnTo>
                    <a:pt x="30" y="7"/>
                  </a:lnTo>
                  <a:lnTo>
                    <a:pt x="21" y="8"/>
                  </a:lnTo>
                  <a:lnTo>
                    <a:pt x="15" y="14"/>
                  </a:lnTo>
                  <a:lnTo>
                    <a:pt x="8" y="15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95" name="Freeform 95"/>
            <p:cNvSpPr>
              <a:spLocks/>
            </p:cNvSpPr>
            <p:nvPr/>
          </p:nvSpPr>
          <p:spPr bwMode="auto">
            <a:xfrm>
              <a:off x="3943351" y="3640138"/>
              <a:ext cx="187325" cy="87313"/>
            </a:xfrm>
            <a:custGeom>
              <a:avLst/>
              <a:gdLst>
                <a:gd name="T0" fmla="*/ 0 w 64"/>
                <a:gd name="T1" fmla="*/ 22 h 29"/>
                <a:gd name="T2" fmla="*/ 6 w 64"/>
                <a:gd name="T3" fmla="*/ 23 h 29"/>
                <a:gd name="T4" fmla="*/ 20 w 64"/>
                <a:gd name="T5" fmla="*/ 22 h 29"/>
                <a:gd name="T6" fmla="*/ 26 w 64"/>
                <a:gd name="T7" fmla="*/ 28 h 29"/>
                <a:gd name="T8" fmla="*/ 34 w 64"/>
                <a:gd name="T9" fmla="*/ 29 h 29"/>
                <a:gd name="T10" fmla="*/ 38 w 64"/>
                <a:gd name="T11" fmla="*/ 22 h 29"/>
                <a:gd name="T12" fmla="*/ 36 w 64"/>
                <a:gd name="T13" fmla="*/ 20 h 29"/>
                <a:gd name="T14" fmla="*/ 40 w 64"/>
                <a:gd name="T15" fmla="*/ 17 h 29"/>
                <a:gd name="T16" fmla="*/ 48 w 64"/>
                <a:gd name="T17" fmla="*/ 22 h 29"/>
                <a:gd name="T18" fmla="*/ 54 w 64"/>
                <a:gd name="T19" fmla="*/ 22 h 29"/>
                <a:gd name="T20" fmla="*/ 54 w 64"/>
                <a:gd name="T21" fmla="*/ 19 h 29"/>
                <a:gd name="T22" fmla="*/ 58 w 64"/>
                <a:gd name="T23" fmla="*/ 19 h 29"/>
                <a:gd name="T24" fmla="*/ 64 w 64"/>
                <a:gd name="T25" fmla="*/ 14 h 29"/>
                <a:gd name="T26" fmla="*/ 60 w 64"/>
                <a:gd name="T27" fmla="*/ 13 h 29"/>
                <a:gd name="T28" fmla="*/ 60 w 64"/>
                <a:gd name="T29" fmla="*/ 8 h 29"/>
                <a:gd name="T30" fmla="*/ 60 w 64"/>
                <a:gd name="T31" fmla="*/ 4 h 29"/>
                <a:gd name="T32" fmla="*/ 51 w 64"/>
                <a:gd name="T33" fmla="*/ 3 h 29"/>
                <a:gd name="T34" fmla="*/ 44 w 64"/>
                <a:gd name="T35" fmla="*/ 4 h 29"/>
                <a:gd name="T36" fmla="*/ 38 w 64"/>
                <a:gd name="T37" fmla="*/ 4 h 29"/>
                <a:gd name="T38" fmla="*/ 29 w 64"/>
                <a:gd name="T39" fmla="*/ 3 h 29"/>
                <a:gd name="T40" fmla="*/ 22 w 64"/>
                <a:gd name="T41" fmla="*/ 0 h 29"/>
                <a:gd name="T42" fmla="*/ 20 w 64"/>
                <a:gd name="T43" fmla="*/ 3 h 29"/>
                <a:gd name="T44" fmla="*/ 19 w 64"/>
                <a:gd name="T45" fmla="*/ 9 h 29"/>
                <a:gd name="T46" fmla="*/ 12 w 64"/>
                <a:gd name="T47" fmla="*/ 9 h 29"/>
                <a:gd name="T48" fmla="*/ 10 w 64"/>
                <a:gd name="T49" fmla="*/ 14 h 29"/>
                <a:gd name="T50" fmla="*/ 6 w 64"/>
                <a:gd name="T51" fmla="*/ 16 h 29"/>
                <a:gd name="T52" fmla="*/ 0 w 64"/>
                <a:gd name="T53" fmla="*/ 2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4" h="29">
                  <a:moveTo>
                    <a:pt x="0" y="22"/>
                  </a:moveTo>
                  <a:lnTo>
                    <a:pt x="6" y="23"/>
                  </a:lnTo>
                  <a:lnTo>
                    <a:pt x="20" y="22"/>
                  </a:lnTo>
                  <a:lnTo>
                    <a:pt x="26" y="28"/>
                  </a:lnTo>
                  <a:lnTo>
                    <a:pt x="34" y="29"/>
                  </a:lnTo>
                  <a:lnTo>
                    <a:pt x="38" y="22"/>
                  </a:lnTo>
                  <a:lnTo>
                    <a:pt x="36" y="20"/>
                  </a:lnTo>
                  <a:lnTo>
                    <a:pt x="40" y="17"/>
                  </a:lnTo>
                  <a:lnTo>
                    <a:pt x="48" y="22"/>
                  </a:lnTo>
                  <a:lnTo>
                    <a:pt x="54" y="22"/>
                  </a:lnTo>
                  <a:lnTo>
                    <a:pt x="54" y="19"/>
                  </a:lnTo>
                  <a:lnTo>
                    <a:pt x="58" y="19"/>
                  </a:lnTo>
                  <a:lnTo>
                    <a:pt x="64" y="14"/>
                  </a:lnTo>
                  <a:lnTo>
                    <a:pt x="60" y="13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51" y="3"/>
                  </a:lnTo>
                  <a:lnTo>
                    <a:pt x="44" y="4"/>
                  </a:lnTo>
                  <a:lnTo>
                    <a:pt x="38" y="4"/>
                  </a:lnTo>
                  <a:lnTo>
                    <a:pt x="29" y="3"/>
                  </a:lnTo>
                  <a:lnTo>
                    <a:pt x="22" y="0"/>
                  </a:lnTo>
                  <a:lnTo>
                    <a:pt x="20" y="3"/>
                  </a:lnTo>
                  <a:lnTo>
                    <a:pt x="19" y="9"/>
                  </a:lnTo>
                  <a:lnTo>
                    <a:pt x="12" y="9"/>
                  </a:lnTo>
                  <a:lnTo>
                    <a:pt x="10" y="14"/>
                  </a:lnTo>
                  <a:lnTo>
                    <a:pt x="6" y="16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96" name="Freeform 96"/>
            <p:cNvSpPr>
              <a:spLocks/>
            </p:cNvSpPr>
            <p:nvPr/>
          </p:nvSpPr>
          <p:spPr bwMode="auto">
            <a:xfrm>
              <a:off x="3824288" y="3890963"/>
              <a:ext cx="1204913" cy="1792288"/>
            </a:xfrm>
            <a:custGeom>
              <a:avLst/>
              <a:gdLst>
                <a:gd name="T0" fmla="*/ 47 w 411"/>
                <a:gd name="T1" fmla="*/ 10 h 611"/>
                <a:gd name="T2" fmla="*/ 78 w 411"/>
                <a:gd name="T3" fmla="*/ 1 h 611"/>
                <a:gd name="T4" fmla="*/ 65 w 411"/>
                <a:gd name="T5" fmla="*/ 21 h 611"/>
                <a:gd name="T6" fmla="*/ 78 w 411"/>
                <a:gd name="T7" fmla="*/ 20 h 611"/>
                <a:gd name="T8" fmla="*/ 91 w 411"/>
                <a:gd name="T9" fmla="*/ 19 h 611"/>
                <a:gd name="T10" fmla="*/ 109 w 411"/>
                <a:gd name="T11" fmla="*/ 26 h 611"/>
                <a:gd name="T12" fmla="*/ 165 w 411"/>
                <a:gd name="T13" fmla="*/ 37 h 611"/>
                <a:gd name="T14" fmla="*/ 191 w 411"/>
                <a:gd name="T15" fmla="*/ 48 h 611"/>
                <a:gd name="T16" fmla="*/ 224 w 411"/>
                <a:gd name="T17" fmla="*/ 54 h 611"/>
                <a:gd name="T18" fmla="*/ 272 w 411"/>
                <a:gd name="T19" fmla="*/ 84 h 611"/>
                <a:gd name="T20" fmla="*/ 298 w 411"/>
                <a:gd name="T21" fmla="*/ 121 h 611"/>
                <a:gd name="T22" fmla="*/ 400 w 411"/>
                <a:gd name="T23" fmla="*/ 152 h 611"/>
                <a:gd name="T24" fmla="*/ 401 w 411"/>
                <a:gd name="T25" fmla="*/ 203 h 611"/>
                <a:gd name="T26" fmla="*/ 375 w 411"/>
                <a:gd name="T27" fmla="*/ 231 h 611"/>
                <a:gd name="T28" fmla="*/ 371 w 411"/>
                <a:gd name="T29" fmla="*/ 270 h 611"/>
                <a:gd name="T30" fmla="*/ 356 w 411"/>
                <a:gd name="T31" fmla="*/ 287 h 611"/>
                <a:gd name="T32" fmla="*/ 332 w 411"/>
                <a:gd name="T33" fmla="*/ 316 h 611"/>
                <a:gd name="T34" fmla="*/ 297 w 411"/>
                <a:gd name="T35" fmla="*/ 326 h 611"/>
                <a:gd name="T36" fmla="*/ 279 w 411"/>
                <a:gd name="T37" fmla="*/ 356 h 611"/>
                <a:gd name="T38" fmla="*/ 275 w 411"/>
                <a:gd name="T39" fmla="*/ 381 h 611"/>
                <a:gd name="T40" fmla="*/ 247 w 411"/>
                <a:gd name="T41" fmla="*/ 404 h 611"/>
                <a:gd name="T42" fmla="*/ 230 w 411"/>
                <a:gd name="T43" fmla="*/ 422 h 611"/>
                <a:gd name="T44" fmla="*/ 219 w 411"/>
                <a:gd name="T45" fmla="*/ 431 h 611"/>
                <a:gd name="T46" fmla="*/ 213 w 411"/>
                <a:gd name="T47" fmla="*/ 455 h 611"/>
                <a:gd name="T48" fmla="*/ 185 w 411"/>
                <a:gd name="T49" fmla="*/ 465 h 611"/>
                <a:gd name="T50" fmla="*/ 163 w 411"/>
                <a:gd name="T51" fmla="*/ 475 h 611"/>
                <a:gd name="T52" fmla="*/ 162 w 411"/>
                <a:gd name="T53" fmla="*/ 500 h 611"/>
                <a:gd name="T54" fmla="*/ 141 w 411"/>
                <a:gd name="T55" fmla="*/ 518 h 611"/>
                <a:gd name="T56" fmla="*/ 154 w 411"/>
                <a:gd name="T57" fmla="*/ 534 h 611"/>
                <a:gd name="T58" fmla="*/ 133 w 411"/>
                <a:gd name="T59" fmla="*/ 549 h 611"/>
                <a:gd name="T60" fmla="*/ 122 w 411"/>
                <a:gd name="T61" fmla="*/ 575 h 611"/>
                <a:gd name="T62" fmla="*/ 150 w 411"/>
                <a:gd name="T63" fmla="*/ 611 h 611"/>
                <a:gd name="T64" fmla="*/ 117 w 411"/>
                <a:gd name="T65" fmla="*/ 593 h 611"/>
                <a:gd name="T66" fmla="*/ 96 w 411"/>
                <a:gd name="T67" fmla="*/ 561 h 611"/>
                <a:gd name="T68" fmla="*/ 94 w 411"/>
                <a:gd name="T69" fmla="*/ 475 h 611"/>
                <a:gd name="T70" fmla="*/ 91 w 411"/>
                <a:gd name="T71" fmla="*/ 439 h 611"/>
                <a:gd name="T72" fmla="*/ 93 w 411"/>
                <a:gd name="T73" fmla="*/ 400 h 611"/>
                <a:gd name="T74" fmla="*/ 97 w 411"/>
                <a:gd name="T75" fmla="*/ 369 h 611"/>
                <a:gd name="T76" fmla="*/ 95 w 411"/>
                <a:gd name="T77" fmla="*/ 319 h 611"/>
                <a:gd name="T78" fmla="*/ 98 w 411"/>
                <a:gd name="T79" fmla="*/ 278 h 611"/>
                <a:gd name="T80" fmla="*/ 74 w 411"/>
                <a:gd name="T81" fmla="*/ 250 h 611"/>
                <a:gd name="T82" fmla="*/ 37 w 411"/>
                <a:gd name="T83" fmla="*/ 227 h 611"/>
                <a:gd name="T84" fmla="*/ 24 w 411"/>
                <a:gd name="T85" fmla="*/ 193 h 611"/>
                <a:gd name="T86" fmla="*/ 7 w 411"/>
                <a:gd name="T87" fmla="*/ 174 h 611"/>
                <a:gd name="T88" fmla="*/ 8 w 411"/>
                <a:gd name="T89" fmla="*/ 142 h 611"/>
                <a:gd name="T90" fmla="*/ 4 w 411"/>
                <a:gd name="T91" fmla="*/ 111 h 611"/>
                <a:gd name="T92" fmla="*/ 30 w 411"/>
                <a:gd name="T93" fmla="*/ 50 h 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11" h="611">
                  <a:moveTo>
                    <a:pt x="32" y="27"/>
                  </a:moveTo>
                  <a:lnTo>
                    <a:pt x="37" y="20"/>
                  </a:lnTo>
                  <a:lnTo>
                    <a:pt x="47" y="10"/>
                  </a:lnTo>
                  <a:lnTo>
                    <a:pt x="62" y="4"/>
                  </a:lnTo>
                  <a:lnTo>
                    <a:pt x="70" y="0"/>
                  </a:lnTo>
                  <a:lnTo>
                    <a:pt x="78" y="1"/>
                  </a:lnTo>
                  <a:lnTo>
                    <a:pt x="76" y="6"/>
                  </a:lnTo>
                  <a:lnTo>
                    <a:pt x="67" y="11"/>
                  </a:lnTo>
                  <a:lnTo>
                    <a:pt x="65" y="21"/>
                  </a:lnTo>
                  <a:lnTo>
                    <a:pt x="67" y="29"/>
                  </a:lnTo>
                  <a:lnTo>
                    <a:pt x="75" y="29"/>
                  </a:lnTo>
                  <a:lnTo>
                    <a:pt x="78" y="20"/>
                  </a:lnTo>
                  <a:lnTo>
                    <a:pt x="80" y="11"/>
                  </a:lnTo>
                  <a:lnTo>
                    <a:pt x="85" y="14"/>
                  </a:lnTo>
                  <a:lnTo>
                    <a:pt x="91" y="19"/>
                  </a:lnTo>
                  <a:lnTo>
                    <a:pt x="101" y="17"/>
                  </a:lnTo>
                  <a:lnTo>
                    <a:pt x="107" y="21"/>
                  </a:lnTo>
                  <a:lnTo>
                    <a:pt x="109" y="26"/>
                  </a:lnTo>
                  <a:lnTo>
                    <a:pt x="124" y="24"/>
                  </a:lnTo>
                  <a:lnTo>
                    <a:pt x="154" y="21"/>
                  </a:lnTo>
                  <a:lnTo>
                    <a:pt x="165" y="37"/>
                  </a:lnTo>
                  <a:lnTo>
                    <a:pt x="184" y="45"/>
                  </a:lnTo>
                  <a:lnTo>
                    <a:pt x="183" y="52"/>
                  </a:lnTo>
                  <a:lnTo>
                    <a:pt x="191" y="48"/>
                  </a:lnTo>
                  <a:lnTo>
                    <a:pt x="200" y="48"/>
                  </a:lnTo>
                  <a:lnTo>
                    <a:pt x="211" y="55"/>
                  </a:lnTo>
                  <a:lnTo>
                    <a:pt x="224" y="54"/>
                  </a:lnTo>
                  <a:lnTo>
                    <a:pt x="235" y="55"/>
                  </a:lnTo>
                  <a:lnTo>
                    <a:pt x="253" y="68"/>
                  </a:lnTo>
                  <a:lnTo>
                    <a:pt x="272" y="84"/>
                  </a:lnTo>
                  <a:lnTo>
                    <a:pt x="280" y="102"/>
                  </a:lnTo>
                  <a:lnTo>
                    <a:pt x="275" y="116"/>
                  </a:lnTo>
                  <a:lnTo>
                    <a:pt x="298" y="121"/>
                  </a:lnTo>
                  <a:lnTo>
                    <a:pt x="336" y="128"/>
                  </a:lnTo>
                  <a:lnTo>
                    <a:pt x="375" y="136"/>
                  </a:lnTo>
                  <a:lnTo>
                    <a:pt x="400" y="152"/>
                  </a:lnTo>
                  <a:lnTo>
                    <a:pt x="411" y="167"/>
                  </a:lnTo>
                  <a:lnTo>
                    <a:pt x="411" y="186"/>
                  </a:lnTo>
                  <a:lnTo>
                    <a:pt x="401" y="203"/>
                  </a:lnTo>
                  <a:lnTo>
                    <a:pt x="390" y="212"/>
                  </a:lnTo>
                  <a:lnTo>
                    <a:pt x="383" y="218"/>
                  </a:lnTo>
                  <a:lnTo>
                    <a:pt x="375" y="231"/>
                  </a:lnTo>
                  <a:lnTo>
                    <a:pt x="374" y="242"/>
                  </a:lnTo>
                  <a:lnTo>
                    <a:pt x="375" y="256"/>
                  </a:lnTo>
                  <a:lnTo>
                    <a:pt x="371" y="270"/>
                  </a:lnTo>
                  <a:lnTo>
                    <a:pt x="365" y="273"/>
                  </a:lnTo>
                  <a:lnTo>
                    <a:pt x="363" y="281"/>
                  </a:lnTo>
                  <a:lnTo>
                    <a:pt x="356" y="287"/>
                  </a:lnTo>
                  <a:lnTo>
                    <a:pt x="355" y="294"/>
                  </a:lnTo>
                  <a:lnTo>
                    <a:pt x="346" y="302"/>
                  </a:lnTo>
                  <a:lnTo>
                    <a:pt x="332" y="316"/>
                  </a:lnTo>
                  <a:lnTo>
                    <a:pt x="320" y="320"/>
                  </a:lnTo>
                  <a:lnTo>
                    <a:pt x="312" y="319"/>
                  </a:lnTo>
                  <a:lnTo>
                    <a:pt x="297" y="326"/>
                  </a:lnTo>
                  <a:lnTo>
                    <a:pt x="282" y="342"/>
                  </a:lnTo>
                  <a:lnTo>
                    <a:pt x="279" y="348"/>
                  </a:lnTo>
                  <a:lnTo>
                    <a:pt x="279" y="356"/>
                  </a:lnTo>
                  <a:lnTo>
                    <a:pt x="282" y="365"/>
                  </a:lnTo>
                  <a:lnTo>
                    <a:pt x="275" y="374"/>
                  </a:lnTo>
                  <a:lnTo>
                    <a:pt x="275" y="381"/>
                  </a:lnTo>
                  <a:lnTo>
                    <a:pt x="263" y="389"/>
                  </a:lnTo>
                  <a:lnTo>
                    <a:pt x="254" y="395"/>
                  </a:lnTo>
                  <a:lnTo>
                    <a:pt x="247" y="404"/>
                  </a:lnTo>
                  <a:lnTo>
                    <a:pt x="244" y="413"/>
                  </a:lnTo>
                  <a:lnTo>
                    <a:pt x="234" y="424"/>
                  </a:lnTo>
                  <a:lnTo>
                    <a:pt x="230" y="422"/>
                  </a:lnTo>
                  <a:lnTo>
                    <a:pt x="222" y="422"/>
                  </a:lnTo>
                  <a:lnTo>
                    <a:pt x="212" y="426"/>
                  </a:lnTo>
                  <a:lnTo>
                    <a:pt x="219" y="431"/>
                  </a:lnTo>
                  <a:lnTo>
                    <a:pt x="219" y="441"/>
                  </a:lnTo>
                  <a:lnTo>
                    <a:pt x="218" y="449"/>
                  </a:lnTo>
                  <a:lnTo>
                    <a:pt x="213" y="455"/>
                  </a:lnTo>
                  <a:lnTo>
                    <a:pt x="200" y="456"/>
                  </a:lnTo>
                  <a:lnTo>
                    <a:pt x="190" y="459"/>
                  </a:lnTo>
                  <a:lnTo>
                    <a:pt x="185" y="465"/>
                  </a:lnTo>
                  <a:lnTo>
                    <a:pt x="185" y="475"/>
                  </a:lnTo>
                  <a:lnTo>
                    <a:pt x="173" y="478"/>
                  </a:lnTo>
                  <a:lnTo>
                    <a:pt x="163" y="475"/>
                  </a:lnTo>
                  <a:lnTo>
                    <a:pt x="160" y="481"/>
                  </a:lnTo>
                  <a:lnTo>
                    <a:pt x="165" y="485"/>
                  </a:lnTo>
                  <a:lnTo>
                    <a:pt x="162" y="500"/>
                  </a:lnTo>
                  <a:lnTo>
                    <a:pt x="158" y="513"/>
                  </a:lnTo>
                  <a:lnTo>
                    <a:pt x="145" y="513"/>
                  </a:lnTo>
                  <a:lnTo>
                    <a:pt x="141" y="518"/>
                  </a:lnTo>
                  <a:lnTo>
                    <a:pt x="142" y="528"/>
                  </a:lnTo>
                  <a:lnTo>
                    <a:pt x="149" y="528"/>
                  </a:lnTo>
                  <a:lnTo>
                    <a:pt x="154" y="534"/>
                  </a:lnTo>
                  <a:lnTo>
                    <a:pt x="151" y="544"/>
                  </a:lnTo>
                  <a:lnTo>
                    <a:pt x="144" y="545"/>
                  </a:lnTo>
                  <a:lnTo>
                    <a:pt x="133" y="549"/>
                  </a:lnTo>
                  <a:lnTo>
                    <a:pt x="130" y="557"/>
                  </a:lnTo>
                  <a:lnTo>
                    <a:pt x="129" y="569"/>
                  </a:lnTo>
                  <a:lnTo>
                    <a:pt x="122" y="575"/>
                  </a:lnTo>
                  <a:lnTo>
                    <a:pt x="147" y="595"/>
                  </a:lnTo>
                  <a:lnTo>
                    <a:pt x="154" y="605"/>
                  </a:lnTo>
                  <a:lnTo>
                    <a:pt x="150" y="611"/>
                  </a:lnTo>
                  <a:lnTo>
                    <a:pt x="139" y="607"/>
                  </a:lnTo>
                  <a:lnTo>
                    <a:pt x="130" y="599"/>
                  </a:lnTo>
                  <a:lnTo>
                    <a:pt x="117" y="593"/>
                  </a:lnTo>
                  <a:lnTo>
                    <a:pt x="105" y="583"/>
                  </a:lnTo>
                  <a:lnTo>
                    <a:pt x="97" y="571"/>
                  </a:lnTo>
                  <a:lnTo>
                    <a:pt x="96" y="561"/>
                  </a:lnTo>
                  <a:lnTo>
                    <a:pt x="98" y="553"/>
                  </a:lnTo>
                  <a:lnTo>
                    <a:pt x="97" y="488"/>
                  </a:lnTo>
                  <a:lnTo>
                    <a:pt x="94" y="475"/>
                  </a:lnTo>
                  <a:lnTo>
                    <a:pt x="85" y="463"/>
                  </a:lnTo>
                  <a:lnTo>
                    <a:pt x="85" y="452"/>
                  </a:lnTo>
                  <a:lnTo>
                    <a:pt x="91" y="439"/>
                  </a:lnTo>
                  <a:lnTo>
                    <a:pt x="96" y="423"/>
                  </a:lnTo>
                  <a:lnTo>
                    <a:pt x="94" y="407"/>
                  </a:lnTo>
                  <a:lnTo>
                    <a:pt x="93" y="400"/>
                  </a:lnTo>
                  <a:lnTo>
                    <a:pt x="92" y="391"/>
                  </a:lnTo>
                  <a:lnTo>
                    <a:pt x="95" y="387"/>
                  </a:lnTo>
                  <a:lnTo>
                    <a:pt x="97" y="369"/>
                  </a:lnTo>
                  <a:lnTo>
                    <a:pt x="95" y="360"/>
                  </a:lnTo>
                  <a:lnTo>
                    <a:pt x="99" y="338"/>
                  </a:lnTo>
                  <a:lnTo>
                    <a:pt x="95" y="319"/>
                  </a:lnTo>
                  <a:lnTo>
                    <a:pt x="98" y="309"/>
                  </a:lnTo>
                  <a:lnTo>
                    <a:pt x="103" y="290"/>
                  </a:lnTo>
                  <a:lnTo>
                    <a:pt x="98" y="278"/>
                  </a:lnTo>
                  <a:lnTo>
                    <a:pt x="88" y="269"/>
                  </a:lnTo>
                  <a:lnTo>
                    <a:pt x="85" y="259"/>
                  </a:lnTo>
                  <a:lnTo>
                    <a:pt x="74" y="250"/>
                  </a:lnTo>
                  <a:lnTo>
                    <a:pt x="62" y="244"/>
                  </a:lnTo>
                  <a:lnTo>
                    <a:pt x="45" y="241"/>
                  </a:lnTo>
                  <a:lnTo>
                    <a:pt x="37" y="227"/>
                  </a:lnTo>
                  <a:lnTo>
                    <a:pt x="26" y="214"/>
                  </a:lnTo>
                  <a:lnTo>
                    <a:pt x="25" y="203"/>
                  </a:lnTo>
                  <a:lnTo>
                    <a:pt x="24" y="193"/>
                  </a:lnTo>
                  <a:lnTo>
                    <a:pt x="21" y="186"/>
                  </a:lnTo>
                  <a:lnTo>
                    <a:pt x="15" y="178"/>
                  </a:lnTo>
                  <a:lnTo>
                    <a:pt x="7" y="174"/>
                  </a:lnTo>
                  <a:lnTo>
                    <a:pt x="1" y="166"/>
                  </a:lnTo>
                  <a:lnTo>
                    <a:pt x="8" y="159"/>
                  </a:lnTo>
                  <a:lnTo>
                    <a:pt x="8" y="142"/>
                  </a:lnTo>
                  <a:lnTo>
                    <a:pt x="4" y="133"/>
                  </a:lnTo>
                  <a:lnTo>
                    <a:pt x="0" y="124"/>
                  </a:lnTo>
                  <a:lnTo>
                    <a:pt x="4" y="111"/>
                  </a:lnTo>
                  <a:lnTo>
                    <a:pt x="20" y="79"/>
                  </a:lnTo>
                  <a:lnTo>
                    <a:pt x="21" y="65"/>
                  </a:lnTo>
                  <a:lnTo>
                    <a:pt x="30" y="50"/>
                  </a:lnTo>
                  <a:lnTo>
                    <a:pt x="30" y="42"/>
                  </a:lnTo>
                  <a:lnTo>
                    <a:pt x="32" y="27"/>
                  </a:ln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</p:grpSp>
    </p:spTree>
    <p:extLst>
      <p:ext uri="{BB962C8B-B14F-4D97-AF65-F5344CB8AC3E}">
        <p14:creationId xmlns:p14="http://schemas.microsoft.com/office/powerpoint/2010/main" val="3407033781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97"/>
          <p:cNvGrpSpPr/>
          <p:nvPr>
            <p:custDataLst>
              <p:tags r:id="rId1"/>
            </p:custDataLst>
          </p:nvPr>
        </p:nvGrpSpPr>
        <p:grpSpPr>
          <a:xfrm>
            <a:off x="1394798" y="620710"/>
            <a:ext cx="10205039" cy="5329240"/>
            <a:chOff x="620712" y="2114550"/>
            <a:chExt cx="7607285" cy="4303713"/>
          </a:xfrm>
          <a:solidFill>
            <a:srgbClr val="D6D6CE"/>
          </a:solidFill>
        </p:grpSpPr>
        <p:grpSp>
          <p:nvGrpSpPr>
            <p:cNvPr id="4" name="Group 1139"/>
            <p:cNvGrpSpPr>
              <a:grpSpLocks/>
            </p:cNvGrpSpPr>
            <p:nvPr/>
          </p:nvGrpSpPr>
          <p:grpSpPr bwMode="auto">
            <a:xfrm>
              <a:off x="4437337" y="4072713"/>
              <a:ext cx="540039" cy="875601"/>
              <a:chOff x="2672" y="1287"/>
              <a:chExt cx="104" cy="165"/>
            </a:xfrm>
            <a:grpFill/>
          </p:grpSpPr>
          <p:sp>
            <p:nvSpPr>
              <p:cNvPr id="386" name="Freeform 1140"/>
              <p:cNvSpPr>
                <a:spLocks/>
              </p:cNvSpPr>
              <p:nvPr/>
            </p:nvSpPr>
            <p:spPr bwMode="auto">
              <a:xfrm>
                <a:off x="2672" y="1287"/>
                <a:ext cx="10" cy="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" y="9"/>
                  </a:cxn>
                  <a:cxn ang="0">
                    <a:pos x="10" y="7"/>
                  </a:cxn>
                  <a:cxn ang="0">
                    <a:pos x="10" y="3"/>
                  </a:cxn>
                  <a:cxn ang="0">
                    <a:pos x="4" y="3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10" h="9">
                    <a:moveTo>
                      <a:pt x="0" y="0"/>
                    </a:moveTo>
                    <a:lnTo>
                      <a:pt x="4" y="9"/>
                    </a:lnTo>
                    <a:lnTo>
                      <a:pt x="10" y="7"/>
                    </a:lnTo>
                    <a:lnTo>
                      <a:pt x="10" y="3"/>
                    </a:lnTo>
                    <a:lnTo>
                      <a:pt x="4" y="3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rgbClr val="263143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87" name="Freeform 1141"/>
              <p:cNvSpPr>
                <a:spLocks/>
              </p:cNvSpPr>
              <p:nvPr/>
            </p:nvSpPr>
            <p:spPr bwMode="auto">
              <a:xfrm>
                <a:off x="2759" y="1366"/>
                <a:ext cx="13" cy="18"/>
              </a:xfrm>
              <a:custGeom>
                <a:avLst/>
                <a:gdLst/>
                <a:ahLst/>
                <a:cxnLst>
                  <a:cxn ang="0">
                    <a:pos x="0" y="16"/>
                  </a:cxn>
                  <a:cxn ang="0">
                    <a:pos x="2" y="18"/>
                  </a:cxn>
                  <a:cxn ang="0">
                    <a:pos x="2" y="16"/>
                  </a:cxn>
                  <a:cxn ang="0">
                    <a:pos x="9" y="18"/>
                  </a:cxn>
                  <a:cxn ang="0">
                    <a:pos x="11" y="16"/>
                  </a:cxn>
                  <a:cxn ang="0">
                    <a:pos x="9" y="16"/>
                  </a:cxn>
                  <a:cxn ang="0">
                    <a:pos x="13" y="7"/>
                  </a:cxn>
                  <a:cxn ang="0">
                    <a:pos x="11" y="2"/>
                  </a:cxn>
                  <a:cxn ang="0">
                    <a:pos x="9" y="0"/>
                  </a:cxn>
                  <a:cxn ang="0">
                    <a:pos x="2" y="2"/>
                  </a:cxn>
                  <a:cxn ang="0">
                    <a:pos x="0" y="9"/>
                  </a:cxn>
                  <a:cxn ang="0">
                    <a:pos x="0" y="16"/>
                  </a:cxn>
                </a:cxnLst>
                <a:rect l="0" t="0" r="r" b="b"/>
                <a:pathLst>
                  <a:path w="13" h="18">
                    <a:moveTo>
                      <a:pt x="0" y="16"/>
                    </a:moveTo>
                    <a:lnTo>
                      <a:pt x="2" y="18"/>
                    </a:lnTo>
                    <a:lnTo>
                      <a:pt x="2" y="16"/>
                    </a:lnTo>
                    <a:lnTo>
                      <a:pt x="9" y="18"/>
                    </a:lnTo>
                    <a:lnTo>
                      <a:pt x="11" y="16"/>
                    </a:lnTo>
                    <a:lnTo>
                      <a:pt x="9" y="16"/>
                    </a:lnTo>
                    <a:lnTo>
                      <a:pt x="13" y="7"/>
                    </a:lnTo>
                    <a:lnTo>
                      <a:pt x="11" y="2"/>
                    </a:lnTo>
                    <a:lnTo>
                      <a:pt x="9" y="0"/>
                    </a:lnTo>
                    <a:lnTo>
                      <a:pt x="2" y="2"/>
                    </a:lnTo>
                    <a:lnTo>
                      <a:pt x="0" y="9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9525">
                <a:solidFill>
                  <a:srgbClr val="263143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88" name="Freeform 1142"/>
              <p:cNvSpPr>
                <a:spLocks/>
              </p:cNvSpPr>
              <p:nvPr/>
            </p:nvSpPr>
            <p:spPr bwMode="auto">
              <a:xfrm>
                <a:off x="2747" y="1389"/>
                <a:ext cx="8" cy="29"/>
              </a:xfrm>
              <a:custGeom>
                <a:avLst/>
                <a:gdLst/>
                <a:ahLst/>
                <a:cxnLst>
                  <a:cxn ang="0">
                    <a:pos x="0" y="13"/>
                  </a:cxn>
                  <a:cxn ang="0">
                    <a:pos x="6" y="22"/>
                  </a:cxn>
                  <a:cxn ang="0">
                    <a:pos x="6" y="29"/>
                  </a:cxn>
                  <a:cxn ang="0">
                    <a:pos x="8" y="29"/>
                  </a:cxn>
                  <a:cxn ang="0">
                    <a:pos x="8" y="20"/>
                  </a:cxn>
                  <a:cxn ang="0">
                    <a:pos x="4" y="18"/>
                  </a:cxn>
                  <a:cxn ang="0">
                    <a:pos x="6" y="13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9"/>
                  </a:cxn>
                  <a:cxn ang="0">
                    <a:pos x="0" y="13"/>
                  </a:cxn>
                </a:cxnLst>
                <a:rect l="0" t="0" r="r" b="b"/>
                <a:pathLst>
                  <a:path w="8" h="29">
                    <a:moveTo>
                      <a:pt x="0" y="13"/>
                    </a:moveTo>
                    <a:lnTo>
                      <a:pt x="6" y="22"/>
                    </a:lnTo>
                    <a:lnTo>
                      <a:pt x="6" y="29"/>
                    </a:lnTo>
                    <a:lnTo>
                      <a:pt x="8" y="29"/>
                    </a:lnTo>
                    <a:lnTo>
                      <a:pt x="8" y="20"/>
                    </a:lnTo>
                    <a:lnTo>
                      <a:pt x="4" y="18"/>
                    </a:lnTo>
                    <a:lnTo>
                      <a:pt x="6" y="13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9"/>
                    </a:lnTo>
                    <a:lnTo>
                      <a:pt x="0" y="13"/>
                    </a:lnTo>
                    <a:close/>
                  </a:path>
                </a:pathLst>
              </a:custGeom>
              <a:grpFill/>
              <a:ln w="9525">
                <a:solidFill>
                  <a:srgbClr val="263143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89" name="Freeform 1143"/>
              <p:cNvSpPr>
                <a:spLocks/>
              </p:cNvSpPr>
              <p:nvPr/>
            </p:nvSpPr>
            <p:spPr bwMode="auto">
              <a:xfrm>
                <a:off x="2770" y="1425"/>
                <a:ext cx="6" cy="27"/>
              </a:xfrm>
              <a:custGeom>
                <a:avLst/>
                <a:gdLst/>
                <a:ahLst/>
                <a:cxnLst>
                  <a:cxn ang="0">
                    <a:pos x="0" y="15"/>
                  </a:cxn>
                  <a:cxn ang="0">
                    <a:pos x="2" y="20"/>
                  </a:cxn>
                  <a:cxn ang="0">
                    <a:pos x="6" y="27"/>
                  </a:cxn>
                  <a:cxn ang="0">
                    <a:pos x="2" y="18"/>
                  </a:cxn>
                  <a:cxn ang="0">
                    <a:pos x="6" y="11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2" y="11"/>
                  </a:cxn>
                  <a:cxn ang="0">
                    <a:pos x="0" y="13"/>
                  </a:cxn>
                  <a:cxn ang="0">
                    <a:pos x="0" y="15"/>
                  </a:cxn>
                </a:cxnLst>
                <a:rect l="0" t="0" r="r" b="b"/>
                <a:pathLst>
                  <a:path w="6" h="27">
                    <a:moveTo>
                      <a:pt x="0" y="15"/>
                    </a:moveTo>
                    <a:lnTo>
                      <a:pt x="2" y="20"/>
                    </a:lnTo>
                    <a:lnTo>
                      <a:pt x="6" y="27"/>
                    </a:lnTo>
                    <a:lnTo>
                      <a:pt x="2" y="18"/>
                    </a:lnTo>
                    <a:lnTo>
                      <a:pt x="6" y="11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2" y="11"/>
                    </a:lnTo>
                    <a:lnTo>
                      <a:pt x="0" y="13"/>
                    </a:lnTo>
                    <a:lnTo>
                      <a:pt x="0" y="15"/>
                    </a:lnTo>
                    <a:close/>
                  </a:path>
                </a:pathLst>
              </a:custGeom>
              <a:grpFill/>
              <a:ln w="9525">
                <a:solidFill>
                  <a:srgbClr val="263143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5" name="Group 1144"/>
            <p:cNvGrpSpPr>
              <a:grpSpLocks/>
            </p:cNvGrpSpPr>
            <p:nvPr/>
          </p:nvGrpSpPr>
          <p:grpSpPr bwMode="auto">
            <a:xfrm>
              <a:off x="1877341" y="2496631"/>
              <a:ext cx="586774" cy="727014"/>
              <a:chOff x="2179" y="990"/>
              <a:chExt cx="113" cy="137"/>
            </a:xfrm>
            <a:grpFill/>
          </p:grpSpPr>
          <p:sp>
            <p:nvSpPr>
              <p:cNvPr id="375" name="Freeform 1145"/>
              <p:cNvSpPr>
                <a:spLocks/>
              </p:cNvSpPr>
              <p:nvPr/>
            </p:nvSpPr>
            <p:spPr bwMode="auto">
              <a:xfrm>
                <a:off x="2179" y="990"/>
                <a:ext cx="27" cy="9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10" y="5"/>
                  </a:cxn>
                  <a:cxn ang="0">
                    <a:pos x="13" y="7"/>
                  </a:cxn>
                  <a:cxn ang="0">
                    <a:pos x="0" y="9"/>
                  </a:cxn>
                  <a:cxn ang="0">
                    <a:pos x="4" y="9"/>
                  </a:cxn>
                  <a:cxn ang="0">
                    <a:pos x="13" y="7"/>
                  </a:cxn>
                  <a:cxn ang="0">
                    <a:pos x="8" y="9"/>
                  </a:cxn>
                  <a:cxn ang="0">
                    <a:pos x="17" y="9"/>
                  </a:cxn>
                  <a:cxn ang="0">
                    <a:pos x="17" y="7"/>
                  </a:cxn>
                  <a:cxn ang="0">
                    <a:pos x="21" y="7"/>
                  </a:cxn>
                  <a:cxn ang="0">
                    <a:pos x="27" y="5"/>
                  </a:cxn>
                  <a:cxn ang="0">
                    <a:pos x="17" y="5"/>
                  </a:cxn>
                  <a:cxn ang="0">
                    <a:pos x="25" y="0"/>
                  </a:cxn>
                  <a:cxn ang="0">
                    <a:pos x="21" y="0"/>
                  </a:cxn>
                  <a:cxn ang="0">
                    <a:pos x="10" y="2"/>
                  </a:cxn>
                  <a:cxn ang="0">
                    <a:pos x="2" y="2"/>
                  </a:cxn>
                  <a:cxn ang="0">
                    <a:pos x="0" y="5"/>
                  </a:cxn>
                </a:cxnLst>
                <a:rect l="0" t="0" r="r" b="b"/>
                <a:pathLst>
                  <a:path w="27" h="9">
                    <a:moveTo>
                      <a:pt x="0" y="5"/>
                    </a:moveTo>
                    <a:lnTo>
                      <a:pt x="10" y="5"/>
                    </a:lnTo>
                    <a:lnTo>
                      <a:pt x="13" y="7"/>
                    </a:lnTo>
                    <a:lnTo>
                      <a:pt x="0" y="9"/>
                    </a:lnTo>
                    <a:lnTo>
                      <a:pt x="4" y="9"/>
                    </a:lnTo>
                    <a:lnTo>
                      <a:pt x="13" y="7"/>
                    </a:lnTo>
                    <a:lnTo>
                      <a:pt x="8" y="9"/>
                    </a:lnTo>
                    <a:lnTo>
                      <a:pt x="17" y="9"/>
                    </a:lnTo>
                    <a:lnTo>
                      <a:pt x="17" y="7"/>
                    </a:lnTo>
                    <a:lnTo>
                      <a:pt x="21" y="7"/>
                    </a:lnTo>
                    <a:lnTo>
                      <a:pt x="27" y="5"/>
                    </a:lnTo>
                    <a:lnTo>
                      <a:pt x="17" y="5"/>
                    </a:lnTo>
                    <a:lnTo>
                      <a:pt x="25" y="0"/>
                    </a:lnTo>
                    <a:lnTo>
                      <a:pt x="21" y="0"/>
                    </a:lnTo>
                    <a:lnTo>
                      <a:pt x="10" y="2"/>
                    </a:lnTo>
                    <a:lnTo>
                      <a:pt x="2" y="2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9525">
                <a:solidFill>
                  <a:srgbClr val="263143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6" name="Freeform 1146"/>
              <p:cNvSpPr>
                <a:spLocks/>
              </p:cNvSpPr>
              <p:nvPr/>
            </p:nvSpPr>
            <p:spPr bwMode="auto">
              <a:xfrm>
                <a:off x="2183" y="1013"/>
                <a:ext cx="32" cy="9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17" y="2"/>
                  </a:cxn>
                  <a:cxn ang="0">
                    <a:pos x="13" y="2"/>
                  </a:cxn>
                  <a:cxn ang="0">
                    <a:pos x="13" y="4"/>
                  </a:cxn>
                  <a:cxn ang="0">
                    <a:pos x="4" y="9"/>
                  </a:cxn>
                  <a:cxn ang="0">
                    <a:pos x="0" y="9"/>
                  </a:cxn>
                  <a:cxn ang="0">
                    <a:pos x="4" y="9"/>
                  </a:cxn>
                  <a:cxn ang="0">
                    <a:pos x="13" y="9"/>
                  </a:cxn>
                  <a:cxn ang="0">
                    <a:pos x="23" y="2"/>
                  </a:cxn>
                  <a:cxn ang="0">
                    <a:pos x="32" y="2"/>
                  </a:cxn>
                  <a:cxn ang="0">
                    <a:pos x="32" y="0"/>
                  </a:cxn>
                </a:cxnLst>
                <a:rect l="0" t="0" r="r" b="b"/>
                <a:pathLst>
                  <a:path w="32" h="9">
                    <a:moveTo>
                      <a:pt x="32" y="0"/>
                    </a:moveTo>
                    <a:lnTo>
                      <a:pt x="17" y="2"/>
                    </a:lnTo>
                    <a:lnTo>
                      <a:pt x="13" y="2"/>
                    </a:lnTo>
                    <a:lnTo>
                      <a:pt x="13" y="4"/>
                    </a:lnTo>
                    <a:lnTo>
                      <a:pt x="4" y="9"/>
                    </a:lnTo>
                    <a:lnTo>
                      <a:pt x="0" y="9"/>
                    </a:lnTo>
                    <a:lnTo>
                      <a:pt x="4" y="9"/>
                    </a:lnTo>
                    <a:lnTo>
                      <a:pt x="13" y="9"/>
                    </a:lnTo>
                    <a:lnTo>
                      <a:pt x="23" y="2"/>
                    </a:lnTo>
                    <a:lnTo>
                      <a:pt x="32" y="2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solidFill>
                  <a:srgbClr val="263143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7" name="Freeform 1147"/>
              <p:cNvSpPr>
                <a:spLocks/>
              </p:cNvSpPr>
              <p:nvPr/>
            </p:nvSpPr>
            <p:spPr bwMode="auto">
              <a:xfrm>
                <a:off x="2196" y="1028"/>
                <a:ext cx="16" cy="5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16" y="3"/>
                  </a:cxn>
                  <a:cxn ang="0">
                    <a:pos x="8" y="0"/>
                  </a:cxn>
                  <a:cxn ang="0">
                    <a:pos x="4" y="3"/>
                  </a:cxn>
                  <a:cxn ang="0">
                    <a:pos x="0" y="3"/>
                  </a:cxn>
                  <a:cxn ang="0">
                    <a:pos x="0" y="5"/>
                  </a:cxn>
                </a:cxnLst>
                <a:rect l="0" t="0" r="r" b="b"/>
                <a:pathLst>
                  <a:path w="16" h="5">
                    <a:moveTo>
                      <a:pt x="0" y="5"/>
                    </a:moveTo>
                    <a:lnTo>
                      <a:pt x="16" y="3"/>
                    </a:lnTo>
                    <a:lnTo>
                      <a:pt x="8" y="0"/>
                    </a:lnTo>
                    <a:lnTo>
                      <a:pt x="4" y="3"/>
                    </a:lnTo>
                    <a:lnTo>
                      <a:pt x="0" y="3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9525">
                <a:solidFill>
                  <a:srgbClr val="263143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8" name="Freeform 1148"/>
              <p:cNvSpPr>
                <a:spLocks/>
              </p:cNvSpPr>
              <p:nvPr/>
            </p:nvSpPr>
            <p:spPr bwMode="auto">
              <a:xfrm>
                <a:off x="2215" y="1037"/>
                <a:ext cx="12" cy="9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6" y="9"/>
                  </a:cxn>
                  <a:cxn ang="0">
                    <a:pos x="8" y="3"/>
                  </a:cxn>
                  <a:cxn ang="0">
                    <a:pos x="12" y="3"/>
                  </a:cxn>
                  <a:cxn ang="0">
                    <a:pos x="12" y="0"/>
                  </a:cxn>
                  <a:cxn ang="0">
                    <a:pos x="6" y="5"/>
                  </a:cxn>
                  <a:cxn ang="0">
                    <a:pos x="0" y="9"/>
                  </a:cxn>
                </a:cxnLst>
                <a:rect l="0" t="0" r="r" b="b"/>
                <a:pathLst>
                  <a:path w="12" h="9">
                    <a:moveTo>
                      <a:pt x="0" y="9"/>
                    </a:moveTo>
                    <a:lnTo>
                      <a:pt x="6" y="9"/>
                    </a:lnTo>
                    <a:lnTo>
                      <a:pt x="8" y="3"/>
                    </a:lnTo>
                    <a:lnTo>
                      <a:pt x="12" y="3"/>
                    </a:lnTo>
                    <a:lnTo>
                      <a:pt x="12" y="0"/>
                    </a:lnTo>
                    <a:lnTo>
                      <a:pt x="6" y="5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9525">
                <a:solidFill>
                  <a:srgbClr val="263143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9" name="Freeform 1149"/>
              <p:cNvSpPr>
                <a:spLocks/>
              </p:cNvSpPr>
              <p:nvPr/>
            </p:nvSpPr>
            <p:spPr bwMode="auto">
              <a:xfrm>
                <a:off x="2221" y="1060"/>
                <a:ext cx="6" cy="20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11"/>
                  </a:cxn>
                  <a:cxn ang="0">
                    <a:pos x="2" y="11"/>
                  </a:cxn>
                  <a:cxn ang="0">
                    <a:pos x="0" y="13"/>
                  </a:cxn>
                  <a:cxn ang="0">
                    <a:pos x="2" y="13"/>
                  </a:cxn>
                  <a:cxn ang="0">
                    <a:pos x="0" y="20"/>
                  </a:cxn>
                  <a:cxn ang="0">
                    <a:pos x="6" y="13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4"/>
                  </a:cxn>
                </a:cxnLst>
                <a:rect l="0" t="0" r="r" b="b"/>
                <a:pathLst>
                  <a:path w="6" h="20">
                    <a:moveTo>
                      <a:pt x="0" y="4"/>
                    </a:moveTo>
                    <a:lnTo>
                      <a:pt x="0" y="11"/>
                    </a:lnTo>
                    <a:lnTo>
                      <a:pt x="2" y="11"/>
                    </a:lnTo>
                    <a:lnTo>
                      <a:pt x="0" y="13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6" y="13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9525">
                <a:solidFill>
                  <a:srgbClr val="263143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grpSp>
            <p:nvGrpSpPr>
              <p:cNvPr id="380" name="Group 1150"/>
              <p:cNvGrpSpPr>
                <a:grpSpLocks/>
              </p:cNvGrpSpPr>
              <p:nvPr/>
            </p:nvGrpSpPr>
            <p:grpSpPr bwMode="auto">
              <a:xfrm>
                <a:off x="2229" y="1085"/>
                <a:ext cx="63" cy="42"/>
                <a:chOff x="2229" y="1085"/>
                <a:chExt cx="63" cy="42"/>
              </a:xfrm>
              <a:grpFill/>
            </p:grpSpPr>
            <p:sp>
              <p:nvSpPr>
                <p:cNvPr id="382" name="Freeform 1151"/>
                <p:cNvSpPr>
                  <a:spLocks/>
                </p:cNvSpPr>
                <p:nvPr/>
              </p:nvSpPr>
              <p:spPr bwMode="auto">
                <a:xfrm>
                  <a:off x="2271" y="1112"/>
                  <a:ext cx="21" cy="6"/>
                </a:xfrm>
                <a:custGeom>
                  <a:avLst/>
                  <a:gdLst/>
                  <a:ahLst/>
                  <a:cxnLst>
                    <a:cxn ang="0">
                      <a:pos x="4" y="6"/>
                    </a:cxn>
                    <a:cxn ang="0">
                      <a:pos x="17" y="6"/>
                    </a:cxn>
                    <a:cxn ang="0">
                      <a:pos x="21" y="0"/>
                    </a:cxn>
                    <a:cxn ang="0">
                      <a:pos x="14" y="4"/>
                    </a:cxn>
                    <a:cxn ang="0">
                      <a:pos x="4" y="4"/>
                    </a:cxn>
                    <a:cxn ang="0">
                      <a:pos x="0" y="6"/>
                    </a:cxn>
                    <a:cxn ang="0">
                      <a:pos x="2" y="6"/>
                    </a:cxn>
                    <a:cxn ang="0">
                      <a:pos x="4" y="6"/>
                    </a:cxn>
                  </a:cxnLst>
                  <a:rect l="0" t="0" r="r" b="b"/>
                  <a:pathLst>
                    <a:path w="21" h="6">
                      <a:moveTo>
                        <a:pt x="4" y="6"/>
                      </a:moveTo>
                      <a:lnTo>
                        <a:pt x="17" y="6"/>
                      </a:lnTo>
                      <a:lnTo>
                        <a:pt x="21" y="0"/>
                      </a:lnTo>
                      <a:lnTo>
                        <a:pt x="14" y="4"/>
                      </a:lnTo>
                      <a:lnTo>
                        <a:pt x="4" y="4"/>
                      </a:ln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26314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e-DE"/>
                </a:p>
              </p:txBody>
            </p:sp>
            <p:sp>
              <p:nvSpPr>
                <p:cNvPr id="383" name="Freeform 1152"/>
                <p:cNvSpPr>
                  <a:spLocks/>
                </p:cNvSpPr>
                <p:nvPr/>
              </p:nvSpPr>
              <p:spPr bwMode="auto">
                <a:xfrm>
                  <a:off x="2254" y="1123"/>
                  <a:ext cx="23" cy="4"/>
                </a:xfrm>
                <a:custGeom>
                  <a:avLst/>
                  <a:gdLst/>
                  <a:ahLst/>
                  <a:cxnLst>
                    <a:cxn ang="0">
                      <a:pos x="0" y="4"/>
                    </a:cxn>
                    <a:cxn ang="0">
                      <a:pos x="6" y="4"/>
                    </a:cxn>
                    <a:cxn ang="0">
                      <a:pos x="23" y="0"/>
                    </a:cxn>
                    <a:cxn ang="0">
                      <a:pos x="9" y="0"/>
                    </a:cxn>
                    <a:cxn ang="0">
                      <a:pos x="4" y="2"/>
                    </a:cxn>
                    <a:cxn ang="0">
                      <a:pos x="0" y="2"/>
                    </a:cxn>
                    <a:cxn ang="0">
                      <a:pos x="0" y="4"/>
                    </a:cxn>
                  </a:cxnLst>
                  <a:rect l="0" t="0" r="r" b="b"/>
                  <a:pathLst>
                    <a:path w="23" h="4">
                      <a:moveTo>
                        <a:pt x="0" y="4"/>
                      </a:moveTo>
                      <a:lnTo>
                        <a:pt x="6" y="4"/>
                      </a:lnTo>
                      <a:lnTo>
                        <a:pt x="23" y="0"/>
                      </a:lnTo>
                      <a:lnTo>
                        <a:pt x="9" y="0"/>
                      </a:lnTo>
                      <a:lnTo>
                        <a:pt x="4" y="2"/>
                      </a:lnTo>
                      <a:lnTo>
                        <a:pt x="0" y="2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26314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e-DE"/>
                </a:p>
              </p:txBody>
            </p:sp>
            <p:sp>
              <p:nvSpPr>
                <p:cNvPr id="384" name="Freeform 1153"/>
                <p:cNvSpPr>
                  <a:spLocks/>
                </p:cNvSpPr>
                <p:nvPr/>
              </p:nvSpPr>
              <p:spPr bwMode="auto">
                <a:xfrm>
                  <a:off x="2235" y="1100"/>
                  <a:ext cx="42" cy="27"/>
                </a:xfrm>
                <a:custGeom>
                  <a:avLst/>
                  <a:gdLst/>
                  <a:ahLst/>
                  <a:cxnLst>
                    <a:cxn ang="0">
                      <a:pos x="25" y="0"/>
                    </a:cxn>
                    <a:cxn ang="0">
                      <a:pos x="25" y="3"/>
                    </a:cxn>
                    <a:cxn ang="0">
                      <a:pos x="13" y="3"/>
                    </a:cxn>
                    <a:cxn ang="0">
                      <a:pos x="5" y="12"/>
                    </a:cxn>
                    <a:cxn ang="0">
                      <a:pos x="11" y="9"/>
                    </a:cxn>
                    <a:cxn ang="0">
                      <a:pos x="2" y="18"/>
                    </a:cxn>
                    <a:cxn ang="0">
                      <a:pos x="0" y="25"/>
                    </a:cxn>
                    <a:cxn ang="0">
                      <a:pos x="0" y="27"/>
                    </a:cxn>
                    <a:cxn ang="0">
                      <a:pos x="2" y="27"/>
                    </a:cxn>
                    <a:cxn ang="0">
                      <a:pos x="5" y="25"/>
                    </a:cxn>
                    <a:cxn ang="0">
                      <a:pos x="11" y="16"/>
                    </a:cxn>
                    <a:cxn ang="0">
                      <a:pos x="13" y="9"/>
                    </a:cxn>
                    <a:cxn ang="0">
                      <a:pos x="23" y="7"/>
                    </a:cxn>
                    <a:cxn ang="0">
                      <a:pos x="25" y="7"/>
                    </a:cxn>
                    <a:cxn ang="0">
                      <a:pos x="25" y="12"/>
                    </a:cxn>
                    <a:cxn ang="0">
                      <a:pos x="23" y="16"/>
                    </a:cxn>
                    <a:cxn ang="0">
                      <a:pos x="25" y="16"/>
                    </a:cxn>
                    <a:cxn ang="0">
                      <a:pos x="25" y="18"/>
                    </a:cxn>
                    <a:cxn ang="0">
                      <a:pos x="28" y="18"/>
                    </a:cxn>
                    <a:cxn ang="0">
                      <a:pos x="34" y="7"/>
                    </a:cxn>
                    <a:cxn ang="0">
                      <a:pos x="40" y="12"/>
                    </a:cxn>
                    <a:cxn ang="0">
                      <a:pos x="42" y="9"/>
                    </a:cxn>
                    <a:cxn ang="0">
                      <a:pos x="40" y="3"/>
                    </a:cxn>
                    <a:cxn ang="0">
                      <a:pos x="32" y="3"/>
                    </a:cxn>
                    <a:cxn ang="0">
                      <a:pos x="25" y="0"/>
                    </a:cxn>
                  </a:cxnLst>
                  <a:rect l="0" t="0" r="r" b="b"/>
                  <a:pathLst>
                    <a:path w="42" h="27">
                      <a:moveTo>
                        <a:pt x="25" y="0"/>
                      </a:moveTo>
                      <a:lnTo>
                        <a:pt x="25" y="3"/>
                      </a:lnTo>
                      <a:lnTo>
                        <a:pt x="13" y="3"/>
                      </a:lnTo>
                      <a:lnTo>
                        <a:pt x="5" y="12"/>
                      </a:lnTo>
                      <a:lnTo>
                        <a:pt x="11" y="9"/>
                      </a:lnTo>
                      <a:lnTo>
                        <a:pt x="2" y="18"/>
                      </a:lnTo>
                      <a:lnTo>
                        <a:pt x="0" y="25"/>
                      </a:lnTo>
                      <a:lnTo>
                        <a:pt x="0" y="27"/>
                      </a:lnTo>
                      <a:lnTo>
                        <a:pt x="2" y="27"/>
                      </a:lnTo>
                      <a:lnTo>
                        <a:pt x="5" y="25"/>
                      </a:lnTo>
                      <a:lnTo>
                        <a:pt x="11" y="16"/>
                      </a:lnTo>
                      <a:lnTo>
                        <a:pt x="13" y="9"/>
                      </a:lnTo>
                      <a:lnTo>
                        <a:pt x="23" y="7"/>
                      </a:lnTo>
                      <a:lnTo>
                        <a:pt x="25" y="7"/>
                      </a:lnTo>
                      <a:lnTo>
                        <a:pt x="25" y="12"/>
                      </a:lnTo>
                      <a:lnTo>
                        <a:pt x="23" y="16"/>
                      </a:lnTo>
                      <a:lnTo>
                        <a:pt x="25" y="16"/>
                      </a:lnTo>
                      <a:lnTo>
                        <a:pt x="25" y="18"/>
                      </a:lnTo>
                      <a:lnTo>
                        <a:pt x="28" y="18"/>
                      </a:lnTo>
                      <a:lnTo>
                        <a:pt x="34" y="7"/>
                      </a:lnTo>
                      <a:lnTo>
                        <a:pt x="40" y="12"/>
                      </a:lnTo>
                      <a:lnTo>
                        <a:pt x="42" y="9"/>
                      </a:lnTo>
                      <a:lnTo>
                        <a:pt x="40" y="3"/>
                      </a:lnTo>
                      <a:lnTo>
                        <a:pt x="32" y="3"/>
                      </a:lnTo>
                      <a:lnTo>
                        <a:pt x="25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26314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e-DE"/>
                </a:p>
              </p:txBody>
            </p:sp>
            <p:sp>
              <p:nvSpPr>
                <p:cNvPr id="385" name="Freeform 1154"/>
                <p:cNvSpPr>
                  <a:spLocks/>
                </p:cNvSpPr>
                <p:nvPr/>
              </p:nvSpPr>
              <p:spPr bwMode="auto">
                <a:xfrm>
                  <a:off x="2229" y="1085"/>
                  <a:ext cx="34" cy="15"/>
                </a:xfrm>
                <a:custGeom>
                  <a:avLst/>
                  <a:gdLst/>
                  <a:ahLst/>
                  <a:cxnLst>
                    <a:cxn ang="0">
                      <a:pos x="31" y="15"/>
                    </a:cxn>
                    <a:cxn ang="0">
                      <a:pos x="34" y="6"/>
                    </a:cxn>
                    <a:cxn ang="0">
                      <a:pos x="29" y="6"/>
                    </a:cxn>
                    <a:cxn ang="0">
                      <a:pos x="29" y="4"/>
                    </a:cxn>
                    <a:cxn ang="0">
                      <a:pos x="23" y="0"/>
                    </a:cxn>
                    <a:cxn ang="0">
                      <a:pos x="11" y="6"/>
                    </a:cxn>
                    <a:cxn ang="0">
                      <a:pos x="15" y="6"/>
                    </a:cxn>
                    <a:cxn ang="0">
                      <a:pos x="11" y="6"/>
                    </a:cxn>
                    <a:cxn ang="0">
                      <a:pos x="0" y="15"/>
                    </a:cxn>
                    <a:cxn ang="0">
                      <a:pos x="6" y="13"/>
                    </a:cxn>
                    <a:cxn ang="0">
                      <a:pos x="6" y="15"/>
                    </a:cxn>
                    <a:cxn ang="0">
                      <a:pos x="19" y="9"/>
                    </a:cxn>
                    <a:cxn ang="0">
                      <a:pos x="15" y="15"/>
                    </a:cxn>
                    <a:cxn ang="0">
                      <a:pos x="19" y="13"/>
                    </a:cxn>
                    <a:cxn ang="0">
                      <a:pos x="19" y="15"/>
                    </a:cxn>
                    <a:cxn ang="0">
                      <a:pos x="31" y="15"/>
                    </a:cxn>
                    <a:cxn ang="0">
                      <a:pos x="29" y="15"/>
                    </a:cxn>
                    <a:cxn ang="0">
                      <a:pos x="31" y="15"/>
                    </a:cxn>
                  </a:cxnLst>
                  <a:rect l="0" t="0" r="r" b="b"/>
                  <a:pathLst>
                    <a:path w="34" h="15">
                      <a:moveTo>
                        <a:pt x="31" y="15"/>
                      </a:moveTo>
                      <a:lnTo>
                        <a:pt x="34" y="6"/>
                      </a:lnTo>
                      <a:lnTo>
                        <a:pt x="29" y="6"/>
                      </a:lnTo>
                      <a:lnTo>
                        <a:pt x="29" y="4"/>
                      </a:lnTo>
                      <a:lnTo>
                        <a:pt x="23" y="0"/>
                      </a:lnTo>
                      <a:lnTo>
                        <a:pt x="11" y="6"/>
                      </a:lnTo>
                      <a:lnTo>
                        <a:pt x="15" y="6"/>
                      </a:lnTo>
                      <a:lnTo>
                        <a:pt x="11" y="6"/>
                      </a:lnTo>
                      <a:lnTo>
                        <a:pt x="0" y="15"/>
                      </a:lnTo>
                      <a:lnTo>
                        <a:pt x="6" y="13"/>
                      </a:lnTo>
                      <a:lnTo>
                        <a:pt x="6" y="15"/>
                      </a:lnTo>
                      <a:lnTo>
                        <a:pt x="19" y="9"/>
                      </a:lnTo>
                      <a:lnTo>
                        <a:pt x="15" y="15"/>
                      </a:lnTo>
                      <a:lnTo>
                        <a:pt x="19" y="13"/>
                      </a:lnTo>
                      <a:lnTo>
                        <a:pt x="19" y="15"/>
                      </a:lnTo>
                      <a:lnTo>
                        <a:pt x="31" y="15"/>
                      </a:lnTo>
                      <a:lnTo>
                        <a:pt x="29" y="15"/>
                      </a:lnTo>
                      <a:lnTo>
                        <a:pt x="31" y="15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263143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e-DE"/>
                </a:p>
              </p:txBody>
            </p:sp>
          </p:grpSp>
          <p:sp>
            <p:nvSpPr>
              <p:cNvPr id="381" name="Freeform 1155"/>
              <p:cNvSpPr>
                <a:spLocks/>
              </p:cNvSpPr>
              <p:nvPr/>
            </p:nvSpPr>
            <p:spPr bwMode="auto">
              <a:xfrm>
                <a:off x="2212" y="1064"/>
                <a:ext cx="7" cy="1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3"/>
                  </a:cxn>
                  <a:cxn ang="0">
                    <a:pos x="3" y="0"/>
                  </a:cxn>
                  <a:cxn ang="0">
                    <a:pos x="3" y="3"/>
                  </a:cxn>
                  <a:cxn ang="0">
                    <a:pos x="0" y="7"/>
                  </a:cxn>
                  <a:cxn ang="0">
                    <a:pos x="3" y="9"/>
                  </a:cxn>
                  <a:cxn ang="0">
                    <a:pos x="0" y="16"/>
                  </a:cxn>
                  <a:cxn ang="0">
                    <a:pos x="3" y="16"/>
                  </a:cxn>
                  <a:cxn ang="0">
                    <a:pos x="3" y="9"/>
                  </a:cxn>
                  <a:cxn ang="0">
                    <a:pos x="7" y="9"/>
                  </a:cxn>
                  <a:cxn ang="0">
                    <a:pos x="0" y="9"/>
                  </a:cxn>
                  <a:cxn ang="0">
                    <a:pos x="7" y="3"/>
                  </a:cxn>
                  <a:cxn ang="0">
                    <a:pos x="3" y="0"/>
                  </a:cxn>
                  <a:cxn ang="0">
                    <a:pos x="0" y="0"/>
                  </a:cxn>
                </a:cxnLst>
                <a:rect l="0" t="0" r="r" b="b"/>
                <a:pathLst>
                  <a:path w="7" h="16">
                    <a:moveTo>
                      <a:pt x="0" y="0"/>
                    </a:moveTo>
                    <a:lnTo>
                      <a:pt x="0" y="3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0" y="7"/>
                    </a:lnTo>
                    <a:lnTo>
                      <a:pt x="3" y="9"/>
                    </a:lnTo>
                    <a:lnTo>
                      <a:pt x="0" y="16"/>
                    </a:lnTo>
                    <a:lnTo>
                      <a:pt x="3" y="16"/>
                    </a:lnTo>
                    <a:lnTo>
                      <a:pt x="3" y="9"/>
                    </a:lnTo>
                    <a:lnTo>
                      <a:pt x="7" y="9"/>
                    </a:lnTo>
                    <a:lnTo>
                      <a:pt x="0" y="9"/>
                    </a:lnTo>
                    <a:lnTo>
                      <a:pt x="7" y="3"/>
                    </a:lnTo>
                    <a:lnTo>
                      <a:pt x="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rgbClr val="263143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6" name="Group 1156"/>
            <p:cNvGrpSpPr>
              <a:grpSpLocks/>
            </p:cNvGrpSpPr>
            <p:nvPr/>
          </p:nvGrpSpPr>
          <p:grpSpPr bwMode="auto">
            <a:xfrm>
              <a:off x="4748898" y="2618684"/>
              <a:ext cx="1666852" cy="546587"/>
              <a:chOff x="2732" y="1013"/>
              <a:chExt cx="321" cy="103"/>
            </a:xfrm>
            <a:grpFill/>
          </p:grpSpPr>
          <p:sp>
            <p:nvSpPr>
              <p:cNvPr id="370" name="Freeform 1157"/>
              <p:cNvSpPr>
                <a:spLocks/>
              </p:cNvSpPr>
              <p:nvPr/>
            </p:nvSpPr>
            <p:spPr bwMode="auto">
              <a:xfrm>
                <a:off x="2864" y="1100"/>
                <a:ext cx="14" cy="16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2" y="16"/>
                  </a:cxn>
                  <a:cxn ang="0">
                    <a:pos x="8" y="16"/>
                  </a:cxn>
                  <a:cxn ang="0">
                    <a:pos x="10" y="12"/>
                  </a:cxn>
                  <a:cxn ang="0">
                    <a:pos x="10" y="9"/>
                  </a:cxn>
                  <a:cxn ang="0">
                    <a:pos x="14" y="9"/>
                  </a:cxn>
                  <a:cxn ang="0">
                    <a:pos x="8" y="3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2" y="3"/>
                  </a:cxn>
                  <a:cxn ang="0">
                    <a:pos x="0" y="3"/>
                  </a:cxn>
                  <a:cxn ang="0">
                    <a:pos x="0" y="7"/>
                  </a:cxn>
                  <a:cxn ang="0">
                    <a:pos x="0" y="12"/>
                  </a:cxn>
                </a:cxnLst>
                <a:rect l="0" t="0" r="r" b="b"/>
                <a:pathLst>
                  <a:path w="14" h="16">
                    <a:moveTo>
                      <a:pt x="0" y="12"/>
                    </a:moveTo>
                    <a:lnTo>
                      <a:pt x="2" y="16"/>
                    </a:lnTo>
                    <a:lnTo>
                      <a:pt x="8" y="16"/>
                    </a:lnTo>
                    <a:lnTo>
                      <a:pt x="10" y="12"/>
                    </a:lnTo>
                    <a:lnTo>
                      <a:pt x="10" y="9"/>
                    </a:lnTo>
                    <a:lnTo>
                      <a:pt x="14" y="9"/>
                    </a:lnTo>
                    <a:lnTo>
                      <a:pt x="8" y="3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2" y="3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 w="9525">
                <a:solidFill>
                  <a:srgbClr val="263143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1" name="Freeform 1158"/>
              <p:cNvSpPr>
                <a:spLocks/>
              </p:cNvSpPr>
              <p:nvPr/>
            </p:nvSpPr>
            <p:spPr bwMode="auto">
              <a:xfrm>
                <a:off x="2926" y="1100"/>
                <a:ext cx="23" cy="9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2" y="9"/>
                  </a:cxn>
                  <a:cxn ang="0">
                    <a:pos x="2" y="7"/>
                  </a:cxn>
                  <a:cxn ang="0">
                    <a:pos x="4" y="3"/>
                  </a:cxn>
                  <a:cxn ang="0">
                    <a:pos x="19" y="3"/>
                  </a:cxn>
                  <a:cxn ang="0">
                    <a:pos x="23" y="0"/>
                  </a:cxn>
                  <a:cxn ang="0">
                    <a:pos x="2" y="0"/>
                  </a:cxn>
                  <a:cxn ang="0">
                    <a:pos x="0" y="3"/>
                  </a:cxn>
                  <a:cxn ang="0">
                    <a:pos x="0" y="5"/>
                  </a:cxn>
                  <a:cxn ang="0">
                    <a:pos x="0" y="7"/>
                  </a:cxn>
                </a:cxnLst>
                <a:rect l="0" t="0" r="r" b="b"/>
                <a:pathLst>
                  <a:path w="23" h="9">
                    <a:moveTo>
                      <a:pt x="0" y="7"/>
                    </a:moveTo>
                    <a:lnTo>
                      <a:pt x="2" y="9"/>
                    </a:lnTo>
                    <a:lnTo>
                      <a:pt x="2" y="7"/>
                    </a:lnTo>
                    <a:lnTo>
                      <a:pt x="4" y="3"/>
                    </a:lnTo>
                    <a:lnTo>
                      <a:pt x="19" y="3"/>
                    </a:lnTo>
                    <a:lnTo>
                      <a:pt x="23" y="0"/>
                    </a:lnTo>
                    <a:lnTo>
                      <a:pt x="2" y="0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0" y="7"/>
                    </a:lnTo>
                    <a:close/>
                  </a:path>
                </a:pathLst>
              </a:custGeom>
              <a:grpFill/>
              <a:ln w="9525">
                <a:solidFill>
                  <a:srgbClr val="263143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2" name="Freeform 1159"/>
              <p:cNvSpPr>
                <a:spLocks/>
              </p:cNvSpPr>
              <p:nvPr/>
            </p:nvSpPr>
            <p:spPr bwMode="auto">
              <a:xfrm>
                <a:off x="3039" y="1049"/>
                <a:ext cx="14" cy="24"/>
              </a:xfrm>
              <a:custGeom>
                <a:avLst/>
                <a:gdLst/>
                <a:ahLst/>
                <a:cxnLst>
                  <a:cxn ang="0">
                    <a:pos x="0" y="24"/>
                  </a:cxn>
                  <a:cxn ang="0">
                    <a:pos x="2" y="24"/>
                  </a:cxn>
                  <a:cxn ang="0">
                    <a:pos x="8" y="24"/>
                  </a:cxn>
                  <a:cxn ang="0">
                    <a:pos x="8" y="22"/>
                  </a:cxn>
                  <a:cxn ang="0">
                    <a:pos x="14" y="18"/>
                  </a:cxn>
                  <a:cxn ang="0">
                    <a:pos x="14" y="9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10" y="9"/>
                  </a:cxn>
                  <a:cxn ang="0">
                    <a:pos x="6" y="22"/>
                  </a:cxn>
                  <a:cxn ang="0">
                    <a:pos x="2" y="24"/>
                  </a:cxn>
                  <a:cxn ang="0">
                    <a:pos x="0" y="24"/>
                  </a:cxn>
                </a:cxnLst>
                <a:rect l="0" t="0" r="r" b="b"/>
                <a:pathLst>
                  <a:path w="14" h="24">
                    <a:moveTo>
                      <a:pt x="0" y="24"/>
                    </a:moveTo>
                    <a:lnTo>
                      <a:pt x="2" y="24"/>
                    </a:lnTo>
                    <a:lnTo>
                      <a:pt x="8" y="24"/>
                    </a:lnTo>
                    <a:lnTo>
                      <a:pt x="8" y="22"/>
                    </a:lnTo>
                    <a:lnTo>
                      <a:pt x="14" y="18"/>
                    </a:lnTo>
                    <a:lnTo>
                      <a:pt x="14" y="9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10" y="9"/>
                    </a:lnTo>
                    <a:lnTo>
                      <a:pt x="6" y="22"/>
                    </a:lnTo>
                    <a:lnTo>
                      <a:pt x="2" y="24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 w="9525">
                <a:solidFill>
                  <a:srgbClr val="263143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3" name="Freeform 1160"/>
              <p:cNvSpPr>
                <a:spLocks/>
              </p:cNvSpPr>
              <p:nvPr/>
            </p:nvSpPr>
            <p:spPr bwMode="auto">
              <a:xfrm>
                <a:off x="2732" y="1017"/>
                <a:ext cx="13" cy="11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6" y="11"/>
                  </a:cxn>
                  <a:cxn ang="0">
                    <a:pos x="13" y="7"/>
                  </a:cxn>
                  <a:cxn ang="0">
                    <a:pos x="8" y="5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5"/>
                  </a:cxn>
                </a:cxnLst>
                <a:rect l="0" t="0" r="r" b="b"/>
                <a:pathLst>
                  <a:path w="13" h="11">
                    <a:moveTo>
                      <a:pt x="0" y="5"/>
                    </a:moveTo>
                    <a:lnTo>
                      <a:pt x="6" y="11"/>
                    </a:lnTo>
                    <a:lnTo>
                      <a:pt x="13" y="7"/>
                    </a:lnTo>
                    <a:lnTo>
                      <a:pt x="8" y="5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9525">
                <a:solidFill>
                  <a:srgbClr val="263143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4" name="Freeform 1161"/>
              <p:cNvSpPr>
                <a:spLocks/>
              </p:cNvSpPr>
              <p:nvPr/>
            </p:nvSpPr>
            <p:spPr bwMode="auto">
              <a:xfrm>
                <a:off x="2747" y="1013"/>
                <a:ext cx="8" cy="9"/>
              </a:xfrm>
              <a:custGeom>
                <a:avLst/>
                <a:gdLst/>
                <a:ahLst/>
                <a:cxnLst>
                  <a:cxn ang="0">
                    <a:pos x="4" y="4"/>
                  </a:cxn>
                  <a:cxn ang="0">
                    <a:pos x="6" y="4"/>
                  </a:cxn>
                  <a:cxn ang="0">
                    <a:pos x="6" y="9"/>
                  </a:cxn>
                  <a:cxn ang="0">
                    <a:pos x="8" y="9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4" y="4"/>
                  </a:cxn>
                </a:cxnLst>
                <a:rect l="0" t="0" r="r" b="b"/>
                <a:pathLst>
                  <a:path w="8" h="9">
                    <a:moveTo>
                      <a:pt x="4" y="4"/>
                    </a:moveTo>
                    <a:lnTo>
                      <a:pt x="6" y="4"/>
                    </a:lnTo>
                    <a:lnTo>
                      <a:pt x="6" y="9"/>
                    </a:lnTo>
                    <a:lnTo>
                      <a:pt x="8" y="9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9525">
                <a:solidFill>
                  <a:srgbClr val="263143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7" name="Freeform 1163"/>
            <p:cNvSpPr>
              <a:spLocks/>
            </p:cNvSpPr>
            <p:nvPr/>
          </p:nvSpPr>
          <p:spPr bwMode="auto">
            <a:xfrm>
              <a:off x="4499649" y="2984845"/>
              <a:ext cx="119432" cy="63680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4" y="9"/>
                </a:cxn>
                <a:cxn ang="0">
                  <a:pos x="8" y="12"/>
                </a:cxn>
                <a:cxn ang="0">
                  <a:pos x="19" y="7"/>
                </a:cxn>
                <a:cxn ang="0">
                  <a:pos x="23" y="7"/>
                </a:cxn>
                <a:cxn ang="0">
                  <a:pos x="23" y="3"/>
                </a:cxn>
                <a:cxn ang="0">
                  <a:pos x="21" y="3"/>
                </a:cxn>
                <a:cxn ang="0">
                  <a:pos x="15" y="3"/>
                </a:cxn>
                <a:cxn ang="0">
                  <a:pos x="8" y="0"/>
                </a:cxn>
                <a:cxn ang="0">
                  <a:pos x="4" y="5"/>
                </a:cxn>
                <a:cxn ang="0">
                  <a:pos x="0" y="5"/>
                </a:cxn>
                <a:cxn ang="0">
                  <a:pos x="0" y="7"/>
                </a:cxn>
              </a:cxnLst>
              <a:rect l="0" t="0" r="r" b="b"/>
              <a:pathLst>
                <a:path w="23" h="12">
                  <a:moveTo>
                    <a:pt x="0" y="7"/>
                  </a:moveTo>
                  <a:lnTo>
                    <a:pt x="4" y="9"/>
                  </a:lnTo>
                  <a:lnTo>
                    <a:pt x="8" y="12"/>
                  </a:lnTo>
                  <a:lnTo>
                    <a:pt x="19" y="7"/>
                  </a:lnTo>
                  <a:lnTo>
                    <a:pt x="23" y="7"/>
                  </a:lnTo>
                  <a:lnTo>
                    <a:pt x="23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8" y="0"/>
                  </a:lnTo>
                  <a:lnTo>
                    <a:pt x="4" y="5"/>
                  </a:lnTo>
                  <a:lnTo>
                    <a:pt x="0" y="5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" name="Freeform 1164"/>
            <p:cNvSpPr>
              <a:spLocks/>
            </p:cNvSpPr>
            <p:nvPr/>
          </p:nvSpPr>
          <p:spPr bwMode="auto">
            <a:xfrm>
              <a:off x="4619080" y="2905245"/>
              <a:ext cx="379066" cy="238800"/>
            </a:xfrm>
            <a:custGeom>
              <a:avLst/>
              <a:gdLst/>
              <a:ahLst/>
              <a:cxnLst>
                <a:cxn ang="0">
                  <a:pos x="29" y="40"/>
                </a:cxn>
                <a:cxn ang="0">
                  <a:pos x="33" y="40"/>
                </a:cxn>
                <a:cxn ang="0">
                  <a:pos x="33" y="36"/>
                </a:cxn>
                <a:cxn ang="0">
                  <a:pos x="38" y="33"/>
                </a:cxn>
                <a:cxn ang="0">
                  <a:pos x="44" y="33"/>
                </a:cxn>
                <a:cxn ang="0">
                  <a:pos x="52" y="36"/>
                </a:cxn>
                <a:cxn ang="0">
                  <a:pos x="46" y="40"/>
                </a:cxn>
                <a:cxn ang="0">
                  <a:pos x="52" y="42"/>
                </a:cxn>
                <a:cxn ang="0">
                  <a:pos x="52" y="45"/>
                </a:cxn>
                <a:cxn ang="0">
                  <a:pos x="61" y="42"/>
                </a:cxn>
                <a:cxn ang="0">
                  <a:pos x="63" y="42"/>
                </a:cxn>
                <a:cxn ang="0">
                  <a:pos x="63" y="40"/>
                </a:cxn>
                <a:cxn ang="0">
                  <a:pos x="61" y="40"/>
                </a:cxn>
                <a:cxn ang="0">
                  <a:pos x="54" y="36"/>
                </a:cxn>
                <a:cxn ang="0">
                  <a:pos x="65" y="31"/>
                </a:cxn>
                <a:cxn ang="0">
                  <a:pos x="69" y="31"/>
                </a:cxn>
                <a:cxn ang="0">
                  <a:pos x="69" y="27"/>
                </a:cxn>
                <a:cxn ang="0">
                  <a:pos x="71" y="24"/>
                </a:cxn>
                <a:cxn ang="0">
                  <a:pos x="73" y="27"/>
                </a:cxn>
                <a:cxn ang="0">
                  <a:pos x="73" y="22"/>
                </a:cxn>
                <a:cxn ang="0">
                  <a:pos x="73" y="18"/>
                </a:cxn>
                <a:cxn ang="0">
                  <a:pos x="73" y="15"/>
                </a:cxn>
                <a:cxn ang="0">
                  <a:pos x="65" y="15"/>
                </a:cxn>
                <a:cxn ang="0">
                  <a:pos x="63" y="13"/>
                </a:cxn>
                <a:cxn ang="0">
                  <a:pos x="54" y="13"/>
                </a:cxn>
                <a:cxn ang="0">
                  <a:pos x="52" y="6"/>
                </a:cxn>
                <a:cxn ang="0">
                  <a:pos x="48" y="6"/>
                </a:cxn>
                <a:cxn ang="0">
                  <a:pos x="48" y="4"/>
                </a:cxn>
                <a:cxn ang="0">
                  <a:pos x="46" y="0"/>
                </a:cxn>
                <a:cxn ang="0">
                  <a:pos x="38" y="4"/>
                </a:cxn>
                <a:cxn ang="0">
                  <a:pos x="33" y="4"/>
                </a:cxn>
                <a:cxn ang="0">
                  <a:pos x="33" y="6"/>
                </a:cxn>
                <a:cxn ang="0">
                  <a:pos x="29" y="6"/>
                </a:cxn>
                <a:cxn ang="0">
                  <a:pos x="23" y="6"/>
                </a:cxn>
                <a:cxn ang="0">
                  <a:pos x="15" y="4"/>
                </a:cxn>
                <a:cxn ang="0">
                  <a:pos x="6" y="6"/>
                </a:cxn>
                <a:cxn ang="0">
                  <a:pos x="8" y="13"/>
                </a:cxn>
                <a:cxn ang="0">
                  <a:pos x="0" y="18"/>
                </a:cxn>
                <a:cxn ang="0">
                  <a:pos x="0" y="22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13" y="27"/>
                </a:cxn>
                <a:cxn ang="0">
                  <a:pos x="21" y="24"/>
                </a:cxn>
                <a:cxn ang="0">
                  <a:pos x="23" y="22"/>
                </a:cxn>
                <a:cxn ang="0">
                  <a:pos x="29" y="24"/>
                </a:cxn>
                <a:cxn ang="0">
                  <a:pos x="31" y="27"/>
                </a:cxn>
                <a:cxn ang="0">
                  <a:pos x="33" y="31"/>
                </a:cxn>
                <a:cxn ang="0">
                  <a:pos x="33" y="33"/>
                </a:cxn>
                <a:cxn ang="0">
                  <a:pos x="31" y="33"/>
                </a:cxn>
                <a:cxn ang="0">
                  <a:pos x="29" y="38"/>
                </a:cxn>
                <a:cxn ang="0">
                  <a:pos x="29" y="40"/>
                </a:cxn>
              </a:cxnLst>
              <a:rect l="0" t="0" r="r" b="b"/>
              <a:pathLst>
                <a:path w="73" h="45">
                  <a:moveTo>
                    <a:pt x="29" y="40"/>
                  </a:moveTo>
                  <a:lnTo>
                    <a:pt x="33" y="40"/>
                  </a:lnTo>
                  <a:lnTo>
                    <a:pt x="33" y="36"/>
                  </a:lnTo>
                  <a:lnTo>
                    <a:pt x="38" y="33"/>
                  </a:lnTo>
                  <a:lnTo>
                    <a:pt x="44" y="33"/>
                  </a:lnTo>
                  <a:lnTo>
                    <a:pt x="52" y="36"/>
                  </a:lnTo>
                  <a:lnTo>
                    <a:pt x="46" y="40"/>
                  </a:lnTo>
                  <a:lnTo>
                    <a:pt x="52" y="42"/>
                  </a:lnTo>
                  <a:lnTo>
                    <a:pt x="52" y="45"/>
                  </a:lnTo>
                  <a:lnTo>
                    <a:pt x="61" y="42"/>
                  </a:lnTo>
                  <a:lnTo>
                    <a:pt x="63" y="42"/>
                  </a:lnTo>
                  <a:lnTo>
                    <a:pt x="63" y="40"/>
                  </a:lnTo>
                  <a:lnTo>
                    <a:pt x="61" y="40"/>
                  </a:lnTo>
                  <a:lnTo>
                    <a:pt x="54" y="36"/>
                  </a:lnTo>
                  <a:lnTo>
                    <a:pt x="65" y="31"/>
                  </a:lnTo>
                  <a:lnTo>
                    <a:pt x="69" y="31"/>
                  </a:lnTo>
                  <a:lnTo>
                    <a:pt x="69" y="27"/>
                  </a:lnTo>
                  <a:lnTo>
                    <a:pt x="71" y="24"/>
                  </a:lnTo>
                  <a:lnTo>
                    <a:pt x="73" y="27"/>
                  </a:lnTo>
                  <a:lnTo>
                    <a:pt x="73" y="22"/>
                  </a:lnTo>
                  <a:lnTo>
                    <a:pt x="73" y="18"/>
                  </a:lnTo>
                  <a:lnTo>
                    <a:pt x="73" y="15"/>
                  </a:lnTo>
                  <a:lnTo>
                    <a:pt x="65" y="15"/>
                  </a:lnTo>
                  <a:lnTo>
                    <a:pt x="63" y="13"/>
                  </a:lnTo>
                  <a:lnTo>
                    <a:pt x="54" y="13"/>
                  </a:lnTo>
                  <a:lnTo>
                    <a:pt x="52" y="6"/>
                  </a:lnTo>
                  <a:lnTo>
                    <a:pt x="48" y="6"/>
                  </a:lnTo>
                  <a:lnTo>
                    <a:pt x="48" y="4"/>
                  </a:lnTo>
                  <a:lnTo>
                    <a:pt x="46" y="0"/>
                  </a:lnTo>
                  <a:lnTo>
                    <a:pt x="38" y="4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29" y="6"/>
                  </a:lnTo>
                  <a:lnTo>
                    <a:pt x="23" y="6"/>
                  </a:lnTo>
                  <a:lnTo>
                    <a:pt x="15" y="4"/>
                  </a:lnTo>
                  <a:lnTo>
                    <a:pt x="6" y="6"/>
                  </a:lnTo>
                  <a:lnTo>
                    <a:pt x="8" y="13"/>
                  </a:lnTo>
                  <a:lnTo>
                    <a:pt x="0" y="18"/>
                  </a:lnTo>
                  <a:lnTo>
                    <a:pt x="0" y="22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13" y="27"/>
                  </a:lnTo>
                  <a:lnTo>
                    <a:pt x="21" y="24"/>
                  </a:lnTo>
                  <a:lnTo>
                    <a:pt x="23" y="22"/>
                  </a:lnTo>
                  <a:lnTo>
                    <a:pt x="29" y="24"/>
                  </a:lnTo>
                  <a:lnTo>
                    <a:pt x="31" y="27"/>
                  </a:lnTo>
                  <a:lnTo>
                    <a:pt x="33" y="31"/>
                  </a:lnTo>
                  <a:lnTo>
                    <a:pt x="33" y="33"/>
                  </a:lnTo>
                  <a:lnTo>
                    <a:pt x="31" y="33"/>
                  </a:lnTo>
                  <a:lnTo>
                    <a:pt x="29" y="38"/>
                  </a:lnTo>
                  <a:lnTo>
                    <a:pt x="29" y="4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" name="Freeform 1165"/>
            <p:cNvSpPr>
              <a:spLocks/>
            </p:cNvSpPr>
            <p:nvPr/>
          </p:nvSpPr>
          <p:spPr bwMode="auto">
            <a:xfrm>
              <a:off x="4639850" y="2793804"/>
              <a:ext cx="186937" cy="143280"/>
            </a:xfrm>
            <a:custGeom>
              <a:avLst/>
              <a:gdLst/>
              <a:ahLst/>
              <a:cxnLst>
                <a:cxn ang="0">
                  <a:pos x="2" y="18"/>
                </a:cxn>
                <a:cxn ang="0">
                  <a:pos x="0" y="25"/>
                </a:cxn>
                <a:cxn ang="0">
                  <a:pos x="2" y="27"/>
                </a:cxn>
                <a:cxn ang="0">
                  <a:pos x="11" y="25"/>
                </a:cxn>
                <a:cxn ang="0">
                  <a:pos x="19" y="27"/>
                </a:cxn>
                <a:cxn ang="0">
                  <a:pos x="25" y="27"/>
                </a:cxn>
                <a:cxn ang="0">
                  <a:pos x="29" y="27"/>
                </a:cxn>
                <a:cxn ang="0">
                  <a:pos x="29" y="25"/>
                </a:cxn>
                <a:cxn ang="0">
                  <a:pos x="34" y="25"/>
                </a:cxn>
                <a:cxn ang="0">
                  <a:pos x="29" y="18"/>
                </a:cxn>
                <a:cxn ang="0">
                  <a:pos x="36" y="18"/>
                </a:cxn>
                <a:cxn ang="0">
                  <a:pos x="36" y="14"/>
                </a:cxn>
                <a:cxn ang="0">
                  <a:pos x="34" y="14"/>
                </a:cxn>
                <a:cxn ang="0">
                  <a:pos x="29" y="9"/>
                </a:cxn>
                <a:cxn ang="0">
                  <a:pos x="27" y="3"/>
                </a:cxn>
                <a:cxn ang="0">
                  <a:pos x="19" y="0"/>
                </a:cxn>
                <a:cxn ang="0">
                  <a:pos x="13" y="3"/>
                </a:cxn>
                <a:cxn ang="0">
                  <a:pos x="13" y="5"/>
                </a:cxn>
                <a:cxn ang="0">
                  <a:pos x="9" y="9"/>
                </a:cxn>
                <a:cxn ang="0">
                  <a:pos x="11" y="12"/>
                </a:cxn>
                <a:cxn ang="0">
                  <a:pos x="0" y="12"/>
                </a:cxn>
                <a:cxn ang="0">
                  <a:pos x="0" y="16"/>
                </a:cxn>
                <a:cxn ang="0">
                  <a:pos x="2" y="18"/>
                </a:cxn>
              </a:cxnLst>
              <a:rect l="0" t="0" r="r" b="b"/>
              <a:pathLst>
                <a:path w="36" h="27">
                  <a:moveTo>
                    <a:pt x="2" y="18"/>
                  </a:moveTo>
                  <a:lnTo>
                    <a:pt x="0" y="25"/>
                  </a:lnTo>
                  <a:lnTo>
                    <a:pt x="2" y="27"/>
                  </a:lnTo>
                  <a:lnTo>
                    <a:pt x="11" y="25"/>
                  </a:lnTo>
                  <a:lnTo>
                    <a:pt x="19" y="27"/>
                  </a:lnTo>
                  <a:lnTo>
                    <a:pt x="25" y="27"/>
                  </a:lnTo>
                  <a:lnTo>
                    <a:pt x="29" y="27"/>
                  </a:lnTo>
                  <a:lnTo>
                    <a:pt x="29" y="25"/>
                  </a:lnTo>
                  <a:lnTo>
                    <a:pt x="34" y="25"/>
                  </a:lnTo>
                  <a:lnTo>
                    <a:pt x="29" y="18"/>
                  </a:lnTo>
                  <a:lnTo>
                    <a:pt x="36" y="18"/>
                  </a:lnTo>
                  <a:lnTo>
                    <a:pt x="36" y="14"/>
                  </a:lnTo>
                  <a:lnTo>
                    <a:pt x="34" y="14"/>
                  </a:lnTo>
                  <a:lnTo>
                    <a:pt x="29" y="9"/>
                  </a:lnTo>
                  <a:lnTo>
                    <a:pt x="27" y="3"/>
                  </a:lnTo>
                  <a:lnTo>
                    <a:pt x="19" y="0"/>
                  </a:lnTo>
                  <a:lnTo>
                    <a:pt x="13" y="3"/>
                  </a:lnTo>
                  <a:lnTo>
                    <a:pt x="13" y="5"/>
                  </a:lnTo>
                  <a:lnTo>
                    <a:pt x="9" y="9"/>
                  </a:lnTo>
                  <a:lnTo>
                    <a:pt x="11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2" y="18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" name="Freeform 1166"/>
            <p:cNvSpPr>
              <a:spLocks/>
            </p:cNvSpPr>
            <p:nvPr/>
          </p:nvSpPr>
          <p:spPr bwMode="auto">
            <a:xfrm>
              <a:off x="4639850" y="2698284"/>
              <a:ext cx="88276" cy="63680"/>
            </a:xfrm>
            <a:custGeom>
              <a:avLst/>
              <a:gdLst/>
              <a:ahLst/>
              <a:cxnLst>
                <a:cxn ang="0">
                  <a:pos x="2" y="9"/>
                </a:cxn>
                <a:cxn ang="0">
                  <a:pos x="0" y="9"/>
                </a:cxn>
                <a:cxn ang="0">
                  <a:pos x="0" y="3"/>
                </a:cxn>
                <a:cxn ang="0">
                  <a:pos x="9" y="0"/>
                </a:cxn>
                <a:cxn ang="0">
                  <a:pos x="17" y="3"/>
                </a:cxn>
                <a:cxn ang="0">
                  <a:pos x="13" y="3"/>
                </a:cxn>
                <a:cxn ang="0">
                  <a:pos x="11" y="5"/>
                </a:cxn>
                <a:cxn ang="0">
                  <a:pos x="13" y="9"/>
                </a:cxn>
                <a:cxn ang="0">
                  <a:pos x="13" y="12"/>
                </a:cxn>
                <a:cxn ang="0">
                  <a:pos x="4" y="9"/>
                </a:cxn>
                <a:cxn ang="0">
                  <a:pos x="2" y="9"/>
                </a:cxn>
              </a:cxnLst>
              <a:rect l="0" t="0" r="r" b="b"/>
              <a:pathLst>
                <a:path w="17" h="12">
                  <a:moveTo>
                    <a:pt x="2" y="9"/>
                  </a:moveTo>
                  <a:lnTo>
                    <a:pt x="0" y="9"/>
                  </a:lnTo>
                  <a:lnTo>
                    <a:pt x="0" y="3"/>
                  </a:lnTo>
                  <a:lnTo>
                    <a:pt x="9" y="0"/>
                  </a:lnTo>
                  <a:lnTo>
                    <a:pt x="17" y="3"/>
                  </a:lnTo>
                  <a:lnTo>
                    <a:pt x="13" y="3"/>
                  </a:lnTo>
                  <a:lnTo>
                    <a:pt x="11" y="5"/>
                  </a:lnTo>
                  <a:lnTo>
                    <a:pt x="13" y="9"/>
                  </a:lnTo>
                  <a:lnTo>
                    <a:pt x="13" y="12"/>
                  </a:lnTo>
                  <a:lnTo>
                    <a:pt x="4" y="9"/>
                  </a:lnTo>
                  <a:lnTo>
                    <a:pt x="2" y="9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" name="Freeform 1167"/>
            <p:cNvSpPr>
              <a:spLocks/>
            </p:cNvSpPr>
            <p:nvPr/>
          </p:nvSpPr>
          <p:spPr bwMode="auto">
            <a:xfrm>
              <a:off x="4598309" y="2746044"/>
              <a:ext cx="140203" cy="63680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0" y="5"/>
                </a:cxn>
                <a:cxn ang="0">
                  <a:pos x="0" y="3"/>
                </a:cxn>
                <a:cxn ang="0">
                  <a:pos x="2" y="3"/>
                </a:cxn>
                <a:cxn ang="0">
                  <a:pos x="8" y="5"/>
                </a:cxn>
                <a:cxn ang="0">
                  <a:pos x="10" y="5"/>
                </a:cxn>
                <a:cxn ang="0">
                  <a:pos x="10" y="0"/>
                </a:cxn>
                <a:cxn ang="0">
                  <a:pos x="12" y="0"/>
                </a:cxn>
                <a:cxn ang="0">
                  <a:pos x="21" y="3"/>
                </a:cxn>
                <a:cxn ang="0">
                  <a:pos x="27" y="9"/>
                </a:cxn>
                <a:cxn ang="0">
                  <a:pos x="21" y="12"/>
                </a:cxn>
                <a:cxn ang="0">
                  <a:pos x="12" y="9"/>
                </a:cxn>
                <a:cxn ang="0">
                  <a:pos x="2" y="9"/>
                </a:cxn>
                <a:cxn ang="0">
                  <a:pos x="0" y="12"/>
                </a:cxn>
              </a:cxnLst>
              <a:rect l="0" t="0" r="r" b="b"/>
              <a:pathLst>
                <a:path w="27" h="12">
                  <a:moveTo>
                    <a:pt x="0" y="12"/>
                  </a:moveTo>
                  <a:lnTo>
                    <a:pt x="0" y="5"/>
                  </a:lnTo>
                  <a:lnTo>
                    <a:pt x="0" y="3"/>
                  </a:lnTo>
                  <a:lnTo>
                    <a:pt x="2" y="3"/>
                  </a:lnTo>
                  <a:lnTo>
                    <a:pt x="8" y="5"/>
                  </a:lnTo>
                  <a:lnTo>
                    <a:pt x="10" y="5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21" y="3"/>
                  </a:lnTo>
                  <a:lnTo>
                    <a:pt x="27" y="9"/>
                  </a:lnTo>
                  <a:lnTo>
                    <a:pt x="21" y="12"/>
                  </a:lnTo>
                  <a:lnTo>
                    <a:pt x="12" y="9"/>
                  </a:lnTo>
                  <a:lnTo>
                    <a:pt x="2" y="9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" name="Freeform 1168"/>
            <p:cNvSpPr>
              <a:spLocks/>
            </p:cNvSpPr>
            <p:nvPr/>
          </p:nvSpPr>
          <p:spPr bwMode="auto">
            <a:xfrm>
              <a:off x="4577538" y="2793804"/>
              <a:ext cx="129817" cy="63680"/>
            </a:xfrm>
            <a:custGeom>
              <a:avLst/>
              <a:gdLst/>
              <a:ahLst/>
              <a:cxnLst>
                <a:cxn ang="0">
                  <a:pos x="12" y="12"/>
                </a:cxn>
                <a:cxn ang="0">
                  <a:pos x="8" y="12"/>
                </a:cxn>
                <a:cxn ang="0">
                  <a:pos x="8" y="5"/>
                </a:cxn>
                <a:cxn ang="0">
                  <a:pos x="0" y="5"/>
                </a:cxn>
                <a:cxn ang="0">
                  <a:pos x="4" y="3"/>
                </a:cxn>
                <a:cxn ang="0">
                  <a:pos x="6" y="0"/>
                </a:cxn>
                <a:cxn ang="0">
                  <a:pos x="16" y="0"/>
                </a:cxn>
                <a:cxn ang="0">
                  <a:pos x="25" y="3"/>
                </a:cxn>
                <a:cxn ang="0">
                  <a:pos x="25" y="5"/>
                </a:cxn>
                <a:cxn ang="0">
                  <a:pos x="21" y="9"/>
                </a:cxn>
                <a:cxn ang="0">
                  <a:pos x="23" y="12"/>
                </a:cxn>
                <a:cxn ang="0">
                  <a:pos x="16" y="12"/>
                </a:cxn>
                <a:cxn ang="0">
                  <a:pos x="12" y="12"/>
                </a:cxn>
              </a:cxnLst>
              <a:rect l="0" t="0" r="r" b="b"/>
              <a:pathLst>
                <a:path w="25" h="12">
                  <a:moveTo>
                    <a:pt x="12" y="12"/>
                  </a:moveTo>
                  <a:lnTo>
                    <a:pt x="8" y="12"/>
                  </a:lnTo>
                  <a:lnTo>
                    <a:pt x="8" y="5"/>
                  </a:lnTo>
                  <a:lnTo>
                    <a:pt x="0" y="5"/>
                  </a:lnTo>
                  <a:lnTo>
                    <a:pt x="4" y="3"/>
                  </a:lnTo>
                  <a:lnTo>
                    <a:pt x="6" y="0"/>
                  </a:lnTo>
                  <a:lnTo>
                    <a:pt x="16" y="0"/>
                  </a:lnTo>
                  <a:lnTo>
                    <a:pt x="25" y="3"/>
                  </a:lnTo>
                  <a:lnTo>
                    <a:pt x="25" y="5"/>
                  </a:lnTo>
                  <a:lnTo>
                    <a:pt x="21" y="9"/>
                  </a:lnTo>
                  <a:lnTo>
                    <a:pt x="23" y="12"/>
                  </a:lnTo>
                  <a:lnTo>
                    <a:pt x="16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" name="Freeform 1169"/>
            <p:cNvSpPr>
              <a:spLocks/>
            </p:cNvSpPr>
            <p:nvPr/>
          </p:nvSpPr>
          <p:spPr bwMode="auto">
            <a:xfrm>
              <a:off x="4567153" y="2820338"/>
              <a:ext cx="51927" cy="37147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10" y="7"/>
                </a:cxn>
                <a:cxn ang="0">
                  <a:pos x="10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4"/>
                </a:cxn>
              </a:cxnLst>
              <a:rect l="0" t="0" r="r" b="b"/>
              <a:pathLst>
                <a:path w="10" h="7">
                  <a:moveTo>
                    <a:pt x="0" y="4"/>
                  </a:moveTo>
                  <a:lnTo>
                    <a:pt x="10" y="7"/>
                  </a:lnTo>
                  <a:lnTo>
                    <a:pt x="10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" name="Freeform 1170"/>
            <p:cNvSpPr>
              <a:spLocks/>
            </p:cNvSpPr>
            <p:nvPr/>
          </p:nvSpPr>
          <p:spPr bwMode="auto">
            <a:xfrm>
              <a:off x="4728126" y="3021991"/>
              <a:ext cx="62312" cy="95520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4" y="9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8" y="2"/>
                </a:cxn>
                <a:cxn ang="0">
                  <a:pos x="10" y="5"/>
                </a:cxn>
                <a:cxn ang="0">
                  <a:pos x="12" y="9"/>
                </a:cxn>
                <a:cxn ang="0">
                  <a:pos x="12" y="11"/>
                </a:cxn>
                <a:cxn ang="0">
                  <a:pos x="10" y="11"/>
                </a:cxn>
                <a:cxn ang="0">
                  <a:pos x="8" y="16"/>
                </a:cxn>
                <a:cxn ang="0">
                  <a:pos x="8" y="18"/>
                </a:cxn>
              </a:cxnLst>
              <a:rect l="0" t="0" r="r" b="b"/>
              <a:pathLst>
                <a:path w="12" h="18">
                  <a:moveTo>
                    <a:pt x="8" y="18"/>
                  </a:moveTo>
                  <a:lnTo>
                    <a:pt x="4" y="9"/>
                  </a:lnTo>
                  <a:lnTo>
                    <a:pt x="0" y="2"/>
                  </a:lnTo>
                  <a:lnTo>
                    <a:pt x="2" y="0"/>
                  </a:lnTo>
                  <a:lnTo>
                    <a:pt x="8" y="2"/>
                  </a:lnTo>
                  <a:lnTo>
                    <a:pt x="10" y="5"/>
                  </a:lnTo>
                  <a:lnTo>
                    <a:pt x="12" y="9"/>
                  </a:lnTo>
                  <a:lnTo>
                    <a:pt x="12" y="11"/>
                  </a:lnTo>
                  <a:lnTo>
                    <a:pt x="10" y="11"/>
                  </a:lnTo>
                  <a:lnTo>
                    <a:pt x="8" y="16"/>
                  </a:lnTo>
                  <a:lnTo>
                    <a:pt x="8" y="18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" name="Freeform 1171"/>
            <p:cNvSpPr>
              <a:spLocks/>
            </p:cNvSpPr>
            <p:nvPr/>
          </p:nvSpPr>
          <p:spPr bwMode="auto">
            <a:xfrm>
              <a:off x="5029302" y="3175885"/>
              <a:ext cx="155781" cy="74293"/>
            </a:xfrm>
            <a:custGeom>
              <a:avLst/>
              <a:gdLst/>
              <a:ahLst/>
              <a:cxnLst>
                <a:cxn ang="0">
                  <a:pos x="23" y="14"/>
                </a:cxn>
                <a:cxn ang="0">
                  <a:pos x="23" y="9"/>
                </a:cxn>
                <a:cxn ang="0">
                  <a:pos x="30" y="9"/>
                </a:cxn>
                <a:cxn ang="0">
                  <a:pos x="23" y="5"/>
                </a:cxn>
                <a:cxn ang="0">
                  <a:pos x="17" y="5"/>
                </a:cxn>
                <a:cxn ang="0">
                  <a:pos x="13" y="0"/>
                </a:cxn>
                <a:cxn ang="0">
                  <a:pos x="0" y="0"/>
                </a:cxn>
                <a:cxn ang="0">
                  <a:pos x="4" y="5"/>
                </a:cxn>
                <a:cxn ang="0">
                  <a:pos x="9" y="7"/>
                </a:cxn>
                <a:cxn ang="0">
                  <a:pos x="9" y="9"/>
                </a:cxn>
                <a:cxn ang="0">
                  <a:pos x="15" y="9"/>
                </a:cxn>
                <a:cxn ang="0">
                  <a:pos x="15" y="14"/>
                </a:cxn>
                <a:cxn ang="0">
                  <a:pos x="19" y="14"/>
                </a:cxn>
                <a:cxn ang="0">
                  <a:pos x="23" y="14"/>
                </a:cxn>
              </a:cxnLst>
              <a:rect l="0" t="0" r="r" b="b"/>
              <a:pathLst>
                <a:path w="30" h="14">
                  <a:moveTo>
                    <a:pt x="23" y="14"/>
                  </a:moveTo>
                  <a:lnTo>
                    <a:pt x="23" y="9"/>
                  </a:lnTo>
                  <a:lnTo>
                    <a:pt x="30" y="9"/>
                  </a:lnTo>
                  <a:lnTo>
                    <a:pt x="23" y="5"/>
                  </a:lnTo>
                  <a:lnTo>
                    <a:pt x="17" y="5"/>
                  </a:lnTo>
                  <a:lnTo>
                    <a:pt x="13" y="0"/>
                  </a:lnTo>
                  <a:lnTo>
                    <a:pt x="0" y="0"/>
                  </a:lnTo>
                  <a:lnTo>
                    <a:pt x="4" y="5"/>
                  </a:lnTo>
                  <a:lnTo>
                    <a:pt x="9" y="7"/>
                  </a:lnTo>
                  <a:lnTo>
                    <a:pt x="9" y="9"/>
                  </a:lnTo>
                  <a:lnTo>
                    <a:pt x="15" y="9"/>
                  </a:lnTo>
                  <a:lnTo>
                    <a:pt x="15" y="14"/>
                  </a:lnTo>
                  <a:lnTo>
                    <a:pt x="19" y="14"/>
                  </a:lnTo>
                  <a:lnTo>
                    <a:pt x="23" y="14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" name="Freeform 1172"/>
            <p:cNvSpPr>
              <a:spLocks/>
            </p:cNvSpPr>
            <p:nvPr/>
          </p:nvSpPr>
          <p:spPr bwMode="auto">
            <a:xfrm>
              <a:off x="5107192" y="3250178"/>
              <a:ext cx="88276" cy="58373"/>
            </a:xfrm>
            <a:custGeom>
              <a:avLst/>
              <a:gdLst/>
              <a:ahLst/>
              <a:cxnLst>
                <a:cxn ang="0">
                  <a:pos x="8" y="4"/>
                </a:cxn>
                <a:cxn ang="0">
                  <a:pos x="2" y="4"/>
                </a:cxn>
                <a:cxn ang="0">
                  <a:pos x="0" y="0"/>
                </a:cxn>
                <a:cxn ang="0">
                  <a:pos x="8" y="0"/>
                </a:cxn>
                <a:cxn ang="0">
                  <a:pos x="10" y="2"/>
                </a:cxn>
                <a:cxn ang="0">
                  <a:pos x="10" y="4"/>
                </a:cxn>
                <a:cxn ang="0">
                  <a:pos x="15" y="4"/>
                </a:cxn>
                <a:cxn ang="0">
                  <a:pos x="17" y="11"/>
                </a:cxn>
                <a:cxn ang="0">
                  <a:pos x="15" y="11"/>
                </a:cxn>
                <a:cxn ang="0">
                  <a:pos x="10" y="9"/>
                </a:cxn>
                <a:cxn ang="0">
                  <a:pos x="8" y="7"/>
                </a:cxn>
                <a:cxn ang="0">
                  <a:pos x="8" y="4"/>
                </a:cxn>
              </a:cxnLst>
              <a:rect l="0" t="0" r="r" b="b"/>
              <a:pathLst>
                <a:path w="17" h="11">
                  <a:moveTo>
                    <a:pt x="8" y="4"/>
                  </a:moveTo>
                  <a:lnTo>
                    <a:pt x="2" y="4"/>
                  </a:lnTo>
                  <a:lnTo>
                    <a:pt x="0" y="0"/>
                  </a:lnTo>
                  <a:lnTo>
                    <a:pt x="8" y="0"/>
                  </a:lnTo>
                  <a:lnTo>
                    <a:pt x="10" y="2"/>
                  </a:lnTo>
                  <a:lnTo>
                    <a:pt x="10" y="4"/>
                  </a:lnTo>
                  <a:lnTo>
                    <a:pt x="15" y="4"/>
                  </a:lnTo>
                  <a:lnTo>
                    <a:pt x="17" y="11"/>
                  </a:lnTo>
                  <a:lnTo>
                    <a:pt x="15" y="11"/>
                  </a:lnTo>
                  <a:lnTo>
                    <a:pt x="10" y="9"/>
                  </a:lnTo>
                  <a:lnTo>
                    <a:pt x="8" y="7"/>
                  </a:lnTo>
                  <a:lnTo>
                    <a:pt x="8" y="4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" name="Freeform 1173"/>
            <p:cNvSpPr>
              <a:spLocks/>
            </p:cNvSpPr>
            <p:nvPr/>
          </p:nvSpPr>
          <p:spPr bwMode="auto">
            <a:xfrm>
              <a:off x="5148734" y="3271405"/>
              <a:ext cx="36349" cy="37147"/>
            </a:xfrm>
            <a:custGeom>
              <a:avLst/>
              <a:gdLst/>
              <a:ahLst/>
              <a:cxnLst>
                <a:cxn ang="0">
                  <a:pos x="7" y="7"/>
                </a:cxn>
                <a:cxn ang="0">
                  <a:pos x="2" y="7"/>
                </a:cxn>
                <a:cxn ang="0">
                  <a:pos x="0" y="0"/>
                </a:cxn>
                <a:cxn ang="0">
                  <a:pos x="2" y="5"/>
                </a:cxn>
                <a:cxn ang="0">
                  <a:pos x="4" y="7"/>
                </a:cxn>
                <a:cxn ang="0">
                  <a:pos x="7" y="7"/>
                </a:cxn>
              </a:cxnLst>
              <a:rect l="0" t="0" r="r" b="b"/>
              <a:pathLst>
                <a:path w="7" h="7">
                  <a:moveTo>
                    <a:pt x="7" y="7"/>
                  </a:moveTo>
                  <a:lnTo>
                    <a:pt x="2" y="7"/>
                  </a:lnTo>
                  <a:lnTo>
                    <a:pt x="0" y="0"/>
                  </a:lnTo>
                  <a:lnTo>
                    <a:pt x="2" y="5"/>
                  </a:lnTo>
                  <a:lnTo>
                    <a:pt x="4" y="7"/>
                  </a:lnTo>
                  <a:lnTo>
                    <a:pt x="7" y="7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" name="Freeform 1174"/>
            <p:cNvSpPr>
              <a:spLocks/>
            </p:cNvSpPr>
            <p:nvPr/>
          </p:nvSpPr>
          <p:spPr bwMode="auto">
            <a:xfrm>
              <a:off x="5148734" y="3223645"/>
              <a:ext cx="119432" cy="95520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17" y="5"/>
                </a:cxn>
                <a:cxn ang="0">
                  <a:pos x="23" y="7"/>
                </a:cxn>
                <a:cxn ang="0">
                  <a:pos x="21" y="9"/>
                </a:cxn>
                <a:cxn ang="0">
                  <a:pos x="21" y="16"/>
                </a:cxn>
                <a:cxn ang="0">
                  <a:pos x="17" y="16"/>
                </a:cxn>
                <a:cxn ang="0">
                  <a:pos x="21" y="18"/>
                </a:cxn>
                <a:cxn ang="0">
                  <a:pos x="15" y="16"/>
                </a:cxn>
                <a:cxn ang="0">
                  <a:pos x="15" y="14"/>
                </a:cxn>
                <a:cxn ang="0">
                  <a:pos x="9" y="16"/>
                </a:cxn>
                <a:cxn ang="0">
                  <a:pos x="7" y="9"/>
                </a:cxn>
                <a:cxn ang="0">
                  <a:pos x="2" y="9"/>
                </a:cxn>
                <a:cxn ang="0">
                  <a:pos x="2" y="7"/>
                </a:cxn>
                <a:cxn ang="0">
                  <a:pos x="0" y="5"/>
                </a:cxn>
                <a:cxn ang="0">
                  <a:pos x="0" y="0"/>
                </a:cxn>
                <a:cxn ang="0">
                  <a:pos x="7" y="0"/>
                </a:cxn>
                <a:cxn ang="0">
                  <a:pos x="9" y="5"/>
                </a:cxn>
                <a:cxn ang="0">
                  <a:pos x="11" y="5"/>
                </a:cxn>
                <a:cxn ang="0">
                  <a:pos x="13" y="3"/>
                </a:cxn>
                <a:cxn ang="0">
                  <a:pos x="15" y="0"/>
                </a:cxn>
              </a:cxnLst>
              <a:rect l="0" t="0" r="r" b="b"/>
              <a:pathLst>
                <a:path w="23" h="18">
                  <a:moveTo>
                    <a:pt x="15" y="0"/>
                  </a:moveTo>
                  <a:lnTo>
                    <a:pt x="17" y="5"/>
                  </a:lnTo>
                  <a:lnTo>
                    <a:pt x="23" y="7"/>
                  </a:lnTo>
                  <a:lnTo>
                    <a:pt x="21" y="9"/>
                  </a:lnTo>
                  <a:lnTo>
                    <a:pt x="21" y="16"/>
                  </a:lnTo>
                  <a:lnTo>
                    <a:pt x="17" y="16"/>
                  </a:lnTo>
                  <a:lnTo>
                    <a:pt x="21" y="18"/>
                  </a:lnTo>
                  <a:lnTo>
                    <a:pt x="15" y="16"/>
                  </a:lnTo>
                  <a:lnTo>
                    <a:pt x="15" y="14"/>
                  </a:lnTo>
                  <a:lnTo>
                    <a:pt x="9" y="16"/>
                  </a:lnTo>
                  <a:lnTo>
                    <a:pt x="7" y="9"/>
                  </a:lnTo>
                  <a:lnTo>
                    <a:pt x="2" y="9"/>
                  </a:lnTo>
                  <a:lnTo>
                    <a:pt x="2" y="7"/>
                  </a:lnTo>
                  <a:lnTo>
                    <a:pt x="0" y="5"/>
                  </a:lnTo>
                  <a:lnTo>
                    <a:pt x="0" y="0"/>
                  </a:lnTo>
                  <a:lnTo>
                    <a:pt x="7" y="0"/>
                  </a:lnTo>
                  <a:lnTo>
                    <a:pt x="9" y="5"/>
                  </a:lnTo>
                  <a:lnTo>
                    <a:pt x="11" y="5"/>
                  </a:lnTo>
                  <a:lnTo>
                    <a:pt x="13" y="3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" name="Freeform 1175"/>
            <p:cNvSpPr>
              <a:spLocks/>
            </p:cNvSpPr>
            <p:nvPr/>
          </p:nvSpPr>
          <p:spPr bwMode="auto">
            <a:xfrm>
              <a:off x="4696970" y="2247217"/>
              <a:ext cx="3001372" cy="1002961"/>
            </a:xfrm>
            <a:custGeom>
              <a:avLst/>
              <a:gdLst/>
              <a:ahLst/>
              <a:cxnLst>
                <a:cxn ang="0">
                  <a:pos x="158" y="38"/>
                </a:cxn>
                <a:cxn ang="0">
                  <a:pos x="156" y="38"/>
                </a:cxn>
                <a:cxn ang="0">
                  <a:pos x="135" y="18"/>
                </a:cxn>
                <a:cxn ang="0">
                  <a:pos x="137" y="43"/>
                </a:cxn>
                <a:cxn ang="0">
                  <a:pos x="108" y="43"/>
                </a:cxn>
                <a:cxn ang="0">
                  <a:pos x="71" y="47"/>
                </a:cxn>
                <a:cxn ang="0">
                  <a:pos x="56" y="43"/>
                </a:cxn>
                <a:cxn ang="0">
                  <a:pos x="48" y="61"/>
                </a:cxn>
                <a:cxn ang="0">
                  <a:pos x="25" y="61"/>
                </a:cxn>
                <a:cxn ang="0">
                  <a:pos x="29" y="38"/>
                </a:cxn>
                <a:cxn ang="0">
                  <a:pos x="6" y="45"/>
                </a:cxn>
                <a:cxn ang="0">
                  <a:pos x="14" y="70"/>
                </a:cxn>
                <a:cxn ang="0">
                  <a:pos x="0" y="90"/>
                </a:cxn>
                <a:cxn ang="0">
                  <a:pos x="23" y="117"/>
                </a:cxn>
                <a:cxn ang="0">
                  <a:pos x="33" y="128"/>
                </a:cxn>
                <a:cxn ang="0">
                  <a:pos x="58" y="139"/>
                </a:cxn>
                <a:cxn ang="0">
                  <a:pos x="54" y="155"/>
                </a:cxn>
                <a:cxn ang="0">
                  <a:pos x="48" y="166"/>
                </a:cxn>
                <a:cxn ang="0">
                  <a:pos x="94" y="184"/>
                </a:cxn>
                <a:cxn ang="0">
                  <a:pos x="89" y="166"/>
                </a:cxn>
                <a:cxn ang="0">
                  <a:pos x="89" y="148"/>
                </a:cxn>
                <a:cxn ang="0">
                  <a:pos x="96" y="133"/>
                </a:cxn>
                <a:cxn ang="0">
                  <a:pos x="119" y="133"/>
                </a:cxn>
                <a:cxn ang="0">
                  <a:pos x="148" y="130"/>
                </a:cxn>
                <a:cxn ang="0">
                  <a:pos x="137" y="117"/>
                </a:cxn>
                <a:cxn ang="0">
                  <a:pos x="175" y="108"/>
                </a:cxn>
                <a:cxn ang="0">
                  <a:pos x="192" y="117"/>
                </a:cxn>
                <a:cxn ang="0">
                  <a:pos x="227" y="133"/>
                </a:cxn>
                <a:cxn ang="0">
                  <a:pos x="254" y="146"/>
                </a:cxn>
                <a:cxn ang="0">
                  <a:pos x="296" y="133"/>
                </a:cxn>
                <a:cxn ang="0">
                  <a:pos x="348" y="142"/>
                </a:cxn>
                <a:cxn ang="0">
                  <a:pos x="382" y="130"/>
                </a:cxn>
                <a:cxn ang="0">
                  <a:pos x="413" y="133"/>
                </a:cxn>
                <a:cxn ang="0">
                  <a:pos x="452" y="146"/>
                </a:cxn>
                <a:cxn ang="0">
                  <a:pos x="455" y="175"/>
                </a:cxn>
                <a:cxn ang="0">
                  <a:pos x="475" y="164"/>
                </a:cxn>
                <a:cxn ang="0">
                  <a:pos x="444" y="117"/>
                </a:cxn>
                <a:cxn ang="0">
                  <a:pos x="436" y="106"/>
                </a:cxn>
                <a:cxn ang="0">
                  <a:pos x="475" y="90"/>
                </a:cxn>
                <a:cxn ang="0">
                  <a:pos x="494" y="79"/>
                </a:cxn>
                <a:cxn ang="0">
                  <a:pos x="513" y="79"/>
                </a:cxn>
                <a:cxn ang="0">
                  <a:pos x="509" y="108"/>
                </a:cxn>
                <a:cxn ang="0">
                  <a:pos x="538" y="112"/>
                </a:cxn>
                <a:cxn ang="0">
                  <a:pos x="521" y="94"/>
                </a:cxn>
                <a:cxn ang="0">
                  <a:pos x="530" y="81"/>
                </a:cxn>
                <a:cxn ang="0">
                  <a:pos x="561" y="72"/>
                </a:cxn>
                <a:cxn ang="0">
                  <a:pos x="540" y="54"/>
                </a:cxn>
                <a:cxn ang="0">
                  <a:pos x="578" y="54"/>
                </a:cxn>
                <a:cxn ang="0">
                  <a:pos x="482" y="31"/>
                </a:cxn>
                <a:cxn ang="0">
                  <a:pos x="475" y="31"/>
                </a:cxn>
                <a:cxn ang="0">
                  <a:pos x="398" y="22"/>
                </a:cxn>
                <a:cxn ang="0">
                  <a:pos x="342" y="22"/>
                </a:cxn>
                <a:cxn ang="0">
                  <a:pos x="302" y="13"/>
                </a:cxn>
                <a:cxn ang="0">
                  <a:pos x="269" y="11"/>
                </a:cxn>
                <a:cxn ang="0">
                  <a:pos x="267" y="9"/>
                </a:cxn>
                <a:cxn ang="0">
                  <a:pos x="217" y="2"/>
                </a:cxn>
                <a:cxn ang="0">
                  <a:pos x="167" y="18"/>
                </a:cxn>
                <a:cxn ang="0">
                  <a:pos x="167" y="29"/>
                </a:cxn>
              </a:cxnLst>
              <a:rect l="0" t="0" r="r" b="b"/>
              <a:pathLst>
                <a:path w="578" h="189">
                  <a:moveTo>
                    <a:pt x="152" y="20"/>
                  </a:moveTo>
                  <a:lnTo>
                    <a:pt x="148" y="27"/>
                  </a:lnTo>
                  <a:lnTo>
                    <a:pt x="152" y="29"/>
                  </a:lnTo>
                  <a:lnTo>
                    <a:pt x="152" y="36"/>
                  </a:lnTo>
                  <a:lnTo>
                    <a:pt x="156" y="38"/>
                  </a:lnTo>
                  <a:lnTo>
                    <a:pt x="158" y="38"/>
                  </a:lnTo>
                  <a:lnTo>
                    <a:pt x="164" y="45"/>
                  </a:lnTo>
                  <a:lnTo>
                    <a:pt x="160" y="47"/>
                  </a:lnTo>
                  <a:lnTo>
                    <a:pt x="156" y="52"/>
                  </a:lnTo>
                  <a:lnTo>
                    <a:pt x="150" y="47"/>
                  </a:lnTo>
                  <a:lnTo>
                    <a:pt x="156" y="45"/>
                  </a:lnTo>
                  <a:lnTo>
                    <a:pt x="156" y="38"/>
                  </a:lnTo>
                  <a:lnTo>
                    <a:pt x="152" y="38"/>
                  </a:lnTo>
                  <a:lnTo>
                    <a:pt x="148" y="27"/>
                  </a:lnTo>
                  <a:lnTo>
                    <a:pt x="144" y="27"/>
                  </a:lnTo>
                  <a:lnTo>
                    <a:pt x="144" y="20"/>
                  </a:lnTo>
                  <a:lnTo>
                    <a:pt x="137" y="18"/>
                  </a:lnTo>
                  <a:lnTo>
                    <a:pt x="135" y="18"/>
                  </a:lnTo>
                  <a:lnTo>
                    <a:pt x="133" y="18"/>
                  </a:lnTo>
                  <a:lnTo>
                    <a:pt x="127" y="27"/>
                  </a:lnTo>
                  <a:lnTo>
                    <a:pt x="129" y="29"/>
                  </a:lnTo>
                  <a:lnTo>
                    <a:pt x="129" y="36"/>
                  </a:lnTo>
                  <a:lnTo>
                    <a:pt x="142" y="38"/>
                  </a:lnTo>
                  <a:lnTo>
                    <a:pt x="137" y="43"/>
                  </a:lnTo>
                  <a:lnTo>
                    <a:pt x="102" y="29"/>
                  </a:lnTo>
                  <a:lnTo>
                    <a:pt x="102" y="31"/>
                  </a:lnTo>
                  <a:lnTo>
                    <a:pt x="112" y="38"/>
                  </a:lnTo>
                  <a:lnTo>
                    <a:pt x="108" y="38"/>
                  </a:lnTo>
                  <a:lnTo>
                    <a:pt x="110" y="43"/>
                  </a:lnTo>
                  <a:lnTo>
                    <a:pt x="108" y="43"/>
                  </a:lnTo>
                  <a:lnTo>
                    <a:pt x="104" y="38"/>
                  </a:lnTo>
                  <a:lnTo>
                    <a:pt x="94" y="38"/>
                  </a:lnTo>
                  <a:lnTo>
                    <a:pt x="94" y="43"/>
                  </a:lnTo>
                  <a:lnTo>
                    <a:pt x="87" y="38"/>
                  </a:lnTo>
                  <a:lnTo>
                    <a:pt x="71" y="45"/>
                  </a:lnTo>
                  <a:lnTo>
                    <a:pt x="71" y="47"/>
                  </a:lnTo>
                  <a:lnTo>
                    <a:pt x="68" y="47"/>
                  </a:lnTo>
                  <a:lnTo>
                    <a:pt x="58" y="45"/>
                  </a:lnTo>
                  <a:lnTo>
                    <a:pt x="64" y="45"/>
                  </a:lnTo>
                  <a:lnTo>
                    <a:pt x="62" y="43"/>
                  </a:lnTo>
                  <a:lnTo>
                    <a:pt x="50" y="38"/>
                  </a:lnTo>
                  <a:lnTo>
                    <a:pt x="56" y="43"/>
                  </a:lnTo>
                  <a:lnTo>
                    <a:pt x="56" y="47"/>
                  </a:lnTo>
                  <a:lnTo>
                    <a:pt x="58" y="52"/>
                  </a:lnTo>
                  <a:lnTo>
                    <a:pt x="56" y="52"/>
                  </a:lnTo>
                  <a:lnTo>
                    <a:pt x="50" y="52"/>
                  </a:lnTo>
                  <a:lnTo>
                    <a:pt x="41" y="54"/>
                  </a:lnTo>
                  <a:lnTo>
                    <a:pt x="48" y="61"/>
                  </a:lnTo>
                  <a:lnTo>
                    <a:pt x="33" y="56"/>
                  </a:lnTo>
                  <a:lnTo>
                    <a:pt x="31" y="56"/>
                  </a:lnTo>
                  <a:lnTo>
                    <a:pt x="37" y="61"/>
                  </a:lnTo>
                  <a:lnTo>
                    <a:pt x="39" y="63"/>
                  </a:lnTo>
                  <a:lnTo>
                    <a:pt x="33" y="63"/>
                  </a:lnTo>
                  <a:lnTo>
                    <a:pt x="25" y="61"/>
                  </a:lnTo>
                  <a:lnTo>
                    <a:pt x="25" y="54"/>
                  </a:lnTo>
                  <a:lnTo>
                    <a:pt x="14" y="47"/>
                  </a:lnTo>
                  <a:lnTo>
                    <a:pt x="37" y="52"/>
                  </a:lnTo>
                  <a:lnTo>
                    <a:pt x="48" y="47"/>
                  </a:lnTo>
                  <a:lnTo>
                    <a:pt x="46" y="45"/>
                  </a:lnTo>
                  <a:lnTo>
                    <a:pt x="29" y="38"/>
                  </a:lnTo>
                  <a:lnTo>
                    <a:pt x="14" y="31"/>
                  </a:lnTo>
                  <a:lnTo>
                    <a:pt x="8" y="36"/>
                  </a:lnTo>
                  <a:lnTo>
                    <a:pt x="2" y="38"/>
                  </a:lnTo>
                  <a:lnTo>
                    <a:pt x="0" y="38"/>
                  </a:lnTo>
                  <a:lnTo>
                    <a:pt x="0" y="43"/>
                  </a:lnTo>
                  <a:lnTo>
                    <a:pt x="6" y="45"/>
                  </a:lnTo>
                  <a:lnTo>
                    <a:pt x="6" y="47"/>
                  </a:lnTo>
                  <a:lnTo>
                    <a:pt x="8" y="54"/>
                  </a:lnTo>
                  <a:lnTo>
                    <a:pt x="8" y="56"/>
                  </a:lnTo>
                  <a:lnTo>
                    <a:pt x="10" y="61"/>
                  </a:lnTo>
                  <a:lnTo>
                    <a:pt x="10" y="63"/>
                  </a:lnTo>
                  <a:lnTo>
                    <a:pt x="14" y="70"/>
                  </a:lnTo>
                  <a:lnTo>
                    <a:pt x="2" y="81"/>
                  </a:lnTo>
                  <a:lnTo>
                    <a:pt x="6" y="81"/>
                  </a:lnTo>
                  <a:lnTo>
                    <a:pt x="8" y="85"/>
                  </a:lnTo>
                  <a:lnTo>
                    <a:pt x="6" y="88"/>
                  </a:lnTo>
                  <a:lnTo>
                    <a:pt x="2" y="88"/>
                  </a:lnTo>
                  <a:lnTo>
                    <a:pt x="0" y="90"/>
                  </a:lnTo>
                  <a:lnTo>
                    <a:pt x="2" y="94"/>
                  </a:lnTo>
                  <a:lnTo>
                    <a:pt x="2" y="97"/>
                  </a:lnTo>
                  <a:lnTo>
                    <a:pt x="8" y="103"/>
                  </a:lnTo>
                  <a:lnTo>
                    <a:pt x="16" y="106"/>
                  </a:lnTo>
                  <a:lnTo>
                    <a:pt x="18" y="112"/>
                  </a:lnTo>
                  <a:lnTo>
                    <a:pt x="23" y="117"/>
                  </a:lnTo>
                  <a:lnTo>
                    <a:pt x="25" y="117"/>
                  </a:lnTo>
                  <a:lnTo>
                    <a:pt x="25" y="121"/>
                  </a:lnTo>
                  <a:lnTo>
                    <a:pt x="18" y="121"/>
                  </a:lnTo>
                  <a:lnTo>
                    <a:pt x="23" y="128"/>
                  </a:lnTo>
                  <a:lnTo>
                    <a:pt x="31" y="124"/>
                  </a:lnTo>
                  <a:lnTo>
                    <a:pt x="33" y="128"/>
                  </a:lnTo>
                  <a:lnTo>
                    <a:pt x="33" y="130"/>
                  </a:lnTo>
                  <a:lnTo>
                    <a:pt x="37" y="130"/>
                  </a:lnTo>
                  <a:lnTo>
                    <a:pt x="39" y="137"/>
                  </a:lnTo>
                  <a:lnTo>
                    <a:pt x="48" y="137"/>
                  </a:lnTo>
                  <a:lnTo>
                    <a:pt x="50" y="139"/>
                  </a:lnTo>
                  <a:lnTo>
                    <a:pt x="58" y="139"/>
                  </a:lnTo>
                  <a:lnTo>
                    <a:pt x="58" y="142"/>
                  </a:lnTo>
                  <a:lnTo>
                    <a:pt x="58" y="146"/>
                  </a:lnTo>
                  <a:lnTo>
                    <a:pt x="58" y="151"/>
                  </a:lnTo>
                  <a:lnTo>
                    <a:pt x="56" y="148"/>
                  </a:lnTo>
                  <a:lnTo>
                    <a:pt x="54" y="151"/>
                  </a:lnTo>
                  <a:lnTo>
                    <a:pt x="54" y="155"/>
                  </a:lnTo>
                  <a:lnTo>
                    <a:pt x="58" y="155"/>
                  </a:lnTo>
                  <a:lnTo>
                    <a:pt x="50" y="157"/>
                  </a:lnTo>
                  <a:lnTo>
                    <a:pt x="54" y="157"/>
                  </a:lnTo>
                  <a:lnTo>
                    <a:pt x="50" y="164"/>
                  </a:lnTo>
                  <a:lnTo>
                    <a:pt x="48" y="164"/>
                  </a:lnTo>
                  <a:lnTo>
                    <a:pt x="48" y="166"/>
                  </a:lnTo>
                  <a:lnTo>
                    <a:pt x="50" y="166"/>
                  </a:lnTo>
                  <a:lnTo>
                    <a:pt x="64" y="175"/>
                  </a:lnTo>
                  <a:lnTo>
                    <a:pt x="77" y="175"/>
                  </a:lnTo>
                  <a:lnTo>
                    <a:pt x="81" y="180"/>
                  </a:lnTo>
                  <a:lnTo>
                    <a:pt x="87" y="180"/>
                  </a:lnTo>
                  <a:lnTo>
                    <a:pt x="94" y="184"/>
                  </a:lnTo>
                  <a:lnTo>
                    <a:pt x="96" y="189"/>
                  </a:lnTo>
                  <a:lnTo>
                    <a:pt x="98" y="189"/>
                  </a:lnTo>
                  <a:lnTo>
                    <a:pt x="102" y="184"/>
                  </a:lnTo>
                  <a:lnTo>
                    <a:pt x="96" y="180"/>
                  </a:lnTo>
                  <a:lnTo>
                    <a:pt x="96" y="173"/>
                  </a:lnTo>
                  <a:lnTo>
                    <a:pt x="89" y="166"/>
                  </a:lnTo>
                  <a:lnTo>
                    <a:pt x="94" y="160"/>
                  </a:lnTo>
                  <a:lnTo>
                    <a:pt x="96" y="160"/>
                  </a:lnTo>
                  <a:lnTo>
                    <a:pt x="98" y="157"/>
                  </a:lnTo>
                  <a:lnTo>
                    <a:pt x="96" y="151"/>
                  </a:lnTo>
                  <a:lnTo>
                    <a:pt x="89" y="151"/>
                  </a:lnTo>
                  <a:lnTo>
                    <a:pt x="89" y="148"/>
                  </a:lnTo>
                  <a:lnTo>
                    <a:pt x="87" y="146"/>
                  </a:lnTo>
                  <a:lnTo>
                    <a:pt x="89" y="137"/>
                  </a:lnTo>
                  <a:lnTo>
                    <a:pt x="94" y="139"/>
                  </a:lnTo>
                  <a:lnTo>
                    <a:pt x="96" y="139"/>
                  </a:lnTo>
                  <a:lnTo>
                    <a:pt x="94" y="133"/>
                  </a:lnTo>
                  <a:lnTo>
                    <a:pt x="96" y="133"/>
                  </a:lnTo>
                  <a:lnTo>
                    <a:pt x="102" y="130"/>
                  </a:lnTo>
                  <a:lnTo>
                    <a:pt x="104" y="130"/>
                  </a:lnTo>
                  <a:lnTo>
                    <a:pt x="108" y="128"/>
                  </a:lnTo>
                  <a:lnTo>
                    <a:pt x="112" y="130"/>
                  </a:lnTo>
                  <a:lnTo>
                    <a:pt x="119" y="137"/>
                  </a:lnTo>
                  <a:lnTo>
                    <a:pt x="119" y="133"/>
                  </a:lnTo>
                  <a:lnTo>
                    <a:pt x="121" y="133"/>
                  </a:lnTo>
                  <a:lnTo>
                    <a:pt x="127" y="133"/>
                  </a:lnTo>
                  <a:lnTo>
                    <a:pt x="133" y="133"/>
                  </a:lnTo>
                  <a:lnTo>
                    <a:pt x="137" y="133"/>
                  </a:lnTo>
                  <a:lnTo>
                    <a:pt x="144" y="133"/>
                  </a:lnTo>
                  <a:lnTo>
                    <a:pt x="148" y="130"/>
                  </a:lnTo>
                  <a:lnTo>
                    <a:pt x="137" y="128"/>
                  </a:lnTo>
                  <a:lnTo>
                    <a:pt x="142" y="124"/>
                  </a:lnTo>
                  <a:lnTo>
                    <a:pt x="137" y="124"/>
                  </a:lnTo>
                  <a:lnTo>
                    <a:pt x="142" y="121"/>
                  </a:lnTo>
                  <a:lnTo>
                    <a:pt x="142" y="117"/>
                  </a:lnTo>
                  <a:lnTo>
                    <a:pt x="137" y="117"/>
                  </a:lnTo>
                  <a:lnTo>
                    <a:pt x="137" y="115"/>
                  </a:lnTo>
                  <a:lnTo>
                    <a:pt x="144" y="115"/>
                  </a:lnTo>
                  <a:lnTo>
                    <a:pt x="158" y="112"/>
                  </a:lnTo>
                  <a:lnTo>
                    <a:pt x="167" y="112"/>
                  </a:lnTo>
                  <a:lnTo>
                    <a:pt x="167" y="108"/>
                  </a:lnTo>
                  <a:lnTo>
                    <a:pt x="175" y="108"/>
                  </a:lnTo>
                  <a:lnTo>
                    <a:pt x="177" y="112"/>
                  </a:lnTo>
                  <a:lnTo>
                    <a:pt x="177" y="115"/>
                  </a:lnTo>
                  <a:lnTo>
                    <a:pt x="183" y="115"/>
                  </a:lnTo>
                  <a:lnTo>
                    <a:pt x="190" y="115"/>
                  </a:lnTo>
                  <a:lnTo>
                    <a:pt x="190" y="117"/>
                  </a:lnTo>
                  <a:lnTo>
                    <a:pt x="192" y="117"/>
                  </a:lnTo>
                  <a:lnTo>
                    <a:pt x="198" y="115"/>
                  </a:lnTo>
                  <a:lnTo>
                    <a:pt x="200" y="115"/>
                  </a:lnTo>
                  <a:lnTo>
                    <a:pt x="208" y="121"/>
                  </a:lnTo>
                  <a:lnTo>
                    <a:pt x="221" y="133"/>
                  </a:lnTo>
                  <a:lnTo>
                    <a:pt x="223" y="130"/>
                  </a:lnTo>
                  <a:lnTo>
                    <a:pt x="227" y="133"/>
                  </a:lnTo>
                  <a:lnTo>
                    <a:pt x="235" y="133"/>
                  </a:lnTo>
                  <a:lnTo>
                    <a:pt x="246" y="139"/>
                  </a:lnTo>
                  <a:lnTo>
                    <a:pt x="248" y="142"/>
                  </a:lnTo>
                  <a:lnTo>
                    <a:pt x="252" y="139"/>
                  </a:lnTo>
                  <a:lnTo>
                    <a:pt x="254" y="142"/>
                  </a:lnTo>
                  <a:lnTo>
                    <a:pt x="254" y="146"/>
                  </a:lnTo>
                  <a:lnTo>
                    <a:pt x="256" y="142"/>
                  </a:lnTo>
                  <a:lnTo>
                    <a:pt x="271" y="133"/>
                  </a:lnTo>
                  <a:lnTo>
                    <a:pt x="279" y="137"/>
                  </a:lnTo>
                  <a:lnTo>
                    <a:pt x="286" y="139"/>
                  </a:lnTo>
                  <a:lnTo>
                    <a:pt x="296" y="139"/>
                  </a:lnTo>
                  <a:lnTo>
                    <a:pt x="296" y="133"/>
                  </a:lnTo>
                  <a:lnTo>
                    <a:pt x="294" y="130"/>
                  </a:lnTo>
                  <a:lnTo>
                    <a:pt x="296" y="128"/>
                  </a:lnTo>
                  <a:lnTo>
                    <a:pt x="308" y="130"/>
                  </a:lnTo>
                  <a:lnTo>
                    <a:pt x="317" y="137"/>
                  </a:lnTo>
                  <a:lnTo>
                    <a:pt x="327" y="137"/>
                  </a:lnTo>
                  <a:lnTo>
                    <a:pt x="348" y="142"/>
                  </a:lnTo>
                  <a:lnTo>
                    <a:pt x="359" y="139"/>
                  </a:lnTo>
                  <a:lnTo>
                    <a:pt x="365" y="137"/>
                  </a:lnTo>
                  <a:lnTo>
                    <a:pt x="373" y="139"/>
                  </a:lnTo>
                  <a:lnTo>
                    <a:pt x="379" y="139"/>
                  </a:lnTo>
                  <a:lnTo>
                    <a:pt x="384" y="137"/>
                  </a:lnTo>
                  <a:lnTo>
                    <a:pt x="382" y="130"/>
                  </a:lnTo>
                  <a:lnTo>
                    <a:pt x="384" y="128"/>
                  </a:lnTo>
                  <a:lnTo>
                    <a:pt x="379" y="124"/>
                  </a:lnTo>
                  <a:lnTo>
                    <a:pt x="382" y="121"/>
                  </a:lnTo>
                  <a:lnTo>
                    <a:pt x="390" y="117"/>
                  </a:lnTo>
                  <a:lnTo>
                    <a:pt x="402" y="121"/>
                  </a:lnTo>
                  <a:lnTo>
                    <a:pt x="413" y="133"/>
                  </a:lnTo>
                  <a:lnTo>
                    <a:pt x="419" y="139"/>
                  </a:lnTo>
                  <a:lnTo>
                    <a:pt x="427" y="142"/>
                  </a:lnTo>
                  <a:lnTo>
                    <a:pt x="436" y="146"/>
                  </a:lnTo>
                  <a:lnTo>
                    <a:pt x="442" y="151"/>
                  </a:lnTo>
                  <a:lnTo>
                    <a:pt x="444" y="151"/>
                  </a:lnTo>
                  <a:lnTo>
                    <a:pt x="452" y="146"/>
                  </a:lnTo>
                  <a:lnTo>
                    <a:pt x="455" y="151"/>
                  </a:lnTo>
                  <a:lnTo>
                    <a:pt x="455" y="155"/>
                  </a:lnTo>
                  <a:lnTo>
                    <a:pt x="459" y="166"/>
                  </a:lnTo>
                  <a:lnTo>
                    <a:pt x="452" y="164"/>
                  </a:lnTo>
                  <a:lnTo>
                    <a:pt x="450" y="166"/>
                  </a:lnTo>
                  <a:lnTo>
                    <a:pt x="455" y="175"/>
                  </a:lnTo>
                  <a:lnTo>
                    <a:pt x="455" y="180"/>
                  </a:lnTo>
                  <a:lnTo>
                    <a:pt x="459" y="175"/>
                  </a:lnTo>
                  <a:lnTo>
                    <a:pt x="463" y="180"/>
                  </a:lnTo>
                  <a:lnTo>
                    <a:pt x="469" y="175"/>
                  </a:lnTo>
                  <a:lnTo>
                    <a:pt x="469" y="169"/>
                  </a:lnTo>
                  <a:lnTo>
                    <a:pt x="475" y="164"/>
                  </a:lnTo>
                  <a:lnTo>
                    <a:pt x="475" y="146"/>
                  </a:lnTo>
                  <a:lnTo>
                    <a:pt x="467" y="133"/>
                  </a:lnTo>
                  <a:lnTo>
                    <a:pt x="461" y="121"/>
                  </a:lnTo>
                  <a:lnTo>
                    <a:pt x="450" y="115"/>
                  </a:lnTo>
                  <a:lnTo>
                    <a:pt x="446" y="117"/>
                  </a:lnTo>
                  <a:lnTo>
                    <a:pt x="444" y="117"/>
                  </a:lnTo>
                  <a:lnTo>
                    <a:pt x="444" y="115"/>
                  </a:lnTo>
                  <a:lnTo>
                    <a:pt x="442" y="115"/>
                  </a:lnTo>
                  <a:lnTo>
                    <a:pt x="442" y="117"/>
                  </a:lnTo>
                  <a:lnTo>
                    <a:pt x="438" y="112"/>
                  </a:lnTo>
                  <a:lnTo>
                    <a:pt x="430" y="112"/>
                  </a:lnTo>
                  <a:lnTo>
                    <a:pt x="436" y="106"/>
                  </a:lnTo>
                  <a:lnTo>
                    <a:pt x="438" y="88"/>
                  </a:lnTo>
                  <a:lnTo>
                    <a:pt x="444" y="88"/>
                  </a:lnTo>
                  <a:lnTo>
                    <a:pt x="463" y="88"/>
                  </a:lnTo>
                  <a:lnTo>
                    <a:pt x="463" y="85"/>
                  </a:lnTo>
                  <a:lnTo>
                    <a:pt x="473" y="85"/>
                  </a:lnTo>
                  <a:lnTo>
                    <a:pt x="475" y="90"/>
                  </a:lnTo>
                  <a:lnTo>
                    <a:pt x="490" y="88"/>
                  </a:lnTo>
                  <a:lnTo>
                    <a:pt x="484" y="88"/>
                  </a:lnTo>
                  <a:lnTo>
                    <a:pt x="482" y="85"/>
                  </a:lnTo>
                  <a:lnTo>
                    <a:pt x="484" y="74"/>
                  </a:lnTo>
                  <a:lnTo>
                    <a:pt x="494" y="74"/>
                  </a:lnTo>
                  <a:lnTo>
                    <a:pt x="494" y="79"/>
                  </a:lnTo>
                  <a:lnTo>
                    <a:pt x="500" y="81"/>
                  </a:lnTo>
                  <a:lnTo>
                    <a:pt x="503" y="74"/>
                  </a:lnTo>
                  <a:lnTo>
                    <a:pt x="500" y="70"/>
                  </a:lnTo>
                  <a:lnTo>
                    <a:pt x="507" y="70"/>
                  </a:lnTo>
                  <a:lnTo>
                    <a:pt x="507" y="72"/>
                  </a:lnTo>
                  <a:lnTo>
                    <a:pt x="513" y="79"/>
                  </a:lnTo>
                  <a:lnTo>
                    <a:pt x="509" y="81"/>
                  </a:lnTo>
                  <a:lnTo>
                    <a:pt x="507" y="94"/>
                  </a:lnTo>
                  <a:lnTo>
                    <a:pt x="503" y="97"/>
                  </a:lnTo>
                  <a:lnTo>
                    <a:pt x="507" y="99"/>
                  </a:lnTo>
                  <a:lnTo>
                    <a:pt x="503" y="99"/>
                  </a:lnTo>
                  <a:lnTo>
                    <a:pt x="509" y="108"/>
                  </a:lnTo>
                  <a:lnTo>
                    <a:pt x="534" y="133"/>
                  </a:lnTo>
                  <a:lnTo>
                    <a:pt x="534" y="130"/>
                  </a:lnTo>
                  <a:lnTo>
                    <a:pt x="534" y="121"/>
                  </a:lnTo>
                  <a:lnTo>
                    <a:pt x="538" y="121"/>
                  </a:lnTo>
                  <a:lnTo>
                    <a:pt x="532" y="115"/>
                  </a:lnTo>
                  <a:lnTo>
                    <a:pt x="538" y="112"/>
                  </a:lnTo>
                  <a:lnTo>
                    <a:pt x="532" y="106"/>
                  </a:lnTo>
                  <a:lnTo>
                    <a:pt x="534" y="103"/>
                  </a:lnTo>
                  <a:lnTo>
                    <a:pt x="530" y="99"/>
                  </a:lnTo>
                  <a:lnTo>
                    <a:pt x="525" y="97"/>
                  </a:lnTo>
                  <a:lnTo>
                    <a:pt x="523" y="97"/>
                  </a:lnTo>
                  <a:lnTo>
                    <a:pt x="521" y="94"/>
                  </a:lnTo>
                  <a:lnTo>
                    <a:pt x="521" y="88"/>
                  </a:lnTo>
                  <a:lnTo>
                    <a:pt x="517" y="85"/>
                  </a:lnTo>
                  <a:lnTo>
                    <a:pt x="521" y="85"/>
                  </a:lnTo>
                  <a:lnTo>
                    <a:pt x="523" y="81"/>
                  </a:lnTo>
                  <a:lnTo>
                    <a:pt x="530" y="85"/>
                  </a:lnTo>
                  <a:lnTo>
                    <a:pt x="530" y="81"/>
                  </a:lnTo>
                  <a:lnTo>
                    <a:pt x="532" y="81"/>
                  </a:lnTo>
                  <a:lnTo>
                    <a:pt x="542" y="85"/>
                  </a:lnTo>
                  <a:lnTo>
                    <a:pt x="540" y="81"/>
                  </a:lnTo>
                  <a:lnTo>
                    <a:pt x="548" y="72"/>
                  </a:lnTo>
                  <a:lnTo>
                    <a:pt x="553" y="70"/>
                  </a:lnTo>
                  <a:lnTo>
                    <a:pt x="561" y="72"/>
                  </a:lnTo>
                  <a:lnTo>
                    <a:pt x="561" y="70"/>
                  </a:lnTo>
                  <a:lnTo>
                    <a:pt x="540" y="61"/>
                  </a:lnTo>
                  <a:lnTo>
                    <a:pt x="546" y="61"/>
                  </a:lnTo>
                  <a:lnTo>
                    <a:pt x="546" y="56"/>
                  </a:lnTo>
                  <a:lnTo>
                    <a:pt x="546" y="54"/>
                  </a:lnTo>
                  <a:lnTo>
                    <a:pt x="540" y="54"/>
                  </a:lnTo>
                  <a:lnTo>
                    <a:pt x="542" y="52"/>
                  </a:lnTo>
                  <a:lnTo>
                    <a:pt x="548" y="54"/>
                  </a:lnTo>
                  <a:lnTo>
                    <a:pt x="561" y="56"/>
                  </a:lnTo>
                  <a:lnTo>
                    <a:pt x="578" y="61"/>
                  </a:lnTo>
                  <a:lnTo>
                    <a:pt x="571" y="54"/>
                  </a:lnTo>
                  <a:lnTo>
                    <a:pt x="578" y="54"/>
                  </a:lnTo>
                  <a:lnTo>
                    <a:pt x="578" y="52"/>
                  </a:lnTo>
                  <a:lnTo>
                    <a:pt x="563" y="47"/>
                  </a:lnTo>
                  <a:lnTo>
                    <a:pt x="555" y="47"/>
                  </a:lnTo>
                  <a:lnTo>
                    <a:pt x="521" y="38"/>
                  </a:lnTo>
                  <a:lnTo>
                    <a:pt x="503" y="31"/>
                  </a:lnTo>
                  <a:lnTo>
                    <a:pt x="482" y="31"/>
                  </a:lnTo>
                  <a:lnTo>
                    <a:pt x="490" y="38"/>
                  </a:lnTo>
                  <a:lnTo>
                    <a:pt x="486" y="38"/>
                  </a:lnTo>
                  <a:lnTo>
                    <a:pt x="477" y="36"/>
                  </a:lnTo>
                  <a:lnTo>
                    <a:pt x="482" y="36"/>
                  </a:lnTo>
                  <a:lnTo>
                    <a:pt x="482" y="31"/>
                  </a:lnTo>
                  <a:lnTo>
                    <a:pt x="475" y="31"/>
                  </a:lnTo>
                  <a:lnTo>
                    <a:pt x="475" y="36"/>
                  </a:lnTo>
                  <a:lnTo>
                    <a:pt x="452" y="36"/>
                  </a:lnTo>
                  <a:lnTo>
                    <a:pt x="444" y="31"/>
                  </a:lnTo>
                  <a:lnTo>
                    <a:pt x="436" y="29"/>
                  </a:lnTo>
                  <a:lnTo>
                    <a:pt x="415" y="29"/>
                  </a:lnTo>
                  <a:lnTo>
                    <a:pt x="398" y="22"/>
                  </a:lnTo>
                  <a:lnTo>
                    <a:pt x="365" y="20"/>
                  </a:lnTo>
                  <a:lnTo>
                    <a:pt x="365" y="22"/>
                  </a:lnTo>
                  <a:lnTo>
                    <a:pt x="371" y="27"/>
                  </a:lnTo>
                  <a:lnTo>
                    <a:pt x="356" y="22"/>
                  </a:lnTo>
                  <a:lnTo>
                    <a:pt x="354" y="27"/>
                  </a:lnTo>
                  <a:lnTo>
                    <a:pt x="342" y="22"/>
                  </a:lnTo>
                  <a:lnTo>
                    <a:pt x="344" y="27"/>
                  </a:lnTo>
                  <a:lnTo>
                    <a:pt x="344" y="29"/>
                  </a:lnTo>
                  <a:lnTo>
                    <a:pt x="331" y="22"/>
                  </a:lnTo>
                  <a:lnTo>
                    <a:pt x="331" y="20"/>
                  </a:lnTo>
                  <a:lnTo>
                    <a:pt x="323" y="18"/>
                  </a:lnTo>
                  <a:lnTo>
                    <a:pt x="302" y="13"/>
                  </a:lnTo>
                  <a:lnTo>
                    <a:pt x="308" y="18"/>
                  </a:lnTo>
                  <a:lnTo>
                    <a:pt x="296" y="18"/>
                  </a:lnTo>
                  <a:lnTo>
                    <a:pt x="292" y="18"/>
                  </a:lnTo>
                  <a:lnTo>
                    <a:pt x="288" y="18"/>
                  </a:lnTo>
                  <a:lnTo>
                    <a:pt x="275" y="18"/>
                  </a:lnTo>
                  <a:lnTo>
                    <a:pt x="269" y="11"/>
                  </a:lnTo>
                  <a:lnTo>
                    <a:pt x="263" y="11"/>
                  </a:lnTo>
                  <a:lnTo>
                    <a:pt x="271" y="13"/>
                  </a:lnTo>
                  <a:lnTo>
                    <a:pt x="260" y="13"/>
                  </a:lnTo>
                  <a:lnTo>
                    <a:pt x="263" y="18"/>
                  </a:lnTo>
                  <a:lnTo>
                    <a:pt x="252" y="18"/>
                  </a:lnTo>
                  <a:lnTo>
                    <a:pt x="267" y="9"/>
                  </a:lnTo>
                  <a:lnTo>
                    <a:pt x="263" y="4"/>
                  </a:lnTo>
                  <a:lnTo>
                    <a:pt x="252" y="2"/>
                  </a:lnTo>
                  <a:lnTo>
                    <a:pt x="238" y="2"/>
                  </a:lnTo>
                  <a:lnTo>
                    <a:pt x="231" y="0"/>
                  </a:lnTo>
                  <a:lnTo>
                    <a:pt x="223" y="0"/>
                  </a:lnTo>
                  <a:lnTo>
                    <a:pt x="217" y="2"/>
                  </a:lnTo>
                  <a:lnTo>
                    <a:pt x="217" y="4"/>
                  </a:lnTo>
                  <a:lnTo>
                    <a:pt x="198" y="4"/>
                  </a:lnTo>
                  <a:lnTo>
                    <a:pt x="187" y="9"/>
                  </a:lnTo>
                  <a:lnTo>
                    <a:pt x="181" y="11"/>
                  </a:lnTo>
                  <a:lnTo>
                    <a:pt x="187" y="13"/>
                  </a:lnTo>
                  <a:lnTo>
                    <a:pt x="167" y="18"/>
                  </a:lnTo>
                  <a:lnTo>
                    <a:pt x="169" y="20"/>
                  </a:lnTo>
                  <a:lnTo>
                    <a:pt x="177" y="22"/>
                  </a:lnTo>
                  <a:lnTo>
                    <a:pt x="175" y="22"/>
                  </a:lnTo>
                  <a:lnTo>
                    <a:pt x="158" y="20"/>
                  </a:lnTo>
                  <a:lnTo>
                    <a:pt x="156" y="22"/>
                  </a:lnTo>
                  <a:lnTo>
                    <a:pt x="167" y="29"/>
                  </a:lnTo>
                  <a:lnTo>
                    <a:pt x="156" y="27"/>
                  </a:lnTo>
                  <a:lnTo>
                    <a:pt x="154" y="25"/>
                  </a:lnTo>
                  <a:lnTo>
                    <a:pt x="152" y="2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" name="Freeform 1176"/>
            <p:cNvSpPr>
              <a:spLocks/>
            </p:cNvSpPr>
            <p:nvPr/>
          </p:nvSpPr>
          <p:spPr bwMode="auto">
            <a:xfrm>
              <a:off x="5148734" y="2820338"/>
              <a:ext cx="867178" cy="429841"/>
            </a:xfrm>
            <a:custGeom>
              <a:avLst/>
              <a:gdLst/>
              <a:ahLst/>
              <a:cxnLst>
                <a:cxn ang="0">
                  <a:pos x="167" y="34"/>
                </a:cxn>
                <a:cxn ang="0">
                  <a:pos x="161" y="34"/>
                </a:cxn>
                <a:cxn ang="0">
                  <a:pos x="148" y="25"/>
                </a:cxn>
                <a:cxn ang="0">
                  <a:pos x="136" y="22"/>
                </a:cxn>
                <a:cxn ang="0">
                  <a:pos x="121" y="13"/>
                </a:cxn>
                <a:cxn ang="0">
                  <a:pos x="111" y="7"/>
                </a:cxn>
                <a:cxn ang="0">
                  <a:pos x="103" y="9"/>
                </a:cxn>
                <a:cxn ang="0">
                  <a:pos x="96" y="7"/>
                </a:cxn>
                <a:cxn ang="0">
                  <a:pos x="90" y="4"/>
                </a:cxn>
                <a:cxn ang="0">
                  <a:pos x="80" y="0"/>
                </a:cxn>
                <a:cxn ang="0">
                  <a:pos x="71" y="4"/>
                </a:cxn>
                <a:cxn ang="0">
                  <a:pos x="50" y="7"/>
                </a:cxn>
                <a:cxn ang="0">
                  <a:pos x="55" y="9"/>
                </a:cxn>
                <a:cxn ang="0">
                  <a:pos x="50" y="16"/>
                </a:cxn>
                <a:cxn ang="0">
                  <a:pos x="50" y="20"/>
                </a:cxn>
                <a:cxn ang="0">
                  <a:pos x="57" y="25"/>
                </a:cxn>
                <a:cxn ang="0">
                  <a:pos x="46" y="25"/>
                </a:cxn>
                <a:cxn ang="0">
                  <a:pos x="34" y="25"/>
                </a:cxn>
                <a:cxn ang="0">
                  <a:pos x="32" y="29"/>
                </a:cxn>
                <a:cxn ang="0">
                  <a:pos x="21" y="20"/>
                </a:cxn>
                <a:cxn ang="0">
                  <a:pos x="15" y="22"/>
                </a:cxn>
                <a:cxn ang="0">
                  <a:pos x="7" y="25"/>
                </a:cxn>
                <a:cxn ang="0">
                  <a:pos x="7" y="31"/>
                </a:cxn>
                <a:cxn ang="0">
                  <a:pos x="0" y="38"/>
                </a:cxn>
                <a:cxn ang="0">
                  <a:pos x="2" y="43"/>
                </a:cxn>
                <a:cxn ang="0">
                  <a:pos x="11" y="49"/>
                </a:cxn>
                <a:cxn ang="0">
                  <a:pos x="25" y="47"/>
                </a:cxn>
                <a:cxn ang="0">
                  <a:pos x="38" y="56"/>
                </a:cxn>
                <a:cxn ang="0">
                  <a:pos x="23" y="58"/>
                </a:cxn>
                <a:cxn ang="0">
                  <a:pos x="23" y="61"/>
                </a:cxn>
                <a:cxn ang="0">
                  <a:pos x="32" y="72"/>
                </a:cxn>
                <a:cxn ang="0">
                  <a:pos x="32" y="76"/>
                </a:cxn>
                <a:cxn ang="0">
                  <a:pos x="38" y="74"/>
                </a:cxn>
                <a:cxn ang="0">
                  <a:pos x="48" y="81"/>
                </a:cxn>
                <a:cxn ang="0">
                  <a:pos x="55" y="56"/>
                </a:cxn>
                <a:cxn ang="0">
                  <a:pos x="82" y="65"/>
                </a:cxn>
                <a:cxn ang="0">
                  <a:pos x="90" y="76"/>
                </a:cxn>
                <a:cxn ang="0">
                  <a:pos x="94" y="81"/>
                </a:cxn>
                <a:cxn ang="0">
                  <a:pos x="109" y="76"/>
                </a:cxn>
                <a:cxn ang="0">
                  <a:pos x="111" y="72"/>
                </a:cxn>
                <a:cxn ang="0">
                  <a:pos x="121" y="72"/>
                </a:cxn>
                <a:cxn ang="0">
                  <a:pos x="128" y="72"/>
                </a:cxn>
                <a:cxn ang="0">
                  <a:pos x="151" y="74"/>
                </a:cxn>
                <a:cxn ang="0">
                  <a:pos x="148" y="58"/>
                </a:cxn>
                <a:cxn ang="0">
                  <a:pos x="153" y="47"/>
                </a:cxn>
                <a:cxn ang="0">
                  <a:pos x="165" y="47"/>
                </a:cxn>
                <a:cxn ang="0">
                  <a:pos x="167" y="38"/>
                </a:cxn>
              </a:cxnLst>
              <a:rect l="0" t="0" r="r" b="b"/>
              <a:pathLst>
                <a:path w="167" h="81">
                  <a:moveTo>
                    <a:pt x="167" y="38"/>
                  </a:moveTo>
                  <a:lnTo>
                    <a:pt x="167" y="34"/>
                  </a:lnTo>
                  <a:lnTo>
                    <a:pt x="165" y="31"/>
                  </a:lnTo>
                  <a:lnTo>
                    <a:pt x="161" y="34"/>
                  </a:lnTo>
                  <a:lnTo>
                    <a:pt x="159" y="31"/>
                  </a:lnTo>
                  <a:lnTo>
                    <a:pt x="148" y="25"/>
                  </a:lnTo>
                  <a:lnTo>
                    <a:pt x="140" y="25"/>
                  </a:lnTo>
                  <a:lnTo>
                    <a:pt x="136" y="22"/>
                  </a:lnTo>
                  <a:lnTo>
                    <a:pt x="134" y="25"/>
                  </a:lnTo>
                  <a:lnTo>
                    <a:pt x="121" y="13"/>
                  </a:lnTo>
                  <a:lnTo>
                    <a:pt x="113" y="7"/>
                  </a:lnTo>
                  <a:lnTo>
                    <a:pt x="111" y="7"/>
                  </a:lnTo>
                  <a:lnTo>
                    <a:pt x="105" y="9"/>
                  </a:lnTo>
                  <a:lnTo>
                    <a:pt x="103" y="9"/>
                  </a:lnTo>
                  <a:lnTo>
                    <a:pt x="103" y="7"/>
                  </a:lnTo>
                  <a:lnTo>
                    <a:pt x="96" y="7"/>
                  </a:lnTo>
                  <a:lnTo>
                    <a:pt x="90" y="7"/>
                  </a:lnTo>
                  <a:lnTo>
                    <a:pt x="90" y="4"/>
                  </a:lnTo>
                  <a:lnTo>
                    <a:pt x="88" y="0"/>
                  </a:lnTo>
                  <a:lnTo>
                    <a:pt x="80" y="0"/>
                  </a:lnTo>
                  <a:lnTo>
                    <a:pt x="80" y="4"/>
                  </a:lnTo>
                  <a:lnTo>
                    <a:pt x="71" y="4"/>
                  </a:lnTo>
                  <a:lnTo>
                    <a:pt x="57" y="7"/>
                  </a:lnTo>
                  <a:lnTo>
                    <a:pt x="50" y="7"/>
                  </a:lnTo>
                  <a:lnTo>
                    <a:pt x="50" y="9"/>
                  </a:lnTo>
                  <a:lnTo>
                    <a:pt x="55" y="9"/>
                  </a:lnTo>
                  <a:lnTo>
                    <a:pt x="55" y="13"/>
                  </a:lnTo>
                  <a:lnTo>
                    <a:pt x="50" y="16"/>
                  </a:lnTo>
                  <a:lnTo>
                    <a:pt x="55" y="16"/>
                  </a:lnTo>
                  <a:lnTo>
                    <a:pt x="50" y="20"/>
                  </a:lnTo>
                  <a:lnTo>
                    <a:pt x="61" y="22"/>
                  </a:lnTo>
                  <a:lnTo>
                    <a:pt x="57" y="25"/>
                  </a:lnTo>
                  <a:lnTo>
                    <a:pt x="50" y="25"/>
                  </a:lnTo>
                  <a:lnTo>
                    <a:pt x="46" y="25"/>
                  </a:lnTo>
                  <a:lnTo>
                    <a:pt x="40" y="25"/>
                  </a:lnTo>
                  <a:lnTo>
                    <a:pt x="34" y="25"/>
                  </a:lnTo>
                  <a:lnTo>
                    <a:pt x="32" y="25"/>
                  </a:lnTo>
                  <a:lnTo>
                    <a:pt x="32" y="29"/>
                  </a:lnTo>
                  <a:lnTo>
                    <a:pt x="25" y="22"/>
                  </a:lnTo>
                  <a:lnTo>
                    <a:pt x="21" y="20"/>
                  </a:lnTo>
                  <a:lnTo>
                    <a:pt x="17" y="22"/>
                  </a:lnTo>
                  <a:lnTo>
                    <a:pt x="15" y="22"/>
                  </a:lnTo>
                  <a:lnTo>
                    <a:pt x="9" y="25"/>
                  </a:lnTo>
                  <a:lnTo>
                    <a:pt x="7" y="25"/>
                  </a:lnTo>
                  <a:lnTo>
                    <a:pt x="9" y="31"/>
                  </a:lnTo>
                  <a:lnTo>
                    <a:pt x="7" y="31"/>
                  </a:lnTo>
                  <a:lnTo>
                    <a:pt x="2" y="29"/>
                  </a:lnTo>
                  <a:lnTo>
                    <a:pt x="0" y="38"/>
                  </a:lnTo>
                  <a:lnTo>
                    <a:pt x="2" y="40"/>
                  </a:lnTo>
                  <a:lnTo>
                    <a:pt x="2" y="43"/>
                  </a:lnTo>
                  <a:lnTo>
                    <a:pt x="9" y="43"/>
                  </a:lnTo>
                  <a:lnTo>
                    <a:pt x="11" y="49"/>
                  </a:lnTo>
                  <a:lnTo>
                    <a:pt x="21" y="47"/>
                  </a:lnTo>
                  <a:lnTo>
                    <a:pt x="25" y="47"/>
                  </a:lnTo>
                  <a:lnTo>
                    <a:pt x="32" y="49"/>
                  </a:lnTo>
                  <a:lnTo>
                    <a:pt x="38" y="56"/>
                  </a:lnTo>
                  <a:lnTo>
                    <a:pt x="25" y="56"/>
                  </a:lnTo>
                  <a:lnTo>
                    <a:pt x="23" y="58"/>
                  </a:lnTo>
                  <a:lnTo>
                    <a:pt x="25" y="61"/>
                  </a:lnTo>
                  <a:lnTo>
                    <a:pt x="23" y="61"/>
                  </a:lnTo>
                  <a:lnTo>
                    <a:pt x="29" y="72"/>
                  </a:lnTo>
                  <a:lnTo>
                    <a:pt x="32" y="72"/>
                  </a:lnTo>
                  <a:lnTo>
                    <a:pt x="32" y="74"/>
                  </a:lnTo>
                  <a:lnTo>
                    <a:pt x="32" y="76"/>
                  </a:lnTo>
                  <a:lnTo>
                    <a:pt x="34" y="74"/>
                  </a:lnTo>
                  <a:lnTo>
                    <a:pt x="38" y="74"/>
                  </a:lnTo>
                  <a:lnTo>
                    <a:pt x="46" y="81"/>
                  </a:lnTo>
                  <a:lnTo>
                    <a:pt x="48" y="81"/>
                  </a:lnTo>
                  <a:lnTo>
                    <a:pt x="42" y="58"/>
                  </a:lnTo>
                  <a:lnTo>
                    <a:pt x="55" y="56"/>
                  </a:lnTo>
                  <a:lnTo>
                    <a:pt x="71" y="67"/>
                  </a:lnTo>
                  <a:lnTo>
                    <a:pt x="82" y="65"/>
                  </a:lnTo>
                  <a:lnTo>
                    <a:pt x="88" y="72"/>
                  </a:lnTo>
                  <a:lnTo>
                    <a:pt x="90" y="76"/>
                  </a:lnTo>
                  <a:lnTo>
                    <a:pt x="94" y="76"/>
                  </a:lnTo>
                  <a:lnTo>
                    <a:pt x="94" y="81"/>
                  </a:lnTo>
                  <a:lnTo>
                    <a:pt x="103" y="81"/>
                  </a:lnTo>
                  <a:lnTo>
                    <a:pt x="109" y="76"/>
                  </a:lnTo>
                  <a:lnTo>
                    <a:pt x="111" y="74"/>
                  </a:lnTo>
                  <a:lnTo>
                    <a:pt x="111" y="72"/>
                  </a:lnTo>
                  <a:lnTo>
                    <a:pt x="119" y="74"/>
                  </a:lnTo>
                  <a:lnTo>
                    <a:pt x="121" y="72"/>
                  </a:lnTo>
                  <a:lnTo>
                    <a:pt x="121" y="67"/>
                  </a:lnTo>
                  <a:lnTo>
                    <a:pt x="128" y="72"/>
                  </a:lnTo>
                  <a:lnTo>
                    <a:pt x="144" y="72"/>
                  </a:lnTo>
                  <a:lnTo>
                    <a:pt x="151" y="74"/>
                  </a:lnTo>
                  <a:lnTo>
                    <a:pt x="151" y="67"/>
                  </a:lnTo>
                  <a:lnTo>
                    <a:pt x="148" y="58"/>
                  </a:lnTo>
                  <a:lnTo>
                    <a:pt x="153" y="56"/>
                  </a:lnTo>
                  <a:lnTo>
                    <a:pt x="153" y="47"/>
                  </a:lnTo>
                  <a:lnTo>
                    <a:pt x="161" y="47"/>
                  </a:lnTo>
                  <a:lnTo>
                    <a:pt x="165" y="47"/>
                  </a:lnTo>
                  <a:lnTo>
                    <a:pt x="165" y="40"/>
                  </a:lnTo>
                  <a:lnTo>
                    <a:pt x="167" y="38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" name="Freeform 1177"/>
            <p:cNvSpPr>
              <a:spLocks/>
            </p:cNvSpPr>
            <p:nvPr/>
          </p:nvSpPr>
          <p:spPr bwMode="auto">
            <a:xfrm>
              <a:off x="5366827" y="3117512"/>
              <a:ext cx="410222" cy="249414"/>
            </a:xfrm>
            <a:custGeom>
              <a:avLst/>
              <a:gdLst/>
              <a:ahLst/>
              <a:cxnLst>
                <a:cxn ang="0">
                  <a:pos x="54" y="45"/>
                </a:cxn>
                <a:cxn ang="0">
                  <a:pos x="61" y="47"/>
                </a:cxn>
                <a:cxn ang="0">
                  <a:pos x="63" y="43"/>
                </a:cxn>
                <a:cxn ang="0">
                  <a:pos x="61" y="36"/>
                </a:cxn>
                <a:cxn ang="0">
                  <a:pos x="58" y="34"/>
                </a:cxn>
                <a:cxn ang="0">
                  <a:pos x="63" y="34"/>
                </a:cxn>
                <a:cxn ang="0">
                  <a:pos x="63" y="27"/>
                </a:cxn>
                <a:cxn ang="0">
                  <a:pos x="69" y="25"/>
                </a:cxn>
                <a:cxn ang="0">
                  <a:pos x="69" y="29"/>
                </a:cxn>
                <a:cxn ang="0">
                  <a:pos x="75" y="29"/>
                </a:cxn>
                <a:cxn ang="0">
                  <a:pos x="79" y="27"/>
                </a:cxn>
                <a:cxn ang="0">
                  <a:pos x="71" y="20"/>
                </a:cxn>
                <a:cxn ang="0">
                  <a:pos x="71" y="25"/>
                </a:cxn>
                <a:cxn ang="0">
                  <a:pos x="67" y="20"/>
                </a:cxn>
                <a:cxn ang="0">
                  <a:pos x="61" y="25"/>
                </a:cxn>
                <a:cxn ang="0">
                  <a:pos x="52" y="25"/>
                </a:cxn>
                <a:cxn ang="0">
                  <a:pos x="52" y="20"/>
                </a:cxn>
                <a:cxn ang="0">
                  <a:pos x="48" y="20"/>
                </a:cxn>
                <a:cxn ang="0">
                  <a:pos x="46" y="16"/>
                </a:cxn>
                <a:cxn ang="0">
                  <a:pos x="40" y="9"/>
                </a:cxn>
                <a:cxn ang="0">
                  <a:pos x="29" y="11"/>
                </a:cxn>
                <a:cxn ang="0">
                  <a:pos x="13" y="0"/>
                </a:cxn>
                <a:cxn ang="0">
                  <a:pos x="0" y="2"/>
                </a:cxn>
                <a:cxn ang="0">
                  <a:pos x="6" y="25"/>
                </a:cxn>
                <a:cxn ang="0">
                  <a:pos x="8" y="25"/>
                </a:cxn>
                <a:cxn ang="0">
                  <a:pos x="8" y="20"/>
                </a:cxn>
                <a:cxn ang="0">
                  <a:pos x="13" y="16"/>
                </a:cxn>
                <a:cxn ang="0">
                  <a:pos x="15" y="16"/>
                </a:cxn>
                <a:cxn ang="0">
                  <a:pos x="21" y="18"/>
                </a:cxn>
                <a:cxn ang="0">
                  <a:pos x="23" y="25"/>
                </a:cxn>
                <a:cxn ang="0">
                  <a:pos x="31" y="25"/>
                </a:cxn>
                <a:cxn ang="0">
                  <a:pos x="35" y="29"/>
                </a:cxn>
                <a:cxn ang="0">
                  <a:pos x="48" y="38"/>
                </a:cxn>
                <a:cxn ang="0">
                  <a:pos x="54" y="43"/>
                </a:cxn>
                <a:cxn ang="0">
                  <a:pos x="54" y="45"/>
                </a:cxn>
              </a:cxnLst>
              <a:rect l="0" t="0" r="r" b="b"/>
              <a:pathLst>
                <a:path w="79" h="47">
                  <a:moveTo>
                    <a:pt x="54" y="45"/>
                  </a:moveTo>
                  <a:lnTo>
                    <a:pt x="61" y="47"/>
                  </a:lnTo>
                  <a:lnTo>
                    <a:pt x="63" y="43"/>
                  </a:lnTo>
                  <a:lnTo>
                    <a:pt x="61" y="36"/>
                  </a:lnTo>
                  <a:lnTo>
                    <a:pt x="58" y="34"/>
                  </a:lnTo>
                  <a:lnTo>
                    <a:pt x="63" y="34"/>
                  </a:lnTo>
                  <a:lnTo>
                    <a:pt x="63" y="27"/>
                  </a:lnTo>
                  <a:lnTo>
                    <a:pt x="69" y="25"/>
                  </a:lnTo>
                  <a:lnTo>
                    <a:pt x="69" y="29"/>
                  </a:lnTo>
                  <a:lnTo>
                    <a:pt x="75" y="29"/>
                  </a:lnTo>
                  <a:lnTo>
                    <a:pt x="79" y="27"/>
                  </a:lnTo>
                  <a:lnTo>
                    <a:pt x="71" y="20"/>
                  </a:lnTo>
                  <a:lnTo>
                    <a:pt x="71" y="25"/>
                  </a:lnTo>
                  <a:lnTo>
                    <a:pt x="67" y="20"/>
                  </a:lnTo>
                  <a:lnTo>
                    <a:pt x="61" y="25"/>
                  </a:lnTo>
                  <a:lnTo>
                    <a:pt x="52" y="25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6" y="16"/>
                  </a:lnTo>
                  <a:lnTo>
                    <a:pt x="40" y="9"/>
                  </a:lnTo>
                  <a:lnTo>
                    <a:pt x="29" y="11"/>
                  </a:lnTo>
                  <a:lnTo>
                    <a:pt x="13" y="0"/>
                  </a:lnTo>
                  <a:lnTo>
                    <a:pt x="0" y="2"/>
                  </a:lnTo>
                  <a:lnTo>
                    <a:pt x="6" y="25"/>
                  </a:lnTo>
                  <a:lnTo>
                    <a:pt x="8" y="25"/>
                  </a:lnTo>
                  <a:lnTo>
                    <a:pt x="8" y="20"/>
                  </a:lnTo>
                  <a:lnTo>
                    <a:pt x="13" y="16"/>
                  </a:lnTo>
                  <a:lnTo>
                    <a:pt x="15" y="16"/>
                  </a:lnTo>
                  <a:lnTo>
                    <a:pt x="21" y="18"/>
                  </a:lnTo>
                  <a:lnTo>
                    <a:pt x="23" y="25"/>
                  </a:lnTo>
                  <a:lnTo>
                    <a:pt x="31" y="25"/>
                  </a:lnTo>
                  <a:lnTo>
                    <a:pt x="35" y="29"/>
                  </a:lnTo>
                  <a:lnTo>
                    <a:pt x="48" y="38"/>
                  </a:lnTo>
                  <a:lnTo>
                    <a:pt x="54" y="43"/>
                  </a:lnTo>
                  <a:lnTo>
                    <a:pt x="54" y="45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" name="Freeform 1178"/>
            <p:cNvSpPr>
              <a:spLocks/>
            </p:cNvSpPr>
            <p:nvPr/>
          </p:nvSpPr>
          <p:spPr bwMode="auto">
            <a:xfrm>
              <a:off x="5668002" y="3250178"/>
              <a:ext cx="176552" cy="116747"/>
            </a:xfrm>
            <a:custGeom>
              <a:avLst/>
              <a:gdLst/>
              <a:ahLst/>
              <a:cxnLst>
                <a:cxn ang="0">
                  <a:pos x="5" y="22"/>
                </a:cxn>
                <a:cxn ang="0">
                  <a:pos x="11" y="20"/>
                </a:cxn>
                <a:cxn ang="0">
                  <a:pos x="13" y="20"/>
                </a:cxn>
                <a:cxn ang="0">
                  <a:pos x="17" y="13"/>
                </a:cxn>
                <a:cxn ang="0">
                  <a:pos x="19" y="18"/>
                </a:cxn>
                <a:cxn ang="0">
                  <a:pos x="21" y="22"/>
                </a:cxn>
                <a:cxn ang="0">
                  <a:pos x="28" y="20"/>
                </a:cxn>
                <a:cxn ang="0">
                  <a:pos x="34" y="20"/>
                </a:cxn>
                <a:cxn ang="0">
                  <a:pos x="34" y="13"/>
                </a:cxn>
                <a:cxn ang="0">
                  <a:pos x="30" y="13"/>
                </a:cxn>
                <a:cxn ang="0">
                  <a:pos x="28" y="11"/>
                </a:cxn>
                <a:cxn ang="0">
                  <a:pos x="28" y="9"/>
                </a:cxn>
                <a:cxn ang="0">
                  <a:pos x="19" y="11"/>
                </a:cxn>
                <a:cxn ang="0">
                  <a:pos x="17" y="9"/>
                </a:cxn>
                <a:cxn ang="0">
                  <a:pos x="9" y="9"/>
                </a:cxn>
                <a:cxn ang="0">
                  <a:pos x="9" y="4"/>
                </a:cxn>
                <a:cxn ang="0">
                  <a:pos x="11" y="4"/>
                </a:cxn>
                <a:cxn ang="0">
                  <a:pos x="13" y="4"/>
                </a:cxn>
                <a:cxn ang="0">
                  <a:pos x="11" y="4"/>
                </a:cxn>
                <a:cxn ang="0">
                  <a:pos x="11" y="0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9"/>
                </a:cxn>
                <a:cxn ang="0">
                  <a:pos x="0" y="9"/>
                </a:cxn>
                <a:cxn ang="0">
                  <a:pos x="3" y="11"/>
                </a:cxn>
                <a:cxn ang="0">
                  <a:pos x="5" y="18"/>
                </a:cxn>
                <a:cxn ang="0">
                  <a:pos x="3" y="22"/>
                </a:cxn>
                <a:cxn ang="0">
                  <a:pos x="5" y="22"/>
                </a:cxn>
              </a:cxnLst>
              <a:rect l="0" t="0" r="r" b="b"/>
              <a:pathLst>
                <a:path w="34" h="22">
                  <a:moveTo>
                    <a:pt x="5" y="22"/>
                  </a:moveTo>
                  <a:lnTo>
                    <a:pt x="11" y="20"/>
                  </a:lnTo>
                  <a:lnTo>
                    <a:pt x="13" y="20"/>
                  </a:lnTo>
                  <a:lnTo>
                    <a:pt x="17" y="13"/>
                  </a:lnTo>
                  <a:lnTo>
                    <a:pt x="19" y="18"/>
                  </a:lnTo>
                  <a:lnTo>
                    <a:pt x="21" y="22"/>
                  </a:lnTo>
                  <a:lnTo>
                    <a:pt x="28" y="20"/>
                  </a:lnTo>
                  <a:lnTo>
                    <a:pt x="34" y="20"/>
                  </a:lnTo>
                  <a:lnTo>
                    <a:pt x="34" y="13"/>
                  </a:lnTo>
                  <a:lnTo>
                    <a:pt x="30" y="13"/>
                  </a:lnTo>
                  <a:lnTo>
                    <a:pt x="28" y="11"/>
                  </a:lnTo>
                  <a:lnTo>
                    <a:pt x="28" y="9"/>
                  </a:lnTo>
                  <a:lnTo>
                    <a:pt x="19" y="11"/>
                  </a:lnTo>
                  <a:lnTo>
                    <a:pt x="17" y="9"/>
                  </a:lnTo>
                  <a:lnTo>
                    <a:pt x="9" y="9"/>
                  </a:lnTo>
                  <a:lnTo>
                    <a:pt x="9" y="4"/>
                  </a:lnTo>
                  <a:lnTo>
                    <a:pt x="11" y="4"/>
                  </a:lnTo>
                  <a:lnTo>
                    <a:pt x="13" y="4"/>
                  </a:lnTo>
                  <a:lnTo>
                    <a:pt x="11" y="4"/>
                  </a:lnTo>
                  <a:lnTo>
                    <a:pt x="11" y="0"/>
                  </a:lnTo>
                  <a:lnTo>
                    <a:pt x="5" y="2"/>
                  </a:lnTo>
                  <a:lnTo>
                    <a:pt x="5" y="4"/>
                  </a:lnTo>
                  <a:lnTo>
                    <a:pt x="5" y="9"/>
                  </a:lnTo>
                  <a:lnTo>
                    <a:pt x="0" y="9"/>
                  </a:lnTo>
                  <a:lnTo>
                    <a:pt x="3" y="11"/>
                  </a:lnTo>
                  <a:lnTo>
                    <a:pt x="5" y="18"/>
                  </a:lnTo>
                  <a:lnTo>
                    <a:pt x="3" y="22"/>
                  </a:lnTo>
                  <a:lnTo>
                    <a:pt x="5" y="22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3" name="Freeform 1179"/>
            <p:cNvSpPr>
              <a:spLocks/>
            </p:cNvSpPr>
            <p:nvPr/>
          </p:nvSpPr>
          <p:spPr bwMode="auto">
            <a:xfrm>
              <a:off x="5714737" y="3175885"/>
              <a:ext cx="218092" cy="132667"/>
            </a:xfrm>
            <a:custGeom>
              <a:avLst/>
              <a:gdLst/>
              <a:ahLst/>
              <a:cxnLst>
                <a:cxn ang="0">
                  <a:pos x="2" y="18"/>
                </a:cxn>
                <a:cxn ang="0">
                  <a:pos x="0" y="18"/>
                </a:cxn>
                <a:cxn ang="0">
                  <a:pos x="0" y="23"/>
                </a:cxn>
                <a:cxn ang="0">
                  <a:pos x="8" y="23"/>
                </a:cxn>
                <a:cxn ang="0">
                  <a:pos x="10" y="25"/>
                </a:cxn>
                <a:cxn ang="0">
                  <a:pos x="19" y="23"/>
                </a:cxn>
                <a:cxn ang="0">
                  <a:pos x="19" y="18"/>
                </a:cxn>
                <a:cxn ang="0">
                  <a:pos x="21" y="16"/>
                </a:cxn>
                <a:cxn ang="0">
                  <a:pos x="31" y="16"/>
                </a:cxn>
                <a:cxn ang="0">
                  <a:pos x="31" y="14"/>
                </a:cxn>
                <a:cxn ang="0">
                  <a:pos x="35" y="14"/>
                </a:cxn>
                <a:cxn ang="0">
                  <a:pos x="42" y="9"/>
                </a:cxn>
                <a:cxn ang="0">
                  <a:pos x="42" y="7"/>
                </a:cxn>
                <a:cxn ang="0">
                  <a:pos x="35" y="5"/>
                </a:cxn>
                <a:cxn ang="0">
                  <a:pos x="19" y="5"/>
                </a:cxn>
                <a:cxn ang="0">
                  <a:pos x="12" y="0"/>
                </a:cxn>
                <a:cxn ang="0">
                  <a:pos x="12" y="5"/>
                </a:cxn>
                <a:cxn ang="0">
                  <a:pos x="10" y="7"/>
                </a:cxn>
                <a:cxn ang="0">
                  <a:pos x="4" y="5"/>
                </a:cxn>
                <a:cxn ang="0">
                  <a:pos x="2" y="5"/>
                </a:cxn>
                <a:cxn ang="0">
                  <a:pos x="2" y="7"/>
                </a:cxn>
                <a:cxn ang="0">
                  <a:pos x="0" y="9"/>
                </a:cxn>
                <a:cxn ang="0">
                  <a:pos x="4" y="14"/>
                </a:cxn>
                <a:cxn ang="0">
                  <a:pos x="4" y="9"/>
                </a:cxn>
                <a:cxn ang="0">
                  <a:pos x="12" y="16"/>
                </a:cxn>
                <a:cxn ang="0">
                  <a:pos x="8" y="18"/>
                </a:cxn>
                <a:cxn ang="0">
                  <a:pos x="4" y="18"/>
                </a:cxn>
                <a:cxn ang="0">
                  <a:pos x="2" y="18"/>
                </a:cxn>
              </a:cxnLst>
              <a:rect l="0" t="0" r="r" b="b"/>
              <a:pathLst>
                <a:path w="42" h="25">
                  <a:moveTo>
                    <a:pt x="2" y="18"/>
                  </a:moveTo>
                  <a:lnTo>
                    <a:pt x="0" y="18"/>
                  </a:lnTo>
                  <a:lnTo>
                    <a:pt x="0" y="23"/>
                  </a:lnTo>
                  <a:lnTo>
                    <a:pt x="8" y="23"/>
                  </a:lnTo>
                  <a:lnTo>
                    <a:pt x="10" y="25"/>
                  </a:lnTo>
                  <a:lnTo>
                    <a:pt x="19" y="23"/>
                  </a:lnTo>
                  <a:lnTo>
                    <a:pt x="19" y="18"/>
                  </a:lnTo>
                  <a:lnTo>
                    <a:pt x="21" y="16"/>
                  </a:lnTo>
                  <a:lnTo>
                    <a:pt x="31" y="16"/>
                  </a:lnTo>
                  <a:lnTo>
                    <a:pt x="31" y="14"/>
                  </a:lnTo>
                  <a:lnTo>
                    <a:pt x="35" y="14"/>
                  </a:lnTo>
                  <a:lnTo>
                    <a:pt x="42" y="9"/>
                  </a:lnTo>
                  <a:lnTo>
                    <a:pt x="42" y="7"/>
                  </a:lnTo>
                  <a:lnTo>
                    <a:pt x="35" y="5"/>
                  </a:lnTo>
                  <a:lnTo>
                    <a:pt x="19" y="5"/>
                  </a:lnTo>
                  <a:lnTo>
                    <a:pt x="12" y="0"/>
                  </a:lnTo>
                  <a:lnTo>
                    <a:pt x="12" y="5"/>
                  </a:lnTo>
                  <a:lnTo>
                    <a:pt x="10" y="7"/>
                  </a:lnTo>
                  <a:lnTo>
                    <a:pt x="4" y="5"/>
                  </a:lnTo>
                  <a:lnTo>
                    <a:pt x="2" y="5"/>
                  </a:lnTo>
                  <a:lnTo>
                    <a:pt x="2" y="7"/>
                  </a:lnTo>
                  <a:lnTo>
                    <a:pt x="0" y="9"/>
                  </a:lnTo>
                  <a:lnTo>
                    <a:pt x="4" y="14"/>
                  </a:lnTo>
                  <a:lnTo>
                    <a:pt x="4" y="9"/>
                  </a:lnTo>
                  <a:lnTo>
                    <a:pt x="12" y="16"/>
                  </a:lnTo>
                  <a:lnTo>
                    <a:pt x="8" y="18"/>
                  </a:lnTo>
                  <a:lnTo>
                    <a:pt x="4" y="18"/>
                  </a:lnTo>
                  <a:lnTo>
                    <a:pt x="2" y="18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4" name="Freeform 1180"/>
            <p:cNvSpPr>
              <a:spLocks/>
            </p:cNvSpPr>
            <p:nvPr/>
          </p:nvSpPr>
          <p:spPr bwMode="auto">
            <a:xfrm>
              <a:off x="5314899" y="3202418"/>
              <a:ext cx="332332" cy="228187"/>
            </a:xfrm>
            <a:custGeom>
              <a:avLst/>
              <a:gdLst/>
              <a:ahLst/>
              <a:cxnLst>
                <a:cxn ang="0">
                  <a:pos x="16" y="9"/>
                </a:cxn>
                <a:cxn ang="0">
                  <a:pos x="18" y="9"/>
                </a:cxn>
                <a:cxn ang="0">
                  <a:pos x="18" y="4"/>
                </a:cxn>
                <a:cxn ang="0">
                  <a:pos x="23" y="0"/>
                </a:cxn>
                <a:cxn ang="0">
                  <a:pos x="25" y="0"/>
                </a:cxn>
                <a:cxn ang="0">
                  <a:pos x="31" y="2"/>
                </a:cxn>
                <a:cxn ang="0">
                  <a:pos x="33" y="9"/>
                </a:cxn>
                <a:cxn ang="0">
                  <a:pos x="41" y="9"/>
                </a:cxn>
                <a:cxn ang="0">
                  <a:pos x="45" y="13"/>
                </a:cxn>
                <a:cxn ang="0">
                  <a:pos x="58" y="22"/>
                </a:cxn>
                <a:cxn ang="0">
                  <a:pos x="64" y="27"/>
                </a:cxn>
                <a:cxn ang="0">
                  <a:pos x="64" y="29"/>
                </a:cxn>
                <a:cxn ang="0">
                  <a:pos x="62" y="29"/>
                </a:cxn>
                <a:cxn ang="0">
                  <a:pos x="58" y="29"/>
                </a:cxn>
                <a:cxn ang="0">
                  <a:pos x="58" y="36"/>
                </a:cxn>
                <a:cxn ang="0">
                  <a:pos x="54" y="38"/>
                </a:cxn>
                <a:cxn ang="0">
                  <a:pos x="50" y="43"/>
                </a:cxn>
                <a:cxn ang="0">
                  <a:pos x="45" y="38"/>
                </a:cxn>
                <a:cxn ang="0">
                  <a:pos x="45" y="36"/>
                </a:cxn>
                <a:cxn ang="0">
                  <a:pos x="23" y="22"/>
                </a:cxn>
                <a:cxn ang="0">
                  <a:pos x="16" y="27"/>
                </a:cxn>
                <a:cxn ang="0">
                  <a:pos x="10" y="29"/>
                </a:cxn>
                <a:cxn ang="0">
                  <a:pos x="8" y="20"/>
                </a:cxn>
                <a:cxn ang="0">
                  <a:pos x="6" y="13"/>
                </a:cxn>
                <a:cxn ang="0">
                  <a:pos x="2" y="13"/>
                </a:cxn>
                <a:cxn ang="0">
                  <a:pos x="2" y="11"/>
                </a:cxn>
                <a:cxn ang="0">
                  <a:pos x="8" y="11"/>
                </a:cxn>
                <a:cxn ang="0">
                  <a:pos x="8" y="9"/>
                </a:cxn>
                <a:cxn ang="0">
                  <a:pos x="6" y="4"/>
                </a:cxn>
                <a:cxn ang="0">
                  <a:pos x="2" y="4"/>
                </a:cxn>
                <a:cxn ang="0">
                  <a:pos x="2" y="9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6" y="2"/>
                </a:cxn>
                <a:cxn ang="0">
                  <a:pos x="14" y="9"/>
                </a:cxn>
                <a:cxn ang="0">
                  <a:pos x="16" y="9"/>
                </a:cxn>
              </a:cxnLst>
              <a:rect l="0" t="0" r="r" b="b"/>
              <a:pathLst>
                <a:path w="64" h="43">
                  <a:moveTo>
                    <a:pt x="16" y="9"/>
                  </a:moveTo>
                  <a:lnTo>
                    <a:pt x="18" y="9"/>
                  </a:lnTo>
                  <a:lnTo>
                    <a:pt x="18" y="4"/>
                  </a:lnTo>
                  <a:lnTo>
                    <a:pt x="23" y="0"/>
                  </a:lnTo>
                  <a:lnTo>
                    <a:pt x="25" y="0"/>
                  </a:lnTo>
                  <a:lnTo>
                    <a:pt x="31" y="2"/>
                  </a:lnTo>
                  <a:lnTo>
                    <a:pt x="33" y="9"/>
                  </a:lnTo>
                  <a:lnTo>
                    <a:pt x="41" y="9"/>
                  </a:lnTo>
                  <a:lnTo>
                    <a:pt x="45" y="13"/>
                  </a:lnTo>
                  <a:lnTo>
                    <a:pt x="58" y="22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58" y="29"/>
                  </a:lnTo>
                  <a:lnTo>
                    <a:pt x="58" y="36"/>
                  </a:lnTo>
                  <a:lnTo>
                    <a:pt x="54" y="38"/>
                  </a:lnTo>
                  <a:lnTo>
                    <a:pt x="50" y="43"/>
                  </a:lnTo>
                  <a:lnTo>
                    <a:pt x="45" y="38"/>
                  </a:lnTo>
                  <a:lnTo>
                    <a:pt x="45" y="36"/>
                  </a:lnTo>
                  <a:lnTo>
                    <a:pt x="23" y="22"/>
                  </a:lnTo>
                  <a:lnTo>
                    <a:pt x="16" y="27"/>
                  </a:lnTo>
                  <a:lnTo>
                    <a:pt x="10" y="29"/>
                  </a:lnTo>
                  <a:lnTo>
                    <a:pt x="8" y="20"/>
                  </a:lnTo>
                  <a:lnTo>
                    <a:pt x="6" y="13"/>
                  </a:lnTo>
                  <a:lnTo>
                    <a:pt x="2" y="13"/>
                  </a:lnTo>
                  <a:lnTo>
                    <a:pt x="2" y="11"/>
                  </a:lnTo>
                  <a:lnTo>
                    <a:pt x="8" y="11"/>
                  </a:lnTo>
                  <a:lnTo>
                    <a:pt x="8" y="9"/>
                  </a:lnTo>
                  <a:lnTo>
                    <a:pt x="6" y="4"/>
                  </a:lnTo>
                  <a:lnTo>
                    <a:pt x="2" y="4"/>
                  </a:lnTo>
                  <a:lnTo>
                    <a:pt x="2" y="9"/>
                  </a:lnTo>
                  <a:lnTo>
                    <a:pt x="0" y="4"/>
                  </a:lnTo>
                  <a:lnTo>
                    <a:pt x="2" y="2"/>
                  </a:lnTo>
                  <a:lnTo>
                    <a:pt x="6" y="2"/>
                  </a:lnTo>
                  <a:lnTo>
                    <a:pt x="14" y="9"/>
                  </a:lnTo>
                  <a:lnTo>
                    <a:pt x="16" y="9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5" name="Freeform 1181"/>
            <p:cNvSpPr>
              <a:spLocks/>
            </p:cNvSpPr>
            <p:nvPr/>
          </p:nvSpPr>
          <p:spPr bwMode="auto">
            <a:xfrm>
              <a:off x="3751901" y="4120473"/>
              <a:ext cx="171359" cy="159200"/>
            </a:xfrm>
            <a:custGeom>
              <a:avLst/>
              <a:gdLst/>
              <a:ahLst/>
              <a:cxnLst>
                <a:cxn ang="0">
                  <a:pos x="29" y="30"/>
                </a:cxn>
                <a:cxn ang="0">
                  <a:pos x="31" y="27"/>
                </a:cxn>
                <a:cxn ang="0">
                  <a:pos x="31" y="25"/>
                </a:cxn>
                <a:cxn ang="0">
                  <a:pos x="33" y="25"/>
                </a:cxn>
                <a:cxn ang="0">
                  <a:pos x="31" y="18"/>
                </a:cxn>
                <a:cxn ang="0">
                  <a:pos x="31" y="12"/>
                </a:cxn>
                <a:cxn ang="0">
                  <a:pos x="25" y="0"/>
                </a:cxn>
                <a:cxn ang="0">
                  <a:pos x="21" y="3"/>
                </a:cxn>
                <a:cxn ang="0">
                  <a:pos x="17" y="0"/>
                </a:cxn>
                <a:cxn ang="0">
                  <a:pos x="6" y="0"/>
                </a:cxn>
                <a:cxn ang="0">
                  <a:pos x="6" y="7"/>
                </a:cxn>
                <a:cxn ang="0">
                  <a:pos x="0" y="7"/>
                </a:cxn>
                <a:cxn ang="0">
                  <a:pos x="0" y="9"/>
                </a:cxn>
                <a:cxn ang="0">
                  <a:pos x="6" y="18"/>
                </a:cxn>
                <a:cxn ang="0">
                  <a:pos x="13" y="16"/>
                </a:cxn>
                <a:cxn ang="0">
                  <a:pos x="17" y="16"/>
                </a:cxn>
                <a:cxn ang="0">
                  <a:pos x="21" y="21"/>
                </a:cxn>
                <a:cxn ang="0">
                  <a:pos x="21" y="25"/>
                </a:cxn>
                <a:cxn ang="0">
                  <a:pos x="23" y="25"/>
                </a:cxn>
                <a:cxn ang="0">
                  <a:pos x="25" y="30"/>
                </a:cxn>
                <a:cxn ang="0">
                  <a:pos x="27" y="30"/>
                </a:cxn>
                <a:cxn ang="0">
                  <a:pos x="29" y="30"/>
                </a:cxn>
              </a:cxnLst>
              <a:rect l="0" t="0" r="r" b="b"/>
              <a:pathLst>
                <a:path w="33" h="30">
                  <a:moveTo>
                    <a:pt x="29" y="30"/>
                  </a:moveTo>
                  <a:lnTo>
                    <a:pt x="31" y="27"/>
                  </a:lnTo>
                  <a:lnTo>
                    <a:pt x="31" y="25"/>
                  </a:lnTo>
                  <a:lnTo>
                    <a:pt x="33" y="25"/>
                  </a:lnTo>
                  <a:lnTo>
                    <a:pt x="31" y="18"/>
                  </a:lnTo>
                  <a:lnTo>
                    <a:pt x="31" y="12"/>
                  </a:lnTo>
                  <a:lnTo>
                    <a:pt x="25" y="0"/>
                  </a:lnTo>
                  <a:lnTo>
                    <a:pt x="21" y="3"/>
                  </a:lnTo>
                  <a:lnTo>
                    <a:pt x="17" y="0"/>
                  </a:lnTo>
                  <a:lnTo>
                    <a:pt x="6" y="0"/>
                  </a:lnTo>
                  <a:lnTo>
                    <a:pt x="6" y="7"/>
                  </a:lnTo>
                  <a:lnTo>
                    <a:pt x="0" y="7"/>
                  </a:lnTo>
                  <a:lnTo>
                    <a:pt x="0" y="9"/>
                  </a:lnTo>
                  <a:lnTo>
                    <a:pt x="6" y="18"/>
                  </a:lnTo>
                  <a:lnTo>
                    <a:pt x="13" y="16"/>
                  </a:lnTo>
                  <a:lnTo>
                    <a:pt x="17" y="16"/>
                  </a:lnTo>
                  <a:lnTo>
                    <a:pt x="21" y="21"/>
                  </a:lnTo>
                  <a:lnTo>
                    <a:pt x="21" y="25"/>
                  </a:lnTo>
                  <a:lnTo>
                    <a:pt x="23" y="25"/>
                  </a:lnTo>
                  <a:lnTo>
                    <a:pt x="25" y="30"/>
                  </a:lnTo>
                  <a:lnTo>
                    <a:pt x="27" y="30"/>
                  </a:lnTo>
                  <a:lnTo>
                    <a:pt x="29" y="3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6" name="Freeform 1182"/>
            <p:cNvSpPr>
              <a:spLocks/>
            </p:cNvSpPr>
            <p:nvPr/>
          </p:nvSpPr>
          <p:spPr bwMode="auto">
            <a:xfrm>
              <a:off x="4411372" y="4348660"/>
              <a:ext cx="477727" cy="562507"/>
            </a:xfrm>
            <a:custGeom>
              <a:avLst/>
              <a:gdLst/>
              <a:ahLst/>
              <a:cxnLst>
                <a:cxn ang="0">
                  <a:pos x="53" y="2"/>
                </a:cxn>
                <a:cxn ang="0">
                  <a:pos x="48" y="7"/>
                </a:cxn>
                <a:cxn ang="0">
                  <a:pos x="40" y="2"/>
                </a:cxn>
                <a:cxn ang="0">
                  <a:pos x="38" y="0"/>
                </a:cxn>
                <a:cxn ang="0">
                  <a:pos x="36" y="0"/>
                </a:cxn>
                <a:cxn ang="0">
                  <a:pos x="32" y="9"/>
                </a:cxn>
                <a:cxn ang="0">
                  <a:pos x="30" y="18"/>
                </a:cxn>
                <a:cxn ang="0">
                  <a:pos x="25" y="34"/>
                </a:cxn>
                <a:cxn ang="0">
                  <a:pos x="21" y="43"/>
                </a:cxn>
                <a:cxn ang="0">
                  <a:pos x="17" y="52"/>
                </a:cxn>
                <a:cxn ang="0">
                  <a:pos x="13" y="59"/>
                </a:cxn>
                <a:cxn ang="0">
                  <a:pos x="9" y="54"/>
                </a:cxn>
                <a:cxn ang="0">
                  <a:pos x="7" y="59"/>
                </a:cxn>
                <a:cxn ang="0">
                  <a:pos x="5" y="59"/>
                </a:cxn>
                <a:cxn ang="0">
                  <a:pos x="0" y="59"/>
                </a:cxn>
                <a:cxn ang="0">
                  <a:pos x="0" y="63"/>
                </a:cxn>
                <a:cxn ang="0">
                  <a:pos x="0" y="68"/>
                </a:cxn>
                <a:cxn ang="0">
                  <a:pos x="7" y="63"/>
                </a:cxn>
                <a:cxn ang="0">
                  <a:pos x="17" y="63"/>
                </a:cxn>
                <a:cxn ang="0">
                  <a:pos x="21" y="63"/>
                </a:cxn>
                <a:cxn ang="0">
                  <a:pos x="23" y="72"/>
                </a:cxn>
                <a:cxn ang="0">
                  <a:pos x="25" y="77"/>
                </a:cxn>
                <a:cxn ang="0">
                  <a:pos x="36" y="77"/>
                </a:cxn>
                <a:cxn ang="0">
                  <a:pos x="36" y="70"/>
                </a:cxn>
                <a:cxn ang="0">
                  <a:pos x="40" y="70"/>
                </a:cxn>
                <a:cxn ang="0">
                  <a:pos x="46" y="72"/>
                </a:cxn>
                <a:cxn ang="0">
                  <a:pos x="46" y="86"/>
                </a:cxn>
                <a:cxn ang="0">
                  <a:pos x="48" y="92"/>
                </a:cxn>
                <a:cxn ang="0">
                  <a:pos x="46" y="95"/>
                </a:cxn>
                <a:cxn ang="0">
                  <a:pos x="57" y="92"/>
                </a:cxn>
                <a:cxn ang="0">
                  <a:pos x="65" y="97"/>
                </a:cxn>
                <a:cxn ang="0">
                  <a:pos x="69" y="97"/>
                </a:cxn>
                <a:cxn ang="0">
                  <a:pos x="78" y="104"/>
                </a:cxn>
                <a:cxn ang="0">
                  <a:pos x="84" y="106"/>
                </a:cxn>
                <a:cxn ang="0">
                  <a:pos x="84" y="101"/>
                </a:cxn>
                <a:cxn ang="0">
                  <a:pos x="80" y="101"/>
                </a:cxn>
                <a:cxn ang="0">
                  <a:pos x="78" y="97"/>
                </a:cxn>
                <a:cxn ang="0">
                  <a:pos x="80" y="81"/>
                </a:cxn>
                <a:cxn ang="0">
                  <a:pos x="80" y="79"/>
                </a:cxn>
                <a:cxn ang="0">
                  <a:pos x="86" y="77"/>
                </a:cxn>
                <a:cxn ang="0">
                  <a:pos x="88" y="77"/>
                </a:cxn>
                <a:cxn ang="0">
                  <a:pos x="84" y="68"/>
                </a:cxn>
                <a:cxn ang="0">
                  <a:pos x="84" y="54"/>
                </a:cxn>
                <a:cxn ang="0">
                  <a:pos x="84" y="50"/>
                </a:cxn>
                <a:cxn ang="0">
                  <a:pos x="80" y="45"/>
                </a:cxn>
                <a:cxn ang="0">
                  <a:pos x="80" y="43"/>
                </a:cxn>
                <a:cxn ang="0">
                  <a:pos x="84" y="36"/>
                </a:cxn>
                <a:cxn ang="0">
                  <a:pos x="86" y="27"/>
                </a:cxn>
                <a:cxn ang="0">
                  <a:pos x="88" y="20"/>
                </a:cxn>
                <a:cxn ang="0">
                  <a:pos x="92" y="18"/>
                </a:cxn>
                <a:cxn ang="0">
                  <a:pos x="88" y="16"/>
                </a:cxn>
                <a:cxn ang="0">
                  <a:pos x="88" y="9"/>
                </a:cxn>
                <a:cxn ang="0">
                  <a:pos x="84" y="2"/>
                </a:cxn>
                <a:cxn ang="0">
                  <a:pos x="78" y="2"/>
                </a:cxn>
                <a:cxn ang="0">
                  <a:pos x="73" y="0"/>
                </a:cxn>
                <a:cxn ang="0">
                  <a:pos x="63" y="2"/>
                </a:cxn>
                <a:cxn ang="0">
                  <a:pos x="55" y="2"/>
                </a:cxn>
                <a:cxn ang="0">
                  <a:pos x="53" y="2"/>
                </a:cxn>
              </a:cxnLst>
              <a:rect l="0" t="0" r="r" b="b"/>
              <a:pathLst>
                <a:path w="92" h="106">
                  <a:moveTo>
                    <a:pt x="53" y="2"/>
                  </a:moveTo>
                  <a:lnTo>
                    <a:pt x="48" y="7"/>
                  </a:lnTo>
                  <a:lnTo>
                    <a:pt x="40" y="2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2" y="9"/>
                  </a:lnTo>
                  <a:lnTo>
                    <a:pt x="30" y="18"/>
                  </a:lnTo>
                  <a:lnTo>
                    <a:pt x="25" y="34"/>
                  </a:lnTo>
                  <a:lnTo>
                    <a:pt x="21" y="43"/>
                  </a:lnTo>
                  <a:lnTo>
                    <a:pt x="17" y="52"/>
                  </a:lnTo>
                  <a:lnTo>
                    <a:pt x="13" y="59"/>
                  </a:lnTo>
                  <a:lnTo>
                    <a:pt x="9" y="54"/>
                  </a:lnTo>
                  <a:lnTo>
                    <a:pt x="7" y="59"/>
                  </a:lnTo>
                  <a:lnTo>
                    <a:pt x="5" y="59"/>
                  </a:lnTo>
                  <a:lnTo>
                    <a:pt x="0" y="59"/>
                  </a:lnTo>
                  <a:lnTo>
                    <a:pt x="0" y="63"/>
                  </a:lnTo>
                  <a:lnTo>
                    <a:pt x="0" y="68"/>
                  </a:lnTo>
                  <a:lnTo>
                    <a:pt x="7" y="63"/>
                  </a:lnTo>
                  <a:lnTo>
                    <a:pt x="17" y="63"/>
                  </a:lnTo>
                  <a:lnTo>
                    <a:pt x="21" y="63"/>
                  </a:lnTo>
                  <a:lnTo>
                    <a:pt x="23" y="72"/>
                  </a:lnTo>
                  <a:lnTo>
                    <a:pt x="25" y="77"/>
                  </a:lnTo>
                  <a:lnTo>
                    <a:pt x="36" y="77"/>
                  </a:lnTo>
                  <a:lnTo>
                    <a:pt x="36" y="70"/>
                  </a:lnTo>
                  <a:lnTo>
                    <a:pt x="40" y="70"/>
                  </a:lnTo>
                  <a:lnTo>
                    <a:pt x="46" y="72"/>
                  </a:lnTo>
                  <a:lnTo>
                    <a:pt x="46" y="86"/>
                  </a:lnTo>
                  <a:lnTo>
                    <a:pt x="48" y="92"/>
                  </a:lnTo>
                  <a:lnTo>
                    <a:pt x="46" y="95"/>
                  </a:lnTo>
                  <a:lnTo>
                    <a:pt x="57" y="92"/>
                  </a:lnTo>
                  <a:lnTo>
                    <a:pt x="65" y="97"/>
                  </a:lnTo>
                  <a:lnTo>
                    <a:pt x="69" y="97"/>
                  </a:lnTo>
                  <a:lnTo>
                    <a:pt x="78" y="104"/>
                  </a:lnTo>
                  <a:lnTo>
                    <a:pt x="84" y="106"/>
                  </a:lnTo>
                  <a:lnTo>
                    <a:pt x="84" y="101"/>
                  </a:lnTo>
                  <a:lnTo>
                    <a:pt x="80" y="101"/>
                  </a:lnTo>
                  <a:lnTo>
                    <a:pt x="78" y="97"/>
                  </a:lnTo>
                  <a:lnTo>
                    <a:pt x="80" y="81"/>
                  </a:lnTo>
                  <a:lnTo>
                    <a:pt x="80" y="79"/>
                  </a:lnTo>
                  <a:lnTo>
                    <a:pt x="86" y="77"/>
                  </a:lnTo>
                  <a:lnTo>
                    <a:pt x="88" y="77"/>
                  </a:lnTo>
                  <a:lnTo>
                    <a:pt x="84" y="68"/>
                  </a:lnTo>
                  <a:lnTo>
                    <a:pt x="84" y="54"/>
                  </a:lnTo>
                  <a:lnTo>
                    <a:pt x="84" y="50"/>
                  </a:lnTo>
                  <a:lnTo>
                    <a:pt x="80" y="45"/>
                  </a:lnTo>
                  <a:lnTo>
                    <a:pt x="80" y="43"/>
                  </a:lnTo>
                  <a:lnTo>
                    <a:pt x="84" y="36"/>
                  </a:lnTo>
                  <a:lnTo>
                    <a:pt x="86" y="27"/>
                  </a:lnTo>
                  <a:lnTo>
                    <a:pt x="88" y="20"/>
                  </a:lnTo>
                  <a:lnTo>
                    <a:pt x="92" y="18"/>
                  </a:lnTo>
                  <a:lnTo>
                    <a:pt x="88" y="16"/>
                  </a:lnTo>
                  <a:lnTo>
                    <a:pt x="88" y="9"/>
                  </a:lnTo>
                  <a:lnTo>
                    <a:pt x="84" y="2"/>
                  </a:lnTo>
                  <a:lnTo>
                    <a:pt x="78" y="2"/>
                  </a:lnTo>
                  <a:lnTo>
                    <a:pt x="73" y="0"/>
                  </a:lnTo>
                  <a:lnTo>
                    <a:pt x="63" y="2"/>
                  </a:lnTo>
                  <a:lnTo>
                    <a:pt x="55" y="2"/>
                  </a:lnTo>
                  <a:lnTo>
                    <a:pt x="53" y="2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7" name="Freeform 1183"/>
            <p:cNvSpPr>
              <a:spLocks/>
            </p:cNvSpPr>
            <p:nvPr/>
          </p:nvSpPr>
          <p:spPr bwMode="auto">
            <a:xfrm>
              <a:off x="4478878" y="4168233"/>
              <a:ext cx="311562" cy="238800"/>
            </a:xfrm>
            <a:custGeom>
              <a:avLst/>
              <a:gdLst/>
              <a:ahLst/>
              <a:cxnLst>
                <a:cxn ang="0">
                  <a:pos x="0" y="36"/>
                </a:cxn>
                <a:cxn ang="0">
                  <a:pos x="0" y="30"/>
                </a:cxn>
                <a:cxn ang="0">
                  <a:pos x="2" y="21"/>
                </a:cxn>
                <a:cxn ang="0">
                  <a:pos x="17" y="18"/>
                </a:cxn>
                <a:cxn ang="0">
                  <a:pos x="19" y="16"/>
                </a:cxn>
                <a:cxn ang="0">
                  <a:pos x="19" y="12"/>
                </a:cxn>
                <a:cxn ang="0">
                  <a:pos x="27" y="9"/>
                </a:cxn>
                <a:cxn ang="0">
                  <a:pos x="33" y="3"/>
                </a:cxn>
                <a:cxn ang="0">
                  <a:pos x="35" y="0"/>
                </a:cxn>
                <a:cxn ang="0">
                  <a:pos x="42" y="7"/>
                </a:cxn>
                <a:cxn ang="0">
                  <a:pos x="42" y="12"/>
                </a:cxn>
                <a:cxn ang="0">
                  <a:pos x="48" y="16"/>
                </a:cxn>
                <a:cxn ang="0">
                  <a:pos x="60" y="34"/>
                </a:cxn>
                <a:cxn ang="0">
                  <a:pos x="40" y="36"/>
                </a:cxn>
                <a:cxn ang="0">
                  <a:pos x="35" y="41"/>
                </a:cxn>
                <a:cxn ang="0">
                  <a:pos x="27" y="36"/>
                </a:cxn>
                <a:cxn ang="0">
                  <a:pos x="25" y="34"/>
                </a:cxn>
                <a:cxn ang="0">
                  <a:pos x="23" y="34"/>
                </a:cxn>
                <a:cxn ang="0">
                  <a:pos x="19" y="43"/>
                </a:cxn>
                <a:cxn ang="0">
                  <a:pos x="12" y="43"/>
                </a:cxn>
                <a:cxn ang="0">
                  <a:pos x="10" y="43"/>
                </a:cxn>
                <a:cxn ang="0">
                  <a:pos x="8" y="43"/>
                </a:cxn>
                <a:cxn ang="0">
                  <a:pos x="4" y="45"/>
                </a:cxn>
                <a:cxn ang="0">
                  <a:pos x="2" y="41"/>
                </a:cxn>
                <a:cxn ang="0">
                  <a:pos x="0" y="36"/>
                </a:cxn>
              </a:cxnLst>
              <a:rect l="0" t="0" r="r" b="b"/>
              <a:pathLst>
                <a:path w="60" h="45">
                  <a:moveTo>
                    <a:pt x="0" y="36"/>
                  </a:moveTo>
                  <a:lnTo>
                    <a:pt x="0" y="30"/>
                  </a:lnTo>
                  <a:lnTo>
                    <a:pt x="2" y="21"/>
                  </a:lnTo>
                  <a:lnTo>
                    <a:pt x="17" y="18"/>
                  </a:lnTo>
                  <a:lnTo>
                    <a:pt x="19" y="16"/>
                  </a:lnTo>
                  <a:lnTo>
                    <a:pt x="19" y="12"/>
                  </a:lnTo>
                  <a:lnTo>
                    <a:pt x="27" y="9"/>
                  </a:lnTo>
                  <a:lnTo>
                    <a:pt x="33" y="3"/>
                  </a:lnTo>
                  <a:lnTo>
                    <a:pt x="35" y="0"/>
                  </a:lnTo>
                  <a:lnTo>
                    <a:pt x="42" y="7"/>
                  </a:lnTo>
                  <a:lnTo>
                    <a:pt x="42" y="12"/>
                  </a:lnTo>
                  <a:lnTo>
                    <a:pt x="48" y="16"/>
                  </a:lnTo>
                  <a:lnTo>
                    <a:pt x="60" y="34"/>
                  </a:lnTo>
                  <a:lnTo>
                    <a:pt x="40" y="36"/>
                  </a:lnTo>
                  <a:lnTo>
                    <a:pt x="35" y="41"/>
                  </a:lnTo>
                  <a:lnTo>
                    <a:pt x="27" y="36"/>
                  </a:lnTo>
                  <a:lnTo>
                    <a:pt x="25" y="34"/>
                  </a:lnTo>
                  <a:lnTo>
                    <a:pt x="23" y="34"/>
                  </a:lnTo>
                  <a:lnTo>
                    <a:pt x="19" y="43"/>
                  </a:lnTo>
                  <a:lnTo>
                    <a:pt x="12" y="43"/>
                  </a:lnTo>
                  <a:lnTo>
                    <a:pt x="10" y="43"/>
                  </a:lnTo>
                  <a:lnTo>
                    <a:pt x="8" y="43"/>
                  </a:lnTo>
                  <a:lnTo>
                    <a:pt x="4" y="45"/>
                  </a:lnTo>
                  <a:lnTo>
                    <a:pt x="2" y="41"/>
                  </a:lnTo>
                  <a:lnTo>
                    <a:pt x="0" y="36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8" name="Freeform 1184"/>
            <p:cNvSpPr>
              <a:spLocks/>
            </p:cNvSpPr>
            <p:nvPr/>
          </p:nvSpPr>
          <p:spPr bwMode="auto">
            <a:xfrm>
              <a:off x="3990764" y="4040873"/>
              <a:ext cx="197322" cy="175120"/>
            </a:xfrm>
            <a:custGeom>
              <a:avLst/>
              <a:gdLst/>
              <a:ahLst/>
              <a:cxnLst>
                <a:cxn ang="0">
                  <a:pos x="33" y="15"/>
                </a:cxn>
                <a:cxn ang="0">
                  <a:pos x="31" y="15"/>
                </a:cxn>
                <a:cxn ang="0">
                  <a:pos x="25" y="6"/>
                </a:cxn>
                <a:cxn ang="0">
                  <a:pos x="25" y="0"/>
                </a:cxn>
                <a:cxn ang="0">
                  <a:pos x="19" y="2"/>
                </a:cxn>
                <a:cxn ang="0">
                  <a:pos x="10" y="9"/>
                </a:cxn>
                <a:cxn ang="0">
                  <a:pos x="6" y="13"/>
                </a:cxn>
                <a:cxn ang="0">
                  <a:pos x="0" y="22"/>
                </a:cxn>
                <a:cxn ang="0">
                  <a:pos x="0" y="27"/>
                </a:cxn>
                <a:cxn ang="0">
                  <a:pos x="2" y="31"/>
                </a:cxn>
                <a:cxn ang="0">
                  <a:pos x="8" y="31"/>
                </a:cxn>
                <a:cxn ang="0">
                  <a:pos x="10" y="33"/>
                </a:cxn>
                <a:cxn ang="0">
                  <a:pos x="10" y="24"/>
                </a:cxn>
                <a:cxn ang="0">
                  <a:pos x="23" y="24"/>
                </a:cxn>
                <a:cxn ang="0">
                  <a:pos x="27" y="24"/>
                </a:cxn>
                <a:cxn ang="0">
                  <a:pos x="31" y="22"/>
                </a:cxn>
                <a:cxn ang="0">
                  <a:pos x="33" y="22"/>
                </a:cxn>
                <a:cxn ang="0">
                  <a:pos x="38" y="18"/>
                </a:cxn>
                <a:cxn ang="0">
                  <a:pos x="35" y="18"/>
                </a:cxn>
                <a:cxn ang="0">
                  <a:pos x="33" y="15"/>
                </a:cxn>
              </a:cxnLst>
              <a:rect l="0" t="0" r="r" b="b"/>
              <a:pathLst>
                <a:path w="38" h="33">
                  <a:moveTo>
                    <a:pt x="33" y="15"/>
                  </a:moveTo>
                  <a:lnTo>
                    <a:pt x="31" y="15"/>
                  </a:lnTo>
                  <a:lnTo>
                    <a:pt x="25" y="6"/>
                  </a:lnTo>
                  <a:lnTo>
                    <a:pt x="25" y="0"/>
                  </a:lnTo>
                  <a:lnTo>
                    <a:pt x="19" y="2"/>
                  </a:lnTo>
                  <a:lnTo>
                    <a:pt x="10" y="9"/>
                  </a:lnTo>
                  <a:lnTo>
                    <a:pt x="6" y="13"/>
                  </a:lnTo>
                  <a:lnTo>
                    <a:pt x="0" y="22"/>
                  </a:lnTo>
                  <a:lnTo>
                    <a:pt x="0" y="27"/>
                  </a:lnTo>
                  <a:lnTo>
                    <a:pt x="2" y="31"/>
                  </a:lnTo>
                  <a:lnTo>
                    <a:pt x="8" y="31"/>
                  </a:lnTo>
                  <a:lnTo>
                    <a:pt x="10" y="33"/>
                  </a:lnTo>
                  <a:lnTo>
                    <a:pt x="10" y="24"/>
                  </a:lnTo>
                  <a:lnTo>
                    <a:pt x="23" y="24"/>
                  </a:lnTo>
                  <a:lnTo>
                    <a:pt x="27" y="24"/>
                  </a:lnTo>
                  <a:lnTo>
                    <a:pt x="31" y="22"/>
                  </a:lnTo>
                  <a:lnTo>
                    <a:pt x="33" y="22"/>
                  </a:lnTo>
                  <a:lnTo>
                    <a:pt x="38" y="18"/>
                  </a:lnTo>
                  <a:lnTo>
                    <a:pt x="35" y="18"/>
                  </a:lnTo>
                  <a:lnTo>
                    <a:pt x="33" y="15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9" name="Freeform 1185"/>
            <p:cNvSpPr>
              <a:spLocks/>
            </p:cNvSpPr>
            <p:nvPr/>
          </p:nvSpPr>
          <p:spPr bwMode="auto">
            <a:xfrm>
              <a:off x="4120582" y="3775539"/>
              <a:ext cx="379066" cy="382081"/>
            </a:xfrm>
            <a:custGeom>
              <a:avLst/>
              <a:gdLst/>
              <a:ahLst/>
              <a:cxnLst>
                <a:cxn ang="0">
                  <a:pos x="63" y="59"/>
                </a:cxn>
                <a:cxn ang="0">
                  <a:pos x="63" y="56"/>
                </a:cxn>
                <a:cxn ang="0">
                  <a:pos x="71" y="38"/>
                </a:cxn>
                <a:cxn ang="0">
                  <a:pos x="73" y="20"/>
                </a:cxn>
                <a:cxn ang="0">
                  <a:pos x="71" y="20"/>
                </a:cxn>
                <a:cxn ang="0">
                  <a:pos x="69" y="14"/>
                </a:cxn>
                <a:cxn ang="0">
                  <a:pos x="69" y="5"/>
                </a:cxn>
                <a:cxn ang="0">
                  <a:pos x="65" y="0"/>
                </a:cxn>
                <a:cxn ang="0">
                  <a:pos x="54" y="0"/>
                </a:cxn>
                <a:cxn ang="0">
                  <a:pos x="25" y="25"/>
                </a:cxn>
                <a:cxn ang="0">
                  <a:pos x="21" y="29"/>
                </a:cxn>
                <a:cxn ang="0">
                  <a:pos x="21" y="43"/>
                </a:cxn>
                <a:cxn ang="0">
                  <a:pos x="17" y="47"/>
                </a:cxn>
                <a:cxn ang="0">
                  <a:pos x="0" y="50"/>
                </a:cxn>
                <a:cxn ang="0">
                  <a:pos x="0" y="56"/>
                </a:cxn>
                <a:cxn ang="0">
                  <a:pos x="6" y="65"/>
                </a:cxn>
                <a:cxn ang="0">
                  <a:pos x="8" y="65"/>
                </a:cxn>
                <a:cxn ang="0">
                  <a:pos x="13" y="68"/>
                </a:cxn>
                <a:cxn ang="0">
                  <a:pos x="15" y="65"/>
                </a:cxn>
                <a:cxn ang="0">
                  <a:pos x="17" y="72"/>
                </a:cxn>
                <a:cxn ang="0">
                  <a:pos x="17" y="65"/>
                </a:cxn>
                <a:cxn ang="0">
                  <a:pos x="21" y="59"/>
                </a:cxn>
                <a:cxn ang="0">
                  <a:pos x="25" y="59"/>
                </a:cxn>
                <a:cxn ang="0">
                  <a:pos x="31" y="63"/>
                </a:cxn>
                <a:cxn ang="0">
                  <a:pos x="38" y="63"/>
                </a:cxn>
                <a:cxn ang="0">
                  <a:pos x="42" y="65"/>
                </a:cxn>
                <a:cxn ang="0">
                  <a:pos x="48" y="63"/>
                </a:cxn>
                <a:cxn ang="0">
                  <a:pos x="56" y="63"/>
                </a:cxn>
                <a:cxn ang="0">
                  <a:pos x="61" y="59"/>
                </a:cxn>
                <a:cxn ang="0">
                  <a:pos x="63" y="59"/>
                </a:cxn>
              </a:cxnLst>
              <a:rect l="0" t="0" r="r" b="b"/>
              <a:pathLst>
                <a:path w="73" h="72">
                  <a:moveTo>
                    <a:pt x="63" y="59"/>
                  </a:moveTo>
                  <a:lnTo>
                    <a:pt x="63" y="56"/>
                  </a:lnTo>
                  <a:lnTo>
                    <a:pt x="71" y="38"/>
                  </a:lnTo>
                  <a:lnTo>
                    <a:pt x="73" y="20"/>
                  </a:lnTo>
                  <a:lnTo>
                    <a:pt x="71" y="20"/>
                  </a:lnTo>
                  <a:lnTo>
                    <a:pt x="69" y="14"/>
                  </a:lnTo>
                  <a:lnTo>
                    <a:pt x="69" y="5"/>
                  </a:lnTo>
                  <a:lnTo>
                    <a:pt x="65" y="0"/>
                  </a:lnTo>
                  <a:lnTo>
                    <a:pt x="54" y="0"/>
                  </a:lnTo>
                  <a:lnTo>
                    <a:pt x="25" y="25"/>
                  </a:lnTo>
                  <a:lnTo>
                    <a:pt x="21" y="29"/>
                  </a:lnTo>
                  <a:lnTo>
                    <a:pt x="21" y="43"/>
                  </a:lnTo>
                  <a:lnTo>
                    <a:pt x="17" y="47"/>
                  </a:lnTo>
                  <a:lnTo>
                    <a:pt x="0" y="50"/>
                  </a:lnTo>
                  <a:lnTo>
                    <a:pt x="0" y="56"/>
                  </a:lnTo>
                  <a:lnTo>
                    <a:pt x="6" y="65"/>
                  </a:lnTo>
                  <a:lnTo>
                    <a:pt x="8" y="65"/>
                  </a:lnTo>
                  <a:lnTo>
                    <a:pt x="13" y="68"/>
                  </a:lnTo>
                  <a:lnTo>
                    <a:pt x="15" y="65"/>
                  </a:lnTo>
                  <a:lnTo>
                    <a:pt x="17" y="72"/>
                  </a:lnTo>
                  <a:lnTo>
                    <a:pt x="17" y="65"/>
                  </a:lnTo>
                  <a:lnTo>
                    <a:pt x="21" y="59"/>
                  </a:lnTo>
                  <a:lnTo>
                    <a:pt x="25" y="59"/>
                  </a:lnTo>
                  <a:lnTo>
                    <a:pt x="31" y="63"/>
                  </a:lnTo>
                  <a:lnTo>
                    <a:pt x="38" y="63"/>
                  </a:lnTo>
                  <a:lnTo>
                    <a:pt x="42" y="65"/>
                  </a:lnTo>
                  <a:lnTo>
                    <a:pt x="48" y="63"/>
                  </a:lnTo>
                  <a:lnTo>
                    <a:pt x="56" y="63"/>
                  </a:lnTo>
                  <a:lnTo>
                    <a:pt x="61" y="59"/>
                  </a:lnTo>
                  <a:lnTo>
                    <a:pt x="63" y="59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" name="Freeform 1186"/>
            <p:cNvSpPr>
              <a:spLocks/>
            </p:cNvSpPr>
            <p:nvPr/>
          </p:nvSpPr>
          <p:spPr bwMode="auto">
            <a:xfrm>
              <a:off x="3829792" y="3727779"/>
              <a:ext cx="399837" cy="456374"/>
            </a:xfrm>
            <a:custGeom>
              <a:avLst/>
              <a:gdLst/>
              <a:ahLst/>
              <a:cxnLst>
                <a:cxn ang="0">
                  <a:pos x="56" y="59"/>
                </a:cxn>
                <a:cxn ang="0">
                  <a:pos x="73" y="56"/>
                </a:cxn>
                <a:cxn ang="0">
                  <a:pos x="77" y="52"/>
                </a:cxn>
                <a:cxn ang="0">
                  <a:pos x="77" y="38"/>
                </a:cxn>
                <a:cxn ang="0">
                  <a:pos x="71" y="38"/>
                </a:cxn>
                <a:cxn ang="0">
                  <a:pos x="71" y="32"/>
                </a:cxn>
                <a:cxn ang="0">
                  <a:pos x="64" y="29"/>
                </a:cxn>
                <a:cxn ang="0">
                  <a:pos x="58" y="25"/>
                </a:cxn>
                <a:cxn ang="0">
                  <a:pos x="33" y="0"/>
                </a:cxn>
                <a:cxn ang="0">
                  <a:pos x="25" y="0"/>
                </a:cxn>
                <a:cxn ang="0">
                  <a:pos x="31" y="56"/>
                </a:cxn>
                <a:cxn ang="0">
                  <a:pos x="8" y="56"/>
                </a:cxn>
                <a:cxn ang="0">
                  <a:pos x="6" y="59"/>
                </a:cxn>
                <a:cxn ang="0">
                  <a:pos x="2" y="56"/>
                </a:cxn>
                <a:cxn ang="0">
                  <a:pos x="0" y="61"/>
                </a:cxn>
                <a:cxn ang="0">
                  <a:pos x="2" y="74"/>
                </a:cxn>
                <a:cxn ang="0">
                  <a:pos x="6" y="77"/>
                </a:cxn>
                <a:cxn ang="0">
                  <a:pos x="10" y="74"/>
                </a:cxn>
                <a:cxn ang="0">
                  <a:pos x="16" y="86"/>
                </a:cxn>
                <a:cxn ang="0">
                  <a:pos x="18" y="86"/>
                </a:cxn>
                <a:cxn ang="0">
                  <a:pos x="23" y="86"/>
                </a:cxn>
                <a:cxn ang="0">
                  <a:pos x="25" y="86"/>
                </a:cxn>
                <a:cxn ang="0">
                  <a:pos x="29" y="86"/>
                </a:cxn>
                <a:cxn ang="0">
                  <a:pos x="31" y="86"/>
                </a:cxn>
                <a:cxn ang="0">
                  <a:pos x="31" y="81"/>
                </a:cxn>
                <a:cxn ang="0">
                  <a:pos x="37" y="72"/>
                </a:cxn>
                <a:cxn ang="0">
                  <a:pos x="41" y="68"/>
                </a:cxn>
                <a:cxn ang="0">
                  <a:pos x="50" y="61"/>
                </a:cxn>
                <a:cxn ang="0">
                  <a:pos x="52" y="61"/>
                </a:cxn>
                <a:cxn ang="0">
                  <a:pos x="56" y="59"/>
                </a:cxn>
              </a:cxnLst>
              <a:rect l="0" t="0" r="r" b="b"/>
              <a:pathLst>
                <a:path w="77" h="86">
                  <a:moveTo>
                    <a:pt x="56" y="59"/>
                  </a:moveTo>
                  <a:lnTo>
                    <a:pt x="73" y="56"/>
                  </a:lnTo>
                  <a:lnTo>
                    <a:pt x="77" y="52"/>
                  </a:lnTo>
                  <a:lnTo>
                    <a:pt x="77" y="38"/>
                  </a:lnTo>
                  <a:lnTo>
                    <a:pt x="71" y="38"/>
                  </a:lnTo>
                  <a:lnTo>
                    <a:pt x="71" y="32"/>
                  </a:lnTo>
                  <a:lnTo>
                    <a:pt x="64" y="29"/>
                  </a:lnTo>
                  <a:lnTo>
                    <a:pt x="58" y="25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31" y="56"/>
                  </a:lnTo>
                  <a:lnTo>
                    <a:pt x="8" y="56"/>
                  </a:lnTo>
                  <a:lnTo>
                    <a:pt x="6" y="59"/>
                  </a:lnTo>
                  <a:lnTo>
                    <a:pt x="2" y="56"/>
                  </a:lnTo>
                  <a:lnTo>
                    <a:pt x="0" y="61"/>
                  </a:lnTo>
                  <a:lnTo>
                    <a:pt x="2" y="74"/>
                  </a:lnTo>
                  <a:lnTo>
                    <a:pt x="6" y="77"/>
                  </a:lnTo>
                  <a:lnTo>
                    <a:pt x="10" y="74"/>
                  </a:lnTo>
                  <a:lnTo>
                    <a:pt x="16" y="86"/>
                  </a:lnTo>
                  <a:lnTo>
                    <a:pt x="18" y="86"/>
                  </a:lnTo>
                  <a:lnTo>
                    <a:pt x="23" y="86"/>
                  </a:lnTo>
                  <a:lnTo>
                    <a:pt x="25" y="86"/>
                  </a:lnTo>
                  <a:lnTo>
                    <a:pt x="29" y="86"/>
                  </a:lnTo>
                  <a:lnTo>
                    <a:pt x="31" y="86"/>
                  </a:lnTo>
                  <a:lnTo>
                    <a:pt x="31" y="81"/>
                  </a:lnTo>
                  <a:lnTo>
                    <a:pt x="37" y="72"/>
                  </a:lnTo>
                  <a:lnTo>
                    <a:pt x="41" y="68"/>
                  </a:lnTo>
                  <a:lnTo>
                    <a:pt x="50" y="61"/>
                  </a:lnTo>
                  <a:lnTo>
                    <a:pt x="52" y="61"/>
                  </a:lnTo>
                  <a:lnTo>
                    <a:pt x="56" y="59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1" name="Freeform 1187"/>
            <p:cNvSpPr>
              <a:spLocks/>
            </p:cNvSpPr>
            <p:nvPr/>
          </p:nvSpPr>
          <p:spPr bwMode="auto">
            <a:xfrm>
              <a:off x="4650237" y="3802073"/>
              <a:ext cx="399837" cy="594348"/>
            </a:xfrm>
            <a:custGeom>
              <a:avLst/>
              <a:gdLst/>
              <a:ahLst/>
              <a:cxnLst>
                <a:cxn ang="0">
                  <a:pos x="65" y="103"/>
                </a:cxn>
                <a:cxn ang="0">
                  <a:pos x="63" y="99"/>
                </a:cxn>
                <a:cxn ang="0">
                  <a:pos x="57" y="90"/>
                </a:cxn>
                <a:cxn ang="0">
                  <a:pos x="55" y="87"/>
                </a:cxn>
                <a:cxn ang="0">
                  <a:pos x="55" y="85"/>
                </a:cxn>
                <a:cxn ang="0">
                  <a:pos x="57" y="85"/>
                </a:cxn>
                <a:cxn ang="0">
                  <a:pos x="59" y="72"/>
                </a:cxn>
                <a:cxn ang="0">
                  <a:pos x="67" y="58"/>
                </a:cxn>
                <a:cxn ang="0">
                  <a:pos x="71" y="36"/>
                </a:cxn>
                <a:cxn ang="0">
                  <a:pos x="77" y="33"/>
                </a:cxn>
                <a:cxn ang="0">
                  <a:pos x="77" y="29"/>
                </a:cxn>
                <a:cxn ang="0">
                  <a:pos x="73" y="27"/>
                </a:cxn>
                <a:cxn ang="0">
                  <a:pos x="67" y="4"/>
                </a:cxn>
                <a:cxn ang="0">
                  <a:pos x="63" y="2"/>
                </a:cxn>
                <a:cxn ang="0">
                  <a:pos x="63" y="0"/>
                </a:cxn>
                <a:cxn ang="0">
                  <a:pos x="57" y="4"/>
                </a:cxn>
                <a:cxn ang="0">
                  <a:pos x="50" y="4"/>
                </a:cxn>
                <a:cxn ang="0">
                  <a:pos x="15" y="4"/>
                </a:cxn>
                <a:cxn ang="0">
                  <a:pos x="15" y="18"/>
                </a:cxn>
                <a:cxn ang="0">
                  <a:pos x="9" y="18"/>
                </a:cxn>
                <a:cxn ang="0">
                  <a:pos x="9" y="20"/>
                </a:cxn>
                <a:cxn ang="0">
                  <a:pos x="9" y="38"/>
                </a:cxn>
                <a:cxn ang="0">
                  <a:pos x="9" y="42"/>
                </a:cxn>
                <a:cxn ang="0">
                  <a:pos x="7" y="42"/>
                </a:cxn>
                <a:cxn ang="0">
                  <a:pos x="0" y="58"/>
                </a:cxn>
                <a:cxn ang="0">
                  <a:pos x="7" y="67"/>
                </a:cxn>
                <a:cxn ang="0">
                  <a:pos x="2" y="69"/>
                </a:cxn>
                <a:cxn ang="0">
                  <a:pos x="9" y="76"/>
                </a:cxn>
                <a:cxn ang="0">
                  <a:pos x="9" y="81"/>
                </a:cxn>
                <a:cxn ang="0">
                  <a:pos x="15" y="85"/>
                </a:cxn>
                <a:cxn ang="0">
                  <a:pos x="27" y="103"/>
                </a:cxn>
                <a:cxn ang="0">
                  <a:pos x="32" y="105"/>
                </a:cxn>
                <a:cxn ang="0">
                  <a:pos x="38" y="105"/>
                </a:cxn>
                <a:cxn ang="0">
                  <a:pos x="42" y="112"/>
                </a:cxn>
                <a:cxn ang="0">
                  <a:pos x="48" y="112"/>
                </a:cxn>
                <a:cxn ang="0">
                  <a:pos x="57" y="110"/>
                </a:cxn>
                <a:cxn ang="0">
                  <a:pos x="59" y="105"/>
                </a:cxn>
                <a:cxn ang="0">
                  <a:pos x="65" y="105"/>
                </a:cxn>
                <a:cxn ang="0">
                  <a:pos x="65" y="103"/>
                </a:cxn>
              </a:cxnLst>
              <a:rect l="0" t="0" r="r" b="b"/>
              <a:pathLst>
                <a:path w="77" h="112">
                  <a:moveTo>
                    <a:pt x="65" y="103"/>
                  </a:moveTo>
                  <a:lnTo>
                    <a:pt x="63" y="99"/>
                  </a:lnTo>
                  <a:lnTo>
                    <a:pt x="57" y="90"/>
                  </a:lnTo>
                  <a:lnTo>
                    <a:pt x="55" y="87"/>
                  </a:lnTo>
                  <a:lnTo>
                    <a:pt x="55" y="85"/>
                  </a:lnTo>
                  <a:lnTo>
                    <a:pt x="57" y="85"/>
                  </a:lnTo>
                  <a:lnTo>
                    <a:pt x="59" y="72"/>
                  </a:lnTo>
                  <a:lnTo>
                    <a:pt x="67" y="58"/>
                  </a:lnTo>
                  <a:lnTo>
                    <a:pt x="71" y="36"/>
                  </a:lnTo>
                  <a:lnTo>
                    <a:pt x="77" y="33"/>
                  </a:lnTo>
                  <a:lnTo>
                    <a:pt x="77" y="29"/>
                  </a:lnTo>
                  <a:lnTo>
                    <a:pt x="73" y="27"/>
                  </a:lnTo>
                  <a:lnTo>
                    <a:pt x="67" y="4"/>
                  </a:lnTo>
                  <a:lnTo>
                    <a:pt x="63" y="2"/>
                  </a:lnTo>
                  <a:lnTo>
                    <a:pt x="63" y="0"/>
                  </a:lnTo>
                  <a:lnTo>
                    <a:pt x="57" y="4"/>
                  </a:lnTo>
                  <a:lnTo>
                    <a:pt x="50" y="4"/>
                  </a:lnTo>
                  <a:lnTo>
                    <a:pt x="15" y="4"/>
                  </a:lnTo>
                  <a:lnTo>
                    <a:pt x="15" y="18"/>
                  </a:lnTo>
                  <a:lnTo>
                    <a:pt x="9" y="18"/>
                  </a:lnTo>
                  <a:lnTo>
                    <a:pt x="9" y="20"/>
                  </a:lnTo>
                  <a:lnTo>
                    <a:pt x="9" y="38"/>
                  </a:lnTo>
                  <a:lnTo>
                    <a:pt x="9" y="42"/>
                  </a:lnTo>
                  <a:lnTo>
                    <a:pt x="7" y="42"/>
                  </a:lnTo>
                  <a:lnTo>
                    <a:pt x="0" y="58"/>
                  </a:lnTo>
                  <a:lnTo>
                    <a:pt x="7" y="67"/>
                  </a:lnTo>
                  <a:lnTo>
                    <a:pt x="2" y="69"/>
                  </a:lnTo>
                  <a:lnTo>
                    <a:pt x="9" y="76"/>
                  </a:lnTo>
                  <a:lnTo>
                    <a:pt x="9" y="81"/>
                  </a:lnTo>
                  <a:lnTo>
                    <a:pt x="15" y="85"/>
                  </a:lnTo>
                  <a:lnTo>
                    <a:pt x="27" y="103"/>
                  </a:lnTo>
                  <a:lnTo>
                    <a:pt x="32" y="105"/>
                  </a:lnTo>
                  <a:lnTo>
                    <a:pt x="38" y="105"/>
                  </a:lnTo>
                  <a:lnTo>
                    <a:pt x="42" y="112"/>
                  </a:lnTo>
                  <a:lnTo>
                    <a:pt x="48" y="112"/>
                  </a:lnTo>
                  <a:lnTo>
                    <a:pt x="57" y="110"/>
                  </a:lnTo>
                  <a:lnTo>
                    <a:pt x="59" y="105"/>
                  </a:lnTo>
                  <a:lnTo>
                    <a:pt x="65" y="105"/>
                  </a:lnTo>
                  <a:lnTo>
                    <a:pt x="65" y="103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2" name="Freeform 1188"/>
            <p:cNvSpPr>
              <a:spLocks/>
            </p:cNvSpPr>
            <p:nvPr/>
          </p:nvSpPr>
          <p:spPr bwMode="auto">
            <a:xfrm>
              <a:off x="4338675" y="3488979"/>
              <a:ext cx="389451" cy="419227"/>
            </a:xfrm>
            <a:custGeom>
              <a:avLst/>
              <a:gdLst/>
              <a:ahLst/>
              <a:cxnLst>
                <a:cxn ang="0">
                  <a:pos x="75" y="63"/>
                </a:cxn>
                <a:cxn ang="0">
                  <a:pos x="71" y="27"/>
                </a:cxn>
                <a:cxn ang="0">
                  <a:pos x="71" y="18"/>
                </a:cxn>
                <a:cxn ang="0">
                  <a:pos x="71" y="9"/>
                </a:cxn>
                <a:cxn ang="0">
                  <a:pos x="62" y="7"/>
                </a:cxn>
                <a:cxn ang="0">
                  <a:pos x="62" y="2"/>
                </a:cxn>
                <a:cxn ang="0">
                  <a:pos x="58" y="2"/>
                </a:cxn>
                <a:cxn ang="0">
                  <a:pos x="50" y="7"/>
                </a:cxn>
                <a:cxn ang="0">
                  <a:pos x="50" y="16"/>
                </a:cxn>
                <a:cxn ang="0">
                  <a:pos x="46" y="18"/>
                </a:cxn>
                <a:cxn ang="0">
                  <a:pos x="44" y="16"/>
                </a:cxn>
                <a:cxn ang="0">
                  <a:pos x="37" y="11"/>
                </a:cxn>
                <a:cxn ang="0">
                  <a:pos x="29" y="9"/>
                </a:cxn>
                <a:cxn ang="0">
                  <a:pos x="29" y="7"/>
                </a:cxn>
                <a:cxn ang="0">
                  <a:pos x="23" y="2"/>
                </a:cxn>
                <a:cxn ang="0">
                  <a:pos x="14" y="2"/>
                </a:cxn>
                <a:cxn ang="0">
                  <a:pos x="10" y="0"/>
                </a:cxn>
                <a:cxn ang="0">
                  <a:pos x="10" y="7"/>
                </a:cxn>
                <a:cxn ang="0">
                  <a:pos x="4" y="9"/>
                </a:cxn>
                <a:cxn ang="0">
                  <a:pos x="4" y="16"/>
                </a:cxn>
                <a:cxn ang="0">
                  <a:pos x="0" y="16"/>
                </a:cxn>
                <a:cxn ang="0">
                  <a:pos x="0" y="18"/>
                </a:cxn>
                <a:cxn ang="0">
                  <a:pos x="4" y="20"/>
                </a:cxn>
                <a:cxn ang="0">
                  <a:pos x="4" y="32"/>
                </a:cxn>
                <a:cxn ang="0">
                  <a:pos x="4" y="36"/>
                </a:cxn>
                <a:cxn ang="0">
                  <a:pos x="0" y="41"/>
                </a:cxn>
                <a:cxn ang="0">
                  <a:pos x="6" y="50"/>
                </a:cxn>
                <a:cxn ang="0">
                  <a:pos x="10" y="50"/>
                </a:cxn>
                <a:cxn ang="0">
                  <a:pos x="12" y="54"/>
                </a:cxn>
                <a:cxn ang="0">
                  <a:pos x="23" y="54"/>
                </a:cxn>
                <a:cxn ang="0">
                  <a:pos x="27" y="59"/>
                </a:cxn>
                <a:cxn ang="0">
                  <a:pos x="35" y="59"/>
                </a:cxn>
                <a:cxn ang="0">
                  <a:pos x="69" y="79"/>
                </a:cxn>
                <a:cxn ang="0">
                  <a:pos x="69" y="77"/>
                </a:cxn>
                <a:cxn ang="0">
                  <a:pos x="75" y="77"/>
                </a:cxn>
                <a:cxn ang="0">
                  <a:pos x="75" y="70"/>
                </a:cxn>
                <a:cxn ang="0">
                  <a:pos x="75" y="63"/>
                </a:cxn>
              </a:cxnLst>
              <a:rect l="0" t="0" r="r" b="b"/>
              <a:pathLst>
                <a:path w="75" h="79">
                  <a:moveTo>
                    <a:pt x="75" y="63"/>
                  </a:moveTo>
                  <a:lnTo>
                    <a:pt x="71" y="27"/>
                  </a:lnTo>
                  <a:lnTo>
                    <a:pt x="71" y="18"/>
                  </a:lnTo>
                  <a:lnTo>
                    <a:pt x="71" y="9"/>
                  </a:lnTo>
                  <a:lnTo>
                    <a:pt x="62" y="7"/>
                  </a:lnTo>
                  <a:lnTo>
                    <a:pt x="62" y="2"/>
                  </a:lnTo>
                  <a:lnTo>
                    <a:pt x="58" y="2"/>
                  </a:lnTo>
                  <a:lnTo>
                    <a:pt x="50" y="7"/>
                  </a:lnTo>
                  <a:lnTo>
                    <a:pt x="50" y="16"/>
                  </a:lnTo>
                  <a:lnTo>
                    <a:pt x="46" y="18"/>
                  </a:lnTo>
                  <a:lnTo>
                    <a:pt x="44" y="16"/>
                  </a:lnTo>
                  <a:lnTo>
                    <a:pt x="37" y="11"/>
                  </a:lnTo>
                  <a:lnTo>
                    <a:pt x="29" y="9"/>
                  </a:lnTo>
                  <a:lnTo>
                    <a:pt x="29" y="7"/>
                  </a:lnTo>
                  <a:lnTo>
                    <a:pt x="23" y="2"/>
                  </a:lnTo>
                  <a:lnTo>
                    <a:pt x="14" y="2"/>
                  </a:lnTo>
                  <a:lnTo>
                    <a:pt x="10" y="0"/>
                  </a:lnTo>
                  <a:lnTo>
                    <a:pt x="10" y="7"/>
                  </a:lnTo>
                  <a:lnTo>
                    <a:pt x="4" y="9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4" y="20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0" y="41"/>
                  </a:lnTo>
                  <a:lnTo>
                    <a:pt x="6" y="50"/>
                  </a:lnTo>
                  <a:lnTo>
                    <a:pt x="10" y="50"/>
                  </a:lnTo>
                  <a:lnTo>
                    <a:pt x="12" y="54"/>
                  </a:lnTo>
                  <a:lnTo>
                    <a:pt x="23" y="54"/>
                  </a:lnTo>
                  <a:lnTo>
                    <a:pt x="27" y="59"/>
                  </a:lnTo>
                  <a:lnTo>
                    <a:pt x="35" y="59"/>
                  </a:lnTo>
                  <a:lnTo>
                    <a:pt x="69" y="79"/>
                  </a:lnTo>
                  <a:lnTo>
                    <a:pt x="69" y="77"/>
                  </a:lnTo>
                  <a:lnTo>
                    <a:pt x="75" y="77"/>
                  </a:lnTo>
                  <a:lnTo>
                    <a:pt x="75" y="70"/>
                  </a:lnTo>
                  <a:lnTo>
                    <a:pt x="75" y="63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3" name="Freeform 1189"/>
            <p:cNvSpPr>
              <a:spLocks/>
            </p:cNvSpPr>
            <p:nvPr/>
          </p:nvSpPr>
          <p:spPr bwMode="auto">
            <a:xfrm>
              <a:off x="3912875" y="3366925"/>
              <a:ext cx="488112" cy="562507"/>
            </a:xfrm>
            <a:custGeom>
              <a:avLst/>
              <a:gdLst/>
              <a:ahLst/>
              <a:cxnLst>
                <a:cxn ang="0">
                  <a:pos x="78" y="0"/>
                </a:cxn>
                <a:cxn ang="0">
                  <a:pos x="69" y="0"/>
                </a:cxn>
                <a:cxn ang="0">
                  <a:pos x="65" y="0"/>
                </a:cxn>
                <a:cxn ang="0">
                  <a:pos x="61" y="0"/>
                </a:cxn>
                <a:cxn ang="0">
                  <a:pos x="46" y="5"/>
                </a:cxn>
                <a:cxn ang="0">
                  <a:pos x="32" y="12"/>
                </a:cxn>
                <a:cxn ang="0">
                  <a:pos x="34" y="14"/>
                </a:cxn>
                <a:cxn ang="0">
                  <a:pos x="34" y="30"/>
                </a:cxn>
                <a:cxn ang="0">
                  <a:pos x="23" y="32"/>
                </a:cxn>
                <a:cxn ang="0">
                  <a:pos x="23" y="34"/>
                </a:cxn>
                <a:cxn ang="0">
                  <a:pos x="17" y="41"/>
                </a:cxn>
                <a:cxn ang="0">
                  <a:pos x="2" y="43"/>
                </a:cxn>
                <a:cxn ang="0">
                  <a:pos x="0" y="48"/>
                </a:cxn>
                <a:cxn ang="0">
                  <a:pos x="0" y="55"/>
                </a:cxn>
                <a:cxn ang="0">
                  <a:pos x="0" y="57"/>
                </a:cxn>
                <a:cxn ang="0">
                  <a:pos x="17" y="68"/>
                </a:cxn>
                <a:cxn ang="0">
                  <a:pos x="42" y="93"/>
                </a:cxn>
                <a:cxn ang="0">
                  <a:pos x="48" y="97"/>
                </a:cxn>
                <a:cxn ang="0">
                  <a:pos x="55" y="100"/>
                </a:cxn>
                <a:cxn ang="0">
                  <a:pos x="55" y="106"/>
                </a:cxn>
                <a:cxn ang="0">
                  <a:pos x="61" y="106"/>
                </a:cxn>
                <a:cxn ang="0">
                  <a:pos x="65" y="102"/>
                </a:cxn>
                <a:cxn ang="0">
                  <a:pos x="94" y="77"/>
                </a:cxn>
                <a:cxn ang="0">
                  <a:pos x="92" y="73"/>
                </a:cxn>
                <a:cxn ang="0">
                  <a:pos x="88" y="73"/>
                </a:cxn>
                <a:cxn ang="0">
                  <a:pos x="82" y="64"/>
                </a:cxn>
                <a:cxn ang="0">
                  <a:pos x="86" y="59"/>
                </a:cxn>
                <a:cxn ang="0">
                  <a:pos x="86" y="55"/>
                </a:cxn>
                <a:cxn ang="0">
                  <a:pos x="86" y="43"/>
                </a:cxn>
                <a:cxn ang="0">
                  <a:pos x="82" y="41"/>
                </a:cxn>
                <a:cxn ang="0">
                  <a:pos x="82" y="39"/>
                </a:cxn>
                <a:cxn ang="0">
                  <a:pos x="82" y="30"/>
                </a:cxn>
                <a:cxn ang="0">
                  <a:pos x="78" y="25"/>
                </a:cxn>
                <a:cxn ang="0">
                  <a:pos x="73" y="21"/>
                </a:cxn>
                <a:cxn ang="0">
                  <a:pos x="80" y="14"/>
                </a:cxn>
                <a:cxn ang="0">
                  <a:pos x="80" y="5"/>
                </a:cxn>
                <a:cxn ang="0">
                  <a:pos x="80" y="0"/>
                </a:cxn>
                <a:cxn ang="0">
                  <a:pos x="78" y="0"/>
                </a:cxn>
              </a:cxnLst>
              <a:rect l="0" t="0" r="r" b="b"/>
              <a:pathLst>
                <a:path w="94" h="106">
                  <a:moveTo>
                    <a:pt x="78" y="0"/>
                  </a:moveTo>
                  <a:lnTo>
                    <a:pt x="69" y="0"/>
                  </a:lnTo>
                  <a:lnTo>
                    <a:pt x="65" y="0"/>
                  </a:lnTo>
                  <a:lnTo>
                    <a:pt x="61" y="0"/>
                  </a:lnTo>
                  <a:lnTo>
                    <a:pt x="46" y="5"/>
                  </a:lnTo>
                  <a:lnTo>
                    <a:pt x="32" y="12"/>
                  </a:lnTo>
                  <a:lnTo>
                    <a:pt x="34" y="14"/>
                  </a:lnTo>
                  <a:lnTo>
                    <a:pt x="34" y="30"/>
                  </a:lnTo>
                  <a:lnTo>
                    <a:pt x="23" y="32"/>
                  </a:lnTo>
                  <a:lnTo>
                    <a:pt x="23" y="34"/>
                  </a:lnTo>
                  <a:lnTo>
                    <a:pt x="17" y="41"/>
                  </a:lnTo>
                  <a:lnTo>
                    <a:pt x="2" y="43"/>
                  </a:lnTo>
                  <a:lnTo>
                    <a:pt x="0" y="48"/>
                  </a:lnTo>
                  <a:lnTo>
                    <a:pt x="0" y="55"/>
                  </a:lnTo>
                  <a:lnTo>
                    <a:pt x="0" y="57"/>
                  </a:lnTo>
                  <a:lnTo>
                    <a:pt x="17" y="68"/>
                  </a:lnTo>
                  <a:lnTo>
                    <a:pt x="42" y="93"/>
                  </a:lnTo>
                  <a:lnTo>
                    <a:pt x="48" y="97"/>
                  </a:lnTo>
                  <a:lnTo>
                    <a:pt x="55" y="100"/>
                  </a:lnTo>
                  <a:lnTo>
                    <a:pt x="55" y="106"/>
                  </a:lnTo>
                  <a:lnTo>
                    <a:pt x="61" y="106"/>
                  </a:lnTo>
                  <a:lnTo>
                    <a:pt x="65" y="102"/>
                  </a:lnTo>
                  <a:lnTo>
                    <a:pt x="94" y="77"/>
                  </a:lnTo>
                  <a:lnTo>
                    <a:pt x="92" y="73"/>
                  </a:lnTo>
                  <a:lnTo>
                    <a:pt x="88" y="73"/>
                  </a:lnTo>
                  <a:lnTo>
                    <a:pt x="82" y="64"/>
                  </a:lnTo>
                  <a:lnTo>
                    <a:pt x="86" y="59"/>
                  </a:lnTo>
                  <a:lnTo>
                    <a:pt x="86" y="55"/>
                  </a:lnTo>
                  <a:lnTo>
                    <a:pt x="86" y="43"/>
                  </a:lnTo>
                  <a:lnTo>
                    <a:pt x="82" y="41"/>
                  </a:lnTo>
                  <a:lnTo>
                    <a:pt x="82" y="39"/>
                  </a:lnTo>
                  <a:lnTo>
                    <a:pt x="82" y="30"/>
                  </a:lnTo>
                  <a:lnTo>
                    <a:pt x="78" y="25"/>
                  </a:lnTo>
                  <a:lnTo>
                    <a:pt x="73" y="21"/>
                  </a:lnTo>
                  <a:lnTo>
                    <a:pt x="80" y="14"/>
                  </a:lnTo>
                  <a:lnTo>
                    <a:pt x="80" y="5"/>
                  </a:lnTo>
                  <a:lnTo>
                    <a:pt x="80" y="0"/>
                  </a:lnTo>
                  <a:lnTo>
                    <a:pt x="78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4" name="Freeform 1190"/>
            <p:cNvSpPr>
              <a:spLocks/>
            </p:cNvSpPr>
            <p:nvPr/>
          </p:nvSpPr>
          <p:spPr bwMode="auto">
            <a:xfrm>
              <a:off x="4447721" y="3802073"/>
              <a:ext cx="249249" cy="477601"/>
            </a:xfrm>
            <a:custGeom>
              <a:avLst/>
              <a:gdLst/>
              <a:ahLst/>
              <a:cxnLst>
                <a:cxn ang="0">
                  <a:pos x="6" y="9"/>
                </a:cxn>
                <a:cxn ang="0">
                  <a:pos x="8" y="15"/>
                </a:cxn>
                <a:cxn ang="0">
                  <a:pos x="10" y="15"/>
                </a:cxn>
                <a:cxn ang="0">
                  <a:pos x="8" y="33"/>
                </a:cxn>
                <a:cxn ang="0">
                  <a:pos x="0" y="51"/>
                </a:cxn>
                <a:cxn ang="0">
                  <a:pos x="0" y="54"/>
                </a:cxn>
                <a:cxn ang="0">
                  <a:pos x="2" y="58"/>
                </a:cxn>
                <a:cxn ang="0">
                  <a:pos x="6" y="60"/>
                </a:cxn>
                <a:cxn ang="0">
                  <a:pos x="6" y="69"/>
                </a:cxn>
                <a:cxn ang="0">
                  <a:pos x="8" y="76"/>
                </a:cxn>
                <a:cxn ang="0">
                  <a:pos x="2" y="76"/>
                </a:cxn>
                <a:cxn ang="0">
                  <a:pos x="2" y="78"/>
                </a:cxn>
                <a:cxn ang="0">
                  <a:pos x="6" y="81"/>
                </a:cxn>
                <a:cxn ang="0">
                  <a:pos x="8" y="90"/>
                </a:cxn>
                <a:cxn ang="0">
                  <a:pos x="23" y="87"/>
                </a:cxn>
                <a:cxn ang="0">
                  <a:pos x="25" y="85"/>
                </a:cxn>
                <a:cxn ang="0">
                  <a:pos x="25" y="81"/>
                </a:cxn>
                <a:cxn ang="0">
                  <a:pos x="33" y="78"/>
                </a:cxn>
                <a:cxn ang="0">
                  <a:pos x="39" y="72"/>
                </a:cxn>
                <a:cxn ang="0">
                  <a:pos x="41" y="69"/>
                </a:cxn>
                <a:cxn ang="0">
                  <a:pos x="46" y="67"/>
                </a:cxn>
                <a:cxn ang="0">
                  <a:pos x="39" y="58"/>
                </a:cxn>
                <a:cxn ang="0">
                  <a:pos x="46" y="42"/>
                </a:cxn>
                <a:cxn ang="0">
                  <a:pos x="48" y="42"/>
                </a:cxn>
                <a:cxn ang="0">
                  <a:pos x="48" y="38"/>
                </a:cxn>
                <a:cxn ang="0">
                  <a:pos x="48" y="20"/>
                </a:cxn>
                <a:cxn ang="0">
                  <a:pos x="14" y="0"/>
                </a:cxn>
                <a:cxn ang="0">
                  <a:pos x="6" y="0"/>
                </a:cxn>
                <a:cxn ang="0">
                  <a:pos x="6" y="4"/>
                </a:cxn>
                <a:cxn ang="0">
                  <a:pos x="6" y="9"/>
                </a:cxn>
              </a:cxnLst>
              <a:rect l="0" t="0" r="r" b="b"/>
              <a:pathLst>
                <a:path w="48" h="90">
                  <a:moveTo>
                    <a:pt x="6" y="9"/>
                  </a:moveTo>
                  <a:lnTo>
                    <a:pt x="8" y="15"/>
                  </a:lnTo>
                  <a:lnTo>
                    <a:pt x="10" y="15"/>
                  </a:lnTo>
                  <a:lnTo>
                    <a:pt x="8" y="33"/>
                  </a:lnTo>
                  <a:lnTo>
                    <a:pt x="0" y="51"/>
                  </a:lnTo>
                  <a:lnTo>
                    <a:pt x="0" y="54"/>
                  </a:lnTo>
                  <a:lnTo>
                    <a:pt x="2" y="58"/>
                  </a:lnTo>
                  <a:lnTo>
                    <a:pt x="6" y="60"/>
                  </a:lnTo>
                  <a:lnTo>
                    <a:pt x="6" y="69"/>
                  </a:lnTo>
                  <a:lnTo>
                    <a:pt x="8" y="76"/>
                  </a:lnTo>
                  <a:lnTo>
                    <a:pt x="2" y="76"/>
                  </a:lnTo>
                  <a:lnTo>
                    <a:pt x="2" y="78"/>
                  </a:lnTo>
                  <a:lnTo>
                    <a:pt x="6" y="81"/>
                  </a:lnTo>
                  <a:lnTo>
                    <a:pt x="8" y="90"/>
                  </a:lnTo>
                  <a:lnTo>
                    <a:pt x="23" y="87"/>
                  </a:lnTo>
                  <a:lnTo>
                    <a:pt x="25" y="85"/>
                  </a:lnTo>
                  <a:lnTo>
                    <a:pt x="25" y="81"/>
                  </a:lnTo>
                  <a:lnTo>
                    <a:pt x="33" y="78"/>
                  </a:lnTo>
                  <a:lnTo>
                    <a:pt x="39" y="72"/>
                  </a:lnTo>
                  <a:lnTo>
                    <a:pt x="41" y="69"/>
                  </a:lnTo>
                  <a:lnTo>
                    <a:pt x="46" y="67"/>
                  </a:lnTo>
                  <a:lnTo>
                    <a:pt x="39" y="58"/>
                  </a:lnTo>
                  <a:lnTo>
                    <a:pt x="46" y="42"/>
                  </a:lnTo>
                  <a:lnTo>
                    <a:pt x="48" y="42"/>
                  </a:lnTo>
                  <a:lnTo>
                    <a:pt x="48" y="38"/>
                  </a:lnTo>
                  <a:lnTo>
                    <a:pt x="48" y="20"/>
                  </a:lnTo>
                  <a:lnTo>
                    <a:pt x="14" y="0"/>
                  </a:lnTo>
                  <a:lnTo>
                    <a:pt x="6" y="0"/>
                  </a:lnTo>
                  <a:lnTo>
                    <a:pt x="6" y="4"/>
                  </a:lnTo>
                  <a:lnTo>
                    <a:pt x="6" y="9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5" name="Freeform 1191"/>
            <p:cNvSpPr>
              <a:spLocks/>
            </p:cNvSpPr>
            <p:nvPr/>
          </p:nvSpPr>
          <p:spPr bwMode="auto">
            <a:xfrm>
              <a:off x="5148734" y="3955966"/>
              <a:ext cx="249249" cy="164507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7" y="7"/>
                </a:cxn>
                <a:cxn ang="0">
                  <a:pos x="15" y="18"/>
                </a:cxn>
                <a:cxn ang="0">
                  <a:pos x="32" y="4"/>
                </a:cxn>
                <a:cxn ang="0">
                  <a:pos x="46" y="0"/>
                </a:cxn>
                <a:cxn ang="0">
                  <a:pos x="48" y="7"/>
                </a:cxn>
                <a:cxn ang="0">
                  <a:pos x="48" y="9"/>
                </a:cxn>
                <a:cxn ang="0">
                  <a:pos x="46" y="9"/>
                </a:cxn>
                <a:cxn ang="0">
                  <a:pos x="46" y="13"/>
                </a:cxn>
                <a:cxn ang="0">
                  <a:pos x="34" y="18"/>
                </a:cxn>
                <a:cxn ang="0">
                  <a:pos x="23" y="29"/>
                </a:cxn>
                <a:cxn ang="0">
                  <a:pos x="15" y="29"/>
                </a:cxn>
                <a:cxn ang="0">
                  <a:pos x="11" y="31"/>
                </a:cxn>
                <a:cxn ang="0">
                  <a:pos x="7" y="31"/>
                </a:cxn>
                <a:cxn ang="0">
                  <a:pos x="2" y="20"/>
                </a:cxn>
                <a:cxn ang="0">
                  <a:pos x="0" y="9"/>
                </a:cxn>
              </a:cxnLst>
              <a:rect l="0" t="0" r="r" b="b"/>
              <a:pathLst>
                <a:path w="48" h="31">
                  <a:moveTo>
                    <a:pt x="0" y="9"/>
                  </a:moveTo>
                  <a:lnTo>
                    <a:pt x="7" y="7"/>
                  </a:lnTo>
                  <a:lnTo>
                    <a:pt x="15" y="18"/>
                  </a:lnTo>
                  <a:lnTo>
                    <a:pt x="32" y="4"/>
                  </a:lnTo>
                  <a:lnTo>
                    <a:pt x="46" y="0"/>
                  </a:lnTo>
                  <a:lnTo>
                    <a:pt x="48" y="7"/>
                  </a:lnTo>
                  <a:lnTo>
                    <a:pt x="48" y="9"/>
                  </a:lnTo>
                  <a:lnTo>
                    <a:pt x="46" y="9"/>
                  </a:lnTo>
                  <a:lnTo>
                    <a:pt x="46" y="13"/>
                  </a:lnTo>
                  <a:lnTo>
                    <a:pt x="34" y="18"/>
                  </a:lnTo>
                  <a:lnTo>
                    <a:pt x="23" y="29"/>
                  </a:lnTo>
                  <a:lnTo>
                    <a:pt x="15" y="29"/>
                  </a:lnTo>
                  <a:lnTo>
                    <a:pt x="11" y="31"/>
                  </a:lnTo>
                  <a:lnTo>
                    <a:pt x="7" y="31"/>
                  </a:lnTo>
                  <a:lnTo>
                    <a:pt x="2" y="20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6" name="Freeform 1192"/>
            <p:cNvSpPr>
              <a:spLocks/>
            </p:cNvSpPr>
            <p:nvPr/>
          </p:nvSpPr>
          <p:spPr bwMode="auto">
            <a:xfrm>
              <a:off x="5387597" y="3754313"/>
              <a:ext cx="176552" cy="238800"/>
            </a:xfrm>
            <a:custGeom>
              <a:avLst/>
              <a:gdLst/>
              <a:ahLst/>
              <a:cxnLst>
                <a:cxn ang="0">
                  <a:pos x="9" y="45"/>
                </a:cxn>
                <a:cxn ang="0">
                  <a:pos x="11" y="45"/>
                </a:cxn>
                <a:cxn ang="0">
                  <a:pos x="15" y="38"/>
                </a:cxn>
                <a:cxn ang="0">
                  <a:pos x="19" y="38"/>
                </a:cxn>
                <a:cxn ang="0">
                  <a:pos x="23" y="33"/>
                </a:cxn>
                <a:cxn ang="0">
                  <a:pos x="25" y="33"/>
                </a:cxn>
                <a:cxn ang="0">
                  <a:pos x="25" y="27"/>
                </a:cxn>
                <a:cxn ang="0">
                  <a:pos x="31" y="18"/>
                </a:cxn>
                <a:cxn ang="0">
                  <a:pos x="34" y="11"/>
                </a:cxn>
                <a:cxn ang="0">
                  <a:pos x="27" y="4"/>
                </a:cxn>
                <a:cxn ang="0">
                  <a:pos x="19" y="2"/>
                </a:cxn>
                <a:cxn ang="0">
                  <a:pos x="17" y="0"/>
                </a:cxn>
                <a:cxn ang="0">
                  <a:pos x="15" y="2"/>
                </a:cxn>
                <a:cxn ang="0">
                  <a:pos x="15" y="4"/>
                </a:cxn>
                <a:cxn ang="0">
                  <a:pos x="11" y="4"/>
                </a:cxn>
                <a:cxn ang="0">
                  <a:pos x="15" y="9"/>
                </a:cxn>
                <a:cxn ang="0">
                  <a:pos x="17" y="11"/>
                </a:cxn>
                <a:cxn ang="0">
                  <a:pos x="17" y="18"/>
                </a:cxn>
                <a:cxn ang="0">
                  <a:pos x="11" y="29"/>
                </a:cxn>
                <a:cxn ang="0">
                  <a:pos x="0" y="38"/>
                </a:cxn>
                <a:cxn ang="0">
                  <a:pos x="2" y="45"/>
                </a:cxn>
                <a:cxn ang="0">
                  <a:pos x="4" y="45"/>
                </a:cxn>
                <a:cxn ang="0">
                  <a:pos x="9" y="45"/>
                </a:cxn>
              </a:cxnLst>
              <a:rect l="0" t="0" r="r" b="b"/>
              <a:pathLst>
                <a:path w="34" h="45">
                  <a:moveTo>
                    <a:pt x="9" y="45"/>
                  </a:moveTo>
                  <a:lnTo>
                    <a:pt x="11" y="45"/>
                  </a:lnTo>
                  <a:lnTo>
                    <a:pt x="15" y="38"/>
                  </a:lnTo>
                  <a:lnTo>
                    <a:pt x="19" y="38"/>
                  </a:lnTo>
                  <a:lnTo>
                    <a:pt x="23" y="33"/>
                  </a:lnTo>
                  <a:lnTo>
                    <a:pt x="25" y="33"/>
                  </a:lnTo>
                  <a:lnTo>
                    <a:pt x="25" y="27"/>
                  </a:lnTo>
                  <a:lnTo>
                    <a:pt x="31" y="18"/>
                  </a:lnTo>
                  <a:lnTo>
                    <a:pt x="34" y="11"/>
                  </a:lnTo>
                  <a:lnTo>
                    <a:pt x="27" y="4"/>
                  </a:lnTo>
                  <a:lnTo>
                    <a:pt x="19" y="2"/>
                  </a:lnTo>
                  <a:lnTo>
                    <a:pt x="17" y="0"/>
                  </a:lnTo>
                  <a:lnTo>
                    <a:pt x="15" y="2"/>
                  </a:lnTo>
                  <a:lnTo>
                    <a:pt x="15" y="4"/>
                  </a:lnTo>
                  <a:lnTo>
                    <a:pt x="11" y="4"/>
                  </a:lnTo>
                  <a:lnTo>
                    <a:pt x="15" y="9"/>
                  </a:lnTo>
                  <a:lnTo>
                    <a:pt x="17" y="11"/>
                  </a:lnTo>
                  <a:lnTo>
                    <a:pt x="17" y="18"/>
                  </a:lnTo>
                  <a:lnTo>
                    <a:pt x="11" y="29"/>
                  </a:lnTo>
                  <a:lnTo>
                    <a:pt x="0" y="38"/>
                  </a:lnTo>
                  <a:lnTo>
                    <a:pt x="2" y="45"/>
                  </a:lnTo>
                  <a:lnTo>
                    <a:pt x="4" y="45"/>
                  </a:lnTo>
                  <a:lnTo>
                    <a:pt x="9" y="45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7" name="Freeform 1193"/>
            <p:cNvSpPr>
              <a:spLocks/>
            </p:cNvSpPr>
            <p:nvPr/>
          </p:nvSpPr>
          <p:spPr bwMode="auto">
            <a:xfrm>
              <a:off x="4946220" y="3526126"/>
              <a:ext cx="529654" cy="525361"/>
            </a:xfrm>
            <a:custGeom>
              <a:avLst/>
              <a:gdLst/>
              <a:ahLst/>
              <a:cxnLst>
                <a:cxn ang="0">
                  <a:pos x="46" y="18"/>
                </a:cxn>
                <a:cxn ang="0">
                  <a:pos x="48" y="18"/>
                </a:cxn>
                <a:cxn ang="0">
                  <a:pos x="54" y="18"/>
                </a:cxn>
                <a:cxn ang="0">
                  <a:pos x="62" y="20"/>
                </a:cxn>
                <a:cxn ang="0">
                  <a:pos x="71" y="29"/>
                </a:cxn>
                <a:cxn ang="0">
                  <a:pos x="73" y="38"/>
                </a:cxn>
                <a:cxn ang="0">
                  <a:pos x="77" y="45"/>
                </a:cxn>
                <a:cxn ang="0">
                  <a:pos x="77" y="47"/>
                </a:cxn>
                <a:cxn ang="0">
                  <a:pos x="77" y="52"/>
                </a:cxn>
                <a:cxn ang="0">
                  <a:pos x="79" y="52"/>
                </a:cxn>
                <a:cxn ang="0">
                  <a:pos x="81" y="52"/>
                </a:cxn>
                <a:cxn ang="0">
                  <a:pos x="85" y="52"/>
                </a:cxn>
                <a:cxn ang="0">
                  <a:pos x="87" y="52"/>
                </a:cxn>
                <a:cxn ang="0">
                  <a:pos x="89" y="52"/>
                </a:cxn>
                <a:cxn ang="0">
                  <a:pos x="94" y="52"/>
                </a:cxn>
                <a:cxn ang="0">
                  <a:pos x="94" y="47"/>
                </a:cxn>
                <a:cxn ang="0">
                  <a:pos x="96" y="47"/>
                </a:cxn>
                <a:cxn ang="0">
                  <a:pos x="100" y="52"/>
                </a:cxn>
                <a:cxn ang="0">
                  <a:pos x="102" y="54"/>
                </a:cxn>
                <a:cxn ang="0">
                  <a:pos x="102" y="61"/>
                </a:cxn>
                <a:cxn ang="0">
                  <a:pos x="96" y="72"/>
                </a:cxn>
                <a:cxn ang="0">
                  <a:pos x="85" y="81"/>
                </a:cxn>
                <a:cxn ang="0">
                  <a:pos x="71" y="85"/>
                </a:cxn>
                <a:cxn ang="0">
                  <a:pos x="54" y="99"/>
                </a:cxn>
                <a:cxn ang="0">
                  <a:pos x="46" y="88"/>
                </a:cxn>
                <a:cxn ang="0">
                  <a:pos x="39" y="90"/>
                </a:cxn>
                <a:cxn ang="0">
                  <a:pos x="39" y="88"/>
                </a:cxn>
                <a:cxn ang="0">
                  <a:pos x="31" y="72"/>
                </a:cxn>
                <a:cxn ang="0">
                  <a:pos x="25" y="70"/>
                </a:cxn>
                <a:cxn ang="0">
                  <a:pos x="23" y="63"/>
                </a:cxn>
                <a:cxn ang="0">
                  <a:pos x="23" y="54"/>
                </a:cxn>
                <a:cxn ang="0">
                  <a:pos x="20" y="47"/>
                </a:cxn>
                <a:cxn ang="0">
                  <a:pos x="14" y="45"/>
                </a:cxn>
                <a:cxn ang="0">
                  <a:pos x="2" y="25"/>
                </a:cxn>
                <a:cxn ang="0">
                  <a:pos x="0" y="25"/>
                </a:cxn>
                <a:cxn ang="0">
                  <a:pos x="0" y="13"/>
                </a:cxn>
                <a:cxn ang="0">
                  <a:pos x="6" y="13"/>
                </a:cxn>
                <a:cxn ang="0">
                  <a:pos x="8" y="11"/>
                </a:cxn>
                <a:cxn ang="0">
                  <a:pos x="10" y="11"/>
                </a:cxn>
                <a:cxn ang="0">
                  <a:pos x="14" y="9"/>
                </a:cxn>
                <a:cxn ang="0">
                  <a:pos x="8" y="2"/>
                </a:cxn>
                <a:cxn ang="0">
                  <a:pos x="20" y="0"/>
                </a:cxn>
                <a:cxn ang="0">
                  <a:pos x="25" y="2"/>
                </a:cxn>
                <a:cxn ang="0">
                  <a:pos x="37" y="9"/>
                </a:cxn>
                <a:cxn ang="0">
                  <a:pos x="39" y="9"/>
                </a:cxn>
                <a:cxn ang="0">
                  <a:pos x="39" y="13"/>
                </a:cxn>
                <a:cxn ang="0">
                  <a:pos x="41" y="16"/>
                </a:cxn>
                <a:cxn ang="0">
                  <a:pos x="46" y="18"/>
                </a:cxn>
              </a:cxnLst>
              <a:rect l="0" t="0" r="r" b="b"/>
              <a:pathLst>
                <a:path w="102" h="99">
                  <a:moveTo>
                    <a:pt x="46" y="18"/>
                  </a:moveTo>
                  <a:lnTo>
                    <a:pt x="48" y="18"/>
                  </a:lnTo>
                  <a:lnTo>
                    <a:pt x="54" y="18"/>
                  </a:lnTo>
                  <a:lnTo>
                    <a:pt x="62" y="20"/>
                  </a:lnTo>
                  <a:lnTo>
                    <a:pt x="71" y="29"/>
                  </a:lnTo>
                  <a:lnTo>
                    <a:pt x="73" y="38"/>
                  </a:lnTo>
                  <a:lnTo>
                    <a:pt x="77" y="45"/>
                  </a:lnTo>
                  <a:lnTo>
                    <a:pt x="77" y="47"/>
                  </a:lnTo>
                  <a:lnTo>
                    <a:pt x="77" y="52"/>
                  </a:lnTo>
                  <a:lnTo>
                    <a:pt x="79" y="52"/>
                  </a:lnTo>
                  <a:lnTo>
                    <a:pt x="81" y="52"/>
                  </a:lnTo>
                  <a:lnTo>
                    <a:pt x="85" y="52"/>
                  </a:lnTo>
                  <a:lnTo>
                    <a:pt x="87" y="52"/>
                  </a:lnTo>
                  <a:lnTo>
                    <a:pt x="89" y="52"/>
                  </a:lnTo>
                  <a:lnTo>
                    <a:pt x="94" y="52"/>
                  </a:lnTo>
                  <a:lnTo>
                    <a:pt x="94" y="47"/>
                  </a:lnTo>
                  <a:lnTo>
                    <a:pt x="96" y="47"/>
                  </a:lnTo>
                  <a:lnTo>
                    <a:pt x="100" y="52"/>
                  </a:lnTo>
                  <a:lnTo>
                    <a:pt x="102" y="54"/>
                  </a:lnTo>
                  <a:lnTo>
                    <a:pt x="102" y="61"/>
                  </a:lnTo>
                  <a:lnTo>
                    <a:pt x="96" y="72"/>
                  </a:lnTo>
                  <a:lnTo>
                    <a:pt x="85" y="81"/>
                  </a:lnTo>
                  <a:lnTo>
                    <a:pt x="71" y="85"/>
                  </a:lnTo>
                  <a:lnTo>
                    <a:pt x="54" y="99"/>
                  </a:lnTo>
                  <a:lnTo>
                    <a:pt x="46" y="88"/>
                  </a:lnTo>
                  <a:lnTo>
                    <a:pt x="39" y="90"/>
                  </a:lnTo>
                  <a:lnTo>
                    <a:pt x="39" y="88"/>
                  </a:lnTo>
                  <a:lnTo>
                    <a:pt x="31" y="72"/>
                  </a:lnTo>
                  <a:lnTo>
                    <a:pt x="25" y="70"/>
                  </a:lnTo>
                  <a:lnTo>
                    <a:pt x="23" y="63"/>
                  </a:lnTo>
                  <a:lnTo>
                    <a:pt x="23" y="54"/>
                  </a:lnTo>
                  <a:lnTo>
                    <a:pt x="20" y="47"/>
                  </a:lnTo>
                  <a:lnTo>
                    <a:pt x="14" y="45"/>
                  </a:lnTo>
                  <a:lnTo>
                    <a:pt x="2" y="25"/>
                  </a:lnTo>
                  <a:lnTo>
                    <a:pt x="0" y="25"/>
                  </a:lnTo>
                  <a:lnTo>
                    <a:pt x="0" y="13"/>
                  </a:lnTo>
                  <a:lnTo>
                    <a:pt x="6" y="13"/>
                  </a:lnTo>
                  <a:lnTo>
                    <a:pt x="8" y="11"/>
                  </a:lnTo>
                  <a:lnTo>
                    <a:pt x="10" y="11"/>
                  </a:lnTo>
                  <a:lnTo>
                    <a:pt x="14" y="9"/>
                  </a:lnTo>
                  <a:lnTo>
                    <a:pt x="8" y="2"/>
                  </a:lnTo>
                  <a:lnTo>
                    <a:pt x="20" y="0"/>
                  </a:lnTo>
                  <a:lnTo>
                    <a:pt x="25" y="2"/>
                  </a:lnTo>
                  <a:lnTo>
                    <a:pt x="37" y="9"/>
                  </a:lnTo>
                  <a:lnTo>
                    <a:pt x="39" y="9"/>
                  </a:lnTo>
                  <a:lnTo>
                    <a:pt x="39" y="13"/>
                  </a:lnTo>
                  <a:lnTo>
                    <a:pt x="41" y="16"/>
                  </a:lnTo>
                  <a:lnTo>
                    <a:pt x="46" y="18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8" name="Freeform 1194"/>
            <p:cNvSpPr>
              <a:spLocks/>
            </p:cNvSpPr>
            <p:nvPr/>
          </p:nvSpPr>
          <p:spPr bwMode="auto">
            <a:xfrm>
              <a:off x="5325285" y="3717166"/>
              <a:ext cx="31156" cy="47760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6" y="7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0" y="2"/>
                </a:cxn>
              </a:cxnLst>
              <a:rect l="0" t="0" r="r" b="b"/>
              <a:pathLst>
                <a:path w="6" h="9">
                  <a:moveTo>
                    <a:pt x="0" y="2"/>
                  </a:moveTo>
                  <a:lnTo>
                    <a:pt x="4" y="0"/>
                  </a:lnTo>
                  <a:lnTo>
                    <a:pt x="6" y="0"/>
                  </a:lnTo>
                  <a:lnTo>
                    <a:pt x="6" y="7"/>
                  </a:lnTo>
                  <a:lnTo>
                    <a:pt x="4" y="9"/>
                  </a:lnTo>
                  <a:lnTo>
                    <a:pt x="2" y="7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9" name="Freeform 1195"/>
            <p:cNvSpPr>
              <a:spLocks/>
            </p:cNvSpPr>
            <p:nvPr/>
          </p:nvSpPr>
          <p:spPr bwMode="auto">
            <a:xfrm>
              <a:off x="5346056" y="3717166"/>
              <a:ext cx="129817" cy="84907"/>
            </a:xfrm>
            <a:custGeom>
              <a:avLst/>
              <a:gdLst/>
              <a:ahLst/>
              <a:cxnLst>
                <a:cxn ang="0">
                  <a:pos x="25" y="2"/>
                </a:cxn>
                <a:cxn ang="0">
                  <a:pos x="25" y="7"/>
                </a:cxn>
                <a:cxn ang="0">
                  <a:pos x="23" y="9"/>
                </a:cxn>
                <a:cxn ang="0">
                  <a:pos x="23" y="11"/>
                </a:cxn>
                <a:cxn ang="0">
                  <a:pos x="19" y="11"/>
                </a:cxn>
                <a:cxn ang="0">
                  <a:pos x="17" y="11"/>
                </a:cxn>
                <a:cxn ang="0">
                  <a:pos x="17" y="16"/>
                </a:cxn>
                <a:cxn ang="0">
                  <a:pos x="12" y="16"/>
                </a:cxn>
                <a:cxn ang="0">
                  <a:pos x="10" y="16"/>
                </a:cxn>
                <a:cxn ang="0">
                  <a:pos x="8" y="16"/>
                </a:cxn>
                <a:cxn ang="0">
                  <a:pos x="4" y="16"/>
                </a:cxn>
                <a:cxn ang="0">
                  <a:pos x="2" y="16"/>
                </a:cxn>
                <a:cxn ang="0">
                  <a:pos x="0" y="16"/>
                </a:cxn>
                <a:cxn ang="0">
                  <a:pos x="0" y="11"/>
                </a:cxn>
                <a:cxn ang="0">
                  <a:pos x="0" y="9"/>
                </a:cxn>
                <a:cxn ang="0">
                  <a:pos x="4" y="11"/>
                </a:cxn>
                <a:cxn ang="0">
                  <a:pos x="8" y="9"/>
                </a:cxn>
                <a:cxn ang="0">
                  <a:pos x="12" y="9"/>
                </a:cxn>
                <a:cxn ang="0">
                  <a:pos x="23" y="0"/>
                </a:cxn>
                <a:cxn ang="0">
                  <a:pos x="23" y="2"/>
                </a:cxn>
                <a:cxn ang="0">
                  <a:pos x="25" y="2"/>
                </a:cxn>
              </a:cxnLst>
              <a:rect l="0" t="0" r="r" b="b"/>
              <a:pathLst>
                <a:path w="25" h="16">
                  <a:moveTo>
                    <a:pt x="25" y="2"/>
                  </a:moveTo>
                  <a:lnTo>
                    <a:pt x="25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19" y="11"/>
                  </a:lnTo>
                  <a:lnTo>
                    <a:pt x="17" y="11"/>
                  </a:lnTo>
                  <a:lnTo>
                    <a:pt x="17" y="16"/>
                  </a:lnTo>
                  <a:lnTo>
                    <a:pt x="12" y="16"/>
                  </a:lnTo>
                  <a:lnTo>
                    <a:pt x="10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2" y="16"/>
                  </a:lnTo>
                  <a:lnTo>
                    <a:pt x="0" y="16"/>
                  </a:lnTo>
                  <a:lnTo>
                    <a:pt x="0" y="11"/>
                  </a:lnTo>
                  <a:lnTo>
                    <a:pt x="0" y="9"/>
                  </a:lnTo>
                  <a:lnTo>
                    <a:pt x="4" y="11"/>
                  </a:lnTo>
                  <a:lnTo>
                    <a:pt x="8" y="9"/>
                  </a:lnTo>
                  <a:lnTo>
                    <a:pt x="12" y="9"/>
                  </a:lnTo>
                  <a:lnTo>
                    <a:pt x="23" y="0"/>
                  </a:lnTo>
                  <a:lnTo>
                    <a:pt x="23" y="2"/>
                  </a:lnTo>
                  <a:lnTo>
                    <a:pt x="25" y="2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0" name="Freeform 1196"/>
            <p:cNvSpPr>
              <a:spLocks/>
            </p:cNvSpPr>
            <p:nvPr/>
          </p:nvSpPr>
          <p:spPr bwMode="auto">
            <a:xfrm>
              <a:off x="5465487" y="3706552"/>
              <a:ext cx="10385" cy="21227"/>
            </a:xfrm>
            <a:custGeom>
              <a:avLst/>
              <a:gdLst/>
              <a:ahLst/>
              <a:cxnLst>
                <a:cxn ang="0">
                  <a:pos x="2" y="4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2" y="4"/>
                </a:cxn>
              </a:cxnLst>
              <a:rect l="0" t="0" r="r" b="b"/>
              <a:pathLst>
                <a:path w="2" h="4">
                  <a:moveTo>
                    <a:pt x="2" y="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" name="Freeform 1197"/>
            <p:cNvSpPr>
              <a:spLocks/>
            </p:cNvSpPr>
            <p:nvPr/>
          </p:nvSpPr>
          <p:spPr bwMode="auto">
            <a:xfrm>
              <a:off x="7329662" y="4502554"/>
              <a:ext cx="249249" cy="275947"/>
            </a:xfrm>
            <a:custGeom>
              <a:avLst/>
              <a:gdLst/>
              <a:ahLst/>
              <a:cxnLst>
                <a:cxn ang="0">
                  <a:pos x="48" y="52"/>
                </a:cxn>
                <a:cxn ang="0">
                  <a:pos x="41" y="48"/>
                </a:cxn>
                <a:cxn ang="0">
                  <a:pos x="31" y="50"/>
                </a:cxn>
                <a:cxn ang="0">
                  <a:pos x="33" y="43"/>
                </a:cxn>
                <a:cxn ang="0">
                  <a:pos x="35" y="43"/>
                </a:cxn>
                <a:cxn ang="0">
                  <a:pos x="33" y="32"/>
                </a:cxn>
                <a:cxn ang="0">
                  <a:pos x="31" y="30"/>
                </a:cxn>
                <a:cxn ang="0">
                  <a:pos x="18" y="25"/>
                </a:cxn>
                <a:cxn ang="0">
                  <a:pos x="14" y="21"/>
                </a:cxn>
                <a:cxn ang="0">
                  <a:pos x="10" y="23"/>
                </a:cxn>
                <a:cxn ang="0">
                  <a:pos x="8" y="23"/>
                </a:cxn>
                <a:cxn ang="0">
                  <a:pos x="8" y="21"/>
                </a:cxn>
                <a:cxn ang="0">
                  <a:pos x="6" y="16"/>
                </a:cxn>
                <a:cxn ang="0">
                  <a:pos x="14" y="16"/>
                </a:cxn>
                <a:cxn ang="0">
                  <a:pos x="14" y="14"/>
                </a:cxn>
                <a:cxn ang="0">
                  <a:pos x="6" y="14"/>
                </a:cxn>
                <a:cxn ang="0">
                  <a:pos x="6" y="9"/>
                </a:cxn>
                <a:cxn ang="0">
                  <a:pos x="0" y="7"/>
                </a:cxn>
                <a:cxn ang="0">
                  <a:pos x="6" y="0"/>
                </a:cxn>
                <a:cxn ang="0">
                  <a:pos x="10" y="0"/>
                </a:cxn>
                <a:cxn ang="0">
                  <a:pos x="10" y="5"/>
                </a:cxn>
                <a:cxn ang="0">
                  <a:pos x="14" y="5"/>
                </a:cxn>
                <a:cxn ang="0">
                  <a:pos x="16" y="14"/>
                </a:cxn>
                <a:cxn ang="0">
                  <a:pos x="18" y="21"/>
                </a:cxn>
                <a:cxn ang="0">
                  <a:pos x="23" y="21"/>
                </a:cxn>
                <a:cxn ang="0">
                  <a:pos x="27" y="14"/>
                </a:cxn>
                <a:cxn ang="0">
                  <a:pos x="33" y="9"/>
                </a:cxn>
                <a:cxn ang="0">
                  <a:pos x="48" y="16"/>
                </a:cxn>
                <a:cxn ang="0">
                  <a:pos x="48" y="34"/>
                </a:cxn>
                <a:cxn ang="0">
                  <a:pos x="48" y="52"/>
                </a:cxn>
              </a:cxnLst>
              <a:rect l="0" t="0" r="r" b="b"/>
              <a:pathLst>
                <a:path w="48" h="52">
                  <a:moveTo>
                    <a:pt x="48" y="52"/>
                  </a:moveTo>
                  <a:lnTo>
                    <a:pt x="41" y="48"/>
                  </a:lnTo>
                  <a:lnTo>
                    <a:pt x="31" y="50"/>
                  </a:lnTo>
                  <a:lnTo>
                    <a:pt x="33" y="43"/>
                  </a:lnTo>
                  <a:lnTo>
                    <a:pt x="35" y="43"/>
                  </a:lnTo>
                  <a:lnTo>
                    <a:pt x="33" y="32"/>
                  </a:lnTo>
                  <a:lnTo>
                    <a:pt x="31" y="30"/>
                  </a:lnTo>
                  <a:lnTo>
                    <a:pt x="18" y="25"/>
                  </a:lnTo>
                  <a:lnTo>
                    <a:pt x="14" y="21"/>
                  </a:lnTo>
                  <a:lnTo>
                    <a:pt x="10" y="23"/>
                  </a:lnTo>
                  <a:lnTo>
                    <a:pt x="8" y="23"/>
                  </a:lnTo>
                  <a:lnTo>
                    <a:pt x="8" y="21"/>
                  </a:lnTo>
                  <a:lnTo>
                    <a:pt x="6" y="16"/>
                  </a:lnTo>
                  <a:lnTo>
                    <a:pt x="14" y="16"/>
                  </a:lnTo>
                  <a:lnTo>
                    <a:pt x="14" y="14"/>
                  </a:lnTo>
                  <a:lnTo>
                    <a:pt x="6" y="14"/>
                  </a:lnTo>
                  <a:lnTo>
                    <a:pt x="6" y="9"/>
                  </a:lnTo>
                  <a:lnTo>
                    <a:pt x="0" y="7"/>
                  </a:lnTo>
                  <a:lnTo>
                    <a:pt x="6" y="0"/>
                  </a:lnTo>
                  <a:lnTo>
                    <a:pt x="10" y="0"/>
                  </a:lnTo>
                  <a:lnTo>
                    <a:pt x="10" y="5"/>
                  </a:lnTo>
                  <a:lnTo>
                    <a:pt x="14" y="5"/>
                  </a:lnTo>
                  <a:lnTo>
                    <a:pt x="16" y="14"/>
                  </a:lnTo>
                  <a:lnTo>
                    <a:pt x="18" y="21"/>
                  </a:lnTo>
                  <a:lnTo>
                    <a:pt x="23" y="21"/>
                  </a:lnTo>
                  <a:lnTo>
                    <a:pt x="27" y="14"/>
                  </a:lnTo>
                  <a:lnTo>
                    <a:pt x="33" y="9"/>
                  </a:lnTo>
                  <a:lnTo>
                    <a:pt x="48" y="16"/>
                  </a:lnTo>
                  <a:lnTo>
                    <a:pt x="48" y="34"/>
                  </a:lnTo>
                  <a:lnTo>
                    <a:pt x="48" y="52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2" name="Freeform 1198"/>
            <p:cNvSpPr>
              <a:spLocks/>
            </p:cNvSpPr>
            <p:nvPr/>
          </p:nvSpPr>
          <p:spPr bwMode="auto">
            <a:xfrm>
              <a:off x="7578910" y="4587460"/>
              <a:ext cx="212901" cy="24941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" y="5"/>
                </a:cxn>
                <a:cxn ang="0">
                  <a:pos x="18" y="9"/>
                </a:cxn>
                <a:cxn ang="0">
                  <a:pos x="23" y="16"/>
                </a:cxn>
                <a:cxn ang="0">
                  <a:pos x="27" y="18"/>
                </a:cxn>
                <a:cxn ang="0">
                  <a:pos x="31" y="18"/>
                </a:cxn>
                <a:cxn ang="0">
                  <a:pos x="31" y="23"/>
                </a:cxn>
                <a:cxn ang="0">
                  <a:pos x="27" y="25"/>
                </a:cxn>
                <a:cxn ang="0">
                  <a:pos x="27" y="27"/>
                </a:cxn>
                <a:cxn ang="0">
                  <a:pos x="31" y="32"/>
                </a:cxn>
                <a:cxn ang="0">
                  <a:pos x="33" y="36"/>
                </a:cxn>
                <a:cxn ang="0">
                  <a:pos x="37" y="36"/>
                </a:cxn>
                <a:cxn ang="0">
                  <a:pos x="37" y="41"/>
                </a:cxn>
                <a:cxn ang="0">
                  <a:pos x="39" y="41"/>
                </a:cxn>
                <a:cxn ang="0">
                  <a:pos x="41" y="43"/>
                </a:cxn>
                <a:cxn ang="0">
                  <a:pos x="41" y="47"/>
                </a:cxn>
                <a:cxn ang="0">
                  <a:pos x="39" y="47"/>
                </a:cxn>
                <a:cxn ang="0">
                  <a:pos x="37" y="43"/>
                </a:cxn>
                <a:cxn ang="0">
                  <a:pos x="27" y="43"/>
                </a:cxn>
                <a:cxn ang="0">
                  <a:pos x="23" y="32"/>
                </a:cxn>
                <a:cxn ang="0">
                  <a:pos x="16" y="27"/>
                </a:cxn>
                <a:cxn ang="0">
                  <a:pos x="14" y="27"/>
                </a:cxn>
                <a:cxn ang="0">
                  <a:pos x="8" y="34"/>
                </a:cxn>
                <a:cxn ang="0">
                  <a:pos x="6" y="36"/>
                </a:cxn>
                <a:cxn ang="0">
                  <a:pos x="0" y="36"/>
                </a:cxn>
                <a:cxn ang="0">
                  <a:pos x="0" y="18"/>
                </a:cxn>
                <a:cxn ang="0">
                  <a:pos x="0" y="0"/>
                </a:cxn>
              </a:cxnLst>
              <a:rect l="0" t="0" r="r" b="b"/>
              <a:pathLst>
                <a:path w="41" h="47">
                  <a:moveTo>
                    <a:pt x="0" y="0"/>
                  </a:moveTo>
                  <a:lnTo>
                    <a:pt x="10" y="5"/>
                  </a:lnTo>
                  <a:lnTo>
                    <a:pt x="18" y="9"/>
                  </a:lnTo>
                  <a:lnTo>
                    <a:pt x="23" y="16"/>
                  </a:lnTo>
                  <a:lnTo>
                    <a:pt x="27" y="18"/>
                  </a:lnTo>
                  <a:lnTo>
                    <a:pt x="31" y="18"/>
                  </a:lnTo>
                  <a:lnTo>
                    <a:pt x="31" y="23"/>
                  </a:lnTo>
                  <a:lnTo>
                    <a:pt x="27" y="25"/>
                  </a:lnTo>
                  <a:lnTo>
                    <a:pt x="27" y="27"/>
                  </a:lnTo>
                  <a:lnTo>
                    <a:pt x="31" y="32"/>
                  </a:lnTo>
                  <a:lnTo>
                    <a:pt x="33" y="36"/>
                  </a:lnTo>
                  <a:lnTo>
                    <a:pt x="37" y="36"/>
                  </a:lnTo>
                  <a:lnTo>
                    <a:pt x="37" y="41"/>
                  </a:lnTo>
                  <a:lnTo>
                    <a:pt x="39" y="41"/>
                  </a:lnTo>
                  <a:lnTo>
                    <a:pt x="41" y="43"/>
                  </a:lnTo>
                  <a:lnTo>
                    <a:pt x="41" y="47"/>
                  </a:lnTo>
                  <a:lnTo>
                    <a:pt x="39" y="47"/>
                  </a:lnTo>
                  <a:lnTo>
                    <a:pt x="37" y="43"/>
                  </a:lnTo>
                  <a:lnTo>
                    <a:pt x="27" y="43"/>
                  </a:lnTo>
                  <a:lnTo>
                    <a:pt x="23" y="32"/>
                  </a:lnTo>
                  <a:lnTo>
                    <a:pt x="16" y="27"/>
                  </a:lnTo>
                  <a:lnTo>
                    <a:pt x="14" y="27"/>
                  </a:lnTo>
                  <a:lnTo>
                    <a:pt x="8" y="34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0" y="1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3" name="Freeform 1199"/>
            <p:cNvSpPr>
              <a:spLocks/>
            </p:cNvSpPr>
            <p:nvPr/>
          </p:nvSpPr>
          <p:spPr bwMode="auto">
            <a:xfrm>
              <a:off x="6794815" y="4385807"/>
              <a:ext cx="238863" cy="249414"/>
            </a:xfrm>
            <a:custGeom>
              <a:avLst/>
              <a:gdLst/>
              <a:ahLst/>
              <a:cxnLst>
                <a:cxn ang="0">
                  <a:pos x="34" y="0"/>
                </a:cxn>
                <a:cxn ang="0">
                  <a:pos x="32" y="0"/>
                </a:cxn>
                <a:cxn ang="0">
                  <a:pos x="26" y="13"/>
                </a:cxn>
                <a:cxn ang="0">
                  <a:pos x="19" y="18"/>
                </a:cxn>
                <a:cxn ang="0">
                  <a:pos x="15" y="13"/>
                </a:cxn>
                <a:cxn ang="0">
                  <a:pos x="11" y="18"/>
                </a:cxn>
                <a:cxn ang="0">
                  <a:pos x="7" y="18"/>
                </a:cxn>
                <a:cxn ang="0">
                  <a:pos x="3" y="11"/>
                </a:cxn>
                <a:cxn ang="0">
                  <a:pos x="0" y="18"/>
                </a:cxn>
                <a:cxn ang="0">
                  <a:pos x="0" y="27"/>
                </a:cxn>
                <a:cxn ang="0">
                  <a:pos x="3" y="29"/>
                </a:cxn>
                <a:cxn ang="0">
                  <a:pos x="7" y="38"/>
                </a:cxn>
                <a:cxn ang="0">
                  <a:pos x="11" y="38"/>
                </a:cxn>
                <a:cxn ang="0">
                  <a:pos x="11" y="43"/>
                </a:cxn>
                <a:cxn ang="0">
                  <a:pos x="19" y="43"/>
                </a:cxn>
                <a:cxn ang="0">
                  <a:pos x="23" y="43"/>
                </a:cxn>
                <a:cxn ang="0">
                  <a:pos x="26" y="47"/>
                </a:cxn>
                <a:cxn ang="0">
                  <a:pos x="30" y="45"/>
                </a:cxn>
                <a:cxn ang="0">
                  <a:pos x="34" y="43"/>
                </a:cxn>
                <a:cxn ang="0">
                  <a:pos x="34" y="36"/>
                </a:cxn>
                <a:cxn ang="0">
                  <a:pos x="34" y="31"/>
                </a:cxn>
                <a:cxn ang="0">
                  <a:pos x="38" y="29"/>
                </a:cxn>
                <a:cxn ang="0">
                  <a:pos x="42" y="18"/>
                </a:cxn>
                <a:cxn ang="0">
                  <a:pos x="46" y="18"/>
                </a:cxn>
                <a:cxn ang="0">
                  <a:pos x="40" y="11"/>
                </a:cxn>
                <a:cxn ang="0">
                  <a:pos x="42" y="9"/>
                </a:cxn>
                <a:cxn ang="0">
                  <a:pos x="40" y="4"/>
                </a:cxn>
                <a:cxn ang="0">
                  <a:pos x="40" y="0"/>
                </a:cxn>
                <a:cxn ang="0">
                  <a:pos x="36" y="0"/>
                </a:cxn>
                <a:cxn ang="0">
                  <a:pos x="34" y="0"/>
                </a:cxn>
              </a:cxnLst>
              <a:rect l="0" t="0" r="r" b="b"/>
              <a:pathLst>
                <a:path w="46" h="47">
                  <a:moveTo>
                    <a:pt x="34" y="0"/>
                  </a:moveTo>
                  <a:lnTo>
                    <a:pt x="32" y="0"/>
                  </a:lnTo>
                  <a:lnTo>
                    <a:pt x="26" y="13"/>
                  </a:lnTo>
                  <a:lnTo>
                    <a:pt x="19" y="18"/>
                  </a:lnTo>
                  <a:lnTo>
                    <a:pt x="15" y="13"/>
                  </a:lnTo>
                  <a:lnTo>
                    <a:pt x="11" y="18"/>
                  </a:lnTo>
                  <a:lnTo>
                    <a:pt x="7" y="18"/>
                  </a:lnTo>
                  <a:lnTo>
                    <a:pt x="3" y="11"/>
                  </a:lnTo>
                  <a:lnTo>
                    <a:pt x="0" y="18"/>
                  </a:lnTo>
                  <a:lnTo>
                    <a:pt x="0" y="27"/>
                  </a:lnTo>
                  <a:lnTo>
                    <a:pt x="3" y="29"/>
                  </a:lnTo>
                  <a:lnTo>
                    <a:pt x="7" y="38"/>
                  </a:lnTo>
                  <a:lnTo>
                    <a:pt x="11" y="38"/>
                  </a:lnTo>
                  <a:lnTo>
                    <a:pt x="11" y="43"/>
                  </a:lnTo>
                  <a:lnTo>
                    <a:pt x="19" y="43"/>
                  </a:lnTo>
                  <a:lnTo>
                    <a:pt x="23" y="43"/>
                  </a:lnTo>
                  <a:lnTo>
                    <a:pt x="26" y="47"/>
                  </a:lnTo>
                  <a:lnTo>
                    <a:pt x="30" y="45"/>
                  </a:lnTo>
                  <a:lnTo>
                    <a:pt x="34" y="43"/>
                  </a:lnTo>
                  <a:lnTo>
                    <a:pt x="34" y="36"/>
                  </a:lnTo>
                  <a:lnTo>
                    <a:pt x="34" y="31"/>
                  </a:lnTo>
                  <a:lnTo>
                    <a:pt x="38" y="29"/>
                  </a:lnTo>
                  <a:lnTo>
                    <a:pt x="42" y="18"/>
                  </a:lnTo>
                  <a:lnTo>
                    <a:pt x="46" y="18"/>
                  </a:lnTo>
                  <a:lnTo>
                    <a:pt x="40" y="11"/>
                  </a:lnTo>
                  <a:lnTo>
                    <a:pt x="42" y="9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36" y="0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4" name="Freeform 1200"/>
            <p:cNvSpPr>
              <a:spLocks/>
            </p:cNvSpPr>
            <p:nvPr/>
          </p:nvSpPr>
          <p:spPr bwMode="auto">
            <a:xfrm>
              <a:off x="6810393" y="4300900"/>
              <a:ext cx="233671" cy="180427"/>
            </a:xfrm>
            <a:custGeom>
              <a:avLst/>
              <a:gdLst/>
              <a:ahLst/>
              <a:cxnLst>
                <a:cxn ang="0">
                  <a:pos x="43" y="11"/>
                </a:cxn>
                <a:cxn ang="0">
                  <a:pos x="39" y="11"/>
                </a:cxn>
                <a:cxn ang="0">
                  <a:pos x="45" y="9"/>
                </a:cxn>
                <a:cxn ang="0">
                  <a:pos x="37" y="5"/>
                </a:cxn>
                <a:cxn ang="0">
                  <a:pos x="37" y="2"/>
                </a:cxn>
                <a:cxn ang="0">
                  <a:pos x="35" y="0"/>
                </a:cxn>
                <a:cxn ang="0">
                  <a:pos x="27" y="9"/>
                </a:cxn>
                <a:cxn ang="0">
                  <a:pos x="27" y="11"/>
                </a:cxn>
                <a:cxn ang="0">
                  <a:pos x="27" y="16"/>
                </a:cxn>
                <a:cxn ang="0">
                  <a:pos x="23" y="16"/>
                </a:cxn>
                <a:cxn ang="0">
                  <a:pos x="20" y="11"/>
                </a:cxn>
                <a:cxn ang="0">
                  <a:pos x="14" y="20"/>
                </a:cxn>
                <a:cxn ang="0">
                  <a:pos x="8" y="20"/>
                </a:cxn>
                <a:cxn ang="0">
                  <a:pos x="6" y="29"/>
                </a:cxn>
                <a:cxn ang="0">
                  <a:pos x="0" y="27"/>
                </a:cxn>
                <a:cxn ang="0">
                  <a:pos x="4" y="34"/>
                </a:cxn>
                <a:cxn ang="0">
                  <a:pos x="8" y="34"/>
                </a:cxn>
                <a:cxn ang="0">
                  <a:pos x="12" y="29"/>
                </a:cxn>
                <a:cxn ang="0">
                  <a:pos x="16" y="34"/>
                </a:cxn>
                <a:cxn ang="0">
                  <a:pos x="23" y="29"/>
                </a:cxn>
                <a:cxn ang="0">
                  <a:pos x="29" y="16"/>
                </a:cxn>
                <a:cxn ang="0">
                  <a:pos x="31" y="16"/>
                </a:cxn>
                <a:cxn ang="0">
                  <a:pos x="37" y="16"/>
                </a:cxn>
                <a:cxn ang="0">
                  <a:pos x="39" y="14"/>
                </a:cxn>
                <a:cxn ang="0">
                  <a:pos x="43" y="11"/>
                </a:cxn>
              </a:cxnLst>
              <a:rect l="0" t="0" r="r" b="b"/>
              <a:pathLst>
                <a:path w="45" h="34">
                  <a:moveTo>
                    <a:pt x="43" y="11"/>
                  </a:moveTo>
                  <a:lnTo>
                    <a:pt x="39" y="11"/>
                  </a:lnTo>
                  <a:lnTo>
                    <a:pt x="45" y="9"/>
                  </a:lnTo>
                  <a:lnTo>
                    <a:pt x="37" y="5"/>
                  </a:lnTo>
                  <a:lnTo>
                    <a:pt x="37" y="2"/>
                  </a:lnTo>
                  <a:lnTo>
                    <a:pt x="35" y="0"/>
                  </a:lnTo>
                  <a:lnTo>
                    <a:pt x="27" y="9"/>
                  </a:lnTo>
                  <a:lnTo>
                    <a:pt x="27" y="11"/>
                  </a:lnTo>
                  <a:lnTo>
                    <a:pt x="27" y="16"/>
                  </a:lnTo>
                  <a:lnTo>
                    <a:pt x="23" y="16"/>
                  </a:lnTo>
                  <a:lnTo>
                    <a:pt x="20" y="11"/>
                  </a:lnTo>
                  <a:lnTo>
                    <a:pt x="14" y="20"/>
                  </a:lnTo>
                  <a:lnTo>
                    <a:pt x="8" y="20"/>
                  </a:lnTo>
                  <a:lnTo>
                    <a:pt x="6" y="29"/>
                  </a:lnTo>
                  <a:lnTo>
                    <a:pt x="0" y="27"/>
                  </a:lnTo>
                  <a:lnTo>
                    <a:pt x="4" y="34"/>
                  </a:lnTo>
                  <a:lnTo>
                    <a:pt x="8" y="34"/>
                  </a:lnTo>
                  <a:lnTo>
                    <a:pt x="12" y="29"/>
                  </a:lnTo>
                  <a:lnTo>
                    <a:pt x="16" y="34"/>
                  </a:lnTo>
                  <a:lnTo>
                    <a:pt x="23" y="29"/>
                  </a:lnTo>
                  <a:lnTo>
                    <a:pt x="29" y="16"/>
                  </a:lnTo>
                  <a:lnTo>
                    <a:pt x="31" y="16"/>
                  </a:lnTo>
                  <a:lnTo>
                    <a:pt x="37" y="16"/>
                  </a:lnTo>
                  <a:lnTo>
                    <a:pt x="39" y="14"/>
                  </a:lnTo>
                  <a:lnTo>
                    <a:pt x="43" y="11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5" name="Freeform 1201"/>
            <p:cNvSpPr>
              <a:spLocks/>
            </p:cNvSpPr>
            <p:nvPr/>
          </p:nvSpPr>
          <p:spPr bwMode="auto">
            <a:xfrm>
              <a:off x="6914247" y="4359273"/>
              <a:ext cx="36349" cy="26533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7" y="5"/>
                </a:cxn>
                <a:cxn ang="0">
                  <a:pos x="3" y="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0"/>
                </a:cxn>
              </a:cxnLst>
              <a:rect l="0" t="0" r="r" b="b"/>
              <a:pathLst>
                <a:path w="7" h="5">
                  <a:moveTo>
                    <a:pt x="7" y="0"/>
                  </a:moveTo>
                  <a:lnTo>
                    <a:pt x="7" y="5"/>
                  </a:lnTo>
                  <a:lnTo>
                    <a:pt x="3" y="5"/>
                  </a:lnTo>
                  <a:lnTo>
                    <a:pt x="0" y="0"/>
                  </a:lnTo>
                  <a:lnTo>
                    <a:pt x="3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6" name="Freeform 1202"/>
            <p:cNvSpPr>
              <a:spLocks/>
            </p:cNvSpPr>
            <p:nvPr/>
          </p:nvSpPr>
          <p:spPr bwMode="auto">
            <a:xfrm>
              <a:off x="6343052" y="3658792"/>
              <a:ext cx="218092" cy="557201"/>
            </a:xfrm>
            <a:custGeom>
              <a:avLst/>
              <a:gdLst/>
              <a:ahLst/>
              <a:cxnLst>
                <a:cxn ang="0">
                  <a:pos x="39" y="90"/>
                </a:cxn>
                <a:cxn ang="0">
                  <a:pos x="37" y="78"/>
                </a:cxn>
                <a:cxn ang="0">
                  <a:pos x="31" y="74"/>
                </a:cxn>
                <a:cxn ang="0">
                  <a:pos x="33" y="65"/>
                </a:cxn>
                <a:cxn ang="0">
                  <a:pos x="27" y="54"/>
                </a:cxn>
                <a:cxn ang="0">
                  <a:pos x="27" y="47"/>
                </a:cxn>
                <a:cxn ang="0">
                  <a:pos x="37" y="42"/>
                </a:cxn>
                <a:cxn ang="0">
                  <a:pos x="42" y="36"/>
                </a:cxn>
                <a:cxn ang="0">
                  <a:pos x="37" y="36"/>
                </a:cxn>
                <a:cxn ang="0">
                  <a:pos x="31" y="31"/>
                </a:cxn>
                <a:cxn ang="0">
                  <a:pos x="31" y="27"/>
                </a:cxn>
                <a:cxn ang="0">
                  <a:pos x="27" y="27"/>
                </a:cxn>
                <a:cxn ang="0">
                  <a:pos x="27" y="20"/>
                </a:cxn>
                <a:cxn ang="0">
                  <a:pos x="23" y="22"/>
                </a:cxn>
                <a:cxn ang="0">
                  <a:pos x="25" y="4"/>
                </a:cxn>
                <a:cxn ang="0">
                  <a:pos x="23" y="0"/>
                </a:cxn>
                <a:cxn ang="0">
                  <a:pos x="17" y="0"/>
                </a:cxn>
                <a:cxn ang="0">
                  <a:pos x="17" y="2"/>
                </a:cxn>
                <a:cxn ang="0">
                  <a:pos x="14" y="2"/>
                </a:cxn>
                <a:cxn ang="0">
                  <a:pos x="8" y="9"/>
                </a:cxn>
                <a:cxn ang="0">
                  <a:pos x="6" y="22"/>
                </a:cxn>
                <a:cxn ang="0">
                  <a:pos x="2" y="22"/>
                </a:cxn>
                <a:cxn ang="0">
                  <a:pos x="2" y="31"/>
                </a:cxn>
                <a:cxn ang="0">
                  <a:pos x="0" y="31"/>
                </a:cxn>
                <a:cxn ang="0">
                  <a:pos x="0" y="38"/>
                </a:cxn>
                <a:cxn ang="0">
                  <a:pos x="6" y="45"/>
                </a:cxn>
                <a:cxn ang="0">
                  <a:pos x="8" y="51"/>
                </a:cxn>
                <a:cxn ang="0">
                  <a:pos x="10" y="51"/>
                </a:cxn>
                <a:cxn ang="0">
                  <a:pos x="14" y="60"/>
                </a:cxn>
                <a:cxn ang="0">
                  <a:pos x="10" y="65"/>
                </a:cxn>
                <a:cxn ang="0">
                  <a:pos x="19" y="69"/>
                </a:cxn>
                <a:cxn ang="0">
                  <a:pos x="25" y="63"/>
                </a:cxn>
                <a:cxn ang="0">
                  <a:pos x="27" y="65"/>
                </a:cxn>
                <a:cxn ang="0">
                  <a:pos x="37" y="87"/>
                </a:cxn>
                <a:cxn ang="0">
                  <a:pos x="33" y="90"/>
                </a:cxn>
                <a:cxn ang="0">
                  <a:pos x="37" y="96"/>
                </a:cxn>
                <a:cxn ang="0">
                  <a:pos x="33" y="105"/>
                </a:cxn>
                <a:cxn ang="0">
                  <a:pos x="35" y="99"/>
                </a:cxn>
                <a:cxn ang="0">
                  <a:pos x="39" y="90"/>
                </a:cxn>
              </a:cxnLst>
              <a:rect l="0" t="0" r="r" b="b"/>
              <a:pathLst>
                <a:path w="42" h="105">
                  <a:moveTo>
                    <a:pt x="39" y="90"/>
                  </a:moveTo>
                  <a:lnTo>
                    <a:pt x="37" y="78"/>
                  </a:lnTo>
                  <a:lnTo>
                    <a:pt x="31" y="74"/>
                  </a:lnTo>
                  <a:lnTo>
                    <a:pt x="33" y="65"/>
                  </a:lnTo>
                  <a:lnTo>
                    <a:pt x="27" y="54"/>
                  </a:lnTo>
                  <a:lnTo>
                    <a:pt x="27" y="47"/>
                  </a:lnTo>
                  <a:lnTo>
                    <a:pt x="37" y="42"/>
                  </a:lnTo>
                  <a:lnTo>
                    <a:pt x="42" y="36"/>
                  </a:lnTo>
                  <a:lnTo>
                    <a:pt x="37" y="36"/>
                  </a:lnTo>
                  <a:lnTo>
                    <a:pt x="31" y="31"/>
                  </a:lnTo>
                  <a:lnTo>
                    <a:pt x="31" y="27"/>
                  </a:lnTo>
                  <a:lnTo>
                    <a:pt x="27" y="27"/>
                  </a:lnTo>
                  <a:lnTo>
                    <a:pt x="27" y="20"/>
                  </a:lnTo>
                  <a:lnTo>
                    <a:pt x="23" y="22"/>
                  </a:lnTo>
                  <a:lnTo>
                    <a:pt x="25" y="4"/>
                  </a:lnTo>
                  <a:lnTo>
                    <a:pt x="23" y="0"/>
                  </a:lnTo>
                  <a:lnTo>
                    <a:pt x="17" y="0"/>
                  </a:lnTo>
                  <a:lnTo>
                    <a:pt x="17" y="2"/>
                  </a:lnTo>
                  <a:lnTo>
                    <a:pt x="14" y="2"/>
                  </a:lnTo>
                  <a:lnTo>
                    <a:pt x="8" y="9"/>
                  </a:lnTo>
                  <a:lnTo>
                    <a:pt x="6" y="22"/>
                  </a:lnTo>
                  <a:lnTo>
                    <a:pt x="2" y="22"/>
                  </a:lnTo>
                  <a:lnTo>
                    <a:pt x="2" y="31"/>
                  </a:lnTo>
                  <a:lnTo>
                    <a:pt x="0" y="31"/>
                  </a:lnTo>
                  <a:lnTo>
                    <a:pt x="0" y="38"/>
                  </a:lnTo>
                  <a:lnTo>
                    <a:pt x="6" y="45"/>
                  </a:lnTo>
                  <a:lnTo>
                    <a:pt x="8" y="51"/>
                  </a:lnTo>
                  <a:lnTo>
                    <a:pt x="10" y="51"/>
                  </a:lnTo>
                  <a:lnTo>
                    <a:pt x="14" y="60"/>
                  </a:lnTo>
                  <a:lnTo>
                    <a:pt x="10" y="65"/>
                  </a:lnTo>
                  <a:lnTo>
                    <a:pt x="19" y="69"/>
                  </a:lnTo>
                  <a:lnTo>
                    <a:pt x="25" y="63"/>
                  </a:lnTo>
                  <a:lnTo>
                    <a:pt x="27" y="65"/>
                  </a:lnTo>
                  <a:lnTo>
                    <a:pt x="37" y="87"/>
                  </a:lnTo>
                  <a:lnTo>
                    <a:pt x="33" y="90"/>
                  </a:lnTo>
                  <a:lnTo>
                    <a:pt x="37" y="96"/>
                  </a:lnTo>
                  <a:lnTo>
                    <a:pt x="33" y="105"/>
                  </a:lnTo>
                  <a:lnTo>
                    <a:pt x="35" y="99"/>
                  </a:lnTo>
                  <a:lnTo>
                    <a:pt x="39" y="9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7" name="Freeform 1203"/>
            <p:cNvSpPr>
              <a:spLocks/>
            </p:cNvSpPr>
            <p:nvPr/>
          </p:nvSpPr>
          <p:spPr bwMode="auto">
            <a:xfrm>
              <a:off x="6483254" y="3881673"/>
              <a:ext cx="197322" cy="445761"/>
            </a:xfrm>
            <a:custGeom>
              <a:avLst/>
              <a:gdLst/>
              <a:ahLst/>
              <a:cxnLst>
                <a:cxn ang="0">
                  <a:pos x="19" y="79"/>
                </a:cxn>
                <a:cxn ang="0">
                  <a:pos x="21" y="81"/>
                </a:cxn>
                <a:cxn ang="0">
                  <a:pos x="21" y="84"/>
                </a:cxn>
                <a:cxn ang="0">
                  <a:pos x="23" y="84"/>
                </a:cxn>
                <a:cxn ang="0">
                  <a:pos x="27" y="81"/>
                </a:cxn>
                <a:cxn ang="0">
                  <a:pos x="23" y="79"/>
                </a:cxn>
                <a:cxn ang="0">
                  <a:pos x="19" y="75"/>
                </a:cxn>
                <a:cxn ang="0">
                  <a:pos x="15" y="63"/>
                </a:cxn>
                <a:cxn ang="0">
                  <a:pos x="12" y="63"/>
                </a:cxn>
                <a:cxn ang="0">
                  <a:pos x="12" y="57"/>
                </a:cxn>
                <a:cxn ang="0">
                  <a:pos x="15" y="48"/>
                </a:cxn>
                <a:cxn ang="0">
                  <a:pos x="12" y="43"/>
                </a:cxn>
                <a:cxn ang="0">
                  <a:pos x="19" y="43"/>
                </a:cxn>
                <a:cxn ang="0">
                  <a:pos x="19" y="45"/>
                </a:cxn>
                <a:cxn ang="0">
                  <a:pos x="23" y="45"/>
                </a:cxn>
                <a:cxn ang="0">
                  <a:pos x="27" y="48"/>
                </a:cxn>
                <a:cxn ang="0">
                  <a:pos x="23" y="43"/>
                </a:cxn>
                <a:cxn ang="0">
                  <a:pos x="27" y="36"/>
                </a:cxn>
                <a:cxn ang="0">
                  <a:pos x="38" y="36"/>
                </a:cxn>
                <a:cxn ang="0">
                  <a:pos x="38" y="30"/>
                </a:cxn>
                <a:cxn ang="0">
                  <a:pos x="35" y="23"/>
                </a:cxn>
                <a:cxn ang="0">
                  <a:pos x="31" y="18"/>
                </a:cxn>
                <a:cxn ang="0">
                  <a:pos x="27" y="12"/>
                </a:cxn>
                <a:cxn ang="0">
                  <a:pos x="23" y="14"/>
                </a:cxn>
                <a:cxn ang="0">
                  <a:pos x="21" y="12"/>
                </a:cxn>
                <a:cxn ang="0">
                  <a:pos x="15" y="14"/>
                </a:cxn>
                <a:cxn ang="0">
                  <a:pos x="15" y="5"/>
                </a:cxn>
                <a:cxn ang="0">
                  <a:pos x="12" y="3"/>
                </a:cxn>
                <a:cxn ang="0">
                  <a:pos x="10" y="0"/>
                </a:cxn>
                <a:cxn ang="0">
                  <a:pos x="0" y="5"/>
                </a:cxn>
                <a:cxn ang="0">
                  <a:pos x="0" y="12"/>
                </a:cxn>
                <a:cxn ang="0">
                  <a:pos x="6" y="23"/>
                </a:cxn>
                <a:cxn ang="0">
                  <a:pos x="4" y="32"/>
                </a:cxn>
                <a:cxn ang="0">
                  <a:pos x="10" y="36"/>
                </a:cxn>
                <a:cxn ang="0">
                  <a:pos x="12" y="48"/>
                </a:cxn>
                <a:cxn ang="0">
                  <a:pos x="6" y="63"/>
                </a:cxn>
                <a:cxn ang="0">
                  <a:pos x="6" y="66"/>
                </a:cxn>
                <a:cxn ang="0">
                  <a:pos x="10" y="72"/>
                </a:cxn>
                <a:cxn ang="0">
                  <a:pos x="10" y="70"/>
                </a:cxn>
                <a:cxn ang="0">
                  <a:pos x="19" y="81"/>
                </a:cxn>
                <a:cxn ang="0">
                  <a:pos x="19" y="79"/>
                </a:cxn>
              </a:cxnLst>
              <a:rect l="0" t="0" r="r" b="b"/>
              <a:pathLst>
                <a:path w="38" h="84">
                  <a:moveTo>
                    <a:pt x="19" y="79"/>
                  </a:moveTo>
                  <a:lnTo>
                    <a:pt x="21" y="81"/>
                  </a:lnTo>
                  <a:lnTo>
                    <a:pt x="21" y="84"/>
                  </a:lnTo>
                  <a:lnTo>
                    <a:pt x="23" y="84"/>
                  </a:lnTo>
                  <a:lnTo>
                    <a:pt x="27" y="81"/>
                  </a:lnTo>
                  <a:lnTo>
                    <a:pt x="23" y="79"/>
                  </a:lnTo>
                  <a:lnTo>
                    <a:pt x="19" y="75"/>
                  </a:lnTo>
                  <a:lnTo>
                    <a:pt x="15" y="63"/>
                  </a:lnTo>
                  <a:lnTo>
                    <a:pt x="12" y="63"/>
                  </a:lnTo>
                  <a:lnTo>
                    <a:pt x="12" y="57"/>
                  </a:lnTo>
                  <a:lnTo>
                    <a:pt x="15" y="48"/>
                  </a:lnTo>
                  <a:lnTo>
                    <a:pt x="12" y="43"/>
                  </a:lnTo>
                  <a:lnTo>
                    <a:pt x="19" y="43"/>
                  </a:lnTo>
                  <a:lnTo>
                    <a:pt x="19" y="45"/>
                  </a:lnTo>
                  <a:lnTo>
                    <a:pt x="23" y="45"/>
                  </a:lnTo>
                  <a:lnTo>
                    <a:pt x="27" y="48"/>
                  </a:lnTo>
                  <a:lnTo>
                    <a:pt x="23" y="43"/>
                  </a:lnTo>
                  <a:lnTo>
                    <a:pt x="27" y="36"/>
                  </a:lnTo>
                  <a:lnTo>
                    <a:pt x="38" y="36"/>
                  </a:lnTo>
                  <a:lnTo>
                    <a:pt x="38" y="30"/>
                  </a:lnTo>
                  <a:lnTo>
                    <a:pt x="35" y="23"/>
                  </a:lnTo>
                  <a:lnTo>
                    <a:pt x="31" y="18"/>
                  </a:lnTo>
                  <a:lnTo>
                    <a:pt x="27" y="12"/>
                  </a:lnTo>
                  <a:lnTo>
                    <a:pt x="23" y="14"/>
                  </a:lnTo>
                  <a:lnTo>
                    <a:pt x="21" y="12"/>
                  </a:lnTo>
                  <a:lnTo>
                    <a:pt x="15" y="14"/>
                  </a:lnTo>
                  <a:lnTo>
                    <a:pt x="15" y="5"/>
                  </a:lnTo>
                  <a:lnTo>
                    <a:pt x="12" y="3"/>
                  </a:lnTo>
                  <a:lnTo>
                    <a:pt x="10" y="0"/>
                  </a:lnTo>
                  <a:lnTo>
                    <a:pt x="0" y="5"/>
                  </a:lnTo>
                  <a:lnTo>
                    <a:pt x="0" y="12"/>
                  </a:lnTo>
                  <a:lnTo>
                    <a:pt x="6" y="23"/>
                  </a:lnTo>
                  <a:lnTo>
                    <a:pt x="4" y="32"/>
                  </a:lnTo>
                  <a:lnTo>
                    <a:pt x="10" y="36"/>
                  </a:lnTo>
                  <a:lnTo>
                    <a:pt x="12" y="48"/>
                  </a:lnTo>
                  <a:lnTo>
                    <a:pt x="6" y="63"/>
                  </a:lnTo>
                  <a:lnTo>
                    <a:pt x="6" y="66"/>
                  </a:lnTo>
                  <a:lnTo>
                    <a:pt x="10" y="72"/>
                  </a:lnTo>
                  <a:lnTo>
                    <a:pt x="10" y="70"/>
                  </a:lnTo>
                  <a:lnTo>
                    <a:pt x="19" y="81"/>
                  </a:lnTo>
                  <a:lnTo>
                    <a:pt x="19" y="79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8" name="Freeform 1204"/>
            <p:cNvSpPr>
              <a:spLocks/>
            </p:cNvSpPr>
            <p:nvPr/>
          </p:nvSpPr>
          <p:spPr bwMode="auto">
            <a:xfrm>
              <a:off x="6581915" y="4300900"/>
              <a:ext cx="98661" cy="153894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2" y="5"/>
                </a:cxn>
                <a:cxn ang="0">
                  <a:pos x="4" y="5"/>
                </a:cxn>
                <a:cxn ang="0">
                  <a:pos x="8" y="2"/>
                </a:cxn>
                <a:cxn ang="0">
                  <a:pos x="12" y="11"/>
                </a:cxn>
                <a:cxn ang="0">
                  <a:pos x="12" y="20"/>
                </a:cxn>
                <a:cxn ang="0">
                  <a:pos x="19" y="29"/>
                </a:cxn>
                <a:cxn ang="0">
                  <a:pos x="12" y="29"/>
                </a:cxn>
                <a:cxn ang="0">
                  <a:pos x="4" y="20"/>
                </a:cxn>
                <a:cxn ang="0">
                  <a:pos x="0" y="16"/>
                </a:cxn>
                <a:cxn ang="0">
                  <a:pos x="0" y="9"/>
                </a:cxn>
                <a:cxn ang="0">
                  <a:pos x="0" y="2"/>
                </a:cxn>
              </a:cxnLst>
              <a:rect l="0" t="0" r="r" b="b"/>
              <a:pathLst>
                <a:path w="19" h="29">
                  <a:moveTo>
                    <a:pt x="0" y="2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2" y="5"/>
                  </a:lnTo>
                  <a:lnTo>
                    <a:pt x="4" y="5"/>
                  </a:lnTo>
                  <a:lnTo>
                    <a:pt x="8" y="2"/>
                  </a:lnTo>
                  <a:lnTo>
                    <a:pt x="12" y="11"/>
                  </a:lnTo>
                  <a:lnTo>
                    <a:pt x="12" y="20"/>
                  </a:lnTo>
                  <a:lnTo>
                    <a:pt x="19" y="29"/>
                  </a:lnTo>
                  <a:lnTo>
                    <a:pt x="12" y="29"/>
                  </a:lnTo>
                  <a:lnTo>
                    <a:pt x="4" y="20"/>
                  </a:lnTo>
                  <a:lnTo>
                    <a:pt x="0" y="16"/>
                  </a:lnTo>
                  <a:lnTo>
                    <a:pt x="0" y="9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9" name="Freeform 1205"/>
            <p:cNvSpPr>
              <a:spLocks/>
            </p:cNvSpPr>
            <p:nvPr/>
          </p:nvSpPr>
          <p:spPr bwMode="auto">
            <a:xfrm>
              <a:off x="6581915" y="3802073"/>
              <a:ext cx="202514" cy="429841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4" y="11"/>
                </a:cxn>
                <a:cxn ang="0">
                  <a:pos x="10" y="15"/>
                </a:cxn>
                <a:cxn ang="0">
                  <a:pos x="12" y="18"/>
                </a:cxn>
                <a:cxn ang="0">
                  <a:pos x="10" y="20"/>
                </a:cxn>
                <a:cxn ang="0">
                  <a:pos x="21" y="33"/>
                </a:cxn>
                <a:cxn ang="0">
                  <a:pos x="21" y="36"/>
                </a:cxn>
                <a:cxn ang="0">
                  <a:pos x="27" y="42"/>
                </a:cxn>
                <a:cxn ang="0">
                  <a:pos x="31" y="47"/>
                </a:cxn>
                <a:cxn ang="0">
                  <a:pos x="31" y="60"/>
                </a:cxn>
                <a:cxn ang="0">
                  <a:pos x="25" y="67"/>
                </a:cxn>
                <a:cxn ang="0">
                  <a:pos x="21" y="69"/>
                </a:cxn>
                <a:cxn ang="0">
                  <a:pos x="16" y="72"/>
                </a:cxn>
                <a:cxn ang="0">
                  <a:pos x="19" y="76"/>
                </a:cxn>
                <a:cxn ang="0">
                  <a:pos x="19" y="81"/>
                </a:cxn>
                <a:cxn ang="0">
                  <a:pos x="27" y="78"/>
                </a:cxn>
                <a:cxn ang="0">
                  <a:pos x="27" y="72"/>
                </a:cxn>
                <a:cxn ang="0">
                  <a:pos x="31" y="72"/>
                </a:cxn>
                <a:cxn ang="0">
                  <a:pos x="39" y="67"/>
                </a:cxn>
                <a:cxn ang="0">
                  <a:pos x="39" y="54"/>
                </a:cxn>
                <a:cxn ang="0">
                  <a:pos x="35" y="45"/>
                </a:cxn>
                <a:cxn ang="0">
                  <a:pos x="19" y="27"/>
                </a:cxn>
                <a:cxn ang="0">
                  <a:pos x="16" y="24"/>
                </a:cxn>
                <a:cxn ang="0">
                  <a:pos x="19" y="18"/>
                </a:cxn>
                <a:cxn ang="0">
                  <a:pos x="21" y="11"/>
                </a:cxn>
                <a:cxn ang="0">
                  <a:pos x="27" y="9"/>
                </a:cxn>
                <a:cxn ang="0">
                  <a:pos x="21" y="4"/>
                </a:cxn>
                <a:cxn ang="0">
                  <a:pos x="19" y="2"/>
                </a:cxn>
                <a:cxn ang="0">
                  <a:pos x="12" y="0"/>
                </a:cxn>
                <a:cxn ang="0">
                  <a:pos x="2" y="2"/>
                </a:cxn>
                <a:cxn ang="0">
                  <a:pos x="0" y="2"/>
                </a:cxn>
              </a:cxnLst>
              <a:rect l="0" t="0" r="r" b="b"/>
              <a:pathLst>
                <a:path w="39" h="81">
                  <a:moveTo>
                    <a:pt x="0" y="2"/>
                  </a:moveTo>
                  <a:lnTo>
                    <a:pt x="4" y="11"/>
                  </a:lnTo>
                  <a:lnTo>
                    <a:pt x="10" y="15"/>
                  </a:lnTo>
                  <a:lnTo>
                    <a:pt x="12" y="18"/>
                  </a:lnTo>
                  <a:lnTo>
                    <a:pt x="10" y="20"/>
                  </a:lnTo>
                  <a:lnTo>
                    <a:pt x="21" y="33"/>
                  </a:lnTo>
                  <a:lnTo>
                    <a:pt x="21" y="36"/>
                  </a:lnTo>
                  <a:lnTo>
                    <a:pt x="27" y="42"/>
                  </a:lnTo>
                  <a:lnTo>
                    <a:pt x="31" y="47"/>
                  </a:lnTo>
                  <a:lnTo>
                    <a:pt x="31" y="60"/>
                  </a:lnTo>
                  <a:lnTo>
                    <a:pt x="25" y="67"/>
                  </a:lnTo>
                  <a:lnTo>
                    <a:pt x="21" y="69"/>
                  </a:lnTo>
                  <a:lnTo>
                    <a:pt x="16" y="72"/>
                  </a:lnTo>
                  <a:lnTo>
                    <a:pt x="19" y="76"/>
                  </a:lnTo>
                  <a:lnTo>
                    <a:pt x="19" y="81"/>
                  </a:lnTo>
                  <a:lnTo>
                    <a:pt x="27" y="78"/>
                  </a:lnTo>
                  <a:lnTo>
                    <a:pt x="27" y="72"/>
                  </a:lnTo>
                  <a:lnTo>
                    <a:pt x="31" y="72"/>
                  </a:lnTo>
                  <a:lnTo>
                    <a:pt x="39" y="67"/>
                  </a:lnTo>
                  <a:lnTo>
                    <a:pt x="39" y="54"/>
                  </a:lnTo>
                  <a:lnTo>
                    <a:pt x="35" y="45"/>
                  </a:lnTo>
                  <a:lnTo>
                    <a:pt x="19" y="27"/>
                  </a:lnTo>
                  <a:lnTo>
                    <a:pt x="16" y="24"/>
                  </a:lnTo>
                  <a:lnTo>
                    <a:pt x="19" y="18"/>
                  </a:lnTo>
                  <a:lnTo>
                    <a:pt x="21" y="11"/>
                  </a:lnTo>
                  <a:lnTo>
                    <a:pt x="27" y="9"/>
                  </a:lnTo>
                  <a:lnTo>
                    <a:pt x="21" y="4"/>
                  </a:lnTo>
                  <a:lnTo>
                    <a:pt x="19" y="2"/>
                  </a:lnTo>
                  <a:lnTo>
                    <a:pt x="12" y="0"/>
                  </a:lnTo>
                  <a:lnTo>
                    <a:pt x="2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0" name="Freeform 1206"/>
            <p:cNvSpPr>
              <a:spLocks/>
            </p:cNvSpPr>
            <p:nvPr/>
          </p:nvSpPr>
          <p:spPr bwMode="auto">
            <a:xfrm>
              <a:off x="6602686" y="4051486"/>
              <a:ext cx="140203" cy="132667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4" y="4"/>
                </a:cxn>
                <a:cxn ang="0">
                  <a:pos x="15" y="4"/>
                </a:cxn>
                <a:cxn ang="0">
                  <a:pos x="17" y="4"/>
                </a:cxn>
                <a:cxn ang="0">
                  <a:pos x="21" y="4"/>
                </a:cxn>
                <a:cxn ang="0">
                  <a:pos x="27" y="0"/>
                </a:cxn>
                <a:cxn ang="0">
                  <a:pos x="27" y="13"/>
                </a:cxn>
                <a:cxn ang="0">
                  <a:pos x="21" y="20"/>
                </a:cxn>
                <a:cxn ang="0">
                  <a:pos x="17" y="22"/>
                </a:cxn>
                <a:cxn ang="0">
                  <a:pos x="12" y="25"/>
                </a:cxn>
                <a:cxn ang="0">
                  <a:pos x="6" y="22"/>
                </a:cxn>
                <a:cxn ang="0">
                  <a:pos x="4" y="16"/>
                </a:cxn>
                <a:cxn ang="0">
                  <a:pos x="2" y="13"/>
                </a:cxn>
                <a:cxn ang="0">
                  <a:pos x="0" y="11"/>
                </a:cxn>
              </a:cxnLst>
              <a:rect l="0" t="0" r="r" b="b"/>
              <a:pathLst>
                <a:path w="27" h="25">
                  <a:moveTo>
                    <a:pt x="0" y="11"/>
                  </a:moveTo>
                  <a:lnTo>
                    <a:pt x="4" y="4"/>
                  </a:lnTo>
                  <a:lnTo>
                    <a:pt x="15" y="4"/>
                  </a:lnTo>
                  <a:lnTo>
                    <a:pt x="17" y="4"/>
                  </a:lnTo>
                  <a:lnTo>
                    <a:pt x="21" y="4"/>
                  </a:lnTo>
                  <a:lnTo>
                    <a:pt x="27" y="0"/>
                  </a:lnTo>
                  <a:lnTo>
                    <a:pt x="27" y="13"/>
                  </a:lnTo>
                  <a:lnTo>
                    <a:pt x="21" y="20"/>
                  </a:lnTo>
                  <a:lnTo>
                    <a:pt x="17" y="22"/>
                  </a:lnTo>
                  <a:lnTo>
                    <a:pt x="12" y="25"/>
                  </a:lnTo>
                  <a:lnTo>
                    <a:pt x="6" y="22"/>
                  </a:lnTo>
                  <a:lnTo>
                    <a:pt x="4" y="16"/>
                  </a:lnTo>
                  <a:lnTo>
                    <a:pt x="2" y="13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1" name="Freeform 1207"/>
            <p:cNvSpPr>
              <a:spLocks/>
            </p:cNvSpPr>
            <p:nvPr/>
          </p:nvSpPr>
          <p:spPr bwMode="auto">
            <a:xfrm>
              <a:off x="6535182" y="3812686"/>
              <a:ext cx="207708" cy="260027"/>
            </a:xfrm>
            <a:custGeom>
              <a:avLst/>
              <a:gdLst/>
              <a:ahLst/>
              <a:cxnLst>
                <a:cxn ang="0">
                  <a:pos x="40" y="45"/>
                </a:cxn>
                <a:cxn ang="0">
                  <a:pos x="36" y="40"/>
                </a:cxn>
                <a:cxn ang="0">
                  <a:pos x="30" y="34"/>
                </a:cxn>
                <a:cxn ang="0">
                  <a:pos x="30" y="31"/>
                </a:cxn>
                <a:cxn ang="0">
                  <a:pos x="19" y="18"/>
                </a:cxn>
                <a:cxn ang="0">
                  <a:pos x="21" y="16"/>
                </a:cxn>
                <a:cxn ang="0">
                  <a:pos x="19" y="13"/>
                </a:cxn>
                <a:cxn ang="0">
                  <a:pos x="13" y="9"/>
                </a:cxn>
                <a:cxn ang="0">
                  <a:pos x="9" y="0"/>
                </a:cxn>
                <a:cxn ang="0">
                  <a:pos x="5" y="0"/>
                </a:cxn>
                <a:cxn ang="0">
                  <a:pos x="5" y="7"/>
                </a:cxn>
                <a:cxn ang="0">
                  <a:pos x="0" y="13"/>
                </a:cxn>
                <a:cxn ang="0">
                  <a:pos x="2" y="16"/>
                </a:cxn>
                <a:cxn ang="0">
                  <a:pos x="5" y="18"/>
                </a:cxn>
                <a:cxn ang="0">
                  <a:pos x="5" y="27"/>
                </a:cxn>
                <a:cxn ang="0">
                  <a:pos x="11" y="25"/>
                </a:cxn>
                <a:cxn ang="0">
                  <a:pos x="13" y="27"/>
                </a:cxn>
                <a:cxn ang="0">
                  <a:pos x="17" y="25"/>
                </a:cxn>
                <a:cxn ang="0">
                  <a:pos x="21" y="31"/>
                </a:cxn>
                <a:cxn ang="0">
                  <a:pos x="25" y="36"/>
                </a:cxn>
                <a:cxn ang="0">
                  <a:pos x="28" y="43"/>
                </a:cxn>
                <a:cxn ang="0">
                  <a:pos x="28" y="49"/>
                </a:cxn>
                <a:cxn ang="0">
                  <a:pos x="30" y="49"/>
                </a:cxn>
                <a:cxn ang="0">
                  <a:pos x="34" y="49"/>
                </a:cxn>
                <a:cxn ang="0">
                  <a:pos x="36" y="47"/>
                </a:cxn>
                <a:cxn ang="0">
                  <a:pos x="40" y="45"/>
                </a:cxn>
              </a:cxnLst>
              <a:rect l="0" t="0" r="r" b="b"/>
              <a:pathLst>
                <a:path w="40" h="49">
                  <a:moveTo>
                    <a:pt x="40" y="45"/>
                  </a:moveTo>
                  <a:lnTo>
                    <a:pt x="36" y="40"/>
                  </a:lnTo>
                  <a:lnTo>
                    <a:pt x="30" y="34"/>
                  </a:lnTo>
                  <a:lnTo>
                    <a:pt x="30" y="31"/>
                  </a:lnTo>
                  <a:lnTo>
                    <a:pt x="19" y="18"/>
                  </a:lnTo>
                  <a:lnTo>
                    <a:pt x="21" y="16"/>
                  </a:lnTo>
                  <a:lnTo>
                    <a:pt x="19" y="13"/>
                  </a:lnTo>
                  <a:lnTo>
                    <a:pt x="13" y="9"/>
                  </a:lnTo>
                  <a:lnTo>
                    <a:pt x="9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0" y="13"/>
                  </a:lnTo>
                  <a:lnTo>
                    <a:pt x="2" y="16"/>
                  </a:lnTo>
                  <a:lnTo>
                    <a:pt x="5" y="18"/>
                  </a:lnTo>
                  <a:lnTo>
                    <a:pt x="5" y="27"/>
                  </a:lnTo>
                  <a:lnTo>
                    <a:pt x="11" y="25"/>
                  </a:lnTo>
                  <a:lnTo>
                    <a:pt x="13" y="27"/>
                  </a:lnTo>
                  <a:lnTo>
                    <a:pt x="17" y="25"/>
                  </a:lnTo>
                  <a:lnTo>
                    <a:pt x="21" y="31"/>
                  </a:lnTo>
                  <a:lnTo>
                    <a:pt x="25" y="36"/>
                  </a:lnTo>
                  <a:lnTo>
                    <a:pt x="28" y="43"/>
                  </a:lnTo>
                  <a:lnTo>
                    <a:pt x="28" y="49"/>
                  </a:lnTo>
                  <a:lnTo>
                    <a:pt x="30" y="49"/>
                  </a:lnTo>
                  <a:lnTo>
                    <a:pt x="34" y="49"/>
                  </a:lnTo>
                  <a:lnTo>
                    <a:pt x="36" y="47"/>
                  </a:lnTo>
                  <a:lnTo>
                    <a:pt x="40" y="45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2" name="Freeform 1208"/>
            <p:cNvSpPr>
              <a:spLocks/>
            </p:cNvSpPr>
            <p:nvPr/>
          </p:nvSpPr>
          <p:spPr bwMode="auto">
            <a:xfrm>
              <a:off x="5813398" y="2868098"/>
              <a:ext cx="1267016" cy="1013575"/>
            </a:xfrm>
            <a:custGeom>
              <a:avLst/>
              <a:gdLst/>
              <a:ahLst/>
              <a:cxnLst>
                <a:cxn ang="0">
                  <a:pos x="48" y="31"/>
                </a:cxn>
                <a:cxn ang="0">
                  <a:pos x="62" y="47"/>
                </a:cxn>
                <a:cxn ang="0">
                  <a:pos x="110" y="63"/>
                </a:cxn>
                <a:cxn ang="0">
                  <a:pos x="150" y="63"/>
                </a:cxn>
                <a:cxn ang="0">
                  <a:pos x="156" y="49"/>
                </a:cxn>
                <a:cxn ang="0">
                  <a:pos x="167" y="43"/>
                </a:cxn>
                <a:cxn ang="0">
                  <a:pos x="175" y="34"/>
                </a:cxn>
                <a:cxn ang="0">
                  <a:pos x="160" y="34"/>
                </a:cxn>
                <a:cxn ang="0">
                  <a:pos x="164" y="22"/>
                </a:cxn>
                <a:cxn ang="0">
                  <a:pos x="169" y="11"/>
                </a:cxn>
                <a:cxn ang="0">
                  <a:pos x="175" y="0"/>
                </a:cxn>
                <a:cxn ang="0">
                  <a:pos x="204" y="22"/>
                </a:cxn>
                <a:cxn ang="0">
                  <a:pos x="227" y="34"/>
                </a:cxn>
                <a:cxn ang="0">
                  <a:pos x="240" y="34"/>
                </a:cxn>
                <a:cxn ang="0">
                  <a:pos x="237" y="47"/>
                </a:cxn>
                <a:cxn ang="0">
                  <a:pos x="240" y="63"/>
                </a:cxn>
                <a:cxn ang="0">
                  <a:pos x="231" y="67"/>
                </a:cxn>
                <a:cxn ang="0">
                  <a:pos x="219" y="81"/>
                </a:cxn>
                <a:cxn ang="0">
                  <a:pos x="208" y="83"/>
                </a:cxn>
                <a:cxn ang="0">
                  <a:pos x="206" y="74"/>
                </a:cxn>
                <a:cxn ang="0">
                  <a:pos x="198" y="81"/>
                </a:cxn>
                <a:cxn ang="0">
                  <a:pos x="192" y="85"/>
                </a:cxn>
                <a:cxn ang="0">
                  <a:pos x="208" y="90"/>
                </a:cxn>
                <a:cxn ang="0">
                  <a:pos x="215" y="94"/>
                </a:cxn>
                <a:cxn ang="0">
                  <a:pos x="215" y="110"/>
                </a:cxn>
                <a:cxn ang="0">
                  <a:pos x="223" y="126"/>
                </a:cxn>
                <a:cxn ang="0">
                  <a:pos x="229" y="135"/>
                </a:cxn>
                <a:cxn ang="0">
                  <a:pos x="223" y="153"/>
                </a:cxn>
                <a:cxn ang="0">
                  <a:pos x="219" y="167"/>
                </a:cxn>
                <a:cxn ang="0">
                  <a:pos x="204" y="178"/>
                </a:cxn>
                <a:cxn ang="0">
                  <a:pos x="200" y="180"/>
                </a:cxn>
                <a:cxn ang="0">
                  <a:pos x="187" y="187"/>
                </a:cxn>
                <a:cxn ang="0">
                  <a:pos x="183" y="185"/>
                </a:cxn>
                <a:cxn ang="0">
                  <a:pos x="167" y="178"/>
                </a:cxn>
                <a:cxn ang="0">
                  <a:pos x="148" y="178"/>
                </a:cxn>
                <a:cxn ang="0">
                  <a:pos x="139" y="185"/>
                </a:cxn>
                <a:cxn ang="0">
                  <a:pos x="129" y="176"/>
                </a:cxn>
                <a:cxn ang="0">
                  <a:pos x="127" y="153"/>
                </a:cxn>
                <a:cxn ang="0">
                  <a:pos x="110" y="137"/>
                </a:cxn>
                <a:cxn ang="0">
                  <a:pos x="93" y="149"/>
                </a:cxn>
                <a:cxn ang="0">
                  <a:pos x="79" y="149"/>
                </a:cxn>
                <a:cxn ang="0">
                  <a:pos x="56" y="137"/>
                </a:cxn>
                <a:cxn ang="0">
                  <a:pos x="41" y="135"/>
                </a:cxn>
                <a:cxn ang="0">
                  <a:pos x="29" y="119"/>
                </a:cxn>
                <a:cxn ang="0">
                  <a:pos x="33" y="108"/>
                </a:cxn>
                <a:cxn ang="0">
                  <a:pos x="23" y="106"/>
                </a:cxn>
                <a:cxn ang="0">
                  <a:pos x="6" y="94"/>
                </a:cxn>
                <a:cxn ang="0">
                  <a:pos x="2" y="85"/>
                </a:cxn>
                <a:cxn ang="0">
                  <a:pos x="0" y="76"/>
                </a:cxn>
                <a:cxn ang="0">
                  <a:pos x="12" y="72"/>
                </a:cxn>
                <a:cxn ang="0">
                  <a:pos x="23" y="65"/>
                </a:cxn>
                <a:cxn ang="0">
                  <a:pos x="25" y="47"/>
                </a:cxn>
                <a:cxn ang="0">
                  <a:pos x="37" y="38"/>
                </a:cxn>
              </a:cxnLst>
              <a:rect l="0" t="0" r="r" b="b"/>
              <a:pathLst>
                <a:path w="244" h="191">
                  <a:moveTo>
                    <a:pt x="39" y="29"/>
                  </a:moveTo>
                  <a:lnTo>
                    <a:pt x="41" y="25"/>
                  </a:lnTo>
                  <a:lnTo>
                    <a:pt x="48" y="31"/>
                  </a:lnTo>
                  <a:lnTo>
                    <a:pt x="54" y="34"/>
                  </a:lnTo>
                  <a:lnTo>
                    <a:pt x="60" y="38"/>
                  </a:lnTo>
                  <a:lnTo>
                    <a:pt x="62" y="47"/>
                  </a:lnTo>
                  <a:lnTo>
                    <a:pt x="81" y="52"/>
                  </a:lnTo>
                  <a:lnTo>
                    <a:pt x="93" y="63"/>
                  </a:lnTo>
                  <a:lnTo>
                    <a:pt x="110" y="63"/>
                  </a:lnTo>
                  <a:lnTo>
                    <a:pt x="129" y="67"/>
                  </a:lnTo>
                  <a:lnTo>
                    <a:pt x="141" y="65"/>
                  </a:lnTo>
                  <a:lnTo>
                    <a:pt x="150" y="63"/>
                  </a:lnTo>
                  <a:lnTo>
                    <a:pt x="156" y="56"/>
                  </a:lnTo>
                  <a:lnTo>
                    <a:pt x="152" y="52"/>
                  </a:lnTo>
                  <a:lnTo>
                    <a:pt x="156" y="49"/>
                  </a:lnTo>
                  <a:lnTo>
                    <a:pt x="160" y="49"/>
                  </a:lnTo>
                  <a:lnTo>
                    <a:pt x="164" y="47"/>
                  </a:lnTo>
                  <a:lnTo>
                    <a:pt x="167" y="43"/>
                  </a:lnTo>
                  <a:lnTo>
                    <a:pt x="169" y="40"/>
                  </a:lnTo>
                  <a:lnTo>
                    <a:pt x="179" y="40"/>
                  </a:lnTo>
                  <a:lnTo>
                    <a:pt x="175" y="34"/>
                  </a:lnTo>
                  <a:lnTo>
                    <a:pt x="173" y="31"/>
                  </a:lnTo>
                  <a:lnTo>
                    <a:pt x="167" y="34"/>
                  </a:lnTo>
                  <a:lnTo>
                    <a:pt x="160" y="34"/>
                  </a:lnTo>
                  <a:lnTo>
                    <a:pt x="156" y="25"/>
                  </a:lnTo>
                  <a:lnTo>
                    <a:pt x="158" y="22"/>
                  </a:lnTo>
                  <a:lnTo>
                    <a:pt x="164" y="22"/>
                  </a:lnTo>
                  <a:lnTo>
                    <a:pt x="169" y="20"/>
                  </a:lnTo>
                  <a:lnTo>
                    <a:pt x="167" y="13"/>
                  </a:lnTo>
                  <a:lnTo>
                    <a:pt x="169" y="11"/>
                  </a:lnTo>
                  <a:lnTo>
                    <a:pt x="164" y="7"/>
                  </a:lnTo>
                  <a:lnTo>
                    <a:pt x="167" y="4"/>
                  </a:lnTo>
                  <a:lnTo>
                    <a:pt x="175" y="0"/>
                  </a:lnTo>
                  <a:lnTo>
                    <a:pt x="187" y="4"/>
                  </a:lnTo>
                  <a:lnTo>
                    <a:pt x="198" y="16"/>
                  </a:lnTo>
                  <a:lnTo>
                    <a:pt x="204" y="22"/>
                  </a:lnTo>
                  <a:lnTo>
                    <a:pt x="212" y="25"/>
                  </a:lnTo>
                  <a:lnTo>
                    <a:pt x="221" y="29"/>
                  </a:lnTo>
                  <a:lnTo>
                    <a:pt x="227" y="34"/>
                  </a:lnTo>
                  <a:lnTo>
                    <a:pt x="229" y="34"/>
                  </a:lnTo>
                  <a:lnTo>
                    <a:pt x="237" y="29"/>
                  </a:lnTo>
                  <a:lnTo>
                    <a:pt x="240" y="34"/>
                  </a:lnTo>
                  <a:lnTo>
                    <a:pt x="240" y="38"/>
                  </a:lnTo>
                  <a:lnTo>
                    <a:pt x="244" y="49"/>
                  </a:lnTo>
                  <a:lnTo>
                    <a:pt x="237" y="47"/>
                  </a:lnTo>
                  <a:lnTo>
                    <a:pt x="235" y="49"/>
                  </a:lnTo>
                  <a:lnTo>
                    <a:pt x="240" y="58"/>
                  </a:lnTo>
                  <a:lnTo>
                    <a:pt x="240" y="63"/>
                  </a:lnTo>
                  <a:lnTo>
                    <a:pt x="235" y="63"/>
                  </a:lnTo>
                  <a:lnTo>
                    <a:pt x="235" y="65"/>
                  </a:lnTo>
                  <a:lnTo>
                    <a:pt x="231" y="67"/>
                  </a:lnTo>
                  <a:lnTo>
                    <a:pt x="231" y="72"/>
                  </a:lnTo>
                  <a:lnTo>
                    <a:pt x="227" y="67"/>
                  </a:lnTo>
                  <a:lnTo>
                    <a:pt x="219" y="81"/>
                  </a:lnTo>
                  <a:lnTo>
                    <a:pt x="215" y="81"/>
                  </a:lnTo>
                  <a:lnTo>
                    <a:pt x="208" y="85"/>
                  </a:lnTo>
                  <a:lnTo>
                    <a:pt x="208" y="83"/>
                  </a:lnTo>
                  <a:lnTo>
                    <a:pt x="206" y="81"/>
                  </a:lnTo>
                  <a:lnTo>
                    <a:pt x="208" y="74"/>
                  </a:lnTo>
                  <a:lnTo>
                    <a:pt x="206" y="74"/>
                  </a:lnTo>
                  <a:lnTo>
                    <a:pt x="204" y="72"/>
                  </a:lnTo>
                  <a:lnTo>
                    <a:pt x="200" y="76"/>
                  </a:lnTo>
                  <a:lnTo>
                    <a:pt x="198" y="81"/>
                  </a:lnTo>
                  <a:lnTo>
                    <a:pt x="198" y="83"/>
                  </a:lnTo>
                  <a:lnTo>
                    <a:pt x="192" y="83"/>
                  </a:lnTo>
                  <a:lnTo>
                    <a:pt x="192" y="85"/>
                  </a:lnTo>
                  <a:lnTo>
                    <a:pt x="204" y="94"/>
                  </a:lnTo>
                  <a:lnTo>
                    <a:pt x="206" y="94"/>
                  </a:lnTo>
                  <a:lnTo>
                    <a:pt x="208" y="90"/>
                  </a:lnTo>
                  <a:lnTo>
                    <a:pt x="219" y="92"/>
                  </a:lnTo>
                  <a:lnTo>
                    <a:pt x="219" y="94"/>
                  </a:lnTo>
                  <a:lnTo>
                    <a:pt x="215" y="94"/>
                  </a:lnTo>
                  <a:lnTo>
                    <a:pt x="212" y="99"/>
                  </a:lnTo>
                  <a:lnTo>
                    <a:pt x="206" y="108"/>
                  </a:lnTo>
                  <a:lnTo>
                    <a:pt x="215" y="110"/>
                  </a:lnTo>
                  <a:lnTo>
                    <a:pt x="221" y="119"/>
                  </a:lnTo>
                  <a:lnTo>
                    <a:pt x="227" y="126"/>
                  </a:lnTo>
                  <a:lnTo>
                    <a:pt x="223" y="126"/>
                  </a:lnTo>
                  <a:lnTo>
                    <a:pt x="227" y="128"/>
                  </a:lnTo>
                  <a:lnTo>
                    <a:pt x="221" y="133"/>
                  </a:lnTo>
                  <a:lnTo>
                    <a:pt x="229" y="135"/>
                  </a:lnTo>
                  <a:lnTo>
                    <a:pt x="229" y="144"/>
                  </a:lnTo>
                  <a:lnTo>
                    <a:pt x="227" y="149"/>
                  </a:lnTo>
                  <a:lnTo>
                    <a:pt x="223" y="153"/>
                  </a:lnTo>
                  <a:lnTo>
                    <a:pt x="223" y="160"/>
                  </a:lnTo>
                  <a:lnTo>
                    <a:pt x="221" y="167"/>
                  </a:lnTo>
                  <a:lnTo>
                    <a:pt x="219" y="167"/>
                  </a:lnTo>
                  <a:lnTo>
                    <a:pt x="219" y="169"/>
                  </a:lnTo>
                  <a:lnTo>
                    <a:pt x="212" y="176"/>
                  </a:lnTo>
                  <a:lnTo>
                    <a:pt x="204" y="178"/>
                  </a:lnTo>
                  <a:lnTo>
                    <a:pt x="204" y="180"/>
                  </a:lnTo>
                  <a:lnTo>
                    <a:pt x="200" y="178"/>
                  </a:lnTo>
                  <a:lnTo>
                    <a:pt x="200" y="180"/>
                  </a:lnTo>
                  <a:lnTo>
                    <a:pt x="198" y="178"/>
                  </a:lnTo>
                  <a:lnTo>
                    <a:pt x="198" y="180"/>
                  </a:lnTo>
                  <a:lnTo>
                    <a:pt x="187" y="187"/>
                  </a:lnTo>
                  <a:lnTo>
                    <a:pt x="187" y="191"/>
                  </a:lnTo>
                  <a:lnTo>
                    <a:pt x="183" y="191"/>
                  </a:lnTo>
                  <a:lnTo>
                    <a:pt x="183" y="185"/>
                  </a:lnTo>
                  <a:lnTo>
                    <a:pt x="175" y="185"/>
                  </a:lnTo>
                  <a:lnTo>
                    <a:pt x="169" y="180"/>
                  </a:lnTo>
                  <a:lnTo>
                    <a:pt x="167" y="178"/>
                  </a:lnTo>
                  <a:lnTo>
                    <a:pt x="160" y="176"/>
                  </a:lnTo>
                  <a:lnTo>
                    <a:pt x="150" y="178"/>
                  </a:lnTo>
                  <a:lnTo>
                    <a:pt x="148" y="178"/>
                  </a:lnTo>
                  <a:lnTo>
                    <a:pt x="144" y="178"/>
                  </a:lnTo>
                  <a:lnTo>
                    <a:pt x="144" y="185"/>
                  </a:lnTo>
                  <a:lnTo>
                    <a:pt x="139" y="185"/>
                  </a:lnTo>
                  <a:lnTo>
                    <a:pt x="133" y="180"/>
                  </a:lnTo>
                  <a:lnTo>
                    <a:pt x="133" y="176"/>
                  </a:lnTo>
                  <a:lnTo>
                    <a:pt x="129" y="176"/>
                  </a:lnTo>
                  <a:lnTo>
                    <a:pt x="129" y="169"/>
                  </a:lnTo>
                  <a:lnTo>
                    <a:pt x="125" y="171"/>
                  </a:lnTo>
                  <a:lnTo>
                    <a:pt x="127" y="153"/>
                  </a:lnTo>
                  <a:lnTo>
                    <a:pt x="125" y="149"/>
                  </a:lnTo>
                  <a:lnTo>
                    <a:pt x="119" y="149"/>
                  </a:lnTo>
                  <a:lnTo>
                    <a:pt x="110" y="137"/>
                  </a:lnTo>
                  <a:lnTo>
                    <a:pt x="104" y="137"/>
                  </a:lnTo>
                  <a:lnTo>
                    <a:pt x="100" y="144"/>
                  </a:lnTo>
                  <a:lnTo>
                    <a:pt x="93" y="149"/>
                  </a:lnTo>
                  <a:lnTo>
                    <a:pt x="85" y="144"/>
                  </a:lnTo>
                  <a:lnTo>
                    <a:pt x="81" y="151"/>
                  </a:lnTo>
                  <a:lnTo>
                    <a:pt x="79" y="149"/>
                  </a:lnTo>
                  <a:lnTo>
                    <a:pt x="77" y="149"/>
                  </a:lnTo>
                  <a:lnTo>
                    <a:pt x="68" y="149"/>
                  </a:lnTo>
                  <a:lnTo>
                    <a:pt x="56" y="137"/>
                  </a:lnTo>
                  <a:lnTo>
                    <a:pt x="54" y="142"/>
                  </a:lnTo>
                  <a:lnTo>
                    <a:pt x="48" y="135"/>
                  </a:lnTo>
                  <a:lnTo>
                    <a:pt x="41" y="135"/>
                  </a:lnTo>
                  <a:lnTo>
                    <a:pt x="33" y="128"/>
                  </a:lnTo>
                  <a:lnTo>
                    <a:pt x="29" y="124"/>
                  </a:lnTo>
                  <a:lnTo>
                    <a:pt x="29" y="119"/>
                  </a:lnTo>
                  <a:lnTo>
                    <a:pt x="33" y="119"/>
                  </a:lnTo>
                  <a:lnTo>
                    <a:pt x="31" y="115"/>
                  </a:lnTo>
                  <a:lnTo>
                    <a:pt x="33" y="108"/>
                  </a:lnTo>
                  <a:lnTo>
                    <a:pt x="33" y="106"/>
                  </a:lnTo>
                  <a:lnTo>
                    <a:pt x="29" y="101"/>
                  </a:lnTo>
                  <a:lnTo>
                    <a:pt x="23" y="106"/>
                  </a:lnTo>
                  <a:lnTo>
                    <a:pt x="14" y="101"/>
                  </a:lnTo>
                  <a:lnTo>
                    <a:pt x="12" y="94"/>
                  </a:lnTo>
                  <a:lnTo>
                    <a:pt x="6" y="94"/>
                  </a:lnTo>
                  <a:lnTo>
                    <a:pt x="6" y="92"/>
                  </a:lnTo>
                  <a:lnTo>
                    <a:pt x="6" y="85"/>
                  </a:lnTo>
                  <a:lnTo>
                    <a:pt x="2" y="85"/>
                  </a:lnTo>
                  <a:lnTo>
                    <a:pt x="0" y="83"/>
                  </a:lnTo>
                  <a:lnTo>
                    <a:pt x="0" y="81"/>
                  </a:lnTo>
                  <a:lnTo>
                    <a:pt x="0" y="76"/>
                  </a:lnTo>
                  <a:lnTo>
                    <a:pt x="2" y="74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23" y="67"/>
                  </a:lnTo>
                  <a:lnTo>
                    <a:pt x="23" y="65"/>
                  </a:lnTo>
                  <a:lnTo>
                    <a:pt x="23" y="58"/>
                  </a:lnTo>
                  <a:lnTo>
                    <a:pt x="20" y="49"/>
                  </a:lnTo>
                  <a:lnTo>
                    <a:pt x="25" y="47"/>
                  </a:lnTo>
                  <a:lnTo>
                    <a:pt x="25" y="38"/>
                  </a:lnTo>
                  <a:lnTo>
                    <a:pt x="33" y="38"/>
                  </a:lnTo>
                  <a:lnTo>
                    <a:pt x="37" y="38"/>
                  </a:lnTo>
                  <a:lnTo>
                    <a:pt x="37" y="31"/>
                  </a:lnTo>
                  <a:lnTo>
                    <a:pt x="39" y="29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3" name="Freeform 1209"/>
            <p:cNvSpPr>
              <a:spLocks/>
            </p:cNvSpPr>
            <p:nvPr/>
          </p:nvSpPr>
          <p:spPr bwMode="auto">
            <a:xfrm>
              <a:off x="6223620" y="3706552"/>
              <a:ext cx="119432" cy="153894"/>
            </a:xfrm>
            <a:custGeom>
              <a:avLst/>
              <a:gdLst/>
              <a:ahLst/>
              <a:cxnLst>
                <a:cxn ang="0">
                  <a:pos x="2" y="11"/>
                </a:cxn>
                <a:cxn ang="0">
                  <a:pos x="0" y="9"/>
                </a:cxn>
                <a:cxn ang="0">
                  <a:pos x="2" y="4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6" y="0"/>
                </a:cxn>
                <a:cxn ang="0">
                  <a:pos x="8" y="4"/>
                </a:cxn>
                <a:cxn ang="0">
                  <a:pos x="21" y="4"/>
                </a:cxn>
                <a:cxn ang="0">
                  <a:pos x="14" y="11"/>
                </a:cxn>
                <a:cxn ang="0">
                  <a:pos x="14" y="13"/>
                </a:cxn>
                <a:cxn ang="0">
                  <a:pos x="21" y="18"/>
                </a:cxn>
                <a:cxn ang="0">
                  <a:pos x="21" y="13"/>
                </a:cxn>
                <a:cxn ang="0">
                  <a:pos x="23" y="22"/>
                </a:cxn>
                <a:cxn ang="0">
                  <a:pos x="23" y="29"/>
                </a:cxn>
                <a:cxn ang="0">
                  <a:pos x="17" y="20"/>
                </a:cxn>
                <a:cxn ang="0">
                  <a:pos x="14" y="27"/>
                </a:cxn>
                <a:cxn ang="0">
                  <a:pos x="6" y="27"/>
                </a:cxn>
                <a:cxn ang="0">
                  <a:pos x="4" y="20"/>
                </a:cxn>
                <a:cxn ang="0">
                  <a:pos x="2" y="11"/>
                </a:cxn>
              </a:cxnLst>
              <a:rect l="0" t="0" r="r" b="b"/>
              <a:pathLst>
                <a:path w="23" h="29">
                  <a:moveTo>
                    <a:pt x="2" y="11"/>
                  </a:moveTo>
                  <a:lnTo>
                    <a:pt x="0" y="9"/>
                  </a:lnTo>
                  <a:lnTo>
                    <a:pt x="2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6" y="0"/>
                  </a:lnTo>
                  <a:lnTo>
                    <a:pt x="8" y="4"/>
                  </a:lnTo>
                  <a:lnTo>
                    <a:pt x="21" y="4"/>
                  </a:lnTo>
                  <a:lnTo>
                    <a:pt x="14" y="11"/>
                  </a:lnTo>
                  <a:lnTo>
                    <a:pt x="14" y="13"/>
                  </a:lnTo>
                  <a:lnTo>
                    <a:pt x="21" y="18"/>
                  </a:lnTo>
                  <a:lnTo>
                    <a:pt x="21" y="13"/>
                  </a:lnTo>
                  <a:lnTo>
                    <a:pt x="23" y="22"/>
                  </a:lnTo>
                  <a:lnTo>
                    <a:pt x="23" y="29"/>
                  </a:lnTo>
                  <a:lnTo>
                    <a:pt x="17" y="20"/>
                  </a:lnTo>
                  <a:lnTo>
                    <a:pt x="14" y="27"/>
                  </a:lnTo>
                  <a:lnTo>
                    <a:pt x="6" y="27"/>
                  </a:lnTo>
                  <a:lnTo>
                    <a:pt x="4" y="20"/>
                  </a:lnTo>
                  <a:lnTo>
                    <a:pt x="2" y="11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4" name="Freeform 1210"/>
            <p:cNvSpPr>
              <a:spLocks/>
            </p:cNvSpPr>
            <p:nvPr/>
          </p:nvSpPr>
          <p:spPr bwMode="auto">
            <a:xfrm>
              <a:off x="6234005" y="3632259"/>
              <a:ext cx="77890" cy="47760"/>
            </a:xfrm>
            <a:custGeom>
              <a:avLst/>
              <a:gdLst/>
              <a:ahLst/>
              <a:cxnLst>
                <a:cxn ang="0">
                  <a:pos x="12" y="5"/>
                </a:cxn>
                <a:cxn ang="0">
                  <a:pos x="4" y="0"/>
                </a:cxn>
                <a:cxn ang="0">
                  <a:pos x="0" y="7"/>
                </a:cxn>
                <a:cxn ang="0">
                  <a:pos x="0" y="9"/>
                </a:cxn>
                <a:cxn ang="0">
                  <a:pos x="4" y="9"/>
                </a:cxn>
                <a:cxn ang="0">
                  <a:pos x="15" y="9"/>
                </a:cxn>
                <a:cxn ang="0">
                  <a:pos x="15" y="7"/>
                </a:cxn>
                <a:cxn ang="0">
                  <a:pos x="12" y="7"/>
                </a:cxn>
                <a:cxn ang="0">
                  <a:pos x="12" y="5"/>
                </a:cxn>
              </a:cxnLst>
              <a:rect l="0" t="0" r="r" b="b"/>
              <a:pathLst>
                <a:path w="15" h="9">
                  <a:moveTo>
                    <a:pt x="12" y="5"/>
                  </a:moveTo>
                  <a:lnTo>
                    <a:pt x="4" y="0"/>
                  </a:lnTo>
                  <a:lnTo>
                    <a:pt x="0" y="7"/>
                  </a:lnTo>
                  <a:lnTo>
                    <a:pt x="0" y="9"/>
                  </a:lnTo>
                  <a:lnTo>
                    <a:pt x="4" y="9"/>
                  </a:lnTo>
                  <a:lnTo>
                    <a:pt x="15" y="9"/>
                  </a:lnTo>
                  <a:lnTo>
                    <a:pt x="15" y="7"/>
                  </a:lnTo>
                  <a:lnTo>
                    <a:pt x="12" y="7"/>
                  </a:lnTo>
                  <a:lnTo>
                    <a:pt x="12" y="5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5" name="Freeform 1211"/>
            <p:cNvSpPr>
              <a:spLocks/>
            </p:cNvSpPr>
            <p:nvPr/>
          </p:nvSpPr>
          <p:spPr bwMode="auto">
            <a:xfrm>
              <a:off x="5756278" y="3404072"/>
              <a:ext cx="675049" cy="859681"/>
            </a:xfrm>
            <a:custGeom>
              <a:avLst/>
              <a:gdLst/>
              <a:ahLst/>
              <a:cxnLst>
                <a:cxn ang="0">
                  <a:pos x="92" y="50"/>
                </a:cxn>
                <a:cxn ang="0">
                  <a:pos x="96" y="52"/>
                </a:cxn>
                <a:cxn ang="0">
                  <a:pos x="107" y="50"/>
                </a:cxn>
                <a:cxn ang="0">
                  <a:pos x="111" y="43"/>
                </a:cxn>
                <a:cxn ang="0">
                  <a:pos x="121" y="36"/>
                </a:cxn>
                <a:cxn ang="0">
                  <a:pos x="130" y="50"/>
                </a:cxn>
                <a:cxn ang="0">
                  <a:pos x="121" y="57"/>
                </a:cxn>
                <a:cxn ang="0">
                  <a:pos x="115" y="70"/>
                </a:cxn>
                <a:cxn ang="0">
                  <a:pos x="113" y="79"/>
                </a:cxn>
                <a:cxn ang="0">
                  <a:pos x="111" y="75"/>
                </a:cxn>
                <a:cxn ang="0">
                  <a:pos x="104" y="68"/>
                </a:cxn>
                <a:cxn ang="0">
                  <a:pos x="98" y="61"/>
                </a:cxn>
                <a:cxn ang="0">
                  <a:pos x="92" y="57"/>
                </a:cxn>
                <a:cxn ang="0">
                  <a:pos x="90" y="59"/>
                </a:cxn>
                <a:cxn ang="0">
                  <a:pos x="90" y="66"/>
                </a:cxn>
                <a:cxn ang="0">
                  <a:pos x="96" y="84"/>
                </a:cxn>
                <a:cxn ang="0">
                  <a:pos x="92" y="84"/>
                </a:cxn>
                <a:cxn ang="0">
                  <a:pos x="88" y="93"/>
                </a:cxn>
                <a:cxn ang="0">
                  <a:pos x="79" y="102"/>
                </a:cxn>
                <a:cxn ang="0">
                  <a:pos x="67" y="113"/>
                </a:cxn>
                <a:cxn ang="0">
                  <a:pos x="65" y="117"/>
                </a:cxn>
                <a:cxn ang="0">
                  <a:pos x="59" y="120"/>
                </a:cxn>
                <a:cxn ang="0">
                  <a:pos x="59" y="142"/>
                </a:cxn>
                <a:cxn ang="0">
                  <a:pos x="56" y="153"/>
                </a:cxn>
                <a:cxn ang="0">
                  <a:pos x="50" y="162"/>
                </a:cxn>
                <a:cxn ang="0">
                  <a:pos x="34" y="122"/>
                </a:cxn>
                <a:cxn ang="0">
                  <a:pos x="23" y="79"/>
                </a:cxn>
                <a:cxn ang="0">
                  <a:pos x="19" y="86"/>
                </a:cxn>
                <a:cxn ang="0">
                  <a:pos x="13" y="90"/>
                </a:cxn>
                <a:cxn ang="0">
                  <a:pos x="11" y="77"/>
                </a:cxn>
                <a:cxn ang="0">
                  <a:pos x="4" y="77"/>
                </a:cxn>
                <a:cxn ang="0">
                  <a:pos x="2" y="68"/>
                </a:cxn>
                <a:cxn ang="0">
                  <a:pos x="11" y="66"/>
                </a:cxn>
                <a:cxn ang="0">
                  <a:pos x="8" y="59"/>
                </a:cxn>
                <a:cxn ang="0">
                  <a:pos x="4" y="52"/>
                </a:cxn>
                <a:cxn ang="0">
                  <a:pos x="8" y="48"/>
                </a:cxn>
                <a:cxn ang="0">
                  <a:pos x="13" y="48"/>
                </a:cxn>
                <a:cxn ang="0">
                  <a:pos x="23" y="23"/>
                </a:cxn>
                <a:cxn ang="0">
                  <a:pos x="19" y="16"/>
                </a:cxn>
                <a:cxn ang="0">
                  <a:pos x="17" y="7"/>
                </a:cxn>
                <a:cxn ang="0">
                  <a:pos x="31" y="7"/>
                </a:cxn>
                <a:cxn ang="0">
                  <a:pos x="40" y="0"/>
                </a:cxn>
                <a:cxn ang="0">
                  <a:pos x="44" y="7"/>
                </a:cxn>
                <a:cxn ang="0">
                  <a:pos x="44" y="18"/>
                </a:cxn>
                <a:cxn ang="0">
                  <a:pos x="40" y="23"/>
                </a:cxn>
                <a:cxn ang="0">
                  <a:pos x="52" y="34"/>
                </a:cxn>
                <a:cxn ang="0">
                  <a:pos x="65" y="50"/>
                </a:cxn>
                <a:cxn ang="0">
                  <a:pos x="75" y="52"/>
                </a:cxn>
                <a:cxn ang="0">
                  <a:pos x="90" y="57"/>
                </a:cxn>
                <a:cxn ang="0">
                  <a:pos x="88" y="48"/>
                </a:cxn>
              </a:cxnLst>
              <a:rect l="0" t="0" r="r" b="b"/>
              <a:pathLst>
                <a:path w="130" h="162">
                  <a:moveTo>
                    <a:pt x="90" y="48"/>
                  </a:moveTo>
                  <a:lnTo>
                    <a:pt x="92" y="50"/>
                  </a:lnTo>
                  <a:lnTo>
                    <a:pt x="92" y="52"/>
                  </a:lnTo>
                  <a:lnTo>
                    <a:pt x="96" y="52"/>
                  </a:lnTo>
                  <a:lnTo>
                    <a:pt x="107" y="52"/>
                  </a:lnTo>
                  <a:lnTo>
                    <a:pt x="107" y="50"/>
                  </a:lnTo>
                  <a:lnTo>
                    <a:pt x="104" y="48"/>
                  </a:lnTo>
                  <a:lnTo>
                    <a:pt x="111" y="43"/>
                  </a:lnTo>
                  <a:lnTo>
                    <a:pt x="115" y="36"/>
                  </a:lnTo>
                  <a:lnTo>
                    <a:pt x="121" y="36"/>
                  </a:lnTo>
                  <a:lnTo>
                    <a:pt x="130" y="48"/>
                  </a:lnTo>
                  <a:lnTo>
                    <a:pt x="130" y="50"/>
                  </a:lnTo>
                  <a:lnTo>
                    <a:pt x="127" y="50"/>
                  </a:lnTo>
                  <a:lnTo>
                    <a:pt x="121" y="57"/>
                  </a:lnTo>
                  <a:lnTo>
                    <a:pt x="119" y="70"/>
                  </a:lnTo>
                  <a:lnTo>
                    <a:pt x="115" y="70"/>
                  </a:lnTo>
                  <a:lnTo>
                    <a:pt x="115" y="79"/>
                  </a:lnTo>
                  <a:lnTo>
                    <a:pt x="113" y="79"/>
                  </a:lnTo>
                  <a:lnTo>
                    <a:pt x="111" y="70"/>
                  </a:lnTo>
                  <a:lnTo>
                    <a:pt x="111" y="75"/>
                  </a:lnTo>
                  <a:lnTo>
                    <a:pt x="104" y="70"/>
                  </a:lnTo>
                  <a:lnTo>
                    <a:pt x="104" y="68"/>
                  </a:lnTo>
                  <a:lnTo>
                    <a:pt x="111" y="61"/>
                  </a:lnTo>
                  <a:lnTo>
                    <a:pt x="98" y="61"/>
                  </a:lnTo>
                  <a:lnTo>
                    <a:pt x="96" y="57"/>
                  </a:lnTo>
                  <a:lnTo>
                    <a:pt x="92" y="57"/>
                  </a:lnTo>
                  <a:lnTo>
                    <a:pt x="90" y="57"/>
                  </a:lnTo>
                  <a:lnTo>
                    <a:pt x="90" y="59"/>
                  </a:lnTo>
                  <a:lnTo>
                    <a:pt x="92" y="61"/>
                  </a:lnTo>
                  <a:lnTo>
                    <a:pt x="90" y="66"/>
                  </a:lnTo>
                  <a:lnTo>
                    <a:pt x="92" y="68"/>
                  </a:lnTo>
                  <a:lnTo>
                    <a:pt x="96" y="84"/>
                  </a:lnTo>
                  <a:lnTo>
                    <a:pt x="92" y="79"/>
                  </a:lnTo>
                  <a:lnTo>
                    <a:pt x="92" y="84"/>
                  </a:lnTo>
                  <a:lnTo>
                    <a:pt x="88" y="84"/>
                  </a:lnTo>
                  <a:lnTo>
                    <a:pt x="88" y="93"/>
                  </a:lnTo>
                  <a:lnTo>
                    <a:pt x="82" y="95"/>
                  </a:lnTo>
                  <a:lnTo>
                    <a:pt x="79" y="102"/>
                  </a:lnTo>
                  <a:lnTo>
                    <a:pt x="71" y="111"/>
                  </a:lnTo>
                  <a:lnTo>
                    <a:pt x="67" y="113"/>
                  </a:lnTo>
                  <a:lnTo>
                    <a:pt x="65" y="113"/>
                  </a:lnTo>
                  <a:lnTo>
                    <a:pt x="65" y="117"/>
                  </a:lnTo>
                  <a:lnTo>
                    <a:pt x="63" y="117"/>
                  </a:lnTo>
                  <a:lnTo>
                    <a:pt x="59" y="120"/>
                  </a:lnTo>
                  <a:lnTo>
                    <a:pt x="63" y="133"/>
                  </a:lnTo>
                  <a:lnTo>
                    <a:pt x="59" y="142"/>
                  </a:lnTo>
                  <a:lnTo>
                    <a:pt x="59" y="147"/>
                  </a:lnTo>
                  <a:lnTo>
                    <a:pt x="56" y="153"/>
                  </a:lnTo>
                  <a:lnTo>
                    <a:pt x="52" y="156"/>
                  </a:lnTo>
                  <a:lnTo>
                    <a:pt x="50" y="162"/>
                  </a:lnTo>
                  <a:lnTo>
                    <a:pt x="44" y="156"/>
                  </a:lnTo>
                  <a:lnTo>
                    <a:pt x="34" y="122"/>
                  </a:lnTo>
                  <a:lnTo>
                    <a:pt x="27" y="113"/>
                  </a:lnTo>
                  <a:lnTo>
                    <a:pt x="23" y="79"/>
                  </a:lnTo>
                  <a:lnTo>
                    <a:pt x="19" y="79"/>
                  </a:lnTo>
                  <a:lnTo>
                    <a:pt x="19" y="86"/>
                  </a:lnTo>
                  <a:lnTo>
                    <a:pt x="17" y="86"/>
                  </a:lnTo>
                  <a:lnTo>
                    <a:pt x="13" y="90"/>
                  </a:lnTo>
                  <a:lnTo>
                    <a:pt x="4" y="79"/>
                  </a:lnTo>
                  <a:lnTo>
                    <a:pt x="11" y="77"/>
                  </a:lnTo>
                  <a:lnTo>
                    <a:pt x="11" y="75"/>
                  </a:lnTo>
                  <a:lnTo>
                    <a:pt x="4" y="77"/>
                  </a:lnTo>
                  <a:lnTo>
                    <a:pt x="0" y="70"/>
                  </a:lnTo>
                  <a:lnTo>
                    <a:pt x="2" y="68"/>
                  </a:lnTo>
                  <a:lnTo>
                    <a:pt x="11" y="68"/>
                  </a:lnTo>
                  <a:lnTo>
                    <a:pt x="11" y="66"/>
                  </a:lnTo>
                  <a:lnTo>
                    <a:pt x="11" y="59"/>
                  </a:lnTo>
                  <a:lnTo>
                    <a:pt x="8" y="59"/>
                  </a:lnTo>
                  <a:lnTo>
                    <a:pt x="8" y="57"/>
                  </a:lnTo>
                  <a:lnTo>
                    <a:pt x="4" y="52"/>
                  </a:lnTo>
                  <a:lnTo>
                    <a:pt x="4" y="50"/>
                  </a:lnTo>
                  <a:lnTo>
                    <a:pt x="8" y="48"/>
                  </a:lnTo>
                  <a:lnTo>
                    <a:pt x="11" y="48"/>
                  </a:lnTo>
                  <a:lnTo>
                    <a:pt x="13" y="48"/>
                  </a:lnTo>
                  <a:lnTo>
                    <a:pt x="25" y="27"/>
                  </a:lnTo>
                  <a:lnTo>
                    <a:pt x="23" y="23"/>
                  </a:lnTo>
                  <a:lnTo>
                    <a:pt x="25" y="23"/>
                  </a:lnTo>
                  <a:lnTo>
                    <a:pt x="19" y="16"/>
                  </a:lnTo>
                  <a:lnTo>
                    <a:pt x="19" y="9"/>
                  </a:lnTo>
                  <a:lnTo>
                    <a:pt x="17" y="7"/>
                  </a:lnTo>
                  <a:lnTo>
                    <a:pt x="25" y="7"/>
                  </a:lnTo>
                  <a:lnTo>
                    <a:pt x="31" y="7"/>
                  </a:lnTo>
                  <a:lnTo>
                    <a:pt x="34" y="5"/>
                  </a:lnTo>
                  <a:lnTo>
                    <a:pt x="40" y="0"/>
                  </a:lnTo>
                  <a:lnTo>
                    <a:pt x="44" y="5"/>
                  </a:lnTo>
                  <a:lnTo>
                    <a:pt x="44" y="7"/>
                  </a:lnTo>
                  <a:lnTo>
                    <a:pt x="42" y="14"/>
                  </a:lnTo>
                  <a:lnTo>
                    <a:pt x="44" y="18"/>
                  </a:lnTo>
                  <a:lnTo>
                    <a:pt x="40" y="18"/>
                  </a:lnTo>
                  <a:lnTo>
                    <a:pt x="40" y="23"/>
                  </a:lnTo>
                  <a:lnTo>
                    <a:pt x="44" y="27"/>
                  </a:lnTo>
                  <a:lnTo>
                    <a:pt x="52" y="34"/>
                  </a:lnTo>
                  <a:lnTo>
                    <a:pt x="50" y="41"/>
                  </a:lnTo>
                  <a:lnTo>
                    <a:pt x="65" y="50"/>
                  </a:lnTo>
                  <a:lnTo>
                    <a:pt x="71" y="50"/>
                  </a:lnTo>
                  <a:lnTo>
                    <a:pt x="75" y="52"/>
                  </a:lnTo>
                  <a:lnTo>
                    <a:pt x="84" y="57"/>
                  </a:lnTo>
                  <a:lnTo>
                    <a:pt x="90" y="57"/>
                  </a:lnTo>
                  <a:lnTo>
                    <a:pt x="88" y="52"/>
                  </a:lnTo>
                  <a:lnTo>
                    <a:pt x="88" y="48"/>
                  </a:lnTo>
                  <a:lnTo>
                    <a:pt x="90" y="48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6" name="Freeform 1212"/>
            <p:cNvSpPr>
              <a:spLocks/>
            </p:cNvSpPr>
            <p:nvPr/>
          </p:nvSpPr>
          <p:spPr bwMode="auto">
            <a:xfrm>
              <a:off x="6015912" y="3584499"/>
              <a:ext cx="207708" cy="122054"/>
            </a:xfrm>
            <a:custGeom>
              <a:avLst/>
              <a:gdLst/>
              <a:ahLst/>
              <a:cxnLst>
                <a:cxn ang="0">
                  <a:pos x="38" y="18"/>
                </a:cxn>
                <a:cxn ang="0">
                  <a:pos x="38" y="14"/>
                </a:cxn>
                <a:cxn ang="0">
                  <a:pos x="29" y="14"/>
                </a:cxn>
                <a:cxn ang="0">
                  <a:pos x="17" y="2"/>
                </a:cxn>
                <a:cxn ang="0">
                  <a:pos x="15" y="7"/>
                </a:cxn>
                <a:cxn ang="0">
                  <a:pos x="9" y="0"/>
                </a:cxn>
                <a:cxn ang="0">
                  <a:pos x="2" y="0"/>
                </a:cxn>
                <a:cxn ang="0">
                  <a:pos x="0" y="7"/>
                </a:cxn>
                <a:cxn ang="0">
                  <a:pos x="15" y="16"/>
                </a:cxn>
                <a:cxn ang="0">
                  <a:pos x="21" y="16"/>
                </a:cxn>
                <a:cxn ang="0">
                  <a:pos x="25" y="18"/>
                </a:cxn>
                <a:cxn ang="0">
                  <a:pos x="34" y="23"/>
                </a:cxn>
                <a:cxn ang="0">
                  <a:pos x="40" y="23"/>
                </a:cxn>
                <a:cxn ang="0">
                  <a:pos x="38" y="20"/>
                </a:cxn>
                <a:cxn ang="0">
                  <a:pos x="38" y="18"/>
                </a:cxn>
              </a:cxnLst>
              <a:rect l="0" t="0" r="r" b="b"/>
              <a:pathLst>
                <a:path w="40" h="23">
                  <a:moveTo>
                    <a:pt x="38" y="18"/>
                  </a:moveTo>
                  <a:lnTo>
                    <a:pt x="38" y="14"/>
                  </a:lnTo>
                  <a:lnTo>
                    <a:pt x="29" y="14"/>
                  </a:lnTo>
                  <a:lnTo>
                    <a:pt x="17" y="2"/>
                  </a:lnTo>
                  <a:lnTo>
                    <a:pt x="15" y="7"/>
                  </a:lnTo>
                  <a:lnTo>
                    <a:pt x="9" y="0"/>
                  </a:lnTo>
                  <a:lnTo>
                    <a:pt x="2" y="0"/>
                  </a:lnTo>
                  <a:lnTo>
                    <a:pt x="0" y="7"/>
                  </a:lnTo>
                  <a:lnTo>
                    <a:pt x="15" y="16"/>
                  </a:lnTo>
                  <a:lnTo>
                    <a:pt x="21" y="16"/>
                  </a:lnTo>
                  <a:lnTo>
                    <a:pt x="25" y="18"/>
                  </a:lnTo>
                  <a:lnTo>
                    <a:pt x="34" y="23"/>
                  </a:lnTo>
                  <a:lnTo>
                    <a:pt x="40" y="23"/>
                  </a:lnTo>
                  <a:lnTo>
                    <a:pt x="38" y="20"/>
                  </a:lnTo>
                  <a:lnTo>
                    <a:pt x="38" y="18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7" name="Freeform 1213"/>
            <p:cNvSpPr>
              <a:spLocks/>
            </p:cNvSpPr>
            <p:nvPr/>
          </p:nvSpPr>
          <p:spPr bwMode="auto">
            <a:xfrm>
              <a:off x="5138348" y="3271405"/>
              <a:ext cx="477727" cy="456374"/>
            </a:xfrm>
            <a:custGeom>
              <a:avLst/>
              <a:gdLst/>
              <a:ahLst/>
              <a:cxnLst>
                <a:cxn ang="0">
                  <a:pos x="67" y="84"/>
                </a:cxn>
                <a:cxn ang="0">
                  <a:pos x="65" y="77"/>
                </a:cxn>
                <a:cxn ang="0">
                  <a:pos x="57" y="82"/>
                </a:cxn>
                <a:cxn ang="0">
                  <a:pos x="50" y="82"/>
                </a:cxn>
                <a:cxn ang="0">
                  <a:pos x="40" y="73"/>
                </a:cxn>
                <a:cxn ang="0">
                  <a:pos x="34" y="59"/>
                </a:cxn>
                <a:cxn ang="0">
                  <a:pos x="27" y="57"/>
                </a:cxn>
                <a:cxn ang="0">
                  <a:pos x="25" y="59"/>
                </a:cxn>
                <a:cxn ang="0">
                  <a:pos x="19" y="52"/>
                </a:cxn>
                <a:cxn ang="0">
                  <a:pos x="19" y="43"/>
                </a:cxn>
                <a:cxn ang="0">
                  <a:pos x="11" y="41"/>
                </a:cxn>
                <a:cxn ang="0">
                  <a:pos x="9" y="34"/>
                </a:cxn>
                <a:cxn ang="0">
                  <a:pos x="11" y="30"/>
                </a:cxn>
                <a:cxn ang="0">
                  <a:pos x="4" y="16"/>
                </a:cxn>
                <a:cxn ang="0">
                  <a:pos x="0" y="5"/>
                </a:cxn>
                <a:cxn ang="0">
                  <a:pos x="2" y="0"/>
                </a:cxn>
                <a:cxn ang="0">
                  <a:pos x="4" y="7"/>
                </a:cxn>
                <a:cxn ang="0">
                  <a:pos x="9" y="7"/>
                </a:cxn>
                <a:cxn ang="0">
                  <a:pos x="11" y="7"/>
                </a:cxn>
                <a:cxn ang="0">
                  <a:pos x="17" y="5"/>
                </a:cxn>
                <a:cxn ang="0">
                  <a:pos x="17" y="7"/>
                </a:cxn>
                <a:cxn ang="0">
                  <a:pos x="23" y="9"/>
                </a:cxn>
                <a:cxn ang="0">
                  <a:pos x="23" y="16"/>
                </a:cxn>
                <a:cxn ang="0">
                  <a:pos x="34" y="23"/>
                </a:cxn>
                <a:cxn ang="0">
                  <a:pos x="44" y="18"/>
                </a:cxn>
                <a:cxn ang="0">
                  <a:pos x="44" y="16"/>
                </a:cxn>
                <a:cxn ang="0">
                  <a:pos x="50" y="14"/>
                </a:cxn>
                <a:cxn ang="0">
                  <a:pos x="57" y="9"/>
                </a:cxn>
                <a:cxn ang="0">
                  <a:pos x="79" y="23"/>
                </a:cxn>
                <a:cxn ang="0">
                  <a:pos x="79" y="25"/>
                </a:cxn>
                <a:cxn ang="0">
                  <a:pos x="79" y="32"/>
                </a:cxn>
                <a:cxn ang="0">
                  <a:pos x="75" y="34"/>
                </a:cxn>
                <a:cxn ang="0">
                  <a:pos x="75" y="39"/>
                </a:cxn>
                <a:cxn ang="0">
                  <a:pos x="79" y="50"/>
                </a:cxn>
                <a:cxn ang="0">
                  <a:pos x="84" y="50"/>
                </a:cxn>
                <a:cxn ang="0">
                  <a:pos x="84" y="52"/>
                </a:cxn>
                <a:cxn ang="0">
                  <a:pos x="82" y="59"/>
                </a:cxn>
                <a:cxn ang="0">
                  <a:pos x="88" y="68"/>
                </a:cxn>
                <a:cxn ang="0">
                  <a:pos x="90" y="68"/>
                </a:cxn>
                <a:cxn ang="0">
                  <a:pos x="92" y="75"/>
                </a:cxn>
                <a:cxn ang="0">
                  <a:pos x="92" y="77"/>
                </a:cxn>
                <a:cxn ang="0">
                  <a:pos x="88" y="82"/>
                </a:cxn>
                <a:cxn ang="0">
                  <a:pos x="88" y="86"/>
                </a:cxn>
                <a:cxn ang="0">
                  <a:pos x="77" y="86"/>
                </a:cxn>
                <a:cxn ang="0">
                  <a:pos x="69" y="84"/>
                </a:cxn>
                <a:cxn ang="0">
                  <a:pos x="67" y="84"/>
                </a:cxn>
              </a:cxnLst>
              <a:rect l="0" t="0" r="r" b="b"/>
              <a:pathLst>
                <a:path w="92" h="86">
                  <a:moveTo>
                    <a:pt x="67" y="84"/>
                  </a:moveTo>
                  <a:lnTo>
                    <a:pt x="65" y="77"/>
                  </a:lnTo>
                  <a:lnTo>
                    <a:pt x="57" y="82"/>
                  </a:lnTo>
                  <a:lnTo>
                    <a:pt x="50" y="82"/>
                  </a:lnTo>
                  <a:lnTo>
                    <a:pt x="40" y="73"/>
                  </a:lnTo>
                  <a:lnTo>
                    <a:pt x="34" y="59"/>
                  </a:lnTo>
                  <a:lnTo>
                    <a:pt x="27" y="57"/>
                  </a:lnTo>
                  <a:lnTo>
                    <a:pt x="25" y="59"/>
                  </a:lnTo>
                  <a:lnTo>
                    <a:pt x="19" y="52"/>
                  </a:lnTo>
                  <a:lnTo>
                    <a:pt x="19" y="43"/>
                  </a:lnTo>
                  <a:lnTo>
                    <a:pt x="11" y="41"/>
                  </a:lnTo>
                  <a:lnTo>
                    <a:pt x="9" y="34"/>
                  </a:lnTo>
                  <a:lnTo>
                    <a:pt x="11" y="30"/>
                  </a:lnTo>
                  <a:lnTo>
                    <a:pt x="4" y="16"/>
                  </a:lnTo>
                  <a:lnTo>
                    <a:pt x="0" y="5"/>
                  </a:lnTo>
                  <a:lnTo>
                    <a:pt x="2" y="0"/>
                  </a:lnTo>
                  <a:lnTo>
                    <a:pt x="4" y="7"/>
                  </a:lnTo>
                  <a:lnTo>
                    <a:pt x="9" y="7"/>
                  </a:lnTo>
                  <a:lnTo>
                    <a:pt x="11" y="7"/>
                  </a:lnTo>
                  <a:lnTo>
                    <a:pt x="17" y="5"/>
                  </a:lnTo>
                  <a:lnTo>
                    <a:pt x="17" y="7"/>
                  </a:lnTo>
                  <a:lnTo>
                    <a:pt x="23" y="9"/>
                  </a:lnTo>
                  <a:lnTo>
                    <a:pt x="23" y="16"/>
                  </a:lnTo>
                  <a:lnTo>
                    <a:pt x="34" y="23"/>
                  </a:lnTo>
                  <a:lnTo>
                    <a:pt x="44" y="18"/>
                  </a:lnTo>
                  <a:lnTo>
                    <a:pt x="44" y="16"/>
                  </a:lnTo>
                  <a:lnTo>
                    <a:pt x="50" y="14"/>
                  </a:lnTo>
                  <a:lnTo>
                    <a:pt x="57" y="9"/>
                  </a:lnTo>
                  <a:lnTo>
                    <a:pt x="79" y="23"/>
                  </a:lnTo>
                  <a:lnTo>
                    <a:pt x="79" y="25"/>
                  </a:lnTo>
                  <a:lnTo>
                    <a:pt x="79" y="32"/>
                  </a:lnTo>
                  <a:lnTo>
                    <a:pt x="75" y="34"/>
                  </a:lnTo>
                  <a:lnTo>
                    <a:pt x="75" y="39"/>
                  </a:lnTo>
                  <a:lnTo>
                    <a:pt x="79" y="50"/>
                  </a:lnTo>
                  <a:lnTo>
                    <a:pt x="84" y="50"/>
                  </a:lnTo>
                  <a:lnTo>
                    <a:pt x="84" y="52"/>
                  </a:lnTo>
                  <a:lnTo>
                    <a:pt x="82" y="59"/>
                  </a:lnTo>
                  <a:lnTo>
                    <a:pt x="88" y="68"/>
                  </a:lnTo>
                  <a:lnTo>
                    <a:pt x="90" y="68"/>
                  </a:lnTo>
                  <a:lnTo>
                    <a:pt x="92" y="75"/>
                  </a:lnTo>
                  <a:lnTo>
                    <a:pt x="92" y="77"/>
                  </a:lnTo>
                  <a:lnTo>
                    <a:pt x="88" y="82"/>
                  </a:lnTo>
                  <a:lnTo>
                    <a:pt x="88" y="86"/>
                  </a:lnTo>
                  <a:lnTo>
                    <a:pt x="77" y="86"/>
                  </a:lnTo>
                  <a:lnTo>
                    <a:pt x="69" y="84"/>
                  </a:lnTo>
                  <a:lnTo>
                    <a:pt x="67" y="84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8" name="Freeform 1214"/>
            <p:cNvSpPr>
              <a:spLocks/>
            </p:cNvSpPr>
            <p:nvPr/>
          </p:nvSpPr>
          <p:spPr bwMode="auto">
            <a:xfrm>
              <a:off x="5564148" y="3366925"/>
              <a:ext cx="368680" cy="408614"/>
            </a:xfrm>
            <a:custGeom>
              <a:avLst/>
              <a:gdLst/>
              <a:ahLst/>
              <a:cxnLst>
                <a:cxn ang="0">
                  <a:pos x="39" y="75"/>
                </a:cxn>
                <a:cxn ang="0">
                  <a:pos x="48" y="75"/>
                </a:cxn>
                <a:cxn ang="0">
                  <a:pos x="48" y="73"/>
                </a:cxn>
                <a:cxn ang="0">
                  <a:pos x="48" y="66"/>
                </a:cxn>
                <a:cxn ang="0">
                  <a:pos x="45" y="66"/>
                </a:cxn>
                <a:cxn ang="0">
                  <a:pos x="45" y="64"/>
                </a:cxn>
                <a:cxn ang="0">
                  <a:pos x="41" y="59"/>
                </a:cxn>
                <a:cxn ang="0">
                  <a:pos x="41" y="57"/>
                </a:cxn>
                <a:cxn ang="0">
                  <a:pos x="45" y="55"/>
                </a:cxn>
                <a:cxn ang="0">
                  <a:pos x="48" y="55"/>
                </a:cxn>
                <a:cxn ang="0">
                  <a:pos x="50" y="55"/>
                </a:cxn>
                <a:cxn ang="0">
                  <a:pos x="62" y="34"/>
                </a:cxn>
                <a:cxn ang="0">
                  <a:pos x="60" y="30"/>
                </a:cxn>
                <a:cxn ang="0">
                  <a:pos x="62" y="30"/>
                </a:cxn>
                <a:cxn ang="0">
                  <a:pos x="56" y="23"/>
                </a:cxn>
                <a:cxn ang="0">
                  <a:pos x="56" y="16"/>
                </a:cxn>
                <a:cxn ang="0">
                  <a:pos x="54" y="14"/>
                </a:cxn>
                <a:cxn ang="0">
                  <a:pos x="62" y="14"/>
                </a:cxn>
                <a:cxn ang="0">
                  <a:pos x="68" y="14"/>
                </a:cxn>
                <a:cxn ang="0">
                  <a:pos x="71" y="12"/>
                </a:cxn>
                <a:cxn ang="0">
                  <a:pos x="62" y="7"/>
                </a:cxn>
                <a:cxn ang="0">
                  <a:pos x="60" y="0"/>
                </a:cxn>
                <a:cxn ang="0">
                  <a:pos x="54" y="0"/>
                </a:cxn>
                <a:cxn ang="0">
                  <a:pos x="50" y="0"/>
                </a:cxn>
                <a:cxn ang="0">
                  <a:pos x="48" y="0"/>
                </a:cxn>
                <a:cxn ang="0">
                  <a:pos x="41" y="5"/>
                </a:cxn>
                <a:cxn ang="0">
                  <a:pos x="41" y="14"/>
                </a:cxn>
                <a:cxn ang="0">
                  <a:pos x="41" y="16"/>
                </a:cxn>
                <a:cxn ang="0">
                  <a:pos x="37" y="16"/>
                </a:cxn>
                <a:cxn ang="0">
                  <a:pos x="39" y="21"/>
                </a:cxn>
                <a:cxn ang="0">
                  <a:pos x="37" y="23"/>
                </a:cxn>
                <a:cxn ang="0">
                  <a:pos x="37" y="32"/>
                </a:cxn>
                <a:cxn ang="0">
                  <a:pos x="25" y="34"/>
                </a:cxn>
                <a:cxn ang="0">
                  <a:pos x="25" y="41"/>
                </a:cxn>
                <a:cxn ang="0">
                  <a:pos x="6" y="43"/>
                </a:cxn>
                <a:cxn ang="0">
                  <a:pos x="0" y="41"/>
                </a:cxn>
                <a:cxn ang="0">
                  <a:pos x="6" y="50"/>
                </a:cxn>
                <a:cxn ang="0">
                  <a:pos x="8" y="50"/>
                </a:cxn>
                <a:cxn ang="0">
                  <a:pos x="10" y="57"/>
                </a:cxn>
                <a:cxn ang="0">
                  <a:pos x="10" y="59"/>
                </a:cxn>
                <a:cxn ang="0">
                  <a:pos x="6" y="64"/>
                </a:cxn>
                <a:cxn ang="0">
                  <a:pos x="6" y="68"/>
                </a:cxn>
                <a:cxn ang="0">
                  <a:pos x="16" y="68"/>
                </a:cxn>
                <a:cxn ang="0">
                  <a:pos x="20" y="68"/>
                </a:cxn>
                <a:cxn ang="0">
                  <a:pos x="29" y="68"/>
                </a:cxn>
                <a:cxn ang="0">
                  <a:pos x="33" y="77"/>
                </a:cxn>
                <a:cxn ang="0">
                  <a:pos x="37" y="77"/>
                </a:cxn>
                <a:cxn ang="0">
                  <a:pos x="39" y="75"/>
                </a:cxn>
              </a:cxnLst>
              <a:rect l="0" t="0" r="r" b="b"/>
              <a:pathLst>
                <a:path w="71" h="77">
                  <a:moveTo>
                    <a:pt x="39" y="75"/>
                  </a:moveTo>
                  <a:lnTo>
                    <a:pt x="48" y="75"/>
                  </a:lnTo>
                  <a:lnTo>
                    <a:pt x="48" y="73"/>
                  </a:lnTo>
                  <a:lnTo>
                    <a:pt x="48" y="66"/>
                  </a:lnTo>
                  <a:lnTo>
                    <a:pt x="45" y="66"/>
                  </a:lnTo>
                  <a:lnTo>
                    <a:pt x="45" y="64"/>
                  </a:lnTo>
                  <a:lnTo>
                    <a:pt x="41" y="59"/>
                  </a:lnTo>
                  <a:lnTo>
                    <a:pt x="41" y="57"/>
                  </a:lnTo>
                  <a:lnTo>
                    <a:pt x="45" y="55"/>
                  </a:lnTo>
                  <a:lnTo>
                    <a:pt x="48" y="55"/>
                  </a:lnTo>
                  <a:lnTo>
                    <a:pt x="50" y="55"/>
                  </a:lnTo>
                  <a:lnTo>
                    <a:pt x="62" y="34"/>
                  </a:lnTo>
                  <a:lnTo>
                    <a:pt x="60" y="30"/>
                  </a:lnTo>
                  <a:lnTo>
                    <a:pt x="62" y="30"/>
                  </a:lnTo>
                  <a:lnTo>
                    <a:pt x="56" y="23"/>
                  </a:lnTo>
                  <a:lnTo>
                    <a:pt x="56" y="16"/>
                  </a:lnTo>
                  <a:lnTo>
                    <a:pt x="54" y="14"/>
                  </a:lnTo>
                  <a:lnTo>
                    <a:pt x="62" y="14"/>
                  </a:lnTo>
                  <a:lnTo>
                    <a:pt x="68" y="14"/>
                  </a:lnTo>
                  <a:lnTo>
                    <a:pt x="71" y="12"/>
                  </a:lnTo>
                  <a:lnTo>
                    <a:pt x="62" y="7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0" y="0"/>
                  </a:lnTo>
                  <a:lnTo>
                    <a:pt x="48" y="0"/>
                  </a:lnTo>
                  <a:lnTo>
                    <a:pt x="41" y="5"/>
                  </a:lnTo>
                  <a:lnTo>
                    <a:pt x="41" y="14"/>
                  </a:lnTo>
                  <a:lnTo>
                    <a:pt x="41" y="16"/>
                  </a:lnTo>
                  <a:lnTo>
                    <a:pt x="37" y="16"/>
                  </a:lnTo>
                  <a:lnTo>
                    <a:pt x="39" y="21"/>
                  </a:lnTo>
                  <a:lnTo>
                    <a:pt x="37" y="23"/>
                  </a:lnTo>
                  <a:lnTo>
                    <a:pt x="37" y="32"/>
                  </a:lnTo>
                  <a:lnTo>
                    <a:pt x="25" y="34"/>
                  </a:lnTo>
                  <a:lnTo>
                    <a:pt x="25" y="41"/>
                  </a:lnTo>
                  <a:lnTo>
                    <a:pt x="6" y="43"/>
                  </a:lnTo>
                  <a:lnTo>
                    <a:pt x="0" y="41"/>
                  </a:lnTo>
                  <a:lnTo>
                    <a:pt x="6" y="50"/>
                  </a:lnTo>
                  <a:lnTo>
                    <a:pt x="8" y="50"/>
                  </a:lnTo>
                  <a:lnTo>
                    <a:pt x="10" y="57"/>
                  </a:lnTo>
                  <a:lnTo>
                    <a:pt x="10" y="59"/>
                  </a:lnTo>
                  <a:lnTo>
                    <a:pt x="6" y="64"/>
                  </a:lnTo>
                  <a:lnTo>
                    <a:pt x="6" y="68"/>
                  </a:lnTo>
                  <a:lnTo>
                    <a:pt x="16" y="68"/>
                  </a:lnTo>
                  <a:lnTo>
                    <a:pt x="20" y="68"/>
                  </a:lnTo>
                  <a:lnTo>
                    <a:pt x="29" y="68"/>
                  </a:lnTo>
                  <a:lnTo>
                    <a:pt x="33" y="77"/>
                  </a:lnTo>
                  <a:lnTo>
                    <a:pt x="37" y="77"/>
                  </a:lnTo>
                  <a:lnTo>
                    <a:pt x="39" y="75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9" name="Freeform 1215"/>
            <p:cNvSpPr>
              <a:spLocks/>
            </p:cNvSpPr>
            <p:nvPr/>
          </p:nvSpPr>
          <p:spPr bwMode="auto">
            <a:xfrm>
              <a:off x="5527799" y="3319165"/>
              <a:ext cx="316753" cy="275947"/>
            </a:xfrm>
            <a:custGeom>
              <a:avLst/>
              <a:gdLst/>
              <a:ahLst/>
              <a:cxnLst>
                <a:cxn ang="0">
                  <a:pos x="23" y="7"/>
                </a:cxn>
                <a:cxn ang="0">
                  <a:pos x="30" y="9"/>
                </a:cxn>
                <a:cxn ang="0">
                  <a:pos x="32" y="9"/>
                </a:cxn>
                <a:cxn ang="0">
                  <a:pos x="38" y="7"/>
                </a:cxn>
                <a:cxn ang="0">
                  <a:pos x="40" y="7"/>
                </a:cxn>
                <a:cxn ang="0">
                  <a:pos x="44" y="0"/>
                </a:cxn>
                <a:cxn ang="0">
                  <a:pos x="46" y="5"/>
                </a:cxn>
                <a:cxn ang="0">
                  <a:pos x="48" y="9"/>
                </a:cxn>
                <a:cxn ang="0">
                  <a:pos x="55" y="7"/>
                </a:cxn>
                <a:cxn ang="0">
                  <a:pos x="61" y="7"/>
                </a:cxn>
                <a:cxn ang="0">
                  <a:pos x="61" y="9"/>
                </a:cxn>
                <a:cxn ang="0">
                  <a:pos x="57" y="9"/>
                </a:cxn>
                <a:cxn ang="0">
                  <a:pos x="55" y="9"/>
                </a:cxn>
                <a:cxn ang="0">
                  <a:pos x="48" y="14"/>
                </a:cxn>
                <a:cxn ang="0">
                  <a:pos x="48" y="23"/>
                </a:cxn>
                <a:cxn ang="0">
                  <a:pos x="48" y="25"/>
                </a:cxn>
                <a:cxn ang="0">
                  <a:pos x="44" y="25"/>
                </a:cxn>
                <a:cxn ang="0">
                  <a:pos x="46" y="30"/>
                </a:cxn>
                <a:cxn ang="0">
                  <a:pos x="44" y="32"/>
                </a:cxn>
                <a:cxn ang="0">
                  <a:pos x="44" y="41"/>
                </a:cxn>
                <a:cxn ang="0">
                  <a:pos x="32" y="43"/>
                </a:cxn>
                <a:cxn ang="0">
                  <a:pos x="32" y="50"/>
                </a:cxn>
                <a:cxn ang="0">
                  <a:pos x="13" y="52"/>
                </a:cxn>
                <a:cxn ang="0">
                  <a:pos x="7" y="50"/>
                </a:cxn>
                <a:cxn ang="0">
                  <a:pos x="9" y="43"/>
                </a:cxn>
                <a:cxn ang="0">
                  <a:pos x="9" y="41"/>
                </a:cxn>
                <a:cxn ang="0">
                  <a:pos x="4" y="41"/>
                </a:cxn>
                <a:cxn ang="0">
                  <a:pos x="0" y="30"/>
                </a:cxn>
                <a:cxn ang="0">
                  <a:pos x="0" y="25"/>
                </a:cxn>
                <a:cxn ang="0">
                  <a:pos x="4" y="23"/>
                </a:cxn>
                <a:cxn ang="0">
                  <a:pos x="4" y="16"/>
                </a:cxn>
                <a:cxn ang="0">
                  <a:pos x="9" y="21"/>
                </a:cxn>
                <a:cxn ang="0">
                  <a:pos x="13" y="16"/>
                </a:cxn>
                <a:cxn ang="0">
                  <a:pos x="17" y="14"/>
                </a:cxn>
                <a:cxn ang="0">
                  <a:pos x="17" y="7"/>
                </a:cxn>
                <a:cxn ang="0">
                  <a:pos x="21" y="7"/>
                </a:cxn>
                <a:cxn ang="0">
                  <a:pos x="23" y="7"/>
                </a:cxn>
              </a:cxnLst>
              <a:rect l="0" t="0" r="r" b="b"/>
              <a:pathLst>
                <a:path w="61" h="52">
                  <a:moveTo>
                    <a:pt x="23" y="7"/>
                  </a:moveTo>
                  <a:lnTo>
                    <a:pt x="30" y="9"/>
                  </a:lnTo>
                  <a:lnTo>
                    <a:pt x="32" y="9"/>
                  </a:lnTo>
                  <a:lnTo>
                    <a:pt x="38" y="7"/>
                  </a:lnTo>
                  <a:lnTo>
                    <a:pt x="40" y="7"/>
                  </a:lnTo>
                  <a:lnTo>
                    <a:pt x="44" y="0"/>
                  </a:lnTo>
                  <a:lnTo>
                    <a:pt x="46" y="5"/>
                  </a:lnTo>
                  <a:lnTo>
                    <a:pt x="48" y="9"/>
                  </a:lnTo>
                  <a:lnTo>
                    <a:pt x="55" y="7"/>
                  </a:lnTo>
                  <a:lnTo>
                    <a:pt x="61" y="7"/>
                  </a:lnTo>
                  <a:lnTo>
                    <a:pt x="61" y="9"/>
                  </a:lnTo>
                  <a:lnTo>
                    <a:pt x="57" y="9"/>
                  </a:lnTo>
                  <a:lnTo>
                    <a:pt x="55" y="9"/>
                  </a:lnTo>
                  <a:lnTo>
                    <a:pt x="48" y="14"/>
                  </a:lnTo>
                  <a:lnTo>
                    <a:pt x="48" y="23"/>
                  </a:lnTo>
                  <a:lnTo>
                    <a:pt x="48" y="25"/>
                  </a:lnTo>
                  <a:lnTo>
                    <a:pt x="44" y="25"/>
                  </a:lnTo>
                  <a:lnTo>
                    <a:pt x="46" y="30"/>
                  </a:lnTo>
                  <a:lnTo>
                    <a:pt x="44" y="32"/>
                  </a:lnTo>
                  <a:lnTo>
                    <a:pt x="44" y="41"/>
                  </a:lnTo>
                  <a:lnTo>
                    <a:pt x="32" y="43"/>
                  </a:lnTo>
                  <a:lnTo>
                    <a:pt x="32" y="50"/>
                  </a:lnTo>
                  <a:lnTo>
                    <a:pt x="13" y="52"/>
                  </a:lnTo>
                  <a:lnTo>
                    <a:pt x="7" y="50"/>
                  </a:lnTo>
                  <a:lnTo>
                    <a:pt x="9" y="43"/>
                  </a:lnTo>
                  <a:lnTo>
                    <a:pt x="9" y="41"/>
                  </a:lnTo>
                  <a:lnTo>
                    <a:pt x="4" y="41"/>
                  </a:lnTo>
                  <a:lnTo>
                    <a:pt x="0" y="30"/>
                  </a:lnTo>
                  <a:lnTo>
                    <a:pt x="0" y="25"/>
                  </a:lnTo>
                  <a:lnTo>
                    <a:pt x="4" y="23"/>
                  </a:lnTo>
                  <a:lnTo>
                    <a:pt x="4" y="16"/>
                  </a:lnTo>
                  <a:lnTo>
                    <a:pt x="9" y="21"/>
                  </a:lnTo>
                  <a:lnTo>
                    <a:pt x="13" y="16"/>
                  </a:lnTo>
                  <a:lnTo>
                    <a:pt x="17" y="14"/>
                  </a:lnTo>
                  <a:lnTo>
                    <a:pt x="17" y="7"/>
                  </a:lnTo>
                  <a:lnTo>
                    <a:pt x="21" y="7"/>
                  </a:lnTo>
                  <a:lnTo>
                    <a:pt x="23" y="7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0" name="Freeform 1216"/>
            <p:cNvSpPr>
              <a:spLocks/>
            </p:cNvSpPr>
            <p:nvPr/>
          </p:nvSpPr>
          <p:spPr bwMode="auto">
            <a:xfrm>
              <a:off x="6950596" y="3202418"/>
              <a:ext cx="109047" cy="143280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16" y="2"/>
                </a:cxn>
                <a:cxn ang="0">
                  <a:pos x="12" y="4"/>
                </a:cxn>
                <a:cxn ang="0">
                  <a:pos x="12" y="9"/>
                </a:cxn>
                <a:cxn ang="0">
                  <a:pos x="8" y="4"/>
                </a:cxn>
                <a:cxn ang="0">
                  <a:pos x="0" y="18"/>
                </a:cxn>
                <a:cxn ang="0">
                  <a:pos x="8" y="18"/>
                </a:cxn>
                <a:cxn ang="0">
                  <a:pos x="8" y="27"/>
                </a:cxn>
                <a:cxn ang="0">
                  <a:pos x="16" y="27"/>
                </a:cxn>
                <a:cxn ang="0">
                  <a:pos x="18" y="27"/>
                </a:cxn>
                <a:cxn ang="0">
                  <a:pos x="21" y="22"/>
                </a:cxn>
                <a:cxn ang="0">
                  <a:pos x="16" y="20"/>
                </a:cxn>
                <a:cxn ang="0">
                  <a:pos x="12" y="13"/>
                </a:cxn>
                <a:cxn ang="0">
                  <a:pos x="21" y="11"/>
                </a:cxn>
                <a:cxn ang="0">
                  <a:pos x="18" y="4"/>
                </a:cxn>
                <a:cxn ang="0">
                  <a:pos x="21" y="0"/>
                </a:cxn>
                <a:cxn ang="0">
                  <a:pos x="18" y="0"/>
                </a:cxn>
                <a:cxn ang="0">
                  <a:pos x="16" y="0"/>
                </a:cxn>
              </a:cxnLst>
              <a:rect l="0" t="0" r="r" b="b"/>
              <a:pathLst>
                <a:path w="21" h="27">
                  <a:moveTo>
                    <a:pt x="16" y="0"/>
                  </a:moveTo>
                  <a:lnTo>
                    <a:pt x="16" y="2"/>
                  </a:lnTo>
                  <a:lnTo>
                    <a:pt x="12" y="4"/>
                  </a:lnTo>
                  <a:lnTo>
                    <a:pt x="12" y="9"/>
                  </a:lnTo>
                  <a:lnTo>
                    <a:pt x="8" y="4"/>
                  </a:lnTo>
                  <a:lnTo>
                    <a:pt x="0" y="18"/>
                  </a:lnTo>
                  <a:lnTo>
                    <a:pt x="8" y="18"/>
                  </a:lnTo>
                  <a:lnTo>
                    <a:pt x="8" y="27"/>
                  </a:lnTo>
                  <a:lnTo>
                    <a:pt x="16" y="27"/>
                  </a:lnTo>
                  <a:lnTo>
                    <a:pt x="18" y="27"/>
                  </a:lnTo>
                  <a:lnTo>
                    <a:pt x="21" y="22"/>
                  </a:lnTo>
                  <a:lnTo>
                    <a:pt x="16" y="20"/>
                  </a:lnTo>
                  <a:lnTo>
                    <a:pt x="12" y="13"/>
                  </a:lnTo>
                  <a:lnTo>
                    <a:pt x="21" y="11"/>
                  </a:lnTo>
                  <a:lnTo>
                    <a:pt x="18" y="4"/>
                  </a:lnTo>
                  <a:lnTo>
                    <a:pt x="21" y="0"/>
                  </a:lnTo>
                  <a:lnTo>
                    <a:pt x="18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1" name="Freeform 1217"/>
            <p:cNvSpPr>
              <a:spLocks/>
            </p:cNvSpPr>
            <p:nvPr/>
          </p:nvSpPr>
          <p:spPr bwMode="auto">
            <a:xfrm>
              <a:off x="7033678" y="3319165"/>
              <a:ext cx="88276" cy="132667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2" y="5"/>
                </a:cxn>
                <a:cxn ang="0">
                  <a:pos x="5" y="0"/>
                </a:cxn>
                <a:cxn ang="0">
                  <a:pos x="11" y="7"/>
                </a:cxn>
                <a:cxn ang="0">
                  <a:pos x="17" y="16"/>
                </a:cxn>
                <a:cxn ang="0">
                  <a:pos x="17" y="21"/>
                </a:cxn>
                <a:cxn ang="0">
                  <a:pos x="9" y="25"/>
                </a:cxn>
                <a:cxn ang="0">
                  <a:pos x="2" y="21"/>
                </a:cxn>
                <a:cxn ang="0">
                  <a:pos x="5" y="16"/>
                </a:cxn>
                <a:cxn ang="0">
                  <a:pos x="0" y="9"/>
                </a:cxn>
                <a:cxn ang="0">
                  <a:pos x="2" y="9"/>
                </a:cxn>
                <a:cxn ang="0">
                  <a:pos x="0" y="7"/>
                </a:cxn>
                <a:cxn ang="0">
                  <a:pos x="0" y="5"/>
                </a:cxn>
              </a:cxnLst>
              <a:rect l="0" t="0" r="r" b="b"/>
              <a:pathLst>
                <a:path w="17" h="25">
                  <a:moveTo>
                    <a:pt x="0" y="5"/>
                  </a:moveTo>
                  <a:lnTo>
                    <a:pt x="2" y="5"/>
                  </a:lnTo>
                  <a:lnTo>
                    <a:pt x="5" y="0"/>
                  </a:lnTo>
                  <a:lnTo>
                    <a:pt x="11" y="7"/>
                  </a:lnTo>
                  <a:lnTo>
                    <a:pt x="17" y="16"/>
                  </a:lnTo>
                  <a:lnTo>
                    <a:pt x="17" y="21"/>
                  </a:lnTo>
                  <a:lnTo>
                    <a:pt x="9" y="25"/>
                  </a:lnTo>
                  <a:lnTo>
                    <a:pt x="2" y="21"/>
                  </a:lnTo>
                  <a:lnTo>
                    <a:pt x="5" y="16"/>
                  </a:lnTo>
                  <a:lnTo>
                    <a:pt x="0" y="9"/>
                  </a:lnTo>
                  <a:lnTo>
                    <a:pt x="2" y="9"/>
                  </a:lnTo>
                  <a:lnTo>
                    <a:pt x="0" y="7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2" name="Freeform 1218"/>
            <p:cNvSpPr>
              <a:spLocks/>
            </p:cNvSpPr>
            <p:nvPr/>
          </p:nvSpPr>
          <p:spPr bwMode="auto">
            <a:xfrm>
              <a:off x="6026298" y="2926471"/>
              <a:ext cx="716591" cy="297174"/>
            </a:xfrm>
            <a:custGeom>
              <a:avLst/>
              <a:gdLst/>
              <a:ahLst/>
              <a:cxnLst>
                <a:cxn ang="0">
                  <a:pos x="115" y="14"/>
                </a:cxn>
                <a:cxn ang="0">
                  <a:pos x="119" y="23"/>
                </a:cxn>
                <a:cxn ang="0">
                  <a:pos x="126" y="23"/>
                </a:cxn>
                <a:cxn ang="0">
                  <a:pos x="132" y="20"/>
                </a:cxn>
                <a:cxn ang="0">
                  <a:pos x="134" y="23"/>
                </a:cxn>
                <a:cxn ang="0">
                  <a:pos x="138" y="29"/>
                </a:cxn>
                <a:cxn ang="0">
                  <a:pos x="128" y="29"/>
                </a:cxn>
                <a:cxn ang="0">
                  <a:pos x="126" y="32"/>
                </a:cxn>
                <a:cxn ang="0">
                  <a:pos x="123" y="36"/>
                </a:cxn>
                <a:cxn ang="0">
                  <a:pos x="119" y="38"/>
                </a:cxn>
                <a:cxn ang="0">
                  <a:pos x="115" y="38"/>
                </a:cxn>
                <a:cxn ang="0">
                  <a:pos x="111" y="41"/>
                </a:cxn>
                <a:cxn ang="0">
                  <a:pos x="115" y="45"/>
                </a:cxn>
                <a:cxn ang="0">
                  <a:pos x="109" y="52"/>
                </a:cxn>
                <a:cxn ang="0">
                  <a:pos x="100" y="54"/>
                </a:cxn>
                <a:cxn ang="0">
                  <a:pos x="88" y="56"/>
                </a:cxn>
                <a:cxn ang="0">
                  <a:pos x="69" y="52"/>
                </a:cxn>
                <a:cxn ang="0">
                  <a:pos x="52" y="52"/>
                </a:cxn>
                <a:cxn ang="0">
                  <a:pos x="40" y="41"/>
                </a:cxn>
                <a:cxn ang="0">
                  <a:pos x="21" y="36"/>
                </a:cxn>
                <a:cxn ang="0">
                  <a:pos x="19" y="27"/>
                </a:cxn>
                <a:cxn ang="0">
                  <a:pos x="13" y="23"/>
                </a:cxn>
                <a:cxn ang="0">
                  <a:pos x="7" y="20"/>
                </a:cxn>
                <a:cxn ang="0">
                  <a:pos x="0" y="14"/>
                </a:cxn>
                <a:cxn ang="0">
                  <a:pos x="15" y="5"/>
                </a:cxn>
                <a:cxn ang="0">
                  <a:pos x="23" y="9"/>
                </a:cxn>
                <a:cxn ang="0">
                  <a:pos x="30" y="11"/>
                </a:cxn>
                <a:cxn ang="0">
                  <a:pos x="40" y="11"/>
                </a:cxn>
                <a:cxn ang="0">
                  <a:pos x="40" y="5"/>
                </a:cxn>
                <a:cxn ang="0">
                  <a:pos x="38" y="2"/>
                </a:cxn>
                <a:cxn ang="0">
                  <a:pos x="40" y="0"/>
                </a:cxn>
                <a:cxn ang="0">
                  <a:pos x="52" y="2"/>
                </a:cxn>
                <a:cxn ang="0">
                  <a:pos x="61" y="9"/>
                </a:cxn>
                <a:cxn ang="0">
                  <a:pos x="71" y="9"/>
                </a:cxn>
                <a:cxn ang="0">
                  <a:pos x="92" y="14"/>
                </a:cxn>
                <a:cxn ang="0">
                  <a:pos x="103" y="11"/>
                </a:cxn>
                <a:cxn ang="0">
                  <a:pos x="109" y="9"/>
                </a:cxn>
                <a:cxn ang="0">
                  <a:pos x="117" y="11"/>
                </a:cxn>
                <a:cxn ang="0">
                  <a:pos x="115" y="14"/>
                </a:cxn>
              </a:cxnLst>
              <a:rect l="0" t="0" r="r" b="b"/>
              <a:pathLst>
                <a:path w="138" h="56">
                  <a:moveTo>
                    <a:pt x="115" y="14"/>
                  </a:moveTo>
                  <a:lnTo>
                    <a:pt x="119" y="23"/>
                  </a:lnTo>
                  <a:lnTo>
                    <a:pt x="126" y="23"/>
                  </a:lnTo>
                  <a:lnTo>
                    <a:pt x="132" y="20"/>
                  </a:lnTo>
                  <a:lnTo>
                    <a:pt x="134" y="23"/>
                  </a:lnTo>
                  <a:lnTo>
                    <a:pt x="138" y="29"/>
                  </a:lnTo>
                  <a:lnTo>
                    <a:pt x="128" y="29"/>
                  </a:lnTo>
                  <a:lnTo>
                    <a:pt x="126" y="32"/>
                  </a:lnTo>
                  <a:lnTo>
                    <a:pt x="123" y="36"/>
                  </a:lnTo>
                  <a:lnTo>
                    <a:pt x="119" y="38"/>
                  </a:lnTo>
                  <a:lnTo>
                    <a:pt x="115" y="38"/>
                  </a:lnTo>
                  <a:lnTo>
                    <a:pt x="111" y="41"/>
                  </a:lnTo>
                  <a:lnTo>
                    <a:pt x="115" y="45"/>
                  </a:lnTo>
                  <a:lnTo>
                    <a:pt x="109" y="52"/>
                  </a:lnTo>
                  <a:lnTo>
                    <a:pt x="100" y="54"/>
                  </a:lnTo>
                  <a:lnTo>
                    <a:pt x="88" y="56"/>
                  </a:lnTo>
                  <a:lnTo>
                    <a:pt x="69" y="52"/>
                  </a:lnTo>
                  <a:lnTo>
                    <a:pt x="52" y="52"/>
                  </a:lnTo>
                  <a:lnTo>
                    <a:pt x="40" y="41"/>
                  </a:lnTo>
                  <a:lnTo>
                    <a:pt x="21" y="36"/>
                  </a:lnTo>
                  <a:lnTo>
                    <a:pt x="19" y="27"/>
                  </a:lnTo>
                  <a:lnTo>
                    <a:pt x="13" y="23"/>
                  </a:lnTo>
                  <a:lnTo>
                    <a:pt x="7" y="20"/>
                  </a:lnTo>
                  <a:lnTo>
                    <a:pt x="0" y="14"/>
                  </a:lnTo>
                  <a:lnTo>
                    <a:pt x="15" y="5"/>
                  </a:lnTo>
                  <a:lnTo>
                    <a:pt x="23" y="9"/>
                  </a:lnTo>
                  <a:lnTo>
                    <a:pt x="30" y="11"/>
                  </a:lnTo>
                  <a:lnTo>
                    <a:pt x="40" y="11"/>
                  </a:lnTo>
                  <a:lnTo>
                    <a:pt x="40" y="5"/>
                  </a:lnTo>
                  <a:lnTo>
                    <a:pt x="38" y="2"/>
                  </a:lnTo>
                  <a:lnTo>
                    <a:pt x="40" y="0"/>
                  </a:lnTo>
                  <a:lnTo>
                    <a:pt x="52" y="2"/>
                  </a:lnTo>
                  <a:lnTo>
                    <a:pt x="61" y="9"/>
                  </a:lnTo>
                  <a:lnTo>
                    <a:pt x="71" y="9"/>
                  </a:lnTo>
                  <a:lnTo>
                    <a:pt x="92" y="14"/>
                  </a:lnTo>
                  <a:lnTo>
                    <a:pt x="103" y="11"/>
                  </a:lnTo>
                  <a:lnTo>
                    <a:pt x="109" y="9"/>
                  </a:lnTo>
                  <a:lnTo>
                    <a:pt x="117" y="11"/>
                  </a:lnTo>
                  <a:lnTo>
                    <a:pt x="115" y="14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3" name="Freeform 1219"/>
            <p:cNvSpPr>
              <a:spLocks/>
            </p:cNvSpPr>
            <p:nvPr/>
          </p:nvSpPr>
          <p:spPr bwMode="auto">
            <a:xfrm>
              <a:off x="4728126" y="3213032"/>
              <a:ext cx="430993" cy="191040"/>
            </a:xfrm>
            <a:custGeom>
              <a:avLst/>
              <a:gdLst/>
              <a:ahLst/>
              <a:cxnLst>
                <a:cxn ang="0">
                  <a:pos x="73" y="7"/>
                </a:cxn>
                <a:cxn ang="0">
                  <a:pos x="73" y="2"/>
                </a:cxn>
                <a:cxn ang="0">
                  <a:pos x="67" y="2"/>
                </a:cxn>
                <a:cxn ang="0">
                  <a:pos x="58" y="7"/>
                </a:cxn>
                <a:cxn ang="0">
                  <a:pos x="48" y="7"/>
                </a:cxn>
                <a:cxn ang="0">
                  <a:pos x="35" y="0"/>
                </a:cxn>
                <a:cxn ang="0">
                  <a:pos x="31" y="0"/>
                </a:cxn>
                <a:cxn ang="0">
                  <a:pos x="23" y="7"/>
                </a:cxn>
                <a:cxn ang="0">
                  <a:pos x="17" y="7"/>
                </a:cxn>
                <a:cxn ang="0">
                  <a:pos x="10" y="7"/>
                </a:cxn>
                <a:cxn ang="0">
                  <a:pos x="8" y="2"/>
                </a:cxn>
                <a:cxn ang="0">
                  <a:pos x="0" y="2"/>
                </a:cxn>
                <a:cxn ang="0">
                  <a:pos x="0" y="9"/>
                </a:cxn>
                <a:cxn ang="0">
                  <a:pos x="2" y="9"/>
                </a:cxn>
                <a:cxn ang="0">
                  <a:pos x="0" y="11"/>
                </a:cxn>
                <a:cxn ang="0">
                  <a:pos x="4" y="7"/>
                </a:cxn>
                <a:cxn ang="0">
                  <a:pos x="10" y="7"/>
                </a:cxn>
                <a:cxn ang="0">
                  <a:pos x="12" y="9"/>
                </a:cxn>
                <a:cxn ang="0">
                  <a:pos x="10" y="9"/>
                </a:cxn>
                <a:cxn ang="0">
                  <a:pos x="12" y="11"/>
                </a:cxn>
                <a:cxn ang="0">
                  <a:pos x="2" y="11"/>
                </a:cxn>
                <a:cxn ang="0">
                  <a:pos x="0" y="11"/>
                </a:cxn>
                <a:cxn ang="0">
                  <a:pos x="0" y="16"/>
                </a:cxn>
                <a:cxn ang="0">
                  <a:pos x="2" y="16"/>
                </a:cxn>
                <a:cxn ang="0">
                  <a:pos x="4" y="20"/>
                </a:cxn>
                <a:cxn ang="0">
                  <a:pos x="2" y="20"/>
                </a:cxn>
                <a:cxn ang="0">
                  <a:pos x="4" y="25"/>
                </a:cxn>
                <a:cxn ang="0">
                  <a:pos x="4" y="27"/>
                </a:cxn>
                <a:cxn ang="0">
                  <a:pos x="8" y="27"/>
                </a:cxn>
                <a:cxn ang="0">
                  <a:pos x="4" y="29"/>
                </a:cxn>
                <a:cxn ang="0">
                  <a:pos x="10" y="29"/>
                </a:cxn>
                <a:cxn ang="0">
                  <a:pos x="8" y="29"/>
                </a:cxn>
                <a:cxn ang="0">
                  <a:pos x="17" y="34"/>
                </a:cxn>
                <a:cxn ang="0">
                  <a:pos x="19" y="34"/>
                </a:cxn>
                <a:cxn ang="0">
                  <a:pos x="23" y="29"/>
                </a:cxn>
                <a:cxn ang="0">
                  <a:pos x="25" y="29"/>
                </a:cxn>
                <a:cxn ang="0">
                  <a:pos x="31" y="36"/>
                </a:cxn>
                <a:cxn ang="0">
                  <a:pos x="33" y="34"/>
                </a:cxn>
                <a:cxn ang="0">
                  <a:pos x="40" y="29"/>
                </a:cxn>
                <a:cxn ang="0">
                  <a:pos x="42" y="34"/>
                </a:cxn>
                <a:cxn ang="0">
                  <a:pos x="44" y="29"/>
                </a:cxn>
                <a:cxn ang="0">
                  <a:pos x="44" y="36"/>
                </a:cxn>
                <a:cxn ang="0">
                  <a:pos x="48" y="34"/>
                </a:cxn>
                <a:cxn ang="0">
                  <a:pos x="48" y="29"/>
                </a:cxn>
                <a:cxn ang="0">
                  <a:pos x="56" y="29"/>
                </a:cxn>
                <a:cxn ang="0">
                  <a:pos x="58" y="29"/>
                </a:cxn>
                <a:cxn ang="0">
                  <a:pos x="65" y="29"/>
                </a:cxn>
                <a:cxn ang="0">
                  <a:pos x="73" y="27"/>
                </a:cxn>
                <a:cxn ang="0">
                  <a:pos x="75" y="27"/>
                </a:cxn>
                <a:cxn ang="0">
                  <a:pos x="83" y="27"/>
                </a:cxn>
                <a:cxn ang="0">
                  <a:pos x="79" y="16"/>
                </a:cxn>
                <a:cxn ang="0">
                  <a:pos x="81" y="11"/>
                </a:cxn>
                <a:cxn ang="0">
                  <a:pos x="75" y="11"/>
                </a:cxn>
                <a:cxn ang="0">
                  <a:pos x="73" y="9"/>
                </a:cxn>
                <a:cxn ang="0">
                  <a:pos x="73" y="7"/>
                </a:cxn>
              </a:cxnLst>
              <a:rect l="0" t="0" r="r" b="b"/>
              <a:pathLst>
                <a:path w="83" h="36">
                  <a:moveTo>
                    <a:pt x="73" y="7"/>
                  </a:moveTo>
                  <a:lnTo>
                    <a:pt x="73" y="2"/>
                  </a:lnTo>
                  <a:lnTo>
                    <a:pt x="67" y="2"/>
                  </a:lnTo>
                  <a:lnTo>
                    <a:pt x="58" y="7"/>
                  </a:lnTo>
                  <a:lnTo>
                    <a:pt x="48" y="7"/>
                  </a:lnTo>
                  <a:lnTo>
                    <a:pt x="35" y="0"/>
                  </a:lnTo>
                  <a:lnTo>
                    <a:pt x="31" y="0"/>
                  </a:lnTo>
                  <a:lnTo>
                    <a:pt x="23" y="7"/>
                  </a:lnTo>
                  <a:lnTo>
                    <a:pt x="17" y="7"/>
                  </a:lnTo>
                  <a:lnTo>
                    <a:pt x="10" y="7"/>
                  </a:lnTo>
                  <a:lnTo>
                    <a:pt x="8" y="2"/>
                  </a:lnTo>
                  <a:lnTo>
                    <a:pt x="0" y="2"/>
                  </a:lnTo>
                  <a:lnTo>
                    <a:pt x="0" y="9"/>
                  </a:lnTo>
                  <a:lnTo>
                    <a:pt x="2" y="9"/>
                  </a:lnTo>
                  <a:lnTo>
                    <a:pt x="0" y="11"/>
                  </a:lnTo>
                  <a:lnTo>
                    <a:pt x="4" y="7"/>
                  </a:lnTo>
                  <a:lnTo>
                    <a:pt x="10" y="7"/>
                  </a:lnTo>
                  <a:lnTo>
                    <a:pt x="12" y="9"/>
                  </a:lnTo>
                  <a:lnTo>
                    <a:pt x="10" y="9"/>
                  </a:lnTo>
                  <a:lnTo>
                    <a:pt x="12" y="11"/>
                  </a:lnTo>
                  <a:lnTo>
                    <a:pt x="2" y="11"/>
                  </a:lnTo>
                  <a:lnTo>
                    <a:pt x="0" y="11"/>
                  </a:lnTo>
                  <a:lnTo>
                    <a:pt x="0" y="16"/>
                  </a:lnTo>
                  <a:lnTo>
                    <a:pt x="2" y="16"/>
                  </a:lnTo>
                  <a:lnTo>
                    <a:pt x="4" y="20"/>
                  </a:lnTo>
                  <a:lnTo>
                    <a:pt x="2" y="20"/>
                  </a:lnTo>
                  <a:lnTo>
                    <a:pt x="4" y="25"/>
                  </a:lnTo>
                  <a:lnTo>
                    <a:pt x="4" y="27"/>
                  </a:lnTo>
                  <a:lnTo>
                    <a:pt x="8" y="27"/>
                  </a:lnTo>
                  <a:lnTo>
                    <a:pt x="4" y="29"/>
                  </a:lnTo>
                  <a:lnTo>
                    <a:pt x="10" y="29"/>
                  </a:lnTo>
                  <a:lnTo>
                    <a:pt x="8" y="29"/>
                  </a:lnTo>
                  <a:lnTo>
                    <a:pt x="17" y="34"/>
                  </a:lnTo>
                  <a:lnTo>
                    <a:pt x="19" y="34"/>
                  </a:lnTo>
                  <a:lnTo>
                    <a:pt x="23" y="29"/>
                  </a:lnTo>
                  <a:lnTo>
                    <a:pt x="25" y="29"/>
                  </a:lnTo>
                  <a:lnTo>
                    <a:pt x="31" y="36"/>
                  </a:lnTo>
                  <a:lnTo>
                    <a:pt x="33" y="34"/>
                  </a:lnTo>
                  <a:lnTo>
                    <a:pt x="40" y="29"/>
                  </a:lnTo>
                  <a:lnTo>
                    <a:pt x="42" y="34"/>
                  </a:lnTo>
                  <a:lnTo>
                    <a:pt x="44" y="29"/>
                  </a:lnTo>
                  <a:lnTo>
                    <a:pt x="44" y="36"/>
                  </a:lnTo>
                  <a:lnTo>
                    <a:pt x="48" y="34"/>
                  </a:lnTo>
                  <a:lnTo>
                    <a:pt x="48" y="29"/>
                  </a:lnTo>
                  <a:lnTo>
                    <a:pt x="56" y="29"/>
                  </a:lnTo>
                  <a:lnTo>
                    <a:pt x="58" y="29"/>
                  </a:lnTo>
                  <a:lnTo>
                    <a:pt x="65" y="29"/>
                  </a:lnTo>
                  <a:lnTo>
                    <a:pt x="73" y="27"/>
                  </a:lnTo>
                  <a:lnTo>
                    <a:pt x="75" y="27"/>
                  </a:lnTo>
                  <a:lnTo>
                    <a:pt x="83" y="27"/>
                  </a:lnTo>
                  <a:lnTo>
                    <a:pt x="79" y="16"/>
                  </a:lnTo>
                  <a:lnTo>
                    <a:pt x="81" y="11"/>
                  </a:lnTo>
                  <a:lnTo>
                    <a:pt x="75" y="11"/>
                  </a:lnTo>
                  <a:lnTo>
                    <a:pt x="73" y="9"/>
                  </a:lnTo>
                  <a:lnTo>
                    <a:pt x="73" y="7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4" name="Freeform 1220"/>
            <p:cNvSpPr>
              <a:spLocks/>
            </p:cNvSpPr>
            <p:nvPr/>
          </p:nvSpPr>
          <p:spPr bwMode="auto">
            <a:xfrm>
              <a:off x="4956604" y="3356312"/>
              <a:ext cx="150588" cy="169814"/>
            </a:xfrm>
            <a:custGeom>
              <a:avLst/>
              <a:gdLst/>
              <a:ahLst/>
              <a:cxnLst>
                <a:cxn ang="0">
                  <a:pos x="29" y="0"/>
                </a:cxn>
                <a:cxn ang="0">
                  <a:pos x="21" y="2"/>
                </a:cxn>
                <a:cxn ang="0">
                  <a:pos x="14" y="2"/>
                </a:cxn>
                <a:cxn ang="0">
                  <a:pos x="12" y="2"/>
                </a:cxn>
                <a:cxn ang="0">
                  <a:pos x="4" y="2"/>
                </a:cxn>
                <a:cxn ang="0">
                  <a:pos x="4" y="7"/>
                </a:cxn>
                <a:cxn ang="0">
                  <a:pos x="0" y="9"/>
                </a:cxn>
                <a:cxn ang="0">
                  <a:pos x="0" y="18"/>
                </a:cxn>
                <a:cxn ang="0">
                  <a:pos x="4" y="18"/>
                </a:cxn>
                <a:cxn ang="0">
                  <a:pos x="0" y="25"/>
                </a:cxn>
                <a:cxn ang="0">
                  <a:pos x="0" y="27"/>
                </a:cxn>
                <a:cxn ang="0">
                  <a:pos x="4" y="32"/>
                </a:cxn>
                <a:cxn ang="0">
                  <a:pos x="14" y="25"/>
                </a:cxn>
                <a:cxn ang="0">
                  <a:pos x="23" y="18"/>
                </a:cxn>
                <a:cxn ang="0">
                  <a:pos x="23" y="7"/>
                </a:cxn>
                <a:cxn ang="0">
                  <a:pos x="25" y="5"/>
                </a:cxn>
                <a:cxn ang="0">
                  <a:pos x="29" y="0"/>
                </a:cxn>
              </a:cxnLst>
              <a:rect l="0" t="0" r="r" b="b"/>
              <a:pathLst>
                <a:path w="29" h="32">
                  <a:moveTo>
                    <a:pt x="29" y="0"/>
                  </a:moveTo>
                  <a:lnTo>
                    <a:pt x="21" y="2"/>
                  </a:lnTo>
                  <a:lnTo>
                    <a:pt x="14" y="2"/>
                  </a:lnTo>
                  <a:lnTo>
                    <a:pt x="12" y="2"/>
                  </a:lnTo>
                  <a:lnTo>
                    <a:pt x="4" y="2"/>
                  </a:lnTo>
                  <a:lnTo>
                    <a:pt x="4" y="7"/>
                  </a:lnTo>
                  <a:lnTo>
                    <a:pt x="0" y="9"/>
                  </a:lnTo>
                  <a:lnTo>
                    <a:pt x="0" y="18"/>
                  </a:lnTo>
                  <a:lnTo>
                    <a:pt x="4" y="18"/>
                  </a:lnTo>
                  <a:lnTo>
                    <a:pt x="0" y="25"/>
                  </a:lnTo>
                  <a:lnTo>
                    <a:pt x="0" y="27"/>
                  </a:lnTo>
                  <a:lnTo>
                    <a:pt x="4" y="32"/>
                  </a:lnTo>
                  <a:lnTo>
                    <a:pt x="14" y="25"/>
                  </a:lnTo>
                  <a:lnTo>
                    <a:pt x="23" y="18"/>
                  </a:lnTo>
                  <a:lnTo>
                    <a:pt x="23" y="7"/>
                  </a:lnTo>
                  <a:lnTo>
                    <a:pt x="25" y="5"/>
                  </a:lnTo>
                  <a:lnTo>
                    <a:pt x="29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5" name="Freeform 1221"/>
            <p:cNvSpPr>
              <a:spLocks/>
            </p:cNvSpPr>
            <p:nvPr/>
          </p:nvSpPr>
          <p:spPr bwMode="auto">
            <a:xfrm>
              <a:off x="4946220" y="3488979"/>
              <a:ext cx="103854" cy="106133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6" y="7"/>
                </a:cxn>
                <a:cxn ang="0">
                  <a:pos x="16" y="0"/>
                </a:cxn>
                <a:cxn ang="0">
                  <a:pos x="20" y="7"/>
                </a:cxn>
                <a:cxn ang="0">
                  <a:pos x="8" y="9"/>
                </a:cxn>
                <a:cxn ang="0">
                  <a:pos x="14" y="16"/>
                </a:cxn>
                <a:cxn ang="0">
                  <a:pos x="10" y="18"/>
                </a:cxn>
                <a:cxn ang="0">
                  <a:pos x="8" y="18"/>
                </a:cxn>
                <a:cxn ang="0">
                  <a:pos x="6" y="20"/>
                </a:cxn>
                <a:cxn ang="0">
                  <a:pos x="0" y="20"/>
                </a:cxn>
                <a:cxn ang="0">
                  <a:pos x="2" y="11"/>
                </a:cxn>
                <a:cxn ang="0">
                  <a:pos x="0" y="7"/>
                </a:cxn>
                <a:cxn ang="0">
                  <a:pos x="0" y="4"/>
                </a:cxn>
                <a:cxn ang="0">
                  <a:pos x="2" y="2"/>
                </a:cxn>
              </a:cxnLst>
              <a:rect l="0" t="0" r="r" b="b"/>
              <a:pathLst>
                <a:path w="20" h="20">
                  <a:moveTo>
                    <a:pt x="2" y="2"/>
                  </a:moveTo>
                  <a:lnTo>
                    <a:pt x="6" y="7"/>
                  </a:lnTo>
                  <a:lnTo>
                    <a:pt x="16" y="0"/>
                  </a:lnTo>
                  <a:lnTo>
                    <a:pt x="20" y="7"/>
                  </a:lnTo>
                  <a:lnTo>
                    <a:pt x="8" y="9"/>
                  </a:lnTo>
                  <a:lnTo>
                    <a:pt x="14" y="16"/>
                  </a:lnTo>
                  <a:lnTo>
                    <a:pt x="10" y="18"/>
                  </a:lnTo>
                  <a:lnTo>
                    <a:pt x="8" y="18"/>
                  </a:lnTo>
                  <a:lnTo>
                    <a:pt x="6" y="20"/>
                  </a:lnTo>
                  <a:lnTo>
                    <a:pt x="0" y="20"/>
                  </a:lnTo>
                  <a:lnTo>
                    <a:pt x="2" y="11"/>
                  </a:lnTo>
                  <a:lnTo>
                    <a:pt x="0" y="7"/>
                  </a:lnTo>
                  <a:lnTo>
                    <a:pt x="0" y="4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6" name="Freeform 1222"/>
            <p:cNvSpPr>
              <a:spLocks/>
            </p:cNvSpPr>
            <p:nvPr/>
          </p:nvSpPr>
          <p:spPr bwMode="auto">
            <a:xfrm>
              <a:off x="5029302" y="3356312"/>
              <a:ext cx="238863" cy="265334"/>
            </a:xfrm>
            <a:custGeom>
              <a:avLst/>
              <a:gdLst/>
              <a:ahLst/>
              <a:cxnLst>
                <a:cxn ang="0">
                  <a:pos x="25" y="0"/>
                </a:cxn>
                <a:cxn ang="0">
                  <a:pos x="32" y="14"/>
                </a:cxn>
                <a:cxn ang="0">
                  <a:pos x="30" y="18"/>
                </a:cxn>
                <a:cxn ang="0">
                  <a:pos x="32" y="25"/>
                </a:cxn>
                <a:cxn ang="0">
                  <a:pos x="40" y="27"/>
                </a:cxn>
                <a:cxn ang="0">
                  <a:pos x="40" y="36"/>
                </a:cxn>
                <a:cxn ang="0">
                  <a:pos x="46" y="43"/>
                </a:cxn>
                <a:cxn ang="0">
                  <a:pos x="40" y="43"/>
                </a:cxn>
                <a:cxn ang="0">
                  <a:pos x="38" y="50"/>
                </a:cxn>
                <a:cxn ang="0">
                  <a:pos x="32" y="45"/>
                </a:cxn>
                <a:cxn ang="0">
                  <a:pos x="30" y="50"/>
                </a:cxn>
                <a:cxn ang="0">
                  <a:pos x="23" y="45"/>
                </a:cxn>
                <a:cxn ang="0">
                  <a:pos x="23" y="41"/>
                </a:cxn>
                <a:cxn ang="0">
                  <a:pos x="21" y="41"/>
                </a:cxn>
                <a:cxn ang="0">
                  <a:pos x="9" y="34"/>
                </a:cxn>
                <a:cxn ang="0">
                  <a:pos x="4" y="32"/>
                </a:cxn>
                <a:cxn ang="0">
                  <a:pos x="0" y="25"/>
                </a:cxn>
                <a:cxn ang="0">
                  <a:pos x="9" y="18"/>
                </a:cxn>
                <a:cxn ang="0">
                  <a:pos x="9" y="7"/>
                </a:cxn>
                <a:cxn ang="0">
                  <a:pos x="15" y="0"/>
                </a:cxn>
                <a:cxn ang="0">
                  <a:pos x="17" y="0"/>
                </a:cxn>
                <a:cxn ang="0">
                  <a:pos x="21" y="0"/>
                </a:cxn>
                <a:cxn ang="0">
                  <a:pos x="25" y="0"/>
                </a:cxn>
              </a:cxnLst>
              <a:rect l="0" t="0" r="r" b="b"/>
              <a:pathLst>
                <a:path w="46" h="50">
                  <a:moveTo>
                    <a:pt x="25" y="0"/>
                  </a:moveTo>
                  <a:lnTo>
                    <a:pt x="32" y="14"/>
                  </a:lnTo>
                  <a:lnTo>
                    <a:pt x="30" y="18"/>
                  </a:lnTo>
                  <a:lnTo>
                    <a:pt x="32" y="25"/>
                  </a:lnTo>
                  <a:lnTo>
                    <a:pt x="40" y="27"/>
                  </a:lnTo>
                  <a:lnTo>
                    <a:pt x="40" y="36"/>
                  </a:lnTo>
                  <a:lnTo>
                    <a:pt x="46" y="43"/>
                  </a:lnTo>
                  <a:lnTo>
                    <a:pt x="40" y="43"/>
                  </a:lnTo>
                  <a:lnTo>
                    <a:pt x="38" y="50"/>
                  </a:lnTo>
                  <a:lnTo>
                    <a:pt x="32" y="45"/>
                  </a:lnTo>
                  <a:lnTo>
                    <a:pt x="30" y="50"/>
                  </a:lnTo>
                  <a:lnTo>
                    <a:pt x="23" y="45"/>
                  </a:lnTo>
                  <a:lnTo>
                    <a:pt x="23" y="41"/>
                  </a:lnTo>
                  <a:lnTo>
                    <a:pt x="21" y="41"/>
                  </a:lnTo>
                  <a:lnTo>
                    <a:pt x="9" y="34"/>
                  </a:lnTo>
                  <a:lnTo>
                    <a:pt x="4" y="32"/>
                  </a:lnTo>
                  <a:lnTo>
                    <a:pt x="0" y="25"/>
                  </a:lnTo>
                  <a:lnTo>
                    <a:pt x="9" y="18"/>
                  </a:lnTo>
                  <a:lnTo>
                    <a:pt x="9" y="7"/>
                  </a:lnTo>
                  <a:lnTo>
                    <a:pt x="15" y="0"/>
                  </a:lnTo>
                  <a:lnTo>
                    <a:pt x="17" y="0"/>
                  </a:lnTo>
                  <a:lnTo>
                    <a:pt x="21" y="0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7" name="Freeform 1223"/>
            <p:cNvSpPr>
              <a:spLocks/>
            </p:cNvSpPr>
            <p:nvPr/>
          </p:nvSpPr>
          <p:spPr bwMode="auto">
            <a:xfrm>
              <a:off x="4946220" y="3451832"/>
              <a:ext cx="31156" cy="3714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6" y="0"/>
                </a:cxn>
                <a:cxn ang="0">
                  <a:pos x="2" y="7"/>
                </a:cxn>
                <a:cxn ang="0">
                  <a:pos x="0" y="7"/>
                </a:cxn>
                <a:cxn ang="0">
                  <a:pos x="0" y="5"/>
                </a:cxn>
                <a:cxn ang="0">
                  <a:pos x="2" y="0"/>
                </a:cxn>
              </a:cxnLst>
              <a:rect l="0" t="0" r="r" b="b"/>
              <a:pathLst>
                <a:path w="6" h="7">
                  <a:moveTo>
                    <a:pt x="2" y="0"/>
                  </a:moveTo>
                  <a:lnTo>
                    <a:pt x="6" y="0"/>
                  </a:lnTo>
                  <a:lnTo>
                    <a:pt x="2" y="7"/>
                  </a:lnTo>
                  <a:lnTo>
                    <a:pt x="0" y="7"/>
                  </a:lnTo>
                  <a:lnTo>
                    <a:pt x="0" y="5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8" name="Freeform 1224"/>
            <p:cNvSpPr>
              <a:spLocks/>
            </p:cNvSpPr>
            <p:nvPr/>
          </p:nvSpPr>
          <p:spPr bwMode="auto">
            <a:xfrm>
              <a:off x="4935833" y="3488979"/>
              <a:ext cx="20771" cy="106133"/>
            </a:xfrm>
            <a:custGeom>
              <a:avLst/>
              <a:gdLst/>
              <a:ahLst/>
              <a:cxnLst>
                <a:cxn ang="0">
                  <a:pos x="4" y="2"/>
                </a:cxn>
                <a:cxn ang="0">
                  <a:pos x="2" y="7"/>
                </a:cxn>
                <a:cxn ang="0">
                  <a:pos x="4" y="11"/>
                </a:cxn>
                <a:cxn ang="0">
                  <a:pos x="2" y="20"/>
                </a:cxn>
                <a:cxn ang="0">
                  <a:pos x="0" y="11"/>
                </a:cxn>
                <a:cxn ang="0">
                  <a:pos x="0" y="9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4" y="2"/>
                </a:cxn>
              </a:cxnLst>
              <a:rect l="0" t="0" r="r" b="b"/>
              <a:pathLst>
                <a:path w="4" h="20">
                  <a:moveTo>
                    <a:pt x="4" y="2"/>
                  </a:moveTo>
                  <a:lnTo>
                    <a:pt x="2" y="7"/>
                  </a:lnTo>
                  <a:lnTo>
                    <a:pt x="4" y="11"/>
                  </a:lnTo>
                  <a:lnTo>
                    <a:pt x="2" y="20"/>
                  </a:lnTo>
                  <a:lnTo>
                    <a:pt x="0" y="11"/>
                  </a:lnTo>
                  <a:lnTo>
                    <a:pt x="0" y="9"/>
                  </a:lnTo>
                  <a:lnTo>
                    <a:pt x="2" y="0"/>
                  </a:lnTo>
                  <a:lnTo>
                    <a:pt x="4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9" name="Freeform 1225"/>
            <p:cNvSpPr>
              <a:spLocks/>
            </p:cNvSpPr>
            <p:nvPr/>
          </p:nvSpPr>
          <p:spPr bwMode="auto">
            <a:xfrm>
              <a:off x="4707355" y="3536739"/>
              <a:ext cx="270020" cy="286560"/>
            </a:xfrm>
            <a:custGeom>
              <a:avLst/>
              <a:gdLst/>
              <a:ahLst/>
              <a:cxnLst>
                <a:cxn ang="0">
                  <a:pos x="44" y="2"/>
                </a:cxn>
                <a:cxn ang="0">
                  <a:pos x="37" y="2"/>
                </a:cxn>
                <a:cxn ang="0">
                  <a:pos x="35" y="2"/>
                </a:cxn>
                <a:cxn ang="0">
                  <a:pos x="31" y="2"/>
                </a:cxn>
                <a:cxn ang="0">
                  <a:pos x="31" y="0"/>
                </a:cxn>
                <a:cxn ang="0">
                  <a:pos x="29" y="0"/>
                </a:cxn>
                <a:cxn ang="0">
                  <a:pos x="21" y="2"/>
                </a:cxn>
                <a:cxn ang="0">
                  <a:pos x="8" y="0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0" y="18"/>
                </a:cxn>
                <a:cxn ang="0">
                  <a:pos x="4" y="54"/>
                </a:cxn>
                <a:cxn ang="0">
                  <a:pos x="39" y="54"/>
                </a:cxn>
                <a:cxn ang="0">
                  <a:pos x="46" y="54"/>
                </a:cxn>
                <a:cxn ang="0">
                  <a:pos x="52" y="50"/>
                </a:cxn>
                <a:cxn ang="0">
                  <a:pos x="52" y="43"/>
                </a:cxn>
                <a:cxn ang="0">
                  <a:pos x="37" y="16"/>
                </a:cxn>
                <a:cxn ang="0">
                  <a:pos x="35" y="9"/>
                </a:cxn>
                <a:cxn ang="0">
                  <a:pos x="39" y="18"/>
                </a:cxn>
                <a:cxn ang="0">
                  <a:pos x="44" y="23"/>
                </a:cxn>
                <a:cxn ang="0">
                  <a:pos x="46" y="11"/>
                </a:cxn>
                <a:cxn ang="0">
                  <a:pos x="44" y="7"/>
                </a:cxn>
                <a:cxn ang="0">
                  <a:pos x="44" y="2"/>
                </a:cxn>
              </a:cxnLst>
              <a:rect l="0" t="0" r="r" b="b"/>
              <a:pathLst>
                <a:path w="52" h="54">
                  <a:moveTo>
                    <a:pt x="44" y="2"/>
                  </a:moveTo>
                  <a:lnTo>
                    <a:pt x="37" y="2"/>
                  </a:lnTo>
                  <a:lnTo>
                    <a:pt x="35" y="2"/>
                  </a:lnTo>
                  <a:lnTo>
                    <a:pt x="31" y="2"/>
                  </a:lnTo>
                  <a:lnTo>
                    <a:pt x="31" y="0"/>
                  </a:lnTo>
                  <a:lnTo>
                    <a:pt x="29" y="0"/>
                  </a:lnTo>
                  <a:lnTo>
                    <a:pt x="21" y="2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8"/>
                  </a:lnTo>
                  <a:lnTo>
                    <a:pt x="4" y="54"/>
                  </a:lnTo>
                  <a:lnTo>
                    <a:pt x="39" y="54"/>
                  </a:lnTo>
                  <a:lnTo>
                    <a:pt x="46" y="54"/>
                  </a:lnTo>
                  <a:lnTo>
                    <a:pt x="52" y="50"/>
                  </a:lnTo>
                  <a:lnTo>
                    <a:pt x="52" y="43"/>
                  </a:lnTo>
                  <a:lnTo>
                    <a:pt x="37" y="16"/>
                  </a:lnTo>
                  <a:lnTo>
                    <a:pt x="35" y="9"/>
                  </a:lnTo>
                  <a:lnTo>
                    <a:pt x="39" y="18"/>
                  </a:lnTo>
                  <a:lnTo>
                    <a:pt x="44" y="23"/>
                  </a:lnTo>
                  <a:lnTo>
                    <a:pt x="46" y="11"/>
                  </a:lnTo>
                  <a:lnTo>
                    <a:pt x="44" y="7"/>
                  </a:lnTo>
                  <a:lnTo>
                    <a:pt x="44" y="2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0" name="Freeform 1226"/>
            <p:cNvSpPr>
              <a:spLocks/>
            </p:cNvSpPr>
            <p:nvPr/>
          </p:nvSpPr>
          <p:spPr bwMode="auto">
            <a:xfrm>
              <a:off x="4935833" y="3955966"/>
              <a:ext cx="342717" cy="440454"/>
            </a:xfrm>
            <a:custGeom>
              <a:avLst/>
              <a:gdLst/>
              <a:ahLst/>
              <a:cxnLst>
                <a:cxn ang="0">
                  <a:pos x="16" y="76"/>
                </a:cxn>
                <a:cxn ang="0">
                  <a:pos x="22" y="83"/>
                </a:cxn>
                <a:cxn ang="0">
                  <a:pos x="27" y="83"/>
                </a:cxn>
                <a:cxn ang="0">
                  <a:pos x="35" y="81"/>
                </a:cxn>
                <a:cxn ang="0">
                  <a:pos x="39" y="81"/>
                </a:cxn>
                <a:cxn ang="0">
                  <a:pos x="48" y="76"/>
                </a:cxn>
                <a:cxn ang="0">
                  <a:pos x="56" y="74"/>
                </a:cxn>
                <a:cxn ang="0">
                  <a:pos x="66" y="58"/>
                </a:cxn>
                <a:cxn ang="0">
                  <a:pos x="64" y="58"/>
                </a:cxn>
                <a:cxn ang="0">
                  <a:pos x="50" y="52"/>
                </a:cxn>
                <a:cxn ang="0">
                  <a:pos x="43" y="43"/>
                </a:cxn>
                <a:cxn ang="0">
                  <a:pos x="43" y="40"/>
                </a:cxn>
                <a:cxn ang="0">
                  <a:pos x="39" y="40"/>
                </a:cxn>
                <a:cxn ang="0">
                  <a:pos x="41" y="34"/>
                </a:cxn>
                <a:cxn ang="0">
                  <a:pos x="43" y="31"/>
                </a:cxn>
                <a:cxn ang="0">
                  <a:pos x="35" y="18"/>
                </a:cxn>
                <a:cxn ang="0">
                  <a:pos x="27" y="13"/>
                </a:cxn>
                <a:cxn ang="0">
                  <a:pos x="22" y="0"/>
                </a:cxn>
                <a:cxn ang="0">
                  <a:pos x="22" y="4"/>
                </a:cxn>
                <a:cxn ang="0">
                  <a:pos x="16" y="7"/>
                </a:cxn>
                <a:cxn ang="0">
                  <a:pos x="12" y="29"/>
                </a:cxn>
                <a:cxn ang="0">
                  <a:pos x="4" y="43"/>
                </a:cxn>
                <a:cxn ang="0">
                  <a:pos x="2" y="56"/>
                </a:cxn>
                <a:cxn ang="0">
                  <a:pos x="0" y="56"/>
                </a:cxn>
                <a:cxn ang="0">
                  <a:pos x="0" y="58"/>
                </a:cxn>
                <a:cxn ang="0">
                  <a:pos x="2" y="61"/>
                </a:cxn>
                <a:cxn ang="0">
                  <a:pos x="8" y="70"/>
                </a:cxn>
                <a:cxn ang="0">
                  <a:pos x="10" y="74"/>
                </a:cxn>
                <a:cxn ang="0">
                  <a:pos x="10" y="76"/>
                </a:cxn>
                <a:cxn ang="0">
                  <a:pos x="12" y="76"/>
                </a:cxn>
                <a:cxn ang="0">
                  <a:pos x="16" y="76"/>
                </a:cxn>
              </a:cxnLst>
              <a:rect l="0" t="0" r="r" b="b"/>
              <a:pathLst>
                <a:path w="66" h="83">
                  <a:moveTo>
                    <a:pt x="16" y="76"/>
                  </a:moveTo>
                  <a:lnTo>
                    <a:pt x="22" y="83"/>
                  </a:lnTo>
                  <a:lnTo>
                    <a:pt x="27" y="83"/>
                  </a:lnTo>
                  <a:lnTo>
                    <a:pt x="35" y="81"/>
                  </a:lnTo>
                  <a:lnTo>
                    <a:pt x="39" y="81"/>
                  </a:lnTo>
                  <a:lnTo>
                    <a:pt x="48" y="76"/>
                  </a:lnTo>
                  <a:lnTo>
                    <a:pt x="56" y="74"/>
                  </a:lnTo>
                  <a:lnTo>
                    <a:pt x="66" y="58"/>
                  </a:lnTo>
                  <a:lnTo>
                    <a:pt x="64" y="58"/>
                  </a:lnTo>
                  <a:lnTo>
                    <a:pt x="50" y="52"/>
                  </a:lnTo>
                  <a:lnTo>
                    <a:pt x="43" y="43"/>
                  </a:lnTo>
                  <a:lnTo>
                    <a:pt x="43" y="40"/>
                  </a:lnTo>
                  <a:lnTo>
                    <a:pt x="39" y="40"/>
                  </a:lnTo>
                  <a:lnTo>
                    <a:pt x="41" y="34"/>
                  </a:lnTo>
                  <a:lnTo>
                    <a:pt x="43" y="31"/>
                  </a:lnTo>
                  <a:lnTo>
                    <a:pt x="35" y="18"/>
                  </a:lnTo>
                  <a:lnTo>
                    <a:pt x="27" y="13"/>
                  </a:lnTo>
                  <a:lnTo>
                    <a:pt x="22" y="0"/>
                  </a:lnTo>
                  <a:lnTo>
                    <a:pt x="22" y="4"/>
                  </a:lnTo>
                  <a:lnTo>
                    <a:pt x="16" y="7"/>
                  </a:lnTo>
                  <a:lnTo>
                    <a:pt x="12" y="29"/>
                  </a:lnTo>
                  <a:lnTo>
                    <a:pt x="4" y="43"/>
                  </a:lnTo>
                  <a:lnTo>
                    <a:pt x="2" y="56"/>
                  </a:lnTo>
                  <a:lnTo>
                    <a:pt x="0" y="56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8" y="70"/>
                  </a:lnTo>
                  <a:lnTo>
                    <a:pt x="10" y="74"/>
                  </a:lnTo>
                  <a:lnTo>
                    <a:pt x="10" y="76"/>
                  </a:lnTo>
                  <a:lnTo>
                    <a:pt x="12" y="76"/>
                  </a:lnTo>
                  <a:lnTo>
                    <a:pt x="16" y="76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1" name="Freeform 1227"/>
            <p:cNvSpPr>
              <a:spLocks/>
            </p:cNvSpPr>
            <p:nvPr/>
          </p:nvSpPr>
          <p:spPr bwMode="auto">
            <a:xfrm>
              <a:off x="4847558" y="4385807"/>
              <a:ext cx="129817" cy="153894"/>
            </a:xfrm>
            <a:custGeom>
              <a:avLst/>
              <a:gdLst/>
              <a:ahLst/>
              <a:cxnLst>
                <a:cxn ang="0">
                  <a:pos x="19" y="0"/>
                </a:cxn>
                <a:cxn ang="0">
                  <a:pos x="10" y="2"/>
                </a:cxn>
                <a:cxn ang="0">
                  <a:pos x="4" y="2"/>
                </a:cxn>
                <a:cxn ang="0">
                  <a:pos x="4" y="9"/>
                </a:cxn>
                <a:cxn ang="0">
                  <a:pos x="8" y="11"/>
                </a:cxn>
                <a:cxn ang="0">
                  <a:pos x="4" y="13"/>
                </a:cxn>
                <a:cxn ang="0">
                  <a:pos x="2" y="20"/>
                </a:cxn>
                <a:cxn ang="0">
                  <a:pos x="0" y="29"/>
                </a:cxn>
                <a:cxn ang="0">
                  <a:pos x="2" y="29"/>
                </a:cxn>
                <a:cxn ang="0">
                  <a:pos x="10" y="29"/>
                </a:cxn>
                <a:cxn ang="0">
                  <a:pos x="19" y="29"/>
                </a:cxn>
                <a:cxn ang="0">
                  <a:pos x="19" y="20"/>
                </a:cxn>
                <a:cxn ang="0">
                  <a:pos x="25" y="11"/>
                </a:cxn>
                <a:cxn ang="0">
                  <a:pos x="21" y="0"/>
                </a:cxn>
                <a:cxn ang="0">
                  <a:pos x="19" y="0"/>
                </a:cxn>
              </a:cxnLst>
              <a:rect l="0" t="0" r="r" b="b"/>
              <a:pathLst>
                <a:path w="25" h="29">
                  <a:moveTo>
                    <a:pt x="19" y="0"/>
                  </a:moveTo>
                  <a:lnTo>
                    <a:pt x="10" y="2"/>
                  </a:lnTo>
                  <a:lnTo>
                    <a:pt x="4" y="2"/>
                  </a:lnTo>
                  <a:lnTo>
                    <a:pt x="4" y="9"/>
                  </a:lnTo>
                  <a:lnTo>
                    <a:pt x="8" y="11"/>
                  </a:lnTo>
                  <a:lnTo>
                    <a:pt x="4" y="13"/>
                  </a:lnTo>
                  <a:lnTo>
                    <a:pt x="2" y="20"/>
                  </a:lnTo>
                  <a:lnTo>
                    <a:pt x="0" y="29"/>
                  </a:lnTo>
                  <a:lnTo>
                    <a:pt x="2" y="29"/>
                  </a:lnTo>
                  <a:lnTo>
                    <a:pt x="10" y="29"/>
                  </a:lnTo>
                  <a:lnTo>
                    <a:pt x="19" y="29"/>
                  </a:lnTo>
                  <a:lnTo>
                    <a:pt x="19" y="20"/>
                  </a:lnTo>
                  <a:lnTo>
                    <a:pt x="25" y="11"/>
                  </a:lnTo>
                  <a:lnTo>
                    <a:pt x="21" y="0"/>
                  </a:lnTo>
                  <a:lnTo>
                    <a:pt x="19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2" name="Freeform 1228"/>
            <p:cNvSpPr>
              <a:spLocks/>
            </p:cNvSpPr>
            <p:nvPr/>
          </p:nvSpPr>
          <p:spPr bwMode="auto">
            <a:xfrm>
              <a:off x="4946220" y="4359273"/>
              <a:ext cx="192130" cy="302480"/>
            </a:xfrm>
            <a:custGeom>
              <a:avLst/>
              <a:gdLst/>
              <a:ahLst/>
              <a:cxnLst>
                <a:cxn ang="0">
                  <a:pos x="20" y="50"/>
                </a:cxn>
                <a:cxn ang="0">
                  <a:pos x="16" y="43"/>
                </a:cxn>
                <a:cxn ang="0">
                  <a:pos x="2" y="34"/>
                </a:cxn>
                <a:cxn ang="0">
                  <a:pos x="0" y="34"/>
                </a:cxn>
                <a:cxn ang="0">
                  <a:pos x="0" y="25"/>
                </a:cxn>
                <a:cxn ang="0">
                  <a:pos x="6" y="16"/>
                </a:cxn>
                <a:cxn ang="0">
                  <a:pos x="2" y="5"/>
                </a:cxn>
                <a:cxn ang="0">
                  <a:pos x="0" y="5"/>
                </a:cxn>
                <a:cxn ang="0">
                  <a:pos x="2" y="0"/>
                </a:cxn>
                <a:cxn ang="0">
                  <a:pos x="8" y="0"/>
                </a:cxn>
                <a:cxn ang="0">
                  <a:pos x="14" y="0"/>
                </a:cxn>
                <a:cxn ang="0">
                  <a:pos x="20" y="7"/>
                </a:cxn>
                <a:cxn ang="0">
                  <a:pos x="25" y="7"/>
                </a:cxn>
                <a:cxn ang="0">
                  <a:pos x="33" y="5"/>
                </a:cxn>
                <a:cxn ang="0">
                  <a:pos x="37" y="5"/>
                </a:cxn>
                <a:cxn ang="0">
                  <a:pos x="33" y="14"/>
                </a:cxn>
                <a:cxn ang="0">
                  <a:pos x="33" y="32"/>
                </a:cxn>
                <a:cxn ang="0">
                  <a:pos x="37" y="36"/>
                </a:cxn>
                <a:cxn ang="0">
                  <a:pos x="31" y="43"/>
                </a:cxn>
                <a:cxn ang="0">
                  <a:pos x="31" y="41"/>
                </a:cxn>
                <a:cxn ang="0">
                  <a:pos x="31" y="48"/>
                </a:cxn>
                <a:cxn ang="0">
                  <a:pos x="25" y="57"/>
                </a:cxn>
                <a:cxn ang="0">
                  <a:pos x="23" y="54"/>
                </a:cxn>
                <a:cxn ang="0">
                  <a:pos x="20" y="50"/>
                </a:cxn>
              </a:cxnLst>
              <a:rect l="0" t="0" r="r" b="b"/>
              <a:pathLst>
                <a:path w="37" h="57">
                  <a:moveTo>
                    <a:pt x="20" y="50"/>
                  </a:moveTo>
                  <a:lnTo>
                    <a:pt x="16" y="43"/>
                  </a:lnTo>
                  <a:lnTo>
                    <a:pt x="2" y="34"/>
                  </a:lnTo>
                  <a:lnTo>
                    <a:pt x="0" y="34"/>
                  </a:lnTo>
                  <a:lnTo>
                    <a:pt x="0" y="25"/>
                  </a:lnTo>
                  <a:lnTo>
                    <a:pt x="6" y="16"/>
                  </a:lnTo>
                  <a:lnTo>
                    <a:pt x="2" y="5"/>
                  </a:lnTo>
                  <a:lnTo>
                    <a:pt x="0" y="5"/>
                  </a:lnTo>
                  <a:lnTo>
                    <a:pt x="2" y="0"/>
                  </a:lnTo>
                  <a:lnTo>
                    <a:pt x="8" y="0"/>
                  </a:lnTo>
                  <a:lnTo>
                    <a:pt x="14" y="0"/>
                  </a:lnTo>
                  <a:lnTo>
                    <a:pt x="20" y="7"/>
                  </a:lnTo>
                  <a:lnTo>
                    <a:pt x="25" y="7"/>
                  </a:lnTo>
                  <a:lnTo>
                    <a:pt x="33" y="5"/>
                  </a:lnTo>
                  <a:lnTo>
                    <a:pt x="37" y="5"/>
                  </a:lnTo>
                  <a:lnTo>
                    <a:pt x="33" y="14"/>
                  </a:lnTo>
                  <a:lnTo>
                    <a:pt x="33" y="32"/>
                  </a:lnTo>
                  <a:lnTo>
                    <a:pt x="37" y="36"/>
                  </a:lnTo>
                  <a:lnTo>
                    <a:pt x="31" y="43"/>
                  </a:lnTo>
                  <a:lnTo>
                    <a:pt x="31" y="41"/>
                  </a:lnTo>
                  <a:lnTo>
                    <a:pt x="31" y="48"/>
                  </a:lnTo>
                  <a:lnTo>
                    <a:pt x="25" y="57"/>
                  </a:lnTo>
                  <a:lnTo>
                    <a:pt x="23" y="54"/>
                  </a:lnTo>
                  <a:lnTo>
                    <a:pt x="20" y="5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3" name="Freeform 1229"/>
            <p:cNvSpPr>
              <a:spLocks/>
            </p:cNvSpPr>
            <p:nvPr/>
          </p:nvSpPr>
          <p:spPr bwMode="auto">
            <a:xfrm>
              <a:off x="4847558" y="4539700"/>
              <a:ext cx="259634" cy="32370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4" y="2"/>
                </a:cxn>
                <a:cxn ang="0">
                  <a:pos x="4" y="7"/>
                </a:cxn>
                <a:cxn ang="0">
                  <a:pos x="4" y="14"/>
                </a:cxn>
                <a:cxn ang="0">
                  <a:pos x="0" y="18"/>
                </a:cxn>
                <a:cxn ang="0">
                  <a:pos x="0" y="32"/>
                </a:cxn>
                <a:cxn ang="0">
                  <a:pos x="4" y="41"/>
                </a:cxn>
                <a:cxn ang="0">
                  <a:pos x="4" y="43"/>
                </a:cxn>
                <a:cxn ang="0">
                  <a:pos x="8" y="43"/>
                </a:cxn>
                <a:cxn ang="0">
                  <a:pos x="17" y="50"/>
                </a:cxn>
                <a:cxn ang="0">
                  <a:pos x="19" y="50"/>
                </a:cxn>
                <a:cxn ang="0">
                  <a:pos x="21" y="52"/>
                </a:cxn>
                <a:cxn ang="0">
                  <a:pos x="25" y="61"/>
                </a:cxn>
                <a:cxn ang="0">
                  <a:pos x="29" y="61"/>
                </a:cxn>
                <a:cxn ang="0">
                  <a:pos x="44" y="59"/>
                </a:cxn>
                <a:cxn ang="0">
                  <a:pos x="50" y="56"/>
                </a:cxn>
                <a:cxn ang="0">
                  <a:pos x="48" y="52"/>
                </a:cxn>
                <a:cxn ang="0">
                  <a:pos x="44" y="45"/>
                </a:cxn>
                <a:cxn ang="0">
                  <a:pos x="48" y="34"/>
                </a:cxn>
                <a:cxn ang="0">
                  <a:pos x="42" y="27"/>
                </a:cxn>
                <a:cxn ang="0">
                  <a:pos x="44" y="23"/>
                </a:cxn>
                <a:cxn ang="0">
                  <a:pos x="39" y="16"/>
                </a:cxn>
                <a:cxn ang="0">
                  <a:pos x="35" y="9"/>
                </a:cxn>
                <a:cxn ang="0">
                  <a:pos x="21" y="0"/>
                </a:cxn>
                <a:cxn ang="0">
                  <a:pos x="19" y="0"/>
                </a:cxn>
                <a:cxn ang="0">
                  <a:pos x="10" y="0"/>
                </a:cxn>
                <a:cxn ang="0">
                  <a:pos x="6" y="0"/>
                </a:cxn>
                <a:cxn ang="0">
                  <a:pos x="2" y="0"/>
                </a:cxn>
              </a:cxnLst>
              <a:rect l="0" t="0" r="r" b="b"/>
              <a:pathLst>
                <a:path w="50" h="61">
                  <a:moveTo>
                    <a:pt x="2" y="0"/>
                  </a:moveTo>
                  <a:lnTo>
                    <a:pt x="4" y="2"/>
                  </a:lnTo>
                  <a:lnTo>
                    <a:pt x="4" y="7"/>
                  </a:lnTo>
                  <a:lnTo>
                    <a:pt x="4" y="14"/>
                  </a:lnTo>
                  <a:lnTo>
                    <a:pt x="0" y="18"/>
                  </a:lnTo>
                  <a:lnTo>
                    <a:pt x="0" y="32"/>
                  </a:lnTo>
                  <a:lnTo>
                    <a:pt x="4" y="41"/>
                  </a:lnTo>
                  <a:lnTo>
                    <a:pt x="4" y="43"/>
                  </a:lnTo>
                  <a:lnTo>
                    <a:pt x="8" y="43"/>
                  </a:lnTo>
                  <a:lnTo>
                    <a:pt x="17" y="50"/>
                  </a:lnTo>
                  <a:lnTo>
                    <a:pt x="19" y="50"/>
                  </a:lnTo>
                  <a:lnTo>
                    <a:pt x="21" y="52"/>
                  </a:lnTo>
                  <a:lnTo>
                    <a:pt x="25" y="61"/>
                  </a:lnTo>
                  <a:lnTo>
                    <a:pt x="29" y="61"/>
                  </a:lnTo>
                  <a:lnTo>
                    <a:pt x="44" y="59"/>
                  </a:lnTo>
                  <a:lnTo>
                    <a:pt x="50" y="56"/>
                  </a:lnTo>
                  <a:lnTo>
                    <a:pt x="48" y="52"/>
                  </a:lnTo>
                  <a:lnTo>
                    <a:pt x="44" y="45"/>
                  </a:lnTo>
                  <a:lnTo>
                    <a:pt x="48" y="34"/>
                  </a:lnTo>
                  <a:lnTo>
                    <a:pt x="42" y="27"/>
                  </a:lnTo>
                  <a:lnTo>
                    <a:pt x="44" y="23"/>
                  </a:lnTo>
                  <a:lnTo>
                    <a:pt x="39" y="16"/>
                  </a:lnTo>
                  <a:lnTo>
                    <a:pt x="35" y="9"/>
                  </a:lnTo>
                  <a:lnTo>
                    <a:pt x="21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4" name="Freeform 1230"/>
            <p:cNvSpPr>
              <a:spLocks/>
            </p:cNvSpPr>
            <p:nvPr/>
          </p:nvSpPr>
          <p:spPr bwMode="auto">
            <a:xfrm>
              <a:off x="4650237" y="4757274"/>
              <a:ext cx="295983" cy="307787"/>
            </a:xfrm>
            <a:custGeom>
              <a:avLst/>
              <a:gdLst/>
              <a:ahLst/>
              <a:cxnLst>
                <a:cxn ang="0">
                  <a:pos x="34" y="45"/>
                </a:cxn>
                <a:cxn ang="0">
                  <a:pos x="32" y="47"/>
                </a:cxn>
                <a:cxn ang="0">
                  <a:pos x="23" y="58"/>
                </a:cxn>
                <a:cxn ang="0">
                  <a:pos x="15" y="58"/>
                </a:cxn>
                <a:cxn ang="0">
                  <a:pos x="9" y="54"/>
                </a:cxn>
                <a:cxn ang="0">
                  <a:pos x="7" y="54"/>
                </a:cxn>
                <a:cxn ang="0">
                  <a:pos x="0" y="47"/>
                </a:cxn>
                <a:cxn ang="0">
                  <a:pos x="0" y="29"/>
                </a:cxn>
                <a:cxn ang="0">
                  <a:pos x="11" y="27"/>
                </a:cxn>
                <a:cxn ang="0">
                  <a:pos x="9" y="27"/>
                </a:cxn>
                <a:cxn ang="0">
                  <a:pos x="11" y="15"/>
                </a:cxn>
                <a:cxn ang="0">
                  <a:pos x="19" y="20"/>
                </a:cxn>
                <a:cxn ang="0">
                  <a:pos x="23" y="20"/>
                </a:cxn>
                <a:cxn ang="0">
                  <a:pos x="32" y="27"/>
                </a:cxn>
                <a:cxn ang="0">
                  <a:pos x="38" y="29"/>
                </a:cxn>
                <a:cxn ang="0">
                  <a:pos x="38" y="24"/>
                </a:cxn>
                <a:cxn ang="0">
                  <a:pos x="34" y="24"/>
                </a:cxn>
                <a:cxn ang="0">
                  <a:pos x="32" y="20"/>
                </a:cxn>
                <a:cxn ang="0">
                  <a:pos x="34" y="4"/>
                </a:cxn>
                <a:cxn ang="0">
                  <a:pos x="34" y="2"/>
                </a:cxn>
                <a:cxn ang="0">
                  <a:pos x="40" y="0"/>
                </a:cxn>
                <a:cxn ang="0">
                  <a:pos x="42" y="0"/>
                </a:cxn>
                <a:cxn ang="0">
                  <a:pos x="42" y="2"/>
                </a:cxn>
                <a:cxn ang="0">
                  <a:pos x="46" y="2"/>
                </a:cxn>
                <a:cxn ang="0">
                  <a:pos x="55" y="9"/>
                </a:cxn>
                <a:cxn ang="0">
                  <a:pos x="57" y="15"/>
                </a:cxn>
                <a:cxn ang="0">
                  <a:pos x="55" y="20"/>
                </a:cxn>
                <a:cxn ang="0">
                  <a:pos x="55" y="24"/>
                </a:cxn>
                <a:cxn ang="0">
                  <a:pos x="50" y="33"/>
                </a:cxn>
                <a:cxn ang="0">
                  <a:pos x="55" y="33"/>
                </a:cxn>
                <a:cxn ang="0">
                  <a:pos x="40" y="38"/>
                </a:cxn>
                <a:cxn ang="0">
                  <a:pos x="40" y="42"/>
                </a:cxn>
                <a:cxn ang="0">
                  <a:pos x="36" y="45"/>
                </a:cxn>
                <a:cxn ang="0">
                  <a:pos x="34" y="45"/>
                </a:cxn>
              </a:cxnLst>
              <a:rect l="0" t="0" r="r" b="b"/>
              <a:pathLst>
                <a:path w="57" h="58">
                  <a:moveTo>
                    <a:pt x="34" y="45"/>
                  </a:moveTo>
                  <a:lnTo>
                    <a:pt x="32" y="47"/>
                  </a:lnTo>
                  <a:lnTo>
                    <a:pt x="23" y="58"/>
                  </a:lnTo>
                  <a:lnTo>
                    <a:pt x="15" y="58"/>
                  </a:lnTo>
                  <a:lnTo>
                    <a:pt x="9" y="54"/>
                  </a:lnTo>
                  <a:lnTo>
                    <a:pt x="7" y="54"/>
                  </a:lnTo>
                  <a:lnTo>
                    <a:pt x="0" y="47"/>
                  </a:lnTo>
                  <a:lnTo>
                    <a:pt x="0" y="29"/>
                  </a:lnTo>
                  <a:lnTo>
                    <a:pt x="11" y="27"/>
                  </a:lnTo>
                  <a:lnTo>
                    <a:pt x="9" y="27"/>
                  </a:lnTo>
                  <a:lnTo>
                    <a:pt x="11" y="15"/>
                  </a:lnTo>
                  <a:lnTo>
                    <a:pt x="19" y="20"/>
                  </a:lnTo>
                  <a:lnTo>
                    <a:pt x="23" y="20"/>
                  </a:lnTo>
                  <a:lnTo>
                    <a:pt x="32" y="27"/>
                  </a:lnTo>
                  <a:lnTo>
                    <a:pt x="38" y="29"/>
                  </a:lnTo>
                  <a:lnTo>
                    <a:pt x="38" y="24"/>
                  </a:lnTo>
                  <a:lnTo>
                    <a:pt x="34" y="24"/>
                  </a:lnTo>
                  <a:lnTo>
                    <a:pt x="32" y="20"/>
                  </a:lnTo>
                  <a:lnTo>
                    <a:pt x="34" y="4"/>
                  </a:lnTo>
                  <a:lnTo>
                    <a:pt x="34" y="2"/>
                  </a:lnTo>
                  <a:lnTo>
                    <a:pt x="40" y="0"/>
                  </a:lnTo>
                  <a:lnTo>
                    <a:pt x="42" y="0"/>
                  </a:lnTo>
                  <a:lnTo>
                    <a:pt x="42" y="2"/>
                  </a:lnTo>
                  <a:lnTo>
                    <a:pt x="46" y="2"/>
                  </a:lnTo>
                  <a:lnTo>
                    <a:pt x="55" y="9"/>
                  </a:lnTo>
                  <a:lnTo>
                    <a:pt x="57" y="15"/>
                  </a:lnTo>
                  <a:lnTo>
                    <a:pt x="55" y="20"/>
                  </a:lnTo>
                  <a:lnTo>
                    <a:pt x="55" y="24"/>
                  </a:lnTo>
                  <a:lnTo>
                    <a:pt x="50" y="33"/>
                  </a:lnTo>
                  <a:lnTo>
                    <a:pt x="55" y="33"/>
                  </a:lnTo>
                  <a:lnTo>
                    <a:pt x="40" y="38"/>
                  </a:lnTo>
                  <a:lnTo>
                    <a:pt x="40" y="42"/>
                  </a:lnTo>
                  <a:lnTo>
                    <a:pt x="36" y="45"/>
                  </a:lnTo>
                  <a:lnTo>
                    <a:pt x="34" y="45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5" name="Freeform 1231"/>
            <p:cNvSpPr>
              <a:spLocks/>
            </p:cNvSpPr>
            <p:nvPr/>
          </p:nvSpPr>
          <p:spPr bwMode="auto">
            <a:xfrm>
              <a:off x="4857944" y="4836874"/>
              <a:ext cx="249249" cy="482907"/>
            </a:xfrm>
            <a:custGeom>
              <a:avLst/>
              <a:gdLst/>
              <a:ahLst/>
              <a:cxnLst>
                <a:cxn ang="0">
                  <a:pos x="6" y="91"/>
                </a:cxn>
                <a:cxn ang="0">
                  <a:pos x="8" y="91"/>
                </a:cxn>
                <a:cxn ang="0">
                  <a:pos x="8" y="88"/>
                </a:cxn>
                <a:cxn ang="0">
                  <a:pos x="8" y="86"/>
                </a:cxn>
                <a:cxn ang="0">
                  <a:pos x="19" y="79"/>
                </a:cxn>
                <a:cxn ang="0">
                  <a:pos x="23" y="66"/>
                </a:cxn>
                <a:cxn ang="0">
                  <a:pos x="19" y="57"/>
                </a:cxn>
                <a:cxn ang="0">
                  <a:pos x="19" y="55"/>
                </a:cxn>
                <a:cxn ang="0">
                  <a:pos x="31" y="39"/>
                </a:cxn>
                <a:cxn ang="0">
                  <a:pos x="40" y="37"/>
                </a:cxn>
                <a:cxn ang="0">
                  <a:pos x="48" y="27"/>
                </a:cxn>
                <a:cxn ang="0">
                  <a:pos x="48" y="0"/>
                </a:cxn>
                <a:cxn ang="0">
                  <a:pos x="42" y="3"/>
                </a:cxn>
                <a:cxn ang="0">
                  <a:pos x="27" y="5"/>
                </a:cxn>
                <a:cxn ang="0">
                  <a:pos x="23" y="5"/>
                </a:cxn>
                <a:cxn ang="0">
                  <a:pos x="19" y="9"/>
                </a:cxn>
                <a:cxn ang="0">
                  <a:pos x="19" y="14"/>
                </a:cxn>
                <a:cxn ang="0">
                  <a:pos x="25" y="23"/>
                </a:cxn>
                <a:cxn ang="0">
                  <a:pos x="25" y="30"/>
                </a:cxn>
                <a:cxn ang="0">
                  <a:pos x="23" y="37"/>
                </a:cxn>
                <a:cxn ang="0">
                  <a:pos x="17" y="30"/>
                </a:cxn>
                <a:cxn ang="0">
                  <a:pos x="19" y="21"/>
                </a:cxn>
                <a:cxn ang="0">
                  <a:pos x="15" y="21"/>
                </a:cxn>
                <a:cxn ang="0">
                  <a:pos x="15" y="18"/>
                </a:cxn>
                <a:cxn ang="0">
                  <a:pos x="0" y="23"/>
                </a:cxn>
                <a:cxn ang="0">
                  <a:pos x="0" y="27"/>
                </a:cxn>
                <a:cxn ang="0">
                  <a:pos x="0" y="30"/>
                </a:cxn>
                <a:cxn ang="0">
                  <a:pos x="2" y="30"/>
                </a:cxn>
                <a:cxn ang="0">
                  <a:pos x="10" y="32"/>
                </a:cxn>
                <a:cxn ang="0">
                  <a:pos x="10" y="39"/>
                </a:cxn>
                <a:cxn ang="0">
                  <a:pos x="10" y="55"/>
                </a:cxn>
                <a:cxn ang="0">
                  <a:pos x="2" y="70"/>
                </a:cxn>
                <a:cxn ang="0">
                  <a:pos x="6" y="88"/>
                </a:cxn>
                <a:cxn ang="0">
                  <a:pos x="6" y="91"/>
                </a:cxn>
              </a:cxnLst>
              <a:rect l="0" t="0" r="r" b="b"/>
              <a:pathLst>
                <a:path w="48" h="91">
                  <a:moveTo>
                    <a:pt x="6" y="91"/>
                  </a:moveTo>
                  <a:lnTo>
                    <a:pt x="8" y="91"/>
                  </a:lnTo>
                  <a:lnTo>
                    <a:pt x="8" y="88"/>
                  </a:lnTo>
                  <a:lnTo>
                    <a:pt x="8" y="86"/>
                  </a:lnTo>
                  <a:lnTo>
                    <a:pt x="19" y="79"/>
                  </a:lnTo>
                  <a:lnTo>
                    <a:pt x="23" y="66"/>
                  </a:lnTo>
                  <a:lnTo>
                    <a:pt x="19" y="57"/>
                  </a:lnTo>
                  <a:lnTo>
                    <a:pt x="19" y="55"/>
                  </a:lnTo>
                  <a:lnTo>
                    <a:pt x="31" y="39"/>
                  </a:lnTo>
                  <a:lnTo>
                    <a:pt x="40" y="37"/>
                  </a:lnTo>
                  <a:lnTo>
                    <a:pt x="48" y="27"/>
                  </a:lnTo>
                  <a:lnTo>
                    <a:pt x="48" y="0"/>
                  </a:lnTo>
                  <a:lnTo>
                    <a:pt x="42" y="3"/>
                  </a:lnTo>
                  <a:lnTo>
                    <a:pt x="27" y="5"/>
                  </a:lnTo>
                  <a:lnTo>
                    <a:pt x="23" y="5"/>
                  </a:lnTo>
                  <a:lnTo>
                    <a:pt x="19" y="9"/>
                  </a:lnTo>
                  <a:lnTo>
                    <a:pt x="19" y="14"/>
                  </a:lnTo>
                  <a:lnTo>
                    <a:pt x="25" y="23"/>
                  </a:lnTo>
                  <a:lnTo>
                    <a:pt x="25" y="30"/>
                  </a:lnTo>
                  <a:lnTo>
                    <a:pt x="23" y="37"/>
                  </a:lnTo>
                  <a:lnTo>
                    <a:pt x="17" y="30"/>
                  </a:lnTo>
                  <a:lnTo>
                    <a:pt x="19" y="21"/>
                  </a:lnTo>
                  <a:lnTo>
                    <a:pt x="15" y="21"/>
                  </a:lnTo>
                  <a:lnTo>
                    <a:pt x="15" y="18"/>
                  </a:lnTo>
                  <a:lnTo>
                    <a:pt x="0" y="23"/>
                  </a:lnTo>
                  <a:lnTo>
                    <a:pt x="0" y="27"/>
                  </a:lnTo>
                  <a:lnTo>
                    <a:pt x="0" y="30"/>
                  </a:lnTo>
                  <a:lnTo>
                    <a:pt x="2" y="30"/>
                  </a:lnTo>
                  <a:lnTo>
                    <a:pt x="10" y="32"/>
                  </a:lnTo>
                  <a:lnTo>
                    <a:pt x="10" y="39"/>
                  </a:lnTo>
                  <a:lnTo>
                    <a:pt x="10" y="55"/>
                  </a:lnTo>
                  <a:lnTo>
                    <a:pt x="2" y="70"/>
                  </a:lnTo>
                  <a:lnTo>
                    <a:pt x="6" y="88"/>
                  </a:lnTo>
                  <a:lnTo>
                    <a:pt x="6" y="91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76" name="Freeform 1232"/>
            <p:cNvSpPr>
              <a:spLocks/>
            </p:cNvSpPr>
            <p:nvPr/>
          </p:nvSpPr>
          <p:spPr bwMode="auto">
            <a:xfrm>
              <a:off x="4909871" y="4805034"/>
              <a:ext cx="77890" cy="228187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7" y="6"/>
                </a:cxn>
                <a:cxn ang="0">
                  <a:pos x="5" y="11"/>
                </a:cxn>
                <a:cxn ang="0">
                  <a:pos x="5" y="15"/>
                </a:cxn>
                <a:cxn ang="0">
                  <a:pos x="0" y="24"/>
                </a:cxn>
                <a:cxn ang="0">
                  <a:pos x="5" y="24"/>
                </a:cxn>
                <a:cxn ang="0">
                  <a:pos x="5" y="27"/>
                </a:cxn>
                <a:cxn ang="0">
                  <a:pos x="9" y="27"/>
                </a:cxn>
                <a:cxn ang="0">
                  <a:pos x="7" y="36"/>
                </a:cxn>
                <a:cxn ang="0">
                  <a:pos x="13" y="43"/>
                </a:cxn>
                <a:cxn ang="0">
                  <a:pos x="15" y="36"/>
                </a:cxn>
                <a:cxn ang="0">
                  <a:pos x="15" y="29"/>
                </a:cxn>
                <a:cxn ang="0">
                  <a:pos x="9" y="20"/>
                </a:cxn>
                <a:cxn ang="0">
                  <a:pos x="9" y="15"/>
                </a:cxn>
                <a:cxn ang="0">
                  <a:pos x="13" y="11"/>
                </a:cxn>
                <a:cxn ang="0">
                  <a:pos x="9" y="2"/>
                </a:cxn>
                <a:cxn ang="0">
                  <a:pos x="7" y="0"/>
                </a:cxn>
                <a:cxn ang="0">
                  <a:pos x="5" y="0"/>
                </a:cxn>
              </a:cxnLst>
              <a:rect l="0" t="0" r="r" b="b"/>
              <a:pathLst>
                <a:path w="15" h="43">
                  <a:moveTo>
                    <a:pt x="5" y="0"/>
                  </a:moveTo>
                  <a:lnTo>
                    <a:pt x="7" y="6"/>
                  </a:lnTo>
                  <a:lnTo>
                    <a:pt x="5" y="11"/>
                  </a:lnTo>
                  <a:lnTo>
                    <a:pt x="5" y="15"/>
                  </a:lnTo>
                  <a:lnTo>
                    <a:pt x="0" y="24"/>
                  </a:lnTo>
                  <a:lnTo>
                    <a:pt x="5" y="24"/>
                  </a:lnTo>
                  <a:lnTo>
                    <a:pt x="5" y="27"/>
                  </a:lnTo>
                  <a:lnTo>
                    <a:pt x="9" y="27"/>
                  </a:lnTo>
                  <a:lnTo>
                    <a:pt x="7" y="36"/>
                  </a:lnTo>
                  <a:lnTo>
                    <a:pt x="13" y="43"/>
                  </a:lnTo>
                  <a:lnTo>
                    <a:pt x="15" y="36"/>
                  </a:lnTo>
                  <a:lnTo>
                    <a:pt x="15" y="29"/>
                  </a:lnTo>
                  <a:lnTo>
                    <a:pt x="9" y="20"/>
                  </a:lnTo>
                  <a:lnTo>
                    <a:pt x="9" y="15"/>
                  </a:lnTo>
                  <a:lnTo>
                    <a:pt x="13" y="11"/>
                  </a:lnTo>
                  <a:lnTo>
                    <a:pt x="9" y="2"/>
                  </a:lnTo>
                  <a:lnTo>
                    <a:pt x="7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7" name="Freeform 1233"/>
            <p:cNvSpPr>
              <a:spLocks/>
            </p:cNvSpPr>
            <p:nvPr/>
          </p:nvSpPr>
          <p:spPr bwMode="auto">
            <a:xfrm>
              <a:off x="4728126" y="4980154"/>
              <a:ext cx="181743" cy="228187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12" y="37"/>
                </a:cxn>
                <a:cxn ang="0">
                  <a:pos x="10" y="30"/>
                </a:cxn>
                <a:cxn ang="0">
                  <a:pos x="4" y="25"/>
                </a:cxn>
                <a:cxn ang="0">
                  <a:pos x="0" y="16"/>
                </a:cxn>
                <a:cxn ang="0">
                  <a:pos x="8" y="16"/>
                </a:cxn>
                <a:cxn ang="0">
                  <a:pos x="17" y="5"/>
                </a:cxn>
                <a:cxn ang="0">
                  <a:pos x="19" y="3"/>
                </a:cxn>
                <a:cxn ang="0">
                  <a:pos x="25" y="0"/>
                </a:cxn>
                <a:cxn ang="0">
                  <a:pos x="25" y="3"/>
                </a:cxn>
                <a:cxn ang="0">
                  <a:pos x="27" y="3"/>
                </a:cxn>
                <a:cxn ang="0">
                  <a:pos x="35" y="5"/>
                </a:cxn>
                <a:cxn ang="0">
                  <a:pos x="35" y="12"/>
                </a:cxn>
                <a:cxn ang="0">
                  <a:pos x="35" y="28"/>
                </a:cxn>
                <a:cxn ang="0">
                  <a:pos x="27" y="43"/>
                </a:cxn>
                <a:cxn ang="0">
                  <a:pos x="25" y="39"/>
                </a:cxn>
                <a:cxn ang="0">
                  <a:pos x="21" y="39"/>
                </a:cxn>
                <a:cxn ang="0">
                  <a:pos x="19" y="39"/>
                </a:cxn>
              </a:cxnLst>
              <a:rect l="0" t="0" r="r" b="b"/>
              <a:pathLst>
                <a:path w="35" h="43">
                  <a:moveTo>
                    <a:pt x="19" y="39"/>
                  </a:moveTo>
                  <a:lnTo>
                    <a:pt x="12" y="37"/>
                  </a:lnTo>
                  <a:lnTo>
                    <a:pt x="10" y="30"/>
                  </a:lnTo>
                  <a:lnTo>
                    <a:pt x="4" y="25"/>
                  </a:lnTo>
                  <a:lnTo>
                    <a:pt x="0" y="16"/>
                  </a:lnTo>
                  <a:lnTo>
                    <a:pt x="8" y="16"/>
                  </a:lnTo>
                  <a:lnTo>
                    <a:pt x="17" y="5"/>
                  </a:lnTo>
                  <a:lnTo>
                    <a:pt x="19" y="3"/>
                  </a:lnTo>
                  <a:lnTo>
                    <a:pt x="25" y="0"/>
                  </a:lnTo>
                  <a:lnTo>
                    <a:pt x="25" y="3"/>
                  </a:lnTo>
                  <a:lnTo>
                    <a:pt x="27" y="3"/>
                  </a:lnTo>
                  <a:lnTo>
                    <a:pt x="35" y="5"/>
                  </a:lnTo>
                  <a:lnTo>
                    <a:pt x="35" y="12"/>
                  </a:lnTo>
                  <a:lnTo>
                    <a:pt x="35" y="28"/>
                  </a:lnTo>
                  <a:lnTo>
                    <a:pt x="27" y="43"/>
                  </a:lnTo>
                  <a:lnTo>
                    <a:pt x="25" y="39"/>
                  </a:lnTo>
                  <a:lnTo>
                    <a:pt x="21" y="39"/>
                  </a:lnTo>
                  <a:lnTo>
                    <a:pt x="19" y="39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8" name="Freeform 1234"/>
            <p:cNvSpPr>
              <a:spLocks/>
            </p:cNvSpPr>
            <p:nvPr/>
          </p:nvSpPr>
          <p:spPr bwMode="auto">
            <a:xfrm>
              <a:off x="4520418" y="5187115"/>
              <a:ext cx="379066" cy="392694"/>
            </a:xfrm>
            <a:custGeom>
              <a:avLst/>
              <a:gdLst/>
              <a:ahLst/>
              <a:cxnLst>
                <a:cxn ang="0">
                  <a:pos x="59" y="0"/>
                </a:cxn>
                <a:cxn ang="0">
                  <a:pos x="65" y="0"/>
                </a:cxn>
                <a:cxn ang="0">
                  <a:pos x="67" y="4"/>
                </a:cxn>
                <a:cxn ang="0">
                  <a:pos x="71" y="22"/>
                </a:cxn>
                <a:cxn ang="0">
                  <a:pos x="67" y="22"/>
                </a:cxn>
                <a:cxn ang="0">
                  <a:pos x="65" y="29"/>
                </a:cxn>
                <a:cxn ang="0">
                  <a:pos x="67" y="29"/>
                </a:cxn>
                <a:cxn ang="0">
                  <a:pos x="71" y="25"/>
                </a:cxn>
                <a:cxn ang="0">
                  <a:pos x="73" y="25"/>
                </a:cxn>
                <a:cxn ang="0">
                  <a:pos x="73" y="29"/>
                </a:cxn>
                <a:cxn ang="0">
                  <a:pos x="71" y="38"/>
                </a:cxn>
                <a:cxn ang="0">
                  <a:pos x="67" y="40"/>
                </a:cxn>
                <a:cxn ang="0">
                  <a:pos x="63" y="49"/>
                </a:cxn>
                <a:cxn ang="0">
                  <a:pos x="52" y="63"/>
                </a:cxn>
                <a:cxn ang="0">
                  <a:pos x="44" y="67"/>
                </a:cxn>
                <a:cxn ang="0">
                  <a:pos x="36" y="72"/>
                </a:cxn>
                <a:cxn ang="0">
                  <a:pos x="25" y="67"/>
                </a:cxn>
                <a:cxn ang="0">
                  <a:pos x="15" y="74"/>
                </a:cxn>
                <a:cxn ang="0">
                  <a:pos x="11" y="74"/>
                </a:cxn>
                <a:cxn ang="0">
                  <a:pos x="9" y="67"/>
                </a:cxn>
                <a:cxn ang="0">
                  <a:pos x="9" y="72"/>
                </a:cxn>
                <a:cxn ang="0">
                  <a:pos x="4" y="63"/>
                </a:cxn>
                <a:cxn ang="0">
                  <a:pos x="9" y="63"/>
                </a:cxn>
                <a:cxn ang="0">
                  <a:pos x="4" y="56"/>
                </a:cxn>
                <a:cxn ang="0">
                  <a:pos x="0" y="40"/>
                </a:cxn>
                <a:cxn ang="0">
                  <a:pos x="0" y="38"/>
                </a:cxn>
                <a:cxn ang="0">
                  <a:pos x="0" y="34"/>
                </a:cxn>
                <a:cxn ang="0">
                  <a:pos x="2" y="38"/>
                </a:cxn>
                <a:cxn ang="0">
                  <a:pos x="4" y="40"/>
                </a:cxn>
                <a:cxn ang="0">
                  <a:pos x="11" y="40"/>
                </a:cxn>
                <a:cxn ang="0">
                  <a:pos x="15" y="38"/>
                </a:cxn>
                <a:cxn ang="0">
                  <a:pos x="15" y="16"/>
                </a:cxn>
                <a:cxn ang="0">
                  <a:pos x="19" y="20"/>
                </a:cxn>
                <a:cxn ang="0">
                  <a:pos x="17" y="25"/>
                </a:cxn>
                <a:cxn ang="0">
                  <a:pos x="19" y="29"/>
                </a:cxn>
                <a:cxn ang="0">
                  <a:pos x="25" y="25"/>
                </a:cxn>
                <a:cxn ang="0">
                  <a:pos x="32" y="20"/>
                </a:cxn>
                <a:cxn ang="0">
                  <a:pos x="36" y="20"/>
                </a:cxn>
                <a:cxn ang="0">
                  <a:pos x="40" y="20"/>
                </a:cxn>
                <a:cxn ang="0">
                  <a:pos x="50" y="7"/>
                </a:cxn>
                <a:cxn ang="0">
                  <a:pos x="54" y="4"/>
                </a:cxn>
                <a:cxn ang="0">
                  <a:pos x="59" y="0"/>
                </a:cxn>
              </a:cxnLst>
              <a:rect l="0" t="0" r="r" b="b"/>
              <a:pathLst>
                <a:path w="73" h="74">
                  <a:moveTo>
                    <a:pt x="59" y="0"/>
                  </a:moveTo>
                  <a:lnTo>
                    <a:pt x="65" y="0"/>
                  </a:lnTo>
                  <a:lnTo>
                    <a:pt x="67" y="4"/>
                  </a:lnTo>
                  <a:lnTo>
                    <a:pt x="71" y="22"/>
                  </a:lnTo>
                  <a:lnTo>
                    <a:pt x="67" y="22"/>
                  </a:lnTo>
                  <a:lnTo>
                    <a:pt x="65" y="29"/>
                  </a:lnTo>
                  <a:lnTo>
                    <a:pt x="67" y="29"/>
                  </a:lnTo>
                  <a:lnTo>
                    <a:pt x="71" y="25"/>
                  </a:lnTo>
                  <a:lnTo>
                    <a:pt x="73" y="25"/>
                  </a:lnTo>
                  <a:lnTo>
                    <a:pt x="73" y="29"/>
                  </a:lnTo>
                  <a:lnTo>
                    <a:pt x="71" y="38"/>
                  </a:lnTo>
                  <a:lnTo>
                    <a:pt x="67" y="40"/>
                  </a:lnTo>
                  <a:lnTo>
                    <a:pt x="63" y="49"/>
                  </a:lnTo>
                  <a:lnTo>
                    <a:pt x="52" y="63"/>
                  </a:lnTo>
                  <a:lnTo>
                    <a:pt x="44" y="67"/>
                  </a:lnTo>
                  <a:lnTo>
                    <a:pt x="36" y="72"/>
                  </a:lnTo>
                  <a:lnTo>
                    <a:pt x="25" y="67"/>
                  </a:lnTo>
                  <a:lnTo>
                    <a:pt x="15" y="74"/>
                  </a:lnTo>
                  <a:lnTo>
                    <a:pt x="11" y="74"/>
                  </a:lnTo>
                  <a:lnTo>
                    <a:pt x="9" y="67"/>
                  </a:lnTo>
                  <a:lnTo>
                    <a:pt x="9" y="72"/>
                  </a:lnTo>
                  <a:lnTo>
                    <a:pt x="4" y="63"/>
                  </a:lnTo>
                  <a:lnTo>
                    <a:pt x="9" y="63"/>
                  </a:lnTo>
                  <a:lnTo>
                    <a:pt x="4" y="56"/>
                  </a:lnTo>
                  <a:lnTo>
                    <a:pt x="0" y="40"/>
                  </a:lnTo>
                  <a:lnTo>
                    <a:pt x="0" y="38"/>
                  </a:lnTo>
                  <a:lnTo>
                    <a:pt x="0" y="34"/>
                  </a:lnTo>
                  <a:lnTo>
                    <a:pt x="2" y="38"/>
                  </a:lnTo>
                  <a:lnTo>
                    <a:pt x="4" y="40"/>
                  </a:lnTo>
                  <a:lnTo>
                    <a:pt x="11" y="40"/>
                  </a:lnTo>
                  <a:lnTo>
                    <a:pt x="15" y="38"/>
                  </a:lnTo>
                  <a:lnTo>
                    <a:pt x="15" y="16"/>
                  </a:lnTo>
                  <a:lnTo>
                    <a:pt x="19" y="20"/>
                  </a:lnTo>
                  <a:lnTo>
                    <a:pt x="17" y="25"/>
                  </a:lnTo>
                  <a:lnTo>
                    <a:pt x="19" y="29"/>
                  </a:lnTo>
                  <a:lnTo>
                    <a:pt x="25" y="25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50" y="7"/>
                  </a:lnTo>
                  <a:lnTo>
                    <a:pt x="54" y="4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9" name="Freeform 1235"/>
            <p:cNvSpPr>
              <a:spLocks/>
            </p:cNvSpPr>
            <p:nvPr/>
          </p:nvSpPr>
          <p:spPr bwMode="auto">
            <a:xfrm>
              <a:off x="4400987" y="5033221"/>
              <a:ext cx="327140" cy="366161"/>
            </a:xfrm>
            <a:custGeom>
              <a:avLst/>
              <a:gdLst/>
              <a:ahLst/>
              <a:cxnLst>
                <a:cxn ang="0">
                  <a:pos x="38" y="45"/>
                </a:cxn>
                <a:cxn ang="0">
                  <a:pos x="38" y="29"/>
                </a:cxn>
                <a:cxn ang="0">
                  <a:pos x="42" y="27"/>
                </a:cxn>
                <a:cxn ang="0">
                  <a:pos x="42" y="9"/>
                </a:cxn>
                <a:cxn ang="0">
                  <a:pos x="55" y="6"/>
                </a:cxn>
                <a:cxn ang="0">
                  <a:pos x="55" y="9"/>
                </a:cxn>
                <a:cxn ang="0">
                  <a:pos x="57" y="6"/>
                </a:cxn>
                <a:cxn ang="0">
                  <a:pos x="63" y="6"/>
                </a:cxn>
                <a:cxn ang="0">
                  <a:pos x="57" y="2"/>
                </a:cxn>
                <a:cxn ang="0">
                  <a:pos x="55" y="2"/>
                </a:cxn>
                <a:cxn ang="0">
                  <a:pos x="46" y="6"/>
                </a:cxn>
                <a:cxn ang="0">
                  <a:pos x="34" y="6"/>
                </a:cxn>
                <a:cxn ang="0">
                  <a:pos x="32" y="2"/>
                </a:cxn>
                <a:cxn ang="0">
                  <a:pos x="11" y="2"/>
                </a:cxn>
                <a:cxn ang="0">
                  <a:pos x="9" y="0"/>
                </a:cxn>
                <a:cxn ang="0">
                  <a:pos x="0" y="2"/>
                </a:cxn>
                <a:cxn ang="0">
                  <a:pos x="0" y="6"/>
                </a:cxn>
                <a:cxn ang="0">
                  <a:pos x="15" y="29"/>
                </a:cxn>
                <a:cxn ang="0">
                  <a:pos x="15" y="38"/>
                </a:cxn>
                <a:cxn ang="0">
                  <a:pos x="17" y="60"/>
                </a:cxn>
                <a:cxn ang="0">
                  <a:pos x="23" y="67"/>
                </a:cxn>
                <a:cxn ang="0">
                  <a:pos x="23" y="63"/>
                </a:cxn>
                <a:cxn ang="0">
                  <a:pos x="25" y="67"/>
                </a:cxn>
                <a:cxn ang="0">
                  <a:pos x="27" y="69"/>
                </a:cxn>
                <a:cxn ang="0">
                  <a:pos x="34" y="69"/>
                </a:cxn>
                <a:cxn ang="0">
                  <a:pos x="38" y="67"/>
                </a:cxn>
                <a:cxn ang="0">
                  <a:pos x="38" y="56"/>
                </a:cxn>
                <a:cxn ang="0">
                  <a:pos x="38" y="45"/>
                </a:cxn>
              </a:cxnLst>
              <a:rect l="0" t="0" r="r" b="b"/>
              <a:pathLst>
                <a:path w="63" h="69">
                  <a:moveTo>
                    <a:pt x="38" y="45"/>
                  </a:moveTo>
                  <a:lnTo>
                    <a:pt x="38" y="29"/>
                  </a:lnTo>
                  <a:lnTo>
                    <a:pt x="42" y="27"/>
                  </a:lnTo>
                  <a:lnTo>
                    <a:pt x="42" y="9"/>
                  </a:lnTo>
                  <a:lnTo>
                    <a:pt x="55" y="6"/>
                  </a:lnTo>
                  <a:lnTo>
                    <a:pt x="55" y="9"/>
                  </a:lnTo>
                  <a:lnTo>
                    <a:pt x="57" y="6"/>
                  </a:lnTo>
                  <a:lnTo>
                    <a:pt x="63" y="6"/>
                  </a:lnTo>
                  <a:lnTo>
                    <a:pt x="57" y="2"/>
                  </a:lnTo>
                  <a:lnTo>
                    <a:pt x="55" y="2"/>
                  </a:lnTo>
                  <a:lnTo>
                    <a:pt x="46" y="6"/>
                  </a:lnTo>
                  <a:lnTo>
                    <a:pt x="34" y="6"/>
                  </a:lnTo>
                  <a:lnTo>
                    <a:pt x="32" y="2"/>
                  </a:lnTo>
                  <a:lnTo>
                    <a:pt x="11" y="2"/>
                  </a:lnTo>
                  <a:lnTo>
                    <a:pt x="9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15" y="29"/>
                  </a:lnTo>
                  <a:lnTo>
                    <a:pt x="15" y="38"/>
                  </a:lnTo>
                  <a:lnTo>
                    <a:pt x="17" y="60"/>
                  </a:lnTo>
                  <a:lnTo>
                    <a:pt x="23" y="67"/>
                  </a:lnTo>
                  <a:lnTo>
                    <a:pt x="23" y="63"/>
                  </a:lnTo>
                  <a:lnTo>
                    <a:pt x="25" y="67"/>
                  </a:lnTo>
                  <a:lnTo>
                    <a:pt x="27" y="69"/>
                  </a:lnTo>
                  <a:lnTo>
                    <a:pt x="34" y="69"/>
                  </a:lnTo>
                  <a:lnTo>
                    <a:pt x="38" y="67"/>
                  </a:lnTo>
                  <a:lnTo>
                    <a:pt x="38" y="56"/>
                  </a:lnTo>
                  <a:lnTo>
                    <a:pt x="38" y="45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0" name="Freeform 1236"/>
            <p:cNvSpPr>
              <a:spLocks/>
            </p:cNvSpPr>
            <p:nvPr/>
          </p:nvSpPr>
          <p:spPr bwMode="auto">
            <a:xfrm>
              <a:off x="4400987" y="4682981"/>
              <a:ext cx="306369" cy="382081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9" y="0"/>
                </a:cxn>
                <a:cxn ang="0">
                  <a:pos x="23" y="0"/>
                </a:cxn>
                <a:cxn ang="0">
                  <a:pos x="25" y="9"/>
                </a:cxn>
                <a:cxn ang="0">
                  <a:pos x="27" y="14"/>
                </a:cxn>
                <a:cxn ang="0">
                  <a:pos x="38" y="14"/>
                </a:cxn>
                <a:cxn ang="0">
                  <a:pos x="38" y="7"/>
                </a:cxn>
                <a:cxn ang="0">
                  <a:pos x="42" y="7"/>
                </a:cxn>
                <a:cxn ang="0">
                  <a:pos x="48" y="9"/>
                </a:cxn>
                <a:cxn ang="0">
                  <a:pos x="48" y="23"/>
                </a:cxn>
                <a:cxn ang="0">
                  <a:pos x="50" y="29"/>
                </a:cxn>
                <a:cxn ang="0">
                  <a:pos x="48" y="32"/>
                </a:cxn>
                <a:cxn ang="0">
                  <a:pos x="59" y="29"/>
                </a:cxn>
                <a:cxn ang="0">
                  <a:pos x="57" y="41"/>
                </a:cxn>
                <a:cxn ang="0">
                  <a:pos x="59" y="41"/>
                </a:cxn>
                <a:cxn ang="0">
                  <a:pos x="48" y="43"/>
                </a:cxn>
                <a:cxn ang="0">
                  <a:pos x="48" y="61"/>
                </a:cxn>
                <a:cxn ang="0">
                  <a:pos x="55" y="68"/>
                </a:cxn>
                <a:cxn ang="0">
                  <a:pos x="46" y="72"/>
                </a:cxn>
                <a:cxn ang="0">
                  <a:pos x="34" y="72"/>
                </a:cxn>
                <a:cxn ang="0">
                  <a:pos x="32" y="68"/>
                </a:cxn>
                <a:cxn ang="0">
                  <a:pos x="11" y="68"/>
                </a:cxn>
                <a:cxn ang="0">
                  <a:pos x="9" y="66"/>
                </a:cxn>
                <a:cxn ang="0">
                  <a:pos x="0" y="68"/>
                </a:cxn>
                <a:cxn ang="0">
                  <a:pos x="0" y="59"/>
                </a:cxn>
                <a:cxn ang="0">
                  <a:pos x="7" y="43"/>
                </a:cxn>
                <a:cxn ang="0">
                  <a:pos x="9" y="38"/>
                </a:cxn>
                <a:cxn ang="0">
                  <a:pos x="11" y="32"/>
                </a:cxn>
                <a:cxn ang="0">
                  <a:pos x="7" y="18"/>
                </a:cxn>
                <a:cxn ang="0">
                  <a:pos x="9" y="16"/>
                </a:cxn>
                <a:cxn ang="0">
                  <a:pos x="2" y="5"/>
                </a:cxn>
                <a:cxn ang="0">
                  <a:pos x="4" y="2"/>
                </a:cxn>
                <a:cxn ang="0">
                  <a:pos x="9" y="0"/>
                </a:cxn>
              </a:cxnLst>
              <a:rect l="0" t="0" r="r" b="b"/>
              <a:pathLst>
                <a:path w="59" h="72">
                  <a:moveTo>
                    <a:pt x="9" y="0"/>
                  </a:moveTo>
                  <a:lnTo>
                    <a:pt x="19" y="0"/>
                  </a:lnTo>
                  <a:lnTo>
                    <a:pt x="23" y="0"/>
                  </a:lnTo>
                  <a:lnTo>
                    <a:pt x="25" y="9"/>
                  </a:lnTo>
                  <a:lnTo>
                    <a:pt x="27" y="14"/>
                  </a:lnTo>
                  <a:lnTo>
                    <a:pt x="38" y="14"/>
                  </a:lnTo>
                  <a:lnTo>
                    <a:pt x="38" y="7"/>
                  </a:lnTo>
                  <a:lnTo>
                    <a:pt x="42" y="7"/>
                  </a:lnTo>
                  <a:lnTo>
                    <a:pt x="48" y="9"/>
                  </a:lnTo>
                  <a:lnTo>
                    <a:pt x="48" y="23"/>
                  </a:lnTo>
                  <a:lnTo>
                    <a:pt x="50" y="29"/>
                  </a:lnTo>
                  <a:lnTo>
                    <a:pt x="48" y="32"/>
                  </a:lnTo>
                  <a:lnTo>
                    <a:pt x="59" y="29"/>
                  </a:lnTo>
                  <a:lnTo>
                    <a:pt x="57" y="41"/>
                  </a:lnTo>
                  <a:lnTo>
                    <a:pt x="59" y="41"/>
                  </a:lnTo>
                  <a:lnTo>
                    <a:pt x="48" y="43"/>
                  </a:lnTo>
                  <a:lnTo>
                    <a:pt x="48" y="61"/>
                  </a:lnTo>
                  <a:lnTo>
                    <a:pt x="55" y="68"/>
                  </a:lnTo>
                  <a:lnTo>
                    <a:pt x="46" y="72"/>
                  </a:lnTo>
                  <a:lnTo>
                    <a:pt x="34" y="72"/>
                  </a:lnTo>
                  <a:lnTo>
                    <a:pt x="32" y="68"/>
                  </a:lnTo>
                  <a:lnTo>
                    <a:pt x="11" y="68"/>
                  </a:lnTo>
                  <a:lnTo>
                    <a:pt x="9" y="66"/>
                  </a:lnTo>
                  <a:lnTo>
                    <a:pt x="0" y="68"/>
                  </a:lnTo>
                  <a:lnTo>
                    <a:pt x="0" y="59"/>
                  </a:lnTo>
                  <a:lnTo>
                    <a:pt x="7" y="43"/>
                  </a:lnTo>
                  <a:lnTo>
                    <a:pt x="9" y="38"/>
                  </a:lnTo>
                  <a:lnTo>
                    <a:pt x="11" y="32"/>
                  </a:lnTo>
                  <a:lnTo>
                    <a:pt x="7" y="18"/>
                  </a:lnTo>
                  <a:lnTo>
                    <a:pt x="9" y="16"/>
                  </a:lnTo>
                  <a:lnTo>
                    <a:pt x="2" y="5"/>
                  </a:lnTo>
                  <a:lnTo>
                    <a:pt x="4" y="2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1" name="Freeform 1237"/>
            <p:cNvSpPr>
              <a:spLocks/>
            </p:cNvSpPr>
            <p:nvPr/>
          </p:nvSpPr>
          <p:spPr bwMode="auto">
            <a:xfrm>
              <a:off x="4411372" y="4635220"/>
              <a:ext cx="25963" cy="47760"/>
            </a:xfrm>
            <a:custGeom>
              <a:avLst/>
              <a:gdLst/>
              <a:ahLst/>
              <a:cxnLst>
                <a:cxn ang="0">
                  <a:pos x="5" y="5"/>
                </a:cxn>
                <a:cxn ang="0">
                  <a:pos x="0" y="5"/>
                </a:cxn>
                <a:cxn ang="0">
                  <a:pos x="0" y="9"/>
                </a:cxn>
                <a:cxn ang="0">
                  <a:pos x="0" y="7"/>
                </a:cxn>
                <a:cxn ang="0">
                  <a:pos x="0" y="5"/>
                </a:cxn>
                <a:cxn ang="0">
                  <a:pos x="5" y="0"/>
                </a:cxn>
                <a:cxn ang="0">
                  <a:pos x="5" y="2"/>
                </a:cxn>
                <a:cxn ang="0">
                  <a:pos x="5" y="5"/>
                </a:cxn>
              </a:cxnLst>
              <a:rect l="0" t="0" r="r" b="b"/>
              <a:pathLst>
                <a:path w="5" h="9">
                  <a:moveTo>
                    <a:pt x="5" y="5"/>
                  </a:moveTo>
                  <a:lnTo>
                    <a:pt x="0" y="5"/>
                  </a:lnTo>
                  <a:lnTo>
                    <a:pt x="0" y="9"/>
                  </a:lnTo>
                  <a:lnTo>
                    <a:pt x="0" y="7"/>
                  </a:lnTo>
                  <a:lnTo>
                    <a:pt x="0" y="5"/>
                  </a:lnTo>
                  <a:lnTo>
                    <a:pt x="5" y="0"/>
                  </a:lnTo>
                  <a:lnTo>
                    <a:pt x="5" y="2"/>
                  </a:lnTo>
                  <a:lnTo>
                    <a:pt x="5" y="5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2" name="Freeform 1238"/>
            <p:cNvSpPr>
              <a:spLocks/>
            </p:cNvSpPr>
            <p:nvPr/>
          </p:nvSpPr>
          <p:spPr bwMode="auto">
            <a:xfrm>
              <a:off x="4328290" y="4109860"/>
              <a:ext cx="171359" cy="344934"/>
            </a:xfrm>
            <a:custGeom>
              <a:avLst/>
              <a:gdLst/>
              <a:ahLst/>
              <a:cxnLst>
                <a:cxn ang="0">
                  <a:pos x="25" y="0"/>
                </a:cxn>
                <a:cxn ang="0">
                  <a:pos x="25" y="2"/>
                </a:cxn>
                <a:cxn ang="0">
                  <a:pos x="25" y="9"/>
                </a:cxn>
                <a:cxn ang="0">
                  <a:pos x="23" y="11"/>
                </a:cxn>
                <a:cxn ang="0">
                  <a:pos x="21" y="23"/>
                </a:cxn>
                <a:cxn ang="0">
                  <a:pos x="16" y="27"/>
                </a:cxn>
                <a:cxn ang="0">
                  <a:pos x="14" y="36"/>
                </a:cxn>
                <a:cxn ang="0">
                  <a:pos x="12" y="38"/>
                </a:cxn>
                <a:cxn ang="0">
                  <a:pos x="8" y="36"/>
                </a:cxn>
                <a:cxn ang="0">
                  <a:pos x="6" y="36"/>
                </a:cxn>
                <a:cxn ang="0">
                  <a:pos x="0" y="47"/>
                </a:cxn>
                <a:cxn ang="0">
                  <a:pos x="0" y="52"/>
                </a:cxn>
                <a:cxn ang="0">
                  <a:pos x="2" y="52"/>
                </a:cxn>
                <a:cxn ang="0">
                  <a:pos x="6" y="56"/>
                </a:cxn>
                <a:cxn ang="0">
                  <a:pos x="6" y="63"/>
                </a:cxn>
                <a:cxn ang="0">
                  <a:pos x="12" y="63"/>
                </a:cxn>
                <a:cxn ang="0">
                  <a:pos x="23" y="63"/>
                </a:cxn>
                <a:cxn ang="0">
                  <a:pos x="33" y="65"/>
                </a:cxn>
                <a:cxn ang="0">
                  <a:pos x="33" y="56"/>
                </a:cxn>
                <a:cxn ang="0">
                  <a:pos x="29" y="47"/>
                </a:cxn>
                <a:cxn ang="0">
                  <a:pos x="29" y="41"/>
                </a:cxn>
                <a:cxn ang="0">
                  <a:pos x="31" y="32"/>
                </a:cxn>
                <a:cxn ang="0">
                  <a:pos x="29" y="23"/>
                </a:cxn>
                <a:cxn ang="0">
                  <a:pos x="25" y="20"/>
                </a:cxn>
                <a:cxn ang="0">
                  <a:pos x="25" y="18"/>
                </a:cxn>
                <a:cxn ang="0">
                  <a:pos x="31" y="18"/>
                </a:cxn>
                <a:cxn ang="0">
                  <a:pos x="29" y="11"/>
                </a:cxn>
                <a:cxn ang="0">
                  <a:pos x="29" y="2"/>
                </a:cxn>
                <a:cxn ang="0">
                  <a:pos x="27" y="2"/>
                </a:cxn>
                <a:cxn ang="0">
                  <a:pos x="25" y="0"/>
                </a:cxn>
              </a:cxnLst>
              <a:rect l="0" t="0" r="r" b="b"/>
              <a:pathLst>
                <a:path w="33" h="65">
                  <a:moveTo>
                    <a:pt x="25" y="0"/>
                  </a:moveTo>
                  <a:lnTo>
                    <a:pt x="25" y="2"/>
                  </a:lnTo>
                  <a:lnTo>
                    <a:pt x="25" y="9"/>
                  </a:lnTo>
                  <a:lnTo>
                    <a:pt x="23" y="11"/>
                  </a:lnTo>
                  <a:lnTo>
                    <a:pt x="21" y="23"/>
                  </a:lnTo>
                  <a:lnTo>
                    <a:pt x="16" y="27"/>
                  </a:lnTo>
                  <a:lnTo>
                    <a:pt x="14" y="36"/>
                  </a:lnTo>
                  <a:lnTo>
                    <a:pt x="12" y="38"/>
                  </a:lnTo>
                  <a:lnTo>
                    <a:pt x="8" y="36"/>
                  </a:lnTo>
                  <a:lnTo>
                    <a:pt x="6" y="36"/>
                  </a:lnTo>
                  <a:lnTo>
                    <a:pt x="0" y="47"/>
                  </a:lnTo>
                  <a:lnTo>
                    <a:pt x="0" y="52"/>
                  </a:lnTo>
                  <a:lnTo>
                    <a:pt x="2" y="52"/>
                  </a:lnTo>
                  <a:lnTo>
                    <a:pt x="6" y="56"/>
                  </a:lnTo>
                  <a:lnTo>
                    <a:pt x="6" y="63"/>
                  </a:lnTo>
                  <a:lnTo>
                    <a:pt x="12" y="63"/>
                  </a:lnTo>
                  <a:lnTo>
                    <a:pt x="23" y="63"/>
                  </a:lnTo>
                  <a:lnTo>
                    <a:pt x="33" y="65"/>
                  </a:lnTo>
                  <a:lnTo>
                    <a:pt x="33" y="56"/>
                  </a:lnTo>
                  <a:lnTo>
                    <a:pt x="29" y="47"/>
                  </a:lnTo>
                  <a:lnTo>
                    <a:pt x="29" y="41"/>
                  </a:lnTo>
                  <a:lnTo>
                    <a:pt x="31" y="32"/>
                  </a:lnTo>
                  <a:lnTo>
                    <a:pt x="29" y="23"/>
                  </a:lnTo>
                  <a:lnTo>
                    <a:pt x="25" y="20"/>
                  </a:lnTo>
                  <a:lnTo>
                    <a:pt x="25" y="18"/>
                  </a:lnTo>
                  <a:lnTo>
                    <a:pt x="31" y="18"/>
                  </a:lnTo>
                  <a:lnTo>
                    <a:pt x="29" y="11"/>
                  </a:lnTo>
                  <a:lnTo>
                    <a:pt x="29" y="2"/>
                  </a:lnTo>
                  <a:lnTo>
                    <a:pt x="27" y="2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3" name="Freeform 1239"/>
            <p:cNvSpPr>
              <a:spLocks/>
            </p:cNvSpPr>
            <p:nvPr/>
          </p:nvSpPr>
          <p:spPr bwMode="auto">
            <a:xfrm>
              <a:off x="4390601" y="4396420"/>
              <a:ext cx="186937" cy="265334"/>
            </a:xfrm>
            <a:custGeom>
              <a:avLst/>
              <a:gdLst/>
              <a:ahLst/>
              <a:cxnLst>
                <a:cxn ang="0">
                  <a:pos x="9" y="45"/>
                </a:cxn>
                <a:cxn ang="0">
                  <a:pos x="9" y="50"/>
                </a:cxn>
                <a:cxn ang="0">
                  <a:pos x="11" y="50"/>
                </a:cxn>
                <a:cxn ang="0">
                  <a:pos x="13" y="45"/>
                </a:cxn>
                <a:cxn ang="0">
                  <a:pos x="17" y="50"/>
                </a:cxn>
                <a:cxn ang="0">
                  <a:pos x="21" y="43"/>
                </a:cxn>
                <a:cxn ang="0">
                  <a:pos x="25" y="34"/>
                </a:cxn>
                <a:cxn ang="0">
                  <a:pos x="29" y="25"/>
                </a:cxn>
                <a:cxn ang="0">
                  <a:pos x="34" y="9"/>
                </a:cxn>
                <a:cxn ang="0">
                  <a:pos x="36" y="0"/>
                </a:cxn>
                <a:cxn ang="0">
                  <a:pos x="29" y="0"/>
                </a:cxn>
                <a:cxn ang="0">
                  <a:pos x="27" y="0"/>
                </a:cxn>
                <a:cxn ang="0">
                  <a:pos x="25" y="0"/>
                </a:cxn>
                <a:cxn ang="0">
                  <a:pos x="21" y="2"/>
                </a:cxn>
                <a:cxn ang="0">
                  <a:pos x="21" y="11"/>
                </a:cxn>
                <a:cxn ang="0">
                  <a:pos x="11" y="9"/>
                </a:cxn>
                <a:cxn ang="0">
                  <a:pos x="13" y="9"/>
                </a:cxn>
                <a:cxn ang="0">
                  <a:pos x="13" y="11"/>
                </a:cxn>
                <a:cxn ang="0">
                  <a:pos x="13" y="16"/>
                </a:cxn>
                <a:cxn ang="0">
                  <a:pos x="13" y="18"/>
                </a:cxn>
                <a:cxn ang="0">
                  <a:pos x="13" y="27"/>
                </a:cxn>
                <a:cxn ang="0">
                  <a:pos x="13" y="34"/>
                </a:cxn>
                <a:cxn ang="0">
                  <a:pos x="9" y="29"/>
                </a:cxn>
                <a:cxn ang="0">
                  <a:pos x="2" y="36"/>
                </a:cxn>
                <a:cxn ang="0">
                  <a:pos x="2" y="41"/>
                </a:cxn>
                <a:cxn ang="0">
                  <a:pos x="0" y="45"/>
                </a:cxn>
                <a:cxn ang="0">
                  <a:pos x="4" y="50"/>
                </a:cxn>
                <a:cxn ang="0">
                  <a:pos x="6" y="47"/>
                </a:cxn>
                <a:cxn ang="0">
                  <a:pos x="9" y="45"/>
                </a:cxn>
              </a:cxnLst>
              <a:rect l="0" t="0" r="r" b="b"/>
              <a:pathLst>
                <a:path w="36" h="50">
                  <a:moveTo>
                    <a:pt x="9" y="45"/>
                  </a:moveTo>
                  <a:lnTo>
                    <a:pt x="9" y="50"/>
                  </a:lnTo>
                  <a:lnTo>
                    <a:pt x="11" y="50"/>
                  </a:lnTo>
                  <a:lnTo>
                    <a:pt x="13" y="45"/>
                  </a:lnTo>
                  <a:lnTo>
                    <a:pt x="17" y="50"/>
                  </a:lnTo>
                  <a:lnTo>
                    <a:pt x="21" y="43"/>
                  </a:lnTo>
                  <a:lnTo>
                    <a:pt x="25" y="34"/>
                  </a:lnTo>
                  <a:lnTo>
                    <a:pt x="29" y="25"/>
                  </a:lnTo>
                  <a:lnTo>
                    <a:pt x="34" y="9"/>
                  </a:lnTo>
                  <a:lnTo>
                    <a:pt x="36" y="0"/>
                  </a:lnTo>
                  <a:lnTo>
                    <a:pt x="29" y="0"/>
                  </a:lnTo>
                  <a:lnTo>
                    <a:pt x="27" y="0"/>
                  </a:lnTo>
                  <a:lnTo>
                    <a:pt x="25" y="0"/>
                  </a:lnTo>
                  <a:lnTo>
                    <a:pt x="21" y="2"/>
                  </a:lnTo>
                  <a:lnTo>
                    <a:pt x="21" y="11"/>
                  </a:lnTo>
                  <a:lnTo>
                    <a:pt x="11" y="9"/>
                  </a:lnTo>
                  <a:lnTo>
                    <a:pt x="13" y="9"/>
                  </a:lnTo>
                  <a:lnTo>
                    <a:pt x="13" y="11"/>
                  </a:lnTo>
                  <a:lnTo>
                    <a:pt x="13" y="16"/>
                  </a:lnTo>
                  <a:lnTo>
                    <a:pt x="13" y="18"/>
                  </a:lnTo>
                  <a:lnTo>
                    <a:pt x="13" y="27"/>
                  </a:lnTo>
                  <a:lnTo>
                    <a:pt x="13" y="34"/>
                  </a:lnTo>
                  <a:lnTo>
                    <a:pt x="9" y="29"/>
                  </a:lnTo>
                  <a:lnTo>
                    <a:pt x="2" y="36"/>
                  </a:lnTo>
                  <a:lnTo>
                    <a:pt x="2" y="41"/>
                  </a:lnTo>
                  <a:lnTo>
                    <a:pt x="0" y="45"/>
                  </a:lnTo>
                  <a:lnTo>
                    <a:pt x="4" y="50"/>
                  </a:lnTo>
                  <a:lnTo>
                    <a:pt x="6" y="47"/>
                  </a:lnTo>
                  <a:lnTo>
                    <a:pt x="9" y="45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4" name="Freeform 1240"/>
            <p:cNvSpPr>
              <a:spLocks/>
            </p:cNvSpPr>
            <p:nvPr/>
          </p:nvSpPr>
          <p:spPr bwMode="auto">
            <a:xfrm>
              <a:off x="4328290" y="4444180"/>
              <a:ext cx="129817" cy="191040"/>
            </a:xfrm>
            <a:custGeom>
              <a:avLst/>
              <a:gdLst/>
              <a:ahLst/>
              <a:cxnLst>
                <a:cxn ang="0">
                  <a:pos x="25" y="0"/>
                </a:cxn>
                <a:cxn ang="0">
                  <a:pos x="25" y="2"/>
                </a:cxn>
                <a:cxn ang="0">
                  <a:pos x="25" y="7"/>
                </a:cxn>
                <a:cxn ang="0">
                  <a:pos x="25" y="9"/>
                </a:cxn>
                <a:cxn ang="0">
                  <a:pos x="25" y="18"/>
                </a:cxn>
                <a:cxn ang="0">
                  <a:pos x="25" y="25"/>
                </a:cxn>
                <a:cxn ang="0">
                  <a:pos x="21" y="20"/>
                </a:cxn>
                <a:cxn ang="0">
                  <a:pos x="14" y="27"/>
                </a:cxn>
                <a:cxn ang="0">
                  <a:pos x="14" y="32"/>
                </a:cxn>
                <a:cxn ang="0">
                  <a:pos x="12" y="36"/>
                </a:cxn>
                <a:cxn ang="0">
                  <a:pos x="6" y="27"/>
                </a:cxn>
                <a:cxn ang="0">
                  <a:pos x="0" y="16"/>
                </a:cxn>
                <a:cxn ang="0">
                  <a:pos x="2" y="16"/>
                </a:cxn>
                <a:cxn ang="0">
                  <a:pos x="2" y="11"/>
                </a:cxn>
                <a:cxn ang="0">
                  <a:pos x="6" y="7"/>
                </a:cxn>
                <a:cxn ang="0">
                  <a:pos x="12" y="7"/>
                </a:cxn>
                <a:cxn ang="0">
                  <a:pos x="12" y="0"/>
                </a:cxn>
                <a:cxn ang="0">
                  <a:pos x="23" y="0"/>
                </a:cxn>
                <a:cxn ang="0">
                  <a:pos x="25" y="0"/>
                </a:cxn>
              </a:cxnLst>
              <a:rect l="0" t="0" r="r" b="b"/>
              <a:pathLst>
                <a:path w="25" h="36">
                  <a:moveTo>
                    <a:pt x="25" y="0"/>
                  </a:moveTo>
                  <a:lnTo>
                    <a:pt x="25" y="2"/>
                  </a:lnTo>
                  <a:lnTo>
                    <a:pt x="25" y="7"/>
                  </a:lnTo>
                  <a:lnTo>
                    <a:pt x="25" y="9"/>
                  </a:lnTo>
                  <a:lnTo>
                    <a:pt x="25" y="18"/>
                  </a:lnTo>
                  <a:lnTo>
                    <a:pt x="25" y="25"/>
                  </a:lnTo>
                  <a:lnTo>
                    <a:pt x="21" y="20"/>
                  </a:lnTo>
                  <a:lnTo>
                    <a:pt x="14" y="27"/>
                  </a:lnTo>
                  <a:lnTo>
                    <a:pt x="14" y="32"/>
                  </a:lnTo>
                  <a:lnTo>
                    <a:pt x="12" y="36"/>
                  </a:lnTo>
                  <a:lnTo>
                    <a:pt x="6" y="27"/>
                  </a:lnTo>
                  <a:lnTo>
                    <a:pt x="0" y="16"/>
                  </a:lnTo>
                  <a:lnTo>
                    <a:pt x="2" y="16"/>
                  </a:lnTo>
                  <a:lnTo>
                    <a:pt x="2" y="11"/>
                  </a:lnTo>
                  <a:lnTo>
                    <a:pt x="6" y="7"/>
                  </a:lnTo>
                  <a:lnTo>
                    <a:pt x="12" y="7"/>
                  </a:lnTo>
                  <a:lnTo>
                    <a:pt x="12" y="0"/>
                  </a:lnTo>
                  <a:lnTo>
                    <a:pt x="23" y="0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5" name="Freeform 1241"/>
            <p:cNvSpPr>
              <a:spLocks/>
            </p:cNvSpPr>
            <p:nvPr/>
          </p:nvSpPr>
          <p:spPr bwMode="auto">
            <a:xfrm>
              <a:off x="4338675" y="4444180"/>
              <a:ext cx="51927" cy="37147"/>
            </a:xfrm>
            <a:custGeom>
              <a:avLst/>
              <a:gdLst/>
              <a:ahLst/>
              <a:cxnLst>
                <a:cxn ang="0">
                  <a:pos x="10" y="7"/>
                </a:cxn>
                <a:cxn ang="0">
                  <a:pos x="10" y="0"/>
                </a:cxn>
                <a:cxn ang="0">
                  <a:pos x="4" y="0"/>
                </a:cxn>
                <a:cxn ang="0">
                  <a:pos x="0" y="7"/>
                </a:cxn>
                <a:cxn ang="0">
                  <a:pos x="4" y="7"/>
                </a:cxn>
                <a:cxn ang="0">
                  <a:pos x="10" y="7"/>
                </a:cxn>
              </a:cxnLst>
              <a:rect l="0" t="0" r="r" b="b"/>
              <a:pathLst>
                <a:path w="10" h="7">
                  <a:moveTo>
                    <a:pt x="10" y="7"/>
                  </a:moveTo>
                  <a:lnTo>
                    <a:pt x="10" y="0"/>
                  </a:lnTo>
                  <a:lnTo>
                    <a:pt x="4" y="0"/>
                  </a:lnTo>
                  <a:lnTo>
                    <a:pt x="0" y="7"/>
                  </a:lnTo>
                  <a:lnTo>
                    <a:pt x="4" y="7"/>
                  </a:lnTo>
                  <a:lnTo>
                    <a:pt x="10" y="7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6" name="Freeform 1242"/>
            <p:cNvSpPr>
              <a:spLocks/>
            </p:cNvSpPr>
            <p:nvPr/>
          </p:nvSpPr>
          <p:spPr bwMode="auto">
            <a:xfrm>
              <a:off x="4032306" y="4168233"/>
              <a:ext cx="119432" cy="191040"/>
            </a:xfrm>
            <a:custGeom>
              <a:avLst/>
              <a:gdLst/>
              <a:ahLst/>
              <a:cxnLst>
                <a:cxn ang="0">
                  <a:pos x="19" y="25"/>
                </a:cxn>
                <a:cxn ang="0">
                  <a:pos x="17" y="12"/>
                </a:cxn>
                <a:cxn ang="0">
                  <a:pos x="15" y="0"/>
                </a:cxn>
                <a:cxn ang="0">
                  <a:pos x="2" y="0"/>
                </a:cxn>
                <a:cxn ang="0">
                  <a:pos x="2" y="9"/>
                </a:cxn>
                <a:cxn ang="0">
                  <a:pos x="7" y="16"/>
                </a:cxn>
                <a:cxn ang="0">
                  <a:pos x="0" y="25"/>
                </a:cxn>
                <a:cxn ang="0">
                  <a:pos x="2" y="34"/>
                </a:cxn>
                <a:cxn ang="0">
                  <a:pos x="0" y="34"/>
                </a:cxn>
                <a:cxn ang="0">
                  <a:pos x="7" y="36"/>
                </a:cxn>
                <a:cxn ang="0">
                  <a:pos x="17" y="30"/>
                </a:cxn>
                <a:cxn ang="0">
                  <a:pos x="19" y="30"/>
                </a:cxn>
                <a:cxn ang="0">
                  <a:pos x="23" y="27"/>
                </a:cxn>
                <a:cxn ang="0">
                  <a:pos x="21" y="27"/>
                </a:cxn>
                <a:cxn ang="0">
                  <a:pos x="19" y="25"/>
                </a:cxn>
              </a:cxnLst>
              <a:rect l="0" t="0" r="r" b="b"/>
              <a:pathLst>
                <a:path w="23" h="36">
                  <a:moveTo>
                    <a:pt x="19" y="25"/>
                  </a:moveTo>
                  <a:lnTo>
                    <a:pt x="17" y="12"/>
                  </a:lnTo>
                  <a:lnTo>
                    <a:pt x="15" y="0"/>
                  </a:lnTo>
                  <a:lnTo>
                    <a:pt x="2" y="0"/>
                  </a:lnTo>
                  <a:lnTo>
                    <a:pt x="2" y="9"/>
                  </a:lnTo>
                  <a:lnTo>
                    <a:pt x="7" y="16"/>
                  </a:lnTo>
                  <a:lnTo>
                    <a:pt x="0" y="25"/>
                  </a:lnTo>
                  <a:lnTo>
                    <a:pt x="2" y="34"/>
                  </a:lnTo>
                  <a:lnTo>
                    <a:pt x="0" y="34"/>
                  </a:lnTo>
                  <a:lnTo>
                    <a:pt x="7" y="36"/>
                  </a:lnTo>
                  <a:lnTo>
                    <a:pt x="17" y="30"/>
                  </a:lnTo>
                  <a:lnTo>
                    <a:pt x="19" y="30"/>
                  </a:lnTo>
                  <a:lnTo>
                    <a:pt x="23" y="27"/>
                  </a:lnTo>
                  <a:lnTo>
                    <a:pt x="21" y="27"/>
                  </a:lnTo>
                  <a:lnTo>
                    <a:pt x="19" y="25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7" name="Freeform 1243"/>
            <p:cNvSpPr>
              <a:spLocks/>
            </p:cNvSpPr>
            <p:nvPr/>
          </p:nvSpPr>
          <p:spPr bwMode="auto">
            <a:xfrm>
              <a:off x="4110196" y="4168233"/>
              <a:ext cx="51927" cy="143280"/>
            </a:xfrm>
            <a:custGeom>
              <a:avLst/>
              <a:gdLst/>
              <a:ahLst/>
              <a:cxnLst>
                <a:cxn ang="0">
                  <a:pos x="4" y="25"/>
                </a:cxn>
                <a:cxn ang="0">
                  <a:pos x="2" y="12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3"/>
                </a:cxn>
                <a:cxn ang="0">
                  <a:pos x="8" y="7"/>
                </a:cxn>
                <a:cxn ang="0">
                  <a:pos x="8" y="16"/>
                </a:cxn>
                <a:cxn ang="0">
                  <a:pos x="10" y="27"/>
                </a:cxn>
                <a:cxn ang="0">
                  <a:pos x="8" y="27"/>
                </a:cxn>
                <a:cxn ang="0">
                  <a:pos x="6" y="27"/>
                </a:cxn>
                <a:cxn ang="0">
                  <a:pos x="4" y="25"/>
                </a:cxn>
              </a:cxnLst>
              <a:rect l="0" t="0" r="r" b="b"/>
              <a:pathLst>
                <a:path w="10" h="27">
                  <a:moveTo>
                    <a:pt x="4" y="25"/>
                  </a:moveTo>
                  <a:lnTo>
                    <a:pt x="2" y="12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3"/>
                  </a:lnTo>
                  <a:lnTo>
                    <a:pt x="8" y="7"/>
                  </a:lnTo>
                  <a:lnTo>
                    <a:pt x="8" y="16"/>
                  </a:lnTo>
                  <a:lnTo>
                    <a:pt x="10" y="27"/>
                  </a:lnTo>
                  <a:lnTo>
                    <a:pt x="8" y="27"/>
                  </a:lnTo>
                  <a:lnTo>
                    <a:pt x="6" y="27"/>
                  </a:lnTo>
                  <a:lnTo>
                    <a:pt x="4" y="25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8" name="Freeform 1244"/>
            <p:cNvSpPr>
              <a:spLocks/>
            </p:cNvSpPr>
            <p:nvPr/>
          </p:nvSpPr>
          <p:spPr bwMode="auto">
            <a:xfrm>
              <a:off x="4188087" y="4088633"/>
              <a:ext cx="270020" cy="297174"/>
            </a:xfrm>
            <a:custGeom>
              <a:avLst/>
              <a:gdLst/>
              <a:ahLst/>
              <a:cxnLst>
                <a:cxn ang="0">
                  <a:pos x="52" y="4"/>
                </a:cxn>
                <a:cxn ang="0">
                  <a:pos x="50" y="0"/>
                </a:cxn>
                <a:cxn ang="0">
                  <a:pos x="48" y="0"/>
                </a:cxn>
                <a:cxn ang="0">
                  <a:pos x="43" y="4"/>
                </a:cxn>
                <a:cxn ang="0">
                  <a:pos x="35" y="4"/>
                </a:cxn>
                <a:cxn ang="0">
                  <a:pos x="29" y="6"/>
                </a:cxn>
                <a:cxn ang="0">
                  <a:pos x="25" y="4"/>
                </a:cxn>
                <a:cxn ang="0">
                  <a:pos x="18" y="4"/>
                </a:cxn>
                <a:cxn ang="0">
                  <a:pos x="12" y="0"/>
                </a:cxn>
                <a:cxn ang="0">
                  <a:pos x="8" y="0"/>
                </a:cxn>
                <a:cxn ang="0">
                  <a:pos x="4" y="6"/>
                </a:cxn>
                <a:cxn ang="0">
                  <a:pos x="4" y="13"/>
                </a:cxn>
                <a:cxn ang="0">
                  <a:pos x="4" y="18"/>
                </a:cxn>
                <a:cxn ang="0">
                  <a:pos x="0" y="31"/>
                </a:cxn>
                <a:cxn ang="0">
                  <a:pos x="0" y="42"/>
                </a:cxn>
                <a:cxn ang="0">
                  <a:pos x="4" y="42"/>
                </a:cxn>
                <a:cxn ang="0">
                  <a:pos x="10" y="45"/>
                </a:cxn>
                <a:cxn ang="0">
                  <a:pos x="12" y="51"/>
                </a:cxn>
                <a:cxn ang="0">
                  <a:pos x="12" y="56"/>
                </a:cxn>
                <a:cxn ang="0">
                  <a:pos x="27" y="51"/>
                </a:cxn>
                <a:cxn ang="0">
                  <a:pos x="33" y="40"/>
                </a:cxn>
                <a:cxn ang="0">
                  <a:pos x="35" y="40"/>
                </a:cxn>
                <a:cxn ang="0">
                  <a:pos x="39" y="42"/>
                </a:cxn>
                <a:cxn ang="0">
                  <a:pos x="41" y="40"/>
                </a:cxn>
                <a:cxn ang="0">
                  <a:pos x="43" y="31"/>
                </a:cxn>
                <a:cxn ang="0">
                  <a:pos x="48" y="27"/>
                </a:cxn>
                <a:cxn ang="0">
                  <a:pos x="50" y="15"/>
                </a:cxn>
                <a:cxn ang="0">
                  <a:pos x="52" y="13"/>
                </a:cxn>
                <a:cxn ang="0">
                  <a:pos x="52" y="6"/>
                </a:cxn>
                <a:cxn ang="0">
                  <a:pos x="52" y="4"/>
                </a:cxn>
              </a:cxnLst>
              <a:rect l="0" t="0" r="r" b="b"/>
              <a:pathLst>
                <a:path w="52" h="56">
                  <a:moveTo>
                    <a:pt x="52" y="4"/>
                  </a:moveTo>
                  <a:lnTo>
                    <a:pt x="50" y="0"/>
                  </a:lnTo>
                  <a:lnTo>
                    <a:pt x="48" y="0"/>
                  </a:lnTo>
                  <a:lnTo>
                    <a:pt x="43" y="4"/>
                  </a:lnTo>
                  <a:lnTo>
                    <a:pt x="35" y="4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8" y="4"/>
                  </a:lnTo>
                  <a:lnTo>
                    <a:pt x="12" y="0"/>
                  </a:lnTo>
                  <a:lnTo>
                    <a:pt x="8" y="0"/>
                  </a:lnTo>
                  <a:lnTo>
                    <a:pt x="4" y="6"/>
                  </a:lnTo>
                  <a:lnTo>
                    <a:pt x="4" y="13"/>
                  </a:lnTo>
                  <a:lnTo>
                    <a:pt x="4" y="18"/>
                  </a:lnTo>
                  <a:lnTo>
                    <a:pt x="0" y="31"/>
                  </a:lnTo>
                  <a:lnTo>
                    <a:pt x="0" y="42"/>
                  </a:lnTo>
                  <a:lnTo>
                    <a:pt x="4" y="42"/>
                  </a:lnTo>
                  <a:lnTo>
                    <a:pt x="10" y="45"/>
                  </a:lnTo>
                  <a:lnTo>
                    <a:pt x="12" y="51"/>
                  </a:lnTo>
                  <a:lnTo>
                    <a:pt x="12" y="56"/>
                  </a:lnTo>
                  <a:lnTo>
                    <a:pt x="27" y="51"/>
                  </a:lnTo>
                  <a:lnTo>
                    <a:pt x="33" y="40"/>
                  </a:lnTo>
                  <a:lnTo>
                    <a:pt x="35" y="40"/>
                  </a:lnTo>
                  <a:lnTo>
                    <a:pt x="39" y="42"/>
                  </a:lnTo>
                  <a:lnTo>
                    <a:pt x="41" y="40"/>
                  </a:lnTo>
                  <a:lnTo>
                    <a:pt x="43" y="31"/>
                  </a:lnTo>
                  <a:lnTo>
                    <a:pt x="48" y="27"/>
                  </a:lnTo>
                  <a:lnTo>
                    <a:pt x="50" y="15"/>
                  </a:lnTo>
                  <a:lnTo>
                    <a:pt x="52" y="13"/>
                  </a:lnTo>
                  <a:lnTo>
                    <a:pt x="52" y="6"/>
                  </a:lnTo>
                  <a:lnTo>
                    <a:pt x="52" y="4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9" name="Freeform 1245"/>
            <p:cNvSpPr>
              <a:spLocks/>
            </p:cNvSpPr>
            <p:nvPr/>
          </p:nvSpPr>
          <p:spPr bwMode="auto">
            <a:xfrm>
              <a:off x="4130967" y="4120473"/>
              <a:ext cx="77890" cy="191040"/>
            </a:xfrm>
            <a:custGeom>
              <a:avLst/>
              <a:gdLst/>
              <a:ahLst/>
              <a:cxnLst>
                <a:cxn ang="0">
                  <a:pos x="4" y="25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0" y="9"/>
                </a:cxn>
                <a:cxn ang="0">
                  <a:pos x="4" y="7"/>
                </a:cxn>
                <a:cxn ang="0">
                  <a:pos x="6" y="7"/>
                </a:cxn>
                <a:cxn ang="0">
                  <a:pos x="11" y="3"/>
                </a:cxn>
                <a:cxn ang="0">
                  <a:pos x="13" y="0"/>
                </a:cxn>
                <a:cxn ang="0">
                  <a:pos x="15" y="7"/>
                </a:cxn>
                <a:cxn ang="0">
                  <a:pos x="15" y="12"/>
                </a:cxn>
                <a:cxn ang="0">
                  <a:pos x="11" y="25"/>
                </a:cxn>
                <a:cxn ang="0">
                  <a:pos x="11" y="36"/>
                </a:cxn>
                <a:cxn ang="0">
                  <a:pos x="6" y="36"/>
                </a:cxn>
                <a:cxn ang="0">
                  <a:pos x="4" y="32"/>
                </a:cxn>
                <a:cxn ang="0">
                  <a:pos x="4" y="25"/>
                </a:cxn>
              </a:cxnLst>
              <a:rect l="0" t="0" r="r" b="b"/>
              <a:pathLst>
                <a:path w="15" h="36">
                  <a:moveTo>
                    <a:pt x="4" y="25"/>
                  </a:moveTo>
                  <a:lnTo>
                    <a:pt x="4" y="16"/>
                  </a:lnTo>
                  <a:lnTo>
                    <a:pt x="0" y="12"/>
                  </a:lnTo>
                  <a:lnTo>
                    <a:pt x="0" y="9"/>
                  </a:lnTo>
                  <a:lnTo>
                    <a:pt x="4" y="7"/>
                  </a:lnTo>
                  <a:lnTo>
                    <a:pt x="6" y="7"/>
                  </a:lnTo>
                  <a:lnTo>
                    <a:pt x="11" y="3"/>
                  </a:lnTo>
                  <a:lnTo>
                    <a:pt x="13" y="0"/>
                  </a:lnTo>
                  <a:lnTo>
                    <a:pt x="15" y="7"/>
                  </a:lnTo>
                  <a:lnTo>
                    <a:pt x="15" y="12"/>
                  </a:lnTo>
                  <a:lnTo>
                    <a:pt x="11" y="25"/>
                  </a:lnTo>
                  <a:lnTo>
                    <a:pt x="11" y="36"/>
                  </a:lnTo>
                  <a:lnTo>
                    <a:pt x="6" y="36"/>
                  </a:lnTo>
                  <a:lnTo>
                    <a:pt x="4" y="32"/>
                  </a:lnTo>
                  <a:lnTo>
                    <a:pt x="4" y="25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0" name="Freeform 1246"/>
            <p:cNvSpPr>
              <a:spLocks/>
            </p:cNvSpPr>
            <p:nvPr/>
          </p:nvSpPr>
          <p:spPr bwMode="auto">
            <a:xfrm>
              <a:off x="3902489" y="4184153"/>
              <a:ext cx="166166" cy="201654"/>
            </a:xfrm>
            <a:custGeom>
              <a:avLst/>
              <a:gdLst/>
              <a:ahLst/>
              <a:cxnLst>
                <a:cxn ang="0">
                  <a:pos x="27" y="31"/>
                </a:cxn>
                <a:cxn ang="0">
                  <a:pos x="25" y="22"/>
                </a:cxn>
                <a:cxn ang="0">
                  <a:pos x="32" y="13"/>
                </a:cxn>
                <a:cxn ang="0">
                  <a:pos x="27" y="6"/>
                </a:cxn>
                <a:cxn ang="0">
                  <a:pos x="25" y="4"/>
                </a:cxn>
                <a:cxn ang="0">
                  <a:pos x="19" y="4"/>
                </a:cxn>
                <a:cxn ang="0">
                  <a:pos x="17" y="0"/>
                </a:cxn>
                <a:cxn ang="0">
                  <a:pos x="15" y="0"/>
                </a:cxn>
                <a:cxn ang="0">
                  <a:pos x="11" y="0"/>
                </a:cxn>
                <a:cxn ang="0">
                  <a:pos x="9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2" y="6"/>
                </a:cxn>
                <a:cxn ang="0">
                  <a:pos x="4" y="13"/>
                </a:cxn>
                <a:cxn ang="0">
                  <a:pos x="2" y="13"/>
                </a:cxn>
                <a:cxn ang="0">
                  <a:pos x="2" y="15"/>
                </a:cxn>
                <a:cxn ang="0">
                  <a:pos x="0" y="18"/>
                </a:cxn>
                <a:cxn ang="0">
                  <a:pos x="2" y="24"/>
                </a:cxn>
                <a:cxn ang="0">
                  <a:pos x="4" y="27"/>
                </a:cxn>
                <a:cxn ang="0">
                  <a:pos x="4" y="38"/>
                </a:cxn>
                <a:cxn ang="0">
                  <a:pos x="15" y="31"/>
                </a:cxn>
                <a:cxn ang="0">
                  <a:pos x="19" y="31"/>
                </a:cxn>
                <a:cxn ang="0">
                  <a:pos x="25" y="31"/>
                </a:cxn>
                <a:cxn ang="0">
                  <a:pos x="27" y="31"/>
                </a:cxn>
              </a:cxnLst>
              <a:rect l="0" t="0" r="r" b="b"/>
              <a:pathLst>
                <a:path w="32" h="38">
                  <a:moveTo>
                    <a:pt x="27" y="31"/>
                  </a:moveTo>
                  <a:lnTo>
                    <a:pt x="25" y="22"/>
                  </a:lnTo>
                  <a:lnTo>
                    <a:pt x="32" y="13"/>
                  </a:lnTo>
                  <a:lnTo>
                    <a:pt x="27" y="6"/>
                  </a:lnTo>
                  <a:lnTo>
                    <a:pt x="25" y="4"/>
                  </a:lnTo>
                  <a:lnTo>
                    <a:pt x="19" y="4"/>
                  </a:lnTo>
                  <a:lnTo>
                    <a:pt x="17" y="0"/>
                  </a:lnTo>
                  <a:lnTo>
                    <a:pt x="15" y="0"/>
                  </a:lnTo>
                  <a:lnTo>
                    <a:pt x="11" y="0"/>
                  </a:lnTo>
                  <a:lnTo>
                    <a:pt x="9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2" y="6"/>
                  </a:lnTo>
                  <a:lnTo>
                    <a:pt x="4" y="13"/>
                  </a:lnTo>
                  <a:lnTo>
                    <a:pt x="2" y="13"/>
                  </a:lnTo>
                  <a:lnTo>
                    <a:pt x="2" y="15"/>
                  </a:lnTo>
                  <a:lnTo>
                    <a:pt x="0" y="18"/>
                  </a:lnTo>
                  <a:lnTo>
                    <a:pt x="2" y="24"/>
                  </a:lnTo>
                  <a:lnTo>
                    <a:pt x="4" y="27"/>
                  </a:lnTo>
                  <a:lnTo>
                    <a:pt x="4" y="38"/>
                  </a:lnTo>
                  <a:lnTo>
                    <a:pt x="15" y="31"/>
                  </a:lnTo>
                  <a:lnTo>
                    <a:pt x="19" y="31"/>
                  </a:lnTo>
                  <a:lnTo>
                    <a:pt x="25" y="31"/>
                  </a:lnTo>
                  <a:lnTo>
                    <a:pt x="27" y="31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1" name="Freeform 1247"/>
            <p:cNvSpPr>
              <a:spLocks/>
            </p:cNvSpPr>
            <p:nvPr/>
          </p:nvSpPr>
          <p:spPr bwMode="auto">
            <a:xfrm>
              <a:off x="3829792" y="4253140"/>
              <a:ext cx="93469" cy="132667"/>
            </a:xfrm>
            <a:custGeom>
              <a:avLst/>
              <a:gdLst/>
              <a:ahLst/>
              <a:cxnLst>
                <a:cxn ang="0">
                  <a:pos x="14" y="5"/>
                </a:cxn>
                <a:cxn ang="0">
                  <a:pos x="16" y="11"/>
                </a:cxn>
                <a:cxn ang="0">
                  <a:pos x="18" y="14"/>
                </a:cxn>
                <a:cxn ang="0">
                  <a:pos x="18" y="25"/>
                </a:cxn>
                <a:cxn ang="0">
                  <a:pos x="16" y="20"/>
                </a:cxn>
                <a:cxn ang="0">
                  <a:pos x="0" y="9"/>
                </a:cxn>
                <a:cxn ang="0">
                  <a:pos x="6" y="0"/>
                </a:cxn>
                <a:cxn ang="0">
                  <a:pos x="8" y="0"/>
                </a:cxn>
                <a:cxn ang="0">
                  <a:pos x="10" y="5"/>
                </a:cxn>
                <a:cxn ang="0">
                  <a:pos x="12" y="5"/>
                </a:cxn>
                <a:cxn ang="0">
                  <a:pos x="14" y="5"/>
                </a:cxn>
              </a:cxnLst>
              <a:rect l="0" t="0" r="r" b="b"/>
              <a:pathLst>
                <a:path w="18" h="25">
                  <a:moveTo>
                    <a:pt x="14" y="5"/>
                  </a:moveTo>
                  <a:lnTo>
                    <a:pt x="16" y="11"/>
                  </a:lnTo>
                  <a:lnTo>
                    <a:pt x="18" y="14"/>
                  </a:lnTo>
                  <a:lnTo>
                    <a:pt x="18" y="25"/>
                  </a:lnTo>
                  <a:lnTo>
                    <a:pt x="16" y="20"/>
                  </a:lnTo>
                  <a:lnTo>
                    <a:pt x="0" y="9"/>
                  </a:lnTo>
                  <a:lnTo>
                    <a:pt x="6" y="0"/>
                  </a:lnTo>
                  <a:lnTo>
                    <a:pt x="8" y="0"/>
                  </a:lnTo>
                  <a:lnTo>
                    <a:pt x="10" y="5"/>
                  </a:lnTo>
                  <a:lnTo>
                    <a:pt x="12" y="5"/>
                  </a:lnTo>
                  <a:lnTo>
                    <a:pt x="14" y="5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2" name="Freeform 1248"/>
            <p:cNvSpPr>
              <a:spLocks/>
            </p:cNvSpPr>
            <p:nvPr/>
          </p:nvSpPr>
          <p:spPr bwMode="auto">
            <a:xfrm>
              <a:off x="3699974" y="3993113"/>
              <a:ext cx="140203" cy="127360"/>
            </a:xfrm>
            <a:custGeom>
              <a:avLst/>
              <a:gdLst/>
              <a:ahLst/>
              <a:cxnLst>
                <a:cxn ang="0">
                  <a:pos x="25" y="11"/>
                </a:cxn>
                <a:cxn ang="0">
                  <a:pos x="27" y="24"/>
                </a:cxn>
                <a:cxn ang="0">
                  <a:pos x="16" y="24"/>
                </a:cxn>
                <a:cxn ang="0">
                  <a:pos x="2" y="24"/>
                </a:cxn>
                <a:cxn ang="0">
                  <a:pos x="2" y="22"/>
                </a:cxn>
                <a:cxn ang="0">
                  <a:pos x="8" y="18"/>
                </a:cxn>
                <a:cxn ang="0">
                  <a:pos x="14" y="22"/>
                </a:cxn>
                <a:cxn ang="0">
                  <a:pos x="16" y="18"/>
                </a:cxn>
                <a:cxn ang="0">
                  <a:pos x="8" y="15"/>
                </a:cxn>
                <a:cxn ang="0">
                  <a:pos x="2" y="18"/>
                </a:cxn>
                <a:cxn ang="0">
                  <a:pos x="2" y="15"/>
                </a:cxn>
                <a:cxn ang="0">
                  <a:pos x="0" y="11"/>
                </a:cxn>
                <a:cxn ang="0">
                  <a:pos x="4" y="6"/>
                </a:cxn>
                <a:cxn ang="0">
                  <a:pos x="8" y="2"/>
                </a:cxn>
                <a:cxn ang="0">
                  <a:pos x="14" y="0"/>
                </a:cxn>
                <a:cxn ang="0">
                  <a:pos x="18" y="6"/>
                </a:cxn>
                <a:cxn ang="0">
                  <a:pos x="21" y="9"/>
                </a:cxn>
                <a:cxn ang="0">
                  <a:pos x="25" y="11"/>
                </a:cxn>
              </a:cxnLst>
              <a:rect l="0" t="0" r="r" b="b"/>
              <a:pathLst>
                <a:path w="27" h="24">
                  <a:moveTo>
                    <a:pt x="25" y="11"/>
                  </a:moveTo>
                  <a:lnTo>
                    <a:pt x="27" y="24"/>
                  </a:lnTo>
                  <a:lnTo>
                    <a:pt x="16" y="24"/>
                  </a:lnTo>
                  <a:lnTo>
                    <a:pt x="2" y="24"/>
                  </a:lnTo>
                  <a:lnTo>
                    <a:pt x="2" y="22"/>
                  </a:lnTo>
                  <a:lnTo>
                    <a:pt x="8" y="18"/>
                  </a:lnTo>
                  <a:lnTo>
                    <a:pt x="14" y="22"/>
                  </a:lnTo>
                  <a:lnTo>
                    <a:pt x="16" y="18"/>
                  </a:lnTo>
                  <a:lnTo>
                    <a:pt x="8" y="15"/>
                  </a:lnTo>
                  <a:lnTo>
                    <a:pt x="2" y="18"/>
                  </a:lnTo>
                  <a:lnTo>
                    <a:pt x="2" y="15"/>
                  </a:lnTo>
                  <a:lnTo>
                    <a:pt x="0" y="11"/>
                  </a:lnTo>
                  <a:lnTo>
                    <a:pt x="4" y="6"/>
                  </a:lnTo>
                  <a:lnTo>
                    <a:pt x="8" y="2"/>
                  </a:lnTo>
                  <a:lnTo>
                    <a:pt x="14" y="0"/>
                  </a:lnTo>
                  <a:lnTo>
                    <a:pt x="18" y="6"/>
                  </a:lnTo>
                  <a:lnTo>
                    <a:pt x="21" y="9"/>
                  </a:lnTo>
                  <a:lnTo>
                    <a:pt x="25" y="11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3" name="Freeform 1249"/>
            <p:cNvSpPr>
              <a:spLocks/>
            </p:cNvSpPr>
            <p:nvPr/>
          </p:nvSpPr>
          <p:spPr bwMode="auto">
            <a:xfrm>
              <a:off x="3710360" y="3669406"/>
              <a:ext cx="290791" cy="382081"/>
            </a:xfrm>
            <a:custGeom>
              <a:avLst/>
              <a:gdLst/>
              <a:ahLst/>
              <a:cxnLst>
                <a:cxn ang="0">
                  <a:pos x="23" y="72"/>
                </a:cxn>
                <a:cxn ang="0">
                  <a:pos x="16" y="67"/>
                </a:cxn>
                <a:cxn ang="0">
                  <a:pos x="12" y="61"/>
                </a:cxn>
                <a:cxn ang="0">
                  <a:pos x="6" y="63"/>
                </a:cxn>
                <a:cxn ang="0">
                  <a:pos x="2" y="67"/>
                </a:cxn>
                <a:cxn ang="0">
                  <a:pos x="2" y="54"/>
                </a:cxn>
                <a:cxn ang="0">
                  <a:pos x="2" y="45"/>
                </a:cxn>
                <a:cxn ang="0">
                  <a:pos x="2" y="40"/>
                </a:cxn>
                <a:cxn ang="0">
                  <a:pos x="0" y="36"/>
                </a:cxn>
                <a:cxn ang="0">
                  <a:pos x="2" y="34"/>
                </a:cxn>
                <a:cxn ang="0">
                  <a:pos x="21" y="34"/>
                </a:cxn>
                <a:cxn ang="0">
                  <a:pos x="21" y="25"/>
                </a:cxn>
                <a:cxn ang="0">
                  <a:pos x="25" y="20"/>
                </a:cxn>
                <a:cxn ang="0">
                  <a:pos x="25" y="7"/>
                </a:cxn>
                <a:cxn ang="0">
                  <a:pos x="39" y="7"/>
                </a:cxn>
                <a:cxn ang="0">
                  <a:pos x="39" y="0"/>
                </a:cxn>
                <a:cxn ang="0">
                  <a:pos x="56" y="11"/>
                </a:cxn>
                <a:cxn ang="0">
                  <a:pos x="48" y="11"/>
                </a:cxn>
                <a:cxn ang="0">
                  <a:pos x="54" y="67"/>
                </a:cxn>
                <a:cxn ang="0">
                  <a:pos x="31" y="67"/>
                </a:cxn>
                <a:cxn ang="0">
                  <a:pos x="29" y="70"/>
                </a:cxn>
                <a:cxn ang="0">
                  <a:pos x="25" y="67"/>
                </a:cxn>
                <a:cxn ang="0">
                  <a:pos x="23" y="70"/>
                </a:cxn>
                <a:cxn ang="0">
                  <a:pos x="23" y="72"/>
                </a:cxn>
              </a:cxnLst>
              <a:rect l="0" t="0" r="r" b="b"/>
              <a:pathLst>
                <a:path w="56" h="72">
                  <a:moveTo>
                    <a:pt x="23" y="72"/>
                  </a:moveTo>
                  <a:lnTo>
                    <a:pt x="16" y="67"/>
                  </a:lnTo>
                  <a:lnTo>
                    <a:pt x="12" y="61"/>
                  </a:lnTo>
                  <a:lnTo>
                    <a:pt x="6" y="63"/>
                  </a:lnTo>
                  <a:lnTo>
                    <a:pt x="2" y="67"/>
                  </a:lnTo>
                  <a:lnTo>
                    <a:pt x="2" y="54"/>
                  </a:lnTo>
                  <a:lnTo>
                    <a:pt x="2" y="45"/>
                  </a:lnTo>
                  <a:lnTo>
                    <a:pt x="2" y="40"/>
                  </a:lnTo>
                  <a:lnTo>
                    <a:pt x="0" y="36"/>
                  </a:lnTo>
                  <a:lnTo>
                    <a:pt x="2" y="34"/>
                  </a:lnTo>
                  <a:lnTo>
                    <a:pt x="21" y="34"/>
                  </a:lnTo>
                  <a:lnTo>
                    <a:pt x="21" y="25"/>
                  </a:lnTo>
                  <a:lnTo>
                    <a:pt x="25" y="20"/>
                  </a:lnTo>
                  <a:lnTo>
                    <a:pt x="25" y="7"/>
                  </a:lnTo>
                  <a:lnTo>
                    <a:pt x="39" y="7"/>
                  </a:lnTo>
                  <a:lnTo>
                    <a:pt x="39" y="0"/>
                  </a:lnTo>
                  <a:lnTo>
                    <a:pt x="56" y="11"/>
                  </a:lnTo>
                  <a:lnTo>
                    <a:pt x="48" y="11"/>
                  </a:lnTo>
                  <a:lnTo>
                    <a:pt x="54" y="67"/>
                  </a:lnTo>
                  <a:lnTo>
                    <a:pt x="31" y="67"/>
                  </a:lnTo>
                  <a:lnTo>
                    <a:pt x="29" y="70"/>
                  </a:lnTo>
                  <a:lnTo>
                    <a:pt x="25" y="67"/>
                  </a:lnTo>
                  <a:lnTo>
                    <a:pt x="23" y="70"/>
                  </a:lnTo>
                  <a:lnTo>
                    <a:pt x="23" y="72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4" name="Freeform 1250"/>
            <p:cNvSpPr>
              <a:spLocks/>
            </p:cNvSpPr>
            <p:nvPr/>
          </p:nvSpPr>
          <p:spPr bwMode="auto">
            <a:xfrm>
              <a:off x="3710360" y="3658792"/>
              <a:ext cx="202514" cy="201654"/>
            </a:xfrm>
            <a:custGeom>
              <a:avLst/>
              <a:gdLst/>
              <a:ahLst/>
              <a:cxnLst>
                <a:cxn ang="0">
                  <a:pos x="39" y="0"/>
                </a:cxn>
                <a:cxn ang="0">
                  <a:pos x="39" y="2"/>
                </a:cxn>
                <a:cxn ang="0">
                  <a:pos x="39" y="9"/>
                </a:cxn>
                <a:cxn ang="0">
                  <a:pos x="25" y="9"/>
                </a:cxn>
                <a:cxn ang="0">
                  <a:pos x="25" y="22"/>
                </a:cxn>
                <a:cxn ang="0">
                  <a:pos x="21" y="27"/>
                </a:cxn>
                <a:cxn ang="0">
                  <a:pos x="21" y="36"/>
                </a:cxn>
                <a:cxn ang="0">
                  <a:pos x="2" y="36"/>
                </a:cxn>
                <a:cxn ang="0">
                  <a:pos x="0" y="38"/>
                </a:cxn>
                <a:cxn ang="0">
                  <a:pos x="0" y="31"/>
                </a:cxn>
                <a:cxn ang="0">
                  <a:pos x="12" y="18"/>
                </a:cxn>
                <a:cxn ang="0">
                  <a:pos x="14" y="9"/>
                </a:cxn>
                <a:cxn ang="0">
                  <a:pos x="16" y="4"/>
                </a:cxn>
                <a:cxn ang="0">
                  <a:pos x="21" y="0"/>
                </a:cxn>
                <a:cxn ang="0">
                  <a:pos x="29" y="0"/>
                </a:cxn>
                <a:cxn ang="0">
                  <a:pos x="39" y="0"/>
                </a:cxn>
              </a:cxnLst>
              <a:rect l="0" t="0" r="r" b="b"/>
              <a:pathLst>
                <a:path w="39" h="38">
                  <a:moveTo>
                    <a:pt x="39" y="0"/>
                  </a:moveTo>
                  <a:lnTo>
                    <a:pt x="39" y="2"/>
                  </a:lnTo>
                  <a:lnTo>
                    <a:pt x="39" y="9"/>
                  </a:lnTo>
                  <a:lnTo>
                    <a:pt x="25" y="9"/>
                  </a:lnTo>
                  <a:lnTo>
                    <a:pt x="25" y="22"/>
                  </a:lnTo>
                  <a:lnTo>
                    <a:pt x="21" y="27"/>
                  </a:lnTo>
                  <a:lnTo>
                    <a:pt x="21" y="36"/>
                  </a:lnTo>
                  <a:lnTo>
                    <a:pt x="2" y="36"/>
                  </a:lnTo>
                  <a:lnTo>
                    <a:pt x="0" y="38"/>
                  </a:lnTo>
                  <a:lnTo>
                    <a:pt x="0" y="31"/>
                  </a:lnTo>
                  <a:lnTo>
                    <a:pt x="12" y="18"/>
                  </a:lnTo>
                  <a:lnTo>
                    <a:pt x="14" y="9"/>
                  </a:lnTo>
                  <a:lnTo>
                    <a:pt x="16" y="4"/>
                  </a:lnTo>
                  <a:lnTo>
                    <a:pt x="21" y="0"/>
                  </a:lnTo>
                  <a:lnTo>
                    <a:pt x="29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5" name="Freeform 1251"/>
            <p:cNvSpPr>
              <a:spLocks/>
            </p:cNvSpPr>
            <p:nvPr/>
          </p:nvSpPr>
          <p:spPr bwMode="auto">
            <a:xfrm>
              <a:off x="4291940" y="3356312"/>
              <a:ext cx="98661" cy="217574"/>
            </a:xfrm>
            <a:custGeom>
              <a:avLst/>
              <a:gdLst/>
              <a:ahLst/>
              <a:cxnLst>
                <a:cxn ang="0">
                  <a:pos x="19" y="25"/>
                </a:cxn>
                <a:cxn ang="0">
                  <a:pos x="19" y="32"/>
                </a:cxn>
                <a:cxn ang="0">
                  <a:pos x="13" y="34"/>
                </a:cxn>
                <a:cxn ang="0">
                  <a:pos x="13" y="41"/>
                </a:cxn>
                <a:cxn ang="0">
                  <a:pos x="9" y="41"/>
                </a:cxn>
                <a:cxn ang="0">
                  <a:pos x="9" y="32"/>
                </a:cxn>
                <a:cxn ang="0">
                  <a:pos x="5" y="27"/>
                </a:cxn>
                <a:cxn ang="0">
                  <a:pos x="0" y="23"/>
                </a:cxn>
                <a:cxn ang="0">
                  <a:pos x="7" y="16"/>
                </a:cxn>
                <a:cxn ang="0">
                  <a:pos x="7" y="7"/>
                </a:cxn>
                <a:cxn ang="0">
                  <a:pos x="7" y="2"/>
                </a:cxn>
                <a:cxn ang="0">
                  <a:pos x="13" y="0"/>
                </a:cxn>
                <a:cxn ang="0">
                  <a:pos x="13" y="2"/>
                </a:cxn>
                <a:cxn ang="0">
                  <a:pos x="15" y="2"/>
                </a:cxn>
                <a:cxn ang="0">
                  <a:pos x="19" y="2"/>
                </a:cxn>
                <a:cxn ang="0">
                  <a:pos x="15" y="7"/>
                </a:cxn>
                <a:cxn ang="0">
                  <a:pos x="19" y="14"/>
                </a:cxn>
                <a:cxn ang="0">
                  <a:pos x="13" y="18"/>
                </a:cxn>
                <a:cxn ang="0">
                  <a:pos x="13" y="23"/>
                </a:cxn>
                <a:cxn ang="0">
                  <a:pos x="19" y="23"/>
                </a:cxn>
                <a:cxn ang="0">
                  <a:pos x="19" y="25"/>
                </a:cxn>
              </a:cxnLst>
              <a:rect l="0" t="0" r="r" b="b"/>
              <a:pathLst>
                <a:path w="19" h="41">
                  <a:moveTo>
                    <a:pt x="19" y="25"/>
                  </a:moveTo>
                  <a:lnTo>
                    <a:pt x="19" y="32"/>
                  </a:lnTo>
                  <a:lnTo>
                    <a:pt x="13" y="34"/>
                  </a:lnTo>
                  <a:lnTo>
                    <a:pt x="13" y="41"/>
                  </a:lnTo>
                  <a:lnTo>
                    <a:pt x="9" y="41"/>
                  </a:lnTo>
                  <a:lnTo>
                    <a:pt x="9" y="32"/>
                  </a:lnTo>
                  <a:lnTo>
                    <a:pt x="5" y="27"/>
                  </a:lnTo>
                  <a:lnTo>
                    <a:pt x="0" y="23"/>
                  </a:lnTo>
                  <a:lnTo>
                    <a:pt x="7" y="16"/>
                  </a:lnTo>
                  <a:lnTo>
                    <a:pt x="7" y="7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3" y="2"/>
                  </a:lnTo>
                  <a:lnTo>
                    <a:pt x="15" y="2"/>
                  </a:lnTo>
                  <a:lnTo>
                    <a:pt x="19" y="2"/>
                  </a:lnTo>
                  <a:lnTo>
                    <a:pt x="15" y="7"/>
                  </a:lnTo>
                  <a:lnTo>
                    <a:pt x="19" y="14"/>
                  </a:lnTo>
                  <a:lnTo>
                    <a:pt x="13" y="18"/>
                  </a:lnTo>
                  <a:lnTo>
                    <a:pt x="13" y="23"/>
                  </a:lnTo>
                  <a:lnTo>
                    <a:pt x="19" y="23"/>
                  </a:lnTo>
                  <a:lnTo>
                    <a:pt x="19" y="25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6" name="Freeform 1252"/>
            <p:cNvSpPr>
              <a:spLocks/>
            </p:cNvSpPr>
            <p:nvPr/>
          </p:nvSpPr>
          <p:spPr bwMode="auto">
            <a:xfrm>
              <a:off x="3923260" y="3165272"/>
              <a:ext cx="285598" cy="238800"/>
            </a:xfrm>
            <a:custGeom>
              <a:avLst/>
              <a:gdLst/>
              <a:ahLst/>
              <a:cxnLst>
                <a:cxn ang="0">
                  <a:pos x="40" y="7"/>
                </a:cxn>
                <a:cxn ang="0">
                  <a:pos x="55" y="7"/>
                </a:cxn>
                <a:cxn ang="0">
                  <a:pos x="55" y="11"/>
                </a:cxn>
                <a:cxn ang="0">
                  <a:pos x="46" y="16"/>
                </a:cxn>
                <a:cxn ang="0">
                  <a:pos x="38" y="25"/>
                </a:cxn>
                <a:cxn ang="0">
                  <a:pos x="40" y="29"/>
                </a:cxn>
                <a:cxn ang="0">
                  <a:pos x="30" y="38"/>
                </a:cxn>
                <a:cxn ang="0">
                  <a:pos x="21" y="38"/>
                </a:cxn>
                <a:cxn ang="0">
                  <a:pos x="15" y="45"/>
                </a:cxn>
                <a:cxn ang="0">
                  <a:pos x="11" y="36"/>
                </a:cxn>
                <a:cxn ang="0">
                  <a:pos x="11" y="29"/>
                </a:cxn>
                <a:cxn ang="0">
                  <a:pos x="11" y="25"/>
                </a:cxn>
                <a:cxn ang="0">
                  <a:pos x="13" y="20"/>
                </a:cxn>
                <a:cxn ang="0">
                  <a:pos x="13" y="18"/>
                </a:cxn>
                <a:cxn ang="0">
                  <a:pos x="15" y="11"/>
                </a:cxn>
                <a:cxn ang="0">
                  <a:pos x="13" y="11"/>
                </a:cxn>
                <a:cxn ang="0">
                  <a:pos x="5" y="11"/>
                </a:cxn>
                <a:cxn ang="0">
                  <a:pos x="0" y="7"/>
                </a:cxn>
                <a:cxn ang="0">
                  <a:pos x="5" y="2"/>
                </a:cxn>
                <a:cxn ang="0">
                  <a:pos x="7" y="0"/>
                </a:cxn>
                <a:cxn ang="0">
                  <a:pos x="23" y="2"/>
                </a:cxn>
                <a:cxn ang="0">
                  <a:pos x="32" y="2"/>
                </a:cxn>
                <a:cxn ang="0">
                  <a:pos x="36" y="2"/>
                </a:cxn>
                <a:cxn ang="0">
                  <a:pos x="38" y="5"/>
                </a:cxn>
                <a:cxn ang="0">
                  <a:pos x="40" y="7"/>
                </a:cxn>
              </a:cxnLst>
              <a:rect l="0" t="0" r="r" b="b"/>
              <a:pathLst>
                <a:path w="55" h="45">
                  <a:moveTo>
                    <a:pt x="40" y="7"/>
                  </a:moveTo>
                  <a:lnTo>
                    <a:pt x="55" y="7"/>
                  </a:lnTo>
                  <a:lnTo>
                    <a:pt x="55" y="11"/>
                  </a:lnTo>
                  <a:lnTo>
                    <a:pt x="46" y="16"/>
                  </a:lnTo>
                  <a:lnTo>
                    <a:pt x="38" y="25"/>
                  </a:lnTo>
                  <a:lnTo>
                    <a:pt x="40" y="29"/>
                  </a:lnTo>
                  <a:lnTo>
                    <a:pt x="30" y="38"/>
                  </a:lnTo>
                  <a:lnTo>
                    <a:pt x="21" y="38"/>
                  </a:lnTo>
                  <a:lnTo>
                    <a:pt x="15" y="45"/>
                  </a:lnTo>
                  <a:lnTo>
                    <a:pt x="11" y="36"/>
                  </a:lnTo>
                  <a:lnTo>
                    <a:pt x="11" y="29"/>
                  </a:lnTo>
                  <a:lnTo>
                    <a:pt x="11" y="25"/>
                  </a:lnTo>
                  <a:lnTo>
                    <a:pt x="13" y="20"/>
                  </a:lnTo>
                  <a:lnTo>
                    <a:pt x="13" y="18"/>
                  </a:lnTo>
                  <a:lnTo>
                    <a:pt x="15" y="11"/>
                  </a:lnTo>
                  <a:lnTo>
                    <a:pt x="13" y="11"/>
                  </a:lnTo>
                  <a:lnTo>
                    <a:pt x="5" y="11"/>
                  </a:lnTo>
                  <a:lnTo>
                    <a:pt x="0" y="7"/>
                  </a:lnTo>
                  <a:lnTo>
                    <a:pt x="5" y="2"/>
                  </a:lnTo>
                  <a:lnTo>
                    <a:pt x="7" y="0"/>
                  </a:lnTo>
                  <a:lnTo>
                    <a:pt x="23" y="2"/>
                  </a:lnTo>
                  <a:lnTo>
                    <a:pt x="32" y="2"/>
                  </a:lnTo>
                  <a:lnTo>
                    <a:pt x="36" y="2"/>
                  </a:lnTo>
                  <a:lnTo>
                    <a:pt x="38" y="5"/>
                  </a:lnTo>
                  <a:lnTo>
                    <a:pt x="40" y="7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7" name="Freeform 1253"/>
            <p:cNvSpPr>
              <a:spLocks/>
            </p:cNvSpPr>
            <p:nvPr/>
          </p:nvSpPr>
          <p:spPr bwMode="auto">
            <a:xfrm>
              <a:off x="3912875" y="3223645"/>
              <a:ext cx="88276" cy="143280"/>
            </a:xfrm>
            <a:custGeom>
              <a:avLst/>
              <a:gdLst/>
              <a:ahLst/>
              <a:cxnLst>
                <a:cxn ang="0">
                  <a:pos x="13" y="18"/>
                </a:cxn>
                <a:cxn ang="0">
                  <a:pos x="13" y="14"/>
                </a:cxn>
                <a:cxn ang="0">
                  <a:pos x="15" y="9"/>
                </a:cxn>
                <a:cxn ang="0">
                  <a:pos x="15" y="7"/>
                </a:cxn>
                <a:cxn ang="0">
                  <a:pos x="17" y="0"/>
                </a:cxn>
                <a:cxn ang="0">
                  <a:pos x="15" y="0"/>
                </a:cxn>
                <a:cxn ang="0">
                  <a:pos x="7" y="0"/>
                </a:cxn>
                <a:cxn ang="0">
                  <a:pos x="7" y="5"/>
                </a:cxn>
                <a:cxn ang="0">
                  <a:pos x="0" y="16"/>
                </a:cxn>
                <a:cxn ang="0">
                  <a:pos x="2" y="18"/>
                </a:cxn>
                <a:cxn ang="0">
                  <a:pos x="2" y="27"/>
                </a:cxn>
                <a:cxn ang="0">
                  <a:pos x="13" y="25"/>
                </a:cxn>
                <a:cxn ang="0">
                  <a:pos x="13" y="23"/>
                </a:cxn>
                <a:cxn ang="0">
                  <a:pos x="13" y="18"/>
                </a:cxn>
              </a:cxnLst>
              <a:rect l="0" t="0" r="r" b="b"/>
              <a:pathLst>
                <a:path w="17" h="27">
                  <a:moveTo>
                    <a:pt x="13" y="18"/>
                  </a:moveTo>
                  <a:lnTo>
                    <a:pt x="13" y="14"/>
                  </a:lnTo>
                  <a:lnTo>
                    <a:pt x="15" y="9"/>
                  </a:lnTo>
                  <a:lnTo>
                    <a:pt x="15" y="7"/>
                  </a:lnTo>
                  <a:lnTo>
                    <a:pt x="17" y="0"/>
                  </a:lnTo>
                  <a:lnTo>
                    <a:pt x="15" y="0"/>
                  </a:lnTo>
                  <a:lnTo>
                    <a:pt x="7" y="0"/>
                  </a:lnTo>
                  <a:lnTo>
                    <a:pt x="7" y="5"/>
                  </a:lnTo>
                  <a:lnTo>
                    <a:pt x="0" y="16"/>
                  </a:lnTo>
                  <a:lnTo>
                    <a:pt x="2" y="18"/>
                  </a:lnTo>
                  <a:lnTo>
                    <a:pt x="2" y="27"/>
                  </a:lnTo>
                  <a:lnTo>
                    <a:pt x="13" y="25"/>
                  </a:lnTo>
                  <a:lnTo>
                    <a:pt x="13" y="23"/>
                  </a:lnTo>
                  <a:lnTo>
                    <a:pt x="13" y="18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8" name="Freeform 1254"/>
            <p:cNvSpPr>
              <a:spLocks/>
            </p:cNvSpPr>
            <p:nvPr/>
          </p:nvSpPr>
          <p:spPr bwMode="auto">
            <a:xfrm>
              <a:off x="4042692" y="2937085"/>
              <a:ext cx="275212" cy="265334"/>
            </a:xfrm>
            <a:custGeom>
              <a:avLst/>
              <a:gdLst/>
              <a:ahLst/>
              <a:cxnLst>
                <a:cxn ang="0">
                  <a:pos x="53" y="21"/>
                </a:cxn>
                <a:cxn ang="0">
                  <a:pos x="53" y="16"/>
                </a:cxn>
                <a:cxn ang="0">
                  <a:pos x="46" y="9"/>
                </a:cxn>
                <a:cxn ang="0">
                  <a:pos x="44" y="9"/>
                </a:cxn>
                <a:cxn ang="0">
                  <a:pos x="40" y="9"/>
                </a:cxn>
                <a:cxn ang="0">
                  <a:pos x="40" y="7"/>
                </a:cxn>
                <a:cxn ang="0">
                  <a:pos x="38" y="9"/>
                </a:cxn>
                <a:cxn ang="0">
                  <a:pos x="32" y="3"/>
                </a:cxn>
                <a:cxn ang="0">
                  <a:pos x="32" y="0"/>
                </a:cxn>
                <a:cxn ang="0">
                  <a:pos x="30" y="3"/>
                </a:cxn>
                <a:cxn ang="0">
                  <a:pos x="28" y="7"/>
                </a:cxn>
                <a:cxn ang="0">
                  <a:pos x="21" y="9"/>
                </a:cxn>
                <a:cxn ang="0">
                  <a:pos x="21" y="12"/>
                </a:cxn>
                <a:cxn ang="0">
                  <a:pos x="15" y="12"/>
                </a:cxn>
                <a:cxn ang="0">
                  <a:pos x="15" y="9"/>
                </a:cxn>
                <a:cxn ang="0">
                  <a:pos x="13" y="9"/>
                </a:cxn>
                <a:cxn ang="0">
                  <a:pos x="15" y="16"/>
                </a:cxn>
                <a:cxn ang="0">
                  <a:pos x="9" y="16"/>
                </a:cxn>
                <a:cxn ang="0">
                  <a:pos x="7" y="16"/>
                </a:cxn>
                <a:cxn ang="0">
                  <a:pos x="0" y="16"/>
                </a:cxn>
                <a:cxn ang="0">
                  <a:pos x="0" y="18"/>
                </a:cxn>
                <a:cxn ang="0">
                  <a:pos x="9" y="21"/>
                </a:cxn>
                <a:cxn ang="0">
                  <a:pos x="15" y="27"/>
                </a:cxn>
                <a:cxn ang="0">
                  <a:pos x="15" y="30"/>
                </a:cxn>
                <a:cxn ang="0">
                  <a:pos x="13" y="43"/>
                </a:cxn>
                <a:cxn ang="0">
                  <a:pos x="13" y="45"/>
                </a:cxn>
                <a:cxn ang="0">
                  <a:pos x="17" y="50"/>
                </a:cxn>
                <a:cxn ang="0">
                  <a:pos x="32" y="50"/>
                </a:cxn>
                <a:cxn ang="0">
                  <a:pos x="36" y="45"/>
                </a:cxn>
                <a:cxn ang="0">
                  <a:pos x="46" y="45"/>
                </a:cxn>
                <a:cxn ang="0">
                  <a:pos x="53" y="43"/>
                </a:cxn>
                <a:cxn ang="0">
                  <a:pos x="46" y="36"/>
                </a:cxn>
                <a:cxn ang="0">
                  <a:pos x="48" y="30"/>
                </a:cxn>
                <a:cxn ang="0">
                  <a:pos x="46" y="27"/>
                </a:cxn>
                <a:cxn ang="0">
                  <a:pos x="46" y="30"/>
                </a:cxn>
                <a:cxn ang="0">
                  <a:pos x="44" y="27"/>
                </a:cxn>
                <a:cxn ang="0">
                  <a:pos x="48" y="21"/>
                </a:cxn>
                <a:cxn ang="0">
                  <a:pos x="51" y="21"/>
                </a:cxn>
                <a:cxn ang="0">
                  <a:pos x="53" y="21"/>
                </a:cxn>
              </a:cxnLst>
              <a:rect l="0" t="0" r="r" b="b"/>
              <a:pathLst>
                <a:path w="53" h="50">
                  <a:moveTo>
                    <a:pt x="53" y="21"/>
                  </a:moveTo>
                  <a:lnTo>
                    <a:pt x="53" y="16"/>
                  </a:lnTo>
                  <a:lnTo>
                    <a:pt x="46" y="9"/>
                  </a:lnTo>
                  <a:lnTo>
                    <a:pt x="44" y="9"/>
                  </a:lnTo>
                  <a:lnTo>
                    <a:pt x="40" y="9"/>
                  </a:lnTo>
                  <a:lnTo>
                    <a:pt x="40" y="7"/>
                  </a:lnTo>
                  <a:lnTo>
                    <a:pt x="38" y="9"/>
                  </a:lnTo>
                  <a:lnTo>
                    <a:pt x="32" y="3"/>
                  </a:lnTo>
                  <a:lnTo>
                    <a:pt x="32" y="0"/>
                  </a:lnTo>
                  <a:lnTo>
                    <a:pt x="30" y="3"/>
                  </a:lnTo>
                  <a:lnTo>
                    <a:pt x="28" y="7"/>
                  </a:lnTo>
                  <a:lnTo>
                    <a:pt x="21" y="9"/>
                  </a:lnTo>
                  <a:lnTo>
                    <a:pt x="21" y="12"/>
                  </a:lnTo>
                  <a:lnTo>
                    <a:pt x="15" y="12"/>
                  </a:lnTo>
                  <a:lnTo>
                    <a:pt x="15" y="9"/>
                  </a:lnTo>
                  <a:lnTo>
                    <a:pt x="13" y="9"/>
                  </a:lnTo>
                  <a:lnTo>
                    <a:pt x="15" y="16"/>
                  </a:lnTo>
                  <a:lnTo>
                    <a:pt x="9" y="16"/>
                  </a:lnTo>
                  <a:lnTo>
                    <a:pt x="7" y="16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9" y="21"/>
                  </a:lnTo>
                  <a:lnTo>
                    <a:pt x="15" y="27"/>
                  </a:lnTo>
                  <a:lnTo>
                    <a:pt x="15" y="30"/>
                  </a:lnTo>
                  <a:lnTo>
                    <a:pt x="13" y="43"/>
                  </a:lnTo>
                  <a:lnTo>
                    <a:pt x="13" y="45"/>
                  </a:lnTo>
                  <a:lnTo>
                    <a:pt x="17" y="50"/>
                  </a:lnTo>
                  <a:lnTo>
                    <a:pt x="32" y="50"/>
                  </a:lnTo>
                  <a:lnTo>
                    <a:pt x="36" y="45"/>
                  </a:lnTo>
                  <a:lnTo>
                    <a:pt x="46" y="45"/>
                  </a:lnTo>
                  <a:lnTo>
                    <a:pt x="53" y="43"/>
                  </a:lnTo>
                  <a:lnTo>
                    <a:pt x="46" y="36"/>
                  </a:lnTo>
                  <a:lnTo>
                    <a:pt x="48" y="30"/>
                  </a:lnTo>
                  <a:lnTo>
                    <a:pt x="46" y="27"/>
                  </a:lnTo>
                  <a:lnTo>
                    <a:pt x="46" y="30"/>
                  </a:lnTo>
                  <a:lnTo>
                    <a:pt x="44" y="27"/>
                  </a:lnTo>
                  <a:lnTo>
                    <a:pt x="48" y="21"/>
                  </a:lnTo>
                  <a:lnTo>
                    <a:pt x="51" y="21"/>
                  </a:lnTo>
                  <a:lnTo>
                    <a:pt x="53" y="21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9" name="Freeform 1255"/>
            <p:cNvSpPr>
              <a:spLocks/>
            </p:cNvSpPr>
            <p:nvPr/>
          </p:nvSpPr>
          <p:spPr bwMode="auto">
            <a:xfrm>
              <a:off x="4281555" y="3069752"/>
              <a:ext cx="259634" cy="275947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2" y="5"/>
                </a:cxn>
                <a:cxn ang="0">
                  <a:pos x="9" y="2"/>
                </a:cxn>
                <a:cxn ang="0">
                  <a:pos x="11" y="5"/>
                </a:cxn>
                <a:cxn ang="0">
                  <a:pos x="11" y="2"/>
                </a:cxn>
                <a:cxn ang="0">
                  <a:pos x="15" y="2"/>
                </a:cxn>
                <a:cxn ang="0">
                  <a:pos x="17" y="0"/>
                </a:cxn>
                <a:cxn ang="0">
                  <a:pos x="23" y="0"/>
                </a:cxn>
                <a:cxn ang="0">
                  <a:pos x="25" y="0"/>
                </a:cxn>
                <a:cxn ang="0">
                  <a:pos x="32" y="2"/>
                </a:cxn>
                <a:cxn ang="0">
                  <a:pos x="32" y="5"/>
                </a:cxn>
                <a:cxn ang="0">
                  <a:pos x="32" y="9"/>
                </a:cxn>
                <a:cxn ang="0">
                  <a:pos x="30" y="5"/>
                </a:cxn>
                <a:cxn ang="0">
                  <a:pos x="25" y="9"/>
                </a:cxn>
                <a:cxn ang="0">
                  <a:pos x="25" y="14"/>
                </a:cxn>
                <a:cxn ang="0">
                  <a:pos x="32" y="20"/>
                </a:cxn>
                <a:cxn ang="0">
                  <a:pos x="34" y="27"/>
                </a:cxn>
                <a:cxn ang="0">
                  <a:pos x="38" y="29"/>
                </a:cxn>
                <a:cxn ang="0">
                  <a:pos x="42" y="29"/>
                </a:cxn>
                <a:cxn ang="0">
                  <a:pos x="40" y="29"/>
                </a:cxn>
                <a:cxn ang="0">
                  <a:pos x="50" y="38"/>
                </a:cxn>
                <a:cxn ang="0">
                  <a:pos x="46" y="36"/>
                </a:cxn>
                <a:cxn ang="0">
                  <a:pos x="42" y="43"/>
                </a:cxn>
                <a:cxn ang="0">
                  <a:pos x="46" y="43"/>
                </a:cxn>
                <a:cxn ang="0">
                  <a:pos x="46" y="45"/>
                </a:cxn>
                <a:cxn ang="0">
                  <a:pos x="42" y="45"/>
                </a:cxn>
                <a:cxn ang="0">
                  <a:pos x="42" y="52"/>
                </a:cxn>
                <a:cxn ang="0">
                  <a:pos x="40" y="52"/>
                </a:cxn>
                <a:cxn ang="0">
                  <a:pos x="42" y="45"/>
                </a:cxn>
                <a:cxn ang="0">
                  <a:pos x="40" y="38"/>
                </a:cxn>
                <a:cxn ang="0">
                  <a:pos x="32" y="34"/>
                </a:cxn>
                <a:cxn ang="0">
                  <a:pos x="25" y="29"/>
                </a:cxn>
                <a:cxn ang="0">
                  <a:pos x="23" y="27"/>
                </a:cxn>
                <a:cxn ang="0">
                  <a:pos x="21" y="27"/>
                </a:cxn>
                <a:cxn ang="0">
                  <a:pos x="15" y="18"/>
                </a:cxn>
                <a:cxn ang="0">
                  <a:pos x="9" y="14"/>
                </a:cxn>
                <a:cxn ang="0">
                  <a:pos x="7" y="18"/>
                </a:cxn>
                <a:cxn ang="0">
                  <a:pos x="2" y="16"/>
                </a:cxn>
                <a:cxn ang="0">
                  <a:pos x="0" y="11"/>
                </a:cxn>
              </a:cxnLst>
              <a:rect l="0" t="0" r="r" b="b"/>
              <a:pathLst>
                <a:path w="50" h="52">
                  <a:moveTo>
                    <a:pt x="0" y="11"/>
                  </a:moveTo>
                  <a:lnTo>
                    <a:pt x="2" y="5"/>
                  </a:lnTo>
                  <a:lnTo>
                    <a:pt x="9" y="2"/>
                  </a:lnTo>
                  <a:lnTo>
                    <a:pt x="11" y="5"/>
                  </a:lnTo>
                  <a:lnTo>
                    <a:pt x="11" y="2"/>
                  </a:lnTo>
                  <a:lnTo>
                    <a:pt x="15" y="2"/>
                  </a:lnTo>
                  <a:lnTo>
                    <a:pt x="17" y="0"/>
                  </a:lnTo>
                  <a:lnTo>
                    <a:pt x="23" y="0"/>
                  </a:lnTo>
                  <a:lnTo>
                    <a:pt x="25" y="0"/>
                  </a:lnTo>
                  <a:lnTo>
                    <a:pt x="32" y="2"/>
                  </a:lnTo>
                  <a:lnTo>
                    <a:pt x="32" y="5"/>
                  </a:lnTo>
                  <a:lnTo>
                    <a:pt x="32" y="9"/>
                  </a:lnTo>
                  <a:lnTo>
                    <a:pt x="30" y="5"/>
                  </a:lnTo>
                  <a:lnTo>
                    <a:pt x="25" y="9"/>
                  </a:lnTo>
                  <a:lnTo>
                    <a:pt x="25" y="14"/>
                  </a:lnTo>
                  <a:lnTo>
                    <a:pt x="32" y="20"/>
                  </a:lnTo>
                  <a:lnTo>
                    <a:pt x="34" y="27"/>
                  </a:lnTo>
                  <a:lnTo>
                    <a:pt x="38" y="29"/>
                  </a:lnTo>
                  <a:lnTo>
                    <a:pt x="42" y="29"/>
                  </a:lnTo>
                  <a:lnTo>
                    <a:pt x="40" y="29"/>
                  </a:lnTo>
                  <a:lnTo>
                    <a:pt x="50" y="38"/>
                  </a:lnTo>
                  <a:lnTo>
                    <a:pt x="46" y="36"/>
                  </a:lnTo>
                  <a:lnTo>
                    <a:pt x="42" y="43"/>
                  </a:lnTo>
                  <a:lnTo>
                    <a:pt x="46" y="43"/>
                  </a:lnTo>
                  <a:lnTo>
                    <a:pt x="46" y="45"/>
                  </a:lnTo>
                  <a:lnTo>
                    <a:pt x="42" y="45"/>
                  </a:lnTo>
                  <a:lnTo>
                    <a:pt x="42" y="52"/>
                  </a:lnTo>
                  <a:lnTo>
                    <a:pt x="40" y="52"/>
                  </a:lnTo>
                  <a:lnTo>
                    <a:pt x="42" y="45"/>
                  </a:lnTo>
                  <a:lnTo>
                    <a:pt x="40" y="38"/>
                  </a:lnTo>
                  <a:lnTo>
                    <a:pt x="32" y="34"/>
                  </a:lnTo>
                  <a:lnTo>
                    <a:pt x="25" y="29"/>
                  </a:lnTo>
                  <a:lnTo>
                    <a:pt x="23" y="27"/>
                  </a:lnTo>
                  <a:lnTo>
                    <a:pt x="21" y="27"/>
                  </a:lnTo>
                  <a:lnTo>
                    <a:pt x="15" y="18"/>
                  </a:lnTo>
                  <a:lnTo>
                    <a:pt x="9" y="14"/>
                  </a:lnTo>
                  <a:lnTo>
                    <a:pt x="7" y="18"/>
                  </a:lnTo>
                  <a:lnTo>
                    <a:pt x="2" y="16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0" name="Freeform 1256"/>
            <p:cNvSpPr>
              <a:spLocks/>
            </p:cNvSpPr>
            <p:nvPr/>
          </p:nvSpPr>
          <p:spPr bwMode="auto">
            <a:xfrm>
              <a:off x="4639850" y="3144045"/>
              <a:ext cx="140203" cy="106133"/>
            </a:xfrm>
            <a:custGeom>
              <a:avLst/>
              <a:gdLst/>
              <a:ahLst/>
              <a:cxnLst>
                <a:cxn ang="0">
                  <a:pos x="19" y="0"/>
                </a:cxn>
                <a:cxn ang="0">
                  <a:pos x="13" y="4"/>
                </a:cxn>
                <a:cxn ang="0">
                  <a:pos x="4" y="4"/>
                </a:cxn>
                <a:cxn ang="0">
                  <a:pos x="2" y="0"/>
                </a:cxn>
                <a:cxn ang="0">
                  <a:pos x="0" y="4"/>
                </a:cxn>
                <a:cxn ang="0">
                  <a:pos x="0" y="11"/>
                </a:cxn>
                <a:cxn ang="0">
                  <a:pos x="0" y="13"/>
                </a:cxn>
                <a:cxn ang="0">
                  <a:pos x="2" y="20"/>
                </a:cxn>
                <a:cxn ang="0">
                  <a:pos x="9" y="15"/>
                </a:cxn>
                <a:cxn ang="0">
                  <a:pos x="13" y="20"/>
                </a:cxn>
                <a:cxn ang="0">
                  <a:pos x="17" y="15"/>
                </a:cxn>
                <a:cxn ang="0">
                  <a:pos x="25" y="15"/>
                </a:cxn>
                <a:cxn ang="0">
                  <a:pos x="21" y="11"/>
                </a:cxn>
                <a:cxn ang="0">
                  <a:pos x="25" y="6"/>
                </a:cxn>
                <a:cxn ang="0">
                  <a:pos x="27" y="4"/>
                </a:cxn>
                <a:cxn ang="0">
                  <a:pos x="23" y="2"/>
                </a:cxn>
                <a:cxn ang="0">
                  <a:pos x="19" y="0"/>
                </a:cxn>
              </a:cxnLst>
              <a:rect l="0" t="0" r="r" b="b"/>
              <a:pathLst>
                <a:path w="27" h="20">
                  <a:moveTo>
                    <a:pt x="19" y="0"/>
                  </a:moveTo>
                  <a:lnTo>
                    <a:pt x="13" y="4"/>
                  </a:lnTo>
                  <a:lnTo>
                    <a:pt x="4" y="4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11"/>
                  </a:lnTo>
                  <a:lnTo>
                    <a:pt x="0" y="13"/>
                  </a:lnTo>
                  <a:lnTo>
                    <a:pt x="2" y="20"/>
                  </a:lnTo>
                  <a:lnTo>
                    <a:pt x="9" y="15"/>
                  </a:lnTo>
                  <a:lnTo>
                    <a:pt x="13" y="20"/>
                  </a:lnTo>
                  <a:lnTo>
                    <a:pt x="17" y="15"/>
                  </a:lnTo>
                  <a:lnTo>
                    <a:pt x="25" y="15"/>
                  </a:lnTo>
                  <a:lnTo>
                    <a:pt x="21" y="11"/>
                  </a:lnTo>
                  <a:lnTo>
                    <a:pt x="25" y="6"/>
                  </a:lnTo>
                  <a:lnTo>
                    <a:pt x="27" y="4"/>
                  </a:lnTo>
                  <a:lnTo>
                    <a:pt x="23" y="2"/>
                  </a:lnTo>
                  <a:lnTo>
                    <a:pt x="19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1" name="Freeform 1257"/>
            <p:cNvSpPr>
              <a:spLocks/>
            </p:cNvSpPr>
            <p:nvPr/>
          </p:nvSpPr>
          <p:spPr bwMode="auto">
            <a:xfrm>
              <a:off x="4598309" y="3223645"/>
              <a:ext cx="129817" cy="132667"/>
            </a:xfrm>
            <a:custGeom>
              <a:avLst/>
              <a:gdLst/>
              <a:ahLst/>
              <a:cxnLst>
                <a:cxn ang="0">
                  <a:pos x="25" y="0"/>
                </a:cxn>
                <a:cxn ang="0">
                  <a:pos x="21" y="5"/>
                </a:cxn>
                <a:cxn ang="0">
                  <a:pos x="17" y="0"/>
                </a:cxn>
                <a:cxn ang="0">
                  <a:pos x="10" y="5"/>
                </a:cxn>
                <a:cxn ang="0">
                  <a:pos x="2" y="7"/>
                </a:cxn>
                <a:cxn ang="0">
                  <a:pos x="0" y="14"/>
                </a:cxn>
                <a:cxn ang="0">
                  <a:pos x="4" y="18"/>
                </a:cxn>
                <a:cxn ang="0">
                  <a:pos x="10" y="18"/>
                </a:cxn>
                <a:cxn ang="0">
                  <a:pos x="17" y="25"/>
                </a:cxn>
                <a:cxn ang="0">
                  <a:pos x="17" y="23"/>
                </a:cxn>
                <a:cxn ang="0">
                  <a:pos x="19" y="23"/>
                </a:cxn>
                <a:cxn ang="0">
                  <a:pos x="12" y="16"/>
                </a:cxn>
                <a:cxn ang="0">
                  <a:pos x="10" y="9"/>
                </a:cxn>
                <a:cxn ang="0">
                  <a:pos x="10" y="7"/>
                </a:cxn>
                <a:cxn ang="0">
                  <a:pos x="12" y="9"/>
                </a:cxn>
                <a:cxn ang="0">
                  <a:pos x="12" y="7"/>
                </a:cxn>
                <a:cxn ang="0">
                  <a:pos x="17" y="5"/>
                </a:cxn>
                <a:cxn ang="0">
                  <a:pos x="21" y="7"/>
                </a:cxn>
                <a:cxn ang="0">
                  <a:pos x="25" y="7"/>
                </a:cxn>
                <a:cxn ang="0">
                  <a:pos x="25" y="5"/>
                </a:cxn>
                <a:cxn ang="0">
                  <a:pos x="25" y="0"/>
                </a:cxn>
              </a:cxnLst>
              <a:rect l="0" t="0" r="r" b="b"/>
              <a:pathLst>
                <a:path w="25" h="25">
                  <a:moveTo>
                    <a:pt x="25" y="0"/>
                  </a:moveTo>
                  <a:lnTo>
                    <a:pt x="21" y="5"/>
                  </a:lnTo>
                  <a:lnTo>
                    <a:pt x="17" y="0"/>
                  </a:lnTo>
                  <a:lnTo>
                    <a:pt x="10" y="5"/>
                  </a:lnTo>
                  <a:lnTo>
                    <a:pt x="2" y="7"/>
                  </a:lnTo>
                  <a:lnTo>
                    <a:pt x="0" y="14"/>
                  </a:lnTo>
                  <a:lnTo>
                    <a:pt x="4" y="18"/>
                  </a:lnTo>
                  <a:lnTo>
                    <a:pt x="10" y="18"/>
                  </a:lnTo>
                  <a:lnTo>
                    <a:pt x="17" y="25"/>
                  </a:lnTo>
                  <a:lnTo>
                    <a:pt x="17" y="23"/>
                  </a:lnTo>
                  <a:lnTo>
                    <a:pt x="19" y="23"/>
                  </a:lnTo>
                  <a:lnTo>
                    <a:pt x="12" y="16"/>
                  </a:lnTo>
                  <a:lnTo>
                    <a:pt x="10" y="9"/>
                  </a:lnTo>
                  <a:lnTo>
                    <a:pt x="10" y="7"/>
                  </a:lnTo>
                  <a:lnTo>
                    <a:pt x="12" y="9"/>
                  </a:lnTo>
                  <a:lnTo>
                    <a:pt x="12" y="7"/>
                  </a:lnTo>
                  <a:lnTo>
                    <a:pt x="17" y="5"/>
                  </a:lnTo>
                  <a:lnTo>
                    <a:pt x="21" y="7"/>
                  </a:lnTo>
                  <a:lnTo>
                    <a:pt x="25" y="7"/>
                  </a:lnTo>
                  <a:lnTo>
                    <a:pt x="25" y="5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2" name="Freeform 1258"/>
            <p:cNvSpPr>
              <a:spLocks/>
            </p:cNvSpPr>
            <p:nvPr/>
          </p:nvSpPr>
          <p:spPr bwMode="auto">
            <a:xfrm>
              <a:off x="4577538" y="3032605"/>
              <a:ext cx="212901" cy="132667"/>
            </a:xfrm>
            <a:custGeom>
              <a:avLst/>
              <a:gdLst/>
              <a:ahLst/>
              <a:cxnLst>
                <a:cxn ang="0">
                  <a:pos x="37" y="16"/>
                </a:cxn>
                <a:cxn ang="0">
                  <a:pos x="41" y="16"/>
                </a:cxn>
                <a:cxn ang="0">
                  <a:pos x="41" y="18"/>
                </a:cxn>
                <a:cxn ang="0">
                  <a:pos x="37" y="21"/>
                </a:cxn>
                <a:cxn ang="0">
                  <a:pos x="39" y="25"/>
                </a:cxn>
                <a:cxn ang="0">
                  <a:pos x="31" y="21"/>
                </a:cxn>
                <a:cxn ang="0">
                  <a:pos x="25" y="25"/>
                </a:cxn>
                <a:cxn ang="0">
                  <a:pos x="16" y="25"/>
                </a:cxn>
                <a:cxn ang="0">
                  <a:pos x="14" y="21"/>
                </a:cxn>
                <a:cxn ang="0">
                  <a:pos x="12" y="18"/>
                </a:cxn>
                <a:cxn ang="0">
                  <a:pos x="8" y="18"/>
                </a:cxn>
                <a:cxn ang="0">
                  <a:pos x="0" y="12"/>
                </a:cxn>
                <a:cxn ang="0">
                  <a:pos x="4" y="12"/>
                </a:cxn>
                <a:cxn ang="0">
                  <a:pos x="6" y="9"/>
                </a:cxn>
                <a:cxn ang="0">
                  <a:pos x="8" y="3"/>
                </a:cxn>
                <a:cxn ang="0">
                  <a:pos x="12" y="0"/>
                </a:cxn>
                <a:cxn ang="0">
                  <a:pos x="21" y="3"/>
                </a:cxn>
                <a:cxn ang="0">
                  <a:pos x="29" y="0"/>
                </a:cxn>
                <a:cxn ang="0">
                  <a:pos x="33" y="7"/>
                </a:cxn>
                <a:cxn ang="0">
                  <a:pos x="35" y="12"/>
                </a:cxn>
                <a:cxn ang="0">
                  <a:pos x="37" y="16"/>
                </a:cxn>
              </a:cxnLst>
              <a:rect l="0" t="0" r="r" b="b"/>
              <a:pathLst>
                <a:path w="41" h="25">
                  <a:moveTo>
                    <a:pt x="37" y="16"/>
                  </a:moveTo>
                  <a:lnTo>
                    <a:pt x="41" y="16"/>
                  </a:lnTo>
                  <a:lnTo>
                    <a:pt x="41" y="18"/>
                  </a:lnTo>
                  <a:lnTo>
                    <a:pt x="37" y="21"/>
                  </a:lnTo>
                  <a:lnTo>
                    <a:pt x="39" y="25"/>
                  </a:lnTo>
                  <a:lnTo>
                    <a:pt x="31" y="21"/>
                  </a:lnTo>
                  <a:lnTo>
                    <a:pt x="25" y="25"/>
                  </a:lnTo>
                  <a:lnTo>
                    <a:pt x="16" y="25"/>
                  </a:lnTo>
                  <a:lnTo>
                    <a:pt x="14" y="21"/>
                  </a:lnTo>
                  <a:lnTo>
                    <a:pt x="12" y="18"/>
                  </a:lnTo>
                  <a:lnTo>
                    <a:pt x="8" y="18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6" y="9"/>
                  </a:lnTo>
                  <a:lnTo>
                    <a:pt x="8" y="3"/>
                  </a:lnTo>
                  <a:lnTo>
                    <a:pt x="12" y="0"/>
                  </a:lnTo>
                  <a:lnTo>
                    <a:pt x="21" y="3"/>
                  </a:lnTo>
                  <a:lnTo>
                    <a:pt x="29" y="0"/>
                  </a:lnTo>
                  <a:lnTo>
                    <a:pt x="33" y="7"/>
                  </a:lnTo>
                  <a:lnTo>
                    <a:pt x="35" y="12"/>
                  </a:lnTo>
                  <a:lnTo>
                    <a:pt x="37" y="16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3" name="Freeform 1259"/>
            <p:cNvSpPr>
              <a:spLocks/>
            </p:cNvSpPr>
            <p:nvPr/>
          </p:nvSpPr>
          <p:spPr bwMode="auto">
            <a:xfrm>
              <a:off x="4447721" y="3069752"/>
              <a:ext cx="51927" cy="47760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0" y="5"/>
                </a:cxn>
                <a:cxn ang="0">
                  <a:pos x="0" y="2"/>
                </a:cxn>
                <a:cxn ang="0">
                  <a:pos x="8" y="0"/>
                </a:cxn>
                <a:cxn ang="0">
                  <a:pos x="10" y="2"/>
                </a:cxn>
                <a:cxn ang="0">
                  <a:pos x="6" y="5"/>
                </a:cxn>
                <a:cxn ang="0">
                  <a:pos x="6" y="9"/>
                </a:cxn>
                <a:cxn ang="0">
                  <a:pos x="2" y="5"/>
                </a:cxn>
                <a:cxn ang="0">
                  <a:pos x="0" y="7"/>
                </a:cxn>
                <a:cxn ang="0">
                  <a:pos x="0" y="9"/>
                </a:cxn>
              </a:cxnLst>
              <a:rect l="0" t="0" r="r" b="b"/>
              <a:pathLst>
                <a:path w="10" h="9">
                  <a:moveTo>
                    <a:pt x="0" y="9"/>
                  </a:moveTo>
                  <a:lnTo>
                    <a:pt x="0" y="5"/>
                  </a:lnTo>
                  <a:lnTo>
                    <a:pt x="0" y="2"/>
                  </a:lnTo>
                  <a:lnTo>
                    <a:pt x="8" y="0"/>
                  </a:lnTo>
                  <a:lnTo>
                    <a:pt x="10" y="2"/>
                  </a:lnTo>
                  <a:lnTo>
                    <a:pt x="6" y="5"/>
                  </a:lnTo>
                  <a:lnTo>
                    <a:pt x="6" y="9"/>
                  </a:lnTo>
                  <a:lnTo>
                    <a:pt x="2" y="5"/>
                  </a:lnTo>
                  <a:lnTo>
                    <a:pt x="0" y="7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4" name="Freeform 1260"/>
            <p:cNvSpPr>
              <a:spLocks/>
            </p:cNvSpPr>
            <p:nvPr/>
          </p:nvSpPr>
          <p:spPr bwMode="auto">
            <a:xfrm>
              <a:off x="4447721" y="3080365"/>
              <a:ext cx="119432" cy="122054"/>
            </a:xfrm>
            <a:custGeom>
              <a:avLst/>
              <a:gdLst/>
              <a:ahLst/>
              <a:cxnLst>
                <a:cxn ang="0">
                  <a:pos x="18" y="3"/>
                </a:cxn>
                <a:cxn ang="0">
                  <a:pos x="16" y="3"/>
                </a:cxn>
                <a:cxn ang="0">
                  <a:pos x="10" y="0"/>
                </a:cxn>
                <a:cxn ang="0">
                  <a:pos x="6" y="3"/>
                </a:cxn>
                <a:cxn ang="0">
                  <a:pos x="6" y="7"/>
                </a:cxn>
                <a:cxn ang="0">
                  <a:pos x="2" y="3"/>
                </a:cxn>
                <a:cxn ang="0">
                  <a:pos x="0" y="7"/>
                </a:cxn>
                <a:cxn ang="0">
                  <a:pos x="0" y="9"/>
                </a:cxn>
                <a:cxn ang="0">
                  <a:pos x="2" y="7"/>
                </a:cxn>
                <a:cxn ang="0">
                  <a:pos x="6" y="9"/>
                </a:cxn>
                <a:cxn ang="0">
                  <a:pos x="6" y="16"/>
                </a:cxn>
                <a:cxn ang="0">
                  <a:pos x="18" y="23"/>
                </a:cxn>
                <a:cxn ang="0">
                  <a:pos x="10" y="12"/>
                </a:cxn>
                <a:cxn ang="0">
                  <a:pos x="8" y="9"/>
                </a:cxn>
                <a:cxn ang="0">
                  <a:pos x="10" y="7"/>
                </a:cxn>
                <a:cxn ang="0">
                  <a:pos x="18" y="9"/>
                </a:cxn>
                <a:cxn ang="0">
                  <a:pos x="23" y="9"/>
                </a:cxn>
                <a:cxn ang="0">
                  <a:pos x="23" y="7"/>
                </a:cxn>
                <a:cxn ang="0">
                  <a:pos x="20" y="5"/>
                </a:cxn>
                <a:cxn ang="0">
                  <a:pos x="18" y="3"/>
                </a:cxn>
              </a:cxnLst>
              <a:rect l="0" t="0" r="r" b="b"/>
              <a:pathLst>
                <a:path w="23" h="23">
                  <a:moveTo>
                    <a:pt x="18" y="3"/>
                  </a:moveTo>
                  <a:lnTo>
                    <a:pt x="16" y="3"/>
                  </a:lnTo>
                  <a:lnTo>
                    <a:pt x="10" y="0"/>
                  </a:lnTo>
                  <a:lnTo>
                    <a:pt x="6" y="3"/>
                  </a:lnTo>
                  <a:lnTo>
                    <a:pt x="6" y="7"/>
                  </a:lnTo>
                  <a:lnTo>
                    <a:pt x="2" y="3"/>
                  </a:lnTo>
                  <a:lnTo>
                    <a:pt x="0" y="7"/>
                  </a:lnTo>
                  <a:lnTo>
                    <a:pt x="0" y="9"/>
                  </a:lnTo>
                  <a:lnTo>
                    <a:pt x="2" y="7"/>
                  </a:lnTo>
                  <a:lnTo>
                    <a:pt x="6" y="9"/>
                  </a:lnTo>
                  <a:lnTo>
                    <a:pt x="6" y="16"/>
                  </a:lnTo>
                  <a:lnTo>
                    <a:pt x="18" y="23"/>
                  </a:lnTo>
                  <a:lnTo>
                    <a:pt x="10" y="12"/>
                  </a:lnTo>
                  <a:lnTo>
                    <a:pt x="8" y="9"/>
                  </a:lnTo>
                  <a:lnTo>
                    <a:pt x="10" y="7"/>
                  </a:lnTo>
                  <a:lnTo>
                    <a:pt x="18" y="9"/>
                  </a:lnTo>
                  <a:lnTo>
                    <a:pt x="23" y="9"/>
                  </a:lnTo>
                  <a:lnTo>
                    <a:pt x="23" y="7"/>
                  </a:lnTo>
                  <a:lnTo>
                    <a:pt x="20" y="5"/>
                  </a:lnTo>
                  <a:lnTo>
                    <a:pt x="18" y="3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5" name="Freeform 1261"/>
            <p:cNvSpPr>
              <a:spLocks/>
            </p:cNvSpPr>
            <p:nvPr/>
          </p:nvSpPr>
          <p:spPr bwMode="auto">
            <a:xfrm>
              <a:off x="4489262" y="3117512"/>
              <a:ext cx="88276" cy="84907"/>
            </a:xfrm>
            <a:custGeom>
              <a:avLst/>
              <a:gdLst/>
              <a:ahLst/>
              <a:cxnLst>
                <a:cxn ang="0">
                  <a:pos x="15" y="2"/>
                </a:cxn>
                <a:cxn ang="0">
                  <a:pos x="15" y="5"/>
                </a:cxn>
                <a:cxn ang="0">
                  <a:pos x="17" y="9"/>
                </a:cxn>
                <a:cxn ang="0">
                  <a:pos x="15" y="9"/>
                </a:cxn>
                <a:cxn ang="0">
                  <a:pos x="10" y="11"/>
                </a:cxn>
                <a:cxn ang="0">
                  <a:pos x="10" y="16"/>
                </a:cxn>
                <a:cxn ang="0">
                  <a:pos x="2" y="5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10" y="2"/>
                </a:cxn>
                <a:cxn ang="0">
                  <a:pos x="12" y="2"/>
                </a:cxn>
                <a:cxn ang="0">
                  <a:pos x="15" y="2"/>
                </a:cxn>
              </a:cxnLst>
              <a:rect l="0" t="0" r="r" b="b"/>
              <a:pathLst>
                <a:path w="17" h="16">
                  <a:moveTo>
                    <a:pt x="15" y="2"/>
                  </a:moveTo>
                  <a:lnTo>
                    <a:pt x="15" y="5"/>
                  </a:lnTo>
                  <a:lnTo>
                    <a:pt x="17" y="9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10" y="16"/>
                  </a:lnTo>
                  <a:lnTo>
                    <a:pt x="2" y="5"/>
                  </a:lnTo>
                  <a:lnTo>
                    <a:pt x="0" y="2"/>
                  </a:lnTo>
                  <a:lnTo>
                    <a:pt x="2" y="0"/>
                  </a:lnTo>
                  <a:lnTo>
                    <a:pt x="10" y="2"/>
                  </a:lnTo>
                  <a:lnTo>
                    <a:pt x="12" y="2"/>
                  </a:lnTo>
                  <a:lnTo>
                    <a:pt x="15" y="2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6" name="Freeform 1262"/>
            <p:cNvSpPr>
              <a:spLocks/>
            </p:cNvSpPr>
            <p:nvPr/>
          </p:nvSpPr>
          <p:spPr bwMode="auto">
            <a:xfrm>
              <a:off x="4541189" y="3165272"/>
              <a:ext cx="57120" cy="58373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7" y="11"/>
                </a:cxn>
                <a:cxn ang="0">
                  <a:pos x="7" y="7"/>
                </a:cxn>
                <a:cxn ang="0">
                  <a:pos x="11" y="7"/>
                </a:cxn>
                <a:cxn ang="0">
                  <a:pos x="5" y="0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0" y="7"/>
                </a:cxn>
              </a:cxnLst>
              <a:rect l="0" t="0" r="r" b="b"/>
              <a:pathLst>
                <a:path w="11" h="11">
                  <a:moveTo>
                    <a:pt x="0" y="7"/>
                  </a:moveTo>
                  <a:lnTo>
                    <a:pt x="7" y="11"/>
                  </a:lnTo>
                  <a:lnTo>
                    <a:pt x="7" y="7"/>
                  </a:lnTo>
                  <a:lnTo>
                    <a:pt x="11" y="7"/>
                  </a:lnTo>
                  <a:lnTo>
                    <a:pt x="5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7" name="Freeform 1263"/>
            <p:cNvSpPr>
              <a:spLocks/>
            </p:cNvSpPr>
            <p:nvPr/>
          </p:nvSpPr>
          <p:spPr bwMode="auto">
            <a:xfrm>
              <a:off x="4541189" y="3096285"/>
              <a:ext cx="109047" cy="127360"/>
            </a:xfrm>
            <a:custGeom>
              <a:avLst/>
              <a:gdLst/>
              <a:ahLst/>
              <a:cxnLst>
                <a:cxn ang="0">
                  <a:pos x="11" y="24"/>
                </a:cxn>
                <a:cxn ang="0">
                  <a:pos x="11" y="20"/>
                </a:cxn>
                <a:cxn ang="0">
                  <a:pos x="7" y="20"/>
                </a:cxn>
                <a:cxn ang="0">
                  <a:pos x="11" y="20"/>
                </a:cxn>
                <a:cxn ang="0">
                  <a:pos x="5" y="13"/>
                </a:cxn>
                <a:cxn ang="0">
                  <a:pos x="7" y="13"/>
                </a:cxn>
                <a:cxn ang="0">
                  <a:pos x="5" y="9"/>
                </a:cxn>
                <a:cxn ang="0">
                  <a:pos x="5" y="6"/>
                </a:cxn>
                <a:cxn ang="0">
                  <a:pos x="5" y="4"/>
                </a:cxn>
                <a:cxn ang="0">
                  <a:pos x="0" y="0"/>
                </a:cxn>
                <a:cxn ang="0">
                  <a:pos x="7" y="0"/>
                </a:cxn>
                <a:cxn ang="0">
                  <a:pos x="15" y="6"/>
                </a:cxn>
                <a:cxn ang="0">
                  <a:pos x="19" y="6"/>
                </a:cxn>
                <a:cxn ang="0">
                  <a:pos x="21" y="9"/>
                </a:cxn>
                <a:cxn ang="0">
                  <a:pos x="19" y="13"/>
                </a:cxn>
                <a:cxn ang="0">
                  <a:pos x="19" y="20"/>
                </a:cxn>
                <a:cxn ang="0">
                  <a:pos x="19" y="22"/>
                </a:cxn>
                <a:cxn ang="0">
                  <a:pos x="15" y="22"/>
                </a:cxn>
                <a:cxn ang="0">
                  <a:pos x="13" y="24"/>
                </a:cxn>
                <a:cxn ang="0">
                  <a:pos x="11" y="24"/>
                </a:cxn>
              </a:cxnLst>
              <a:rect l="0" t="0" r="r" b="b"/>
              <a:pathLst>
                <a:path w="21" h="24">
                  <a:moveTo>
                    <a:pt x="11" y="24"/>
                  </a:moveTo>
                  <a:lnTo>
                    <a:pt x="11" y="20"/>
                  </a:lnTo>
                  <a:lnTo>
                    <a:pt x="7" y="20"/>
                  </a:lnTo>
                  <a:lnTo>
                    <a:pt x="11" y="20"/>
                  </a:lnTo>
                  <a:lnTo>
                    <a:pt x="5" y="13"/>
                  </a:lnTo>
                  <a:lnTo>
                    <a:pt x="7" y="13"/>
                  </a:lnTo>
                  <a:lnTo>
                    <a:pt x="5" y="9"/>
                  </a:lnTo>
                  <a:lnTo>
                    <a:pt x="5" y="6"/>
                  </a:lnTo>
                  <a:lnTo>
                    <a:pt x="5" y="4"/>
                  </a:lnTo>
                  <a:lnTo>
                    <a:pt x="0" y="0"/>
                  </a:lnTo>
                  <a:lnTo>
                    <a:pt x="7" y="0"/>
                  </a:lnTo>
                  <a:lnTo>
                    <a:pt x="15" y="6"/>
                  </a:lnTo>
                  <a:lnTo>
                    <a:pt x="19" y="6"/>
                  </a:lnTo>
                  <a:lnTo>
                    <a:pt x="21" y="9"/>
                  </a:lnTo>
                  <a:lnTo>
                    <a:pt x="19" y="13"/>
                  </a:lnTo>
                  <a:lnTo>
                    <a:pt x="19" y="20"/>
                  </a:lnTo>
                  <a:lnTo>
                    <a:pt x="19" y="22"/>
                  </a:lnTo>
                  <a:lnTo>
                    <a:pt x="15" y="22"/>
                  </a:lnTo>
                  <a:lnTo>
                    <a:pt x="13" y="24"/>
                  </a:lnTo>
                  <a:lnTo>
                    <a:pt x="11" y="24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8" name="Freeform 1264"/>
            <p:cNvSpPr>
              <a:spLocks/>
            </p:cNvSpPr>
            <p:nvPr/>
          </p:nvSpPr>
          <p:spPr bwMode="auto">
            <a:xfrm>
              <a:off x="4598309" y="3213032"/>
              <a:ext cx="51927" cy="47760"/>
            </a:xfrm>
            <a:custGeom>
              <a:avLst/>
              <a:gdLst/>
              <a:ahLst/>
              <a:cxnLst>
                <a:cxn ang="0">
                  <a:pos x="10" y="7"/>
                </a:cxn>
                <a:cxn ang="0">
                  <a:pos x="8" y="0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2" y="9"/>
                </a:cxn>
                <a:cxn ang="0">
                  <a:pos x="6" y="9"/>
                </a:cxn>
                <a:cxn ang="0">
                  <a:pos x="10" y="7"/>
                </a:cxn>
              </a:cxnLst>
              <a:rect l="0" t="0" r="r" b="b"/>
              <a:pathLst>
                <a:path w="10" h="9">
                  <a:moveTo>
                    <a:pt x="10" y="7"/>
                  </a:moveTo>
                  <a:lnTo>
                    <a:pt x="8" y="0"/>
                  </a:lnTo>
                  <a:lnTo>
                    <a:pt x="4" y="0"/>
                  </a:lnTo>
                  <a:lnTo>
                    <a:pt x="0" y="2"/>
                  </a:lnTo>
                  <a:lnTo>
                    <a:pt x="2" y="9"/>
                  </a:lnTo>
                  <a:lnTo>
                    <a:pt x="6" y="9"/>
                  </a:lnTo>
                  <a:lnTo>
                    <a:pt x="10" y="7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9" name="Freeform 1265"/>
            <p:cNvSpPr>
              <a:spLocks/>
            </p:cNvSpPr>
            <p:nvPr/>
          </p:nvSpPr>
          <p:spPr bwMode="auto">
            <a:xfrm>
              <a:off x="4447721" y="2841565"/>
              <a:ext cx="212901" cy="159200"/>
            </a:xfrm>
            <a:custGeom>
              <a:avLst/>
              <a:gdLst/>
              <a:ahLst/>
              <a:cxnLst>
                <a:cxn ang="0">
                  <a:pos x="39" y="18"/>
                </a:cxn>
                <a:cxn ang="0">
                  <a:pos x="37" y="16"/>
                </a:cxn>
                <a:cxn ang="0">
                  <a:pos x="39" y="9"/>
                </a:cxn>
                <a:cxn ang="0">
                  <a:pos x="37" y="3"/>
                </a:cxn>
                <a:cxn ang="0">
                  <a:pos x="33" y="3"/>
                </a:cxn>
                <a:cxn ang="0">
                  <a:pos x="23" y="0"/>
                </a:cxn>
                <a:cxn ang="0">
                  <a:pos x="18" y="3"/>
                </a:cxn>
                <a:cxn ang="0">
                  <a:pos x="16" y="0"/>
                </a:cxn>
                <a:cxn ang="0">
                  <a:pos x="0" y="5"/>
                </a:cxn>
                <a:cxn ang="0">
                  <a:pos x="2" y="21"/>
                </a:cxn>
                <a:cxn ang="0">
                  <a:pos x="8" y="21"/>
                </a:cxn>
                <a:cxn ang="0">
                  <a:pos x="10" y="25"/>
                </a:cxn>
                <a:cxn ang="0">
                  <a:pos x="14" y="25"/>
                </a:cxn>
                <a:cxn ang="0">
                  <a:pos x="25" y="30"/>
                </a:cxn>
                <a:cxn ang="0">
                  <a:pos x="31" y="30"/>
                </a:cxn>
                <a:cxn ang="0">
                  <a:pos x="33" y="30"/>
                </a:cxn>
                <a:cxn ang="0">
                  <a:pos x="41" y="25"/>
                </a:cxn>
                <a:cxn ang="0">
                  <a:pos x="39" y="23"/>
                </a:cxn>
                <a:cxn ang="0">
                  <a:pos x="39" y="18"/>
                </a:cxn>
              </a:cxnLst>
              <a:rect l="0" t="0" r="r" b="b"/>
              <a:pathLst>
                <a:path w="41" h="30">
                  <a:moveTo>
                    <a:pt x="39" y="18"/>
                  </a:moveTo>
                  <a:lnTo>
                    <a:pt x="37" y="16"/>
                  </a:lnTo>
                  <a:lnTo>
                    <a:pt x="39" y="9"/>
                  </a:lnTo>
                  <a:lnTo>
                    <a:pt x="37" y="3"/>
                  </a:lnTo>
                  <a:lnTo>
                    <a:pt x="33" y="3"/>
                  </a:lnTo>
                  <a:lnTo>
                    <a:pt x="23" y="0"/>
                  </a:lnTo>
                  <a:lnTo>
                    <a:pt x="18" y="3"/>
                  </a:lnTo>
                  <a:lnTo>
                    <a:pt x="16" y="0"/>
                  </a:lnTo>
                  <a:lnTo>
                    <a:pt x="0" y="5"/>
                  </a:lnTo>
                  <a:lnTo>
                    <a:pt x="2" y="21"/>
                  </a:lnTo>
                  <a:lnTo>
                    <a:pt x="8" y="21"/>
                  </a:lnTo>
                  <a:lnTo>
                    <a:pt x="10" y="25"/>
                  </a:lnTo>
                  <a:lnTo>
                    <a:pt x="14" y="25"/>
                  </a:lnTo>
                  <a:lnTo>
                    <a:pt x="25" y="30"/>
                  </a:lnTo>
                  <a:lnTo>
                    <a:pt x="31" y="30"/>
                  </a:lnTo>
                  <a:lnTo>
                    <a:pt x="33" y="30"/>
                  </a:lnTo>
                  <a:lnTo>
                    <a:pt x="41" y="25"/>
                  </a:lnTo>
                  <a:lnTo>
                    <a:pt x="39" y="23"/>
                  </a:lnTo>
                  <a:lnTo>
                    <a:pt x="39" y="18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0" name="Freeform 1266"/>
            <p:cNvSpPr>
              <a:spLocks/>
            </p:cNvSpPr>
            <p:nvPr/>
          </p:nvSpPr>
          <p:spPr bwMode="auto">
            <a:xfrm>
              <a:off x="4281555" y="2841565"/>
              <a:ext cx="176552" cy="206960"/>
            </a:xfrm>
            <a:custGeom>
              <a:avLst/>
              <a:gdLst/>
              <a:ahLst/>
              <a:cxnLst>
                <a:cxn ang="0">
                  <a:pos x="21" y="3"/>
                </a:cxn>
                <a:cxn ang="0">
                  <a:pos x="15" y="0"/>
                </a:cxn>
                <a:cxn ang="0">
                  <a:pos x="11" y="0"/>
                </a:cxn>
                <a:cxn ang="0">
                  <a:pos x="9" y="5"/>
                </a:cxn>
                <a:cxn ang="0">
                  <a:pos x="7" y="5"/>
                </a:cxn>
                <a:cxn ang="0">
                  <a:pos x="2" y="12"/>
                </a:cxn>
                <a:cxn ang="0">
                  <a:pos x="0" y="16"/>
                </a:cxn>
                <a:cxn ang="0">
                  <a:pos x="0" y="21"/>
                </a:cxn>
                <a:cxn ang="0">
                  <a:pos x="0" y="25"/>
                </a:cxn>
                <a:cxn ang="0">
                  <a:pos x="0" y="27"/>
                </a:cxn>
                <a:cxn ang="0">
                  <a:pos x="7" y="34"/>
                </a:cxn>
                <a:cxn ang="0">
                  <a:pos x="7" y="39"/>
                </a:cxn>
                <a:cxn ang="0">
                  <a:pos x="15" y="39"/>
                </a:cxn>
                <a:cxn ang="0">
                  <a:pos x="30" y="39"/>
                </a:cxn>
                <a:cxn ang="0">
                  <a:pos x="25" y="36"/>
                </a:cxn>
                <a:cxn ang="0">
                  <a:pos x="32" y="34"/>
                </a:cxn>
                <a:cxn ang="0">
                  <a:pos x="25" y="27"/>
                </a:cxn>
                <a:cxn ang="0">
                  <a:pos x="23" y="25"/>
                </a:cxn>
                <a:cxn ang="0">
                  <a:pos x="34" y="18"/>
                </a:cxn>
                <a:cxn ang="0">
                  <a:pos x="34" y="21"/>
                </a:cxn>
                <a:cxn ang="0">
                  <a:pos x="32" y="5"/>
                </a:cxn>
                <a:cxn ang="0">
                  <a:pos x="30" y="3"/>
                </a:cxn>
                <a:cxn ang="0">
                  <a:pos x="32" y="3"/>
                </a:cxn>
                <a:cxn ang="0">
                  <a:pos x="30" y="0"/>
                </a:cxn>
                <a:cxn ang="0">
                  <a:pos x="21" y="5"/>
                </a:cxn>
                <a:cxn ang="0">
                  <a:pos x="21" y="3"/>
                </a:cxn>
              </a:cxnLst>
              <a:rect l="0" t="0" r="r" b="b"/>
              <a:pathLst>
                <a:path w="34" h="39">
                  <a:moveTo>
                    <a:pt x="21" y="3"/>
                  </a:moveTo>
                  <a:lnTo>
                    <a:pt x="15" y="0"/>
                  </a:lnTo>
                  <a:lnTo>
                    <a:pt x="11" y="0"/>
                  </a:lnTo>
                  <a:lnTo>
                    <a:pt x="9" y="5"/>
                  </a:lnTo>
                  <a:lnTo>
                    <a:pt x="7" y="5"/>
                  </a:lnTo>
                  <a:lnTo>
                    <a:pt x="2" y="12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0" y="25"/>
                  </a:lnTo>
                  <a:lnTo>
                    <a:pt x="0" y="27"/>
                  </a:lnTo>
                  <a:lnTo>
                    <a:pt x="7" y="34"/>
                  </a:lnTo>
                  <a:lnTo>
                    <a:pt x="7" y="39"/>
                  </a:lnTo>
                  <a:lnTo>
                    <a:pt x="15" y="39"/>
                  </a:lnTo>
                  <a:lnTo>
                    <a:pt x="30" y="39"/>
                  </a:lnTo>
                  <a:lnTo>
                    <a:pt x="25" y="36"/>
                  </a:lnTo>
                  <a:lnTo>
                    <a:pt x="32" y="34"/>
                  </a:lnTo>
                  <a:lnTo>
                    <a:pt x="25" y="27"/>
                  </a:lnTo>
                  <a:lnTo>
                    <a:pt x="23" y="25"/>
                  </a:lnTo>
                  <a:lnTo>
                    <a:pt x="34" y="18"/>
                  </a:lnTo>
                  <a:lnTo>
                    <a:pt x="34" y="21"/>
                  </a:lnTo>
                  <a:lnTo>
                    <a:pt x="32" y="5"/>
                  </a:lnTo>
                  <a:lnTo>
                    <a:pt x="30" y="3"/>
                  </a:lnTo>
                  <a:lnTo>
                    <a:pt x="32" y="3"/>
                  </a:lnTo>
                  <a:lnTo>
                    <a:pt x="30" y="0"/>
                  </a:lnTo>
                  <a:lnTo>
                    <a:pt x="21" y="5"/>
                  </a:lnTo>
                  <a:lnTo>
                    <a:pt x="21" y="3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1" name="Freeform 1267"/>
            <p:cNvSpPr>
              <a:spLocks/>
            </p:cNvSpPr>
            <p:nvPr/>
          </p:nvSpPr>
          <p:spPr bwMode="auto">
            <a:xfrm>
              <a:off x="4208858" y="2937085"/>
              <a:ext cx="72698" cy="4776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8" y="0"/>
                </a:cxn>
                <a:cxn ang="0">
                  <a:pos x="14" y="3"/>
                </a:cxn>
                <a:cxn ang="0">
                  <a:pos x="14" y="7"/>
                </a:cxn>
                <a:cxn ang="0">
                  <a:pos x="12" y="9"/>
                </a:cxn>
                <a:cxn ang="0">
                  <a:pos x="8" y="9"/>
                </a:cxn>
                <a:cxn ang="0">
                  <a:pos x="8" y="7"/>
                </a:cxn>
                <a:cxn ang="0">
                  <a:pos x="6" y="9"/>
                </a:cxn>
                <a:cxn ang="0">
                  <a:pos x="0" y="3"/>
                </a:cxn>
                <a:cxn ang="0">
                  <a:pos x="2" y="3"/>
                </a:cxn>
                <a:cxn ang="0">
                  <a:pos x="4" y="0"/>
                </a:cxn>
              </a:cxnLst>
              <a:rect l="0" t="0" r="r" b="b"/>
              <a:pathLst>
                <a:path w="14" h="9">
                  <a:moveTo>
                    <a:pt x="4" y="0"/>
                  </a:moveTo>
                  <a:lnTo>
                    <a:pt x="8" y="0"/>
                  </a:lnTo>
                  <a:lnTo>
                    <a:pt x="14" y="3"/>
                  </a:lnTo>
                  <a:lnTo>
                    <a:pt x="14" y="7"/>
                  </a:lnTo>
                  <a:lnTo>
                    <a:pt x="12" y="9"/>
                  </a:lnTo>
                  <a:lnTo>
                    <a:pt x="8" y="9"/>
                  </a:lnTo>
                  <a:lnTo>
                    <a:pt x="8" y="7"/>
                  </a:lnTo>
                  <a:lnTo>
                    <a:pt x="6" y="9"/>
                  </a:lnTo>
                  <a:lnTo>
                    <a:pt x="0" y="3"/>
                  </a:lnTo>
                  <a:lnTo>
                    <a:pt x="2" y="3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2" name="Freeform 1268"/>
            <p:cNvSpPr>
              <a:spLocks/>
            </p:cNvSpPr>
            <p:nvPr/>
          </p:nvSpPr>
          <p:spPr bwMode="auto">
            <a:xfrm>
              <a:off x="4271170" y="2390497"/>
              <a:ext cx="467342" cy="355547"/>
            </a:xfrm>
            <a:custGeom>
              <a:avLst/>
              <a:gdLst/>
              <a:ahLst/>
              <a:cxnLst>
                <a:cxn ang="0">
                  <a:pos x="52" y="11"/>
                </a:cxn>
                <a:cxn ang="0">
                  <a:pos x="52" y="16"/>
                </a:cxn>
                <a:cxn ang="0">
                  <a:pos x="48" y="11"/>
                </a:cxn>
                <a:cxn ang="0">
                  <a:pos x="44" y="16"/>
                </a:cxn>
                <a:cxn ang="0">
                  <a:pos x="42" y="16"/>
                </a:cxn>
                <a:cxn ang="0">
                  <a:pos x="40" y="20"/>
                </a:cxn>
                <a:cxn ang="0">
                  <a:pos x="34" y="25"/>
                </a:cxn>
                <a:cxn ang="0">
                  <a:pos x="32" y="34"/>
                </a:cxn>
                <a:cxn ang="0">
                  <a:pos x="34" y="36"/>
                </a:cxn>
                <a:cxn ang="0">
                  <a:pos x="25" y="36"/>
                </a:cxn>
                <a:cxn ang="0">
                  <a:pos x="25" y="43"/>
                </a:cxn>
                <a:cxn ang="0">
                  <a:pos x="27" y="52"/>
                </a:cxn>
                <a:cxn ang="0">
                  <a:pos x="25" y="52"/>
                </a:cxn>
                <a:cxn ang="0">
                  <a:pos x="27" y="58"/>
                </a:cxn>
                <a:cxn ang="0">
                  <a:pos x="25" y="58"/>
                </a:cxn>
                <a:cxn ang="0">
                  <a:pos x="23" y="61"/>
                </a:cxn>
                <a:cxn ang="0">
                  <a:pos x="19" y="61"/>
                </a:cxn>
                <a:cxn ang="0">
                  <a:pos x="9" y="67"/>
                </a:cxn>
                <a:cxn ang="0">
                  <a:pos x="2" y="67"/>
                </a:cxn>
                <a:cxn ang="0">
                  <a:pos x="2" y="61"/>
                </a:cxn>
                <a:cxn ang="0">
                  <a:pos x="0" y="61"/>
                </a:cxn>
                <a:cxn ang="0">
                  <a:pos x="2" y="58"/>
                </a:cxn>
                <a:cxn ang="0">
                  <a:pos x="0" y="54"/>
                </a:cxn>
                <a:cxn ang="0">
                  <a:pos x="0" y="52"/>
                </a:cxn>
                <a:cxn ang="0">
                  <a:pos x="0" y="47"/>
                </a:cxn>
                <a:cxn ang="0">
                  <a:pos x="9" y="43"/>
                </a:cxn>
                <a:cxn ang="0">
                  <a:pos x="11" y="43"/>
                </a:cxn>
                <a:cxn ang="0">
                  <a:pos x="13" y="36"/>
                </a:cxn>
                <a:cxn ang="0">
                  <a:pos x="17" y="38"/>
                </a:cxn>
                <a:cxn ang="0">
                  <a:pos x="25" y="29"/>
                </a:cxn>
                <a:cxn ang="0">
                  <a:pos x="32" y="20"/>
                </a:cxn>
                <a:cxn ang="0">
                  <a:pos x="40" y="16"/>
                </a:cxn>
                <a:cxn ang="0">
                  <a:pos x="36" y="16"/>
                </a:cxn>
                <a:cxn ang="0">
                  <a:pos x="34" y="11"/>
                </a:cxn>
                <a:cxn ang="0">
                  <a:pos x="40" y="9"/>
                </a:cxn>
                <a:cxn ang="0">
                  <a:pos x="40" y="11"/>
                </a:cxn>
                <a:cxn ang="0">
                  <a:pos x="42" y="11"/>
                </a:cxn>
                <a:cxn ang="0">
                  <a:pos x="44" y="11"/>
                </a:cxn>
                <a:cxn ang="0">
                  <a:pos x="42" y="11"/>
                </a:cxn>
                <a:cxn ang="0">
                  <a:pos x="42" y="9"/>
                </a:cxn>
                <a:cxn ang="0">
                  <a:pos x="48" y="4"/>
                </a:cxn>
                <a:cxn ang="0">
                  <a:pos x="57" y="4"/>
                </a:cxn>
                <a:cxn ang="0">
                  <a:pos x="63" y="2"/>
                </a:cxn>
                <a:cxn ang="0">
                  <a:pos x="67" y="2"/>
                </a:cxn>
                <a:cxn ang="0">
                  <a:pos x="71" y="0"/>
                </a:cxn>
                <a:cxn ang="0">
                  <a:pos x="71" y="2"/>
                </a:cxn>
                <a:cxn ang="0">
                  <a:pos x="73" y="2"/>
                </a:cxn>
                <a:cxn ang="0">
                  <a:pos x="75" y="2"/>
                </a:cxn>
                <a:cxn ang="0">
                  <a:pos x="80" y="0"/>
                </a:cxn>
                <a:cxn ang="0">
                  <a:pos x="82" y="2"/>
                </a:cxn>
                <a:cxn ang="0">
                  <a:pos x="90" y="2"/>
                </a:cxn>
                <a:cxn ang="0">
                  <a:pos x="82" y="4"/>
                </a:cxn>
                <a:cxn ang="0">
                  <a:pos x="90" y="9"/>
                </a:cxn>
                <a:cxn ang="0">
                  <a:pos x="84" y="11"/>
                </a:cxn>
                <a:cxn ang="0">
                  <a:pos x="84" y="9"/>
                </a:cxn>
                <a:cxn ang="0">
                  <a:pos x="80" y="4"/>
                </a:cxn>
                <a:cxn ang="0">
                  <a:pos x="73" y="4"/>
                </a:cxn>
                <a:cxn ang="0">
                  <a:pos x="73" y="11"/>
                </a:cxn>
                <a:cxn ang="0">
                  <a:pos x="71" y="11"/>
                </a:cxn>
                <a:cxn ang="0">
                  <a:pos x="63" y="11"/>
                </a:cxn>
                <a:cxn ang="0">
                  <a:pos x="57" y="9"/>
                </a:cxn>
                <a:cxn ang="0">
                  <a:pos x="54" y="11"/>
                </a:cxn>
                <a:cxn ang="0">
                  <a:pos x="52" y="11"/>
                </a:cxn>
              </a:cxnLst>
              <a:rect l="0" t="0" r="r" b="b"/>
              <a:pathLst>
                <a:path w="90" h="67">
                  <a:moveTo>
                    <a:pt x="52" y="11"/>
                  </a:moveTo>
                  <a:lnTo>
                    <a:pt x="52" y="16"/>
                  </a:lnTo>
                  <a:lnTo>
                    <a:pt x="48" y="11"/>
                  </a:lnTo>
                  <a:lnTo>
                    <a:pt x="44" y="16"/>
                  </a:lnTo>
                  <a:lnTo>
                    <a:pt x="42" y="16"/>
                  </a:lnTo>
                  <a:lnTo>
                    <a:pt x="40" y="20"/>
                  </a:lnTo>
                  <a:lnTo>
                    <a:pt x="34" y="25"/>
                  </a:lnTo>
                  <a:lnTo>
                    <a:pt x="32" y="34"/>
                  </a:lnTo>
                  <a:lnTo>
                    <a:pt x="34" y="36"/>
                  </a:lnTo>
                  <a:lnTo>
                    <a:pt x="25" y="36"/>
                  </a:lnTo>
                  <a:lnTo>
                    <a:pt x="25" y="43"/>
                  </a:lnTo>
                  <a:lnTo>
                    <a:pt x="27" y="52"/>
                  </a:lnTo>
                  <a:lnTo>
                    <a:pt x="25" y="52"/>
                  </a:lnTo>
                  <a:lnTo>
                    <a:pt x="27" y="58"/>
                  </a:lnTo>
                  <a:lnTo>
                    <a:pt x="25" y="58"/>
                  </a:lnTo>
                  <a:lnTo>
                    <a:pt x="23" y="61"/>
                  </a:lnTo>
                  <a:lnTo>
                    <a:pt x="19" y="61"/>
                  </a:lnTo>
                  <a:lnTo>
                    <a:pt x="9" y="67"/>
                  </a:lnTo>
                  <a:lnTo>
                    <a:pt x="2" y="67"/>
                  </a:lnTo>
                  <a:lnTo>
                    <a:pt x="2" y="61"/>
                  </a:lnTo>
                  <a:lnTo>
                    <a:pt x="0" y="61"/>
                  </a:lnTo>
                  <a:lnTo>
                    <a:pt x="2" y="58"/>
                  </a:lnTo>
                  <a:lnTo>
                    <a:pt x="0" y="54"/>
                  </a:lnTo>
                  <a:lnTo>
                    <a:pt x="0" y="52"/>
                  </a:lnTo>
                  <a:lnTo>
                    <a:pt x="0" y="47"/>
                  </a:lnTo>
                  <a:lnTo>
                    <a:pt x="9" y="43"/>
                  </a:lnTo>
                  <a:lnTo>
                    <a:pt x="11" y="43"/>
                  </a:lnTo>
                  <a:lnTo>
                    <a:pt x="13" y="36"/>
                  </a:lnTo>
                  <a:lnTo>
                    <a:pt x="17" y="38"/>
                  </a:lnTo>
                  <a:lnTo>
                    <a:pt x="25" y="29"/>
                  </a:lnTo>
                  <a:lnTo>
                    <a:pt x="32" y="20"/>
                  </a:lnTo>
                  <a:lnTo>
                    <a:pt x="40" y="16"/>
                  </a:lnTo>
                  <a:lnTo>
                    <a:pt x="36" y="16"/>
                  </a:lnTo>
                  <a:lnTo>
                    <a:pt x="34" y="11"/>
                  </a:lnTo>
                  <a:lnTo>
                    <a:pt x="40" y="9"/>
                  </a:lnTo>
                  <a:lnTo>
                    <a:pt x="40" y="11"/>
                  </a:lnTo>
                  <a:lnTo>
                    <a:pt x="42" y="11"/>
                  </a:lnTo>
                  <a:lnTo>
                    <a:pt x="44" y="11"/>
                  </a:lnTo>
                  <a:lnTo>
                    <a:pt x="42" y="11"/>
                  </a:lnTo>
                  <a:lnTo>
                    <a:pt x="42" y="9"/>
                  </a:lnTo>
                  <a:lnTo>
                    <a:pt x="48" y="4"/>
                  </a:lnTo>
                  <a:lnTo>
                    <a:pt x="57" y="4"/>
                  </a:lnTo>
                  <a:lnTo>
                    <a:pt x="63" y="2"/>
                  </a:lnTo>
                  <a:lnTo>
                    <a:pt x="67" y="2"/>
                  </a:lnTo>
                  <a:lnTo>
                    <a:pt x="71" y="0"/>
                  </a:lnTo>
                  <a:lnTo>
                    <a:pt x="71" y="2"/>
                  </a:lnTo>
                  <a:lnTo>
                    <a:pt x="73" y="2"/>
                  </a:lnTo>
                  <a:lnTo>
                    <a:pt x="75" y="2"/>
                  </a:lnTo>
                  <a:lnTo>
                    <a:pt x="80" y="0"/>
                  </a:lnTo>
                  <a:lnTo>
                    <a:pt x="82" y="2"/>
                  </a:lnTo>
                  <a:lnTo>
                    <a:pt x="90" y="2"/>
                  </a:lnTo>
                  <a:lnTo>
                    <a:pt x="82" y="4"/>
                  </a:lnTo>
                  <a:lnTo>
                    <a:pt x="90" y="9"/>
                  </a:lnTo>
                  <a:lnTo>
                    <a:pt x="84" y="11"/>
                  </a:lnTo>
                  <a:lnTo>
                    <a:pt x="84" y="9"/>
                  </a:lnTo>
                  <a:lnTo>
                    <a:pt x="80" y="4"/>
                  </a:lnTo>
                  <a:lnTo>
                    <a:pt x="73" y="4"/>
                  </a:lnTo>
                  <a:lnTo>
                    <a:pt x="73" y="11"/>
                  </a:lnTo>
                  <a:lnTo>
                    <a:pt x="71" y="11"/>
                  </a:lnTo>
                  <a:lnTo>
                    <a:pt x="63" y="11"/>
                  </a:lnTo>
                  <a:lnTo>
                    <a:pt x="57" y="9"/>
                  </a:lnTo>
                  <a:lnTo>
                    <a:pt x="54" y="11"/>
                  </a:lnTo>
                  <a:lnTo>
                    <a:pt x="52" y="11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3" name="Freeform 1269"/>
            <p:cNvSpPr>
              <a:spLocks/>
            </p:cNvSpPr>
            <p:nvPr/>
          </p:nvSpPr>
          <p:spPr bwMode="auto">
            <a:xfrm>
              <a:off x="4390601" y="2448871"/>
              <a:ext cx="228479" cy="371467"/>
            </a:xfrm>
            <a:custGeom>
              <a:avLst/>
              <a:gdLst/>
              <a:ahLst/>
              <a:cxnLst>
                <a:cxn ang="0">
                  <a:pos x="2" y="47"/>
                </a:cxn>
                <a:cxn ang="0">
                  <a:pos x="4" y="47"/>
                </a:cxn>
                <a:cxn ang="0">
                  <a:pos x="2" y="41"/>
                </a:cxn>
                <a:cxn ang="0">
                  <a:pos x="4" y="41"/>
                </a:cxn>
                <a:cxn ang="0">
                  <a:pos x="2" y="32"/>
                </a:cxn>
                <a:cxn ang="0">
                  <a:pos x="2" y="25"/>
                </a:cxn>
                <a:cxn ang="0">
                  <a:pos x="11" y="25"/>
                </a:cxn>
                <a:cxn ang="0">
                  <a:pos x="9" y="23"/>
                </a:cxn>
                <a:cxn ang="0">
                  <a:pos x="11" y="14"/>
                </a:cxn>
                <a:cxn ang="0">
                  <a:pos x="17" y="9"/>
                </a:cxn>
                <a:cxn ang="0">
                  <a:pos x="19" y="5"/>
                </a:cxn>
                <a:cxn ang="0">
                  <a:pos x="21" y="5"/>
                </a:cxn>
                <a:cxn ang="0">
                  <a:pos x="25" y="0"/>
                </a:cxn>
                <a:cxn ang="0">
                  <a:pos x="29" y="5"/>
                </a:cxn>
                <a:cxn ang="0">
                  <a:pos x="29" y="0"/>
                </a:cxn>
                <a:cxn ang="0">
                  <a:pos x="42" y="5"/>
                </a:cxn>
                <a:cxn ang="0">
                  <a:pos x="44" y="16"/>
                </a:cxn>
                <a:cxn ang="0">
                  <a:pos x="40" y="16"/>
                </a:cxn>
                <a:cxn ang="0">
                  <a:pos x="36" y="23"/>
                </a:cxn>
                <a:cxn ang="0">
                  <a:pos x="21" y="34"/>
                </a:cxn>
                <a:cxn ang="0">
                  <a:pos x="21" y="41"/>
                </a:cxn>
                <a:cxn ang="0">
                  <a:pos x="27" y="47"/>
                </a:cxn>
                <a:cxn ang="0">
                  <a:pos x="25" y="50"/>
                </a:cxn>
                <a:cxn ang="0">
                  <a:pos x="27" y="50"/>
                </a:cxn>
                <a:cxn ang="0">
                  <a:pos x="21" y="52"/>
                </a:cxn>
                <a:cxn ang="0">
                  <a:pos x="19" y="65"/>
                </a:cxn>
                <a:cxn ang="0">
                  <a:pos x="13" y="65"/>
                </a:cxn>
                <a:cxn ang="0">
                  <a:pos x="11" y="70"/>
                </a:cxn>
                <a:cxn ang="0">
                  <a:pos x="9" y="70"/>
                </a:cxn>
                <a:cxn ang="0">
                  <a:pos x="4" y="65"/>
                </a:cxn>
                <a:cxn ang="0">
                  <a:pos x="0" y="50"/>
                </a:cxn>
                <a:cxn ang="0">
                  <a:pos x="2" y="47"/>
                </a:cxn>
              </a:cxnLst>
              <a:rect l="0" t="0" r="r" b="b"/>
              <a:pathLst>
                <a:path w="44" h="70">
                  <a:moveTo>
                    <a:pt x="2" y="47"/>
                  </a:moveTo>
                  <a:lnTo>
                    <a:pt x="4" y="47"/>
                  </a:lnTo>
                  <a:lnTo>
                    <a:pt x="2" y="41"/>
                  </a:lnTo>
                  <a:lnTo>
                    <a:pt x="4" y="41"/>
                  </a:lnTo>
                  <a:lnTo>
                    <a:pt x="2" y="32"/>
                  </a:lnTo>
                  <a:lnTo>
                    <a:pt x="2" y="25"/>
                  </a:lnTo>
                  <a:lnTo>
                    <a:pt x="11" y="25"/>
                  </a:lnTo>
                  <a:lnTo>
                    <a:pt x="9" y="23"/>
                  </a:lnTo>
                  <a:lnTo>
                    <a:pt x="11" y="14"/>
                  </a:lnTo>
                  <a:lnTo>
                    <a:pt x="17" y="9"/>
                  </a:lnTo>
                  <a:lnTo>
                    <a:pt x="19" y="5"/>
                  </a:lnTo>
                  <a:lnTo>
                    <a:pt x="21" y="5"/>
                  </a:lnTo>
                  <a:lnTo>
                    <a:pt x="25" y="0"/>
                  </a:lnTo>
                  <a:lnTo>
                    <a:pt x="29" y="5"/>
                  </a:lnTo>
                  <a:lnTo>
                    <a:pt x="29" y="0"/>
                  </a:lnTo>
                  <a:lnTo>
                    <a:pt x="42" y="5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36" y="23"/>
                  </a:lnTo>
                  <a:lnTo>
                    <a:pt x="21" y="34"/>
                  </a:lnTo>
                  <a:lnTo>
                    <a:pt x="21" y="41"/>
                  </a:lnTo>
                  <a:lnTo>
                    <a:pt x="27" y="47"/>
                  </a:lnTo>
                  <a:lnTo>
                    <a:pt x="25" y="50"/>
                  </a:lnTo>
                  <a:lnTo>
                    <a:pt x="27" y="50"/>
                  </a:lnTo>
                  <a:lnTo>
                    <a:pt x="21" y="52"/>
                  </a:lnTo>
                  <a:lnTo>
                    <a:pt x="19" y="65"/>
                  </a:lnTo>
                  <a:lnTo>
                    <a:pt x="13" y="65"/>
                  </a:lnTo>
                  <a:lnTo>
                    <a:pt x="11" y="70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0" y="50"/>
                  </a:lnTo>
                  <a:lnTo>
                    <a:pt x="2" y="47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4" name="Freeform 1270"/>
            <p:cNvSpPr>
              <a:spLocks/>
            </p:cNvSpPr>
            <p:nvPr/>
          </p:nvSpPr>
          <p:spPr bwMode="auto">
            <a:xfrm>
              <a:off x="4541189" y="2411724"/>
              <a:ext cx="228479" cy="286560"/>
            </a:xfrm>
            <a:custGeom>
              <a:avLst/>
              <a:gdLst/>
              <a:ahLst/>
              <a:cxnLst>
                <a:cxn ang="0">
                  <a:pos x="32" y="7"/>
                </a:cxn>
                <a:cxn ang="0">
                  <a:pos x="30" y="7"/>
                </a:cxn>
                <a:cxn ang="0">
                  <a:pos x="30" y="12"/>
                </a:cxn>
                <a:cxn ang="0">
                  <a:pos x="36" y="14"/>
                </a:cxn>
                <a:cxn ang="0">
                  <a:pos x="36" y="16"/>
                </a:cxn>
                <a:cxn ang="0">
                  <a:pos x="38" y="23"/>
                </a:cxn>
                <a:cxn ang="0">
                  <a:pos x="38" y="25"/>
                </a:cxn>
                <a:cxn ang="0">
                  <a:pos x="40" y="30"/>
                </a:cxn>
                <a:cxn ang="0">
                  <a:pos x="40" y="32"/>
                </a:cxn>
                <a:cxn ang="0">
                  <a:pos x="44" y="39"/>
                </a:cxn>
                <a:cxn ang="0">
                  <a:pos x="32" y="50"/>
                </a:cxn>
                <a:cxn ang="0">
                  <a:pos x="19" y="54"/>
                </a:cxn>
                <a:cxn ang="0">
                  <a:pos x="11" y="50"/>
                </a:cxn>
                <a:cxn ang="0">
                  <a:pos x="11" y="43"/>
                </a:cxn>
                <a:cxn ang="0">
                  <a:pos x="7" y="39"/>
                </a:cxn>
                <a:cxn ang="0">
                  <a:pos x="11" y="39"/>
                </a:cxn>
                <a:cxn ang="0">
                  <a:pos x="21" y="25"/>
                </a:cxn>
                <a:cxn ang="0">
                  <a:pos x="21" y="23"/>
                </a:cxn>
                <a:cxn ang="0">
                  <a:pos x="19" y="23"/>
                </a:cxn>
                <a:cxn ang="0">
                  <a:pos x="15" y="23"/>
                </a:cxn>
                <a:cxn ang="0">
                  <a:pos x="13" y="12"/>
                </a:cxn>
                <a:cxn ang="0">
                  <a:pos x="0" y="7"/>
                </a:cxn>
                <a:cxn ang="0">
                  <a:pos x="5" y="5"/>
                </a:cxn>
                <a:cxn ang="0">
                  <a:pos x="11" y="7"/>
                </a:cxn>
                <a:cxn ang="0">
                  <a:pos x="19" y="7"/>
                </a:cxn>
                <a:cxn ang="0">
                  <a:pos x="21" y="7"/>
                </a:cxn>
                <a:cxn ang="0">
                  <a:pos x="21" y="0"/>
                </a:cxn>
                <a:cxn ang="0">
                  <a:pos x="28" y="0"/>
                </a:cxn>
                <a:cxn ang="0">
                  <a:pos x="32" y="5"/>
                </a:cxn>
                <a:cxn ang="0">
                  <a:pos x="32" y="7"/>
                </a:cxn>
              </a:cxnLst>
              <a:rect l="0" t="0" r="r" b="b"/>
              <a:pathLst>
                <a:path w="44" h="54">
                  <a:moveTo>
                    <a:pt x="32" y="7"/>
                  </a:moveTo>
                  <a:lnTo>
                    <a:pt x="30" y="7"/>
                  </a:lnTo>
                  <a:lnTo>
                    <a:pt x="30" y="12"/>
                  </a:lnTo>
                  <a:lnTo>
                    <a:pt x="36" y="14"/>
                  </a:lnTo>
                  <a:lnTo>
                    <a:pt x="36" y="16"/>
                  </a:lnTo>
                  <a:lnTo>
                    <a:pt x="38" y="23"/>
                  </a:lnTo>
                  <a:lnTo>
                    <a:pt x="38" y="25"/>
                  </a:lnTo>
                  <a:lnTo>
                    <a:pt x="40" y="30"/>
                  </a:lnTo>
                  <a:lnTo>
                    <a:pt x="40" y="32"/>
                  </a:lnTo>
                  <a:lnTo>
                    <a:pt x="44" y="39"/>
                  </a:lnTo>
                  <a:lnTo>
                    <a:pt x="32" y="50"/>
                  </a:lnTo>
                  <a:lnTo>
                    <a:pt x="19" y="54"/>
                  </a:lnTo>
                  <a:lnTo>
                    <a:pt x="11" y="50"/>
                  </a:lnTo>
                  <a:lnTo>
                    <a:pt x="11" y="43"/>
                  </a:lnTo>
                  <a:lnTo>
                    <a:pt x="7" y="39"/>
                  </a:lnTo>
                  <a:lnTo>
                    <a:pt x="11" y="39"/>
                  </a:lnTo>
                  <a:lnTo>
                    <a:pt x="21" y="25"/>
                  </a:lnTo>
                  <a:lnTo>
                    <a:pt x="21" y="23"/>
                  </a:lnTo>
                  <a:lnTo>
                    <a:pt x="19" y="23"/>
                  </a:lnTo>
                  <a:lnTo>
                    <a:pt x="15" y="23"/>
                  </a:lnTo>
                  <a:lnTo>
                    <a:pt x="13" y="12"/>
                  </a:lnTo>
                  <a:lnTo>
                    <a:pt x="0" y="7"/>
                  </a:lnTo>
                  <a:lnTo>
                    <a:pt x="5" y="5"/>
                  </a:lnTo>
                  <a:lnTo>
                    <a:pt x="11" y="7"/>
                  </a:lnTo>
                  <a:lnTo>
                    <a:pt x="19" y="7"/>
                  </a:lnTo>
                  <a:lnTo>
                    <a:pt x="21" y="7"/>
                  </a:lnTo>
                  <a:lnTo>
                    <a:pt x="21" y="0"/>
                  </a:lnTo>
                  <a:lnTo>
                    <a:pt x="28" y="0"/>
                  </a:lnTo>
                  <a:lnTo>
                    <a:pt x="32" y="5"/>
                  </a:lnTo>
                  <a:lnTo>
                    <a:pt x="32" y="7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5" name="Freeform 1271"/>
            <p:cNvSpPr>
              <a:spLocks/>
            </p:cNvSpPr>
            <p:nvPr/>
          </p:nvSpPr>
          <p:spPr bwMode="auto">
            <a:xfrm>
              <a:off x="1409999" y="2316204"/>
              <a:ext cx="1583769" cy="907441"/>
            </a:xfrm>
            <a:custGeom>
              <a:avLst/>
              <a:gdLst/>
              <a:ahLst/>
              <a:cxnLst>
                <a:cxn ang="0">
                  <a:pos x="251" y="151"/>
                </a:cxn>
                <a:cxn ang="0">
                  <a:pos x="244" y="162"/>
                </a:cxn>
                <a:cxn ang="0">
                  <a:pos x="274" y="147"/>
                </a:cxn>
                <a:cxn ang="0">
                  <a:pos x="267" y="147"/>
                </a:cxn>
                <a:cxn ang="0">
                  <a:pos x="257" y="138"/>
                </a:cxn>
                <a:cxn ang="0">
                  <a:pos x="261" y="133"/>
                </a:cxn>
                <a:cxn ang="0">
                  <a:pos x="228" y="142"/>
                </a:cxn>
                <a:cxn ang="0">
                  <a:pos x="251" y="129"/>
                </a:cxn>
                <a:cxn ang="0">
                  <a:pos x="282" y="124"/>
                </a:cxn>
                <a:cxn ang="0">
                  <a:pos x="305" y="104"/>
                </a:cxn>
                <a:cxn ang="0">
                  <a:pos x="297" y="102"/>
                </a:cxn>
                <a:cxn ang="0">
                  <a:pos x="297" y="95"/>
                </a:cxn>
                <a:cxn ang="0">
                  <a:pos x="288" y="90"/>
                </a:cxn>
                <a:cxn ang="0">
                  <a:pos x="282" y="72"/>
                </a:cxn>
                <a:cxn ang="0">
                  <a:pos x="267" y="75"/>
                </a:cxn>
                <a:cxn ang="0">
                  <a:pos x="265" y="61"/>
                </a:cxn>
                <a:cxn ang="0">
                  <a:pos x="242" y="59"/>
                </a:cxn>
                <a:cxn ang="0">
                  <a:pos x="230" y="77"/>
                </a:cxn>
                <a:cxn ang="0">
                  <a:pos x="213" y="99"/>
                </a:cxn>
                <a:cxn ang="0">
                  <a:pos x="196" y="108"/>
                </a:cxn>
                <a:cxn ang="0">
                  <a:pos x="178" y="86"/>
                </a:cxn>
                <a:cxn ang="0">
                  <a:pos x="169" y="77"/>
                </a:cxn>
                <a:cxn ang="0">
                  <a:pos x="188" y="59"/>
                </a:cxn>
                <a:cxn ang="0">
                  <a:pos x="205" y="50"/>
                </a:cxn>
                <a:cxn ang="0">
                  <a:pos x="228" y="39"/>
                </a:cxn>
                <a:cxn ang="0">
                  <a:pos x="249" y="34"/>
                </a:cxn>
                <a:cxn ang="0">
                  <a:pos x="257" y="23"/>
                </a:cxn>
                <a:cxn ang="0">
                  <a:pos x="238" y="30"/>
                </a:cxn>
                <a:cxn ang="0">
                  <a:pos x="230" y="25"/>
                </a:cxn>
                <a:cxn ang="0">
                  <a:pos x="222" y="23"/>
                </a:cxn>
                <a:cxn ang="0">
                  <a:pos x="222" y="9"/>
                </a:cxn>
                <a:cxn ang="0">
                  <a:pos x="234" y="7"/>
                </a:cxn>
                <a:cxn ang="0">
                  <a:pos x="228" y="5"/>
                </a:cxn>
                <a:cxn ang="0">
                  <a:pos x="209" y="18"/>
                </a:cxn>
                <a:cxn ang="0">
                  <a:pos x="199" y="32"/>
                </a:cxn>
                <a:cxn ang="0">
                  <a:pos x="205" y="25"/>
                </a:cxn>
                <a:cxn ang="0">
                  <a:pos x="190" y="25"/>
                </a:cxn>
                <a:cxn ang="0">
                  <a:pos x="180" y="32"/>
                </a:cxn>
                <a:cxn ang="0">
                  <a:pos x="157" y="30"/>
                </a:cxn>
                <a:cxn ang="0">
                  <a:pos x="151" y="30"/>
                </a:cxn>
                <a:cxn ang="0">
                  <a:pos x="140" y="30"/>
                </a:cxn>
                <a:cxn ang="0">
                  <a:pos x="123" y="18"/>
                </a:cxn>
                <a:cxn ang="0">
                  <a:pos x="103" y="23"/>
                </a:cxn>
                <a:cxn ang="0">
                  <a:pos x="94" y="18"/>
                </a:cxn>
                <a:cxn ang="0">
                  <a:pos x="67" y="25"/>
                </a:cxn>
                <a:cxn ang="0">
                  <a:pos x="7" y="68"/>
                </a:cxn>
                <a:cxn ang="0">
                  <a:pos x="19" y="72"/>
                </a:cxn>
                <a:cxn ang="0">
                  <a:pos x="19" y="93"/>
                </a:cxn>
                <a:cxn ang="0">
                  <a:pos x="7" y="111"/>
                </a:cxn>
                <a:cxn ang="0">
                  <a:pos x="13" y="124"/>
                </a:cxn>
                <a:cxn ang="0">
                  <a:pos x="134" y="129"/>
                </a:cxn>
                <a:cxn ang="0">
                  <a:pos x="151" y="135"/>
                </a:cxn>
                <a:cxn ang="0">
                  <a:pos x="169" y="135"/>
                </a:cxn>
                <a:cxn ang="0">
                  <a:pos x="186" y="147"/>
                </a:cxn>
                <a:cxn ang="0">
                  <a:pos x="180" y="151"/>
                </a:cxn>
                <a:cxn ang="0">
                  <a:pos x="165" y="171"/>
                </a:cxn>
                <a:cxn ang="0">
                  <a:pos x="186" y="162"/>
                </a:cxn>
                <a:cxn ang="0">
                  <a:pos x="196" y="160"/>
                </a:cxn>
                <a:cxn ang="0">
                  <a:pos x="222" y="153"/>
                </a:cxn>
                <a:cxn ang="0">
                  <a:pos x="242" y="142"/>
                </a:cxn>
                <a:cxn ang="0">
                  <a:pos x="242" y="151"/>
                </a:cxn>
              </a:cxnLst>
              <a:rect l="0" t="0" r="r" b="b"/>
              <a:pathLst>
                <a:path w="305" h="171">
                  <a:moveTo>
                    <a:pt x="242" y="151"/>
                  </a:moveTo>
                  <a:lnTo>
                    <a:pt x="253" y="151"/>
                  </a:lnTo>
                  <a:lnTo>
                    <a:pt x="251" y="151"/>
                  </a:lnTo>
                  <a:lnTo>
                    <a:pt x="253" y="151"/>
                  </a:lnTo>
                  <a:lnTo>
                    <a:pt x="244" y="156"/>
                  </a:lnTo>
                  <a:lnTo>
                    <a:pt x="244" y="162"/>
                  </a:lnTo>
                  <a:lnTo>
                    <a:pt x="253" y="156"/>
                  </a:lnTo>
                  <a:lnTo>
                    <a:pt x="267" y="151"/>
                  </a:lnTo>
                  <a:lnTo>
                    <a:pt x="274" y="147"/>
                  </a:lnTo>
                  <a:lnTo>
                    <a:pt x="274" y="144"/>
                  </a:lnTo>
                  <a:lnTo>
                    <a:pt x="274" y="142"/>
                  </a:lnTo>
                  <a:lnTo>
                    <a:pt x="267" y="147"/>
                  </a:lnTo>
                  <a:lnTo>
                    <a:pt x="259" y="147"/>
                  </a:lnTo>
                  <a:lnTo>
                    <a:pt x="253" y="144"/>
                  </a:lnTo>
                  <a:lnTo>
                    <a:pt x="257" y="138"/>
                  </a:lnTo>
                  <a:lnTo>
                    <a:pt x="253" y="138"/>
                  </a:lnTo>
                  <a:lnTo>
                    <a:pt x="251" y="135"/>
                  </a:lnTo>
                  <a:lnTo>
                    <a:pt x="261" y="133"/>
                  </a:lnTo>
                  <a:lnTo>
                    <a:pt x="259" y="129"/>
                  </a:lnTo>
                  <a:lnTo>
                    <a:pt x="242" y="133"/>
                  </a:lnTo>
                  <a:lnTo>
                    <a:pt x="228" y="142"/>
                  </a:lnTo>
                  <a:lnTo>
                    <a:pt x="238" y="133"/>
                  </a:lnTo>
                  <a:lnTo>
                    <a:pt x="249" y="129"/>
                  </a:lnTo>
                  <a:lnTo>
                    <a:pt x="251" y="129"/>
                  </a:lnTo>
                  <a:lnTo>
                    <a:pt x="253" y="124"/>
                  </a:lnTo>
                  <a:lnTo>
                    <a:pt x="265" y="124"/>
                  </a:lnTo>
                  <a:lnTo>
                    <a:pt x="282" y="124"/>
                  </a:lnTo>
                  <a:lnTo>
                    <a:pt x="290" y="117"/>
                  </a:lnTo>
                  <a:lnTo>
                    <a:pt x="305" y="115"/>
                  </a:lnTo>
                  <a:lnTo>
                    <a:pt x="305" y="104"/>
                  </a:lnTo>
                  <a:lnTo>
                    <a:pt x="301" y="104"/>
                  </a:lnTo>
                  <a:lnTo>
                    <a:pt x="301" y="102"/>
                  </a:lnTo>
                  <a:lnTo>
                    <a:pt x="297" y="102"/>
                  </a:lnTo>
                  <a:lnTo>
                    <a:pt x="301" y="99"/>
                  </a:lnTo>
                  <a:lnTo>
                    <a:pt x="297" y="99"/>
                  </a:lnTo>
                  <a:lnTo>
                    <a:pt x="297" y="95"/>
                  </a:lnTo>
                  <a:lnTo>
                    <a:pt x="290" y="95"/>
                  </a:lnTo>
                  <a:lnTo>
                    <a:pt x="292" y="93"/>
                  </a:lnTo>
                  <a:lnTo>
                    <a:pt x="288" y="90"/>
                  </a:lnTo>
                  <a:lnTo>
                    <a:pt x="292" y="86"/>
                  </a:lnTo>
                  <a:lnTo>
                    <a:pt x="288" y="68"/>
                  </a:lnTo>
                  <a:lnTo>
                    <a:pt x="282" y="72"/>
                  </a:lnTo>
                  <a:lnTo>
                    <a:pt x="282" y="75"/>
                  </a:lnTo>
                  <a:lnTo>
                    <a:pt x="270" y="81"/>
                  </a:lnTo>
                  <a:lnTo>
                    <a:pt x="267" y="75"/>
                  </a:lnTo>
                  <a:lnTo>
                    <a:pt x="270" y="66"/>
                  </a:lnTo>
                  <a:lnTo>
                    <a:pt x="265" y="66"/>
                  </a:lnTo>
                  <a:lnTo>
                    <a:pt x="265" y="61"/>
                  </a:lnTo>
                  <a:lnTo>
                    <a:pt x="259" y="59"/>
                  </a:lnTo>
                  <a:lnTo>
                    <a:pt x="249" y="57"/>
                  </a:lnTo>
                  <a:lnTo>
                    <a:pt x="242" y="59"/>
                  </a:lnTo>
                  <a:lnTo>
                    <a:pt x="238" y="66"/>
                  </a:lnTo>
                  <a:lnTo>
                    <a:pt x="236" y="72"/>
                  </a:lnTo>
                  <a:lnTo>
                    <a:pt x="230" y="77"/>
                  </a:lnTo>
                  <a:lnTo>
                    <a:pt x="234" y="81"/>
                  </a:lnTo>
                  <a:lnTo>
                    <a:pt x="228" y="93"/>
                  </a:lnTo>
                  <a:lnTo>
                    <a:pt x="213" y="99"/>
                  </a:lnTo>
                  <a:lnTo>
                    <a:pt x="211" y="115"/>
                  </a:lnTo>
                  <a:lnTo>
                    <a:pt x="203" y="117"/>
                  </a:lnTo>
                  <a:lnTo>
                    <a:pt x="196" y="108"/>
                  </a:lnTo>
                  <a:lnTo>
                    <a:pt x="205" y="99"/>
                  </a:lnTo>
                  <a:lnTo>
                    <a:pt x="194" y="95"/>
                  </a:lnTo>
                  <a:lnTo>
                    <a:pt x="178" y="86"/>
                  </a:lnTo>
                  <a:lnTo>
                    <a:pt x="171" y="86"/>
                  </a:lnTo>
                  <a:lnTo>
                    <a:pt x="174" y="77"/>
                  </a:lnTo>
                  <a:lnTo>
                    <a:pt x="169" y="77"/>
                  </a:lnTo>
                  <a:lnTo>
                    <a:pt x="169" y="75"/>
                  </a:lnTo>
                  <a:lnTo>
                    <a:pt x="180" y="66"/>
                  </a:lnTo>
                  <a:lnTo>
                    <a:pt x="188" y="59"/>
                  </a:lnTo>
                  <a:lnTo>
                    <a:pt x="190" y="57"/>
                  </a:lnTo>
                  <a:lnTo>
                    <a:pt x="199" y="57"/>
                  </a:lnTo>
                  <a:lnTo>
                    <a:pt x="205" y="50"/>
                  </a:lnTo>
                  <a:lnTo>
                    <a:pt x="211" y="50"/>
                  </a:lnTo>
                  <a:lnTo>
                    <a:pt x="219" y="43"/>
                  </a:lnTo>
                  <a:lnTo>
                    <a:pt x="228" y="39"/>
                  </a:lnTo>
                  <a:lnTo>
                    <a:pt x="230" y="39"/>
                  </a:lnTo>
                  <a:lnTo>
                    <a:pt x="236" y="39"/>
                  </a:lnTo>
                  <a:lnTo>
                    <a:pt x="249" y="34"/>
                  </a:lnTo>
                  <a:lnTo>
                    <a:pt x="251" y="32"/>
                  </a:lnTo>
                  <a:lnTo>
                    <a:pt x="249" y="32"/>
                  </a:lnTo>
                  <a:lnTo>
                    <a:pt x="257" y="23"/>
                  </a:lnTo>
                  <a:lnTo>
                    <a:pt x="253" y="23"/>
                  </a:lnTo>
                  <a:lnTo>
                    <a:pt x="244" y="18"/>
                  </a:lnTo>
                  <a:lnTo>
                    <a:pt x="238" y="30"/>
                  </a:lnTo>
                  <a:lnTo>
                    <a:pt x="228" y="34"/>
                  </a:lnTo>
                  <a:lnTo>
                    <a:pt x="228" y="32"/>
                  </a:lnTo>
                  <a:lnTo>
                    <a:pt x="230" y="25"/>
                  </a:lnTo>
                  <a:lnTo>
                    <a:pt x="230" y="23"/>
                  </a:lnTo>
                  <a:lnTo>
                    <a:pt x="226" y="25"/>
                  </a:lnTo>
                  <a:lnTo>
                    <a:pt x="222" y="23"/>
                  </a:lnTo>
                  <a:lnTo>
                    <a:pt x="219" y="18"/>
                  </a:lnTo>
                  <a:lnTo>
                    <a:pt x="226" y="18"/>
                  </a:lnTo>
                  <a:lnTo>
                    <a:pt x="222" y="9"/>
                  </a:lnTo>
                  <a:lnTo>
                    <a:pt x="228" y="9"/>
                  </a:lnTo>
                  <a:lnTo>
                    <a:pt x="228" y="7"/>
                  </a:lnTo>
                  <a:lnTo>
                    <a:pt x="234" y="7"/>
                  </a:lnTo>
                  <a:lnTo>
                    <a:pt x="244" y="0"/>
                  </a:lnTo>
                  <a:lnTo>
                    <a:pt x="236" y="0"/>
                  </a:lnTo>
                  <a:lnTo>
                    <a:pt x="228" y="5"/>
                  </a:lnTo>
                  <a:lnTo>
                    <a:pt x="219" y="9"/>
                  </a:lnTo>
                  <a:lnTo>
                    <a:pt x="209" y="16"/>
                  </a:lnTo>
                  <a:lnTo>
                    <a:pt x="209" y="18"/>
                  </a:lnTo>
                  <a:lnTo>
                    <a:pt x="213" y="23"/>
                  </a:lnTo>
                  <a:lnTo>
                    <a:pt x="209" y="25"/>
                  </a:lnTo>
                  <a:lnTo>
                    <a:pt x="199" y="32"/>
                  </a:lnTo>
                  <a:lnTo>
                    <a:pt x="196" y="32"/>
                  </a:lnTo>
                  <a:lnTo>
                    <a:pt x="199" y="30"/>
                  </a:lnTo>
                  <a:lnTo>
                    <a:pt x="205" y="25"/>
                  </a:lnTo>
                  <a:lnTo>
                    <a:pt x="205" y="23"/>
                  </a:lnTo>
                  <a:lnTo>
                    <a:pt x="203" y="18"/>
                  </a:lnTo>
                  <a:lnTo>
                    <a:pt x="190" y="25"/>
                  </a:lnTo>
                  <a:lnTo>
                    <a:pt x="196" y="25"/>
                  </a:lnTo>
                  <a:lnTo>
                    <a:pt x="188" y="32"/>
                  </a:lnTo>
                  <a:lnTo>
                    <a:pt x="180" y="32"/>
                  </a:lnTo>
                  <a:lnTo>
                    <a:pt x="171" y="30"/>
                  </a:lnTo>
                  <a:lnTo>
                    <a:pt x="171" y="25"/>
                  </a:lnTo>
                  <a:lnTo>
                    <a:pt x="157" y="30"/>
                  </a:lnTo>
                  <a:lnTo>
                    <a:pt x="159" y="30"/>
                  </a:lnTo>
                  <a:lnTo>
                    <a:pt x="157" y="32"/>
                  </a:lnTo>
                  <a:lnTo>
                    <a:pt x="151" y="30"/>
                  </a:lnTo>
                  <a:lnTo>
                    <a:pt x="140" y="32"/>
                  </a:lnTo>
                  <a:lnTo>
                    <a:pt x="132" y="32"/>
                  </a:lnTo>
                  <a:lnTo>
                    <a:pt x="140" y="30"/>
                  </a:lnTo>
                  <a:lnTo>
                    <a:pt x="140" y="25"/>
                  </a:lnTo>
                  <a:lnTo>
                    <a:pt x="126" y="23"/>
                  </a:lnTo>
                  <a:lnTo>
                    <a:pt x="123" y="18"/>
                  </a:lnTo>
                  <a:lnTo>
                    <a:pt x="117" y="18"/>
                  </a:lnTo>
                  <a:lnTo>
                    <a:pt x="111" y="23"/>
                  </a:lnTo>
                  <a:lnTo>
                    <a:pt x="103" y="23"/>
                  </a:lnTo>
                  <a:lnTo>
                    <a:pt x="107" y="18"/>
                  </a:lnTo>
                  <a:lnTo>
                    <a:pt x="103" y="16"/>
                  </a:lnTo>
                  <a:lnTo>
                    <a:pt x="94" y="18"/>
                  </a:lnTo>
                  <a:lnTo>
                    <a:pt x="78" y="23"/>
                  </a:lnTo>
                  <a:lnTo>
                    <a:pt x="71" y="23"/>
                  </a:lnTo>
                  <a:lnTo>
                    <a:pt x="67" y="25"/>
                  </a:lnTo>
                  <a:lnTo>
                    <a:pt x="55" y="23"/>
                  </a:lnTo>
                  <a:lnTo>
                    <a:pt x="0" y="68"/>
                  </a:lnTo>
                  <a:lnTo>
                    <a:pt x="7" y="68"/>
                  </a:lnTo>
                  <a:lnTo>
                    <a:pt x="5" y="72"/>
                  </a:lnTo>
                  <a:lnTo>
                    <a:pt x="7" y="75"/>
                  </a:lnTo>
                  <a:lnTo>
                    <a:pt x="19" y="72"/>
                  </a:lnTo>
                  <a:lnTo>
                    <a:pt x="19" y="77"/>
                  </a:lnTo>
                  <a:lnTo>
                    <a:pt x="15" y="90"/>
                  </a:lnTo>
                  <a:lnTo>
                    <a:pt x="19" y="93"/>
                  </a:lnTo>
                  <a:lnTo>
                    <a:pt x="15" y="99"/>
                  </a:lnTo>
                  <a:lnTo>
                    <a:pt x="7" y="102"/>
                  </a:lnTo>
                  <a:lnTo>
                    <a:pt x="7" y="111"/>
                  </a:lnTo>
                  <a:lnTo>
                    <a:pt x="11" y="111"/>
                  </a:lnTo>
                  <a:lnTo>
                    <a:pt x="7" y="117"/>
                  </a:lnTo>
                  <a:lnTo>
                    <a:pt x="13" y="124"/>
                  </a:lnTo>
                  <a:lnTo>
                    <a:pt x="19" y="129"/>
                  </a:lnTo>
                  <a:lnTo>
                    <a:pt x="132" y="129"/>
                  </a:lnTo>
                  <a:lnTo>
                    <a:pt x="134" y="129"/>
                  </a:lnTo>
                  <a:lnTo>
                    <a:pt x="138" y="133"/>
                  </a:lnTo>
                  <a:lnTo>
                    <a:pt x="155" y="135"/>
                  </a:lnTo>
                  <a:lnTo>
                    <a:pt x="151" y="135"/>
                  </a:lnTo>
                  <a:lnTo>
                    <a:pt x="163" y="129"/>
                  </a:lnTo>
                  <a:lnTo>
                    <a:pt x="169" y="133"/>
                  </a:lnTo>
                  <a:lnTo>
                    <a:pt x="169" y="135"/>
                  </a:lnTo>
                  <a:lnTo>
                    <a:pt x="174" y="135"/>
                  </a:lnTo>
                  <a:lnTo>
                    <a:pt x="171" y="144"/>
                  </a:lnTo>
                  <a:lnTo>
                    <a:pt x="186" y="147"/>
                  </a:lnTo>
                  <a:lnTo>
                    <a:pt x="188" y="153"/>
                  </a:lnTo>
                  <a:lnTo>
                    <a:pt x="186" y="156"/>
                  </a:lnTo>
                  <a:lnTo>
                    <a:pt x="180" y="151"/>
                  </a:lnTo>
                  <a:lnTo>
                    <a:pt x="174" y="162"/>
                  </a:lnTo>
                  <a:lnTo>
                    <a:pt x="171" y="162"/>
                  </a:lnTo>
                  <a:lnTo>
                    <a:pt x="165" y="171"/>
                  </a:lnTo>
                  <a:lnTo>
                    <a:pt x="174" y="167"/>
                  </a:lnTo>
                  <a:lnTo>
                    <a:pt x="188" y="167"/>
                  </a:lnTo>
                  <a:lnTo>
                    <a:pt x="186" y="162"/>
                  </a:lnTo>
                  <a:lnTo>
                    <a:pt x="182" y="162"/>
                  </a:lnTo>
                  <a:lnTo>
                    <a:pt x="186" y="160"/>
                  </a:lnTo>
                  <a:lnTo>
                    <a:pt x="196" y="160"/>
                  </a:lnTo>
                  <a:lnTo>
                    <a:pt x="203" y="156"/>
                  </a:lnTo>
                  <a:lnTo>
                    <a:pt x="209" y="153"/>
                  </a:lnTo>
                  <a:lnTo>
                    <a:pt x="222" y="153"/>
                  </a:lnTo>
                  <a:lnTo>
                    <a:pt x="228" y="151"/>
                  </a:lnTo>
                  <a:lnTo>
                    <a:pt x="236" y="138"/>
                  </a:lnTo>
                  <a:lnTo>
                    <a:pt x="242" y="142"/>
                  </a:lnTo>
                  <a:lnTo>
                    <a:pt x="238" y="151"/>
                  </a:lnTo>
                  <a:lnTo>
                    <a:pt x="240" y="151"/>
                  </a:lnTo>
                  <a:lnTo>
                    <a:pt x="242" y="151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6" name="Freeform 1272"/>
            <p:cNvSpPr>
              <a:spLocks/>
            </p:cNvSpPr>
            <p:nvPr/>
          </p:nvSpPr>
          <p:spPr bwMode="auto">
            <a:xfrm>
              <a:off x="750529" y="2390497"/>
              <a:ext cx="945069" cy="466987"/>
            </a:xfrm>
            <a:custGeom>
              <a:avLst/>
              <a:gdLst/>
              <a:ahLst/>
              <a:cxnLst>
                <a:cxn ang="0">
                  <a:pos x="134" y="54"/>
                </a:cxn>
                <a:cxn ang="0">
                  <a:pos x="134" y="61"/>
                </a:cxn>
                <a:cxn ang="0">
                  <a:pos x="146" y="63"/>
                </a:cxn>
                <a:cxn ang="0">
                  <a:pos x="146" y="79"/>
                </a:cxn>
                <a:cxn ang="0">
                  <a:pos x="140" y="85"/>
                </a:cxn>
                <a:cxn ang="0">
                  <a:pos x="138" y="79"/>
                </a:cxn>
                <a:cxn ang="0">
                  <a:pos x="138" y="76"/>
                </a:cxn>
                <a:cxn ang="0">
                  <a:pos x="132" y="81"/>
                </a:cxn>
                <a:cxn ang="0">
                  <a:pos x="132" y="76"/>
                </a:cxn>
                <a:cxn ang="0">
                  <a:pos x="138" y="72"/>
                </a:cxn>
                <a:cxn ang="0">
                  <a:pos x="140" y="70"/>
                </a:cxn>
                <a:cxn ang="0">
                  <a:pos x="138" y="67"/>
                </a:cxn>
                <a:cxn ang="0">
                  <a:pos x="127" y="61"/>
                </a:cxn>
                <a:cxn ang="0">
                  <a:pos x="125" y="58"/>
                </a:cxn>
                <a:cxn ang="0">
                  <a:pos x="109" y="52"/>
                </a:cxn>
                <a:cxn ang="0">
                  <a:pos x="94" y="58"/>
                </a:cxn>
                <a:cxn ang="0">
                  <a:pos x="71" y="61"/>
                </a:cxn>
                <a:cxn ang="0">
                  <a:pos x="69" y="63"/>
                </a:cxn>
                <a:cxn ang="0">
                  <a:pos x="36" y="79"/>
                </a:cxn>
                <a:cxn ang="0">
                  <a:pos x="50" y="70"/>
                </a:cxn>
                <a:cxn ang="0">
                  <a:pos x="50" y="63"/>
                </a:cxn>
                <a:cxn ang="0">
                  <a:pos x="46" y="58"/>
                </a:cxn>
                <a:cxn ang="0">
                  <a:pos x="40" y="47"/>
                </a:cxn>
                <a:cxn ang="0">
                  <a:pos x="71" y="38"/>
                </a:cxn>
                <a:cxn ang="0">
                  <a:pos x="71" y="34"/>
                </a:cxn>
                <a:cxn ang="0">
                  <a:pos x="63" y="29"/>
                </a:cxn>
                <a:cxn ang="0">
                  <a:pos x="77" y="25"/>
                </a:cxn>
                <a:cxn ang="0">
                  <a:pos x="77" y="25"/>
                </a:cxn>
                <a:cxn ang="0">
                  <a:pos x="86" y="20"/>
                </a:cxn>
                <a:cxn ang="0">
                  <a:pos x="86" y="16"/>
                </a:cxn>
                <a:cxn ang="0">
                  <a:pos x="100" y="11"/>
                </a:cxn>
                <a:cxn ang="0">
                  <a:pos x="140" y="0"/>
                </a:cxn>
                <a:cxn ang="0">
                  <a:pos x="142" y="2"/>
                </a:cxn>
                <a:cxn ang="0">
                  <a:pos x="177" y="4"/>
                </a:cxn>
                <a:cxn ang="0">
                  <a:pos x="154" y="31"/>
                </a:cxn>
              </a:cxnLst>
              <a:rect l="0" t="0" r="r" b="b"/>
              <a:pathLst>
                <a:path w="182" h="88">
                  <a:moveTo>
                    <a:pt x="127" y="54"/>
                  </a:moveTo>
                  <a:lnTo>
                    <a:pt x="134" y="54"/>
                  </a:lnTo>
                  <a:lnTo>
                    <a:pt x="132" y="58"/>
                  </a:lnTo>
                  <a:lnTo>
                    <a:pt x="134" y="61"/>
                  </a:lnTo>
                  <a:lnTo>
                    <a:pt x="146" y="58"/>
                  </a:lnTo>
                  <a:lnTo>
                    <a:pt x="146" y="63"/>
                  </a:lnTo>
                  <a:lnTo>
                    <a:pt x="142" y="76"/>
                  </a:lnTo>
                  <a:lnTo>
                    <a:pt x="146" y="79"/>
                  </a:lnTo>
                  <a:lnTo>
                    <a:pt x="142" y="85"/>
                  </a:lnTo>
                  <a:lnTo>
                    <a:pt x="140" y="85"/>
                  </a:lnTo>
                  <a:lnTo>
                    <a:pt x="138" y="85"/>
                  </a:lnTo>
                  <a:lnTo>
                    <a:pt x="138" y="79"/>
                  </a:lnTo>
                  <a:lnTo>
                    <a:pt x="140" y="79"/>
                  </a:lnTo>
                  <a:lnTo>
                    <a:pt x="138" y="76"/>
                  </a:lnTo>
                  <a:lnTo>
                    <a:pt x="134" y="85"/>
                  </a:lnTo>
                  <a:lnTo>
                    <a:pt x="132" y="81"/>
                  </a:lnTo>
                  <a:lnTo>
                    <a:pt x="134" y="76"/>
                  </a:lnTo>
                  <a:lnTo>
                    <a:pt x="132" y="76"/>
                  </a:lnTo>
                  <a:lnTo>
                    <a:pt x="134" y="72"/>
                  </a:lnTo>
                  <a:lnTo>
                    <a:pt x="138" y="72"/>
                  </a:lnTo>
                  <a:lnTo>
                    <a:pt x="140" y="72"/>
                  </a:lnTo>
                  <a:lnTo>
                    <a:pt x="140" y="70"/>
                  </a:lnTo>
                  <a:lnTo>
                    <a:pt x="134" y="72"/>
                  </a:lnTo>
                  <a:lnTo>
                    <a:pt x="138" y="67"/>
                  </a:lnTo>
                  <a:lnTo>
                    <a:pt x="134" y="67"/>
                  </a:lnTo>
                  <a:lnTo>
                    <a:pt x="127" y="61"/>
                  </a:lnTo>
                  <a:lnTo>
                    <a:pt x="132" y="58"/>
                  </a:lnTo>
                  <a:lnTo>
                    <a:pt x="125" y="58"/>
                  </a:lnTo>
                  <a:lnTo>
                    <a:pt x="115" y="58"/>
                  </a:lnTo>
                  <a:lnTo>
                    <a:pt x="109" y="52"/>
                  </a:lnTo>
                  <a:lnTo>
                    <a:pt x="102" y="52"/>
                  </a:lnTo>
                  <a:lnTo>
                    <a:pt x="94" y="58"/>
                  </a:lnTo>
                  <a:lnTo>
                    <a:pt x="79" y="61"/>
                  </a:lnTo>
                  <a:lnTo>
                    <a:pt x="71" y="61"/>
                  </a:lnTo>
                  <a:lnTo>
                    <a:pt x="71" y="63"/>
                  </a:lnTo>
                  <a:lnTo>
                    <a:pt x="69" y="63"/>
                  </a:lnTo>
                  <a:lnTo>
                    <a:pt x="50" y="72"/>
                  </a:lnTo>
                  <a:lnTo>
                    <a:pt x="36" y="79"/>
                  </a:lnTo>
                  <a:lnTo>
                    <a:pt x="0" y="88"/>
                  </a:lnTo>
                  <a:lnTo>
                    <a:pt x="50" y="70"/>
                  </a:lnTo>
                  <a:lnTo>
                    <a:pt x="54" y="63"/>
                  </a:lnTo>
                  <a:lnTo>
                    <a:pt x="50" y="63"/>
                  </a:lnTo>
                  <a:lnTo>
                    <a:pt x="40" y="63"/>
                  </a:lnTo>
                  <a:lnTo>
                    <a:pt x="46" y="58"/>
                  </a:lnTo>
                  <a:lnTo>
                    <a:pt x="38" y="58"/>
                  </a:lnTo>
                  <a:lnTo>
                    <a:pt x="40" y="47"/>
                  </a:lnTo>
                  <a:lnTo>
                    <a:pt x="54" y="43"/>
                  </a:lnTo>
                  <a:lnTo>
                    <a:pt x="71" y="38"/>
                  </a:lnTo>
                  <a:lnTo>
                    <a:pt x="79" y="29"/>
                  </a:lnTo>
                  <a:lnTo>
                    <a:pt x="71" y="34"/>
                  </a:lnTo>
                  <a:lnTo>
                    <a:pt x="61" y="34"/>
                  </a:lnTo>
                  <a:lnTo>
                    <a:pt x="63" y="29"/>
                  </a:lnTo>
                  <a:lnTo>
                    <a:pt x="61" y="27"/>
                  </a:lnTo>
                  <a:lnTo>
                    <a:pt x="77" y="25"/>
                  </a:lnTo>
                  <a:lnTo>
                    <a:pt x="79" y="25"/>
                  </a:lnTo>
                  <a:lnTo>
                    <a:pt x="77" y="25"/>
                  </a:lnTo>
                  <a:lnTo>
                    <a:pt x="90" y="25"/>
                  </a:lnTo>
                  <a:lnTo>
                    <a:pt x="86" y="20"/>
                  </a:lnTo>
                  <a:lnTo>
                    <a:pt x="90" y="18"/>
                  </a:lnTo>
                  <a:lnTo>
                    <a:pt x="86" y="16"/>
                  </a:lnTo>
                  <a:lnTo>
                    <a:pt x="90" y="11"/>
                  </a:lnTo>
                  <a:lnTo>
                    <a:pt x="100" y="11"/>
                  </a:lnTo>
                  <a:lnTo>
                    <a:pt x="115" y="4"/>
                  </a:lnTo>
                  <a:lnTo>
                    <a:pt x="140" y="0"/>
                  </a:lnTo>
                  <a:lnTo>
                    <a:pt x="142" y="0"/>
                  </a:lnTo>
                  <a:lnTo>
                    <a:pt x="142" y="2"/>
                  </a:lnTo>
                  <a:lnTo>
                    <a:pt x="150" y="2"/>
                  </a:lnTo>
                  <a:lnTo>
                    <a:pt x="177" y="4"/>
                  </a:lnTo>
                  <a:lnTo>
                    <a:pt x="182" y="9"/>
                  </a:lnTo>
                  <a:lnTo>
                    <a:pt x="154" y="31"/>
                  </a:lnTo>
                  <a:lnTo>
                    <a:pt x="127" y="54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7" name="Freeform 1273"/>
            <p:cNvSpPr>
              <a:spLocks/>
            </p:cNvSpPr>
            <p:nvPr/>
          </p:nvSpPr>
          <p:spPr bwMode="auto">
            <a:xfrm>
              <a:off x="1389229" y="3499592"/>
              <a:ext cx="638701" cy="551894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2" y="30"/>
                </a:cxn>
                <a:cxn ang="0">
                  <a:pos x="2" y="32"/>
                </a:cxn>
                <a:cxn ang="0">
                  <a:pos x="11" y="41"/>
                </a:cxn>
                <a:cxn ang="0">
                  <a:pos x="17" y="52"/>
                </a:cxn>
                <a:cxn ang="0">
                  <a:pos x="19" y="57"/>
                </a:cxn>
                <a:cxn ang="0">
                  <a:pos x="15" y="39"/>
                </a:cxn>
                <a:cxn ang="0">
                  <a:pos x="9" y="7"/>
                </a:cxn>
                <a:cxn ang="0">
                  <a:pos x="15" y="9"/>
                </a:cxn>
                <a:cxn ang="0">
                  <a:pos x="19" y="30"/>
                </a:cxn>
                <a:cxn ang="0">
                  <a:pos x="25" y="39"/>
                </a:cxn>
                <a:cxn ang="0">
                  <a:pos x="27" y="43"/>
                </a:cxn>
                <a:cxn ang="0">
                  <a:pos x="40" y="66"/>
                </a:cxn>
                <a:cxn ang="0">
                  <a:pos x="36" y="75"/>
                </a:cxn>
                <a:cxn ang="0">
                  <a:pos x="50" y="86"/>
                </a:cxn>
                <a:cxn ang="0">
                  <a:pos x="67" y="95"/>
                </a:cxn>
                <a:cxn ang="0">
                  <a:pos x="79" y="95"/>
                </a:cxn>
                <a:cxn ang="0">
                  <a:pos x="94" y="104"/>
                </a:cxn>
                <a:cxn ang="0">
                  <a:pos x="102" y="95"/>
                </a:cxn>
                <a:cxn ang="0">
                  <a:pos x="102" y="86"/>
                </a:cxn>
                <a:cxn ang="0">
                  <a:pos x="113" y="84"/>
                </a:cxn>
                <a:cxn ang="0">
                  <a:pos x="115" y="84"/>
                </a:cxn>
                <a:cxn ang="0">
                  <a:pos x="119" y="66"/>
                </a:cxn>
                <a:cxn ang="0">
                  <a:pos x="104" y="77"/>
                </a:cxn>
                <a:cxn ang="0">
                  <a:pos x="102" y="84"/>
                </a:cxn>
                <a:cxn ang="0">
                  <a:pos x="96" y="84"/>
                </a:cxn>
                <a:cxn ang="0">
                  <a:pos x="79" y="77"/>
                </a:cxn>
                <a:cxn ang="0">
                  <a:pos x="75" y="50"/>
                </a:cxn>
                <a:cxn ang="0">
                  <a:pos x="71" y="39"/>
                </a:cxn>
                <a:cxn ang="0">
                  <a:pos x="59" y="16"/>
                </a:cxn>
                <a:cxn ang="0">
                  <a:pos x="54" y="23"/>
                </a:cxn>
                <a:cxn ang="0">
                  <a:pos x="50" y="14"/>
                </a:cxn>
                <a:cxn ang="0">
                  <a:pos x="25" y="9"/>
                </a:cxn>
                <a:cxn ang="0">
                  <a:pos x="4" y="0"/>
                </a:cxn>
              </a:cxnLst>
              <a:rect l="0" t="0" r="r" b="b"/>
              <a:pathLst>
                <a:path w="123" h="104">
                  <a:moveTo>
                    <a:pt x="0" y="0"/>
                  </a:moveTo>
                  <a:lnTo>
                    <a:pt x="0" y="18"/>
                  </a:lnTo>
                  <a:lnTo>
                    <a:pt x="4" y="25"/>
                  </a:lnTo>
                  <a:lnTo>
                    <a:pt x="2" y="30"/>
                  </a:lnTo>
                  <a:lnTo>
                    <a:pt x="0" y="30"/>
                  </a:lnTo>
                  <a:lnTo>
                    <a:pt x="2" y="32"/>
                  </a:lnTo>
                  <a:lnTo>
                    <a:pt x="11" y="39"/>
                  </a:lnTo>
                  <a:lnTo>
                    <a:pt x="11" y="41"/>
                  </a:lnTo>
                  <a:lnTo>
                    <a:pt x="9" y="48"/>
                  </a:lnTo>
                  <a:lnTo>
                    <a:pt x="17" y="52"/>
                  </a:lnTo>
                  <a:lnTo>
                    <a:pt x="17" y="59"/>
                  </a:lnTo>
                  <a:lnTo>
                    <a:pt x="19" y="57"/>
                  </a:lnTo>
                  <a:lnTo>
                    <a:pt x="17" y="50"/>
                  </a:lnTo>
                  <a:lnTo>
                    <a:pt x="15" y="39"/>
                  </a:lnTo>
                  <a:lnTo>
                    <a:pt x="4" y="16"/>
                  </a:lnTo>
                  <a:lnTo>
                    <a:pt x="9" y="7"/>
                  </a:lnTo>
                  <a:lnTo>
                    <a:pt x="15" y="7"/>
                  </a:lnTo>
                  <a:lnTo>
                    <a:pt x="15" y="9"/>
                  </a:lnTo>
                  <a:lnTo>
                    <a:pt x="17" y="23"/>
                  </a:lnTo>
                  <a:lnTo>
                    <a:pt x="19" y="30"/>
                  </a:lnTo>
                  <a:lnTo>
                    <a:pt x="19" y="32"/>
                  </a:lnTo>
                  <a:lnTo>
                    <a:pt x="25" y="39"/>
                  </a:lnTo>
                  <a:lnTo>
                    <a:pt x="23" y="41"/>
                  </a:lnTo>
                  <a:lnTo>
                    <a:pt x="27" y="43"/>
                  </a:lnTo>
                  <a:lnTo>
                    <a:pt x="36" y="59"/>
                  </a:lnTo>
                  <a:lnTo>
                    <a:pt x="40" y="66"/>
                  </a:lnTo>
                  <a:lnTo>
                    <a:pt x="34" y="72"/>
                  </a:lnTo>
                  <a:lnTo>
                    <a:pt x="36" y="75"/>
                  </a:lnTo>
                  <a:lnTo>
                    <a:pt x="42" y="84"/>
                  </a:lnTo>
                  <a:lnTo>
                    <a:pt x="50" y="86"/>
                  </a:lnTo>
                  <a:lnTo>
                    <a:pt x="54" y="90"/>
                  </a:lnTo>
                  <a:lnTo>
                    <a:pt x="67" y="95"/>
                  </a:lnTo>
                  <a:lnTo>
                    <a:pt x="73" y="99"/>
                  </a:lnTo>
                  <a:lnTo>
                    <a:pt x="79" y="95"/>
                  </a:lnTo>
                  <a:lnTo>
                    <a:pt x="84" y="95"/>
                  </a:lnTo>
                  <a:lnTo>
                    <a:pt x="94" y="104"/>
                  </a:lnTo>
                  <a:lnTo>
                    <a:pt x="98" y="95"/>
                  </a:lnTo>
                  <a:lnTo>
                    <a:pt x="102" y="95"/>
                  </a:lnTo>
                  <a:lnTo>
                    <a:pt x="98" y="90"/>
                  </a:lnTo>
                  <a:lnTo>
                    <a:pt x="102" y="86"/>
                  </a:lnTo>
                  <a:lnTo>
                    <a:pt x="111" y="86"/>
                  </a:lnTo>
                  <a:lnTo>
                    <a:pt x="113" y="84"/>
                  </a:lnTo>
                  <a:lnTo>
                    <a:pt x="115" y="86"/>
                  </a:lnTo>
                  <a:lnTo>
                    <a:pt x="115" y="84"/>
                  </a:lnTo>
                  <a:lnTo>
                    <a:pt x="123" y="66"/>
                  </a:lnTo>
                  <a:lnTo>
                    <a:pt x="119" y="66"/>
                  </a:lnTo>
                  <a:lnTo>
                    <a:pt x="107" y="68"/>
                  </a:lnTo>
                  <a:lnTo>
                    <a:pt x="104" y="77"/>
                  </a:lnTo>
                  <a:lnTo>
                    <a:pt x="98" y="81"/>
                  </a:lnTo>
                  <a:lnTo>
                    <a:pt x="102" y="84"/>
                  </a:lnTo>
                  <a:lnTo>
                    <a:pt x="98" y="84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9" y="77"/>
                  </a:lnTo>
                  <a:lnTo>
                    <a:pt x="73" y="59"/>
                  </a:lnTo>
                  <a:lnTo>
                    <a:pt x="75" y="50"/>
                  </a:lnTo>
                  <a:lnTo>
                    <a:pt x="79" y="41"/>
                  </a:lnTo>
                  <a:lnTo>
                    <a:pt x="71" y="39"/>
                  </a:lnTo>
                  <a:lnTo>
                    <a:pt x="65" y="18"/>
                  </a:lnTo>
                  <a:lnTo>
                    <a:pt x="59" y="16"/>
                  </a:lnTo>
                  <a:lnTo>
                    <a:pt x="57" y="23"/>
                  </a:lnTo>
                  <a:lnTo>
                    <a:pt x="54" y="23"/>
                  </a:lnTo>
                  <a:lnTo>
                    <a:pt x="50" y="16"/>
                  </a:lnTo>
                  <a:lnTo>
                    <a:pt x="50" y="14"/>
                  </a:lnTo>
                  <a:lnTo>
                    <a:pt x="48" y="7"/>
                  </a:lnTo>
                  <a:lnTo>
                    <a:pt x="25" y="9"/>
                  </a:lnTo>
                  <a:lnTo>
                    <a:pt x="11" y="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8" name="Freeform 1274"/>
            <p:cNvSpPr>
              <a:spLocks/>
            </p:cNvSpPr>
            <p:nvPr/>
          </p:nvSpPr>
          <p:spPr bwMode="auto">
            <a:xfrm>
              <a:off x="1316532" y="3000765"/>
              <a:ext cx="1350098" cy="727014"/>
            </a:xfrm>
            <a:custGeom>
              <a:avLst/>
              <a:gdLst/>
              <a:ahLst/>
              <a:cxnLst>
                <a:cxn ang="0">
                  <a:pos x="110" y="112"/>
                </a:cxn>
                <a:cxn ang="0">
                  <a:pos x="121" y="112"/>
                </a:cxn>
                <a:cxn ang="0">
                  <a:pos x="125" y="117"/>
                </a:cxn>
                <a:cxn ang="0">
                  <a:pos x="135" y="117"/>
                </a:cxn>
                <a:cxn ang="0">
                  <a:pos x="135" y="110"/>
                </a:cxn>
                <a:cxn ang="0">
                  <a:pos x="150" y="108"/>
                </a:cxn>
                <a:cxn ang="0">
                  <a:pos x="152" y="112"/>
                </a:cxn>
                <a:cxn ang="0">
                  <a:pos x="164" y="117"/>
                </a:cxn>
                <a:cxn ang="0">
                  <a:pos x="166" y="137"/>
                </a:cxn>
                <a:cxn ang="0">
                  <a:pos x="173" y="135"/>
                </a:cxn>
                <a:cxn ang="0">
                  <a:pos x="173" y="103"/>
                </a:cxn>
                <a:cxn ang="0">
                  <a:pos x="204" y="81"/>
                </a:cxn>
                <a:cxn ang="0">
                  <a:pos x="204" y="69"/>
                </a:cxn>
                <a:cxn ang="0">
                  <a:pos x="206" y="60"/>
                </a:cxn>
                <a:cxn ang="0">
                  <a:pos x="208" y="65"/>
                </a:cxn>
                <a:cxn ang="0">
                  <a:pos x="212" y="56"/>
                </a:cxn>
                <a:cxn ang="0">
                  <a:pos x="217" y="56"/>
                </a:cxn>
                <a:cxn ang="0">
                  <a:pos x="235" y="47"/>
                </a:cxn>
                <a:cxn ang="0">
                  <a:pos x="240" y="42"/>
                </a:cxn>
                <a:cxn ang="0">
                  <a:pos x="237" y="42"/>
                </a:cxn>
                <a:cxn ang="0">
                  <a:pos x="244" y="31"/>
                </a:cxn>
                <a:cxn ang="0">
                  <a:pos x="256" y="27"/>
                </a:cxn>
                <a:cxn ang="0">
                  <a:pos x="256" y="22"/>
                </a:cxn>
                <a:cxn ang="0">
                  <a:pos x="254" y="9"/>
                </a:cxn>
                <a:cxn ang="0">
                  <a:pos x="240" y="24"/>
                </a:cxn>
                <a:cxn ang="0">
                  <a:pos x="221" y="27"/>
                </a:cxn>
                <a:cxn ang="0">
                  <a:pos x="204" y="33"/>
                </a:cxn>
                <a:cxn ang="0">
                  <a:pos x="189" y="42"/>
                </a:cxn>
                <a:cxn ang="0">
                  <a:pos x="189" y="33"/>
                </a:cxn>
                <a:cxn ang="0">
                  <a:pos x="187" y="31"/>
                </a:cxn>
                <a:cxn ang="0">
                  <a:pos x="189" y="22"/>
                </a:cxn>
                <a:cxn ang="0">
                  <a:pos x="177" y="24"/>
                </a:cxn>
                <a:cxn ang="0">
                  <a:pos x="169" y="40"/>
                </a:cxn>
                <a:cxn ang="0">
                  <a:pos x="164" y="42"/>
                </a:cxn>
                <a:cxn ang="0">
                  <a:pos x="166" y="33"/>
                </a:cxn>
                <a:cxn ang="0">
                  <a:pos x="169" y="27"/>
                </a:cxn>
                <a:cxn ang="0">
                  <a:pos x="189" y="18"/>
                </a:cxn>
                <a:cxn ang="0">
                  <a:pos x="187" y="15"/>
                </a:cxn>
                <a:cxn ang="0">
                  <a:pos x="177" y="15"/>
                </a:cxn>
                <a:cxn ang="0">
                  <a:pos x="173" y="15"/>
                </a:cxn>
                <a:cxn ang="0">
                  <a:pos x="164" y="15"/>
                </a:cxn>
                <a:cxn ang="0">
                  <a:pos x="158" y="15"/>
                </a:cxn>
                <a:cxn ang="0">
                  <a:pos x="173" y="6"/>
                </a:cxn>
                <a:cxn ang="0">
                  <a:pos x="152" y="0"/>
                </a:cxn>
                <a:cxn ang="0">
                  <a:pos x="37" y="0"/>
                </a:cxn>
                <a:cxn ang="0">
                  <a:pos x="33" y="9"/>
                </a:cxn>
                <a:cxn ang="0">
                  <a:pos x="33" y="6"/>
                </a:cxn>
                <a:cxn ang="0">
                  <a:pos x="25" y="6"/>
                </a:cxn>
                <a:cxn ang="0">
                  <a:pos x="8" y="38"/>
                </a:cxn>
                <a:cxn ang="0">
                  <a:pos x="2" y="51"/>
                </a:cxn>
                <a:cxn ang="0">
                  <a:pos x="0" y="58"/>
                </a:cxn>
                <a:cxn ang="0">
                  <a:pos x="0" y="65"/>
                </a:cxn>
                <a:cxn ang="0">
                  <a:pos x="2" y="74"/>
                </a:cxn>
                <a:cxn ang="0">
                  <a:pos x="2" y="83"/>
                </a:cxn>
                <a:cxn ang="0">
                  <a:pos x="10" y="90"/>
                </a:cxn>
                <a:cxn ang="0">
                  <a:pos x="14" y="94"/>
                </a:cxn>
                <a:cxn ang="0">
                  <a:pos x="39" y="103"/>
                </a:cxn>
                <a:cxn ang="0">
                  <a:pos x="64" y="108"/>
                </a:cxn>
                <a:cxn ang="0">
                  <a:pos x="68" y="117"/>
                </a:cxn>
                <a:cxn ang="0">
                  <a:pos x="73" y="110"/>
                </a:cxn>
                <a:cxn ang="0">
                  <a:pos x="85" y="133"/>
                </a:cxn>
                <a:cxn ang="0">
                  <a:pos x="93" y="130"/>
                </a:cxn>
              </a:cxnLst>
              <a:rect l="0" t="0" r="r" b="b"/>
              <a:pathLst>
                <a:path w="260" h="137">
                  <a:moveTo>
                    <a:pt x="96" y="124"/>
                  </a:moveTo>
                  <a:lnTo>
                    <a:pt x="110" y="112"/>
                  </a:lnTo>
                  <a:lnTo>
                    <a:pt x="112" y="112"/>
                  </a:lnTo>
                  <a:lnTo>
                    <a:pt x="121" y="112"/>
                  </a:lnTo>
                  <a:lnTo>
                    <a:pt x="125" y="110"/>
                  </a:lnTo>
                  <a:lnTo>
                    <a:pt x="125" y="117"/>
                  </a:lnTo>
                  <a:lnTo>
                    <a:pt x="129" y="117"/>
                  </a:lnTo>
                  <a:lnTo>
                    <a:pt x="135" y="117"/>
                  </a:lnTo>
                  <a:lnTo>
                    <a:pt x="133" y="112"/>
                  </a:lnTo>
                  <a:lnTo>
                    <a:pt x="135" y="110"/>
                  </a:lnTo>
                  <a:lnTo>
                    <a:pt x="141" y="108"/>
                  </a:lnTo>
                  <a:lnTo>
                    <a:pt x="150" y="108"/>
                  </a:lnTo>
                  <a:lnTo>
                    <a:pt x="152" y="110"/>
                  </a:lnTo>
                  <a:lnTo>
                    <a:pt x="152" y="112"/>
                  </a:lnTo>
                  <a:lnTo>
                    <a:pt x="160" y="110"/>
                  </a:lnTo>
                  <a:lnTo>
                    <a:pt x="164" y="117"/>
                  </a:lnTo>
                  <a:lnTo>
                    <a:pt x="164" y="128"/>
                  </a:lnTo>
                  <a:lnTo>
                    <a:pt x="166" y="137"/>
                  </a:lnTo>
                  <a:lnTo>
                    <a:pt x="169" y="137"/>
                  </a:lnTo>
                  <a:lnTo>
                    <a:pt x="173" y="135"/>
                  </a:lnTo>
                  <a:lnTo>
                    <a:pt x="173" y="128"/>
                  </a:lnTo>
                  <a:lnTo>
                    <a:pt x="173" y="103"/>
                  </a:lnTo>
                  <a:lnTo>
                    <a:pt x="177" y="94"/>
                  </a:lnTo>
                  <a:lnTo>
                    <a:pt x="204" y="81"/>
                  </a:lnTo>
                  <a:lnTo>
                    <a:pt x="206" y="76"/>
                  </a:lnTo>
                  <a:lnTo>
                    <a:pt x="204" y="69"/>
                  </a:lnTo>
                  <a:lnTo>
                    <a:pt x="206" y="65"/>
                  </a:lnTo>
                  <a:lnTo>
                    <a:pt x="206" y="60"/>
                  </a:lnTo>
                  <a:lnTo>
                    <a:pt x="208" y="60"/>
                  </a:lnTo>
                  <a:lnTo>
                    <a:pt x="208" y="65"/>
                  </a:lnTo>
                  <a:lnTo>
                    <a:pt x="212" y="60"/>
                  </a:lnTo>
                  <a:lnTo>
                    <a:pt x="212" y="56"/>
                  </a:lnTo>
                  <a:lnTo>
                    <a:pt x="214" y="58"/>
                  </a:lnTo>
                  <a:lnTo>
                    <a:pt x="217" y="56"/>
                  </a:lnTo>
                  <a:lnTo>
                    <a:pt x="221" y="49"/>
                  </a:lnTo>
                  <a:lnTo>
                    <a:pt x="235" y="47"/>
                  </a:lnTo>
                  <a:lnTo>
                    <a:pt x="235" y="42"/>
                  </a:lnTo>
                  <a:lnTo>
                    <a:pt x="240" y="42"/>
                  </a:lnTo>
                  <a:lnTo>
                    <a:pt x="240" y="40"/>
                  </a:lnTo>
                  <a:lnTo>
                    <a:pt x="237" y="42"/>
                  </a:lnTo>
                  <a:lnTo>
                    <a:pt x="237" y="40"/>
                  </a:lnTo>
                  <a:lnTo>
                    <a:pt x="244" y="31"/>
                  </a:lnTo>
                  <a:lnTo>
                    <a:pt x="252" y="27"/>
                  </a:lnTo>
                  <a:lnTo>
                    <a:pt x="256" y="27"/>
                  </a:lnTo>
                  <a:lnTo>
                    <a:pt x="260" y="22"/>
                  </a:lnTo>
                  <a:lnTo>
                    <a:pt x="256" y="22"/>
                  </a:lnTo>
                  <a:lnTo>
                    <a:pt x="260" y="13"/>
                  </a:lnTo>
                  <a:lnTo>
                    <a:pt x="254" y="9"/>
                  </a:lnTo>
                  <a:lnTo>
                    <a:pt x="246" y="22"/>
                  </a:lnTo>
                  <a:lnTo>
                    <a:pt x="240" y="24"/>
                  </a:lnTo>
                  <a:lnTo>
                    <a:pt x="227" y="24"/>
                  </a:lnTo>
                  <a:lnTo>
                    <a:pt x="221" y="27"/>
                  </a:lnTo>
                  <a:lnTo>
                    <a:pt x="217" y="33"/>
                  </a:lnTo>
                  <a:lnTo>
                    <a:pt x="204" y="33"/>
                  </a:lnTo>
                  <a:lnTo>
                    <a:pt x="206" y="38"/>
                  </a:lnTo>
                  <a:lnTo>
                    <a:pt x="189" y="42"/>
                  </a:lnTo>
                  <a:lnTo>
                    <a:pt x="183" y="42"/>
                  </a:lnTo>
                  <a:lnTo>
                    <a:pt x="189" y="33"/>
                  </a:lnTo>
                  <a:lnTo>
                    <a:pt x="189" y="31"/>
                  </a:lnTo>
                  <a:lnTo>
                    <a:pt x="187" y="31"/>
                  </a:lnTo>
                  <a:lnTo>
                    <a:pt x="189" y="27"/>
                  </a:lnTo>
                  <a:lnTo>
                    <a:pt x="189" y="22"/>
                  </a:lnTo>
                  <a:lnTo>
                    <a:pt x="187" y="22"/>
                  </a:lnTo>
                  <a:lnTo>
                    <a:pt x="177" y="24"/>
                  </a:lnTo>
                  <a:lnTo>
                    <a:pt x="175" y="31"/>
                  </a:lnTo>
                  <a:lnTo>
                    <a:pt x="169" y="40"/>
                  </a:lnTo>
                  <a:lnTo>
                    <a:pt x="166" y="42"/>
                  </a:lnTo>
                  <a:lnTo>
                    <a:pt x="164" y="42"/>
                  </a:lnTo>
                  <a:lnTo>
                    <a:pt x="164" y="40"/>
                  </a:lnTo>
                  <a:lnTo>
                    <a:pt x="166" y="33"/>
                  </a:lnTo>
                  <a:lnTo>
                    <a:pt x="175" y="24"/>
                  </a:lnTo>
                  <a:lnTo>
                    <a:pt x="169" y="27"/>
                  </a:lnTo>
                  <a:lnTo>
                    <a:pt x="177" y="18"/>
                  </a:lnTo>
                  <a:lnTo>
                    <a:pt x="189" y="18"/>
                  </a:lnTo>
                  <a:lnTo>
                    <a:pt x="189" y="15"/>
                  </a:lnTo>
                  <a:lnTo>
                    <a:pt x="187" y="15"/>
                  </a:lnTo>
                  <a:lnTo>
                    <a:pt x="189" y="15"/>
                  </a:lnTo>
                  <a:lnTo>
                    <a:pt x="177" y="15"/>
                  </a:lnTo>
                  <a:lnTo>
                    <a:pt x="177" y="13"/>
                  </a:lnTo>
                  <a:lnTo>
                    <a:pt x="173" y="15"/>
                  </a:lnTo>
                  <a:lnTo>
                    <a:pt x="177" y="9"/>
                  </a:lnTo>
                  <a:lnTo>
                    <a:pt x="164" y="15"/>
                  </a:lnTo>
                  <a:lnTo>
                    <a:pt x="164" y="13"/>
                  </a:lnTo>
                  <a:lnTo>
                    <a:pt x="158" y="15"/>
                  </a:lnTo>
                  <a:lnTo>
                    <a:pt x="169" y="6"/>
                  </a:lnTo>
                  <a:lnTo>
                    <a:pt x="173" y="6"/>
                  </a:lnTo>
                  <a:lnTo>
                    <a:pt x="156" y="4"/>
                  </a:lnTo>
                  <a:lnTo>
                    <a:pt x="152" y="0"/>
                  </a:lnTo>
                  <a:lnTo>
                    <a:pt x="150" y="0"/>
                  </a:lnTo>
                  <a:lnTo>
                    <a:pt x="37" y="0"/>
                  </a:lnTo>
                  <a:lnTo>
                    <a:pt x="37" y="4"/>
                  </a:lnTo>
                  <a:lnTo>
                    <a:pt x="33" y="9"/>
                  </a:lnTo>
                  <a:lnTo>
                    <a:pt x="31" y="9"/>
                  </a:lnTo>
                  <a:lnTo>
                    <a:pt x="33" y="6"/>
                  </a:lnTo>
                  <a:lnTo>
                    <a:pt x="29" y="4"/>
                  </a:lnTo>
                  <a:lnTo>
                    <a:pt x="25" y="6"/>
                  </a:lnTo>
                  <a:lnTo>
                    <a:pt x="23" y="18"/>
                  </a:lnTo>
                  <a:lnTo>
                    <a:pt x="8" y="38"/>
                  </a:lnTo>
                  <a:lnTo>
                    <a:pt x="6" y="42"/>
                  </a:lnTo>
                  <a:lnTo>
                    <a:pt x="2" y="51"/>
                  </a:lnTo>
                  <a:lnTo>
                    <a:pt x="2" y="56"/>
                  </a:lnTo>
                  <a:lnTo>
                    <a:pt x="0" y="58"/>
                  </a:lnTo>
                  <a:lnTo>
                    <a:pt x="2" y="60"/>
                  </a:lnTo>
                  <a:lnTo>
                    <a:pt x="0" y="65"/>
                  </a:lnTo>
                  <a:lnTo>
                    <a:pt x="2" y="67"/>
                  </a:lnTo>
                  <a:lnTo>
                    <a:pt x="2" y="74"/>
                  </a:lnTo>
                  <a:lnTo>
                    <a:pt x="6" y="81"/>
                  </a:lnTo>
                  <a:lnTo>
                    <a:pt x="2" y="83"/>
                  </a:lnTo>
                  <a:lnTo>
                    <a:pt x="10" y="85"/>
                  </a:lnTo>
                  <a:lnTo>
                    <a:pt x="10" y="90"/>
                  </a:lnTo>
                  <a:lnTo>
                    <a:pt x="14" y="92"/>
                  </a:lnTo>
                  <a:lnTo>
                    <a:pt x="14" y="94"/>
                  </a:lnTo>
                  <a:lnTo>
                    <a:pt x="25" y="94"/>
                  </a:lnTo>
                  <a:lnTo>
                    <a:pt x="39" y="103"/>
                  </a:lnTo>
                  <a:lnTo>
                    <a:pt x="62" y="101"/>
                  </a:lnTo>
                  <a:lnTo>
                    <a:pt x="64" y="108"/>
                  </a:lnTo>
                  <a:lnTo>
                    <a:pt x="64" y="110"/>
                  </a:lnTo>
                  <a:lnTo>
                    <a:pt x="68" y="117"/>
                  </a:lnTo>
                  <a:lnTo>
                    <a:pt x="71" y="117"/>
                  </a:lnTo>
                  <a:lnTo>
                    <a:pt x="73" y="110"/>
                  </a:lnTo>
                  <a:lnTo>
                    <a:pt x="79" y="112"/>
                  </a:lnTo>
                  <a:lnTo>
                    <a:pt x="85" y="133"/>
                  </a:lnTo>
                  <a:lnTo>
                    <a:pt x="93" y="135"/>
                  </a:lnTo>
                  <a:lnTo>
                    <a:pt x="93" y="130"/>
                  </a:lnTo>
                  <a:lnTo>
                    <a:pt x="96" y="124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9" name="Freeform 1275"/>
            <p:cNvSpPr>
              <a:spLocks/>
            </p:cNvSpPr>
            <p:nvPr/>
          </p:nvSpPr>
          <p:spPr bwMode="auto">
            <a:xfrm>
              <a:off x="1877341" y="3955966"/>
              <a:ext cx="98661" cy="132667"/>
            </a:xfrm>
            <a:custGeom>
              <a:avLst/>
              <a:gdLst/>
              <a:ahLst/>
              <a:cxnLst>
                <a:cxn ang="0">
                  <a:pos x="10" y="18"/>
                </a:cxn>
                <a:cxn ang="0">
                  <a:pos x="8" y="25"/>
                </a:cxn>
                <a:cxn ang="0">
                  <a:pos x="0" y="22"/>
                </a:cxn>
                <a:cxn ang="0">
                  <a:pos x="0" y="18"/>
                </a:cxn>
                <a:cxn ang="0">
                  <a:pos x="4" y="9"/>
                </a:cxn>
                <a:cxn ang="0">
                  <a:pos x="8" y="9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17" y="0"/>
                </a:cxn>
                <a:cxn ang="0">
                  <a:pos x="13" y="9"/>
                </a:cxn>
                <a:cxn ang="0">
                  <a:pos x="17" y="13"/>
                </a:cxn>
                <a:cxn ang="0">
                  <a:pos x="19" y="13"/>
                </a:cxn>
                <a:cxn ang="0">
                  <a:pos x="15" y="16"/>
                </a:cxn>
                <a:cxn ang="0">
                  <a:pos x="10" y="16"/>
                </a:cxn>
                <a:cxn ang="0">
                  <a:pos x="10" y="18"/>
                </a:cxn>
              </a:cxnLst>
              <a:rect l="0" t="0" r="r" b="b"/>
              <a:pathLst>
                <a:path w="19" h="25">
                  <a:moveTo>
                    <a:pt x="10" y="18"/>
                  </a:moveTo>
                  <a:lnTo>
                    <a:pt x="8" y="25"/>
                  </a:lnTo>
                  <a:lnTo>
                    <a:pt x="0" y="22"/>
                  </a:lnTo>
                  <a:lnTo>
                    <a:pt x="0" y="18"/>
                  </a:lnTo>
                  <a:lnTo>
                    <a:pt x="4" y="9"/>
                  </a:lnTo>
                  <a:lnTo>
                    <a:pt x="8" y="9"/>
                  </a:lnTo>
                  <a:lnTo>
                    <a:pt x="4" y="4"/>
                  </a:lnTo>
                  <a:lnTo>
                    <a:pt x="8" y="0"/>
                  </a:lnTo>
                  <a:lnTo>
                    <a:pt x="17" y="0"/>
                  </a:lnTo>
                  <a:lnTo>
                    <a:pt x="13" y="9"/>
                  </a:lnTo>
                  <a:lnTo>
                    <a:pt x="17" y="13"/>
                  </a:lnTo>
                  <a:lnTo>
                    <a:pt x="19" y="13"/>
                  </a:lnTo>
                  <a:lnTo>
                    <a:pt x="15" y="16"/>
                  </a:lnTo>
                  <a:lnTo>
                    <a:pt x="10" y="16"/>
                  </a:lnTo>
                  <a:lnTo>
                    <a:pt x="10" y="18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" name="Freeform 1276"/>
            <p:cNvSpPr>
              <a:spLocks/>
            </p:cNvSpPr>
            <p:nvPr/>
          </p:nvSpPr>
          <p:spPr bwMode="auto">
            <a:xfrm>
              <a:off x="1918883" y="4051486"/>
              <a:ext cx="57120" cy="58373"/>
            </a:xfrm>
            <a:custGeom>
              <a:avLst/>
              <a:gdLst/>
              <a:ahLst/>
              <a:cxnLst>
                <a:cxn ang="0">
                  <a:pos x="11" y="7"/>
                </a:cxn>
                <a:cxn ang="0">
                  <a:pos x="2" y="0"/>
                </a:cxn>
                <a:cxn ang="0">
                  <a:pos x="0" y="7"/>
                </a:cxn>
                <a:cxn ang="0">
                  <a:pos x="2" y="7"/>
                </a:cxn>
                <a:cxn ang="0">
                  <a:pos x="11" y="11"/>
                </a:cxn>
                <a:cxn ang="0">
                  <a:pos x="11" y="9"/>
                </a:cxn>
                <a:cxn ang="0">
                  <a:pos x="11" y="7"/>
                </a:cxn>
              </a:cxnLst>
              <a:rect l="0" t="0" r="r" b="b"/>
              <a:pathLst>
                <a:path w="11" h="11">
                  <a:moveTo>
                    <a:pt x="11" y="7"/>
                  </a:moveTo>
                  <a:lnTo>
                    <a:pt x="2" y="0"/>
                  </a:lnTo>
                  <a:lnTo>
                    <a:pt x="0" y="7"/>
                  </a:lnTo>
                  <a:lnTo>
                    <a:pt x="2" y="7"/>
                  </a:lnTo>
                  <a:lnTo>
                    <a:pt x="11" y="11"/>
                  </a:lnTo>
                  <a:lnTo>
                    <a:pt x="11" y="9"/>
                  </a:lnTo>
                  <a:lnTo>
                    <a:pt x="11" y="7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1" name="Freeform 1277"/>
            <p:cNvSpPr>
              <a:spLocks/>
            </p:cNvSpPr>
            <p:nvPr/>
          </p:nvSpPr>
          <p:spPr bwMode="auto">
            <a:xfrm>
              <a:off x="2147361" y="4231913"/>
              <a:ext cx="20771" cy="10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0"/>
                </a:cxn>
                <a:cxn ang="0">
                  <a:pos x="4" y="2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4" y="0"/>
                  </a:lnTo>
                  <a:lnTo>
                    <a:pt x="4" y="2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2" name="Freeform 1278"/>
            <p:cNvSpPr>
              <a:spLocks/>
            </p:cNvSpPr>
            <p:nvPr/>
          </p:nvSpPr>
          <p:spPr bwMode="auto">
            <a:xfrm>
              <a:off x="2147361" y="4215993"/>
              <a:ext cx="20771" cy="1592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0"/>
                </a:cxn>
                <a:cxn ang="0">
                  <a:pos x="4" y="3"/>
                </a:cxn>
                <a:cxn ang="0">
                  <a:pos x="2" y="3"/>
                </a:cxn>
                <a:cxn ang="0">
                  <a:pos x="0" y="0"/>
                </a:cxn>
              </a:cxnLst>
              <a:rect l="0" t="0" r="r" b="b"/>
              <a:pathLst>
                <a:path w="4" h="3">
                  <a:moveTo>
                    <a:pt x="0" y="0"/>
                  </a:moveTo>
                  <a:lnTo>
                    <a:pt x="4" y="0"/>
                  </a:lnTo>
                  <a:lnTo>
                    <a:pt x="4" y="3"/>
                  </a:lnTo>
                  <a:lnTo>
                    <a:pt x="2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3" name="Freeform 1279"/>
            <p:cNvSpPr>
              <a:spLocks/>
            </p:cNvSpPr>
            <p:nvPr/>
          </p:nvSpPr>
          <p:spPr bwMode="auto">
            <a:xfrm>
              <a:off x="2168132" y="4215993"/>
              <a:ext cx="57120" cy="63680"/>
            </a:xfrm>
            <a:custGeom>
              <a:avLst/>
              <a:gdLst/>
              <a:ahLst/>
              <a:cxnLst>
                <a:cxn ang="0">
                  <a:pos x="11" y="7"/>
                </a:cxn>
                <a:cxn ang="0">
                  <a:pos x="5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3"/>
                </a:cxn>
                <a:cxn ang="0">
                  <a:pos x="5" y="7"/>
                </a:cxn>
                <a:cxn ang="0">
                  <a:pos x="5" y="9"/>
                </a:cxn>
                <a:cxn ang="0">
                  <a:pos x="9" y="12"/>
                </a:cxn>
                <a:cxn ang="0">
                  <a:pos x="11" y="9"/>
                </a:cxn>
                <a:cxn ang="0">
                  <a:pos x="11" y="7"/>
                </a:cxn>
              </a:cxnLst>
              <a:rect l="0" t="0" r="r" b="b"/>
              <a:pathLst>
                <a:path w="11" h="12">
                  <a:moveTo>
                    <a:pt x="11" y="7"/>
                  </a:moveTo>
                  <a:lnTo>
                    <a:pt x="5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5" y="7"/>
                  </a:lnTo>
                  <a:lnTo>
                    <a:pt x="5" y="9"/>
                  </a:lnTo>
                  <a:lnTo>
                    <a:pt x="9" y="12"/>
                  </a:lnTo>
                  <a:lnTo>
                    <a:pt x="11" y="9"/>
                  </a:lnTo>
                  <a:lnTo>
                    <a:pt x="11" y="7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4" name="Freeform 1280"/>
            <p:cNvSpPr>
              <a:spLocks/>
            </p:cNvSpPr>
            <p:nvPr/>
          </p:nvSpPr>
          <p:spPr bwMode="auto">
            <a:xfrm>
              <a:off x="2085049" y="4215993"/>
              <a:ext cx="83083" cy="6368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4" y="3"/>
                </a:cxn>
                <a:cxn ang="0">
                  <a:pos x="8" y="3"/>
                </a:cxn>
                <a:cxn ang="0">
                  <a:pos x="12" y="0"/>
                </a:cxn>
                <a:cxn ang="0">
                  <a:pos x="16" y="3"/>
                </a:cxn>
                <a:cxn ang="0">
                  <a:pos x="10" y="7"/>
                </a:cxn>
                <a:cxn ang="0">
                  <a:pos x="12" y="12"/>
                </a:cxn>
                <a:cxn ang="0">
                  <a:pos x="10" y="12"/>
                </a:cxn>
                <a:cxn ang="0">
                  <a:pos x="8" y="9"/>
                </a:cxn>
                <a:cxn ang="0">
                  <a:pos x="0" y="7"/>
                </a:cxn>
                <a:cxn ang="0">
                  <a:pos x="0" y="5"/>
                </a:cxn>
                <a:cxn ang="0">
                  <a:pos x="2" y="0"/>
                </a:cxn>
              </a:cxnLst>
              <a:rect l="0" t="0" r="r" b="b"/>
              <a:pathLst>
                <a:path w="16" h="12">
                  <a:moveTo>
                    <a:pt x="2" y="0"/>
                  </a:moveTo>
                  <a:lnTo>
                    <a:pt x="4" y="3"/>
                  </a:lnTo>
                  <a:lnTo>
                    <a:pt x="8" y="3"/>
                  </a:lnTo>
                  <a:lnTo>
                    <a:pt x="12" y="0"/>
                  </a:lnTo>
                  <a:lnTo>
                    <a:pt x="16" y="3"/>
                  </a:lnTo>
                  <a:lnTo>
                    <a:pt x="10" y="7"/>
                  </a:lnTo>
                  <a:lnTo>
                    <a:pt x="12" y="12"/>
                  </a:lnTo>
                  <a:lnTo>
                    <a:pt x="10" y="12"/>
                  </a:lnTo>
                  <a:lnTo>
                    <a:pt x="8" y="9"/>
                  </a:lnTo>
                  <a:lnTo>
                    <a:pt x="0" y="7"/>
                  </a:lnTo>
                  <a:lnTo>
                    <a:pt x="0" y="5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5" name="Freeform 1281"/>
            <p:cNvSpPr>
              <a:spLocks/>
            </p:cNvSpPr>
            <p:nvPr/>
          </p:nvSpPr>
          <p:spPr bwMode="auto">
            <a:xfrm>
              <a:off x="2017544" y="4168233"/>
              <a:ext cx="77890" cy="84907"/>
            </a:xfrm>
            <a:custGeom>
              <a:avLst/>
              <a:gdLst/>
              <a:ahLst/>
              <a:cxnLst>
                <a:cxn ang="0">
                  <a:pos x="15" y="9"/>
                </a:cxn>
                <a:cxn ang="0">
                  <a:pos x="13" y="7"/>
                </a:cxn>
                <a:cxn ang="0">
                  <a:pos x="9" y="0"/>
                </a:cxn>
                <a:cxn ang="0">
                  <a:pos x="0" y="0"/>
                </a:cxn>
                <a:cxn ang="0">
                  <a:pos x="0" y="7"/>
                </a:cxn>
                <a:cxn ang="0">
                  <a:pos x="2" y="9"/>
                </a:cxn>
                <a:cxn ang="0">
                  <a:pos x="2" y="7"/>
                </a:cxn>
                <a:cxn ang="0">
                  <a:pos x="9" y="12"/>
                </a:cxn>
                <a:cxn ang="0">
                  <a:pos x="9" y="16"/>
                </a:cxn>
                <a:cxn ang="0">
                  <a:pos x="13" y="16"/>
                </a:cxn>
                <a:cxn ang="0">
                  <a:pos x="13" y="14"/>
                </a:cxn>
                <a:cxn ang="0">
                  <a:pos x="15" y="9"/>
                </a:cxn>
              </a:cxnLst>
              <a:rect l="0" t="0" r="r" b="b"/>
              <a:pathLst>
                <a:path w="15" h="16">
                  <a:moveTo>
                    <a:pt x="15" y="9"/>
                  </a:moveTo>
                  <a:lnTo>
                    <a:pt x="13" y="7"/>
                  </a:lnTo>
                  <a:lnTo>
                    <a:pt x="9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2" y="9"/>
                  </a:lnTo>
                  <a:lnTo>
                    <a:pt x="2" y="7"/>
                  </a:lnTo>
                  <a:lnTo>
                    <a:pt x="9" y="12"/>
                  </a:lnTo>
                  <a:lnTo>
                    <a:pt x="9" y="16"/>
                  </a:lnTo>
                  <a:lnTo>
                    <a:pt x="13" y="16"/>
                  </a:lnTo>
                  <a:lnTo>
                    <a:pt x="13" y="14"/>
                  </a:lnTo>
                  <a:lnTo>
                    <a:pt x="15" y="9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6" name="Freeform 1282"/>
            <p:cNvSpPr>
              <a:spLocks/>
            </p:cNvSpPr>
            <p:nvPr/>
          </p:nvSpPr>
          <p:spPr bwMode="auto">
            <a:xfrm>
              <a:off x="1986389" y="4040873"/>
              <a:ext cx="109047" cy="127360"/>
            </a:xfrm>
            <a:custGeom>
              <a:avLst/>
              <a:gdLst/>
              <a:ahLst/>
              <a:cxnLst>
                <a:cxn ang="0">
                  <a:pos x="15" y="24"/>
                </a:cxn>
                <a:cxn ang="0">
                  <a:pos x="21" y="6"/>
                </a:cxn>
                <a:cxn ang="0">
                  <a:pos x="21" y="0"/>
                </a:cxn>
                <a:cxn ang="0">
                  <a:pos x="12" y="2"/>
                </a:cxn>
                <a:cxn ang="0">
                  <a:pos x="0" y="13"/>
                </a:cxn>
                <a:cxn ang="0">
                  <a:pos x="0" y="15"/>
                </a:cxn>
                <a:cxn ang="0">
                  <a:pos x="6" y="24"/>
                </a:cxn>
                <a:cxn ang="0">
                  <a:pos x="10" y="24"/>
                </a:cxn>
                <a:cxn ang="0">
                  <a:pos x="15" y="24"/>
                </a:cxn>
              </a:cxnLst>
              <a:rect l="0" t="0" r="r" b="b"/>
              <a:pathLst>
                <a:path w="21" h="24">
                  <a:moveTo>
                    <a:pt x="15" y="24"/>
                  </a:moveTo>
                  <a:lnTo>
                    <a:pt x="21" y="6"/>
                  </a:lnTo>
                  <a:lnTo>
                    <a:pt x="21" y="0"/>
                  </a:lnTo>
                  <a:lnTo>
                    <a:pt x="12" y="2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6" y="24"/>
                  </a:lnTo>
                  <a:lnTo>
                    <a:pt x="10" y="24"/>
                  </a:lnTo>
                  <a:lnTo>
                    <a:pt x="15" y="24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7" name="Freeform 1283"/>
            <p:cNvSpPr>
              <a:spLocks/>
            </p:cNvSpPr>
            <p:nvPr/>
          </p:nvSpPr>
          <p:spPr bwMode="auto">
            <a:xfrm>
              <a:off x="1929269" y="4024953"/>
              <a:ext cx="166166" cy="84907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23" y="0"/>
                </a:cxn>
                <a:cxn ang="0">
                  <a:pos x="32" y="3"/>
                </a:cxn>
                <a:cxn ang="0">
                  <a:pos x="23" y="5"/>
                </a:cxn>
                <a:cxn ang="0">
                  <a:pos x="11" y="16"/>
                </a:cxn>
                <a:cxn ang="0">
                  <a:pos x="9" y="12"/>
                </a:cxn>
                <a:cxn ang="0">
                  <a:pos x="0" y="5"/>
                </a:cxn>
                <a:cxn ang="0">
                  <a:pos x="5" y="3"/>
                </a:cxn>
                <a:cxn ang="0">
                  <a:pos x="9" y="0"/>
                </a:cxn>
              </a:cxnLst>
              <a:rect l="0" t="0" r="r" b="b"/>
              <a:pathLst>
                <a:path w="32" h="16">
                  <a:moveTo>
                    <a:pt x="9" y="0"/>
                  </a:moveTo>
                  <a:lnTo>
                    <a:pt x="23" y="0"/>
                  </a:lnTo>
                  <a:lnTo>
                    <a:pt x="32" y="3"/>
                  </a:lnTo>
                  <a:lnTo>
                    <a:pt x="23" y="5"/>
                  </a:lnTo>
                  <a:lnTo>
                    <a:pt x="11" y="16"/>
                  </a:lnTo>
                  <a:lnTo>
                    <a:pt x="9" y="12"/>
                  </a:lnTo>
                  <a:lnTo>
                    <a:pt x="0" y="5"/>
                  </a:lnTo>
                  <a:lnTo>
                    <a:pt x="5" y="3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8" name="Freeform 1284"/>
            <p:cNvSpPr>
              <a:spLocks/>
            </p:cNvSpPr>
            <p:nvPr/>
          </p:nvSpPr>
          <p:spPr bwMode="auto">
            <a:xfrm>
              <a:off x="2375840" y="3897593"/>
              <a:ext cx="88276" cy="7960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0" y="2"/>
                </a:cxn>
                <a:cxn ang="0">
                  <a:pos x="13" y="2"/>
                </a:cxn>
                <a:cxn ang="0">
                  <a:pos x="10" y="6"/>
                </a:cxn>
                <a:cxn ang="0">
                  <a:pos x="17" y="6"/>
                </a:cxn>
                <a:cxn ang="0">
                  <a:pos x="17" y="9"/>
                </a:cxn>
                <a:cxn ang="0">
                  <a:pos x="17" y="11"/>
                </a:cxn>
                <a:cxn ang="0">
                  <a:pos x="13" y="9"/>
                </a:cxn>
                <a:cxn ang="0">
                  <a:pos x="4" y="9"/>
                </a:cxn>
                <a:cxn ang="0">
                  <a:pos x="8" y="9"/>
                </a:cxn>
                <a:cxn ang="0">
                  <a:pos x="4" y="9"/>
                </a:cxn>
                <a:cxn ang="0">
                  <a:pos x="2" y="15"/>
                </a:cxn>
                <a:cxn ang="0">
                  <a:pos x="0" y="11"/>
                </a:cxn>
                <a:cxn ang="0">
                  <a:pos x="0" y="6"/>
                </a:cxn>
                <a:cxn ang="0">
                  <a:pos x="2" y="0"/>
                </a:cxn>
              </a:cxnLst>
              <a:rect l="0" t="0" r="r" b="b"/>
              <a:pathLst>
                <a:path w="17" h="15">
                  <a:moveTo>
                    <a:pt x="2" y="0"/>
                  </a:moveTo>
                  <a:lnTo>
                    <a:pt x="10" y="2"/>
                  </a:lnTo>
                  <a:lnTo>
                    <a:pt x="13" y="2"/>
                  </a:lnTo>
                  <a:lnTo>
                    <a:pt x="10" y="6"/>
                  </a:lnTo>
                  <a:lnTo>
                    <a:pt x="17" y="6"/>
                  </a:lnTo>
                  <a:lnTo>
                    <a:pt x="17" y="9"/>
                  </a:lnTo>
                  <a:lnTo>
                    <a:pt x="17" y="11"/>
                  </a:lnTo>
                  <a:lnTo>
                    <a:pt x="13" y="9"/>
                  </a:lnTo>
                  <a:lnTo>
                    <a:pt x="4" y="9"/>
                  </a:lnTo>
                  <a:lnTo>
                    <a:pt x="8" y="9"/>
                  </a:lnTo>
                  <a:lnTo>
                    <a:pt x="4" y="9"/>
                  </a:lnTo>
                  <a:lnTo>
                    <a:pt x="2" y="15"/>
                  </a:lnTo>
                  <a:lnTo>
                    <a:pt x="0" y="11"/>
                  </a:lnTo>
                  <a:lnTo>
                    <a:pt x="0" y="6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9" name="Freeform 1285"/>
            <p:cNvSpPr>
              <a:spLocks/>
            </p:cNvSpPr>
            <p:nvPr/>
          </p:nvSpPr>
          <p:spPr bwMode="auto">
            <a:xfrm>
              <a:off x="2313527" y="3897593"/>
              <a:ext cx="72698" cy="58373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8" y="0"/>
                </a:cxn>
                <a:cxn ang="0">
                  <a:pos x="6" y="2"/>
                </a:cxn>
                <a:cxn ang="0">
                  <a:pos x="8" y="2"/>
                </a:cxn>
                <a:cxn ang="0">
                  <a:pos x="12" y="9"/>
                </a:cxn>
                <a:cxn ang="0">
                  <a:pos x="6" y="9"/>
                </a:cxn>
                <a:cxn ang="0">
                  <a:pos x="4" y="9"/>
                </a:cxn>
                <a:cxn ang="0">
                  <a:pos x="0" y="9"/>
                </a:cxn>
                <a:cxn ang="0">
                  <a:pos x="4" y="11"/>
                </a:cxn>
                <a:cxn ang="0">
                  <a:pos x="12" y="11"/>
                </a:cxn>
                <a:cxn ang="0">
                  <a:pos x="12" y="6"/>
                </a:cxn>
                <a:cxn ang="0">
                  <a:pos x="14" y="0"/>
                </a:cxn>
              </a:cxnLst>
              <a:rect l="0" t="0" r="r" b="b"/>
              <a:pathLst>
                <a:path w="14" h="11">
                  <a:moveTo>
                    <a:pt x="14" y="0"/>
                  </a:moveTo>
                  <a:lnTo>
                    <a:pt x="8" y="0"/>
                  </a:lnTo>
                  <a:lnTo>
                    <a:pt x="6" y="2"/>
                  </a:lnTo>
                  <a:lnTo>
                    <a:pt x="8" y="2"/>
                  </a:lnTo>
                  <a:lnTo>
                    <a:pt x="12" y="9"/>
                  </a:lnTo>
                  <a:lnTo>
                    <a:pt x="6" y="9"/>
                  </a:lnTo>
                  <a:lnTo>
                    <a:pt x="4" y="9"/>
                  </a:lnTo>
                  <a:lnTo>
                    <a:pt x="0" y="9"/>
                  </a:lnTo>
                  <a:lnTo>
                    <a:pt x="4" y="11"/>
                  </a:lnTo>
                  <a:lnTo>
                    <a:pt x="12" y="11"/>
                  </a:lnTo>
                  <a:lnTo>
                    <a:pt x="12" y="6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0" name="Freeform 1286"/>
            <p:cNvSpPr>
              <a:spLocks/>
            </p:cNvSpPr>
            <p:nvPr/>
          </p:nvSpPr>
          <p:spPr bwMode="auto">
            <a:xfrm>
              <a:off x="2765290" y="5436528"/>
              <a:ext cx="119432" cy="143280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9" y="5"/>
                </a:cxn>
                <a:cxn ang="0">
                  <a:pos x="9" y="2"/>
                </a:cxn>
                <a:cxn ang="0">
                  <a:pos x="21" y="9"/>
                </a:cxn>
                <a:cxn ang="0">
                  <a:pos x="23" y="16"/>
                </a:cxn>
                <a:cxn ang="0">
                  <a:pos x="23" y="20"/>
                </a:cxn>
                <a:cxn ang="0">
                  <a:pos x="21" y="25"/>
                </a:cxn>
                <a:cxn ang="0">
                  <a:pos x="13" y="27"/>
                </a:cxn>
                <a:cxn ang="0">
                  <a:pos x="6" y="25"/>
                </a:cxn>
                <a:cxn ang="0">
                  <a:pos x="0" y="20"/>
                </a:cxn>
              </a:cxnLst>
              <a:rect l="0" t="0" r="r" b="b"/>
              <a:pathLst>
                <a:path w="23" h="27">
                  <a:moveTo>
                    <a:pt x="0" y="20"/>
                  </a:moveTo>
                  <a:lnTo>
                    <a:pt x="0" y="0"/>
                  </a:lnTo>
                  <a:lnTo>
                    <a:pt x="4" y="0"/>
                  </a:lnTo>
                  <a:lnTo>
                    <a:pt x="9" y="5"/>
                  </a:lnTo>
                  <a:lnTo>
                    <a:pt x="9" y="2"/>
                  </a:lnTo>
                  <a:lnTo>
                    <a:pt x="21" y="9"/>
                  </a:lnTo>
                  <a:lnTo>
                    <a:pt x="23" y="16"/>
                  </a:lnTo>
                  <a:lnTo>
                    <a:pt x="23" y="20"/>
                  </a:lnTo>
                  <a:lnTo>
                    <a:pt x="21" y="25"/>
                  </a:lnTo>
                  <a:lnTo>
                    <a:pt x="13" y="27"/>
                  </a:lnTo>
                  <a:lnTo>
                    <a:pt x="6" y="25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1" name="Freeform 1287"/>
            <p:cNvSpPr>
              <a:spLocks/>
            </p:cNvSpPr>
            <p:nvPr/>
          </p:nvSpPr>
          <p:spPr bwMode="auto">
            <a:xfrm>
              <a:off x="2313527" y="4348660"/>
              <a:ext cx="939876" cy="1194002"/>
            </a:xfrm>
            <a:custGeom>
              <a:avLst/>
              <a:gdLst/>
              <a:ahLst/>
              <a:cxnLst>
                <a:cxn ang="0">
                  <a:pos x="96" y="18"/>
                </a:cxn>
                <a:cxn ang="0">
                  <a:pos x="83" y="16"/>
                </a:cxn>
                <a:cxn ang="0">
                  <a:pos x="79" y="18"/>
                </a:cxn>
                <a:cxn ang="0">
                  <a:pos x="68" y="20"/>
                </a:cxn>
                <a:cxn ang="0">
                  <a:pos x="62" y="16"/>
                </a:cxn>
                <a:cxn ang="0">
                  <a:pos x="62" y="0"/>
                </a:cxn>
                <a:cxn ang="0">
                  <a:pos x="60" y="2"/>
                </a:cxn>
                <a:cxn ang="0">
                  <a:pos x="39" y="7"/>
                </a:cxn>
                <a:cxn ang="0">
                  <a:pos x="43" y="16"/>
                </a:cxn>
                <a:cxn ang="0">
                  <a:pos x="37" y="25"/>
                </a:cxn>
                <a:cxn ang="0">
                  <a:pos x="31" y="20"/>
                </a:cxn>
                <a:cxn ang="0">
                  <a:pos x="16" y="20"/>
                </a:cxn>
                <a:cxn ang="0">
                  <a:pos x="20" y="27"/>
                </a:cxn>
                <a:cxn ang="0">
                  <a:pos x="16" y="36"/>
                </a:cxn>
                <a:cxn ang="0">
                  <a:pos x="6" y="59"/>
                </a:cxn>
                <a:cxn ang="0">
                  <a:pos x="0" y="72"/>
                </a:cxn>
                <a:cxn ang="0">
                  <a:pos x="8" y="88"/>
                </a:cxn>
                <a:cxn ang="0">
                  <a:pos x="14" y="92"/>
                </a:cxn>
                <a:cxn ang="0">
                  <a:pos x="25" y="95"/>
                </a:cxn>
                <a:cxn ang="0">
                  <a:pos x="39" y="86"/>
                </a:cxn>
                <a:cxn ang="0">
                  <a:pos x="43" y="101"/>
                </a:cxn>
                <a:cxn ang="0">
                  <a:pos x="64" y="115"/>
                </a:cxn>
                <a:cxn ang="0">
                  <a:pos x="64" y="122"/>
                </a:cxn>
                <a:cxn ang="0">
                  <a:pos x="75" y="129"/>
                </a:cxn>
                <a:cxn ang="0">
                  <a:pos x="77" y="147"/>
                </a:cxn>
                <a:cxn ang="0">
                  <a:pos x="87" y="158"/>
                </a:cxn>
                <a:cxn ang="0">
                  <a:pos x="91" y="167"/>
                </a:cxn>
                <a:cxn ang="0">
                  <a:pos x="96" y="178"/>
                </a:cxn>
                <a:cxn ang="0">
                  <a:pos x="102" y="187"/>
                </a:cxn>
                <a:cxn ang="0">
                  <a:pos x="87" y="205"/>
                </a:cxn>
                <a:cxn ang="0">
                  <a:pos x="96" y="210"/>
                </a:cxn>
                <a:cxn ang="0">
                  <a:pos x="108" y="214"/>
                </a:cxn>
                <a:cxn ang="0">
                  <a:pos x="110" y="225"/>
                </a:cxn>
                <a:cxn ang="0">
                  <a:pos x="118" y="210"/>
                </a:cxn>
                <a:cxn ang="0">
                  <a:pos x="127" y="196"/>
                </a:cxn>
                <a:cxn ang="0">
                  <a:pos x="133" y="171"/>
                </a:cxn>
                <a:cxn ang="0">
                  <a:pos x="139" y="167"/>
                </a:cxn>
                <a:cxn ang="0">
                  <a:pos x="141" y="165"/>
                </a:cxn>
                <a:cxn ang="0">
                  <a:pos x="152" y="162"/>
                </a:cxn>
                <a:cxn ang="0">
                  <a:pos x="158" y="156"/>
                </a:cxn>
                <a:cxn ang="0">
                  <a:pos x="164" y="144"/>
                </a:cxn>
                <a:cxn ang="0">
                  <a:pos x="164" y="131"/>
                </a:cxn>
                <a:cxn ang="0">
                  <a:pos x="179" y="86"/>
                </a:cxn>
                <a:cxn ang="0">
                  <a:pos x="181" y="70"/>
                </a:cxn>
                <a:cxn ang="0">
                  <a:pos x="173" y="59"/>
                </a:cxn>
                <a:cxn ang="0">
                  <a:pos x="150" y="50"/>
                </a:cxn>
                <a:cxn ang="0">
                  <a:pos x="135" y="45"/>
                </a:cxn>
                <a:cxn ang="0">
                  <a:pos x="135" y="38"/>
                </a:cxn>
                <a:cxn ang="0">
                  <a:pos x="131" y="36"/>
                </a:cxn>
                <a:cxn ang="0">
                  <a:pos x="118" y="34"/>
                </a:cxn>
                <a:cxn ang="0">
                  <a:pos x="118" y="29"/>
                </a:cxn>
                <a:cxn ang="0">
                  <a:pos x="108" y="34"/>
                </a:cxn>
                <a:cxn ang="0">
                  <a:pos x="104" y="36"/>
                </a:cxn>
                <a:cxn ang="0">
                  <a:pos x="110" y="25"/>
                </a:cxn>
                <a:cxn ang="0">
                  <a:pos x="108" y="18"/>
                </a:cxn>
                <a:cxn ang="0">
                  <a:pos x="102" y="9"/>
                </a:cxn>
              </a:cxnLst>
              <a:rect l="0" t="0" r="r" b="b"/>
              <a:pathLst>
                <a:path w="181" h="225">
                  <a:moveTo>
                    <a:pt x="102" y="7"/>
                  </a:moveTo>
                  <a:lnTo>
                    <a:pt x="96" y="18"/>
                  </a:lnTo>
                  <a:lnTo>
                    <a:pt x="91" y="18"/>
                  </a:lnTo>
                  <a:lnTo>
                    <a:pt x="83" y="16"/>
                  </a:lnTo>
                  <a:lnTo>
                    <a:pt x="83" y="18"/>
                  </a:lnTo>
                  <a:lnTo>
                    <a:pt x="79" y="18"/>
                  </a:lnTo>
                  <a:lnTo>
                    <a:pt x="77" y="18"/>
                  </a:lnTo>
                  <a:lnTo>
                    <a:pt x="68" y="20"/>
                  </a:lnTo>
                  <a:lnTo>
                    <a:pt x="64" y="20"/>
                  </a:lnTo>
                  <a:lnTo>
                    <a:pt x="62" y="16"/>
                  </a:lnTo>
                  <a:lnTo>
                    <a:pt x="64" y="7"/>
                  </a:lnTo>
                  <a:lnTo>
                    <a:pt x="62" y="0"/>
                  </a:lnTo>
                  <a:lnTo>
                    <a:pt x="60" y="0"/>
                  </a:lnTo>
                  <a:lnTo>
                    <a:pt x="60" y="2"/>
                  </a:lnTo>
                  <a:lnTo>
                    <a:pt x="48" y="9"/>
                  </a:lnTo>
                  <a:lnTo>
                    <a:pt x="39" y="7"/>
                  </a:lnTo>
                  <a:lnTo>
                    <a:pt x="43" y="9"/>
                  </a:lnTo>
                  <a:lnTo>
                    <a:pt x="43" y="16"/>
                  </a:lnTo>
                  <a:lnTo>
                    <a:pt x="45" y="18"/>
                  </a:lnTo>
                  <a:lnTo>
                    <a:pt x="37" y="25"/>
                  </a:lnTo>
                  <a:lnTo>
                    <a:pt x="31" y="25"/>
                  </a:lnTo>
                  <a:lnTo>
                    <a:pt x="31" y="20"/>
                  </a:lnTo>
                  <a:lnTo>
                    <a:pt x="29" y="18"/>
                  </a:lnTo>
                  <a:lnTo>
                    <a:pt x="16" y="20"/>
                  </a:lnTo>
                  <a:lnTo>
                    <a:pt x="16" y="25"/>
                  </a:lnTo>
                  <a:lnTo>
                    <a:pt x="20" y="27"/>
                  </a:lnTo>
                  <a:lnTo>
                    <a:pt x="14" y="27"/>
                  </a:lnTo>
                  <a:lnTo>
                    <a:pt x="16" y="36"/>
                  </a:lnTo>
                  <a:lnTo>
                    <a:pt x="16" y="54"/>
                  </a:lnTo>
                  <a:lnTo>
                    <a:pt x="6" y="59"/>
                  </a:lnTo>
                  <a:lnTo>
                    <a:pt x="4" y="63"/>
                  </a:lnTo>
                  <a:lnTo>
                    <a:pt x="0" y="72"/>
                  </a:lnTo>
                  <a:lnTo>
                    <a:pt x="4" y="81"/>
                  </a:lnTo>
                  <a:lnTo>
                    <a:pt x="8" y="88"/>
                  </a:lnTo>
                  <a:lnTo>
                    <a:pt x="14" y="86"/>
                  </a:lnTo>
                  <a:lnTo>
                    <a:pt x="14" y="92"/>
                  </a:lnTo>
                  <a:lnTo>
                    <a:pt x="20" y="92"/>
                  </a:lnTo>
                  <a:lnTo>
                    <a:pt x="25" y="95"/>
                  </a:lnTo>
                  <a:lnTo>
                    <a:pt x="31" y="86"/>
                  </a:lnTo>
                  <a:lnTo>
                    <a:pt x="39" y="86"/>
                  </a:lnTo>
                  <a:lnTo>
                    <a:pt x="39" y="95"/>
                  </a:lnTo>
                  <a:lnTo>
                    <a:pt x="43" y="101"/>
                  </a:lnTo>
                  <a:lnTo>
                    <a:pt x="62" y="110"/>
                  </a:lnTo>
                  <a:lnTo>
                    <a:pt x="64" y="115"/>
                  </a:lnTo>
                  <a:lnTo>
                    <a:pt x="64" y="119"/>
                  </a:lnTo>
                  <a:lnTo>
                    <a:pt x="64" y="122"/>
                  </a:lnTo>
                  <a:lnTo>
                    <a:pt x="75" y="124"/>
                  </a:lnTo>
                  <a:lnTo>
                    <a:pt x="75" y="129"/>
                  </a:lnTo>
                  <a:lnTo>
                    <a:pt x="79" y="135"/>
                  </a:lnTo>
                  <a:lnTo>
                    <a:pt x="77" y="147"/>
                  </a:lnTo>
                  <a:lnTo>
                    <a:pt x="79" y="156"/>
                  </a:lnTo>
                  <a:lnTo>
                    <a:pt x="87" y="158"/>
                  </a:lnTo>
                  <a:lnTo>
                    <a:pt x="91" y="158"/>
                  </a:lnTo>
                  <a:lnTo>
                    <a:pt x="91" y="167"/>
                  </a:lnTo>
                  <a:lnTo>
                    <a:pt x="96" y="167"/>
                  </a:lnTo>
                  <a:lnTo>
                    <a:pt x="96" y="178"/>
                  </a:lnTo>
                  <a:lnTo>
                    <a:pt x="100" y="178"/>
                  </a:lnTo>
                  <a:lnTo>
                    <a:pt x="102" y="187"/>
                  </a:lnTo>
                  <a:lnTo>
                    <a:pt x="100" y="189"/>
                  </a:lnTo>
                  <a:lnTo>
                    <a:pt x="87" y="205"/>
                  </a:lnTo>
                  <a:lnTo>
                    <a:pt x="91" y="205"/>
                  </a:lnTo>
                  <a:lnTo>
                    <a:pt x="96" y="210"/>
                  </a:lnTo>
                  <a:lnTo>
                    <a:pt x="96" y="207"/>
                  </a:lnTo>
                  <a:lnTo>
                    <a:pt x="108" y="214"/>
                  </a:lnTo>
                  <a:lnTo>
                    <a:pt x="110" y="221"/>
                  </a:lnTo>
                  <a:lnTo>
                    <a:pt x="110" y="225"/>
                  </a:lnTo>
                  <a:lnTo>
                    <a:pt x="114" y="216"/>
                  </a:lnTo>
                  <a:lnTo>
                    <a:pt x="118" y="210"/>
                  </a:lnTo>
                  <a:lnTo>
                    <a:pt x="123" y="201"/>
                  </a:lnTo>
                  <a:lnTo>
                    <a:pt x="127" y="196"/>
                  </a:lnTo>
                  <a:lnTo>
                    <a:pt x="125" y="180"/>
                  </a:lnTo>
                  <a:lnTo>
                    <a:pt x="133" y="171"/>
                  </a:lnTo>
                  <a:lnTo>
                    <a:pt x="135" y="167"/>
                  </a:lnTo>
                  <a:lnTo>
                    <a:pt x="139" y="167"/>
                  </a:lnTo>
                  <a:lnTo>
                    <a:pt x="139" y="165"/>
                  </a:lnTo>
                  <a:lnTo>
                    <a:pt x="141" y="165"/>
                  </a:lnTo>
                  <a:lnTo>
                    <a:pt x="141" y="162"/>
                  </a:lnTo>
                  <a:lnTo>
                    <a:pt x="152" y="162"/>
                  </a:lnTo>
                  <a:lnTo>
                    <a:pt x="152" y="158"/>
                  </a:lnTo>
                  <a:lnTo>
                    <a:pt x="158" y="156"/>
                  </a:lnTo>
                  <a:lnTo>
                    <a:pt x="158" y="153"/>
                  </a:lnTo>
                  <a:lnTo>
                    <a:pt x="164" y="144"/>
                  </a:lnTo>
                  <a:lnTo>
                    <a:pt x="164" y="135"/>
                  </a:lnTo>
                  <a:lnTo>
                    <a:pt x="164" y="131"/>
                  </a:lnTo>
                  <a:lnTo>
                    <a:pt x="164" y="106"/>
                  </a:lnTo>
                  <a:lnTo>
                    <a:pt x="179" y="86"/>
                  </a:lnTo>
                  <a:lnTo>
                    <a:pt x="181" y="77"/>
                  </a:lnTo>
                  <a:lnTo>
                    <a:pt x="181" y="70"/>
                  </a:lnTo>
                  <a:lnTo>
                    <a:pt x="179" y="61"/>
                  </a:lnTo>
                  <a:lnTo>
                    <a:pt x="173" y="59"/>
                  </a:lnTo>
                  <a:lnTo>
                    <a:pt x="158" y="45"/>
                  </a:lnTo>
                  <a:lnTo>
                    <a:pt x="150" y="50"/>
                  </a:lnTo>
                  <a:lnTo>
                    <a:pt x="141" y="43"/>
                  </a:lnTo>
                  <a:lnTo>
                    <a:pt x="135" y="45"/>
                  </a:lnTo>
                  <a:lnTo>
                    <a:pt x="135" y="43"/>
                  </a:lnTo>
                  <a:lnTo>
                    <a:pt x="135" y="38"/>
                  </a:lnTo>
                  <a:lnTo>
                    <a:pt x="133" y="38"/>
                  </a:lnTo>
                  <a:lnTo>
                    <a:pt x="131" y="36"/>
                  </a:lnTo>
                  <a:lnTo>
                    <a:pt x="123" y="34"/>
                  </a:lnTo>
                  <a:lnTo>
                    <a:pt x="118" y="34"/>
                  </a:lnTo>
                  <a:lnTo>
                    <a:pt x="116" y="38"/>
                  </a:lnTo>
                  <a:lnTo>
                    <a:pt x="118" y="29"/>
                  </a:lnTo>
                  <a:lnTo>
                    <a:pt x="116" y="29"/>
                  </a:lnTo>
                  <a:lnTo>
                    <a:pt x="108" y="34"/>
                  </a:lnTo>
                  <a:lnTo>
                    <a:pt x="108" y="38"/>
                  </a:lnTo>
                  <a:lnTo>
                    <a:pt x="104" y="36"/>
                  </a:lnTo>
                  <a:lnTo>
                    <a:pt x="104" y="29"/>
                  </a:lnTo>
                  <a:lnTo>
                    <a:pt x="110" y="25"/>
                  </a:lnTo>
                  <a:lnTo>
                    <a:pt x="110" y="20"/>
                  </a:lnTo>
                  <a:lnTo>
                    <a:pt x="108" y="18"/>
                  </a:lnTo>
                  <a:lnTo>
                    <a:pt x="104" y="9"/>
                  </a:lnTo>
                  <a:lnTo>
                    <a:pt x="102" y="9"/>
                  </a:lnTo>
                  <a:lnTo>
                    <a:pt x="102" y="7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32" name="Freeform 1288"/>
            <p:cNvSpPr>
              <a:spLocks/>
            </p:cNvSpPr>
            <p:nvPr/>
          </p:nvSpPr>
          <p:spPr bwMode="auto">
            <a:xfrm>
              <a:off x="2713364" y="6115783"/>
              <a:ext cx="98661" cy="7429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5"/>
                </a:cxn>
                <a:cxn ang="0">
                  <a:pos x="19" y="12"/>
                </a:cxn>
                <a:cxn ang="0">
                  <a:pos x="10" y="14"/>
                </a:cxn>
                <a:cxn ang="0">
                  <a:pos x="8" y="14"/>
                </a:cxn>
                <a:cxn ang="0">
                  <a:pos x="4" y="7"/>
                </a:cxn>
                <a:cxn ang="0">
                  <a:pos x="0" y="0"/>
                </a:cxn>
              </a:cxnLst>
              <a:rect l="0" t="0" r="r" b="b"/>
              <a:pathLst>
                <a:path w="19" h="14">
                  <a:moveTo>
                    <a:pt x="0" y="0"/>
                  </a:moveTo>
                  <a:lnTo>
                    <a:pt x="6" y="5"/>
                  </a:lnTo>
                  <a:lnTo>
                    <a:pt x="19" y="12"/>
                  </a:lnTo>
                  <a:lnTo>
                    <a:pt x="10" y="14"/>
                  </a:lnTo>
                  <a:lnTo>
                    <a:pt x="8" y="14"/>
                  </a:lnTo>
                  <a:lnTo>
                    <a:pt x="4" y="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3" name="Freeform 1289"/>
            <p:cNvSpPr>
              <a:spLocks/>
            </p:cNvSpPr>
            <p:nvPr/>
          </p:nvSpPr>
          <p:spPr bwMode="auto">
            <a:xfrm>
              <a:off x="2625088" y="6115783"/>
              <a:ext cx="129817" cy="74293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10" y="0"/>
                </a:cxn>
                <a:cxn ang="0">
                  <a:pos x="15" y="3"/>
                </a:cxn>
                <a:cxn ang="0">
                  <a:pos x="17" y="3"/>
                </a:cxn>
                <a:cxn ang="0">
                  <a:pos x="15" y="5"/>
                </a:cxn>
                <a:cxn ang="0">
                  <a:pos x="15" y="9"/>
                </a:cxn>
                <a:cxn ang="0">
                  <a:pos x="0" y="3"/>
                </a:cxn>
                <a:cxn ang="0">
                  <a:pos x="0" y="5"/>
                </a:cxn>
                <a:cxn ang="0">
                  <a:pos x="2" y="9"/>
                </a:cxn>
                <a:cxn ang="0">
                  <a:pos x="4" y="9"/>
                </a:cxn>
                <a:cxn ang="0">
                  <a:pos x="15" y="12"/>
                </a:cxn>
                <a:cxn ang="0">
                  <a:pos x="19" y="12"/>
                </a:cxn>
                <a:cxn ang="0">
                  <a:pos x="19" y="14"/>
                </a:cxn>
                <a:cxn ang="0">
                  <a:pos x="25" y="14"/>
                </a:cxn>
                <a:cxn ang="0">
                  <a:pos x="21" y="7"/>
                </a:cxn>
                <a:cxn ang="0">
                  <a:pos x="17" y="0"/>
                </a:cxn>
              </a:cxnLst>
              <a:rect l="0" t="0" r="r" b="b"/>
              <a:pathLst>
                <a:path w="25" h="14">
                  <a:moveTo>
                    <a:pt x="17" y="0"/>
                  </a:moveTo>
                  <a:lnTo>
                    <a:pt x="10" y="0"/>
                  </a:lnTo>
                  <a:lnTo>
                    <a:pt x="15" y="3"/>
                  </a:lnTo>
                  <a:lnTo>
                    <a:pt x="17" y="3"/>
                  </a:lnTo>
                  <a:lnTo>
                    <a:pt x="15" y="5"/>
                  </a:lnTo>
                  <a:lnTo>
                    <a:pt x="15" y="9"/>
                  </a:lnTo>
                  <a:lnTo>
                    <a:pt x="0" y="3"/>
                  </a:lnTo>
                  <a:lnTo>
                    <a:pt x="0" y="5"/>
                  </a:lnTo>
                  <a:lnTo>
                    <a:pt x="2" y="9"/>
                  </a:lnTo>
                  <a:lnTo>
                    <a:pt x="4" y="9"/>
                  </a:lnTo>
                  <a:lnTo>
                    <a:pt x="15" y="12"/>
                  </a:lnTo>
                  <a:lnTo>
                    <a:pt x="19" y="12"/>
                  </a:lnTo>
                  <a:lnTo>
                    <a:pt x="19" y="14"/>
                  </a:lnTo>
                  <a:lnTo>
                    <a:pt x="25" y="14"/>
                  </a:lnTo>
                  <a:lnTo>
                    <a:pt x="21" y="7"/>
                  </a:lnTo>
                  <a:lnTo>
                    <a:pt x="17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4" name="Freeform 1290"/>
            <p:cNvSpPr>
              <a:spLocks/>
            </p:cNvSpPr>
            <p:nvPr/>
          </p:nvSpPr>
          <p:spPr bwMode="auto">
            <a:xfrm>
              <a:off x="2126590" y="4502554"/>
              <a:ext cx="316753" cy="562507"/>
            </a:xfrm>
            <a:custGeom>
              <a:avLst/>
              <a:gdLst/>
              <a:ahLst/>
              <a:cxnLst>
                <a:cxn ang="0">
                  <a:pos x="2" y="21"/>
                </a:cxn>
                <a:cxn ang="0">
                  <a:pos x="0" y="25"/>
                </a:cxn>
                <a:cxn ang="0">
                  <a:pos x="2" y="34"/>
                </a:cxn>
                <a:cxn ang="0">
                  <a:pos x="0" y="34"/>
                </a:cxn>
                <a:cxn ang="0">
                  <a:pos x="4" y="41"/>
                </a:cxn>
                <a:cxn ang="0">
                  <a:pos x="10" y="50"/>
                </a:cxn>
                <a:cxn ang="0">
                  <a:pos x="27" y="86"/>
                </a:cxn>
                <a:cxn ang="0">
                  <a:pos x="52" y="106"/>
                </a:cxn>
                <a:cxn ang="0">
                  <a:pos x="58" y="102"/>
                </a:cxn>
                <a:cxn ang="0">
                  <a:pos x="61" y="95"/>
                </a:cxn>
                <a:cxn ang="0">
                  <a:pos x="58" y="93"/>
                </a:cxn>
                <a:cxn ang="0">
                  <a:pos x="58" y="72"/>
                </a:cxn>
                <a:cxn ang="0">
                  <a:pos x="56" y="63"/>
                </a:cxn>
                <a:cxn ang="0">
                  <a:pos x="50" y="63"/>
                </a:cxn>
                <a:cxn ang="0">
                  <a:pos x="50" y="57"/>
                </a:cxn>
                <a:cxn ang="0">
                  <a:pos x="44" y="59"/>
                </a:cxn>
                <a:cxn ang="0">
                  <a:pos x="40" y="52"/>
                </a:cxn>
                <a:cxn ang="0">
                  <a:pos x="36" y="43"/>
                </a:cxn>
                <a:cxn ang="0">
                  <a:pos x="40" y="34"/>
                </a:cxn>
                <a:cxn ang="0">
                  <a:pos x="42" y="30"/>
                </a:cxn>
                <a:cxn ang="0">
                  <a:pos x="52" y="25"/>
                </a:cxn>
                <a:cxn ang="0">
                  <a:pos x="50" y="23"/>
                </a:cxn>
                <a:cxn ang="0">
                  <a:pos x="50" y="16"/>
                </a:cxn>
                <a:cxn ang="0">
                  <a:pos x="48" y="14"/>
                </a:cxn>
                <a:cxn ang="0">
                  <a:pos x="36" y="16"/>
                </a:cxn>
                <a:cxn ang="0">
                  <a:pos x="33" y="7"/>
                </a:cxn>
                <a:cxn ang="0">
                  <a:pos x="27" y="0"/>
                </a:cxn>
                <a:cxn ang="0">
                  <a:pos x="25" y="0"/>
                </a:cxn>
                <a:cxn ang="0">
                  <a:pos x="27" y="7"/>
                </a:cxn>
                <a:cxn ang="0">
                  <a:pos x="25" y="9"/>
                </a:cxn>
                <a:cxn ang="0">
                  <a:pos x="21" y="16"/>
                </a:cxn>
                <a:cxn ang="0">
                  <a:pos x="13" y="21"/>
                </a:cxn>
                <a:cxn ang="0">
                  <a:pos x="8" y="30"/>
                </a:cxn>
                <a:cxn ang="0">
                  <a:pos x="2" y="25"/>
                </a:cxn>
                <a:cxn ang="0">
                  <a:pos x="2" y="23"/>
                </a:cxn>
                <a:cxn ang="0">
                  <a:pos x="2" y="21"/>
                </a:cxn>
              </a:cxnLst>
              <a:rect l="0" t="0" r="r" b="b"/>
              <a:pathLst>
                <a:path w="61" h="106">
                  <a:moveTo>
                    <a:pt x="2" y="21"/>
                  </a:moveTo>
                  <a:lnTo>
                    <a:pt x="0" y="25"/>
                  </a:lnTo>
                  <a:lnTo>
                    <a:pt x="2" y="34"/>
                  </a:lnTo>
                  <a:lnTo>
                    <a:pt x="0" y="34"/>
                  </a:lnTo>
                  <a:lnTo>
                    <a:pt x="4" y="41"/>
                  </a:lnTo>
                  <a:lnTo>
                    <a:pt x="10" y="50"/>
                  </a:lnTo>
                  <a:lnTo>
                    <a:pt x="27" y="86"/>
                  </a:lnTo>
                  <a:lnTo>
                    <a:pt x="52" y="106"/>
                  </a:lnTo>
                  <a:lnTo>
                    <a:pt x="58" y="102"/>
                  </a:lnTo>
                  <a:lnTo>
                    <a:pt x="61" y="95"/>
                  </a:lnTo>
                  <a:lnTo>
                    <a:pt x="58" y="93"/>
                  </a:lnTo>
                  <a:lnTo>
                    <a:pt x="58" y="72"/>
                  </a:lnTo>
                  <a:lnTo>
                    <a:pt x="56" y="63"/>
                  </a:lnTo>
                  <a:lnTo>
                    <a:pt x="50" y="63"/>
                  </a:lnTo>
                  <a:lnTo>
                    <a:pt x="50" y="57"/>
                  </a:lnTo>
                  <a:lnTo>
                    <a:pt x="44" y="59"/>
                  </a:lnTo>
                  <a:lnTo>
                    <a:pt x="40" y="52"/>
                  </a:lnTo>
                  <a:lnTo>
                    <a:pt x="36" y="43"/>
                  </a:lnTo>
                  <a:lnTo>
                    <a:pt x="40" y="34"/>
                  </a:lnTo>
                  <a:lnTo>
                    <a:pt x="42" y="30"/>
                  </a:lnTo>
                  <a:lnTo>
                    <a:pt x="52" y="25"/>
                  </a:lnTo>
                  <a:lnTo>
                    <a:pt x="50" y="23"/>
                  </a:lnTo>
                  <a:lnTo>
                    <a:pt x="50" y="16"/>
                  </a:lnTo>
                  <a:lnTo>
                    <a:pt x="48" y="14"/>
                  </a:lnTo>
                  <a:lnTo>
                    <a:pt x="36" y="16"/>
                  </a:lnTo>
                  <a:lnTo>
                    <a:pt x="33" y="7"/>
                  </a:lnTo>
                  <a:lnTo>
                    <a:pt x="27" y="0"/>
                  </a:lnTo>
                  <a:lnTo>
                    <a:pt x="25" y="0"/>
                  </a:lnTo>
                  <a:lnTo>
                    <a:pt x="27" y="7"/>
                  </a:lnTo>
                  <a:lnTo>
                    <a:pt x="25" y="9"/>
                  </a:lnTo>
                  <a:lnTo>
                    <a:pt x="21" y="16"/>
                  </a:lnTo>
                  <a:lnTo>
                    <a:pt x="13" y="21"/>
                  </a:lnTo>
                  <a:lnTo>
                    <a:pt x="8" y="30"/>
                  </a:lnTo>
                  <a:lnTo>
                    <a:pt x="2" y="25"/>
                  </a:lnTo>
                  <a:lnTo>
                    <a:pt x="2" y="23"/>
                  </a:lnTo>
                  <a:lnTo>
                    <a:pt x="2" y="21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5" name="Freeform 1291"/>
            <p:cNvSpPr>
              <a:spLocks/>
            </p:cNvSpPr>
            <p:nvPr/>
          </p:nvSpPr>
          <p:spPr bwMode="auto">
            <a:xfrm>
              <a:off x="2126590" y="4454794"/>
              <a:ext cx="140203" cy="206960"/>
            </a:xfrm>
            <a:custGeom>
              <a:avLst/>
              <a:gdLst/>
              <a:ahLst/>
              <a:cxnLst>
                <a:cxn ang="0">
                  <a:pos x="2" y="30"/>
                </a:cxn>
                <a:cxn ang="0">
                  <a:pos x="2" y="34"/>
                </a:cxn>
                <a:cxn ang="0">
                  <a:pos x="8" y="39"/>
                </a:cxn>
                <a:cxn ang="0">
                  <a:pos x="13" y="30"/>
                </a:cxn>
                <a:cxn ang="0">
                  <a:pos x="21" y="25"/>
                </a:cxn>
                <a:cxn ang="0">
                  <a:pos x="25" y="18"/>
                </a:cxn>
                <a:cxn ang="0">
                  <a:pos x="27" y="16"/>
                </a:cxn>
                <a:cxn ang="0">
                  <a:pos x="25" y="9"/>
                </a:cxn>
                <a:cxn ang="0">
                  <a:pos x="27" y="9"/>
                </a:cxn>
                <a:cxn ang="0">
                  <a:pos x="25" y="7"/>
                </a:cxn>
                <a:cxn ang="0">
                  <a:pos x="17" y="9"/>
                </a:cxn>
                <a:cxn ang="0">
                  <a:pos x="10" y="0"/>
                </a:cxn>
                <a:cxn ang="0">
                  <a:pos x="4" y="7"/>
                </a:cxn>
                <a:cxn ang="0">
                  <a:pos x="4" y="9"/>
                </a:cxn>
                <a:cxn ang="0">
                  <a:pos x="2" y="9"/>
                </a:cxn>
                <a:cxn ang="0">
                  <a:pos x="2" y="14"/>
                </a:cxn>
                <a:cxn ang="0">
                  <a:pos x="0" y="16"/>
                </a:cxn>
                <a:cxn ang="0">
                  <a:pos x="0" y="23"/>
                </a:cxn>
                <a:cxn ang="0">
                  <a:pos x="4" y="30"/>
                </a:cxn>
                <a:cxn ang="0">
                  <a:pos x="2" y="30"/>
                </a:cxn>
              </a:cxnLst>
              <a:rect l="0" t="0" r="r" b="b"/>
              <a:pathLst>
                <a:path w="27" h="39">
                  <a:moveTo>
                    <a:pt x="2" y="30"/>
                  </a:moveTo>
                  <a:lnTo>
                    <a:pt x="2" y="34"/>
                  </a:lnTo>
                  <a:lnTo>
                    <a:pt x="8" y="39"/>
                  </a:lnTo>
                  <a:lnTo>
                    <a:pt x="13" y="30"/>
                  </a:lnTo>
                  <a:lnTo>
                    <a:pt x="21" y="25"/>
                  </a:lnTo>
                  <a:lnTo>
                    <a:pt x="25" y="18"/>
                  </a:lnTo>
                  <a:lnTo>
                    <a:pt x="27" y="16"/>
                  </a:lnTo>
                  <a:lnTo>
                    <a:pt x="25" y="9"/>
                  </a:lnTo>
                  <a:lnTo>
                    <a:pt x="27" y="9"/>
                  </a:lnTo>
                  <a:lnTo>
                    <a:pt x="25" y="7"/>
                  </a:lnTo>
                  <a:lnTo>
                    <a:pt x="17" y="9"/>
                  </a:lnTo>
                  <a:lnTo>
                    <a:pt x="10" y="0"/>
                  </a:lnTo>
                  <a:lnTo>
                    <a:pt x="4" y="7"/>
                  </a:lnTo>
                  <a:lnTo>
                    <a:pt x="4" y="9"/>
                  </a:lnTo>
                  <a:lnTo>
                    <a:pt x="2" y="9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4" y="30"/>
                  </a:lnTo>
                  <a:lnTo>
                    <a:pt x="2" y="3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6" name="Freeform 1292"/>
            <p:cNvSpPr>
              <a:spLocks/>
            </p:cNvSpPr>
            <p:nvPr/>
          </p:nvSpPr>
          <p:spPr bwMode="auto">
            <a:xfrm>
              <a:off x="2178517" y="4120473"/>
              <a:ext cx="295983" cy="514747"/>
            </a:xfrm>
            <a:custGeom>
              <a:avLst/>
              <a:gdLst/>
              <a:ahLst/>
              <a:cxnLst>
                <a:cxn ang="0">
                  <a:pos x="0" y="63"/>
                </a:cxn>
                <a:cxn ang="0">
                  <a:pos x="3" y="59"/>
                </a:cxn>
                <a:cxn ang="0">
                  <a:pos x="7" y="59"/>
                </a:cxn>
                <a:cxn ang="0">
                  <a:pos x="9" y="52"/>
                </a:cxn>
                <a:cxn ang="0">
                  <a:pos x="7" y="50"/>
                </a:cxn>
                <a:cxn ang="0">
                  <a:pos x="7" y="34"/>
                </a:cxn>
                <a:cxn ang="0">
                  <a:pos x="7" y="30"/>
                </a:cxn>
                <a:cxn ang="0">
                  <a:pos x="9" y="27"/>
                </a:cxn>
                <a:cxn ang="0">
                  <a:pos x="9" y="25"/>
                </a:cxn>
                <a:cxn ang="0">
                  <a:pos x="11" y="27"/>
                </a:cxn>
                <a:cxn ang="0">
                  <a:pos x="11" y="25"/>
                </a:cxn>
                <a:cxn ang="0">
                  <a:pos x="17" y="18"/>
                </a:cxn>
                <a:cxn ang="0">
                  <a:pos x="17" y="9"/>
                </a:cxn>
                <a:cxn ang="0">
                  <a:pos x="23" y="9"/>
                </a:cxn>
                <a:cxn ang="0">
                  <a:pos x="26" y="9"/>
                </a:cxn>
                <a:cxn ang="0">
                  <a:pos x="38" y="0"/>
                </a:cxn>
                <a:cxn ang="0">
                  <a:pos x="38" y="3"/>
                </a:cxn>
                <a:cxn ang="0">
                  <a:pos x="34" y="7"/>
                </a:cxn>
                <a:cxn ang="0">
                  <a:pos x="32" y="9"/>
                </a:cxn>
                <a:cxn ang="0">
                  <a:pos x="30" y="18"/>
                </a:cxn>
                <a:cxn ang="0">
                  <a:pos x="32" y="27"/>
                </a:cxn>
                <a:cxn ang="0">
                  <a:pos x="32" y="30"/>
                </a:cxn>
                <a:cxn ang="0">
                  <a:pos x="34" y="30"/>
                </a:cxn>
                <a:cxn ang="0">
                  <a:pos x="42" y="34"/>
                </a:cxn>
                <a:cxn ang="0">
                  <a:pos x="46" y="36"/>
                </a:cxn>
                <a:cxn ang="0">
                  <a:pos x="55" y="36"/>
                </a:cxn>
                <a:cxn ang="0">
                  <a:pos x="51" y="45"/>
                </a:cxn>
                <a:cxn ang="0">
                  <a:pos x="55" y="54"/>
                </a:cxn>
                <a:cxn ang="0">
                  <a:pos x="51" y="54"/>
                </a:cxn>
                <a:cxn ang="0">
                  <a:pos x="57" y="63"/>
                </a:cxn>
                <a:cxn ang="0">
                  <a:pos x="55" y="61"/>
                </a:cxn>
                <a:cxn ang="0">
                  <a:pos x="42" y="63"/>
                </a:cxn>
                <a:cxn ang="0">
                  <a:pos x="42" y="68"/>
                </a:cxn>
                <a:cxn ang="0">
                  <a:pos x="46" y="70"/>
                </a:cxn>
                <a:cxn ang="0">
                  <a:pos x="40" y="70"/>
                </a:cxn>
                <a:cxn ang="0">
                  <a:pos x="42" y="79"/>
                </a:cxn>
                <a:cxn ang="0">
                  <a:pos x="42" y="97"/>
                </a:cxn>
                <a:cxn ang="0">
                  <a:pos x="40" y="95"/>
                </a:cxn>
                <a:cxn ang="0">
                  <a:pos x="40" y="88"/>
                </a:cxn>
                <a:cxn ang="0">
                  <a:pos x="38" y="86"/>
                </a:cxn>
                <a:cxn ang="0">
                  <a:pos x="26" y="88"/>
                </a:cxn>
                <a:cxn ang="0">
                  <a:pos x="23" y="79"/>
                </a:cxn>
                <a:cxn ang="0">
                  <a:pos x="17" y="72"/>
                </a:cxn>
                <a:cxn ang="0">
                  <a:pos x="15" y="70"/>
                </a:cxn>
                <a:cxn ang="0">
                  <a:pos x="7" y="72"/>
                </a:cxn>
                <a:cxn ang="0">
                  <a:pos x="3" y="68"/>
                </a:cxn>
                <a:cxn ang="0">
                  <a:pos x="0" y="63"/>
                </a:cxn>
              </a:cxnLst>
              <a:rect l="0" t="0" r="r" b="b"/>
              <a:pathLst>
                <a:path w="57" h="97">
                  <a:moveTo>
                    <a:pt x="0" y="63"/>
                  </a:moveTo>
                  <a:lnTo>
                    <a:pt x="3" y="59"/>
                  </a:lnTo>
                  <a:lnTo>
                    <a:pt x="7" y="59"/>
                  </a:lnTo>
                  <a:lnTo>
                    <a:pt x="9" y="52"/>
                  </a:lnTo>
                  <a:lnTo>
                    <a:pt x="7" y="50"/>
                  </a:lnTo>
                  <a:lnTo>
                    <a:pt x="7" y="34"/>
                  </a:lnTo>
                  <a:lnTo>
                    <a:pt x="7" y="30"/>
                  </a:lnTo>
                  <a:lnTo>
                    <a:pt x="9" y="27"/>
                  </a:lnTo>
                  <a:lnTo>
                    <a:pt x="9" y="25"/>
                  </a:lnTo>
                  <a:lnTo>
                    <a:pt x="11" y="27"/>
                  </a:lnTo>
                  <a:lnTo>
                    <a:pt x="11" y="25"/>
                  </a:lnTo>
                  <a:lnTo>
                    <a:pt x="17" y="18"/>
                  </a:lnTo>
                  <a:lnTo>
                    <a:pt x="17" y="9"/>
                  </a:lnTo>
                  <a:lnTo>
                    <a:pt x="23" y="9"/>
                  </a:lnTo>
                  <a:lnTo>
                    <a:pt x="26" y="9"/>
                  </a:lnTo>
                  <a:lnTo>
                    <a:pt x="38" y="0"/>
                  </a:lnTo>
                  <a:lnTo>
                    <a:pt x="38" y="3"/>
                  </a:lnTo>
                  <a:lnTo>
                    <a:pt x="34" y="7"/>
                  </a:lnTo>
                  <a:lnTo>
                    <a:pt x="32" y="9"/>
                  </a:lnTo>
                  <a:lnTo>
                    <a:pt x="30" y="18"/>
                  </a:lnTo>
                  <a:lnTo>
                    <a:pt x="32" y="27"/>
                  </a:lnTo>
                  <a:lnTo>
                    <a:pt x="32" y="30"/>
                  </a:lnTo>
                  <a:lnTo>
                    <a:pt x="34" y="30"/>
                  </a:lnTo>
                  <a:lnTo>
                    <a:pt x="42" y="34"/>
                  </a:lnTo>
                  <a:lnTo>
                    <a:pt x="46" y="36"/>
                  </a:lnTo>
                  <a:lnTo>
                    <a:pt x="55" y="36"/>
                  </a:lnTo>
                  <a:lnTo>
                    <a:pt x="51" y="45"/>
                  </a:lnTo>
                  <a:lnTo>
                    <a:pt x="55" y="54"/>
                  </a:lnTo>
                  <a:lnTo>
                    <a:pt x="51" y="54"/>
                  </a:lnTo>
                  <a:lnTo>
                    <a:pt x="57" y="63"/>
                  </a:lnTo>
                  <a:lnTo>
                    <a:pt x="55" y="61"/>
                  </a:lnTo>
                  <a:lnTo>
                    <a:pt x="42" y="63"/>
                  </a:lnTo>
                  <a:lnTo>
                    <a:pt x="42" y="68"/>
                  </a:lnTo>
                  <a:lnTo>
                    <a:pt x="46" y="70"/>
                  </a:lnTo>
                  <a:lnTo>
                    <a:pt x="40" y="70"/>
                  </a:lnTo>
                  <a:lnTo>
                    <a:pt x="42" y="79"/>
                  </a:lnTo>
                  <a:lnTo>
                    <a:pt x="42" y="97"/>
                  </a:lnTo>
                  <a:lnTo>
                    <a:pt x="40" y="95"/>
                  </a:lnTo>
                  <a:lnTo>
                    <a:pt x="40" y="88"/>
                  </a:lnTo>
                  <a:lnTo>
                    <a:pt x="38" y="86"/>
                  </a:lnTo>
                  <a:lnTo>
                    <a:pt x="26" y="88"/>
                  </a:lnTo>
                  <a:lnTo>
                    <a:pt x="23" y="79"/>
                  </a:lnTo>
                  <a:lnTo>
                    <a:pt x="17" y="72"/>
                  </a:lnTo>
                  <a:lnTo>
                    <a:pt x="15" y="70"/>
                  </a:lnTo>
                  <a:lnTo>
                    <a:pt x="7" y="72"/>
                  </a:lnTo>
                  <a:lnTo>
                    <a:pt x="3" y="68"/>
                  </a:lnTo>
                  <a:lnTo>
                    <a:pt x="0" y="63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7" name="Freeform 1293"/>
            <p:cNvSpPr>
              <a:spLocks/>
            </p:cNvSpPr>
            <p:nvPr/>
          </p:nvSpPr>
          <p:spPr bwMode="auto">
            <a:xfrm>
              <a:off x="2334297" y="4136393"/>
              <a:ext cx="311562" cy="344934"/>
            </a:xfrm>
            <a:custGeom>
              <a:avLst/>
              <a:gdLst/>
              <a:ahLst/>
              <a:cxnLst>
                <a:cxn ang="0">
                  <a:pos x="60" y="22"/>
                </a:cxn>
                <a:cxn ang="0">
                  <a:pos x="56" y="24"/>
                </a:cxn>
                <a:cxn ang="0">
                  <a:pos x="56" y="27"/>
                </a:cxn>
                <a:cxn ang="0">
                  <a:pos x="58" y="31"/>
                </a:cxn>
                <a:cxn ang="0">
                  <a:pos x="56" y="31"/>
                </a:cxn>
                <a:cxn ang="0">
                  <a:pos x="52" y="36"/>
                </a:cxn>
                <a:cxn ang="0">
                  <a:pos x="56" y="40"/>
                </a:cxn>
                <a:cxn ang="0">
                  <a:pos x="56" y="42"/>
                </a:cxn>
                <a:cxn ang="0">
                  <a:pos x="44" y="49"/>
                </a:cxn>
                <a:cxn ang="0">
                  <a:pos x="35" y="47"/>
                </a:cxn>
                <a:cxn ang="0">
                  <a:pos x="39" y="49"/>
                </a:cxn>
                <a:cxn ang="0">
                  <a:pos x="39" y="56"/>
                </a:cxn>
                <a:cxn ang="0">
                  <a:pos x="41" y="58"/>
                </a:cxn>
                <a:cxn ang="0">
                  <a:pos x="33" y="65"/>
                </a:cxn>
                <a:cxn ang="0">
                  <a:pos x="27" y="65"/>
                </a:cxn>
                <a:cxn ang="0">
                  <a:pos x="27" y="60"/>
                </a:cxn>
                <a:cxn ang="0">
                  <a:pos x="21" y="51"/>
                </a:cxn>
                <a:cxn ang="0">
                  <a:pos x="25" y="51"/>
                </a:cxn>
                <a:cxn ang="0">
                  <a:pos x="21" y="42"/>
                </a:cxn>
                <a:cxn ang="0">
                  <a:pos x="25" y="33"/>
                </a:cxn>
                <a:cxn ang="0">
                  <a:pos x="16" y="33"/>
                </a:cxn>
                <a:cxn ang="0">
                  <a:pos x="12" y="31"/>
                </a:cxn>
                <a:cxn ang="0">
                  <a:pos x="4" y="27"/>
                </a:cxn>
                <a:cxn ang="0">
                  <a:pos x="2" y="27"/>
                </a:cxn>
                <a:cxn ang="0">
                  <a:pos x="2" y="24"/>
                </a:cxn>
                <a:cxn ang="0">
                  <a:pos x="0" y="15"/>
                </a:cxn>
                <a:cxn ang="0">
                  <a:pos x="2" y="6"/>
                </a:cxn>
                <a:cxn ang="0">
                  <a:pos x="4" y="4"/>
                </a:cxn>
                <a:cxn ang="0">
                  <a:pos x="8" y="9"/>
                </a:cxn>
                <a:cxn ang="0">
                  <a:pos x="4" y="13"/>
                </a:cxn>
                <a:cxn ang="0">
                  <a:pos x="4" y="18"/>
                </a:cxn>
                <a:cxn ang="0">
                  <a:pos x="8" y="15"/>
                </a:cxn>
                <a:cxn ang="0">
                  <a:pos x="8" y="6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6" y="4"/>
                </a:cxn>
                <a:cxn ang="0">
                  <a:pos x="21" y="6"/>
                </a:cxn>
                <a:cxn ang="0">
                  <a:pos x="21" y="9"/>
                </a:cxn>
                <a:cxn ang="0">
                  <a:pos x="31" y="9"/>
                </a:cxn>
                <a:cxn ang="0">
                  <a:pos x="35" y="13"/>
                </a:cxn>
                <a:cxn ang="0">
                  <a:pos x="41" y="9"/>
                </a:cxn>
                <a:cxn ang="0">
                  <a:pos x="50" y="9"/>
                </a:cxn>
                <a:cxn ang="0">
                  <a:pos x="48" y="9"/>
                </a:cxn>
                <a:cxn ang="0">
                  <a:pos x="50" y="13"/>
                </a:cxn>
                <a:cxn ang="0">
                  <a:pos x="56" y="15"/>
                </a:cxn>
                <a:cxn ang="0">
                  <a:pos x="56" y="22"/>
                </a:cxn>
                <a:cxn ang="0">
                  <a:pos x="58" y="22"/>
                </a:cxn>
                <a:cxn ang="0">
                  <a:pos x="60" y="22"/>
                </a:cxn>
              </a:cxnLst>
              <a:rect l="0" t="0" r="r" b="b"/>
              <a:pathLst>
                <a:path w="60" h="65">
                  <a:moveTo>
                    <a:pt x="60" y="22"/>
                  </a:moveTo>
                  <a:lnTo>
                    <a:pt x="56" y="24"/>
                  </a:lnTo>
                  <a:lnTo>
                    <a:pt x="56" y="27"/>
                  </a:lnTo>
                  <a:lnTo>
                    <a:pt x="58" y="31"/>
                  </a:lnTo>
                  <a:lnTo>
                    <a:pt x="56" y="31"/>
                  </a:lnTo>
                  <a:lnTo>
                    <a:pt x="52" y="36"/>
                  </a:lnTo>
                  <a:lnTo>
                    <a:pt x="56" y="40"/>
                  </a:lnTo>
                  <a:lnTo>
                    <a:pt x="56" y="42"/>
                  </a:lnTo>
                  <a:lnTo>
                    <a:pt x="44" y="49"/>
                  </a:lnTo>
                  <a:lnTo>
                    <a:pt x="35" y="47"/>
                  </a:lnTo>
                  <a:lnTo>
                    <a:pt x="39" y="49"/>
                  </a:lnTo>
                  <a:lnTo>
                    <a:pt x="39" y="56"/>
                  </a:lnTo>
                  <a:lnTo>
                    <a:pt x="41" y="58"/>
                  </a:lnTo>
                  <a:lnTo>
                    <a:pt x="33" y="65"/>
                  </a:lnTo>
                  <a:lnTo>
                    <a:pt x="27" y="65"/>
                  </a:lnTo>
                  <a:lnTo>
                    <a:pt x="27" y="60"/>
                  </a:lnTo>
                  <a:lnTo>
                    <a:pt x="21" y="51"/>
                  </a:lnTo>
                  <a:lnTo>
                    <a:pt x="25" y="51"/>
                  </a:lnTo>
                  <a:lnTo>
                    <a:pt x="21" y="42"/>
                  </a:lnTo>
                  <a:lnTo>
                    <a:pt x="25" y="33"/>
                  </a:lnTo>
                  <a:lnTo>
                    <a:pt x="16" y="33"/>
                  </a:lnTo>
                  <a:lnTo>
                    <a:pt x="12" y="31"/>
                  </a:lnTo>
                  <a:lnTo>
                    <a:pt x="4" y="27"/>
                  </a:lnTo>
                  <a:lnTo>
                    <a:pt x="2" y="27"/>
                  </a:lnTo>
                  <a:lnTo>
                    <a:pt x="2" y="24"/>
                  </a:lnTo>
                  <a:lnTo>
                    <a:pt x="0" y="15"/>
                  </a:lnTo>
                  <a:lnTo>
                    <a:pt x="2" y="6"/>
                  </a:lnTo>
                  <a:lnTo>
                    <a:pt x="4" y="4"/>
                  </a:lnTo>
                  <a:lnTo>
                    <a:pt x="8" y="9"/>
                  </a:lnTo>
                  <a:lnTo>
                    <a:pt x="4" y="13"/>
                  </a:lnTo>
                  <a:lnTo>
                    <a:pt x="4" y="18"/>
                  </a:lnTo>
                  <a:lnTo>
                    <a:pt x="8" y="15"/>
                  </a:lnTo>
                  <a:lnTo>
                    <a:pt x="8" y="6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6" y="4"/>
                  </a:lnTo>
                  <a:lnTo>
                    <a:pt x="21" y="6"/>
                  </a:lnTo>
                  <a:lnTo>
                    <a:pt x="21" y="9"/>
                  </a:lnTo>
                  <a:lnTo>
                    <a:pt x="31" y="9"/>
                  </a:lnTo>
                  <a:lnTo>
                    <a:pt x="35" y="13"/>
                  </a:lnTo>
                  <a:lnTo>
                    <a:pt x="41" y="9"/>
                  </a:lnTo>
                  <a:lnTo>
                    <a:pt x="50" y="9"/>
                  </a:lnTo>
                  <a:lnTo>
                    <a:pt x="48" y="9"/>
                  </a:lnTo>
                  <a:lnTo>
                    <a:pt x="50" y="13"/>
                  </a:lnTo>
                  <a:lnTo>
                    <a:pt x="56" y="15"/>
                  </a:lnTo>
                  <a:lnTo>
                    <a:pt x="56" y="22"/>
                  </a:lnTo>
                  <a:lnTo>
                    <a:pt x="58" y="22"/>
                  </a:lnTo>
                  <a:lnTo>
                    <a:pt x="60" y="22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8" name="Freeform 1294"/>
            <p:cNvSpPr>
              <a:spLocks/>
            </p:cNvSpPr>
            <p:nvPr/>
          </p:nvSpPr>
          <p:spPr bwMode="auto">
            <a:xfrm>
              <a:off x="2786061" y="4327433"/>
              <a:ext cx="57120" cy="116747"/>
            </a:xfrm>
            <a:custGeom>
              <a:avLst/>
              <a:gdLst/>
              <a:ahLst/>
              <a:cxnLst>
                <a:cxn ang="0">
                  <a:pos x="11" y="11"/>
                </a:cxn>
                <a:cxn ang="0">
                  <a:pos x="5" y="22"/>
                </a:cxn>
                <a:cxn ang="0">
                  <a:pos x="0" y="22"/>
                </a:cxn>
                <a:cxn ang="0">
                  <a:pos x="0" y="13"/>
                </a:cxn>
                <a:cxn ang="0">
                  <a:pos x="0" y="6"/>
                </a:cxn>
                <a:cxn ang="0">
                  <a:pos x="0" y="0"/>
                </a:cxn>
                <a:cxn ang="0">
                  <a:pos x="5" y="6"/>
                </a:cxn>
                <a:cxn ang="0">
                  <a:pos x="11" y="11"/>
                </a:cxn>
              </a:cxnLst>
              <a:rect l="0" t="0" r="r" b="b"/>
              <a:pathLst>
                <a:path w="11" h="22">
                  <a:moveTo>
                    <a:pt x="11" y="11"/>
                  </a:moveTo>
                  <a:lnTo>
                    <a:pt x="5" y="22"/>
                  </a:lnTo>
                  <a:lnTo>
                    <a:pt x="0" y="22"/>
                  </a:lnTo>
                  <a:lnTo>
                    <a:pt x="0" y="13"/>
                  </a:lnTo>
                  <a:lnTo>
                    <a:pt x="0" y="6"/>
                  </a:lnTo>
                  <a:lnTo>
                    <a:pt x="0" y="0"/>
                  </a:lnTo>
                  <a:lnTo>
                    <a:pt x="5" y="6"/>
                  </a:lnTo>
                  <a:lnTo>
                    <a:pt x="11" y="11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9" name="Freeform 1295"/>
            <p:cNvSpPr>
              <a:spLocks/>
            </p:cNvSpPr>
            <p:nvPr/>
          </p:nvSpPr>
          <p:spPr bwMode="auto">
            <a:xfrm>
              <a:off x="2702979" y="4327433"/>
              <a:ext cx="83083" cy="116747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12" y="0"/>
                </a:cxn>
                <a:cxn ang="0">
                  <a:pos x="2" y="0"/>
                </a:cxn>
                <a:cxn ang="0">
                  <a:pos x="0" y="11"/>
                </a:cxn>
                <a:cxn ang="0">
                  <a:pos x="4" y="22"/>
                </a:cxn>
                <a:cxn ang="0">
                  <a:pos x="8" y="22"/>
                </a:cxn>
                <a:cxn ang="0">
                  <a:pos x="8" y="20"/>
                </a:cxn>
                <a:cxn ang="0">
                  <a:pos x="16" y="22"/>
                </a:cxn>
                <a:cxn ang="0">
                  <a:pos x="16" y="13"/>
                </a:cxn>
                <a:cxn ang="0">
                  <a:pos x="16" y="6"/>
                </a:cxn>
                <a:cxn ang="0">
                  <a:pos x="16" y="4"/>
                </a:cxn>
                <a:cxn ang="0">
                  <a:pos x="16" y="0"/>
                </a:cxn>
              </a:cxnLst>
              <a:rect l="0" t="0" r="r" b="b"/>
              <a:pathLst>
                <a:path w="16" h="22">
                  <a:moveTo>
                    <a:pt x="16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0" y="11"/>
                  </a:lnTo>
                  <a:lnTo>
                    <a:pt x="4" y="22"/>
                  </a:lnTo>
                  <a:lnTo>
                    <a:pt x="8" y="22"/>
                  </a:lnTo>
                  <a:lnTo>
                    <a:pt x="8" y="20"/>
                  </a:lnTo>
                  <a:lnTo>
                    <a:pt x="16" y="22"/>
                  </a:lnTo>
                  <a:lnTo>
                    <a:pt x="16" y="13"/>
                  </a:lnTo>
                  <a:lnTo>
                    <a:pt x="16" y="6"/>
                  </a:lnTo>
                  <a:lnTo>
                    <a:pt x="16" y="4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0" name="Freeform 1296"/>
            <p:cNvSpPr>
              <a:spLocks/>
            </p:cNvSpPr>
            <p:nvPr/>
          </p:nvSpPr>
          <p:spPr bwMode="auto">
            <a:xfrm>
              <a:off x="2396611" y="5043834"/>
              <a:ext cx="306369" cy="1098482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13" y="16"/>
                </a:cxn>
                <a:cxn ang="0">
                  <a:pos x="21" y="31"/>
                </a:cxn>
                <a:cxn ang="0">
                  <a:pos x="15" y="40"/>
                </a:cxn>
                <a:cxn ang="0">
                  <a:pos x="15" y="61"/>
                </a:cxn>
                <a:cxn ang="0">
                  <a:pos x="21" y="94"/>
                </a:cxn>
                <a:cxn ang="0">
                  <a:pos x="21" y="108"/>
                </a:cxn>
                <a:cxn ang="0">
                  <a:pos x="23" y="121"/>
                </a:cxn>
                <a:cxn ang="0">
                  <a:pos x="27" y="142"/>
                </a:cxn>
                <a:cxn ang="0">
                  <a:pos x="29" y="155"/>
                </a:cxn>
                <a:cxn ang="0">
                  <a:pos x="32" y="155"/>
                </a:cxn>
                <a:cxn ang="0">
                  <a:pos x="36" y="187"/>
                </a:cxn>
                <a:cxn ang="0">
                  <a:pos x="40" y="189"/>
                </a:cxn>
                <a:cxn ang="0">
                  <a:pos x="59" y="198"/>
                </a:cxn>
                <a:cxn ang="0">
                  <a:pos x="54" y="202"/>
                </a:cxn>
                <a:cxn ang="0">
                  <a:pos x="38" y="198"/>
                </a:cxn>
                <a:cxn ang="0">
                  <a:pos x="36" y="198"/>
                </a:cxn>
                <a:cxn ang="0">
                  <a:pos x="38" y="196"/>
                </a:cxn>
                <a:cxn ang="0">
                  <a:pos x="36" y="196"/>
                </a:cxn>
                <a:cxn ang="0">
                  <a:pos x="32" y="189"/>
                </a:cxn>
                <a:cxn ang="0">
                  <a:pos x="29" y="189"/>
                </a:cxn>
                <a:cxn ang="0">
                  <a:pos x="27" y="187"/>
                </a:cxn>
                <a:cxn ang="0">
                  <a:pos x="23" y="173"/>
                </a:cxn>
                <a:cxn ang="0">
                  <a:pos x="27" y="169"/>
                </a:cxn>
                <a:cxn ang="0">
                  <a:pos x="21" y="164"/>
                </a:cxn>
                <a:cxn ang="0">
                  <a:pos x="19" y="153"/>
                </a:cxn>
                <a:cxn ang="0">
                  <a:pos x="21" y="142"/>
                </a:cxn>
                <a:cxn ang="0">
                  <a:pos x="19" y="142"/>
                </a:cxn>
                <a:cxn ang="0">
                  <a:pos x="15" y="128"/>
                </a:cxn>
                <a:cxn ang="0">
                  <a:pos x="9" y="112"/>
                </a:cxn>
                <a:cxn ang="0">
                  <a:pos x="13" y="94"/>
                </a:cxn>
                <a:cxn ang="0">
                  <a:pos x="6" y="76"/>
                </a:cxn>
                <a:cxn ang="0">
                  <a:pos x="6" y="67"/>
                </a:cxn>
                <a:cxn ang="0">
                  <a:pos x="6" y="31"/>
                </a:cxn>
                <a:cxn ang="0">
                  <a:pos x="2" y="16"/>
                </a:cxn>
              </a:cxnLst>
              <a:rect l="0" t="0" r="r" b="b"/>
              <a:pathLst>
                <a:path w="59" h="207">
                  <a:moveTo>
                    <a:pt x="0" y="4"/>
                  </a:moveTo>
                  <a:lnTo>
                    <a:pt x="6" y="0"/>
                  </a:lnTo>
                  <a:lnTo>
                    <a:pt x="13" y="9"/>
                  </a:lnTo>
                  <a:lnTo>
                    <a:pt x="13" y="16"/>
                  </a:lnTo>
                  <a:lnTo>
                    <a:pt x="19" y="31"/>
                  </a:lnTo>
                  <a:lnTo>
                    <a:pt x="21" y="31"/>
                  </a:lnTo>
                  <a:lnTo>
                    <a:pt x="21" y="36"/>
                  </a:lnTo>
                  <a:lnTo>
                    <a:pt x="15" y="40"/>
                  </a:lnTo>
                  <a:lnTo>
                    <a:pt x="19" y="52"/>
                  </a:lnTo>
                  <a:lnTo>
                    <a:pt x="15" y="61"/>
                  </a:lnTo>
                  <a:lnTo>
                    <a:pt x="15" y="79"/>
                  </a:lnTo>
                  <a:lnTo>
                    <a:pt x="21" y="94"/>
                  </a:lnTo>
                  <a:lnTo>
                    <a:pt x="19" y="103"/>
                  </a:lnTo>
                  <a:lnTo>
                    <a:pt x="21" y="108"/>
                  </a:lnTo>
                  <a:lnTo>
                    <a:pt x="19" y="112"/>
                  </a:lnTo>
                  <a:lnTo>
                    <a:pt x="23" y="121"/>
                  </a:lnTo>
                  <a:lnTo>
                    <a:pt x="23" y="137"/>
                  </a:lnTo>
                  <a:lnTo>
                    <a:pt x="27" y="142"/>
                  </a:lnTo>
                  <a:lnTo>
                    <a:pt x="27" y="146"/>
                  </a:lnTo>
                  <a:lnTo>
                    <a:pt x="29" y="155"/>
                  </a:lnTo>
                  <a:lnTo>
                    <a:pt x="32" y="160"/>
                  </a:lnTo>
                  <a:lnTo>
                    <a:pt x="32" y="155"/>
                  </a:lnTo>
                  <a:lnTo>
                    <a:pt x="36" y="169"/>
                  </a:lnTo>
                  <a:lnTo>
                    <a:pt x="36" y="187"/>
                  </a:lnTo>
                  <a:lnTo>
                    <a:pt x="38" y="189"/>
                  </a:lnTo>
                  <a:lnTo>
                    <a:pt x="40" y="189"/>
                  </a:lnTo>
                  <a:lnTo>
                    <a:pt x="46" y="198"/>
                  </a:lnTo>
                  <a:lnTo>
                    <a:pt x="59" y="198"/>
                  </a:lnTo>
                  <a:lnTo>
                    <a:pt x="59" y="202"/>
                  </a:lnTo>
                  <a:lnTo>
                    <a:pt x="54" y="202"/>
                  </a:lnTo>
                  <a:lnTo>
                    <a:pt x="54" y="207"/>
                  </a:lnTo>
                  <a:lnTo>
                    <a:pt x="38" y="198"/>
                  </a:lnTo>
                  <a:lnTo>
                    <a:pt x="38" y="202"/>
                  </a:lnTo>
                  <a:lnTo>
                    <a:pt x="36" y="198"/>
                  </a:lnTo>
                  <a:lnTo>
                    <a:pt x="36" y="196"/>
                  </a:lnTo>
                  <a:lnTo>
                    <a:pt x="38" y="196"/>
                  </a:lnTo>
                  <a:lnTo>
                    <a:pt x="36" y="193"/>
                  </a:lnTo>
                  <a:lnTo>
                    <a:pt x="36" y="196"/>
                  </a:lnTo>
                  <a:lnTo>
                    <a:pt x="32" y="196"/>
                  </a:lnTo>
                  <a:lnTo>
                    <a:pt x="32" y="189"/>
                  </a:lnTo>
                  <a:lnTo>
                    <a:pt x="32" y="187"/>
                  </a:lnTo>
                  <a:lnTo>
                    <a:pt x="29" y="189"/>
                  </a:lnTo>
                  <a:lnTo>
                    <a:pt x="29" y="187"/>
                  </a:lnTo>
                  <a:lnTo>
                    <a:pt x="27" y="187"/>
                  </a:lnTo>
                  <a:lnTo>
                    <a:pt x="23" y="178"/>
                  </a:lnTo>
                  <a:lnTo>
                    <a:pt x="23" y="173"/>
                  </a:lnTo>
                  <a:lnTo>
                    <a:pt x="27" y="178"/>
                  </a:lnTo>
                  <a:lnTo>
                    <a:pt x="27" y="169"/>
                  </a:lnTo>
                  <a:lnTo>
                    <a:pt x="19" y="169"/>
                  </a:lnTo>
                  <a:lnTo>
                    <a:pt x="21" y="164"/>
                  </a:lnTo>
                  <a:lnTo>
                    <a:pt x="21" y="162"/>
                  </a:lnTo>
                  <a:lnTo>
                    <a:pt x="19" y="153"/>
                  </a:lnTo>
                  <a:lnTo>
                    <a:pt x="23" y="153"/>
                  </a:lnTo>
                  <a:lnTo>
                    <a:pt x="21" y="142"/>
                  </a:lnTo>
                  <a:lnTo>
                    <a:pt x="19" y="137"/>
                  </a:lnTo>
                  <a:lnTo>
                    <a:pt x="19" y="142"/>
                  </a:lnTo>
                  <a:lnTo>
                    <a:pt x="15" y="135"/>
                  </a:lnTo>
                  <a:lnTo>
                    <a:pt x="15" y="128"/>
                  </a:lnTo>
                  <a:lnTo>
                    <a:pt x="9" y="117"/>
                  </a:lnTo>
                  <a:lnTo>
                    <a:pt x="9" y="112"/>
                  </a:lnTo>
                  <a:lnTo>
                    <a:pt x="13" y="112"/>
                  </a:lnTo>
                  <a:lnTo>
                    <a:pt x="13" y="94"/>
                  </a:lnTo>
                  <a:lnTo>
                    <a:pt x="13" y="85"/>
                  </a:lnTo>
                  <a:lnTo>
                    <a:pt x="6" y="76"/>
                  </a:lnTo>
                  <a:lnTo>
                    <a:pt x="9" y="74"/>
                  </a:lnTo>
                  <a:lnTo>
                    <a:pt x="6" y="67"/>
                  </a:lnTo>
                  <a:lnTo>
                    <a:pt x="9" y="52"/>
                  </a:lnTo>
                  <a:lnTo>
                    <a:pt x="6" y="31"/>
                  </a:lnTo>
                  <a:lnTo>
                    <a:pt x="6" y="25"/>
                  </a:lnTo>
                  <a:lnTo>
                    <a:pt x="2" y="16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1" name="Freeform 1297"/>
            <p:cNvSpPr>
              <a:spLocks/>
            </p:cNvSpPr>
            <p:nvPr/>
          </p:nvSpPr>
          <p:spPr bwMode="auto">
            <a:xfrm>
              <a:off x="4359446" y="3059138"/>
              <a:ext cx="5193" cy="2122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h="4">
                  <a:moveTo>
                    <a:pt x="0" y="0"/>
                  </a:move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2" name="Freeform 1298"/>
            <p:cNvSpPr>
              <a:spLocks/>
            </p:cNvSpPr>
            <p:nvPr/>
          </p:nvSpPr>
          <p:spPr bwMode="auto">
            <a:xfrm>
              <a:off x="4359446" y="3048525"/>
              <a:ext cx="5193" cy="2122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h="4">
                  <a:moveTo>
                    <a:pt x="0" y="0"/>
                  </a:move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3" name="Freeform 1299"/>
            <p:cNvSpPr>
              <a:spLocks/>
            </p:cNvSpPr>
            <p:nvPr/>
          </p:nvSpPr>
          <p:spPr bwMode="auto">
            <a:xfrm>
              <a:off x="2417381" y="4805034"/>
              <a:ext cx="306369" cy="403307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5" y="9"/>
                </a:cxn>
                <a:cxn ang="0">
                  <a:pos x="11" y="0"/>
                </a:cxn>
                <a:cxn ang="0">
                  <a:pos x="19" y="0"/>
                </a:cxn>
                <a:cxn ang="0">
                  <a:pos x="19" y="9"/>
                </a:cxn>
                <a:cxn ang="0">
                  <a:pos x="23" y="15"/>
                </a:cxn>
                <a:cxn ang="0">
                  <a:pos x="42" y="24"/>
                </a:cxn>
                <a:cxn ang="0">
                  <a:pos x="44" y="29"/>
                </a:cxn>
                <a:cxn ang="0">
                  <a:pos x="44" y="33"/>
                </a:cxn>
                <a:cxn ang="0">
                  <a:pos x="44" y="36"/>
                </a:cxn>
                <a:cxn ang="0">
                  <a:pos x="55" y="38"/>
                </a:cxn>
                <a:cxn ang="0">
                  <a:pos x="55" y="43"/>
                </a:cxn>
                <a:cxn ang="0">
                  <a:pos x="59" y="49"/>
                </a:cxn>
                <a:cxn ang="0">
                  <a:pos x="57" y="61"/>
                </a:cxn>
                <a:cxn ang="0">
                  <a:pos x="55" y="54"/>
                </a:cxn>
                <a:cxn ang="0">
                  <a:pos x="40" y="58"/>
                </a:cxn>
                <a:cxn ang="0">
                  <a:pos x="36" y="72"/>
                </a:cxn>
                <a:cxn ang="0">
                  <a:pos x="32" y="72"/>
                </a:cxn>
                <a:cxn ang="0">
                  <a:pos x="23" y="70"/>
                </a:cxn>
                <a:cxn ang="0">
                  <a:pos x="17" y="76"/>
                </a:cxn>
                <a:cxn ang="0">
                  <a:pos x="15" y="76"/>
                </a:cxn>
                <a:cxn ang="0">
                  <a:pos x="9" y="61"/>
                </a:cxn>
                <a:cxn ang="0">
                  <a:pos x="9" y="54"/>
                </a:cxn>
                <a:cxn ang="0">
                  <a:pos x="2" y="45"/>
                </a:cxn>
                <a:cxn ang="0">
                  <a:pos x="5" y="38"/>
                </a:cxn>
                <a:cxn ang="0">
                  <a:pos x="2" y="36"/>
                </a:cxn>
                <a:cxn ang="0">
                  <a:pos x="2" y="15"/>
                </a:cxn>
                <a:cxn ang="0">
                  <a:pos x="0" y="11"/>
                </a:cxn>
                <a:cxn ang="0">
                  <a:pos x="0" y="6"/>
                </a:cxn>
              </a:cxnLst>
              <a:rect l="0" t="0" r="r" b="b"/>
              <a:pathLst>
                <a:path w="59" h="76">
                  <a:moveTo>
                    <a:pt x="0" y="6"/>
                  </a:moveTo>
                  <a:lnTo>
                    <a:pt x="5" y="9"/>
                  </a:lnTo>
                  <a:lnTo>
                    <a:pt x="11" y="0"/>
                  </a:lnTo>
                  <a:lnTo>
                    <a:pt x="19" y="0"/>
                  </a:lnTo>
                  <a:lnTo>
                    <a:pt x="19" y="9"/>
                  </a:lnTo>
                  <a:lnTo>
                    <a:pt x="23" y="15"/>
                  </a:lnTo>
                  <a:lnTo>
                    <a:pt x="42" y="24"/>
                  </a:lnTo>
                  <a:lnTo>
                    <a:pt x="44" y="29"/>
                  </a:lnTo>
                  <a:lnTo>
                    <a:pt x="44" y="33"/>
                  </a:lnTo>
                  <a:lnTo>
                    <a:pt x="44" y="36"/>
                  </a:lnTo>
                  <a:lnTo>
                    <a:pt x="55" y="38"/>
                  </a:lnTo>
                  <a:lnTo>
                    <a:pt x="55" y="43"/>
                  </a:lnTo>
                  <a:lnTo>
                    <a:pt x="59" y="49"/>
                  </a:lnTo>
                  <a:lnTo>
                    <a:pt x="57" y="61"/>
                  </a:lnTo>
                  <a:lnTo>
                    <a:pt x="55" y="54"/>
                  </a:lnTo>
                  <a:lnTo>
                    <a:pt x="40" y="58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23" y="70"/>
                  </a:lnTo>
                  <a:lnTo>
                    <a:pt x="17" y="76"/>
                  </a:lnTo>
                  <a:lnTo>
                    <a:pt x="15" y="76"/>
                  </a:lnTo>
                  <a:lnTo>
                    <a:pt x="9" y="61"/>
                  </a:lnTo>
                  <a:lnTo>
                    <a:pt x="9" y="54"/>
                  </a:lnTo>
                  <a:lnTo>
                    <a:pt x="2" y="45"/>
                  </a:lnTo>
                  <a:lnTo>
                    <a:pt x="5" y="38"/>
                  </a:lnTo>
                  <a:lnTo>
                    <a:pt x="2" y="36"/>
                  </a:lnTo>
                  <a:lnTo>
                    <a:pt x="2" y="15"/>
                  </a:lnTo>
                  <a:lnTo>
                    <a:pt x="0" y="11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4" name="Freeform 1300"/>
            <p:cNvSpPr>
              <a:spLocks/>
            </p:cNvSpPr>
            <p:nvPr/>
          </p:nvSpPr>
          <p:spPr bwMode="auto">
            <a:xfrm>
              <a:off x="2604318" y="5091594"/>
              <a:ext cx="207708" cy="260027"/>
            </a:xfrm>
            <a:custGeom>
              <a:avLst/>
              <a:gdLst/>
              <a:ahLst/>
              <a:cxnLst>
                <a:cxn ang="0">
                  <a:pos x="40" y="38"/>
                </a:cxn>
                <a:cxn ang="0">
                  <a:pos x="40" y="27"/>
                </a:cxn>
                <a:cxn ang="0">
                  <a:pos x="35" y="27"/>
                </a:cxn>
                <a:cxn ang="0">
                  <a:pos x="35" y="18"/>
                </a:cxn>
                <a:cxn ang="0">
                  <a:pos x="31" y="18"/>
                </a:cxn>
                <a:cxn ang="0">
                  <a:pos x="23" y="16"/>
                </a:cxn>
                <a:cxn ang="0">
                  <a:pos x="21" y="7"/>
                </a:cxn>
                <a:cxn ang="0">
                  <a:pos x="19" y="0"/>
                </a:cxn>
                <a:cxn ang="0">
                  <a:pos x="4" y="4"/>
                </a:cxn>
                <a:cxn ang="0">
                  <a:pos x="0" y="18"/>
                </a:cxn>
                <a:cxn ang="0">
                  <a:pos x="12" y="27"/>
                </a:cxn>
                <a:cxn ang="0">
                  <a:pos x="19" y="31"/>
                </a:cxn>
                <a:cxn ang="0">
                  <a:pos x="27" y="34"/>
                </a:cxn>
                <a:cxn ang="0">
                  <a:pos x="27" y="40"/>
                </a:cxn>
                <a:cxn ang="0">
                  <a:pos x="23" y="47"/>
                </a:cxn>
                <a:cxn ang="0">
                  <a:pos x="35" y="49"/>
                </a:cxn>
                <a:cxn ang="0">
                  <a:pos x="37" y="49"/>
                </a:cxn>
                <a:cxn ang="0">
                  <a:pos x="40" y="43"/>
                </a:cxn>
                <a:cxn ang="0">
                  <a:pos x="40" y="40"/>
                </a:cxn>
                <a:cxn ang="0">
                  <a:pos x="40" y="38"/>
                </a:cxn>
              </a:cxnLst>
              <a:rect l="0" t="0" r="r" b="b"/>
              <a:pathLst>
                <a:path w="40" h="49">
                  <a:moveTo>
                    <a:pt x="40" y="38"/>
                  </a:moveTo>
                  <a:lnTo>
                    <a:pt x="40" y="27"/>
                  </a:lnTo>
                  <a:lnTo>
                    <a:pt x="35" y="27"/>
                  </a:lnTo>
                  <a:lnTo>
                    <a:pt x="35" y="18"/>
                  </a:lnTo>
                  <a:lnTo>
                    <a:pt x="31" y="18"/>
                  </a:lnTo>
                  <a:lnTo>
                    <a:pt x="23" y="16"/>
                  </a:lnTo>
                  <a:lnTo>
                    <a:pt x="21" y="7"/>
                  </a:lnTo>
                  <a:lnTo>
                    <a:pt x="19" y="0"/>
                  </a:lnTo>
                  <a:lnTo>
                    <a:pt x="4" y="4"/>
                  </a:lnTo>
                  <a:lnTo>
                    <a:pt x="0" y="18"/>
                  </a:lnTo>
                  <a:lnTo>
                    <a:pt x="12" y="27"/>
                  </a:lnTo>
                  <a:lnTo>
                    <a:pt x="19" y="31"/>
                  </a:lnTo>
                  <a:lnTo>
                    <a:pt x="27" y="34"/>
                  </a:lnTo>
                  <a:lnTo>
                    <a:pt x="27" y="40"/>
                  </a:lnTo>
                  <a:lnTo>
                    <a:pt x="23" y="47"/>
                  </a:lnTo>
                  <a:lnTo>
                    <a:pt x="35" y="49"/>
                  </a:lnTo>
                  <a:lnTo>
                    <a:pt x="37" y="49"/>
                  </a:lnTo>
                  <a:lnTo>
                    <a:pt x="40" y="43"/>
                  </a:lnTo>
                  <a:lnTo>
                    <a:pt x="40" y="40"/>
                  </a:lnTo>
                  <a:lnTo>
                    <a:pt x="40" y="38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5" name="Freeform 1301"/>
            <p:cNvSpPr>
              <a:spLocks/>
            </p:cNvSpPr>
            <p:nvPr/>
          </p:nvSpPr>
          <p:spPr bwMode="auto">
            <a:xfrm>
              <a:off x="2474501" y="5176501"/>
              <a:ext cx="368680" cy="918055"/>
            </a:xfrm>
            <a:custGeom>
              <a:avLst/>
              <a:gdLst/>
              <a:ahLst/>
              <a:cxnLst>
                <a:cxn ang="0">
                  <a:pos x="56" y="69"/>
                </a:cxn>
                <a:cxn ang="0">
                  <a:pos x="65" y="78"/>
                </a:cxn>
                <a:cxn ang="0">
                  <a:pos x="69" y="85"/>
                </a:cxn>
                <a:cxn ang="0">
                  <a:pos x="65" y="94"/>
                </a:cxn>
                <a:cxn ang="0">
                  <a:pos x="48" y="101"/>
                </a:cxn>
                <a:cxn ang="0">
                  <a:pos x="44" y="112"/>
                </a:cxn>
                <a:cxn ang="0">
                  <a:pos x="39" y="117"/>
                </a:cxn>
                <a:cxn ang="0">
                  <a:pos x="46" y="117"/>
                </a:cxn>
                <a:cxn ang="0">
                  <a:pos x="48" y="121"/>
                </a:cxn>
                <a:cxn ang="0">
                  <a:pos x="44" y="119"/>
                </a:cxn>
                <a:cxn ang="0">
                  <a:pos x="46" y="121"/>
                </a:cxn>
                <a:cxn ang="0">
                  <a:pos x="44" y="130"/>
                </a:cxn>
                <a:cxn ang="0">
                  <a:pos x="37" y="135"/>
                </a:cxn>
                <a:cxn ang="0">
                  <a:pos x="37" y="144"/>
                </a:cxn>
                <a:cxn ang="0">
                  <a:pos x="46" y="146"/>
                </a:cxn>
                <a:cxn ang="0">
                  <a:pos x="44" y="155"/>
                </a:cxn>
                <a:cxn ang="0">
                  <a:pos x="39" y="164"/>
                </a:cxn>
                <a:cxn ang="0">
                  <a:pos x="48" y="173"/>
                </a:cxn>
                <a:cxn ang="0">
                  <a:pos x="31" y="173"/>
                </a:cxn>
                <a:cxn ang="0">
                  <a:pos x="23" y="164"/>
                </a:cxn>
                <a:cxn ang="0">
                  <a:pos x="21" y="144"/>
                </a:cxn>
                <a:cxn ang="0">
                  <a:pos x="17" y="135"/>
                </a:cxn>
                <a:cxn ang="0">
                  <a:pos x="12" y="121"/>
                </a:cxn>
                <a:cxn ang="0">
                  <a:pos x="8" y="112"/>
                </a:cxn>
                <a:cxn ang="0">
                  <a:pos x="4" y="87"/>
                </a:cxn>
                <a:cxn ang="0">
                  <a:pos x="4" y="78"/>
                </a:cxn>
                <a:cxn ang="0">
                  <a:pos x="0" y="54"/>
                </a:cxn>
                <a:cxn ang="0">
                  <a:pos x="4" y="27"/>
                </a:cxn>
                <a:cxn ang="0">
                  <a:pos x="6" y="11"/>
                </a:cxn>
                <a:cxn ang="0">
                  <a:pos x="12" y="0"/>
                </a:cxn>
                <a:cxn ang="0">
                  <a:pos x="25" y="2"/>
                </a:cxn>
                <a:cxn ang="0">
                  <a:pos x="44" y="15"/>
                </a:cxn>
                <a:cxn ang="0">
                  <a:pos x="52" y="24"/>
                </a:cxn>
                <a:cxn ang="0">
                  <a:pos x="60" y="33"/>
                </a:cxn>
                <a:cxn ang="0">
                  <a:pos x="65" y="27"/>
                </a:cxn>
                <a:cxn ang="0">
                  <a:pos x="69" y="22"/>
                </a:cxn>
                <a:cxn ang="0">
                  <a:pos x="69" y="33"/>
                </a:cxn>
                <a:cxn ang="0">
                  <a:pos x="56" y="49"/>
                </a:cxn>
              </a:cxnLst>
              <a:rect l="0" t="0" r="r" b="b"/>
              <a:pathLst>
                <a:path w="71" h="173">
                  <a:moveTo>
                    <a:pt x="56" y="49"/>
                  </a:moveTo>
                  <a:lnTo>
                    <a:pt x="56" y="69"/>
                  </a:lnTo>
                  <a:lnTo>
                    <a:pt x="56" y="74"/>
                  </a:lnTo>
                  <a:lnTo>
                    <a:pt x="65" y="78"/>
                  </a:lnTo>
                  <a:lnTo>
                    <a:pt x="62" y="83"/>
                  </a:lnTo>
                  <a:lnTo>
                    <a:pt x="69" y="85"/>
                  </a:lnTo>
                  <a:lnTo>
                    <a:pt x="69" y="87"/>
                  </a:lnTo>
                  <a:lnTo>
                    <a:pt x="65" y="94"/>
                  </a:lnTo>
                  <a:lnTo>
                    <a:pt x="54" y="96"/>
                  </a:lnTo>
                  <a:lnTo>
                    <a:pt x="48" y="101"/>
                  </a:lnTo>
                  <a:lnTo>
                    <a:pt x="48" y="110"/>
                  </a:lnTo>
                  <a:lnTo>
                    <a:pt x="44" y="112"/>
                  </a:lnTo>
                  <a:lnTo>
                    <a:pt x="37" y="110"/>
                  </a:lnTo>
                  <a:lnTo>
                    <a:pt x="39" y="117"/>
                  </a:lnTo>
                  <a:lnTo>
                    <a:pt x="44" y="119"/>
                  </a:lnTo>
                  <a:lnTo>
                    <a:pt x="46" y="117"/>
                  </a:lnTo>
                  <a:lnTo>
                    <a:pt x="48" y="119"/>
                  </a:lnTo>
                  <a:lnTo>
                    <a:pt x="48" y="121"/>
                  </a:lnTo>
                  <a:lnTo>
                    <a:pt x="46" y="121"/>
                  </a:lnTo>
                  <a:lnTo>
                    <a:pt x="44" y="119"/>
                  </a:lnTo>
                  <a:lnTo>
                    <a:pt x="44" y="121"/>
                  </a:lnTo>
                  <a:lnTo>
                    <a:pt x="46" y="121"/>
                  </a:lnTo>
                  <a:lnTo>
                    <a:pt x="44" y="126"/>
                  </a:lnTo>
                  <a:lnTo>
                    <a:pt x="44" y="130"/>
                  </a:lnTo>
                  <a:lnTo>
                    <a:pt x="44" y="135"/>
                  </a:lnTo>
                  <a:lnTo>
                    <a:pt x="37" y="135"/>
                  </a:lnTo>
                  <a:lnTo>
                    <a:pt x="37" y="139"/>
                  </a:lnTo>
                  <a:lnTo>
                    <a:pt x="37" y="144"/>
                  </a:lnTo>
                  <a:lnTo>
                    <a:pt x="44" y="146"/>
                  </a:lnTo>
                  <a:lnTo>
                    <a:pt x="46" y="146"/>
                  </a:lnTo>
                  <a:lnTo>
                    <a:pt x="48" y="148"/>
                  </a:lnTo>
                  <a:lnTo>
                    <a:pt x="44" y="155"/>
                  </a:lnTo>
                  <a:lnTo>
                    <a:pt x="44" y="162"/>
                  </a:lnTo>
                  <a:lnTo>
                    <a:pt x="39" y="164"/>
                  </a:lnTo>
                  <a:lnTo>
                    <a:pt x="39" y="168"/>
                  </a:lnTo>
                  <a:lnTo>
                    <a:pt x="48" y="173"/>
                  </a:lnTo>
                  <a:lnTo>
                    <a:pt x="44" y="173"/>
                  </a:lnTo>
                  <a:lnTo>
                    <a:pt x="31" y="173"/>
                  </a:lnTo>
                  <a:lnTo>
                    <a:pt x="25" y="164"/>
                  </a:lnTo>
                  <a:lnTo>
                    <a:pt x="23" y="164"/>
                  </a:lnTo>
                  <a:lnTo>
                    <a:pt x="21" y="162"/>
                  </a:lnTo>
                  <a:lnTo>
                    <a:pt x="21" y="144"/>
                  </a:lnTo>
                  <a:lnTo>
                    <a:pt x="17" y="130"/>
                  </a:lnTo>
                  <a:lnTo>
                    <a:pt x="17" y="135"/>
                  </a:lnTo>
                  <a:lnTo>
                    <a:pt x="14" y="130"/>
                  </a:lnTo>
                  <a:lnTo>
                    <a:pt x="12" y="121"/>
                  </a:lnTo>
                  <a:lnTo>
                    <a:pt x="12" y="117"/>
                  </a:lnTo>
                  <a:lnTo>
                    <a:pt x="8" y="112"/>
                  </a:lnTo>
                  <a:lnTo>
                    <a:pt x="8" y="96"/>
                  </a:lnTo>
                  <a:lnTo>
                    <a:pt x="4" y="87"/>
                  </a:lnTo>
                  <a:lnTo>
                    <a:pt x="6" y="83"/>
                  </a:lnTo>
                  <a:lnTo>
                    <a:pt x="4" y="78"/>
                  </a:lnTo>
                  <a:lnTo>
                    <a:pt x="6" y="69"/>
                  </a:lnTo>
                  <a:lnTo>
                    <a:pt x="0" y="54"/>
                  </a:lnTo>
                  <a:lnTo>
                    <a:pt x="0" y="36"/>
                  </a:lnTo>
                  <a:lnTo>
                    <a:pt x="4" y="27"/>
                  </a:lnTo>
                  <a:lnTo>
                    <a:pt x="0" y="15"/>
                  </a:lnTo>
                  <a:lnTo>
                    <a:pt x="6" y="11"/>
                  </a:lnTo>
                  <a:lnTo>
                    <a:pt x="6" y="6"/>
                  </a:lnTo>
                  <a:lnTo>
                    <a:pt x="12" y="0"/>
                  </a:lnTo>
                  <a:lnTo>
                    <a:pt x="21" y="2"/>
                  </a:lnTo>
                  <a:lnTo>
                    <a:pt x="25" y="2"/>
                  </a:lnTo>
                  <a:lnTo>
                    <a:pt x="37" y="11"/>
                  </a:lnTo>
                  <a:lnTo>
                    <a:pt x="44" y="15"/>
                  </a:lnTo>
                  <a:lnTo>
                    <a:pt x="52" y="18"/>
                  </a:lnTo>
                  <a:lnTo>
                    <a:pt x="52" y="24"/>
                  </a:lnTo>
                  <a:lnTo>
                    <a:pt x="48" y="31"/>
                  </a:lnTo>
                  <a:lnTo>
                    <a:pt x="60" y="33"/>
                  </a:lnTo>
                  <a:lnTo>
                    <a:pt x="62" y="33"/>
                  </a:lnTo>
                  <a:lnTo>
                    <a:pt x="65" y="27"/>
                  </a:lnTo>
                  <a:lnTo>
                    <a:pt x="65" y="22"/>
                  </a:lnTo>
                  <a:lnTo>
                    <a:pt x="69" y="22"/>
                  </a:lnTo>
                  <a:lnTo>
                    <a:pt x="71" y="31"/>
                  </a:lnTo>
                  <a:lnTo>
                    <a:pt x="69" y="33"/>
                  </a:lnTo>
                  <a:lnTo>
                    <a:pt x="62" y="42"/>
                  </a:lnTo>
                  <a:lnTo>
                    <a:pt x="56" y="49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6" name="Freeform 1302"/>
            <p:cNvSpPr>
              <a:spLocks/>
            </p:cNvSpPr>
            <p:nvPr/>
          </p:nvSpPr>
          <p:spPr bwMode="auto">
            <a:xfrm>
              <a:off x="2604318" y="4253140"/>
              <a:ext cx="119432" cy="201654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4" y="2"/>
                </a:cxn>
                <a:cxn ang="0">
                  <a:pos x="4" y="5"/>
                </a:cxn>
                <a:cxn ang="0">
                  <a:pos x="6" y="9"/>
                </a:cxn>
                <a:cxn ang="0">
                  <a:pos x="4" y="9"/>
                </a:cxn>
                <a:cxn ang="0">
                  <a:pos x="0" y="14"/>
                </a:cxn>
                <a:cxn ang="0">
                  <a:pos x="4" y="18"/>
                </a:cxn>
                <a:cxn ang="0">
                  <a:pos x="6" y="18"/>
                </a:cxn>
                <a:cxn ang="0">
                  <a:pos x="8" y="25"/>
                </a:cxn>
                <a:cxn ang="0">
                  <a:pos x="6" y="34"/>
                </a:cxn>
                <a:cxn ang="0">
                  <a:pos x="8" y="38"/>
                </a:cxn>
                <a:cxn ang="0">
                  <a:pos x="12" y="38"/>
                </a:cxn>
                <a:cxn ang="0">
                  <a:pos x="21" y="36"/>
                </a:cxn>
                <a:cxn ang="0">
                  <a:pos x="23" y="36"/>
                </a:cxn>
                <a:cxn ang="0">
                  <a:pos x="19" y="25"/>
                </a:cxn>
                <a:cxn ang="0">
                  <a:pos x="21" y="14"/>
                </a:cxn>
                <a:cxn ang="0">
                  <a:pos x="14" y="9"/>
                </a:cxn>
                <a:cxn ang="0">
                  <a:pos x="14" y="2"/>
                </a:cxn>
                <a:cxn ang="0">
                  <a:pos x="10" y="2"/>
                </a:cxn>
                <a:cxn ang="0">
                  <a:pos x="8" y="0"/>
                </a:cxn>
              </a:cxnLst>
              <a:rect l="0" t="0" r="r" b="b"/>
              <a:pathLst>
                <a:path w="23" h="38">
                  <a:moveTo>
                    <a:pt x="8" y="0"/>
                  </a:moveTo>
                  <a:lnTo>
                    <a:pt x="4" y="2"/>
                  </a:lnTo>
                  <a:lnTo>
                    <a:pt x="4" y="5"/>
                  </a:lnTo>
                  <a:lnTo>
                    <a:pt x="6" y="9"/>
                  </a:lnTo>
                  <a:lnTo>
                    <a:pt x="4" y="9"/>
                  </a:lnTo>
                  <a:lnTo>
                    <a:pt x="0" y="14"/>
                  </a:lnTo>
                  <a:lnTo>
                    <a:pt x="4" y="18"/>
                  </a:lnTo>
                  <a:lnTo>
                    <a:pt x="6" y="18"/>
                  </a:lnTo>
                  <a:lnTo>
                    <a:pt x="8" y="25"/>
                  </a:lnTo>
                  <a:lnTo>
                    <a:pt x="6" y="34"/>
                  </a:lnTo>
                  <a:lnTo>
                    <a:pt x="8" y="38"/>
                  </a:lnTo>
                  <a:lnTo>
                    <a:pt x="12" y="38"/>
                  </a:lnTo>
                  <a:lnTo>
                    <a:pt x="21" y="36"/>
                  </a:lnTo>
                  <a:lnTo>
                    <a:pt x="23" y="36"/>
                  </a:lnTo>
                  <a:lnTo>
                    <a:pt x="19" y="25"/>
                  </a:lnTo>
                  <a:lnTo>
                    <a:pt x="21" y="14"/>
                  </a:lnTo>
                  <a:lnTo>
                    <a:pt x="14" y="9"/>
                  </a:lnTo>
                  <a:lnTo>
                    <a:pt x="14" y="2"/>
                  </a:lnTo>
                  <a:lnTo>
                    <a:pt x="10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7" name="Freeform 1303"/>
            <p:cNvSpPr>
              <a:spLocks/>
            </p:cNvSpPr>
            <p:nvPr/>
          </p:nvSpPr>
          <p:spPr bwMode="auto">
            <a:xfrm>
              <a:off x="3990764" y="2820338"/>
              <a:ext cx="41542" cy="3714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4"/>
                </a:cxn>
                <a:cxn ang="0">
                  <a:pos x="2" y="7"/>
                </a:cxn>
                <a:cxn ang="0">
                  <a:pos x="8" y="7"/>
                </a:cxn>
                <a:cxn ang="0">
                  <a:pos x="8" y="0"/>
                </a:cxn>
                <a:cxn ang="0">
                  <a:pos x="4" y="0"/>
                </a:cxn>
                <a:cxn ang="0">
                  <a:pos x="2" y="0"/>
                </a:cxn>
              </a:cxnLst>
              <a:rect l="0" t="0" r="r" b="b"/>
              <a:pathLst>
                <a:path w="8" h="7">
                  <a:moveTo>
                    <a:pt x="2" y="0"/>
                  </a:moveTo>
                  <a:lnTo>
                    <a:pt x="0" y="4"/>
                  </a:lnTo>
                  <a:lnTo>
                    <a:pt x="2" y="7"/>
                  </a:lnTo>
                  <a:lnTo>
                    <a:pt x="8" y="7"/>
                  </a:lnTo>
                  <a:lnTo>
                    <a:pt x="8" y="0"/>
                  </a:lnTo>
                  <a:lnTo>
                    <a:pt x="4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8" name="Freeform 1304"/>
            <p:cNvSpPr>
              <a:spLocks/>
            </p:cNvSpPr>
            <p:nvPr/>
          </p:nvSpPr>
          <p:spPr bwMode="auto">
            <a:xfrm>
              <a:off x="4328290" y="2761964"/>
              <a:ext cx="62312" cy="79600"/>
            </a:xfrm>
            <a:custGeom>
              <a:avLst/>
              <a:gdLst/>
              <a:ahLst/>
              <a:cxnLst>
                <a:cxn ang="0">
                  <a:pos x="2" y="15"/>
                </a:cxn>
                <a:cxn ang="0">
                  <a:pos x="6" y="15"/>
                </a:cxn>
                <a:cxn ang="0">
                  <a:pos x="8" y="9"/>
                </a:cxn>
                <a:cxn ang="0">
                  <a:pos x="12" y="6"/>
                </a:cxn>
                <a:cxn ang="0">
                  <a:pos x="8" y="6"/>
                </a:cxn>
                <a:cxn ang="0">
                  <a:pos x="8" y="0"/>
                </a:cxn>
                <a:cxn ang="0">
                  <a:pos x="2" y="2"/>
                </a:cxn>
                <a:cxn ang="0">
                  <a:pos x="0" y="6"/>
                </a:cxn>
                <a:cxn ang="0">
                  <a:pos x="0" y="9"/>
                </a:cxn>
                <a:cxn ang="0">
                  <a:pos x="2" y="11"/>
                </a:cxn>
                <a:cxn ang="0">
                  <a:pos x="2" y="13"/>
                </a:cxn>
                <a:cxn ang="0">
                  <a:pos x="2" y="15"/>
                </a:cxn>
              </a:cxnLst>
              <a:rect l="0" t="0" r="r" b="b"/>
              <a:pathLst>
                <a:path w="12" h="15">
                  <a:moveTo>
                    <a:pt x="2" y="15"/>
                  </a:moveTo>
                  <a:lnTo>
                    <a:pt x="6" y="15"/>
                  </a:lnTo>
                  <a:lnTo>
                    <a:pt x="8" y="9"/>
                  </a:lnTo>
                  <a:lnTo>
                    <a:pt x="12" y="6"/>
                  </a:lnTo>
                  <a:lnTo>
                    <a:pt x="8" y="6"/>
                  </a:lnTo>
                  <a:lnTo>
                    <a:pt x="8" y="0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9"/>
                  </a:lnTo>
                  <a:lnTo>
                    <a:pt x="2" y="11"/>
                  </a:lnTo>
                  <a:lnTo>
                    <a:pt x="2" y="13"/>
                  </a:lnTo>
                  <a:lnTo>
                    <a:pt x="2" y="15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9" name="Freeform 1305"/>
            <p:cNvSpPr>
              <a:spLocks/>
            </p:cNvSpPr>
            <p:nvPr/>
          </p:nvSpPr>
          <p:spPr bwMode="auto">
            <a:xfrm>
              <a:off x="4271170" y="2984845"/>
              <a:ext cx="10385" cy="1592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2" y="0"/>
                </a:cxn>
                <a:cxn ang="0">
                  <a:pos x="2" y="3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2" y="0"/>
                  </a:lnTo>
                  <a:lnTo>
                    <a:pt x="2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0" name="Freeform 1306"/>
            <p:cNvSpPr>
              <a:spLocks/>
            </p:cNvSpPr>
            <p:nvPr/>
          </p:nvSpPr>
          <p:spPr bwMode="auto">
            <a:xfrm>
              <a:off x="4271170" y="2974231"/>
              <a:ext cx="10385" cy="1061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0" y="2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2" y="0"/>
                  </a:lnTo>
                  <a:lnTo>
                    <a:pt x="2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1" name="Freeform 1307"/>
            <p:cNvSpPr>
              <a:spLocks/>
            </p:cNvSpPr>
            <p:nvPr/>
          </p:nvSpPr>
          <p:spPr bwMode="auto">
            <a:xfrm>
              <a:off x="4359446" y="3000765"/>
              <a:ext cx="160974" cy="79600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0" y="13"/>
                </a:cxn>
                <a:cxn ang="0">
                  <a:pos x="2" y="13"/>
                </a:cxn>
                <a:cxn ang="0">
                  <a:pos x="8" y="13"/>
                </a:cxn>
                <a:cxn ang="0">
                  <a:pos x="10" y="13"/>
                </a:cxn>
                <a:cxn ang="0">
                  <a:pos x="17" y="15"/>
                </a:cxn>
                <a:cxn ang="0">
                  <a:pos x="25" y="13"/>
                </a:cxn>
                <a:cxn ang="0">
                  <a:pos x="31" y="6"/>
                </a:cxn>
                <a:cxn ang="0">
                  <a:pos x="27" y="4"/>
                </a:cxn>
                <a:cxn ang="0">
                  <a:pos x="23" y="0"/>
                </a:cxn>
                <a:cxn ang="0">
                  <a:pos x="19" y="4"/>
                </a:cxn>
                <a:cxn ang="0">
                  <a:pos x="17" y="4"/>
                </a:cxn>
                <a:cxn ang="0">
                  <a:pos x="10" y="6"/>
                </a:cxn>
                <a:cxn ang="0">
                  <a:pos x="15" y="9"/>
                </a:cxn>
                <a:cxn ang="0">
                  <a:pos x="6" y="9"/>
                </a:cxn>
                <a:cxn ang="0">
                  <a:pos x="0" y="9"/>
                </a:cxn>
              </a:cxnLst>
              <a:rect l="0" t="0" r="r" b="b"/>
              <a:pathLst>
                <a:path w="31" h="15">
                  <a:moveTo>
                    <a:pt x="0" y="9"/>
                  </a:moveTo>
                  <a:lnTo>
                    <a:pt x="0" y="13"/>
                  </a:lnTo>
                  <a:lnTo>
                    <a:pt x="2" y="13"/>
                  </a:lnTo>
                  <a:lnTo>
                    <a:pt x="8" y="13"/>
                  </a:lnTo>
                  <a:lnTo>
                    <a:pt x="10" y="13"/>
                  </a:lnTo>
                  <a:lnTo>
                    <a:pt x="17" y="15"/>
                  </a:lnTo>
                  <a:lnTo>
                    <a:pt x="25" y="13"/>
                  </a:lnTo>
                  <a:lnTo>
                    <a:pt x="31" y="6"/>
                  </a:lnTo>
                  <a:lnTo>
                    <a:pt x="27" y="4"/>
                  </a:lnTo>
                  <a:lnTo>
                    <a:pt x="23" y="0"/>
                  </a:lnTo>
                  <a:lnTo>
                    <a:pt x="19" y="4"/>
                  </a:lnTo>
                  <a:lnTo>
                    <a:pt x="17" y="4"/>
                  </a:lnTo>
                  <a:lnTo>
                    <a:pt x="10" y="6"/>
                  </a:lnTo>
                  <a:lnTo>
                    <a:pt x="15" y="9"/>
                  </a:lnTo>
                  <a:lnTo>
                    <a:pt x="6" y="9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2" name="Freeform 1308"/>
            <p:cNvSpPr>
              <a:spLocks/>
            </p:cNvSpPr>
            <p:nvPr/>
          </p:nvSpPr>
          <p:spPr bwMode="auto">
            <a:xfrm>
              <a:off x="4271170" y="3048525"/>
              <a:ext cx="98661" cy="47760"/>
            </a:xfrm>
            <a:custGeom>
              <a:avLst/>
              <a:gdLst/>
              <a:ahLst/>
              <a:cxnLst>
                <a:cxn ang="0">
                  <a:pos x="4" y="9"/>
                </a:cxn>
                <a:cxn ang="0">
                  <a:pos x="2" y="6"/>
                </a:cxn>
                <a:cxn ang="0">
                  <a:pos x="2" y="9"/>
                </a:cxn>
                <a:cxn ang="0">
                  <a:pos x="0" y="6"/>
                </a:cxn>
                <a:cxn ang="0">
                  <a:pos x="4" y="0"/>
                </a:cxn>
                <a:cxn ang="0">
                  <a:pos x="9" y="0"/>
                </a:cxn>
                <a:cxn ang="0">
                  <a:pos x="17" y="0"/>
                </a:cxn>
                <a:cxn ang="0">
                  <a:pos x="17" y="4"/>
                </a:cxn>
                <a:cxn ang="0">
                  <a:pos x="19" y="4"/>
                </a:cxn>
                <a:cxn ang="0">
                  <a:pos x="17" y="6"/>
                </a:cxn>
                <a:cxn ang="0">
                  <a:pos x="13" y="6"/>
                </a:cxn>
                <a:cxn ang="0">
                  <a:pos x="13" y="9"/>
                </a:cxn>
                <a:cxn ang="0">
                  <a:pos x="11" y="6"/>
                </a:cxn>
                <a:cxn ang="0">
                  <a:pos x="7" y="9"/>
                </a:cxn>
                <a:cxn ang="0">
                  <a:pos x="4" y="9"/>
                </a:cxn>
              </a:cxnLst>
              <a:rect l="0" t="0" r="r" b="b"/>
              <a:pathLst>
                <a:path w="19" h="9">
                  <a:moveTo>
                    <a:pt x="4" y="9"/>
                  </a:moveTo>
                  <a:lnTo>
                    <a:pt x="2" y="6"/>
                  </a:lnTo>
                  <a:lnTo>
                    <a:pt x="2" y="9"/>
                  </a:lnTo>
                  <a:lnTo>
                    <a:pt x="0" y="6"/>
                  </a:lnTo>
                  <a:lnTo>
                    <a:pt x="4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17" y="4"/>
                  </a:lnTo>
                  <a:lnTo>
                    <a:pt x="19" y="4"/>
                  </a:lnTo>
                  <a:lnTo>
                    <a:pt x="17" y="6"/>
                  </a:lnTo>
                  <a:lnTo>
                    <a:pt x="13" y="6"/>
                  </a:lnTo>
                  <a:lnTo>
                    <a:pt x="13" y="9"/>
                  </a:lnTo>
                  <a:lnTo>
                    <a:pt x="11" y="6"/>
                  </a:lnTo>
                  <a:lnTo>
                    <a:pt x="7" y="9"/>
                  </a:lnTo>
                  <a:lnTo>
                    <a:pt x="4" y="9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3" name="Freeform 1309"/>
            <p:cNvSpPr>
              <a:spLocks/>
            </p:cNvSpPr>
            <p:nvPr/>
          </p:nvSpPr>
          <p:spPr bwMode="auto">
            <a:xfrm>
              <a:off x="4577538" y="3202418"/>
              <a:ext cx="31156" cy="95520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6" y="11"/>
                </a:cxn>
                <a:cxn ang="0">
                  <a:pos x="4" y="18"/>
                </a:cxn>
                <a:cxn ang="0">
                  <a:pos x="0" y="13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2"/>
                </a:cxn>
                <a:cxn ang="0">
                  <a:pos x="4" y="4"/>
                </a:cxn>
              </a:cxnLst>
              <a:rect l="0" t="0" r="r" b="b"/>
              <a:pathLst>
                <a:path w="6" h="18">
                  <a:moveTo>
                    <a:pt x="4" y="4"/>
                  </a:moveTo>
                  <a:lnTo>
                    <a:pt x="6" y="11"/>
                  </a:lnTo>
                  <a:lnTo>
                    <a:pt x="4" y="18"/>
                  </a:lnTo>
                  <a:lnTo>
                    <a:pt x="0" y="13"/>
                  </a:ln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2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4" name="Freeform 1310"/>
            <p:cNvSpPr>
              <a:spLocks/>
            </p:cNvSpPr>
            <p:nvPr/>
          </p:nvSpPr>
          <p:spPr bwMode="auto">
            <a:xfrm>
              <a:off x="4489262" y="3021991"/>
              <a:ext cx="150588" cy="74293"/>
            </a:xfrm>
            <a:custGeom>
              <a:avLst/>
              <a:gdLst/>
              <a:ahLst/>
              <a:cxnLst>
                <a:cxn ang="0">
                  <a:pos x="2" y="11"/>
                </a:cxn>
                <a:cxn ang="0">
                  <a:pos x="8" y="14"/>
                </a:cxn>
                <a:cxn ang="0">
                  <a:pos x="21" y="14"/>
                </a:cxn>
                <a:cxn ang="0">
                  <a:pos x="23" y="11"/>
                </a:cxn>
                <a:cxn ang="0">
                  <a:pos x="25" y="5"/>
                </a:cxn>
                <a:cxn ang="0">
                  <a:pos x="29" y="2"/>
                </a:cxn>
                <a:cxn ang="0">
                  <a:pos x="25" y="2"/>
                </a:cxn>
                <a:cxn ang="0">
                  <a:pos x="25" y="0"/>
                </a:cxn>
                <a:cxn ang="0">
                  <a:pos x="21" y="0"/>
                </a:cxn>
                <a:cxn ang="0">
                  <a:pos x="10" y="5"/>
                </a:cxn>
                <a:cxn ang="0">
                  <a:pos x="6" y="2"/>
                </a:cxn>
                <a:cxn ang="0">
                  <a:pos x="0" y="9"/>
                </a:cxn>
                <a:cxn ang="0">
                  <a:pos x="0" y="11"/>
                </a:cxn>
                <a:cxn ang="0">
                  <a:pos x="2" y="11"/>
                </a:cxn>
              </a:cxnLst>
              <a:rect l="0" t="0" r="r" b="b"/>
              <a:pathLst>
                <a:path w="29" h="14">
                  <a:moveTo>
                    <a:pt x="2" y="11"/>
                  </a:moveTo>
                  <a:lnTo>
                    <a:pt x="8" y="14"/>
                  </a:lnTo>
                  <a:lnTo>
                    <a:pt x="21" y="14"/>
                  </a:lnTo>
                  <a:lnTo>
                    <a:pt x="23" y="11"/>
                  </a:lnTo>
                  <a:lnTo>
                    <a:pt x="25" y="5"/>
                  </a:lnTo>
                  <a:lnTo>
                    <a:pt x="29" y="2"/>
                  </a:lnTo>
                  <a:lnTo>
                    <a:pt x="25" y="2"/>
                  </a:lnTo>
                  <a:lnTo>
                    <a:pt x="25" y="0"/>
                  </a:lnTo>
                  <a:lnTo>
                    <a:pt x="21" y="0"/>
                  </a:lnTo>
                  <a:lnTo>
                    <a:pt x="10" y="5"/>
                  </a:lnTo>
                  <a:lnTo>
                    <a:pt x="6" y="2"/>
                  </a:lnTo>
                  <a:lnTo>
                    <a:pt x="0" y="9"/>
                  </a:lnTo>
                  <a:lnTo>
                    <a:pt x="0" y="11"/>
                  </a:lnTo>
                  <a:lnTo>
                    <a:pt x="2" y="11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5" name="Freeform 1311"/>
            <p:cNvSpPr>
              <a:spLocks/>
            </p:cNvSpPr>
            <p:nvPr/>
          </p:nvSpPr>
          <p:spPr bwMode="auto">
            <a:xfrm>
              <a:off x="5226624" y="3584499"/>
              <a:ext cx="41542" cy="47760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2" y="0"/>
                </a:cxn>
                <a:cxn ang="0">
                  <a:pos x="8" y="0"/>
                </a:cxn>
                <a:cxn ang="0">
                  <a:pos x="8" y="2"/>
                </a:cxn>
                <a:cxn ang="0">
                  <a:pos x="6" y="2"/>
                </a:cxn>
                <a:cxn ang="0">
                  <a:pos x="8" y="9"/>
                </a:cxn>
                <a:cxn ang="0">
                  <a:pos x="4" y="9"/>
                </a:cxn>
                <a:cxn ang="0">
                  <a:pos x="0" y="7"/>
                </a:cxn>
              </a:cxnLst>
              <a:rect l="0" t="0" r="r" b="b"/>
              <a:pathLst>
                <a:path w="8" h="9">
                  <a:moveTo>
                    <a:pt x="0" y="7"/>
                  </a:moveTo>
                  <a:lnTo>
                    <a:pt x="2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6" y="2"/>
                  </a:lnTo>
                  <a:lnTo>
                    <a:pt x="8" y="9"/>
                  </a:lnTo>
                  <a:lnTo>
                    <a:pt x="4" y="9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6" name="Freeform 1312"/>
            <p:cNvSpPr>
              <a:spLocks/>
            </p:cNvSpPr>
            <p:nvPr/>
          </p:nvSpPr>
          <p:spPr bwMode="auto">
            <a:xfrm>
              <a:off x="5185083" y="3595112"/>
              <a:ext cx="41542" cy="26533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2" y="0"/>
                </a:cxn>
                <a:cxn ang="0">
                  <a:pos x="8" y="5"/>
                </a:cxn>
                <a:cxn ang="0">
                  <a:pos x="2" y="5"/>
                </a:cxn>
                <a:cxn ang="0">
                  <a:pos x="0" y="5"/>
                </a:cxn>
              </a:cxnLst>
              <a:rect l="0" t="0" r="r" b="b"/>
              <a:pathLst>
                <a:path w="8" h="5">
                  <a:moveTo>
                    <a:pt x="0" y="5"/>
                  </a:moveTo>
                  <a:lnTo>
                    <a:pt x="2" y="0"/>
                  </a:lnTo>
                  <a:lnTo>
                    <a:pt x="8" y="5"/>
                  </a:lnTo>
                  <a:lnTo>
                    <a:pt x="2" y="5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7" name="Freeform 1313"/>
            <p:cNvSpPr>
              <a:spLocks/>
            </p:cNvSpPr>
            <p:nvPr/>
          </p:nvSpPr>
          <p:spPr bwMode="auto">
            <a:xfrm>
              <a:off x="3819405" y="3404072"/>
              <a:ext cx="270020" cy="254720"/>
            </a:xfrm>
            <a:custGeom>
              <a:avLst/>
              <a:gdLst/>
              <a:ahLst/>
              <a:cxnLst>
                <a:cxn ang="0">
                  <a:pos x="52" y="7"/>
                </a:cxn>
                <a:cxn ang="0">
                  <a:pos x="52" y="23"/>
                </a:cxn>
                <a:cxn ang="0">
                  <a:pos x="41" y="25"/>
                </a:cxn>
                <a:cxn ang="0">
                  <a:pos x="41" y="27"/>
                </a:cxn>
                <a:cxn ang="0">
                  <a:pos x="35" y="34"/>
                </a:cxn>
                <a:cxn ang="0">
                  <a:pos x="20" y="36"/>
                </a:cxn>
                <a:cxn ang="0">
                  <a:pos x="18" y="41"/>
                </a:cxn>
                <a:cxn ang="0">
                  <a:pos x="18" y="48"/>
                </a:cxn>
                <a:cxn ang="0">
                  <a:pos x="0" y="48"/>
                </a:cxn>
                <a:cxn ang="0">
                  <a:pos x="8" y="43"/>
                </a:cxn>
                <a:cxn ang="0">
                  <a:pos x="12" y="36"/>
                </a:cxn>
                <a:cxn ang="0">
                  <a:pos x="16" y="32"/>
                </a:cxn>
                <a:cxn ang="0">
                  <a:pos x="16" y="25"/>
                </a:cxn>
                <a:cxn ang="0">
                  <a:pos x="18" y="18"/>
                </a:cxn>
                <a:cxn ang="0">
                  <a:pos x="20" y="16"/>
                </a:cxn>
                <a:cxn ang="0">
                  <a:pos x="31" y="9"/>
                </a:cxn>
                <a:cxn ang="0">
                  <a:pos x="33" y="0"/>
                </a:cxn>
                <a:cxn ang="0">
                  <a:pos x="35" y="0"/>
                </a:cxn>
                <a:cxn ang="0">
                  <a:pos x="39" y="5"/>
                </a:cxn>
                <a:cxn ang="0">
                  <a:pos x="48" y="5"/>
                </a:cxn>
                <a:cxn ang="0">
                  <a:pos x="50" y="5"/>
                </a:cxn>
                <a:cxn ang="0">
                  <a:pos x="50" y="7"/>
                </a:cxn>
                <a:cxn ang="0">
                  <a:pos x="52" y="7"/>
                </a:cxn>
              </a:cxnLst>
              <a:rect l="0" t="0" r="r" b="b"/>
              <a:pathLst>
                <a:path w="52" h="48">
                  <a:moveTo>
                    <a:pt x="52" y="7"/>
                  </a:moveTo>
                  <a:lnTo>
                    <a:pt x="52" y="23"/>
                  </a:lnTo>
                  <a:lnTo>
                    <a:pt x="41" y="25"/>
                  </a:lnTo>
                  <a:lnTo>
                    <a:pt x="41" y="27"/>
                  </a:lnTo>
                  <a:lnTo>
                    <a:pt x="35" y="34"/>
                  </a:lnTo>
                  <a:lnTo>
                    <a:pt x="20" y="36"/>
                  </a:lnTo>
                  <a:lnTo>
                    <a:pt x="18" y="41"/>
                  </a:lnTo>
                  <a:lnTo>
                    <a:pt x="18" y="48"/>
                  </a:lnTo>
                  <a:lnTo>
                    <a:pt x="0" y="48"/>
                  </a:lnTo>
                  <a:lnTo>
                    <a:pt x="8" y="43"/>
                  </a:lnTo>
                  <a:lnTo>
                    <a:pt x="12" y="36"/>
                  </a:lnTo>
                  <a:lnTo>
                    <a:pt x="16" y="32"/>
                  </a:lnTo>
                  <a:lnTo>
                    <a:pt x="16" y="25"/>
                  </a:lnTo>
                  <a:lnTo>
                    <a:pt x="18" y="18"/>
                  </a:lnTo>
                  <a:lnTo>
                    <a:pt x="20" y="16"/>
                  </a:lnTo>
                  <a:lnTo>
                    <a:pt x="31" y="9"/>
                  </a:lnTo>
                  <a:lnTo>
                    <a:pt x="33" y="0"/>
                  </a:lnTo>
                  <a:lnTo>
                    <a:pt x="35" y="0"/>
                  </a:lnTo>
                  <a:lnTo>
                    <a:pt x="39" y="5"/>
                  </a:lnTo>
                  <a:lnTo>
                    <a:pt x="48" y="5"/>
                  </a:lnTo>
                  <a:lnTo>
                    <a:pt x="50" y="5"/>
                  </a:lnTo>
                  <a:lnTo>
                    <a:pt x="50" y="7"/>
                  </a:lnTo>
                  <a:lnTo>
                    <a:pt x="52" y="7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8" name="Freeform 1314"/>
            <p:cNvSpPr>
              <a:spLocks/>
            </p:cNvSpPr>
            <p:nvPr/>
          </p:nvSpPr>
          <p:spPr bwMode="auto">
            <a:xfrm>
              <a:off x="5138348" y="4120473"/>
              <a:ext cx="46734" cy="47760"/>
            </a:xfrm>
            <a:custGeom>
              <a:avLst/>
              <a:gdLst/>
              <a:ahLst/>
              <a:cxnLst>
                <a:cxn ang="0">
                  <a:pos x="4" y="7"/>
                </a:cxn>
                <a:cxn ang="0">
                  <a:pos x="9" y="3"/>
                </a:cxn>
                <a:cxn ang="0">
                  <a:pos x="4" y="0"/>
                </a:cxn>
                <a:cxn ang="0">
                  <a:pos x="2" y="3"/>
                </a:cxn>
                <a:cxn ang="0">
                  <a:pos x="0" y="9"/>
                </a:cxn>
                <a:cxn ang="0">
                  <a:pos x="4" y="9"/>
                </a:cxn>
                <a:cxn ang="0">
                  <a:pos x="4" y="7"/>
                </a:cxn>
              </a:cxnLst>
              <a:rect l="0" t="0" r="r" b="b"/>
              <a:pathLst>
                <a:path w="9" h="9">
                  <a:moveTo>
                    <a:pt x="4" y="7"/>
                  </a:moveTo>
                  <a:lnTo>
                    <a:pt x="9" y="3"/>
                  </a:lnTo>
                  <a:lnTo>
                    <a:pt x="4" y="0"/>
                  </a:lnTo>
                  <a:lnTo>
                    <a:pt x="2" y="3"/>
                  </a:lnTo>
                  <a:lnTo>
                    <a:pt x="0" y="9"/>
                  </a:lnTo>
                  <a:lnTo>
                    <a:pt x="4" y="9"/>
                  </a:lnTo>
                  <a:lnTo>
                    <a:pt x="4" y="7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9" name="Freeform 1315"/>
            <p:cNvSpPr>
              <a:spLocks/>
            </p:cNvSpPr>
            <p:nvPr/>
          </p:nvSpPr>
          <p:spPr bwMode="auto">
            <a:xfrm>
              <a:off x="5117577" y="4136393"/>
              <a:ext cx="249249" cy="413921"/>
            </a:xfrm>
            <a:custGeom>
              <a:avLst/>
              <a:gdLst/>
              <a:ahLst/>
              <a:cxnLst>
                <a:cxn ang="0">
                  <a:pos x="4" y="47"/>
                </a:cxn>
                <a:cxn ang="0">
                  <a:pos x="0" y="56"/>
                </a:cxn>
                <a:cxn ang="0">
                  <a:pos x="0" y="74"/>
                </a:cxn>
                <a:cxn ang="0">
                  <a:pos x="4" y="78"/>
                </a:cxn>
                <a:cxn ang="0">
                  <a:pos x="13" y="67"/>
                </a:cxn>
                <a:cxn ang="0">
                  <a:pos x="27" y="56"/>
                </a:cxn>
                <a:cxn ang="0">
                  <a:pos x="31" y="47"/>
                </a:cxn>
                <a:cxn ang="0">
                  <a:pos x="38" y="36"/>
                </a:cxn>
                <a:cxn ang="0">
                  <a:pos x="46" y="9"/>
                </a:cxn>
                <a:cxn ang="0">
                  <a:pos x="48" y="4"/>
                </a:cxn>
                <a:cxn ang="0">
                  <a:pos x="46" y="0"/>
                </a:cxn>
                <a:cxn ang="0">
                  <a:pos x="44" y="4"/>
                </a:cxn>
                <a:cxn ang="0">
                  <a:pos x="38" y="6"/>
                </a:cxn>
                <a:cxn ang="0">
                  <a:pos x="29" y="6"/>
                </a:cxn>
                <a:cxn ang="0">
                  <a:pos x="17" y="9"/>
                </a:cxn>
                <a:cxn ang="0">
                  <a:pos x="15" y="9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8" y="9"/>
                </a:cxn>
                <a:cxn ang="0">
                  <a:pos x="15" y="18"/>
                </a:cxn>
                <a:cxn ang="0">
                  <a:pos x="29" y="24"/>
                </a:cxn>
                <a:cxn ang="0">
                  <a:pos x="31" y="24"/>
                </a:cxn>
                <a:cxn ang="0">
                  <a:pos x="21" y="40"/>
                </a:cxn>
                <a:cxn ang="0">
                  <a:pos x="13" y="42"/>
                </a:cxn>
                <a:cxn ang="0">
                  <a:pos x="8" y="45"/>
                </a:cxn>
                <a:cxn ang="0">
                  <a:pos x="4" y="45"/>
                </a:cxn>
                <a:cxn ang="0">
                  <a:pos x="4" y="47"/>
                </a:cxn>
              </a:cxnLst>
              <a:rect l="0" t="0" r="r" b="b"/>
              <a:pathLst>
                <a:path w="48" h="78">
                  <a:moveTo>
                    <a:pt x="4" y="47"/>
                  </a:moveTo>
                  <a:lnTo>
                    <a:pt x="0" y="56"/>
                  </a:lnTo>
                  <a:lnTo>
                    <a:pt x="0" y="74"/>
                  </a:lnTo>
                  <a:lnTo>
                    <a:pt x="4" y="78"/>
                  </a:lnTo>
                  <a:lnTo>
                    <a:pt x="13" y="67"/>
                  </a:lnTo>
                  <a:lnTo>
                    <a:pt x="27" y="56"/>
                  </a:lnTo>
                  <a:lnTo>
                    <a:pt x="31" y="47"/>
                  </a:lnTo>
                  <a:lnTo>
                    <a:pt x="38" y="36"/>
                  </a:lnTo>
                  <a:lnTo>
                    <a:pt x="46" y="9"/>
                  </a:lnTo>
                  <a:lnTo>
                    <a:pt x="48" y="4"/>
                  </a:lnTo>
                  <a:lnTo>
                    <a:pt x="46" y="0"/>
                  </a:lnTo>
                  <a:lnTo>
                    <a:pt x="44" y="4"/>
                  </a:lnTo>
                  <a:lnTo>
                    <a:pt x="38" y="6"/>
                  </a:lnTo>
                  <a:lnTo>
                    <a:pt x="29" y="6"/>
                  </a:lnTo>
                  <a:lnTo>
                    <a:pt x="17" y="9"/>
                  </a:lnTo>
                  <a:lnTo>
                    <a:pt x="15" y="9"/>
                  </a:lnTo>
                  <a:lnTo>
                    <a:pt x="8" y="4"/>
                  </a:lnTo>
                  <a:lnTo>
                    <a:pt x="8" y="6"/>
                  </a:lnTo>
                  <a:lnTo>
                    <a:pt x="8" y="9"/>
                  </a:lnTo>
                  <a:lnTo>
                    <a:pt x="15" y="18"/>
                  </a:lnTo>
                  <a:lnTo>
                    <a:pt x="29" y="24"/>
                  </a:lnTo>
                  <a:lnTo>
                    <a:pt x="31" y="24"/>
                  </a:lnTo>
                  <a:lnTo>
                    <a:pt x="21" y="40"/>
                  </a:lnTo>
                  <a:lnTo>
                    <a:pt x="13" y="42"/>
                  </a:lnTo>
                  <a:lnTo>
                    <a:pt x="8" y="45"/>
                  </a:lnTo>
                  <a:lnTo>
                    <a:pt x="4" y="45"/>
                  </a:lnTo>
                  <a:lnTo>
                    <a:pt x="4" y="47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0" name="Freeform 1316"/>
            <p:cNvSpPr>
              <a:spLocks/>
            </p:cNvSpPr>
            <p:nvPr/>
          </p:nvSpPr>
          <p:spPr bwMode="auto">
            <a:xfrm>
              <a:off x="3710360" y="4072713"/>
              <a:ext cx="72698" cy="37147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6" y="3"/>
                </a:cxn>
                <a:cxn ang="0">
                  <a:pos x="12" y="7"/>
                </a:cxn>
                <a:cxn ang="0">
                  <a:pos x="14" y="3"/>
                </a:cxn>
                <a:cxn ang="0">
                  <a:pos x="6" y="0"/>
                </a:cxn>
                <a:cxn ang="0">
                  <a:pos x="0" y="3"/>
                </a:cxn>
                <a:cxn ang="0">
                  <a:pos x="0" y="5"/>
                </a:cxn>
                <a:cxn ang="0">
                  <a:pos x="0" y="7"/>
                </a:cxn>
              </a:cxnLst>
              <a:rect l="0" t="0" r="r" b="b"/>
              <a:pathLst>
                <a:path w="14" h="7">
                  <a:moveTo>
                    <a:pt x="0" y="7"/>
                  </a:moveTo>
                  <a:lnTo>
                    <a:pt x="6" y="3"/>
                  </a:lnTo>
                  <a:lnTo>
                    <a:pt x="12" y="7"/>
                  </a:lnTo>
                  <a:lnTo>
                    <a:pt x="14" y="3"/>
                  </a:lnTo>
                  <a:lnTo>
                    <a:pt x="6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1" name="Freeform 1317"/>
            <p:cNvSpPr>
              <a:spLocks/>
            </p:cNvSpPr>
            <p:nvPr/>
          </p:nvSpPr>
          <p:spPr bwMode="auto">
            <a:xfrm>
              <a:off x="3710360" y="4120473"/>
              <a:ext cx="72698" cy="47760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14" y="7"/>
                </a:cxn>
                <a:cxn ang="0">
                  <a:pos x="8" y="7"/>
                </a:cxn>
                <a:cxn ang="0">
                  <a:pos x="8" y="9"/>
                </a:cxn>
                <a:cxn ang="0">
                  <a:pos x="6" y="9"/>
                </a:cxn>
                <a:cxn ang="0">
                  <a:pos x="6" y="3"/>
                </a:cxn>
                <a:cxn ang="0">
                  <a:pos x="2" y="3"/>
                </a:cxn>
                <a:cxn ang="0">
                  <a:pos x="0" y="0"/>
                </a:cxn>
                <a:cxn ang="0">
                  <a:pos x="6" y="0"/>
                </a:cxn>
                <a:cxn ang="0">
                  <a:pos x="10" y="0"/>
                </a:cxn>
                <a:cxn ang="0">
                  <a:pos x="14" y="0"/>
                </a:cxn>
              </a:cxnLst>
              <a:rect l="0" t="0" r="r" b="b"/>
              <a:pathLst>
                <a:path w="14" h="9">
                  <a:moveTo>
                    <a:pt x="14" y="0"/>
                  </a:moveTo>
                  <a:lnTo>
                    <a:pt x="14" y="7"/>
                  </a:lnTo>
                  <a:lnTo>
                    <a:pt x="8" y="7"/>
                  </a:lnTo>
                  <a:lnTo>
                    <a:pt x="8" y="9"/>
                  </a:lnTo>
                  <a:lnTo>
                    <a:pt x="6" y="9"/>
                  </a:lnTo>
                  <a:lnTo>
                    <a:pt x="6" y="3"/>
                  </a:lnTo>
                  <a:lnTo>
                    <a:pt x="2" y="3"/>
                  </a:lnTo>
                  <a:lnTo>
                    <a:pt x="0" y="0"/>
                  </a:lnTo>
                  <a:lnTo>
                    <a:pt x="6" y="0"/>
                  </a:lnTo>
                  <a:lnTo>
                    <a:pt x="10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2" name="Freeform 1318"/>
            <p:cNvSpPr>
              <a:spLocks/>
            </p:cNvSpPr>
            <p:nvPr/>
          </p:nvSpPr>
          <p:spPr bwMode="auto">
            <a:xfrm>
              <a:off x="3783057" y="4205380"/>
              <a:ext cx="77890" cy="95520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" y="11"/>
                </a:cxn>
                <a:cxn ang="0">
                  <a:pos x="9" y="18"/>
                </a:cxn>
                <a:cxn ang="0">
                  <a:pos x="15" y="9"/>
                </a:cxn>
                <a:cxn ang="0">
                  <a:pos x="15" y="5"/>
                </a:cxn>
                <a:cxn ang="0">
                  <a:pos x="11" y="0"/>
                </a:cxn>
                <a:cxn ang="0">
                  <a:pos x="7" y="0"/>
                </a:cxn>
                <a:cxn ang="0">
                  <a:pos x="2" y="2"/>
                </a:cxn>
                <a:cxn ang="0">
                  <a:pos x="0" y="2"/>
                </a:cxn>
              </a:cxnLst>
              <a:rect l="0" t="0" r="r" b="b"/>
              <a:pathLst>
                <a:path w="15" h="18">
                  <a:moveTo>
                    <a:pt x="0" y="2"/>
                  </a:moveTo>
                  <a:lnTo>
                    <a:pt x="2" y="11"/>
                  </a:lnTo>
                  <a:lnTo>
                    <a:pt x="9" y="18"/>
                  </a:lnTo>
                  <a:lnTo>
                    <a:pt x="15" y="9"/>
                  </a:lnTo>
                  <a:lnTo>
                    <a:pt x="15" y="5"/>
                  </a:lnTo>
                  <a:lnTo>
                    <a:pt x="11" y="0"/>
                  </a:lnTo>
                  <a:lnTo>
                    <a:pt x="7" y="0"/>
                  </a:lnTo>
                  <a:lnTo>
                    <a:pt x="2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3" name="Freeform 1319"/>
            <p:cNvSpPr>
              <a:spLocks/>
            </p:cNvSpPr>
            <p:nvPr/>
          </p:nvSpPr>
          <p:spPr bwMode="auto">
            <a:xfrm>
              <a:off x="4826787" y="4576847"/>
              <a:ext cx="41542" cy="5837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8" y="0"/>
                </a:cxn>
                <a:cxn ang="0">
                  <a:pos x="8" y="7"/>
                </a:cxn>
                <a:cxn ang="0">
                  <a:pos x="4" y="11"/>
                </a:cxn>
                <a:cxn ang="0">
                  <a:pos x="4" y="7"/>
                </a:cxn>
                <a:cxn ang="0">
                  <a:pos x="2" y="4"/>
                </a:cxn>
                <a:cxn ang="0">
                  <a:pos x="0" y="2"/>
                </a:cxn>
              </a:cxnLst>
              <a:rect l="0" t="0" r="r" b="b"/>
              <a:pathLst>
                <a:path w="8" h="11">
                  <a:moveTo>
                    <a:pt x="0" y="2"/>
                  </a:moveTo>
                  <a:lnTo>
                    <a:pt x="8" y="0"/>
                  </a:lnTo>
                  <a:lnTo>
                    <a:pt x="8" y="7"/>
                  </a:lnTo>
                  <a:lnTo>
                    <a:pt x="4" y="11"/>
                  </a:lnTo>
                  <a:lnTo>
                    <a:pt x="4" y="7"/>
                  </a:lnTo>
                  <a:lnTo>
                    <a:pt x="2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4" name="Freeform 1320"/>
            <p:cNvSpPr>
              <a:spLocks/>
            </p:cNvSpPr>
            <p:nvPr/>
          </p:nvSpPr>
          <p:spPr bwMode="auto">
            <a:xfrm>
              <a:off x="4826787" y="4539700"/>
              <a:ext cx="41542" cy="47760"/>
            </a:xfrm>
            <a:custGeom>
              <a:avLst/>
              <a:gdLst/>
              <a:ahLst/>
              <a:cxnLst>
                <a:cxn ang="0">
                  <a:pos x="8" y="7"/>
                </a:cxn>
                <a:cxn ang="0">
                  <a:pos x="0" y="9"/>
                </a:cxn>
                <a:cxn ang="0">
                  <a:pos x="0" y="7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8" y="2"/>
                </a:cxn>
                <a:cxn ang="0">
                  <a:pos x="8" y="5"/>
                </a:cxn>
                <a:cxn ang="0">
                  <a:pos x="8" y="7"/>
                </a:cxn>
              </a:cxnLst>
              <a:rect l="0" t="0" r="r" b="b"/>
              <a:pathLst>
                <a:path w="8" h="9">
                  <a:moveTo>
                    <a:pt x="8" y="7"/>
                  </a:moveTo>
                  <a:lnTo>
                    <a:pt x="0" y="9"/>
                  </a:lnTo>
                  <a:lnTo>
                    <a:pt x="0" y="7"/>
                  </a:lnTo>
                  <a:lnTo>
                    <a:pt x="4" y="0"/>
                  </a:lnTo>
                  <a:lnTo>
                    <a:pt x="6" y="0"/>
                  </a:lnTo>
                  <a:lnTo>
                    <a:pt x="8" y="2"/>
                  </a:lnTo>
                  <a:lnTo>
                    <a:pt x="8" y="5"/>
                  </a:lnTo>
                  <a:lnTo>
                    <a:pt x="8" y="7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5" name="Freeform 1321"/>
            <p:cNvSpPr>
              <a:spLocks/>
            </p:cNvSpPr>
            <p:nvPr/>
          </p:nvSpPr>
          <p:spPr bwMode="auto">
            <a:xfrm>
              <a:off x="4857944" y="5303861"/>
              <a:ext cx="31156" cy="37147"/>
            </a:xfrm>
            <a:custGeom>
              <a:avLst/>
              <a:gdLst/>
              <a:ahLst/>
              <a:cxnLst>
                <a:cxn ang="0">
                  <a:pos x="6" y="3"/>
                </a:cxn>
                <a:cxn ang="0">
                  <a:pos x="6" y="0"/>
                </a:cxn>
                <a:cxn ang="0">
                  <a:pos x="2" y="0"/>
                </a:cxn>
                <a:cxn ang="0">
                  <a:pos x="0" y="7"/>
                </a:cxn>
                <a:cxn ang="0">
                  <a:pos x="2" y="7"/>
                </a:cxn>
                <a:cxn ang="0">
                  <a:pos x="4" y="5"/>
                </a:cxn>
                <a:cxn ang="0">
                  <a:pos x="6" y="3"/>
                </a:cxn>
              </a:cxnLst>
              <a:rect l="0" t="0" r="r" b="b"/>
              <a:pathLst>
                <a:path w="6" h="7">
                  <a:moveTo>
                    <a:pt x="6" y="3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7"/>
                  </a:lnTo>
                  <a:lnTo>
                    <a:pt x="2" y="7"/>
                  </a:lnTo>
                  <a:lnTo>
                    <a:pt x="4" y="5"/>
                  </a:lnTo>
                  <a:lnTo>
                    <a:pt x="6" y="3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6" name="Freeform 1322"/>
            <p:cNvSpPr>
              <a:spLocks/>
            </p:cNvSpPr>
            <p:nvPr/>
          </p:nvSpPr>
          <p:spPr bwMode="auto">
            <a:xfrm>
              <a:off x="4598309" y="5065061"/>
              <a:ext cx="228479" cy="275947"/>
            </a:xfrm>
            <a:custGeom>
              <a:avLst/>
              <a:gdLst/>
              <a:ahLst/>
              <a:cxnLst>
                <a:cxn ang="0">
                  <a:pos x="25" y="0"/>
                </a:cxn>
                <a:cxn ang="0">
                  <a:pos x="29" y="9"/>
                </a:cxn>
                <a:cxn ang="0">
                  <a:pos x="35" y="14"/>
                </a:cxn>
                <a:cxn ang="0">
                  <a:pos x="37" y="21"/>
                </a:cxn>
                <a:cxn ang="0">
                  <a:pos x="44" y="23"/>
                </a:cxn>
                <a:cxn ang="0">
                  <a:pos x="35" y="30"/>
                </a:cxn>
                <a:cxn ang="0">
                  <a:pos x="25" y="43"/>
                </a:cxn>
                <a:cxn ang="0">
                  <a:pos x="21" y="43"/>
                </a:cxn>
                <a:cxn ang="0">
                  <a:pos x="17" y="43"/>
                </a:cxn>
                <a:cxn ang="0">
                  <a:pos x="10" y="48"/>
                </a:cxn>
                <a:cxn ang="0">
                  <a:pos x="4" y="52"/>
                </a:cxn>
                <a:cxn ang="0">
                  <a:pos x="2" y="48"/>
                </a:cxn>
                <a:cxn ang="0">
                  <a:pos x="4" y="43"/>
                </a:cxn>
                <a:cxn ang="0">
                  <a:pos x="0" y="39"/>
                </a:cxn>
                <a:cxn ang="0">
                  <a:pos x="0" y="23"/>
                </a:cxn>
                <a:cxn ang="0">
                  <a:pos x="4" y="21"/>
                </a:cxn>
                <a:cxn ang="0">
                  <a:pos x="4" y="3"/>
                </a:cxn>
                <a:cxn ang="0">
                  <a:pos x="17" y="0"/>
                </a:cxn>
                <a:cxn ang="0">
                  <a:pos x="17" y="3"/>
                </a:cxn>
                <a:cxn ang="0">
                  <a:pos x="19" y="0"/>
                </a:cxn>
                <a:cxn ang="0">
                  <a:pos x="21" y="0"/>
                </a:cxn>
                <a:cxn ang="0">
                  <a:pos x="25" y="0"/>
                </a:cxn>
              </a:cxnLst>
              <a:rect l="0" t="0" r="r" b="b"/>
              <a:pathLst>
                <a:path w="44" h="52">
                  <a:moveTo>
                    <a:pt x="25" y="0"/>
                  </a:moveTo>
                  <a:lnTo>
                    <a:pt x="29" y="9"/>
                  </a:lnTo>
                  <a:lnTo>
                    <a:pt x="35" y="14"/>
                  </a:lnTo>
                  <a:lnTo>
                    <a:pt x="37" y="21"/>
                  </a:lnTo>
                  <a:lnTo>
                    <a:pt x="44" y="23"/>
                  </a:lnTo>
                  <a:lnTo>
                    <a:pt x="35" y="30"/>
                  </a:lnTo>
                  <a:lnTo>
                    <a:pt x="25" y="43"/>
                  </a:lnTo>
                  <a:lnTo>
                    <a:pt x="21" y="43"/>
                  </a:lnTo>
                  <a:lnTo>
                    <a:pt x="17" y="43"/>
                  </a:lnTo>
                  <a:lnTo>
                    <a:pt x="10" y="48"/>
                  </a:lnTo>
                  <a:lnTo>
                    <a:pt x="4" y="52"/>
                  </a:lnTo>
                  <a:lnTo>
                    <a:pt x="2" y="48"/>
                  </a:lnTo>
                  <a:lnTo>
                    <a:pt x="4" y="43"/>
                  </a:lnTo>
                  <a:lnTo>
                    <a:pt x="0" y="39"/>
                  </a:lnTo>
                  <a:lnTo>
                    <a:pt x="0" y="23"/>
                  </a:lnTo>
                  <a:lnTo>
                    <a:pt x="4" y="21"/>
                  </a:lnTo>
                  <a:lnTo>
                    <a:pt x="4" y="3"/>
                  </a:lnTo>
                  <a:lnTo>
                    <a:pt x="17" y="0"/>
                  </a:lnTo>
                  <a:lnTo>
                    <a:pt x="17" y="3"/>
                  </a:lnTo>
                  <a:lnTo>
                    <a:pt x="19" y="0"/>
                  </a:lnTo>
                  <a:lnTo>
                    <a:pt x="21" y="0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7" name="Freeform 1323"/>
            <p:cNvSpPr>
              <a:spLocks/>
            </p:cNvSpPr>
            <p:nvPr/>
          </p:nvSpPr>
          <p:spPr bwMode="auto">
            <a:xfrm>
              <a:off x="3102815" y="6402343"/>
              <a:ext cx="31156" cy="1592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6" y="3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6" h="3">
                  <a:moveTo>
                    <a:pt x="0" y="3"/>
                  </a:moveTo>
                  <a:lnTo>
                    <a:pt x="6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8" name="Freeform 1324"/>
            <p:cNvSpPr>
              <a:spLocks/>
            </p:cNvSpPr>
            <p:nvPr/>
          </p:nvSpPr>
          <p:spPr bwMode="auto">
            <a:xfrm>
              <a:off x="3004155" y="6370503"/>
              <a:ext cx="57120" cy="31840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2" y="6"/>
                </a:cxn>
                <a:cxn ang="0">
                  <a:pos x="11" y="0"/>
                </a:cxn>
                <a:cxn ang="0">
                  <a:pos x="6" y="0"/>
                </a:cxn>
                <a:cxn ang="0">
                  <a:pos x="2" y="4"/>
                </a:cxn>
                <a:cxn ang="0">
                  <a:pos x="0" y="6"/>
                </a:cxn>
              </a:cxnLst>
              <a:rect l="0" t="0" r="r" b="b"/>
              <a:pathLst>
                <a:path w="11" h="6">
                  <a:moveTo>
                    <a:pt x="0" y="6"/>
                  </a:moveTo>
                  <a:lnTo>
                    <a:pt x="2" y="6"/>
                  </a:lnTo>
                  <a:lnTo>
                    <a:pt x="11" y="0"/>
                  </a:lnTo>
                  <a:lnTo>
                    <a:pt x="6" y="0"/>
                  </a:lnTo>
                  <a:lnTo>
                    <a:pt x="2" y="4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9" name="Line 1325"/>
            <p:cNvSpPr>
              <a:spLocks noChangeShapeType="1"/>
            </p:cNvSpPr>
            <p:nvPr/>
          </p:nvSpPr>
          <p:spPr bwMode="auto">
            <a:xfrm>
              <a:off x="3263789" y="6354583"/>
              <a:ext cx="31156" cy="5307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0" name="Freeform 1326"/>
            <p:cNvSpPr>
              <a:spLocks/>
            </p:cNvSpPr>
            <p:nvPr/>
          </p:nvSpPr>
          <p:spPr bwMode="auto">
            <a:xfrm>
              <a:off x="1856570" y="4502554"/>
              <a:ext cx="31156" cy="37147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0" y="5"/>
                </a:cxn>
                <a:cxn ang="0">
                  <a:pos x="4" y="5"/>
                </a:cxn>
                <a:cxn ang="0">
                  <a:pos x="4" y="7"/>
                </a:cxn>
                <a:cxn ang="0">
                  <a:pos x="6" y="5"/>
                </a:cxn>
                <a:cxn ang="0">
                  <a:pos x="4" y="3"/>
                </a:cxn>
                <a:cxn ang="0">
                  <a:pos x="4" y="0"/>
                </a:cxn>
              </a:cxnLst>
              <a:rect l="0" t="0" r="r" b="b"/>
              <a:pathLst>
                <a:path w="6" h="7">
                  <a:moveTo>
                    <a:pt x="4" y="0"/>
                  </a:moveTo>
                  <a:lnTo>
                    <a:pt x="0" y="5"/>
                  </a:lnTo>
                  <a:lnTo>
                    <a:pt x="4" y="5"/>
                  </a:lnTo>
                  <a:lnTo>
                    <a:pt x="4" y="7"/>
                  </a:lnTo>
                  <a:lnTo>
                    <a:pt x="6" y="5"/>
                  </a:lnTo>
                  <a:lnTo>
                    <a:pt x="4" y="3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1" name="Freeform 1327"/>
            <p:cNvSpPr>
              <a:spLocks/>
            </p:cNvSpPr>
            <p:nvPr/>
          </p:nvSpPr>
          <p:spPr bwMode="auto">
            <a:xfrm>
              <a:off x="2474501" y="5797382"/>
              <a:ext cx="31156" cy="4776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9"/>
                </a:cxn>
                <a:cxn ang="0">
                  <a:pos x="6" y="9"/>
                </a:cxn>
                <a:cxn ang="0">
                  <a:pos x="6" y="2"/>
                </a:cxn>
                <a:cxn ang="0">
                  <a:pos x="2" y="2"/>
                </a:cxn>
                <a:cxn ang="0">
                  <a:pos x="0" y="0"/>
                </a:cxn>
              </a:cxnLst>
              <a:rect l="0" t="0" r="r" b="b"/>
              <a:pathLst>
                <a:path w="6" h="9">
                  <a:moveTo>
                    <a:pt x="0" y="0"/>
                  </a:moveTo>
                  <a:lnTo>
                    <a:pt x="4" y="9"/>
                  </a:lnTo>
                  <a:lnTo>
                    <a:pt x="6" y="9"/>
                  </a:lnTo>
                  <a:lnTo>
                    <a:pt x="6" y="2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2" name="Freeform 1328"/>
            <p:cNvSpPr>
              <a:spLocks/>
            </p:cNvSpPr>
            <p:nvPr/>
          </p:nvSpPr>
          <p:spPr bwMode="auto">
            <a:xfrm>
              <a:off x="2874338" y="6083943"/>
              <a:ext cx="51927" cy="10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2"/>
                </a:cxn>
                <a:cxn ang="0">
                  <a:pos x="10" y="0"/>
                </a:cxn>
                <a:cxn ang="0">
                  <a:pos x="8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w="10" h="2">
                  <a:moveTo>
                    <a:pt x="0" y="0"/>
                  </a:moveTo>
                  <a:lnTo>
                    <a:pt x="6" y="2"/>
                  </a:lnTo>
                  <a:lnTo>
                    <a:pt x="10" y="0"/>
                  </a:lnTo>
                  <a:lnTo>
                    <a:pt x="8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3" name="Freeform 1329"/>
            <p:cNvSpPr>
              <a:spLocks/>
            </p:cNvSpPr>
            <p:nvPr/>
          </p:nvSpPr>
          <p:spPr bwMode="auto">
            <a:xfrm>
              <a:off x="3372835" y="6142316"/>
              <a:ext cx="41542" cy="3714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" y="7"/>
                </a:cxn>
                <a:cxn ang="0">
                  <a:pos x="8" y="4"/>
                </a:cxn>
                <a:cxn ang="0">
                  <a:pos x="4" y="2"/>
                </a:cxn>
                <a:cxn ang="0">
                  <a:pos x="0" y="0"/>
                </a:cxn>
              </a:cxnLst>
              <a:rect l="0" t="0" r="r" b="b"/>
              <a:pathLst>
                <a:path w="8" h="7">
                  <a:moveTo>
                    <a:pt x="0" y="0"/>
                  </a:moveTo>
                  <a:lnTo>
                    <a:pt x="8" y="7"/>
                  </a:lnTo>
                  <a:lnTo>
                    <a:pt x="8" y="4"/>
                  </a:lnTo>
                  <a:lnTo>
                    <a:pt x="4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4" name="Freeform 1330"/>
            <p:cNvSpPr>
              <a:spLocks/>
            </p:cNvSpPr>
            <p:nvPr/>
          </p:nvSpPr>
          <p:spPr bwMode="auto">
            <a:xfrm>
              <a:off x="2604318" y="4168233"/>
              <a:ext cx="20771" cy="37147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4" y="7"/>
                </a:cxn>
                <a:cxn ang="0">
                  <a:pos x="4" y="0"/>
                </a:cxn>
                <a:cxn ang="0">
                  <a:pos x="0" y="3"/>
                </a:cxn>
                <a:cxn ang="0">
                  <a:pos x="0" y="5"/>
                </a:cxn>
                <a:cxn ang="0">
                  <a:pos x="0" y="7"/>
                </a:cxn>
              </a:cxnLst>
              <a:rect l="0" t="0" r="r" b="b"/>
              <a:pathLst>
                <a:path w="4" h="7">
                  <a:moveTo>
                    <a:pt x="0" y="7"/>
                  </a:moveTo>
                  <a:lnTo>
                    <a:pt x="4" y="7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5" name="Line 1331"/>
            <p:cNvSpPr>
              <a:spLocks noChangeShapeType="1"/>
            </p:cNvSpPr>
            <p:nvPr/>
          </p:nvSpPr>
          <p:spPr bwMode="auto">
            <a:xfrm>
              <a:off x="2427766" y="4136393"/>
              <a:ext cx="5193" cy="10613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6" name="Freeform 1332"/>
            <p:cNvSpPr>
              <a:spLocks/>
            </p:cNvSpPr>
            <p:nvPr/>
          </p:nvSpPr>
          <p:spPr bwMode="auto">
            <a:xfrm>
              <a:off x="2225252" y="3945353"/>
              <a:ext cx="41542" cy="10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2"/>
                </a:cxn>
                <a:cxn ang="0">
                  <a:pos x="8" y="2"/>
                </a:cxn>
                <a:cxn ang="0">
                  <a:pos x="8" y="0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8" h="2">
                  <a:moveTo>
                    <a:pt x="0" y="0"/>
                  </a:moveTo>
                  <a:lnTo>
                    <a:pt x="2" y="2"/>
                  </a:lnTo>
                  <a:lnTo>
                    <a:pt x="8" y="2"/>
                  </a:lnTo>
                  <a:lnTo>
                    <a:pt x="8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7" name="Freeform 1333"/>
            <p:cNvSpPr>
              <a:spLocks/>
            </p:cNvSpPr>
            <p:nvPr/>
          </p:nvSpPr>
          <p:spPr bwMode="auto">
            <a:xfrm>
              <a:off x="2126590" y="3823299"/>
              <a:ext cx="10385" cy="26533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2" y="5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5"/>
                </a:cxn>
              </a:cxnLst>
              <a:rect l="0" t="0" r="r" b="b"/>
              <a:pathLst>
                <a:path w="2" h="5">
                  <a:moveTo>
                    <a:pt x="0" y="5"/>
                  </a:moveTo>
                  <a:lnTo>
                    <a:pt x="2" y="5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8" name="Freeform 1334"/>
            <p:cNvSpPr>
              <a:spLocks/>
            </p:cNvSpPr>
            <p:nvPr/>
          </p:nvSpPr>
          <p:spPr bwMode="auto">
            <a:xfrm>
              <a:off x="2085049" y="3802073"/>
              <a:ext cx="249249" cy="95520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2" y="9"/>
                </a:cxn>
                <a:cxn ang="0">
                  <a:pos x="10" y="2"/>
                </a:cxn>
                <a:cxn ang="0">
                  <a:pos x="16" y="2"/>
                </a:cxn>
                <a:cxn ang="0">
                  <a:pos x="12" y="4"/>
                </a:cxn>
                <a:cxn ang="0">
                  <a:pos x="27" y="9"/>
                </a:cxn>
                <a:cxn ang="0">
                  <a:pos x="29" y="15"/>
                </a:cxn>
                <a:cxn ang="0">
                  <a:pos x="33" y="15"/>
                </a:cxn>
                <a:cxn ang="0">
                  <a:pos x="29" y="18"/>
                </a:cxn>
                <a:cxn ang="0">
                  <a:pos x="48" y="18"/>
                </a:cxn>
                <a:cxn ang="0">
                  <a:pos x="44" y="15"/>
                </a:cxn>
                <a:cxn ang="0">
                  <a:pos x="41" y="15"/>
                </a:cxn>
                <a:cxn ang="0">
                  <a:pos x="41" y="11"/>
                </a:cxn>
                <a:cxn ang="0">
                  <a:pos x="35" y="11"/>
                </a:cxn>
                <a:cxn ang="0">
                  <a:pos x="29" y="4"/>
                </a:cxn>
                <a:cxn ang="0">
                  <a:pos x="16" y="0"/>
                </a:cxn>
                <a:cxn ang="0">
                  <a:pos x="4" y="2"/>
                </a:cxn>
                <a:cxn ang="0">
                  <a:pos x="2" y="6"/>
                </a:cxn>
                <a:cxn ang="0">
                  <a:pos x="0" y="9"/>
                </a:cxn>
              </a:cxnLst>
              <a:rect l="0" t="0" r="r" b="b"/>
              <a:pathLst>
                <a:path w="48" h="18">
                  <a:moveTo>
                    <a:pt x="0" y="9"/>
                  </a:moveTo>
                  <a:lnTo>
                    <a:pt x="2" y="9"/>
                  </a:lnTo>
                  <a:lnTo>
                    <a:pt x="10" y="2"/>
                  </a:lnTo>
                  <a:lnTo>
                    <a:pt x="16" y="2"/>
                  </a:lnTo>
                  <a:lnTo>
                    <a:pt x="12" y="4"/>
                  </a:lnTo>
                  <a:lnTo>
                    <a:pt x="27" y="9"/>
                  </a:lnTo>
                  <a:lnTo>
                    <a:pt x="29" y="15"/>
                  </a:lnTo>
                  <a:lnTo>
                    <a:pt x="33" y="15"/>
                  </a:lnTo>
                  <a:lnTo>
                    <a:pt x="29" y="18"/>
                  </a:lnTo>
                  <a:lnTo>
                    <a:pt x="48" y="18"/>
                  </a:lnTo>
                  <a:lnTo>
                    <a:pt x="44" y="15"/>
                  </a:lnTo>
                  <a:lnTo>
                    <a:pt x="41" y="15"/>
                  </a:lnTo>
                  <a:lnTo>
                    <a:pt x="41" y="11"/>
                  </a:lnTo>
                  <a:lnTo>
                    <a:pt x="35" y="11"/>
                  </a:lnTo>
                  <a:lnTo>
                    <a:pt x="29" y="4"/>
                  </a:lnTo>
                  <a:lnTo>
                    <a:pt x="16" y="0"/>
                  </a:lnTo>
                  <a:lnTo>
                    <a:pt x="4" y="2"/>
                  </a:lnTo>
                  <a:lnTo>
                    <a:pt x="2" y="6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9" name="Freeform 1335"/>
            <p:cNvSpPr>
              <a:spLocks/>
            </p:cNvSpPr>
            <p:nvPr/>
          </p:nvSpPr>
          <p:spPr bwMode="auto">
            <a:xfrm>
              <a:off x="2495272" y="3945353"/>
              <a:ext cx="41542" cy="1061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4" y="2"/>
                </a:cxn>
                <a:cxn ang="0">
                  <a:pos x="8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2"/>
                </a:cxn>
              </a:cxnLst>
              <a:rect l="0" t="0" r="r" b="b"/>
              <a:pathLst>
                <a:path w="8" h="2">
                  <a:moveTo>
                    <a:pt x="0" y="2"/>
                  </a:moveTo>
                  <a:lnTo>
                    <a:pt x="4" y="2"/>
                  </a:lnTo>
                  <a:lnTo>
                    <a:pt x="8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" name="Line 1336"/>
            <p:cNvSpPr>
              <a:spLocks noChangeShapeType="1"/>
            </p:cNvSpPr>
            <p:nvPr/>
          </p:nvSpPr>
          <p:spPr bwMode="auto">
            <a:xfrm>
              <a:off x="2625088" y="4014340"/>
              <a:ext cx="5193" cy="26533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1" name="Line 1337"/>
            <p:cNvSpPr>
              <a:spLocks noChangeShapeType="1"/>
            </p:cNvSpPr>
            <p:nvPr/>
          </p:nvSpPr>
          <p:spPr bwMode="auto">
            <a:xfrm>
              <a:off x="2625088" y="4062100"/>
              <a:ext cx="10385" cy="5307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2" name="Freeform 1338"/>
            <p:cNvSpPr>
              <a:spLocks/>
            </p:cNvSpPr>
            <p:nvPr/>
          </p:nvSpPr>
          <p:spPr bwMode="auto">
            <a:xfrm>
              <a:off x="2235636" y="3727779"/>
              <a:ext cx="20771" cy="4776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0" y="5"/>
                </a:cxn>
                <a:cxn ang="0">
                  <a:pos x="4" y="9"/>
                </a:cxn>
                <a:cxn ang="0">
                  <a:pos x="4" y="5"/>
                </a:cxn>
                <a:cxn ang="0">
                  <a:pos x="4" y="2"/>
                </a:cxn>
                <a:cxn ang="0">
                  <a:pos x="4" y="0"/>
                </a:cxn>
              </a:cxnLst>
              <a:rect l="0" t="0" r="r" b="b"/>
              <a:pathLst>
                <a:path w="4" h="9">
                  <a:moveTo>
                    <a:pt x="4" y="0"/>
                  </a:moveTo>
                  <a:lnTo>
                    <a:pt x="0" y="5"/>
                  </a:lnTo>
                  <a:lnTo>
                    <a:pt x="4" y="9"/>
                  </a:lnTo>
                  <a:lnTo>
                    <a:pt x="4" y="5"/>
                  </a:lnTo>
                  <a:lnTo>
                    <a:pt x="4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3" name="Freeform 1339"/>
            <p:cNvSpPr>
              <a:spLocks/>
            </p:cNvSpPr>
            <p:nvPr/>
          </p:nvSpPr>
          <p:spPr bwMode="auto">
            <a:xfrm>
              <a:off x="2344684" y="3849833"/>
              <a:ext cx="10385" cy="1061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0" y="2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4" name="Line 1340"/>
            <p:cNvSpPr>
              <a:spLocks noChangeShapeType="1"/>
            </p:cNvSpPr>
            <p:nvPr/>
          </p:nvSpPr>
          <p:spPr bwMode="auto">
            <a:xfrm>
              <a:off x="2235636" y="3690632"/>
              <a:ext cx="31156" cy="26533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5" name="Line 1341"/>
            <p:cNvSpPr>
              <a:spLocks noChangeShapeType="1"/>
            </p:cNvSpPr>
            <p:nvPr/>
          </p:nvSpPr>
          <p:spPr bwMode="auto">
            <a:xfrm>
              <a:off x="2266793" y="3690632"/>
              <a:ext cx="20771" cy="26533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6" name="Line 1342"/>
            <p:cNvSpPr>
              <a:spLocks noChangeShapeType="1"/>
            </p:cNvSpPr>
            <p:nvPr/>
          </p:nvSpPr>
          <p:spPr bwMode="auto">
            <a:xfrm>
              <a:off x="2287564" y="3717166"/>
              <a:ext cx="5193" cy="10613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7" name="Line 1343"/>
            <p:cNvSpPr>
              <a:spLocks noChangeShapeType="1"/>
            </p:cNvSpPr>
            <p:nvPr/>
          </p:nvSpPr>
          <p:spPr bwMode="auto">
            <a:xfrm>
              <a:off x="2287564" y="3738392"/>
              <a:ext cx="10385" cy="5307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8" name="Line 1344"/>
            <p:cNvSpPr>
              <a:spLocks noChangeShapeType="1"/>
            </p:cNvSpPr>
            <p:nvPr/>
          </p:nvSpPr>
          <p:spPr bwMode="auto">
            <a:xfrm>
              <a:off x="2297949" y="3738392"/>
              <a:ext cx="5193" cy="26533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9" name="Line 1345"/>
            <p:cNvSpPr>
              <a:spLocks noChangeShapeType="1"/>
            </p:cNvSpPr>
            <p:nvPr/>
          </p:nvSpPr>
          <p:spPr bwMode="auto">
            <a:xfrm>
              <a:off x="2313527" y="3764926"/>
              <a:ext cx="5193" cy="10613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0" name="Line 1346"/>
            <p:cNvSpPr>
              <a:spLocks noChangeShapeType="1"/>
            </p:cNvSpPr>
            <p:nvPr/>
          </p:nvSpPr>
          <p:spPr bwMode="auto">
            <a:xfrm>
              <a:off x="2313527" y="3786153"/>
              <a:ext cx="20771" cy="37147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1" name="Line 1347"/>
            <p:cNvSpPr>
              <a:spLocks noChangeShapeType="1"/>
            </p:cNvSpPr>
            <p:nvPr/>
          </p:nvSpPr>
          <p:spPr bwMode="auto">
            <a:xfrm>
              <a:off x="2334297" y="3823299"/>
              <a:ext cx="10385" cy="5307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2" name="Line 1348"/>
            <p:cNvSpPr>
              <a:spLocks noChangeShapeType="1"/>
            </p:cNvSpPr>
            <p:nvPr/>
          </p:nvSpPr>
          <p:spPr bwMode="auto">
            <a:xfrm flipH="1">
              <a:off x="2334297" y="3823299"/>
              <a:ext cx="10385" cy="10613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3" name="Line 1349"/>
            <p:cNvSpPr>
              <a:spLocks noChangeShapeType="1"/>
            </p:cNvSpPr>
            <p:nvPr/>
          </p:nvSpPr>
          <p:spPr bwMode="auto">
            <a:xfrm>
              <a:off x="2355069" y="3823299"/>
              <a:ext cx="20771" cy="10613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4" name="Line 1350"/>
            <p:cNvSpPr>
              <a:spLocks noChangeShapeType="1"/>
            </p:cNvSpPr>
            <p:nvPr/>
          </p:nvSpPr>
          <p:spPr bwMode="auto">
            <a:xfrm flipV="1">
              <a:off x="2375840" y="3833913"/>
              <a:ext cx="10385" cy="26533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5" name="Line 1351"/>
            <p:cNvSpPr>
              <a:spLocks noChangeShapeType="1"/>
            </p:cNvSpPr>
            <p:nvPr/>
          </p:nvSpPr>
          <p:spPr bwMode="auto">
            <a:xfrm>
              <a:off x="2386224" y="3833913"/>
              <a:ext cx="10385" cy="26533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6" name="Line 1352"/>
            <p:cNvSpPr>
              <a:spLocks noChangeShapeType="1"/>
            </p:cNvSpPr>
            <p:nvPr/>
          </p:nvSpPr>
          <p:spPr bwMode="auto">
            <a:xfrm>
              <a:off x="2168132" y="3764926"/>
              <a:ext cx="10385" cy="5307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7" name="Freeform 1353"/>
            <p:cNvSpPr>
              <a:spLocks/>
            </p:cNvSpPr>
            <p:nvPr/>
          </p:nvSpPr>
          <p:spPr bwMode="auto">
            <a:xfrm>
              <a:off x="2464115" y="3260792"/>
              <a:ext cx="51927" cy="1061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0" y="0"/>
                </a:cxn>
                <a:cxn ang="0">
                  <a:pos x="8" y="0"/>
                </a:cxn>
                <a:cxn ang="0">
                  <a:pos x="4" y="2"/>
                </a:cxn>
                <a:cxn ang="0">
                  <a:pos x="0" y="2"/>
                </a:cxn>
              </a:cxnLst>
              <a:rect l="0" t="0" r="r" b="b"/>
              <a:pathLst>
                <a:path w="10" h="2">
                  <a:moveTo>
                    <a:pt x="0" y="2"/>
                  </a:moveTo>
                  <a:lnTo>
                    <a:pt x="10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8" name="Freeform 1354"/>
            <p:cNvSpPr>
              <a:spLocks/>
            </p:cNvSpPr>
            <p:nvPr/>
          </p:nvSpPr>
          <p:spPr bwMode="auto">
            <a:xfrm>
              <a:off x="2765290" y="2984845"/>
              <a:ext cx="67504" cy="1592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3"/>
                </a:cxn>
                <a:cxn ang="0">
                  <a:pos x="13" y="3"/>
                </a:cxn>
                <a:cxn ang="0">
                  <a:pos x="6" y="0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13" h="3">
                  <a:moveTo>
                    <a:pt x="0" y="0"/>
                  </a:moveTo>
                  <a:lnTo>
                    <a:pt x="6" y="3"/>
                  </a:lnTo>
                  <a:lnTo>
                    <a:pt x="13" y="3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9" name="Freeform 1355"/>
            <p:cNvSpPr>
              <a:spLocks/>
            </p:cNvSpPr>
            <p:nvPr/>
          </p:nvSpPr>
          <p:spPr bwMode="auto">
            <a:xfrm>
              <a:off x="2744519" y="3069752"/>
              <a:ext cx="41542" cy="2653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4" y="5"/>
                </a:cxn>
                <a:cxn ang="0">
                  <a:pos x="8" y="2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0" y="2"/>
                </a:cxn>
              </a:cxnLst>
              <a:rect l="0" t="0" r="r" b="b"/>
              <a:pathLst>
                <a:path w="8" h="5">
                  <a:moveTo>
                    <a:pt x="0" y="2"/>
                  </a:moveTo>
                  <a:lnTo>
                    <a:pt x="4" y="5"/>
                  </a:lnTo>
                  <a:lnTo>
                    <a:pt x="8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0" name="Freeform 1356"/>
            <p:cNvSpPr>
              <a:spLocks/>
            </p:cNvSpPr>
            <p:nvPr/>
          </p:nvSpPr>
          <p:spPr bwMode="auto">
            <a:xfrm>
              <a:off x="2562776" y="2618684"/>
              <a:ext cx="41542" cy="1061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8" y="0"/>
                </a:cxn>
                <a:cxn ang="0">
                  <a:pos x="4" y="0"/>
                </a:cxn>
                <a:cxn ang="0">
                  <a:pos x="2" y="2"/>
                </a:cxn>
                <a:cxn ang="0">
                  <a:pos x="0" y="2"/>
                </a:cxn>
              </a:cxnLst>
              <a:rect l="0" t="0" r="r" b="b"/>
              <a:pathLst>
                <a:path w="8" h="2">
                  <a:moveTo>
                    <a:pt x="0" y="2"/>
                  </a:moveTo>
                  <a:lnTo>
                    <a:pt x="8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1" name="Freeform 1357"/>
            <p:cNvSpPr>
              <a:spLocks/>
            </p:cNvSpPr>
            <p:nvPr/>
          </p:nvSpPr>
          <p:spPr bwMode="auto">
            <a:xfrm>
              <a:off x="2625088" y="2629298"/>
              <a:ext cx="20771" cy="10613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2"/>
                </a:cxn>
                <a:cxn ang="0">
                  <a:pos x="4" y="0"/>
                </a:cxn>
                <a:cxn ang="0">
                  <a:pos x="2" y="0"/>
                </a:cxn>
              </a:cxnLst>
              <a:rect l="0" t="0" r="r" b="b"/>
              <a:pathLst>
                <a:path w="4" h="2">
                  <a:moveTo>
                    <a:pt x="2" y="0"/>
                  </a:moveTo>
                  <a:lnTo>
                    <a:pt x="0" y="2"/>
                  </a:lnTo>
                  <a:lnTo>
                    <a:pt x="4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2" name="Freeform 1358"/>
            <p:cNvSpPr>
              <a:spLocks/>
            </p:cNvSpPr>
            <p:nvPr/>
          </p:nvSpPr>
          <p:spPr bwMode="auto">
            <a:xfrm>
              <a:off x="2853567" y="2937085"/>
              <a:ext cx="150588" cy="143280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0" y="21"/>
                </a:cxn>
                <a:cxn ang="0">
                  <a:pos x="19" y="21"/>
                </a:cxn>
                <a:cxn ang="0">
                  <a:pos x="14" y="25"/>
                </a:cxn>
                <a:cxn ang="0">
                  <a:pos x="19" y="25"/>
                </a:cxn>
                <a:cxn ang="0">
                  <a:pos x="21" y="21"/>
                </a:cxn>
                <a:cxn ang="0">
                  <a:pos x="23" y="21"/>
                </a:cxn>
                <a:cxn ang="0">
                  <a:pos x="21" y="25"/>
                </a:cxn>
                <a:cxn ang="0">
                  <a:pos x="23" y="25"/>
                </a:cxn>
                <a:cxn ang="0">
                  <a:pos x="23" y="27"/>
                </a:cxn>
                <a:cxn ang="0">
                  <a:pos x="27" y="27"/>
                </a:cxn>
                <a:cxn ang="0">
                  <a:pos x="29" y="21"/>
                </a:cxn>
                <a:cxn ang="0">
                  <a:pos x="27" y="21"/>
                </a:cxn>
                <a:cxn ang="0">
                  <a:pos x="29" y="18"/>
                </a:cxn>
                <a:cxn ang="0">
                  <a:pos x="23" y="21"/>
                </a:cxn>
                <a:cxn ang="0">
                  <a:pos x="29" y="16"/>
                </a:cxn>
                <a:cxn ang="0">
                  <a:pos x="27" y="16"/>
                </a:cxn>
                <a:cxn ang="0">
                  <a:pos x="29" y="12"/>
                </a:cxn>
                <a:cxn ang="0">
                  <a:pos x="21" y="12"/>
                </a:cxn>
                <a:cxn ang="0">
                  <a:pos x="21" y="9"/>
                </a:cxn>
                <a:cxn ang="0">
                  <a:pos x="21" y="7"/>
                </a:cxn>
                <a:cxn ang="0">
                  <a:pos x="14" y="9"/>
                </a:cxn>
                <a:cxn ang="0">
                  <a:pos x="23" y="0"/>
                </a:cxn>
                <a:cxn ang="0">
                  <a:pos x="21" y="0"/>
                </a:cxn>
                <a:cxn ang="0">
                  <a:pos x="6" y="16"/>
                </a:cxn>
                <a:cxn ang="0">
                  <a:pos x="2" y="18"/>
                </a:cxn>
                <a:cxn ang="0">
                  <a:pos x="0" y="18"/>
                </a:cxn>
              </a:cxnLst>
              <a:rect l="0" t="0" r="r" b="b"/>
              <a:pathLst>
                <a:path w="29" h="27">
                  <a:moveTo>
                    <a:pt x="0" y="18"/>
                  </a:moveTo>
                  <a:lnTo>
                    <a:pt x="0" y="21"/>
                  </a:lnTo>
                  <a:lnTo>
                    <a:pt x="19" y="21"/>
                  </a:lnTo>
                  <a:lnTo>
                    <a:pt x="14" y="25"/>
                  </a:lnTo>
                  <a:lnTo>
                    <a:pt x="19" y="25"/>
                  </a:lnTo>
                  <a:lnTo>
                    <a:pt x="21" y="21"/>
                  </a:lnTo>
                  <a:lnTo>
                    <a:pt x="23" y="21"/>
                  </a:lnTo>
                  <a:lnTo>
                    <a:pt x="21" y="25"/>
                  </a:lnTo>
                  <a:lnTo>
                    <a:pt x="23" y="25"/>
                  </a:lnTo>
                  <a:lnTo>
                    <a:pt x="23" y="27"/>
                  </a:lnTo>
                  <a:lnTo>
                    <a:pt x="27" y="27"/>
                  </a:lnTo>
                  <a:lnTo>
                    <a:pt x="29" y="21"/>
                  </a:lnTo>
                  <a:lnTo>
                    <a:pt x="27" y="21"/>
                  </a:lnTo>
                  <a:lnTo>
                    <a:pt x="29" y="18"/>
                  </a:lnTo>
                  <a:lnTo>
                    <a:pt x="23" y="21"/>
                  </a:lnTo>
                  <a:lnTo>
                    <a:pt x="29" y="16"/>
                  </a:lnTo>
                  <a:lnTo>
                    <a:pt x="27" y="16"/>
                  </a:lnTo>
                  <a:lnTo>
                    <a:pt x="29" y="12"/>
                  </a:lnTo>
                  <a:lnTo>
                    <a:pt x="21" y="12"/>
                  </a:lnTo>
                  <a:lnTo>
                    <a:pt x="21" y="9"/>
                  </a:lnTo>
                  <a:lnTo>
                    <a:pt x="21" y="7"/>
                  </a:lnTo>
                  <a:lnTo>
                    <a:pt x="14" y="9"/>
                  </a:lnTo>
                  <a:lnTo>
                    <a:pt x="23" y="0"/>
                  </a:lnTo>
                  <a:lnTo>
                    <a:pt x="21" y="0"/>
                  </a:lnTo>
                  <a:lnTo>
                    <a:pt x="6" y="16"/>
                  </a:lnTo>
                  <a:lnTo>
                    <a:pt x="2" y="18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3" name="Freeform 1359"/>
            <p:cNvSpPr>
              <a:spLocks/>
            </p:cNvSpPr>
            <p:nvPr/>
          </p:nvSpPr>
          <p:spPr bwMode="auto">
            <a:xfrm>
              <a:off x="2516043" y="2523164"/>
              <a:ext cx="150588" cy="68987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6" y="11"/>
                </a:cxn>
                <a:cxn ang="0">
                  <a:pos x="6" y="13"/>
                </a:cxn>
                <a:cxn ang="0">
                  <a:pos x="15" y="11"/>
                </a:cxn>
                <a:cxn ang="0">
                  <a:pos x="17" y="11"/>
                </a:cxn>
                <a:cxn ang="0">
                  <a:pos x="23" y="13"/>
                </a:cxn>
                <a:cxn ang="0">
                  <a:pos x="29" y="11"/>
                </a:cxn>
                <a:cxn ang="0">
                  <a:pos x="17" y="2"/>
                </a:cxn>
                <a:cxn ang="0">
                  <a:pos x="17" y="0"/>
                </a:cxn>
                <a:cxn ang="0">
                  <a:pos x="13" y="4"/>
                </a:cxn>
                <a:cxn ang="0">
                  <a:pos x="6" y="11"/>
                </a:cxn>
                <a:cxn ang="0">
                  <a:pos x="2" y="11"/>
                </a:cxn>
                <a:cxn ang="0">
                  <a:pos x="0" y="11"/>
                </a:cxn>
              </a:cxnLst>
              <a:rect l="0" t="0" r="r" b="b"/>
              <a:pathLst>
                <a:path w="29" h="13">
                  <a:moveTo>
                    <a:pt x="0" y="11"/>
                  </a:moveTo>
                  <a:lnTo>
                    <a:pt x="6" y="11"/>
                  </a:lnTo>
                  <a:lnTo>
                    <a:pt x="6" y="13"/>
                  </a:lnTo>
                  <a:lnTo>
                    <a:pt x="15" y="11"/>
                  </a:lnTo>
                  <a:lnTo>
                    <a:pt x="17" y="11"/>
                  </a:lnTo>
                  <a:lnTo>
                    <a:pt x="23" y="13"/>
                  </a:lnTo>
                  <a:lnTo>
                    <a:pt x="29" y="11"/>
                  </a:lnTo>
                  <a:lnTo>
                    <a:pt x="17" y="2"/>
                  </a:lnTo>
                  <a:lnTo>
                    <a:pt x="17" y="0"/>
                  </a:lnTo>
                  <a:lnTo>
                    <a:pt x="13" y="4"/>
                  </a:lnTo>
                  <a:lnTo>
                    <a:pt x="6" y="11"/>
                  </a:lnTo>
                  <a:lnTo>
                    <a:pt x="2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4" name="Freeform 1360"/>
            <p:cNvSpPr>
              <a:spLocks/>
            </p:cNvSpPr>
            <p:nvPr/>
          </p:nvSpPr>
          <p:spPr bwMode="auto">
            <a:xfrm>
              <a:off x="2786061" y="2475404"/>
              <a:ext cx="46734" cy="21227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9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0" y="2"/>
                </a:cxn>
              </a:cxnLst>
              <a:rect l="0" t="0" r="r" b="b"/>
              <a:pathLst>
                <a:path w="9" h="4">
                  <a:moveTo>
                    <a:pt x="0" y="2"/>
                  </a:moveTo>
                  <a:lnTo>
                    <a:pt x="0" y="4"/>
                  </a:lnTo>
                  <a:lnTo>
                    <a:pt x="2" y="4"/>
                  </a:ln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5" name="Freeform 1361"/>
            <p:cNvSpPr>
              <a:spLocks/>
            </p:cNvSpPr>
            <p:nvPr/>
          </p:nvSpPr>
          <p:spPr bwMode="auto">
            <a:xfrm>
              <a:off x="2635474" y="2316204"/>
              <a:ext cx="410222" cy="313094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2" y="16"/>
                </a:cxn>
                <a:cxn ang="0">
                  <a:pos x="8" y="18"/>
                </a:cxn>
                <a:cxn ang="0">
                  <a:pos x="23" y="18"/>
                </a:cxn>
                <a:cxn ang="0">
                  <a:pos x="25" y="23"/>
                </a:cxn>
                <a:cxn ang="0">
                  <a:pos x="34" y="18"/>
                </a:cxn>
                <a:cxn ang="0">
                  <a:pos x="40" y="23"/>
                </a:cxn>
                <a:cxn ang="0">
                  <a:pos x="34" y="25"/>
                </a:cxn>
                <a:cxn ang="0">
                  <a:pos x="40" y="25"/>
                </a:cxn>
                <a:cxn ang="0">
                  <a:pos x="42" y="25"/>
                </a:cxn>
                <a:cxn ang="0">
                  <a:pos x="46" y="30"/>
                </a:cxn>
                <a:cxn ang="0">
                  <a:pos x="46" y="34"/>
                </a:cxn>
                <a:cxn ang="0">
                  <a:pos x="31" y="39"/>
                </a:cxn>
                <a:cxn ang="0">
                  <a:pos x="34" y="41"/>
                </a:cxn>
                <a:cxn ang="0">
                  <a:pos x="29" y="43"/>
                </a:cxn>
                <a:cxn ang="0">
                  <a:pos x="21" y="41"/>
                </a:cxn>
                <a:cxn ang="0">
                  <a:pos x="15" y="48"/>
                </a:cxn>
                <a:cxn ang="0">
                  <a:pos x="23" y="48"/>
                </a:cxn>
                <a:cxn ang="0">
                  <a:pos x="31" y="50"/>
                </a:cxn>
                <a:cxn ang="0">
                  <a:pos x="34" y="50"/>
                </a:cxn>
                <a:cxn ang="0">
                  <a:pos x="34" y="57"/>
                </a:cxn>
                <a:cxn ang="0">
                  <a:pos x="42" y="59"/>
                </a:cxn>
                <a:cxn ang="0">
                  <a:pos x="52" y="59"/>
                </a:cxn>
                <a:cxn ang="0">
                  <a:pos x="46" y="52"/>
                </a:cxn>
                <a:cxn ang="0">
                  <a:pos x="46" y="50"/>
                </a:cxn>
                <a:cxn ang="0">
                  <a:pos x="54" y="57"/>
                </a:cxn>
                <a:cxn ang="0">
                  <a:pos x="61" y="57"/>
                </a:cxn>
                <a:cxn ang="0">
                  <a:pos x="63" y="52"/>
                </a:cxn>
                <a:cxn ang="0">
                  <a:pos x="61" y="50"/>
                </a:cxn>
                <a:cxn ang="0">
                  <a:pos x="63" y="48"/>
                </a:cxn>
                <a:cxn ang="0">
                  <a:pos x="56" y="41"/>
                </a:cxn>
                <a:cxn ang="0">
                  <a:pos x="61" y="39"/>
                </a:cxn>
                <a:cxn ang="0">
                  <a:pos x="65" y="41"/>
                </a:cxn>
                <a:cxn ang="0">
                  <a:pos x="65" y="43"/>
                </a:cxn>
                <a:cxn ang="0">
                  <a:pos x="69" y="43"/>
                </a:cxn>
                <a:cxn ang="0">
                  <a:pos x="79" y="34"/>
                </a:cxn>
                <a:cxn ang="0">
                  <a:pos x="71" y="30"/>
                </a:cxn>
                <a:cxn ang="0">
                  <a:pos x="65" y="30"/>
                </a:cxn>
                <a:cxn ang="0">
                  <a:pos x="63" y="25"/>
                </a:cxn>
                <a:cxn ang="0">
                  <a:pos x="65" y="25"/>
                </a:cxn>
                <a:cxn ang="0">
                  <a:pos x="71" y="23"/>
                </a:cxn>
                <a:cxn ang="0">
                  <a:pos x="71" y="18"/>
                </a:cxn>
                <a:cxn ang="0">
                  <a:pos x="63" y="14"/>
                </a:cxn>
                <a:cxn ang="0">
                  <a:pos x="54" y="9"/>
                </a:cxn>
                <a:cxn ang="0">
                  <a:pos x="56" y="7"/>
                </a:cxn>
                <a:cxn ang="0">
                  <a:pos x="46" y="7"/>
                </a:cxn>
                <a:cxn ang="0">
                  <a:pos x="31" y="9"/>
                </a:cxn>
                <a:cxn ang="0">
                  <a:pos x="38" y="5"/>
                </a:cxn>
                <a:cxn ang="0">
                  <a:pos x="31" y="0"/>
                </a:cxn>
                <a:cxn ang="0">
                  <a:pos x="29" y="0"/>
                </a:cxn>
                <a:cxn ang="0">
                  <a:pos x="21" y="0"/>
                </a:cxn>
                <a:cxn ang="0">
                  <a:pos x="8" y="5"/>
                </a:cxn>
                <a:cxn ang="0">
                  <a:pos x="4" y="7"/>
                </a:cxn>
                <a:cxn ang="0">
                  <a:pos x="0" y="7"/>
                </a:cxn>
                <a:cxn ang="0">
                  <a:pos x="0" y="9"/>
                </a:cxn>
              </a:cxnLst>
              <a:rect l="0" t="0" r="r" b="b"/>
              <a:pathLst>
                <a:path w="79" h="59">
                  <a:moveTo>
                    <a:pt x="0" y="9"/>
                  </a:moveTo>
                  <a:lnTo>
                    <a:pt x="2" y="16"/>
                  </a:lnTo>
                  <a:lnTo>
                    <a:pt x="8" y="18"/>
                  </a:lnTo>
                  <a:lnTo>
                    <a:pt x="23" y="18"/>
                  </a:lnTo>
                  <a:lnTo>
                    <a:pt x="25" y="23"/>
                  </a:lnTo>
                  <a:lnTo>
                    <a:pt x="34" y="18"/>
                  </a:lnTo>
                  <a:lnTo>
                    <a:pt x="40" y="23"/>
                  </a:lnTo>
                  <a:lnTo>
                    <a:pt x="34" y="25"/>
                  </a:lnTo>
                  <a:lnTo>
                    <a:pt x="40" y="25"/>
                  </a:lnTo>
                  <a:lnTo>
                    <a:pt x="42" y="25"/>
                  </a:lnTo>
                  <a:lnTo>
                    <a:pt x="46" y="30"/>
                  </a:lnTo>
                  <a:lnTo>
                    <a:pt x="46" y="34"/>
                  </a:lnTo>
                  <a:lnTo>
                    <a:pt x="31" y="39"/>
                  </a:lnTo>
                  <a:lnTo>
                    <a:pt x="34" y="41"/>
                  </a:lnTo>
                  <a:lnTo>
                    <a:pt x="29" y="43"/>
                  </a:lnTo>
                  <a:lnTo>
                    <a:pt x="21" y="41"/>
                  </a:lnTo>
                  <a:lnTo>
                    <a:pt x="15" y="48"/>
                  </a:lnTo>
                  <a:lnTo>
                    <a:pt x="23" y="48"/>
                  </a:lnTo>
                  <a:lnTo>
                    <a:pt x="31" y="50"/>
                  </a:lnTo>
                  <a:lnTo>
                    <a:pt x="34" y="50"/>
                  </a:lnTo>
                  <a:lnTo>
                    <a:pt x="34" y="57"/>
                  </a:lnTo>
                  <a:lnTo>
                    <a:pt x="42" y="59"/>
                  </a:lnTo>
                  <a:lnTo>
                    <a:pt x="52" y="59"/>
                  </a:lnTo>
                  <a:lnTo>
                    <a:pt x="46" y="52"/>
                  </a:lnTo>
                  <a:lnTo>
                    <a:pt x="46" y="50"/>
                  </a:lnTo>
                  <a:lnTo>
                    <a:pt x="54" y="57"/>
                  </a:lnTo>
                  <a:lnTo>
                    <a:pt x="61" y="57"/>
                  </a:lnTo>
                  <a:lnTo>
                    <a:pt x="63" y="52"/>
                  </a:lnTo>
                  <a:lnTo>
                    <a:pt x="61" y="50"/>
                  </a:lnTo>
                  <a:lnTo>
                    <a:pt x="63" y="48"/>
                  </a:lnTo>
                  <a:lnTo>
                    <a:pt x="56" y="41"/>
                  </a:lnTo>
                  <a:lnTo>
                    <a:pt x="61" y="39"/>
                  </a:lnTo>
                  <a:lnTo>
                    <a:pt x="65" y="41"/>
                  </a:lnTo>
                  <a:lnTo>
                    <a:pt x="65" y="43"/>
                  </a:lnTo>
                  <a:lnTo>
                    <a:pt x="69" y="43"/>
                  </a:lnTo>
                  <a:lnTo>
                    <a:pt x="79" y="34"/>
                  </a:lnTo>
                  <a:lnTo>
                    <a:pt x="71" y="30"/>
                  </a:lnTo>
                  <a:lnTo>
                    <a:pt x="65" y="30"/>
                  </a:lnTo>
                  <a:lnTo>
                    <a:pt x="63" y="25"/>
                  </a:lnTo>
                  <a:lnTo>
                    <a:pt x="65" y="25"/>
                  </a:lnTo>
                  <a:lnTo>
                    <a:pt x="71" y="23"/>
                  </a:lnTo>
                  <a:lnTo>
                    <a:pt x="71" y="18"/>
                  </a:lnTo>
                  <a:lnTo>
                    <a:pt x="63" y="14"/>
                  </a:lnTo>
                  <a:lnTo>
                    <a:pt x="54" y="9"/>
                  </a:lnTo>
                  <a:lnTo>
                    <a:pt x="56" y="7"/>
                  </a:lnTo>
                  <a:lnTo>
                    <a:pt x="46" y="7"/>
                  </a:lnTo>
                  <a:lnTo>
                    <a:pt x="31" y="9"/>
                  </a:lnTo>
                  <a:lnTo>
                    <a:pt x="38" y="5"/>
                  </a:lnTo>
                  <a:lnTo>
                    <a:pt x="31" y="0"/>
                  </a:lnTo>
                  <a:lnTo>
                    <a:pt x="29" y="0"/>
                  </a:lnTo>
                  <a:lnTo>
                    <a:pt x="21" y="0"/>
                  </a:lnTo>
                  <a:lnTo>
                    <a:pt x="8" y="5"/>
                  </a:lnTo>
                  <a:lnTo>
                    <a:pt x="4" y="7"/>
                  </a:lnTo>
                  <a:lnTo>
                    <a:pt x="0" y="7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6" name="Freeform 1362"/>
            <p:cNvSpPr>
              <a:spLocks/>
            </p:cNvSpPr>
            <p:nvPr/>
          </p:nvSpPr>
          <p:spPr bwMode="auto">
            <a:xfrm>
              <a:off x="2832796" y="2316204"/>
              <a:ext cx="72698" cy="3714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5"/>
                </a:cxn>
                <a:cxn ang="0">
                  <a:pos x="2" y="7"/>
                </a:cxn>
                <a:cxn ang="0">
                  <a:pos x="10" y="7"/>
                </a:cxn>
                <a:cxn ang="0">
                  <a:pos x="14" y="5"/>
                </a:cxn>
                <a:cxn ang="0">
                  <a:pos x="8" y="3"/>
                </a:cxn>
                <a:cxn ang="0">
                  <a:pos x="2" y="0"/>
                </a:cxn>
              </a:cxnLst>
              <a:rect l="0" t="0" r="r" b="b"/>
              <a:pathLst>
                <a:path w="14" h="7">
                  <a:moveTo>
                    <a:pt x="2" y="0"/>
                  </a:moveTo>
                  <a:lnTo>
                    <a:pt x="0" y="5"/>
                  </a:lnTo>
                  <a:lnTo>
                    <a:pt x="2" y="7"/>
                  </a:lnTo>
                  <a:lnTo>
                    <a:pt x="10" y="7"/>
                  </a:lnTo>
                  <a:lnTo>
                    <a:pt x="14" y="5"/>
                  </a:lnTo>
                  <a:lnTo>
                    <a:pt x="8" y="3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7" name="Freeform 1363"/>
            <p:cNvSpPr>
              <a:spLocks/>
            </p:cNvSpPr>
            <p:nvPr/>
          </p:nvSpPr>
          <p:spPr bwMode="auto">
            <a:xfrm>
              <a:off x="2604318" y="2294977"/>
              <a:ext cx="41542" cy="10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2"/>
                </a:cxn>
                <a:cxn ang="0">
                  <a:pos x="8" y="0"/>
                </a:cxn>
                <a:cxn ang="0">
                  <a:pos x="6" y="0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8" h="2">
                  <a:moveTo>
                    <a:pt x="0" y="0"/>
                  </a:moveTo>
                  <a:lnTo>
                    <a:pt x="6" y="2"/>
                  </a:lnTo>
                  <a:lnTo>
                    <a:pt x="8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8" name="Freeform 1364"/>
            <p:cNvSpPr>
              <a:spLocks/>
            </p:cNvSpPr>
            <p:nvPr/>
          </p:nvSpPr>
          <p:spPr bwMode="auto">
            <a:xfrm>
              <a:off x="2645860" y="2257830"/>
              <a:ext cx="238863" cy="4776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0" y="0"/>
                </a:cxn>
                <a:cxn ang="0">
                  <a:pos x="4" y="2"/>
                </a:cxn>
                <a:cxn ang="0">
                  <a:pos x="13" y="2"/>
                </a:cxn>
                <a:cxn ang="0">
                  <a:pos x="6" y="9"/>
                </a:cxn>
                <a:cxn ang="0">
                  <a:pos x="11" y="9"/>
                </a:cxn>
                <a:cxn ang="0">
                  <a:pos x="27" y="9"/>
                </a:cxn>
                <a:cxn ang="0">
                  <a:pos x="32" y="9"/>
                </a:cxn>
                <a:cxn ang="0">
                  <a:pos x="36" y="9"/>
                </a:cxn>
                <a:cxn ang="0">
                  <a:pos x="40" y="9"/>
                </a:cxn>
                <a:cxn ang="0">
                  <a:pos x="46" y="7"/>
                </a:cxn>
                <a:cxn ang="0">
                  <a:pos x="21" y="2"/>
                </a:cxn>
                <a:cxn ang="0">
                  <a:pos x="19" y="2"/>
                </a:cxn>
                <a:cxn ang="0">
                  <a:pos x="19" y="0"/>
                </a:cxn>
                <a:cxn ang="0">
                  <a:pos x="11" y="0"/>
                </a:cxn>
                <a:cxn ang="0">
                  <a:pos x="4" y="0"/>
                </a:cxn>
              </a:cxnLst>
              <a:rect l="0" t="0" r="r" b="b"/>
              <a:pathLst>
                <a:path w="46" h="9">
                  <a:moveTo>
                    <a:pt x="4" y="0"/>
                  </a:moveTo>
                  <a:lnTo>
                    <a:pt x="0" y="0"/>
                  </a:lnTo>
                  <a:lnTo>
                    <a:pt x="4" y="2"/>
                  </a:lnTo>
                  <a:lnTo>
                    <a:pt x="13" y="2"/>
                  </a:lnTo>
                  <a:lnTo>
                    <a:pt x="6" y="9"/>
                  </a:lnTo>
                  <a:lnTo>
                    <a:pt x="11" y="9"/>
                  </a:lnTo>
                  <a:lnTo>
                    <a:pt x="27" y="9"/>
                  </a:lnTo>
                  <a:lnTo>
                    <a:pt x="32" y="9"/>
                  </a:lnTo>
                  <a:lnTo>
                    <a:pt x="36" y="9"/>
                  </a:lnTo>
                  <a:lnTo>
                    <a:pt x="40" y="9"/>
                  </a:lnTo>
                  <a:lnTo>
                    <a:pt x="46" y="7"/>
                  </a:lnTo>
                  <a:lnTo>
                    <a:pt x="21" y="2"/>
                  </a:lnTo>
                  <a:lnTo>
                    <a:pt x="19" y="2"/>
                  </a:lnTo>
                  <a:lnTo>
                    <a:pt x="19" y="0"/>
                  </a:lnTo>
                  <a:lnTo>
                    <a:pt x="11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9" name="Freeform 1365"/>
            <p:cNvSpPr>
              <a:spLocks/>
            </p:cNvSpPr>
            <p:nvPr/>
          </p:nvSpPr>
          <p:spPr bwMode="auto">
            <a:xfrm>
              <a:off x="2754906" y="2162310"/>
              <a:ext cx="129817" cy="58373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2" y="5"/>
                </a:cxn>
                <a:cxn ang="0">
                  <a:pos x="0" y="9"/>
                </a:cxn>
                <a:cxn ang="0">
                  <a:pos x="0" y="11"/>
                </a:cxn>
                <a:cxn ang="0">
                  <a:pos x="8" y="11"/>
                </a:cxn>
                <a:cxn ang="0">
                  <a:pos x="23" y="5"/>
                </a:cxn>
                <a:cxn ang="0">
                  <a:pos x="25" y="2"/>
                </a:cxn>
                <a:cxn ang="0">
                  <a:pos x="19" y="2"/>
                </a:cxn>
                <a:cxn ang="0">
                  <a:pos x="17" y="0"/>
                </a:cxn>
                <a:cxn ang="0">
                  <a:pos x="11" y="0"/>
                </a:cxn>
                <a:cxn ang="0">
                  <a:pos x="6" y="2"/>
                </a:cxn>
                <a:cxn ang="0">
                  <a:pos x="2" y="2"/>
                </a:cxn>
              </a:cxnLst>
              <a:rect l="0" t="0" r="r" b="b"/>
              <a:pathLst>
                <a:path w="25" h="11">
                  <a:moveTo>
                    <a:pt x="2" y="2"/>
                  </a:moveTo>
                  <a:lnTo>
                    <a:pt x="2" y="5"/>
                  </a:lnTo>
                  <a:lnTo>
                    <a:pt x="0" y="9"/>
                  </a:lnTo>
                  <a:lnTo>
                    <a:pt x="0" y="11"/>
                  </a:lnTo>
                  <a:lnTo>
                    <a:pt x="8" y="11"/>
                  </a:lnTo>
                  <a:lnTo>
                    <a:pt x="23" y="5"/>
                  </a:lnTo>
                  <a:lnTo>
                    <a:pt x="25" y="2"/>
                  </a:lnTo>
                  <a:lnTo>
                    <a:pt x="19" y="2"/>
                  </a:lnTo>
                  <a:lnTo>
                    <a:pt x="17" y="0"/>
                  </a:lnTo>
                  <a:lnTo>
                    <a:pt x="11" y="0"/>
                  </a:lnTo>
                  <a:lnTo>
                    <a:pt x="6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0" name="Freeform 1366"/>
            <p:cNvSpPr>
              <a:spLocks/>
            </p:cNvSpPr>
            <p:nvPr/>
          </p:nvSpPr>
          <p:spPr bwMode="auto">
            <a:xfrm>
              <a:off x="2754906" y="2125163"/>
              <a:ext cx="576387" cy="143280"/>
            </a:xfrm>
            <a:custGeom>
              <a:avLst/>
              <a:gdLst/>
              <a:ahLst/>
              <a:cxnLst>
                <a:cxn ang="0">
                  <a:pos x="23" y="7"/>
                </a:cxn>
                <a:cxn ang="0">
                  <a:pos x="25" y="9"/>
                </a:cxn>
                <a:cxn ang="0">
                  <a:pos x="31" y="9"/>
                </a:cxn>
                <a:cxn ang="0">
                  <a:pos x="25" y="12"/>
                </a:cxn>
                <a:cxn ang="0">
                  <a:pos x="29" y="12"/>
                </a:cxn>
                <a:cxn ang="0">
                  <a:pos x="29" y="16"/>
                </a:cxn>
                <a:cxn ang="0">
                  <a:pos x="11" y="18"/>
                </a:cxn>
                <a:cxn ang="0">
                  <a:pos x="2" y="25"/>
                </a:cxn>
                <a:cxn ang="0">
                  <a:pos x="0" y="25"/>
                </a:cxn>
                <a:cxn ang="0">
                  <a:pos x="25" y="25"/>
                </a:cxn>
                <a:cxn ang="0">
                  <a:pos x="25" y="27"/>
                </a:cxn>
                <a:cxn ang="0">
                  <a:pos x="40" y="25"/>
                </a:cxn>
                <a:cxn ang="0">
                  <a:pos x="38" y="23"/>
                </a:cxn>
                <a:cxn ang="0">
                  <a:pos x="42" y="23"/>
                </a:cxn>
                <a:cxn ang="0">
                  <a:pos x="42" y="18"/>
                </a:cxn>
                <a:cxn ang="0">
                  <a:pos x="50" y="18"/>
                </a:cxn>
                <a:cxn ang="0">
                  <a:pos x="63" y="12"/>
                </a:cxn>
                <a:cxn ang="0">
                  <a:pos x="111" y="3"/>
                </a:cxn>
                <a:cxn ang="0">
                  <a:pos x="88" y="0"/>
                </a:cxn>
                <a:cxn ang="0">
                  <a:pos x="67" y="0"/>
                </a:cxn>
                <a:cxn ang="0">
                  <a:pos x="44" y="5"/>
                </a:cxn>
                <a:cxn ang="0">
                  <a:pos x="23" y="7"/>
                </a:cxn>
              </a:cxnLst>
              <a:rect l="0" t="0" r="r" b="b"/>
              <a:pathLst>
                <a:path w="111" h="27">
                  <a:moveTo>
                    <a:pt x="23" y="7"/>
                  </a:moveTo>
                  <a:lnTo>
                    <a:pt x="25" y="9"/>
                  </a:lnTo>
                  <a:lnTo>
                    <a:pt x="31" y="9"/>
                  </a:lnTo>
                  <a:lnTo>
                    <a:pt x="25" y="12"/>
                  </a:lnTo>
                  <a:lnTo>
                    <a:pt x="29" y="12"/>
                  </a:lnTo>
                  <a:lnTo>
                    <a:pt x="29" y="16"/>
                  </a:lnTo>
                  <a:lnTo>
                    <a:pt x="11" y="18"/>
                  </a:lnTo>
                  <a:lnTo>
                    <a:pt x="2" y="25"/>
                  </a:lnTo>
                  <a:lnTo>
                    <a:pt x="0" y="25"/>
                  </a:lnTo>
                  <a:lnTo>
                    <a:pt x="25" y="25"/>
                  </a:lnTo>
                  <a:lnTo>
                    <a:pt x="25" y="27"/>
                  </a:lnTo>
                  <a:lnTo>
                    <a:pt x="40" y="25"/>
                  </a:lnTo>
                  <a:lnTo>
                    <a:pt x="38" y="23"/>
                  </a:lnTo>
                  <a:lnTo>
                    <a:pt x="42" y="23"/>
                  </a:lnTo>
                  <a:lnTo>
                    <a:pt x="42" y="18"/>
                  </a:lnTo>
                  <a:lnTo>
                    <a:pt x="50" y="18"/>
                  </a:lnTo>
                  <a:lnTo>
                    <a:pt x="63" y="12"/>
                  </a:lnTo>
                  <a:lnTo>
                    <a:pt x="111" y="3"/>
                  </a:lnTo>
                  <a:lnTo>
                    <a:pt x="88" y="0"/>
                  </a:lnTo>
                  <a:lnTo>
                    <a:pt x="67" y="0"/>
                  </a:lnTo>
                  <a:lnTo>
                    <a:pt x="44" y="5"/>
                  </a:lnTo>
                  <a:lnTo>
                    <a:pt x="23" y="7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1" name="Freeform 1367"/>
            <p:cNvSpPr>
              <a:spLocks/>
            </p:cNvSpPr>
            <p:nvPr/>
          </p:nvSpPr>
          <p:spPr bwMode="auto">
            <a:xfrm>
              <a:off x="2702979" y="2172923"/>
              <a:ext cx="10385" cy="1592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2" y="3"/>
                </a:cxn>
                <a:cxn ang="0">
                  <a:pos x="2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2" y="3"/>
                  </a:lnTo>
                  <a:lnTo>
                    <a:pt x="2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2" name="Freeform 1368"/>
            <p:cNvSpPr>
              <a:spLocks/>
            </p:cNvSpPr>
            <p:nvPr/>
          </p:nvSpPr>
          <p:spPr bwMode="auto">
            <a:xfrm>
              <a:off x="2562776" y="2210070"/>
              <a:ext cx="150588" cy="3714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0"/>
                </a:cxn>
                <a:cxn ang="0">
                  <a:pos x="0" y="0"/>
                </a:cxn>
                <a:cxn ang="0">
                  <a:pos x="4" y="2"/>
                </a:cxn>
                <a:cxn ang="0">
                  <a:pos x="12" y="2"/>
                </a:cxn>
                <a:cxn ang="0">
                  <a:pos x="12" y="7"/>
                </a:cxn>
                <a:cxn ang="0">
                  <a:pos x="29" y="2"/>
                </a:cxn>
                <a:cxn ang="0">
                  <a:pos x="22" y="0"/>
                </a:cxn>
                <a:cxn ang="0">
                  <a:pos x="16" y="2"/>
                </a:cxn>
                <a:cxn ang="0">
                  <a:pos x="14" y="2"/>
                </a:cxn>
                <a:cxn ang="0">
                  <a:pos x="16" y="0"/>
                </a:cxn>
                <a:cxn ang="0">
                  <a:pos x="14" y="0"/>
                </a:cxn>
                <a:cxn ang="0">
                  <a:pos x="6" y="0"/>
                </a:cxn>
                <a:cxn ang="0">
                  <a:pos x="0" y="0"/>
                </a:cxn>
              </a:cxnLst>
              <a:rect l="0" t="0" r="r" b="b"/>
              <a:pathLst>
                <a:path w="29" h="7">
                  <a:moveTo>
                    <a:pt x="0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4" y="2"/>
                  </a:lnTo>
                  <a:lnTo>
                    <a:pt x="12" y="2"/>
                  </a:lnTo>
                  <a:lnTo>
                    <a:pt x="12" y="7"/>
                  </a:lnTo>
                  <a:lnTo>
                    <a:pt x="29" y="2"/>
                  </a:lnTo>
                  <a:lnTo>
                    <a:pt x="22" y="0"/>
                  </a:lnTo>
                  <a:lnTo>
                    <a:pt x="16" y="2"/>
                  </a:lnTo>
                  <a:lnTo>
                    <a:pt x="14" y="2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3" name="Freeform 1369"/>
            <p:cNvSpPr>
              <a:spLocks/>
            </p:cNvSpPr>
            <p:nvPr/>
          </p:nvSpPr>
          <p:spPr bwMode="auto">
            <a:xfrm>
              <a:off x="2666630" y="2220683"/>
              <a:ext cx="77890" cy="26533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11" y="5"/>
                </a:cxn>
                <a:cxn ang="0">
                  <a:pos x="15" y="0"/>
                </a:cxn>
                <a:cxn ang="0">
                  <a:pos x="7" y="3"/>
                </a:cxn>
                <a:cxn ang="0">
                  <a:pos x="0" y="5"/>
                </a:cxn>
              </a:cxnLst>
              <a:rect l="0" t="0" r="r" b="b"/>
              <a:pathLst>
                <a:path w="15" h="5">
                  <a:moveTo>
                    <a:pt x="0" y="5"/>
                  </a:moveTo>
                  <a:lnTo>
                    <a:pt x="11" y="5"/>
                  </a:lnTo>
                  <a:lnTo>
                    <a:pt x="15" y="0"/>
                  </a:lnTo>
                  <a:lnTo>
                    <a:pt x="7" y="3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4" name="Freeform 1370"/>
            <p:cNvSpPr>
              <a:spLocks/>
            </p:cNvSpPr>
            <p:nvPr/>
          </p:nvSpPr>
          <p:spPr bwMode="auto">
            <a:xfrm>
              <a:off x="2516043" y="2247217"/>
              <a:ext cx="31156" cy="5307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4" y="0"/>
                </a:cxn>
              </a:cxnLst>
              <a:rect l="0" t="0" r="r" b="b"/>
              <a:pathLst>
                <a:path w="6">
                  <a:moveTo>
                    <a:pt x="4" y="0"/>
                  </a:moveTo>
                  <a:lnTo>
                    <a:pt x="0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5" name="Freeform 1371"/>
            <p:cNvSpPr>
              <a:spLocks/>
            </p:cNvSpPr>
            <p:nvPr/>
          </p:nvSpPr>
          <p:spPr bwMode="auto">
            <a:xfrm>
              <a:off x="2505657" y="2257830"/>
              <a:ext cx="119432" cy="3714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7"/>
                </a:cxn>
                <a:cxn ang="0">
                  <a:pos x="6" y="7"/>
                </a:cxn>
                <a:cxn ang="0">
                  <a:pos x="15" y="7"/>
                </a:cxn>
                <a:cxn ang="0">
                  <a:pos x="23" y="0"/>
                </a:cxn>
                <a:cxn ang="0">
                  <a:pos x="15" y="0"/>
                </a:cxn>
                <a:cxn ang="0">
                  <a:pos x="8" y="2"/>
                </a:cxn>
                <a:cxn ang="0">
                  <a:pos x="6" y="0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23" h="7">
                  <a:moveTo>
                    <a:pt x="0" y="0"/>
                  </a:moveTo>
                  <a:lnTo>
                    <a:pt x="0" y="7"/>
                  </a:lnTo>
                  <a:lnTo>
                    <a:pt x="6" y="7"/>
                  </a:lnTo>
                  <a:lnTo>
                    <a:pt x="15" y="7"/>
                  </a:lnTo>
                  <a:lnTo>
                    <a:pt x="23" y="0"/>
                  </a:lnTo>
                  <a:lnTo>
                    <a:pt x="15" y="0"/>
                  </a:lnTo>
                  <a:lnTo>
                    <a:pt x="8" y="2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6" name="Line 1372"/>
            <p:cNvSpPr>
              <a:spLocks noChangeShapeType="1"/>
            </p:cNvSpPr>
            <p:nvPr/>
          </p:nvSpPr>
          <p:spPr bwMode="auto">
            <a:xfrm>
              <a:off x="2474502" y="2305590"/>
              <a:ext cx="20771" cy="5307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7" name="Freeform 1373"/>
            <p:cNvSpPr>
              <a:spLocks/>
            </p:cNvSpPr>
            <p:nvPr/>
          </p:nvSpPr>
          <p:spPr bwMode="auto">
            <a:xfrm>
              <a:off x="2443344" y="2316204"/>
              <a:ext cx="119432" cy="74293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0" y="9"/>
                </a:cxn>
                <a:cxn ang="0">
                  <a:pos x="4" y="9"/>
                </a:cxn>
                <a:cxn ang="0">
                  <a:pos x="6" y="14"/>
                </a:cxn>
                <a:cxn ang="0">
                  <a:pos x="18" y="9"/>
                </a:cxn>
                <a:cxn ang="0">
                  <a:pos x="20" y="5"/>
                </a:cxn>
                <a:cxn ang="0">
                  <a:pos x="23" y="0"/>
                </a:cxn>
                <a:cxn ang="0">
                  <a:pos x="10" y="0"/>
                </a:cxn>
                <a:cxn ang="0">
                  <a:pos x="10" y="5"/>
                </a:cxn>
                <a:cxn ang="0">
                  <a:pos x="4" y="7"/>
                </a:cxn>
                <a:cxn ang="0">
                  <a:pos x="0" y="7"/>
                </a:cxn>
              </a:cxnLst>
              <a:rect l="0" t="0" r="r" b="b"/>
              <a:pathLst>
                <a:path w="23" h="14">
                  <a:moveTo>
                    <a:pt x="0" y="7"/>
                  </a:moveTo>
                  <a:lnTo>
                    <a:pt x="0" y="9"/>
                  </a:lnTo>
                  <a:lnTo>
                    <a:pt x="4" y="9"/>
                  </a:lnTo>
                  <a:lnTo>
                    <a:pt x="6" y="14"/>
                  </a:lnTo>
                  <a:lnTo>
                    <a:pt x="18" y="9"/>
                  </a:lnTo>
                  <a:lnTo>
                    <a:pt x="20" y="5"/>
                  </a:lnTo>
                  <a:lnTo>
                    <a:pt x="23" y="0"/>
                  </a:lnTo>
                  <a:lnTo>
                    <a:pt x="10" y="0"/>
                  </a:lnTo>
                  <a:lnTo>
                    <a:pt x="10" y="5"/>
                  </a:lnTo>
                  <a:lnTo>
                    <a:pt x="4" y="7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8" name="Line 1374"/>
            <p:cNvSpPr>
              <a:spLocks noChangeShapeType="1"/>
            </p:cNvSpPr>
            <p:nvPr/>
          </p:nvSpPr>
          <p:spPr bwMode="auto">
            <a:xfrm>
              <a:off x="2417382" y="2236604"/>
              <a:ext cx="88276" cy="5307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9" name="Freeform 1375"/>
            <p:cNvSpPr>
              <a:spLocks/>
            </p:cNvSpPr>
            <p:nvPr/>
          </p:nvSpPr>
          <p:spPr bwMode="auto">
            <a:xfrm>
              <a:off x="2386225" y="2220683"/>
              <a:ext cx="10385" cy="2653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5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2" h="5">
                  <a:moveTo>
                    <a:pt x="0" y="0"/>
                  </a:moveTo>
                  <a:lnTo>
                    <a:pt x="2" y="5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0" name="Freeform 1376"/>
            <p:cNvSpPr>
              <a:spLocks/>
            </p:cNvSpPr>
            <p:nvPr/>
          </p:nvSpPr>
          <p:spPr bwMode="auto">
            <a:xfrm>
              <a:off x="2396611" y="2220683"/>
              <a:ext cx="77890" cy="26533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4" y="5"/>
                </a:cxn>
                <a:cxn ang="0">
                  <a:pos x="15" y="0"/>
                </a:cxn>
                <a:cxn ang="0">
                  <a:pos x="6" y="3"/>
                </a:cxn>
                <a:cxn ang="0">
                  <a:pos x="0" y="5"/>
                </a:cxn>
              </a:cxnLst>
              <a:rect l="0" t="0" r="r" b="b"/>
              <a:pathLst>
                <a:path w="15" h="5">
                  <a:moveTo>
                    <a:pt x="0" y="5"/>
                  </a:moveTo>
                  <a:lnTo>
                    <a:pt x="4" y="5"/>
                  </a:lnTo>
                  <a:lnTo>
                    <a:pt x="15" y="0"/>
                  </a:lnTo>
                  <a:lnTo>
                    <a:pt x="6" y="3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1" name="Freeform 1377"/>
            <p:cNvSpPr>
              <a:spLocks/>
            </p:cNvSpPr>
            <p:nvPr/>
          </p:nvSpPr>
          <p:spPr bwMode="auto">
            <a:xfrm>
              <a:off x="2235637" y="2268444"/>
              <a:ext cx="51927" cy="26533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4" y="5"/>
                </a:cxn>
                <a:cxn ang="0">
                  <a:pos x="10" y="0"/>
                </a:cxn>
                <a:cxn ang="0">
                  <a:pos x="4" y="3"/>
                </a:cxn>
                <a:cxn ang="0">
                  <a:pos x="0" y="3"/>
                </a:cxn>
                <a:cxn ang="0">
                  <a:pos x="0" y="5"/>
                </a:cxn>
              </a:cxnLst>
              <a:rect l="0" t="0" r="r" b="b"/>
              <a:pathLst>
                <a:path w="10" h="5">
                  <a:moveTo>
                    <a:pt x="0" y="5"/>
                  </a:moveTo>
                  <a:lnTo>
                    <a:pt x="4" y="5"/>
                  </a:lnTo>
                  <a:lnTo>
                    <a:pt x="10" y="0"/>
                  </a:lnTo>
                  <a:lnTo>
                    <a:pt x="4" y="3"/>
                  </a:lnTo>
                  <a:lnTo>
                    <a:pt x="0" y="3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2" name="Freeform 1378"/>
            <p:cNvSpPr>
              <a:spLocks/>
            </p:cNvSpPr>
            <p:nvPr/>
          </p:nvSpPr>
          <p:spPr bwMode="auto">
            <a:xfrm>
              <a:off x="2194096" y="2247217"/>
              <a:ext cx="160974" cy="21227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8" y="4"/>
                </a:cxn>
                <a:cxn ang="0">
                  <a:pos x="18" y="2"/>
                </a:cxn>
                <a:cxn ang="0">
                  <a:pos x="20" y="4"/>
                </a:cxn>
                <a:cxn ang="0">
                  <a:pos x="31" y="0"/>
                </a:cxn>
                <a:cxn ang="0">
                  <a:pos x="20" y="0"/>
                </a:cxn>
                <a:cxn ang="0">
                  <a:pos x="10" y="2"/>
                </a:cxn>
                <a:cxn ang="0">
                  <a:pos x="2" y="2"/>
                </a:cxn>
                <a:cxn ang="0">
                  <a:pos x="0" y="4"/>
                </a:cxn>
              </a:cxnLst>
              <a:rect l="0" t="0" r="r" b="b"/>
              <a:pathLst>
                <a:path w="31" h="4">
                  <a:moveTo>
                    <a:pt x="0" y="4"/>
                  </a:moveTo>
                  <a:lnTo>
                    <a:pt x="8" y="4"/>
                  </a:lnTo>
                  <a:lnTo>
                    <a:pt x="18" y="2"/>
                  </a:lnTo>
                  <a:lnTo>
                    <a:pt x="20" y="4"/>
                  </a:lnTo>
                  <a:lnTo>
                    <a:pt x="31" y="0"/>
                  </a:lnTo>
                  <a:lnTo>
                    <a:pt x="20" y="0"/>
                  </a:lnTo>
                  <a:lnTo>
                    <a:pt x="10" y="2"/>
                  </a:lnTo>
                  <a:lnTo>
                    <a:pt x="2" y="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3" name="Freeform 1379"/>
            <p:cNvSpPr>
              <a:spLocks/>
            </p:cNvSpPr>
            <p:nvPr/>
          </p:nvSpPr>
          <p:spPr bwMode="auto">
            <a:xfrm>
              <a:off x="2256407" y="2257830"/>
              <a:ext cx="218092" cy="47760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8" y="7"/>
                </a:cxn>
                <a:cxn ang="0">
                  <a:pos x="11" y="7"/>
                </a:cxn>
                <a:cxn ang="0">
                  <a:pos x="15" y="9"/>
                </a:cxn>
                <a:cxn ang="0">
                  <a:pos x="36" y="7"/>
                </a:cxn>
                <a:cxn ang="0">
                  <a:pos x="42" y="2"/>
                </a:cxn>
                <a:cxn ang="0">
                  <a:pos x="36" y="2"/>
                </a:cxn>
                <a:cxn ang="0">
                  <a:pos x="36" y="0"/>
                </a:cxn>
                <a:cxn ang="0">
                  <a:pos x="27" y="2"/>
                </a:cxn>
                <a:cxn ang="0">
                  <a:pos x="31" y="2"/>
                </a:cxn>
                <a:cxn ang="0">
                  <a:pos x="27" y="2"/>
                </a:cxn>
                <a:cxn ang="0">
                  <a:pos x="27" y="7"/>
                </a:cxn>
                <a:cxn ang="0">
                  <a:pos x="23" y="7"/>
                </a:cxn>
                <a:cxn ang="0">
                  <a:pos x="23" y="2"/>
                </a:cxn>
                <a:cxn ang="0">
                  <a:pos x="15" y="0"/>
                </a:cxn>
                <a:cxn ang="0">
                  <a:pos x="6" y="5"/>
                </a:cxn>
                <a:cxn ang="0">
                  <a:pos x="0" y="7"/>
                </a:cxn>
              </a:cxnLst>
              <a:rect l="0" t="0" r="r" b="b"/>
              <a:pathLst>
                <a:path w="42" h="9">
                  <a:moveTo>
                    <a:pt x="0" y="7"/>
                  </a:moveTo>
                  <a:lnTo>
                    <a:pt x="8" y="7"/>
                  </a:lnTo>
                  <a:lnTo>
                    <a:pt x="11" y="7"/>
                  </a:lnTo>
                  <a:lnTo>
                    <a:pt x="15" y="9"/>
                  </a:lnTo>
                  <a:lnTo>
                    <a:pt x="36" y="7"/>
                  </a:lnTo>
                  <a:lnTo>
                    <a:pt x="42" y="2"/>
                  </a:lnTo>
                  <a:lnTo>
                    <a:pt x="36" y="2"/>
                  </a:lnTo>
                  <a:lnTo>
                    <a:pt x="36" y="0"/>
                  </a:lnTo>
                  <a:lnTo>
                    <a:pt x="27" y="2"/>
                  </a:lnTo>
                  <a:lnTo>
                    <a:pt x="31" y="2"/>
                  </a:lnTo>
                  <a:lnTo>
                    <a:pt x="27" y="2"/>
                  </a:lnTo>
                  <a:lnTo>
                    <a:pt x="27" y="7"/>
                  </a:lnTo>
                  <a:lnTo>
                    <a:pt x="23" y="7"/>
                  </a:lnTo>
                  <a:lnTo>
                    <a:pt x="23" y="2"/>
                  </a:lnTo>
                  <a:lnTo>
                    <a:pt x="15" y="0"/>
                  </a:lnTo>
                  <a:lnTo>
                    <a:pt x="6" y="5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4" name="Freeform 1380"/>
            <p:cNvSpPr>
              <a:spLocks/>
            </p:cNvSpPr>
            <p:nvPr/>
          </p:nvSpPr>
          <p:spPr bwMode="auto">
            <a:xfrm>
              <a:off x="2126591" y="2316204"/>
              <a:ext cx="301175" cy="132667"/>
            </a:xfrm>
            <a:custGeom>
              <a:avLst/>
              <a:gdLst/>
              <a:ahLst/>
              <a:cxnLst>
                <a:cxn ang="0">
                  <a:pos x="2" y="14"/>
                </a:cxn>
                <a:cxn ang="0">
                  <a:pos x="2" y="16"/>
                </a:cxn>
                <a:cxn ang="0">
                  <a:pos x="17" y="16"/>
                </a:cxn>
                <a:cxn ang="0">
                  <a:pos x="2" y="18"/>
                </a:cxn>
                <a:cxn ang="0">
                  <a:pos x="0" y="23"/>
                </a:cxn>
                <a:cxn ang="0">
                  <a:pos x="8" y="23"/>
                </a:cxn>
                <a:cxn ang="0">
                  <a:pos x="4" y="25"/>
                </a:cxn>
                <a:cxn ang="0">
                  <a:pos x="33" y="23"/>
                </a:cxn>
                <a:cxn ang="0">
                  <a:pos x="40" y="25"/>
                </a:cxn>
                <a:cxn ang="0">
                  <a:pos x="44" y="25"/>
                </a:cxn>
                <a:cxn ang="0">
                  <a:pos x="56" y="18"/>
                </a:cxn>
                <a:cxn ang="0">
                  <a:pos x="48" y="16"/>
                </a:cxn>
                <a:cxn ang="0">
                  <a:pos x="48" y="14"/>
                </a:cxn>
                <a:cxn ang="0">
                  <a:pos x="50" y="14"/>
                </a:cxn>
                <a:cxn ang="0">
                  <a:pos x="50" y="7"/>
                </a:cxn>
                <a:cxn ang="0">
                  <a:pos x="58" y="5"/>
                </a:cxn>
                <a:cxn ang="0">
                  <a:pos x="52" y="0"/>
                </a:cxn>
                <a:cxn ang="0">
                  <a:pos x="44" y="7"/>
                </a:cxn>
                <a:cxn ang="0">
                  <a:pos x="33" y="5"/>
                </a:cxn>
                <a:cxn ang="0">
                  <a:pos x="27" y="7"/>
                </a:cxn>
                <a:cxn ang="0">
                  <a:pos x="27" y="5"/>
                </a:cxn>
                <a:cxn ang="0">
                  <a:pos x="25" y="5"/>
                </a:cxn>
                <a:cxn ang="0">
                  <a:pos x="10" y="7"/>
                </a:cxn>
                <a:cxn ang="0">
                  <a:pos x="6" y="12"/>
                </a:cxn>
                <a:cxn ang="0">
                  <a:pos x="2" y="12"/>
                </a:cxn>
                <a:cxn ang="0">
                  <a:pos x="2" y="14"/>
                </a:cxn>
              </a:cxnLst>
              <a:rect l="0" t="0" r="r" b="b"/>
              <a:pathLst>
                <a:path w="58" h="25">
                  <a:moveTo>
                    <a:pt x="2" y="14"/>
                  </a:moveTo>
                  <a:lnTo>
                    <a:pt x="2" y="16"/>
                  </a:lnTo>
                  <a:lnTo>
                    <a:pt x="17" y="16"/>
                  </a:lnTo>
                  <a:lnTo>
                    <a:pt x="2" y="18"/>
                  </a:lnTo>
                  <a:lnTo>
                    <a:pt x="0" y="23"/>
                  </a:lnTo>
                  <a:lnTo>
                    <a:pt x="8" y="23"/>
                  </a:lnTo>
                  <a:lnTo>
                    <a:pt x="4" y="25"/>
                  </a:lnTo>
                  <a:lnTo>
                    <a:pt x="33" y="23"/>
                  </a:lnTo>
                  <a:lnTo>
                    <a:pt x="40" y="25"/>
                  </a:lnTo>
                  <a:lnTo>
                    <a:pt x="44" y="25"/>
                  </a:lnTo>
                  <a:lnTo>
                    <a:pt x="56" y="18"/>
                  </a:lnTo>
                  <a:lnTo>
                    <a:pt x="48" y="16"/>
                  </a:lnTo>
                  <a:lnTo>
                    <a:pt x="48" y="14"/>
                  </a:lnTo>
                  <a:lnTo>
                    <a:pt x="50" y="14"/>
                  </a:lnTo>
                  <a:lnTo>
                    <a:pt x="50" y="7"/>
                  </a:lnTo>
                  <a:lnTo>
                    <a:pt x="58" y="5"/>
                  </a:lnTo>
                  <a:lnTo>
                    <a:pt x="52" y="0"/>
                  </a:lnTo>
                  <a:lnTo>
                    <a:pt x="44" y="7"/>
                  </a:lnTo>
                  <a:lnTo>
                    <a:pt x="33" y="5"/>
                  </a:lnTo>
                  <a:lnTo>
                    <a:pt x="27" y="7"/>
                  </a:lnTo>
                  <a:lnTo>
                    <a:pt x="27" y="5"/>
                  </a:lnTo>
                  <a:lnTo>
                    <a:pt x="25" y="5"/>
                  </a:lnTo>
                  <a:lnTo>
                    <a:pt x="10" y="7"/>
                  </a:lnTo>
                  <a:lnTo>
                    <a:pt x="6" y="12"/>
                  </a:lnTo>
                  <a:lnTo>
                    <a:pt x="2" y="12"/>
                  </a:lnTo>
                  <a:lnTo>
                    <a:pt x="2" y="14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5" name="Freeform 1381"/>
            <p:cNvSpPr>
              <a:spLocks/>
            </p:cNvSpPr>
            <p:nvPr/>
          </p:nvSpPr>
          <p:spPr bwMode="auto">
            <a:xfrm>
              <a:off x="2027930" y="2305590"/>
              <a:ext cx="228479" cy="84907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4" y="11"/>
                </a:cxn>
                <a:cxn ang="0">
                  <a:pos x="4" y="16"/>
                </a:cxn>
                <a:cxn ang="0">
                  <a:pos x="13" y="16"/>
                </a:cxn>
                <a:cxn ang="0">
                  <a:pos x="23" y="9"/>
                </a:cxn>
                <a:cxn ang="0">
                  <a:pos x="44" y="7"/>
                </a:cxn>
                <a:cxn ang="0">
                  <a:pos x="40" y="2"/>
                </a:cxn>
                <a:cxn ang="0">
                  <a:pos x="29" y="0"/>
                </a:cxn>
                <a:cxn ang="0">
                  <a:pos x="15" y="2"/>
                </a:cxn>
                <a:cxn ang="0">
                  <a:pos x="15" y="7"/>
                </a:cxn>
                <a:cxn ang="0">
                  <a:pos x="7" y="9"/>
                </a:cxn>
                <a:cxn ang="0">
                  <a:pos x="0" y="11"/>
                </a:cxn>
              </a:cxnLst>
              <a:rect l="0" t="0" r="r" b="b"/>
              <a:pathLst>
                <a:path w="44" h="16">
                  <a:moveTo>
                    <a:pt x="0" y="11"/>
                  </a:moveTo>
                  <a:lnTo>
                    <a:pt x="4" y="11"/>
                  </a:lnTo>
                  <a:lnTo>
                    <a:pt x="4" y="16"/>
                  </a:lnTo>
                  <a:lnTo>
                    <a:pt x="13" y="16"/>
                  </a:lnTo>
                  <a:lnTo>
                    <a:pt x="23" y="9"/>
                  </a:lnTo>
                  <a:lnTo>
                    <a:pt x="44" y="7"/>
                  </a:lnTo>
                  <a:lnTo>
                    <a:pt x="40" y="2"/>
                  </a:lnTo>
                  <a:lnTo>
                    <a:pt x="29" y="0"/>
                  </a:lnTo>
                  <a:lnTo>
                    <a:pt x="15" y="2"/>
                  </a:lnTo>
                  <a:lnTo>
                    <a:pt x="15" y="7"/>
                  </a:lnTo>
                  <a:lnTo>
                    <a:pt x="7" y="9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6" name="Line 1382"/>
            <p:cNvSpPr>
              <a:spLocks noChangeShapeType="1"/>
            </p:cNvSpPr>
            <p:nvPr/>
          </p:nvSpPr>
          <p:spPr bwMode="auto">
            <a:xfrm>
              <a:off x="7568526" y="2830951"/>
              <a:ext cx="20771" cy="26533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7" name="Line 1383"/>
            <p:cNvSpPr>
              <a:spLocks noChangeShapeType="1"/>
            </p:cNvSpPr>
            <p:nvPr/>
          </p:nvSpPr>
          <p:spPr bwMode="auto">
            <a:xfrm>
              <a:off x="7750270" y="2905244"/>
              <a:ext cx="20771" cy="5307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8" name="Line 1384"/>
            <p:cNvSpPr>
              <a:spLocks noChangeShapeType="1"/>
            </p:cNvSpPr>
            <p:nvPr/>
          </p:nvSpPr>
          <p:spPr bwMode="auto">
            <a:xfrm>
              <a:off x="7978748" y="2937085"/>
              <a:ext cx="10385" cy="15920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9" name="Freeform 1385"/>
            <p:cNvSpPr>
              <a:spLocks/>
            </p:cNvSpPr>
            <p:nvPr/>
          </p:nvSpPr>
          <p:spPr bwMode="auto">
            <a:xfrm>
              <a:off x="7999518" y="2926471"/>
              <a:ext cx="20771" cy="10613"/>
            </a:xfrm>
            <a:custGeom>
              <a:avLst/>
              <a:gdLst/>
              <a:ahLst/>
              <a:cxnLst>
                <a:cxn ang="0">
                  <a:pos x="4" y="2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4" y="2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30" name="Line 1386"/>
            <p:cNvSpPr>
              <a:spLocks noChangeShapeType="1"/>
            </p:cNvSpPr>
            <p:nvPr/>
          </p:nvSpPr>
          <p:spPr bwMode="auto">
            <a:xfrm flipV="1">
              <a:off x="8041060" y="2915858"/>
              <a:ext cx="5193" cy="21227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31" name="Line 1387"/>
            <p:cNvSpPr>
              <a:spLocks noChangeShapeType="1"/>
            </p:cNvSpPr>
            <p:nvPr/>
          </p:nvSpPr>
          <p:spPr bwMode="auto">
            <a:xfrm flipV="1">
              <a:off x="8150107" y="2905244"/>
              <a:ext cx="5193" cy="10613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32" name="Line 1388"/>
            <p:cNvSpPr>
              <a:spLocks noChangeShapeType="1"/>
            </p:cNvSpPr>
            <p:nvPr/>
          </p:nvSpPr>
          <p:spPr bwMode="auto">
            <a:xfrm flipV="1">
              <a:off x="620712" y="2878711"/>
              <a:ext cx="41542" cy="26533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33" name="Line 1389"/>
            <p:cNvSpPr>
              <a:spLocks noChangeShapeType="1"/>
            </p:cNvSpPr>
            <p:nvPr/>
          </p:nvSpPr>
          <p:spPr bwMode="auto">
            <a:xfrm>
              <a:off x="8129336" y="2905244"/>
              <a:ext cx="20771" cy="10613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34" name="Freeform 1390"/>
            <p:cNvSpPr>
              <a:spLocks/>
            </p:cNvSpPr>
            <p:nvPr/>
          </p:nvSpPr>
          <p:spPr bwMode="auto">
            <a:xfrm>
              <a:off x="662254" y="2857484"/>
              <a:ext cx="46734" cy="31840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9" y="0"/>
                </a:cxn>
                <a:cxn ang="0">
                  <a:pos x="7" y="0"/>
                </a:cxn>
                <a:cxn ang="0">
                  <a:pos x="2" y="4"/>
                </a:cxn>
                <a:cxn ang="0">
                  <a:pos x="0" y="6"/>
                </a:cxn>
              </a:cxnLst>
              <a:rect l="0" t="0" r="r" b="b"/>
              <a:pathLst>
                <a:path w="9" h="6">
                  <a:moveTo>
                    <a:pt x="0" y="6"/>
                  </a:moveTo>
                  <a:lnTo>
                    <a:pt x="9" y="0"/>
                  </a:lnTo>
                  <a:lnTo>
                    <a:pt x="7" y="0"/>
                  </a:lnTo>
                  <a:lnTo>
                    <a:pt x="2" y="4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35" name="Freeform 1391"/>
            <p:cNvSpPr>
              <a:spLocks/>
            </p:cNvSpPr>
            <p:nvPr/>
          </p:nvSpPr>
          <p:spPr bwMode="auto">
            <a:xfrm>
              <a:off x="7739885" y="2581537"/>
              <a:ext cx="77890" cy="10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2"/>
                </a:cxn>
                <a:cxn ang="0">
                  <a:pos x="10" y="2"/>
                </a:cxn>
                <a:cxn ang="0">
                  <a:pos x="15" y="2"/>
                </a:cxn>
                <a:cxn ang="0">
                  <a:pos x="0" y="0"/>
                </a:cxn>
              </a:cxnLst>
              <a:rect l="0" t="0" r="r" b="b"/>
              <a:pathLst>
                <a:path w="15" h="2">
                  <a:moveTo>
                    <a:pt x="0" y="0"/>
                  </a:moveTo>
                  <a:lnTo>
                    <a:pt x="2" y="2"/>
                  </a:lnTo>
                  <a:lnTo>
                    <a:pt x="10" y="2"/>
                  </a:lnTo>
                  <a:lnTo>
                    <a:pt x="15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36" name="Freeform 1392"/>
            <p:cNvSpPr>
              <a:spLocks/>
            </p:cNvSpPr>
            <p:nvPr/>
          </p:nvSpPr>
          <p:spPr bwMode="auto">
            <a:xfrm>
              <a:off x="7739885" y="2581537"/>
              <a:ext cx="77890" cy="10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2"/>
                </a:cxn>
                <a:cxn ang="0">
                  <a:pos x="10" y="2"/>
                </a:cxn>
                <a:cxn ang="0">
                  <a:pos x="15" y="2"/>
                </a:cxn>
              </a:cxnLst>
              <a:rect l="0" t="0" r="r" b="b"/>
              <a:pathLst>
                <a:path w="15" h="2">
                  <a:moveTo>
                    <a:pt x="0" y="0"/>
                  </a:moveTo>
                  <a:lnTo>
                    <a:pt x="2" y="2"/>
                  </a:lnTo>
                  <a:lnTo>
                    <a:pt x="10" y="2"/>
                  </a:lnTo>
                  <a:lnTo>
                    <a:pt x="15" y="2"/>
                  </a:lnTo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37" name="Line 1393"/>
            <p:cNvSpPr>
              <a:spLocks noChangeShapeType="1"/>
            </p:cNvSpPr>
            <p:nvPr/>
          </p:nvSpPr>
          <p:spPr bwMode="auto">
            <a:xfrm flipH="1" flipV="1">
              <a:off x="7739885" y="2592151"/>
              <a:ext cx="51927" cy="10613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38" name="Freeform 1394"/>
            <p:cNvSpPr>
              <a:spLocks/>
            </p:cNvSpPr>
            <p:nvPr/>
          </p:nvSpPr>
          <p:spPr bwMode="auto">
            <a:xfrm>
              <a:off x="890732" y="2677057"/>
              <a:ext cx="46734" cy="2122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4"/>
                </a:cxn>
                <a:cxn ang="0">
                  <a:pos x="9" y="0"/>
                </a:cxn>
                <a:cxn ang="0">
                  <a:pos x="4" y="0"/>
                </a:cxn>
                <a:cxn ang="0">
                  <a:pos x="0" y="0"/>
                </a:cxn>
              </a:cxnLst>
              <a:rect l="0" t="0" r="r" b="b"/>
              <a:pathLst>
                <a:path w="9" h="4">
                  <a:moveTo>
                    <a:pt x="0" y="0"/>
                  </a:moveTo>
                  <a:lnTo>
                    <a:pt x="2" y="4"/>
                  </a:lnTo>
                  <a:lnTo>
                    <a:pt x="9" y="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39" name="Freeform 1395"/>
            <p:cNvSpPr>
              <a:spLocks/>
            </p:cNvSpPr>
            <p:nvPr/>
          </p:nvSpPr>
          <p:spPr bwMode="auto">
            <a:xfrm>
              <a:off x="1051705" y="2724818"/>
              <a:ext cx="67504" cy="47760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11" y="7"/>
                </a:cxn>
                <a:cxn ang="0">
                  <a:pos x="11" y="4"/>
                </a:cxn>
                <a:cxn ang="0">
                  <a:pos x="13" y="4"/>
                </a:cxn>
                <a:cxn ang="0">
                  <a:pos x="13" y="0"/>
                </a:cxn>
                <a:cxn ang="0">
                  <a:pos x="7" y="4"/>
                </a:cxn>
                <a:cxn ang="0">
                  <a:pos x="0" y="9"/>
                </a:cxn>
              </a:cxnLst>
              <a:rect l="0" t="0" r="r" b="b"/>
              <a:pathLst>
                <a:path w="13" h="9">
                  <a:moveTo>
                    <a:pt x="0" y="9"/>
                  </a:moveTo>
                  <a:lnTo>
                    <a:pt x="11" y="7"/>
                  </a:lnTo>
                  <a:lnTo>
                    <a:pt x="11" y="4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7" y="4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40" name="Freeform 1396"/>
            <p:cNvSpPr>
              <a:spLocks/>
            </p:cNvSpPr>
            <p:nvPr/>
          </p:nvSpPr>
          <p:spPr bwMode="auto">
            <a:xfrm>
              <a:off x="1389229" y="2857484"/>
              <a:ext cx="46734" cy="6898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2"/>
                </a:cxn>
                <a:cxn ang="0">
                  <a:pos x="0" y="9"/>
                </a:cxn>
                <a:cxn ang="0">
                  <a:pos x="2" y="13"/>
                </a:cxn>
                <a:cxn ang="0">
                  <a:pos x="2" y="9"/>
                </a:cxn>
                <a:cxn ang="0">
                  <a:pos x="9" y="0"/>
                </a:cxn>
                <a:cxn ang="0">
                  <a:pos x="4" y="0"/>
                </a:cxn>
                <a:cxn ang="0">
                  <a:pos x="2" y="0"/>
                </a:cxn>
              </a:cxnLst>
              <a:rect l="0" t="0" r="r" b="b"/>
              <a:pathLst>
                <a:path w="9" h="13">
                  <a:moveTo>
                    <a:pt x="2" y="0"/>
                  </a:moveTo>
                  <a:lnTo>
                    <a:pt x="0" y="2"/>
                  </a:lnTo>
                  <a:lnTo>
                    <a:pt x="0" y="9"/>
                  </a:lnTo>
                  <a:lnTo>
                    <a:pt x="2" y="13"/>
                  </a:lnTo>
                  <a:lnTo>
                    <a:pt x="2" y="9"/>
                  </a:lnTo>
                  <a:lnTo>
                    <a:pt x="9" y="0"/>
                  </a:lnTo>
                  <a:lnTo>
                    <a:pt x="4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41" name="Freeform 1397"/>
            <p:cNvSpPr>
              <a:spLocks/>
            </p:cNvSpPr>
            <p:nvPr/>
          </p:nvSpPr>
          <p:spPr bwMode="auto">
            <a:xfrm>
              <a:off x="1435963" y="2953005"/>
              <a:ext cx="51927" cy="7960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2" y="9"/>
                </a:cxn>
                <a:cxn ang="0">
                  <a:pos x="6" y="9"/>
                </a:cxn>
                <a:cxn ang="0">
                  <a:pos x="6" y="13"/>
                </a:cxn>
                <a:cxn ang="0">
                  <a:pos x="8" y="15"/>
                </a:cxn>
                <a:cxn ang="0">
                  <a:pos x="10" y="13"/>
                </a:cxn>
                <a:cxn ang="0">
                  <a:pos x="8" y="4"/>
                </a:cxn>
                <a:cxn ang="0">
                  <a:pos x="4" y="2"/>
                </a:cxn>
                <a:cxn ang="0">
                  <a:pos x="0" y="0"/>
                </a:cxn>
              </a:cxnLst>
              <a:rect l="0" t="0" r="r" b="b"/>
              <a:pathLst>
                <a:path w="10" h="15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2" y="9"/>
                  </a:lnTo>
                  <a:lnTo>
                    <a:pt x="6" y="9"/>
                  </a:lnTo>
                  <a:lnTo>
                    <a:pt x="6" y="13"/>
                  </a:lnTo>
                  <a:lnTo>
                    <a:pt x="8" y="15"/>
                  </a:lnTo>
                  <a:lnTo>
                    <a:pt x="10" y="13"/>
                  </a:lnTo>
                  <a:lnTo>
                    <a:pt x="8" y="4"/>
                  </a:lnTo>
                  <a:lnTo>
                    <a:pt x="4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42" name="Freeform 1398"/>
            <p:cNvSpPr>
              <a:spLocks/>
            </p:cNvSpPr>
            <p:nvPr/>
          </p:nvSpPr>
          <p:spPr bwMode="auto">
            <a:xfrm>
              <a:off x="3061274" y="2114550"/>
              <a:ext cx="981418" cy="583734"/>
            </a:xfrm>
            <a:custGeom>
              <a:avLst/>
              <a:gdLst/>
              <a:ahLst/>
              <a:cxnLst>
                <a:cxn ang="0">
                  <a:pos x="6" y="20"/>
                </a:cxn>
                <a:cxn ang="0">
                  <a:pos x="0" y="27"/>
                </a:cxn>
                <a:cxn ang="0">
                  <a:pos x="27" y="29"/>
                </a:cxn>
                <a:cxn ang="0">
                  <a:pos x="35" y="34"/>
                </a:cxn>
                <a:cxn ang="0">
                  <a:pos x="37" y="43"/>
                </a:cxn>
                <a:cxn ang="0">
                  <a:pos x="35" y="47"/>
                </a:cxn>
                <a:cxn ang="0">
                  <a:pos x="37" y="52"/>
                </a:cxn>
                <a:cxn ang="0">
                  <a:pos x="39" y="52"/>
                </a:cxn>
                <a:cxn ang="0">
                  <a:pos x="35" y="54"/>
                </a:cxn>
                <a:cxn ang="0">
                  <a:pos x="35" y="61"/>
                </a:cxn>
                <a:cxn ang="0">
                  <a:pos x="43" y="61"/>
                </a:cxn>
                <a:cxn ang="0">
                  <a:pos x="35" y="63"/>
                </a:cxn>
                <a:cxn ang="0">
                  <a:pos x="27" y="79"/>
                </a:cxn>
                <a:cxn ang="0">
                  <a:pos x="27" y="86"/>
                </a:cxn>
                <a:cxn ang="0">
                  <a:pos x="29" y="90"/>
                </a:cxn>
                <a:cxn ang="0">
                  <a:pos x="35" y="104"/>
                </a:cxn>
                <a:cxn ang="0">
                  <a:pos x="48" y="110"/>
                </a:cxn>
                <a:cxn ang="0">
                  <a:pos x="58" y="95"/>
                </a:cxn>
                <a:cxn ang="0">
                  <a:pos x="68" y="86"/>
                </a:cxn>
                <a:cxn ang="0">
                  <a:pos x="70" y="81"/>
                </a:cxn>
                <a:cxn ang="0">
                  <a:pos x="87" y="79"/>
                </a:cxn>
                <a:cxn ang="0">
                  <a:pos x="125" y="63"/>
                </a:cxn>
                <a:cxn ang="0">
                  <a:pos x="141" y="56"/>
                </a:cxn>
                <a:cxn ang="0">
                  <a:pos x="133" y="52"/>
                </a:cxn>
                <a:cxn ang="0">
                  <a:pos x="146" y="54"/>
                </a:cxn>
                <a:cxn ang="0">
                  <a:pos x="146" y="47"/>
                </a:cxn>
                <a:cxn ang="0">
                  <a:pos x="146" y="43"/>
                </a:cxn>
                <a:cxn ang="0">
                  <a:pos x="156" y="38"/>
                </a:cxn>
                <a:cxn ang="0">
                  <a:pos x="156" y="36"/>
                </a:cxn>
                <a:cxn ang="0">
                  <a:pos x="154" y="29"/>
                </a:cxn>
                <a:cxn ang="0">
                  <a:pos x="164" y="27"/>
                </a:cxn>
                <a:cxn ang="0">
                  <a:pos x="162" y="20"/>
                </a:cxn>
                <a:cxn ang="0">
                  <a:pos x="164" y="18"/>
                </a:cxn>
                <a:cxn ang="0">
                  <a:pos x="189" y="9"/>
                </a:cxn>
                <a:cxn ang="0">
                  <a:pos x="162" y="5"/>
                </a:cxn>
                <a:cxn ang="0">
                  <a:pos x="148" y="0"/>
                </a:cxn>
                <a:cxn ang="0">
                  <a:pos x="77" y="5"/>
                </a:cxn>
                <a:cxn ang="0">
                  <a:pos x="48" y="9"/>
                </a:cxn>
                <a:cxn ang="0">
                  <a:pos x="22" y="11"/>
                </a:cxn>
                <a:cxn ang="0">
                  <a:pos x="31" y="14"/>
                </a:cxn>
                <a:cxn ang="0">
                  <a:pos x="4" y="18"/>
                </a:cxn>
                <a:cxn ang="0">
                  <a:pos x="0" y="20"/>
                </a:cxn>
              </a:cxnLst>
              <a:rect l="0" t="0" r="r" b="b"/>
              <a:pathLst>
                <a:path w="189" h="110">
                  <a:moveTo>
                    <a:pt x="0" y="20"/>
                  </a:moveTo>
                  <a:lnTo>
                    <a:pt x="6" y="20"/>
                  </a:lnTo>
                  <a:lnTo>
                    <a:pt x="6" y="25"/>
                  </a:lnTo>
                  <a:lnTo>
                    <a:pt x="0" y="27"/>
                  </a:lnTo>
                  <a:lnTo>
                    <a:pt x="6" y="29"/>
                  </a:lnTo>
                  <a:lnTo>
                    <a:pt x="27" y="29"/>
                  </a:lnTo>
                  <a:lnTo>
                    <a:pt x="37" y="29"/>
                  </a:lnTo>
                  <a:lnTo>
                    <a:pt x="35" y="34"/>
                  </a:lnTo>
                  <a:lnTo>
                    <a:pt x="37" y="36"/>
                  </a:lnTo>
                  <a:lnTo>
                    <a:pt x="37" y="43"/>
                  </a:lnTo>
                  <a:lnTo>
                    <a:pt x="35" y="45"/>
                  </a:lnTo>
                  <a:lnTo>
                    <a:pt x="35" y="47"/>
                  </a:lnTo>
                  <a:lnTo>
                    <a:pt x="31" y="47"/>
                  </a:lnTo>
                  <a:lnTo>
                    <a:pt x="37" y="52"/>
                  </a:lnTo>
                  <a:lnTo>
                    <a:pt x="39" y="47"/>
                  </a:lnTo>
                  <a:lnTo>
                    <a:pt x="39" y="52"/>
                  </a:lnTo>
                  <a:lnTo>
                    <a:pt x="45" y="54"/>
                  </a:lnTo>
                  <a:lnTo>
                    <a:pt x="35" y="54"/>
                  </a:lnTo>
                  <a:lnTo>
                    <a:pt x="29" y="61"/>
                  </a:lnTo>
                  <a:lnTo>
                    <a:pt x="35" y="61"/>
                  </a:lnTo>
                  <a:lnTo>
                    <a:pt x="43" y="56"/>
                  </a:lnTo>
                  <a:lnTo>
                    <a:pt x="43" y="61"/>
                  </a:lnTo>
                  <a:lnTo>
                    <a:pt x="39" y="63"/>
                  </a:lnTo>
                  <a:lnTo>
                    <a:pt x="35" y="63"/>
                  </a:lnTo>
                  <a:lnTo>
                    <a:pt x="31" y="68"/>
                  </a:lnTo>
                  <a:lnTo>
                    <a:pt x="27" y="79"/>
                  </a:lnTo>
                  <a:lnTo>
                    <a:pt x="29" y="79"/>
                  </a:lnTo>
                  <a:lnTo>
                    <a:pt x="27" y="86"/>
                  </a:lnTo>
                  <a:lnTo>
                    <a:pt x="29" y="88"/>
                  </a:lnTo>
                  <a:lnTo>
                    <a:pt x="29" y="90"/>
                  </a:lnTo>
                  <a:lnTo>
                    <a:pt x="31" y="99"/>
                  </a:lnTo>
                  <a:lnTo>
                    <a:pt x="35" y="104"/>
                  </a:lnTo>
                  <a:lnTo>
                    <a:pt x="45" y="110"/>
                  </a:lnTo>
                  <a:lnTo>
                    <a:pt x="48" y="110"/>
                  </a:lnTo>
                  <a:lnTo>
                    <a:pt x="58" y="97"/>
                  </a:lnTo>
                  <a:lnTo>
                    <a:pt x="58" y="95"/>
                  </a:lnTo>
                  <a:lnTo>
                    <a:pt x="66" y="90"/>
                  </a:lnTo>
                  <a:lnTo>
                    <a:pt x="68" y="86"/>
                  </a:lnTo>
                  <a:lnTo>
                    <a:pt x="68" y="81"/>
                  </a:lnTo>
                  <a:lnTo>
                    <a:pt x="70" y="81"/>
                  </a:lnTo>
                  <a:lnTo>
                    <a:pt x="75" y="79"/>
                  </a:lnTo>
                  <a:lnTo>
                    <a:pt x="87" y="79"/>
                  </a:lnTo>
                  <a:lnTo>
                    <a:pt x="106" y="68"/>
                  </a:lnTo>
                  <a:lnTo>
                    <a:pt x="125" y="63"/>
                  </a:lnTo>
                  <a:lnTo>
                    <a:pt x="139" y="56"/>
                  </a:lnTo>
                  <a:lnTo>
                    <a:pt x="141" y="56"/>
                  </a:lnTo>
                  <a:lnTo>
                    <a:pt x="133" y="54"/>
                  </a:lnTo>
                  <a:lnTo>
                    <a:pt x="133" y="52"/>
                  </a:lnTo>
                  <a:lnTo>
                    <a:pt x="137" y="52"/>
                  </a:lnTo>
                  <a:lnTo>
                    <a:pt x="146" y="54"/>
                  </a:lnTo>
                  <a:lnTo>
                    <a:pt x="146" y="52"/>
                  </a:lnTo>
                  <a:lnTo>
                    <a:pt x="146" y="47"/>
                  </a:lnTo>
                  <a:lnTo>
                    <a:pt x="148" y="45"/>
                  </a:lnTo>
                  <a:lnTo>
                    <a:pt x="146" y="43"/>
                  </a:lnTo>
                  <a:lnTo>
                    <a:pt x="154" y="43"/>
                  </a:lnTo>
                  <a:lnTo>
                    <a:pt x="156" y="38"/>
                  </a:lnTo>
                  <a:lnTo>
                    <a:pt x="158" y="36"/>
                  </a:lnTo>
                  <a:lnTo>
                    <a:pt x="156" y="36"/>
                  </a:lnTo>
                  <a:lnTo>
                    <a:pt x="158" y="29"/>
                  </a:lnTo>
                  <a:lnTo>
                    <a:pt x="154" y="29"/>
                  </a:lnTo>
                  <a:lnTo>
                    <a:pt x="154" y="27"/>
                  </a:lnTo>
                  <a:lnTo>
                    <a:pt x="164" y="27"/>
                  </a:lnTo>
                  <a:lnTo>
                    <a:pt x="164" y="25"/>
                  </a:lnTo>
                  <a:lnTo>
                    <a:pt x="162" y="20"/>
                  </a:lnTo>
                  <a:lnTo>
                    <a:pt x="164" y="20"/>
                  </a:lnTo>
                  <a:lnTo>
                    <a:pt x="164" y="18"/>
                  </a:lnTo>
                  <a:lnTo>
                    <a:pt x="177" y="11"/>
                  </a:lnTo>
                  <a:lnTo>
                    <a:pt x="189" y="9"/>
                  </a:lnTo>
                  <a:lnTo>
                    <a:pt x="177" y="5"/>
                  </a:lnTo>
                  <a:lnTo>
                    <a:pt x="162" y="5"/>
                  </a:lnTo>
                  <a:lnTo>
                    <a:pt x="166" y="2"/>
                  </a:lnTo>
                  <a:lnTo>
                    <a:pt x="148" y="0"/>
                  </a:lnTo>
                  <a:lnTo>
                    <a:pt x="102" y="2"/>
                  </a:lnTo>
                  <a:lnTo>
                    <a:pt x="77" y="5"/>
                  </a:lnTo>
                  <a:lnTo>
                    <a:pt x="45" y="5"/>
                  </a:lnTo>
                  <a:lnTo>
                    <a:pt x="48" y="9"/>
                  </a:lnTo>
                  <a:lnTo>
                    <a:pt x="39" y="9"/>
                  </a:lnTo>
                  <a:lnTo>
                    <a:pt x="22" y="11"/>
                  </a:lnTo>
                  <a:lnTo>
                    <a:pt x="31" y="11"/>
                  </a:lnTo>
                  <a:lnTo>
                    <a:pt x="31" y="14"/>
                  </a:lnTo>
                  <a:lnTo>
                    <a:pt x="27" y="18"/>
                  </a:lnTo>
                  <a:lnTo>
                    <a:pt x="4" y="18"/>
                  </a:lnTo>
                  <a:lnTo>
                    <a:pt x="2" y="20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43" name="Freeform 1399"/>
            <p:cNvSpPr>
              <a:spLocks/>
            </p:cNvSpPr>
            <p:nvPr/>
          </p:nvSpPr>
          <p:spPr bwMode="auto">
            <a:xfrm>
              <a:off x="3720746" y="2523164"/>
              <a:ext cx="202514" cy="68987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0" y="4"/>
                </a:cxn>
                <a:cxn ang="0">
                  <a:pos x="0" y="9"/>
                </a:cxn>
                <a:cxn ang="0">
                  <a:pos x="10" y="9"/>
                </a:cxn>
                <a:cxn ang="0">
                  <a:pos x="4" y="11"/>
                </a:cxn>
                <a:cxn ang="0">
                  <a:pos x="19" y="13"/>
                </a:cxn>
                <a:cxn ang="0">
                  <a:pos x="35" y="9"/>
                </a:cxn>
                <a:cxn ang="0">
                  <a:pos x="37" y="4"/>
                </a:cxn>
                <a:cxn ang="0">
                  <a:pos x="39" y="2"/>
                </a:cxn>
                <a:cxn ang="0">
                  <a:pos x="37" y="2"/>
                </a:cxn>
                <a:cxn ang="0">
                  <a:pos x="37" y="0"/>
                </a:cxn>
                <a:cxn ang="0">
                  <a:pos x="31" y="0"/>
                </a:cxn>
                <a:cxn ang="0">
                  <a:pos x="27" y="2"/>
                </a:cxn>
                <a:cxn ang="0">
                  <a:pos x="19" y="2"/>
                </a:cxn>
                <a:cxn ang="0">
                  <a:pos x="19" y="0"/>
                </a:cxn>
                <a:cxn ang="0">
                  <a:pos x="12" y="4"/>
                </a:cxn>
                <a:cxn ang="0">
                  <a:pos x="12" y="2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2"/>
                </a:cxn>
              </a:cxnLst>
              <a:rect l="0" t="0" r="r" b="b"/>
              <a:pathLst>
                <a:path w="39" h="13">
                  <a:moveTo>
                    <a:pt x="0" y="2"/>
                  </a:moveTo>
                  <a:lnTo>
                    <a:pt x="10" y="4"/>
                  </a:lnTo>
                  <a:lnTo>
                    <a:pt x="0" y="9"/>
                  </a:lnTo>
                  <a:lnTo>
                    <a:pt x="10" y="9"/>
                  </a:lnTo>
                  <a:lnTo>
                    <a:pt x="4" y="11"/>
                  </a:lnTo>
                  <a:lnTo>
                    <a:pt x="19" y="13"/>
                  </a:lnTo>
                  <a:lnTo>
                    <a:pt x="35" y="9"/>
                  </a:lnTo>
                  <a:lnTo>
                    <a:pt x="37" y="4"/>
                  </a:lnTo>
                  <a:lnTo>
                    <a:pt x="39" y="2"/>
                  </a:lnTo>
                  <a:lnTo>
                    <a:pt x="37" y="2"/>
                  </a:lnTo>
                  <a:lnTo>
                    <a:pt x="37" y="0"/>
                  </a:lnTo>
                  <a:lnTo>
                    <a:pt x="31" y="0"/>
                  </a:lnTo>
                  <a:lnTo>
                    <a:pt x="27" y="2"/>
                  </a:lnTo>
                  <a:lnTo>
                    <a:pt x="19" y="2"/>
                  </a:lnTo>
                  <a:lnTo>
                    <a:pt x="19" y="0"/>
                  </a:lnTo>
                  <a:lnTo>
                    <a:pt x="12" y="4"/>
                  </a:lnTo>
                  <a:lnTo>
                    <a:pt x="12" y="2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44" name="Line 1400"/>
            <p:cNvSpPr>
              <a:spLocks noChangeShapeType="1"/>
            </p:cNvSpPr>
            <p:nvPr/>
          </p:nvSpPr>
          <p:spPr bwMode="auto">
            <a:xfrm flipV="1">
              <a:off x="4032306" y="2401110"/>
              <a:ext cx="10385" cy="10613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45" name="Line 1401"/>
            <p:cNvSpPr>
              <a:spLocks noChangeShapeType="1"/>
            </p:cNvSpPr>
            <p:nvPr/>
          </p:nvSpPr>
          <p:spPr bwMode="auto">
            <a:xfrm>
              <a:off x="3881718" y="2305590"/>
              <a:ext cx="20771" cy="5307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46" name="Freeform 1402"/>
            <p:cNvSpPr>
              <a:spLocks/>
            </p:cNvSpPr>
            <p:nvPr/>
          </p:nvSpPr>
          <p:spPr bwMode="auto">
            <a:xfrm>
              <a:off x="5159120" y="4884634"/>
              <a:ext cx="186937" cy="408614"/>
            </a:xfrm>
            <a:custGeom>
              <a:avLst/>
              <a:gdLst/>
              <a:ahLst/>
              <a:cxnLst>
                <a:cxn ang="0">
                  <a:pos x="0" y="55"/>
                </a:cxn>
                <a:cxn ang="0">
                  <a:pos x="0" y="70"/>
                </a:cxn>
                <a:cxn ang="0">
                  <a:pos x="5" y="77"/>
                </a:cxn>
                <a:cxn ang="0">
                  <a:pos x="7" y="77"/>
                </a:cxn>
                <a:cxn ang="0">
                  <a:pos x="15" y="73"/>
                </a:cxn>
                <a:cxn ang="0">
                  <a:pos x="19" y="73"/>
                </a:cxn>
                <a:cxn ang="0">
                  <a:pos x="30" y="37"/>
                </a:cxn>
                <a:cxn ang="0">
                  <a:pos x="32" y="18"/>
                </a:cxn>
                <a:cxn ang="0">
                  <a:pos x="32" y="21"/>
                </a:cxn>
                <a:cxn ang="0">
                  <a:pos x="36" y="18"/>
                </a:cxn>
                <a:cxn ang="0">
                  <a:pos x="32" y="3"/>
                </a:cxn>
                <a:cxn ang="0">
                  <a:pos x="30" y="0"/>
                </a:cxn>
                <a:cxn ang="0">
                  <a:pos x="27" y="5"/>
                </a:cxn>
                <a:cxn ang="0">
                  <a:pos x="23" y="9"/>
                </a:cxn>
                <a:cxn ang="0">
                  <a:pos x="23" y="14"/>
                </a:cxn>
                <a:cxn ang="0">
                  <a:pos x="7" y="21"/>
                </a:cxn>
                <a:cxn ang="0">
                  <a:pos x="5" y="30"/>
                </a:cxn>
                <a:cxn ang="0">
                  <a:pos x="7" y="46"/>
                </a:cxn>
                <a:cxn ang="0">
                  <a:pos x="2" y="50"/>
                </a:cxn>
                <a:cxn ang="0">
                  <a:pos x="0" y="55"/>
                </a:cxn>
              </a:cxnLst>
              <a:rect l="0" t="0" r="r" b="b"/>
              <a:pathLst>
                <a:path w="36" h="77">
                  <a:moveTo>
                    <a:pt x="0" y="55"/>
                  </a:moveTo>
                  <a:lnTo>
                    <a:pt x="0" y="70"/>
                  </a:lnTo>
                  <a:lnTo>
                    <a:pt x="5" y="77"/>
                  </a:lnTo>
                  <a:lnTo>
                    <a:pt x="7" y="77"/>
                  </a:lnTo>
                  <a:lnTo>
                    <a:pt x="15" y="73"/>
                  </a:lnTo>
                  <a:lnTo>
                    <a:pt x="19" y="73"/>
                  </a:lnTo>
                  <a:lnTo>
                    <a:pt x="30" y="37"/>
                  </a:lnTo>
                  <a:lnTo>
                    <a:pt x="32" y="18"/>
                  </a:lnTo>
                  <a:lnTo>
                    <a:pt x="32" y="21"/>
                  </a:lnTo>
                  <a:lnTo>
                    <a:pt x="36" y="18"/>
                  </a:lnTo>
                  <a:lnTo>
                    <a:pt x="32" y="3"/>
                  </a:lnTo>
                  <a:lnTo>
                    <a:pt x="30" y="0"/>
                  </a:lnTo>
                  <a:lnTo>
                    <a:pt x="27" y="5"/>
                  </a:lnTo>
                  <a:lnTo>
                    <a:pt x="23" y="9"/>
                  </a:lnTo>
                  <a:lnTo>
                    <a:pt x="23" y="14"/>
                  </a:lnTo>
                  <a:lnTo>
                    <a:pt x="7" y="21"/>
                  </a:lnTo>
                  <a:lnTo>
                    <a:pt x="5" y="30"/>
                  </a:lnTo>
                  <a:lnTo>
                    <a:pt x="7" y="46"/>
                  </a:lnTo>
                  <a:lnTo>
                    <a:pt x="2" y="50"/>
                  </a:lnTo>
                  <a:lnTo>
                    <a:pt x="0" y="55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47" name="Line 1403"/>
            <p:cNvSpPr>
              <a:spLocks noChangeShapeType="1"/>
            </p:cNvSpPr>
            <p:nvPr/>
          </p:nvSpPr>
          <p:spPr bwMode="auto">
            <a:xfrm>
              <a:off x="5444717" y="5176501"/>
              <a:ext cx="20771" cy="5307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48" name="Freeform 1404"/>
            <p:cNvSpPr>
              <a:spLocks/>
            </p:cNvSpPr>
            <p:nvPr/>
          </p:nvSpPr>
          <p:spPr bwMode="auto">
            <a:xfrm>
              <a:off x="5507029" y="5128741"/>
              <a:ext cx="10385" cy="1061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" y="2"/>
                </a:cxn>
                <a:cxn ang="0">
                  <a:pos x="0" y="0"/>
                </a:cxn>
                <a:cxn ang="0">
                  <a:pos x="0" y="2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49" name="Freeform 1405"/>
            <p:cNvSpPr>
              <a:spLocks/>
            </p:cNvSpPr>
            <p:nvPr/>
          </p:nvSpPr>
          <p:spPr bwMode="auto">
            <a:xfrm>
              <a:off x="5408368" y="4120473"/>
              <a:ext cx="36349" cy="1592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" y="3"/>
                </a:cxn>
                <a:cxn ang="0">
                  <a:pos x="7" y="0"/>
                </a:cxn>
                <a:cxn ang="0">
                  <a:pos x="5" y="0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7" h="3">
                  <a:moveTo>
                    <a:pt x="0" y="0"/>
                  </a:moveTo>
                  <a:lnTo>
                    <a:pt x="5" y="3"/>
                  </a:lnTo>
                  <a:lnTo>
                    <a:pt x="7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50" name="Line 1406"/>
            <p:cNvSpPr>
              <a:spLocks noChangeShapeType="1"/>
            </p:cNvSpPr>
            <p:nvPr/>
          </p:nvSpPr>
          <p:spPr bwMode="auto">
            <a:xfrm>
              <a:off x="6384594" y="4120473"/>
              <a:ext cx="5193" cy="26533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51" name="Line 1407"/>
            <p:cNvSpPr>
              <a:spLocks noChangeShapeType="1"/>
            </p:cNvSpPr>
            <p:nvPr/>
          </p:nvSpPr>
          <p:spPr bwMode="auto">
            <a:xfrm>
              <a:off x="6472869" y="4444180"/>
              <a:ext cx="10385" cy="5307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52" name="Freeform 1408"/>
            <p:cNvSpPr>
              <a:spLocks/>
            </p:cNvSpPr>
            <p:nvPr/>
          </p:nvSpPr>
          <p:spPr bwMode="auto">
            <a:xfrm>
              <a:off x="6504025" y="4454793"/>
              <a:ext cx="10385" cy="3714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7"/>
                </a:cxn>
                <a:cxn ang="0">
                  <a:pos x="2" y="5"/>
                </a:cxn>
                <a:cxn ang="0">
                  <a:pos x="0" y="3"/>
                </a:cxn>
                <a:cxn ang="0">
                  <a:pos x="0" y="0"/>
                </a:cxn>
              </a:cxnLst>
              <a:rect l="0" t="0" r="r" b="b"/>
              <a:pathLst>
                <a:path w="2" h="7">
                  <a:moveTo>
                    <a:pt x="0" y="0"/>
                  </a:moveTo>
                  <a:lnTo>
                    <a:pt x="2" y="7"/>
                  </a:lnTo>
                  <a:lnTo>
                    <a:pt x="2" y="5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53" name="Freeform 1409"/>
            <p:cNvSpPr>
              <a:spLocks/>
            </p:cNvSpPr>
            <p:nvPr/>
          </p:nvSpPr>
          <p:spPr bwMode="auto">
            <a:xfrm>
              <a:off x="6545566" y="4539700"/>
              <a:ext cx="15578" cy="10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"/>
                </a:cxn>
                <a:cxn ang="0">
                  <a:pos x="3" y="2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w="3" h="2">
                  <a:moveTo>
                    <a:pt x="0" y="0"/>
                  </a:moveTo>
                  <a:lnTo>
                    <a:pt x="0" y="2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54" name="Freeform 1410"/>
            <p:cNvSpPr>
              <a:spLocks/>
            </p:cNvSpPr>
            <p:nvPr/>
          </p:nvSpPr>
          <p:spPr bwMode="auto">
            <a:xfrm>
              <a:off x="6062647" y="4205380"/>
              <a:ext cx="62312" cy="106133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4" y="20"/>
                </a:cxn>
                <a:cxn ang="0">
                  <a:pos x="8" y="20"/>
                </a:cxn>
                <a:cxn ang="0">
                  <a:pos x="12" y="20"/>
                </a:cxn>
                <a:cxn ang="0">
                  <a:pos x="12" y="11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4" y="2"/>
                </a:cxn>
                <a:cxn ang="0">
                  <a:pos x="2" y="7"/>
                </a:cxn>
                <a:cxn ang="0">
                  <a:pos x="0" y="11"/>
                </a:cxn>
              </a:cxnLst>
              <a:rect l="0" t="0" r="r" b="b"/>
              <a:pathLst>
                <a:path w="12" h="20">
                  <a:moveTo>
                    <a:pt x="0" y="11"/>
                  </a:moveTo>
                  <a:lnTo>
                    <a:pt x="4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11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2"/>
                  </a:lnTo>
                  <a:lnTo>
                    <a:pt x="2" y="7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55" name="Freeform 1411"/>
            <p:cNvSpPr>
              <a:spLocks/>
            </p:cNvSpPr>
            <p:nvPr/>
          </p:nvSpPr>
          <p:spPr bwMode="auto">
            <a:xfrm>
              <a:off x="6742889" y="3897593"/>
              <a:ext cx="51927" cy="47760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" y="9"/>
                </a:cxn>
                <a:cxn ang="0">
                  <a:pos x="4" y="9"/>
                </a:cxn>
                <a:cxn ang="0">
                  <a:pos x="10" y="6"/>
                </a:cxn>
                <a:cxn ang="0">
                  <a:pos x="10" y="0"/>
                </a:cxn>
                <a:cxn ang="0">
                  <a:pos x="4" y="0"/>
                </a:cxn>
                <a:cxn ang="0">
                  <a:pos x="2" y="2"/>
                </a:cxn>
                <a:cxn ang="0">
                  <a:pos x="0" y="2"/>
                </a:cxn>
              </a:cxnLst>
              <a:rect l="0" t="0" r="r" b="b"/>
              <a:pathLst>
                <a:path w="10" h="9">
                  <a:moveTo>
                    <a:pt x="0" y="2"/>
                  </a:moveTo>
                  <a:lnTo>
                    <a:pt x="2" y="9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0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56" name="Freeform 1412"/>
            <p:cNvSpPr>
              <a:spLocks/>
            </p:cNvSpPr>
            <p:nvPr/>
          </p:nvSpPr>
          <p:spPr bwMode="auto">
            <a:xfrm>
              <a:off x="7002523" y="3727779"/>
              <a:ext cx="31156" cy="95520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2" y="16"/>
                </a:cxn>
                <a:cxn ang="0">
                  <a:pos x="6" y="18"/>
                </a:cxn>
                <a:cxn ang="0">
                  <a:pos x="6" y="0"/>
                </a:cxn>
                <a:cxn ang="0">
                  <a:pos x="2" y="5"/>
                </a:cxn>
                <a:cxn ang="0">
                  <a:pos x="0" y="7"/>
                </a:cxn>
                <a:cxn ang="0">
                  <a:pos x="0" y="9"/>
                </a:cxn>
              </a:cxnLst>
              <a:rect l="0" t="0" r="r" b="b"/>
              <a:pathLst>
                <a:path w="6" h="18">
                  <a:moveTo>
                    <a:pt x="0" y="9"/>
                  </a:moveTo>
                  <a:lnTo>
                    <a:pt x="2" y="16"/>
                  </a:lnTo>
                  <a:lnTo>
                    <a:pt x="6" y="18"/>
                  </a:lnTo>
                  <a:lnTo>
                    <a:pt x="6" y="0"/>
                  </a:lnTo>
                  <a:lnTo>
                    <a:pt x="2" y="5"/>
                  </a:lnTo>
                  <a:lnTo>
                    <a:pt x="0" y="7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57" name="Freeform 1413"/>
            <p:cNvSpPr>
              <a:spLocks/>
            </p:cNvSpPr>
            <p:nvPr/>
          </p:nvSpPr>
          <p:spPr bwMode="auto">
            <a:xfrm>
              <a:off x="7153111" y="3478365"/>
              <a:ext cx="57120" cy="68987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" y="4"/>
                </a:cxn>
                <a:cxn ang="0">
                  <a:pos x="2" y="2"/>
                </a:cxn>
                <a:cxn ang="0">
                  <a:pos x="4" y="4"/>
                </a:cxn>
                <a:cxn ang="0">
                  <a:pos x="4" y="13"/>
                </a:cxn>
                <a:cxn ang="0">
                  <a:pos x="9" y="13"/>
                </a:cxn>
                <a:cxn ang="0">
                  <a:pos x="11" y="11"/>
                </a:cxn>
                <a:cxn ang="0">
                  <a:pos x="11" y="4"/>
                </a:cxn>
                <a:cxn ang="0">
                  <a:pos x="9" y="0"/>
                </a:cxn>
                <a:cxn ang="0">
                  <a:pos x="2" y="0"/>
                </a:cxn>
                <a:cxn ang="0">
                  <a:pos x="0" y="2"/>
                </a:cxn>
              </a:cxnLst>
              <a:rect l="0" t="0" r="r" b="b"/>
              <a:pathLst>
                <a:path w="11" h="13">
                  <a:moveTo>
                    <a:pt x="0" y="2"/>
                  </a:moveTo>
                  <a:lnTo>
                    <a:pt x="2" y="4"/>
                  </a:lnTo>
                  <a:lnTo>
                    <a:pt x="2" y="2"/>
                  </a:lnTo>
                  <a:lnTo>
                    <a:pt x="4" y="4"/>
                  </a:lnTo>
                  <a:lnTo>
                    <a:pt x="4" y="13"/>
                  </a:lnTo>
                  <a:lnTo>
                    <a:pt x="9" y="13"/>
                  </a:lnTo>
                  <a:lnTo>
                    <a:pt x="11" y="11"/>
                  </a:lnTo>
                  <a:lnTo>
                    <a:pt x="11" y="4"/>
                  </a:lnTo>
                  <a:lnTo>
                    <a:pt x="9" y="0"/>
                  </a:lnTo>
                  <a:lnTo>
                    <a:pt x="2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58" name="Freeform 1414"/>
            <p:cNvSpPr>
              <a:spLocks/>
            </p:cNvSpPr>
            <p:nvPr/>
          </p:nvSpPr>
          <p:spPr bwMode="auto">
            <a:xfrm>
              <a:off x="7210231" y="3451832"/>
              <a:ext cx="51927" cy="47760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6" y="9"/>
                </a:cxn>
                <a:cxn ang="0">
                  <a:pos x="6" y="7"/>
                </a:cxn>
                <a:cxn ang="0">
                  <a:pos x="6" y="5"/>
                </a:cxn>
                <a:cxn ang="0">
                  <a:pos x="8" y="7"/>
                </a:cxn>
                <a:cxn ang="0">
                  <a:pos x="10" y="5"/>
                </a:cxn>
                <a:cxn ang="0">
                  <a:pos x="8" y="0"/>
                </a:cxn>
                <a:cxn ang="0">
                  <a:pos x="6" y="0"/>
                </a:cxn>
                <a:cxn ang="0">
                  <a:pos x="6" y="5"/>
                </a:cxn>
                <a:cxn ang="0">
                  <a:pos x="2" y="0"/>
                </a:cxn>
                <a:cxn ang="0">
                  <a:pos x="0" y="5"/>
                </a:cxn>
                <a:cxn ang="0">
                  <a:pos x="0" y="7"/>
                </a:cxn>
              </a:cxnLst>
              <a:rect l="0" t="0" r="r" b="b"/>
              <a:pathLst>
                <a:path w="10" h="9">
                  <a:moveTo>
                    <a:pt x="0" y="7"/>
                  </a:moveTo>
                  <a:lnTo>
                    <a:pt x="6" y="9"/>
                  </a:lnTo>
                  <a:lnTo>
                    <a:pt x="6" y="7"/>
                  </a:lnTo>
                  <a:lnTo>
                    <a:pt x="6" y="5"/>
                  </a:lnTo>
                  <a:lnTo>
                    <a:pt x="8" y="7"/>
                  </a:lnTo>
                  <a:lnTo>
                    <a:pt x="10" y="5"/>
                  </a:lnTo>
                  <a:lnTo>
                    <a:pt x="8" y="0"/>
                  </a:lnTo>
                  <a:lnTo>
                    <a:pt x="6" y="0"/>
                  </a:lnTo>
                  <a:lnTo>
                    <a:pt x="6" y="5"/>
                  </a:lnTo>
                  <a:lnTo>
                    <a:pt x="2" y="0"/>
                  </a:lnTo>
                  <a:lnTo>
                    <a:pt x="0" y="5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59" name="Freeform 1415"/>
            <p:cNvSpPr>
              <a:spLocks/>
            </p:cNvSpPr>
            <p:nvPr/>
          </p:nvSpPr>
          <p:spPr bwMode="auto">
            <a:xfrm>
              <a:off x="7163496" y="3223645"/>
              <a:ext cx="218092" cy="265334"/>
            </a:xfrm>
            <a:custGeom>
              <a:avLst/>
              <a:gdLst/>
              <a:ahLst/>
              <a:cxnLst>
                <a:cxn ang="0">
                  <a:pos x="0" y="43"/>
                </a:cxn>
                <a:cxn ang="0">
                  <a:pos x="2" y="48"/>
                </a:cxn>
                <a:cxn ang="0">
                  <a:pos x="7" y="48"/>
                </a:cxn>
                <a:cxn ang="0">
                  <a:pos x="9" y="43"/>
                </a:cxn>
                <a:cxn ang="0">
                  <a:pos x="17" y="41"/>
                </a:cxn>
                <a:cxn ang="0">
                  <a:pos x="19" y="41"/>
                </a:cxn>
                <a:cxn ang="0">
                  <a:pos x="19" y="48"/>
                </a:cxn>
                <a:cxn ang="0">
                  <a:pos x="25" y="50"/>
                </a:cxn>
                <a:cxn ang="0">
                  <a:pos x="28" y="43"/>
                </a:cxn>
                <a:cxn ang="0">
                  <a:pos x="25" y="41"/>
                </a:cxn>
                <a:cxn ang="0">
                  <a:pos x="28" y="41"/>
                </a:cxn>
                <a:cxn ang="0">
                  <a:pos x="32" y="41"/>
                </a:cxn>
                <a:cxn ang="0">
                  <a:pos x="34" y="39"/>
                </a:cxn>
                <a:cxn ang="0">
                  <a:pos x="38" y="41"/>
                </a:cxn>
                <a:cxn ang="0">
                  <a:pos x="38" y="39"/>
                </a:cxn>
                <a:cxn ang="0">
                  <a:pos x="40" y="41"/>
                </a:cxn>
                <a:cxn ang="0">
                  <a:pos x="42" y="39"/>
                </a:cxn>
                <a:cxn ang="0">
                  <a:pos x="42" y="34"/>
                </a:cxn>
                <a:cxn ang="0">
                  <a:pos x="38" y="23"/>
                </a:cxn>
                <a:cxn ang="0">
                  <a:pos x="38" y="18"/>
                </a:cxn>
                <a:cxn ang="0">
                  <a:pos x="40" y="18"/>
                </a:cxn>
                <a:cxn ang="0">
                  <a:pos x="38" y="16"/>
                </a:cxn>
                <a:cxn ang="0">
                  <a:pos x="28" y="5"/>
                </a:cxn>
                <a:cxn ang="0">
                  <a:pos x="25" y="0"/>
                </a:cxn>
                <a:cxn ang="0">
                  <a:pos x="28" y="5"/>
                </a:cxn>
                <a:cxn ang="0">
                  <a:pos x="25" y="5"/>
                </a:cxn>
                <a:cxn ang="0">
                  <a:pos x="28" y="16"/>
                </a:cxn>
                <a:cxn ang="0">
                  <a:pos x="28" y="25"/>
                </a:cxn>
                <a:cxn ang="0">
                  <a:pos x="23" y="27"/>
                </a:cxn>
                <a:cxn ang="0">
                  <a:pos x="23" y="25"/>
                </a:cxn>
                <a:cxn ang="0">
                  <a:pos x="19" y="25"/>
                </a:cxn>
                <a:cxn ang="0">
                  <a:pos x="19" y="34"/>
                </a:cxn>
                <a:cxn ang="0">
                  <a:pos x="19" y="39"/>
                </a:cxn>
                <a:cxn ang="0">
                  <a:pos x="17" y="34"/>
                </a:cxn>
                <a:cxn ang="0">
                  <a:pos x="7" y="39"/>
                </a:cxn>
                <a:cxn ang="0">
                  <a:pos x="2" y="41"/>
                </a:cxn>
                <a:cxn ang="0">
                  <a:pos x="0" y="43"/>
                </a:cxn>
              </a:cxnLst>
              <a:rect l="0" t="0" r="r" b="b"/>
              <a:pathLst>
                <a:path w="42" h="50">
                  <a:moveTo>
                    <a:pt x="0" y="43"/>
                  </a:moveTo>
                  <a:lnTo>
                    <a:pt x="2" y="48"/>
                  </a:lnTo>
                  <a:lnTo>
                    <a:pt x="7" y="48"/>
                  </a:lnTo>
                  <a:lnTo>
                    <a:pt x="9" y="43"/>
                  </a:lnTo>
                  <a:lnTo>
                    <a:pt x="17" y="41"/>
                  </a:lnTo>
                  <a:lnTo>
                    <a:pt x="19" y="41"/>
                  </a:lnTo>
                  <a:lnTo>
                    <a:pt x="19" y="48"/>
                  </a:lnTo>
                  <a:lnTo>
                    <a:pt x="25" y="50"/>
                  </a:lnTo>
                  <a:lnTo>
                    <a:pt x="28" y="43"/>
                  </a:lnTo>
                  <a:lnTo>
                    <a:pt x="25" y="41"/>
                  </a:lnTo>
                  <a:lnTo>
                    <a:pt x="28" y="41"/>
                  </a:lnTo>
                  <a:lnTo>
                    <a:pt x="32" y="41"/>
                  </a:lnTo>
                  <a:lnTo>
                    <a:pt x="34" y="39"/>
                  </a:lnTo>
                  <a:lnTo>
                    <a:pt x="38" y="41"/>
                  </a:lnTo>
                  <a:lnTo>
                    <a:pt x="38" y="39"/>
                  </a:lnTo>
                  <a:lnTo>
                    <a:pt x="40" y="41"/>
                  </a:lnTo>
                  <a:lnTo>
                    <a:pt x="42" y="39"/>
                  </a:lnTo>
                  <a:lnTo>
                    <a:pt x="42" y="34"/>
                  </a:lnTo>
                  <a:lnTo>
                    <a:pt x="38" y="23"/>
                  </a:lnTo>
                  <a:lnTo>
                    <a:pt x="38" y="18"/>
                  </a:lnTo>
                  <a:lnTo>
                    <a:pt x="40" y="18"/>
                  </a:lnTo>
                  <a:lnTo>
                    <a:pt x="38" y="16"/>
                  </a:lnTo>
                  <a:lnTo>
                    <a:pt x="28" y="5"/>
                  </a:lnTo>
                  <a:lnTo>
                    <a:pt x="25" y="0"/>
                  </a:lnTo>
                  <a:lnTo>
                    <a:pt x="28" y="5"/>
                  </a:lnTo>
                  <a:lnTo>
                    <a:pt x="25" y="5"/>
                  </a:lnTo>
                  <a:lnTo>
                    <a:pt x="28" y="16"/>
                  </a:lnTo>
                  <a:lnTo>
                    <a:pt x="28" y="25"/>
                  </a:lnTo>
                  <a:lnTo>
                    <a:pt x="23" y="27"/>
                  </a:lnTo>
                  <a:lnTo>
                    <a:pt x="23" y="25"/>
                  </a:lnTo>
                  <a:lnTo>
                    <a:pt x="19" y="25"/>
                  </a:lnTo>
                  <a:lnTo>
                    <a:pt x="19" y="34"/>
                  </a:lnTo>
                  <a:lnTo>
                    <a:pt x="19" y="39"/>
                  </a:lnTo>
                  <a:lnTo>
                    <a:pt x="17" y="34"/>
                  </a:lnTo>
                  <a:lnTo>
                    <a:pt x="7" y="39"/>
                  </a:lnTo>
                  <a:lnTo>
                    <a:pt x="2" y="41"/>
                  </a:lnTo>
                  <a:lnTo>
                    <a:pt x="0" y="43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60" name="Freeform 1416"/>
            <p:cNvSpPr>
              <a:spLocks/>
            </p:cNvSpPr>
            <p:nvPr/>
          </p:nvSpPr>
          <p:spPr bwMode="auto">
            <a:xfrm>
              <a:off x="7251772" y="3117511"/>
              <a:ext cx="129817" cy="132667"/>
            </a:xfrm>
            <a:custGeom>
              <a:avLst/>
              <a:gdLst/>
              <a:ahLst/>
              <a:cxnLst>
                <a:cxn ang="0">
                  <a:pos x="2" y="16"/>
                </a:cxn>
                <a:cxn ang="0">
                  <a:pos x="6" y="25"/>
                </a:cxn>
                <a:cxn ang="0">
                  <a:pos x="8" y="20"/>
                </a:cxn>
                <a:cxn ang="0">
                  <a:pos x="6" y="16"/>
                </a:cxn>
                <a:cxn ang="0">
                  <a:pos x="8" y="18"/>
                </a:cxn>
                <a:cxn ang="0">
                  <a:pos x="11" y="16"/>
                </a:cxn>
                <a:cxn ang="0">
                  <a:pos x="17" y="18"/>
                </a:cxn>
                <a:cxn ang="0">
                  <a:pos x="21" y="16"/>
                </a:cxn>
                <a:cxn ang="0">
                  <a:pos x="23" y="16"/>
                </a:cxn>
                <a:cxn ang="0">
                  <a:pos x="25" y="11"/>
                </a:cxn>
                <a:cxn ang="0">
                  <a:pos x="23" y="11"/>
                </a:cxn>
                <a:cxn ang="0">
                  <a:pos x="21" y="9"/>
                </a:cxn>
                <a:cxn ang="0">
                  <a:pos x="21" y="5"/>
                </a:cxn>
                <a:cxn ang="0">
                  <a:pos x="17" y="9"/>
                </a:cxn>
                <a:cxn ang="0">
                  <a:pos x="15" y="5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6" y="11"/>
                </a:cxn>
                <a:cxn ang="0">
                  <a:pos x="2" y="11"/>
                </a:cxn>
                <a:cxn ang="0">
                  <a:pos x="2" y="14"/>
                </a:cxn>
                <a:cxn ang="0">
                  <a:pos x="2" y="16"/>
                </a:cxn>
              </a:cxnLst>
              <a:rect l="0" t="0" r="r" b="b"/>
              <a:pathLst>
                <a:path w="25" h="25">
                  <a:moveTo>
                    <a:pt x="2" y="16"/>
                  </a:moveTo>
                  <a:lnTo>
                    <a:pt x="6" y="25"/>
                  </a:lnTo>
                  <a:lnTo>
                    <a:pt x="8" y="20"/>
                  </a:lnTo>
                  <a:lnTo>
                    <a:pt x="6" y="16"/>
                  </a:lnTo>
                  <a:lnTo>
                    <a:pt x="8" y="18"/>
                  </a:lnTo>
                  <a:lnTo>
                    <a:pt x="11" y="16"/>
                  </a:lnTo>
                  <a:lnTo>
                    <a:pt x="17" y="18"/>
                  </a:lnTo>
                  <a:lnTo>
                    <a:pt x="21" y="16"/>
                  </a:lnTo>
                  <a:lnTo>
                    <a:pt x="23" y="16"/>
                  </a:lnTo>
                  <a:lnTo>
                    <a:pt x="25" y="11"/>
                  </a:lnTo>
                  <a:lnTo>
                    <a:pt x="23" y="11"/>
                  </a:lnTo>
                  <a:lnTo>
                    <a:pt x="21" y="9"/>
                  </a:lnTo>
                  <a:lnTo>
                    <a:pt x="21" y="5"/>
                  </a:lnTo>
                  <a:lnTo>
                    <a:pt x="17" y="9"/>
                  </a:lnTo>
                  <a:lnTo>
                    <a:pt x="15" y="5"/>
                  </a:lnTo>
                  <a:lnTo>
                    <a:pt x="0" y="0"/>
                  </a:lnTo>
                  <a:lnTo>
                    <a:pt x="2" y="2"/>
                  </a:lnTo>
                  <a:lnTo>
                    <a:pt x="6" y="11"/>
                  </a:lnTo>
                  <a:lnTo>
                    <a:pt x="2" y="11"/>
                  </a:lnTo>
                  <a:lnTo>
                    <a:pt x="2" y="14"/>
                  </a:lnTo>
                  <a:lnTo>
                    <a:pt x="2" y="16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61" name="Line 1417"/>
            <p:cNvSpPr>
              <a:spLocks noChangeShapeType="1"/>
            </p:cNvSpPr>
            <p:nvPr/>
          </p:nvSpPr>
          <p:spPr bwMode="auto">
            <a:xfrm flipV="1">
              <a:off x="7163496" y="3690632"/>
              <a:ext cx="10385" cy="26533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62" name="Line 1418"/>
            <p:cNvSpPr>
              <a:spLocks noChangeShapeType="1"/>
            </p:cNvSpPr>
            <p:nvPr/>
          </p:nvSpPr>
          <p:spPr bwMode="auto">
            <a:xfrm flipV="1">
              <a:off x="7199845" y="3642872"/>
              <a:ext cx="5193" cy="26533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63" name="Line 1419"/>
            <p:cNvSpPr>
              <a:spLocks noChangeShapeType="1"/>
            </p:cNvSpPr>
            <p:nvPr/>
          </p:nvSpPr>
          <p:spPr bwMode="auto">
            <a:xfrm flipV="1">
              <a:off x="7371203" y="3154658"/>
              <a:ext cx="5193" cy="21227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64" name="Freeform 1420"/>
            <p:cNvSpPr>
              <a:spLocks/>
            </p:cNvSpPr>
            <p:nvPr/>
          </p:nvSpPr>
          <p:spPr bwMode="auto">
            <a:xfrm>
              <a:off x="7381590" y="3117511"/>
              <a:ext cx="31156" cy="26533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2" y="2"/>
                </a:cxn>
                <a:cxn ang="0">
                  <a:pos x="0" y="5"/>
                </a:cxn>
              </a:cxnLst>
              <a:rect l="0" t="0" r="r" b="b"/>
              <a:pathLst>
                <a:path w="6" h="5">
                  <a:moveTo>
                    <a:pt x="0" y="5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65" name="Line 1421"/>
            <p:cNvSpPr>
              <a:spLocks noChangeShapeType="1"/>
            </p:cNvSpPr>
            <p:nvPr/>
          </p:nvSpPr>
          <p:spPr bwMode="auto">
            <a:xfrm flipV="1">
              <a:off x="7423131" y="3096285"/>
              <a:ext cx="5193" cy="31840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66" name="Line 1422"/>
            <p:cNvSpPr>
              <a:spLocks noChangeShapeType="1"/>
            </p:cNvSpPr>
            <p:nvPr/>
          </p:nvSpPr>
          <p:spPr bwMode="auto">
            <a:xfrm>
              <a:off x="7449094" y="3080365"/>
              <a:ext cx="10385" cy="5307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67" name="Freeform 1423"/>
            <p:cNvSpPr>
              <a:spLocks/>
            </p:cNvSpPr>
            <p:nvPr/>
          </p:nvSpPr>
          <p:spPr bwMode="auto">
            <a:xfrm>
              <a:off x="7459480" y="2953005"/>
              <a:ext cx="10385" cy="31840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6"/>
                </a:cxn>
                <a:cxn ang="0">
                  <a:pos x="2" y="4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4"/>
                </a:cxn>
              </a:cxnLst>
              <a:rect l="0" t="0" r="r" b="b"/>
              <a:pathLst>
                <a:path w="2" h="6">
                  <a:moveTo>
                    <a:pt x="0" y="4"/>
                  </a:moveTo>
                  <a:lnTo>
                    <a:pt x="0" y="6"/>
                  </a:lnTo>
                  <a:lnTo>
                    <a:pt x="2" y="4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68" name="Freeform 1424"/>
            <p:cNvSpPr>
              <a:spLocks/>
            </p:cNvSpPr>
            <p:nvPr/>
          </p:nvSpPr>
          <p:spPr bwMode="auto">
            <a:xfrm>
              <a:off x="7412745" y="2714204"/>
              <a:ext cx="10385" cy="1061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" y="2"/>
                </a:cxn>
                <a:cxn ang="0">
                  <a:pos x="0" y="0"/>
                </a:cxn>
                <a:cxn ang="0">
                  <a:pos x="0" y="2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69" name="Line 1425"/>
            <p:cNvSpPr>
              <a:spLocks noChangeShapeType="1"/>
            </p:cNvSpPr>
            <p:nvPr/>
          </p:nvSpPr>
          <p:spPr bwMode="auto">
            <a:xfrm>
              <a:off x="7308892" y="2401110"/>
              <a:ext cx="20771" cy="10613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70" name="Freeform 1426"/>
            <p:cNvSpPr>
              <a:spLocks/>
            </p:cNvSpPr>
            <p:nvPr/>
          </p:nvSpPr>
          <p:spPr bwMode="auto">
            <a:xfrm>
              <a:off x="7308892" y="2390497"/>
              <a:ext cx="62312" cy="10613"/>
            </a:xfrm>
            <a:custGeom>
              <a:avLst/>
              <a:gdLst/>
              <a:ahLst/>
              <a:cxnLst>
                <a:cxn ang="0">
                  <a:pos x="4" y="2"/>
                </a:cxn>
                <a:cxn ang="0">
                  <a:pos x="12" y="0"/>
                </a:cxn>
                <a:cxn ang="0">
                  <a:pos x="0" y="0"/>
                </a:cxn>
                <a:cxn ang="0">
                  <a:pos x="4" y="2"/>
                </a:cxn>
              </a:cxnLst>
              <a:rect l="0" t="0" r="r" b="b"/>
              <a:pathLst>
                <a:path w="12" h="2">
                  <a:moveTo>
                    <a:pt x="4" y="2"/>
                  </a:moveTo>
                  <a:lnTo>
                    <a:pt x="12" y="0"/>
                  </a:lnTo>
                  <a:lnTo>
                    <a:pt x="0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71" name="Freeform 1427"/>
            <p:cNvSpPr>
              <a:spLocks/>
            </p:cNvSpPr>
            <p:nvPr/>
          </p:nvSpPr>
          <p:spPr bwMode="auto">
            <a:xfrm>
              <a:off x="7308892" y="2390497"/>
              <a:ext cx="62312" cy="10613"/>
            </a:xfrm>
            <a:custGeom>
              <a:avLst/>
              <a:gdLst/>
              <a:ahLst/>
              <a:cxnLst>
                <a:cxn ang="0">
                  <a:pos x="4" y="2"/>
                </a:cxn>
                <a:cxn ang="0">
                  <a:pos x="12" y="0"/>
                </a:cxn>
                <a:cxn ang="0">
                  <a:pos x="0" y="0"/>
                </a:cxn>
              </a:cxnLst>
              <a:rect l="0" t="0" r="r" b="b"/>
              <a:pathLst>
                <a:path w="12" h="2">
                  <a:moveTo>
                    <a:pt x="4" y="2"/>
                  </a:moveTo>
                  <a:lnTo>
                    <a:pt x="12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72" name="Freeform 1428"/>
            <p:cNvSpPr>
              <a:spLocks/>
            </p:cNvSpPr>
            <p:nvPr/>
          </p:nvSpPr>
          <p:spPr bwMode="auto">
            <a:xfrm>
              <a:off x="6581915" y="2316204"/>
              <a:ext cx="51927" cy="26533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10" y="5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3"/>
                </a:cxn>
                <a:cxn ang="0">
                  <a:pos x="0" y="5"/>
                </a:cxn>
              </a:cxnLst>
              <a:rect l="0" t="0" r="r" b="b"/>
              <a:pathLst>
                <a:path w="10" h="5">
                  <a:moveTo>
                    <a:pt x="0" y="5"/>
                  </a:moveTo>
                  <a:lnTo>
                    <a:pt x="10" y="5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73" name="Line 1429"/>
            <p:cNvSpPr>
              <a:spLocks noChangeShapeType="1"/>
            </p:cNvSpPr>
            <p:nvPr/>
          </p:nvSpPr>
          <p:spPr bwMode="auto">
            <a:xfrm>
              <a:off x="6545566" y="2332124"/>
              <a:ext cx="15578" cy="5307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74" name="Freeform 1430"/>
            <p:cNvSpPr>
              <a:spLocks/>
            </p:cNvSpPr>
            <p:nvPr/>
          </p:nvSpPr>
          <p:spPr bwMode="auto">
            <a:xfrm>
              <a:off x="6602686" y="2294977"/>
              <a:ext cx="88276" cy="10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7" y="2"/>
                </a:cxn>
                <a:cxn ang="0">
                  <a:pos x="17" y="0"/>
                </a:cxn>
                <a:cxn ang="0">
                  <a:pos x="8" y="0"/>
                </a:cxn>
                <a:cxn ang="0">
                  <a:pos x="0" y="0"/>
                </a:cxn>
              </a:cxnLst>
              <a:rect l="0" t="0" r="r" b="b"/>
              <a:pathLst>
                <a:path w="17" h="2">
                  <a:moveTo>
                    <a:pt x="0" y="0"/>
                  </a:moveTo>
                  <a:lnTo>
                    <a:pt x="17" y="2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75" name="Freeform 1431"/>
            <p:cNvSpPr>
              <a:spLocks/>
            </p:cNvSpPr>
            <p:nvPr/>
          </p:nvSpPr>
          <p:spPr bwMode="auto">
            <a:xfrm>
              <a:off x="6441713" y="2268444"/>
              <a:ext cx="150588" cy="37147"/>
            </a:xfrm>
            <a:custGeom>
              <a:avLst/>
              <a:gdLst/>
              <a:ahLst/>
              <a:cxnLst>
                <a:cxn ang="0">
                  <a:pos x="4" y="5"/>
                </a:cxn>
                <a:cxn ang="0">
                  <a:pos x="14" y="7"/>
                </a:cxn>
                <a:cxn ang="0">
                  <a:pos x="27" y="7"/>
                </a:cxn>
                <a:cxn ang="0">
                  <a:pos x="29" y="5"/>
                </a:cxn>
                <a:cxn ang="0">
                  <a:pos x="14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2" y="3"/>
                </a:cxn>
                <a:cxn ang="0">
                  <a:pos x="4" y="5"/>
                </a:cxn>
              </a:cxnLst>
              <a:rect l="0" t="0" r="r" b="b"/>
              <a:pathLst>
                <a:path w="29" h="7">
                  <a:moveTo>
                    <a:pt x="4" y="5"/>
                  </a:moveTo>
                  <a:lnTo>
                    <a:pt x="14" y="7"/>
                  </a:lnTo>
                  <a:lnTo>
                    <a:pt x="27" y="7"/>
                  </a:lnTo>
                  <a:lnTo>
                    <a:pt x="29" y="5"/>
                  </a:lnTo>
                  <a:lnTo>
                    <a:pt x="14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2" y="3"/>
                  </a:lnTo>
                  <a:lnTo>
                    <a:pt x="4" y="5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76" name="Freeform 1432"/>
            <p:cNvSpPr>
              <a:spLocks/>
            </p:cNvSpPr>
            <p:nvPr/>
          </p:nvSpPr>
          <p:spPr bwMode="auto">
            <a:xfrm>
              <a:off x="5777049" y="2188843"/>
              <a:ext cx="77890" cy="31840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15" y="6"/>
                </a:cxn>
                <a:cxn ang="0">
                  <a:pos x="13" y="4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4"/>
                </a:cxn>
                <a:cxn ang="0">
                  <a:pos x="0" y="6"/>
                </a:cxn>
              </a:cxnLst>
              <a:rect l="0" t="0" r="r" b="b"/>
              <a:pathLst>
                <a:path w="15" h="6">
                  <a:moveTo>
                    <a:pt x="0" y="6"/>
                  </a:moveTo>
                  <a:lnTo>
                    <a:pt x="15" y="6"/>
                  </a:lnTo>
                  <a:lnTo>
                    <a:pt x="13" y="4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77" name="Freeform 1433"/>
            <p:cNvSpPr>
              <a:spLocks/>
            </p:cNvSpPr>
            <p:nvPr/>
          </p:nvSpPr>
          <p:spPr bwMode="auto">
            <a:xfrm>
              <a:off x="5605690" y="2162310"/>
              <a:ext cx="160974" cy="47760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5" y="9"/>
                </a:cxn>
                <a:cxn ang="0">
                  <a:pos x="31" y="9"/>
                </a:cxn>
                <a:cxn ang="0">
                  <a:pos x="29" y="5"/>
                </a:cxn>
                <a:cxn ang="0">
                  <a:pos x="8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0" y="2"/>
                </a:cxn>
              </a:cxnLst>
              <a:rect l="0" t="0" r="r" b="b"/>
              <a:pathLst>
                <a:path w="31" h="9">
                  <a:moveTo>
                    <a:pt x="0" y="2"/>
                  </a:moveTo>
                  <a:lnTo>
                    <a:pt x="15" y="9"/>
                  </a:lnTo>
                  <a:lnTo>
                    <a:pt x="31" y="9"/>
                  </a:lnTo>
                  <a:lnTo>
                    <a:pt x="29" y="5"/>
                  </a:lnTo>
                  <a:lnTo>
                    <a:pt x="8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78" name="Freeform 1434"/>
            <p:cNvSpPr>
              <a:spLocks/>
            </p:cNvSpPr>
            <p:nvPr/>
          </p:nvSpPr>
          <p:spPr bwMode="auto">
            <a:xfrm>
              <a:off x="5076036" y="2257830"/>
              <a:ext cx="249249" cy="143280"/>
            </a:xfrm>
            <a:custGeom>
              <a:avLst/>
              <a:gdLst/>
              <a:ahLst/>
              <a:cxnLst>
                <a:cxn ang="0">
                  <a:pos x="4" y="25"/>
                </a:cxn>
                <a:cxn ang="0">
                  <a:pos x="12" y="27"/>
                </a:cxn>
                <a:cxn ang="0">
                  <a:pos x="23" y="27"/>
                </a:cxn>
                <a:cxn ang="0">
                  <a:pos x="16" y="25"/>
                </a:cxn>
                <a:cxn ang="0">
                  <a:pos x="14" y="18"/>
                </a:cxn>
                <a:cxn ang="0">
                  <a:pos x="25" y="7"/>
                </a:cxn>
                <a:cxn ang="0">
                  <a:pos x="48" y="2"/>
                </a:cxn>
                <a:cxn ang="0">
                  <a:pos x="46" y="0"/>
                </a:cxn>
                <a:cxn ang="0">
                  <a:pos x="43" y="0"/>
                </a:cxn>
                <a:cxn ang="0">
                  <a:pos x="37" y="0"/>
                </a:cxn>
                <a:cxn ang="0">
                  <a:pos x="23" y="2"/>
                </a:cxn>
                <a:cxn ang="0">
                  <a:pos x="8" y="7"/>
                </a:cxn>
                <a:cxn ang="0">
                  <a:pos x="8" y="11"/>
                </a:cxn>
                <a:cxn ang="0">
                  <a:pos x="6" y="11"/>
                </a:cxn>
                <a:cxn ang="0">
                  <a:pos x="8" y="16"/>
                </a:cxn>
                <a:cxn ang="0">
                  <a:pos x="4" y="18"/>
                </a:cxn>
                <a:cxn ang="0">
                  <a:pos x="6" y="18"/>
                </a:cxn>
                <a:cxn ang="0">
                  <a:pos x="0" y="20"/>
                </a:cxn>
                <a:cxn ang="0">
                  <a:pos x="2" y="23"/>
                </a:cxn>
                <a:cxn ang="0">
                  <a:pos x="4" y="25"/>
                </a:cxn>
              </a:cxnLst>
              <a:rect l="0" t="0" r="r" b="b"/>
              <a:pathLst>
                <a:path w="48" h="27">
                  <a:moveTo>
                    <a:pt x="4" y="25"/>
                  </a:moveTo>
                  <a:lnTo>
                    <a:pt x="12" y="27"/>
                  </a:lnTo>
                  <a:lnTo>
                    <a:pt x="23" y="27"/>
                  </a:lnTo>
                  <a:lnTo>
                    <a:pt x="16" y="25"/>
                  </a:lnTo>
                  <a:lnTo>
                    <a:pt x="14" y="18"/>
                  </a:lnTo>
                  <a:lnTo>
                    <a:pt x="25" y="7"/>
                  </a:lnTo>
                  <a:lnTo>
                    <a:pt x="48" y="2"/>
                  </a:lnTo>
                  <a:lnTo>
                    <a:pt x="46" y="0"/>
                  </a:lnTo>
                  <a:lnTo>
                    <a:pt x="43" y="0"/>
                  </a:lnTo>
                  <a:lnTo>
                    <a:pt x="37" y="0"/>
                  </a:lnTo>
                  <a:lnTo>
                    <a:pt x="23" y="2"/>
                  </a:lnTo>
                  <a:lnTo>
                    <a:pt x="8" y="7"/>
                  </a:lnTo>
                  <a:lnTo>
                    <a:pt x="8" y="11"/>
                  </a:lnTo>
                  <a:lnTo>
                    <a:pt x="6" y="11"/>
                  </a:lnTo>
                  <a:lnTo>
                    <a:pt x="8" y="16"/>
                  </a:lnTo>
                  <a:lnTo>
                    <a:pt x="4" y="18"/>
                  </a:lnTo>
                  <a:lnTo>
                    <a:pt x="6" y="18"/>
                  </a:lnTo>
                  <a:lnTo>
                    <a:pt x="0" y="20"/>
                  </a:lnTo>
                  <a:lnTo>
                    <a:pt x="2" y="23"/>
                  </a:lnTo>
                  <a:lnTo>
                    <a:pt x="4" y="25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79" name="Freeform 1435"/>
            <p:cNvSpPr>
              <a:spLocks/>
            </p:cNvSpPr>
            <p:nvPr/>
          </p:nvSpPr>
          <p:spPr bwMode="auto">
            <a:xfrm>
              <a:off x="5050073" y="2438257"/>
              <a:ext cx="46734" cy="10613"/>
            </a:xfrm>
            <a:custGeom>
              <a:avLst/>
              <a:gdLst/>
              <a:ahLst/>
              <a:cxnLst>
                <a:cxn ang="0">
                  <a:pos x="3" y="2"/>
                </a:cxn>
                <a:cxn ang="0">
                  <a:pos x="5" y="2"/>
                </a:cxn>
                <a:cxn ang="0">
                  <a:pos x="9" y="0"/>
                </a:cxn>
                <a:cxn ang="0">
                  <a:pos x="3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3" y="2"/>
                </a:cxn>
              </a:cxnLst>
              <a:rect l="0" t="0" r="r" b="b"/>
              <a:pathLst>
                <a:path w="9" h="2">
                  <a:moveTo>
                    <a:pt x="3" y="2"/>
                  </a:moveTo>
                  <a:lnTo>
                    <a:pt x="5" y="2"/>
                  </a:lnTo>
                  <a:lnTo>
                    <a:pt x="9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3" y="2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80" name="Freeform 1436"/>
            <p:cNvSpPr>
              <a:spLocks/>
            </p:cNvSpPr>
            <p:nvPr/>
          </p:nvSpPr>
          <p:spPr bwMode="auto">
            <a:xfrm>
              <a:off x="5076036" y="2162310"/>
              <a:ext cx="119432" cy="1061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4" y="2"/>
                </a:cxn>
                <a:cxn ang="0">
                  <a:pos x="16" y="2"/>
                </a:cxn>
                <a:cxn ang="0">
                  <a:pos x="14" y="0"/>
                </a:cxn>
                <a:cxn ang="0">
                  <a:pos x="23" y="0"/>
                </a:cxn>
                <a:cxn ang="0">
                  <a:pos x="21" y="0"/>
                </a:cxn>
                <a:cxn ang="0">
                  <a:pos x="10" y="2"/>
                </a:cxn>
                <a:cxn ang="0">
                  <a:pos x="2" y="2"/>
                </a:cxn>
                <a:cxn ang="0">
                  <a:pos x="0" y="2"/>
                </a:cxn>
              </a:cxnLst>
              <a:rect l="0" t="0" r="r" b="b"/>
              <a:pathLst>
                <a:path w="23" h="2">
                  <a:moveTo>
                    <a:pt x="0" y="2"/>
                  </a:moveTo>
                  <a:lnTo>
                    <a:pt x="14" y="2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23" y="0"/>
                  </a:lnTo>
                  <a:lnTo>
                    <a:pt x="21" y="0"/>
                  </a:lnTo>
                  <a:lnTo>
                    <a:pt x="10" y="2"/>
                  </a:lnTo>
                  <a:lnTo>
                    <a:pt x="2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81" name="Freeform 1437"/>
            <p:cNvSpPr>
              <a:spLocks/>
            </p:cNvSpPr>
            <p:nvPr/>
          </p:nvSpPr>
          <p:spPr bwMode="auto">
            <a:xfrm>
              <a:off x="5029302" y="2141083"/>
              <a:ext cx="77890" cy="21227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15" y="4"/>
                </a:cxn>
                <a:cxn ang="0">
                  <a:pos x="13" y="4"/>
                </a:cxn>
                <a:cxn ang="0">
                  <a:pos x="13" y="0"/>
                </a:cxn>
                <a:cxn ang="0">
                  <a:pos x="7" y="4"/>
                </a:cxn>
                <a:cxn ang="0">
                  <a:pos x="2" y="4"/>
                </a:cxn>
                <a:cxn ang="0">
                  <a:pos x="0" y="4"/>
                </a:cxn>
              </a:cxnLst>
              <a:rect l="0" t="0" r="r" b="b"/>
              <a:pathLst>
                <a:path w="15" h="4">
                  <a:moveTo>
                    <a:pt x="0" y="4"/>
                  </a:moveTo>
                  <a:lnTo>
                    <a:pt x="15" y="4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7" y="4"/>
                  </a:lnTo>
                  <a:lnTo>
                    <a:pt x="2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82" name="Line 1438"/>
            <p:cNvSpPr>
              <a:spLocks noChangeShapeType="1"/>
            </p:cNvSpPr>
            <p:nvPr/>
          </p:nvSpPr>
          <p:spPr bwMode="auto">
            <a:xfrm>
              <a:off x="5018917" y="2188843"/>
              <a:ext cx="31156" cy="5307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83" name="Freeform 1439"/>
            <p:cNvSpPr>
              <a:spLocks/>
            </p:cNvSpPr>
            <p:nvPr/>
          </p:nvSpPr>
          <p:spPr bwMode="auto">
            <a:xfrm>
              <a:off x="4889099" y="2162310"/>
              <a:ext cx="98661" cy="1061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3" y="2"/>
                </a:cxn>
                <a:cxn ang="0">
                  <a:pos x="17" y="2"/>
                </a:cxn>
                <a:cxn ang="0">
                  <a:pos x="19" y="2"/>
                </a:cxn>
                <a:cxn ang="0">
                  <a:pos x="9" y="0"/>
                </a:cxn>
                <a:cxn ang="0">
                  <a:pos x="4" y="2"/>
                </a:cxn>
                <a:cxn ang="0">
                  <a:pos x="0" y="2"/>
                </a:cxn>
              </a:cxnLst>
              <a:rect l="0" t="0" r="r" b="b"/>
              <a:pathLst>
                <a:path w="19" h="2">
                  <a:moveTo>
                    <a:pt x="0" y="2"/>
                  </a:moveTo>
                  <a:lnTo>
                    <a:pt x="13" y="2"/>
                  </a:lnTo>
                  <a:lnTo>
                    <a:pt x="17" y="2"/>
                  </a:lnTo>
                  <a:lnTo>
                    <a:pt x="19" y="2"/>
                  </a:lnTo>
                  <a:lnTo>
                    <a:pt x="9" y="0"/>
                  </a:lnTo>
                  <a:lnTo>
                    <a:pt x="4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84" name="Freeform 1440"/>
            <p:cNvSpPr>
              <a:spLocks/>
            </p:cNvSpPr>
            <p:nvPr/>
          </p:nvSpPr>
          <p:spPr bwMode="auto">
            <a:xfrm>
              <a:off x="4390601" y="2172923"/>
              <a:ext cx="249249" cy="8490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2" y="7"/>
                </a:cxn>
                <a:cxn ang="0">
                  <a:pos x="4" y="9"/>
                </a:cxn>
                <a:cxn ang="0">
                  <a:pos x="9" y="9"/>
                </a:cxn>
                <a:cxn ang="0">
                  <a:pos x="9" y="14"/>
                </a:cxn>
                <a:cxn ang="0">
                  <a:pos x="17" y="16"/>
                </a:cxn>
                <a:cxn ang="0">
                  <a:pos x="21" y="9"/>
                </a:cxn>
                <a:cxn ang="0">
                  <a:pos x="27" y="9"/>
                </a:cxn>
                <a:cxn ang="0">
                  <a:pos x="27" y="14"/>
                </a:cxn>
                <a:cxn ang="0">
                  <a:pos x="42" y="14"/>
                </a:cxn>
                <a:cxn ang="0">
                  <a:pos x="21" y="7"/>
                </a:cxn>
                <a:cxn ang="0">
                  <a:pos x="21" y="3"/>
                </a:cxn>
                <a:cxn ang="0">
                  <a:pos x="36" y="7"/>
                </a:cxn>
                <a:cxn ang="0">
                  <a:pos x="48" y="3"/>
                </a:cxn>
                <a:cxn ang="0">
                  <a:pos x="44" y="0"/>
                </a:cxn>
                <a:cxn ang="0">
                  <a:pos x="25" y="0"/>
                </a:cxn>
                <a:cxn ang="0">
                  <a:pos x="13" y="3"/>
                </a:cxn>
                <a:cxn ang="0">
                  <a:pos x="6" y="3"/>
                </a:cxn>
                <a:cxn ang="0">
                  <a:pos x="0" y="3"/>
                </a:cxn>
              </a:cxnLst>
              <a:rect l="0" t="0" r="r" b="b"/>
              <a:pathLst>
                <a:path w="48" h="16">
                  <a:moveTo>
                    <a:pt x="0" y="3"/>
                  </a:moveTo>
                  <a:lnTo>
                    <a:pt x="2" y="7"/>
                  </a:lnTo>
                  <a:lnTo>
                    <a:pt x="4" y="9"/>
                  </a:lnTo>
                  <a:lnTo>
                    <a:pt x="9" y="9"/>
                  </a:lnTo>
                  <a:lnTo>
                    <a:pt x="9" y="14"/>
                  </a:lnTo>
                  <a:lnTo>
                    <a:pt x="17" y="16"/>
                  </a:lnTo>
                  <a:lnTo>
                    <a:pt x="21" y="9"/>
                  </a:lnTo>
                  <a:lnTo>
                    <a:pt x="27" y="9"/>
                  </a:lnTo>
                  <a:lnTo>
                    <a:pt x="27" y="14"/>
                  </a:lnTo>
                  <a:lnTo>
                    <a:pt x="42" y="14"/>
                  </a:lnTo>
                  <a:lnTo>
                    <a:pt x="21" y="7"/>
                  </a:lnTo>
                  <a:lnTo>
                    <a:pt x="21" y="3"/>
                  </a:lnTo>
                  <a:lnTo>
                    <a:pt x="36" y="7"/>
                  </a:lnTo>
                  <a:lnTo>
                    <a:pt x="48" y="3"/>
                  </a:lnTo>
                  <a:lnTo>
                    <a:pt x="44" y="0"/>
                  </a:lnTo>
                  <a:lnTo>
                    <a:pt x="25" y="0"/>
                  </a:lnTo>
                  <a:lnTo>
                    <a:pt x="13" y="3"/>
                  </a:lnTo>
                  <a:lnTo>
                    <a:pt x="6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85" name="Line 1441"/>
            <p:cNvSpPr>
              <a:spLocks noChangeShapeType="1"/>
            </p:cNvSpPr>
            <p:nvPr/>
          </p:nvSpPr>
          <p:spPr bwMode="auto">
            <a:xfrm>
              <a:off x="4032306" y="2639911"/>
              <a:ext cx="10385" cy="5307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86" name="Freeform 1442"/>
            <p:cNvSpPr>
              <a:spLocks/>
            </p:cNvSpPr>
            <p:nvPr/>
          </p:nvSpPr>
          <p:spPr bwMode="auto">
            <a:xfrm>
              <a:off x="4130968" y="2677057"/>
              <a:ext cx="20771" cy="2122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0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w="4" h="4">
                  <a:moveTo>
                    <a:pt x="0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87" name="Line 1443"/>
            <p:cNvSpPr>
              <a:spLocks noChangeShapeType="1"/>
            </p:cNvSpPr>
            <p:nvPr/>
          </p:nvSpPr>
          <p:spPr bwMode="auto">
            <a:xfrm>
              <a:off x="4110197" y="2724818"/>
              <a:ext cx="5193" cy="10613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88" name="Freeform 1444"/>
            <p:cNvSpPr>
              <a:spLocks/>
            </p:cNvSpPr>
            <p:nvPr/>
          </p:nvSpPr>
          <p:spPr bwMode="auto">
            <a:xfrm>
              <a:off x="4021921" y="2724818"/>
              <a:ext cx="20771" cy="37147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2" y="7"/>
                </a:cxn>
                <a:cxn ang="0">
                  <a:pos x="4" y="0"/>
                </a:cxn>
                <a:cxn ang="0">
                  <a:pos x="0" y="4"/>
                </a:cxn>
                <a:cxn ang="0">
                  <a:pos x="0" y="7"/>
                </a:cxn>
              </a:cxnLst>
              <a:rect l="0" t="0" r="r" b="b"/>
              <a:pathLst>
                <a:path w="4" h="7">
                  <a:moveTo>
                    <a:pt x="0" y="7"/>
                  </a:moveTo>
                  <a:lnTo>
                    <a:pt x="2" y="7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89" name="Freeform 1445"/>
            <p:cNvSpPr>
              <a:spLocks/>
            </p:cNvSpPr>
            <p:nvPr/>
          </p:nvSpPr>
          <p:spPr bwMode="auto">
            <a:xfrm>
              <a:off x="4530804" y="2746044"/>
              <a:ext cx="10385" cy="26533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5"/>
                </a:cxn>
                <a:cxn ang="0">
                  <a:pos x="0" y="3"/>
                </a:cxn>
                <a:cxn ang="0">
                  <a:pos x="2" y="0"/>
                </a:cxn>
                <a:cxn ang="0">
                  <a:pos x="0" y="3"/>
                </a:cxn>
              </a:cxnLst>
              <a:rect l="0" t="0" r="r" b="b"/>
              <a:pathLst>
                <a:path w="2" h="5">
                  <a:moveTo>
                    <a:pt x="0" y="3"/>
                  </a:moveTo>
                  <a:lnTo>
                    <a:pt x="0" y="5"/>
                  </a:lnTo>
                  <a:lnTo>
                    <a:pt x="0" y="3"/>
                  </a:lnTo>
                  <a:lnTo>
                    <a:pt x="2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90" name="Freeform 1446"/>
            <p:cNvSpPr>
              <a:spLocks/>
            </p:cNvSpPr>
            <p:nvPr/>
          </p:nvSpPr>
          <p:spPr bwMode="auto">
            <a:xfrm>
              <a:off x="4608695" y="2724818"/>
              <a:ext cx="10385" cy="21227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4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91" name="Freeform 1447"/>
            <p:cNvSpPr>
              <a:spLocks/>
            </p:cNvSpPr>
            <p:nvPr/>
          </p:nvSpPr>
          <p:spPr bwMode="auto">
            <a:xfrm>
              <a:off x="4608695" y="2714204"/>
              <a:ext cx="10385" cy="1061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" y="2"/>
                </a:cxn>
                <a:cxn ang="0">
                  <a:pos x="0" y="0"/>
                </a:cxn>
                <a:cxn ang="0">
                  <a:pos x="0" y="2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92" name="Freeform 1448"/>
            <p:cNvSpPr>
              <a:spLocks/>
            </p:cNvSpPr>
            <p:nvPr/>
          </p:nvSpPr>
          <p:spPr bwMode="auto">
            <a:xfrm>
              <a:off x="4032306" y="2724818"/>
              <a:ext cx="166166" cy="249414"/>
            </a:xfrm>
            <a:custGeom>
              <a:avLst/>
              <a:gdLst/>
              <a:ahLst/>
              <a:cxnLst>
                <a:cxn ang="0">
                  <a:pos x="0" y="47"/>
                </a:cxn>
                <a:cxn ang="0">
                  <a:pos x="2" y="47"/>
                </a:cxn>
                <a:cxn ang="0">
                  <a:pos x="9" y="47"/>
                </a:cxn>
                <a:cxn ang="0">
                  <a:pos x="11" y="43"/>
                </a:cxn>
                <a:cxn ang="0">
                  <a:pos x="15" y="47"/>
                </a:cxn>
                <a:cxn ang="0">
                  <a:pos x="25" y="43"/>
                </a:cxn>
                <a:cxn ang="0">
                  <a:pos x="30" y="40"/>
                </a:cxn>
                <a:cxn ang="0">
                  <a:pos x="25" y="40"/>
                </a:cxn>
                <a:cxn ang="0">
                  <a:pos x="32" y="34"/>
                </a:cxn>
                <a:cxn ang="0">
                  <a:pos x="30" y="31"/>
                </a:cxn>
                <a:cxn ang="0">
                  <a:pos x="23" y="31"/>
                </a:cxn>
                <a:cxn ang="0">
                  <a:pos x="25" y="31"/>
                </a:cxn>
                <a:cxn ang="0">
                  <a:pos x="23" y="25"/>
                </a:cxn>
                <a:cxn ang="0">
                  <a:pos x="19" y="22"/>
                </a:cxn>
                <a:cxn ang="0">
                  <a:pos x="17" y="16"/>
                </a:cxn>
                <a:cxn ang="0">
                  <a:pos x="11" y="16"/>
                </a:cxn>
                <a:cxn ang="0">
                  <a:pos x="17" y="7"/>
                </a:cxn>
                <a:cxn ang="0">
                  <a:pos x="9" y="7"/>
                </a:cxn>
                <a:cxn ang="0">
                  <a:pos x="15" y="4"/>
                </a:cxn>
                <a:cxn ang="0">
                  <a:pos x="15" y="0"/>
                </a:cxn>
                <a:cxn ang="0">
                  <a:pos x="7" y="0"/>
                </a:cxn>
                <a:cxn ang="0">
                  <a:pos x="2" y="7"/>
                </a:cxn>
                <a:cxn ang="0">
                  <a:pos x="2" y="9"/>
                </a:cxn>
                <a:cxn ang="0">
                  <a:pos x="0" y="13"/>
                </a:cxn>
                <a:cxn ang="0">
                  <a:pos x="2" y="13"/>
                </a:cxn>
                <a:cxn ang="0">
                  <a:pos x="2" y="16"/>
                </a:cxn>
                <a:cxn ang="0">
                  <a:pos x="0" y="16"/>
                </a:cxn>
                <a:cxn ang="0">
                  <a:pos x="2" y="16"/>
                </a:cxn>
                <a:cxn ang="0">
                  <a:pos x="2" y="18"/>
                </a:cxn>
                <a:cxn ang="0">
                  <a:pos x="7" y="16"/>
                </a:cxn>
                <a:cxn ang="0">
                  <a:pos x="7" y="18"/>
                </a:cxn>
                <a:cxn ang="0">
                  <a:pos x="2" y="22"/>
                </a:cxn>
                <a:cxn ang="0">
                  <a:pos x="7" y="22"/>
                </a:cxn>
                <a:cxn ang="0">
                  <a:pos x="11" y="22"/>
                </a:cxn>
                <a:cxn ang="0">
                  <a:pos x="9" y="22"/>
                </a:cxn>
                <a:cxn ang="0">
                  <a:pos x="15" y="25"/>
                </a:cxn>
                <a:cxn ang="0">
                  <a:pos x="11" y="31"/>
                </a:cxn>
                <a:cxn ang="0">
                  <a:pos x="7" y="31"/>
                </a:cxn>
                <a:cxn ang="0">
                  <a:pos x="7" y="34"/>
                </a:cxn>
                <a:cxn ang="0">
                  <a:pos x="2" y="38"/>
                </a:cxn>
                <a:cxn ang="0">
                  <a:pos x="2" y="40"/>
                </a:cxn>
                <a:cxn ang="0">
                  <a:pos x="9" y="40"/>
                </a:cxn>
                <a:cxn ang="0">
                  <a:pos x="11" y="40"/>
                </a:cxn>
                <a:cxn ang="0">
                  <a:pos x="7" y="40"/>
                </a:cxn>
                <a:cxn ang="0">
                  <a:pos x="2" y="45"/>
                </a:cxn>
                <a:cxn ang="0">
                  <a:pos x="0" y="47"/>
                </a:cxn>
              </a:cxnLst>
              <a:rect l="0" t="0" r="r" b="b"/>
              <a:pathLst>
                <a:path w="32" h="47">
                  <a:moveTo>
                    <a:pt x="0" y="47"/>
                  </a:moveTo>
                  <a:lnTo>
                    <a:pt x="2" y="47"/>
                  </a:lnTo>
                  <a:lnTo>
                    <a:pt x="9" y="47"/>
                  </a:lnTo>
                  <a:lnTo>
                    <a:pt x="11" y="43"/>
                  </a:lnTo>
                  <a:lnTo>
                    <a:pt x="15" y="47"/>
                  </a:lnTo>
                  <a:lnTo>
                    <a:pt x="25" y="43"/>
                  </a:lnTo>
                  <a:lnTo>
                    <a:pt x="30" y="40"/>
                  </a:lnTo>
                  <a:lnTo>
                    <a:pt x="25" y="40"/>
                  </a:lnTo>
                  <a:lnTo>
                    <a:pt x="32" y="34"/>
                  </a:lnTo>
                  <a:lnTo>
                    <a:pt x="30" y="31"/>
                  </a:lnTo>
                  <a:lnTo>
                    <a:pt x="23" y="31"/>
                  </a:lnTo>
                  <a:lnTo>
                    <a:pt x="25" y="31"/>
                  </a:lnTo>
                  <a:lnTo>
                    <a:pt x="23" y="25"/>
                  </a:lnTo>
                  <a:lnTo>
                    <a:pt x="19" y="22"/>
                  </a:lnTo>
                  <a:lnTo>
                    <a:pt x="17" y="16"/>
                  </a:lnTo>
                  <a:lnTo>
                    <a:pt x="11" y="16"/>
                  </a:lnTo>
                  <a:lnTo>
                    <a:pt x="17" y="7"/>
                  </a:lnTo>
                  <a:lnTo>
                    <a:pt x="9" y="7"/>
                  </a:lnTo>
                  <a:lnTo>
                    <a:pt x="15" y="4"/>
                  </a:lnTo>
                  <a:lnTo>
                    <a:pt x="15" y="0"/>
                  </a:lnTo>
                  <a:lnTo>
                    <a:pt x="7" y="0"/>
                  </a:lnTo>
                  <a:lnTo>
                    <a:pt x="2" y="7"/>
                  </a:lnTo>
                  <a:lnTo>
                    <a:pt x="2" y="9"/>
                  </a:lnTo>
                  <a:lnTo>
                    <a:pt x="0" y="13"/>
                  </a:lnTo>
                  <a:lnTo>
                    <a:pt x="2" y="13"/>
                  </a:lnTo>
                  <a:lnTo>
                    <a:pt x="2" y="16"/>
                  </a:lnTo>
                  <a:lnTo>
                    <a:pt x="0" y="16"/>
                  </a:lnTo>
                  <a:lnTo>
                    <a:pt x="2" y="16"/>
                  </a:lnTo>
                  <a:lnTo>
                    <a:pt x="2" y="18"/>
                  </a:lnTo>
                  <a:lnTo>
                    <a:pt x="7" y="16"/>
                  </a:lnTo>
                  <a:lnTo>
                    <a:pt x="7" y="18"/>
                  </a:lnTo>
                  <a:lnTo>
                    <a:pt x="2" y="22"/>
                  </a:lnTo>
                  <a:lnTo>
                    <a:pt x="7" y="22"/>
                  </a:lnTo>
                  <a:lnTo>
                    <a:pt x="11" y="22"/>
                  </a:lnTo>
                  <a:lnTo>
                    <a:pt x="9" y="22"/>
                  </a:lnTo>
                  <a:lnTo>
                    <a:pt x="15" y="25"/>
                  </a:lnTo>
                  <a:lnTo>
                    <a:pt x="11" y="31"/>
                  </a:lnTo>
                  <a:lnTo>
                    <a:pt x="7" y="31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0"/>
                  </a:lnTo>
                  <a:lnTo>
                    <a:pt x="9" y="40"/>
                  </a:lnTo>
                  <a:lnTo>
                    <a:pt x="11" y="40"/>
                  </a:lnTo>
                  <a:lnTo>
                    <a:pt x="7" y="40"/>
                  </a:lnTo>
                  <a:lnTo>
                    <a:pt x="2" y="45"/>
                  </a:lnTo>
                  <a:lnTo>
                    <a:pt x="0" y="47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93" name="Freeform 1449"/>
            <p:cNvSpPr>
              <a:spLocks/>
            </p:cNvSpPr>
            <p:nvPr/>
          </p:nvSpPr>
          <p:spPr bwMode="auto">
            <a:xfrm>
              <a:off x="4328290" y="3202418"/>
              <a:ext cx="10385" cy="4776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4"/>
                </a:cxn>
                <a:cxn ang="0">
                  <a:pos x="2" y="9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2" h="9">
                  <a:moveTo>
                    <a:pt x="0" y="0"/>
                  </a:moveTo>
                  <a:lnTo>
                    <a:pt x="0" y="4"/>
                  </a:lnTo>
                  <a:lnTo>
                    <a:pt x="2" y="9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94" name="Freeform 1450"/>
            <p:cNvSpPr>
              <a:spLocks/>
            </p:cNvSpPr>
            <p:nvPr/>
          </p:nvSpPr>
          <p:spPr bwMode="auto">
            <a:xfrm>
              <a:off x="4317904" y="3250178"/>
              <a:ext cx="41542" cy="5837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11"/>
                </a:cxn>
                <a:cxn ang="0">
                  <a:pos x="8" y="11"/>
                </a:cxn>
                <a:cxn ang="0">
                  <a:pos x="8" y="2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8" h="11">
                  <a:moveTo>
                    <a:pt x="0" y="0"/>
                  </a:moveTo>
                  <a:lnTo>
                    <a:pt x="2" y="11"/>
                  </a:lnTo>
                  <a:lnTo>
                    <a:pt x="8" y="11"/>
                  </a:lnTo>
                  <a:lnTo>
                    <a:pt x="8" y="2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95" name="Freeform 1451"/>
            <p:cNvSpPr>
              <a:spLocks/>
            </p:cNvSpPr>
            <p:nvPr/>
          </p:nvSpPr>
          <p:spPr bwMode="auto">
            <a:xfrm>
              <a:off x="4411372" y="3319165"/>
              <a:ext cx="77890" cy="47760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0" y="7"/>
                </a:cxn>
                <a:cxn ang="0">
                  <a:pos x="13" y="9"/>
                </a:cxn>
                <a:cxn ang="0">
                  <a:pos x="15" y="0"/>
                </a:cxn>
                <a:cxn ang="0">
                  <a:pos x="9" y="5"/>
                </a:cxn>
                <a:cxn ang="0">
                  <a:pos x="5" y="5"/>
                </a:cxn>
                <a:cxn ang="0">
                  <a:pos x="2" y="5"/>
                </a:cxn>
                <a:cxn ang="0">
                  <a:pos x="0" y="5"/>
                </a:cxn>
              </a:cxnLst>
              <a:rect l="0" t="0" r="r" b="b"/>
              <a:pathLst>
                <a:path w="15" h="9">
                  <a:moveTo>
                    <a:pt x="0" y="5"/>
                  </a:moveTo>
                  <a:lnTo>
                    <a:pt x="0" y="7"/>
                  </a:lnTo>
                  <a:lnTo>
                    <a:pt x="13" y="9"/>
                  </a:lnTo>
                  <a:lnTo>
                    <a:pt x="15" y="0"/>
                  </a:lnTo>
                  <a:lnTo>
                    <a:pt x="9" y="5"/>
                  </a:lnTo>
                  <a:lnTo>
                    <a:pt x="5" y="5"/>
                  </a:lnTo>
                  <a:lnTo>
                    <a:pt x="2" y="5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96" name="Freeform 1452"/>
            <p:cNvSpPr>
              <a:spLocks/>
            </p:cNvSpPr>
            <p:nvPr/>
          </p:nvSpPr>
          <p:spPr bwMode="auto">
            <a:xfrm>
              <a:off x="4619080" y="3319165"/>
              <a:ext cx="41542" cy="74293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0" y="7"/>
                </a:cxn>
                <a:cxn ang="0">
                  <a:pos x="4" y="9"/>
                </a:cxn>
                <a:cxn ang="0">
                  <a:pos x="6" y="14"/>
                </a:cxn>
                <a:cxn ang="0">
                  <a:pos x="6" y="9"/>
                </a:cxn>
                <a:cxn ang="0">
                  <a:pos x="8" y="14"/>
                </a:cxn>
                <a:cxn ang="0">
                  <a:pos x="6" y="7"/>
                </a:cxn>
                <a:cxn ang="0">
                  <a:pos x="8" y="7"/>
                </a:cxn>
                <a:cxn ang="0">
                  <a:pos x="6" y="5"/>
                </a:cxn>
                <a:cxn ang="0">
                  <a:pos x="4" y="0"/>
                </a:cxn>
                <a:cxn ang="0">
                  <a:pos x="2" y="3"/>
                </a:cxn>
                <a:cxn ang="0">
                  <a:pos x="0" y="5"/>
                </a:cxn>
              </a:cxnLst>
              <a:rect l="0" t="0" r="r" b="b"/>
              <a:pathLst>
                <a:path w="8" h="14">
                  <a:moveTo>
                    <a:pt x="0" y="5"/>
                  </a:moveTo>
                  <a:lnTo>
                    <a:pt x="0" y="7"/>
                  </a:lnTo>
                  <a:lnTo>
                    <a:pt x="4" y="9"/>
                  </a:lnTo>
                  <a:lnTo>
                    <a:pt x="6" y="14"/>
                  </a:lnTo>
                  <a:lnTo>
                    <a:pt x="6" y="9"/>
                  </a:lnTo>
                  <a:lnTo>
                    <a:pt x="8" y="14"/>
                  </a:lnTo>
                  <a:lnTo>
                    <a:pt x="6" y="7"/>
                  </a:lnTo>
                  <a:lnTo>
                    <a:pt x="8" y="7"/>
                  </a:lnTo>
                  <a:lnTo>
                    <a:pt x="6" y="5"/>
                  </a:lnTo>
                  <a:lnTo>
                    <a:pt x="4" y="0"/>
                  </a:lnTo>
                  <a:lnTo>
                    <a:pt x="2" y="3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97" name="Freeform 1453"/>
            <p:cNvSpPr>
              <a:spLocks/>
            </p:cNvSpPr>
            <p:nvPr/>
          </p:nvSpPr>
          <p:spPr bwMode="auto">
            <a:xfrm>
              <a:off x="4686585" y="3404072"/>
              <a:ext cx="51927" cy="37147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4" y="7"/>
                </a:cxn>
                <a:cxn ang="0">
                  <a:pos x="10" y="7"/>
                </a:cxn>
                <a:cxn ang="0">
                  <a:pos x="10" y="5"/>
                </a:cxn>
                <a:cxn ang="0">
                  <a:pos x="8" y="5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5"/>
                </a:cxn>
              </a:cxnLst>
              <a:rect l="0" t="0" r="r" b="b"/>
              <a:pathLst>
                <a:path w="10" h="7">
                  <a:moveTo>
                    <a:pt x="0" y="5"/>
                  </a:moveTo>
                  <a:lnTo>
                    <a:pt x="4" y="7"/>
                  </a:lnTo>
                  <a:lnTo>
                    <a:pt x="10" y="7"/>
                  </a:lnTo>
                  <a:lnTo>
                    <a:pt x="10" y="5"/>
                  </a:lnTo>
                  <a:lnTo>
                    <a:pt x="8" y="5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98" name="Freeform 1454"/>
            <p:cNvSpPr>
              <a:spLocks/>
            </p:cNvSpPr>
            <p:nvPr/>
          </p:nvSpPr>
          <p:spPr bwMode="auto">
            <a:xfrm>
              <a:off x="4868329" y="3404072"/>
              <a:ext cx="67504" cy="37147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4" y="7"/>
                </a:cxn>
                <a:cxn ang="0">
                  <a:pos x="6" y="7"/>
                </a:cxn>
                <a:cxn ang="0">
                  <a:pos x="8" y="7"/>
                </a:cxn>
                <a:cxn ang="0">
                  <a:pos x="8" y="5"/>
                </a:cxn>
                <a:cxn ang="0">
                  <a:pos x="13" y="0"/>
                </a:cxn>
                <a:cxn ang="0">
                  <a:pos x="6" y="5"/>
                </a:cxn>
                <a:cxn ang="0">
                  <a:pos x="0" y="7"/>
                </a:cxn>
              </a:cxnLst>
              <a:rect l="0" t="0" r="r" b="b"/>
              <a:pathLst>
                <a:path w="13" h="7">
                  <a:moveTo>
                    <a:pt x="0" y="7"/>
                  </a:moveTo>
                  <a:lnTo>
                    <a:pt x="4" y="7"/>
                  </a:lnTo>
                  <a:lnTo>
                    <a:pt x="6" y="7"/>
                  </a:lnTo>
                  <a:lnTo>
                    <a:pt x="8" y="7"/>
                  </a:lnTo>
                  <a:lnTo>
                    <a:pt x="8" y="5"/>
                  </a:lnTo>
                  <a:lnTo>
                    <a:pt x="13" y="0"/>
                  </a:lnTo>
                  <a:lnTo>
                    <a:pt x="6" y="5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99" name="Freeform 1455"/>
            <p:cNvSpPr>
              <a:spLocks/>
            </p:cNvSpPr>
            <p:nvPr/>
          </p:nvSpPr>
          <p:spPr bwMode="auto">
            <a:xfrm>
              <a:off x="4188087" y="3271405"/>
              <a:ext cx="20771" cy="37147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4" y="7"/>
                </a:cxn>
                <a:cxn ang="0">
                  <a:pos x="4" y="5"/>
                </a:cxn>
                <a:cxn ang="0">
                  <a:pos x="2" y="0"/>
                </a:cxn>
                <a:cxn ang="0">
                  <a:pos x="0" y="3"/>
                </a:cxn>
                <a:cxn ang="0">
                  <a:pos x="0" y="5"/>
                </a:cxn>
              </a:cxnLst>
              <a:rect l="0" t="0" r="r" b="b"/>
              <a:pathLst>
                <a:path w="4" h="7">
                  <a:moveTo>
                    <a:pt x="0" y="5"/>
                  </a:moveTo>
                  <a:lnTo>
                    <a:pt x="4" y="7"/>
                  </a:lnTo>
                  <a:lnTo>
                    <a:pt x="4" y="5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0" name="Line 1456"/>
            <p:cNvSpPr>
              <a:spLocks noChangeShapeType="1"/>
            </p:cNvSpPr>
            <p:nvPr/>
          </p:nvSpPr>
          <p:spPr bwMode="auto">
            <a:xfrm>
              <a:off x="3471496" y="3335085"/>
              <a:ext cx="20771" cy="5307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1" name="Line 1457"/>
            <p:cNvSpPr>
              <a:spLocks noChangeShapeType="1"/>
            </p:cNvSpPr>
            <p:nvPr/>
          </p:nvSpPr>
          <p:spPr bwMode="auto">
            <a:xfrm>
              <a:off x="3533809" y="3356312"/>
              <a:ext cx="36349" cy="5307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2" name="Freeform 1458"/>
            <p:cNvSpPr>
              <a:spLocks/>
            </p:cNvSpPr>
            <p:nvPr/>
          </p:nvSpPr>
          <p:spPr bwMode="auto">
            <a:xfrm>
              <a:off x="3720746" y="3632259"/>
              <a:ext cx="20771" cy="2653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5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4" h="5">
                  <a:moveTo>
                    <a:pt x="0" y="0"/>
                  </a:moveTo>
                  <a:lnTo>
                    <a:pt x="0" y="5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3" name="Freeform 1459"/>
            <p:cNvSpPr>
              <a:spLocks/>
            </p:cNvSpPr>
            <p:nvPr/>
          </p:nvSpPr>
          <p:spPr bwMode="auto">
            <a:xfrm>
              <a:off x="3783057" y="3621646"/>
              <a:ext cx="36349" cy="37147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7" y="0"/>
                </a:cxn>
                <a:cxn ang="0">
                  <a:pos x="2" y="4"/>
                </a:cxn>
                <a:cxn ang="0">
                  <a:pos x="0" y="7"/>
                </a:cxn>
              </a:cxnLst>
              <a:rect l="0" t="0" r="r" b="b"/>
              <a:pathLst>
                <a:path w="7" h="7">
                  <a:moveTo>
                    <a:pt x="0" y="7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7" y="0"/>
                  </a:lnTo>
                  <a:lnTo>
                    <a:pt x="2" y="4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4" name="Freeform 1460"/>
            <p:cNvSpPr>
              <a:spLocks/>
            </p:cNvSpPr>
            <p:nvPr/>
          </p:nvSpPr>
          <p:spPr bwMode="auto">
            <a:xfrm>
              <a:off x="6810394" y="4836874"/>
              <a:ext cx="960647" cy="875601"/>
            </a:xfrm>
            <a:custGeom>
              <a:avLst/>
              <a:gdLst/>
              <a:ahLst/>
              <a:cxnLst>
                <a:cxn ang="0">
                  <a:pos x="4" y="140"/>
                </a:cxn>
                <a:cxn ang="0">
                  <a:pos x="23" y="133"/>
                </a:cxn>
                <a:cxn ang="0">
                  <a:pos x="39" y="129"/>
                </a:cxn>
                <a:cxn ang="0">
                  <a:pos x="77" y="122"/>
                </a:cxn>
                <a:cxn ang="0">
                  <a:pos x="87" y="140"/>
                </a:cxn>
                <a:cxn ang="0">
                  <a:pos x="102" y="131"/>
                </a:cxn>
                <a:cxn ang="0">
                  <a:pos x="102" y="138"/>
                </a:cxn>
                <a:cxn ang="0">
                  <a:pos x="100" y="142"/>
                </a:cxn>
                <a:cxn ang="0">
                  <a:pos x="102" y="147"/>
                </a:cxn>
                <a:cxn ang="0">
                  <a:pos x="102" y="151"/>
                </a:cxn>
                <a:cxn ang="0">
                  <a:pos x="114" y="160"/>
                </a:cxn>
                <a:cxn ang="0">
                  <a:pos x="123" y="160"/>
                </a:cxn>
                <a:cxn ang="0">
                  <a:pos x="125" y="160"/>
                </a:cxn>
                <a:cxn ang="0">
                  <a:pos x="146" y="156"/>
                </a:cxn>
                <a:cxn ang="0">
                  <a:pos x="175" y="118"/>
                </a:cxn>
                <a:cxn ang="0">
                  <a:pos x="185" y="88"/>
                </a:cxn>
                <a:cxn ang="0">
                  <a:pos x="179" y="73"/>
                </a:cxn>
                <a:cxn ang="0">
                  <a:pos x="175" y="66"/>
                </a:cxn>
                <a:cxn ang="0">
                  <a:pos x="166" y="52"/>
                </a:cxn>
                <a:cxn ang="0">
                  <a:pos x="164" y="39"/>
                </a:cxn>
                <a:cxn ang="0">
                  <a:pos x="162" y="23"/>
                </a:cxn>
                <a:cxn ang="0">
                  <a:pos x="156" y="21"/>
                </a:cxn>
                <a:cxn ang="0">
                  <a:pos x="150" y="0"/>
                </a:cxn>
                <a:cxn ang="0">
                  <a:pos x="146" y="30"/>
                </a:cxn>
                <a:cxn ang="0">
                  <a:pos x="135" y="39"/>
                </a:cxn>
                <a:cxn ang="0">
                  <a:pos x="131" y="37"/>
                </a:cxn>
                <a:cxn ang="0">
                  <a:pos x="118" y="30"/>
                </a:cxn>
                <a:cxn ang="0">
                  <a:pos x="116" y="23"/>
                </a:cxn>
                <a:cxn ang="0">
                  <a:pos x="118" y="14"/>
                </a:cxn>
                <a:cxn ang="0">
                  <a:pos x="125" y="9"/>
                </a:cxn>
                <a:cxn ang="0">
                  <a:pos x="118" y="12"/>
                </a:cxn>
                <a:cxn ang="0">
                  <a:pos x="116" y="9"/>
                </a:cxn>
                <a:cxn ang="0">
                  <a:pos x="106" y="5"/>
                </a:cxn>
                <a:cxn ang="0">
                  <a:pos x="96" y="9"/>
                </a:cxn>
                <a:cxn ang="0">
                  <a:pos x="93" y="18"/>
                </a:cxn>
                <a:cxn ang="0">
                  <a:pos x="87" y="21"/>
                </a:cxn>
                <a:cxn ang="0">
                  <a:pos x="87" y="27"/>
                </a:cxn>
                <a:cxn ang="0">
                  <a:pos x="83" y="27"/>
                </a:cxn>
                <a:cxn ang="0">
                  <a:pos x="79" y="18"/>
                </a:cxn>
                <a:cxn ang="0">
                  <a:pos x="70" y="23"/>
                </a:cxn>
                <a:cxn ang="0">
                  <a:pos x="62" y="32"/>
                </a:cxn>
                <a:cxn ang="0">
                  <a:pos x="60" y="37"/>
                </a:cxn>
                <a:cxn ang="0">
                  <a:pos x="56" y="32"/>
                </a:cxn>
                <a:cxn ang="0">
                  <a:pos x="52" y="43"/>
                </a:cxn>
                <a:cxn ang="0">
                  <a:pos x="20" y="57"/>
                </a:cxn>
                <a:cxn ang="0">
                  <a:pos x="12" y="64"/>
                </a:cxn>
                <a:cxn ang="0">
                  <a:pos x="8" y="73"/>
                </a:cxn>
                <a:cxn ang="0">
                  <a:pos x="6" y="91"/>
                </a:cxn>
                <a:cxn ang="0">
                  <a:pos x="4" y="91"/>
                </a:cxn>
                <a:cxn ang="0">
                  <a:pos x="6" y="122"/>
                </a:cxn>
                <a:cxn ang="0">
                  <a:pos x="0" y="131"/>
                </a:cxn>
                <a:cxn ang="0">
                  <a:pos x="0" y="138"/>
                </a:cxn>
              </a:cxnLst>
              <a:rect l="0" t="0" r="r" b="b"/>
              <a:pathLst>
                <a:path w="185" h="165">
                  <a:moveTo>
                    <a:pt x="0" y="138"/>
                  </a:moveTo>
                  <a:lnTo>
                    <a:pt x="4" y="140"/>
                  </a:lnTo>
                  <a:lnTo>
                    <a:pt x="12" y="140"/>
                  </a:lnTo>
                  <a:lnTo>
                    <a:pt x="23" y="133"/>
                  </a:lnTo>
                  <a:lnTo>
                    <a:pt x="37" y="133"/>
                  </a:lnTo>
                  <a:lnTo>
                    <a:pt x="39" y="129"/>
                  </a:lnTo>
                  <a:lnTo>
                    <a:pt x="52" y="124"/>
                  </a:lnTo>
                  <a:lnTo>
                    <a:pt x="77" y="122"/>
                  </a:lnTo>
                  <a:lnTo>
                    <a:pt x="87" y="129"/>
                  </a:lnTo>
                  <a:lnTo>
                    <a:pt x="87" y="140"/>
                  </a:lnTo>
                  <a:lnTo>
                    <a:pt x="102" y="129"/>
                  </a:lnTo>
                  <a:lnTo>
                    <a:pt x="102" y="131"/>
                  </a:lnTo>
                  <a:lnTo>
                    <a:pt x="93" y="142"/>
                  </a:lnTo>
                  <a:lnTo>
                    <a:pt x="102" y="138"/>
                  </a:lnTo>
                  <a:lnTo>
                    <a:pt x="102" y="140"/>
                  </a:lnTo>
                  <a:lnTo>
                    <a:pt x="100" y="142"/>
                  </a:lnTo>
                  <a:lnTo>
                    <a:pt x="102" y="142"/>
                  </a:lnTo>
                  <a:lnTo>
                    <a:pt x="102" y="147"/>
                  </a:lnTo>
                  <a:lnTo>
                    <a:pt x="106" y="149"/>
                  </a:lnTo>
                  <a:lnTo>
                    <a:pt x="102" y="151"/>
                  </a:lnTo>
                  <a:lnTo>
                    <a:pt x="106" y="160"/>
                  </a:lnTo>
                  <a:lnTo>
                    <a:pt x="114" y="160"/>
                  </a:lnTo>
                  <a:lnTo>
                    <a:pt x="123" y="156"/>
                  </a:lnTo>
                  <a:lnTo>
                    <a:pt x="123" y="160"/>
                  </a:lnTo>
                  <a:lnTo>
                    <a:pt x="125" y="158"/>
                  </a:lnTo>
                  <a:lnTo>
                    <a:pt x="125" y="160"/>
                  </a:lnTo>
                  <a:lnTo>
                    <a:pt x="125" y="165"/>
                  </a:lnTo>
                  <a:lnTo>
                    <a:pt x="146" y="156"/>
                  </a:lnTo>
                  <a:lnTo>
                    <a:pt x="154" y="147"/>
                  </a:lnTo>
                  <a:lnTo>
                    <a:pt x="175" y="118"/>
                  </a:lnTo>
                  <a:lnTo>
                    <a:pt x="185" y="104"/>
                  </a:lnTo>
                  <a:lnTo>
                    <a:pt x="185" y="88"/>
                  </a:lnTo>
                  <a:lnTo>
                    <a:pt x="181" y="75"/>
                  </a:lnTo>
                  <a:lnTo>
                    <a:pt x="179" y="73"/>
                  </a:lnTo>
                  <a:lnTo>
                    <a:pt x="179" y="70"/>
                  </a:lnTo>
                  <a:lnTo>
                    <a:pt x="175" y="66"/>
                  </a:lnTo>
                  <a:lnTo>
                    <a:pt x="173" y="55"/>
                  </a:lnTo>
                  <a:lnTo>
                    <a:pt x="166" y="52"/>
                  </a:lnTo>
                  <a:lnTo>
                    <a:pt x="164" y="48"/>
                  </a:lnTo>
                  <a:lnTo>
                    <a:pt x="164" y="39"/>
                  </a:lnTo>
                  <a:lnTo>
                    <a:pt x="162" y="32"/>
                  </a:lnTo>
                  <a:lnTo>
                    <a:pt x="162" y="23"/>
                  </a:lnTo>
                  <a:lnTo>
                    <a:pt x="158" y="21"/>
                  </a:lnTo>
                  <a:lnTo>
                    <a:pt x="156" y="21"/>
                  </a:lnTo>
                  <a:lnTo>
                    <a:pt x="154" y="3"/>
                  </a:lnTo>
                  <a:lnTo>
                    <a:pt x="150" y="0"/>
                  </a:lnTo>
                  <a:lnTo>
                    <a:pt x="150" y="3"/>
                  </a:lnTo>
                  <a:lnTo>
                    <a:pt x="146" y="30"/>
                  </a:lnTo>
                  <a:lnTo>
                    <a:pt x="139" y="39"/>
                  </a:lnTo>
                  <a:lnTo>
                    <a:pt x="135" y="39"/>
                  </a:lnTo>
                  <a:lnTo>
                    <a:pt x="133" y="43"/>
                  </a:lnTo>
                  <a:lnTo>
                    <a:pt x="131" y="37"/>
                  </a:lnTo>
                  <a:lnTo>
                    <a:pt x="125" y="30"/>
                  </a:lnTo>
                  <a:lnTo>
                    <a:pt x="118" y="30"/>
                  </a:lnTo>
                  <a:lnTo>
                    <a:pt x="118" y="27"/>
                  </a:lnTo>
                  <a:lnTo>
                    <a:pt x="116" y="23"/>
                  </a:lnTo>
                  <a:lnTo>
                    <a:pt x="118" y="21"/>
                  </a:lnTo>
                  <a:lnTo>
                    <a:pt x="118" y="14"/>
                  </a:lnTo>
                  <a:lnTo>
                    <a:pt x="123" y="14"/>
                  </a:lnTo>
                  <a:lnTo>
                    <a:pt x="125" y="9"/>
                  </a:lnTo>
                  <a:lnTo>
                    <a:pt x="123" y="9"/>
                  </a:lnTo>
                  <a:lnTo>
                    <a:pt x="118" y="12"/>
                  </a:lnTo>
                  <a:lnTo>
                    <a:pt x="118" y="9"/>
                  </a:lnTo>
                  <a:lnTo>
                    <a:pt x="116" y="9"/>
                  </a:lnTo>
                  <a:lnTo>
                    <a:pt x="106" y="3"/>
                  </a:lnTo>
                  <a:lnTo>
                    <a:pt x="106" y="5"/>
                  </a:lnTo>
                  <a:lnTo>
                    <a:pt x="102" y="9"/>
                  </a:lnTo>
                  <a:lnTo>
                    <a:pt x="96" y="9"/>
                  </a:lnTo>
                  <a:lnTo>
                    <a:pt x="93" y="12"/>
                  </a:lnTo>
                  <a:lnTo>
                    <a:pt x="93" y="18"/>
                  </a:lnTo>
                  <a:lnTo>
                    <a:pt x="91" y="18"/>
                  </a:lnTo>
                  <a:lnTo>
                    <a:pt x="87" y="21"/>
                  </a:lnTo>
                  <a:lnTo>
                    <a:pt x="91" y="23"/>
                  </a:lnTo>
                  <a:lnTo>
                    <a:pt x="87" y="27"/>
                  </a:lnTo>
                  <a:lnTo>
                    <a:pt x="85" y="23"/>
                  </a:lnTo>
                  <a:lnTo>
                    <a:pt x="83" y="27"/>
                  </a:lnTo>
                  <a:lnTo>
                    <a:pt x="79" y="21"/>
                  </a:lnTo>
                  <a:lnTo>
                    <a:pt x="79" y="18"/>
                  </a:lnTo>
                  <a:lnTo>
                    <a:pt x="77" y="18"/>
                  </a:lnTo>
                  <a:lnTo>
                    <a:pt x="70" y="23"/>
                  </a:lnTo>
                  <a:lnTo>
                    <a:pt x="68" y="23"/>
                  </a:lnTo>
                  <a:lnTo>
                    <a:pt x="62" y="32"/>
                  </a:lnTo>
                  <a:lnTo>
                    <a:pt x="60" y="30"/>
                  </a:lnTo>
                  <a:lnTo>
                    <a:pt x="60" y="37"/>
                  </a:lnTo>
                  <a:lnTo>
                    <a:pt x="56" y="39"/>
                  </a:lnTo>
                  <a:lnTo>
                    <a:pt x="56" y="32"/>
                  </a:lnTo>
                  <a:lnTo>
                    <a:pt x="52" y="39"/>
                  </a:lnTo>
                  <a:lnTo>
                    <a:pt x="52" y="43"/>
                  </a:lnTo>
                  <a:lnTo>
                    <a:pt x="43" y="52"/>
                  </a:lnTo>
                  <a:lnTo>
                    <a:pt x="20" y="57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8" y="70"/>
                  </a:lnTo>
                  <a:lnTo>
                    <a:pt x="8" y="73"/>
                  </a:lnTo>
                  <a:lnTo>
                    <a:pt x="6" y="75"/>
                  </a:lnTo>
                  <a:lnTo>
                    <a:pt x="6" y="91"/>
                  </a:lnTo>
                  <a:lnTo>
                    <a:pt x="4" y="86"/>
                  </a:lnTo>
                  <a:lnTo>
                    <a:pt x="4" y="91"/>
                  </a:lnTo>
                  <a:lnTo>
                    <a:pt x="6" y="106"/>
                  </a:lnTo>
                  <a:lnTo>
                    <a:pt x="6" y="122"/>
                  </a:lnTo>
                  <a:lnTo>
                    <a:pt x="4" y="131"/>
                  </a:lnTo>
                  <a:lnTo>
                    <a:pt x="0" y="131"/>
                  </a:lnTo>
                  <a:lnTo>
                    <a:pt x="0" y="136"/>
                  </a:lnTo>
                  <a:lnTo>
                    <a:pt x="0" y="138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5" name="Freeform 1461"/>
            <p:cNvSpPr>
              <a:spLocks/>
            </p:cNvSpPr>
            <p:nvPr/>
          </p:nvSpPr>
          <p:spPr bwMode="auto">
            <a:xfrm>
              <a:off x="7282928" y="5590422"/>
              <a:ext cx="25963" cy="26533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2" y="5"/>
                </a:cxn>
                <a:cxn ang="0">
                  <a:pos x="5" y="5"/>
                </a:cxn>
                <a:cxn ang="0">
                  <a:pos x="5" y="0"/>
                </a:cxn>
                <a:cxn ang="0">
                  <a:pos x="2" y="3"/>
                </a:cxn>
                <a:cxn ang="0">
                  <a:pos x="0" y="5"/>
                </a:cxn>
              </a:cxnLst>
              <a:rect l="0" t="0" r="r" b="b"/>
              <a:pathLst>
                <a:path w="5" h="5">
                  <a:moveTo>
                    <a:pt x="0" y="5"/>
                  </a:moveTo>
                  <a:lnTo>
                    <a:pt x="2" y="5"/>
                  </a:lnTo>
                  <a:lnTo>
                    <a:pt x="5" y="5"/>
                  </a:lnTo>
                  <a:lnTo>
                    <a:pt x="5" y="0"/>
                  </a:lnTo>
                  <a:lnTo>
                    <a:pt x="2" y="3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6" name="Freeform 1462"/>
            <p:cNvSpPr>
              <a:spLocks/>
            </p:cNvSpPr>
            <p:nvPr/>
          </p:nvSpPr>
          <p:spPr bwMode="auto">
            <a:xfrm>
              <a:off x="7381590" y="5760235"/>
              <a:ext cx="88276" cy="84907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0" y="11"/>
                </a:cxn>
                <a:cxn ang="0">
                  <a:pos x="0" y="16"/>
                </a:cxn>
                <a:cxn ang="0">
                  <a:pos x="4" y="16"/>
                </a:cxn>
                <a:cxn ang="0">
                  <a:pos x="8" y="11"/>
                </a:cxn>
                <a:cxn ang="0">
                  <a:pos x="17" y="0"/>
                </a:cxn>
                <a:cxn ang="0">
                  <a:pos x="8" y="2"/>
                </a:cxn>
                <a:cxn ang="0">
                  <a:pos x="6" y="2"/>
                </a:cxn>
                <a:cxn ang="0">
                  <a:pos x="4" y="0"/>
                </a:cxn>
              </a:cxnLst>
              <a:rect l="0" t="0" r="r" b="b"/>
              <a:pathLst>
                <a:path w="17" h="16">
                  <a:moveTo>
                    <a:pt x="4" y="0"/>
                  </a:moveTo>
                  <a:lnTo>
                    <a:pt x="0" y="11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8" y="11"/>
                  </a:lnTo>
                  <a:lnTo>
                    <a:pt x="17" y="0"/>
                  </a:lnTo>
                  <a:lnTo>
                    <a:pt x="8" y="2"/>
                  </a:lnTo>
                  <a:lnTo>
                    <a:pt x="6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7" name="Freeform 1463"/>
            <p:cNvSpPr>
              <a:spLocks/>
            </p:cNvSpPr>
            <p:nvPr/>
          </p:nvSpPr>
          <p:spPr bwMode="auto">
            <a:xfrm>
              <a:off x="8077409" y="5569195"/>
              <a:ext cx="150588" cy="201654"/>
            </a:xfrm>
            <a:custGeom>
              <a:avLst/>
              <a:gdLst/>
              <a:ahLst/>
              <a:cxnLst>
                <a:cxn ang="0">
                  <a:pos x="0" y="27"/>
                </a:cxn>
                <a:cxn ang="0">
                  <a:pos x="6" y="31"/>
                </a:cxn>
                <a:cxn ang="0">
                  <a:pos x="0" y="38"/>
                </a:cxn>
                <a:cxn ang="0">
                  <a:pos x="2" y="38"/>
                </a:cxn>
                <a:cxn ang="0">
                  <a:pos x="16" y="27"/>
                </a:cxn>
                <a:cxn ang="0">
                  <a:pos x="23" y="22"/>
                </a:cxn>
                <a:cxn ang="0">
                  <a:pos x="29" y="18"/>
                </a:cxn>
                <a:cxn ang="0">
                  <a:pos x="25" y="18"/>
                </a:cxn>
                <a:cxn ang="0">
                  <a:pos x="18" y="20"/>
                </a:cxn>
                <a:cxn ang="0">
                  <a:pos x="16" y="18"/>
                </a:cxn>
                <a:cxn ang="0">
                  <a:pos x="18" y="11"/>
                </a:cxn>
                <a:cxn ang="0">
                  <a:pos x="16" y="11"/>
                </a:cxn>
                <a:cxn ang="0">
                  <a:pos x="16" y="13"/>
                </a:cxn>
                <a:cxn ang="0">
                  <a:pos x="14" y="13"/>
                </a:cxn>
                <a:cxn ang="0">
                  <a:pos x="16" y="4"/>
                </a:cxn>
                <a:cxn ang="0">
                  <a:pos x="16" y="2"/>
                </a:cxn>
                <a:cxn ang="0">
                  <a:pos x="14" y="2"/>
                </a:cxn>
                <a:cxn ang="0">
                  <a:pos x="10" y="0"/>
                </a:cxn>
                <a:cxn ang="0">
                  <a:pos x="10" y="13"/>
                </a:cxn>
                <a:cxn ang="0">
                  <a:pos x="14" y="13"/>
                </a:cxn>
                <a:cxn ang="0">
                  <a:pos x="6" y="22"/>
                </a:cxn>
                <a:cxn ang="0">
                  <a:pos x="2" y="25"/>
                </a:cxn>
                <a:cxn ang="0">
                  <a:pos x="0" y="27"/>
                </a:cxn>
              </a:cxnLst>
              <a:rect l="0" t="0" r="r" b="b"/>
              <a:pathLst>
                <a:path w="29" h="38">
                  <a:moveTo>
                    <a:pt x="0" y="27"/>
                  </a:moveTo>
                  <a:lnTo>
                    <a:pt x="6" y="31"/>
                  </a:lnTo>
                  <a:lnTo>
                    <a:pt x="0" y="38"/>
                  </a:lnTo>
                  <a:lnTo>
                    <a:pt x="2" y="38"/>
                  </a:lnTo>
                  <a:lnTo>
                    <a:pt x="16" y="27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25" y="18"/>
                  </a:lnTo>
                  <a:lnTo>
                    <a:pt x="18" y="20"/>
                  </a:lnTo>
                  <a:lnTo>
                    <a:pt x="16" y="18"/>
                  </a:lnTo>
                  <a:lnTo>
                    <a:pt x="18" y="11"/>
                  </a:lnTo>
                  <a:lnTo>
                    <a:pt x="16" y="11"/>
                  </a:lnTo>
                  <a:lnTo>
                    <a:pt x="16" y="13"/>
                  </a:lnTo>
                  <a:lnTo>
                    <a:pt x="14" y="13"/>
                  </a:lnTo>
                  <a:lnTo>
                    <a:pt x="16" y="4"/>
                  </a:lnTo>
                  <a:lnTo>
                    <a:pt x="16" y="2"/>
                  </a:lnTo>
                  <a:lnTo>
                    <a:pt x="14" y="2"/>
                  </a:lnTo>
                  <a:lnTo>
                    <a:pt x="10" y="0"/>
                  </a:lnTo>
                  <a:lnTo>
                    <a:pt x="10" y="13"/>
                  </a:lnTo>
                  <a:lnTo>
                    <a:pt x="14" y="13"/>
                  </a:lnTo>
                  <a:lnTo>
                    <a:pt x="6" y="22"/>
                  </a:lnTo>
                  <a:lnTo>
                    <a:pt x="2" y="25"/>
                  </a:lnTo>
                  <a:lnTo>
                    <a:pt x="0" y="27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8" name="Freeform 1464"/>
            <p:cNvSpPr>
              <a:spLocks/>
            </p:cNvSpPr>
            <p:nvPr/>
          </p:nvSpPr>
          <p:spPr bwMode="auto">
            <a:xfrm>
              <a:off x="7791812" y="5760235"/>
              <a:ext cx="275212" cy="180427"/>
            </a:xfrm>
            <a:custGeom>
              <a:avLst/>
              <a:gdLst/>
              <a:ahLst/>
              <a:cxnLst>
                <a:cxn ang="0">
                  <a:pos x="0" y="29"/>
                </a:cxn>
                <a:cxn ang="0">
                  <a:pos x="5" y="29"/>
                </a:cxn>
                <a:cxn ang="0">
                  <a:pos x="5" y="34"/>
                </a:cxn>
                <a:cxn ang="0">
                  <a:pos x="7" y="34"/>
                </a:cxn>
                <a:cxn ang="0">
                  <a:pos x="15" y="29"/>
                </a:cxn>
                <a:cxn ang="0">
                  <a:pos x="25" y="20"/>
                </a:cxn>
                <a:cxn ang="0">
                  <a:pos x="38" y="18"/>
                </a:cxn>
                <a:cxn ang="0">
                  <a:pos x="38" y="11"/>
                </a:cxn>
                <a:cxn ang="0">
                  <a:pos x="48" y="7"/>
                </a:cxn>
                <a:cxn ang="0">
                  <a:pos x="53" y="2"/>
                </a:cxn>
                <a:cxn ang="0">
                  <a:pos x="48" y="2"/>
                </a:cxn>
                <a:cxn ang="0">
                  <a:pos x="53" y="0"/>
                </a:cxn>
                <a:cxn ang="0">
                  <a:pos x="46" y="2"/>
                </a:cxn>
                <a:cxn ang="0">
                  <a:pos x="46" y="0"/>
                </a:cxn>
                <a:cxn ang="0">
                  <a:pos x="44" y="0"/>
                </a:cxn>
                <a:cxn ang="0">
                  <a:pos x="32" y="11"/>
                </a:cxn>
                <a:cxn ang="0">
                  <a:pos x="15" y="18"/>
                </a:cxn>
                <a:cxn ang="0">
                  <a:pos x="7" y="25"/>
                </a:cxn>
                <a:cxn ang="0">
                  <a:pos x="0" y="29"/>
                </a:cxn>
              </a:cxnLst>
              <a:rect l="0" t="0" r="r" b="b"/>
              <a:pathLst>
                <a:path w="53" h="34">
                  <a:moveTo>
                    <a:pt x="0" y="29"/>
                  </a:moveTo>
                  <a:lnTo>
                    <a:pt x="5" y="29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15" y="29"/>
                  </a:lnTo>
                  <a:lnTo>
                    <a:pt x="25" y="20"/>
                  </a:lnTo>
                  <a:lnTo>
                    <a:pt x="38" y="18"/>
                  </a:lnTo>
                  <a:lnTo>
                    <a:pt x="38" y="11"/>
                  </a:lnTo>
                  <a:lnTo>
                    <a:pt x="48" y="7"/>
                  </a:lnTo>
                  <a:lnTo>
                    <a:pt x="53" y="2"/>
                  </a:lnTo>
                  <a:lnTo>
                    <a:pt x="48" y="2"/>
                  </a:lnTo>
                  <a:lnTo>
                    <a:pt x="53" y="0"/>
                  </a:lnTo>
                  <a:lnTo>
                    <a:pt x="46" y="2"/>
                  </a:lnTo>
                  <a:lnTo>
                    <a:pt x="46" y="0"/>
                  </a:lnTo>
                  <a:lnTo>
                    <a:pt x="44" y="0"/>
                  </a:lnTo>
                  <a:lnTo>
                    <a:pt x="32" y="11"/>
                  </a:lnTo>
                  <a:lnTo>
                    <a:pt x="15" y="18"/>
                  </a:lnTo>
                  <a:lnTo>
                    <a:pt x="7" y="25"/>
                  </a:lnTo>
                  <a:lnTo>
                    <a:pt x="0" y="29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9" name="Freeform 1465"/>
            <p:cNvSpPr>
              <a:spLocks/>
            </p:cNvSpPr>
            <p:nvPr/>
          </p:nvSpPr>
          <p:spPr bwMode="auto">
            <a:xfrm>
              <a:off x="7781426" y="5940662"/>
              <a:ext cx="36349" cy="1061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7" y="2"/>
                </a:cxn>
                <a:cxn ang="0">
                  <a:pos x="7" y="0"/>
                </a:cxn>
                <a:cxn ang="0">
                  <a:pos x="2" y="2"/>
                </a:cxn>
                <a:cxn ang="0">
                  <a:pos x="0" y="2"/>
                </a:cxn>
              </a:cxnLst>
              <a:rect l="0" t="0" r="r" b="b"/>
              <a:pathLst>
                <a:path w="7" h="2">
                  <a:moveTo>
                    <a:pt x="0" y="2"/>
                  </a:moveTo>
                  <a:lnTo>
                    <a:pt x="7" y="2"/>
                  </a:lnTo>
                  <a:lnTo>
                    <a:pt x="7" y="0"/>
                  </a:lnTo>
                  <a:lnTo>
                    <a:pt x="2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10" name="Freeform 1466"/>
            <p:cNvSpPr>
              <a:spLocks/>
            </p:cNvSpPr>
            <p:nvPr/>
          </p:nvSpPr>
          <p:spPr bwMode="auto">
            <a:xfrm>
              <a:off x="6462484" y="4327433"/>
              <a:ext cx="259634" cy="35554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6"/>
                </a:cxn>
                <a:cxn ang="0">
                  <a:pos x="4" y="13"/>
                </a:cxn>
                <a:cxn ang="0">
                  <a:pos x="10" y="20"/>
                </a:cxn>
                <a:cxn ang="0">
                  <a:pos x="16" y="22"/>
                </a:cxn>
                <a:cxn ang="0">
                  <a:pos x="16" y="31"/>
                </a:cxn>
                <a:cxn ang="0">
                  <a:pos x="23" y="38"/>
                </a:cxn>
                <a:cxn ang="0">
                  <a:pos x="25" y="47"/>
                </a:cxn>
                <a:cxn ang="0">
                  <a:pos x="27" y="54"/>
                </a:cxn>
                <a:cxn ang="0">
                  <a:pos x="42" y="65"/>
                </a:cxn>
                <a:cxn ang="0">
                  <a:pos x="42" y="67"/>
                </a:cxn>
                <a:cxn ang="0">
                  <a:pos x="44" y="65"/>
                </a:cxn>
                <a:cxn ang="0">
                  <a:pos x="48" y="67"/>
                </a:cxn>
                <a:cxn ang="0">
                  <a:pos x="50" y="54"/>
                </a:cxn>
                <a:cxn ang="0">
                  <a:pos x="48" y="47"/>
                </a:cxn>
                <a:cxn ang="0">
                  <a:pos x="44" y="47"/>
                </a:cxn>
                <a:cxn ang="0">
                  <a:pos x="42" y="40"/>
                </a:cxn>
                <a:cxn ang="0">
                  <a:pos x="39" y="40"/>
                </a:cxn>
                <a:cxn ang="0">
                  <a:pos x="35" y="38"/>
                </a:cxn>
                <a:cxn ang="0">
                  <a:pos x="39" y="33"/>
                </a:cxn>
                <a:cxn ang="0">
                  <a:pos x="35" y="31"/>
                </a:cxn>
                <a:cxn ang="0">
                  <a:pos x="35" y="29"/>
                </a:cxn>
                <a:cxn ang="0">
                  <a:pos x="27" y="22"/>
                </a:cxn>
                <a:cxn ang="0">
                  <a:pos x="25" y="22"/>
                </a:cxn>
                <a:cxn ang="0">
                  <a:pos x="8" y="4"/>
                </a:cxn>
                <a:cxn ang="0">
                  <a:pos x="4" y="2"/>
                </a:cxn>
                <a:cxn ang="0">
                  <a:pos x="0" y="0"/>
                </a:cxn>
              </a:cxnLst>
              <a:rect l="0" t="0" r="r" b="b"/>
              <a:pathLst>
                <a:path w="50" h="67">
                  <a:moveTo>
                    <a:pt x="0" y="0"/>
                  </a:moveTo>
                  <a:lnTo>
                    <a:pt x="0" y="6"/>
                  </a:lnTo>
                  <a:lnTo>
                    <a:pt x="4" y="13"/>
                  </a:lnTo>
                  <a:lnTo>
                    <a:pt x="10" y="20"/>
                  </a:lnTo>
                  <a:lnTo>
                    <a:pt x="16" y="22"/>
                  </a:lnTo>
                  <a:lnTo>
                    <a:pt x="16" y="31"/>
                  </a:lnTo>
                  <a:lnTo>
                    <a:pt x="23" y="38"/>
                  </a:lnTo>
                  <a:lnTo>
                    <a:pt x="25" y="47"/>
                  </a:lnTo>
                  <a:lnTo>
                    <a:pt x="27" y="54"/>
                  </a:lnTo>
                  <a:lnTo>
                    <a:pt x="42" y="65"/>
                  </a:lnTo>
                  <a:lnTo>
                    <a:pt x="42" y="67"/>
                  </a:lnTo>
                  <a:lnTo>
                    <a:pt x="44" y="65"/>
                  </a:lnTo>
                  <a:lnTo>
                    <a:pt x="48" y="67"/>
                  </a:lnTo>
                  <a:lnTo>
                    <a:pt x="50" y="54"/>
                  </a:lnTo>
                  <a:lnTo>
                    <a:pt x="48" y="47"/>
                  </a:lnTo>
                  <a:lnTo>
                    <a:pt x="44" y="47"/>
                  </a:lnTo>
                  <a:lnTo>
                    <a:pt x="42" y="40"/>
                  </a:lnTo>
                  <a:lnTo>
                    <a:pt x="39" y="40"/>
                  </a:lnTo>
                  <a:lnTo>
                    <a:pt x="35" y="38"/>
                  </a:lnTo>
                  <a:lnTo>
                    <a:pt x="39" y="33"/>
                  </a:lnTo>
                  <a:lnTo>
                    <a:pt x="35" y="31"/>
                  </a:lnTo>
                  <a:lnTo>
                    <a:pt x="35" y="29"/>
                  </a:lnTo>
                  <a:lnTo>
                    <a:pt x="27" y="22"/>
                  </a:lnTo>
                  <a:lnTo>
                    <a:pt x="25" y="22"/>
                  </a:lnTo>
                  <a:lnTo>
                    <a:pt x="8" y="4"/>
                  </a:lnTo>
                  <a:lnTo>
                    <a:pt x="4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11" name="Freeform 1467"/>
            <p:cNvSpPr>
              <a:spLocks/>
            </p:cNvSpPr>
            <p:nvPr/>
          </p:nvSpPr>
          <p:spPr bwMode="auto">
            <a:xfrm>
              <a:off x="6690962" y="4682980"/>
              <a:ext cx="223285" cy="84907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14" y="9"/>
                </a:cxn>
                <a:cxn ang="0">
                  <a:pos x="20" y="9"/>
                </a:cxn>
                <a:cxn ang="0">
                  <a:pos x="35" y="16"/>
                </a:cxn>
                <a:cxn ang="0">
                  <a:pos x="37" y="14"/>
                </a:cxn>
                <a:cxn ang="0">
                  <a:pos x="43" y="16"/>
                </a:cxn>
                <a:cxn ang="0">
                  <a:pos x="43" y="9"/>
                </a:cxn>
                <a:cxn ang="0">
                  <a:pos x="37" y="9"/>
                </a:cxn>
                <a:cxn ang="0">
                  <a:pos x="35" y="7"/>
                </a:cxn>
                <a:cxn ang="0">
                  <a:pos x="27" y="5"/>
                </a:cxn>
                <a:cxn ang="0">
                  <a:pos x="27" y="7"/>
                </a:cxn>
                <a:cxn ang="0">
                  <a:pos x="18" y="7"/>
                </a:cxn>
                <a:cxn ang="0">
                  <a:pos x="12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5"/>
                </a:cxn>
              </a:cxnLst>
              <a:rect l="0" t="0" r="r" b="b"/>
              <a:pathLst>
                <a:path w="43" h="16">
                  <a:moveTo>
                    <a:pt x="0" y="5"/>
                  </a:moveTo>
                  <a:lnTo>
                    <a:pt x="14" y="9"/>
                  </a:lnTo>
                  <a:lnTo>
                    <a:pt x="20" y="9"/>
                  </a:lnTo>
                  <a:lnTo>
                    <a:pt x="35" y="16"/>
                  </a:lnTo>
                  <a:lnTo>
                    <a:pt x="37" y="14"/>
                  </a:lnTo>
                  <a:lnTo>
                    <a:pt x="43" y="16"/>
                  </a:lnTo>
                  <a:lnTo>
                    <a:pt x="43" y="9"/>
                  </a:lnTo>
                  <a:lnTo>
                    <a:pt x="37" y="9"/>
                  </a:lnTo>
                  <a:lnTo>
                    <a:pt x="35" y="7"/>
                  </a:lnTo>
                  <a:lnTo>
                    <a:pt x="27" y="5"/>
                  </a:lnTo>
                  <a:lnTo>
                    <a:pt x="27" y="7"/>
                  </a:lnTo>
                  <a:lnTo>
                    <a:pt x="18" y="7"/>
                  </a:lnTo>
                  <a:lnTo>
                    <a:pt x="12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12" name="Freeform 1468"/>
            <p:cNvSpPr>
              <a:spLocks/>
            </p:cNvSpPr>
            <p:nvPr/>
          </p:nvSpPr>
          <p:spPr bwMode="auto">
            <a:xfrm>
              <a:off x="6914248" y="4757274"/>
              <a:ext cx="36349" cy="10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3" y="0"/>
                </a:cxn>
                <a:cxn ang="0">
                  <a:pos x="0" y="0"/>
                </a:cxn>
              </a:cxnLst>
              <a:rect l="0" t="0" r="r" b="b"/>
              <a:pathLst>
                <a:path w="7" h="2">
                  <a:moveTo>
                    <a:pt x="0" y="0"/>
                  </a:moveTo>
                  <a:lnTo>
                    <a:pt x="3" y="2"/>
                  </a:ln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13" name="Freeform 1469"/>
            <p:cNvSpPr>
              <a:spLocks/>
            </p:cNvSpPr>
            <p:nvPr/>
          </p:nvSpPr>
          <p:spPr bwMode="auto">
            <a:xfrm>
              <a:off x="6960981" y="4757274"/>
              <a:ext cx="192130" cy="21227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6" y="4"/>
                </a:cxn>
                <a:cxn ang="0">
                  <a:pos x="16" y="2"/>
                </a:cxn>
                <a:cxn ang="0">
                  <a:pos x="27" y="4"/>
                </a:cxn>
                <a:cxn ang="0">
                  <a:pos x="37" y="2"/>
                </a:cxn>
                <a:cxn ang="0">
                  <a:pos x="31" y="0"/>
                </a:cxn>
                <a:cxn ang="0">
                  <a:pos x="27" y="2"/>
                </a:cxn>
                <a:cxn ang="0">
                  <a:pos x="19" y="0"/>
                </a:cxn>
                <a:cxn ang="0">
                  <a:pos x="16" y="2"/>
                </a:cxn>
                <a:cxn ang="0">
                  <a:pos x="8" y="0"/>
                </a:cxn>
                <a:cxn ang="0">
                  <a:pos x="8" y="2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4"/>
                </a:cxn>
              </a:cxnLst>
              <a:rect l="0" t="0" r="r" b="b"/>
              <a:pathLst>
                <a:path w="37" h="4">
                  <a:moveTo>
                    <a:pt x="0" y="4"/>
                  </a:moveTo>
                  <a:lnTo>
                    <a:pt x="6" y="4"/>
                  </a:lnTo>
                  <a:lnTo>
                    <a:pt x="16" y="2"/>
                  </a:lnTo>
                  <a:lnTo>
                    <a:pt x="27" y="4"/>
                  </a:lnTo>
                  <a:lnTo>
                    <a:pt x="37" y="2"/>
                  </a:lnTo>
                  <a:lnTo>
                    <a:pt x="31" y="0"/>
                  </a:lnTo>
                  <a:lnTo>
                    <a:pt x="27" y="2"/>
                  </a:lnTo>
                  <a:lnTo>
                    <a:pt x="19" y="0"/>
                  </a:lnTo>
                  <a:lnTo>
                    <a:pt x="16" y="2"/>
                  </a:lnTo>
                  <a:lnTo>
                    <a:pt x="8" y="0"/>
                  </a:lnTo>
                  <a:lnTo>
                    <a:pt x="8" y="2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14" name="Freeform 1470"/>
            <p:cNvSpPr>
              <a:spLocks/>
            </p:cNvSpPr>
            <p:nvPr/>
          </p:nvSpPr>
          <p:spPr bwMode="auto">
            <a:xfrm>
              <a:off x="7163496" y="4757274"/>
              <a:ext cx="10385" cy="1061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15" name="Freeform 1471"/>
            <p:cNvSpPr>
              <a:spLocks/>
            </p:cNvSpPr>
            <p:nvPr/>
          </p:nvSpPr>
          <p:spPr bwMode="auto">
            <a:xfrm>
              <a:off x="7199845" y="4730741"/>
              <a:ext cx="20771" cy="26533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2" y="5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5"/>
                </a:cxn>
              </a:cxnLst>
              <a:rect l="0" t="0" r="r" b="b"/>
              <a:pathLst>
                <a:path w="4" h="5">
                  <a:moveTo>
                    <a:pt x="0" y="5"/>
                  </a:moveTo>
                  <a:lnTo>
                    <a:pt x="2" y="5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16" name="Freeform 1472"/>
            <p:cNvSpPr>
              <a:spLocks/>
            </p:cNvSpPr>
            <p:nvPr/>
          </p:nvSpPr>
          <p:spPr bwMode="auto">
            <a:xfrm>
              <a:off x="7033679" y="4805034"/>
              <a:ext cx="46734" cy="10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" y="2"/>
                </a:cxn>
                <a:cxn ang="0">
                  <a:pos x="9" y="2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9" h="2">
                  <a:moveTo>
                    <a:pt x="0" y="0"/>
                  </a:moveTo>
                  <a:lnTo>
                    <a:pt x="5" y="2"/>
                  </a:lnTo>
                  <a:lnTo>
                    <a:pt x="9" y="2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17" name="Freeform 1473"/>
            <p:cNvSpPr>
              <a:spLocks/>
            </p:cNvSpPr>
            <p:nvPr/>
          </p:nvSpPr>
          <p:spPr bwMode="auto">
            <a:xfrm>
              <a:off x="7329663" y="4720127"/>
              <a:ext cx="10385" cy="37147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0" y="4"/>
                </a:cxn>
                <a:cxn ang="0">
                  <a:pos x="0" y="7"/>
                </a:cxn>
              </a:cxnLst>
              <a:rect l="0" t="0" r="r" b="b"/>
              <a:pathLst>
                <a:path w="2" h="7">
                  <a:moveTo>
                    <a:pt x="0" y="7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18" name="Freeform 1474"/>
            <p:cNvSpPr>
              <a:spLocks/>
            </p:cNvSpPr>
            <p:nvPr/>
          </p:nvSpPr>
          <p:spPr bwMode="auto">
            <a:xfrm>
              <a:off x="7402360" y="4672367"/>
              <a:ext cx="10385" cy="47760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0" y="4"/>
                </a:cxn>
                <a:cxn ang="0">
                  <a:pos x="0" y="9"/>
                </a:cxn>
              </a:cxnLst>
              <a:rect l="0" t="0" r="r" b="b"/>
              <a:pathLst>
                <a:path w="2" h="9">
                  <a:moveTo>
                    <a:pt x="0" y="9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19" name="Freeform 1475"/>
            <p:cNvSpPr>
              <a:spLocks/>
            </p:cNvSpPr>
            <p:nvPr/>
          </p:nvSpPr>
          <p:spPr bwMode="auto">
            <a:xfrm>
              <a:off x="6690962" y="4550314"/>
              <a:ext cx="51927" cy="6368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5"/>
                </a:cxn>
                <a:cxn ang="0">
                  <a:pos x="4" y="7"/>
                </a:cxn>
                <a:cxn ang="0">
                  <a:pos x="10" y="12"/>
                </a:cxn>
                <a:cxn ang="0">
                  <a:pos x="10" y="7"/>
                </a:cxn>
                <a:cxn ang="0">
                  <a:pos x="6" y="5"/>
                </a:cxn>
                <a:cxn ang="0">
                  <a:pos x="6" y="0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10" h="12">
                  <a:moveTo>
                    <a:pt x="0" y="0"/>
                  </a:moveTo>
                  <a:lnTo>
                    <a:pt x="4" y="5"/>
                  </a:lnTo>
                  <a:lnTo>
                    <a:pt x="4" y="7"/>
                  </a:lnTo>
                  <a:lnTo>
                    <a:pt x="10" y="12"/>
                  </a:lnTo>
                  <a:lnTo>
                    <a:pt x="10" y="7"/>
                  </a:lnTo>
                  <a:lnTo>
                    <a:pt x="6" y="5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20" name="Freeform 1476"/>
            <p:cNvSpPr>
              <a:spLocks/>
            </p:cNvSpPr>
            <p:nvPr/>
          </p:nvSpPr>
          <p:spPr bwMode="auto">
            <a:xfrm>
              <a:off x="6753274" y="4587460"/>
              <a:ext cx="10385" cy="26533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2" y="5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5"/>
                </a:cxn>
              </a:cxnLst>
              <a:rect l="0" t="0" r="r" b="b"/>
              <a:pathLst>
                <a:path w="2" h="5">
                  <a:moveTo>
                    <a:pt x="0" y="5"/>
                  </a:moveTo>
                  <a:lnTo>
                    <a:pt x="2" y="5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21" name="Line 1477"/>
            <p:cNvSpPr>
              <a:spLocks noChangeShapeType="1"/>
            </p:cNvSpPr>
            <p:nvPr/>
          </p:nvSpPr>
          <p:spPr bwMode="auto">
            <a:xfrm>
              <a:off x="6883091" y="4730741"/>
              <a:ext cx="31156" cy="5307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22" name="Freeform 1478"/>
            <p:cNvSpPr>
              <a:spLocks/>
            </p:cNvSpPr>
            <p:nvPr/>
          </p:nvSpPr>
          <p:spPr bwMode="auto">
            <a:xfrm>
              <a:off x="7033679" y="4454793"/>
              <a:ext cx="166166" cy="228187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0" y="30"/>
                </a:cxn>
                <a:cxn ang="0">
                  <a:pos x="2" y="30"/>
                </a:cxn>
                <a:cxn ang="0">
                  <a:pos x="2" y="32"/>
                </a:cxn>
                <a:cxn ang="0">
                  <a:pos x="2" y="41"/>
                </a:cxn>
                <a:cxn ang="0">
                  <a:pos x="5" y="41"/>
                </a:cxn>
                <a:cxn ang="0">
                  <a:pos x="5" y="30"/>
                </a:cxn>
                <a:cxn ang="0">
                  <a:pos x="9" y="25"/>
                </a:cxn>
                <a:cxn ang="0">
                  <a:pos x="11" y="25"/>
                </a:cxn>
                <a:cxn ang="0">
                  <a:pos x="9" y="30"/>
                </a:cxn>
                <a:cxn ang="0">
                  <a:pos x="13" y="34"/>
                </a:cxn>
                <a:cxn ang="0">
                  <a:pos x="13" y="39"/>
                </a:cxn>
                <a:cxn ang="0">
                  <a:pos x="17" y="39"/>
                </a:cxn>
                <a:cxn ang="0">
                  <a:pos x="17" y="41"/>
                </a:cxn>
                <a:cxn ang="0">
                  <a:pos x="17" y="43"/>
                </a:cxn>
                <a:cxn ang="0">
                  <a:pos x="19" y="41"/>
                </a:cxn>
                <a:cxn ang="0">
                  <a:pos x="19" y="39"/>
                </a:cxn>
                <a:cxn ang="0">
                  <a:pos x="13" y="30"/>
                </a:cxn>
                <a:cxn ang="0">
                  <a:pos x="17" y="30"/>
                </a:cxn>
                <a:cxn ang="0">
                  <a:pos x="13" y="18"/>
                </a:cxn>
                <a:cxn ang="0">
                  <a:pos x="19" y="16"/>
                </a:cxn>
                <a:cxn ang="0">
                  <a:pos x="23" y="16"/>
                </a:cxn>
                <a:cxn ang="0">
                  <a:pos x="19" y="14"/>
                </a:cxn>
                <a:cxn ang="0">
                  <a:pos x="9" y="16"/>
                </a:cxn>
                <a:cxn ang="0">
                  <a:pos x="5" y="14"/>
                </a:cxn>
                <a:cxn ang="0">
                  <a:pos x="5" y="9"/>
                </a:cxn>
                <a:cxn ang="0">
                  <a:pos x="9" y="7"/>
                </a:cxn>
                <a:cxn ang="0">
                  <a:pos x="23" y="7"/>
                </a:cxn>
                <a:cxn ang="0">
                  <a:pos x="27" y="7"/>
                </a:cxn>
                <a:cxn ang="0">
                  <a:pos x="32" y="0"/>
                </a:cxn>
                <a:cxn ang="0">
                  <a:pos x="27" y="0"/>
                </a:cxn>
                <a:cxn ang="0">
                  <a:pos x="25" y="5"/>
                </a:cxn>
                <a:cxn ang="0">
                  <a:pos x="19" y="5"/>
                </a:cxn>
                <a:cxn ang="0">
                  <a:pos x="11" y="0"/>
                </a:cxn>
                <a:cxn ang="0">
                  <a:pos x="9" y="5"/>
                </a:cxn>
                <a:cxn ang="0">
                  <a:pos x="5" y="5"/>
                </a:cxn>
                <a:cxn ang="0">
                  <a:pos x="5" y="14"/>
                </a:cxn>
                <a:cxn ang="0">
                  <a:pos x="2" y="21"/>
                </a:cxn>
                <a:cxn ang="0">
                  <a:pos x="0" y="25"/>
                </a:cxn>
              </a:cxnLst>
              <a:rect l="0" t="0" r="r" b="b"/>
              <a:pathLst>
                <a:path w="32" h="43">
                  <a:moveTo>
                    <a:pt x="0" y="25"/>
                  </a:moveTo>
                  <a:lnTo>
                    <a:pt x="0" y="30"/>
                  </a:lnTo>
                  <a:lnTo>
                    <a:pt x="2" y="30"/>
                  </a:lnTo>
                  <a:lnTo>
                    <a:pt x="2" y="32"/>
                  </a:lnTo>
                  <a:lnTo>
                    <a:pt x="2" y="41"/>
                  </a:lnTo>
                  <a:lnTo>
                    <a:pt x="5" y="41"/>
                  </a:lnTo>
                  <a:lnTo>
                    <a:pt x="5" y="30"/>
                  </a:lnTo>
                  <a:lnTo>
                    <a:pt x="9" y="25"/>
                  </a:lnTo>
                  <a:lnTo>
                    <a:pt x="11" y="25"/>
                  </a:lnTo>
                  <a:lnTo>
                    <a:pt x="9" y="30"/>
                  </a:lnTo>
                  <a:lnTo>
                    <a:pt x="13" y="34"/>
                  </a:lnTo>
                  <a:lnTo>
                    <a:pt x="13" y="39"/>
                  </a:lnTo>
                  <a:lnTo>
                    <a:pt x="17" y="39"/>
                  </a:lnTo>
                  <a:lnTo>
                    <a:pt x="17" y="41"/>
                  </a:lnTo>
                  <a:lnTo>
                    <a:pt x="17" y="43"/>
                  </a:lnTo>
                  <a:lnTo>
                    <a:pt x="19" y="41"/>
                  </a:lnTo>
                  <a:lnTo>
                    <a:pt x="19" y="39"/>
                  </a:lnTo>
                  <a:lnTo>
                    <a:pt x="13" y="30"/>
                  </a:lnTo>
                  <a:lnTo>
                    <a:pt x="17" y="30"/>
                  </a:lnTo>
                  <a:lnTo>
                    <a:pt x="13" y="18"/>
                  </a:lnTo>
                  <a:lnTo>
                    <a:pt x="19" y="16"/>
                  </a:lnTo>
                  <a:lnTo>
                    <a:pt x="23" y="16"/>
                  </a:lnTo>
                  <a:lnTo>
                    <a:pt x="19" y="14"/>
                  </a:lnTo>
                  <a:lnTo>
                    <a:pt x="9" y="16"/>
                  </a:lnTo>
                  <a:lnTo>
                    <a:pt x="5" y="14"/>
                  </a:lnTo>
                  <a:lnTo>
                    <a:pt x="5" y="9"/>
                  </a:lnTo>
                  <a:lnTo>
                    <a:pt x="9" y="7"/>
                  </a:lnTo>
                  <a:lnTo>
                    <a:pt x="23" y="7"/>
                  </a:lnTo>
                  <a:lnTo>
                    <a:pt x="27" y="7"/>
                  </a:lnTo>
                  <a:lnTo>
                    <a:pt x="32" y="0"/>
                  </a:lnTo>
                  <a:lnTo>
                    <a:pt x="27" y="0"/>
                  </a:lnTo>
                  <a:lnTo>
                    <a:pt x="25" y="5"/>
                  </a:lnTo>
                  <a:lnTo>
                    <a:pt x="19" y="5"/>
                  </a:lnTo>
                  <a:lnTo>
                    <a:pt x="11" y="0"/>
                  </a:lnTo>
                  <a:lnTo>
                    <a:pt x="9" y="5"/>
                  </a:lnTo>
                  <a:lnTo>
                    <a:pt x="5" y="5"/>
                  </a:lnTo>
                  <a:lnTo>
                    <a:pt x="5" y="14"/>
                  </a:lnTo>
                  <a:lnTo>
                    <a:pt x="2" y="21"/>
                  </a:lnTo>
                  <a:lnTo>
                    <a:pt x="0" y="25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23" name="Freeform 1479"/>
            <p:cNvSpPr>
              <a:spLocks/>
            </p:cNvSpPr>
            <p:nvPr/>
          </p:nvSpPr>
          <p:spPr bwMode="auto">
            <a:xfrm>
              <a:off x="7241387" y="4444180"/>
              <a:ext cx="41542" cy="95520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2" y="11"/>
                </a:cxn>
                <a:cxn ang="0">
                  <a:pos x="4" y="18"/>
                </a:cxn>
                <a:cxn ang="0">
                  <a:pos x="2" y="11"/>
                </a:cxn>
                <a:cxn ang="0">
                  <a:pos x="2" y="9"/>
                </a:cxn>
                <a:cxn ang="0">
                  <a:pos x="4" y="9"/>
                </a:cxn>
                <a:cxn ang="0">
                  <a:pos x="4" y="7"/>
                </a:cxn>
                <a:cxn ang="0">
                  <a:pos x="8" y="7"/>
                </a:cxn>
                <a:cxn ang="0">
                  <a:pos x="8" y="2"/>
                </a:cxn>
                <a:cxn ang="0">
                  <a:pos x="4" y="2"/>
                </a:cxn>
                <a:cxn ang="0">
                  <a:pos x="2" y="0"/>
                </a:cxn>
                <a:cxn ang="0">
                  <a:pos x="0" y="5"/>
                </a:cxn>
                <a:cxn ang="0">
                  <a:pos x="0" y="7"/>
                </a:cxn>
              </a:cxnLst>
              <a:rect l="0" t="0" r="r" b="b"/>
              <a:pathLst>
                <a:path w="8" h="18">
                  <a:moveTo>
                    <a:pt x="0" y="7"/>
                  </a:moveTo>
                  <a:lnTo>
                    <a:pt x="2" y="11"/>
                  </a:lnTo>
                  <a:lnTo>
                    <a:pt x="4" y="18"/>
                  </a:lnTo>
                  <a:lnTo>
                    <a:pt x="2" y="11"/>
                  </a:lnTo>
                  <a:lnTo>
                    <a:pt x="2" y="9"/>
                  </a:lnTo>
                  <a:lnTo>
                    <a:pt x="4" y="9"/>
                  </a:lnTo>
                  <a:lnTo>
                    <a:pt x="4" y="7"/>
                  </a:lnTo>
                  <a:lnTo>
                    <a:pt x="8" y="7"/>
                  </a:lnTo>
                  <a:lnTo>
                    <a:pt x="8" y="2"/>
                  </a:lnTo>
                  <a:lnTo>
                    <a:pt x="4" y="2"/>
                  </a:lnTo>
                  <a:lnTo>
                    <a:pt x="2" y="0"/>
                  </a:lnTo>
                  <a:lnTo>
                    <a:pt x="0" y="5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24" name="Freeform 1480"/>
            <p:cNvSpPr>
              <a:spLocks/>
            </p:cNvSpPr>
            <p:nvPr/>
          </p:nvSpPr>
          <p:spPr bwMode="auto">
            <a:xfrm>
              <a:off x="7210231" y="4613994"/>
              <a:ext cx="31156" cy="10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2"/>
                </a:cxn>
                <a:cxn ang="0">
                  <a:pos x="6" y="2"/>
                </a:cxn>
                <a:cxn ang="0">
                  <a:pos x="6" y="0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6" h="2">
                  <a:moveTo>
                    <a:pt x="0" y="0"/>
                  </a:moveTo>
                  <a:lnTo>
                    <a:pt x="2" y="2"/>
                  </a:lnTo>
                  <a:lnTo>
                    <a:pt x="6" y="2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25" name="Freeform 1481"/>
            <p:cNvSpPr>
              <a:spLocks/>
            </p:cNvSpPr>
            <p:nvPr/>
          </p:nvSpPr>
          <p:spPr bwMode="auto">
            <a:xfrm>
              <a:off x="7251772" y="4587460"/>
              <a:ext cx="77890" cy="37147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15" y="7"/>
                </a:cxn>
                <a:cxn ang="0">
                  <a:pos x="11" y="5"/>
                </a:cxn>
                <a:cxn ang="0">
                  <a:pos x="8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5"/>
                </a:cxn>
              </a:cxnLst>
              <a:rect l="0" t="0" r="r" b="b"/>
              <a:pathLst>
                <a:path w="15" h="7">
                  <a:moveTo>
                    <a:pt x="0" y="5"/>
                  </a:moveTo>
                  <a:lnTo>
                    <a:pt x="15" y="7"/>
                  </a:lnTo>
                  <a:lnTo>
                    <a:pt x="11" y="5"/>
                  </a:lnTo>
                  <a:lnTo>
                    <a:pt x="8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26" name="Line 1482"/>
            <p:cNvSpPr>
              <a:spLocks noChangeShapeType="1"/>
            </p:cNvSpPr>
            <p:nvPr/>
          </p:nvSpPr>
          <p:spPr bwMode="auto">
            <a:xfrm>
              <a:off x="7173882" y="4566234"/>
              <a:ext cx="25963" cy="5307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27" name="Freeform 1483"/>
            <p:cNvSpPr>
              <a:spLocks/>
            </p:cNvSpPr>
            <p:nvPr/>
          </p:nvSpPr>
          <p:spPr bwMode="auto">
            <a:xfrm>
              <a:off x="7241387" y="4539700"/>
              <a:ext cx="20771" cy="1061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4" y="2"/>
                </a:cxn>
                <a:cxn ang="0">
                  <a:pos x="2" y="0"/>
                </a:cxn>
                <a:cxn ang="0">
                  <a:pos x="0" y="2"/>
                </a:cxn>
              </a:cxnLst>
              <a:rect l="0" t="0" r="r" b="b"/>
              <a:pathLst>
                <a:path w="4" h="2">
                  <a:moveTo>
                    <a:pt x="0" y="2"/>
                  </a:moveTo>
                  <a:lnTo>
                    <a:pt x="4" y="2"/>
                  </a:lnTo>
                  <a:lnTo>
                    <a:pt x="2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28" name="Freeform 1484"/>
            <p:cNvSpPr>
              <a:spLocks/>
            </p:cNvSpPr>
            <p:nvPr/>
          </p:nvSpPr>
          <p:spPr bwMode="auto">
            <a:xfrm>
              <a:off x="7308892" y="4502554"/>
              <a:ext cx="31156" cy="2653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5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6" h="5">
                  <a:moveTo>
                    <a:pt x="0" y="0"/>
                  </a:moveTo>
                  <a:lnTo>
                    <a:pt x="4" y="5"/>
                  </a:lnTo>
                  <a:lnTo>
                    <a:pt x="6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29" name="Freeform 1485"/>
            <p:cNvSpPr>
              <a:spLocks/>
            </p:cNvSpPr>
            <p:nvPr/>
          </p:nvSpPr>
          <p:spPr bwMode="auto">
            <a:xfrm>
              <a:off x="7449094" y="4529087"/>
              <a:ext cx="10385" cy="10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30" name="Freeform 1486"/>
            <p:cNvSpPr>
              <a:spLocks/>
            </p:cNvSpPr>
            <p:nvPr/>
          </p:nvSpPr>
          <p:spPr bwMode="auto">
            <a:xfrm>
              <a:off x="7033679" y="3945353"/>
              <a:ext cx="119432" cy="164507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0" y="20"/>
                </a:cxn>
                <a:cxn ang="0">
                  <a:pos x="5" y="20"/>
                </a:cxn>
                <a:cxn ang="0">
                  <a:pos x="5" y="27"/>
                </a:cxn>
                <a:cxn ang="0">
                  <a:pos x="9" y="27"/>
                </a:cxn>
                <a:cxn ang="0">
                  <a:pos x="13" y="31"/>
                </a:cxn>
                <a:cxn ang="0">
                  <a:pos x="13" y="27"/>
                </a:cxn>
                <a:cxn ang="0">
                  <a:pos x="17" y="31"/>
                </a:cxn>
                <a:cxn ang="0">
                  <a:pos x="23" y="31"/>
                </a:cxn>
                <a:cxn ang="0">
                  <a:pos x="19" y="27"/>
                </a:cxn>
                <a:cxn ang="0">
                  <a:pos x="13" y="24"/>
                </a:cxn>
                <a:cxn ang="0">
                  <a:pos x="11" y="27"/>
                </a:cxn>
                <a:cxn ang="0">
                  <a:pos x="11" y="24"/>
                </a:cxn>
                <a:cxn ang="0">
                  <a:pos x="9" y="18"/>
                </a:cxn>
                <a:cxn ang="0">
                  <a:pos x="11" y="9"/>
                </a:cxn>
                <a:cxn ang="0">
                  <a:pos x="9" y="6"/>
                </a:cxn>
                <a:cxn ang="0">
                  <a:pos x="9" y="0"/>
                </a:cxn>
                <a:cxn ang="0">
                  <a:pos x="0" y="0"/>
                </a:cxn>
                <a:cxn ang="0">
                  <a:pos x="2" y="11"/>
                </a:cxn>
                <a:cxn ang="0">
                  <a:pos x="0" y="11"/>
                </a:cxn>
              </a:cxnLst>
              <a:rect l="0" t="0" r="r" b="b"/>
              <a:pathLst>
                <a:path w="23" h="31">
                  <a:moveTo>
                    <a:pt x="0" y="11"/>
                  </a:moveTo>
                  <a:lnTo>
                    <a:pt x="0" y="20"/>
                  </a:lnTo>
                  <a:lnTo>
                    <a:pt x="5" y="20"/>
                  </a:lnTo>
                  <a:lnTo>
                    <a:pt x="5" y="27"/>
                  </a:lnTo>
                  <a:lnTo>
                    <a:pt x="9" y="27"/>
                  </a:lnTo>
                  <a:lnTo>
                    <a:pt x="13" y="31"/>
                  </a:lnTo>
                  <a:lnTo>
                    <a:pt x="13" y="27"/>
                  </a:lnTo>
                  <a:lnTo>
                    <a:pt x="17" y="31"/>
                  </a:lnTo>
                  <a:lnTo>
                    <a:pt x="23" y="31"/>
                  </a:lnTo>
                  <a:lnTo>
                    <a:pt x="19" y="27"/>
                  </a:lnTo>
                  <a:lnTo>
                    <a:pt x="13" y="24"/>
                  </a:lnTo>
                  <a:lnTo>
                    <a:pt x="11" y="27"/>
                  </a:lnTo>
                  <a:lnTo>
                    <a:pt x="11" y="24"/>
                  </a:lnTo>
                  <a:lnTo>
                    <a:pt x="9" y="18"/>
                  </a:lnTo>
                  <a:lnTo>
                    <a:pt x="11" y="9"/>
                  </a:lnTo>
                  <a:lnTo>
                    <a:pt x="9" y="6"/>
                  </a:lnTo>
                  <a:lnTo>
                    <a:pt x="9" y="0"/>
                  </a:lnTo>
                  <a:lnTo>
                    <a:pt x="0" y="0"/>
                  </a:lnTo>
                  <a:lnTo>
                    <a:pt x="2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31" name="Freeform 1487"/>
            <p:cNvSpPr>
              <a:spLocks/>
            </p:cNvSpPr>
            <p:nvPr/>
          </p:nvSpPr>
          <p:spPr bwMode="auto">
            <a:xfrm>
              <a:off x="6992137" y="4168233"/>
              <a:ext cx="51927" cy="84907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10" y="3"/>
                </a:cxn>
                <a:cxn ang="0">
                  <a:pos x="8" y="0"/>
                </a:cxn>
                <a:cxn ang="0">
                  <a:pos x="8" y="3"/>
                </a:cxn>
                <a:cxn ang="0">
                  <a:pos x="4" y="9"/>
                </a:cxn>
                <a:cxn ang="0">
                  <a:pos x="0" y="14"/>
                </a:cxn>
                <a:cxn ang="0">
                  <a:pos x="0" y="16"/>
                </a:cxn>
              </a:cxnLst>
              <a:rect l="0" t="0" r="r" b="b"/>
              <a:pathLst>
                <a:path w="10" h="16">
                  <a:moveTo>
                    <a:pt x="0" y="16"/>
                  </a:moveTo>
                  <a:lnTo>
                    <a:pt x="10" y="3"/>
                  </a:lnTo>
                  <a:lnTo>
                    <a:pt x="8" y="0"/>
                  </a:lnTo>
                  <a:lnTo>
                    <a:pt x="8" y="3"/>
                  </a:lnTo>
                  <a:lnTo>
                    <a:pt x="4" y="9"/>
                  </a:lnTo>
                  <a:lnTo>
                    <a:pt x="0" y="14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32" name="Freeform 1488"/>
            <p:cNvSpPr>
              <a:spLocks/>
            </p:cNvSpPr>
            <p:nvPr/>
          </p:nvSpPr>
          <p:spPr bwMode="auto">
            <a:xfrm>
              <a:off x="7044065" y="4088633"/>
              <a:ext cx="36349" cy="4776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7" y="9"/>
                </a:cxn>
                <a:cxn ang="0">
                  <a:pos x="7" y="6"/>
                </a:cxn>
                <a:cxn ang="0">
                  <a:pos x="7" y="4"/>
                </a:cxn>
                <a:cxn ang="0">
                  <a:pos x="3" y="2"/>
                </a:cxn>
                <a:cxn ang="0">
                  <a:pos x="0" y="0"/>
                </a:cxn>
              </a:cxnLst>
              <a:rect l="0" t="0" r="r" b="b"/>
              <a:pathLst>
                <a:path w="7" h="9">
                  <a:moveTo>
                    <a:pt x="0" y="0"/>
                  </a:moveTo>
                  <a:lnTo>
                    <a:pt x="7" y="9"/>
                  </a:lnTo>
                  <a:lnTo>
                    <a:pt x="7" y="6"/>
                  </a:lnTo>
                  <a:lnTo>
                    <a:pt x="7" y="4"/>
                  </a:lnTo>
                  <a:lnTo>
                    <a:pt x="3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33" name="Freeform 1489"/>
            <p:cNvSpPr>
              <a:spLocks/>
            </p:cNvSpPr>
            <p:nvPr/>
          </p:nvSpPr>
          <p:spPr bwMode="auto">
            <a:xfrm>
              <a:off x="7153111" y="4120473"/>
              <a:ext cx="20771" cy="8490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7"/>
                </a:cxn>
                <a:cxn ang="0">
                  <a:pos x="0" y="7"/>
                </a:cxn>
                <a:cxn ang="0">
                  <a:pos x="0" y="9"/>
                </a:cxn>
                <a:cxn ang="0">
                  <a:pos x="2" y="9"/>
                </a:cxn>
                <a:cxn ang="0">
                  <a:pos x="2" y="16"/>
                </a:cxn>
                <a:cxn ang="0">
                  <a:pos x="4" y="12"/>
                </a:cxn>
                <a:cxn ang="0">
                  <a:pos x="2" y="9"/>
                </a:cxn>
                <a:cxn ang="0">
                  <a:pos x="4" y="9"/>
                </a:cxn>
                <a:cxn ang="0">
                  <a:pos x="4" y="3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4" h="16">
                  <a:moveTo>
                    <a:pt x="0" y="0"/>
                  </a:moveTo>
                  <a:lnTo>
                    <a:pt x="2" y="7"/>
                  </a:lnTo>
                  <a:lnTo>
                    <a:pt x="0" y="7"/>
                  </a:lnTo>
                  <a:lnTo>
                    <a:pt x="0" y="9"/>
                  </a:lnTo>
                  <a:lnTo>
                    <a:pt x="2" y="9"/>
                  </a:lnTo>
                  <a:lnTo>
                    <a:pt x="2" y="16"/>
                  </a:lnTo>
                  <a:lnTo>
                    <a:pt x="4" y="12"/>
                  </a:lnTo>
                  <a:lnTo>
                    <a:pt x="2" y="9"/>
                  </a:lnTo>
                  <a:lnTo>
                    <a:pt x="4" y="9"/>
                  </a:lnTo>
                  <a:lnTo>
                    <a:pt x="4" y="3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34" name="Freeform 1490"/>
            <p:cNvSpPr>
              <a:spLocks/>
            </p:cNvSpPr>
            <p:nvPr/>
          </p:nvSpPr>
          <p:spPr bwMode="auto">
            <a:xfrm>
              <a:off x="7090799" y="4136393"/>
              <a:ext cx="72698" cy="95520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6" y="9"/>
                </a:cxn>
                <a:cxn ang="0">
                  <a:pos x="6" y="13"/>
                </a:cxn>
                <a:cxn ang="0">
                  <a:pos x="2" y="13"/>
                </a:cxn>
                <a:cxn ang="0">
                  <a:pos x="6" y="18"/>
                </a:cxn>
                <a:cxn ang="0">
                  <a:pos x="8" y="15"/>
                </a:cxn>
                <a:cxn ang="0">
                  <a:pos x="8" y="13"/>
                </a:cxn>
                <a:cxn ang="0">
                  <a:pos x="8" y="15"/>
                </a:cxn>
                <a:cxn ang="0">
                  <a:pos x="12" y="13"/>
                </a:cxn>
                <a:cxn ang="0">
                  <a:pos x="12" y="15"/>
                </a:cxn>
                <a:cxn ang="0">
                  <a:pos x="14" y="15"/>
                </a:cxn>
                <a:cxn ang="0">
                  <a:pos x="14" y="13"/>
                </a:cxn>
                <a:cxn ang="0">
                  <a:pos x="12" y="13"/>
                </a:cxn>
                <a:cxn ang="0">
                  <a:pos x="12" y="6"/>
                </a:cxn>
                <a:cxn ang="0">
                  <a:pos x="8" y="9"/>
                </a:cxn>
                <a:cxn ang="0">
                  <a:pos x="6" y="4"/>
                </a:cxn>
                <a:cxn ang="0">
                  <a:pos x="2" y="4"/>
                </a:cxn>
                <a:cxn ang="0">
                  <a:pos x="0" y="0"/>
                </a:cxn>
                <a:cxn ang="0">
                  <a:pos x="0" y="4"/>
                </a:cxn>
                <a:cxn ang="0">
                  <a:pos x="0" y="9"/>
                </a:cxn>
              </a:cxnLst>
              <a:rect l="0" t="0" r="r" b="b"/>
              <a:pathLst>
                <a:path w="14" h="18">
                  <a:moveTo>
                    <a:pt x="0" y="9"/>
                  </a:moveTo>
                  <a:lnTo>
                    <a:pt x="6" y="9"/>
                  </a:lnTo>
                  <a:lnTo>
                    <a:pt x="6" y="13"/>
                  </a:lnTo>
                  <a:lnTo>
                    <a:pt x="2" y="13"/>
                  </a:lnTo>
                  <a:lnTo>
                    <a:pt x="6" y="18"/>
                  </a:lnTo>
                  <a:lnTo>
                    <a:pt x="8" y="15"/>
                  </a:lnTo>
                  <a:lnTo>
                    <a:pt x="8" y="13"/>
                  </a:lnTo>
                  <a:lnTo>
                    <a:pt x="8" y="15"/>
                  </a:lnTo>
                  <a:lnTo>
                    <a:pt x="12" y="13"/>
                  </a:lnTo>
                  <a:lnTo>
                    <a:pt x="12" y="15"/>
                  </a:lnTo>
                  <a:lnTo>
                    <a:pt x="14" y="15"/>
                  </a:lnTo>
                  <a:lnTo>
                    <a:pt x="14" y="13"/>
                  </a:lnTo>
                  <a:lnTo>
                    <a:pt x="12" y="13"/>
                  </a:lnTo>
                  <a:lnTo>
                    <a:pt x="12" y="6"/>
                  </a:lnTo>
                  <a:lnTo>
                    <a:pt x="8" y="9"/>
                  </a:lnTo>
                  <a:lnTo>
                    <a:pt x="6" y="4"/>
                  </a:lnTo>
                  <a:lnTo>
                    <a:pt x="2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35" name="Freeform 1491"/>
            <p:cNvSpPr>
              <a:spLocks/>
            </p:cNvSpPr>
            <p:nvPr/>
          </p:nvSpPr>
          <p:spPr bwMode="auto">
            <a:xfrm>
              <a:off x="7101184" y="4205380"/>
              <a:ext cx="119432" cy="122054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8"/>
                </a:cxn>
                <a:cxn ang="0">
                  <a:pos x="4" y="11"/>
                </a:cxn>
                <a:cxn ang="0">
                  <a:pos x="4" y="14"/>
                </a:cxn>
                <a:cxn ang="0">
                  <a:pos x="10" y="11"/>
                </a:cxn>
                <a:cxn ang="0">
                  <a:pos x="12" y="14"/>
                </a:cxn>
                <a:cxn ang="0">
                  <a:pos x="10" y="20"/>
                </a:cxn>
                <a:cxn ang="0">
                  <a:pos x="19" y="23"/>
                </a:cxn>
                <a:cxn ang="0">
                  <a:pos x="19" y="20"/>
                </a:cxn>
                <a:cxn ang="0">
                  <a:pos x="19" y="18"/>
                </a:cxn>
                <a:cxn ang="0">
                  <a:pos x="19" y="14"/>
                </a:cxn>
                <a:cxn ang="0">
                  <a:pos x="21" y="20"/>
                </a:cxn>
                <a:cxn ang="0">
                  <a:pos x="23" y="14"/>
                </a:cxn>
                <a:cxn ang="0">
                  <a:pos x="21" y="5"/>
                </a:cxn>
                <a:cxn ang="0">
                  <a:pos x="14" y="0"/>
                </a:cxn>
                <a:cxn ang="0">
                  <a:pos x="19" y="5"/>
                </a:cxn>
                <a:cxn ang="0">
                  <a:pos x="14" y="5"/>
                </a:cxn>
                <a:cxn ang="0">
                  <a:pos x="12" y="5"/>
                </a:cxn>
                <a:cxn ang="0">
                  <a:pos x="12" y="9"/>
                </a:cxn>
                <a:cxn ang="0">
                  <a:pos x="10" y="11"/>
                </a:cxn>
                <a:cxn ang="0">
                  <a:pos x="10" y="9"/>
                </a:cxn>
                <a:cxn ang="0">
                  <a:pos x="6" y="9"/>
                </a:cxn>
                <a:cxn ang="0">
                  <a:pos x="0" y="11"/>
                </a:cxn>
                <a:cxn ang="0">
                  <a:pos x="0" y="14"/>
                </a:cxn>
              </a:cxnLst>
              <a:rect l="0" t="0" r="r" b="b"/>
              <a:pathLst>
                <a:path w="23" h="23">
                  <a:moveTo>
                    <a:pt x="0" y="14"/>
                  </a:moveTo>
                  <a:lnTo>
                    <a:pt x="0" y="18"/>
                  </a:lnTo>
                  <a:lnTo>
                    <a:pt x="4" y="11"/>
                  </a:lnTo>
                  <a:lnTo>
                    <a:pt x="4" y="14"/>
                  </a:lnTo>
                  <a:lnTo>
                    <a:pt x="10" y="11"/>
                  </a:lnTo>
                  <a:lnTo>
                    <a:pt x="12" y="14"/>
                  </a:lnTo>
                  <a:lnTo>
                    <a:pt x="10" y="20"/>
                  </a:lnTo>
                  <a:lnTo>
                    <a:pt x="19" y="23"/>
                  </a:lnTo>
                  <a:lnTo>
                    <a:pt x="19" y="20"/>
                  </a:lnTo>
                  <a:lnTo>
                    <a:pt x="19" y="18"/>
                  </a:lnTo>
                  <a:lnTo>
                    <a:pt x="19" y="14"/>
                  </a:lnTo>
                  <a:lnTo>
                    <a:pt x="21" y="20"/>
                  </a:lnTo>
                  <a:lnTo>
                    <a:pt x="23" y="14"/>
                  </a:lnTo>
                  <a:lnTo>
                    <a:pt x="21" y="5"/>
                  </a:lnTo>
                  <a:lnTo>
                    <a:pt x="14" y="0"/>
                  </a:lnTo>
                  <a:lnTo>
                    <a:pt x="19" y="5"/>
                  </a:lnTo>
                  <a:lnTo>
                    <a:pt x="14" y="5"/>
                  </a:lnTo>
                  <a:lnTo>
                    <a:pt x="12" y="5"/>
                  </a:lnTo>
                  <a:lnTo>
                    <a:pt x="12" y="9"/>
                  </a:lnTo>
                  <a:lnTo>
                    <a:pt x="10" y="11"/>
                  </a:lnTo>
                  <a:lnTo>
                    <a:pt x="10" y="9"/>
                  </a:lnTo>
                  <a:lnTo>
                    <a:pt x="6" y="9"/>
                  </a:lnTo>
                  <a:lnTo>
                    <a:pt x="0" y="11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36" name="Freeform 1492"/>
            <p:cNvSpPr>
              <a:spLocks/>
            </p:cNvSpPr>
            <p:nvPr/>
          </p:nvSpPr>
          <p:spPr bwMode="auto">
            <a:xfrm>
              <a:off x="7750270" y="4635220"/>
              <a:ext cx="109047" cy="74293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4" y="14"/>
                </a:cxn>
                <a:cxn ang="0">
                  <a:pos x="13" y="14"/>
                </a:cxn>
                <a:cxn ang="0">
                  <a:pos x="17" y="7"/>
                </a:cxn>
                <a:cxn ang="0">
                  <a:pos x="21" y="5"/>
                </a:cxn>
                <a:cxn ang="0">
                  <a:pos x="21" y="0"/>
                </a:cxn>
                <a:cxn ang="0">
                  <a:pos x="17" y="0"/>
                </a:cxn>
                <a:cxn ang="0">
                  <a:pos x="17" y="5"/>
                </a:cxn>
                <a:cxn ang="0">
                  <a:pos x="15" y="5"/>
                </a:cxn>
                <a:cxn ang="0">
                  <a:pos x="13" y="7"/>
                </a:cxn>
                <a:cxn ang="0">
                  <a:pos x="6" y="7"/>
                </a:cxn>
                <a:cxn ang="0">
                  <a:pos x="0" y="7"/>
                </a:cxn>
              </a:cxnLst>
              <a:rect l="0" t="0" r="r" b="b"/>
              <a:pathLst>
                <a:path w="21" h="14">
                  <a:moveTo>
                    <a:pt x="0" y="7"/>
                  </a:moveTo>
                  <a:lnTo>
                    <a:pt x="4" y="14"/>
                  </a:lnTo>
                  <a:lnTo>
                    <a:pt x="13" y="14"/>
                  </a:lnTo>
                  <a:lnTo>
                    <a:pt x="17" y="7"/>
                  </a:lnTo>
                  <a:lnTo>
                    <a:pt x="21" y="5"/>
                  </a:lnTo>
                  <a:lnTo>
                    <a:pt x="21" y="0"/>
                  </a:lnTo>
                  <a:lnTo>
                    <a:pt x="17" y="0"/>
                  </a:lnTo>
                  <a:lnTo>
                    <a:pt x="17" y="5"/>
                  </a:lnTo>
                  <a:lnTo>
                    <a:pt x="15" y="5"/>
                  </a:lnTo>
                  <a:lnTo>
                    <a:pt x="13" y="7"/>
                  </a:lnTo>
                  <a:lnTo>
                    <a:pt x="6" y="7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37" name="Freeform 1493"/>
            <p:cNvSpPr>
              <a:spLocks/>
            </p:cNvSpPr>
            <p:nvPr/>
          </p:nvSpPr>
          <p:spPr bwMode="auto">
            <a:xfrm>
              <a:off x="7828160" y="4587460"/>
              <a:ext cx="41542" cy="7429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7"/>
                </a:cxn>
                <a:cxn ang="0">
                  <a:pos x="8" y="14"/>
                </a:cxn>
                <a:cxn ang="0">
                  <a:pos x="8" y="7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8" h="14">
                  <a:moveTo>
                    <a:pt x="0" y="0"/>
                  </a:moveTo>
                  <a:lnTo>
                    <a:pt x="6" y="7"/>
                  </a:lnTo>
                  <a:lnTo>
                    <a:pt x="8" y="14"/>
                  </a:lnTo>
                  <a:lnTo>
                    <a:pt x="8" y="7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38" name="Freeform 1494"/>
            <p:cNvSpPr>
              <a:spLocks/>
            </p:cNvSpPr>
            <p:nvPr/>
          </p:nvSpPr>
          <p:spPr bwMode="auto">
            <a:xfrm>
              <a:off x="7911244" y="4672367"/>
              <a:ext cx="36349" cy="4776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9"/>
                </a:cxn>
                <a:cxn ang="0">
                  <a:pos x="7" y="7"/>
                </a:cxn>
                <a:cxn ang="0">
                  <a:pos x="2" y="4"/>
                </a:cxn>
                <a:cxn ang="0">
                  <a:pos x="0" y="0"/>
                </a:cxn>
              </a:cxnLst>
              <a:rect l="0" t="0" r="r" b="b"/>
              <a:pathLst>
                <a:path w="7" h="9">
                  <a:moveTo>
                    <a:pt x="0" y="0"/>
                  </a:moveTo>
                  <a:lnTo>
                    <a:pt x="2" y="9"/>
                  </a:lnTo>
                  <a:lnTo>
                    <a:pt x="7" y="7"/>
                  </a:lnTo>
                  <a:lnTo>
                    <a:pt x="2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39" name="Line 1495"/>
            <p:cNvSpPr>
              <a:spLocks noChangeShapeType="1"/>
            </p:cNvSpPr>
            <p:nvPr/>
          </p:nvSpPr>
          <p:spPr bwMode="auto">
            <a:xfrm>
              <a:off x="7947592" y="4720127"/>
              <a:ext cx="31156" cy="21227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40" name="Line 1496"/>
            <p:cNvSpPr>
              <a:spLocks noChangeShapeType="1"/>
            </p:cNvSpPr>
            <p:nvPr/>
          </p:nvSpPr>
          <p:spPr bwMode="auto">
            <a:xfrm>
              <a:off x="7978748" y="4767887"/>
              <a:ext cx="5193" cy="10613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41" name="Line 1497"/>
            <p:cNvSpPr>
              <a:spLocks noChangeShapeType="1"/>
            </p:cNvSpPr>
            <p:nvPr/>
          </p:nvSpPr>
          <p:spPr bwMode="auto">
            <a:xfrm>
              <a:off x="7999518" y="4741354"/>
              <a:ext cx="31156" cy="37147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42" name="Line 1498"/>
            <p:cNvSpPr>
              <a:spLocks noChangeShapeType="1"/>
            </p:cNvSpPr>
            <p:nvPr/>
          </p:nvSpPr>
          <p:spPr bwMode="auto">
            <a:xfrm>
              <a:off x="8041060" y="4778501"/>
              <a:ext cx="25963" cy="37147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43" name="Freeform 1499"/>
            <p:cNvSpPr>
              <a:spLocks/>
            </p:cNvSpPr>
            <p:nvPr/>
          </p:nvSpPr>
          <p:spPr bwMode="auto">
            <a:xfrm>
              <a:off x="8020289" y="4778501"/>
              <a:ext cx="20771" cy="3714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5"/>
                </a:cxn>
                <a:cxn ang="0">
                  <a:pos x="4" y="7"/>
                </a:cxn>
                <a:cxn ang="0">
                  <a:pos x="4" y="5"/>
                </a:cxn>
                <a:cxn ang="0">
                  <a:pos x="2" y="2"/>
                </a:cxn>
                <a:cxn ang="0">
                  <a:pos x="0" y="0"/>
                </a:cxn>
              </a:cxnLst>
              <a:rect l="0" t="0" r="r" b="b"/>
              <a:pathLst>
                <a:path w="4" h="7">
                  <a:moveTo>
                    <a:pt x="0" y="0"/>
                  </a:moveTo>
                  <a:lnTo>
                    <a:pt x="0" y="5"/>
                  </a:lnTo>
                  <a:lnTo>
                    <a:pt x="4" y="7"/>
                  </a:lnTo>
                  <a:lnTo>
                    <a:pt x="4" y="5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44" name="Freeform 1500"/>
            <p:cNvSpPr>
              <a:spLocks/>
            </p:cNvSpPr>
            <p:nvPr/>
          </p:nvSpPr>
          <p:spPr bwMode="auto">
            <a:xfrm>
              <a:off x="8067023" y="4815647"/>
              <a:ext cx="20771" cy="2122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4"/>
                </a:cxn>
                <a:cxn ang="0">
                  <a:pos x="4" y="4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4" h="4">
                  <a:moveTo>
                    <a:pt x="0" y="0"/>
                  </a:moveTo>
                  <a:lnTo>
                    <a:pt x="2" y="4"/>
                  </a:lnTo>
                  <a:lnTo>
                    <a:pt x="4" y="4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45" name="Line 1501"/>
            <p:cNvSpPr>
              <a:spLocks noChangeShapeType="1"/>
            </p:cNvSpPr>
            <p:nvPr/>
          </p:nvSpPr>
          <p:spPr bwMode="auto">
            <a:xfrm flipV="1">
              <a:off x="8170877" y="4969541"/>
              <a:ext cx="5193" cy="26533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46" name="Freeform 1502"/>
            <p:cNvSpPr>
              <a:spLocks/>
            </p:cNvSpPr>
            <p:nvPr/>
          </p:nvSpPr>
          <p:spPr bwMode="auto">
            <a:xfrm>
              <a:off x="8170877" y="4996074"/>
              <a:ext cx="25963" cy="10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"/>
                </a:cxn>
                <a:cxn ang="0">
                  <a:pos x="5" y="2"/>
                </a:cxn>
                <a:cxn ang="0">
                  <a:pos x="3" y="2"/>
                </a:cxn>
                <a:cxn ang="0">
                  <a:pos x="0" y="0"/>
                </a:cxn>
              </a:cxnLst>
              <a:rect l="0" t="0" r="r" b="b"/>
              <a:pathLst>
                <a:path w="5" h="2">
                  <a:moveTo>
                    <a:pt x="0" y="0"/>
                  </a:moveTo>
                  <a:lnTo>
                    <a:pt x="0" y="2"/>
                  </a:lnTo>
                  <a:lnTo>
                    <a:pt x="5" y="2"/>
                  </a:lnTo>
                  <a:lnTo>
                    <a:pt x="3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47" name="Freeform 1503"/>
            <p:cNvSpPr>
              <a:spLocks/>
            </p:cNvSpPr>
            <p:nvPr/>
          </p:nvSpPr>
          <p:spPr bwMode="auto">
            <a:xfrm>
              <a:off x="8077409" y="5128741"/>
              <a:ext cx="51927" cy="5837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6"/>
                </a:cxn>
                <a:cxn ang="0">
                  <a:pos x="8" y="11"/>
                </a:cxn>
                <a:cxn ang="0">
                  <a:pos x="10" y="11"/>
                </a:cxn>
                <a:cxn ang="0">
                  <a:pos x="6" y="2"/>
                </a:cxn>
                <a:cxn ang="0">
                  <a:pos x="2" y="2"/>
                </a:cxn>
                <a:cxn ang="0">
                  <a:pos x="0" y="0"/>
                </a:cxn>
              </a:cxnLst>
              <a:rect l="0" t="0" r="r" b="b"/>
              <a:pathLst>
                <a:path w="10" h="11">
                  <a:moveTo>
                    <a:pt x="0" y="0"/>
                  </a:moveTo>
                  <a:lnTo>
                    <a:pt x="2" y="6"/>
                  </a:lnTo>
                  <a:lnTo>
                    <a:pt x="8" y="11"/>
                  </a:lnTo>
                  <a:lnTo>
                    <a:pt x="10" y="11"/>
                  </a:lnTo>
                  <a:lnTo>
                    <a:pt x="6" y="2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48" name="Line 1504"/>
            <p:cNvSpPr>
              <a:spLocks noChangeShapeType="1"/>
            </p:cNvSpPr>
            <p:nvPr/>
          </p:nvSpPr>
          <p:spPr bwMode="auto">
            <a:xfrm>
              <a:off x="8207226" y="5866369"/>
              <a:ext cx="20771" cy="5307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49" name="Freeform 1505"/>
            <p:cNvSpPr>
              <a:spLocks/>
            </p:cNvSpPr>
            <p:nvPr/>
          </p:nvSpPr>
          <p:spPr bwMode="auto">
            <a:xfrm>
              <a:off x="2547198" y="2793804"/>
              <a:ext cx="15578" cy="1592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3"/>
                </a:cxn>
                <a:cxn ang="0">
                  <a:pos x="3" y="0"/>
                </a:cxn>
                <a:cxn ang="0">
                  <a:pos x="0" y="0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50" name="Freeform 1506"/>
            <p:cNvSpPr>
              <a:spLocks/>
            </p:cNvSpPr>
            <p:nvPr/>
          </p:nvSpPr>
          <p:spPr bwMode="auto">
            <a:xfrm>
              <a:off x="2443344" y="2889324"/>
              <a:ext cx="20771" cy="1592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3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4" h="3">
                  <a:moveTo>
                    <a:pt x="0" y="0"/>
                  </a:moveTo>
                  <a:lnTo>
                    <a:pt x="4" y="3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51" name="Freeform 1507"/>
            <p:cNvSpPr>
              <a:spLocks/>
            </p:cNvSpPr>
            <p:nvPr/>
          </p:nvSpPr>
          <p:spPr bwMode="auto">
            <a:xfrm>
              <a:off x="5616076" y="5999036"/>
              <a:ext cx="51927" cy="3714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4"/>
                </a:cxn>
                <a:cxn ang="0">
                  <a:pos x="0" y="7"/>
                </a:cxn>
                <a:cxn ang="0">
                  <a:pos x="4" y="7"/>
                </a:cxn>
                <a:cxn ang="0">
                  <a:pos x="10" y="0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10" h="7">
                  <a:moveTo>
                    <a:pt x="0" y="0"/>
                  </a:moveTo>
                  <a:lnTo>
                    <a:pt x="4" y="4"/>
                  </a:lnTo>
                  <a:lnTo>
                    <a:pt x="0" y="7"/>
                  </a:lnTo>
                  <a:lnTo>
                    <a:pt x="4" y="7"/>
                  </a:lnTo>
                  <a:lnTo>
                    <a:pt x="10" y="0"/>
                  </a:lnTo>
                  <a:lnTo>
                    <a:pt x="4" y="4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52" name="Freeform 1508"/>
            <p:cNvSpPr>
              <a:spLocks/>
            </p:cNvSpPr>
            <p:nvPr/>
          </p:nvSpPr>
          <p:spPr bwMode="auto">
            <a:xfrm>
              <a:off x="7090799" y="2857484"/>
              <a:ext cx="192130" cy="238800"/>
            </a:xfrm>
            <a:custGeom>
              <a:avLst/>
              <a:gdLst/>
              <a:ahLst/>
              <a:cxnLst>
                <a:cxn ang="0">
                  <a:pos x="2" y="6"/>
                </a:cxn>
                <a:cxn ang="0">
                  <a:pos x="25" y="33"/>
                </a:cxn>
                <a:cxn ang="0">
                  <a:pos x="29" y="42"/>
                </a:cxn>
                <a:cxn ang="0">
                  <a:pos x="31" y="45"/>
                </a:cxn>
                <a:cxn ang="0">
                  <a:pos x="31" y="42"/>
                </a:cxn>
                <a:cxn ang="0">
                  <a:pos x="37" y="42"/>
                </a:cxn>
                <a:cxn ang="0">
                  <a:pos x="25" y="33"/>
                </a:cxn>
                <a:cxn ang="0">
                  <a:pos x="25" y="27"/>
                </a:cxn>
                <a:cxn ang="0">
                  <a:pos x="31" y="27"/>
                </a:cxn>
                <a:cxn ang="0">
                  <a:pos x="6" y="0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2" y="4"/>
                </a:cxn>
                <a:cxn ang="0">
                  <a:pos x="2" y="6"/>
                </a:cxn>
              </a:cxnLst>
              <a:rect l="0" t="0" r="r" b="b"/>
              <a:pathLst>
                <a:path w="37" h="45">
                  <a:moveTo>
                    <a:pt x="2" y="6"/>
                  </a:moveTo>
                  <a:lnTo>
                    <a:pt x="25" y="33"/>
                  </a:lnTo>
                  <a:lnTo>
                    <a:pt x="29" y="42"/>
                  </a:lnTo>
                  <a:lnTo>
                    <a:pt x="31" y="45"/>
                  </a:lnTo>
                  <a:lnTo>
                    <a:pt x="31" y="42"/>
                  </a:lnTo>
                  <a:lnTo>
                    <a:pt x="37" y="42"/>
                  </a:lnTo>
                  <a:lnTo>
                    <a:pt x="25" y="33"/>
                  </a:lnTo>
                  <a:lnTo>
                    <a:pt x="25" y="27"/>
                  </a:lnTo>
                  <a:lnTo>
                    <a:pt x="31" y="27"/>
                  </a:lnTo>
                  <a:lnTo>
                    <a:pt x="6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2" y="4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53" name="Freeform 1509"/>
            <p:cNvSpPr>
              <a:spLocks/>
            </p:cNvSpPr>
            <p:nvPr/>
          </p:nvSpPr>
          <p:spPr bwMode="auto">
            <a:xfrm>
              <a:off x="4769667" y="3393459"/>
              <a:ext cx="10385" cy="10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54" name="Line 1510"/>
            <p:cNvSpPr>
              <a:spLocks noChangeShapeType="1"/>
            </p:cNvSpPr>
            <p:nvPr/>
          </p:nvSpPr>
          <p:spPr bwMode="auto">
            <a:xfrm flipV="1">
              <a:off x="4328290" y="4407033"/>
              <a:ext cx="5193" cy="15920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55" name="Freeform 1511"/>
            <p:cNvSpPr>
              <a:spLocks/>
            </p:cNvSpPr>
            <p:nvPr/>
          </p:nvSpPr>
          <p:spPr bwMode="auto">
            <a:xfrm>
              <a:off x="7293315" y="4852794"/>
              <a:ext cx="36349" cy="31840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3" y="6"/>
                </a:cxn>
                <a:cxn ang="0">
                  <a:pos x="7" y="2"/>
                </a:cxn>
                <a:cxn ang="0">
                  <a:pos x="7" y="0"/>
                </a:cxn>
                <a:cxn ang="0">
                  <a:pos x="0" y="0"/>
                </a:cxn>
                <a:cxn ang="0">
                  <a:pos x="0" y="2"/>
                </a:cxn>
              </a:cxnLst>
              <a:rect l="0" t="0" r="r" b="b"/>
              <a:pathLst>
                <a:path w="7" h="6">
                  <a:moveTo>
                    <a:pt x="0" y="2"/>
                  </a:moveTo>
                  <a:lnTo>
                    <a:pt x="3" y="6"/>
                  </a:lnTo>
                  <a:lnTo>
                    <a:pt x="7" y="2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56" name="Freeform 1512"/>
            <p:cNvSpPr>
              <a:spLocks/>
            </p:cNvSpPr>
            <p:nvPr/>
          </p:nvSpPr>
          <p:spPr bwMode="auto">
            <a:xfrm>
              <a:off x="7132340" y="4767887"/>
              <a:ext cx="109047" cy="47760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6" y="9"/>
                </a:cxn>
                <a:cxn ang="0">
                  <a:pos x="8" y="2"/>
                </a:cxn>
                <a:cxn ang="0">
                  <a:pos x="21" y="0"/>
                </a:cxn>
                <a:cxn ang="0">
                  <a:pos x="8" y="0"/>
                </a:cxn>
                <a:cxn ang="0">
                  <a:pos x="4" y="7"/>
                </a:cxn>
                <a:cxn ang="0">
                  <a:pos x="2" y="9"/>
                </a:cxn>
                <a:cxn ang="0">
                  <a:pos x="0" y="9"/>
                </a:cxn>
              </a:cxnLst>
              <a:rect l="0" t="0" r="r" b="b"/>
              <a:pathLst>
                <a:path w="21" h="9">
                  <a:moveTo>
                    <a:pt x="0" y="9"/>
                  </a:moveTo>
                  <a:lnTo>
                    <a:pt x="6" y="9"/>
                  </a:lnTo>
                  <a:lnTo>
                    <a:pt x="8" y="2"/>
                  </a:lnTo>
                  <a:lnTo>
                    <a:pt x="21" y="0"/>
                  </a:lnTo>
                  <a:lnTo>
                    <a:pt x="8" y="0"/>
                  </a:lnTo>
                  <a:lnTo>
                    <a:pt x="4" y="7"/>
                  </a:lnTo>
                  <a:lnTo>
                    <a:pt x="2" y="9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57" name="Freeform 1513"/>
            <p:cNvSpPr>
              <a:spLocks/>
            </p:cNvSpPr>
            <p:nvPr/>
          </p:nvSpPr>
          <p:spPr bwMode="auto">
            <a:xfrm>
              <a:off x="2334298" y="3096285"/>
              <a:ext cx="20771" cy="2122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4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4" h="4">
                  <a:moveTo>
                    <a:pt x="0" y="0"/>
                  </a:moveTo>
                  <a:lnTo>
                    <a:pt x="2" y="4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58" name="Freeform 1514"/>
            <p:cNvSpPr>
              <a:spLocks/>
            </p:cNvSpPr>
            <p:nvPr/>
          </p:nvSpPr>
          <p:spPr bwMode="auto">
            <a:xfrm>
              <a:off x="6971368" y="2820338"/>
              <a:ext cx="20771" cy="21227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4" y="4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4"/>
                </a:cxn>
              </a:cxnLst>
              <a:rect l="0" t="0" r="r" b="b"/>
              <a:pathLst>
                <a:path w="4" h="4">
                  <a:moveTo>
                    <a:pt x="0" y="4"/>
                  </a:moveTo>
                  <a:lnTo>
                    <a:pt x="4" y="4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59" name="Line 1515"/>
            <p:cNvSpPr>
              <a:spLocks noChangeShapeType="1"/>
            </p:cNvSpPr>
            <p:nvPr/>
          </p:nvSpPr>
          <p:spPr bwMode="auto">
            <a:xfrm flipV="1">
              <a:off x="4369831" y="2820338"/>
              <a:ext cx="5193" cy="10613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60" name="Freeform 1516"/>
            <p:cNvSpPr>
              <a:spLocks/>
            </p:cNvSpPr>
            <p:nvPr/>
          </p:nvSpPr>
          <p:spPr bwMode="auto">
            <a:xfrm>
              <a:off x="4390601" y="2809724"/>
              <a:ext cx="20771" cy="10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"/>
                </a:cxn>
                <a:cxn ang="0">
                  <a:pos x="2" y="2"/>
                </a:cxn>
                <a:cxn ang="0">
                  <a:pos x="4" y="2"/>
                </a:cxn>
                <a:cxn ang="0">
                  <a:pos x="2" y="2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4" y="2"/>
                  </a:lnTo>
                  <a:lnTo>
                    <a:pt x="2" y="2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61" name="Line 1517"/>
            <p:cNvSpPr>
              <a:spLocks noChangeShapeType="1"/>
            </p:cNvSpPr>
            <p:nvPr/>
          </p:nvSpPr>
          <p:spPr bwMode="auto">
            <a:xfrm>
              <a:off x="4390601" y="2857484"/>
              <a:ext cx="10385" cy="5307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62" name="Freeform 1518"/>
            <p:cNvSpPr>
              <a:spLocks/>
            </p:cNvSpPr>
            <p:nvPr/>
          </p:nvSpPr>
          <p:spPr bwMode="auto">
            <a:xfrm>
              <a:off x="4769667" y="5388768"/>
              <a:ext cx="46734" cy="58373"/>
            </a:xfrm>
            <a:custGeom>
              <a:avLst/>
              <a:gdLst/>
              <a:ahLst/>
              <a:cxnLst>
                <a:cxn ang="0">
                  <a:pos x="9" y="2"/>
                </a:cxn>
                <a:cxn ang="0">
                  <a:pos x="9" y="5"/>
                </a:cxn>
                <a:cxn ang="0">
                  <a:pos x="2" y="11"/>
                </a:cxn>
                <a:cxn ang="0">
                  <a:pos x="0" y="5"/>
                </a:cxn>
                <a:cxn ang="0">
                  <a:pos x="4" y="0"/>
                </a:cxn>
                <a:cxn ang="0">
                  <a:pos x="9" y="0"/>
                </a:cxn>
                <a:cxn ang="0">
                  <a:pos x="9" y="2"/>
                </a:cxn>
              </a:cxnLst>
              <a:rect l="0" t="0" r="r" b="b"/>
              <a:pathLst>
                <a:path w="9" h="11">
                  <a:moveTo>
                    <a:pt x="9" y="2"/>
                  </a:moveTo>
                  <a:lnTo>
                    <a:pt x="9" y="5"/>
                  </a:lnTo>
                  <a:lnTo>
                    <a:pt x="2" y="11"/>
                  </a:lnTo>
                  <a:lnTo>
                    <a:pt x="0" y="5"/>
                  </a:lnTo>
                  <a:lnTo>
                    <a:pt x="4" y="0"/>
                  </a:lnTo>
                  <a:lnTo>
                    <a:pt x="9" y="0"/>
                  </a:lnTo>
                  <a:lnTo>
                    <a:pt x="9" y="2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63" name="Line 1519"/>
            <p:cNvSpPr>
              <a:spLocks noChangeShapeType="1"/>
            </p:cNvSpPr>
            <p:nvPr/>
          </p:nvSpPr>
          <p:spPr bwMode="auto">
            <a:xfrm flipV="1">
              <a:off x="2375839" y="3441219"/>
              <a:ext cx="10385" cy="10613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64" name="Rectangle 1520"/>
            <p:cNvSpPr>
              <a:spLocks noChangeArrowheads="1"/>
            </p:cNvSpPr>
            <p:nvPr/>
          </p:nvSpPr>
          <p:spPr bwMode="auto">
            <a:xfrm>
              <a:off x="6851935" y="3812686"/>
              <a:ext cx="20771" cy="10613"/>
            </a:xfrm>
            <a:prstGeom prst="rect">
              <a:avLst/>
            </a:prstGeom>
            <a:grpFill/>
            <a:ln w="9525">
              <a:solidFill>
                <a:srgbClr val="263143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65" name="Freeform 1521"/>
            <p:cNvSpPr>
              <a:spLocks/>
            </p:cNvSpPr>
            <p:nvPr/>
          </p:nvSpPr>
          <p:spPr bwMode="auto">
            <a:xfrm>
              <a:off x="6851935" y="3812686"/>
              <a:ext cx="20771" cy="10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"/>
                </a:cxn>
                <a:cxn ang="0">
                  <a:pos x="4" y="2"/>
                </a:cxn>
                <a:cxn ang="0">
                  <a:pos x="4" y="0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0" y="2"/>
                  </a:lnTo>
                  <a:lnTo>
                    <a:pt x="4" y="2"/>
                  </a:lnTo>
                  <a:lnTo>
                    <a:pt x="4" y="0"/>
                  </a:lnTo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66" name="Line 1522"/>
            <p:cNvSpPr>
              <a:spLocks noChangeShapeType="1"/>
            </p:cNvSpPr>
            <p:nvPr/>
          </p:nvSpPr>
          <p:spPr bwMode="auto">
            <a:xfrm flipH="1">
              <a:off x="6851935" y="3823299"/>
              <a:ext cx="20771" cy="5307"/>
            </a:xfrm>
            <a:prstGeom prst="line">
              <a:avLst/>
            </a:prstGeom>
            <a:grpFill/>
            <a:ln w="9525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67" name="Freeform 1523"/>
            <p:cNvSpPr>
              <a:spLocks/>
            </p:cNvSpPr>
            <p:nvPr/>
          </p:nvSpPr>
          <p:spPr bwMode="auto">
            <a:xfrm>
              <a:off x="3923262" y="2820338"/>
              <a:ext cx="109047" cy="116747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5" y="7"/>
                </a:cxn>
                <a:cxn ang="0">
                  <a:pos x="21" y="7"/>
                </a:cxn>
                <a:cxn ang="0">
                  <a:pos x="21" y="13"/>
                </a:cxn>
                <a:cxn ang="0">
                  <a:pos x="19" y="20"/>
                </a:cxn>
                <a:cxn ang="0">
                  <a:pos x="5" y="22"/>
                </a:cxn>
                <a:cxn ang="0">
                  <a:pos x="0" y="20"/>
                </a:cxn>
                <a:cxn ang="0">
                  <a:pos x="5" y="20"/>
                </a:cxn>
                <a:cxn ang="0">
                  <a:pos x="11" y="13"/>
                </a:cxn>
                <a:cxn ang="0">
                  <a:pos x="5" y="9"/>
                </a:cxn>
                <a:cxn ang="0">
                  <a:pos x="7" y="9"/>
                </a:cxn>
                <a:cxn ang="0">
                  <a:pos x="5" y="7"/>
                </a:cxn>
                <a:cxn ang="0">
                  <a:pos x="7" y="7"/>
                </a:cxn>
                <a:cxn ang="0">
                  <a:pos x="11" y="7"/>
                </a:cxn>
                <a:cxn ang="0">
                  <a:pos x="13" y="4"/>
                </a:cxn>
                <a:cxn ang="0">
                  <a:pos x="11" y="4"/>
                </a:cxn>
                <a:cxn ang="0">
                  <a:pos x="13" y="0"/>
                </a:cxn>
                <a:cxn ang="0">
                  <a:pos x="15" y="0"/>
                </a:cxn>
                <a:cxn ang="0">
                  <a:pos x="13" y="2"/>
                </a:cxn>
                <a:cxn ang="0">
                  <a:pos x="13" y="4"/>
                </a:cxn>
              </a:cxnLst>
              <a:rect l="0" t="0" r="r" b="b"/>
              <a:pathLst>
                <a:path w="21" h="22">
                  <a:moveTo>
                    <a:pt x="13" y="4"/>
                  </a:moveTo>
                  <a:lnTo>
                    <a:pt x="15" y="7"/>
                  </a:lnTo>
                  <a:lnTo>
                    <a:pt x="21" y="7"/>
                  </a:lnTo>
                  <a:lnTo>
                    <a:pt x="21" y="13"/>
                  </a:lnTo>
                  <a:lnTo>
                    <a:pt x="19" y="20"/>
                  </a:lnTo>
                  <a:lnTo>
                    <a:pt x="5" y="22"/>
                  </a:lnTo>
                  <a:lnTo>
                    <a:pt x="0" y="20"/>
                  </a:lnTo>
                  <a:lnTo>
                    <a:pt x="5" y="20"/>
                  </a:lnTo>
                  <a:lnTo>
                    <a:pt x="11" y="13"/>
                  </a:lnTo>
                  <a:lnTo>
                    <a:pt x="5" y="9"/>
                  </a:lnTo>
                  <a:lnTo>
                    <a:pt x="7" y="9"/>
                  </a:lnTo>
                  <a:lnTo>
                    <a:pt x="5" y="7"/>
                  </a:lnTo>
                  <a:lnTo>
                    <a:pt x="7" y="7"/>
                  </a:lnTo>
                  <a:lnTo>
                    <a:pt x="11" y="7"/>
                  </a:lnTo>
                  <a:lnTo>
                    <a:pt x="13" y="4"/>
                  </a:lnTo>
                  <a:lnTo>
                    <a:pt x="11" y="4"/>
                  </a:lnTo>
                  <a:lnTo>
                    <a:pt x="13" y="0"/>
                  </a:lnTo>
                  <a:lnTo>
                    <a:pt x="15" y="0"/>
                  </a:lnTo>
                  <a:lnTo>
                    <a:pt x="13" y="2"/>
                  </a:lnTo>
                  <a:lnTo>
                    <a:pt x="13" y="4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68" name="Freeform 1524"/>
            <p:cNvSpPr>
              <a:spLocks/>
            </p:cNvSpPr>
            <p:nvPr/>
          </p:nvSpPr>
          <p:spPr bwMode="auto">
            <a:xfrm>
              <a:off x="4229625" y="2868098"/>
              <a:ext cx="88275" cy="84907"/>
            </a:xfrm>
            <a:custGeom>
              <a:avLst/>
              <a:gdLst/>
              <a:ahLst/>
              <a:cxnLst>
                <a:cxn ang="0">
                  <a:pos x="0" y="13"/>
                </a:cxn>
                <a:cxn ang="0">
                  <a:pos x="4" y="4"/>
                </a:cxn>
                <a:cxn ang="0">
                  <a:pos x="4" y="7"/>
                </a:cxn>
                <a:cxn ang="0">
                  <a:pos x="8" y="7"/>
                </a:cxn>
                <a:cxn ang="0">
                  <a:pos x="10" y="7"/>
                </a:cxn>
                <a:cxn ang="0">
                  <a:pos x="8" y="4"/>
                </a:cxn>
                <a:cxn ang="0">
                  <a:pos x="17" y="0"/>
                </a:cxn>
                <a:cxn ang="0">
                  <a:pos x="12" y="7"/>
                </a:cxn>
                <a:cxn ang="0">
                  <a:pos x="10" y="11"/>
                </a:cxn>
                <a:cxn ang="0">
                  <a:pos x="10" y="16"/>
                </a:cxn>
                <a:cxn ang="0">
                  <a:pos x="4" y="13"/>
                </a:cxn>
                <a:cxn ang="0">
                  <a:pos x="2" y="13"/>
                </a:cxn>
                <a:cxn ang="0">
                  <a:pos x="0" y="13"/>
                </a:cxn>
              </a:cxnLst>
              <a:rect l="0" t="0" r="r" b="b"/>
              <a:pathLst>
                <a:path w="17" h="16">
                  <a:moveTo>
                    <a:pt x="0" y="13"/>
                  </a:moveTo>
                  <a:lnTo>
                    <a:pt x="4" y="4"/>
                  </a:lnTo>
                  <a:lnTo>
                    <a:pt x="4" y="7"/>
                  </a:lnTo>
                  <a:lnTo>
                    <a:pt x="8" y="7"/>
                  </a:lnTo>
                  <a:lnTo>
                    <a:pt x="10" y="7"/>
                  </a:lnTo>
                  <a:lnTo>
                    <a:pt x="8" y="4"/>
                  </a:lnTo>
                  <a:lnTo>
                    <a:pt x="17" y="0"/>
                  </a:lnTo>
                  <a:lnTo>
                    <a:pt x="12" y="7"/>
                  </a:lnTo>
                  <a:lnTo>
                    <a:pt x="10" y="11"/>
                  </a:lnTo>
                  <a:lnTo>
                    <a:pt x="10" y="16"/>
                  </a:lnTo>
                  <a:lnTo>
                    <a:pt x="4" y="13"/>
                  </a:lnTo>
                  <a:lnTo>
                    <a:pt x="2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69" name="Freeform 1525"/>
            <p:cNvSpPr>
              <a:spLocks/>
            </p:cNvSpPr>
            <p:nvPr/>
          </p:nvSpPr>
          <p:spPr bwMode="auto">
            <a:xfrm>
              <a:off x="4400996" y="2937085"/>
              <a:ext cx="140203" cy="84907"/>
            </a:xfrm>
            <a:custGeom>
              <a:avLst/>
              <a:gdLst/>
              <a:ahLst/>
              <a:cxnLst>
                <a:cxn ang="0">
                  <a:pos x="11" y="3"/>
                </a:cxn>
                <a:cxn ang="0">
                  <a:pos x="11" y="0"/>
                </a:cxn>
                <a:cxn ang="0">
                  <a:pos x="0" y="7"/>
                </a:cxn>
                <a:cxn ang="0">
                  <a:pos x="2" y="9"/>
                </a:cxn>
                <a:cxn ang="0">
                  <a:pos x="9" y="16"/>
                </a:cxn>
                <a:cxn ang="0">
                  <a:pos x="11" y="16"/>
                </a:cxn>
                <a:cxn ang="0">
                  <a:pos x="15" y="12"/>
                </a:cxn>
                <a:cxn ang="0">
                  <a:pos x="19" y="16"/>
                </a:cxn>
                <a:cxn ang="0">
                  <a:pos x="27" y="9"/>
                </a:cxn>
                <a:cxn ang="0">
                  <a:pos x="23" y="7"/>
                </a:cxn>
                <a:cxn ang="0">
                  <a:pos x="19" y="7"/>
                </a:cxn>
                <a:cxn ang="0">
                  <a:pos x="17" y="3"/>
                </a:cxn>
                <a:cxn ang="0">
                  <a:pos x="13" y="3"/>
                </a:cxn>
                <a:cxn ang="0">
                  <a:pos x="11" y="3"/>
                </a:cxn>
              </a:cxnLst>
              <a:rect l="0" t="0" r="r" b="b"/>
              <a:pathLst>
                <a:path w="27" h="16">
                  <a:moveTo>
                    <a:pt x="11" y="3"/>
                  </a:moveTo>
                  <a:lnTo>
                    <a:pt x="11" y="0"/>
                  </a:lnTo>
                  <a:lnTo>
                    <a:pt x="0" y="7"/>
                  </a:lnTo>
                  <a:lnTo>
                    <a:pt x="2" y="9"/>
                  </a:lnTo>
                  <a:lnTo>
                    <a:pt x="9" y="16"/>
                  </a:lnTo>
                  <a:lnTo>
                    <a:pt x="11" y="16"/>
                  </a:lnTo>
                  <a:lnTo>
                    <a:pt x="15" y="12"/>
                  </a:lnTo>
                  <a:lnTo>
                    <a:pt x="19" y="16"/>
                  </a:lnTo>
                  <a:lnTo>
                    <a:pt x="27" y="9"/>
                  </a:lnTo>
                  <a:lnTo>
                    <a:pt x="23" y="7"/>
                  </a:lnTo>
                  <a:lnTo>
                    <a:pt x="19" y="7"/>
                  </a:lnTo>
                  <a:lnTo>
                    <a:pt x="17" y="3"/>
                  </a:lnTo>
                  <a:lnTo>
                    <a:pt x="13" y="3"/>
                  </a:lnTo>
                  <a:lnTo>
                    <a:pt x="11" y="3"/>
                  </a:lnTo>
                  <a:close/>
                </a:path>
              </a:pathLst>
            </a:custGeom>
            <a:grpFill/>
            <a:ln w="9525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267275069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97"/>
          <p:cNvGrpSpPr/>
          <p:nvPr>
            <p:custDataLst>
              <p:tags r:id="rId1"/>
            </p:custDataLst>
          </p:nvPr>
        </p:nvGrpSpPr>
        <p:grpSpPr>
          <a:xfrm>
            <a:off x="1394798" y="620710"/>
            <a:ext cx="10205039" cy="5329240"/>
            <a:chOff x="620712" y="2114550"/>
            <a:chExt cx="7607285" cy="4303713"/>
          </a:xfrm>
          <a:solidFill>
            <a:srgbClr val="263143"/>
          </a:solidFill>
        </p:grpSpPr>
        <p:grpSp>
          <p:nvGrpSpPr>
            <p:cNvPr id="4" name="Group 1139"/>
            <p:cNvGrpSpPr>
              <a:grpSpLocks/>
            </p:cNvGrpSpPr>
            <p:nvPr/>
          </p:nvGrpSpPr>
          <p:grpSpPr bwMode="auto">
            <a:xfrm>
              <a:off x="4437337" y="4072713"/>
              <a:ext cx="540039" cy="875601"/>
              <a:chOff x="2672" y="1287"/>
              <a:chExt cx="104" cy="165"/>
            </a:xfrm>
            <a:grpFill/>
          </p:grpSpPr>
          <p:sp>
            <p:nvSpPr>
              <p:cNvPr id="386" name="Freeform 1140"/>
              <p:cNvSpPr>
                <a:spLocks/>
              </p:cNvSpPr>
              <p:nvPr/>
            </p:nvSpPr>
            <p:spPr bwMode="auto">
              <a:xfrm>
                <a:off x="2672" y="1287"/>
                <a:ext cx="10" cy="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" y="9"/>
                  </a:cxn>
                  <a:cxn ang="0">
                    <a:pos x="10" y="7"/>
                  </a:cxn>
                  <a:cxn ang="0">
                    <a:pos x="10" y="3"/>
                  </a:cxn>
                  <a:cxn ang="0">
                    <a:pos x="4" y="3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10" h="9">
                    <a:moveTo>
                      <a:pt x="0" y="0"/>
                    </a:moveTo>
                    <a:lnTo>
                      <a:pt x="4" y="9"/>
                    </a:lnTo>
                    <a:lnTo>
                      <a:pt x="10" y="7"/>
                    </a:lnTo>
                    <a:lnTo>
                      <a:pt x="10" y="3"/>
                    </a:lnTo>
                    <a:lnTo>
                      <a:pt x="4" y="3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87" name="Freeform 1141"/>
              <p:cNvSpPr>
                <a:spLocks/>
              </p:cNvSpPr>
              <p:nvPr/>
            </p:nvSpPr>
            <p:spPr bwMode="auto">
              <a:xfrm>
                <a:off x="2759" y="1366"/>
                <a:ext cx="13" cy="18"/>
              </a:xfrm>
              <a:custGeom>
                <a:avLst/>
                <a:gdLst/>
                <a:ahLst/>
                <a:cxnLst>
                  <a:cxn ang="0">
                    <a:pos x="0" y="16"/>
                  </a:cxn>
                  <a:cxn ang="0">
                    <a:pos x="2" y="18"/>
                  </a:cxn>
                  <a:cxn ang="0">
                    <a:pos x="2" y="16"/>
                  </a:cxn>
                  <a:cxn ang="0">
                    <a:pos x="9" y="18"/>
                  </a:cxn>
                  <a:cxn ang="0">
                    <a:pos x="11" y="16"/>
                  </a:cxn>
                  <a:cxn ang="0">
                    <a:pos x="9" y="16"/>
                  </a:cxn>
                  <a:cxn ang="0">
                    <a:pos x="13" y="7"/>
                  </a:cxn>
                  <a:cxn ang="0">
                    <a:pos x="11" y="2"/>
                  </a:cxn>
                  <a:cxn ang="0">
                    <a:pos x="9" y="0"/>
                  </a:cxn>
                  <a:cxn ang="0">
                    <a:pos x="2" y="2"/>
                  </a:cxn>
                  <a:cxn ang="0">
                    <a:pos x="0" y="9"/>
                  </a:cxn>
                  <a:cxn ang="0">
                    <a:pos x="0" y="16"/>
                  </a:cxn>
                </a:cxnLst>
                <a:rect l="0" t="0" r="r" b="b"/>
                <a:pathLst>
                  <a:path w="13" h="18">
                    <a:moveTo>
                      <a:pt x="0" y="16"/>
                    </a:moveTo>
                    <a:lnTo>
                      <a:pt x="2" y="18"/>
                    </a:lnTo>
                    <a:lnTo>
                      <a:pt x="2" y="16"/>
                    </a:lnTo>
                    <a:lnTo>
                      <a:pt x="9" y="18"/>
                    </a:lnTo>
                    <a:lnTo>
                      <a:pt x="11" y="16"/>
                    </a:lnTo>
                    <a:lnTo>
                      <a:pt x="9" y="16"/>
                    </a:lnTo>
                    <a:lnTo>
                      <a:pt x="13" y="7"/>
                    </a:lnTo>
                    <a:lnTo>
                      <a:pt x="11" y="2"/>
                    </a:lnTo>
                    <a:lnTo>
                      <a:pt x="9" y="0"/>
                    </a:lnTo>
                    <a:lnTo>
                      <a:pt x="2" y="2"/>
                    </a:lnTo>
                    <a:lnTo>
                      <a:pt x="0" y="9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88" name="Freeform 1142"/>
              <p:cNvSpPr>
                <a:spLocks/>
              </p:cNvSpPr>
              <p:nvPr/>
            </p:nvSpPr>
            <p:spPr bwMode="auto">
              <a:xfrm>
                <a:off x="2747" y="1389"/>
                <a:ext cx="8" cy="29"/>
              </a:xfrm>
              <a:custGeom>
                <a:avLst/>
                <a:gdLst/>
                <a:ahLst/>
                <a:cxnLst>
                  <a:cxn ang="0">
                    <a:pos x="0" y="13"/>
                  </a:cxn>
                  <a:cxn ang="0">
                    <a:pos x="6" y="22"/>
                  </a:cxn>
                  <a:cxn ang="0">
                    <a:pos x="6" y="29"/>
                  </a:cxn>
                  <a:cxn ang="0">
                    <a:pos x="8" y="29"/>
                  </a:cxn>
                  <a:cxn ang="0">
                    <a:pos x="8" y="20"/>
                  </a:cxn>
                  <a:cxn ang="0">
                    <a:pos x="4" y="18"/>
                  </a:cxn>
                  <a:cxn ang="0">
                    <a:pos x="6" y="13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9"/>
                  </a:cxn>
                  <a:cxn ang="0">
                    <a:pos x="0" y="13"/>
                  </a:cxn>
                </a:cxnLst>
                <a:rect l="0" t="0" r="r" b="b"/>
                <a:pathLst>
                  <a:path w="8" h="29">
                    <a:moveTo>
                      <a:pt x="0" y="13"/>
                    </a:moveTo>
                    <a:lnTo>
                      <a:pt x="6" y="22"/>
                    </a:lnTo>
                    <a:lnTo>
                      <a:pt x="6" y="29"/>
                    </a:lnTo>
                    <a:lnTo>
                      <a:pt x="8" y="29"/>
                    </a:lnTo>
                    <a:lnTo>
                      <a:pt x="8" y="20"/>
                    </a:lnTo>
                    <a:lnTo>
                      <a:pt x="4" y="18"/>
                    </a:lnTo>
                    <a:lnTo>
                      <a:pt x="6" y="13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9"/>
                    </a:lnTo>
                    <a:lnTo>
                      <a:pt x="0" y="13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89" name="Freeform 1143"/>
              <p:cNvSpPr>
                <a:spLocks/>
              </p:cNvSpPr>
              <p:nvPr/>
            </p:nvSpPr>
            <p:spPr bwMode="auto">
              <a:xfrm>
                <a:off x="2770" y="1425"/>
                <a:ext cx="6" cy="27"/>
              </a:xfrm>
              <a:custGeom>
                <a:avLst/>
                <a:gdLst/>
                <a:ahLst/>
                <a:cxnLst>
                  <a:cxn ang="0">
                    <a:pos x="0" y="15"/>
                  </a:cxn>
                  <a:cxn ang="0">
                    <a:pos x="2" y="20"/>
                  </a:cxn>
                  <a:cxn ang="0">
                    <a:pos x="6" y="27"/>
                  </a:cxn>
                  <a:cxn ang="0">
                    <a:pos x="2" y="18"/>
                  </a:cxn>
                  <a:cxn ang="0">
                    <a:pos x="6" y="11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2" y="11"/>
                  </a:cxn>
                  <a:cxn ang="0">
                    <a:pos x="0" y="13"/>
                  </a:cxn>
                  <a:cxn ang="0">
                    <a:pos x="0" y="15"/>
                  </a:cxn>
                </a:cxnLst>
                <a:rect l="0" t="0" r="r" b="b"/>
                <a:pathLst>
                  <a:path w="6" h="27">
                    <a:moveTo>
                      <a:pt x="0" y="15"/>
                    </a:moveTo>
                    <a:lnTo>
                      <a:pt x="2" y="20"/>
                    </a:lnTo>
                    <a:lnTo>
                      <a:pt x="6" y="27"/>
                    </a:lnTo>
                    <a:lnTo>
                      <a:pt x="2" y="18"/>
                    </a:lnTo>
                    <a:lnTo>
                      <a:pt x="6" y="11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2" y="11"/>
                    </a:lnTo>
                    <a:lnTo>
                      <a:pt x="0" y="13"/>
                    </a:lnTo>
                    <a:lnTo>
                      <a:pt x="0" y="15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5" name="Group 1144"/>
            <p:cNvGrpSpPr>
              <a:grpSpLocks/>
            </p:cNvGrpSpPr>
            <p:nvPr/>
          </p:nvGrpSpPr>
          <p:grpSpPr bwMode="auto">
            <a:xfrm>
              <a:off x="1877341" y="2496631"/>
              <a:ext cx="586774" cy="727014"/>
              <a:chOff x="2179" y="990"/>
              <a:chExt cx="113" cy="137"/>
            </a:xfrm>
            <a:grpFill/>
          </p:grpSpPr>
          <p:sp>
            <p:nvSpPr>
              <p:cNvPr id="375" name="Freeform 1145"/>
              <p:cNvSpPr>
                <a:spLocks/>
              </p:cNvSpPr>
              <p:nvPr/>
            </p:nvSpPr>
            <p:spPr bwMode="auto">
              <a:xfrm>
                <a:off x="2179" y="990"/>
                <a:ext cx="27" cy="9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10" y="5"/>
                  </a:cxn>
                  <a:cxn ang="0">
                    <a:pos x="13" y="7"/>
                  </a:cxn>
                  <a:cxn ang="0">
                    <a:pos x="0" y="9"/>
                  </a:cxn>
                  <a:cxn ang="0">
                    <a:pos x="4" y="9"/>
                  </a:cxn>
                  <a:cxn ang="0">
                    <a:pos x="13" y="7"/>
                  </a:cxn>
                  <a:cxn ang="0">
                    <a:pos x="8" y="9"/>
                  </a:cxn>
                  <a:cxn ang="0">
                    <a:pos x="17" y="9"/>
                  </a:cxn>
                  <a:cxn ang="0">
                    <a:pos x="17" y="7"/>
                  </a:cxn>
                  <a:cxn ang="0">
                    <a:pos x="21" y="7"/>
                  </a:cxn>
                  <a:cxn ang="0">
                    <a:pos x="27" y="5"/>
                  </a:cxn>
                  <a:cxn ang="0">
                    <a:pos x="17" y="5"/>
                  </a:cxn>
                  <a:cxn ang="0">
                    <a:pos x="25" y="0"/>
                  </a:cxn>
                  <a:cxn ang="0">
                    <a:pos x="21" y="0"/>
                  </a:cxn>
                  <a:cxn ang="0">
                    <a:pos x="10" y="2"/>
                  </a:cxn>
                  <a:cxn ang="0">
                    <a:pos x="2" y="2"/>
                  </a:cxn>
                  <a:cxn ang="0">
                    <a:pos x="0" y="5"/>
                  </a:cxn>
                </a:cxnLst>
                <a:rect l="0" t="0" r="r" b="b"/>
                <a:pathLst>
                  <a:path w="27" h="9">
                    <a:moveTo>
                      <a:pt x="0" y="5"/>
                    </a:moveTo>
                    <a:lnTo>
                      <a:pt x="10" y="5"/>
                    </a:lnTo>
                    <a:lnTo>
                      <a:pt x="13" y="7"/>
                    </a:lnTo>
                    <a:lnTo>
                      <a:pt x="0" y="9"/>
                    </a:lnTo>
                    <a:lnTo>
                      <a:pt x="4" y="9"/>
                    </a:lnTo>
                    <a:lnTo>
                      <a:pt x="13" y="7"/>
                    </a:lnTo>
                    <a:lnTo>
                      <a:pt x="8" y="9"/>
                    </a:lnTo>
                    <a:lnTo>
                      <a:pt x="17" y="9"/>
                    </a:lnTo>
                    <a:lnTo>
                      <a:pt x="17" y="7"/>
                    </a:lnTo>
                    <a:lnTo>
                      <a:pt x="21" y="7"/>
                    </a:lnTo>
                    <a:lnTo>
                      <a:pt x="27" y="5"/>
                    </a:lnTo>
                    <a:lnTo>
                      <a:pt x="17" y="5"/>
                    </a:lnTo>
                    <a:lnTo>
                      <a:pt x="25" y="0"/>
                    </a:lnTo>
                    <a:lnTo>
                      <a:pt x="21" y="0"/>
                    </a:lnTo>
                    <a:lnTo>
                      <a:pt x="10" y="2"/>
                    </a:lnTo>
                    <a:lnTo>
                      <a:pt x="2" y="2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6" name="Freeform 1146"/>
              <p:cNvSpPr>
                <a:spLocks/>
              </p:cNvSpPr>
              <p:nvPr/>
            </p:nvSpPr>
            <p:spPr bwMode="auto">
              <a:xfrm>
                <a:off x="2183" y="1013"/>
                <a:ext cx="32" cy="9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17" y="2"/>
                  </a:cxn>
                  <a:cxn ang="0">
                    <a:pos x="13" y="2"/>
                  </a:cxn>
                  <a:cxn ang="0">
                    <a:pos x="13" y="4"/>
                  </a:cxn>
                  <a:cxn ang="0">
                    <a:pos x="4" y="9"/>
                  </a:cxn>
                  <a:cxn ang="0">
                    <a:pos x="0" y="9"/>
                  </a:cxn>
                  <a:cxn ang="0">
                    <a:pos x="4" y="9"/>
                  </a:cxn>
                  <a:cxn ang="0">
                    <a:pos x="13" y="9"/>
                  </a:cxn>
                  <a:cxn ang="0">
                    <a:pos x="23" y="2"/>
                  </a:cxn>
                  <a:cxn ang="0">
                    <a:pos x="32" y="2"/>
                  </a:cxn>
                  <a:cxn ang="0">
                    <a:pos x="32" y="0"/>
                  </a:cxn>
                </a:cxnLst>
                <a:rect l="0" t="0" r="r" b="b"/>
                <a:pathLst>
                  <a:path w="32" h="9">
                    <a:moveTo>
                      <a:pt x="32" y="0"/>
                    </a:moveTo>
                    <a:lnTo>
                      <a:pt x="17" y="2"/>
                    </a:lnTo>
                    <a:lnTo>
                      <a:pt x="13" y="2"/>
                    </a:lnTo>
                    <a:lnTo>
                      <a:pt x="13" y="4"/>
                    </a:lnTo>
                    <a:lnTo>
                      <a:pt x="4" y="9"/>
                    </a:lnTo>
                    <a:lnTo>
                      <a:pt x="0" y="9"/>
                    </a:lnTo>
                    <a:lnTo>
                      <a:pt x="4" y="9"/>
                    </a:lnTo>
                    <a:lnTo>
                      <a:pt x="13" y="9"/>
                    </a:lnTo>
                    <a:lnTo>
                      <a:pt x="23" y="2"/>
                    </a:lnTo>
                    <a:lnTo>
                      <a:pt x="32" y="2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7" name="Freeform 1147"/>
              <p:cNvSpPr>
                <a:spLocks/>
              </p:cNvSpPr>
              <p:nvPr/>
            </p:nvSpPr>
            <p:spPr bwMode="auto">
              <a:xfrm>
                <a:off x="2196" y="1028"/>
                <a:ext cx="16" cy="5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16" y="3"/>
                  </a:cxn>
                  <a:cxn ang="0">
                    <a:pos x="8" y="0"/>
                  </a:cxn>
                  <a:cxn ang="0">
                    <a:pos x="4" y="3"/>
                  </a:cxn>
                  <a:cxn ang="0">
                    <a:pos x="0" y="3"/>
                  </a:cxn>
                  <a:cxn ang="0">
                    <a:pos x="0" y="5"/>
                  </a:cxn>
                </a:cxnLst>
                <a:rect l="0" t="0" r="r" b="b"/>
                <a:pathLst>
                  <a:path w="16" h="5">
                    <a:moveTo>
                      <a:pt x="0" y="5"/>
                    </a:moveTo>
                    <a:lnTo>
                      <a:pt x="16" y="3"/>
                    </a:lnTo>
                    <a:lnTo>
                      <a:pt x="8" y="0"/>
                    </a:lnTo>
                    <a:lnTo>
                      <a:pt x="4" y="3"/>
                    </a:lnTo>
                    <a:lnTo>
                      <a:pt x="0" y="3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8" name="Freeform 1148"/>
              <p:cNvSpPr>
                <a:spLocks/>
              </p:cNvSpPr>
              <p:nvPr/>
            </p:nvSpPr>
            <p:spPr bwMode="auto">
              <a:xfrm>
                <a:off x="2215" y="1037"/>
                <a:ext cx="12" cy="9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6" y="9"/>
                  </a:cxn>
                  <a:cxn ang="0">
                    <a:pos x="8" y="3"/>
                  </a:cxn>
                  <a:cxn ang="0">
                    <a:pos x="12" y="3"/>
                  </a:cxn>
                  <a:cxn ang="0">
                    <a:pos x="12" y="0"/>
                  </a:cxn>
                  <a:cxn ang="0">
                    <a:pos x="6" y="5"/>
                  </a:cxn>
                  <a:cxn ang="0">
                    <a:pos x="0" y="9"/>
                  </a:cxn>
                </a:cxnLst>
                <a:rect l="0" t="0" r="r" b="b"/>
                <a:pathLst>
                  <a:path w="12" h="9">
                    <a:moveTo>
                      <a:pt x="0" y="9"/>
                    </a:moveTo>
                    <a:lnTo>
                      <a:pt x="6" y="9"/>
                    </a:lnTo>
                    <a:lnTo>
                      <a:pt x="8" y="3"/>
                    </a:lnTo>
                    <a:lnTo>
                      <a:pt x="12" y="3"/>
                    </a:lnTo>
                    <a:lnTo>
                      <a:pt x="12" y="0"/>
                    </a:lnTo>
                    <a:lnTo>
                      <a:pt x="6" y="5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9" name="Freeform 1149"/>
              <p:cNvSpPr>
                <a:spLocks/>
              </p:cNvSpPr>
              <p:nvPr/>
            </p:nvSpPr>
            <p:spPr bwMode="auto">
              <a:xfrm>
                <a:off x="2221" y="1060"/>
                <a:ext cx="6" cy="20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11"/>
                  </a:cxn>
                  <a:cxn ang="0">
                    <a:pos x="2" y="11"/>
                  </a:cxn>
                  <a:cxn ang="0">
                    <a:pos x="0" y="13"/>
                  </a:cxn>
                  <a:cxn ang="0">
                    <a:pos x="2" y="13"/>
                  </a:cxn>
                  <a:cxn ang="0">
                    <a:pos x="0" y="20"/>
                  </a:cxn>
                  <a:cxn ang="0">
                    <a:pos x="6" y="13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4"/>
                  </a:cxn>
                </a:cxnLst>
                <a:rect l="0" t="0" r="r" b="b"/>
                <a:pathLst>
                  <a:path w="6" h="20">
                    <a:moveTo>
                      <a:pt x="0" y="4"/>
                    </a:moveTo>
                    <a:lnTo>
                      <a:pt x="0" y="11"/>
                    </a:lnTo>
                    <a:lnTo>
                      <a:pt x="2" y="11"/>
                    </a:lnTo>
                    <a:lnTo>
                      <a:pt x="0" y="13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6" y="13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grpSp>
            <p:nvGrpSpPr>
              <p:cNvPr id="380" name="Group 1150"/>
              <p:cNvGrpSpPr>
                <a:grpSpLocks/>
              </p:cNvGrpSpPr>
              <p:nvPr/>
            </p:nvGrpSpPr>
            <p:grpSpPr bwMode="auto">
              <a:xfrm>
                <a:off x="2229" y="1085"/>
                <a:ext cx="63" cy="42"/>
                <a:chOff x="2229" y="1085"/>
                <a:chExt cx="63" cy="42"/>
              </a:xfrm>
              <a:grpFill/>
            </p:grpSpPr>
            <p:sp>
              <p:nvSpPr>
                <p:cNvPr id="382" name="Freeform 1151"/>
                <p:cNvSpPr>
                  <a:spLocks/>
                </p:cNvSpPr>
                <p:nvPr/>
              </p:nvSpPr>
              <p:spPr bwMode="auto">
                <a:xfrm>
                  <a:off x="2271" y="1112"/>
                  <a:ext cx="21" cy="6"/>
                </a:xfrm>
                <a:custGeom>
                  <a:avLst/>
                  <a:gdLst/>
                  <a:ahLst/>
                  <a:cxnLst>
                    <a:cxn ang="0">
                      <a:pos x="4" y="6"/>
                    </a:cxn>
                    <a:cxn ang="0">
                      <a:pos x="17" y="6"/>
                    </a:cxn>
                    <a:cxn ang="0">
                      <a:pos x="21" y="0"/>
                    </a:cxn>
                    <a:cxn ang="0">
                      <a:pos x="14" y="4"/>
                    </a:cxn>
                    <a:cxn ang="0">
                      <a:pos x="4" y="4"/>
                    </a:cxn>
                    <a:cxn ang="0">
                      <a:pos x="0" y="6"/>
                    </a:cxn>
                    <a:cxn ang="0">
                      <a:pos x="2" y="6"/>
                    </a:cxn>
                    <a:cxn ang="0">
                      <a:pos x="4" y="6"/>
                    </a:cxn>
                  </a:cxnLst>
                  <a:rect l="0" t="0" r="r" b="b"/>
                  <a:pathLst>
                    <a:path w="21" h="6">
                      <a:moveTo>
                        <a:pt x="4" y="6"/>
                      </a:moveTo>
                      <a:lnTo>
                        <a:pt x="17" y="6"/>
                      </a:lnTo>
                      <a:lnTo>
                        <a:pt x="21" y="0"/>
                      </a:lnTo>
                      <a:lnTo>
                        <a:pt x="14" y="4"/>
                      </a:lnTo>
                      <a:lnTo>
                        <a:pt x="4" y="4"/>
                      </a:ln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e-DE"/>
                </a:p>
              </p:txBody>
            </p:sp>
            <p:sp>
              <p:nvSpPr>
                <p:cNvPr id="383" name="Freeform 1152"/>
                <p:cNvSpPr>
                  <a:spLocks/>
                </p:cNvSpPr>
                <p:nvPr/>
              </p:nvSpPr>
              <p:spPr bwMode="auto">
                <a:xfrm>
                  <a:off x="2254" y="1123"/>
                  <a:ext cx="23" cy="4"/>
                </a:xfrm>
                <a:custGeom>
                  <a:avLst/>
                  <a:gdLst/>
                  <a:ahLst/>
                  <a:cxnLst>
                    <a:cxn ang="0">
                      <a:pos x="0" y="4"/>
                    </a:cxn>
                    <a:cxn ang="0">
                      <a:pos x="6" y="4"/>
                    </a:cxn>
                    <a:cxn ang="0">
                      <a:pos x="23" y="0"/>
                    </a:cxn>
                    <a:cxn ang="0">
                      <a:pos x="9" y="0"/>
                    </a:cxn>
                    <a:cxn ang="0">
                      <a:pos x="4" y="2"/>
                    </a:cxn>
                    <a:cxn ang="0">
                      <a:pos x="0" y="2"/>
                    </a:cxn>
                    <a:cxn ang="0">
                      <a:pos x="0" y="4"/>
                    </a:cxn>
                  </a:cxnLst>
                  <a:rect l="0" t="0" r="r" b="b"/>
                  <a:pathLst>
                    <a:path w="23" h="4">
                      <a:moveTo>
                        <a:pt x="0" y="4"/>
                      </a:moveTo>
                      <a:lnTo>
                        <a:pt x="6" y="4"/>
                      </a:lnTo>
                      <a:lnTo>
                        <a:pt x="23" y="0"/>
                      </a:lnTo>
                      <a:lnTo>
                        <a:pt x="9" y="0"/>
                      </a:lnTo>
                      <a:lnTo>
                        <a:pt x="4" y="2"/>
                      </a:lnTo>
                      <a:lnTo>
                        <a:pt x="0" y="2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e-DE"/>
                </a:p>
              </p:txBody>
            </p:sp>
            <p:sp>
              <p:nvSpPr>
                <p:cNvPr id="384" name="Freeform 1153"/>
                <p:cNvSpPr>
                  <a:spLocks/>
                </p:cNvSpPr>
                <p:nvPr/>
              </p:nvSpPr>
              <p:spPr bwMode="auto">
                <a:xfrm>
                  <a:off x="2235" y="1100"/>
                  <a:ext cx="42" cy="27"/>
                </a:xfrm>
                <a:custGeom>
                  <a:avLst/>
                  <a:gdLst/>
                  <a:ahLst/>
                  <a:cxnLst>
                    <a:cxn ang="0">
                      <a:pos x="25" y="0"/>
                    </a:cxn>
                    <a:cxn ang="0">
                      <a:pos x="25" y="3"/>
                    </a:cxn>
                    <a:cxn ang="0">
                      <a:pos x="13" y="3"/>
                    </a:cxn>
                    <a:cxn ang="0">
                      <a:pos x="5" y="12"/>
                    </a:cxn>
                    <a:cxn ang="0">
                      <a:pos x="11" y="9"/>
                    </a:cxn>
                    <a:cxn ang="0">
                      <a:pos x="2" y="18"/>
                    </a:cxn>
                    <a:cxn ang="0">
                      <a:pos x="0" y="25"/>
                    </a:cxn>
                    <a:cxn ang="0">
                      <a:pos x="0" y="27"/>
                    </a:cxn>
                    <a:cxn ang="0">
                      <a:pos x="2" y="27"/>
                    </a:cxn>
                    <a:cxn ang="0">
                      <a:pos x="5" y="25"/>
                    </a:cxn>
                    <a:cxn ang="0">
                      <a:pos x="11" y="16"/>
                    </a:cxn>
                    <a:cxn ang="0">
                      <a:pos x="13" y="9"/>
                    </a:cxn>
                    <a:cxn ang="0">
                      <a:pos x="23" y="7"/>
                    </a:cxn>
                    <a:cxn ang="0">
                      <a:pos x="25" y="7"/>
                    </a:cxn>
                    <a:cxn ang="0">
                      <a:pos x="25" y="12"/>
                    </a:cxn>
                    <a:cxn ang="0">
                      <a:pos x="23" y="16"/>
                    </a:cxn>
                    <a:cxn ang="0">
                      <a:pos x="25" y="16"/>
                    </a:cxn>
                    <a:cxn ang="0">
                      <a:pos x="25" y="18"/>
                    </a:cxn>
                    <a:cxn ang="0">
                      <a:pos x="28" y="18"/>
                    </a:cxn>
                    <a:cxn ang="0">
                      <a:pos x="34" y="7"/>
                    </a:cxn>
                    <a:cxn ang="0">
                      <a:pos x="40" y="12"/>
                    </a:cxn>
                    <a:cxn ang="0">
                      <a:pos x="42" y="9"/>
                    </a:cxn>
                    <a:cxn ang="0">
                      <a:pos x="40" y="3"/>
                    </a:cxn>
                    <a:cxn ang="0">
                      <a:pos x="32" y="3"/>
                    </a:cxn>
                    <a:cxn ang="0">
                      <a:pos x="25" y="0"/>
                    </a:cxn>
                  </a:cxnLst>
                  <a:rect l="0" t="0" r="r" b="b"/>
                  <a:pathLst>
                    <a:path w="42" h="27">
                      <a:moveTo>
                        <a:pt x="25" y="0"/>
                      </a:moveTo>
                      <a:lnTo>
                        <a:pt x="25" y="3"/>
                      </a:lnTo>
                      <a:lnTo>
                        <a:pt x="13" y="3"/>
                      </a:lnTo>
                      <a:lnTo>
                        <a:pt x="5" y="12"/>
                      </a:lnTo>
                      <a:lnTo>
                        <a:pt x="11" y="9"/>
                      </a:lnTo>
                      <a:lnTo>
                        <a:pt x="2" y="18"/>
                      </a:lnTo>
                      <a:lnTo>
                        <a:pt x="0" y="25"/>
                      </a:lnTo>
                      <a:lnTo>
                        <a:pt x="0" y="27"/>
                      </a:lnTo>
                      <a:lnTo>
                        <a:pt x="2" y="27"/>
                      </a:lnTo>
                      <a:lnTo>
                        <a:pt x="5" y="25"/>
                      </a:lnTo>
                      <a:lnTo>
                        <a:pt x="11" y="16"/>
                      </a:lnTo>
                      <a:lnTo>
                        <a:pt x="13" y="9"/>
                      </a:lnTo>
                      <a:lnTo>
                        <a:pt x="23" y="7"/>
                      </a:lnTo>
                      <a:lnTo>
                        <a:pt x="25" y="7"/>
                      </a:lnTo>
                      <a:lnTo>
                        <a:pt x="25" y="12"/>
                      </a:lnTo>
                      <a:lnTo>
                        <a:pt x="23" y="16"/>
                      </a:lnTo>
                      <a:lnTo>
                        <a:pt x="25" y="16"/>
                      </a:lnTo>
                      <a:lnTo>
                        <a:pt x="25" y="18"/>
                      </a:lnTo>
                      <a:lnTo>
                        <a:pt x="28" y="18"/>
                      </a:lnTo>
                      <a:lnTo>
                        <a:pt x="34" y="7"/>
                      </a:lnTo>
                      <a:lnTo>
                        <a:pt x="40" y="12"/>
                      </a:lnTo>
                      <a:lnTo>
                        <a:pt x="42" y="9"/>
                      </a:lnTo>
                      <a:lnTo>
                        <a:pt x="40" y="3"/>
                      </a:lnTo>
                      <a:lnTo>
                        <a:pt x="32" y="3"/>
                      </a:lnTo>
                      <a:lnTo>
                        <a:pt x="25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e-DE"/>
                </a:p>
              </p:txBody>
            </p:sp>
            <p:sp>
              <p:nvSpPr>
                <p:cNvPr id="385" name="Freeform 1154"/>
                <p:cNvSpPr>
                  <a:spLocks/>
                </p:cNvSpPr>
                <p:nvPr/>
              </p:nvSpPr>
              <p:spPr bwMode="auto">
                <a:xfrm>
                  <a:off x="2229" y="1085"/>
                  <a:ext cx="34" cy="15"/>
                </a:xfrm>
                <a:custGeom>
                  <a:avLst/>
                  <a:gdLst/>
                  <a:ahLst/>
                  <a:cxnLst>
                    <a:cxn ang="0">
                      <a:pos x="31" y="15"/>
                    </a:cxn>
                    <a:cxn ang="0">
                      <a:pos x="34" y="6"/>
                    </a:cxn>
                    <a:cxn ang="0">
                      <a:pos x="29" y="6"/>
                    </a:cxn>
                    <a:cxn ang="0">
                      <a:pos x="29" y="4"/>
                    </a:cxn>
                    <a:cxn ang="0">
                      <a:pos x="23" y="0"/>
                    </a:cxn>
                    <a:cxn ang="0">
                      <a:pos x="11" y="6"/>
                    </a:cxn>
                    <a:cxn ang="0">
                      <a:pos x="15" y="6"/>
                    </a:cxn>
                    <a:cxn ang="0">
                      <a:pos x="11" y="6"/>
                    </a:cxn>
                    <a:cxn ang="0">
                      <a:pos x="0" y="15"/>
                    </a:cxn>
                    <a:cxn ang="0">
                      <a:pos x="6" y="13"/>
                    </a:cxn>
                    <a:cxn ang="0">
                      <a:pos x="6" y="15"/>
                    </a:cxn>
                    <a:cxn ang="0">
                      <a:pos x="19" y="9"/>
                    </a:cxn>
                    <a:cxn ang="0">
                      <a:pos x="15" y="15"/>
                    </a:cxn>
                    <a:cxn ang="0">
                      <a:pos x="19" y="13"/>
                    </a:cxn>
                    <a:cxn ang="0">
                      <a:pos x="19" y="15"/>
                    </a:cxn>
                    <a:cxn ang="0">
                      <a:pos x="31" y="15"/>
                    </a:cxn>
                    <a:cxn ang="0">
                      <a:pos x="29" y="15"/>
                    </a:cxn>
                    <a:cxn ang="0">
                      <a:pos x="31" y="15"/>
                    </a:cxn>
                  </a:cxnLst>
                  <a:rect l="0" t="0" r="r" b="b"/>
                  <a:pathLst>
                    <a:path w="34" h="15">
                      <a:moveTo>
                        <a:pt x="31" y="15"/>
                      </a:moveTo>
                      <a:lnTo>
                        <a:pt x="34" y="6"/>
                      </a:lnTo>
                      <a:lnTo>
                        <a:pt x="29" y="6"/>
                      </a:lnTo>
                      <a:lnTo>
                        <a:pt x="29" y="4"/>
                      </a:lnTo>
                      <a:lnTo>
                        <a:pt x="23" y="0"/>
                      </a:lnTo>
                      <a:lnTo>
                        <a:pt x="11" y="6"/>
                      </a:lnTo>
                      <a:lnTo>
                        <a:pt x="15" y="6"/>
                      </a:lnTo>
                      <a:lnTo>
                        <a:pt x="11" y="6"/>
                      </a:lnTo>
                      <a:lnTo>
                        <a:pt x="0" y="15"/>
                      </a:lnTo>
                      <a:lnTo>
                        <a:pt x="6" y="13"/>
                      </a:lnTo>
                      <a:lnTo>
                        <a:pt x="6" y="15"/>
                      </a:lnTo>
                      <a:lnTo>
                        <a:pt x="19" y="9"/>
                      </a:lnTo>
                      <a:lnTo>
                        <a:pt x="15" y="15"/>
                      </a:lnTo>
                      <a:lnTo>
                        <a:pt x="19" y="13"/>
                      </a:lnTo>
                      <a:lnTo>
                        <a:pt x="19" y="15"/>
                      </a:lnTo>
                      <a:lnTo>
                        <a:pt x="31" y="15"/>
                      </a:lnTo>
                      <a:lnTo>
                        <a:pt x="29" y="15"/>
                      </a:lnTo>
                      <a:lnTo>
                        <a:pt x="31" y="15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e-DE"/>
                </a:p>
              </p:txBody>
            </p:sp>
          </p:grpSp>
          <p:sp>
            <p:nvSpPr>
              <p:cNvPr id="381" name="Freeform 1155"/>
              <p:cNvSpPr>
                <a:spLocks/>
              </p:cNvSpPr>
              <p:nvPr/>
            </p:nvSpPr>
            <p:spPr bwMode="auto">
              <a:xfrm>
                <a:off x="2212" y="1064"/>
                <a:ext cx="7" cy="1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3"/>
                  </a:cxn>
                  <a:cxn ang="0">
                    <a:pos x="3" y="0"/>
                  </a:cxn>
                  <a:cxn ang="0">
                    <a:pos x="3" y="3"/>
                  </a:cxn>
                  <a:cxn ang="0">
                    <a:pos x="0" y="7"/>
                  </a:cxn>
                  <a:cxn ang="0">
                    <a:pos x="3" y="9"/>
                  </a:cxn>
                  <a:cxn ang="0">
                    <a:pos x="0" y="16"/>
                  </a:cxn>
                  <a:cxn ang="0">
                    <a:pos x="3" y="16"/>
                  </a:cxn>
                  <a:cxn ang="0">
                    <a:pos x="3" y="9"/>
                  </a:cxn>
                  <a:cxn ang="0">
                    <a:pos x="7" y="9"/>
                  </a:cxn>
                  <a:cxn ang="0">
                    <a:pos x="0" y="9"/>
                  </a:cxn>
                  <a:cxn ang="0">
                    <a:pos x="7" y="3"/>
                  </a:cxn>
                  <a:cxn ang="0">
                    <a:pos x="3" y="0"/>
                  </a:cxn>
                  <a:cxn ang="0">
                    <a:pos x="0" y="0"/>
                  </a:cxn>
                </a:cxnLst>
                <a:rect l="0" t="0" r="r" b="b"/>
                <a:pathLst>
                  <a:path w="7" h="16">
                    <a:moveTo>
                      <a:pt x="0" y="0"/>
                    </a:moveTo>
                    <a:lnTo>
                      <a:pt x="0" y="3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0" y="7"/>
                    </a:lnTo>
                    <a:lnTo>
                      <a:pt x="3" y="9"/>
                    </a:lnTo>
                    <a:lnTo>
                      <a:pt x="0" y="16"/>
                    </a:lnTo>
                    <a:lnTo>
                      <a:pt x="3" y="16"/>
                    </a:lnTo>
                    <a:lnTo>
                      <a:pt x="3" y="9"/>
                    </a:lnTo>
                    <a:lnTo>
                      <a:pt x="7" y="9"/>
                    </a:lnTo>
                    <a:lnTo>
                      <a:pt x="0" y="9"/>
                    </a:lnTo>
                    <a:lnTo>
                      <a:pt x="7" y="3"/>
                    </a:lnTo>
                    <a:lnTo>
                      <a:pt x="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6" name="Group 1156"/>
            <p:cNvGrpSpPr>
              <a:grpSpLocks/>
            </p:cNvGrpSpPr>
            <p:nvPr/>
          </p:nvGrpSpPr>
          <p:grpSpPr bwMode="auto">
            <a:xfrm>
              <a:off x="4748898" y="2618684"/>
              <a:ext cx="1666852" cy="546587"/>
              <a:chOff x="2732" y="1013"/>
              <a:chExt cx="321" cy="103"/>
            </a:xfrm>
            <a:grpFill/>
          </p:grpSpPr>
          <p:sp>
            <p:nvSpPr>
              <p:cNvPr id="370" name="Freeform 1157"/>
              <p:cNvSpPr>
                <a:spLocks/>
              </p:cNvSpPr>
              <p:nvPr/>
            </p:nvSpPr>
            <p:spPr bwMode="auto">
              <a:xfrm>
                <a:off x="2864" y="1100"/>
                <a:ext cx="14" cy="16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2" y="16"/>
                  </a:cxn>
                  <a:cxn ang="0">
                    <a:pos x="8" y="16"/>
                  </a:cxn>
                  <a:cxn ang="0">
                    <a:pos x="10" y="12"/>
                  </a:cxn>
                  <a:cxn ang="0">
                    <a:pos x="10" y="9"/>
                  </a:cxn>
                  <a:cxn ang="0">
                    <a:pos x="14" y="9"/>
                  </a:cxn>
                  <a:cxn ang="0">
                    <a:pos x="8" y="3"/>
                  </a:cxn>
                  <a:cxn ang="0">
                    <a:pos x="10" y="0"/>
                  </a:cxn>
                  <a:cxn ang="0">
                    <a:pos x="6" y="0"/>
                  </a:cxn>
                  <a:cxn ang="0">
                    <a:pos x="2" y="3"/>
                  </a:cxn>
                  <a:cxn ang="0">
                    <a:pos x="0" y="3"/>
                  </a:cxn>
                  <a:cxn ang="0">
                    <a:pos x="0" y="7"/>
                  </a:cxn>
                  <a:cxn ang="0">
                    <a:pos x="0" y="12"/>
                  </a:cxn>
                </a:cxnLst>
                <a:rect l="0" t="0" r="r" b="b"/>
                <a:pathLst>
                  <a:path w="14" h="16">
                    <a:moveTo>
                      <a:pt x="0" y="12"/>
                    </a:moveTo>
                    <a:lnTo>
                      <a:pt x="2" y="16"/>
                    </a:lnTo>
                    <a:lnTo>
                      <a:pt x="8" y="16"/>
                    </a:lnTo>
                    <a:lnTo>
                      <a:pt x="10" y="12"/>
                    </a:lnTo>
                    <a:lnTo>
                      <a:pt x="10" y="9"/>
                    </a:lnTo>
                    <a:lnTo>
                      <a:pt x="14" y="9"/>
                    </a:lnTo>
                    <a:lnTo>
                      <a:pt x="8" y="3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2" y="3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1" name="Freeform 1158"/>
              <p:cNvSpPr>
                <a:spLocks/>
              </p:cNvSpPr>
              <p:nvPr/>
            </p:nvSpPr>
            <p:spPr bwMode="auto">
              <a:xfrm>
                <a:off x="2926" y="1100"/>
                <a:ext cx="23" cy="9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2" y="9"/>
                  </a:cxn>
                  <a:cxn ang="0">
                    <a:pos x="2" y="7"/>
                  </a:cxn>
                  <a:cxn ang="0">
                    <a:pos x="4" y="3"/>
                  </a:cxn>
                  <a:cxn ang="0">
                    <a:pos x="19" y="3"/>
                  </a:cxn>
                  <a:cxn ang="0">
                    <a:pos x="23" y="0"/>
                  </a:cxn>
                  <a:cxn ang="0">
                    <a:pos x="2" y="0"/>
                  </a:cxn>
                  <a:cxn ang="0">
                    <a:pos x="0" y="3"/>
                  </a:cxn>
                  <a:cxn ang="0">
                    <a:pos x="0" y="5"/>
                  </a:cxn>
                  <a:cxn ang="0">
                    <a:pos x="0" y="7"/>
                  </a:cxn>
                </a:cxnLst>
                <a:rect l="0" t="0" r="r" b="b"/>
                <a:pathLst>
                  <a:path w="23" h="9">
                    <a:moveTo>
                      <a:pt x="0" y="7"/>
                    </a:moveTo>
                    <a:lnTo>
                      <a:pt x="2" y="9"/>
                    </a:lnTo>
                    <a:lnTo>
                      <a:pt x="2" y="7"/>
                    </a:lnTo>
                    <a:lnTo>
                      <a:pt x="4" y="3"/>
                    </a:lnTo>
                    <a:lnTo>
                      <a:pt x="19" y="3"/>
                    </a:lnTo>
                    <a:lnTo>
                      <a:pt x="23" y="0"/>
                    </a:lnTo>
                    <a:lnTo>
                      <a:pt x="2" y="0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0" y="7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2" name="Freeform 1159"/>
              <p:cNvSpPr>
                <a:spLocks/>
              </p:cNvSpPr>
              <p:nvPr/>
            </p:nvSpPr>
            <p:spPr bwMode="auto">
              <a:xfrm>
                <a:off x="3039" y="1049"/>
                <a:ext cx="14" cy="24"/>
              </a:xfrm>
              <a:custGeom>
                <a:avLst/>
                <a:gdLst/>
                <a:ahLst/>
                <a:cxnLst>
                  <a:cxn ang="0">
                    <a:pos x="0" y="24"/>
                  </a:cxn>
                  <a:cxn ang="0">
                    <a:pos x="2" y="24"/>
                  </a:cxn>
                  <a:cxn ang="0">
                    <a:pos x="8" y="24"/>
                  </a:cxn>
                  <a:cxn ang="0">
                    <a:pos x="8" y="22"/>
                  </a:cxn>
                  <a:cxn ang="0">
                    <a:pos x="14" y="18"/>
                  </a:cxn>
                  <a:cxn ang="0">
                    <a:pos x="14" y="9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10" y="9"/>
                  </a:cxn>
                  <a:cxn ang="0">
                    <a:pos x="6" y="22"/>
                  </a:cxn>
                  <a:cxn ang="0">
                    <a:pos x="2" y="24"/>
                  </a:cxn>
                  <a:cxn ang="0">
                    <a:pos x="0" y="24"/>
                  </a:cxn>
                </a:cxnLst>
                <a:rect l="0" t="0" r="r" b="b"/>
                <a:pathLst>
                  <a:path w="14" h="24">
                    <a:moveTo>
                      <a:pt x="0" y="24"/>
                    </a:moveTo>
                    <a:lnTo>
                      <a:pt x="2" y="24"/>
                    </a:lnTo>
                    <a:lnTo>
                      <a:pt x="8" y="24"/>
                    </a:lnTo>
                    <a:lnTo>
                      <a:pt x="8" y="22"/>
                    </a:lnTo>
                    <a:lnTo>
                      <a:pt x="14" y="18"/>
                    </a:lnTo>
                    <a:lnTo>
                      <a:pt x="14" y="9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10" y="9"/>
                    </a:lnTo>
                    <a:lnTo>
                      <a:pt x="6" y="22"/>
                    </a:lnTo>
                    <a:lnTo>
                      <a:pt x="2" y="24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3" name="Freeform 1160"/>
              <p:cNvSpPr>
                <a:spLocks/>
              </p:cNvSpPr>
              <p:nvPr/>
            </p:nvSpPr>
            <p:spPr bwMode="auto">
              <a:xfrm>
                <a:off x="2732" y="1017"/>
                <a:ext cx="13" cy="11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6" y="11"/>
                  </a:cxn>
                  <a:cxn ang="0">
                    <a:pos x="13" y="7"/>
                  </a:cxn>
                  <a:cxn ang="0">
                    <a:pos x="8" y="5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5"/>
                  </a:cxn>
                </a:cxnLst>
                <a:rect l="0" t="0" r="r" b="b"/>
                <a:pathLst>
                  <a:path w="13" h="11">
                    <a:moveTo>
                      <a:pt x="0" y="5"/>
                    </a:moveTo>
                    <a:lnTo>
                      <a:pt x="6" y="11"/>
                    </a:lnTo>
                    <a:lnTo>
                      <a:pt x="13" y="7"/>
                    </a:lnTo>
                    <a:lnTo>
                      <a:pt x="8" y="5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4" name="Freeform 1161"/>
              <p:cNvSpPr>
                <a:spLocks/>
              </p:cNvSpPr>
              <p:nvPr/>
            </p:nvSpPr>
            <p:spPr bwMode="auto">
              <a:xfrm>
                <a:off x="2747" y="1013"/>
                <a:ext cx="8" cy="9"/>
              </a:xfrm>
              <a:custGeom>
                <a:avLst/>
                <a:gdLst/>
                <a:ahLst/>
                <a:cxnLst>
                  <a:cxn ang="0">
                    <a:pos x="4" y="4"/>
                  </a:cxn>
                  <a:cxn ang="0">
                    <a:pos x="6" y="4"/>
                  </a:cxn>
                  <a:cxn ang="0">
                    <a:pos x="6" y="9"/>
                  </a:cxn>
                  <a:cxn ang="0">
                    <a:pos x="8" y="9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6" y="2"/>
                  </a:cxn>
                  <a:cxn ang="0">
                    <a:pos x="4" y="2"/>
                  </a:cxn>
                  <a:cxn ang="0">
                    <a:pos x="4" y="4"/>
                  </a:cxn>
                </a:cxnLst>
                <a:rect l="0" t="0" r="r" b="b"/>
                <a:pathLst>
                  <a:path w="8" h="9">
                    <a:moveTo>
                      <a:pt x="4" y="4"/>
                    </a:moveTo>
                    <a:lnTo>
                      <a:pt x="6" y="4"/>
                    </a:lnTo>
                    <a:lnTo>
                      <a:pt x="6" y="9"/>
                    </a:lnTo>
                    <a:lnTo>
                      <a:pt x="8" y="9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7" name="Freeform 1163"/>
            <p:cNvSpPr>
              <a:spLocks/>
            </p:cNvSpPr>
            <p:nvPr/>
          </p:nvSpPr>
          <p:spPr bwMode="auto">
            <a:xfrm>
              <a:off x="4499649" y="2984845"/>
              <a:ext cx="119432" cy="63680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4" y="9"/>
                </a:cxn>
                <a:cxn ang="0">
                  <a:pos x="8" y="12"/>
                </a:cxn>
                <a:cxn ang="0">
                  <a:pos x="19" y="7"/>
                </a:cxn>
                <a:cxn ang="0">
                  <a:pos x="23" y="7"/>
                </a:cxn>
                <a:cxn ang="0">
                  <a:pos x="23" y="3"/>
                </a:cxn>
                <a:cxn ang="0">
                  <a:pos x="21" y="3"/>
                </a:cxn>
                <a:cxn ang="0">
                  <a:pos x="15" y="3"/>
                </a:cxn>
                <a:cxn ang="0">
                  <a:pos x="8" y="0"/>
                </a:cxn>
                <a:cxn ang="0">
                  <a:pos x="4" y="5"/>
                </a:cxn>
                <a:cxn ang="0">
                  <a:pos x="0" y="5"/>
                </a:cxn>
                <a:cxn ang="0">
                  <a:pos x="0" y="7"/>
                </a:cxn>
              </a:cxnLst>
              <a:rect l="0" t="0" r="r" b="b"/>
              <a:pathLst>
                <a:path w="23" h="12">
                  <a:moveTo>
                    <a:pt x="0" y="7"/>
                  </a:moveTo>
                  <a:lnTo>
                    <a:pt x="4" y="9"/>
                  </a:lnTo>
                  <a:lnTo>
                    <a:pt x="8" y="12"/>
                  </a:lnTo>
                  <a:lnTo>
                    <a:pt x="19" y="7"/>
                  </a:lnTo>
                  <a:lnTo>
                    <a:pt x="23" y="7"/>
                  </a:lnTo>
                  <a:lnTo>
                    <a:pt x="23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8" y="0"/>
                  </a:lnTo>
                  <a:lnTo>
                    <a:pt x="4" y="5"/>
                  </a:lnTo>
                  <a:lnTo>
                    <a:pt x="0" y="5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" name="Freeform 1164"/>
            <p:cNvSpPr>
              <a:spLocks/>
            </p:cNvSpPr>
            <p:nvPr/>
          </p:nvSpPr>
          <p:spPr bwMode="auto">
            <a:xfrm>
              <a:off x="4619080" y="2905245"/>
              <a:ext cx="379066" cy="238800"/>
            </a:xfrm>
            <a:custGeom>
              <a:avLst/>
              <a:gdLst/>
              <a:ahLst/>
              <a:cxnLst>
                <a:cxn ang="0">
                  <a:pos x="29" y="40"/>
                </a:cxn>
                <a:cxn ang="0">
                  <a:pos x="33" y="40"/>
                </a:cxn>
                <a:cxn ang="0">
                  <a:pos x="33" y="36"/>
                </a:cxn>
                <a:cxn ang="0">
                  <a:pos x="38" y="33"/>
                </a:cxn>
                <a:cxn ang="0">
                  <a:pos x="44" y="33"/>
                </a:cxn>
                <a:cxn ang="0">
                  <a:pos x="52" y="36"/>
                </a:cxn>
                <a:cxn ang="0">
                  <a:pos x="46" y="40"/>
                </a:cxn>
                <a:cxn ang="0">
                  <a:pos x="52" y="42"/>
                </a:cxn>
                <a:cxn ang="0">
                  <a:pos x="52" y="45"/>
                </a:cxn>
                <a:cxn ang="0">
                  <a:pos x="61" y="42"/>
                </a:cxn>
                <a:cxn ang="0">
                  <a:pos x="63" y="42"/>
                </a:cxn>
                <a:cxn ang="0">
                  <a:pos x="63" y="40"/>
                </a:cxn>
                <a:cxn ang="0">
                  <a:pos x="61" y="40"/>
                </a:cxn>
                <a:cxn ang="0">
                  <a:pos x="54" y="36"/>
                </a:cxn>
                <a:cxn ang="0">
                  <a:pos x="65" y="31"/>
                </a:cxn>
                <a:cxn ang="0">
                  <a:pos x="69" y="31"/>
                </a:cxn>
                <a:cxn ang="0">
                  <a:pos x="69" y="27"/>
                </a:cxn>
                <a:cxn ang="0">
                  <a:pos x="71" y="24"/>
                </a:cxn>
                <a:cxn ang="0">
                  <a:pos x="73" y="27"/>
                </a:cxn>
                <a:cxn ang="0">
                  <a:pos x="73" y="22"/>
                </a:cxn>
                <a:cxn ang="0">
                  <a:pos x="73" y="18"/>
                </a:cxn>
                <a:cxn ang="0">
                  <a:pos x="73" y="15"/>
                </a:cxn>
                <a:cxn ang="0">
                  <a:pos x="65" y="15"/>
                </a:cxn>
                <a:cxn ang="0">
                  <a:pos x="63" y="13"/>
                </a:cxn>
                <a:cxn ang="0">
                  <a:pos x="54" y="13"/>
                </a:cxn>
                <a:cxn ang="0">
                  <a:pos x="52" y="6"/>
                </a:cxn>
                <a:cxn ang="0">
                  <a:pos x="48" y="6"/>
                </a:cxn>
                <a:cxn ang="0">
                  <a:pos x="48" y="4"/>
                </a:cxn>
                <a:cxn ang="0">
                  <a:pos x="46" y="0"/>
                </a:cxn>
                <a:cxn ang="0">
                  <a:pos x="38" y="4"/>
                </a:cxn>
                <a:cxn ang="0">
                  <a:pos x="33" y="4"/>
                </a:cxn>
                <a:cxn ang="0">
                  <a:pos x="33" y="6"/>
                </a:cxn>
                <a:cxn ang="0">
                  <a:pos x="29" y="6"/>
                </a:cxn>
                <a:cxn ang="0">
                  <a:pos x="23" y="6"/>
                </a:cxn>
                <a:cxn ang="0">
                  <a:pos x="15" y="4"/>
                </a:cxn>
                <a:cxn ang="0">
                  <a:pos x="6" y="6"/>
                </a:cxn>
                <a:cxn ang="0">
                  <a:pos x="8" y="13"/>
                </a:cxn>
                <a:cxn ang="0">
                  <a:pos x="0" y="18"/>
                </a:cxn>
                <a:cxn ang="0">
                  <a:pos x="0" y="22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13" y="27"/>
                </a:cxn>
                <a:cxn ang="0">
                  <a:pos x="21" y="24"/>
                </a:cxn>
                <a:cxn ang="0">
                  <a:pos x="23" y="22"/>
                </a:cxn>
                <a:cxn ang="0">
                  <a:pos x="29" y="24"/>
                </a:cxn>
                <a:cxn ang="0">
                  <a:pos x="31" y="27"/>
                </a:cxn>
                <a:cxn ang="0">
                  <a:pos x="33" y="31"/>
                </a:cxn>
                <a:cxn ang="0">
                  <a:pos x="33" y="33"/>
                </a:cxn>
                <a:cxn ang="0">
                  <a:pos x="31" y="33"/>
                </a:cxn>
                <a:cxn ang="0">
                  <a:pos x="29" y="38"/>
                </a:cxn>
                <a:cxn ang="0">
                  <a:pos x="29" y="40"/>
                </a:cxn>
              </a:cxnLst>
              <a:rect l="0" t="0" r="r" b="b"/>
              <a:pathLst>
                <a:path w="73" h="45">
                  <a:moveTo>
                    <a:pt x="29" y="40"/>
                  </a:moveTo>
                  <a:lnTo>
                    <a:pt x="33" y="40"/>
                  </a:lnTo>
                  <a:lnTo>
                    <a:pt x="33" y="36"/>
                  </a:lnTo>
                  <a:lnTo>
                    <a:pt x="38" y="33"/>
                  </a:lnTo>
                  <a:lnTo>
                    <a:pt x="44" y="33"/>
                  </a:lnTo>
                  <a:lnTo>
                    <a:pt x="52" y="36"/>
                  </a:lnTo>
                  <a:lnTo>
                    <a:pt x="46" y="40"/>
                  </a:lnTo>
                  <a:lnTo>
                    <a:pt x="52" y="42"/>
                  </a:lnTo>
                  <a:lnTo>
                    <a:pt x="52" y="45"/>
                  </a:lnTo>
                  <a:lnTo>
                    <a:pt x="61" y="42"/>
                  </a:lnTo>
                  <a:lnTo>
                    <a:pt x="63" y="42"/>
                  </a:lnTo>
                  <a:lnTo>
                    <a:pt x="63" y="40"/>
                  </a:lnTo>
                  <a:lnTo>
                    <a:pt x="61" y="40"/>
                  </a:lnTo>
                  <a:lnTo>
                    <a:pt x="54" y="36"/>
                  </a:lnTo>
                  <a:lnTo>
                    <a:pt x="65" y="31"/>
                  </a:lnTo>
                  <a:lnTo>
                    <a:pt x="69" y="31"/>
                  </a:lnTo>
                  <a:lnTo>
                    <a:pt x="69" y="27"/>
                  </a:lnTo>
                  <a:lnTo>
                    <a:pt x="71" y="24"/>
                  </a:lnTo>
                  <a:lnTo>
                    <a:pt x="73" y="27"/>
                  </a:lnTo>
                  <a:lnTo>
                    <a:pt x="73" y="22"/>
                  </a:lnTo>
                  <a:lnTo>
                    <a:pt x="73" y="18"/>
                  </a:lnTo>
                  <a:lnTo>
                    <a:pt x="73" y="15"/>
                  </a:lnTo>
                  <a:lnTo>
                    <a:pt x="65" y="15"/>
                  </a:lnTo>
                  <a:lnTo>
                    <a:pt x="63" y="13"/>
                  </a:lnTo>
                  <a:lnTo>
                    <a:pt x="54" y="13"/>
                  </a:lnTo>
                  <a:lnTo>
                    <a:pt x="52" y="6"/>
                  </a:lnTo>
                  <a:lnTo>
                    <a:pt x="48" y="6"/>
                  </a:lnTo>
                  <a:lnTo>
                    <a:pt x="48" y="4"/>
                  </a:lnTo>
                  <a:lnTo>
                    <a:pt x="46" y="0"/>
                  </a:lnTo>
                  <a:lnTo>
                    <a:pt x="38" y="4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29" y="6"/>
                  </a:lnTo>
                  <a:lnTo>
                    <a:pt x="23" y="6"/>
                  </a:lnTo>
                  <a:lnTo>
                    <a:pt x="15" y="4"/>
                  </a:lnTo>
                  <a:lnTo>
                    <a:pt x="6" y="6"/>
                  </a:lnTo>
                  <a:lnTo>
                    <a:pt x="8" y="13"/>
                  </a:lnTo>
                  <a:lnTo>
                    <a:pt x="0" y="18"/>
                  </a:lnTo>
                  <a:lnTo>
                    <a:pt x="0" y="22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13" y="27"/>
                  </a:lnTo>
                  <a:lnTo>
                    <a:pt x="21" y="24"/>
                  </a:lnTo>
                  <a:lnTo>
                    <a:pt x="23" y="22"/>
                  </a:lnTo>
                  <a:lnTo>
                    <a:pt x="29" y="24"/>
                  </a:lnTo>
                  <a:lnTo>
                    <a:pt x="31" y="27"/>
                  </a:lnTo>
                  <a:lnTo>
                    <a:pt x="33" y="31"/>
                  </a:lnTo>
                  <a:lnTo>
                    <a:pt x="33" y="33"/>
                  </a:lnTo>
                  <a:lnTo>
                    <a:pt x="31" y="33"/>
                  </a:lnTo>
                  <a:lnTo>
                    <a:pt x="29" y="38"/>
                  </a:lnTo>
                  <a:lnTo>
                    <a:pt x="29" y="4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" name="Freeform 1165"/>
            <p:cNvSpPr>
              <a:spLocks/>
            </p:cNvSpPr>
            <p:nvPr/>
          </p:nvSpPr>
          <p:spPr bwMode="auto">
            <a:xfrm>
              <a:off x="4639850" y="2793804"/>
              <a:ext cx="186937" cy="143280"/>
            </a:xfrm>
            <a:custGeom>
              <a:avLst/>
              <a:gdLst/>
              <a:ahLst/>
              <a:cxnLst>
                <a:cxn ang="0">
                  <a:pos x="2" y="18"/>
                </a:cxn>
                <a:cxn ang="0">
                  <a:pos x="0" y="25"/>
                </a:cxn>
                <a:cxn ang="0">
                  <a:pos x="2" y="27"/>
                </a:cxn>
                <a:cxn ang="0">
                  <a:pos x="11" y="25"/>
                </a:cxn>
                <a:cxn ang="0">
                  <a:pos x="19" y="27"/>
                </a:cxn>
                <a:cxn ang="0">
                  <a:pos x="25" y="27"/>
                </a:cxn>
                <a:cxn ang="0">
                  <a:pos x="29" y="27"/>
                </a:cxn>
                <a:cxn ang="0">
                  <a:pos x="29" y="25"/>
                </a:cxn>
                <a:cxn ang="0">
                  <a:pos x="34" y="25"/>
                </a:cxn>
                <a:cxn ang="0">
                  <a:pos x="29" y="18"/>
                </a:cxn>
                <a:cxn ang="0">
                  <a:pos x="36" y="18"/>
                </a:cxn>
                <a:cxn ang="0">
                  <a:pos x="36" y="14"/>
                </a:cxn>
                <a:cxn ang="0">
                  <a:pos x="34" y="14"/>
                </a:cxn>
                <a:cxn ang="0">
                  <a:pos x="29" y="9"/>
                </a:cxn>
                <a:cxn ang="0">
                  <a:pos x="27" y="3"/>
                </a:cxn>
                <a:cxn ang="0">
                  <a:pos x="19" y="0"/>
                </a:cxn>
                <a:cxn ang="0">
                  <a:pos x="13" y="3"/>
                </a:cxn>
                <a:cxn ang="0">
                  <a:pos x="13" y="5"/>
                </a:cxn>
                <a:cxn ang="0">
                  <a:pos x="9" y="9"/>
                </a:cxn>
                <a:cxn ang="0">
                  <a:pos x="11" y="12"/>
                </a:cxn>
                <a:cxn ang="0">
                  <a:pos x="0" y="12"/>
                </a:cxn>
                <a:cxn ang="0">
                  <a:pos x="0" y="16"/>
                </a:cxn>
                <a:cxn ang="0">
                  <a:pos x="2" y="18"/>
                </a:cxn>
              </a:cxnLst>
              <a:rect l="0" t="0" r="r" b="b"/>
              <a:pathLst>
                <a:path w="36" h="27">
                  <a:moveTo>
                    <a:pt x="2" y="18"/>
                  </a:moveTo>
                  <a:lnTo>
                    <a:pt x="0" y="25"/>
                  </a:lnTo>
                  <a:lnTo>
                    <a:pt x="2" y="27"/>
                  </a:lnTo>
                  <a:lnTo>
                    <a:pt x="11" y="25"/>
                  </a:lnTo>
                  <a:lnTo>
                    <a:pt x="19" y="27"/>
                  </a:lnTo>
                  <a:lnTo>
                    <a:pt x="25" y="27"/>
                  </a:lnTo>
                  <a:lnTo>
                    <a:pt x="29" y="27"/>
                  </a:lnTo>
                  <a:lnTo>
                    <a:pt x="29" y="25"/>
                  </a:lnTo>
                  <a:lnTo>
                    <a:pt x="34" y="25"/>
                  </a:lnTo>
                  <a:lnTo>
                    <a:pt x="29" y="18"/>
                  </a:lnTo>
                  <a:lnTo>
                    <a:pt x="36" y="18"/>
                  </a:lnTo>
                  <a:lnTo>
                    <a:pt x="36" y="14"/>
                  </a:lnTo>
                  <a:lnTo>
                    <a:pt x="34" y="14"/>
                  </a:lnTo>
                  <a:lnTo>
                    <a:pt x="29" y="9"/>
                  </a:lnTo>
                  <a:lnTo>
                    <a:pt x="27" y="3"/>
                  </a:lnTo>
                  <a:lnTo>
                    <a:pt x="19" y="0"/>
                  </a:lnTo>
                  <a:lnTo>
                    <a:pt x="13" y="3"/>
                  </a:lnTo>
                  <a:lnTo>
                    <a:pt x="13" y="5"/>
                  </a:lnTo>
                  <a:lnTo>
                    <a:pt x="9" y="9"/>
                  </a:lnTo>
                  <a:lnTo>
                    <a:pt x="11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2" y="18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" name="Freeform 1166"/>
            <p:cNvSpPr>
              <a:spLocks/>
            </p:cNvSpPr>
            <p:nvPr/>
          </p:nvSpPr>
          <p:spPr bwMode="auto">
            <a:xfrm>
              <a:off x="4639850" y="2698284"/>
              <a:ext cx="88276" cy="63680"/>
            </a:xfrm>
            <a:custGeom>
              <a:avLst/>
              <a:gdLst/>
              <a:ahLst/>
              <a:cxnLst>
                <a:cxn ang="0">
                  <a:pos x="2" y="9"/>
                </a:cxn>
                <a:cxn ang="0">
                  <a:pos x="0" y="9"/>
                </a:cxn>
                <a:cxn ang="0">
                  <a:pos x="0" y="3"/>
                </a:cxn>
                <a:cxn ang="0">
                  <a:pos x="9" y="0"/>
                </a:cxn>
                <a:cxn ang="0">
                  <a:pos x="17" y="3"/>
                </a:cxn>
                <a:cxn ang="0">
                  <a:pos x="13" y="3"/>
                </a:cxn>
                <a:cxn ang="0">
                  <a:pos x="11" y="5"/>
                </a:cxn>
                <a:cxn ang="0">
                  <a:pos x="13" y="9"/>
                </a:cxn>
                <a:cxn ang="0">
                  <a:pos x="13" y="12"/>
                </a:cxn>
                <a:cxn ang="0">
                  <a:pos x="4" y="9"/>
                </a:cxn>
                <a:cxn ang="0">
                  <a:pos x="2" y="9"/>
                </a:cxn>
              </a:cxnLst>
              <a:rect l="0" t="0" r="r" b="b"/>
              <a:pathLst>
                <a:path w="17" h="12">
                  <a:moveTo>
                    <a:pt x="2" y="9"/>
                  </a:moveTo>
                  <a:lnTo>
                    <a:pt x="0" y="9"/>
                  </a:lnTo>
                  <a:lnTo>
                    <a:pt x="0" y="3"/>
                  </a:lnTo>
                  <a:lnTo>
                    <a:pt x="9" y="0"/>
                  </a:lnTo>
                  <a:lnTo>
                    <a:pt x="17" y="3"/>
                  </a:lnTo>
                  <a:lnTo>
                    <a:pt x="13" y="3"/>
                  </a:lnTo>
                  <a:lnTo>
                    <a:pt x="11" y="5"/>
                  </a:lnTo>
                  <a:lnTo>
                    <a:pt x="13" y="9"/>
                  </a:lnTo>
                  <a:lnTo>
                    <a:pt x="13" y="12"/>
                  </a:lnTo>
                  <a:lnTo>
                    <a:pt x="4" y="9"/>
                  </a:lnTo>
                  <a:lnTo>
                    <a:pt x="2" y="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" name="Freeform 1167"/>
            <p:cNvSpPr>
              <a:spLocks/>
            </p:cNvSpPr>
            <p:nvPr/>
          </p:nvSpPr>
          <p:spPr bwMode="auto">
            <a:xfrm>
              <a:off x="4598309" y="2746044"/>
              <a:ext cx="140203" cy="63680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0" y="5"/>
                </a:cxn>
                <a:cxn ang="0">
                  <a:pos x="0" y="3"/>
                </a:cxn>
                <a:cxn ang="0">
                  <a:pos x="2" y="3"/>
                </a:cxn>
                <a:cxn ang="0">
                  <a:pos x="8" y="5"/>
                </a:cxn>
                <a:cxn ang="0">
                  <a:pos x="10" y="5"/>
                </a:cxn>
                <a:cxn ang="0">
                  <a:pos x="10" y="0"/>
                </a:cxn>
                <a:cxn ang="0">
                  <a:pos x="12" y="0"/>
                </a:cxn>
                <a:cxn ang="0">
                  <a:pos x="21" y="3"/>
                </a:cxn>
                <a:cxn ang="0">
                  <a:pos x="27" y="9"/>
                </a:cxn>
                <a:cxn ang="0">
                  <a:pos x="21" y="12"/>
                </a:cxn>
                <a:cxn ang="0">
                  <a:pos x="12" y="9"/>
                </a:cxn>
                <a:cxn ang="0">
                  <a:pos x="2" y="9"/>
                </a:cxn>
                <a:cxn ang="0">
                  <a:pos x="0" y="12"/>
                </a:cxn>
              </a:cxnLst>
              <a:rect l="0" t="0" r="r" b="b"/>
              <a:pathLst>
                <a:path w="27" h="12">
                  <a:moveTo>
                    <a:pt x="0" y="12"/>
                  </a:moveTo>
                  <a:lnTo>
                    <a:pt x="0" y="5"/>
                  </a:lnTo>
                  <a:lnTo>
                    <a:pt x="0" y="3"/>
                  </a:lnTo>
                  <a:lnTo>
                    <a:pt x="2" y="3"/>
                  </a:lnTo>
                  <a:lnTo>
                    <a:pt x="8" y="5"/>
                  </a:lnTo>
                  <a:lnTo>
                    <a:pt x="10" y="5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21" y="3"/>
                  </a:lnTo>
                  <a:lnTo>
                    <a:pt x="27" y="9"/>
                  </a:lnTo>
                  <a:lnTo>
                    <a:pt x="21" y="12"/>
                  </a:lnTo>
                  <a:lnTo>
                    <a:pt x="12" y="9"/>
                  </a:lnTo>
                  <a:lnTo>
                    <a:pt x="2" y="9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" name="Freeform 1168"/>
            <p:cNvSpPr>
              <a:spLocks/>
            </p:cNvSpPr>
            <p:nvPr/>
          </p:nvSpPr>
          <p:spPr bwMode="auto">
            <a:xfrm>
              <a:off x="4577538" y="2793804"/>
              <a:ext cx="129817" cy="63680"/>
            </a:xfrm>
            <a:custGeom>
              <a:avLst/>
              <a:gdLst/>
              <a:ahLst/>
              <a:cxnLst>
                <a:cxn ang="0">
                  <a:pos x="12" y="12"/>
                </a:cxn>
                <a:cxn ang="0">
                  <a:pos x="8" y="12"/>
                </a:cxn>
                <a:cxn ang="0">
                  <a:pos x="8" y="5"/>
                </a:cxn>
                <a:cxn ang="0">
                  <a:pos x="0" y="5"/>
                </a:cxn>
                <a:cxn ang="0">
                  <a:pos x="4" y="3"/>
                </a:cxn>
                <a:cxn ang="0">
                  <a:pos x="6" y="0"/>
                </a:cxn>
                <a:cxn ang="0">
                  <a:pos x="16" y="0"/>
                </a:cxn>
                <a:cxn ang="0">
                  <a:pos x="25" y="3"/>
                </a:cxn>
                <a:cxn ang="0">
                  <a:pos x="25" y="5"/>
                </a:cxn>
                <a:cxn ang="0">
                  <a:pos x="21" y="9"/>
                </a:cxn>
                <a:cxn ang="0">
                  <a:pos x="23" y="12"/>
                </a:cxn>
                <a:cxn ang="0">
                  <a:pos x="16" y="12"/>
                </a:cxn>
                <a:cxn ang="0">
                  <a:pos x="12" y="12"/>
                </a:cxn>
              </a:cxnLst>
              <a:rect l="0" t="0" r="r" b="b"/>
              <a:pathLst>
                <a:path w="25" h="12">
                  <a:moveTo>
                    <a:pt x="12" y="12"/>
                  </a:moveTo>
                  <a:lnTo>
                    <a:pt x="8" y="12"/>
                  </a:lnTo>
                  <a:lnTo>
                    <a:pt x="8" y="5"/>
                  </a:lnTo>
                  <a:lnTo>
                    <a:pt x="0" y="5"/>
                  </a:lnTo>
                  <a:lnTo>
                    <a:pt x="4" y="3"/>
                  </a:lnTo>
                  <a:lnTo>
                    <a:pt x="6" y="0"/>
                  </a:lnTo>
                  <a:lnTo>
                    <a:pt x="16" y="0"/>
                  </a:lnTo>
                  <a:lnTo>
                    <a:pt x="25" y="3"/>
                  </a:lnTo>
                  <a:lnTo>
                    <a:pt x="25" y="5"/>
                  </a:lnTo>
                  <a:lnTo>
                    <a:pt x="21" y="9"/>
                  </a:lnTo>
                  <a:lnTo>
                    <a:pt x="23" y="12"/>
                  </a:lnTo>
                  <a:lnTo>
                    <a:pt x="16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" name="Freeform 1169"/>
            <p:cNvSpPr>
              <a:spLocks/>
            </p:cNvSpPr>
            <p:nvPr/>
          </p:nvSpPr>
          <p:spPr bwMode="auto">
            <a:xfrm>
              <a:off x="4567153" y="2820338"/>
              <a:ext cx="51927" cy="37147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10" y="7"/>
                </a:cxn>
                <a:cxn ang="0">
                  <a:pos x="10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4"/>
                </a:cxn>
              </a:cxnLst>
              <a:rect l="0" t="0" r="r" b="b"/>
              <a:pathLst>
                <a:path w="10" h="7">
                  <a:moveTo>
                    <a:pt x="0" y="4"/>
                  </a:moveTo>
                  <a:lnTo>
                    <a:pt x="10" y="7"/>
                  </a:lnTo>
                  <a:lnTo>
                    <a:pt x="10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" name="Freeform 1170"/>
            <p:cNvSpPr>
              <a:spLocks/>
            </p:cNvSpPr>
            <p:nvPr/>
          </p:nvSpPr>
          <p:spPr bwMode="auto">
            <a:xfrm>
              <a:off x="4728126" y="3021991"/>
              <a:ext cx="62312" cy="95520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4" y="9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8" y="2"/>
                </a:cxn>
                <a:cxn ang="0">
                  <a:pos x="10" y="5"/>
                </a:cxn>
                <a:cxn ang="0">
                  <a:pos x="12" y="9"/>
                </a:cxn>
                <a:cxn ang="0">
                  <a:pos x="12" y="11"/>
                </a:cxn>
                <a:cxn ang="0">
                  <a:pos x="10" y="11"/>
                </a:cxn>
                <a:cxn ang="0">
                  <a:pos x="8" y="16"/>
                </a:cxn>
                <a:cxn ang="0">
                  <a:pos x="8" y="18"/>
                </a:cxn>
              </a:cxnLst>
              <a:rect l="0" t="0" r="r" b="b"/>
              <a:pathLst>
                <a:path w="12" h="18">
                  <a:moveTo>
                    <a:pt x="8" y="18"/>
                  </a:moveTo>
                  <a:lnTo>
                    <a:pt x="4" y="9"/>
                  </a:lnTo>
                  <a:lnTo>
                    <a:pt x="0" y="2"/>
                  </a:lnTo>
                  <a:lnTo>
                    <a:pt x="2" y="0"/>
                  </a:lnTo>
                  <a:lnTo>
                    <a:pt x="8" y="2"/>
                  </a:lnTo>
                  <a:lnTo>
                    <a:pt x="10" y="5"/>
                  </a:lnTo>
                  <a:lnTo>
                    <a:pt x="12" y="9"/>
                  </a:lnTo>
                  <a:lnTo>
                    <a:pt x="12" y="11"/>
                  </a:lnTo>
                  <a:lnTo>
                    <a:pt x="10" y="11"/>
                  </a:lnTo>
                  <a:lnTo>
                    <a:pt x="8" y="16"/>
                  </a:lnTo>
                  <a:lnTo>
                    <a:pt x="8" y="18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" name="Freeform 1171"/>
            <p:cNvSpPr>
              <a:spLocks/>
            </p:cNvSpPr>
            <p:nvPr/>
          </p:nvSpPr>
          <p:spPr bwMode="auto">
            <a:xfrm>
              <a:off x="5029302" y="3175885"/>
              <a:ext cx="155781" cy="74293"/>
            </a:xfrm>
            <a:custGeom>
              <a:avLst/>
              <a:gdLst/>
              <a:ahLst/>
              <a:cxnLst>
                <a:cxn ang="0">
                  <a:pos x="23" y="14"/>
                </a:cxn>
                <a:cxn ang="0">
                  <a:pos x="23" y="9"/>
                </a:cxn>
                <a:cxn ang="0">
                  <a:pos x="30" y="9"/>
                </a:cxn>
                <a:cxn ang="0">
                  <a:pos x="23" y="5"/>
                </a:cxn>
                <a:cxn ang="0">
                  <a:pos x="17" y="5"/>
                </a:cxn>
                <a:cxn ang="0">
                  <a:pos x="13" y="0"/>
                </a:cxn>
                <a:cxn ang="0">
                  <a:pos x="0" y="0"/>
                </a:cxn>
                <a:cxn ang="0">
                  <a:pos x="4" y="5"/>
                </a:cxn>
                <a:cxn ang="0">
                  <a:pos x="9" y="7"/>
                </a:cxn>
                <a:cxn ang="0">
                  <a:pos x="9" y="9"/>
                </a:cxn>
                <a:cxn ang="0">
                  <a:pos x="15" y="9"/>
                </a:cxn>
                <a:cxn ang="0">
                  <a:pos x="15" y="14"/>
                </a:cxn>
                <a:cxn ang="0">
                  <a:pos x="19" y="14"/>
                </a:cxn>
                <a:cxn ang="0">
                  <a:pos x="23" y="14"/>
                </a:cxn>
              </a:cxnLst>
              <a:rect l="0" t="0" r="r" b="b"/>
              <a:pathLst>
                <a:path w="30" h="14">
                  <a:moveTo>
                    <a:pt x="23" y="14"/>
                  </a:moveTo>
                  <a:lnTo>
                    <a:pt x="23" y="9"/>
                  </a:lnTo>
                  <a:lnTo>
                    <a:pt x="30" y="9"/>
                  </a:lnTo>
                  <a:lnTo>
                    <a:pt x="23" y="5"/>
                  </a:lnTo>
                  <a:lnTo>
                    <a:pt x="17" y="5"/>
                  </a:lnTo>
                  <a:lnTo>
                    <a:pt x="13" y="0"/>
                  </a:lnTo>
                  <a:lnTo>
                    <a:pt x="0" y="0"/>
                  </a:lnTo>
                  <a:lnTo>
                    <a:pt x="4" y="5"/>
                  </a:lnTo>
                  <a:lnTo>
                    <a:pt x="9" y="7"/>
                  </a:lnTo>
                  <a:lnTo>
                    <a:pt x="9" y="9"/>
                  </a:lnTo>
                  <a:lnTo>
                    <a:pt x="15" y="9"/>
                  </a:lnTo>
                  <a:lnTo>
                    <a:pt x="15" y="14"/>
                  </a:lnTo>
                  <a:lnTo>
                    <a:pt x="19" y="14"/>
                  </a:lnTo>
                  <a:lnTo>
                    <a:pt x="23" y="1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" name="Freeform 1172"/>
            <p:cNvSpPr>
              <a:spLocks/>
            </p:cNvSpPr>
            <p:nvPr/>
          </p:nvSpPr>
          <p:spPr bwMode="auto">
            <a:xfrm>
              <a:off x="5107192" y="3250178"/>
              <a:ext cx="88276" cy="58373"/>
            </a:xfrm>
            <a:custGeom>
              <a:avLst/>
              <a:gdLst/>
              <a:ahLst/>
              <a:cxnLst>
                <a:cxn ang="0">
                  <a:pos x="8" y="4"/>
                </a:cxn>
                <a:cxn ang="0">
                  <a:pos x="2" y="4"/>
                </a:cxn>
                <a:cxn ang="0">
                  <a:pos x="0" y="0"/>
                </a:cxn>
                <a:cxn ang="0">
                  <a:pos x="8" y="0"/>
                </a:cxn>
                <a:cxn ang="0">
                  <a:pos x="10" y="2"/>
                </a:cxn>
                <a:cxn ang="0">
                  <a:pos x="10" y="4"/>
                </a:cxn>
                <a:cxn ang="0">
                  <a:pos x="15" y="4"/>
                </a:cxn>
                <a:cxn ang="0">
                  <a:pos x="17" y="11"/>
                </a:cxn>
                <a:cxn ang="0">
                  <a:pos x="15" y="11"/>
                </a:cxn>
                <a:cxn ang="0">
                  <a:pos x="10" y="9"/>
                </a:cxn>
                <a:cxn ang="0">
                  <a:pos x="8" y="7"/>
                </a:cxn>
                <a:cxn ang="0">
                  <a:pos x="8" y="4"/>
                </a:cxn>
              </a:cxnLst>
              <a:rect l="0" t="0" r="r" b="b"/>
              <a:pathLst>
                <a:path w="17" h="11">
                  <a:moveTo>
                    <a:pt x="8" y="4"/>
                  </a:moveTo>
                  <a:lnTo>
                    <a:pt x="2" y="4"/>
                  </a:lnTo>
                  <a:lnTo>
                    <a:pt x="0" y="0"/>
                  </a:lnTo>
                  <a:lnTo>
                    <a:pt x="8" y="0"/>
                  </a:lnTo>
                  <a:lnTo>
                    <a:pt x="10" y="2"/>
                  </a:lnTo>
                  <a:lnTo>
                    <a:pt x="10" y="4"/>
                  </a:lnTo>
                  <a:lnTo>
                    <a:pt x="15" y="4"/>
                  </a:lnTo>
                  <a:lnTo>
                    <a:pt x="17" y="11"/>
                  </a:lnTo>
                  <a:lnTo>
                    <a:pt x="15" y="11"/>
                  </a:lnTo>
                  <a:lnTo>
                    <a:pt x="10" y="9"/>
                  </a:lnTo>
                  <a:lnTo>
                    <a:pt x="8" y="7"/>
                  </a:lnTo>
                  <a:lnTo>
                    <a:pt x="8" y="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" name="Freeform 1173"/>
            <p:cNvSpPr>
              <a:spLocks/>
            </p:cNvSpPr>
            <p:nvPr/>
          </p:nvSpPr>
          <p:spPr bwMode="auto">
            <a:xfrm>
              <a:off x="5148734" y="3271405"/>
              <a:ext cx="36349" cy="37147"/>
            </a:xfrm>
            <a:custGeom>
              <a:avLst/>
              <a:gdLst/>
              <a:ahLst/>
              <a:cxnLst>
                <a:cxn ang="0">
                  <a:pos x="7" y="7"/>
                </a:cxn>
                <a:cxn ang="0">
                  <a:pos x="2" y="7"/>
                </a:cxn>
                <a:cxn ang="0">
                  <a:pos x="0" y="0"/>
                </a:cxn>
                <a:cxn ang="0">
                  <a:pos x="2" y="5"/>
                </a:cxn>
                <a:cxn ang="0">
                  <a:pos x="4" y="7"/>
                </a:cxn>
                <a:cxn ang="0">
                  <a:pos x="7" y="7"/>
                </a:cxn>
              </a:cxnLst>
              <a:rect l="0" t="0" r="r" b="b"/>
              <a:pathLst>
                <a:path w="7" h="7">
                  <a:moveTo>
                    <a:pt x="7" y="7"/>
                  </a:moveTo>
                  <a:lnTo>
                    <a:pt x="2" y="7"/>
                  </a:lnTo>
                  <a:lnTo>
                    <a:pt x="0" y="0"/>
                  </a:lnTo>
                  <a:lnTo>
                    <a:pt x="2" y="5"/>
                  </a:lnTo>
                  <a:lnTo>
                    <a:pt x="4" y="7"/>
                  </a:lnTo>
                  <a:lnTo>
                    <a:pt x="7" y="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" name="Freeform 1174"/>
            <p:cNvSpPr>
              <a:spLocks/>
            </p:cNvSpPr>
            <p:nvPr/>
          </p:nvSpPr>
          <p:spPr bwMode="auto">
            <a:xfrm>
              <a:off x="5148734" y="3223645"/>
              <a:ext cx="119432" cy="95520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17" y="5"/>
                </a:cxn>
                <a:cxn ang="0">
                  <a:pos x="23" y="7"/>
                </a:cxn>
                <a:cxn ang="0">
                  <a:pos x="21" y="9"/>
                </a:cxn>
                <a:cxn ang="0">
                  <a:pos x="21" y="16"/>
                </a:cxn>
                <a:cxn ang="0">
                  <a:pos x="17" y="16"/>
                </a:cxn>
                <a:cxn ang="0">
                  <a:pos x="21" y="18"/>
                </a:cxn>
                <a:cxn ang="0">
                  <a:pos x="15" y="16"/>
                </a:cxn>
                <a:cxn ang="0">
                  <a:pos x="15" y="14"/>
                </a:cxn>
                <a:cxn ang="0">
                  <a:pos x="9" y="16"/>
                </a:cxn>
                <a:cxn ang="0">
                  <a:pos x="7" y="9"/>
                </a:cxn>
                <a:cxn ang="0">
                  <a:pos x="2" y="9"/>
                </a:cxn>
                <a:cxn ang="0">
                  <a:pos x="2" y="7"/>
                </a:cxn>
                <a:cxn ang="0">
                  <a:pos x="0" y="5"/>
                </a:cxn>
                <a:cxn ang="0">
                  <a:pos x="0" y="0"/>
                </a:cxn>
                <a:cxn ang="0">
                  <a:pos x="7" y="0"/>
                </a:cxn>
                <a:cxn ang="0">
                  <a:pos x="9" y="5"/>
                </a:cxn>
                <a:cxn ang="0">
                  <a:pos x="11" y="5"/>
                </a:cxn>
                <a:cxn ang="0">
                  <a:pos x="13" y="3"/>
                </a:cxn>
                <a:cxn ang="0">
                  <a:pos x="15" y="0"/>
                </a:cxn>
              </a:cxnLst>
              <a:rect l="0" t="0" r="r" b="b"/>
              <a:pathLst>
                <a:path w="23" h="18">
                  <a:moveTo>
                    <a:pt x="15" y="0"/>
                  </a:moveTo>
                  <a:lnTo>
                    <a:pt x="17" y="5"/>
                  </a:lnTo>
                  <a:lnTo>
                    <a:pt x="23" y="7"/>
                  </a:lnTo>
                  <a:lnTo>
                    <a:pt x="21" y="9"/>
                  </a:lnTo>
                  <a:lnTo>
                    <a:pt x="21" y="16"/>
                  </a:lnTo>
                  <a:lnTo>
                    <a:pt x="17" y="16"/>
                  </a:lnTo>
                  <a:lnTo>
                    <a:pt x="21" y="18"/>
                  </a:lnTo>
                  <a:lnTo>
                    <a:pt x="15" y="16"/>
                  </a:lnTo>
                  <a:lnTo>
                    <a:pt x="15" y="14"/>
                  </a:lnTo>
                  <a:lnTo>
                    <a:pt x="9" y="16"/>
                  </a:lnTo>
                  <a:lnTo>
                    <a:pt x="7" y="9"/>
                  </a:lnTo>
                  <a:lnTo>
                    <a:pt x="2" y="9"/>
                  </a:lnTo>
                  <a:lnTo>
                    <a:pt x="2" y="7"/>
                  </a:lnTo>
                  <a:lnTo>
                    <a:pt x="0" y="5"/>
                  </a:lnTo>
                  <a:lnTo>
                    <a:pt x="0" y="0"/>
                  </a:lnTo>
                  <a:lnTo>
                    <a:pt x="7" y="0"/>
                  </a:lnTo>
                  <a:lnTo>
                    <a:pt x="9" y="5"/>
                  </a:lnTo>
                  <a:lnTo>
                    <a:pt x="11" y="5"/>
                  </a:lnTo>
                  <a:lnTo>
                    <a:pt x="13" y="3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" name="Freeform 1175"/>
            <p:cNvSpPr>
              <a:spLocks/>
            </p:cNvSpPr>
            <p:nvPr/>
          </p:nvSpPr>
          <p:spPr bwMode="auto">
            <a:xfrm>
              <a:off x="4696970" y="2247217"/>
              <a:ext cx="3001372" cy="1002961"/>
            </a:xfrm>
            <a:custGeom>
              <a:avLst/>
              <a:gdLst/>
              <a:ahLst/>
              <a:cxnLst>
                <a:cxn ang="0">
                  <a:pos x="158" y="38"/>
                </a:cxn>
                <a:cxn ang="0">
                  <a:pos x="156" y="38"/>
                </a:cxn>
                <a:cxn ang="0">
                  <a:pos x="135" y="18"/>
                </a:cxn>
                <a:cxn ang="0">
                  <a:pos x="137" y="43"/>
                </a:cxn>
                <a:cxn ang="0">
                  <a:pos x="108" y="43"/>
                </a:cxn>
                <a:cxn ang="0">
                  <a:pos x="71" y="47"/>
                </a:cxn>
                <a:cxn ang="0">
                  <a:pos x="56" y="43"/>
                </a:cxn>
                <a:cxn ang="0">
                  <a:pos x="48" y="61"/>
                </a:cxn>
                <a:cxn ang="0">
                  <a:pos x="25" y="61"/>
                </a:cxn>
                <a:cxn ang="0">
                  <a:pos x="29" y="38"/>
                </a:cxn>
                <a:cxn ang="0">
                  <a:pos x="6" y="45"/>
                </a:cxn>
                <a:cxn ang="0">
                  <a:pos x="14" y="70"/>
                </a:cxn>
                <a:cxn ang="0">
                  <a:pos x="0" y="90"/>
                </a:cxn>
                <a:cxn ang="0">
                  <a:pos x="23" y="117"/>
                </a:cxn>
                <a:cxn ang="0">
                  <a:pos x="33" y="128"/>
                </a:cxn>
                <a:cxn ang="0">
                  <a:pos x="58" y="139"/>
                </a:cxn>
                <a:cxn ang="0">
                  <a:pos x="54" y="155"/>
                </a:cxn>
                <a:cxn ang="0">
                  <a:pos x="48" y="166"/>
                </a:cxn>
                <a:cxn ang="0">
                  <a:pos x="94" y="184"/>
                </a:cxn>
                <a:cxn ang="0">
                  <a:pos x="89" y="166"/>
                </a:cxn>
                <a:cxn ang="0">
                  <a:pos x="89" y="148"/>
                </a:cxn>
                <a:cxn ang="0">
                  <a:pos x="96" y="133"/>
                </a:cxn>
                <a:cxn ang="0">
                  <a:pos x="119" y="133"/>
                </a:cxn>
                <a:cxn ang="0">
                  <a:pos x="148" y="130"/>
                </a:cxn>
                <a:cxn ang="0">
                  <a:pos x="137" y="117"/>
                </a:cxn>
                <a:cxn ang="0">
                  <a:pos x="175" y="108"/>
                </a:cxn>
                <a:cxn ang="0">
                  <a:pos x="192" y="117"/>
                </a:cxn>
                <a:cxn ang="0">
                  <a:pos x="227" y="133"/>
                </a:cxn>
                <a:cxn ang="0">
                  <a:pos x="254" y="146"/>
                </a:cxn>
                <a:cxn ang="0">
                  <a:pos x="296" y="133"/>
                </a:cxn>
                <a:cxn ang="0">
                  <a:pos x="348" y="142"/>
                </a:cxn>
                <a:cxn ang="0">
                  <a:pos x="382" y="130"/>
                </a:cxn>
                <a:cxn ang="0">
                  <a:pos x="413" y="133"/>
                </a:cxn>
                <a:cxn ang="0">
                  <a:pos x="452" y="146"/>
                </a:cxn>
                <a:cxn ang="0">
                  <a:pos x="455" y="175"/>
                </a:cxn>
                <a:cxn ang="0">
                  <a:pos x="475" y="164"/>
                </a:cxn>
                <a:cxn ang="0">
                  <a:pos x="444" y="117"/>
                </a:cxn>
                <a:cxn ang="0">
                  <a:pos x="436" y="106"/>
                </a:cxn>
                <a:cxn ang="0">
                  <a:pos x="475" y="90"/>
                </a:cxn>
                <a:cxn ang="0">
                  <a:pos x="494" y="79"/>
                </a:cxn>
                <a:cxn ang="0">
                  <a:pos x="513" y="79"/>
                </a:cxn>
                <a:cxn ang="0">
                  <a:pos x="509" y="108"/>
                </a:cxn>
                <a:cxn ang="0">
                  <a:pos x="538" y="112"/>
                </a:cxn>
                <a:cxn ang="0">
                  <a:pos x="521" y="94"/>
                </a:cxn>
                <a:cxn ang="0">
                  <a:pos x="530" y="81"/>
                </a:cxn>
                <a:cxn ang="0">
                  <a:pos x="561" y="72"/>
                </a:cxn>
                <a:cxn ang="0">
                  <a:pos x="540" y="54"/>
                </a:cxn>
                <a:cxn ang="0">
                  <a:pos x="578" y="54"/>
                </a:cxn>
                <a:cxn ang="0">
                  <a:pos x="482" y="31"/>
                </a:cxn>
                <a:cxn ang="0">
                  <a:pos x="475" y="31"/>
                </a:cxn>
                <a:cxn ang="0">
                  <a:pos x="398" y="22"/>
                </a:cxn>
                <a:cxn ang="0">
                  <a:pos x="342" y="22"/>
                </a:cxn>
                <a:cxn ang="0">
                  <a:pos x="302" y="13"/>
                </a:cxn>
                <a:cxn ang="0">
                  <a:pos x="269" y="11"/>
                </a:cxn>
                <a:cxn ang="0">
                  <a:pos x="267" y="9"/>
                </a:cxn>
                <a:cxn ang="0">
                  <a:pos x="217" y="2"/>
                </a:cxn>
                <a:cxn ang="0">
                  <a:pos x="167" y="18"/>
                </a:cxn>
                <a:cxn ang="0">
                  <a:pos x="167" y="29"/>
                </a:cxn>
              </a:cxnLst>
              <a:rect l="0" t="0" r="r" b="b"/>
              <a:pathLst>
                <a:path w="578" h="189">
                  <a:moveTo>
                    <a:pt x="152" y="20"/>
                  </a:moveTo>
                  <a:lnTo>
                    <a:pt x="148" y="27"/>
                  </a:lnTo>
                  <a:lnTo>
                    <a:pt x="152" y="29"/>
                  </a:lnTo>
                  <a:lnTo>
                    <a:pt x="152" y="36"/>
                  </a:lnTo>
                  <a:lnTo>
                    <a:pt x="156" y="38"/>
                  </a:lnTo>
                  <a:lnTo>
                    <a:pt x="158" y="38"/>
                  </a:lnTo>
                  <a:lnTo>
                    <a:pt x="164" y="45"/>
                  </a:lnTo>
                  <a:lnTo>
                    <a:pt x="160" y="47"/>
                  </a:lnTo>
                  <a:lnTo>
                    <a:pt x="156" y="52"/>
                  </a:lnTo>
                  <a:lnTo>
                    <a:pt x="150" y="47"/>
                  </a:lnTo>
                  <a:lnTo>
                    <a:pt x="156" y="45"/>
                  </a:lnTo>
                  <a:lnTo>
                    <a:pt x="156" y="38"/>
                  </a:lnTo>
                  <a:lnTo>
                    <a:pt x="152" y="38"/>
                  </a:lnTo>
                  <a:lnTo>
                    <a:pt x="148" y="27"/>
                  </a:lnTo>
                  <a:lnTo>
                    <a:pt x="144" y="27"/>
                  </a:lnTo>
                  <a:lnTo>
                    <a:pt x="144" y="20"/>
                  </a:lnTo>
                  <a:lnTo>
                    <a:pt x="137" y="18"/>
                  </a:lnTo>
                  <a:lnTo>
                    <a:pt x="135" y="18"/>
                  </a:lnTo>
                  <a:lnTo>
                    <a:pt x="133" y="18"/>
                  </a:lnTo>
                  <a:lnTo>
                    <a:pt x="127" y="27"/>
                  </a:lnTo>
                  <a:lnTo>
                    <a:pt x="129" y="29"/>
                  </a:lnTo>
                  <a:lnTo>
                    <a:pt x="129" y="36"/>
                  </a:lnTo>
                  <a:lnTo>
                    <a:pt x="142" y="38"/>
                  </a:lnTo>
                  <a:lnTo>
                    <a:pt x="137" y="43"/>
                  </a:lnTo>
                  <a:lnTo>
                    <a:pt x="102" y="29"/>
                  </a:lnTo>
                  <a:lnTo>
                    <a:pt x="102" y="31"/>
                  </a:lnTo>
                  <a:lnTo>
                    <a:pt x="112" y="38"/>
                  </a:lnTo>
                  <a:lnTo>
                    <a:pt x="108" y="38"/>
                  </a:lnTo>
                  <a:lnTo>
                    <a:pt x="110" y="43"/>
                  </a:lnTo>
                  <a:lnTo>
                    <a:pt x="108" y="43"/>
                  </a:lnTo>
                  <a:lnTo>
                    <a:pt x="104" y="38"/>
                  </a:lnTo>
                  <a:lnTo>
                    <a:pt x="94" y="38"/>
                  </a:lnTo>
                  <a:lnTo>
                    <a:pt x="94" y="43"/>
                  </a:lnTo>
                  <a:lnTo>
                    <a:pt x="87" y="38"/>
                  </a:lnTo>
                  <a:lnTo>
                    <a:pt x="71" y="45"/>
                  </a:lnTo>
                  <a:lnTo>
                    <a:pt x="71" y="47"/>
                  </a:lnTo>
                  <a:lnTo>
                    <a:pt x="68" y="47"/>
                  </a:lnTo>
                  <a:lnTo>
                    <a:pt x="58" y="45"/>
                  </a:lnTo>
                  <a:lnTo>
                    <a:pt x="64" y="45"/>
                  </a:lnTo>
                  <a:lnTo>
                    <a:pt x="62" y="43"/>
                  </a:lnTo>
                  <a:lnTo>
                    <a:pt x="50" y="38"/>
                  </a:lnTo>
                  <a:lnTo>
                    <a:pt x="56" y="43"/>
                  </a:lnTo>
                  <a:lnTo>
                    <a:pt x="56" y="47"/>
                  </a:lnTo>
                  <a:lnTo>
                    <a:pt x="58" y="52"/>
                  </a:lnTo>
                  <a:lnTo>
                    <a:pt x="56" y="52"/>
                  </a:lnTo>
                  <a:lnTo>
                    <a:pt x="50" y="52"/>
                  </a:lnTo>
                  <a:lnTo>
                    <a:pt x="41" y="54"/>
                  </a:lnTo>
                  <a:lnTo>
                    <a:pt x="48" y="61"/>
                  </a:lnTo>
                  <a:lnTo>
                    <a:pt x="33" y="56"/>
                  </a:lnTo>
                  <a:lnTo>
                    <a:pt x="31" y="56"/>
                  </a:lnTo>
                  <a:lnTo>
                    <a:pt x="37" y="61"/>
                  </a:lnTo>
                  <a:lnTo>
                    <a:pt x="39" y="63"/>
                  </a:lnTo>
                  <a:lnTo>
                    <a:pt x="33" y="63"/>
                  </a:lnTo>
                  <a:lnTo>
                    <a:pt x="25" y="61"/>
                  </a:lnTo>
                  <a:lnTo>
                    <a:pt x="25" y="54"/>
                  </a:lnTo>
                  <a:lnTo>
                    <a:pt x="14" y="47"/>
                  </a:lnTo>
                  <a:lnTo>
                    <a:pt x="37" y="52"/>
                  </a:lnTo>
                  <a:lnTo>
                    <a:pt x="48" y="47"/>
                  </a:lnTo>
                  <a:lnTo>
                    <a:pt x="46" y="45"/>
                  </a:lnTo>
                  <a:lnTo>
                    <a:pt x="29" y="38"/>
                  </a:lnTo>
                  <a:lnTo>
                    <a:pt x="14" y="31"/>
                  </a:lnTo>
                  <a:lnTo>
                    <a:pt x="8" y="36"/>
                  </a:lnTo>
                  <a:lnTo>
                    <a:pt x="2" y="38"/>
                  </a:lnTo>
                  <a:lnTo>
                    <a:pt x="0" y="38"/>
                  </a:lnTo>
                  <a:lnTo>
                    <a:pt x="0" y="43"/>
                  </a:lnTo>
                  <a:lnTo>
                    <a:pt x="6" y="45"/>
                  </a:lnTo>
                  <a:lnTo>
                    <a:pt x="6" y="47"/>
                  </a:lnTo>
                  <a:lnTo>
                    <a:pt x="8" y="54"/>
                  </a:lnTo>
                  <a:lnTo>
                    <a:pt x="8" y="56"/>
                  </a:lnTo>
                  <a:lnTo>
                    <a:pt x="10" y="61"/>
                  </a:lnTo>
                  <a:lnTo>
                    <a:pt x="10" y="63"/>
                  </a:lnTo>
                  <a:lnTo>
                    <a:pt x="14" y="70"/>
                  </a:lnTo>
                  <a:lnTo>
                    <a:pt x="2" y="81"/>
                  </a:lnTo>
                  <a:lnTo>
                    <a:pt x="6" y="81"/>
                  </a:lnTo>
                  <a:lnTo>
                    <a:pt x="8" y="85"/>
                  </a:lnTo>
                  <a:lnTo>
                    <a:pt x="6" y="88"/>
                  </a:lnTo>
                  <a:lnTo>
                    <a:pt x="2" y="88"/>
                  </a:lnTo>
                  <a:lnTo>
                    <a:pt x="0" y="90"/>
                  </a:lnTo>
                  <a:lnTo>
                    <a:pt x="2" y="94"/>
                  </a:lnTo>
                  <a:lnTo>
                    <a:pt x="2" y="97"/>
                  </a:lnTo>
                  <a:lnTo>
                    <a:pt x="8" y="103"/>
                  </a:lnTo>
                  <a:lnTo>
                    <a:pt x="16" y="106"/>
                  </a:lnTo>
                  <a:lnTo>
                    <a:pt x="18" y="112"/>
                  </a:lnTo>
                  <a:lnTo>
                    <a:pt x="23" y="117"/>
                  </a:lnTo>
                  <a:lnTo>
                    <a:pt x="25" y="117"/>
                  </a:lnTo>
                  <a:lnTo>
                    <a:pt x="25" y="121"/>
                  </a:lnTo>
                  <a:lnTo>
                    <a:pt x="18" y="121"/>
                  </a:lnTo>
                  <a:lnTo>
                    <a:pt x="23" y="128"/>
                  </a:lnTo>
                  <a:lnTo>
                    <a:pt x="31" y="124"/>
                  </a:lnTo>
                  <a:lnTo>
                    <a:pt x="33" y="128"/>
                  </a:lnTo>
                  <a:lnTo>
                    <a:pt x="33" y="130"/>
                  </a:lnTo>
                  <a:lnTo>
                    <a:pt x="37" y="130"/>
                  </a:lnTo>
                  <a:lnTo>
                    <a:pt x="39" y="137"/>
                  </a:lnTo>
                  <a:lnTo>
                    <a:pt x="48" y="137"/>
                  </a:lnTo>
                  <a:lnTo>
                    <a:pt x="50" y="139"/>
                  </a:lnTo>
                  <a:lnTo>
                    <a:pt x="58" y="139"/>
                  </a:lnTo>
                  <a:lnTo>
                    <a:pt x="58" y="142"/>
                  </a:lnTo>
                  <a:lnTo>
                    <a:pt x="58" y="146"/>
                  </a:lnTo>
                  <a:lnTo>
                    <a:pt x="58" y="151"/>
                  </a:lnTo>
                  <a:lnTo>
                    <a:pt x="56" y="148"/>
                  </a:lnTo>
                  <a:lnTo>
                    <a:pt x="54" y="151"/>
                  </a:lnTo>
                  <a:lnTo>
                    <a:pt x="54" y="155"/>
                  </a:lnTo>
                  <a:lnTo>
                    <a:pt x="58" y="155"/>
                  </a:lnTo>
                  <a:lnTo>
                    <a:pt x="50" y="157"/>
                  </a:lnTo>
                  <a:lnTo>
                    <a:pt x="54" y="157"/>
                  </a:lnTo>
                  <a:lnTo>
                    <a:pt x="50" y="164"/>
                  </a:lnTo>
                  <a:lnTo>
                    <a:pt x="48" y="164"/>
                  </a:lnTo>
                  <a:lnTo>
                    <a:pt x="48" y="166"/>
                  </a:lnTo>
                  <a:lnTo>
                    <a:pt x="50" y="166"/>
                  </a:lnTo>
                  <a:lnTo>
                    <a:pt x="64" y="175"/>
                  </a:lnTo>
                  <a:lnTo>
                    <a:pt x="77" y="175"/>
                  </a:lnTo>
                  <a:lnTo>
                    <a:pt x="81" y="180"/>
                  </a:lnTo>
                  <a:lnTo>
                    <a:pt x="87" y="180"/>
                  </a:lnTo>
                  <a:lnTo>
                    <a:pt x="94" y="184"/>
                  </a:lnTo>
                  <a:lnTo>
                    <a:pt x="96" y="189"/>
                  </a:lnTo>
                  <a:lnTo>
                    <a:pt x="98" y="189"/>
                  </a:lnTo>
                  <a:lnTo>
                    <a:pt x="102" y="184"/>
                  </a:lnTo>
                  <a:lnTo>
                    <a:pt x="96" y="180"/>
                  </a:lnTo>
                  <a:lnTo>
                    <a:pt x="96" y="173"/>
                  </a:lnTo>
                  <a:lnTo>
                    <a:pt x="89" y="166"/>
                  </a:lnTo>
                  <a:lnTo>
                    <a:pt x="94" y="160"/>
                  </a:lnTo>
                  <a:lnTo>
                    <a:pt x="96" y="160"/>
                  </a:lnTo>
                  <a:lnTo>
                    <a:pt x="98" y="157"/>
                  </a:lnTo>
                  <a:lnTo>
                    <a:pt x="96" y="151"/>
                  </a:lnTo>
                  <a:lnTo>
                    <a:pt x="89" y="151"/>
                  </a:lnTo>
                  <a:lnTo>
                    <a:pt x="89" y="148"/>
                  </a:lnTo>
                  <a:lnTo>
                    <a:pt x="87" y="146"/>
                  </a:lnTo>
                  <a:lnTo>
                    <a:pt x="89" y="137"/>
                  </a:lnTo>
                  <a:lnTo>
                    <a:pt x="94" y="139"/>
                  </a:lnTo>
                  <a:lnTo>
                    <a:pt x="96" y="139"/>
                  </a:lnTo>
                  <a:lnTo>
                    <a:pt x="94" y="133"/>
                  </a:lnTo>
                  <a:lnTo>
                    <a:pt x="96" y="133"/>
                  </a:lnTo>
                  <a:lnTo>
                    <a:pt x="102" y="130"/>
                  </a:lnTo>
                  <a:lnTo>
                    <a:pt x="104" y="130"/>
                  </a:lnTo>
                  <a:lnTo>
                    <a:pt x="108" y="128"/>
                  </a:lnTo>
                  <a:lnTo>
                    <a:pt x="112" y="130"/>
                  </a:lnTo>
                  <a:lnTo>
                    <a:pt x="119" y="137"/>
                  </a:lnTo>
                  <a:lnTo>
                    <a:pt x="119" y="133"/>
                  </a:lnTo>
                  <a:lnTo>
                    <a:pt x="121" y="133"/>
                  </a:lnTo>
                  <a:lnTo>
                    <a:pt x="127" y="133"/>
                  </a:lnTo>
                  <a:lnTo>
                    <a:pt x="133" y="133"/>
                  </a:lnTo>
                  <a:lnTo>
                    <a:pt x="137" y="133"/>
                  </a:lnTo>
                  <a:lnTo>
                    <a:pt x="144" y="133"/>
                  </a:lnTo>
                  <a:lnTo>
                    <a:pt x="148" y="130"/>
                  </a:lnTo>
                  <a:lnTo>
                    <a:pt x="137" y="128"/>
                  </a:lnTo>
                  <a:lnTo>
                    <a:pt x="142" y="124"/>
                  </a:lnTo>
                  <a:lnTo>
                    <a:pt x="137" y="124"/>
                  </a:lnTo>
                  <a:lnTo>
                    <a:pt x="142" y="121"/>
                  </a:lnTo>
                  <a:lnTo>
                    <a:pt x="142" y="117"/>
                  </a:lnTo>
                  <a:lnTo>
                    <a:pt x="137" y="117"/>
                  </a:lnTo>
                  <a:lnTo>
                    <a:pt x="137" y="115"/>
                  </a:lnTo>
                  <a:lnTo>
                    <a:pt x="144" y="115"/>
                  </a:lnTo>
                  <a:lnTo>
                    <a:pt x="158" y="112"/>
                  </a:lnTo>
                  <a:lnTo>
                    <a:pt x="167" y="112"/>
                  </a:lnTo>
                  <a:lnTo>
                    <a:pt x="167" y="108"/>
                  </a:lnTo>
                  <a:lnTo>
                    <a:pt x="175" y="108"/>
                  </a:lnTo>
                  <a:lnTo>
                    <a:pt x="177" y="112"/>
                  </a:lnTo>
                  <a:lnTo>
                    <a:pt x="177" y="115"/>
                  </a:lnTo>
                  <a:lnTo>
                    <a:pt x="183" y="115"/>
                  </a:lnTo>
                  <a:lnTo>
                    <a:pt x="190" y="115"/>
                  </a:lnTo>
                  <a:lnTo>
                    <a:pt x="190" y="117"/>
                  </a:lnTo>
                  <a:lnTo>
                    <a:pt x="192" y="117"/>
                  </a:lnTo>
                  <a:lnTo>
                    <a:pt x="198" y="115"/>
                  </a:lnTo>
                  <a:lnTo>
                    <a:pt x="200" y="115"/>
                  </a:lnTo>
                  <a:lnTo>
                    <a:pt x="208" y="121"/>
                  </a:lnTo>
                  <a:lnTo>
                    <a:pt x="221" y="133"/>
                  </a:lnTo>
                  <a:lnTo>
                    <a:pt x="223" y="130"/>
                  </a:lnTo>
                  <a:lnTo>
                    <a:pt x="227" y="133"/>
                  </a:lnTo>
                  <a:lnTo>
                    <a:pt x="235" y="133"/>
                  </a:lnTo>
                  <a:lnTo>
                    <a:pt x="246" y="139"/>
                  </a:lnTo>
                  <a:lnTo>
                    <a:pt x="248" y="142"/>
                  </a:lnTo>
                  <a:lnTo>
                    <a:pt x="252" y="139"/>
                  </a:lnTo>
                  <a:lnTo>
                    <a:pt x="254" y="142"/>
                  </a:lnTo>
                  <a:lnTo>
                    <a:pt x="254" y="146"/>
                  </a:lnTo>
                  <a:lnTo>
                    <a:pt x="256" y="142"/>
                  </a:lnTo>
                  <a:lnTo>
                    <a:pt x="271" y="133"/>
                  </a:lnTo>
                  <a:lnTo>
                    <a:pt x="279" y="137"/>
                  </a:lnTo>
                  <a:lnTo>
                    <a:pt x="286" y="139"/>
                  </a:lnTo>
                  <a:lnTo>
                    <a:pt x="296" y="139"/>
                  </a:lnTo>
                  <a:lnTo>
                    <a:pt x="296" y="133"/>
                  </a:lnTo>
                  <a:lnTo>
                    <a:pt x="294" y="130"/>
                  </a:lnTo>
                  <a:lnTo>
                    <a:pt x="296" y="128"/>
                  </a:lnTo>
                  <a:lnTo>
                    <a:pt x="308" y="130"/>
                  </a:lnTo>
                  <a:lnTo>
                    <a:pt x="317" y="137"/>
                  </a:lnTo>
                  <a:lnTo>
                    <a:pt x="327" y="137"/>
                  </a:lnTo>
                  <a:lnTo>
                    <a:pt x="348" y="142"/>
                  </a:lnTo>
                  <a:lnTo>
                    <a:pt x="359" y="139"/>
                  </a:lnTo>
                  <a:lnTo>
                    <a:pt x="365" y="137"/>
                  </a:lnTo>
                  <a:lnTo>
                    <a:pt x="373" y="139"/>
                  </a:lnTo>
                  <a:lnTo>
                    <a:pt x="379" y="139"/>
                  </a:lnTo>
                  <a:lnTo>
                    <a:pt x="384" y="137"/>
                  </a:lnTo>
                  <a:lnTo>
                    <a:pt x="382" y="130"/>
                  </a:lnTo>
                  <a:lnTo>
                    <a:pt x="384" y="128"/>
                  </a:lnTo>
                  <a:lnTo>
                    <a:pt x="379" y="124"/>
                  </a:lnTo>
                  <a:lnTo>
                    <a:pt x="382" y="121"/>
                  </a:lnTo>
                  <a:lnTo>
                    <a:pt x="390" y="117"/>
                  </a:lnTo>
                  <a:lnTo>
                    <a:pt x="402" y="121"/>
                  </a:lnTo>
                  <a:lnTo>
                    <a:pt x="413" y="133"/>
                  </a:lnTo>
                  <a:lnTo>
                    <a:pt x="419" y="139"/>
                  </a:lnTo>
                  <a:lnTo>
                    <a:pt x="427" y="142"/>
                  </a:lnTo>
                  <a:lnTo>
                    <a:pt x="436" y="146"/>
                  </a:lnTo>
                  <a:lnTo>
                    <a:pt x="442" y="151"/>
                  </a:lnTo>
                  <a:lnTo>
                    <a:pt x="444" y="151"/>
                  </a:lnTo>
                  <a:lnTo>
                    <a:pt x="452" y="146"/>
                  </a:lnTo>
                  <a:lnTo>
                    <a:pt x="455" y="151"/>
                  </a:lnTo>
                  <a:lnTo>
                    <a:pt x="455" y="155"/>
                  </a:lnTo>
                  <a:lnTo>
                    <a:pt x="459" y="166"/>
                  </a:lnTo>
                  <a:lnTo>
                    <a:pt x="452" y="164"/>
                  </a:lnTo>
                  <a:lnTo>
                    <a:pt x="450" y="166"/>
                  </a:lnTo>
                  <a:lnTo>
                    <a:pt x="455" y="175"/>
                  </a:lnTo>
                  <a:lnTo>
                    <a:pt x="455" y="180"/>
                  </a:lnTo>
                  <a:lnTo>
                    <a:pt x="459" y="175"/>
                  </a:lnTo>
                  <a:lnTo>
                    <a:pt x="463" y="180"/>
                  </a:lnTo>
                  <a:lnTo>
                    <a:pt x="469" y="175"/>
                  </a:lnTo>
                  <a:lnTo>
                    <a:pt x="469" y="169"/>
                  </a:lnTo>
                  <a:lnTo>
                    <a:pt x="475" y="164"/>
                  </a:lnTo>
                  <a:lnTo>
                    <a:pt x="475" y="146"/>
                  </a:lnTo>
                  <a:lnTo>
                    <a:pt x="467" y="133"/>
                  </a:lnTo>
                  <a:lnTo>
                    <a:pt x="461" y="121"/>
                  </a:lnTo>
                  <a:lnTo>
                    <a:pt x="450" y="115"/>
                  </a:lnTo>
                  <a:lnTo>
                    <a:pt x="446" y="117"/>
                  </a:lnTo>
                  <a:lnTo>
                    <a:pt x="444" y="117"/>
                  </a:lnTo>
                  <a:lnTo>
                    <a:pt x="444" y="115"/>
                  </a:lnTo>
                  <a:lnTo>
                    <a:pt x="442" y="115"/>
                  </a:lnTo>
                  <a:lnTo>
                    <a:pt x="442" y="117"/>
                  </a:lnTo>
                  <a:lnTo>
                    <a:pt x="438" y="112"/>
                  </a:lnTo>
                  <a:lnTo>
                    <a:pt x="430" y="112"/>
                  </a:lnTo>
                  <a:lnTo>
                    <a:pt x="436" y="106"/>
                  </a:lnTo>
                  <a:lnTo>
                    <a:pt x="438" y="88"/>
                  </a:lnTo>
                  <a:lnTo>
                    <a:pt x="444" y="88"/>
                  </a:lnTo>
                  <a:lnTo>
                    <a:pt x="463" y="88"/>
                  </a:lnTo>
                  <a:lnTo>
                    <a:pt x="463" y="85"/>
                  </a:lnTo>
                  <a:lnTo>
                    <a:pt x="473" y="85"/>
                  </a:lnTo>
                  <a:lnTo>
                    <a:pt x="475" y="90"/>
                  </a:lnTo>
                  <a:lnTo>
                    <a:pt x="490" y="88"/>
                  </a:lnTo>
                  <a:lnTo>
                    <a:pt x="484" y="88"/>
                  </a:lnTo>
                  <a:lnTo>
                    <a:pt x="482" y="85"/>
                  </a:lnTo>
                  <a:lnTo>
                    <a:pt x="484" y="74"/>
                  </a:lnTo>
                  <a:lnTo>
                    <a:pt x="494" y="74"/>
                  </a:lnTo>
                  <a:lnTo>
                    <a:pt x="494" y="79"/>
                  </a:lnTo>
                  <a:lnTo>
                    <a:pt x="500" y="81"/>
                  </a:lnTo>
                  <a:lnTo>
                    <a:pt x="503" y="74"/>
                  </a:lnTo>
                  <a:lnTo>
                    <a:pt x="500" y="70"/>
                  </a:lnTo>
                  <a:lnTo>
                    <a:pt x="507" y="70"/>
                  </a:lnTo>
                  <a:lnTo>
                    <a:pt x="507" y="72"/>
                  </a:lnTo>
                  <a:lnTo>
                    <a:pt x="513" y="79"/>
                  </a:lnTo>
                  <a:lnTo>
                    <a:pt x="509" y="81"/>
                  </a:lnTo>
                  <a:lnTo>
                    <a:pt x="507" y="94"/>
                  </a:lnTo>
                  <a:lnTo>
                    <a:pt x="503" y="97"/>
                  </a:lnTo>
                  <a:lnTo>
                    <a:pt x="507" y="99"/>
                  </a:lnTo>
                  <a:lnTo>
                    <a:pt x="503" y="99"/>
                  </a:lnTo>
                  <a:lnTo>
                    <a:pt x="509" y="108"/>
                  </a:lnTo>
                  <a:lnTo>
                    <a:pt x="534" y="133"/>
                  </a:lnTo>
                  <a:lnTo>
                    <a:pt x="534" y="130"/>
                  </a:lnTo>
                  <a:lnTo>
                    <a:pt x="534" y="121"/>
                  </a:lnTo>
                  <a:lnTo>
                    <a:pt x="538" y="121"/>
                  </a:lnTo>
                  <a:lnTo>
                    <a:pt x="532" y="115"/>
                  </a:lnTo>
                  <a:lnTo>
                    <a:pt x="538" y="112"/>
                  </a:lnTo>
                  <a:lnTo>
                    <a:pt x="532" y="106"/>
                  </a:lnTo>
                  <a:lnTo>
                    <a:pt x="534" y="103"/>
                  </a:lnTo>
                  <a:lnTo>
                    <a:pt x="530" y="99"/>
                  </a:lnTo>
                  <a:lnTo>
                    <a:pt x="525" y="97"/>
                  </a:lnTo>
                  <a:lnTo>
                    <a:pt x="523" y="97"/>
                  </a:lnTo>
                  <a:lnTo>
                    <a:pt x="521" y="94"/>
                  </a:lnTo>
                  <a:lnTo>
                    <a:pt x="521" y="88"/>
                  </a:lnTo>
                  <a:lnTo>
                    <a:pt x="517" y="85"/>
                  </a:lnTo>
                  <a:lnTo>
                    <a:pt x="521" y="85"/>
                  </a:lnTo>
                  <a:lnTo>
                    <a:pt x="523" y="81"/>
                  </a:lnTo>
                  <a:lnTo>
                    <a:pt x="530" y="85"/>
                  </a:lnTo>
                  <a:lnTo>
                    <a:pt x="530" y="81"/>
                  </a:lnTo>
                  <a:lnTo>
                    <a:pt x="532" y="81"/>
                  </a:lnTo>
                  <a:lnTo>
                    <a:pt x="542" y="85"/>
                  </a:lnTo>
                  <a:lnTo>
                    <a:pt x="540" y="81"/>
                  </a:lnTo>
                  <a:lnTo>
                    <a:pt x="548" y="72"/>
                  </a:lnTo>
                  <a:lnTo>
                    <a:pt x="553" y="70"/>
                  </a:lnTo>
                  <a:lnTo>
                    <a:pt x="561" y="72"/>
                  </a:lnTo>
                  <a:lnTo>
                    <a:pt x="561" y="70"/>
                  </a:lnTo>
                  <a:lnTo>
                    <a:pt x="540" y="61"/>
                  </a:lnTo>
                  <a:lnTo>
                    <a:pt x="546" y="61"/>
                  </a:lnTo>
                  <a:lnTo>
                    <a:pt x="546" y="56"/>
                  </a:lnTo>
                  <a:lnTo>
                    <a:pt x="546" y="54"/>
                  </a:lnTo>
                  <a:lnTo>
                    <a:pt x="540" y="54"/>
                  </a:lnTo>
                  <a:lnTo>
                    <a:pt x="542" y="52"/>
                  </a:lnTo>
                  <a:lnTo>
                    <a:pt x="548" y="54"/>
                  </a:lnTo>
                  <a:lnTo>
                    <a:pt x="561" y="56"/>
                  </a:lnTo>
                  <a:lnTo>
                    <a:pt x="578" y="61"/>
                  </a:lnTo>
                  <a:lnTo>
                    <a:pt x="571" y="54"/>
                  </a:lnTo>
                  <a:lnTo>
                    <a:pt x="578" y="54"/>
                  </a:lnTo>
                  <a:lnTo>
                    <a:pt x="578" y="52"/>
                  </a:lnTo>
                  <a:lnTo>
                    <a:pt x="563" y="47"/>
                  </a:lnTo>
                  <a:lnTo>
                    <a:pt x="555" y="47"/>
                  </a:lnTo>
                  <a:lnTo>
                    <a:pt x="521" y="38"/>
                  </a:lnTo>
                  <a:lnTo>
                    <a:pt x="503" y="31"/>
                  </a:lnTo>
                  <a:lnTo>
                    <a:pt x="482" y="31"/>
                  </a:lnTo>
                  <a:lnTo>
                    <a:pt x="490" y="38"/>
                  </a:lnTo>
                  <a:lnTo>
                    <a:pt x="486" y="38"/>
                  </a:lnTo>
                  <a:lnTo>
                    <a:pt x="477" y="36"/>
                  </a:lnTo>
                  <a:lnTo>
                    <a:pt x="482" y="36"/>
                  </a:lnTo>
                  <a:lnTo>
                    <a:pt x="482" y="31"/>
                  </a:lnTo>
                  <a:lnTo>
                    <a:pt x="475" y="31"/>
                  </a:lnTo>
                  <a:lnTo>
                    <a:pt x="475" y="36"/>
                  </a:lnTo>
                  <a:lnTo>
                    <a:pt x="452" y="36"/>
                  </a:lnTo>
                  <a:lnTo>
                    <a:pt x="444" y="31"/>
                  </a:lnTo>
                  <a:lnTo>
                    <a:pt x="436" y="29"/>
                  </a:lnTo>
                  <a:lnTo>
                    <a:pt x="415" y="29"/>
                  </a:lnTo>
                  <a:lnTo>
                    <a:pt x="398" y="22"/>
                  </a:lnTo>
                  <a:lnTo>
                    <a:pt x="365" y="20"/>
                  </a:lnTo>
                  <a:lnTo>
                    <a:pt x="365" y="22"/>
                  </a:lnTo>
                  <a:lnTo>
                    <a:pt x="371" y="27"/>
                  </a:lnTo>
                  <a:lnTo>
                    <a:pt x="356" y="22"/>
                  </a:lnTo>
                  <a:lnTo>
                    <a:pt x="354" y="27"/>
                  </a:lnTo>
                  <a:lnTo>
                    <a:pt x="342" y="22"/>
                  </a:lnTo>
                  <a:lnTo>
                    <a:pt x="344" y="27"/>
                  </a:lnTo>
                  <a:lnTo>
                    <a:pt x="344" y="29"/>
                  </a:lnTo>
                  <a:lnTo>
                    <a:pt x="331" y="22"/>
                  </a:lnTo>
                  <a:lnTo>
                    <a:pt x="331" y="20"/>
                  </a:lnTo>
                  <a:lnTo>
                    <a:pt x="323" y="18"/>
                  </a:lnTo>
                  <a:lnTo>
                    <a:pt x="302" y="13"/>
                  </a:lnTo>
                  <a:lnTo>
                    <a:pt x="308" y="18"/>
                  </a:lnTo>
                  <a:lnTo>
                    <a:pt x="296" y="18"/>
                  </a:lnTo>
                  <a:lnTo>
                    <a:pt x="292" y="18"/>
                  </a:lnTo>
                  <a:lnTo>
                    <a:pt x="288" y="18"/>
                  </a:lnTo>
                  <a:lnTo>
                    <a:pt x="275" y="18"/>
                  </a:lnTo>
                  <a:lnTo>
                    <a:pt x="269" y="11"/>
                  </a:lnTo>
                  <a:lnTo>
                    <a:pt x="263" y="11"/>
                  </a:lnTo>
                  <a:lnTo>
                    <a:pt x="271" y="13"/>
                  </a:lnTo>
                  <a:lnTo>
                    <a:pt x="260" y="13"/>
                  </a:lnTo>
                  <a:lnTo>
                    <a:pt x="263" y="18"/>
                  </a:lnTo>
                  <a:lnTo>
                    <a:pt x="252" y="18"/>
                  </a:lnTo>
                  <a:lnTo>
                    <a:pt x="267" y="9"/>
                  </a:lnTo>
                  <a:lnTo>
                    <a:pt x="263" y="4"/>
                  </a:lnTo>
                  <a:lnTo>
                    <a:pt x="252" y="2"/>
                  </a:lnTo>
                  <a:lnTo>
                    <a:pt x="238" y="2"/>
                  </a:lnTo>
                  <a:lnTo>
                    <a:pt x="231" y="0"/>
                  </a:lnTo>
                  <a:lnTo>
                    <a:pt x="223" y="0"/>
                  </a:lnTo>
                  <a:lnTo>
                    <a:pt x="217" y="2"/>
                  </a:lnTo>
                  <a:lnTo>
                    <a:pt x="217" y="4"/>
                  </a:lnTo>
                  <a:lnTo>
                    <a:pt x="198" y="4"/>
                  </a:lnTo>
                  <a:lnTo>
                    <a:pt x="187" y="9"/>
                  </a:lnTo>
                  <a:lnTo>
                    <a:pt x="181" y="11"/>
                  </a:lnTo>
                  <a:lnTo>
                    <a:pt x="187" y="13"/>
                  </a:lnTo>
                  <a:lnTo>
                    <a:pt x="167" y="18"/>
                  </a:lnTo>
                  <a:lnTo>
                    <a:pt x="169" y="20"/>
                  </a:lnTo>
                  <a:lnTo>
                    <a:pt x="177" y="22"/>
                  </a:lnTo>
                  <a:lnTo>
                    <a:pt x="175" y="22"/>
                  </a:lnTo>
                  <a:lnTo>
                    <a:pt x="158" y="20"/>
                  </a:lnTo>
                  <a:lnTo>
                    <a:pt x="156" y="22"/>
                  </a:lnTo>
                  <a:lnTo>
                    <a:pt x="167" y="29"/>
                  </a:lnTo>
                  <a:lnTo>
                    <a:pt x="156" y="27"/>
                  </a:lnTo>
                  <a:lnTo>
                    <a:pt x="154" y="25"/>
                  </a:lnTo>
                  <a:lnTo>
                    <a:pt x="152" y="2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" name="Freeform 1176"/>
            <p:cNvSpPr>
              <a:spLocks/>
            </p:cNvSpPr>
            <p:nvPr/>
          </p:nvSpPr>
          <p:spPr bwMode="auto">
            <a:xfrm>
              <a:off x="5148734" y="2820338"/>
              <a:ext cx="867178" cy="429841"/>
            </a:xfrm>
            <a:custGeom>
              <a:avLst/>
              <a:gdLst/>
              <a:ahLst/>
              <a:cxnLst>
                <a:cxn ang="0">
                  <a:pos x="167" y="34"/>
                </a:cxn>
                <a:cxn ang="0">
                  <a:pos x="161" y="34"/>
                </a:cxn>
                <a:cxn ang="0">
                  <a:pos x="148" y="25"/>
                </a:cxn>
                <a:cxn ang="0">
                  <a:pos x="136" y="22"/>
                </a:cxn>
                <a:cxn ang="0">
                  <a:pos x="121" y="13"/>
                </a:cxn>
                <a:cxn ang="0">
                  <a:pos x="111" y="7"/>
                </a:cxn>
                <a:cxn ang="0">
                  <a:pos x="103" y="9"/>
                </a:cxn>
                <a:cxn ang="0">
                  <a:pos x="96" y="7"/>
                </a:cxn>
                <a:cxn ang="0">
                  <a:pos x="90" y="4"/>
                </a:cxn>
                <a:cxn ang="0">
                  <a:pos x="80" y="0"/>
                </a:cxn>
                <a:cxn ang="0">
                  <a:pos x="71" y="4"/>
                </a:cxn>
                <a:cxn ang="0">
                  <a:pos x="50" y="7"/>
                </a:cxn>
                <a:cxn ang="0">
                  <a:pos x="55" y="9"/>
                </a:cxn>
                <a:cxn ang="0">
                  <a:pos x="50" y="16"/>
                </a:cxn>
                <a:cxn ang="0">
                  <a:pos x="50" y="20"/>
                </a:cxn>
                <a:cxn ang="0">
                  <a:pos x="57" y="25"/>
                </a:cxn>
                <a:cxn ang="0">
                  <a:pos x="46" y="25"/>
                </a:cxn>
                <a:cxn ang="0">
                  <a:pos x="34" y="25"/>
                </a:cxn>
                <a:cxn ang="0">
                  <a:pos x="32" y="29"/>
                </a:cxn>
                <a:cxn ang="0">
                  <a:pos x="21" y="20"/>
                </a:cxn>
                <a:cxn ang="0">
                  <a:pos x="15" y="22"/>
                </a:cxn>
                <a:cxn ang="0">
                  <a:pos x="7" y="25"/>
                </a:cxn>
                <a:cxn ang="0">
                  <a:pos x="7" y="31"/>
                </a:cxn>
                <a:cxn ang="0">
                  <a:pos x="0" y="38"/>
                </a:cxn>
                <a:cxn ang="0">
                  <a:pos x="2" y="43"/>
                </a:cxn>
                <a:cxn ang="0">
                  <a:pos x="11" y="49"/>
                </a:cxn>
                <a:cxn ang="0">
                  <a:pos x="25" y="47"/>
                </a:cxn>
                <a:cxn ang="0">
                  <a:pos x="38" y="56"/>
                </a:cxn>
                <a:cxn ang="0">
                  <a:pos x="23" y="58"/>
                </a:cxn>
                <a:cxn ang="0">
                  <a:pos x="23" y="61"/>
                </a:cxn>
                <a:cxn ang="0">
                  <a:pos x="32" y="72"/>
                </a:cxn>
                <a:cxn ang="0">
                  <a:pos x="32" y="76"/>
                </a:cxn>
                <a:cxn ang="0">
                  <a:pos x="38" y="74"/>
                </a:cxn>
                <a:cxn ang="0">
                  <a:pos x="48" y="81"/>
                </a:cxn>
                <a:cxn ang="0">
                  <a:pos x="55" y="56"/>
                </a:cxn>
                <a:cxn ang="0">
                  <a:pos x="82" y="65"/>
                </a:cxn>
                <a:cxn ang="0">
                  <a:pos x="90" y="76"/>
                </a:cxn>
                <a:cxn ang="0">
                  <a:pos x="94" y="81"/>
                </a:cxn>
                <a:cxn ang="0">
                  <a:pos x="109" y="76"/>
                </a:cxn>
                <a:cxn ang="0">
                  <a:pos x="111" y="72"/>
                </a:cxn>
                <a:cxn ang="0">
                  <a:pos x="121" y="72"/>
                </a:cxn>
                <a:cxn ang="0">
                  <a:pos x="128" y="72"/>
                </a:cxn>
                <a:cxn ang="0">
                  <a:pos x="151" y="74"/>
                </a:cxn>
                <a:cxn ang="0">
                  <a:pos x="148" y="58"/>
                </a:cxn>
                <a:cxn ang="0">
                  <a:pos x="153" y="47"/>
                </a:cxn>
                <a:cxn ang="0">
                  <a:pos x="165" y="47"/>
                </a:cxn>
                <a:cxn ang="0">
                  <a:pos x="167" y="38"/>
                </a:cxn>
              </a:cxnLst>
              <a:rect l="0" t="0" r="r" b="b"/>
              <a:pathLst>
                <a:path w="167" h="81">
                  <a:moveTo>
                    <a:pt x="167" y="38"/>
                  </a:moveTo>
                  <a:lnTo>
                    <a:pt x="167" y="34"/>
                  </a:lnTo>
                  <a:lnTo>
                    <a:pt x="165" y="31"/>
                  </a:lnTo>
                  <a:lnTo>
                    <a:pt x="161" y="34"/>
                  </a:lnTo>
                  <a:lnTo>
                    <a:pt x="159" y="31"/>
                  </a:lnTo>
                  <a:lnTo>
                    <a:pt x="148" y="25"/>
                  </a:lnTo>
                  <a:lnTo>
                    <a:pt x="140" y="25"/>
                  </a:lnTo>
                  <a:lnTo>
                    <a:pt x="136" y="22"/>
                  </a:lnTo>
                  <a:lnTo>
                    <a:pt x="134" y="25"/>
                  </a:lnTo>
                  <a:lnTo>
                    <a:pt x="121" y="13"/>
                  </a:lnTo>
                  <a:lnTo>
                    <a:pt x="113" y="7"/>
                  </a:lnTo>
                  <a:lnTo>
                    <a:pt x="111" y="7"/>
                  </a:lnTo>
                  <a:lnTo>
                    <a:pt x="105" y="9"/>
                  </a:lnTo>
                  <a:lnTo>
                    <a:pt x="103" y="9"/>
                  </a:lnTo>
                  <a:lnTo>
                    <a:pt x="103" y="7"/>
                  </a:lnTo>
                  <a:lnTo>
                    <a:pt x="96" y="7"/>
                  </a:lnTo>
                  <a:lnTo>
                    <a:pt x="90" y="7"/>
                  </a:lnTo>
                  <a:lnTo>
                    <a:pt x="90" y="4"/>
                  </a:lnTo>
                  <a:lnTo>
                    <a:pt x="88" y="0"/>
                  </a:lnTo>
                  <a:lnTo>
                    <a:pt x="80" y="0"/>
                  </a:lnTo>
                  <a:lnTo>
                    <a:pt x="80" y="4"/>
                  </a:lnTo>
                  <a:lnTo>
                    <a:pt x="71" y="4"/>
                  </a:lnTo>
                  <a:lnTo>
                    <a:pt x="57" y="7"/>
                  </a:lnTo>
                  <a:lnTo>
                    <a:pt x="50" y="7"/>
                  </a:lnTo>
                  <a:lnTo>
                    <a:pt x="50" y="9"/>
                  </a:lnTo>
                  <a:lnTo>
                    <a:pt x="55" y="9"/>
                  </a:lnTo>
                  <a:lnTo>
                    <a:pt x="55" y="13"/>
                  </a:lnTo>
                  <a:lnTo>
                    <a:pt x="50" y="16"/>
                  </a:lnTo>
                  <a:lnTo>
                    <a:pt x="55" y="16"/>
                  </a:lnTo>
                  <a:lnTo>
                    <a:pt x="50" y="20"/>
                  </a:lnTo>
                  <a:lnTo>
                    <a:pt x="61" y="22"/>
                  </a:lnTo>
                  <a:lnTo>
                    <a:pt x="57" y="25"/>
                  </a:lnTo>
                  <a:lnTo>
                    <a:pt x="50" y="25"/>
                  </a:lnTo>
                  <a:lnTo>
                    <a:pt x="46" y="25"/>
                  </a:lnTo>
                  <a:lnTo>
                    <a:pt x="40" y="25"/>
                  </a:lnTo>
                  <a:lnTo>
                    <a:pt x="34" y="25"/>
                  </a:lnTo>
                  <a:lnTo>
                    <a:pt x="32" y="25"/>
                  </a:lnTo>
                  <a:lnTo>
                    <a:pt x="32" y="29"/>
                  </a:lnTo>
                  <a:lnTo>
                    <a:pt x="25" y="22"/>
                  </a:lnTo>
                  <a:lnTo>
                    <a:pt x="21" y="20"/>
                  </a:lnTo>
                  <a:lnTo>
                    <a:pt x="17" y="22"/>
                  </a:lnTo>
                  <a:lnTo>
                    <a:pt x="15" y="22"/>
                  </a:lnTo>
                  <a:lnTo>
                    <a:pt x="9" y="25"/>
                  </a:lnTo>
                  <a:lnTo>
                    <a:pt x="7" y="25"/>
                  </a:lnTo>
                  <a:lnTo>
                    <a:pt x="9" y="31"/>
                  </a:lnTo>
                  <a:lnTo>
                    <a:pt x="7" y="31"/>
                  </a:lnTo>
                  <a:lnTo>
                    <a:pt x="2" y="29"/>
                  </a:lnTo>
                  <a:lnTo>
                    <a:pt x="0" y="38"/>
                  </a:lnTo>
                  <a:lnTo>
                    <a:pt x="2" y="40"/>
                  </a:lnTo>
                  <a:lnTo>
                    <a:pt x="2" y="43"/>
                  </a:lnTo>
                  <a:lnTo>
                    <a:pt x="9" y="43"/>
                  </a:lnTo>
                  <a:lnTo>
                    <a:pt x="11" y="49"/>
                  </a:lnTo>
                  <a:lnTo>
                    <a:pt x="21" y="47"/>
                  </a:lnTo>
                  <a:lnTo>
                    <a:pt x="25" y="47"/>
                  </a:lnTo>
                  <a:lnTo>
                    <a:pt x="32" y="49"/>
                  </a:lnTo>
                  <a:lnTo>
                    <a:pt x="38" y="56"/>
                  </a:lnTo>
                  <a:lnTo>
                    <a:pt x="25" y="56"/>
                  </a:lnTo>
                  <a:lnTo>
                    <a:pt x="23" y="58"/>
                  </a:lnTo>
                  <a:lnTo>
                    <a:pt x="25" y="61"/>
                  </a:lnTo>
                  <a:lnTo>
                    <a:pt x="23" y="61"/>
                  </a:lnTo>
                  <a:lnTo>
                    <a:pt x="29" y="72"/>
                  </a:lnTo>
                  <a:lnTo>
                    <a:pt x="32" y="72"/>
                  </a:lnTo>
                  <a:lnTo>
                    <a:pt x="32" y="74"/>
                  </a:lnTo>
                  <a:lnTo>
                    <a:pt x="32" y="76"/>
                  </a:lnTo>
                  <a:lnTo>
                    <a:pt x="34" y="74"/>
                  </a:lnTo>
                  <a:lnTo>
                    <a:pt x="38" y="74"/>
                  </a:lnTo>
                  <a:lnTo>
                    <a:pt x="46" y="81"/>
                  </a:lnTo>
                  <a:lnTo>
                    <a:pt x="48" y="81"/>
                  </a:lnTo>
                  <a:lnTo>
                    <a:pt x="42" y="58"/>
                  </a:lnTo>
                  <a:lnTo>
                    <a:pt x="55" y="56"/>
                  </a:lnTo>
                  <a:lnTo>
                    <a:pt x="71" y="67"/>
                  </a:lnTo>
                  <a:lnTo>
                    <a:pt x="82" y="65"/>
                  </a:lnTo>
                  <a:lnTo>
                    <a:pt x="88" y="72"/>
                  </a:lnTo>
                  <a:lnTo>
                    <a:pt x="90" y="76"/>
                  </a:lnTo>
                  <a:lnTo>
                    <a:pt x="94" y="76"/>
                  </a:lnTo>
                  <a:lnTo>
                    <a:pt x="94" y="81"/>
                  </a:lnTo>
                  <a:lnTo>
                    <a:pt x="103" y="81"/>
                  </a:lnTo>
                  <a:lnTo>
                    <a:pt x="109" y="76"/>
                  </a:lnTo>
                  <a:lnTo>
                    <a:pt x="111" y="74"/>
                  </a:lnTo>
                  <a:lnTo>
                    <a:pt x="111" y="72"/>
                  </a:lnTo>
                  <a:lnTo>
                    <a:pt x="119" y="74"/>
                  </a:lnTo>
                  <a:lnTo>
                    <a:pt x="121" y="72"/>
                  </a:lnTo>
                  <a:lnTo>
                    <a:pt x="121" y="67"/>
                  </a:lnTo>
                  <a:lnTo>
                    <a:pt x="128" y="72"/>
                  </a:lnTo>
                  <a:lnTo>
                    <a:pt x="144" y="72"/>
                  </a:lnTo>
                  <a:lnTo>
                    <a:pt x="151" y="74"/>
                  </a:lnTo>
                  <a:lnTo>
                    <a:pt x="151" y="67"/>
                  </a:lnTo>
                  <a:lnTo>
                    <a:pt x="148" y="58"/>
                  </a:lnTo>
                  <a:lnTo>
                    <a:pt x="153" y="56"/>
                  </a:lnTo>
                  <a:lnTo>
                    <a:pt x="153" y="47"/>
                  </a:lnTo>
                  <a:lnTo>
                    <a:pt x="161" y="47"/>
                  </a:lnTo>
                  <a:lnTo>
                    <a:pt x="165" y="47"/>
                  </a:lnTo>
                  <a:lnTo>
                    <a:pt x="165" y="40"/>
                  </a:lnTo>
                  <a:lnTo>
                    <a:pt x="167" y="38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" name="Freeform 1177"/>
            <p:cNvSpPr>
              <a:spLocks/>
            </p:cNvSpPr>
            <p:nvPr/>
          </p:nvSpPr>
          <p:spPr bwMode="auto">
            <a:xfrm>
              <a:off x="5366827" y="3117512"/>
              <a:ext cx="410222" cy="249414"/>
            </a:xfrm>
            <a:custGeom>
              <a:avLst/>
              <a:gdLst/>
              <a:ahLst/>
              <a:cxnLst>
                <a:cxn ang="0">
                  <a:pos x="54" y="45"/>
                </a:cxn>
                <a:cxn ang="0">
                  <a:pos x="61" y="47"/>
                </a:cxn>
                <a:cxn ang="0">
                  <a:pos x="63" y="43"/>
                </a:cxn>
                <a:cxn ang="0">
                  <a:pos x="61" y="36"/>
                </a:cxn>
                <a:cxn ang="0">
                  <a:pos x="58" y="34"/>
                </a:cxn>
                <a:cxn ang="0">
                  <a:pos x="63" y="34"/>
                </a:cxn>
                <a:cxn ang="0">
                  <a:pos x="63" y="27"/>
                </a:cxn>
                <a:cxn ang="0">
                  <a:pos x="69" y="25"/>
                </a:cxn>
                <a:cxn ang="0">
                  <a:pos x="69" y="29"/>
                </a:cxn>
                <a:cxn ang="0">
                  <a:pos x="75" y="29"/>
                </a:cxn>
                <a:cxn ang="0">
                  <a:pos x="79" y="27"/>
                </a:cxn>
                <a:cxn ang="0">
                  <a:pos x="71" y="20"/>
                </a:cxn>
                <a:cxn ang="0">
                  <a:pos x="71" y="25"/>
                </a:cxn>
                <a:cxn ang="0">
                  <a:pos x="67" y="20"/>
                </a:cxn>
                <a:cxn ang="0">
                  <a:pos x="61" y="25"/>
                </a:cxn>
                <a:cxn ang="0">
                  <a:pos x="52" y="25"/>
                </a:cxn>
                <a:cxn ang="0">
                  <a:pos x="52" y="20"/>
                </a:cxn>
                <a:cxn ang="0">
                  <a:pos x="48" y="20"/>
                </a:cxn>
                <a:cxn ang="0">
                  <a:pos x="46" y="16"/>
                </a:cxn>
                <a:cxn ang="0">
                  <a:pos x="40" y="9"/>
                </a:cxn>
                <a:cxn ang="0">
                  <a:pos x="29" y="11"/>
                </a:cxn>
                <a:cxn ang="0">
                  <a:pos x="13" y="0"/>
                </a:cxn>
                <a:cxn ang="0">
                  <a:pos x="0" y="2"/>
                </a:cxn>
                <a:cxn ang="0">
                  <a:pos x="6" y="25"/>
                </a:cxn>
                <a:cxn ang="0">
                  <a:pos x="8" y="25"/>
                </a:cxn>
                <a:cxn ang="0">
                  <a:pos x="8" y="20"/>
                </a:cxn>
                <a:cxn ang="0">
                  <a:pos x="13" y="16"/>
                </a:cxn>
                <a:cxn ang="0">
                  <a:pos x="15" y="16"/>
                </a:cxn>
                <a:cxn ang="0">
                  <a:pos x="21" y="18"/>
                </a:cxn>
                <a:cxn ang="0">
                  <a:pos x="23" y="25"/>
                </a:cxn>
                <a:cxn ang="0">
                  <a:pos x="31" y="25"/>
                </a:cxn>
                <a:cxn ang="0">
                  <a:pos x="35" y="29"/>
                </a:cxn>
                <a:cxn ang="0">
                  <a:pos x="48" y="38"/>
                </a:cxn>
                <a:cxn ang="0">
                  <a:pos x="54" y="43"/>
                </a:cxn>
                <a:cxn ang="0">
                  <a:pos x="54" y="45"/>
                </a:cxn>
              </a:cxnLst>
              <a:rect l="0" t="0" r="r" b="b"/>
              <a:pathLst>
                <a:path w="79" h="47">
                  <a:moveTo>
                    <a:pt x="54" y="45"/>
                  </a:moveTo>
                  <a:lnTo>
                    <a:pt x="61" y="47"/>
                  </a:lnTo>
                  <a:lnTo>
                    <a:pt x="63" y="43"/>
                  </a:lnTo>
                  <a:lnTo>
                    <a:pt x="61" y="36"/>
                  </a:lnTo>
                  <a:lnTo>
                    <a:pt x="58" y="34"/>
                  </a:lnTo>
                  <a:lnTo>
                    <a:pt x="63" y="34"/>
                  </a:lnTo>
                  <a:lnTo>
                    <a:pt x="63" y="27"/>
                  </a:lnTo>
                  <a:lnTo>
                    <a:pt x="69" y="25"/>
                  </a:lnTo>
                  <a:lnTo>
                    <a:pt x="69" y="29"/>
                  </a:lnTo>
                  <a:lnTo>
                    <a:pt x="75" y="29"/>
                  </a:lnTo>
                  <a:lnTo>
                    <a:pt x="79" y="27"/>
                  </a:lnTo>
                  <a:lnTo>
                    <a:pt x="71" y="20"/>
                  </a:lnTo>
                  <a:lnTo>
                    <a:pt x="71" y="25"/>
                  </a:lnTo>
                  <a:lnTo>
                    <a:pt x="67" y="20"/>
                  </a:lnTo>
                  <a:lnTo>
                    <a:pt x="61" y="25"/>
                  </a:lnTo>
                  <a:lnTo>
                    <a:pt x="52" y="25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6" y="16"/>
                  </a:lnTo>
                  <a:lnTo>
                    <a:pt x="40" y="9"/>
                  </a:lnTo>
                  <a:lnTo>
                    <a:pt x="29" y="11"/>
                  </a:lnTo>
                  <a:lnTo>
                    <a:pt x="13" y="0"/>
                  </a:lnTo>
                  <a:lnTo>
                    <a:pt x="0" y="2"/>
                  </a:lnTo>
                  <a:lnTo>
                    <a:pt x="6" y="25"/>
                  </a:lnTo>
                  <a:lnTo>
                    <a:pt x="8" y="25"/>
                  </a:lnTo>
                  <a:lnTo>
                    <a:pt x="8" y="20"/>
                  </a:lnTo>
                  <a:lnTo>
                    <a:pt x="13" y="16"/>
                  </a:lnTo>
                  <a:lnTo>
                    <a:pt x="15" y="16"/>
                  </a:lnTo>
                  <a:lnTo>
                    <a:pt x="21" y="18"/>
                  </a:lnTo>
                  <a:lnTo>
                    <a:pt x="23" y="25"/>
                  </a:lnTo>
                  <a:lnTo>
                    <a:pt x="31" y="25"/>
                  </a:lnTo>
                  <a:lnTo>
                    <a:pt x="35" y="29"/>
                  </a:lnTo>
                  <a:lnTo>
                    <a:pt x="48" y="38"/>
                  </a:lnTo>
                  <a:lnTo>
                    <a:pt x="54" y="43"/>
                  </a:lnTo>
                  <a:lnTo>
                    <a:pt x="54" y="4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" name="Freeform 1178"/>
            <p:cNvSpPr>
              <a:spLocks/>
            </p:cNvSpPr>
            <p:nvPr/>
          </p:nvSpPr>
          <p:spPr bwMode="auto">
            <a:xfrm>
              <a:off x="5668002" y="3250178"/>
              <a:ext cx="176552" cy="116747"/>
            </a:xfrm>
            <a:custGeom>
              <a:avLst/>
              <a:gdLst/>
              <a:ahLst/>
              <a:cxnLst>
                <a:cxn ang="0">
                  <a:pos x="5" y="22"/>
                </a:cxn>
                <a:cxn ang="0">
                  <a:pos x="11" y="20"/>
                </a:cxn>
                <a:cxn ang="0">
                  <a:pos x="13" y="20"/>
                </a:cxn>
                <a:cxn ang="0">
                  <a:pos x="17" y="13"/>
                </a:cxn>
                <a:cxn ang="0">
                  <a:pos x="19" y="18"/>
                </a:cxn>
                <a:cxn ang="0">
                  <a:pos x="21" y="22"/>
                </a:cxn>
                <a:cxn ang="0">
                  <a:pos x="28" y="20"/>
                </a:cxn>
                <a:cxn ang="0">
                  <a:pos x="34" y="20"/>
                </a:cxn>
                <a:cxn ang="0">
                  <a:pos x="34" y="13"/>
                </a:cxn>
                <a:cxn ang="0">
                  <a:pos x="30" y="13"/>
                </a:cxn>
                <a:cxn ang="0">
                  <a:pos x="28" y="11"/>
                </a:cxn>
                <a:cxn ang="0">
                  <a:pos x="28" y="9"/>
                </a:cxn>
                <a:cxn ang="0">
                  <a:pos x="19" y="11"/>
                </a:cxn>
                <a:cxn ang="0">
                  <a:pos x="17" y="9"/>
                </a:cxn>
                <a:cxn ang="0">
                  <a:pos x="9" y="9"/>
                </a:cxn>
                <a:cxn ang="0">
                  <a:pos x="9" y="4"/>
                </a:cxn>
                <a:cxn ang="0">
                  <a:pos x="11" y="4"/>
                </a:cxn>
                <a:cxn ang="0">
                  <a:pos x="13" y="4"/>
                </a:cxn>
                <a:cxn ang="0">
                  <a:pos x="11" y="4"/>
                </a:cxn>
                <a:cxn ang="0">
                  <a:pos x="11" y="0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9"/>
                </a:cxn>
                <a:cxn ang="0">
                  <a:pos x="0" y="9"/>
                </a:cxn>
                <a:cxn ang="0">
                  <a:pos x="3" y="11"/>
                </a:cxn>
                <a:cxn ang="0">
                  <a:pos x="5" y="18"/>
                </a:cxn>
                <a:cxn ang="0">
                  <a:pos x="3" y="22"/>
                </a:cxn>
                <a:cxn ang="0">
                  <a:pos x="5" y="22"/>
                </a:cxn>
              </a:cxnLst>
              <a:rect l="0" t="0" r="r" b="b"/>
              <a:pathLst>
                <a:path w="34" h="22">
                  <a:moveTo>
                    <a:pt x="5" y="22"/>
                  </a:moveTo>
                  <a:lnTo>
                    <a:pt x="11" y="20"/>
                  </a:lnTo>
                  <a:lnTo>
                    <a:pt x="13" y="20"/>
                  </a:lnTo>
                  <a:lnTo>
                    <a:pt x="17" y="13"/>
                  </a:lnTo>
                  <a:lnTo>
                    <a:pt x="19" y="18"/>
                  </a:lnTo>
                  <a:lnTo>
                    <a:pt x="21" y="22"/>
                  </a:lnTo>
                  <a:lnTo>
                    <a:pt x="28" y="20"/>
                  </a:lnTo>
                  <a:lnTo>
                    <a:pt x="34" y="20"/>
                  </a:lnTo>
                  <a:lnTo>
                    <a:pt x="34" y="13"/>
                  </a:lnTo>
                  <a:lnTo>
                    <a:pt x="30" y="13"/>
                  </a:lnTo>
                  <a:lnTo>
                    <a:pt x="28" y="11"/>
                  </a:lnTo>
                  <a:lnTo>
                    <a:pt x="28" y="9"/>
                  </a:lnTo>
                  <a:lnTo>
                    <a:pt x="19" y="11"/>
                  </a:lnTo>
                  <a:lnTo>
                    <a:pt x="17" y="9"/>
                  </a:lnTo>
                  <a:lnTo>
                    <a:pt x="9" y="9"/>
                  </a:lnTo>
                  <a:lnTo>
                    <a:pt x="9" y="4"/>
                  </a:lnTo>
                  <a:lnTo>
                    <a:pt x="11" y="4"/>
                  </a:lnTo>
                  <a:lnTo>
                    <a:pt x="13" y="4"/>
                  </a:lnTo>
                  <a:lnTo>
                    <a:pt x="11" y="4"/>
                  </a:lnTo>
                  <a:lnTo>
                    <a:pt x="11" y="0"/>
                  </a:lnTo>
                  <a:lnTo>
                    <a:pt x="5" y="2"/>
                  </a:lnTo>
                  <a:lnTo>
                    <a:pt x="5" y="4"/>
                  </a:lnTo>
                  <a:lnTo>
                    <a:pt x="5" y="9"/>
                  </a:lnTo>
                  <a:lnTo>
                    <a:pt x="0" y="9"/>
                  </a:lnTo>
                  <a:lnTo>
                    <a:pt x="3" y="11"/>
                  </a:lnTo>
                  <a:lnTo>
                    <a:pt x="5" y="18"/>
                  </a:lnTo>
                  <a:lnTo>
                    <a:pt x="3" y="22"/>
                  </a:lnTo>
                  <a:lnTo>
                    <a:pt x="5" y="2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3" name="Freeform 1179"/>
            <p:cNvSpPr>
              <a:spLocks/>
            </p:cNvSpPr>
            <p:nvPr/>
          </p:nvSpPr>
          <p:spPr bwMode="auto">
            <a:xfrm>
              <a:off x="5714737" y="3175885"/>
              <a:ext cx="218092" cy="132667"/>
            </a:xfrm>
            <a:custGeom>
              <a:avLst/>
              <a:gdLst/>
              <a:ahLst/>
              <a:cxnLst>
                <a:cxn ang="0">
                  <a:pos x="2" y="18"/>
                </a:cxn>
                <a:cxn ang="0">
                  <a:pos x="0" y="18"/>
                </a:cxn>
                <a:cxn ang="0">
                  <a:pos x="0" y="23"/>
                </a:cxn>
                <a:cxn ang="0">
                  <a:pos x="8" y="23"/>
                </a:cxn>
                <a:cxn ang="0">
                  <a:pos x="10" y="25"/>
                </a:cxn>
                <a:cxn ang="0">
                  <a:pos x="19" y="23"/>
                </a:cxn>
                <a:cxn ang="0">
                  <a:pos x="19" y="18"/>
                </a:cxn>
                <a:cxn ang="0">
                  <a:pos x="21" y="16"/>
                </a:cxn>
                <a:cxn ang="0">
                  <a:pos x="31" y="16"/>
                </a:cxn>
                <a:cxn ang="0">
                  <a:pos x="31" y="14"/>
                </a:cxn>
                <a:cxn ang="0">
                  <a:pos x="35" y="14"/>
                </a:cxn>
                <a:cxn ang="0">
                  <a:pos x="42" y="9"/>
                </a:cxn>
                <a:cxn ang="0">
                  <a:pos x="42" y="7"/>
                </a:cxn>
                <a:cxn ang="0">
                  <a:pos x="35" y="5"/>
                </a:cxn>
                <a:cxn ang="0">
                  <a:pos x="19" y="5"/>
                </a:cxn>
                <a:cxn ang="0">
                  <a:pos x="12" y="0"/>
                </a:cxn>
                <a:cxn ang="0">
                  <a:pos x="12" y="5"/>
                </a:cxn>
                <a:cxn ang="0">
                  <a:pos x="10" y="7"/>
                </a:cxn>
                <a:cxn ang="0">
                  <a:pos x="4" y="5"/>
                </a:cxn>
                <a:cxn ang="0">
                  <a:pos x="2" y="5"/>
                </a:cxn>
                <a:cxn ang="0">
                  <a:pos x="2" y="7"/>
                </a:cxn>
                <a:cxn ang="0">
                  <a:pos x="0" y="9"/>
                </a:cxn>
                <a:cxn ang="0">
                  <a:pos x="4" y="14"/>
                </a:cxn>
                <a:cxn ang="0">
                  <a:pos x="4" y="9"/>
                </a:cxn>
                <a:cxn ang="0">
                  <a:pos x="12" y="16"/>
                </a:cxn>
                <a:cxn ang="0">
                  <a:pos x="8" y="18"/>
                </a:cxn>
                <a:cxn ang="0">
                  <a:pos x="4" y="18"/>
                </a:cxn>
                <a:cxn ang="0">
                  <a:pos x="2" y="18"/>
                </a:cxn>
              </a:cxnLst>
              <a:rect l="0" t="0" r="r" b="b"/>
              <a:pathLst>
                <a:path w="42" h="25">
                  <a:moveTo>
                    <a:pt x="2" y="18"/>
                  </a:moveTo>
                  <a:lnTo>
                    <a:pt x="0" y="18"/>
                  </a:lnTo>
                  <a:lnTo>
                    <a:pt x="0" y="23"/>
                  </a:lnTo>
                  <a:lnTo>
                    <a:pt x="8" y="23"/>
                  </a:lnTo>
                  <a:lnTo>
                    <a:pt x="10" y="25"/>
                  </a:lnTo>
                  <a:lnTo>
                    <a:pt x="19" y="23"/>
                  </a:lnTo>
                  <a:lnTo>
                    <a:pt x="19" y="18"/>
                  </a:lnTo>
                  <a:lnTo>
                    <a:pt x="21" y="16"/>
                  </a:lnTo>
                  <a:lnTo>
                    <a:pt x="31" y="16"/>
                  </a:lnTo>
                  <a:lnTo>
                    <a:pt x="31" y="14"/>
                  </a:lnTo>
                  <a:lnTo>
                    <a:pt x="35" y="14"/>
                  </a:lnTo>
                  <a:lnTo>
                    <a:pt x="42" y="9"/>
                  </a:lnTo>
                  <a:lnTo>
                    <a:pt x="42" y="7"/>
                  </a:lnTo>
                  <a:lnTo>
                    <a:pt x="35" y="5"/>
                  </a:lnTo>
                  <a:lnTo>
                    <a:pt x="19" y="5"/>
                  </a:lnTo>
                  <a:lnTo>
                    <a:pt x="12" y="0"/>
                  </a:lnTo>
                  <a:lnTo>
                    <a:pt x="12" y="5"/>
                  </a:lnTo>
                  <a:lnTo>
                    <a:pt x="10" y="7"/>
                  </a:lnTo>
                  <a:lnTo>
                    <a:pt x="4" y="5"/>
                  </a:lnTo>
                  <a:lnTo>
                    <a:pt x="2" y="5"/>
                  </a:lnTo>
                  <a:lnTo>
                    <a:pt x="2" y="7"/>
                  </a:lnTo>
                  <a:lnTo>
                    <a:pt x="0" y="9"/>
                  </a:lnTo>
                  <a:lnTo>
                    <a:pt x="4" y="14"/>
                  </a:lnTo>
                  <a:lnTo>
                    <a:pt x="4" y="9"/>
                  </a:lnTo>
                  <a:lnTo>
                    <a:pt x="12" y="16"/>
                  </a:lnTo>
                  <a:lnTo>
                    <a:pt x="8" y="18"/>
                  </a:lnTo>
                  <a:lnTo>
                    <a:pt x="4" y="18"/>
                  </a:lnTo>
                  <a:lnTo>
                    <a:pt x="2" y="18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4" name="Freeform 1180"/>
            <p:cNvSpPr>
              <a:spLocks/>
            </p:cNvSpPr>
            <p:nvPr/>
          </p:nvSpPr>
          <p:spPr bwMode="auto">
            <a:xfrm>
              <a:off x="5314899" y="3202418"/>
              <a:ext cx="332332" cy="228187"/>
            </a:xfrm>
            <a:custGeom>
              <a:avLst/>
              <a:gdLst/>
              <a:ahLst/>
              <a:cxnLst>
                <a:cxn ang="0">
                  <a:pos x="16" y="9"/>
                </a:cxn>
                <a:cxn ang="0">
                  <a:pos x="18" y="9"/>
                </a:cxn>
                <a:cxn ang="0">
                  <a:pos x="18" y="4"/>
                </a:cxn>
                <a:cxn ang="0">
                  <a:pos x="23" y="0"/>
                </a:cxn>
                <a:cxn ang="0">
                  <a:pos x="25" y="0"/>
                </a:cxn>
                <a:cxn ang="0">
                  <a:pos x="31" y="2"/>
                </a:cxn>
                <a:cxn ang="0">
                  <a:pos x="33" y="9"/>
                </a:cxn>
                <a:cxn ang="0">
                  <a:pos x="41" y="9"/>
                </a:cxn>
                <a:cxn ang="0">
                  <a:pos x="45" y="13"/>
                </a:cxn>
                <a:cxn ang="0">
                  <a:pos x="58" y="22"/>
                </a:cxn>
                <a:cxn ang="0">
                  <a:pos x="64" y="27"/>
                </a:cxn>
                <a:cxn ang="0">
                  <a:pos x="64" y="29"/>
                </a:cxn>
                <a:cxn ang="0">
                  <a:pos x="62" y="29"/>
                </a:cxn>
                <a:cxn ang="0">
                  <a:pos x="58" y="29"/>
                </a:cxn>
                <a:cxn ang="0">
                  <a:pos x="58" y="36"/>
                </a:cxn>
                <a:cxn ang="0">
                  <a:pos x="54" y="38"/>
                </a:cxn>
                <a:cxn ang="0">
                  <a:pos x="50" y="43"/>
                </a:cxn>
                <a:cxn ang="0">
                  <a:pos x="45" y="38"/>
                </a:cxn>
                <a:cxn ang="0">
                  <a:pos x="45" y="36"/>
                </a:cxn>
                <a:cxn ang="0">
                  <a:pos x="23" y="22"/>
                </a:cxn>
                <a:cxn ang="0">
                  <a:pos x="16" y="27"/>
                </a:cxn>
                <a:cxn ang="0">
                  <a:pos x="10" y="29"/>
                </a:cxn>
                <a:cxn ang="0">
                  <a:pos x="8" y="20"/>
                </a:cxn>
                <a:cxn ang="0">
                  <a:pos x="6" y="13"/>
                </a:cxn>
                <a:cxn ang="0">
                  <a:pos x="2" y="13"/>
                </a:cxn>
                <a:cxn ang="0">
                  <a:pos x="2" y="11"/>
                </a:cxn>
                <a:cxn ang="0">
                  <a:pos x="8" y="11"/>
                </a:cxn>
                <a:cxn ang="0">
                  <a:pos x="8" y="9"/>
                </a:cxn>
                <a:cxn ang="0">
                  <a:pos x="6" y="4"/>
                </a:cxn>
                <a:cxn ang="0">
                  <a:pos x="2" y="4"/>
                </a:cxn>
                <a:cxn ang="0">
                  <a:pos x="2" y="9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6" y="2"/>
                </a:cxn>
                <a:cxn ang="0">
                  <a:pos x="14" y="9"/>
                </a:cxn>
                <a:cxn ang="0">
                  <a:pos x="16" y="9"/>
                </a:cxn>
              </a:cxnLst>
              <a:rect l="0" t="0" r="r" b="b"/>
              <a:pathLst>
                <a:path w="64" h="43">
                  <a:moveTo>
                    <a:pt x="16" y="9"/>
                  </a:moveTo>
                  <a:lnTo>
                    <a:pt x="18" y="9"/>
                  </a:lnTo>
                  <a:lnTo>
                    <a:pt x="18" y="4"/>
                  </a:lnTo>
                  <a:lnTo>
                    <a:pt x="23" y="0"/>
                  </a:lnTo>
                  <a:lnTo>
                    <a:pt x="25" y="0"/>
                  </a:lnTo>
                  <a:lnTo>
                    <a:pt x="31" y="2"/>
                  </a:lnTo>
                  <a:lnTo>
                    <a:pt x="33" y="9"/>
                  </a:lnTo>
                  <a:lnTo>
                    <a:pt x="41" y="9"/>
                  </a:lnTo>
                  <a:lnTo>
                    <a:pt x="45" y="13"/>
                  </a:lnTo>
                  <a:lnTo>
                    <a:pt x="58" y="22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58" y="29"/>
                  </a:lnTo>
                  <a:lnTo>
                    <a:pt x="58" y="36"/>
                  </a:lnTo>
                  <a:lnTo>
                    <a:pt x="54" y="38"/>
                  </a:lnTo>
                  <a:lnTo>
                    <a:pt x="50" y="43"/>
                  </a:lnTo>
                  <a:lnTo>
                    <a:pt x="45" y="38"/>
                  </a:lnTo>
                  <a:lnTo>
                    <a:pt x="45" y="36"/>
                  </a:lnTo>
                  <a:lnTo>
                    <a:pt x="23" y="22"/>
                  </a:lnTo>
                  <a:lnTo>
                    <a:pt x="16" y="27"/>
                  </a:lnTo>
                  <a:lnTo>
                    <a:pt x="10" y="29"/>
                  </a:lnTo>
                  <a:lnTo>
                    <a:pt x="8" y="20"/>
                  </a:lnTo>
                  <a:lnTo>
                    <a:pt x="6" y="13"/>
                  </a:lnTo>
                  <a:lnTo>
                    <a:pt x="2" y="13"/>
                  </a:lnTo>
                  <a:lnTo>
                    <a:pt x="2" y="11"/>
                  </a:lnTo>
                  <a:lnTo>
                    <a:pt x="8" y="11"/>
                  </a:lnTo>
                  <a:lnTo>
                    <a:pt x="8" y="9"/>
                  </a:lnTo>
                  <a:lnTo>
                    <a:pt x="6" y="4"/>
                  </a:lnTo>
                  <a:lnTo>
                    <a:pt x="2" y="4"/>
                  </a:lnTo>
                  <a:lnTo>
                    <a:pt x="2" y="9"/>
                  </a:lnTo>
                  <a:lnTo>
                    <a:pt x="0" y="4"/>
                  </a:lnTo>
                  <a:lnTo>
                    <a:pt x="2" y="2"/>
                  </a:lnTo>
                  <a:lnTo>
                    <a:pt x="6" y="2"/>
                  </a:lnTo>
                  <a:lnTo>
                    <a:pt x="14" y="9"/>
                  </a:lnTo>
                  <a:lnTo>
                    <a:pt x="16" y="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5" name="Freeform 1181"/>
            <p:cNvSpPr>
              <a:spLocks/>
            </p:cNvSpPr>
            <p:nvPr/>
          </p:nvSpPr>
          <p:spPr bwMode="auto">
            <a:xfrm>
              <a:off x="3751901" y="4120473"/>
              <a:ext cx="171359" cy="159200"/>
            </a:xfrm>
            <a:custGeom>
              <a:avLst/>
              <a:gdLst/>
              <a:ahLst/>
              <a:cxnLst>
                <a:cxn ang="0">
                  <a:pos x="29" y="30"/>
                </a:cxn>
                <a:cxn ang="0">
                  <a:pos x="31" y="27"/>
                </a:cxn>
                <a:cxn ang="0">
                  <a:pos x="31" y="25"/>
                </a:cxn>
                <a:cxn ang="0">
                  <a:pos x="33" y="25"/>
                </a:cxn>
                <a:cxn ang="0">
                  <a:pos x="31" y="18"/>
                </a:cxn>
                <a:cxn ang="0">
                  <a:pos x="31" y="12"/>
                </a:cxn>
                <a:cxn ang="0">
                  <a:pos x="25" y="0"/>
                </a:cxn>
                <a:cxn ang="0">
                  <a:pos x="21" y="3"/>
                </a:cxn>
                <a:cxn ang="0">
                  <a:pos x="17" y="0"/>
                </a:cxn>
                <a:cxn ang="0">
                  <a:pos x="6" y="0"/>
                </a:cxn>
                <a:cxn ang="0">
                  <a:pos x="6" y="7"/>
                </a:cxn>
                <a:cxn ang="0">
                  <a:pos x="0" y="7"/>
                </a:cxn>
                <a:cxn ang="0">
                  <a:pos x="0" y="9"/>
                </a:cxn>
                <a:cxn ang="0">
                  <a:pos x="6" y="18"/>
                </a:cxn>
                <a:cxn ang="0">
                  <a:pos x="13" y="16"/>
                </a:cxn>
                <a:cxn ang="0">
                  <a:pos x="17" y="16"/>
                </a:cxn>
                <a:cxn ang="0">
                  <a:pos x="21" y="21"/>
                </a:cxn>
                <a:cxn ang="0">
                  <a:pos x="21" y="25"/>
                </a:cxn>
                <a:cxn ang="0">
                  <a:pos x="23" y="25"/>
                </a:cxn>
                <a:cxn ang="0">
                  <a:pos x="25" y="30"/>
                </a:cxn>
                <a:cxn ang="0">
                  <a:pos x="27" y="30"/>
                </a:cxn>
                <a:cxn ang="0">
                  <a:pos x="29" y="30"/>
                </a:cxn>
              </a:cxnLst>
              <a:rect l="0" t="0" r="r" b="b"/>
              <a:pathLst>
                <a:path w="33" h="30">
                  <a:moveTo>
                    <a:pt x="29" y="30"/>
                  </a:moveTo>
                  <a:lnTo>
                    <a:pt x="31" y="27"/>
                  </a:lnTo>
                  <a:lnTo>
                    <a:pt x="31" y="25"/>
                  </a:lnTo>
                  <a:lnTo>
                    <a:pt x="33" y="25"/>
                  </a:lnTo>
                  <a:lnTo>
                    <a:pt x="31" y="18"/>
                  </a:lnTo>
                  <a:lnTo>
                    <a:pt x="31" y="12"/>
                  </a:lnTo>
                  <a:lnTo>
                    <a:pt x="25" y="0"/>
                  </a:lnTo>
                  <a:lnTo>
                    <a:pt x="21" y="3"/>
                  </a:lnTo>
                  <a:lnTo>
                    <a:pt x="17" y="0"/>
                  </a:lnTo>
                  <a:lnTo>
                    <a:pt x="6" y="0"/>
                  </a:lnTo>
                  <a:lnTo>
                    <a:pt x="6" y="7"/>
                  </a:lnTo>
                  <a:lnTo>
                    <a:pt x="0" y="7"/>
                  </a:lnTo>
                  <a:lnTo>
                    <a:pt x="0" y="9"/>
                  </a:lnTo>
                  <a:lnTo>
                    <a:pt x="6" y="18"/>
                  </a:lnTo>
                  <a:lnTo>
                    <a:pt x="13" y="16"/>
                  </a:lnTo>
                  <a:lnTo>
                    <a:pt x="17" y="16"/>
                  </a:lnTo>
                  <a:lnTo>
                    <a:pt x="21" y="21"/>
                  </a:lnTo>
                  <a:lnTo>
                    <a:pt x="21" y="25"/>
                  </a:lnTo>
                  <a:lnTo>
                    <a:pt x="23" y="25"/>
                  </a:lnTo>
                  <a:lnTo>
                    <a:pt x="25" y="30"/>
                  </a:lnTo>
                  <a:lnTo>
                    <a:pt x="27" y="30"/>
                  </a:lnTo>
                  <a:lnTo>
                    <a:pt x="29" y="3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6" name="Freeform 1182"/>
            <p:cNvSpPr>
              <a:spLocks/>
            </p:cNvSpPr>
            <p:nvPr/>
          </p:nvSpPr>
          <p:spPr bwMode="auto">
            <a:xfrm>
              <a:off x="4411372" y="4348660"/>
              <a:ext cx="477727" cy="562507"/>
            </a:xfrm>
            <a:custGeom>
              <a:avLst/>
              <a:gdLst/>
              <a:ahLst/>
              <a:cxnLst>
                <a:cxn ang="0">
                  <a:pos x="53" y="2"/>
                </a:cxn>
                <a:cxn ang="0">
                  <a:pos x="48" y="7"/>
                </a:cxn>
                <a:cxn ang="0">
                  <a:pos x="40" y="2"/>
                </a:cxn>
                <a:cxn ang="0">
                  <a:pos x="38" y="0"/>
                </a:cxn>
                <a:cxn ang="0">
                  <a:pos x="36" y="0"/>
                </a:cxn>
                <a:cxn ang="0">
                  <a:pos x="32" y="9"/>
                </a:cxn>
                <a:cxn ang="0">
                  <a:pos x="30" y="18"/>
                </a:cxn>
                <a:cxn ang="0">
                  <a:pos x="25" y="34"/>
                </a:cxn>
                <a:cxn ang="0">
                  <a:pos x="21" y="43"/>
                </a:cxn>
                <a:cxn ang="0">
                  <a:pos x="17" y="52"/>
                </a:cxn>
                <a:cxn ang="0">
                  <a:pos x="13" y="59"/>
                </a:cxn>
                <a:cxn ang="0">
                  <a:pos x="9" y="54"/>
                </a:cxn>
                <a:cxn ang="0">
                  <a:pos x="7" y="59"/>
                </a:cxn>
                <a:cxn ang="0">
                  <a:pos x="5" y="59"/>
                </a:cxn>
                <a:cxn ang="0">
                  <a:pos x="0" y="59"/>
                </a:cxn>
                <a:cxn ang="0">
                  <a:pos x="0" y="63"/>
                </a:cxn>
                <a:cxn ang="0">
                  <a:pos x="0" y="68"/>
                </a:cxn>
                <a:cxn ang="0">
                  <a:pos x="7" y="63"/>
                </a:cxn>
                <a:cxn ang="0">
                  <a:pos x="17" y="63"/>
                </a:cxn>
                <a:cxn ang="0">
                  <a:pos x="21" y="63"/>
                </a:cxn>
                <a:cxn ang="0">
                  <a:pos x="23" y="72"/>
                </a:cxn>
                <a:cxn ang="0">
                  <a:pos x="25" y="77"/>
                </a:cxn>
                <a:cxn ang="0">
                  <a:pos x="36" y="77"/>
                </a:cxn>
                <a:cxn ang="0">
                  <a:pos x="36" y="70"/>
                </a:cxn>
                <a:cxn ang="0">
                  <a:pos x="40" y="70"/>
                </a:cxn>
                <a:cxn ang="0">
                  <a:pos x="46" y="72"/>
                </a:cxn>
                <a:cxn ang="0">
                  <a:pos x="46" y="86"/>
                </a:cxn>
                <a:cxn ang="0">
                  <a:pos x="48" y="92"/>
                </a:cxn>
                <a:cxn ang="0">
                  <a:pos x="46" y="95"/>
                </a:cxn>
                <a:cxn ang="0">
                  <a:pos x="57" y="92"/>
                </a:cxn>
                <a:cxn ang="0">
                  <a:pos x="65" y="97"/>
                </a:cxn>
                <a:cxn ang="0">
                  <a:pos x="69" y="97"/>
                </a:cxn>
                <a:cxn ang="0">
                  <a:pos x="78" y="104"/>
                </a:cxn>
                <a:cxn ang="0">
                  <a:pos x="84" y="106"/>
                </a:cxn>
                <a:cxn ang="0">
                  <a:pos x="84" y="101"/>
                </a:cxn>
                <a:cxn ang="0">
                  <a:pos x="80" y="101"/>
                </a:cxn>
                <a:cxn ang="0">
                  <a:pos x="78" y="97"/>
                </a:cxn>
                <a:cxn ang="0">
                  <a:pos x="80" y="81"/>
                </a:cxn>
                <a:cxn ang="0">
                  <a:pos x="80" y="79"/>
                </a:cxn>
                <a:cxn ang="0">
                  <a:pos x="86" y="77"/>
                </a:cxn>
                <a:cxn ang="0">
                  <a:pos x="88" y="77"/>
                </a:cxn>
                <a:cxn ang="0">
                  <a:pos x="84" y="68"/>
                </a:cxn>
                <a:cxn ang="0">
                  <a:pos x="84" y="54"/>
                </a:cxn>
                <a:cxn ang="0">
                  <a:pos x="84" y="50"/>
                </a:cxn>
                <a:cxn ang="0">
                  <a:pos x="80" y="45"/>
                </a:cxn>
                <a:cxn ang="0">
                  <a:pos x="80" y="43"/>
                </a:cxn>
                <a:cxn ang="0">
                  <a:pos x="84" y="36"/>
                </a:cxn>
                <a:cxn ang="0">
                  <a:pos x="86" y="27"/>
                </a:cxn>
                <a:cxn ang="0">
                  <a:pos x="88" y="20"/>
                </a:cxn>
                <a:cxn ang="0">
                  <a:pos x="92" y="18"/>
                </a:cxn>
                <a:cxn ang="0">
                  <a:pos x="88" y="16"/>
                </a:cxn>
                <a:cxn ang="0">
                  <a:pos x="88" y="9"/>
                </a:cxn>
                <a:cxn ang="0">
                  <a:pos x="84" y="2"/>
                </a:cxn>
                <a:cxn ang="0">
                  <a:pos x="78" y="2"/>
                </a:cxn>
                <a:cxn ang="0">
                  <a:pos x="73" y="0"/>
                </a:cxn>
                <a:cxn ang="0">
                  <a:pos x="63" y="2"/>
                </a:cxn>
                <a:cxn ang="0">
                  <a:pos x="55" y="2"/>
                </a:cxn>
                <a:cxn ang="0">
                  <a:pos x="53" y="2"/>
                </a:cxn>
              </a:cxnLst>
              <a:rect l="0" t="0" r="r" b="b"/>
              <a:pathLst>
                <a:path w="92" h="106">
                  <a:moveTo>
                    <a:pt x="53" y="2"/>
                  </a:moveTo>
                  <a:lnTo>
                    <a:pt x="48" y="7"/>
                  </a:lnTo>
                  <a:lnTo>
                    <a:pt x="40" y="2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2" y="9"/>
                  </a:lnTo>
                  <a:lnTo>
                    <a:pt x="30" y="18"/>
                  </a:lnTo>
                  <a:lnTo>
                    <a:pt x="25" y="34"/>
                  </a:lnTo>
                  <a:lnTo>
                    <a:pt x="21" y="43"/>
                  </a:lnTo>
                  <a:lnTo>
                    <a:pt x="17" y="52"/>
                  </a:lnTo>
                  <a:lnTo>
                    <a:pt x="13" y="59"/>
                  </a:lnTo>
                  <a:lnTo>
                    <a:pt x="9" y="54"/>
                  </a:lnTo>
                  <a:lnTo>
                    <a:pt x="7" y="59"/>
                  </a:lnTo>
                  <a:lnTo>
                    <a:pt x="5" y="59"/>
                  </a:lnTo>
                  <a:lnTo>
                    <a:pt x="0" y="59"/>
                  </a:lnTo>
                  <a:lnTo>
                    <a:pt x="0" y="63"/>
                  </a:lnTo>
                  <a:lnTo>
                    <a:pt x="0" y="68"/>
                  </a:lnTo>
                  <a:lnTo>
                    <a:pt x="7" y="63"/>
                  </a:lnTo>
                  <a:lnTo>
                    <a:pt x="17" y="63"/>
                  </a:lnTo>
                  <a:lnTo>
                    <a:pt x="21" y="63"/>
                  </a:lnTo>
                  <a:lnTo>
                    <a:pt x="23" y="72"/>
                  </a:lnTo>
                  <a:lnTo>
                    <a:pt x="25" y="77"/>
                  </a:lnTo>
                  <a:lnTo>
                    <a:pt x="36" y="77"/>
                  </a:lnTo>
                  <a:lnTo>
                    <a:pt x="36" y="70"/>
                  </a:lnTo>
                  <a:lnTo>
                    <a:pt x="40" y="70"/>
                  </a:lnTo>
                  <a:lnTo>
                    <a:pt x="46" y="72"/>
                  </a:lnTo>
                  <a:lnTo>
                    <a:pt x="46" y="86"/>
                  </a:lnTo>
                  <a:lnTo>
                    <a:pt x="48" y="92"/>
                  </a:lnTo>
                  <a:lnTo>
                    <a:pt x="46" y="95"/>
                  </a:lnTo>
                  <a:lnTo>
                    <a:pt x="57" y="92"/>
                  </a:lnTo>
                  <a:lnTo>
                    <a:pt x="65" y="97"/>
                  </a:lnTo>
                  <a:lnTo>
                    <a:pt x="69" y="97"/>
                  </a:lnTo>
                  <a:lnTo>
                    <a:pt x="78" y="104"/>
                  </a:lnTo>
                  <a:lnTo>
                    <a:pt x="84" y="106"/>
                  </a:lnTo>
                  <a:lnTo>
                    <a:pt x="84" y="101"/>
                  </a:lnTo>
                  <a:lnTo>
                    <a:pt x="80" y="101"/>
                  </a:lnTo>
                  <a:lnTo>
                    <a:pt x="78" y="97"/>
                  </a:lnTo>
                  <a:lnTo>
                    <a:pt x="80" y="81"/>
                  </a:lnTo>
                  <a:lnTo>
                    <a:pt x="80" y="79"/>
                  </a:lnTo>
                  <a:lnTo>
                    <a:pt x="86" y="77"/>
                  </a:lnTo>
                  <a:lnTo>
                    <a:pt x="88" y="77"/>
                  </a:lnTo>
                  <a:lnTo>
                    <a:pt x="84" y="68"/>
                  </a:lnTo>
                  <a:lnTo>
                    <a:pt x="84" y="54"/>
                  </a:lnTo>
                  <a:lnTo>
                    <a:pt x="84" y="50"/>
                  </a:lnTo>
                  <a:lnTo>
                    <a:pt x="80" y="45"/>
                  </a:lnTo>
                  <a:lnTo>
                    <a:pt x="80" y="43"/>
                  </a:lnTo>
                  <a:lnTo>
                    <a:pt x="84" y="36"/>
                  </a:lnTo>
                  <a:lnTo>
                    <a:pt x="86" y="27"/>
                  </a:lnTo>
                  <a:lnTo>
                    <a:pt x="88" y="20"/>
                  </a:lnTo>
                  <a:lnTo>
                    <a:pt x="92" y="18"/>
                  </a:lnTo>
                  <a:lnTo>
                    <a:pt x="88" y="16"/>
                  </a:lnTo>
                  <a:lnTo>
                    <a:pt x="88" y="9"/>
                  </a:lnTo>
                  <a:lnTo>
                    <a:pt x="84" y="2"/>
                  </a:lnTo>
                  <a:lnTo>
                    <a:pt x="78" y="2"/>
                  </a:lnTo>
                  <a:lnTo>
                    <a:pt x="73" y="0"/>
                  </a:lnTo>
                  <a:lnTo>
                    <a:pt x="63" y="2"/>
                  </a:lnTo>
                  <a:lnTo>
                    <a:pt x="55" y="2"/>
                  </a:lnTo>
                  <a:lnTo>
                    <a:pt x="53" y="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7" name="Freeform 1183"/>
            <p:cNvSpPr>
              <a:spLocks/>
            </p:cNvSpPr>
            <p:nvPr/>
          </p:nvSpPr>
          <p:spPr bwMode="auto">
            <a:xfrm>
              <a:off x="4478878" y="4168233"/>
              <a:ext cx="311562" cy="238800"/>
            </a:xfrm>
            <a:custGeom>
              <a:avLst/>
              <a:gdLst/>
              <a:ahLst/>
              <a:cxnLst>
                <a:cxn ang="0">
                  <a:pos x="0" y="36"/>
                </a:cxn>
                <a:cxn ang="0">
                  <a:pos x="0" y="30"/>
                </a:cxn>
                <a:cxn ang="0">
                  <a:pos x="2" y="21"/>
                </a:cxn>
                <a:cxn ang="0">
                  <a:pos x="17" y="18"/>
                </a:cxn>
                <a:cxn ang="0">
                  <a:pos x="19" y="16"/>
                </a:cxn>
                <a:cxn ang="0">
                  <a:pos x="19" y="12"/>
                </a:cxn>
                <a:cxn ang="0">
                  <a:pos x="27" y="9"/>
                </a:cxn>
                <a:cxn ang="0">
                  <a:pos x="33" y="3"/>
                </a:cxn>
                <a:cxn ang="0">
                  <a:pos x="35" y="0"/>
                </a:cxn>
                <a:cxn ang="0">
                  <a:pos x="42" y="7"/>
                </a:cxn>
                <a:cxn ang="0">
                  <a:pos x="42" y="12"/>
                </a:cxn>
                <a:cxn ang="0">
                  <a:pos x="48" y="16"/>
                </a:cxn>
                <a:cxn ang="0">
                  <a:pos x="60" y="34"/>
                </a:cxn>
                <a:cxn ang="0">
                  <a:pos x="40" y="36"/>
                </a:cxn>
                <a:cxn ang="0">
                  <a:pos x="35" y="41"/>
                </a:cxn>
                <a:cxn ang="0">
                  <a:pos x="27" y="36"/>
                </a:cxn>
                <a:cxn ang="0">
                  <a:pos x="25" y="34"/>
                </a:cxn>
                <a:cxn ang="0">
                  <a:pos x="23" y="34"/>
                </a:cxn>
                <a:cxn ang="0">
                  <a:pos x="19" y="43"/>
                </a:cxn>
                <a:cxn ang="0">
                  <a:pos x="12" y="43"/>
                </a:cxn>
                <a:cxn ang="0">
                  <a:pos x="10" y="43"/>
                </a:cxn>
                <a:cxn ang="0">
                  <a:pos x="8" y="43"/>
                </a:cxn>
                <a:cxn ang="0">
                  <a:pos x="4" y="45"/>
                </a:cxn>
                <a:cxn ang="0">
                  <a:pos x="2" y="41"/>
                </a:cxn>
                <a:cxn ang="0">
                  <a:pos x="0" y="36"/>
                </a:cxn>
              </a:cxnLst>
              <a:rect l="0" t="0" r="r" b="b"/>
              <a:pathLst>
                <a:path w="60" h="45">
                  <a:moveTo>
                    <a:pt x="0" y="36"/>
                  </a:moveTo>
                  <a:lnTo>
                    <a:pt x="0" y="30"/>
                  </a:lnTo>
                  <a:lnTo>
                    <a:pt x="2" y="21"/>
                  </a:lnTo>
                  <a:lnTo>
                    <a:pt x="17" y="18"/>
                  </a:lnTo>
                  <a:lnTo>
                    <a:pt x="19" y="16"/>
                  </a:lnTo>
                  <a:lnTo>
                    <a:pt x="19" y="12"/>
                  </a:lnTo>
                  <a:lnTo>
                    <a:pt x="27" y="9"/>
                  </a:lnTo>
                  <a:lnTo>
                    <a:pt x="33" y="3"/>
                  </a:lnTo>
                  <a:lnTo>
                    <a:pt x="35" y="0"/>
                  </a:lnTo>
                  <a:lnTo>
                    <a:pt x="42" y="7"/>
                  </a:lnTo>
                  <a:lnTo>
                    <a:pt x="42" y="12"/>
                  </a:lnTo>
                  <a:lnTo>
                    <a:pt x="48" y="16"/>
                  </a:lnTo>
                  <a:lnTo>
                    <a:pt x="60" y="34"/>
                  </a:lnTo>
                  <a:lnTo>
                    <a:pt x="40" y="36"/>
                  </a:lnTo>
                  <a:lnTo>
                    <a:pt x="35" y="41"/>
                  </a:lnTo>
                  <a:lnTo>
                    <a:pt x="27" y="36"/>
                  </a:lnTo>
                  <a:lnTo>
                    <a:pt x="25" y="34"/>
                  </a:lnTo>
                  <a:lnTo>
                    <a:pt x="23" y="34"/>
                  </a:lnTo>
                  <a:lnTo>
                    <a:pt x="19" y="43"/>
                  </a:lnTo>
                  <a:lnTo>
                    <a:pt x="12" y="43"/>
                  </a:lnTo>
                  <a:lnTo>
                    <a:pt x="10" y="43"/>
                  </a:lnTo>
                  <a:lnTo>
                    <a:pt x="8" y="43"/>
                  </a:lnTo>
                  <a:lnTo>
                    <a:pt x="4" y="45"/>
                  </a:lnTo>
                  <a:lnTo>
                    <a:pt x="2" y="41"/>
                  </a:lnTo>
                  <a:lnTo>
                    <a:pt x="0" y="3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8" name="Freeform 1184"/>
            <p:cNvSpPr>
              <a:spLocks/>
            </p:cNvSpPr>
            <p:nvPr/>
          </p:nvSpPr>
          <p:spPr bwMode="auto">
            <a:xfrm>
              <a:off x="3990764" y="4040873"/>
              <a:ext cx="197322" cy="175120"/>
            </a:xfrm>
            <a:custGeom>
              <a:avLst/>
              <a:gdLst/>
              <a:ahLst/>
              <a:cxnLst>
                <a:cxn ang="0">
                  <a:pos x="33" y="15"/>
                </a:cxn>
                <a:cxn ang="0">
                  <a:pos x="31" y="15"/>
                </a:cxn>
                <a:cxn ang="0">
                  <a:pos x="25" y="6"/>
                </a:cxn>
                <a:cxn ang="0">
                  <a:pos x="25" y="0"/>
                </a:cxn>
                <a:cxn ang="0">
                  <a:pos x="19" y="2"/>
                </a:cxn>
                <a:cxn ang="0">
                  <a:pos x="10" y="9"/>
                </a:cxn>
                <a:cxn ang="0">
                  <a:pos x="6" y="13"/>
                </a:cxn>
                <a:cxn ang="0">
                  <a:pos x="0" y="22"/>
                </a:cxn>
                <a:cxn ang="0">
                  <a:pos x="0" y="27"/>
                </a:cxn>
                <a:cxn ang="0">
                  <a:pos x="2" y="31"/>
                </a:cxn>
                <a:cxn ang="0">
                  <a:pos x="8" y="31"/>
                </a:cxn>
                <a:cxn ang="0">
                  <a:pos x="10" y="33"/>
                </a:cxn>
                <a:cxn ang="0">
                  <a:pos x="10" y="24"/>
                </a:cxn>
                <a:cxn ang="0">
                  <a:pos x="23" y="24"/>
                </a:cxn>
                <a:cxn ang="0">
                  <a:pos x="27" y="24"/>
                </a:cxn>
                <a:cxn ang="0">
                  <a:pos x="31" y="22"/>
                </a:cxn>
                <a:cxn ang="0">
                  <a:pos x="33" y="22"/>
                </a:cxn>
                <a:cxn ang="0">
                  <a:pos x="38" y="18"/>
                </a:cxn>
                <a:cxn ang="0">
                  <a:pos x="35" y="18"/>
                </a:cxn>
                <a:cxn ang="0">
                  <a:pos x="33" y="15"/>
                </a:cxn>
              </a:cxnLst>
              <a:rect l="0" t="0" r="r" b="b"/>
              <a:pathLst>
                <a:path w="38" h="33">
                  <a:moveTo>
                    <a:pt x="33" y="15"/>
                  </a:moveTo>
                  <a:lnTo>
                    <a:pt x="31" y="15"/>
                  </a:lnTo>
                  <a:lnTo>
                    <a:pt x="25" y="6"/>
                  </a:lnTo>
                  <a:lnTo>
                    <a:pt x="25" y="0"/>
                  </a:lnTo>
                  <a:lnTo>
                    <a:pt x="19" y="2"/>
                  </a:lnTo>
                  <a:lnTo>
                    <a:pt x="10" y="9"/>
                  </a:lnTo>
                  <a:lnTo>
                    <a:pt x="6" y="13"/>
                  </a:lnTo>
                  <a:lnTo>
                    <a:pt x="0" y="22"/>
                  </a:lnTo>
                  <a:lnTo>
                    <a:pt x="0" y="27"/>
                  </a:lnTo>
                  <a:lnTo>
                    <a:pt x="2" y="31"/>
                  </a:lnTo>
                  <a:lnTo>
                    <a:pt x="8" y="31"/>
                  </a:lnTo>
                  <a:lnTo>
                    <a:pt x="10" y="33"/>
                  </a:lnTo>
                  <a:lnTo>
                    <a:pt x="10" y="24"/>
                  </a:lnTo>
                  <a:lnTo>
                    <a:pt x="23" y="24"/>
                  </a:lnTo>
                  <a:lnTo>
                    <a:pt x="27" y="24"/>
                  </a:lnTo>
                  <a:lnTo>
                    <a:pt x="31" y="22"/>
                  </a:lnTo>
                  <a:lnTo>
                    <a:pt x="33" y="22"/>
                  </a:lnTo>
                  <a:lnTo>
                    <a:pt x="38" y="18"/>
                  </a:lnTo>
                  <a:lnTo>
                    <a:pt x="35" y="18"/>
                  </a:lnTo>
                  <a:lnTo>
                    <a:pt x="33" y="1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9" name="Freeform 1185"/>
            <p:cNvSpPr>
              <a:spLocks/>
            </p:cNvSpPr>
            <p:nvPr/>
          </p:nvSpPr>
          <p:spPr bwMode="auto">
            <a:xfrm>
              <a:off x="4120582" y="3775539"/>
              <a:ext cx="379066" cy="382081"/>
            </a:xfrm>
            <a:custGeom>
              <a:avLst/>
              <a:gdLst/>
              <a:ahLst/>
              <a:cxnLst>
                <a:cxn ang="0">
                  <a:pos x="63" y="59"/>
                </a:cxn>
                <a:cxn ang="0">
                  <a:pos x="63" y="56"/>
                </a:cxn>
                <a:cxn ang="0">
                  <a:pos x="71" y="38"/>
                </a:cxn>
                <a:cxn ang="0">
                  <a:pos x="73" y="20"/>
                </a:cxn>
                <a:cxn ang="0">
                  <a:pos x="71" y="20"/>
                </a:cxn>
                <a:cxn ang="0">
                  <a:pos x="69" y="14"/>
                </a:cxn>
                <a:cxn ang="0">
                  <a:pos x="69" y="5"/>
                </a:cxn>
                <a:cxn ang="0">
                  <a:pos x="65" y="0"/>
                </a:cxn>
                <a:cxn ang="0">
                  <a:pos x="54" y="0"/>
                </a:cxn>
                <a:cxn ang="0">
                  <a:pos x="25" y="25"/>
                </a:cxn>
                <a:cxn ang="0">
                  <a:pos x="21" y="29"/>
                </a:cxn>
                <a:cxn ang="0">
                  <a:pos x="21" y="43"/>
                </a:cxn>
                <a:cxn ang="0">
                  <a:pos x="17" y="47"/>
                </a:cxn>
                <a:cxn ang="0">
                  <a:pos x="0" y="50"/>
                </a:cxn>
                <a:cxn ang="0">
                  <a:pos x="0" y="56"/>
                </a:cxn>
                <a:cxn ang="0">
                  <a:pos x="6" y="65"/>
                </a:cxn>
                <a:cxn ang="0">
                  <a:pos x="8" y="65"/>
                </a:cxn>
                <a:cxn ang="0">
                  <a:pos x="13" y="68"/>
                </a:cxn>
                <a:cxn ang="0">
                  <a:pos x="15" y="65"/>
                </a:cxn>
                <a:cxn ang="0">
                  <a:pos x="17" y="72"/>
                </a:cxn>
                <a:cxn ang="0">
                  <a:pos x="17" y="65"/>
                </a:cxn>
                <a:cxn ang="0">
                  <a:pos x="21" y="59"/>
                </a:cxn>
                <a:cxn ang="0">
                  <a:pos x="25" y="59"/>
                </a:cxn>
                <a:cxn ang="0">
                  <a:pos x="31" y="63"/>
                </a:cxn>
                <a:cxn ang="0">
                  <a:pos x="38" y="63"/>
                </a:cxn>
                <a:cxn ang="0">
                  <a:pos x="42" y="65"/>
                </a:cxn>
                <a:cxn ang="0">
                  <a:pos x="48" y="63"/>
                </a:cxn>
                <a:cxn ang="0">
                  <a:pos x="56" y="63"/>
                </a:cxn>
                <a:cxn ang="0">
                  <a:pos x="61" y="59"/>
                </a:cxn>
                <a:cxn ang="0">
                  <a:pos x="63" y="59"/>
                </a:cxn>
              </a:cxnLst>
              <a:rect l="0" t="0" r="r" b="b"/>
              <a:pathLst>
                <a:path w="73" h="72">
                  <a:moveTo>
                    <a:pt x="63" y="59"/>
                  </a:moveTo>
                  <a:lnTo>
                    <a:pt x="63" y="56"/>
                  </a:lnTo>
                  <a:lnTo>
                    <a:pt x="71" y="38"/>
                  </a:lnTo>
                  <a:lnTo>
                    <a:pt x="73" y="20"/>
                  </a:lnTo>
                  <a:lnTo>
                    <a:pt x="71" y="20"/>
                  </a:lnTo>
                  <a:lnTo>
                    <a:pt x="69" y="14"/>
                  </a:lnTo>
                  <a:lnTo>
                    <a:pt x="69" y="5"/>
                  </a:lnTo>
                  <a:lnTo>
                    <a:pt x="65" y="0"/>
                  </a:lnTo>
                  <a:lnTo>
                    <a:pt x="54" y="0"/>
                  </a:lnTo>
                  <a:lnTo>
                    <a:pt x="25" y="25"/>
                  </a:lnTo>
                  <a:lnTo>
                    <a:pt x="21" y="29"/>
                  </a:lnTo>
                  <a:lnTo>
                    <a:pt x="21" y="43"/>
                  </a:lnTo>
                  <a:lnTo>
                    <a:pt x="17" y="47"/>
                  </a:lnTo>
                  <a:lnTo>
                    <a:pt x="0" y="50"/>
                  </a:lnTo>
                  <a:lnTo>
                    <a:pt x="0" y="56"/>
                  </a:lnTo>
                  <a:lnTo>
                    <a:pt x="6" y="65"/>
                  </a:lnTo>
                  <a:lnTo>
                    <a:pt x="8" y="65"/>
                  </a:lnTo>
                  <a:lnTo>
                    <a:pt x="13" y="68"/>
                  </a:lnTo>
                  <a:lnTo>
                    <a:pt x="15" y="65"/>
                  </a:lnTo>
                  <a:lnTo>
                    <a:pt x="17" y="72"/>
                  </a:lnTo>
                  <a:lnTo>
                    <a:pt x="17" y="65"/>
                  </a:lnTo>
                  <a:lnTo>
                    <a:pt x="21" y="59"/>
                  </a:lnTo>
                  <a:lnTo>
                    <a:pt x="25" y="59"/>
                  </a:lnTo>
                  <a:lnTo>
                    <a:pt x="31" y="63"/>
                  </a:lnTo>
                  <a:lnTo>
                    <a:pt x="38" y="63"/>
                  </a:lnTo>
                  <a:lnTo>
                    <a:pt x="42" y="65"/>
                  </a:lnTo>
                  <a:lnTo>
                    <a:pt x="48" y="63"/>
                  </a:lnTo>
                  <a:lnTo>
                    <a:pt x="56" y="63"/>
                  </a:lnTo>
                  <a:lnTo>
                    <a:pt x="61" y="59"/>
                  </a:lnTo>
                  <a:lnTo>
                    <a:pt x="63" y="5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" name="Freeform 1186"/>
            <p:cNvSpPr>
              <a:spLocks/>
            </p:cNvSpPr>
            <p:nvPr/>
          </p:nvSpPr>
          <p:spPr bwMode="auto">
            <a:xfrm>
              <a:off x="3829792" y="3727779"/>
              <a:ext cx="399837" cy="456374"/>
            </a:xfrm>
            <a:custGeom>
              <a:avLst/>
              <a:gdLst/>
              <a:ahLst/>
              <a:cxnLst>
                <a:cxn ang="0">
                  <a:pos x="56" y="59"/>
                </a:cxn>
                <a:cxn ang="0">
                  <a:pos x="73" y="56"/>
                </a:cxn>
                <a:cxn ang="0">
                  <a:pos x="77" y="52"/>
                </a:cxn>
                <a:cxn ang="0">
                  <a:pos x="77" y="38"/>
                </a:cxn>
                <a:cxn ang="0">
                  <a:pos x="71" y="38"/>
                </a:cxn>
                <a:cxn ang="0">
                  <a:pos x="71" y="32"/>
                </a:cxn>
                <a:cxn ang="0">
                  <a:pos x="64" y="29"/>
                </a:cxn>
                <a:cxn ang="0">
                  <a:pos x="58" y="25"/>
                </a:cxn>
                <a:cxn ang="0">
                  <a:pos x="33" y="0"/>
                </a:cxn>
                <a:cxn ang="0">
                  <a:pos x="25" y="0"/>
                </a:cxn>
                <a:cxn ang="0">
                  <a:pos x="31" y="56"/>
                </a:cxn>
                <a:cxn ang="0">
                  <a:pos x="8" y="56"/>
                </a:cxn>
                <a:cxn ang="0">
                  <a:pos x="6" y="59"/>
                </a:cxn>
                <a:cxn ang="0">
                  <a:pos x="2" y="56"/>
                </a:cxn>
                <a:cxn ang="0">
                  <a:pos x="0" y="61"/>
                </a:cxn>
                <a:cxn ang="0">
                  <a:pos x="2" y="74"/>
                </a:cxn>
                <a:cxn ang="0">
                  <a:pos x="6" y="77"/>
                </a:cxn>
                <a:cxn ang="0">
                  <a:pos x="10" y="74"/>
                </a:cxn>
                <a:cxn ang="0">
                  <a:pos x="16" y="86"/>
                </a:cxn>
                <a:cxn ang="0">
                  <a:pos x="18" y="86"/>
                </a:cxn>
                <a:cxn ang="0">
                  <a:pos x="23" y="86"/>
                </a:cxn>
                <a:cxn ang="0">
                  <a:pos x="25" y="86"/>
                </a:cxn>
                <a:cxn ang="0">
                  <a:pos x="29" y="86"/>
                </a:cxn>
                <a:cxn ang="0">
                  <a:pos x="31" y="86"/>
                </a:cxn>
                <a:cxn ang="0">
                  <a:pos x="31" y="81"/>
                </a:cxn>
                <a:cxn ang="0">
                  <a:pos x="37" y="72"/>
                </a:cxn>
                <a:cxn ang="0">
                  <a:pos x="41" y="68"/>
                </a:cxn>
                <a:cxn ang="0">
                  <a:pos x="50" y="61"/>
                </a:cxn>
                <a:cxn ang="0">
                  <a:pos x="52" y="61"/>
                </a:cxn>
                <a:cxn ang="0">
                  <a:pos x="56" y="59"/>
                </a:cxn>
              </a:cxnLst>
              <a:rect l="0" t="0" r="r" b="b"/>
              <a:pathLst>
                <a:path w="77" h="86">
                  <a:moveTo>
                    <a:pt x="56" y="59"/>
                  </a:moveTo>
                  <a:lnTo>
                    <a:pt x="73" y="56"/>
                  </a:lnTo>
                  <a:lnTo>
                    <a:pt x="77" y="52"/>
                  </a:lnTo>
                  <a:lnTo>
                    <a:pt x="77" y="38"/>
                  </a:lnTo>
                  <a:lnTo>
                    <a:pt x="71" y="38"/>
                  </a:lnTo>
                  <a:lnTo>
                    <a:pt x="71" y="32"/>
                  </a:lnTo>
                  <a:lnTo>
                    <a:pt x="64" y="29"/>
                  </a:lnTo>
                  <a:lnTo>
                    <a:pt x="58" y="25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31" y="56"/>
                  </a:lnTo>
                  <a:lnTo>
                    <a:pt x="8" y="56"/>
                  </a:lnTo>
                  <a:lnTo>
                    <a:pt x="6" y="59"/>
                  </a:lnTo>
                  <a:lnTo>
                    <a:pt x="2" y="56"/>
                  </a:lnTo>
                  <a:lnTo>
                    <a:pt x="0" y="61"/>
                  </a:lnTo>
                  <a:lnTo>
                    <a:pt x="2" y="74"/>
                  </a:lnTo>
                  <a:lnTo>
                    <a:pt x="6" y="77"/>
                  </a:lnTo>
                  <a:lnTo>
                    <a:pt x="10" y="74"/>
                  </a:lnTo>
                  <a:lnTo>
                    <a:pt x="16" y="86"/>
                  </a:lnTo>
                  <a:lnTo>
                    <a:pt x="18" y="86"/>
                  </a:lnTo>
                  <a:lnTo>
                    <a:pt x="23" y="86"/>
                  </a:lnTo>
                  <a:lnTo>
                    <a:pt x="25" y="86"/>
                  </a:lnTo>
                  <a:lnTo>
                    <a:pt x="29" y="86"/>
                  </a:lnTo>
                  <a:lnTo>
                    <a:pt x="31" y="86"/>
                  </a:lnTo>
                  <a:lnTo>
                    <a:pt x="31" y="81"/>
                  </a:lnTo>
                  <a:lnTo>
                    <a:pt x="37" y="72"/>
                  </a:lnTo>
                  <a:lnTo>
                    <a:pt x="41" y="68"/>
                  </a:lnTo>
                  <a:lnTo>
                    <a:pt x="50" y="61"/>
                  </a:lnTo>
                  <a:lnTo>
                    <a:pt x="52" y="61"/>
                  </a:lnTo>
                  <a:lnTo>
                    <a:pt x="56" y="5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1" name="Freeform 1187"/>
            <p:cNvSpPr>
              <a:spLocks/>
            </p:cNvSpPr>
            <p:nvPr/>
          </p:nvSpPr>
          <p:spPr bwMode="auto">
            <a:xfrm>
              <a:off x="4650237" y="3802073"/>
              <a:ext cx="399837" cy="594348"/>
            </a:xfrm>
            <a:custGeom>
              <a:avLst/>
              <a:gdLst/>
              <a:ahLst/>
              <a:cxnLst>
                <a:cxn ang="0">
                  <a:pos x="65" y="103"/>
                </a:cxn>
                <a:cxn ang="0">
                  <a:pos x="63" y="99"/>
                </a:cxn>
                <a:cxn ang="0">
                  <a:pos x="57" y="90"/>
                </a:cxn>
                <a:cxn ang="0">
                  <a:pos x="55" y="87"/>
                </a:cxn>
                <a:cxn ang="0">
                  <a:pos x="55" y="85"/>
                </a:cxn>
                <a:cxn ang="0">
                  <a:pos x="57" y="85"/>
                </a:cxn>
                <a:cxn ang="0">
                  <a:pos x="59" y="72"/>
                </a:cxn>
                <a:cxn ang="0">
                  <a:pos x="67" y="58"/>
                </a:cxn>
                <a:cxn ang="0">
                  <a:pos x="71" y="36"/>
                </a:cxn>
                <a:cxn ang="0">
                  <a:pos x="77" y="33"/>
                </a:cxn>
                <a:cxn ang="0">
                  <a:pos x="77" y="29"/>
                </a:cxn>
                <a:cxn ang="0">
                  <a:pos x="73" y="27"/>
                </a:cxn>
                <a:cxn ang="0">
                  <a:pos x="67" y="4"/>
                </a:cxn>
                <a:cxn ang="0">
                  <a:pos x="63" y="2"/>
                </a:cxn>
                <a:cxn ang="0">
                  <a:pos x="63" y="0"/>
                </a:cxn>
                <a:cxn ang="0">
                  <a:pos x="57" y="4"/>
                </a:cxn>
                <a:cxn ang="0">
                  <a:pos x="50" y="4"/>
                </a:cxn>
                <a:cxn ang="0">
                  <a:pos x="15" y="4"/>
                </a:cxn>
                <a:cxn ang="0">
                  <a:pos x="15" y="18"/>
                </a:cxn>
                <a:cxn ang="0">
                  <a:pos x="9" y="18"/>
                </a:cxn>
                <a:cxn ang="0">
                  <a:pos x="9" y="20"/>
                </a:cxn>
                <a:cxn ang="0">
                  <a:pos x="9" y="38"/>
                </a:cxn>
                <a:cxn ang="0">
                  <a:pos x="9" y="42"/>
                </a:cxn>
                <a:cxn ang="0">
                  <a:pos x="7" y="42"/>
                </a:cxn>
                <a:cxn ang="0">
                  <a:pos x="0" y="58"/>
                </a:cxn>
                <a:cxn ang="0">
                  <a:pos x="7" y="67"/>
                </a:cxn>
                <a:cxn ang="0">
                  <a:pos x="2" y="69"/>
                </a:cxn>
                <a:cxn ang="0">
                  <a:pos x="9" y="76"/>
                </a:cxn>
                <a:cxn ang="0">
                  <a:pos x="9" y="81"/>
                </a:cxn>
                <a:cxn ang="0">
                  <a:pos x="15" y="85"/>
                </a:cxn>
                <a:cxn ang="0">
                  <a:pos x="27" y="103"/>
                </a:cxn>
                <a:cxn ang="0">
                  <a:pos x="32" y="105"/>
                </a:cxn>
                <a:cxn ang="0">
                  <a:pos x="38" y="105"/>
                </a:cxn>
                <a:cxn ang="0">
                  <a:pos x="42" y="112"/>
                </a:cxn>
                <a:cxn ang="0">
                  <a:pos x="48" y="112"/>
                </a:cxn>
                <a:cxn ang="0">
                  <a:pos x="57" y="110"/>
                </a:cxn>
                <a:cxn ang="0">
                  <a:pos x="59" y="105"/>
                </a:cxn>
                <a:cxn ang="0">
                  <a:pos x="65" y="105"/>
                </a:cxn>
                <a:cxn ang="0">
                  <a:pos x="65" y="103"/>
                </a:cxn>
              </a:cxnLst>
              <a:rect l="0" t="0" r="r" b="b"/>
              <a:pathLst>
                <a:path w="77" h="112">
                  <a:moveTo>
                    <a:pt x="65" y="103"/>
                  </a:moveTo>
                  <a:lnTo>
                    <a:pt x="63" y="99"/>
                  </a:lnTo>
                  <a:lnTo>
                    <a:pt x="57" y="90"/>
                  </a:lnTo>
                  <a:lnTo>
                    <a:pt x="55" y="87"/>
                  </a:lnTo>
                  <a:lnTo>
                    <a:pt x="55" y="85"/>
                  </a:lnTo>
                  <a:lnTo>
                    <a:pt x="57" y="85"/>
                  </a:lnTo>
                  <a:lnTo>
                    <a:pt x="59" y="72"/>
                  </a:lnTo>
                  <a:lnTo>
                    <a:pt x="67" y="58"/>
                  </a:lnTo>
                  <a:lnTo>
                    <a:pt x="71" y="36"/>
                  </a:lnTo>
                  <a:lnTo>
                    <a:pt x="77" y="33"/>
                  </a:lnTo>
                  <a:lnTo>
                    <a:pt x="77" y="29"/>
                  </a:lnTo>
                  <a:lnTo>
                    <a:pt x="73" y="27"/>
                  </a:lnTo>
                  <a:lnTo>
                    <a:pt x="67" y="4"/>
                  </a:lnTo>
                  <a:lnTo>
                    <a:pt x="63" y="2"/>
                  </a:lnTo>
                  <a:lnTo>
                    <a:pt x="63" y="0"/>
                  </a:lnTo>
                  <a:lnTo>
                    <a:pt x="57" y="4"/>
                  </a:lnTo>
                  <a:lnTo>
                    <a:pt x="50" y="4"/>
                  </a:lnTo>
                  <a:lnTo>
                    <a:pt x="15" y="4"/>
                  </a:lnTo>
                  <a:lnTo>
                    <a:pt x="15" y="18"/>
                  </a:lnTo>
                  <a:lnTo>
                    <a:pt x="9" y="18"/>
                  </a:lnTo>
                  <a:lnTo>
                    <a:pt x="9" y="20"/>
                  </a:lnTo>
                  <a:lnTo>
                    <a:pt x="9" y="38"/>
                  </a:lnTo>
                  <a:lnTo>
                    <a:pt x="9" y="42"/>
                  </a:lnTo>
                  <a:lnTo>
                    <a:pt x="7" y="42"/>
                  </a:lnTo>
                  <a:lnTo>
                    <a:pt x="0" y="58"/>
                  </a:lnTo>
                  <a:lnTo>
                    <a:pt x="7" y="67"/>
                  </a:lnTo>
                  <a:lnTo>
                    <a:pt x="2" y="69"/>
                  </a:lnTo>
                  <a:lnTo>
                    <a:pt x="9" y="76"/>
                  </a:lnTo>
                  <a:lnTo>
                    <a:pt x="9" y="81"/>
                  </a:lnTo>
                  <a:lnTo>
                    <a:pt x="15" y="85"/>
                  </a:lnTo>
                  <a:lnTo>
                    <a:pt x="27" y="103"/>
                  </a:lnTo>
                  <a:lnTo>
                    <a:pt x="32" y="105"/>
                  </a:lnTo>
                  <a:lnTo>
                    <a:pt x="38" y="105"/>
                  </a:lnTo>
                  <a:lnTo>
                    <a:pt x="42" y="112"/>
                  </a:lnTo>
                  <a:lnTo>
                    <a:pt x="48" y="112"/>
                  </a:lnTo>
                  <a:lnTo>
                    <a:pt x="57" y="110"/>
                  </a:lnTo>
                  <a:lnTo>
                    <a:pt x="59" y="105"/>
                  </a:lnTo>
                  <a:lnTo>
                    <a:pt x="65" y="105"/>
                  </a:lnTo>
                  <a:lnTo>
                    <a:pt x="65" y="103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2" name="Freeform 1188"/>
            <p:cNvSpPr>
              <a:spLocks/>
            </p:cNvSpPr>
            <p:nvPr/>
          </p:nvSpPr>
          <p:spPr bwMode="auto">
            <a:xfrm>
              <a:off x="4338675" y="3488979"/>
              <a:ext cx="389451" cy="419227"/>
            </a:xfrm>
            <a:custGeom>
              <a:avLst/>
              <a:gdLst/>
              <a:ahLst/>
              <a:cxnLst>
                <a:cxn ang="0">
                  <a:pos x="75" y="63"/>
                </a:cxn>
                <a:cxn ang="0">
                  <a:pos x="71" y="27"/>
                </a:cxn>
                <a:cxn ang="0">
                  <a:pos x="71" y="18"/>
                </a:cxn>
                <a:cxn ang="0">
                  <a:pos x="71" y="9"/>
                </a:cxn>
                <a:cxn ang="0">
                  <a:pos x="62" y="7"/>
                </a:cxn>
                <a:cxn ang="0">
                  <a:pos x="62" y="2"/>
                </a:cxn>
                <a:cxn ang="0">
                  <a:pos x="58" y="2"/>
                </a:cxn>
                <a:cxn ang="0">
                  <a:pos x="50" y="7"/>
                </a:cxn>
                <a:cxn ang="0">
                  <a:pos x="50" y="16"/>
                </a:cxn>
                <a:cxn ang="0">
                  <a:pos x="46" y="18"/>
                </a:cxn>
                <a:cxn ang="0">
                  <a:pos x="44" y="16"/>
                </a:cxn>
                <a:cxn ang="0">
                  <a:pos x="37" y="11"/>
                </a:cxn>
                <a:cxn ang="0">
                  <a:pos x="29" y="9"/>
                </a:cxn>
                <a:cxn ang="0">
                  <a:pos x="29" y="7"/>
                </a:cxn>
                <a:cxn ang="0">
                  <a:pos x="23" y="2"/>
                </a:cxn>
                <a:cxn ang="0">
                  <a:pos x="14" y="2"/>
                </a:cxn>
                <a:cxn ang="0">
                  <a:pos x="10" y="0"/>
                </a:cxn>
                <a:cxn ang="0">
                  <a:pos x="10" y="7"/>
                </a:cxn>
                <a:cxn ang="0">
                  <a:pos x="4" y="9"/>
                </a:cxn>
                <a:cxn ang="0">
                  <a:pos x="4" y="16"/>
                </a:cxn>
                <a:cxn ang="0">
                  <a:pos x="0" y="16"/>
                </a:cxn>
                <a:cxn ang="0">
                  <a:pos x="0" y="18"/>
                </a:cxn>
                <a:cxn ang="0">
                  <a:pos x="4" y="20"/>
                </a:cxn>
                <a:cxn ang="0">
                  <a:pos x="4" y="32"/>
                </a:cxn>
                <a:cxn ang="0">
                  <a:pos x="4" y="36"/>
                </a:cxn>
                <a:cxn ang="0">
                  <a:pos x="0" y="41"/>
                </a:cxn>
                <a:cxn ang="0">
                  <a:pos x="6" y="50"/>
                </a:cxn>
                <a:cxn ang="0">
                  <a:pos x="10" y="50"/>
                </a:cxn>
                <a:cxn ang="0">
                  <a:pos x="12" y="54"/>
                </a:cxn>
                <a:cxn ang="0">
                  <a:pos x="23" y="54"/>
                </a:cxn>
                <a:cxn ang="0">
                  <a:pos x="27" y="59"/>
                </a:cxn>
                <a:cxn ang="0">
                  <a:pos x="35" y="59"/>
                </a:cxn>
                <a:cxn ang="0">
                  <a:pos x="69" y="79"/>
                </a:cxn>
                <a:cxn ang="0">
                  <a:pos x="69" y="77"/>
                </a:cxn>
                <a:cxn ang="0">
                  <a:pos x="75" y="77"/>
                </a:cxn>
                <a:cxn ang="0">
                  <a:pos x="75" y="70"/>
                </a:cxn>
                <a:cxn ang="0">
                  <a:pos x="75" y="63"/>
                </a:cxn>
              </a:cxnLst>
              <a:rect l="0" t="0" r="r" b="b"/>
              <a:pathLst>
                <a:path w="75" h="79">
                  <a:moveTo>
                    <a:pt x="75" y="63"/>
                  </a:moveTo>
                  <a:lnTo>
                    <a:pt x="71" y="27"/>
                  </a:lnTo>
                  <a:lnTo>
                    <a:pt x="71" y="18"/>
                  </a:lnTo>
                  <a:lnTo>
                    <a:pt x="71" y="9"/>
                  </a:lnTo>
                  <a:lnTo>
                    <a:pt x="62" y="7"/>
                  </a:lnTo>
                  <a:lnTo>
                    <a:pt x="62" y="2"/>
                  </a:lnTo>
                  <a:lnTo>
                    <a:pt x="58" y="2"/>
                  </a:lnTo>
                  <a:lnTo>
                    <a:pt x="50" y="7"/>
                  </a:lnTo>
                  <a:lnTo>
                    <a:pt x="50" y="16"/>
                  </a:lnTo>
                  <a:lnTo>
                    <a:pt x="46" y="18"/>
                  </a:lnTo>
                  <a:lnTo>
                    <a:pt x="44" y="16"/>
                  </a:lnTo>
                  <a:lnTo>
                    <a:pt x="37" y="11"/>
                  </a:lnTo>
                  <a:lnTo>
                    <a:pt x="29" y="9"/>
                  </a:lnTo>
                  <a:lnTo>
                    <a:pt x="29" y="7"/>
                  </a:lnTo>
                  <a:lnTo>
                    <a:pt x="23" y="2"/>
                  </a:lnTo>
                  <a:lnTo>
                    <a:pt x="14" y="2"/>
                  </a:lnTo>
                  <a:lnTo>
                    <a:pt x="10" y="0"/>
                  </a:lnTo>
                  <a:lnTo>
                    <a:pt x="10" y="7"/>
                  </a:lnTo>
                  <a:lnTo>
                    <a:pt x="4" y="9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4" y="20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0" y="41"/>
                  </a:lnTo>
                  <a:lnTo>
                    <a:pt x="6" y="50"/>
                  </a:lnTo>
                  <a:lnTo>
                    <a:pt x="10" y="50"/>
                  </a:lnTo>
                  <a:lnTo>
                    <a:pt x="12" y="54"/>
                  </a:lnTo>
                  <a:lnTo>
                    <a:pt x="23" y="54"/>
                  </a:lnTo>
                  <a:lnTo>
                    <a:pt x="27" y="59"/>
                  </a:lnTo>
                  <a:lnTo>
                    <a:pt x="35" y="59"/>
                  </a:lnTo>
                  <a:lnTo>
                    <a:pt x="69" y="79"/>
                  </a:lnTo>
                  <a:lnTo>
                    <a:pt x="69" y="77"/>
                  </a:lnTo>
                  <a:lnTo>
                    <a:pt x="75" y="77"/>
                  </a:lnTo>
                  <a:lnTo>
                    <a:pt x="75" y="70"/>
                  </a:lnTo>
                  <a:lnTo>
                    <a:pt x="75" y="63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3" name="Freeform 1189"/>
            <p:cNvSpPr>
              <a:spLocks/>
            </p:cNvSpPr>
            <p:nvPr/>
          </p:nvSpPr>
          <p:spPr bwMode="auto">
            <a:xfrm>
              <a:off x="3912875" y="3366925"/>
              <a:ext cx="488112" cy="562507"/>
            </a:xfrm>
            <a:custGeom>
              <a:avLst/>
              <a:gdLst/>
              <a:ahLst/>
              <a:cxnLst>
                <a:cxn ang="0">
                  <a:pos x="78" y="0"/>
                </a:cxn>
                <a:cxn ang="0">
                  <a:pos x="69" y="0"/>
                </a:cxn>
                <a:cxn ang="0">
                  <a:pos x="65" y="0"/>
                </a:cxn>
                <a:cxn ang="0">
                  <a:pos x="61" y="0"/>
                </a:cxn>
                <a:cxn ang="0">
                  <a:pos x="46" y="5"/>
                </a:cxn>
                <a:cxn ang="0">
                  <a:pos x="32" y="12"/>
                </a:cxn>
                <a:cxn ang="0">
                  <a:pos x="34" y="14"/>
                </a:cxn>
                <a:cxn ang="0">
                  <a:pos x="34" y="30"/>
                </a:cxn>
                <a:cxn ang="0">
                  <a:pos x="23" y="32"/>
                </a:cxn>
                <a:cxn ang="0">
                  <a:pos x="23" y="34"/>
                </a:cxn>
                <a:cxn ang="0">
                  <a:pos x="17" y="41"/>
                </a:cxn>
                <a:cxn ang="0">
                  <a:pos x="2" y="43"/>
                </a:cxn>
                <a:cxn ang="0">
                  <a:pos x="0" y="48"/>
                </a:cxn>
                <a:cxn ang="0">
                  <a:pos x="0" y="55"/>
                </a:cxn>
                <a:cxn ang="0">
                  <a:pos x="0" y="57"/>
                </a:cxn>
                <a:cxn ang="0">
                  <a:pos x="17" y="68"/>
                </a:cxn>
                <a:cxn ang="0">
                  <a:pos x="42" y="93"/>
                </a:cxn>
                <a:cxn ang="0">
                  <a:pos x="48" y="97"/>
                </a:cxn>
                <a:cxn ang="0">
                  <a:pos x="55" y="100"/>
                </a:cxn>
                <a:cxn ang="0">
                  <a:pos x="55" y="106"/>
                </a:cxn>
                <a:cxn ang="0">
                  <a:pos x="61" y="106"/>
                </a:cxn>
                <a:cxn ang="0">
                  <a:pos x="65" y="102"/>
                </a:cxn>
                <a:cxn ang="0">
                  <a:pos x="94" y="77"/>
                </a:cxn>
                <a:cxn ang="0">
                  <a:pos x="92" y="73"/>
                </a:cxn>
                <a:cxn ang="0">
                  <a:pos x="88" y="73"/>
                </a:cxn>
                <a:cxn ang="0">
                  <a:pos x="82" y="64"/>
                </a:cxn>
                <a:cxn ang="0">
                  <a:pos x="86" y="59"/>
                </a:cxn>
                <a:cxn ang="0">
                  <a:pos x="86" y="55"/>
                </a:cxn>
                <a:cxn ang="0">
                  <a:pos x="86" y="43"/>
                </a:cxn>
                <a:cxn ang="0">
                  <a:pos x="82" y="41"/>
                </a:cxn>
                <a:cxn ang="0">
                  <a:pos x="82" y="39"/>
                </a:cxn>
                <a:cxn ang="0">
                  <a:pos x="82" y="30"/>
                </a:cxn>
                <a:cxn ang="0">
                  <a:pos x="78" y="25"/>
                </a:cxn>
                <a:cxn ang="0">
                  <a:pos x="73" y="21"/>
                </a:cxn>
                <a:cxn ang="0">
                  <a:pos x="80" y="14"/>
                </a:cxn>
                <a:cxn ang="0">
                  <a:pos x="80" y="5"/>
                </a:cxn>
                <a:cxn ang="0">
                  <a:pos x="80" y="0"/>
                </a:cxn>
                <a:cxn ang="0">
                  <a:pos x="78" y="0"/>
                </a:cxn>
              </a:cxnLst>
              <a:rect l="0" t="0" r="r" b="b"/>
              <a:pathLst>
                <a:path w="94" h="106">
                  <a:moveTo>
                    <a:pt x="78" y="0"/>
                  </a:moveTo>
                  <a:lnTo>
                    <a:pt x="69" y="0"/>
                  </a:lnTo>
                  <a:lnTo>
                    <a:pt x="65" y="0"/>
                  </a:lnTo>
                  <a:lnTo>
                    <a:pt x="61" y="0"/>
                  </a:lnTo>
                  <a:lnTo>
                    <a:pt x="46" y="5"/>
                  </a:lnTo>
                  <a:lnTo>
                    <a:pt x="32" y="12"/>
                  </a:lnTo>
                  <a:lnTo>
                    <a:pt x="34" y="14"/>
                  </a:lnTo>
                  <a:lnTo>
                    <a:pt x="34" y="30"/>
                  </a:lnTo>
                  <a:lnTo>
                    <a:pt x="23" y="32"/>
                  </a:lnTo>
                  <a:lnTo>
                    <a:pt x="23" y="34"/>
                  </a:lnTo>
                  <a:lnTo>
                    <a:pt x="17" y="41"/>
                  </a:lnTo>
                  <a:lnTo>
                    <a:pt x="2" y="43"/>
                  </a:lnTo>
                  <a:lnTo>
                    <a:pt x="0" y="48"/>
                  </a:lnTo>
                  <a:lnTo>
                    <a:pt x="0" y="55"/>
                  </a:lnTo>
                  <a:lnTo>
                    <a:pt x="0" y="57"/>
                  </a:lnTo>
                  <a:lnTo>
                    <a:pt x="17" y="68"/>
                  </a:lnTo>
                  <a:lnTo>
                    <a:pt x="42" y="93"/>
                  </a:lnTo>
                  <a:lnTo>
                    <a:pt x="48" y="97"/>
                  </a:lnTo>
                  <a:lnTo>
                    <a:pt x="55" y="100"/>
                  </a:lnTo>
                  <a:lnTo>
                    <a:pt x="55" y="106"/>
                  </a:lnTo>
                  <a:lnTo>
                    <a:pt x="61" y="106"/>
                  </a:lnTo>
                  <a:lnTo>
                    <a:pt x="65" y="102"/>
                  </a:lnTo>
                  <a:lnTo>
                    <a:pt x="94" y="77"/>
                  </a:lnTo>
                  <a:lnTo>
                    <a:pt x="92" y="73"/>
                  </a:lnTo>
                  <a:lnTo>
                    <a:pt x="88" y="73"/>
                  </a:lnTo>
                  <a:lnTo>
                    <a:pt x="82" y="64"/>
                  </a:lnTo>
                  <a:lnTo>
                    <a:pt x="86" y="59"/>
                  </a:lnTo>
                  <a:lnTo>
                    <a:pt x="86" y="55"/>
                  </a:lnTo>
                  <a:lnTo>
                    <a:pt x="86" y="43"/>
                  </a:lnTo>
                  <a:lnTo>
                    <a:pt x="82" y="41"/>
                  </a:lnTo>
                  <a:lnTo>
                    <a:pt x="82" y="39"/>
                  </a:lnTo>
                  <a:lnTo>
                    <a:pt x="82" y="30"/>
                  </a:lnTo>
                  <a:lnTo>
                    <a:pt x="78" y="25"/>
                  </a:lnTo>
                  <a:lnTo>
                    <a:pt x="73" y="21"/>
                  </a:lnTo>
                  <a:lnTo>
                    <a:pt x="80" y="14"/>
                  </a:lnTo>
                  <a:lnTo>
                    <a:pt x="80" y="5"/>
                  </a:lnTo>
                  <a:lnTo>
                    <a:pt x="80" y="0"/>
                  </a:lnTo>
                  <a:lnTo>
                    <a:pt x="78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4" name="Freeform 1190"/>
            <p:cNvSpPr>
              <a:spLocks/>
            </p:cNvSpPr>
            <p:nvPr/>
          </p:nvSpPr>
          <p:spPr bwMode="auto">
            <a:xfrm>
              <a:off x="4447721" y="3802073"/>
              <a:ext cx="249249" cy="477601"/>
            </a:xfrm>
            <a:custGeom>
              <a:avLst/>
              <a:gdLst/>
              <a:ahLst/>
              <a:cxnLst>
                <a:cxn ang="0">
                  <a:pos x="6" y="9"/>
                </a:cxn>
                <a:cxn ang="0">
                  <a:pos x="8" y="15"/>
                </a:cxn>
                <a:cxn ang="0">
                  <a:pos x="10" y="15"/>
                </a:cxn>
                <a:cxn ang="0">
                  <a:pos x="8" y="33"/>
                </a:cxn>
                <a:cxn ang="0">
                  <a:pos x="0" y="51"/>
                </a:cxn>
                <a:cxn ang="0">
                  <a:pos x="0" y="54"/>
                </a:cxn>
                <a:cxn ang="0">
                  <a:pos x="2" y="58"/>
                </a:cxn>
                <a:cxn ang="0">
                  <a:pos x="6" y="60"/>
                </a:cxn>
                <a:cxn ang="0">
                  <a:pos x="6" y="69"/>
                </a:cxn>
                <a:cxn ang="0">
                  <a:pos x="8" y="76"/>
                </a:cxn>
                <a:cxn ang="0">
                  <a:pos x="2" y="76"/>
                </a:cxn>
                <a:cxn ang="0">
                  <a:pos x="2" y="78"/>
                </a:cxn>
                <a:cxn ang="0">
                  <a:pos x="6" y="81"/>
                </a:cxn>
                <a:cxn ang="0">
                  <a:pos x="8" y="90"/>
                </a:cxn>
                <a:cxn ang="0">
                  <a:pos x="23" y="87"/>
                </a:cxn>
                <a:cxn ang="0">
                  <a:pos x="25" y="85"/>
                </a:cxn>
                <a:cxn ang="0">
                  <a:pos x="25" y="81"/>
                </a:cxn>
                <a:cxn ang="0">
                  <a:pos x="33" y="78"/>
                </a:cxn>
                <a:cxn ang="0">
                  <a:pos x="39" y="72"/>
                </a:cxn>
                <a:cxn ang="0">
                  <a:pos x="41" y="69"/>
                </a:cxn>
                <a:cxn ang="0">
                  <a:pos x="46" y="67"/>
                </a:cxn>
                <a:cxn ang="0">
                  <a:pos x="39" y="58"/>
                </a:cxn>
                <a:cxn ang="0">
                  <a:pos x="46" y="42"/>
                </a:cxn>
                <a:cxn ang="0">
                  <a:pos x="48" y="42"/>
                </a:cxn>
                <a:cxn ang="0">
                  <a:pos x="48" y="38"/>
                </a:cxn>
                <a:cxn ang="0">
                  <a:pos x="48" y="20"/>
                </a:cxn>
                <a:cxn ang="0">
                  <a:pos x="14" y="0"/>
                </a:cxn>
                <a:cxn ang="0">
                  <a:pos x="6" y="0"/>
                </a:cxn>
                <a:cxn ang="0">
                  <a:pos x="6" y="4"/>
                </a:cxn>
                <a:cxn ang="0">
                  <a:pos x="6" y="9"/>
                </a:cxn>
              </a:cxnLst>
              <a:rect l="0" t="0" r="r" b="b"/>
              <a:pathLst>
                <a:path w="48" h="90">
                  <a:moveTo>
                    <a:pt x="6" y="9"/>
                  </a:moveTo>
                  <a:lnTo>
                    <a:pt x="8" y="15"/>
                  </a:lnTo>
                  <a:lnTo>
                    <a:pt x="10" y="15"/>
                  </a:lnTo>
                  <a:lnTo>
                    <a:pt x="8" y="33"/>
                  </a:lnTo>
                  <a:lnTo>
                    <a:pt x="0" y="51"/>
                  </a:lnTo>
                  <a:lnTo>
                    <a:pt x="0" y="54"/>
                  </a:lnTo>
                  <a:lnTo>
                    <a:pt x="2" y="58"/>
                  </a:lnTo>
                  <a:lnTo>
                    <a:pt x="6" y="60"/>
                  </a:lnTo>
                  <a:lnTo>
                    <a:pt x="6" y="69"/>
                  </a:lnTo>
                  <a:lnTo>
                    <a:pt x="8" y="76"/>
                  </a:lnTo>
                  <a:lnTo>
                    <a:pt x="2" y="76"/>
                  </a:lnTo>
                  <a:lnTo>
                    <a:pt x="2" y="78"/>
                  </a:lnTo>
                  <a:lnTo>
                    <a:pt x="6" y="81"/>
                  </a:lnTo>
                  <a:lnTo>
                    <a:pt x="8" y="90"/>
                  </a:lnTo>
                  <a:lnTo>
                    <a:pt x="23" y="87"/>
                  </a:lnTo>
                  <a:lnTo>
                    <a:pt x="25" y="85"/>
                  </a:lnTo>
                  <a:lnTo>
                    <a:pt x="25" y="81"/>
                  </a:lnTo>
                  <a:lnTo>
                    <a:pt x="33" y="78"/>
                  </a:lnTo>
                  <a:lnTo>
                    <a:pt x="39" y="72"/>
                  </a:lnTo>
                  <a:lnTo>
                    <a:pt x="41" y="69"/>
                  </a:lnTo>
                  <a:lnTo>
                    <a:pt x="46" y="67"/>
                  </a:lnTo>
                  <a:lnTo>
                    <a:pt x="39" y="58"/>
                  </a:lnTo>
                  <a:lnTo>
                    <a:pt x="46" y="42"/>
                  </a:lnTo>
                  <a:lnTo>
                    <a:pt x="48" y="42"/>
                  </a:lnTo>
                  <a:lnTo>
                    <a:pt x="48" y="38"/>
                  </a:lnTo>
                  <a:lnTo>
                    <a:pt x="48" y="20"/>
                  </a:lnTo>
                  <a:lnTo>
                    <a:pt x="14" y="0"/>
                  </a:lnTo>
                  <a:lnTo>
                    <a:pt x="6" y="0"/>
                  </a:lnTo>
                  <a:lnTo>
                    <a:pt x="6" y="4"/>
                  </a:lnTo>
                  <a:lnTo>
                    <a:pt x="6" y="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5" name="Freeform 1191"/>
            <p:cNvSpPr>
              <a:spLocks/>
            </p:cNvSpPr>
            <p:nvPr/>
          </p:nvSpPr>
          <p:spPr bwMode="auto">
            <a:xfrm>
              <a:off x="5148734" y="3955966"/>
              <a:ext cx="249249" cy="164507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7" y="7"/>
                </a:cxn>
                <a:cxn ang="0">
                  <a:pos x="15" y="18"/>
                </a:cxn>
                <a:cxn ang="0">
                  <a:pos x="32" y="4"/>
                </a:cxn>
                <a:cxn ang="0">
                  <a:pos x="46" y="0"/>
                </a:cxn>
                <a:cxn ang="0">
                  <a:pos x="48" y="7"/>
                </a:cxn>
                <a:cxn ang="0">
                  <a:pos x="48" y="9"/>
                </a:cxn>
                <a:cxn ang="0">
                  <a:pos x="46" y="9"/>
                </a:cxn>
                <a:cxn ang="0">
                  <a:pos x="46" y="13"/>
                </a:cxn>
                <a:cxn ang="0">
                  <a:pos x="34" y="18"/>
                </a:cxn>
                <a:cxn ang="0">
                  <a:pos x="23" y="29"/>
                </a:cxn>
                <a:cxn ang="0">
                  <a:pos x="15" y="29"/>
                </a:cxn>
                <a:cxn ang="0">
                  <a:pos x="11" y="31"/>
                </a:cxn>
                <a:cxn ang="0">
                  <a:pos x="7" y="31"/>
                </a:cxn>
                <a:cxn ang="0">
                  <a:pos x="2" y="20"/>
                </a:cxn>
                <a:cxn ang="0">
                  <a:pos x="0" y="9"/>
                </a:cxn>
              </a:cxnLst>
              <a:rect l="0" t="0" r="r" b="b"/>
              <a:pathLst>
                <a:path w="48" h="31">
                  <a:moveTo>
                    <a:pt x="0" y="9"/>
                  </a:moveTo>
                  <a:lnTo>
                    <a:pt x="7" y="7"/>
                  </a:lnTo>
                  <a:lnTo>
                    <a:pt x="15" y="18"/>
                  </a:lnTo>
                  <a:lnTo>
                    <a:pt x="32" y="4"/>
                  </a:lnTo>
                  <a:lnTo>
                    <a:pt x="46" y="0"/>
                  </a:lnTo>
                  <a:lnTo>
                    <a:pt x="48" y="7"/>
                  </a:lnTo>
                  <a:lnTo>
                    <a:pt x="48" y="9"/>
                  </a:lnTo>
                  <a:lnTo>
                    <a:pt x="46" y="9"/>
                  </a:lnTo>
                  <a:lnTo>
                    <a:pt x="46" y="13"/>
                  </a:lnTo>
                  <a:lnTo>
                    <a:pt x="34" y="18"/>
                  </a:lnTo>
                  <a:lnTo>
                    <a:pt x="23" y="29"/>
                  </a:lnTo>
                  <a:lnTo>
                    <a:pt x="15" y="29"/>
                  </a:lnTo>
                  <a:lnTo>
                    <a:pt x="11" y="31"/>
                  </a:lnTo>
                  <a:lnTo>
                    <a:pt x="7" y="31"/>
                  </a:lnTo>
                  <a:lnTo>
                    <a:pt x="2" y="20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6" name="Freeform 1192"/>
            <p:cNvSpPr>
              <a:spLocks/>
            </p:cNvSpPr>
            <p:nvPr/>
          </p:nvSpPr>
          <p:spPr bwMode="auto">
            <a:xfrm>
              <a:off x="5387597" y="3754313"/>
              <a:ext cx="176552" cy="238800"/>
            </a:xfrm>
            <a:custGeom>
              <a:avLst/>
              <a:gdLst/>
              <a:ahLst/>
              <a:cxnLst>
                <a:cxn ang="0">
                  <a:pos x="9" y="45"/>
                </a:cxn>
                <a:cxn ang="0">
                  <a:pos x="11" y="45"/>
                </a:cxn>
                <a:cxn ang="0">
                  <a:pos x="15" y="38"/>
                </a:cxn>
                <a:cxn ang="0">
                  <a:pos x="19" y="38"/>
                </a:cxn>
                <a:cxn ang="0">
                  <a:pos x="23" y="33"/>
                </a:cxn>
                <a:cxn ang="0">
                  <a:pos x="25" y="33"/>
                </a:cxn>
                <a:cxn ang="0">
                  <a:pos x="25" y="27"/>
                </a:cxn>
                <a:cxn ang="0">
                  <a:pos x="31" y="18"/>
                </a:cxn>
                <a:cxn ang="0">
                  <a:pos x="34" y="11"/>
                </a:cxn>
                <a:cxn ang="0">
                  <a:pos x="27" y="4"/>
                </a:cxn>
                <a:cxn ang="0">
                  <a:pos x="19" y="2"/>
                </a:cxn>
                <a:cxn ang="0">
                  <a:pos x="17" y="0"/>
                </a:cxn>
                <a:cxn ang="0">
                  <a:pos x="15" y="2"/>
                </a:cxn>
                <a:cxn ang="0">
                  <a:pos x="15" y="4"/>
                </a:cxn>
                <a:cxn ang="0">
                  <a:pos x="11" y="4"/>
                </a:cxn>
                <a:cxn ang="0">
                  <a:pos x="15" y="9"/>
                </a:cxn>
                <a:cxn ang="0">
                  <a:pos x="17" y="11"/>
                </a:cxn>
                <a:cxn ang="0">
                  <a:pos x="17" y="18"/>
                </a:cxn>
                <a:cxn ang="0">
                  <a:pos x="11" y="29"/>
                </a:cxn>
                <a:cxn ang="0">
                  <a:pos x="0" y="38"/>
                </a:cxn>
                <a:cxn ang="0">
                  <a:pos x="2" y="45"/>
                </a:cxn>
                <a:cxn ang="0">
                  <a:pos x="4" y="45"/>
                </a:cxn>
                <a:cxn ang="0">
                  <a:pos x="9" y="45"/>
                </a:cxn>
              </a:cxnLst>
              <a:rect l="0" t="0" r="r" b="b"/>
              <a:pathLst>
                <a:path w="34" h="45">
                  <a:moveTo>
                    <a:pt x="9" y="45"/>
                  </a:moveTo>
                  <a:lnTo>
                    <a:pt x="11" y="45"/>
                  </a:lnTo>
                  <a:lnTo>
                    <a:pt x="15" y="38"/>
                  </a:lnTo>
                  <a:lnTo>
                    <a:pt x="19" y="38"/>
                  </a:lnTo>
                  <a:lnTo>
                    <a:pt x="23" y="33"/>
                  </a:lnTo>
                  <a:lnTo>
                    <a:pt x="25" y="33"/>
                  </a:lnTo>
                  <a:lnTo>
                    <a:pt x="25" y="27"/>
                  </a:lnTo>
                  <a:lnTo>
                    <a:pt x="31" y="18"/>
                  </a:lnTo>
                  <a:lnTo>
                    <a:pt x="34" y="11"/>
                  </a:lnTo>
                  <a:lnTo>
                    <a:pt x="27" y="4"/>
                  </a:lnTo>
                  <a:lnTo>
                    <a:pt x="19" y="2"/>
                  </a:lnTo>
                  <a:lnTo>
                    <a:pt x="17" y="0"/>
                  </a:lnTo>
                  <a:lnTo>
                    <a:pt x="15" y="2"/>
                  </a:lnTo>
                  <a:lnTo>
                    <a:pt x="15" y="4"/>
                  </a:lnTo>
                  <a:lnTo>
                    <a:pt x="11" y="4"/>
                  </a:lnTo>
                  <a:lnTo>
                    <a:pt x="15" y="9"/>
                  </a:lnTo>
                  <a:lnTo>
                    <a:pt x="17" y="11"/>
                  </a:lnTo>
                  <a:lnTo>
                    <a:pt x="17" y="18"/>
                  </a:lnTo>
                  <a:lnTo>
                    <a:pt x="11" y="29"/>
                  </a:lnTo>
                  <a:lnTo>
                    <a:pt x="0" y="38"/>
                  </a:lnTo>
                  <a:lnTo>
                    <a:pt x="2" y="45"/>
                  </a:lnTo>
                  <a:lnTo>
                    <a:pt x="4" y="45"/>
                  </a:lnTo>
                  <a:lnTo>
                    <a:pt x="9" y="4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7" name="Freeform 1193"/>
            <p:cNvSpPr>
              <a:spLocks/>
            </p:cNvSpPr>
            <p:nvPr/>
          </p:nvSpPr>
          <p:spPr bwMode="auto">
            <a:xfrm>
              <a:off x="4946220" y="3526126"/>
              <a:ext cx="529654" cy="525361"/>
            </a:xfrm>
            <a:custGeom>
              <a:avLst/>
              <a:gdLst/>
              <a:ahLst/>
              <a:cxnLst>
                <a:cxn ang="0">
                  <a:pos x="46" y="18"/>
                </a:cxn>
                <a:cxn ang="0">
                  <a:pos x="48" y="18"/>
                </a:cxn>
                <a:cxn ang="0">
                  <a:pos x="54" y="18"/>
                </a:cxn>
                <a:cxn ang="0">
                  <a:pos x="62" y="20"/>
                </a:cxn>
                <a:cxn ang="0">
                  <a:pos x="71" y="29"/>
                </a:cxn>
                <a:cxn ang="0">
                  <a:pos x="73" y="38"/>
                </a:cxn>
                <a:cxn ang="0">
                  <a:pos x="77" y="45"/>
                </a:cxn>
                <a:cxn ang="0">
                  <a:pos x="77" y="47"/>
                </a:cxn>
                <a:cxn ang="0">
                  <a:pos x="77" y="52"/>
                </a:cxn>
                <a:cxn ang="0">
                  <a:pos x="79" y="52"/>
                </a:cxn>
                <a:cxn ang="0">
                  <a:pos x="81" y="52"/>
                </a:cxn>
                <a:cxn ang="0">
                  <a:pos x="85" y="52"/>
                </a:cxn>
                <a:cxn ang="0">
                  <a:pos x="87" y="52"/>
                </a:cxn>
                <a:cxn ang="0">
                  <a:pos x="89" y="52"/>
                </a:cxn>
                <a:cxn ang="0">
                  <a:pos x="94" y="52"/>
                </a:cxn>
                <a:cxn ang="0">
                  <a:pos x="94" y="47"/>
                </a:cxn>
                <a:cxn ang="0">
                  <a:pos x="96" y="47"/>
                </a:cxn>
                <a:cxn ang="0">
                  <a:pos x="100" y="52"/>
                </a:cxn>
                <a:cxn ang="0">
                  <a:pos x="102" y="54"/>
                </a:cxn>
                <a:cxn ang="0">
                  <a:pos x="102" y="61"/>
                </a:cxn>
                <a:cxn ang="0">
                  <a:pos x="96" y="72"/>
                </a:cxn>
                <a:cxn ang="0">
                  <a:pos x="85" y="81"/>
                </a:cxn>
                <a:cxn ang="0">
                  <a:pos x="71" y="85"/>
                </a:cxn>
                <a:cxn ang="0">
                  <a:pos x="54" y="99"/>
                </a:cxn>
                <a:cxn ang="0">
                  <a:pos x="46" y="88"/>
                </a:cxn>
                <a:cxn ang="0">
                  <a:pos x="39" y="90"/>
                </a:cxn>
                <a:cxn ang="0">
                  <a:pos x="39" y="88"/>
                </a:cxn>
                <a:cxn ang="0">
                  <a:pos x="31" y="72"/>
                </a:cxn>
                <a:cxn ang="0">
                  <a:pos x="25" y="70"/>
                </a:cxn>
                <a:cxn ang="0">
                  <a:pos x="23" y="63"/>
                </a:cxn>
                <a:cxn ang="0">
                  <a:pos x="23" y="54"/>
                </a:cxn>
                <a:cxn ang="0">
                  <a:pos x="20" y="47"/>
                </a:cxn>
                <a:cxn ang="0">
                  <a:pos x="14" y="45"/>
                </a:cxn>
                <a:cxn ang="0">
                  <a:pos x="2" y="25"/>
                </a:cxn>
                <a:cxn ang="0">
                  <a:pos x="0" y="25"/>
                </a:cxn>
                <a:cxn ang="0">
                  <a:pos x="0" y="13"/>
                </a:cxn>
                <a:cxn ang="0">
                  <a:pos x="6" y="13"/>
                </a:cxn>
                <a:cxn ang="0">
                  <a:pos x="8" y="11"/>
                </a:cxn>
                <a:cxn ang="0">
                  <a:pos x="10" y="11"/>
                </a:cxn>
                <a:cxn ang="0">
                  <a:pos x="14" y="9"/>
                </a:cxn>
                <a:cxn ang="0">
                  <a:pos x="8" y="2"/>
                </a:cxn>
                <a:cxn ang="0">
                  <a:pos x="20" y="0"/>
                </a:cxn>
                <a:cxn ang="0">
                  <a:pos x="25" y="2"/>
                </a:cxn>
                <a:cxn ang="0">
                  <a:pos x="37" y="9"/>
                </a:cxn>
                <a:cxn ang="0">
                  <a:pos x="39" y="9"/>
                </a:cxn>
                <a:cxn ang="0">
                  <a:pos x="39" y="13"/>
                </a:cxn>
                <a:cxn ang="0">
                  <a:pos x="41" y="16"/>
                </a:cxn>
                <a:cxn ang="0">
                  <a:pos x="46" y="18"/>
                </a:cxn>
              </a:cxnLst>
              <a:rect l="0" t="0" r="r" b="b"/>
              <a:pathLst>
                <a:path w="102" h="99">
                  <a:moveTo>
                    <a:pt x="46" y="18"/>
                  </a:moveTo>
                  <a:lnTo>
                    <a:pt x="48" y="18"/>
                  </a:lnTo>
                  <a:lnTo>
                    <a:pt x="54" y="18"/>
                  </a:lnTo>
                  <a:lnTo>
                    <a:pt x="62" y="20"/>
                  </a:lnTo>
                  <a:lnTo>
                    <a:pt x="71" y="29"/>
                  </a:lnTo>
                  <a:lnTo>
                    <a:pt x="73" y="38"/>
                  </a:lnTo>
                  <a:lnTo>
                    <a:pt x="77" y="45"/>
                  </a:lnTo>
                  <a:lnTo>
                    <a:pt x="77" y="47"/>
                  </a:lnTo>
                  <a:lnTo>
                    <a:pt x="77" y="52"/>
                  </a:lnTo>
                  <a:lnTo>
                    <a:pt x="79" y="52"/>
                  </a:lnTo>
                  <a:lnTo>
                    <a:pt x="81" y="52"/>
                  </a:lnTo>
                  <a:lnTo>
                    <a:pt x="85" y="52"/>
                  </a:lnTo>
                  <a:lnTo>
                    <a:pt x="87" y="52"/>
                  </a:lnTo>
                  <a:lnTo>
                    <a:pt x="89" y="52"/>
                  </a:lnTo>
                  <a:lnTo>
                    <a:pt x="94" y="52"/>
                  </a:lnTo>
                  <a:lnTo>
                    <a:pt x="94" y="47"/>
                  </a:lnTo>
                  <a:lnTo>
                    <a:pt x="96" y="47"/>
                  </a:lnTo>
                  <a:lnTo>
                    <a:pt x="100" y="52"/>
                  </a:lnTo>
                  <a:lnTo>
                    <a:pt x="102" y="54"/>
                  </a:lnTo>
                  <a:lnTo>
                    <a:pt x="102" y="61"/>
                  </a:lnTo>
                  <a:lnTo>
                    <a:pt x="96" y="72"/>
                  </a:lnTo>
                  <a:lnTo>
                    <a:pt x="85" y="81"/>
                  </a:lnTo>
                  <a:lnTo>
                    <a:pt x="71" y="85"/>
                  </a:lnTo>
                  <a:lnTo>
                    <a:pt x="54" y="99"/>
                  </a:lnTo>
                  <a:lnTo>
                    <a:pt x="46" y="88"/>
                  </a:lnTo>
                  <a:lnTo>
                    <a:pt x="39" y="90"/>
                  </a:lnTo>
                  <a:lnTo>
                    <a:pt x="39" y="88"/>
                  </a:lnTo>
                  <a:lnTo>
                    <a:pt x="31" y="72"/>
                  </a:lnTo>
                  <a:lnTo>
                    <a:pt x="25" y="70"/>
                  </a:lnTo>
                  <a:lnTo>
                    <a:pt x="23" y="63"/>
                  </a:lnTo>
                  <a:lnTo>
                    <a:pt x="23" y="54"/>
                  </a:lnTo>
                  <a:lnTo>
                    <a:pt x="20" y="47"/>
                  </a:lnTo>
                  <a:lnTo>
                    <a:pt x="14" y="45"/>
                  </a:lnTo>
                  <a:lnTo>
                    <a:pt x="2" y="25"/>
                  </a:lnTo>
                  <a:lnTo>
                    <a:pt x="0" y="25"/>
                  </a:lnTo>
                  <a:lnTo>
                    <a:pt x="0" y="13"/>
                  </a:lnTo>
                  <a:lnTo>
                    <a:pt x="6" y="13"/>
                  </a:lnTo>
                  <a:lnTo>
                    <a:pt x="8" y="11"/>
                  </a:lnTo>
                  <a:lnTo>
                    <a:pt x="10" y="11"/>
                  </a:lnTo>
                  <a:lnTo>
                    <a:pt x="14" y="9"/>
                  </a:lnTo>
                  <a:lnTo>
                    <a:pt x="8" y="2"/>
                  </a:lnTo>
                  <a:lnTo>
                    <a:pt x="20" y="0"/>
                  </a:lnTo>
                  <a:lnTo>
                    <a:pt x="25" y="2"/>
                  </a:lnTo>
                  <a:lnTo>
                    <a:pt x="37" y="9"/>
                  </a:lnTo>
                  <a:lnTo>
                    <a:pt x="39" y="9"/>
                  </a:lnTo>
                  <a:lnTo>
                    <a:pt x="39" y="13"/>
                  </a:lnTo>
                  <a:lnTo>
                    <a:pt x="41" y="16"/>
                  </a:lnTo>
                  <a:lnTo>
                    <a:pt x="46" y="18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8" name="Freeform 1194"/>
            <p:cNvSpPr>
              <a:spLocks/>
            </p:cNvSpPr>
            <p:nvPr/>
          </p:nvSpPr>
          <p:spPr bwMode="auto">
            <a:xfrm>
              <a:off x="5325285" y="3717166"/>
              <a:ext cx="31156" cy="47760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6" y="7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0" y="2"/>
                </a:cxn>
              </a:cxnLst>
              <a:rect l="0" t="0" r="r" b="b"/>
              <a:pathLst>
                <a:path w="6" h="9">
                  <a:moveTo>
                    <a:pt x="0" y="2"/>
                  </a:moveTo>
                  <a:lnTo>
                    <a:pt x="4" y="0"/>
                  </a:lnTo>
                  <a:lnTo>
                    <a:pt x="6" y="0"/>
                  </a:lnTo>
                  <a:lnTo>
                    <a:pt x="6" y="7"/>
                  </a:lnTo>
                  <a:lnTo>
                    <a:pt x="4" y="9"/>
                  </a:lnTo>
                  <a:lnTo>
                    <a:pt x="2" y="7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9" name="Freeform 1195"/>
            <p:cNvSpPr>
              <a:spLocks/>
            </p:cNvSpPr>
            <p:nvPr/>
          </p:nvSpPr>
          <p:spPr bwMode="auto">
            <a:xfrm>
              <a:off x="5346056" y="3717166"/>
              <a:ext cx="129817" cy="84907"/>
            </a:xfrm>
            <a:custGeom>
              <a:avLst/>
              <a:gdLst/>
              <a:ahLst/>
              <a:cxnLst>
                <a:cxn ang="0">
                  <a:pos x="25" y="2"/>
                </a:cxn>
                <a:cxn ang="0">
                  <a:pos x="25" y="7"/>
                </a:cxn>
                <a:cxn ang="0">
                  <a:pos x="23" y="9"/>
                </a:cxn>
                <a:cxn ang="0">
                  <a:pos x="23" y="11"/>
                </a:cxn>
                <a:cxn ang="0">
                  <a:pos x="19" y="11"/>
                </a:cxn>
                <a:cxn ang="0">
                  <a:pos x="17" y="11"/>
                </a:cxn>
                <a:cxn ang="0">
                  <a:pos x="17" y="16"/>
                </a:cxn>
                <a:cxn ang="0">
                  <a:pos x="12" y="16"/>
                </a:cxn>
                <a:cxn ang="0">
                  <a:pos x="10" y="16"/>
                </a:cxn>
                <a:cxn ang="0">
                  <a:pos x="8" y="16"/>
                </a:cxn>
                <a:cxn ang="0">
                  <a:pos x="4" y="16"/>
                </a:cxn>
                <a:cxn ang="0">
                  <a:pos x="2" y="16"/>
                </a:cxn>
                <a:cxn ang="0">
                  <a:pos x="0" y="16"/>
                </a:cxn>
                <a:cxn ang="0">
                  <a:pos x="0" y="11"/>
                </a:cxn>
                <a:cxn ang="0">
                  <a:pos x="0" y="9"/>
                </a:cxn>
                <a:cxn ang="0">
                  <a:pos x="4" y="11"/>
                </a:cxn>
                <a:cxn ang="0">
                  <a:pos x="8" y="9"/>
                </a:cxn>
                <a:cxn ang="0">
                  <a:pos x="12" y="9"/>
                </a:cxn>
                <a:cxn ang="0">
                  <a:pos x="23" y="0"/>
                </a:cxn>
                <a:cxn ang="0">
                  <a:pos x="23" y="2"/>
                </a:cxn>
                <a:cxn ang="0">
                  <a:pos x="25" y="2"/>
                </a:cxn>
              </a:cxnLst>
              <a:rect l="0" t="0" r="r" b="b"/>
              <a:pathLst>
                <a:path w="25" h="16">
                  <a:moveTo>
                    <a:pt x="25" y="2"/>
                  </a:moveTo>
                  <a:lnTo>
                    <a:pt x="25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19" y="11"/>
                  </a:lnTo>
                  <a:lnTo>
                    <a:pt x="17" y="11"/>
                  </a:lnTo>
                  <a:lnTo>
                    <a:pt x="17" y="16"/>
                  </a:lnTo>
                  <a:lnTo>
                    <a:pt x="12" y="16"/>
                  </a:lnTo>
                  <a:lnTo>
                    <a:pt x="10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2" y="16"/>
                  </a:lnTo>
                  <a:lnTo>
                    <a:pt x="0" y="16"/>
                  </a:lnTo>
                  <a:lnTo>
                    <a:pt x="0" y="11"/>
                  </a:lnTo>
                  <a:lnTo>
                    <a:pt x="0" y="9"/>
                  </a:lnTo>
                  <a:lnTo>
                    <a:pt x="4" y="11"/>
                  </a:lnTo>
                  <a:lnTo>
                    <a:pt x="8" y="9"/>
                  </a:lnTo>
                  <a:lnTo>
                    <a:pt x="12" y="9"/>
                  </a:lnTo>
                  <a:lnTo>
                    <a:pt x="23" y="0"/>
                  </a:lnTo>
                  <a:lnTo>
                    <a:pt x="23" y="2"/>
                  </a:lnTo>
                  <a:lnTo>
                    <a:pt x="25" y="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0" name="Freeform 1196"/>
            <p:cNvSpPr>
              <a:spLocks/>
            </p:cNvSpPr>
            <p:nvPr/>
          </p:nvSpPr>
          <p:spPr bwMode="auto">
            <a:xfrm>
              <a:off x="5465487" y="3706552"/>
              <a:ext cx="10385" cy="21227"/>
            </a:xfrm>
            <a:custGeom>
              <a:avLst/>
              <a:gdLst/>
              <a:ahLst/>
              <a:cxnLst>
                <a:cxn ang="0">
                  <a:pos x="2" y="4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2" y="4"/>
                </a:cxn>
              </a:cxnLst>
              <a:rect l="0" t="0" r="r" b="b"/>
              <a:pathLst>
                <a:path w="2" h="4">
                  <a:moveTo>
                    <a:pt x="2" y="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" name="Freeform 1197"/>
            <p:cNvSpPr>
              <a:spLocks/>
            </p:cNvSpPr>
            <p:nvPr/>
          </p:nvSpPr>
          <p:spPr bwMode="auto">
            <a:xfrm>
              <a:off x="7329662" y="4502554"/>
              <a:ext cx="249249" cy="275947"/>
            </a:xfrm>
            <a:custGeom>
              <a:avLst/>
              <a:gdLst/>
              <a:ahLst/>
              <a:cxnLst>
                <a:cxn ang="0">
                  <a:pos x="48" y="52"/>
                </a:cxn>
                <a:cxn ang="0">
                  <a:pos x="41" y="48"/>
                </a:cxn>
                <a:cxn ang="0">
                  <a:pos x="31" y="50"/>
                </a:cxn>
                <a:cxn ang="0">
                  <a:pos x="33" y="43"/>
                </a:cxn>
                <a:cxn ang="0">
                  <a:pos x="35" y="43"/>
                </a:cxn>
                <a:cxn ang="0">
                  <a:pos x="33" y="32"/>
                </a:cxn>
                <a:cxn ang="0">
                  <a:pos x="31" y="30"/>
                </a:cxn>
                <a:cxn ang="0">
                  <a:pos x="18" y="25"/>
                </a:cxn>
                <a:cxn ang="0">
                  <a:pos x="14" y="21"/>
                </a:cxn>
                <a:cxn ang="0">
                  <a:pos x="10" y="23"/>
                </a:cxn>
                <a:cxn ang="0">
                  <a:pos x="8" y="23"/>
                </a:cxn>
                <a:cxn ang="0">
                  <a:pos x="8" y="21"/>
                </a:cxn>
                <a:cxn ang="0">
                  <a:pos x="6" y="16"/>
                </a:cxn>
                <a:cxn ang="0">
                  <a:pos x="14" y="16"/>
                </a:cxn>
                <a:cxn ang="0">
                  <a:pos x="14" y="14"/>
                </a:cxn>
                <a:cxn ang="0">
                  <a:pos x="6" y="14"/>
                </a:cxn>
                <a:cxn ang="0">
                  <a:pos x="6" y="9"/>
                </a:cxn>
                <a:cxn ang="0">
                  <a:pos x="0" y="7"/>
                </a:cxn>
                <a:cxn ang="0">
                  <a:pos x="6" y="0"/>
                </a:cxn>
                <a:cxn ang="0">
                  <a:pos x="10" y="0"/>
                </a:cxn>
                <a:cxn ang="0">
                  <a:pos x="10" y="5"/>
                </a:cxn>
                <a:cxn ang="0">
                  <a:pos x="14" y="5"/>
                </a:cxn>
                <a:cxn ang="0">
                  <a:pos x="16" y="14"/>
                </a:cxn>
                <a:cxn ang="0">
                  <a:pos x="18" y="21"/>
                </a:cxn>
                <a:cxn ang="0">
                  <a:pos x="23" y="21"/>
                </a:cxn>
                <a:cxn ang="0">
                  <a:pos x="27" y="14"/>
                </a:cxn>
                <a:cxn ang="0">
                  <a:pos x="33" y="9"/>
                </a:cxn>
                <a:cxn ang="0">
                  <a:pos x="48" y="16"/>
                </a:cxn>
                <a:cxn ang="0">
                  <a:pos x="48" y="34"/>
                </a:cxn>
                <a:cxn ang="0">
                  <a:pos x="48" y="52"/>
                </a:cxn>
              </a:cxnLst>
              <a:rect l="0" t="0" r="r" b="b"/>
              <a:pathLst>
                <a:path w="48" h="52">
                  <a:moveTo>
                    <a:pt x="48" y="52"/>
                  </a:moveTo>
                  <a:lnTo>
                    <a:pt x="41" y="48"/>
                  </a:lnTo>
                  <a:lnTo>
                    <a:pt x="31" y="50"/>
                  </a:lnTo>
                  <a:lnTo>
                    <a:pt x="33" y="43"/>
                  </a:lnTo>
                  <a:lnTo>
                    <a:pt x="35" y="43"/>
                  </a:lnTo>
                  <a:lnTo>
                    <a:pt x="33" y="32"/>
                  </a:lnTo>
                  <a:lnTo>
                    <a:pt x="31" y="30"/>
                  </a:lnTo>
                  <a:lnTo>
                    <a:pt x="18" y="25"/>
                  </a:lnTo>
                  <a:lnTo>
                    <a:pt x="14" y="21"/>
                  </a:lnTo>
                  <a:lnTo>
                    <a:pt x="10" y="23"/>
                  </a:lnTo>
                  <a:lnTo>
                    <a:pt x="8" y="23"/>
                  </a:lnTo>
                  <a:lnTo>
                    <a:pt x="8" y="21"/>
                  </a:lnTo>
                  <a:lnTo>
                    <a:pt x="6" y="16"/>
                  </a:lnTo>
                  <a:lnTo>
                    <a:pt x="14" y="16"/>
                  </a:lnTo>
                  <a:lnTo>
                    <a:pt x="14" y="14"/>
                  </a:lnTo>
                  <a:lnTo>
                    <a:pt x="6" y="14"/>
                  </a:lnTo>
                  <a:lnTo>
                    <a:pt x="6" y="9"/>
                  </a:lnTo>
                  <a:lnTo>
                    <a:pt x="0" y="7"/>
                  </a:lnTo>
                  <a:lnTo>
                    <a:pt x="6" y="0"/>
                  </a:lnTo>
                  <a:lnTo>
                    <a:pt x="10" y="0"/>
                  </a:lnTo>
                  <a:lnTo>
                    <a:pt x="10" y="5"/>
                  </a:lnTo>
                  <a:lnTo>
                    <a:pt x="14" y="5"/>
                  </a:lnTo>
                  <a:lnTo>
                    <a:pt x="16" y="14"/>
                  </a:lnTo>
                  <a:lnTo>
                    <a:pt x="18" y="21"/>
                  </a:lnTo>
                  <a:lnTo>
                    <a:pt x="23" y="21"/>
                  </a:lnTo>
                  <a:lnTo>
                    <a:pt x="27" y="14"/>
                  </a:lnTo>
                  <a:lnTo>
                    <a:pt x="33" y="9"/>
                  </a:lnTo>
                  <a:lnTo>
                    <a:pt x="48" y="16"/>
                  </a:lnTo>
                  <a:lnTo>
                    <a:pt x="48" y="34"/>
                  </a:lnTo>
                  <a:lnTo>
                    <a:pt x="48" y="5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2" name="Freeform 1198"/>
            <p:cNvSpPr>
              <a:spLocks/>
            </p:cNvSpPr>
            <p:nvPr/>
          </p:nvSpPr>
          <p:spPr bwMode="auto">
            <a:xfrm>
              <a:off x="7578910" y="4587460"/>
              <a:ext cx="212901" cy="24941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" y="5"/>
                </a:cxn>
                <a:cxn ang="0">
                  <a:pos x="18" y="9"/>
                </a:cxn>
                <a:cxn ang="0">
                  <a:pos x="23" y="16"/>
                </a:cxn>
                <a:cxn ang="0">
                  <a:pos x="27" y="18"/>
                </a:cxn>
                <a:cxn ang="0">
                  <a:pos x="31" y="18"/>
                </a:cxn>
                <a:cxn ang="0">
                  <a:pos x="31" y="23"/>
                </a:cxn>
                <a:cxn ang="0">
                  <a:pos x="27" y="25"/>
                </a:cxn>
                <a:cxn ang="0">
                  <a:pos x="27" y="27"/>
                </a:cxn>
                <a:cxn ang="0">
                  <a:pos x="31" y="32"/>
                </a:cxn>
                <a:cxn ang="0">
                  <a:pos x="33" y="36"/>
                </a:cxn>
                <a:cxn ang="0">
                  <a:pos x="37" y="36"/>
                </a:cxn>
                <a:cxn ang="0">
                  <a:pos x="37" y="41"/>
                </a:cxn>
                <a:cxn ang="0">
                  <a:pos x="39" y="41"/>
                </a:cxn>
                <a:cxn ang="0">
                  <a:pos x="41" y="43"/>
                </a:cxn>
                <a:cxn ang="0">
                  <a:pos x="41" y="47"/>
                </a:cxn>
                <a:cxn ang="0">
                  <a:pos x="39" y="47"/>
                </a:cxn>
                <a:cxn ang="0">
                  <a:pos x="37" y="43"/>
                </a:cxn>
                <a:cxn ang="0">
                  <a:pos x="27" y="43"/>
                </a:cxn>
                <a:cxn ang="0">
                  <a:pos x="23" y="32"/>
                </a:cxn>
                <a:cxn ang="0">
                  <a:pos x="16" y="27"/>
                </a:cxn>
                <a:cxn ang="0">
                  <a:pos x="14" y="27"/>
                </a:cxn>
                <a:cxn ang="0">
                  <a:pos x="8" y="34"/>
                </a:cxn>
                <a:cxn ang="0">
                  <a:pos x="6" y="36"/>
                </a:cxn>
                <a:cxn ang="0">
                  <a:pos x="0" y="36"/>
                </a:cxn>
                <a:cxn ang="0">
                  <a:pos x="0" y="18"/>
                </a:cxn>
                <a:cxn ang="0">
                  <a:pos x="0" y="0"/>
                </a:cxn>
              </a:cxnLst>
              <a:rect l="0" t="0" r="r" b="b"/>
              <a:pathLst>
                <a:path w="41" h="47">
                  <a:moveTo>
                    <a:pt x="0" y="0"/>
                  </a:moveTo>
                  <a:lnTo>
                    <a:pt x="10" y="5"/>
                  </a:lnTo>
                  <a:lnTo>
                    <a:pt x="18" y="9"/>
                  </a:lnTo>
                  <a:lnTo>
                    <a:pt x="23" y="16"/>
                  </a:lnTo>
                  <a:lnTo>
                    <a:pt x="27" y="18"/>
                  </a:lnTo>
                  <a:lnTo>
                    <a:pt x="31" y="18"/>
                  </a:lnTo>
                  <a:lnTo>
                    <a:pt x="31" y="23"/>
                  </a:lnTo>
                  <a:lnTo>
                    <a:pt x="27" y="25"/>
                  </a:lnTo>
                  <a:lnTo>
                    <a:pt x="27" y="27"/>
                  </a:lnTo>
                  <a:lnTo>
                    <a:pt x="31" y="32"/>
                  </a:lnTo>
                  <a:lnTo>
                    <a:pt x="33" y="36"/>
                  </a:lnTo>
                  <a:lnTo>
                    <a:pt x="37" y="36"/>
                  </a:lnTo>
                  <a:lnTo>
                    <a:pt x="37" y="41"/>
                  </a:lnTo>
                  <a:lnTo>
                    <a:pt x="39" y="41"/>
                  </a:lnTo>
                  <a:lnTo>
                    <a:pt x="41" y="43"/>
                  </a:lnTo>
                  <a:lnTo>
                    <a:pt x="41" y="47"/>
                  </a:lnTo>
                  <a:lnTo>
                    <a:pt x="39" y="47"/>
                  </a:lnTo>
                  <a:lnTo>
                    <a:pt x="37" y="43"/>
                  </a:lnTo>
                  <a:lnTo>
                    <a:pt x="27" y="43"/>
                  </a:lnTo>
                  <a:lnTo>
                    <a:pt x="23" y="32"/>
                  </a:lnTo>
                  <a:lnTo>
                    <a:pt x="16" y="27"/>
                  </a:lnTo>
                  <a:lnTo>
                    <a:pt x="14" y="27"/>
                  </a:lnTo>
                  <a:lnTo>
                    <a:pt x="8" y="34"/>
                  </a:lnTo>
                  <a:lnTo>
                    <a:pt x="6" y="36"/>
                  </a:lnTo>
                  <a:lnTo>
                    <a:pt x="0" y="36"/>
                  </a:lnTo>
                  <a:lnTo>
                    <a:pt x="0" y="1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3" name="Freeform 1199"/>
            <p:cNvSpPr>
              <a:spLocks/>
            </p:cNvSpPr>
            <p:nvPr/>
          </p:nvSpPr>
          <p:spPr bwMode="auto">
            <a:xfrm>
              <a:off x="6794815" y="4385807"/>
              <a:ext cx="238863" cy="249414"/>
            </a:xfrm>
            <a:custGeom>
              <a:avLst/>
              <a:gdLst/>
              <a:ahLst/>
              <a:cxnLst>
                <a:cxn ang="0">
                  <a:pos x="34" y="0"/>
                </a:cxn>
                <a:cxn ang="0">
                  <a:pos x="32" y="0"/>
                </a:cxn>
                <a:cxn ang="0">
                  <a:pos x="26" y="13"/>
                </a:cxn>
                <a:cxn ang="0">
                  <a:pos x="19" y="18"/>
                </a:cxn>
                <a:cxn ang="0">
                  <a:pos x="15" y="13"/>
                </a:cxn>
                <a:cxn ang="0">
                  <a:pos x="11" y="18"/>
                </a:cxn>
                <a:cxn ang="0">
                  <a:pos x="7" y="18"/>
                </a:cxn>
                <a:cxn ang="0">
                  <a:pos x="3" y="11"/>
                </a:cxn>
                <a:cxn ang="0">
                  <a:pos x="0" y="18"/>
                </a:cxn>
                <a:cxn ang="0">
                  <a:pos x="0" y="27"/>
                </a:cxn>
                <a:cxn ang="0">
                  <a:pos x="3" y="29"/>
                </a:cxn>
                <a:cxn ang="0">
                  <a:pos x="7" y="38"/>
                </a:cxn>
                <a:cxn ang="0">
                  <a:pos x="11" y="38"/>
                </a:cxn>
                <a:cxn ang="0">
                  <a:pos x="11" y="43"/>
                </a:cxn>
                <a:cxn ang="0">
                  <a:pos x="19" y="43"/>
                </a:cxn>
                <a:cxn ang="0">
                  <a:pos x="23" y="43"/>
                </a:cxn>
                <a:cxn ang="0">
                  <a:pos x="26" y="47"/>
                </a:cxn>
                <a:cxn ang="0">
                  <a:pos x="30" y="45"/>
                </a:cxn>
                <a:cxn ang="0">
                  <a:pos x="34" y="43"/>
                </a:cxn>
                <a:cxn ang="0">
                  <a:pos x="34" y="36"/>
                </a:cxn>
                <a:cxn ang="0">
                  <a:pos x="34" y="31"/>
                </a:cxn>
                <a:cxn ang="0">
                  <a:pos x="38" y="29"/>
                </a:cxn>
                <a:cxn ang="0">
                  <a:pos x="42" y="18"/>
                </a:cxn>
                <a:cxn ang="0">
                  <a:pos x="46" y="18"/>
                </a:cxn>
                <a:cxn ang="0">
                  <a:pos x="40" y="11"/>
                </a:cxn>
                <a:cxn ang="0">
                  <a:pos x="42" y="9"/>
                </a:cxn>
                <a:cxn ang="0">
                  <a:pos x="40" y="4"/>
                </a:cxn>
                <a:cxn ang="0">
                  <a:pos x="40" y="0"/>
                </a:cxn>
                <a:cxn ang="0">
                  <a:pos x="36" y="0"/>
                </a:cxn>
                <a:cxn ang="0">
                  <a:pos x="34" y="0"/>
                </a:cxn>
              </a:cxnLst>
              <a:rect l="0" t="0" r="r" b="b"/>
              <a:pathLst>
                <a:path w="46" h="47">
                  <a:moveTo>
                    <a:pt x="34" y="0"/>
                  </a:moveTo>
                  <a:lnTo>
                    <a:pt x="32" y="0"/>
                  </a:lnTo>
                  <a:lnTo>
                    <a:pt x="26" y="13"/>
                  </a:lnTo>
                  <a:lnTo>
                    <a:pt x="19" y="18"/>
                  </a:lnTo>
                  <a:lnTo>
                    <a:pt x="15" y="13"/>
                  </a:lnTo>
                  <a:lnTo>
                    <a:pt x="11" y="18"/>
                  </a:lnTo>
                  <a:lnTo>
                    <a:pt x="7" y="18"/>
                  </a:lnTo>
                  <a:lnTo>
                    <a:pt x="3" y="11"/>
                  </a:lnTo>
                  <a:lnTo>
                    <a:pt x="0" y="18"/>
                  </a:lnTo>
                  <a:lnTo>
                    <a:pt x="0" y="27"/>
                  </a:lnTo>
                  <a:lnTo>
                    <a:pt x="3" y="29"/>
                  </a:lnTo>
                  <a:lnTo>
                    <a:pt x="7" y="38"/>
                  </a:lnTo>
                  <a:lnTo>
                    <a:pt x="11" y="38"/>
                  </a:lnTo>
                  <a:lnTo>
                    <a:pt x="11" y="43"/>
                  </a:lnTo>
                  <a:lnTo>
                    <a:pt x="19" y="43"/>
                  </a:lnTo>
                  <a:lnTo>
                    <a:pt x="23" y="43"/>
                  </a:lnTo>
                  <a:lnTo>
                    <a:pt x="26" y="47"/>
                  </a:lnTo>
                  <a:lnTo>
                    <a:pt x="30" y="45"/>
                  </a:lnTo>
                  <a:lnTo>
                    <a:pt x="34" y="43"/>
                  </a:lnTo>
                  <a:lnTo>
                    <a:pt x="34" y="36"/>
                  </a:lnTo>
                  <a:lnTo>
                    <a:pt x="34" y="31"/>
                  </a:lnTo>
                  <a:lnTo>
                    <a:pt x="38" y="29"/>
                  </a:lnTo>
                  <a:lnTo>
                    <a:pt x="42" y="18"/>
                  </a:lnTo>
                  <a:lnTo>
                    <a:pt x="46" y="18"/>
                  </a:lnTo>
                  <a:lnTo>
                    <a:pt x="40" y="11"/>
                  </a:lnTo>
                  <a:lnTo>
                    <a:pt x="42" y="9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36" y="0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4" name="Freeform 1200"/>
            <p:cNvSpPr>
              <a:spLocks/>
            </p:cNvSpPr>
            <p:nvPr/>
          </p:nvSpPr>
          <p:spPr bwMode="auto">
            <a:xfrm>
              <a:off x="6810393" y="4300900"/>
              <a:ext cx="233671" cy="180427"/>
            </a:xfrm>
            <a:custGeom>
              <a:avLst/>
              <a:gdLst/>
              <a:ahLst/>
              <a:cxnLst>
                <a:cxn ang="0">
                  <a:pos x="43" y="11"/>
                </a:cxn>
                <a:cxn ang="0">
                  <a:pos x="39" y="11"/>
                </a:cxn>
                <a:cxn ang="0">
                  <a:pos x="45" y="9"/>
                </a:cxn>
                <a:cxn ang="0">
                  <a:pos x="37" y="5"/>
                </a:cxn>
                <a:cxn ang="0">
                  <a:pos x="37" y="2"/>
                </a:cxn>
                <a:cxn ang="0">
                  <a:pos x="35" y="0"/>
                </a:cxn>
                <a:cxn ang="0">
                  <a:pos x="27" y="9"/>
                </a:cxn>
                <a:cxn ang="0">
                  <a:pos x="27" y="11"/>
                </a:cxn>
                <a:cxn ang="0">
                  <a:pos x="27" y="16"/>
                </a:cxn>
                <a:cxn ang="0">
                  <a:pos x="23" y="16"/>
                </a:cxn>
                <a:cxn ang="0">
                  <a:pos x="20" y="11"/>
                </a:cxn>
                <a:cxn ang="0">
                  <a:pos x="14" y="20"/>
                </a:cxn>
                <a:cxn ang="0">
                  <a:pos x="8" y="20"/>
                </a:cxn>
                <a:cxn ang="0">
                  <a:pos x="6" y="29"/>
                </a:cxn>
                <a:cxn ang="0">
                  <a:pos x="0" y="27"/>
                </a:cxn>
                <a:cxn ang="0">
                  <a:pos x="4" y="34"/>
                </a:cxn>
                <a:cxn ang="0">
                  <a:pos x="8" y="34"/>
                </a:cxn>
                <a:cxn ang="0">
                  <a:pos x="12" y="29"/>
                </a:cxn>
                <a:cxn ang="0">
                  <a:pos x="16" y="34"/>
                </a:cxn>
                <a:cxn ang="0">
                  <a:pos x="23" y="29"/>
                </a:cxn>
                <a:cxn ang="0">
                  <a:pos x="29" y="16"/>
                </a:cxn>
                <a:cxn ang="0">
                  <a:pos x="31" y="16"/>
                </a:cxn>
                <a:cxn ang="0">
                  <a:pos x="37" y="16"/>
                </a:cxn>
                <a:cxn ang="0">
                  <a:pos x="39" y="14"/>
                </a:cxn>
                <a:cxn ang="0">
                  <a:pos x="43" y="11"/>
                </a:cxn>
              </a:cxnLst>
              <a:rect l="0" t="0" r="r" b="b"/>
              <a:pathLst>
                <a:path w="45" h="34">
                  <a:moveTo>
                    <a:pt x="43" y="11"/>
                  </a:moveTo>
                  <a:lnTo>
                    <a:pt x="39" y="11"/>
                  </a:lnTo>
                  <a:lnTo>
                    <a:pt x="45" y="9"/>
                  </a:lnTo>
                  <a:lnTo>
                    <a:pt x="37" y="5"/>
                  </a:lnTo>
                  <a:lnTo>
                    <a:pt x="37" y="2"/>
                  </a:lnTo>
                  <a:lnTo>
                    <a:pt x="35" y="0"/>
                  </a:lnTo>
                  <a:lnTo>
                    <a:pt x="27" y="9"/>
                  </a:lnTo>
                  <a:lnTo>
                    <a:pt x="27" y="11"/>
                  </a:lnTo>
                  <a:lnTo>
                    <a:pt x="27" y="16"/>
                  </a:lnTo>
                  <a:lnTo>
                    <a:pt x="23" y="16"/>
                  </a:lnTo>
                  <a:lnTo>
                    <a:pt x="20" y="11"/>
                  </a:lnTo>
                  <a:lnTo>
                    <a:pt x="14" y="20"/>
                  </a:lnTo>
                  <a:lnTo>
                    <a:pt x="8" y="20"/>
                  </a:lnTo>
                  <a:lnTo>
                    <a:pt x="6" y="29"/>
                  </a:lnTo>
                  <a:lnTo>
                    <a:pt x="0" y="27"/>
                  </a:lnTo>
                  <a:lnTo>
                    <a:pt x="4" y="34"/>
                  </a:lnTo>
                  <a:lnTo>
                    <a:pt x="8" y="34"/>
                  </a:lnTo>
                  <a:lnTo>
                    <a:pt x="12" y="29"/>
                  </a:lnTo>
                  <a:lnTo>
                    <a:pt x="16" y="34"/>
                  </a:lnTo>
                  <a:lnTo>
                    <a:pt x="23" y="29"/>
                  </a:lnTo>
                  <a:lnTo>
                    <a:pt x="29" y="16"/>
                  </a:lnTo>
                  <a:lnTo>
                    <a:pt x="31" y="16"/>
                  </a:lnTo>
                  <a:lnTo>
                    <a:pt x="37" y="16"/>
                  </a:lnTo>
                  <a:lnTo>
                    <a:pt x="39" y="14"/>
                  </a:lnTo>
                  <a:lnTo>
                    <a:pt x="43" y="1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5" name="Freeform 1201"/>
            <p:cNvSpPr>
              <a:spLocks/>
            </p:cNvSpPr>
            <p:nvPr/>
          </p:nvSpPr>
          <p:spPr bwMode="auto">
            <a:xfrm>
              <a:off x="6914247" y="4359273"/>
              <a:ext cx="36349" cy="26533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7" y="5"/>
                </a:cxn>
                <a:cxn ang="0">
                  <a:pos x="3" y="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7" y="0"/>
                </a:cxn>
              </a:cxnLst>
              <a:rect l="0" t="0" r="r" b="b"/>
              <a:pathLst>
                <a:path w="7" h="5">
                  <a:moveTo>
                    <a:pt x="7" y="0"/>
                  </a:moveTo>
                  <a:lnTo>
                    <a:pt x="7" y="5"/>
                  </a:lnTo>
                  <a:lnTo>
                    <a:pt x="3" y="5"/>
                  </a:lnTo>
                  <a:lnTo>
                    <a:pt x="0" y="0"/>
                  </a:lnTo>
                  <a:lnTo>
                    <a:pt x="3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6" name="Freeform 1202"/>
            <p:cNvSpPr>
              <a:spLocks/>
            </p:cNvSpPr>
            <p:nvPr/>
          </p:nvSpPr>
          <p:spPr bwMode="auto">
            <a:xfrm>
              <a:off x="6343052" y="3658792"/>
              <a:ext cx="218092" cy="557201"/>
            </a:xfrm>
            <a:custGeom>
              <a:avLst/>
              <a:gdLst/>
              <a:ahLst/>
              <a:cxnLst>
                <a:cxn ang="0">
                  <a:pos x="39" y="90"/>
                </a:cxn>
                <a:cxn ang="0">
                  <a:pos x="37" y="78"/>
                </a:cxn>
                <a:cxn ang="0">
                  <a:pos x="31" y="74"/>
                </a:cxn>
                <a:cxn ang="0">
                  <a:pos x="33" y="65"/>
                </a:cxn>
                <a:cxn ang="0">
                  <a:pos x="27" y="54"/>
                </a:cxn>
                <a:cxn ang="0">
                  <a:pos x="27" y="47"/>
                </a:cxn>
                <a:cxn ang="0">
                  <a:pos x="37" y="42"/>
                </a:cxn>
                <a:cxn ang="0">
                  <a:pos x="42" y="36"/>
                </a:cxn>
                <a:cxn ang="0">
                  <a:pos x="37" y="36"/>
                </a:cxn>
                <a:cxn ang="0">
                  <a:pos x="31" y="31"/>
                </a:cxn>
                <a:cxn ang="0">
                  <a:pos x="31" y="27"/>
                </a:cxn>
                <a:cxn ang="0">
                  <a:pos x="27" y="27"/>
                </a:cxn>
                <a:cxn ang="0">
                  <a:pos x="27" y="20"/>
                </a:cxn>
                <a:cxn ang="0">
                  <a:pos x="23" y="22"/>
                </a:cxn>
                <a:cxn ang="0">
                  <a:pos x="25" y="4"/>
                </a:cxn>
                <a:cxn ang="0">
                  <a:pos x="23" y="0"/>
                </a:cxn>
                <a:cxn ang="0">
                  <a:pos x="17" y="0"/>
                </a:cxn>
                <a:cxn ang="0">
                  <a:pos x="17" y="2"/>
                </a:cxn>
                <a:cxn ang="0">
                  <a:pos x="14" y="2"/>
                </a:cxn>
                <a:cxn ang="0">
                  <a:pos x="8" y="9"/>
                </a:cxn>
                <a:cxn ang="0">
                  <a:pos x="6" y="22"/>
                </a:cxn>
                <a:cxn ang="0">
                  <a:pos x="2" y="22"/>
                </a:cxn>
                <a:cxn ang="0">
                  <a:pos x="2" y="31"/>
                </a:cxn>
                <a:cxn ang="0">
                  <a:pos x="0" y="31"/>
                </a:cxn>
                <a:cxn ang="0">
                  <a:pos x="0" y="38"/>
                </a:cxn>
                <a:cxn ang="0">
                  <a:pos x="6" y="45"/>
                </a:cxn>
                <a:cxn ang="0">
                  <a:pos x="8" y="51"/>
                </a:cxn>
                <a:cxn ang="0">
                  <a:pos x="10" y="51"/>
                </a:cxn>
                <a:cxn ang="0">
                  <a:pos x="14" y="60"/>
                </a:cxn>
                <a:cxn ang="0">
                  <a:pos x="10" y="65"/>
                </a:cxn>
                <a:cxn ang="0">
                  <a:pos x="19" y="69"/>
                </a:cxn>
                <a:cxn ang="0">
                  <a:pos x="25" y="63"/>
                </a:cxn>
                <a:cxn ang="0">
                  <a:pos x="27" y="65"/>
                </a:cxn>
                <a:cxn ang="0">
                  <a:pos x="37" y="87"/>
                </a:cxn>
                <a:cxn ang="0">
                  <a:pos x="33" y="90"/>
                </a:cxn>
                <a:cxn ang="0">
                  <a:pos x="37" y="96"/>
                </a:cxn>
                <a:cxn ang="0">
                  <a:pos x="33" y="105"/>
                </a:cxn>
                <a:cxn ang="0">
                  <a:pos x="35" y="99"/>
                </a:cxn>
                <a:cxn ang="0">
                  <a:pos x="39" y="90"/>
                </a:cxn>
              </a:cxnLst>
              <a:rect l="0" t="0" r="r" b="b"/>
              <a:pathLst>
                <a:path w="42" h="105">
                  <a:moveTo>
                    <a:pt x="39" y="90"/>
                  </a:moveTo>
                  <a:lnTo>
                    <a:pt x="37" y="78"/>
                  </a:lnTo>
                  <a:lnTo>
                    <a:pt x="31" y="74"/>
                  </a:lnTo>
                  <a:lnTo>
                    <a:pt x="33" y="65"/>
                  </a:lnTo>
                  <a:lnTo>
                    <a:pt x="27" y="54"/>
                  </a:lnTo>
                  <a:lnTo>
                    <a:pt x="27" y="47"/>
                  </a:lnTo>
                  <a:lnTo>
                    <a:pt x="37" y="42"/>
                  </a:lnTo>
                  <a:lnTo>
                    <a:pt x="42" y="36"/>
                  </a:lnTo>
                  <a:lnTo>
                    <a:pt x="37" y="36"/>
                  </a:lnTo>
                  <a:lnTo>
                    <a:pt x="31" y="31"/>
                  </a:lnTo>
                  <a:lnTo>
                    <a:pt x="31" y="27"/>
                  </a:lnTo>
                  <a:lnTo>
                    <a:pt x="27" y="27"/>
                  </a:lnTo>
                  <a:lnTo>
                    <a:pt x="27" y="20"/>
                  </a:lnTo>
                  <a:lnTo>
                    <a:pt x="23" y="22"/>
                  </a:lnTo>
                  <a:lnTo>
                    <a:pt x="25" y="4"/>
                  </a:lnTo>
                  <a:lnTo>
                    <a:pt x="23" y="0"/>
                  </a:lnTo>
                  <a:lnTo>
                    <a:pt x="17" y="0"/>
                  </a:lnTo>
                  <a:lnTo>
                    <a:pt x="17" y="2"/>
                  </a:lnTo>
                  <a:lnTo>
                    <a:pt x="14" y="2"/>
                  </a:lnTo>
                  <a:lnTo>
                    <a:pt x="8" y="9"/>
                  </a:lnTo>
                  <a:lnTo>
                    <a:pt x="6" y="22"/>
                  </a:lnTo>
                  <a:lnTo>
                    <a:pt x="2" y="22"/>
                  </a:lnTo>
                  <a:lnTo>
                    <a:pt x="2" y="31"/>
                  </a:lnTo>
                  <a:lnTo>
                    <a:pt x="0" y="31"/>
                  </a:lnTo>
                  <a:lnTo>
                    <a:pt x="0" y="38"/>
                  </a:lnTo>
                  <a:lnTo>
                    <a:pt x="6" y="45"/>
                  </a:lnTo>
                  <a:lnTo>
                    <a:pt x="8" y="51"/>
                  </a:lnTo>
                  <a:lnTo>
                    <a:pt x="10" y="51"/>
                  </a:lnTo>
                  <a:lnTo>
                    <a:pt x="14" y="60"/>
                  </a:lnTo>
                  <a:lnTo>
                    <a:pt x="10" y="65"/>
                  </a:lnTo>
                  <a:lnTo>
                    <a:pt x="19" y="69"/>
                  </a:lnTo>
                  <a:lnTo>
                    <a:pt x="25" y="63"/>
                  </a:lnTo>
                  <a:lnTo>
                    <a:pt x="27" y="65"/>
                  </a:lnTo>
                  <a:lnTo>
                    <a:pt x="37" y="87"/>
                  </a:lnTo>
                  <a:lnTo>
                    <a:pt x="33" y="90"/>
                  </a:lnTo>
                  <a:lnTo>
                    <a:pt x="37" y="96"/>
                  </a:lnTo>
                  <a:lnTo>
                    <a:pt x="33" y="105"/>
                  </a:lnTo>
                  <a:lnTo>
                    <a:pt x="35" y="99"/>
                  </a:lnTo>
                  <a:lnTo>
                    <a:pt x="39" y="9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7" name="Freeform 1203"/>
            <p:cNvSpPr>
              <a:spLocks/>
            </p:cNvSpPr>
            <p:nvPr/>
          </p:nvSpPr>
          <p:spPr bwMode="auto">
            <a:xfrm>
              <a:off x="6483254" y="3881673"/>
              <a:ext cx="197322" cy="445761"/>
            </a:xfrm>
            <a:custGeom>
              <a:avLst/>
              <a:gdLst/>
              <a:ahLst/>
              <a:cxnLst>
                <a:cxn ang="0">
                  <a:pos x="19" y="79"/>
                </a:cxn>
                <a:cxn ang="0">
                  <a:pos x="21" y="81"/>
                </a:cxn>
                <a:cxn ang="0">
                  <a:pos x="21" y="84"/>
                </a:cxn>
                <a:cxn ang="0">
                  <a:pos x="23" y="84"/>
                </a:cxn>
                <a:cxn ang="0">
                  <a:pos x="27" y="81"/>
                </a:cxn>
                <a:cxn ang="0">
                  <a:pos x="23" y="79"/>
                </a:cxn>
                <a:cxn ang="0">
                  <a:pos x="19" y="75"/>
                </a:cxn>
                <a:cxn ang="0">
                  <a:pos x="15" y="63"/>
                </a:cxn>
                <a:cxn ang="0">
                  <a:pos x="12" y="63"/>
                </a:cxn>
                <a:cxn ang="0">
                  <a:pos x="12" y="57"/>
                </a:cxn>
                <a:cxn ang="0">
                  <a:pos x="15" y="48"/>
                </a:cxn>
                <a:cxn ang="0">
                  <a:pos x="12" y="43"/>
                </a:cxn>
                <a:cxn ang="0">
                  <a:pos x="19" y="43"/>
                </a:cxn>
                <a:cxn ang="0">
                  <a:pos x="19" y="45"/>
                </a:cxn>
                <a:cxn ang="0">
                  <a:pos x="23" y="45"/>
                </a:cxn>
                <a:cxn ang="0">
                  <a:pos x="27" y="48"/>
                </a:cxn>
                <a:cxn ang="0">
                  <a:pos x="23" y="43"/>
                </a:cxn>
                <a:cxn ang="0">
                  <a:pos x="27" y="36"/>
                </a:cxn>
                <a:cxn ang="0">
                  <a:pos x="38" y="36"/>
                </a:cxn>
                <a:cxn ang="0">
                  <a:pos x="38" y="30"/>
                </a:cxn>
                <a:cxn ang="0">
                  <a:pos x="35" y="23"/>
                </a:cxn>
                <a:cxn ang="0">
                  <a:pos x="31" y="18"/>
                </a:cxn>
                <a:cxn ang="0">
                  <a:pos x="27" y="12"/>
                </a:cxn>
                <a:cxn ang="0">
                  <a:pos x="23" y="14"/>
                </a:cxn>
                <a:cxn ang="0">
                  <a:pos x="21" y="12"/>
                </a:cxn>
                <a:cxn ang="0">
                  <a:pos x="15" y="14"/>
                </a:cxn>
                <a:cxn ang="0">
                  <a:pos x="15" y="5"/>
                </a:cxn>
                <a:cxn ang="0">
                  <a:pos x="12" y="3"/>
                </a:cxn>
                <a:cxn ang="0">
                  <a:pos x="10" y="0"/>
                </a:cxn>
                <a:cxn ang="0">
                  <a:pos x="0" y="5"/>
                </a:cxn>
                <a:cxn ang="0">
                  <a:pos x="0" y="12"/>
                </a:cxn>
                <a:cxn ang="0">
                  <a:pos x="6" y="23"/>
                </a:cxn>
                <a:cxn ang="0">
                  <a:pos x="4" y="32"/>
                </a:cxn>
                <a:cxn ang="0">
                  <a:pos x="10" y="36"/>
                </a:cxn>
                <a:cxn ang="0">
                  <a:pos x="12" y="48"/>
                </a:cxn>
                <a:cxn ang="0">
                  <a:pos x="6" y="63"/>
                </a:cxn>
                <a:cxn ang="0">
                  <a:pos x="6" y="66"/>
                </a:cxn>
                <a:cxn ang="0">
                  <a:pos x="10" y="72"/>
                </a:cxn>
                <a:cxn ang="0">
                  <a:pos x="10" y="70"/>
                </a:cxn>
                <a:cxn ang="0">
                  <a:pos x="19" y="81"/>
                </a:cxn>
                <a:cxn ang="0">
                  <a:pos x="19" y="79"/>
                </a:cxn>
              </a:cxnLst>
              <a:rect l="0" t="0" r="r" b="b"/>
              <a:pathLst>
                <a:path w="38" h="84">
                  <a:moveTo>
                    <a:pt x="19" y="79"/>
                  </a:moveTo>
                  <a:lnTo>
                    <a:pt x="21" y="81"/>
                  </a:lnTo>
                  <a:lnTo>
                    <a:pt x="21" y="84"/>
                  </a:lnTo>
                  <a:lnTo>
                    <a:pt x="23" y="84"/>
                  </a:lnTo>
                  <a:lnTo>
                    <a:pt x="27" y="81"/>
                  </a:lnTo>
                  <a:lnTo>
                    <a:pt x="23" y="79"/>
                  </a:lnTo>
                  <a:lnTo>
                    <a:pt x="19" y="75"/>
                  </a:lnTo>
                  <a:lnTo>
                    <a:pt x="15" y="63"/>
                  </a:lnTo>
                  <a:lnTo>
                    <a:pt x="12" y="63"/>
                  </a:lnTo>
                  <a:lnTo>
                    <a:pt x="12" y="57"/>
                  </a:lnTo>
                  <a:lnTo>
                    <a:pt x="15" y="48"/>
                  </a:lnTo>
                  <a:lnTo>
                    <a:pt x="12" y="43"/>
                  </a:lnTo>
                  <a:lnTo>
                    <a:pt x="19" y="43"/>
                  </a:lnTo>
                  <a:lnTo>
                    <a:pt x="19" y="45"/>
                  </a:lnTo>
                  <a:lnTo>
                    <a:pt x="23" y="45"/>
                  </a:lnTo>
                  <a:lnTo>
                    <a:pt x="27" y="48"/>
                  </a:lnTo>
                  <a:lnTo>
                    <a:pt x="23" y="43"/>
                  </a:lnTo>
                  <a:lnTo>
                    <a:pt x="27" y="36"/>
                  </a:lnTo>
                  <a:lnTo>
                    <a:pt x="38" y="36"/>
                  </a:lnTo>
                  <a:lnTo>
                    <a:pt x="38" y="30"/>
                  </a:lnTo>
                  <a:lnTo>
                    <a:pt x="35" y="23"/>
                  </a:lnTo>
                  <a:lnTo>
                    <a:pt x="31" y="18"/>
                  </a:lnTo>
                  <a:lnTo>
                    <a:pt x="27" y="12"/>
                  </a:lnTo>
                  <a:lnTo>
                    <a:pt x="23" y="14"/>
                  </a:lnTo>
                  <a:lnTo>
                    <a:pt x="21" y="12"/>
                  </a:lnTo>
                  <a:lnTo>
                    <a:pt x="15" y="14"/>
                  </a:lnTo>
                  <a:lnTo>
                    <a:pt x="15" y="5"/>
                  </a:lnTo>
                  <a:lnTo>
                    <a:pt x="12" y="3"/>
                  </a:lnTo>
                  <a:lnTo>
                    <a:pt x="10" y="0"/>
                  </a:lnTo>
                  <a:lnTo>
                    <a:pt x="0" y="5"/>
                  </a:lnTo>
                  <a:lnTo>
                    <a:pt x="0" y="12"/>
                  </a:lnTo>
                  <a:lnTo>
                    <a:pt x="6" y="23"/>
                  </a:lnTo>
                  <a:lnTo>
                    <a:pt x="4" y="32"/>
                  </a:lnTo>
                  <a:lnTo>
                    <a:pt x="10" y="36"/>
                  </a:lnTo>
                  <a:lnTo>
                    <a:pt x="12" y="48"/>
                  </a:lnTo>
                  <a:lnTo>
                    <a:pt x="6" y="63"/>
                  </a:lnTo>
                  <a:lnTo>
                    <a:pt x="6" y="66"/>
                  </a:lnTo>
                  <a:lnTo>
                    <a:pt x="10" y="72"/>
                  </a:lnTo>
                  <a:lnTo>
                    <a:pt x="10" y="70"/>
                  </a:lnTo>
                  <a:lnTo>
                    <a:pt x="19" y="81"/>
                  </a:lnTo>
                  <a:lnTo>
                    <a:pt x="19" y="7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8" name="Freeform 1204"/>
            <p:cNvSpPr>
              <a:spLocks/>
            </p:cNvSpPr>
            <p:nvPr/>
          </p:nvSpPr>
          <p:spPr bwMode="auto">
            <a:xfrm>
              <a:off x="6581915" y="4300900"/>
              <a:ext cx="98661" cy="153894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2" y="5"/>
                </a:cxn>
                <a:cxn ang="0">
                  <a:pos x="4" y="5"/>
                </a:cxn>
                <a:cxn ang="0">
                  <a:pos x="8" y="2"/>
                </a:cxn>
                <a:cxn ang="0">
                  <a:pos x="12" y="11"/>
                </a:cxn>
                <a:cxn ang="0">
                  <a:pos x="12" y="20"/>
                </a:cxn>
                <a:cxn ang="0">
                  <a:pos x="19" y="29"/>
                </a:cxn>
                <a:cxn ang="0">
                  <a:pos x="12" y="29"/>
                </a:cxn>
                <a:cxn ang="0">
                  <a:pos x="4" y="20"/>
                </a:cxn>
                <a:cxn ang="0">
                  <a:pos x="0" y="16"/>
                </a:cxn>
                <a:cxn ang="0">
                  <a:pos x="0" y="9"/>
                </a:cxn>
                <a:cxn ang="0">
                  <a:pos x="0" y="2"/>
                </a:cxn>
              </a:cxnLst>
              <a:rect l="0" t="0" r="r" b="b"/>
              <a:pathLst>
                <a:path w="19" h="29">
                  <a:moveTo>
                    <a:pt x="0" y="2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2" y="5"/>
                  </a:lnTo>
                  <a:lnTo>
                    <a:pt x="4" y="5"/>
                  </a:lnTo>
                  <a:lnTo>
                    <a:pt x="8" y="2"/>
                  </a:lnTo>
                  <a:lnTo>
                    <a:pt x="12" y="11"/>
                  </a:lnTo>
                  <a:lnTo>
                    <a:pt x="12" y="20"/>
                  </a:lnTo>
                  <a:lnTo>
                    <a:pt x="19" y="29"/>
                  </a:lnTo>
                  <a:lnTo>
                    <a:pt x="12" y="29"/>
                  </a:lnTo>
                  <a:lnTo>
                    <a:pt x="4" y="20"/>
                  </a:lnTo>
                  <a:lnTo>
                    <a:pt x="0" y="16"/>
                  </a:lnTo>
                  <a:lnTo>
                    <a:pt x="0" y="9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9" name="Freeform 1205"/>
            <p:cNvSpPr>
              <a:spLocks/>
            </p:cNvSpPr>
            <p:nvPr/>
          </p:nvSpPr>
          <p:spPr bwMode="auto">
            <a:xfrm>
              <a:off x="6581915" y="3802073"/>
              <a:ext cx="202514" cy="429841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4" y="11"/>
                </a:cxn>
                <a:cxn ang="0">
                  <a:pos x="10" y="15"/>
                </a:cxn>
                <a:cxn ang="0">
                  <a:pos x="12" y="18"/>
                </a:cxn>
                <a:cxn ang="0">
                  <a:pos x="10" y="20"/>
                </a:cxn>
                <a:cxn ang="0">
                  <a:pos x="21" y="33"/>
                </a:cxn>
                <a:cxn ang="0">
                  <a:pos x="21" y="36"/>
                </a:cxn>
                <a:cxn ang="0">
                  <a:pos x="27" y="42"/>
                </a:cxn>
                <a:cxn ang="0">
                  <a:pos x="31" y="47"/>
                </a:cxn>
                <a:cxn ang="0">
                  <a:pos x="31" y="60"/>
                </a:cxn>
                <a:cxn ang="0">
                  <a:pos x="25" y="67"/>
                </a:cxn>
                <a:cxn ang="0">
                  <a:pos x="21" y="69"/>
                </a:cxn>
                <a:cxn ang="0">
                  <a:pos x="16" y="72"/>
                </a:cxn>
                <a:cxn ang="0">
                  <a:pos x="19" y="76"/>
                </a:cxn>
                <a:cxn ang="0">
                  <a:pos x="19" y="81"/>
                </a:cxn>
                <a:cxn ang="0">
                  <a:pos x="27" y="78"/>
                </a:cxn>
                <a:cxn ang="0">
                  <a:pos x="27" y="72"/>
                </a:cxn>
                <a:cxn ang="0">
                  <a:pos x="31" y="72"/>
                </a:cxn>
                <a:cxn ang="0">
                  <a:pos x="39" y="67"/>
                </a:cxn>
                <a:cxn ang="0">
                  <a:pos x="39" y="54"/>
                </a:cxn>
                <a:cxn ang="0">
                  <a:pos x="35" y="45"/>
                </a:cxn>
                <a:cxn ang="0">
                  <a:pos x="19" y="27"/>
                </a:cxn>
                <a:cxn ang="0">
                  <a:pos x="16" y="24"/>
                </a:cxn>
                <a:cxn ang="0">
                  <a:pos x="19" y="18"/>
                </a:cxn>
                <a:cxn ang="0">
                  <a:pos x="21" y="11"/>
                </a:cxn>
                <a:cxn ang="0">
                  <a:pos x="27" y="9"/>
                </a:cxn>
                <a:cxn ang="0">
                  <a:pos x="21" y="4"/>
                </a:cxn>
                <a:cxn ang="0">
                  <a:pos x="19" y="2"/>
                </a:cxn>
                <a:cxn ang="0">
                  <a:pos x="12" y="0"/>
                </a:cxn>
                <a:cxn ang="0">
                  <a:pos x="2" y="2"/>
                </a:cxn>
                <a:cxn ang="0">
                  <a:pos x="0" y="2"/>
                </a:cxn>
              </a:cxnLst>
              <a:rect l="0" t="0" r="r" b="b"/>
              <a:pathLst>
                <a:path w="39" h="81">
                  <a:moveTo>
                    <a:pt x="0" y="2"/>
                  </a:moveTo>
                  <a:lnTo>
                    <a:pt x="4" y="11"/>
                  </a:lnTo>
                  <a:lnTo>
                    <a:pt x="10" y="15"/>
                  </a:lnTo>
                  <a:lnTo>
                    <a:pt x="12" y="18"/>
                  </a:lnTo>
                  <a:lnTo>
                    <a:pt x="10" y="20"/>
                  </a:lnTo>
                  <a:lnTo>
                    <a:pt x="21" y="33"/>
                  </a:lnTo>
                  <a:lnTo>
                    <a:pt x="21" y="36"/>
                  </a:lnTo>
                  <a:lnTo>
                    <a:pt x="27" y="42"/>
                  </a:lnTo>
                  <a:lnTo>
                    <a:pt x="31" y="47"/>
                  </a:lnTo>
                  <a:lnTo>
                    <a:pt x="31" y="60"/>
                  </a:lnTo>
                  <a:lnTo>
                    <a:pt x="25" y="67"/>
                  </a:lnTo>
                  <a:lnTo>
                    <a:pt x="21" y="69"/>
                  </a:lnTo>
                  <a:lnTo>
                    <a:pt x="16" y="72"/>
                  </a:lnTo>
                  <a:lnTo>
                    <a:pt x="19" y="76"/>
                  </a:lnTo>
                  <a:lnTo>
                    <a:pt x="19" y="81"/>
                  </a:lnTo>
                  <a:lnTo>
                    <a:pt x="27" y="78"/>
                  </a:lnTo>
                  <a:lnTo>
                    <a:pt x="27" y="72"/>
                  </a:lnTo>
                  <a:lnTo>
                    <a:pt x="31" y="72"/>
                  </a:lnTo>
                  <a:lnTo>
                    <a:pt x="39" y="67"/>
                  </a:lnTo>
                  <a:lnTo>
                    <a:pt x="39" y="54"/>
                  </a:lnTo>
                  <a:lnTo>
                    <a:pt x="35" y="45"/>
                  </a:lnTo>
                  <a:lnTo>
                    <a:pt x="19" y="27"/>
                  </a:lnTo>
                  <a:lnTo>
                    <a:pt x="16" y="24"/>
                  </a:lnTo>
                  <a:lnTo>
                    <a:pt x="19" y="18"/>
                  </a:lnTo>
                  <a:lnTo>
                    <a:pt x="21" y="11"/>
                  </a:lnTo>
                  <a:lnTo>
                    <a:pt x="27" y="9"/>
                  </a:lnTo>
                  <a:lnTo>
                    <a:pt x="21" y="4"/>
                  </a:lnTo>
                  <a:lnTo>
                    <a:pt x="19" y="2"/>
                  </a:lnTo>
                  <a:lnTo>
                    <a:pt x="12" y="0"/>
                  </a:lnTo>
                  <a:lnTo>
                    <a:pt x="2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0" name="Freeform 1206"/>
            <p:cNvSpPr>
              <a:spLocks/>
            </p:cNvSpPr>
            <p:nvPr/>
          </p:nvSpPr>
          <p:spPr bwMode="auto">
            <a:xfrm>
              <a:off x="6602686" y="4051486"/>
              <a:ext cx="140203" cy="132667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4" y="4"/>
                </a:cxn>
                <a:cxn ang="0">
                  <a:pos x="15" y="4"/>
                </a:cxn>
                <a:cxn ang="0">
                  <a:pos x="17" y="4"/>
                </a:cxn>
                <a:cxn ang="0">
                  <a:pos x="21" y="4"/>
                </a:cxn>
                <a:cxn ang="0">
                  <a:pos x="27" y="0"/>
                </a:cxn>
                <a:cxn ang="0">
                  <a:pos x="27" y="13"/>
                </a:cxn>
                <a:cxn ang="0">
                  <a:pos x="21" y="20"/>
                </a:cxn>
                <a:cxn ang="0">
                  <a:pos x="17" y="22"/>
                </a:cxn>
                <a:cxn ang="0">
                  <a:pos x="12" y="25"/>
                </a:cxn>
                <a:cxn ang="0">
                  <a:pos x="6" y="22"/>
                </a:cxn>
                <a:cxn ang="0">
                  <a:pos x="4" y="16"/>
                </a:cxn>
                <a:cxn ang="0">
                  <a:pos x="2" y="13"/>
                </a:cxn>
                <a:cxn ang="0">
                  <a:pos x="0" y="11"/>
                </a:cxn>
              </a:cxnLst>
              <a:rect l="0" t="0" r="r" b="b"/>
              <a:pathLst>
                <a:path w="27" h="25">
                  <a:moveTo>
                    <a:pt x="0" y="11"/>
                  </a:moveTo>
                  <a:lnTo>
                    <a:pt x="4" y="4"/>
                  </a:lnTo>
                  <a:lnTo>
                    <a:pt x="15" y="4"/>
                  </a:lnTo>
                  <a:lnTo>
                    <a:pt x="17" y="4"/>
                  </a:lnTo>
                  <a:lnTo>
                    <a:pt x="21" y="4"/>
                  </a:lnTo>
                  <a:lnTo>
                    <a:pt x="27" y="0"/>
                  </a:lnTo>
                  <a:lnTo>
                    <a:pt x="27" y="13"/>
                  </a:lnTo>
                  <a:lnTo>
                    <a:pt x="21" y="20"/>
                  </a:lnTo>
                  <a:lnTo>
                    <a:pt x="17" y="22"/>
                  </a:lnTo>
                  <a:lnTo>
                    <a:pt x="12" y="25"/>
                  </a:lnTo>
                  <a:lnTo>
                    <a:pt x="6" y="22"/>
                  </a:lnTo>
                  <a:lnTo>
                    <a:pt x="4" y="16"/>
                  </a:lnTo>
                  <a:lnTo>
                    <a:pt x="2" y="13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1" name="Freeform 1207"/>
            <p:cNvSpPr>
              <a:spLocks/>
            </p:cNvSpPr>
            <p:nvPr/>
          </p:nvSpPr>
          <p:spPr bwMode="auto">
            <a:xfrm>
              <a:off x="6535182" y="3812686"/>
              <a:ext cx="207708" cy="260027"/>
            </a:xfrm>
            <a:custGeom>
              <a:avLst/>
              <a:gdLst/>
              <a:ahLst/>
              <a:cxnLst>
                <a:cxn ang="0">
                  <a:pos x="40" y="45"/>
                </a:cxn>
                <a:cxn ang="0">
                  <a:pos x="36" y="40"/>
                </a:cxn>
                <a:cxn ang="0">
                  <a:pos x="30" y="34"/>
                </a:cxn>
                <a:cxn ang="0">
                  <a:pos x="30" y="31"/>
                </a:cxn>
                <a:cxn ang="0">
                  <a:pos x="19" y="18"/>
                </a:cxn>
                <a:cxn ang="0">
                  <a:pos x="21" y="16"/>
                </a:cxn>
                <a:cxn ang="0">
                  <a:pos x="19" y="13"/>
                </a:cxn>
                <a:cxn ang="0">
                  <a:pos x="13" y="9"/>
                </a:cxn>
                <a:cxn ang="0">
                  <a:pos x="9" y="0"/>
                </a:cxn>
                <a:cxn ang="0">
                  <a:pos x="5" y="0"/>
                </a:cxn>
                <a:cxn ang="0">
                  <a:pos x="5" y="7"/>
                </a:cxn>
                <a:cxn ang="0">
                  <a:pos x="0" y="13"/>
                </a:cxn>
                <a:cxn ang="0">
                  <a:pos x="2" y="16"/>
                </a:cxn>
                <a:cxn ang="0">
                  <a:pos x="5" y="18"/>
                </a:cxn>
                <a:cxn ang="0">
                  <a:pos x="5" y="27"/>
                </a:cxn>
                <a:cxn ang="0">
                  <a:pos x="11" y="25"/>
                </a:cxn>
                <a:cxn ang="0">
                  <a:pos x="13" y="27"/>
                </a:cxn>
                <a:cxn ang="0">
                  <a:pos x="17" y="25"/>
                </a:cxn>
                <a:cxn ang="0">
                  <a:pos x="21" y="31"/>
                </a:cxn>
                <a:cxn ang="0">
                  <a:pos x="25" y="36"/>
                </a:cxn>
                <a:cxn ang="0">
                  <a:pos x="28" y="43"/>
                </a:cxn>
                <a:cxn ang="0">
                  <a:pos x="28" y="49"/>
                </a:cxn>
                <a:cxn ang="0">
                  <a:pos x="30" y="49"/>
                </a:cxn>
                <a:cxn ang="0">
                  <a:pos x="34" y="49"/>
                </a:cxn>
                <a:cxn ang="0">
                  <a:pos x="36" y="47"/>
                </a:cxn>
                <a:cxn ang="0">
                  <a:pos x="40" y="45"/>
                </a:cxn>
              </a:cxnLst>
              <a:rect l="0" t="0" r="r" b="b"/>
              <a:pathLst>
                <a:path w="40" h="49">
                  <a:moveTo>
                    <a:pt x="40" y="45"/>
                  </a:moveTo>
                  <a:lnTo>
                    <a:pt x="36" y="40"/>
                  </a:lnTo>
                  <a:lnTo>
                    <a:pt x="30" y="34"/>
                  </a:lnTo>
                  <a:lnTo>
                    <a:pt x="30" y="31"/>
                  </a:lnTo>
                  <a:lnTo>
                    <a:pt x="19" y="18"/>
                  </a:lnTo>
                  <a:lnTo>
                    <a:pt x="21" y="16"/>
                  </a:lnTo>
                  <a:lnTo>
                    <a:pt x="19" y="13"/>
                  </a:lnTo>
                  <a:lnTo>
                    <a:pt x="13" y="9"/>
                  </a:lnTo>
                  <a:lnTo>
                    <a:pt x="9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0" y="13"/>
                  </a:lnTo>
                  <a:lnTo>
                    <a:pt x="2" y="16"/>
                  </a:lnTo>
                  <a:lnTo>
                    <a:pt x="5" y="18"/>
                  </a:lnTo>
                  <a:lnTo>
                    <a:pt x="5" y="27"/>
                  </a:lnTo>
                  <a:lnTo>
                    <a:pt x="11" y="25"/>
                  </a:lnTo>
                  <a:lnTo>
                    <a:pt x="13" y="27"/>
                  </a:lnTo>
                  <a:lnTo>
                    <a:pt x="17" y="25"/>
                  </a:lnTo>
                  <a:lnTo>
                    <a:pt x="21" y="31"/>
                  </a:lnTo>
                  <a:lnTo>
                    <a:pt x="25" y="36"/>
                  </a:lnTo>
                  <a:lnTo>
                    <a:pt x="28" y="43"/>
                  </a:lnTo>
                  <a:lnTo>
                    <a:pt x="28" y="49"/>
                  </a:lnTo>
                  <a:lnTo>
                    <a:pt x="30" y="49"/>
                  </a:lnTo>
                  <a:lnTo>
                    <a:pt x="34" y="49"/>
                  </a:lnTo>
                  <a:lnTo>
                    <a:pt x="36" y="47"/>
                  </a:lnTo>
                  <a:lnTo>
                    <a:pt x="40" y="4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2" name="Freeform 1208"/>
            <p:cNvSpPr>
              <a:spLocks/>
            </p:cNvSpPr>
            <p:nvPr/>
          </p:nvSpPr>
          <p:spPr bwMode="auto">
            <a:xfrm>
              <a:off x="5813398" y="2868098"/>
              <a:ext cx="1267016" cy="1013575"/>
            </a:xfrm>
            <a:custGeom>
              <a:avLst/>
              <a:gdLst/>
              <a:ahLst/>
              <a:cxnLst>
                <a:cxn ang="0">
                  <a:pos x="48" y="31"/>
                </a:cxn>
                <a:cxn ang="0">
                  <a:pos x="62" y="47"/>
                </a:cxn>
                <a:cxn ang="0">
                  <a:pos x="110" y="63"/>
                </a:cxn>
                <a:cxn ang="0">
                  <a:pos x="150" y="63"/>
                </a:cxn>
                <a:cxn ang="0">
                  <a:pos x="156" y="49"/>
                </a:cxn>
                <a:cxn ang="0">
                  <a:pos x="167" y="43"/>
                </a:cxn>
                <a:cxn ang="0">
                  <a:pos x="175" y="34"/>
                </a:cxn>
                <a:cxn ang="0">
                  <a:pos x="160" y="34"/>
                </a:cxn>
                <a:cxn ang="0">
                  <a:pos x="164" y="22"/>
                </a:cxn>
                <a:cxn ang="0">
                  <a:pos x="169" y="11"/>
                </a:cxn>
                <a:cxn ang="0">
                  <a:pos x="175" y="0"/>
                </a:cxn>
                <a:cxn ang="0">
                  <a:pos x="204" y="22"/>
                </a:cxn>
                <a:cxn ang="0">
                  <a:pos x="227" y="34"/>
                </a:cxn>
                <a:cxn ang="0">
                  <a:pos x="240" y="34"/>
                </a:cxn>
                <a:cxn ang="0">
                  <a:pos x="237" y="47"/>
                </a:cxn>
                <a:cxn ang="0">
                  <a:pos x="240" y="63"/>
                </a:cxn>
                <a:cxn ang="0">
                  <a:pos x="231" y="67"/>
                </a:cxn>
                <a:cxn ang="0">
                  <a:pos x="219" y="81"/>
                </a:cxn>
                <a:cxn ang="0">
                  <a:pos x="208" y="83"/>
                </a:cxn>
                <a:cxn ang="0">
                  <a:pos x="206" y="74"/>
                </a:cxn>
                <a:cxn ang="0">
                  <a:pos x="198" y="81"/>
                </a:cxn>
                <a:cxn ang="0">
                  <a:pos x="192" y="85"/>
                </a:cxn>
                <a:cxn ang="0">
                  <a:pos x="208" y="90"/>
                </a:cxn>
                <a:cxn ang="0">
                  <a:pos x="215" y="94"/>
                </a:cxn>
                <a:cxn ang="0">
                  <a:pos x="215" y="110"/>
                </a:cxn>
                <a:cxn ang="0">
                  <a:pos x="223" y="126"/>
                </a:cxn>
                <a:cxn ang="0">
                  <a:pos x="229" y="135"/>
                </a:cxn>
                <a:cxn ang="0">
                  <a:pos x="223" y="153"/>
                </a:cxn>
                <a:cxn ang="0">
                  <a:pos x="219" y="167"/>
                </a:cxn>
                <a:cxn ang="0">
                  <a:pos x="204" y="178"/>
                </a:cxn>
                <a:cxn ang="0">
                  <a:pos x="200" y="180"/>
                </a:cxn>
                <a:cxn ang="0">
                  <a:pos x="187" y="187"/>
                </a:cxn>
                <a:cxn ang="0">
                  <a:pos x="183" y="185"/>
                </a:cxn>
                <a:cxn ang="0">
                  <a:pos x="167" y="178"/>
                </a:cxn>
                <a:cxn ang="0">
                  <a:pos x="148" y="178"/>
                </a:cxn>
                <a:cxn ang="0">
                  <a:pos x="139" y="185"/>
                </a:cxn>
                <a:cxn ang="0">
                  <a:pos x="129" y="176"/>
                </a:cxn>
                <a:cxn ang="0">
                  <a:pos x="127" y="153"/>
                </a:cxn>
                <a:cxn ang="0">
                  <a:pos x="110" y="137"/>
                </a:cxn>
                <a:cxn ang="0">
                  <a:pos x="93" y="149"/>
                </a:cxn>
                <a:cxn ang="0">
                  <a:pos x="79" y="149"/>
                </a:cxn>
                <a:cxn ang="0">
                  <a:pos x="56" y="137"/>
                </a:cxn>
                <a:cxn ang="0">
                  <a:pos x="41" y="135"/>
                </a:cxn>
                <a:cxn ang="0">
                  <a:pos x="29" y="119"/>
                </a:cxn>
                <a:cxn ang="0">
                  <a:pos x="33" y="108"/>
                </a:cxn>
                <a:cxn ang="0">
                  <a:pos x="23" y="106"/>
                </a:cxn>
                <a:cxn ang="0">
                  <a:pos x="6" y="94"/>
                </a:cxn>
                <a:cxn ang="0">
                  <a:pos x="2" y="85"/>
                </a:cxn>
                <a:cxn ang="0">
                  <a:pos x="0" y="76"/>
                </a:cxn>
                <a:cxn ang="0">
                  <a:pos x="12" y="72"/>
                </a:cxn>
                <a:cxn ang="0">
                  <a:pos x="23" y="65"/>
                </a:cxn>
                <a:cxn ang="0">
                  <a:pos x="25" y="47"/>
                </a:cxn>
                <a:cxn ang="0">
                  <a:pos x="37" y="38"/>
                </a:cxn>
              </a:cxnLst>
              <a:rect l="0" t="0" r="r" b="b"/>
              <a:pathLst>
                <a:path w="244" h="191">
                  <a:moveTo>
                    <a:pt x="39" y="29"/>
                  </a:moveTo>
                  <a:lnTo>
                    <a:pt x="41" y="25"/>
                  </a:lnTo>
                  <a:lnTo>
                    <a:pt x="48" y="31"/>
                  </a:lnTo>
                  <a:lnTo>
                    <a:pt x="54" y="34"/>
                  </a:lnTo>
                  <a:lnTo>
                    <a:pt x="60" y="38"/>
                  </a:lnTo>
                  <a:lnTo>
                    <a:pt x="62" y="47"/>
                  </a:lnTo>
                  <a:lnTo>
                    <a:pt x="81" y="52"/>
                  </a:lnTo>
                  <a:lnTo>
                    <a:pt x="93" y="63"/>
                  </a:lnTo>
                  <a:lnTo>
                    <a:pt x="110" y="63"/>
                  </a:lnTo>
                  <a:lnTo>
                    <a:pt x="129" y="67"/>
                  </a:lnTo>
                  <a:lnTo>
                    <a:pt x="141" y="65"/>
                  </a:lnTo>
                  <a:lnTo>
                    <a:pt x="150" y="63"/>
                  </a:lnTo>
                  <a:lnTo>
                    <a:pt x="156" y="56"/>
                  </a:lnTo>
                  <a:lnTo>
                    <a:pt x="152" y="52"/>
                  </a:lnTo>
                  <a:lnTo>
                    <a:pt x="156" y="49"/>
                  </a:lnTo>
                  <a:lnTo>
                    <a:pt x="160" y="49"/>
                  </a:lnTo>
                  <a:lnTo>
                    <a:pt x="164" y="47"/>
                  </a:lnTo>
                  <a:lnTo>
                    <a:pt x="167" y="43"/>
                  </a:lnTo>
                  <a:lnTo>
                    <a:pt x="169" y="40"/>
                  </a:lnTo>
                  <a:lnTo>
                    <a:pt x="179" y="40"/>
                  </a:lnTo>
                  <a:lnTo>
                    <a:pt x="175" y="34"/>
                  </a:lnTo>
                  <a:lnTo>
                    <a:pt x="173" y="31"/>
                  </a:lnTo>
                  <a:lnTo>
                    <a:pt x="167" y="34"/>
                  </a:lnTo>
                  <a:lnTo>
                    <a:pt x="160" y="34"/>
                  </a:lnTo>
                  <a:lnTo>
                    <a:pt x="156" y="25"/>
                  </a:lnTo>
                  <a:lnTo>
                    <a:pt x="158" y="22"/>
                  </a:lnTo>
                  <a:lnTo>
                    <a:pt x="164" y="22"/>
                  </a:lnTo>
                  <a:lnTo>
                    <a:pt x="169" y="20"/>
                  </a:lnTo>
                  <a:lnTo>
                    <a:pt x="167" y="13"/>
                  </a:lnTo>
                  <a:lnTo>
                    <a:pt x="169" y="11"/>
                  </a:lnTo>
                  <a:lnTo>
                    <a:pt x="164" y="7"/>
                  </a:lnTo>
                  <a:lnTo>
                    <a:pt x="167" y="4"/>
                  </a:lnTo>
                  <a:lnTo>
                    <a:pt x="175" y="0"/>
                  </a:lnTo>
                  <a:lnTo>
                    <a:pt x="187" y="4"/>
                  </a:lnTo>
                  <a:lnTo>
                    <a:pt x="198" y="16"/>
                  </a:lnTo>
                  <a:lnTo>
                    <a:pt x="204" y="22"/>
                  </a:lnTo>
                  <a:lnTo>
                    <a:pt x="212" y="25"/>
                  </a:lnTo>
                  <a:lnTo>
                    <a:pt x="221" y="29"/>
                  </a:lnTo>
                  <a:lnTo>
                    <a:pt x="227" y="34"/>
                  </a:lnTo>
                  <a:lnTo>
                    <a:pt x="229" y="34"/>
                  </a:lnTo>
                  <a:lnTo>
                    <a:pt x="237" y="29"/>
                  </a:lnTo>
                  <a:lnTo>
                    <a:pt x="240" y="34"/>
                  </a:lnTo>
                  <a:lnTo>
                    <a:pt x="240" y="38"/>
                  </a:lnTo>
                  <a:lnTo>
                    <a:pt x="244" y="49"/>
                  </a:lnTo>
                  <a:lnTo>
                    <a:pt x="237" y="47"/>
                  </a:lnTo>
                  <a:lnTo>
                    <a:pt x="235" y="49"/>
                  </a:lnTo>
                  <a:lnTo>
                    <a:pt x="240" y="58"/>
                  </a:lnTo>
                  <a:lnTo>
                    <a:pt x="240" y="63"/>
                  </a:lnTo>
                  <a:lnTo>
                    <a:pt x="235" y="63"/>
                  </a:lnTo>
                  <a:lnTo>
                    <a:pt x="235" y="65"/>
                  </a:lnTo>
                  <a:lnTo>
                    <a:pt x="231" y="67"/>
                  </a:lnTo>
                  <a:lnTo>
                    <a:pt x="231" y="72"/>
                  </a:lnTo>
                  <a:lnTo>
                    <a:pt x="227" y="67"/>
                  </a:lnTo>
                  <a:lnTo>
                    <a:pt x="219" y="81"/>
                  </a:lnTo>
                  <a:lnTo>
                    <a:pt x="215" y="81"/>
                  </a:lnTo>
                  <a:lnTo>
                    <a:pt x="208" y="85"/>
                  </a:lnTo>
                  <a:lnTo>
                    <a:pt x="208" y="83"/>
                  </a:lnTo>
                  <a:lnTo>
                    <a:pt x="206" y="81"/>
                  </a:lnTo>
                  <a:lnTo>
                    <a:pt x="208" y="74"/>
                  </a:lnTo>
                  <a:lnTo>
                    <a:pt x="206" y="74"/>
                  </a:lnTo>
                  <a:lnTo>
                    <a:pt x="204" y="72"/>
                  </a:lnTo>
                  <a:lnTo>
                    <a:pt x="200" y="76"/>
                  </a:lnTo>
                  <a:lnTo>
                    <a:pt x="198" y="81"/>
                  </a:lnTo>
                  <a:lnTo>
                    <a:pt x="198" y="83"/>
                  </a:lnTo>
                  <a:lnTo>
                    <a:pt x="192" y="83"/>
                  </a:lnTo>
                  <a:lnTo>
                    <a:pt x="192" y="85"/>
                  </a:lnTo>
                  <a:lnTo>
                    <a:pt x="204" y="94"/>
                  </a:lnTo>
                  <a:lnTo>
                    <a:pt x="206" y="94"/>
                  </a:lnTo>
                  <a:lnTo>
                    <a:pt x="208" y="90"/>
                  </a:lnTo>
                  <a:lnTo>
                    <a:pt x="219" y="92"/>
                  </a:lnTo>
                  <a:lnTo>
                    <a:pt x="219" y="94"/>
                  </a:lnTo>
                  <a:lnTo>
                    <a:pt x="215" y="94"/>
                  </a:lnTo>
                  <a:lnTo>
                    <a:pt x="212" y="99"/>
                  </a:lnTo>
                  <a:lnTo>
                    <a:pt x="206" y="108"/>
                  </a:lnTo>
                  <a:lnTo>
                    <a:pt x="215" y="110"/>
                  </a:lnTo>
                  <a:lnTo>
                    <a:pt x="221" y="119"/>
                  </a:lnTo>
                  <a:lnTo>
                    <a:pt x="227" y="126"/>
                  </a:lnTo>
                  <a:lnTo>
                    <a:pt x="223" y="126"/>
                  </a:lnTo>
                  <a:lnTo>
                    <a:pt x="227" y="128"/>
                  </a:lnTo>
                  <a:lnTo>
                    <a:pt x="221" y="133"/>
                  </a:lnTo>
                  <a:lnTo>
                    <a:pt x="229" y="135"/>
                  </a:lnTo>
                  <a:lnTo>
                    <a:pt x="229" y="144"/>
                  </a:lnTo>
                  <a:lnTo>
                    <a:pt x="227" y="149"/>
                  </a:lnTo>
                  <a:lnTo>
                    <a:pt x="223" y="153"/>
                  </a:lnTo>
                  <a:lnTo>
                    <a:pt x="223" y="160"/>
                  </a:lnTo>
                  <a:lnTo>
                    <a:pt x="221" y="167"/>
                  </a:lnTo>
                  <a:lnTo>
                    <a:pt x="219" y="167"/>
                  </a:lnTo>
                  <a:lnTo>
                    <a:pt x="219" y="169"/>
                  </a:lnTo>
                  <a:lnTo>
                    <a:pt x="212" y="176"/>
                  </a:lnTo>
                  <a:lnTo>
                    <a:pt x="204" y="178"/>
                  </a:lnTo>
                  <a:lnTo>
                    <a:pt x="204" y="180"/>
                  </a:lnTo>
                  <a:lnTo>
                    <a:pt x="200" y="178"/>
                  </a:lnTo>
                  <a:lnTo>
                    <a:pt x="200" y="180"/>
                  </a:lnTo>
                  <a:lnTo>
                    <a:pt x="198" y="178"/>
                  </a:lnTo>
                  <a:lnTo>
                    <a:pt x="198" y="180"/>
                  </a:lnTo>
                  <a:lnTo>
                    <a:pt x="187" y="187"/>
                  </a:lnTo>
                  <a:lnTo>
                    <a:pt x="187" y="191"/>
                  </a:lnTo>
                  <a:lnTo>
                    <a:pt x="183" y="191"/>
                  </a:lnTo>
                  <a:lnTo>
                    <a:pt x="183" y="185"/>
                  </a:lnTo>
                  <a:lnTo>
                    <a:pt x="175" y="185"/>
                  </a:lnTo>
                  <a:lnTo>
                    <a:pt x="169" y="180"/>
                  </a:lnTo>
                  <a:lnTo>
                    <a:pt x="167" y="178"/>
                  </a:lnTo>
                  <a:lnTo>
                    <a:pt x="160" y="176"/>
                  </a:lnTo>
                  <a:lnTo>
                    <a:pt x="150" y="178"/>
                  </a:lnTo>
                  <a:lnTo>
                    <a:pt x="148" y="178"/>
                  </a:lnTo>
                  <a:lnTo>
                    <a:pt x="144" y="178"/>
                  </a:lnTo>
                  <a:lnTo>
                    <a:pt x="144" y="185"/>
                  </a:lnTo>
                  <a:lnTo>
                    <a:pt x="139" y="185"/>
                  </a:lnTo>
                  <a:lnTo>
                    <a:pt x="133" y="180"/>
                  </a:lnTo>
                  <a:lnTo>
                    <a:pt x="133" y="176"/>
                  </a:lnTo>
                  <a:lnTo>
                    <a:pt x="129" y="176"/>
                  </a:lnTo>
                  <a:lnTo>
                    <a:pt x="129" y="169"/>
                  </a:lnTo>
                  <a:lnTo>
                    <a:pt x="125" y="171"/>
                  </a:lnTo>
                  <a:lnTo>
                    <a:pt x="127" y="153"/>
                  </a:lnTo>
                  <a:lnTo>
                    <a:pt x="125" y="149"/>
                  </a:lnTo>
                  <a:lnTo>
                    <a:pt x="119" y="149"/>
                  </a:lnTo>
                  <a:lnTo>
                    <a:pt x="110" y="137"/>
                  </a:lnTo>
                  <a:lnTo>
                    <a:pt x="104" y="137"/>
                  </a:lnTo>
                  <a:lnTo>
                    <a:pt x="100" y="144"/>
                  </a:lnTo>
                  <a:lnTo>
                    <a:pt x="93" y="149"/>
                  </a:lnTo>
                  <a:lnTo>
                    <a:pt x="85" y="144"/>
                  </a:lnTo>
                  <a:lnTo>
                    <a:pt x="81" y="151"/>
                  </a:lnTo>
                  <a:lnTo>
                    <a:pt x="79" y="149"/>
                  </a:lnTo>
                  <a:lnTo>
                    <a:pt x="77" y="149"/>
                  </a:lnTo>
                  <a:lnTo>
                    <a:pt x="68" y="149"/>
                  </a:lnTo>
                  <a:lnTo>
                    <a:pt x="56" y="137"/>
                  </a:lnTo>
                  <a:lnTo>
                    <a:pt x="54" y="142"/>
                  </a:lnTo>
                  <a:lnTo>
                    <a:pt x="48" y="135"/>
                  </a:lnTo>
                  <a:lnTo>
                    <a:pt x="41" y="135"/>
                  </a:lnTo>
                  <a:lnTo>
                    <a:pt x="33" y="128"/>
                  </a:lnTo>
                  <a:lnTo>
                    <a:pt x="29" y="124"/>
                  </a:lnTo>
                  <a:lnTo>
                    <a:pt x="29" y="119"/>
                  </a:lnTo>
                  <a:lnTo>
                    <a:pt x="33" y="119"/>
                  </a:lnTo>
                  <a:lnTo>
                    <a:pt x="31" y="115"/>
                  </a:lnTo>
                  <a:lnTo>
                    <a:pt x="33" y="108"/>
                  </a:lnTo>
                  <a:lnTo>
                    <a:pt x="33" y="106"/>
                  </a:lnTo>
                  <a:lnTo>
                    <a:pt x="29" y="101"/>
                  </a:lnTo>
                  <a:lnTo>
                    <a:pt x="23" y="106"/>
                  </a:lnTo>
                  <a:lnTo>
                    <a:pt x="14" y="101"/>
                  </a:lnTo>
                  <a:lnTo>
                    <a:pt x="12" y="94"/>
                  </a:lnTo>
                  <a:lnTo>
                    <a:pt x="6" y="94"/>
                  </a:lnTo>
                  <a:lnTo>
                    <a:pt x="6" y="92"/>
                  </a:lnTo>
                  <a:lnTo>
                    <a:pt x="6" y="85"/>
                  </a:lnTo>
                  <a:lnTo>
                    <a:pt x="2" y="85"/>
                  </a:lnTo>
                  <a:lnTo>
                    <a:pt x="0" y="83"/>
                  </a:lnTo>
                  <a:lnTo>
                    <a:pt x="0" y="81"/>
                  </a:lnTo>
                  <a:lnTo>
                    <a:pt x="0" y="76"/>
                  </a:lnTo>
                  <a:lnTo>
                    <a:pt x="2" y="74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23" y="67"/>
                  </a:lnTo>
                  <a:lnTo>
                    <a:pt x="23" y="65"/>
                  </a:lnTo>
                  <a:lnTo>
                    <a:pt x="23" y="58"/>
                  </a:lnTo>
                  <a:lnTo>
                    <a:pt x="20" y="49"/>
                  </a:lnTo>
                  <a:lnTo>
                    <a:pt x="25" y="47"/>
                  </a:lnTo>
                  <a:lnTo>
                    <a:pt x="25" y="38"/>
                  </a:lnTo>
                  <a:lnTo>
                    <a:pt x="33" y="38"/>
                  </a:lnTo>
                  <a:lnTo>
                    <a:pt x="37" y="38"/>
                  </a:lnTo>
                  <a:lnTo>
                    <a:pt x="37" y="31"/>
                  </a:lnTo>
                  <a:lnTo>
                    <a:pt x="39" y="2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3" name="Freeform 1209"/>
            <p:cNvSpPr>
              <a:spLocks/>
            </p:cNvSpPr>
            <p:nvPr/>
          </p:nvSpPr>
          <p:spPr bwMode="auto">
            <a:xfrm>
              <a:off x="6223620" y="3706552"/>
              <a:ext cx="119432" cy="153894"/>
            </a:xfrm>
            <a:custGeom>
              <a:avLst/>
              <a:gdLst/>
              <a:ahLst/>
              <a:cxnLst>
                <a:cxn ang="0">
                  <a:pos x="2" y="11"/>
                </a:cxn>
                <a:cxn ang="0">
                  <a:pos x="0" y="9"/>
                </a:cxn>
                <a:cxn ang="0">
                  <a:pos x="2" y="4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6" y="0"/>
                </a:cxn>
                <a:cxn ang="0">
                  <a:pos x="8" y="4"/>
                </a:cxn>
                <a:cxn ang="0">
                  <a:pos x="21" y="4"/>
                </a:cxn>
                <a:cxn ang="0">
                  <a:pos x="14" y="11"/>
                </a:cxn>
                <a:cxn ang="0">
                  <a:pos x="14" y="13"/>
                </a:cxn>
                <a:cxn ang="0">
                  <a:pos x="21" y="18"/>
                </a:cxn>
                <a:cxn ang="0">
                  <a:pos x="21" y="13"/>
                </a:cxn>
                <a:cxn ang="0">
                  <a:pos x="23" y="22"/>
                </a:cxn>
                <a:cxn ang="0">
                  <a:pos x="23" y="29"/>
                </a:cxn>
                <a:cxn ang="0">
                  <a:pos x="17" y="20"/>
                </a:cxn>
                <a:cxn ang="0">
                  <a:pos x="14" y="27"/>
                </a:cxn>
                <a:cxn ang="0">
                  <a:pos x="6" y="27"/>
                </a:cxn>
                <a:cxn ang="0">
                  <a:pos x="4" y="20"/>
                </a:cxn>
                <a:cxn ang="0">
                  <a:pos x="2" y="11"/>
                </a:cxn>
              </a:cxnLst>
              <a:rect l="0" t="0" r="r" b="b"/>
              <a:pathLst>
                <a:path w="23" h="29">
                  <a:moveTo>
                    <a:pt x="2" y="11"/>
                  </a:moveTo>
                  <a:lnTo>
                    <a:pt x="0" y="9"/>
                  </a:lnTo>
                  <a:lnTo>
                    <a:pt x="2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6" y="0"/>
                  </a:lnTo>
                  <a:lnTo>
                    <a:pt x="8" y="4"/>
                  </a:lnTo>
                  <a:lnTo>
                    <a:pt x="21" y="4"/>
                  </a:lnTo>
                  <a:lnTo>
                    <a:pt x="14" y="11"/>
                  </a:lnTo>
                  <a:lnTo>
                    <a:pt x="14" y="13"/>
                  </a:lnTo>
                  <a:lnTo>
                    <a:pt x="21" y="18"/>
                  </a:lnTo>
                  <a:lnTo>
                    <a:pt x="21" y="13"/>
                  </a:lnTo>
                  <a:lnTo>
                    <a:pt x="23" y="22"/>
                  </a:lnTo>
                  <a:lnTo>
                    <a:pt x="23" y="29"/>
                  </a:lnTo>
                  <a:lnTo>
                    <a:pt x="17" y="20"/>
                  </a:lnTo>
                  <a:lnTo>
                    <a:pt x="14" y="27"/>
                  </a:lnTo>
                  <a:lnTo>
                    <a:pt x="6" y="27"/>
                  </a:lnTo>
                  <a:lnTo>
                    <a:pt x="4" y="20"/>
                  </a:lnTo>
                  <a:lnTo>
                    <a:pt x="2" y="1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4" name="Freeform 1210"/>
            <p:cNvSpPr>
              <a:spLocks/>
            </p:cNvSpPr>
            <p:nvPr/>
          </p:nvSpPr>
          <p:spPr bwMode="auto">
            <a:xfrm>
              <a:off x="6234005" y="3632259"/>
              <a:ext cx="77890" cy="47760"/>
            </a:xfrm>
            <a:custGeom>
              <a:avLst/>
              <a:gdLst/>
              <a:ahLst/>
              <a:cxnLst>
                <a:cxn ang="0">
                  <a:pos x="12" y="5"/>
                </a:cxn>
                <a:cxn ang="0">
                  <a:pos x="4" y="0"/>
                </a:cxn>
                <a:cxn ang="0">
                  <a:pos x="0" y="7"/>
                </a:cxn>
                <a:cxn ang="0">
                  <a:pos x="0" y="9"/>
                </a:cxn>
                <a:cxn ang="0">
                  <a:pos x="4" y="9"/>
                </a:cxn>
                <a:cxn ang="0">
                  <a:pos x="15" y="9"/>
                </a:cxn>
                <a:cxn ang="0">
                  <a:pos x="15" y="7"/>
                </a:cxn>
                <a:cxn ang="0">
                  <a:pos x="12" y="7"/>
                </a:cxn>
                <a:cxn ang="0">
                  <a:pos x="12" y="5"/>
                </a:cxn>
              </a:cxnLst>
              <a:rect l="0" t="0" r="r" b="b"/>
              <a:pathLst>
                <a:path w="15" h="9">
                  <a:moveTo>
                    <a:pt x="12" y="5"/>
                  </a:moveTo>
                  <a:lnTo>
                    <a:pt x="4" y="0"/>
                  </a:lnTo>
                  <a:lnTo>
                    <a:pt x="0" y="7"/>
                  </a:lnTo>
                  <a:lnTo>
                    <a:pt x="0" y="9"/>
                  </a:lnTo>
                  <a:lnTo>
                    <a:pt x="4" y="9"/>
                  </a:lnTo>
                  <a:lnTo>
                    <a:pt x="15" y="9"/>
                  </a:lnTo>
                  <a:lnTo>
                    <a:pt x="15" y="7"/>
                  </a:lnTo>
                  <a:lnTo>
                    <a:pt x="12" y="7"/>
                  </a:lnTo>
                  <a:lnTo>
                    <a:pt x="12" y="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5" name="Freeform 1211"/>
            <p:cNvSpPr>
              <a:spLocks/>
            </p:cNvSpPr>
            <p:nvPr/>
          </p:nvSpPr>
          <p:spPr bwMode="auto">
            <a:xfrm>
              <a:off x="5756278" y="3404072"/>
              <a:ext cx="675049" cy="859681"/>
            </a:xfrm>
            <a:custGeom>
              <a:avLst/>
              <a:gdLst/>
              <a:ahLst/>
              <a:cxnLst>
                <a:cxn ang="0">
                  <a:pos x="92" y="50"/>
                </a:cxn>
                <a:cxn ang="0">
                  <a:pos x="96" y="52"/>
                </a:cxn>
                <a:cxn ang="0">
                  <a:pos x="107" y="50"/>
                </a:cxn>
                <a:cxn ang="0">
                  <a:pos x="111" y="43"/>
                </a:cxn>
                <a:cxn ang="0">
                  <a:pos x="121" y="36"/>
                </a:cxn>
                <a:cxn ang="0">
                  <a:pos x="130" y="50"/>
                </a:cxn>
                <a:cxn ang="0">
                  <a:pos x="121" y="57"/>
                </a:cxn>
                <a:cxn ang="0">
                  <a:pos x="115" y="70"/>
                </a:cxn>
                <a:cxn ang="0">
                  <a:pos x="113" y="79"/>
                </a:cxn>
                <a:cxn ang="0">
                  <a:pos x="111" y="75"/>
                </a:cxn>
                <a:cxn ang="0">
                  <a:pos x="104" y="68"/>
                </a:cxn>
                <a:cxn ang="0">
                  <a:pos x="98" y="61"/>
                </a:cxn>
                <a:cxn ang="0">
                  <a:pos x="92" y="57"/>
                </a:cxn>
                <a:cxn ang="0">
                  <a:pos x="90" y="59"/>
                </a:cxn>
                <a:cxn ang="0">
                  <a:pos x="90" y="66"/>
                </a:cxn>
                <a:cxn ang="0">
                  <a:pos x="96" y="84"/>
                </a:cxn>
                <a:cxn ang="0">
                  <a:pos x="92" y="84"/>
                </a:cxn>
                <a:cxn ang="0">
                  <a:pos x="88" y="93"/>
                </a:cxn>
                <a:cxn ang="0">
                  <a:pos x="79" y="102"/>
                </a:cxn>
                <a:cxn ang="0">
                  <a:pos x="67" y="113"/>
                </a:cxn>
                <a:cxn ang="0">
                  <a:pos x="65" y="117"/>
                </a:cxn>
                <a:cxn ang="0">
                  <a:pos x="59" y="120"/>
                </a:cxn>
                <a:cxn ang="0">
                  <a:pos x="59" y="142"/>
                </a:cxn>
                <a:cxn ang="0">
                  <a:pos x="56" y="153"/>
                </a:cxn>
                <a:cxn ang="0">
                  <a:pos x="50" y="162"/>
                </a:cxn>
                <a:cxn ang="0">
                  <a:pos x="34" y="122"/>
                </a:cxn>
                <a:cxn ang="0">
                  <a:pos x="23" y="79"/>
                </a:cxn>
                <a:cxn ang="0">
                  <a:pos x="19" y="86"/>
                </a:cxn>
                <a:cxn ang="0">
                  <a:pos x="13" y="90"/>
                </a:cxn>
                <a:cxn ang="0">
                  <a:pos x="11" y="77"/>
                </a:cxn>
                <a:cxn ang="0">
                  <a:pos x="4" y="77"/>
                </a:cxn>
                <a:cxn ang="0">
                  <a:pos x="2" y="68"/>
                </a:cxn>
                <a:cxn ang="0">
                  <a:pos x="11" y="66"/>
                </a:cxn>
                <a:cxn ang="0">
                  <a:pos x="8" y="59"/>
                </a:cxn>
                <a:cxn ang="0">
                  <a:pos x="4" y="52"/>
                </a:cxn>
                <a:cxn ang="0">
                  <a:pos x="8" y="48"/>
                </a:cxn>
                <a:cxn ang="0">
                  <a:pos x="13" y="48"/>
                </a:cxn>
                <a:cxn ang="0">
                  <a:pos x="23" y="23"/>
                </a:cxn>
                <a:cxn ang="0">
                  <a:pos x="19" y="16"/>
                </a:cxn>
                <a:cxn ang="0">
                  <a:pos x="17" y="7"/>
                </a:cxn>
                <a:cxn ang="0">
                  <a:pos x="31" y="7"/>
                </a:cxn>
                <a:cxn ang="0">
                  <a:pos x="40" y="0"/>
                </a:cxn>
                <a:cxn ang="0">
                  <a:pos x="44" y="7"/>
                </a:cxn>
                <a:cxn ang="0">
                  <a:pos x="44" y="18"/>
                </a:cxn>
                <a:cxn ang="0">
                  <a:pos x="40" y="23"/>
                </a:cxn>
                <a:cxn ang="0">
                  <a:pos x="52" y="34"/>
                </a:cxn>
                <a:cxn ang="0">
                  <a:pos x="65" y="50"/>
                </a:cxn>
                <a:cxn ang="0">
                  <a:pos x="75" y="52"/>
                </a:cxn>
                <a:cxn ang="0">
                  <a:pos x="90" y="57"/>
                </a:cxn>
                <a:cxn ang="0">
                  <a:pos x="88" y="48"/>
                </a:cxn>
              </a:cxnLst>
              <a:rect l="0" t="0" r="r" b="b"/>
              <a:pathLst>
                <a:path w="130" h="162">
                  <a:moveTo>
                    <a:pt x="90" y="48"/>
                  </a:moveTo>
                  <a:lnTo>
                    <a:pt x="92" y="50"/>
                  </a:lnTo>
                  <a:lnTo>
                    <a:pt x="92" y="52"/>
                  </a:lnTo>
                  <a:lnTo>
                    <a:pt x="96" y="52"/>
                  </a:lnTo>
                  <a:lnTo>
                    <a:pt x="107" y="52"/>
                  </a:lnTo>
                  <a:lnTo>
                    <a:pt x="107" y="50"/>
                  </a:lnTo>
                  <a:lnTo>
                    <a:pt x="104" y="48"/>
                  </a:lnTo>
                  <a:lnTo>
                    <a:pt x="111" y="43"/>
                  </a:lnTo>
                  <a:lnTo>
                    <a:pt x="115" y="36"/>
                  </a:lnTo>
                  <a:lnTo>
                    <a:pt x="121" y="36"/>
                  </a:lnTo>
                  <a:lnTo>
                    <a:pt x="130" y="48"/>
                  </a:lnTo>
                  <a:lnTo>
                    <a:pt x="130" y="50"/>
                  </a:lnTo>
                  <a:lnTo>
                    <a:pt x="127" y="50"/>
                  </a:lnTo>
                  <a:lnTo>
                    <a:pt x="121" y="57"/>
                  </a:lnTo>
                  <a:lnTo>
                    <a:pt x="119" y="70"/>
                  </a:lnTo>
                  <a:lnTo>
                    <a:pt x="115" y="70"/>
                  </a:lnTo>
                  <a:lnTo>
                    <a:pt x="115" y="79"/>
                  </a:lnTo>
                  <a:lnTo>
                    <a:pt x="113" y="79"/>
                  </a:lnTo>
                  <a:lnTo>
                    <a:pt x="111" y="70"/>
                  </a:lnTo>
                  <a:lnTo>
                    <a:pt x="111" y="75"/>
                  </a:lnTo>
                  <a:lnTo>
                    <a:pt x="104" y="70"/>
                  </a:lnTo>
                  <a:lnTo>
                    <a:pt x="104" y="68"/>
                  </a:lnTo>
                  <a:lnTo>
                    <a:pt x="111" y="61"/>
                  </a:lnTo>
                  <a:lnTo>
                    <a:pt x="98" y="61"/>
                  </a:lnTo>
                  <a:lnTo>
                    <a:pt x="96" y="57"/>
                  </a:lnTo>
                  <a:lnTo>
                    <a:pt x="92" y="57"/>
                  </a:lnTo>
                  <a:lnTo>
                    <a:pt x="90" y="57"/>
                  </a:lnTo>
                  <a:lnTo>
                    <a:pt x="90" y="59"/>
                  </a:lnTo>
                  <a:lnTo>
                    <a:pt x="92" y="61"/>
                  </a:lnTo>
                  <a:lnTo>
                    <a:pt x="90" y="66"/>
                  </a:lnTo>
                  <a:lnTo>
                    <a:pt x="92" y="68"/>
                  </a:lnTo>
                  <a:lnTo>
                    <a:pt x="96" y="84"/>
                  </a:lnTo>
                  <a:lnTo>
                    <a:pt x="92" y="79"/>
                  </a:lnTo>
                  <a:lnTo>
                    <a:pt x="92" y="84"/>
                  </a:lnTo>
                  <a:lnTo>
                    <a:pt x="88" y="84"/>
                  </a:lnTo>
                  <a:lnTo>
                    <a:pt x="88" y="93"/>
                  </a:lnTo>
                  <a:lnTo>
                    <a:pt x="82" y="95"/>
                  </a:lnTo>
                  <a:lnTo>
                    <a:pt x="79" y="102"/>
                  </a:lnTo>
                  <a:lnTo>
                    <a:pt x="71" y="111"/>
                  </a:lnTo>
                  <a:lnTo>
                    <a:pt x="67" y="113"/>
                  </a:lnTo>
                  <a:lnTo>
                    <a:pt x="65" y="113"/>
                  </a:lnTo>
                  <a:lnTo>
                    <a:pt x="65" y="117"/>
                  </a:lnTo>
                  <a:lnTo>
                    <a:pt x="63" y="117"/>
                  </a:lnTo>
                  <a:lnTo>
                    <a:pt x="59" y="120"/>
                  </a:lnTo>
                  <a:lnTo>
                    <a:pt x="63" y="133"/>
                  </a:lnTo>
                  <a:lnTo>
                    <a:pt x="59" y="142"/>
                  </a:lnTo>
                  <a:lnTo>
                    <a:pt x="59" y="147"/>
                  </a:lnTo>
                  <a:lnTo>
                    <a:pt x="56" y="153"/>
                  </a:lnTo>
                  <a:lnTo>
                    <a:pt x="52" y="156"/>
                  </a:lnTo>
                  <a:lnTo>
                    <a:pt x="50" y="162"/>
                  </a:lnTo>
                  <a:lnTo>
                    <a:pt x="44" y="156"/>
                  </a:lnTo>
                  <a:lnTo>
                    <a:pt x="34" y="122"/>
                  </a:lnTo>
                  <a:lnTo>
                    <a:pt x="27" y="113"/>
                  </a:lnTo>
                  <a:lnTo>
                    <a:pt x="23" y="79"/>
                  </a:lnTo>
                  <a:lnTo>
                    <a:pt x="19" y="79"/>
                  </a:lnTo>
                  <a:lnTo>
                    <a:pt x="19" y="86"/>
                  </a:lnTo>
                  <a:lnTo>
                    <a:pt x="17" y="86"/>
                  </a:lnTo>
                  <a:lnTo>
                    <a:pt x="13" y="90"/>
                  </a:lnTo>
                  <a:lnTo>
                    <a:pt x="4" y="79"/>
                  </a:lnTo>
                  <a:lnTo>
                    <a:pt x="11" y="77"/>
                  </a:lnTo>
                  <a:lnTo>
                    <a:pt x="11" y="75"/>
                  </a:lnTo>
                  <a:lnTo>
                    <a:pt x="4" y="77"/>
                  </a:lnTo>
                  <a:lnTo>
                    <a:pt x="0" y="70"/>
                  </a:lnTo>
                  <a:lnTo>
                    <a:pt x="2" y="68"/>
                  </a:lnTo>
                  <a:lnTo>
                    <a:pt x="11" y="68"/>
                  </a:lnTo>
                  <a:lnTo>
                    <a:pt x="11" y="66"/>
                  </a:lnTo>
                  <a:lnTo>
                    <a:pt x="11" y="59"/>
                  </a:lnTo>
                  <a:lnTo>
                    <a:pt x="8" y="59"/>
                  </a:lnTo>
                  <a:lnTo>
                    <a:pt x="8" y="57"/>
                  </a:lnTo>
                  <a:lnTo>
                    <a:pt x="4" y="52"/>
                  </a:lnTo>
                  <a:lnTo>
                    <a:pt x="4" y="50"/>
                  </a:lnTo>
                  <a:lnTo>
                    <a:pt x="8" y="48"/>
                  </a:lnTo>
                  <a:lnTo>
                    <a:pt x="11" y="48"/>
                  </a:lnTo>
                  <a:lnTo>
                    <a:pt x="13" y="48"/>
                  </a:lnTo>
                  <a:lnTo>
                    <a:pt x="25" y="27"/>
                  </a:lnTo>
                  <a:lnTo>
                    <a:pt x="23" y="23"/>
                  </a:lnTo>
                  <a:lnTo>
                    <a:pt x="25" y="23"/>
                  </a:lnTo>
                  <a:lnTo>
                    <a:pt x="19" y="16"/>
                  </a:lnTo>
                  <a:lnTo>
                    <a:pt x="19" y="9"/>
                  </a:lnTo>
                  <a:lnTo>
                    <a:pt x="17" y="7"/>
                  </a:lnTo>
                  <a:lnTo>
                    <a:pt x="25" y="7"/>
                  </a:lnTo>
                  <a:lnTo>
                    <a:pt x="31" y="7"/>
                  </a:lnTo>
                  <a:lnTo>
                    <a:pt x="34" y="5"/>
                  </a:lnTo>
                  <a:lnTo>
                    <a:pt x="40" y="0"/>
                  </a:lnTo>
                  <a:lnTo>
                    <a:pt x="44" y="5"/>
                  </a:lnTo>
                  <a:lnTo>
                    <a:pt x="44" y="7"/>
                  </a:lnTo>
                  <a:lnTo>
                    <a:pt x="42" y="14"/>
                  </a:lnTo>
                  <a:lnTo>
                    <a:pt x="44" y="18"/>
                  </a:lnTo>
                  <a:lnTo>
                    <a:pt x="40" y="18"/>
                  </a:lnTo>
                  <a:lnTo>
                    <a:pt x="40" y="23"/>
                  </a:lnTo>
                  <a:lnTo>
                    <a:pt x="44" y="27"/>
                  </a:lnTo>
                  <a:lnTo>
                    <a:pt x="52" y="34"/>
                  </a:lnTo>
                  <a:lnTo>
                    <a:pt x="50" y="41"/>
                  </a:lnTo>
                  <a:lnTo>
                    <a:pt x="65" y="50"/>
                  </a:lnTo>
                  <a:lnTo>
                    <a:pt x="71" y="50"/>
                  </a:lnTo>
                  <a:lnTo>
                    <a:pt x="75" y="52"/>
                  </a:lnTo>
                  <a:lnTo>
                    <a:pt x="84" y="57"/>
                  </a:lnTo>
                  <a:lnTo>
                    <a:pt x="90" y="57"/>
                  </a:lnTo>
                  <a:lnTo>
                    <a:pt x="88" y="52"/>
                  </a:lnTo>
                  <a:lnTo>
                    <a:pt x="88" y="48"/>
                  </a:lnTo>
                  <a:lnTo>
                    <a:pt x="90" y="48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6" name="Freeform 1212"/>
            <p:cNvSpPr>
              <a:spLocks/>
            </p:cNvSpPr>
            <p:nvPr/>
          </p:nvSpPr>
          <p:spPr bwMode="auto">
            <a:xfrm>
              <a:off x="6015912" y="3584499"/>
              <a:ext cx="207708" cy="122054"/>
            </a:xfrm>
            <a:custGeom>
              <a:avLst/>
              <a:gdLst/>
              <a:ahLst/>
              <a:cxnLst>
                <a:cxn ang="0">
                  <a:pos x="38" y="18"/>
                </a:cxn>
                <a:cxn ang="0">
                  <a:pos x="38" y="14"/>
                </a:cxn>
                <a:cxn ang="0">
                  <a:pos x="29" y="14"/>
                </a:cxn>
                <a:cxn ang="0">
                  <a:pos x="17" y="2"/>
                </a:cxn>
                <a:cxn ang="0">
                  <a:pos x="15" y="7"/>
                </a:cxn>
                <a:cxn ang="0">
                  <a:pos x="9" y="0"/>
                </a:cxn>
                <a:cxn ang="0">
                  <a:pos x="2" y="0"/>
                </a:cxn>
                <a:cxn ang="0">
                  <a:pos x="0" y="7"/>
                </a:cxn>
                <a:cxn ang="0">
                  <a:pos x="15" y="16"/>
                </a:cxn>
                <a:cxn ang="0">
                  <a:pos x="21" y="16"/>
                </a:cxn>
                <a:cxn ang="0">
                  <a:pos x="25" y="18"/>
                </a:cxn>
                <a:cxn ang="0">
                  <a:pos x="34" y="23"/>
                </a:cxn>
                <a:cxn ang="0">
                  <a:pos x="40" y="23"/>
                </a:cxn>
                <a:cxn ang="0">
                  <a:pos x="38" y="20"/>
                </a:cxn>
                <a:cxn ang="0">
                  <a:pos x="38" y="18"/>
                </a:cxn>
              </a:cxnLst>
              <a:rect l="0" t="0" r="r" b="b"/>
              <a:pathLst>
                <a:path w="40" h="23">
                  <a:moveTo>
                    <a:pt x="38" y="18"/>
                  </a:moveTo>
                  <a:lnTo>
                    <a:pt x="38" y="14"/>
                  </a:lnTo>
                  <a:lnTo>
                    <a:pt x="29" y="14"/>
                  </a:lnTo>
                  <a:lnTo>
                    <a:pt x="17" y="2"/>
                  </a:lnTo>
                  <a:lnTo>
                    <a:pt x="15" y="7"/>
                  </a:lnTo>
                  <a:lnTo>
                    <a:pt x="9" y="0"/>
                  </a:lnTo>
                  <a:lnTo>
                    <a:pt x="2" y="0"/>
                  </a:lnTo>
                  <a:lnTo>
                    <a:pt x="0" y="7"/>
                  </a:lnTo>
                  <a:lnTo>
                    <a:pt x="15" y="16"/>
                  </a:lnTo>
                  <a:lnTo>
                    <a:pt x="21" y="16"/>
                  </a:lnTo>
                  <a:lnTo>
                    <a:pt x="25" y="18"/>
                  </a:lnTo>
                  <a:lnTo>
                    <a:pt x="34" y="23"/>
                  </a:lnTo>
                  <a:lnTo>
                    <a:pt x="40" y="23"/>
                  </a:lnTo>
                  <a:lnTo>
                    <a:pt x="38" y="20"/>
                  </a:lnTo>
                  <a:lnTo>
                    <a:pt x="38" y="18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7" name="Freeform 1213"/>
            <p:cNvSpPr>
              <a:spLocks/>
            </p:cNvSpPr>
            <p:nvPr/>
          </p:nvSpPr>
          <p:spPr bwMode="auto">
            <a:xfrm>
              <a:off x="5138348" y="3271405"/>
              <a:ext cx="477727" cy="456374"/>
            </a:xfrm>
            <a:custGeom>
              <a:avLst/>
              <a:gdLst/>
              <a:ahLst/>
              <a:cxnLst>
                <a:cxn ang="0">
                  <a:pos x="67" y="84"/>
                </a:cxn>
                <a:cxn ang="0">
                  <a:pos x="65" y="77"/>
                </a:cxn>
                <a:cxn ang="0">
                  <a:pos x="57" y="82"/>
                </a:cxn>
                <a:cxn ang="0">
                  <a:pos x="50" y="82"/>
                </a:cxn>
                <a:cxn ang="0">
                  <a:pos x="40" y="73"/>
                </a:cxn>
                <a:cxn ang="0">
                  <a:pos x="34" y="59"/>
                </a:cxn>
                <a:cxn ang="0">
                  <a:pos x="27" y="57"/>
                </a:cxn>
                <a:cxn ang="0">
                  <a:pos x="25" y="59"/>
                </a:cxn>
                <a:cxn ang="0">
                  <a:pos x="19" y="52"/>
                </a:cxn>
                <a:cxn ang="0">
                  <a:pos x="19" y="43"/>
                </a:cxn>
                <a:cxn ang="0">
                  <a:pos x="11" y="41"/>
                </a:cxn>
                <a:cxn ang="0">
                  <a:pos x="9" y="34"/>
                </a:cxn>
                <a:cxn ang="0">
                  <a:pos x="11" y="30"/>
                </a:cxn>
                <a:cxn ang="0">
                  <a:pos x="4" y="16"/>
                </a:cxn>
                <a:cxn ang="0">
                  <a:pos x="0" y="5"/>
                </a:cxn>
                <a:cxn ang="0">
                  <a:pos x="2" y="0"/>
                </a:cxn>
                <a:cxn ang="0">
                  <a:pos x="4" y="7"/>
                </a:cxn>
                <a:cxn ang="0">
                  <a:pos x="9" y="7"/>
                </a:cxn>
                <a:cxn ang="0">
                  <a:pos x="11" y="7"/>
                </a:cxn>
                <a:cxn ang="0">
                  <a:pos x="17" y="5"/>
                </a:cxn>
                <a:cxn ang="0">
                  <a:pos x="17" y="7"/>
                </a:cxn>
                <a:cxn ang="0">
                  <a:pos x="23" y="9"/>
                </a:cxn>
                <a:cxn ang="0">
                  <a:pos x="23" y="16"/>
                </a:cxn>
                <a:cxn ang="0">
                  <a:pos x="34" y="23"/>
                </a:cxn>
                <a:cxn ang="0">
                  <a:pos x="44" y="18"/>
                </a:cxn>
                <a:cxn ang="0">
                  <a:pos x="44" y="16"/>
                </a:cxn>
                <a:cxn ang="0">
                  <a:pos x="50" y="14"/>
                </a:cxn>
                <a:cxn ang="0">
                  <a:pos x="57" y="9"/>
                </a:cxn>
                <a:cxn ang="0">
                  <a:pos x="79" y="23"/>
                </a:cxn>
                <a:cxn ang="0">
                  <a:pos x="79" y="25"/>
                </a:cxn>
                <a:cxn ang="0">
                  <a:pos x="79" y="32"/>
                </a:cxn>
                <a:cxn ang="0">
                  <a:pos x="75" y="34"/>
                </a:cxn>
                <a:cxn ang="0">
                  <a:pos x="75" y="39"/>
                </a:cxn>
                <a:cxn ang="0">
                  <a:pos x="79" y="50"/>
                </a:cxn>
                <a:cxn ang="0">
                  <a:pos x="84" y="50"/>
                </a:cxn>
                <a:cxn ang="0">
                  <a:pos x="84" y="52"/>
                </a:cxn>
                <a:cxn ang="0">
                  <a:pos x="82" y="59"/>
                </a:cxn>
                <a:cxn ang="0">
                  <a:pos x="88" y="68"/>
                </a:cxn>
                <a:cxn ang="0">
                  <a:pos x="90" y="68"/>
                </a:cxn>
                <a:cxn ang="0">
                  <a:pos x="92" y="75"/>
                </a:cxn>
                <a:cxn ang="0">
                  <a:pos x="92" y="77"/>
                </a:cxn>
                <a:cxn ang="0">
                  <a:pos x="88" y="82"/>
                </a:cxn>
                <a:cxn ang="0">
                  <a:pos x="88" y="86"/>
                </a:cxn>
                <a:cxn ang="0">
                  <a:pos x="77" y="86"/>
                </a:cxn>
                <a:cxn ang="0">
                  <a:pos x="69" y="84"/>
                </a:cxn>
                <a:cxn ang="0">
                  <a:pos x="67" y="84"/>
                </a:cxn>
              </a:cxnLst>
              <a:rect l="0" t="0" r="r" b="b"/>
              <a:pathLst>
                <a:path w="92" h="86">
                  <a:moveTo>
                    <a:pt x="67" y="84"/>
                  </a:moveTo>
                  <a:lnTo>
                    <a:pt x="65" y="77"/>
                  </a:lnTo>
                  <a:lnTo>
                    <a:pt x="57" y="82"/>
                  </a:lnTo>
                  <a:lnTo>
                    <a:pt x="50" y="82"/>
                  </a:lnTo>
                  <a:lnTo>
                    <a:pt x="40" y="73"/>
                  </a:lnTo>
                  <a:lnTo>
                    <a:pt x="34" y="59"/>
                  </a:lnTo>
                  <a:lnTo>
                    <a:pt x="27" y="57"/>
                  </a:lnTo>
                  <a:lnTo>
                    <a:pt x="25" y="59"/>
                  </a:lnTo>
                  <a:lnTo>
                    <a:pt x="19" y="52"/>
                  </a:lnTo>
                  <a:lnTo>
                    <a:pt x="19" y="43"/>
                  </a:lnTo>
                  <a:lnTo>
                    <a:pt x="11" y="41"/>
                  </a:lnTo>
                  <a:lnTo>
                    <a:pt x="9" y="34"/>
                  </a:lnTo>
                  <a:lnTo>
                    <a:pt x="11" y="30"/>
                  </a:lnTo>
                  <a:lnTo>
                    <a:pt x="4" y="16"/>
                  </a:lnTo>
                  <a:lnTo>
                    <a:pt x="0" y="5"/>
                  </a:lnTo>
                  <a:lnTo>
                    <a:pt x="2" y="0"/>
                  </a:lnTo>
                  <a:lnTo>
                    <a:pt x="4" y="7"/>
                  </a:lnTo>
                  <a:lnTo>
                    <a:pt x="9" y="7"/>
                  </a:lnTo>
                  <a:lnTo>
                    <a:pt x="11" y="7"/>
                  </a:lnTo>
                  <a:lnTo>
                    <a:pt x="17" y="5"/>
                  </a:lnTo>
                  <a:lnTo>
                    <a:pt x="17" y="7"/>
                  </a:lnTo>
                  <a:lnTo>
                    <a:pt x="23" y="9"/>
                  </a:lnTo>
                  <a:lnTo>
                    <a:pt x="23" y="16"/>
                  </a:lnTo>
                  <a:lnTo>
                    <a:pt x="34" y="23"/>
                  </a:lnTo>
                  <a:lnTo>
                    <a:pt x="44" y="18"/>
                  </a:lnTo>
                  <a:lnTo>
                    <a:pt x="44" y="16"/>
                  </a:lnTo>
                  <a:lnTo>
                    <a:pt x="50" y="14"/>
                  </a:lnTo>
                  <a:lnTo>
                    <a:pt x="57" y="9"/>
                  </a:lnTo>
                  <a:lnTo>
                    <a:pt x="79" y="23"/>
                  </a:lnTo>
                  <a:lnTo>
                    <a:pt x="79" y="25"/>
                  </a:lnTo>
                  <a:lnTo>
                    <a:pt x="79" y="32"/>
                  </a:lnTo>
                  <a:lnTo>
                    <a:pt x="75" y="34"/>
                  </a:lnTo>
                  <a:lnTo>
                    <a:pt x="75" y="39"/>
                  </a:lnTo>
                  <a:lnTo>
                    <a:pt x="79" y="50"/>
                  </a:lnTo>
                  <a:lnTo>
                    <a:pt x="84" y="50"/>
                  </a:lnTo>
                  <a:lnTo>
                    <a:pt x="84" y="52"/>
                  </a:lnTo>
                  <a:lnTo>
                    <a:pt x="82" y="59"/>
                  </a:lnTo>
                  <a:lnTo>
                    <a:pt x="88" y="68"/>
                  </a:lnTo>
                  <a:lnTo>
                    <a:pt x="90" y="68"/>
                  </a:lnTo>
                  <a:lnTo>
                    <a:pt x="92" y="75"/>
                  </a:lnTo>
                  <a:lnTo>
                    <a:pt x="92" y="77"/>
                  </a:lnTo>
                  <a:lnTo>
                    <a:pt x="88" y="82"/>
                  </a:lnTo>
                  <a:lnTo>
                    <a:pt x="88" y="86"/>
                  </a:lnTo>
                  <a:lnTo>
                    <a:pt x="77" y="86"/>
                  </a:lnTo>
                  <a:lnTo>
                    <a:pt x="69" y="84"/>
                  </a:lnTo>
                  <a:lnTo>
                    <a:pt x="67" y="8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8" name="Freeform 1214"/>
            <p:cNvSpPr>
              <a:spLocks/>
            </p:cNvSpPr>
            <p:nvPr/>
          </p:nvSpPr>
          <p:spPr bwMode="auto">
            <a:xfrm>
              <a:off x="5564148" y="3366925"/>
              <a:ext cx="368680" cy="408614"/>
            </a:xfrm>
            <a:custGeom>
              <a:avLst/>
              <a:gdLst/>
              <a:ahLst/>
              <a:cxnLst>
                <a:cxn ang="0">
                  <a:pos x="39" y="75"/>
                </a:cxn>
                <a:cxn ang="0">
                  <a:pos x="48" y="75"/>
                </a:cxn>
                <a:cxn ang="0">
                  <a:pos x="48" y="73"/>
                </a:cxn>
                <a:cxn ang="0">
                  <a:pos x="48" y="66"/>
                </a:cxn>
                <a:cxn ang="0">
                  <a:pos x="45" y="66"/>
                </a:cxn>
                <a:cxn ang="0">
                  <a:pos x="45" y="64"/>
                </a:cxn>
                <a:cxn ang="0">
                  <a:pos x="41" y="59"/>
                </a:cxn>
                <a:cxn ang="0">
                  <a:pos x="41" y="57"/>
                </a:cxn>
                <a:cxn ang="0">
                  <a:pos x="45" y="55"/>
                </a:cxn>
                <a:cxn ang="0">
                  <a:pos x="48" y="55"/>
                </a:cxn>
                <a:cxn ang="0">
                  <a:pos x="50" y="55"/>
                </a:cxn>
                <a:cxn ang="0">
                  <a:pos x="62" y="34"/>
                </a:cxn>
                <a:cxn ang="0">
                  <a:pos x="60" y="30"/>
                </a:cxn>
                <a:cxn ang="0">
                  <a:pos x="62" y="30"/>
                </a:cxn>
                <a:cxn ang="0">
                  <a:pos x="56" y="23"/>
                </a:cxn>
                <a:cxn ang="0">
                  <a:pos x="56" y="16"/>
                </a:cxn>
                <a:cxn ang="0">
                  <a:pos x="54" y="14"/>
                </a:cxn>
                <a:cxn ang="0">
                  <a:pos x="62" y="14"/>
                </a:cxn>
                <a:cxn ang="0">
                  <a:pos x="68" y="14"/>
                </a:cxn>
                <a:cxn ang="0">
                  <a:pos x="71" y="12"/>
                </a:cxn>
                <a:cxn ang="0">
                  <a:pos x="62" y="7"/>
                </a:cxn>
                <a:cxn ang="0">
                  <a:pos x="60" y="0"/>
                </a:cxn>
                <a:cxn ang="0">
                  <a:pos x="54" y="0"/>
                </a:cxn>
                <a:cxn ang="0">
                  <a:pos x="50" y="0"/>
                </a:cxn>
                <a:cxn ang="0">
                  <a:pos x="48" y="0"/>
                </a:cxn>
                <a:cxn ang="0">
                  <a:pos x="41" y="5"/>
                </a:cxn>
                <a:cxn ang="0">
                  <a:pos x="41" y="14"/>
                </a:cxn>
                <a:cxn ang="0">
                  <a:pos x="41" y="16"/>
                </a:cxn>
                <a:cxn ang="0">
                  <a:pos x="37" y="16"/>
                </a:cxn>
                <a:cxn ang="0">
                  <a:pos x="39" y="21"/>
                </a:cxn>
                <a:cxn ang="0">
                  <a:pos x="37" y="23"/>
                </a:cxn>
                <a:cxn ang="0">
                  <a:pos x="37" y="32"/>
                </a:cxn>
                <a:cxn ang="0">
                  <a:pos x="25" y="34"/>
                </a:cxn>
                <a:cxn ang="0">
                  <a:pos x="25" y="41"/>
                </a:cxn>
                <a:cxn ang="0">
                  <a:pos x="6" y="43"/>
                </a:cxn>
                <a:cxn ang="0">
                  <a:pos x="0" y="41"/>
                </a:cxn>
                <a:cxn ang="0">
                  <a:pos x="6" y="50"/>
                </a:cxn>
                <a:cxn ang="0">
                  <a:pos x="8" y="50"/>
                </a:cxn>
                <a:cxn ang="0">
                  <a:pos x="10" y="57"/>
                </a:cxn>
                <a:cxn ang="0">
                  <a:pos x="10" y="59"/>
                </a:cxn>
                <a:cxn ang="0">
                  <a:pos x="6" y="64"/>
                </a:cxn>
                <a:cxn ang="0">
                  <a:pos x="6" y="68"/>
                </a:cxn>
                <a:cxn ang="0">
                  <a:pos x="16" y="68"/>
                </a:cxn>
                <a:cxn ang="0">
                  <a:pos x="20" y="68"/>
                </a:cxn>
                <a:cxn ang="0">
                  <a:pos x="29" y="68"/>
                </a:cxn>
                <a:cxn ang="0">
                  <a:pos x="33" y="77"/>
                </a:cxn>
                <a:cxn ang="0">
                  <a:pos x="37" y="77"/>
                </a:cxn>
                <a:cxn ang="0">
                  <a:pos x="39" y="75"/>
                </a:cxn>
              </a:cxnLst>
              <a:rect l="0" t="0" r="r" b="b"/>
              <a:pathLst>
                <a:path w="71" h="77">
                  <a:moveTo>
                    <a:pt x="39" y="75"/>
                  </a:moveTo>
                  <a:lnTo>
                    <a:pt x="48" y="75"/>
                  </a:lnTo>
                  <a:lnTo>
                    <a:pt x="48" y="73"/>
                  </a:lnTo>
                  <a:lnTo>
                    <a:pt x="48" y="66"/>
                  </a:lnTo>
                  <a:lnTo>
                    <a:pt x="45" y="66"/>
                  </a:lnTo>
                  <a:lnTo>
                    <a:pt x="45" y="64"/>
                  </a:lnTo>
                  <a:lnTo>
                    <a:pt x="41" y="59"/>
                  </a:lnTo>
                  <a:lnTo>
                    <a:pt x="41" y="57"/>
                  </a:lnTo>
                  <a:lnTo>
                    <a:pt x="45" y="55"/>
                  </a:lnTo>
                  <a:lnTo>
                    <a:pt x="48" y="55"/>
                  </a:lnTo>
                  <a:lnTo>
                    <a:pt x="50" y="55"/>
                  </a:lnTo>
                  <a:lnTo>
                    <a:pt x="62" y="34"/>
                  </a:lnTo>
                  <a:lnTo>
                    <a:pt x="60" y="30"/>
                  </a:lnTo>
                  <a:lnTo>
                    <a:pt x="62" y="30"/>
                  </a:lnTo>
                  <a:lnTo>
                    <a:pt x="56" y="23"/>
                  </a:lnTo>
                  <a:lnTo>
                    <a:pt x="56" y="16"/>
                  </a:lnTo>
                  <a:lnTo>
                    <a:pt x="54" y="14"/>
                  </a:lnTo>
                  <a:lnTo>
                    <a:pt x="62" y="14"/>
                  </a:lnTo>
                  <a:lnTo>
                    <a:pt x="68" y="14"/>
                  </a:lnTo>
                  <a:lnTo>
                    <a:pt x="71" y="12"/>
                  </a:lnTo>
                  <a:lnTo>
                    <a:pt x="62" y="7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0" y="0"/>
                  </a:lnTo>
                  <a:lnTo>
                    <a:pt x="48" y="0"/>
                  </a:lnTo>
                  <a:lnTo>
                    <a:pt x="41" y="5"/>
                  </a:lnTo>
                  <a:lnTo>
                    <a:pt x="41" y="14"/>
                  </a:lnTo>
                  <a:lnTo>
                    <a:pt x="41" y="16"/>
                  </a:lnTo>
                  <a:lnTo>
                    <a:pt x="37" y="16"/>
                  </a:lnTo>
                  <a:lnTo>
                    <a:pt x="39" y="21"/>
                  </a:lnTo>
                  <a:lnTo>
                    <a:pt x="37" y="23"/>
                  </a:lnTo>
                  <a:lnTo>
                    <a:pt x="37" y="32"/>
                  </a:lnTo>
                  <a:lnTo>
                    <a:pt x="25" y="34"/>
                  </a:lnTo>
                  <a:lnTo>
                    <a:pt x="25" y="41"/>
                  </a:lnTo>
                  <a:lnTo>
                    <a:pt x="6" y="43"/>
                  </a:lnTo>
                  <a:lnTo>
                    <a:pt x="0" y="41"/>
                  </a:lnTo>
                  <a:lnTo>
                    <a:pt x="6" y="50"/>
                  </a:lnTo>
                  <a:lnTo>
                    <a:pt x="8" y="50"/>
                  </a:lnTo>
                  <a:lnTo>
                    <a:pt x="10" y="57"/>
                  </a:lnTo>
                  <a:lnTo>
                    <a:pt x="10" y="59"/>
                  </a:lnTo>
                  <a:lnTo>
                    <a:pt x="6" y="64"/>
                  </a:lnTo>
                  <a:lnTo>
                    <a:pt x="6" y="68"/>
                  </a:lnTo>
                  <a:lnTo>
                    <a:pt x="16" y="68"/>
                  </a:lnTo>
                  <a:lnTo>
                    <a:pt x="20" y="68"/>
                  </a:lnTo>
                  <a:lnTo>
                    <a:pt x="29" y="68"/>
                  </a:lnTo>
                  <a:lnTo>
                    <a:pt x="33" y="77"/>
                  </a:lnTo>
                  <a:lnTo>
                    <a:pt x="37" y="77"/>
                  </a:lnTo>
                  <a:lnTo>
                    <a:pt x="39" y="7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9" name="Freeform 1215"/>
            <p:cNvSpPr>
              <a:spLocks/>
            </p:cNvSpPr>
            <p:nvPr/>
          </p:nvSpPr>
          <p:spPr bwMode="auto">
            <a:xfrm>
              <a:off x="5527799" y="3319165"/>
              <a:ext cx="316753" cy="275947"/>
            </a:xfrm>
            <a:custGeom>
              <a:avLst/>
              <a:gdLst/>
              <a:ahLst/>
              <a:cxnLst>
                <a:cxn ang="0">
                  <a:pos x="23" y="7"/>
                </a:cxn>
                <a:cxn ang="0">
                  <a:pos x="30" y="9"/>
                </a:cxn>
                <a:cxn ang="0">
                  <a:pos x="32" y="9"/>
                </a:cxn>
                <a:cxn ang="0">
                  <a:pos x="38" y="7"/>
                </a:cxn>
                <a:cxn ang="0">
                  <a:pos x="40" y="7"/>
                </a:cxn>
                <a:cxn ang="0">
                  <a:pos x="44" y="0"/>
                </a:cxn>
                <a:cxn ang="0">
                  <a:pos x="46" y="5"/>
                </a:cxn>
                <a:cxn ang="0">
                  <a:pos x="48" y="9"/>
                </a:cxn>
                <a:cxn ang="0">
                  <a:pos x="55" y="7"/>
                </a:cxn>
                <a:cxn ang="0">
                  <a:pos x="61" y="7"/>
                </a:cxn>
                <a:cxn ang="0">
                  <a:pos x="61" y="9"/>
                </a:cxn>
                <a:cxn ang="0">
                  <a:pos x="57" y="9"/>
                </a:cxn>
                <a:cxn ang="0">
                  <a:pos x="55" y="9"/>
                </a:cxn>
                <a:cxn ang="0">
                  <a:pos x="48" y="14"/>
                </a:cxn>
                <a:cxn ang="0">
                  <a:pos x="48" y="23"/>
                </a:cxn>
                <a:cxn ang="0">
                  <a:pos x="48" y="25"/>
                </a:cxn>
                <a:cxn ang="0">
                  <a:pos x="44" y="25"/>
                </a:cxn>
                <a:cxn ang="0">
                  <a:pos x="46" y="30"/>
                </a:cxn>
                <a:cxn ang="0">
                  <a:pos x="44" y="32"/>
                </a:cxn>
                <a:cxn ang="0">
                  <a:pos x="44" y="41"/>
                </a:cxn>
                <a:cxn ang="0">
                  <a:pos x="32" y="43"/>
                </a:cxn>
                <a:cxn ang="0">
                  <a:pos x="32" y="50"/>
                </a:cxn>
                <a:cxn ang="0">
                  <a:pos x="13" y="52"/>
                </a:cxn>
                <a:cxn ang="0">
                  <a:pos x="7" y="50"/>
                </a:cxn>
                <a:cxn ang="0">
                  <a:pos x="9" y="43"/>
                </a:cxn>
                <a:cxn ang="0">
                  <a:pos x="9" y="41"/>
                </a:cxn>
                <a:cxn ang="0">
                  <a:pos x="4" y="41"/>
                </a:cxn>
                <a:cxn ang="0">
                  <a:pos x="0" y="30"/>
                </a:cxn>
                <a:cxn ang="0">
                  <a:pos x="0" y="25"/>
                </a:cxn>
                <a:cxn ang="0">
                  <a:pos x="4" y="23"/>
                </a:cxn>
                <a:cxn ang="0">
                  <a:pos x="4" y="16"/>
                </a:cxn>
                <a:cxn ang="0">
                  <a:pos x="9" y="21"/>
                </a:cxn>
                <a:cxn ang="0">
                  <a:pos x="13" y="16"/>
                </a:cxn>
                <a:cxn ang="0">
                  <a:pos x="17" y="14"/>
                </a:cxn>
                <a:cxn ang="0">
                  <a:pos x="17" y="7"/>
                </a:cxn>
                <a:cxn ang="0">
                  <a:pos x="21" y="7"/>
                </a:cxn>
                <a:cxn ang="0">
                  <a:pos x="23" y="7"/>
                </a:cxn>
              </a:cxnLst>
              <a:rect l="0" t="0" r="r" b="b"/>
              <a:pathLst>
                <a:path w="61" h="52">
                  <a:moveTo>
                    <a:pt x="23" y="7"/>
                  </a:moveTo>
                  <a:lnTo>
                    <a:pt x="30" y="9"/>
                  </a:lnTo>
                  <a:lnTo>
                    <a:pt x="32" y="9"/>
                  </a:lnTo>
                  <a:lnTo>
                    <a:pt x="38" y="7"/>
                  </a:lnTo>
                  <a:lnTo>
                    <a:pt x="40" y="7"/>
                  </a:lnTo>
                  <a:lnTo>
                    <a:pt x="44" y="0"/>
                  </a:lnTo>
                  <a:lnTo>
                    <a:pt x="46" y="5"/>
                  </a:lnTo>
                  <a:lnTo>
                    <a:pt x="48" y="9"/>
                  </a:lnTo>
                  <a:lnTo>
                    <a:pt x="55" y="7"/>
                  </a:lnTo>
                  <a:lnTo>
                    <a:pt x="61" y="7"/>
                  </a:lnTo>
                  <a:lnTo>
                    <a:pt x="61" y="9"/>
                  </a:lnTo>
                  <a:lnTo>
                    <a:pt x="57" y="9"/>
                  </a:lnTo>
                  <a:lnTo>
                    <a:pt x="55" y="9"/>
                  </a:lnTo>
                  <a:lnTo>
                    <a:pt x="48" y="14"/>
                  </a:lnTo>
                  <a:lnTo>
                    <a:pt x="48" y="23"/>
                  </a:lnTo>
                  <a:lnTo>
                    <a:pt x="48" y="25"/>
                  </a:lnTo>
                  <a:lnTo>
                    <a:pt x="44" y="25"/>
                  </a:lnTo>
                  <a:lnTo>
                    <a:pt x="46" y="30"/>
                  </a:lnTo>
                  <a:lnTo>
                    <a:pt x="44" y="32"/>
                  </a:lnTo>
                  <a:lnTo>
                    <a:pt x="44" y="41"/>
                  </a:lnTo>
                  <a:lnTo>
                    <a:pt x="32" y="43"/>
                  </a:lnTo>
                  <a:lnTo>
                    <a:pt x="32" y="50"/>
                  </a:lnTo>
                  <a:lnTo>
                    <a:pt x="13" y="52"/>
                  </a:lnTo>
                  <a:lnTo>
                    <a:pt x="7" y="50"/>
                  </a:lnTo>
                  <a:lnTo>
                    <a:pt x="9" y="43"/>
                  </a:lnTo>
                  <a:lnTo>
                    <a:pt x="9" y="41"/>
                  </a:lnTo>
                  <a:lnTo>
                    <a:pt x="4" y="41"/>
                  </a:lnTo>
                  <a:lnTo>
                    <a:pt x="0" y="30"/>
                  </a:lnTo>
                  <a:lnTo>
                    <a:pt x="0" y="25"/>
                  </a:lnTo>
                  <a:lnTo>
                    <a:pt x="4" y="23"/>
                  </a:lnTo>
                  <a:lnTo>
                    <a:pt x="4" y="16"/>
                  </a:lnTo>
                  <a:lnTo>
                    <a:pt x="9" y="21"/>
                  </a:lnTo>
                  <a:lnTo>
                    <a:pt x="13" y="16"/>
                  </a:lnTo>
                  <a:lnTo>
                    <a:pt x="17" y="14"/>
                  </a:lnTo>
                  <a:lnTo>
                    <a:pt x="17" y="7"/>
                  </a:lnTo>
                  <a:lnTo>
                    <a:pt x="21" y="7"/>
                  </a:lnTo>
                  <a:lnTo>
                    <a:pt x="23" y="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0" name="Freeform 1216"/>
            <p:cNvSpPr>
              <a:spLocks/>
            </p:cNvSpPr>
            <p:nvPr/>
          </p:nvSpPr>
          <p:spPr bwMode="auto">
            <a:xfrm>
              <a:off x="6950596" y="3202418"/>
              <a:ext cx="109047" cy="143280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16" y="2"/>
                </a:cxn>
                <a:cxn ang="0">
                  <a:pos x="12" y="4"/>
                </a:cxn>
                <a:cxn ang="0">
                  <a:pos x="12" y="9"/>
                </a:cxn>
                <a:cxn ang="0">
                  <a:pos x="8" y="4"/>
                </a:cxn>
                <a:cxn ang="0">
                  <a:pos x="0" y="18"/>
                </a:cxn>
                <a:cxn ang="0">
                  <a:pos x="8" y="18"/>
                </a:cxn>
                <a:cxn ang="0">
                  <a:pos x="8" y="27"/>
                </a:cxn>
                <a:cxn ang="0">
                  <a:pos x="16" y="27"/>
                </a:cxn>
                <a:cxn ang="0">
                  <a:pos x="18" y="27"/>
                </a:cxn>
                <a:cxn ang="0">
                  <a:pos x="21" y="22"/>
                </a:cxn>
                <a:cxn ang="0">
                  <a:pos x="16" y="20"/>
                </a:cxn>
                <a:cxn ang="0">
                  <a:pos x="12" y="13"/>
                </a:cxn>
                <a:cxn ang="0">
                  <a:pos x="21" y="11"/>
                </a:cxn>
                <a:cxn ang="0">
                  <a:pos x="18" y="4"/>
                </a:cxn>
                <a:cxn ang="0">
                  <a:pos x="21" y="0"/>
                </a:cxn>
                <a:cxn ang="0">
                  <a:pos x="18" y="0"/>
                </a:cxn>
                <a:cxn ang="0">
                  <a:pos x="16" y="0"/>
                </a:cxn>
              </a:cxnLst>
              <a:rect l="0" t="0" r="r" b="b"/>
              <a:pathLst>
                <a:path w="21" h="27">
                  <a:moveTo>
                    <a:pt x="16" y="0"/>
                  </a:moveTo>
                  <a:lnTo>
                    <a:pt x="16" y="2"/>
                  </a:lnTo>
                  <a:lnTo>
                    <a:pt x="12" y="4"/>
                  </a:lnTo>
                  <a:lnTo>
                    <a:pt x="12" y="9"/>
                  </a:lnTo>
                  <a:lnTo>
                    <a:pt x="8" y="4"/>
                  </a:lnTo>
                  <a:lnTo>
                    <a:pt x="0" y="18"/>
                  </a:lnTo>
                  <a:lnTo>
                    <a:pt x="8" y="18"/>
                  </a:lnTo>
                  <a:lnTo>
                    <a:pt x="8" y="27"/>
                  </a:lnTo>
                  <a:lnTo>
                    <a:pt x="16" y="27"/>
                  </a:lnTo>
                  <a:lnTo>
                    <a:pt x="18" y="27"/>
                  </a:lnTo>
                  <a:lnTo>
                    <a:pt x="21" y="22"/>
                  </a:lnTo>
                  <a:lnTo>
                    <a:pt x="16" y="20"/>
                  </a:lnTo>
                  <a:lnTo>
                    <a:pt x="12" y="13"/>
                  </a:lnTo>
                  <a:lnTo>
                    <a:pt x="21" y="11"/>
                  </a:lnTo>
                  <a:lnTo>
                    <a:pt x="18" y="4"/>
                  </a:lnTo>
                  <a:lnTo>
                    <a:pt x="21" y="0"/>
                  </a:lnTo>
                  <a:lnTo>
                    <a:pt x="18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1" name="Freeform 1217"/>
            <p:cNvSpPr>
              <a:spLocks/>
            </p:cNvSpPr>
            <p:nvPr/>
          </p:nvSpPr>
          <p:spPr bwMode="auto">
            <a:xfrm>
              <a:off x="7033678" y="3319165"/>
              <a:ext cx="88276" cy="132667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2" y="5"/>
                </a:cxn>
                <a:cxn ang="0">
                  <a:pos x="5" y="0"/>
                </a:cxn>
                <a:cxn ang="0">
                  <a:pos x="11" y="7"/>
                </a:cxn>
                <a:cxn ang="0">
                  <a:pos x="17" y="16"/>
                </a:cxn>
                <a:cxn ang="0">
                  <a:pos x="17" y="21"/>
                </a:cxn>
                <a:cxn ang="0">
                  <a:pos x="9" y="25"/>
                </a:cxn>
                <a:cxn ang="0">
                  <a:pos x="2" y="21"/>
                </a:cxn>
                <a:cxn ang="0">
                  <a:pos x="5" y="16"/>
                </a:cxn>
                <a:cxn ang="0">
                  <a:pos x="0" y="9"/>
                </a:cxn>
                <a:cxn ang="0">
                  <a:pos x="2" y="9"/>
                </a:cxn>
                <a:cxn ang="0">
                  <a:pos x="0" y="7"/>
                </a:cxn>
                <a:cxn ang="0">
                  <a:pos x="0" y="5"/>
                </a:cxn>
              </a:cxnLst>
              <a:rect l="0" t="0" r="r" b="b"/>
              <a:pathLst>
                <a:path w="17" h="25">
                  <a:moveTo>
                    <a:pt x="0" y="5"/>
                  </a:moveTo>
                  <a:lnTo>
                    <a:pt x="2" y="5"/>
                  </a:lnTo>
                  <a:lnTo>
                    <a:pt x="5" y="0"/>
                  </a:lnTo>
                  <a:lnTo>
                    <a:pt x="11" y="7"/>
                  </a:lnTo>
                  <a:lnTo>
                    <a:pt x="17" y="16"/>
                  </a:lnTo>
                  <a:lnTo>
                    <a:pt x="17" y="21"/>
                  </a:lnTo>
                  <a:lnTo>
                    <a:pt x="9" y="25"/>
                  </a:lnTo>
                  <a:lnTo>
                    <a:pt x="2" y="21"/>
                  </a:lnTo>
                  <a:lnTo>
                    <a:pt x="5" y="16"/>
                  </a:lnTo>
                  <a:lnTo>
                    <a:pt x="0" y="9"/>
                  </a:lnTo>
                  <a:lnTo>
                    <a:pt x="2" y="9"/>
                  </a:lnTo>
                  <a:lnTo>
                    <a:pt x="0" y="7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2" name="Freeform 1218"/>
            <p:cNvSpPr>
              <a:spLocks/>
            </p:cNvSpPr>
            <p:nvPr/>
          </p:nvSpPr>
          <p:spPr bwMode="auto">
            <a:xfrm>
              <a:off x="6026298" y="2926471"/>
              <a:ext cx="716591" cy="297174"/>
            </a:xfrm>
            <a:custGeom>
              <a:avLst/>
              <a:gdLst/>
              <a:ahLst/>
              <a:cxnLst>
                <a:cxn ang="0">
                  <a:pos x="115" y="14"/>
                </a:cxn>
                <a:cxn ang="0">
                  <a:pos x="119" y="23"/>
                </a:cxn>
                <a:cxn ang="0">
                  <a:pos x="126" y="23"/>
                </a:cxn>
                <a:cxn ang="0">
                  <a:pos x="132" y="20"/>
                </a:cxn>
                <a:cxn ang="0">
                  <a:pos x="134" y="23"/>
                </a:cxn>
                <a:cxn ang="0">
                  <a:pos x="138" y="29"/>
                </a:cxn>
                <a:cxn ang="0">
                  <a:pos x="128" y="29"/>
                </a:cxn>
                <a:cxn ang="0">
                  <a:pos x="126" y="32"/>
                </a:cxn>
                <a:cxn ang="0">
                  <a:pos x="123" y="36"/>
                </a:cxn>
                <a:cxn ang="0">
                  <a:pos x="119" y="38"/>
                </a:cxn>
                <a:cxn ang="0">
                  <a:pos x="115" y="38"/>
                </a:cxn>
                <a:cxn ang="0">
                  <a:pos x="111" y="41"/>
                </a:cxn>
                <a:cxn ang="0">
                  <a:pos x="115" y="45"/>
                </a:cxn>
                <a:cxn ang="0">
                  <a:pos x="109" y="52"/>
                </a:cxn>
                <a:cxn ang="0">
                  <a:pos x="100" y="54"/>
                </a:cxn>
                <a:cxn ang="0">
                  <a:pos x="88" y="56"/>
                </a:cxn>
                <a:cxn ang="0">
                  <a:pos x="69" y="52"/>
                </a:cxn>
                <a:cxn ang="0">
                  <a:pos x="52" y="52"/>
                </a:cxn>
                <a:cxn ang="0">
                  <a:pos x="40" y="41"/>
                </a:cxn>
                <a:cxn ang="0">
                  <a:pos x="21" y="36"/>
                </a:cxn>
                <a:cxn ang="0">
                  <a:pos x="19" y="27"/>
                </a:cxn>
                <a:cxn ang="0">
                  <a:pos x="13" y="23"/>
                </a:cxn>
                <a:cxn ang="0">
                  <a:pos x="7" y="20"/>
                </a:cxn>
                <a:cxn ang="0">
                  <a:pos x="0" y="14"/>
                </a:cxn>
                <a:cxn ang="0">
                  <a:pos x="15" y="5"/>
                </a:cxn>
                <a:cxn ang="0">
                  <a:pos x="23" y="9"/>
                </a:cxn>
                <a:cxn ang="0">
                  <a:pos x="30" y="11"/>
                </a:cxn>
                <a:cxn ang="0">
                  <a:pos x="40" y="11"/>
                </a:cxn>
                <a:cxn ang="0">
                  <a:pos x="40" y="5"/>
                </a:cxn>
                <a:cxn ang="0">
                  <a:pos x="38" y="2"/>
                </a:cxn>
                <a:cxn ang="0">
                  <a:pos x="40" y="0"/>
                </a:cxn>
                <a:cxn ang="0">
                  <a:pos x="52" y="2"/>
                </a:cxn>
                <a:cxn ang="0">
                  <a:pos x="61" y="9"/>
                </a:cxn>
                <a:cxn ang="0">
                  <a:pos x="71" y="9"/>
                </a:cxn>
                <a:cxn ang="0">
                  <a:pos x="92" y="14"/>
                </a:cxn>
                <a:cxn ang="0">
                  <a:pos x="103" y="11"/>
                </a:cxn>
                <a:cxn ang="0">
                  <a:pos x="109" y="9"/>
                </a:cxn>
                <a:cxn ang="0">
                  <a:pos x="117" y="11"/>
                </a:cxn>
                <a:cxn ang="0">
                  <a:pos x="115" y="14"/>
                </a:cxn>
              </a:cxnLst>
              <a:rect l="0" t="0" r="r" b="b"/>
              <a:pathLst>
                <a:path w="138" h="56">
                  <a:moveTo>
                    <a:pt x="115" y="14"/>
                  </a:moveTo>
                  <a:lnTo>
                    <a:pt x="119" y="23"/>
                  </a:lnTo>
                  <a:lnTo>
                    <a:pt x="126" y="23"/>
                  </a:lnTo>
                  <a:lnTo>
                    <a:pt x="132" y="20"/>
                  </a:lnTo>
                  <a:lnTo>
                    <a:pt x="134" y="23"/>
                  </a:lnTo>
                  <a:lnTo>
                    <a:pt x="138" y="29"/>
                  </a:lnTo>
                  <a:lnTo>
                    <a:pt x="128" y="29"/>
                  </a:lnTo>
                  <a:lnTo>
                    <a:pt x="126" y="32"/>
                  </a:lnTo>
                  <a:lnTo>
                    <a:pt x="123" y="36"/>
                  </a:lnTo>
                  <a:lnTo>
                    <a:pt x="119" y="38"/>
                  </a:lnTo>
                  <a:lnTo>
                    <a:pt x="115" y="38"/>
                  </a:lnTo>
                  <a:lnTo>
                    <a:pt x="111" y="41"/>
                  </a:lnTo>
                  <a:lnTo>
                    <a:pt x="115" y="45"/>
                  </a:lnTo>
                  <a:lnTo>
                    <a:pt x="109" y="52"/>
                  </a:lnTo>
                  <a:lnTo>
                    <a:pt x="100" y="54"/>
                  </a:lnTo>
                  <a:lnTo>
                    <a:pt x="88" y="56"/>
                  </a:lnTo>
                  <a:lnTo>
                    <a:pt x="69" y="52"/>
                  </a:lnTo>
                  <a:lnTo>
                    <a:pt x="52" y="52"/>
                  </a:lnTo>
                  <a:lnTo>
                    <a:pt x="40" y="41"/>
                  </a:lnTo>
                  <a:lnTo>
                    <a:pt x="21" y="36"/>
                  </a:lnTo>
                  <a:lnTo>
                    <a:pt x="19" y="27"/>
                  </a:lnTo>
                  <a:lnTo>
                    <a:pt x="13" y="23"/>
                  </a:lnTo>
                  <a:lnTo>
                    <a:pt x="7" y="20"/>
                  </a:lnTo>
                  <a:lnTo>
                    <a:pt x="0" y="14"/>
                  </a:lnTo>
                  <a:lnTo>
                    <a:pt x="15" y="5"/>
                  </a:lnTo>
                  <a:lnTo>
                    <a:pt x="23" y="9"/>
                  </a:lnTo>
                  <a:lnTo>
                    <a:pt x="30" y="11"/>
                  </a:lnTo>
                  <a:lnTo>
                    <a:pt x="40" y="11"/>
                  </a:lnTo>
                  <a:lnTo>
                    <a:pt x="40" y="5"/>
                  </a:lnTo>
                  <a:lnTo>
                    <a:pt x="38" y="2"/>
                  </a:lnTo>
                  <a:lnTo>
                    <a:pt x="40" y="0"/>
                  </a:lnTo>
                  <a:lnTo>
                    <a:pt x="52" y="2"/>
                  </a:lnTo>
                  <a:lnTo>
                    <a:pt x="61" y="9"/>
                  </a:lnTo>
                  <a:lnTo>
                    <a:pt x="71" y="9"/>
                  </a:lnTo>
                  <a:lnTo>
                    <a:pt x="92" y="14"/>
                  </a:lnTo>
                  <a:lnTo>
                    <a:pt x="103" y="11"/>
                  </a:lnTo>
                  <a:lnTo>
                    <a:pt x="109" y="9"/>
                  </a:lnTo>
                  <a:lnTo>
                    <a:pt x="117" y="11"/>
                  </a:lnTo>
                  <a:lnTo>
                    <a:pt x="115" y="1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3" name="Freeform 1219"/>
            <p:cNvSpPr>
              <a:spLocks/>
            </p:cNvSpPr>
            <p:nvPr/>
          </p:nvSpPr>
          <p:spPr bwMode="auto">
            <a:xfrm>
              <a:off x="4728126" y="3213032"/>
              <a:ext cx="430993" cy="191040"/>
            </a:xfrm>
            <a:custGeom>
              <a:avLst/>
              <a:gdLst/>
              <a:ahLst/>
              <a:cxnLst>
                <a:cxn ang="0">
                  <a:pos x="73" y="7"/>
                </a:cxn>
                <a:cxn ang="0">
                  <a:pos x="73" y="2"/>
                </a:cxn>
                <a:cxn ang="0">
                  <a:pos x="67" y="2"/>
                </a:cxn>
                <a:cxn ang="0">
                  <a:pos x="58" y="7"/>
                </a:cxn>
                <a:cxn ang="0">
                  <a:pos x="48" y="7"/>
                </a:cxn>
                <a:cxn ang="0">
                  <a:pos x="35" y="0"/>
                </a:cxn>
                <a:cxn ang="0">
                  <a:pos x="31" y="0"/>
                </a:cxn>
                <a:cxn ang="0">
                  <a:pos x="23" y="7"/>
                </a:cxn>
                <a:cxn ang="0">
                  <a:pos x="17" y="7"/>
                </a:cxn>
                <a:cxn ang="0">
                  <a:pos x="10" y="7"/>
                </a:cxn>
                <a:cxn ang="0">
                  <a:pos x="8" y="2"/>
                </a:cxn>
                <a:cxn ang="0">
                  <a:pos x="0" y="2"/>
                </a:cxn>
                <a:cxn ang="0">
                  <a:pos x="0" y="9"/>
                </a:cxn>
                <a:cxn ang="0">
                  <a:pos x="2" y="9"/>
                </a:cxn>
                <a:cxn ang="0">
                  <a:pos x="0" y="11"/>
                </a:cxn>
                <a:cxn ang="0">
                  <a:pos x="4" y="7"/>
                </a:cxn>
                <a:cxn ang="0">
                  <a:pos x="10" y="7"/>
                </a:cxn>
                <a:cxn ang="0">
                  <a:pos x="12" y="9"/>
                </a:cxn>
                <a:cxn ang="0">
                  <a:pos x="10" y="9"/>
                </a:cxn>
                <a:cxn ang="0">
                  <a:pos x="12" y="11"/>
                </a:cxn>
                <a:cxn ang="0">
                  <a:pos x="2" y="11"/>
                </a:cxn>
                <a:cxn ang="0">
                  <a:pos x="0" y="11"/>
                </a:cxn>
                <a:cxn ang="0">
                  <a:pos x="0" y="16"/>
                </a:cxn>
                <a:cxn ang="0">
                  <a:pos x="2" y="16"/>
                </a:cxn>
                <a:cxn ang="0">
                  <a:pos x="4" y="20"/>
                </a:cxn>
                <a:cxn ang="0">
                  <a:pos x="2" y="20"/>
                </a:cxn>
                <a:cxn ang="0">
                  <a:pos x="4" y="25"/>
                </a:cxn>
                <a:cxn ang="0">
                  <a:pos x="4" y="27"/>
                </a:cxn>
                <a:cxn ang="0">
                  <a:pos x="8" y="27"/>
                </a:cxn>
                <a:cxn ang="0">
                  <a:pos x="4" y="29"/>
                </a:cxn>
                <a:cxn ang="0">
                  <a:pos x="10" y="29"/>
                </a:cxn>
                <a:cxn ang="0">
                  <a:pos x="8" y="29"/>
                </a:cxn>
                <a:cxn ang="0">
                  <a:pos x="17" y="34"/>
                </a:cxn>
                <a:cxn ang="0">
                  <a:pos x="19" y="34"/>
                </a:cxn>
                <a:cxn ang="0">
                  <a:pos x="23" y="29"/>
                </a:cxn>
                <a:cxn ang="0">
                  <a:pos x="25" y="29"/>
                </a:cxn>
                <a:cxn ang="0">
                  <a:pos x="31" y="36"/>
                </a:cxn>
                <a:cxn ang="0">
                  <a:pos x="33" y="34"/>
                </a:cxn>
                <a:cxn ang="0">
                  <a:pos x="40" y="29"/>
                </a:cxn>
                <a:cxn ang="0">
                  <a:pos x="42" y="34"/>
                </a:cxn>
                <a:cxn ang="0">
                  <a:pos x="44" y="29"/>
                </a:cxn>
                <a:cxn ang="0">
                  <a:pos x="44" y="36"/>
                </a:cxn>
                <a:cxn ang="0">
                  <a:pos x="48" y="34"/>
                </a:cxn>
                <a:cxn ang="0">
                  <a:pos x="48" y="29"/>
                </a:cxn>
                <a:cxn ang="0">
                  <a:pos x="56" y="29"/>
                </a:cxn>
                <a:cxn ang="0">
                  <a:pos x="58" y="29"/>
                </a:cxn>
                <a:cxn ang="0">
                  <a:pos x="65" y="29"/>
                </a:cxn>
                <a:cxn ang="0">
                  <a:pos x="73" y="27"/>
                </a:cxn>
                <a:cxn ang="0">
                  <a:pos x="75" y="27"/>
                </a:cxn>
                <a:cxn ang="0">
                  <a:pos x="83" y="27"/>
                </a:cxn>
                <a:cxn ang="0">
                  <a:pos x="79" y="16"/>
                </a:cxn>
                <a:cxn ang="0">
                  <a:pos x="81" y="11"/>
                </a:cxn>
                <a:cxn ang="0">
                  <a:pos x="75" y="11"/>
                </a:cxn>
                <a:cxn ang="0">
                  <a:pos x="73" y="9"/>
                </a:cxn>
                <a:cxn ang="0">
                  <a:pos x="73" y="7"/>
                </a:cxn>
              </a:cxnLst>
              <a:rect l="0" t="0" r="r" b="b"/>
              <a:pathLst>
                <a:path w="83" h="36">
                  <a:moveTo>
                    <a:pt x="73" y="7"/>
                  </a:moveTo>
                  <a:lnTo>
                    <a:pt x="73" y="2"/>
                  </a:lnTo>
                  <a:lnTo>
                    <a:pt x="67" y="2"/>
                  </a:lnTo>
                  <a:lnTo>
                    <a:pt x="58" y="7"/>
                  </a:lnTo>
                  <a:lnTo>
                    <a:pt x="48" y="7"/>
                  </a:lnTo>
                  <a:lnTo>
                    <a:pt x="35" y="0"/>
                  </a:lnTo>
                  <a:lnTo>
                    <a:pt x="31" y="0"/>
                  </a:lnTo>
                  <a:lnTo>
                    <a:pt x="23" y="7"/>
                  </a:lnTo>
                  <a:lnTo>
                    <a:pt x="17" y="7"/>
                  </a:lnTo>
                  <a:lnTo>
                    <a:pt x="10" y="7"/>
                  </a:lnTo>
                  <a:lnTo>
                    <a:pt x="8" y="2"/>
                  </a:lnTo>
                  <a:lnTo>
                    <a:pt x="0" y="2"/>
                  </a:lnTo>
                  <a:lnTo>
                    <a:pt x="0" y="9"/>
                  </a:lnTo>
                  <a:lnTo>
                    <a:pt x="2" y="9"/>
                  </a:lnTo>
                  <a:lnTo>
                    <a:pt x="0" y="11"/>
                  </a:lnTo>
                  <a:lnTo>
                    <a:pt x="4" y="7"/>
                  </a:lnTo>
                  <a:lnTo>
                    <a:pt x="10" y="7"/>
                  </a:lnTo>
                  <a:lnTo>
                    <a:pt x="12" y="9"/>
                  </a:lnTo>
                  <a:lnTo>
                    <a:pt x="10" y="9"/>
                  </a:lnTo>
                  <a:lnTo>
                    <a:pt x="12" y="11"/>
                  </a:lnTo>
                  <a:lnTo>
                    <a:pt x="2" y="11"/>
                  </a:lnTo>
                  <a:lnTo>
                    <a:pt x="0" y="11"/>
                  </a:lnTo>
                  <a:lnTo>
                    <a:pt x="0" y="16"/>
                  </a:lnTo>
                  <a:lnTo>
                    <a:pt x="2" y="16"/>
                  </a:lnTo>
                  <a:lnTo>
                    <a:pt x="4" y="20"/>
                  </a:lnTo>
                  <a:lnTo>
                    <a:pt x="2" y="20"/>
                  </a:lnTo>
                  <a:lnTo>
                    <a:pt x="4" y="25"/>
                  </a:lnTo>
                  <a:lnTo>
                    <a:pt x="4" y="27"/>
                  </a:lnTo>
                  <a:lnTo>
                    <a:pt x="8" y="27"/>
                  </a:lnTo>
                  <a:lnTo>
                    <a:pt x="4" y="29"/>
                  </a:lnTo>
                  <a:lnTo>
                    <a:pt x="10" y="29"/>
                  </a:lnTo>
                  <a:lnTo>
                    <a:pt x="8" y="29"/>
                  </a:lnTo>
                  <a:lnTo>
                    <a:pt x="17" y="34"/>
                  </a:lnTo>
                  <a:lnTo>
                    <a:pt x="19" y="34"/>
                  </a:lnTo>
                  <a:lnTo>
                    <a:pt x="23" y="29"/>
                  </a:lnTo>
                  <a:lnTo>
                    <a:pt x="25" y="29"/>
                  </a:lnTo>
                  <a:lnTo>
                    <a:pt x="31" y="36"/>
                  </a:lnTo>
                  <a:lnTo>
                    <a:pt x="33" y="34"/>
                  </a:lnTo>
                  <a:lnTo>
                    <a:pt x="40" y="29"/>
                  </a:lnTo>
                  <a:lnTo>
                    <a:pt x="42" y="34"/>
                  </a:lnTo>
                  <a:lnTo>
                    <a:pt x="44" y="29"/>
                  </a:lnTo>
                  <a:lnTo>
                    <a:pt x="44" y="36"/>
                  </a:lnTo>
                  <a:lnTo>
                    <a:pt x="48" y="34"/>
                  </a:lnTo>
                  <a:lnTo>
                    <a:pt x="48" y="29"/>
                  </a:lnTo>
                  <a:lnTo>
                    <a:pt x="56" y="29"/>
                  </a:lnTo>
                  <a:lnTo>
                    <a:pt x="58" y="29"/>
                  </a:lnTo>
                  <a:lnTo>
                    <a:pt x="65" y="29"/>
                  </a:lnTo>
                  <a:lnTo>
                    <a:pt x="73" y="27"/>
                  </a:lnTo>
                  <a:lnTo>
                    <a:pt x="75" y="27"/>
                  </a:lnTo>
                  <a:lnTo>
                    <a:pt x="83" y="27"/>
                  </a:lnTo>
                  <a:lnTo>
                    <a:pt x="79" y="16"/>
                  </a:lnTo>
                  <a:lnTo>
                    <a:pt x="81" y="11"/>
                  </a:lnTo>
                  <a:lnTo>
                    <a:pt x="75" y="11"/>
                  </a:lnTo>
                  <a:lnTo>
                    <a:pt x="73" y="9"/>
                  </a:lnTo>
                  <a:lnTo>
                    <a:pt x="73" y="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4" name="Freeform 1220"/>
            <p:cNvSpPr>
              <a:spLocks/>
            </p:cNvSpPr>
            <p:nvPr/>
          </p:nvSpPr>
          <p:spPr bwMode="auto">
            <a:xfrm>
              <a:off x="4956604" y="3356312"/>
              <a:ext cx="150588" cy="169814"/>
            </a:xfrm>
            <a:custGeom>
              <a:avLst/>
              <a:gdLst/>
              <a:ahLst/>
              <a:cxnLst>
                <a:cxn ang="0">
                  <a:pos x="29" y="0"/>
                </a:cxn>
                <a:cxn ang="0">
                  <a:pos x="21" y="2"/>
                </a:cxn>
                <a:cxn ang="0">
                  <a:pos x="14" y="2"/>
                </a:cxn>
                <a:cxn ang="0">
                  <a:pos x="12" y="2"/>
                </a:cxn>
                <a:cxn ang="0">
                  <a:pos x="4" y="2"/>
                </a:cxn>
                <a:cxn ang="0">
                  <a:pos x="4" y="7"/>
                </a:cxn>
                <a:cxn ang="0">
                  <a:pos x="0" y="9"/>
                </a:cxn>
                <a:cxn ang="0">
                  <a:pos x="0" y="18"/>
                </a:cxn>
                <a:cxn ang="0">
                  <a:pos x="4" y="18"/>
                </a:cxn>
                <a:cxn ang="0">
                  <a:pos x="0" y="25"/>
                </a:cxn>
                <a:cxn ang="0">
                  <a:pos x="0" y="27"/>
                </a:cxn>
                <a:cxn ang="0">
                  <a:pos x="4" y="32"/>
                </a:cxn>
                <a:cxn ang="0">
                  <a:pos x="14" y="25"/>
                </a:cxn>
                <a:cxn ang="0">
                  <a:pos x="23" y="18"/>
                </a:cxn>
                <a:cxn ang="0">
                  <a:pos x="23" y="7"/>
                </a:cxn>
                <a:cxn ang="0">
                  <a:pos x="25" y="5"/>
                </a:cxn>
                <a:cxn ang="0">
                  <a:pos x="29" y="0"/>
                </a:cxn>
              </a:cxnLst>
              <a:rect l="0" t="0" r="r" b="b"/>
              <a:pathLst>
                <a:path w="29" h="32">
                  <a:moveTo>
                    <a:pt x="29" y="0"/>
                  </a:moveTo>
                  <a:lnTo>
                    <a:pt x="21" y="2"/>
                  </a:lnTo>
                  <a:lnTo>
                    <a:pt x="14" y="2"/>
                  </a:lnTo>
                  <a:lnTo>
                    <a:pt x="12" y="2"/>
                  </a:lnTo>
                  <a:lnTo>
                    <a:pt x="4" y="2"/>
                  </a:lnTo>
                  <a:lnTo>
                    <a:pt x="4" y="7"/>
                  </a:lnTo>
                  <a:lnTo>
                    <a:pt x="0" y="9"/>
                  </a:lnTo>
                  <a:lnTo>
                    <a:pt x="0" y="18"/>
                  </a:lnTo>
                  <a:lnTo>
                    <a:pt x="4" y="18"/>
                  </a:lnTo>
                  <a:lnTo>
                    <a:pt x="0" y="25"/>
                  </a:lnTo>
                  <a:lnTo>
                    <a:pt x="0" y="27"/>
                  </a:lnTo>
                  <a:lnTo>
                    <a:pt x="4" y="32"/>
                  </a:lnTo>
                  <a:lnTo>
                    <a:pt x="14" y="25"/>
                  </a:lnTo>
                  <a:lnTo>
                    <a:pt x="23" y="18"/>
                  </a:lnTo>
                  <a:lnTo>
                    <a:pt x="23" y="7"/>
                  </a:lnTo>
                  <a:lnTo>
                    <a:pt x="25" y="5"/>
                  </a:lnTo>
                  <a:lnTo>
                    <a:pt x="29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5" name="Freeform 1221"/>
            <p:cNvSpPr>
              <a:spLocks/>
            </p:cNvSpPr>
            <p:nvPr/>
          </p:nvSpPr>
          <p:spPr bwMode="auto">
            <a:xfrm>
              <a:off x="4946220" y="3488979"/>
              <a:ext cx="103854" cy="106133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6" y="7"/>
                </a:cxn>
                <a:cxn ang="0">
                  <a:pos x="16" y="0"/>
                </a:cxn>
                <a:cxn ang="0">
                  <a:pos x="20" y="7"/>
                </a:cxn>
                <a:cxn ang="0">
                  <a:pos x="8" y="9"/>
                </a:cxn>
                <a:cxn ang="0">
                  <a:pos x="14" y="16"/>
                </a:cxn>
                <a:cxn ang="0">
                  <a:pos x="10" y="18"/>
                </a:cxn>
                <a:cxn ang="0">
                  <a:pos x="8" y="18"/>
                </a:cxn>
                <a:cxn ang="0">
                  <a:pos x="6" y="20"/>
                </a:cxn>
                <a:cxn ang="0">
                  <a:pos x="0" y="20"/>
                </a:cxn>
                <a:cxn ang="0">
                  <a:pos x="2" y="11"/>
                </a:cxn>
                <a:cxn ang="0">
                  <a:pos x="0" y="7"/>
                </a:cxn>
                <a:cxn ang="0">
                  <a:pos x="0" y="4"/>
                </a:cxn>
                <a:cxn ang="0">
                  <a:pos x="2" y="2"/>
                </a:cxn>
              </a:cxnLst>
              <a:rect l="0" t="0" r="r" b="b"/>
              <a:pathLst>
                <a:path w="20" h="20">
                  <a:moveTo>
                    <a:pt x="2" y="2"/>
                  </a:moveTo>
                  <a:lnTo>
                    <a:pt x="6" y="7"/>
                  </a:lnTo>
                  <a:lnTo>
                    <a:pt x="16" y="0"/>
                  </a:lnTo>
                  <a:lnTo>
                    <a:pt x="20" y="7"/>
                  </a:lnTo>
                  <a:lnTo>
                    <a:pt x="8" y="9"/>
                  </a:lnTo>
                  <a:lnTo>
                    <a:pt x="14" y="16"/>
                  </a:lnTo>
                  <a:lnTo>
                    <a:pt x="10" y="18"/>
                  </a:lnTo>
                  <a:lnTo>
                    <a:pt x="8" y="18"/>
                  </a:lnTo>
                  <a:lnTo>
                    <a:pt x="6" y="20"/>
                  </a:lnTo>
                  <a:lnTo>
                    <a:pt x="0" y="20"/>
                  </a:lnTo>
                  <a:lnTo>
                    <a:pt x="2" y="11"/>
                  </a:lnTo>
                  <a:lnTo>
                    <a:pt x="0" y="7"/>
                  </a:lnTo>
                  <a:lnTo>
                    <a:pt x="0" y="4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6" name="Freeform 1222"/>
            <p:cNvSpPr>
              <a:spLocks/>
            </p:cNvSpPr>
            <p:nvPr/>
          </p:nvSpPr>
          <p:spPr bwMode="auto">
            <a:xfrm>
              <a:off x="5029302" y="3356312"/>
              <a:ext cx="238863" cy="265334"/>
            </a:xfrm>
            <a:custGeom>
              <a:avLst/>
              <a:gdLst/>
              <a:ahLst/>
              <a:cxnLst>
                <a:cxn ang="0">
                  <a:pos x="25" y="0"/>
                </a:cxn>
                <a:cxn ang="0">
                  <a:pos x="32" y="14"/>
                </a:cxn>
                <a:cxn ang="0">
                  <a:pos x="30" y="18"/>
                </a:cxn>
                <a:cxn ang="0">
                  <a:pos x="32" y="25"/>
                </a:cxn>
                <a:cxn ang="0">
                  <a:pos x="40" y="27"/>
                </a:cxn>
                <a:cxn ang="0">
                  <a:pos x="40" y="36"/>
                </a:cxn>
                <a:cxn ang="0">
                  <a:pos x="46" y="43"/>
                </a:cxn>
                <a:cxn ang="0">
                  <a:pos x="40" y="43"/>
                </a:cxn>
                <a:cxn ang="0">
                  <a:pos x="38" y="50"/>
                </a:cxn>
                <a:cxn ang="0">
                  <a:pos x="32" y="45"/>
                </a:cxn>
                <a:cxn ang="0">
                  <a:pos x="30" y="50"/>
                </a:cxn>
                <a:cxn ang="0">
                  <a:pos x="23" y="45"/>
                </a:cxn>
                <a:cxn ang="0">
                  <a:pos x="23" y="41"/>
                </a:cxn>
                <a:cxn ang="0">
                  <a:pos x="21" y="41"/>
                </a:cxn>
                <a:cxn ang="0">
                  <a:pos x="9" y="34"/>
                </a:cxn>
                <a:cxn ang="0">
                  <a:pos x="4" y="32"/>
                </a:cxn>
                <a:cxn ang="0">
                  <a:pos x="0" y="25"/>
                </a:cxn>
                <a:cxn ang="0">
                  <a:pos x="9" y="18"/>
                </a:cxn>
                <a:cxn ang="0">
                  <a:pos x="9" y="7"/>
                </a:cxn>
                <a:cxn ang="0">
                  <a:pos x="15" y="0"/>
                </a:cxn>
                <a:cxn ang="0">
                  <a:pos x="17" y="0"/>
                </a:cxn>
                <a:cxn ang="0">
                  <a:pos x="21" y="0"/>
                </a:cxn>
                <a:cxn ang="0">
                  <a:pos x="25" y="0"/>
                </a:cxn>
              </a:cxnLst>
              <a:rect l="0" t="0" r="r" b="b"/>
              <a:pathLst>
                <a:path w="46" h="50">
                  <a:moveTo>
                    <a:pt x="25" y="0"/>
                  </a:moveTo>
                  <a:lnTo>
                    <a:pt x="32" y="14"/>
                  </a:lnTo>
                  <a:lnTo>
                    <a:pt x="30" y="18"/>
                  </a:lnTo>
                  <a:lnTo>
                    <a:pt x="32" y="25"/>
                  </a:lnTo>
                  <a:lnTo>
                    <a:pt x="40" y="27"/>
                  </a:lnTo>
                  <a:lnTo>
                    <a:pt x="40" y="36"/>
                  </a:lnTo>
                  <a:lnTo>
                    <a:pt x="46" y="43"/>
                  </a:lnTo>
                  <a:lnTo>
                    <a:pt x="40" y="43"/>
                  </a:lnTo>
                  <a:lnTo>
                    <a:pt x="38" y="50"/>
                  </a:lnTo>
                  <a:lnTo>
                    <a:pt x="32" y="45"/>
                  </a:lnTo>
                  <a:lnTo>
                    <a:pt x="30" y="50"/>
                  </a:lnTo>
                  <a:lnTo>
                    <a:pt x="23" y="45"/>
                  </a:lnTo>
                  <a:lnTo>
                    <a:pt x="23" y="41"/>
                  </a:lnTo>
                  <a:lnTo>
                    <a:pt x="21" y="41"/>
                  </a:lnTo>
                  <a:lnTo>
                    <a:pt x="9" y="34"/>
                  </a:lnTo>
                  <a:lnTo>
                    <a:pt x="4" y="32"/>
                  </a:lnTo>
                  <a:lnTo>
                    <a:pt x="0" y="25"/>
                  </a:lnTo>
                  <a:lnTo>
                    <a:pt x="9" y="18"/>
                  </a:lnTo>
                  <a:lnTo>
                    <a:pt x="9" y="7"/>
                  </a:lnTo>
                  <a:lnTo>
                    <a:pt x="15" y="0"/>
                  </a:lnTo>
                  <a:lnTo>
                    <a:pt x="17" y="0"/>
                  </a:lnTo>
                  <a:lnTo>
                    <a:pt x="21" y="0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7" name="Freeform 1223"/>
            <p:cNvSpPr>
              <a:spLocks/>
            </p:cNvSpPr>
            <p:nvPr/>
          </p:nvSpPr>
          <p:spPr bwMode="auto">
            <a:xfrm>
              <a:off x="4946220" y="3451832"/>
              <a:ext cx="31156" cy="3714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6" y="0"/>
                </a:cxn>
                <a:cxn ang="0">
                  <a:pos x="2" y="7"/>
                </a:cxn>
                <a:cxn ang="0">
                  <a:pos x="0" y="7"/>
                </a:cxn>
                <a:cxn ang="0">
                  <a:pos x="0" y="5"/>
                </a:cxn>
                <a:cxn ang="0">
                  <a:pos x="2" y="0"/>
                </a:cxn>
              </a:cxnLst>
              <a:rect l="0" t="0" r="r" b="b"/>
              <a:pathLst>
                <a:path w="6" h="7">
                  <a:moveTo>
                    <a:pt x="2" y="0"/>
                  </a:moveTo>
                  <a:lnTo>
                    <a:pt x="6" y="0"/>
                  </a:lnTo>
                  <a:lnTo>
                    <a:pt x="2" y="7"/>
                  </a:lnTo>
                  <a:lnTo>
                    <a:pt x="0" y="7"/>
                  </a:lnTo>
                  <a:lnTo>
                    <a:pt x="0" y="5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8" name="Freeform 1224"/>
            <p:cNvSpPr>
              <a:spLocks/>
            </p:cNvSpPr>
            <p:nvPr/>
          </p:nvSpPr>
          <p:spPr bwMode="auto">
            <a:xfrm>
              <a:off x="4935833" y="3488979"/>
              <a:ext cx="20771" cy="106133"/>
            </a:xfrm>
            <a:custGeom>
              <a:avLst/>
              <a:gdLst/>
              <a:ahLst/>
              <a:cxnLst>
                <a:cxn ang="0">
                  <a:pos x="4" y="2"/>
                </a:cxn>
                <a:cxn ang="0">
                  <a:pos x="2" y="7"/>
                </a:cxn>
                <a:cxn ang="0">
                  <a:pos x="4" y="11"/>
                </a:cxn>
                <a:cxn ang="0">
                  <a:pos x="2" y="20"/>
                </a:cxn>
                <a:cxn ang="0">
                  <a:pos x="0" y="11"/>
                </a:cxn>
                <a:cxn ang="0">
                  <a:pos x="0" y="9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4" y="2"/>
                </a:cxn>
              </a:cxnLst>
              <a:rect l="0" t="0" r="r" b="b"/>
              <a:pathLst>
                <a:path w="4" h="20">
                  <a:moveTo>
                    <a:pt x="4" y="2"/>
                  </a:moveTo>
                  <a:lnTo>
                    <a:pt x="2" y="7"/>
                  </a:lnTo>
                  <a:lnTo>
                    <a:pt x="4" y="11"/>
                  </a:lnTo>
                  <a:lnTo>
                    <a:pt x="2" y="20"/>
                  </a:lnTo>
                  <a:lnTo>
                    <a:pt x="0" y="11"/>
                  </a:lnTo>
                  <a:lnTo>
                    <a:pt x="0" y="9"/>
                  </a:lnTo>
                  <a:lnTo>
                    <a:pt x="2" y="0"/>
                  </a:lnTo>
                  <a:lnTo>
                    <a:pt x="4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9" name="Freeform 1225"/>
            <p:cNvSpPr>
              <a:spLocks/>
            </p:cNvSpPr>
            <p:nvPr/>
          </p:nvSpPr>
          <p:spPr bwMode="auto">
            <a:xfrm>
              <a:off x="4707355" y="3536739"/>
              <a:ext cx="270020" cy="286560"/>
            </a:xfrm>
            <a:custGeom>
              <a:avLst/>
              <a:gdLst/>
              <a:ahLst/>
              <a:cxnLst>
                <a:cxn ang="0">
                  <a:pos x="44" y="2"/>
                </a:cxn>
                <a:cxn ang="0">
                  <a:pos x="37" y="2"/>
                </a:cxn>
                <a:cxn ang="0">
                  <a:pos x="35" y="2"/>
                </a:cxn>
                <a:cxn ang="0">
                  <a:pos x="31" y="2"/>
                </a:cxn>
                <a:cxn ang="0">
                  <a:pos x="31" y="0"/>
                </a:cxn>
                <a:cxn ang="0">
                  <a:pos x="29" y="0"/>
                </a:cxn>
                <a:cxn ang="0">
                  <a:pos x="21" y="2"/>
                </a:cxn>
                <a:cxn ang="0">
                  <a:pos x="8" y="0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0" y="18"/>
                </a:cxn>
                <a:cxn ang="0">
                  <a:pos x="4" y="54"/>
                </a:cxn>
                <a:cxn ang="0">
                  <a:pos x="39" y="54"/>
                </a:cxn>
                <a:cxn ang="0">
                  <a:pos x="46" y="54"/>
                </a:cxn>
                <a:cxn ang="0">
                  <a:pos x="52" y="50"/>
                </a:cxn>
                <a:cxn ang="0">
                  <a:pos x="52" y="43"/>
                </a:cxn>
                <a:cxn ang="0">
                  <a:pos x="37" y="16"/>
                </a:cxn>
                <a:cxn ang="0">
                  <a:pos x="35" y="9"/>
                </a:cxn>
                <a:cxn ang="0">
                  <a:pos x="39" y="18"/>
                </a:cxn>
                <a:cxn ang="0">
                  <a:pos x="44" y="23"/>
                </a:cxn>
                <a:cxn ang="0">
                  <a:pos x="46" y="11"/>
                </a:cxn>
                <a:cxn ang="0">
                  <a:pos x="44" y="7"/>
                </a:cxn>
                <a:cxn ang="0">
                  <a:pos x="44" y="2"/>
                </a:cxn>
              </a:cxnLst>
              <a:rect l="0" t="0" r="r" b="b"/>
              <a:pathLst>
                <a:path w="52" h="54">
                  <a:moveTo>
                    <a:pt x="44" y="2"/>
                  </a:moveTo>
                  <a:lnTo>
                    <a:pt x="37" y="2"/>
                  </a:lnTo>
                  <a:lnTo>
                    <a:pt x="35" y="2"/>
                  </a:lnTo>
                  <a:lnTo>
                    <a:pt x="31" y="2"/>
                  </a:lnTo>
                  <a:lnTo>
                    <a:pt x="31" y="0"/>
                  </a:lnTo>
                  <a:lnTo>
                    <a:pt x="29" y="0"/>
                  </a:lnTo>
                  <a:lnTo>
                    <a:pt x="21" y="2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8"/>
                  </a:lnTo>
                  <a:lnTo>
                    <a:pt x="4" y="54"/>
                  </a:lnTo>
                  <a:lnTo>
                    <a:pt x="39" y="54"/>
                  </a:lnTo>
                  <a:lnTo>
                    <a:pt x="46" y="54"/>
                  </a:lnTo>
                  <a:lnTo>
                    <a:pt x="52" y="50"/>
                  </a:lnTo>
                  <a:lnTo>
                    <a:pt x="52" y="43"/>
                  </a:lnTo>
                  <a:lnTo>
                    <a:pt x="37" y="16"/>
                  </a:lnTo>
                  <a:lnTo>
                    <a:pt x="35" y="9"/>
                  </a:lnTo>
                  <a:lnTo>
                    <a:pt x="39" y="18"/>
                  </a:lnTo>
                  <a:lnTo>
                    <a:pt x="44" y="23"/>
                  </a:lnTo>
                  <a:lnTo>
                    <a:pt x="46" y="11"/>
                  </a:lnTo>
                  <a:lnTo>
                    <a:pt x="44" y="7"/>
                  </a:lnTo>
                  <a:lnTo>
                    <a:pt x="44" y="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0" name="Freeform 1226"/>
            <p:cNvSpPr>
              <a:spLocks/>
            </p:cNvSpPr>
            <p:nvPr/>
          </p:nvSpPr>
          <p:spPr bwMode="auto">
            <a:xfrm>
              <a:off x="4935833" y="3955966"/>
              <a:ext cx="342717" cy="440454"/>
            </a:xfrm>
            <a:custGeom>
              <a:avLst/>
              <a:gdLst/>
              <a:ahLst/>
              <a:cxnLst>
                <a:cxn ang="0">
                  <a:pos x="16" y="76"/>
                </a:cxn>
                <a:cxn ang="0">
                  <a:pos x="22" y="83"/>
                </a:cxn>
                <a:cxn ang="0">
                  <a:pos x="27" y="83"/>
                </a:cxn>
                <a:cxn ang="0">
                  <a:pos x="35" y="81"/>
                </a:cxn>
                <a:cxn ang="0">
                  <a:pos x="39" y="81"/>
                </a:cxn>
                <a:cxn ang="0">
                  <a:pos x="48" y="76"/>
                </a:cxn>
                <a:cxn ang="0">
                  <a:pos x="56" y="74"/>
                </a:cxn>
                <a:cxn ang="0">
                  <a:pos x="66" y="58"/>
                </a:cxn>
                <a:cxn ang="0">
                  <a:pos x="64" y="58"/>
                </a:cxn>
                <a:cxn ang="0">
                  <a:pos x="50" y="52"/>
                </a:cxn>
                <a:cxn ang="0">
                  <a:pos x="43" y="43"/>
                </a:cxn>
                <a:cxn ang="0">
                  <a:pos x="43" y="40"/>
                </a:cxn>
                <a:cxn ang="0">
                  <a:pos x="39" y="40"/>
                </a:cxn>
                <a:cxn ang="0">
                  <a:pos x="41" y="34"/>
                </a:cxn>
                <a:cxn ang="0">
                  <a:pos x="43" y="31"/>
                </a:cxn>
                <a:cxn ang="0">
                  <a:pos x="35" y="18"/>
                </a:cxn>
                <a:cxn ang="0">
                  <a:pos x="27" y="13"/>
                </a:cxn>
                <a:cxn ang="0">
                  <a:pos x="22" y="0"/>
                </a:cxn>
                <a:cxn ang="0">
                  <a:pos x="22" y="4"/>
                </a:cxn>
                <a:cxn ang="0">
                  <a:pos x="16" y="7"/>
                </a:cxn>
                <a:cxn ang="0">
                  <a:pos x="12" y="29"/>
                </a:cxn>
                <a:cxn ang="0">
                  <a:pos x="4" y="43"/>
                </a:cxn>
                <a:cxn ang="0">
                  <a:pos x="2" y="56"/>
                </a:cxn>
                <a:cxn ang="0">
                  <a:pos x="0" y="56"/>
                </a:cxn>
                <a:cxn ang="0">
                  <a:pos x="0" y="58"/>
                </a:cxn>
                <a:cxn ang="0">
                  <a:pos x="2" y="61"/>
                </a:cxn>
                <a:cxn ang="0">
                  <a:pos x="8" y="70"/>
                </a:cxn>
                <a:cxn ang="0">
                  <a:pos x="10" y="74"/>
                </a:cxn>
                <a:cxn ang="0">
                  <a:pos x="10" y="76"/>
                </a:cxn>
                <a:cxn ang="0">
                  <a:pos x="12" y="76"/>
                </a:cxn>
                <a:cxn ang="0">
                  <a:pos x="16" y="76"/>
                </a:cxn>
              </a:cxnLst>
              <a:rect l="0" t="0" r="r" b="b"/>
              <a:pathLst>
                <a:path w="66" h="83">
                  <a:moveTo>
                    <a:pt x="16" y="76"/>
                  </a:moveTo>
                  <a:lnTo>
                    <a:pt x="22" y="83"/>
                  </a:lnTo>
                  <a:lnTo>
                    <a:pt x="27" y="83"/>
                  </a:lnTo>
                  <a:lnTo>
                    <a:pt x="35" y="81"/>
                  </a:lnTo>
                  <a:lnTo>
                    <a:pt x="39" y="81"/>
                  </a:lnTo>
                  <a:lnTo>
                    <a:pt x="48" y="76"/>
                  </a:lnTo>
                  <a:lnTo>
                    <a:pt x="56" y="74"/>
                  </a:lnTo>
                  <a:lnTo>
                    <a:pt x="66" y="58"/>
                  </a:lnTo>
                  <a:lnTo>
                    <a:pt x="64" y="58"/>
                  </a:lnTo>
                  <a:lnTo>
                    <a:pt x="50" y="52"/>
                  </a:lnTo>
                  <a:lnTo>
                    <a:pt x="43" y="43"/>
                  </a:lnTo>
                  <a:lnTo>
                    <a:pt x="43" y="40"/>
                  </a:lnTo>
                  <a:lnTo>
                    <a:pt x="39" y="40"/>
                  </a:lnTo>
                  <a:lnTo>
                    <a:pt x="41" y="34"/>
                  </a:lnTo>
                  <a:lnTo>
                    <a:pt x="43" y="31"/>
                  </a:lnTo>
                  <a:lnTo>
                    <a:pt x="35" y="18"/>
                  </a:lnTo>
                  <a:lnTo>
                    <a:pt x="27" y="13"/>
                  </a:lnTo>
                  <a:lnTo>
                    <a:pt x="22" y="0"/>
                  </a:lnTo>
                  <a:lnTo>
                    <a:pt x="22" y="4"/>
                  </a:lnTo>
                  <a:lnTo>
                    <a:pt x="16" y="7"/>
                  </a:lnTo>
                  <a:lnTo>
                    <a:pt x="12" y="29"/>
                  </a:lnTo>
                  <a:lnTo>
                    <a:pt x="4" y="43"/>
                  </a:lnTo>
                  <a:lnTo>
                    <a:pt x="2" y="56"/>
                  </a:lnTo>
                  <a:lnTo>
                    <a:pt x="0" y="56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8" y="70"/>
                  </a:lnTo>
                  <a:lnTo>
                    <a:pt x="10" y="74"/>
                  </a:lnTo>
                  <a:lnTo>
                    <a:pt x="10" y="76"/>
                  </a:lnTo>
                  <a:lnTo>
                    <a:pt x="12" y="76"/>
                  </a:lnTo>
                  <a:lnTo>
                    <a:pt x="16" y="7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1" name="Freeform 1227"/>
            <p:cNvSpPr>
              <a:spLocks/>
            </p:cNvSpPr>
            <p:nvPr/>
          </p:nvSpPr>
          <p:spPr bwMode="auto">
            <a:xfrm>
              <a:off x="4847558" y="4385807"/>
              <a:ext cx="129817" cy="153894"/>
            </a:xfrm>
            <a:custGeom>
              <a:avLst/>
              <a:gdLst/>
              <a:ahLst/>
              <a:cxnLst>
                <a:cxn ang="0">
                  <a:pos x="19" y="0"/>
                </a:cxn>
                <a:cxn ang="0">
                  <a:pos x="10" y="2"/>
                </a:cxn>
                <a:cxn ang="0">
                  <a:pos x="4" y="2"/>
                </a:cxn>
                <a:cxn ang="0">
                  <a:pos x="4" y="9"/>
                </a:cxn>
                <a:cxn ang="0">
                  <a:pos x="8" y="11"/>
                </a:cxn>
                <a:cxn ang="0">
                  <a:pos x="4" y="13"/>
                </a:cxn>
                <a:cxn ang="0">
                  <a:pos x="2" y="20"/>
                </a:cxn>
                <a:cxn ang="0">
                  <a:pos x="0" y="29"/>
                </a:cxn>
                <a:cxn ang="0">
                  <a:pos x="2" y="29"/>
                </a:cxn>
                <a:cxn ang="0">
                  <a:pos x="10" y="29"/>
                </a:cxn>
                <a:cxn ang="0">
                  <a:pos x="19" y="29"/>
                </a:cxn>
                <a:cxn ang="0">
                  <a:pos x="19" y="20"/>
                </a:cxn>
                <a:cxn ang="0">
                  <a:pos x="25" y="11"/>
                </a:cxn>
                <a:cxn ang="0">
                  <a:pos x="21" y="0"/>
                </a:cxn>
                <a:cxn ang="0">
                  <a:pos x="19" y="0"/>
                </a:cxn>
              </a:cxnLst>
              <a:rect l="0" t="0" r="r" b="b"/>
              <a:pathLst>
                <a:path w="25" h="29">
                  <a:moveTo>
                    <a:pt x="19" y="0"/>
                  </a:moveTo>
                  <a:lnTo>
                    <a:pt x="10" y="2"/>
                  </a:lnTo>
                  <a:lnTo>
                    <a:pt x="4" y="2"/>
                  </a:lnTo>
                  <a:lnTo>
                    <a:pt x="4" y="9"/>
                  </a:lnTo>
                  <a:lnTo>
                    <a:pt x="8" y="11"/>
                  </a:lnTo>
                  <a:lnTo>
                    <a:pt x="4" y="13"/>
                  </a:lnTo>
                  <a:lnTo>
                    <a:pt x="2" y="20"/>
                  </a:lnTo>
                  <a:lnTo>
                    <a:pt x="0" y="29"/>
                  </a:lnTo>
                  <a:lnTo>
                    <a:pt x="2" y="29"/>
                  </a:lnTo>
                  <a:lnTo>
                    <a:pt x="10" y="29"/>
                  </a:lnTo>
                  <a:lnTo>
                    <a:pt x="19" y="29"/>
                  </a:lnTo>
                  <a:lnTo>
                    <a:pt x="19" y="20"/>
                  </a:lnTo>
                  <a:lnTo>
                    <a:pt x="25" y="11"/>
                  </a:lnTo>
                  <a:lnTo>
                    <a:pt x="21" y="0"/>
                  </a:lnTo>
                  <a:lnTo>
                    <a:pt x="19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2" name="Freeform 1228"/>
            <p:cNvSpPr>
              <a:spLocks/>
            </p:cNvSpPr>
            <p:nvPr/>
          </p:nvSpPr>
          <p:spPr bwMode="auto">
            <a:xfrm>
              <a:off x="4946220" y="4359273"/>
              <a:ext cx="192130" cy="302480"/>
            </a:xfrm>
            <a:custGeom>
              <a:avLst/>
              <a:gdLst/>
              <a:ahLst/>
              <a:cxnLst>
                <a:cxn ang="0">
                  <a:pos x="20" y="50"/>
                </a:cxn>
                <a:cxn ang="0">
                  <a:pos x="16" y="43"/>
                </a:cxn>
                <a:cxn ang="0">
                  <a:pos x="2" y="34"/>
                </a:cxn>
                <a:cxn ang="0">
                  <a:pos x="0" y="34"/>
                </a:cxn>
                <a:cxn ang="0">
                  <a:pos x="0" y="25"/>
                </a:cxn>
                <a:cxn ang="0">
                  <a:pos x="6" y="16"/>
                </a:cxn>
                <a:cxn ang="0">
                  <a:pos x="2" y="5"/>
                </a:cxn>
                <a:cxn ang="0">
                  <a:pos x="0" y="5"/>
                </a:cxn>
                <a:cxn ang="0">
                  <a:pos x="2" y="0"/>
                </a:cxn>
                <a:cxn ang="0">
                  <a:pos x="8" y="0"/>
                </a:cxn>
                <a:cxn ang="0">
                  <a:pos x="14" y="0"/>
                </a:cxn>
                <a:cxn ang="0">
                  <a:pos x="20" y="7"/>
                </a:cxn>
                <a:cxn ang="0">
                  <a:pos x="25" y="7"/>
                </a:cxn>
                <a:cxn ang="0">
                  <a:pos x="33" y="5"/>
                </a:cxn>
                <a:cxn ang="0">
                  <a:pos x="37" y="5"/>
                </a:cxn>
                <a:cxn ang="0">
                  <a:pos x="33" y="14"/>
                </a:cxn>
                <a:cxn ang="0">
                  <a:pos x="33" y="32"/>
                </a:cxn>
                <a:cxn ang="0">
                  <a:pos x="37" y="36"/>
                </a:cxn>
                <a:cxn ang="0">
                  <a:pos x="31" y="43"/>
                </a:cxn>
                <a:cxn ang="0">
                  <a:pos x="31" y="41"/>
                </a:cxn>
                <a:cxn ang="0">
                  <a:pos x="31" y="48"/>
                </a:cxn>
                <a:cxn ang="0">
                  <a:pos x="25" y="57"/>
                </a:cxn>
                <a:cxn ang="0">
                  <a:pos x="23" y="54"/>
                </a:cxn>
                <a:cxn ang="0">
                  <a:pos x="20" y="50"/>
                </a:cxn>
              </a:cxnLst>
              <a:rect l="0" t="0" r="r" b="b"/>
              <a:pathLst>
                <a:path w="37" h="57">
                  <a:moveTo>
                    <a:pt x="20" y="50"/>
                  </a:moveTo>
                  <a:lnTo>
                    <a:pt x="16" y="43"/>
                  </a:lnTo>
                  <a:lnTo>
                    <a:pt x="2" y="34"/>
                  </a:lnTo>
                  <a:lnTo>
                    <a:pt x="0" y="34"/>
                  </a:lnTo>
                  <a:lnTo>
                    <a:pt x="0" y="25"/>
                  </a:lnTo>
                  <a:lnTo>
                    <a:pt x="6" y="16"/>
                  </a:lnTo>
                  <a:lnTo>
                    <a:pt x="2" y="5"/>
                  </a:lnTo>
                  <a:lnTo>
                    <a:pt x="0" y="5"/>
                  </a:lnTo>
                  <a:lnTo>
                    <a:pt x="2" y="0"/>
                  </a:lnTo>
                  <a:lnTo>
                    <a:pt x="8" y="0"/>
                  </a:lnTo>
                  <a:lnTo>
                    <a:pt x="14" y="0"/>
                  </a:lnTo>
                  <a:lnTo>
                    <a:pt x="20" y="7"/>
                  </a:lnTo>
                  <a:lnTo>
                    <a:pt x="25" y="7"/>
                  </a:lnTo>
                  <a:lnTo>
                    <a:pt x="33" y="5"/>
                  </a:lnTo>
                  <a:lnTo>
                    <a:pt x="37" y="5"/>
                  </a:lnTo>
                  <a:lnTo>
                    <a:pt x="33" y="14"/>
                  </a:lnTo>
                  <a:lnTo>
                    <a:pt x="33" y="32"/>
                  </a:lnTo>
                  <a:lnTo>
                    <a:pt x="37" y="36"/>
                  </a:lnTo>
                  <a:lnTo>
                    <a:pt x="31" y="43"/>
                  </a:lnTo>
                  <a:lnTo>
                    <a:pt x="31" y="41"/>
                  </a:lnTo>
                  <a:lnTo>
                    <a:pt x="31" y="48"/>
                  </a:lnTo>
                  <a:lnTo>
                    <a:pt x="25" y="57"/>
                  </a:lnTo>
                  <a:lnTo>
                    <a:pt x="23" y="54"/>
                  </a:lnTo>
                  <a:lnTo>
                    <a:pt x="20" y="5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3" name="Freeform 1229"/>
            <p:cNvSpPr>
              <a:spLocks/>
            </p:cNvSpPr>
            <p:nvPr/>
          </p:nvSpPr>
          <p:spPr bwMode="auto">
            <a:xfrm>
              <a:off x="4847558" y="4539700"/>
              <a:ext cx="259634" cy="32370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4" y="2"/>
                </a:cxn>
                <a:cxn ang="0">
                  <a:pos x="4" y="7"/>
                </a:cxn>
                <a:cxn ang="0">
                  <a:pos x="4" y="14"/>
                </a:cxn>
                <a:cxn ang="0">
                  <a:pos x="0" y="18"/>
                </a:cxn>
                <a:cxn ang="0">
                  <a:pos x="0" y="32"/>
                </a:cxn>
                <a:cxn ang="0">
                  <a:pos x="4" y="41"/>
                </a:cxn>
                <a:cxn ang="0">
                  <a:pos x="4" y="43"/>
                </a:cxn>
                <a:cxn ang="0">
                  <a:pos x="8" y="43"/>
                </a:cxn>
                <a:cxn ang="0">
                  <a:pos x="17" y="50"/>
                </a:cxn>
                <a:cxn ang="0">
                  <a:pos x="19" y="50"/>
                </a:cxn>
                <a:cxn ang="0">
                  <a:pos x="21" y="52"/>
                </a:cxn>
                <a:cxn ang="0">
                  <a:pos x="25" y="61"/>
                </a:cxn>
                <a:cxn ang="0">
                  <a:pos x="29" y="61"/>
                </a:cxn>
                <a:cxn ang="0">
                  <a:pos x="44" y="59"/>
                </a:cxn>
                <a:cxn ang="0">
                  <a:pos x="50" y="56"/>
                </a:cxn>
                <a:cxn ang="0">
                  <a:pos x="48" y="52"/>
                </a:cxn>
                <a:cxn ang="0">
                  <a:pos x="44" y="45"/>
                </a:cxn>
                <a:cxn ang="0">
                  <a:pos x="48" y="34"/>
                </a:cxn>
                <a:cxn ang="0">
                  <a:pos x="42" y="27"/>
                </a:cxn>
                <a:cxn ang="0">
                  <a:pos x="44" y="23"/>
                </a:cxn>
                <a:cxn ang="0">
                  <a:pos x="39" y="16"/>
                </a:cxn>
                <a:cxn ang="0">
                  <a:pos x="35" y="9"/>
                </a:cxn>
                <a:cxn ang="0">
                  <a:pos x="21" y="0"/>
                </a:cxn>
                <a:cxn ang="0">
                  <a:pos x="19" y="0"/>
                </a:cxn>
                <a:cxn ang="0">
                  <a:pos x="10" y="0"/>
                </a:cxn>
                <a:cxn ang="0">
                  <a:pos x="6" y="0"/>
                </a:cxn>
                <a:cxn ang="0">
                  <a:pos x="2" y="0"/>
                </a:cxn>
              </a:cxnLst>
              <a:rect l="0" t="0" r="r" b="b"/>
              <a:pathLst>
                <a:path w="50" h="61">
                  <a:moveTo>
                    <a:pt x="2" y="0"/>
                  </a:moveTo>
                  <a:lnTo>
                    <a:pt x="4" y="2"/>
                  </a:lnTo>
                  <a:lnTo>
                    <a:pt x="4" y="7"/>
                  </a:lnTo>
                  <a:lnTo>
                    <a:pt x="4" y="14"/>
                  </a:lnTo>
                  <a:lnTo>
                    <a:pt x="0" y="18"/>
                  </a:lnTo>
                  <a:lnTo>
                    <a:pt x="0" y="32"/>
                  </a:lnTo>
                  <a:lnTo>
                    <a:pt x="4" y="41"/>
                  </a:lnTo>
                  <a:lnTo>
                    <a:pt x="4" y="43"/>
                  </a:lnTo>
                  <a:lnTo>
                    <a:pt x="8" y="43"/>
                  </a:lnTo>
                  <a:lnTo>
                    <a:pt x="17" y="50"/>
                  </a:lnTo>
                  <a:lnTo>
                    <a:pt x="19" y="50"/>
                  </a:lnTo>
                  <a:lnTo>
                    <a:pt x="21" y="52"/>
                  </a:lnTo>
                  <a:lnTo>
                    <a:pt x="25" y="61"/>
                  </a:lnTo>
                  <a:lnTo>
                    <a:pt x="29" y="61"/>
                  </a:lnTo>
                  <a:lnTo>
                    <a:pt x="44" y="59"/>
                  </a:lnTo>
                  <a:lnTo>
                    <a:pt x="50" y="56"/>
                  </a:lnTo>
                  <a:lnTo>
                    <a:pt x="48" y="52"/>
                  </a:lnTo>
                  <a:lnTo>
                    <a:pt x="44" y="45"/>
                  </a:lnTo>
                  <a:lnTo>
                    <a:pt x="48" y="34"/>
                  </a:lnTo>
                  <a:lnTo>
                    <a:pt x="42" y="27"/>
                  </a:lnTo>
                  <a:lnTo>
                    <a:pt x="44" y="23"/>
                  </a:lnTo>
                  <a:lnTo>
                    <a:pt x="39" y="16"/>
                  </a:lnTo>
                  <a:lnTo>
                    <a:pt x="35" y="9"/>
                  </a:lnTo>
                  <a:lnTo>
                    <a:pt x="21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4" name="Freeform 1230"/>
            <p:cNvSpPr>
              <a:spLocks/>
            </p:cNvSpPr>
            <p:nvPr/>
          </p:nvSpPr>
          <p:spPr bwMode="auto">
            <a:xfrm>
              <a:off x="4650237" y="4757274"/>
              <a:ext cx="295983" cy="307787"/>
            </a:xfrm>
            <a:custGeom>
              <a:avLst/>
              <a:gdLst/>
              <a:ahLst/>
              <a:cxnLst>
                <a:cxn ang="0">
                  <a:pos x="34" y="45"/>
                </a:cxn>
                <a:cxn ang="0">
                  <a:pos x="32" y="47"/>
                </a:cxn>
                <a:cxn ang="0">
                  <a:pos x="23" y="58"/>
                </a:cxn>
                <a:cxn ang="0">
                  <a:pos x="15" y="58"/>
                </a:cxn>
                <a:cxn ang="0">
                  <a:pos x="9" y="54"/>
                </a:cxn>
                <a:cxn ang="0">
                  <a:pos x="7" y="54"/>
                </a:cxn>
                <a:cxn ang="0">
                  <a:pos x="0" y="47"/>
                </a:cxn>
                <a:cxn ang="0">
                  <a:pos x="0" y="29"/>
                </a:cxn>
                <a:cxn ang="0">
                  <a:pos x="11" y="27"/>
                </a:cxn>
                <a:cxn ang="0">
                  <a:pos x="9" y="27"/>
                </a:cxn>
                <a:cxn ang="0">
                  <a:pos x="11" y="15"/>
                </a:cxn>
                <a:cxn ang="0">
                  <a:pos x="19" y="20"/>
                </a:cxn>
                <a:cxn ang="0">
                  <a:pos x="23" y="20"/>
                </a:cxn>
                <a:cxn ang="0">
                  <a:pos x="32" y="27"/>
                </a:cxn>
                <a:cxn ang="0">
                  <a:pos x="38" y="29"/>
                </a:cxn>
                <a:cxn ang="0">
                  <a:pos x="38" y="24"/>
                </a:cxn>
                <a:cxn ang="0">
                  <a:pos x="34" y="24"/>
                </a:cxn>
                <a:cxn ang="0">
                  <a:pos x="32" y="20"/>
                </a:cxn>
                <a:cxn ang="0">
                  <a:pos x="34" y="4"/>
                </a:cxn>
                <a:cxn ang="0">
                  <a:pos x="34" y="2"/>
                </a:cxn>
                <a:cxn ang="0">
                  <a:pos x="40" y="0"/>
                </a:cxn>
                <a:cxn ang="0">
                  <a:pos x="42" y="0"/>
                </a:cxn>
                <a:cxn ang="0">
                  <a:pos x="42" y="2"/>
                </a:cxn>
                <a:cxn ang="0">
                  <a:pos x="46" y="2"/>
                </a:cxn>
                <a:cxn ang="0">
                  <a:pos x="55" y="9"/>
                </a:cxn>
                <a:cxn ang="0">
                  <a:pos x="57" y="15"/>
                </a:cxn>
                <a:cxn ang="0">
                  <a:pos x="55" y="20"/>
                </a:cxn>
                <a:cxn ang="0">
                  <a:pos x="55" y="24"/>
                </a:cxn>
                <a:cxn ang="0">
                  <a:pos x="50" y="33"/>
                </a:cxn>
                <a:cxn ang="0">
                  <a:pos x="55" y="33"/>
                </a:cxn>
                <a:cxn ang="0">
                  <a:pos x="40" y="38"/>
                </a:cxn>
                <a:cxn ang="0">
                  <a:pos x="40" y="42"/>
                </a:cxn>
                <a:cxn ang="0">
                  <a:pos x="36" y="45"/>
                </a:cxn>
                <a:cxn ang="0">
                  <a:pos x="34" y="45"/>
                </a:cxn>
              </a:cxnLst>
              <a:rect l="0" t="0" r="r" b="b"/>
              <a:pathLst>
                <a:path w="57" h="58">
                  <a:moveTo>
                    <a:pt x="34" y="45"/>
                  </a:moveTo>
                  <a:lnTo>
                    <a:pt x="32" y="47"/>
                  </a:lnTo>
                  <a:lnTo>
                    <a:pt x="23" y="58"/>
                  </a:lnTo>
                  <a:lnTo>
                    <a:pt x="15" y="58"/>
                  </a:lnTo>
                  <a:lnTo>
                    <a:pt x="9" y="54"/>
                  </a:lnTo>
                  <a:lnTo>
                    <a:pt x="7" y="54"/>
                  </a:lnTo>
                  <a:lnTo>
                    <a:pt x="0" y="47"/>
                  </a:lnTo>
                  <a:lnTo>
                    <a:pt x="0" y="29"/>
                  </a:lnTo>
                  <a:lnTo>
                    <a:pt x="11" y="27"/>
                  </a:lnTo>
                  <a:lnTo>
                    <a:pt x="9" y="27"/>
                  </a:lnTo>
                  <a:lnTo>
                    <a:pt x="11" y="15"/>
                  </a:lnTo>
                  <a:lnTo>
                    <a:pt x="19" y="20"/>
                  </a:lnTo>
                  <a:lnTo>
                    <a:pt x="23" y="20"/>
                  </a:lnTo>
                  <a:lnTo>
                    <a:pt x="32" y="27"/>
                  </a:lnTo>
                  <a:lnTo>
                    <a:pt x="38" y="29"/>
                  </a:lnTo>
                  <a:lnTo>
                    <a:pt x="38" y="24"/>
                  </a:lnTo>
                  <a:lnTo>
                    <a:pt x="34" y="24"/>
                  </a:lnTo>
                  <a:lnTo>
                    <a:pt x="32" y="20"/>
                  </a:lnTo>
                  <a:lnTo>
                    <a:pt x="34" y="4"/>
                  </a:lnTo>
                  <a:lnTo>
                    <a:pt x="34" y="2"/>
                  </a:lnTo>
                  <a:lnTo>
                    <a:pt x="40" y="0"/>
                  </a:lnTo>
                  <a:lnTo>
                    <a:pt x="42" y="0"/>
                  </a:lnTo>
                  <a:lnTo>
                    <a:pt x="42" y="2"/>
                  </a:lnTo>
                  <a:lnTo>
                    <a:pt x="46" y="2"/>
                  </a:lnTo>
                  <a:lnTo>
                    <a:pt x="55" y="9"/>
                  </a:lnTo>
                  <a:lnTo>
                    <a:pt x="57" y="15"/>
                  </a:lnTo>
                  <a:lnTo>
                    <a:pt x="55" y="20"/>
                  </a:lnTo>
                  <a:lnTo>
                    <a:pt x="55" y="24"/>
                  </a:lnTo>
                  <a:lnTo>
                    <a:pt x="50" y="33"/>
                  </a:lnTo>
                  <a:lnTo>
                    <a:pt x="55" y="33"/>
                  </a:lnTo>
                  <a:lnTo>
                    <a:pt x="40" y="38"/>
                  </a:lnTo>
                  <a:lnTo>
                    <a:pt x="40" y="42"/>
                  </a:lnTo>
                  <a:lnTo>
                    <a:pt x="36" y="45"/>
                  </a:lnTo>
                  <a:lnTo>
                    <a:pt x="34" y="4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5" name="Freeform 1231"/>
            <p:cNvSpPr>
              <a:spLocks/>
            </p:cNvSpPr>
            <p:nvPr/>
          </p:nvSpPr>
          <p:spPr bwMode="auto">
            <a:xfrm>
              <a:off x="4857944" y="4836874"/>
              <a:ext cx="249249" cy="482907"/>
            </a:xfrm>
            <a:custGeom>
              <a:avLst/>
              <a:gdLst/>
              <a:ahLst/>
              <a:cxnLst>
                <a:cxn ang="0">
                  <a:pos x="6" y="91"/>
                </a:cxn>
                <a:cxn ang="0">
                  <a:pos x="8" y="91"/>
                </a:cxn>
                <a:cxn ang="0">
                  <a:pos x="8" y="88"/>
                </a:cxn>
                <a:cxn ang="0">
                  <a:pos x="8" y="86"/>
                </a:cxn>
                <a:cxn ang="0">
                  <a:pos x="19" y="79"/>
                </a:cxn>
                <a:cxn ang="0">
                  <a:pos x="23" y="66"/>
                </a:cxn>
                <a:cxn ang="0">
                  <a:pos x="19" y="57"/>
                </a:cxn>
                <a:cxn ang="0">
                  <a:pos x="19" y="55"/>
                </a:cxn>
                <a:cxn ang="0">
                  <a:pos x="31" y="39"/>
                </a:cxn>
                <a:cxn ang="0">
                  <a:pos x="40" y="37"/>
                </a:cxn>
                <a:cxn ang="0">
                  <a:pos x="48" y="27"/>
                </a:cxn>
                <a:cxn ang="0">
                  <a:pos x="48" y="0"/>
                </a:cxn>
                <a:cxn ang="0">
                  <a:pos x="42" y="3"/>
                </a:cxn>
                <a:cxn ang="0">
                  <a:pos x="27" y="5"/>
                </a:cxn>
                <a:cxn ang="0">
                  <a:pos x="23" y="5"/>
                </a:cxn>
                <a:cxn ang="0">
                  <a:pos x="19" y="9"/>
                </a:cxn>
                <a:cxn ang="0">
                  <a:pos x="19" y="14"/>
                </a:cxn>
                <a:cxn ang="0">
                  <a:pos x="25" y="23"/>
                </a:cxn>
                <a:cxn ang="0">
                  <a:pos x="25" y="30"/>
                </a:cxn>
                <a:cxn ang="0">
                  <a:pos x="23" y="37"/>
                </a:cxn>
                <a:cxn ang="0">
                  <a:pos x="17" y="30"/>
                </a:cxn>
                <a:cxn ang="0">
                  <a:pos x="19" y="21"/>
                </a:cxn>
                <a:cxn ang="0">
                  <a:pos x="15" y="21"/>
                </a:cxn>
                <a:cxn ang="0">
                  <a:pos x="15" y="18"/>
                </a:cxn>
                <a:cxn ang="0">
                  <a:pos x="0" y="23"/>
                </a:cxn>
                <a:cxn ang="0">
                  <a:pos x="0" y="27"/>
                </a:cxn>
                <a:cxn ang="0">
                  <a:pos x="0" y="30"/>
                </a:cxn>
                <a:cxn ang="0">
                  <a:pos x="2" y="30"/>
                </a:cxn>
                <a:cxn ang="0">
                  <a:pos x="10" y="32"/>
                </a:cxn>
                <a:cxn ang="0">
                  <a:pos x="10" y="39"/>
                </a:cxn>
                <a:cxn ang="0">
                  <a:pos x="10" y="55"/>
                </a:cxn>
                <a:cxn ang="0">
                  <a:pos x="2" y="70"/>
                </a:cxn>
                <a:cxn ang="0">
                  <a:pos x="6" y="88"/>
                </a:cxn>
                <a:cxn ang="0">
                  <a:pos x="6" y="91"/>
                </a:cxn>
              </a:cxnLst>
              <a:rect l="0" t="0" r="r" b="b"/>
              <a:pathLst>
                <a:path w="48" h="91">
                  <a:moveTo>
                    <a:pt x="6" y="91"/>
                  </a:moveTo>
                  <a:lnTo>
                    <a:pt x="8" y="91"/>
                  </a:lnTo>
                  <a:lnTo>
                    <a:pt x="8" y="88"/>
                  </a:lnTo>
                  <a:lnTo>
                    <a:pt x="8" y="86"/>
                  </a:lnTo>
                  <a:lnTo>
                    <a:pt x="19" y="79"/>
                  </a:lnTo>
                  <a:lnTo>
                    <a:pt x="23" y="66"/>
                  </a:lnTo>
                  <a:lnTo>
                    <a:pt x="19" y="57"/>
                  </a:lnTo>
                  <a:lnTo>
                    <a:pt x="19" y="55"/>
                  </a:lnTo>
                  <a:lnTo>
                    <a:pt x="31" y="39"/>
                  </a:lnTo>
                  <a:lnTo>
                    <a:pt x="40" y="37"/>
                  </a:lnTo>
                  <a:lnTo>
                    <a:pt x="48" y="27"/>
                  </a:lnTo>
                  <a:lnTo>
                    <a:pt x="48" y="0"/>
                  </a:lnTo>
                  <a:lnTo>
                    <a:pt x="42" y="3"/>
                  </a:lnTo>
                  <a:lnTo>
                    <a:pt x="27" y="5"/>
                  </a:lnTo>
                  <a:lnTo>
                    <a:pt x="23" y="5"/>
                  </a:lnTo>
                  <a:lnTo>
                    <a:pt x="19" y="9"/>
                  </a:lnTo>
                  <a:lnTo>
                    <a:pt x="19" y="14"/>
                  </a:lnTo>
                  <a:lnTo>
                    <a:pt x="25" y="23"/>
                  </a:lnTo>
                  <a:lnTo>
                    <a:pt x="25" y="30"/>
                  </a:lnTo>
                  <a:lnTo>
                    <a:pt x="23" y="37"/>
                  </a:lnTo>
                  <a:lnTo>
                    <a:pt x="17" y="30"/>
                  </a:lnTo>
                  <a:lnTo>
                    <a:pt x="19" y="21"/>
                  </a:lnTo>
                  <a:lnTo>
                    <a:pt x="15" y="21"/>
                  </a:lnTo>
                  <a:lnTo>
                    <a:pt x="15" y="18"/>
                  </a:lnTo>
                  <a:lnTo>
                    <a:pt x="0" y="23"/>
                  </a:lnTo>
                  <a:lnTo>
                    <a:pt x="0" y="27"/>
                  </a:lnTo>
                  <a:lnTo>
                    <a:pt x="0" y="30"/>
                  </a:lnTo>
                  <a:lnTo>
                    <a:pt x="2" y="30"/>
                  </a:lnTo>
                  <a:lnTo>
                    <a:pt x="10" y="32"/>
                  </a:lnTo>
                  <a:lnTo>
                    <a:pt x="10" y="39"/>
                  </a:lnTo>
                  <a:lnTo>
                    <a:pt x="10" y="55"/>
                  </a:lnTo>
                  <a:lnTo>
                    <a:pt x="2" y="70"/>
                  </a:lnTo>
                  <a:lnTo>
                    <a:pt x="6" y="88"/>
                  </a:lnTo>
                  <a:lnTo>
                    <a:pt x="6" y="9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6" name="Freeform 1232"/>
            <p:cNvSpPr>
              <a:spLocks/>
            </p:cNvSpPr>
            <p:nvPr/>
          </p:nvSpPr>
          <p:spPr bwMode="auto">
            <a:xfrm>
              <a:off x="4909871" y="4805034"/>
              <a:ext cx="77890" cy="228187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7" y="6"/>
                </a:cxn>
                <a:cxn ang="0">
                  <a:pos x="5" y="11"/>
                </a:cxn>
                <a:cxn ang="0">
                  <a:pos x="5" y="15"/>
                </a:cxn>
                <a:cxn ang="0">
                  <a:pos x="0" y="24"/>
                </a:cxn>
                <a:cxn ang="0">
                  <a:pos x="5" y="24"/>
                </a:cxn>
                <a:cxn ang="0">
                  <a:pos x="5" y="27"/>
                </a:cxn>
                <a:cxn ang="0">
                  <a:pos x="9" y="27"/>
                </a:cxn>
                <a:cxn ang="0">
                  <a:pos x="7" y="36"/>
                </a:cxn>
                <a:cxn ang="0">
                  <a:pos x="13" y="43"/>
                </a:cxn>
                <a:cxn ang="0">
                  <a:pos x="15" y="36"/>
                </a:cxn>
                <a:cxn ang="0">
                  <a:pos x="15" y="29"/>
                </a:cxn>
                <a:cxn ang="0">
                  <a:pos x="9" y="20"/>
                </a:cxn>
                <a:cxn ang="0">
                  <a:pos x="9" y="15"/>
                </a:cxn>
                <a:cxn ang="0">
                  <a:pos x="13" y="11"/>
                </a:cxn>
                <a:cxn ang="0">
                  <a:pos x="9" y="2"/>
                </a:cxn>
                <a:cxn ang="0">
                  <a:pos x="7" y="0"/>
                </a:cxn>
                <a:cxn ang="0">
                  <a:pos x="5" y="0"/>
                </a:cxn>
              </a:cxnLst>
              <a:rect l="0" t="0" r="r" b="b"/>
              <a:pathLst>
                <a:path w="15" h="43">
                  <a:moveTo>
                    <a:pt x="5" y="0"/>
                  </a:moveTo>
                  <a:lnTo>
                    <a:pt x="7" y="6"/>
                  </a:lnTo>
                  <a:lnTo>
                    <a:pt x="5" y="11"/>
                  </a:lnTo>
                  <a:lnTo>
                    <a:pt x="5" y="15"/>
                  </a:lnTo>
                  <a:lnTo>
                    <a:pt x="0" y="24"/>
                  </a:lnTo>
                  <a:lnTo>
                    <a:pt x="5" y="24"/>
                  </a:lnTo>
                  <a:lnTo>
                    <a:pt x="5" y="27"/>
                  </a:lnTo>
                  <a:lnTo>
                    <a:pt x="9" y="27"/>
                  </a:lnTo>
                  <a:lnTo>
                    <a:pt x="7" y="36"/>
                  </a:lnTo>
                  <a:lnTo>
                    <a:pt x="13" y="43"/>
                  </a:lnTo>
                  <a:lnTo>
                    <a:pt x="15" y="36"/>
                  </a:lnTo>
                  <a:lnTo>
                    <a:pt x="15" y="29"/>
                  </a:lnTo>
                  <a:lnTo>
                    <a:pt x="9" y="20"/>
                  </a:lnTo>
                  <a:lnTo>
                    <a:pt x="9" y="15"/>
                  </a:lnTo>
                  <a:lnTo>
                    <a:pt x="13" y="11"/>
                  </a:lnTo>
                  <a:lnTo>
                    <a:pt x="9" y="2"/>
                  </a:lnTo>
                  <a:lnTo>
                    <a:pt x="7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7" name="Freeform 1233"/>
            <p:cNvSpPr>
              <a:spLocks/>
            </p:cNvSpPr>
            <p:nvPr/>
          </p:nvSpPr>
          <p:spPr bwMode="auto">
            <a:xfrm>
              <a:off x="4728126" y="4980154"/>
              <a:ext cx="181743" cy="228187"/>
            </a:xfrm>
            <a:custGeom>
              <a:avLst/>
              <a:gdLst/>
              <a:ahLst/>
              <a:cxnLst>
                <a:cxn ang="0">
                  <a:pos x="19" y="39"/>
                </a:cxn>
                <a:cxn ang="0">
                  <a:pos x="12" y="37"/>
                </a:cxn>
                <a:cxn ang="0">
                  <a:pos x="10" y="30"/>
                </a:cxn>
                <a:cxn ang="0">
                  <a:pos x="4" y="25"/>
                </a:cxn>
                <a:cxn ang="0">
                  <a:pos x="0" y="16"/>
                </a:cxn>
                <a:cxn ang="0">
                  <a:pos x="8" y="16"/>
                </a:cxn>
                <a:cxn ang="0">
                  <a:pos x="17" y="5"/>
                </a:cxn>
                <a:cxn ang="0">
                  <a:pos x="19" y="3"/>
                </a:cxn>
                <a:cxn ang="0">
                  <a:pos x="25" y="0"/>
                </a:cxn>
                <a:cxn ang="0">
                  <a:pos x="25" y="3"/>
                </a:cxn>
                <a:cxn ang="0">
                  <a:pos x="27" y="3"/>
                </a:cxn>
                <a:cxn ang="0">
                  <a:pos x="35" y="5"/>
                </a:cxn>
                <a:cxn ang="0">
                  <a:pos x="35" y="12"/>
                </a:cxn>
                <a:cxn ang="0">
                  <a:pos x="35" y="28"/>
                </a:cxn>
                <a:cxn ang="0">
                  <a:pos x="27" y="43"/>
                </a:cxn>
                <a:cxn ang="0">
                  <a:pos x="25" y="39"/>
                </a:cxn>
                <a:cxn ang="0">
                  <a:pos x="21" y="39"/>
                </a:cxn>
                <a:cxn ang="0">
                  <a:pos x="19" y="39"/>
                </a:cxn>
              </a:cxnLst>
              <a:rect l="0" t="0" r="r" b="b"/>
              <a:pathLst>
                <a:path w="35" h="43">
                  <a:moveTo>
                    <a:pt x="19" y="39"/>
                  </a:moveTo>
                  <a:lnTo>
                    <a:pt x="12" y="37"/>
                  </a:lnTo>
                  <a:lnTo>
                    <a:pt x="10" y="30"/>
                  </a:lnTo>
                  <a:lnTo>
                    <a:pt x="4" y="25"/>
                  </a:lnTo>
                  <a:lnTo>
                    <a:pt x="0" y="16"/>
                  </a:lnTo>
                  <a:lnTo>
                    <a:pt x="8" y="16"/>
                  </a:lnTo>
                  <a:lnTo>
                    <a:pt x="17" y="5"/>
                  </a:lnTo>
                  <a:lnTo>
                    <a:pt x="19" y="3"/>
                  </a:lnTo>
                  <a:lnTo>
                    <a:pt x="25" y="0"/>
                  </a:lnTo>
                  <a:lnTo>
                    <a:pt x="25" y="3"/>
                  </a:lnTo>
                  <a:lnTo>
                    <a:pt x="27" y="3"/>
                  </a:lnTo>
                  <a:lnTo>
                    <a:pt x="35" y="5"/>
                  </a:lnTo>
                  <a:lnTo>
                    <a:pt x="35" y="12"/>
                  </a:lnTo>
                  <a:lnTo>
                    <a:pt x="35" y="28"/>
                  </a:lnTo>
                  <a:lnTo>
                    <a:pt x="27" y="43"/>
                  </a:lnTo>
                  <a:lnTo>
                    <a:pt x="25" y="39"/>
                  </a:lnTo>
                  <a:lnTo>
                    <a:pt x="21" y="39"/>
                  </a:lnTo>
                  <a:lnTo>
                    <a:pt x="19" y="3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8" name="Freeform 1234"/>
            <p:cNvSpPr>
              <a:spLocks/>
            </p:cNvSpPr>
            <p:nvPr/>
          </p:nvSpPr>
          <p:spPr bwMode="auto">
            <a:xfrm>
              <a:off x="4520418" y="5187115"/>
              <a:ext cx="379066" cy="392694"/>
            </a:xfrm>
            <a:custGeom>
              <a:avLst/>
              <a:gdLst/>
              <a:ahLst/>
              <a:cxnLst>
                <a:cxn ang="0">
                  <a:pos x="59" y="0"/>
                </a:cxn>
                <a:cxn ang="0">
                  <a:pos x="65" y="0"/>
                </a:cxn>
                <a:cxn ang="0">
                  <a:pos x="67" y="4"/>
                </a:cxn>
                <a:cxn ang="0">
                  <a:pos x="71" y="22"/>
                </a:cxn>
                <a:cxn ang="0">
                  <a:pos x="67" y="22"/>
                </a:cxn>
                <a:cxn ang="0">
                  <a:pos x="65" y="29"/>
                </a:cxn>
                <a:cxn ang="0">
                  <a:pos x="67" y="29"/>
                </a:cxn>
                <a:cxn ang="0">
                  <a:pos x="71" y="25"/>
                </a:cxn>
                <a:cxn ang="0">
                  <a:pos x="73" y="25"/>
                </a:cxn>
                <a:cxn ang="0">
                  <a:pos x="73" y="29"/>
                </a:cxn>
                <a:cxn ang="0">
                  <a:pos x="71" y="38"/>
                </a:cxn>
                <a:cxn ang="0">
                  <a:pos x="67" y="40"/>
                </a:cxn>
                <a:cxn ang="0">
                  <a:pos x="63" y="49"/>
                </a:cxn>
                <a:cxn ang="0">
                  <a:pos x="52" y="63"/>
                </a:cxn>
                <a:cxn ang="0">
                  <a:pos x="44" y="67"/>
                </a:cxn>
                <a:cxn ang="0">
                  <a:pos x="36" y="72"/>
                </a:cxn>
                <a:cxn ang="0">
                  <a:pos x="25" y="67"/>
                </a:cxn>
                <a:cxn ang="0">
                  <a:pos x="15" y="74"/>
                </a:cxn>
                <a:cxn ang="0">
                  <a:pos x="11" y="74"/>
                </a:cxn>
                <a:cxn ang="0">
                  <a:pos x="9" y="67"/>
                </a:cxn>
                <a:cxn ang="0">
                  <a:pos x="9" y="72"/>
                </a:cxn>
                <a:cxn ang="0">
                  <a:pos x="4" y="63"/>
                </a:cxn>
                <a:cxn ang="0">
                  <a:pos x="9" y="63"/>
                </a:cxn>
                <a:cxn ang="0">
                  <a:pos x="4" y="56"/>
                </a:cxn>
                <a:cxn ang="0">
                  <a:pos x="0" y="40"/>
                </a:cxn>
                <a:cxn ang="0">
                  <a:pos x="0" y="38"/>
                </a:cxn>
                <a:cxn ang="0">
                  <a:pos x="0" y="34"/>
                </a:cxn>
                <a:cxn ang="0">
                  <a:pos x="2" y="38"/>
                </a:cxn>
                <a:cxn ang="0">
                  <a:pos x="4" y="40"/>
                </a:cxn>
                <a:cxn ang="0">
                  <a:pos x="11" y="40"/>
                </a:cxn>
                <a:cxn ang="0">
                  <a:pos x="15" y="38"/>
                </a:cxn>
                <a:cxn ang="0">
                  <a:pos x="15" y="16"/>
                </a:cxn>
                <a:cxn ang="0">
                  <a:pos x="19" y="20"/>
                </a:cxn>
                <a:cxn ang="0">
                  <a:pos x="17" y="25"/>
                </a:cxn>
                <a:cxn ang="0">
                  <a:pos x="19" y="29"/>
                </a:cxn>
                <a:cxn ang="0">
                  <a:pos x="25" y="25"/>
                </a:cxn>
                <a:cxn ang="0">
                  <a:pos x="32" y="20"/>
                </a:cxn>
                <a:cxn ang="0">
                  <a:pos x="36" y="20"/>
                </a:cxn>
                <a:cxn ang="0">
                  <a:pos x="40" y="20"/>
                </a:cxn>
                <a:cxn ang="0">
                  <a:pos x="50" y="7"/>
                </a:cxn>
                <a:cxn ang="0">
                  <a:pos x="54" y="4"/>
                </a:cxn>
                <a:cxn ang="0">
                  <a:pos x="59" y="0"/>
                </a:cxn>
              </a:cxnLst>
              <a:rect l="0" t="0" r="r" b="b"/>
              <a:pathLst>
                <a:path w="73" h="74">
                  <a:moveTo>
                    <a:pt x="59" y="0"/>
                  </a:moveTo>
                  <a:lnTo>
                    <a:pt x="65" y="0"/>
                  </a:lnTo>
                  <a:lnTo>
                    <a:pt x="67" y="4"/>
                  </a:lnTo>
                  <a:lnTo>
                    <a:pt x="71" y="22"/>
                  </a:lnTo>
                  <a:lnTo>
                    <a:pt x="67" y="22"/>
                  </a:lnTo>
                  <a:lnTo>
                    <a:pt x="65" y="29"/>
                  </a:lnTo>
                  <a:lnTo>
                    <a:pt x="67" y="29"/>
                  </a:lnTo>
                  <a:lnTo>
                    <a:pt x="71" y="25"/>
                  </a:lnTo>
                  <a:lnTo>
                    <a:pt x="73" y="25"/>
                  </a:lnTo>
                  <a:lnTo>
                    <a:pt x="73" y="29"/>
                  </a:lnTo>
                  <a:lnTo>
                    <a:pt x="71" y="38"/>
                  </a:lnTo>
                  <a:lnTo>
                    <a:pt x="67" y="40"/>
                  </a:lnTo>
                  <a:lnTo>
                    <a:pt x="63" y="49"/>
                  </a:lnTo>
                  <a:lnTo>
                    <a:pt x="52" y="63"/>
                  </a:lnTo>
                  <a:lnTo>
                    <a:pt x="44" y="67"/>
                  </a:lnTo>
                  <a:lnTo>
                    <a:pt x="36" y="72"/>
                  </a:lnTo>
                  <a:lnTo>
                    <a:pt x="25" y="67"/>
                  </a:lnTo>
                  <a:lnTo>
                    <a:pt x="15" y="74"/>
                  </a:lnTo>
                  <a:lnTo>
                    <a:pt x="11" y="74"/>
                  </a:lnTo>
                  <a:lnTo>
                    <a:pt x="9" y="67"/>
                  </a:lnTo>
                  <a:lnTo>
                    <a:pt x="9" y="72"/>
                  </a:lnTo>
                  <a:lnTo>
                    <a:pt x="4" y="63"/>
                  </a:lnTo>
                  <a:lnTo>
                    <a:pt x="9" y="63"/>
                  </a:lnTo>
                  <a:lnTo>
                    <a:pt x="4" y="56"/>
                  </a:lnTo>
                  <a:lnTo>
                    <a:pt x="0" y="40"/>
                  </a:lnTo>
                  <a:lnTo>
                    <a:pt x="0" y="38"/>
                  </a:lnTo>
                  <a:lnTo>
                    <a:pt x="0" y="34"/>
                  </a:lnTo>
                  <a:lnTo>
                    <a:pt x="2" y="38"/>
                  </a:lnTo>
                  <a:lnTo>
                    <a:pt x="4" y="40"/>
                  </a:lnTo>
                  <a:lnTo>
                    <a:pt x="11" y="40"/>
                  </a:lnTo>
                  <a:lnTo>
                    <a:pt x="15" y="38"/>
                  </a:lnTo>
                  <a:lnTo>
                    <a:pt x="15" y="16"/>
                  </a:lnTo>
                  <a:lnTo>
                    <a:pt x="19" y="20"/>
                  </a:lnTo>
                  <a:lnTo>
                    <a:pt x="17" y="25"/>
                  </a:lnTo>
                  <a:lnTo>
                    <a:pt x="19" y="29"/>
                  </a:lnTo>
                  <a:lnTo>
                    <a:pt x="25" y="25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50" y="7"/>
                  </a:lnTo>
                  <a:lnTo>
                    <a:pt x="54" y="4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9" name="Freeform 1235"/>
            <p:cNvSpPr>
              <a:spLocks/>
            </p:cNvSpPr>
            <p:nvPr/>
          </p:nvSpPr>
          <p:spPr bwMode="auto">
            <a:xfrm>
              <a:off x="4400987" y="5033221"/>
              <a:ext cx="327140" cy="366161"/>
            </a:xfrm>
            <a:custGeom>
              <a:avLst/>
              <a:gdLst/>
              <a:ahLst/>
              <a:cxnLst>
                <a:cxn ang="0">
                  <a:pos x="38" y="45"/>
                </a:cxn>
                <a:cxn ang="0">
                  <a:pos x="38" y="29"/>
                </a:cxn>
                <a:cxn ang="0">
                  <a:pos x="42" y="27"/>
                </a:cxn>
                <a:cxn ang="0">
                  <a:pos x="42" y="9"/>
                </a:cxn>
                <a:cxn ang="0">
                  <a:pos x="55" y="6"/>
                </a:cxn>
                <a:cxn ang="0">
                  <a:pos x="55" y="9"/>
                </a:cxn>
                <a:cxn ang="0">
                  <a:pos x="57" y="6"/>
                </a:cxn>
                <a:cxn ang="0">
                  <a:pos x="63" y="6"/>
                </a:cxn>
                <a:cxn ang="0">
                  <a:pos x="57" y="2"/>
                </a:cxn>
                <a:cxn ang="0">
                  <a:pos x="55" y="2"/>
                </a:cxn>
                <a:cxn ang="0">
                  <a:pos x="46" y="6"/>
                </a:cxn>
                <a:cxn ang="0">
                  <a:pos x="34" y="6"/>
                </a:cxn>
                <a:cxn ang="0">
                  <a:pos x="32" y="2"/>
                </a:cxn>
                <a:cxn ang="0">
                  <a:pos x="11" y="2"/>
                </a:cxn>
                <a:cxn ang="0">
                  <a:pos x="9" y="0"/>
                </a:cxn>
                <a:cxn ang="0">
                  <a:pos x="0" y="2"/>
                </a:cxn>
                <a:cxn ang="0">
                  <a:pos x="0" y="6"/>
                </a:cxn>
                <a:cxn ang="0">
                  <a:pos x="15" y="29"/>
                </a:cxn>
                <a:cxn ang="0">
                  <a:pos x="15" y="38"/>
                </a:cxn>
                <a:cxn ang="0">
                  <a:pos x="17" y="60"/>
                </a:cxn>
                <a:cxn ang="0">
                  <a:pos x="23" y="67"/>
                </a:cxn>
                <a:cxn ang="0">
                  <a:pos x="23" y="63"/>
                </a:cxn>
                <a:cxn ang="0">
                  <a:pos x="25" y="67"/>
                </a:cxn>
                <a:cxn ang="0">
                  <a:pos x="27" y="69"/>
                </a:cxn>
                <a:cxn ang="0">
                  <a:pos x="34" y="69"/>
                </a:cxn>
                <a:cxn ang="0">
                  <a:pos x="38" y="67"/>
                </a:cxn>
                <a:cxn ang="0">
                  <a:pos x="38" y="56"/>
                </a:cxn>
                <a:cxn ang="0">
                  <a:pos x="38" y="45"/>
                </a:cxn>
              </a:cxnLst>
              <a:rect l="0" t="0" r="r" b="b"/>
              <a:pathLst>
                <a:path w="63" h="69">
                  <a:moveTo>
                    <a:pt x="38" y="45"/>
                  </a:moveTo>
                  <a:lnTo>
                    <a:pt x="38" y="29"/>
                  </a:lnTo>
                  <a:lnTo>
                    <a:pt x="42" y="27"/>
                  </a:lnTo>
                  <a:lnTo>
                    <a:pt x="42" y="9"/>
                  </a:lnTo>
                  <a:lnTo>
                    <a:pt x="55" y="6"/>
                  </a:lnTo>
                  <a:lnTo>
                    <a:pt x="55" y="9"/>
                  </a:lnTo>
                  <a:lnTo>
                    <a:pt x="57" y="6"/>
                  </a:lnTo>
                  <a:lnTo>
                    <a:pt x="63" y="6"/>
                  </a:lnTo>
                  <a:lnTo>
                    <a:pt x="57" y="2"/>
                  </a:lnTo>
                  <a:lnTo>
                    <a:pt x="55" y="2"/>
                  </a:lnTo>
                  <a:lnTo>
                    <a:pt x="46" y="6"/>
                  </a:lnTo>
                  <a:lnTo>
                    <a:pt x="34" y="6"/>
                  </a:lnTo>
                  <a:lnTo>
                    <a:pt x="32" y="2"/>
                  </a:lnTo>
                  <a:lnTo>
                    <a:pt x="11" y="2"/>
                  </a:lnTo>
                  <a:lnTo>
                    <a:pt x="9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15" y="29"/>
                  </a:lnTo>
                  <a:lnTo>
                    <a:pt x="15" y="38"/>
                  </a:lnTo>
                  <a:lnTo>
                    <a:pt x="17" y="60"/>
                  </a:lnTo>
                  <a:lnTo>
                    <a:pt x="23" y="67"/>
                  </a:lnTo>
                  <a:lnTo>
                    <a:pt x="23" y="63"/>
                  </a:lnTo>
                  <a:lnTo>
                    <a:pt x="25" y="67"/>
                  </a:lnTo>
                  <a:lnTo>
                    <a:pt x="27" y="69"/>
                  </a:lnTo>
                  <a:lnTo>
                    <a:pt x="34" y="69"/>
                  </a:lnTo>
                  <a:lnTo>
                    <a:pt x="38" y="67"/>
                  </a:lnTo>
                  <a:lnTo>
                    <a:pt x="38" y="56"/>
                  </a:lnTo>
                  <a:lnTo>
                    <a:pt x="38" y="4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0" name="Freeform 1236"/>
            <p:cNvSpPr>
              <a:spLocks/>
            </p:cNvSpPr>
            <p:nvPr/>
          </p:nvSpPr>
          <p:spPr bwMode="auto">
            <a:xfrm>
              <a:off x="4400987" y="4682981"/>
              <a:ext cx="306369" cy="382081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9" y="0"/>
                </a:cxn>
                <a:cxn ang="0">
                  <a:pos x="23" y="0"/>
                </a:cxn>
                <a:cxn ang="0">
                  <a:pos x="25" y="9"/>
                </a:cxn>
                <a:cxn ang="0">
                  <a:pos x="27" y="14"/>
                </a:cxn>
                <a:cxn ang="0">
                  <a:pos x="38" y="14"/>
                </a:cxn>
                <a:cxn ang="0">
                  <a:pos x="38" y="7"/>
                </a:cxn>
                <a:cxn ang="0">
                  <a:pos x="42" y="7"/>
                </a:cxn>
                <a:cxn ang="0">
                  <a:pos x="48" y="9"/>
                </a:cxn>
                <a:cxn ang="0">
                  <a:pos x="48" y="23"/>
                </a:cxn>
                <a:cxn ang="0">
                  <a:pos x="50" y="29"/>
                </a:cxn>
                <a:cxn ang="0">
                  <a:pos x="48" y="32"/>
                </a:cxn>
                <a:cxn ang="0">
                  <a:pos x="59" y="29"/>
                </a:cxn>
                <a:cxn ang="0">
                  <a:pos x="57" y="41"/>
                </a:cxn>
                <a:cxn ang="0">
                  <a:pos x="59" y="41"/>
                </a:cxn>
                <a:cxn ang="0">
                  <a:pos x="48" y="43"/>
                </a:cxn>
                <a:cxn ang="0">
                  <a:pos x="48" y="61"/>
                </a:cxn>
                <a:cxn ang="0">
                  <a:pos x="55" y="68"/>
                </a:cxn>
                <a:cxn ang="0">
                  <a:pos x="46" y="72"/>
                </a:cxn>
                <a:cxn ang="0">
                  <a:pos x="34" y="72"/>
                </a:cxn>
                <a:cxn ang="0">
                  <a:pos x="32" y="68"/>
                </a:cxn>
                <a:cxn ang="0">
                  <a:pos x="11" y="68"/>
                </a:cxn>
                <a:cxn ang="0">
                  <a:pos x="9" y="66"/>
                </a:cxn>
                <a:cxn ang="0">
                  <a:pos x="0" y="68"/>
                </a:cxn>
                <a:cxn ang="0">
                  <a:pos x="0" y="59"/>
                </a:cxn>
                <a:cxn ang="0">
                  <a:pos x="7" y="43"/>
                </a:cxn>
                <a:cxn ang="0">
                  <a:pos x="9" y="38"/>
                </a:cxn>
                <a:cxn ang="0">
                  <a:pos x="11" y="32"/>
                </a:cxn>
                <a:cxn ang="0">
                  <a:pos x="7" y="18"/>
                </a:cxn>
                <a:cxn ang="0">
                  <a:pos x="9" y="16"/>
                </a:cxn>
                <a:cxn ang="0">
                  <a:pos x="2" y="5"/>
                </a:cxn>
                <a:cxn ang="0">
                  <a:pos x="4" y="2"/>
                </a:cxn>
                <a:cxn ang="0">
                  <a:pos x="9" y="0"/>
                </a:cxn>
              </a:cxnLst>
              <a:rect l="0" t="0" r="r" b="b"/>
              <a:pathLst>
                <a:path w="59" h="72">
                  <a:moveTo>
                    <a:pt x="9" y="0"/>
                  </a:moveTo>
                  <a:lnTo>
                    <a:pt x="19" y="0"/>
                  </a:lnTo>
                  <a:lnTo>
                    <a:pt x="23" y="0"/>
                  </a:lnTo>
                  <a:lnTo>
                    <a:pt x="25" y="9"/>
                  </a:lnTo>
                  <a:lnTo>
                    <a:pt x="27" y="14"/>
                  </a:lnTo>
                  <a:lnTo>
                    <a:pt x="38" y="14"/>
                  </a:lnTo>
                  <a:lnTo>
                    <a:pt x="38" y="7"/>
                  </a:lnTo>
                  <a:lnTo>
                    <a:pt x="42" y="7"/>
                  </a:lnTo>
                  <a:lnTo>
                    <a:pt x="48" y="9"/>
                  </a:lnTo>
                  <a:lnTo>
                    <a:pt x="48" y="23"/>
                  </a:lnTo>
                  <a:lnTo>
                    <a:pt x="50" y="29"/>
                  </a:lnTo>
                  <a:lnTo>
                    <a:pt x="48" y="32"/>
                  </a:lnTo>
                  <a:lnTo>
                    <a:pt x="59" y="29"/>
                  </a:lnTo>
                  <a:lnTo>
                    <a:pt x="57" y="41"/>
                  </a:lnTo>
                  <a:lnTo>
                    <a:pt x="59" y="41"/>
                  </a:lnTo>
                  <a:lnTo>
                    <a:pt x="48" y="43"/>
                  </a:lnTo>
                  <a:lnTo>
                    <a:pt x="48" y="61"/>
                  </a:lnTo>
                  <a:lnTo>
                    <a:pt x="55" y="68"/>
                  </a:lnTo>
                  <a:lnTo>
                    <a:pt x="46" y="72"/>
                  </a:lnTo>
                  <a:lnTo>
                    <a:pt x="34" y="72"/>
                  </a:lnTo>
                  <a:lnTo>
                    <a:pt x="32" y="68"/>
                  </a:lnTo>
                  <a:lnTo>
                    <a:pt x="11" y="68"/>
                  </a:lnTo>
                  <a:lnTo>
                    <a:pt x="9" y="66"/>
                  </a:lnTo>
                  <a:lnTo>
                    <a:pt x="0" y="68"/>
                  </a:lnTo>
                  <a:lnTo>
                    <a:pt x="0" y="59"/>
                  </a:lnTo>
                  <a:lnTo>
                    <a:pt x="7" y="43"/>
                  </a:lnTo>
                  <a:lnTo>
                    <a:pt x="9" y="38"/>
                  </a:lnTo>
                  <a:lnTo>
                    <a:pt x="11" y="32"/>
                  </a:lnTo>
                  <a:lnTo>
                    <a:pt x="7" y="18"/>
                  </a:lnTo>
                  <a:lnTo>
                    <a:pt x="9" y="16"/>
                  </a:lnTo>
                  <a:lnTo>
                    <a:pt x="2" y="5"/>
                  </a:lnTo>
                  <a:lnTo>
                    <a:pt x="4" y="2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1" name="Freeform 1237"/>
            <p:cNvSpPr>
              <a:spLocks/>
            </p:cNvSpPr>
            <p:nvPr/>
          </p:nvSpPr>
          <p:spPr bwMode="auto">
            <a:xfrm>
              <a:off x="4411372" y="4635220"/>
              <a:ext cx="25963" cy="47760"/>
            </a:xfrm>
            <a:custGeom>
              <a:avLst/>
              <a:gdLst/>
              <a:ahLst/>
              <a:cxnLst>
                <a:cxn ang="0">
                  <a:pos x="5" y="5"/>
                </a:cxn>
                <a:cxn ang="0">
                  <a:pos x="0" y="5"/>
                </a:cxn>
                <a:cxn ang="0">
                  <a:pos x="0" y="9"/>
                </a:cxn>
                <a:cxn ang="0">
                  <a:pos x="0" y="7"/>
                </a:cxn>
                <a:cxn ang="0">
                  <a:pos x="0" y="5"/>
                </a:cxn>
                <a:cxn ang="0">
                  <a:pos x="5" y="0"/>
                </a:cxn>
                <a:cxn ang="0">
                  <a:pos x="5" y="2"/>
                </a:cxn>
                <a:cxn ang="0">
                  <a:pos x="5" y="5"/>
                </a:cxn>
              </a:cxnLst>
              <a:rect l="0" t="0" r="r" b="b"/>
              <a:pathLst>
                <a:path w="5" h="9">
                  <a:moveTo>
                    <a:pt x="5" y="5"/>
                  </a:moveTo>
                  <a:lnTo>
                    <a:pt x="0" y="5"/>
                  </a:lnTo>
                  <a:lnTo>
                    <a:pt x="0" y="9"/>
                  </a:lnTo>
                  <a:lnTo>
                    <a:pt x="0" y="7"/>
                  </a:lnTo>
                  <a:lnTo>
                    <a:pt x="0" y="5"/>
                  </a:lnTo>
                  <a:lnTo>
                    <a:pt x="5" y="0"/>
                  </a:lnTo>
                  <a:lnTo>
                    <a:pt x="5" y="2"/>
                  </a:lnTo>
                  <a:lnTo>
                    <a:pt x="5" y="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2" name="Freeform 1238"/>
            <p:cNvSpPr>
              <a:spLocks/>
            </p:cNvSpPr>
            <p:nvPr/>
          </p:nvSpPr>
          <p:spPr bwMode="auto">
            <a:xfrm>
              <a:off x="4328290" y="4109860"/>
              <a:ext cx="171359" cy="344934"/>
            </a:xfrm>
            <a:custGeom>
              <a:avLst/>
              <a:gdLst/>
              <a:ahLst/>
              <a:cxnLst>
                <a:cxn ang="0">
                  <a:pos x="25" y="0"/>
                </a:cxn>
                <a:cxn ang="0">
                  <a:pos x="25" y="2"/>
                </a:cxn>
                <a:cxn ang="0">
                  <a:pos x="25" y="9"/>
                </a:cxn>
                <a:cxn ang="0">
                  <a:pos x="23" y="11"/>
                </a:cxn>
                <a:cxn ang="0">
                  <a:pos x="21" y="23"/>
                </a:cxn>
                <a:cxn ang="0">
                  <a:pos x="16" y="27"/>
                </a:cxn>
                <a:cxn ang="0">
                  <a:pos x="14" y="36"/>
                </a:cxn>
                <a:cxn ang="0">
                  <a:pos x="12" y="38"/>
                </a:cxn>
                <a:cxn ang="0">
                  <a:pos x="8" y="36"/>
                </a:cxn>
                <a:cxn ang="0">
                  <a:pos x="6" y="36"/>
                </a:cxn>
                <a:cxn ang="0">
                  <a:pos x="0" y="47"/>
                </a:cxn>
                <a:cxn ang="0">
                  <a:pos x="0" y="52"/>
                </a:cxn>
                <a:cxn ang="0">
                  <a:pos x="2" y="52"/>
                </a:cxn>
                <a:cxn ang="0">
                  <a:pos x="6" y="56"/>
                </a:cxn>
                <a:cxn ang="0">
                  <a:pos x="6" y="63"/>
                </a:cxn>
                <a:cxn ang="0">
                  <a:pos x="12" y="63"/>
                </a:cxn>
                <a:cxn ang="0">
                  <a:pos x="23" y="63"/>
                </a:cxn>
                <a:cxn ang="0">
                  <a:pos x="33" y="65"/>
                </a:cxn>
                <a:cxn ang="0">
                  <a:pos x="33" y="56"/>
                </a:cxn>
                <a:cxn ang="0">
                  <a:pos x="29" y="47"/>
                </a:cxn>
                <a:cxn ang="0">
                  <a:pos x="29" y="41"/>
                </a:cxn>
                <a:cxn ang="0">
                  <a:pos x="31" y="32"/>
                </a:cxn>
                <a:cxn ang="0">
                  <a:pos x="29" y="23"/>
                </a:cxn>
                <a:cxn ang="0">
                  <a:pos x="25" y="20"/>
                </a:cxn>
                <a:cxn ang="0">
                  <a:pos x="25" y="18"/>
                </a:cxn>
                <a:cxn ang="0">
                  <a:pos x="31" y="18"/>
                </a:cxn>
                <a:cxn ang="0">
                  <a:pos x="29" y="11"/>
                </a:cxn>
                <a:cxn ang="0">
                  <a:pos x="29" y="2"/>
                </a:cxn>
                <a:cxn ang="0">
                  <a:pos x="27" y="2"/>
                </a:cxn>
                <a:cxn ang="0">
                  <a:pos x="25" y="0"/>
                </a:cxn>
              </a:cxnLst>
              <a:rect l="0" t="0" r="r" b="b"/>
              <a:pathLst>
                <a:path w="33" h="65">
                  <a:moveTo>
                    <a:pt x="25" y="0"/>
                  </a:moveTo>
                  <a:lnTo>
                    <a:pt x="25" y="2"/>
                  </a:lnTo>
                  <a:lnTo>
                    <a:pt x="25" y="9"/>
                  </a:lnTo>
                  <a:lnTo>
                    <a:pt x="23" y="11"/>
                  </a:lnTo>
                  <a:lnTo>
                    <a:pt x="21" y="23"/>
                  </a:lnTo>
                  <a:lnTo>
                    <a:pt x="16" y="27"/>
                  </a:lnTo>
                  <a:lnTo>
                    <a:pt x="14" y="36"/>
                  </a:lnTo>
                  <a:lnTo>
                    <a:pt x="12" y="38"/>
                  </a:lnTo>
                  <a:lnTo>
                    <a:pt x="8" y="36"/>
                  </a:lnTo>
                  <a:lnTo>
                    <a:pt x="6" y="36"/>
                  </a:lnTo>
                  <a:lnTo>
                    <a:pt x="0" y="47"/>
                  </a:lnTo>
                  <a:lnTo>
                    <a:pt x="0" y="52"/>
                  </a:lnTo>
                  <a:lnTo>
                    <a:pt x="2" y="52"/>
                  </a:lnTo>
                  <a:lnTo>
                    <a:pt x="6" y="56"/>
                  </a:lnTo>
                  <a:lnTo>
                    <a:pt x="6" y="63"/>
                  </a:lnTo>
                  <a:lnTo>
                    <a:pt x="12" y="63"/>
                  </a:lnTo>
                  <a:lnTo>
                    <a:pt x="23" y="63"/>
                  </a:lnTo>
                  <a:lnTo>
                    <a:pt x="33" y="65"/>
                  </a:lnTo>
                  <a:lnTo>
                    <a:pt x="33" y="56"/>
                  </a:lnTo>
                  <a:lnTo>
                    <a:pt x="29" y="47"/>
                  </a:lnTo>
                  <a:lnTo>
                    <a:pt x="29" y="41"/>
                  </a:lnTo>
                  <a:lnTo>
                    <a:pt x="31" y="32"/>
                  </a:lnTo>
                  <a:lnTo>
                    <a:pt x="29" y="23"/>
                  </a:lnTo>
                  <a:lnTo>
                    <a:pt x="25" y="20"/>
                  </a:lnTo>
                  <a:lnTo>
                    <a:pt x="25" y="18"/>
                  </a:lnTo>
                  <a:lnTo>
                    <a:pt x="31" y="18"/>
                  </a:lnTo>
                  <a:lnTo>
                    <a:pt x="29" y="11"/>
                  </a:lnTo>
                  <a:lnTo>
                    <a:pt x="29" y="2"/>
                  </a:lnTo>
                  <a:lnTo>
                    <a:pt x="27" y="2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3" name="Freeform 1239"/>
            <p:cNvSpPr>
              <a:spLocks/>
            </p:cNvSpPr>
            <p:nvPr/>
          </p:nvSpPr>
          <p:spPr bwMode="auto">
            <a:xfrm>
              <a:off x="4390601" y="4396420"/>
              <a:ext cx="186937" cy="265334"/>
            </a:xfrm>
            <a:custGeom>
              <a:avLst/>
              <a:gdLst/>
              <a:ahLst/>
              <a:cxnLst>
                <a:cxn ang="0">
                  <a:pos x="9" y="45"/>
                </a:cxn>
                <a:cxn ang="0">
                  <a:pos x="9" y="50"/>
                </a:cxn>
                <a:cxn ang="0">
                  <a:pos x="11" y="50"/>
                </a:cxn>
                <a:cxn ang="0">
                  <a:pos x="13" y="45"/>
                </a:cxn>
                <a:cxn ang="0">
                  <a:pos x="17" y="50"/>
                </a:cxn>
                <a:cxn ang="0">
                  <a:pos x="21" y="43"/>
                </a:cxn>
                <a:cxn ang="0">
                  <a:pos x="25" y="34"/>
                </a:cxn>
                <a:cxn ang="0">
                  <a:pos x="29" y="25"/>
                </a:cxn>
                <a:cxn ang="0">
                  <a:pos x="34" y="9"/>
                </a:cxn>
                <a:cxn ang="0">
                  <a:pos x="36" y="0"/>
                </a:cxn>
                <a:cxn ang="0">
                  <a:pos x="29" y="0"/>
                </a:cxn>
                <a:cxn ang="0">
                  <a:pos x="27" y="0"/>
                </a:cxn>
                <a:cxn ang="0">
                  <a:pos x="25" y="0"/>
                </a:cxn>
                <a:cxn ang="0">
                  <a:pos x="21" y="2"/>
                </a:cxn>
                <a:cxn ang="0">
                  <a:pos x="21" y="11"/>
                </a:cxn>
                <a:cxn ang="0">
                  <a:pos x="11" y="9"/>
                </a:cxn>
                <a:cxn ang="0">
                  <a:pos x="13" y="9"/>
                </a:cxn>
                <a:cxn ang="0">
                  <a:pos x="13" y="11"/>
                </a:cxn>
                <a:cxn ang="0">
                  <a:pos x="13" y="16"/>
                </a:cxn>
                <a:cxn ang="0">
                  <a:pos x="13" y="18"/>
                </a:cxn>
                <a:cxn ang="0">
                  <a:pos x="13" y="27"/>
                </a:cxn>
                <a:cxn ang="0">
                  <a:pos x="13" y="34"/>
                </a:cxn>
                <a:cxn ang="0">
                  <a:pos x="9" y="29"/>
                </a:cxn>
                <a:cxn ang="0">
                  <a:pos x="2" y="36"/>
                </a:cxn>
                <a:cxn ang="0">
                  <a:pos x="2" y="41"/>
                </a:cxn>
                <a:cxn ang="0">
                  <a:pos x="0" y="45"/>
                </a:cxn>
                <a:cxn ang="0">
                  <a:pos x="4" y="50"/>
                </a:cxn>
                <a:cxn ang="0">
                  <a:pos x="6" y="47"/>
                </a:cxn>
                <a:cxn ang="0">
                  <a:pos x="9" y="45"/>
                </a:cxn>
              </a:cxnLst>
              <a:rect l="0" t="0" r="r" b="b"/>
              <a:pathLst>
                <a:path w="36" h="50">
                  <a:moveTo>
                    <a:pt x="9" y="45"/>
                  </a:moveTo>
                  <a:lnTo>
                    <a:pt x="9" y="50"/>
                  </a:lnTo>
                  <a:lnTo>
                    <a:pt x="11" y="50"/>
                  </a:lnTo>
                  <a:lnTo>
                    <a:pt x="13" y="45"/>
                  </a:lnTo>
                  <a:lnTo>
                    <a:pt x="17" y="50"/>
                  </a:lnTo>
                  <a:lnTo>
                    <a:pt x="21" y="43"/>
                  </a:lnTo>
                  <a:lnTo>
                    <a:pt x="25" y="34"/>
                  </a:lnTo>
                  <a:lnTo>
                    <a:pt x="29" y="25"/>
                  </a:lnTo>
                  <a:lnTo>
                    <a:pt x="34" y="9"/>
                  </a:lnTo>
                  <a:lnTo>
                    <a:pt x="36" y="0"/>
                  </a:lnTo>
                  <a:lnTo>
                    <a:pt x="29" y="0"/>
                  </a:lnTo>
                  <a:lnTo>
                    <a:pt x="27" y="0"/>
                  </a:lnTo>
                  <a:lnTo>
                    <a:pt x="25" y="0"/>
                  </a:lnTo>
                  <a:lnTo>
                    <a:pt x="21" y="2"/>
                  </a:lnTo>
                  <a:lnTo>
                    <a:pt x="21" y="11"/>
                  </a:lnTo>
                  <a:lnTo>
                    <a:pt x="11" y="9"/>
                  </a:lnTo>
                  <a:lnTo>
                    <a:pt x="13" y="9"/>
                  </a:lnTo>
                  <a:lnTo>
                    <a:pt x="13" y="11"/>
                  </a:lnTo>
                  <a:lnTo>
                    <a:pt x="13" y="16"/>
                  </a:lnTo>
                  <a:lnTo>
                    <a:pt x="13" y="18"/>
                  </a:lnTo>
                  <a:lnTo>
                    <a:pt x="13" y="27"/>
                  </a:lnTo>
                  <a:lnTo>
                    <a:pt x="13" y="34"/>
                  </a:lnTo>
                  <a:lnTo>
                    <a:pt x="9" y="29"/>
                  </a:lnTo>
                  <a:lnTo>
                    <a:pt x="2" y="36"/>
                  </a:lnTo>
                  <a:lnTo>
                    <a:pt x="2" y="41"/>
                  </a:lnTo>
                  <a:lnTo>
                    <a:pt x="0" y="45"/>
                  </a:lnTo>
                  <a:lnTo>
                    <a:pt x="4" y="50"/>
                  </a:lnTo>
                  <a:lnTo>
                    <a:pt x="6" y="47"/>
                  </a:lnTo>
                  <a:lnTo>
                    <a:pt x="9" y="4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4" name="Freeform 1240"/>
            <p:cNvSpPr>
              <a:spLocks/>
            </p:cNvSpPr>
            <p:nvPr/>
          </p:nvSpPr>
          <p:spPr bwMode="auto">
            <a:xfrm>
              <a:off x="4328290" y="4444180"/>
              <a:ext cx="129817" cy="191040"/>
            </a:xfrm>
            <a:custGeom>
              <a:avLst/>
              <a:gdLst/>
              <a:ahLst/>
              <a:cxnLst>
                <a:cxn ang="0">
                  <a:pos x="25" y="0"/>
                </a:cxn>
                <a:cxn ang="0">
                  <a:pos x="25" y="2"/>
                </a:cxn>
                <a:cxn ang="0">
                  <a:pos x="25" y="7"/>
                </a:cxn>
                <a:cxn ang="0">
                  <a:pos x="25" y="9"/>
                </a:cxn>
                <a:cxn ang="0">
                  <a:pos x="25" y="18"/>
                </a:cxn>
                <a:cxn ang="0">
                  <a:pos x="25" y="25"/>
                </a:cxn>
                <a:cxn ang="0">
                  <a:pos x="21" y="20"/>
                </a:cxn>
                <a:cxn ang="0">
                  <a:pos x="14" y="27"/>
                </a:cxn>
                <a:cxn ang="0">
                  <a:pos x="14" y="32"/>
                </a:cxn>
                <a:cxn ang="0">
                  <a:pos x="12" y="36"/>
                </a:cxn>
                <a:cxn ang="0">
                  <a:pos x="6" y="27"/>
                </a:cxn>
                <a:cxn ang="0">
                  <a:pos x="0" y="16"/>
                </a:cxn>
                <a:cxn ang="0">
                  <a:pos x="2" y="16"/>
                </a:cxn>
                <a:cxn ang="0">
                  <a:pos x="2" y="11"/>
                </a:cxn>
                <a:cxn ang="0">
                  <a:pos x="6" y="7"/>
                </a:cxn>
                <a:cxn ang="0">
                  <a:pos x="12" y="7"/>
                </a:cxn>
                <a:cxn ang="0">
                  <a:pos x="12" y="0"/>
                </a:cxn>
                <a:cxn ang="0">
                  <a:pos x="23" y="0"/>
                </a:cxn>
                <a:cxn ang="0">
                  <a:pos x="25" y="0"/>
                </a:cxn>
              </a:cxnLst>
              <a:rect l="0" t="0" r="r" b="b"/>
              <a:pathLst>
                <a:path w="25" h="36">
                  <a:moveTo>
                    <a:pt x="25" y="0"/>
                  </a:moveTo>
                  <a:lnTo>
                    <a:pt x="25" y="2"/>
                  </a:lnTo>
                  <a:lnTo>
                    <a:pt x="25" y="7"/>
                  </a:lnTo>
                  <a:lnTo>
                    <a:pt x="25" y="9"/>
                  </a:lnTo>
                  <a:lnTo>
                    <a:pt x="25" y="18"/>
                  </a:lnTo>
                  <a:lnTo>
                    <a:pt x="25" y="25"/>
                  </a:lnTo>
                  <a:lnTo>
                    <a:pt x="21" y="20"/>
                  </a:lnTo>
                  <a:lnTo>
                    <a:pt x="14" y="27"/>
                  </a:lnTo>
                  <a:lnTo>
                    <a:pt x="14" y="32"/>
                  </a:lnTo>
                  <a:lnTo>
                    <a:pt x="12" y="36"/>
                  </a:lnTo>
                  <a:lnTo>
                    <a:pt x="6" y="27"/>
                  </a:lnTo>
                  <a:lnTo>
                    <a:pt x="0" y="16"/>
                  </a:lnTo>
                  <a:lnTo>
                    <a:pt x="2" y="16"/>
                  </a:lnTo>
                  <a:lnTo>
                    <a:pt x="2" y="11"/>
                  </a:lnTo>
                  <a:lnTo>
                    <a:pt x="6" y="7"/>
                  </a:lnTo>
                  <a:lnTo>
                    <a:pt x="12" y="7"/>
                  </a:lnTo>
                  <a:lnTo>
                    <a:pt x="12" y="0"/>
                  </a:lnTo>
                  <a:lnTo>
                    <a:pt x="23" y="0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5" name="Freeform 1241"/>
            <p:cNvSpPr>
              <a:spLocks/>
            </p:cNvSpPr>
            <p:nvPr/>
          </p:nvSpPr>
          <p:spPr bwMode="auto">
            <a:xfrm>
              <a:off x="4338675" y="4444180"/>
              <a:ext cx="51927" cy="37147"/>
            </a:xfrm>
            <a:custGeom>
              <a:avLst/>
              <a:gdLst/>
              <a:ahLst/>
              <a:cxnLst>
                <a:cxn ang="0">
                  <a:pos x="10" y="7"/>
                </a:cxn>
                <a:cxn ang="0">
                  <a:pos x="10" y="0"/>
                </a:cxn>
                <a:cxn ang="0">
                  <a:pos x="4" y="0"/>
                </a:cxn>
                <a:cxn ang="0">
                  <a:pos x="0" y="7"/>
                </a:cxn>
                <a:cxn ang="0">
                  <a:pos x="4" y="7"/>
                </a:cxn>
                <a:cxn ang="0">
                  <a:pos x="10" y="7"/>
                </a:cxn>
              </a:cxnLst>
              <a:rect l="0" t="0" r="r" b="b"/>
              <a:pathLst>
                <a:path w="10" h="7">
                  <a:moveTo>
                    <a:pt x="10" y="7"/>
                  </a:moveTo>
                  <a:lnTo>
                    <a:pt x="10" y="0"/>
                  </a:lnTo>
                  <a:lnTo>
                    <a:pt x="4" y="0"/>
                  </a:lnTo>
                  <a:lnTo>
                    <a:pt x="0" y="7"/>
                  </a:lnTo>
                  <a:lnTo>
                    <a:pt x="4" y="7"/>
                  </a:lnTo>
                  <a:lnTo>
                    <a:pt x="10" y="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6" name="Freeform 1242"/>
            <p:cNvSpPr>
              <a:spLocks/>
            </p:cNvSpPr>
            <p:nvPr/>
          </p:nvSpPr>
          <p:spPr bwMode="auto">
            <a:xfrm>
              <a:off x="4032306" y="4168233"/>
              <a:ext cx="119432" cy="191040"/>
            </a:xfrm>
            <a:custGeom>
              <a:avLst/>
              <a:gdLst/>
              <a:ahLst/>
              <a:cxnLst>
                <a:cxn ang="0">
                  <a:pos x="19" y="25"/>
                </a:cxn>
                <a:cxn ang="0">
                  <a:pos x="17" y="12"/>
                </a:cxn>
                <a:cxn ang="0">
                  <a:pos x="15" y="0"/>
                </a:cxn>
                <a:cxn ang="0">
                  <a:pos x="2" y="0"/>
                </a:cxn>
                <a:cxn ang="0">
                  <a:pos x="2" y="9"/>
                </a:cxn>
                <a:cxn ang="0">
                  <a:pos x="7" y="16"/>
                </a:cxn>
                <a:cxn ang="0">
                  <a:pos x="0" y="25"/>
                </a:cxn>
                <a:cxn ang="0">
                  <a:pos x="2" y="34"/>
                </a:cxn>
                <a:cxn ang="0">
                  <a:pos x="0" y="34"/>
                </a:cxn>
                <a:cxn ang="0">
                  <a:pos x="7" y="36"/>
                </a:cxn>
                <a:cxn ang="0">
                  <a:pos x="17" y="30"/>
                </a:cxn>
                <a:cxn ang="0">
                  <a:pos x="19" y="30"/>
                </a:cxn>
                <a:cxn ang="0">
                  <a:pos x="23" y="27"/>
                </a:cxn>
                <a:cxn ang="0">
                  <a:pos x="21" y="27"/>
                </a:cxn>
                <a:cxn ang="0">
                  <a:pos x="19" y="25"/>
                </a:cxn>
              </a:cxnLst>
              <a:rect l="0" t="0" r="r" b="b"/>
              <a:pathLst>
                <a:path w="23" h="36">
                  <a:moveTo>
                    <a:pt x="19" y="25"/>
                  </a:moveTo>
                  <a:lnTo>
                    <a:pt x="17" y="12"/>
                  </a:lnTo>
                  <a:lnTo>
                    <a:pt x="15" y="0"/>
                  </a:lnTo>
                  <a:lnTo>
                    <a:pt x="2" y="0"/>
                  </a:lnTo>
                  <a:lnTo>
                    <a:pt x="2" y="9"/>
                  </a:lnTo>
                  <a:lnTo>
                    <a:pt x="7" y="16"/>
                  </a:lnTo>
                  <a:lnTo>
                    <a:pt x="0" y="25"/>
                  </a:lnTo>
                  <a:lnTo>
                    <a:pt x="2" y="34"/>
                  </a:lnTo>
                  <a:lnTo>
                    <a:pt x="0" y="34"/>
                  </a:lnTo>
                  <a:lnTo>
                    <a:pt x="7" y="36"/>
                  </a:lnTo>
                  <a:lnTo>
                    <a:pt x="17" y="30"/>
                  </a:lnTo>
                  <a:lnTo>
                    <a:pt x="19" y="30"/>
                  </a:lnTo>
                  <a:lnTo>
                    <a:pt x="23" y="27"/>
                  </a:lnTo>
                  <a:lnTo>
                    <a:pt x="21" y="27"/>
                  </a:lnTo>
                  <a:lnTo>
                    <a:pt x="19" y="2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7" name="Freeform 1243"/>
            <p:cNvSpPr>
              <a:spLocks/>
            </p:cNvSpPr>
            <p:nvPr/>
          </p:nvSpPr>
          <p:spPr bwMode="auto">
            <a:xfrm>
              <a:off x="4110196" y="4168233"/>
              <a:ext cx="51927" cy="143280"/>
            </a:xfrm>
            <a:custGeom>
              <a:avLst/>
              <a:gdLst/>
              <a:ahLst/>
              <a:cxnLst>
                <a:cxn ang="0">
                  <a:pos x="4" y="25"/>
                </a:cxn>
                <a:cxn ang="0">
                  <a:pos x="2" y="12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3"/>
                </a:cxn>
                <a:cxn ang="0">
                  <a:pos x="8" y="7"/>
                </a:cxn>
                <a:cxn ang="0">
                  <a:pos x="8" y="16"/>
                </a:cxn>
                <a:cxn ang="0">
                  <a:pos x="10" y="27"/>
                </a:cxn>
                <a:cxn ang="0">
                  <a:pos x="8" y="27"/>
                </a:cxn>
                <a:cxn ang="0">
                  <a:pos x="6" y="27"/>
                </a:cxn>
                <a:cxn ang="0">
                  <a:pos x="4" y="25"/>
                </a:cxn>
              </a:cxnLst>
              <a:rect l="0" t="0" r="r" b="b"/>
              <a:pathLst>
                <a:path w="10" h="27">
                  <a:moveTo>
                    <a:pt x="4" y="25"/>
                  </a:moveTo>
                  <a:lnTo>
                    <a:pt x="2" y="12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3"/>
                  </a:lnTo>
                  <a:lnTo>
                    <a:pt x="8" y="7"/>
                  </a:lnTo>
                  <a:lnTo>
                    <a:pt x="8" y="16"/>
                  </a:lnTo>
                  <a:lnTo>
                    <a:pt x="10" y="27"/>
                  </a:lnTo>
                  <a:lnTo>
                    <a:pt x="8" y="27"/>
                  </a:lnTo>
                  <a:lnTo>
                    <a:pt x="6" y="27"/>
                  </a:lnTo>
                  <a:lnTo>
                    <a:pt x="4" y="2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8" name="Freeform 1244"/>
            <p:cNvSpPr>
              <a:spLocks/>
            </p:cNvSpPr>
            <p:nvPr/>
          </p:nvSpPr>
          <p:spPr bwMode="auto">
            <a:xfrm>
              <a:off x="4188087" y="4088633"/>
              <a:ext cx="270020" cy="297174"/>
            </a:xfrm>
            <a:custGeom>
              <a:avLst/>
              <a:gdLst/>
              <a:ahLst/>
              <a:cxnLst>
                <a:cxn ang="0">
                  <a:pos x="52" y="4"/>
                </a:cxn>
                <a:cxn ang="0">
                  <a:pos x="50" y="0"/>
                </a:cxn>
                <a:cxn ang="0">
                  <a:pos x="48" y="0"/>
                </a:cxn>
                <a:cxn ang="0">
                  <a:pos x="43" y="4"/>
                </a:cxn>
                <a:cxn ang="0">
                  <a:pos x="35" y="4"/>
                </a:cxn>
                <a:cxn ang="0">
                  <a:pos x="29" y="6"/>
                </a:cxn>
                <a:cxn ang="0">
                  <a:pos x="25" y="4"/>
                </a:cxn>
                <a:cxn ang="0">
                  <a:pos x="18" y="4"/>
                </a:cxn>
                <a:cxn ang="0">
                  <a:pos x="12" y="0"/>
                </a:cxn>
                <a:cxn ang="0">
                  <a:pos x="8" y="0"/>
                </a:cxn>
                <a:cxn ang="0">
                  <a:pos x="4" y="6"/>
                </a:cxn>
                <a:cxn ang="0">
                  <a:pos x="4" y="13"/>
                </a:cxn>
                <a:cxn ang="0">
                  <a:pos x="4" y="18"/>
                </a:cxn>
                <a:cxn ang="0">
                  <a:pos x="0" y="31"/>
                </a:cxn>
                <a:cxn ang="0">
                  <a:pos x="0" y="42"/>
                </a:cxn>
                <a:cxn ang="0">
                  <a:pos x="4" y="42"/>
                </a:cxn>
                <a:cxn ang="0">
                  <a:pos x="10" y="45"/>
                </a:cxn>
                <a:cxn ang="0">
                  <a:pos x="12" y="51"/>
                </a:cxn>
                <a:cxn ang="0">
                  <a:pos x="12" y="56"/>
                </a:cxn>
                <a:cxn ang="0">
                  <a:pos x="27" y="51"/>
                </a:cxn>
                <a:cxn ang="0">
                  <a:pos x="33" y="40"/>
                </a:cxn>
                <a:cxn ang="0">
                  <a:pos x="35" y="40"/>
                </a:cxn>
                <a:cxn ang="0">
                  <a:pos x="39" y="42"/>
                </a:cxn>
                <a:cxn ang="0">
                  <a:pos x="41" y="40"/>
                </a:cxn>
                <a:cxn ang="0">
                  <a:pos x="43" y="31"/>
                </a:cxn>
                <a:cxn ang="0">
                  <a:pos x="48" y="27"/>
                </a:cxn>
                <a:cxn ang="0">
                  <a:pos x="50" y="15"/>
                </a:cxn>
                <a:cxn ang="0">
                  <a:pos x="52" y="13"/>
                </a:cxn>
                <a:cxn ang="0">
                  <a:pos x="52" y="6"/>
                </a:cxn>
                <a:cxn ang="0">
                  <a:pos x="52" y="4"/>
                </a:cxn>
              </a:cxnLst>
              <a:rect l="0" t="0" r="r" b="b"/>
              <a:pathLst>
                <a:path w="52" h="56">
                  <a:moveTo>
                    <a:pt x="52" y="4"/>
                  </a:moveTo>
                  <a:lnTo>
                    <a:pt x="50" y="0"/>
                  </a:lnTo>
                  <a:lnTo>
                    <a:pt x="48" y="0"/>
                  </a:lnTo>
                  <a:lnTo>
                    <a:pt x="43" y="4"/>
                  </a:lnTo>
                  <a:lnTo>
                    <a:pt x="35" y="4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8" y="4"/>
                  </a:lnTo>
                  <a:lnTo>
                    <a:pt x="12" y="0"/>
                  </a:lnTo>
                  <a:lnTo>
                    <a:pt x="8" y="0"/>
                  </a:lnTo>
                  <a:lnTo>
                    <a:pt x="4" y="6"/>
                  </a:lnTo>
                  <a:lnTo>
                    <a:pt x="4" y="13"/>
                  </a:lnTo>
                  <a:lnTo>
                    <a:pt x="4" y="18"/>
                  </a:lnTo>
                  <a:lnTo>
                    <a:pt x="0" y="31"/>
                  </a:lnTo>
                  <a:lnTo>
                    <a:pt x="0" y="42"/>
                  </a:lnTo>
                  <a:lnTo>
                    <a:pt x="4" y="42"/>
                  </a:lnTo>
                  <a:lnTo>
                    <a:pt x="10" y="45"/>
                  </a:lnTo>
                  <a:lnTo>
                    <a:pt x="12" y="51"/>
                  </a:lnTo>
                  <a:lnTo>
                    <a:pt x="12" y="56"/>
                  </a:lnTo>
                  <a:lnTo>
                    <a:pt x="27" y="51"/>
                  </a:lnTo>
                  <a:lnTo>
                    <a:pt x="33" y="40"/>
                  </a:lnTo>
                  <a:lnTo>
                    <a:pt x="35" y="40"/>
                  </a:lnTo>
                  <a:lnTo>
                    <a:pt x="39" y="42"/>
                  </a:lnTo>
                  <a:lnTo>
                    <a:pt x="41" y="40"/>
                  </a:lnTo>
                  <a:lnTo>
                    <a:pt x="43" y="31"/>
                  </a:lnTo>
                  <a:lnTo>
                    <a:pt x="48" y="27"/>
                  </a:lnTo>
                  <a:lnTo>
                    <a:pt x="50" y="15"/>
                  </a:lnTo>
                  <a:lnTo>
                    <a:pt x="52" y="13"/>
                  </a:lnTo>
                  <a:lnTo>
                    <a:pt x="52" y="6"/>
                  </a:lnTo>
                  <a:lnTo>
                    <a:pt x="52" y="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9" name="Freeform 1245"/>
            <p:cNvSpPr>
              <a:spLocks/>
            </p:cNvSpPr>
            <p:nvPr/>
          </p:nvSpPr>
          <p:spPr bwMode="auto">
            <a:xfrm>
              <a:off x="4130967" y="4120473"/>
              <a:ext cx="77890" cy="191040"/>
            </a:xfrm>
            <a:custGeom>
              <a:avLst/>
              <a:gdLst/>
              <a:ahLst/>
              <a:cxnLst>
                <a:cxn ang="0">
                  <a:pos x="4" y="25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0" y="9"/>
                </a:cxn>
                <a:cxn ang="0">
                  <a:pos x="4" y="7"/>
                </a:cxn>
                <a:cxn ang="0">
                  <a:pos x="6" y="7"/>
                </a:cxn>
                <a:cxn ang="0">
                  <a:pos x="11" y="3"/>
                </a:cxn>
                <a:cxn ang="0">
                  <a:pos x="13" y="0"/>
                </a:cxn>
                <a:cxn ang="0">
                  <a:pos x="15" y="7"/>
                </a:cxn>
                <a:cxn ang="0">
                  <a:pos x="15" y="12"/>
                </a:cxn>
                <a:cxn ang="0">
                  <a:pos x="11" y="25"/>
                </a:cxn>
                <a:cxn ang="0">
                  <a:pos x="11" y="36"/>
                </a:cxn>
                <a:cxn ang="0">
                  <a:pos x="6" y="36"/>
                </a:cxn>
                <a:cxn ang="0">
                  <a:pos x="4" y="32"/>
                </a:cxn>
                <a:cxn ang="0">
                  <a:pos x="4" y="25"/>
                </a:cxn>
              </a:cxnLst>
              <a:rect l="0" t="0" r="r" b="b"/>
              <a:pathLst>
                <a:path w="15" h="36">
                  <a:moveTo>
                    <a:pt x="4" y="25"/>
                  </a:moveTo>
                  <a:lnTo>
                    <a:pt x="4" y="16"/>
                  </a:lnTo>
                  <a:lnTo>
                    <a:pt x="0" y="12"/>
                  </a:lnTo>
                  <a:lnTo>
                    <a:pt x="0" y="9"/>
                  </a:lnTo>
                  <a:lnTo>
                    <a:pt x="4" y="7"/>
                  </a:lnTo>
                  <a:lnTo>
                    <a:pt x="6" y="7"/>
                  </a:lnTo>
                  <a:lnTo>
                    <a:pt x="11" y="3"/>
                  </a:lnTo>
                  <a:lnTo>
                    <a:pt x="13" y="0"/>
                  </a:lnTo>
                  <a:lnTo>
                    <a:pt x="15" y="7"/>
                  </a:lnTo>
                  <a:lnTo>
                    <a:pt x="15" y="12"/>
                  </a:lnTo>
                  <a:lnTo>
                    <a:pt x="11" y="25"/>
                  </a:lnTo>
                  <a:lnTo>
                    <a:pt x="11" y="36"/>
                  </a:lnTo>
                  <a:lnTo>
                    <a:pt x="6" y="36"/>
                  </a:lnTo>
                  <a:lnTo>
                    <a:pt x="4" y="32"/>
                  </a:lnTo>
                  <a:lnTo>
                    <a:pt x="4" y="2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0" name="Freeform 1246"/>
            <p:cNvSpPr>
              <a:spLocks/>
            </p:cNvSpPr>
            <p:nvPr/>
          </p:nvSpPr>
          <p:spPr bwMode="auto">
            <a:xfrm>
              <a:off x="3902489" y="4184153"/>
              <a:ext cx="166166" cy="201654"/>
            </a:xfrm>
            <a:custGeom>
              <a:avLst/>
              <a:gdLst/>
              <a:ahLst/>
              <a:cxnLst>
                <a:cxn ang="0">
                  <a:pos x="27" y="31"/>
                </a:cxn>
                <a:cxn ang="0">
                  <a:pos x="25" y="22"/>
                </a:cxn>
                <a:cxn ang="0">
                  <a:pos x="32" y="13"/>
                </a:cxn>
                <a:cxn ang="0">
                  <a:pos x="27" y="6"/>
                </a:cxn>
                <a:cxn ang="0">
                  <a:pos x="25" y="4"/>
                </a:cxn>
                <a:cxn ang="0">
                  <a:pos x="19" y="4"/>
                </a:cxn>
                <a:cxn ang="0">
                  <a:pos x="17" y="0"/>
                </a:cxn>
                <a:cxn ang="0">
                  <a:pos x="15" y="0"/>
                </a:cxn>
                <a:cxn ang="0">
                  <a:pos x="11" y="0"/>
                </a:cxn>
                <a:cxn ang="0">
                  <a:pos x="9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2" y="6"/>
                </a:cxn>
                <a:cxn ang="0">
                  <a:pos x="4" y="13"/>
                </a:cxn>
                <a:cxn ang="0">
                  <a:pos x="2" y="13"/>
                </a:cxn>
                <a:cxn ang="0">
                  <a:pos x="2" y="15"/>
                </a:cxn>
                <a:cxn ang="0">
                  <a:pos x="0" y="18"/>
                </a:cxn>
                <a:cxn ang="0">
                  <a:pos x="2" y="24"/>
                </a:cxn>
                <a:cxn ang="0">
                  <a:pos x="4" y="27"/>
                </a:cxn>
                <a:cxn ang="0">
                  <a:pos x="4" y="38"/>
                </a:cxn>
                <a:cxn ang="0">
                  <a:pos x="15" y="31"/>
                </a:cxn>
                <a:cxn ang="0">
                  <a:pos x="19" y="31"/>
                </a:cxn>
                <a:cxn ang="0">
                  <a:pos x="25" y="31"/>
                </a:cxn>
                <a:cxn ang="0">
                  <a:pos x="27" y="31"/>
                </a:cxn>
              </a:cxnLst>
              <a:rect l="0" t="0" r="r" b="b"/>
              <a:pathLst>
                <a:path w="32" h="38">
                  <a:moveTo>
                    <a:pt x="27" y="31"/>
                  </a:moveTo>
                  <a:lnTo>
                    <a:pt x="25" y="22"/>
                  </a:lnTo>
                  <a:lnTo>
                    <a:pt x="32" y="13"/>
                  </a:lnTo>
                  <a:lnTo>
                    <a:pt x="27" y="6"/>
                  </a:lnTo>
                  <a:lnTo>
                    <a:pt x="25" y="4"/>
                  </a:lnTo>
                  <a:lnTo>
                    <a:pt x="19" y="4"/>
                  </a:lnTo>
                  <a:lnTo>
                    <a:pt x="17" y="0"/>
                  </a:lnTo>
                  <a:lnTo>
                    <a:pt x="15" y="0"/>
                  </a:lnTo>
                  <a:lnTo>
                    <a:pt x="11" y="0"/>
                  </a:lnTo>
                  <a:lnTo>
                    <a:pt x="9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2" y="6"/>
                  </a:lnTo>
                  <a:lnTo>
                    <a:pt x="4" y="13"/>
                  </a:lnTo>
                  <a:lnTo>
                    <a:pt x="2" y="13"/>
                  </a:lnTo>
                  <a:lnTo>
                    <a:pt x="2" y="15"/>
                  </a:lnTo>
                  <a:lnTo>
                    <a:pt x="0" y="18"/>
                  </a:lnTo>
                  <a:lnTo>
                    <a:pt x="2" y="24"/>
                  </a:lnTo>
                  <a:lnTo>
                    <a:pt x="4" y="27"/>
                  </a:lnTo>
                  <a:lnTo>
                    <a:pt x="4" y="38"/>
                  </a:lnTo>
                  <a:lnTo>
                    <a:pt x="15" y="31"/>
                  </a:lnTo>
                  <a:lnTo>
                    <a:pt x="19" y="31"/>
                  </a:lnTo>
                  <a:lnTo>
                    <a:pt x="25" y="31"/>
                  </a:lnTo>
                  <a:lnTo>
                    <a:pt x="27" y="3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1" name="Freeform 1247"/>
            <p:cNvSpPr>
              <a:spLocks/>
            </p:cNvSpPr>
            <p:nvPr/>
          </p:nvSpPr>
          <p:spPr bwMode="auto">
            <a:xfrm>
              <a:off x="3829792" y="4253140"/>
              <a:ext cx="93469" cy="132667"/>
            </a:xfrm>
            <a:custGeom>
              <a:avLst/>
              <a:gdLst/>
              <a:ahLst/>
              <a:cxnLst>
                <a:cxn ang="0">
                  <a:pos x="14" y="5"/>
                </a:cxn>
                <a:cxn ang="0">
                  <a:pos x="16" y="11"/>
                </a:cxn>
                <a:cxn ang="0">
                  <a:pos x="18" y="14"/>
                </a:cxn>
                <a:cxn ang="0">
                  <a:pos x="18" y="25"/>
                </a:cxn>
                <a:cxn ang="0">
                  <a:pos x="16" y="20"/>
                </a:cxn>
                <a:cxn ang="0">
                  <a:pos x="0" y="9"/>
                </a:cxn>
                <a:cxn ang="0">
                  <a:pos x="6" y="0"/>
                </a:cxn>
                <a:cxn ang="0">
                  <a:pos x="8" y="0"/>
                </a:cxn>
                <a:cxn ang="0">
                  <a:pos x="10" y="5"/>
                </a:cxn>
                <a:cxn ang="0">
                  <a:pos x="12" y="5"/>
                </a:cxn>
                <a:cxn ang="0">
                  <a:pos x="14" y="5"/>
                </a:cxn>
              </a:cxnLst>
              <a:rect l="0" t="0" r="r" b="b"/>
              <a:pathLst>
                <a:path w="18" h="25">
                  <a:moveTo>
                    <a:pt x="14" y="5"/>
                  </a:moveTo>
                  <a:lnTo>
                    <a:pt x="16" y="11"/>
                  </a:lnTo>
                  <a:lnTo>
                    <a:pt x="18" y="14"/>
                  </a:lnTo>
                  <a:lnTo>
                    <a:pt x="18" y="25"/>
                  </a:lnTo>
                  <a:lnTo>
                    <a:pt x="16" y="20"/>
                  </a:lnTo>
                  <a:lnTo>
                    <a:pt x="0" y="9"/>
                  </a:lnTo>
                  <a:lnTo>
                    <a:pt x="6" y="0"/>
                  </a:lnTo>
                  <a:lnTo>
                    <a:pt x="8" y="0"/>
                  </a:lnTo>
                  <a:lnTo>
                    <a:pt x="10" y="5"/>
                  </a:lnTo>
                  <a:lnTo>
                    <a:pt x="12" y="5"/>
                  </a:lnTo>
                  <a:lnTo>
                    <a:pt x="14" y="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2" name="Freeform 1248"/>
            <p:cNvSpPr>
              <a:spLocks/>
            </p:cNvSpPr>
            <p:nvPr/>
          </p:nvSpPr>
          <p:spPr bwMode="auto">
            <a:xfrm>
              <a:off x="3699974" y="3993113"/>
              <a:ext cx="140203" cy="127360"/>
            </a:xfrm>
            <a:custGeom>
              <a:avLst/>
              <a:gdLst/>
              <a:ahLst/>
              <a:cxnLst>
                <a:cxn ang="0">
                  <a:pos x="25" y="11"/>
                </a:cxn>
                <a:cxn ang="0">
                  <a:pos x="27" y="24"/>
                </a:cxn>
                <a:cxn ang="0">
                  <a:pos x="16" y="24"/>
                </a:cxn>
                <a:cxn ang="0">
                  <a:pos x="2" y="24"/>
                </a:cxn>
                <a:cxn ang="0">
                  <a:pos x="2" y="22"/>
                </a:cxn>
                <a:cxn ang="0">
                  <a:pos x="8" y="18"/>
                </a:cxn>
                <a:cxn ang="0">
                  <a:pos x="14" y="22"/>
                </a:cxn>
                <a:cxn ang="0">
                  <a:pos x="16" y="18"/>
                </a:cxn>
                <a:cxn ang="0">
                  <a:pos x="8" y="15"/>
                </a:cxn>
                <a:cxn ang="0">
                  <a:pos x="2" y="18"/>
                </a:cxn>
                <a:cxn ang="0">
                  <a:pos x="2" y="15"/>
                </a:cxn>
                <a:cxn ang="0">
                  <a:pos x="0" y="11"/>
                </a:cxn>
                <a:cxn ang="0">
                  <a:pos x="4" y="6"/>
                </a:cxn>
                <a:cxn ang="0">
                  <a:pos x="8" y="2"/>
                </a:cxn>
                <a:cxn ang="0">
                  <a:pos x="14" y="0"/>
                </a:cxn>
                <a:cxn ang="0">
                  <a:pos x="18" y="6"/>
                </a:cxn>
                <a:cxn ang="0">
                  <a:pos x="21" y="9"/>
                </a:cxn>
                <a:cxn ang="0">
                  <a:pos x="25" y="11"/>
                </a:cxn>
              </a:cxnLst>
              <a:rect l="0" t="0" r="r" b="b"/>
              <a:pathLst>
                <a:path w="27" h="24">
                  <a:moveTo>
                    <a:pt x="25" y="11"/>
                  </a:moveTo>
                  <a:lnTo>
                    <a:pt x="27" y="24"/>
                  </a:lnTo>
                  <a:lnTo>
                    <a:pt x="16" y="24"/>
                  </a:lnTo>
                  <a:lnTo>
                    <a:pt x="2" y="24"/>
                  </a:lnTo>
                  <a:lnTo>
                    <a:pt x="2" y="22"/>
                  </a:lnTo>
                  <a:lnTo>
                    <a:pt x="8" y="18"/>
                  </a:lnTo>
                  <a:lnTo>
                    <a:pt x="14" y="22"/>
                  </a:lnTo>
                  <a:lnTo>
                    <a:pt x="16" y="18"/>
                  </a:lnTo>
                  <a:lnTo>
                    <a:pt x="8" y="15"/>
                  </a:lnTo>
                  <a:lnTo>
                    <a:pt x="2" y="18"/>
                  </a:lnTo>
                  <a:lnTo>
                    <a:pt x="2" y="15"/>
                  </a:lnTo>
                  <a:lnTo>
                    <a:pt x="0" y="11"/>
                  </a:lnTo>
                  <a:lnTo>
                    <a:pt x="4" y="6"/>
                  </a:lnTo>
                  <a:lnTo>
                    <a:pt x="8" y="2"/>
                  </a:lnTo>
                  <a:lnTo>
                    <a:pt x="14" y="0"/>
                  </a:lnTo>
                  <a:lnTo>
                    <a:pt x="18" y="6"/>
                  </a:lnTo>
                  <a:lnTo>
                    <a:pt x="21" y="9"/>
                  </a:lnTo>
                  <a:lnTo>
                    <a:pt x="25" y="1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3" name="Freeform 1249"/>
            <p:cNvSpPr>
              <a:spLocks/>
            </p:cNvSpPr>
            <p:nvPr/>
          </p:nvSpPr>
          <p:spPr bwMode="auto">
            <a:xfrm>
              <a:off x="3710360" y="3669406"/>
              <a:ext cx="290791" cy="382081"/>
            </a:xfrm>
            <a:custGeom>
              <a:avLst/>
              <a:gdLst/>
              <a:ahLst/>
              <a:cxnLst>
                <a:cxn ang="0">
                  <a:pos x="23" y="72"/>
                </a:cxn>
                <a:cxn ang="0">
                  <a:pos x="16" y="67"/>
                </a:cxn>
                <a:cxn ang="0">
                  <a:pos x="12" y="61"/>
                </a:cxn>
                <a:cxn ang="0">
                  <a:pos x="6" y="63"/>
                </a:cxn>
                <a:cxn ang="0">
                  <a:pos x="2" y="67"/>
                </a:cxn>
                <a:cxn ang="0">
                  <a:pos x="2" y="54"/>
                </a:cxn>
                <a:cxn ang="0">
                  <a:pos x="2" y="45"/>
                </a:cxn>
                <a:cxn ang="0">
                  <a:pos x="2" y="40"/>
                </a:cxn>
                <a:cxn ang="0">
                  <a:pos x="0" y="36"/>
                </a:cxn>
                <a:cxn ang="0">
                  <a:pos x="2" y="34"/>
                </a:cxn>
                <a:cxn ang="0">
                  <a:pos x="21" y="34"/>
                </a:cxn>
                <a:cxn ang="0">
                  <a:pos x="21" y="25"/>
                </a:cxn>
                <a:cxn ang="0">
                  <a:pos x="25" y="20"/>
                </a:cxn>
                <a:cxn ang="0">
                  <a:pos x="25" y="7"/>
                </a:cxn>
                <a:cxn ang="0">
                  <a:pos x="39" y="7"/>
                </a:cxn>
                <a:cxn ang="0">
                  <a:pos x="39" y="0"/>
                </a:cxn>
                <a:cxn ang="0">
                  <a:pos x="56" y="11"/>
                </a:cxn>
                <a:cxn ang="0">
                  <a:pos x="48" y="11"/>
                </a:cxn>
                <a:cxn ang="0">
                  <a:pos x="54" y="67"/>
                </a:cxn>
                <a:cxn ang="0">
                  <a:pos x="31" y="67"/>
                </a:cxn>
                <a:cxn ang="0">
                  <a:pos x="29" y="70"/>
                </a:cxn>
                <a:cxn ang="0">
                  <a:pos x="25" y="67"/>
                </a:cxn>
                <a:cxn ang="0">
                  <a:pos x="23" y="70"/>
                </a:cxn>
                <a:cxn ang="0">
                  <a:pos x="23" y="72"/>
                </a:cxn>
              </a:cxnLst>
              <a:rect l="0" t="0" r="r" b="b"/>
              <a:pathLst>
                <a:path w="56" h="72">
                  <a:moveTo>
                    <a:pt x="23" y="72"/>
                  </a:moveTo>
                  <a:lnTo>
                    <a:pt x="16" y="67"/>
                  </a:lnTo>
                  <a:lnTo>
                    <a:pt x="12" y="61"/>
                  </a:lnTo>
                  <a:lnTo>
                    <a:pt x="6" y="63"/>
                  </a:lnTo>
                  <a:lnTo>
                    <a:pt x="2" y="67"/>
                  </a:lnTo>
                  <a:lnTo>
                    <a:pt x="2" y="54"/>
                  </a:lnTo>
                  <a:lnTo>
                    <a:pt x="2" y="45"/>
                  </a:lnTo>
                  <a:lnTo>
                    <a:pt x="2" y="40"/>
                  </a:lnTo>
                  <a:lnTo>
                    <a:pt x="0" y="36"/>
                  </a:lnTo>
                  <a:lnTo>
                    <a:pt x="2" y="34"/>
                  </a:lnTo>
                  <a:lnTo>
                    <a:pt x="21" y="34"/>
                  </a:lnTo>
                  <a:lnTo>
                    <a:pt x="21" y="25"/>
                  </a:lnTo>
                  <a:lnTo>
                    <a:pt x="25" y="20"/>
                  </a:lnTo>
                  <a:lnTo>
                    <a:pt x="25" y="7"/>
                  </a:lnTo>
                  <a:lnTo>
                    <a:pt x="39" y="7"/>
                  </a:lnTo>
                  <a:lnTo>
                    <a:pt x="39" y="0"/>
                  </a:lnTo>
                  <a:lnTo>
                    <a:pt x="56" y="11"/>
                  </a:lnTo>
                  <a:lnTo>
                    <a:pt x="48" y="11"/>
                  </a:lnTo>
                  <a:lnTo>
                    <a:pt x="54" y="67"/>
                  </a:lnTo>
                  <a:lnTo>
                    <a:pt x="31" y="67"/>
                  </a:lnTo>
                  <a:lnTo>
                    <a:pt x="29" y="70"/>
                  </a:lnTo>
                  <a:lnTo>
                    <a:pt x="25" y="67"/>
                  </a:lnTo>
                  <a:lnTo>
                    <a:pt x="23" y="70"/>
                  </a:lnTo>
                  <a:lnTo>
                    <a:pt x="23" y="7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4" name="Freeform 1250"/>
            <p:cNvSpPr>
              <a:spLocks/>
            </p:cNvSpPr>
            <p:nvPr/>
          </p:nvSpPr>
          <p:spPr bwMode="auto">
            <a:xfrm>
              <a:off x="3710360" y="3658792"/>
              <a:ext cx="202514" cy="201654"/>
            </a:xfrm>
            <a:custGeom>
              <a:avLst/>
              <a:gdLst/>
              <a:ahLst/>
              <a:cxnLst>
                <a:cxn ang="0">
                  <a:pos x="39" y="0"/>
                </a:cxn>
                <a:cxn ang="0">
                  <a:pos x="39" y="2"/>
                </a:cxn>
                <a:cxn ang="0">
                  <a:pos x="39" y="9"/>
                </a:cxn>
                <a:cxn ang="0">
                  <a:pos x="25" y="9"/>
                </a:cxn>
                <a:cxn ang="0">
                  <a:pos x="25" y="22"/>
                </a:cxn>
                <a:cxn ang="0">
                  <a:pos x="21" y="27"/>
                </a:cxn>
                <a:cxn ang="0">
                  <a:pos x="21" y="36"/>
                </a:cxn>
                <a:cxn ang="0">
                  <a:pos x="2" y="36"/>
                </a:cxn>
                <a:cxn ang="0">
                  <a:pos x="0" y="38"/>
                </a:cxn>
                <a:cxn ang="0">
                  <a:pos x="0" y="31"/>
                </a:cxn>
                <a:cxn ang="0">
                  <a:pos x="12" y="18"/>
                </a:cxn>
                <a:cxn ang="0">
                  <a:pos x="14" y="9"/>
                </a:cxn>
                <a:cxn ang="0">
                  <a:pos x="16" y="4"/>
                </a:cxn>
                <a:cxn ang="0">
                  <a:pos x="21" y="0"/>
                </a:cxn>
                <a:cxn ang="0">
                  <a:pos x="29" y="0"/>
                </a:cxn>
                <a:cxn ang="0">
                  <a:pos x="39" y="0"/>
                </a:cxn>
              </a:cxnLst>
              <a:rect l="0" t="0" r="r" b="b"/>
              <a:pathLst>
                <a:path w="39" h="38">
                  <a:moveTo>
                    <a:pt x="39" y="0"/>
                  </a:moveTo>
                  <a:lnTo>
                    <a:pt x="39" y="2"/>
                  </a:lnTo>
                  <a:lnTo>
                    <a:pt x="39" y="9"/>
                  </a:lnTo>
                  <a:lnTo>
                    <a:pt x="25" y="9"/>
                  </a:lnTo>
                  <a:lnTo>
                    <a:pt x="25" y="22"/>
                  </a:lnTo>
                  <a:lnTo>
                    <a:pt x="21" y="27"/>
                  </a:lnTo>
                  <a:lnTo>
                    <a:pt x="21" y="36"/>
                  </a:lnTo>
                  <a:lnTo>
                    <a:pt x="2" y="36"/>
                  </a:lnTo>
                  <a:lnTo>
                    <a:pt x="0" y="38"/>
                  </a:lnTo>
                  <a:lnTo>
                    <a:pt x="0" y="31"/>
                  </a:lnTo>
                  <a:lnTo>
                    <a:pt x="12" y="18"/>
                  </a:lnTo>
                  <a:lnTo>
                    <a:pt x="14" y="9"/>
                  </a:lnTo>
                  <a:lnTo>
                    <a:pt x="16" y="4"/>
                  </a:lnTo>
                  <a:lnTo>
                    <a:pt x="21" y="0"/>
                  </a:lnTo>
                  <a:lnTo>
                    <a:pt x="29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5" name="Freeform 1251"/>
            <p:cNvSpPr>
              <a:spLocks/>
            </p:cNvSpPr>
            <p:nvPr/>
          </p:nvSpPr>
          <p:spPr bwMode="auto">
            <a:xfrm>
              <a:off x="4291940" y="3356312"/>
              <a:ext cx="98661" cy="217574"/>
            </a:xfrm>
            <a:custGeom>
              <a:avLst/>
              <a:gdLst/>
              <a:ahLst/>
              <a:cxnLst>
                <a:cxn ang="0">
                  <a:pos x="19" y="25"/>
                </a:cxn>
                <a:cxn ang="0">
                  <a:pos x="19" y="32"/>
                </a:cxn>
                <a:cxn ang="0">
                  <a:pos x="13" y="34"/>
                </a:cxn>
                <a:cxn ang="0">
                  <a:pos x="13" y="41"/>
                </a:cxn>
                <a:cxn ang="0">
                  <a:pos x="9" y="41"/>
                </a:cxn>
                <a:cxn ang="0">
                  <a:pos x="9" y="32"/>
                </a:cxn>
                <a:cxn ang="0">
                  <a:pos x="5" y="27"/>
                </a:cxn>
                <a:cxn ang="0">
                  <a:pos x="0" y="23"/>
                </a:cxn>
                <a:cxn ang="0">
                  <a:pos x="7" y="16"/>
                </a:cxn>
                <a:cxn ang="0">
                  <a:pos x="7" y="7"/>
                </a:cxn>
                <a:cxn ang="0">
                  <a:pos x="7" y="2"/>
                </a:cxn>
                <a:cxn ang="0">
                  <a:pos x="13" y="0"/>
                </a:cxn>
                <a:cxn ang="0">
                  <a:pos x="13" y="2"/>
                </a:cxn>
                <a:cxn ang="0">
                  <a:pos x="15" y="2"/>
                </a:cxn>
                <a:cxn ang="0">
                  <a:pos x="19" y="2"/>
                </a:cxn>
                <a:cxn ang="0">
                  <a:pos x="15" y="7"/>
                </a:cxn>
                <a:cxn ang="0">
                  <a:pos x="19" y="14"/>
                </a:cxn>
                <a:cxn ang="0">
                  <a:pos x="13" y="18"/>
                </a:cxn>
                <a:cxn ang="0">
                  <a:pos x="13" y="23"/>
                </a:cxn>
                <a:cxn ang="0">
                  <a:pos x="19" y="23"/>
                </a:cxn>
                <a:cxn ang="0">
                  <a:pos x="19" y="25"/>
                </a:cxn>
              </a:cxnLst>
              <a:rect l="0" t="0" r="r" b="b"/>
              <a:pathLst>
                <a:path w="19" h="41">
                  <a:moveTo>
                    <a:pt x="19" y="25"/>
                  </a:moveTo>
                  <a:lnTo>
                    <a:pt x="19" y="32"/>
                  </a:lnTo>
                  <a:lnTo>
                    <a:pt x="13" y="34"/>
                  </a:lnTo>
                  <a:lnTo>
                    <a:pt x="13" y="41"/>
                  </a:lnTo>
                  <a:lnTo>
                    <a:pt x="9" y="41"/>
                  </a:lnTo>
                  <a:lnTo>
                    <a:pt x="9" y="32"/>
                  </a:lnTo>
                  <a:lnTo>
                    <a:pt x="5" y="27"/>
                  </a:lnTo>
                  <a:lnTo>
                    <a:pt x="0" y="23"/>
                  </a:lnTo>
                  <a:lnTo>
                    <a:pt x="7" y="16"/>
                  </a:lnTo>
                  <a:lnTo>
                    <a:pt x="7" y="7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3" y="2"/>
                  </a:lnTo>
                  <a:lnTo>
                    <a:pt x="15" y="2"/>
                  </a:lnTo>
                  <a:lnTo>
                    <a:pt x="19" y="2"/>
                  </a:lnTo>
                  <a:lnTo>
                    <a:pt x="15" y="7"/>
                  </a:lnTo>
                  <a:lnTo>
                    <a:pt x="19" y="14"/>
                  </a:lnTo>
                  <a:lnTo>
                    <a:pt x="13" y="18"/>
                  </a:lnTo>
                  <a:lnTo>
                    <a:pt x="13" y="23"/>
                  </a:lnTo>
                  <a:lnTo>
                    <a:pt x="19" y="23"/>
                  </a:lnTo>
                  <a:lnTo>
                    <a:pt x="19" y="2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6" name="Freeform 1252"/>
            <p:cNvSpPr>
              <a:spLocks/>
            </p:cNvSpPr>
            <p:nvPr/>
          </p:nvSpPr>
          <p:spPr bwMode="auto">
            <a:xfrm>
              <a:off x="3923260" y="3165272"/>
              <a:ext cx="285598" cy="238800"/>
            </a:xfrm>
            <a:custGeom>
              <a:avLst/>
              <a:gdLst/>
              <a:ahLst/>
              <a:cxnLst>
                <a:cxn ang="0">
                  <a:pos x="40" y="7"/>
                </a:cxn>
                <a:cxn ang="0">
                  <a:pos x="55" y="7"/>
                </a:cxn>
                <a:cxn ang="0">
                  <a:pos x="55" y="11"/>
                </a:cxn>
                <a:cxn ang="0">
                  <a:pos x="46" y="16"/>
                </a:cxn>
                <a:cxn ang="0">
                  <a:pos x="38" y="25"/>
                </a:cxn>
                <a:cxn ang="0">
                  <a:pos x="40" y="29"/>
                </a:cxn>
                <a:cxn ang="0">
                  <a:pos x="30" y="38"/>
                </a:cxn>
                <a:cxn ang="0">
                  <a:pos x="21" y="38"/>
                </a:cxn>
                <a:cxn ang="0">
                  <a:pos x="15" y="45"/>
                </a:cxn>
                <a:cxn ang="0">
                  <a:pos x="11" y="36"/>
                </a:cxn>
                <a:cxn ang="0">
                  <a:pos x="11" y="29"/>
                </a:cxn>
                <a:cxn ang="0">
                  <a:pos x="11" y="25"/>
                </a:cxn>
                <a:cxn ang="0">
                  <a:pos x="13" y="20"/>
                </a:cxn>
                <a:cxn ang="0">
                  <a:pos x="13" y="18"/>
                </a:cxn>
                <a:cxn ang="0">
                  <a:pos x="15" y="11"/>
                </a:cxn>
                <a:cxn ang="0">
                  <a:pos x="13" y="11"/>
                </a:cxn>
                <a:cxn ang="0">
                  <a:pos x="5" y="11"/>
                </a:cxn>
                <a:cxn ang="0">
                  <a:pos x="0" y="7"/>
                </a:cxn>
                <a:cxn ang="0">
                  <a:pos x="5" y="2"/>
                </a:cxn>
                <a:cxn ang="0">
                  <a:pos x="7" y="0"/>
                </a:cxn>
                <a:cxn ang="0">
                  <a:pos x="23" y="2"/>
                </a:cxn>
                <a:cxn ang="0">
                  <a:pos x="32" y="2"/>
                </a:cxn>
                <a:cxn ang="0">
                  <a:pos x="36" y="2"/>
                </a:cxn>
                <a:cxn ang="0">
                  <a:pos x="38" y="5"/>
                </a:cxn>
                <a:cxn ang="0">
                  <a:pos x="40" y="7"/>
                </a:cxn>
              </a:cxnLst>
              <a:rect l="0" t="0" r="r" b="b"/>
              <a:pathLst>
                <a:path w="55" h="45">
                  <a:moveTo>
                    <a:pt x="40" y="7"/>
                  </a:moveTo>
                  <a:lnTo>
                    <a:pt x="55" y="7"/>
                  </a:lnTo>
                  <a:lnTo>
                    <a:pt x="55" y="11"/>
                  </a:lnTo>
                  <a:lnTo>
                    <a:pt x="46" y="16"/>
                  </a:lnTo>
                  <a:lnTo>
                    <a:pt x="38" y="25"/>
                  </a:lnTo>
                  <a:lnTo>
                    <a:pt x="40" y="29"/>
                  </a:lnTo>
                  <a:lnTo>
                    <a:pt x="30" y="38"/>
                  </a:lnTo>
                  <a:lnTo>
                    <a:pt x="21" y="38"/>
                  </a:lnTo>
                  <a:lnTo>
                    <a:pt x="15" y="45"/>
                  </a:lnTo>
                  <a:lnTo>
                    <a:pt x="11" y="36"/>
                  </a:lnTo>
                  <a:lnTo>
                    <a:pt x="11" y="29"/>
                  </a:lnTo>
                  <a:lnTo>
                    <a:pt x="11" y="25"/>
                  </a:lnTo>
                  <a:lnTo>
                    <a:pt x="13" y="20"/>
                  </a:lnTo>
                  <a:lnTo>
                    <a:pt x="13" y="18"/>
                  </a:lnTo>
                  <a:lnTo>
                    <a:pt x="15" y="11"/>
                  </a:lnTo>
                  <a:lnTo>
                    <a:pt x="13" y="11"/>
                  </a:lnTo>
                  <a:lnTo>
                    <a:pt x="5" y="11"/>
                  </a:lnTo>
                  <a:lnTo>
                    <a:pt x="0" y="7"/>
                  </a:lnTo>
                  <a:lnTo>
                    <a:pt x="5" y="2"/>
                  </a:lnTo>
                  <a:lnTo>
                    <a:pt x="7" y="0"/>
                  </a:lnTo>
                  <a:lnTo>
                    <a:pt x="23" y="2"/>
                  </a:lnTo>
                  <a:lnTo>
                    <a:pt x="32" y="2"/>
                  </a:lnTo>
                  <a:lnTo>
                    <a:pt x="36" y="2"/>
                  </a:lnTo>
                  <a:lnTo>
                    <a:pt x="38" y="5"/>
                  </a:lnTo>
                  <a:lnTo>
                    <a:pt x="40" y="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7" name="Freeform 1253"/>
            <p:cNvSpPr>
              <a:spLocks/>
            </p:cNvSpPr>
            <p:nvPr/>
          </p:nvSpPr>
          <p:spPr bwMode="auto">
            <a:xfrm>
              <a:off x="3912875" y="3223645"/>
              <a:ext cx="88276" cy="143280"/>
            </a:xfrm>
            <a:custGeom>
              <a:avLst/>
              <a:gdLst/>
              <a:ahLst/>
              <a:cxnLst>
                <a:cxn ang="0">
                  <a:pos x="13" y="18"/>
                </a:cxn>
                <a:cxn ang="0">
                  <a:pos x="13" y="14"/>
                </a:cxn>
                <a:cxn ang="0">
                  <a:pos x="15" y="9"/>
                </a:cxn>
                <a:cxn ang="0">
                  <a:pos x="15" y="7"/>
                </a:cxn>
                <a:cxn ang="0">
                  <a:pos x="17" y="0"/>
                </a:cxn>
                <a:cxn ang="0">
                  <a:pos x="15" y="0"/>
                </a:cxn>
                <a:cxn ang="0">
                  <a:pos x="7" y="0"/>
                </a:cxn>
                <a:cxn ang="0">
                  <a:pos x="7" y="5"/>
                </a:cxn>
                <a:cxn ang="0">
                  <a:pos x="0" y="16"/>
                </a:cxn>
                <a:cxn ang="0">
                  <a:pos x="2" y="18"/>
                </a:cxn>
                <a:cxn ang="0">
                  <a:pos x="2" y="27"/>
                </a:cxn>
                <a:cxn ang="0">
                  <a:pos x="13" y="25"/>
                </a:cxn>
                <a:cxn ang="0">
                  <a:pos x="13" y="23"/>
                </a:cxn>
                <a:cxn ang="0">
                  <a:pos x="13" y="18"/>
                </a:cxn>
              </a:cxnLst>
              <a:rect l="0" t="0" r="r" b="b"/>
              <a:pathLst>
                <a:path w="17" h="27">
                  <a:moveTo>
                    <a:pt x="13" y="18"/>
                  </a:moveTo>
                  <a:lnTo>
                    <a:pt x="13" y="14"/>
                  </a:lnTo>
                  <a:lnTo>
                    <a:pt x="15" y="9"/>
                  </a:lnTo>
                  <a:lnTo>
                    <a:pt x="15" y="7"/>
                  </a:lnTo>
                  <a:lnTo>
                    <a:pt x="17" y="0"/>
                  </a:lnTo>
                  <a:lnTo>
                    <a:pt x="15" y="0"/>
                  </a:lnTo>
                  <a:lnTo>
                    <a:pt x="7" y="0"/>
                  </a:lnTo>
                  <a:lnTo>
                    <a:pt x="7" y="5"/>
                  </a:lnTo>
                  <a:lnTo>
                    <a:pt x="0" y="16"/>
                  </a:lnTo>
                  <a:lnTo>
                    <a:pt x="2" y="18"/>
                  </a:lnTo>
                  <a:lnTo>
                    <a:pt x="2" y="27"/>
                  </a:lnTo>
                  <a:lnTo>
                    <a:pt x="13" y="25"/>
                  </a:lnTo>
                  <a:lnTo>
                    <a:pt x="13" y="23"/>
                  </a:lnTo>
                  <a:lnTo>
                    <a:pt x="13" y="18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8" name="Freeform 1254"/>
            <p:cNvSpPr>
              <a:spLocks/>
            </p:cNvSpPr>
            <p:nvPr/>
          </p:nvSpPr>
          <p:spPr bwMode="auto">
            <a:xfrm>
              <a:off x="4042692" y="2937085"/>
              <a:ext cx="275212" cy="265334"/>
            </a:xfrm>
            <a:custGeom>
              <a:avLst/>
              <a:gdLst/>
              <a:ahLst/>
              <a:cxnLst>
                <a:cxn ang="0">
                  <a:pos x="53" y="21"/>
                </a:cxn>
                <a:cxn ang="0">
                  <a:pos x="53" y="16"/>
                </a:cxn>
                <a:cxn ang="0">
                  <a:pos x="46" y="9"/>
                </a:cxn>
                <a:cxn ang="0">
                  <a:pos x="44" y="9"/>
                </a:cxn>
                <a:cxn ang="0">
                  <a:pos x="40" y="9"/>
                </a:cxn>
                <a:cxn ang="0">
                  <a:pos x="40" y="7"/>
                </a:cxn>
                <a:cxn ang="0">
                  <a:pos x="38" y="9"/>
                </a:cxn>
                <a:cxn ang="0">
                  <a:pos x="32" y="3"/>
                </a:cxn>
                <a:cxn ang="0">
                  <a:pos x="32" y="0"/>
                </a:cxn>
                <a:cxn ang="0">
                  <a:pos x="30" y="3"/>
                </a:cxn>
                <a:cxn ang="0">
                  <a:pos x="28" y="7"/>
                </a:cxn>
                <a:cxn ang="0">
                  <a:pos x="21" y="9"/>
                </a:cxn>
                <a:cxn ang="0">
                  <a:pos x="21" y="12"/>
                </a:cxn>
                <a:cxn ang="0">
                  <a:pos x="15" y="12"/>
                </a:cxn>
                <a:cxn ang="0">
                  <a:pos x="15" y="9"/>
                </a:cxn>
                <a:cxn ang="0">
                  <a:pos x="13" y="9"/>
                </a:cxn>
                <a:cxn ang="0">
                  <a:pos x="15" y="16"/>
                </a:cxn>
                <a:cxn ang="0">
                  <a:pos x="9" y="16"/>
                </a:cxn>
                <a:cxn ang="0">
                  <a:pos x="7" y="16"/>
                </a:cxn>
                <a:cxn ang="0">
                  <a:pos x="0" y="16"/>
                </a:cxn>
                <a:cxn ang="0">
                  <a:pos x="0" y="18"/>
                </a:cxn>
                <a:cxn ang="0">
                  <a:pos x="9" y="21"/>
                </a:cxn>
                <a:cxn ang="0">
                  <a:pos x="15" y="27"/>
                </a:cxn>
                <a:cxn ang="0">
                  <a:pos x="15" y="30"/>
                </a:cxn>
                <a:cxn ang="0">
                  <a:pos x="13" y="43"/>
                </a:cxn>
                <a:cxn ang="0">
                  <a:pos x="13" y="45"/>
                </a:cxn>
                <a:cxn ang="0">
                  <a:pos x="17" y="50"/>
                </a:cxn>
                <a:cxn ang="0">
                  <a:pos x="32" y="50"/>
                </a:cxn>
                <a:cxn ang="0">
                  <a:pos x="36" y="45"/>
                </a:cxn>
                <a:cxn ang="0">
                  <a:pos x="46" y="45"/>
                </a:cxn>
                <a:cxn ang="0">
                  <a:pos x="53" y="43"/>
                </a:cxn>
                <a:cxn ang="0">
                  <a:pos x="46" y="36"/>
                </a:cxn>
                <a:cxn ang="0">
                  <a:pos x="48" y="30"/>
                </a:cxn>
                <a:cxn ang="0">
                  <a:pos x="46" y="27"/>
                </a:cxn>
                <a:cxn ang="0">
                  <a:pos x="46" y="30"/>
                </a:cxn>
                <a:cxn ang="0">
                  <a:pos x="44" y="27"/>
                </a:cxn>
                <a:cxn ang="0">
                  <a:pos x="48" y="21"/>
                </a:cxn>
                <a:cxn ang="0">
                  <a:pos x="51" y="21"/>
                </a:cxn>
                <a:cxn ang="0">
                  <a:pos x="53" y="21"/>
                </a:cxn>
              </a:cxnLst>
              <a:rect l="0" t="0" r="r" b="b"/>
              <a:pathLst>
                <a:path w="53" h="50">
                  <a:moveTo>
                    <a:pt x="53" y="21"/>
                  </a:moveTo>
                  <a:lnTo>
                    <a:pt x="53" y="16"/>
                  </a:lnTo>
                  <a:lnTo>
                    <a:pt x="46" y="9"/>
                  </a:lnTo>
                  <a:lnTo>
                    <a:pt x="44" y="9"/>
                  </a:lnTo>
                  <a:lnTo>
                    <a:pt x="40" y="9"/>
                  </a:lnTo>
                  <a:lnTo>
                    <a:pt x="40" y="7"/>
                  </a:lnTo>
                  <a:lnTo>
                    <a:pt x="38" y="9"/>
                  </a:lnTo>
                  <a:lnTo>
                    <a:pt x="32" y="3"/>
                  </a:lnTo>
                  <a:lnTo>
                    <a:pt x="32" y="0"/>
                  </a:lnTo>
                  <a:lnTo>
                    <a:pt x="30" y="3"/>
                  </a:lnTo>
                  <a:lnTo>
                    <a:pt x="28" y="7"/>
                  </a:lnTo>
                  <a:lnTo>
                    <a:pt x="21" y="9"/>
                  </a:lnTo>
                  <a:lnTo>
                    <a:pt x="21" y="12"/>
                  </a:lnTo>
                  <a:lnTo>
                    <a:pt x="15" y="12"/>
                  </a:lnTo>
                  <a:lnTo>
                    <a:pt x="15" y="9"/>
                  </a:lnTo>
                  <a:lnTo>
                    <a:pt x="13" y="9"/>
                  </a:lnTo>
                  <a:lnTo>
                    <a:pt x="15" y="16"/>
                  </a:lnTo>
                  <a:lnTo>
                    <a:pt x="9" y="16"/>
                  </a:lnTo>
                  <a:lnTo>
                    <a:pt x="7" y="16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9" y="21"/>
                  </a:lnTo>
                  <a:lnTo>
                    <a:pt x="15" y="27"/>
                  </a:lnTo>
                  <a:lnTo>
                    <a:pt x="15" y="30"/>
                  </a:lnTo>
                  <a:lnTo>
                    <a:pt x="13" y="43"/>
                  </a:lnTo>
                  <a:lnTo>
                    <a:pt x="13" y="45"/>
                  </a:lnTo>
                  <a:lnTo>
                    <a:pt x="17" y="50"/>
                  </a:lnTo>
                  <a:lnTo>
                    <a:pt x="32" y="50"/>
                  </a:lnTo>
                  <a:lnTo>
                    <a:pt x="36" y="45"/>
                  </a:lnTo>
                  <a:lnTo>
                    <a:pt x="46" y="45"/>
                  </a:lnTo>
                  <a:lnTo>
                    <a:pt x="53" y="43"/>
                  </a:lnTo>
                  <a:lnTo>
                    <a:pt x="46" y="36"/>
                  </a:lnTo>
                  <a:lnTo>
                    <a:pt x="48" y="30"/>
                  </a:lnTo>
                  <a:lnTo>
                    <a:pt x="46" y="27"/>
                  </a:lnTo>
                  <a:lnTo>
                    <a:pt x="46" y="30"/>
                  </a:lnTo>
                  <a:lnTo>
                    <a:pt x="44" y="27"/>
                  </a:lnTo>
                  <a:lnTo>
                    <a:pt x="48" y="21"/>
                  </a:lnTo>
                  <a:lnTo>
                    <a:pt x="51" y="21"/>
                  </a:lnTo>
                  <a:lnTo>
                    <a:pt x="53" y="2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9" name="Freeform 1255"/>
            <p:cNvSpPr>
              <a:spLocks/>
            </p:cNvSpPr>
            <p:nvPr/>
          </p:nvSpPr>
          <p:spPr bwMode="auto">
            <a:xfrm>
              <a:off x="4281555" y="3069752"/>
              <a:ext cx="259634" cy="275947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2" y="5"/>
                </a:cxn>
                <a:cxn ang="0">
                  <a:pos x="9" y="2"/>
                </a:cxn>
                <a:cxn ang="0">
                  <a:pos x="11" y="5"/>
                </a:cxn>
                <a:cxn ang="0">
                  <a:pos x="11" y="2"/>
                </a:cxn>
                <a:cxn ang="0">
                  <a:pos x="15" y="2"/>
                </a:cxn>
                <a:cxn ang="0">
                  <a:pos x="17" y="0"/>
                </a:cxn>
                <a:cxn ang="0">
                  <a:pos x="23" y="0"/>
                </a:cxn>
                <a:cxn ang="0">
                  <a:pos x="25" y="0"/>
                </a:cxn>
                <a:cxn ang="0">
                  <a:pos x="32" y="2"/>
                </a:cxn>
                <a:cxn ang="0">
                  <a:pos x="32" y="5"/>
                </a:cxn>
                <a:cxn ang="0">
                  <a:pos x="32" y="9"/>
                </a:cxn>
                <a:cxn ang="0">
                  <a:pos x="30" y="5"/>
                </a:cxn>
                <a:cxn ang="0">
                  <a:pos x="25" y="9"/>
                </a:cxn>
                <a:cxn ang="0">
                  <a:pos x="25" y="14"/>
                </a:cxn>
                <a:cxn ang="0">
                  <a:pos x="32" y="20"/>
                </a:cxn>
                <a:cxn ang="0">
                  <a:pos x="34" y="27"/>
                </a:cxn>
                <a:cxn ang="0">
                  <a:pos x="38" y="29"/>
                </a:cxn>
                <a:cxn ang="0">
                  <a:pos x="42" y="29"/>
                </a:cxn>
                <a:cxn ang="0">
                  <a:pos x="40" y="29"/>
                </a:cxn>
                <a:cxn ang="0">
                  <a:pos x="50" y="38"/>
                </a:cxn>
                <a:cxn ang="0">
                  <a:pos x="46" y="36"/>
                </a:cxn>
                <a:cxn ang="0">
                  <a:pos x="42" y="43"/>
                </a:cxn>
                <a:cxn ang="0">
                  <a:pos x="46" y="43"/>
                </a:cxn>
                <a:cxn ang="0">
                  <a:pos x="46" y="45"/>
                </a:cxn>
                <a:cxn ang="0">
                  <a:pos x="42" y="45"/>
                </a:cxn>
                <a:cxn ang="0">
                  <a:pos x="42" y="52"/>
                </a:cxn>
                <a:cxn ang="0">
                  <a:pos x="40" y="52"/>
                </a:cxn>
                <a:cxn ang="0">
                  <a:pos x="42" y="45"/>
                </a:cxn>
                <a:cxn ang="0">
                  <a:pos x="40" y="38"/>
                </a:cxn>
                <a:cxn ang="0">
                  <a:pos x="32" y="34"/>
                </a:cxn>
                <a:cxn ang="0">
                  <a:pos x="25" y="29"/>
                </a:cxn>
                <a:cxn ang="0">
                  <a:pos x="23" y="27"/>
                </a:cxn>
                <a:cxn ang="0">
                  <a:pos x="21" y="27"/>
                </a:cxn>
                <a:cxn ang="0">
                  <a:pos x="15" y="18"/>
                </a:cxn>
                <a:cxn ang="0">
                  <a:pos x="9" y="14"/>
                </a:cxn>
                <a:cxn ang="0">
                  <a:pos x="7" y="18"/>
                </a:cxn>
                <a:cxn ang="0">
                  <a:pos x="2" y="16"/>
                </a:cxn>
                <a:cxn ang="0">
                  <a:pos x="0" y="11"/>
                </a:cxn>
              </a:cxnLst>
              <a:rect l="0" t="0" r="r" b="b"/>
              <a:pathLst>
                <a:path w="50" h="52">
                  <a:moveTo>
                    <a:pt x="0" y="11"/>
                  </a:moveTo>
                  <a:lnTo>
                    <a:pt x="2" y="5"/>
                  </a:lnTo>
                  <a:lnTo>
                    <a:pt x="9" y="2"/>
                  </a:lnTo>
                  <a:lnTo>
                    <a:pt x="11" y="5"/>
                  </a:lnTo>
                  <a:lnTo>
                    <a:pt x="11" y="2"/>
                  </a:lnTo>
                  <a:lnTo>
                    <a:pt x="15" y="2"/>
                  </a:lnTo>
                  <a:lnTo>
                    <a:pt x="17" y="0"/>
                  </a:lnTo>
                  <a:lnTo>
                    <a:pt x="23" y="0"/>
                  </a:lnTo>
                  <a:lnTo>
                    <a:pt x="25" y="0"/>
                  </a:lnTo>
                  <a:lnTo>
                    <a:pt x="32" y="2"/>
                  </a:lnTo>
                  <a:lnTo>
                    <a:pt x="32" y="5"/>
                  </a:lnTo>
                  <a:lnTo>
                    <a:pt x="32" y="9"/>
                  </a:lnTo>
                  <a:lnTo>
                    <a:pt x="30" y="5"/>
                  </a:lnTo>
                  <a:lnTo>
                    <a:pt x="25" y="9"/>
                  </a:lnTo>
                  <a:lnTo>
                    <a:pt x="25" y="14"/>
                  </a:lnTo>
                  <a:lnTo>
                    <a:pt x="32" y="20"/>
                  </a:lnTo>
                  <a:lnTo>
                    <a:pt x="34" y="27"/>
                  </a:lnTo>
                  <a:lnTo>
                    <a:pt x="38" y="29"/>
                  </a:lnTo>
                  <a:lnTo>
                    <a:pt x="42" y="29"/>
                  </a:lnTo>
                  <a:lnTo>
                    <a:pt x="40" y="29"/>
                  </a:lnTo>
                  <a:lnTo>
                    <a:pt x="50" y="38"/>
                  </a:lnTo>
                  <a:lnTo>
                    <a:pt x="46" y="36"/>
                  </a:lnTo>
                  <a:lnTo>
                    <a:pt x="42" y="43"/>
                  </a:lnTo>
                  <a:lnTo>
                    <a:pt x="46" y="43"/>
                  </a:lnTo>
                  <a:lnTo>
                    <a:pt x="46" y="45"/>
                  </a:lnTo>
                  <a:lnTo>
                    <a:pt x="42" y="45"/>
                  </a:lnTo>
                  <a:lnTo>
                    <a:pt x="42" y="52"/>
                  </a:lnTo>
                  <a:lnTo>
                    <a:pt x="40" y="52"/>
                  </a:lnTo>
                  <a:lnTo>
                    <a:pt x="42" y="45"/>
                  </a:lnTo>
                  <a:lnTo>
                    <a:pt x="40" y="38"/>
                  </a:lnTo>
                  <a:lnTo>
                    <a:pt x="32" y="34"/>
                  </a:lnTo>
                  <a:lnTo>
                    <a:pt x="25" y="29"/>
                  </a:lnTo>
                  <a:lnTo>
                    <a:pt x="23" y="27"/>
                  </a:lnTo>
                  <a:lnTo>
                    <a:pt x="21" y="27"/>
                  </a:lnTo>
                  <a:lnTo>
                    <a:pt x="15" y="18"/>
                  </a:lnTo>
                  <a:lnTo>
                    <a:pt x="9" y="14"/>
                  </a:lnTo>
                  <a:lnTo>
                    <a:pt x="7" y="18"/>
                  </a:lnTo>
                  <a:lnTo>
                    <a:pt x="2" y="16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0" name="Freeform 1256"/>
            <p:cNvSpPr>
              <a:spLocks/>
            </p:cNvSpPr>
            <p:nvPr/>
          </p:nvSpPr>
          <p:spPr bwMode="auto">
            <a:xfrm>
              <a:off x="4639850" y="3144045"/>
              <a:ext cx="140203" cy="106133"/>
            </a:xfrm>
            <a:custGeom>
              <a:avLst/>
              <a:gdLst/>
              <a:ahLst/>
              <a:cxnLst>
                <a:cxn ang="0">
                  <a:pos x="19" y="0"/>
                </a:cxn>
                <a:cxn ang="0">
                  <a:pos x="13" y="4"/>
                </a:cxn>
                <a:cxn ang="0">
                  <a:pos x="4" y="4"/>
                </a:cxn>
                <a:cxn ang="0">
                  <a:pos x="2" y="0"/>
                </a:cxn>
                <a:cxn ang="0">
                  <a:pos x="0" y="4"/>
                </a:cxn>
                <a:cxn ang="0">
                  <a:pos x="0" y="11"/>
                </a:cxn>
                <a:cxn ang="0">
                  <a:pos x="0" y="13"/>
                </a:cxn>
                <a:cxn ang="0">
                  <a:pos x="2" y="20"/>
                </a:cxn>
                <a:cxn ang="0">
                  <a:pos x="9" y="15"/>
                </a:cxn>
                <a:cxn ang="0">
                  <a:pos x="13" y="20"/>
                </a:cxn>
                <a:cxn ang="0">
                  <a:pos x="17" y="15"/>
                </a:cxn>
                <a:cxn ang="0">
                  <a:pos x="25" y="15"/>
                </a:cxn>
                <a:cxn ang="0">
                  <a:pos x="21" y="11"/>
                </a:cxn>
                <a:cxn ang="0">
                  <a:pos x="25" y="6"/>
                </a:cxn>
                <a:cxn ang="0">
                  <a:pos x="27" y="4"/>
                </a:cxn>
                <a:cxn ang="0">
                  <a:pos x="23" y="2"/>
                </a:cxn>
                <a:cxn ang="0">
                  <a:pos x="19" y="0"/>
                </a:cxn>
              </a:cxnLst>
              <a:rect l="0" t="0" r="r" b="b"/>
              <a:pathLst>
                <a:path w="27" h="20">
                  <a:moveTo>
                    <a:pt x="19" y="0"/>
                  </a:moveTo>
                  <a:lnTo>
                    <a:pt x="13" y="4"/>
                  </a:lnTo>
                  <a:lnTo>
                    <a:pt x="4" y="4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11"/>
                  </a:lnTo>
                  <a:lnTo>
                    <a:pt x="0" y="13"/>
                  </a:lnTo>
                  <a:lnTo>
                    <a:pt x="2" y="20"/>
                  </a:lnTo>
                  <a:lnTo>
                    <a:pt x="9" y="15"/>
                  </a:lnTo>
                  <a:lnTo>
                    <a:pt x="13" y="20"/>
                  </a:lnTo>
                  <a:lnTo>
                    <a:pt x="17" y="15"/>
                  </a:lnTo>
                  <a:lnTo>
                    <a:pt x="25" y="15"/>
                  </a:lnTo>
                  <a:lnTo>
                    <a:pt x="21" y="11"/>
                  </a:lnTo>
                  <a:lnTo>
                    <a:pt x="25" y="6"/>
                  </a:lnTo>
                  <a:lnTo>
                    <a:pt x="27" y="4"/>
                  </a:lnTo>
                  <a:lnTo>
                    <a:pt x="23" y="2"/>
                  </a:lnTo>
                  <a:lnTo>
                    <a:pt x="19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1" name="Freeform 1257"/>
            <p:cNvSpPr>
              <a:spLocks/>
            </p:cNvSpPr>
            <p:nvPr/>
          </p:nvSpPr>
          <p:spPr bwMode="auto">
            <a:xfrm>
              <a:off x="4598309" y="3223645"/>
              <a:ext cx="129817" cy="132667"/>
            </a:xfrm>
            <a:custGeom>
              <a:avLst/>
              <a:gdLst/>
              <a:ahLst/>
              <a:cxnLst>
                <a:cxn ang="0">
                  <a:pos x="25" y="0"/>
                </a:cxn>
                <a:cxn ang="0">
                  <a:pos x="21" y="5"/>
                </a:cxn>
                <a:cxn ang="0">
                  <a:pos x="17" y="0"/>
                </a:cxn>
                <a:cxn ang="0">
                  <a:pos x="10" y="5"/>
                </a:cxn>
                <a:cxn ang="0">
                  <a:pos x="2" y="7"/>
                </a:cxn>
                <a:cxn ang="0">
                  <a:pos x="0" y="14"/>
                </a:cxn>
                <a:cxn ang="0">
                  <a:pos x="4" y="18"/>
                </a:cxn>
                <a:cxn ang="0">
                  <a:pos x="10" y="18"/>
                </a:cxn>
                <a:cxn ang="0">
                  <a:pos x="17" y="25"/>
                </a:cxn>
                <a:cxn ang="0">
                  <a:pos x="17" y="23"/>
                </a:cxn>
                <a:cxn ang="0">
                  <a:pos x="19" y="23"/>
                </a:cxn>
                <a:cxn ang="0">
                  <a:pos x="12" y="16"/>
                </a:cxn>
                <a:cxn ang="0">
                  <a:pos x="10" y="9"/>
                </a:cxn>
                <a:cxn ang="0">
                  <a:pos x="10" y="7"/>
                </a:cxn>
                <a:cxn ang="0">
                  <a:pos x="12" y="9"/>
                </a:cxn>
                <a:cxn ang="0">
                  <a:pos x="12" y="7"/>
                </a:cxn>
                <a:cxn ang="0">
                  <a:pos x="17" y="5"/>
                </a:cxn>
                <a:cxn ang="0">
                  <a:pos x="21" y="7"/>
                </a:cxn>
                <a:cxn ang="0">
                  <a:pos x="25" y="7"/>
                </a:cxn>
                <a:cxn ang="0">
                  <a:pos x="25" y="5"/>
                </a:cxn>
                <a:cxn ang="0">
                  <a:pos x="25" y="0"/>
                </a:cxn>
              </a:cxnLst>
              <a:rect l="0" t="0" r="r" b="b"/>
              <a:pathLst>
                <a:path w="25" h="25">
                  <a:moveTo>
                    <a:pt x="25" y="0"/>
                  </a:moveTo>
                  <a:lnTo>
                    <a:pt x="21" y="5"/>
                  </a:lnTo>
                  <a:lnTo>
                    <a:pt x="17" y="0"/>
                  </a:lnTo>
                  <a:lnTo>
                    <a:pt x="10" y="5"/>
                  </a:lnTo>
                  <a:lnTo>
                    <a:pt x="2" y="7"/>
                  </a:lnTo>
                  <a:lnTo>
                    <a:pt x="0" y="14"/>
                  </a:lnTo>
                  <a:lnTo>
                    <a:pt x="4" y="18"/>
                  </a:lnTo>
                  <a:lnTo>
                    <a:pt x="10" y="18"/>
                  </a:lnTo>
                  <a:lnTo>
                    <a:pt x="17" y="25"/>
                  </a:lnTo>
                  <a:lnTo>
                    <a:pt x="17" y="23"/>
                  </a:lnTo>
                  <a:lnTo>
                    <a:pt x="19" y="23"/>
                  </a:lnTo>
                  <a:lnTo>
                    <a:pt x="12" y="16"/>
                  </a:lnTo>
                  <a:lnTo>
                    <a:pt x="10" y="9"/>
                  </a:lnTo>
                  <a:lnTo>
                    <a:pt x="10" y="7"/>
                  </a:lnTo>
                  <a:lnTo>
                    <a:pt x="12" y="9"/>
                  </a:lnTo>
                  <a:lnTo>
                    <a:pt x="12" y="7"/>
                  </a:lnTo>
                  <a:lnTo>
                    <a:pt x="17" y="5"/>
                  </a:lnTo>
                  <a:lnTo>
                    <a:pt x="21" y="7"/>
                  </a:lnTo>
                  <a:lnTo>
                    <a:pt x="25" y="7"/>
                  </a:lnTo>
                  <a:lnTo>
                    <a:pt x="25" y="5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2" name="Freeform 1258"/>
            <p:cNvSpPr>
              <a:spLocks/>
            </p:cNvSpPr>
            <p:nvPr/>
          </p:nvSpPr>
          <p:spPr bwMode="auto">
            <a:xfrm>
              <a:off x="4577538" y="3032605"/>
              <a:ext cx="212901" cy="132667"/>
            </a:xfrm>
            <a:custGeom>
              <a:avLst/>
              <a:gdLst/>
              <a:ahLst/>
              <a:cxnLst>
                <a:cxn ang="0">
                  <a:pos x="37" y="16"/>
                </a:cxn>
                <a:cxn ang="0">
                  <a:pos x="41" y="16"/>
                </a:cxn>
                <a:cxn ang="0">
                  <a:pos x="41" y="18"/>
                </a:cxn>
                <a:cxn ang="0">
                  <a:pos x="37" y="21"/>
                </a:cxn>
                <a:cxn ang="0">
                  <a:pos x="39" y="25"/>
                </a:cxn>
                <a:cxn ang="0">
                  <a:pos x="31" y="21"/>
                </a:cxn>
                <a:cxn ang="0">
                  <a:pos x="25" y="25"/>
                </a:cxn>
                <a:cxn ang="0">
                  <a:pos x="16" y="25"/>
                </a:cxn>
                <a:cxn ang="0">
                  <a:pos x="14" y="21"/>
                </a:cxn>
                <a:cxn ang="0">
                  <a:pos x="12" y="18"/>
                </a:cxn>
                <a:cxn ang="0">
                  <a:pos x="8" y="18"/>
                </a:cxn>
                <a:cxn ang="0">
                  <a:pos x="0" y="12"/>
                </a:cxn>
                <a:cxn ang="0">
                  <a:pos x="4" y="12"/>
                </a:cxn>
                <a:cxn ang="0">
                  <a:pos x="6" y="9"/>
                </a:cxn>
                <a:cxn ang="0">
                  <a:pos x="8" y="3"/>
                </a:cxn>
                <a:cxn ang="0">
                  <a:pos x="12" y="0"/>
                </a:cxn>
                <a:cxn ang="0">
                  <a:pos x="21" y="3"/>
                </a:cxn>
                <a:cxn ang="0">
                  <a:pos x="29" y="0"/>
                </a:cxn>
                <a:cxn ang="0">
                  <a:pos x="33" y="7"/>
                </a:cxn>
                <a:cxn ang="0">
                  <a:pos x="35" y="12"/>
                </a:cxn>
                <a:cxn ang="0">
                  <a:pos x="37" y="16"/>
                </a:cxn>
              </a:cxnLst>
              <a:rect l="0" t="0" r="r" b="b"/>
              <a:pathLst>
                <a:path w="41" h="25">
                  <a:moveTo>
                    <a:pt x="37" y="16"/>
                  </a:moveTo>
                  <a:lnTo>
                    <a:pt x="41" y="16"/>
                  </a:lnTo>
                  <a:lnTo>
                    <a:pt x="41" y="18"/>
                  </a:lnTo>
                  <a:lnTo>
                    <a:pt x="37" y="21"/>
                  </a:lnTo>
                  <a:lnTo>
                    <a:pt x="39" y="25"/>
                  </a:lnTo>
                  <a:lnTo>
                    <a:pt x="31" y="21"/>
                  </a:lnTo>
                  <a:lnTo>
                    <a:pt x="25" y="25"/>
                  </a:lnTo>
                  <a:lnTo>
                    <a:pt x="16" y="25"/>
                  </a:lnTo>
                  <a:lnTo>
                    <a:pt x="14" y="21"/>
                  </a:lnTo>
                  <a:lnTo>
                    <a:pt x="12" y="18"/>
                  </a:lnTo>
                  <a:lnTo>
                    <a:pt x="8" y="18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6" y="9"/>
                  </a:lnTo>
                  <a:lnTo>
                    <a:pt x="8" y="3"/>
                  </a:lnTo>
                  <a:lnTo>
                    <a:pt x="12" y="0"/>
                  </a:lnTo>
                  <a:lnTo>
                    <a:pt x="21" y="3"/>
                  </a:lnTo>
                  <a:lnTo>
                    <a:pt x="29" y="0"/>
                  </a:lnTo>
                  <a:lnTo>
                    <a:pt x="33" y="7"/>
                  </a:lnTo>
                  <a:lnTo>
                    <a:pt x="35" y="12"/>
                  </a:lnTo>
                  <a:lnTo>
                    <a:pt x="37" y="1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3" name="Freeform 1259"/>
            <p:cNvSpPr>
              <a:spLocks/>
            </p:cNvSpPr>
            <p:nvPr/>
          </p:nvSpPr>
          <p:spPr bwMode="auto">
            <a:xfrm>
              <a:off x="4447721" y="3069752"/>
              <a:ext cx="51927" cy="47760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0" y="5"/>
                </a:cxn>
                <a:cxn ang="0">
                  <a:pos x="0" y="2"/>
                </a:cxn>
                <a:cxn ang="0">
                  <a:pos x="8" y="0"/>
                </a:cxn>
                <a:cxn ang="0">
                  <a:pos x="10" y="2"/>
                </a:cxn>
                <a:cxn ang="0">
                  <a:pos x="6" y="5"/>
                </a:cxn>
                <a:cxn ang="0">
                  <a:pos x="6" y="9"/>
                </a:cxn>
                <a:cxn ang="0">
                  <a:pos x="2" y="5"/>
                </a:cxn>
                <a:cxn ang="0">
                  <a:pos x="0" y="7"/>
                </a:cxn>
                <a:cxn ang="0">
                  <a:pos x="0" y="9"/>
                </a:cxn>
              </a:cxnLst>
              <a:rect l="0" t="0" r="r" b="b"/>
              <a:pathLst>
                <a:path w="10" h="9">
                  <a:moveTo>
                    <a:pt x="0" y="9"/>
                  </a:moveTo>
                  <a:lnTo>
                    <a:pt x="0" y="5"/>
                  </a:lnTo>
                  <a:lnTo>
                    <a:pt x="0" y="2"/>
                  </a:lnTo>
                  <a:lnTo>
                    <a:pt x="8" y="0"/>
                  </a:lnTo>
                  <a:lnTo>
                    <a:pt x="10" y="2"/>
                  </a:lnTo>
                  <a:lnTo>
                    <a:pt x="6" y="5"/>
                  </a:lnTo>
                  <a:lnTo>
                    <a:pt x="6" y="9"/>
                  </a:lnTo>
                  <a:lnTo>
                    <a:pt x="2" y="5"/>
                  </a:lnTo>
                  <a:lnTo>
                    <a:pt x="0" y="7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4" name="Freeform 1260"/>
            <p:cNvSpPr>
              <a:spLocks/>
            </p:cNvSpPr>
            <p:nvPr/>
          </p:nvSpPr>
          <p:spPr bwMode="auto">
            <a:xfrm>
              <a:off x="4447721" y="3080365"/>
              <a:ext cx="119432" cy="122054"/>
            </a:xfrm>
            <a:custGeom>
              <a:avLst/>
              <a:gdLst/>
              <a:ahLst/>
              <a:cxnLst>
                <a:cxn ang="0">
                  <a:pos x="18" y="3"/>
                </a:cxn>
                <a:cxn ang="0">
                  <a:pos x="16" y="3"/>
                </a:cxn>
                <a:cxn ang="0">
                  <a:pos x="10" y="0"/>
                </a:cxn>
                <a:cxn ang="0">
                  <a:pos x="6" y="3"/>
                </a:cxn>
                <a:cxn ang="0">
                  <a:pos x="6" y="7"/>
                </a:cxn>
                <a:cxn ang="0">
                  <a:pos x="2" y="3"/>
                </a:cxn>
                <a:cxn ang="0">
                  <a:pos x="0" y="7"/>
                </a:cxn>
                <a:cxn ang="0">
                  <a:pos x="0" y="9"/>
                </a:cxn>
                <a:cxn ang="0">
                  <a:pos x="2" y="7"/>
                </a:cxn>
                <a:cxn ang="0">
                  <a:pos x="6" y="9"/>
                </a:cxn>
                <a:cxn ang="0">
                  <a:pos x="6" y="16"/>
                </a:cxn>
                <a:cxn ang="0">
                  <a:pos x="18" y="23"/>
                </a:cxn>
                <a:cxn ang="0">
                  <a:pos x="10" y="12"/>
                </a:cxn>
                <a:cxn ang="0">
                  <a:pos x="8" y="9"/>
                </a:cxn>
                <a:cxn ang="0">
                  <a:pos x="10" y="7"/>
                </a:cxn>
                <a:cxn ang="0">
                  <a:pos x="18" y="9"/>
                </a:cxn>
                <a:cxn ang="0">
                  <a:pos x="23" y="9"/>
                </a:cxn>
                <a:cxn ang="0">
                  <a:pos x="23" y="7"/>
                </a:cxn>
                <a:cxn ang="0">
                  <a:pos x="20" y="5"/>
                </a:cxn>
                <a:cxn ang="0">
                  <a:pos x="18" y="3"/>
                </a:cxn>
              </a:cxnLst>
              <a:rect l="0" t="0" r="r" b="b"/>
              <a:pathLst>
                <a:path w="23" h="23">
                  <a:moveTo>
                    <a:pt x="18" y="3"/>
                  </a:moveTo>
                  <a:lnTo>
                    <a:pt x="16" y="3"/>
                  </a:lnTo>
                  <a:lnTo>
                    <a:pt x="10" y="0"/>
                  </a:lnTo>
                  <a:lnTo>
                    <a:pt x="6" y="3"/>
                  </a:lnTo>
                  <a:lnTo>
                    <a:pt x="6" y="7"/>
                  </a:lnTo>
                  <a:lnTo>
                    <a:pt x="2" y="3"/>
                  </a:lnTo>
                  <a:lnTo>
                    <a:pt x="0" y="7"/>
                  </a:lnTo>
                  <a:lnTo>
                    <a:pt x="0" y="9"/>
                  </a:lnTo>
                  <a:lnTo>
                    <a:pt x="2" y="7"/>
                  </a:lnTo>
                  <a:lnTo>
                    <a:pt x="6" y="9"/>
                  </a:lnTo>
                  <a:lnTo>
                    <a:pt x="6" y="16"/>
                  </a:lnTo>
                  <a:lnTo>
                    <a:pt x="18" y="23"/>
                  </a:lnTo>
                  <a:lnTo>
                    <a:pt x="10" y="12"/>
                  </a:lnTo>
                  <a:lnTo>
                    <a:pt x="8" y="9"/>
                  </a:lnTo>
                  <a:lnTo>
                    <a:pt x="10" y="7"/>
                  </a:lnTo>
                  <a:lnTo>
                    <a:pt x="18" y="9"/>
                  </a:lnTo>
                  <a:lnTo>
                    <a:pt x="23" y="9"/>
                  </a:lnTo>
                  <a:lnTo>
                    <a:pt x="23" y="7"/>
                  </a:lnTo>
                  <a:lnTo>
                    <a:pt x="20" y="5"/>
                  </a:lnTo>
                  <a:lnTo>
                    <a:pt x="18" y="3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5" name="Freeform 1261"/>
            <p:cNvSpPr>
              <a:spLocks/>
            </p:cNvSpPr>
            <p:nvPr/>
          </p:nvSpPr>
          <p:spPr bwMode="auto">
            <a:xfrm>
              <a:off x="4489262" y="3117512"/>
              <a:ext cx="88276" cy="84907"/>
            </a:xfrm>
            <a:custGeom>
              <a:avLst/>
              <a:gdLst/>
              <a:ahLst/>
              <a:cxnLst>
                <a:cxn ang="0">
                  <a:pos x="15" y="2"/>
                </a:cxn>
                <a:cxn ang="0">
                  <a:pos x="15" y="5"/>
                </a:cxn>
                <a:cxn ang="0">
                  <a:pos x="17" y="9"/>
                </a:cxn>
                <a:cxn ang="0">
                  <a:pos x="15" y="9"/>
                </a:cxn>
                <a:cxn ang="0">
                  <a:pos x="10" y="11"/>
                </a:cxn>
                <a:cxn ang="0">
                  <a:pos x="10" y="16"/>
                </a:cxn>
                <a:cxn ang="0">
                  <a:pos x="2" y="5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10" y="2"/>
                </a:cxn>
                <a:cxn ang="0">
                  <a:pos x="12" y="2"/>
                </a:cxn>
                <a:cxn ang="0">
                  <a:pos x="15" y="2"/>
                </a:cxn>
              </a:cxnLst>
              <a:rect l="0" t="0" r="r" b="b"/>
              <a:pathLst>
                <a:path w="17" h="16">
                  <a:moveTo>
                    <a:pt x="15" y="2"/>
                  </a:moveTo>
                  <a:lnTo>
                    <a:pt x="15" y="5"/>
                  </a:lnTo>
                  <a:lnTo>
                    <a:pt x="17" y="9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10" y="16"/>
                  </a:lnTo>
                  <a:lnTo>
                    <a:pt x="2" y="5"/>
                  </a:lnTo>
                  <a:lnTo>
                    <a:pt x="0" y="2"/>
                  </a:lnTo>
                  <a:lnTo>
                    <a:pt x="2" y="0"/>
                  </a:lnTo>
                  <a:lnTo>
                    <a:pt x="10" y="2"/>
                  </a:lnTo>
                  <a:lnTo>
                    <a:pt x="12" y="2"/>
                  </a:lnTo>
                  <a:lnTo>
                    <a:pt x="15" y="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6" name="Freeform 1262"/>
            <p:cNvSpPr>
              <a:spLocks/>
            </p:cNvSpPr>
            <p:nvPr/>
          </p:nvSpPr>
          <p:spPr bwMode="auto">
            <a:xfrm>
              <a:off x="4541189" y="3165272"/>
              <a:ext cx="57120" cy="58373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7" y="11"/>
                </a:cxn>
                <a:cxn ang="0">
                  <a:pos x="7" y="7"/>
                </a:cxn>
                <a:cxn ang="0">
                  <a:pos x="11" y="7"/>
                </a:cxn>
                <a:cxn ang="0">
                  <a:pos x="5" y="0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0" y="7"/>
                </a:cxn>
              </a:cxnLst>
              <a:rect l="0" t="0" r="r" b="b"/>
              <a:pathLst>
                <a:path w="11" h="11">
                  <a:moveTo>
                    <a:pt x="0" y="7"/>
                  </a:moveTo>
                  <a:lnTo>
                    <a:pt x="7" y="11"/>
                  </a:lnTo>
                  <a:lnTo>
                    <a:pt x="7" y="7"/>
                  </a:lnTo>
                  <a:lnTo>
                    <a:pt x="11" y="7"/>
                  </a:lnTo>
                  <a:lnTo>
                    <a:pt x="5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7" name="Freeform 1263"/>
            <p:cNvSpPr>
              <a:spLocks/>
            </p:cNvSpPr>
            <p:nvPr/>
          </p:nvSpPr>
          <p:spPr bwMode="auto">
            <a:xfrm>
              <a:off x="4541189" y="3096285"/>
              <a:ext cx="109047" cy="127360"/>
            </a:xfrm>
            <a:custGeom>
              <a:avLst/>
              <a:gdLst/>
              <a:ahLst/>
              <a:cxnLst>
                <a:cxn ang="0">
                  <a:pos x="11" y="24"/>
                </a:cxn>
                <a:cxn ang="0">
                  <a:pos x="11" y="20"/>
                </a:cxn>
                <a:cxn ang="0">
                  <a:pos x="7" y="20"/>
                </a:cxn>
                <a:cxn ang="0">
                  <a:pos x="11" y="20"/>
                </a:cxn>
                <a:cxn ang="0">
                  <a:pos x="5" y="13"/>
                </a:cxn>
                <a:cxn ang="0">
                  <a:pos x="7" y="13"/>
                </a:cxn>
                <a:cxn ang="0">
                  <a:pos x="5" y="9"/>
                </a:cxn>
                <a:cxn ang="0">
                  <a:pos x="5" y="6"/>
                </a:cxn>
                <a:cxn ang="0">
                  <a:pos x="5" y="4"/>
                </a:cxn>
                <a:cxn ang="0">
                  <a:pos x="0" y="0"/>
                </a:cxn>
                <a:cxn ang="0">
                  <a:pos x="7" y="0"/>
                </a:cxn>
                <a:cxn ang="0">
                  <a:pos x="15" y="6"/>
                </a:cxn>
                <a:cxn ang="0">
                  <a:pos x="19" y="6"/>
                </a:cxn>
                <a:cxn ang="0">
                  <a:pos x="21" y="9"/>
                </a:cxn>
                <a:cxn ang="0">
                  <a:pos x="19" y="13"/>
                </a:cxn>
                <a:cxn ang="0">
                  <a:pos x="19" y="20"/>
                </a:cxn>
                <a:cxn ang="0">
                  <a:pos x="19" y="22"/>
                </a:cxn>
                <a:cxn ang="0">
                  <a:pos x="15" y="22"/>
                </a:cxn>
                <a:cxn ang="0">
                  <a:pos x="13" y="24"/>
                </a:cxn>
                <a:cxn ang="0">
                  <a:pos x="11" y="24"/>
                </a:cxn>
              </a:cxnLst>
              <a:rect l="0" t="0" r="r" b="b"/>
              <a:pathLst>
                <a:path w="21" h="24">
                  <a:moveTo>
                    <a:pt x="11" y="24"/>
                  </a:moveTo>
                  <a:lnTo>
                    <a:pt x="11" y="20"/>
                  </a:lnTo>
                  <a:lnTo>
                    <a:pt x="7" y="20"/>
                  </a:lnTo>
                  <a:lnTo>
                    <a:pt x="11" y="20"/>
                  </a:lnTo>
                  <a:lnTo>
                    <a:pt x="5" y="13"/>
                  </a:lnTo>
                  <a:lnTo>
                    <a:pt x="7" y="13"/>
                  </a:lnTo>
                  <a:lnTo>
                    <a:pt x="5" y="9"/>
                  </a:lnTo>
                  <a:lnTo>
                    <a:pt x="5" y="6"/>
                  </a:lnTo>
                  <a:lnTo>
                    <a:pt x="5" y="4"/>
                  </a:lnTo>
                  <a:lnTo>
                    <a:pt x="0" y="0"/>
                  </a:lnTo>
                  <a:lnTo>
                    <a:pt x="7" y="0"/>
                  </a:lnTo>
                  <a:lnTo>
                    <a:pt x="15" y="6"/>
                  </a:lnTo>
                  <a:lnTo>
                    <a:pt x="19" y="6"/>
                  </a:lnTo>
                  <a:lnTo>
                    <a:pt x="21" y="9"/>
                  </a:lnTo>
                  <a:lnTo>
                    <a:pt x="19" y="13"/>
                  </a:lnTo>
                  <a:lnTo>
                    <a:pt x="19" y="20"/>
                  </a:lnTo>
                  <a:lnTo>
                    <a:pt x="19" y="22"/>
                  </a:lnTo>
                  <a:lnTo>
                    <a:pt x="15" y="22"/>
                  </a:lnTo>
                  <a:lnTo>
                    <a:pt x="13" y="24"/>
                  </a:lnTo>
                  <a:lnTo>
                    <a:pt x="11" y="2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8" name="Freeform 1264"/>
            <p:cNvSpPr>
              <a:spLocks/>
            </p:cNvSpPr>
            <p:nvPr/>
          </p:nvSpPr>
          <p:spPr bwMode="auto">
            <a:xfrm>
              <a:off x="4598309" y="3213032"/>
              <a:ext cx="51927" cy="47760"/>
            </a:xfrm>
            <a:custGeom>
              <a:avLst/>
              <a:gdLst/>
              <a:ahLst/>
              <a:cxnLst>
                <a:cxn ang="0">
                  <a:pos x="10" y="7"/>
                </a:cxn>
                <a:cxn ang="0">
                  <a:pos x="8" y="0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2" y="9"/>
                </a:cxn>
                <a:cxn ang="0">
                  <a:pos x="6" y="9"/>
                </a:cxn>
                <a:cxn ang="0">
                  <a:pos x="10" y="7"/>
                </a:cxn>
              </a:cxnLst>
              <a:rect l="0" t="0" r="r" b="b"/>
              <a:pathLst>
                <a:path w="10" h="9">
                  <a:moveTo>
                    <a:pt x="10" y="7"/>
                  </a:moveTo>
                  <a:lnTo>
                    <a:pt x="8" y="0"/>
                  </a:lnTo>
                  <a:lnTo>
                    <a:pt x="4" y="0"/>
                  </a:lnTo>
                  <a:lnTo>
                    <a:pt x="0" y="2"/>
                  </a:lnTo>
                  <a:lnTo>
                    <a:pt x="2" y="9"/>
                  </a:lnTo>
                  <a:lnTo>
                    <a:pt x="6" y="9"/>
                  </a:lnTo>
                  <a:lnTo>
                    <a:pt x="10" y="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9" name="Freeform 1265"/>
            <p:cNvSpPr>
              <a:spLocks/>
            </p:cNvSpPr>
            <p:nvPr/>
          </p:nvSpPr>
          <p:spPr bwMode="auto">
            <a:xfrm>
              <a:off x="4447721" y="2841565"/>
              <a:ext cx="212901" cy="159200"/>
            </a:xfrm>
            <a:custGeom>
              <a:avLst/>
              <a:gdLst/>
              <a:ahLst/>
              <a:cxnLst>
                <a:cxn ang="0">
                  <a:pos x="39" y="18"/>
                </a:cxn>
                <a:cxn ang="0">
                  <a:pos x="37" y="16"/>
                </a:cxn>
                <a:cxn ang="0">
                  <a:pos x="39" y="9"/>
                </a:cxn>
                <a:cxn ang="0">
                  <a:pos x="37" y="3"/>
                </a:cxn>
                <a:cxn ang="0">
                  <a:pos x="33" y="3"/>
                </a:cxn>
                <a:cxn ang="0">
                  <a:pos x="23" y="0"/>
                </a:cxn>
                <a:cxn ang="0">
                  <a:pos x="18" y="3"/>
                </a:cxn>
                <a:cxn ang="0">
                  <a:pos x="16" y="0"/>
                </a:cxn>
                <a:cxn ang="0">
                  <a:pos x="0" y="5"/>
                </a:cxn>
                <a:cxn ang="0">
                  <a:pos x="2" y="21"/>
                </a:cxn>
                <a:cxn ang="0">
                  <a:pos x="8" y="21"/>
                </a:cxn>
                <a:cxn ang="0">
                  <a:pos x="10" y="25"/>
                </a:cxn>
                <a:cxn ang="0">
                  <a:pos x="14" y="25"/>
                </a:cxn>
                <a:cxn ang="0">
                  <a:pos x="25" y="30"/>
                </a:cxn>
                <a:cxn ang="0">
                  <a:pos x="31" y="30"/>
                </a:cxn>
                <a:cxn ang="0">
                  <a:pos x="33" y="30"/>
                </a:cxn>
                <a:cxn ang="0">
                  <a:pos x="41" y="25"/>
                </a:cxn>
                <a:cxn ang="0">
                  <a:pos x="39" y="23"/>
                </a:cxn>
                <a:cxn ang="0">
                  <a:pos x="39" y="18"/>
                </a:cxn>
              </a:cxnLst>
              <a:rect l="0" t="0" r="r" b="b"/>
              <a:pathLst>
                <a:path w="41" h="30">
                  <a:moveTo>
                    <a:pt x="39" y="18"/>
                  </a:moveTo>
                  <a:lnTo>
                    <a:pt x="37" y="16"/>
                  </a:lnTo>
                  <a:lnTo>
                    <a:pt x="39" y="9"/>
                  </a:lnTo>
                  <a:lnTo>
                    <a:pt x="37" y="3"/>
                  </a:lnTo>
                  <a:lnTo>
                    <a:pt x="33" y="3"/>
                  </a:lnTo>
                  <a:lnTo>
                    <a:pt x="23" y="0"/>
                  </a:lnTo>
                  <a:lnTo>
                    <a:pt x="18" y="3"/>
                  </a:lnTo>
                  <a:lnTo>
                    <a:pt x="16" y="0"/>
                  </a:lnTo>
                  <a:lnTo>
                    <a:pt x="0" y="5"/>
                  </a:lnTo>
                  <a:lnTo>
                    <a:pt x="2" y="21"/>
                  </a:lnTo>
                  <a:lnTo>
                    <a:pt x="8" y="21"/>
                  </a:lnTo>
                  <a:lnTo>
                    <a:pt x="10" y="25"/>
                  </a:lnTo>
                  <a:lnTo>
                    <a:pt x="14" y="25"/>
                  </a:lnTo>
                  <a:lnTo>
                    <a:pt x="25" y="30"/>
                  </a:lnTo>
                  <a:lnTo>
                    <a:pt x="31" y="30"/>
                  </a:lnTo>
                  <a:lnTo>
                    <a:pt x="33" y="30"/>
                  </a:lnTo>
                  <a:lnTo>
                    <a:pt x="41" y="25"/>
                  </a:lnTo>
                  <a:lnTo>
                    <a:pt x="39" y="23"/>
                  </a:lnTo>
                  <a:lnTo>
                    <a:pt x="39" y="18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0" name="Freeform 1266"/>
            <p:cNvSpPr>
              <a:spLocks/>
            </p:cNvSpPr>
            <p:nvPr/>
          </p:nvSpPr>
          <p:spPr bwMode="auto">
            <a:xfrm>
              <a:off x="4281555" y="2841565"/>
              <a:ext cx="176552" cy="206960"/>
            </a:xfrm>
            <a:custGeom>
              <a:avLst/>
              <a:gdLst/>
              <a:ahLst/>
              <a:cxnLst>
                <a:cxn ang="0">
                  <a:pos x="21" y="3"/>
                </a:cxn>
                <a:cxn ang="0">
                  <a:pos x="15" y="0"/>
                </a:cxn>
                <a:cxn ang="0">
                  <a:pos x="11" y="0"/>
                </a:cxn>
                <a:cxn ang="0">
                  <a:pos x="9" y="5"/>
                </a:cxn>
                <a:cxn ang="0">
                  <a:pos x="7" y="5"/>
                </a:cxn>
                <a:cxn ang="0">
                  <a:pos x="2" y="12"/>
                </a:cxn>
                <a:cxn ang="0">
                  <a:pos x="0" y="16"/>
                </a:cxn>
                <a:cxn ang="0">
                  <a:pos x="0" y="21"/>
                </a:cxn>
                <a:cxn ang="0">
                  <a:pos x="0" y="25"/>
                </a:cxn>
                <a:cxn ang="0">
                  <a:pos x="0" y="27"/>
                </a:cxn>
                <a:cxn ang="0">
                  <a:pos x="7" y="34"/>
                </a:cxn>
                <a:cxn ang="0">
                  <a:pos x="7" y="39"/>
                </a:cxn>
                <a:cxn ang="0">
                  <a:pos x="15" y="39"/>
                </a:cxn>
                <a:cxn ang="0">
                  <a:pos x="30" y="39"/>
                </a:cxn>
                <a:cxn ang="0">
                  <a:pos x="25" y="36"/>
                </a:cxn>
                <a:cxn ang="0">
                  <a:pos x="32" y="34"/>
                </a:cxn>
                <a:cxn ang="0">
                  <a:pos x="25" y="27"/>
                </a:cxn>
                <a:cxn ang="0">
                  <a:pos x="23" y="25"/>
                </a:cxn>
                <a:cxn ang="0">
                  <a:pos x="34" y="18"/>
                </a:cxn>
                <a:cxn ang="0">
                  <a:pos x="34" y="21"/>
                </a:cxn>
                <a:cxn ang="0">
                  <a:pos x="32" y="5"/>
                </a:cxn>
                <a:cxn ang="0">
                  <a:pos x="30" y="3"/>
                </a:cxn>
                <a:cxn ang="0">
                  <a:pos x="32" y="3"/>
                </a:cxn>
                <a:cxn ang="0">
                  <a:pos x="30" y="0"/>
                </a:cxn>
                <a:cxn ang="0">
                  <a:pos x="21" y="5"/>
                </a:cxn>
                <a:cxn ang="0">
                  <a:pos x="21" y="3"/>
                </a:cxn>
              </a:cxnLst>
              <a:rect l="0" t="0" r="r" b="b"/>
              <a:pathLst>
                <a:path w="34" h="39">
                  <a:moveTo>
                    <a:pt x="21" y="3"/>
                  </a:moveTo>
                  <a:lnTo>
                    <a:pt x="15" y="0"/>
                  </a:lnTo>
                  <a:lnTo>
                    <a:pt x="11" y="0"/>
                  </a:lnTo>
                  <a:lnTo>
                    <a:pt x="9" y="5"/>
                  </a:lnTo>
                  <a:lnTo>
                    <a:pt x="7" y="5"/>
                  </a:lnTo>
                  <a:lnTo>
                    <a:pt x="2" y="12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0" y="25"/>
                  </a:lnTo>
                  <a:lnTo>
                    <a:pt x="0" y="27"/>
                  </a:lnTo>
                  <a:lnTo>
                    <a:pt x="7" y="34"/>
                  </a:lnTo>
                  <a:lnTo>
                    <a:pt x="7" y="39"/>
                  </a:lnTo>
                  <a:lnTo>
                    <a:pt x="15" y="39"/>
                  </a:lnTo>
                  <a:lnTo>
                    <a:pt x="30" y="39"/>
                  </a:lnTo>
                  <a:lnTo>
                    <a:pt x="25" y="36"/>
                  </a:lnTo>
                  <a:lnTo>
                    <a:pt x="32" y="34"/>
                  </a:lnTo>
                  <a:lnTo>
                    <a:pt x="25" y="27"/>
                  </a:lnTo>
                  <a:lnTo>
                    <a:pt x="23" y="25"/>
                  </a:lnTo>
                  <a:lnTo>
                    <a:pt x="34" y="18"/>
                  </a:lnTo>
                  <a:lnTo>
                    <a:pt x="34" y="21"/>
                  </a:lnTo>
                  <a:lnTo>
                    <a:pt x="32" y="5"/>
                  </a:lnTo>
                  <a:lnTo>
                    <a:pt x="30" y="3"/>
                  </a:lnTo>
                  <a:lnTo>
                    <a:pt x="32" y="3"/>
                  </a:lnTo>
                  <a:lnTo>
                    <a:pt x="30" y="0"/>
                  </a:lnTo>
                  <a:lnTo>
                    <a:pt x="21" y="5"/>
                  </a:lnTo>
                  <a:lnTo>
                    <a:pt x="21" y="3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1" name="Freeform 1267"/>
            <p:cNvSpPr>
              <a:spLocks/>
            </p:cNvSpPr>
            <p:nvPr/>
          </p:nvSpPr>
          <p:spPr bwMode="auto">
            <a:xfrm>
              <a:off x="4208858" y="2937085"/>
              <a:ext cx="72698" cy="4776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8" y="0"/>
                </a:cxn>
                <a:cxn ang="0">
                  <a:pos x="14" y="3"/>
                </a:cxn>
                <a:cxn ang="0">
                  <a:pos x="14" y="7"/>
                </a:cxn>
                <a:cxn ang="0">
                  <a:pos x="12" y="9"/>
                </a:cxn>
                <a:cxn ang="0">
                  <a:pos x="8" y="9"/>
                </a:cxn>
                <a:cxn ang="0">
                  <a:pos x="8" y="7"/>
                </a:cxn>
                <a:cxn ang="0">
                  <a:pos x="6" y="9"/>
                </a:cxn>
                <a:cxn ang="0">
                  <a:pos x="0" y="3"/>
                </a:cxn>
                <a:cxn ang="0">
                  <a:pos x="2" y="3"/>
                </a:cxn>
                <a:cxn ang="0">
                  <a:pos x="4" y="0"/>
                </a:cxn>
              </a:cxnLst>
              <a:rect l="0" t="0" r="r" b="b"/>
              <a:pathLst>
                <a:path w="14" h="9">
                  <a:moveTo>
                    <a:pt x="4" y="0"/>
                  </a:moveTo>
                  <a:lnTo>
                    <a:pt x="8" y="0"/>
                  </a:lnTo>
                  <a:lnTo>
                    <a:pt x="14" y="3"/>
                  </a:lnTo>
                  <a:lnTo>
                    <a:pt x="14" y="7"/>
                  </a:lnTo>
                  <a:lnTo>
                    <a:pt x="12" y="9"/>
                  </a:lnTo>
                  <a:lnTo>
                    <a:pt x="8" y="9"/>
                  </a:lnTo>
                  <a:lnTo>
                    <a:pt x="8" y="7"/>
                  </a:lnTo>
                  <a:lnTo>
                    <a:pt x="6" y="9"/>
                  </a:lnTo>
                  <a:lnTo>
                    <a:pt x="0" y="3"/>
                  </a:lnTo>
                  <a:lnTo>
                    <a:pt x="2" y="3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2" name="Freeform 1268"/>
            <p:cNvSpPr>
              <a:spLocks/>
            </p:cNvSpPr>
            <p:nvPr/>
          </p:nvSpPr>
          <p:spPr bwMode="auto">
            <a:xfrm>
              <a:off x="4271170" y="2390497"/>
              <a:ext cx="467342" cy="355547"/>
            </a:xfrm>
            <a:custGeom>
              <a:avLst/>
              <a:gdLst/>
              <a:ahLst/>
              <a:cxnLst>
                <a:cxn ang="0">
                  <a:pos x="52" y="11"/>
                </a:cxn>
                <a:cxn ang="0">
                  <a:pos x="52" y="16"/>
                </a:cxn>
                <a:cxn ang="0">
                  <a:pos x="48" y="11"/>
                </a:cxn>
                <a:cxn ang="0">
                  <a:pos x="44" y="16"/>
                </a:cxn>
                <a:cxn ang="0">
                  <a:pos x="42" y="16"/>
                </a:cxn>
                <a:cxn ang="0">
                  <a:pos x="40" y="20"/>
                </a:cxn>
                <a:cxn ang="0">
                  <a:pos x="34" y="25"/>
                </a:cxn>
                <a:cxn ang="0">
                  <a:pos x="32" y="34"/>
                </a:cxn>
                <a:cxn ang="0">
                  <a:pos x="34" y="36"/>
                </a:cxn>
                <a:cxn ang="0">
                  <a:pos x="25" y="36"/>
                </a:cxn>
                <a:cxn ang="0">
                  <a:pos x="25" y="43"/>
                </a:cxn>
                <a:cxn ang="0">
                  <a:pos x="27" y="52"/>
                </a:cxn>
                <a:cxn ang="0">
                  <a:pos x="25" y="52"/>
                </a:cxn>
                <a:cxn ang="0">
                  <a:pos x="27" y="58"/>
                </a:cxn>
                <a:cxn ang="0">
                  <a:pos x="25" y="58"/>
                </a:cxn>
                <a:cxn ang="0">
                  <a:pos x="23" y="61"/>
                </a:cxn>
                <a:cxn ang="0">
                  <a:pos x="19" y="61"/>
                </a:cxn>
                <a:cxn ang="0">
                  <a:pos x="9" y="67"/>
                </a:cxn>
                <a:cxn ang="0">
                  <a:pos x="2" y="67"/>
                </a:cxn>
                <a:cxn ang="0">
                  <a:pos x="2" y="61"/>
                </a:cxn>
                <a:cxn ang="0">
                  <a:pos x="0" y="61"/>
                </a:cxn>
                <a:cxn ang="0">
                  <a:pos x="2" y="58"/>
                </a:cxn>
                <a:cxn ang="0">
                  <a:pos x="0" y="54"/>
                </a:cxn>
                <a:cxn ang="0">
                  <a:pos x="0" y="52"/>
                </a:cxn>
                <a:cxn ang="0">
                  <a:pos x="0" y="47"/>
                </a:cxn>
                <a:cxn ang="0">
                  <a:pos x="9" y="43"/>
                </a:cxn>
                <a:cxn ang="0">
                  <a:pos x="11" y="43"/>
                </a:cxn>
                <a:cxn ang="0">
                  <a:pos x="13" y="36"/>
                </a:cxn>
                <a:cxn ang="0">
                  <a:pos x="17" y="38"/>
                </a:cxn>
                <a:cxn ang="0">
                  <a:pos x="25" y="29"/>
                </a:cxn>
                <a:cxn ang="0">
                  <a:pos x="32" y="20"/>
                </a:cxn>
                <a:cxn ang="0">
                  <a:pos x="40" y="16"/>
                </a:cxn>
                <a:cxn ang="0">
                  <a:pos x="36" y="16"/>
                </a:cxn>
                <a:cxn ang="0">
                  <a:pos x="34" y="11"/>
                </a:cxn>
                <a:cxn ang="0">
                  <a:pos x="40" y="9"/>
                </a:cxn>
                <a:cxn ang="0">
                  <a:pos x="40" y="11"/>
                </a:cxn>
                <a:cxn ang="0">
                  <a:pos x="42" y="11"/>
                </a:cxn>
                <a:cxn ang="0">
                  <a:pos x="44" y="11"/>
                </a:cxn>
                <a:cxn ang="0">
                  <a:pos x="42" y="11"/>
                </a:cxn>
                <a:cxn ang="0">
                  <a:pos x="42" y="9"/>
                </a:cxn>
                <a:cxn ang="0">
                  <a:pos x="48" y="4"/>
                </a:cxn>
                <a:cxn ang="0">
                  <a:pos x="57" y="4"/>
                </a:cxn>
                <a:cxn ang="0">
                  <a:pos x="63" y="2"/>
                </a:cxn>
                <a:cxn ang="0">
                  <a:pos x="67" y="2"/>
                </a:cxn>
                <a:cxn ang="0">
                  <a:pos x="71" y="0"/>
                </a:cxn>
                <a:cxn ang="0">
                  <a:pos x="71" y="2"/>
                </a:cxn>
                <a:cxn ang="0">
                  <a:pos x="73" y="2"/>
                </a:cxn>
                <a:cxn ang="0">
                  <a:pos x="75" y="2"/>
                </a:cxn>
                <a:cxn ang="0">
                  <a:pos x="80" y="0"/>
                </a:cxn>
                <a:cxn ang="0">
                  <a:pos x="82" y="2"/>
                </a:cxn>
                <a:cxn ang="0">
                  <a:pos x="90" y="2"/>
                </a:cxn>
                <a:cxn ang="0">
                  <a:pos x="82" y="4"/>
                </a:cxn>
                <a:cxn ang="0">
                  <a:pos x="90" y="9"/>
                </a:cxn>
                <a:cxn ang="0">
                  <a:pos x="84" y="11"/>
                </a:cxn>
                <a:cxn ang="0">
                  <a:pos x="84" y="9"/>
                </a:cxn>
                <a:cxn ang="0">
                  <a:pos x="80" y="4"/>
                </a:cxn>
                <a:cxn ang="0">
                  <a:pos x="73" y="4"/>
                </a:cxn>
                <a:cxn ang="0">
                  <a:pos x="73" y="11"/>
                </a:cxn>
                <a:cxn ang="0">
                  <a:pos x="71" y="11"/>
                </a:cxn>
                <a:cxn ang="0">
                  <a:pos x="63" y="11"/>
                </a:cxn>
                <a:cxn ang="0">
                  <a:pos x="57" y="9"/>
                </a:cxn>
                <a:cxn ang="0">
                  <a:pos x="54" y="11"/>
                </a:cxn>
                <a:cxn ang="0">
                  <a:pos x="52" y="11"/>
                </a:cxn>
              </a:cxnLst>
              <a:rect l="0" t="0" r="r" b="b"/>
              <a:pathLst>
                <a:path w="90" h="67">
                  <a:moveTo>
                    <a:pt x="52" y="11"/>
                  </a:moveTo>
                  <a:lnTo>
                    <a:pt x="52" y="16"/>
                  </a:lnTo>
                  <a:lnTo>
                    <a:pt x="48" y="11"/>
                  </a:lnTo>
                  <a:lnTo>
                    <a:pt x="44" y="16"/>
                  </a:lnTo>
                  <a:lnTo>
                    <a:pt x="42" y="16"/>
                  </a:lnTo>
                  <a:lnTo>
                    <a:pt x="40" y="20"/>
                  </a:lnTo>
                  <a:lnTo>
                    <a:pt x="34" y="25"/>
                  </a:lnTo>
                  <a:lnTo>
                    <a:pt x="32" y="34"/>
                  </a:lnTo>
                  <a:lnTo>
                    <a:pt x="34" y="36"/>
                  </a:lnTo>
                  <a:lnTo>
                    <a:pt x="25" y="36"/>
                  </a:lnTo>
                  <a:lnTo>
                    <a:pt x="25" y="43"/>
                  </a:lnTo>
                  <a:lnTo>
                    <a:pt x="27" y="52"/>
                  </a:lnTo>
                  <a:lnTo>
                    <a:pt x="25" y="52"/>
                  </a:lnTo>
                  <a:lnTo>
                    <a:pt x="27" y="58"/>
                  </a:lnTo>
                  <a:lnTo>
                    <a:pt x="25" y="58"/>
                  </a:lnTo>
                  <a:lnTo>
                    <a:pt x="23" y="61"/>
                  </a:lnTo>
                  <a:lnTo>
                    <a:pt x="19" y="61"/>
                  </a:lnTo>
                  <a:lnTo>
                    <a:pt x="9" y="67"/>
                  </a:lnTo>
                  <a:lnTo>
                    <a:pt x="2" y="67"/>
                  </a:lnTo>
                  <a:lnTo>
                    <a:pt x="2" y="61"/>
                  </a:lnTo>
                  <a:lnTo>
                    <a:pt x="0" y="61"/>
                  </a:lnTo>
                  <a:lnTo>
                    <a:pt x="2" y="58"/>
                  </a:lnTo>
                  <a:lnTo>
                    <a:pt x="0" y="54"/>
                  </a:lnTo>
                  <a:lnTo>
                    <a:pt x="0" y="52"/>
                  </a:lnTo>
                  <a:lnTo>
                    <a:pt x="0" y="47"/>
                  </a:lnTo>
                  <a:lnTo>
                    <a:pt x="9" y="43"/>
                  </a:lnTo>
                  <a:lnTo>
                    <a:pt x="11" y="43"/>
                  </a:lnTo>
                  <a:lnTo>
                    <a:pt x="13" y="36"/>
                  </a:lnTo>
                  <a:lnTo>
                    <a:pt x="17" y="38"/>
                  </a:lnTo>
                  <a:lnTo>
                    <a:pt x="25" y="29"/>
                  </a:lnTo>
                  <a:lnTo>
                    <a:pt x="32" y="20"/>
                  </a:lnTo>
                  <a:lnTo>
                    <a:pt x="40" y="16"/>
                  </a:lnTo>
                  <a:lnTo>
                    <a:pt x="36" y="16"/>
                  </a:lnTo>
                  <a:lnTo>
                    <a:pt x="34" y="11"/>
                  </a:lnTo>
                  <a:lnTo>
                    <a:pt x="40" y="9"/>
                  </a:lnTo>
                  <a:lnTo>
                    <a:pt x="40" y="11"/>
                  </a:lnTo>
                  <a:lnTo>
                    <a:pt x="42" y="11"/>
                  </a:lnTo>
                  <a:lnTo>
                    <a:pt x="44" y="11"/>
                  </a:lnTo>
                  <a:lnTo>
                    <a:pt x="42" y="11"/>
                  </a:lnTo>
                  <a:lnTo>
                    <a:pt x="42" y="9"/>
                  </a:lnTo>
                  <a:lnTo>
                    <a:pt x="48" y="4"/>
                  </a:lnTo>
                  <a:lnTo>
                    <a:pt x="57" y="4"/>
                  </a:lnTo>
                  <a:lnTo>
                    <a:pt x="63" y="2"/>
                  </a:lnTo>
                  <a:lnTo>
                    <a:pt x="67" y="2"/>
                  </a:lnTo>
                  <a:lnTo>
                    <a:pt x="71" y="0"/>
                  </a:lnTo>
                  <a:lnTo>
                    <a:pt x="71" y="2"/>
                  </a:lnTo>
                  <a:lnTo>
                    <a:pt x="73" y="2"/>
                  </a:lnTo>
                  <a:lnTo>
                    <a:pt x="75" y="2"/>
                  </a:lnTo>
                  <a:lnTo>
                    <a:pt x="80" y="0"/>
                  </a:lnTo>
                  <a:lnTo>
                    <a:pt x="82" y="2"/>
                  </a:lnTo>
                  <a:lnTo>
                    <a:pt x="90" y="2"/>
                  </a:lnTo>
                  <a:lnTo>
                    <a:pt x="82" y="4"/>
                  </a:lnTo>
                  <a:lnTo>
                    <a:pt x="90" y="9"/>
                  </a:lnTo>
                  <a:lnTo>
                    <a:pt x="84" y="11"/>
                  </a:lnTo>
                  <a:lnTo>
                    <a:pt x="84" y="9"/>
                  </a:lnTo>
                  <a:lnTo>
                    <a:pt x="80" y="4"/>
                  </a:lnTo>
                  <a:lnTo>
                    <a:pt x="73" y="4"/>
                  </a:lnTo>
                  <a:lnTo>
                    <a:pt x="73" y="11"/>
                  </a:lnTo>
                  <a:lnTo>
                    <a:pt x="71" y="11"/>
                  </a:lnTo>
                  <a:lnTo>
                    <a:pt x="63" y="11"/>
                  </a:lnTo>
                  <a:lnTo>
                    <a:pt x="57" y="9"/>
                  </a:lnTo>
                  <a:lnTo>
                    <a:pt x="54" y="11"/>
                  </a:lnTo>
                  <a:lnTo>
                    <a:pt x="52" y="1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3" name="Freeform 1269"/>
            <p:cNvSpPr>
              <a:spLocks/>
            </p:cNvSpPr>
            <p:nvPr/>
          </p:nvSpPr>
          <p:spPr bwMode="auto">
            <a:xfrm>
              <a:off x="4390601" y="2448871"/>
              <a:ext cx="228479" cy="371467"/>
            </a:xfrm>
            <a:custGeom>
              <a:avLst/>
              <a:gdLst/>
              <a:ahLst/>
              <a:cxnLst>
                <a:cxn ang="0">
                  <a:pos x="2" y="47"/>
                </a:cxn>
                <a:cxn ang="0">
                  <a:pos x="4" y="47"/>
                </a:cxn>
                <a:cxn ang="0">
                  <a:pos x="2" y="41"/>
                </a:cxn>
                <a:cxn ang="0">
                  <a:pos x="4" y="41"/>
                </a:cxn>
                <a:cxn ang="0">
                  <a:pos x="2" y="32"/>
                </a:cxn>
                <a:cxn ang="0">
                  <a:pos x="2" y="25"/>
                </a:cxn>
                <a:cxn ang="0">
                  <a:pos x="11" y="25"/>
                </a:cxn>
                <a:cxn ang="0">
                  <a:pos x="9" y="23"/>
                </a:cxn>
                <a:cxn ang="0">
                  <a:pos x="11" y="14"/>
                </a:cxn>
                <a:cxn ang="0">
                  <a:pos x="17" y="9"/>
                </a:cxn>
                <a:cxn ang="0">
                  <a:pos x="19" y="5"/>
                </a:cxn>
                <a:cxn ang="0">
                  <a:pos x="21" y="5"/>
                </a:cxn>
                <a:cxn ang="0">
                  <a:pos x="25" y="0"/>
                </a:cxn>
                <a:cxn ang="0">
                  <a:pos x="29" y="5"/>
                </a:cxn>
                <a:cxn ang="0">
                  <a:pos x="29" y="0"/>
                </a:cxn>
                <a:cxn ang="0">
                  <a:pos x="42" y="5"/>
                </a:cxn>
                <a:cxn ang="0">
                  <a:pos x="44" y="16"/>
                </a:cxn>
                <a:cxn ang="0">
                  <a:pos x="40" y="16"/>
                </a:cxn>
                <a:cxn ang="0">
                  <a:pos x="36" y="23"/>
                </a:cxn>
                <a:cxn ang="0">
                  <a:pos x="21" y="34"/>
                </a:cxn>
                <a:cxn ang="0">
                  <a:pos x="21" y="41"/>
                </a:cxn>
                <a:cxn ang="0">
                  <a:pos x="27" y="47"/>
                </a:cxn>
                <a:cxn ang="0">
                  <a:pos x="25" y="50"/>
                </a:cxn>
                <a:cxn ang="0">
                  <a:pos x="27" y="50"/>
                </a:cxn>
                <a:cxn ang="0">
                  <a:pos x="21" y="52"/>
                </a:cxn>
                <a:cxn ang="0">
                  <a:pos x="19" y="65"/>
                </a:cxn>
                <a:cxn ang="0">
                  <a:pos x="13" y="65"/>
                </a:cxn>
                <a:cxn ang="0">
                  <a:pos x="11" y="70"/>
                </a:cxn>
                <a:cxn ang="0">
                  <a:pos x="9" y="70"/>
                </a:cxn>
                <a:cxn ang="0">
                  <a:pos x="4" y="65"/>
                </a:cxn>
                <a:cxn ang="0">
                  <a:pos x="0" y="50"/>
                </a:cxn>
                <a:cxn ang="0">
                  <a:pos x="2" y="47"/>
                </a:cxn>
              </a:cxnLst>
              <a:rect l="0" t="0" r="r" b="b"/>
              <a:pathLst>
                <a:path w="44" h="70">
                  <a:moveTo>
                    <a:pt x="2" y="47"/>
                  </a:moveTo>
                  <a:lnTo>
                    <a:pt x="4" y="47"/>
                  </a:lnTo>
                  <a:lnTo>
                    <a:pt x="2" y="41"/>
                  </a:lnTo>
                  <a:lnTo>
                    <a:pt x="4" y="41"/>
                  </a:lnTo>
                  <a:lnTo>
                    <a:pt x="2" y="32"/>
                  </a:lnTo>
                  <a:lnTo>
                    <a:pt x="2" y="25"/>
                  </a:lnTo>
                  <a:lnTo>
                    <a:pt x="11" y="25"/>
                  </a:lnTo>
                  <a:lnTo>
                    <a:pt x="9" y="23"/>
                  </a:lnTo>
                  <a:lnTo>
                    <a:pt x="11" y="14"/>
                  </a:lnTo>
                  <a:lnTo>
                    <a:pt x="17" y="9"/>
                  </a:lnTo>
                  <a:lnTo>
                    <a:pt x="19" y="5"/>
                  </a:lnTo>
                  <a:lnTo>
                    <a:pt x="21" y="5"/>
                  </a:lnTo>
                  <a:lnTo>
                    <a:pt x="25" y="0"/>
                  </a:lnTo>
                  <a:lnTo>
                    <a:pt x="29" y="5"/>
                  </a:lnTo>
                  <a:lnTo>
                    <a:pt x="29" y="0"/>
                  </a:lnTo>
                  <a:lnTo>
                    <a:pt x="42" y="5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36" y="23"/>
                  </a:lnTo>
                  <a:lnTo>
                    <a:pt x="21" y="34"/>
                  </a:lnTo>
                  <a:lnTo>
                    <a:pt x="21" y="41"/>
                  </a:lnTo>
                  <a:lnTo>
                    <a:pt x="27" y="47"/>
                  </a:lnTo>
                  <a:lnTo>
                    <a:pt x="25" y="50"/>
                  </a:lnTo>
                  <a:lnTo>
                    <a:pt x="27" y="50"/>
                  </a:lnTo>
                  <a:lnTo>
                    <a:pt x="21" y="52"/>
                  </a:lnTo>
                  <a:lnTo>
                    <a:pt x="19" y="65"/>
                  </a:lnTo>
                  <a:lnTo>
                    <a:pt x="13" y="65"/>
                  </a:lnTo>
                  <a:lnTo>
                    <a:pt x="11" y="70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0" y="50"/>
                  </a:lnTo>
                  <a:lnTo>
                    <a:pt x="2" y="4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4" name="Freeform 1270"/>
            <p:cNvSpPr>
              <a:spLocks/>
            </p:cNvSpPr>
            <p:nvPr/>
          </p:nvSpPr>
          <p:spPr bwMode="auto">
            <a:xfrm>
              <a:off x="4541189" y="2411724"/>
              <a:ext cx="228479" cy="286560"/>
            </a:xfrm>
            <a:custGeom>
              <a:avLst/>
              <a:gdLst/>
              <a:ahLst/>
              <a:cxnLst>
                <a:cxn ang="0">
                  <a:pos x="32" y="7"/>
                </a:cxn>
                <a:cxn ang="0">
                  <a:pos x="30" y="7"/>
                </a:cxn>
                <a:cxn ang="0">
                  <a:pos x="30" y="12"/>
                </a:cxn>
                <a:cxn ang="0">
                  <a:pos x="36" y="14"/>
                </a:cxn>
                <a:cxn ang="0">
                  <a:pos x="36" y="16"/>
                </a:cxn>
                <a:cxn ang="0">
                  <a:pos x="38" y="23"/>
                </a:cxn>
                <a:cxn ang="0">
                  <a:pos x="38" y="25"/>
                </a:cxn>
                <a:cxn ang="0">
                  <a:pos x="40" y="30"/>
                </a:cxn>
                <a:cxn ang="0">
                  <a:pos x="40" y="32"/>
                </a:cxn>
                <a:cxn ang="0">
                  <a:pos x="44" y="39"/>
                </a:cxn>
                <a:cxn ang="0">
                  <a:pos x="32" y="50"/>
                </a:cxn>
                <a:cxn ang="0">
                  <a:pos x="19" y="54"/>
                </a:cxn>
                <a:cxn ang="0">
                  <a:pos x="11" y="50"/>
                </a:cxn>
                <a:cxn ang="0">
                  <a:pos x="11" y="43"/>
                </a:cxn>
                <a:cxn ang="0">
                  <a:pos x="7" y="39"/>
                </a:cxn>
                <a:cxn ang="0">
                  <a:pos x="11" y="39"/>
                </a:cxn>
                <a:cxn ang="0">
                  <a:pos x="21" y="25"/>
                </a:cxn>
                <a:cxn ang="0">
                  <a:pos x="21" y="23"/>
                </a:cxn>
                <a:cxn ang="0">
                  <a:pos x="19" y="23"/>
                </a:cxn>
                <a:cxn ang="0">
                  <a:pos x="15" y="23"/>
                </a:cxn>
                <a:cxn ang="0">
                  <a:pos x="13" y="12"/>
                </a:cxn>
                <a:cxn ang="0">
                  <a:pos x="0" y="7"/>
                </a:cxn>
                <a:cxn ang="0">
                  <a:pos x="5" y="5"/>
                </a:cxn>
                <a:cxn ang="0">
                  <a:pos x="11" y="7"/>
                </a:cxn>
                <a:cxn ang="0">
                  <a:pos x="19" y="7"/>
                </a:cxn>
                <a:cxn ang="0">
                  <a:pos x="21" y="7"/>
                </a:cxn>
                <a:cxn ang="0">
                  <a:pos x="21" y="0"/>
                </a:cxn>
                <a:cxn ang="0">
                  <a:pos x="28" y="0"/>
                </a:cxn>
                <a:cxn ang="0">
                  <a:pos x="32" y="5"/>
                </a:cxn>
                <a:cxn ang="0">
                  <a:pos x="32" y="7"/>
                </a:cxn>
              </a:cxnLst>
              <a:rect l="0" t="0" r="r" b="b"/>
              <a:pathLst>
                <a:path w="44" h="54">
                  <a:moveTo>
                    <a:pt x="32" y="7"/>
                  </a:moveTo>
                  <a:lnTo>
                    <a:pt x="30" y="7"/>
                  </a:lnTo>
                  <a:lnTo>
                    <a:pt x="30" y="12"/>
                  </a:lnTo>
                  <a:lnTo>
                    <a:pt x="36" y="14"/>
                  </a:lnTo>
                  <a:lnTo>
                    <a:pt x="36" y="16"/>
                  </a:lnTo>
                  <a:lnTo>
                    <a:pt x="38" y="23"/>
                  </a:lnTo>
                  <a:lnTo>
                    <a:pt x="38" y="25"/>
                  </a:lnTo>
                  <a:lnTo>
                    <a:pt x="40" y="30"/>
                  </a:lnTo>
                  <a:lnTo>
                    <a:pt x="40" y="32"/>
                  </a:lnTo>
                  <a:lnTo>
                    <a:pt x="44" y="39"/>
                  </a:lnTo>
                  <a:lnTo>
                    <a:pt x="32" y="50"/>
                  </a:lnTo>
                  <a:lnTo>
                    <a:pt x="19" y="54"/>
                  </a:lnTo>
                  <a:lnTo>
                    <a:pt x="11" y="50"/>
                  </a:lnTo>
                  <a:lnTo>
                    <a:pt x="11" y="43"/>
                  </a:lnTo>
                  <a:lnTo>
                    <a:pt x="7" y="39"/>
                  </a:lnTo>
                  <a:lnTo>
                    <a:pt x="11" y="39"/>
                  </a:lnTo>
                  <a:lnTo>
                    <a:pt x="21" y="25"/>
                  </a:lnTo>
                  <a:lnTo>
                    <a:pt x="21" y="23"/>
                  </a:lnTo>
                  <a:lnTo>
                    <a:pt x="19" y="23"/>
                  </a:lnTo>
                  <a:lnTo>
                    <a:pt x="15" y="23"/>
                  </a:lnTo>
                  <a:lnTo>
                    <a:pt x="13" y="12"/>
                  </a:lnTo>
                  <a:lnTo>
                    <a:pt x="0" y="7"/>
                  </a:lnTo>
                  <a:lnTo>
                    <a:pt x="5" y="5"/>
                  </a:lnTo>
                  <a:lnTo>
                    <a:pt x="11" y="7"/>
                  </a:lnTo>
                  <a:lnTo>
                    <a:pt x="19" y="7"/>
                  </a:lnTo>
                  <a:lnTo>
                    <a:pt x="21" y="7"/>
                  </a:lnTo>
                  <a:lnTo>
                    <a:pt x="21" y="0"/>
                  </a:lnTo>
                  <a:lnTo>
                    <a:pt x="28" y="0"/>
                  </a:lnTo>
                  <a:lnTo>
                    <a:pt x="32" y="5"/>
                  </a:lnTo>
                  <a:lnTo>
                    <a:pt x="32" y="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5" name="Freeform 1271"/>
            <p:cNvSpPr>
              <a:spLocks/>
            </p:cNvSpPr>
            <p:nvPr/>
          </p:nvSpPr>
          <p:spPr bwMode="auto">
            <a:xfrm>
              <a:off x="1409999" y="2316204"/>
              <a:ext cx="1583769" cy="907441"/>
            </a:xfrm>
            <a:custGeom>
              <a:avLst/>
              <a:gdLst/>
              <a:ahLst/>
              <a:cxnLst>
                <a:cxn ang="0">
                  <a:pos x="251" y="151"/>
                </a:cxn>
                <a:cxn ang="0">
                  <a:pos x="244" y="162"/>
                </a:cxn>
                <a:cxn ang="0">
                  <a:pos x="274" y="147"/>
                </a:cxn>
                <a:cxn ang="0">
                  <a:pos x="267" y="147"/>
                </a:cxn>
                <a:cxn ang="0">
                  <a:pos x="257" y="138"/>
                </a:cxn>
                <a:cxn ang="0">
                  <a:pos x="261" y="133"/>
                </a:cxn>
                <a:cxn ang="0">
                  <a:pos x="228" y="142"/>
                </a:cxn>
                <a:cxn ang="0">
                  <a:pos x="251" y="129"/>
                </a:cxn>
                <a:cxn ang="0">
                  <a:pos x="282" y="124"/>
                </a:cxn>
                <a:cxn ang="0">
                  <a:pos x="305" y="104"/>
                </a:cxn>
                <a:cxn ang="0">
                  <a:pos x="297" y="102"/>
                </a:cxn>
                <a:cxn ang="0">
                  <a:pos x="297" y="95"/>
                </a:cxn>
                <a:cxn ang="0">
                  <a:pos x="288" y="90"/>
                </a:cxn>
                <a:cxn ang="0">
                  <a:pos x="282" y="72"/>
                </a:cxn>
                <a:cxn ang="0">
                  <a:pos x="267" y="75"/>
                </a:cxn>
                <a:cxn ang="0">
                  <a:pos x="265" y="61"/>
                </a:cxn>
                <a:cxn ang="0">
                  <a:pos x="242" y="59"/>
                </a:cxn>
                <a:cxn ang="0">
                  <a:pos x="230" y="77"/>
                </a:cxn>
                <a:cxn ang="0">
                  <a:pos x="213" y="99"/>
                </a:cxn>
                <a:cxn ang="0">
                  <a:pos x="196" y="108"/>
                </a:cxn>
                <a:cxn ang="0">
                  <a:pos x="178" y="86"/>
                </a:cxn>
                <a:cxn ang="0">
                  <a:pos x="169" y="77"/>
                </a:cxn>
                <a:cxn ang="0">
                  <a:pos x="188" y="59"/>
                </a:cxn>
                <a:cxn ang="0">
                  <a:pos x="205" y="50"/>
                </a:cxn>
                <a:cxn ang="0">
                  <a:pos x="228" y="39"/>
                </a:cxn>
                <a:cxn ang="0">
                  <a:pos x="249" y="34"/>
                </a:cxn>
                <a:cxn ang="0">
                  <a:pos x="257" y="23"/>
                </a:cxn>
                <a:cxn ang="0">
                  <a:pos x="238" y="30"/>
                </a:cxn>
                <a:cxn ang="0">
                  <a:pos x="230" y="25"/>
                </a:cxn>
                <a:cxn ang="0">
                  <a:pos x="222" y="23"/>
                </a:cxn>
                <a:cxn ang="0">
                  <a:pos x="222" y="9"/>
                </a:cxn>
                <a:cxn ang="0">
                  <a:pos x="234" y="7"/>
                </a:cxn>
                <a:cxn ang="0">
                  <a:pos x="228" y="5"/>
                </a:cxn>
                <a:cxn ang="0">
                  <a:pos x="209" y="18"/>
                </a:cxn>
                <a:cxn ang="0">
                  <a:pos x="199" y="32"/>
                </a:cxn>
                <a:cxn ang="0">
                  <a:pos x="205" y="25"/>
                </a:cxn>
                <a:cxn ang="0">
                  <a:pos x="190" y="25"/>
                </a:cxn>
                <a:cxn ang="0">
                  <a:pos x="180" y="32"/>
                </a:cxn>
                <a:cxn ang="0">
                  <a:pos x="157" y="30"/>
                </a:cxn>
                <a:cxn ang="0">
                  <a:pos x="151" y="30"/>
                </a:cxn>
                <a:cxn ang="0">
                  <a:pos x="140" y="30"/>
                </a:cxn>
                <a:cxn ang="0">
                  <a:pos x="123" y="18"/>
                </a:cxn>
                <a:cxn ang="0">
                  <a:pos x="103" y="23"/>
                </a:cxn>
                <a:cxn ang="0">
                  <a:pos x="94" y="18"/>
                </a:cxn>
                <a:cxn ang="0">
                  <a:pos x="67" y="25"/>
                </a:cxn>
                <a:cxn ang="0">
                  <a:pos x="7" y="68"/>
                </a:cxn>
                <a:cxn ang="0">
                  <a:pos x="19" y="72"/>
                </a:cxn>
                <a:cxn ang="0">
                  <a:pos x="19" y="93"/>
                </a:cxn>
                <a:cxn ang="0">
                  <a:pos x="7" y="111"/>
                </a:cxn>
                <a:cxn ang="0">
                  <a:pos x="13" y="124"/>
                </a:cxn>
                <a:cxn ang="0">
                  <a:pos x="134" y="129"/>
                </a:cxn>
                <a:cxn ang="0">
                  <a:pos x="151" y="135"/>
                </a:cxn>
                <a:cxn ang="0">
                  <a:pos x="169" y="135"/>
                </a:cxn>
                <a:cxn ang="0">
                  <a:pos x="186" y="147"/>
                </a:cxn>
                <a:cxn ang="0">
                  <a:pos x="180" y="151"/>
                </a:cxn>
                <a:cxn ang="0">
                  <a:pos x="165" y="171"/>
                </a:cxn>
                <a:cxn ang="0">
                  <a:pos x="186" y="162"/>
                </a:cxn>
                <a:cxn ang="0">
                  <a:pos x="196" y="160"/>
                </a:cxn>
                <a:cxn ang="0">
                  <a:pos x="222" y="153"/>
                </a:cxn>
                <a:cxn ang="0">
                  <a:pos x="242" y="142"/>
                </a:cxn>
                <a:cxn ang="0">
                  <a:pos x="242" y="151"/>
                </a:cxn>
              </a:cxnLst>
              <a:rect l="0" t="0" r="r" b="b"/>
              <a:pathLst>
                <a:path w="305" h="171">
                  <a:moveTo>
                    <a:pt x="242" y="151"/>
                  </a:moveTo>
                  <a:lnTo>
                    <a:pt x="253" y="151"/>
                  </a:lnTo>
                  <a:lnTo>
                    <a:pt x="251" y="151"/>
                  </a:lnTo>
                  <a:lnTo>
                    <a:pt x="253" y="151"/>
                  </a:lnTo>
                  <a:lnTo>
                    <a:pt x="244" y="156"/>
                  </a:lnTo>
                  <a:lnTo>
                    <a:pt x="244" y="162"/>
                  </a:lnTo>
                  <a:lnTo>
                    <a:pt x="253" y="156"/>
                  </a:lnTo>
                  <a:lnTo>
                    <a:pt x="267" y="151"/>
                  </a:lnTo>
                  <a:lnTo>
                    <a:pt x="274" y="147"/>
                  </a:lnTo>
                  <a:lnTo>
                    <a:pt x="274" y="144"/>
                  </a:lnTo>
                  <a:lnTo>
                    <a:pt x="274" y="142"/>
                  </a:lnTo>
                  <a:lnTo>
                    <a:pt x="267" y="147"/>
                  </a:lnTo>
                  <a:lnTo>
                    <a:pt x="259" y="147"/>
                  </a:lnTo>
                  <a:lnTo>
                    <a:pt x="253" y="144"/>
                  </a:lnTo>
                  <a:lnTo>
                    <a:pt x="257" y="138"/>
                  </a:lnTo>
                  <a:lnTo>
                    <a:pt x="253" y="138"/>
                  </a:lnTo>
                  <a:lnTo>
                    <a:pt x="251" y="135"/>
                  </a:lnTo>
                  <a:lnTo>
                    <a:pt x="261" y="133"/>
                  </a:lnTo>
                  <a:lnTo>
                    <a:pt x="259" y="129"/>
                  </a:lnTo>
                  <a:lnTo>
                    <a:pt x="242" y="133"/>
                  </a:lnTo>
                  <a:lnTo>
                    <a:pt x="228" y="142"/>
                  </a:lnTo>
                  <a:lnTo>
                    <a:pt x="238" y="133"/>
                  </a:lnTo>
                  <a:lnTo>
                    <a:pt x="249" y="129"/>
                  </a:lnTo>
                  <a:lnTo>
                    <a:pt x="251" y="129"/>
                  </a:lnTo>
                  <a:lnTo>
                    <a:pt x="253" y="124"/>
                  </a:lnTo>
                  <a:lnTo>
                    <a:pt x="265" y="124"/>
                  </a:lnTo>
                  <a:lnTo>
                    <a:pt x="282" y="124"/>
                  </a:lnTo>
                  <a:lnTo>
                    <a:pt x="290" y="117"/>
                  </a:lnTo>
                  <a:lnTo>
                    <a:pt x="305" y="115"/>
                  </a:lnTo>
                  <a:lnTo>
                    <a:pt x="305" y="104"/>
                  </a:lnTo>
                  <a:lnTo>
                    <a:pt x="301" y="104"/>
                  </a:lnTo>
                  <a:lnTo>
                    <a:pt x="301" y="102"/>
                  </a:lnTo>
                  <a:lnTo>
                    <a:pt x="297" y="102"/>
                  </a:lnTo>
                  <a:lnTo>
                    <a:pt x="301" y="99"/>
                  </a:lnTo>
                  <a:lnTo>
                    <a:pt x="297" y="99"/>
                  </a:lnTo>
                  <a:lnTo>
                    <a:pt x="297" y="95"/>
                  </a:lnTo>
                  <a:lnTo>
                    <a:pt x="290" y="95"/>
                  </a:lnTo>
                  <a:lnTo>
                    <a:pt x="292" y="93"/>
                  </a:lnTo>
                  <a:lnTo>
                    <a:pt x="288" y="90"/>
                  </a:lnTo>
                  <a:lnTo>
                    <a:pt x="292" y="86"/>
                  </a:lnTo>
                  <a:lnTo>
                    <a:pt x="288" y="68"/>
                  </a:lnTo>
                  <a:lnTo>
                    <a:pt x="282" y="72"/>
                  </a:lnTo>
                  <a:lnTo>
                    <a:pt x="282" y="75"/>
                  </a:lnTo>
                  <a:lnTo>
                    <a:pt x="270" y="81"/>
                  </a:lnTo>
                  <a:lnTo>
                    <a:pt x="267" y="75"/>
                  </a:lnTo>
                  <a:lnTo>
                    <a:pt x="270" y="66"/>
                  </a:lnTo>
                  <a:lnTo>
                    <a:pt x="265" y="66"/>
                  </a:lnTo>
                  <a:lnTo>
                    <a:pt x="265" y="61"/>
                  </a:lnTo>
                  <a:lnTo>
                    <a:pt x="259" y="59"/>
                  </a:lnTo>
                  <a:lnTo>
                    <a:pt x="249" y="57"/>
                  </a:lnTo>
                  <a:lnTo>
                    <a:pt x="242" y="59"/>
                  </a:lnTo>
                  <a:lnTo>
                    <a:pt x="238" y="66"/>
                  </a:lnTo>
                  <a:lnTo>
                    <a:pt x="236" y="72"/>
                  </a:lnTo>
                  <a:lnTo>
                    <a:pt x="230" y="77"/>
                  </a:lnTo>
                  <a:lnTo>
                    <a:pt x="234" y="81"/>
                  </a:lnTo>
                  <a:lnTo>
                    <a:pt x="228" y="93"/>
                  </a:lnTo>
                  <a:lnTo>
                    <a:pt x="213" y="99"/>
                  </a:lnTo>
                  <a:lnTo>
                    <a:pt x="211" y="115"/>
                  </a:lnTo>
                  <a:lnTo>
                    <a:pt x="203" y="117"/>
                  </a:lnTo>
                  <a:lnTo>
                    <a:pt x="196" y="108"/>
                  </a:lnTo>
                  <a:lnTo>
                    <a:pt x="205" y="99"/>
                  </a:lnTo>
                  <a:lnTo>
                    <a:pt x="194" y="95"/>
                  </a:lnTo>
                  <a:lnTo>
                    <a:pt x="178" y="86"/>
                  </a:lnTo>
                  <a:lnTo>
                    <a:pt x="171" y="86"/>
                  </a:lnTo>
                  <a:lnTo>
                    <a:pt x="174" y="77"/>
                  </a:lnTo>
                  <a:lnTo>
                    <a:pt x="169" y="77"/>
                  </a:lnTo>
                  <a:lnTo>
                    <a:pt x="169" y="75"/>
                  </a:lnTo>
                  <a:lnTo>
                    <a:pt x="180" y="66"/>
                  </a:lnTo>
                  <a:lnTo>
                    <a:pt x="188" y="59"/>
                  </a:lnTo>
                  <a:lnTo>
                    <a:pt x="190" y="57"/>
                  </a:lnTo>
                  <a:lnTo>
                    <a:pt x="199" y="57"/>
                  </a:lnTo>
                  <a:lnTo>
                    <a:pt x="205" y="50"/>
                  </a:lnTo>
                  <a:lnTo>
                    <a:pt x="211" y="50"/>
                  </a:lnTo>
                  <a:lnTo>
                    <a:pt x="219" y="43"/>
                  </a:lnTo>
                  <a:lnTo>
                    <a:pt x="228" y="39"/>
                  </a:lnTo>
                  <a:lnTo>
                    <a:pt x="230" y="39"/>
                  </a:lnTo>
                  <a:lnTo>
                    <a:pt x="236" y="39"/>
                  </a:lnTo>
                  <a:lnTo>
                    <a:pt x="249" y="34"/>
                  </a:lnTo>
                  <a:lnTo>
                    <a:pt x="251" y="32"/>
                  </a:lnTo>
                  <a:lnTo>
                    <a:pt x="249" y="32"/>
                  </a:lnTo>
                  <a:lnTo>
                    <a:pt x="257" y="23"/>
                  </a:lnTo>
                  <a:lnTo>
                    <a:pt x="253" y="23"/>
                  </a:lnTo>
                  <a:lnTo>
                    <a:pt x="244" y="18"/>
                  </a:lnTo>
                  <a:lnTo>
                    <a:pt x="238" y="30"/>
                  </a:lnTo>
                  <a:lnTo>
                    <a:pt x="228" y="34"/>
                  </a:lnTo>
                  <a:lnTo>
                    <a:pt x="228" y="32"/>
                  </a:lnTo>
                  <a:lnTo>
                    <a:pt x="230" y="25"/>
                  </a:lnTo>
                  <a:lnTo>
                    <a:pt x="230" y="23"/>
                  </a:lnTo>
                  <a:lnTo>
                    <a:pt x="226" y="25"/>
                  </a:lnTo>
                  <a:lnTo>
                    <a:pt x="222" y="23"/>
                  </a:lnTo>
                  <a:lnTo>
                    <a:pt x="219" y="18"/>
                  </a:lnTo>
                  <a:lnTo>
                    <a:pt x="226" y="18"/>
                  </a:lnTo>
                  <a:lnTo>
                    <a:pt x="222" y="9"/>
                  </a:lnTo>
                  <a:lnTo>
                    <a:pt x="228" y="9"/>
                  </a:lnTo>
                  <a:lnTo>
                    <a:pt x="228" y="7"/>
                  </a:lnTo>
                  <a:lnTo>
                    <a:pt x="234" y="7"/>
                  </a:lnTo>
                  <a:lnTo>
                    <a:pt x="244" y="0"/>
                  </a:lnTo>
                  <a:lnTo>
                    <a:pt x="236" y="0"/>
                  </a:lnTo>
                  <a:lnTo>
                    <a:pt x="228" y="5"/>
                  </a:lnTo>
                  <a:lnTo>
                    <a:pt x="219" y="9"/>
                  </a:lnTo>
                  <a:lnTo>
                    <a:pt x="209" y="16"/>
                  </a:lnTo>
                  <a:lnTo>
                    <a:pt x="209" y="18"/>
                  </a:lnTo>
                  <a:lnTo>
                    <a:pt x="213" y="23"/>
                  </a:lnTo>
                  <a:lnTo>
                    <a:pt x="209" y="25"/>
                  </a:lnTo>
                  <a:lnTo>
                    <a:pt x="199" y="32"/>
                  </a:lnTo>
                  <a:lnTo>
                    <a:pt x="196" y="32"/>
                  </a:lnTo>
                  <a:lnTo>
                    <a:pt x="199" y="30"/>
                  </a:lnTo>
                  <a:lnTo>
                    <a:pt x="205" y="25"/>
                  </a:lnTo>
                  <a:lnTo>
                    <a:pt x="205" y="23"/>
                  </a:lnTo>
                  <a:lnTo>
                    <a:pt x="203" y="18"/>
                  </a:lnTo>
                  <a:lnTo>
                    <a:pt x="190" y="25"/>
                  </a:lnTo>
                  <a:lnTo>
                    <a:pt x="196" y="25"/>
                  </a:lnTo>
                  <a:lnTo>
                    <a:pt x="188" y="32"/>
                  </a:lnTo>
                  <a:lnTo>
                    <a:pt x="180" y="32"/>
                  </a:lnTo>
                  <a:lnTo>
                    <a:pt x="171" y="30"/>
                  </a:lnTo>
                  <a:lnTo>
                    <a:pt x="171" y="25"/>
                  </a:lnTo>
                  <a:lnTo>
                    <a:pt x="157" y="30"/>
                  </a:lnTo>
                  <a:lnTo>
                    <a:pt x="159" y="30"/>
                  </a:lnTo>
                  <a:lnTo>
                    <a:pt x="157" y="32"/>
                  </a:lnTo>
                  <a:lnTo>
                    <a:pt x="151" y="30"/>
                  </a:lnTo>
                  <a:lnTo>
                    <a:pt x="140" y="32"/>
                  </a:lnTo>
                  <a:lnTo>
                    <a:pt x="132" y="32"/>
                  </a:lnTo>
                  <a:lnTo>
                    <a:pt x="140" y="30"/>
                  </a:lnTo>
                  <a:lnTo>
                    <a:pt x="140" y="25"/>
                  </a:lnTo>
                  <a:lnTo>
                    <a:pt x="126" y="23"/>
                  </a:lnTo>
                  <a:lnTo>
                    <a:pt x="123" y="18"/>
                  </a:lnTo>
                  <a:lnTo>
                    <a:pt x="117" y="18"/>
                  </a:lnTo>
                  <a:lnTo>
                    <a:pt x="111" y="23"/>
                  </a:lnTo>
                  <a:lnTo>
                    <a:pt x="103" y="23"/>
                  </a:lnTo>
                  <a:lnTo>
                    <a:pt x="107" y="18"/>
                  </a:lnTo>
                  <a:lnTo>
                    <a:pt x="103" y="16"/>
                  </a:lnTo>
                  <a:lnTo>
                    <a:pt x="94" y="18"/>
                  </a:lnTo>
                  <a:lnTo>
                    <a:pt x="78" y="23"/>
                  </a:lnTo>
                  <a:lnTo>
                    <a:pt x="71" y="23"/>
                  </a:lnTo>
                  <a:lnTo>
                    <a:pt x="67" y="25"/>
                  </a:lnTo>
                  <a:lnTo>
                    <a:pt x="55" y="23"/>
                  </a:lnTo>
                  <a:lnTo>
                    <a:pt x="0" y="68"/>
                  </a:lnTo>
                  <a:lnTo>
                    <a:pt x="7" y="68"/>
                  </a:lnTo>
                  <a:lnTo>
                    <a:pt x="5" y="72"/>
                  </a:lnTo>
                  <a:lnTo>
                    <a:pt x="7" y="75"/>
                  </a:lnTo>
                  <a:lnTo>
                    <a:pt x="19" y="72"/>
                  </a:lnTo>
                  <a:lnTo>
                    <a:pt x="19" y="77"/>
                  </a:lnTo>
                  <a:lnTo>
                    <a:pt x="15" y="90"/>
                  </a:lnTo>
                  <a:lnTo>
                    <a:pt x="19" y="93"/>
                  </a:lnTo>
                  <a:lnTo>
                    <a:pt x="15" y="99"/>
                  </a:lnTo>
                  <a:lnTo>
                    <a:pt x="7" y="102"/>
                  </a:lnTo>
                  <a:lnTo>
                    <a:pt x="7" y="111"/>
                  </a:lnTo>
                  <a:lnTo>
                    <a:pt x="11" y="111"/>
                  </a:lnTo>
                  <a:lnTo>
                    <a:pt x="7" y="117"/>
                  </a:lnTo>
                  <a:lnTo>
                    <a:pt x="13" y="124"/>
                  </a:lnTo>
                  <a:lnTo>
                    <a:pt x="19" y="129"/>
                  </a:lnTo>
                  <a:lnTo>
                    <a:pt x="132" y="129"/>
                  </a:lnTo>
                  <a:lnTo>
                    <a:pt x="134" y="129"/>
                  </a:lnTo>
                  <a:lnTo>
                    <a:pt x="138" y="133"/>
                  </a:lnTo>
                  <a:lnTo>
                    <a:pt x="155" y="135"/>
                  </a:lnTo>
                  <a:lnTo>
                    <a:pt x="151" y="135"/>
                  </a:lnTo>
                  <a:lnTo>
                    <a:pt x="163" y="129"/>
                  </a:lnTo>
                  <a:lnTo>
                    <a:pt x="169" y="133"/>
                  </a:lnTo>
                  <a:lnTo>
                    <a:pt x="169" y="135"/>
                  </a:lnTo>
                  <a:lnTo>
                    <a:pt x="174" y="135"/>
                  </a:lnTo>
                  <a:lnTo>
                    <a:pt x="171" y="144"/>
                  </a:lnTo>
                  <a:lnTo>
                    <a:pt x="186" y="147"/>
                  </a:lnTo>
                  <a:lnTo>
                    <a:pt x="188" y="153"/>
                  </a:lnTo>
                  <a:lnTo>
                    <a:pt x="186" y="156"/>
                  </a:lnTo>
                  <a:lnTo>
                    <a:pt x="180" y="151"/>
                  </a:lnTo>
                  <a:lnTo>
                    <a:pt x="174" y="162"/>
                  </a:lnTo>
                  <a:lnTo>
                    <a:pt x="171" y="162"/>
                  </a:lnTo>
                  <a:lnTo>
                    <a:pt x="165" y="171"/>
                  </a:lnTo>
                  <a:lnTo>
                    <a:pt x="174" y="167"/>
                  </a:lnTo>
                  <a:lnTo>
                    <a:pt x="188" y="167"/>
                  </a:lnTo>
                  <a:lnTo>
                    <a:pt x="186" y="162"/>
                  </a:lnTo>
                  <a:lnTo>
                    <a:pt x="182" y="162"/>
                  </a:lnTo>
                  <a:lnTo>
                    <a:pt x="186" y="160"/>
                  </a:lnTo>
                  <a:lnTo>
                    <a:pt x="196" y="160"/>
                  </a:lnTo>
                  <a:lnTo>
                    <a:pt x="203" y="156"/>
                  </a:lnTo>
                  <a:lnTo>
                    <a:pt x="209" y="153"/>
                  </a:lnTo>
                  <a:lnTo>
                    <a:pt x="222" y="153"/>
                  </a:lnTo>
                  <a:lnTo>
                    <a:pt x="228" y="151"/>
                  </a:lnTo>
                  <a:lnTo>
                    <a:pt x="236" y="138"/>
                  </a:lnTo>
                  <a:lnTo>
                    <a:pt x="242" y="142"/>
                  </a:lnTo>
                  <a:lnTo>
                    <a:pt x="238" y="151"/>
                  </a:lnTo>
                  <a:lnTo>
                    <a:pt x="240" y="151"/>
                  </a:lnTo>
                  <a:lnTo>
                    <a:pt x="242" y="15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6" name="Freeform 1272"/>
            <p:cNvSpPr>
              <a:spLocks/>
            </p:cNvSpPr>
            <p:nvPr/>
          </p:nvSpPr>
          <p:spPr bwMode="auto">
            <a:xfrm>
              <a:off x="750529" y="2390497"/>
              <a:ext cx="945069" cy="466987"/>
            </a:xfrm>
            <a:custGeom>
              <a:avLst/>
              <a:gdLst/>
              <a:ahLst/>
              <a:cxnLst>
                <a:cxn ang="0">
                  <a:pos x="134" y="54"/>
                </a:cxn>
                <a:cxn ang="0">
                  <a:pos x="134" y="61"/>
                </a:cxn>
                <a:cxn ang="0">
                  <a:pos x="146" y="63"/>
                </a:cxn>
                <a:cxn ang="0">
                  <a:pos x="146" y="79"/>
                </a:cxn>
                <a:cxn ang="0">
                  <a:pos x="140" y="85"/>
                </a:cxn>
                <a:cxn ang="0">
                  <a:pos x="138" y="79"/>
                </a:cxn>
                <a:cxn ang="0">
                  <a:pos x="138" y="76"/>
                </a:cxn>
                <a:cxn ang="0">
                  <a:pos x="132" y="81"/>
                </a:cxn>
                <a:cxn ang="0">
                  <a:pos x="132" y="76"/>
                </a:cxn>
                <a:cxn ang="0">
                  <a:pos x="138" y="72"/>
                </a:cxn>
                <a:cxn ang="0">
                  <a:pos x="140" y="70"/>
                </a:cxn>
                <a:cxn ang="0">
                  <a:pos x="138" y="67"/>
                </a:cxn>
                <a:cxn ang="0">
                  <a:pos x="127" y="61"/>
                </a:cxn>
                <a:cxn ang="0">
                  <a:pos x="125" y="58"/>
                </a:cxn>
                <a:cxn ang="0">
                  <a:pos x="109" y="52"/>
                </a:cxn>
                <a:cxn ang="0">
                  <a:pos x="94" y="58"/>
                </a:cxn>
                <a:cxn ang="0">
                  <a:pos x="71" y="61"/>
                </a:cxn>
                <a:cxn ang="0">
                  <a:pos x="69" y="63"/>
                </a:cxn>
                <a:cxn ang="0">
                  <a:pos x="36" y="79"/>
                </a:cxn>
                <a:cxn ang="0">
                  <a:pos x="50" y="70"/>
                </a:cxn>
                <a:cxn ang="0">
                  <a:pos x="50" y="63"/>
                </a:cxn>
                <a:cxn ang="0">
                  <a:pos x="46" y="58"/>
                </a:cxn>
                <a:cxn ang="0">
                  <a:pos x="40" y="47"/>
                </a:cxn>
                <a:cxn ang="0">
                  <a:pos x="71" y="38"/>
                </a:cxn>
                <a:cxn ang="0">
                  <a:pos x="71" y="34"/>
                </a:cxn>
                <a:cxn ang="0">
                  <a:pos x="63" y="29"/>
                </a:cxn>
                <a:cxn ang="0">
                  <a:pos x="77" y="25"/>
                </a:cxn>
                <a:cxn ang="0">
                  <a:pos x="77" y="25"/>
                </a:cxn>
                <a:cxn ang="0">
                  <a:pos x="86" y="20"/>
                </a:cxn>
                <a:cxn ang="0">
                  <a:pos x="86" y="16"/>
                </a:cxn>
                <a:cxn ang="0">
                  <a:pos x="100" y="11"/>
                </a:cxn>
                <a:cxn ang="0">
                  <a:pos x="140" y="0"/>
                </a:cxn>
                <a:cxn ang="0">
                  <a:pos x="142" y="2"/>
                </a:cxn>
                <a:cxn ang="0">
                  <a:pos x="177" y="4"/>
                </a:cxn>
                <a:cxn ang="0">
                  <a:pos x="154" y="31"/>
                </a:cxn>
              </a:cxnLst>
              <a:rect l="0" t="0" r="r" b="b"/>
              <a:pathLst>
                <a:path w="182" h="88">
                  <a:moveTo>
                    <a:pt x="127" y="54"/>
                  </a:moveTo>
                  <a:lnTo>
                    <a:pt x="134" y="54"/>
                  </a:lnTo>
                  <a:lnTo>
                    <a:pt x="132" y="58"/>
                  </a:lnTo>
                  <a:lnTo>
                    <a:pt x="134" y="61"/>
                  </a:lnTo>
                  <a:lnTo>
                    <a:pt x="146" y="58"/>
                  </a:lnTo>
                  <a:lnTo>
                    <a:pt x="146" y="63"/>
                  </a:lnTo>
                  <a:lnTo>
                    <a:pt x="142" y="76"/>
                  </a:lnTo>
                  <a:lnTo>
                    <a:pt x="146" y="79"/>
                  </a:lnTo>
                  <a:lnTo>
                    <a:pt x="142" y="85"/>
                  </a:lnTo>
                  <a:lnTo>
                    <a:pt x="140" y="85"/>
                  </a:lnTo>
                  <a:lnTo>
                    <a:pt x="138" y="85"/>
                  </a:lnTo>
                  <a:lnTo>
                    <a:pt x="138" y="79"/>
                  </a:lnTo>
                  <a:lnTo>
                    <a:pt x="140" y="79"/>
                  </a:lnTo>
                  <a:lnTo>
                    <a:pt x="138" y="76"/>
                  </a:lnTo>
                  <a:lnTo>
                    <a:pt x="134" y="85"/>
                  </a:lnTo>
                  <a:lnTo>
                    <a:pt x="132" y="81"/>
                  </a:lnTo>
                  <a:lnTo>
                    <a:pt x="134" y="76"/>
                  </a:lnTo>
                  <a:lnTo>
                    <a:pt x="132" y="76"/>
                  </a:lnTo>
                  <a:lnTo>
                    <a:pt x="134" y="72"/>
                  </a:lnTo>
                  <a:lnTo>
                    <a:pt x="138" y="72"/>
                  </a:lnTo>
                  <a:lnTo>
                    <a:pt x="140" y="72"/>
                  </a:lnTo>
                  <a:lnTo>
                    <a:pt x="140" y="70"/>
                  </a:lnTo>
                  <a:lnTo>
                    <a:pt x="134" y="72"/>
                  </a:lnTo>
                  <a:lnTo>
                    <a:pt x="138" y="67"/>
                  </a:lnTo>
                  <a:lnTo>
                    <a:pt x="134" y="67"/>
                  </a:lnTo>
                  <a:lnTo>
                    <a:pt x="127" y="61"/>
                  </a:lnTo>
                  <a:lnTo>
                    <a:pt x="132" y="58"/>
                  </a:lnTo>
                  <a:lnTo>
                    <a:pt x="125" y="58"/>
                  </a:lnTo>
                  <a:lnTo>
                    <a:pt x="115" y="58"/>
                  </a:lnTo>
                  <a:lnTo>
                    <a:pt x="109" y="52"/>
                  </a:lnTo>
                  <a:lnTo>
                    <a:pt x="102" y="52"/>
                  </a:lnTo>
                  <a:lnTo>
                    <a:pt x="94" y="58"/>
                  </a:lnTo>
                  <a:lnTo>
                    <a:pt x="79" y="61"/>
                  </a:lnTo>
                  <a:lnTo>
                    <a:pt x="71" y="61"/>
                  </a:lnTo>
                  <a:lnTo>
                    <a:pt x="71" y="63"/>
                  </a:lnTo>
                  <a:lnTo>
                    <a:pt x="69" y="63"/>
                  </a:lnTo>
                  <a:lnTo>
                    <a:pt x="50" y="72"/>
                  </a:lnTo>
                  <a:lnTo>
                    <a:pt x="36" y="79"/>
                  </a:lnTo>
                  <a:lnTo>
                    <a:pt x="0" y="88"/>
                  </a:lnTo>
                  <a:lnTo>
                    <a:pt x="50" y="70"/>
                  </a:lnTo>
                  <a:lnTo>
                    <a:pt x="54" y="63"/>
                  </a:lnTo>
                  <a:lnTo>
                    <a:pt x="50" y="63"/>
                  </a:lnTo>
                  <a:lnTo>
                    <a:pt x="40" y="63"/>
                  </a:lnTo>
                  <a:lnTo>
                    <a:pt x="46" y="58"/>
                  </a:lnTo>
                  <a:lnTo>
                    <a:pt x="38" y="58"/>
                  </a:lnTo>
                  <a:lnTo>
                    <a:pt x="40" y="47"/>
                  </a:lnTo>
                  <a:lnTo>
                    <a:pt x="54" y="43"/>
                  </a:lnTo>
                  <a:lnTo>
                    <a:pt x="71" y="38"/>
                  </a:lnTo>
                  <a:lnTo>
                    <a:pt x="79" y="29"/>
                  </a:lnTo>
                  <a:lnTo>
                    <a:pt x="71" y="34"/>
                  </a:lnTo>
                  <a:lnTo>
                    <a:pt x="61" y="34"/>
                  </a:lnTo>
                  <a:lnTo>
                    <a:pt x="63" y="29"/>
                  </a:lnTo>
                  <a:lnTo>
                    <a:pt x="61" y="27"/>
                  </a:lnTo>
                  <a:lnTo>
                    <a:pt x="77" y="25"/>
                  </a:lnTo>
                  <a:lnTo>
                    <a:pt x="79" y="25"/>
                  </a:lnTo>
                  <a:lnTo>
                    <a:pt x="77" y="25"/>
                  </a:lnTo>
                  <a:lnTo>
                    <a:pt x="90" y="25"/>
                  </a:lnTo>
                  <a:lnTo>
                    <a:pt x="86" y="20"/>
                  </a:lnTo>
                  <a:lnTo>
                    <a:pt x="90" y="18"/>
                  </a:lnTo>
                  <a:lnTo>
                    <a:pt x="86" y="16"/>
                  </a:lnTo>
                  <a:lnTo>
                    <a:pt x="90" y="11"/>
                  </a:lnTo>
                  <a:lnTo>
                    <a:pt x="100" y="11"/>
                  </a:lnTo>
                  <a:lnTo>
                    <a:pt x="115" y="4"/>
                  </a:lnTo>
                  <a:lnTo>
                    <a:pt x="140" y="0"/>
                  </a:lnTo>
                  <a:lnTo>
                    <a:pt x="142" y="0"/>
                  </a:lnTo>
                  <a:lnTo>
                    <a:pt x="142" y="2"/>
                  </a:lnTo>
                  <a:lnTo>
                    <a:pt x="150" y="2"/>
                  </a:lnTo>
                  <a:lnTo>
                    <a:pt x="177" y="4"/>
                  </a:lnTo>
                  <a:lnTo>
                    <a:pt x="182" y="9"/>
                  </a:lnTo>
                  <a:lnTo>
                    <a:pt x="154" y="31"/>
                  </a:lnTo>
                  <a:lnTo>
                    <a:pt x="127" y="5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7" name="Freeform 1273"/>
            <p:cNvSpPr>
              <a:spLocks/>
            </p:cNvSpPr>
            <p:nvPr/>
          </p:nvSpPr>
          <p:spPr bwMode="auto">
            <a:xfrm>
              <a:off x="1389229" y="3499592"/>
              <a:ext cx="638701" cy="551894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2" y="30"/>
                </a:cxn>
                <a:cxn ang="0">
                  <a:pos x="2" y="32"/>
                </a:cxn>
                <a:cxn ang="0">
                  <a:pos x="11" y="41"/>
                </a:cxn>
                <a:cxn ang="0">
                  <a:pos x="17" y="52"/>
                </a:cxn>
                <a:cxn ang="0">
                  <a:pos x="19" y="57"/>
                </a:cxn>
                <a:cxn ang="0">
                  <a:pos x="15" y="39"/>
                </a:cxn>
                <a:cxn ang="0">
                  <a:pos x="9" y="7"/>
                </a:cxn>
                <a:cxn ang="0">
                  <a:pos x="15" y="9"/>
                </a:cxn>
                <a:cxn ang="0">
                  <a:pos x="19" y="30"/>
                </a:cxn>
                <a:cxn ang="0">
                  <a:pos x="25" y="39"/>
                </a:cxn>
                <a:cxn ang="0">
                  <a:pos x="27" y="43"/>
                </a:cxn>
                <a:cxn ang="0">
                  <a:pos x="40" y="66"/>
                </a:cxn>
                <a:cxn ang="0">
                  <a:pos x="36" y="75"/>
                </a:cxn>
                <a:cxn ang="0">
                  <a:pos x="50" y="86"/>
                </a:cxn>
                <a:cxn ang="0">
                  <a:pos x="67" y="95"/>
                </a:cxn>
                <a:cxn ang="0">
                  <a:pos x="79" y="95"/>
                </a:cxn>
                <a:cxn ang="0">
                  <a:pos x="94" y="104"/>
                </a:cxn>
                <a:cxn ang="0">
                  <a:pos x="102" y="95"/>
                </a:cxn>
                <a:cxn ang="0">
                  <a:pos x="102" y="86"/>
                </a:cxn>
                <a:cxn ang="0">
                  <a:pos x="113" y="84"/>
                </a:cxn>
                <a:cxn ang="0">
                  <a:pos x="115" y="84"/>
                </a:cxn>
                <a:cxn ang="0">
                  <a:pos x="119" y="66"/>
                </a:cxn>
                <a:cxn ang="0">
                  <a:pos x="104" y="77"/>
                </a:cxn>
                <a:cxn ang="0">
                  <a:pos x="102" y="84"/>
                </a:cxn>
                <a:cxn ang="0">
                  <a:pos x="96" y="84"/>
                </a:cxn>
                <a:cxn ang="0">
                  <a:pos x="79" y="77"/>
                </a:cxn>
                <a:cxn ang="0">
                  <a:pos x="75" y="50"/>
                </a:cxn>
                <a:cxn ang="0">
                  <a:pos x="71" y="39"/>
                </a:cxn>
                <a:cxn ang="0">
                  <a:pos x="59" y="16"/>
                </a:cxn>
                <a:cxn ang="0">
                  <a:pos x="54" y="23"/>
                </a:cxn>
                <a:cxn ang="0">
                  <a:pos x="50" y="14"/>
                </a:cxn>
                <a:cxn ang="0">
                  <a:pos x="25" y="9"/>
                </a:cxn>
                <a:cxn ang="0">
                  <a:pos x="4" y="0"/>
                </a:cxn>
              </a:cxnLst>
              <a:rect l="0" t="0" r="r" b="b"/>
              <a:pathLst>
                <a:path w="123" h="104">
                  <a:moveTo>
                    <a:pt x="0" y="0"/>
                  </a:moveTo>
                  <a:lnTo>
                    <a:pt x="0" y="18"/>
                  </a:lnTo>
                  <a:lnTo>
                    <a:pt x="4" y="25"/>
                  </a:lnTo>
                  <a:lnTo>
                    <a:pt x="2" y="30"/>
                  </a:lnTo>
                  <a:lnTo>
                    <a:pt x="0" y="30"/>
                  </a:lnTo>
                  <a:lnTo>
                    <a:pt x="2" y="32"/>
                  </a:lnTo>
                  <a:lnTo>
                    <a:pt x="11" y="39"/>
                  </a:lnTo>
                  <a:lnTo>
                    <a:pt x="11" y="41"/>
                  </a:lnTo>
                  <a:lnTo>
                    <a:pt x="9" y="48"/>
                  </a:lnTo>
                  <a:lnTo>
                    <a:pt x="17" y="52"/>
                  </a:lnTo>
                  <a:lnTo>
                    <a:pt x="17" y="59"/>
                  </a:lnTo>
                  <a:lnTo>
                    <a:pt x="19" y="57"/>
                  </a:lnTo>
                  <a:lnTo>
                    <a:pt x="17" y="50"/>
                  </a:lnTo>
                  <a:lnTo>
                    <a:pt x="15" y="39"/>
                  </a:lnTo>
                  <a:lnTo>
                    <a:pt x="4" y="16"/>
                  </a:lnTo>
                  <a:lnTo>
                    <a:pt x="9" y="7"/>
                  </a:lnTo>
                  <a:lnTo>
                    <a:pt x="15" y="7"/>
                  </a:lnTo>
                  <a:lnTo>
                    <a:pt x="15" y="9"/>
                  </a:lnTo>
                  <a:lnTo>
                    <a:pt x="17" y="23"/>
                  </a:lnTo>
                  <a:lnTo>
                    <a:pt x="19" y="30"/>
                  </a:lnTo>
                  <a:lnTo>
                    <a:pt x="19" y="32"/>
                  </a:lnTo>
                  <a:lnTo>
                    <a:pt x="25" y="39"/>
                  </a:lnTo>
                  <a:lnTo>
                    <a:pt x="23" y="41"/>
                  </a:lnTo>
                  <a:lnTo>
                    <a:pt x="27" y="43"/>
                  </a:lnTo>
                  <a:lnTo>
                    <a:pt x="36" y="59"/>
                  </a:lnTo>
                  <a:lnTo>
                    <a:pt x="40" y="66"/>
                  </a:lnTo>
                  <a:lnTo>
                    <a:pt x="34" y="72"/>
                  </a:lnTo>
                  <a:lnTo>
                    <a:pt x="36" y="75"/>
                  </a:lnTo>
                  <a:lnTo>
                    <a:pt x="42" y="84"/>
                  </a:lnTo>
                  <a:lnTo>
                    <a:pt x="50" y="86"/>
                  </a:lnTo>
                  <a:lnTo>
                    <a:pt x="54" y="90"/>
                  </a:lnTo>
                  <a:lnTo>
                    <a:pt x="67" y="95"/>
                  </a:lnTo>
                  <a:lnTo>
                    <a:pt x="73" y="99"/>
                  </a:lnTo>
                  <a:lnTo>
                    <a:pt x="79" y="95"/>
                  </a:lnTo>
                  <a:lnTo>
                    <a:pt x="84" y="95"/>
                  </a:lnTo>
                  <a:lnTo>
                    <a:pt x="94" y="104"/>
                  </a:lnTo>
                  <a:lnTo>
                    <a:pt x="98" y="95"/>
                  </a:lnTo>
                  <a:lnTo>
                    <a:pt x="102" y="95"/>
                  </a:lnTo>
                  <a:lnTo>
                    <a:pt x="98" y="90"/>
                  </a:lnTo>
                  <a:lnTo>
                    <a:pt x="102" y="86"/>
                  </a:lnTo>
                  <a:lnTo>
                    <a:pt x="111" y="86"/>
                  </a:lnTo>
                  <a:lnTo>
                    <a:pt x="113" y="84"/>
                  </a:lnTo>
                  <a:lnTo>
                    <a:pt x="115" y="86"/>
                  </a:lnTo>
                  <a:lnTo>
                    <a:pt x="115" y="84"/>
                  </a:lnTo>
                  <a:lnTo>
                    <a:pt x="123" y="66"/>
                  </a:lnTo>
                  <a:lnTo>
                    <a:pt x="119" y="66"/>
                  </a:lnTo>
                  <a:lnTo>
                    <a:pt x="107" y="68"/>
                  </a:lnTo>
                  <a:lnTo>
                    <a:pt x="104" y="77"/>
                  </a:lnTo>
                  <a:lnTo>
                    <a:pt x="98" y="81"/>
                  </a:lnTo>
                  <a:lnTo>
                    <a:pt x="102" y="84"/>
                  </a:lnTo>
                  <a:lnTo>
                    <a:pt x="98" y="84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9" y="77"/>
                  </a:lnTo>
                  <a:lnTo>
                    <a:pt x="73" y="59"/>
                  </a:lnTo>
                  <a:lnTo>
                    <a:pt x="75" y="50"/>
                  </a:lnTo>
                  <a:lnTo>
                    <a:pt x="79" y="41"/>
                  </a:lnTo>
                  <a:lnTo>
                    <a:pt x="71" y="39"/>
                  </a:lnTo>
                  <a:lnTo>
                    <a:pt x="65" y="18"/>
                  </a:lnTo>
                  <a:lnTo>
                    <a:pt x="59" y="16"/>
                  </a:lnTo>
                  <a:lnTo>
                    <a:pt x="57" y="23"/>
                  </a:lnTo>
                  <a:lnTo>
                    <a:pt x="54" y="23"/>
                  </a:lnTo>
                  <a:lnTo>
                    <a:pt x="50" y="16"/>
                  </a:lnTo>
                  <a:lnTo>
                    <a:pt x="50" y="14"/>
                  </a:lnTo>
                  <a:lnTo>
                    <a:pt x="48" y="7"/>
                  </a:lnTo>
                  <a:lnTo>
                    <a:pt x="25" y="9"/>
                  </a:lnTo>
                  <a:lnTo>
                    <a:pt x="11" y="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8" name="Freeform 1274"/>
            <p:cNvSpPr>
              <a:spLocks/>
            </p:cNvSpPr>
            <p:nvPr/>
          </p:nvSpPr>
          <p:spPr bwMode="auto">
            <a:xfrm>
              <a:off x="1316532" y="3000765"/>
              <a:ext cx="1350098" cy="727014"/>
            </a:xfrm>
            <a:custGeom>
              <a:avLst/>
              <a:gdLst/>
              <a:ahLst/>
              <a:cxnLst>
                <a:cxn ang="0">
                  <a:pos x="110" y="112"/>
                </a:cxn>
                <a:cxn ang="0">
                  <a:pos x="121" y="112"/>
                </a:cxn>
                <a:cxn ang="0">
                  <a:pos x="125" y="117"/>
                </a:cxn>
                <a:cxn ang="0">
                  <a:pos x="135" y="117"/>
                </a:cxn>
                <a:cxn ang="0">
                  <a:pos x="135" y="110"/>
                </a:cxn>
                <a:cxn ang="0">
                  <a:pos x="150" y="108"/>
                </a:cxn>
                <a:cxn ang="0">
                  <a:pos x="152" y="112"/>
                </a:cxn>
                <a:cxn ang="0">
                  <a:pos x="164" y="117"/>
                </a:cxn>
                <a:cxn ang="0">
                  <a:pos x="166" y="137"/>
                </a:cxn>
                <a:cxn ang="0">
                  <a:pos x="173" y="135"/>
                </a:cxn>
                <a:cxn ang="0">
                  <a:pos x="173" y="103"/>
                </a:cxn>
                <a:cxn ang="0">
                  <a:pos x="204" y="81"/>
                </a:cxn>
                <a:cxn ang="0">
                  <a:pos x="204" y="69"/>
                </a:cxn>
                <a:cxn ang="0">
                  <a:pos x="206" y="60"/>
                </a:cxn>
                <a:cxn ang="0">
                  <a:pos x="208" y="65"/>
                </a:cxn>
                <a:cxn ang="0">
                  <a:pos x="212" y="56"/>
                </a:cxn>
                <a:cxn ang="0">
                  <a:pos x="217" y="56"/>
                </a:cxn>
                <a:cxn ang="0">
                  <a:pos x="235" y="47"/>
                </a:cxn>
                <a:cxn ang="0">
                  <a:pos x="240" y="42"/>
                </a:cxn>
                <a:cxn ang="0">
                  <a:pos x="237" y="42"/>
                </a:cxn>
                <a:cxn ang="0">
                  <a:pos x="244" y="31"/>
                </a:cxn>
                <a:cxn ang="0">
                  <a:pos x="256" y="27"/>
                </a:cxn>
                <a:cxn ang="0">
                  <a:pos x="256" y="22"/>
                </a:cxn>
                <a:cxn ang="0">
                  <a:pos x="254" y="9"/>
                </a:cxn>
                <a:cxn ang="0">
                  <a:pos x="240" y="24"/>
                </a:cxn>
                <a:cxn ang="0">
                  <a:pos x="221" y="27"/>
                </a:cxn>
                <a:cxn ang="0">
                  <a:pos x="204" y="33"/>
                </a:cxn>
                <a:cxn ang="0">
                  <a:pos x="189" y="42"/>
                </a:cxn>
                <a:cxn ang="0">
                  <a:pos x="189" y="33"/>
                </a:cxn>
                <a:cxn ang="0">
                  <a:pos x="187" y="31"/>
                </a:cxn>
                <a:cxn ang="0">
                  <a:pos x="189" y="22"/>
                </a:cxn>
                <a:cxn ang="0">
                  <a:pos x="177" y="24"/>
                </a:cxn>
                <a:cxn ang="0">
                  <a:pos x="169" y="40"/>
                </a:cxn>
                <a:cxn ang="0">
                  <a:pos x="164" y="42"/>
                </a:cxn>
                <a:cxn ang="0">
                  <a:pos x="166" y="33"/>
                </a:cxn>
                <a:cxn ang="0">
                  <a:pos x="169" y="27"/>
                </a:cxn>
                <a:cxn ang="0">
                  <a:pos x="189" y="18"/>
                </a:cxn>
                <a:cxn ang="0">
                  <a:pos x="187" y="15"/>
                </a:cxn>
                <a:cxn ang="0">
                  <a:pos x="177" y="15"/>
                </a:cxn>
                <a:cxn ang="0">
                  <a:pos x="173" y="15"/>
                </a:cxn>
                <a:cxn ang="0">
                  <a:pos x="164" y="15"/>
                </a:cxn>
                <a:cxn ang="0">
                  <a:pos x="158" y="15"/>
                </a:cxn>
                <a:cxn ang="0">
                  <a:pos x="173" y="6"/>
                </a:cxn>
                <a:cxn ang="0">
                  <a:pos x="152" y="0"/>
                </a:cxn>
                <a:cxn ang="0">
                  <a:pos x="37" y="0"/>
                </a:cxn>
                <a:cxn ang="0">
                  <a:pos x="33" y="9"/>
                </a:cxn>
                <a:cxn ang="0">
                  <a:pos x="33" y="6"/>
                </a:cxn>
                <a:cxn ang="0">
                  <a:pos x="25" y="6"/>
                </a:cxn>
                <a:cxn ang="0">
                  <a:pos x="8" y="38"/>
                </a:cxn>
                <a:cxn ang="0">
                  <a:pos x="2" y="51"/>
                </a:cxn>
                <a:cxn ang="0">
                  <a:pos x="0" y="58"/>
                </a:cxn>
                <a:cxn ang="0">
                  <a:pos x="0" y="65"/>
                </a:cxn>
                <a:cxn ang="0">
                  <a:pos x="2" y="74"/>
                </a:cxn>
                <a:cxn ang="0">
                  <a:pos x="2" y="83"/>
                </a:cxn>
                <a:cxn ang="0">
                  <a:pos x="10" y="90"/>
                </a:cxn>
                <a:cxn ang="0">
                  <a:pos x="14" y="94"/>
                </a:cxn>
                <a:cxn ang="0">
                  <a:pos x="39" y="103"/>
                </a:cxn>
                <a:cxn ang="0">
                  <a:pos x="64" y="108"/>
                </a:cxn>
                <a:cxn ang="0">
                  <a:pos x="68" y="117"/>
                </a:cxn>
                <a:cxn ang="0">
                  <a:pos x="73" y="110"/>
                </a:cxn>
                <a:cxn ang="0">
                  <a:pos x="85" y="133"/>
                </a:cxn>
                <a:cxn ang="0">
                  <a:pos x="93" y="130"/>
                </a:cxn>
              </a:cxnLst>
              <a:rect l="0" t="0" r="r" b="b"/>
              <a:pathLst>
                <a:path w="260" h="137">
                  <a:moveTo>
                    <a:pt x="96" y="124"/>
                  </a:moveTo>
                  <a:lnTo>
                    <a:pt x="110" y="112"/>
                  </a:lnTo>
                  <a:lnTo>
                    <a:pt x="112" y="112"/>
                  </a:lnTo>
                  <a:lnTo>
                    <a:pt x="121" y="112"/>
                  </a:lnTo>
                  <a:lnTo>
                    <a:pt x="125" y="110"/>
                  </a:lnTo>
                  <a:lnTo>
                    <a:pt x="125" y="117"/>
                  </a:lnTo>
                  <a:lnTo>
                    <a:pt x="129" y="117"/>
                  </a:lnTo>
                  <a:lnTo>
                    <a:pt x="135" y="117"/>
                  </a:lnTo>
                  <a:lnTo>
                    <a:pt x="133" y="112"/>
                  </a:lnTo>
                  <a:lnTo>
                    <a:pt x="135" y="110"/>
                  </a:lnTo>
                  <a:lnTo>
                    <a:pt x="141" y="108"/>
                  </a:lnTo>
                  <a:lnTo>
                    <a:pt x="150" y="108"/>
                  </a:lnTo>
                  <a:lnTo>
                    <a:pt x="152" y="110"/>
                  </a:lnTo>
                  <a:lnTo>
                    <a:pt x="152" y="112"/>
                  </a:lnTo>
                  <a:lnTo>
                    <a:pt x="160" y="110"/>
                  </a:lnTo>
                  <a:lnTo>
                    <a:pt x="164" y="117"/>
                  </a:lnTo>
                  <a:lnTo>
                    <a:pt x="164" y="128"/>
                  </a:lnTo>
                  <a:lnTo>
                    <a:pt x="166" y="137"/>
                  </a:lnTo>
                  <a:lnTo>
                    <a:pt x="169" y="137"/>
                  </a:lnTo>
                  <a:lnTo>
                    <a:pt x="173" y="135"/>
                  </a:lnTo>
                  <a:lnTo>
                    <a:pt x="173" y="128"/>
                  </a:lnTo>
                  <a:lnTo>
                    <a:pt x="173" y="103"/>
                  </a:lnTo>
                  <a:lnTo>
                    <a:pt x="177" y="94"/>
                  </a:lnTo>
                  <a:lnTo>
                    <a:pt x="204" y="81"/>
                  </a:lnTo>
                  <a:lnTo>
                    <a:pt x="206" y="76"/>
                  </a:lnTo>
                  <a:lnTo>
                    <a:pt x="204" y="69"/>
                  </a:lnTo>
                  <a:lnTo>
                    <a:pt x="206" y="65"/>
                  </a:lnTo>
                  <a:lnTo>
                    <a:pt x="206" y="60"/>
                  </a:lnTo>
                  <a:lnTo>
                    <a:pt x="208" y="60"/>
                  </a:lnTo>
                  <a:lnTo>
                    <a:pt x="208" y="65"/>
                  </a:lnTo>
                  <a:lnTo>
                    <a:pt x="212" y="60"/>
                  </a:lnTo>
                  <a:lnTo>
                    <a:pt x="212" y="56"/>
                  </a:lnTo>
                  <a:lnTo>
                    <a:pt x="214" y="58"/>
                  </a:lnTo>
                  <a:lnTo>
                    <a:pt x="217" y="56"/>
                  </a:lnTo>
                  <a:lnTo>
                    <a:pt x="221" y="49"/>
                  </a:lnTo>
                  <a:lnTo>
                    <a:pt x="235" y="47"/>
                  </a:lnTo>
                  <a:lnTo>
                    <a:pt x="235" y="42"/>
                  </a:lnTo>
                  <a:lnTo>
                    <a:pt x="240" y="42"/>
                  </a:lnTo>
                  <a:lnTo>
                    <a:pt x="240" y="40"/>
                  </a:lnTo>
                  <a:lnTo>
                    <a:pt x="237" y="42"/>
                  </a:lnTo>
                  <a:lnTo>
                    <a:pt x="237" y="40"/>
                  </a:lnTo>
                  <a:lnTo>
                    <a:pt x="244" y="31"/>
                  </a:lnTo>
                  <a:lnTo>
                    <a:pt x="252" y="27"/>
                  </a:lnTo>
                  <a:lnTo>
                    <a:pt x="256" y="27"/>
                  </a:lnTo>
                  <a:lnTo>
                    <a:pt x="260" y="22"/>
                  </a:lnTo>
                  <a:lnTo>
                    <a:pt x="256" y="22"/>
                  </a:lnTo>
                  <a:lnTo>
                    <a:pt x="260" y="13"/>
                  </a:lnTo>
                  <a:lnTo>
                    <a:pt x="254" y="9"/>
                  </a:lnTo>
                  <a:lnTo>
                    <a:pt x="246" y="22"/>
                  </a:lnTo>
                  <a:lnTo>
                    <a:pt x="240" y="24"/>
                  </a:lnTo>
                  <a:lnTo>
                    <a:pt x="227" y="24"/>
                  </a:lnTo>
                  <a:lnTo>
                    <a:pt x="221" y="27"/>
                  </a:lnTo>
                  <a:lnTo>
                    <a:pt x="217" y="33"/>
                  </a:lnTo>
                  <a:lnTo>
                    <a:pt x="204" y="33"/>
                  </a:lnTo>
                  <a:lnTo>
                    <a:pt x="206" y="38"/>
                  </a:lnTo>
                  <a:lnTo>
                    <a:pt x="189" y="42"/>
                  </a:lnTo>
                  <a:lnTo>
                    <a:pt x="183" y="42"/>
                  </a:lnTo>
                  <a:lnTo>
                    <a:pt x="189" y="33"/>
                  </a:lnTo>
                  <a:lnTo>
                    <a:pt x="189" y="31"/>
                  </a:lnTo>
                  <a:lnTo>
                    <a:pt x="187" y="31"/>
                  </a:lnTo>
                  <a:lnTo>
                    <a:pt x="189" y="27"/>
                  </a:lnTo>
                  <a:lnTo>
                    <a:pt x="189" y="22"/>
                  </a:lnTo>
                  <a:lnTo>
                    <a:pt x="187" y="22"/>
                  </a:lnTo>
                  <a:lnTo>
                    <a:pt x="177" y="24"/>
                  </a:lnTo>
                  <a:lnTo>
                    <a:pt x="175" y="31"/>
                  </a:lnTo>
                  <a:lnTo>
                    <a:pt x="169" y="40"/>
                  </a:lnTo>
                  <a:lnTo>
                    <a:pt x="166" y="42"/>
                  </a:lnTo>
                  <a:lnTo>
                    <a:pt x="164" y="42"/>
                  </a:lnTo>
                  <a:lnTo>
                    <a:pt x="164" y="40"/>
                  </a:lnTo>
                  <a:lnTo>
                    <a:pt x="166" y="33"/>
                  </a:lnTo>
                  <a:lnTo>
                    <a:pt x="175" y="24"/>
                  </a:lnTo>
                  <a:lnTo>
                    <a:pt x="169" y="27"/>
                  </a:lnTo>
                  <a:lnTo>
                    <a:pt x="177" y="18"/>
                  </a:lnTo>
                  <a:lnTo>
                    <a:pt x="189" y="18"/>
                  </a:lnTo>
                  <a:lnTo>
                    <a:pt x="189" y="15"/>
                  </a:lnTo>
                  <a:lnTo>
                    <a:pt x="187" y="15"/>
                  </a:lnTo>
                  <a:lnTo>
                    <a:pt x="189" y="15"/>
                  </a:lnTo>
                  <a:lnTo>
                    <a:pt x="177" y="15"/>
                  </a:lnTo>
                  <a:lnTo>
                    <a:pt x="177" y="13"/>
                  </a:lnTo>
                  <a:lnTo>
                    <a:pt x="173" y="15"/>
                  </a:lnTo>
                  <a:lnTo>
                    <a:pt x="177" y="9"/>
                  </a:lnTo>
                  <a:lnTo>
                    <a:pt x="164" y="15"/>
                  </a:lnTo>
                  <a:lnTo>
                    <a:pt x="164" y="13"/>
                  </a:lnTo>
                  <a:lnTo>
                    <a:pt x="158" y="15"/>
                  </a:lnTo>
                  <a:lnTo>
                    <a:pt x="169" y="6"/>
                  </a:lnTo>
                  <a:lnTo>
                    <a:pt x="173" y="6"/>
                  </a:lnTo>
                  <a:lnTo>
                    <a:pt x="156" y="4"/>
                  </a:lnTo>
                  <a:lnTo>
                    <a:pt x="152" y="0"/>
                  </a:lnTo>
                  <a:lnTo>
                    <a:pt x="150" y="0"/>
                  </a:lnTo>
                  <a:lnTo>
                    <a:pt x="37" y="0"/>
                  </a:lnTo>
                  <a:lnTo>
                    <a:pt x="37" y="4"/>
                  </a:lnTo>
                  <a:lnTo>
                    <a:pt x="33" y="9"/>
                  </a:lnTo>
                  <a:lnTo>
                    <a:pt x="31" y="9"/>
                  </a:lnTo>
                  <a:lnTo>
                    <a:pt x="33" y="6"/>
                  </a:lnTo>
                  <a:lnTo>
                    <a:pt x="29" y="4"/>
                  </a:lnTo>
                  <a:lnTo>
                    <a:pt x="25" y="6"/>
                  </a:lnTo>
                  <a:lnTo>
                    <a:pt x="23" y="18"/>
                  </a:lnTo>
                  <a:lnTo>
                    <a:pt x="8" y="38"/>
                  </a:lnTo>
                  <a:lnTo>
                    <a:pt x="6" y="42"/>
                  </a:lnTo>
                  <a:lnTo>
                    <a:pt x="2" y="51"/>
                  </a:lnTo>
                  <a:lnTo>
                    <a:pt x="2" y="56"/>
                  </a:lnTo>
                  <a:lnTo>
                    <a:pt x="0" y="58"/>
                  </a:lnTo>
                  <a:lnTo>
                    <a:pt x="2" y="60"/>
                  </a:lnTo>
                  <a:lnTo>
                    <a:pt x="0" y="65"/>
                  </a:lnTo>
                  <a:lnTo>
                    <a:pt x="2" y="67"/>
                  </a:lnTo>
                  <a:lnTo>
                    <a:pt x="2" y="74"/>
                  </a:lnTo>
                  <a:lnTo>
                    <a:pt x="6" y="81"/>
                  </a:lnTo>
                  <a:lnTo>
                    <a:pt x="2" y="83"/>
                  </a:lnTo>
                  <a:lnTo>
                    <a:pt x="10" y="85"/>
                  </a:lnTo>
                  <a:lnTo>
                    <a:pt x="10" y="90"/>
                  </a:lnTo>
                  <a:lnTo>
                    <a:pt x="14" y="92"/>
                  </a:lnTo>
                  <a:lnTo>
                    <a:pt x="14" y="94"/>
                  </a:lnTo>
                  <a:lnTo>
                    <a:pt x="25" y="94"/>
                  </a:lnTo>
                  <a:lnTo>
                    <a:pt x="39" y="103"/>
                  </a:lnTo>
                  <a:lnTo>
                    <a:pt x="62" y="101"/>
                  </a:lnTo>
                  <a:lnTo>
                    <a:pt x="64" y="108"/>
                  </a:lnTo>
                  <a:lnTo>
                    <a:pt x="64" y="110"/>
                  </a:lnTo>
                  <a:lnTo>
                    <a:pt x="68" y="117"/>
                  </a:lnTo>
                  <a:lnTo>
                    <a:pt x="71" y="117"/>
                  </a:lnTo>
                  <a:lnTo>
                    <a:pt x="73" y="110"/>
                  </a:lnTo>
                  <a:lnTo>
                    <a:pt x="79" y="112"/>
                  </a:lnTo>
                  <a:lnTo>
                    <a:pt x="85" y="133"/>
                  </a:lnTo>
                  <a:lnTo>
                    <a:pt x="93" y="135"/>
                  </a:lnTo>
                  <a:lnTo>
                    <a:pt x="93" y="130"/>
                  </a:lnTo>
                  <a:lnTo>
                    <a:pt x="96" y="12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9" name="Freeform 1275"/>
            <p:cNvSpPr>
              <a:spLocks/>
            </p:cNvSpPr>
            <p:nvPr/>
          </p:nvSpPr>
          <p:spPr bwMode="auto">
            <a:xfrm>
              <a:off x="1877341" y="3955966"/>
              <a:ext cx="98661" cy="132667"/>
            </a:xfrm>
            <a:custGeom>
              <a:avLst/>
              <a:gdLst/>
              <a:ahLst/>
              <a:cxnLst>
                <a:cxn ang="0">
                  <a:pos x="10" y="18"/>
                </a:cxn>
                <a:cxn ang="0">
                  <a:pos x="8" y="25"/>
                </a:cxn>
                <a:cxn ang="0">
                  <a:pos x="0" y="22"/>
                </a:cxn>
                <a:cxn ang="0">
                  <a:pos x="0" y="18"/>
                </a:cxn>
                <a:cxn ang="0">
                  <a:pos x="4" y="9"/>
                </a:cxn>
                <a:cxn ang="0">
                  <a:pos x="8" y="9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17" y="0"/>
                </a:cxn>
                <a:cxn ang="0">
                  <a:pos x="13" y="9"/>
                </a:cxn>
                <a:cxn ang="0">
                  <a:pos x="17" y="13"/>
                </a:cxn>
                <a:cxn ang="0">
                  <a:pos x="19" y="13"/>
                </a:cxn>
                <a:cxn ang="0">
                  <a:pos x="15" y="16"/>
                </a:cxn>
                <a:cxn ang="0">
                  <a:pos x="10" y="16"/>
                </a:cxn>
                <a:cxn ang="0">
                  <a:pos x="10" y="18"/>
                </a:cxn>
              </a:cxnLst>
              <a:rect l="0" t="0" r="r" b="b"/>
              <a:pathLst>
                <a:path w="19" h="25">
                  <a:moveTo>
                    <a:pt x="10" y="18"/>
                  </a:moveTo>
                  <a:lnTo>
                    <a:pt x="8" y="25"/>
                  </a:lnTo>
                  <a:lnTo>
                    <a:pt x="0" y="22"/>
                  </a:lnTo>
                  <a:lnTo>
                    <a:pt x="0" y="18"/>
                  </a:lnTo>
                  <a:lnTo>
                    <a:pt x="4" y="9"/>
                  </a:lnTo>
                  <a:lnTo>
                    <a:pt x="8" y="9"/>
                  </a:lnTo>
                  <a:lnTo>
                    <a:pt x="4" y="4"/>
                  </a:lnTo>
                  <a:lnTo>
                    <a:pt x="8" y="0"/>
                  </a:lnTo>
                  <a:lnTo>
                    <a:pt x="17" y="0"/>
                  </a:lnTo>
                  <a:lnTo>
                    <a:pt x="13" y="9"/>
                  </a:lnTo>
                  <a:lnTo>
                    <a:pt x="17" y="13"/>
                  </a:lnTo>
                  <a:lnTo>
                    <a:pt x="19" y="13"/>
                  </a:lnTo>
                  <a:lnTo>
                    <a:pt x="15" y="16"/>
                  </a:lnTo>
                  <a:lnTo>
                    <a:pt x="10" y="16"/>
                  </a:lnTo>
                  <a:lnTo>
                    <a:pt x="10" y="18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" name="Freeform 1276"/>
            <p:cNvSpPr>
              <a:spLocks/>
            </p:cNvSpPr>
            <p:nvPr/>
          </p:nvSpPr>
          <p:spPr bwMode="auto">
            <a:xfrm>
              <a:off x="1918883" y="4051486"/>
              <a:ext cx="57120" cy="58373"/>
            </a:xfrm>
            <a:custGeom>
              <a:avLst/>
              <a:gdLst/>
              <a:ahLst/>
              <a:cxnLst>
                <a:cxn ang="0">
                  <a:pos x="11" y="7"/>
                </a:cxn>
                <a:cxn ang="0">
                  <a:pos x="2" y="0"/>
                </a:cxn>
                <a:cxn ang="0">
                  <a:pos x="0" y="7"/>
                </a:cxn>
                <a:cxn ang="0">
                  <a:pos x="2" y="7"/>
                </a:cxn>
                <a:cxn ang="0">
                  <a:pos x="11" y="11"/>
                </a:cxn>
                <a:cxn ang="0">
                  <a:pos x="11" y="9"/>
                </a:cxn>
                <a:cxn ang="0">
                  <a:pos x="11" y="7"/>
                </a:cxn>
              </a:cxnLst>
              <a:rect l="0" t="0" r="r" b="b"/>
              <a:pathLst>
                <a:path w="11" h="11">
                  <a:moveTo>
                    <a:pt x="11" y="7"/>
                  </a:moveTo>
                  <a:lnTo>
                    <a:pt x="2" y="0"/>
                  </a:lnTo>
                  <a:lnTo>
                    <a:pt x="0" y="7"/>
                  </a:lnTo>
                  <a:lnTo>
                    <a:pt x="2" y="7"/>
                  </a:lnTo>
                  <a:lnTo>
                    <a:pt x="11" y="11"/>
                  </a:lnTo>
                  <a:lnTo>
                    <a:pt x="11" y="9"/>
                  </a:lnTo>
                  <a:lnTo>
                    <a:pt x="11" y="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1" name="Freeform 1277"/>
            <p:cNvSpPr>
              <a:spLocks/>
            </p:cNvSpPr>
            <p:nvPr/>
          </p:nvSpPr>
          <p:spPr bwMode="auto">
            <a:xfrm>
              <a:off x="2147361" y="4231913"/>
              <a:ext cx="20771" cy="10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0"/>
                </a:cxn>
                <a:cxn ang="0">
                  <a:pos x="4" y="2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4" y="0"/>
                  </a:lnTo>
                  <a:lnTo>
                    <a:pt x="4" y="2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2" name="Freeform 1278"/>
            <p:cNvSpPr>
              <a:spLocks/>
            </p:cNvSpPr>
            <p:nvPr/>
          </p:nvSpPr>
          <p:spPr bwMode="auto">
            <a:xfrm>
              <a:off x="2147361" y="4215993"/>
              <a:ext cx="20771" cy="1592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0"/>
                </a:cxn>
                <a:cxn ang="0">
                  <a:pos x="4" y="3"/>
                </a:cxn>
                <a:cxn ang="0">
                  <a:pos x="2" y="3"/>
                </a:cxn>
                <a:cxn ang="0">
                  <a:pos x="0" y="0"/>
                </a:cxn>
              </a:cxnLst>
              <a:rect l="0" t="0" r="r" b="b"/>
              <a:pathLst>
                <a:path w="4" h="3">
                  <a:moveTo>
                    <a:pt x="0" y="0"/>
                  </a:moveTo>
                  <a:lnTo>
                    <a:pt x="4" y="0"/>
                  </a:lnTo>
                  <a:lnTo>
                    <a:pt x="4" y="3"/>
                  </a:lnTo>
                  <a:lnTo>
                    <a:pt x="2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3" name="Freeform 1279"/>
            <p:cNvSpPr>
              <a:spLocks/>
            </p:cNvSpPr>
            <p:nvPr/>
          </p:nvSpPr>
          <p:spPr bwMode="auto">
            <a:xfrm>
              <a:off x="2168132" y="4215993"/>
              <a:ext cx="57120" cy="63680"/>
            </a:xfrm>
            <a:custGeom>
              <a:avLst/>
              <a:gdLst/>
              <a:ahLst/>
              <a:cxnLst>
                <a:cxn ang="0">
                  <a:pos x="11" y="7"/>
                </a:cxn>
                <a:cxn ang="0">
                  <a:pos x="5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3"/>
                </a:cxn>
                <a:cxn ang="0">
                  <a:pos x="5" y="7"/>
                </a:cxn>
                <a:cxn ang="0">
                  <a:pos x="5" y="9"/>
                </a:cxn>
                <a:cxn ang="0">
                  <a:pos x="9" y="12"/>
                </a:cxn>
                <a:cxn ang="0">
                  <a:pos x="11" y="9"/>
                </a:cxn>
                <a:cxn ang="0">
                  <a:pos x="11" y="7"/>
                </a:cxn>
              </a:cxnLst>
              <a:rect l="0" t="0" r="r" b="b"/>
              <a:pathLst>
                <a:path w="11" h="12">
                  <a:moveTo>
                    <a:pt x="11" y="7"/>
                  </a:moveTo>
                  <a:lnTo>
                    <a:pt x="5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5" y="7"/>
                  </a:lnTo>
                  <a:lnTo>
                    <a:pt x="5" y="9"/>
                  </a:lnTo>
                  <a:lnTo>
                    <a:pt x="9" y="12"/>
                  </a:lnTo>
                  <a:lnTo>
                    <a:pt x="11" y="9"/>
                  </a:lnTo>
                  <a:lnTo>
                    <a:pt x="11" y="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4" name="Freeform 1280"/>
            <p:cNvSpPr>
              <a:spLocks/>
            </p:cNvSpPr>
            <p:nvPr/>
          </p:nvSpPr>
          <p:spPr bwMode="auto">
            <a:xfrm>
              <a:off x="2085049" y="4215993"/>
              <a:ext cx="83083" cy="6368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4" y="3"/>
                </a:cxn>
                <a:cxn ang="0">
                  <a:pos x="8" y="3"/>
                </a:cxn>
                <a:cxn ang="0">
                  <a:pos x="12" y="0"/>
                </a:cxn>
                <a:cxn ang="0">
                  <a:pos x="16" y="3"/>
                </a:cxn>
                <a:cxn ang="0">
                  <a:pos x="10" y="7"/>
                </a:cxn>
                <a:cxn ang="0">
                  <a:pos x="12" y="12"/>
                </a:cxn>
                <a:cxn ang="0">
                  <a:pos x="10" y="12"/>
                </a:cxn>
                <a:cxn ang="0">
                  <a:pos x="8" y="9"/>
                </a:cxn>
                <a:cxn ang="0">
                  <a:pos x="0" y="7"/>
                </a:cxn>
                <a:cxn ang="0">
                  <a:pos x="0" y="5"/>
                </a:cxn>
                <a:cxn ang="0">
                  <a:pos x="2" y="0"/>
                </a:cxn>
              </a:cxnLst>
              <a:rect l="0" t="0" r="r" b="b"/>
              <a:pathLst>
                <a:path w="16" h="12">
                  <a:moveTo>
                    <a:pt x="2" y="0"/>
                  </a:moveTo>
                  <a:lnTo>
                    <a:pt x="4" y="3"/>
                  </a:lnTo>
                  <a:lnTo>
                    <a:pt x="8" y="3"/>
                  </a:lnTo>
                  <a:lnTo>
                    <a:pt x="12" y="0"/>
                  </a:lnTo>
                  <a:lnTo>
                    <a:pt x="16" y="3"/>
                  </a:lnTo>
                  <a:lnTo>
                    <a:pt x="10" y="7"/>
                  </a:lnTo>
                  <a:lnTo>
                    <a:pt x="12" y="12"/>
                  </a:lnTo>
                  <a:lnTo>
                    <a:pt x="10" y="12"/>
                  </a:lnTo>
                  <a:lnTo>
                    <a:pt x="8" y="9"/>
                  </a:lnTo>
                  <a:lnTo>
                    <a:pt x="0" y="7"/>
                  </a:lnTo>
                  <a:lnTo>
                    <a:pt x="0" y="5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5" name="Freeform 1281"/>
            <p:cNvSpPr>
              <a:spLocks/>
            </p:cNvSpPr>
            <p:nvPr/>
          </p:nvSpPr>
          <p:spPr bwMode="auto">
            <a:xfrm>
              <a:off x="2017544" y="4168233"/>
              <a:ext cx="77890" cy="84907"/>
            </a:xfrm>
            <a:custGeom>
              <a:avLst/>
              <a:gdLst/>
              <a:ahLst/>
              <a:cxnLst>
                <a:cxn ang="0">
                  <a:pos x="15" y="9"/>
                </a:cxn>
                <a:cxn ang="0">
                  <a:pos x="13" y="7"/>
                </a:cxn>
                <a:cxn ang="0">
                  <a:pos x="9" y="0"/>
                </a:cxn>
                <a:cxn ang="0">
                  <a:pos x="0" y="0"/>
                </a:cxn>
                <a:cxn ang="0">
                  <a:pos x="0" y="7"/>
                </a:cxn>
                <a:cxn ang="0">
                  <a:pos x="2" y="9"/>
                </a:cxn>
                <a:cxn ang="0">
                  <a:pos x="2" y="7"/>
                </a:cxn>
                <a:cxn ang="0">
                  <a:pos x="9" y="12"/>
                </a:cxn>
                <a:cxn ang="0">
                  <a:pos x="9" y="16"/>
                </a:cxn>
                <a:cxn ang="0">
                  <a:pos x="13" y="16"/>
                </a:cxn>
                <a:cxn ang="0">
                  <a:pos x="13" y="14"/>
                </a:cxn>
                <a:cxn ang="0">
                  <a:pos x="15" y="9"/>
                </a:cxn>
              </a:cxnLst>
              <a:rect l="0" t="0" r="r" b="b"/>
              <a:pathLst>
                <a:path w="15" h="16">
                  <a:moveTo>
                    <a:pt x="15" y="9"/>
                  </a:moveTo>
                  <a:lnTo>
                    <a:pt x="13" y="7"/>
                  </a:lnTo>
                  <a:lnTo>
                    <a:pt x="9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2" y="9"/>
                  </a:lnTo>
                  <a:lnTo>
                    <a:pt x="2" y="7"/>
                  </a:lnTo>
                  <a:lnTo>
                    <a:pt x="9" y="12"/>
                  </a:lnTo>
                  <a:lnTo>
                    <a:pt x="9" y="16"/>
                  </a:lnTo>
                  <a:lnTo>
                    <a:pt x="13" y="16"/>
                  </a:lnTo>
                  <a:lnTo>
                    <a:pt x="13" y="14"/>
                  </a:lnTo>
                  <a:lnTo>
                    <a:pt x="15" y="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6" name="Freeform 1282"/>
            <p:cNvSpPr>
              <a:spLocks/>
            </p:cNvSpPr>
            <p:nvPr/>
          </p:nvSpPr>
          <p:spPr bwMode="auto">
            <a:xfrm>
              <a:off x="1986389" y="4040873"/>
              <a:ext cx="109047" cy="127360"/>
            </a:xfrm>
            <a:custGeom>
              <a:avLst/>
              <a:gdLst/>
              <a:ahLst/>
              <a:cxnLst>
                <a:cxn ang="0">
                  <a:pos x="15" y="24"/>
                </a:cxn>
                <a:cxn ang="0">
                  <a:pos x="21" y="6"/>
                </a:cxn>
                <a:cxn ang="0">
                  <a:pos x="21" y="0"/>
                </a:cxn>
                <a:cxn ang="0">
                  <a:pos x="12" y="2"/>
                </a:cxn>
                <a:cxn ang="0">
                  <a:pos x="0" y="13"/>
                </a:cxn>
                <a:cxn ang="0">
                  <a:pos x="0" y="15"/>
                </a:cxn>
                <a:cxn ang="0">
                  <a:pos x="6" y="24"/>
                </a:cxn>
                <a:cxn ang="0">
                  <a:pos x="10" y="24"/>
                </a:cxn>
                <a:cxn ang="0">
                  <a:pos x="15" y="24"/>
                </a:cxn>
              </a:cxnLst>
              <a:rect l="0" t="0" r="r" b="b"/>
              <a:pathLst>
                <a:path w="21" h="24">
                  <a:moveTo>
                    <a:pt x="15" y="24"/>
                  </a:moveTo>
                  <a:lnTo>
                    <a:pt x="21" y="6"/>
                  </a:lnTo>
                  <a:lnTo>
                    <a:pt x="21" y="0"/>
                  </a:lnTo>
                  <a:lnTo>
                    <a:pt x="12" y="2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6" y="24"/>
                  </a:lnTo>
                  <a:lnTo>
                    <a:pt x="10" y="24"/>
                  </a:lnTo>
                  <a:lnTo>
                    <a:pt x="15" y="2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7" name="Freeform 1283"/>
            <p:cNvSpPr>
              <a:spLocks/>
            </p:cNvSpPr>
            <p:nvPr/>
          </p:nvSpPr>
          <p:spPr bwMode="auto">
            <a:xfrm>
              <a:off x="1929269" y="4024953"/>
              <a:ext cx="166166" cy="84907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23" y="0"/>
                </a:cxn>
                <a:cxn ang="0">
                  <a:pos x="32" y="3"/>
                </a:cxn>
                <a:cxn ang="0">
                  <a:pos x="23" y="5"/>
                </a:cxn>
                <a:cxn ang="0">
                  <a:pos x="11" y="16"/>
                </a:cxn>
                <a:cxn ang="0">
                  <a:pos x="9" y="12"/>
                </a:cxn>
                <a:cxn ang="0">
                  <a:pos x="0" y="5"/>
                </a:cxn>
                <a:cxn ang="0">
                  <a:pos x="5" y="3"/>
                </a:cxn>
                <a:cxn ang="0">
                  <a:pos x="9" y="0"/>
                </a:cxn>
              </a:cxnLst>
              <a:rect l="0" t="0" r="r" b="b"/>
              <a:pathLst>
                <a:path w="32" h="16">
                  <a:moveTo>
                    <a:pt x="9" y="0"/>
                  </a:moveTo>
                  <a:lnTo>
                    <a:pt x="23" y="0"/>
                  </a:lnTo>
                  <a:lnTo>
                    <a:pt x="32" y="3"/>
                  </a:lnTo>
                  <a:lnTo>
                    <a:pt x="23" y="5"/>
                  </a:lnTo>
                  <a:lnTo>
                    <a:pt x="11" y="16"/>
                  </a:lnTo>
                  <a:lnTo>
                    <a:pt x="9" y="12"/>
                  </a:lnTo>
                  <a:lnTo>
                    <a:pt x="0" y="5"/>
                  </a:lnTo>
                  <a:lnTo>
                    <a:pt x="5" y="3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8" name="Freeform 1284"/>
            <p:cNvSpPr>
              <a:spLocks/>
            </p:cNvSpPr>
            <p:nvPr/>
          </p:nvSpPr>
          <p:spPr bwMode="auto">
            <a:xfrm>
              <a:off x="2375840" y="3897593"/>
              <a:ext cx="88276" cy="7960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0" y="2"/>
                </a:cxn>
                <a:cxn ang="0">
                  <a:pos x="13" y="2"/>
                </a:cxn>
                <a:cxn ang="0">
                  <a:pos x="10" y="6"/>
                </a:cxn>
                <a:cxn ang="0">
                  <a:pos x="17" y="6"/>
                </a:cxn>
                <a:cxn ang="0">
                  <a:pos x="17" y="9"/>
                </a:cxn>
                <a:cxn ang="0">
                  <a:pos x="17" y="11"/>
                </a:cxn>
                <a:cxn ang="0">
                  <a:pos x="13" y="9"/>
                </a:cxn>
                <a:cxn ang="0">
                  <a:pos x="4" y="9"/>
                </a:cxn>
                <a:cxn ang="0">
                  <a:pos x="8" y="9"/>
                </a:cxn>
                <a:cxn ang="0">
                  <a:pos x="4" y="9"/>
                </a:cxn>
                <a:cxn ang="0">
                  <a:pos x="2" y="15"/>
                </a:cxn>
                <a:cxn ang="0">
                  <a:pos x="0" y="11"/>
                </a:cxn>
                <a:cxn ang="0">
                  <a:pos x="0" y="6"/>
                </a:cxn>
                <a:cxn ang="0">
                  <a:pos x="2" y="0"/>
                </a:cxn>
              </a:cxnLst>
              <a:rect l="0" t="0" r="r" b="b"/>
              <a:pathLst>
                <a:path w="17" h="15">
                  <a:moveTo>
                    <a:pt x="2" y="0"/>
                  </a:moveTo>
                  <a:lnTo>
                    <a:pt x="10" y="2"/>
                  </a:lnTo>
                  <a:lnTo>
                    <a:pt x="13" y="2"/>
                  </a:lnTo>
                  <a:lnTo>
                    <a:pt x="10" y="6"/>
                  </a:lnTo>
                  <a:lnTo>
                    <a:pt x="17" y="6"/>
                  </a:lnTo>
                  <a:lnTo>
                    <a:pt x="17" y="9"/>
                  </a:lnTo>
                  <a:lnTo>
                    <a:pt x="17" y="11"/>
                  </a:lnTo>
                  <a:lnTo>
                    <a:pt x="13" y="9"/>
                  </a:lnTo>
                  <a:lnTo>
                    <a:pt x="4" y="9"/>
                  </a:lnTo>
                  <a:lnTo>
                    <a:pt x="8" y="9"/>
                  </a:lnTo>
                  <a:lnTo>
                    <a:pt x="4" y="9"/>
                  </a:lnTo>
                  <a:lnTo>
                    <a:pt x="2" y="15"/>
                  </a:lnTo>
                  <a:lnTo>
                    <a:pt x="0" y="11"/>
                  </a:lnTo>
                  <a:lnTo>
                    <a:pt x="0" y="6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9" name="Freeform 1285"/>
            <p:cNvSpPr>
              <a:spLocks/>
            </p:cNvSpPr>
            <p:nvPr/>
          </p:nvSpPr>
          <p:spPr bwMode="auto">
            <a:xfrm>
              <a:off x="2313527" y="3897593"/>
              <a:ext cx="72698" cy="58373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8" y="0"/>
                </a:cxn>
                <a:cxn ang="0">
                  <a:pos x="6" y="2"/>
                </a:cxn>
                <a:cxn ang="0">
                  <a:pos x="8" y="2"/>
                </a:cxn>
                <a:cxn ang="0">
                  <a:pos x="12" y="9"/>
                </a:cxn>
                <a:cxn ang="0">
                  <a:pos x="6" y="9"/>
                </a:cxn>
                <a:cxn ang="0">
                  <a:pos x="4" y="9"/>
                </a:cxn>
                <a:cxn ang="0">
                  <a:pos x="0" y="9"/>
                </a:cxn>
                <a:cxn ang="0">
                  <a:pos x="4" y="11"/>
                </a:cxn>
                <a:cxn ang="0">
                  <a:pos x="12" y="11"/>
                </a:cxn>
                <a:cxn ang="0">
                  <a:pos x="12" y="6"/>
                </a:cxn>
                <a:cxn ang="0">
                  <a:pos x="14" y="0"/>
                </a:cxn>
              </a:cxnLst>
              <a:rect l="0" t="0" r="r" b="b"/>
              <a:pathLst>
                <a:path w="14" h="11">
                  <a:moveTo>
                    <a:pt x="14" y="0"/>
                  </a:moveTo>
                  <a:lnTo>
                    <a:pt x="8" y="0"/>
                  </a:lnTo>
                  <a:lnTo>
                    <a:pt x="6" y="2"/>
                  </a:lnTo>
                  <a:lnTo>
                    <a:pt x="8" y="2"/>
                  </a:lnTo>
                  <a:lnTo>
                    <a:pt x="12" y="9"/>
                  </a:lnTo>
                  <a:lnTo>
                    <a:pt x="6" y="9"/>
                  </a:lnTo>
                  <a:lnTo>
                    <a:pt x="4" y="9"/>
                  </a:lnTo>
                  <a:lnTo>
                    <a:pt x="0" y="9"/>
                  </a:lnTo>
                  <a:lnTo>
                    <a:pt x="4" y="11"/>
                  </a:lnTo>
                  <a:lnTo>
                    <a:pt x="12" y="11"/>
                  </a:lnTo>
                  <a:lnTo>
                    <a:pt x="12" y="6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0" name="Freeform 1286"/>
            <p:cNvSpPr>
              <a:spLocks/>
            </p:cNvSpPr>
            <p:nvPr/>
          </p:nvSpPr>
          <p:spPr bwMode="auto">
            <a:xfrm>
              <a:off x="2765290" y="5436528"/>
              <a:ext cx="119432" cy="143280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9" y="5"/>
                </a:cxn>
                <a:cxn ang="0">
                  <a:pos x="9" y="2"/>
                </a:cxn>
                <a:cxn ang="0">
                  <a:pos x="21" y="9"/>
                </a:cxn>
                <a:cxn ang="0">
                  <a:pos x="23" y="16"/>
                </a:cxn>
                <a:cxn ang="0">
                  <a:pos x="23" y="20"/>
                </a:cxn>
                <a:cxn ang="0">
                  <a:pos x="21" y="25"/>
                </a:cxn>
                <a:cxn ang="0">
                  <a:pos x="13" y="27"/>
                </a:cxn>
                <a:cxn ang="0">
                  <a:pos x="6" y="25"/>
                </a:cxn>
                <a:cxn ang="0">
                  <a:pos x="0" y="20"/>
                </a:cxn>
              </a:cxnLst>
              <a:rect l="0" t="0" r="r" b="b"/>
              <a:pathLst>
                <a:path w="23" h="27">
                  <a:moveTo>
                    <a:pt x="0" y="20"/>
                  </a:moveTo>
                  <a:lnTo>
                    <a:pt x="0" y="0"/>
                  </a:lnTo>
                  <a:lnTo>
                    <a:pt x="4" y="0"/>
                  </a:lnTo>
                  <a:lnTo>
                    <a:pt x="9" y="5"/>
                  </a:lnTo>
                  <a:lnTo>
                    <a:pt x="9" y="2"/>
                  </a:lnTo>
                  <a:lnTo>
                    <a:pt x="21" y="9"/>
                  </a:lnTo>
                  <a:lnTo>
                    <a:pt x="23" y="16"/>
                  </a:lnTo>
                  <a:lnTo>
                    <a:pt x="23" y="20"/>
                  </a:lnTo>
                  <a:lnTo>
                    <a:pt x="21" y="25"/>
                  </a:lnTo>
                  <a:lnTo>
                    <a:pt x="13" y="27"/>
                  </a:lnTo>
                  <a:lnTo>
                    <a:pt x="6" y="25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1" name="Freeform 1287"/>
            <p:cNvSpPr>
              <a:spLocks/>
            </p:cNvSpPr>
            <p:nvPr/>
          </p:nvSpPr>
          <p:spPr bwMode="auto">
            <a:xfrm>
              <a:off x="2313527" y="4348660"/>
              <a:ext cx="939876" cy="1194002"/>
            </a:xfrm>
            <a:custGeom>
              <a:avLst/>
              <a:gdLst/>
              <a:ahLst/>
              <a:cxnLst>
                <a:cxn ang="0">
                  <a:pos x="96" y="18"/>
                </a:cxn>
                <a:cxn ang="0">
                  <a:pos x="83" y="16"/>
                </a:cxn>
                <a:cxn ang="0">
                  <a:pos x="79" y="18"/>
                </a:cxn>
                <a:cxn ang="0">
                  <a:pos x="68" y="20"/>
                </a:cxn>
                <a:cxn ang="0">
                  <a:pos x="62" y="16"/>
                </a:cxn>
                <a:cxn ang="0">
                  <a:pos x="62" y="0"/>
                </a:cxn>
                <a:cxn ang="0">
                  <a:pos x="60" y="2"/>
                </a:cxn>
                <a:cxn ang="0">
                  <a:pos x="39" y="7"/>
                </a:cxn>
                <a:cxn ang="0">
                  <a:pos x="43" y="16"/>
                </a:cxn>
                <a:cxn ang="0">
                  <a:pos x="37" y="25"/>
                </a:cxn>
                <a:cxn ang="0">
                  <a:pos x="31" y="20"/>
                </a:cxn>
                <a:cxn ang="0">
                  <a:pos x="16" y="20"/>
                </a:cxn>
                <a:cxn ang="0">
                  <a:pos x="20" y="27"/>
                </a:cxn>
                <a:cxn ang="0">
                  <a:pos x="16" y="36"/>
                </a:cxn>
                <a:cxn ang="0">
                  <a:pos x="6" y="59"/>
                </a:cxn>
                <a:cxn ang="0">
                  <a:pos x="0" y="72"/>
                </a:cxn>
                <a:cxn ang="0">
                  <a:pos x="8" y="88"/>
                </a:cxn>
                <a:cxn ang="0">
                  <a:pos x="14" y="92"/>
                </a:cxn>
                <a:cxn ang="0">
                  <a:pos x="25" y="95"/>
                </a:cxn>
                <a:cxn ang="0">
                  <a:pos x="39" y="86"/>
                </a:cxn>
                <a:cxn ang="0">
                  <a:pos x="43" y="101"/>
                </a:cxn>
                <a:cxn ang="0">
                  <a:pos x="64" y="115"/>
                </a:cxn>
                <a:cxn ang="0">
                  <a:pos x="64" y="122"/>
                </a:cxn>
                <a:cxn ang="0">
                  <a:pos x="75" y="129"/>
                </a:cxn>
                <a:cxn ang="0">
                  <a:pos x="77" y="147"/>
                </a:cxn>
                <a:cxn ang="0">
                  <a:pos x="87" y="158"/>
                </a:cxn>
                <a:cxn ang="0">
                  <a:pos x="91" y="167"/>
                </a:cxn>
                <a:cxn ang="0">
                  <a:pos x="96" y="178"/>
                </a:cxn>
                <a:cxn ang="0">
                  <a:pos x="102" y="187"/>
                </a:cxn>
                <a:cxn ang="0">
                  <a:pos x="87" y="205"/>
                </a:cxn>
                <a:cxn ang="0">
                  <a:pos x="96" y="210"/>
                </a:cxn>
                <a:cxn ang="0">
                  <a:pos x="108" y="214"/>
                </a:cxn>
                <a:cxn ang="0">
                  <a:pos x="110" y="225"/>
                </a:cxn>
                <a:cxn ang="0">
                  <a:pos x="118" y="210"/>
                </a:cxn>
                <a:cxn ang="0">
                  <a:pos x="127" y="196"/>
                </a:cxn>
                <a:cxn ang="0">
                  <a:pos x="133" y="171"/>
                </a:cxn>
                <a:cxn ang="0">
                  <a:pos x="139" y="167"/>
                </a:cxn>
                <a:cxn ang="0">
                  <a:pos x="141" y="165"/>
                </a:cxn>
                <a:cxn ang="0">
                  <a:pos x="152" y="162"/>
                </a:cxn>
                <a:cxn ang="0">
                  <a:pos x="158" y="156"/>
                </a:cxn>
                <a:cxn ang="0">
                  <a:pos x="164" y="144"/>
                </a:cxn>
                <a:cxn ang="0">
                  <a:pos x="164" y="131"/>
                </a:cxn>
                <a:cxn ang="0">
                  <a:pos x="179" y="86"/>
                </a:cxn>
                <a:cxn ang="0">
                  <a:pos x="181" y="70"/>
                </a:cxn>
                <a:cxn ang="0">
                  <a:pos x="173" y="59"/>
                </a:cxn>
                <a:cxn ang="0">
                  <a:pos x="150" y="50"/>
                </a:cxn>
                <a:cxn ang="0">
                  <a:pos x="135" y="45"/>
                </a:cxn>
                <a:cxn ang="0">
                  <a:pos x="135" y="38"/>
                </a:cxn>
                <a:cxn ang="0">
                  <a:pos x="131" y="36"/>
                </a:cxn>
                <a:cxn ang="0">
                  <a:pos x="118" y="34"/>
                </a:cxn>
                <a:cxn ang="0">
                  <a:pos x="118" y="29"/>
                </a:cxn>
                <a:cxn ang="0">
                  <a:pos x="108" y="34"/>
                </a:cxn>
                <a:cxn ang="0">
                  <a:pos x="104" y="36"/>
                </a:cxn>
                <a:cxn ang="0">
                  <a:pos x="110" y="25"/>
                </a:cxn>
                <a:cxn ang="0">
                  <a:pos x="108" y="18"/>
                </a:cxn>
                <a:cxn ang="0">
                  <a:pos x="102" y="9"/>
                </a:cxn>
              </a:cxnLst>
              <a:rect l="0" t="0" r="r" b="b"/>
              <a:pathLst>
                <a:path w="181" h="225">
                  <a:moveTo>
                    <a:pt x="102" y="7"/>
                  </a:moveTo>
                  <a:lnTo>
                    <a:pt x="96" y="18"/>
                  </a:lnTo>
                  <a:lnTo>
                    <a:pt x="91" y="18"/>
                  </a:lnTo>
                  <a:lnTo>
                    <a:pt x="83" y="16"/>
                  </a:lnTo>
                  <a:lnTo>
                    <a:pt x="83" y="18"/>
                  </a:lnTo>
                  <a:lnTo>
                    <a:pt x="79" y="18"/>
                  </a:lnTo>
                  <a:lnTo>
                    <a:pt x="77" y="18"/>
                  </a:lnTo>
                  <a:lnTo>
                    <a:pt x="68" y="20"/>
                  </a:lnTo>
                  <a:lnTo>
                    <a:pt x="64" y="20"/>
                  </a:lnTo>
                  <a:lnTo>
                    <a:pt x="62" y="16"/>
                  </a:lnTo>
                  <a:lnTo>
                    <a:pt x="64" y="7"/>
                  </a:lnTo>
                  <a:lnTo>
                    <a:pt x="62" y="0"/>
                  </a:lnTo>
                  <a:lnTo>
                    <a:pt x="60" y="0"/>
                  </a:lnTo>
                  <a:lnTo>
                    <a:pt x="60" y="2"/>
                  </a:lnTo>
                  <a:lnTo>
                    <a:pt x="48" y="9"/>
                  </a:lnTo>
                  <a:lnTo>
                    <a:pt x="39" y="7"/>
                  </a:lnTo>
                  <a:lnTo>
                    <a:pt x="43" y="9"/>
                  </a:lnTo>
                  <a:lnTo>
                    <a:pt x="43" y="16"/>
                  </a:lnTo>
                  <a:lnTo>
                    <a:pt x="45" y="18"/>
                  </a:lnTo>
                  <a:lnTo>
                    <a:pt x="37" y="25"/>
                  </a:lnTo>
                  <a:lnTo>
                    <a:pt x="31" y="25"/>
                  </a:lnTo>
                  <a:lnTo>
                    <a:pt x="31" y="20"/>
                  </a:lnTo>
                  <a:lnTo>
                    <a:pt x="29" y="18"/>
                  </a:lnTo>
                  <a:lnTo>
                    <a:pt x="16" y="20"/>
                  </a:lnTo>
                  <a:lnTo>
                    <a:pt x="16" y="25"/>
                  </a:lnTo>
                  <a:lnTo>
                    <a:pt x="20" y="27"/>
                  </a:lnTo>
                  <a:lnTo>
                    <a:pt x="14" y="27"/>
                  </a:lnTo>
                  <a:lnTo>
                    <a:pt x="16" y="36"/>
                  </a:lnTo>
                  <a:lnTo>
                    <a:pt x="16" y="54"/>
                  </a:lnTo>
                  <a:lnTo>
                    <a:pt x="6" y="59"/>
                  </a:lnTo>
                  <a:lnTo>
                    <a:pt x="4" y="63"/>
                  </a:lnTo>
                  <a:lnTo>
                    <a:pt x="0" y="72"/>
                  </a:lnTo>
                  <a:lnTo>
                    <a:pt x="4" y="81"/>
                  </a:lnTo>
                  <a:lnTo>
                    <a:pt x="8" y="88"/>
                  </a:lnTo>
                  <a:lnTo>
                    <a:pt x="14" y="86"/>
                  </a:lnTo>
                  <a:lnTo>
                    <a:pt x="14" y="92"/>
                  </a:lnTo>
                  <a:lnTo>
                    <a:pt x="20" y="92"/>
                  </a:lnTo>
                  <a:lnTo>
                    <a:pt x="25" y="95"/>
                  </a:lnTo>
                  <a:lnTo>
                    <a:pt x="31" y="86"/>
                  </a:lnTo>
                  <a:lnTo>
                    <a:pt x="39" y="86"/>
                  </a:lnTo>
                  <a:lnTo>
                    <a:pt x="39" y="95"/>
                  </a:lnTo>
                  <a:lnTo>
                    <a:pt x="43" y="101"/>
                  </a:lnTo>
                  <a:lnTo>
                    <a:pt x="62" y="110"/>
                  </a:lnTo>
                  <a:lnTo>
                    <a:pt x="64" y="115"/>
                  </a:lnTo>
                  <a:lnTo>
                    <a:pt x="64" y="119"/>
                  </a:lnTo>
                  <a:lnTo>
                    <a:pt x="64" y="122"/>
                  </a:lnTo>
                  <a:lnTo>
                    <a:pt x="75" y="124"/>
                  </a:lnTo>
                  <a:lnTo>
                    <a:pt x="75" y="129"/>
                  </a:lnTo>
                  <a:lnTo>
                    <a:pt x="79" y="135"/>
                  </a:lnTo>
                  <a:lnTo>
                    <a:pt x="77" y="147"/>
                  </a:lnTo>
                  <a:lnTo>
                    <a:pt x="79" y="156"/>
                  </a:lnTo>
                  <a:lnTo>
                    <a:pt x="87" y="158"/>
                  </a:lnTo>
                  <a:lnTo>
                    <a:pt x="91" y="158"/>
                  </a:lnTo>
                  <a:lnTo>
                    <a:pt x="91" y="167"/>
                  </a:lnTo>
                  <a:lnTo>
                    <a:pt x="96" y="167"/>
                  </a:lnTo>
                  <a:lnTo>
                    <a:pt x="96" y="178"/>
                  </a:lnTo>
                  <a:lnTo>
                    <a:pt x="100" y="178"/>
                  </a:lnTo>
                  <a:lnTo>
                    <a:pt x="102" y="187"/>
                  </a:lnTo>
                  <a:lnTo>
                    <a:pt x="100" y="189"/>
                  </a:lnTo>
                  <a:lnTo>
                    <a:pt x="87" y="205"/>
                  </a:lnTo>
                  <a:lnTo>
                    <a:pt x="91" y="205"/>
                  </a:lnTo>
                  <a:lnTo>
                    <a:pt x="96" y="210"/>
                  </a:lnTo>
                  <a:lnTo>
                    <a:pt x="96" y="207"/>
                  </a:lnTo>
                  <a:lnTo>
                    <a:pt x="108" y="214"/>
                  </a:lnTo>
                  <a:lnTo>
                    <a:pt x="110" y="221"/>
                  </a:lnTo>
                  <a:lnTo>
                    <a:pt x="110" y="225"/>
                  </a:lnTo>
                  <a:lnTo>
                    <a:pt x="114" y="216"/>
                  </a:lnTo>
                  <a:lnTo>
                    <a:pt x="118" y="210"/>
                  </a:lnTo>
                  <a:lnTo>
                    <a:pt x="123" y="201"/>
                  </a:lnTo>
                  <a:lnTo>
                    <a:pt x="127" y="196"/>
                  </a:lnTo>
                  <a:lnTo>
                    <a:pt x="125" y="180"/>
                  </a:lnTo>
                  <a:lnTo>
                    <a:pt x="133" y="171"/>
                  </a:lnTo>
                  <a:lnTo>
                    <a:pt x="135" y="167"/>
                  </a:lnTo>
                  <a:lnTo>
                    <a:pt x="139" y="167"/>
                  </a:lnTo>
                  <a:lnTo>
                    <a:pt x="139" y="165"/>
                  </a:lnTo>
                  <a:lnTo>
                    <a:pt x="141" y="165"/>
                  </a:lnTo>
                  <a:lnTo>
                    <a:pt x="141" y="162"/>
                  </a:lnTo>
                  <a:lnTo>
                    <a:pt x="152" y="162"/>
                  </a:lnTo>
                  <a:lnTo>
                    <a:pt x="152" y="158"/>
                  </a:lnTo>
                  <a:lnTo>
                    <a:pt x="158" y="156"/>
                  </a:lnTo>
                  <a:lnTo>
                    <a:pt x="158" y="153"/>
                  </a:lnTo>
                  <a:lnTo>
                    <a:pt x="164" y="144"/>
                  </a:lnTo>
                  <a:lnTo>
                    <a:pt x="164" y="135"/>
                  </a:lnTo>
                  <a:lnTo>
                    <a:pt x="164" y="131"/>
                  </a:lnTo>
                  <a:lnTo>
                    <a:pt x="164" y="106"/>
                  </a:lnTo>
                  <a:lnTo>
                    <a:pt x="179" y="86"/>
                  </a:lnTo>
                  <a:lnTo>
                    <a:pt x="181" y="77"/>
                  </a:lnTo>
                  <a:lnTo>
                    <a:pt x="181" y="70"/>
                  </a:lnTo>
                  <a:lnTo>
                    <a:pt x="179" y="61"/>
                  </a:lnTo>
                  <a:lnTo>
                    <a:pt x="173" y="59"/>
                  </a:lnTo>
                  <a:lnTo>
                    <a:pt x="158" y="45"/>
                  </a:lnTo>
                  <a:lnTo>
                    <a:pt x="150" y="50"/>
                  </a:lnTo>
                  <a:lnTo>
                    <a:pt x="141" y="43"/>
                  </a:lnTo>
                  <a:lnTo>
                    <a:pt x="135" y="45"/>
                  </a:lnTo>
                  <a:lnTo>
                    <a:pt x="135" y="43"/>
                  </a:lnTo>
                  <a:lnTo>
                    <a:pt x="135" y="38"/>
                  </a:lnTo>
                  <a:lnTo>
                    <a:pt x="133" y="38"/>
                  </a:lnTo>
                  <a:lnTo>
                    <a:pt x="131" y="36"/>
                  </a:lnTo>
                  <a:lnTo>
                    <a:pt x="123" y="34"/>
                  </a:lnTo>
                  <a:lnTo>
                    <a:pt x="118" y="34"/>
                  </a:lnTo>
                  <a:lnTo>
                    <a:pt x="116" y="38"/>
                  </a:lnTo>
                  <a:lnTo>
                    <a:pt x="118" y="29"/>
                  </a:lnTo>
                  <a:lnTo>
                    <a:pt x="116" y="29"/>
                  </a:lnTo>
                  <a:lnTo>
                    <a:pt x="108" y="34"/>
                  </a:lnTo>
                  <a:lnTo>
                    <a:pt x="108" y="38"/>
                  </a:lnTo>
                  <a:lnTo>
                    <a:pt x="104" y="36"/>
                  </a:lnTo>
                  <a:lnTo>
                    <a:pt x="104" y="29"/>
                  </a:lnTo>
                  <a:lnTo>
                    <a:pt x="110" y="25"/>
                  </a:lnTo>
                  <a:lnTo>
                    <a:pt x="110" y="20"/>
                  </a:lnTo>
                  <a:lnTo>
                    <a:pt x="108" y="18"/>
                  </a:lnTo>
                  <a:lnTo>
                    <a:pt x="104" y="9"/>
                  </a:lnTo>
                  <a:lnTo>
                    <a:pt x="102" y="9"/>
                  </a:lnTo>
                  <a:lnTo>
                    <a:pt x="102" y="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2" name="Freeform 1288"/>
            <p:cNvSpPr>
              <a:spLocks/>
            </p:cNvSpPr>
            <p:nvPr/>
          </p:nvSpPr>
          <p:spPr bwMode="auto">
            <a:xfrm>
              <a:off x="2713364" y="6115783"/>
              <a:ext cx="98661" cy="7429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5"/>
                </a:cxn>
                <a:cxn ang="0">
                  <a:pos x="19" y="12"/>
                </a:cxn>
                <a:cxn ang="0">
                  <a:pos x="10" y="14"/>
                </a:cxn>
                <a:cxn ang="0">
                  <a:pos x="8" y="14"/>
                </a:cxn>
                <a:cxn ang="0">
                  <a:pos x="4" y="7"/>
                </a:cxn>
                <a:cxn ang="0">
                  <a:pos x="0" y="0"/>
                </a:cxn>
              </a:cxnLst>
              <a:rect l="0" t="0" r="r" b="b"/>
              <a:pathLst>
                <a:path w="19" h="14">
                  <a:moveTo>
                    <a:pt x="0" y="0"/>
                  </a:moveTo>
                  <a:lnTo>
                    <a:pt x="6" y="5"/>
                  </a:lnTo>
                  <a:lnTo>
                    <a:pt x="19" y="12"/>
                  </a:lnTo>
                  <a:lnTo>
                    <a:pt x="10" y="14"/>
                  </a:lnTo>
                  <a:lnTo>
                    <a:pt x="8" y="14"/>
                  </a:lnTo>
                  <a:lnTo>
                    <a:pt x="4" y="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3" name="Freeform 1289"/>
            <p:cNvSpPr>
              <a:spLocks/>
            </p:cNvSpPr>
            <p:nvPr/>
          </p:nvSpPr>
          <p:spPr bwMode="auto">
            <a:xfrm>
              <a:off x="2625088" y="6115783"/>
              <a:ext cx="129817" cy="74293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10" y="0"/>
                </a:cxn>
                <a:cxn ang="0">
                  <a:pos x="15" y="3"/>
                </a:cxn>
                <a:cxn ang="0">
                  <a:pos x="17" y="3"/>
                </a:cxn>
                <a:cxn ang="0">
                  <a:pos x="15" y="5"/>
                </a:cxn>
                <a:cxn ang="0">
                  <a:pos x="15" y="9"/>
                </a:cxn>
                <a:cxn ang="0">
                  <a:pos x="0" y="3"/>
                </a:cxn>
                <a:cxn ang="0">
                  <a:pos x="0" y="5"/>
                </a:cxn>
                <a:cxn ang="0">
                  <a:pos x="2" y="9"/>
                </a:cxn>
                <a:cxn ang="0">
                  <a:pos x="4" y="9"/>
                </a:cxn>
                <a:cxn ang="0">
                  <a:pos x="15" y="12"/>
                </a:cxn>
                <a:cxn ang="0">
                  <a:pos x="19" y="12"/>
                </a:cxn>
                <a:cxn ang="0">
                  <a:pos x="19" y="14"/>
                </a:cxn>
                <a:cxn ang="0">
                  <a:pos x="25" y="14"/>
                </a:cxn>
                <a:cxn ang="0">
                  <a:pos x="21" y="7"/>
                </a:cxn>
                <a:cxn ang="0">
                  <a:pos x="17" y="0"/>
                </a:cxn>
              </a:cxnLst>
              <a:rect l="0" t="0" r="r" b="b"/>
              <a:pathLst>
                <a:path w="25" h="14">
                  <a:moveTo>
                    <a:pt x="17" y="0"/>
                  </a:moveTo>
                  <a:lnTo>
                    <a:pt x="10" y="0"/>
                  </a:lnTo>
                  <a:lnTo>
                    <a:pt x="15" y="3"/>
                  </a:lnTo>
                  <a:lnTo>
                    <a:pt x="17" y="3"/>
                  </a:lnTo>
                  <a:lnTo>
                    <a:pt x="15" y="5"/>
                  </a:lnTo>
                  <a:lnTo>
                    <a:pt x="15" y="9"/>
                  </a:lnTo>
                  <a:lnTo>
                    <a:pt x="0" y="3"/>
                  </a:lnTo>
                  <a:lnTo>
                    <a:pt x="0" y="5"/>
                  </a:lnTo>
                  <a:lnTo>
                    <a:pt x="2" y="9"/>
                  </a:lnTo>
                  <a:lnTo>
                    <a:pt x="4" y="9"/>
                  </a:lnTo>
                  <a:lnTo>
                    <a:pt x="15" y="12"/>
                  </a:lnTo>
                  <a:lnTo>
                    <a:pt x="19" y="12"/>
                  </a:lnTo>
                  <a:lnTo>
                    <a:pt x="19" y="14"/>
                  </a:lnTo>
                  <a:lnTo>
                    <a:pt x="25" y="14"/>
                  </a:lnTo>
                  <a:lnTo>
                    <a:pt x="21" y="7"/>
                  </a:lnTo>
                  <a:lnTo>
                    <a:pt x="17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4" name="Freeform 1290"/>
            <p:cNvSpPr>
              <a:spLocks/>
            </p:cNvSpPr>
            <p:nvPr/>
          </p:nvSpPr>
          <p:spPr bwMode="auto">
            <a:xfrm>
              <a:off x="2126590" y="4502554"/>
              <a:ext cx="316753" cy="562507"/>
            </a:xfrm>
            <a:custGeom>
              <a:avLst/>
              <a:gdLst/>
              <a:ahLst/>
              <a:cxnLst>
                <a:cxn ang="0">
                  <a:pos x="2" y="21"/>
                </a:cxn>
                <a:cxn ang="0">
                  <a:pos x="0" y="25"/>
                </a:cxn>
                <a:cxn ang="0">
                  <a:pos x="2" y="34"/>
                </a:cxn>
                <a:cxn ang="0">
                  <a:pos x="0" y="34"/>
                </a:cxn>
                <a:cxn ang="0">
                  <a:pos x="4" y="41"/>
                </a:cxn>
                <a:cxn ang="0">
                  <a:pos x="10" y="50"/>
                </a:cxn>
                <a:cxn ang="0">
                  <a:pos x="27" y="86"/>
                </a:cxn>
                <a:cxn ang="0">
                  <a:pos x="52" y="106"/>
                </a:cxn>
                <a:cxn ang="0">
                  <a:pos x="58" y="102"/>
                </a:cxn>
                <a:cxn ang="0">
                  <a:pos x="61" y="95"/>
                </a:cxn>
                <a:cxn ang="0">
                  <a:pos x="58" y="93"/>
                </a:cxn>
                <a:cxn ang="0">
                  <a:pos x="58" y="72"/>
                </a:cxn>
                <a:cxn ang="0">
                  <a:pos x="56" y="63"/>
                </a:cxn>
                <a:cxn ang="0">
                  <a:pos x="50" y="63"/>
                </a:cxn>
                <a:cxn ang="0">
                  <a:pos x="50" y="57"/>
                </a:cxn>
                <a:cxn ang="0">
                  <a:pos x="44" y="59"/>
                </a:cxn>
                <a:cxn ang="0">
                  <a:pos x="40" y="52"/>
                </a:cxn>
                <a:cxn ang="0">
                  <a:pos x="36" y="43"/>
                </a:cxn>
                <a:cxn ang="0">
                  <a:pos x="40" y="34"/>
                </a:cxn>
                <a:cxn ang="0">
                  <a:pos x="42" y="30"/>
                </a:cxn>
                <a:cxn ang="0">
                  <a:pos x="52" y="25"/>
                </a:cxn>
                <a:cxn ang="0">
                  <a:pos x="50" y="23"/>
                </a:cxn>
                <a:cxn ang="0">
                  <a:pos x="50" y="16"/>
                </a:cxn>
                <a:cxn ang="0">
                  <a:pos x="48" y="14"/>
                </a:cxn>
                <a:cxn ang="0">
                  <a:pos x="36" y="16"/>
                </a:cxn>
                <a:cxn ang="0">
                  <a:pos x="33" y="7"/>
                </a:cxn>
                <a:cxn ang="0">
                  <a:pos x="27" y="0"/>
                </a:cxn>
                <a:cxn ang="0">
                  <a:pos x="25" y="0"/>
                </a:cxn>
                <a:cxn ang="0">
                  <a:pos x="27" y="7"/>
                </a:cxn>
                <a:cxn ang="0">
                  <a:pos x="25" y="9"/>
                </a:cxn>
                <a:cxn ang="0">
                  <a:pos x="21" y="16"/>
                </a:cxn>
                <a:cxn ang="0">
                  <a:pos x="13" y="21"/>
                </a:cxn>
                <a:cxn ang="0">
                  <a:pos x="8" y="30"/>
                </a:cxn>
                <a:cxn ang="0">
                  <a:pos x="2" y="25"/>
                </a:cxn>
                <a:cxn ang="0">
                  <a:pos x="2" y="23"/>
                </a:cxn>
                <a:cxn ang="0">
                  <a:pos x="2" y="21"/>
                </a:cxn>
              </a:cxnLst>
              <a:rect l="0" t="0" r="r" b="b"/>
              <a:pathLst>
                <a:path w="61" h="106">
                  <a:moveTo>
                    <a:pt x="2" y="21"/>
                  </a:moveTo>
                  <a:lnTo>
                    <a:pt x="0" y="25"/>
                  </a:lnTo>
                  <a:lnTo>
                    <a:pt x="2" y="34"/>
                  </a:lnTo>
                  <a:lnTo>
                    <a:pt x="0" y="34"/>
                  </a:lnTo>
                  <a:lnTo>
                    <a:pt x="4" y="41"/>
                  </a:lnTo>
                  <a:lnTo>
                    <a:pt x="10" y="50"/>
                  </a:lnTo>
                  <a:lnTo>
                    <a:pt x="27" y="86"/>
                  </a:lnTo>
                  <a:lnTo>
                    <a:pt x="52" y="106"/>
                  </a:lnTo>
                  <a:lnTo>
                    <a:pt x="58" y="102"/>
                  </a:lnTo>
                  <a:lnTo>
                    <a:pt x="61" y="95"/>
                  </a:lnTo>
                  <a:lnTo>
                    <a:pt x="58" y="93"/>
                  </a:lnTo>
                  <a:lnTo>
                    <a:pt x="58" y="72"/>
                  </a:lnTo>
                  <a:lnTo>
                    <a:pt x="56" y="63"/>
                  </a:lnTo>
                  <a:lnTo>
                    <a:pt x="50" y="63"/>
                  </a:lnTo>
                  <a:lnTo>
                    <a:pt x="50" y="57"/>
                  </a:lnTo>
                  <a:lnTo>
                    <a:pt x="44" y="59"/>
                  </a:lnTo>
                  <a:lnTo>
                    <a:pt x="40" y="52"/>
                  </a:lnTo>
                  <a:lnTo>
                    <a:pt x="36" y="43"/>
                  </a:lnTo>
                  <a:lnTo>
                    <a:pt x="40" y="34"/>
                  </a:lnTo>
                  <a:lnTo>
                    <a:pt x="42" y="30"/>
                  </a:lnTo>
                  <a:lnTo>
                    <a:pt x="52" y="25"/>
                  </a:lnTo>
                  <a:lnTo>
                    <a:pt x="50" y="23"/>
                  </a:lnTo>
                  <a:lnTo>
                    <a:pt x="50" y="16"/>
                  </a:lnTo>
                  <a:lnTo>
                    <a:pt x="48" y="14"/>
                  </a:lnTo>
                  <a:lnTo>
                    <a:pt x="36" y="16"/>
                  </a:lnTo>
                  <a:lnTo>
                    <a:pt x="33" y="7"/>
                  </a:lnTo>
                  <a:lnTo>
                    <a:pt x="27" y="0"/>
                  </a:lnTo>
                  <a:lnTo>
                    <a:pt x="25" y="0"/>
                  </a:lnTo>
                  <a:lnTo>
                    <a:pt x="27" y="7"/>
                  </a:lnTo>
                  <a:lnTo>
                    <a:pt x="25" y="9"/>
                  </a:lnTo>
                  <a:lnTo>
                    <a:pt x="21" y="16"/>
                  </a:lnTo>
                  <a:lnTo>
                    <a:pt x="13" y="21"/>
                  </a:lnTo>
                  <a:lnTo>
                    <a:pt x="8" y="30"/>
                  </a:lnTo>
                  <a:lnTo>
                    <a:pt x="2" y="25"/>
                  </a:lnTo>
                  <a:lnTo>
                    <a:pt x="2" y="23"/>
                  </a:lnTo>
                  <a:lnTo>
                    <a:pt x="2" y="2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5" name="Freeform 1291"/>
            <p:cNvSpPr>
              <a:spLocks/>
            </p:cNvSpPr>
            <p:nvPr/>
          </p:nvSpPr>
          <p:spPr bwMode="auto">
            <a:xfrm>
              <a:off x="2126590" y="4454794"/>
              <a:ext cx="140203" cy="206960"/>
            </a:xfrm>
            <a:custGeom>
              <a:avLst/>
              <a:gdLst/>
              <a:ahLst/>
              <a:cxnLst>
                <a:cxn ang="0">
                  <a:pos x="2" y="30"/>
                </a:cxn>
                <a:cxn ang="0">
                  <a:pos x="2" y="34"/>
                </a:cxn>
                <a:cxn ang="0">
                  <a:pos x="8" y="39"/>
                </a:cxn>
                <a:cxn ang="0">
                  <a:pos x="13" y="30"/>
                </a:cxn>
                <a:cxn ang="0">
                  <a:pos x="21" y="25"/>
                </a:cxn>
                <a:cxn ang="0">
                  <a:pos x="25" y="18"/>
                </a:cxn>
                <a:cxn ang="0">
                  <a:pos x="27" y="16"/>
                </a:cxn>
                <a:cxn ang="0">
                  <a:pos x="25" y="9"/>
                </a:cxn>
                <a:cxn ang="0">
                  <a:pos x="27" y="9"/>
                </a:cxn>
                <a:cxn ang="0">
                  <a:pos x="25" y="7"/>
                </a:cxn>
                <a:cxn ang="0">
                  <a:pos x="17" y="9"/>
                </a:cxn>
                <a:cxn ang="0">
                  <a:pos x="10" y="0"/>
                </a:cxn>
                <a:cxn ang="0">
                  <a:pos x="4" y="7"/>
                </a:cxn>
                <a:cxn ang="0">
                  <a:pos x="4" y="9"/>
                </a:cxn>
                <a:cxn ang="0">
                  <a:pos x="2" y="9"/>
                </a:cxn>
                <a:cxn ang="0">
                  <a:pos x="2" y="14"/>
                </a:cxn>
                <a:cxn ang="0">
                  <a:pos x="0" y="16"/>
                </a:cxn>
                <a:cxn ang="0">
                  <a:pos x="0" y="23"/>
                </a:cxn>
                <a:cxn ang="0">
                  <a:pos x="4" y="30"/>
                </a:cxn>
                <a:cxn ang="0">
                  <a:pos x="2" y="30"/>
                </a:cxn>
              </a:cxnLst>
              <a:rect l="0" t="0" r="r" b="b"/>
              <a:pathLst>
                <a:path w="27" h="39">
                  <a:moveTo>
                    <a:pt x="2" y="30"/>
                  </a:moveTo>
                  <a:lnTo>
                    <a:pt x="2" y="34"/>
                  </a:lnTo>
                  <a:lnTo>
                    <a:pt x="8" y="39"/>
                  </a:lnTo>
                  <a:lnTo>
                    <a:pt x="13" y="30"/>
                  </a:lnTo>
                  <a:lnTo>
                    <a:pt x="21" y="25"/>
                  </a:lnTo>
                  <a:lnTo>
                    <a:pt x="25" y="18"/>
                  </a:lnTo>
                  <a:lnTo>
                    <a:pt x="27" y="16"/>
                  </a:lnTo>
                  <a:lnTo>
                    <a:pt x="25" y="9"/>
                  </a:lnTo>
                  <a:lnTo>
                    <a:pt x="27" y="9"/>
                  </a:lnTo>
                  <a:lnTo>
                    <a:pt x="25" y="7"/>
                  </a:lnTo>
                  <a:lnTo>
                    <a:pt x="17" y="9"/>
                  </a:lnTo>
                  <a:lnTo>
                    <a:pt x="10" y="0"/>
                  </a:lnTo>
                  <a:lnTo>
                    <a:pt x="4" y="7"/>
                  </a:lnTo>
                  <a:lnTo>
                    <a:pt x="4" y="9"/>
                  </a:lnTo>
                  <a:lnTo>
                    <a:pt x="2" y="9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4" y="30"/>
                  </a:lnTo>
                  <a:lnTo>
                    <a:pt x="2" y="3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6" name="Freeform 1292"/>
            <p:cNvSpPr>
              <a:spLocks/>
            </p:cNvSpPr>
            <p:nvPr/>
          </p:nvSpPr>
          <p:spPr bwMode="auto">
            <a:xfrm>
              <a:off x="2178517" y="4120473"/>
              <a:ext cx="295983" cy="514747"/>
            </a:xfrm>
            <a:custGeom>
              <a:avLst/>
              <a:gdLst/>
              <a:ahLst/>
              <a:cxnLst>
                <a:cxn ang="0">
                  <a:pos x="0" y="63"/>
                </a:cxn>
                <a:cxn ang="0">
                  <a:pos x="3" y="59"/>
                </a:cxn>
                <a:cxn ang="0">
                  <a:pos x="7" y="59"/>
                </a:cxn>
                <a:cxn ang="0">
                  <a:pos x="9" y="52"/>
                </a:cxn>
                <a:cxn ang="0">
                  <a:pos x="7" y="50"/>
                </a:cxn>
                <a:cxn ang="0">
                  <a:pos x="7" y="34"/>
                </a:cxn>
                <a:cxn ang="0">
                  <a:pos x="7" y="30"/>
                </a:cxn>
                <a:cxn ang="0">
                  <a:pos x="9" y="27"/>
                </a:cxn>
                <a:cxn ang="0">
                  <a:pos x="9" y="25"/>
                </a:cxn>
                <a:cxn ang="0">
                  <a:pos x="11" y="27"/>
                </a:cxn>
                <a:cxn ang="0">
                  <a:pos x="11" y="25"/>
                </a:cxn>
                <a:cxn ang="0">
                  <a:pos x="17" y="18"/>
                </a:cxn>
                <a:cxn ang="0">
                  <a:pos x="17" y="9"/>
                </a:cxn>
                <a:cxn ang="0">
                  <a:pos x="23" y="9"/>
                </a:cxn>
                <a:cxn ang="0">
                  <a:pos x="26" y="9"/>
                </a:cxn>
                <a:cxn ang="0">
                  <a:pos x="38" y="0"/>
                </a:cxn>
                <a:cxn ang="0">
                  <a:pos x="38" y="3"/>
                </a:cxn>
                <a:cxn ang="0">
                  <a:pos x="34" y="7"/>
                </a:cxn>
                <a:cxn ang="0">
                  <a:pos x="32" y="9"/>
                </a:cxn>
                <a:cxn ang="0">
                  <a:pos x="30" y="18"/>
                </a:cxn>
                <a:cxn ang="0">
                  <a:pos x="32" y="27"/>
                </a:cxn>
                <a:cxn ang="0">
                  <a:pos x="32" y="30"/>
                </a:cxn>
                <a:cxn ang="0">
                  <a:pos x="34" y="30"/>
                </a:cxn>
                <a:cxn ang="0">
                  <a:pos x="42" y="34"/>
                </a:cxn>
                <a:cxn ang="0">
                  <a:pos x="46" y="36"/>
                </a:cxn>
                <a:cxn ang="0">
                  <a:pos x="55" y="36"/>
                </a:cxn>
                <a:cxn ang="0">
                  <a:pos x="51" y="45"/>
                </a:cxn>
                <a:cxn ang="0">
                  <a:pos x="55" y="54"/>
                </a:cxn>
                <a:cxn ang="0">
                  <a:pos x="51" y="54"/>
                </a:cxn>
                <a:cxn ang="0">
                  <a:pos x="57" y="63"/>
                </a:cxn>
                <a:cxn ang="0">
                  <a:pos x="55" y="61"/>
                </a:cxn>
                <a:cxn ang="0">
                  <a:pos x="42" y="63"/>
                </a:cxn>
                <a:cxn ang="0">
                  <a:pos x="42" y="68"/>
                </a:cxn>
                <a:cxn ang="0">
                  <a:pos x="46" y="70"/>
                </a:cxn>
                <a:cxn ang="0">
                  <a:pos x="40" y="70"/>
                </a:cxn>
                <a:cxn ang="0">
                  <a:pos x="42" y="79"/>
                </a:cxn>
                <a:cxn ang="0">
                  <a:pos x="42" y="97"/>
                </a:cxn>
                <a:cxn ang="0">
                  <a:pos x="40" y="95"/>
                </a:cxn>
                <a:cxn ang="0">
                  <a:pos x="40" y="88"/>
                </a:cxn>
                <a:cxn ang="0">
                  <a:pos x="38" y="86"/>
                </a:cxn>
                <a:cxn ang="0">
                  <a:pos x="26" y="88"/>
                </a:cxn>
                <a:cxn ang="0">
                  <a:pos x="23" y="79"/>
                </a:cxn>
                <a:cxn ang="0">
                  <a:pos x="17" y="72"/>
                </a:cxn>
                <a:cxn ang="0">
                  <a:pos x="15" y="70"/>
                </a:cxn>
                <a:cxn ang="0">
                  <a:pos x="7" y="72"/>
                </a:cxn>
                <a:cxn ang="0">
                  <a:pos x="3" y="68"/>
                </a:cxn>
                <a:cxn ang="0">
                  <a:pos x="0" y="63"/>
                </a:cxn>
              </a:cxnLst>
              <a:rect l="0" t="0" r="r" b="b"/>
              <a:pathLst>
                <a:path w="57" h="97">
                  <a:moveTo>
                    <a:pt x="0" y="63"/>
                  </a:moveTo>
                  <a:lnTo>
                    <a:pt x="3" y="59"/>
                  </a:lnTo>
                  <a:lnTo>
                    <a:pt x="7" y="59"/>
                  </a:lnTo>
                  <a:lnTo>
                    <a:pt x="9" y="52"/>
                  </a:lnTo>
                  <a:lnTo>
                    <a:pt x="7" y="50"/>
                  </a:lnTo>
                  <a:lnTo>
                    <a:pt x="7" y="34"/>
                  </a:lnTo>
                  <a:lnTo>
                    <a:pt x="7" y="30"/>
                  </a:lnTo>
                  <a:lnTo>
                    <a:pt x="9" y="27"/>
                  </a:lnTo>
                  <a:lnTo>
                    <a:pt x="9" y="25"/>
                  </a:lnTo>
                  <a:lnTo>
                    <a:pt x="11" y="27"/>
                  </a:lnTo>
                  <a:lnTo>
                    <a:pt x="11" y="25"/>
                  </a:lnTo>
                  <a:lnTo>
                    <a:pt x="17" y="18"/>
                  </a:lnTo>
                  <a:lnTo>
                    <a:pt x="17" y="9"/>
                  </a:lnTo>
                  <a:lnTo>
                    <a:pt x="23" y="9"/>
                  </a:lnTo>
                  <a:lnTo>
                    <a:pt x="26" y="9"/>
                  </a:lnTo>
                  <a:lnTo>
                    <a:pt x="38" y="0"/>
                  </a:lnTo>
                  <a:lnTo>
                    <a:pt x="38" y="3"/>
                  </a:lnTo>
                  <a:lnTo>
                    <a:pt x="34" y="7"/>
                  </a:lnTo>
                  <a:lnTo>
                    <a:pt x="32" y="9"/>
                  </a:lnTo>
                  <a:lnTo>
                    <a:pt x="30" y="18"/>
                  </a:lnTo>
                  <a:lnTo>
                    <a:pt x="32" y="27"/>
                  </a:lnTo>
                  <a:lnTo>
                    <a:pt x="32" y="30"/>
                  </a:lnTo>
                  <a:lnTo>
                    <a:pt x="34" y="30"/>
                  </a:lnTo>
                  <a:lnTo>
                    <a:pt x="42" y="34"/>
                  </a:lnTo>
                  <a:lnTo>
                    <a:pt x="46" y="36"/>
                  </a:lnTo>
                  <a:lnTo>
                    <a:pt x="55" y="36"/>
                  </a:lnTo>
                  <a:lnTo>
                    <a:pt x="51" y="45"/>
                  </a:lnTo>
                  <a:lnTo>
                    <a:pt x="55" y="54"/>
                  </a:lnTo>
                  <a:lnTo>
                    <a:pt x="51" y="54"/>
                  </a:lnTo>
                  <a:lnTo>
                    <a:pt x="57" y="63"/>
                  </a:lnTo>
                  <a:lnTo>
                    <a:pt x="55" y="61"/>
                  </a:lnTo>
                  <a:lnTo>
                    <a:pt x="42" y="63"/>
                  </a:lnTo>
                  <a:lnTo>
                    <a:pt x="42" y="68"/>
                  </a:lnTo>
                  <a:lnTo>
                    <a:pt x="46" y="70"/>
                  </a:lnTo>
                  <a:lnTo>
                    <a:pt x="40" y="70"/>
                  </a:lnTo>
                  <a:lnTo>
                    <a:pt x="42" y="79"/>
                  </a:lnTo>
                  <a:lnTo>
                    <a:pt x="42" y="97"/>
                  </a:lnTo>
                  <a:lnTo>
                    <a:pt x="40" y="95"/>
                  </a:lnTo>
                  <a:lnTo>
                    <a:pt x="40" y="88"/>
                  </a:lnTo>
                  <a:lnTo>
                    <a:pt x="38" y="86"/>
                  </a:lnTo>
                  <a:lnTo>
                    <a:pt x="26" y="88"/>
                  </a:lnTo>
                  <a:lnTo>
                    <a:pt x="23" y="79"/>
                  </a:lnTo>
                  <a:lnTo>
                    <a:pt x="17" y="72"/>
                  </a:lnTo>
                  <a:lnTo>
                    <a:pt x="15" y="70"/>
                  </a:lnTo>
                  <a:lnTo>
                    <a:pt x="7" y="72"/>
                  </a:lnTo>
                  <a:lnTo>
                    <a:pt x="3" y="68"/>
                  </a:lnTo>
                  <a:lnTo>
                    <a:pt x="0" y="63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7" name="Freeform 1293"/>
            <p:cNvSpPr>
              <a:spLocks/>
            </p:cNvSpPr>
            <p:nvPr/>
          </p:nvSpPr>
          <p:spPr bwMode="auto">
            <a:xfrm>
              <a:off x="2334297" y="4136393"/>
              <a:ext cx="311562" cy="344934"/>
            </a:xfrm>
            <a:custGeom>
              <a:avLst/>
              <a:gdLst/>
              <a:ahLst/>
              <a:cxnLst>
                <a:cxn ang="0">
                  <a:pos x="60" y="22"/>
                </a:cxn>
                <a:cxn ang="0">
                  <a:pos x="56" y="24"/>
                </a:cxn>
                <a:cxn ang="0">
                  <a:pos x="56" y="27"/>
                </a:cxn>
                <a:cxn ang="0">
                  <a:pos x="58" y="31"/>
                </a:cxn>
                <a:cxn ang="0">
                  <a:pos x="56" y="31"/>
                </a:cxn>
                <a:cxn ang="0">
                  <a:pos x="52" y="36"/>
                </a:cxn>
                <a:cxn ang="0">
                  <a:pos x="56" y="40"/>
                </a:cxn>
                <a:cxn ang="0">
                  <a:pos x="56" y="42"/>
                </a:cxn>
                <a:cxn ang="0">
                  <a:pos x="44" y="49"/>
                </a:cxn>
                <a:cxn ang="0">
                  <a:pos x="35" y="47"/>
                </a:cxn>
                <a:cxn ang="0">
                  <a:pos x="39" y="49"/>
                </a:cxn>
                <a:cxn ang="0">
                  <a:pos x="39" y="56"/>
                </a:cxn>
                <a:cxn ang="0">
                  <a:pos x="41" y="58"/>
                </a:cxn>
                <a:cxn ang="0">
                  <a:pos x="33" y="65"/>
                </a:cxn>
                <a:cxn ang="0">
                  <a:pos x="27" y="65"/>
                </a:cxn>
                <a:cxn ang="0">
                  <a:pos x="27" y="60"/>
                </a:cxn>
                <a:cxn ang="0">
                  <a:pos x="21" y="51"/>
                </a:cxn>
                <a:cxn ang="0">
                  <a:pos x="25" y="51"/>
                </a:cxn>
                <a:cxn ang="0">
                  <a:pos x="21" y="42"/>
                </a:cxn>
                <a:cxn ang="0">
                  <a:pos x="25" y="33"/>
                </a:cxn>
                <a:cxn ang="0">
                  <a:pos x="16" y="33"/>
                </a:cxn>
                <a:cxn ang="0">
                  <a:pos x="12" y="31"/>
                </a:cxn>
                <a:cxn ang="0">
                  <a:pos x="4" y="27"/>
                </a:cxn>
                <a:cxn ang="0">
                  <a:pos x="2" y="27"/>
                </a:cxn>
                <a:cxn ang="0">
                  <a:pos x="2" y="24"/>
                </a:cxn>
                <a:cxn ang="0">
                  <a:pos x="0" y="15"/>
                </a:cxn>
                <a:cxn ang="0">
                  <a:pos x="2" y="6"/>
                </a:cxn>
                <a:cxn ang="0">
                  <a:pos x="4" y="4"/>
                </a:cxn>
                <a:cxn ang="0">
                  <a:pos x="8" y="9"/>
                </a:cxn>
                <a:cxn ang="0">
                  <a:pos x="4" y="13"/>
                </a:cxn>
                <a:cxn ang="0">
                  <a:pos x="4" y="18"/>
                </a:cxn>
                <a:cxn ang="0">
                  <a:pos x="8" y="15"/>
                </a:cxn>
                <a:cxn ang="0">
                  <a:pos x="8" y="6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6" y="4"/>
                </a:cxn>
                <a:cxn ang="0">
                  <a:pos x="21" y="6"/>
                </a:cxn>
                <a:cxn ang="0">
                  <a:pos x="21" y="9"/>
                </a:cxn>
                <a:cxn ang="0">
                  <a:pos x="31" y="9"/>
                </a:cxn>
                <a:cxn ang="0">
                  <a:pos x="35" y="13"/>
                </a:cxn>
                <a:cxn ang="0">
                  <a:pos x="41" y="9"/>
                </a:cxn>
                <a:cxn ang="0">
                  <a:pos x="50" y="9"/>
                </a:cxn>
                <a:cxn ang="0">
                  <a:pos x="48" y="9"/>
                </a:cxn>
                <a:cxn ang="0">
                  <a:pos x="50" y="13"/>
                </a:cxn>
                <a:cxn ang="0">
                  <a:pos x="56" y="15"/>
                </a:cxn>
                <a:cxn ang="0">
                  <a:pos x="56" y="22"/>
                </a:cxn>
                <a:cxn ang="0">
                  <a:pos x="58" y="22"/>
                </a:cxn>
                <a:cxn ang="0">
                  <a:pos x="60" y="22"/>
                </a:cxn>
              </a:cxnLst>
              <a:rect l="0" t="0" r="r" b="b"/>
              <a:pathLst>
                <a:path w="60" h="65">
                  <a:moveTo>
                    <a:pt x="60" y="22"/>
                  </a:moveTo>
                  <a:lnTo>
                    <a:pt x="56" y="24"/>
                  </a:lnTo>
                  <a:lnTo>
                    <a:pt x="56" y="27"/>
                  </a:lnTo>
                  <a:lnTo>
                    <a:pt x="58" y="31"/>
                  </a:lnTo>
                  <a:lnTo>
                    <a:pt x="56" y="31"/>
                  </a:lnTo>
                  <a:lnTo>
                    <a:pt x="52" y="36"/>
                  </a:lnTo>
                  <a:lnTo>
                    <a:pt x="56" y="40"/>
                  </a:lnTo>
                  <a:lnTo>
                    <a:pt x="56" y="42"/>
                  </a:lnTo>
                  <a:lnTo>
                    <a:pt x="44" y="49"/>
                  </a:lnTo>
                  <a:lnTo>
                    <a:pt x="35" y="47"/>
                  </a:lnTo>
                  <a:lnTo>
                    <a:pt x="39" y="49"/>
                  </a:lnTo>
                  <a:lnTo>
                    <a:pt x="39" y="56"/>
                  </a:lnTo>
                  <a:lnTo>
                    <a:pt x="41" y="58"/>
                  </a:lnTo>
                  <a:lnTo>
                    <a:pt x="33" y="65"/>
                  </a:lnTo>
                  <a:lnTo>
                    <a:pt x="27" y="65"/>
                  </a:lnTo>
                  <a:lnTo>
                    <a:pt x="27" y="60"/>
                  </a:lnTo>
                  <a:lnTo>
                    <a:pt x="21" y="51"/>
                  </a:lnTo>
                  <a:lnTo>
                    <a:pt x="25" y="51"/>
                  </a:lnTo>
                  <a:lnTo>
                    <a:pt x="21" y="42"/>
                  </a:lnTo>
                  <a:lnTo>
                    <a:pt x="25" y="33"/>
                  </a:lnTo>
                  <a:lnTo>
                    <a:pt x="16" y="33"/>
                  </a:lnTo>
                  <a:lnTo>
                    <a:pt x="12" y="31"/>
                  </a:lnTo>
                  <a:lnTo>
                    <a:pt x="4" y="27"/>
                  </a:lnTo>
                  <a:lnTo>
                    <a:pt x="2" y="27"/>
                  </a:lnTo>
                  <a:lnTo>
                    <a:pt x="2" y="24"/>
                  </a:lnTo>
                  <a:lnTo>
                    <a:pt x="0" y="15"/>
                  </a:lnTo>
                  <a:lnTo>
                    <a:pt x="2" y="6"/>
                  </a:lnTo>
                  <a:lnTo>
                    <a:pt x="4" y="4"/>
                  </a:lnTo>
                  <a:lnTo>
                    <a:pt x="8" y="9"/>
                  </a:lnTo>
                  <a:lnTo>
                    <a:pt x="4" y="13"/>
                  </a:lnTo>
                  <a:lnTo>
                    <a:pt x="4" y="18"/>
                  </a:lnTo>
                  <a:lnTo>
                    <a:pt x="8" y="15"/>
                  </a:lnTo>
                  <a:lnTo>
                    <a:pt x="8" y="6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6" y="4"/>
                  </a:lnTo>
                  <a:lnTo>
                    <a:pt x="21" y="6"/>
                  </a:lnTo>
                  <a:lnTo>
                    <a:pt x="21" y="9"/>
                  </a:lnTo>
                  <a:lnTo>
                    <a:pt x="31" y="9"/>
                  </a:lnTo>
                  <a:lnTo>
                    <a:pt x="35" y="13"/>
                  </a:lnTo>
                  <a:lnTo>
                    <a:pt x="41" y="9"/>
                  </a:lnTo>
                  <a:lnTo>
                    <a:pt x="50" y="9"/>
                  </a:lnTo>
                  <a:lnTo>
                    <a:pt x="48" y="9"/>
                  </a:lnTo>
                  <a:lnTo>
                    <a:pt x="50" y="13"/>
                  </a:lnTo>
                  <a:lnTo>
                    <a:pt x="56" y="15"/>
                  </a:lnTo>
                  <a:lnTo>
                    <a:pt x="56" y="22"/>
                  </a:lnTo>
                  <a:lnTo>
                    <a:pt x="58" y="22"/>
                  </a:lnTo>
                  <a:lnTo>
                    <a:pt x="60" y="2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8" name="Freeform 1294"/>
            <p:cNvSpPr>
              <a:spLocks/>
            </p:cNvSpPr>
            <p:nvPr/>
          </p:nvSpPr>
          <p:spPr bwMode="auto">
            <a:xfrm>
              <a:off x="2786061" y="4327433"/>
              <a:ext cx="57120" cy="116747"/>
            </a:xfrm>
            <a:custGeom>
              <a:avLst/>
              <a:gdLst/>
              <a:ahLst/>
              <a:cxnLst>
                <a:cxn ang="0">
                  <a:pos x="11" y="11"/>
                </a:cxn>
                <a:cxn ang="0">
                  <a:pos x="5" y="22"/>
                </a:cxn>
                <a:cxn ang="0">
                  <a:pos x="0" y="22"/>
                </a:cxn>
                <a:cxn ang="0">
                  <a:pos x="0" y="13"/>
                </a:cxn>
                <a:cxn ang="0">
                  <a:pos x="0" y="6"/>
                </a:cxn>
                <a:cxn ang="0">
                  <a:pos x="0" y="0"/>
                </a:cxn>
                <a:cxn ang="0">
                  <a:pos x="5" y="6"/>
                </a:cxn>
                <a:cxn ang="0">
                  <a:pos x="11" y="11"/>
                </a:cxn>
              </a:cxnLst>
              <a:rect l="0" t="0" r="r" b="b"/>
              <a:pathLst>
                <a:path w="11" h="22">
                  <a:moveTo>
                    <a:pt x="11" y="11"/>
                  </a:moveTo>
                  <a:lnTo>
                    <a:pt x="5" y="22"/>
                  </a:lnTo>
                  <a:lnTo>
                    <a:pt x="0" y="22"/>
                  </a:lnTo>
                  <a:lnTo>
                    <a:pt x="0" y="13"/>
                  </a:lnTo>
                  <a:lnTo>
                    <a:pt x="0" y="6"/>
                  </a:lnTo>
                  <a:lnTo>
                    <a:pt x="0" y="0"/>
                  </a:lnTo>
                  <a:lnTo>
                    <a:pt x="5" y="6"/>
                  </a:lnTo>
                  <a:lnTo>
                    <a:pt x="11" y="1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9" name="Freeform 1295"/>
            <p:cNvSpPr>
              <a:spLocks/>
            </p:cNvSpPr>
            <p:nvPr/>
          </p:nvSpPr>
          <p:spPr bwMode="auto">
            <a:xfrm>
              <a:off x="2702979" y="4327433"/>
              <a:ext cx="83083" cy="116747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12" y="0"/>
                </a:cxn>
                <a:cxn ang="0">
                  <a:pos x="2" y="0"/>
                </a:cxn>
                <a:cxn ang="0">
                  <a:pos x="0" y="11"/>
                </a:cxn>
                <a:cxn ang="0">
                  <a:pos x="4" y="22"/>
                </a:cxn>
                <a:cxn ang="0">
                  <a:pos x="8" y="22"/>
                </a:cxn>
                <a:cxn ang="0">
                  <a:pos x="8" y="20"/>
                </a:cxn>
                <a:cxn ang="0">
                  <a:pos x="16" y="22"/>
                </a:cxn>
                <a:cxn ang="0">
                  <a:pos x="16" y="13"/>
                </a:cxn>
                <a:cxn ang="0">
                  <a:pos x="16" y="6"/>
                </a:cxn>
                <a:cxn ang="0">
                  <a:pos x="16" y="4"/>
                </a:cxn>
                <a:cxn ang="0">
                  <a:pos x="16" y="0"/>
                </a:cxn>
              </a:cxnLst>
              <a:rect l="0" t="0" r="r" b="b"/>
              <a:pathLst>
                <a:path w="16" h="22">
                  <a:moveTo>
                    <a:pt x="16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0" y="11"/>
                  </a:lnTo>
                  <a:lnTo>
                    <a:pt x="4" y="22"/>
                  </a:lnTo>
                  <a:lnTo>
                    <a:pt x="8" y="22"/>
                  </a:lnTo>
                  <a:lnTo>
                    <a:pt x="8" y="20"/>
                  </a:lnTo>
                  <a:lnTo>
                    <a:pt x="16" y="22"/>
                  </a:lnTo>
                  <a:lnTo>
                    <a:pt x="16" y="13"/>
                  </a:lnTo>
                  <a:lnTo>
                    <a:pt x="16" y="6"/>
                  </a:lnTo>
                  <a:lnTo>
                    <a:pt x="16" y="4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0" name="Freeform 1296"/>
            <p:cNvSpPr>
              <a:spLocks/>
            </p:cNvSpPr>
            <p:nvPr/>
          </p:nvSpPr>
          <p:spPr bwMode="auto">
            <a:xfrm>
              <a:off x="2396611" y="5043834"/>
              <a:ext cx="306369" cy="1098482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13" y="16"/>
                </a:cxn>
                <a:cxn ang="0">
                  <a:pos x="21" y="31"/>
                </a:cxn>
                <a:cxn ang="0">
                  <a:pos x="15" y="40"/>
                </a:cxn>
                <a:cxn ang="0">
                  <a:pos x="15" y="61"/>
                </a:cxn>
                <a:cxn ang="0">
                  <a:pos x="21" y="94"/>
                </a:cxn>
                <a:cxn ang="0">
                  <a:pos x="21" y="108"/>
                </a:cxn>
                <a:cxn ang="0">
                  <a:pos x="23" y="121"/>
                </a:cxn>
                <a:cxn ang="0">
                  <a:pos x="27" y="142"/>
                </a:cxn>
                <a:cxn ang="0">
                  <a:pos x="29" y="155"/>
                </a:cxn>
                <a:cxn ang="0">
                  <a:pos x="32" y="155"/>
                </a:cxn>
                <a:cxn ang="0">
                  <a:pos x="36" y="187"/>
                </a:cxn>
                <a:cxn ang="0">
                  <a:pos x="40" y="189"/>
                </a:cxn>
                <a:cxn ang="0">
                  <a:pos x="59" y="198"/>
                </a:cxn>
                <a:cxn ang="0">
                  <a:pos x="54" y="202"/>
                </a:cxn>
                <a:cxn ang="0">
                  <a:pos x="38" y="198"/>
                </a:cxn>
                <a:cxn ang="0">
                  <a:pos x="36" y="198"/>
                </a:cxn>
                <a:cxn ang="0">
                  <a:pos x="38" y="196"/>
                </a:cxn>
                <a:cxn ang="0">
                  <a:pos x="36" y="196"/>
                </a:cxn>
                <a:cxn ang="0">
                  <a:pos x="32" y="189"/>
                </a:cxn>
                <a:cxn ang="0">
                  <a:pos x="29" y="189"/>
                </a:cxn>
                <a:cxn ang="0">
                  <a:pos x="27" y="187"/>
                </a:cxn>
                <a:cxn ang="0">
                  <a:pos x="23" y="173"/>
                </a:cxn>
                <a:cxn ang="0">
                  <a:pos x="27" y="169"/>
                </a:cxn>
                <a:cxn ang="0">
                  <a:pos x="21" y="164"/>
                </a:cxn>
                <a:cxn ang="0">
                  <a:pos x="19" y="153"/>
                </a:cxn>
                <a:cxn ang="0">
                  <a:pos x="21" y="142"/>
                </a:cxn>
                <a:cxn ang="0">
                  <a:pos x="19" y="142"/>
                </a:cxn>
                <a:cxn ang="0">
                  <a:pos x="15" y="128"/>
                </a:cxn>
                <a:cxn ang="0">
                  <a:pos x="9" y="112"/>
                </a:cxn>
                <a:cxn ang="0">
                  <a:pos x="13" y="94"/>
                </a:cxn>
                <a:cxn ang="0">
                  <a:pos x="6" y="76"/>
                </a:cxn>
                <a:cxn ang="0">
                  <a:pos x="6" y="67"/>
                </a:cxn>
                <a:cxn ang="0">
                  <a:pos x="6" y="31"/>
                </a:cxn>
                <a:cxn ang="0">
                  <a:pos x="2" y="16"/>
                </a:cxn>
              </a:cxnLst>
              <a:rect l="0" t="0" r="r" b="b"/>
              <a:pathLst>
                <a:path w="59" h="207">
                  <a:moveTo>
                    <a:pt x="0" y="4"/>
                  </a:moveTo>
                  <a:lnTo>
                    <a:pt x="6" y="0"/>
                  </a:lnTo>
                  <a:lnTo>
                    <a:pt x="13" y="9"/>
                  </a:lnTo>
                  <a:lnTo>
                    <a:pt x="13" y="16"/>
                  </a:lnTo>
                  <a:lnTo>
                    <a:pt x="19" y="31"/>
                  </a:lnTo>
                  <a:lnTo>
                    <a:pt x="21" y="31"/>
                  </a:lnTo>
                  <a:lnTo>
                    <a:pt x="21" y="36"/>
                  </a:lnTo>
                  <a:lnTo>
                    <a:pt x="15" y="40"/>
                  </a:lnTo>
                  <a:lnTo>
                    <a:pt x="19" y="52"/>
                  </a:lnTo>
                  <a:lnTo>
                    <a:pt x="15" y="61"/>
                  </a:lnTo>
                  <a:lnTo>
                    <a:pt x="15" y="79"/>
                  </a:lnTo>
                  <a:lnTo>
                    <a:pt x="21" y="94"/>
                  </a:lnTo>
                  <a:lnTo>
                    <a:pt x="19" y="103"/>
                  </a:lnTo>
                  <a:lnTo>
                    <a:pt x="21" y="108"/>
                  </a:lnTo>
                  <a:lnTo>
                    <a:pt x="19" y="112"/>
                  </a:lnTo>
                  <a:lnTo>
                    <a:pt x="23" y="121"/>
                  </a:lnTo>
                  <a:lnTo>
                    <a:pt x="23" y="137"/>
                  </a:lnTo>
                  <a:lnTo>
                    <a:pt x="27" y="142"/>
                  </a:lnTo>
                  <a:lnTo>
                    <a:pt x="27" y="146"/>
                  </a:lnTo>
                  <a:lnTo>
                    <a:pt x="29" y="155"/>
                  </a:lnTo>
                  <a:lnTo>
                    <a:pt x="32" y="160"/>
                  </a:lnTo>
                  <a:lnTo>
                    <a:pt x="32" y="155"/>
                  </a:lnTo>
                  <a:lnTo>
                    <a:pt x="36" y="169"/>
                  </a:lnTo>
                  <a:lnTo>
                    <a:pt x="36" y="187"/>
                  </a:lnTo>
                  <a:lnTo>
                    <a:pt x="38" y="189"/>
                  </a:lnTo>
                  <a:lnTo>
                    <a:pt x="40" y="189"/>
                  </a:lnTo>
                  <a:lnTo>
                    <a:pt x="46" y="198"/>
                  </a:lnTo>
                  <a:lnTo>
                    <a:pt x="59" y="198"/>
                  </a:lnTo>
                  <a:lnTo>
                    <a:pt x="59" y="202"/>
                  </a:lnTo>
                  <a:lnTo>
                    <a:pt x="54" y="202"/>
                  </a:lnTo>
                  <a:lnTo>
                    <a:pt x="54" y="207"/>
                  </a:lnTo>
                  <a:lnTo>
                    <a:pt x="38" y="198"/>
                  </a:lnTo>
                  <a:lnTo>
                    <a:pt x="38" y="202"/>
                  </a:lnTo>
                  <a:lnTo>
                    <a:pt x="36" y="198"/>
                  </a:lnTo>
                  <a:lnTo>
                    <a:pt x="36" y="196"/>
                  </a:lnTo>
                  <a:lnTo>
                    <a:pt x="38" y="196"/>
                  </a:lnTo>
                  <a:lnTo>
                    <a:pt x="36" y="193"/>
                  </a:lnTo>
                  <a:lnTo>
                    <a:pt x="36" y="196"/>
                  </a:lnTo>
                  <a:lnTo>
                    <a:pt x="32" y="196"/>
                  </a:lnTo>
                  <a:lnTo>
                    <a:pt x="32" y="189"/>
                  </a:lnTo>
                  <a:lnTo>
                    <a:pt x="32" y="187"/>
                  </a:lnTo>
                  <a:lnTo>
                    <a:pt x="29" y="189"/>
                  </a:lnTo>
                  <a:lnTo>
                    <a:pt x="29" y="187"/>
                  </a:lnTo>
                  <a:lnTo>
                    <a:pt x="27" y="187"/>
                  </a:lnTo>
                  <a:lnTo>
                    <a:pt x="23" y="178"/>
                  </a:lnTo>
                  <a:lnTo>
                    <a:pt x="23" y="173"/>
                  </a:lnTo>
                  <a:lnTo>
                    <a:pt x="27" y="178"/>
                  </a:lnTo>
                  <a:lnTo>
                    <a:pt x="27" y="169"/>
                  </a:lnTo>
                  <a:lnTo>
                    <a:pt x="19" y="169"/>
                  </a:lnTo>
                  <a:lnTo>
                    <a:pt x="21" y="164"/>
                  </a:lnTo>
                  <a:lnTo>
                    <a:pt x="21" y="162"/>
                  </a:lnTo>
                  <a:lnTo>
                    <a:pt x="19" y="153"/>
                  </a:lnTo>
                  <a:lnTo>
                    <a:pt x="23" y="153"/>
                  </a:lnTo>
                  <a:lnTo>
                    <a:pt x="21" y="142"/>
                  </a:lnTo>
                  <a:lnTo>
                    <a:pt x="19" y="137"/>
                  </a:lnTo>
                  <a:lnTo>
                    <a:pt x="19" y="142"/>
                  </a:lnTo>
                  <a:lnTo>
                    <a:pt x="15" y="135"/>
                  </a:lnTo>
                  <a:lnTo>
                    <a:pt x="15" y="128"/>
                  </a:lnTo>
                  <a:lnTo>
                    <a:pt x="9" y="117"/>
                  </a:lnTo>
                  <a:lnTo>
                    <a:pt x="9" y="112"/>
                  </a:lnTo>
                  <a:lnTo>
                    <a:pt x="13" y="112"/>
                  </a:lnTo>
                  <a:lnTo>
                    <a:pt x="13" y="94"/>
                  </a:lnTo>
                  <a:lnTo>
                    <a:pt x="13" y="85"/>
                  </a:lnTo>
                  <a:lnTo>
                    <a:pt x="6" y="76"/>
                  </a:lnTo>
                  <a:lnTo>
                    <a:pt x="9" y="74"/>
                  </a:lnTo>
                  <a:lnTo>
                    <a:pt x="6" y="67"/>
                  </a:lnTo>
                  <a:lnTo>
                    <a:pt x="9" y="52"/>
                  </a:lnTo>
                  <a:lnTo>
                    <a:pt x="6" y="31"/>
                  </a:lnTo>
                  <a:lnTo>
                    <a:pt x="6" y="25"/>
                  </a:lnTo>
                  <a:lnTo>
                    <a:pt x="2" y="16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1" name="Freeform 1297"/>
            <p:cNvSpPr>
              <a:spLocks/>
            </p:cNvSpPr>
            <p:nvPr/>
          </p:nvSpPr>
          <p:spPr bwMode="auto">
            <a:xfrm>
              <a:off x="4359446" y="3059138"/>
              <a:ext cx="5193" cy="2122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h="4">
                  <a:moveTo>
                    <a:pt x="0" y="0"/>
                  </a:move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2" name="Freeform 1298"/>
            <p:cNvSpPr>
              <a:spLocks/>
            </p:cNvSpPr>
            <p:nvPr/>
          </p:nvSpPr>
          <p:spPr bwMode="auto">
            <a:xfrm>
              <a:off x="4359446" y="3048525"/>
              <a:ext cx="5193" cy="2122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h="4">
                  <a:moveTo>
                    <a:pt x="0" y="0"/>
                  </a:move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3" name="Freeform 1299"/>
            <p:cNvSpPr>
              <a:spLocks/>
            </p:cNvSpPr>
            <p:nvPr/>
          </p:nvSpPr>
          <p:spPr bwMode="auto">
            <a:xfrm>
              <a:off x="2417381" y="4805034"/>
              <a:ext cx="306369" cy="403307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5" y="9"/>
                </a:cxn>
                <a:cxn ang="0">
                  <a:pos x="11" y="0"/>
                </a:cxn>
                <a:cxn ang="0">
                  <a:pos x="19" y="0"/>
                </a:cxn>
                <a:cxn ang="0">
                  <a:pos x="19" y="9"/>
                </a:cxn>
                <a:cxn ang="0">
                  <a:pos x="23" y="15"/>
                </a:cxn>
                <a:cxn ang="0">
                  <a:pos x="42" y="24"/>
                </a:cxn>
                <a:cxn ang="0">
                  <a:pos x="44" y="29"/>
                </a:cxn>
                <a:cxn ang="0">
                  <a:pos x="44" y="33"/>
                </a:cxn>
                <a:cxn ang="0">
                  <a:pos x="44" y="36"/>
                </a:cxn>
                <a:cxn ang="0">
                  <a:pos x="55" y="38"/>
                </a:cxn>
                <a:cxn ang="0">
                  <a:pos x="55" y="43"/>
                </a:cxn>
                <a:cxn ang="0">
                  <a:pos x="59" y="49"/>
                </a:cxn>
                <a:cxn ang="0">
                  <a:pos x="57" y="61"/>
                </a:cxn>
                <a:cxn ang="0">
                  <a:pos x="55" y="54"/>
                </a:cxn>
                <a:cxn ang="0">
                  <a:pos x="40" y="58"/>
                </a:cxn>
                <a:cxn ang="0">
                  <a:pos x="36" y="72"/>
                </a:cxn>
                <a:cxn ang="0">
                  <a:pos x="32" y="72"/>
                </a:cxn>
                <a:cxn ang="0">
                  <a:pos x="23" y="70"/>
                </a:cxn>
                <a:cxn ang="0">
                  <a:pos x="17" y="76"/>
                </a:cxn>
                <a:cxn ang="0">
                  <a:pos x="15" y="76"/>
                </a:cxn>
                <a:cxn ang="0">
                  <a:pos x="9" y="61"/>
                </a:cxn>
                <a:cxn ang="0">
                  <a:pos x="9" y="54"/>
                </a:cxn>
                <a:cxn ang="0">
                  <a:pos x="2" y="45"/>
                </a:cxn>
                <a:cxn ang="0">
                  <a:pos x="5" y="38"/>
                </a:cxn>
                <a:cxn ang="0">
                  <a:pos x="2" y="36"/>
                </a:cxn>
                <a:cxn ang="0">
                  <a:pos x="2" y="15"/>
                </a:cxn>
                <a:cxn ang="0">
                  <a:pos x="0" y="11"/>
                </a:cxn>
                <a:cxn ang="0">
                  <a:pos x="0" y="6"/>
                </a:cxn>
              </a:cxnLst>
              <a:rect l="0" t="0" r="r" b="b"/>
              <a:pathLst>
                <a:path w="59" h="76">
                  <a:moveTo>
                    <a:pt x="0" y="6"/>
                  </a:moveTo>
                  <a:lnTo>
                    <a:pt x="5" y="9"/>
                  </a:lnTo>
                  <a:lnTo>
                    <a:pt x="11" y="0"/>
                  </a:lnTo>
                  <a:lnTo>
                    <a:pt x="19" y="0"/>
                  </a:lnTo>
                  <a:lnTo>
                    <a:pt x="19" y="9"/>
                  </a:lnTo>
                  <a:lnTo>
                    <a:pt x="23" y="15"/>
                  </a:lnTo>
                  <a:lnTo>
                    <a:pt x="42" y="24"/>
                  </a:lnTo>
                  <a:lnTo>
                    <a:pt x="44" y="29"/>
                  </a:lnTo>
                  <a:lnTo>
                    <a:pt x="44" y="33"/>
                  </a:lnTo>
                  <a:lnTo>
                    <a:pt x="44" y="36"/>
                  </a:lnTo>
                  <a:lnTo>
                    <a:pt x="55" y="38"/>
                  </a:lnTo>
                  <a:lnTo>
                    <a:pt x="55" y="43"/>
                  </a:lnTo>
                  <a:lnTo>
                    <a:pt x="59" y="49"/>
                  </a:lnTo>
                  <a:lnTo>
                    <a:pt x="57" y="61"/>
                  </a:lnTo>
                  <a:lnTo>
                    <a:pt x="55" y="54"/>
                  </a:lnTo>
                  <a:lnTo>
                    <a:pt x="40" y="58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23" y="70"/>
                  </a:lnTo>
                  <a:lnTo>
                    <a:pt x="17" y="76"/>
                  </a:lnTo>
                  <a:lnTo>
                    <a:pt x="15" y="76"/>
                  </a:lnTo>
                  <a:lnTo>
                    <a:pt x="9" y="61"/>
                  </a:lnTo>
                  <a:lnTo>
                    <a:pt x="9" y="54"/>
                  </a:lnTo>
                  <a:lnTo>
                    <a:pt x="2" y="45"/>
                  </a:lnTo>
                  <a:lnTo>
                    <a:pt x="5" y="38"/>
                  </a:lnTo>
                  <a:lnTo>
                    <a:pt x="2" y="36"/>
                  </a:lnTo>
                  <a:lnTo>
                    <a:pt x="2" y="15"/>
                  </a:lnTo>
                  <a:lnTo>
                    <a:pt x="0" y="11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4" name="Freeform 1300"/>
            <p:cNvSpPr>
              <a:spLocks/>
            </p:cNvSpPr>
            <p:nvPr/>
          </p:nvSpPr>
          <p:spPr bwMode="auto">
            <a:xfrm>
              <a:off x="2604318" y="5091594"/>
              <a:ext cx="207708" cy="260027"/>
            </a:xfrm>
            <a:custGeom>
              <a:avLst/>
              <a:gdLst/>
              <a:ahLst/>
              <a:cxnLst>
                <a:cxn ang="0">
                  <a:pos x="40" y="38"/>
                </a:cxn>
                <a:cxn ang="0">
                  <a:pos x="40" y="27"/>
                </a:cxn>
                <a:cxn ang="0">
                  <a:pos x="35" y="27"/>
                </a:cxn>
                <a:cxn ang="0">
                  <a:pos x="35" y="18"/>
                </a:cxn>
                <a:cxn ang="0">
                  <a:pos x="31" y="18"/>
                </a:cxn>
                <a:cxn ang="0">
                  <a:pos x="23" y="16"/>
                </a:cxn>
                <a:cxn ang="0">
                  <a:pos x="21" y="7"/>
                </a:cxn>
                <a:cxn ang="0">
                  <a:pos x="19" y="0"/>
                </a:cxn>
                <a:cxn ang="0">
                  <a:pos x="4" y="4"/>
                </a:cxn>
                <a:cxn ang="0">
                  <a:pos x="0" y="18"/>
                </a:cxn>
                <a:cxn ang="0">
                  <a:pos x="12" y="27"/>
                </a:cxn>
                <a:cxn ang="0">
                  <a:pos x="19" y="31"/>
                </a:cxn>
                <a:cxn ang="0">
                  <a:pos x="27" y="34"/>
                </a:cxn>
                <a:cxn ang="0">
                  <a:pos x="27" y="40"/>
                </a:cxn>
                <a:cxn ang="0">
                  <a:pos x="23" y="47"/>
                </a:cxn>
                <a:cxn ang="0">
                  <a:pos x="35" y="49"/>
                </a:cxn>
                <a:cxn ang="0">
                  <a:pos x="37" y="49"/>
                </a:cxn>
                <a:cxn ang="0">
                  <a:pos x="40" y="43"/>
                </a:cxn>
                <a:cxn ang="0">
                  <a:pos x="40" y="40"/>
                </a:cxn>
                <a:cxn ang="0">
                  <a:pos x="40" y="38"/>
                </a:cxn>
              </a:cxnLst>
              <a:rect l="0" t="0" r="r" b="b"/>
              <a:pathLst>
                <a:path w="40" h="49">
                  <a:moveTo>
                    <a:pt x="40" y="38"/>
                  </a:moveTo>
                  <a:lnTo>
                    <a:pt x="40" y="27"/>
                  </a:lnTo>
                  <a:lnTo>
                    <a:pt x="35" y="27"/>
                  </a:lnTo>
                  <a:lnTo>
                    <a:pt x="35" y="18"/>
                  </a:lnTo>
                  <a:lnTo>
                    <a:pt x="31" y="18"/>
                  </a:lnTo>
                  <a:lnTo>
                    <a:pt x="23" y="16"/>
                  </a:lnTo>
                  <a:lnTo>
                    <a:pt x="21" y="7"/>
                  </a:lnTo>
                  <a:lnTo>
                    <a:pt x="19" y="0"/>
                  </a:lnTo>
                  <a:lnTo>
                    <a:pt x="4" y="4"/>
                  </a:lnTo>
                  <a:lnTo>
                    <a:pt x="0" y="18"/>
                  </a:lnTo>
                  <a:lnTo>
                    <a:pt x="12" y="27"/>
                  </a:lnTo>
                  <a:lnTo>
                    <a:pt x="19" y="31"/>
                  </a:lnTo>
                  <a:lnTo>
                    <a:pt x="27" y="34"/>
                  </a:lnTo>
                  <a:lnTo>
                    <a:pt x="27" y="40"/>
                  </a:lnTo>
                  <a:lnTo>
                    <a:pt x="23" y="47"/>
                  </a:lnTo>
                  <a:lnTo>
                    <a:pt x="35" y="49"/>
                  </a:lnTo>
                  <a:lnTo>
                    <a:pt x="37" y="49"/>
                  </a:lnTo>
                  <a:lnTo>
                    <a:pt x="40" y="43"/>
                  </a:lnTo>
                  <a:lnTo>
                    <a:pt x="40" y="40"/>
                  </a:lnTo>
                  <a:lnTo>
                    <a:pt x="40" y="38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5" name="Freeform 1301"/>
            <p:cNvSpPr>
              <a:spLocks/>
            </p:cNvSpPr>
            <p:nvPr/>
          </p:nvSpPr>
          <p:spPr bwMode="auto">
            <a:xfrm>
              <a:off x="2474501" y="5176501"/>
              <a:ext cx="368680" cy="918055"/>
            </a:xfrm>
            <a:custGeom>
              <a:avLst/>
              <a:gdLst/>
              <a:ahLst/>
              <a:cxnLst>
                <a:cxn ang="0">
                  <a:pos x="56" y="69"/>
                </a:cxn>
                <a:cxn ang="0">
                  <a:pos x="65" y="78"/>
                </a:cxn>
                <a:cxn ang="0">
                  <a:pos x="69" y="85"/>
                </a:cxn>
                <a:cxn ang="0">
                  <a:pos x="65" y="94"/>
                </a:cxn>
                <a:cxn ang="0">
                  <a:pos x="48" y="101"/>
                </a:cxn>
                <a:cxn ang="0">
                  <a:pos x="44" y="112"/>
                </a:cxn>
                <a:cxn ang="0">
                  <a:pos x="39" y="117"/>
                </a:cxn>
                <a:cxn ang="0">
                  <a:pos x="46" y="117"/>
                </a:cxn>
                <a:cxn ang="0">
                  <a:pos x="48" y="121"/>
                </a:cxn>
                <a:cxn ang="0">
                  <a:pos x="44" y="119"/>
                </a:cxn>
                <a:cxn ang="0">
                  <a:pos x="46" y="121"/>
                </a:cxn>
                <a:cxn ang="0">
                  <a:pos x="44" y="130"/>
                </a:cxn>
                <a:cxn ang="0">
                  <a:pos x="37" y="135"/>
                </a:cxn>
                <a:cxn ang="0">
                  <a:pos x="37" y="144"/>
                </a:cxn>
                <a:cxn ang="0">
                  <a:pos x="46" y="146"/>
                </a:cxn>
                <a:cxn ang="0">
                  <a:pos x="44" y="155"/>
                </a:cxn>
                <a:cxn ang="0">
                  <a:pos x="39" y="164"/>
                </a:cxn>
                <a:cxn ang="0">
                  <a:pos x="48" y="173"/>
                </a:cxn>
                <a:cxn ang="0">
                  <a:pos x="31" y="173"/>
                </a:cxn>
                <a:cxn ang="0">
                  <a:pos x="23" y="164"/>
                </a:cxn>
                <a:cxn ang="0">
                  <a:pos x="21" y="144"/>
                </a:cxn>
                <a:cxn ang="0">
                  <a:pos x="17" y="135"/>
                </a:cxn>
                <a:cxn ang="0">
                  <a:pos x="12" y="121"/>
                </a:cxn>
                <a:cxn ang="0">
                  <a:pos x="8" y="112"/>
                </a:cxn>
                <a:cxn ang="0">
                  <a:pos x="4" y="87"/>
                </a:cxn>
                <a:cxn ang="0">
                  <a:pos x="4" y="78"/>
                </a:cxn>
                <a:cxn ang="0">
                  <a:pos x="0" y="54"/>
                </a:cxn>
                <a:cxn ang="0">
                  <a:pos x="4" y="27"/>
                </a:cxn>
                <a:cxn ang="0">
                  <a:pos x="6" y="11"/>
                </a:cxn>
                <a:cxn ang="0">
                  <a:pos x="12" y="0"/>
                </a:cxn>
                <a:cxn ang="0">
                  <a:pos x="25" y="2"/>
                </a:cxn>
                <a:cxn ang="0">
                  <a:pos x="44" y="15"/>
                </a:cxn>
                <a:cxn ang="0">
                  <a:pos x="52" y="24"/>
                </a:cxn>
                <a:cxn ang="0">
                  <a:pos x="60" y="33"/>
                </a:cxn>
                <a:cxn ang="0">
                  <a:pos x="65" y="27"/>
                </a:cxn>
                <a:cxn ang="0">
                  <a:pos x="69" y="22"/>
                </a:cxn>
                <a:cxn ang="0">
                  <a:pos x="69" y="33"/>
                </a:cxn>
                <a:cxn ang="0">
                  <a:pos x="56" y="49"/>
                </a:cxn>
              </a:cxnLst>
              <a:rect l="0" t="0" r="r" b="b"/>
              <a:pathLst>
                <a:path w="71" h="173">
                  <a:moveTo>
                    <a:pt x="56" y="49"/>
                  </a:moveTo>
                  <a:lnTo>
                    <a:pt x="56" y="69"/>
                  </a:lnTo>
                  <a:lnTo>
                    <a:pt x="56" y="74"/>
                  </a:lnTo>
                  <a:lnTo>
                    <a:pt x="65" y="78"/>
                  </a:lnTo>
                  <a:lnTo>
                    <a:pt x="62" y="83"/>
                  </a:lnTo>
                  <a:lnTo>
                    <a:pt x="69" y="85"/>
                  </a:lnTo>
                  <a:lnTo>
                    <a:pt x="69" y="87"/>
                  </a:lnTo>
                  <a:lnTo>
                    <a:pt x="65" y="94"/>
                  </a:lnTo>
                  <a:lnTo>
                    <a:pt x="54" y="96"/>
                  </a:lnTo>
                  <a:lnTo>
                    <a:pt x="48" y="101"/>
                  </a:lnTo>
                  <a:lnTo>
                    <a:pt x="48" y="110"/>
                  </a:lnTo>
                  <a:lnTo>
                    <a:pt x="44" y="112"/>
                  </a:lnTo>
                  <a:lnTo>
                    <a:pt x="37" y="110"/>
                  </a:lnTo>
                  <a:lnTo>
                    <a:pt x="39" y="117"/>
                  </a:lnTo>
                  <a:lnTo>
                    <a:pt x="44" y="119"/>
                  </a:lnTo>
                  <a:lnTo>
                    <a:pt x="46" y="117"/>
                  </a:lnTo>
                  <a:lnTo>
                    <a:pt x="48" y="119"/>
                  </a:lnTo>
                  <a:lnTo>
                    <a:pt x="48" y="121"/>
                  </a:lnTo>
                  <a:lnTo>
                    <a:pt x="46" y="121"/>
                  </a:lnTo>
                  <a:lnTo>
                    <a:pt x="44" y="119"/>
                  </a:lnTo>
                  <a:lnTo>
                    <a:pt x="44" y="121"/>
                  </a:lnTo>
                  <a:lnTo>
                    <a:pt x="46" y="121"/>
                  </a:lnTo>
                  <a:lnTo>
                    <a:pt x="44" y="126"/>
                  </a:lnTo>
                  <a:lnTo>
                    <a:pt x="44" y="130"/>
                  </a:lnTo>
                  <a:lnTo>
                    <a:pt x="44" y="135"/>
                  </a:lnTo>
                  <a:lnTo>
                    <a:pt x="37" y="135"/>
                  </a:lnTo>
                  <a:lnTo>
                    <a:pt x="37" y="139"/>
                  </a:lnTo>
                  <a:lnTo>
                    <a:pt x="37" y="144"/>
                  </a:lnTo>
                  <a:lnTo>
                    <a:pt x="44" y="146"/>
                  </a:lnTo>
                  <a:lnTo>
                    <a:pt x="46" y="146"/>
                  </a:lnTo>
                  <a:lnTo>
                    <a:pt x="48" y="148"/>
                  </a:lnTo>
                  <a:lnTo>
                    <a:pt x="44" y="155"/>
                  </a:lnTo>
                  <a:lnTo>
                    <a:pt x="44" y="162"/>
                  </a:lnTo>
                  <a:lnTo>
                    <a:pt x="39" y="164"/>
                  </a:lnTo>
                  <a:lnTo>
                    <a:pt x="39" y="168"/>
                  </a:lnTo>
                  <a:lnTo>
                    <a:pt x="48" y="173"/>
                  </a:lnTo>
                  <a:lnTo>
                    <a:pt x="44" y="173"/>
                  </a:lnTo>
                  <a:lnTo>
                    <a:pt x="31" y="173"/>
                  </a:lnTo>
                  <a:lnTo>
                    <a:pt x="25" y="164"/>
                  </a:lnTo>
                  <a:lnTo>
                    <a:pt x="23" y="164"/>
                  </a:lnTo>
                  <a:lnTo>
                    <a:pt x="21" y="162"/>
                  </a:lnTo>
                  <a:lnTo>
                    <a:pt x="21" y="144"/>
                  </a:lnTo>
                  <a:lnTo>
                    <a:pt x="17" y="130"/>
                  </a:lnTo>
                  <a:lnTo>
                    <a:pt x="17" y="135"/>
                  </a:lnTo>
                  <a:lnTo>
                    <a:pt x="14" y="130"/>
                  </a:lnTo>
                  <a:lnTo>
                    <a:pt x="12" y="121"/>
                  </a:lnTo>
                  <a:lnTo>
                    <a:pt x="12" y="117"/>
                  </a:lnTo>
                  <a:lnTo>
                    <a:pt x="8" y="112"/>
                  </a:lnTo>
                  <a:lnTo>
                    <a:pt x="8" y="96"/>
                  </a:lnTo>
                  <a:lnTo>
                    <a:pt x="4" y="87"/>
                  </a:lnTo>
                  <a:lnTo>
                    <a:pt x="6" y="83"/>
                  </a:lnTo>
                  <a:lnTo>
                    <a:pt x="4" y="78"/>
                  </a:lnTo>
                  <a:lnTo>
                    <a:pt x="6" y="69"/>
                  </a:lnTo>
                  <a:lnTo>
                    <a:pt x="0" y="54"/>
                  </a:lnTo>
                  <a:lnTo>
                    <a:pt x="0" y="36"/>
                  </a:lnTo>
                  <a:lnTo>
                    <a:pt x="4" y="27"/>
                  </a:lnTo>
                  <a:lnTo>
                    <a:pt x="0" y="15"/>
                  </a:lnTo>
                  <a:lnTo>
                    <a:pt x="6" y="11"/>
                  </a:lnTo>
                  <a:lnTo>
                    <a:pt x="6" y="6"/>
                  </a:lnTo>
                  <a:lnTo>
                    <a:pt x="12" y="0"/>
                  </a:lnTo>
                  <a:lnTo>
                    <a:pt x="21" y="2"/>
                  </a:lnTo>
                  <a:lnTo>
                    <a:pt x="25" y="2"/>
                  </a:lnTo>
                  <a:lnTo>
                    <a:pt x="37" y="11"/>
                  </a:lnTo>
                  <a:lnTo>
                    <a:pt x="44" y="15"/>
                  </a:lnTo>
                  <a:lnTo>
                    <a:pt x="52" y="18"/>
                  </a:lnTo>
                  <a:lnTo>
                    <a:pt x="52" y="24"/>
                  </a:lnTo>
                  <a:lnTo>
                    <a:pt x="48" y="31"/>
                  </a:lnTo>
                  <a:lnTo>
                    <a:pt x="60" y="33"/>
                  </a:lnTo>
                  <a:lnTo>
                    <a:pt x="62" y="33"/>
                  </a:lnTo>
                  <a:lnTo>
                    <a:pt x="65" y="27"/>
                  </a:lnTo>
                  <a:lnTo>
                    <a:pt x="65" y="22"/>
                  </a:lnTo>
                  <a:lnTo>
                    <a:pt x="69" y="22"/>
                  </a:lnTo>
                  <a:lnTo>
                    <a:pt x="71" y="31"/>
                  </a:lnTo>
                  <a:lnTo>
                    <a:pt x="69" y="33"/>
                  </a:lnTo>
                  <a:lnTo>
                    <a:pt x="62" y="42"/>
                  </a:lnTo>
                  <a:lnTo>
                    <a:pt x="56" y="4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6" name="Freeform 1302"/>
            <p:cNvSpPr>
              <a:spLocks/>
            </p:cNvSpPr>
            <p:nvPr/>
          </p:nvSpPr>
          <p:spPr bwMode="auto">
            <a:xfrm>
              <a:off x="2604318" y="4253140"/>
              <a:ext cx="119432" cy="201654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4" y="2"/>
                </a:cxn>
                <a:cxn ang="0">
                  <a:pos x="4" y="5"/>
                </a:cxn>
                <a:cxn ang="0">
                  <a:pos x="6" y="9"/>
                </a:cxn>
                <a:cxn ang="0">
                  <a:pos x="4" y="9"/>
                </a:cxn>
                <a:cxn ang="0">
                  <a:pos x="0" y="14"/>
                </a:cxn>
                <a:cxn ang="0">
                  <a:pos x="4" y="18"/>
                </a:cxn>
                <a:cxn ang="0">
                  <a:pos x="6" y="18"/>
                </a:cxn>
                <a:cxn ang="0">
                  <a:pos x="8" y="25"/>
                </a:cxn>
                <a:cxn ang="0">
                  <a:pos x="6" y="34"/>
                </a:cxn>
                <a:cxn ang="0">
                  <a:pos x="8" y="38"/>
                </a:cxn>
                <a:cxn ang="0">
                  <a:pos x="12" y="38"/>
                </a:cxn>
                <a:cxn ang="0">
                  <a:pos x="21" y="36"/>
                </a:cxn>
                <a:cxn ang="0">
                  <a:pos x="23" y="36"/>
                </a:cxn>
                <a:cxn ang="0">
                  <a:pos x="19" y="25"/>
                </a:cxn>
                <a:cxn ang="0">
                  <a:pos x="21" y="14"/>
                </a:cxn>
                <a:cxn ang="0">
                  <a:pos x="14" y="9"/>
                </a:cxn>
                <a:cxn ang="0">
                  <a:pos x="14" y="2"/>
                </a:cxn>
                <a:cxn ang="0">
                  <a:pos x="10" y="2"/>
                </a:cxn>
                <a:cxn ang="0">
                  <a:pos x="8" y="0"/>
                </a:cxn>
              </a:cxnLst>
              <a:rect l="0" t="0" r="r" b="b"/>
              <a:pathLst>
                <a:path w="23" h="38">
                  <a:moveTo>
                    <a:pt x="8" y="0"/>
                  </a:moveTo>
                  <a:lnTo>
                    <a:pt x="4" y="2"/>
                  </a:lnTo>
                  <a:lnTo>
                    <a:pt x="4" y="5"/>
                  </a:lnTo>
                  <a:lnTo>
                    <a:pt x="6" y="9"/>
                  </a:lnTo>
                  <a:lnTo>
                    <a:pt x="4" y="9"/>
                  </a:lnTo>
                  <a:lnTo>
                    <a:pt x="0" y="14"/>
                  </a:lnTo>
                  <a:lnTo>
                    <a:pt x="4" y="18"/>
                  </a:lnTo>
                  <a:lnTo>
                    <a:pt x="6" y="18"/>
                  </a:lnTo>
                  <a:lnTo>
                    <a:pt x="8" y="25"/>
                  </a:lnTo>
                  <a:lnTo>
                    <a:pt x="6" y="34"/>
                  </a:lnTo>
                  <a:lnTo>
                    <a:pt x="8" y="38"/>
                  </a:lnTo>
                  <a:lnTo>
                    <a:pt x="12" y="38"/>
                  </a:lnTo>
                  <a:lnTo>
                    <a:pt x="21" y="36"/>
                  </a:lnTo>
                  <a:lnTo>
                    <a:pt x="23" y="36"/>
                  </a:lnTo>
                  <a:lnTo>
                    <a:pt x="19" y="25"/>
                  </a:lnTo>
                  <a:lnTo>
                    <a:pt x="21" y="14"/>
                  </a:lnTo>
                  <a:lnTo>
                    <a:pt x="14" y="9"/>
                  </a:lnTo>
                  <a:lnTo>
                    <a:pt x="14" y="2"/>
                  </a:lnTo>
                  <a:lnTo>
                    <a:pt x="10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7" name="Freeform 1303"/>
            <p:cNvSpPr>
              <a:spLocks/>
            </p:cNvSpPr>
            <p:nvPr/>
          </p:nvSpPr>
          <p:spPr bwMode="auto">
            <a:xfrm>
              <a:off x="3990764" y="2820338"/>
              <a:ext cx="41542" cy="3714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4"/>
                </a:cxn>
                <a:cxn ang="0">
                  <a:pos x="2" y="7"/>
                </a:cxn>
                <a:cxn ang="0">
                  <a:pos x="8" y="7"/>
                </a:cxn>
                <a:cxn ang="0">
                  <a:pos x="8" y="0"/>
                </a:cxn>
                <a:cxn ang="0">
                  <a:pos x="4" y="0"/>
                </a:cxn>
                <a:cxn ang="0">
                  <a:pos x="2" y="0"/>
                </a:cxn>
              </a:cxnLst>
              <a:rect l="0" t="0" r="r" b="b"/>
              <a:pathLst>
                <a:path w="8" h="7">
                  <a:moveTo>
                    <a:pt x="2" y="0"/>
                  </a:moveTo>
                  <a:lnTo>
                    <a:pt x="0" y="4"/>
                  </a:lnTo>
                  <a:lnTo>
                    <a:pt x="2" y="7"/>
                  </a:lnTo>
                  <a:lnTo>
                    <a:pt x="8" y="7"/>
                  </a:lnTo>
                  <a:lnTo>
                    <a:pt x="8" y="0"/>
                  </a:lnTo>
                  <a:lnTo>
                    <a:pt x="4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8" name="Freeform 1304"/>
            <p:cNvSpPr>
              <a:spLocks/>
            </p:cNvSpPr>
            <p:nvPr/>
          </p:nvSpPr>
          <p:spPr bwMode="auto">
            <a:xfrm>
              <a:off x="4328290" y="2761964"/>
              <a:ext cx="62312" cy="79600"/>
            </a:xfrm>
            <a:custGeom>
              <a:avLst/>
              <a:gdLst/>
              <a:ahLst/>
              <a:cxnLst>
                <a:cxn ang="0">
                  <a:pos x="2" y="15"/>
                </a:cxn>
                <a:cxn ang="0">
                  <a:pos x="6" y="15"/>
                </a:cxn>
                <a:cxn ang="0">
                  <a:pos x="8" y="9"/>
                </a:cxn>
                <a:cxn ang="0">
                  <a:pos x="12" y="6"/>
                </a:cxn>
                <a:cxn ang="0">
                  <a:pos x="8" y="6"/>
                </a:cxn>
                <a:cxn ang="0">
                  <a:pos x="8" y="0"/>
                </a:cxn>
                <a:cxn ang="0">
                  <a:pos x="2" y="2"/>
                </a:cxn>
                <a:cxn ang="0">
                  <a:pos x="0" y="6"/>
                </a:cxn>
                <a:cxn ang="0">
                  <a:pos x="0" y="9"/>
                </a:cxn>
                <a:cxn ang="0">
                  <a:pos x="2" y="11"/>
                </a:cxn>
                <a:cxn ang="0">
                  <a:pos x="2" y="13"/>
                </a:cxn>
                <a:cxn ang="0">
                  <a:pos x="2" y="15"/>
                </a:cxn>
              </a:cxnLst>
              <a:rect l="0" t="0" r="r" b="b"/>
              <a:pathLst>
                <a:path w="12" h="15">
                  <a:moveTo>
                    <a:pt x="2" y="15"/>
                  </a:moveTo>
                  <a:lnTo>
                    <a:pt x="6" y="15"/>
                  </a:lnTo>
                  <a:lnTo>
                    <a:pt x="8" y="9"/>
                  </a:lnTo>
                  <a:lnTo>
                    <a:pt x="12" y="6"/>
                  </a:lnTo>
                  <a:lnTo>
                    <a:pt x="8" y="6"/>
                  </a:lnTo>
                  <a:lnTo>
                    <a:pt x="8" y="0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9"/>
                  </a:lnTo>
                  <a:lnTo>
                    <a:pt x="2" y="11"/>
                  </a:lnTo>
                  <a:lnTo>
                    <a:pt x="2" y="13"/>
                  </a:lnTo>
                  <a:lnTo>
                    <a:pt x="2" y="1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9" name="Freeform 1305"/>
            <p:cNvSpPr>
              <a:spLocks/>
            </p:cNvSpPr>
            <p:nvPr/>
          </p:nvSpPr>
          <p:spPr bwMode="auto">
            <a:xfrm>
              <a:off x="4271170" y="2984845"/>
              <a:ext cx="10385" cy="1592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2" y="0"/>
                </a:cxn>
                <a:cxn ang="0">
                  <a:pos x="2" y="3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2" y="0"/>
                  </a:lnTo>
                  <a:lnTo>
                    <a:pt x="2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0" name="Freeform 1306"/>
            <p:cNvSpPr>
              <a:spLocks/>
            </p:cNvSpPr>
            <p:nvPr/>
          </p:nvSpPr>
          <p:spPr bwMode="auto">
            <a:xfrm>
              <a:off x="4271170" y="2974231"/>
              <a:ext cx="10385" cy="1061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0" y="2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2" y="0"/>
                  </a:lnTo>
                  <a:lnTo>
                    <a:pt x="2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1" name="Freeform 1307"/>
            <p:cNvSpPr>
              <a:spLocks/>
            </p:cNvSpPr>
            <p:nvPr/>
          </p:nvSpPr>
          <p:spPr bwMode="auto">
            <a:xfrm>
              <a:off x="4359446" y="3000765"/>
              <a:ext cx="160974" cy="79600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0" y="13"/>
                </a:cxn>
                <a:cxn ang="0">
                  <a:pos x="2" y="13"/>
                </a:cxn>
                <a:cxn ang="0">
                  <a:pos x="8" y="13"/>
                </a:cxn>
                <a:cxn ang="0">
                  <a:pos x="10" y="13"/>
                </a:cxn>
                <a:cxn ang="0">
                  <a:pos x="17" y="15"/>
                </a:cxn>
                <a:cxn ang="0">
                  <a:pos x="25" y="13"/>
                </a:cxn>
                <a:cxn ang="0">
                  <a:pos x="31" y="6"/>
                </a:cxn>
                <a:cxn ang="0">
                  <a:pos x="27" y="4"/>
                </a:cxn>
                <a:cxn ang="0">
                  <a:pos x="23" y="0"/>
                </a:cxn>
                <a:cxn ang="0">
                  <a:pos x="19" y="4"/>
                </a:cxn>
                <a:cxn ang="0">
                  <a:pos x="17" y="4"/>
                </a:cxn>
                <a:cxn ang="0">
                  <a:pos x="10" y="6"/>
                </a:cxn>
                <a:cxn ang="0">
                  <a:pos x="15" y="9"/>
                </a:cxn>
                <a:cxn ang="0">
                  <a:pos x="6" y="9"/>
                </a:cxn>
                <a:cxn ang="0">
                  <a:pos x="0" y="9"/>
                </a:cxn>
              </a:cxnLst>
              <a:rect l="0" t="0" r="r" b="b"/>
              <a:pathLst>
                <a:path w="31" h="15">
                  <a:moveTo>
                    <a:pt x="0" y="9"/>
                  </a:moveTo>
                  <a:lnTo>
                    <a:pt x="0" y="13"/>
                  </a:lnTo>
                  <a:lnTo>
                    <a:pt x="2" y="13"/>
                  </a:lnTo>
                  <a:lnTo>
                    <a:pt x="8" y="13"/>
                  </a:lnTo>
                  <a:lnTo>
                    <a:pt x="10" y="13"/>
                  </a:lnTo>
                  <a:lnTo>
                    <a:pt x="17" y="15"/>
                  </a:lnTo>
                  <a:lnTo>
                    <a:pt x="25" y="13"/>
                  </a:lnTo>
                  <a:lnTo>
                    <a:pt x="31" y="6"/>
                  </a:lnTo>
                  <a:lnTo>
                    <a:pt x="27" y="4"/>
                  </a:lnTo>
                  <a:lnTo>
                    <a:pt x="23" y="0"/>
                  </a:lnTo>
                  <a:lnTo>
                    <a:pt x="19" y="4"/>
                  </a:lnTo>
                  <a:lnTo>
                    <a:pt x="17" y="4"/>
                  </a:lnTo>
                  <a:lnTo>
                    <a:pt x="10" y="6"/>
                  </a:lnTo>
                  <a:lnTo>
                    <a:pt x="15" y="9"/>
                  </a:lnTo>
                  <a:lnTo>
                    <a:pt x="6" y="9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2" name="Freeform 1308"/>
            <p:cNvSpPr>
              <a:spLocks/>
            </p:cNvSpPr>
            <p:nvPr/>
          </p:nvSpPr>
          <p:spPr bwMode="auto">
            <a:xfrm>
              <a:off x="4271170" y="3048525"/>
              <a:ext cx="98661" cy="47760"/>
            </a:xfrm>
            <a:custGeom>
              <a:avLst/>
              <a:gdLst/>
              <a:ahLst/>
              <a:cxnLst>
                <a:cxn ang="0">
                  <a:pos x="4" y="9"/>
                </a:cxn>
                <a:cxn ang="0">
                  <a:pos x="2" y="6"/>
                </a:cxn>
                <a:cxn ang="0">
                  <a:pos x="2" y="9"/>
                </a:cxn>
                <a:cxn ang="0">
                  <a:pos x="0" y="6"/>
                </a:cxn>
                <a:cxn ang="0">
                  <a:pos x="4" y="0"/>
                </a:cxn>
                <a:cxn ang="0">
                  <a:pos x="9" y="0"/>
                </a:cxn>
                <a:cxn ang="0">
                  <a:pos x="17" y="0"/>
                </a:cxn>
                <a:cxn ang="0">
                  <a:pos x="17" y="4"/>
                </a:cxn>
                <a:cxn ang="0">
                  <a:pos x="19" y="4"/>
                </a:cxn>
                <a:cxn ang="0">
                  <a:pos x="17" y="6"/>
                </a:cxn>
                <a:cxn ang="0">
                  <a:pos x="13" y="6"/>
                </a:cxn>
                <a:cxn ang="0">
                  <a:pos x="13" y="9"/>
                </a:cxn>
                <a:cxn ang="0">
                  <a:pos x="11" y="6"/>
                </a:cxn>
                <a:cxn ang="0">
                  <a:pos x="7" y="9"/>
                </a:cxn>
                <a:cxn ang="0">
                  <a:pos x="4" y="9"/>
                </a:cxn>
              </a:cxnLst>
              <a:rect l="0" t="0" r="r" b="b"/>
              <a:pathLst>
                <a:path w="19" h="9">
                  <a:moveTo>
                    <a:pt x="4" y="9"/>
                  </a:moveTo>
                  <a:lnTo>
                    <a:pt x="2" y="6"/>
                  </a:lnTo>
                  <a:lnTo>
                    <a:pt x="2" y="9"/>
                  </a:lnTo>
                  <a:lnTo>
                    <a:pt x="0" y="6"/>
                  </a:lnTo>
                  <a:lnTo>
                    <a:pt x="4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17" y="4"/>
                  </a:lnTo>
                  <a:lnTo>
                    <a:pt x="19" y="4"/>
                  </a:lnTo>
                  <a:lnTo>
                    <a:pt x="17" y="6"/>
                  </a:lnTo>
                  <a:lnTo>
                    <a:pt x="13" y="6"/>
                  </a:lnTo>
                  <a:lnTo>
                    <a:pt x="13" y="9"/>
                  </a:lnTo>
                  <a:lnTo>
                    <a:pt x="11" y="6"/>
                  </a:lnTo>
                  <a:lnTo>
                    <a:pt x="7" y="9"/>
                  </a:lnTo>
                  <a:lnTo>
                    <a:pt x="4" y="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3" name="Freeform 1309"/>
            <p:cNvSpPr>
              <a:spLocks/>
            </p:cNvSpPr>
            <p:nvPr/>
          </p:nvSpPr>
          <p:spPr bwMode="auto">
            <a:xfrm>
              <a:off x="4577538" y="3202418"/>
              <a:ext cx="31156" cy="95520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6" y="11"/>
                </a:cxn>
                <a:cxn ang="0">
                  <a:pos x="4" y="18"/>
                </a:cxn>
                <a:cxn ang="0">
                  <a:pos x="0" y="13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2"/>
                </a:cxn>
                <a:cxn ang="0">
                  <a:pos x="4" y="4"/>
                </a:cxn>
              </a:cxnLst>
              <a:rect l="0" t="0" r="r" b="b"/>
              <a:pathLst>
                <a:path w="6" h="18">
                  <a:moveTo>
                    <a:pt x="4" y="4"/>
                  </a:moveTo>
                  <a:lnTo>
                    <a:pt x="6" y="11"/>
                  </a:lnTo>
                  <a:lnTo>
                    <a:pt x="4" y="18"/>
                  </a:lnTo>
                  <a:lnTo>
                    <a:pt x="0" y="13"/>
                  </a:ln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2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4" name="Freeform 1310"/>
            <p:cNvSpPr>
              <a:spLocks/>
            </p:cNvSpPr>
            <p:nvPr/>
          </p:nvSpPr>
          <p:spPr bwMode="auto">
            <a:xfrm>
              <a:off x="4489262" y="3021991"/>
              <a:ext cx="150588" cy="74293"/>
            </a:xfrm>
            <a:custGeom>
              <a:avLst/>
              <a:gdLst/>
              <a:ahLst/>
              <a:cxnLst>
                <a:cxn ang="0">
                  <a:pos x="2" y="11"/>
                </a:cxn>
                <a:cxn ang="0">
                  <a:pos x="8" y="14"/>
                </a:cxn>
                <a:cxn ang="0">
                  <a:pos x="21" y="14"/>
                </a:cxn>
                <a:cxn ang="0">
                  <a:pos x="23" y="11"/>
                </a:cxn>
                <a:cxn ang="0">
                  <a:pos x="25" y="5"/>
                </a:cxn>
                <a:cxn ang="0">
                  <a:pos x="29" y="2"/>
                </a:cxn>
                <a:cxn ang="0">
                  <a:pos x="25" y="2"/>
                </a:cxn>
                <a:cxn ang="0">
                  <a:pos x="25" y="0"/>
                </a:cxn>
                <a:cxn ang="0">
                  <a:pos x="21" y="0"/>
                </a:cxn>
                <a:cxn ang="0">
                  <a:pos x="10" y="5"/>
                </a:cxn>
                <a:cxn ang="0">
                  <a:pos x="6" y="2"/>
                </a:cxn>
                <a:cxn ang="0">
                  <a:pos x="0" y="9"/>
                </a:cxn>
                <a:cxn ang="0">
                  <a:pos x="0" y="11"/>
                </a:cxn>
                <a:cxn ang="0">
                  <a:pos x="2" y="11"/>
                </a:cxn>
              </a:cxnLst>
              <a:rect l="0" t="0" r="r" b="b"/>
              <a:pathLst>
                <a:path w="29" h="14">
                  <a:moveTo>
                    <a:pt x="2" y="11"/>
                  </a:moveTo>
                  <a:lnTo>
                    <a:pt x="8" y="14"/>
                  </a:lnTo>
                  <a:lnTo>
                    <a:pt x="21" y="14"/>
                  </a:lnTo>
                  <a:lnTo>
                    <a:pt x="23" y="11"/>
                  </a:lnTo>
                  <a:lnTo>
                    <a:pt x="25" y="5"/>
                  </a:lnTo>
                  <a:lnTo>
                    <a:pt x="29" y="2"/>
                  </a:lnTo>
                  <a:lnTo>
                    <a:pt x="25" y="2"/>
                  </a:lnTo>
                  <a:lnTo>
                    <a:pt x="25" y="0"/>
                  </a:lnTo>
                  <a:lnTo>
                    <a:pt x="21" y="0"/>
                  </a:lnTo>
                  <a:lnTo>
                    <a:pt x="10" y="5"/>
                  </a:lnTo>
                  <a:lnTo>
                    <a:pt x="6" y="2"/>
                  </a:lnTo>
                  <a:lnTo>
                    <a:pt x="0" y="9"/>
                  </a:lnTo>
                  <a:lnTo>
                    <a:pt x="0" y="11"/>
                  </a:lnTo>
                  <a:lnTo>
                    <a:pt x="2" y="1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5" name="Freeform 1311"/>
            <p:cNvSpPr>
              <a:spLocks/>
            </p:cNvSpPr>
            <p:nvPr/>
          </p:nvSpPr>
          <p:spPr bwMode="auto">
            <a:xfrm>
              <a:off x="5226624" y="3584499"/>
              <a:ext cx="41542" cy="47760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2" y="0"/>
                </a:cxn>
                <a:cxn ang="0">
                  <a:pos x="8" y="0"/>
                </a:cxn>
                <a:cxn ang="0">
                  <a:pos x="8" y="2"/>
                </a:cxn>
                <a:cxn ang="0">
                  <a:pos x="6" y="2"/>
                </a:cxn>
                <a:cxn ang="0">
                  <a:pos x="8" y="9"/>
                </a:cxn>
                <a:cxn ang="0">
                  <a:pos x="4" y="9"/>
                </a:cxn>
                <a:cxn ang="0">
                  <a:pos x="0" y="7"/>
                </a:cxn>
              </a:cxnLst>
              <a:rect l="0" t="0" r="r" b="b"/>
              <a:pathLst>
                <a:path w="8" h="9">
                  <a:moveTo>
                    <a:pt x="0" y="7"/>
                  </a:moveTo>
                  <a:lnTo>
                    <a:pt x="2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6" y="2"/>
                  </a:lnTo>
                  <a:lnTo>
                    <a:pt x="8" y="9"/>
                  </a:lnTo>
                  <a:lnTo>
                    <a:pt x="4" y="9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6" name="Freeform 1312"/>
            <p:cNvSpPr>
              <a:spLocks/>
            </p:cNvSpPr>
            <p:nvPr/>
          </p:nvSpPr>
          <p:spPr bwMode="auto">
            <a:xfrm>
              <a:off x="5185083" y="3595112"/>
              <a:ext cx="41542" cy="26533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2" y="0"/>
                </a:cxn>
                <a:cxn ang="0">
                  <a:pos x="8" y="5"/>
                </a:cxn>
                <a:cxn ang="0">
                  <a:pos x="2" y="5"/>
                </a:cxn>
                <a:cxn ang="0">
                  <a:pos x="0" y="5"/>
                </a:cxn>
              </a:cxnLst>
              <a:rect l="0" t="0" r="r" b="b"/>
              <a:pathLst>
                <a:path w="8" h="5">
                  <a:moveTo>
                    <a:pt x="0" y="5"/>
                  </a:moveTo>
                  <a:lnTo>
                    <a:pt x="2" y="0"/>
                  </a:lnTo>
                  <a:lnTo>
                    <a:pt x="8" y="5"/>
                  </a:lnTo>
                  <a:lnTo>
                    <a:pt x="2" y="5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7" name="Freeform 1313"/>
            <p:cNvSpPr>
              <a:spLocks/>
            </p:cNvSpPr>
            <p:nvPr/>
          </p:nvSpPr>
          <p:spPr bwMode="auto">
            <a:xfrm>
              <a:off x="3819405" y="3404072"/>
              <a:ext cx="270020" cy="254720"/>
            </a:xfrm>
            <a:custGeom>
              <a:avLst/>
              <a:gdLst/>
              <a:ahLst/>
              <a:cxnLst>
                <a:cxn ang="0">
                  <a:pos x="52" y="7"/>
                </a:cxn>
                <a:cxn ang="0">
                  <a:pos x="52" y="23"/>
                </a:cxn>
                <a:cxn ang="0">
                  <a:pos x="41" y="25"/>
                </a:cxn>
                <a:cxn ang="0">
                  <a:pos x="41" y="27"/>
                </a:cxn>
                <a:cxn ang="0">
                  <a:pos x="35" y="34"/>
                </a:cxn>
                <a:cxn ang="0">
                  <a:pos x="20" y="36"/>
                </a:cxn>
                <a:cxn ang="0">
                  <a:pos x="18" y="41"/>
                </a:cxn>
                <a:cxn ang="0">
                  <a:pos x="18" y="48"/>
                </a:cxn>
                <a:cxn ang="0">
                  <a:pos x="0" y="48"/>
                </a:cxn>
                <a:cxn ang="0">
                  <a:pos x="8" y="43"/>
                </a:cxn>
                <a:cxn ang="0">
                  <a:pos x="12" y="36"/>
                </a:cxn>
                <a:cxn ang="0">
                  <a:pos x="16" y="32"/>
                </a:cxn>
                <a:cxn ang="0">
                  <a:pos x="16" y="25"/>
                </a:cxn>
                <a:cxn ang="0">
                  <a:pos x="18" y="18"/>
                </a:cxn>
                <a:cxn ang="0">
                  <a:pos x="20" y="16"/>
                </a:cxn>
                <a:cxn ang="0">
                  <a:pos x="31" y="9"/>
                </a:cxn>
                <a:cxn ang="0">
                  <a:pos x="33" y="0"/>
                </a:cxn>
                <a:cxn ang="0">
                  <a:pos x="35" y="0"/>
                </a:cxn>
                <a:cxn ang="0">
                  <a:pos x="39" y="5"/>
                </a:cxn>
                <a:cxn ang="0">
                  <a:pos x="48" y="5"/>
                </a:cxn>
                <a:cxn ang="0">
                  <a:pos x="50" y="5"/>
                </a:cxn>
                <a:cxn ang="0">
                  <a:pos x="50" y="7"/>
                </a:cxn>
                <a:cxn ang="0">
                  <a:pos x="52" y="7"/>
                </a:cxn>
              </a:cxnLst>
              <a:rect l="0" t="0" r="r" b="b"/>
              <a:pathLst>
                <a:path w="52" h="48">
                  <a:moveTo>
                    <a:pt x="52" y="7"/>
                  </a:moveTo>
                  <a:lnTo>
                    <a:pt x="52" y="23"/>
                  </a:lnTo>
                  <a:lnTo>
                    <a:pt x="41" y="25"/>
                  </a:lnTo>
                  <a:lnTo>
                    <a:pt x="41" y="27"/>
                  </a:lnTo>
                  <a:lnTo>
                    <a:pt x="35" y="34"/>
                  </a:lnTo>
                  <a:lnTo>
                    <a:pt x="20" y="36"/>
                  </a:lnTo>
                  <a:lnTo>
                    <a:pt x="18" y="41"/>
                  </a:lnTo>
                  <a:lnTo>
                    <a:pt x="18" y="48"/>
                  </a:lnTo>
                  <a:lnTo>
                    <a:pt x="0" y="48"/>
                  </a:lnTo>
                  <a:lnTo>
                    <a:pt x="8" y="43"/>
                  </a:lnTo>
                  <a:lnTo>
                    <a:pt x="12" y="36"/>
                  </a:lnTo>
                  <a:lnTo>
                    <a:pt x="16" y="32"/>
                  </a:lnTo>
                  <a:lnTo>
                    <a:pt x="16" y="25"/>
                  </a:lnTo>
                  <a:lnTo>
                    <a:pt x="18" y="18"/>
                  </a:lnTo>
                  <a:lnTo>
                    <a:pt x="20" y="16"/>
                  </a:lnTo>
                  <a:lnTo>
                    <a:pt x="31" y="9"/>
                  </a:lnTo>
                  <a:lnTo>
                    <a:pt x="33" y="0"/>
                  </a:lnTo>
                  <a:lnTo>
                    <a:pt x="35" y="0"/>
                  </a:lnTo>
                  <a:lnTo>
                    <a:pt x="39" y="5"/>
                  </a:lnTo>
                  <a:lnTo>
                    <a:pt x="48" y="5"/>
                  </a:lnTo>
                  <a:lnTo>
                    <a:pt x="50" y="5"/>
                  </a:lnTo>
                  <a:lnTo>
                    <a:pt x="50" y="7"/>
                  </a:lnTo>
                  <a:lnTo>
                    <a:pt x="52" y="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8" name="Freeform 1314"/>
            <p:cNvSpPr>
              <a:spLocks/>
            </p:cNvSpPr>
            <p:nvPr/>
          </p:nvSpPr>
          <p:spPr bwMode="auto">
            <a:xfrm>
              <a:off x="5138348" y="4120473"/>
              <a:ext cx="46734" cy="47760"/>
            </a:xfrm>
            <a:custGeom>
              <a:avLst/>
              <a:gdLst/>
              <a:ahLst/>
              <a:cxnLst>
                <a:cxn ang="0">
                  <a:pos x="4" y="7"/>
                </a:cxn>
                <a:cxn ang="0">
                  <a:pos x="9" y="3"/>
                </a:cxn>
                <a:cxn ang="0">
                  <a:pos x="4" y="0"/>
                </a:cxn>
                <a:cxn ang="0">
                  <a:pos x="2" y="3"/>
                </a:cxn>
                <a:cxn ang="0">
                  <a:pos x="0" y="9"/>
                </a:cxn>
                <a:cxn ang="0">
                  <a:pos x="4" y="9"/>
                </a:cxn>
                <a:cxn ang="0">
                  <a:pos x="4" y="7"/>
                </a:cxn>
              </a:cxnLst>
              <a:rect l="0" t="0" r="r" b="b"/>
              <a:pathLst>
                <a:path w="9" h="9">
                  <a:moveTo>
                    <a:pt x="4" y="7"/>
                  </a:moveTo>
                  <a:lnTo>
                    <a:pt x="9" y="3"/>
                  </a:lnTo>
                  <a:lnTo>
                    <a:pt x="4" y="0"/>
                  </a:lnTo>
                  <a:lnTo>
                    <a:pt x="2" y="3"/>
                  </a:lnTo>
                  <a:lnTo>
                    <a:pt x="0" y="9"/>
                  </a:lnTo>
                  <a:lnTo>
                    <a:pt x="4" y="9"/>
                  </a:lnTo>
                  <a:lnTo>
                    <a:pt x="4" y="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9" name="Freeform 1315"/>
            <p:cNvSpPr>
              <a:spLocks/>
            </p:cNvSpPr>
            <p:nvPr/>
          </p:nvSpPr>
          <p:spPr bwMode="auto">
            <a:xfrm>
              <a:off x="5117577" y="4136393"/>
              <a:ext cx="249249" cy="413921"/>
            </a:xfrm>
            <a:custGeom>
              <a:avLst/>
              <a:gdLst/>
              <a:ahLst/>
              <a:cxnLst>
                <a:cxn ang="0">
                  <a:pos x="4" y="47"/>
                </a:cxn>
                <a:cxn ang="0">
                  <a:pos x="0" y="56"/>
                </a:cxn>
                <a:cxn ang="0">
                  <a:pos x="0" y="74"/>
                </a:cxn>
                <a:cxn ang="0">
                  <a:pos x="4" y="78"/>
                </a:cxn>
                <a:cxn ang="0">
                  <a:pos x="13" y="67"/>
                </a:cxn>
                <a:cxn ang="0">
                  <a:pos x="27" y="56"/>
                </a:cxn>
                <a:cxn ang="0">
                  <a:pos x="31" y="47"/>
                </a:cxn>
                <a:cxn ang="0">
                  <a:pos x="38" y="36"/>
                </a:cxn>
                <a:cxn ang="0">
                  <a:pos x="46" y="9"/>
                </a:cxn>
                <a:cxn ang="0">
                  <a:pos x="48" y="4"/>
                </a:cxn>
                <a:cxn ang="0">
                  <a:pos x="46" y="0"/>
                </a:cxn>
                <a:cxn ang="0">
                  <a:pos x="44" y="4"/>
                </a:cxn>
                <a:cxn ang="0">
                  <a:pos x="38" y="6"/>
                </a:cxn>
                <a:cxn ang="0">
                  <a:pos x="29" y="6"/>
                </a:cxn>
                <a:cxn ang="0">
                  <a:pos x="17" y="9"/>
                </a:cxn>
                <a:cxn ang="0">
                  <a:pos x="15" y="9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8" y="9"/>
                </a:cxn>
                <a:cxn ang="0">
                  <a:pos x="15" y="18"/>
                </a:cxn>
                <a:cxn ang="0">
                  <a:pos x="29" y="24"/>
                </a:cxn>
                <a:cxn ang="0">
                  <a:pos x="31" y="24"/>
                </a:cxn>
                <a:cxn ang="0">
                  <a:pos x="21" y="40"/>
                </a:cxn>
                <a:cxn ang="0">
                  <a:pos x="13" y="42"/>
                </a:cxn>
                <a:cxn ang="0">
                  <a:pos x="8" y="45"/>
                </a:cxn>
                <a:cxn ang="0">
                  <a:pos x="4" y="45"/>
                </a:cxn>
                <a:cxn ang="0">
                  <a:pos x="4" y="47"/>
                </a:cxn>
              </a:cxnLst>
              <a:rect l="0" t="0" r="r" b="b"/>
              <a:pathLst>
                <a:path w="48" h="78">
                  <a:moveTo>
                    <a:pt x="4" y="47"/>
                  </a:moveTo>
                  <a:lnTo>
                    <a:pt x="0" y="56"/>
                  </a:lnTo>
                  <a:lnTo>
                    <a:pt x="0" y="74"/>
                  </a:lnTo>
                  <a:lnTo>
                    <a:pt x="4" y="78"/>
                  </a:lnTo>
                  <a:lnTo>
                    <a:pt x="13" y="67"/>
                  </a:lnTo>
                  <a:lnTo>
                    <a:pt x="27" y="56"/>
                  </a:lnTo>
                  <a:lnTo>
                    <a:pt x="31" y="47"/>
                  </a:lnTo>
                  <a:lnTo>
                    <a:pt x="38" y="36"/>
                  </a:lnTo>
                  <a:lnTo>
                    <a:pt x="46" y="9"/>
                  </a:lnTo>
                  <a:lnTo>
                    <a:pt x="48" y="4"/>
                  </a:lnTo>
                  <a:lnTo>
                    <a:pt x="46" y="0"/>
                  </a:lnTo>
                  <a:lnTo>
                    <a:pt x="44" y="4"/>
                  </a:lnTo>
                  <a:lnTo>
                    <a:pt x="38" y="6"/>
                  </a:lnTo>
                  <a:lnTo>
                    <a:pt x="29" y="6"/>
                  </a:lnTo>
                  <a:lnTo>
                    <a:pt x="17" y="9"/>
                  </a:lnTo>
                  <a:lnTo>
                    <a:pt x="15" y="9"/>
                  </a:lnTo>
                  <a:lnTo>
                    <a:pt x="8" y="4"/>
                  </a:lnTo>
                  <a:lnTo>
                    <a:pt x="8" y="6"/>
                  </a:lnTo>
                  <a:lnTo>
                    <a:pt x="8" y="9"/>
                  </a:lnTo>
                  <a:lnTo>
                    <a:pt x="15" y="18"/>
                  </a:lnTo>
                  <a:lnTo>
                    <a:pt x="29" y="24"/>
                  </a:lnTo>
                  <a:lnTo>
                    <a:pt x="31" y="24"/>
                  </a:lnTo>
                  <a:lnTo>
                    <a:pt x="21" y="40"/>
                  </a:lnTo>
                  <a:lnTo>
                    <a:pt x="13" y="42"/>
                  </a:lnTo>
                  <a:lnTo>
                    <a:pt x="8" y="45"/>
                  </a:lnTo>
                  <a:lnTo>
                    <a:pt x="4" y="45"/>
                  </a:lnTo>
                  <a:lnTo>
                    <a:pt x="4" y="4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0" name="Freeform 1316"/>
            <p:cNvSpPr>
              <a:spLocks/>
            </p:cNvSpPr>
            <p:nvPr/>
          </p:nvSpPr>
          <p:spPr bwMode="auto">
            <a:xfrm>
              <a:off x="3710360" y="4072713"/>
              <a:ext cx="72698" cy="37147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6" y="3"/>
                </a:cxn>
                <a:cxn ang="0">
                  <a:pos x="12" y="7"/>
                </a:cxn>
                <a:cxn ang="0">
                  <a:pos x="14" y="3"/>
                </a:cxn>
                <a:cxn ang="0">
                  <a:pos x="6" y="0"/>
                </a:cxn>
                <a:cxn ang="0">
                  <a:pos x="0" y="3"/>
                </a:cxn>
                <a:cxn ang="0">
                  <a:pos x="0" y="5"/>
                </a:cxn>
                <a:cxn ang="0">
                  <a:pos x="0" y="7"/>
                </a:cxn>
              </a:cxnLst>
              <a:rect l="0" t="0" r="r" b="b"/>
              <a:pathLst>
                <a:path w="14" h="7">
                  <a:moveTo>
                    <a:pt x="0" y="7"/>
                  </a:moveTo>
                  <a:lnTo>
                    <a:pt x="6" y="3"/>
                  </a:lnTo>
                  <a:lnTo>
                    <a:pt x="12" y="7"/>
                  </a:lnTo>
                  <a:lnTo>
                    <a:pt x="14" y="3"/>
                  </a:lnTo>
                  <a:lnTo>
                    <a:pt x="6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1" name="Freeform 1317"/>
            <p:cNvSpPr>
              <a:spLocks/>
            </p:cNvSpPr>
            <p:nvPr/>
          </p:nvSpPr>
          <p:spPr bwMode="auto">
            <a:xfrm>
              <a:off x="3710360" y="4120473"/>
              <a:ext cx="72698" cy="47760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14" y="7"/>
                </a:cxn>
                <a:cxn ang="0">
                  <a:pos x="8" y="7"/>
                </a:cxn>
                <a:cxn ang="0">
                  <a:pos x="8" y="9"/>
                </a:cxn>
                <a:cxn ang="0">
                  <a:pos x="6" y="9"/>
                </a:cxn>
                <a:cxn ang="0">
                  <a:pos x="6" y="3"/>
                </a:cxn>
                <a:cxn ang="0">
                  <a:pos x="2" y="3"/>
                </a:cxn>
                <a:cxn ang="0">
                  <a:pos x="0" y="0"/>
                </a:cxn>
                <a:cxn ang="0">
                  <a:pos x="6" y="0"/>
                </a:cxn>
                <a:cxn ang="0">
                  <a:pos x="10" y="0"/>
                </a:cxn>
                <a:cxn ang="0">
                  <a:pos x="14" y="0"/>
                </a:cxn>
              </a:cxnLst>
              <a:rect l="0" t="0" r="r" b="b"/>
              <a:pathLst>
                <a:path w="14" h="9">
                  <a:moveTo>
                    <a:pt x="14" y="0"/>
                  </a:moveTo>
                  <a:lnTo>
                    <a:pt x="14" y="7"/>
                  </a:lnTo>
                  <a:lnTo>
                    <a:pt x="8" y="7"/>
                  </a:lnTo>
                  <a:lnTo>
                    <a:pt x="8" y="9"/>
                  </a:lnTo>
                  <a:lnTo>
                    <a:pt x="6" y="9"/>
                  </a:lnTo>
                  <a:lnTo>
                    <a:pt x="6" y="3"/>
                  </a:lnTo>
                  <a:lnTo>
                    <a:pt x="2" y="3"/>
                  </a:lnTo>
                  <a:lnTo>
                    <a:pt x="0" y="0"/>
                  </a:lnTo>
                  <a:lnTo>
                    <a:pt x="6" y="0"/>
                  </a:lnTo>
                  <a:lnTo>
                    <a:pt x="10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2" name="Freeform 1318"/>
            <p:cNvSpPr>
              <a:spLocks/>
            </p:cNvSpPr>
            <p:nvPr/>
          </p:nvSpPr>
          <p:spPr bwMode="auto">
            <a:xfrm>
              <a:off x="3783057" y="4205380"/>
              <a:ext cx="77890" cy="95520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" y="11"/>
                </a:cxn>
                <a:cxn ang="0">
                  <a:pos x="9" y="18"/>
                </a:cxn>
                <a:cxn ang="0">
                  <a:pos x="15" y="9"/>
                </a:cxn>
                <a:cxn ang="0">
                  <a:pos x="15" y="5"/>
                </a:cxn>
                <a:cxn ang="0">
                  <a:pos x="11" y="0"/>
                </a:cxn>
                <a:cxn ang="0">
                  <a:pos x="7" y="0"/>
                </a:cxn>
                <a:cxn ang="0">
                  <a:pos x="2" y="2"/>
                </a:cxn>
                <a:cxn ang="0">
                  <a:pos x="0" y="2"/>
                </a:cxn>
              </a:cxnLst>
              <a:rect l="0" t="0" r="r" b="b"/>
              <a:pathLst>
                <a:path w="15" h="18">
                  <a:moveTo>
                    <a:pt x="0" y="2"/>
                  </a:moveTo>
                  <a:lnTo>
                    <a:pt x="2" y="11"/>
                  </a:lnTo>
                  <a:lnTo>
                    <a:pt x="9" y="18"/>
                  </a:lnTo>
                  <a:lnTo>
                    <a:pt x="15" y="9"/>
                  </a:lnTo>
                  <a:lnTo>
                    <a:pt x="15" y="5"/>
                  </a:lnTo>
                  <a:lnTo>
                    <a:pt x="11" y="0"/>
                  </a:lnTo>
                  <a:lnTo>
                    <a:pt x="7" y="0"/>
                  </a:lnTo>
                  <a:lnTo>
                    <a:pt x="2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3" name="Freeform 1319"/>
            <p:cNvSpPr>
              <a:spLocks/>
            </p:cNvSpPr>
            <p:nvPr/>
          </p:nvSpPr>
          <p:spPr bwMode="auto">
            <a:xfrm>
              <a:off x="4826787" y="4576847"/>
              <a:ext cx="41542" cy="5837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8" y="0"/>
                </a:cxn>
                <a:cxn ang="0">
                  <a:pos x="8" y="7"/>
                </a:cxn>
                <a:cxn ang="0">
                  <a:pos x="4" y="11"/>
                </a:cxn>
                <a:cxn ang="0">
                  <a:pos x="4" y="7"/>
                </a:cxn>
                <a:cxn ang="0">
                  <a:pos x="2" y="4"/>
                </a:cxn>
                <a:cxn ang="0">
                  <a:pos x="0" y="2"/>
                </a:cxn>
              </a:cxnLst>
              <a:rect l="0" t="0" r="r" b="b"/>
              <a:pathLst>
                <a:path w="8" h="11">
                  <a:moveTo>
                    <a:pt x="0" y="2"/>
                  </a:moveTo>
                  <a:lnTo>
                    <a:pt x="8" y="0"/>
                  </a:lnTo>
                  <a:lnTo>
                    <a:pt x="8" y="7"/>
                  </a:lnTo>
                  <a:lnTo>
                    <a:pt x="4" y="11"/>
                  </a:lnTo>
                  <a:lnTo>
                    <a:pt x="4" y="7"/>
                  </a:lnTo>
                  <a:lnTo>
                    <a:pt x="2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4" name="Freeform 1320"/>
            <p:cNvSpPr>
              <a:spLocks/>
            </p:cNvSpPr>
            <p:nvPr/>
          </p:nvSpPr>
          <p:spPr bwMode="auto">
            <a:xfrm>
              <a:off x="4826787" y="4539700"/>
              <a:ext cx="41542" cy="47760"/>
            </a:xfrm>
            <a:custGeom>
              <a:avLst/>
              <a:gdLst/>
              <a:ahLst/>
              <a:cxnLst>
                <a:cxn ang="0">
                  <a:pos x="8" y="7"/>
                </a:cxn>
                <a:cxn ang="0">
                  <a:pos x="0" y="9"/>
                </a:cxn>
                <a:cxn ang="0">
                  <a:pos x="0" y="7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8" y="2"/>
                </a:cxn>
                <a:cxn ang="0">
                  <a:pos x="8" y="5"/>
                </a:cxn>
                <a:cxn ang="0">
                  <a:pos x="8" y="7"/>
                </a:cxn>
              </a:cxnLst>
              <a:rect l="0" t="0" r="r" b="b"/>
              <a:pathLst>
                <a:path w="8" h="9">
                  <a:moveTo>
                    <a:pt x="8" y="7"/>
                  </a:moveTo>
                  <a:lnTo>
                    <a:pt x="0" y="9"/>
                  </a:lnTo>
                  <a:lnTo>
                    <a:pt x="0" y="7"/>
                  </a:lnTo>
                  <a:lnTo>
                    <a:pt x="4" y="0"/>
                  </a:lnTo>
                  <a:lnTo>
                    <a:pt x="6" y="0"/>
                  </a:lnTo>
                  <a:lnTo>
                    <a:pt x="8" y="2"/>
                  </a:lnTo>
                  <a:lnTo>
                    <a:pt x="8" y="5"/>
                  </a:lnTo>
                  <a:lnTo>
                    <a:pt x="8" y="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5" name="Freeform 1321"/>
            <p:cNvSpPr>
              <a:spLocks/>
            </p:cNvSpPr>
            <p:nvPr/>
          </p:nvSpPr>
          <p:spPr bwMode="auto">
            <a:xfrm>
              <a:off x="4857944" y="5303861"/>
              <a:ext cx="31156" cy="37147"/>
            </a:xfrm>
            <a:custGeom>
              <a:avLst/>
              <a:gdLst/>
              <a:ahLst/>
              <a:cxnLst>
                <a:cxn ang="0">
                  <a:pos x="6" y="3"/>
                </a:cxn>
                <a:cxn ang="0">
                  <a:pos x="6" y="0"/>
                </a:cxn>
                <a:cxn ang="0">
                  <a:pos x="2" y="0"/>
                </a:cxn>
                <a:cxn ang="0">
                  <a:pos x="0" y="7"/>
                </a:cxn>
                <a:cxn ang="0">
                  <a:pos x="2" y="7"/>
                </a:cxn>
                <a:cxn ang="0">
                  <a:pos x="4" y="5"/>
                </a:cxn>
                <a:cxn ang="0">
                  <a:pos x="6" y="3"/>
                </a:cxn>
              </a:cxnLst>
              <a:rect l="0" t="0" r="r" b="b"/>
              <a:pathLst>
                <a:path w="6" h="7">
                  <a:moveTo>
                    <a:pt x="6" y="3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7"/>
                  </a:lnTo>
                  <a:lnTo>
                    <a:pt x="2" y="7"/>
                  </a:lnTo>
                  <a:lnTo>
                    <a:pt x="4" y="5"/>
                  </a:lnTo>
                  <a:lnTo>
                    <a:pt x="6" y="3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6" name="Freeform 1322"/>
            <p:cNvSpPr>
              <a:spLocks/>
            </p:cNvSpPr>
            <p:nvPr/>
          </p:nvSpPr>
          <p:spPr bwMode="auto">
            <a:xfrm>
              <a:off x="4598309" y="5065061"/>
              <a:ext cx="228479" cy="275947"/>
            </a:xfrm>
            <a:custGeom>
              <a:avLst/>
              <a:gdLst/>
              <a:ahLst/>
              <a:cxnLst>
                <a:cxn ang="0">
                  <a:pos x="25" y="0"/>
                </a:cxn>
                <a:cxn ang="0">
                  <a:pos x="29" y="9"/>
                </a:cxn>
                <a:cxn ang="0">
                  <a:pos x="35" y="14"/>
                </a:cxn>
                <a:cxn ang="0">
                  <a:pos x="37" y="21"/>
                </a:cxn>
                <a:cxn ang="0">
                  <a:pos x="44" y="23"/>
                </a:cxn>
                <a:cxn ang="0">
                  <a:pos x="35" y="30"/>
                </a:cxn>
                <a:cxn ang="0">
                  <a:pos x="25" y="43"/>
                </a:cxn>
                <a:cxn ang="0">
                  <a:pos x="21" y="43"/>
                </a:cxn>
                <a:cxn ang="0">
                  <a:pos x="17" y="43"/>
                </a:cxn>
                <a:cxn ang="0">
                  <a:pos x="10" y="48"/>
                </a:cxn>
                <a:cxn ang="0">
                  <a:pos x="4" y="52"/>
                </a:cxn>
                <a:cxn ang="0">
                  <a:pos x="2" y="48"/>
                </a:cxn>
                <a:cxn ang="0">
                  <a:pos x="4" y="43"/>
                </a:cxn>
                <a:cxn ang="0">
                  <a:pos x="0" y="39"/>
                </a:cxn>
                <a:cxn ang="0">
                  <a:pos x="0" y="23"/>
                </a:cxn>
                <a:cxn ang="0">
                  <a:pos x="4" y="21"/>
                </a:cxn>
                <a:cxn ang="0">
                  <a:pos x="4" y="3"/>
                </a:cxn>
                <a:cxn ang="0">
                  <a:pos x="17" y="0"/>
                </a:cxn>
                <a:cxn ang="0">
                  <a:pos x="17" y="3"/>
                </a:cxn>
                <a:cxn ang="0">
                  <a:pos x="19" y="0"/>
                </a:cxn>
                <a:cxn ang="0">
                  <a:pos x="21" y="0"/>
                </a:cxn>
                <a:cxn ang="0">
                  <a:pos x="25" y="0"/>
                </a:cxn>
              </a:cxnLst>
              <a:rect l="0" t="0" r="r" b="b"/>
              <a:pathLst>
                <a:path w="44" h="52">
                  <a:moveTo>
                    <a:pt x="25" y="0"/>
                  </a:moveTo>
                  <a:lnTo>
                    <a:pt x="29" y="9"/>
                  </a:lnTo>
                  <a:lnTo>
                    <a:pt x="35" y="14"/>
                  </a:lnTo>
                  <a:lnTo>
                    <a:pt x="37" y="21"/>
                  </a:lnTo>
                  <a:lnTo>
                    <a:pt x="44" y="23"/>
                  </a:lnTo>
                  <a:lnTo>
                    <a:pt x="35" y="30"/>
                  </a:lnTo>
                  <a:lnTo>
                    <a:pt x="25" y="43"/>
                  </a:lnTo>
                  <a:lnTo>
                    <a:pt x="21" y="43"/>
                  </a:lnTo>
                  <a:lnTo>
                    <a:pt x="17" y="43"/>
                  </a:lnTo>
                  <a:lnTo>
                    <a:pt x="10" y="48"/>
                  </a:lnTo>
                  <a:lnTo>
                    <a:pt x="4" y="52"/>
                  </a:lnTo>
                  <a:lnTo>
                    <a:pt x="2" y="48"/>
                  </a:lnTo>
                  <a:lnTo>
                    <a:pt x="4" y="43"/>
                  </a:lnTo>
                  <a:lnTo>
                    <a:pt x="0" y="39"/>
                  </a:lnTo>
                  <a:lnTo>
                    <a:pt x="0" y="23"/>
                  </a:lnTo>
                  <a:lnTo>
                    <a:pt x="4" y="21"/>
                  </a:lnTo>
                  <a:lnTo>
                    <a:pt x="4" y="3"/>
                  </a:lnTo>
                  <a:lnTo>
                    <a:pt x="17" y="0"/>
                  </a:lnTo>
                  <a:lnTo>
                    <a:pt x="17" y="3"/>
                  </a:lnTo>
                  <a:lnTo>
                    <a:pt x="19" y="0"/>
                  </a:lnTo>
                  <a:lnTo>
                    <a:pt x="21" y="0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7" name="Freeform 1323"/>
            <p:cNvSpPr>
              <a:spLocks/>
            </p:cNvSpPr>
            <p:nvPr/>
          </p:nvSpPr>
          <p:spPr bwMode="auto">
            <a:xfrm>
              <a:off x="3102815" y="6402343"/>
              <a:ext cx="31156" cy="1592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6" y="3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6" h="3">
                  <a:moveTo>
                    <a:pt x="0" y="3"/>
                  </a:moveTo>
                  <a:lnTo>
                    <a:pt x="6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8" name="Freeform 1324"/>
            <p:cNvSpPr>
              <a:spLocks/>
            </p:cNvSpPr>
            <p:nvPr/>
          </p:nvSpPr>
          <p:spPr bwMode="auto">
            <a:xfrm>
              <a:off x="3004155" y="6370503"/>
              <a:ext cx="57120" cy="31840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2" y="6"/>
                </a:cxn>
                <a:cxn ang="0">
                  <a:pos x="11" y="0"/>
                </a:cxn>
                <a:cxn ang="0">
                  <a:pos x="6" y="0"/>
                </a:cxn>
                <a:cxn ang="0">
                  <a:pos x="2" y="4"/>
                </a:cxn>
                <a:cxn ang="0">
                  <a:pos x="0" y="6"/>
                </a:cxn>
              </a:cxnLst>
              <a:rect l="0" t="0" r="r" b="b"/>
              <a:pathLst>
                <a:path w="11" h="6">
                  <a:moveTo>
                    <a:pt x="0" y="6"/>
                  </a:moveTo>
                  <a:lnTo>
                    <a:pt x="2" y="6"/>
                  </a:lnTo>
                  <a:lnTo>
                    <a:pt x="11" y="0"/>
                  </a:lnTo>
                  <a:lnTo>
                    <a:pt x="6" y="0"/>
                  </a:lnTo>
                  <a:lnTo>
                    <a:pt x="2" y="4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9" name="Line 1325"/>
            <p:cNvSpPr>
              <a:spLocks noChangeShapeType="1"/>
            </p:cNvSpPr>
            <p:nvPr/>
          </p:nvSpPr>
          <p:spPr bwMode="auto">
            <a:xfrm>
              <a:off x="3263789" y="6354583"/>
              <a:ext cx="31156" cy="5307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0" name="Freeform 1326"/>
            <p:cNvSpPr>
              <a:spLocks/>
            </p:cNvSpPr>
            <p:nvPr/>
          </p:nvSpPr>
          <p:spPr bwMode="auto">
            <a:xfrm>
              <a:off x="1856570" y="4502554"/>
              <a:ext cx="31156" cy="37147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0" y="5"/>
                </a:cxn>
                <a:cxn ang="0">
                  <a:pos x="4" y="5"/>
                </a:cxn>
                <a:cxn ang="0">
                  <a:pos x="4" y="7"/>
                </a:cxn>
                <a:cxn ang="0">
                  <a:pos x="6" y="5"/>
                </a:cxn>
                <a:cxn ang="0">
                  <a:pos x="4" y="3"/>
                </a:cxn>
                <a:cxn ang="0">
                  <a:pos x="4" y="0"/>
                </a:cxn>
              </a:cxnLst>
              <a:rect l="0" t="0" r="r" b="b"/>
              <a:pathLst>
                <a:path w="6" h="7">
                  <a:moveTo>
                    <a:pt x="4" y="0"/>
                  </a:moveTo>
                  <a:lnTo>
                    <a:pt x="0" y="5"/>
                  </a:lnTo>
                  <a:lnTo>
                    <a:pt x="4" y="5"/>
                  </a:lnTo>
                  <a:lnTo>
                    <a:pt x="4" y="7"/>
                  </a:lnTo>
                  <a:lnTo>
                    <a:pt x="6" y="5"/>
                  </a:lnTo>
                  <a:lnTo>
                    <a:pt x="4" y="3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1" name="Freeform 1327"/>
            <p:cNvSpPr>
              <a:spLocks/>
            </p:cNvSpPr>
            <p:nvPr/>
          </p:nvSpPr>
          <p:spPr bwMode="auto">
            <a:xfrm>
              <a:off x="2474501" y="5797382"/>
              <a:ext cx="31156" cy="4776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9"/>
                </a:cxn>
                <a:cxn ang="0">
                  <a:pos x="6" y="9"/>
                </a:cxn>
                <a:cxn ang="0">
                  <a:pos x="6" y="2"/>
                </a:cxn>
                <a:cxn ang="0">
                  <a:pos x="2" y="2"/>
                </a:cxn>
                <a:cxn ang="0">
                  <a:pos x="0" y="0"/>
                </a:cxn>
              </a:cxnLst>
              <a:rect l="0" t="0" r="r" b="b"/>
              <a:pathLst>
                <a:path w="6" h="9">
                  <a:moveTo>
                    <a:pt x="0" y="0"/>
                  </a:moveTo>
                  <a:lnTo>
                    <a:pt x="4" y="9"/>
                  </a:lnTo>
                  <a:lnTo>
                    <a:pt x="6" y="9"/>
                  </a:lnTo>
                  <a:lnTo>
                    <a:pt x="6" y="2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2" name="Freeform 1328"/>
            <p:cNvSpPr>
              <a:spLocks/>
            </p:cNvSpPr>
            <p:nvPr/>
          </p:nvSpPr>
          <p:spPr bwMode="auto">
            <a:xfrm>
              <a:off x="2874338" y="6083943"/>
              <a:ext cx="51927" cy="10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2"/>
                </a:cxn>
                <a:cxn ang="0">
                  <a:pos x="10" y="0"/>
                </a:cxn>
                <a:cxn ang="0">
                  <a:pos x="8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w="10" h="2">
                  <a:moveTo>
                    <a:pt x="0" y="0"/>
                  </a:moveTo>
                  <a:lnTo>
                    <a:pt x="6" y="2"/>
                  </a:lnTo>
                  <a:lnTo>
                    <a:pt x="10" y="0"/>
                  </a:lnTo>
                  <a:lnTo>
                    <a:pt x="8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3" name="Freeform 1329"/>
            <p:cNvSpPr>
              <a:spLocks/>
            </p:cNvSpPr>
            <p:nvPr/>
          </p:nvSpPr>
          <p:spPr bwMode="auto">
            <a:xfrm>
              <a:off x="3372835" y="6142316"/>
              <a:ext cx="41542" cy="3714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" y="7"/>
                </a:cxn>
                <a:cxn ang="0">
                  <a:pos x="8" y="4"/>
                </a:cxn>
                <a:cxn ang="0">
                  <a:pos x="4" y="2"/>
                </a:cxn>
                <a:cxn ang="0">
                  <a:pos x="0" y="0"/>
                </a:cxn>
              </a:cxnLst>
              <a:rect l="0" t="0" r="r" b="b"/>
              <a:pathLst>
                <a:path w="8" h="7">
                  <a:moveTo>
                    <a:pt x="0" y="0"/>
                  </a:moveTo>
                  <a:lnTo>
                    <a:pt x="8" y="7"/>
                  </a:lnTo>
                  <a:lnTo>
                    <a:pt x="8" y="4"/>
                  </a:lnTo>
                  <a:lnTo>
                    <a:pt x="4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4" name="Freeform 1330"/>
            <p:cNvSpPr>
              <a:spLocks/>
            </p:cNvSpPr>
            <p:nvPr/>
          </p:nvSpPr>
          <p:spPr bwMode="auto">
            <a:xfrm>
              <a:off x="2604318" y="4168233"/>
              <a:ext cx="20771" cy="37147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4" y="7"/>
                </a:cxn>
                <a:cxn ang="0">
                  <a:pos x="4" y="0"/>
                </a:cxn>
                <a:cxn ang="0">
                  <a:pos x="0" y="3"/>
                </a:cxn>
                <a:cxn ang="0">
                  <a:pos x="0" y="5"/>
                </a:cxn>
                <a:cxn ang="0">
                  <a:pos x="0" y="7"/>
                </a:cxn>
              </a:cxnLst>
              <a:rect l="0" t="0" r="r" b="b"/>
              <a:pathLst>
                <a:path w="4" h="7">
                  <a:moveTo>
                    <a:pt x="0" y="7"/>
                  </a:moveTo>
                  <a:lnTo>
                    <a:pt x="4" y="7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5" name="Line 1331"/>
            <p:cNvSpPr>
              <a:spLocks noChangeShapeType="1"/>
            </p:cNvSpPr>
            <p:nvPr/>
          </p:nvSpPr>
          <p:spPr bwMode="auto">
            <a:xfrm>
              <a:off x="2427766" y="4136393"/>
              <a:ext cx="5193" cy="10613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6" name="Freeform 1332"/>
            <p:cNvSpPr>
              <a:spLocks/>
            </p:cNvSpPr>
            <p:nvPr/>
          </p:nvSpPr>
          <p:spPr bwMode="auto">
            <a:xfrm>
              <a:off x="2225252" y="3945353"/>
              <a:ext cx="41542" cy="10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2"/>
                </a:cxn>
                <a:cxn ang="0">
                  <a:pos x="8" y="2"/>
                </a:cxn>
                <a:cxn ang="0">
                  <a:pos x="8" y="0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8" h="2">
                  <a:moveTo>
                    <a:pt x="0" y="0"/>
                  </a:moveTo>
                  <a:lnTo>
                    <a:pt x="2" y="2"/>
                  </a:lnTo>
                  <a:lnTo>
                    <a:pt x="8" y="2"/>
                  </a:lnTo>
                  <a:lnTo>
                    <a:pt x="8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7" name="Freeform 1333"/>
            <p:cNvSpPr>
              <a:spLocks/>
            </p:cNvSpPr>
            <p:nvPr/>
          </p:nvSpPr>
          <p:spPr bwMode="auto">
            <a:xfrm>
              <a:off x="2126590" y="3823299"/>
              <a:ext cx="10385" cy="26533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2" y="5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5"/>
                </a:cxn>
              </a:cxnLst>
              <a:rect l="0" t="0" r="r" b="b"/>
              <a:pathLst>
                <a:path w="2" h="5">
                  <a:moveTo>
                    <a:pt x="0" y="5"/>
                  </a:moveTo>
                  <a:lnTo>
                    <a:pt x="2" y="5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8" name="Freeform 1334"/>
            <p:cNvSpPr>
              <a:spLocks/>
            </p:cNvSpPr>
            <p:nvPr/>
          </p:nvSpPr>
          <p:spPr bwMode="auto">
            <a:xfrm>
              <a:off x="2085049" y="3802073"/>
              <a:ext cx="249249" cy="95520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2" y="9"/>
                </a:cxn>
                <a:cxn ang="0">
                  <a:pos x="10" y="2"/>
                </a:cxn>
                <a:cxn ang="0">
                  <a:pos x="16" y="2"/>
                </a:cxn>
                <a:cxn ang="0">
                  <a:pos x="12" y="4"/>
                </a:cxn>
                <a:cxn ang="0">
                  <a:pos x="27" y="9"/>
                </a:cxn>
                <a:cxn ang="0">
                  <a:pos x="29" y="15"/>
                </a:cxn>
                <a:cxn ang="0">
                  <a:pos x="33" y="15"/>
                </a:cxn>
                <a:cxn ang="0">
                  <a:pos x="29" y="18"/>
                </a:cxn>
                <a:cxn ang="0">
                  <a:pos x="48" y="18"/>
                </a:cxn>
                <a:cxn ang="0">
                  <a:pos x="44" y="15"/>
                </a:cxn>
                <a:cxn ang="0">
                  <a:pos x="41" y="15"/>
                </a:cxn>
                <a:cxn ang="0">
                  <a:pos x="41" y="11"/>
                </a:cxn>
                <a:cxn ang="0">
                  <a:pos x="35" y="11"/>
                </a:cxn>
                <a:cxn ang="0">
                  <a:pos x="29" y="4"/>
                </a:cxn>
                <a:cxn ang="0">
                  <a:pos x="16" y="0"/>
                </a:cxn>
                <a:cxn ang="0">
                  <a:pos x="4" y="2"/>
                </a:cxn>
                <a:cxn ang="0">
                  <a:pos x="2" y="6"/>
                </a:cxn>
                <a:cxn ang="0">
                  <a:pos x="0" y="9"/>
                </a:cxn>
              </a:cxnLst>
              <a:rect l="0" t="0" r="r" b="b"/>
              <a:pathLst>
                <a:path w="48" h="18">
                  <a:moveTo>
                    <a:pt x="0" y="9"/>
                  </a:moveTo>
                  <a:lnTo>
                    <a:pt x="2" y="9"/>
                  </a:lnTo>
                  <a:lnTo>
                    <a:pt x="10" y="2"/>
                  </a:lnTo>
                  <a:lnTo>
                    <a:pt x="16" y="2"/>
                  </a:lnTo>
                  <a:lnTo>
                    <a:pt x="12" y="4"/>
                  </a:lnTo>
                  <a:lnTo>
                    <a:pt x="27" y="9"/>
                  </a:lnTo>
                  <a:lnTo>
                    <a:pt x="29" y="15"/>
                  </a:lnTo>
                  <a:lnTo>
                    <a:pt x="33" y="15"/>
                  </a:lnTo>
                  <a:lnTo>
                    <a:pt x="29" y="18"/>
                  </a:lnTo>
                  <a:lnTo>
                    <a:pt x="48" y="18"/>
                  </a:lnTo>
                  <a:lnTo>
                    <a:pt x="44" y="15"/>
                  </a:lnTo>
                  <a:lnTo>
                    <a:pt x="41" y="15"/>
                  </a:lnTo>
                  <a:lnTo>
                    <a:pt x="41" y="11"/>
                  </a:lnTo>
                  <a:lnTo>
                    <a:pt x="35" y="11"/>
                  </a:lnTo>
                  <a:lnTo>
                    <a:pt x="29" y="4"/>
                  </a:lnTo>
                  <a:lnTo>
                    <a:pt x="16" y="0"/>
                  </a:lnTo>
                  <a:lnTo>
                    <a:pt x="4" y="2"/>
                  </a:lnTo>
                  <a:lnTo>
                    <a:pt x="2" y="6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9" name="Freeform 1335"/>
            <p:cNvSpPr>
              <a:spLocks/>
            </p:cNvSpPr>
            <p:nvPr/>
          </p:nvSpPr>
          <p:spPr bwMode="auto">
            <a:xfrm>
              <a:off x="2495272" y="3945353"/>
              <a:ext cx="41542" cy="1061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4" y="2"/>
                </a:cxn>
                <a:cxn ang="0">
                  <a:pos x="8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2"/>
                </a:cxn>
              </a:cxnLst>
              <a:rect l="0" t="0" r="r" b="b"/>
              <a:pathLst>
                <a:path w="8" h="2">
                  <a:moveTo>
                    <a:pt x="0" y="2"/>
                  </a:moveTo>
                  <a:lnTo>
                    <a:pt x="4" y="2"/>
                  </a:lnTo>
                  <a:lnTo>
                    <a:pt x="8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" name="Line 1336"/>
            <p:cNvSpPr>
              <a:spLocks noChangeShapeType="1"/>
            </p:cNvSpPr>
            <p:nvPr/>
          </p:nvSpPr>
          <p:spPr bwMode="auto">
            <a:xfrm>
              <a:off x="2625088" y="4014340"/>
              <a:ext cx="5193" cy="26533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1" name="Line 1337"/>
            <p:cNvSpPr>
              <a:spLocks noChangeShapeType="1"/>
            </p:cNvSpPr>
            <p:nvPr/>
          </p:nvSpPr>
          <p:spPr bwMode="auto">
            <a:xfrm>
              <a:off x="2625088" y="4062100"/>
              <a:ext cx="10385" cy="5307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2" name="Freeform 1338"/>
            <p:cNvSpPr>
              <a:spLocks/>
            </p:cNvSpPr>
            <p:nvPr/>
          </p:nvSpPr>
          <p:spPr bwMode="auto">
            <a:xfrm>
              <a:off x="2235636" y="3727779"/>
              <a:ext cx="20771" cy="4776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0" y="5"/>
                </a:cxn>
                <a:cxn ang="0">
                  <a:pos x="4" y="9"/>
                </a:cxn>
                <a:cxn ang="0">
                  <a:pos x="4" y="5"/>
                </a:cxn>
                <a:cxn ang="0">
                  <a:pos x="4" y="2"/>
                </a:cxn>
                <a:cxn ang="0">
                  <a:pos x="4" y="0"/>
                </a:cxn>
              </a:cxnLst>
              <a:rect l="0" t="0" r="r" b="b"/>
              <a:pathLst>
                <a:path w="4" h="9">
                  <a:moveTo>
                    <a:pt x="4" y="0"/>
                  </a:moveTo>
                  <a:lnTo>
                    <a:pt x="0" y="5"/>
                  </a:lnTo>
                  <a:lnTo>
                    <a:pt x="4" y="9"/>
                  </a:lnTo>
                  <a:lnTo>
                    <a:pt x="4" y="5"/>
                  </a:lnTo>
                  <a:lnTo>
                    <a:pt x="4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3" name="Freeform 1339"/>
            <p:cNvSpPr>
              <a:spLocks/>
            </p:cNvSpPr>
            <p:nvPr/>
          </p:nvSpPr>
          <p:spPr bwMode="auto">
            <a:xfrm>
              <a:off x="2344684" y="3849833"/>
              <a:ext cx="10385" cy="1061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0" y="2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4" name="Line 1340"/>
            <p:cNvSpPr>
              <a:spLocks noChangeShapeType="1"/>
            </p:cNvSpPr>
            <p:nvPr/>
          </p:nvSpPr>
          <p:spPr bwMode="auto">
            <a:xfrm>
              <a:off x="2235636" y="3690632"/>
              <a:ext cx="31156" cy="26533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5" name="Line 1341"/>
            <p:cNvSpPr>
              <a:spLocks noChangeShapeType="1"/>
            </p:cNvSpPr>
            <p:nvPr/>
          </p:nvSpPr>
          <p:spPr bwMode="auto">
            <a:xfrm>
              <a:off x="2266793" y="3690632"/>
              <a:ext cx="20771" cy="26533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6" name="Line 1342"/>
            <p:cNvSpPr>
              <a:spLocks noChangeShapeType="1"/>
            </p:cNvSpPr>
            <p:nvPr/>
          </p:nvSpPr>
          <p:spPr bwMode="auto">
            <a:xfrm>
              <a:off x="2287564" y="3717166"/>
              <a:ext cx="5193" cy="10613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7" name="Line 1343"/>
            <p:cNvSpPr>
              <a:spLocks noChangeShapeType="1"/>
            </p:cNvSpPr>
            <p:nvPr/>
          </p:nvSpPr>
          <p:spPr bwMode="auto">
            <a:xfrm>
              <a:off x="2287564" y="3738392"/>
              <a:ext cx="10385" cy="5307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8" name="Line 1344"/>
            <p:cNvSpPr>
              <a:spLocks noChangeShapeType="1"/>
            </p:cNvSpPr>
            <p:nvPr/>
          </p:nvSpPr>
          <p:spPr bwMode="auto">
            <a:xfrm>
              <a:off x="2297949" y="3738392"/>
              <a:ext cx="5193" cy="26533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9" name="Line 1345"/>
            <p:cNvSpPr>
              <a:spLocks noChangeShapeType="1"/>
            </p:cNvSpPr>
            <p:nvPr/>
          </p:nvSpPr>
          <p:spPr bwMode="auto">
            <a:xfrm>
              <a:off x="2313527" y="3764926"/>
              <a:ext cx="5193" cy="10613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0" name="Line 1346"/>
            <p:cNvSpPr>
              <a:spLocks noChangeShapeType="1"/>
            </p:cNvSpPr>
            <p:nvPr/>
          </p:nvSpPr>
          <p:spPr bwMode="auto">
            <a:xfrm>
              <a:off x="2313527" y="3786153"/>
              <a:ext cx="20771" cy="37147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1" name="Line 1347"/>
            <p:cNvSpPr>
              <a:spLocks noChangeShapeType="1"/>
            </p:cNvSpPr>
            <p:nvPr/>
          </p:nvSpPr>
          <p:spPr bwMode="auto">
            <a:xfrm>
              <a:off x="2334297" y="3823299"/>
              <a:ext cx="10385" cy="5307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2" name="Line 1348"/>
            <p:cNvSpPr>
              <a:spLocks noChangeShapeType="1"/>
            </p:cNvSpPr>
            <p:nvPr/>
          </p:nvSpPr>
          <p:spPr bwMode="auto">
            <a:xfrm flipH="1">
              <a:off x="2334297" y="3823299"/>
              <a:ext cx="10385" cy="10613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3" name="Line 1349"/>
            <p:cNvSpPr>
              <a:spLocks noChangeShapeType="1"/>
            </p:cNvSpPr>
            <p:nvPr/>
          </p:nvSpPr>
          <p:spPr bwMode="auto">
            <a:xfrm>
              <a:off x="2355069" y="3823299"/>
              <a:ext cx="20771" cy="10613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4" name="Line 1350"/>
            <p:cNvSpPr>
              <a:spLocks noChangeShapeType="1"/>
            </p:cNvSpPr>
            <p:nvPr/>
          </p:nvSpPr>
          <p:spPr bwMode="auto">
            <a:xfrm flipV="1">
              <a:off x="2375840" y="3833913"/>
              <a:ext cx="10385" cy="26533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5" name="Line 1351"/>
            <p:cNvSpPr>
              <a:spLocks noChangeShapeType="1"/>
            </p:cNvSpPr>
            <p:nvPr/>
          </p:nvSpPr>
          <p:spPr bwMode="auto">
            <a:xfrm>
              <a:off x="2386224" y="3833913"/>
              <a:ext cx="10385" cy="26533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6" name="Line 1352"/>
            <p:cNvSpPr>
              <a:spLocks noChangeShapeType="1"/>
            </p:cNvSpPr>
            <p:nvPr/>
          </p:nvSpPr>
          <p:spPr bwMode="auto">
            <a:xfrm>
              <a:off x="2168132" y="3764926"/>
              <a:ext cx="10385" cy="5307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7" name="Freeform 1353"/>
            <p:cNvSpPr>
              <a:spLocks/>
            </p:cNvSpPr>
            <p:nvPr/>
          </p:nvSpPr>
          <p:spPr bwMode="auto">
            <a:xfrm>
              <a:off x="2464115" y="3260792"/>
              <a:ext cx="51927" cy="1061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0" y="0"/>
                </a:cxn>
                <a:cxn ang="0">
                  <a:pos x="8" y="0"/>
                </a:cxn>
                <a:cxn ang="0">
                  <a:pos x="4" y="2"/>
                </a:cxn>
                <a:cxn ang="0">
                  <a:pos x="0" y="2"/>
                </a:cxn>
              </a:cxnLst>
              <a:rect l="0" t="0" r="r" b="b"/>
              <a:pathLst>
                <a:path w="10" h="2">
                  <a:moveTo>
                    <a:pt x="0" y="2"/>
                  </a:moveTo>
                  <a:lnTo>
                    <a:pt x="10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8" name="Freeform 1354"/>
            <p:cNvSpPr>
              <a:spLocks/>
            </p:cNvSpPr>
            <p:nvPr/>
          </p:nvSpPr>
          <p:spPr bwMode="auto">
            <a:xfrm>
              <a:off x="2765290" y="2984845"/>
              <a:ext cx="67504" cy="1592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3"/>
                </a:cxn>
                <a:cxn ang="0">
                  <a:pos x="13" y="3"/>
                </a:cxn>
                <a:cxn ang="0">
                  <a:pos x="6" y="0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13" h="3">
                  <a:moveTo>
                    <a:pt x="0" y="0"/>
                  </a:moveTo>
                  <a:lnTo>
                    <a:pt x="6" y="3"/>
                  </a:lnTo>
                  <a:lnTo>
                    <a:pt x="13" y="3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9" name="Freeform 1355"/>
            <p:cNvSpPr>
              <a:spLocks/>
            </p:cNvSpPr>
            <p:nvPr/>
          </p:nvSpPr>
          <p:spPr bwMode="auto">
            <a:xfrm>
              <a:off x="2744519" y="3069752"/>
              <a:ext cx="41542" cy="2653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4" y="5"/>
                </a:cxn>
                <a:cxn ang="0">
                  <a:pos x="8" y="2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0" y="2"/>
                </a:cxn>
              </a:cxnLst>
              <a:rect l="0" t="0" r="r" b="b"/>
              <a:pathLst>
                <a:path w="8" h="5">
                  <a:moveTo>
                    <a:pt x="0" y="2"/>
                  </a:moveTo>
                  <a:lnTo>
                    <a:pt x="4" y="5"/>
                  </a:lnTo>
                  <a:lnTo>
                    <a:pt x="8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0" name="Freeform 1356"/>
            <p:cNvSpPr>
              <a:spLocks/>
            </p:cNvSpPr>
            <p:nvPr/>
          </p:nvSpPr>
          <p:spPr bwMode="auto">
            <a:xfrm>
              <a:off x="2562776" y="2618684"/>
              <a:ext cx="41542" cy="1061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8" y="0"/>
                </a:cxn>
                <a:cxn ang="0">
                  <a:pos x="4" y="0"/>
                </a:cxn>
                <a:cxn ang="0">
                  <a:pos x="2" y="2"/>
                </a:cxn>
                <a:cxn ang="0">
                  <a:pos x="0" y="2"/>
                </a:cxn>
              </a:cxnLst>
              <a:rect l="0" t="0" r="r" b="b"/>
              <a:pathLst>
                <a:path w="8" h="2">
                  <a:moveTo>
                    <a:pt x="0" y="2"/>
                  </a:moveTo>
                  <a:lnTo>
                    <a:pt x="8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1" name="Freeform 1357"/>
            <p:cNvSpPr>
              <a:spLocks/>
            </p:cNvSpPr>
            <p:nvPr/>
          </p:nvSpPr>
          <p:spPr bwMode="auto">
            <a:xfrm>
              <a:off x="2625088" y="2629298"/>
              <a:ext cx="20771" cy="10613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2"/>
                </a:cxn>
                <a:cxn ang="0">
                  <a:pos x="4" y="0"/>
                </a:cxn>
                <a:cxn ang="0">
                  <a:pos x="2" y="0"/>
                </a:cxn>
              </a:cxnLst>
              <a:rect l="0" t="0" r="r" b="b"/>
              <a:pathLst>
                <a:path w="4" h="2">
                  <a:moveTo>
                    <a:pt x="2" y="0"/>
                  </a:moveTo>
                  <a:lnTo>
                    <a:pt x="0" y="2"/>
                  </a:lnTo>
                  <a:lnTo>
                    <a:pt x="4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2" name="Freeform 1358"/>
            <p:cNvSpPr>
              <a:spLocks/>
            </p:cNvSpPr>
            <p:nvPr/>
          </p:nvSpPr>
          <p:spPr bwMode="auto">
            <a:xfrm>
              <a:off x="2853567" y="2937085"/>
              <a:ext cx="150588" cy="143280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0" y="21"/>
                </a:cxn>
                <a:cxn ang="0">
                  <a:pos x="19" y="21"/>
                </a:cxn>
                <a:cxn ang="0">
                  <a:pos x="14" y="25"/>
                </a:cxn>
                <a:cxn ang="0">
                  <a:pos x="19" y="25"/>
                </a:cxn>
                <a:cxn ang="0">
                  <a:pos x="21" y="21"/>
                </a:cxn>
                <a:cxn ang="0">
                  <a:pos x="23" y="21"/>
                </a:cxn>
                <a:cxn ang="0">
                  <a:pos x="21" y="25"/>
                </a:cxn>
                <a:cxn ang="0">
                  <a:pos x="23" y="25"/>
                </a:cxn>
                <a:cxn ang="0">
                  <a:pos x="23" y="27"/>
                </a:cxn>
                <a:cxn ang="0">
                  <a:pos x="27" y="27"/>
                </a:cxn>
                <a:cxn ang="0">
                  <a:pos x="29" y="21"/>
                </a:cxn>
                <a:cxn ang="0">
                  <a:pos x="27" y="21"/>
                </a:cxn>
                <a:cxn ang="0">
                  <a:pos x="29" y="18"/>
                </a:cxn>
                <a:cxn ang="0">
                  <a:pos x="23" y="21"/>
                </a:cxn>
                <a:cxn ang="0">
                  <a:pos x="29" y="16"/>
                </a:cxn>
                <a:cxn ang="0">
                  <a:pos x="27" y="16"/>
                </a:cxn>
                <a:cxn ang="0">
                  <a:pos x="29" y="12"/>
                </a:cxn>
                <a:cxn ang="0">
                  <a:pos x="21" y="12"/>
                </a:cxn>
                <a:cxn ang="0">
                  <a:pos x="21" y="9"/>
                </a:cxn>
                <a:cxn ang="0">
                  <a:pos x="21" y="7"/>
                </a:cxn>
                <a:cxn ang="0">
                  <a:pos x="14" y="9"/>
                </a:cxn>
                <a:cxn ang="0">
                  <a:pos x="23" y="0"/>
                </a:cxn>
                <a:cxn ang="0">
                  <a:pos x="21" y="0"/>
                </a:cxn>
                <a:cxn ang="0">
                  <a:pos x="6" y="16"/>
                </a:cxn>
                <a:cxn ang="0">
                  <a:pos x="2" y="18"/>
                </a:cxn>
                <a:cxn ang="0">
                  <a:pos x="0" y="18"/>
                </a:cxn>
              </a:cxnLst>
              <a:rect l="0" t="0" r="r" b="b"/>
              <a:pathLst>
                <a:path w="29" h="27">
                  <a:moveTo>
                    <a:pt x="0" y="18"/>
                  </a:moveTo>
                  <a:lnTo>
                    <a:pt x="0" y="21"/>
                  </a:lnTo>
                  <a:lnTo>
                    <a:pt x="19" y="21"/>
                  </a:lnTo>
                  <a:lnTo>
                    <a:pt x="14" y="25"/>
                  </a:lnTo>
                  <a:lnTo>
                    <a:pt x="19" y="25"/>
                  </a:lnTo>
                  <a:lnTo>
                    <a:pt x="21" y="21"/>
                  </a:lnTo>
                  <a:lnTo>
                    <a:pt x="23" y="21"/>
                  </a:lnTo>
                  <a:lnTo>
                    <a:pt x="21" y="25"/>
                  </a:lnTo>
                  <a:lnTo>
                    <a:pt x="23" y="25"/>
                  </a:lnTo>
                  <a:lnTo>
                    <a:pt x="23" y="27"/>
                  </a:lnTo>
                  <a:lnTo>
                    <a:pt x="27" y="27"/>
                  </a:lnTo>
                  <a:lnTo>
                    <a:pt x="29" y="21"/>
                  </a:lnTo>
                  <a:lnTo>
                    <a:pt x="27" y="21"/>
                  </a:lnTo>
                  <a:lnTo>
                    <a:pt x="29" y="18"/>
                  </a:lnTo>
                  <a:lnTo>
                    <a:pt x="23" y="21"/>
                  </a:lnTo>
                  <a:lnTo>
                    <a:pt x="29" y="16"/>
                  </a:lnTo>
                  <a:lnTo>
                    <a:pt x="27" y="16"/>
                  </a:lnTo>
                  <a:lnTo>
                    <a:pt x="29" y="12"/>
                  </a:lnTo>
                  <a:lnTo>
                    <a:pt x="21" y="12"/>
                  </a:lnTo>
                  <a:lnTo>
                    <a:pt x="21" y="9"/>
                  </a:lnTo>
                  <a:lnTo>
                    <a:pt x="21" y="7"/>
                  </a:lnTo>
                  <a:lnTo>
                    <a:pt x="14" y="9"/>
                  </a:lnTo>
                  <a:lnTo>
                    <a:pt x="23" y="0"/>
                  </a:lnTo>
                  <a:lnTo>
                    <a:pt x="21" y="0"/>
                  </a:lnTo>
                  <a:lnTo>
                    <a:pt x="6" y="16"/>
                  </a:lnTo>
                  <a:lnTo>
                    <a:pt x="2" y="18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3" name="Freeform 1359"/>
            <p:cNvSpPr>
              <a:spLocks/>
            </p:cNvSpPr>
            <p:nvPr/>
          </p:nvSpPr>
          <p:spPr bwMode="auto">
            <a:xfrm>
              <a:off x="2516043" y="2523164"/>
              <a:ext cx="150588" cy="68987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6" y="11"/>
                </a:cxn>
                <a:cxn ang="0">
                  <a:pos x="6" y="13"/>
                </a:cxn>
                <a:cxn ang="0">
                  <a:pos x="15" y="11"/>
                </a:cxn>
                <a:cxn ang="0">
                  <a:pos x="17" y="11"/>
                </a:cxn>
                <a:cxn ang="0">
                  <a:pos x="23" y="13"/>
                </a:cxn>
                <a:cxn ang="0">
                  <a:pos x="29" y="11"/>
                </a:cxn>
                <a:cxn ang="0">
                  <a:pos x="17" y="2"/>
                </a:cxn>
                <a:cxn ang="0">
                  <a:pos x="17" y="0"/>
                </a:cxn>
                <a:cxn ang="0">
                  <a:pos x="13" y="4"/>
                </a:cxn>
                <a:cxn ang="0">
                  <a:pos x="6" y="11"/>
                </a:cxn>
                <a:cxn ang="0">
                  <a:pos x="2" y="11"/>
                </a:cxn>
                <a:cxn ang="0">
                  <a:pos x="0" y="11"/>
                </a:cxn>
              </a:cxnLst>
              <a:rect l="0" t="0" r="r" b="b"/>
              <a:pathLst>
                <a:path w="29" h="13">
                  <a:moveTo>
                    <a:pt x="0" y="11"/>
                  </a:moveTo>
                  <a:lnTo>
                    <a:pt x="6" y="11"/>
                  </a:lnTo>
                  <a:lnTo>
                    <a:pt x="6" y="13"/>
                  </a:lnTo>
                  <a:lnTo>
                    <a:pt x="15" y="11"/>
                  </a:lnTo>
                  <a:lnTo>
                    <a:pt x="17" y="11"/>
                  </a:lnTo>
                  <a:lnTo>
                    <a:pt x="23" y="13"/>
                  </a:lnTo>
                  <a:lnTo>
                    <a:pt x="29" y="11"/>
                  </a:lnTo>
                  <a:lnTo>
                    <a:pt x="17" y="2"/>
                  </a:lnTo>
                  <a:lnTo>
                    <a:pt x="17" y="0"/>
                  </a:lnTo>
                  <a:lnTo>
                    <a:pt x="13" y="4"/>
                  </a:lnTo>
                  <a:lnTo>
                    <a:pt x="6" y="11"/>
                  </a:lnTo>
                  <a:lnTo>
                    <a:pt x="2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4" name="Freeform 1360"/>
            <p:cNvSpPr>
              <a:spLocks/>
            </p:cNvSpPr>
            <p:nvPr/>
          </p:nvSpPr>
          <p:spPr bwMode="auto">
            <a:xfrm>
              <a:off x="2786061" y="2475404"/>
              <a:ext cx="46734" cy="21227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9" y="0"/>
                </a:cxn>
                <a:cxn ang="0">
                  <a:pos x="5" y="0"/>
                </a:cxn>
                <a:cxn ang="0">
                  <a:pos x="2" y="2"/>
                </a:cxn>
                <a:cxn ang="0">
                  <a:pos x="0" y="2"/>
                </a:cxn>
              </a:cxnLst>
              <a:rect l="0" t="0" r="r" b="b"/>
              <a:pathLst>
                <a:path w="9" h="4">
                  <a:moveTo>
                    <a:pt x="0" y="2"/>
                  </a:moveTo>
                  <a:lnTo>
                    <a:pt x="0" y="4"/>
                  </a:lnTo>
                  <a:lnTo>
                    <a:pt x="2" y="4"/>
                  </a:ln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5" name="Freeform 1361"/>
            <p:cNvSpPr>
              <a:spLocks/>
            </p:cNvSpPr>
            <p:nvPr/>
          </p:nvSpPr>
          <p:spPr bwMode="auto">
            <a:xfrm>
              <a:off x="2635474" y="2316204"/>
              <a:ext cx="410222" cy="313094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2" y="16"/>
                </a:cxn>
                <a:cxn ang="0">
                  <a:pos x="8" y="18"/>
                </a:cxn>
                <a:cxn ang="0">
                  <a:pos x="23" y="18"/>
                </a:cxn>
                <a:cxn ang="0">
                  <a:pos x="25" y="23"/>
                </a:cxn>
                <a:cxn ang="0">
                  <a:pos x="34" y="18"/>
                </a:cxn>
                <a:cxn ang="0">
                  <a:pos x="40" y="23"/>
                </a:cxn>
                <a:cxn ang="0">
                  <a:pos x="34" y="25"/>
                </a:cxn>
                <a:cxn ang="0">
                  <a:pos x="40" y="25"/>
                </a:cxn>
                <a:cxn ang="0">
                  <a:pos x="42" y="25"/>
                </a:cxn>
                <a:cxn ang="0">
                  <a:pos x="46" y="30"/>
                </a:cxn>
                <a:cxn ang="0">
                  <a:pos x="46" y="34"/>
                </a:cxn>
                <a:cxn ang="0">
                  <a:pos x="31" y="39"/>
                </a:cxn>
                <a:cxn ang="0">
                  <a:pos x="34" y="41"/>
                </a:cxn>
                <a:cxn ang="0">
                  <a:pos x="29" y="43"/>
                </a:cxn>
                <a:cxn ang="0">
                  <a:pos x="21" y="41"/>
                </a:cxn>
                <a:cxn ang="0">
                  <a:pos x="15" y="48"/>
                </a:cxn>
                <a:cxn ang="0">
                  <a:pos x="23" y="48"/>
                </a:cxn>
                <a:cxn ang="0">
                  <a:pos x="31" y="50"/>
                </a:cxn>
                <a:cxn ang="0">
                  <a:pos x="34" y="50"/>
                </a:cxn>
                <a:cxn ang="0">
                  <a:pos x="34" y="57"/>
                </a:cxn>
                <a:cxn ang="0">
                  <a:pos x="42" y="59"/>
                </a:cxn>
                <a:cxn ang="0">
                  <a:pos x="52" y="59"/>
                </a:cxn>
                <a:cxn ang="0">
                  <a:pos x="46" y="52"/>
                </a:cxn>
                <a:cxn ang="0">
                  <a:pos x="46" y="50"/>
                </a:cxn>
                <a:cxn ang="0">
                  <a:pos x="54" y="57"/>
                </a:cxn>
                <a:cxn ang="0">
                  <a:pos x="61" y="57"/>
                </a:cxn>
                <a:cxn ang="0">
                  <a:pos x="63" y="52"/>
                </a:cxn>
                <a:cxn ang="0">
                  <a:pos x="61" y="50"/>
                </a:cxn>
                <a:cxn ang="0">
                  <a:pos x="63" y="48"/>
                </a:cxn>
                <a:cxn ang="0">
                  <a:pos x="56" y="41"/>
                </a:cxn>
                <a:cxn ang="0">
                  <a:pos x="61" y="39"/>
                </a:cxn>
                <a:cxn ang="0">
                  <a:pos x="65" y="41"/>
                </a:cxn>
                <a:cxn ang="0">
                  <a:pos x="65" y="43"/>
                </a:cxn>
                <a:cxn ang="0">
                  <a:pos x="69" y="43"/>
                </a:cxn>
                <a:cxn ang="0">
                  <a:pos x="79" y="34"/>
                </a:cxn>
                <a:cxn ang="0">
                  <a:pos x="71" y="30"/>
                </a:cxn>
                <a:cxn ang="0">
                  <a:pos x="65" y="30"/>
                </a:cxn>
                <a:cxn ang="0">
                  <a:pos x="63" y="25"/>
                </a:cxn>
                <a:cxn ang="0">
                  <a:pos x="65" y="25"/>
                </a:cxn>
                <a:cxn ang="0">
                  <a:pos x="71" y="23"/>
                </a:cxn>
                <a:cxn ang="0">
                  <a:pos x="71" y="18"/>
                </a:cxn>
                <a:cxn ang="0">
                  <a:pos x="63" y="14"/>
                </a:cxn>
                <a:cxn ang="0">
                  <a:pos x="54" y="9"/>
                </a:cxn>
                <a:cxn ang="0">
                  <a:pos x="56" y="7"/>
                </a:cxn>
                <a:cxn ang="0">
                  <a:pos x="46" y="7"/>
                </a:cxn>
                <a:cxn ang="0">
                  <a:pos x="31" y="9"/>
                </a:cxn>
                <a:cxn ang="0">
                  <a:pos x="38" y="5"/>
                </a:cxn>
                <a:cxn ang="0">
                  <a:pos x="31" y="0"/>
                </a:cxn>
                <a:cxn ang="0">
                  <a:pos x="29" y="0"/>
                </a:cxn>
                <a:cxn ang="0">
                  <a:pos x="21" y="0"/>
                </a:cxn>
                <a:cxn ang="0">
                  <a:pos x="8" y="5"/>
                </a:cxn>
                <a:cxn ang="0">
                  <a:pos x="4" y="7"/>
                </a:cxn>
                <a:cxn ang="0">
                  <a:pos x="0" y="7"/>
                </a:cxn>
                <a:cxn ang="0">
                  <a:pos x="0" y="9"/>
                </a:cxn>
              </a:cxnLst>
              <a:rect l="0" t="0" r="r" b="b"/>
              <a:pathLst>
                <a:path w="79" h="59">
                  <a:moveTo>
                    <a:pt x="0" y="9"/>
                  </a:moveTo>
                  <a:lnTo>
                    <a:pt x="2" y="16"/>
                  </a:lnTo>
                  <a:lnTo>
                    <a:pt x="8" y="18"/>
                  </a:lnTo>
                  <a:lnTo>
                    <a:pt x="23" y="18"/>
                  </a:lnTo>
                  <a:lnTo>
                    <a:pt x="25" y="23"/>
                  </a:lnTo>
                  <a:lnTo>
                    <a:pt x="34" y="18"/>
                  </a:lnTo>
                  <a:lnTo>
                    <a:pt x="40" y="23"/>
                  </a:lnTo>
                  <a:lnTo>
                    <a:pt x="34" y="25"/>
                  </a:lnTo>
                  <a:lnTo>
                    <a:pt x="40" y="25"/>
                  </a:lnTo>
                  <a:lnTo>
                    <a:pt x="42" y="25"/>
                  </a:lnTo>
                  <a:lnTo>
                    <a:pt x="46" y="30"/>
                  </a:lnTo>
                  <a:lnTo>
                    <a:pt x="46" y="34"/>
                  </a:lnTo>
                  <a:lnTo>
                    <a:pt x="31" y="39"/>
                  </a:lnTo>
                  <a:lnTo>
                    <a:pt x="34" y="41"/>
                  </a:lnTo>
                  <a:lnTo>
                    <a:pt x="29" y="43"/>
                  </a:lnTo>
                  <a:lnTo>
                    <a:pt x="21" y="41"/>
                  </a:lnTo>
                  <a:lnTo>
                    <a:pt x="15" y="48"/>
                  </a:lnTo>
                  <a:lnTo>
                    <a:pt x="23" y="48"/>
                  </a:lnTo>
                  <a:lnTo>
                    <a:pt x="31" y="50"/>
                  </a:lnTo>
                  <a:lnTo>
                    <a:pt x="34" y="50"/>
                  </a:lnTo>
                  <a:lnTo>
                    <a:pt x="34" y="57"/>
                  </a:lnTo>
                  <a:lnTo>
                    <a:pt x="42" y="59"/>
                  </a:lnTo>
                  <a:lnTo>
                    <a:pt x="52" y="59"/>
                  </a:lnTo>
                  <a:lnTo>
                    <a:pt x="46" y="52"/>
                  </a:lnTo>
                  <a:lnTo>
                    <a:pt x="46" y="50"/>
                  </a:lnTo>
                  <a:lnTo>
                    <a:pt x="54" y="57"/>
                  </a:lnTo>
                  <a:lnTo>
                    <a:pt x="61" y="57"/>
                  </a:lnTo>
                  <a:lnTo>
                    <a:pt x="63" y="52"/>
                  </a:lnTo>
                  <a:lnTo>
                    <a:pt x="61" y="50"/>
                  </a:lnTo>
                  <a:lnTo>
                    <a:pt x="63" y="48"/>
                  </a:lnTo>
                  <a:lnTo>
                    <a:pt x="56" y="41"/>
                  </a:lnTo>
                  <a:lnTo>
                    <a:pt x="61" y="39"/>
                  </a:lnTo>
                  <a:lnTo>
                    <a:pt x="65" y="41"/>
                  </a:lnTo>
                  <a:lnTo>
                    <a:pt x="65" y="43"/>
                  </a:lnTo>
                  <a:lnTo>
                    <a:pt x="69" y="43"/>
                  </a:lnTo>
                  <a:lnTo>
                    <a:pt x="79" y="34"/>
                  </a:lnTo>
                  <a:lnTo>
                    <a:pt x="71" y="30"/>
                  </a:lnTo>
                  <a:lnTo>
                    <a:pt x="65" y="30"/>
                  </a:lnTo>
                  <a:lnTo>
                    <a:pt x="63" y="25"/>
                  </a:lnTo>
                  <a:lnTo>
                    <a:pt x="65" y="25"/>
                  </a:lnTo>
                  <a:lnTo>
                    <a:pt x="71" y="23"/>
                  </a:lnTo>
                  <a:lnTo>
                    <a:pt x="71" y="18"/>
                  </a:lnTo>
                  <a:lnTo>
                    <a:pt x="63" y="14"/>
                  </a:lnTo>
                  <a:lnTo>
                    <a:pt x="54" y="9"/>
                  </a:lnTo>
                  <a:lnTo>
                    <a:pt x="56" y="7"/>
                  </a:lnTo>
                  <a:lnTo>
                    <a:pt x="46" y="7"/>
                  </a:lnTo>
                  <a:lnTo>
                    <a:pt x="31" y="9"/>
                  </a:lnTo>
                  <a:lnTo>
                    <a:pt x="38" y="5"/>
                  </a:lnTo>
                  <a:lnTo>
                    <a:pt x="31" y="0"/>
                  </a:lnTo>
                  <a:lnTo>
                    <a:pt x="29" y="0"/>
                  </a:lnTo>
                  <a:lnTo>
                    <a:pt x="21" y="0"/>
                  </a:lnTo>
                  <a:lnTo>
                    <a:pt x="8" y="5"/>
                  </a:lnTo>
                  <a:lnTo>
                    <a:pt x="4" y="7"/>
                  </a:lnTo>
                  <a:lnTo>
                    <a:pt x="0" y="7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6" name="Freeform 1362"/>
            <p:cNvSpPr>
              <a:spLocks/>
            </p:cNvSpPr>
            <p:nvPr/>
          </p:nvSpPr>
          <p:spPr bwMode="auto">
            <a:xfrm>
              <a:off x="2832796" y="2316204"/>
              <a:ext cx="72698" cy="3714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5"/>
                </a:cxn>
                <a:cxn ang="0">
                  <a:pos x="2" y="7"/>
                </a:cxn>
                <a:cxn ang="0">
                  <a:pos x="10" y="7"/>
                </a:cxn>
                <a:cxn ang="0">
                  <a:pos x="14" y="5"/>
                </a:cxn>
                <a:cxn ang="0">
                  <a:pos x="8" y="3"/>
                </a:cxn>
                <a:cxn ang="0">
                  <a:pos x="2" y="0"/>
                </a:cxn>
              </a:cxnLst>
              <a:rect l="0" t="0" r="r" b="b"/>
              <a:pathLst>
                <a:path w="14" h="7">
                  <a:moveTo>
                    <a:pt x="2" y="0"/>
                  </a:moveTo>
                  <a:lnTo>
                    <a:pt x="0" y="5"/>
                  </a:lnTo>
                  <a:lnTo>
                    <a:pt x="2" y="7"/>
                  </a:lnTo>
                  <a:lnTo>
                    <a:pt x="10" y="7"/>
                  </a:lnTo>
                  <a:lnTo>
                    <a:pt x="14" y="5"/>
                  </a:lnTo>
                  <a:lnTo>
                    <a:pt x="8" y="3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7" name="Freeform 1363"/>
            <p:cNvSpPr>
              <a:spLocks/>
            </p:cNvSpPr>
            <p:nvPr/>
          </p:nvSpPr>
          <p:spPr bwMode="auto">
            <a:xfrm>
              <a:off x="2604318" y="2294977"/>
              <a:ext cx="41542" cy="10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2"/>
                </a:cxn>
                <a:cxn ang="0">
                  <a:pos x="8" y="0"/>
                </a:cxn>
                <a:cxn ang="0">
                  <a:pos x="6" y="0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8" h="2">
                  <a:moveTo>
                    <a:pt x="0" y="0"/>
                  </a:moveTo>
                  <a:lnTo>
                    <a:pt x="6" y="2"/>
                  </a:lnTo>
                  <a:lnTo>
                    <a:pt x="8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8" name="Freeform 1364"/>
            <p:cNvSpPr>
              <a:spLocks/>
            </p:cNvSpPr>
            <p:nvPr/>
          </p:nvSpPr>
          <p:spPr bwMode="auto">
            <a:xfrm>
              <a:off x="2645860" y="2257830"/>
              <a:ext cx="238863" cy="4776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0" y="0"/>
                </a:cxn>
                <a:cxn ang="0">
                  <a:pos x="4" y="2"/>
                </a:cxn>
                <a:cxn ang="0">
                  <a:pos x="13" y="2"/>
                </a:cxn>
                <a:cxn ang="0">
                  <a:pos x="6" y="9"/>
                </a:cxn>
                <a:cxn ang="0">
                  <a:pos x="11" y="9"/>
                </a:cxn>
                <a:cxn ang="0">
                  <a:pos x="27" y="9"/>
                </a:cxn>
                <a:cxn ang="0">
                  <a:pos x="32" y="9"/>
                </a:cxn>
                <a:cxn ang="0">
                  <a:pos x="36" y="9"/>
                </a:cxn>
                <a:cxn ang="0">
                  <a:pos x="40" y="9"/>
                </a:cxn>
                <a:cxn ang="0">
                  <a:pos x="46" y="7"/>
                </a:cxn>
                <a:cxn ang="0">
                  <a:pos x="21" y="2"/>
                </a:cxn>
                <a:cxn ang="0">
                  <a:pos x="19" y="2"/>
                </a:cxn>
                <a:cxn ang="0">
                  <a:pos x="19" y="0"/>
                </a:cxn>
                <a:cxn ang="0">
                  <a:pos x="11" y="0"/>
                </a:cxn>
                <a:cxn ang="0">
                  <a:pos x="4" y="0"/>
                </a:cxn>
              </a:cxnLst>
              <a:rect l="0" t="0" r="r" b="b"/>
              <a:pathLst>
                <a:path w="46" h="9">
                  <a:moveTo>
                    <a:pt x="4" y="0"/>
                  </a:moveTo>
                  <a:lnTo>
                    <a:pt x="0" y="0"/>
                  </a:lnTo>
                  <a:lnTo>
                    <a:pt x="4" y="2"/>
                  </a:lnTo>
                  <a:lnTo>
                    <a:pt x="13" y="2"/>
                  </a:lnTo>
                  <a:lnTo>
                    <a:pt x="6" y="9"/>
                  </a:lnTo>
                  <a:lnTo>
                    <a:pt x="11" y="9"/>
                  </a:lnTo>
                  <a:lnTo>
                    <a:pt x="27" y="9"/>
                  </a:lnTo>
                  <a:lnTo>
                    <a:pt x="32" y="9"/>
                  </a:lnTo>
                  <a:lnTo>
                    <a:pt x="36" y="9"/>
                  </a:lnTo>
                  <a:lnTo>
                    <a:pt x="40" y="9"/>
                  </a:lnTo>
                  <a:lnTo>
                    <a:pt x="46" y="7"/>
                  </a:lnTo>
                  <a:lnTo>
                    <a:pt x="21" y="2"/>
                  </a:lnTo>
                  <a:lnTo>
                    <a:pt x="19" y="2"/>
                  </a:lnTo>
                  <a:lnTo>
                    <a:pt x="19" y="0"/>
                  </a:lnTo>
                  <a:lnTo>
                    <a:pt x="11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9" name="Freeform 1365"/>
            <p:cNvSpPr>
              <a:spLocks/>
            </p:cNvSpPr>
            <p:nvPr/>
          </p:nvSpPr>
          <p:spPr bwMode="auto">
            <a:xfrm>
              <a:off x="2754906" y="2162310"/>
              <a:ext cx="129817" cy="58373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2" y="5"/>
                </a:cxn>
                <a:cxn ang="0">
                  <a:pos x="0" y="9"/>
                </a:cxn>
                <a:cxn ang="0">
                  <a:pos x="0" y="11"/>
                </a:cxn>
                <a:cxn ang="0">
                  <a:pos x="8" y="11"/>
                </a:cxn>
                <a:cxn ang="0">
                  <a:pos x="23" y="5"/>
                </a:cxn>
                <a:cxn ang="0">
                  <a:pos x="25" y="2"/>
                </a:cxn>
                <a:cxn ang="0">
                  <a:pos x="19" y="2"/>
                </a:cxn>
                <a:cxn ang="0">
                  <a:pos x="17" y="0"/>
                </a:cxn>
                <a:cxn ang="0">
                  <a:pos x="11" y="0"/>
                </a:cxn>
                <a:cxn ang="0">
                  <a:pos x="6" y="2"/>
                </a:cxn>
                <a:cxn ang="0">
                  <a:pos x="2" y="2"/>
                </a:cxn>
              </a:cxnLst>
              <a:rect l="0" t="0" r="r" b="b"/>
              <a:pathLst>
                <a:path w="25" h="11">
                  <a:moveTo>
                    <a:pt x="2" y="2"/>
                  </a:moveTo>
                  <a:lnTo>
                    <a:pt x="2" y="5"/>
                  </a:lnTo>
                  <a:lnTo>
                    <a:pt x="0" y="9"/>
                  </a:lnTo>
                  <a:lnTo>
                    <a:pt x="0" y="11"/>
                  </a:lnTo>
                  <a:lnTo>
                    <a:pt x="8" y="11"/>
                  </a:lnTo>
                  <a:lnTo>
                    <a:pt x="23" y="5"/>
                  </a:lnTo>
                  <a:lnTo>
                    <a:pt x="25" y="2"/>
                  </a:lnTo>
                  <a:lnTo>
                    <a:pt x="19" y="2"/>
                  </a:lnTo>
                  <a:lnTo>
                    <a:pt x="17" y="0"/>
                  </a:lnTo>
                  <a:lnTo>
                    <a:pt x="11" y="0"/>
                  </a:lnTo>
                  <a:lnTo>
                    <a:pt x="6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0" name="Freeform 1366"/>
            <p:cNvSpPr>
              <a:spLocks/>
            </p:cNvSpPr>
            <p:nvPr/>
          </p:nvSpPr>
          <p:spPr bwMode="auto">
            <a:xfrm>
              <a:off x="2754906" y="2125163"/>
              <a:ext cx="576387" cy="143280"/>
            </a:xfrm>
            <a:custGeom>
              <a:avLst/>
              <a:gdLst/>
              <a:ahLst/>
              <a:cxnLst>
                <a:cxn ang="0">
                  <a:pos x="23" y="7"/>
                </a:cxn>
                <a:cxn ang="0">
                  <a:pos x="25" y="9"/>
                </a:cxn>
                <a:cxn ang="0">
                  <a:pos x="31" y="9"/>
                </a:cxn>
                <a:cxn ang="0">
                  <a:pos x="25" y="12"/>
                </a:cxn>
                <a:cxn ang="0">
                  <a:pos x="29" y="12"/>
                </a:cxn>
                <a:cxn ang="0">
                  <a:pos x="29" y="16"/>
                </a:cxn>
                <a:cxn ang="0">
                  <a:pos x="11" y="18"/>
                </a:cxn>
                <a:cxn ang="0">
                  <a:pos x="2" y="25"/>
                </a:cxn>
                <a:cxn ang="0">
                  <a:pos x="0" y="25"/>
                </a:cxn>
                <a:cxn ang="0">
                  <a:pos x="25" y="25"/>
                </a:cxn>
                <a:cxn ang="0">
                  <a:pos x="25" y="27"/>
                </a:cxn>
                <a:cxn ang="0">
                  <a:pos x="40" y="25"/>
                </a:cxn>
                <a:cxn ang="0">
                  <a:pos x="38" y="23"/>
                </a:cxn>
                <a:cxn ang="0">
                  <a:pos x="42" y="23"/>
                </a:cxn>
                <a:cxn ang="0">
                  <a:pos x="42" y="18"/>
                </a:cxn>
                <a:cxn ang="0">
                  <a:pos x="50" y="18"/>
                </a:cxn>
                <a:cxn ang="0">
                  <a:pos x="63" y="12"/>
                </a:cxn>
                <a:cxn ang="0">
                  <a:pos x="111" y="3"/>
                </a:cxn>
                <a:cxn ang="0">
                  <a:pos x="88" y="0"/>
                </a:cxn>
                <a:cxn ang="0">
                  <a:pos x="67" y="0"/>
                </a:cxn>
                <a:cxn ang="0">
                  <a:pos x="44" y="5"/>
                </a:cxn>
                <a:cxn ang="0">
                  <a:pos x="23" y="7"/>
                </a:cxn>
              </a:cxnLst>
              <a:rect l="0" t="0" r="r" b="b"/>
              <a:pathLst>
                <a:path w="111" h="27">
                  <a:moveTo>
                    <a:pt x="23" y="7"/>
                  </a:moveTo>
                  <a:lnTo>
                    <a:pt x="25" y="9"/>
                  </a:lnTo>
                  <a:lnTo>
                    <a:pt x="31" y="9"/>
                  </a:lnTo>
                  <a:lnTo>
                    <a:pt x="25" y="12"/>
                  </a:lnTo>
                  <a:lnTo>
                    <a:pt x="29" y="12"/>
                  </a:lnTo>
                  <a:lnTo>
                    <a:pt x="29" y="16"/>
                  </a:lnTo>
                  <a:lnTo>
                    <a:pt x="11" y="18"/>
                  </a:lnTo>
                  <a:lnTo>
                    <a:pt x="2" y="25"/>
                  </a:lnTo>
                  <a:lnTo>
                    <a:pt x="0" y="25"/>
                  </a:lnTo>
                  <a:lnTo>
                    <a:pt x="25" y="25"/>
                  </a:lnTo>
                  <a:lnTo>
                    <a:pt x="25" y="27"/>
                  </a:lnTo>
                  <a:lnTo>
                    <a:pt x="40" y="25"/>
                  </a:lnTo>
                  <a:lnTo>
                    <a:pt x="38" y="23"/>
                  </a:lnTo>
                  <a:lnTo>
                    <a:pt x="42" y="23"/>
                  </a:lnTo>
                  <a:lnTo>
                    <a:pt x="42" y="18"/>
                  </a:lnTo>
                  <a:lnTo>
                    <a:pt x="50" y="18"/>
                  </a:lnTo>
                  <a:lnTo>
                    <a:pt x="63" y="12"/>
                  </a:lnTo>
                  <a:lnTo>
                    <a:pt x="111" y="3"/>
                  </a:lnTo>
                  <a:lnTo>
                    <a:pt x="88" y="0"/>
                  </a:lnTo>
                  <a:lnTo>
                    <a:pt x="67" y="0"/>
                  </a:lnTo>
                  <a:lnTo>
                    <a:pt x="44" y="5"/>
                  </a:lnTo>
                  <a:lnTo>
                    <a:pt x="23" y="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1" name="Freeform 1367"/>
            <p:cNvSpPr>
              <a:spLocks/>
            </p:cNvSpPr>
            <p:nvPr/>
          </p:nvSpPr>
          <p:spPr bwMode="auto">
            <a:xfrm>
              <a:off x="2702979" y="2172923"/>
              <a:ext cx="10385" cy="1592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2" y="3"/>
                </a:cxn>
                <a:cxn ang="0">
                  <a:pos x="2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2" y="3"/>
                  </a:lnTo>
                  <a:lnTo>
                    <a:pt x="2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2" name="Freeform 1368"/>
            <p:cNvSpPr>
              <a:spLocks/>
            </p:cNvSpPr>
            <p:nvPr/>
          </p:nvSpPr>
          <p:spPr bwMode="auto">
            <a:xfrm>
              <a:off x="2562776" y="2210070"/>
              <a:ext cx="150588" cy="3714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0"/>
                </a:cxn>
                <a:cxn ang="0">
                  <a:pos x="0" y="0"/>
                </a:cxn>
                <a:cxn ang="0">
                  <a:pos x="4" y="2"/>
                </a:cxn>
                <a:cxn ang="0">
                  <a:pos x="12" y="2"/>
                </a:cxn>
                <a:cxn ang="0">
                  <a:pos x="12" y="7"/>
                </a:cxn>
                <a:cxn ang="0">
                  <a:pos x="29" y="2"/>
                </a:cxn>
                <a:cxn ang="0">
                  <a:pos x="22" y="0"/>
                </a:cxn>
                <a:cxn ang="0">
                  <a:pos x="16" y="2"/>
                </a:cxn>
                <a:cxn ang="0">
                  <a:pos x="14" y="2"/>
                </a:cxn>
                <a:cxn ang="0">
                  <a:pos x="16" y="0"/>
                </a:cxn>
                <a:cxn ang="0">
                  <a:pos x="14" y="0"/>
                </a:cxn>
                <a:cxn ang="0">
                  <a:pos x="6" y="0"/>
                </a:cxn>
                <a:cxn ang="0">
                  <a:pos x="0" y="0"/>
                </a:cxn>
              </a:cxnLst>
              <a:rect l="0" t="0" r="r" b="b"/>
              <a:pathLst>
                <a:path w="29" h="7">
                  <a:moveTo>
                    <a:pt x="0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4" y="2"/>
                  </a:lnTo>
                  <a:lnTo>
                    <a:pt x="12" y="2"/>
                  </a:lnTo>
                  <a:lnTo>
                    <a:pt x="12" y="7"/>
                  </a:lnTo>
                  <a:lnTo>
                    <a:pt x="29" y="2"/>
                  </a:lnTo>
                  <a:lnTo>
                    <a:pt x="22" y="0"/>
                  </a:lnTo>
                  <a:lnTo>
                    <a:pt x="16" y="2"/>
                  </a:lnTo>
                  <a:lnTo>
                    <a:pt x="14" y="2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3" name="Freeform 1369"/>
            <p:cNvSpPr>
              <a:spLocks/>
            </p:cNvSpPr>
            <p:nvPr/>
          </p:nvSpPr>
          <p:spPr bwMode="auto">
            <a:xfrm>
              <a:off x="2666630" y="2220683"/>
              <a:ext cx="77890" cy="26533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11" y="5"/>
                </a:cxn>
                <a:cxn ang="0">
                  <a:pos x="15" y="0"/>
                </a:cxn>
                <a:cxn ang="0">
                  <a:pos x="7" y="3"/>
                </a:cxn>
                <a:cxn ang="0">
                  <a:pos x="0" y="5"/>
                </a:cxn>
              </a:cxnLst>
              <a:rect l="0" t="0" r="r" b="b"/>
              <a:pathLst>
                <a:path w="15" h="5">
                  <a:moveTo>
                    <a:pt x="0" y="5"/>
                  </a:moveTo>
                  <a:lnTo>
                    <a:pt x="11" y="5"/>
                  </a:lnTo>
                  <a:lnTo>
                    <a:pt x="15" y="0"/>
                  </a:lnTo>
                  <a:lnTo>
                    <a:pt x="7" y="3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4" name="Freeform 1370"/>
            <p:cNvSpPr>
              <a:spLocks/>
            </p:cNvSpPr>
            <p:nvPr/>
          </p:nvSpPr>
          <p:spPr bwMode="auto">
            <a:xfrm>
              <a:off x="2516043" y="2247217"/>
              <a:ext cx="31156" cy="5307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4" y="0"/>
                </a:cxn>
              </a:cxnLst>
              <a:rect l="0" t="0" r="r" b="b"/>
              <a:pathLst>
                <a:path w="6">
                  <a:moveTo>
                    <a:pt x="4" y="0"/>
                  </a:moveTo>
                  <a:lnTo>
                    <a:pt x="0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5" name="Freeform 1371"/>
            <p:cNvSpPr>
              <a:spLocks/>
            </p:cNvSpPr>
            <p:nvPr/>
          </p:nvSpPr>
          <p:spPr bwMode="auto">
            <a:xfrm>
              <a:off x="2505657" y="2257830"/>
              <a:ext cx="119432" cy="3714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7"/>
                </a:cxn>
                <a:cxn ang="0">
                  <a:pos x="6" y="7"/>
                </a:cxn>
                <a:cxn ang="0">
                  <a:pos x="15" y="7"/>
                </a:cxn>
                <a:cxn ang="0">
                  <a:pos x="23" y="0"/>
                </a:cxn>
                <a:cxn ang="0">
                  <a:pos x="15" y="0"/>
                </a:cxn>
                <a:cxn ang="0">
                  <a:pos x="8" y="2"/>
                </a:cxn>
                <a:cxn ang="0">
                  <a:pos x="6" y="0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23" h="7">
                  <a:moveTo>
                    <a:pt x="0" y="0"/>
                  </a:moveTo>
                  <a:lnTo>
                    <a:pt x="0" y="7"/>
                  </a:lnTo>
                  <a:lnTo>
                    <a:pt x="6" y="7"/>
                  </a:lnTo>
                  <a:lnTo>
                    <a:pt x="15" y="7"/>
                  </a:lnTo>
                  <a:lnTo>
                    <a:pt x="23" y="0"/>
                  </a:lnTo>
                  <a:lnTo>
                    <a:pt x="15" y="0"/>
                  </a:lnTo>
                  <a:lnTo>
                    <a:pt x="8" y="2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6" name="Line 1372"/>
            <p:cNvSpPr>
              <a:spLocks noChangeShapeType="1"/>
            </p:cNvSpPr>
            <p:nvPr/>
          </p:nvSpPr>
          <p:spPr bwMode="auto">
            <a:xfrm>
              <a:off x="2474502" y="2305590"/>
              <a:ext cx="20771" cy="5307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7" name="Freeform 1373"/>
            <p:cNvSpPr>
              <a:spLocks/>
            </p:cNvSpPr>
            <p:nvPr/>
          </p:nvSpPr>
          <p:spPr bwMode="auto">
            <a:xfrm>
              <a:off x="2443344" y="2316204"/>
              <a:ext cx="119432" cy="74293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0" y="9"/>
                </a:cxn>
                <a:cxn ang="0">
                  <a:pos x="4" y="9"/>
                </a:cxn>
                <a:cxn ang="0">
                  <a:pos x="6" y="14"/>
                </a:cxn>
                <a:cxn ang="0">
                  <a:pos x="18" y="9"/>
                </a:cxn>
                <a:cxn ang="0">
                  <a:pos x="20" y="5"/>
                </a:cxn>
                <a:cxn ang="0">
                  <a:pos x="23" y="0"/>
                </a:cxn>
                <a:cxn ang="0">
                  <a:pos x="10" y="0"/>
                </a:cxn>
                <a:cxn ang="0">
                  <a:pos x="10" y="5"/>
                </a:cxn>
                <a:cxn ang="0">
                  <a:pos x="4" y="7"/>
                </a:cxn>
                <a:cxn ang="0">
                  <a:pos x="0" y="7"/>
                </a:cxn>
              </a:cxnLst>
              <a:rect l="0" t="0" r="r" b="b"/>
              <a:pathLst>
                <a:path w="23" h="14">
                  <a:moveTo>
                    <a:pt x="0" y="7"/>
                  </a:moveTo>
                  <a:lnTo>
                    <a:pt x="0" y="9"/>
                  </a:lnTo>
                  <a:lnTo>
                    <a:pt x="4" y="9"/>
                  </a:lnTo>
                  <a:lnTo>
                    <a:pt x="6" y="14"/>
                  </a:lnTo>
                  <a:lnTo>
                    <a:pt x="18" y="9"/>
                  </a:lnTo>
                  <a:lnTo>
                    <a:pt x="20" y="5"/>
                  </a:lnTo>
                  <a:lnTo>
                    <a:pt x="23" y="0"/>
                  </a:lnTo>
                  <a:lnTo>
                    <a:pt x="10" y="0"/>
                  </a:lnTo>
                  <a:lnTo>
                    <a:pt x="10" y="5"/>
                  </a:lnTo>
                  <a:lnTo>
                    <a:pt x="4" y="7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8" name="Line 1374"/>
            <p:cNvSpPr>
              <a:spLocks noChangeShapeType="1"/>
            </p:cNvSpPr>
            <p:nvPr/>
          </p:nvSpPr>
          <p:spPr bwMode="auto">
            <a:xfrm>
              <a:off x="2417382" y="2236604"/>
              <a:ext cx="88276" cy="5307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9" name="Freeform 1375"/>
            <p:cNvSpPr>
              <a:spLocks/>
            </p:cNvSpPr>
            <p:nvPr/>
          </p:nvSpPr>
          <p:spPr bwMode="auto">
            <a:xfrm>
              <a:off x="2386225" y="2220683"/>
              <a:ext cx="10385" cy="2653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5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2" h="5">
                  <a:moveTo>
                    <a:pt x="0" y="0"/>
                  </a:moveTo>
                  <a:lnTo>
                    <a:pt x="2" y="5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0" name="Freeform 1376"/>
            <p:cNvSpPr>
              <a:spLocks/>
            </p:cNvSpPr>
            <p:nvPr/>
          </p:nvSpPr>
          <p:spPr bwMode="auto">
            <a:xfrm>
              <a:off x="2396611" y="2220683"/>
              <a:ext cx="77890" cy="26533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4" y="5"/>
                </a:cxn>
                <a:cxn ang="0">
                  <a:pos x="15" y="0"/>
                </a:cxn>
                <a:cxn ang="0">
                  <a:pos x="6" y="3"/>
                </a:cxn>
                <a:cxn ang="0">
                  <a:pos x="0" y="5"/>
                </a:cxn>
              </a:cxnLst>
              <a:rect l="0" t="0" r="r" b="b"/>
              <a:pathLst>
                <a:path w="15" h="5">
                  <a:moveTo>
                    <a:pt x="0" y="5"/>
                  </a:moveTo>
                  <a:lnTo>
                    <a:pt x="4" y="5"/>
                  </a:lnTo>
                  <a:lnTo>
                    <a:pt x="15" y="0"/>
                  </a:lnTo>
                  <a:lnTo>
                    <a:pt x="6" y="3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1" name="Freeform 1377"/>
            <p:cNvSpPr>
              <a:spLocks/>
            </p:cNvSpPr>
            <p:nvPr/>
          </p:nvSpPr>
          <p:spPr bwMode="auto">
            <a:xfrm>
              <a:off x="2235637" y="2268444"/>
              <a:ext cx="51927" cy="26533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4" y="5"/>
                </a:cxn>
                <a:cxn ang="0">
                  <a:pos x="10" y="0"/>
                </a:cxn>
                <a:cxn ang="0">
                  <a:pos x="4" y="3"/>
                </a:cxn>
                <a:cxn ang="0">
                  <a:pos x="0" y="3"/>
                </a:cxn>
                <a:cxn ang="0">
                  <a:pos x="0" y="5"/>
                </a:cxn>
              </a:cxnLst>
              <a:rect l="0" t="0" r="r" b="b"/>
              <a:pathLst>
                <a:path w="10" h="5">
                  <a:moveTo>
                    <a:pt x="0" y="5"/>
                  </a:moveTo>
                  <a:lnTo>
                    <a:pt x="4" y="5"/>
                  </a:lnTo>
                  <a:lnTo>
                    <a:pt x="10" y="0"/>
                  </a:lnTo>
                  <a:lnTo>
                    <a:pt x="4" y="3"/>
                  </a:lnTo>
                  <a:lnTo>
                    <a:pt x="0" y="3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2" name="Freeform 1378"/>
            <p:cNvSpPr>
              <a:spLocks/>
            </p:cNvSpPr>
            <p:nvPr/>
          </p:nvSpPr>
          <p:spPr bwMode="auto">
            <a:xfrm>
              <a:off x="2194096" y="2247217"/>
              <a:ext cx="160974" cy="21227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8" y="4"/>
                </a:cxn>
                <a:cxn ang="0">
                  <a:pos x="18" y="2"/>
                </a:cxn>
                <a:cxn ang="0">
                  <a:pos x="20" y="4"/>
                </a:cxn>
                <a:cxn ang="0">
                  <a:pos x="31" y="0"/>
                </a:cxn>
                <a:cxn ang="0">
                  <a:pos x="20" y="0"/>
                </a:cxn>
                <a:cxn ang="0">
                  <a:pos x="10" y="2"/>
                </a:cxn>
                <a:cxn ang="0">
                  <a:pos x="2" y="2"/>
                </a:cxn>
                <a:cxn ang="0">
                  <a:pos x="0" y="4"/>
                </a:cxn>
              </a:cxnLst>
              <a:rect l="0" t="0" r="r" b="b"/>
              <a:pathLst>
                <a:path w="31" h="4">
                  <a:moveTo>
                    <a:pt x="0" y="4"/>
                  </a:moveTo>
                  <a:lnTo>
                    <a:pt x="8" y="4"/>
                  </a:lnTo>
                  <a:lnTo>
                    <a:pt x="18" y="2"/>
                  </a:lnTo>
                  <a:lnTo>
                    <a:pt x="20" y="4"/>
                  </a:lnTo>
                  <a:lnTo>
                    <a:pt x="31" y="0"/>
                  </a:lnTo>
                  <a:lnTo>
                    <a:pt x="20" y="0"/>
                  </a:lnTo>
                  <a:lnTo>
                    <a:pt x="10" y="2"/>
                  </a:lnTo>
                  <a:lnTo>
                    <a:pt x="2" y="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3" name="Freeform 1379"/>
            <p:cNvSpPr>
              <a:spLocks/>
            </p:cNvSpPr>
            <p:nvPr/>
          </p:nvSpPr>
          <p:spPr bwMode="auto">
            <a:xfrm>
              <a:off x="2256407" y="2257830"/>
              <a:ext cx="218092" cy="47760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8" y="7"/>
                </a:cxn>
                <a:cxn ang="0">
                  <a:pos x="11" y="7"/>
                </a:cxn>
                <a:cxn ang="0">
                  <a:pos x="15" y="9"/>
                </a:cxn>
                <a:cxn ang="0">
                  <a:pos x="36" y="7"/>
                </a:cxn>
                <a:cxn ang="0">
                  <a:pos x="42" y="2"/>
                </a:cxn>
                <a:cxn ang="0">
                  <a:pos x="36" y="2"/>
                </a:cxn>
                <a:cxn ang="0">
                  <a:pos x="36" y="0"/>
                </a:cxn>
                <a:cxn ang="0">
                  <a:pos x="27" y="2"/>
                </a:cxn>
                <a:cxn ang="0">
                  <a:pos x="31" y="2"/>
                </a:cxn>
                <a:cxn ang="0">
                  <a:pos x="27" y="2"/>
                </a:cxn>
                <a:cxn ang="0">
                  <a:pos x="27" y="7"/>
                </a:cxn>
                <a:cxn ang="0">
                  <a:pos x="23" y="7"/>
                </a:cxn>
                <a:cxn ang="0">
                  <a:pos x="23" y="2"/>
                </a:cxn>
                <a:cxn ang="0">
                  <a:pos x="15" y="0"/>
                </a:cxn>
                <a:cxn ang="0">
                  <a:pos x="6" y="5"/>
                </a:cxn>
                <a:cxn ang="0">
                  <a:pos x="0" y="7"/>
                </a:cxn>
              </a:cxnLst>
              <a:rect l="0" t="0" r="r" b="b"/>
              <a:pathLst>
                <a:path w="42" h="9">
                  <a:moveTo>
                    <a:pt x="0" y="7"/>
                  </a:moveTo>
                  <a:lnTo>
                    <a:pt x="8" y="7"/>
                  </a:lnTo>
                  <a:lnTo>
                    <a:pt x="11" y="7"/>
                  </a:lnTo>
                  <a:lnTo>
                    <a:pt x="15" y="9"/>
                  </a:lnTo>
                  <a:lnTo>
                    <a:pt x="36" y="7"/>
                  </a:lnTo>
                  <a:lnTo>
                    <a:pt x="42" y="2"/>
                  </a:lnTo>
                  <a:lnTo>
                    <a:pt x="36" y="2"/>
                  </a:lnTo>
                  <a:lnTo>
                    <a:pt x="36" y="0"/>
                  </a:lnTo>
                  <a:lnTo>
                    <a:pt x="27" y="2"/>
                  </a:lnTo>
                  <a:lnTo>
                    <a:pt x="31" y="2"/>
                  </a:lnTo>
                  <a:lnTo>
                    <a:pt x="27" y="2"/>
                  </a:lnTo>
                  <a:lnTo>
                    <a:pt x="27" y="7"/>
                  </a:lnTo>
                  <a:lnTo>
                    <a:pt x="23" y="7"/>
                  </a:lnTo>
                  <a:lnTo>
                    <a:pt x="23" y="2"/>
                  </a:lnTo>
                  <a:lnTo>
                    <a:pt x="15" y="0"/>
                  </a:lnTo>
                  <a:lnTo>
                    <a:pt x="6" y="5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4" name="Freeform 1380"/>
            <p:cNvSpPr>
              <a:spLocks/>
            </p:cNvSpPr>
            <p:nvPr/>
          </p:nvSpPr>
          <p:spPr bwMode="auto">
            <a:xfrm>
              <a:off x="2126591" y="2316204"/>
              <a:ext cx="301175" cy="132667"/>
            </a:xfrm>
            <a:custGeom>
              <a:avLst/>
              <a:gdLst/>
              <a:ahLst/>
              <a:cxnLst>
                <a:cxn ang="0">
                  <a:pos x="2" y="14"/>
                </a:cxn>
                <a:cxn ang="0">
                  <a:pos x="2" y="16"/>
                </a:cxn>
                <a:cxn ang="0">
                  <a:pos x="17" y="16"/>
                </a:cxn>
                <a:cxn ang="0">
                  <a:pos x="2" y="18"/>
                </a:cxn>
                <a:cxn ang="0">
                  <a:pos x="0" y="23"/>
                </a:cxn>
                <a:cxn ang="0">
                  <a:pos x="8" y="23"/>
                </a:cxn>
                <a:cxn ang="0">
                  <a:pos x="4" y="25"/>
                </a:cxn>
                <a:cxn ang="0">
                  <a:pos x="33" y="23"/>
                </a:cxn>
                <a:cxn ang="0">
                  <a:pos x="40" y="25"/>
                </a:cxn>
                <a:cxn ang="0">
                  <a:pos x="44" y="25"/>
                </a:cxn>
                <a:cxn ang="0">
                  <a:pos x="56" y="18"/>
                </a:cxn>
                <a:cxn ang="0">
                  <a:pos x="48" y="16"/>
                </a:cxn>
                <a:cxn ang="0">
                  <a:pos x="48" y="14"/>
                </a:cxn>
                <a:cxn ang="0">
                  <a:pos x="50" y="14"/>
                </a:cxn>
                <a:cxn ang="0">
                  <a:pos x="50" y="7"/>
                </a:cxn>
                <a:cxn ang="0">
                  <a:pos x="58" y="5"/>
                </a:cxn>
                <a:cxn ang="0">
                  <a:pos x="52" y="0"/>
                </a:cxn>
                <a:cxn ang="0">
                  <a:pos x="44" y="7"/>
                </a:cxn>
                <a:cxn ang="0">
                  <a:pos x="33" y="5"/>
                </a:cxn>
                <a:cxn ang="0">
                  <a:pos x="27" y="7"/>
                </a:cxn>
                <a:cxn ang="0">
                  <a:pos x="27" y="5"/>
                </a:cxn>
                <a:cxn ang="0">
                  <a:pos x="25" y="5"/>
                </a:cxn>
                <a:cxn ang="0">
                  <a:pos x="10" y="7"/>
                </a:cxn>
                <a:cxn ang="0">
                  <a:pos x="6" y="12"/>
                </a:cxn>
                <a:cxn ang="0">
                  <a:pos x="2" y="12"/>
                </a:cxn>
                <a:cxn ang="0">
                  <a:pos x="2" y="14"/>
                </a:cxn>
              </a:cxnLst>
              <a:rect l="0" t="0" r="r" b="b"/>
              <a:pathLst>
                <a:path w="58" h="25">
                  <a:moveTo>
                    <a:pt x="2" y="14"/>
                  </a:moveTo>
                  <a:lnTo>
                    <a:pt x="2" y="16"/>
                  </a:lnTo>
                  <a:lnTo>
                    <a:pt x="17" y="16"/>
                  </a:lnTo>
                  <a:lnTo>
                    <a:pt x="2" y="18"/>
                  </a:lnTo>
                  <a:lnTo>
                    <a:pt x="0" y="23"/>
                  </a:lnTo>
                  <a:lnTo>
                    <a:pt x="8" y="23"/>
                  </a:lnTo>
                  <a:lnTo>
                    <a:pt x="4" y="25"/>
                  </a:lnTo>
                  <a:lnTo>
                    <a:pt x="33" y="23"/>
                  </a:lnTo>
                  <a:lnTo>
                    <a:pt x="40" y="25"/>
                  </a:lnTo>
                  <a:lnTo>
                    <a:pt x="44" y="25"/>
                  </a:lnTo>
                  <a:lnTo>
                    <a:pt x="56" y="18"/>
                  </a:lnTo>
                  <a:lnTo>
                    <a:pt x="48" y="16"/>
                  </a:lnTo>
                  <a:lnTo>
                    <a:pt x="48" y="14"/>
                  </a:lnTo>
                  <a:lnTo>
                    <a:pt x="50" y="14"/>
                  </a:lnTo>
                  <a:lnTo>
                    <a:pt x="50" y="7"/>
                  </a:lnTo>
                  <a:lnTo>
                    <a:pt x="58" y="5"/>
                  </a:lnTo>
                  <a:lnTo>
                    <a:pt x="52" y="0"/>
                  </a:lnTo>
                  <a:lnTo>
                    <a:pt x="44" y="7"/>
                  </a:lnTo>
                  <a:lnTo>
                    <a:pt x="33" y="5"/>
                  </a:lnTo>
                  <a:lnTo>
                    <a:pt x="27" y="7"/>
                  </a:lnTo>
                  <a:lnTo>
                    <a:pt x="27" y="5"/>
                  </a:lnTo>
                  <a:lnTo>
                    <a:pt x="25" y="5"/>
                  </a:lnTo>
                  <a:lnTo>
                    <a:pt x="10" y="7"/>
                  </a:lnTo>
                  <a:lnTo>
                    <a:pt x="6" y="12"/>
                  </a:lnTo>
                  <a:lnTo>
                    <a:pt x="2" y="12"/>
                  </a:lnTo>
                  <a:lnTo>
                    <a:pt x="2" y="1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5" name="Freeform 1381"/>
            <p:cNvSpPr>
              <a:spLocks/>
            </p:cNvSpPr>
            <p:nvPr/>
          </p:nvSpPr>
          <p:spPr bwMode="auto">
            <a:xfrm>
              <a:off x="2027930" y="2305590"/>
              <a:ext cx="228479" cy="84907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4" y="11"/>
                </a:cxn>
                <a:cxn ang="0">
                  <a:pos x="4" y="16"/>
                </a:cxn>
                <a:cxn ang="0">
                  <a:pos x="13" y="16"/>
                </a:cxn>
                <a:cxn ang="0">
                  <a:pos x="23" y="9"/>
                </a:cxn>
                <a:cxn ang="0">
                  <a:pos x="44" y="7"/>
                </a:cxn>
                <a:cxn ang="0">
                  <a:pos x="40" y="2"/>
                </a:cxn>
                <a:cxn ang="0">
                  <a:pos x="29" y="0"/>
                </a:cxn>
                <a:cxn ang="0">
                  <a:pos x="15" y="2"/>
                </a:cxn>
                <a:cxn ang="0">
                  <a:pos x="15" y="7"/>
                </a:cxn>
                <a:cxn ang="0">
                  <a:pos x="7" y="9"/>
                </a:cxn>
                <a:cxn ang="0">
                  <a:pos x="0" y="11"/>
                </a:cxn>
              </a:cxnLst>
              <a:rect l="0" t="0" r="r" b="b"/>
              <a:pathLst>
                <a:path w="44" h="16">
                  <a:moveTo>
                    <a:pt x="0" y="11"/>
                  </a:moveTo>
                  <a:lnTo>
                    <a:pt x="4" y="11"/>
                  </a:lnTo>
                  <a:lnTo>
                    <a:pt x="4" y="16"/>
                  </a:lnTo>
                  <a:lnTo>
                    <a:pt x="13" y="16"/>
                  </a:lnTo>
                  <a:lnTo>
                    <a:pt x="23" y="9"/>
                  </a:lnTo>
                  <a:lnTo>
                    <a:pt x="44" y="7"/>
                  </a:lnTo>
                  <a:lnTo>
                    <a:pt x="40" y="2"/>
                  </a:lnTo>
                  <a:lnTo>
                    <a:pt x="29" y="0"/>
                  </a:lnTo>
                  <a:lnTo>
                    <a:pt x="15" y="2"/>
                  </a:lnTo>
                  <a:lnTo>
                    <a:pt x="15" y="7"/>
                  </a:lnTo>
                  <a:lnTo>
                    <a:pt x="7" y="9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6" name="Line 1382"/>
            <p:cNvSpPr>
              <a:spLocks noChangeShapeType="1"/>
            </p:cNvSpPr>
            <p:nvPr/>
          </p:nvSpPr>
          <p:spPr bwMode="auto">
            <a:xfrm>
              <a:off x="7568526" y="2830951"/>
              <a:ext cx="20771" cy="26533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7" name="Line 1383"/>
            <p:cNvSpPr>
              <a:spLocks noChangeShapeType="1"/>
            </p:cNvSpPr>
            <p:nvPr/>
          </p:nvSpPr>
          <p:spPr bwMode="auto">
            <a:xfrm>
              <a:off x="7750270" y="2905244"/>
              <a:ext cx="20771" cy="5307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8" name="Line 1384"/>
            <p:cNvSpPr>
              <a:spLocks noChangeShapeType="1"/>
            </p:cNvSpPr>
            <p:nvPr/>
          </p:nvSpPr>
          <p:spPr bwMode="auto">
            <a:xfrm>
              <a:off x="7978748" y="2937085"/>
              <a:ext cx="10385" cy="15920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9" name="Freeform 1385"/>
            <p:cNvSpPr>
              <a:spLocks/>
            </p:cNvSpPr>
            <p:nvPr/>
          </p:nvSpPr>
          <p:spPr bwMode="auto">
            <a:xfrm>
              <a:off x="7999518" y="2926471"/>
              <a:ext cx="20771" cy="10613"/>
            </a:xfrm>
            <a:custGeom>
              <a:avLst/>
              <a:gdLst/>
              <a:ahLst/>
              <a:cxnLst>
                <a:cxn ang="0">
                  <a:pos x="4" y="2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4" y="2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30" name="Line 1386"/>
            <p:cNvSpPr>
              <a:spLocks noChangeShapeType="1"/>
            </p:cNvSpPr>
            <p:nvPr/>
          </p:nvSpPr>
          <p:spPr bwMode="auto">
            <a:xfrm flipV="1">
              <a:off x="8041060" y="2915858"/>
              <a:ext cx="5193" cy="21227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31" name="Line 1387"/>
            <p:cNvSpPr>
              <a:spLocks noChangeShapeType="1"/>
            </p:cNvSpPr>
            <p:nvPr/>
          </p:nvSpPr>
          <p:spPr bwMode="auto">
            <a:xfrm flipV="1">
              <a:off x="8150107" y="2905244"/>
              <a:ext cx="5193" cy="10613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32" name="Line 1388"/>
            <p:cNvSpPr>
              <a:spLocks noChangeShapeType="1"/>
            </p:cNvSpPr>
            <p:nvPr/>
          </p:nvSpPr>
          <p:spPr bwMode="auto">
            <a:xfrm flipV="1">
              <a:off x="620712" y="2878711"/>
              <a:ext cx="41542" cy="26533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33" name="Line 1389"/>
            <p:cNvSpPr>
              <a:spLocks noChangeShapeType="1"/>
            </p:cNvSpPr>
            <p:nvPr/>
          </p:nvSpPr>
          <p:spPr bwMode="auto">
            <a:xfrm>
              <a:off x="8129336" y="2905244"/>
              <a:ext cx="20771" cy="10613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34" name="Freeform 1390"/>
            <p:cNvSpPr>
              <a:spLocks/>
            </p:cNvSpPr>
            <p:nvPr/>
          </p:nvSpPr>
          <p:spPr bwMode="auto">
            <a:xfrm>
              <a:off x="662254" y="2857484"/>
              <a:ext cx="46734" cy="31840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9" y="0"/>
                </a:cxn>
                <a:cxn ang="0">
                  <a:pos x="7" y="0"/>
                </a:cxn>
                <a:cxn ang="0">
                  <a:pos x="2" y="4"/>
                </a:cxn>
                <a:cxn ang="0">
                  <a:pos x="0" y="6"/>
                </a:cxn>
              </a:cxnLst>
              <a:rect l="0" t="0" r="r" b="b"/>
              <a:pathLst>
                <a:path w="9" h="6">
                  <a:moveTo>
                    <a:pt x="0" y="6"/>
                  </a:moveTo>
                  <a:lnTo>
                    <a:pt x="9" y="0"/>
                  </a:lnTo>
                  <a:lnTo>
                    <a:pt x="7" y="0"/>
                  </a:lnTo>
                  <a:lnTo>
                    <a:pt x="2" y="4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35" name="Freeform 1391"/>
            <p:cNvSpPr>
              <a:spLocks/>
            </p:cNvSpPr>
            <p:nvPr/>
          </p:nvSpPr>
          <p:spPr bwMode="auto">
            <a:xfrm>
              <a:off x="7739885" y="2581537"/>
              <a:ext cx="77890" cy="10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2"/>
                </a:cxn>
                <a:cxn ang="0">
                  <a:pos x="10" y="2"/>
                </a:cxn>
                <a:cxn ang="0">
                  <a:pos x="15" y="2"/>
                </a:cxn>
                <a:cxn ang="0">
                  <a:pos x="0" y="0"/>
                </a:cxn>
              </a:cxnLst>
              <a:rect l="0" t="0" r="r" b="b"/>
              <a:pathLst>
                <a:path w="15" h="2">
                  <a:moveTo>
                    <a:pt x="0" y="0"/>
                  </a:moveTo>
                  <a:lnTo>
                    <a:pt x="2" y="2"/>
                  </a:lnTo>
                  <a:lnTo>
                    <a:pt x="10" y="2"/>
                  </a:lnTo>
                  <a:lnTo>
                    <a:pt x="15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36" name="Freeform 1392"/>
            <p:cNvSpPr>
              <a:spLocks/>
            </p:cNvSpPr>
            <p:nvPr/>
          </p:nvSpPr>
          <p:spPr bwMode="auto">
            <a:xfrm>
              <a:off x="7739885" y="2581537"/>
              <a:ext cx="77890" cy="10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2"/>
                </a:cxn>
                <a:cxn ang="0">
                  <a:pos x="10" y="2"/>
                </a:cxn>
                <a:cxn ang="0">
                  <a:pos x="15" y="2"/>
                </a:cxn>
              </a:cxnLst>
              <a:rect l="0" t="0" r="r" b="b"/>
              <a:pathLst>
                <a:path w="15" h="2">
                  <a:moveTo>
                    <a:pt x="0" y="0"/>
                  </a:moveTo>
                  <a:lnTo>
                    <a:pt x="2" y="2"/>
                  </a:lnTo>
                  <a:lnTo>
                    <a:pt x="10" y="2"/>
                  </a:lnTo>
                  <a:lnTo>
                    <a:pt x="15" y="2"/>
                  </a:lnTo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37" name="Line 1393"/>
            <p:cNvSpPr>
              <a:spLocks noChangeShapeType="1"/>
            </p:cNvSpPr>
            <p:nvPr/>
          </p:nvSpPr>
          <p:spPr bwMode="auto">
            <a:xfrm flipH="1" flipV="1">
              <a:off x="7739885" y="2592151"/>
              <a:ext cx="51927" cy="10613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38" name="Freeform 1394"/>
            <p:cNvSpPr>
              <a:spLocks/>
            </p:cNvSpPr>
            <p:nvPr/>
          </p:nvSpPr>
          <p:spPr bwMode="auto">
            <a:xfrm>
              <a:off x="890732" y="2677057"/>
              <a:ext cx="46734" cy="2122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4"/>
                </a:cxn>
                <a:cxn ang="0">
                  <a:pos x="9" y="0"/>
                </a:cxn>
                <a:cxn ang="0">
                  <a:pos x="4" y="0"/>
                </a:cxn>
                <a:cxn ang="0">
                  <a:pos x="0" y="0"/>
                </a:cxn>
              </a:cxnLst>
              <a:rect l="0" t="0" r="r" b="b"/>
              <a:pathLst>
                <a:path w="9" h="4">
                  <a:moveTo>
                    <a:pt x="0" y="0"/>
                  </a:moveTo>
                  <a:lnTo>
                    <a:pt x="2" y="4"/>
                  </a:lnTo>
                  <a:lnTo>
                    <a:pt x="9" y="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39" name="Freeform 1395"/>
            <p:cNvSpPr>
              <a:spLocks/>
            </p:cNvSpPr>
            <p:nvPr/>
          </p:nvSpPr>
          <p:spPr bwMode="auto">
            <a:xfrm>
              <a:off x="1051705" y="2724818"/>
              <a:ext cx="67504" cy="47760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11" y="7"/>
                </a:cxn>
                <a:cxn ang="0">
                  <a:pos x="11" y="4"/>
                </a:cxn>
                <a:cxn ang="0">
                  <a:pos x="13" y="4"/>
                </a:cxn>
                <a:cxn ang="0">
                  <a:pos x="13" y="0"/>
                </a:cxn>
                <a:cxn ang="0">
                  <a:pos x="7" y="4"/>
                </a:cxn>
                <a:cxn ang="0">
                  <a:pos x="0" y="9"/>
                </a:cxn>
              </a:cxnLst>
              <a:rect l="0" t="0" r="r" b="b"/>
              <a:pathLst>
                <a:path w="13" h="9">
                  <a:moveTo>
                    <a:pt x="0" y="9"/>
                  </a:moveTo>
                  <a:lnTo>
                    <a:pt x="11" y="7"/>
                  </a:lnTo>
                  <a:lnTo>
                    <a:pt x="11" y="4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7" y="4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40" name="Freeform 1396"/>
            <p:cNvSpPr>
              <a:spLocks/>
            </p:cNvSpPr>
            <p:nvPr/>
          </p:nvSpPr>
          <p:spPr bwMode="auto">
            <a:xfrm>
              <a:off x="1389229" y="2857484"/>
              <a:ext cx="46734" cy="6898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2"/>
                </a:cxn>
                <a:cxn ang="0">
                  <a:pos x="0" y="9"/>
                </a:cxn>
                <a:cxn ang="0">
                  <a:pos x="2" y="13"/>
                </a:cxn>
                <a:cxn ang="0">
                  <a:pos x="2" y="9"/>
                </a:cxn>
                <a:cxn ang="0">
                  <a:pos x="9" y="0"/>
                </a:cxn>
                <a:cxn ang="0">
                  <a:pos x="4" y="0"/>
                </a:cxn>
                <a:cxn ang="0">
                  <a:pos x="2" y="0"/>
                </a:cxn>
              </a:cxnLst>
              <a:rect l="0" t="0" r="r" b="b"/>
              <a:pathLst>
                <a:path w="9" h="13">
                  <a:moveTo>
                    <a:pt x="2" y="0"/>
                  </a:moveTo>
                  <a:lnTo>
                    <a:pt x="0" y="2"/>
                  </a:lnTo>
                  <a:lnTo>
                    <a:pt x="0" y="9"/>
                  </a:lnTo>
                  <a:lnTo>
                    <a:pt x="2" y="13"/>
                  </a:lnTo>
                  <a:lnTo>
                    <a:pt x="2" y="9"/>
                  </a:lnTo>
                  <a:lnTo>
                    <a:pt x="9" y="0"/>
                  </a:lnTo>
                  <a:lnTo>
                    <a:pt x="4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41" name="Freeform 1397"/>
            <p:cNvSpPr>
              <a:spLocks/>
            </p:cNvSpPr>
            <p:nvPr/>
          </p:nvSpPr>
          <p:spPr bwMode="auto">
            <a:xfrm>
              <a:off x="1435963" y="2953005"/>
              <a:ext cx="51927" cy="7960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2" y="9"/>
                </a:cxn>
                <a:cxn ang="0">
                  <a:pos x="6" y="9"/>
                </a:cxn>
                <a:cxn ang="0">
                  <a:pos x="6" y="13"/>
                </a:cxn>
                <a:cxn ang="0">
                  <a:pos x="8" y="15"/>
                </a:cxn>
                <a:cxn ang="0">
                  <a:pos x="10" y="13"/>
                </a:cxn>
                <a:cxn ang="0">
                  <a:pos x="8" y="4"/>
                </a:cxn>
                <a:cxn ang="0">
                  <a:pos x="4" y="2"/>
                </a:cxn>
                <a:cxn ang="0">
                  <a:pos x="0" y="0"/>
                </a:cxn>
              </a:cxnLst>
              <a:rect l="0" t="0" r="r" b="b"/>
              <a:pathLst>
                <a:path w="10" h="15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2" y="9"/>
                  </a:lnTo>
                  <a:lnTo>
                    <a:pt x="6" y="9"/>
                  </a:lnTo>
                  <a:lnTo>
                    <a:pt x="6" y="13"/>
                  </a:lnTo>
                  <a:lnTo>
                    <a:pt x="8" y="15"/>
                  </a:lnTo>
                  <a:lnTo>
                    <a:pt x="10" y="13"/>
                  </a:lnTo>
                  <a:lnTo>
                    <a:pt x="8" y="4"/>
                  </a:lnTo>
                  <a:lnTo>
                    <a:pt x="4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42" name="Freeform 1398"/>
            <p:cNvSpPr>
              <a:spLocks/>
            </p:cNvSpPr>
            <p:nvPr/>
          </p:nvSpPr>
          <p:spPr bwMode="auto">
            <a:xfrm>
              <a:off x="3061274" y="2114550"/>
              <a:ext cx="981418" cy="583734"/>
            </a:xfrm>
            <a:custGeom>
              <a:avLst/>
              <a:gdLst/>
              <a:ahLst/>
              <a:cxnLst>
                <a:cxn ang="0">
                  <a:pos x="6" y="20"/>
                </a:cxn>
                <a:cxn ang="0">
                  <a:pos x="0" y="27"/>
                </a:cxn>
                <a:cxn ang="0">
                  <a:pos x="27" y="29"/>
                </a:cxn>
                <a:cxn ang="0">
                  <a:pos x="35" y="34"/>
                </a:cxn>
                <a:cxn ang="0">
                  <a:pos x="37" y="43"/>
                </a:cxn>
                <a:cxn ang="0">
                  <a:pos x="35" y="47"/>
                </a:cxn>
                <a:cxn ang="0">
                  <a:pos x="37" y="52"/>
                </a:cxn>
                <a:cxn ang="0">
                  <a:pos x="39" y="52"/>
                </a:cxn>
                <a:cxn ang="0">
                  <a:pos x="35" y="54"/>
                </a:cxn>
                <a:cxn ang="0">
                  <a:pos x="35" y="61"/>
                </a:cxn>
                <a:cxn ang="0">
                  <a:pos x="43" y="61"/>
                </a:cxn>
                <a:cxn ang="0">
                  <a:pos x="35" y="63"/>
                </a:cxn>
                <a:cxn ang="0">
                  <a:pos x="27" y="79"/>
                </a:cxn>
                <a:cxn ang="0">
                  <a:pos x="27" y="86"/>
                </a:cxn>
                <a:cxn ang="0">
                  <a:pos x="29" y="90"/>
                </a:cxn>
                <a:cxn ang="0">
                  <a:pos x="35" y="104"/>
                </a:cxn>
                <a:cxn ang="0">
                  <a:pos x="48" y="110"/>
                </a:cxn>
                <a:cxn ang="0">
                  <a:pos x="58" y="95"/>
                </a:cxn>
                <a:cxn ang="0">
                  <a:pos x="68" y="86"/>
                </a:cxn>
                <a:cxn ang="0">
                  <a:pos x="70" y="81"/>
                </a:cxn>
                <a:cxn ang="0">
                  <a:pos x="87" y="79"/>
                </a:cxn>
                <a:cxn ang="0">
                  <a:pos x="125" y="63"/>
                </a:cxn>
                <a:cxn ang="0">
                  <a:pos x="141" y="56"/>
                </a:cxn>
                <a:cxn ang="0">
                  <a:pos x="133" y="52"/>
                </a:cxn>
                <a:cxn ang="0">
                  <a:pos x="146" y="54"/>
                </a:cxn>
                <a:cxn ang="0">
                  <a:pos x="146" y="47"/>
                </a:cxn>
                <a:cxn ang="0">
                  <a:pos x="146" y="43"/>
                </a:cxn>
                <a:cxn ang="0">
                  <a:pos x="156" y="38"/>
                </a:cxn>
                <a:cxn ang="0">
                  <a:pos x="156" y="36"/>
                </a:cxn>
                <a:cxn ang="0">
                  <a:pos x="154" y="29"/>
                </a:cxn>
                <a:cxn ang="0">
                  <a:pos x="164" y="27"/>
                </a:cxn>
                <a:cxn ang="0">
                  <a:pos x="162" y="20"/>
                </a:cxn>
                <a:cxn ang="0">
                  <a:pos x="164" y="18"/>
                </a:cxn>
                <a:cxn ang="0">
                  <a:pos x="189" y="9"/>
                </a:cxn>
                <a:cxn ang="0">
                  <a:pos x="162" y="5"/>
                </a:cxn>
                <a:cxn ang="0">
                  <a:pos x="148" y="0"/>
                </a:cxn>
                <a:cxn ang="0">
                  <a:pos x="77" y="5"/>
                </a:cxn>
                <a:cxn ang="0">
                  <a:pos x="48" y="9"/>
                </a:cxn>
                <a:cxn ang="0">
                  <a:pos x="22" y="11"/>
                </a:cxn>
                <a:cxn ang="0">
                  <a:pos x="31" y="14"/>
                </a:cxn>
                <a:cxn ang="0">
                  <a:pos x="4" y="18"/>
                </a:cxn>
                <a:cxn ang="0">
                  <a:pos x="0" y="20"/>
                </a:cxn>
              </a:cxnLst>
              <a:rect l="0" t="0" r="r" b="b"/>
              <a:pathLst>
                <a:path w="189" h="110">
                  <a:moveTo>
                    <a:pt x="0" y="20"/>
                  </a:moveTo>
                  <a:lnTo>
                    <a:pt x="6" y="20"/>
                  </a:lnTo>
                  <a:lnTo>
                    <a:pt x="6" y="25"/>
                  </a:lnTo>
                  <a:lnTo>
                    <a:pt x="0" y="27"/>
                  </a:lnTo>
                  <a:lnTo>
                    <a:pt x="6" y="29"/>
                  </a:lnTo>
                  <a:lnTo>
                    <a:pt x="27" y="29"/>
                  </a:lnTo>
                  <a:lnTo>
                    <a:pt x="37" y="29"/>
                  </a:lnTo>
                  <a:lnTo>
                    <a:pt x="35" y="34"/>
                  </a:lnTo>
                  <a:lnTo>
                    <a:pt x="37" y="36"/>
                  </a:lnTo>
                  <a:lnTo>
                    <a:pt x="37" y="43"/>
                  </a:lnTo>
                  <a:lnTo>
                    <a:pt x="35" y="45"/>
                  </a:lnTo>
                  <a:lnTo>
                    <a:pt x="35" y="47"/>
                  </a:lnTo>
                  <a:lnTo>
                    <a:pt x="31" y="47"/>
                  </a:lnTo>
                  <a:lnTo>
                    <a:pt x="37" y="52"/>
                  </a:lnTo>
                  <a:lnTo>
                    <a:pt x="39" y="47"/>
                  </a:lnTo>
                  <a:lnTo>
                    <a:pt x="39" y="52"/>
                  </a:lnTo>
                  <a:lnTo>
                    <a:pt x="45" y="54"/>
                  </a:lnTo>
                  <a:lnTo>
                    <a:pt x="35" y="54"/>
                  </a:lnTo>
                  <a:lnTo>
                    <a:pt x="29" y="61"/>
                  </a:lnTo>
                  <a:lnTo>
                    <a:pt x="35" y="61"/>
                  </a:lnTo>
                  <a:lnTo>
                    <a:pt x="43" y="56"/>
                  </a:lnTo>
                  <a:lnTo>
                    <a:pt x="43" y="61"/>
                  </a:lnTo>
                  <a:lnTo>
                    <a:pt x="39" y="63"/>
                  </a:lnTo>
                  <a:lnTo>
                    <a:pt x="35" y="63"/>
                  </a:lnTo>
                  <a:lnTo>
                    <a:pt x="31" y="68"/>
                  </a:lnTo>
                  <a:lnTo>
                    <a:pt x="27" y="79"/>
                  </a:lnTo>
                  <a:lnTo>
                    <a:pt x="29" y="79"/>
                  </a:lnTo>
                  <a:lnTo>
                    <a:pt x="27" y="86"/>
                  </a:lnTo>
                  <a:lnTo>
                    <a:pt x="29" y="88"/>
                  </a:lnTo>
                  <a:lnTo>
                    <a:pt x="29" y="90"/>
                  </a:lnTo>
                  <a:lnTo>
                    <a:pt x="31" y="99"/>
                  </a:lnTo>
                  <a:lnTo>
                    <a:pt x="35" y="104"/>
                  </a:lnTo>
                  <a:lnTo>
                    <a:pt x="45" y="110"/>
                  </a:lnTo>
                  <a:lnTo>
                    <a:pt x="48" y="110"/>
                  </a:lnTo>
                  <a:lnTo>
                    <a:pt x="58" y="97"/>
                  </a:lnTo>
                  <a:lnTo>
                    <a:pt x="58" y="95"/>
                  </a:lnTo>
                  <a:lnTo>
                    <a:pt x="66" y="90"/>
                  </a:lnTo>
                  <a:lnTo>
                    <a:pt x="68" y="86"/>
                  </a:lnTo>
                  <a:lnTo>
                    <a:pt x="68" y="81"/>
                  </a:lnTo>
                  <a:lnTo>
                    <a:pt x="70" y="81"/>
                  </a:lnTo>
                  <a:lnTo>
                    <a:pt x="75" y="79"/>
                  </a:lnTo>
                  <a:lnTo>
                    <a:pt x="87" y="79"/>
                  </a:lnTo>
                  <a:lnTo>
                    <a:pt x="106" y="68"/>
                  </a:lnTo>
                  <a:lnTo>
                    <a:pt x="125" y="63"/>
                  </a:lnTo>
                  <a:lnTo>
                    <a:pt x="139" y="56"/>
                  </a:lnTo>
                  <a:lnTo>
                    <a:pt x="141" y="56"/>
                  </a:lnTo>
                  <a:lnTo>
                    <a:pt x="133" y="54"/>
                  </a:lnTo>
                  <a:lnTo>
                    <a:pt x="133" y="52"/>
                  </a:lnTo>
                  <a:lnTo>
                    <a:pt x="137" y="52"/>
                  </a:lnTo>
                  <a:lnTo>
                    <a:pt x="146" y="54"/>
                  </a:lnTo>
                  <a:lnTo>
                    <a:pt x="146" y="52"/>
                  </a:lnTo>
                  <a:lnTo>
                    <a:pt x="146" y="47"/>
                  </a:lnTo>
                  <a:lnTo>
                    <a:pt x="148" y="45"/>
                  </a:lnTo>
                  <a:lnTo>
                    <a:pt x="146" y="43"/>
                  </a:lnTo>
                  <a:lnTo>
                    <a:pt x="154" y="43"/>
                  </a:lnTo>
                  <a:lnTo>
                    <a:pt x="156" y="38"/>
                  </a:lnTo>
                  <a:lnTo>
                    <a:pt x="158" y="36"/>
                  </a:lnTo>
                  <a:lnTo>
                    <a:pt x="156" y="36"/>
                  </a:lnTo>
                  <a:lnTo>
                    <a:pt x="158" y="29"/>
                  </a:lnTo>
                  <a:lnTo>
                    <a:pt x="154" y="29"/>
                  </a:lnTo>
                  <a:lnTo>
                    <a:pt x="154" y="27"/>
                  </a:lnTo>
                  <a:lnTo>
                    <a:pt x="164" y="27"/>
                  </a:lnTo>
                  <a:lnTo>
                    <a:pt x="164" y="25"/>
                  </a:lnTo>
                  <a:lnTo>
                    <a:pt x="162" y="20"/>
                  </a:lnTo>
                  <a:lnTo>
                    <a:pt x="164" y="20"/>
                  </a:lnTo>
                  <a:lnTo>
                    <a:pt x="164" y="18"/>
                  </a:lnTo>
                  <a:lnTo>
                    <a:pt x="177" y="11"/>
                  </a:lnTo>
                  <a:lnTo>
                    <a:pt x="189" y="9"/>
                  </a:lnTo>
                  <a:lnTo>
                    <a:pt x="177" y="5"/>
                  </a:lnTo>
                  <a:lnTo>
                    <a:pt x="162" y="5"/>
                  </a:lnTo>
                  <a:lnTo>
                    <a:pt x="166" y="2"/>
                  </a:lnTo>
                  <a:lnTo>
                    <a:pt x="148" y="0"/>
                  </a:lnTo>
                  <a:lnTo>
                    <a:pt x="102" y="2"/>
                  </a:lnTo>
                  <a:lnTo>
                    <a:pt x="77" y="5"/>
                  </a:lnTo>
                  <a:lnTo>
                    <a:pt x="45" y="5"/>
                  </a:lnTo>
                  <a:lnTo>
                    <a:pt x="48" y="9"/>
                  </a:lnTo>
                  <a:lnTo>
                    <a:pt x="39" y="9"/>
                  </a:lnTo>
                  <a:lnTo>
                    <a:pt x="22" y="11"/>
                  </a:lnTo>
                  <a:lnTo>
                    <a:pt x="31" y="11"/>
                  </a:lnTo>
                  <a:lnTo>
                    <a:pt x="31" y="14"/>
                  </a:lnTo>
                  <a:lnTo>
                    <a:pt x="27" y="18"/>
                  </a:lnTo>
                  <a:lnTo>
                    <a:pt x="4" y="18"/>
                  </a:lnTo>
                  <a:lnTo>
                    <a:pt x="2" y="20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43" name="Freeform 1399"/>
            <p:cNvSpPr>
              <a:spLocks/>
            </p:cNvSpPr>
            <p:nvPr/>
          </p:nvSpPr>
          <p:spPr bwMode="auto">
            <a:xfrm>
              <a:off x="3720746" y="2523164"/>
              <a:ext cx="202514" cy="68987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0" y="4"/>
                </a:cxn>
                <a:cxn ang="0">
                  <a:pos x="0" y="9"/>
                </a:cxn>
                <a:cxn ang="0">
                  <a:pos x="10" y="9"/>
                </a:cxn>
                <a:cxn ang="0">
                  <a:pos x="4" y="11"/>
                </a:cxn>
                <a:cxn ang="0">
                  <a:pos x="19" y="13"/>
                </a:cxn>
                <a:cxn ang="0">
                  <a:pos x="35" y="9"/>
                </a:cxn>
                <a:cxn ang="0">
                  <a:pos x="37" y="4"/>
                </a:cxn>
                <a:cxn ang="0">
                  <a:pos x="39" y="2"/>
                </a:cxn>
                <a:cxn ang="0">
                  <a:pos x="37" y="2"/>
                </a:cxn>
                <a:cxn ang="0">
                  <a:pos x="37" y="0"/>
                </a:cxn>
                <a:cxn ang="0">
                  <a:pos x="31" y="0"/>
                </a:cxn>
                <a:cxn ang="0">
                  <a:pos x="27" y="2"/>
                </a:cxn>
                <a:cxn ang="0">
                  <a:pos x="19" y="2"/>
                </a:cxn>
                <a:cxn ang="0">
                  <a:pos x="19" y="0"/>
                </a:cxn>
                <a:cxn ang="0">
                  <a:pos x="12" y="4"/>
                </a:cxn>
                <a:cxn ang="0">
                  <a:pos x="12" y="2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2"/>
                </a:cxn>
              </a:cxnLst>
              <a:rect l="0" t="0" r="r" b="b"/>
              <a:pathLst>
                <a:path w="39" h="13">
                  <a:moveTo>
                    <a:pt x="0" y="2"/>
                  </a:moveTo>
                  <a:lnTo>
                    <a:pt x="10" y="4"/>
                  </a:lnTo>
                  <a:lnTo>
                    <a:pt x="0" y="9"/>
                  </a:lnTo>
                  <a:lnTo>
                    <a:pt x="10" y="9"/>
                  </a:lnTo>
                  <a:lnTo>
                    <a:pt x="4" y="11"/>
                  </a:lnTo>
                  <a:lnTo>
                    <a:pt x="19" y="13"/>
                  </a:lnTo>
                  <a:lnTo>
                    <a:pt x="35" y="9"/>
                  </a:lnTo>
                  <a:lnTo>
                    <a:pt x="37" y="4"/>
                  </a:lnTo>
                  <a:lnTo>
                    <a:pt x="39" y="2"/>
                  </a:lnTo>
                  <a:lnTo>
                    <a:pt x="37" y="2"/>
                  </a:lnTo>
                  <a:lnTo>
                    <a:pt x="37" y="0"/>
                  </a:lnTo>
                  <a:lnTo>
                    <a:pt x="31" y="0"/>
                  </a:lnTo>
                  <a:lnTo>
                    <a:pt x="27" y="2"/>
                  </a:lnTo>
                  <a:lnTo>
                    <a:pt x="19" y="2"/>
                  </a:lnTo>
                  <a:lnTo>
                    <a:pt x="19" y="0"/>
                  </a:lnTo>
                  <a:lnTo>
                    <a:pt x="12" y="4"/>
                  </a:lnTo>
                  <a:lnTo>
                    <a:pt x="12" y="2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44" name="Line 1400"/>
            <p:cNvSpPr>
              <a:spLocks noChangeShapeType="1"/>
            </p:cNvSpPr>
            <p:nvPr/>
          </p:nvSpPr>
          <p:spPr bwMode="auto">
            <a:xfrm flipV="1">
              <a:off x="4032306" y="2401110"/>
              <a:ext cx="10385" cy="10613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45" name="Line 1401"/>
            <p:cNvSpPr>
              <a:spLocks noChangeShapeType="1"/>
            </p:cNvSpPr>
            <p:nvPr/>
          </p:nvSpPr>
          <p:spPr bwMode="auto">
            <a:xfrm>
              <a:off x="3881718" y="2305590"/>
              <a:ext cx="20771" cy="5307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46" name="Freeform 1402"/>
            <p:cNvSpPr>
              <a:spLocks/>
            </p:cNvSpPr>
            <p:nvPr/>
          </p:nvSpPr>
          <p:spPr bwMode="auto">
            <a:xfrm>
              <a:off x="5159120" y="4884634"/>
              <a:ext cx="186937" cy="408614"/>
            </a:xfrm>
            <a:custGeom>
              <a:avLst/>
              <a:gdLst/>
              <a:ahLst/>
              <a:cxnLst>
                <a:cxn ang="0">
                  <a:pos x="0" y="55"/>
                </a:cxn>
                <a:cxn ang="0">
                  <a:pos x="0" y="70"/>
                </a:cxn>
                <a:cxn ang="0">
                  <a:pos x="5" y="77"/>
                </a:cxn>
                <a:cxn ang="0">
                  <a:pos x="7" y="77"/>
                </a:cxn>
                <a:cxn ang="0">
                  <a:pos x="15" y="73"/>
                </a:cxn>
                <a:cxn ang="0">
                  <a:pos x="19" y="73"/>
                </a:cxn>
                <a:cxn ang="0">
                  <a:pos x="30" y="37"/>
                </a:cxn>
                <a:cxn ang="0">
                  <a:pos x="32" y="18"/>
                </a:cxn>
                <a:cxn ang="0">
                  <a:pos x="32" y="21"/>
                </a:cxn>
                <a:cxn ang="0">
                  <a:pos x="36" y="18"/>
                </a:cxn>
                <a:cxn ang="0">
                  <a:pos x="32" y="3"/>
                </a:cxn>
                <a:cxn ang="0">
                  <a:pos x="30" y="0"/>
                </a:cxn>
                <a:cxn ang="0">
                  <a:pos x="27" y="5"/>
                </a:cxn>
                <a:cxn ang="0">
                  <a:pos x="23" y="9"/>
                </a:cxn>
                <a:cxn ang="0">
                  <a:pos x="23" y="14"/>
                </a:cxn>
                <a:cxn ang="0">
                  <a:pos x="7" y="21"/>
                </a:cxn>
                <a:cxn ang="0">
                  <a:pos x="5" y="30"/>
                </a:cxn>
                <a:cxn ang="0">
                  <a:pos x="7" y="46"/>
                </a:cxn>
                <a:cxn ang="0">
                  <a:pos x="2" y="50"/>
                </a:cxn>
                <a:cxn ang="0">
                  <a:pos x="0" y="55"/>
                </a:cxn>
              </a:cxnLst>
              <a:rect l="0" t="0" r="r" b="b"/>
              <a:pathLst>
                <a:path w="36" h="77">
                  <a:moveTo>
                    <a:pt x="0" y="55"/>
                  </a:moveTo>
                  <a:lnTo>
                    <a:pt x="0" y="70"/>
                  </a:lnTo>
                  <a:lnTo>
                    <a:pt x="5" y="77"/>
                  </a:lnTo>
                  <a:lnTo>
                    <a:pt x="7" y="77"/>
                  </a:lnTo>
                  <a:lnTo>
                    <a:pt x="15" y="73"/>
                  </a:lnTo>
                  <a:lnTo>
                    <a:pt x="19" y="73"/>
                  </a:lnTo>
                  <a:lnTo>
                    <a:pt x="30" y="37"/>
                  </a:lnTo>
                  <a:lnTo>
                    <a:pt x="32" y="18"/>
                  </a:lnTo>
                  <a:lnTo>
                    <a:pt x="32" y="21"/>
                  </a:lnTo>
                  <a:lnTo>
                    <a:pt x="36" y="18"/>
                  </a:lnTo>
                  <a:lnTo>
                    <a:pt x="32" y="3"/>
                  </a:lnTo>
                  <a:lnTo>
                    <a:pt x="30" y="0"/>
                  </a:lnTo>
                  <a:lnTo>
                    <a:pt x="27" y="5"/>
                  </a:lnTo>
                  <a:lnTo>
                    <a:pt x="23" y="9"/>
                  </a:lnTo>
                  <a:lnTo>
                    <a:pt x="23" y="14"/>
                  </a:lnTo>
                  <a:lnTo>
                    <a:pt x="7" y="21"/>
                  </a:lnTo>
                  <a:lnTo>
                    <a:pt x="5" y="30"/>
                  </a:lnTo>
                  <a:lnTo>
                    <a:pt x="7" y="46"/>
                  </a:lnTo>
                  <a:lnTo>
                    <a:pt x="2" y="50"/>
                  </a:lnTo>
                  <a:lnTo>
                    <a:pt x="0" y="5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47" name="Line 1403"/>
            <p:cNvSpPr>
              <a:spLocks noChangeShapeType="1"/>
            </p:cNvSpPr>
            <p:nvPr/>
          </p:nvSpPr>
          <p:spPr bwMode="auto">
            <a:xfrm>
              <a:off x="5444717" y="5176501"/>
              <a:ext cx="20771" cy="5307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48" name="Freeform 1404"/>
            <p:cNvSpPr>
              <a:spLocks/>
            </p:cNvSpPr>
            <p:nvPr/>
          </p:nvSpPr>
          <p:spPr bwMode="auto">
            <a:xfrm>
              <a:off x="5507029" y="5128741"/>
              <a:ext cx="10385" cy="1061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" y="2"/>
                </a:cxn>
                <a:cxn ang="0">
                  <a:pos x="0" y="0"/>
                </a:cxn>
                <a:cxn ang="0">
                  <a:pos x="0" y="2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49" name="Freeform 1405"/>
            <p:cNvSpPr>
              <a:spLocks/>
            </p:cNvSpPr>
            <p:nvPr/>
          </p:nvSpPr>
          <p:spPr bwMode="auto">
            <a:xfrm>
              <a:off x="5408368" y="4120473"/>
              <a:ext cx="36349" cy="1592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" y="3"/>
                </a:cxn>
                <a:cxn ang="0">
                  <a:pos x="7" y="0"/>
                </a:cxn>
                <a:cxn ang="0">
                  <a:pos x="5" y="0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7" h="3">
                  <a:moveTo>
                    <a:pt x="0" y="0"/>
                  </a:moveTo>
                  <a:lnTo>
                    <a:pt x="5" y="3"/>
                  </a:lnTo>
                  <a:lnTo>
                    <a:pt x="7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50" name="Line 1406"/>
            <p:cNvSpPr>
              <a:spLocks noChangeShapeType="1"/>
            </p:cNvSpPr>
            <p:nvPr/>
          </p:nvSpPr>
          <p:spPr bwMode="auto">
            <a:xfrm>
              <a:off x="6384594" y="4120473"/>
              <a:ext cx="5193" cy="26533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51" name="Line 1407"/>
            <p:cNvSpPr>
              <a:spLocks noChangeShapeType="1"/>
            </p:cNvSpPr>
            <p:nvPr/>
          </p:nvSpPr>
          <p:spPr bwMode="auto">
            <a:xfrm>
              <a:off x="6472869" y="4444180"/>
              <a:ext cx="10385" cy="5307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52" name="Freeform 1408"/>
            <p:cNvSpPr>
              <a:spLocks/>
            </p:cNvSpPr>
            <p:nvPr/>
          </p:nvSpPr>
          <p:spPr bwMode="auto">
            <a:xfrm>
              <a:off x="6504025" y="4454793"/>
              <a:ext cx="10385" cy="3714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7"/>
                </a:cxn>
                <a:cxn ang="0">
                  <a:pos x="2" y="5"/>
                </a:cxn>
                <a:cxn ang="0">
                  <a:pos x="0" y="3"/>
                </a:cxn>
                <a:cxn ang="0">
                  <a:pos x="0" y="0"/>
                </a:cxn>
              </a:cxnLst>
              <a:rect l="0" t="0" r="r" b="b"/>
              <a:pathLst>
                <a:path w="2" h="7">
                  <a:moveTo>
                    <a:pt x="0" y="0"/>
                  </a:moveTo>
                  <a:lnTo>
                    <a:pt x="2" y="7"/>
                  </a:lnTo>
                  <a:lnTo>
                    <a:pt x="2" y="5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53" name="Freeform 1409"/>
            <p:cNvSpPr>
              <a:spLocks/>
            </p:cNvSpPr>
            <p:nvPr/>
          </p:nvSpPr>
          <p:spPr bwMode="auto">
            <a:xfrm>
              <a:off x="6545566" y="4539700"/>
              <a:ext cx="15578" cy="10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"/>
                </a:cxn>
                <a:cxn ang="0">
                  <a:pos x="3" y="2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w="3" h="2">
                  <a:moveTo>
                    <a:pt x="0" y="0"/>
                  </a:moveTo>
                  <a:lnTo>
                    <a:pt x="0" y="2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54" name="Freeform 1410"/>
            <p:cNvSpPr>
              <a:spLocks/>
            </p:cNvSpPr>
            <p:nvPr/>
          </p:nvSpPr>
          <p:spPr bwMode="auto">
            <a:xfrm>
              <a:off x="6062647" y="4205380"/>
              <a:ext cx="62312" cy="106133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4" y="20"/>
                </a:cxn>
                <a:cxn ang="0">
                  <a:pos x="8" y="20"/>
                </a:cxn>
                <a:cxn ang="0">
                  <a:pos x="12" y="20"/>
                </a:cxn>
                <a:cxn ang="0">
                  <a:pos x="12" y="11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4" y="2"/>
                </a:cxn>
                <a:cxn ang="0">
                  <a:pos x="2" y="7"/>
                </a:cxn>
                <a:cxn ang="0">
                  <a:pos x="0" y="11"/>
                </a:cxn>
              </a:cxnLst>
              <a:rect l="0" t="0" r="r" b="b"/>
              <a:pathLst>
                <a:path w="12" h="20">
                  <a:moveTo>
                    <a:pt x="0" y="11"/>
                  </a:moveTo>
                  <a:lnTo>
                    <a:pt x="4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11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2"/>
                  </a:lnTo>
                  <a:lnTo>
                    <a:pt x="2" y="7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55" name="Freeform 1411"/>
            <p:cNvSpPr>
              <a:spLocks/>
            </p:cNvSpPr>
            <p:nvPr/>
          </p:nvSpPr>
          <p:spPr bwMode="auto">
            <a:xfrm>
              <a:off x="6742889" y="3897593"/>
              <a:ext cx="51927" cy="47760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" y="9"/>
                </a:cxn>
                <a:cxn ang="0">
                  <a:pos x="4" y="9"/>
                </a:cxn>
                <a:cxn ang="0">
                  <a:pos x="10" y="6"/>
                </a:cxn>
                <a:cxn ang="0">
                  <a:pos x="10" y="0"/>
                </a:cxn>
                <a:cxn ang="0">
                  <a:pos x="4" y="0"/>
                </a:cxn>
                <a:cxn ang="0">
                  <a:pos x="2" y="2"/>
                </a:cxn>
                <a:cxn ang="0">
                  <a:pos x="0" y="2"/>
                </a:cxn>
              </a:cxnLst>
              <a:rect l="0" t="0" r="r" b="b"/>
              <a:pathLst>
                <a:path w="10" h="9">
                  <a:moveTo>
                    <a:pt x="0" y="2"/>
                  </a:moveTo>
                  <a:lnTo>
                    <a:pt x="2" y="9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0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56" name="Freeform 1412"/>
            <p:cNvSpPr>
              <a:spLocks/>
            </p:cNvSpPr>
            <p:nvPr/>
          </p:nvSpPr>
          <p:spPr bwMode="auto">
            <a:xfrm>
              <a:off x="7002523" y="3727779"/>
              <a:ext cx="31156" cy="95520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2" y="16"/>
                </a:cxn>
                <a:cxn ang="0">
                  <a:pos x="6" y="18"/>
                </a:cxn>
                <a:cxn ang="0">
                  <a:pos x="6" y="0"/>
                </a:cxn>
                <a:cxn ang="0">
                  <a:pos x="2" y="5"/>
                </a:cxn>
                <a:cxn ang="0">
                  <a:pos x="0" y="7"/>
                </a:cxn>
                <a:cxn ang="0">
                  <a:pos x="0" y="9"/>
                </a:cxn>
              </a:cxnLst>
              <a:rect l="0" t="0" r="r" b="b"/>
              <a:pathLst>
                <a:path w="6" h="18">
                  <a:moveTo>
                    <a:pt x="0" y="9"/>
                  </a:moveTo>
                  <a:lnTo>
                    <a:pt x="2" y="16"/>
                  </a:lnTo>
                  <a:lnTo>
                    <a:pt x="6" y="18"/>
                  </a:lnTo>
                  <a:lnTo>
                    <a:pt x="6" y="0"/>
                  </a:lnTo>
                  <a:lnTo>
                    <a:pt x="2" y="5"/>
                  </a:lnTo>
                  <a:lnTo>
                    <a:pt x="0" y="7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57" name="Freeform 1413"/>
            <p:cNvSpPr>
              <a:spLocks/>
            </p:cNvSpPr>
            <p:nvPr/>
          </p:nvSpPr>
          <p:spPr bwMode="auto">
            <a:xfrm>
              <a:off x="7153111" y="3478365"/>
              <a:ext cx="57120" cy="68987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" y="4"/>
                </a:cxn>
                <a:cxn ang="0">
                  <a:pos x="2" y="2"/>
                </a:cxn>
                <a:cxn ang="0">
                  <a:pos x="4" y="4"/>
                </a:cxn>
                <a:cxn ang="0">
                  <a:pos x="4" y="13"/>
                </a:cxn>
                <a:cxn ang="0">
                  <a:pos x="9" y="13"/>
                </a:cxn>
                <a:cxn ang="0">
                  <a:pos x="11" y="11"/>
                </a:cxn>
                <a:cxn ang="0">
                  <a:pos x="11" y="4"/>
                </a:cxn>
                <a:cxn ang="0">
                  <a:pos x="9" y="0"/>
                </a:cxn>
                <a:cxn ang="0">
                  <a:pos x="2" y="0"/>
                </a:cxn>
                <a:cxn ang="0">
                  <a:pos x="0" y="2"/>
                </a:cxn>
              </a:cxnLst>
              <a:rect l="0" t="0" r="r" b="b"/>
              <a:pathLst>
                <a:path w="11" h="13">
                  <a:moveTo>
                    <a:pt x="0" y="2"/>
                  </a:moveTo>
                  <a:lnTo>
                    <a:pt x="2" y="4"/>
                  </a:lnTo>
                  <a:lnTo>
                    <a:pt x="2" y="2"/>
                  </a:lnTo>
                  <a:lnTo>
                    <a:pt x="4" y="4"/>
                  </a:lnTo>
                  <a:lnTo>
                    <a:pt x="4" y="13"/>
                  </a:lnTo>
                  <a:lnTo>
                    <a:pt x="9" y="13"/>
                  </a:lnTo>
                  <a:lnTo>
                    <a:pt x="11" y="11"/>
                  </a:lnTo>
                  <a:lnTo>
                    <a:pt x="11" y="4"/>
                  </a:lnTo>
                  <a:lnTo>
                    <a:pt x="9" y="0"/>
                  </a:lnTo>
                  <a:lnTo>
                    <a:pt x="2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58" name="Freeform 1414"/>
            <p:cNvSpPr>
              <a:spLocks/>
            </p:cNvSpPr>
            <p:nvPr/>
          </p:nvSpPr>
          <p:spPr bwMode="auto">
            <a:xfrm>
              <a:off x="7210231" y="3451832"/>
              <a:ext cx="51927" cy="47760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6" y="9"/>
                </a:cxn>
                <a:cxn ang="0">
                  <a:pos x="6" y="7"/>
                </a:cxn>
                <a:cxn ang="0">
                  <a:pos x="6" y="5"/>
                </a:cxn>
                <a:cxn ang="0">
                  <a:pos x="8" y="7"/>
                </a:cxn>
                <a:cxn ang="0">
                  <a:pos x="10" y="5"/>
                </a:cxn>
                <a:cxn ang="0">
                  <a:pos x="8" y="0"/>
                </a:cxn>
                <a:cxn ang="0">
                  <a:pos x="6" y="0"/>
                </a:cxn>
                <a:cxn ang="0">
                  <a:pos x="6" y="5"/>
                </a:cxn>
                <a:cxn ang="0">
                  <a:pos x="2" y="0"/>
                </a:cxn>
                <a:cxn ang="0">
                  <a:pos x="0" y="5"/>
                </a:cxn>
                <a:cxn ang="0">
                  <a:pos x="0" y="7"/>
                </a:cxn>
              </a:cxnLst>
              <a:rect l="0" t="0" r="r" b="b"/>
              <a:pathLst>
                <a:path w="10" h="9">
                  <a:moveTo>
                    <a:pt x="0" y="7"/>
                  </a:moveTo>
                  <a:lnTo>
                    <a:pt x="6" y="9"/>
                  </a:lnTo>
                  <a:lnTo>
                    <a:pt x="6" y="7"/>
                  </a:lnTo>
                  <a:lnTo>
                    <a:pt x="6" y="5"/>
                  </a:lnTo>
                  <a:lnTo>
                    <a:pt x="8" y="7"/>
                  </a:lnTo>
                  <a:lnTo>
                    <a:pt x="10" y="5"/>
                  </a:lnTo>
                  <a:lnTo>
                    <a:pt x="8" y="0"/>
                  </a:lnTo>
                  <a:lnTo>
                    <a:pt x="6" y="0"/>
                  </a:lnTo>
                  <a:lnTo>
                    <a:pt x="6" y="5"/>
                  </a:lnTo>
                  <a:lnTo>
                    <a:pt x="2" y="0"/>
                  </a:lnTo>
                  <a:lnTo>
                    <a:pt x="0" y="5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59" name="Freeform 1415"/>
            <p:cNvSpPr>
              <a:spLocks/>
            </p:cNvSpPr>
            <p:nvPr/>
          </p:nvSpPr>
          <p:spPr bwMode="auto">
            <a:xfrm>
              <a:off x="7163496" y="3223645"/>
              <a:ext cx="218092" cy="265334"/>
            </a:xfrm>
            <a:custGeom>
              <a:avLst/>
              <a:gdLst/>
              <a:ahLst/>
              <a:cxnLst>
                <a:cxn ang="0">
                  <a:pos x="0" y="43"/>
                </a:cxn>
                <a:cxn ang="0">
                  <a:pos x="2" y="48"/>
                </a:cxn>
                <a:cxn ang="0">
                  <a:pos x="7" y="48"/>
                </a:cxn>
                <a:cxn ang="0">
                  <a:pos x="9" y="43"/>
                </a:cxn>
                <a:cxn ang="0">
                  <a:pos x="17" y="41"/>
                </a:cxn>
                <a:cxn ang="0">
                  <a:pos x="19" y="41"/>
                </a:cxn>
                <a:cxn ang="0">
                  <a:pos x="19" y="48"/>
                </a:cxn>
                <a:cxn ang="0">
                  <a:pos x="25" y="50"/>
                </a:cxn>
                <a:cxn ang="0">
                  <a:pos x="28" y="43"/>
                </a:cxn>
                <a:cxn ang="0">
                  <a:pos x="25" y="41"/>
                </a:cxn>
                <a:cxn ang="0">
                  <a:pos x="28" y="41"/>
                </a:cxn>
                <a:cxn ang="0">
                  <a:pos x="32" y="41"/>
                </a:cxn>
                <a:cxn ang="0">
                  <a:pos x="34" y="39"/>
                </a:cxn>
                <a:cxn ang="0">
                  <a:pos x="38" y="41"/>
                </a:cxn>
                <a:cxn ang="0">
                  <a:pos x="38" y="39"/>
                </a:cxn>
                <a:cxn ang="0">
                  <a:pos x="40" y="41"/>
                </a:cxn>
                <a:cxn ang="0">
                  <a:pos x="42" y="39"/>
                </a:cxn>
                <a:cxn ang="0">
                  <a:pos x="42" y="34"/>
                </a:cxn>
                <a:cxn ang="0">
                  <a:pos x="38" y="23"/>
                </a:cxn>
                <a:cxn ang="0">
                  <a:pos x="38" y="18"/>
                </a:cxn>
                <a:cxn ang="0">
                  <a:pos x="40" y="18"/>
                </a:cxn>
                <a:cxn ang="0">
                  <a:pos x="38" y="16"/>
                </a:cxn>
                <a:cxn ang="0">
                  <a:pos x="28" y="5"/>
                </a:cxn>
                <a:cxn ang="0">
                  <a:pos x="25" y="0"/>
                </a:cxn>
                <a:cxn ang="0">
                  <a:pos x="28" y="5"/>
                </a:cxn>
                <a:cxn ang="0">
                  <a:pos x="25" y="5"/>
                </a:cxn>
                <a:cxn ang="0">
                  <a:pos x="28" y="16"/>
                </a:cxn>
                <a:cxn ang="0">
                  <a:pos x="28" y="25"/>
                </a:cxn>
                <a:cxn ang="0">
                  <a:pos x="23" y="27"/>
                </a:cxn>
                <a:cxn ang="0">
                  <a:pos x="23" y="25"/>
                </a:cxn>
                <a:cxn ang="0">
                  <a:pos x="19" y="25"/>
                </a:cxn>
                <a:cxn ang="0">
                  <a:pos x="19" y="34"/>
                </a:cxn>
                <a:cxn ang="0">
                  <a:pos x="19" y="39"/>
                </a:cxn>
                <a:cxn ang="0">
                  <a:pos x="17" y="34"/>
                </a:cxn>
                <a:cxn ang="0">
                  <a:pos x="7" y="39"/>
                </a:cxn>
                <a:cxn ang="0">
                  <a:pos x="2" y="41"/>
                </a:cxn>
                <a:cxn ang="0">
                  <a:pos x="0" y="43"/>
                </a:cxn>
              </a:cxnLst>
              <a:rect l="0" t="0" r="r" b="b"/>
              <a:pathLst>
                <a:path w="42" h="50">
                  <a:moveTo>
                    <a:pt x="0" y="43"/>
                  </a:moveTo>
                  <a:lnTo>
                    <a:pt x="2" y="48"/>
                  </a:lnTo>
                  <a:lnTo>
                    <a:pt x="7" y="48"/>
                  </a:lnTo>
                  <a:lnTo>
                    <a:pt x="9" y="43"/>
                  </a:lnTo>
                  <a:lnTo>
                    <a:pt x="17" y="41"/>
                  </a:lnTo>
                  <a:lnTo>
                    <a:pt x="19" y="41"/>
                  </a:lnTo>
                  <a:lnTo>
                    <a:pt x="19" y="48"/>
                  </a:lnTo>
                  <a:lnTo>
                    <a:pt x="25" y="50"/>
                  </a:lnTo>
                  <a:lnTo>
                    <a:pt x="28" y="43"/>
                  </a:lnTo>
                  <a:lnTo>
                    <a:pt x="25" y="41"/>
                  </a:lnTo>
                  <a:lnTo>
                    <a:pt x="28" y="41"/>
                  </a:lnTo>
                  <a:lnTo>
                    <a:pt x="32" y="41"/>
                  </a:lnTo>
                  <a:lnTo>
                    <a:pt x="34" y="39"/>
                  </a:lnTo>
                  <a:lnTo>
                    <a:pt x="38" y="41"/>
                  </a:lnTo>
                  <a:lnTo>
                    <a:pt x="38" y="39"/>
                  </a:lnTo>
                  <a:lnTo>
                    <a:pt x="40" y="41"/>
                  </a:lnTo>
                  <a:lnTo>
                    <a:pt x="42" y="39"/>
                  </a:lnTo>
                  <a:lnTo>
                    <a:pt x="42" y="34"/>
                  </a:lnTo>
                  <a:lnTo>
                    <a:pt x="38" y="23"/>
                  </a:lnTo>
                  <a:lnTo>
                    <a:pt x="38" y="18"/>
                  </a:lnTo>
                  <a:lnTo>
                    <a:pt x="40" y="18"/>
                  </a:lnTo>
                  <a:lnTo>
                    <a:pt x="38" y="16"/>
                  </a:lnTo>
                  <a:lnTo>
                    <a:pt x="28" y="5"/>
                  </a:lnTo>
                  <a:lnTo>
                    <a:pt x="25" y="0"/>
                  </a:lnTo>
                  <a:lnTo>
                    <a:pt x="28" y="5"/>
                  </a:lnTo>
                  <a:lnTo>
                    <a:pt x="25" y="5"/>
                  </a:lnTo>
                  <a:lnTo>
                    <a:pt x="28" y="16"/>
                  </a:lnTo>
                  <a:lnTo>
                    <a:pt x="28" y="25"/>
                  </a:lnTo>
                  <a:lnTo>
                    <a:pt x="23" y="27"/>
                  </a:lnTo>
                  <a:lnTo>
                    <a:pt x="23" y="25"/>
                  </a:lnTo>
                  <a:lnTo>
                    <a:pt x="19" y="25"/>
                  </a:lnTo>
                  <a:lnTo>
                    <a:pt x="19" y="34"/>
                  </a:lnTo>
                  <a:lnTo>
                    <a:pt x="19" y="39"/>
                  </a:lnTo>
                  <a:lnTo>
                    <a:pt x="17" y="34"/>
                  </a:lnTo>
                  <a:lnTo>
                    <a:pt x="7" y="39"/>
                  </a:lnTo>
                  <a:lnTo>
                    <a:pt x="2" y="41"/>
                  </a:lnTo>
                  <a:lnTo>
                    <a:pt x="0" y="43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60" name="Freeform 1416"/>
            <p:cNvSpPr>
              <a:spLocks/>
            </p:cNvSpPr>
            <p:nvPr/>
          </p:nvSpPr>
          <p:spPr bwMode="auto">
            <a:xfrm>
              <a:off x="7251772" y="3117511"/>
              <a:ext cx="129817" cy="132667"/>
            </a:xfrm>
            <a:custGeom>
              <a:avLst/>
              <a:gdLst/>
              <a:ahLst/>
              <a:cxnLst>
                <a:cxn ang="0">
                  <a:pos x="2" y="16"/>
                </a:cxn>
                <a:cxn ang="0">
                  <a:pos x="6" y="25"/>
                </a:cxn>
                <a:cxn ang="0">
                  <a:pos x="8" y="20"/>
                </a:cxn>
                <a:cxn ang="0">
                  <a:pos x="6" y="16"/>
                </a:cxn>
                <a:cxn ang="0">
                  <a:pos x="8" y="18"/>
                </a:cxn>
                <a:cxn ang="0">
                  <a:pos x="11" y="16"/>
                </a:cxn>
                <a:cxn ang="0">
                  <a:pos x="17" y="18"/>
                </a:cxn>
                <a:cxn ang="0">
                  <a:pos x="21" y="16"/>
                </a:cxn>
                <a:cxn ang="0">
                  <a:pos x="23" y="16"/>
                </a:cxn>
                <a:cxn ang="0">
                  <a:pos x="25" y="11"/>
                </a:cxn>
                <a:cxn ang="0">
                  <a:pos x="23" y="11"/>
                </a:cxn>
                <a:cxn ang="0">
                  <a:pos x="21" y="9"/>
                </a:cxn>
                <a:cxn ang="0">
                  <a:pos x="21" y="5"/>
                </a:cxn>
                <a:cxn ang="0">
                  <a:pos x="17" y="9"/>
                </a:cxn>
                <a:cxn ang="0">
                  <a:pos x="15" y="5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6" y="11"/>
                </a:cxn>
                <a:cxn ang="0">
                  <a:pos x="2" y="11"/>
                </a:cxn>
                <a:cxn ang="0">
                  <a:pos x="2" y="14"/>
                </a:cxn>
                <a:cxn ang="0">
                  <a:pos x="2" y="16"/>
                </a:cxn>
              </a:cxnLst>
              <a:rect l="0" t="0" r="r" b="b"/>
              <a:pathLst>
                <a:path w="25" h="25">
                  <a:moveTo>
                    <a:pt x="2" y="16"/>
                  </a:moveTo>
                  <a:lnTo>
                    <a:pt x="6" y="25"/>
                  </a:lnTo>
                  <a:lnTo>
                    <a:pt x="8" y="20"/>
                  </a:lnTo>
                  <a:lnTo>
                    <a:pt x="6" y="16"/>
                  </a:lnTo>
                  <a:lnTo>
                    <a:pt x="8" y="18"/>
                  </a:lnTo>
                  <a:lnTo>
                    <a:pt x="11" y="16"/>
                  </a:lnTo>
                  <a:lnTo>
                    <a:pt x="17" y="18"/>
                  </a:lnTo>
                  <a:lnTo>
                    <a:pt x="21" y="16"/>
                  </a:lnTo>
                  <a:lnTo>
                    <a:pt x="23" y="16"/>
                  </a:lnTo>
                  <a:lnTo>
                    <a:pt x="25" y="11"/>
                  </a:lnTo>
                  <a:lnTo>
                    <a:pt x="23" y="11"/>
                  </a:lnTo>
                  <a:lnTo>
                    <a:pt x="21" y="9"/>
                  </a:lnTo>
                  <a:lnTo>
                    <a:pt x="21" y="5"/>
                  </a:lnTo>
                  <a:lnTo>
                    <a:pt x="17" y="9"/>
                  </a:lnTo>
                  <a:lnTo>
                    <a:pt x="15" y="5"/>
                  </a:lnTo>
                  <a:lnTo>
                    <a:pt x="0" y="0"/>
                  </a:lnTo>
                  <a:lnTo>
                    <a:pt x="2" y="2"/>
                  </a:lnTo>
                  <a:lnTo>
                    <a:pt x="6" y="11"/>
                  </a:lnTo>
                  <a:lnTo>
                    <a:pt x="2" y="11"/>
                  </a:lnTo>
                  <a:lnTo>
                    <a:pt x="2" y="14"/>
                  </a:lnTo>
                  <a:lnTo>
                    <a:pt x="2" y="1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61" name="Line 1417"/>
            <p:cNvSpPr>
              <a:spLocks noChangeShapeType="1"/>
            </p:cNvSpPr>
            <p:nvPr/>
          </p:nvSpPr>
          <p:spPr bwMode="auto">
            <a:xfrm flipV="1">
              <a:off x="7163496" y="3690632"/>
              <a:ext cx="10385" cy="26533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62" name="Line 1418"/>
            <p:cNvSpPr>
              <a:spLocks noChangeShapeType="1"/>
            </p:cNvSpPr>
            <p:nvPr/>
          </p:nvSpPr>
          <p:spPr bwMode="auto">
            <a:xfrm flipV="1">
              <a:off x="7199845" y="3642872"/>
              <a:ext cx="5193" cy="26533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63" name="Line 1419"/>
            <p:cNvSpPr>
              <a:spLocks noChangeShapeType="1"/>
            </p:cNvSpPr>
            <p:nvPr/>
          </p:nvSpPr>
          <p:spPr bwMode="auto">
            <a:xfrm flipV="1">
              <a:off x="7371203" y="3154658"/>
              <a:ext cx="5193" cy="21227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64" name="Freeform 1420"/>
            <p:cNvSpPr>
              <a:spLocks/>
            </p:cNvSpPr>
            <p:nvPr/>
          </p:nvSpPr>
          <p:spPr bwMode="auto">
            <a:xfrm>
              <a:off x="7381590" y="3117511"/>
              <a:ext cx="31156" cy="26533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2" y="2"/>
                </a:cxn>
                <a:cxn ang="0">
                  <a:pos x="0" y="5"/>
                </a:cxn>
              </a:cxnLst>
              <a:rect l="0" t="0" r="r" b="b"/>
              <a:pathLst>
                <a:path w="6" h="5">
                  <a:moveTo>
                    <a:pt x="0" y="5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65" name="Line 1421"/>
            <p:cNvSpPr>
              <a:spLocks noChangeShapeType="1"/>
            </p:cNvSpPr>
            <p:nvPr/>
          </p:nvSpPr>
          <p:spPr bwMode="auto">
            <a:xfrm flipV="1">
              <a:off x="7423131" y="3096285"/>
              <a:ext cx="5193" cy="31840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66" name="Line 1422"/>
            <p:cNvSpPr>
              <a:spLocks noChangeShapeType="1"/>
            </p:cNvSpPr>
            <p:nvPr/>
          </p:nvSpPr>
          <p:spPr bwMode="auto">
            <a:xfrm>
              <a:off x="7449094" y="3080365"/>
              <a:ext cx="10385" cy="5307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67" name="Freeform 1423"/>
            <p:cNvSpPr>
              <a:spLocks/>
            </p:cNvSpPr>
            <p:nvPr/>
          </p:nvSpPr>
          <p:spPr bwMode="auto">
            <a:xfrm>
              <a:off x="7459480" y="2953005"/>
              <a:ext cx="10385" cy="31840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6"/>
                </a:cxn>
                <a:cxn ang="0">
                  <a:pos x="2" y="4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4"/>
                </a:cxn>
              </a:cxnLst>
              <a:rect l="0" t="0" r="r" b="b"/>
              <a:pathLst>
                <a:path w="2" h="6">
                  <a:moveTo>
                    <a:pt x="0" y="4"/>
                  </a:moveTo>
                  <a:lnTo>
                    <a:pt x="0" y="6"/>
                  </a:lnTo>
                  <a:lnTo>
                    <a:pt x="2" y="4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68" name="Freeform 1424"/>
            <p:cNvSpPr>
              <a:spLocks/>
            </p:cNvSpPr>
            <p:nvPr/>
          </p:nvSpPr>
          <p:spPr bwMode="auto">
            <a:xfrm>
              <a:off x="7412745" y="2714204"/>
              <a:ext cx="10385" cy="1061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" y="2"/>
                </a:cxn>
                <a:cxn ang="0">
                  <a:pos x="0" y="0"/>
                </a:cxn>
                <a:cxn ang="0">
                  <a:pos x="0" y="2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69" name="Line 1425"/>
            <p:cNvSpPr>
              <a:spLocks noChangeShapeType="1"/>
            </p:cNvSpPr>
            <p:nvPr/>
          </p:nvSpPr>
          <p:spPr bwMode="auto">
            <a:xfrm>
              <a:off x="7308892" y="2401110"/>
              <a:ext cx="20771" cy="10613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70" name="Freeform 1426"/>
            <p:cNvSpPr>
              <a:spLocks/>
            </p:cNvSpPr>
            <p:nvPr/>
          </p:nvSpPr>
          <p:spPr bwMode="auto">
            <a:xfrm>
              <a:off x="7308892" y="2390497"/>
              <a:ext cx="62312" cy="10613"/>
            </a:xfrm>
            <a:custGeom>
              <a:avLst/>
              <a:gdLst/>
              <a:ahLst/>
              <a:cxnLst>
                <a:cxn ang="0">
                  <a:pos x="4" y="2"/>
                </a:cxn>
                <a:cxn ang="0">
                  <a:pos x="12" y="0"/>
                </a:cxn>
                <a:cxn ang="0">
                  <a:pos x="0" y="0"/>
                </a:cxn>
                <a:cxn ang="0">
                  <a:pos x="4" y="2"/>
                </a:cxn>
              </a:cxnLst>
              <a:rect l="0" t="0" r="r" b="b"/>
              <a:pathLst>
                <a:path w="12" h="2">
                  <a:moveTo>
                    <a:pt x="4" y="2"/>
                  </a:moveTo>
                  <a:lnTo>
                    <a:pt x="12" y="0"/>
                  </a:lnTo>
                  <a:lnTo>
                    <a:pt x="0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71" name="Freeform 1427"/>
            <p:cNvSpPr>
              <a:spLocks/>
            </p:cNvSpPr>
            <p:nvPr/>
          </p:nvSpPr>
          <p:spPr bwMode="auto">
            <a:xfrm>
              <a:off x="7308892" y="2390497"/>
              <a:ext cx="62312" cy="10613"/>
            </a:xfrm>
            <a:custGeom>
              <a:avLst/>
              <a:gdLst/>
              <a:ahLst/>
              <a:cxnLst>
                <a:cxn ang="0">
                  <a:pos x="4" y="2"/>
                </a:cxn>
                <a:cxn ang="0">
                  <a:pos x="12" y="0"/>
                </a:cxn>
                <a:cxn ang="0">
                  <a:pos x="0" y="0"/>
                </a:cxn>
              </a:cxnLst>
              <a:rect l="0" t="0" r="r" b="b"/>
              <a:pathLst>
                <a:path w="12" h="2">
                  <a:moveTo>
                    <a:pt x="4" y="2"/>
                  </a:moveTo>
                  <a:lnTo>
                    <a:pt x="12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72" name="Freeform 1428"/>
            <p:cNvSpPr>
              <a:spLocks/>
            </p:cNvSpPr>
            <p:nvPr/>
          </p:nvSpPr>
          <p:spPr bwMode="auto">
            <a:xfrm>
              <a:off x="6581915" y="2316204"/>
              <a:ext cx="51927" cy="26533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10" y="5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3"/>
                </a:cxn>
                <a:cxn ang="0">
                  <a:pos x="0" y="5"/>
                </a:cxn>
              </a:cxnLst>
              <a:rect l="0" t="0" r="r" b="b"/>
              <a:pathLst>
                <a:path w="10" h="5">
                  <a:moveTo>
                    <a:pt x="0" y="5"/>
                  </a:moveTo>
                  <a:lnTo>
                    <a:pt x="10" y="5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73" name="Line 1429"/>
            <p:cNvSpPr>
              <a:spLocks noChangeShapeType="1"/>
            </p:cNvSpPr>
            <p:nvPr/>
          </p:nvSpPr>
          <p:spPr bwMode="auto">
            <a:xfrm>
              <a:off x="6545566" y="2332124"/>
              <a:ext cx="15578" cy="5307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74" name="Freeform 1430"/>
            <p:cNvSpPr>
              <a:spLocks/>
            </p:cNvSpPr>
            <p:nvPr/>
          </p:nvSpPr>
          <p:spPr bwMode="auto">
            <a:xfrm>
              <a:off x="6602686" y="2294977"/>
              <a:ext cx="88276" cy="10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7" y="2"/>
                </a:cxn>
                <a:cxn ang="0">
                  <a:pos x="17" y="0"/>
                </a:cxn>
                <a:cxn ang="0">
                  <a:pos x="8" y="0"/>
                </a:cxn>
                <a:cxn ang="0">
                  <a:pos x="0" y="0"/>
                </a:cxn>
              </a:cxnLst>
              <a:rect l="0" t="0" r="r" b="b"/>
              <a:pathLst>
                <a:path w="17" h="2">
                  <a:moveTo>
                    <a:pt x="0" y="0"/>
                  </a:moveTo>
                  <a:lnTo>
                    <a:pt x="17" y="2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75" name="Freeform 1431"/>
            <p:cNvSpPr>
              <a:spLocks/>
            </p:cNvSpPr>
            <p:nvPr/>
          </p:nvSpPr>
          <p:spPr bwMode="auto">
            <a:xfrm>
              <a:off x="6441713" y="2268444"/>
              <a:ext cx="150588" cy="37147"/>
            </a:xfrm>
            <a:custGeom>
              <a:avLst/>
              <a:gdLst/>
              <a:ahLst/>
              <a:cxnLst>
                <a:cxn ang="0">
                  <a:pos x="4" y="5"/>
                </a:cxn>
                <a:cxn ang="0">
                  <a:pos x="14" y="7"/>
                </a:cxn>
                <a:cxn ang="0">
                  <a:pos x="27" y="7"/>
                </a:cxn>
                <a:cxn ang="0">
                  <a:pos x="29" y="5"/>
                </a:cxn>
                <a:cxn ang="0">
                  <a:pos x="14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2" y="3"/>
                </a:cxn>
                <a:cxn ang="0">
                  <a:pos x="4" y="5"/>
                </a:cxn>
              </a:cxnLst>
              <a:rect l="0" t="0" r="r" b="b"/>
              <a:pathLst>
                <a:path w="29" h="7">
                  <a:moveTo>
                    <a:pt x="4" y="5"/>
                  </a:moveTo>
                  <a:lnTo>
                    <a:pt x="14" y="7"/>
                  </a:lnTo>
                  <a:lnTo>
                    <a:pt x="27" y="7"/>
                  </a:lnTo>
                  <a:lnTo>
                    <a:pt x="29" y="5"/>
                  </a:lnTo>
                  <a:lnTo>
                    <a:pt x="14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2" y="3"/>
                  </a:lnTo>
                  <a:lnTo>
                    <a:pt x="4" y="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76" name="Freeform 1432"/>
            <p:cNvSpPr>
              <a:spLocks/>
            </p:cNvSpPr>
            <p:nvPr/>
          </p:nvSpPr>
          <p:spPr bwMode="auto">
            <a:xfrm>
              <a:off x="5777049" y="2188843"/>
              <a:ext cx="77890" cy="31840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15" y="6"/>
                </a:cxn>
                <a:cxn ang="0">
                  <a:pos x="13" y="4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4"/>
                </a:cxn>
                <a:cxn ang="0">
                  <a:pos x="0" y="6"/>
                </a:cxn>
              </a:cxnLst>
              <a:rect l="0" t="0" r="r" b="b"/>
              <a:pathLst>
                <a:path w="15" h="6">
                  <a:moveTo>
                    <a:pt x="0" y="6"/>
                  </a:moveTo>
                  <a:lnTo>
                    <a:pt x="15" y="6"/>
                  </a:lnTo>
                  <a:lnTo>
                    <a:pt x="13" y="4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77" name="Freeform 1433"/>
            <p:cNvSpPr>
              <a:spLocks/>
            </p:cNvSpPr>
            <p:nvPr/>
          </p:nvSpPr>
          <p:spPr bwMode="auto">
            <a:xfrm>
              <a:off x="5605690" y="2162310"/>
              <a:ext cx="160974" cy="47760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5" y="9"/>
                </a:cxn>
                <a:cxn ang="0">
                  <a:pos x="31" y="9"/>
                </a:cxn>
                <a:cxn ang="0">
                  <a:pos x="29" y="5"/>
                </a:cxn>
                <a:cxn ang="0">
                  <a:pos x="8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0" y="2"/>
                </a:cxn>
              </a:cxnLst>
              <a:rect l="0" t="0" r="r" b="b"/>
              <a:pathLst>
                <a:path w="31" h="9">
                  <a:moveTo>
                    <a:pt x="0" y="2"/>
                  </a:moveTo>
                  <a:lnTo>
                    <a:pt x="15" y="9"/>
                  </a:lnTo>
                  <a:lnTo>
                    <a:pt x="31" y="9"/>
                  </a:lnTo>
                  <a:lnTo>
                    <a:pt x="29" y="5"/>
                  </a:lnTo>
                  <a:lnTo>
                    <a:pt x="8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78" name="Freeform 1434"/>
            <p:cNvSpPr>
              <a:spLocks/>
            </p:cNvSpPr>
            <p:nvPr/>
          </p:nvSpPr>
          <p:spPr bwMode="auto">
            <a:xfrm>
              <a:off x="5076036" y="2257830"/>
              <a:ext cx="249249" cy="143280"/>
            </a:xfrm>
            <a:custGeom>
              <a:avLst/>
              <a:gdLst/>
              <a:ahLst/>
              <a:cxnLst>
                <a:cxn ang="0">
                  <a:pos x="4" y="25"/>
                </a:cxn>
                <a:cxn ang="0">
                  <a:pos x="12" y="27"/>
                </a:cxn>
                <a:cxn ang="0">
                  <a:pos x="23" y="27"/>
                </a:cxn>
                <a:cxn ang="0">
                  <a:pos x="16" y="25"/>
                </a:cxn>
                <a:cxn ang="0">
                  <a:pos x="14" y="18"/>
                </a:cxn>
                <a:cxn ang="0">
                  <a:pos x="25" y="7"/>
                </a:cxn>
                <a:cxn ang="0">
                  <a:pos x="48" y="2"/>
                </a:cxn>
                <a:cxn ang="0">
                  <a:pos x="46" y="0"/>
                </a:cxn>
                <a:cxn ang="0">
                  <a:pos x="43" y="0"/>
                </a:cxn>
                <a:cxn ang="0">
                  <a:pos x="37" y="0"/>
                </a:cxn>
                <a:cxn ang="0">
                  <a:pos x="23" y="2"/>
                </a:cxn>
                <a:cxn ang="0">
                  <a:pos x="8" y="7"/>
                </a:cxn>
                <a:cxn ang="0">
                  <a:pos x="8" y="11"/>
                </a:cxn>
                <a:cxn ang="0">
                  <a:pos x="6" y="11"/>
                </a:cxn>
                <a:cxn ang="0">
                  <a:pos x="8" y="16"/>
                </a:cxn>
                <a:cxn ang="0">
                  <a:pos x="4" y="18"/>
                </a:cxn>
                <a:cxn ang="0">
                  <a:pos x="6" y="18"/>
                </a:cxn>
                <a:cxn ang="0">
                  <a:pos x="0" y="20"/>
                </a:cxn>
                <a:cxn ang="0">
                  <a:pos x="2" y="23"/>
                </a:cxn>
                <a:cxn ang="0">
                  <a:pos x="4" y="25"/>
                </a:cxn>
              </a:cxnLst>
              <a:rect l="0" t="0" r="r" b="b"/>
              <a:pathLst>
                <a:path w="48" h="27">
                  <a:moveTo>
                    <a:pt x="4" y="25"/>
                  </a:moveTo>
                  <a:lnTo>
                    <a:pt x="12" y="27"/>
                  </a:lnTo>
                  <a:lnTo>
                    <a:pt x="23" y="27"/>
                  </a:lnTo>
                  <a:lnTo>
                    <a:pt x="16" y="25"/>
                  </a:lnTo>
                  <a:lnTo>
                    <a:pt x="14" y="18"/>
                  </a:lnTo>
                  <a:lnTo>
                    <a:pt x="25" y="7"/>
                  </a:lnTo>
                  <a:lnTo>
                    <a:pt x="48" y="2"/>
                  </a:lnTo>
                  <a:lnTo>
                    <a:pt x="46" y="0"/>
                  </a:lnTo>
                  <a:lnTo>
                    <a:pt x="43" y="0"/>
                  </a:lnTo>
                  <a:lnTo>
                    <a:pt x="37" y="0"/>
                  </a:lnTo>
                  <a:lnTo>
                    <a:pt x="23" y="2"/>
                  </a:lnTo>
                  <a:lnTo>
                    <a:pt x="8" y="7"/>
                  </a:lnTo>
                  <a:lnTo>
                    <a:pt x="8" y="11"/>
                  </a:lnTo>
                  <a:lnTo>
                    <a:pt x="6" y="11"/>
                  </a:lnTo>
                  <a:lnTo>
                    <a:pt x="8" y="16"/>
                  </a:lnTo>
                  <a:lnTo>
                    <a:pt x="4" y="18"/>
                  </a:lnTo>
                  <a:lnTo>
                    <a:pt x="6" y="18"/>
                  </a:lnTo>
                  <a:lnTo>
                    <a:pt x="0" y="20"/>
                  </a:lnTo>
                  <a:lnTo>
                    <a:pt x="2" y="23"/>
                  </a:lnTo>
                  <a:lnTo>
                    <a:pt x="4" y="2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79" name="Freeform 1435"/>
            <p:cNvSpPr>
              <a:spLocks/>
            </p:cNvSpPr>
            <p:nvPr/>
          </p:nvSpPr>
          <p:spPr bwMode="auto">
            <a:xfrm>
              <a:off x="5050073" y="2438257"/>
              <a:ext cx="46734" cy="10613"/>
            </a:xfrm>
            <a:custGeom>
              <a:avLst/>
              <a:gdLst/>
              <a:ahLst/>
              <a:cxnLst>
                <a:cxn ang="0">
                  <a:pos x="3" y="2"/>
                </a:cxn>
                <a:cxn ang="0">
                  <a:pos x="5" y="2"/>
                </a:cxn>
                <a:cxn ang="0">
                  <a:pos x="9" y="0"/>
                </a:cxn>
                <a:cxn ang="0">
                  <a:pos x="3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3" y="2"/>
                </a:cxn>
              </a:cxnLst>
              <a:rect l="0" t="0" r="r" b="b"/>
              <a:pathLst>
                <a:path w="9" h="2">
                  <a:moveTo>
                    <a:pt x="3" y="2"/>
                  </a:moveTo>
                  <a:lnTo>
                    <a:pt x="5" y="2"/>
                  </a:lnTo>
                  <a:lnTo>
                    <a:pt x="9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3" y="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80" name="Freeform 1436"/>
            <p:cNvSpPr>
              <a:spLocks/>
            </p:cNvSpPr>
            <p:nvPr/>
          </p:nvSpPr>
          <p:spPr bwMode="auto">
            <a:xfrm>
              <a:off x="5076036" y="2162310"/>
              <a:ext cx="119432" cy="1061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4" y="2"/>
                </a:cxn>
                <a:cxn ang="0">
                  <a:pos x="16" y="2"/>
                </a:cxn>
                <a:cxn ang="0">
                  <a:pos x="14" y="0"/>
                </a:cxn>
                <a:cxn ang="0">
                  <a:pos x="23" y="0"/>
                </a:cxn>
                <a:cxn ang="0">
                  <a:pos x="21" y="0"/>
                </a:cxn>
                <a:cxn ang="0">
                  <a:pos x="10" y="2"/>
                </a:cxn>
                <a:cxn ang="0">
                  <a:pos x="2" y="2"/>
                </a:cxn>
                <a:cxn ang="0">
                  <a:pos x="0" y="2"/>
                </a:cxn>
              </a:cxnLst>
              <a:rect l="0" t="0" r="r" b="b"/>
              <a:pathLst>
                <a:path w="23" h="2">
                  <a:moveTo>
                    <a:pt x="0" y="2"/>
                  </a:moveTo>
                  <a:lnTo>
                    <a:pt x="14" y="2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23" y="0"/>
                  </a:lnTo>
                  <a:lnTo>
                    <a:pt x="21" y="0"/>
                  </a:lnTo>
                  <a:lnTo>
                    <a:pt x="10" y="2"/>
                  </a:lnTo>
                  <a:lnTo>
                    <a:pt x="2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81" name="Freeform 1437"/>
            <p:cNvSpPr>
              <a:spLocks/>
            </p:cNvSpPr>
            <p:nvPr/>
          </p:nvSpPr>
          <p:spPr bwMode="auto">
            <a:xfrm>
              <a:off x="5029302" y="2141083"/>
              <a:ext cx="77890" cy="21227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15" y="4"/>
                </a:cxn>
                <a:cxn ang="0">
                  <a:pos x="13" y="4"/>
                </a:cxn>
                <a:cxn ang="0">
                  <a:pos x="13" y="0"/>
                </a:cxn>
                <a:cxn ang="0">
                  <a:pos x="7" y="4"/>
                </a:cxn>
                <a:cxn ang="0">
                  <a:pos x="2" y="4"/>
                </a:cxn>
                <a:cxn ang="0">
                  <a:pos x="0" y="4"/>
                </a:cxn>
              </a:cxnLst>
              <a:rect l="0" t="0" r="r" b="b"/>
              <a:pathLst>
                <a:path w="15" h="4">
                  <a:moveTo>
                    <a:pt x="0" y="4"/>
                  </a:moveTo>
                  <a:lnTo>
                    <a:pt x="15" y="4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7" y="4"/>
                  </a:lnTo>
                  <a:lnTo>
                    <a:pt x="2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82" name="Line 1438"/>
            <p:cNvSpPr>
              <a:spLocks noChangeShapeType="1"/>
            </p:cNvSpPr>
            <p:nvPr/>
          </p:nvSpPr>
          <p:spPr bwMode="auto">
            <a:xfrm>
              <a:off x="5018917" y="2188843"/>
              <a:ext cx="31156" cy="5307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83" name="Freeform 1439"/>
            <p:cNvSpPr>
              <a:spLocks/>
            </p:cNvSpPr>
            <p:nvPr/>
          </p:nvSpPr>
          <p:spPr bwMode="auto">
            <a:xfrm>
              <a:off x="4889099" y="2162310"/>
              <a:ext cx="98661" cy="1061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3" y="2"/>
                </a:cxn>
                <a:cxn ang="0">
                  <a:pos x="17" y="2"/>
                </a:cxn>
                <a:cxn ang="0">
                  <a:pos x="19" y="2"/>
                </a:cxn>
                <a:cxn ang="0">
                  <a:pos x="9" y="0"/>
                </a:cxn>
                <a:cxn ang="0">
                  <a:pos x="4" y="2"/>
                </a:cxn>
                <a:cxn ang="0">
                  <a:pos x="0" y="2"/>
                </a:cxn>
              </a:cxnLst>
              <a:rect l="0" t="0" r="r" b="b"/>
              <a:pathLst>
                <a:path w="19" h="2">
                  <a:moveTo>
                    <a:pt x="0" y="2"/>
                  </a:moveTo>
                  <a:lnTo>
                    <a:pt x="13" y="2"/>
                  </a:lnTo>
                  <a:lnTo>
                    <a:pt x="17" y="2"/>
                  </a:lnTo>
                  <a:lnTo>
                    <a:pt x="19" y="2"/>
                  </a:lnTo>
                  <a:lnTo>
                    <a:pt x="9" y="0"/>
                  </a:lnTo>
                  <a:lnTo>
                    <a:pt x="4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84" name="Freeform 1440"/>
            <p:cNvSpPr>
              <a:spLocks/>
            </p:cNvSpPr>
            <p:nvPr/>
          </p:nvSpPr>
          <p:spPr bwMode="auto">
            <a:xfrm>
              <a:off x="4390601" y="2172923"/>
              <a:ext cx="249249" cy="8490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2" y="7"/>
                </a:cxn>
                <a:cxn ang="0">
                  <a:pos x="4" y="9"/>
                </a:cxn>
                <a:cxn ang="0">
                  <a:pos x="9" y="9"/>
                </a:cxn>
                <a:cxn ang="0">
                  <a:pos x="9" y="14"/>
                </a:cxn>
                <a:cxn ang="0">
                  <a:pos x="17" y="16"/>
                </a:cxn>
                <a:cxn ang="0">
                  <a:pos x="21" y="9"/>
                </a:cxn>
                <a:cxn ang="0">
                  <a:pos x="27" y="9"/>
                </a:cxn>
                <a:cxn ang="0">
                  <a:pos x="27" y="14"/>
                </a:cxn>
                <a:cxn ang="0">
                  <a:pos x="42" y="14"/>
                </a:cxn>
                <a:cxn ang="0">
                  <a:pos x="21" y="7"/>
                </a:cxn>
                <a:cxn ang="0">
                  <a:pos x="21" y="3"/>
                </a:cxn>
                <a:cxn ang="0">
                  <a:pos x="36" y="7"/>
                </a:cxn>
                <a:cxn ang="0">
                  <a:pos x="48" y="3"/>
                </a:cxn>
                <a:cxn ang="0">
                  <a:pos x="44" y="0"/>
                </a:cxn>
                <a:cxn ang="0">
                  <a:pos x="25" y="0"/>
                </a:cxn>
                <a:cxn ang="0">
                  <a:pos x="13" y="3"/>
                </a:cxn>
                <a:cxn ang="0">
                  <a:pos x="6" y="3"/>
                </a:cxn>
                <a:cxn ang="0">
                  <a:pos x="0" y="3"/>
                </a:cxn>
              </a:cxnLst>
              <a:rect l="0" t="0" r="r" b="b"/>
              <a:pathLst>
                <a:path w="48" h="16">
                  <a:moveTo>
                    <a:pt x="0" y="3"/>
                  </a:moveTo>
                  <a:lnTo>
                    <a:pt x="2" y="7"/>
                  </a:lnTo>
                  <a:lnTo>
                    <a:pt x="4" y="9"/>
                  </a:lnTo>
                  <a:lnTo>
                    <a:pt x="9" y="9"/>
                  </a:lnTo>
                  <a:lnTo>
                    <a:pt x="9" y="14"/>
                  </a:lnTo>
                  <a:lnTo>
                    <a:pt x="17" y="16"/>
                  </a:lnTo>
                  <a:lnTo>
                    <a:pt x="21" y="9"/>
                  </a:lnTo>
                  <a:lnTo>
                    <a:pt x="27" y="9"/>
                  </a:lnTo>
                  <a:lnTo>
                    <a:pt x="27" y="14"/>
                  </a:lnTo>
                  <a:lnTo>
                    <a:pt x="42" y="14"/>
                  </a:lnTo>
                  <a:lnTo>
                    <a:pt x="21" y="7"/>
                  </a:lnTo>
                  <a:lnTo>
                    <a:pt x="21" y="3"/>
                  </a:lnTo>
                  <a:lnTo>
                    <a:pt x="36" y="7"/>
                  </a:lnTo>
                  <a:lnTo>
                    <a:pt x="48" y="3"/>
                  </a:lnTo>
                  <a:lnTo>
                    <a:pt x="44" y="0"/>
                  </a:lnTo>
                  <a:lnTo>
                    <a:pt x="25" y="0"/>
                  </a:lnTo>
                  <a:lnTo>
                    <a:pt x="13" y="3"/>
                  </a:lnTo>
                  <a:lnTo>
                    <a:pt x="6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85" name="Line 1441"/>
            <p:cNvSpPr>
              <a:spLocks noChangeShapeType="1"/>
            </p:cNvSpPr>
            <p:nvPr/>
          </p:nvSpPr>
          <p:spPr bwMode="auto">
            <a:xfrm>
              <a:off x="4032306" y="2639911"/>
              <a:ext cx="10385" cy="5307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86" name="Freeform 1442"/>
            <p:cNvSpPr>
              <a:spLocks/>
            </p:cNvSpPr>
            <p:nvPr/>
          </p:nvSpPr>
          <p:spPr bwMode="auto">
            <a:xfrm>
              <a:off x="4130968" y="2677057"/>
              <a:ext cx="20771" cy="2122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0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w="4" h="4">
                  <a:moveTo>
                    <a:pt x="0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87" name="Line 1443"/>
            <p:cNvSpPr>
              <a:spLocks noChangeShapeType="1"/>
            </p:cNvSpPr>
            <p:nvPr/>
          </p:nvSpPr>
          <p:spPr bwMode="auto">
            <a:xfrm>
              <a:off x="4110197" y="2724818"/>
              <a:ext cx="5193" cy="10613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88" name="Freeform 1444"/>
            <p:cNvSpPr>
              <a:spLocks/>
            </p:cNvSpPr>
            <p:nvPr/>
          </p:nvSpPr>
          <p:spPr bwMode="auto">
            <a:xfrm>
              <a:off x="4021921" y="2724818"/>
              <a:ext cx="20771" cy="37147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2" y="7"/>
                </a:cxn>
                <a:cxn ang="0">
                  <a:pos x="4" y="0"/>
                </a:cxn>
                <a:cxn ang="0">
                  <a:pos x="0" y="4"/>
                </a:cxn>
                <a:cxn ang="0">
                  <a:pos x="0" y="7"/>
                </a:cxn>
              </a:cxnLst>
              <a:rect l="0" t="0" r="r" b="b"/>
              <a:pathLst>
                <a:path w="4" h="7">
                  <a:moveTo>
                    <a:pt x="0" y="7"/>
                  </a:moveTo>
                  <a:lnTo>
                    <a:pt x="2" y="7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89" name="Freeform 1445"/>
            <p:cNvSpPr>
              <a:spLocks/>
            </p:cNvSpPr>
            <p:nvPr/>
          </p:nvSpPr>
          <p:spPr bwMode="auto">
            <a:xfrm>
              <a:off x="4530804" y="2746044"/>
              <a:ext cx="10385" cy="26533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5"/>
                </a:cxn>
                <a:cxn ang="0">
                  <a:pos x="0" y="3"/>
                </a:cxn>
                <a:cxn ang="0">
                  <a:pos x="2" y="0"/>
                </a:cxn>
                <a:cxn ang="0">
                  <a:pos x="0" y="3"/>
                </a:cxn>
              </a:cxnLst>
              <a:rect l="0" t="0" r="r" b="b"/>
              <a:pathLst>
                <a:path w="2" h="5">
                  <a:moveTo>
                    <a:pt x="0" y="3"/>
                  </a:moveTo>
                  <a:lnTo>
                    <a:pt x="0" y="5"/>
                  </a:lnTo>
                  <a:lnTo>
                    <a:pt x="0" y="3"/>
                  </a:lnTo>
                  <a:lnTo>
                    <a:pt x="2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90" name="Freeform 1446"/>
            <p:cNvSpPr>
              <a:spLocks/>
            </p:cNvSpPr>
            <p:nvPr/>
          </p:nvSpPr>
          <p:spPr bwMode="auto">
            <a:xfrm>
              <a:off x="4608695" y="2724818"/>
              <a:ext cx="10385" cy="21227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4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91" name="Freeform 1447"/>
            <p:cNvSpPr>
              <a:spLocks/>
            </p:cNvSpPr>
            <p:nvPr/>
          </p:nvSpPr>
          <p:spPr bwMode="auto">
            <a:xfrm>
              <a:off x="4608695" y="2714204"/>
              <a:ext cx="10385" cy="1061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" y="2"/>
                </a:cxn>
                <a:cxn ang="0">
                  <a:pos x="0" y="0"/>
                </a:cxn>
                <a:cxn ang="0">
                  <a:pos x="0" y="2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92" name="Freeform 1448"/>
            <p:cNvSpPr>
              <a:spLocks/>
            </p:cNvSpPr>
            <p:nvPr/>
          </p:nvSpPr>
          <p:spPr bwMode="auto">
            <a:xfrm>
              <a:off x="4032306" y="2724818"/>
              <a:ext cx="166166" cy="249414"/>
            </a:xfrm>
            <a:custGeom>
              <a:avLst/>
              <a:gdLst/>
              <a:ahLst/>
              <a:cxnLst>
                <a:cxn ang="0">
                  <a:pos x="0" y="47"/>
                </a:cxn>
                <a:cxn ang="0">
                  <a:pos x="2" y="47"/>
                </a:cxn>
                <a:cxn ang="0">
                  <a:pos x="9" y="47"/>
                </a:cxn>
                <a:cxn ang="0">
                  <a:pos x="11" y="43"/>
                </a:cxn>
                <a:cxn ang="0">
                  <a:pos x="15" y="47"/>
                </a:cxn>
                <a:cxn ang="0">
                  <a:pos x="25" y="43"/>
                </a:cxn>
                <a:cxn ang="0">
                  <a:pos x="30" y="40"/>
                </a:cxn>
                <a:cxn ang="0">
                  <a:pos x="25" y="40"/>
                </a:cxn>
                <a:cxn ang="0">
                  <a:pos x="32" y="34"/>
                </a:cxn>
                <a:cxn ang="0">
                  <a:pos x="30" y="31"/>
                </a:cxn>
                <a:cxn ang="0">
                  <a:pos x="23" y="31"/>
                </a:cxn>
                <a:cxn ang="0">
                  <a:pos x="25" y="31"/>
                </a:cxn>
                <a:cxn ang="0">
                  <a:pos x="23" y="25"/>
                </a:cxn>
                <a:cxn ang="0">
                  <a:pos x="19" y="22"/>
                </a:cxn>
                <a:cxn ang="0">
                  <a:pos x="17" y="16"/>
                </a:cxn>
                <a:cxn ang="0">
                  <a:pos x="11" y="16"/>
                </a:cxn>
                <a:cxn ang="0">
                  <a:pos x="17" y="7"/>
                </a:cxn>
                <a:cxn ang="0">
                  <a:pos x="9" y="7"/>
                </a:cxn>
                <a:cxn ang="0">
                  <a:pos x="15" y="4"/>
                </a:cxn>
                <a:cxn ang="0">
                  <a:pos x="15" y="0"/>
                </a:cxn>
                <a:cxn ang="0">
                  <a:pos x="7" y="0"/>
                </a:cxn>
                <a:cxn ang="0">
                  <a:pos x="2" y="7"/>
                </a:cxn>
                <a:cxn ang="0">
                  <a:pos x="2" y="9"/>
                </a:cxn>
                <a:cxn ang="0">
                  <a:pos x="0" y="13"/>
                </a:cxn>
                <a:cxn ang="0">
                  <a:pos x="2" y="13"/>
                </a:cxn>
                <a:cxn ang="0">
                  <a:pos x="2" y="16"/>
                </a:cxn>
                <a:cxn ang="0">
                  <a:pos x="0" y="16"/>
                </a:cxn>
                <a:cxn ang="0">
                  <a:pos x="2" y="16"/>
                </a:cxn>
                <a:cxn ang="0">
                  <a:pos x="2" y="18"/>
                </a:cxn>
                <a:cxn ang="0">
                  <a:pos x="7" y="16"/>
                </a:cxn>
                <a:cxn ang="0">
                  <a:pos x="7" y="18"/>
                </a:cxn>
                <a:cxn ang="0">
                  <a:pos x="2" y="22"/>
                </a:cxn>
                <a:cxn ang="0">
                  <a:pos x="7" y="22"/>
                </a:cxn>
                <a:cxn ang="0">
                  <a:pos x="11" y="22"/>
                </a:cxn>
                <a:cxn ang="0">
                  <a:pos x="9" y="22"/>
                </a:cxn>
                <a:cxn ang="0">
                  <a:pos x="15" y="25"/>
                </a:cxn>
                <a:cxn ang="0">
                  <a:pos x="11" y="31"/>
                </a:cxn>
                <a:cxn ang="0">
                  <a:pos x="7" y="31"/>
                </a:cxn>
                <a:cxn ang="0">
                  <a:pos x="7" y="34"/>
                </a:cxn>
                <a:cxn ang="0">
                  <a:pos x="2" y="38"/>
                </a:cxn>
                <a:cxn ang="0">
                  <a:pos x="2" y="40"/>
                </a:cxn>
                <a:cxn ang="0">
                  <a:pos x="9" y="40"/>
                </a:cxn>
                <a:cxn ang="0">
                  <a:pos x="11" y="40"/>
                </a:cxn>
                <a:cxn ang="0">
                  <a:pos x="7" y="40"/>
                </a:cxn>
                <a:cxn ang="0">
                  <a:pos x="2" y="45"/>
                </a:cxn>
                <a:cxn ang="0">
                  <a:pos x="0" y="47"/>
                </a:cxn>
              </a:cxnLst>
              <a:rect l="0" t="0" r="r" b="b"/>
              <a:pathLst>
                <a:path w="32" h="47">
                  <a:moveTo>
                    <a:pt x="0" y="47"/>
                  </a:moveTo>
                  <a:lnTo>
                    <a:pt x="2" y="47"/>
                  </a:lnTo>
                  <a:lnTo>
                    <a:pt x="9" y="47"/>
                  </a:lnTo>
                  <a:lnTo>
                    <a:pt x="11" y="43"/>
                  </a:lnTo>
                  <a:lnTo>
                    <a:pt x="15" y="47"/>
                  </a:lnTo>
                  <a:lnTo>
                    <a:pt x="25" y="43"/>
                  </a:lnTo>
                  <a:lnTo>
                    <a:pt x="30" y="40"/>
                  </a:lnTo>
                  <a:lnTo>
                    <a:pt x="25" y="40"/>
                  </a:lnTo>
                  <a:lnTo>
                    <a:pt x="32" y="34"/>
                  </a:lnTo>
                  <a:lnTo>
                    <a:pt x="30" y="31"/>
                  </a:lnTo>
                  <a:lnTo>
                    <a:pt x="23" y="31"/>
                  </a:lnTo>
                  <a:lnTo>
                    <a:pt x="25" y="31"/>
                  </a:lnTo>
                  <a:lnTo>
                    <a:pt x="23" y="25"/>
                  </a:lnTo>
                  <a:lnTo>
                    <a:pt x="19" y="22"/>
                  </a:lnTo>
                  <a:lnTo>
                    <a:pt x="17" y="16"/>
                  </a:lnTo>
                  <a:lnTo>
                    <a:pt x="11" y="16"/>
                  </a:lnTo>
                  <a:lnTo>
                    <a:pt x="17" y="7"/>
                  </a:lnTo>
                  <a:lnTo>
                    <a:pt x="9" y="7"/>
                  </a:lnTo>
                  <a:lnTo>
                    <a:pt x="15" y="4"/>
                  </a:lnTo>
                  <a:lnTo>
                    <a:pt x="15" y="0"/>
                  </a:lnTo>
                  <a:lnTo>
                    <a:pt x="7" y="0"/>
                  </a:lnTo>
                  <a:lnTo>
                    <a:pt x="2" y="7"/>
                  </a:lnTo>
                  <a:lnTo>
                    <a:pt x="2" y="9"/>
                  </a:lnTo>
                  <a:lnTo>
                    <a:pt x="0" y="13"/>
                  </a:lnTo>
                  <a:lnTo>
                    <a:pt x="2" y="13"/>
                  </a:lnTo>
                  <a:lnTo>
                    <a:pt x="2" y="16"/>
                  </a:lnTo>
                  <a:lnTo>
                    <a:pt x="0" y="16"/>
                  </a:lnTo>
                  <a:lnTo>
                    <a:pt x="2" y="16"/>
                  </a:lnTo>
                  <a:lnTo>
                    <a:pt x="2" y="18"/>
                  </a:lnTo>
                  <a:lnTo>
                    <a:pt x="7" y="16"/>
                  </a:lnTo>
                  <a:lnTo>
                    <a:pt x="7" y="18"/>
                  </a:lnTo>
                  <a:lnTo>
                    <a:pt x="2" y="22"/>
                  </a:lnTo>
                  <a:lnTo>
                    <a:pt x="7" y="22"/>
                  </a:lnTo>
                  <a:lnTo>
                    <a:pt x="11" y="22"/>
                  </a:lnTo>
                  <a:lnTo>
                    <a:pt x="9" y="22"/>
                  </a:lnTo>
                  <a:lnTo>
                    <a:pt x="15" y="25"/>
                  </a:lnTo>
                  <a:lnTo>
                    <a:pt x="11" y="31"/>
                  </a:lnTo>
                  <a:lnTo>
                    <a:pt x="7" y="31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0"/>
                  </a:lnTo>
                  <a:lnTo>
                    <a:pt x="9" y="40"/>
                  </a:lnTo>
                  <a:lnTo>
                    <a:pt x="11" y="40"/>
                  </a:lnTo>
                  <a:lnTo>
                    <a:pt x="7" y="40"/>
                  </a:lnTo>
                  <a:lnTo>
                    <a:pt x="2" y="45"/>
                  </a:lnTo>
                  <a:lnTo>
                    <a:pt x="0" y="4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93" name="Freeform 1449"/>
            <p:cNvSpPr>
              <a:spLocks/>
            </p:cNvSpPr>
            <p:nvPr/>
          </p:nvSpPr>
          <p:spPr bwMode="auto">
            <a:xfrm>
              <a:off x="4328290" y="3202418"/>
              <a:ext cx="10385" cy="4776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4"/>
                </a:cxn>
                <a:cxn ang="0">
                  <a:pos x="2" y="9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2" h="9">
                  <a:moveTo>
                    <a:pt x="0" y="0"/>
                  </a:moveTo>
                  <a:lnTo>
                    <a:pt x="0" y="4"/>
                  </a:lnTo>
                  <a:lnTo>
                    <a:pt x="2" y="9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94" name="Freeform 1450"/>
            <p:cNvSpPr>
              <a:spLocks/>
            </p:cNvSpPr>
            <p:nvPr/>
          </p:nvSpPr>
          <p:spPr bwMode="auto">
            <a:xfrm>
              <a:off x="4317904" y="3250178"/>
              <a:ext cx="41542" cy="5837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11"/>
                </a:cxn>
                <a:cxn ang="0">
                  <a:pos x="8" y="11"/>
                </a:cxn>
                <a:cxn ang="0">
                  <a:pos x="8" y="2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8" h="11">
                  <a:moveTo>
                    <a:pt x="0" y="0"/>
                  </a:moveTo>
                  <a:lnTo>
                    <a:pt x="2" y="11"/>
                  </a:lnTo>
                  <a:lnTo>
                    <a:pt x="8" y="11"/>
                  </a:lnTo>
                  <a:lnTo>
                    <a:pt x="8" y="2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95" name="Freeform 1451"/>
            <p:cNvSpPr>
              <a:spLocks/>
            </p:cNvSpPr>
            <p:nvPr/>
          </p:nvSpPr>
          <p:spPr bwMode="auto">
            <a:xfrm>
              <a:off x="4411372" y="3319165"/>
              <a:ext cx="77890" cy="47760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0" y="7"/>
                </a:cxn>
                <a:cxn ang="0">
                  <a:pos x="13" y="9"/>
                </a:cxn>
                <a:cxn ang="0">
                  <a:pos x="15" y="0"/>
                </a:cxn>
                <a:cxn ang="0">
                  <a:pos x="9" y="5"/>
                </a:cxn>
                <a:cxn ang="0">
                  <a:pos x="5" y="5"/>
                </a:cxn>
                <a:cxn ang="0">
                  <a:pos x="2" y="5"/>
                </a:cxn>
                <a:cxn ang="0">
                  <a:pos x="0" y="5"/>
                </a:cxn>
              </a:cxnLst>
              <a:rect l="0" t="0" r="r" b="b"/>
              <a:pathLst>
                <a:path w="15" h="9">
                  <a:moveTo>
                    <a:pt x="0" y="5"/>
                  </a:moveTo>
                  <a:lnTo>
                    <a:pt x="0" y="7"/>
                  </a:lnTo>
                  <a:lnTo>
                    <a:pt x="13" y="9"/>
                  </a:lnTo>
                  <a:lnTo>
                    <a:pt x="15" y="0"/>
                  </a:lnTo>
                  <a:lnTo>
                    <a:pt x="9" y="5"/>
                  </a:lnTo>
                  <a:lnTo>
                    <a:pt x="5" y="5"/>
                  </a:lnTo>
                  <a:lnTo>
                    <a:pt x="2" y="5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96" name="Freeform 1452"/>
            <p:cNvSpPr>
              <a:spLocks/>
            </p:cNvSpPr>
            <p:nvPr/>
          </p:nvSpPr>
          <p:spPr bwMode="auto">
            <a:xfrm>
              <a:off x="4619080" y="3319165"/>
              <a:ext cx="41542" cy="74293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0" y="7"/>
                </a:cxn>
                <a:cxn ang="0">
                  <a:pos x="4" y="9"/>
                </a:cxn>
                <a:cxn ang="0">
                  <a:pos x="6" y="14"/>
                </a:cxn>
                <a:cxn ang="0">
                  <a:pos x="6" y="9"/>
                </a:cxn>
                <a:cxn ang="0">
                  <a:pos x="8" y="14"/>
                </a:cxn>
                <a:cxn ang="0">
                  <a:pos x="6" y="7"/>
                </a:cxn>
                <a:cxn ang="0">
                  <a:pos x="8" y="7"/>
                </a:cxn>
                <a:cxn ang="0">
                  <a:pos x="6" y="5"/>
                </a:cxn>
                <a:cxn ang="0">
                  <a:pos x="4" y="0"/>
                </a:cxn>
                <a:cxn ang="0">
                  <a:pos x="2" y="3"/>
                </a:cxn>
                <a:cxn ang="0">
                  <a:pos x="0" y="5"/>
                </a:cxn>
              </a:cxnLst>
              <a:rect l="0" t="0" r="r" b="b"/>
              <a:pathLst>
                <a:path w="8" h="14">
                  <a:moveTo>
                    <a:pt x="0" y="5"/>
                  </a:moveTo>
                  <a:lnTo>
                    <a:pt x="0" y="7"/>
                  </a:lnTo>
                  <a:lnTo>
                    <a:pt x="4" y="9"/>
                  </a:lnTo>
                  <a:lnTo>
                    <a:pt x="6" y="14"/>
                  </a:lnTo>
                  <a:lnTo>
                    <a:pt x="6" y="9"/>
                  </a:lnTo>
                  <a:lnTo>
                    <a:pt x="8" y="14"/>
                  </a:lnTo>
                  <a:lnTo>
                    <a:pt x="6" y="7"/>
                  </a:lnTo>
                  <a:lnTo>
                    <a:pt x="8" y="7"/>
                  </a:lnTo>
                  <a:lnTo>
                    <a:pt x="6" y="5"/>
                  </a:lnTo>
                  <a:lnTo>
                    <a:pt x="4" y="0"/>
                  </a:lnTo>
                  <a:lnTo>
                    <a:pt x="2" y="3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97" name="Freeform 1453"/>
            <p:cNvSpPr>
              <a:spLocks/>
            </p:cNvSpPr>
            <p:nvPr/>
          </p:nvSpPr>
          <p:spPr bwMode="auto">
            <a:xfrm>
              <a:off x="4686585" y="3404072"/>
              <a:ext cx="51927" cy="37147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4" y="7"/>
                </a:cxn>
                <a:cxn ang="0">
                  <a:pos x="10" y="7"/>
                </a:cxn>
                <a:cxn ang="0">
                  <a:pos x="10" y="5"/>
                </a:cxn>
                <a:cxn ang="0">
                  <a:pos x="8" y="5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5"/>
                </a:cxn>
              </a:cxnLst>
              <a:rect l="0" t="0" r="r" b="b"/>
              <a:pathLst>
                <a:path w="10" h="7">
                  <a:moveTo>
                    <a:pt x="0" y="5"/>
                  </a:moveTo>
                  <a:lnTo>
                    <a:pt x="4" y="7"/>
                  </a:lnTo>
                  <a:lnTo>
                    <a:pt x="10" y="7"/>
                  </a:lnTo>
                  <a:lnTo>
                    <a:pt x="10" y="5"/>
                  </a:lnTo>
                  <a:lnTo>
                    <a:pt x="8" y="5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98" name="Freeform 1454"/>
            <p:cNvSpPr>
              <a:spLocks/>
            </p:cNvSpPr>
            <p:nvPr/>
          </p:nvSpPr>
          <p:spPr bwMode="auto">
            <a:xfrm>
              <a:off x="4868329" y="3404072"/>
              <a:ext cx="67504" cy="37147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4" y="7"/>
                </a:cxn>
                <a:cxn ang="0">
                  <a:pos x="6" y="7"/>
                </a:cxn>
                <a:cxn ang="0">
                  <a:pos x="8" y="7"/>
                </a:cxn>
                <a:cxn ang="0">
                  <a:pos x="8" y="5"/>
                </a:cxn>
                <a:cxn ang="0">
                  <a:pos x="13" y="0"/>
                </a:cxn>
                <a:cxn ang="0">
                  <a:pos x="6" y="5"/>
                </a:cxn>
                <a:cxn ang="0">
                  <a:pos x="0" y="7"/>
                </a:cxn>
              </a:cxnLst>
              <a:rect l="0" t="0" r="r" b="b"/>
              <a:pathLst>
                <a:path w="13" h="7">
                  <a:moveTo>
                    <a:pt x="0" y="7"/>
                  </a:moveTo>
                  <a:lnTo>
                    <a:pt x="4" y="7"/>
                  </a:lnTo>
                  <a:lnTo>
                    <a:pt x="6" y="7"/>
                  </a:lnTo>
                  <a:lnTo>
                    <a:pt x="8" y="7"/>
                  </a:lnTo>
                  <a:lnTo>
                    <a:pt x="8" y="5"/>
                  </a:lnTo>
                  <a:lnTo>
                    <a:pt x="13" y="0"/>
                  </a:lnTo>
                  <a:lnTo>
                    <a:pt x="6" y="5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99" name="Freeform 1455"/>
            <p:cNvSpPr>
              <a:spLocks/>
            </p:cNvSpPr>
            <p:nvPr/>
          </p:nvSpPr>
          <p:spPr bwMode="auto">
            <a:xfrm>
              <a:off x="4188087" y="3271405"/>
              <a:ext cx="20771" cy="37147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4" y="7"/>
                </a:cxn>
                <a:cxn ang="0">
                  <a:pos x="4" y="5"/>
                </a:cxn>
                <a:cxn ang="0">
                  <a:pos x="2" y="0"/>
                </a:cxn>
                <a:cxn ang="0">
                  <a:pos x="0" y="3"/>
                </a:cxn>
                <a:cxn ang="0">
                  <a:pos x="0" y="5"/>
                </a:cxn>
              </a:cxnLst>
              <a:rect l="0" t="0" r="r" b="b"/>
              <a:pathLst>
                <a:path w="4" h="7">
                  <a:moveTo>
                    <a:pt x="0" y="5"/>
                  </a:moveTo>
                  <a:lnTo>
                    <a:pt x="4" y="7"/>
                  </a:lnTo>
                  <a:lnTo>
                    <a:pt x="4" y="5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0" name="Line 1456"/>
            <p:cNvSpPr>
              <a:spLocks noChangeShapeType="1"/>
            </p:cNvSpPr>
            <p:nvPr/>
          </p:nvSpPr>
          <p:spPr bwMode="auto">
            <a:xfrm>
              <a:off x="3471496" y="3335085"/>
              <a:ext cx="20771" cy="5307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1" name="Line 1457"/>
            <p:cNvSpPr>
              <a:spLocks noChangeShapeType="1"/>
            </p:cNvSpPr>
            <p:nvPr/>
          </p:nvSpPr>
          <p:spPr bwMode="auto">
            <a:xfrm>
              <a:off x="3533809" y="3356312"/>
              <a:ext cx="36349" cy="5307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2" name="Freeform 1458"/>
            <p:cNvSpPr>
              <a:spLocks/>
            </p:cNvSpPr>
            <p:nvPr/>
          </p:nvSpPr>
          <p:spPr bwMode="auto">
            <a:xfrm>
              <a:off x="3720746" y="3632259"/>
              <a:ext cx="20771" cy="2653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5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4" h="5">
                  <a:moveTo>
                    <a:pt x="0" y="0"/>
                  </a:moveTo>
                  <a:lnTo>
                    <a:pt x="0" y="5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3" name="Freeform 1459"/>
            <p:cNvSpPr>
              <a:spLocks/>
            </p:cNvSpPr>
            <p:nvPr/>
          </p:nvSpPr>
          <p:spPr bwMode="auto">
            <a:xfrm>
              <a:off x="3783057" y="3621646"/>
              <a:ext cx="36349" cy="37147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7" y="0"/>
                </a:cxn>
                <a:cxn ang="0">
                  <a:pos x="2" y="4"/>
                </a:cxn>
                <a:cxn ang="0">
                  <a:pos x="0" y="7"/>
                </a:cxn>
              </a:cxnLst>
              <a:rect l="0" t="0" r="r" b="b"/>
              <a:pathLst>
                <a:path w="7" h="7">
                  <a:moveTo>
                    <a:pt x="0" y="7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7" y="0"/>
                  </a:lnTo>
                  <a:lnTo>
                    <a:pt x="2" y="4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4" name="Freeform 1460"/>
            <p:cNvSpPr>
              <a:spLocks/>
            </p:cNvSpPr>
            <p:nvPr/>
          </p:nvSpPr>
          <p:spPr bwMode="auto">
            <a:xfrm>
              <a:off x="6810394" y="4836874"/>
              <a:ext cx="960647" cy="875601"/>
            </a:xfrm>
            <a:custGeom>
              <a:avLst/>
              <a:gdLst/>
              <a:ahLst/>
              <a:cxnLst>
                <a:cxn ang="0">
                  <a:pos x="4" y="140"/>
                </a:cxn>
                <a:cxn ang="0">
                  <a:pos x="23" y="133"/>
                </a:cxn>
                <a:cxn ang="0">
                  <a:pos x="39" y="129"/>
                </a:cxn>
                <a:cxn ang="0">
                  <a:pos x="77" y="122"/>
                </a:cxn>
                <a:cxn ang="0">
                  <a:pos x="87" y="140"/>
                </a:cxn>
                <a:cxn ang="0">
                  <a:pos x="102" y="131"/>
                </a:cxn>
                <a:cxn ang="0">
                  <a:pos x="102" y="138"/>
                </a:cxn>
                <a:cxn ang="0">
                  <a:pos x="100" y="142"/>
                </a:cxn>
                <a:cxn ang="0">
                  <a:pos x="102" y="147"/>
                </a:cxn>
                <a:cxn ang="0">
                  <a:pos x="102" y="151"/>
                </a:cxn>
                <a:cxn ang="0">
                  <a:pos x="114" y="160"/>
                </a:cxn>
                <a:cxn ang="0">
                  <a:pos x="123" y="160"/>
                </a:cxn>
                <a:cxn ang="0">
                  <a:pos x="125" y="160"/>
                </a:cxn>
                <a:cxn ang="0">
                  <a:pos x="146" y="156"/>
                </a:cxn>
                <a:cxn ang="0">
                  <a:pos x="175" y="118"/>
                </a:cxn>
                <a:cxn ang="0">
                  <a:pos x="185" y="88"/>
                </a:cxn>
                <a:cxn ang="0">
                  <a:pos x="179" y="73"/>
                </a:cxn>
                <a:cxn ang="0">
                  <a:pos x="175" y="66"/>
                </a:cxn>
                <a:cxn ang="0">
                  <a:pos x="166" y="52"/>
                </a:cxn>
                <a:cxn ang="0">
                  <a:pos x="164" y="39"/>
                </a:cxn>
                <a:cxn ang="0">
                  <a:pos x="162" y="23"/>
                </a:cxn>
                <a:cxn ang="0">
                  <a:pos x="156" y="21"/>
                </a:cxn>
                <a:cxn ang="0">
                  <a:pos x="150" y="0"/>
                </a:cxn>
                <a:cxn ang="0">
                  <a:pos x="146" y="30"/>
                </a:cxn>
                <a:cxn ang="0">
                  <a:pos x="135" y="39"/>
                </a:cxn>
                <a:cxn ang="0">
                  <a:pos x="131" y="37"/>
                </a:cxn>
                <a:cxn ang="0">
                  <a:pos x="118" y="30"/>
                </a:cxn>
                <a:cxn ang="0">
                  <a:pos x="116" y="23"/>
                </a:cxn>
                <a:cxn ang="0">
                  <a:pos x="118" y="14"/>
                </a:cxn>
                <a:cxn ang="0">
                  <a:pos x="125" y="9"/>
                </a:cxn>
                <a:cxn ang="0">
                  <a:pos x="118" y="12"/>
                </a:cxn>
                <a:cxn ang="0">
                  <a:pos x="116" y="9"/>
                </a:cxn>
                <a:cxn ang="0">
                  <a:pos x="106" y="5"/>
                </a:cxn>
                <a:cxn ang="0">
                  <a:pos x="96" y="9"/>
                </a:cxn>
                <a:cxn ang="0">
                  <a:pos x="93" y="18"/>
                </a:cxn>
                <a:cxn ang="0">
                  <a:pos x="87" y="21"/>
                </a:cxn>
                <a:cxn ang="0">
                  <a:pos x="87" y="27"/>
                </a:cxn>
                <a:cxn ang="0">
                  <a:pos x="83" y="27"/>
                </a:cxn>
                <a:cxn ang="0">
                  <a:pos x="79" y="18"/>
                </a:cxn>
                <a:cxn ang="0">
                  <a:pos x="70" y="23"/>
                </a:cxn>
                <a:cxn ang="0">
                  <a:pos x="62" y="32"/>
                </a:cxn>
                <a:cxn ang="0">
                  <a:pos x="60" y="37"/>
                </a:cxn>
                <a:cxn ang="0">
                  <a:pos x="56" y="32"/>
                </a:cxn>
                <a:cxn ang="0">
                  <a:pos x="52" y="43"/>
                </a:cxn>
                <a:cxn ang="0">
                  <a:pos x="20" y="57"/>
                </a:cxn>
                <a:cxn ang="0">
                  <a:pos x="12" y="64"/>
                </a:cxn>
                <a:cxn ang="0">
                  <a:pos x="8" y="73"/>
                </a:cxn>
                <a:cxn ang="0">
                  <a:pos x="6" y="91"/>
                </a:cxn>
                <a:cxn ang="0">
                  <a:pos x="4" y="91"/>
                </a:cxn>
                <a:cxn ang="0">
                  <a:pos x="6" y="122"/>
                </a:cxn>
                <a:cxn ang="0">
                  <a:pos x="0" y="131"/>
                </a:cxn>
                <a:cxn ang="0">
                  <a:pos x="0" y="138"/>
                </a:cxn>
              </a:cxnLst>
              <a:rect l="0" t="0" r="r" b="b"/>
              <a:pathLst>
                <a:path w="185" h="165">
                  <a:moveTo>
                    <a:pt x="0" y="138"/>
                  </a:moveTo>
                  <a:lnTo>
                    <a:pt x="4" y="140"/>
                  </a:lnTo>
                  <a:lnTo>
                    <a:pt x="12" y="140"/>
                  </a:lnTo>
                  <a:lnTo>
                    <a:pt x="23" y="133"/>
                  </a:lnTo>
                  <a:lnTo>
                    <a:pt x="37" y="133"/>
                  </a:lnTo>
                  <a:lnTo>
                    <a:pt x="39" y="129"/>
                  </a:lnTo>
                  <a:lnTo>
                    <a:pt x="52" y="124"/>
                  </a:lnTo>
                  <a:lnTo>
                    <a:pt x="77" y="122"/>
                  </a:lnTo>
                  <a:lnTo>
                    <a:pt x="87" y="129"/>
                  </a:lnTo>
                  <a:lnTo>
                    <a:pt x="87" y="140"/>
                  </a:lnTo>
                  <a:lnTo>
                    <a:pt x="102" y="129"/>
                  </a:lnTo>
                  <a:lnTo>
                    <a:pt x="102" y="131"/>
                  </a:lnTo>
                  <a:lnTo>
                    <a:pt x="93" y="142"/>
                  </a:lnTo>
                  <a:lnTo>
                    <a:pt x="102" y="138"/>
                  </a:lnTo>
                  <a:lnTo>
                    <a:pt x="102" y="140"/>
                  </a:lnTo>
                  <a:lnTo>
                    <a:pt x="100" y="142"/>
                  </a:lnTo>
                  <a:lnTo>
                    <a:pt x="102" y="142"/>
                  </a:lnTo>
                  <a:lnTo>
                    <a:pt x="102" y="147"/>
                  </a:lnTo>
                  <a:lnTo>
                    <a:pt x="106" y="149"/>
                  </a:lnTo>
                  <a:lnTo>
                    <a:pt x="102" y="151"/>
                  </a:lnTo>
                  <a:lnTo>
                    <a:pt x="106" y="160"/>
                  </a:lnTo>
                  <a:lnTo>
                    <a:pt x="114" y="160"/>
                  </a:lnTo>
                  <a:lnTo>
                    <a:pt x="123" y="156"/>
                  </a:lnTo>
                  <a:lnTo>
                    <a:pt x="123" y="160"/>
                  </a:lnTo>
                  <a:lnTo>
                    <a:pt x="125" y="158"/>
                  </a:lnTo>
                  <a:lnTo>
                    <a:pt x="125" y="160"/>
                  </a:lnTo>
                  <a:lnTo>
                    <a:pt x="125" y="165"/>
                  </a:lnTo>
                  <a:lnTo>
                    <a:pt x="146" y="156"/>
                  </a:lnTo>
                  <a:lnTo>
                    <a:pt x="154" y="147"/>
                  </a:lnTo>
                  <a:lnTo>
                    <a:pt x="175" y="118"/>
                  </a:lnTo>
                  <a:lnTo>
                    <a:pt x="185" y="104"/>
                  </a:lnTo>
                  <a:lnTo>
                    <a:pt x="185" y="88"/>
                  </a:lnTo>
                  <a:lnTo>
                    <a:pt x="181" y="75"/>
                  </a:lnTo>
                  <a:lnTo>
                    <a:pt x="179" y="73"/>
                  </a:lnTo>
                  <a:lnTo>
                    <a:pt x="179" y="70"/>
                  </a:lnTo>
                  <a:lnTo>
                    <a:pt x="175" y="66"/>
                  </a:lnTo>
                  <a:lnTo>
                    <a:pt x="173" y="55"/>
                  </a:lnTo>
                  <a:lnTo>
                    <a:pt x="166" y="52"/>
                  </a:lnTo>
                  <a:lnTo>
                    <a:pt x="164" y="48"/>
                  </a:lnTo>
                  <a:lnTo>
                    <a:pt x="164" y="39"/>
                  </a:lnTo>
                  <a:lnTo>
                    <a:pt x="162" y="32"/>
                  </a:lnTo>
                  <a:lnTo>
                    <a:pt x="162" y="23"/>
                  </a:lnTo>
                  <a:lnTo>
                    <a:pt x="158" y="21"/>
                  </a:lnTo>
                  <a:lnTo>
                    <a:pt x="156" y="21"/>
                  </a:lnTo>
                  <a:lnTo>
                    <a:pt x="154" y="3"/>
                  </a:lnTo>
                  <a:lnTo>
                    <a:pt x="150" y="0"/>
                  </a:lnTo>
                  <a:lnTo>
                    <a:pt x="150" y="3"/>
                  </a:lnTo>
                  <a:lnTo>
                    <a:pt x="146" y="30"/>
                  </a:lnTo>
                  <a:lnTo>
                    <a:pt x="139" y="39"/>
                  </a:lnTo>
                  <a:lnTo>
                    <a:pt x="135" y="39"/>
                  </a:lnTo>
                  <a:lnTo>
                    <a:pt x="133" y="43"/>
                  </a:lnTo>
                  <a:lnTo>
                    <a:pt x="131" y="37"/>
                  </a:lnTo>
                  <a:lnTo>
                    <a:pt x="125" y="30"/>
                  </a:lnTo>
                  <a:lnTo>
                    <a:pt x="118" y="30"/>
                  </a:lnTo>
                  <a:lnTo>
                    <a:pt x="118" y="27"/>
                  </a:lnTo>
                  <a:lnTo>
                    <a:pt x="116" y="23"/>
                  </a:lnTo>
                  <a:lnTo>
                    <a:pt x="118" y="21"/>
                  </a:lnTo>
                  <a:lnTo>
                    <a:pt x="118" y="14"/>
                  </a:lnTo>
                  <a:lnTo>
                    <a:pt x="123" y="14"/>
                  </a:lnTo>
                  <a:lnTo>
                    <a:pt x="125" y="9"/>
                  </a:lnTo>
                  <a:lnTo>
                    <a:pt x="123" y="9"/>
                  </a:lnTo>
                  <a:lnTo>
                    <a:pt x="118" y="12"/>
                  </a:lnTo>
                  <a:lnTo>
                    <a:pt x="118" y="9"/>
                  </a:lnTo>
                  <a:lnTo>
                    <a:pt x="116" y="9"/>
                  </a:lnTo>
                  <a:lnTo>
                    <a:pt x="106" y="3"/>
                  </a:lnTo>
                  <a:lnTo>
                    <a:pt x="106" y="5"/>
                  </a:lnTo>
                  <a:lnTo>
                    <a:pt x="102" y="9"/>
                  </a:lnTo>
                  <a:lnTo>
                    <a:pt x="96" y="9"/>
                  </a:lnTo>
                  <a:lnTo>
                    <a:pt x="93" y="12"/>
                  </a:lnTo>
                  <a:lnTo>
                    <a:pt x="93" y="18"/>
                  </a:lnTo>
                  <a:lnTo>
                    <a:pt x="91" y="18"/>
                  </a:lnTo>
                  <a:lnTo>
                    <a:pt x="87" y="21"/>
                  </a:lnTo>
                  <a:lnTo>
                    <a:pt x="91" y="23"/>
                  </a:lnTo>
                  <a:lnTo>
                    <a:pt x="87" y="27"/>
                  </a:lnTo>
                  <a:lnTo>
                    <a:pt x="85" y="23"/>
                  </a:lnTo>
                  <a:lnTo>
                    <a:pt x="83" y="27"/>
                  </a:lnTo>
                  <a:lnTo>
                    <a:pt x="79" y="21"/>
                  </a:lnTo>
                  <a:lnTo>
                    <a:pt x="79" y="18"/>
                  </a:lnTo>
                  <a:lnTo>
                    <a:pt x="77" y="18"/>
                  </a:lnTo>
                  <a:lnTo>
                    <a:pt x="70" y="23"/>
                  </a:lnTo>
                  <a:lnTo>
                    <a:pt x="68" y="23"/>
                  </a:lnTo>
                  <a:lnTo>
                    <a:pt x="62" y="32"/>
                  </a:lnTo>
                  <a:lnTo>
                    <a:pt x="60" y="30"/>
                  </a:lnTo>
                  <a:lnTo>
                    <a:pt x="60" y="37"/>
                  </a:lnTo>
                  <a:lnTo>
                    <a:pt x="56" y="39"/>
                  </a:lnTo>
                  <a:lnTo>
                    <a:pt x="56" y="32"/>
                  </a:lnTo>
                  <a:lnTo>
                    <a:pt x="52" y="39"/>
                  </a:lnTo>
                  <a:lnTo>
                    <a:pt x="52" y="43"/>
                  </a:lnTo>
                  <a:lnTo>
                    <a:pt x="43" y="52"/>
                  </a:lnTo>
                  <a:lnTo>
                    <a:pt x="20" y="57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8" y="70"/>
                  </a:lnTo>
                  <a:lnTo>
                    <a:pt x="8" y="73"/>
                  </a:lnTo>
                  <a:lnTo>
                    <a:pt x="6" y="75"/>
                  </a:lnTo>
                  <a:lnTo>
                    <a:pt x="6" y="91"/>
                  </a:lnTo>
                  <a:lnTo>
                    <a:pt x="4" y="86"/>
                  </a:lnTo>
                  <a:lnTo>
                    <a:pt x="4" y="91"/>
                  </a:lnTo>
                  <a:lnTo>
                    <a:pt x="6" y="106"/>
                  </a:lnTo>
                  <a:lnTo>
                    <a:pt x="6" y="122"/>
                  </a:lnTo>
                  <a:lnTo>
                    <a:pt x="4" y="131"/>
                  </a:lnTo>
                  <a:lnTo>
                    <a:pt x="0" y="131"/>
                  </a:lnTo>
                  <a:lnTo>
                    <a:pt x="0" y="136"/>
                  </a:lnTo>
                  <a:lnTo>
                    <a:pt x="0" y="138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5" name="Freeform 1461"/>
            <p:cNvSpPr>
              <a:spLocks/>
            </p:cNvSpPr>
            <p:nvPr/>
          </p:nvSpPr>
          <p:spPr bwMode="auto">
            <a:xfrm>
              <a:off x="7282928" y="5590422"/>
              <a:ext cx="25963" cy="26533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2" y="5"/>
                </a:cxn>
                <a:cxn ang="0">
                  <a:pos x="5" y="5"/>
                </a:cxn>
                <a:cxn ang="0">
                  <a:pos x="5" y="0"/>
                </a:cxn>
                <a:cxn ang="0">
                  <a:pos x="2" y="3"/>
                </a:cxn>
                <a:cxn ang="0">
                  <a:pos x="0" y="5"/>
                </a:cxn>
              </a:cxnLst>
              <a:rect l="0" t="0" r="r" b="b"/>
              <a:pathLst>
                <a:path w="5" h="5">
                  <a:moveTo>
                    <a:pt x="0" y="5"/>
                  </a:moveTo>
                  <a:lnTo>
                    <a:pt x="2" y="5"/>
                  </a:lnTo>
                  <a:lnTo>
                    <a:pt x="5" y="5"/>
                  </a:lnTo>
                  <a:lnTo>
                    <a:pt x="5" y="0"/>
                  </a:lnTo>
                  <a:lnTo>
                    <a:pt x="2" y="3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6" name="Freeform 1462"/>
            <p:cNvSpPr>
              <a:spLocks/>
            </p:cNvSpPr>
            <p:nvPr/>
          </p:nvSpPr>
          <p:spPr bwMode="auto">
            <a:xfrm>
              <a:off x="7381590" y="5760235"/>
              <a:ext cx="88276" cy="84907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0" y="11"/>
                </a:cxn>
                <a:cxn ang="0">
                  <a:pos x="0" y="16"/>
                </a:cxn>
                <a:cxn ang="0">
                  <a:pos x="4" y="16"/>
                </a:cxn>
                <a:cxn ang="0">
                  <a:pos x="8" y="11"/>
                </a:cxn>
                <a:cxn ang="0">
                  <a:pos x="17" y="0"/>
                </a:cxn>
                <a:cxn ang="0">
                  <a:pos x="8" y="2"/>
                </a:cxn>
                <a:cxn ang="0">
                  <a:pos x="6" y="2"/>
                </a:cxn>
                <a:cxn ang="0">
                  <a:pos x="4" y="0"/>
                </a:cxn>
              </a:cxnLst>
              <a:rect l="0" t="0" r="r" b="b"/>
              <a:pathLst>
                <a:path w="17" h="16">
                  <a:moveTo>
                    <a:pt x="4" y="0"/>
                  </a:moveTo>
                  <a:lnTo>
                    <a:pt x="0" y="11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8" y="11"/>
                  </a:lnTo>
                  <a:lnTo>
                    <a:pt x="17" y="0"/>
                  </a:lnTo>
                  <a:lnTo>
                    <a:pt x="8" y="2"/>
                  </a:lnTo>
                  <a:lnTo>
                    <a:pt x="6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7" name="Freeform 1463"/>
            <p:cNvSpPr>
              <a:spLocks/>
            </p:cNvSpPr>
            <p:nvPr/>
          </p:nvSpPr>
          <p:spPr bwMode="auto">
            <a:xfrm>
              <a:off x="8077409" y="5569195"/>
              <a:ext cx="150588" cy="201654"/>
            </a:xfrm>
            <a:custGeom>
              <a:avLst/>
              <a:gdLst/>
              <a:ahLst/>
              <a:cxnLst>
                <a:cxn ang="0">
                  <a:pos x="0" y="27"/>
                </a:cxn>
                <a:cxn ang="0">
                  <a:pos x="6" y="31"/>
                </a:cxn>
                <a:cxn ang="0">
                  <a:pos x="0" y="38"/>
                </a:cxn>
                <a:cxn ang="0">
                  <a:pos x="2" y="38"/>
                </a:cxn>
                <a:cxn ang="0">
                  <a:pos x="16" y="27"/>
                </a:cxn>
                <a:cxn ang="0">
                  <a:pos x="23" y="22"/>
                </a:cxn>
                <a:cxn ang="0">
                  <a:pos x="29" y="18"/>
                </a:cxn>
                <a:cxn ang="0">
                  <a:pos x="25" y="18"/>
                </a:cxn>
                <a:cxn ang="0">
                  <a:pos x="18" y="20"/>
                </a:cxn>
                <a:cxn ang="0">
                  <a:pos x="16" y="18"/>
                </a:cxn>
                <a:cxn ang="0">
                  <a:pos x="18" y="11"/>
                </a:cxn>
                <a:cxn ang="0">
                  <a:pos x="16" y="11"/>
                </a:cxn>
                <a:cxn ang="0">
                  <a:pos x="16" y="13"/>
                </a:cxn>
                <a:cxn ang="0">
                  <a:pos x="14" y="13"/>
                </a:cxn>
                <a:cxn ang="0">
                  <a:pos x="16" y="4"/>
                </a:cxn>
                <a:cxn ang="0">
                  <a:pos x="16" y="2"/>
                </a:cxn>
                <a:cxn ang="0">
                  <a:pos x="14" y="2"/>
                </a:cxn>
                <a:cxn ang="0">
                  <a:pos x="10" y="0"/>
                </a:cxn>
                <a:cxn ang="0">
                  <a:pos x="10" y="13"/>
                </a:cxn>
                <a:cxn ang="0">
                  <a:pos x="14" y="13"/>
                </a:cxn>
                <a:cxn ang="0">
                  <a:pos x="6" y="22"/>
                </a:cxn>
                <a:cxn ang="0">
                  <a:pos x="2" y="25"/>
                </a:cxn>
                <a:cxn ang="0">
                  <a:pos x="0" y="27"/>
                </a:cxn>
              </a:cxnLst>
              <a:rect l="0" t="0" r="r" b="b"/>
              <a:pathLst>
                <a:path w="29" h="38">
                  <a:moveTo>
                    <a:pt x="0" y="27"/>
                  </a:moveTo>
                  <a:lnTo>
                    <a:pt x="6" y="31"/>
                  </a:lnTo>
                  <a:lnTo>
                    <a:pt x="0" y="38"/>
                  </a:lnTo>
                  <a:lnTo>
                    <a:pt x="2" y="38"/>
                  </a:lnTo>
                  <a:lnTo>
                    <a:pt x="16" y="27"/>
                  </a:lnTo>
                  <a:lnTo>
                    <a:pt x="23" y="22"/>
                  </a:lnTo>
                  <a:lnTo>
                    <a:pt x="29" y="18"/>
                  </a:lnTo>
                  <a:lnTo>
                    <a:pt x="25" y="18"/>
                  </a:lnTo>
                  <a:lnTo>
                    <a:pt x="18" y="20"/>
                  </a:lnTo>
                  <a:lnTo>
                    <a:pt x="16" y="18"/>
                  </a:lnTo>
                  <a:lnTo>
                    <a:pt x="18" y="11"/>
                  </a:lnTo>
                  <a:lnTo>
                    <a:pt x="16" y="11"/>
                  </a:lnTo>
                  <a:lnTo>
                    <a:pt x="16" y="13"/>
                  </a:lnTo>
                  <a:lnTo>
                    <a:pt x="14" y="13"/>
                  </a:lnTo>
                  <a:lnTo>
                    <a:pt x="16" y="4"/>
                  </a:lnTo>
                  <a:lnTo>
                    <a:pt x="16" y="2"/>
                  </a:lnTo>
                  <a:lnTo>
                    <a:pt x="14" y="2"/>
                  </a:lnTo>
                  <a:lnTo>
                    <a:pt x="10" y="0"/>
                  </a:lnTo>
                  <a:lnTo>
                    <a:pt x="10" y="13"/>
                  </a:lnTo>
                  <a:lnTo>
                    <a:pt x="14" y="13"/>
                  </a:lnTo>
                  <a:lnTo>
                    <a:pt x="6" y="22"/>
                  </a:lnTo>
                  <a:lnTo>
                    <a:pt x="2" y="25"/>
                  </a:lnTo>
                  <a:lnTo>
                    <a:pt x="0" y="2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8" name="Freeform 1464"/>
            <p:cNvSpPr>
              <a:spLocks/>
            </p:cNvSpPr>
            <p:nvPr/>
          </p:nvSpPr>
          <p:spPr bwMode="auto">
            <a:xfrm>
              <a:off x="7791812" y="5760235"/>
              <a:ext cx="275212" cy="180427"/>
            </a:xfrm>
            <a:custGeom>
              <a:avLst/>
              <a:gdLst/>
              <a:ahLst/>
              <a:cxnLst>
                <a:cxn ang="0">
                  <a:pos x="0" y="29"/>
                </a:cxn>
                <a:cxn ang="0">
                  <a:pos x="5" y="29"/>
                </a:cxn>
                <a:cxn ang="0">
                  <a:pos x="5" y="34"/>
                </a:cxn>
                <a:cxn ang="0">
                  <a:pos x="7" y="34"/>
                </a:cxn>
                <a:cxn ang="0">
                  <a:pos x="15" y="29"/>
                </a:cxn>
                <a:cxn ang="0">
                  <a:pos x="25" y="20"/>
                </a:cxn>
                <a:cxn ang="0">
                  <a:pos x="38" y="18"/>
                </a:cxn>
                <a:cxn ang="0">
                  <a:pos x="38" y="11"/>
                </a:cxn>
                <a:cxn ang="0">
                  <a:pos x="48" y="7"/>
                </a:cxn>
                <a:cxn ang="0">
                  <a:pos x="53" y="2"/>
                </a:cxn>
                <a:cxn ang="0">
                  <a:pos x="48" y="2"/>
                </a:cxn>
                <a:cxn ang="0">
                  <a:pos x="53" y="0"/>
                </a:cxn>
                <a:cxn ang="0">
                  <a:pos x="46" y="2"/>
                </a:cxn>
                <a:cxn ang="0">
                  <a:pos x="46" y="0"/>
                </a:cxn>
                <a:cxn ang="0">
                  <a:pos x="44" y="0"/>
                </a:cxn>
                <a:cxn ang="0">
                  <a:pos x="32" y="11"/>
                </a:cxn>
                <a:cxn ang="0">
                  <a:pos x="15" y="18"/>
                </a:cxn>
                <a:cxn ang="0">
                  <a:pos x="7" y="25"/>
                </a:cxn>
                <a:cxn ang="0">
                  <a:pos x="0" y="29"/>
                </a:cxn>
              </a:cxnLst>
              <a:rect l="0" t="0" r="r" b="b"/>
              <a:pathLst>
                <a:path w="53" h="34">
                  <a:moveTo>
                    <a:pt x="0" y="29"/>
                  </a:moveTo>
                  <a:lnTo>
                    <a:pt x="5" y="29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15" y="29"/>
                  </a:lnTo>
                  <a:lnTo>
                    <a:pt x="25" y="20"/>
                  </a:lnTo>
                  <a:lnTo>
                    <a:pt x="38" y="18"/>
                  </a:lnTo>
                  <a:lnTo>
                    <a:pt x="38" y="11"/>
                  </a:lnTo>
                  <a:lnTo>
                    <a:pt x="48" y="7"/>
                  </a:lnTo>
                  <a:lnTo>
                    <a:pt x="53" y="2"/>
                  </a:lnTo>
                  <a:lnTo>
                    <a:pt x="48" y="2"/>
                  </a:lnTo>
                  <a:lnTo>
                    <a:pt x="53" y="0"/>
                  </a:lnTo>
                  <a:lnTo>
                    <a:pt x="46" y="2"/>
                  </a:lnTo>
                  <a:lnTo>
                    <a:pt x="46" y="0"/>
                  </a:lnTo>
                  <a:lnTo>
                    <a:pt x="44" y="0"/>
                  </a:lnTo>
                  <a:lnTo>
                    <a:pt x="32" y="11"/>
                  </a:lnTo>
                  <a:lnTo>
                    <a:pt x="15" y="18"/>
                  </a:lnTo>
                  <a:lnTo>
                    <a:pt x="7" y="25"/>
                  </a:lnTo>
                  <a:lnTo>
                    <a:pt x="0" y="2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9" name="Freeform 1465"/>
            <p:cNvSpPr>
              <a:spLocks/>
            </p:cNvSpPr>
            <p:nvPr/>
          </p:nvSpPr>
          <p:spPr bwMode="auto">
            <a:xfrm>
              <a:off x="7781426" y="5940662"/>
              <a:ext cx="36349" cy="1061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7" y="2"/>
                </a:cxn>
                <a:cxn ang="0">
                  <a:pos x="7" y="0"/>
                </a:cxn>
                <a:cxn ang="0">
                  <a:pos x="2" y="2"/>
                </a:cxn>
                <a:cxn ang="0">
                  <a:pos x="0" y="2"/>
                </a:cxn>
              </a:cxnLst>
              <a:rect l="0" t="0" r="r" b="b"/>
              <a:pathLst>
                <a:path w="7" h="2">
                  <a:moveTo>
                    <a:pt x="0" y="2"/>
                  </a:moveTo>
                  <a:lnTo>
                    <a:pt x="7" y="2"/>
                  </a:lnTo>
                  <a:lnTo>
                    <a:pt x="7" y="0"/>
                  </a:lnTo>
                  <a:lnTo>
                    <a:pt x="2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10" name="Freeform 1466"/>
            <p:cNvSpPr>
              <a:spLocks/>
            </p:cNvSpPr>
            <p:nvPr/>
          </p:nvSpPr>
          <p:spPr bwMode="auto">
            <a:xfrm>
              <a:off x="6462484" y="4327433"/>
              <a:ext cx="259634" cy="35554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6"/>
                </a:cxn>
                <a:cxn ang="0">
                  <a:pos x="4" y="13"/>
                </a:cxn>
                <a:cxn ang="0">
                  <a:pos x="10" y="20"/>
                </a:cxn>
                <a:cxn ang="0">
                  <a:pos x="16" y="22"/>
                </a:cxn>
                <a:cxn ang="0">
                  <a:pos x="16" y="31"/>
                </a:cxn>
                <a:cxn ang="0">
                  <a:pos x="23" y="38"/>
                </a:cxn>
                <a:cxn ang="0">
                  <a:pos x="25" y="47"/>
                </a:cxn>
                <a:cxn ang="0">
                  <a:pos x="27" y="54"/>
                </a:cxn>
                <a:cxn ang="0">
                  <a:pos x="42" y="65"/>
                </a:cxn>
                <a:cxn ang="0">
                  <a:pos x="42" y="67"/>
                </a:cxn>
                <a:cxn ang="0">
                  <a:pos x="44" y="65"/>
                </a:cxn>
                <a:cxn ang="0">
                  <a:pos x="48" y="67"/>
                </a:cxn>
                <a:cxn ang="0">
                  <a:pos x="50" y="54"/>
                </a:cxn>
                <a:cxn ang="0">
                  <a:pos x="48" y="47"/>
                </a:cxn>
                <a:cxn ang="0">
                  <a:pos x="44" y="47"/>
                </a:cxn>
                <a:cxn ang="0">
                  <a:pos x="42" y="40"/>
                </a:cxn>
                <a:cxn ang="0">
                  <a:pos x="39" y="40"/>
                </a:cxn>
                <a:cxn ang="0">
                  <a:pos x="35" y="38"/>
                </a:cxn>
                <a:cxn ang="0">
                  <a:pos x="39" y="33"/>
                </a:cxn>
                <a:cxn ang="0">
                  <a:pos x="35" y="31"/>
                </a:cxn>
                <a:cxn ang="0">
                  <a:pos x="35" y="29"/>
                </a:cxn>
                <a:cxn ang="0">
                  <a:pos x="27" y="22"/>
                </a:cxn>
                <a:cxn ang="0">
                  <a:pos x="25" y="22"/>
                </a:cxn>
                <a:cxn ang="0">
                  <a:pos x="8" y="4"/>
                </a:cxn>
                <a:cxn ang="0">
                  <a:pos x="4" y="2"/>
                </a:cxn>
                <a:cxn ang="0">
                  <a:pos x="0" y="0"/>
                </a:cxn>
              </a:cxnLst>
              <a:rect l="0" t="0" r="r" b="b"/>
              <a:pathLst>
                <a:path w="50" h="67">
                  <a:moveTo>
                    <a:pt x="0" y="0"/>
                  </a:moveTo>
                  <a:lnTo>
                    <a:pt x="0" y="6"/>
                  </a:lnTo>
                  <a:lnTo>
                    <a:pt x="4" y="13"/>
                  </a:lnTo>
                  <a:lnTo>
                    <a:pt x="10" y="20"/>
                  </a:lnTo>
                  <a:lnTo>
                    <a:pt x="16" y="22"/>
                  </a:lnTo>
                  <a:lnTo>
                    <a:pt x="16" y="31"/>
                  </a:lnTo>
                  <a:lnTo>
                    <a:pt x="23" y="38"/>
                  </a:lnTo>
                  <a:lnTo>
                    <a:pt x="25" y="47"/>
                  </a:lnTo>
                  <a:lnTo>
                    <a:pt x="27" y="54"/>
                  </a:lnTo>
                  <a:lnTo>
                    <a:pt x="42" y="65"/>
                  </a:lnTo>
                  <a:lnTo>
                    <a:pt x="42" y="67"/>
                  </a:lnTo>
                  <a:lnTo>
                    <a:pt x="44" y="65"/>
                  </a:lnTo>
                  <a:lnTo>
                    <a:pt x="48" y="67"/>
                  </a:lnTo>
                  <a:lnTo>
                    <a:pt x="50" y="54"/>
                  </a:lnTo>
                  <a:lnTo>
                    <a:pt x="48" y="47"/>
                  </a:lnTo>
                  <a:lnTo>
                    <a:pt x="44" y="47"/>
                  </a:lnTo>
                  <a:lnTo>
                    <a:pt x="42" y="40"/>
                  </a:lnTo>
                  <a:lnTo>
                    <a:pt x="39" y="40"/>
                  </a:lnTo>
                  <a:lnTo>
                    <a:pt x="35" y="38"/>
                  </a:lnTo>
                  <a:lnTo>
                    <a:pt x="39" y="33"/>
                  </a:lnTo>
                  <a:lnTo>
                    <a:pt x="35" y="31"/>
                  </a:lnTo>
                  <a:lnTo>
                    <a:pt x="35" y="29"/>
                  </a:lnTo>
                  <a:lnTo>
                    <a:pt x="27" y="22"/>
                  </a:lnTo>
                  <a:lnTo>
                    <a:pt x="25" y="22"/>
                  </a:lnTo>
                  <a:lnTo>
                    <a:pt x="8" y="4"/>
                  </a:lnTo>
                  <a:lnTo>
                    <a:pt x="4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11" name="Freeform 1467"/>
            <p:cNvSpPr>
              <a:spLocks/>
            </p:cNvSpPr>
            <p:nvPr/>
          </p:nvSpPr>
          <p:spPr bwMode="auto">
            <a:xfrm>
              <a:off x="6690962" y="4682980"/>
              <a:ext cx="223285" cy="84907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14" y="9"/>
                </a:cxn>
                <a:cxn ang="0">
                  <a:pos x="20" y="9"/>
                </a:cxn>
                <a:cxn ang="0">
                  <a:pos x="35" y="16"/>
                </a:cxn>
                <a:cxn ang="0">
                  <a:pos x="37" y="14"/>
                </a:cxn>
                <a:cxn ang="0">
                  <a:pos x="43" y="16"/>
                </a:cxn>
                <a:cxn ang="0">
                  <a:pos x="43" y="9"/>
                </a:cxn>
                <a:cxn ang="0">
                  <a:pos x="37" y="9"/>
                </a:cxn>
                <a:cxn ang="0">
                  <a:pos x="35" y="7"/>
                </a:cxn>
                <a:cxn ang="0">
                  <a:pos x="27" y="5"/>
                </a:cxn>
                <a:cxn ang="0">
                  <a:pos x="27" y="7"/>
                </a:cxn>
                <a:cxn ang="0">
                  <a:pos x="18" y="7"/>
                </a:cxn>
                <a:cxn ang="0">
                  <a:pos x="12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5"/>
                </a:cxn>
              </a:cxnLst>
              <a:rect l="0" t="0" r="r" b="b"/>
              <a:pathLst>
                <a:path w="43" h="16">
                  <a:moveTo>
                    <a:pt x="0" y="5"/>
                  </a:moveTo>
                  <a:lnTo>
                    <a:pt x="14" y="9"/>
                  </a:lnTo>
                  <a:lnTo>
                    <a:pt x="20" y="9"/>
                  </a:lnTo>
                  <a:lnTo>
                    <a:pt x="35" y="16"/>
                  </a:lnTo>
                  <a:lnTo>
                    <a:pt x="37" y="14"/>
                  </a:lnTo>
                  <a:lnTo>
                    <a:pt x="43" y="16"/>
                  </a:lnTo>
                  <a:lnTo>
                    <a:pt x="43" y="9"/>
                  </a:lnTo>
                  <a:lnTo>
                    <a:pt x="37" y="9"/>
                  </a:lnTo>
                  <a:lnTo>
                    <a:pt x="35" y="7"/>
                  </a:lnTo>
                  <a:lnTo>
                    <a:pt x="27" y="5"/>
                  </a:lnTo>
                  <a:lnTo>
                    <a:pt x="27" y="7"/>
                  </a:lnTo>
                  <a:lnTo>
                    <a:pt x="18" y="7"/>
                  </a:lnTo>
                  <a:lnTo>
                    <a:pt x="12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12" name="Freeform 1468"/>
            <p:cNvSpPr>
              <a:spLocks/>
            </p:cNvSpPr>
            <p:nvPr/>
          </p:nvSpPr>
          <p:spPr bwMode="auto">
            <a:xfrm>
              <a:off x="6914248" y="4757274"/>
              <a:ext cx="36349" cy="10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3" y="0"/>
                </a:cxn>
                <a:cxn ang="0">
                  <a:pos x="0" y="0"/>
                </a:cxn>
              </a:cxnLst>
              <a:rect l="0" t="0" r="r" b="b"/>
              <a:pathLst>
                <a:path w="7" h="2">
                  <a:moveTo>
                    <a:pt x="0" y="0"/>
                  </a:moveTo>
                  <a:lnTo>
                    <a:pt x="3" y="2"/>
                  </a:ln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13" name="Freeform 1469"/>
            <p:cNvSpPr>
              <a:spLocks/>
            </p:cNvSpPr>
            <p:nvPr/>
          </p:nvSpPr>
          <p:spPr bwMode="auto">
            <a:xfrm>
              <a:off x="6960981" y="4757274"/>
              <a:ext cx="192130" cy="21227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6" y="4"/>
                </a:cxn>
                <a:cxn ang="0">
                  <a:pos x="16" y="2"/>
                </a:cxn>
                <a:cxn ang="0">
                  <a:pos x="27" y="4"/>
                </a:cxn>
                <a:cxn ang="0">
                  <a:pos x="37" y="2"/>
                </a:cxn>
                <a:cxn ang="0">
                  <a:pos x="31" y="0"/>
                </a:cxn>
                <a:cxn ang="0">
                  <a:pos x="27" y="2"/>
                </a:cxn>
                <a:cxn ang="0">
                  <a:pos x="19" y="0"/>
                </a:cxn>
                <a:cxn ang="0">
                  <a:pos x="16" y="2"/>
                </a:cxn>
                <a:cxn ang="0">
                  <a:pos x="8" y="0"/>
                </a:cxn>
                <a:cxn ang="0">
                  <a:pos x="8" y="2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4"/>
                </a:cxn>
              </a:cxnLst>
              <a:rect l="0" t="0" r="r" b="b"/>
              <a:pathLst>
                <a:path w="37" h="4">
                  <a:moveTo>
                    <a:pt x="0" y="4"/>
                  </a:moveTo>
                  <a:lnTo>
                    <a:pt x="6" y="4"/>
                  </a:lnTo>
                  <a:lnTo>
                    <a:pt x="16" y="2"/>
                  </a:lnTo>
                  <a:lnTo>
                    <a:pt x="27" y="4"/>
                  </a:lnTo>
                  <a:lnTo>
                    <a:pt x="37" y="2"/>
                  </a:lnTo>
                  <a:lnTo>
                    <a:pt x="31" y="0"/>
                  </a:lnTo>
                  <a:lnTo>
                    <a:pt x="27" y="2"/>
                  </a:lnTo>
                  <a:lnTo>
                    <a:pt x="19" y="0"/>
                  </a:lnTo>
                  <a:lnTo>
                    <a:pt x="16" y="2"/>
                  </a:lnTo>
                  <a:lnTo>
                    <a:pt x="8" y="0"/>
                  </a:lnTo>
                  <a:lnTo>
                    <a:pt x="8" y="2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14" name="Freeform 1470"/>
            <p:cNvSpPr>
              <a:spLocks/>
            </p:cNvSpPr>
            <p:nvPr/>
          </p:nvSpPr>
          <p:spPr bwMode="auto">
            <a:xfrm>
              <a:off x="7163496" y="4757274"/>
              <a:ext cx="10385" cy="1061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15" name="Freeform 1471"/>
            <p:cNvSpPr>
              <a:spLocks/>
            </p:cNvSpPr>
            <p:nvPr/>
          </p:nvSpPr>
          <p:spPr bwMode="auto">
            <a:xfrm>
              <a:off x="7199845" y="4730741"/>
              <a:ext cx="20771" cy="26533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2" y="5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5"/>
                </a:cxn>
              </a:cxnLst>
              <a:rect l="0" t="0" r="r" b="b"/>
              <a:pathLst>
                <a:path w="4" h="5">
                  <a:moveTo>
                    <a:pt x="0" y="5"/>
                  </a:moveTo>
                  <a:lnTo>
                    <a:pt x="2" y="5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16" name="Freeform 1472"/>
            <p:cNvSpPr>
              <a:spLocks/>
            </p:cNvSpPr>
            <p:nvPr/>
          </p:nvSpPr>
          <p:spPr bwMode="auto">
            <a:xfrm>
              <a:off x="7033679" y="4805034"/>
              <a:ext cx="46734" cy="10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" y="2"/>
                </a:cxn>
                <a:cxn ang="0">
                  <a:pos x="9" y="2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9" h="2">
                  <a:moveTo>
                    <a:pt x="0" y="0"/>
                  </a:moveTo>
                  <a:lnTo>
                    <a:pt x="5" y="2"/>
                  </a:lnTo>
                  <a:lnTo>
                    <a:pt x="9" y="2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17" name="Freeform 1473"/>
            <p:cNvSpPr>
              <a:spLocks/>
            </p:cNvSpPr>
            <p:nvPr/>
          </p:nvSpPr>
          <p:spPr bwMode="auto">
            <a:xfrm>
              <a:off x="7329663" y="4720127"/>
              <a:ext cx="10385" cy="37147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0" y="4"/>
                </a:cxn>
                <a:cxn ang="0">
                  <a:pos x="0" y="7"/>
                </a:cxn>
              </a:cxnLst>
              <a:rect l="0" t="0" r="r" b="b"/>
              <a:pathLst>
                <a:path w="2" h="7">
                  <a:moveTo>
                    <a:pt x="0" y="7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18" name="Freeform 1474"/>
            <p:cNvSpPr>
              <a:spLocks/>
            </p:cNvSpPr>
            <p:nvPr/>
          </p:nvSpPr>
          <p:spPr bwMode="auto">
            <a:xfrm>
              <a:off x="7402360" y="4672367"/>
              <a:ext cx="10385" cy="47760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0" y="4"/>
                </a:cxn>
                <a:cxn ang="0">
                  <a:pos x="0" y="9"/>
                </a:cxn>
              </a:cxnLst>
              <a:rect l="0" t="0" r="r" b="b"/>
              <a:pathLst>
                <a:path w="2" h="9">
                  <a:moveTo>
                    <a:pt x="0" y="9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19" name="Freeform 1475"/>
            <p:cNvSpPr>
              <a:spLocks/>
            </p:cNvSpPr>
            <p:nvPr/>
          </p:nvSpPr>
          <p:spPr bwMode="auto">
            <a:xfrm>
              <a:off x="6690962" y="4550314"/>
              <a:ext cx="51927" cy="6368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5"/>
                </a:cxn>
                <a:cxn ang="0">
                  <a:pos x="4" y="7"/>
                </a:cxn>
                <a:cxn ang="0">
                  <a:pos x="10" y="12"/>
                </a:cxn>
                <a:cxn ang="0">
                  <a:pos x="10" y="7"/>
                </a:cxn>
                <a:cxn ang="0">
                  <a:pos x="6" y="5"/>
                </a:cxn>
                <a:cxn ang="0">
                  <a:pos x="6" y="0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10" h="12">
                  <a:moveTo>
                    <a:pt x="0" y="0"/>
                  </a:moveTo>
                  <a:lnTo>
                    <a:pt x="4" y="5"/>
                  </a:lnTo>
                  <a:lnTo>
                    <a:pt x="4" y="7"/>
                  </a:lnTo>
                  <a:lnTo>
                    <a:pt x="10" y="12"/>
                  </a:lnTo>
                  <a:lnTo>
                    <a:pt x="10" y="7"/>
                  </a:lnTo>
                  <a:lnTo>
                    <a:pt x="6" y="5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20" name="Freeform 1476"/>
            <p:cNvSpPr>
              <a:spLocks/>
            </p:cNvSpPr>
            <p:nvPr/>
          </p:nvSpPr>
          <p:spPr bwMode="auto">
            <a:xfrm>
              <a:off x="6753274" y="4587460"/>
              <a:ext cx="10385" cy="26533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2" y="5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5"/>
                </a:cxn>
              </a:cxnLst>
              <a:rect l="0" t="0" r="r" b="b"/>
              <a:pathLst>
                <a:path w="2" h="5">
                  <a:moveTo>
                    <a:pt x="0" y="5"/>
                  </a:moveTo>
                  <a:lnTo>
                    <a:pt x="2" y="5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21" name="Line 1477"/>
            <p:cNvSpPr>
              <a:spLocks noChangeShapeType="1"/>
            </p:cNvSpPr>
            <p:nvPr/>
          </p:nvSpPr>
          <p:spPr bwMode="auto">
            <a:xfrm>
              <a:off x="6883091" y="4730741"/>
              <a:ext cx="31156" cy="5307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22" name="Freeform 1478"/>
            <p:cNvSpPr>
              <a:spLocks/>
            </p:cNvSpPr>
            <p:nvPr/>
          </p:nvSpPr>
          <p:spPr bwMode="auto">
            <a:xfrm>
              <a:off x="7033679" y="4454793"/>
              <a:ext cx="166166" cy="228187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0" y="30"/>
                </a:cxn>
                <a:cxn ang="0">
                  <a:pos x="2" y="30"/>
                </a:cxn>
                <a:cxn ang="0">
                  <a:pos x="2" y="32"/>
                </a:cxn>
                <a:cxn ang="0">
                  <a:pos x="2" y="41"/>
                </a:cxn>
                <a:cxn ang="0">
                  <a:pos x="5" y="41"/>
                </a:cxn>
                <a:cxn ang="0">
                  <a:pos x="5" y="30"/>
                </a:cxn>
                <a:cxn ang="0">
                  <a:pos x="9" y="25"/>
                </a:cxn>
                <a:cxn ang="0">
                  <a:pos x="11" y="25"/>
                </a:cxn>
                <a:cxn ang="0">
                  <a:pos x="9" y="30"/>
                </a:cxn>
                <a:cxn ang="0">
                  <a:pos x="13" y="34"/>
                </a:cxn>
                <a:cxn ang="0">
                  <a:pos x="13" y="39"/>
                </a:cxn>
                <a:cxn ang="0">
                  <a:pos x="17" y="39"/>
                </a:cxn>
                <a:cxn ang="0">
                  <a:pos x="17" y="41"/>
                </a:cxn>
                <a:cxn ang="0">
                  <a:pos x="17" y="43"/>
                </a:cxn>
                <a:cxn ang="0">
                  <a:pos x="19" y="41"/>
                </a:cxn>
                <a:cxn ang="0">
                  <a:pos x="19" y="39"/>
                </a:cxn>
                <a:cxn ang="0">
                  <a:pos x="13" y="30"/>
                </a:cxn>
                <a:cxn ang="0">
                  <a:pos x="17" y="30"/>
                </a:cxn>
                <a:cxn ang="0">
                  <a:pos x="13" y="18"/>
                </a:cxn>
                <a:cxn ang="0">
                  <a:pos x="19" y="16"/>
                </a:cxn>
                <a:cxn ang="0">
                  <a:pos x="23" y="16"/>
                </a:cxn>
                <a:cxn ang="0">
                  <a:pos x="19" y="14"/>
                </a:cxn>
                <a:cxn ang="0">
                  <a:pos x="9" y="16"/>
                </a:cxn>
                <a:cxn ang="0">
                  <a:pos x="5" y="14"/>
                </a:cxn>
                <a:cxn ang="0">
                  <a:pos x="5" y="9"/>
                </a:cxn>
                <a:cxn ang="0">
                  <a:pos x="9" y="7"/>
                </a:cxn>
                <a:cxn ang="0">
                  <a:pos x="23" y="7"/>
                </a:cxn>
                <a:cxn ang="0">
                  <a:pos x="27" y="7"/>
                </a:cxn>
                <a:cxn ang="0">
                  <a:pos x="32" y="0"/>
                </a:cxn>
                <a:cxn ang="0">
                  <a:pos x="27" y="0"/>
                </a:cxn>
                <a:cxn ang="0">
                  <a:pos x="25" y="5"/>
                </a:cxn>
                <a:cxn ang="0">
                  <a:pos x="19" y="5"/>
                </a:cxn>
                <a:cxn ang="0">
                  <a:pos x="11" y="0"/>
                </a:cxn>
                <a:cxn ang="0">
                  <a:pos x="9" y="5"/>
                </a:cxn>
                <a:cxn ang="0">
                  <a:pos x="5" y="5"/>
                </a:cxn>
                <a:cxn ang="0">
                  <a:pos x="5" y="14"/>
                </a:cxn>
                <a:cxn ang="0">
                  <a:pos x="2" y="21"/>
                </a:cxn>
                <a:cxn ang="0">
                  <a:pos x="0" y="25"/>
                </a:cxn>
              </a:cxnLst>
              <a:rect l="0" t="0" r="r" b="b"/>
              <a:pathLst>
                <a:path w="32" h="43">
                  <a:moveTo>
                    <a:pt x="0" y="25"/>
                  </a:moveTo>
                  <a:lnTo>
                    <a:pt x="0" y="30"/>
                  </a:lnTo>
                  <a:lnTo>
                    <a:pt x="2" y="30"/>
                  </a:lnTo>
                  <a:lnTo>
                    <a:pt x="2" y="32"/>
                  </a:lnTo>
                  <a:lnTo>
                    <a:pt x="2" y="41"/>
                  </a:lnTo>
                  <a:lnTo>
                    <a:pt x="5" y="41"/>
                  </a:lnTo>
                  <a:lnTo>
                    <a:pt x="5" y="30"/>
                  </a:lnTo>
                  <a:lnTo>
                    <a:pt x="9" y="25"/>
                  </a:lnTo>
                  <a:lnTo>
                    <a:pt x="11" y="25"/>
                  </a:lnTo>
                  <a:lnTo>
                    <a:pt x="9" y="30"/>
                  </a:lnTo>
                  <a:lnTo>
                    <a:pt x="13" y="34"/>
                  </a:lnTo>
                  <a:lnTo>
                    <a:pt x="13" y="39"/>
                  </a:lnTo>
                  <a:lnTo>
                    <a:pt x="17" y="39"/>
                  </a:lnTo>
                  <a:lnTo>
                    <a:pt x="17" y="41"/>
                  </a:lnTo>
                  <a:lnTo>
                    <a:pt x="17" y="43"/>
                  </a:lnTo>
                  <a:lnTo>
                    <a:pt x="19" y="41"/>
                  </a:lnTo>
                  <a:lnTo>
                    <a:pt x="19" y="39"/>
                  </a:lnTo>
                  <a:lnTo>
                    <a:pt x="13" y="30"/>
                  </a:lnTo>
                  <a:lnTo>
                    <a:pt x="17" y="30"/>
                  </a:lnTo>
                  <a:lnTo>
                    <a:pt x="13" y="18"/>
                  </a:lnTo>
                  <a:lnTo>
                    <a:pt x="19" y="16"/>
                  </a:lnTo>
                  <a:lnTo>
                    <a:pt x="23" y="16"/>
                  </a:lnTo>
                  <a:lnTo>
                    <a:pt x="19" y="14"/>
                  </a:lnTo>
                  <a:lnTo>
                    <a:pt x="9" y="16"/>
                  </a:lnTo>
                  <a:lnTo>
                    <a:pt x="5" y="14"/>
                  </a:lnTo>
                  <a:lnTo>
                    <a:pt x="5" y="9"/>
                  </a:lnTo>
                  <a:lnTo>
                    <a:pt x="9" y="7"/>
                  </a:lnTo>
                  <a:lnTo>
                    <a:pt x="23" y="7"/>
                  </a:lnTo>
                  <a:lnTo>
                    <a:pt x="27" y="7"/>
                  </a:lnTo>
                  <a:lnTo>
                    <a:pt x="32" y="0"/>
                  </a:lnTo>
                  <a:lnTo>
                    <a:pt x="27" y="0"/>
                  </a:lnTo>
                  <a:lnTo>
                    <a:pt x="25" y="5"/>
                  </a:lnTo>
                  <a:lnTo>
                    <a:pt x="19" y="5"/>
                  </a:lnTo>
                  <a:lnTo>
                    <a:pt x="11" y="0"/>
                  </a:lnTo>
                  <a:lnTo>
                    <a:pt x="9" y="5"/>
                  </a:lnTo>
                  <a:lnTo>
                    <a:pt x="5" y="5"/>
                  </a:lnTo>
                  <a:lnTo>
                    <a:pt x="5" y="14"/>
                  </a:lnTo>
                  <a:lnTo>
                    <a:pt x="2" y="21"/>
                  </a:lnTo>
                  <a:lnTo>
                    <a:pt x="0" y="2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23" name="Freeform 1479"/>
            <p:cNvSpPr>
              <a:spLocks/>
            </p:cNvSpPr>
            <p:nvPr/>
          </p:nvSpPr>
          <p:spPr bwMode="auto">
            <a:xfrm>
              <a:off x="7241387" y="4444180"/>
              <a:ext cx="41542" cy="95520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2" y="11"/>
                </a:cxn>
                <a:cxn ang="0">
                  <a:pos x="4" y="18"/>
                </a:cxn>
                <a:cxn ang="0">
                  <a:pos x="2" y="11"/>
                </a:cxn>
                <a:cxn ang="0">
                  <a:pos x="2" y="9"/>
                </a:cxn>
                <a:cxn ang="0">
                  <a:pos x="4" y="9"/>
                </a:cxn>
                <a:cxn ang="0">
                  <a:pos x="4" y="7"/>
                </a:cxn>
                <a:cxn ang="0">
                  <a:pos x="8" y="7"/>
                </a:cxn>
                <a:cxn ang="0">
                  <a:pos x="8" y="2"/>
                </a:cxn>
                <a:cxn ang="0">
                  <a:pos x="4" y="2"/>
                </a:cxn>
                <a:cxn ang="0">
                  <a:pos x="2" y="0"/>
                </a:cxn>
                <a:cxn ang="0">
                  <a:pos x="0" y="5"/>
                </a:cxn>
                <a:cxn ang="0">
                  <a:pos x="0" y="7"/>
                </a:cxn>
              </a:cxnLst>
              <a:rect l="0" t="0" r="r" b="b"/>
              <a:pathLst>
                <a:path w="8" h="18">
                  <a:moveTo>
                    <a:pt x="0" y="7"/>
                  </a:moveTo>
                  <a:lnTo>
                    <a:pt x="2" y="11"/>
                  </a:lnTo>
                  <a:lnTo>
                    <a:pt x="4" y="18"/>
                  </a:lnTo>
                  <a:lnTo>
                    <a:pt x="2" y="11"/>
                  </a:lnTo>
                  <a:lnTo>
                    <a:pt x="2" y="9"/>
                  </a:lnTo>
                  <a:lnTo>
                    <a:pt x="4" y="9"/>
                  </a:lnTo>
                  <a:lnTo>
                    <a:pt x="4" y="7"/>
                  </a:lnTo>
                  <a:lnTo>
                    <a:pt x="8" y="7"/>
                  </a:lnTo>
                  <a:lnTo>
                    <a:pt x="8" y="2"/>
                  </a:lnTo>
                  <a:lnTo>
                    <a:pt x="4" y="2"/>
                  </a:lnTo>
                  <a:lnTo>
                    <a:pt x="2" y="0"/>
                  </a:lnTo>
                  <a:lnTo>
                    <a:pt x="0" y="5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24" name="Freeform 1480"/>
            <p:cNvSpPr>
              <a:spLocks/>
            </p:cNvSpPr>
            <p:nvPr/>
          </p:nvSpPr>
          <p:spPr bwMode="auto">
            <a:xfrm>
              <a:off x="7210231" y="4613994"/>
              <a:ext cx="31156" cy="10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2"/>
                </a:cxn>
                <a:cxn ang="0">
                  <a:pos x="6" y="2"/>
                </a:cxn>
                <a:cxn ang="0">
                  <a:pos x="6" y="0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6" h="2">
                  <a:moveTo>
                    <a:pt x="0" y="0"/>
                  </a:moveTo>
                  <a:lnTo>
                    <a:pt x="2" y="2"/>
                  </a:lnTo>
                  <a:lnTo>
                    <a:pt x="6" y="2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25" name="Freeform 1481"/>
            <p:cNvSpPr>
              <a:spLocks/>
            </p:cNvSpPr>
            <p:nvPr/>
          </p:nvSpPr>
          <p:spPr bwMode="auto">
            <a:xfrm>
              <a:off x="7251772" y="4587460"/>
              <a:ext cx="77890" cy="37147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15" y="7"/>
                </a:cxn>
                <a:cxn ang="0">
                  <a:pos x="11" y="5"/>
                </a:cxn>
                <a:cxn ang="0">
                  <a:pos x="8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5"/>
                </a:cxn>
              </a:cxnLst>
              <a:rect l="0" t="0" r="r" b="b"/>
              <a:pathLst>
                <a:path w="15" h="7">
                  <a:moveTo>
                    <a:pt x="0" y="5"/>
                  </a:moveTo>
                  <a:lnTo>
                    <a:pt x="15" y="7"/>
                  </a:lnTo>
                  <a:lnTo>
                    <a:pt x="11" y="5"/>
                  </a:lnTo>
                  <a:lnTo>
                    <a:pt x="8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26" name="Line 1482"/>
            <p:cNvSpPr>
              <a:spLocks noChangeShapeType="1"/>
            </p:cNvSpPr>
            <p:nvPr/>
          </p:nvSpPr>
          <p:spPr bwMode="auto">
            <a:xfrm>
              <a:off x="7173882" y="4566234"/>
              <a:ext cx="25963" cy="5307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27" name="Freeform 1483"/>
            <p:cNvSpPr>
              <a:spLocks/>
            </p:cNvSpPr>
            <p:nvPr/>
          </p:nvSpPr>
          <p:spPr bwMode="auto">
            <a:xfrm>
              <a:off x="7241387" y="4539700"/>
              <a:ext cx="20771" cy="1061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4" y="2"/>
                </a:cxn>
                <a:cxn ang="0">
                  <a:pos x="2" y="0"/>
                </a:cxn>
                <a:cxn ang="0">
                  <a:pos x="0" y="2"/>
                </a:cxn>
              </a:cxnLst>
              <a:rect l="0" t="0" r="r" b="b"/>
              <a:pathLst>
                <a:path w="4" h="2">
                  <a:moveTo>
                    <a:pt x="0" y="2"/>
                  </a:moveTo>
                  <a:lnTo>
                    <a:pt x="4" y="2"/>
                  </a:lnTo>
                  <a:lnTo>
                    <a:pt x="2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28" name="Freeform 1484"/>
            <p:cNvSpPr>
              <a:spLocks/>
            </p:cNvSpPr>
            <p:nvPr/>
          </p:nvSpPr>
          <p:spPr bwMode="auto">
            <a:xfrm>
              <a:off x="7308892" y="4502554"/>
              <a:ext cx="31156" cy="2653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5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6" h="5">
                  <a:moveTo>
                    <a:pt x="0" y="0"/>
                  </a:moveTo>
                  <a:lnTo>
                    <a:pt x="4" y="5"/>
                  </a:lnTo>
                  <a:lnTo>
                    <a:pt x="6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29" name="Freeform 1485"/>
            <p:cNvSpPr>
              <a:spLocks/>
            </p:cNvSpPr>
            <p:nvPr/>
          </p:nvSpPr>
          <p:spPr bwMode="auto">
            <a:xfrm>
              <a:off x="7449094" y="4529087"/>
              <a:ext cx="10385" cy="10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30" name="Freeform 1486"/>
            <p:cNvSpPr>
              <a:spLocks/>
            </p:cNvSpPr>
            <p:nvPr/>
          </p:nvSpPr>
          <p:spPr bwMode="auto">
            <a:xfrm>
              <a:off x="7033679" y="3945353"/>
              <a:ext cx="119432" cy="164507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0" y="20"/>
                </a:cxn>
                <a:cxn ang="0">
                  <a:pos x="5" y="20"/>
                </a:cxn>
                <a:cxn ang="0">
                  <a:pos x="5" y="27"/>
                </a:cxn>
                <a:cxn ang="0">
                  <a:pos x="9" y="27"/>
                </a:cxn>
                <a:cxn ang="0">
                  <a:pos x="13" y="31"/>
                </a:cxn>
                <a:cxn ang="0">
                  <a:pos x="13" y="27"/>
                </a:cxn>
                <a:cxn ang="0">
                  <a:pos x="17" y="31"/>
                </a:cxn>
                <a:cxn ang="0">
                  <a:pos x="23" y="31"/>
                </a:cxn>
                <a:cxn ang="0">
                  <a:pos x="19" y="27"/>
                </a:cxn>
                <a:cxn ang="0">
                  <a:pos x="13" y="24"/>
                </a:cxn>
                <a:cxn ang="0">
                  <a:pos x="11" y="27"/>
                </a:cxn>
                <a:cxn ang="0">
                  <a:pos x="11" y="24"/>
                </a:cxn>
                <a:cxn ang="0">
                  <a:pos x="9" y="18"/>
                </a:cxn>
                <a:cxn ang="0">
                  <a:pos x="11" y="9"/>
                </a:cxn>
                <a:cxn ang="0">
                  <a:pos x="9" y="6"/>
                </a:cxn>
                <a:cxn ang="0">
                  <a:pos x="9" y="0"/>
                </a:cxn>
                <a:cxn ang="0">
                  <a:pos x="0" y="0"/>
                </a:cxn>
                <a:cxn ang="0">
                  <a:pos x="2" y="11"/>
                </a:cxn>
                <a:cxn ang="0">
                  <a:pos x="0" y="11"/>
                </a:cxn>
              </a:cxnLst>
              <a:rect l="0" t="0" r="r" b="b"/>
              <a:pathLst>
                <a:path w="23" h="31">
                  <a:moveTo>
                    <a:pt x="0" y="11"/>
                  </a:moveTo>
                  <a:lnTo>
                    <a:pt x="0" y="20"/>
                  </a:lnTo>
                  <a:lnTo>
                    <a:pt x="5" y="20"/>
                  </a:lnTo>
                  <a:lnTo>
                    <a:pt x="5" y="27"/>
                  </a:lnTo>
                  <a:lnTo>
                    <a:pt x="9" y="27"/>
                  </a:lnTo>
                  <a:lnTo>
                    <a:pt x="13" y="31"/>
                  </a:lnTo>
                  <a:lnTo>
                    <a:pt x="13" y="27"/>
                  </a:lnTo>
                  <a:lnTo>
                    <a:pt x="17" y="31"/>
                  </a:lnTo>
                  <a:lnTo>
                    <a:pt x="23" y="31"/>
                  </a:lnTo>
                  <a:lnTo>
                    <a:pt x="19" y="27"/>
                  </a:lnTo>
                  <a:lnTo>
                    <a:pt x="13" y="24"/>
                  </a:lnTo>
                  <a:lnTo>
                    <a:pt x="11" y="27"/>
                  </a:lnTo>
                  <a:lnTo>
                    <a:pt x="11" y="24"/>
                  </a:lnTo>
                  <a:lnTo>
                    <a:pt x="9" y="18"/>
                  </a:lnTo>
                  <a:lnTo>
                    <a:pt x="11" y="9"/>
                  </a:lnTo>
                  <a:lnTo>
                    <a:pt x="9" y="6"/>
                  </a:lnTo>
                  <a:lnTo>
                    <a:pt x="9" y="0"/>
                  </a:lnTo>
                  <a:lnTo>
                    <a:pt x="0" y="0"/>
                  </a:lnTo>
                  <a:lnTo>
                    <a:pt x="2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31" name="Freeform 1487"/>
            <p:cNvSpPr>
              <a:spLocks/>
            </p:cNvSpPr>
            <p:nvPr/>
          </p:nvSpPr>
          <p:spPr bwMode="auto">
            <a:xfrm>
              <a:off x="6992137" y="4168233"/>
              <a:ext cx="51927" cy="84907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10" y="3"/>
                </a:cxn>
                <a:cxn ang="0">
                  <a:pos x="8" y="0"/>
                </a:cxn>
                <a:cxn ang="0">
                  <a:pos x="8" y="3"/>
                </a:cxn>
                <a:cxn ang="0">
                  <a:pos x="4" y="9"/>
                </a:cxn>
                <a:cxn ang="0">
                  <a:pos x="0" y="14"/>
                </a:cxn>
                <a:cxn ang="0">
                  <a:pos x="0" y="16"/>
                </a:cxn>
              </a:cxnLst>
              <a:rect l="0" t="0" r="r" b="b"/>
              <a:pathLst>
                <a:path w="10" h="16">
                  <a:moveTo>
                    <a:pt x="0" y="16"/>
                  </a:moveTo>
                  <a:lnTo>
                    <a:pt x="10" y="3"/>
                  </a:lnTo>
                  <a:lnTo>
                    <a:pt x="8" y="0"/>
                  </a:lnTo>
                  <a:lnTo>
                    <a:pt x="8" y="3"/>
                  </a:lnTo>
                  <a:lnTo>
                    <a:pt x="4" y="9"/>
                  </a:lnTo>
                  <a:lnTo>
                    <a:pt x="0" y="14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32" name="Freeform 1488"/>
            <p:cNvSpPr>
              <a:spLocks/>
            </p:cNvSpPr>
            <p:nvPr/>
          </p:nvSpPr>
          <p:spPr bwMode="auto">
            <a:xfrm>
              <a:off x="7044065" y="4088633"/>
              <a:ext cx="36349" cy="4776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7" y="9"/>
                </a:cxn>
                <a:cxn ang="0">
                  <a:pos x="7" y="6"/>
                </a:cxn>
                <a:cxn ang="0">
                  <a:pos x="7" y="4"/>
                </a:cxn>
                <a:cxn ang="0">
                  <a:pos x="3" y="2"/>
                </a:cxn>
                <a:cxn ang="0">
                  <a:pos x="0" y="0"/>
                </a:cxn>
              </a:cxnLst>
              <a:rect l="0" t="0" r="r" b="b"/>
              <a:pathLst>
                <a:path w="7" h="9">
                  <a:moveTo>
                    <a:pt x="0" y="0"/>
                  </a:moveTo>
                  <a:lnTo>
                    <a:pt x="7" y="9"/>
                  </a:lnTo>
                  <a:lnTo>
                    <a:pt x="7" y="6"/>
                  </a:lnTo>
                  <a:lnTo>
                    <a:pt x="7" y="4"/>
                  </a:lnTo>
                  <a:lnTo>
                    <a:pt x="3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33" name="Freeform 1489"/>
            <p:cNvSpPr>
              <a:spLocks/>
            </p:cNvSpPr>
            <p:nvPr/>
          </p:nvSpPr>
          <p:spPr bwMode="auto">
            <a:xfrm>
              <a:off x="7153111" y="4120473"/>
              <a:ext cx="20771" cy="8490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7"/>
                </a:cxn>
                <a:cxn ang="0">
                  <a:pos x="0" y="7"/>
                </a:cxn>
                <a:cxn ang="0">
                  <a:pos x="0" y="9"/>
                </a:cxn>
                <a:cxn ang="0">
                  <a:pos x="2" y="9"/>
                </a:cxn>
                <a:cxn ang="0">
                  <a:pos x="2" y="16"/>
                </a:cxn>
                <a:cxn ang="0">
                  <a:pos x="4" y="12"/>
                </a:cxn>
                <a:cxn ang="0">
                  <a:pos x="2" y="9"/>
                </a:cxn>
                <a:cxn ang="0">
                  <a:pos x="4" y="9"/>
                </a:cxn>
                <a:cxn ang="0">
                  <a:pos x="4" y="3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4" h="16">
                  <a:moveTo>
                    <a:pt x="0" y="0"/>
                  </a:moveTo>
                  <a:lnTo>
                    <a:pt x="2" y="7"/>
                  </a:lnTo>
                  <a:lnTo>
                    <a:pt x="0" y="7"/>
                  </a:lnTo>
                  <a:lnTo>
                    <a:pt x="0" y="9"/>
                  </a:lnTo>
                  <a:lnTo>
                    <a:pt x="2" y="9"/>
                  </a:lnTo>
                  <a:lnTo>
                    <a:pt x="2" y="16"/>
                  </a:lnTo>
                  <a:lnTo>
                    <a:pt x="4" y="12"/>
                  </a:lnTo>
                  <a:lnTo>
                    <a:pt x="2" y="9"/>
                  </a:lnTo>
                  <a:lnTo>
                    <a:pt x="4" y="9"/>
                  </a:lnTo>
                  <a:lnTo>
                    <a:pt x="4" y="3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34" name="Freeform 1490"/>
            <p:cNvSpPr>
              <a:spLocks/>
            </p:cNvSpPr>
            <p:nvPr/>
          </p:nvSpPr>
          <p:spPr bwMode="auto">
            <a:xfrm>
              <a:off x="7090799" y="4136393"/>
              <a:ext cx="72698" cy="95520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6" y="9"/>
                </a:cxn>
                <a:cxn ang="0">
                  <a:pos x="6" y="13"/>
                </a:cxn>
                <a:cxn ang="0">
                  <a:pos x="2" y="13"/>
                </a:cxn>
                <a:cxn ang="0">
                  <a:pos x="6" y="18"/>
                </a:cxn>
                <a:cxn ang="0">
                  <a:pos x="8" y="15"/>
                </a:cxn>
                <a:cxn ang="0">
                  <a:pos x="8" y="13"/>
                </a:cxn>
                <a:cxn ang="0">
                  <a:pos x="8" y="15"/>
                </a:cxn>
                <a:cxn ang="0">
                  <a:pos x="12" y="13"/>
                </a:cxn>
                <a:cxn ang="0">
                  <a:pos x="12" y="15"/>
                </a:cxn>
                <a:cxn ang="0">
                  <a:pos x="14" y="15"/>
                </a:cxn>
                <a:cxn ang="0">
                  <a:pos x="14" y="13"/>
                </a:cxn>
                <a:cxn ang="0">
                  <a:pos x="12" y="13"/>
                </a:cxn>
                <a:cxn ang="0">
                  <a:pos x="12" y="6"/>
                </a:cxn>
                <a:cxn ang="0">
                  <a:pos x="8" y="9"/>
                </a:cxn>
                <a:cxn ang="0">
                  <a:pos x="6" y="4"/>
                </a:cxn>
                <a:cxn ang="0">
                  <a:pos x="2" y="4"/>
                </a:cxn>
                <a:cxn ang="0">
                  <a:pos x="0" y="0"/>
                </a:cxn>
                <a:cxn ang="0">
                  <a:pos x="0" y="4"/>
                </a:cxn>
                <a:cxn ang="0">
                  <a:pos x="0" y="9"/>
                </a:cxn>
              </a:cxnLst>
              <a:rect l="0" t="0" r="r" b="b"/>
              <a:pathLst>
                <a:path w="14" h="18">
                  <a:moveTo>
                    <a:pt x="0" y="9"/>
                  </a:moveTo>
                  <a:lnTo>
                    <a:pt x="6" y="9"/>
                  </a:lnTo>
                  <a:lnTo>
                    <a:pt x="6" y="13"/>
                  </a:lnTo>
                  <a:lnTo>
                    <a:pt x="2" y="13"/>
                  </a:lnTo>
                  <a:lnTo>
                    <a:pt x="6" y="18"/>
                  </a:lnTo>
                  <a:lnTo>
                    <a:pt x="8" y="15"/>
                  </a:lnTo>
                  <a:lnTo>
                    <a:pt x="8" y="13"/>
                  </a:lnTo>
                  <a:lnTo>
                    <a:pt x="8" y="15"/>
                  </a:lnTo>
                  <a:lnTo>
                    <a:pt x="12" y="13"/>
                  </a:lnTo>
                  <a:lnTo>
                    <a:pt x="12" y="15"/>
                  </a:lnTo>
                  <a:lnTo>
                    <a:pt x="14" y="15"/>
                  </a:lnTo>
                  <a:lnTo>
                    <a:pt x="14" y="13"/>
                  </a:lnTo>
                  <a:lnTo>
                    <a:pt x="12" y="13"/>
                  </a:lnTo>
                  <a:lnTo>
                    <a:pt x="12" y="6"/>
                  </a:lnTo>
                  <a:lnTo>
                    <a:pt x="8" y="9"/>
                  </a:lnTo>
                  <a:lnTo>
                    <a:pt x="6" y="4"/>
                  </a:lnTo>
                  <a:lnTo>
                    <a:pt x="2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35" name="Freeform 1491"/>
            <p:cNvSpPr>
              <a:spLocks/>
            </p:cNvSpPr>
            <p:nvPr/>
          </p:nvSpPr>
          <p:spPr bwMode="auto">
            <a:xfrm>
              <a:off x="7101184" y="4205380"/>
              <a:ext cx="119432" cy="122054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8"/>
                </a:cxn>
                <a:cxn ang="0">
                  <a:pos x="4" y="11"/>
                </a:cxn>
                <a:cxn ang="0">
                  <a:pos x="4" y="14"/>
                </a:cxn>
                <a:cxn ang="0">
                  <a:pos x="10" y="11"/>
                </a:cxn>
                <a:cxn ang="0">
                  <a:pos x="12" y="14"/>
                </a:cxn>
                <a:cxn ang="0">
                  <a:pos x="10" y="20"/>
                </a:cxn>
                <a:cxn ang="0">
                  <a:pos x="19" y="23"/>
                </a:cxn>
                <a:cxn ang="0">
                  <a:pos x="19" y="20"/>
                </a:cxn>
                <a:cxn ang="0">
                  <a:pos x="19" y="18"/>
                </a:cxn>
                <a:cxn ang="0">
                  <a:pos x="19" y="14"/>
                </a:cxn>
                <a:cxn ang="0">
                  <a:pos x="21" y="20"/>
                </a:cxn>
                <a:cxn ang="0">
                  <a:pos x="23" y="14"/>
                </a:cxn>
                <a:cxn ang="0">
                  <a:pos x="21" y="5"/>
                </a:cxn>
                <a:cxn ang="0">
                  <a:pos x="14" y="0"/>
                </a:cxn>
                <a:cxn ang="0">
                  <a:pos x="19" y="5"/>
                </a:cxn>
                <a:cxn ang="0">
                  <a:pos x="14" y="5"/>
                </a:cxn>
                <a:cxn ang="0">
                  <a:pos x="12" y="5"/>
                </a:cxn>
                <a:cxn ang="0">
                  <a:pos x="12" y="9"/>
                </a:cxn>
                <a:cxn ang="0">
                  <a:pos x="10" y="11"/>
                </a:cxn>
                <a:cxn ang="0">
                  <a:pos x="10" y="9"/>
                </a:cxn>
                <a:cxn ang="0">
                  <a:pos x="6" y="9"/>
                </a:cxn>
                <a:cxn ang="0">
                  <a:pos x="0" y="11"/>
                </a:cxn>
                <a:cxn ang="0">
                  <a:pos x="0" y="14"/>
                </a:cxn>
              </a:cxnLst>
              <a:rect l="0" t="0" r="r" b="b"/>
              <a:pathLst>
                <a:path w="23" h="23">
                  <a:moveTo>
                    <a:pt x="0" y="14"/>
                  </a:moveTo>
                  <a:lnTo>
                    <a:pt x="0" y="18"/>
                  </a:lnTo>
                  <a:lnTo>
                    <a:pt x="4" y="11"/>
                  </a:lnTo>
                  <a:lnTo>
                    <a:pt x="4" y="14"/>
                  </a:lnTo>
                  <a:lnTo>
                    <a:pt x="10" y="11"/>
                  </a:lnTo>
                  <a:lnTo>
                    <a:pt x="12" y="14"/>
                  </a:lnTo>
                  <a:lnTo>
                    <a:pt x="10" y="20"/>
                  </a:lnTo>
                  <a:lnTo>
                    <a:pt x="19" y="23"/>
                  </a:lnTo>
                  <a:lnTo>
                    <a:pt x="19" y="20"/>
                  </a:lnTo>
                  <a:lnTo>
                    <a:pt x="19" y="18"/>
                  </a:lnTo>
                  <a:lnTo>
                    <a:pt x="19" y="14"/>
                  </a:lnTo>
                  <a:lnTo>
                    <a:pt x="21" y="20"/>
                  </a:lnTo>
                  <a:lnTo>
                    <a:pt x="23" y="14"/>
                  </a:lnTo>
                  <a:lnTo>
                    <a:pt x="21" y="5"/>
                  </a:lnTo>
                  <a:lnTo>
                    <a:pt x="14" y="0"/>
                  </a:lnTo>
                  <a:lnTo>
                    <a:pt x="19" y="5"/>
                  </a:lnTo>
                  <a:lnTo>
                    <a:pt x="14" y="5"/>
                  </a:lnTo>
                  <a:lnTo>
                    <a:pt x="12" y="5"/>
                  </a:lnTo>
                  <a:lnTo>
                    <a:pt x="12" y="9"/>
                  </a:lnTo>
                  <a:lnTo>
                    <a:pt x="10" y="11"/>
                  </a:lnTo>
                  <a:lnTo>
                    <a:pt x="10" y="9"/>
                  </a:lnTo>
                  <a:lnTo>
                    <a:pt x="6" y="9"/>
                  </a:lnTo>
                  <a:lnTo>
                    <a:pt x="0" y="11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36" name="Freeform 1492"/>
            <p:cNvSpPr>
              <a:spLocks/>
            </p:cNvSpPr>
            <p:nvPr/>
          </p:nvSpPr>
          <p:spPr bwMode="auto">
            <a:xfrm>
              <a:off x="7750270" y="4635220"/>
              <a:ext cx="109047" cy="74293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4" y="14"/>
                </a:cxn>
                <a:cxn ang="0">
                  <a:pos x="13" y="14"/>
                </a:cxn>
                <a:cxn ang="0">
                  <a:pos x="17" y="7"/>
                </a:cxn>
                <a:cxn ang="0">
                  <a:pos x="21" y="5"/>
                </a:cxn>
                <a:cxn ang="0">
                  <a:pos x="21" y="0"/>
                </a:cxn>
                <a:cxn ang="0">
                  <a:pos x="17" y="0"/>
                </a:cxn>
                <a:cxn ang="0">
                  <a:pos x="17" y="5"/>
                </a:cxn>
                <a:cxn ang="0">
                  <a:pos x="15" y="5"/>
                </a:cxn>
                <a:cxn ang="0">
                  <a:pos x="13" y="7"/>
                </a:cxn>
                <a:cxn ang="0">
                  <a:pos x="6" y="7"/>
                </a:cxn>
                <a:cxn ang="0">
                  <a:pos x="0" y="7"/>
                </a:cxn>
              </a:cxnLst>
              <a:rect l="0" t="0" r="r" b="b"/>
              <a:pathLst>
                <a:path w="21" h="14">
                  <a:moveTo>
                    <a:pt x="0" y="7"/>
                  </a:moveTo>
                  <a:lnTo>
                    <a:pt x="4" y="14"/>
                  </a:lnTo>
                  <a:lnTo>
                    <a:pt x="13" y="14"/>
                  </a:lnTo>
                  <a:lnTo>
                    <a:pt x="17" y="7"/>
                  </a:lnTo>
                  <a:lnTo>
                    <a:pt x="21" y="5"/>
                  </a:lnTo>
                  <a:lnTo>
                    <a:pt x="21" y="0"/>
                  </a:lnTo>
                  <a:lnTo>
                    <a:pt x="17" y="0"/>
                  </a:lnTo>
                  <a:lnTo>
                    <a:pt x="17" y="5"/>
                  </a:lnTo>
                  <a:lnTo>
                    <a:pt x="15" y="5"/>
                  </a:lnTo>
                  <a:lnTo>
                    <a:pt x="13" y="7"/>
                  </a:lnTo>
                  <a:lnTo>
                    <a:pt x="6" y="7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37" name="Freeform 1493"/>
            <p:cNvSpPr>
              <a:spLocks/>
            </p:cNvSpPr>
            <p:nvPr/>
          </p:nvSpPr>
          <p:spPr bwMode="auto">
            <a:xfrm>
              <a:off x="7828160" y="4587460"/>
              <a:ext cx="41542" cy="7429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7"/>
                </a:cxn>
                <a:cxn ang="0">
                  <a:pos x="8" y="14"/>
                </a:cxn>
                <a:cxn ang="0">
                  <a:pos x="8" y="7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8" h="14">
                  <a:moveTo>
                    <a:pt x="0" y="0"/>
                  </a:moveTo>
                  <a:lnTo>
                    <a:pt x="6" y="7"/>
                  </a:lnTo>
                  <a:lnTo>
                    <a:pt x="8" y="14"/>
                  </a:lnTo>
                  <a:lnTo>
                    <a:pt x="8" y="7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38" name="Freeform 1494"/>
            <p:cNvSpPr>
              <a:spLocks/>
            </p:cNvSpPr>
            <p:nvPr/>
          </p:nvSpPr>
          <p:spPr bwMode="auto">
            <a:xfrm>
              <a:off x="7911244" y="4672367"/>
              <a:ext cx="36349" cy="4776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9"/>
                </a:cxn>
                <a:cxn ang="0">
                  <a:pos x="7" y="7"/>
                </a:cxn>
                <a:cxn ang="0">
                  <a:pos x="2" y="4"/>
                </a:cxn>
                <a:cxn ang="0">
                  <a:pos x="0" y="0"/>
                </a:cxn>
              </a:cxnLst>
              <a:rect l="0" t="0" r="r" b="b"/>
              <a:pathLst>
                <a:path w="7" h="9">
                  <a:moveTo>
                    <a:pt x="0" y="0"/>
                  </a:moveTo>
                  <a:lnTo>
                    <a:pt x="2" y="9"/>
                  </a:lnTo>
                  <a:lnTo>
                    <a:pt x="7" y="7"/>
                  </a:lnTo>
                  <a:lnTo>
                    <a:pt x="2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39" name="Line 1495"/>
            <p:cNvSpPr>
              <a:spLocks noChangeShapeType="1"/>
            </p:cNvSpPr>
            <p:nvPr/>
          </p:nvSpPr>
          <p:spPr bwMode="auto">
            <a:xfrm>
              <a:off x="7947592" y="4720127"/>
              <a:ext cx="31156" cy="21227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40" name="Line 1496"/>
            <p:cNvSpPr>
              <a:spLocks noChangeShapeType="1"/>
            </p:cNvSpPr>
            <p:nvPr/>
          </p:nvSpPr>
          <p:spPr bwMode="auto">
            <a:xfrm>
              <a:off x="7978748" y="4767887"/>
              <a:ext cx="5193" cy="10613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41" name="Line 1497"/>
            <p:cNvSpPr>
              <a:spLocks noChangeShapeType="1"/>
            </p:cNvSpPr>
            <p:nvPr/>
          </p:nvSpPr>
          <p:spPr bwMode="auto">
            <a:xfrm>
              <a:off x="7999518" y="4741354"/>
              <a:ext cx="31156" cy="37147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42" name="Line 1498"/>
            <p:cNvSpPr>
              <a:spLocks noChangeShapeType="1"/>
            </p:cNvSpPr>
            <p:nvPr/>
          </p:nvSpPr>
          <p:spPr bwMode="auto">
            <a:xfrm>
              <a:off x="8041060" y="4778501"/>
              <a:ext cx="25963" cy="37147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43" name="Freeform 1499"/>
            <p:cNvSpPr>
              <a:spLocks/>
            </p:cNvSpPr>
            <p:nvPr/>
          </p:nvSpPr>
          <p:spPr bwMode="auto">
            <a:xfrm>
              <a:off x="8020289" y="4778501"/>
              <a:ext cx="20771" cy="3714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5"/>
                </a:cxn>
                <a:cxn ang="0">
                  <a:pos x="4" y="7"/>
                </a:cxn>
                <a:cxn ang="0">
                  <a:pos x="4" y="5"/>
                </a:cxn>
                <a:cxn ang="0">
                  <a:pos x="2" y="2"/>
                </a:cxn>
                <a:cxn ang="0">
                  <a:pos x="0" y="0"/>
                </a:cxn>
              </a:cxnLst>
              <a:rect l="0" t="0" r="r" b="b"/>
              <a:pathLst>
                <a:path w="4" h="7">
                  <a:moveTo>
                    <a:pt x="0" y="0"/>
                  </a:moveTo>
                  <a:lnTo>
                    <a:pt x="0" y="5"/>
                  </a:lnTo>
                  <a:lnTo>
                    <a:pt x="4" y="7"/>
                  </a:lnTo>
                  <a:lnTo>
                    <a:pt x="4" y="5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44" name="Freeform 1500"/>
            <p:cNvSpPr>
              <a:spLocks/>
            </p:cNvSpPr>
            <p:nvPr/>
          </p:nvSpPr>
          <p:spPr bwMode="auto">
            <a:xfrm>
              <a:off x="8067023" y="4815647"/>
              <a:ext cx="20771" cy="2122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4"/>
                </a:cxn>
                <a:cxn ang="0">
                  <a:pos x="4" y="4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4" h="4">
                  <a:moveTo>
                    <a:pt x="0" y="0"/>
                  </a:moveTo>
                  <a:lnTo>
                    <a:pt x="2" y="4"/>
                  </a:lnTo>
                  <a:lnTo>
                    <a:pt x="4" y="4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45" name="Line 1501"/>
            <p:cNvSpPr>
              <a:spLocks noChangeShapeType="1"/>
            </p:cNvSpPr>
            <p:nvPr/>
          </p:nvSpPr>
          <p:spPr bwMode="auto">
            <a:xfrm flipV="1">
              <a:off x="8170877" y="4969541"/>
              <a:ext cx="5193" cy="26533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46" name="Freeform 1502"/>
            <p:cNvSpPr>
              <a:spLocks/>
            </p:cNvSpPr>
            <p:nvPr/>
          </p:nvSpPr>
          <p:spPr bwMode="auto">
            <a:xfrm>
              <a:off x="8170877" y="4996074"/>
              <a:ext cx="25963" cy="10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"/>
                </a:cxn>
                <a:cxn ang="0">
                  <a:pos x="5" y="2"/>
                </a:cxn>
                <a:cxn ang="0">
                  <a:pos x="3" y="2"/>
                </a:cxn>
                <a:cxn ang="0">
                  <a:pos x="0" y="0"/>
                </a:cxn>
              </a:cxnLst>
              <a:rect l="0" t="0" r="r" b="b"/>
              <a:pathLst>
                <a:path w="5" h="2">
                  <a:moveTo>
                    <a:pt x="0" y="0"/>
                  </a:moveTo>
                  <a:lnTo>
                    <a:pt x="0" y="2"/>
                  </a:lnTo>
                  <a:lnTo>
                    <a:pt x="5" y="2"/>
                  </a:lnTo>
                  <a:lnTo>
                    <a:pt x="3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47" name="Freeform 1503"/>
            <p:cNvSpPr>
              <a:spLocks/>
            </p:cNvSpPr>
            <p:nvPr/>
          </p:nvSpPr>
          <p:spPr bwMode="auto">
            <a:xfrm>
              <a:off x="8077409" y="5128741"/>
              <a:ext cx="51927" cy="5837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6"/>
                </a:cxn>
                <a:cxn ang="0">
                  <a:pos x="8" y="11"/>
                </a:cxn>
                <a:cxn ang="0">
                  <a:pos x="10" y="11"/>
                </a:cxn>
                <a:cxn ang="0">
                  <a:pos x="6" y="2"/>
                </a:cxn>
                <a:cxn ang="0">
                  <a:pos x="2" y="2"/>
                </a:cxn>
                <a:cxn ang="0">
                  <a:pos x="0" y="0"/>
                </a:cxn>
              </a:cxnLst>
              <a:rect l="0" t="0" r="r" b="b"/>
              <a:pathLst>
                <a:path w="10" h="11">
                  <a:moveTo>
                    <a:pt x="0" y="0"/>
                  </a:moveTo>
                  <a:lnTo>
                    <a:pt x="2" y="6"/>
                  </a:lnTo>
                  <a:lnTo>
                    <a:pt x="8" y="11"/>
                  </a:lnTo>
                  <a:lnTo>
                    <a:pt x="10" y="11"/>
                  </a:lnTo>
                  <a:lnTo>
                    <a:pt x="6" y="2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48" name="Line 1504"/>
            <p:cNvSpPr>
              <a:spLocks noChangeShapeType="1"/>
            </p:cNvSpPr>
            <p:nvPr/>
          </p:nvSpPr>
          <p:spPr bwMode="auto">
            <a:xfrm>
              <a:off x="8207226" y="5866369"/>
              <a:ext cx="20771" cy="5307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49" name="Freeform 1505"/>
            <p:cNvSpPr>
              <a:spLocks/>
            </p:cNvSpPr>
            <p:nvPr/>
          </p:nvSpPr>
          <p:spPr bwMode="auto">
            <a:xfrm>
              <a:off x="2547198" y="2793804"/>
              <a:ext cx="15578" cy="1592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3"/>
                </a:cxn>
                <a:cxn ang="0">
                  <a:pos x="3" y="0"/>
                </a:cxn>
                <a:cxn ang="0">
                  <a:pos x="0" y="0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50" name="Freeform 1506"/>
            <p:cNvSpPr>
              <a:spLocks/>
            </p:cNvSpPr>
            <p:nvPr/>
          </p:nvSpPr>
          <p:spPr bwMode="auto">
            <a:xfrm>
              <a:off x="2443344" y="2889324"/>
              <a:ext cx="20771" cy="1592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3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4" h="3">
                  <a:moveTo>
                    <a:pt x="0" y="0"/>
                  </a:moveTo>
                  <a:lnTo>
                    <a:pt x="4" y="3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51" name="Freeform 1507"/>
            <p:cNvSpPr>
              <a:spLocks/>
            </p:cNvSpPr>
            <p:nvPr/>
          </p:nvSpPr>
          <p:spPr bwMode="auto">
            <a:xfrm>
              <a:off x="5616076" y="5999036"/>
              <a:ext cx="51927" cy="3714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4"/>
                </a:cxn>
                <a:cxn ang="0">
                  <a:pos x="0" y="7"/>
                </a:cxn>
                <a:cxn ang="0">
                  <a:pos x="4" y="7"/>
                </a:cxn>
                <a:cxn ang="0">
                  <a:pos x="10" y="0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10" h="7">
                  <a:moveTo>
                    <a:pt x="0" y="0"/>
                  </a:moveTo>
                  <a:lnTo>
                    <a:pt x="4" y="4"/>
                  </a:lnTo>
                  <a:lnTo>
                    <a:pt x="0" y="7"/>
                  </a:lnTo>
                  <a:lnTo>
                    <a:pt x="4" y="7"/>
                  </a:lnTo>
                  <a:lnTo>
                    <a:pt x="10" y="0"/>
                  </a:lnTo>
                  <a:lnTo>
                    <a:pt x="4" y="4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52" name="Freeform 1508"/>
            <p:cNvSpPr>
              <a:spLocks/>
            </p:cNvSpPr>
            <p:nvPr/>
          </p:nvSpPr>
          <p:spPr bwMode="auto">
            <a:xfrm>
              <a:off x="7090799" y="2857484"/>
              <a:ext cx="192130" cy="238800"/>
            </a:xfrm>
            <a:custGeom>
              <a:avLst/>
              <a:gdLst/>
              <a:ahLst/>
              <a:cxnLst>
                <a:cxn ang="0">
                  <a:pos x="2" y="6"/>
                </a:cxn>
                <a:cxn ang="0">
                  <a:pos x="25" y="33"/>
                </a:cxn>
                <a:cxn ang="0">
                  <a:pos x="29" y="42"/>
                </a:cxn>
                <a:cxn ang="0">
                  <a:pos x="31" y="45"/>
                </a:cxn>
                <a:cxn ang="0">
                  <a:pos x="31" y="42"/>
                </a:cxn>
                <a:cxn ang="0">
                  <a:pos x="37" y="42"/>
                </a:cxn>
                <a:cxn ang="0">
                  <a:pos x="25" y="33"/>
                </a:cxn>
                <a:cxn ang="0">
                  <a:pos x="25" y="27"/>
                </a:cxn>
                <a:cxn ang="0">
                  <a:pos x="31" y="27"/>
                </a:cxn>
                <a:cxn ang="0">
                  <a:pos x="6" y="0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2" y="4"/>
                </a:cxn>
                <a:cxn ang="0">
                  <a:pos x="2" y="6"/>
                </a:cxn>
              </a:cxnLst>
              <a:rect l="0" t="0" r="r" b="b"/>
              <a:pathLst>
                <a:path w="37" h="45">
                  <a:moveTo>
                    <a:pt x="2" y="6"/>
                  </a:moveTo>
                  <a:lnTo>
                    <a:pt x="25" y="33"/>
                  </a:lnTo>
                  <a:lnTo>
                    <a:pt x="29" y="42"/>
                  </a:lnTo>
                  <a:lnTo>
                    <a:pt x="31" y="45"/>
                  </a:lnTo>
                  <a:lnTo>
                    <a:pt x="31" y="42"/>
                  </a:lnTo>
                  <a:lnTo>
                    <a:pt x="37" y="42"/>
                  </a:lnTo>
                  <a:lnTo>
                    <a:pt x="25" y="33"/>
                  </a:lnTo>
                  <a:lnTo>
                    <a:pt x="25" y="27"/>
                  </a:lnTo>
                  <a:lnTo>
                    <a:pt x="31" y="27"/>
                  </a:lnTo>
                  <a:lnTo>
                    <a:pt x="6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2" y="4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53" name="Freeform 1509"/>
            <p:cNvSpPr>
              <a:spLocks/>
            </p:cNvSpPr>
            <p:nvPr/>
          </p:nvSpPr>
          <p:spPr bwMode="auto">
            <a:xfrm>
              <a:off x="4769667" y="3393459"/>
              <a:ext cx="10385" cy="10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54" name="Line 1510"/>
            <p:cNvSpPr>
              <a:spLocks noChangeShapeType="1"/>
            </p:cNvSpPr>
            <p:nvPr/>
          </p:nvSpPr>
          <p:spPr bwMode="auto">
            <a:xfrm flipV="1">
              <a:off x="4328290" y="4407033"/>
              <a:ext cx="5193" cy="15920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55" name="Freeform 1511"/>
            <p:cNvSpPr>
              <a:spLocks/>
            </p:cNvSpPr>
            <p:nvPr/>
          </p:nvSpPr>
          <p:spPr bwMode="auto">
            <a:xfrm>
              <a:off x="7293315" y="4852794"/>
              <a:ext cx="36349" cy="31840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3" y="6"/>
                </a:cxn>
                <a:cxn ang="0">
                  <a:pos x="7" y="2"/>
                </a:cxn>
                <a:cxn ang="0">
                  <a:pos x="7" y="0"/>
                </a:cxn>
                <a:cxn ang="0">
                  <a:pos x="0" y="0"/>
                </a:cxn>
                <a:cxn ang="0">
                  <a:pos x="0" y="2"/>
                </a:cxn>
              </a:cxnLst>
              <a:rect l="0" t="0" r="r" b="b"/>
              <a:pathLst>
                <a:path w="7" h="6">
                  <a:moveTo>
                    <a:pt x="0" y="2"/>
                  </a:moveTo>
                  <a:lnTo>
                    <a:pt x="3" y="6"/>
                  </a:lnTo>
                  <a:lnTo>
                    <a:pt x="7" y="2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56" name="Freeform 1512"/>
            <p:cNvSpPr>
              <a:spLocks/>
            </p:cNvSpPr>
            <p:nvPr/>
          </p:nvSpPr>
          <p:spPr bwMode="auto">
            <a:xfrm>
              <a:off x="7132340" y="4767887"/>
              <a:ext cx="109047" cy="47760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6" y="9"/>
                </a:cxn>
                <a:cxn ang="0">
                  <a:pos x="8" y="2"/>
                </a:cxn>
                <a:cxn ang="0">
                  <a:pos x="21" y="0"/>
                </a:cxn>
                <a:cxn ang="0">
                  <a:pos x="8" y="0"/>
                </a:cxn>
                <a:cxn ang="0">
                  <a:pos x="4" y="7"/>
                </a:cxn>
                <a:cxn ang="0">
                  <a:pos x="2" y="9"/>
                </a:cxn>
                <a:cxn ang="0">
                  <a:pos x="0" y="9"/>
                </a:cxn>
              </a:cxnLst>
              <a:rect l="0" t="0" r="r" b="b"/>
              <a:pathLst>
                <a:path w="21" h="9">
                  <a:moveTo>
                    <a:pt x="0" y="9"/>
                  </a:moveTo>
                  <a:lnTo>
                    <a:pt x="6" y="9"/>
                  </a:lnTo>
                  <a:lnTo>
                    <a:pt x="8" y="2"/>
                  </a:lnTo>
                  <a:lnTo>
                    <a:pt x="21" y="0"/>
                  </a:lnTo>
                  <a:lnTo>
                    <a:pt x="8" y="0"/>
                  </a:lnTo>
                  <a:lnTo>
                    <a:pt x="4" y="7"/>
                  </a:lnTo>
                  <a:lnTo>
                    <a:pt x="2" y="9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57" name="Freeform 1513"/>
            <p:cNvSpPr>
              <a:spLocks/>
            </p:cNvSpPr>
            <p:nvPr/>
          </p:nvSpPr>
          <p:spPr bwMode="auto">
            <a:xfrm>
              <a:off x="2334298" y="3096285"/>
              <a:ext cx="20771" cy="2122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4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4" h="4">
                  <a:moveTo>
                    <a:pt x="0" y="0"/>
                  </a:moveTo>
                  <a:lnTo>
                    <a:pt x="2" y="4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58" name="Freeform 1514"/>
            <p:cNvSpPr>
              <a:spLocks/>
            </p:cNvSpPr>
            <p:nvPr/>
          </p:nvSpPr>
          <p:spPr bwMode="auto">
            <a:xfrm>
              <a:off x="6971368" y="2820338"/>
              <a:ext cx="20771" cy="21227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4" y="4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4"/>
                </a:cxn>
              </a:cxnLst>
              <a:rect l="0" t="0" r="r" b="b"/>
              <a:pathLst>
                <a:path w="4" h="4">
                  <a:moveTo>
                    <a:pt x="0" y="4"/>
                  </a:moveTo>
                  <a:lnTo>
                    <a:pt x="4" y="4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59" name="Line 1515"/>
            <p:cNvSpPr>
              <a:spLocks noChangeShapeType="1"/>
            </p:cNvSpPr>
            <p:nvPr/>
          </p:nvSpPr>
          <p:spPr bwMode="auto">
            <a:xfrm flipV="1">
              <a:off x="4369831" y="2820338"/>
              <a:ext cx="5193" cy="10613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60" name="Freeform 1516"/>
            <p:cNvSpPr>
              <a:spLocks/>
            </p:cNvSpPr>
            <p:nvPr/>
          </p:nvSpPr>
          <p:spPr bwMode="auto">
            <a:xfrm>
              <a:off x="4390601" y="2809724"/>
              <a:ext cx="20771" cy="10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"/>
                </a:cxn>
                <a:cxn ang="0">
                  <a:pos x="2" y="2"/>
                </a:cxn>
                <a:cxn ang="0">
                  <a:pos x="4" y="2"/>
                </a:cxn>
                <a:cxn ang="0">
                  <a:pos x="2" y="2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4" y="2"/>
                  </a:lnTo>
                  <a:lnTo>
                    <a:pt x="2" y="2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61" name="Line 1517"/>
            <p:cNvSpPr>
              <a:spLocks noChangeShapeType="1"/>
            </p:cNvSpPr>
            <p:nvPr/>
          </p:nvSpPr>
          <p:spPr bwMode="auto">
            <a:xfrm>
              <a:off x="4390601" y="2857484"/>
              <a:ext cx="10385" cy="5307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62" name="Freeform 1518"/>
            <p:cNvSpPr>
              <a:spLocks/>
            </p:cNvSpPr>
            <p:nvPr/>
          </p:nvSpPr>
          <p:spPr bwMode="auto">
            <a:xfrm>
              <a:off x="4769667" y="5388768"/>
              <a:ext cx="46734" cy="58373"/>
            </a:xfrm>
            <a:custGeom>
              <a:avLst/>
              <a:gdLst/>
              <a:ahLst/>
              <a:cxnLst>
                <a:cxn ang="0">
                  <a:pos x="9" y="2"/>
                </a:cxn>
                <a:cxn ang="0">
                  <a:pos x="9" y="5"/>
                </a:cxn>
                <a:cxn ang="0">
                  <a:pos x="2" y="11"/>
                </a:cxn>
                <a:cxn ang="0">
                  <a:pos x="0" y="5"/>
                </a:cxn>
                <a:cxn ang="0">
                  <a:pos x="4" y="0"/>
                </a:cxn>
                <a:cxn ang="0">
                  <a:pos x="9" y="0"/>
                </a:cxn>
                <a:cxn ang="0">
                  <a:pos x="9" y="2"/>
                </a:cxn>
              </a:cxnLst>
              <a:rect l="0" t="0" r="r" b="b"/>
              <a:pathLst>
                <a:path w="9" h="11">
                  <a:moveTo>
                    <a:pt x="9" y="2"/>
                  </a:moveTo>
                  <a:lnTo>
                    <a:pt x="9" y="5"/>
                  </a:lnTo>
                  <a:lnTo>
                    <a:pt x="2" y="11"/>
                  </a:lnTo>
                  <a:lnTo>
                    <a:pt x="0" y="5"/>
                  </a:lnTo>
                  <a:lnTo>
                    <a:pt x="4" y="0"/>
                  </a:lnTo>
                  <a:lnTo>
                    <a:pt x="9" y="0"/>
                  </a:lnTo>
                  <a:lnTo>
                    <a:pt x="9" y="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63" name="Line 1519"/>
            <p:cNvSpPr>
              <a:spLocks noChangeShapeType="1"/>
            </p:cNvSpPr>
            <p:nvPr/>
          </p:nvSpPr>
          <p:spPr bwMode="auto">
            <a:xfrm flipV="1">
              <a:off x="2375839" y="3441219"/>
              <a:ext cx="10385" cy="10613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64" name="Rectangle 1520"/>
            <p:cNvSpPr>
              <a:spLocks noChangeArrowheads="1"/>
            </p:cNvSpPr>
            <p:nvPr/>
          </p:nvSpPr>
          <p:spPr bwMode="auto">
            <a:xfrm>
              <a:off x="6851935" y="3812686"/>
              <a:ext cx="20771" cy="10613"/>
            </a:xfrm>
            <a:prstGeom prst="rect">
              <a:avLst/>
            </a:pr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65" name="Freeform 1521"/>
            <p:cNvSpPr>
              <a:spLocks/>
            </p:cNvSpPr>
            <p:nvPr/>
          </p:nvSpPr>
          <p:spPr bwMode="auto">
            <a:xfrm>
              <a:off x="6851935" y="3812686"/>
              <a:ext cx="20771" cy="10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"/>
                </a:cxn>
                <a:cxn ang="0">
                  <a:pos x="4" y="2"/>
                </a:cxn>
                <a:cxn ang="0">
                  <a:pos x="4" y="0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0" y="2"/>
                  </a:lnTo>
                  <a:lnTo>
                    <a:pt x="4" y="2"/>
                  </a:lnTo>
                  <a:lnTo>
                    <a:pt x="4" y="0"/>
                  </a:lnTo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66" name="Line 1522"/>
            <p:cNvSpPr>
              <a:spLocks noChangeShapeType="1"/>
            </p:cNvSpPr>
            <p:nvPr/>
          </p:nvSpPr>
          <p:spPr bwMode="auto">
            <a:xfrm flipH="1">
              <a:off x="6851935" y="3823299"/>
              <a:ext cx="20771" cy="5307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67" name="Freeform 1523"/>
            <p:cNvSpPr>
              <a:spLocks/>
            </p:cNvSpPr>
            <p:nvPr/>
          </p:nvSpPr>
          <p:spPr bwMode="auto">
            <a:xfrm>
              <a:off x="3923262" y="2820338"/>
              <a:ext cx="109047" cy="116747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5" y="7"/>
                </a:cxn>
                <a:cxn ang="0">
                  <a:pos x="21" y="7"/>
                </a:cxn>
                <a:cxn ang="0">
                  <a:pos x="21" y="13"/>
                </a:cxn>
                <a:cxn ang="0">
                  <a:pos x="19" y="20"/>
                </a:cxn>
                <a:cxn ang="0">
                  <a:pos x="5" y="22"/>
                </a:cxn>
                <a:cxn ang="0">
                  <a:pos x="0" y="20"/>
                </a:cxn>
                <a:cxn ang="0">
                  <a:pos x="5" y="20"/>
                </a:cxn>
                <a:cxn ang="0">
                  <a:pos x="11" y="13"/>
                </a:cxn>
                <a:cxn ang="0">
                  <a:pos x="5" y="9"/>
                </a:cxn>
                <a:cxn ang="0">
                  <a:pos x="7" y="9"/>
                </a:cxn>
                <a:cxn ang="0">
                  <a:pos x="5" y="7"/>
                </a:cxn>
                <a:cxn ang="0">
                  <a:pos x="7" y="7"/>
                </a:cxn>
                <a:cxn ang="0">
                  <a:pos x="11" y="7"/>
                </a:cxn>
                <a:cxn ang="0">
                  <a:pos x="13" y="4"/>
                </a:cxn>
                <a:cxn ang="0">
                  <a:pos x="11" y="4"/>
                </a:cxn>
                <a:cxn ang="0">
                  <a:pos x="13" y="0"/>
                </a:cxn>
                <a:cxn ang="0">
                  <a:pos x="15" y="0"/>
                </a:cxn>
                <a:cxn ang="0">
                  <a:pos x="13" y="2"/>
                </a:cxn>
                <a:cxn ang="0">
                  <a:pos x="13" y="4"/>
                </a:cxn>
              </a:cxnLst>
              <a:rect l="0" t="0" r="r" b="b"/>
              <a:pathLst>
                <a:path w="21" h="22">
                  <a:moveTo>
                    <a:pt x="13" y="4"/>
                  </a:moveTo>
                  <a:lnTo>
                    <a:pt x="15" y="7"/>
                  </a:lnTo>
                  <a:lnTo>
                    <a:pt x="21" y="7"/>
                  </a:lnTo>
                  <a:lnTo>
                    <a:pt x="21" y="13"/>
                  </a:lnTo>
                  <a:lnTo>
                    <a:pt x="19" y="20"/>
                  </a:lnTo>
                  <a:lnTo>
                    <a:pt x="5" y="22"/>
                  </a:lnTo>
                  <a:lnTo>
                    <a:pt x="0" y="20"/>
                  </a:lnTo>
                  <a:lnTo>
                    <a:pt x="5" y="20"/>
                  </a:lnTo>
                  <a:lnTo>
                    <a:pt x="11" y="13"/>
                  </a:lnTo>
                  <a:lnTo>
                    <a:pt x="5" y="9"/>
                  </a:lnTo>
                  <a:lnTo>
                    <a:pt x="7" y="9"/>
                  </a:lnTo>
                  <a:lnTo>
                    <a:pt x="5" y="7"/>
                  </a:lnTo>
                  <a:lnTo>
                    <a:pt x="7" y="7"/>
                  </a:lnTo>
                  <a:lnTo>
                    <a:pt x="11" y="7"/>
                  </a:lnTo>
                  <a:lnTo>
                    <a:pt x="13" y="4"/>
                  </a:lnTo>
                  <a:lnTo>
                    <a:pt x="11" y="4"/>
                  </a:lnTo>
                  <a:lnTo>
                    <a:pt x="13" y="0"/>
                  </a:lnTo>
                  <a:lnTo>
                    <a:pt x="15" y="0"/>
                  </a:lnTo>
                  <a:lnTo>
                    <a:pt x="13" y="2"/>
                  </a:lnTo>
                  <a:lnTo>
                    <a:pt x="13" y="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68" name="Freeform 1524"/>
            <p:cNvSpPr>
              <a:spLocks/>
            </p:cNvSpPr>
            <p:nvPr/>
          </p:nvSpPr>
          <p:spPr bwMode="auto">
            <a:xfrm>
              <a:off x="4229625" y="2868098"/>
              <a:ext cx="88275" cy="84907"/>
            </a:xfrm>
            <a:custGeom>
              <a:avLst/>
              <a:gdLst/>
              <a:ahLst/>
              <a:cxnLst>
                <a:cxn ang="0">
                  <a:pos x="0" y="13"/>
                </a:cxn>
                <a:cxn ang="0">
                  <a:pos x="4" y="4"/>
                </a:cxn>
                <a:cxn ang="0">
                  <a:pos x="4" y="7"/>
                </a:cxn>
                <a:cxn ang="0">
                  <a:pos x="8" y="7"/>
                </a:cxn>
                <a:cxn ang="0">
                  <a:pos x="10" y="7"/>
                </a:cxn>
                <a:cxn ang="0">
                  <a:pos x="8" y="4"/>
                </a:cxn>
                <a:cxn ang="0">
                  <a:pos x="17" y="0"/>
                </a:cxn>
                <a:cxn ang="0">
                  <a:pos x="12" y="7"/>
                </a:cxn>
                <a:cxn ang="0">
                  <a:pos x="10" y="11"/>
                </a:cxn>
                <a:cxn ang="0">
                  <a:pos x="10" y="16"/>
                </a:cxn>
                <a:cxn ang="0">
                  <a:pos x="4" y="13"/>
                </a:cxn>
                <a:cxn ang="0">
                  <a:pos x="2" y="13"/>
                </a:cxn>
                <a:cxn ang="0">
                  <a:pos x="0" y="13"/>
                </a:cxn>
              </a:cxnLst>
              <a:rect l="0" t="0" r="r" b="b"/>
              <a:pathLst>
                <a:path w="17" h="16">
                  <a:moveTo>
                    <a:pt x="0" y="13"/>
                  </a:moveTo>
                  <a:lnTo>
                    <a:pt x="4" y="4"/>
                  </a:lnTo>
                  <a:lnTo>
                    <a:pt x="4" y="7"/>
                  </a:lnTo>
                  <a:lnTo>
                    <a:pt x="8" y="7"/>
                  </a:lnTo>
                  <a:lnTo>
                    <a:pt x="10" y="7"/>
                  </a:lnTo>
                  <a:lnTo>
                    <a:pt x="8" y="4"/>
                  </a:lnTo>
                  <a:lnTo>
                    <a:pt x="17" y="0"/>
                  </a:lnTo>
                  <a:lnTo>
                    <a:pt x="12" y="7"/>
                  </a:lnTo>
                  <a:lnTo>
                    <a:pt x="10" y="11"/>
                  </a:lnTo>
                  <a:lnTo>
                    <a:pt x="10" y="16"/>
                  </a:lnTo>
                  <a:lnTo>
                    <a:pt x="4" y="13"/>
                  </a:lnTo>
                  <a:lnTo>
                    <a:pt x="2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69" name="Freeform 1525"/>
            <p:cNvSpPr>
              <a:spLocks/>
            </p:cNvSpPr>
            <p:nvPr/>
          </p:nvSpPr>
          <p:spPr bwMode="auto">
            <a:xfrm>
              <a:off x="4400996" y="2937085"/>
              <a:ext cx="140203" cy="84907"/>
            </a:xfrm>
            <a:custGeom>
              <a:avLst/>
              <a:gdLst/>
              <a:ahLst/>
              <a:cxnLst>
                <a:cxn ang="0">
                  <a:pos x="11" y="3"/>
                </a:cxn>
                <a:cxn ang="0">
                  <a:pos x="11" y="0"/>
                </a:cxn>
                <a:cxn ang="0">
                  <a:pos x="0" y="7"/>
                </a:cxn>
                <a:cxn ang="0">
                  <a:pos x="2" y="9"/>
                </a:cxn>
                <a:cxn ang="0">
                  <a:pos x="9" y="16"/>
                </a:cxn>
                <a:cxn ang="0">
                  <a:pos x="11" y="16"/>
                </a:cxn>
                <a:cxn ang="0">
                  <a:pos x="15" y="12"/>
                </a:cxn>
                <a:cxn ang="0">
                  <a:pos x="19" y="16"/>
                </a:cxn>
                <a:cxn ang="0">
                  <a:pos x="27" y="9"/>
                </a:cxn>
                <a:cxn ang="0">
                  <a:pos x="23" y="7"/>
                </a:cxn>
                <a:cxn ang="0">
                  <a:pos x="19" y="7"/>
                </a:cxn>
                <a:cxn ang="0">
                  <a:pos x="17" y="3"/>
                </a:cxn>
                <a:cxn ang="0">
                  <a:pos x="13" y="3"/>
                </a:cxn>
                <a:cxn ang="0">
                  <a:pos x="11" y="3"/>
                </a:cxn>
              </a:cxnLst>
              <a:rect l="0" t="0" r="r" b="b"/>
              <a:pathLst>
                <a:path w="27" h="16">
                  <a:moveTo>
                    <a:pt x="11" y="3"/>
                  </a:moveTo>
                  <a:lnTo>
                    <a:pt x="11" y="0"/>
                  </a:lnTo>
                  <a:lnTo>
                    <a:pt x="0" y="7"/>
                  </a:lnTo>
                  <a:lnTo>
                    <a:pt x="2" y="9"/>
                  </a:lnTo>
                  <a:lnTo>
                    <a:pt x="9" y="16"/>
                  </a:lnTo>
                  <a:lnTo>
                    <a:pt x="11" y="16"/>
                  </a:lnTo>
                  <a:lnTo>
                    <a:pt x="15" y="12"/>
                  </a:lnTo>
                  <a:lnTo>
                    <a:pt x="19" y="16"/>
                  </a:lnTo>
                  <a:lnTo>
                    <a:pt x="27" y="9"/>
                  </a:lnTo>
                  <a:lnTo>
                    <a:pt x="23" y="7"/>
                  </a:lnTo>
                  <a:lnTo>
                    <a:pt x="19" y="7"/>
                  </a:lnTo>
                  <a:lnTo>
                    <a:pt x="17" y="3"/>
                  </a:lnTo>
                  <a:lnTo>
                    <a:pt x="13" y="3"/>
                  </a:lnTo>
                  <a:lnTo>
                    <a:pt x="11" y="3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4472791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Espaço Reservado para Imagem 7" descr="Uma imagem contendo ao ar livre, água, praia, por do sol&#10;&#10;Descrição gerada automaticamente">
            <a:extLst>
              <a:ext uri="{FF2B5EF4-FFF2-40B4-BE49-F238E27FC236}">
                <a16:creationId xmlns:a16="http://schemas.microsoft.com/office/drawing/2014/main" id="{02C94348-21FD-4D7E-A7F6-ADEBC75EDDF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199464"/>
          </a:xfrm>
        </p:spPr>
      </p:pic>
      <p:sp>
        <p:nvSpPr>
          <p:cNvPr id="7" name="Retângulo 6">
            <a:extLst>
              <a:ext uri="{FF2B5EF4-FFF2-40B4-BE49-F238E27FC236}">
                <a16:creationId xmlns:a16="http://schemas.microsoft.com/office/drawing/2014/main" id="{7383128A-D743-46AB-9CAE-8A298D04980F}"/>
              </a:ext>
            </a:extLst>
          </p:cNvPr>
          <p:cNvSpPr/>
          <p:nvPr/>
        </p:nvSpPr>
        <p:spPr>
          <a:xfrm>
            <a:off x="1066800" y="0"/>
            <a:ext cx="4127500" cy="5842000"/>
          </a:xfrm>
          <a:prstGeom prst="rect">
            <a:avLst/>
          </a:prstGeom>
          <a:solidFill>
            <a:srgbClr val="D6D6CE">
              <a:alpha val="89804"/>
            </a:srgbClr>
          </a:solidFill>
          <a:ln>
            <a:solidFill>
              <a:srgbClr val="D6D6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F37D7EA4-2386-4EF1-8F0C-E0ABBFC35335}"/>
              </a:ext>
            </a:extLst>
          </p:cNvPr>
          <p:cNvSpPr txBox="1"/>
          <p:nvPr/>
        </p:nvSpPr>
        <p:spPr>
          <a:xfrm>
            <a:off x="1676400" y="1735889"/>
            <a:ext cx="2895600" cy="95410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pt-BR" sz="2800" b="1" dirty="0">
                <a:solidFill>
                  <a:srgbClr val="26314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aqui o Título do slide</a:t>
            </a: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1DCF57E4-8613-4C38-9A6D-16C0CF72F67F}"/>
              </a:ext>
            </a:extLst>
          </p:cNvPr>
          <p:cNvSpPr txBox="1"/>
          <p:nvPr/>
        </p:nvSpPr>
        <p:spPr>
          <a:xfrm>
            <a:off x="1676400" y="3404224"/>
            <a:ext cx="2895600" cy="76944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pt-BR" sz="2200" dirty="0">
                <a:solidFill>
                  <a:srgbClr val="26314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aqui o texto </a:t>
            </a:r>
            <a:br>
              <a:rPr lang="pt-BR" sz="2200" dirty="0">
                <a:solidFill>
                  <a:srgbClr val="26314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pt-BR" sz="2200" dirty="0">
                <a:solidFill>
                  <a:srgbClr val="26314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 destaque</a:t>
            </a:r>
          </a:p>
        </p:txBody>
      </p:sp>
      <p:cxnSp>
        <p:nvCxnSpPr>
          <p:cNvPr id="18" name="Conector reto 17">
            <a:extLst>
              <a:ext uri="{FF2B5EF4-FFF2-40B4-BE49-F238E27FC236}">
                <a16:creationId xmlns:a16="http://schemas.microsoft.com/office/drawing/2014/main" id="{7C111BC2-B652-4273-9F59-3DD9EBA44361}"/>
              </a:ext>
            </a:extLst>
          </p:cNvPr>
          <p:cNvCxnSpPr/>
          <p:nvPr/>
        </p:nvCxnSpPr>
        <p:spPr>
          <a:xfrm flipH="1">
            <a:off x="444500" y="3086100"/>
            <a:ext cx="4127500" cy="0"/>
          </a:xfrm>
          <a:prstGeom prst="line">
            <a:avLst/>
          </a:prstGeom>
          <a:ln w="38100">
            <a:solidFill>
              <a:srgbClr val="2631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Gráfico 19">
            <a:extLst>
              <a:ext uri="{FF2B5EF4-FFF2-40B4-BE49-F238E27FC236}">
                <a16:creationId xmlns:a16="http://schemas.microsoft.com/office/drawing/2014/main" id="{E31BC38C-55F8-45B1-B93C-2B72983B4EE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412274" y="4516336"/>
            <a:ext cx="2782026" cy="1325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2577179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6"/>
          <p:cNvGrpSpPr/>
          <p:nvPr/>
        </p:nvGrpSpPr>
        <p:grpSpPr>
          <a:xfrm>
            <a:off x="1671595" y="1179088"/>
            <a:ext cx="3592350" cy="4176712"/>
            <a:chOff x="2911612" y="2097088"/>
            <a:chExt cx="3316015" cy="4176712"/>
          </a:xfrm>
          <a:solidFill>
            <a:srgbClr val="D6D6CE"/>
          </a:solidFill>
        </p:grpSpPr>
        <p:sp>
          <p:nvSpPr>
            <p:cNvPr id="4" name="Freeform 5"/>
            <p:cNvSpPr>
              <a:spLocks/>
            </p:cNvSpPr>
            <p:nvPr/>
          </p:nvSpPr>
          <p:spPr bwMode="auto">
            <a:xfrm>
              <a:off x="3918352" y="3022593"/>
              <a:ext cx="269848" cy="140441"/>
            </a:xfrm>
            <a:custGeom>
              <a:avLst/>
              <a:gdLst/>
              <a:ahLst/>
              <a:cxnLst>
                <a:cxn ang="0">
                  <a:pos x="59" y="82"/>
                </a:cxn>
                <a:cxn ang="0">
                  <a:pos x="53" y="70"/>
                </a:cxn>
                <a:cxn ang="0">
                  <a:pos x="41" y="76"/>
                </a:cxn>
                <a:cxn ang="0">
                  <a:pos x="30" y="70"/>
                </a:cxn>
                <a:cxn ang="0">
                  <a:pos x="18" y="59"/>
                </a:cxn>
                <a:cxn ang="0">
                  <a:pos x="0" y="59"/>
                </a:cxn>
                <a:cxn ang="0">
                  <a:pos x="6" y="47"/>
                </a:cxn>
                <a:cxn ang="0">
                  <a:pos x="13" y="28"/>
                </a:cxn>
                <a:cxn ang="0">
                  <a:pos x="30" y="18"/>
                </a:cxn>
                <a:cxn ang="0">
                  <a:pos x="41" y="12"/>
                </a:cxn>
                <a:cxn ang="0">
                  <a:pos x="59" y="6"/>
                </a:cxn>
                <a:cxn ang="0">
                  <a:pos x="77" y="6"/>
                </a:cxn>
                <a:cxn ang="0">
                  <a:pos x="88" y="12"/>
                </a:cxn>
                <a:cxn ang="0">
                  <a:pos x="124" y="0"/>
                </a:cxn>
                <a:cxn ang="0">
                  <a:pos x="171" y="6"/>
                </a:cxn>
                <a:cxn ang="0">
                  <a:pos x="201" y="23"/>
                </a:cxn>
                <a:cxn ang="0">
                  <a:pos x="208" y="31"/>
                </a:cxn>
                <a:cxn ang="0">
                  <a:pos x="183" y="35"/>
                </a:cxn>
                <a:cxn ang="0">
                  <a:pos x="165" y="47"/>
                </a:cxn>
                <a:cxn ang="0">
                  <a:pos x="148" y="41"/>
                </a:cxn>
                <a:cxn ang="0">
                  <a:pos x="130" y="65"/>
                </a:cxn>
                <a:cxn ang="0">
                  <a:pos x="88" y="76"/>
                </a:cxn>
                <a:cxn ang="0">
                  <a:pos x="82" y="100"/>
                </a:cxn>
                <a:cxn ang="0">
                  <a:pos x="65" y="94"/>
                </a:cxn>
                <a:cxn ang="0">
                  <a:pos x="59" y="82"/>
                </a:cxn>
              </a:cxnLst>
              <a:rect l="0" t="0" r="r" b="b"/>
              <a:pathLst>
                <a:path w="208" h="100">
                  <a:moveTo>
                    <a:pt x="59" y="82"/>
                  </a:moveTo>
                  <a:lnTo>
                    <a:pt x="53" y="70"/>
                  </a:lnTo>
                  <a:lnTo>
                    <a:pt x="41" y="76"/>
                  </a:lnTo>
                  <a:lnTo>
                    <a:pt x="30" y="70"/>
                  </a:lnTo>
                  <a:lnTo>
                    <a:pt x="18" y="59"/>
                  </a:lnTo>
                  <a:lnTo>
                    <a:pt x="0" y="59"/>
                  </a:lnTo>
                  <a:lnTo>
                    <a:pt x="6" y="47"/>
                  </a:lnTo>
                  <a:lnTo>
                    <a:pt x="13" y="28"/>
                  </a:lnTo>
                  <a:lnTo>
                    <a:pt x="30" y="18"/>
                  </a:lnTo>
                  <a:lnTo>
                    <a:pt x="41" y="12"/>
                  </a:lnTo>
                  <a:lnTo>
                    <a:pt x="59" y="6"/>
                  </a:lnTo>
                  <a:lnTo>
                    <a:pt x="77" y="6"/>
                  </a:lnTo>
                  <a:lnTo>
                    <a:pt x="88" y="12"/>
                  </a:lnTo>
                  <a:lnTo>
                    <a:pt x="124" y="0"/>
                  </a:lnTo>
                  <a:lnTo>
                    <a:pt x="171" y="6"/>
                  </a:lnTo>
                  <a:lnTo>
                    <a:pt x="201" y="23"/>
                  </a:lnTo>
                  <a:lnTo>
                    <a:pt x="208" y="31"/>
                  </a:lnTo>
                  <a:lnTo>
                    <a:pt x="183" y="35"/>
                  </a:lnTo>
                  <a:lnTo>
                    <a:pt x="165" y="47"/>
                  </a:lnTo>
                  <a:lnTo>
                    <a:pt x="148" y="41"/>
                  </a:lnTo>
                  <a:lnTo>
                    <a:pt x="130" y="65"/>
                  </a:lnTo>
                  <a:lnTo>
                    <a:pt x="88" y="76"/>
                  </a:lnTo>
                  <a:lnTo>
                    <a:pt x="82" y="100"/>
                  </a:lnTo>
                  <a:lnTo>
                    <a:pt x="65" y="94"/>
                  </a:lnTo>
                  <a:lnTo>
                    <a:pt x="59" y="82"/>
                  </a:lnTo>
                  <a:close/>
                </a:path>
              </a:pathLst>
            </a:custGeom>
            <a:grpFill/>
            <a:ln w="9525" cmpd="sng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" name="Freeform 6"/>
            <p:cNvSpPr>
              <a:spLocks/>
            </p:cNvSpPr>
            <p:nvPr/>
          </p:nvSpPr>
          <p:spPr bwMode="auto">
            <a:xfrm>
              <a:off x="4700651" y="4563230"/>
              <a:ext cx="249090" cy="1710570"/>
            </a:xfrm>
            <a:custGeom>
              <a:avLst/>
              <a:gdLst/>
              <a:ahLst/>
              <a:cxnLst>
                <a:cxn ang="0">
                  <a:pos x="184" y="1144"/>
                </a:cxn>
                <a:cxn ang="0">
                  <a:pos x="163" y="1128"/>
                </a:cxn>
                <a:cxn ang="0">
                  <a:pos x="104" y="1088"/>
                </a:cxn>
                <a:cxn ang="0">
                  <a:pos x="76" y="1049"/>
                </a:cxn>
                <a:cxn ang="0">
                  <a:pos x="85" y="988"/>
                </a:cxn>
                <a:cxn ang="0">
                  <a:pos x="86" y="883"/>
                </a:cxn>
                <a:cxn ang="0">
                  <a:pos x="64" y="817"/>
                </a:cxn>
                <a:cxn ang="0">
                  <a:pos x="68" y="703"/>
                </a:cxn>
                <a:cxn ang="0">
                  <a:pos x="65" y="625"/>
                </a:cxn>
                <a:cxn ang="0">
                  <a:pos x="82" y="574"/>
                </a:cxn>
                <a:cxn ang="0">
                  <a:pos x="57" y="449"/>
                </a:cxn>
                <a:cxn ang="0">
                  <a:pos x="83" y="350"/>
                </a:cxn>
                <a:cxn ang="0">
                  <a:pos x="102" y="221"/>
                </a:cxn>
                <a:cxn ang="0">
                  <a:pos x="139" y="167"/>
                </a:cxn>
                <a:cxn ang="0">
                  <a:pos x="106" y="131"/>
                </a:cxn>
                <a:cxn ang="0">
                  <a:pos x="86" y="53"/>
                </a:cxn>
                <a:cxn ang="0">
                  <a:pos x="69" y="12"/>
                </a:cxn>
                <a:cxn ang="0">
                  <a:pos x="25" y="20"/>
                </a:cxn>
                <a:cxn ang="0">
                  <a:pos x="45" y="110"/>
                </a:cxn>
                <a:cxn ang="0">
                  <a:pos x="37" y="204"/>
                </a:cxn>
                <a:cxn ang="0">
                  <a:pos x="25" y="380"/>
                </a:cxn>
                <a:cxn ang="0">
                  <a:pos x="25" y="425"/>
                </a:cxn>
                <a:cxn ang="0">
                  <a:pos x="12" y="645"/>
                </a:cxn>
                <a:cxn ang="0">
                  <a:pos x="0" y="674"/>
                </a:cxn>
                <a:cxn ang="0">
                  <a:pos x="12" y="777"/>
                </a:cxn>
                <a:cxn ang="0">
                  <a:pos x="49" y="789"/>
                </a:cxn>
                <a:cxn ang="0">
                  <a:pos x="40" y="832"/>
                </a:cxn>
                <a:cxn ang="0">
                  <a:pos x="41" y="883"/>
                </a:cxn>
                <a:cxn ang="0">
                  <a:pos x="41" y="940"/>
                </a:cxn>
                <a:cxn ang="0">
                  <a:pos x="29" y="932"/>
                </a:cxn>
                <a:cxn ang="0">
                  <a:pos x="17" y="944"/>
                </a:cxn>
                <a:cxn ang="0">
                  <a:pos x="41" y="969"/>
                </a:cxn>
                <a:cxn ang="0">
                  <a:pos x="41" y="1009"/>
                </a:cxn>
                <a:cxn ang="0">
                  <a:pos x="41" y="1067"/>
                </a:cxn>
                <a:cxn ang="0">
                  <a:pos x="82" y="1140"/>
                </a:cxn>
                <a:cxn ang="0">
                  <a:pos x="139" y="1210"/>
                </a:cxn>
                <a:cxn ang="0">
                  <a:pos x="192" y="1218"/>
                </a:cxn>
              </a:cxnLst>
              <a:rect l="0" t="0" r="r" b="b"/>
              <a:pathLst>
                <a:path w="192" h="1218">
                  <a:moveTo>
                    <a:pt x="192" y="1218"/>
                  </a:moveTo>
                  <a:lnTo>
                    <a:pt x="184" y="1144"/>
                  </a:lnTo>
                  <a:lnTo>
                    <a:pt x="163" y="1144"/>
                  </a:lnTo>
                  <a:lnTo>
                    <a:pt x="163" y="1128"/>
                  </a:lnTo>
                  <a:lnTo>
                    <a:pt x="111" y="1128"/>
                  </a:lnTo>
                  <a:lnTo>
                    <a:pt x="104" y="1088"/>
                  </a:lnTo>
                  <a:lnTo>
                    <a:pt x="82" y="1087"/>
                  </a:lnTo>
                  <a:lnTo>
                    <a:pt x="76" y="1049"/>
                  </a:lnTo>
                  <a:lnTo>
                    <a:pt x="91" y="1013"/>
                  </a:lnTo>
                  <a:lnTo>
                    <a:pt x="85" y="988"/>
                  </a:lnTo>
                  <a:lnTo>
                    <a:pt x="90" y="969"/>
                  </a:lnTo>
                  <a:lnTo>
                    <a:pt x="86" y="883"/>
                  </a:lnTo>
                  <a:lnTo>
                    <a:pt x="78" y="879"/>
                  </a:lnTo>
                  <a:lnTo>
                    <a:pt x="64" y="817"/>
                  </a:lnTo>
                  <a:lnTo>
                    <a:pt x="70" y="788"/>
                  </a:lnTo>
                  <a:lnTo>
                    <a:pt x="68" y="703"/>
                  </a:lnTo>
                  <a:lnTo>
                    <a:pt x="69" y="678"/>
                  </a:lnTo>
                  <a:lnTo>
                    <a:pt x="65" y="625"/>
                  </a:lnTo>
                  <a:lnTo>
                    <a:pt x="82" y="611"/>
                  </a:lnTo>
                  <a:lnTo>
                    <a:pt x="82" y="574"/>
                  </a:lnTo>
                  <a:lnTo>
                    <a:pt x="92" y="536"/>
                  </a:lnTo>
                  <a:lnTo>
                    <a:pt x="57" y="449"/>
                  </a:lnTo>
                  <a:lnTo>
                    <a:pt x="77" y="406"/>
                  </a:lnTo>
                  <a:lnTo>
                    <a:pt x="83" y="350"/>
                  </a:lnTo>
                  <a:lnTo>
                    <a:pt x="113" y="299"/>
                  </a:lnTo>
                  <a:lnTo>
                    <a:pt x="102" y="221"/>
                  </a:lnTo>
                  <a:lnTo>
                    <a:pt x="142" y="202"/>
                  </a:lnTo>
                  <a:lnTo>
                    <a:pt x="139" y="167"/>
                  </a:lnTo>
                  <a:lnTo>
                    <a:pt x="111" y="171"/>
                  </a:lnTo>
                  <a:lnTo>
                    <a:pt x="106" y="131"/>
                  </a:lnTo>
                  <a:lnTo>
                    <a:pt x="86" y="81"/>
                  </a:lnTo>
                  <a:lnTo>
                    <a:pt x="86" y="53"/>
                  </a:lnTo>
                  <a:lnTo>
                    <a:pt x="69" y="37"/>
                  </a:lnTo>
                  <a:lnTo>
                    <a:pt x="69" y="12"/>
                  </a:lnTo>
                  <a:lnTo>
                    <a:pt x="53" y="0"/>
                  </a:lnTo>
                  <a:lnTo>
                    <a:pt x="25" y="20"/>
                  </a:lnTo>
                  <a:lnTo>
                    <a:pt x="33" y="24"/>
                  </a:lnTo>
                  <a:lnTo>
                    <a:pt x="45" y="110"/>
                  </a:lnTo>
                  <a:lnTo>
                    <a:pt x="45" y="159"/>
                  </a:lnTo>
                  <a:lnTo>
                    <a:pt x="37" y="204"/>
                  </a:lnTo>
                  <a:lnTo>
                    <a:pt x="41" y="298"/>
                  </a:lnTo>
                  <a:lnTo>
                    <a:pt x="25" y="380"/>
                  </a:lnTo>
                  <a:lnTo>
                    <a:pt x="37" y="405"/>
                  </a:lnTo>
                  <a:lnTo>
                    <a:pt x="25" y="425"/>
                  </a:lnTo>
                  <a:lnTo>
                    <a:pt x="41" y="490"/>
                  </a:lnTo>
                  <a:lnTo>
                    <a:pt x="12" y="645"/>
                  </a:lnTo>
                  <a:lnTo>
                    <a:pt x="0" y="645"/>
                  </a:lnTo>
                  <a:lnTo>
                    <a:pt x="0" y="674"/>
                  </a:lnTo>
                  <a:lnTo>
                    <a:pt x="21" y="711"/>
                  </a:lnTo>
                  <a:lnTo>
                    <a:pt x="12" y="777"/>
                  </a:lnTo>
                  <a:lnTo>
                    <a:pt x="25" y="797"/>
                  </a:lnTo>
                  <a:lnTo>
                    <a:pt x="49" y="789"/>
                  </a:lnTo>
                  <a:lnTo>
                    <a:pt x="50" y="830"/>
                  </a:lnTo>
                  <a:lnTo>
                    <a:pt x="40" y="832"/>
                  </a:lnTo>
                  <a:lnTo>
                    <a:pt x="34" y="854"/>
                  </a:lnTo>
                  <a:lnTo>
                    <a:pt x="41" y="883"/>
                  </a:lnTo>
                  <a:lnTo>
                    <a:pt x="53" y="889"/>
                  </a:lnTo>
                  <a:lnTo>
                    <a:pt x="41" y="940"/>
                  </a:lnTo>
                  <a:lnTo>
                    <a:pt x="33" y="948"/>
                  </a:lnTo>
                  <a:lnTo>
                    <a:pt x="29" y="932"/>
                  </a:lnTo>
                  <a:lnTo>
                    <a:pt x="17" y="932"/>
                  </a:lnTo>
                  <a:lnTo>
                    <a:pt x="17" y="944"/>
                  </a:lnTo>
                  <a:lnTo>
                    <a:pt x="17" y="965"/>
                  </a:lnTo>
                  <a:lnTo>
                    <a:pt x="41" y="969"/>
                  </a:lnTo>
                  <a:lnTo>
                    <a:pt x="37" y="993"/>
                  </a:lnTo>
                  <a:lnTo>
                    <a:pt x="41" y="1009"/>
                  </a:lnTo>
                  <a:lnTo>
                    <a:pt x="33" y="1030"/>
                  </a:lnTo>
                  <a:lnTo>
                    <a:pt x="41" y="1067"/>
                  </a:lnTo>
                  <a:lnTo>
                    <a:pt x="61" y="1103"/>
                  </a:lnTo>
                  <a:lnTo>
                    <a:pt x="82" y="1140"/>
                  </a:lnTo>
                  <a:lnTo>
                    <a:pt x="111" y="1157"/>
                  </a:lnTo>
                  <a:lnTo>
                    <a:pt x="139" y="1210"/>
                  </a:lnTo>
                  <a:lnTo>
                    <a:pt x="155" y="1218"/>
                  </a:lnTo>
                  <a:lnTo>
                    <a:pt x="192" y="1218"/>
                  </a:lnTo>
                  <a:close/>
                </a:path>
              </a:pathLst>
            </a:custGeom>
            <a:grpFill/>
            <a:ln w="9525" cmpd="sng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" name="Freeform 7"/>
            <p:cNvSpPr>
              <a:spLocks/>
            </p:cNvSpPr>
            <p:nvPr/>
          </p:nvSpPr>
          <p:spPr bwMode="auto">
            <a:xfrm>
              <a:off x="5056124" y="4625024"/>
              <a:ext cx="332120" cy="374977"/>
            </a:xfrm>
            <a:custGeom>
              <a:avLst/>
              <a:gdLst/>
              <a:ahLst/>
              <a:cxnLst>
                <a:cxn ang="0">
                  <a:pos x="8" y="53"/>
                </a:cxn>
                <a:cxn ang="0">
                  <a:pos x="20" y="17"/>
                </a:cxn>
                <a:cxn ang="0">
                  <a:pos x="69" y="0"/>
                </a:cxn>
                <a:cxn ang="0">
                  <a:pos x="118" y="0"/>
                </a:cxn>
                <a:cxn ang="0">
                  <a:pos x="139" y="29"/>
                </a:cxn>
                <a:cxn ang="0">
                  <a:pos x="142" y="81"/>
                </a:cxn>
                <a:cxn ang="0">
                  <a:pos x="157" y="104"/>
                </a:cxn>
                <a:cxn ang="0">
                  <a:pos x="216" y="111"/>
                </a:cxn>
                <a:cxn ang="0">
                  <a:pos x="216" y="137"/>
                </a:cxn>
                <a:cxn ang="0">
                  <a:pos x="233" y="155"/>
                </a:cxn>
                <a:cxn ang="0">
                  <a:pos x="256" y="158"/>
                </a:cxn>
                <a:cxn ang="0">
                  <a:pos x="243" y="216"/>
                </a:cxn>
                <a:cxn ang="0">
                  <a:pos x="240" y="246"/>
                </a:cxn>
                <a:cxn ang="0">
                  <a:pos x="214" y="267"/>
                </a:cxn>
                <a:cxn ang="0">
                  <a:pos x="151" y="262"/>
                </a:cxn>
                <a:cxn ang="0">
                  <a:pos x="127" y="262"/>
                </a:cxn>
                <a:cxn ang="0">
                  <a:pos x="127" y="245"/>
                </a:cxn>
                <a:cxn ang="0">
                  <a:pos x="147" y="217"/>
                </a:cxn>
                <a:cxn ang="0">
                  <a:pos x="143" y="196"/>
                </a:cxn>
                <a:cxn ang="0">
                  <a:pos x="94" y="163"/>
                </a:cxn>
                <a:cxn ang="0">
                  <a:pos x="57" y="159"/>
                </a:cxn>
                <a:cxn ang="0">
                  <a:pos x="0" y="102"/>
                </a:cxn>
                <a:cxn ang="0">
                  <a:pos x="4" y="82"/>
                </a:cxn>
                <a:cxn ang="0">
                  <a:pos x="8" y="53"/>
                </a:cxn>
              </a:cxnLst>
              <a:rect l="0" t="0" r="r" b="b"/>
              <a:pathLst>
                <a:path w="256" h="267">
                  <a:moveTo>
                    <a:pt x="8" y="53"/>
                  </a:moveTo>
                  <a:lnTo>
                    <a:pt x="20" y="17"/>
                  </a:lnTo>
                  <a:lnTo>
                    <a:pt x="69" y="0"/>
                  </a:lnTo>
                  <a:lnTo>
                    <a:pt x="118" y="0"/>
                  </a:lnTo>
                  <a:lnTo>
                    <a:pt x="139" y="29"/>
                  </a:lnTo>
                  <a:lnTo>
                    <a:pt x="142" y="81"/>
                  </a:lnTo>
                  <a:lnTo>
                    <a:pt x="157" y="104"/>
                  </a:lnTo>
                  <a:lnTo>
                    <a:pt x="216" y="111"/>
                  </a:lnTo>
                  <a:lnTo>
                    <a:pt x="216" y="137"/>
                  </a:lnTo>
                  <a:lnTo>
                    <a:pt x="233" y="155"/>
                  </a:lnTo>
                  <a:lnTo>
                    <a:pt x="256" y="158"/>
                  </a:lnTo>
                  <a:lnTo>
                    <a:pt x="243" y="216"/>
                  </a:lnTo>
                  <a:lnTo>
                    <a:pt x="240" y="246"/>
                  </a:lnTo>
                  <a:lnTo>
                    <a:pt x="214" y="267"/>
                  </a:lnTo>
                  <a:lnTo>
                    <a:pt x="151" y="262"/>
                  </a:lnTo>
                  <a:lnTo>
                    <a:pt x="127" y="262"/>
                  </a:lnTo>
                  <a:lnTo>
                    <a:pt x="127" y="245"/>
                  </a:lnTo>
                  <a:lnTo>
                    <a:pt x="147" y="217"/>
                  </a:lnTo>
                  <a:lnTo>
                    <a:pt x="143" y="196"/>
                  </a:lnTo>
                  <a:lnTo>
                    <a:pt x="94" y="163"/>
                  </a:lnTo>
                  <a:lnTo>
                    <a:pt x="57" y="159"/>
                  </a:lnTo>
                  <a:lnTo>
                    <a:pt x="0" y="102"/>
                  </a:lnTo>
                  <a:lnTo>
                    <a:pt x="4" y="82"/>
                  </a:lnTo>
                  <a:lnTo>
                    <a:pt x="8" y="53"/>
                  </a:lnTo>
                  <a:close/>
                </a:path>
              </a:pathLst>
            </a:custGeom>
            <a:grpFill/>
            <a:ln w="9525" cmpd="sng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" name="Freeform 8"/>
            <p:cNvSpPr>
              <a:spLocks/>
            </p:cNvSpPr>
            <p:nvPr/>
          </p:nvSpPr>
          <p:spPr bwMode="auto">
            <a:xfrm>
              <a:off x="4753843" y="4195275"/>
              <a:ext cx="498181" cy="613727"/>
            </a:xfrm>
            <a:custGeom>
              <a:avLst/>
              <a:gdLst/>
              <a:ahLst/>
              <a:cxnLst>
                <a:cxn ang="0">
                  <a:pos x="0" y="45"/>
                </a:cxn>
                <a:cxn ang="0">
                  <a:pos x="61" y="45"/>
                </a:cxn>
                <a:cxn ang="0">
                  <a:pos x="103" y="0"/>
                </a:cxn>
                <a:cxn ang="0">
                  <a:pos x="139" y="4"/>
                </a:cxn>
                <a:cxn ang="0">
                  <a:pos x="147" y="37"/>
                </a:cxn>
                <a:cxn ang="0">
                  <a:pos x="139" y="61"/>
                </a:cxn>
                <a:cxn ang="0">
                  <a:pos x="172" y="90"/>
                </a:cxn>
                <a:cxn ang="0">
                  <a:pos x="205" y="90"/>
                </a:cxn>
                <a:cxn ang="0">
                  <a:pos x="299" y="135"/>
                </a:cxn>
                <a:cxn ang="0">
                  <a:pos x="303" y="192"/>
                </a:cxn>
                <a:cxn ang="0">
                  <a:pos x="307" y="209"/>
                </a:cxn>
                <a:cxn ang="0">
                  <a:pos x="364" y="217"/>
                </a:cxn>
                <a:cxn ang="0">
                  <a:pos x="384" y="258"/>
                </a:cxn>
                <a:cxn ang="0">
                  <a:pos x="384" y="310"/>
                </a:cxn>
                <a:cxn ang="0">
                  <a:pos x="372" y="335"/>
                </a:cxn>
                <a:cxn ang="0">
                  <a:pos x="351" y="310"/>
                </a:cxn>
                <a:cxn ang="0">
                  <a:pos x="303" y="310"/>
                </a:cxn>
                <a:cxn ang="0">
                  <a:pos x="253" y="323"/>
                </a:cxn>
                <a:cxn ang="0">
                  <a:pos x="241" y="360"/>
                </a:cxn>
                <a:cxn ang="0">
                  <a:pos x="237" y="388"/>
                </a:cxn>
                <a:cxn ang="0">
                  <a:pos x="233" y="413"/>
                </a:cxn>
                <a:cxn ang="0">
                  <a:pos x="217" y="400"/>
                </a:cxn>
                <a:cxn ang="0">
                  <a:pos x="197" y="400"/>
                </a:cxn>
                <a:cxn ang="0">
                  <a:pos x="185" y="419"/>
                </a:cxn>
                <a:cxn ang="0">
                  <a:pos x="127" y="396"/>
                </a:cxn>
                <a:cxn ang="0">
                  <a:pos x="98" y="433"/>
                </a:cxn>
                <a:cxn ang="0">
                  <a:pos x="70" y="437"/>
                </a:cxn>
                <a:cxn ang="0">
                  <a:pos x="65" y="396"/>
                </a:cxn>
                <a:cxn ang="0">
                  <a:pos x="45" y="347"/>
                </a:cxn>
                <a:cxn ang="0">
                  <a:pos x="45" y="314"/>
                </a:cxn>
                <a:cxn ang="0">
                  <a:pos x="29" y="302"/>
                </a:cxn>
                <a:cxn ang="0">
                  <a:pos x="29" y="278"/>
                </a:cxn>
                <a:cxn ang="0">
                  <a:pos x="13" y="266"/>
                </a:cxn>
                <a:cxn ang="0">
                  <a:pos x="13" y="245"/>
                </a:cxn>
                <a:cxn ang="0">
                  <a:pos x="29" y="229"/>
                </a:cxn>
                <a:cxn ang="0">
                  <a:pos x="29" y="220"/>
                </a:cxn>
                <a:cxn ang="0">
                  <a:pos x="17" y="213"/>
                </a:cxn>
                <a:cxn ang="0">
                  <a:pos x="29" y="86"/>
                </a:cxn>
                <a:cxn ang="0">
                  <a:pos x="0" y="45"/>
                </a:cxn>
              </a:cxnLst>
              <a:rect l="0" t="0" r="r" b="b"/>
              <a:pathLst>
                <a:path w="384" h="437">
                  <a:moveTo>
                    <a:pt x="0" y="45"/>
                  </a:moveTo>
                  <a:lnTo>
                    <a:pt x="61" y="45"/>
                  </a:lnTo>
                  <a:lnTo>
                    <a:pt x="103" y="0"/>
                  </a:lnTo>
                  <a:lnTo>
                    <a:pt x="139" y="4"/>
                  </a:lnTo>
                  <a:lnTo>
                    <a:pt x="147" y="37"/>
                  </a:lnTo>
                  <a:lnTo>
                    <a:pt x="139" y="61"/>
                  </a:lnTo>
                  <a:lnTo>
                    <a:pt x="172" y="90"/>
                  </a:lnTo>
                  <a:lnTo>
                    <a:pt x="205" y="90"/>
                  </a:lnTo>
                  <a:lnTo>
                    <a:pt x="299" y="135"/>
                  </a:lnTo>
                  <a:lnTo>
                    <a:pt x="303" y="192"/>
                  </a:lnTo>
                  <a:lnTo>
                    <a:pt x="307" y="209"/>
                  </a:lnTo>
                  <a:lnTo>
                    <a:pt x="364" y="217"/>
                  </a:lnTo>
                  <a:lnTo>
                    <a:pt x="384" y="258"/>
                  </a:lnTo>
                  <a:lnTo>
                    <a:pt x="384" y="310"/>
                  </a:lnTo>
                  <a:lnTo>
                    <a:pt x="372" y="335"/>
                  </a:lnTo>
                  <a:lnTo>
                    <a:pt x="351" y="310"/>
                  </a:lnTo>
                  <a:lnTo>
                    <a:pt x="303" y="310"/>
                  </a:lnTo>
                  <a:lnTo>
                    <a:pt x="253" y="323"/>
                  </a:lnTo>
                  <a:lnTo>
                    <a:pt x="241" y="360"/>
                  </a:lnTo>
                  <a:lnTo>
                    <a:pt x="237" y="388"/>
                  </a:lnTo>
                  <a:lnTo>
                    <a:pt x="233" y="413"/>
                  </a:lnTo>
                  <a:lnTo>
                    <a:pt x="217" y="400"/>
                  </a:lnTo>
                  <a:lnTo>
                    <a:pt x="197" y="400"/>
                  </a:lnTo>
                  <a:lnTo>
                    <a:pt x="185" y="419"/>
                  </a:lnTo>
                  <a:lnTo>
                    <a:pt x="127" y="396"/>
                  </a:lnTo>
                  <a:lnTo>
                    <a:pt x="98" y="433"/>
                  </a:lnTo>
                  <a:lnTo>
                    <a:pt x="70" y="437"/>
                  </a:lnTo>
                  <a:lnTo>
                    <a:pt x="65" y="396"/>
                  </a:lnTo>
                  <a:lnTo>
                    <a:pt x="45" y="347"/>
                  </a:lnTo>
                  <a:lnTo>
                    <a:pt x="45" y="314"/>
                  </a:lnTo>
                  <a:lnTo>
                    <a:pt x="29" y="302"/>
                  </a:lnTo>
                  <a:lnTo>
                    <a:pt x="29" y="278"/>
                  </a:lnTo>
                  <a:lnTo>
                    <a:pt x="13" y="266"/>
                  </a:lnTo>
                  <a:lnTo>
                    <a:pt x="13" y="245"/>
                  </a:lnTo>
                  <a:lnTo>
                    <a:pt x="29" y="229"/>
                  </a:lnTo>
                  <a:lnTo>
                    <a:pt x="29" y="220"/>
                  </a:lnTo>
                  <a:lnTo>
                    <a:pt x="17" y="213"/>
                  </a:lnTo>
                  <a:lnTo>
                    <a:pt x="29" y="86"/>
                  </a:lnTo>
                  <a:lnTo>
                    <a:pt x="0" y="45"/>
                  </a:lnTo>
                  <a:close/>
                </a:path>
              </a:pathLst>
            </a:custGeom>
            <a:grpFill/>
            <a:ln w="9525" cmpd="sng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" name="Freeform 9"/>
            <p:cNvSpPr>
              <a:spLocks/>
            </p:cNvSpPr>
            <p:nvPr/>
          </p:nvSpPr>
          <p:spPr bwMode="auto">
            <a:xfrm>
              <a:off x="5390839" y="3488857"/>
              <a:ext cx="129735" cy="171338"/>
            </a:xfrm>
            <a:custGeom>
              <a:avLst/>
              <a:gdLst/>
              <a:ahLst/>
              <a:cxnLst>
                <a:cxn ang="0">
                  <a:pos x="100" y="55"/>
                </a:cxn>
                <a:cxn ang="0">
                  <a:pos x="49" y="12"/>
                </a:cxn>
                <a:cxn ang="0">
                  <a:pos x="16" y="0"/>
                </a:cxn>
                <a:cxn ang="0">
                  <a:pos x="8" y="45"/>
                </a:cxn>
                <a:cxn ang="0">
                  <a:pos x="20" y="61"/>
                </a:cxn>
                <a:cxn ang="0">
                  <a:pos x="16" y="101"/>
                </a:cxn>
                <a:cxn ang="0">
                  <a:pos x="0" y="106"/>
                </a:cxn>
                <a:cxn ang="0">
                  <a:pos x="12" y="122"/>
                </a:cxn>
                <a:cxn ang="0">
                  <a:pos x="52" y="119"/>
                </a:cxn>
                <a:cxn ang="0">
                  <a:pos x="100" y="55"/>
                </a:cxn>
              </a:cxnLst>
              <a:rect l="0" t="0" r="r" b="b"/>
              <a:pathLst>
                <a:path w="100" h="122">
                  <a:moveTo>
                    <a:pt x="100" y="55"/>
                  </a:moveTo>
                  <a:lnTo>
                    <a:pt x="49" y="12"/>
                  </a:lnTo>
                  <a:lnTo>
                    <a:pt x="16" y="0"/>
                  </a:lnTo>
                  <a:lnTo>
                    <a:pt x="8" y="45"/>
                  </a:lnTo>
                  <a:lnTo>
                    <a:pt x="20" y="61"/>
                  </a:lnTo>
                  <a:lnTo>
                    <a:pt x="16" y="101"/>
                  </a:lnTo>
                  <a:lnTo>
                    <a:pt x="0" y="106"/>
                  </a:lnTo>
                  <a:lnTo>
                    <a:pt x="12" y="122"/>
                  </a:lnTo>
                  <a:lnTo>
                    <a:pt x="52" y="119"/>
                  </a:lnTo>
                  <a:lnTo>
                    <a:pt x="100" y="55"/>
                  </a:lnTo>
                  <a:close/>
                </a:path>
              </a:pathLst>
            </a:custGeom>
            <a:grpFill/>
            <a:ln w="9525" cmpd="sng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" name="Freeform 10"/>
            <p:cNvSpPr>
              <a:spLocks/>
            </p:cNvSpPr>
            <p:nvPr/>
          </p:nvSpPr>
          <p:spPr bwMode="auto">
            <a:xfrm>
              <a:off x="4351665" y="3189718"/>
              <a:ext cx="503370" cy="748550"/>
            </a:xfrm>
            <a:custGeom>
              <a:avLst/>
              <a:gdLst/>
              <a:ahLst/>
              <a:cxnLst>
                <a:cxn ang="0">
                  <a:pos x="371" y="302"/>
                </a:cxn>
                <a:cxn ang="0">
                  <a:pos x="384" y="270"/>
                </a:cxn>
                <a:cxn ang="0">
                  <a:pos x="388" y="205"/>
                </a:cxn>
                <a:cxn ang="0">
                  <a:pos x="339" y="205"/>
                </a:cxn>
                <a:cxn ang="0">
                  <a:pos x="294" y="172"/>
                </a:cxn>
                <a:cxn ang="0">
                  <a:pos x="237" y="176"/>
                </a:cxn>
                <a:cxn ang="0">
                  <a:pos x="216" y="53"/>
                </a:cxn>
                <a:cxn ang="0">
                  <a:pos x="261" y="17"/>
                </a:cxn>
                <a:cxn ang="0">
                  <a:pos x="245" y="0"/>
                </a:cxn>
                <a:cxn ang="0">
                  <a:pos x="167" y="49"/>
                </a:cxn>
                <a:cxn ang="0">
                  <a:pos x="135" y="61"/>
                </a:cxn>
                <a:cxn ang="0">
                  <a:pos x="118" y="111"/>
                </a:cxn>
                <a:cxn ang="0">
                  <a:pos x="89" y="127"/>
                </a:cxn>
                <a:cxn ang="0">
                  <a:pos x="65" y="155"/>
                </a:cxn>
                <a:cxn ang="0">
                  <a:pos x="41" y="188"/>
                </a:cxn>
                <a:cxn ang="0">
                  <a:pos x="53" y="286"/>
                </a:cxn>
                <a:cxn ang="0">
                  <a:pos x="61" y="302"/>
                </a:cxn>
                <a:cxn ang="0">
                  <a:pos x="24" y="343"/>
                </a:cxn>
                <a:cxn ang="0">
                  <a:pos x="12" y="372"/>
                </a:cxn>
                <a:cxn ang="0">
                  <a:pos x="0" y="376"/>
                </a:cxn>
                <a:cxn ang="0">
                  <a:pos x="61" y="417"/>
                </a:cxn>
                <a:cxn ang="0">
                  <a:pos x="118" y="425"/>
                </a:cxn>
                <a:cxn ang="0">
                  <a:pos x="175" y="458"/>
                </a:cxn>
                <a:cxn ang="0">
                  <a:pos x="188" y="470"/>
                </a:cxn>
                <a:cxn ang="0">
                  <a:pos x="233" y="486"/>
                </a:cxn>
                <a:cxn ang="0">
                  <a:pos x="269" y="482"/>
                </a:cxn>
                <a:cxn ang="0">
                  <a:pos x="286" y="507"/>
                </a:cxn>
                <a:cxn ang="0">
                  <a:pos x="277" y="532"/>
                </a:cxn>
                <a:cxn ang="0">
                  <a:pos x="319" y="441"/>
                </a:cxn>
                <a:cxn ang="0">
                  <a:pos x="297" y="392"/>
                </a:cxn>
                <a:cxn ang="0">
                  <a:pos x="319" y="376"/>
                </a:cxn>
                <a:cxn ang="0">
                  <a:pos x="303" y="347"/>
                </a:cxn>
                <a:cxn ang="0">
                  <a:pos x="379" y="335"/>
                </a:cxn>
              </a:cxnLst>
              <a:rect l="0" t="0" r="r" b="b"/>
              <a:pathLst>
                <a:path w="388" h="533">
                  <a:moveTo>
                    <a:pt x="379" y="335"/>
                  </a:moveTo>
                  <a:lnTo>
                    <a:pt x="371" y="302"/>
                  </a:lnTo>
                  <a:lnTo>
                    <a:pt x="380" y="290"/>
                  </a:lnTo>
                  <a:lnTo>
                    <a:pt x="384" y="270"/>
                  </a:lnTo>
                  <a:lnTo>
                    <a:pt x="367" y="253"/>
                  </a:lnTo>
                  <a:lnTo>
                    <a:pt x="388" y="205"/>
                  </a:lnTo>
                  <a:lnTo>
                    <a:pt x="380" y="192"/>
                  </a:lnTo>
                  <a:lnTo>
                    <a:pt x="339" y="205"/>
                  </a:lnTo>
                  <a:lnTo>
                    <a:pt x="315" y="201"/>
                  </a:lnTo>
                  <a:lnTo>
                    <a:pt x="294" y="172"/>
                  </a:lnTo>
                  <a:lnTo>
                    <a:pt x="261" y="172"/>
                  </a:lnTo>
                  <a:lnTo>
                    <a:pt x="237" y="176"/>
                  </a:lnTo>
                  <a:lnTo>
                    <a:pt x="196" y="94"/>
                  </a:lnTo>
                  <a:lnTo>
                    <a:pt x="216" y="53"/>
                  </a:lnTo>
                  <a:lnTo>
                    <a:pt x="245" y="25"/>
                  </a:lnTo>
                  <a:lnTo>
                    <a:pt x="261" y="17"/>
                  </a:lnTo>
                  <a:lnTo>
                    <a:pt x="261" y="0"/>
                  </a:lnTo>
                  <a:lnTo>
                    <a:pt x="245" y="0"/>
                  </a:lnTo>
                  <a:lnTo>
                    <a:pt x="192" y="45"/>
                  </a:lnTo>
                  <a:lnTo>
                    <a:pt x="167" y="49"/>
                  </a:lnTo>
                  <a:lnTo>
                    <a:pt x="159" y="57"/>
                  </a:lnTo>
                  <a:lnTo>
                    <a:pt x="135" y="61"/>
                  </a:lnTo>
                  <a:lnTo>
                    <a:pt x="118" y="82"/>
                  </a:lnTo>
                  <a:lnTo>
                    <a:pt x="118" y="111"/>
                  </a:lnTo>
                  <a:lnTo>
                    <a:pt x="102" y="115"/>
                  </a:lnTo>
                  <a:lnTo>
                    <a:pt x="89" y="127"/>
                  </a:lnTo>
                  <a:lnTo>
                    <a:pt x="77" y="143"/>
                  </a:lnTo>
                  <a:lnTo>
                    <a:pt x="65" y="155"/>
                  </a:lnTo>
                  <a:lnTo>
                    <a:pt x="61" y="168"/>
                  </a:lnTo>
                  <a:lnTo>
                    <a:pt x="41" y="188"/>
                  </a:lnTo>
                  <a:lnTo>
                    <a:pt x="53" y="209"/>
                  </a:lnTo>
                  <a:lnTo>
                    <a:pt x="53" y="286"/>
                  </a:lnTo>
                  <a:lnTo>
                    <a:pt x="49" y="294"/>
                  </a:lnTo>
                  <a:lnTo>
                    <a:pt x="61" y="302"/>
                  </a:lnTo>
                  <a:lnTo>
                    <a:pt x="41" y="343"/>
                  </a:lnTo>
                  <a:lnTo>
                    <a:pt x="24" y="343"/>
                  </a:lnTo>
                  <a:lnTo>
                    <a:pt x="8" y="360"/>
                  </a:lnTo>
                  <a:lnTo>
                    <a:pt x="12" y="372"/>
                  </a:lnTo>
                  <a:lnTo>
                    <a:pt x="8" y="372"/>
                  </a:lnTo>
                  <a:lnTo>
                    <a:pt x="0" y="376"/>
                  </a:lnTo>
                  <a:lnTo>
                    <a:pt x="0" y="392"/>
                  </a:lnTo>
                  <a:lnTo>
                    <a:pt x="61" y="417"/>
                  </a:lnTo>
                  <a:lnTo>
                    <a:pt x="98" y="408"/>
                  </a:lnTo>
                  <a:lnTo>
                    <a:pt x="118" y="425"/>
                  </a:lnTo>
                  <a:lnTo>
                    <a:pt x="139" y="425"/>
                  </a:lnTo>
                  <a:lnTo>
                    <a:pt x="175" y="458"/>
                  </a:lnTo>
                  <a:lnTo>
                    <a:pt x="179" y="466"/>
                  </a:lnTo>
                  <a:lnTo>
                    <a:pt x="188" y="470"/>
                  </a:lnTo>
                  <a:lnTo>
                    <a:pt x="196" y="486"/>
                  </a:lnTo>
                  <a:lnTo>
                    <a:pt x="233" y="486"/>
                  </a:lnTo>
                  <a:lnTo>
                    <a:pt x="237" y="482"/>
                  </a:lnTo>
                  <a:lnTo>
                    <a:pt x="269" y="482"/>
                  </a:lnTo>
                  <a:lnTo>
                    <a:pt x="290" y="490"/>
                  </a:lnTo>
                  <a:lnTo>
                    <a:pt x="286" y="507"/>
                  </a:lnTo>
                  <a:lnTo>
                    <a:pt x="277" y="519"/>
                  </a:lnTo>
                  <a:lnTo>
                    <a:pt x="277" y="532"/>
                  </a:lnTo>
                  <a:lnTo>
                    <a:pt x="298" y="533"/>
                  </a:lnTo>
                  <a:lnTo>
                    <a:pt x="319" y="441"/>
                  </a:lnTo>
                  <a:lnTo>
                    <a:pt x="298" y="408"/>
                  </a:lnTo>
                  <a:lnTo>
                    <a:pt x="297" y="392"/>
                  </a:lnTo>
                  <a:lnTo>
                    <a:pt x="309" y="383"/>
                  </a:lnTo>
                  <a:lnTo>
                    <a:pt x="319" y="376"/>
                  </a:lnTo>
                  <a:lnTo>
                    <a:pt x="298" y="364"/>
                  </a:lnTo>
                  <a:lnTo>
                    <a:pt x="303" y="347"/>
                  </a:lnTo>
                  <a:lnTo>
                    <a:pt x="342" y="347"/>
                  </a:lnTo>
                  <a:lnTo>
                    <a:pt x="379" y="335"/>
                  </a:lnTo>
                  <a:close/>
                </a:path>
              </a:pathLst>
            </a:custGeom>
            <a:grpFill/>
            <a:ln w="9525" cmpd="sng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" name="Freeform 11"/>
            <p:cNvSpPr>
              <a:spLocks/>
            </p:cNvSpPr>
            <p:nvPr/>
          </p:nvSpPr>
          <p:spPr bwMode="auto">
            <a:xfrm>
              <a:off x="3896297" y="3105454"/>
              <a:ext cx="106382" cy="49154"/>
            </a:xfrm>
            <a:custGeom>
              <a:avLst/>
              <a:gdLst/>
              <a:ahLst/>
              <a:cxnLst>
                <a:cxn ang="0">
                  <a:pos x="0" y="36"/>
                </a:cxn>
                <a:cxn ang="0">
                  <a:pos x="24" y="24"/>
                </a:cxn>
                <a:cxn ang="0">
                  <a:pos x="36" y="0"/>
                </a:cxn>
                <a:cxn ang="0">
                  <a:pos x="84" y="0"/>
                </a:cxn>
                <a:cxn ang="0">
                  <a:pos x="96" y="24"/>
                </a:cxn>
                <a:cxn ang="0">
                  <a:pos x="120" y="36"/>
                </a:cxn>
                <a:cxn ang="0">
                  <a:pos x="144" y="24"/>
                </a:cxn>
                <a:cxn ang="0">
                  <a:pos x="168" y="48"/>
                </a:cxn>
                <a:cxn ang="0">
                  <a:pos x="144" y="72"/>
                </a:cxn>
                <a:cxn ang="0">
                  <a:pos x="72" y="72"/>
                </a:cxn>
                <a:cxn ang="0">
                  <a:pos x="0" y="36"/>
                </a:cxn>
              </a:cxnLst>
              <a:rect l="0" t="0" r="r" b="b"/>
              <a:pathLst>
                <a:path w="168" h="72">
                  <a:moveTo>
                    <a:pt x="0" y="36"/>
                  </a:moveTo>
                  <a:lnTo>
                    <a:pt x="24" y="24"/>
                  </a:lnTo>
                  <a:lnTo>
                    <a:pt x="36" y="0"/>
                  </a:lnTo>
                  <a:lnTo>
                    <a:pt x="84" y="0"/>
                  </a:lnTo>
                  <a:lnTo>
                    <a:pt x="96" y="24"/>
                  </a:lnTo>
                  <a:lnTo>
                    <a:pt x="120" y="36"/>
                  </a:lnTo>
                  <a:lnTo>
                    <a:pt x="144" y="24"/>
                  </a:lnTo>
                  <a:lnTo>
                    <a:pt x="168" y="48"/>
                  </a:lnTo>
                  <a:lnTo>
                    <a:pt x="144" y="72"/>
                  </a:lnTo>
                  <a:lnTo>
                    <a:pt x="72" y="72"/>
                  </a:lnTo>
                  <a:lnTo>
                    <a:pt x="0" y="36"/>
                  </a:lnTo>
                  <a:close/>
                </a:path>
              </a:pathLst>
            </a:custGeom>
            <a:grpFill/>
            <a:ln w="9525" cmpd="sng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" name="Freeform 12"/>
            <p:cNvSpPr>
              <a:spLocks/>
            </p:cNvSpPr>
            <p:nvPr/>
          </p:nvSpPr>
          <p:spPr bwMode="auto">
            <a:xfrm>
              <a:off x="4940660" y="6182513"/>
              <a:ext cx="99896" cy="91287"/>
            </a:xfrm>
            <a:custGeom>
              <a:avLst/>
              <a:gdLst/>
              <a:ahLst/>
              <a:cxnLst>
                <a:cxn ang="0">
                  <a:pos x="110" y="98"/>
                </a:cxn>
                <a:cxn ang="0">
                  <a:pos x="116" y="79"/>
                </a:cxn>
                <a:cxn ang="0">
                  <a:pos x="73" y="73"/>
                </a:cxn>
                <a:cxn ang="0">
                  <a:pos x="0" y="0"/>
                </a:cxn>
                <a:cxn ang="0">
                  <a:pos x="12" y="98"/>
                </a:cxn>
                <a:cxn ang="0">
                  <a:pos x="110" y="98"/>
                </a:cxn>
              </a:cxnLst>
              <a:rect l="0" t="0" r="r" b="b"/>
              <a:pathLst>
                <a:path w="116" h="98">
                  <a:moveTo>
                    <a:pt x="110" y="98"/>
                  </a:moveTo>
                  <a:lnTo>
                    <a:pt x="116" y="79"/>
                  </a:lnTo>
                  <a:lnTo>
                    <a:pt x="73" y="73"/>
                  </a:lnTo>
                  <a:lnTo>
                    <a:pt x="0" y="0"/>
                  </a:lnTo>
                  <a:lnTo>
                    <a:pt x="12" y="98"/>
                  </a:lnTo>
                  <a:lnTo>
                    <a:pt x="110" y="98"/>
                  </a:lnTo>
                  <a:close/>
                </a:path>
              </a:pathLst>
            </a:custGeom>
            <a:grpFill/>
            <a:ln w="9525" cmpd="sng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" name="Freeform 13"/>
            <p:cNvSpPr>
              <a:spLocks/>
            </p:cNvSpPr>
            <p:nvPr/>
          </p:nvSpPr>
          <p:spPr bwMode="auto">
            <a:xfrm>
              <a:off x="4775897" y="4751421"/>
              <a:ext cx="625321" cy="1401600"/>
            </a:xfrm>
            <a:custGeom>
              <a:avLst/>
              <a:gdLst/>
              <a:ahLst/>
              <a:cxnLst>
                <a:cxn ang="0">
                  <a:pos x="110" y="1496"/>
                </a:cxn>
                <a:cxn ang="0">
                  <a:pos x="153" y="1496"/>
                </a:cxn>
                <a:cxn ang="0">
                  <a:pos x="80" y="1496"/>
                </a:cxn>
                <a:cxn ang="0">
                  <a:pos x="37" y="1435"/>
                </a:cxn>
                <a:cxn ang="0">
                  <a:pos x="49" y="1312"/>
                </a:cxn>
                <a:cxn ang="0">
                  <a:pos x="49" y="1251"/>
                </a:cxn>
                <a:cxn ang="0">
                  <a:pos x="31" y="1116"/>
                </a:cxn>
                <a:cxn ang="0">
                  <a:pos x="18" y="981"/>
                </a:cxn>
                <a:cxn ang="0">
                  <a:pos x="12" y="858"/>
                </a:cxn>
                <a:cxn ang="0">
                  <a:pos x="6" y="736"/>
                </a:cxn>
                <a:cxn ang="0">
                  <a:pos x="31" y="662"/>
                </a:cxn>
                <a:cxn ang="0">
                  <a:pos x="0" y="478"/>
                </a:cxn>
                <a:cxn ang="0">
                  <a:pos x="37" y="319"/>
                </a:cxn>
                <a:cxn ang="0">
                  <a:pos x="67" y="129"/>
                </a:cxn>
                <a:cxn ang="0">
                  <a:pos x="122" y="49"/>
                </a:cxn>
                <a:cxn ang="0">
                  <a:pos x="251" y="31"/>
                </a:cxn>
                <a:cxn ang="0">
                  <a:pos x="300" y="6"/>
                </a:cxn>
                <a:cxn ang="0">
                  <a:pos x="417" y="104"/>
                </a:cxn>
                <a:cxn ang="0">
                  <a:pos x="539" y="159"/>
                </a:cxn>
                <a:cxn ang="0">
                  <a:pos x="515" y="233"/>
                </a:cxn>
                <a:cxn ang="0">
                  <a:pos x="558" y="258"/>
                </a:cxn>
                <a:cxn ang="0">
                  <a:pos x="680" y="233"/>
                </a:cxn>
                <a:cxn ang="0">
                  <a:pos x="717" y="190"/>
                </a:cxn>
                <a:cxn ang="0">
                  <a:pos x="558" y="399"/>
                </a:cxn>
                <a:cxn ang="0">
                  <a:pos x="508" y="582"/>
                </a:cxn>
                <a:cxn ang="0">
                  <a:pos x="558" y="650"/>
                </a:cxn>
                <a:cxn ang="0">
                  <a:pos x="576" y="711"/>
                </a:cxn>
                <a:cxn ang="0">
                  <a:pos x="539" y="797"/>
                </a:cxn>
                <a:cxn ang="0">
                  <a:pos x="374" y="840"/>
                </a:cxn>
                <a:cxn ang="0">
                  <a:pos x="361" y="846"/>
                </a:cxn>
                <a:cxn ang="0">
                  <a:pos x="355" y="914"/>
                </a:cxn>
                <a:cxn ang="0">
                  <a:pos x="337" y="950"/>
                </a:cxn>
                <a:cxn ang="0">
                  <a:pos x="276" y="932"/>
                </a:cxn>
                <a:cxn ang="0">
                  <a:pos x="263" y="999"/>
                </a:cxn>
                <a:cxn ang="0">
                  <a:pos x="306" y="993"/>
                </a:cxn>
                <a:cxn ang="0">
                  <a:pos x="312" y="1030"/>
                </a:cxn>
                <a:cxn ang="0">
                  <a:pos x="263" y="1030"/>
                </a:cxn>
                <a:cxn ang="0">
                  <a:pos x="288" y="1042"/>
                </a:cxn>
                <a:cxn ang="0">
                  <a:pos x="257" y="1085"/>
                </a:cxn>
                <a:cxn ang="0">
                  <a:pos x="251" y="1140"/>
                </a:cxn>
                <a:cxn ang="0">
                  <a:pos x="190" y="1177"/>
                </a:cxn>
                <a:cxn ang="0">
                  <a:pos x="227" y="1245"/>
                </a:cxn>
                <a:cxn ang="0">
                  <a:pos x="251" y="1294"/>
                </a:cxn>
                <a:cxn ang="0">
                  <a:pos x="196" y="1392"/>
                </a:cxn>
                <a:cxn ang="0">
                  <a:pos x="190" y="1490"/>
                </a:cxn>
                <a:cxn ang="0">
                  <a:pos x="80" y="1496"/>
                </a:cxn>
              </a:cxnLst>
              <a:rect l="0" t="0" r="r" b="b"/>
              <a:pathLst>
                <a:path w="723" h="1496">
                  <a:moveTo>
                    <a:pt x="80" y="1496"/>
                  </a:moveTo>
                  <a:lnTo>
                    <a:pt x="110" y="1496"/>
                  </a:lnTo>
                  <a:lnTo>
                    <a:pt x="135" y="1496"/>
                  </a:lnTo>
                  <a:lnTo>
                    <a:pt x="153" y="1496"/>
                  </a:lnTo>
                  <a:lnTo>
                    <a:pt x="159" y="1496"/>
                  </a:lnTo>
                  <a:lnTo>
                    <a:pt x="80" y="1496"/>
                  </a:lnTo>
                  <a:lnTo>
                    <a:pt x="67" y="1435"/>
                  </a:lnTo>
                  <a:lnTo>
                    <a:pt x="37" y="1435"/>
                  </a:lnTo>
                  <a:lnTo>
                    <a:pt x="24" y="1373"/>
                  </a:lnTo>
                  <a:lnTo>
                    <a:pt x="49" y="1312"/>
                  </a:lnTo>
                  <a:lnTo>
                    <a:pt x="37" y="1275"/>
                  </a:lnTo>
                  <a:lnTo>
                    <a:pt x="49" y="1251"/>
                  </a:lnTo>
                  <a:lnTo>
                    <a:pt x="43" y="1122"/>
                  </a:lnTo>
                  <a:lnTo>
                    <a:pt x="31" y="1116"/>
                  </a:lnTo>
                  <a:lnTo>
                    <a:pt x="6" y="1030"/>
                  </a:lnTo>
                  <a:lnTo>
                    <a:pt x="18" y="981"/>
                  </a:lnTo>
                  <a:lnTo>
                    <a:pt x="12" y="883"/>
                  </a:lnTo>
                  <a:lnTo>
                    <a:pt x="12" y="858"/>
                  </a:lnTo>
                  <a:lnTo>
                    <a:pt x="18" y="815"/>
                  </a:lnTo>
                  <a:lnTo>
                    <a:pt x="6" y="736"/>
                  </a:lnTo>
                  <a:lnTo>
                    <a:pt x="31" y="711"/>
                  </a:lnTo>
                  <a:lnTo>
                    <a:pt x="31" y="662"/>
                  </a:lnTo>
                  <a:lnTo>
                    <a:pt x="49" y="601"/>
                  </a:lnTo>
                  <a:lnTo>
                    <a:pt x="0" y="478"/>
                  </a:lnTo>
                  <a:lnTo>
                    <a:pt x="24" y="405"/>
                  </a:lnTo>
                  <a:lnTo>
                    <a:pt x="37" y="319"/>
                  </a:lnTo>
                  <a:lnTo>
                    <a:pt x="80" y="245"/>
                  </a:lnTo>
                  <a:lnTo>
                    <a:pt x="67" y="129"/>
                  </a:lnTo>
                  <a:lnTo>
                    <a:pt x="122" y="98"/>
                  </a:lnTo>
                  <a:lnTo>
                    <a:pt x="122" y="49"/>
                  </a:lnTo>
                  <a:lnTo>
                    <a:pt x="165" y="0"/>
                  </a:lnTo>
                  <a:lnTo>
                    <a:pt x="251" y="31"/>
                  </a:lnTo>
                  <a:lnTo>
                    <a:pt x="270" y="6"/>
                  </a:lnTo>
                  <a:lnTo>
                    <a:pt x="300" y="6"/>
                  </a:lnTo>
                  <a:lnTo>
                    <a:pt x="331" y="25"/>
                  </a:lnTo>
                  <a:lnTo>
                    <a:pt x="417" y="104"/>
                  </a:lnTo>
                  <a:lnTo>
                    <a:pt x="466" y="110"/>
                  </a:lnTo>
                  <a:lnTo>
                    <a:pt x="539" y="159"/>
                  </a:lnTo>
                  <a:lnTo>
                    <a:pt x="551" y="190"/>
                  </a:lnTo>
                  <a:lnTo>
                    <a:pt x="515" y="233"/>
                  </a:lnTo>
                  <a:lnTo>
                    <a:pt x="521" y="258"/>
                  </a:lnTo>
                  <a:lnTo>
                    <a:pt x="558" y="258"/>
                  </a:lnTo>
                  <a:lnTo>
                    <a:pt x="643" y="264"/>
                  </a:lnTo>
                  <a:lnTo>
                    <a:pt x="680" y="233"/>
                  </a:lnTo>
                  <a:lnTo>
                    <a:pt x="686" y="178"/>
                  </a:lnTo>
                  <a:lnTo>
                    <a:pt x="717" y="190"/>
                  </a:lnTo>
                  <a:lnTo>
                    <a:pt x="723" y="215"/>
                  </a:lnTo>
                  <a:lnTo>
                    <a:pt x="558" y="399"/>
                  </a:lnTo>
                  <a:lnTo>
                    <a:pt x="539" y="417"/>
                  </a:lnTo>
                  <a:lnTo>
                    <a:pt x="508" y="582"/>
                  </a:lnTo>
                  <a:lnTo>
                    <a:pt x="508" y="619"/>
                  </a:lnTo>
                  <a:lnTo>
                    <a:pt x="558" y="650"/>
                  </a:lnTo>
                  <a:lnTo>
                    <a:pt x="545" y="681"/>
                  </a:lnTo>
                  <a:lnTo>
                    <a:pt x="576" y="711"/>
                  </a:lnTo>
                  <a:lnTo>
                    <a:pt x="576" y="742"/>
                  </a:lnTo>
                  <a:lnTo>
                    <a:pt x="539" y="797"/>
                  </a:lnTo>
                  <a:lnTo>
                    <a:pt x="441" y="834"/>
                  </a:lnTo>
                  <a:lnTo>
                    <a:pt x="374" y="840"/>
                  </a:lnTo>
                  <a:lnTo>
                    <a:pt x="361" y="840"/>
                  </a:lnTo>
                  <a:lnTo>
                    <a:pt x="361" y="846"/>
                  </a:lnTo>
                  <a:lnTo>
                    <a:pt x="368" y="871"/>
                  </a:lnTo>
                  <a:lnTo>
                    <a:pt x="355" y="914"/>
                  </a:lnTo>
                  <a:lnTo>
                    <a:pt x="361" y="932"/>
                  </a:lnTo>
                  <a:lnTo>
                    <a:pt x="337" y="950"/>
                  </a:lnTo>
                  <a:lnTo>
                    <a:pt x="300" y="950"/>
                  </a:lnTo>
                  <a:lnTo>
                    <a:pt x="276" y="932"/>
                  </a:lnTo>
                  <a:lnTo>
                    <a:pt x="257" y="932"/>
                  </a:lnTo>
                  <a:lnTo>
                    <a:pt x="263" y="999"/>
                  </a:lnTo>
                  <a:lnTo>
                    <a:pt x="288" y="1006"/>
                  </a:lnTo>
                  <a:lnTo>
                    <a:pt x="306" y="993"/>
                  </a:lnTo>
                  <a:lnTo>
                    <a:pt x="325" y="1006"/>
                  </a:lnTo>
                  <a:lnTo>
                    <a:pt x="312" y="1030"/>
                  </a:lnTo>
                  <a:lnTo>
                    <a:pt x="282" y="1012"/>
                  </a:lnTo>
                  <a:lnTo>
                    <a:pt x="263" y="1030"/>
                  </a:lnTo>
                  <a:lnTo>
                    <a:pt x="288" y="1036"/>
                  </a:lnTo>
                  <a:lnTo>
                    <a:pt x="288" y="1042"/>
                  </a:lnTo>
                  <a:lnTo>
                    <a:pt x="257" y="1067"/>
                  </a:lnTo>
                  <a:lnTo>
                    <a:pt x="257" y="1085"/>
                  </a:lnTo>
                  <a:lnTo>
                    <a:pt x="263" y="1116"/>
                  </a:lnTo>
                  <a:lnTo>
                    <a:pt x="251" y="1140"/>
                  </a:lnTo>
                  <a:lnTo>
                    <a:pt x="233" y="1140"/>
                  </a:lnTo>
                  <a:lnTo>
                    <a:pt x="190" y="1177"/>
                  </a:lnTo>
                  <a:lnTo>
                    <a:pt x="190" y="1214"/>
                  </a:lnTo>
                  <a:lnTo>
                    <a:pt x="227" y="1245"/>
                  </a:lnTo>
                  <a:lnTo>
                    <a:pt x="257" y="1251"/>
                  </a:lnTo>
                  <a:lnTo>
                    <a:pt x="251" y="1294"/>
                  </a:lnTo>
                  <a:lnTo>
                    <a:pt x="202" y="1337"/>
                  </a:lnTo>
                  <a:lnTo>
                    <a:pt x="196" y="1392"/>
                  </a:lnTo>
                  <a:lnTo>
                    <a:pt x="159" y="1435"/>
                  </a:lnTo>
                  <a:lnTo>
                    <a:pt x="190" y="1490"/>
                  </a:lnTo>
                  <a:lnTo>
                    <a:pt x="159" y="1496"/>
                  </a:lnTo>
                  <a:lnTo>
                    <a:pt x="80" y="1496"/>
                  </a:lnTo>
                  <a:close/>
                </a:path>
              </a:pathLst>
            </a:custGeom>
            <a:grpFill/>
            <a:ln w="9525" cmpd="sng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" name="Freeform 14"/>
            <p:cNvSpPr>
              <a:spLocks/>
            </p:cNvSpPr>
            <p:nvPr/>
          </p:nvSpPr>
          <p:spPr bwMode="auto">
            <a:xfrm>
              <a:off x="4267338" y="3734629"/>
              <a:ext cx="237414" cy="293521"/>
            </a:xfrm>
            <a:custGeom>
              <a:avLst/>
              <a:gdLst/>
              <a:ahLst/>
              <a:cxnLst>
                <a:cxn ang="0">
                  <a:pos x="65" y="0"/>
                </a:cxn>
                <a:cxn ang="0">
                  <a:pos x="126" y="30"/>
                </a:cxn>
                <a:cxn ang="0">
                  <a:pos x="165" y="19"/>
                </a:cxn>
                <a:cxn ang="0">
                  <a:pos x="183" y="38"/>
                </a:cxn>
                <a:cxn ang="0">
                  <a:pos x="183" y="54"/>
                </a:cxn>
                <a:cxn ang="0">
                  <a:pos x="171" y="91"/>
                </a:cxn>
                <a:cxn ang="0">
                  <a:pos x="134" y="124"/>
                </a:cxn>
                <a:cxn ang="0">
                  <a:pos x="102" y="140"/>
                </a:cxn>
                <a:cxn ang="0">
                  <a:pos x="77" y="164"/>
                </a:cxn>
                <a:cxn ang="0">
                  <a:pos x="77" y="189"/>
                </a:cxn>
                <a:cxn ang="0">
                  <a:pos x="57" y="205"/>
                </a:cxn>
                <a:cxn ang="0">
                  <a:pos x="45" y="209"/>
                </a:cxn>
                <a:cxn ang="0">
                  <a:pos x="45" y="197"/>
                </a:cxn>
                <a:cxn ang="0">
                  <a:pos x="16" y="193"/>
                </a:cxn>
                <a:cxn ang="0">
                  <a:pos x="16" y="181"/>
                </a:cxn>
                <a:cxn ang="0">
                  <a:pos x="20" y="160"/>
                </a:cxn>
                <a:cxn ang="0">
                  <a:pos x="29" y="160"/>
                </a:cxn>
                <a:cxn ang="0">
                  <a:pos x="41" y="128"/>
                </a:cxn>
                <a:cxn ang="0">
                  <a:pos x="29" y="128"/>
                </a:cxn>
                <a:cxn ang="0">
                  <a:pos x="24" y="144"/>
                </a:cxn>
                <a:cxn ang="0">
                  <a:pos x="4" y="128"/>
                </a:cxn>
                <a:cxn ang="0">
                  <a:pos x="0" y="87"/>
                </a:cxn>
                <a:cxn ang="0">
                  <a:pos x="29" y="50"/>
                </a:cxn>
                <a:cxn ang="0">
                  <a:pos x="29" y="30"/>
                </a:cxn>
                <a:cxn ang="0">
                  <a:pos x="65" y="0"/>
                </a:cxn>
              </a:cxnLst>
              <a:rect l="0" t="0" r="r" b="b"/>
              <a:pathLst>
                <a:path w="183" h="209">
                  <a:moveTo>
                    <a:pt x="65" y="0"/>
                  </a:moveTo>
                  <a:lnTo>
                    <a:pt x="126" y="30"/>
                  </a:lnTo>
                  <a:lnTo>
                    <a:pt x="165" y="19"/>
                  </a:lnTo>
                  <a:lnTo>
                    <a:pt x="183" y="38"/>
                  </a:lnTo>
                  <a:lnTo>
                    <a:pt x="183" y="54"/>
                  </a:lnTo>
                  <a:lnTo>
                    <a:pt x="171" y="91"/>
                  </a:lnTo>
                  <a:lnTo>
                    <a:pt x="134" y="124"/>
                  </a:lnTo>
                  <a:lnTo>
                    <a:pt x="102" y="140"/>
                  </a:lnTo>
                  <a:lnTo>
                    <a:pt x="77" y="164"/>
                  </a:lnTo>
                  <a:lnTo>
                    <a:pt x="77" y="189"/>
                  </a:lnTo>
                  <a:lnTo>
                    <a:pt x="57" y="205"/>
                  </a:lnTo>
                  <a:lnTo>
                    <a:pt x="45" y="209"/>
                  </a:lnTo>
                  <a:lnTo>
                    <a:pt x="45" y="197"/>
                  </a:lnTo>
                  <a:lnTo>
                    <a:pt x="16" y="193"/>
                  </a:lnTo>
                  <a:lnTo>
                    <a:pt x="16" y="181"/>
                  </a:lnTo>
                  <a:lnTo>
                    <a:pt x="20" y="160"/>
                  </a:lnTo>
                  <a:lnTo>
                    <a:pt x="29" y="160"/>
                  </a:lnTo>
                  <a:lnTo>
                    <a:pt x="41" y="128"/>
                  </a:lnTo>
                  <a:lnTo>
                    <a:pt x="29" y="128"/>
                  </a:lnTo>
                  <a:lnTo>
                    <a:pt x="24" y="144"/>
                  </a:lnTo>
                  <a:lnTo>
                    <a:pt x="4" y="128"/>
                  </a:lnTo>
                  <a:lnTo>
                    <a:pt x="0" y="87"/>
                  </a:lnTo>
                  <a:lnTo>
                    <a:pt x="29" y="50"/>
                  </a:lnTo>
                  <a:lnTo>
                    <a:pt x="29" y="30"/>
                  </a:lnTo>
                  <a:lnTo>
                    <a:pt x="65" y="0"/>
                  </a:lnTo>
                  <a:close/>
                </a:path>
              </a:pathLst>
            </a:custGeom>
            <a:grpFill/>
            <a:ln w="9525" cmpd="sng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" name="Freeform 15"/>
            <p:cNvSpPr>
              <a:spLocks/>
            </p:cNvSpPr>
            <p:nvPr/>
          </p:nvSpPr>
          <p:spPr bwMode="auto">
            <a:xfrm>
              <a:off x="4578701" y="3505710"/>
              <a:ext cx="1648926" cy="1797643"/>
            </a:xfrm>
            <a:custGeom>
              <a:avLst/>
              <a:gdLst/>
              <a:ahLst/>
              <a:cxnLst>
                <a:cxn ang="0">
                  <a:pos x="950" y="1864"/>
                </a:cxn>
                <a:cxn ang="0">
                  <a:pos x="809" y="1736"/>
                </a:cxn>
                <a:cxn ang="0">
                  <a:pos x="950" y="1552"/>
                </a:cxn>
                <a:cxn ang="0">
                  <a:pos x="913" y="1515"/>
                </a:cxn>
                <a:cxn ang="0">
                  <a:pos x="901" y="1435"/>
                </a:cxn>
                <a:cxn ang="0">
                  <a:pos x="870" y="1362"/>
                </a:cxn>
                <a:cxn ang="0">
                  <a:pos x="766" y="1325"/>
                </a:cxn>
                <a:cxn ang="0">
                  <a:pos x="778" y="1202"/>
                </a:cxn>
                <a:cxn ang="0">
                  <a:pos x="748" y="1061"/>
                </a:cxn>
                <a:cxn ang="0">
                  <a:pos x="656" y="1024"/>
                </a:cxn>
                <a:cxn ang="0">
                  <a:pos x="509" y="871"/>
                </a:cxn>
                <a:cxn ang="0">
                  <a:pos x="411" y="828"/>
                </a:cxn>
                <a:cxn ang="0">
                  <a:pos x="411" y="742"/>
                </a:cxn>
                <a:cxn ang="0">
                  <a:pos x="294" y="804"/>
                </a:cxn>
                <a:cxn ang="0">
                  <a:pos x="172" y="810"/>
                </a:cxn>
                <a:cxn ang="0">
                  <a:pos x="74" y="761"/>
                </a:cxn>
                <a:cxn ang="0">
                  <a:pos x="12" y="607"/>
                </a:cxn>
                <a:cxn ang="0">
                  <a:pos x="178" y="473"/>
                </a:cxn>
                <a:cxn ang="0">
                  <a:pos x="184" y="283"/>
                </a:cxn>
                <a:cxn ang="0">
                  <a:pos x="196" y="240"/>
                </a:cxn>
                <a:cxn ang="0">
                  <a:pos x="190" y="184"/>
                </a:cxn>
                <a:cxn ang="0">
                  <a:pos x="307" y="166"/>
                </a:cxn>
                <a:cxn ang="0">
                  <a:pos x="343" y="221"/>
                </a:cxn>
                <a:cxn ang="0">
                  <a:pos x="497" y="148"/>
                </a:cxn>
                <a:cxn ang="0">
                  <a:pos x="460" y="80"/>
                </a:cxn>
                <a:cxn ang="0">
                  <a:pos x="472" y="37"/>
                </a:cxn>
                <a:cxn ang="0">
                  <a:pos x="527" y="62"/>
                </a:cxn>
                <a:cxn ang="0">
                  <a:pos x="668" y="7"/>
                </a:cxn>
                <a:cxn ang="0">
                  <a:pos x="680" y="129"/>
                </a:cxn>
                <a:cxn ang="0">
                  <a:pos x="742" y="191"/>
                </a:cxn>
                <a:cxn ang="0">
                  <a:pos x="840" y="166"/>
                </a:cxn>
                <a:cxn ang="0">
                  <a:pos x="883" y="142"/>
                </a:cxn>
                <a:cxn ang="0">
                  <a:pos x="956" y="166"/>
                </a:cxn>
                <a:cxn ang="0">
                  <a:pos x="1091" y="62"/>
                </a:cxn>
                <a:cxn ang="0">
                  <a:pos x="1115" y="117"/>
                </a:cxn>
                <a:cxn ang="0">
                  <a:pos x="1164" y="221"/>
                </a:cxn>
                <a:cxn ang="0">
                  <a:pos x="1122" y="313"/>
                </a:cxn>
                <a:cxn ang="0">
                  <a:pos x="1195" y="362"/>
                </a:cxn>
                <a:cxn ang="0">
                  <a:pos x="1220" y="393"/>
                </a:cxn>
                <a:cxn ang="0">
                  <a:pos x="1305" y="313"/>
                </a:cxn>
                <a:cxn ang="0">
                  <a:pos x="1422" y="424"/>
                </a:cxn>
                <a:cxn ang="0">
                  <a:pos x="1477" y="424"/>
                </a:cxn>
                <a:cxn ang="0">
                  <a:pos x="1661" y="460"/>
                </a:cxn>
                <a:cxn ang="0">
                  <a:pos x="1881" y="614"/>
                </a:cxn>
                <a:cxn ang="0">
                  <a:pos x="1863" y="810"/>
                </a:cxn>
                <a:cxn ang="0">
                  <a:pos x="1661" y="1110"/>
                </a:cxn>
                <a:cxn ang="0">
                  <a:pos x="1489" y="1429"/>
                </a:cxn>
                <a:cxn ang="0">
                  <a:pos x="1305" y="1454"/>
                </a:cxn>
                <a:cxn ang="0">
                  <a:pos x="1171" y="1650"/>
                </a:cxn>
                <a:cxn ang="0">
                  <a:pos x="1054" y="1754"/>
                </a:cxn>
                <a:cxn ang="0">
                  <a:pos x="999" y="1846"/>
                </a:cxn>
              </a:cxnLst>
              <a:rect l="0" t="0" r="r" b="b"/>
              <a:pathLst>
                <a:path w="1906" h="1920">
                  <a:moveTo>
                    <a:pt x="938" y="1920"/>
                  </a:moveTo>
                  <a:lnTo>
                    <a:pt x="950" y="1864"/>
                  </a:lnTo>
                  <a:lnTo>
                    <a:pt x="907" y="1815"/>
                  </a:lnTo>
                  <a:lnTo>
                    <a:pt x="809" y="1736"/>
                  </a:lnTo>
                  <a:lnTo>
                    <a:pt x="785" y="1736"/>
                  </a:lnTo>
                  <a:lnTo>
                    <a:pt x="950" y="1552"/>
                  </a:lnTo>
                  <a:lnTo>
                    <a:pt x="944" y="1521"/>
                  </a:lnTo>
                  <a:lnTo>
                    <a:pt x="913" y="1515"/>
                  </a:lnTo>
                  <a:lnTo>
                    <a:pt x="932" y="1435"/>
                  </a:lnTo>
                  <a:lnTo>
                    <a:pt x="901" y="1435"/>
                  </a:lnTo>
                  <a:lnTo>
                    <a:pt x="876" y="1411"/>
                  </a:lnTo>
                  <a:lnTo>
                    <a:pt x="870" y="1362"/>
                  </a:lnTo>
                  <a:lnTo>
                    <a:pt x="785" y="1349"/>
                  </a:lnTo>
                  <a:lnTo>
                    <a:pt x="766" y="1325"/>
                  </a:lnTo>
                  <a:lnTo>
                    <a:pt x="760" y="1239"/>
                  </a:lnTo>
                  <a:lnTo>
                    <a:pt x="778" y="1202"/>
                  </a:lnTo>
                  <a:lnTo>
                    <a:pt x="778" y="1123"/>
                  </a:lnTo>
                  <a:lnTo>
                    <a:pt x="748" y="1061"/>
                  </a:lnTo>
                  <a:lnTo>
                    <a:pt x="662" y="1049"/>
                  </a:lnTo>
                  <a:lnTo>
                    <a:pt x="656" y="1024"/>
                  </a:lnTo>
                  <a:lnTo>
                    <a:pt x="650" y="939"/>
                  </a:lnTo>
                  <a:lnTo>
                    <a:pt x="509" y="871"/>
                  </a:lnTo>
                  <a:lnTo>
                    <a:pt x="460" y="871"/>
                  </a:lnTo>
                  <a:lnTo>
                    <a:pt x="411" y="828"/>
                  </a:lnTo>
                  <a:lnTo>
                    <a:pt x="423" y="791"/>
                  </a:lnTo>
                  <a:lnTo>
                    <a:pt x="411" y="742"/>
                  </a:lnTo>
                  <a:lnTo>
                    <a:pt x="356" y="736"/>
                  </a:lnTo>
                  <a:lnTo>
                    <a:pt x="294" y="804"/>
                  </a:lnTo>
                  <a:lnTo>
                    <a:pt x="202" y="804"/>
                  </a:lnTo>
                  <a:lnTo>
                    <a:pt x="172" y="810"/>
                  </a:lnTo>
                  <a:lnTo>
                    <a:pt x="153" y="736"/>
                  </a:lnTo>
                  <a:lnTo>
                    <a:pt x="74" y="761"/>
                  </a:lnTo>
                  <a:lnTo>
                    <a:pt x="0" y="663"/>
                  </a:lnTo>
                  <a:lnTo>
                    <a:pt x="12" y="607"/>
                  </a:lnTo>
                  <a:lnTo>
                    <a:pt x="80" y="516"/>
                  </a:lnTo>
                  <a:lnTo>
                    <a:pt x="178" y="473"/>
                  </a:lnTo>
                  <a:lnTo>
                    <a:pt x="215" y="332"/>
                  </a:lnTo>
                  <a:lnTo>
                    <a:pt x="184" y="283"/>
                  </a:lnTo>
                  <a:lnTo>
                    <a:pt x="178" y="246"/>
                  </a:lnTo>
                  <a:lnTo>
                    <a:pt x="196" y="240"/>
                  </a:lnTo>
                  <a:lnTo>
                    <a:pt x="184" y="215"/>
                  </a:lnTo>
                  <a:lnTo>
                    <a:pt x="190" y="184"/>
                  </a:lnTo>
                  <a:lnTo>
                    <a:pt x="251" y="184"/>
                  </a:lnTo>
                  <a:lnTo>
                    <a:pt x="307" y="166"/>
                  </a:lnTo>
                  <a:lnTo>
                    <a:pt x="337" y="209"/>
                  </a:lnTo>
                  <a:lnTo>
                    <a:pt x="343" y="221"/>
                  </a:lnTo>
                  <a:lnTo>
                    <a:pt x="392" y="221"/>
                  </a:lnTo>
                  <a:lnTo>
                    <a:pt x="497" y="148"/>
                  </a:lnTo>
                  <a:lnTo>
                    <a:pt x="466" y="129"/>
                  </a:lnTo>
                  <a:lnTo>
                    <a:pt x="460" y="80"/>
                  </a:lnTo>
                  <a:lnTo>
                    <a:pt x="447" y="50"/>
                  </a:lnTo>
                  <a:lnTo>
                    <a:pt x="472" y="37"/>
                  </a:lnTo>
                  <a:lnTo>
                    <a:pt x="484" y="62"/>
                  </a:lnTo>
                  <a:lnTo>
                    <a:pt x="527" y="62"/>
                  </a:lnTo>
                  <a:lnTo>
                    <a:pt x="644" y="0"/>
                  </a:lnTo>
                  <a:lnTo>
                    <a:pt x="668" y="7"/>
                  </a:lnTo>
                  <a:lnTo>
                    <a:pt x="693" y="50"/>
                  </a:lnTo>
                  <a:lnTo>
                    <a:pt x="680" y="129"/>
                  </a:lnTo>
                  <a:lnTo>
                    <a:pt x="711" y="184"/>
                  </a:lnTo>
                  <a:lnTo>
                    <a:pt x="742" y="191"/>
                  </a:lnTo>
                  <a:lnTo>
                    <a:pt x="803" y="160"/>
                  </a:lnTo>
                  <a:lnTo>
                    <a:pt x="840" y="166"/>
                  </a:lnTo>
                  <a:lnTo>
                    <a:pt x="864" y="166"/>
                  </a:lnTo>
                  <a:lnTo>
                    <a:pt x="883" y="142"/>
                  </a:lnTo>
                  <a:lnTo>
                    <a:pt x="944" y="142"/>
                  </a:lnTo>
                  <a:lnTo>
                    <a:pt x="956" y="166"/>
                  </a:lnTo>
                  <a:lnTo>
                    <a:pt x="1017" y="160"/>
                  </a:lnTo>
                  <a:lnTo>
                    <a:pt x="1091" y="62"/>
                  </a:lnTo>
                  <a:lnTo>
                    <a:pt x="1115" y="80"/>
                  </a:lnTo>
                  <a:lnTo>
                    <a:pt x="1115" y="117"/>
                  </a:lnTo>
                  <a:lnTo>
                    <a:pt x="1164" y="178"/>
                  </a:lnTo>
                  <a:lnTo>
                    <a:pt x="1164" y="221"/>
                  </a:lnTo>
                  <a:lnTo>
                    <a:pt x="1115" y="258"/>
                  </a:lnTo>
                  <a:lnTo>
                    <a:pt x="1122" y="313"/>
                  </a:lnTo>
                  <a:lnTo>
                    <a:pt x="1140" y="350"/>
                  </a:lnTo>
                  <a:lnTo>
                    <a:pt x="1195" y="362"/>
                  </a:lnTo>
                  <a:lnTo>
                    <a:pt x="1201" y="393"/>
                  </a:lnTo>
                  <a:lnTo>
                    <a:pt x="1220" y="393"/>
                  </a:lnTo>
                  <a:lnTo>
                    <a:pt x="1256" y="319"/>
                  </a:lnTo>
                  <a:lnTo>
                    <a:pt x="1305" y="313"/>
                  </a:lnTo>
                  <a:lnTo>
                    <a:pt x="1422" y="362"/>
                  </a:lnTo>
                  <a:lnTo>
                    <a:pt x="1422" y="424"/>
                  </a:lnTo>
                  <a:lnTo>
                    <a:pt x="1434" y="436"/>
                  </a:lnTo>
                  <a:lnTo>
                    <a:pt x="1477" y="424"/>
                  </a:lnTo>
                  <a:lnTo>
                    <a:pt x="1581" y="454"/>
                  </a:lnTo>
                  <a:lnTo>
                    <a:pt x="1661" y="460"/>
                  </a:lnTo>
                  <a:lnTo>
                    <a:pt x="1802" y="595"/>
                  </a:lnTo>
                  <a:lnTo>
                    <a:pt x="1881" y="614"/>
                  </a:lnTo>
                  <a:lnTo>
                    <a:pt x="1906" y="724"/>
                  </a:lnTo>
                  <a:lnTo>
                    <a:pt x="1863" y="810"/>
                  </a:lnTo>
                  <a:lnTo>
                    <a:pt x="1673" y="982"/>
                  </a:lnTo>
                  <a:lnTo>
                    <a:pt x="1661" y="1110"/>
                  </a:lnTo>
                  <a:lnTo>
                    <a:pt x="1618" y="1264"/>
                  </a:lnTo>
                  <a:lnTo>
                    <a:pt x="1489" y="1429"/>
                  </a:lnTo>
                  <a:lnTo>
                    <a:pt x="1379" y="1417"/>
                  </a:lnTo>
                  <a:lnTo>
                    <a:pt x="1305" y="1454"/>
                  </a:lnTo>
                  <a:lnTo>
                    <a:pt x="1177" y="1539"/>
                  </a:lnTo>
                  <a:lnTo>
                    <a:pt x="1171" y="1650"/>
                  </a:lnTo>
                  <a:lnTo>
                    <a:pt x="1079" y="1754"/>
                  </a:lnTo>
                  <a:lnTo>
                    <a:pt x="1054" y="1754"/>
                  </a:lnTo>
                  <a:lnTo>
                    <a:pt x="999" y="1815"/>
                  </a:lnTo>
                  <a:lnTo>
                    <a:pt x="999" y="1846"/>
                  </a:lnTo>
                  <a:lnTo>
                    <a:pt x="938" y="1920"/>
                  </a:lnTo>
                  <a:close/>
                </a:path>
              </a:pathLst>
            </a:custGeom>
            <a:grpFill/>
            <a:ln w="9525" cmpd="sng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" name="Freeform 16"/>
            <p:cNvSpPr>
              <a:spLocks/>
            </p:cNvSpPr>
            <p:nvPr/>
          </p:nvSpPr>
          <p:spPr bwMode="auto">
            <a:xfrm>
              <a:off x="5564683" y="3747268"/>
              <a:ext cx="85625" cy="68816"/>
            </a:xfrm>
            <a:custGeom>
              <a:avLst/>
              <a:gdLst/>
              <a:ahLst/>
              <a:cxnLst>
                <a:cxn ang="0">
                  <a:pos x="6" y="12"/>
                </a:cxn>
                <a:cxn ang="0">
                  <a:pos x="43" y="0"/>
                </a:cxn>
                <a:cxn ang="0">
                  <a:pos x="86" y="6"/>
                </a:cxn>
                <a:cxn ang="0">
                  <a:pos x="98" y="18"/>
                </a:cxn>
                <a:cxn ang="0">
                  <a:pos x="98" y="43"/>
                </a:cxn>
                <a:cxn ang="0">
                  <a:pos x="67" y="74"/>
                </a:cxn>
                <a:cxn ang="0">
                  <a:pos x="31" y="74"/>
                </a:cxn>
                <a:cxn ang="0">
                  <a:pos x="0" y="67"/>
                </a:cxn>
                <a:cxn ang="0">
                  <a:pos x="0" y="43"/>
                </a:cxn>
                <a:cxn ang="0">
                  <a:pos x="6" y="12"/>
                </a:cxn>
              </a:cxnLst>
              <a:rect l="0" t="0" r="r" b="b"/>
              <a:pathLst>
                <a:path w="98" h="74">
                  <a:moveTo>
                    <a:pt x="6" y="12"/>
                  </a:moveTo>
                  <a:lnTo>
                    <a:pt x="43" y="0"/>
                  </a:lnTo>
                  <a:lnTo>
                    <a:pt x="86" y="6"/>
                  </a:lnTo>
                  <a:lnTo>
                    <a:pt x="98" y="18"/>
                  </a:lnTo>
                  <a:lnTo>
                    <a:pt x="98" y="43"/>
                  </a:lnTo>
                  <a:lnTo>
                    <a:pt x="67" y="74"/>
                  </a:lnTo>
                  <a:lnTo>
                    <a:pt x="31" y="74"/>
                  </a:lnTo>
                  <a:lnTo>
                    <a:pt x="0" y="67"/>
                  </a:lnTo>
                  <a:lnTo>
                    <a:pt x="0" y="43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9525" cmpd="sng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" name="Freeform 17"/>
            <p:cNvSpPr>
              <a:spLocks/>
            </p:cNvSpPr>
            <p:nvPr/>
          </p:nvSpPr>
          <p:spPr bwMode="auto">
            <a:xfrm>
              <a:off x="4695462" y="5676926"/>
              <a:ext cx="27244" cy="80051"/>
            </a:xfrm>
            <a:custGeom>
              <a:avLst/>
              <a:gdLst/>
              <a:ahLst/>
              <a:cxnLst>
                <a:cxn ang="0">
                  <a:pos x="12" y="6"/>
                </a:cxn>
                <a:cxn ang="0">
                  <a:pos x="31" y="0"/>
                </a:cxn>
                <a:cxn ang="0">
                  <a:pos x="31" y="86"/>
                </a:cxn>
                <a:cxn ang="0">
                  <a:pos x="12" y="80"/>
                </a:cxn>
                <a:cxn ang="0">
                  <a:pos x="0" y="37"/>
                </a:cxn>
                <a:cxn ang="0">
                  <a:pos x="12" y="6"/>
                </a:cxn>
              </a:cxnLst>
              <a:rect l="0" t="0" r="r" b="b"/>
              <a:pathLst>
                <a:path w="31" h="86">
                  <a:moveTo>
                    <a:pt x="12" y="6"/>
                  </a:moveTo>
                  <a:lnTo>
                    <a:pt x="31" y="0"/>
                  </a:lnTo>
                  <a:lnTo>
                    <a:pt x="31" y="86"/>
                  </a:lnTo>
                  <a:lnTo>
                    <a:pt x="12" y="80"/>
                  </a:lnTo>
                  <a:lnTo>
                    <a:pt x="0" y="37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9525" cmpd="sng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" name="Freeform 18"/>
            <p:cNvSpPr>
              <a:spLocks/>
            </p:cNvSpPr>
            <p:nvPr/>
          </p:nvSpPr>
          <p:spPr bwMode="auto">
            <a:xfrm>
              <a:off x="4600756" y="3195336"/>
              <a:ext cx="572129" cy="519631"/>
            </a:xfrm>
            <a:custGeom>
              <a:avLst/>
              <a:gdLst/>
              <a:ahLst/>
              <a:cxnLst>
                <a:cxn ang="0">
                  <a:pos x="45" y="25"/>
                </a:cxn>
                <a:cxn ang="0">
                  <a:pos x="57" y="65"/>
                </a:cxn>
                <a:cxn ang="0">
                  <a:pos x="41" y="86"/>
                </a:cxn>
                <a:cxn ang="0">
                  <a:pos x="53" y="107"/>
                </a:cxn>
                <a:cxn ang="0">
                  <a:pos x="69" y="103"/>
                </a:cxn>
                <a:cxn ang="0">
                  <a:pos x="69" y="82"/>
                </a:cxn>
                <a:cxn ang="0">
                  <a:pos x="61" y="65"/>
                </a:cxn>
                <a:cxn ang="0">
                  <a:pos x="65" y="41"/>
                </a:cxn>
                <a:cxn ang="0">
                  <a:pos x="118" y="21"/>
                </a:cxn>
                <a:cxn ang="0">
                  <a:pos x="102" y="13"/>
                </a:cxn>
                <a:cxn ang="0">
                  <a:pos x="106" y="0"/>
                </a:cxn>
                <a:cxn ang="0">
                  <a:pos x="114" y="9"/>
                </a:cxn>
                <a:cxn ang="0">
                  <a:pos x="118" y="21"/>
                </a:cxn>
                <a:cxn ang="0">
                  <a:pos x="151" y="21"/>
                </a:cxn>
                <a:cxn ang="0">
                  <a:pos x="167" y="49"/>
                </a:cxn>
                <a:cxn ang="0">
                  <a:pos x="233" y="45"/>
                </a:cxn>
                <a:cxn ang="0">
                  <a:pos x="254" y="61"/>
                </a:cxn>
                <a:cxn ang="0">
                  <a:pos x="327" y="33"/>
                </a:cxn>
                <a:cxn ang="0">
                  <a:pos x="364" y="29"/>
                </a:cxn>
                <a:cxn ang="0">
                  <a:pos x="364" y="37"/>
                </a:cxn>
                <a:cxn ang="0">
                  <a:pos x="335" y="45"/>
                </a:cxn>
                <a:cxn ang="0">
                  <a:pos x="360" y="70"/>
                </a:cxn>
                <a:cxn ang="0">
                  <a:pos x="400" y="82"/>
                </a:cxn>
                <a:cxn ang="0">
                  <a:pos x="408" y="111"/>
                </a:cxn>
                <a:cxn ang="0">
                  <a:pos x="441" y="115"/>
                </a:cxn>
                <a:cxn ang="0">
                  <a:pos x="412" y="138"/>
                </a:cxn>
                <a:cxn ang="0">
                  <a:pos x="405" y="153"/>
                </a:cxn>
                <a:cxn ang="0">
                  <a:pos x="417" y="165"/>
                </a:cxn>
                <a:cxn ang="0">
                  <a:pos x="399" y="169"/>
                </a:cxn>
                <a:cxn ang="0">
                  <a:pos x="394" y="198"/>
                </a:cxn>
                <a:cxn ang="0">
                  <a:pos x="413" y="221"/>
                </a:cxn>
                <a:cxn ang="0">
                  <a:pos x="336" y="264"/>
                </a:cxn>
                <a:cxn ang="0">
                  <a:pos x="306" y="262"/>
                </a:cxn>
                <a:cxn ang="0">
                  <a:pos x="294" y="245"/>
                </a:cxn>
                <a:cxn ang="0">
                  <a:pos x="278" y="254"/>
                </a:cxn>
                <a:cxn ang="0">
                  <a:pos x="290" y="270"/>
                </a:cxn>
                <a:cxn ang="0">
                  <a:pos x="294" y="303"/>
                </a:cxn>
                <a:cxn ang="0">
                  <a:pos x="315" y="319"/>
                </a:cxn>
                <a:cxn ang="0">
                  <a:pos x="246" y="370"/>
                </a:cxn>
                <a:cxn ang="0">
                  <a:pos x="212" y="368"/>
                </a:cxn>
                <a:cxn ang="0">
                  <a:pos x="196" y="343"/>
                </a:cxn>
                <a:cxn ang="0">
                  <a:pos x="183" y="331"/>
                </a:cxn>
                <a:cxn ang="0">
                  <a:pos x="180" y="298"/>
                </a:cxn>
                <a:cxn ang="0">
                  <a:pos x="189" y="289"/>
                </a:cxn>
                <a:cxn ang="0">
                  <a:pos x="188" y="266"/>
                </a:cxn>
                <a:cxn ang="0">
                  <a:pos x="171" y="254"/>
                </a:cxn>
                <a:cxn ang="0">
                  <a:pos x="196" y="201"/>
                </a:cxn>
                <a:cxn ang="0">
                  <a:pos x="188" y="188"/>
                </a:cxn>
                <a:cxn ang="0">
                  <a:pos x="147" y="201"/>
                </a:cxn>
                <a:cxn ang="0">
                  <a:pos x="118" y="197"/>
                </a:cxn>
                <a:cxn ang="0">
                  <a:pos x="98" y="168"/>
                </a:cxn>
                <a:cxn ang="0">
                  <a:pos x="69" y="168"/>
                </a:cxn>
                <a:cxn ang="0">
                  <a:pos x="41" y="176"/>
                </a:cxn>
                <a:cxn ang="0">
                  <a:pos x="0" y="94"/>
                </a:cxn>
                <a:cxn ang="0">
                  <a:pos x="24" y="49"/>
                </a:cxn>
                <a:cxn ang="0">
                  <a:pos x="45" y="25"/>
                </a:cxn>
              </a:cxnLst>
              <a:rect l="0" t="0" r="r" b="b"/>
              <a:pathLst>
                <a:path w="441" h="370">
                  <a:moveTo>
                    <a:pt x="45" y="25"/>
                  </a:moveTo>
                  <a:lnTo>
                    <a:pt x="57" y="65"/>
                  </a:lnTo>
                  <a:lnTo>
                    <a:pt x="41" y="86"/>
                  </a:lnTo>
                  <a:lnTo>
                    <a:pt x="53" y="107"/>
                  </a:lnTo>
                  <a:lnTo>
                    <a:pt x="69" y="103"/>
                  </a:lnTo>
                  <a:lnTo>
                    <a:pt x="69" y="82"/>
                  </a:lnTo>
                  <a:lnTo>
                    <a:pt x="61" y="65"/>
                  </a:lnTo>
                  <a:lnTo>
                    <a:pt x="65" y="41"/>
                  </a:lnTo>
                  <a:lnTo>
                    <a:pt x="118" y="21"/>
                  </a:lnTo>
                  <a:lnTo>
                    <a:pt x="102" y="13"/>
                  </a:lnTo>
                  <a:lnTo>
                    <a:pt x="106" y="0"/>
                  </a:lnTo>
                  <a:lnTo>
                    <a:pt x="114" y="9"/>
                  </a:lnTo>
                  <a:lnTo>
                    <a:pt x="118" y="21"/>
                  </a:lnTo>
                  <a:lnTo>
                    <a:pt x="151" y="21"/>
                  </a:lnTo>
                  <a:lnTo>
                    <a:pt x="167" y="49"/>
                  </a:lnTo>
                  <a:lnTo>
                    <a:pt x="233" y="45"/>
                  </a:lnTo>
                  <a:lnTo>
                    <a:pt x="254" y="61"/>
                  </a:lnTo>
                  <a:lnTo>
                    <a:pt x="327" y="33"/>
                  </a:lnTo>
                  <a:lnTo>
                    <a:pt x="364" y="29"/>
                  </a:lnTo>
                  <a:lnTo>
                    <a:pt x="364" y="37"/>
                  </a:lnTo>
                  <a:lnTo>
                    <a:pt x="335" y="45"/>
                  </a:lnTo>
                  <a:lnTo>
                    <a:pt x="360" y="70"/>
                  </a:lnTo>
                  <a:lnTo>
                    <a:pt x="400" y="82"/>
                  </a:lnTo>
                  <a:lnTo>
                    <a:pt x="408" y="111"/>
                  </a:lnTo>
                  <a:lnTo>
                    <a:pt x="441" y="115"/>
                  </a:lnTo>
                  <a:lnTo>
                    <a:pt x="412" y="138"/>
                  </a:lnTo>
                  <a:lnTo>
                    <a:pt x="405" y="153"/>
                  </a:lnTo>
                  <a:lnTo>
                    <a:pt x="417" y="165"/>
                  </a:lnTo>
                  <a:lnTo>
                    <a:pt x="399" y="169"/>
                  </a:lnTo>
                  <a:lnTo>
                    <a:pt x="394" y="198"/>
                  </a:lnTo>
                  <a:lnTo>
                    <a:pt x="413" y="221"/>
                  </a:lnTo>
                  <a:lnTo>
                    <a:pt x="336" y="264"/>
                  </a:lnTo>
                  <a:lnTo>
                    <a:pt x="306" y="262"/>
                  </a:lnTo>
                  <a:lnTo>
                    <a:pt x="294" y="245"/>
                  </a:lnTo>
                  <a:lnTo>
                    <a:pt x="278" y="254"/>
                  </a:lnTo>
                  <a:lnTo>
                    <a:pt x="290" y="270"/>
                  </a:lnTo>
                  <a:lnTo>
                    <a:pt x="294" y="303"/>
                  </a:lnTo>
                  <a:lnTo>
                    <a:pt x="315" y="319"/>
                  </a:lnTo>
                  <a:lnTo>
                    <a:pt x="246" y="370"/>
                  </a:lnTo>
                  <a:lnTo>
                    <a:pt x="212" y="368"/>
                  </a:lnTo>
                  <a:lnTo>
                    <a:pt x="196" y="343"/>
                  </a:lnTo>
                  <a:lnTo>
                    <a:pt x="183" y="331"/>
                  </a:lnTo>
                  <a:lnTo>
                    <a:pt x="180" y="298"/>
                  </a:lnTo>
                  <a:lnTo>
                    <a:pt x="189" y="289"/>
                  </a:lnTo>
                  <a:lnTo>
                    <a:pt x="188" y="266"/>
                  </a:lnTo>
                  <a:lnTo>
                    <a:pt x="171" y="254"/>
                  </a:lnTo>
                  <a:lnTo>
                    <a:pt x="196" y="201"/>
                  </a:lnTo>
                  <a:lnTo>
                    <a:pt x="188" y="188"/>
                  </a:lnTo>
                  <a:lnTo>
                    <a:pt x="147" y="201"/>
                  </a:lnTo>
                  <a:lnTo>
                    <a:pt x="118" y="197"/>
                  </a:lnTo>
                  <a:lnTo>
                    <a:pt x="98" y="168"/>
                  </a:lnTo>
                  <a:lnTo>
                    <a:pt x="69" y="168"/>
                  </a:lnTo>
                  <a:lnTo>
                    <a:pt x="41" y="176"/>
                  </a:lnTo>
                  <a:lnTo>
                    <a:pt x="0" y="94"/>
                  </a:lnTo>
                  <a:lnTo>
                    <a:pt x="24" y="49"/>
                  </a:lnTo>
                  <a:lnTo>
                    <a:pt x="45" y="25"/>
                  </a:lnTo>
                  <a:close/>
                </a:path>
              </a:pathLst>
            </a:custGeom>
            <a:grpFill/>
            <a:ln w="9525" cmpd="sng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" name="Freeform 19"/>
            <p:cNvSpPr>
              <a:spLocks/>
            </p:cNvSpPr>
            <p:nvPr/>
          </p:nvSpPr>
          <p:spPr bwMode="auto">
            <a:xfrm>
              <a:off x="5109315" y="3356843"/>
              <a:ext cx="199791" cy="328632"/>
            </a:xfrm>
            <a:custGeom>
              <a:avLst/>
              <a:gdLst/>
              <a:ahLst/>
              <a:cxnLst>
                <a:cxn ang="0">
                  <a:pos x="134" y="82"/>
                </a:cxn>
                <a:cxn ang="0">
                  <a:pos x="134" y="102"/>
                </a:cxn>
                <a:cxn ang="0">
                  <a:pos x="106" y="115"/>
                </a:cxn>
                <a:cxn ang="0">
                  <a:pos x="104" y="143"/>
                </a:cxn>
                <a:cxn ang="0">
                  <a:pos x="130" y="168"/>
                </a:cxn>
                <a:cxn ang="0">
                  <a:pos x="154" y="218"/>
                </a:cxn>
                <a:cxn ang="0">
                  <a:pos x="131" y="212"/>
                </a:cxn>
                <a:cxn ang="0">
                  <a:pos x="88" y="234"/>
                </a:cxn>
                <a:cxn ang="0">
                  <a:pos x="65" y="228"/>
                </a:cxn>
                <a:cxn ang="0">
                  <a:pos x="43" y="194"/>
                </a:cxn>
                <a:cxn ang="0">
                  <a:pos x="53" y="139"/>
                </a:cxn>
                <a:cxn ang="0">
                  <a:pos x="37" y="111"/>
                </a:cxn>
                <a:cxn ang="0">
                  <a:pos x="21" y="106"/>
                </a:cxn>
                <a:cxn ang="0">
                  <a:pos x="0" y="82"/>
                </a:cxn>
                <a:cxn ang="0">
                  <a:pos x="4" y="54"/>
                </a:cxn>
                <a:cxn ang="0">
                  <a:pos x="21" y="49"/>
                </a:cxn>
                <a:cxn ang="0">
                  <a:pos x="12" y="37"/>
                </a:cxn>
                <a:cxn ang="0">
                  <a:pos x="16" y="21"/>
                </a:cxn>
                <a:cxn ang="0">
                  <a:pos x="49" y="0"/>
                </a:cxn>
                <a:cxn ang="0">
                  <a:pos x="86" y="25"/>
                </a:cxn>
                <a:cxn ang="0">
                  <a:pos x="86" y="53"/>
                </a:cxn>
                <a:cxn ang="0">
                  <a:pos x="110" y="53"/>
                </a:cxn>
                <a:cxn ang="0">
                  <a:pos x="134" y="82"/>
                </a:cxn>
              </a:cxnLst>
              <a:rect l="0" t="0" r="r" b="b"/>
              <a:pathLst>
                <a:path w="154" h="234">
                  <a:moveTo>
                    <a:pt x="134" y="82"/>
                  </a:moveTo>
                  <a:lnTo>
                    <a:pt x="134" y="102"/>
                  </a:lnTo>
                  <a:lnTo>
                    <a:pt x="106" y="115"/>
                  </a:lnTo>
                  <a:lnTo>
                    <a:pt x="104" y="143"/>
                  </a:lnTo>
                  <a:lnTo>
                    <a:pt x="130" y="168"/>
                  </a:lnTo>
                  <a:lnTo>
                    <a:pt x="154" y="218"/>
                  </a:lnTo>
                  <a:lnTo>
                    <a:pt x="131" y="212"/>
                  </a:lnTo>
                  <a:lnTo>
                    <a:pt x="88" y="234"/>
                  </a:lnTo>
                  <a:lnTo>
                    <a:pt x="65" y="228"/>
                  </a:lnTo>
                  <a:lnTo>
                    <a:pt x="43" y="194"/>
                  </a:lnTo>
                  <a:lnTo>
                    <a:pt x="53" y="139"/>
                  </a:lnTo>
                  <a:lnTo>
                    <a:pt x="37" y="111"/>
                  </a:lnTo>
                  <a:lnTo>
                    <a:pt x="21" y="106"/>
                  </a:lnTo>
                  <a:lnTo>
                    <a:pt x="0" y="82"/>
                  </a:lnTo>
                  <a:lnTo>
                    <a:pt x="4" y="54"/>
                  </a:lnTo>
                  <a:lnTo>
                    <a:pt x="21" y="49"/>
                  </a:lnTo>
                  <a:lnTo>
                    <a:pt x="12" y="37"/>
                  </a:lnTo>
                  <a:lnTo>
                    <a:pt x="16" y="21"/>
                  </a:lnTo>
                  <a:lnTo>
                    <a:pt x="49" y="0"/>
                  </a:lnTo>
                  <a:lnTo>
                    <a:pt x="86" y="25"/>
                  </a:lnTo>
                  <a:lnTo>
                    <a:pt x="86" y="53"/>
                  </a:lnTo>
                  <a:lnTo>
                    <a:pt x="110" y="53"/>
                  </a:lnTo>
                  <a:lnTo>
                    <a:pt x="134" y="82"/>
                  </a:lnTo>
                  <a:close/>
                </a:path>
              </a:pathLst>
            </a:custGeom>
            <a:grpFill/>
            <a:ln w="9525" cmpd="sng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" name="Freeform 20"/>
            <p:cNvSpPr>
              <a:spLocks/>
            </p:cNvSpPr>
            <p:nvPr/>
          </p:nvSpPr>
          <p:spPr bwMode="auto">
            <a:xfrm>
              <a:off x="5241644" y="3466387"/>
              <a:ext cx="180331" cy="198022"/>
            </a:xfrm>
            <a:custGeom>
              <a:avLst/>
              <a:gdLst/>
              <a:ahLst/>
              <a:cxnLst>
                <a:cxn ang="0">
                  <a:pos x="135" y="12"/>
                </a:cxn>
                <a:cxn ang="0">
                  <a:pos x="102" y="0"/>
                </a:cxn>
                <a:cxn ang="0">
                  <a:pos x="29" y="0"/>
                </a:cxn>
                <a:cxn ang="0">
                  <a:pos x="33" y="20"/>
                </a:cxn>
                <a:cxn ang="0">
                  <a:pos x="4" y="33"/>
                </a:cxn>
                <a:cxn ang="0">
                  <a:pos x="0" y="61"/>
                </a:cxn>
                <a:cxn ang="0">
                  <a:pos x="25" y="89"/>
                </a:cxn>
                <a:cxn ang="0">
                  <a:pos x="50" y="141"/>
                </a:cxn>
                <a:cxn ang="0">
                  <a:pos x="62" y="140"/>
                </a:cxn>
                <a:cxn ang="0">
                  <a:pos x="82" y="123"/>
                </a:cxn>
                <a:cxn ang="0">
                  <a:pos x="119" y="125"/>
                </a:cxn>
                <a:cxn ang="0">
                  <a:pos x="133" y="119"/>
                </a:cxn>
                <a:cxn ang="0">
                  <a:pos x="139" y="77"/>
                </a:cxn>
                <a:cxn ang="0">
                  <a:pos x="123" y="61"/>
                </a:cxn>
                <a:cxn ang="0">
                  <a:pos x="135" y="12"/>
                </a:cxn>
              </a:cxnLst>
              <a:rect l="0" t="0" r="r" b="b"/>
              <a:pathLst>
                <a:path w="139" h="141">
                  <a:moveTo>
                    <a:pt x="135" y="12"/>
                  </a:moveTo>
                  <a:lnTo>
                    <a:pt x="102" y="0"/>
                  </a:lnTo>
                  <a:lnTo>
                    <a:pt x="29" y="0"/>
                  </a:lnTo>
                  <a:lnTo>
                    <a:pt x="33" y="20"/>
                  </a:lnTo>
                  <a:lnTo>
                    <a:pt x="4" y="33"/>
                  </a:lnTo>
                  <a:lnTo>
                    <a:pt x="0" y="61"/>
                  </a:lnTo>
                  <a:lnTo>
                    <a:pt x="25" y="89"/>
                  </a:lnTo>
                  <a:lnTo>
                    <a:pt x="50" y="141"/>
                  </a:lnTo>
                  <a:lnTo>
                    <a:pt x="62" y="140"/>
                  </a:lnTo>
                  <a:lnTo>
                    <a:pt x="82" y="123"/>
                  </a:lnTo>
                  <a:lnTo>
                    <a:pt x="119" y="125"/>
                  </a:lnTo>
                  <a:lnTo>
                    <a:pt x="133" y="119"/>
                  </a:lnTo>
                  <a:lnTo>
                    <a:pt x="139" y="77"/>
                  </a:lnTo>
                  <a:lnTo>
                    <a:pt x="123" y="61"/>
                  </a:lnTo>
                  <a:lnTo>
                    <a:pt x="135" y="12"/>
                  </a:lnTo>
                  <a:close/>
                </a:path>
              </a:pathLst>
            </a:custGeom>
            <a:grpFill/>
            <a:ln w="9525" cmpd="sng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" name="Freeform 21"/>
            <p:cNvSpPr>
              <a:spLocks/>
            </p:cNvSpPr>
            <p:nvPr/>
          </p:nvSpPr>
          <p:spPr bwMode="auto">
            <a:xfrm>
              <a:off x="4250473" y="3786592"/>
              <a:ext cx="540993" cy="804726"/>
            </a:xfrm>
            <a:custGeom>
              <a:avLst/>
              <a:gdLst/>
              <a:ahLst/>
              <a:cxnLst>
                <a:cxn ang="0">
                  <a:pos x="401" y="532"/>
                </a:cxn>
                <a:cxn ang="0">
                  <a:pos x="397" y="557"/>
                </a:cxn>
                <a:cxn ang="0">
                  <a:pos x="372" y="573"/>
                </a:cxn>
                <a:cxn ang="0">
                  <a:pos x="262" y="508"/>
                </a:cxn>
                <a:cxn ang="0">
                  <a:pos x="246" y="508"/>
                </a:cxn>
                <a:cxn ang="0">
                  <a:pos x="184" y="463"/>
                </a:cxn>
                <a:cxn ang="0">
                  <a:pos x="180" y="434"/>
                </a:cxn>
                <a:cxn ang="0">
                  <a:pos x="90" y="282"/>
                </a:cxn>
                <a:cxn ang="0">
                  <a:pos x="69" y="270"/>
                </a:cxn>
                <a:cxn ang="0">
                  <a:pos x="61" y="254"/>
                </a:cxn>
                <a:cxn ang="0">
                  <a:pos x="29" y="225"/>
                </a:cxn>
                <a:cxn ang="0">
                  <a:pos x="9" y="213"/>
                </a:cxn>
                <a:cxn ang="0">
                  <a:pos x="17" y="200"/>
                </a:cxn>
                <a:cxn ang="0">
                  <a:pos x="0" y="176"/>
                </a:cxn>
                <a:cxn ang="0">
                  <a:pos x="4" y="152"/>
                </a:cxn>
                <a:cxn ang="0">
                  <a:pos x="33" y="127"/>
                </a:cxn>
                <a:cxn ang="0">
                  <a:pos x="29" y="148"/>
                </a:cxn>
                <a:cxn ang="0">
                  <a:pos x="35" y="157"/>
                </a:cxn>
                <a:cxn ang="0">
                  <a:pos x="57" y="158"/>
                </a:cxn>
                <a:cxn ang="0">
                  <a:pos x="60" y="168"/>
                </a:cxn>
                <a:cxn ang="0">
                  <a:pos x="70" y="168"/>
                </a:cxn>
                <a:cxn ang="0">
                  <a:pos x="87" y="152"/>
                </a:cxn>
                <a:cxn ang="0">
                  <a:pos x="90" y="127"/>
                </a:cxn>
                <a:cxn ang="0">
                  <a:pos x="115" y="102"/>
                </a:cxn>
                <a:cxn ang="0">
                  <a:pos x="147" y="86"/>
                </a:cxn>
                <a:cxn ang="0">
                  <a:pos x="184" y="53"/>
                </a:cxn>
                <a:cxn ang="0">
                  <a:pos x="196" y="16"/>
                </a:cxn>
                <a:cxn ang="0">
                  <a:pos x="196" y="0"/>
                </a:cxn>
                <a:cxn ang="0">
                  <a:pos x="217" y="0"/>
                </a:cxn>
                <a:cxn ang="0">
                  <a:pos x="254" y="33"/>
                </a:cxn>
                <a:cxn ang="0">
                  <a:pos x="270" y="45"/>
                </a:cxn>
                <a:cxn ang="0">
                  <a:pos x="273" y="59"/>
                </a:cxn>
                <a:cxn ang="0">
                  <a:pos x="303" y="60"/>
                </a:cxn>
                <a:cxn ang="0">
                  <a:pos x="315" y="57"/>
                </a:cxn>
                <a:cxn ang="0">
                  <a:pos x="348" y="57"/>
                </a:cxn>
                <a:cxn ang="0">
                  <a:pos x="369" y="65"/>
                </a:cxn>
                <a:cxn ang="0">
                  <a:pos x="364" y="86"/>
                </a:cxn>
                <a:cxn ang="0">
                  <a:pos x="356" y="94"/>
                </a:cxn>
                <a:cxn ang="0">
                  <a:pos x="357" y="105"/>
                </a:cxn>
                <a:cxn ang="0">
                  <a:pos x="375" y="108"/>
                </a:cxn>
                <a:cxn ang="0">
                  <a:pos x="364" y="119"/>
                </a:cxn>
                <a:cxn ang="0">
                  <a:pos x="313" y="141"/>
                </a:cxn>
                <a:cxn ang="0">
                  <a:pos x="263" y="205"/>
                </a:cxn>
                <a:cxn ang="0">
                  <a:pos x="254" y="238"/>
                </a:cxn>
                <a:cxn ang="0">
                  <a:pos x="303" y="303"/>
                </a:cxn>
                <a:cxn ang="0">
                  <a:pos x="356" y="291"/>
                </a:cxn>
                <a:cxn ang="0">
                  <a:pos x="368" y="336"/>
                </a:cxn>
                <a:cxn ang="0">
                  <a:pos x="388" y="336"/>
                </a:cxn>
                <a:cxn ang="0">
                  <a:pos x="417" y="377"/>
                </a:cxn>
                <a:cxn ang="0">
                  <a:pos x="405" y="501"/>
                </a:cxn>
                <a:cxn ang="0">
                  <a:pos x="417" y="512"/>
                </a:cxn>
                <a:cxn ang="0">
                  <a:pos x="417" y="522"/>
                </a:cxn>
                <a:cxn ang="0">
                  <a:pos x="401" y="532"/>
                </a:cxn>
              </a:cxnLst>
              <a:rect l="0" t="0" r="r" b="b"/>
              <a:pathLst>
                <a:path w="417" h="573">
                  <a:moveTo>
                    <a:pt x="401" y="532"/>
                  </a:moveTo>
                  <a:lnTo>
                    <a:pt x="397" y="557"/>
                  </a:lnTo>
                  <a:lnTo>
                    <a:pt x="372" y="573"/>
                  </a:lnTo>
                  <a:lnTo>
                    <a:pt x="262" y="508"/>
                  </a:lnTo>
                  <a:lnTo>
                    <a:pt x="246" y="508"/>
                  </a:lnTo>
                  <a:lnTo>
                    <a:pt x="184" y="463"/>
                  </a:lnTo>
                  <a:lnTo>
                    <a:pt x="180" y="434"/>
                  </a:lnTo>
                  <a:lnTo>
                    <a:pt x="90" y="282"/>
                  </a:lnTo>
                  <a:lnTo>
                    <a:pt x="69" y="270"/>
                  </a:lnTo>
                  <a:lnTo>
                    <a:pt x="61" y="254"/>
                  </a:lnTo>
                  <a:lnTo>
                    <a:pt x="29" y="225"/>
                  </a:lnTo>
                  <a:lnTo>
                    <a:pt x="9" y="213"/>
                  </a:lnTo>
                  <a:lnTo>
                    <a:pt x="17" y="200"/>
                  </a:lnTo>
                  <a:lnTo>
                    <a:pt x="0" y="176"/>
                  </a:lnTo>
                  <a:lnTo>
                    <a:pt x="4" y="152"/>
                  </a:lnTo>
                  <a:lnTo>
                    <a:pt x="33" y="127"/>
                  </a:lnTo>
                  <a:lnTo>
                    <a:pt x="29" y="148"/>
                  </a:lnTo>
                  <a:lnTo>
                    <a:pt x="35" y="157"/>
                  </a:lnTo>
                  <a:lnTo>
                    <a:pt x="57" y="158"/>
                  </a:lnTo>
                  <a:lnTo>
                    <a:pt x="60" y="168"/>
                  </a:lnTo>
                  <a:lnTo>
                    <a:pt x="70" y="168"/>
                  </a:lnTo>
                  <a:lnTo>
                    <a:pt x="87" y="152"/>
                  </a:lnTo>
                  <a:lnTo>
                    <a:pt x="90" y="127"/>
                  </a:lnTo>
                  <a:lnTo>
                    <a:pt x="115" y="102"/>
                  </a:lnTo>
                  <a:lnTo>
                    <a:pt x="147" y="86"/>
                  </a:lnTo>
                  <a:lnTo>
                    <a:pt x="184" y="53"/>
                  </a:lnTo>
                  <a:lnTo>
                    <a:pt x="196" y="16"/>
                  </a:lnTo>
                  <a:lnTo>
                    <a:pt x="196" y="0"/>
                  </a:lnTo>
                  <a:lnTo>
                    <a:pt x="217" y="0"/>
                  </a:lnTo>
                  <a:lnTo>
                    <a:pt x="254" y="33"/>
                  </a:lnTo>
                  <a:lnTo>
                    <a:pt x="270" y="45"/>
                  </a:lnTo>
                  <a:lnTo>
                    <a:pt x="273" y="59"/>
                  </a:lnTo>
                  <a:lnTo>
                    <a:pt x="303" y="60"/>
                  </a:lnTo>
                  <a:lnTo>
                    <a:pt x="315" y="57"/>
                  </a:lnTo>
                  <a:lnTo>
                    <a:pt x="348" y="57"/>
                  </a:lnTo>
                  <a:lnTo>
                    <a:pt x="369" y="65"/>
                  </a:lnTo>
                  <a:lnTo>
                    <a:pt x="364" y="86"/>
                  </a:lnTo>
                  <a:lnTo>
                    <a:pt x="356" y="94"/>
                  </a:lnTo>
                  <a:lnTo>
                    <a:pt x="357" y="105"/>
                  </a:lnTo>
                  <a:lnTo>
                    <a:pt x="375" y="108"/>
                  </a:lnTo>
                  <a:lnTo>
                    <a:pt x="364" y="119"/>
                  </a:lnTo>
                  <a:lnTo>
                    <a:pt x="313" y="141"/>
                  </a:lnTo>
                  <a:lnTo>
                    <a:pt x="263" y="205"/>
                  </a:lnTo>
                  <a:lnTo>
                    <a:pt x="254" y="238"/>
                  </a:lnTo>
                  <a:lnTo>
                    <a:pt x="303" y="303"/>
                  </a:lnTo>
                  <a:lnTo>
                    <a:pt x="356" y="291"/>
                  </a:lnTo>
                  <a:lnTo>
                    <a:pt x="368" y="336"/>
                  </a:lnTo>
                  <a:lnTo>
                    <a:pt x="388" y="336"/>
                  </a:lnTo>
                  <a:lnTo>
                    <a:pt x="417" y="377"/>
                  </a:lnTo>
                  <a:lnTo>
                    <a:pt x="405" y="501"/>
                  </a:lnTo>
                  <a:lnTo>
                    <a:pt x="417" y="512"/>
                  </a:lnTo>
                  <a:lnTo>
                    <a:pt x="417" y="522"/>
                  </a:lnTo>
                  <a:lnTo>
                    <a:pt x="401" y="532"/>
                  </a:lnTo>
                  <a:close/>
                </a:path>
              </a:pathLst>
            </a:custGeom>
            <a:grpFill/>
            <a:ln w="9525" cmpd="sng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" name="Freeform 22"/>
            <p:cNvSpPr>
              <a:spLocks/>
            </p:cNvSpPr>
            <p:nvPr/>
          </p:nvSpPr>
          <p:spPr bwMode="auto">
            <a:xfrm>
              <a:off x="5214400" y="5124994"/>
              <a:ext cx="186818" cy="224705"/>
            </a:xfrm>
            <a:custGeom>
              <a:avLst/>
              <a:gdLst/>
              <a:ahLst/>
              <a:cxnLst>
                <a:cxn ang="0">
                  <a:pos x="166" y="239"/>
                </a:cxn>
                <a:cxn ang="0">
                  <a:pos x="203" y="183"/>
                </a:cxn>
                <a:cxn ang="0">
                  <a:pos x="215" y="128"/>
                </a:cxn>
                <a:cxn ang="0">
                  <a:pos x="166" y="73"/>
                </a:cxn>
                <a:cxn ang="0">
                  <a:pos x="74" y="6"/>
                </a:cxn>
                <a:cxn ang="0">
                  <a:pos x="50" y="0"/>
                </a:cxn>
                <a:cxn ang="0">
                  <a:pos x="31" y="18"/>
                </a:cxn>
                <a:cxn ang="0">
                  <a:pos x="0" y="183"/>
                </a:cxn>
                <a:cxn ang="0">
                  <a:pos x="19" y="208"/>
                </a:cxn>
                <a:cxn ang="0">
                  <a:pos x="56" y="214"/>
                </a:cxn>
                <a:cxn ang="0">
                  <a:pos x="86" y="233"/>
                </a:cxn>
                <a:cxn ang="0">
                  <a:pos x="166" y="239"/>
                </a:cxn>
              </a:cxnLst>
              <a:rect l="0" t="0" r="r" b="b"/>
              <a:pathLst>
                <a:path w="215" h="239">
                  <a:moveTo>
                    <a:pt x="166" y="239"/>
                  </a:moveTo>
                  <a:lnTo>
                    <a:pt x="203" y="183"/>
                  </a:lnTo>
                  <a:lnTo>
                    <a:pt x="215" y="128"/>
                  </a:lnTo>
                  <a:lnTo>
                    <a:pt x="166" y="73"/>
                  </a:lnTo>
                  <a:lnTo>
                    <a:pt x="74" y="6"/>
                  </a:lnTo>
                  <a:lnTo>
                    <a:pt x="50" y="0"/>
                  </a:lnTo>
                  <a:lnTo>
                    <a:pt x="31" y="18"/>
                  </a:lnTo>
                  <a:lnTo>
                    <a:pt x="0" y="183"/>
                  </a:lnTo>
                  <a:lnTo>
                    <a:pt x="19" y="208"/>
                  </a:lnTo>
                  <a:lnTo>
                    <a:pt x="56" y="214"/>
                  </a:lnTo>
                  <a:lnTo>
                    <a:pt x="86" y="233"/>
                  </a:lnTo>
                  <a:lnTo>
                    <a:pt x="166" y="239"/>
                  </a:lnTo>
                  <a:close/>
                </a:path>
              </a:pathLst>
            </a:custGeom>
            <a:grpFill/>
            <a:ln w="9525" cmpd="sng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" name="Freeform 23"/>
            <p:cNvSpPr>
              <a:spLocks/>
            </p:cNvSpPr>
            <p:nvPr/>
          </p:nvSpPr>
          <p:spPr bwMode="auto">
            <a:xfrm>
              <a:off x="4775897" y="4751421"/>
              <a:ext cx="627915" cy="1401600"/>
            </a:xfrm>
            <a:custGeom>
              <a:avLst/>
              <a:gdLst/>
              <a:ahLst/>
              <a:cxnLst>
                <a:cxn ang="0">
                  <a:pos x="106" y="998"/>
                </a:cxn>
                <a:cxn ang="0">
                  <a:pos x="45" y="957"/>
                </a:cxn>
                <a:cxn ang="0">
                  <a:pos x="16" y="916"/>
                </a:cxn>
                <a:cxn ang="0">
                  <a:pos x="25" y="851"/>
                </a:cxn>
                <a:cxn ang="0">
                  <a:pos x="24" y="753"/>
                </a:cxn>
                <a:cxn ang="0">
                  <a:pos x="4" y="687"/>
                </a:cxn>
                <a:cxn ang="0">
                  <a:pos x="8" y="589"/>
                </a:cxn>
                <a:cxn ang="0">
                  <a:pos x="12" y="544"/>
                </a:cxn>
                <a:cxn ang="0">
                  <a:pos x="21" y="474"/>
                </a:cxn>
                <a:cxn ang="0">
                  <a:pos x="33" y="401"/>
                </a:cxn>
                <a:cxn ang="0">
                  <a:pos x="16" y="270"/>
                </a:cxn>
                <a:cxn ang="0">
                  <a:pos x="53" y="163"/>
                </a:cxn>
                <a:cxn ang="0">
                  <a:pos x="81" y="65"/>
                </a:cxn>
                <a:cxn ang="0">
                  <a:pos x="110" y="0"/>
                </a:cxn>
                <a:cxn ang="0">
                  <a:pos x="180" y="4"/>
                </a:cxn>
                <a:cxn ang="0">
                  <a:pos x="221" y="17"/>
                </a:cxn>
                <a:cxn ang="0">
                  <a:pos x="311" y="73"/>
                </a:cxn>
                <a:cxn ang="0">
                  <a:pos x="367" y="127"/>
                </a:cxn>
                <a:cxn ang="0">
                  <a:pos x="347" y="172"/>
                </a:cxn>
                <a:cxn ang="0">
                  <a:pos x="429" y="176"/>
                </a:cxn>
                <a:cxn ang="0">
                  <a:pos x="457" y="119"/>
                </a:cxn>
                <a:cxn ang="0">
                  <a:pos x="484" y="147"/>
                </a:cxn>
                <a:cxn ang="0">
                  <a:pos x="359" y="278"/>
                </a:cxn>
                <a:cxn ang="0">
                  <a:pos x="339" y="413"/>
                </a:cxn>
                <a:cxn ang="0">
                  <a:pos x="363" y="454"/>
                </a:cxn>
                <a:cxn ang="0">
                  <a:pos x="384" y="495"/>
                </a:cxn>
                <a:cxn ang="0">
                  <a:pos x="294" y="556"/>
                </a:cxn>
                <a:cxn ang="0">
                  <a:pos x="241" y="564"/>
                </a:cxn>
                <a:cxn ang="0">
                  <a:pos x="237" y="610"/>
                </a:cxn>
                <a:cxn ang="0">
                  <a:pos x="225" y="634"/>
                </a:cxn>
                <a:cxn ang="0">
                  <a:pos x="184" y="622"/>
                </a:cxn>
                <a:cxn ang="0">
                  <a:pos x="175" y="666"/>
                </a:cxn>
                <a:cxn ang="0">
                  <a:pos x="204" y="662"/>
                </a:cxn>
                <a:cxn ang="0">
                  <a:pos x="208" y="687"/>
                </a:cxn>
                <a:cxn ang="0">
                  <a:pos x="175" y="687"/>
                </a:cxn>
                <a:cxn ang="0">
                  <a:pos x="192" y="695"/>
                </a:cxn>
                <a:cxn ang="0">
                  <a:pos x="171" y="724"/>
                </a:cxn>
                <a:cxn ang="0">
                  <a:pos x="167" y="761"/>
                </a:cxn>
                <a:cxn ang="0">
                  <a:pos x="127" y="785"/>
                </a:cxn>
                <a:cxn ang="0">
                  <a:pos x="151" y="831"/>
                </a:cxn>
                <a:cxn ang="0">
                  <a:pos x="167" y="863"/>
                </a:cxn>
                <a:cxn ang="0">
                  <a:pos x="131" y="929"/>
                </a:cxn>
                <a:cxn ang="0">
                  <a:pos x="127" y="994"/>
                </a:cxn>
              </a:cxnLst>
              <a:rect l="0" t="0" r="r" b="b"/>
              <a:pathLst>
                <a:path w="484" h="998">
                  <a:moveTo>
                    <a:pt x="53" y="998"/>
                  </a:moveTo>
                  <a:lnTo>
                    <a:pt x="106" y="998"/>
                  </a:lnTo>
                  <a:lnTo>
                    <a:pt x="53" y="998"/>
                  </a:lnTo>
                  <a:lnTo>
                    <a:pt x="45" y="957"/>
                  </a:lnTo>
                  <a:lnTo>
                    <a:pt x="25" y="957"/>
                  </a:lnTo>
                  <a:lnTo>
                    <a:pt x="16" y="916"/>
                  </a:lnTo>
                  <a:lnTo>
                    <a:pt x="33" y="875"/>
                  </a:lnTo>
                  <a:lnTo>
                    <a:pt x="25" y="851"/>
                  </a:lnTo>
                  <a:lnTo>
                    <a:pt x="33" y="835"/>
                  </a:lnTo>
                  <a:lnTo>
                    <a:pt x="24" y="753"/>
                  </a:lnTo>
                  <a:lnTo>
                    <a:pt x="21" y="744"/>
                  </a:lnTo>
                  <a:lnTo>
                    <a:pt x="4" y="687"/>
                  </a:lnTo>
                  <a:lnTo>
                    <a:pt x="12" y="654"/>
                  </a:lnTo>
                  <a:lnTo>
                    <a:pt x="8" y="589"/>
                  </a:lnTo>
                  <a:lnTo>
                    <a:pt x="8" y="572"/>
                  </a:lnTo>
                  <a:lnTo>
                    <a:pt x="12" y="544"/>
                  </a:lnTo>
                  <a:lnTo>
                    <a:pt x="4" y="491"/>
                  </a:lnTo>
                  <a:lnTo>
                    <a:pt x="21" y="474"/>
                  </a:lnTo>
                  <a:lnTo>
                    <a:pt x="21" y="442"/>
                  </a:lnTo>
                  <a:lnTo>
                    <a:pt x="33" y="401"/>
                  </a:lnTo>
                  <a:lnTo>
                    <a:pt x="0" y="319"/>
                  </a:lnTo>
                  <a:lnTo>
                    <a:pt x="16" y="270"/>
                  </a:lnTo>
                  <a:lnTo>
                    <a:pt x="25" y="213"/>
                  </a:lnTo>
                  <a:lnTo>
                    <a:pt x="53" y="163"/>
                  </a:lnTo>
                  <a:lnTo>
                    <a:pt x="45" y="86"/>
                  </a:lnTo>
                  <a:lnTo>
                    <a:pt x="81" y="65"/>
                  </a:lnTo>
                  <a:lnTo>
                    <a:pt x="81" y="33"/>
                  </a:lnTo>
                  <a:lnTo>
                    <a:pt x="110" y="0"/>
                  </a:lnTo>
                  <a:lnTo>
                    <a:pt x="167" y="21"/>
                  </a:lnTo>
                  <a:lnTo>
                    <a:pt x="180" y="4"/>
                  </a:lnTo>
                  <a:lnTo>
                    <a:pt x="200" y="4"/>
                  </a:lnTo>
                  <a:lnTo>
                    <a:pt x="221" y="17"/>
                  </a:lnTo>
                  <a:lnTo>
                    <a:pt x="278" y="69"/>
                  </a:lnTo>
                  <a:lnTo>
                    <a:pt x="311" y="73"/>
                  </a:lnTo>
                  <a:lnTo>
                    <a:pt x="359" y="106"/>
                  </a:lnTo>
                  <a:lnTo>
                    <a:pt x="367" y="127"/>
                  </a:lnTo>
                  <a:lnTo>
                    <a:pt x="343" y="155"/>
                  </a:lnTo>
                  <a:lnTo>
                    <a:pt x="347" y="172"/>
                  </a:lnTo>
                  <a:lnTo>
                    <a:pt x="372" y="172"/>
                  </a:lnTo>
                  <a:lnTo>
                    <a:pt x="429" y="176"/>
                  </a:lnTo>
                  <a:lnTo>
                    <a:pt x="453" y="155"/>
                  </a:lnTo>
                  <a:lnTo>
                    <a:pt x="457" y="119"/>
                  </a:lnTo>
                  <a:lnTo>
                    <a:pt x="478" y="127"/>
                  </a:lnTo>
                  <a:lnTo>
                    <a:pt x="484" y="147"/>
                  </a:lnTo>
                  <a:lnTo>
                    <a:pt x="378" y="264"/>
                  </a:lnTo>
                  <a:lnTo>
                    <a:pt x="359" y="278"/>
                  </a:lnTo>
                  <a:lnTo>
                    <a:pt x="339" y="388"/>
                  </a:lnTo>
                  <a:lnTo>
                    <a:pt x="339" y="413"/>
                  </a:lnTo>
                  <a:lnTo>
                    <a:pt x="372" y="434"/>
                  </a:lnTo>
                  <a:lnTo>
                    <a:pt x="363" y="454"/>
                  </a:lnTo>
                  <a:lnTo>
                    <a:pt x="384" y="474"/>
                  </a:lnTo>
                  <a:lnTo>
                    <a:pt x="384" y="495"/>
                  </a:lnTo>
                  <a:lnTo>
                    <a:pt x="359" y="532"/>
                  </a:lnTo>
                  <a:lnTo>
                    <a:pt x="294" y="556"/>
                  </a:lnTo>
                  <a:lnTo>
                    <a:pt x="249" y="564"/>
                  </a:lnTo>
                  <a:lnTo>
                    <a:pt x="241" y="564"/>
                  </a:lnTo>
                  <a:lnTo>
                    <a:pt x="245" y="581"/>
                  </a:lnTo>
                  <a:lnTo>
                    <a:pt x="237" y="610"/>
                  </a:lnTo>
                  <a:lnTo>
                    <a:pt x="241" y="622"/>
                  </a:lnTo>
                  <a:lnTo>
                    <a:pt x="225" y="634"/>
                  </a:lnTo>
                  <a:lnTo>
                    <a:pt x="200" y="634"/>
                  </a:lnTo>
                  <a:lnTo>
                    <a:pt x="184" y="622"/>
                  </a:lnTo>
                  <a:lnTo>
                    <a:pt x="174" y="624"/>
                  </a:lnTo>
                  <a:lnTo>
                    <a:pt x="175" y="666"/>
                  </a:lnTo>
                  <a:lnTo>
                    <a:pt x="192" y="671"/>
                  </a:lnTo>
                  <a:lnTo>
                    <a:pt x="204" y="662"/>
                  </a:lnTo>
                  <a:lnTo>
                    <a:pt x="217" y="671"/>
                  </a:lnTo>
                  <a:lnTo>
                    <a:pt x="208" y="687"/>
                  </a:lnTo>
                  <a:lnTo>
                    <a:pt x="188" y="675"/>
                  </a:lnTo>
                  <a:lnTo>
                    <a:pt x="175" y="687"/>
                  </a:lnTo>
                  <a:lnTo>
                    <a:pt x="192" y="691"/>
                  </a:lnTo>
                  <a:lnTo>
                    <a:pt x="192" y="695"/>
                  </a:lnTo>
                  <a:lnTo>
                    <a:pt x="174" y="711"/>
                  </a:lnTo>
                  <a:lnTo>
                    <a:pt x="171" y="724"/>
                  </a:lnTo>
                  <a:lnTo>
                    <a:pt x="175" y="744"/>
                  </a:lnTo>
                  <a:lnTo>
                    <a:pt x="167" y="761"/>
                  </a:lnTo>
                  <a:lnTo>
                    <a:pt x="155" y="761"/>
                  </a:lnTo>
                  <a:lnTo>
                    <a:pt x="127" y="785"/>
                  </a:lnTo>
                  <a:lnTo>
                    <a:pt x="127" y="810"/>
                  </a:lnTo>
                  <a:lnTo>
                    <a:pt x="151" y="831"/>
                  </a:lnTo>
                  <a:lnTo>
                    <a:pt x="171" y="835"/>
                  </a:lnTo>
                  <a:lnTo>
                    <a:pt x="167" y="863"/>
                  </a:lnTo>
                  <a:lnTo>
                    <a:pt x="135" y="892"/>
                  </a:lnTo>
                  <a:lnTo>
                    <a:pt x="131" y="929"/>
                  </a:lnTo>
                  <a:lnTo>
                    <a:pt x="106" y="957"/>
                  </a:lnTo>
                  <a:lnTo>
                    <a:pt x="127" y="994"/>
                  </a:lnTo>
                  <a:lnTo>
                    <a:pt x="106" y="998"/>
                  </a:lnTo>
                </a:path>
              </a:pathLst>
            </a:custGeom>
            <a:grpFill/>
            <a:ln w="9525" cmpd="sng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3" name="Freeform 24"/>
            <p:cNvSpPr>
              <a:spLocks/>
            </p:cNvSpPr>
            <p:nvPr/>
          </p:nvSpPr>
          <p:spPr bwMode="auto">
            <a:xfrm>
              <a:off x="4079223" y="3245894"/>
              <a:ext cx="137519" cy="132014"/>
            </a:xfrm>
            <a:custGeom>
              <a:avLst/>
              <a:gdLst/>
              <a:ahLst/>
              <a:cxnLst>
                <a:cxn ang="0">
                  <a:pos x="132" y="24"/>
                </a:cxn>
                <a:cxn ang="0">
                  <a:pos x="108" y="24"/>
                </a:cxn>
                <a:cxn ang="0">
                  <a:pos x="60" y="12"/>
                </a:cxn>
                <a:cxn ang="0">
                  <a:pos x="24" y="0"/>
                </a:cxn>
                <a:cxn ang="0">
                  <a:pos x="0" y="12"/>
                </a:cxn>
                <a:cxn ang="0">
                  <a:pos x="0" y="72"/>
                </a:cxn>
                <a:cxn ang="0">
                  <a:pos x="48" y="108"/>
                </a:cxn>
                <a:cxn ang="0">
                  <a:pos x="60" y="84"/>
                </a:cxn>
                <a:cxn ang="0">
                  <a:pos x="108" y="120"/>
                </a:cxn>
                <a:cxn ang="0">
                  <a:pos x="132" y="120"/>
                </a:cxn>
                <a:cxn ang="0">
                  <a:pos x="144" y="132"/>
                </a:cxn>
                <a:cxn ang="0">
                  <a:pos x="144" y="180"/>
                </a:cxn>
                <a:cxn ang="0">
                  <a:pos x="203" y="192"/>
                </a:cxn>
                <a:cxn ang="0">
                  <a:pos x="203" y="144"/>
                </a:cxn>
                <a:cxn ang="0">
                  <a:pos x="192" y="108"/>
                </a:cxn>
                <a:cxn ang="0">
                  <a:pos x="215" y="96"/>
                </a:cxn>
                <a:cxn ang="0">
                  <a:pos x="132" y="24"/>
                </a:cxn>
              </a:cxnLst>
              <a:rect l="0" t="0" r="r" b="b"/>
              <a:pathLst>
                <a:path w="215" h="192">
                  <a:moveTo>
                    <a:pt x="132" y="24"/>
                  </a:moveTo>
                  <a:lnTo>
                    <a:pt x="108" y="24"/>
                  </a:lnTo>
                  <a:lnTo>
                    <a:pt x="60" y="12"/>
                  </a:lnTo>
                  <a:lnTo>
                    <a:pt x="24" y="0"/>
                  </a:lnTo>
                  <a:lnTo>
                    <a:pt x="0" y="12"/>
                  </a:lnTo>
                  <a:lnTo>
                    <a:pt x="0" y="72"/>
                  </a:lnTo>
                  <a:lnTo>
                    <a:pt x="48" y="108"/>
                  </a:lnTo>
                  <a:lnTo>
                    <a:pt x="60" y="84"/>
                  </a:lnTo>
                  <a:lnTo>
                    <a:pt x="108" y="120"/>
                  </a:lnTo>
                  <a:lnTo>
                    <a:pt x="132" y="120"/>
                  </a:lnTo>
                  <a:lnTo>
                    <a:pt x="144" y="132"/>
                  </a:lnTo>
                  <a:lnTo>
                    <a:pt x="144" y="180"/>
                  </a:lnTo>
                  <a:lnTo>
                    <a:pt x="203" y="192"/>
                  </a:lnTo>
                  <a:lnTo>
                    <a:pt x="203" y="144"/>
                  </a:lnTo>
                  <a:lnTo>
                    <a:pt x="192" y="108"/>
                  </a:lnTo>
                  <a:lnTo>
                    <a:pt x="215" y="96"/>
                  </a:lnTo>
                  <a:lnTo>
                    <a:pt x="132" y="24"/>
                  </a:lnTo>
                  <a:close/>
                </a:path>
              </a:pathLst>
            </a:custGeom>
            <a:grpFill/>
            <a:ln w="9525" cmpd="sng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4" name="Freeform 25"/>
            <p:cNvSpPr>
              <a:spLocks/>
            </p:cNvSpPr>
            <p:nvPr/>
          </p:nvSpPr>
          <p:spPr bwMode="auto">
            <a:xfrm>
              <a:off x="4201173" y="3310497"/>
              <a:ext cx="259469" cy="124992"/>
            </a:xfrm>
            <a:custGeom>
              <a:avLst/>
              <a:gdLst/>
              <a:ahLst/>
              <a:cxnLst>
                <a:cxn ang="0">
                  <a:pos x="5" y="54"/>
                </a:cxn>
                <a:cxn ang="0">
                  <a:pos x="5" y="25"/>
                </a:cxn>
                <a:cxn ang="0">
                  <a:pos x="0" y="8"/>
                </a:cxn>
                <a:cxn ang="0">
                  <a:pos x="12" y="0"/>
                </a:cxn>
                <a:cxn ang="0">
                  <a:pos x="29" y="31"/>
                </a:cxn>
                <a:cxn ang="0">
                  <a:pos x="65" y="36"/>
                </a:cxn>
                <a:cxn ang="0">
                  <a:pos x="94" y="19"/>
                </a:cxn>
                <a:cxn ang="0">
                  <a:pos x="106" y="19"/>
                </a:cxn>
                <a:cxn ang="0">
                  <a:pos x="112" y="7"/>
                </a:cxn>
                <a:cxn ang="0">
                  <a:pos x="165" y="13"/>
                </a:cxn>
                <a:cxn ang="0">
                  <a:pos x="200" y="48"/>
                </a:cxn>
                <a:cxn ang="0">
                  <a:pos x="188" y="71"/>
                </a:cxn>
                <a:cxn ang="0">
                  <a:pos x="182" y="71"/>
                </a:cxn>
                <a:cxn ang="0">
                  <a:pos x="176" y="89"/>
                </a:cxn>
                <a:cxn ang="0">
                  <a:pos x="170" y="89"/>
                </a:cxn>
                <a:cxn ang="0">
                  <a:pos x="165" y="77"/>
                </a:cxn>
                <a:cxn ang="0">
                  <a:pos x="159" y="42"/>
                </a:cxn>
                <a:cxn ang="0">
                  <a:pos x="135" y="31"/>
                </a:cxn>
                <a:cxn ang="0">
                  <a:pos x="112" y="36"/>
                </a:cxn>
                <a:cxn ang="0">
                  <a:pos x="100" y="48"/>
                </a:cxn>
                <a:cxn ang="0">
                  <a:pos x="88" y="60"/>
                </a:cxn>
                <a:cxn ang="0">
                  <a:pos x="100" y="77"/>
                </a:cxn>
                <a:cxn ang="0">
                  <a:pos x="88" y="89"/>
                </a:cxn>
                <a:cxn ang="0">
                  <a:pos x="76" y="89"/>
                </a:cxn>
                <a:cxn ang="0">
                  <a:pos x="70" y="71"/>
                </a:cxn>
                <a:cxn ang="0">
                  <a:pos x="47" y="65"/>
                </a:cxn>
                <a:cxn ang="0">
                  <a:pos x="29" y="54"/>
                </a:cxn>
                <a:cxn ang="0">
                  <a:pos x="5" y="54"/>
                </a:cxn>
              </a:cxnLst>
              <a:rect l="0" t="0" r="r" b="b"/>
              <a:pathLst>
                <a:path w="200" h="89">
                  <a:moveTo>
                    <a:pt x="5" y="54"/>
                  </a:moveTo>
                  <a:lnTo>
                    <a:pt x="5" y="25"/>
                  </a:lnTo>
                  <a:lnTo>
                    <a:pt x="0" y="8"/>
                  </a:lnTo>
                  <a:lnTo>
                    <a:pt x="12" y="0"/>
                  </a:lnTo>
                  <a:lnTo>
                    <a:pt x="29" y="31"/>
                  </a:lnTo>
                  <a:lnTo>
                    <a:pt x="65" y="36"/>
                  </a:lnTo>
                  <a:lnTo>
                    <a:pt x="94" y="19"/>
                  </a:lnTo>
                  <a:lnTo>
                    <a:pt x="106" y="19"/>
                  </a:lnTo>
                  <a:lnTo>
                    <a:pt x="112" y="7"/>
                  </a:lnTo>
                  <a:lnTo>
                    <a:pt x="165" y="13"/>
                  </a:lnTo>
                  <a:lnTo>
                    <a:pt x="200" y="48"/>
                  </a:lnTo>
                  <a:lnTo>
                    <a:pt x="188" y="71"/>
                  </a:lnTo>
                  <a:lnTo>
                    <a:pt x="182" y="71"/>
                  </a:lnTo>
                  <a:lnTo>
                    <a:pt x="176" y="89"/>
                  </a:lnTo>
                  <a:lnTo>
                    <a:pt x="170" y="89"/>
                  </a:lnTo>
                  <a:lnTo>
                    <a:pt x="165" y="77"/>
                  </a:lnTo>
                  <a:lnTo>
                    <a:pt x="159" y="42"/>
                  </a:lnTo>
                  <a:lnTo>
                    <a:pt x="135" y="31"/>
                  </a:lnTo>
                  <a:lnTo>
                    <a:pt x="112" y="36"/>
                  </a:lnTo>
                  <a:lnTo>
                    <a:pt x="100" y="48"/>
                  </a:lnTo>
                  <a:lnTo>
                    <a:pt x="88" y="60"/>
                  </a:lnTo>
                  <a:lnTo>
                    <a:pt x="100" y="77"/>
                  </a:lnTo>
                  <a:lnTo>
                    <a:pt x="88" y="89"/>
                  </a:lnTo>
                  <a:lnTo>
                    <a:pt x="76" y="89"/>
                  </a:lnTo>
                  <a:lnTo>
                    <a:pt x="70" y="71"/>
                  </a:lnTo>
                  <a:lnTo>
                    <a:pt x="47" y="65"/>
                  </a:lnTo>
                  <a:lnTo>
                    <a:pt x="29" y="54"/>
                  </a:lnTo>
                  <a:lnTo>
                    <a:pt x="5" y="54"/>
                  </a:lnTo>
                  <a:close/>
                </a:path>
              </a:pathLst>
            </a:custGeom>
            <a:grpFill/>
            <a:ln w="9525" cmpd="sng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5" name="Freeform 26"/>
            <p:cNvSpPr>
              <a:spLocks/>
            </p:cNvSpPr>
            <p:nvPr/>
          </p:nvSpPr>
          <p:spPr bwMode="auto">
            <a:xfrm>
              <a:off x="4010464" y="3063321"/>
              <a:ext cx="176439" cy="198022"/>
            </a:xfrm>
            <a:custGeom>
              <a:avLst/>
              <a:gdLst/>
              <a:ahLst/>
              <a:cxnLst>
                <a:cxn ang="0">
                  <a:pos x="0" y="65"/>
                </a:cxn>
                <a:cxn ang="0">
                  <a:pos x="12" y="65"/>
                </a:cxn>
                <a:cxn ang="0">
                  <a:pos x="17" y="44"/>
                </a:cxn>
                <a:cxn ang="0">
                  <a:pos x="62" y="32"/>
                </a:cxn>
                <a:cxn ang="0">
                  <a:pos x="83" y="6"/>
                </a:cxn>
                <a:cxn ang="0">
                  <a:pos x="95" y="12"/>
                </a:cxn>
                <a:cxn ang="0">
                  <a:pos x="112" y="6"/>
                </a:cxn>
                <a:cxn ang="0">
                  <a:pos x="136" y="0"/>
                </a:cxn>
                <a:cxn ang="0">
                  <a:pos x="124" y="141"/>
                </a:cxn>
                <a:cxn ang="0">
                  <a:pos x="106" y="141"/>
                </a:cxn>
                <a:cxn ang="0">
                  <a:pos x="89" y="135"/>
                </a:cxn>
                <a:cxn ang="0">
                  <a:pos x="89" y="117"/>
                </a:cxn>
                <a:cxn ang="0">
                  <a:pos x="71" y="100"/>
                </a:cxn>
                <a:cxn ang="0">
                  <a:pos x="53" y="100"/>
                </a:cxn>
                <a:cxn ang="0">
                  <a:pos x="59" y="123"/>
                </a:cxn>
                <a:cxn ang="0">
                  <a:pos x="47" y="123"/>
                </a:cxn>
                <a:cxn ang="0">
                  <a:pos x="0" y="77"/>
                </a:cxn>
                <a:cxn ang="0">
                  <a:pos x="0" y="65"/>
                </a:cxn>
              </a:cxnLst>
              <a:rect l="0" t="0" r="r" b="b"/>
              <a:pathLst>
                <a:path w="136" h="141">
                  <a:moveTo>
                    <a:pt x="0" y="65"/>
                  </a:moveTo>
                  <a:lnTo>
                    <a:pt x="12" y="65"/>
                  </a:lnTo>
                  <a:lnTo>
                    <a:pt x="17" y="44"/>
                  </a:lnTo>
                  <a:lnTo>
                    <a:pt x="62" y="32"/>
                  </a:lnTo>
                  <a:lnTo>
                    <a:pt x="83" y="6"/>
                  </a:lnTo>
                  <a:lnTo>
                    <a:pt x="95" y="12"/>
                  </a:lnTo>
                  <a:lnTo>
                    <a:pt x="112" y="6"/>
                  </a:lnTo>
                  <a:lnTo>
                    <a:pt x="136" y="0"/>
                  </a:lnTo>
                  <a:lnTo>
                    <a:pt x="124" y="141"/>
                  </a:lnTo>
                  <a:lnTo>
                    <a:pt x="106" y="141"/>
                  </a:lnTo>
                  <a:lnTo>
                    <a:pt x="89" y="135"/>
                  </a:lnTo>
                  <a:lnTo>
                    <a:pt x="89" y="117"/>
                  </a:lnTo>
                  <a:lnTo>
                    <a:pt x="71" y="100"/>
                  </a:lnTo>
                  <a:lnTo>
                    <a:pt x="53" y="100"/>
                  </a:lnTo>
                  <a:lnTo>
                    <a:pt x="59" y="123"/>
                  </a:lnTo>
                  <a:lnTo>
                    <a:pt x="47" y="123"/>
                  </a:lnTo>
                  <a:lnTo>
                    <a:pt x="0" y="77"/>
                  </a:lnTo>
                  <a:lnTo>
                    <a:pt x="0" y="65"/>
                  </a:lnTo>
                  <a:close/>
                </a:path>
              </a:pathLst>
            </a:custGeom>
            <a:grpFill/>
            <a:ln w="9525" cmpd="sng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6" name="Freeform 27"/>
            <p:cNvSpPr>
              <a:spLocks/>
            </p:cNvSpPr>
            <p:nvPr/>
          </p:nvSpPr>
          <p:spPr bwMode="auto">
            <a:xfrm>
              <a:off x="3800294" y="2931307"/>
              <a:ext cx="164763" cy="191000"/>
            </a:xfrm>
            <a:custGeom>
              <a:avLst/>
              <a:gdLst/>
              <a:ahLst/>
              <a:cxnLst>
                <a:cxn ang="0">
                  <a:pos x="0" y="96"/>
                </a:cxn>
                <a:cxn ang="0">
                  <a:pos x="26" y="63"/>
                </a:cxn>
                <a:cxn ang="0">
                  <a:pos x="62" y="59"/>
                </a:cxn>
                <a:cxn ang="0">
                  <a:pos x="23" y="14"/>
                </a:cxn>
                <a:cxn ang="0">
                  <a:pos x="44" y="12"/>
                </a:cxn>
                <a:cxn ang="0">
                  <a:pos x="39" y="0"/>
                </a:cxn>
                <a:cxn ang="0">
                  <a:pos x="109" y="0"/>
                </a:cxn>
                <a:cxn ang="0">
                  <a:pos x="103" y="65"/>
                </a:cxn>
                <a:cxn ang="0">
                  <a:pos x="115" y="65"/>
                </a:cxn>
                <a:cxn ang="0">
                  <a:pos x="127" y="77"/>
                </a:cxn>
                <a:cxn ang="0">
                  <a:pos x="121" y="83"/>
                </a:cxn>
                <a:cxn ang="0">
                  <a:pos x="103" y="94"/>
                </a:cxn>
                <a:cxn ang="0">
                  <a:pos x="103" y="106"/>
                </a:cxn>
                <a:cxn ang="0">
                  <a:pos x="89" y="135"/>
                </a:cxn>
                <a:cxn ang="0">
                  <a:pos x="74" y="136"/>
                </a:cxn>
                <a:cxn ang="0">
                  <a:pos x="32" y="130"/>
                </a:cxn>
                <a:cxn ang="0">
                  <a:pos x="0" y="96"/>
                </a:cxn>
              </a:cxnLst>
              <a:rect l="0" t="0" r="r" b="b"/>
              <a:pathLst>
                <a:path w="127" h="136">
                  <a:moveTo>
                    <a:pt x="0" y="96"/>
                  </a:moveTo>
                  <a:lnTo>
                    <a:pt x="26" y="63"/>
                  </a:lnTo>
                  <a:lnTo>
                    <a:pt x="62" y="59"/>
                  </a:lnTo>
                  <a:lnTo>
                    <a:pt x="23" y="14"/>
                  </a:lnTo>
                  <a:lnTo>
                    <a:pt x="44" y="12"/>
                  </a:lnTo>
                  <a:lnTo>
                    <a:pt x="39" y="0"/>
                  </a:lnTo>
                  <a:lnTo>
                    <a:pt x="109" y="0"/>
                  </a:lnTo>
                  <a:lnTo>
                    <a:pt x="103" y="65"/>
                  </a:lnTo>
                  <a:lnTo>
                    <a:pt x="115" y="65"/>
                  </a:lnTo>
                  <a:lnTo>
                    <a:pt x="127" y="77"/>
                  </a:lnTo>
                  <a:lnTo>
                    <a:pt x="121" y="83"/>
                  </a:lnTo>
                  <a:lnTo>
                    <a:pt x="103" y="94"/>
                  </a:lnTo>
                  <a:lnTo>
                    <a:pt x="103" y="106"/>
                  </a:lnTo>
                  <a:lnTo>
                    <a:pt x="89" y="135"/>
                  </a:lnTo>
                  <a:lnTo>
                    <a:pt x="74" y="136"/>
                  </a:lnTo>
                  <a:lnTo>
                    <a:pt x="32" y="130"/>
                  </a:lnTo>
                  <a:lnTo>
                    <a:pt x="0" y="96"/>
                  </a:lnTo>
                  <a:close/>
                </a:path>
              </a:pathLst>
            </a:custGeom>
            <a:grpFill/>
            <a:ln w="9525" cmpd="sng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7" name="Freeform 28"/>
            <p:cNvSpPr>
              <a:spLocks/>
            </p:cNvSpPr>
            <p:nvPr/>
          </p:nvSpPr>
          <p:spPr bwMode="auto">
            <a:xfrm>
              <a:off x="3932623" y="2906028"/>
              <a:ext cx="48002" cy="117970"/>
            </a:xfrm>
            <a:custGeom>
              <a:avLst/>
              <a:gdLst/>
              <a:ahLst/>
              <a:cxnLst>
                <a:cxn ang="0">
                  <a:pos x="13" y="83"/>
                </a:cxn>
                <a:cxn ang="0">
                  <a:pos x="25" y="65"/>
                </a:cxn>
                <a:cxn ang="0">
                  <a:pos x="37" y="47"/>
                </a:cxn>
                <a:cxn ang="0">
                  <a:pos x="37" y="6"/>
                </a:cxn>
                <a:cxn ang="0">
                  <a:pos x="13" y="0"/>
                </a:cxn>
                <a:cxn ang="0">
                  <a:pos x="1" y="18"/>
                </a:cxn>
                <a:cxn ang="0">
                  <a:pos x="8" y="20"/>
                </a:cxn>
                <a:cxn ang="0">
                  <a:pos x="0" y="84"/>
                </a:cxn>
                <a:cxn ang="0">
                  <a:pos x="13" y="83"/>
                </a:cxn>
              </a:cxnLst>
              <a:rect l="0" t="0" r="r" b="b"/>
              <a:pathLst>
                <a:path w="37" h="84">
                  <a:moveTo>
                    <a:pt x="13" y="83"/>
                  </a:moveTo>
                  <a:lnTo>
                    <a:pt x="25" y="65"/>
                  </a:lnTo>
                  <a:lnTo>
                    <a:pt x="37" y="47"/>
                  </a:lnTo>
                  <a:lnTo>
                    <a:pt x="37" y="6"/>
                  </a:lnTo>
                  <a:lnTo>
                    <a:pt x="13" y="0"/>
                  </a:lnTo>
                  <a:lnTo>
                    <a:pt x="1" y="18"/>
                  </a:lnTo>
                  <a:lnTo>
                    <a:pt x="8" y="20"/>
                  </a:lnTo>
                  <a:lnTo>
                    <a:pt x="0" y="84"/>
                  </a:lnTo>
                  <a:lnTo>
                    <a:pt x="13" y="83"/>
                  </a:lnTo>
                  <a:close/>
                </a:path>
              </a:pathLst>
            </a:custGeom>
            <a:grpFill/>
            <a:ln w="9525" cmpd="sng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8" name="Freeform 29"/>
            <p:cNvSpPr>
              <a:spLocks/>
            </p:cNvSpPr>
            <p:nvPr/>
          </p:nvSpPr>
          <p:spPr bwMode="auto">
            <a:xfrm>
              <a:off x="2911612" y="2097088"/>
              <a:ext cx="1114420" cy="983086"/>
            </a:xfrm>
            <a:custGeom>
              <a:avLst/>
              <a:gdLst/>
              <a:ahLst/>
              <a:cxnLst>
                <a:cxn ang="0">
                  <a:pos x="203" y="645"/>
                </a:cxn>
                <a:cxn ang="0">
                  <a:pos x="191" y="598"/>
                </a:cxn>
                <a:cxn ang="0">
                  <a:pos x="132" y="466"/>
                </a:cxn>
                <a:cxn ang="0">
                  <a:pos x="60" y="370"/>
                </a:cxn>
                <a:cxn ang="0">
                  <a:pos x="108" y="311"/>
                </a:cxn>
                <a:cxn ang="0">
                  <a:pos x="0" y="36"/>
                </a:cxn>
                <a:cxn ang="0">
                  <a:pos x="36" y="0"/>
                </a:cxn>
                <a:cxn ang="0">
                  <a:pos x="311" y="155"/>
                </a:cxn>
                <a:cxn ang="0">
                  <a:pos x="478" y="191"/>
                </a:cxn>
                <a:cxn ang="0">
                  <a:pos x="574" y="179"/>
                </a:cxn>
                <a:cxn ang="0">
                  <a:pos x="670" y="347"/>
                </a:cxn>
                <a:cxn ang="0">
                  <a:pos x="777" y="406"/>
                </a:cxn>
                <a:cxn ang="0">
                  <a:pos x="837" y="347"/>
                </a:cxn>
                <a:cxn ang="0">
                  <a:pos x="909" y="454"/>
                </a:cxn>
                <a:cxn ang="0">
                  <a:pos x="969" y="574"/>
                </a:cxn>
                <a:cxn ang="0">
                  <a:pos x="1112" y="645"/>
                </a:cxn>
                <a:cxn ang="0">
                  <a:pos x="1065" y="717"/>
                </a:cxn>
                <a:cxn ang="0">
                  <a:pos x="1088" y="944"/>
                </a:cxn>
                <a:cxn ang="0">
                  <a:pos x="1136" y="1052"/>
                </a:cxn>
                <a:cxn ang="0">
                  <a:pos x="1232" y="1147"/>
                </a:cxn>
                <a:cxn ang="0">
                  <a:pos x="1304" y="1159"/>
                </a:cxn>
                <a:cxn ang="0">
                  <a:pos x="1435" y="1159"/>
                </a:cxn>
                <a:cxn ang="0">
                  <a:pos x="1519" y="980"/>
                </a:cxn>
                <a:cxn ang="0">
                  <a:pos x="1746" y="956"/>
                </a:cxn>
                <a:cxn ang="0">
                  <a:pos x="1722" y="1028"/>
                </a:cxn>
                <a:cxn ang="0">
                  <a:pos x="1699" y="1171"/>
                </a:cxn>
                <a:cxn ang="0">
                  <a:pos x="1675" y="1135"/>
                </a:cxn>
                <a:cxn ang="0">
                  <a:pos x="1603" y="1207"/>
                </a:cxn>
                <a:cxn ang="0">
                  <a:pos x="1471" y="1231"/>
                </a:cxn>
                <a:cxn ang="0">
                  <a:pos x="1507" y="1303"/>
                </a:cxn>
                <a:cxn ang="0">
                  <a:pos x="1447" y="1339"/>
                </a:cxn>
                <a:cxn ang="0">
                  <a:pos x="1364" y="1422"/>
                </a:cxn>
                <a:cxn ang="0">
                  <a:pos x="1256" y="1327"/>
                </a:cxn>
                <a:cxn ang="0">
                  <a:pos x="1136" y="1351"/>
                </a:cxn>
                <a:cxn ang="0">
                  <a:pos x="801" y="1207"/>
                </a:cxn>
                <a:cxn ang="0">
                  <a:pos x="562" y="1028"/>
                </a:cxn>
                <a:cxn ang="0">
                  <a:pos x="598" y="932"/>
                </a:cxn>
                <a:cxn ang="0">
                  <a:pos x="443" y="681"/>
                </a:cxn>
                <a:cxn ang="0">
                  <a:pos x="359" y="586"/>
                </a:cxn>
                <a:cxn ang="0">
                  <a:pos x="335" y="502"/>
                </a:cxn>
                <a:cxn ang="0">
                  <a:pos x="299" y="406"/>
                </a:cxn>
                <a:cxn ang="0">
                  <a:pos x="203" y="155"/>
                </a:cxn>
                <a:cxn ang="0">
                  <a:pos x="108" y="84"/>
                </a:cxn>
                <a:cxn ang="0">
                  <a:pos x="108" y="239"/>
                </a:cxn>
                <a:cxn ang="0">
                  <a:pos x="215" y="466"/>
                </a:cxn>
                <a:cxn ang="0">
                  <a:pos x="239" y="562"/>
                </a:cxn>
                <a:cxn ang="0">
                  <a:pos x="275" y="669"/>
                </a:cxn>
                <a:cxn ang="0">
                  <a:pos x="335" y="741"/>
                </a:cxn>
                <a:cxn ang="0">
                  <a:pos x="287" y="777"/>
                </a:cxn>
                <a:cxn ang="0">
                  <a:pos x="263" y="705"/>
                </a:cxn>
              </a:cxnLst>
              <a:rect l="0" t="0" r="r" b="b"/>
              <a:pathLst>
                <a:path w="1746" h="1422">
                  <a:moveTo>
                    <a:pt x="263" y="705"/>
                  </a:moveTo>
                  <a:lnTo>
                    <a:pt x="203" y="645"/>
                  </a:lnTo>
                  <a:lnTo>
                    <a:pt x="179" y="621"/>
                  </a:lnTo>
                  <a:lnTo>
                    <a:pt x="191" y="598"/>
                  </a:lnTo>
                  <a:lnTo>
                    <a:pt x="191" y="538"/>
                  </a:lnTo>
                  <a:lnTo>
                    <a:pt x="132" y="466"/>
                  </a:lnTo>
                  <a:lnTo>
                    <a:pt x="48" y="382"/>
                  </a:lnTo>
                  <a:lnTo>
                    <a:pt x="60" y="370"/>
                  </a:lnTo>
                  <a:lnTo>
                    <a:pt x="108" y="370"/>
                  </a:lnTo>
                  <a:lnTo>
                    <a:pt x="108" y="311"/>
                  </a:lnTo>
                  <a:lnTo>
                    <a:pt x="36" y="227"/>
                  </a:lnTo>
                  <a:lnTo>
                    <a:pt x="0" y="36"/>
                  </a:lnTo>
                  <a:lnTo>
                    <a:pt x="0" y="0"/>
                  </a:lnTo>
                  <a:lnTo>
                    <a:pt x="36" y="0"/>
                  </a:lnTo>
                  <a:lnTo>
                    <a:pt x="120" y="12"/>
                  </a:lnTo>
                  <a:lnTo>
                    <a:pt x="311" y="155"/>
                  </a:lnTo>
                  <a:lnTo>
                    <a:pt x="359" y="179"/>
                  </a:lnTo>
                  <a:lnTo>
                    <a:pt x="478" y="191"/>
                  </a:lnTo>
                  <a:lnTo>
                    <a:pt x="478" y="167"/>
                  </a:lnTo>
                  <a:lnTo>
                    <a:pt x="574" y="179"/>
                  </a:lnTo>
                  <a:lnTo>
                    <a:pt x="658" y="275"/>
                  </a:lnTo>
                  <a:lnTo>
                    <a:pt x="670" y="347"/>
                  </a:lnTo>
                  <a:lnTo>
                    <a:pt x="754" y="406"/>
                  </a:lnTo>
                  <a:lnTo>
                    <a:pt x="777" y="406"/>
                  </a:lnTo>
                  <a:lnTo>
                    <a:pt x="789" y="359"/>
                  </a:lnTo>
                  <a:lnTo>
                    <a:pt x="837" y="347"/>
                  </a:lnTo>
                  <a:lnTo>
                    <a:pt x="873" y="370"/>
                  </a:lnTo>
                  <a:lnTo>
                    <a:pt x="909" y="454"/>
                  </a:lnTo>
                  <a:lnTo>
                    <a:pt x="969" y="538"/>
                  </a:lnTo>
                  <a:lnTo>
                    <a:pt x="969" y="574"/>
                  </a:lnTo>
                  <a:lnTo>
                    <a:pt x="1005" y="621"/>
                  </a:lnTo>
                  <a:lnTo>
                    <a:pt x="1112" y="645"/>
                  </a:lnTo>
                  <a:lnTo>
                    <a:pt x="1112" y="693"/>
                  </a:lnTo>
                  <a:lnTo>
                    <a:pt x="1065" y="717"/>
                  </a:lnTo>
                  <a:lnTo>
                    <a:pt x="1065" y="920"/>
                  </a:lnTo>
                  <a:lnTo>
                    <a:pt x="1088" y="944"/>
                  </a:lnTo>
                  <a:lnTo>
                    <a:pt x="1088" y="992"/>
                  </a:lnTo>
                  <a:lnTo>
                    <a:pt x="1136" y="1052"/>
                  </a:lnTo>
                  <a:lnTo>
                    <a:pt x="1148" y="1124"/>
                  </a:lnTo>
                  <a:lnTo>
                    <a:pt x="1232" y="1147"/>
                  </a:lnTo>
                  <a:lnTo>
                    <a:pt x="1256" y="1195"/>
                  </a:lnTo>
                  <a:lnTo>
                    <a:pt x="1304" y="1159"/>
                  </a:lnTo>
                  <a:lnTo>
                    <a:pt x="1423" y="1147"/>
                  </a:lnTo>
                  <a:lnTo>
                    <a:pt x="1435" y="1159"/>
                  </a:lnTo>
                  <a:lnTo>
                    <a:pt x="1495" y="1100"/>
                  </a:lnTo>
                  <a:lnTo>
                    <a:pt x="1519" y="980"/>
                  </a:lnTo>
                  <a:lnTo>
                    <a:pt x="1675" y="944"/>
                  </a:lnTo>
                  <a:lnTo>
                    <a:pt x="1746" y="956"/>
                  </a:lnTo>
                  <a:lnTo>
                    <a:pt x="1746" y="1016"/>
                  </a:lnTo>
                  <a:lnTo>
                    <a:pt x="1722" y="1028"/>
                  </a:lnTo>
                  <a:lnTo>
                    <a:pt x="1699" y="1076"/>
                  </a:lnTo>
                  <a:lnTo>
                    <a:pt x="1699" y="1171"/>
                  </a:lnTo>
                  <a:lnTo>
                    <a:pt x="1675" y="1159"/>
                  </a:lnTo>
                  <a:lnTo>
                    <a:pt x="1675" y="1135"/>
                  </a:lnTo>
                  <a:lnTo>
                    <a:pt x="1651" y="1135"/>
                  </a:lnTo>
                  <a:lnTo>
                    <a:pt x="1603" y="1207"/>
                  </a:lnTo>
                  <a:lnTo>
                    <a:pt x="1483" y="1207"/>
                  </a:lnTo>
                  <a:lnTo>
                    <a:pt x="1471" y="1231"/>
                  </a:lnTo>
                  <a:lnTo>
                    <a:pt x="1447" y="1231"/>
                  </a:lnTo>
                  <a:lnTo>
                    <a:pt x="1507" y="1303"/>
                  </a:lnTo>
                  <a:lnTo>
                    <a:pt x="1519" y="1327"/>
                  </a:lnTo>
                  <a:lnTo>
                    <a:pt x="1447" y="1339"/>
                  </a:lnTo>
                  <a:lnTo>
                    <a:pt x="1388" y="1410"/>
                  </a:lnTo>
                  <a:lnTo>
                    <a:pt x="1364" y="1422"/>
                  </a:lnTo>
                  <a:lnTo>
                    <a:pt x="1340" y="1363"/>
                  </a:lnTo>
                  <a:lnTo>
                    <a:pt x="1256" y="1327"/>
                  </a:lnTo>
                  <a:lnTo>
                    <a:pt x="1220" y="1327"/>
                  </a:lnTo>
                  <a:lnTo>
                    <a:pt x="1136" y="1351"/>
                  </a:lnTo>
                  <a:lnTo>
                    <a:pt x="1041" y="1327"/>
                  </a:lnTo>
                  <a:lnTo>
                    <a:pt x="801" y="1207"/>
                  </a:lnTo>
                  <a:lnTo>
                    <a:pt x="646" y="1112"/>
                  </a:lnTo>
                  <a:lnTo>
                    <a:pt x="562" y="1028"/>
                  </a:lnTo>
                  <a:lnTo>
                    <a:pt x="550" y="992"/>
                  </a:lnTo>
                  <a:lnTo>
                    <a:pt x="598" y="932"/>
                  </a:lnTo>
                  <a:lnTo>
                    <a:pt x="550" y="837"/>
                  </a:lnTo>
                  <a:lnTo>
                    <a:pt x="443" y="681"/>
                  </a:lnTo>
                  <a:lnTo>
                    <a:pt x="443" y="645"/>
                  </a:lnTo>
                  <a:lnTo>
                    <a:pt x="359" y="586"/>
                  </a:lnTo>
                  <a:lnTo>
                    <a:pt x="383" y="538"/>
                  </a:lnTo>
                  <a:lnTo>
                    <a:pt x="335" y="502"/>
                  </a:lnTo>
                  <a:lnTo>
                    <a:pt x="299" y="430"/>
                  </a:lnTo>
                  <a:lnTo>
                    <a:pt x="299" y="406"/>
                  </a:lnTo>
                  <a:lnTo>
                    <a:pt x="215" y="323"/>
                  </a:lnTo>
                  <a:lnTo>
                    <a:pt x="203" y="155"/>
                  </a:lnTo>
                  <a:lnTo>
                    <a:pt x="179" y="119"/>
                  </a:lnTo>
                  <a:lnTo>
                    <a:pt x="108" y="84"/>
                  </a:lnTo>
                  <a:lnTo>
                    <a:pt x="96" y="96"/>
                  </a:lnTo>
                  <a:lnTo>
                    <a:pt x="108" y="239"/>
                  </a:lnTo>
                  <a:lnTo>
                    <a:pt x="167" y="299"/>
                  </a:lnTo>
                  <a:lnTo>
                    <a:pt x="215" y="466"/>
                  </a:lnTo>
                  <a:lnTo>
                    <a:pt x="239" y="502"/>
                  </a:lnTo>
                  <a:lnTo>
                    <a:pt x="239" y="562"/>
                  </a:lnTo>
                  <a:lnTo>
                    <a:pt x="263" y="586"/>
                  </a:lnTo>
                  <a:lnTo>
                    <a:pt x="275" y="669"/>
                  </a:lnTo>
                  <a:lnTo>
                    <a:pt x="323" y="717"/>
                  </a:lnTo>
                  <a:lnTo>
                    <a:pt x="335" y="741"/>
                  </a:lnTo>
                  <a:lnTo>
                    <a:pt x="311" y="789"/>
                  </a:lnTo>
                  <a:lnTo>
                    <a:pt x="287" y="777"/>
                  </a:lnTo>
                  <a:lnTo>
                    <a:pt x="287" y="741"/>
                  </a:lnTo>
                  <a:lnTo>
                    <a:pt x="263" y="705"/>
                  </a:lnTo>
                  <a:close/>
                </a:path>
              </a:pathLst>
            </a:custGeom>
            <a:grpFill/>
            <a:ln w="9525" cmpd="sng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29" name="Group 36"/>
          <p:cNvGrpSpPr/>
          <p:nvPr/>
        </p:nvGrpSpPr>
        <p:grpSpPr>
          <a:xfrm>
            <a:off x="7310935" y="1179088"/>
            <a:ext cx="3592350" cy="4176712"/>
            <a:chOff x="2911612" y="2097088"/>
            <a:chExt cx="3316015" cy="4176712"/>
          </a:xfrm>
          <a:solidFill>
            <a:srgbClr val="263143"/>
          </a:solidFill>
        </p:grpSpPr>
        <p:sp>
          <p:nvSpPr>
            <p:cNvPr id="30" name="Freeform 5"/>
            <p:cNvSpPr>
              <a:spLocks/>
            </p:cNvSpPr>
            <p:nvPr/>
          </p:nvSpPr>
          <p:spPr bwMode="auto">
            <a:xfrm>
              <a:off x="3918352" y="3022593"/>
              <a:ext cx="269848" cy="140441"/>
            </a:xfrm>
            <a:custGeom>
              <a:avLst/>
              <a:gdLst/>
              <a:ahLst/>
              <a:cxnLst>
                <a:cxn ang="0">
                  <a:pos x="59" y="82"/>
                </a:cxn>
                <a:cxn ang="0">
                  <a:pos x="53" y="70"/>
                </a:cxn>
                <a:cxn ang="0">
                  <a:pos x="41" y="76"/>
                </a:cxn>
                <a:cxn ang="0">
                  <a:pos x="30" y="70"/>
                </a:cxn>
                <a:cxn ang="0">
                  <a:pos x="18" y="59"/>
                </a:cxn>
                <a:cxn ang="0">
                  <a:pos x="0" y="59"/>
                </a:cxn>
                <a:cxn ang="0">
                  <a:pos x="6" y="47"/>
                </a:cxn>
                <a:cxn ang="0">
                  <a:pos x="13" y="28"/>
                </a:cxn>
                <a:cxn ang="0">
                  <a:pos x="30" y="18"/>
                </a:cxn>
                <a:cxn ang="0">
                  <a:pos x="41" y="12"/>
                </a:cxn>
                <a:cxn ang="0">
                  <a:pos x="59" y="6"/>
                </a:cxn>
                <a:cxn ang="0">
                  <a:pos x="77" y="6"/>
                </a:cxn>
                <a:cxn ang="0">
                  <a:pos x="88" y="12"/>
                </a:cxn>
                <a:cxn ang="0">
                  <a:pos x="124" y="0"/>
                </a:cxn>
                <a:cxn ang="0">
                  <a:pos x="171" y="6"/>
                </a:cxn>
                <a:cxn ang="0">
                  <a:pos x="201" y="23"/>
                </a:cxn>
                <a:cxn ang="0">
                  <a:pos x="208" y="31"/>
                </a:cxn>
                <a:cxn ang="0">
                  <a:pos x="183" y="35"/>
                </a:cxn>
                <a:cxn ang="0">
                  <a:pos x="165" y="47"/>
                </a:cxn>
                <a:cxn ang="0">
                  <a:pos x="148" y="41"/>
                </a:cxn>
                <a:cxn ang="0">
                  <a:pos x="130" y="65"/>
                </a:cxn>
                <a:cxn ang="0">
                  <a:pos x="88" y="76"/>
                </a:cxn>
                <a:cxn ang="0">
                  <a:pos x="82" y="100"/>
                </a:cxn>
                <a:cxn ang="0">
                  <a:pos x="65" y="94"/>
                </a:cxn>
                <a:cxn ang="0">
                  <a:pos x="59" y="82"/>
                </a:cxn>
              </a:cxnLst>
              <a:rect l="0" t="0" r="r" b="b"/>
              <a:pathLst>
                <a:path w="208" h="100">
                  <a:moveTo>
                    <a:pt x="59" y="82"/>
                  </a:moveTo>
                  <a:lnTo>
                    <a:pt x="53" y="70"/>
                  </a:lnTo>
                  <a:lnTo>
                    <a:pt x="41" y="76"/>
                  </a:lnTo>
                  <a:lnTo>
                    <a:pt x="30" y="70"/>
                  </a:lnTo>
                  <a:lnTo>
                    <a:pt x="18" y="59"/>
                  </a:lnTo>
                  <a:lnTo>
                    <a:pt x="0" y="59"/>
                  </a:lnTo>
                  <a:lnTo>
                    <a:pt x="6" y="47"/>
                  </a:lnTo>
                  <a:lnTo>
                    <a:pt x="13" y="28"/>
                  </a:lnTo>
                  <a:lnTo>
                    <a:pt x="30" y="18"/>
                  </a:lnTo>
                  <a:lnTo>
                    <a:pt x="41" y="12"/>
                  </a:lnTo>
                  <a:lnTo>
                    <a:pt x="59" y="6"/>
                  </a:lnTo>
                  <a:lnTo>
                    <a:pt x="77" y="6"/>
                  </a:lnTo>
                  <a:lnTo>
                    <a:pt x="88" y="12"/>
                  </a:lnTo>
                  <a:lnTo>
                    <a:pt x="124" y="0"/>
                  </a:lnTo>
                  <a:lnTo>
                    <a:pt x="171" y="6"/>
                  </a:lnTo>
                  <a:lnTo>
                    <a:pt x="201" y="23"/>
                  </a:lnTo>
                  <a:lnTo>
                    <a:pt x="208" y="31"/>
                  </a:lnTo>
                  <a:lnTo>
                    <a:pt x="183" y="35"/>
                  </a:lnTo>
                  <a:lnTo>
                    <a:pt x="165" y="47"/>
                  </a:lnTo>
                  <a:lnTo>
                    <a:pt x="148" y="41"/>
                  </a:lnTo>
                  <a:lnTo>
                    <a:pt x="130" y="65"/>
                  </a:lnTo>
                  <a:lnTo>
                    <a:pt x="88" y="76"/>
                  </a:lnTo>
                  <a:lnTo>
                    <a:pt x="82" y="100"/>
                  </a:lnTo>
                  <a:lnTo>
                    <a:pt x="65" y="94"/>
                  </a:lnTo>
                  <a:lnTo>
                    <a:pt x="59" y="82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1" name="Freeform 6"/>
            <p:cNvSpPr>
              <a:spLocks/>
            </p:cNvSpPr>
            <p:nvPr/>
          </p:nvSpPr>
          <p:spPr bwMode="auto">
            <a:xfrm>
              <a:off x="4700651" y="4563230"/>
              <a:ext cx="249090" cy="1710570"/>
            </a:xfrm>
            <a:custGeom>
              <a:avLst/>
              <a:gdLst/>
              <a:ahLst/>
              <a:cxnLst>
                <a:cxn ang="0">
                  <a:pos x="184" y="1144"/>
                </a:cxn>
                <a:cxn ang="0">
                  <a:pos x="163" y="1128"/>
                </a:cxn>
                <a:cxn ang="0">
                  <a:pos x="104" y="1088"/>
                </a:cxn>
                <a:cxn ang="0">
                  <a:pos x="76" y="1049"/>
                </a:cxn>
                <a:cxn ang="0">
                  <a:pos x="85" y="988"/>
                </a:cxn>
                <a:cxn ang="0">
                  <a:pos x="86" y="883"/>
                </a:cxn>
                <a:cxn ang="0">
                  <a:pos x="64" y="817"/>
                </a:cxn>
                <a:cxn ang="0">
                  <a:pos x="68" y="703"/>
                </a:cxn>
                <a:cxn ang="0">
                  <a:pos x="65" y="625"/>
                </a:cxn>
                <a:cxn ang="0">
                  <a:pos x="82" y="574"/>
                </a:cxn>
                <a:cxn ang="0">
                  <a:pos x="57" y="449"/>
                </a:cxn>
                <a:cxn ang="0">
                  <a:pos x="83" y="350"/>
                </a:cxn>
                <a:cxn ang="0">
                  <a:pos x="102" y="221"/>
                </a:cxn>
                <a:cxn ang="0">
                  <a:pos x="139" y="167"/>
                </a:cxn>
                <a:cxn ang="0">
                  <a:pos x="106" y="131"/>
                </a:cxn>
                <a:cxn ang="0">
                  <a:pos x="86" y="53"/>
                </a:cxn>
                <a:cxn ang="0">
                  <a:pos x="69" y="12"/>
                </a:cxn>
                <a:cxn ang="0">
                  <a:pos x="25" y="20"/>
                </a:cxn>
                <a:cxn ang="0">
                  <a:pos x="45" y="110"/>
                </a:cxn>
                <a:cxn ang="0">
                  <a:pos x="37" y="204"/>
                </a:cxn>
                <a:cxn ang="0">
                  <a:pos x="25" y="380"/>
                </a:cxn>
                <a:cxn ang="0">
                  <a:pos x="25" y="425"/>
                </a:cxn>
                <a:cxn ang="0">
                  <a:pos x="12" y="645"/>
                </a:cxn>
                <a:cxn ang="0">
                  <a:pos x="0" y="674"/>
                </a:cxn>
                <a:cxn ang="0">
                  <a:pos x="12" y="777"/>
                </a:cxn>
                <a:cxn ang="0">
                  <a:pos x="49" y="789"/>
                </a:cxn>
                <a:cxn ang="0">
                  <a:pos x="40" y="832"/>
                </a:cxn>
                <a:cxn ang="0">
                  <a:pos x="41" y="883"/>
                </a:cxn>
                <a:cxn ang="0">
                  <a:pos x="41" y="940"/>
                </a:cxn>
                <a:cxn ang="0">
                  <a:pos x="29" y="932"/>
                </a:cxn>
                <a:cxn ang="0">
                  <a:pos x="17" y="944"/>
                </a:cxn>
                <a:cxn ang="0">
                  <a:pos x="41" y="969"/>
                </a:cxn>
                <a:cxn ang="0">
                  <a:pos x="41" y="1009"/>
                </a:cxn>
                <a:cxn ang="0">
                  <a:pos x="41" y="1067"/>
                </a:cxn>
                <a:cxn ang="0">
                  <a:pos x="82" y="1140"/>
                </a:cxn>
                <a:cxn ang="0">
                  <a:pos x="139" y="1210"/>
                </a:cxn>
                <a:cxn ang="0">
                  <a:pos x="192" y="1218"/>
                </a:cxn>
              </a:cxnLst>
              <a:rect l="0" t="0" r="r" b="b"/>
              <a:pathLst>
                <a:path w="192" h="1218">
                  <a:moveTo>
                    <a:pt x="192" y="1218"/>
                  </a:moveTo>
                  <a:lnTo>
                    <a:pt x="184" y="1144"/>
                  </a:lnTo>
                  <a:lnTo>
                    <a:pt x="163" y="1144"/>
                  </a:lnTo>
                  <a:lnTo>
                    <a:pt x="163" y="1128"/>
                  </a:lnTo>
                  <a:lnTo>
                    <a:pt x="111" y="1128"/>
                  </a:lnTo>
                  <a:lnTo>
                    <a:pt x="104" y="1088"/>
                  </a:lnTo>
                  <a:lnTo>
                    <a:pt x="82" y="1087"/>
                  </a:lnTo>
                  <a:lnTo>
                    <a:pt x="76" y="1049"/>
                  </a:lnTo>
                  <a:lnTo>
                    <a:pt x="91" y="1013"/>
                  </a:lnTo>
                  <a:lnTo>
                    <a:pt x="85" y="988"/>
                  </a:lnTo>
                  <a:lnTo>
                    <a:pt x="90" y="969"/>
                  </a:lnTo>
                  <a:lnTo>
                    <a:pt x="86" y="883"/>
                  </a:lnTo>
                  <a:lnTo>
                    <a:pt x="78" y="879"/>
                  </a:lnTo>
                  <a:lnTo>
                    <a:pt x="64" y="817"/>
                  </a:lnTo>
                  <a:lnTo>
                    <a:pt x="70" y="788"/>
                  </a:lnTo>
                  <a:lnTo>
                    <a:pt x="68" y="703"/>
                  </a:lnTo>
                  <a:lnTo>
                    <a:pt x="69" y="678"/>
                  </a:lnTo>
                  <a:lnTo>
                    <a:pt x="65" y="625"/>
                  </a:lnTo>
                  <a:lnTo>
                    <a:pt x="82" y="611"/>
                  </a:lnTo>
                  <a:lnTo>
                    <a:pt x="82" y="574"/>
                  </a:lnTo>
                  <a:lnTo>
                    <a:pt x="92" y="536"/>
                  </a:lnTo>
                  <a:lnTo>
                    <a:pt x="57" y="449"/>
                  </a:lnTo>
                  <a:lnTo>
                    <a:pt x="77" y="406"/>
                  </a:lnTo>
                  <a:lnTo>
                    <a:pt x="83" y="350"/>
                  </a:lnTo>
                  <a:lnTo>
                    <a:pt x="113" y="299"/>
                  </a:lnTo>
                  <a:lnTo>
                    <a:pt x="102" y="221"/>
                  </a:lnTo>
                  <a:lnTo>
                    <a:pt x="142" y="202"/>
                  </a:lnTo>
                  <a:lnTo>
                    <a:pt x="139" y="167"/>
                  </a:lnTo>
                  <a:lnTo>
                    <a:pt x="111" y="171"/>
                  </a:lnTo>
                  <a:lnTo>
                    <a:pt x="106" y="131"/>
                  </a:lnTo>
                  <a:lnTo>
                    <a:pt x="86" y="81"/>
                  </a:lnTo>
                  <a:lnTo>
                    <a:pt x="86" y="53"/>
                  </a:lnTo>
                  <a:lnTo>
                    <a:pt x="69" y="37"/>
                  </a:lnTo>
                  <a:lnTo>
                    <a:pt x="69" y="12"/>
                  </a:lnTo>
                  <a:lnTo>
                    <a:pt x="53" y="0"/>
                  </a:lnTo>
                  <a:lnTo>
                    <a:pt x="25" y="20"/>
                  </a:lnTo>
                  <a:lnTo>
                    <a:pt x="33" y="24"/>
                  </a:lnTo>
                  <a:lnTo>
                    <a:pt x="45" y="110"/>
                  </a:lnTo>
                  <a:lnTo>
                    <a:pt x="45" y="159"/>
                  </a:lnTo>
                  <a:lnTo>
                    <a:pt x="37" y="204"/>
                  </a:lnTo>
                  <a:lnTo>
                    <a:pt x="41" y="298"/>
                  </a:lnTo>
                  <a:lnTo>
                    <a:pt x="25" y="380"/>
                  </a:lnTo>
                  <a:lnTo>
                    <a:pt x="37" y="405"/>
                  </a:lnTo>
                  <a:lnTo>
                    <a:pt x="25" y="425"/>
                  </a:lnTo>
                  <a:lnTo>
                    <a:pt x="41" y="490"/>
                  </a:lnTo>
                  <a:lnTo>
                    <a:pt x="12" y="645"/>
                  </a:lnTo>
                  <a:lnTo>
                    <a:pt x="0" y="645"/>
                  </a:lnTo>
                  <a:lnTo>
                    <a:pt x="0" y="674"/>
                  </a:lnTo>
                  <a:lnTo>
                    <a:pt x="21" y="711"/>
                  </a:lnTo>
                  <a:lnTo>
                    <a:pt x="12" y="777"/>
                  </a:lnTo>
                  <a:lnTo>
                    <a:pt x="25" y="797"/>
                  </a:lnTo>
                  <a:lnTo>
                    <a:pt x="49" y="789"/>
                  </a:lnTo>
                  <a:lnTo>
                    <a:pt x="50" y="830"/>
                  </a:lnTo>
                  <a:lnTo>
                    <a:pt x="40" y="832"/>
                  </a:lnTo>
                  <a:lnTo>
                    <a:pt x="34" y="854"/>
                  </a:lnTo>
                  <a:lnTo>
                    <a:pt x="41" y="883"/>
                  </a:lnTo>
                  <a:lnTo>
                    <a:pt x="53" y="889"/>
                  </a:lnTo>
                  <a:lnTo>
                    <a:pt x="41" y="940"/>
                  </a:lnTo>
                  <a:lnTo>
                    <a:pt x="33" y="948"/>
                  </a:lnTo>
                  <a:lnTo>
                    <a:pt x="29" y="932"/>
                  </a:lnTo>
                  <a:lnTo>
                    <a:pt x="17" y="932"/>
                  </a:lnTo>
                  <a:lnTo>
                    <a:pt x="17" y="944"/>
                  </a:lnTo>
                  <a:lnTo>
                    <a:pt x="17" y="965"/>
                  </a:lnTo>
                  <a:lnTo>
                    <a:pt x="41" y="969"/>
                  </a:lnTo>
                  <a:lnTo>
                    <a:pt x="37" y="993"/>
                  </a:lnTo>
                  <a:lnTo>
                    <a:pt x="41" y="1009"/>
                  </a:lnTo>
                  <a:lnTo>
                    <a:pt x="33" y="1030"/>
                  </a:lnTo>
                  <a:lnTo>
                    <a:pt x="41" y="1067"/>
                  </a:lnTo>
                  <a:lnTo>
                    <a:pt x="61" y="1103"/>
                  </a:lnTo>
                  <a:lnTo>
                    <a:pt x="82" y="1140"/>
                  </a:lnTo>
                  <a:lnTo>
                    <a:pt x="111" y="1157"/>
                  </a:lnTo>
                  <a:lnTo>
                    <a:pt x="139" y="1210"/>
                  </a:lnTo>
                  <a:lnTo>
                    <a:pt x="155" y="1218"/>
                  </a:lnTo>
                  <a:lnTo>
                    <a:pt x="192" y="1218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2" name="Freeform 7"/>
            <p:cNvSpPr>
              <a:spLocks/>
            </p:cNvSpPr>
            <p:nvPr/>
          </p:nvSpPr>
          <p:spPr bwMode="auto">
            <a:xfrm>
              <a:off x="5056124" y="4625024"/>
              <a:ext cx="332120" cy="374977"/>
            </a:xfrm>
            <a:custGeom>
              <a:avLst/>
              <a:gdLst/>
              <a:ahLst/>
              <a:cxnLst>
                <a:cxn ang="0">
                  <a:pos x="8" y="53"/>
                </a:cxn>
                <a:cxn ang="0">
                  <a:pos x="20" y="17"/>
                </a:cxn>
                <a:cxn ang="0">
                  <a:pos x="69" y="0"/>
                </a:cxn>
                <a:cxn ang="0">
                  <a:pos x="118" y="0"/>
                </a:cxn>
                <a:cxn ang="0">
                  <a:pos x="139" y="29"/>
                </a:cxn>
                <a:cxn ang="0">
                  <a:pos x="142" y="81"/>
                </a:cxn>
                <a:cxn ang="0">
                  <a:pos x="157" y="104"/>
                </a:cxn>
                <a:cxn ang="0">
                  <a:pos x="216" y="111"/>
                </a:cxn>
                <a:cxn ang="0">
                  <a:pos x="216" y="137"/>
                </a:cxn>
                <a:cxn ang="0">
                  <a:pos x="233" y="155"/>
                </a:cxn>
                <a:cxn ang="0">
                  <a:pos x="256" y="158"/>
                </a:cxn>
                <a:cxn ang="0">
                  <a:pos x="243" y="216"/>
                </a:cxn>
                <a:cxn ang="0">
                  <a:pos x="240" y="246"/>
                </a:cxn>
                <a:cxn ang="0">
                  <a:pos x="214" y="267"/>
                </a:cxn>
                <a:cxn ang="0">
                  <a:pos x="151" y="262"/>
                </a:cxn>
                <a:cxn ang="0">
                  <a:pos x="127" y="262"/>
                </a:cxn>
                <a:cxn ang="0">
                  <a:pos x="127" y="245"/>
                </a:cxn>
                <a:cxn ang="0">
                  <a:pos x="147" y="217"/>
                </a:cxn>
                <a:cxn ang="0">
                  <a:pos x="143" y="196"/>
                </a:cxn>
                <a:cxn ang="0">
                  <a:pos x="94" y="163"/>
                </a:cxn>
                <a:cxn ang="0">
                  <a:pos x="57" y="159"/>
                </a:cxn>
                <a:cxn ang="0">
                  <a:pos x="0" y="102"/>
                </a:cxn>
                <a:cxn ang="0">
                  <a:pos x="4" y="82"/>
                </a:cxn>
                <a:cxn ang="0">
                  <a:pos x="8" y="53"/>
                </a:cxn>
              </a:cxnLst>
              <a:rect l="0" t="0" r="r" b="b"/>
              <a:pathLst>
                <a:path w="256" h="267">
                  <a:moveTo>
                    <a:pt x="8" y="53"/>
                  </a:moveTo>
                  <a:lnTo>
                    <a:pt x="20" y="17"/>
                  </a:lnTo>
                  <a:lnTo>
                    <a:pt x="69" y="0"/>
                  </a:lnTo>
                  <a:lnTo>
                    <a:pt x="118" y="0"/>
                  </a:lnTo>
                  <a:lnTo>
                    <a:pt x="139" y="29"/>
                  </a:lnTo>
                  <a:lnTo>
                    <a:pt x="142" y="81"/>
                  </a:lnTo>
                  <a:lnTo>
                    <a:pt x="157" y="104"/>
                  </a:lnTo>
                  <a:lnTo>
                    <a:pt x="216" y="111"/>
                  </a:lnTo>
                  <a:lnTo>
                    <a:pt x="216" y="137"/>
                  </a:lnTo>
                  <a:lnTo>
                    <a:pt x="233" y="155"/>
                  </a:lnTo>
                  <a:lnTo>
                    <a:pt x="256" y="158"/>
                  </a:lnTo>
                  <a:lnTo>
                    <a:pt x="243" y="216"/>
                  </a:lnTo>
                  <a:lnTo>
                    <a:pt x="240" y="246"/>
                  </a:lnTo>
                  <a:lnTo>
                    <a:pt x="214" y="267"/>
                  </a:lnTo>
                  <a:lnTo>
                    <a:pt x="151" y="262"/>
                  </a:lnTo>
                  <a:lnTo>
                    <a:pt x="127" y="262"/>
                  </a:lnTo>
                  <a:lnTo>
                    <a:pt x="127" y="245"/>
                  </a:lnTo>
                  <a:lnTo>
                    <a:pt x="147" y="217"/>
                  </a:lnTo>
                  <a:lnTo>
                    <a:pt x="143" y="196"/>
                  </a:lnTo>
                  <a:lnTo>
                    <a:pt x="94" y="163"/>
                  </a:lnTo>
                  <a:lnTo>
                    <a:pt x="57" y="159"/>
                  </a:lnTo>
                  <a:lnTo>
                    <a:pt x="0" y="102"/>
                  </a:lnTo>
                  <a:lnTo>
                    <a:pt x="4" y="82"/>
                  </a:lnTo>
                  <a:lnTo>
                    <a:pt x="8" y="53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3" name="Freeform 8"/>
            <p:cNvSpPr>
              <a:spLocks/>
            </p:cNvSpPr>
            <p:nvPr/>
          </p:nvSpPr>
          <p:spPr bwMode="auto">
            <a:xfrm>
              <a:off x="4753843" y="4195275"/>
              <a:ext cx="498181" cy="613727"/>
            </a:xfrm>
            <a:custGeom>
              <a:avLst/>
              <a:gdLst/>
              <a:ahLst/>
              <a:cxnLst>
                <a:cxn ang="0">
                  <a:pos x="0" y="45"/>
                </a:cxn>
                <a:cxn ang="0">
                  <a:pos x="61" y="45"/>
                </a:cxn>
                <a:cxn ang="0">
                  <a:pos x="103" y="0"/>
                </a:cxn>
                <a:cxn ang="0">
                  <a:pos x="139" y="4"/>
                </a:cxn>
                <a:cxn ang="0">
                  <a:pos x="147" y="37"/>
                </a:cxn>
                <a:cxn ang="0">
                  <a:pos x="139" y="61"/>
                </a:cxn>
                <a:cxn ang="0">
                  <a:pos x="172" y="90"/>
                </a:cxn>
                <a:cxn ang="0">
                  <a:pos x="205" y="90"/>
                </a:cxn>
                <a:cxn ang="0">
                  <a:pos x="299" y="135"/>
                </a:cxn>
                <a:cxn ang="0">
                  <a:pos x="303" y="192"/>
                </a:cxn>
                <a:cxn ang="0">
                  <a:pos x="307" y="209"/>
                </a:cxn>
                <a:cxn ang="0">
                  <a:pos x="364" y="217"/>
                </a:cxn>
                <a:cxn ang="0">
                  <a:pos x="384" y="258"/>
                </a:cxn>
                <a:cxn ang="0">
                  <a:pos x="384" y="310"/>
                </a:cxn>
                <a:cxn ang="0">
                  <a:pos x="372" y="335"/>
                </a:cxn>
                <a:cxn ang="0">
                  <a:pos x="351" y="310"/>
                </a:cxn>
                <a:cxn ang="0">
                  <a:pos x="303" y="310"/>
                </a:cxn>
                <a:cxn ang="0">
                  <a:pos x="253" y="323"/>
                </a:cxn>
                <a:cxn ang="0">
                  <a:pos x="241" y="360"/>
                </a:cxn>
                <a:cxn ang="0">
                  <a:pos x="237" y="388"/>
                </a:cxn>
                <a:cxn ang="0">
                  <a:pos x="233" y="413"/>
                </a:cxn>
                <a:cxn ang="0">
                  <a:pos x="217" y="400"/>
                </a:cxn>
                <a:cxn ang="0">
                  <a:pos x="197" y="400"/>
                </a:cxn>
                <a:cxn ang="0">
                  <a:pos x="185" y="419"/>
                </a:cxn>
                <a:cxn ang="0">
                  <a:pos x="127" y="396"/>
                </a:cxn>
                <a:cxn ang="0">
                  <a:pos x="98" y="433"/>
                </a:cxn>
                <a:cxn ang="0">
                  <a:pos x="70" y="437"/>
                </a:cxn>
                <a:cxn ang="0">
                  <a:pos x="65" y="396"/>
                </a:cxn>
                <a:cxn ang="0">
                  <a:pos x="45" y="347"/>
                </a:cxn>
                <a:cxn ang="0">
                  <a:pos x="45" y="314"/>
                </a:cxn>
                <a:cxn ang="0">
                  <a:pos x="29" y="302"/>
                </a:cxn>
                <a:cxn ang="0">
                  <a:pos x="29" y="278"/>
                </a:cxn>
                <a:cxn ang="0">
                  <a:pos x="13" y="266"/>
                </a:cxn>
                <a:cxn ang="0">
                  <a:pos x="13" y="245"/>
                </a:cxn>
                <a:cxn ang="0">
                  <a:pos x="29" y="229"/>
                </a:cxn>
                <a:cxn ang="0">
                  <a:pos x="29" y="220"/>
                </a:cxn>
                <a:cxn ang="0">
                  <a:pos x="17" y="213"/>
                </a:cxn>
                <a:cxn ang="0">
                  <a:pos x="29" y="86"/>
                </a:cxn>
                <a:cxn ang="0">
                  <a:pos x="0" y="45"/>
                </a:cxn>
              </a:cxnLst>
              <a:rect l="0" t="0" r="r" b="b"/>
              <a:pathLst>
                <a:path w="384" h="437">
                  <a:moveTo>
                    <a:pt x="0" y="45"/>
                  </a:moveTo>
                  <a:lnTo>
                    <a:pt x="61" y="45"/>
                  </a:lnTo>
                  <a:lnTo>
                    <a:pt x="103" y="0"/>
                  </a:lnTo>
                  <a:lnTo>
                    <a:pt x="139" y="4"/>
                  </a:lnTo>
                  <a:lnTo>
                    <a:pt x="147" y="37"/>
                  </a:lnTo>
                  <a:lnTo>
                    <a:pt x="139" y="61"/>
                  </a:lnTo>
                  <a:lnTo>
                    <a:pt x="172" y="90"/>
                  </a:lnTo>
                  <a:lnTo>
                    <a:pt x="205" y="90"/>
                  </a:lnTo>
                  <a:lnTo>
                    <a:pt x="299" y="135"/>
                  </a:lnTo>
                  <a:lnTo>
                    <a:pt x="303" y="192"/>
                  </a:lnTo>
                  <a:lnTo>
                    <a:pt x="307" y="209"/>
                  </a:lnTo>
                  <a:lnTo>
                    <a:pt x="364" y="217"/>
                  </a:lnTo>
                  <a:lnTo>
                    <a:pt x="384" y="258"/>
                  </a:lnTo>
                  <a:lnTo>
                    <a:pt x="384" y="310"/>
                  </a:lnTo>
                  <a:lnTo>
                    <a:pt x="372" y="335"/>
                  </a:lnTo>
                  <a:lnTo>
                    <a:pt x="351" y="310"/>
                  </a:lnTo>
                  <a:lnTo>
                    <a:pt x="303" y="310"/>
                  </a:lnTo>
                  <a:lnTo>
                    <a:pt x="253" y="323"/>
                  </a:lnTo>
                  <a:lnTo>
                    <a:pt x="241" y="360"/>
                  </a:lnTo>
                  <a:lnTo>
                    <a:pt x="237" y="388"/>
                  </a:lnTo>
                  <a:lnTo>
                    <a:pt x="233" y="413"/>
                  </a:lnTo>
                  <a:lnTo>
                    <a:pt x="217" y="400"/>
                  </a:lnTo>
                  <a:lnTo>
                    <a:pt x="197" y="400"/>
                  </a:lnTo>
                  <a:lnTo>
                    <a:pt x="185" y="419"/>
                  </a:lnTo>
                  <a:lnTo>
                    <a:pt x="127" y="396"/>
                  </a:lnTo>
                  <a:lnTo>
                    <a:pt x="98" y="433"/>
                  </a:lnTo>
                  <a:lnTo>
                    <a:pt x="70" y="437"/>
                  </a:lnTo>
                  <a:lnTo>
                    <a:pt x="65" y="396"/>
                  </a:lnTo>
                  <a:lnTo>
                    <a:pt x="45" y="347"/>
                  </a:lnTo>
                  <a:lnTo>
                    <a:pt x="45" y="314"/>
                  </a:lnTo>
                  <a:lnTo>
                    <a:pt x="29" y="302"/>
                  </a:lnTo>
                  <a:lnTo>
                    <a:pt x="29" y="278"/>
                  </a:lnTo>
                  <a:lnTo>
                    <a:pt x="13" y="266"/>
                  </a:lnTo>
                  <a:lnTo>
                    <a:pt x="13" y="245"/>
                  </a:lnTo>
                  <a:lnTo>
                    <a:pt x="29" y="229"/>
                  </a:lnTo>
                  <a:lnTo>
                    <a:pt x="29" y="220"/>
                  </a:lnTo>
                  <a:lnTo>
                    <a:pt x="17" y="213"/>
                  </a:lnTo>
                  <a:lnTo>
                    <a:pt x="29" y="86"/>
                  </a:lnTo>
                  <a:lnTo>
                    <a:pt x="0" y="45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4" name="Freeform 9"/>
            <p:cNvSpPr>
              <a:spLocks/>
            </p:cNvSpPr>
            <p:nvPr/>
          </p:nvSpPr>
          <p:spPr bwMode="auto">
            <a:xfrm>
              <a:off x="5390839" y="3488857"/>
              <a:ext cx="129735" cy="171338"/>
            </a:xfrm>
            <a:custGeom>
              <a:avLst/>
              <a:gdLst/>
              <a:ahLst/>
              <a:cxnLst>
                <a:cxn ang="0">
                  <a:pos x="100" y="55"/>
                </a:cxn>
                <a:cxn ang="0">
                  <a:pos x="49" y="12"/>
                </a:cxn>
                <a:cxn ang="0">
                  <a:pos x="16" y="0"/>
                </a:cxn>
                <a:cxn ang="0">
                  <a:pos x="8" y="45"/>
                </a:cxn>
                <a:cxn ang="0">
                  <a:pos x="20" y="61"/>
                </a:cxn>
                <a:cxn ang="0">
                  <a:pos x="16" y="101"/>
                </a:cxn>
                <a:cxn ang="0">
                  <a:pos x="0" y="106"/>
                </a:cxn>
                <a:cxn ang="0">
                  <a:pos x="12" y="122"/>
                </a:cxn>
                <a:cxn ang="0">
                  <a:pos x="52" y="119"/>
                </a:cxn>
                <a:cxn ang="0">
                  <a:pos x="100" y="55"/>
                </a:cxn>
              </a:cxnLst>
              <a:rect l="0" t="0" r="r" b="b"/>
              <a:pathLst>
                <a:path w="100" h="122">
                  <a:moveTo>
                    <a:pt x="100" y="55"/>
                  </a:moveTo>
                  <a:lnTo>
                    <a:pt x="49" y="12"/>
                  </a:lnTo>
                  <a:lnTo>
                    <a:pt x="16" y="0"/>
                  </a:lnTo>
                  <a:lnTo>
                    <a:pt x="8" y="45"/>
                  </a:lnTo>
                  <a:lnTo>
                    <a:pt x="20" y="61"/>
                  </a:lnTo>
                  <a:lnTo>
                    <a:pt x="16" y="101"/>
                  </a:lnTo>
                  <a:lnTo>
                    <a:pt x="0" y="106"/>
                  </a:lnTo>
                  <a:lnTo>
                    <a:pt x="12" y="122"/>
                  </a:lnTo>
                  <a:lnTo>
                    <a:pt x="52" y="119"/>
                  </a:lnTo>
                  <a:lnTo>
                    <a:pt x="100" y="55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5" name="Freeform 10"/>
            <p:cNvSpPr>
              <a:spLocks/>
            </p:cNvSpPr>
            <p:nvPr/>
          </p:nvSpPr>
          <p:spPr bwMode="auto">
            <a:xfrm>
              <a:off x="4351665" y="3189718"/>
              <a:ext cx="503370" cy="748550"/>
            </a:xfrm>
            <a:custGeom>
              <a:avLst/>
              <a:gdLst/>
              <a:ahLst/>
              <a:cxnLst>
                <a:cxn ang="0">
                  <a:pos x="371" y="302"/>
                </a:cxn>
                <a:cxn ang="0">
                  <a:pos x="384" y="270"/>
                </a:cxn>
                <a:cxn ang="0">
                  <a:pos x="388" y="205"/>
                </a:cxn>
                <a:cxn ang="0">
                  <a:pos x="339" y="205"/>
                </a:cxn>
                <a:cxn ang="0">
                  <a:pos x="294" y="172"/>
                </a:cxn>
                <a:cxn ang="0">
                  <a:pos x="237" y="176"/>
                </a:cxn>
                <a:cxn ang="0">
                  <a:pos x="216" y="53"/>
                </a:cxn>
                <a:cxn ang="0">
                  <a:pos x="261" y="17"/>
                </a:cxn>
                <a:cxn ang="0">
                  <a:pos x="245" y="0"/>
                </a:cxn>
                <a:cxn ang="0">
                  <a:pos x="167" y="49"/>
                </a:cxn>
                <a:cxn ang="0">
                  <a:pos x="135" y="61"/>
                </a:cxn>
                <a:cxn ang="0">
                  <a:pos x="118" y="111"/>
                </a:cxn>
                <a:cxn ang="0">
                  <a:pos x="89" y="127"/>
                </a:cxn>
                <a:cxn ang="0">
                  <a:pos x="65" y="155"/>
                </a:cxn>
                <a:cxn ang="0">
                  <a:pos x="41" y="188"/>
                </a:cxn>
                <a:cxn ang="0">
                  <a:pos x="53" y="286"/>
                </a:cxn>
                <a:cxn ang="0">
                  <a:pos x="61" y="302"/>
                </a:cxn>
                <a:cxn ang="0">
                  <a:pos x="24" y="343"/>
                </a:cxn>
                <a:cxn ang="0">
                  <a:pos x="12" y="372"/>
                </a:cxn>
                <a:cxn ang="0">
                  <a:pos x="0" y="376"/>
                </a:cxn>
                <a:cxn ang="0">
                  <a:pos x="61" y="417"/>
                </a:cxn>
                <a:cxn ang="0">
                  <a:pos x="118" y="425"/>
                </a:cxn>
                <a:cxn ang="0">
                  <a:pos x="175" y="458"/>
                </a:cxn>
                <a:cxn ang="0">
                  <a:pos x="188" y="470"/>
                </a:cxn>
                <a:cxn ang="0">
                  <a:pos x="233" y="486"/>
                </a:cxn>
                <a:cxn ang="0">
                  <a:pos x="269" y="482"/>
                </a:cxn>
                <a:cxn ang="0">
                  <a:pos x="286" y="507"/>
                </a:cxn>
                <a:cxn ang="0">
                  <a:pos x="277" y="532"/>
                </a:cxn>
                <a:cxn ang="0">
                  <a:pos x="319" y="441"/>
                </a:cxn>
                <a:cxn ang="0">
                  <a:pos x="297" y="392"/>
                </a:cxn>
                <a:cxn ang="0">
                  <a:pos x="319" y="376"/>
                </a:cxn>
                <a:cxn ang="0">
                  <a:pos x="303" y="347"/>
                </a:cxn>
                <a:cxn ang="0">
                  <a:pos x="379" y="335"/>
                </a:cxn>
              </a:cxnLst>
              <a:rect l="0" t="0" r="r" b="b"/>
              <a:pathLst>
                <a:path w="388" h="533">
                  <a:moveTo>
                    <a:pt x="379" y="335"/>
                  </a:moveTo>
                  <a:lnTo>
                    <a:pt x="371" y="302"/>
                  </a:lnTo>
                  <a:lnTo>
                    <a:pt x="380" y="290"/>
                  </a:lnTo>
                  <a:lnTo>
                    <a:pt x="384" y="270"/>
                  </a:lnTo>
                  <a:lnTo>
                    <a:pt x="367" y="253"/>
                  </a:lnTo>
                  <a:lnTo>
                    <a:pt x="388" y="205"/>
                  </a:lnTo>
                  <a:lnTo>
                    <a:pt x="380" y="192"/>
                  </a:lnTo>
                  <a:lnTo>
                    <a:pt x="339" y="205"/>
                  </a:lnTo>
                  <a:lnTo>
                    <a:pt x="315" y="201"/>
                  </a:lnTo>
                  <a:lnTo>
                    <a:pt x="294" y="172"/>
                  </a:lnTo>
                  <a:lnTo>
                    <a:pt x="261" y="172"/>
                  </a:lnTo>
                  <a:lnTo>
                    <a:pt x="237" y="176"/>
                  </a:lnTo>
                  <a:lnTo>
                    <a:pt x="196" y="94"/>
                  </a:lnTo>
                  <a:lnTo>
                    <a:pt x="216" y="53"/>
                  </a:lnTo>
                  <a:lnTo>
                    <a:pt x="245" y="25"/>
                  </a:lnTo>
                  <a:lnTo>
                    <a:pt x="261" y="17"/>
                  </a:lnTo>
                  <a:lnTo>
                    <a:pt x="261" y="0"/>
                  </a:lnTo>
                  <a:lnTo>
                    <a:pt x="245" y="0"/>
                  </a:lnTo>
                  <a:lnTo>
                    <a:pt x="192" y="45"/>
                  </a:lnTo>
                  <a:lnTo>
                    <a:pt x="167" y="49"/>
                  </a:lnTo>
                  <a:lnTo>
                    <a:pt x="159" y="57"/>
                  </a:lnTo>
                  <a:lnTo>
                    <a:pt x="135" y="61"/>
                  </a:lnTo>
                  <a:lnTo>
                    <a:pt x="118" y="82"/>
                  </a:lnTo>
                  <a:lnTo>
                    <a:pt x="118" y="111"/>
                  </a:lnTo>
                  <a:lnTo>
                    <a:pt x="102" y="115"/>
                  </a:lnTo>
                  <a:lnTo>
                    <a:pt x="89" y="127"/>
                  </a:lnTo>
                  <a:lnTo>
                    <a:pt x="77" y="143"/>
                  </a:lnTo>
                  <a:lnTo>
                    <a:pt x="65" y="155"/>
                  </a:lnTo>
                  <a:lnTo>
                    <a:pt x="61" y="168"/>
                  </a:lnTo>
                  <a:lnTo>
                    <a:pt x="41" y="188"/>
                  </a:lnTo>
                  <a:lnTo>
                    <a:pt x="53" y="209"/>
                  </a:lnTo>
                  <a:lnTo>
                    <a:pt x="53" y="286"/>
                  </a:lnTo>
                  <a:lnTo>
                    <a:pt x="49" y="294"/>
                  </a:lnTo>
                  <a:lnTo>
                    <a:pt x="61" y="302"/>
                  </a:lnTo>
                  <a:lnTo>
                    <a:pt x="41" y="343"/>
                  </a:lnTo>
                  <a:lnTo>
                    <a:pt x="24" y="343"/>
                  </a:lnTo>
                  <a:lnTo>
                    <a:pt x="8" y="360"/>
                  </a:lnTo>
                  <a:lnTo>
                    <a:pt x="12" y="372"/>
                  </a:lnTo>
                  <a:lnTo>
                    <a:pt x="8" y="372"/>
                  </a:lnTo>
                  <a:lnTo>
                    <a:pt x="0" y="376"/>
                  </a:lnTo>
                  <a:lnTo>
                    <a:pt x="0" y="392"/>
                  </a:lnTo>
                  <a:lnTo>
                    <a:pt x="61" y="417"/>
                  </a:lnTo>
                  <a:lnTo>
                    <a:pt x="98" y="408"/>
                  </a:lnTo>
                  <a:lnTo>
                    <a:pt x="118" y="425"/>
                  </a:lnTo>
                  <a:lnTo>
                    <a:pt x="139" y="425"/>
                  </a:lnTo>
                  <a:lnTo>
                    <a:pt x="175" y="458"/>
                  </a:lnTo>
                  <a:lnTo>
                    <a:pt x="179" y="466"/>
                  </a:lnTo>
                  <a:lnTo>
                    <a:pt x="188" y="470"/>
                  </a:lnTo>
                  <a:lnTo>
                    <a:pt x="196" y="486"/>
                  </a:lnTo>
                  <a:lnTo>
                    <a:pt x="233" y="486"/>
                  </a:lnTo>
                  <a:lnTo>
                    <a:pt x="237" y="482"/>
                  </a:lnTo>
                  <a:lnTo>
                    <a:pt x="269" y="482"/>
                  </a:lnTo>
                  <a:lnTo>
                    <a:pt x="290" y="490"/>
                  </a:lnTo>
                  <a:lnTo>
                    <a:pt x="286" y="507"/>
                  </a:lnTo>
                  <a:lnTo>
                    <a:pt x="277" y="519"/>
                  </a:lnTo>
                  <a:lnTo>
                    <a:pt x="277" y="532"/>
                  </a:lnTo>
                  <a:lnTo>
                    <a:pt x="298" y="533"/>
                  </a:lnTo>
                  <a:lnTo>
                    <a:pt x="319" y="441"/>
                  </a:lnTo>
                  <a:lnTo>
                    <a:pt x="298" y="408"/>
                  </a:lnTo>
                  <a:lnTo>
                    <a:pt x="297" y="392"/>
                  </a:lnTo>
                  <a:lnTo>
                    <a:pt x="309" y="383"/>
                  </a:lnTo>
                  <a:lnTo>
                    <a:pt x="319" y="376"/>
                  </a:lnTo>
                  <a:lnTo>
                    <a:pt x="298" y="364"/>
                  </a:lnTo>
                  <a:lnTo>
                    <a:pt x="303" y="347"/>
                  </a:lnTo>
                  <a:lnTo>
                    <a:pt x="342" y="347"/>
                  </a:lnTo>
                  <a:lnTo>
                    <a:pt x="379" y="335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6" name="Freeform 11"/>
            <p:cNvSpPr>
              <a:spLocks/>
            </p:cNvSpPr>
            <p:nvPr/>
          </p:nvSpPr>
          <p:spPr bwMode="auto">
            <a:xfrm>
              <a:off x="3896297" y="3105454"/>
              <a:ext cx="106382" cy="49154"/>
            </a:xfrm>
            <a:custGeom>
              <a:avLst/>
              <a:gdLst/>
              <a:ahLst/>
              <a:cxnLst>
                <a:cxn ang="0">
                  <a:pos x="0" y="36"/>
                </a:cxn>
                <a:cxn ang="0">
                  <a:pos x="24" y="24"/>
                </a:cxn>
                <a:cxn ang="0">
                  <a:pos x="36" y="0"/>
                </a:cxn>
                <a:cxn ang="0">
                  <a:pos x="84" y="0"/>
                </a:cxn>
                <a:cxn ang="0">
                  <a:pos x="96" y="24"/>
                </a:cxn>
                <a:cxn ang="0">
                  <a:pos x="120" y="36"/>
                </a:cxn>
                <a:cxn ang="0">
                  <a:pos x="144" y="24"/>
                </a:cxn>
                <a:cxn ang="0">
                  <a:pos x="168" y="48"/>
                </a:cxn>
                <a:cxn ang="0">
                  <a:pos x="144" y="72"/>
                </a:cxn>
                <a:cxn ang="0">
                  <a:pos x="72" y="72"/>
                </a:cxn>
                <a:cxn ang="0">
                  <a:pos x="0" y="36"/>
                </a:cxn>
              </a:cxnLst>
              <a:rect l="0" t="0" r="r" b="b"/>
              <a:pathLst>
                <a:path w="168" h="72">
                  <a:moveTo>
                    <a:pt x="0" y="36"/>
                  </a:moveTo>
                  <a:lnTo>
                    <a:pt x="24" y="24"/>
                  </a:lnTo>
                  <a:lnTo>
                    <a:pt x="36" y="0"/>
                  </a:lnTo>
                  <a:lnTo>
                    <a:pt x="84" y="0"/>
                  </a:lnTo>
                  <a:lnTo>
                    <a:pt x="96" y="24"/>
                  </a:lnTo>
                  <a:lnTo>
                    <a:pt x="120" y="36"/>
                  </a:lnTo>
                  <a:lnTo>
                    <a:pt x="144" y="24"/>
                  </a:lnTo>
                  <a:lnTo>
                    <a:pt x="168" y="48"/>
                  </a:lnTo>
                  <a:lnTo>
                    <a:pt x="144" y="72"/>
                  </a:lnTo>
                  <a:lnTo>
                    <a:pt x="72" y="72"/>
                  </a:lnTo>
                  <a:lnTo>
                    <a:pt x="0" y="36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7" name="Freeform 12"/>
            <p:cNvSpPr>
              <a:spLocks/>
            </p:cNvSpPr>
            <p:nvPr/>
          </p:nvSpPr>
          <p:spPr bwMode="auto">
            <a:xfrm>
              <a:off x="4940660" y="6182513"/>
              <a:ext cx="99896" cy="91287"/>
            </a:xfrm>
            <a:custGeom>
              <a:avLst/>
              <a:gdLst/>
              <a:ahLst/>
              <a:cxnLst>
                <a:cxn ang="0">
                  <a:pos x="110" y="98"/>
                </a:cxn>
                <a:cxn ang="0">
                  <a:pos x="116" y="79"/>
                </a:cxn>
                <a:cxn ang="0">
                  <a:pos x="73" y="73"/>
                </a:cxn>
                <a:cxn ang="0">
                  <a:pos x="0" y="0"/>
                </a:cxn>
                <a:cxn ang="0">
                  <a:pos x="12" y="98"/>
                </a:cxn>
                <a:cxn ang="0">
                  <a:pos x="110" y="98"/>
                </a:cxn>
              </a:cxnLst>
              <a:rect l="0" t="0" r="r" b="b"/>
              <a:pathLst>
                <a:path w="116" h="98">
                  <a:moveTo>
                    <a:pt x="110" y="98"/>
                  </a:moveTo>
                  <a:lnTo>
                    <a:pt x="116" y="79"/>
                  </a:lnTo>
                  <a:lnTo>
                    <a:pt x="73" y="73"/>
                  </a:lnTo>
                  <a:lnTo>
                    <a:pt x="0" y="0"/>
                  </a:lnTo>
                  <a:lnTo>
                    <a:pt x="12" y="98"/>
                  </a:lnTo>
                  <a:lnTo>
                    <a:pt x="110" y="98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8" name="Freeform 13"/>
            <p:cNvSpPr>
              <a:spLocks/>
            </p:cNvSpPr>
            <p:nvPr/>
          </p:nvSpPr>
          <p:spPr bwMode="auto">
            <a:xfrm>
              <a:off x="4775897" y="4751421"/>
              <a:ext cx="625321" cy="1401600"/>
            </a:xfrm>
            <a:custGeom>
              <a:avLst/>
              <a:gdLst/>
              <a:ahLst/>
              <a:cxnLst>
                <a:cxn ang="0">
                  <a:pos x="110" y="1496"/>
                </a:cxn>
                <a:cxn ang="0">
                  <a:pos x="153" y="1496"/>
                </a:cxn>
                <a:cxn ang="0">
                  <a:pos x="80" y="1496"/>
                </a:cxn>
                <a:cxn ang="0">
                  <a:pos x="37" y="1435"/>
                </a:cxn>
                <a:cxn ang="0">
                  <a:pos x="49" y="1312"/>
                </a:cxn>
                <a:cxn ang="0">
                  <a:pos x="49" y="1251"/>
                </a:cxn>
                <a:cxn ang="0">
                  <a:pos x="31" y="1116"/>
                </a:cxn>
                <a:cxn ang="0">
                  <a:pos x="18" y="981"/>
                </a:cxn>
                <a:cxn ang="0">
                  <a:pos x="12" y="858"/>
                </a:cxn>
                <a:cxn ang="0">
                  <a:pos x="6" y="736"/>
                </a:cxn>
                <a:cxn ang="0">
                  <a:pos x="31" y="662"/>
                </a:cxn>
                <a:cxn ang="0">
                  <a:pos x="0" y="478"/>
                </a:cxn>
                <a:cxn ang="0">
                  <a:pos x="37" y="319"/>
                </a:cxn>
                <a:cxn ang="0">
                  <a:pos x="67" y="129"/>
                </a:cxn>
                <a:cxn ang="0">
                  <a:pos x="122" y="49"/>
                </a:cxn>
                <a:cxn ang="0">
                  <a:pos x="251" y="31"/>
                </a:cxn>
                <a:cxn ang="0">
                  <a:pos x="300" y="6"/>
                </a:cxn>
                <a:cxn ang="0">
                  <a:pos x="417" y="104"/>
                </a:cxn>
                <a:cxn ang="0">
                  <a:pos x="539" y="159"/>
                </a:cxn>
                <a:cxn ang="0">
                  <a:pos x="515" y="233"/>
                </a:cxn>
                <a:cxn ang="0">
                  <a:pos x="558" y="258"/>
                </a:cxn>
                <a:cxn ang="0">
                  <a:pos x="680" y="233"/>
                </a:cxn>
                <a:cxn ang="0">
                  <a:pos x="717" y="190"/>
                </a:cxn>
                <a:cxn ang="0">
                  <a:pos x="558" y="399"/>
                </a:cxn>
                <a:cxn ang="0">
                  <a:pos x="508" y="582"/>
                </a:cxn>
                <a:cxn ang="0">
                  <a:pos x="558" y="650"/>
                </a:cxn>
                <a:cxn ang="0">
                  <a:pos x="576" y="711"/>
                </a:cxn>
                <a:cxn ang="0">
                  <a:pos x="539" y="797"/>
                </a:cxn>
                <a:cxn ang="0">
                  <a:pos x="374" y="840"/>
                </a:cxn>
                <a:cxn ang="0">
                  <a:pos x="361" y="846"/>
                </a:cxn>
                <a:cxn ang="0">
                  <a:pos x="355" y="914"/>
                </a:cxn>
                <a:cxn ang="0">
                  <a:pos x="337" y="950"/>
                </a:cxn>
                <a:cxn ang="0">
                  <a:pos x="276" y="932"/>
                </a:cxn>
                <a:cxn ang="0">
                  <a:pos x="263" y="999"/>
                </a:cxn>
                <a:cxn ang="0">
                  <a:pos x="306" y="993"/>
                </a:cxn>
                <a:cxn ang="0">
                  <a:pos x="312" y="1030"/>
                </a:cxn>
                <a:cxn ang="0">
                  <a:pos x="263" y="1030"/>
                </a:cxn>
                <a:cxn ang="0">
                  <a:pos x="288" y="1042"/>
                </a:cxn>
                <a:cxn ang="0">
                  <a:pos x="257" y="1085"/>
                </a:cxn>
                <a:cxn ang="0">
                  <a:pos x="251" y="1140"/>
                </a:cxn>
                <a:cxn ang="0">
                  <a:pos x="190" y="1177"/>
                </a:cxn>
                <a:cxn ang="0">
                  <a:pos x="227" y="1245"/>
                </a:cxn>
                <a:cxn ang="0">
                  <a:pos x="251" y="1294"/>
                </a:cxn>
                <a:cxn ang="0">
                  <a:pos x="196" y="1392"/>
                </a:cxn>
                <a:cxn ang="0">
                  <a:pos x="190" y="1490"/>
                </a:cxn>
                <a:cxn ang="0">
                  <a:pos x="80" y="1496"/>
                </a:cxn>
              </a:cxnLst>
              <a:rect l="0" t="0" r="r" b="b"/>
              <a:pathLst>
                <a:path w="723" h="1496">
                  <a:moveTo>
                    <a:pt x="80" y="1496"/>
                  </a:moveTo>
                  <a:lnTo>
                    <a:pt x="110" y="1496"/>
                  </a:lnTo>
                  <a:lnTo>
                    <a:pt x="135" y="1496"/>
                  </a:lnTo>
                  <a:lnTo>
                    <a:pt x="153" y="1496"/>
                  </a:lnTo>
                  <a:lnTo>
                    <a:pt x="159" y="1496"/>
                  </a:lnTo>
                  <a:lnTo>
                    <a:pt x="80" y="1496"/>
                  </a:lnTo>
                  <a:lnTo>
                    <a:pt x="67" y="1435"/>
                  </a:lnTo>
                  <a:lnTo>
                    <a:pt x="37" y="1435"/>
                  </a:lnTo>
                  <a:lnTo>
                    <a:pt x="24" y="1373"/>
                  </a:lnTo>
                  <a:lnTo>
                    <a:pt x="49" y="1312"/>
                  </a:lnTo>
                  <a:lnTo>
                    <a:pt x="37" y="1275"/>
                  </a:lnTo>
                  <a:lnTo>
                    <a:pt x="49" y="1251"/>
                  </a:lnTo>
                  <a:lnTo>
                    <a:pt x="43" y="1122"/>
                  </a:lnTo>
                  <a:lnTo>
                    <a:pt x="31" y="1116"/>
                  </a:lnTo>
                  <a:lnTo>
                    <a:pt x="6" y="1030"/>
                  </a:lnTo>
                  <a:lnTo>
                    <a:pt x="18" y="981"/>
                  </a:lnTo>
                  <a:lnTo>
                    <a:pt x="12" y="883"/>
                  </a:lnTo>
                  <a:lnTo>
                    <a:pt x="12" y="858"/>
                  </a:lnTo>
                  <a:lnTo>
                    <a:pt x="18" y="815"/>
                  </a:lnTo>
                  <a:lnTo>
                    <a:pt x="6" y="736"/>
                  </a:lnTo>
                  <a:lnTo>
                    <a:pt x="31" y="711"/>
                  </a:lnTo>
                  <a:lnTo>
                    <a:pt x="31" y="662"/>
                  </a:lnTo>
                  <a:lnTo>
                    <a:pt x="49" y="601"/>
                  </a:lnTo>
                  <a:lnTo>
                    <a:pt x="0" y="478"/>
                  </a:lnTo>
                  <a:lnTo>
                    <a:pt x="24" y="405"/>
                  </a:lnTo>
                  <a:lnTo>
                    <a:pt x="37" y="319"/>
                  </a:lnTo>
                  <a:lnTo>
                    <a:pt x="80" y="245"/>
                  </a:lnTo>
                  <a:lnTo>
                    <a:pt x="67" y="129"/>
                  </a:lnTo>
                  <a:lnTo>
                    <a:pt x="122" y="98"/>
                  </a:lnTo>
                  <a:lnTo>
                    <a:pt x="122" y="49"/>
                  </a:lnTo>
                  <a:lnTo>
                    <a:pt x="165" y="0"/>
                  </a:lnTo>
                  <a:lnTo>
                    <a:pt x="251" y="31"/>
                  </a:lnTo>
                  <a:lnTo>
                    <a:pt x="270" y="6"/>
                  </a:lnTo>
                  <a:lnTo>
                    <a:pt x="300" y="6"/>
                  </a:lnTo>
                  <a:lnTo>
                    <a:pt x="331" y="25"/>
                  </a:lnTo>
                  <a:lnTo>
                    <a:pt x="417" y="104"/>
                  </a:lnTo>
                  <a:lnTo>
                    <a:pt x="466" y="110"/>
                  </a:lnTo>
                  <a:lnTo>
                    <a:pt x="539" y="159"/>
                  </a:lnTo>
                  <a:lnTo>
                    <a:pt x="551" y="190"/>
                  </a:lnTo>
                  <a:lnTo>
                    <a:pt x="515" y="233"/>
                  </a:lnTo>
                  <a:lnTo>
                    <a:pt x="521" y="258"/>
                  </a:lnTo>
                  <a:lnTo>
                    <a:pt x="558" y="258"/>
                  </a:lnTo>
                  <a:lnTo>
                    <a:pt x="643" y="264"/>
                  </a:lnTo>
                  <a:lnTo>
                    <a:pt x="680" y="233"/>
                  </a:lnTo>
                  <a:lnTo>
                    <a:pt x="686" y="178"/>
                  </a:lnTo>
                  <a:lnTo>
                    <a:pt x="717" y="190"/>
                  </a:lnTo>
                  <a:lnTo>
                    <a:pt x="723" y="215"/>
                  </a:lnTo>
                  <a:lnTo>
                    <a:pt x="558" y="399"/>
                  </a:lnTo>
                  <a:lnTo>
                    <a:pt x="539" y="417"/>
                  </a:lnTo>
                  <a:lnTo>
                    <a:pt x="508" y="582"/>
                  </a:lnTo>
                  <a:lnTo>
                    <a:pt x="508" y="619"/>
                  </a:lnTo>
                  <a:lnTo>
                    <a:pt x="558" y="650"/>
                  </a:lnTo>
                  <a:lnTo>
                    <a:pt x="545" y="681"/>
                  </a:lnTo>
                  <a:lnTo>
                    <a:pt x="576" y="711"/>
                  </a:lnTo>
                  <a:lnTo>
                    <a:pt x="576" y="742"/>
                  </a:lnTo>
                  <a:lnTo>
                    <a:pt x="539" y="797"/>
                  </a:lnTo>
                  <a:lnTo>
                    <a:pt x="441" y="834"/>
                  </a:lnTo>
                  <a:lnTo>
                    <a:pt x="374" y="840"/>
                  </a:lnTo>
                  <a:lnTo>
                    <a:pt x="361" y="840"/>
                  </a:lnTo>
                  <a:lnTo>
                    <a:pt x="361" y="846"/>
                  </a:lnTo>
                  <a:lnTo>
                    <a:pt x="368" y="871"/>
                  </a:lnTo>
                  <a:lnTo>
                    <a:pt x="355" y="914"/>
                  </a:lnTo>
                  <a:lnTo>
                    <a:pt x="361" y="932"/>
                  </a:lnTo>
                  <a:lnTo>
                    <a:pt x="337" y="950"/>
                  </a:lnTo>
                  <a:lnTo>
                    <a:pt x="300" y="950"/>
                  </a:lnTo>
                  <a:lnTo>
                    <a:pt x="276" y="932"/>
                  </a:lnTo>
                  <a:lnTo>
                    <a:pt x="257" y="932"/>
                  </a:lnTo>
                  <a:lnTo>
                    <a:pt x="263" y="999"/>
                  </a:lnTo>
                  <a:lnTo>
                    <a:pt x="288" y="1006"/>
                  </a:lnTo>
                  <a:lnTo>
                    <a:pt x="306" y="993"/>
                  </a:lnTo>
                  <a:lnTo>
                    <a:pt x="325" y="1006"/>
                  </a:lnTo>
                  <a:lnTo>
                    <a:pt x="312" y="1030"/>
                  </a:lnTo>
                  <a:lnTo>
                    <a:pt x="282" y="1012"/>
                  </a:lnTo>
                  <a:lnTo>
                    <a:pt x="263" y="1030"/>
                  </a:lnTo>
                  <a:lnTo>
                    <a:pt x="288" y="1036"/>
                  </a:lnTo>
                  <a:lnTo>
                    <a:pt x="288" y="1042"/>
                  </a:lnTo>
                  <a:lnTo>
                    <a:pt x="257" y="1067"/>
                  </a:lnTo>
                  <a:lnTo>
                    <a:pt x="257" y="1085"/>
                  </a:lnTo>
                  <a:lnTo>
                    <a:pt x="263" y="1116"/>
                  </a:lnTo>
                  <a:lnTo>
                    <a:pt x="251" y="1140"/>
                  </a:lnTo>
                  <a:lnTo>
                    <a:pt x="233" y="1140"/>
                  </a:lnTo>
                  <a:lnTo>
                    <a:pt x="190" y="1177"/>
                  </a:lnTo>
                  <a:lnTo>
                    <a:pt x="190" y="1214"/>
                  </a:lnTo>
                  <a:lnTo>
                    <a:pt x="227" y="1245"/>
                  </a:lnTo>
                  <a:lnTo>
                    <a:pt x="257" y="1251"/>
                  </a:lnTo>
                  <a:lnTo>
                    <a:pt x="251" y="1294"/>
                  </a:lnTo>
                  <a:lnTo>
                    <a:pt x="202" y="1337"/>
                  </a:lnTo>
                  <a:lnTo>
                    <a:pt x="196" y="1392"/>
                  </a:lnTo>
                  <a:lnTo>
                    <a:pt x="159" y="1435"/>
                  </a:lnTo>
                  <a:lnTo>
                    <a:pt x="190" y="1490"/>
                  </a:lnTo>
                  <a:lnTo>
                    <a:pt x="159" y="1496"/>
                  </a:lnTo>
                  <a:lnTo>
                    <a:pt x="80" y="1496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9" name="Freeform 14"/>
            <p:cNvSpPr>
              <a:spLocks/>
            </p:cNvSpPr>
            <p:nvPr/>
          </p:nvSpPr>
          <p:spPr bwMode="auto">
            <a:xfrm>
              <a:off x="4267338" y="3734629"/>
              <a:ext cx="237414" cy="293521"/>
            </a:xfrm>
            <a:custGeom>
              <a:avLst/>
              <a:gdLst/>
              <a:ahLst/>
              <a:cxnLst>
                <a:cxn ang="0">
                  <a:pos x="65" y="0"/>
                </a:cxn>
                <a:cxn ang="0">
                  <a:pos x="126" y="30"/>
                </a:cxn>
                <a:cxn ang="0">
                  <a:pos x="165" y="19"/>
                </a:cxn>
                <a:cxn ang="0">
                  <a:pos x="183" y="38"/>
                </a:cxn>
                <a:cxn ang="0">
                  <a:pos x="183" y="54"/>
                </a:cxn>
                <a:cxn ang="0">
                  <a:pos x="171" y="91"/>
                </a:cxn>
                <a:cxn ang="0">
                  <a:pos x="134" y="124"/>
                </a:cxn>
                <a:cxn ang="0">
                  <a:pos x="102" y="140"/>
                </a:cxn>
                <a:cxn ang="0">
                  <a:pos x="77" y="164"/>
                </a:cxn>
                <a:cxn ang="0">
                  <a:pos x="77" y="189"/>
                </a:cxn>
                <a:cxn ang="0">
                  <a:pos x="57" y="205"/>
                </a:cxn>
                <a:cxn ang="0">
                  <a:pos x="45" y="209"/>
                </a:cxn>
                <a:cxn ang="0">
                  <a:pos x="45" y="197"/>
                </a:cxn>
                <a:cxn ang="0">
                  <a:pos x="16" y="193"/>
                </a:cxn>
                <a:cxn ang="0">
                  <a:pos x="16" y="181"/>
                </a:cxn>
                <a:cxn ang="0">
                  <a:pos x="20" y="160"/>
                </a:cxn>
                <a:cxn ang="0">
                  <a:pos x="29" y="160"/>
                </a:cxn>
                <a:cxn ang="0">
                  <a:pos x="41" y="128"/>
                </a:cxn>
                <a:cxn ang="0">
                  <a:pos x="29" y="128"/>
                </a:cxn>
                <a:cxn ang="0">
                  <a:pos x="24" y="144"/>
                </a:cxn>
                <a:cxn ang="0">
                  <a:pos x="4" y="128"/>
                </a:cxn>
                <a:cxn ang="0">
                  <a:pos x="0" y="87"/>
                </a:cxn>
                <a:cxn ang="0">
                  <a:pos x="29" y="50"/>
                </a:cxn>
                <a:cxn ang="0">
                  <a:pos x="29" y="30"/>
                </a:cxn>
                <a:cxn ang="0">
                  <a:pos x="65" y="0"/>
                </a:cxn>
              </a:cxnLst>
              <a:rect l="0" t="0" r="r" b="b"/>
              <a:pathLst>
                <a:path w="183" h="209">
                  <a:moveTo>
                    <a:pt x="65" y="0"/>
                  </a:moveTo>
                  <a:lnTo>
                    <a:pt x="126" y="30"/>
                  </a:lnTo>
                  <a:lnTo>
                    <a:pt x="165" y="19"/>
                  </a:lnTo>
                  <a:lnTo>
                    <a:pt x="183" y="38"/>
                  </a:lnTo>
                  <a:lnTo>
                    <a:pt x="183" y="54"/>
                  </a:lnTo>
                  <a:lnTo>
                    <a:pt x="171" y="91"/>
                  </a:lnTo>
                  <a:lnTo>
                    <a:pt x="134" y="124"/>
                  </a:lnTo>
                  <a:lnTo>
                    <a:pt x="102" y="140"/>
                  </a:lnTo>
                  <a:lnTo>
                    <a:pt x="77" y="164"/>
                  </a:lnTo>
                  <a:lnTo>
                    <a:pt x="77" y="189"/>
                  </a:lnTo>
                  <a:lnTo>
                    <a:pt x="57" y="205"/>
                  </a:lnTo>
                  <a:lnTo>
                    <a:pt x="45" y="209"/>
                  </a:lnTo>
                  <a:lnTo>
                    <a:pt x="45" y="197"/>
                  </a:lnTo>
                  <a:lnTo>
                    <a:pt x="16" y="193"/>
                  </a:lnTo>
                  <a:lnTo>
                    <a:pt x="16" y="181"/>
                  </a:lnTo>
                  <a:lnTo>
                    <a:pt x="20" y="160"/>
                  </a:lnTo>
                  <a:lnTo>
                    <a:pt x="29" y="160"/>
                  </a:lnTo>
                  <a:lnTo>
                    <a:pt x="41" y="128"/>
                  </a:lnTo>
                  <a:lnTo>
                    <a:pt x="29" y="128"/>
                  </a:lnTo>
                  <a:lnTo>
                    <a:pt x="24" y="144"/>
                  </a:lnTo>
                  <a:lnTo>
                    <a:pt x="4" y="128"/>
                  </a:lnTo>
                  <a:lnTo>
                    <a:pt x="0" y="87"/>
                  </a:lnTo>
                  <a:lnTo>
                    <a:pt x="29" y="50"/>
                  </a:lnTo>
                  <a:lnTo>
                    <a:pt x="29" y="30"/>
                  </a:lnTo>
                  <a:lnTo>
                    <a:pt x="65" y="0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0" name="Freeform 15"/>
            <p:cNvSpPr>
              <a:spLocks/>
            </p:cNvSpPr>
            <p:nvPr/>
          </p:nvSpPr>
          <p:spPr bwMode="auto">
            <a:xfrm>
              <a:off x="4578701" y="3505710"/>
              <a:ext cx="1648926" cy="1797643"/>
            </a:xfrm>
            <a:custGeom>
              <a:avLst/>
              <a:gdLst/>
              <a:ahLst/>
              <a:cxnLst>
                <a:cxn ang="0">
                  <a:pos x="950" y="1864"/>
                </a:cxn>
                <a:cxn ang="0">
                  <a:pos x="809" y="1736"/>
                </a:cxn>
                <a:cxn ang="0">
                  <a:pos x="950" y="1552"/>
                </a:cxn>
                <a:cxn ang="0">
                  <a:pos x="913" y="1515"/>
                </a:cxn>
                <a:cxn ang="0">
                  <a:pos x="901" y="1435"/>
                </a:cxn>
                <a:cxn ang="0">
                  <a:pos x="870" y="1362"/>
                </a:cxn>
                <a:cxn ang="0">
                  <a:pos x="766" y="1325"/>
                </a:cxn>
                <a:cxn ang="0">
                  <a:pos x="778" y="1202"/>
                </a:cxn>
                <a:cxn ang="0">
                  <a:pos x="748" y="1061"/>
                </a:cxn>
                <a:cxn ang="0">
                  <a:pos x="656" y="1024"/>
                </a:cxn>
                <a:cxn ang="0">
                  <a:pos x="509" y="871"/>
                </a:cxn>
                <a:cxn ang="0">
                  <a:pos x="411" y="828"/>
                </a:cxn>
                <a:cxn ang="0">
                  <a:pos x="411" y="742"/>
                </a:cxn>
                <a:cxn ang="0">
                  <a:pos x="294" y="804"/>
                </a:cxn>
                <a:cxn ang="0">
                  <a:pos x="172" y="810"/>
                </a:cxn>
                <a:cxn ang="0">
                  <a:pos x="74" y="761"/>
                </a:cxn>
                <a:cxn ang="0">
                  <a:pos x="12" y="607"/>
                </a:cxn>
                <a:cxn ang="0">
                  <a:pos x="178" y="473"/>
                </a:cxn>
                <a:cxn ang="0">
                  <a:pos x="184" y="283"/>
                </a:cxn>
                <a:cxn ang="0">
                  <a:pos x="196" y="240"/>
                </a:cxn>
                <a:cxn ang="0">
                  <a:pos x="190" y="184"/>
                </a:cxn>
                <a:cxn ang="0">
                  <a:pos x="307" y="166"/>
                </a:cxn>
                <a:cxn ang="0">
                  <a:pos x="343" y="221"/>
                </a:cxn>
                <a:cxn ang="0">
                  <a:pos x="497" y="148"/>
                </a:cxn>
                <a:cxn ang="0">
                  <a:pos x="460" y="80"/>
                </a:cxn>
                <a:cxn ang="0">
                  <a:pos x="472" y="37"/>
                </a:cxn>
                <a:cxn ang="0">
                  <a:pos x="527" y="62"/>
                </a:cxn>
                <a:cxn ang="0">
                  <a:pos x="668" y="7"/>
                </a:cxn>
                <a:cxn ang="0">
                  <a:pos x="680" y="129"/>
                </a:cxn>
                <a:cxn ang="0">
                  <a:pos x="742" y="191"/>
                </a:cxn>
                <a:cxn ang="0">
                  <a:pos x="840" y="166"/>
                </a:cxn>
                <a:cxn ang="0">
                  <a:pos x="883" y="142"/>
                </a:cxn>
                <a:cxn ang="0">
                  <a:pos x="956" y="166"/>
                </a:cxn>
                <a:cxn ang="0">
                  <a:pos x="1091" y="62"/>
                </a:cxn>
                <a:cxn ang="0">
                  <a:pos x="1115" y="117"/>
                </a:cxn>
                <a:cxn ang="0">
                  <a:pos x="1164" y="221"/>
                </a:cxn>
                <a:cxn ang="0">
                  <a:pos x="1122" y="313"/>
                </a:cxn>
                <a:cxn ang="0">
                  <a:pos x="1195" y="362"/>
                </a:cxn>
                <a:cxn ang="0">
                  <a:pos x="1220" y="393"/>
                </a:cxn>
                <a:cxn ang="0">
                  <a:pos x="1305" y="313"/>
                </a:cxn>
                <a:cxn ang="0">
                  <a:pos x="1422" y="424"/>
                </a:cxn>
                <a:cxn ang="0">
                  <a:pos x="1477" y="424"/>
                </a:cxn>
                <a:cxn ang="0">
                  <a:pos x="1661" y="460"/>
                </a:cxn>
                <a:cxn ang="0">
                  <a:pos x="1881" y="614"/>
                </a:cxn>
                <a:cxn ang="0">
                  <a:pos x="1863" y="810"/>
                </a:cxn>
                <a:cxn ang="0">
                  <a:pos x="1661" y="1110"/>
                </a:cxn>
                <a:cxn ang="0">
                  <a:pos x="1489" y="1429"/>
                </a:cxn>
                <a:cxn ang="0">
                  <a:pos x="1305" y="1454"/>
                </a:cxn>
                <a:cxn ang="0">
                  <a:pos x="1171" y="1650"/>
                </a:cxn>
                <a:cxn ang="0">
                  <a:pos x="1054" y="1754"/>
                </a:cxn>
                <a:cxn ang="0">
                  <a:pos x="999" y="1846"/>
                </a:cxn>
              </a:cxnLst>
              <a:rect l="0" t="0" r="r" b="b"/>
              <a:pathLst>
                <a:path w="1906" h="1920">
                  <a:moveTo>
                    <a:pt x="938" y="1920"/>
                  </a:moveTo>
                  <a:lnTo>
                    <a:pt x="950" y="1864"/>
                  </a:lnTo>
                  <a:lnTo>
                    <a:pt x="907" y="1815"/>
                  </a:lnTo>
                  <a:lnTo>
                    <a:pt x="809" y="1736"/>
                  </a:lnTo>
                  <a:lnTo>
                    <a:pt x="785" y="1736"/>
                  </a:lnTo>
                  <a:lnTo>
                    <a:pt x="950" y="1552"/>
                  </a:lnTo>
                  <a:lnTo>
                    <a:pt x="944" y="1521"/>
                  </a:lnTo>
                  <a:lnTo>
                    <a:pt x="913" y="1515"/>
                  </a:lnTo>
                  <a:lnTo>
                    <a:pt x="932" y="1435"/>
                  </a:lnTo>
                  <a:lnTo>
                    <a:pt x="901" y="1435"/>
                  </a:lnTo>
                  <a:lnTo>
                    <a:pt x="876" y="1411"/>
                  </a:lnTo>
                  <a:lnTo>
                    <a:pt x="870" y="1362"/>
                  </a:lnTo>
                  <a:lnTo>
                    <a:pt x="785" y="1349"/>
                  </a:lnTo>
                  <a:lnTo>
                    <a:pt x="766" y="1325"/>
                  </a:lnTo>
                  <a:lnTo>
                    <a:pt x="760" y="1239"/>
                  </a:lnTo>
                  <a:lnTo>
                    <a:pt x="778" y="1202"/>
                  </a:lnTo>
                  <a:lnTo>
                    <a:pt x="778" y="1123"/>
                  </a:lnTo>
                  <a:lnTo>
                    <a:pt x="748" y="1061"/>
                  </a:lnTo>
                  <a:lnTo>
                    <a:pt x="662" y="1049"/>
                  </a:lnTo>
                  <a:lnTo>
                    <a:pt x="656" y="1024"/>
                  </a:lnTo>
                  <a:lnTo>
                    <a:pt x="650" y="939"/>
                  </a:lnTo>
                  <a:lnTo>
                    <a:pt x="509" y="871"/>
                  </a:lnTo>
                  <a:lnTo>
                    <a:pt x="460" y="871"/>
                  </a:lnTo>
                  <a:lnTo>
                    <a:pt x="411" y="828"/>
                  </a:lnTo>
                  <a:lnTo>
                    <a:pt x="423" y="791"/>
                  </a:lnTo>
                  <a:lnTo>
                    <a:pt x="411" y="742"/>
                  </a:lnTo>
                  <a:lnTo>
                    <a:pt x="356" y="736"/>
                  </a:lnTo>
                  <a:lnTo>
                    <a:pt x="294" y="804"/>
                  </a:lnTo>
                  <a:lnTo>
                    <a:pt x="202" y="804"/>
                  </a:lnTo>
                  <a:lnTo>
                    <a:pt x="172" y="810"/>
                  </a:lnTo>
                  <a:lnTo>
                    <a:pt x="153" y="736"/>
                  </a:lnTo>
                  <a:lnTo>
                    <a:pt x="74" y="761"/>
                  </a:lnTo>
                  <a:lnTo>
                    <a:pt x="0" y="663"/>
                  </a:lnTo>
                  <a:lnTo>
                    <a:pt x="12" y="607"/>
                  </a:lnTo>
                  <a:lnTo>
                    <a:pt x="80" y="516"/>
                  </a:lnTo>
                  <a:lnTo>
                    <a:pt x="178" y="473"/>
                  </a:lnTo>
                  <a:lnTo>
                    <a:pt x="215" y="332"/>
                  </a:lnTo>
                  <a:lnTo>
                    <a:pt x="184" y="283"/>
                  </a:lnTo>
                  <a:lnTo>
                    <a:pt x="178" y="246"/>
                  </a:lnTo>
                  <a:lnTo>
                    <a:pt x="196" y="240"/>
                  </a:lnTo>
                  <a:lnTo>
                    <a:pt x="184" y="215"/>
                  </a:lnTo>
                  <a:lnTo>
                    <a:pt x="190" y="184"/>
                  </a:lnTo>
                  <a:lnTo>
                    <a:pt x="251" y="184"/>
                  </a:lnTo>
                  <a:lnTo>
                    <a:pt x="307" y="166"/>
                  </a:lnTo>
                  <a:lnTo>
                    <a:pt x="337" y="209"/>
                  </a:lnTo>
                  <a:lnTo>
                    <a:pt x="343" y="221"/>
                  </a:lnTo>
                  <a:lnTo>
                    <a:pt x="392" y="221"/>
                  </a:lnTo>
                  <a:lnTo>
                    <a:pt x="497" y="148"/>
                  </a:lnTo>
                  <a:lnTo>
                    <a:pt x="466" y="129"/>
                  </a:lnTo>
                  <a:lnTo>
                    <a:pt x="460" y="80"/>
                  </a:lnTo>
                  <a:lnTo>
                    <a:pt x="447" y="50"/>
                  </a:lnTo>
                  <a:lnTo>
                    <a:pt x="472" y="37"/>
                  </a:lnTo>
                  <a:lnTo>
                    <a:pt x="484" y="62"/>
                  </a:lnTo>
                  <a:lnTo>
                    <a:pt x="527" y="62"/>
                  </a:lnTo>
                  <a:lnTo>
                    <a:pt x="644" y="0"/>
                  </a:lnTo>
                  <a:lnTo>
                    <a:pt x="668" y="7"/>
                  </a:lnTo>
                  <a:lnTo>
                    <a:pt x="693" y="50"/>
                  </a:lnTo>
                  <a:lnTo>
                    <a:pt x="680" y="129"/>
                  </a:lnTo>
                  <a:lnTo>
                    <a:pt x="711" y="184"/>
                  </a:lnTo>
                  <a:lnTo>
                    <a:pt x="742" y="191"/>
                  </a:lnTo>
                  <a:lnTo>
                    <a:pt x="803" y="160"/>
                  </a:lnTo>
                  <a:lnTo>
                    <a:pt x="840" y="166"/>
                  </a:lnTo>
                  <a:lnTo>
                    <a:pt x="864" y="166"/>
                  </a:lnTo>
                  <a:lnTo>
                    <a:pt x="883" y="142"/>
                  </a:lnTo>
                  <a:lnTo>
                    <a:pt x="944" y="142"/>
                  </a:lnTo>
                  <a:lnTo>
                    <a:pt x="956" y="166"/>
                  </a:lnTo>
                  <a:lnTo>
                    <a:pt x="1017" y="160"/>
                  </a:lnTo>
                  <a:lnTo>
                    <a:pt x="1091" y="62"/>
                  </a:lnTo>
                  <a:lnTo>
                    <a:pt x="1115" y="80"/>
                  </a:lnTo>
                  <a:lnTo>
                    <a:pt x="1115" y="117"/>
                  </a:lnTo>
                  <a:lnTo>
                    <a:pt x="1164" y="178"/>
                  </a:lnTo>
                  <a:lnTo>
                    <a:pt x="1164" y="221"/>
                  </a:lnTo>
                  <a:lnTo>
                    <a:pt x="1115" y="258"/>
                  </a:lnTo>
                  <a:lnTo>
                    <a:pt x="1122" y="313"/>
                  </a:lnTo>
                  <a:lnTo>
                    <a:pt x="1140" y="350"/>
                  </a:lnTo>
                  <a:lnTo>
                    <a:pt x="1195" y="362"/>
                  </a:lnTo>
                  <a:lnTo>
                    <a:pt x="1201" y="393"/>
                  </a:lnTo>
                  <a:lnTo>
                    <a:pt x="1220" y="393"/>
                  </a:lnTo>
                  <a:lnTo>
                    <a:pt x="1256" y="319"/>
                  </a:lnTo>
                  <a:lnTo>
                    <a:pt x="1305" y="313"/>
                  </a:lnTo>
                  <a:lnTo>
                    <a:pt x="1422" y="362"/>
                  </a:lnTo>
                  <a:lnTo>
                    <a:pt x="1422" y="424"/>
                  </a:lnTo>
                  <a:lnTo>
                    <a:pt x="1434" y="436"/>
                  </a:lnTo>
                  <a:lnTo>
                    <a:pt x="1477" y="424"/>
                  </a:lnTo>
                  <a:lnTo>
                    <a:pt x="1581" y="454"/>
                  </a:lnTo>
                  <a:lnTo>
                    <a:pt x="1661" y="460"/>
                  </a:lnTo>
                  <a:lnTo>
                    <a:pt x="1802" y="595"/>
                  </a:lnTo>
                  <a:lnTo>
                    <a:pt x="1881" y="614"/>
                  </a:lnTo>
                  <a:lnTo>
                    <a:pt x="1906" y="724"/>
                  </a:lnTo>
                  <a:lnTo>
                    <a:pt x="1863" y="810"/>
                  </a:lnTo>
                  <a:lnTo>
                    <a:pt x="1673" y="982"/>
                  </a:lnTo>
                  <a:lnTo>
                    <a:pt x="1661" y="1110"/>
                  </a:lnTo>
                  <a:lnTo>
                    <a:pt x="1618" y="1264"/>
                  </a:lnTo>
                  <a:lnTo>
                    <a:pt x="1489" y="1429"/>
                  </a:lnTo>
                  <a:lnTo>
                    <a:pt x="1379" y="1417"/>
                  </a:lnTo>
                  <a:lnTo>
                    <a:pt x="1305" y="1454"/>
                  </a:lnTo>
                  <a:lnTo>
                    <a:pt x="1177" y="1539"/>
                  </a:lnTo>
                  <a:lnTo>
                    <a:pt x="1171" y="1650"/>
                  </a:lnTo>
                  <a:lnTo>
                    <a:pt x="1079" y="1754"/>
                  </a:lnTo>
                  <a:lnTo>
                    <a:pt x="1054" y="1754"/>
                  </a:lnTo>
                  <a:lnTo>
                    <a:pt x="999" y="1815"/>
                  </a:lnTo>
                  <a:lnTo>
                    <a:pt x="999" y="1846"/>
                  </a:lnTo>
                  <a:lnTo>
                    <a:pt x="938" y="1920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" name="Freeform 16"/>
            <p:cNvSpPr>
              <a:spLocks/>
            </p:cNvSpPr>
            <p:nvPr/>
          </p:nvSpPr>
          <p:spPr bwMode="auto">
            <a:xfrm>
              <a:off x="5564683" y="3747268"/>
              <a:ext cx="85625" cy="68816"/>
            </a:xfrm>
            <a:custGeom>
              <a:avLst/>
              <a:gdLst/>
              <a:ahLst/>
              <a:cxnLst>
                <a:cxn ang="0">
                  <a:pos x="6" y="12"/>
                </a:cxn>
                <a:cxn ang="0">
                  <a:pos x="43" y="0"/>
                </a:cxn>
                <a:cxn ang="0">
                  <a:pos x="86" y="6"/>
                </a:cxn>
                <a:cxn ang="0">
                  <a:pos x="98" y="18"/>
                </a:cxn>
                <a:cxn ang="0">
                  <a:pos x="98" y="43"/>
                </a:cxn>
                <a:cxn ang="0">
                  <a:pos x="67" y="74"/>
                </a:cxn>
                <a:cxn ang="0">
                  <a:pos x="31" y="74"/>
                </a:cxn>
                <a:cxn ang="0">
                  <a:pos x="0" y="67"/>
                </a:cxn>
                <a:cxn ang="0">
                  <a:pos x="0" y="43"/>
                </a:cxn>
                <a:cxn ang="0">
                  <a:pos x="6" y="12"/>
                </a:cxn>
              </a:cxnLst>
              <a:rect l="0" t="0" r="r" b="b"/>
              <a:pathLst>
                <a:path w="98" h="74">
                  <a:moveTo>
                    <a:pt x="6" y="12"/>
                  </a:moveTo>
                  <a:lnTo>
                    <a:pt x="43" y="0"/>
                  </a:lnTo>
                  <a:lnTo>
                    <a:pt x="86" y="6"/>
                  </a:lnTo>
                  <a:lnTo>
                    <a:pt x="98" y="18"/>
                  </a:lnTo>
                  <a:lnTo>
                    <a:pt x="98" y="43"/>
                  </a:lnTo>
                  <a:lnTo>
                    <a:pt x="67" y="74"/>
                  </a:lnTo>
                  <a:lnTo>
                    <a:pt x="31" y="74"/>
                  </a:lnTo>
                  <a:lnTo>
                    <a:pt x="0" y="67"/>
                  </a:lnTo>
                  <a:lnTo>
                    <a:pt x="0" y="43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2" name="Freeform 17"/>
            <p:cNvSpPr>
              <a:spLocks/>
            </p:cNvSpPr>
            <p:nvPr/>
          </p:nvSpPr>
          <p:spPr bwMode="auto">
            <a:xfrm>
              <a:off x="4695462" y="5676926"/>
              <a:ext cx="27244" cy="80051"/>
            </a:xfrm>
            <a:custGeom>
              <a:avLst/>
              <a:gdLst/>
              <a:ahLst/>
              <a:cxnLst>
                <a:cxn ang="0">
                  <a:pos x="12" y="6"/>
                </a:cxn>
                <a:cxn ang="0">
                  <a:pos x="31" y="0"/>
                </a:cxn>
                <a:cxn ang="0">
                  <a:pos x="31" y="86"/>
                </a:cxn>
                <a:cxn ang="0">
                  <a:pos x="12" y="80"/>
                </a:cxn>
                <a:cxn ang="0">
                  <a:pos x="0" y="37"/>
                </a:cxn>
                <a:cxn ang="0">
                  <a:pos x="12" y="6"/>
                </a:cxn>
              </a:cxnLst>
              <a:rect l="0" t="0" r="r" b="b"/>
              <a:pathLst>
                <a:path w="31" h="86">
                  <a:moveTo>
                    <a:pt x="12" y="6"/>
                  </a:moveTo>
                  <a:lnTo>
                    <a:pt x="31" y="0"/>
                  </a:lnTo>
                  <a:lnTo>
                    <a:pt x="31" y="86"/>
                  </a:lnTo>
                  <a:lnTo>
                    <a:pt x="12" y="80"/>
                  </a:lnTo>
                  <a:lnTo>
                    <a:pt x="0" y="37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3" name="Freeform 18"/>
            <p:cNvSpPr>
              <a:spLocks/>
            </p:cNvSpPr>
            <p:nvPr/>
          </p:nvSpPr>
          <p:spPr bwMode="auto">
            <a:xfrm>
              <a:off x="4600756" y="3195336"/>
              <a:ext cx="572129" cy="519631"/>
            </a:xfrm>
            <a:custGeom>
              <a:avLst/>
              <a:gdLst/>
              <a:ahLst/>
              <a:cxnLst>
                <a:cxn ang="0">
                  <a:pos x="45" y="25"/>
                </a:cxn>
                <a:cxn ang="0">
                  <a:pos x="57" y="65"/>
                </a:cxn>
                <a:cxn ang="0">
                  <a:pos x="41" y="86"/>
                </a:cxn>
                <a:cxn ang="0">
                  <a:pos x="53" y="107"/>
                </a:cxn>
                <a:cxn ang="0">
                  <a:pos x="69" y="103"/>
                </a:cxn>
                <a:cxn ang="0">
                  <a:pos x="69" y="82"/>
                </a:cxn>
                <a:cxn ang="0">
                  <a:pos x="61" y="65"/>
                </a:cxn>
                <a:cxn ang="0">
                  <a:pos x="65" y="41"/>
                </a:cxn>
                <a:cxn ang="0">
                  <a:pos x="118" y="21"/>
                </a:cxn>
                <a:cxn ang="0">
                  <a:pos x="102" y="13"/>
                </a:cxn>
                <a:cxn ang="0">
                  <a:pos x="106" y="0"/>
                </a:cxn>
                <a:cxn ang="0">
                  <a:pos x="114" y="9"/>
                </a:cxn>
                <a:cxn ang="0">
                  <a:pos x="118" y="21"/>
                </a:cxn>
                <a:cxn ang="0">
                  <a:pos x="151" y="21"/>
                </a:cxn>
                <a:cxn ang="0">
                  <a:pos x="167" y="49"/>
                </a:cxn>
                <a:cxn ang="0">
                  <a:pos x="233" y="45"/>
                </a:cxn>
                <a:cxn ang="0">
                  <a:pos x="254" y="61"/>
                </a:cxn>
                <a:cxn ang="0">
                  <a:pos x="327" y="33"/>
                </a:cxn>
                <a:cxn ang="0">
                  <a:pos x="364" y="29"/>
                </a:cxn>
                <a:cxn ang="0">
                  <a:pos x="364" y="37"/>
                </a:cxn>
                <a:cxn ang="0">
                  <a:pos x="335" y="45"/>
                </a:cxn>
                <a:cxn ang="0">
                  <a:pos x="360" y="70"/>
                </a:cxn>
                <a:cxn ang="0">
                  <a:pos x="400" y="82"/>
                </a:cxn>
                <a:cxn ang="0">
                  <a:pos x="408" y="111"/>
                </a:cxn>
                <a:cxn ang="0">
                  <a:pos x="441" y="115"/>
                </a:cxn>
                <a:cxn ang="0">
                  <a:pos x="412" y="138"/>
                </a:cxn>
                <a:cxn ang="0">
                  <a:pos x="405" y="153"/>
                </a:cxn>
                <a:cxn ang="0">
                  <a:pos x="417" y="165"/>
                </a:cxn>
                <a:cxn ang="0">
                  <a:pos x="399" y="169"/>
                </a:cxn>
                <a:cxn ang="0">
                  <a:pos x="394" y="198"/>
                </a:cxn>
                <a:cxn ang="0">
                  <a:pos x="413" y="221"/>
                </a:cxn>
                <a:cxn ang="0">
                  <a:pos x="336" y="264"/>
                </a:cxn>
                <a:cxn ang="0">
                  <a:pos x="306" y="262"/>
                </a:cxn>
                <a:cxn ang="0">
                  <a:pos x="294" y="245"/>
                </a:cxn>
                <a:cxn ang="0">
                  <a:pos x="278" y="254"/>
                </a:cxn>
                <a:cxn ang="0">
                  <a:pos x="290" y="270"/>
                </a:cxn>
                <a:cxn ang="0">
                  <a:pos x="294" y="303"/>
                </a:cxn>
                <a:cxn ang="0">
                  <a:pos x="315" y="319"/>
                </a:cxn>
                <a:cxn ang="0">
                  <a:pos x="246" y="370"/>
                </a:cxn>
                <a:cxn ang="0">
                  <a:pos x="212" y="368"/>
                </a:cxn>
                <a:cxn ang="0">
                  <a:pos x="196" y="343"/>
                </a:cxn>
                <a:cxn ang="0">
                  <a:pos x="183" y="331"/>
                </a:cxn>
                <a:cxn ang="0">
                  <a:pos x="180" y="298"/>
                </a:cxn>
                <a:cxn ang="0">
                  <a:pos x="189" y="289"/>
                </a:cxn>
                <a:cxn ang="0">
                  <a:pos x="188" y="266"/>
                </a:cxn>
                <a:cxn ang="0">
                  <a:pos x="171" y="254"/>
                </a:cxn>
                <a:cxn ang="0">
                  <a:pos x="196" y="201"/>
                </a:cxn>
                <a:cxn ang="0">
                  <a:pos x="188" y="188"/>
                </a:cxn>
                <a:cxn ang="0">
                  <a:pos x="147" y="201"/>
                </a:cxn>
                <a:cxn ang="0">
                  <a:pos x="118" y="197"/>
                </a:cxn>
                <a:cxn ang="0">
                  <a:pos x="98" y="168"/>
                </a:cxn>
                <a:cxn ang="0">
                  <a:pos x="69" y="168"/>
                </a:cxn>
                <a:cxn ang="0">
                  <a:pos x="41" y="176"/>
                </a:cxn>
                <a:cxn ang="0">
                  <a:pos x="0" y="94"/>
                </a:cxn>
                <a:cxn ang="0">
                  <a:pos x="24" y="49"/>
                </a:cxn>
                <a:cxn ang="0">
                  <a:pos x="45" y="25"/>
                </a:cxn>
              </a:cxnLst>
              <a:rect l="0" t="0" r="r" b="b"/>
              <a:pathLst>
                <a:path w="441" h="370">
                  <a:moveTo>
                    <a:pt x="45" y="25"/>
                  </a:moveTo>
                  <a:lnTo>
                    <a:pt x="57" y="65"/>
                  </a:lnTo>
                  <a:lnTo>
                    <a:pt x="41" y="86"/>
                  </a:lnTo>
                  <a:lnTo>
                    <a:pt x="53" y="107"/>
                  </a:lnTo>
                  <a:lnTo>
                    <a:pt x="69" y="103"/>
                  </a:lnTo>
                  <a:lnTo>
                    <a:pt x="69" y="82"/>
                  </a:lnTo>
                  <a:lnTo>
                    <a:pt x="61" y="65"/>
                  </a:lnTo>
                  <a:lnTo>
                    <a:pt x="65" y="41"/>
                  </a:lnTo>
                  <a:lnTo>
                    <a:pt x="118" y="21"/>
                  </a:lnTo>
                  <a:lnTo>
                    <a:pt x="102" y="13"/>
                  </a:lnTo>
                  <a:lnTo>
                    <a:pt x="106" y="0"/>
                  </a:lnTo>
                  <a:lnTo>
                    <a:pt x="114" y="9"/>
                  </a:lnTo>
                  <a:lnTo>
                    <a:pt x="118" y="21"/>
                  </a:lnTo>
                  <a:lnTo>
                    <a:pt x="151" y="21"/>
                  </a:lnTo>
                  <a:lnTo>
                    <a:pt x="167" y="49"/>
                  </a:lnTo>
                  <a:lnTo>
                    <a:pt x="233" y="45"/>
                  </a:lnTo>
                  <a:lnTo>
                    <a:pt x="254" y="61"/>
                  </a:lnTo>
                  <a:lnTo>
                    <a:pt x="327" y="33"/>
                  </a:lnTo>
                  <a:lnTo>
                    <a:pt x="364" y="29"/>
                  </a:lnTo>
                  <a:lnTo>
                    <a:pt x="364" y="37"/>
                  </a:lnTo>
                  <a:lnTo>
                    <a:pt x="335" y="45"/>
                  </a:lnTo>
                  <a:lnTo>
                    <a:pt x="360" y="70"/>
                  </a:lnTo>
                  <a:lnTo>
                    <a:pt x="400" y="82"/>
                  </a:lnTo>
                  <a:lnTo>
                    <a:pt x="408" y="111"/>
                  </a:lnTo>
                  <a:lnTo>
                    <a:pt x="441" y="115"/>
                  </a:lnTo>
                  <a:lnTo>
                    <a:pt x="412" y="138"/>
                  </a:lnTo>
                  <a:lnTo>
                    <a:pt x="405" y="153"/>
                  </a:lnTo>
                  <a:lnTo>
                    <a:pt x="417" y="165"/>
                  </a:lnTo>
                  <a:lnTo>
                    <a:pt x="399" y="169"/>
                  </a:lnTo>
                  <a:lnTo>
                    <a:pt x="394" y="198"/>
                  </a:lnTo>
                  <a:lnTo>
                    <a:pt x="413" y="221"/>
                  </a:lnTo>
                  <a:lnTo>
                    <a:pt x="336" y="264"/>
                  </a:lnTo>
                  <a:lnTo>
                    <a:pt x="306" y="262"/>
                  </a:lnTo>
                  <a:lnTo>
                    <a:pt x="294" y="245"/>
                  </a:lnTo>
                  <a:lnTo>
                    <a:pt x="278" y="254"/>
                  </a:lnTo>
                  <a:lnTo>
                    <a:pt x="290" y="270"/>
                  </a:lnTo>
                  <a:lnTo>
                    <a:pt x="294" y="303"/>
                  </a:lnTo>
                  <a:lnTo>
                    <a:pt x="315" y="319"/>
                  </a:lnTo>
                  <a:lnTo>
                    <a:pt x="246" y="370"/>
                  </a:lnTo>
                  <a:lnTo>
                    <a:pt x="212" y="368"/>
                  </a:lnTo>
                  <a:lnTo>
                    <a:pt x="196" y="343"/>
                  </a:lnTo>
                  <a:lnTo>
                    <a:pt x="183" y="331"/>
                  </a:lnTo>
                  <a:lnTo>
                    <a:pt x="180" y="298"/>
                  </a:lnTo>
                  <a:lnTo>
                    <a:pt x="189" y="289"/>
                  </a:lnTo>
                  <a:lnTo>
                    <a:pt x="188" y="266"/>
                  </a:lnTo>
                  <a:lnTo>
                    <a:pt x="171" y="254"/>
                  </a:lnTo>
                  <a:lnTo>
                    <a:pt x="196" y="201"/>
                  </a:lnTo>
                  <a:lnTo>
                    <a:pt x="188" y="188"/>
                  </a:lnTo>
                  <a:lnTo>
                    <a:pt x="147" y="201"/>
                  </a:lnTo>
                  <a:lnTo>
                    <a:pt x="118" y="197"/>
                  </a:lnTo>
                  <a:lnTo>
                    <a:pt x="98" y="168"/>
                  </a:lnTo>
                  <a:lnTo>
                    <a:pt x="69" y="168"/>
                  </a:lnTo>
                  <a:lnTo>
                    <a:pt x="41" y="176"/>
                  </a:lnTo>
                  <a:lnTo>
                    <a:pt x="0" y="94"/>
                  </a:lnTo>
                  <a:lnTo>
                    <a:pt x="24" y="49"/>
                  </a:lnTo>
                  <a:lnTo>
                    <a:pt x="45" y="25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4" name="Freeform 19"/>
            <p:cNvSpPr>
              <a:spLocks/>
            </p:cNvSpPr>
            <p:nvPr/>
          </p:nvSpPr>
          <p:spPr bwMode="auto">
            <a:xfrm>
              <a:off x="5109315" y="3356843"/>
              <a:ext cx="199791" cy="328632"/>
            </a:xfrm>
            <a:custGeom>
              <a:avLst/>
              <a:gdLst/>
              <a:ahLst/>
              <a:cxnLst>
                <a:cxn ang="0">
                  <a:pos x="134" y="82"/>
                </a:cxn>
                <a:cxn ang="0">
                  <a:pos x="134" y="102"/>
                </a:cxn>
                <a:cxn ang="0">
                  <a:pos x="106" y="115"/>
                </a:cxn>
                <a:cxn ang="0">
                  <a:pos x="104" y="143"/>
                </a:cxn>
                <a:cxn ang="0">
                  <a:pos x="130" y="168"/>
                </a:cxn>
                <a:cxn ang="0">
                  <a:pos x="154" y="218"/>
                </a:cxn>
                <a:cxn ang="0">
                  <a:pos x="131" y="212"/>
                </a:cxn>
                <a:cxn ang="0">
                  <a:pos x="88" y="234"/>
                </a:cxn>
                <a:cxn ang="0">
                  <a:pos x="65" y="228"/>
                </a:cxn>
                <a:cxn ang="0">
                  <a:pos x="43" y="194"/>
                </a:cxn>
                <a:cxn ang="0">
                  <a:pos x="53" y="139"/>
                </a:cxn>
                <a:cxn ang="0">
                  <a:pos x="37" y="111"/>
                </a:cxn>
                <a:cxn ang="0">
                  <a:pos x="21" y="106"/>
                </a:cxn>
                <a:cxn ang="0">
                  <a:pos x="0" y="82"/>
                </a:cxn>
                <a:cxn ang="0">
                  <a:pos x="4" y="54"/>
                </a:cxn>
                <a:cxn ang="0">
                  <a:pos x="21" y="49"/>
                </a:cxn>
                <a:cxn ang="0">
                  <a:pos x="12" y="37"/>
                </a:cxn>
                <a:cxn ang="0">
                  <a:pos x="16" y="21"/>
                </a:cxn>
                <a:cxn ang="0">
                  <a:pos x="49" y="0"/>
                </a:cxn>
                <a:cxn ang="0">
                  <a:pos x="86" y="25"/>
                </a:cxn>
                <a:cxn ang="0">
                  <a:pos x="86" y="53"/>
                </a:cxn>
                <a:cxn ang="0">
                  <a:pos x="110" y="53"/>
                </a:cxn>
                <a:cxn ang="0">
                  <a:pos x="134" y="82"/>
                </a:cxn>
              </a:cxnLst>
              <a:rect l="0" t="0" r="r" b="b"/>
              <a:pathLst>
                <a:path w="154" h="234">
                  <a:moveTo>
                    <a:pt x="134" y="82"/>
                  </a:moveTo>
                  <a:lnTo>
                    <a:pt x="134" y="102"/>
                  </a:lnTo>
                  <a:lnTo>
                    <a:pt x="106" y="115"/>
                  </a:lnTo>
                  <a:lnTo>
                    <a:pt x="104" y="143"/>
                  </a:lnTo>
                  <a:lnTo>
                    <a:pt x="130" y="168"/>
                  </a:lnTo>
                  <a:lnTo>
                    <a:pt x="154" y="218"/>
                  </a:lnTo>
                  <a:lnTo>
                    <a:pt x="131" y="212"/>
                  </a:lnTo>
                  <a:lnTo>
                    <a:pt x="88" y="234"/>
                  </a:lnTo>
                  <a:lnTo>
                    <a:pt x="65" y="228"/>
                  </a:lnTo>
                  <a:lnTo>
                    <a:pt x="43" y="194"/>
                  </a:lnTo>
                  <a:lnTo>
                    <a:pt x="53" y="139"/>
                  </a:lnTo>
                  <a:lnTo>
                    <a:pt x="37" y="111"/>
                  </a:lnTo>
                  <a:lnTo>
                    <a:pt x="21" y="106"/>
                  </a:lnTo>
                  <a:lnTo>
                    <a:pt x="0" y="82"/>
                  </a:lnTo>
                  <a:lnTo>
                    <a:pt x="4" y="54"/>
                  </a:lnTo>
                  <a:lnTo>
                    <a:pt x="21" y="49"/>
                  </a:lnTo>
                  <a:lnTo>
                    <a:pt x="12" y="37"/>
                  </a:lnTo>
                  <a:lnTo>
                    <a:pt x="16" y="21"/>
                  </a:lnTo>
                  <a:lnTo>
                    <a:pt x="49" y="0"/>
                  </a:lnTo>
                  <a:lnTo>
                    <a:pt x="86" y="25"/>
                  </a:lnTo>
                  <a:lnTo>
                    <a:pt x="86" y="53"/>
                  </a:lnTo>
                  <a:lnTo>
                    <a:pt x="110" y="53"/>
                  </a:lnTo>
                  <a:lnTo>
                    <a:pt x="134" y="82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5" name="Freeform 20"/>
            <p:cNvSpPr>
              <a:spLocks/>
            </p:cNvSpPr>
            <p:nvPr/>
          </p:nvSpPr>
          <p:spPr bwMode="auto">
            <a:xfrm>
              <a:off x="5241644" y="3466387"/>
              <a:ext cx="180331" cy="198022"/>
            </a:xfrm>
            <a:custGeom>
              <a:avLst/>
              <a:gdLst/>
              <a:ahLst/>
              <a:cxnLst>
                <a:cxn ang="0">
                  <a:pos x="135" y="12"/>
                </a:cxn>
                <a:cxn ang="0">
                  <a:pos x="102" y="0"/>
                </a:cxn>
                <a:cxn ang="0">
                  <a:pos x="29" y="0"/>
                </a:cxn>
                <a:cxn ang="0">
                  <a:pos x="33" y="20"/>
                </a:cxn>
                <a:cxn ang="0">
                  <a:pos x="4" y="33"/>
                </a:cxn>
                <a:cxn ang="0">
                  <a:pos x="0" y="61"/>
                </a:cxn>
                <a:cxn ang="0">
                  <a:pos x="25" y="89"/>
                </a:cxn>
                <a:cxn ang="0">
                  <a:pos x="50" y="141"/>
                </a:cxn>
                <a:cxn ang="0">
                  <a:pos x="62" y="140"/>
                </a:cxn>
                <a:cxn ang="0">
                  <a:pos x="82" y="123"/>
                </a:cxn>
                <a:cxn ang="0">
                  <a:pos x="119" y="125"/>
                </a:cxn>
                <a:cxn ang="0">
                  <a:pos x="133" y="119"/>
                </a:cxn>
                <a:cxn ang="0">
                  <a:pos x="139" y="77"/>
                </a:cxn>
                <a:cxn ang="0">
                  <a:pos x="123" y="61"/>
                </a:cxn>
                <a:cxn ang="0">
                  <a:pos x="135" y="12"/>
                </a:cxn>
              </a:cxnLst>
              <a:rect l="0" t="0" r="r" b="b"/>
              <a:pathLst>
                <a:path w="139" h="141">
                  <a:moveTo>
                    <a:pt x="135" y="12"/>
                  </a:moveTo>
                  <a:lnTo>
                    <a:pt x="102" y="0"/>
                  </a:lnTo>
                  <a:lnTo>
                    <a:pt x="29" y="0"/>
                  </a:lnTo>
                  <a:lnTo>
                    <a:pt x="33" y="20"/>
                  </a:lnTo>
                  <a:lnTo>
                    <a:pt x="4" y="33"/>
                  </a:lnTo>
                  <a:lnTo>
                    <a:pt x="0" y="61"/>
                  </a:lnTo>
                  <a:lnTo>
                    <a:pt x="25" y="89"/>
                  </a:lnTo>
                  <a:lnTo>
                    <a:pt x="50" y="141"/>
                  </a:lnTo>
                  <a:lnTo>
                    <a:pt x="62" y="140"/>
                  </a:lnTo>
                  <a:lnTo>
                    <a:pt x="82" y="123"/>
                  </a:lnTo>
                  <a:lnTo>
                    <a:pt x="119" y="125"/>
                  </a:lnTo>
                  <a:lnTo>
                    <a:pt x="133" y="119"/>
                  </a:lnTo>
                  <a:lnTo>
                    <a:pt x="139" y="77"/>
                  </a:lnTo>
                  <a:lnTo>
                    <a:pt x="123" y="61"/>
                  </a:lnTo>
                  <a:lnTo>
                    <a:pt x="135" y="12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6" name="Freeform 21"/>
            <p:cNvSpPr>
              <a:spLocks/>
            </p:cNvSpPr>
            <p:nvPr/>
          </p:nvSpPr>
          <p:spPr bwMode="auto">
            <a:xfrm>
              <a:off x="4250473" y="3786592"/>
              <a:ext cx="540993" cy="804726"/>
            </a:xfrm>
            <a:custGeom>
              <a:avLst/>
              <a:gdLst/>
              <a:ahLst/>
              <a:cxnLst>
                <a:cxn ang="0">
                  <a:pos x="401" y="532"/>
                </a:cxn>
                <a:cxn ang="0">
                  <a:pos x="397" y="557"/>
                </a:cxn>
                <a:cxn ang="0">
                  <a:pos x="372" y="573"/>
                </a:cxn>
                <a:cxn ang="0">
                  <a:pos x="262" y="508"/>
                </a:cxn>
                <a:cxn ang="0">
                  <a:pos x="246" y="508"/>
                </a:cxn>
                <a:cxn ang="0">
                  <a:pos x="184" y="463"/>
                </a:cxn>
                <a:cxn ang="0">
                  <a:pos x="180" y="434"/>
                </a:cxn>
                <a:cxn ang="0">
                  <a:pos x="90" y="282"/>
                </a:cxn>
                <a:cxn ang="0">
                  <a:pos x="69" y="270"/>
                </a:cxn>
                <a:cxn ang="0">
                  <a:pos x="61" y="254"/>
                </a:cxn>
                <a:cxn ang="0">
                  <a:pos x="29" y="225"/>
                </a:cxn>
                <a:cxn ang="0">
                  <a:pos x="9" y="213"/>
                </a:cxn>
                <a:cxn ang="0">
                  <a:pos x="17" y="200"/>
                </a:cxn>
                <a:cxn ang="0">
                  <a:pos x="0" y="176"/>
                </a:cxn>
                <a:cxn ang="0">
                  <a:pos x="4" y="152"/>
                </a:cxn>
                <a:cxn ang="0">
                  <a:pos x="33" y="127"/>
                </a:cxn>
                <a:cxn ang="0">
                  <a:pos x="29" y="148"/>
                </a:cxn>
                <a:cxn ang="0">
                  <a:pos x="35" y="157"/>
                </a:cxn>
                <a:cxn ang="0">
                  <a:pos x="57" y="158"/>
                </a:cxn>
                <a:cxn ang="0">
                  <a:pos x="60" y="168"/>
                </a:cxn>
                <a:cxn ang="0">
                  <a:pos x="70" y="168"/>
                </a:cxn>
                <a:cxn ang="0">
                  <a:pos x="87" y="152"/>
                </a:cxn>
                <a:cxn ang="0">
                  <a:pos x="90" y="127"/>
                </a:cxn>
                <a:cxn ang="0">
                  <a:pos x="115" y="102"/>
                </a:cxn>
                <a:cxn ang="0">
                  <a:pos x="147" y="86"/>
                </a:cxn>
                <a:cxn ang="0">
                  <a:pos x="184" y="53"/>
                </a:cxn>
                <a:cxn ang="0">
                  <a:pos x="196" y="16"/>
                </a:cxn>
                <a:cxn ang="0">
                  <a:pos x="196" y="0"/>
                </a:cxn>
                <a:cxn ang="0">
                  <a:pos x="217" y="0"/>
                </a:cxn>
                <a:cxn ang="0">
                  <a:pos x="254" y="33"/>
                </a:cxn>
                <a:cxn ang="0">
                  <a:pos x="270" y="45"/>
                </a:cxn>
                <a:cxn ang="0">
                  <a:pos x="273" y="59"/>
                </a:cxn>
                <a:cxn ang="0">
                  <a:pos x="303" y="60"/>
                </a:cxn>
                <a:cxn ang="0">
                  <a:pos x="315" y="57"/>
                </a:cxn>
                <a:cxn ang="0">
                  <a:pos x="348" y="57"/>
                </a:cxn>
                <a:cxn ang="0">
                  <a:pos x="369" y="65"/>
                </a:cxn>
                <a:cxn ang="0">
                  <a:pos x="364" y="86"/>
                </a:cxn>
                <a:cxn ang="0">
                  <a:pos x="356" y="94"/>
                </a:cxn>
                <a:cxn ang="0">
                  <a:pos x="357" y="105"/>
                </a:cxn>
                <a:cxn ang="0">
                  <a:pos x="375" y="108"/>
                </a:cxn>
                <a:cxn ang="0">
                  <a:pos x="364" y="119"/>
                </a:cxn>
                <a:cxn ang="0">
                  <a:pos x="313" y="141"/>
                </a:cxn>
                <a:cxn ang="0">
                  <a:pos x="263" y="205"/>
                </a:cxn>
                <a:cxn ang="0">
                  <a:pos x="254" y="238"/>
                </a:cxn>
                <a:cxn ang="0">
                  <a:pos x="303" y="303"/>
                </a:cxn>
                <a:cxn ang="0">
                  <a:pos x="356" y="291"/>
                </a:cxn>
                <a:cxn ang="0">
                  <a:pos x="368" y="336"/>
                </a:cxn>
                <a:cxn ang="0">
                  <a:pos x="388" y="336"/>
                </a:cxn>
                <a:cxn ang="0">
                  <a:pos x="417" y="377"/>
                </a:cxn>
                <a:cxn ang="0">
                  <a:pos x="405" y="501"/>
                </a:cxn>
                <a:cxn ang="0">
                  <a:pos x="417" y="512"/>
                </a:cxn>
                <a:cxn ang="0">
                  <a:pos x="417" y="522"/>
                </a:cxn>
                <a:cxn ang="0">
                  <a:pos x="401" y="532"/>
                </a:cxn>
              </a:cxnLst>
              <a:rect l="0" t="0" r="r" b="b"/>
              <a:pathLst>
                <a:path w="417" h="573">
                  <a:moveTo>
                    <a:pt x="401" y="532"/>
                  </a:moveTo>
                  <a:lnTo>
                    <a:pt x="397" y="557"/>
                  </a:lnTo>
                  <a:lnTo>
                    <a:pt x="372" y="573"/>
                  </a:lnTo>
                  <a:lnTo>
                    <a:pt x="262" y="508"/>
                  </a:lnTo>
                  <a:lnTo>
                    <a:pt x="246" y="508"/>
                  </a:lnTo>
                  <a:lnTo>
                    <a:pt x="184" y="463"/>
                  </a:lnTo>
                  <a:lnTo>
                    <a:pt x="180" y="434"/>
                  </a:lnTo>
                  <a:lnTo>
                    <a:pt x="90" y="282"/>
                  </a:lnTo>
                  <a:lnTo>
                    <a:pt x="69" y="270"/>
                  </a:lnTo>
                  <a:lnTo>
                    <a:pt x="61" y="254"/>
                  </a:lnTo>
                  <a:lnTo>
                    <a:pt x="29" y="225"/>
                  </a:lnTo>
                  <a:lnTo>
                    <a:pt x="9" y="213"/>
                  </a:lnTo>
                  <a:lnTo>
                    <a:pt x="17" y="200"/>
                  </a:lnTo>
                  <a:lnTo>
                    <a:pt x="0" y="176"/>
                  </a:lnTo>
                  <a:lnTo>
                    <a:pt x="4" y="152"/>
                  </a:lnTo>
                  <a:lnTo>
                    <a:pt x="33" y="127"/>
                  </a:lnTo>
                  <a:lnTo>
                    <a:pt x="29" y="148"/>
                  </a:lnTo>
                  <a:lnTo>
                    <a:pt x="35" y="157"/>
                  </a:lnTo>
                  <a:lnTo>
                    <a:pt x="57" y="158"/>
                  </a:lnTo>
                  <a:lnTo>
                    <a:pt x="60" y="168"/>
                  </a:lnTo>
                  <a:lnTo>
                    <a:pt x="70" y="168"/>
                  </a:lnTo>
                  <a:lnTo>
                    <a:pt x="87" y="152"/>
                  </a:lnTo>
                  <a:lnTo>
                    <a:pt x="90" y="127"/>
                  </a:lnTo>
                  <a:lnTo>
                    <a:pt x="115" y="102"/>
                  </a:lnTo>
                  <a:lnTo>
                    <a:pt x="147" y="86"/>
                  </a:lnTo>
                  <a:lnTo>
                    <a:pt x="184" y="53"/>
                  </a:lnTo>
                  <a:lnTo>
                    <a:pt x="196" y="16"/>
                  </a:lnTo>
                  <a:lnTo>
                    <a:pt x="196" y="0"/>
                  </a:lnTo>
                  <a:lnTo>
                    <a:pt x="217" y="0"/>
                  </a:lnTo>
                  <a:lnTo>
                    <a:pt x="254" y="33"/>
                  </a:lnTo>
                  <a:lnTo>
                    <a:pt x="270" y="45"/>
                  </a:lnTo>
                  <a:lnTo>
                    <a:pt x="273" y="59"/>
                  </a:lnTo>
                  <a:lnTo>
                    <a:pt x="303" y="60"/>
                  </a:lnTo>
                  <a:lnTo>
                    <a:pt x="315" y="57"/>
                  </a:lnTo>
                  <a:lnTo>
                    <a:pt x="348" y="57"/>
                  </a:lnTo>
                  <a:lnTo>
                    <a:pt x="369" y="65"/>
                  </a:lnTo>
                  <a:lnTo>
                    <a:pt x="364" y="86"/>
                  </a:lnTo>
                  <a:lnTo>
                    <a:pt x="356" y="94"/>
                  </a:lnTo>
                  <a:lnTo>
                    <a:pt x="357" y="105"/>
                  </a:lnTo>
                  <a:lnTo>
                    <a:pt x="375" y="108"/>
                  </a:lnTo>
                  <a:lnTo>
                    <a:pt x="364" y="119"/>
                  </a:lnTo>
                  <a:lnTo>
                    <a:pt x="313" y="141"/>
                  </a:lnTo>
                  <a:lnTo>
                    <a:pt x="263" y="205"/>
                  </a:lnTo>
                  <a:lnTo>
                    <a:pt x="254" y="238"/>
                  </a:lnTo>
                  <a:lnTo>
                    <a:pt x="303" y="303"/>
                  </a:lnTo>
                  <a:lnTo>
                    <a:pt x="356" y="291"/>
                  </a:lnTo>
                  <a:lnTo>
                    <a:pt x="368" y="336"/>
                  </a:lnTo>
                  <a:lnTo>
                    <a:pt x="388" y="336"/>
                  </a:lnTo>
                  <a:lnTo>
                    <a:pt x="417" y="377"/>
                  </a:lnTo>
                  <a:lnTo>
                    <a:pt x="405" y="501"/>
                  </a:lnTo>
                  <a:lnTo>
                    <a:pt x="417" y="512"/>
                  </a:lnTo>
                  <a:lnTo>
                    <a:pt x="417" y="522"/>
                  </a:lnTo>
                  <a:lnTo>
                    <a:pt x="401" y="532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7" name="Freeform 22"/>
            <p:cNvSpPr>
              <a:spLocks/>
            </p:cNvSpPr>
            <p:nvPr/>
          </p:nvSpPr>
          <p:spPr bwMode="auto">
            <a:xfrm>
              <a:off x="5214400" y="5124994"/>
              <a:ext cx="186818" cy="224705"/>
            </a:xfrm>
            <a:custGeom>
              <a:avLst/>
              <a:gdLst/>
              <a:ahLst/>
              <a:cxnLst>
                <a:cxn ang="0">
                  <a:pos x="166" y="239"/>
                </a:cxn>
                <a:cxn ang="0">
                  <a:pos x="203" y="183"/>
                </a:cxn>
                <a:cxn ang="0">
                  <a:pos x="215" y="128"/>
                </a:cxn>
                <a:cxn ang="0">
                  <a:pos x="166" y="73"/>
                </a:cxn>
                <a:cxn ang="0">
                  <a:pos x="74" y="6"/>
                </a:cxn>
                <a:cxn ang="0">
                  <a:pos x="50" y="0"/>
                </a:cxn>
                <a:cxn ang="0">
                  <a:pos x="31" y="18"/>
                </a:cxn>
                <a:cxn ang="0">
                  <a:pos x="0" y="183"/>
                </a:cxn>
                <a:cxn ang="0">
                  <a:pos x="19" y="208"/>
                </a:cxn>
                <a:cxn ang="0">
                  <a:pos x="56" y="214"/>
                </a:cxn>
                <a:cxn ang="0">
                  <a:pos x="86" y="233"/>
                </a:cxn>
                <a:cxn ang="0">
                  <a:pos x="166" y="239"/>
                </a:cxn>
              </a:cxnLst>
              <a:rect l="0" t="0" r="r" b="b"/>
              <a:pathLst>
                <a:path w="215" h="239">
                  <a:moveTo>
                    <a:pt x="166" y="239"/>
                  </a:moveTo>
                  <a:lnTo>
                    <a:pt x="203" y="183"/>
                  </a:lnTo>
                  <a:lnTo>
                    <a:pt x="215" y="128"/>
                  </a:lnTo>
                  <a:lnTo>
                    <a:pt x="166" y="73"/>
                  </a:lnTo>
                  <a:lnTo>
                    <a:pt x="74" y="6"/>
                  </a:lnTo>
                  <a:lnTo>
                    <a:pt x="50" y="0"/>
                  </a:lnTo>
                  <a:lnTo>
                    <a:pt x="31" y="18"/>
                  </a:lnTo>
                  <a:lnTo>
                    <a:pt x="0" y="183"/>
                  </a:lnTo>
                  <a:lnTo>
                    <a:pt x="19" y="208"/>
                  </a:lnTo>
                  <a:lnTo>
                    <a:pt x="56" y="214"/>
                  </a:lnTo>
                  <a:lnTo>
                    <a:pt x="86" y="233"/>
                  </a:lnTo>
                  <a:lnTo>
                    <a:pt x="166" y="239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8" name="Freeform 23"/>
            <p:cNvSpPr>
              <a:spLocks/>
            </p:cNvSpPr>
            <p:nvPr/>
          </p:nvSpPr>
          <p:spPr bwMode="auto">
            <a:xfrm>
              <a:off x="4775897" y="4751421"/>
              <a:ext cx="627915" cy="1401600"/>
            </a:xfrm>
            <a:custGeom>
              <a:avLst/>
              <a:gdLst/>
              <a:ahLst/>
              <a:cxnLst>
                <a:cxn ang="0">
                  <a:pos x="106" y="998"/>
                </a:cxn>
                <a:cxn ang="0">
                  <a:pos x="45" y="957"/>
                </a:cxn>
                <a:cxn ang="0">
                  <a:pos x="16" y="916"/>
                </a:cxn>
                <a:cxn ang="0">
                  <a:pos x="25" y="851"/>
                </a:cxn>
                <a:cxn ang="0">
                  <a:pos x="24" y="753"/>
                </a:cxn>
                <a:cxn ang="0">
                  <a:pos x="4" y="687"/>
                </a:cxn>
                <a:cxn ang="0">
                  <a:pos x="8" y="589"/>
                </a:cxn>
                <a:cxn ang="0">
                  <a:pos x="12" y="544"/>
                </a:cxn>
                <a:cxn ang="0">
                  <a:pos x="21" y="474"/>
                </a:cxn>
                <a:cxn ang="0">
                  <a:pos x="33" y="401"/>
                </a:cxn>
                <a:cxn ang="0">
                  <a:pos x="16" y="270"/>
                </a:cxn>
                <a:cxn ang="0">
                  <a:pos x="53" y="163"/>
                </a:cxn>
                <a:cxn ang="0">
                  <a:pos x="81" y="65"/>
                </a:cxn>
                <a:cxn ang="0">
                  <a:pos x="110" y="0"/>
                </a:cxn>
                <a:cxn ang="0">
                  <a:pos x="180" y="4"/>
                </a:cxn>
                <a:cxn ang="0">
                  <a:pos x="221" y="17"/>
                </a:cxn>
                <a:cxn ang="0">
                  <a:pos x="311" y="73"/>
                </a:cxn>
                <a:cxn ang="0">
                  <a:pos x="367" y="127"/>
                </a:cxn>
                <a:cxn ang="0">
                  <a:pos x="347" y="172"/>
                </a:cxn>
                <a:cxn ang="0">
                  <a:pos x="429" y="176"/>
                </a:cxn>
                <a:cxn ang="0">
                  <a:pos x="457" y="119"/>
                </a:cxn>
                <a:cxn ang="0">
                  <a:pos x="484" y="147"/>
                </a:cxn>
                <a:cxn ang="0">
                  <a:pos x="359" y="278"/>
                </a:cxn>
                <a:cxn ang="0">
                  <a:pos x="339" y="413"/>
                </a:cxn>
                <a:cxn ang="0">
                  <a:pos x="363" y="454"/>
                </a:cxn>
                <a:cxn ang="0">
                  <a:pos x="384" y="495"/>
                </a:cxn>
                <a:cxn ang="0">
                  <a:pos x="294" y="556"/>
                </a:cxn>
                <a:cxn ang="0">
                  <a:pos x="241" y="564"/>
                </a:cxn>
                <a:cxn ang="0">
                  <a:pos x="237" y="610"/>
                </a:cxn>
                <a:cxn ang="0">
                  <a:pos x="225" y="634"/>
                </a:cxn>
                <a:cxn ang="0">
                  <a:pos x="184" y="622"/>
                </a:cxn>
                <a:cxn ang="0">
                  <a:pos x="175" y="666"/>
                </a:cxn>
                <a:cxn ang="0">
                  <a:pos x="204" y="662"/>
                </a:cxn>
                <a:cxn ang="0">
                  <a:pos x="208" y="687"/>
                </a:cxn>
                <a:cxn ang="0">
                  <a:pos x="175" y="687"/>
                </a:cxn>
                <a:cxn ang="0">
                  <a:pos x="192" y="695"/>
                </a:cxn>
                <a:cxn ang="0">
                  <a:pos x="171" y="724"/>
                </a:cxn>
                <a:cxn ang="0">
                  <a:pos x="167" y="761"/>
                </a:cxn>
                <a:cxn ang="0">
                  <a:pos x="127" y="785"/>
                </a:cxn>
                <a:cxn ang="0">
                  <a:pos x="151" y="831"/>
                </a:cxn>
                <a:cxn ang="0">
                  <a:pos x="167" y="863"/>
                </a:cxn>
                <a:cxn ang="0">
                  <a:pos x="131" y="929"/>
                </a:cxn>
                <a:cxn ang="0">
                  <a:pos x="127" y="994"/>
                </a:cxn>
              </a:cxnLst>
              <a:rect l="0" t="0" r="r" b="b"/>
              <a:pathLst>
                <a:path w="484" h="998">
                  <a:moveTo>
                    <a:pt x="53" y="998"/>
                  </a:moveTo>
                  <a:lnTo>
                    <a:pt x="106" y="998"/>
                  </a:lnTo>
                  <a:lnTo>
                    <a:pt x="53" y="998"/>
                  </a:lnTo>
                  <a:lnTo>
                    <a:pt x="45" y="957"/>
                  </a:lnTo>
                  <a:lnTo>
                    <a:pt x="25" y="957"/>
                  </a:lnTo>
                  <a:lnTo>
                    <a:pt x="16" y="916"/>
                  </a:lnTo>
                  <a:lnTo>
                    <a:pt x="33" y="875"/>
                  </a:lnTo>
                  <a:lnTo>
                    <a:pt x="25" y="851"/>
                  </a:lnTo>
                  <a:lnTo>
                    <a:pt x="33" y="835"/>
                  </a:lnTo>
                  <a:lnTo>
                    <a:pt x="24" y="753"/>
                  </a:lnTo>
                  <a:lnTo>
                    <a:pt x="21" y="744"/>
                  </a:lnTo>
                  <a:lnTo>
                    <a:pt x="4" y="687"/>
                  </a:lnTo>
                  <a:lnTo>
                    <a:pt x="12" y="654"/>
                  </a:lnTo>
                  <a:lnTo>
                    <a:pt x="8" y="589"/>
                  </a:lnTo>
                  <a:lnTo>
                    <a:pt x="8" y="572"/>
                  </a:lnTo>
                  <a:lnTo>
                    <a:pt x="12" y="544"/>
                  </a:lnTo>
                  <a:lnTo>
                    <a:pt x="4" y="491"/>
                  </a:lnTo>
                  <a:lnTo>
                    <a:pt x="21" y="474"/>
                  </a:lnTo>
                  <a:lnTo>
                    <a:pt x="21" y="442"/>
                  </a:lnTo>
                  <a:lnTo>
                    <a:pt x="33" y="401"/>
                  </a:lnTo>
                  <a:lnTo>
                    <a:pt x="0" y="319"/>
                  </a:lnTo>
                  <a:lnTo>
                    <a:pt x="16" y="270"/>
                  </a:lnTo>
                  <a:lnTo>
                    <a:pt x="25" y="213"/>
                  </a:lnTo>
                  <a:lnTo>
                    <a:pt x="53" y="163"/>
                  </a:lnTo>
                  <a:lnTo>
                    <a:pt x="45" y="86"/>
                  </a:lnTo>
                  <a:lnTo>
                    <a:pt x="81" y="65"/>
                  </a:lnTo>
                  <a:lnTo>
                    <a:pt x="81" y="33"/>
                  </a:lnTo>
                  <a:lnTo>
                    <a:pt x="110" y="0"/>
                  </a:lnTo>
                  <a:lnTo>
                    <a:pt x="167" y="21"/>
                  </a:lnTo>
                  <a:lnTo>
                    <a:pt x="180" y="4"/>
                  </a:lnTo>
                  <a:lnTo>
                    <a:pt x="200" y="4"/>
                  </a:lnTo>
                  <a:lnTo>
                    <a:pt x="221" y="17"/>
                  </a:lnTo>
                  <a:lnTo>
                    <a:pt x="278" y="69"/>
                  </a:lnTo>
                  <a:lnTo>
                    <a:pt x="311" y="73"/>
                  </a:lnTo>
                  <a:lnTo>
                    <a:pt x="359" y="106"/>
                  </a:lnTo>
                  <a:lnTo>
                    <a:pt x="367" y="127"/>
                  </a:lnTo>
                  <a:lnTo>
                    <a:pt x="343" y="155"/>
                  </a:lnTo>
                  <a:lnTo>
                    <a:pt x="347" y="172"/>
                  </a:lnTo>
                  <a:lnTo>
                    <a:pt x="372" y="172"/>
                  </a:lnTo>
                  <a:lnTo>
                    <a:pt x="429" y="176"/>
                  </a:lnTo>
                  <a:lnTo>
                    <a:pt x="453" y="155"/>
                  </a:lnTo>
                  <a:lnTo>
                    <a:pt x="457" y="119"/>
                  </a:lnTo>
                  <a:lnTo>
                    <a:pt x="478" y="127"/>
                  </a:lnTo>
                  <a:lnTo>
                    <a:pt x="484" y="147"/>
                  </a:lnTo>
                  <a:lnTo>
                    <a:pt x="378" y="264"/>
                  </a:lnTo>
                  <a:lnTo>
                    <a:pt x="359" y="278"/>
                  </a:lnTo>
                  <a:lnTo>
                    <a:pt x="339" y="388"/>
                  </a:lnTo>
                  <a:lnTo>
                    <a:pt x="339" y="413"/>
                  </a:lnTo>
                  <a:lnTo>
                    <a:pt x="372" y="434"/>
                  </a:lnTo>
                  <a:lnTo>
                    <a:pt x="363" y="454"/>
                  </a:lnTo>
                  <a:lnTo>
                    <a:pt x="384" y="474"/>
                  </a:lnTo>
                  <a:lnTo>
                    <a:pt x="384" y="495"/>
                  </a:lnTo>
                  <a:lnTo>
                    <a:pt x="359" y="532"/>
                  </a:lnTo>
                  <a:lnTo>
                    <a:pt x="294" y="556"/>
                  </a:lnTo>
                  <a:lnTo>
                    <a:pt x="249" y="564"/>
                  </a:lnTo>
                  <a:lnTo>
                    <a:pt x="241" y="564"/>
                  </a:lnTo>
                  <a:lnTo>
                    <a:pt x="245" y="581"/>
                  </a:lnTo>
                  <a:lnTo>
                    <a:pt x="237" y="610"/>
                  </a:lnTo>
                  <a:lnTo>
                    <a:pt x="241" y="622"/>
                  </a:lnTo>
                  <a:lnTo>
                    <a:pt x="225" y="634"/>
                  </a:lnTo>
                  <a:lnTo>
                    <a:pt x="200" y="634"/>
                  </a:lnTo>
                  <a:lnTo>
                    <a:pt x="184" y="622"/>
                  </a:lnTo>
                  <a:lnTo>
                    <a:pt x="174" y="624"/>
                  </a:lnTo>
                  <a:lnTo>
                    <a:pt x="175" y="666"/>
                  </a:lnTo>
                  <a:lnTo>
                    <a:pt x="192" y="671"/>
                  </a:lnTo>
                  <a:lnTo>
                    <a:pt x="204" y="662"/>
                  </a:lnTo>
                  <a:lnTo>
                    <a:pt x="217" y="671"/>
                  </a:lnTo>
                  <a:lnTo>
                    <a:pt x="208" y="687"/>
                  </a:lnTo>
                  <a:lnTo>
                    <a:pt x="188" y="675"/>
                  </a:lnTo>
                  <a:lnTo>
                    <a:pt x="175" y="687"/>
                  </a:lnTo>
                  <a:lnTo>
                    <a:pt x="192" y="691"/>
                  </a:lnTo>
                  <a:lnTo>
                    <a:pt x="192" y="695"/>
                  </a:lnTo>
                  <a:lnTo>
                    <a:pt x="174" y="711"/>
                  </a:lnTo>
                  <a:lnTo>
                    <a:pt x="171" y="724"/>
                  </a:lnTo>
                  <a:lnTo>
                    <a:pt x="175" y="744"/>
                  </a:lnTo>
                  <a:lnTo>
                    <a:pt x="167" y="761"/>
                  </a:lnTo>
                  <a:lnTo>
                    <a:pt x="155" y="761"/>
                  </a:lnTo>
                  <a:lnTo>
                    <a:pt x="127" y="785"/>
                  </a:lnTo>
                  <a:lnTo>
                    <a:pt x="127" y="810"/>
                  </a:lnTo>
                  <a:lnTo>
                    <a:pt x="151" y="831"/>
                  </a:lnTo>
                  <a:lnTo>
                    <a:pt x="171" y="835"/>
                  </a:lnTo>
                  <a:lnTo>
                    <a:pt x="167" y="863"/>
                  </a:lnTo>
                  <a:lnTo>
                    <a:pt x="135" y="892"/>
                  </a:lnTo>
                  <a:lnTo>
                    <a:pt x="131" y="929"/>
                  </a:lnTo>
                  <a:lnTo>
                    <a:pt x="106" y="957"/>
                  </a:lnTo>
                  <a:lnTo>
                    <a:pt x="127" y="994"/>
                  </a:lnTo>
                  <a:lnTo>
                    <a:pt x="106" y="998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9" name="Freeform 24"/>
            <p:cNvSpPr>
              <a:spLocks/>
            </p:cNvSpPr>
            <p:nvPr/>
          </p:nvSpPr>
          <p:spPr bwMode="auto">
            <a:xfrm>
              <a:off x="4079223" y="3245894"/>
              <a:ext cx="137519" cy="132014"/>
            </a:xfrm>
            <a:custGeom>
              <a:avLst/>
              <a:gdLst/>
              <a:ahLst/>
              <a:cxnLst>
                <a:cxn ang="0">
                  <a:pos x="132" y="24"/>
                </a:cxn>
                <a:cxn ang="0">
                  <a:pos x="108" y="24"/>
                </a:cxn>
                <a:cxn ang="0">
                  <a:pos x="60" y="12"/>
                </a:cxn>
                <a:cxn ang="0">
                  <a:pos x="24" y="0"/>
                </a:cxn>
                <a:cxn ang="0">
                  <a:pos x="0" y="12"/>
                </a:cxn>
                <a:cxn ang="0">
                  <a:pos x="0" y="72"/>
                </a:cxn>
                <a:cxn ang="0">
                  <a:pos x="48" y="108"/>
                </a:cxn>
                <a:cxn ang="0">
                  <a:pos x="60" y="84"/>
                </a:cxn>
                <a:cxn ang="0">
                  <a:pos x="108" y="120"/>
                </a:cxn>
                <a:cxn ang="0">
                  <a:pos x="132" y="120"/>
                </a:cxn>
                <a:cxn ang="0">
                  <a:pos x="144" y="132"/>
                </a:cxn>
                <a:cxn ang="0">
                  <a:pos x="144" y="180"/>
                </a:cxn>
                <a:cxn ang="0">
                  <a:pos x="203" y="192"/>
                </a:cxn>
                <a:cxn ang="0">
                  <a:pos x="203" y="144"/>
                </a:cxn>
                <a:cxn ang="0">
                  <a:pos x="192" y="108"/>
                </a:cxn>
                <a:cxn ang="0">
                  <a:pos x="215" y="96"/>
                </a:cxn>
                <a:cxn ang="0">
                  <a:pos x="132" y="24"/>
                </a:cxn>
              </a:cxnLst>
              <a:rect l="0" t="0" r="r" b="b"/>
              <a:pathLst>
                <a:path w="215" h="192">
                  <a:moveTo>
                    <a:pt x="132" y="24"/>
                  </a:moveTo>
                  <a:lnTo>
                    <a:pt x="108" y="24"/>
                  </a:lnTo>
                  <a:lnTo>
                    <a:pt x="60" y="12"/>
                  </a:lnTo>
                  <a:lnTo>
                    <a:pt x="24" y="0"/>
                  </a:lnTo>
                  <a:lnTo>
                    <a:pt x="0" y="12"/>
                  </a:lnTo>
                  <a:lnTo>
                    <a:pt x="0" y="72"/>
                  </a:lnTo>
                  <a:lnTo>
                    <a:pt x="48" y="108"/>
                  </a:lnTo>
                  <a:lnTo>
                    <a:pt x="60" y="84"/>
                  </a:lnTo>
                  <a:lnTo>
                    <a:pt x="108" y="120"/>
                  </a:lnTo>
                  <a:lnTo>
                    <a:pt x="132" y="120"/>
                  </a:lnTo>
                  <a:lnTo>
                    <a:pt x="144" y="132"/>
                  </a:lnTo>
                  <a:lnTo>
                    <a:pt x="144" y="180"/>
                  </a:lnTo>
                  <a:lnTo>
                    <a:pt x="203" y="192"/>
                  </a:lnTo>
                  <a:lnTo>
                    <a:pt x="203" y="144"/>
                  </a:lnTo>
                  <a:lnTo>
                    <a:pt x="192" y="108"/>
                  </a:lnTo>
                  <a:lnTo>
                    <a:pt x="215" y="96"/>
                  </a:lnTo>
                  <a:lnTo>
                    <a:pt x="132" y="2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0" name="Freeform 25"/>
            <p:cNvSpPr>
              <a:spLocks/>
            </p:cNvSpPr>
            <p:nvPr/>
          </p:nvSpPr>
          <p:spPr bwMode="auto">
            <a:xfrm>
              <a:off x="4201173" y="3310497"/>
              <a:ext cx="259469" cy="124992"/>
            </a:xfrm>
            <a:custGeom>
              <a:avLst/>
              <a:gdLst/>
              <a:ahLst/>
              <a:cxnLst>
                <a:cxn ang="0">
                  <a:pos x="5" y="54"/>
                </a:cxn>
                <a:cxn ang="0">
                  <a:pos x="5" y="25"/>
                </a:cxn>
                <a:cxn ang="0">
                  <a:pos x="0" y="8"/>
                </a:cxn>
                <a:cxn ang="0">
                  <a:pos x="12" y="0"/>
                </a:cxn>
                <a:cxn ang="0">
                  <a:pos x="29" y="31"/>
                </a:cxn>
                <a:cxn ang="0">
                  <a:pos x="65" y="36"/>
                </a:cxn>
                <a:cxn ang="0">
                  <a:pos x="94" y="19"/>
                </a:cxn>
                <a:cxn ang="0">
                  <a:pos x="106" y="19"/>
                </a:cxn>
                <a:cxn ang="0">
                  <a:pos x="112" y="7"/>
                </a:cxn>
                <a:cxn ang="0">
                  <a:pos x="165" y="13"/>
                </a:cxn>
                <a:cxn ang="0">
                  <a:pos x="200" y="48"/>
                </a:cxn>
                <a:cxn ang="0">
                  <a:pos x="188" y="71"/>
                </a:cxn>
                <a:cxn ang="0">
                  <a:pos x="182" y="71"/>
                </a:cxn>
                <a:cxn ang="0">
                  <a:pos x="176" y="89"/>
                </a:cxn>
                <a:cxn ang="0">
                  <a:pos x="170" y="89"/>
                </a:cxn>
                <a:cxn ang="0">
                  <a:pos x="165" y="77"/>
                </a:cxn>
                <a:cxn ang="0">
                  <a:pos x="159" y="42"/>
                </a:cxn>
                <a:cxn ang="0">
                  <a:pos x="135" y="31"/>
                </a:cxn>
                <a:cxn ang="0">
                  <a:pos x="112" y="36"/>
                </a:cxn>
                <a:cxn ang="0">
                  <a:pos x="100" y="48"/>
                </a:cxn>
                <a:cxn ang="0">
                  <a:pos x="88" y="60"/>
                </a:cxn>
                <a:cxn ang="0">
                  <a:pos x="100" y="77"/>
                </a:cxn>
                <a:cxn ang="0">
                  <a:pos x="88" y="89"/>
                </a:cxn>
                <a:cxn ang="0">
                  <a:pos x="76" y="89"/>
                </a:cxn>
                <a:cxn ang="0">
                  <a:pos x="70" y="71"/>
                </a:cxn>
                <a:cxn ang="0">
                  <a:pos x="47" y="65"/>
                </a:cxn>
                <a:cxn ang="0">
                  <a:pos x="29" y="54"/>
                </a:cxn>
                <a:cxn ang="0">
                  <a:pos x="5" y="54"/>
                </a:cxn>
              </a:cxnLst>
              <a:rect l="0" t="0" r="r" b="b"/>
              <a:pathLst>
                <a:path w="200" h="89">
                  <a:moveTo>
                    <a:pt x="5" y="54"/>
                  </a:moveTo>
                  <a:lnTo>
                    <a:pt x="5" y="25"/>
                  </a:lnTo>
                  <a:lnTo>
                    <a:pt x="0" y="8"/>
                  </a:lnTo>
                  <a:lnTo>
                    <a:pt x="12" y="0"/>
                  </a:lnTo>
                  <a:lnTo>
                    <a:pt x="29" y="31"/>
                  </a:lnTo>
                  <a:lnTo>
                    <a:pt x="65" y="36"/>
                  </a:lnTo>
                  <a:lnTo>
                    <a:pt x="94" y="19"/>
                  </a:lnTo>
                  <a:lnTo>
                    <a:pt x="106" y="19"/>
                  </a:lnTo>
                  <a:lnTo>
                    <a:pt x="112" y="7"/>
                  </a:lnTo>
                  <a:lnTo>
                    <a:pt x="165" y="13"/>
                  </a:lnTo>
                  <a:lnTo>
                    <a:pt x="200" y="48"/>
                  </a:lnTo>
                  <a:lnTo>
                    <a:pt x="188" y="71"/>
                  </a:lnTo>
                  <a:lnTo>
                    <a:pt x="182" y="71"/>
                  </a:lnTo>
                  <a:lnTo>
                    <a:pt x="176" y="89"/>
                  </a:lnTo>
                  <a:lnTo>
                    <a:pt x="170" y="89"/>
                  </a:lnTo>
                  <a:lnTo>
                    <a:pt x="165" y="77"/>
                  </a:lnTo>
                  <a:lnTo>
                    <a:pt x="159" y="42"/>
                  </a:lnTo>
                  <a:lnTo>
                    <a:pt x="135" y="31"/>
                  </a:lnTo>
                  <a:lnTo>
                    <a:pt x="112" y="36"/>
                  </a:lnTo>
                  <a:lnTo>
                    <a:pt x="100" y="48"/>
                  </a:lnTo>
                  <a:lnTo>
                    <a:pt x="88" y="60"/>
                  </a:lnTo>
                  <a:lnTo>
                    <a:pt x="100" y="77"/>
                  </a:lnTo>
                  <a:lnTo>
                    <a:pt x="88" y="89"/>
                  </a:lnTo>
                  <a:lnTo>
                    <a:pt x="76" y="89"/>
                  </a:lnTo>
                  <a:lnTo>
                    <a:pt x="70" y="71"/>
                  </a:lnTo>
                  <a:lnTo>
                    <a:pt x="47" y="65"/>
                  </a:lnTo>
                  <a:lnTo>
                    <a:pt x="29" y="54"/>
                  </a:lnTo>
                  <a:lnTo>
                    <a:pt x="5" y="5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1" name="Freeform 26"/>
            <p:cNvSpPr>
              <a:spLocks/>
            </p:cNvSpPr>
            <p:nvPr/>
          </p:nvSpPr>
          <p:spPr bwMode="auto">
            <a:xfrm>
              <a:off x="4010464" y="3063321"/>
              <a:ext cx="176439" cy="198022"/>
            </a:xfrm>
            <a:custGeom>
              <a:avLst/>
              <a:gdLst/>
              <a:ahLst/>
              <a:cxnLst>
                <a:cxn ang="0">
                  <a:pos x="0" y="65"/>
                </a:cxn>
                <a:cxn ang="0">
                  <a:pos x="12" y="65"/>
                </a:cxn>
                <a:cxn ang="0">
                  <a:pos x="17" y="44"/>
                </a:cxn>
                <a:cxn ang="0">
                  <a:pos x="62" y="32"/>
                </a:cxn>
                <a:cxn ang="0">
                  <a:pos x="83" y="6"/>
                </a:cxn>
                <a:cxn ang="0">
                  <a:pos x="95" y="12"/>
                </a:cxn>
                <a:cxn ang="0">
                  <a:pos x="112" y="6"/>
                </a:cxn>
                <a:cxn ang="0">
                  <a:pos x="136" y="0"/>
                </a:cxn>
                <a:cxn ang="0">
                  <a:pos x="124" y="141"/>
                </a:cxn>
                <a:cxn ang="0">
                  <a:pos x="106" y="141"/>
                </a:cxn>
                <a:cxn ang="0">
                  <a:pos x="89" y="135"/>
                </a:cxn>
                <a:cxn ang="0">
                  <a:pos x="89" y="117"/>
                </a:cxn>
                <a:cxn ang="0">
                  <a:pos x="71" y="100"/>
                </a:cxn>
                <a:cxn ang="0">
                  <a:pos x="53" y="100"/>
                </a:cxn>
                <a:cxn ang="0">
                  <a:pos x="59" y="123"/>
                </a:cxn>
                <a:cxn ang="0">
                  <a:pos x="47" y="123"/>
                </a:cxn>
                <a:cxn ang="0">
                  <a:pos x="0" y="77"/>
                </a:cxn>
                <a:cxn ang="0">
                  <a:pos x="0" y="65"/>
                </a:cxn>
              </a:cxnLst>
              <a:rect l="0" t="0" r="r" b="b"/>
              <a:pathLst>
                <a:path w="136" h="141">
                  <a:moveTo>
                    <a:pt x="0" y="65"/>
                  </a:moveTo>
                  <a:lnTo>
                    <a:pt x="12" y="65"/>
                  </a:lnTo>
                  <a:lnTo>
                    <a:pt x="17" y="44"/>
                  </a:lnTo>
                  <a:lnTo>
                    <a:pt x="62" y="32"/>
                  </a:lnTo>
                  <a:lnTo>
                    <a:pt x="83" y="6"/>
                  </a:lnTo>
                  <a:lnTo>
                    <a:pt x="95" y="12"/>
                  </a:lnTo>
                  <a:lnTo>
                    <a:pt x="112" y="6"/>
                  </a:lnTo>
                  <a:lnTo>
                    <a:pt x="136" y="0"/>
                  </a:lnTo>
                  <a:lnTo>
                    <a:pt x="124" y="141"/>
                  </a:lnTo>
                  <a:lnTo>
                    <a:pt x="106" y="141"/>
                  </a:lnTo>
                  <a:lnTo>
                    <a:pt x="89" y="135"/>
                  </a:lnTo>
                  <a:lnTo>
                    <a:pt x="89" y="117"/>
                  </a:lnTo>
                  <a:lnTo>
                    <a:pt x="71" y="100"/>
                  </a:lnTo>
                  <a:lnTo>
                    <a:pt x="53" y="100"/>
                  </a:lnTo>
                  <a:lnTo>
                    <a:pt x="59" y="123"/>
                  </a:lnTo>
                  <a:lnTo>
                    <a:pt x="47" y="123"/>
                  </a:lnTo>
                  <a:lnTo>
                    <a:pt x="0" y="77"/>
                  </a:lnTo>
                  <a:lnTo>
                    <a:pt x="0" y="65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2" name="Freeform 27"/>
            <p:cNvSpPr>
              <a:spLocks/>
            </p:cNvSpPr>
            <p:nvPr/>
          </p:nvSpPr>
          <p:spPr bwMode="auto">
            <a:xfrm>
              <a:off x="3800294" y="2931307"/>
              <a:ext cx="164763" cy="191000"/>
            </a:xfrm>
            <a:custGeom>
              <a:avLst/>
              <a:gdLst/>
              <a:ahLst/>
              <a:cxnLst>
                <a:cxn ang="0">
                  <a:pos x="0" y="96"/>
                </a:cxn>
                <a:cxn ang="0">
                  <a:pos x="26" y="63"/>
                </a:cxn>
                <a:cxn ang="0">
                  <a:pos x="62" y="59"/>
                </a:cxn>
                <a:cxn ang="0">
                  <a:pos x="23" y="14"/>
                </a:cxn>
                <a:cxn ang="0">
                  <a:pos x="44" y="12"/>
                </a:cxn>
                <a:cxn ang="0">
                  <a:pos x="39" y="0"/>
                </a:cxn>
                <a:cxn ang="0">
                  <a:pos x="109" y="0"/>
                </a:cxn>
                <a:cxn ang="0">
                  <a:pos x="103" y="65"/>
                </a:cxn>
                <a:cxn ang="0">
                  <a:pos x="115" y="65"/>
                </a:cxn>
                <a:cxn ang="0">
                  <a:pos x="127" y="77"/>
                </a:cxn>
                <a:cxn ang="0">
                  <a:pos x="121" y="83"/>
                </a:cxn>
                <a:cxn ang="0">
                  <a:pos x="103" y="94"/>
                </a:cxn>
                <a:cxn ang="0">
                  <a:pos x="103" y="106"/>
                </a:cxn>
                <a:cxn ang="0">
                  <a:pos x="89" y="135"/>
                </a:cxn>
                <a:cxn ang="0">
                  <a:pos x="74" y="136"/>
                </a:cxn>
                <a:cxn ang="0">
                  <a:pos x="32" y="130"/>
                </a:cxn>
                <a:cxn ang="0">
                  <a:pos x="0" y="96"/>
                </a:cxn>
              </a:cxnLst>
              <a:rect l="0" t="0" r="r" b="b"/>
              <a:pathLst>
                <a:path w="127" h="136">
                  <a:moveTo>
                    <a:pt x="0" y="96"/>
                  </a:moveTo>
                  <a:lnTo>
                    <a:pt x="26" y="63"/>
                  </a:lnTo>
                  <a:lnTo>
                    <a:pt x="62" y="59"/>
                  </a:lnTo>
                  <a:lnTo>
                    <a:pt x="23" y="14"/>
                  </a:lnTo>
                  <a:lnTo>
                    <a:pt x="44" y="12"/>
                  </a:lnTo>
                  <a:lnTo>
                    <a:pt x="39" y="0"/>
                  </a:lnTo>
                  <a:lnTo>
                    <a:pt x="109" y="0"/>
                  </a:lnTo>
                  <a:lnTo>
                    <a:pt x="103" y="65"/>
                  </a:lnTo>
                  <a:lnTo>
                    <a:pt x="115" y="65"/>
                  </a:lnTo>
                  <a:lnTo>
                    <a:pt x="127" y="77"/>
                  </a:lnTo>
                  <a:lnTo>
                    <a:pt x="121" y="83"/>
                  </a:lnTo>
                  <a:lnTo>
                    <a:pt x="103" y="94"/>
                  </a:lnTo>
                  <a:lnTo>
                    <a:pt x="103" y="106"/>
                  </a:lnTo>
                  <a:lnTo>
                    <a:pt x="89" y="135"/>
                  </a:lnTo>
                  <a:lnTo>
                    <a:pt x="74" y="136"/>
                  </a:lnTo>
                  <a:lnTo>
                    <a:pt x="32" y="130"/>
                  </a:lnTo>
                  <a:lnTo>
                    <a:pt x="0" y="96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3" name="Freeform 28"/>
            <p:cNvSpPr>
              <a:spLocks/>
            </p:cNvSpPr>
            <p:nvPr/>
          </p:nvSpPr>
          <p:spPr bwMode="auto">
            <a:xfrm>
              <a:off x="3932623" y="2906028"/>
              <a:ext cx="48002" cy="117970"/>
            </a:xfrm>
            <a:custGeom>
              <a:avLst/>
              <a:gdLst/>
              <a:ahLst/>
              <a:cxnLst>
                <a:cxn ang="0">
                  <a:pos x="13" y="83"/>
                </a:cxn>
                <a:cxn ang="0">
                  <a:pos x="25" y="65"/>
                </a:cxn>
                <a:cxn ang="0">
                  <a:pos x="37" y="47"/>
                </a:cxn>
                <a:cxn ang="0">
                  <a:pos x="37" y="6"/>
                </a:cxn>
                <a:cxn ang="0">
                  <a:pos x="13" y="0"/>
                </a:cxn>
                <a:cxn ang="0">
                  <a:pos x="1" y="18"/>
                </a:cxn>
                <a:cxn ang="0">
                  <a:pos x="8" y="20"/>
                </a:cxn>
                <a:cxn ang="0">
                  <a:pos x="0" y="84"/>
                </a:cxn>
                <a:cxn ang="0">
                  <a:pos x="13" y="83"/>
                </a:cxn>
              </a:cxnLst>
              <a:rect l="0" t="0" r="r" b="b"/>
              <a:pathLst>
                <a:path w="37" h="84">
                  <a:moveTo>
                    <a:pt x="13" y="83"/>
                  </a:moveTo>
                  <a:lnTo>
                    <a:pt x="25" y="65"/>
                  </a:lnTo>
                  <a:lnTo>
                    <a:pt x="37" y="47"/>
                  </a:lnTo>
                  <a:lnTo>
                    <a:pt x="37" y="6"/>
                  </a:lnTo>
                  <a:lnTo>
                    <a:pt x="13" y="0"/>
                  </a:lnTo>
                  <a:lnTo>
                    <a:pt x="1" y="18"/>
                  </a:lnTo>
                  <a:lnTo>
                    <a:pt x="8" y="20"/>
                  </a:lnTo>
                  <a:lnTo>
                    <a:pt x="0" y="84"/>
                  </a:lnTo>
                  <a:lnTo>
                    <a:pt x="13" y="83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4" name="Freeform 29"/>
            <p:cNvSpPr>
              <a:spLocks/>
            </p:cNvSpPr>
            <p:nvPr/>
          </p:nvSpPr>
          <p:spPr bwMode="auto">
            <a:xfrm>
              <a:off x="2911612" y="2097088"/>
              <a:ext cx="1114420" cy="983086"/>
            </a:xfrm>
            <a:custGeom>
              <a:avLst/>
              <a:gdLst/>
              <a:ahLst/>
              <a:cxnLst>
                <a:cxn ang="0">
                  <a:pos x="203" y="645"/>
                </a:cxn>
                <a:cxn ang="0">
                  <a:pos x="191" y="598"/>
                </a:cxn>
                <a:cxn ang="0">
                  <a:pos x="132" y="466"/>
                </a:cxn>
                <a:cxn ang="0">
                  <a:pos x="60" y="370"/>
                </a:cxn>
                <a:cxn ang="0">
                  <a:pos x="108" y="311"/>
                </a:cxn>
                <a:cxn ang="0">
                  <a:pos x="0" y="36"/>
                </a:cxn>
                <a:cxn ang="0">
                  <a:pos x="36" y="0"/>
                </a:cxn>
                <a:cxn ang="0">
                  <a:pos x="311" y="155"/>
                </a:cxn>
                <a:cxn ang="0">
                  <a:pos x="478" y="191"/>
                </a:cxn>
                <a:cxn ang="0">
                  <a:pos x="574" y="179"/>
                </a:cxn>
                <a:cxn ang="0">
                  <a:pos x="670" y="347"/>
                </a:cxn>
                <a:cxn ang="0">
                  <a:pos x="777" y="406"/>
                </a:cxn>
                <a:cxn ang="0">
                  <a:pos x="837" y="347"/>
                </a:cxn>
                <a:cxn ang="0">
                  <a:pos x="909" y="454"/>
                </a:cxn>
                <a:cxn ang="0">
                  <a:pos x="969" y="574"/>
                </a:cxn>
                <a:cxn ang="0">
                  <a:pos x="1112" y="645"/>
                </a:cxn>
                <a:cxn ang="0">
                  <a:pos x="1065" y="717"/>
                </a:cxn>
                <a:cxn ang="0">
                  <a:pos x="1088" y="944"/>
                </a:cxn>
                <a:cxn ang="0">
                  <a:pos x="1136" y="1052"/>
                </a:cxn>
                <a:cxn ang="0">
                  <a:pos x="1232" y="1147"/>
                </a:cxn>
                <a:cxn ang="0">
                  <a:pos x="1304" y="1159"/>
                </a:cxn>
                <a:cxn ang="0">
                  <a:pos x="1435" y="1159"/>
                </a:cxn>
                <a:cxn ang="0">
                  <a:pos x="1519" y="980"/>
                </a:cxn>
                <a:cxn ang="0">
                  <a:pos x="1746" y="956"/>
                </a:cxn>
                <a:cxn ang="0">
                  <a:pos x="1722" y="1028"/>
                </a:cxn>
                <a:cxn ang="0">
                  <a:pos x="1699" y="1171"/>
                </a:cxn>
                <a:cxn ang="0">
                  <a:pos x="1675" y="1135"/>
                </a:cxn>
                <a:cxn ang="0">
                  <a:pos x="1603" y="1207"/>
                </a:cxn>
                <a:cxn ang="0">
                  <a:pos x="1471" y="1231"/>
                </a:cxn>
                <a:cxn ang="0">
                  <a:pos x="1507" y="1303"/>
                </a:cxn>
                <a:cxn ang="0">
                  <a:pos x="1447" y="1339"/>
                </a:cxn>
                <a:cxn ang="0">
                  <a:pos x="1364" y="1422"/>
                </a:cxn>
                <a:cxn ang="0">
                  <a:pos x="1256" y="1327"/>
                </a:cxn>
                <a:cxn ang="0">
                  <a:pos x="1136" y="1351"/>
                </a:cxn>
                <a:cxn ang="0">
                  <a:pos x="801" y="1207"/>
                </a:cxn>
                <a:cxn ang="0">
                  <a:pos x="562" y="1028"/>
                </a:cxn>
                <a:cxn ang="0">
                  <a:pos x="598" y="932"/>
                </a:cxn>
                <a:cxn ang="0">
                  <a:pos x="443" y="681"/>
                </a:cxn>
                <a:cxn ang="0">
                  <a:pos x="359" y="586"/>
                </a:cxn>
                <a:cxn ang="0">
                  <a:pos x="335" y="502"/>
                </a:cxn>
                <a:cxn ang="0">
                  <a:pos x="299" y="406"/>
                </a:cxn>
                <a:cxn ang="0">
                  <a:pos x="203" y="155"/>
                </a:cxn>
                <a:cxn ang="0">
                  <a:pos x="108" y="84"/>
                </a:cxn>
                <a:cxn ang="0">
                  <a:pos x="108" y="239"/>
                </a:cxn>
                <a:cxn ang="0">
                  <a:pos x="215" y="466"/>
                </a:cxn>
                <a:cxn ang="0">
                  <a:pos x="239" y="562"/>
                </a:cxn>
                <a:cxn ang="0">
                  <a:pos x="275" y="669"/>
                </a:cxn>
                <a:cxn ang="0">
                  <a:pos x="335" y="741"/>
                </a:cxn>
                <a:cxn ang="0">
                  <a:pos x="287" y="777"/>
                </a:cxn>
                <a:cxn ang="0">
                  <a:pos x="263" y="705"/>
                </a:cxn>
              </a:cxnLst>
              <a:rect l="0" t="0" r="r" b="b"/>
              <a:pathLst>
                <a:path w="1746" h="1422">
                  <a:moveTo>
                    <a:pt x="263" y="705"/>
                  </a:moveTo>
                  <a:lnTo>
                    <a:pt x="203" y="645"/>
                  </a:lnTo>
                  <a:lnTo>
                    <a:pt x="179" y="621"/>
                  </a:lnTo>
                  <a:lnTo>
                    <a:pt x="191" y="598"/>
                  </a:lnTo>
                  <a:lnTo>
                    <a:pt x="191" y="538"/>
                  </a:lnTo>
                  <a:lnTo>
                    <a:pt x="132" y="466"/>
                  </a:lnTo>
                  <a:lnTo>
                    <a:pt x="48" y="382"/>
                  </a:lnTo>
                  <a:lnTo>
                    <a:pt x="60" y="370"/>
                  </a:lnTo>
                  <a:lnTo>
                    <a:pt x="108" y="370"/>
                  </a:lnTo>
                  <a:lnTo>
                    <a:pt x="108" y="311"/>
                  </a:lnTo>
                  <a:lnTo>
                    <a:pt x="36" y="227"/>
                  </a:lnTo>
                  <a:lnTo>
                    <a:pt x="0" y="36"/>
                  </a:lnTo>
                  <a:lnTo>
                    <a:pt x="0" y="0"/>
                  </a:lnTo>
                  <a:lnTo>
                    <a:pt x="36" y="0"/>
                  </a:lnTo>
                  <a:lnTo>
                    <a:pt x="120" y="12"/>
                  </a:lnTo>
                  <a:lnTo>
                    <a:pt x="311" y="155"/>
                  </a:lnTo>
                  <a:lnTo>
                    <a:pt x="359" y="179"/>
                  </a:lnTo>
                  <a:lnTo>
                    <a:pt x="478" y="191"/>
                  </a:lnTo>
                  <a:lnTo>
                    <a:pt x="478" y="167"/>
                  </a:lnTo>
                  <a:lnTo>
                    <a:pt x="574" y="179"/>
                  </a:lnTo>
                  <a:lnTo>
                    <a:pt x="658" y="275"/>
                  </a:lnTo>
                  <a:lnTo>
                    <a:pt x="670" y="347"/>
                  </a:lnTo>
                  <a:lnTo>
                    <a:pt x="754" y="406"/>
                  </a:lnTo>
                  <a:lnTo>
                    <a:pt x="777" y="406"/>
                  </a:lnTo>
                  <a:lnTo>
                    <a:pt x="789" y="359"/>
                  </a:lnTo>
                  <a:lnTo>
                    <a:pt x="837" y="347"/>
                  </a:lnTo>
                  <a:lnTo>
                    <a:pt x="873" y="370"/>
                  </a:lnTo>
                  <a:lnTo>
                    <a:pt x="909" y="454"/>
                  </a:lnTo>
                  <a:lnTo>
                    <a:pt x="969" y="538"/>
                  </a:lnTo>
                  <a:lnTo>
                    <a:pt x="969" y="574"/>
                  </a:lnTo>
                  <a:lnTo>
                    <a:pt x="1005" y="621"/>
                  </a:lnTo>
                  <a:lnTo>
                    <a:pt x="1112" y="645"/>
                  </a:lnTo>
                  <a:lnTo>
                    <a:pt x="1112" y="693"/>
                  </a:lnTo>
                  <a:lnTo>
                    <a:pt x="1065" y="717"/>
                  </a:lnTo>
                  <a:lnTo>
                    <a:pt x="1065" y="920"/>
                  </a:lnTo>
                  <a:lnTo>
                    <a:pt x="1088" y="944"/>
                  </a:lnTo>
                  <a:lnTo>
                    <a:pt x="1088" y="992"/>
                  </a:lnTo>
                  <a:lnTo>
                    <a:pt x="1136" y="1052"/>
                  </a:lnTo>
                  <a:lnTo>
                    <a:pt x="1148" y="1124"/>
                  </a:lnTo>
                  <a:lnTo>
                    <a:pt x="1232" y="1147"/>
                  </a:lnTo>
                  <a:lnTo>
                    <a:pt x="1256" y="1195"/>
                  </a:lnTo>
                  <a:lnTo>
                    <a:pt x="1304" y="1159"/>
                  </a:lnTo>
                  <a:lnTo>
                    <a:pt x="1423" y="1147"/>
                  </a:lnTo>
                  <a:lnTo>
                    <a:pt x="1435" y="1159"/>
                  </a:lnTo>
                  <a:lnTo>
                    <a:pt x="1495" y="1100"/>
                  </a:lnTo>
                  <a:lnTo>
                    <a:pt x="1519" y="980"/>
                  </a:lnTo>
                  <a:lnTo>
                    <a:pt x="1675" y="944"/>
                  </a:lnTo>
                  <a:lnTo>
                    <a:pt x="1746" y="956"/>
                  </a:lnTo>
                  <a:lnTo>
                    <a:pt x="1746" y="1016"/>
                  </a:lnTo>
                  <a:lnTo>
                    <a:pt x="1722" y="1028"/>
                  </a:lnTo>
                  <a:lnTo>
                    <a:pt x="1699" y="1076"/>
                  </a:lnTo>
                  <a:lnTo>
                    <a:pt x="1699" y="1171"/>
                  </a:lnTo>
                  <a:lnTo>
                    <a:pt x="1675" y="1159"/>
                  </a:lnTo>
                  <a:lnTo>
                    <a:pt x="1675" y="1135"/>
                  </a:lnTo>
                  <a:lnTo>
                    <a:pt x="1651" y="1135"/>
                  </a:lnTo>
                  <a:lnTo>
                    <a:pt x="1603" y="1207"/>
                  </a:lnTo>
                  <a:lnTo>
                    <a:pt x="1483" y="1207"/>
                  </a:lnTo>
                  <a:lnTo>
                    <a:pt x="1471" y="1231"/>
                  </a:lnTo>
                  <a:lnTo>
                    <a:pt x="1447" y="1231"/>
                  </a:lnTo>
                  <a:lnTo>
                    <a:pt x="1507" y="1303"/>
                  </a:lnTo>
                  <a:lnTo>
                    <a:pt x="1519" y="1327"/>
                  </a:lnTo>
                  <a:lnTo>
                    <a:pt x="1447" y="1339"/>
                  </a:lnTo>
                  <a:lnTo>
                    <a:pt x="1388" y="1410"/>
                  </a:lnTo>
                  <a:lnTo>
                    <a:pt x="1364" y="1422"/>
                  </a:lnTo>
                  <a:lnTo>
                    <a:pt x="1340" y="1363"/>
                  </a:lnTo>
                  <a:lnTo>
                    <a:pt x="1256" y="1327"/>
                  </a:lnTo>
                  <a:lnTo>
                    <a:pt x="1220" y="1327"/>
                  </a:lnTo>
                  <a:lnTo>
                    <a:pt x="1136" y="1351"/>
                  </a:lnTo>
                  <a:lnTo>
                    <a:pt x="1041" y="1327"/>
                  </a:lnTo>
                  <a:lnTo>
                    <a:pt x="801" y="1207"/>
                  </a:lnTo>
                  <a:lnTo>
                    <a:pt x="646" y="1112"/>
                  </a:lnTo>
                  <a:lnTo>
                    <a:pt x="562" y="1028"/>
                  </a:lnTo>
                  <a:lnTo>
                    <a:pt x="550" y="992"/>
                  </a:lnTo>
                  <a:lnTo>
                    <a:pt x="598" y="932"/>
                  </a:lnTo>
                  <a:lnTo>
                    <a:pt x="550" y="837"/>
                  </a:lnTo>
                  <a:lnTo>
                    <a:pt x="443" y="681"/>
                  </a:lnTo>
                  <a:lnTo>
                    <a:pt x="443" y="645"/>
                  </a:lnTo>
                  <a:lnTo>
                    <a:pt x="359" y="586"/>
                  </a:lnTo>
                  <a:lnTo>
                    <a:pt x="383" y="538"/>
                  </a:lnTo>
                  <a:lnTo>
                    <a:pt x="335" y="502"/>
                  </a:lnTo>
                  <a:lnTo>
                    <a:pt x="299" y="430"/>
                  </a:lnTo>
                  <a:lnTo>
                    <a:pt x="299" y="406"/>
                  </a:lnTo>
                  <a:lnTo>
                    <a:pt x="215" y="323"/>
                  </a:lnTo>
                  <a:lnTo>
                    <a:pt x="203" y="155"/>
                  </a:lnTo>
                  <a:lnTo>
                    <a:pt x="179" y="119"/>
                  </a:lnTo>
                  <a:lnTo>
                    <a:pt x="108" y="84"/>
                  </a:lnTo>
                  <a:lnTo>
                    <a:pt x="96" y="96"/>
                  </a:lnTo>
                  <a:lnTo>
                    <a:pt x="108" y="239"/>
                  </a:lnTo>
                  <a:lnTo>
                    <a:pt x="167" y="299"/>
                  </a:lnTo>
                  <a:lnTo>
                    <a:pt x="215" y="466"/>
                  </a:lnTo>
                  <a:lnTo>
                    <a:pt x="239" y="502"/>
                  </a:lnTo>
                  <a:lnTo>
                    <a:pt x="239" y="562"/>
                  </a:lnTo>
                  <a:lnTo>
                    <a:pt x="263" y="586"/>
                  </a:lnTo>
                  <a:lnTo>
                    <a:pt x="275" y="669"/>
                  </a:lnTo>
                  <a:lnTo>
                    <a:pt x="323" y="717"/>
                  </a:lnTo>
                  <a:lnTo>
                    <a:pt x="335" y="741"/>
                  </a:lnTo>
                  <a:lnTo>
                    <a:pt x="311" y="789"/>
                  </a:lnTo>
                  <a:lnTo>
                    <a:pt x="287" y="777"/>
                  </a:lnTo>
                  <a:lnTo>
                    <a:pt x="287" y="741"/>
                  </a:lnTo>
                  <a:lnTo>
                    <a:pt x="263" y="705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81" name="Agrupar 80">
            <a:extLst>
              <a:ext uri="{FF2B5EF4-FFF2-40B4-BE49-F238E27FC236}">
                <a16:creationId xmlns:a16="http://schemas.microsoft.com/office/drawing/2014/main" id="{1E146E67-D68E-4564-BFF2-AFB0699E3A9F}"/>
              </a:ext>
            </a:extLst>
          </p:cNvPr>
          <p:cNvGrpSpPr/>
          <p:nvPr/>
        </p:nvGrpSpPr>
        <p:grpSpPr>
          <a:xfrm>
            <a:off x="4681324" y="1179088"/>
            <a:ext cx="3592350" cy="4176712"/>
            <a:chOff x="4681324" y="1179088"/>
            <a:chExt cx="3592350" cy="4176712"/>
          </a:xfrm>
        </p:grpSpPr>
        <p:sp>
          <p:nvSpPr>
            <p:cNvPr id="56" name="Freeform 5"/>
            <p:cNvSpPr>
              <a:spLocks/>
            </p:cNvSpPr>
            <p:nvPr/>
          </p:nvSpPr>
          <p:spPr bwMode="auto">
            <a:xfrm>
              <a:off x="5771959" y="2104593"/>
              <a:ext cx="292335" cy="140441"/>
            </a:xfrm>
            <a:custGeom>
              <a:avLst/>
              <a:gdLst/>
              <a:ahLst/>
              <a:cxnLst>
                <a:cxn ang="0">
                  <a:pos x="59" y="82"/>
                </a:cxn>
                <a:cxn ang="0">
                  <a:pos x="53" y="70"/>
                </a:cxn>
                <a:cxn ang="0">
                  <a:pos x="41" y="76"/>
                </a:cxn>
                <a:cxn ang="0">
                  <a:pos x="30" y="70"/>
                </a:cxn>
                <a:cxn ang="0">
                  <a:pos x="18" y="59"/>
                </a:cxn>
                <a:cxn ang="0">
                  <a:pos x="0" y="59"/>
                </a:cxn>
                <a:cxn ang="0">
                  <a:pos x="6" y="47"/>
                </a:cxn>
                <a:cxn ang="0">
                  <a:pos x="13" y="28"/>
                </a:cxn>
                <a:cxn ang="0">
                  <a:pos x="30" y="18"/>
                </a:cxn>
                <a:cxn ang="0">
                  <a:pos x="41" y="12"/>
                </a:cxn>
                <a:cxn ang="0">
                  <a:pos x="59" y="6"/>
                </a:cxn>
                <a:cxn ang="0">
                  <a:pos x="77" y="6"/>
                </a:cxn>
                <a:cxn ang="0">
                  <a:pos x="88" y="12"/>
                </a:cxn>
                <a:cxn ang="0">
                  <a:pos x="124" y="0"/>
                </a:cxn>
                <a:cxn ang="0">
                  <a:pos x="171" y="6"/>
                </a:cxn>
                <a:cxn ang="0">
                  <a:pos x="201" y="23"/>
                </a:cxn>
                <a:cxn ang="0">
                  <a:pos x="208" y="31"/>
                </a:cxn>
                <a:cxn ang="0">
                  <a:pos x="183" y="35"/>
                </a:cxn>
                <a:cxn ang="0">
                  <a:pos x="165" y="47"/>
                </a:cxn>
                <a:cxn ang="0">
                  <a:pos x="148" y="41"/>
                </a:cxn>
                <a:cxn ang="0">
                  <a:pos x="130" y="65"/>
                </a:cxn>
                <a:cxn ang="0">
                  <a:pos x="88" y="76"/>
                </a:cxn>
                <a:cxn ang="0">
                  <a:pos x="82" y="100"/>
                </a:cxn>
                <a:cxn ang="0">
                  <a:pos x="65" y="94"/>
                </a:cxn>
                <a:cxn ang="0">
                  <a:pos x="59" y="82"/>
                </a:cxn>
              </a:cxnLst>
              <a:rect l="0" t="0" r="r" b="b"/>
              <a:pathLst>
                <a:path w="208" h="100">
                  <a:moveTo>
                    <a:pt x="59" y="82"/>
                  </a:moveTo>
                  <a:lnTo>
                    <a:pt x="53" y="70"/>
                  </a:lnTo>
                  <a:lnTo>
                    <a:pt x="41" y="76"/>
                  </a:lnTo>
                  <a:lnTo>
                    <a:pt x="30" y="70"/>
                  </a:lnTo>
                  <a:lnTo>
                    <a:pt x="18" y="59"/>
                  </a:lnTo>
                  <a:lnTo>
                    <a:pt x="0" y="59"/>
                  </a:lnTo>
                  <a:lnTo>
                    <a:pt x="6" y="47"/>
                  </a:lnTo>
                  <a:lnTo>
                    <a:pt x="13" y="28"/>
                  </a:lnTo>
                  <a:lnTo>
                    <a:pt x="30" y="18"/>
                  </a:lnTo>
                  <a:lnTo>
                    <a:pt x="41" y="12"/>
                  </a:lnTo>
                  <a:lnTo>
                    <a:pt x="59" y="6"/>
                  </a:lnTo>
                  <a:lnTo>
                    <a:pt x="77" y="6"/>
                  </a:lnTo>
                  <a:lnTo>
                    <a:pt x="88" y="12"/>
                  </a:lnTo>
                  <a:lnTo>
                    <a:pt x="124" y="0"/>
                  </a:lnTo>
                  <a:lnTo>
                    <a:pt x="171" y="6"/>
                  </a:lnTo>
                  <a:lnTo>
                    <a:pt x="201" y="23"/>
                  </a:lnTo>
                  <a:lnTo>
                    <a:pt x="208" y="31"/>
                  </a:lnTo>
                  <a:lnTo>
                    <a:pt x="183" y="35"/>
                  </a:lnTo>
                  <a:lnTo>
                    <a:pt x="165" y="47"/>
                  </a:lnTo>
                  <a:lnTo>
                    <a:pt x="148" y="41"/>
                  </a:lnTo>
                  <a:lnTo>
                    <a:pt x="130" y="65"/>
                  </a:lnTo>
                  <a:lnTo>
                    <a:pt x="88" y="76"/>
                  </a:lnTo>
                  <a:lnTo>
                    <a:pt x="82" y="100"/>
                  </a:lnTo>
                  <a:lnTo>
                    <a:pt x="65" y="94"/>
                  </a:lnTo>
                  <a:lnTo>
                    <a:pt x="59" y="82"/>
                  </a:lnTo>
                  <a:close/>
                </a:path>
              </a:pathLst>
            </a:custGeom>
            <a:solidFill>
              <a:srgbClr val="D6D6CE"/>
            </a:solidFill>
            <a:ln w="9525" cmpd="sng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r"/>
              <a:endParaRPr lang="de-DE"/>
            </a:p>
          </p:txBody>
        </p:sp>
        <p:sp>
          <p:nvSpPr>
            <p:cNvPr id="57" name="Freeform 6"/>
            <p:cNvSpPr>
              <a:spLocks/>
            </p:cNvSpPr>
            <p:nvPr/>
          </p:nvSpPr>
          <p:spPr bwMode="auto">
            <a:xfrm>
              <a:off x="6619450" y="3645230"/>
              <a:ext cx="269848" cy="1710570"/>
            </a:xfrm>
            <a:custGeom>
              <a:avLst/>
              <a:gdLst/>
              <a:ahLst/>
              <a:cxnLst>
                <a:cxn ang="0">
                  <a:pos x="184" y="1144"/>
                </a:cxn>
                <a:cxn ang="0">
                  <a:pos x="163" y="1128"/>
                </a:cxn>
                <a:cxn ang="0">
                  <a:pos x="104" y="1088"/>
                </a:cxn>
                <a:cxn ang="0">
                  <a:pos x="76" y="1049"/>
                </a:cxn>
                <a:cxn ang="0">
                  <a:pos x="85" y="988"/>
                </a:cxn>
                <a:cxn ang="0">
                  <a:pos x="86" y="883"/>
                </a:cxn>
                <a:cxn ang="0">
                  <a:pos x="64" y="817"/>
                </a:cxn>
                <a:cxn ang="0">
                  <a:pos x="68" y="703"/>
                </a:cxn>
                <a:cxn ang="0">
                  <a:pos x="65" y="625"/>
                </a:cxn>
                <a:cxn ang="0">
                  <a:pos x="82" y="574"/>
                </a:cxn>
                <a:cxn ang="0">
                  <a:pos x="57" y="449"/>
                </a:cxn>
                <a:cxn ang="0">
                  <a:pos x="83" y="350"/>
                </a:cxn>
                <a:cxn ang="0">
                  <a:pos x="102" y="221"/>
                </a:cxn>
                <a:cxn ang="0">
                  <a:pos x="139" y="167"/>
                </a:cxn>
                <a:cxn ang="0">
                  <a:pos x="106" y="131"/>
                </a:cxn>
                <a:cxn ang="0">
                  <a:pos x="86" y="53"/>
                </a:cxn>
                <a:cxn ang="0">
                  <a:pos x="69" y="12"/>
                </a:cxn>
                <a:cxn ang="0">
                  <a:pos x="25" y="20"/>
                </a:cxn>
                <a:cxn ang="0">
                  <a:pos x="45" y="110"/>
                </a:cxn>
                <a:cxn ang="0">
                  <a:pos x="37" y="204"/>
                </a:cxn>
                <a:cxn ang="0">
                  <a:pos x="25" y="380"/>
                </a:cxn>
                <a:cxn ang="0">
                  <a:pos x="25" y="425"/>
                </a:cxn>
                <a:cxn ang="0">
                  <a:pos x="12" y="645"/>
                </a:cxn>
                <a:cxn ang="0">
                  <a:pos x="0" y="674"/>
                </a:cxn>
                <a:cxn ang="0">
                  <a:pos x="12" y="777"/>
                </a:cxn>
                <a:cxn ang="0">
                  <a:pos x="49" y="789"/>
                </a:cxn>
                <a:cxn ang="0">
                  <a:pos x="40" y="832"/>
                </a:cxn>
                <a:cxn ang="0">
                  <a:pos x="41" y="883"/>
                </a:cxn>
                <a:cxn ang="0">
                  <a:pos x="41" y="940"/>
                </a:cxn>
                <a:cxn ang="0">
                  <a:pos x="29" y="932"/>
                </a:cxn>
                <a:cxn ang="0">
                  <a:pos x="17" y="944"/>
                </a:cxn>
                <a:cxn ang="0">
                  <a:pos x="41" y="969"/>
                </a:cxn>
                <a:cxn ang="0">
                  <a:pos x="41" y="1009"/>
                </a:cxn>
                <a:cxn ang="0">
                  <a:pos x="41" y="1067"/>
                </a:cxn>
                <a:cxn ang="0">
                  <a:pos x="82" y="1140"/>
                </a:cxn>
                <a:cxn ang="0">
                  <a:pos x="139" y="1210"/>
                </a:cxn>
                <a:cxn ang="0">
                  <a:pos x="192" y="1218"/>
                </a:cxn>
              </a:cxnLst>
              <a:rect l="0" t="0" r="r" b="b"/>
              <a:pathLst>
                <a:path w="192" h="1218">
                  <a:moveTo>
                    <a:pt x="192" y="1218"/>
                  </a:moveTo>
                  <a:lnTo>
                    <a:pt x="184" y="1144"/>
                  </a:lnTo>
                  <a:lnTo>
                    <a:pt x="163" y="1144"/>
                  </a:lnTo>
                  <a:lnTo>
                    <a:pt x="163" y="1128"/>
                  </a:lnTo>
                  <a:lnTo>
                    <a:pt x="111" y="1128"/>
                  </a:lnTo>
                  <a:lnTo>
                    <a:pt x="104" y="1088"/>
                  </a:lnTo>
                  <a:lnTo>
                    <a:pt x="82" y="1087"/>
                  </a:lnTo>
                  <a:lnTo>
                    <a:pt x="76" y="1049"/>
                  </a:lnTo>
                  <a:lnTo>
                    <a:pt x="91" y="1013"/>
                  </a:lnTo>
                  <a:lnTo>
                    <a:pt x="85" y="988"/>
                  </a:lnTo>
                  <a:lnTo>
                    <a:pt x="90" y="969"/>
                  </a:lnTo>
                  <a:lnTo>
                    <a:pt x="86" y="883"/>
                  </a:lnTo>
                  <a:lnTo>
                    <a:pt x="78" y="879"/>
                  </a:lnTo>
                  <a:lnTo>
                    <a:pt x="64" y="817"/>
                  </a:lnTo>
                  <a:lnTo>
                    <a:pt x="70" y="788"/>
                  </a:lnTo>
                  <a:lnTo>
                    <a:pt x="68" y="703"/>
                  </a:lnTo>
                  <a:lnTo>
                    <a:pt x="69" y="678"/>
                  </a:lnTo>
                  <a:lnTo>
                    <a:pt x="65" y="625"/>
                  </a:lnTo>
                  <a:lnTo>
                    <a:pt x="82" y="611"/>
                  </a:lnTo>
                  <a:lnTo>
                    <a:pt x="82" y="574"/>
                  </a:lnTo>
                  <a:lnTo>
                    <a:pt x="92" y="536"/>
                  </a:lnTo>
                  <a:lnTo>
                    <a:pt x="57" y="449"/>
                  </a:lnTo>
                  <a:lnTo>
                    <a:pt x="77" y="406"/>
                  </a:lnTo>
                  <a:lnTo>
                    <a:pt x="83" y="350"/>
                  </a:lnTo>
                  <a:lnTo>
                    <a:pt x="113" y="299"/>
                  </a:lnTo>
                  <a:lnTo>
                    <a:pt x="102" y="221"/>
                  </a:lnTo>
                  <a:lnTo>
                    <a:pt x="142" y="202"/>
                  </a:lnTo>
                  <a:lnTo>
                    <a:pt x="139" y="167"/>
                  </a:lnTo>
                  <a:lnTo>
                    <a:pt x="111" y="171"/>
                  </a:lnTo>
                  <a:lnTo>
                    <a:pt x="106" y="131"/>
                  </a:lnTo>
                  <a:lnTo>
                    <a:pt x="86" y="81"/>
                  </a:lnTo>
                  <a:lnTo>
                    <a:pt x="86" y="53"/>
                  </a:lnTo>
                  <a:lnTo>
                    <a:pt x="69" y="37"/>
                  </a:lnTo>
                  <a:lnTo>
                    <a:pt x="69" y="12"/>
                  </a:lnTo>
                  <a:lnTo>
                    <a:pt x="53" y="0"/>
                  </a:lnTo>
                  <a:lnTo>
                    <a:pt x="25" y="20"/>
                  </a:lnTo>
                  <a:lnTo>
                    <a:pt x="33" y="24"/>
                  </a:lnTo>
                  <a:lnTo>
                    <a:pt x="45" y="110"/>
                  </a:lnTo>
                  <a:lnTo>
                    <a:pt x="45" y="159"/>
                  </a:lnTo>
                  <a:lnTo>
                    <a:pt x="37" y="204"/>
                  </a:lnTo>
                  <a:lnTo>
                    <a:pt x="41" y="298"/>
                  </a:lnTo>
                  <a:lnTo>
                    <a:pt x="25" y="380"/>
                  </a:lnTo>
                  <a:lnTo>
                    <a:pt x="37" y="405"/>
                  </a:lnTo>
                  <a:lnTo>
                    <a:pt x="25" y="425"/>
                  </a:lnTo>
                  <a:lnTo>
                    <a:pt x="41" y="490"/>
                  </a:lnTo>
                  <a:lnTo>
                    <a:pt x="12" y="645"/>
                  </a:lnTo>
                  <a:lnTo>
                    <a:pt x="0" y="645"/>
                  </a:lnTo>
                  <a:lnTo>
                    <a:pt x="0" y="674"/>
                  </a:lnTo>
                  <a:lnTo>
                    <a:pt x="21" y="711"/>
                  </a:lnTo>
                  <a:lnTo>
                    <a:pt x="12" y="777"/>
                  </a:lnTo>
                  <a:lnTo>
                    <a:pt x="25" y="797"/>
                  </a:lnTo>
                  <a:lnTo>
                    <a:pt x="49" y="789"/>
                  </a:lnTo>
                  <a:lnTo>
                    <a:pt x="50" y="830"/>
                  </a:lnTo>
                  <a:lnTo>
                    <a:pt x="40" y="832"/>
                  </a:lnTo>
                  <a:lnTo>
                    <a:pt x="34" y="854"/>
                  </a:lnTo>
                  <a:lnTo>
                    <a:pt x="41" y="883"/>
                  </a:lnTo>
                  <a:lnTo>
                    <a:pt x="53" y="889"/>
                  </a:lnTo>
                  <a:lnTo>
                    <a:pt x="41" y="940"/>
                  </a:lnTo>
                  <a:lnTo>
                    <a:pt x="33" y="948"/>
                  </a:lnTo>
                  <a:lnTo>
                    <a:pt x="29" y="932"/>
                  </a:lnTo>
                  <a:lnTo>
                    <a:pt x="17" y="932"/>
                  </a:lnTo>
                  <a:lnTo>
                    <a:pt x="17" y="944"/>
                  </a:lnTo>
                  <a:lnTo>
                    <a:pt x="17" y="965"/>
                  </a:lnTo>
                  <a:lnTo>
                    <a:pt x="41" y="969"/>
                  </a:lnTo>
                  <a:lnTo>
                    <a:pt x="37" y="993"/>
                  </a:lnTo>
                  <a:lnTo>
                    <a:pt x="41" y="1009"/>
                  </a:lnTo>
                  <a:lnTo>
                    <a:pt x="33" y="1030"/>
                  </a:lnTo>
                  <a:lnTo>
                    <a:pt x="41" y="1067"/>
                  </a:lnTo>
                  <a:lnTo>
                    <a:pt x="61" y="1103"/>
                  </a:lnTo>
                  <a:lnTo>
                    <a:pt x="82" y="1140"/>
                  </a:lnTo>
                  <a:lnTo>
                    <a:pt x="111" y="1157"/>
                  </a:lnTo>
                  <a:lnTo>
                    <a:pt x="139" y="1210"/>
                  </a:lnTo>
                  <a:lnTo>
                    <a:pt x="155" y="1218"/>
                  </a:lnTo>
                  <a:lnTo>
                    <a:pt x="192" y="1218"/>
                  </a:lnTo>
                  <a:close/>
                </a:path>
              </a:pathLst>
            </a:custGeom>
            <a:solidFill>
              <a:srgbClr val="D6D6CE"/>
            </a:solidFill>
            <a:ln w="9525" cmpd="sng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r"/>
              <a:endParaRPr lang="de-DE"/>
            </a:p>
          </p:txBody>
        </p:sp>
        <p:sp>
          <p:nvSpPr>
            <p:cNvPr id="58" name="Freeform 7"/>
            <p:cNvSpPr>
              <a:spLocks/>
            </p:cNvSpPr>
            <p:nvPr/>
          </p:nvSpPr>
          <p:spPr bwMode="auto">
            <a:xfrm>
              <a:off x="7004546" y="3707024"/>
              <a:ext cx="359797" cy="374977"/>
            </a:xfrm>
            <a:custGeom>
              <a:avLst/>
              <a:gdLst/>
              <a:ahLst/>
              <a:cxnLst>
                <a:cxn ang="0">
                  <a:pos x="8" y="53"/>
                </a:cxn>
                <a:cxn ang="0">
                  <a:pos x="20" y="17"/>
                </a:cxn>
                <a:cxn ang="0">
                  <a:pos x="69" y="0"/>
                </a:cxn>
                <a:cxn ang="0">
                  <a:pos x="118" y="0"/>
                </a:cxn>
                <a:cxn ang="0">
                  <a:pos x="139" y="29"/>
                </a:cxn>
                <a:cxn ang="0">
                  <a:pos x="142" y="81"/>
                </a:cxn>
                <a:cxn ang="0">
                  <a:pos x="157" y="104"/>
                </a:cxn>
                <a:cxn ang="0">
                  <a:pos x="216" y="111"/>
                </a:cxn>
                <a:cxn ang="0">
                  <a:pos x="216" y="137"/>
                </a:cxn>
                <a:cxn ang="0">
                  <a:pos x="233" y="155"/>
                </a:cxn>
                <a:cxn ang="0">
                  <a:pos x="256" y="158"/>
                </a:cxn>
                <a:cxn ang="0">
                  <a:pos x="243" y="216"/>
                </a:cxn>
                <a:cxn ang="0">
                  <a:pos x="240" y="246"/>
                </a:cxn>
                <a:cxn ang="0">
                  <a:pos x="214" y="267"/>
                </a:cxn>
                <a:cxn ang="0">
                  <a:pos x="151" y="262"/>
                </a:cxn>
                <a:cxn ang="0">
                  <a:pos x="127" y="262"/>
                </a:cxn>
                <a:cxn ang="0">
                  <a:pos x="127" y="245"/>
                </a:cxn>
                <a:cxn ang="0">
                  <a:pos x="147" y="217"/>
                </a:cxn>
                <a:cxn ang="0">
                  <a:pos x="143" y="196"/>
                </a:cxn>
                <a:cxn ang="0">
                  <a:pos x="94" y="163"/>
                </a:cxn>
                <a:cxn ang="0">
                  <a:pos x="57" y="159"/>
                </a:cxn>
                <a:cxn ang="0">
                  <a:pos x="0" y="102"/>
                </a:cxn>
                <a:cxn ang="0">
                  <a:pos x="4" y="82"/>
                </a:cxn>
                <a:cxn ang="0">
                  <a:pos x="8" y="53"/>
                </a:cxn>
              </a:cxnLst>
              <a:rect l="0" t="0" r="r" b="b"/>
              <a:pathLst>
                <a:path w="256" h="267">
                  <a:moveTo>
                    <a:pt x="8" y="53"/>
                  </a:moveTo>
                  <a:lnTo>
                    <a:pt x="20" y="17"/>
                  </a:lnTo>
                  <a:lnTo>
                    <a:pt x="69" y="0"/>
                  </a:lnTo>
                  <a:lnTo>
                    <a:pt x="118" y="0"/>
                  </a:lnTo>
                  <a:lnTo>
                    <a:pt x="139" y="29"/>
                  </a:lnTo>
                  <a:lnTo>
                    <a:pt x="142" y="81"/>
                  </a:lnTo>
                  <a:lnTo>
                    <a:pt x="157" y="104"/>
                  </a:lnTo>
                  <a:lnTo>
                    <a:pt x="216" y="111"/>
                  </a:lnTo>
                  <a:lnTo>
                    <a:pt x="216" y="137"/>
                  </a:lnTo>
                  <a:lnTo>
                    <a:pt x="233" y="155"/>
                  </a:lnTo>
                  <a:lnTo>
                    <a:pt x="256" y="158"/>
                  </a:lnTo>
                  <a:lnTo>
                    <a:pt x="243" y="216"/>
                  </a:lnTo>
                  <a:lnTo>
                    <a:pt x="240" y="246"/>
                  </a:lnTo>
                  <a:lnTo>
                    <a:pt x="214" y="267"/>
                  </a:lnTo>
                  <a:lnTo>
                    <a:pt x="151" y="262"/>
                  </a:lnTo>
                  <a:lnTo>
                    <a:pt x="127" y="262"/>
                  </a:lnTo>
                  <a:lnTo>
                    <a:pt x="127" y="245"/>
                  </a:lnTo>
                  <a:lnTo>
                    <a:pt x="147" y="217"/>
                  </a:lnTo>
                  <a:lnTo>
                    <a:pt x="143" y="196"/>
                  </a:lnTo>
                  <a:lnTo>
                    <a:pt x="94" y="163"/>
                  </a:lnTo>
                  <a:lnTo>
                    <a:pt x="57" y="159"/>
                  </a:lnTo>
                  <a:lnTo>
                    <a:pt x="0" y="102"/>
                  </a:lnTo>
                  <a:lnTo>
                    <a:pt x="4" y="82"/>
                  </a:lnTo>
                  <a:lnTo>
                    <a:pt x="8" y="53"/>
                  </a:lnTo>
                  <a:close/>
                </a:path>
              </a:pathLst>
            </a:custGeom>
            <a:solidFill>
              <a:srgbClr val="D6D6CE"/>
            </a:solidFill>
            <a:ln w="9525" cmpd="sng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r"/>
              <a:endParaRPr lang="de-DE"/>
            </a:p>
          </p:txBody>
        </p:sp>
        <p:sp>
          <p:nvSpPr>
            <p:cNvPr id="59" name="Freeform 8"/>
            <p:cNvSpPr>
              <a:spLocks/>
            </p:cNvSpPr>
            <p:nvPr/>
          </p:nvSpPr>
          <p:spPr bwMode="auto">
            <a:xfrm>
              <a:off x="6677074" y="3277275"/>
              <a:ext cx="539696" cy="613727"/>
            </a:xfrm>
            <a:custGeom>
              <a:avLst/>
              <a:gdLst/>
              <a:ahLst/>
              <a:cxnLst>
                <a:cxn ang="0">
                  <a:pos x="0" y="45"/>
                </a:cxn>
                <a:cxn ang="0">
                  <a:pos x="61" y="45"/>
                </a:cxn>
                <a:cxn ang="0">
                  <a:pos x="103" y="0"/>
                </a:cxn>
                <a:cxn ang="0">
                  <a:pos x="139" y="4"/>
                </a:cxn>
                <a:cxn ang="0">
                  <a:pos x="147" y="37"/>
                </a:cxn>
                <a:cxn ang="0">
                  <a:pos x="139" y="61"/>
                </a:cxn>
                <a:cxn ang="0">
                  <a:pos x="172" y="90"/>
                </a:cxn>
                <a:cxn ang="0">
                  <a:pos x="205" y="90"/>
                </a:cxn>
                <a:cxn ang="0">
                  <a:pos x="299" y="135"/>
                </a:cxn>
                <a:cxn ang="0">
                  <a:pos x="303" y="192"/>
                </a:cxn>
                <a:cxn ang="0">
                  <a:pos x="307" y="209"/>
                </a:cxn>
                <a:cxn ang="0">
                  <a:pos x="364" y="217"/>
                </a:cxn>
                <a:cxn ang="0">
                  <a:pos x="384" y="258"/>
                </a:cxn>
                <a:cxn ang="0">
                  <a:pos x="384" y="310"/>
                </a:cxn>
                <a:cxn ang="0">
                  <a:pos x="372" y="335"/>
                </a:cxn>
                <a:cxn ang="0">
                  <a:pos x="351" y="310"/>
                </a:cxn>
                <a:cxn ang="0">
                  <a:pos x="303" y="310"/>
                </a:cxn>
                <a:cxn ang="0">
                  <a:pos x="253" y="323"/>
                </a:cxn>
                <a:cxn ang="0">
                  <a:pos x="241" y="360"/>
                </a:cxn>
                <a:cxn ang="0">
                  <a:pos x="237" y="388"/>
                </a:cxn>
                <a:cxn ang="0">
                  <a:pos x="233" y="413"/>
                </a:cxn>
                <a:cxn ang="0">
                  <a:pos x="217" y="400"/>
                </a:cxn>
                <a:cxn ang="0">
                  <a:pos x="197" y="400"/>
                </a:cxn>
                <a:cxn ang="0">
                  <a:pos x="185" y="419"/>
                </a:cxn>
                <a:cxn ang="0">
                  <a:pos x="127" y="396"/>
                </a:cxn>
                <a:cxn ang="0">
                  <a:pos x="98" y="433"/>
                </a:cxn>
                <a:cxn ang="0">
                  <a:pos x="70" y="437"/>
                </a:cxn>
                <a:cxn ang="0">
                  <a:pos x="65" y="396"/>
                </a:cxn>
                <a:cxn ang="0">
                  <a:pos x="45" y="347"/>
                </a:cxn>
                <a:cxn ang="0">
                  <a:pos x="45" y="314"/>
                </a:cxn>
                <a:cxn ang="0">
                  <a:pos x="29" y="302"/>
                </a:cxn>
                <a:cxn ang="0">
                  <a:pos x="29" y="278"/>
                </a:cxn>
                <a:cxn ang="0">
                  <a:pos x="13" y="266"/>
                </a:cxn>
                <a:cxn ang="0">
                  <a:pos x="13" y="245"/>
                </a:cxn>
                <a:cxn ang="0">
                  <a:pos x="29" y="229"/>
                </a:cxn>
                <a:cxn ang="0">
                  <a:pos x="29" y="220"/>
                </a:cxn>
                <a:cxn ang="0">
                  <a:pos x="17" y="213"/>
                </a:cxn>
                <a:cxn ang="0">
                  <a:pos x="29" y="86"/>
                </a:cxn>
                <a:cxn ang="0">
                  <a:pos x="0" y="45"/>
                </a:cxn>
              </a:cxnLst>
              <a:rect l="0" t="0" r="r" b="b"/>
              <a:pathLst>
                <a:path w="384" h="437">
                  <a:moveTo>
                    <a:pt x="0" y="45"/>
                  </a:moveTo>
                  <a:lnTo>
                    <a:pt x="61" y="45"/>
                  </a:lnTo>
                  <a:lnTo>
                    <a:pt x="103" y="0"/>
                  </a:lnTo>
                  <a:lnTo>
                    <a:pt x="139" y="4"/>
                  </a:lnTo>
                  <a:lnTo>
                    <a:pt x="147" y="37"/>
                  </a:lnTo>
                  <a:lnTo>
                    <a:pt x="139" y="61"/>
                  </a:lnTo>
                  <a:lnTo>
                    <a:pt x="172" y="90"/>
                  </a:lnTo>
                  <a:lnTo>
                    <a:pt x="205" y="90"/>
                  </a:lnTo>
                  <a:lnTo>
                    <a:pt x="299" y="135"/>
                  </a:lnTo>
                  <a:lnTo>
                    <a:pt x="303" y="192"/>
                  </a:lnTo>
                  <a:lnTo>
                    <a:pt x="307" y="209"/>
                  </a:lnTo>
                  <a:lnTo>
                    <a:pt x="364" y="217"/>
                  </a:lnTo>
                  <a:lnTo>
                    <a:pt x="384" y="258"/>
                  </a:lnTo>
                  <a:lnTo>
                    <a:pt x="384" y="310"/>
                  </a:lnTo>
                  <a:lnTo>
                    <a:pt x="372" y="335"/>
                  </a:lnTo>
                  <a:lnTo>
                    <a:pt x="351" y="310"/>
                  </a:lnTo>
                  <a:lnTo>
                    <a:pt x="303" y="310"/>
                  </a:lnTo>
                  <a:lnTo>
                    <a:pt x="253" y="323"/>
                  </a:lnTo>
                  <a:lnTo>
                    <a:pt x="241" y="360"/>
                  </a:lnTo>
                  <a:lnTo>
                    <a:pt x="237" y="388"/>
                  </a:lnTo>
                  <a:lnTo>
                    <a:pt x="233" y="413"/>
                  </a:lnTo>
                  <a:lnTo>
                    <a:pt x="217" y="400"/>
                  </a:lnTo>
                  <a:lnTo>
                    <a:pt x="197" y="400"/>
                  </a:lnTo>
                  <a:lnTo>
                    <a:pt x="185" y="419"/>
                  </a:lnTo>
                  <a:lnTo>
                    <a:pt x="127" y="396"/>
                  </a:lnTo>
                  <a:lnTo>
                    <a:pt x="98" y="433"/>
                  </a:lnTo>
                  <a:lnTo>
                    <a:pt x="70" y="437"/>
                  </a:lnTo>
                  <a:lnTo>
                    <a:pt x="65" y="396"/>
                  </a:lnTo>
                  <a:lnTo>
                    <a:pt x="45" y="347"/>
                  </a:lnTo>
                  <a:lnTo>
                    <a:pt x="45" y="314"/>
                  </a:lnTo>
                  <a:lnTo>
                    <a:pt x="29" y="302"/>
                  </a:lnTo>
                  <a:lnTo>
                    <a:pt x="29" y="278"/>
                  </a:lnTo>
                  <a:lnTo>
                    <a:pt x="13" y="266"/>
                  </a:lnTo>
                  <a:lnTo>
                    <a:pt x="13" y="245"/>
                  </a:lnTo>
                  <a:lnTo>
                    <a:pt x="29" y="229"/>
                  </a:lnTo>
                  <a:lnTo>
                    <a:pt x="29" y="220"/>
                  </a:lnTo>
                  <a:lnTo>
                    <a:pt x="17" y="213"/>
                  </a:lnTo>
                  <a:lnTo>
                    <a:pt x="29" y="86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rgbClr val="D6D6CE"/>
            </a:solidFill>
            <a:ln w="9525" cmpd="sng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r"/>
              <a:endParaRPr lang="de-DE"/>
            </a:p>
          </p:txBody>
        </p:sp>
        <p:sp>
          <p:nvSpPr>
            <p:cNvPr id="60" name="Freeform 9"/>
            <p:cNvSpPr>
              <a:spLocks/>
            </p:cNvSpPr>
            <p:nvPr/>
          </p:nvSpPr>
          <p:spPr bwMode="auto">
            <a:xfrm>
              <a:off x="7367154" y="2570857"/>
              <a:ext cx="140546" cy="171338"/>
            </a:xfrm>
            <a:custGeom>
              <a:avLst/>
              <a:gdLst/>
              <a:ahLst/>
              <a:cxnLst>
                <a:cxn ang="0">
                  <a:pos x="100" y="55"/>
                </a:cxn>
                <a:cxn ang="0">
                  <a:pos x="49" y="12"/>
                </a:cxn>
                <a:cxn ang="0">
                  <a:pos x="16" y="0"/>
                </a:cxn>
                <a:cxn ang="0">
                  <a:pos x="8" y="45"/>
                </a:cxn>
                <a:cxn ang="0">
                  <a:pos x="20" y="61"/>
                </a:cxn>
                <a:cxn ang="0">
                  <a:pos x="16" y="101"/>
                </a:cxn>
                <a:cxn ang="0">
                  <a:pos x="0" y="106"/>
                </a:cxn>
                <a:cxn ang="0">
                  <a:pos x="12" y="122"/>
                </a:cxn>
                <a:cxn ang="0">
                  <a:pos x="52" y="119"/>
                </a:cxn>
                <a:cxn ang="0">
                  <a:pos x="100" y="55"/>
                </a:cxn>
              </a:cxnLst>
              <a:rect l="0" t="0" r="r" b="b"/>
              <a:pathLst>
                <a:path w="100" h="122">
                  <a:moveTo>
                    <a:pt x="100" y="55"/>
                  </a:moveTo>
                  <a:lnTo>
                    <a:pt x="49" y="12"/>
                  </a:lnTo>
                  <a:lnTo>
                    <a:pt x="16" y="0"/>
                  </a:lnTo>
                  <a:lnTo>
                    <a:pt x="8" y="45"/>
                  </a:lnTo>
                  <a:lnTo>
                    <a:pt x="20" y="61"/>
                  </a:lnTo>
                  <a:lnTo>
                    <a:pt x="16" y="101"/>
                  </a:lnTo>
                  <a:lnTo>
                    <a:pt x="0" y="106"/>
                  </a:lnTo>
                  <a:lnTo>
                    <a:pt x="12" y="122"/>
                  </a:lnTo>
                  <a:lnTo>
                    <a:pt x="52" y="119"/>
                  </a:lnTo>
                  <a:lnTo>
                    <a:pt x="100" y="55"/>
                  </a:lnTo>
                  <a:close/>
                </a:path>
              </a:pathLst>
            </a:custGeom>
            <a:solidFill>
              <a:srgbClr val="D6D6CE"/>
            </a:solidFill>
            <a:ln w="9525" cmpd="sng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r"/>
              <a:endParaRPr lang="de-DE"/>
            </a:p>
          </p:txBody>
        </p:sp>
        <p:sp>
          <p:nvSpPr>
            <p:cNvPr id="61" name="Freeform 10"/>
            <p:cNvSpPr>
              <a:spLocks/>
            </p:cNvSpPr>
            <p:nvPr/>
          </p:nvSpPr>
          <p:spPr bwMode="auto">
            <a:xfrm>
              <a:off x="6241382" y="2271718"/>
              <a:ext cx="545318" cy="748550"/>
            </a:xfrm>
            <a:custGeom>
              <a:avLst/>
              <a:gdLst/>
              <a:ahLst/>
              <a:cxnLst>
                <a:cxn ang="0">
                  <a:pos x="371" y="302"/>
                </a:cxn>
                <a:cxn ang="0">
                  <a:pos x="384" y="270"/>
                </a:cxn>
                <a:cxn ang="0">
                  <a:pos x="388" y="205"/>
                </a:cxn>
                <a:cxn ang="0">
                  <a:pos x="339" y="205"/>
                </a:cxn>
                <a:cxn ang="0">
                  <a:pos x="294" y="172"/>
                </a:cxn>
                <a:cxn ang="0">
                  <a:pos x="237" y="176"/>
                </a:cxn>
                <a:cxn ang="0">
                  <a:pos x="216" y="53"/>
                </a:cxn>
                <a:cxn ang="0">
                  <a:pos x="261" y="17"/>
                </a:cxn>
                <a:cxn ang="0">
                  <a:pos x="245" y="0"/>
                </a:cxn>
                <a:cxn ang="0">
                  <a:pos x="167" y="49"/>
                </a:cxn>
                <a:cxn ang="0">
                  <a:pos x="135" y="61"/>
                </a:cxn>
                <a:cxn ang="0">
                  <a:pos x="118" y="111"/>
                </a:cxn>
                <a:cxn ang="0">
                  <a:pos x="89" y="127"/>
                </a:cxn>
                <a:cxn ang="0">
                  <a:pos x="65" y="155"/>
                </a:cxn>
                <a:cxn ang="0">
                  <a:pos x="41" y="188"/>
                </a:cxn>
                <a:cxn ang="0">
                  <a:pos x="53" y="286"/>
                </a:cxn>
                <a:cxn ang="0">
                  <a:pos x="61" y="302"/>
                </a:cxn>
                <a:cxn ang="0">
                  <a:pos x="24" y="343"/>
                </a:cxn>
                <a:cxn ang="0">
                  <a:pos x="12" y="372"/>
                </a:cxn>
                <a:cxn ang="0">
                  <a:pos x="0" y="376"/>
                </a:cxn>
                <a:cxn ang="0">
                  <a:pos x="61" y="417"/>
                </a:cxn>
                <a:cxn ang="0">
                  <a:pos x="118" y="425"/>
                </a:cxn>
                <a:cxn ang="0">
                  <a:pos x="175" y="458"/>
                </a:cxn>
                <a:cxn ang="0">
                  <a:pos x="188" y="470"/>
                </a:cxn>
                <a:cxn ang="0">
                  <a:pos x="233" y="486"/>
                </a:cxn>
                <a:cxn ang="0">
                  <a:pos x="269" y="482"/>
                </a:cxn>
                <a:cxn ang="0">
                  <a:pos x="286" y="507"/>
                </a:cxn>
                <a:cxn ang="0">
                  <a:pos x="277" y="532"/>
                </a:cxn>
                <a:cxn ang="0">
                  <a:pos x="319" y="441"/>
                </a:cxn>
                <a:cxn ang="0">
                  <a:pos x="297" y="392"/>
                </a:cxn>
                <a:cxn ang="0">
                  <a:pos x="319" y="376"/>
                </a:cxn>
                <a:cxn ang="0">
                  <a:pos x="303" y="347"/>
                </a:cxn>
                <a:cxn ang="0">
                  <a:pos x="379" y="335"/>
                </a:cxn>
              </a:cxnLst>
              <a:rect l="0" t="0" r="r" b="b"/>
              <a:pathLst>
                <a:path w="388" h="533">
                  <a:moveTo>
                    <a:pt x="379" y="335"/>
                  </a:moveTo>
                  <a:lnTo>
                    <a:pt x="371" y="302"/>
                  </a:lnTo>
                  <a:lnTo>
                    <a:pt x="380" y="290"/>
                  </a:lnTo>
                  <a:lnTo>
                    <a:pt x="384" y="270"/>
                  </a:lnTo>
                  <a:lnTo>
                    <a:pt x="367" y="253"/>
                  </a:lnTo>
                  <a:lnTo>
                    <a:pt x="388" y="205"/>
                  </a:lnTo>
                  <a:lnTo>
                    <a:pt x="380" y="192"/>
                  </a:lnTo>
                  <a:lnTo>
                    <a:pt x="339" y="205"/>
                  </a:lnTo>
                  <a:lnTo>
                    <a:pt x="315" y="201"/>
                  </a:lnTo>
                  <a:lnTo>
                    <a:pt x="294" y="172"/>
                  </a:lnTo>
                  <a:lnTo>
                    <a:pt x="261" y="172"/>
                  </a:lnTo>
                  <a:lnTo>
                    <a:pt x="237" y="176"/>
                  </a:lnTo>
                  <a:lnTo>
                    <a:pt x="196" y="94"/>
                  </a:lnTo>
                  <a:lnTo>
                    <a:pt x="216" y="53"/>
                  </a:lnTo>
                  <a:lnTo>
                    <a:pt x="245" y="25"/>
                  </a:lnTo>
                  <a:lnTo>
                    <a:pt x="261" y="17"/>
                  </a:lnTo>
                  <a:lnTo>
                    <a:pt x="261" y="0"/>
                  </a:lnTo>
                  <a:lnTo>
                    <a:pt x="245" y="0"/>
                  </a:lnTo>
                  <a:lnTo>
                    <a:pt x="192" y="45"/>
                  </a:lnTo>
                  <a:lnTo>
                    <a:pt x="167" y="49"/>
                  </a:lnTo>
                  <a:lnTo>
                    <a:pt x="159" y="57"/>
                  </a:lnTo>
                  <a:lnTo>
                    <a:pt x="135" y="61"/>
                  </a:lnTo>
                  <a:lnTo>
                    <a:pt x="118" y="82"/>
                  </a:lnTo>
                  <a:lnTo>
                    <a:pt x="118" y="111"/>
                  </a:lnTo>
                  <a:lnTo>
                    <a:pt x="102" y="115"/>
                  </a:lnTo>
                  <a:lnTo>
                    <a:pt x="89" y="127"/>
                  </a:lnTo>
                  <a:lnTo>
                    <a:pt x="77" y="143"/>
                  </a:lnTo>
                  <a:lnTo>
                    <a:pt x="65" y="155"/>
                  </a:lnTo>
                  <a:lnTo>
                    <a:pt x="61" y="168"/>
                  </a:lnTo>
                  <a:lnTo>
                    <a:pt x="41" y="188"/>
                  </a:lnTo>
                  <a:lnTo>
                    <a:pt x="53" y="209"/>
                  </a:lnTo>
                  <a:lnTo>
                    <a:pt x="53" y="286"/>
                  </a:lnTo>
                  <a:lnTo>
                    <a:pt x="49" y="294"/>
                  </a:lnTo>
                  <a:lnTo>
                    <a:pt x="61" y="302"/>
                  </a:lnTo>
                  <a:lnTo>
                    <a:pt x="41" y="343"/>
                  </a:lnTo>
                  <a:lnTo>
                    <a:pt x="24" y="343"/>
                  </a:lnTo>
                  <a:lnTo>
                    <a:pt x="8" y="360"/>
                  </a:lnTo>
                  <a:lnTo>
                    <a:pt x="12" y="372"/>
                  </a:lnTo>
                  <a:lnTo>
                    <a:pt x="8" y="372"/>
                  </a:lnTo>
                  <a:lnTo>
                    <a:pt x="0" y="376"/>
                  </a:lnTo>
                  <a:lnTo>
                    <a:pt x="0" y="392"/>
                  </a:lnTo>
                  <a:lnTo>
                    <a:pt x="61" y="417"/>
                  </a:lnTo>
                  <a:lnTo>
                    <a:pt x="98" y="408"/>
                  </a:lnTo>
                  <a:lnTo>
                    <a:pt x="118" y="425"/>
                  </a:lnTo>
                  <a:lnTo>
                    <a:pt x="139" y="425"/>
                  </a:lnTo>
                  <a:lnTo>
                    <a:pt x="175" y="458"/>
                  </a:lnTo>
                  <a:lnTo>
                    <a:pt x="179" y="466"/>
                  </a:lnTo>
                  <a:lnTo>
                    <a:pt x="188" y="470"/>
                  </a:lnTo>
                  <a:lnTo>
                    <a:pt x="196" y="486"/>
                  </a:lnTo>
                  <a:lnTo>
                    <a:pt x="233" y="486"/>
                  </a:lnTo>
                  <a:lnTo>
                    <a:pt x="237" y="482"/>
                  </a:lnTo>
                  <a:lnTo>
                    <a:pt x="269" y="482"/>
                  </a:lnTo>
                  <a:lnTo>
                    <a:pt x="290" y="490"/>
                  </a:lnTo>
                  <a:lnTo>
                    <a:pt x="286" y="507"/>
                  </a:lnTo>
                  <a:lnTo>
                    <a:pt x="277" y="519"/>
                  </a:lnTo>
                  <a:lnTo>
                    <a:pt x="277" y="532"/>
                  </a:lnTo>
                  <a:lnTo>
                    <a:pt x="298" y="533"/>
                  </a:lnTo>
                  <a:lnTo>
                    <a:pt x="319" y="441"/>
                  </a:lnTo>
                  <a:lnTo>
                    <a:pt x="298" y="408"/>
                  </a:lnTo>
                  <a:lnTo>
                    <a:pt x="297" y="392"/>
                  </a:lnTo>
                  <a:lnTo>
                    <a:pt x="309" y="383"/>
                  </a:lnTo>
                  <a:lnTo>
                    <a:pt x="319" y="376"/>
                  </a:lnTo>
                  <a:lnTo>
                    <a:pt x="298" y="364"/>
                  </a:lnTo>
                  <a:lnTo>
                    <a:pt x="303" y="347"/>
                  </a:lnTo>
                  <a:lnTo>
                    <a:pt x="342" y="347"/>
                  </a:lnTo>
                  <a:lnTo>
                    <a:pt x="379" y="335"/>
                  </a:lnTo>
                  <a:close/>
                </a:path>
              </a:pathLst>
            </a:custGeom>
            <a:solidFill>
              <a:srgbClr val="D6D6CE"/>
            </a:solidFill>
            <a:ln w="9525" cmpd="sng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r"/>
              <a:endParaRPr lang="de-DE"/>
            </a:p>
          </p:txBody>
        </p:sp>
        <p:sp>
          <p:nvSpPr>
            <p:cNvPr id="62" name="Freeform 11"/>
            <p:cNvSpPr>
              <a:spLocks/>
            </p:cNvSpPr>
            <p:nvPr/>
          </p:nvSpPr>
          <p:spPr bwMode="auto">
            <a:xfrm>
              <a:off x="5748066" y="2187454"/>
              <a:ext cx="115247" cy="49154"/>
            </a:xfrm>
            <a:custGeom>
              <a:avLst/>
              <a:gdLst/>
              <a:ahLst/>
              <a:cxnLst>
                <a:cxn ang="0">
                  <a:pos x="0" y="36"/>
                </a:cxn>
                <a:cxn ang="0">
                  <a:pos x="24" y="24"/>
                </a:cxn>
                <a:cxn ang="0">
                  <a:pos x="36" y="0"/>
                </a:cxn>
                <a:cxn ang="0">
                  <a:pos x="84" y="0"/>
                </a:cxn>
                <a:cxn ang="0">
                  <a:pos x="96" y="24"/>
                </a:cxn>
                <a:cxn ang="0">
                  <a:pos x="120" y="36"/>
                </a:cxn>
                <a:cxn ang="0">
                  <a:pos x="144" y="24"/>
                </a:cxn>
                <a:cxn ang="0">
                  <a:pos x="168" y="48"/>
                </a:cxn>
                <a:cxn ang="0">
                  <a:pos x="144" y="72"/>
                </a:cxn>
                <a:cxn ang="0">
                  <a:pos x="72" y="72"/>
                </a:cxn>
                <a:cxn ang="0">
                  <a:pos x="0" y="36"/>
                </a:cxn>
              </a:cxnLst>
              <a:rect l="0" t="0" r="r" b="b"/>
              <a:pathLst>
                <a:path w="168" h="72">
                  <a:moveTo>
                    <a:pt x="0" y="36"/>
                  </a:moveTo>
                  <a:lnTo>
                    <a:pt x="24" y="24"/>
                  </a:lnTo>
                  <a:lnTo>
                    <a:pt x="36" y="0"/>
                  </a:lnTo>
                  <a:lnTo>
                    <a:pt x="84" y="0"/>
                  </a:lnTo>
                  <a:lnTo>
                    <a:pt x="96" y="24"/>
                  </a:lnTo>
                  <a:lnTo>
                    <a:pt x="120" y="36"/>
                  </a:lnTo>
                  <a:lnTo>
                    <a:pt x="144" y="24"/>
                  </a:lnTo>
                  <a:lnTo>
                    <a:pt x="168" y="48"/>
                  </a:lnTo>
                  <a:lnTo>
                    <a:pt x="144" y="72"/>
                  </a:lnTo>
                  <a:lnTo>
                    <a:pt x="72" y="72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rgbClr val="D6D6CE"/>
            </a:solidFill>
            <a:ln w="9525" cmpd="sng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r"/>
              <a:endParaRPr lang="de-DE"/>
            </a:p>
          </p:txBody>
        </p:sp>
        <p:sp>
          <p:nvSpPr>
            <p:cNvPr id="63" name="Freeform 12"/>
            <p:cNvSpPr>
              <a:spLocks/>
            </p:cNvSpPr>
            <p:nvPr/>
          </p:nvSpPr>
          <p:spPr bwMode="auto">
            <a:xfrm>
              <a:off x="6879460" y="5264513"/>
              <a:ext cx="108221" cy="91287"/>
            </a:xfrm>
            <a:custGeom>
              <a:avLst/>
              <a:gdLst/>
              <a:ahLst/>
              <a:cxnLst>
                <a:cxn ang="0">
                  <a:pos x="110" y="98"/>
                </a:cxn>
                <a:cxn ang="0">
                  <a:pos x="116" y="79"/>
                </a:cxn>
                <a:cxn ang="0">
                  <a:pos x="73" y="73"/>
                </a:cxn>
                <a:cxn ang="0">
                  <a:pos x="0" y="0"/>
                </a:cxn>
                <a:cxn ang="0">
                  <a:pos x="12" y="98"/>
                </a:cxn>
                <a:cxn ang="0">
                  <a:pos x="110" y="98"/>
                </a:cxn>
              </a:cxnLst>
              <a:rect l="0" t="0" r="r" b="b"/>
              <a:pathLst>
                <a:path w="116" h="98">
                  <a:moveTo>
                    <a:pt x="110" y="98"/>
                  </a:moveTo>
                  <a:lnTo>
                    <a:pt x="116" y="79"/>
                  </a:lnTo>
                  <a:lnTo>
                    <a:pt x="73" y="73"/>
                  </a:lnTo>
                  <a:lnTo>
                    <a:pt x="0" y="0"/>
                  </a:lnTo>
                  <a:lnTo>
                    <a:pt x="12" y="98"/>
                  </a:lnTo>
                  <a:lnTo>
                    <a:pt x="110" y="98"/>
                  </a:lnTo>
                  <a:close/>
                </a:path>
              </a:pathLst>
            </a:custGeom>
            <a:solidFill>
              <a:srgbClr val="D6D6CE"/>
            </a:solidFill>
            <a:ln w="9525" cmpd="sng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r"/>
              <a:endParaRPr lang="de-DE"/>
            </a:p>
          </p:txBody>
        </p:sp>
        <p:sp>
          <p:nvSpPr>
            <p:cNvPr id="64" name="Freeform 13"/>
            <p:cNvSpPr>
              <a:spLocks/>
            </p:cNvSpPr>
            <p:nvPr/>
          </p:nvSpPr>
          <p:spPr bwMode="auto">
            <a:xfrm>
              <a:off x="6700966" y="3833421"/>
              <a:ext cx="677431" cy="1401600"/>
            </a:xfrm>
            <a:custGeom>
              <a:avLst/>
              <a:gdLst/>
              <a:ahLst/>
              <a:cxnLst>
                <a:cxn ang="0">
                  <a:pos x="110" y="1496"/>
                </a:cxn>
                <a:cxn ang="0">
                  <a:pos x="153" y="1496"/>
                </a:cxn>
                <a:cxn ang="0">
                  <a:pos x="80" y="1496"/>
                </a:cxn>
                <a:cxn ang="0">
                  <a:pos x="37" y="1435"/>
                </a:cxn>
                <a:cxn ang="0">
                  <a:pos x="49" y="1312"/>
                </a:cxn>
                <a:cxn ang="0">
                  <a:pos x="49" y="1251"/>
                </a:cxn>
                <a:cxn ang="0">
                  <a:pos x="31" y="1116"/>
                </a:cxn>
                <a:cxn ang="0">
                  <a:pos x="18" y="981"/>
                </a:cxn>
                <a:cxn ang="0">
                  <a:pos x="12" y="858"/>
                </a:cxn>
                <a:cxn ang="0">
                  <a:pos x="6" y="736"/>
                </a:cxn>
                <a:cxn ang="0">
                  <a:pos x="31" y="662"/>
                </a:cxn>
                <a:cxn ang="0">
                  <a:pos x="0" y="478"/>
                </a:cxn>
                <a:cxn ang="0">
                  <a:pos x="37" y="319"/>
                </a:cxn>
                <a:cxn ang="0">
                  <a:pos x="67" y="129"/>
                </a:cxn>
                <a:cxn ang="0">
                  <a:pos x="122" y="49"/>
                </a:cxn>
                <a:cxn ang="0">
                  <a:pos x="251" y="31"/>
                </a:cxn>
                <a:cxn ang="0">
                  <a:pos x="300" y="6"/>
                </a:cxn>
                <a:cxn ang="0">
                  <a:pos x="417" y="104"/>
                </a:cxn>
                <a:cxn ang="0">
                  <a:pos x="539" y="159"/>
                </a:cxn>
                <a:cxn ang="0">
                  <a:pos x="515" y="233"/>
                </a:cxn>
                <a:cxn ang="0">
                  <a:pos x="558" y="258"/>
                </a:cxn>
                <a:cxn ang="0">
                  <a:pos x="680" y="233"/>
                </a:cxn>
                <a:cxn ang="0">
                  <a:pos x="717" y="190"/>
                </a:cxn>
                <a:cxn ang="0">
                  <a:pos x="558" y="399"/>
                </a:cxn>
                <a:cxn ang="0">
                  <a:pos x="508" y="582"/>
                </a:cxn>
                <a:cxn ang="0">
                  <a:pos x="558" y="650"/>
                </a:cxn>
                <a:cxn ang="0">
                  <a:pos x="576" y="711"/>
                </a:cxn>
                <a:cxn ang="0">
                  <a:pos x="539" y="797"/>
                </a:cxn>
                <a:cxn ang="0">
                  <a:pos x="374" y="840"/>
                </a:cxn>
                <a:cxn ang="0">
                  <a:pos x="361" y="846"/>
                </a:cxn>
                <a:cxn ang="0">
                  <a:pos x="355" y="914"/>
                </a:cxn>
                <a:cxn ang="0">
                  <a:pos x="337" y="950"/>
                </a:cxn>
                <a:cxn ang="0">
                  <a:pos x="276" y="932"/>
                </a:cxn>
                <a:cxn ang="0">
                  <a:pos x="263" y="999"/>
                </a:cxn>
                <a:cxn ang="0">
                  <a:pos x="306" y="993"/>
                </a:cxn>
                <a:cxn ang="0">
                  <a:pos x="312" y="1030"/>
                </a:cxn>
                <a:cxn ang="0">
                  <a:pos x="263" y="1030"/>
                </a:cxn>
                <a:cxn ang="0">
                  <a:pos x="288" y="1042"/>
                </a:cxn>
                <a:cxn ang="0">
                  <a:pos x="257" y="1085"/>
                </a:cxn>
                <a:cxn ang="0">
                  <a:pos x="251" y="1140"/>
                </a:cxn>
                <a:cxn ang="0">
                  <a:pos x="190" y="1177"/>
                </a:cxn>
                <a:cxn ang="0">
                  <a:pos x="227" y="1245"/>
                </a:cxn>
                <a:cxn ang="0">
                  <a:pos x="251" y="1294"/>
                </a:cxn>
                <a:cxn ang="0">
                  <a:pos x="196" y="1392"/>
                </a:cxn>
                <a:cxn ang="0">
                  <a:pos x="190" y="1490"/>
                </a:cxn>
                <a:cxn ang="0">
                  <a:pos x="80" y="1496"/>
                </a:cxn>
              </a:cxnLst>
              <a:rect l="0" t="0" r="r" b="b"/>
              <a:pathLst>
                <a:path w="723" h="1496">
                  <a:moveTo>
                    <a:pt x="80" y="1496"/>
                  </a:moveTo>
                  <a:lnTo>
                    <a:pt x="110" y="1496"/>
                  </a:lnTo>
                  <a:lnTo>
                    <a:pt x="135" y="1496"/>
                  </a:lnTo>
                  <a:lnTo>
                    <a:pt x="153" y="1496"/>
                  </a:lnTo>
                  <a:lnTo>
                    <a:pt x="159" y="1496"/>
                  </a:lnTo>
                  <a:lnTo>
                    <a:pt x="80" y="1496"/>
                  </a:lnTo>
                  <a:lnTo>
                    <a:pt x="67" y="1435"/>
                  </a:lnTo>
                  <a:lnTo>
                    <a:pt x="37" y="1435"/>
                  </a:lnTo>
                  <a:lnTo>
                    <a:pt x="24" y="1373"/>
                  </a:lnTo>
                  <a:lnTo>
                    <a:pt x="49" y="1312"/>
                  </a:lnTo>
                  <a:lnTo>
                    <a:pt x="37" y="1275"/>
                  </a:lnTo>
                  <a:lnTo>
                    <a:pt x="49" y="1251"/>
                  </a:lnTo>
                  <a:lnTo>
                    <a:pt x="43" y="1122"/>
                  </a:lnTo>
                  <a:lnTo>
                    <a:pt x="31" y="1116"/>
                  </a:lnTo>
                  <a:lnTo>
                    <a:pt x="6" y="1030"/>
                  </a:lnTo>
                  <a:lnTo>
                    <a:pt x="18" y="981"/>
                  </a:lnTo>
                  <a:lnTo>
                    <a:pt x="12" y="883"/>
                  </a:lnTo>
                  <a:lnTo>
                    <a:pt x="12" y="858"/>
                  </a:lnTo>
                  <a:lnTo>
                    <a:pt x="18" y="815"/>
                  </a:lnTo>
                  <a:lnTo>
                    <a:pt x="6" y="736"/>
                  </a:lnTo>
                  <a:lnTo>
                    <a:pt x="31" y="711"/>
                  </a:lnTo>
                  <a:lnTo>
                    <a:pt x="31" y="662"/>
                  </a:lnTo>
                  <a:lnTo>
                    <a:pt x="49" y="601"/>
                  </a:lnTo>
                  <a:lnTo>
                    <a:pt x="0" y="478"/>
                  </a:lnTo>
                  <a:lnTo>
                    <a:pt x="24" y="405"/>
                  </a:lnTo>
                  <a:lnTo>
                    <a:pt x="37" y="319"/>
                  </a:lnTo>
                  <a:lnTo>
                    <a:pt x="80" y="245"/>
                  </a:lnTo>
                  <a:lnTo>
                    <a:pt x="67" y="129"/>
                  </a:lnTo>
                  <a:lnTo>
                    <a:pt x="122" y="98"/>
                  </a:lnTo>
                  <a:lnTo>
                    <a:pt x="122" y="49"/>
                  </a:lnTo>
                  <a:lnTo>
                    <a:pt x="165" y="0"/>
                  </a:lnTo>
                  <a:lnTo>
                    <a:pt x="251" y="31"/>
                  </a:lnTo>
                  <a:lnTo>
                    <a:pt x="270" y="6"/>
                  </a:lnTo>
                  <a:lnTo>
                    <a:pt x="300" y="6"/>
                  </a:lnTo>
                  <a:lnTo>
                    <a:pt x="331" y="25"/>
                  </a:lnTo>
                  <a:lnTo>
                    <a:pt x="417" y="104"/>
                  </a:lnTo>
                  <a:lnTo>
                    <a:pt x="466" y="110"/>
                  </a:lnTo>
                  <a:lnTo>
                    <a:pt x="539" y="159"/>
                  </a:lnTo>
                  <a:lnTo>
                    <a:pt x="551" y="190"/>
                  </a:lnTo>
                  <a:lnTo>
                    <a:pt x="515" y="233"/>
                  </a:lnTo>
                  <a:lnTo>
                    <a:pt x="521" y="258"/>
                  </a:lnTo>
                  <a:lnTo>
                    <a:pt x="558" y="258"/>
                  </a:lnTo>
                  <a:lnTo>
                    <a:pt x="643" y="264"/>
                  </a:lnTo>
                  <a:lnTo>
                    <a:pt x="680" y="233"/>
                  </a:lnTo>
                  <a:lnTo>
                    <a:pt x="686" y="178"/>
                  </a:lnTo>
                  <a:lnTo>
                    <a:pt x="717" y="190"/>
                  </a:lnTo>
                  <a:lnTo>
                    <a:pt x="723" y="215"/>
                  </a:lnTo>
                  <a:lnTo>
                    <a:pt x="558" y="399"/>
                  </a:lnTo>
                  <a:lnTo>
                    <a:pt x="539" y="417"/>
                  </a:lnTo>
                  <a:lnTo>
                    <a:pt x="508" y="582"/>
                  </a:lnTo>
                  <a:lnTo>
                    <a:pt x="508" y="619"/>
                  </a:lnTo>
                  <a:lnTo>
                    <a:pt x="558" y="650"/>
                  </a:lnTo>
                  <a:lnTo>
                    <a:pt x="545" y="681"/>
                  </a:lnTo>
                  <a:lnTo>
                    <a:pt x="576" y="711"/>
                  </a:lnTo>
                  <a:lnTo>
                    <a:pt x="576" y="742"/>
                  </a:lnTo>
                  <a:lnTo>
                    <a:pt x="539" y="797"/>
                  </a:lnTo>
                  <a:lnTo>
                    <a:pt x="441" y="834"/>
                  </a:lnTo>
                  <a:lnTo>
                    <a:pt x="374" y="840"/>
                  </a:lnTo>
                  <a:lnTo>
                    <a:pt x="361" y="840"/>
                  </a:lnTo>
                  <a:lnTo>
                    <a:pt x="361" y="846"/>
                  </a:lnTo>
                  <a:lnTo>
                    <a:pt x="368" y="871"/>
                  </a:lnTo>
                  <a:lnTo>
                    <a:pt x="355" y="914"/>
                  </a:lnTo>
                  <a:lnTo>
                    <a:pt x="361" y="932"/>
                  </a:lnTo>
                  <a:lnTo>
                    <a:pt x="337" y="950"/>
                  </a:lnTo>
                  <a:lnTo>
                    <a:pt x="300" y="950"/>
                  </a:lnTo>
                  <a:lnTo>
                    <a:pt x="276" y="932"/>
                  </a:lnTo>
                  <a:lnTo>
                    <a:pt x="257" y="932"/>
                  </a:lnTo>
                  <a:lnTo>
                    <a:pt x="263" y="999"/>
                  </a:lnTo>
                  <a:lnTo>
                    <a:pt x="288" y="1006"/>
                  </a:lnTo>
                  <a:lnTo>
                    <a:pt x="306" y="993"/>
                  </a:lnTo>
                  <a:lnTo>
                    <a:pt x="325" y="1006"/>
                  </a:lnTo>
                  <a:lnTo>
                    <a:pt x="312" y="1030"/>
                  </a:lnTo>
                  <a:lnTo>
                    <a:pt x="282" y="1012"/>
                  </a:lnTo>
                  <a:lnTo>
                    <a:pt x="263" y="1030"/>
                  </a:lnTo>
                  <a:lnTo>
                    <a:pt x="288" y="1036"/>
                  </a:lnTo>
                  <a:lnTo>
                    <a:pt x="288" y="1042"/>
                  </a:lnTo>
                  <a:lnTo>
                    <a:pt x="257" y="1067"/>
                  </a:lnTo>
                  <a:lnTo>
                    <a:pt x="257" y="1085"/>
                  </a:lnTo>
                  <a:lnTo>
                    <a:pt x="263" y="1116"/>
                  </a:lnTo>
                  <a:lnTo>
                    <a:pt x="251" y="1140"/>
                  </a:lnTo>
                  <a:lnTo>
                    <a:pt x="233" y="1140"/>
                  </a:lnTo>
                  <a:lnTo>
                    <a:pt x="190" y="1177"/>
                  </a:lnTo>
                  <a:lnTo>
                    <a:pt x="190" y="1214"/>
                  </a:lnTo>
                  <a:lnTo>
                    <a:pt x="227" y="1245"/>
                  </a:lnTo>
                  <a:lnTo>
                    <a:pt x="257" y="1251"/>
                  </a:lnTo>
                  <a:lnTo>
                    <a:pt x="251" y="1294"/>
                  </a:lnTo>
                  <a:lnTo>
                    <a:pt x="202" y="1337"/>
                  </a:lnTo>
                  <a:lnTo>
                    <a:pt x="196" y="1392"/>
                  </a:lnTo>
                  <a:lnTo>
                    <a:pt x="159" y="1435"/>
                  </a:lnTo>
                  <a:lnTo>
                    <a:pt x="190" y="1490"/>
                  </a:lnTo>
                  <a:lnTo>
                    <a:pt x="159" y="1496"/>
                  </a:lnTo>
                  <a:lnTo>
                    <a:pt x="80" y="1496"/>
                  </a:lnTo>
                  <a:close/>
                </a:path>
              </a:pathLst>
            </a:custGeom>
            <a:solidFill>
              <a:srgbClr val="D6D6CE"/>
            </a:solidFill>
            <a:ln w="9525" cmpd="sng">
              <a:solidFill>
                <a:srgbClr val="263143"/>
              </a:solidFill>
              <a:round/>
              <a:headEnd/>
              <a:tailEnd/>
            </a:ln>
          </p:spPr>
          <p:txBody>
            <a:bodyPr/>
            <a:lstStyle/>
            <a:p>
              <a:pPr algn="r"/>
              <a:endParaRPr lang="de-DE"/>
            </a:p>
          </p:txBody>
        </p:sp>
        <p:sp>
          <p:nvSpPr>
            <p:cNvPr id="65" name="Freeform 14"/>
            <p:cNvSpPr>
              <a:spLocks/>
            </p:cNvSpPr>
            <p:nvPr/>
          </p:nvSpPr>
          <p:spPr bwMode="auto">
            <a:xfrm>
              <a:off x="6150027" y="2816629"/>
              <a:ext cx="257199" cy="293521"/>
            </a:xfrm>
            <a:custGeom>
              <a:avLst/>
              <a:gdLst/>
              <a:ahLst/>
              <a:cxnLst>
                <a:cxn ang="0">
                  <a:pos x="65" y="0"/>
                </a:cxn>
                <a:cxn ang="0">
                  <a:pos x="126" y="30"/>
                </a:cxn>
                <a:cxn ang="0">
                  <a:pos x="165" y="19"/>
                </a:cxn>
                <a:cxn ang="0">
                  <a:pos x="183" y="38"/>
                </a:cxn>
                <a:cxn ang="0">
                  <a:pos x="183" y="54"/>
                </a:cxn>
                <a:cxn ang="0">
                  <a:pos x="171" y="91"/>
                </a:cxn>
                <a:cxn ang="0">
                  <a:pos x="134" y="124"/>
                </a:cxn>
                <a:cxn ang="0">
                  <a:pos x="102" y="140"/>
                </a:cxn>
                <a:cxn ang="0">
                  <a:pos x="77" y="164"/>
                </a:cxn>
                <a:cxn ang="0">
                  <a:pos x="77" y="189"/>
                </a:cxn>
                <a:cxn ang="0">
                  <a:pos x="57" y="205"/>
                </a:cxn>
                <a:cxn ang="0">
                  <a:pos x="45" y="209"/>
                </a:cxn>
                <a:cxn ang="0">
                  <a:pos x="45" y="197"/>
                </a:cxn>
                <a:cxn ang="0">
                  <a:pos x="16" y="193"/>
                </a:cxn>
                <a:cxn ang="0">
                  <a:pos x="16" y="181"/>
                </a:cxn>
                <a:cxn ang="0">
                  <a:pos x="20" y="160"/>
                </a:cxn>
                <a:cxn ang="0">
                  <a:pos x="29" y="160"/>
                </a:cxn>
                <a:cxn ang="0">
                  <a:pos x="41" y="128"/>
                </a:cxn>
                <a:cxn ang="0">
                  <a:pos x="29" y="128"/>
                </a:cxn>
                <a:cxn ang="0">
                  <a:pos x="24" y="144"/>
                </a:cxn>
                <a:cxn ang="0">
                  <a:pos x="4" y="128"/>
                </a:cxn>
                <a:cxn ang="0">
                  <a:pos x="0" y="87"/>
                </a:cxn>
                <a:cxn ang="0">
                  <a:pos x="29" y="50"/>
                </a:cxn>
                <a:cxn ang="0">
                  <a:pos x="29" y="30"/>
                </a:cxn>
                <a:cxn ang="0">
                  <a:pos x="65" y="0"/>
                </a:cxn>
              </a:cxnLst>
              <a:rect l="0" t="0" r="r" b="b"/>
              <a:pathLst>
                <a:path w="183" h="209">
                  <a:moveTo>
                    <a:pt x="65" y="0"/>
                  </a:moveTo>
                  <a:lnTo>
                    <a:pt x="126" y="30"/>
                  </a:lnTo>
                  <a:lnTo>
                    <a:pt x="165" y="19"/>
                  </a:lnTo>
                  <a:lnTo>
                    <a:pt x="183" y="38"/>
                  </a:lnTo>
                  <a:lnTo>
                    <a:pt x="183" y="54"/>
                  </a:lnTo>
                  <a:lnTo>
                    <a:pt x="171" y="91"/>
                  </a:lnTo>
                  <a:lnTo>
                    <a:pt x="134" y="124"/>
                  </a:lnTo>
                  <a:lnTo>
                    <a:pt x="102" y="140"/>
                  </a:lnTo>
                  <a:lnTo>
                    <a:pt x="77" y="164"/>
                  </a:lnTo>
                  <a:lnTo>
                    <a:pt x="77" y="189"/>
                  </a:lnTo>
                  <a:lnTo>
                    <a:pt x="57" y="205"/>
                  </a:lnTo>
                  <a:lnTo>
                    <a:pt x="45" y="209"/>
                  </a:lnTo>
                  <a:lnTo>
                    <a:pt x="45" y="197"/>
                  </a:lnTo>
                  <a:lnTo>
                    <a:pt x="16" y="193"/>
                  </a:lnTo>
                  <a:lnTo>
                    <a:pt x="16" y="181"/>
                  </a:lnTo>
                  <a:lnTo>
                    <a:pt x="20" y="160"/>
                  </a:lnTo>
                  <a:lnTo>
                    <a:pt x="29" y="160"/>
                  </a:lnTo>
                  <a:lnTo>
                    <a:pt x="41" y="128"/>
                  </a:lnTo>
                  <a:lnTo>
                    <a:pt x="29" y="128"/>
                  </a:lnTo>
                  <a:lnTo>
                    <a:pt x="24" y="144"/>
                  </a:lnTo>
                  <a:lnTo>
                    <a:pt x="4" y="128"/>
                  </a:lnTo>
                  <a:lnTo>
                    <a:pt x="0" y="87"/>
                  </a:lnTo>
                  <a:lnTo>
                    <a:pt x="29" y="50"/>
                  </a:lnTo>
                  <a:lnTo>
                    <a:pt x="29" y="30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rgbClr val="D6D6CE"/>
            </a:solidFill>
            <a:ln w="9525" cmpd="sng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r"/>
              <a:endParaRPr lang="de-DE"/>
            </a:p>
          </p:txBody>
        </p:sp>
        <p:sp>
          <p:nvSpPr>
            <p:cNvPr id="66" name="Freeform 15"/>
            <p:cNvSpPr>
              <a:spLocks/>
            </p:cNvSpPr>
            <p:nvPr/>
          </p:nvSpPr>
          <p:spPr bwMode="auto">
            <a:xfrm>
              <a:off x="6487337" y="2587710"/>
              <a:ext cx="1786337" cy="1797643"/>
            </a:xfrm>
            <a:custGeom>
              <a:avLst/>
              <a:gdLst/>
              <a:ahLst/>
              <a:cxnLst>
                <a:cxn ang="0">
                  <a:pos x="950" y="1864"/>
                </a:cxn>
                <a:cxn ang="0">
                  <a:pos x="809" y="1736"/>
                </a:cxn>
                <a:cxn ang="0">
                  <a:pos x="950" y="1552"/>
                </a:cxn>
                <a:cxn ang="0">
                  <a:pos x="913" y="1515"/>
                </a:cxn>
                <a:cxn ang="0">
                  <a:pos x="901" y="1435"/>
                </a:cxn>
                <a:cxn ang="0">
                  <a:pos x="870" y="1362"/>
                </a:cxn>
                <a:cxn ang="0">
                  <a:pos x="766" y="1325"/>
                </a:cxn>
                <a:cxn ang="0">
                  <a:pos x="778" y="1202"/>
                </a:cxn>
                <a:cxn ang="0">
                  <a:pos x="748" y="1061"/>
                </a:cxn>
                <a:cxn ang="0">
                  <a:pos x="656" y="1024"/>
                </a:cxn>
                <a:cxn ang="0">
                  <a:pos x="509" y="871"/>
                </a:cxn>
                <a:cxn ang="0">
                  <a:pos x="411" y="828"/>
                </a:cxn>
                <a:cxn ang="0">
                  <a:pos x="411" y="742"/>
                </a:cxn>
                <a:cxn ang="0">
                  <a:pos x="294" y="804"/>
                </a:cxn>
                <a:cxn ang="0">
                  <a:pos x="172" y="810"/>
                </a:cxn>
                <a:cxn ang="0">
                  <a:pos x="74" y="761"/>
                </a:cxn>
                <a:cxn ang="0">
                  <a:pos x="12" y="607"/>
                </a:cxn>
                <a:cxn ang="0">
                  <a:pos x="178" y="473"/>
                </a:cxn>
                <a:cxn ang="0">
                  <a:pos x="184" y="283"/>
                </a:cxn>
                <a:cxn ang="0">
                  <a:pos x="196" y="240"/>
                </a:cxn>
                <a:cxn ang="0">
                  <a:pos x="190" y="184"/>
                </a:cxn>
                <a:cxn ang="0">
                  <a:pos x="307" y="166"/>
                </a:cxn>
                <a:cxn ang="0">
                  <a:pos x="343" y="221"/>
                </a:cxn>
                <a:cxn ang="0">
                  <a:pos x="497" y="148"/>
                </a:cxn>
                <a:cxn ang="0">
                  <a:pos x="460" y="80"/>
                </a:cxn>
                <a:cxn ang="0">
                  <a:pos x="472" y="37"/>
                </a:cxn>
                <a:cxn ang="0">
                  <a:pos x="527" y="62"/>
                </a:cxn>
                <a:cxn ang="0">
                  <a:pos x="668" y="7"/>
                </a:cxn>
                <a:cxn ang="0">
                  <a:pos x="680" y="129"/>
                </a:cxn>
                <a:cxn ang="0">
                  <a:pos x="742" y="191"/>
                </a:cxn>
                <a:cxn ang="0">
                  <a:pos x="840" y="166"/>
                </a:cxn>
                <a:cxn ang="0">
                  <a:pos x="883" y="142"/>
                </a:cxn>
                <a:cxn ang="0">
                  <a:pos x="956" y="166"/>
                </a:cxn>
                <a:cxn ang="0">
                  <a:pos x="1091" y="62"/>
                </a:cxn>
                <a:cxn ang="0">
                  <a:pos x="1115" y="117"/>
                </a:cxn>
                <a:cxn ang="0">
                  <a:pos x="1164" y="221"/>
                </a:cxn>
                <a:cxn ang="0">
                  <a:pos x="1122" y="313"/>
                </a:cxn>
                <a:cxn ang="0">
                  <a:pos x="1195" y="362"/>
                </a:cxn>
                <a:cxn ang="0">
                  <a:pos x="1220" y="393"/>
                </a:cxn>
                <a:cxn ang="0">
                  <a:pos x="1305" y="313"/>
                </a:cxn>
                <a:cxn ang="0">
                  <a:pos x="1422" y="424"/>
                </a:cxn>
                <a:cxn ang="0">
                  <a:pos x="1477" y="424"/>
                </a:cxn>
                <a:cxn ang="0">
                  <a:pos x="1661" y="460"/>
                </a:cxn>
                <a:cxn ang="0">
                  <a:pos x="1881" y="614"/>
                </a:cxn>
                <a:cxn ang="0">
                  <a:pos x="1863" y="810"/>
                </a:cxn>
                <a:cxn ang="0">
                  <a:pos x="1661" y="1110"/>
                </a:cxn>
                <a:cxn ang="0">
                  <a:pos x="1489" y="1429"/>
                </a:cxn>
                <a:cxn ang="0">
                  <a:pos x="1305" y="1454"/>
                </a:cxn>
                <a:cxn ang="0">
                  <a:pos x="1171" y="1650"/>
                </a:cxn>
                <a:cxn ang="0">
                  <a:pos x="1054" y="1754"/>
                </a:cxn>
                <a:cxn ang="0">
                  <a:pos x="999" y="1846"/>
                </a:cxn>
              </a:cxnLst>
              <a:rect l="0" t="0" r="r" b="b"/>
              <a:pathLst>
                <a:path w="1906" h="1920">
                  <a:moveTo>
                    <a:pt x="938" y="1920"/>
                  </a:moveTo>
                  <a:lnTo>
                    <a:pt x="950" y="1864"/>
                  </a:lnTo>
                  <a:lnTo>
                    <a:pt x="907" y="1815"/>
                  </a:lnTo>
                  <a:lnTo>
                    <a:pt x="809" y="1736"/>
                  </a:lnTo>
                  <a:lnTo>
                    <a:pt x="785" y="1736"/>
                  </a:lnTo>
                  <a:lnTo>
                    <a:pt x="950" y="1552"/>
                  </a:lnTo>
                  <a:lnTo>
                    <a:pt x="944" y="1521"/>
                  </a:lnTo>
                  <a:lnTo>
                    <a:pt x="913" y="1515"/>
                  </a:lnTo>
                  <a:lnTo>
                    <a:pt x="932" y="1435"/>
                  </a:lnTo>
                  <a:lnTo>
                    <a:pt x="901" y="1435"/>
                  </a:lnTo>
                  <a:lnTo>
                    <a:pt x="876" y="1411"/>
                  </a:lnTo>
                  <a:lnTo>
                    <a:pt x="870" y="1362"/>
                  </a:lnTo>
                  <a:lnTo>
                    <a:pt x="785" y="1349"/>
                  </a:lnTo>
                  <a:lnTo>
                    <a:pt x="766" y="1325"/>
                  </a:lnTo>
                  <a:lnTo>
                    <a:pt x="760" y="1239"/>
                  </a:lnTo>
                  <a:lnTo>
                    <a:pt x="778" y="1202"/>
                  </a:lnTo>
                  <a:lnTo>
                    <a:pt x="778" y="1123"/>
                  </a:lnTo>
                  <a:lnTo>
                    <a:pt x="748" y="1061"/>
                  </a:lnTo>
                  <a:lnTo>
                    <a:pt x="662" y="1049"/>
                  </a:lnTo>
                  <a:lnTo>
                    <a:pt x="656" y="1024"/>
                  </a:lnTo>
                  <a:lnTo>
                    <a:pt x="650" y="939"/>
                  </a:lnTo>
                  <a:lnTo>
                    <a:pt x="509" y="871"/>
                  </a:lnTo>
                  <a:lnTo>
                    <a:pt x="460" y="871"/>
                  </a:lnTo>
                  <a:lnTo>
                    <a:pt x="411" y="828"/>
                  </a:lnTo>
                  <a:lnTo>
                    <a:pt x="423" y="791"/>
                  </a:lnTo>
                  <a:lnTo>
                    <a:pt x="411" y="742"/>
                  </a:lnTo>
                  <a:lnTo>
                    <a:pt x="356" y="736"/>
                  </a:lnTo>
                  <a:lnTo>
                    <a:pt x="294" y="804"/>
                  </a:lnTo>
                  <a:lnTo>
                    <a:pt x="202" y="804"/>
                  </a:lnTo>
                  <a:lnTo>
                    <a:pt x="172" y="810"/>
                  </a:lnTo>
                  <a:lnTo>
                    <a:pt x="153" y="736"/>
                  </a:lnTo>
                  <a:lnTo>
                    <a:pt x="74" y="761"/>
                  </a:lnTo>
                  <a:lnTo>
                    <a:pt x="0" y="663"/>
                  </a:lnTo>
                  <a:lnTo>
                    <a:pt x="12" y="607"/>
                  </a:lnTo>
                  <a:lnTo>
                    <a:pt x="80" y="516"/>
                  </a:lnTo>
                  <a:lnTo>
                    <a:pt x="178" y="473"/>
                  </a:lnTo>
                  <a:lnTo>
                    <a:pt x="215" y="332"/>
                  </a:lnTo>
                  <a:lnTo>
                    <a:pt x="184" y="283"/>
                  </a:lnTo>
                  <a:lnTo>
                    <a:pt x="178" y="246"/>
                  </a:lnTo>
                  <a:lnTo>
                    <a:pt x="196" y="240"/>
                  </a:lnTo>
                  <a:lnTo>
                    <a:pt x="184" y="215"/>
                  </a:lnTo>
                  <a:lnTo>
                    <a:pt x="190" y="184"/>
                  </a:lnTo>
                  <a:lnTo>
                    <a:pt x="251" y="184"/>
                  </a:lnTo>
                  <a:lnTo>
                    <a:pt x="307" y="166"/>
                  </a:lnTo>
                  <a:lnTo>
                    <a:pt x="337" y="209"/>
                  </a:lnTo>
                  <a:lnTo>
                    <a:pt x="343" y="221"/>
                  </a:lnTo>
                  <a:lnTo>
                    <a:pt x="392" y="221"/>
                  </a:lnTo>
                  <a:lnTo>
                    <a:pt x="497" y="148"/>
                  </a:lnTo>
                  <a:lnTo>
                    <a:pt x="466" y="129"/>
                  </a:lnTo>
                  <a:lnTo>
                    <a:pt x="460" y="80"/>
                  </a:lnTo>
                  <a:lnTo>
                    <a:pt x="447" y="50"/>
                  </a:lnTo>
                  <a:lnTo>
                    <a:pt x="472" y="37"/>
                  </a:lnTo>
                  <a:lnTo>
                    <a:pt x="484" y="62"/>
                  </a:lnTo>
                  <a:lnTo>
                    <a:pt x="527" y="62"/>
                  </a:lnTo>
                  <a:lnTo>
                    <a:pt x="644" y="0"/>
                  </a:lnTo>
                  <a:lnTo>
                    <a:pt x="668" y="7"/>
                  </a:lnTo>
                  <a:lnTo>
                    <a:pt x="693" y="50"/>
                  </a:lnTo>
                  <a:lnTo>
                    <a:pt x="680" y="129"/>
                  </a:lnTo>
                  <a:lnTo>
                    <a:pt x="711" y="184"/>
                  </a:lnTo>
                  <a:lnTo>
                    <a:pt x="742" y="191"/>
                  </a:lnTo>
                  <a:lnTo>
                    <a:pt x="803" y="160"/>
                  </a:lnTo>
                  <a:lnTo>
                    <a:pt x="840" y="166"/>
                  </a:lnTo>
                  <a:lnTo>
                    <a:pt x="864" y="166"/>
                  </a:lnTo>
                  <a:lnTo>
                    <a:pt x="883" y="142"/>
                  </a:lnTo>
                  <a:lnTo>
                    <a:pt x="944" y="142"/>
                  </a:lnTo>
                  <a:lnTo>
                    <a:pt x="956" y="166"/>
                  </a:lnTo>
                  <a:lnTo>
                    <a:pt x="1017" y="160"/>
                  </a:lnTo>
                  <a:lnTo>
                    <a:pt x="1091" y="62"/>
                  </a:lnTo>
                  <a:lnTo>
                    <a:pt x="1115" y="80"/>
                  </a:lnTo>
                  <a:lnTo>
                    <a:pt x="1115" y="117"/>
                  </a:lnTo>
                  <a:lnTo>
                    <a:pt x="1164" y="178"/>
                  </a:lnTo>
                  <a:lnTo>
                    <a:pt x="1164" y="221"/>
                  </a:lnTo>
                  <a:lnTo>
                    <a:pt x="1115" y="258"/>
                  </a:lnTo>
                  <a:lnTo>
                    <a:pt x="1122" y="313"/>
                  </a:lnTo>
                  <a:lnTo>
                    <a:pt x="1140" y="350"/>
                  </a:lnTo>
                  <a:lnTo>
                    <a:pt x="1195" y="362"/>
                  </a:lnTo>
                  <a:lnTo>
                    <a:pt x="1201" y="393"/>
                  </a:lnTo>
                  <a:lnTo>
                    <a:pt x="1220" y="393"/>
                  </a:lnTo>
                  <a:lnTo>
                    <a:pt x="1256" y="319"/>
                  </a:lnTo>
                  <a:lnTo>
                    <a:pt x="1305" y="313"/>
                  </a:lnTo>
                  <a:lnTo>
                    <a:pt x="1422" y="362"/>
                  </a:lnTo>
                  <a:lnTo>
                    <a:pt x="1422" y="424"/>
                  </a:lnTo>
                  <a:lnTo>
                    <a:pt x="1434" y="436"/>
                  </a:lnTo>
                  <a:lnTo>
                    <a:pt x="1477" y="424"/>
                  </a:lnTo>
                  <a:lnTo>
                    <a:pt x="1581" y="454"/>
                  </a:lnTo>
                  <a:lnTo>
                    <a:pt x="1661" y="460"/>
                  </a:lnTo>
                  <a:lnTo>
                    <a:pt x="1802" y="595"/>
                  </a:lnTo>
                  <a:lnTo>
                    <a:pt x="1881" y="614"/>
                  </a:lnTo>
                  <a:lnTo>
                    <a:pt x="1906" y="724"/>
                  </a:lnTo>
                  <a:lnTo>
                    <a:pt x="1863" y="810"/>
                  </a:lnTo>
                  <a:lnTo>
                    <a:pt x="1673" y="982"/>
                  </a:lnTo>
                  <a:lnTo>
                    <a:pt x="1661" y="1110"/>
                  </a:lnTo>
                  <a:lnTo>
                    <a:pt x="1618" y="1264"/>
                  </a:lnTo>
                  <a:lnTo>
                    <a:pt x="1489" y="1429"/>
                  </a:lnTo>
                  <a:lnTo>
                    <a:pt x="1379" y="1417"/>
                  </a:lnTo>
                  <a:lnTo>
                    <a:pt x="1305" y="1454"/>
                  </a:lnTo>
                  <a:lnTo>
                    <a:pt x="1177" y="1539"/>
                  </a:lnTo>
                  <a:lnTo>
                    <a:pt x="1171" y="1650"/>
                  </a:lnTo>
                  <a:lnTo>
                    <a:pt x="1079" y="1754"/>
                  </a:lnTo>
                  <a:lnTo>
                    <a:pt x="1054" y="1754"/>
                  </a:lnTo>
                  <a:lnTo>
                    <a:pt x="999" y="1815"/>
                  </a:lnTo>
                  <a:lnTo>
                    <a:pt x="999" y="1846"/>
                  </a:lnTo>
                  <a:lnTo>
                    <a:pt x="938" y="1920"/>
                  </a:lnTo>
                  <a:close/>
                </a:path>
              </a:pathLst>
            </a:custGeom>
            <a:solidFill>
              <a:srgbClr val="263143"/>
            </a:solidFill>
            <a:ln w="9525" cmpd="sng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r"/>
              <a:endParaRPr lang="de-DE"/>
            </a:p>
          </p:txBody>
        </p:sp>
        <p:sp>
          <p:nvSpPr>
            <p:cNvPr id="67" name="Freeform 16"/>
            <p:cNvSpPr>
              <a:spLocks/>
            </p:cNvSpPr>
            <p:nvPr/>
          </p:nvSpPr>
          <p:spPr bwMode="auto">
            <a:xfrm>
              <a:off x="7555485" y="2829268"/>
              <a:ext cx="92760" cy="68816"/>
            </a:xfrm>
            <a:custGeom>
              <a:avLst/>
              <a:gdLst/>
              <a:ahLst/>
              <a:cxnLst>
                <a:cxn ang="0">
                  <a:pos x="6" y="12"/>
                </a:cxn>
                <a:cxn ang="0">
                  <a:pos x="43" y="0"/>
                </a:cxn>
                <a:cxn ang="0">
                  <a:pos x="86" y="6"/>
                </a:cxn>
                <a:cxn ang="0">
                  <a:pos x="98" y="18"/>
                </a:cxn>
                <a:cxn ang="0">
                  <a:pos x="98" y="43"/>
                </a:cxn>
                <a:cxn ang="0">
                  <a:pos x="67" y="74"/>
                </a:cxn>
                <a:cxn ang="0">
                  <a:pos x="31" y="74"/>
                </a:cxn>
                <a:cxn ang="0">
                  <a:pos x="0" y="67"/>
                </a:cxn>
                <a:cxn ang="0">
                  <a:pos x="0" y="43"/>
                </a:cxn>
                <a:cxn ang="0">
                  <a:pos x="6" y="12"/>
                </a:cxn>
              </a:cxnLst>
              <a:rect l="0" t="0" r="r" b="b"/>
              <a:pathLst>
                <a:path w="98" h="74">
                  <a:moveTo>
                    <a:pt x="6" y="12"/>
                  </a:moveTo>
                  <a:lnTo>
                    <a:pt x="43" y="0"/>
                  </a:lnTo>
                  <a:lnTo>
                    <a:pt x="86" y="6"/>
                  </a:lnTo>
                  <a:lnTo>
                    <a:pt x="98" y="18"/>
                  </a:lnTo>
                  <a:lnTo>
                    <a:pt x="98" y="43"/>
                  </a:lnTo>
                  <a:lnTo>
                    <a:pt x="67" y="74"/>
                  </a:lnTo>
                  <a:lnTo>
                    <a:pt x="31" y="74"/>
                  </a:lnTo>
                  <a:lnTo>
                    <a:pt x="0" y="67"/>
                  </a:lnTo>
                  <a:lnTo>
                    <a:pt x="0" y="43"/>
                  </a:lnTo>
                  <a:lnTo>
                    <a:pt x="6" y="12"/>
                  </a:lnTo>
                  <a:close/>
                </a:path>
              </a:pathLst>
            </a:custGeom>
            <a:solidFill>
              <a:srgbClr val="D6D6CE"/>
            </a:solidFill>
            <a:ln w="9525" cmpd="sng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r"/>
              <a:endParaRPr lang="de-DE"/>
            </a:p>
          </p:txBody>
        </p:sp>
        <p:sp>
          <p:nvSpPr>
            <p:cNvPr id="68" name="Freeform 17"/>
            <p:cNvSpPr>
              <a:spLocks/>
            </p:cNvSpPr>
            <p:nvPr/>
          </p:nvSpPr>
          <p:spPr bwMode="auto">
            <a:xfrm>
              <a:off x="6613828" y="4758926"/>
              <a:ext cx="29514" cy="80051"/>
            </a:xfrm>
            <a:custGeom>
              <a:avLst/>
              <a:gdLst/>
              <a:ahLst/>
              <a:cxnLst>
                <a:cxn ang="0">
                  <a:pos x="12" y="6"/>
                </a:cxn>
                <a:cxn ang="0">
                  <a:pos x="31" y="0"/>
                </a:cxn>
                <a:cxn ang="0">
                  <a:pos x="31" y="86"/>
                </a:cxn>
                <a:cxn ang="0">
                  <a:pos x="12" y="80"/>
                </a:cxn>
                <a:cxn ang="0">
                  <a:pos x="0" y="37"/>
                </a:cxn>
                <a:cxn ang="0">
                  <a:pos x="12" y="6"/>
                </a:cxn>
              </a:cxnLst>
              <a:rect l="0" t="0" r="r" b="b"/>
              <a:pathLst>
                <a:path w="31" h="86">
                  <a:moveTo>
                    <a:pt x="12" y="6"/>
                  </a:moveTo>
                  <a:lnTo>
                    <a:pt x="31" y="0"/>
                  </a:lnTo>
                  <a:lnTo>
                    <a:pt x="31" y="86"/>
                  </a:lnTo>
                  <a:lnTo>
                    <a:pt x="12" y="80"/>
                  </a:lnTo>
                  <a:lnTo>
                    <a:pt x="0" y="37"/>
                  </a:lnTo>
                  <a:lnTo>
                    <a:pt x="12" y="6"/>
                  </a:lnTo>
                  <a:close/>
                </a:path>
              </a:pathLst>
            </a:custGeom>
            <a:solidFill>
              <a:srgbClr val="D6D6CE"/>
            </a:solidFill>
            <a:ln w="9525" cmpd="sng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r"/>
              <a:endParaRPr lang="de-DE"/>
            </a:p>
          </p:txBody>
        </p:sp>
        <p:sp>
          <p:nvSpPr>
            <p:cNvPr id="69" name="Freeform 18"/>
            <p:cNvSpPr>
              <a:spLocks/>
            </p:cNvSpPr>
            <p:nvPr/>
          </p:nvSpPr>
          <p:spPr bwMode="auto">
            <a:xfrm>
              <a:off x="6511230" y="2277336"/>
              <a:ext cx="619806" cy="519631"/>
            </a:xfrm>
            <a:custGeom>
              <a:avLst/>
              <a:gdLst/>
              <a:ahLst/>
              <a:cxnLst>
                <a:cxn ang="0">
                  <a:pos x="45" y="25"/>
                </a:cxn>
                <a:cxn ang="0">
                  <a:pos x="57" y="65"/>
                </a:cxn>
                <a:cxn ang="0">
                  <a:pos x="41" y="86"/>
                </a:cxn>
                <a:cxn ang="0">
                  <a:pos x="53" y="107"/>
                </a:cxn>
                <a:cxn ang="0">
                  <a:pos x="69" y="103"/>
                </a:cxn>
                <a:cxn ang="0">
                  <a:pos x="69" y="82"/>
                </a:cxn>
                <a:cxn ang="0">
                  <a:pos x="61" y="65"/>
                </a:cxn>
                <a:cxn ang="0">
                  <a:pos x="65" y="41"/>
                </a:cxn>
                <a:cxn ang="0">
                  <a:pos x="118" y="21"/>
                </a:cxn>
                <a:cxn ang="0">
                  <a:pos x="102" y="13"/>
                </a:cxn>
                <a:cxn ang="0">
                  <a:pos x="106" y="0"/>
                </a:cxn>
                <a:cxn ang="0">
                  <a:pos x="114" y="9"/>
                </a:cxn>
                <a:cxn ang="0">
                  <a:pos x="118" y="21"/>
                </a:cxn>
                <a:cxn ang="0">
                  <a:pos x="151" y="21"/>
                </a:cxn>
                <a:cxn ang="0">
                  <a:pos x="167" y="49"/>
                </a:cxn>
                <a:cxn ang="0">
                  <a:pos x="233" y="45"/>
                </a:cxn>
                <a:cxn ang="0">
                  <a:pos x="254" y="61"/>
                </a:cxn>
                <a:cxn ang="0">
                  <a:pos x="327" y="33"/>
                </a:cxn>
                <a:cxn ang="0">
                  <a:pos x="364" y="29"/>
                </a:cxn>
                <a:cxn ang="0">
                  <a:pos x="364" y="37"/>
                </a:cxn>
                <a:cxn ang="0">
                  <a:pos x="335" y="45"/>
                </a:cxn>
                <a:cxn ang="0">
                  <a:pos x="360" y="70"/>
                </a:cxn>
                <a:cxn ang="0">
                  <a:pos x="400" y="82"/>
                </a:cxn>
                <a:cxn ang="0">
                  <a:pos x="408" y="111"/>
                </a:cxn>
                <a:cxn ang="0">
                  <a:pos x="441" y="115"/>
                </a:cxn>
                <a:cxn ang="0">
                  <a:pos x="412" y="138"/>
                </a:cxn>
                <a:cxn ang="0">
                  <a:pos x="405" y="153"/>
                </a:cxn>
                <a:cxn ang="0">
                  <a:pos x="417" y="165"/>
                </a:cxn>
                <a:cxn ang="0">
                  <a:pos x="399" y="169"/>
                </a:cxn>
                <a:cxn ang="0">
                  <a:pos x="394" y="198"/>
                </a:cxn>
                <a:cxn ang="0">
                  <a:pos x="413" y="221"/>
                </a:cxn>
                <a:cxn ang="0">
                  <a:pos x="336" y="264"/>
                </a:cxn>
                <a:cxn ang="0">
                  <a:pos x="306" y="262"/>
                </a:cxn>
                <a:cxn ang="0">
                  <a:pos x="294" y="245"/>
                </a:cxn>
                <a:cxn ang="0">
                  <a:pos x="278" y="254"/>
                </a:cxn>
                <a:cxn ang="0">
                  <a:pos x="290" y="270"/>
                </a:cxn>
                <a:cxn ang="0">
                  <a:pos x="294" y="303"/>
                </a:cxn>
                <a:cxn ang="0">
                  <a:pos x="315" y="319"/>
                </a:cxn>
                <a:cxn ang="0">
                  <a:pos x="246" y="370"/>
                </a:cxn>
                <a:cxn ang="0">
                  <a:pos x="212" y="368"/>
                </a:cxn>
                <a:cxn ang="0">
                  <a:pos x="196" y="343"/>
                </a:cxn>
                <a:cxn ang="0">
                  <a:pos x="183" y="331"/>
                </a:cxn>
                <a:cxn ang="0">
                  <a:pos x="180" y="298"/>
                </a:cxn>
                <a:cxn ang="0">
                  <a:pos x="189" y="289"/>
                </a:cxn>
                <a:cxn ang="0">
                  <a:pos x="188" y="266"/>
                </a:cxn>
                <a:cxn ang="0">
                  <a:pos x="171" y="254"/>
                </a:cxn>
                <a:cxn ang="0">
                  <a:pos x="196" y="201"/>
                </a:cxn>
                <a:cxn ang="0">
                  <a:pos x="188" y="188"/>
                </a:cxn>
                <a:cxn ang="0">
                  <a:pos x="147" y="201"/>
                </a:cxn>
                <a:cxn ang="0">
                  <a:pos x="118" y="197"/>
                </a:cxn>
                <a:cxn ang="0">
                  <a:pos x="98" y="168"/>
                </a:cxn>
                <a:cxn ang="0">
                  <a:pos x="69" y="168"/>
                </a:cxn>
                <a:cxn ang="0">
                  <a:pos x="41" y="176"/>
                </a:cxn>
                <a:cxn ang="0">
                  <a:pos x="0" y="94"/>
                </a:cxn>
                <a:cxn ang="0">
                  <a:pos x="24" y="49"/>
                </a:cxn>
                <a:cxn ang="0">
                  <a:pos x="45" y="25"/>
                </a:cxn>
              </a:cxnLst>
              <a:rect l="0" t="0" r="r" b="b"/>
              <a:pathLst>
                <a:path w="441" h="370">
                  <a:moveTo>
                    <a:pt x="45" y="25"/>
                  </a:moveTo>
                  <a:lnTo>
                    <a:pt x="57" y="65"/>
                  </a:lnTo>
                  <a:lnTo>
                    <a:pt x="41" y="86"/>
                  </a:lnTo>
                  <a:lnTo>
                    <a:pt x="53" y="107"/>
                  </a:lnTo>
                  <a:lnTo>
                    <a:pt x="69" y="103"/>
                  </a:lnTo>
                  <a:lnTo>
                    <a:pt x="69" y="82"/>
                  </a:lnTo>
                  <a:lnTo>
                    <a:pt x="61" y="65"/>
                  </a:lnTo>
                  <a:lnTo>
                    <a:pt x="65" y="41"/>
                  </a:lnTo>
                  <a:lnTo>
                    <a:pt x="118" y="21"/>
                  </a:lnTo>
                  <a:lnTo>
                    <a:pt x="102" y="13"/>
                  </a:lnTo>
                  <a:lnTo>
                    <a:pt x="106" y="0"/>
                  </a:lnTo>
                  <a:lnTo>
                    <a:pt x="114" y="9"/>
                  </a:lnTo>
                  <a:lnTo>
                    <a:pt x="118" y="21"/>
                  </a:lnTo>
                  <a:lnTo>
                    <a:pt x="151" y="21"/>
                  </a:lnTo>
                  <a:lnTo>
                    <a:pt x="167" y="49"/>
                  </a:lnTo>
                  <a:lnTo>
                    <a:pt x="233" y="45"/>
                  </a:lnTo>
                  <a:lnTo>
                    <a:pt x="254" y="61"/>
                  </a:lnTo>
                  <a:lnTo>
                    <a:pt x="327" y="33"/>
                  </a:lnTo>
                  <a:lnTo>
                    <a:pt x="364" y="29"/>
                  </a:lnTo>
                  <a:lnTo>
                    <a:pt x="364" y="37"/>
                  </a:lnTo>
                  <a:lnTo>
                    <a:pt x="335" y="45"/>
                  </a:lnTo>
                  <a:lnTo>
                    <a:pt x="360" y="70"/>
                  </a:lnTo>
                  <a:lnTo>
                    <a:pt x="400" y="82"/>
                  </a:lnTo>
                  <a:lnTo>
                    <a:pt x="408" y="111"/>
                  </a:lnTo>
                  <a:lnTo>
                    <a:pt x="441" y="115"/>
                  </a:lnTo>
                  <a:lnTo>
                    <a:pt x="412" y="138"/>
                  </a:lnTo>
                  <a:lnTo>
                    <a:pt x="405" y="153"/>
                  </a:lnTo>
                  <a:lnTo>
                    <a:pt x="417" y="165"/>
                  </a:lnTo>
                  <a:lnTo>
                    <a:pt x="399" y="169"/>
                  </a:lnTo>
                  <a:lnTo>
                    <a:pt x="394" y="198"/>
                  </a:lnTo>
                  <a:lnTo>
                    <a:pt x="413" y="221"/>
                  </a:lnTo>
                  <a:lnTo>
                    <a:pt x="336" y="264"/>
                  </a:lnTo>
                  <a:lnTo>
                    <a:pt x="306" y="262"/>
                  </a:lnTo>
                  <a:lnTo>
                    <a:pt x="294" y="245"/>
                  </a:lnTo>
                  <a:lnTo>
                    <a:pt x="278" y="254"/>
                  </a:lnTo>
                  <a:lnTo>
                    <a:pt x="290" y="270"/>
                  </a:lnTo>
                  <a:lnTo>
                    <a:pt x="294" y="303"/>
                  </a:lnTo>
                  <a:lnTo>
                    <a:pt x="315" y="319"/>
                  </a:lnTo>
                  <a:lnTo>
                    <a:pt x="246" y="370"/>
                  </a:lnTo>
                  <a:lnTo>
                    <a:pt x="212" y="368"/>
                  </a:lnTo>
                  <a:lnTo>
                    <a:pt x="196" y="343"/>
                  </a:lnTo>
                  <a:lnTo>
                    <a:pt x="183" y="331"/>
                  </a:lnTo>
                  <a:lnTo>
                    <a:pt x="180" y="298"/>
                  </a:lnTo>
                  <a:lnTo>
                    <a:pt x="189" y="289"/>
                  </a:lnTo>
                  <a:lnTo>
                    <a:pt x="188" y="266"/>
                  </a:lnTo>
                  <a:lnTo>
                    <a:pt x="171" y="254"/>
                  </a:lnTo>
                  <a:lnTo>
                    <a:pt x="196" y="201"/>
                  </a:lnTo>
                  <a:lnTo>
                    <a:pt x="188" y="188"/>
                  </a:lnTo>
                  <a:lnTo>
                    <a:pt x="147" y="201"/>
                  </a:lnTo>
                  <a:lnTo>
                    <a:pt x="118" y="197"/>
                  </a:lnTo>
                  <a:lnTo>
                    <a:pt x="98" y="168"/>
                  </a:lnTo>
                  <a:lnTo>
                    <a:pt x="69" y="168"/>
                  </a:lnTo>
                  <a:lnTo>
                    <a:pt x="41" y="176"/>
                  </a:lnTo>
                  <a:lnTo>
                    <a:pt x="0" y="94"/>
                  </a:lnTo>
                  <a:lnTo>
                    <a:pt x="24" y="49"/>
                  </a:lnTo>
                  <a:lnTo>
                    <a:pt x="45" y="25"/>
                  </a:lnTo>
                  <a:close/>
                </a:path>
              </a:pathLst>
            </a:custGeom>
            <a:solidFill>
              <a:srgbClr val="D6D6CE"/>
            </a:solidFill>
            <a:ln w="9525" cmpd="sng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r"/>
              <a:endParaRPr lang="de-DE"/>
            </a:p>
          </p:txBody>
        </p:sp>
        <p:sp>
          <p:nvSpPr>
            <p:cNvPr id="70" name="Freeform 19"/>
            <p:cNvSpPr>
              <a:spLocks/>
            </p:cNvSpPr>
            <p:nvPr/>
          </p:nvSpPr>
          <p:spPr bwMode="auto">
            <a:xfrm>
              <a:off x="7062169" y="2438843"/>
              <a:ext cx="216440" cy="328632"/>
            </a:xfrm>
            <a:custGeom>
              <a:avLst/>
              <a:gdLst/>
              <a:ahLst/>
              <a:cxnLst>
                <a:cxn ang="0">
                  <a:pos x="134" y="82"/>
                </a:cxn>
                <a:cxn ang="0">
                  <a:pos x="134" y="102"/>
                </a:cxn>
                <a:cxn ang="0">
                  <a:pos x="106" y="115"/>
                </a:cxn>
                <a:cxn ang="0">
                  <a:pos x="104" y="143"/>
                </a:cxn>
                <a:cxn ang="0">
                  <a:pos x="130" y="168"/>
                </a:cxn>
                <a:cxn ang="0">
                  <a:pos x="154" y="218"/>
                </a:cxn>
                <a:cxn ang="0">
                  <a:pos x="131" y="212"/>
                </a:cxn>
                <a:cxn ang="0">
                  <a:pos x="88" y="234"/>
                </a:cxn>
                <a:cxn ang="0">
                  <a:pos x="65" y="228"/>
                </a:cxn>
                <a:cxn ang="0">
                  <a:pos x="43" y="194"/>
                </a:cxn>
                <a:cxn ang="0">
                  <a:pos x="53" y="139"/>
                </a:cxn>
                <a:cxn ang="0">
                  <a:pos x="37" y="111"/>
                </a:cxn>
                <a:cxn ang="0">
                  <a:pos x="21" y="106"/>
                </a:cxn>
                <a:cxn ang="0">
                  <a:pos x="0" y="82"/>
                </a:cxn>
                <a:cxn ang="0">
                  <a:pos x="4" y="54"/>
                </a:cxn>
                <a:cxn ang="0">
                  <a:pos x="21" y="49"/>
                </a:cxn>
                <a:cxn ang="0">
                  <a:pos x="12" y="37"/>
                </a:cxn>
                <a:cxn ang="0">
                  <a:pos x="16" y="21"/>
                </a:cxn>
                <a:cxn ang="0">
                  <a:pos x="49" y="0"/>
                </a:cxn>
                <a:cxn ang="0">
                  <a:pos x="86" y="25"/>
                </a:cxn>
                <a:cxn ang="0">
                  <a:pos x="86" y="53"/>
                </a:cxn>
                <a:cxn ang="0">
                  <a:pos x="110" y="53"/>
                </a:cxn>
                <a:cxn ang="0">
                  <a:pos x="134" y="82"/>
                </a:cxn>
              </a:cxnLst>
              <a:rect l="0" t="0" r="r" b="b"/>
              <a:pathLst>
                <a:path w="154" h="234">
                  <a:moveTo>
                    <a:pt x="134" y="82"/>
                  </a:moveTo>
                  <a:lnTo>
                    <a:pt x="134" y="102"/>
                  </a:lnTo>
                  <a:lnTo>
                    <a:pt x="106" y="115"/>
                  </a:lnTo>
                  <a:lnTo>
                    <a:pt x="104" y="143"/>
                  </a:lnTo>
                  <a:lnTo>
                    <a:pt x="130" y="168"/>
                  </a:lnTo>
                  <a:lnTo>
                    <a:pt x="154" y="218"/>
                  </a:lnTo>
                  <a:lnTo>
                    <a:pt x="131" y="212"/>
                  </a:lnTo>
                  <a:lnTo>
                    <a:pt x="88" y="234"/>
                  </a:lnTo>
                  <a:lnTo>
                    <a:pt x="65" y="228"/>
                  </a:lnTo>
                  <a:lnTo>
                    <a:pt x="43" y="194"/>
                  </a:lnTo>
                  <a:lnTo>
                    <a:pt x="53" y="139"/>
                  </a:lnTo>
                  <a:lnTo>
                    <a:pt x="37" y="111"/>
                  </a:lnTo>
                  <a:lnTo>
                    <a:pt x="21" y="106"/>
                  </a:lnTo>
                  <a:lnTo>
                    <a:pt x="0" y="82"/>
                  </a:lnTo>
                  <a:lnTo>
                    <a:pt x="4" y="54"/>
                  </a:lnTo>
                  <a:lnTo>
                    <a:pt x="21" y="49"/>
                  </a:lnTo>
                  <a:lnTo>
                    <a:pt x="12" y="37"/>
                  </a:lnTo>
                  <a:lnTo>
                    <a:pt x="16" y="21"/>
                  </a:lnTo>
                  <a:lnTo>
                    <a:pt x="49" y="0"/>
                  </a:lnTo>
                  <a:lnTo>
                    <a:pt x="86" y="25"/>
                  </a:lnTo>
                  <a:lnTo>
                    <a:pt x="86" y="53"/>
                  </a:lnTo>
                  <a:lnTo>
                    <a:pt x="110" y="53"/>
                  </a:lnTo>
                  <a:lnTo>
                    <a:pt x="134" y="82"/>
                  </a:lnTo>
                  <a:close/>
                </a:path>
              </a:pathLst>
            </a:custGeom>
            <a:solidFill>
              <a:srgbClr val="D6D6CE"/>
            </a:solidFill>
            <a:ln w="9525" cmpd="sng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r"/>
              <a:endParaRPr lang="de-DE"/>
            </a:p>
          </p:txBody>
        </p:sp>
        <p:sp>
          <p:nvSpPr>
            <p:cNvPr id="71" name="Freeform 20"/>
            <p:cNvSpPr>
              <a:spLocks/>
            </p:cNvSpPr>
            <p:nvPr/>
          </p:nvSpPr>
          <p:spPr bwMode="auto">
            <a:xfrm>
              <a:off x="7205526" y="2548387"/>
              <a:ext cx="195359" cy="198022"/>
            </a:xfrm>
            <a:custGeom>
              <a:avLst/>
              <a:gdLst/>
              <a:ahLst/>
              <a:cxnLst>
                <a:cxn ang="0">
                  <a:pos x="135" y="12"/>
                </a:cxn>
                <a:cxn ang="0">
                  <a:pos x="102" y="0"/>
                </a:cxn>
                <a:cxn ang="0">
                  <a:pos x="29" y="0"/>
                </a:cxn>
                <a:cxn ang="0">
                  <a:pos x="33" y="20"/>
                </a:cxn>
                <a:cxn ang="0">
                  <a:pos x="4" y="33"/>
                </a:cxn>
                <a:cxn ang="0">
                  <a:pos x="0" y="61"/>
                </a:cxn>
                <a:cxn ang="0">
                  <a:pos x="25" y="89"/>
                </a:cxn>
                <a:cxn ang="0">
                  <a:pos x="50" y="141"/>
                </a:cxn>
                <a:cxn ang="0">
                  <a:pos x="62" y="140"/>
                </a:cxn>
                <a:cxn ang="0">
                  <a:pos x="82" y="123"/>
                </a:cxn>
                <a:cxn ang="0">
                  <a:pos x="119" y="125"/>
                </a:cxn>
                <a:cxn ang="0">
                  <a:pos x="133" y="119"/>
                </a:cxn>
                <a:cxn ang="0">
                  <a:pos x="139" y="77"/>
                </a:cxn>
                <a:cxn ang="0">
                  <a:pos x="123" y="61"/>
                </a:cxn>
                <a:cxn ang="0">
                  <a:pos x="135" y="12"/>
                </a:cxn>
              </a:cxnLst>
              <a:rect l="0" t="0" r="r" b="b"/>
              <a:pathLst>
                <a:path w="139" h="141">
                  <a:moveTo>
                    <a:pt x="135" y="12"/>
                  </a:moveTo>
                  <a:lnTo>
                    <a:pt x="102" y="0"/>
                  </a:lnTo>
                  <a:lnTo>
                    <a:pt x="29" y="0"/>
                  </a:lnTo>
                  <a:lnTo>
                    <a:pt x="33" y="20"/>
                  </a:lnTo>
                  <a:lnTo>
                    <a:pt x="4" y="33"/>
                  </a:lnTo>
                  <a:lnTo>
                    <a:pt x="0" y="61"/>
                  </a:lnTo>
                  <a:lnTo>
                    <a:pt x="25" y="89"/>
                  </a:lnTo>
                  <a:lnTo>
                    <a:pt x="50" y="141"/>
                  </a:lnTo>
                  <a:lnTo>
                    <a:pt x="62" y="140"/>
                  </a:lnTo>
                  <a:lnTo>
                    <a:pt x="82" y="123"/>
                  </a:lnTo>
                  <a:lnTo>
                    <a:pt x="119" y="125"/>
                  </a:lnTo>
                  <a:lnTo>
                    <a:pt x="133" y="119"/>
                  </a:lnTo>
                  <a:lnTo>
                    <a:pt x="139" y="77"/>
                  </a:lnTo>
                  <a:lnTo>
                    <a:pt x="123" y="61"/>
                  </a:lnTo>
                  <a:lnTo>
                    <a:pt x="135" y="12"/>
                  </a:lnTo>
                  <a:close/>
                </a:path>
              </a:pathLst>
            </a:custGeom>
            <a:solidFill>
              <a:srgbClr val="D6D6CE"/>
            </a:solidFill>
            <a:ln w="9525" cmpd="sng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r"/>
              <a:endParaRPr lang="de-DE"/>
            </a:p>
          </p:txBody>
        </p:sp>
        <p:sp>
          <p:nvSpPr>
            <p:cNvPr id="72" name="Freeform 21"/>
            <p:cNvSpPr>
              <a:spLocks/>
            </p:cNvSpPr>
            <p:nvPr/>
          </p:nvSpPr>
          <p:spPr bwMode="auto">
            <a:xfrm>
              <a:off x="6131757" y="2868592"/>
              <a:ext cx="586076" cy="804726"/>
            </a:xfrm>
            <a:custGeom>
              <a:avLst/>
              <a:gdLst/>
              <a:ahLst/>
              <a:cxnLst>
                <a:cxn ang="0">
                  <a:pos x="401" y="532"/>
                </a:cxn>
                <a:cxn ang="0">
                  <a:pos x="397" y="557"/>
                </a:cxn>
                <a:cxn ang="0">
                  <a:pos x="372" y="573"/>
                </a:cxn>
                <a:cxn ang="0">
                  <a:pos x="262" y="508"/>
                </a:cxn>
                <a:cxn ang="0">
                  <a:pos x="246" y="508"/>
                </a:cxn>
                <a:cxn ang="0">
                  <a:pos x="184" y="463"/>
                </a:cxn>
                <a:cxn ang="0">
                  <a:pos x="180" y="434"/>
                </a:cxn>
                <a:cxn ang="0">
                  <a:pos x="90" y="282"/>
                </a:cxn>
                <a:cxn ang="0">
                  <a:pos x="69" y="270"/>
                </a:cxn>
                <a:cxn ang="0">
                  <a:pos x="61" y="254"/>
                </a:cxn>
                <a:cxn ang="0">
                  <a:pos x="29" y="225"/>
                </a:cxn>
                <a:cxn ang="0">
                  <a:pos x="9" y="213"/>
                </a:cxn>
                <a:cxn ang="0">
                  <a:pos x="17" y="200"/>
                </a:cxn>
                <a:cxn ang="0">
                  <a:pos x="0" y="176"/>
                </a:cxn>
                <a:cxn ang="0">
                  <a:pos x="4" y="152"/>
                </a:cxn>
                <a:cxn ang="0">
                  <a:pos x="33" y="127"/>
                </a:cxn>
                <a:cxn ang="0">
                  <a:pos x="29" y="148"/>
                </a:cxn>
                <a:cxn ang="0">
                  <a:pos x="35" y="157"/>
                </a:cxn>
                <a:cxn ang="0">
                  <a:pos x="57" y="158"/>
                </a:cxn>
                <a:cxn ang="0">
                  <a:pos x="60" y="168"/>
                </a:cxn>
                <a:cxn ang="0">
                  <a:pos x="70" y="168"/>
                </a:cxn>
                <a:cxn ang="0">
                  <a:pos x="87" y="152"/>
                </a:cxn>
                <a:cxn ang="0">
                  <a:pos x="90" y="127"/>
                </a:cxn>
                <a:cxn ang="0">
                  <a:pos x="115" y="102"/>
                </a:cxn>
                <a:cxn ang="0">
                  <a:pos x="147" y="86"/>
                </a:cxn>
                <a:cxn ang="0">
                  <a:pos x="184" y="53"/>
                </a:cxn>
                <a:cxn ang="0">
                  <a:pos x="196" y="16"/>
                </a:cxn>
                <a:cxn ang="0">
                  <a:pos x="196" y="0"/>
                </a:cxn>
                <a:cxn ang="0">
                  <a:pos x="217" y="0"/>
                </a:cxn>
                <a:cxn ang="0">
                  <a:pos x="254" y="33"/>
                </a:cxn>
                <a:cxn ang="0">
                  <a:pos x="270" y="45"/>
                </a:cxn>
                <a:cxn ang="0">
                  <a:pos x="273" y="59"/>
                </a:cxn>
                <a:cxn ang="0">
                  <a:pos x="303" y="60"/>
                </a:cxn>
                <a:cxn ang="0">
                  <a:pos x="315" y="57"/>
                </a:cxn>
                <a:cxn ang="0">
                  <a:pos x="348" y="57"/>
                </a:cxn>
                <a:cxn ang="0">
                  <a:pos x="369" y="65"/>
                </a:cxn>
                <a:cxn ang="0">
                  <a:pos x="364" y="86"/>
                </a:cxn>
                <a:cxn ang="0">
                  <a:pos x="356" y="94"/>
                </a:cxn>
                <a:cxn ang="0">
                  <a:pos x="357" y="105"/>
                </a:cxn>
                <a:cxn ang="0">
                  <a:pos x="375" y="108"/>
                </a:cxn>
                <a:cxn ang="0">
                  <a:pos x="364" y="119"/>
                </a:cxn>
                <a:cxn ang="0">
                  <a:pos x="313" y="141"/>
                </a:cxn>
                <a:cxn ang="0">
                  <a:pos x="263" y="205"/>
                </a:cxn>
                <a:cxn ang="0">
                  <a:pos x="254" y="238"/>
                </a:cxn>
                <a:cxn ang="0">
                  <a:pos x="303" y="303"/>
                </a:cxn>
                <a:cxn ang="0">
                  <a:pos x="356" y="291"/>
                </a:cxn>
                <a:cxn ang="0">
                  <a:pos x="368" y="336"/>
                </a:cxn>
                <a:cxn ang="0">
                  <a:pos x="388" y="336"/>
                </a:cxn>
                <a:cxn ang="0">
                  <a:pos x="417" y="377"/>
                </a:cxn>
                <a:cxn ang="0">
                  <a:pos x="405" y="501"/>
                </a:cxn>
                <a:cxn ang="0">
                  <a:pos x="417" y="512"/>
                </a:cxn>
                <a:cxn ang="0">
                  <a:pos x="417" y="522"/>
                </a:cxn>
                <a:cxn ang="0">
                  <a:pos x="401" y="532"/>
                </a:cxn>
              </a:cxnLst>
              <a:rect l="0" t="0" r="r" b="b"/>
              <a:pathLst>
                <a:path w="417" h="573">
                  <a:moveTo>
                    <a:pt x="401" y="532"/>
                  </a:moveTo>
                  <a:lnTo>
                    <a:pt x="397" y="557"/>
                  </a:lnTo>
                  <a:lnTo>
                    <a:pt x="372" y="573"/>
                  </a:lnTo>
                  <a:lnTo>
                    <a:pt x="262" y="508"/>
                  </a:lnTo>
                  <a:lnTo>
                    <a:pt x="246" y="508"/>
                  </a:lnTo>
                  <a:lnTo>
                    <a:pt x="184" y="463"/>
                  </a:lnTo>
                  <a:lnTo>
                    <a:pt x="180" y="434"/>
                  </a:lnTo>
                  <a:lnTo>
                    <a:pt x="90" y="282"/>
                  </a:lnTo>
                  <a:lnTo>
                    <a:pt x="69" y="270"/>
                  </a:lnTo>
                  <a:lnTo>
                    <a:pt x="61" y="254"/>
                  </a:lnTo>
                  <a:lnTo>
                    <a:pt x="29" y="225"/>
                  </a:lnTo>
                  <a:lnTo>
                    <a:pt x="9" y="213"/>
                  </a:lnTo>
                  <a:lnTo>
                    <a:pt x="17" y="200"/>
                  </a:lnTo>
                  <a:lnTo>
                    <a:pt x="0" y="176"/>
                  </a:lnTo>
                  <a:lnTo>
                    <a:pt x="4" y="152"/>
                  </a:lnTo>
                  <a:lnTo>
                    <a:pt x="33" y="127"/>
                  </a:lnTo>
                  <a:lnTo>
                    <a:pt x="29" y="148"/>
                  </a:lnTo>
                  <a:lnTo>
                    <a:pt x="35" y="157"/>
                  </a:lnTo>
                  <a:lnTo>
                    <a:pt x="57" y="158"/>
                  </a:lnTo>
                  <a:lnTo>
                    <a:pt x="60" y="168"/>
                  </a:lnTo>
                  <a:lnTo>
                    <a:pt x="70" y="168"/>
                  </a:lnTo>
                  <a:lnTo>
                    <a:pt x="87" y="152"/>
                  </a:lnTo>
                  <a:lnTo>
                    <a:pt x="90" y="127"/>
                  </a:lnTo>
                  <a:lnTo>
                    <a:pt x="115" y="102"/>
                  </a:lnTo>
                  <a:lnTo>
                    <a:pt x="147" y="86"/>
                  </a:lnTo>
                  <a:lnTo>
                    <a:pt x="184" y="53"/>
                  </a:lnTo>
                  <a:lnTo>
                    <a:pt x="196" y="16"/>
                  </a:lnTo>
                  <a:lnTo>
                    <a:pt x="196" y="0"/>
                  </a:lnTo>
                  <a:lnTo>
                    <a:pt x="217" y="0"/>
                  </a:lnTo>
                  <a:lnTo>
                    <a:pt x="254" y="33"/>
                  </a:lnTo>
                  <a:lnTo>
                    <a:pt x="270" y="45"/>
                  </a:lnTo>
                  <a:lnTo>
                    <a:pt x="273" y="59"/>
                  </a:lnTo>
                  <a:lnTo>
                    <a:pt x="303" y="60"/>
                  </a:lnTo>
                  <a:lnTo>
                    <a:pt x="315" y="57"/>
                  </a:lnTo>
                  <a:lnTo>
                    <a:pt x="348" y="57"/>
                  </a:lnTo>
                  <a:lnTo>
                    <a:pt x="369" y="65"/>
                  </a:lnTo>
                  <a:lnTo>
                    <a:pt x="364" y="86"/>
                  </a:lnTo>
                  <a:lnTo>
                    <a:pt x="356" y="94"/>
                  </a:lnTo>
                  <a:lnTo>
                    <a:pt x="357" y="105"/>
                  </a:lnTo>
                  <a:lnTo>
                    <a:pt x="375" y="108"/>
                  </a:lnTo>
                  <a:lnTo>
                    <a:pt x="364" y="119"/>
                  </a:lnTo>
                  <a:lnTo>
                    <a:pt x="313" y="141"/>
                  </a:lnTo>
                  <a:lnTo>
                    <a:pt x="263" y="205"/>
                  </a:lnTo>
                  <a:lnTo>
                    <a:pt x="254" y="238"/>
                  </a:lnTo>
                  <a:lnTo>
                    <a:pt x="303" y="303"/>
                  </a:lnTo>
                  <a:lnTo>
                    <a:pt x="356" y="291"/>
                  </a:lnTo>
                  <a:lnTo>
                    <a:pt x="368" y="336"/>
                  </a:lnTo>
                  <a:lnTo>
                    <a:pt x="388" y="336"/>
                  </a:lnTo>
                  <a:lnTo>
                    <a:pt x="417" y="377"/>
                  </a:lnTo>
                  <a:lnTo>
                    <a:pt x="405" y="501"/>
                  </a:lnTo>
                  <a:lnTo>
                    <a:pt x="417" y="512"/>
                  </a:lnTo>
                  <a:lnTo>
                    <a:pt x="417" y="522"/>
                  </a:lnTo>
                  <a:lnTo>
                    <a:pt x="401" y="532"/>
                  </a:lnTo>
                  <a:close/>
                </a:path>
              </a:pathLst>
            </a:custGeom>
            <a:solidFill>
              <a:srgbClr val="D6D6CE"/>
            </a:solidFill>
            <a:ln w="9525" cmpd="sng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r"/>
              <a:endParaRPr lang="de-DE"/>
            </a:p>
          </p:txBody>
        </p:sp>
        <p:sp>
          <p:nvSpPr>
            <p:cNvPr id="73" name="Freeform 22"/>
            <p:cNvSpPr>
              <a:spLocks/>
            </p:cNvSpPr>
            <p:nvPr/>
          </p:nvSpPr>
          <p:spPr bwMode="auto">
            <a:xfrm>
              <a:off x="7176011" y="4206994"/>
              <a:ext cx="202386" cy="224705"/>
            </a:xfrm>
            <a:custGeom>
              <a:avLst/>
              <a:gdLst/>
              <a:ahLst/>
              <a:cxnLst>
                <a:cxn ang="0">
                  <a:pos x="166" y="239"/>
                </a:cxn>
                <a:cxn ang="0">
                  <a:pos x="203" y="183"/>
                </a:cxn>
                <a:cxn ang="0">
                  <a:pos x="215" y="128"/>
                </a:cxn>
                <a:cxn ang="0">
                  <a:pos x="166" y="73"/>
                </a:cxn>
                <a:cxn ang="0">
                  <a:pos x="74" y="6"/>
                </a:cxn>
                <a:cxn ang="0">
                  <a:pos x="50" y="0"/>
                </a:cxn>
                <a:cxn ang="0">
                  <a:pos x="31" y="18"/>
                </a:cxn>
                <a:cxn ang="0">
                  <a:pos x="0" y="183"/>
                </a:cxn>
                <a:cxn ang="0">
                  <a:pos x="19" y="208"/>
                </a:cxn>
                <a:cxn ang="0">
                  <a:pos x="56" y="214"/>
                </a:cxn>
                <a:cxn ang="0">
                  <a:pos x="86" y="233"/>
                </a:cxn>
                <a:cxn ang="0">
                  <a:pos x="166" y="239"/>
                </a:cxn>
              </a:cxnLst>
              <a:rect l="0" t="0" r="r" b="b"/>
              <a:pathLst>
                <a:path w="215" h="239">
                  <a:moveTo>
                    <a:pt x="166" y="239"/>
                  </a:moveTo>
                  <a:lnTo>
                    <a:pt x="203" y="183"/>
                  </a:lnTo>
                  <a:lnTo>
                    <a:pt x="215" y="128"/>
                  </a:lnTo>
                  <a:lnTo>
                    <a:pt x="166" y="73"/>
                  </a:lnTo>
                  <a:lnTo>
                    <a:pt x="74" y="6"/>
                  </a:lnTo>
                  <a:lnTo>
                    <a:pt x="50" y="0"/>
                  </a:lnTo>
                  <a:lnTo>
                    <a:pt x="31" y="18"/>
                  </a:lnTo>
                  <a:lnTo>
                    <a:pt x="0" y="183"/>
                  </a:lnTo>
                  <a:lnTo>
                    <a:pt x="19" y="208"/>
                  </a:lnTo>
                  <a:lnTo>
                    <a:pt x="56" y="214"/>
                  </a:lnTo>
                  <a:lnTo>
                    <a:pt x="86" y="233"/>
                  </a:lnTo>
                  <a:lnTo>
                    <a:pt x="166" y="239"/>
                  </a:lnTo>
                  <a:close/>
                </a:path>
              </a:pathLst>
            </a:custGeom>
            <a:solidFill>
              <a:srgbClr val="D6D6CE"/>
            </a:solidFill>
            <a:ln w="9525" cmpd="sng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r"/>
              <a:endParaRPr lang="de-DE"/>
            </a:p>
          </p:txBody>
        </p:sp>
        <p:sp>
          <p:nvSpPr>
            <p:cNvPr id="74" name="Freeform 23"/>
            <p:cNvSpPr>
              <a:spLocks/>
            </p:cNvSpPr>
            <p:nvPr/>
          </p:nvSpPr>
          <p:spPr bwMode="auto">
            <a:xfrm>
              <a:off x="6700966" y="3833421"/>
              <a:ext cx="680241" cy="1401600"/>
            </a:xfrm>
            <a:custGeom>
              <a:avLst/>
              <a:gdLst/>
              <a:ahLst/>
              <a:cxnLst>
                <a:cxn ang="0">
                  <a:pos x="106" y="998"/>
                </a:cxn>
                <a:cxn ang="0">
                  <a:pos x="45" y="957"/>
                </a:cxn>
                <a:cxn ang="0">
                  <a:pos x="16" y="916"/>
                </a:cxn>
                <a:cxn ang="0">
                  <a:pos x="25" y="851"/>
                </a:cxn>
                <a:cxn ang="0">
                  <a:pos x="24" y="753"/>
                </a:cxn>
                <a:cxn ang="0">
                  <a:pos x="4" y="687"/>
                </a:cxn>
                <a:cxn ang="0">
                  <a:pos x="8" y="589"/>
                </a:cxn>
                <a:cxn ang="0">
                  <a:pos x="12" y="544"/>
                </a:cxn>
                <a:cxn ang="0">
                  <a:pos x="21" y="474"/>
                </a:cxn>
                <a:cxn ang="0">
                  <a:pos x="33" y="401"/>
                </a:cxn>
                <a:cxn ang="0">
                  <a:pos x="16" y="270"/>
                </a:cxn>
                <a:cxn ang="0">
                  <a:pos x="53" y="163"/>
                </a:cxn>
                <a:cxn ang="0">
                  <a:pos x="81" y="65"/>
                </a:cxn>
                <a:cxn ang="0">
                  <a:pos x="110" y="0"/>
                </a:cxn>
                <a:cxn ang="0">
                  <a:pos x="180" y="4"/>
                </a:cxn>
                <a:cxn ang="0">
                  <a:pos x="221" y="17"/>
                </a:cxn>
                <a:cxn ang="0">
                  <a:pos x="311" y="73"/>
                </a:cxn>
                <a:cxn ang="0">
                  <a:pos x="367" y="127"/>
                </a:cxn>
                <a:cxn ang="0">
                  <a:pos x="347" y="172"/>
                </a:cxn>
                <a:cxn ang="0">
                  <a:pos x="429" y="176"/>
                </a:cxn>
                <a:cxn ang="0">
                  <a:pos x="457" y="119"/>
                </a:cxn>
                <a:cxn ang="0">
                  <a:pos x="484" y="147"/>
                </a:cxn>
                <a:cxn ang="0">
                  <a:pos x="359" y="278"/>
                </a:cxn>
                <a:cxn ang="0">
                  <a:pos x="339" y="413"/>
                </a:cxn>
                <a:cxn ang="0">
                  <a:pos x="363" y="454"/>
                </a:cxn>
                <a:cxn ang="0">
                  <a:pos x="384" y="495"/>
                </a:cxn>
                <a:cxn ang="0">
                  <a:pos x="294" y="556"/>
                </a:cxn>
                <a:cxn ang="0">
                  <a:pos x="241" y="564"/>
                </a:cxn>
                <a:cxn ang="0">
                  <a:pos x="237" y="610"/>
                </a:cxn>
                <a:cxn ang="0">
                  <a:pos x="225" y="634"/>
                </a:cxn>
                <a:cxn ang="0">
                  <a:pos x="184" y="622"/>
                </a:cxn>
                <a:cxn ang="0">
                  <a:pos x="175" y="666"/>
                </a:cxn>
                <a:cxn ang="0">
                  <a:pos x="204" y="662"/>
                </a:cxn>
                <a:cxn ang="0">
                  <a:pos x="208" y="687"/>
                </a:cxn>
                <a:cxn ang="0">
                  <a:pos x="175" y="687"/>
                </a:cxn>
                <a:cxn ang="0">
                  <a:pos x="192" y="695"/>
                </a:cxn>
                <a:cxn ang="0">
                  <a:pos x="171" y="724"/>
                </a:cxn>
                <a:cxn ang="0">
                  <a:pos x="167" y="761"/>
                </a:cxn>
                <a:cxn ang="0">
                  <a:pos x="127" y="785"/>
                </a:cxn>
                <a:cxn ang="0">
                  <a:pos x="151" y="831"/>
                </a:cxn>
                <a:cxn ang="0">
                  <a:pos x="167" y="863"/>
                </a:cxn>
                <a:cxn ang="0">
                  <a:pos x="131" y="929"/>
                </a:cxn>
                <a:cxn ang="0">
                  <a:pos x="127" y="994"/>
                </a:cxn>
              </a:cxnLst>
              <a:rect l="0" t="0" r="r" b="b"/>
              <a:pathLst>
                <a:path w="484" h="998">
                  <a:moveTo>
                    <a:pt x="53" y="998"/>
                  </a:moveTo>
                  <a:lnTo>
                    <a:pt x="106" y="998"/>
                  </a:lnTo>
                  <a:lnTo>
                    <a:pt x="53" y="998"/>
                  </a:lnTo>
                  <a:lnTo>
                    <a:pt x="45" y="957"/>
                  </a:lnTo>
                  <a:lnTo>
                    <a:pt x="25" y="957"/>
                  </a:lnTo>
                  <a:lnTo>
                    <a:pt x="16" y="916"/>
                  </a:lnTo>
                  <a:lnTo>
                    <a:pt x="33" y="875"/>
                  </a:lnTo>
                  <a:lnTo>
                    <a:pt x="25" y="851"/>
                  </a:lnTo>
                  <a:lnTo>
                    <a:pt x="33" y="835"/>
                  </a:lnTo>
                  <a:lnTo>
                    <a:pt x="24" y="753"/>
                  </a:lnTo>
                  <a:lnTo>
                    <a:pt x="21" y="744"/>
                  </a:lnTo>
                  <a:lnTo>
                    <a:pt x="4" y="687"/>
                  </a:lnTo>
                  <a:lnTo>
                    <a:pt x="12" y="654"/>
                  </a:lnTo>
                  <a:lnTo>
                    <a:pt x="8" y="589"/>
                  </a:lnTo>
                  <a:lnTo>
                    <a:pt x="8" y="572"/>
                  </a:lnTo>
                  <a:lnTo>
                    <a:pt x="12" y="544"/>
                  </a:lnTo>
                  <a:lnTo>
                    <a:pt x="4" y="491"/>
                  </a:lnTo>
                  <a:lnTo>
                    <a:pt x="21" y="474"/>
                  </a:lnTo>
                  <a:lnTo>
                    <a:pt x="21" y="442"/>
                  </a:lnTo>
                  <a:lnTo>
                    <a:pt x="33" y="401"/>
                  </a:lnTo>
                  <a:lnTo>
                    <a:pt x="0" y="319"/>
                  </a:lnTo>
                  <a:lnTo>
                    <a:pt x="16" y="270"/>
                  </a:lnTo>
                  <a:lnTo>
                    <a:pt x="25" y="213"/>
                  </a:lnTo>
                  <a:lnTo>
                    <a:pt x="53" y="163"/>
                  </a:lnTo>
                  <a:lnTo>
                    <a:pt x="45" y="86"/>
                  </a:lnTo>
                  <a:lnTo>
                    <a:pt x="81" y="65"/>
                  </a:lnTo>
                  <a:lnTo>
                    <a:pt x="81" y="33"/>
                  </a:lnTo>
                  <a:lnTo>
                    <a:pt x="110" y="0"/>
                  </a:lnTo>
                  <a:lnTo>
                    <a:pt x="167" y="21"/>
                  </a:lnTo>
                  <a:lnTo>
                    <a:pt x="180" y="4"/>
                  </a:lnTo>
                  <a:lnTo>
                    <a:pt x="200" y="4"/>
                  </a:lnTo>
                  <a:lnTo>
                    <a:pt x="221" y="17"/>
                  </a:lnTo>
                  <a:lnTo>
                    <a:pt x="278" y="69"/>
                  </a:lnTo>
                  <a:lnTo>
                    <a:pt x="311" y="73"/>
                  </a:lnTo>
                  <a:lnTo>
                    <a:pt x="359" y="106"/>
                  </a:lnTo>
                  <a:lnTo>
                    <a:pt x="367" y="127"/>
                  </a:lnTo>
                  <a:lnTo>
                    <a:pt x="343" y="155"/>
                  </a:lnTo>
                  <a:lnTo>
                    <a:pt x="347" y="172"/>
                  </a:lnTo>
                  <a:lnTo>
                    <a:pt x="372" y="172"/>
                  </a:lnTo>
                  <a:lnTo>
                    <a:pt x="429" y="176"/>
                  </a:lnTo>
                  <a:lnTo>
                    <a:pt x="453" y="155"/>
                  </a:lnTo>
                  <a:lnTo>
                    <a:pt x="457" y="119"/>
                  </a:lnTo>
                  <a:lnTo>
                    <a:pt x="478" y="127"/>
                  </a:lnTo>
                  <a:lnTo>
                    <a:pt x="484" y="147"/>
                  </a:lnTo>
                  <a:lnTo>
                    <a:pt x="378" y="264"/>
                  </a:lnTo>
                  <a:lnTo>
                    <a:pt x="359" y="278"/>
                  </a:lnTo>
                  <a:lnTo>
                    <a:pt x="339" y="388"/>
                  </a:lnTo>
                  <a:lnTo>
                    <a:pt x="339" y="413"/>
                  </a:lnTo>
                  <a:lnTo>
                    <a:pt x="372" y="434"/>
                  </a:lnTo>
                  <a:lnTo>
                    <a:pt x="363" y="454"/>
                  </a:lnTo>
                  <a:lnTo>
                    <a:pt x="384" y="474"/>
                  </a:lnTo>
                  <a:lnTo>
                    <a:pt x="384" y="495"/>
                  </a:lnTo>
                  <a:lnTo>
                    <a:pt x="359" y="532"/>
                  </a:lnTo>
                  <a:lnTo>
                    <a:pt x="294" y="556"/>
                  </a:lnTo>
                  <a:lnTo>
                    <a:pt x="249" y="564"/>
                  </a:lnTo>
                  <a:lnTo>
                    <a:pt x="241" y="564"/>
                  </a:lnTo>
                  <a:lnTo>
                    <a:pt x="245" y="581"/>
                  </a:lnTo>
                  <a:lnTo>
                    <a:pt x="237" y="610"/>
                  </a:lnTo>
                  <a:lnTo>
                    <a:pt x="241" y="622"/>
                  </a:lnTo>
                  <a:lnTo>
                    <a:pt x="225" y="634"/>
                  </a:lnTo>
                  <a:lnTo>
                    <a:pt x="200" y="634"/>
                  </a:lnTo>
                  <a:lnTo>
                    <a:pt x="184" y="622"/>
                  </a:lnTo>
                  <a:lnTo>
                    <a:pt x="174" y="624"/>
                  </a:lnTo>
                  <a:lnTo>
                    <a:pt x="175" y="666"/>
                  </a:lnTo>
                  <a:lnTo>
                    <a:pt x="192" y="671"/>
                  </a:lnTo>
                  <a:lnTo>
                    <a:pt x="204" y="662"/>
                  </a:lnTo>
                  <a:lnTo>
                    <a:pt x="217" y="671"/>
                  </a:lnTo>
                  <a:lnTo>
                    <a:pt x="208" y="687"/>
                  </a:lnTo>
                  <a:lnTo>
                    <a:pt x="188" y="675"/>
                  </a:lnTo>
                  <a:lnTo>
                    <a:pt x="175" y="687"/>
                  </a:lnTo>
                  <a:lnTo>
                    <a:pt x="192" y="691"/>
                  </a:lnTo>
                  <a:lnTo>
                    <a:pt x="192" y="695"/>
                  </a:lnTo>
                  <a:lnTo>
                    <a:pt x="174" y="711"/>
                  </a:lnTo>
                  <a:lnTo>
                    <a:pt x="171" y="724"/>
                  </a:lnTo>
                  <a:lnTo>
                    <a:pt x="175" y="744"/>
                  </a:lnTo>
                  <a:lnTo>
                    <a:pt x="167" y="761"/>
                  </a:lnTo>
                  <a:lnTo>
                    <a:pt x="155" y="761"/>
                  </a:lnTo>
                  <a:lnTo>
                    <a:pt x="127" y="785"/>
                  </a:lnTo>
                  <a:lnTo>
                    <a:pt x="127" y="810"/>
                  </a:lnTo>
                  <a:lnTo>
                    <a:pt x="151" y="831"/>
                  </a:lnTo>
                  <a:lnTo>
                    <a:pt x="171" y="835"/>
                  </a:lnTo>
                  <a:lnTo>
                    <a:pt x="167" y="863"/>
                  </a:lnTo>
                  <a:lnTo>
                    <a:pt x="135" y="892"/>
                  </a:lnTo>
                  <a:lnTo>
                    <a:pt x="131" y="929"/>
                  </a:lnTo>
                  <a:lnTo>
                    <a:pt x="106" y="957"/>
                  </a:lnTo>
                  <a:lnTo>
                    <a:pt x="127" y="994"/>
                  </a:lnTo>
                  <a:lnTo>
                    <a:pt x="106" y="998"/>
                  </a:lnTo>
                </a:path>
              </a:pathLst>
            </a:custGeom>
            <a:solidFill>
              <a:srgbClr val="D6D6CE"/>
            </a:solidFill>
            <a:ln w="9525" cmpd="sng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r"/>
              <a:endParaRPr lang="de-DE"/>
            </a:p>
          </p:txBody>
        </p:sp>
        <p:sp>
          <p:nvSpPr>
            <p:cNvPr id="75" name="Freeform 24"/>
            <p:cNvSpPr>
              <a:spLocks/>
            </p:cNvSpPr>
            <p:nvPr/>
          </p:nvSpPr>
          <p:spPr bwMode="auto">
            <a:xfrm>
              <a:off x="5946236" y="2327894"/>
              <a:ext cx="148979" cy="132014"/>
            </a:xfrm>
            <a:custGeom>
              <a:avLst/>
              <a:gdLst/>
              <a:ahLst/>
              <a:cxnLst>
                <a:cxn ang="0">
                  <a:pos x="132" y="24"/>
                </a:cxn>
                <a:cxn ang="0">
                  <a:pos x="108" y="24"/>
                </a:cxn>
                <a:cxn ang="0">
                  <a:pos x="60" y="12"/>
                </a:cxn>
                <a:cxn ang="0">
                  <a:pos x="24" y="0"/>
                </a:cxn>
                <a:cxn ang="0">
                  <a:pos x="0" y="12"/>
                </a:cxn>
                <a:cxn ang="0">
                  <a:pos x="0" y="72"/>
                </a:cxn>
                <a:cxn ang="0">
                  <a:pos x="48" y="108"/>
                </a:cxn>
                <a:cxn ang="0">
                  <a:pos x="60" y="84"/>
                </a:cxn>
                <a:cxn ang="0">
                  <a:pos x="108" y="120"/>
                </a:cxn>
                <a:cxn ang="0">
                  <a:pos x="132" y="120"/>
                </a:cxn>
                <a:cxn ang="0">
                  <a:pos x="144" y="132"/>
                </a:cxn>
                <a:cxn ang="0">
                  <a:pos x="144" y="180"/>
                </a:cxn>
                <a:cxn ang="0">
                  <a:pos x="203" y="192"/>
                </a:cxn>
                <a:cxn ang="0">
                  <a:pos x="203" y="144"/>
                </a:cxn>
                <a:cxn ang="0">
                  <a:pos x="192" y="108"/>
                </a:cxn>
                <a:cxn ang="0">
                  <a:pos x="215" y="96"/>
                </a:cxn>
                <a:cxn ang="0">
                  <a:pos x="132" y="24"/>
                </a:cxn>
              </a:cxnLst>
              <a:rect l="0" t="0" r="r" b="b"/>
              <a:pathLst>
                <a:path w="215" h="192">
                  <a:moveTo>
                    <a:pt x="132" y="24"/>
                  </a:moveTo>
                  <a:lnTo>
                    <a:pt x="108" y="24"/>
                  </a:lnTo>
                  <a:lnTo>
                    <a:pt x="60" y="12"/>
                  </a:lnTo>
                  <a:lnTo>
                    <a:pt x="24" y="0"/>
                  </a:lnTo>
                  <a:lnTo>
                    <a:pt x="0" y="12"/>
                  </a:lnTo>
                  <a:lnTo>
                    <a:pt x="0" y="72"/>
                  </a:lnTo>
                  <a:lnTo>
                    <a:pt x="48" y="108"/>
                  </a:lnTo>
                  <a:lnTo>
                    <a:pt x="60" y="84"/>
                  </a:lnTo>
                  <a:lnTo>
                    <a:pt x="108" y="120"/>
                  </a:lnTo>
                  <a:lnTo>
                    <a:pt x="132" y="120"/>
                  </a:lnTo>
                  <a:lnTo>
                    <a:pt x="144" y="132"/>
                  </a:lnTo>
                  <a:lnTo>
                    <a:pt x="144" y="180"/>
                  </a:lnTo>
                  <a:lnTo>
                    <a:pt x="203" y="192"/>
                  </a:lnTo>
                  <a:lnTo>
                    <a:pt x="203" y="144"/>
                  </a:lnTo>
                  <a:lnTo>
                    <a:pt x="192" y="108"/>
                  </a:lnTo>
                  <a:lnTo>
                    <a:pt x="215" y="96"/>
                  </a:lnTo>
                  <a:lnTo>
                    <a:pt x="132" y="24"/>
                  </a:lnTo>
                  <a:close/>
                </a:path>
              </a:pathLst>
            </a:custGeom>
            <a:solidFill>
              <a:srgbClr val="D6D6CE"/>
            </a:solidFill>
            <a:ln w="9525" cmpd="sng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r"/>
              <a:endParaRPr lang="de-DE"/>
            </a:p>
          </p:txBody>
        </p:sp>
        <p:sp>
          <p:nvSpPr>
            <p:cNvPr id="76" name="Freeform 25"/>
            <p:cNvSpPr>
              <a:spLocks/>
            </p:cNvSpPr>
            <p:nvPr/>
          </p:nvSpPr>
          <p:spPr bwMode="auto">
            <a:xfrm>
              <a:off x="6078349" y="2392497"/>
              <a:ext cx="281091" cy="124992"/>
            </a:xfrm>
            <a:custGeom>
              <a:avLst/>
              <a:gdLst/>
              <a:ahLst/>
              <a:cxnLst>
                <a:cxn ang="0">
                  <a:pos x="5" y="54"/>
                </a:cxn>
                <a:cxn ang="0">
                  <a:pos x="5" y="25"/>
                </a:cxn>
                <a:cxn ang="0">
                  <a:pos x="0" y="8"/>
                </a:cxn>
                <a:cxn ang="0">
                  <a:pos x="12" y="0"/>
                </a:cxn>
                <a:cxn ang="0">
                  <a:pos x="29" y="31"/>
                </a:cxn>
                <a:cxn ang="0">
                  <a:pos x="65" y="36"/>
                </a:cxn>
                <a:cxn ang="0">
                  <a:pos x="94" y="19"/>
                </a:cxn>
                <a:cxn ang="0">
                  <a:pos x="106" y="19"/>
                </a:cxn>
                <a:cxn ang="0">
                  <a:pos x="112" y="7"/>
                </a:cxn>
                <a:cxn ang="0">
                  <a:pos x="165" y="13"/>
                </a:cxn>
                <a:cxn ang="0">
                  <a:pos x="200" y="48"/>
                </a:cxn>
                <a:cxn ang="0">
                  <a:pos x="188" y="71"/>
                </a:cxn>
                <a:cxn ang="0">
                  <a:pos x="182" y="71"/>
                </a:cxn>
                <a:cxn ang="0">
                  <a:pos x="176" y="89"/>
                </a:cxn>
                <a:cxn ang="0">
                  <a:pos x="170" y="89"/>
                </a:cxn>
                <a:cxn ang="0">
                  <a:pos x="165" y="77"/>
                </a:cxn>
                <a:cxn ang="0">
                  <a:pos x="159" y="42"/>
                </a:cxn>
                <a:cxn ang="0">
                  <a:pos x="135" y="31"/>
                </a:cxn>
                <a:cxn ang="0">
                  <a:pos x="112" y="36"/>
                </a:cxn>
                <a:cxn ang="0">
                  <a:pos x="100" y="48"/>
                </a:cxn>
                <a:cxn ang="0">
                  <a:pos x="88" y="60"/>
                </a:cxn>
                <a:cxn ang="0">
                  <a:pos x="100" y="77"/>
                </a:cxn>
                <a:cxn ang="0">
                  <a:pos x="88" y="89"/>
                </a:cxn>
                <a:cxn ang="0">
                  <a:pos x="76" y="89"/>
                </a:cxn>
                <a:cxn ang="0">
                  <a:pos x="70" y="71"/>
                </a:cxn>
                <a:cxn ang="0">
                  <a:pos x="47" y="65"/>
                </a:cxn>
                <a:cxn ang="0">
                  <a:pos x="29" y="54"/>
                </a:cxn>
                <a:cxn ang="0">
                  <a:pos x="5" y="54"/>
                </a:cxn>
              </a:cxnLst>
              <a:rect l="0" t="0" r="r" b="b"/>
              <a:pathLst>
                <a:path w="200" h="89">
                  <a:moveTo>
                    <a:pt x="5" y="54"/>
                  </a:moveTo>
                  <a:lnTo>
                    <a:pt x="5" y="25"/>
                  </a:lnTo>
                  <a:lnTo>
                    <a:pt x="0" y="8"/>
                  </a:lnTo>
                  <a:lnTo>
                    <a:pt x="12" y="0"/>
                  </a:lnTo>
                  <a:lnTo>
                    <a:pt x="29" y="31"/>
                  </a:lnTo>
                  <a:lnTo>
                    <a:pt x="65" y="36"/>
                  </a:lnTo>
                  <a:lnTo>
                    <a:pt x="94" y="19"/>
                  </a:lnTo>
                  <a:lnTo>
                    <a:pt x="106" y="19"/>
                  </a:lnTo>
                  <a:lnTo>
                    <a:pt x="112" y="7"/>
                  </a:lnTo>
                  <a:lnTo>
                    <a:pt x="165" y="13"/>
                  </a:lnTo>
                  <a:lnTo>
                    <a:pt x="200" y="48"/>
                  </a:lnTo>
                  <a:lnTo>
                    <a:pt x="188" y="71"/>
                  </a:lnTo>
                  <a:lnTo>
                    <a:pt x="182" y="71"/>
                  </a:lnTo>
                  <a:lnTo>
                    <a:pt x="176" y="89"/>
                  </a:lnTo>
                  <a:lnTo>
                    <a:pt x="170" y="89"/>
                  </a:lnTo>
                  <a:lnTo>
                    <a:pt x="165" y="77"/>
                  </a:lnTo>
                  <a:lnTo>
                    <a:pt x="159" y="42"/>
                  </a:lnTo>
                  <a:lnTo>
                    <a:pt x="135" y="31"/>
                  </a:lnTo>
                  <a:lnTo>
                    <a:pt x="112" y="36"/>
                  </a:lnTo>
                  <a:lnTo>
                    <a:pt x="100" y="48"/>
                  </a:lnTo>
                  <a:lnTo>
                    <a:pt x="88" y="60"/>
                  </a:lnTo>
                  <a:lnTo>
                    <a:pt x="100" y="77"/>
                  </a:lnTo>
                  <a:lnTo>
                    <a:pt x="88" y="89"/>
                  </a:lnTo>
                  <a:lnTo>
                    <a:pt x="76" y="89"/>
                  </a:lnTo>
                  <a:lnTo>
                    <a:pt x="70" y="71"/>
                  </a:lnTo>
                  <a:lnTo>
                    <a:pt x="47" y="65"/>
                  </a:lnTo>
                  <a:lnTo>
                    <a:pt x="29" y="54"/>
                  </a:lnTo>
                  <a:lnTo>
                    <a:pt x="5" y="54"/>
                  </a:lnTo>
                  <a:close/>
                </a:path>
              </a:pathLst>
            </a:custGeom>
            <a:solidFill>
              <a:srgbClr val="D6D6CE"/>
            </a:solidFill>
            <a:ln w="9525" cmpd="sng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r"/>
              <a:endParaRPr lang="de-DE"/>
            </a:p>
          </p:txBody>
        </p:sp>
        <p:sp>
          <p:nvSpPr>
            <p:cNvPr id="77" name="Freeform 26"/>
            <p:cNvSpPr>
              <a:spLocks/>
            </p:cNvSpPr>
            <p:nvPr/>
          </p:nvSpPr>
          <p:spPr bwMode="auto">
            <a:xfrm>
              <a:off x="5871747" y="2145321"/>
              <a:ext cx="191142" cy="198022"/>
            </a:xfrm>
            <a:custGeom>
              <a:avLst/>
              <a:gdLst/>
              <a:ahLst/>
              <a:cxnLst>
                <a:cxn ang="0">
                  <a:pos x="0" y="65"/>
                </a:cxn>
                <a:cxn ang="0">
                  <a:pos x="12" y="65"/>
                </a:cxn>
                <a:cxn ang="0">
                  <a:pos x="17" y="44"/>
                </a:cxn>
                <a:cxn ang="0">
                  <a:pos x="62" y="32"/>
                </a:cxn>
                <a:cxn ang="0">
                  <a:pos x="83" y="6"/>
                </a:cxn>
                <a:cxn ang="0">
                  <a:pos x="95" y="12"/>
                </a:cxn>
                <a:cxn ang="0">
                  <a:pos x="112" y="6"/>
                </a:cxn>
                <a:cxn ang="0">
                  <a:pos x="136" y="0"/>
                </a:cxn>
                <a:cxn ang="0">
                  <a:pos x="124" y="141"/>
                </a:cxn>
                <a:cxn ang="0">
                  <a:pos x="106" y="141"/>
                </a:cxn>
                <a:cxn ang="0">
                  <a:pos x="89" y="135"/>
                </a:cxn>
                <a:cxn ang="0">
                  <a:pos x="89" y="117"/>
                </a:cxn>
                <a:cxn ang="0">
                  <a:pos x="71" y="100"/>
                </a:cxn>
                <a:cxn ang="0">
                  <a:pos x="53" y="100"/>
                </a:cxn>
                <a:cxn ang="0">
                  <a:pos x="59" y="123"/>
                </a:cxn>
                <a:cxn ang="0">
                  <a:pos x="47" y="123"/>
                </a:cxn>
                <a:cxn ang="0">
                  <a:pos x="0" y="77"/>
                </a:cxn>
                <a:cxn ang="0">
                  <a:pos x="0" y="65"/>
                </a:cxn>
              </a:cxnLst>
              <a:rect l="0" t="0" r="r" b="b"/>
              <a:pathLst>
                <a:path w="136" h="141">
                  <a:moveTo>
                    <a:pt x="0" y="65"/>
                  </a:moveTo>
                  <a:lnTo>
                    <a:pt x="12" y="65"/>
                  </a:lnTo>
                  <a:lnTo>
                    <a:pt x="17" y="44"/>
                  </a:lnTo>
                  <a:lnTo>
                    <a:pt x="62" y="32"/>
                  </a:lnTo>
                  <a:lnTo>
                    <a:pt x="83" y="6"/>
                  </a:lnTo>
                  <a:lnTo>
                    <a:pt x="95" y="12"/>
                  </a:lnTo>
                  <a:lnTo>
                    <a:pt x="112" y="6"/>
                  </a:lnTo>
                  <a:lnTo>
                    <a:pt x="136" y="0"/>
                  </a:lnTo>
                  <a:lnTo>
                    <a:pt x="124" y="141"/>
                  </a:lnTo>
                  <a:lnTo>
                    <a:pt x="106" y="141"/>
                  </a:lnTo>
                  <a:lnTo>
                    <a:pt x="89" y="135"/>
                  </a:lnTo>
                  <a:lnTo>
                    <a:pt x="89" y="117"/>
                  </a:lnTo>
                  <a:lnTo>
                    <a:pt x="71" y="100"/>
                  </a:lnTo>
                  <a:lnTo>
                    <a:pt x="53" y="100"/>
                  </a:lnTo>
                  <a:lnTo>
                    <a:pt x="59" y="123"/>
                  </a:lnTo>
                  <a:lnTo>
                    <a:pt x="47" y="123"/>
                  </a:lnTo>
                  <a:lnTo>
                    <a:pt x="0" y="77"/>
                  </a:lnTo>
                  <a:lnTo>
                    <a:pt x="0" y="65"/>
                  </a:lnTo>
                  <a:close/>
                </a:path>
              </a:pathLst>
            </a:custGeom>
            <a:solidFill>
              <a:srgbClr val="D6D6CE"/>
            </a:solidFill>
            <a:ln w="9525" cmpd="sng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r"/>
              <a:endParaRPr lang="de-DE"/>
            </a:p>
          </p:txBody>
        </p:sp>
        <p:sp>
          <p:nvSpPr>
            <p:cNvPr id="78" name="Freeform 27"/>
            <p:cNvSpPr>
              <a:spLocks/>
            </p:cNvSpPr>
            <p:nvPr/>
          </p:nvSpPr>
          <p:spPr bwMode="auto">
            <a:xfrm>
              <a:off x="5644063" y="2013307"/>
              <a:ext cx="178493" cy="191000"/>
            </a:xfrm>
            <a:custGeom>
              <a:avLst/>
              <a:gdLst/>
              <a:ahLst/>
              <a:cxnLst>
                <a:cxn ang="0">
                  <a:pos x="0" y="96"/>
                </a:cxn>
                <a:cxn ang="0">
                  <a:pos x="26" y="63"/>
                </a:cxn>
                <a:cxn ang="0">
                  <a:pos x="62" y="59"/>
                </a:cxn>
                <a:cxn ang="0">
                  <a:pos x="23" y="14"/>
                </a:cxn>
                <a:cxn ang="0">
                  <a:pos x="44" y="12"/>
                </a:cxn>
                <a:cxn ang="0">
                  <a:pos x="39" y="0"/>
                </a:cxn>
                <a:cxn ang="0">
                  <a:pos x="109" y="0"/>
                </a:cxn>
                <a:cxn ang="0">
                  <a:pos x="103" y="65"/>
                </a:cxn>
                <a:cxn ang="0">
                  <a:pos x="115" y="65"/>
                </a:cxn>
                <a:cxn ang="0">
                  <a:pos x="127" y="77"/>
                </a:cxn>
                <a:cxn ang="0">
                  <a:pos x="121" y="83"/>
                </a:cxn>
                <a:cxn ang="0">
                  <a:pos x="103" y="94"/>
                </a:cxn>
                <a:cxn ang="0">
                  <a:pos x="103" y="106"/>
                </a:cxn>
                <a:cxn ang="0">
                  <a:pos x="89" y="135"/>
                </a:cxn>
                <a:cxn ang="0">
                  <a:pos x="74" y="136"/>
                </a:cxn>
                <a:cxn ang="0">
                  <a:pos x="32" y="130"/>
                </a:cxn>
                <a:cxn ang="0">
                  <a:pos x="0" y="96"/>
                </a:cxn>
              </a:cxnLst>
              <a:rect l="0" t="0" r="r" b="b"/>
              <a:pathLst>
                <a:path w="127" h="136">
                  <a:moveTo>
                    <a:pt x="0" y="96"/>
                  </a:moveTo>
                  <a:lnTo>
                    <a:pt x="26" y="63"/>
                  </a:lnTo>
                  <a:lnTo>
                    <a:pt x="62" y="59"/>
                  </a:lnTo>
                  <a:lnTo>
                    <a:pt x="23" y="14"/>
                  </a:lnTo>
                  <a:lnTo>
                    <a:pt x="44" y="12"/>
                  </a:lnTo>
                  <a:lnTo>
                    <a:pt x="39" y="0"/>
                  </a:lnTo>
                  <a:lnTo>
                    <a:pt x="109" y="0"/>
                  </a:lnTo>
                  <a:lnTo>
                    <a:pt x="103" y="65"/>
                  </a:lnTo>
                  <a:lnTo>
                    <a:pt x="115" y="65"/>
                  </a:lnTo>
                  <a:lnTo>
                    <a:pt x="127" y="77"/>
                  </a:lnTo>
                  <a:lnTo>
                    <a:pt x="121" y="83"/>
                  </a:lnTo>
                  <a:lnTo>
                    <a:pt x="103" y="94"/>
                  </a:lnTo>
                  <a:lnTo>
                    <a:pt x="103" y="106"/>
                  </a:lnTo>
                  <a:lnTo>
                    <a:pt x="89" y="135"/>
                  </a:lnTo>
                  <a:lnTo>
                    <a:pt x="74" y="136"/>
                  </a:lnTo>
                  <a:lnTo>
                    <a:pt x="32" y="130"/>
                  </a:lnTo>
                  <a:lnTo>
                    <a:pt x="0" y="96"/>
                  </a:lnTo>
                  <a:close/>
                </a:path>
              </a:pathLst>
            </a:custGeom>
            <a:solidFill>
              <a:srgbClr val="D6D6CE"/>
            </a:solidFill>
            <a:ln w="9525" cmpd="sng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r"/>
              <a:endParaRPr lang="de-DE"/>
            </a:p>
          </p:txBody>
        </p:sp>
        <p:sp>
          <p:nvSpPr>
            <p:cNvPr id="79" name="Freeform 28"/>
            <p:cNvSpPr>
              <a:spLocks/>
            </p:cNvSpPr>
            <p:nvPr/>
          </p:nvSpPr>
          <p:spPr bwMode="auto">
            <a:xfrm>
              <a:off x="5787419" y="1988028"/>
              <a:ext cx="52002" cy="117970"/>
            </a:xfrm>
            <a:custGeom>
              <a:avLst/>
              <a:gdLst/>
              <a:ahLst/>
              <a:cxnLst>
                <a:cxn ang="0">
                  <a:pos x="13" y="83"/>
                </a:cxn>
                <a:cxn ang="0">
                  <a:pos x="25" y="65"/>
                </a:cxn>
                <a:cxn ang="0">
                  <a:pos x="37" y="47"/>
                </a:cxn>
                <a:cxn ang="0">
                  <a:pos x="37" y="6"/>
                </a:cxn>
                <a:cxn ang="0">
                  <a:pos x="13" y="0"/>
                </a:cxn>
                <a:cxn ang="0">
                  <a:pos x="1" y="18"/>
                </a:cxn>
                <a:cxn ang="0">
                  <a:pos x="8" y="20"/>
                </a:cxn>
                <a:cxn ang="0">
                  <a:pos x="0" y="84"/>
                </a:cxn>
                <a:cxn ang="0">
                  <a:pos x="13" y="83"/>
                </a:cxn>
              </a:cxnLst>
              <a:rect l="0" t="0" r="r" b="b"/>
              <a:pathLst>
                <a:path w="37" h="84">
                  <a:moveTo>
                    <a:pt x="13" y="83"/>
                  </a:moveTo>
                  <a:lnTo>
                    <a:pt x="25" y="65"/>
                  </a:lnTo>
                  <a:lnTo>
                    <a:pt x="37" y="47"/>
                  </a:lnTo>
                  <a:lnTo>
                    <a:pt x="37" y="6"/>
                  </a:lnTo>
                  <a:lnTo>
                    <a:pt x="13" y="0"/>
                  </a:lnTo>
                  <a:lnTo>
                    <a:pt x="1" y="18"/>
                  </a:lnTo>
                  <a:lnTo>
                    <a:pt x="8" y="20"/>
                  </a:lnTo>
                  <a:lnTo>
                    <a:pt x="0" y="84"/>
                  </a:lnTo>
                  <a:lnTo>
                    <a:pt x="13" y="83"/>
                  </a:lnTo>
                  <a:close/>
                </a:path>
              </a:pathLst>
            </a:custGeom>
            <a:solidFill>
              <a:srgbClr val="D6D6CE"/>
            </a:solidFill>
            <a:ln w="9525" cmpd="sng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r"/>
              <a:endParaRPr lang="de-DE"/>
            </a:p>
          </p:txBody>
        </p:sp>
        <p:sp>
          <p:nvSpPr>
            <p:cNvPr id="80" name="Freeform 29"/>
            <p:cNvSpPr>
              <a:spLocks/>
            </p:cNvSpPr>
            <p:nvPr/>
          </p:nvSpPr>
          <p:spPr bwMode="auto">
            <a:xfrm>
              <a:off x="4681324" y="1179088"/>
              <a:ext cx="1207288" cy="983086"/>
            </a:xfrm>
            <a:custGeom>
              <a:avLst/>
              <a:gdLst/>
              <a:ahLst/>
              <a:cxnLst>
                <a:cxn ang="0">
                  <a:pos x="203" y="645"/>
                </a:cxn>
                <a:cxn ang="0">
                  <a:pos x="191" y="598"/>
                </a:cxn>
                <a:cxn ang="0">
                  <a:pos x="132" y="466"/>
                </a:cxn>
                <a:cxn ang="0">
                  <a:pos x="60" y="370"/>
                </a:cxn>
                <a:cxn ang="0">
                  <a:pos x="108" y="311"/>
                </a:cxn>
                <a:cxn ang="0">
                  <a:pos x="0" y="36"/>
                </a:cxn>
                <a:cxn ang="0">
                  <a:pos x="36" y="0"/>
                </a:cxn>
                <a:cxn ang="0">
                  <a:pos x="311" y="155"/>
                </a:cxn>
                <a:cxn ang="0">
                  <a:pos x="478" y="191"/>
                </a:cxn>
                <a:cxn ang="0">
                  <a:pos x="574" y="179"/>
                </a:cxn>
                <a:cxn ang="0">
                  <a:pos x="670" y="347"/>
                </a:cxn>
                <a:cxn ang="0">
                  <a:pos x="777" y="406"/>
                </a:cxn>
                <a:cxn ang="0">
                  <a:pos x="837" y="347"/>
                </a:cxn>
                <a:cxn ang="0">
                  <a:pos x="909" y="454"/>
                </a:cxn>
                <a:cxn ang="0">
                  <a:pos x="969" y="574"/>
                </a:cxn>
                <a:cxn ang="0">
                  <a:pos x="1112" y="645"/>
                </a:cxn>
                <a:cxn ang="0">
                  <a:pos x="1065" y="717"/>
                </a:cxn>
                <a:cxn ang="0">
                  <a:pos x="1088" y="944"/>
                </a:cxn>
                <a:cxn ang="0">
                  <a:pos x="1136" y="1052"/>
                </a:cxn>
                <a:cxn ang="0">
                  <a:pos x="1232" y="1147"/>
                </a:cxn>
                <a:cxn ang="0">
                  <a:pos x="1304" y="1159"/>
                </a:cxn>
                <a:cxn ang="0">
                  <a:pos x="1435" y="1159"/>
                </a:cxn>
                <a:cxn ang="0">
                  <a:pos x="1519" y="980"/>
                </a:cxn>
                <a:cxn ang="0">
                  <a:pos x="1746" y="956"/>
                </a:cxn>
                <a:cxn ang="0">
                  <a:pos x="1722" y="1028"/>
                </a:cxn>
                <a:cxn ang="0">
                  <a:pos x="1699" y="1171"/>
                </a:cxn>
                <a:cxn ang="0">
                  <a:pos x="1675" y="1135"/>
                </a:cxn>
                <a:cxn ang="0">
                  <a:pos x="1603" y="1207"/>
                </a:cxn>
                <a:cxn ang="0">
                  <a:pos x="1471" y="1231"/>
                </a:cxn>
                <a:cxn ang="0">
                  <a:pos x="1507" y="1303"/>
                </a:cxn>
                <a:cxn ang="0">
                  <a:pos x="1447" y="1339"/>
                </a:cxn>
                <a:cxn ang="0">
                  <a:pos x="1364" y="1422"/>
                </a:cxn>
                <a:cxn ang="0">
                  <a:pos x="1256" y="1327"/>
                </a:cxn>
                <a:cxn ang="0">
                  <a:pos x="1136" y="1351"/>
                </a:cxn>
                <a:cxn ang="0">
                  <a:pos x="801" y="1207"/>
                </a:cxn>
                <a:cxn ang="0">
                  <a:pos x="562" y="1028"/>
                </a:cxn>
                <a:cxn ang="0">
                  <a:pos x="598" y="932"/>
                </a:cxn>
                <a:cxn ang="0">
                  <a:pos x="443" y="681"/>
                </a:cxn>
                <a:cxn ang="0">
                  <a:pos x="359" y="586"/>
                </a:cxn>
                <a:cxn ang="0">
                  <a:pos x="335" y="502"/>
                </a:cxn>
                <a:cxn ang="0">
                  <a:pos x="299" y="406"/>
                </a:cxn>
                <a:cxn ang="0">
                  <a:pos x="203" y="155"/>
                </a:cxn>
                <a:cxn ang="0">
                  <a:pos x="108" y="84"/>
                </a:cxn>
                <a:cxn ang="0">
                  <a:pos x="108" y="239"/>
                </a:cxn>
                <a:cxn ang="0">
                  <a:pos x="215" y="466"/>
                </a:cxn>
                <a:cxn ang="0">
                  <a:pos x="239" y="562"/>
                </a:cxn>
                <a:cxn ang="0">
                  <a:pos x="275" y="669"/>
                </a:cxn>
                <a:cxn ang="0">
                  <a:pos x="335" y="741"/>
                </a:cxn>
                <a:cxn ang="0">
                  <a:pos x="287" y="777"/>
                </a:cxn>
                <a:cxn ang="0">
                  <a:pos x="263" y="705"/>
                </a:cxn>
              </a:cxnLst>
              <a:rect l="0" t="0" r="r" b="b"/>
              <a:pathLst>
                <a:path w="1746" h="1422">
                  <a:moveTo>
                    <a:pt x="263" y="705"/>
                  </a:moveTo>
                  <a:lnTo>
                    <a:pt x="203" y="645"/>
                  </a:lnTo>
                  <a:lnTo>
                    <a:pt x="179" y="621"/>
                  </a:lnTo>
                  <a:lnTo>
                    <a:pt x="191" y="598"/>
                  </a:lnTo>
                  <a:lnTo>
                    <a:pt x="191" y="538"/>
                  </a:lnTo>
                  <a:lnTo>
                    <a:pt x="132" y="466"/>
                  </a:lnTo>
                  <a:lnTo>
                    <a:pt x="48" y="382"/>
                  </a:lnTo>
                  <a:lnTo>
                    <a:pt x="60" y="370"/>
                  </a:lnTo>
                  <a:lnTo>
                    <a:pt x="108" y="370"/>
                  </a:lnTo>
                  <a:lnTo>
                    <a:pt x="108" y="311"/>
                  </a:lnTo>
                  <a:lnTo>
                    <a:pt x="36" y="227"/>
                  </a:lnTo>
                  <a:lnTo>
                    <a:pt x="0" y="36"/>
                  </a:lnTo>
                  <a:lnTo>
                    <a:pt x="0" y="0"/>
                  </a:lnTo>
                  <a:lnTo>
                    <a:pt x="36" y="0"/>
                  </a:lnTo>
                  <a:lnTo>
                    <a:pt x="120" y="12"/>
                  </a:lnTo>
                  <a:lnTo>
                    <a:pt x="311" y="155"/>
                  </a:lnTo>
                  <a:lnTo>
                    <a:pt x="359" y="179"/>
                  </a:lnTo>
                  <a:lnTo>
                    <a:pt x="478" y="191"/>
                  </a:lnTo>
                  <a:lnTo>
                    <a:pt x="478" y="167"/>
                  </a:lnTo>
                  <a:lnTo>
                    <a:pt x="574" y="179"/>
                  </a:lnTo>
                  <a:lnTo>
                    <a:pt x="658" y="275"/>
                  </a:lnTo>
                  <a:lnTo>
                    <a:pt x="670" y="347"/>
                  </a:lnTo>
                  <a:lnTo>
                    <a:pt x="754" y="406"/>
                  </a:lnTo>
                  <a:lnTo>
                    <a:pt x="777" y="406"/>
                  </a:lnTo>
                  <a:lnTo>
                    <a:pt x="789" y="359"/>
                  </a:lnTo>
                  <a:lnTo>
                    <a:pt x="837" y="347"/>
                  </a:lnTo>
                  <a:lnTo>
                    <a:pt x="873" y="370"/>
                  </a:lnTo>
                  <a:lnTo>
                    <a:pt x="909" y="454"/>
                  </a:lnTo>
                  <a:lnTo>
                    <a:pt x="969" y="538"/>
                  </a:lnTo>
                  <a:lnTo>
                    <a:pt x="969" y="574"/>
                  </a:lnTo>
                  <a:lnTo>
                    <a:pt x="1005" y="621"/>
                  </a:lnTo>
                  <a:lnTo>
                    <a:pt x="1112" y="645"/>
                  </a:lnTo>
                  <a:lnTo>
                    <a:pt x="1112" y="693"/>
                  </a:lnTo>
                  <a:lnTo>
                    <a:pt x="1065" y="717"/>
                  </a:lnTo>
                  <a:lnTo>
                    <a:pt x="1065" y="920"/>
                  </a:lnTo>
                  <a:lnTo>
                    <a:pt x="1088" y="944"/>
                  </a:lnTo>
                  <a:lnTo>
                    <a:pt x="1088" y="992"/>
                  </a:lnTo>
                  <a:lnTo>
                    <a:pt x="1136" y="1052"/>
                  </a:lnTo>
                  <a:lnTo>
                    <a:pt x="1148" y="1124"/>
                  </a:lnTo>
                  <a:lnTo>
                    <a:pt x="1232" y="1147"/>
                  </a:lnTo>
                  <a:lnTo>
                    <a:pt x="1256" y="1195"/>
                  </a:lnTo>
                  <a:lnTo>
                    <a:pt x="1304" y="1159"/>
                  </a:lnTo>
                  <a:lnTo>
                    <a:pt x="1423" y="1147"/>
                  </a:lnTo>
                  <a:lnTo>
                    <a:pt x="1435" y="1159"/>
                  </a:lnTo>
                  <a:lnTo>
                    <a:pt x="1495" y="1100"/>
                  </a:lnTo>
                  <a:lnTo>
                    <a:pt x="1519" y="980"/>
                  </a:lnTo>
                  <a:lnTo>
                    <a:pt x="1675" y="944"/>
                  </a:lnTo>
                  <a:lnTo>
                    <a:pt x="1746" y="956"/>
                  </a:lnTo>
                  <a:lnTo>
                    <a:pt x="1746" y="1016"/>
                  </a:lnTo>
                  <a:lnTo>
                    <a:pt x="1722" y="1028"/>
                  </a:lnTo>
                  <a:lnTo>
                    <a:pt x="1699" y="1076"/>
                  </a:lnTo>
                  <a:lnTo>
                    <a:pt x="1699" y="1171"/>
                  </a:lnTo>
                  <a:lnTo>
                    <a:pt x="1675" y="1159"/>
                  </a:lnTo>
                  <a:lnTo>
                    <a:pt x="1675" y="1135"/>
                  </a:lnTo>
                  <a:lnTo>
                    <a:pt x="1651" y="1135"/>
                  </a:lnTo>
                  <a:lnTo>
                    <a:pt x="1603" y="1207"/>
                  </a:lnTo>
                  <a:lnTo>
                    <a:pt x="1483" y="1207"/>
                  </a:lnTo>
                  <a:lnTo>
                    <a:pt x="1471" y="1231"/>
                  </a:lnTo>
                  <a:lnTo>
                    <a:pt x="1447" y="1231"/>
                  </a:lnTo>
                  <a:lnTo>
                    <a:pt x="1507" y="1303"/>
                  </a:lnTo>
                  <a:lnTo>
                    <a:pt x="1519" y="1327"/>
                  </a:lnTo>
                  <a:lnTo>
                    <a:pt x="1447" y="1339"/>
                  </a:lnTo>
                  <a:lnTo>
                    <a:pt x="1388" y="1410"/>
                  </a:lnTo>
                  <a:lnTo>
                    <a:pt x="1364" y="1422"/>
                  </a:lnTo>
                  <a:lnTo>
                    <a:pt x="1340" y="1363"/>
                  </a:lnTo>
                  <a:lnTo>
                    <a:pt x="1256" y="1327"/>
                  </a:lnTo>
                  <a:lnTo>
                    <a:pt x="1220" y="1327"/>
                  </a:lnTo>
                  <a:lnTo>
                    <a:pt x="1136" y="1351"/>
                  </a:lnTo>
                  <a:lnTo>
                    <a:pt x="1041" y="1327"/>
                  </a:lnTo>
                  <a:lnTo>
                    <a:pt x="801" y="1207"/>
                  </a:lnTo>
                  <a:lnTo>
                    <a:pt x="646" y="1112"/>
                  </a:lnTo>
                  <a:lnTo>
                    <a:pt x="562" y="1028"/>
                  </a:lnTo>
                  <a:lnTo>
                    <a:pt x="550" y="992"/>
                  </a:lnTo>
                  <a:lnTo>
                    <a:pt x="598" y="932"/>
                  </a:lnTo>
                  <a:lnTo>
                    <a:pt x="550" y="837"/>
                  </a:lnTo>
                  <a:lnTo>
                    <a:pt x="443" y="681"/>
                  </a:lnTo>
                  <a:lnTo>
                    <a:pt x="443" y="645"/>
                  </a:lnTo>
                  <a:lnTo>
                    <a:pt x="359" y="586"/>
                  </a:lnTo>
                  <a:lnTo>
                    <a:pt x="383" y="538"/>
                  </a:lnTo>
                  <a:lnTo>
                    <a:pt x="335" y="502"/>
                  </a:lnTo>
                  <a:lnTo>
                    <a:pt x="299" y="430"/>
                  </a:lnTo>
                  <a:lnTo>
                    <a:pt x="299" y="406"/>
                  </a:lnTo>
                  <a:lnTo>
                    <a:pt x="215" y="323"/>
                  </a:lnTo>
                  <a:lnTo>
                    <a:pt x="203" y="155"/>
                  </a:lnTo>
                  <a:lnTo>
                    <a:pt x="179" y="119"/>
                  </a:lnTo>
                  <a:lnTo>
                    <a:pt x="108" y="84"/>
                  </a:lnTo>
                  <a:lnTo>
                    <a:pt x="96" y="96"/>
                  </a:lnTo>
                  <a:lnTo>
                    <a:pt x="108" y="239"/>
                  </a:lnTo>
                  <a:lnTo>
                    <a:pt x="167" y="299"/>
                  </a:lnTo>
                  <a:lnTo>
                    <a:pt x="215" y="466"/>
                  </a:lnTo>
                  <a:lnTo>
                    <a:pt x="239" y="502"/>
                  </a:lnTo>
                  <a:lnTo>
                    <a:pt x="239" y="562"/>
                  </a:lnTo>
                  <a:lnTo>
                    <a:pt x="263" y="586"/>
                  </a:lnTo>
                  <a:lnTo>
                    <a:pt x="275" y="669"/>
                  </a:lnTo>
                  <a:lnTo>
                    <a:pt x="323" y="717"/>
                  </a:lnTo>
                  <a:lnTo>
                    <a:pt x="335" y="741"/>
                  </a:lnTo>
                  <a:lnTo>
                    <a:pt x="311" y="789"/>
                  </a:lnTo>
                  <a:lnTo>
                    <a:pt x="287" y="777"/>
                  </a:lnTo>
                  <a:lnTo>
                    <a:pt x="287" y="741"/>
                  </a:lnTo>
                  <a:lnTo>
                    <a:pt x="263" y="705"/>
                  </a:lnTo>
                  <a:close/>
                </a:path>
              </a:pathLst>
            </a:custGeom>
            <a:solidFill>
              <a:srgbClr val="D6D6CE"/>
            </a:solidFill>
            <a:ln w="9525" cmpd="sng">
              <a:solidFill>
                <a:srgbClr val="26314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968725856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"/>
          <p:cNvGrpSpPr>
            <a:grpSpLocks/>
          </p:cNvGrpSpPr>
          <p:nvPr/>
        </p:nvGrpSpPr>
        <p:grpSpPr bwMode="auto">
          <a:xfrm>
            <a:off x="3436937" y="407684"/>
            <a:ext cx="5318126" cy="5382359"/>
            <a:chOff x="1535" y="788"/>
            <a:chExt cx="3003" cy="3034"/>
          </a:xfrm>
          <a:solidFill>
            <a:srgbClr val="D6D6CE"/>
          </a:solidFill>
        </p:grpSpPr>
        <p:sp>
          <p:nvSpPr>
            <p:cNvPr id="4" name="Freeform 4"/>
            <p:cNvSpPr>
              <a:spLocks/>
            </p:cNvSpPr>
            <p:nvPr/>
          </p:nvSpPr>
          <p:spPr bwMode="auto">
            <a:xfrm>
              <a:off x="1535" y="788"/>
              <a:ext cx="3003" cy="3034"/>
            </a:xfrm>
            <a:custGeom>
              <a:avLst/>
              <a:gdLst>
                <a:gd name="T0" fmla="*/ 2511 w 2749"/>
                <a:gd name="T1" fmla="*/ 675 h 2781"/>
                <a:gd name="T2" fmla="*/ 2671 w 2749"/>
                <a:gd name="T3" fmla="*/ 761 h 2781"/>
                <a:gd name="T4" fmla="*/ 2742 w 2749"/>
                <a:gd name="T5" fmla="*/ 901 h 2781"/>
                <a:gd name="T6" fmla="*/ 2673 w 2749"/>
                <a:gd name="T7" fmla="*/ 1089 h 2781"/>
                <a:gd name="T8" fmla="*/ 2529 w 2749"/>
                <a:gd name="T9" fmla="*/ 1241 h 2781"/>
                <a:gd name="T10" fmla="*/ 2448 w 2749"/>
                <a:gd name="T11" fmla="*/ 1331 h 2781"/>
                <a:gd name="T12" fmla="*/ 2425 w 2749"/>
                <a:gd name="T13" fmla="*/ 1559 h 2781"/>
                <a:gd name="T14" fmla="*/ 2379 w 2749"/>
                <a:gd name="T15" fmla="*/ 1742 h 2781"/>
                <a:gd name="T16" fmla="*/ 2304 w 2749"/>
                <a:gd name="T17" fmla="*/ 1870 h 2781"/>
                <a:gd name="T18" fmla="*/ 2214 w 2749"/>
                <a:gd name="T19" fmla="*/ 2014 h 2781"/>
                <a:gd name="T20" fmla="*/ 2020 w 2749"/>
                <a:gd name="T21" fmla="*/ 2031 h 2781"/>
                <a:gd name="T22" fmla="*/ 1848 w 2749"/>
                <a:gd name="T23" fmla="*/ 2133 h 2781"/>
                <a:gd name="T24" fmla="*/ 1771 w 2749"/>
                <a:gd name="T25" fmla="*/ 2275 h 2781"/>
                <a:gd name="T26" fmla="*/ 1759 w 2749"/>
                <a:gd name="T27" fmla="*/ 2403 h 2781"/>
                <a:gd name="T28" fmla="*/ 1673 w 2749"/>
                <a:gd name="T29" fmla="*/ 2526 h 2781"/>
                <a:gd name="T30" fmla="*/ 1573 w 2749"/>
                <a:gd name="T31" fmla="*/ 2664 h 2781"/>
                <a:gd name="T32" fmla="*/ 1600 w 2749"/>
                <a:gd name="T33" fmla="*/ 2611 h 2781"/>
                <a:gd name="T34" fmla="*/ 1598 w 2749"/>
                <a:gd name="T35" fmla="*/ 2568 h 2781"/>
                <a:gd name="T36" fmla="*/ 1542 w 2749"/>
                <a:gd name="T37" fmla="*/ 2697 h 2781"/>
                <a:gd name="T38" fmla="*/ 1475 w 2749"/>
                <a:gd name="T39" fmla="*/ 2781 h 2781"/>
                <a:gd name="T40" fmla="*/ 1481 w 2749"/>
                <a:gd name="T41" fmla="*/ 2714 h 2781"/>
                <a:gd name="T42" fmla="*/ 1327 w 2749"/>
                <a:gd name="T43" fmla="*/ 2590 h 2781"/>
                <a:gd name="T44" fmla="*/ 1253 w 2749"/>
                <a:gd name="T45" fmla="*/ 2488 h 2781"/>
                <a:gd name="T46" fmla="*/ 1370 w 2749"/>
                <a:gd name="T47" fmla="*/ 2350 h 2781"/>
                <a:gd name="T48" fmla="*/ 1425 w 2749"/>
                <a:gd name="T49" fmla="*/ 2202 h 2781"/>
                <a:gd name="T50" fmla="*/ 1341 w 2749"/>
                <a:gd name="T51" fmla="*/ 2077 h 2781"/>
                <a:gd name="T52" fmla="*/ 1272 w 2749"/>
                <a:gd name="T53" fmla="*/ 1964 h 2781"/>
                <a:gd name="T54" fmla="*/ 1161 w 2749"/>
                <a:gd name="T55" fmla="*/ 1932 h 2781"/>
                <a:gd name="T56" fmla="*/ 1145 w 2749"/>
                <a:gd name="T57" fmla="*/ 1793 h 2781"/>
                <a:gd name="T58" fmla="*/ 1164 w 2749"/>
                <a:gd name="T59" fmla="*/ 1674 h 2781"/>
                <a:gd name="T60" fmla="*/ 1107 w 2749"/>
                <a:gd name="T61" fmla="*/ 1584 h 2781"/>
                <a:gd name="T62" fmla="*/ 1020 w 2749"/>
                <a:gd name="T63" fmla="*/ 1540 h 2781"/>
                <a:gd name="T64" fmla="*/ 965 w 2749"/>
                <a:gd name="T65" fmla="*/ 1437 h 2781"/>
                <a:gd name="T66" fmla="*/ 871 w 2749"/>
                <a:gd name="T67" fmla="*/ 1346 h 2781"/>
                <a:gd name="T68" fmla="*/ 731 w 2749"/>
                <a:gd name="T69" fmla="*/ 1285 h 2781"/>
                <a:gd name="T70" fmla="*/ 608 w 2749"/>
                <a:gd name="T71" fmla="*/ 1201 h 2781"/>
                <a:gd name="T72" fmla="*/ 564 w 2749"/>
                <a:gd name="T73" fmla="*/ 1070 h 2781"/>
                <a:gd name="T74" fmla="*/ 410 w 2749"/>
                <a:gd name="T75" fmla="*/ 1137 h 2781"/>
                <a:gd name="T76" fmla="*/ 255 w 2749"/>
                <a:gd name="T77" fmla="*/ 1164 h 2781"/>
                <a:gd name="T78" fmla="*/ 203 w 2749"/>
                <a:gd name="T79" fmla="*/ 1068 h 2781"/>
                <a:gd name="T80" fmla="*/ 71 w 2749"/>
                <a:gd name="T81" fmla="*/ 1047 h 2781"/>
                <a:gd name="T82" fmla="*/ 15 w 2749"/>
                <a:gd name="T83" fmla="*/ 943 h 2781"/>
                <a:gd name="T84" fmla="*/ 36 w 2749"/>
                <a:gd name="T85" fmla="*/ 828 h 2781"/>
                <a:gd name="T86" fmla="*/ 142 w 2749"/>
                <a:gd name="T87" fmla="*/ 702 h 2781"/>
                <a:gd name="T88" fmla="*/ 280 w 2749"/>
                <a:gd name="T89" fmla="*/ 660 h 2781"/>
                <a:gd name="T90" fmla="*/ 261 w 2749"/>
                <a:gd name="T91" fmla="*/ 370 h 2781"/>
                <a:gd name="T92" fmla="*/ 383 w 2749"/>
                <a:gd name="T93" fmla="*/ 224 h 2781"/>
                <a:gd name="T94" fmla="*/ 479 w 2749"/>
                <a:gd name="T95" fmla="*/ 280 h 2781"/>
                <a:gd name="T96" fmla="*/ 725 w 2749"/>
                <a:gd name="T97" fmla="*/ 222 h 2781"/>
                <a:gd name="T98" fmla="*/ 644 w 2749"/>
                <a:gd name="T99" fmla="*/ 92 h 2781"/>
                <a:gd name="T100" fmla="*/ 825 w 2749"/>
                <a:gd name="T101" fmla="*/ 69 h 2781"/>
                <a:gd name="T102" fmla="*/ 959 w 2749"/>
                <a:gd name="T103" fmla="*/ 7 h 2781"/>
                <a:gd name="T104" fmla="*/ 972 w 2749"/>
                <a:gd name="T105" fmla="*/ 140 h 2781"/>
                <a:gd name="T106" fmla="*/ 1036 w 2749"/>
                <a:gd name="T107" fmla="*/ 270 h 2781"/>
                <a:gd name="T108" fmla="*/ 1255 w 2749"/>
                <a:gd name="T109" fmla="*/ 224 h 2781"/>
                <a:gd name="T110" fmla="*/ 1420 w 2749"/>
                <a:gd name="T111" fmla="*/ 214 h 2781"/>
                <a:gd name="T112" fmla="*/ 1552 w 2749"/>
                <a:gd name="T113" fmla="*/ 82 h 2781"/>
                <a:gd name="T114" fmla="*/ 1621 w 2749"/>
                <a:gd name="T115" fmla="*/ 170 h 2781"/>
                <a:gd name="T116" fmla="*/ 1627 w 2749"/>
                <a:gd name="T117" fmla="*/ 345 h 2781"/>
                <a:gd name="T118" fmla="*/ 1619 w 2749"/>
                <a:gd name="T119" fmla="*/ 472 h 2781"/>
                <a:gd name="T120" fmla="*/ 1803 w 2749"/>
                <a:gd name="T121" fmla="*/ 433 h 2781"/>
                <a:gd name="T122" fmla="*/ 2047 w 2749"/>
                <a:gd name="T123" fmla="*/ 475 h 2781"/>
                <a:gd name="T124" fmla="*/ 2128 w 2749"/>
                <a:gd name="T125" fmla="*/ 556 h 2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49" h="2781">
                  <a:moveTo>
                    <a:pt x="2310" y="596"/>
                  </a:moveTo>
                  <a:lnTo>
                    <a:pt x="2316" y="594"/>
                  </a:lnTo>
                  <a:lnTo>
                    <a:pt x="2327" y="594"/>
                  </a:lnTo>
                  <a:lnTo>
                    <a:pt x="2339" y="590"/>
                  </a:lnTo>
                  <a:lnTo>
                    <a:pt x="2348" y="590"/>
                  </a:lnTo>
                  <a:lnTo>
                    <a:pt x="2356" y="589"/>
                  </a:lnTo>
                  <a:lnTo>
                    <a:pt x="2366" y="587"/>
                  </a:lnTo>
                  <a:lnTo>
                    <a:pt x="2375" y="590"/>
                  </a:lnTo>
                  <a:lnTo>
                    <a:pt x="2383" y="592"/>
                  </a:lnTo>
                  <a:lnTo>
                    <a:pt x="2391" y="592"/>
                  </a:lnTo>
                  <a:lnTo>
                    <a:pt x="2398" y="594"/>
                  </a:lnTo>
                  <a:lnTo>
                    <a:pt x="2414" y="600"/>
                  </a:lnTo>
                  <a:lnTo>
                    <a:pt x="2419" y="604"/>
                  </a:lnTo>
                  <a:lnTo>
                    <a:pt x="2429" y="610"/>
                  </a:lnTo>
                  <a:lnTo>
                    <a:pt x="2435" y="612"/>
                  </a:lnTo>
                  <a:lnTo>
                    <a:pt x="2442" y="617"/>
                  </a:lnTo>
                  <a:lnTo>
                    <a:pt x="2463" y="631"/>
                  </a:lnTo>
                  <a:lnTo>
                    <a:pt x="2471" y="638"/>
                  </a:lnTo>
                  <a:lnTo>
                    <a:pt x="2479" y="650"/>
                  </a:lnTo>
                  <a:lnTo>
                    <a:pt x="2487" y="652"/>
                  </a:lnTo>
                  <a:lnTo>
                    <a:pt x="2496" y="661"/>
                  </a:lnTo>
                  <a:lnTo>
                    <a:pt x="2504" y="669"/>
                  </a:lnTo>
                  <a:lnTo>
                    <a:pt x="2511" y="675"/>
                  </a:lnTo>
                  <a:lnTo>
                    <a:pt x="2525" y="681"/>
                  </a:lnTo>
                  <a:lnTo>
                    <a:pt x="2527" y="688"/>
                  </a:lnTo>
                  <a:lnTo>
                    <a:pt x="2534" y="696"/>
                  </a:lnTo>
                  <a:lnTo>
                    <a:pt x="2542" y="704"/>
                  </a:lnTo>
                  <a:lnTo>
                    <a:pt x="2550" y="708"/>
                  </a:lnTo>
                  <a:lnTo>
                    <a:pt x="2556" y="713"/>
                  </a:lnTo>
                  <a:lnTo>
                    <a:pt x="2563" y="719"/>
                  </a:lnTo>
                  <a:lnTo>
                    <a:pt x="2571" y="731"/>
                  </a:lnTo>
                  <a:lnTo>
                    <a:pt x="2579" y="738"/>
                  </a:lnTo>
                  <a:lnTo>
                    <a:pt x="2586" y="742"/>
                  </a:lnTo>
                  <a:lnTo>
                    <a:pt x="2584" y="746"/>
                  </a:lnTo>
                  <a:lnTo>
                    <a:pt x="2586" y="742"/>
                  </a:lnTo>
                  <a:lnTo>
                    <a:pt x="2590" y="746"/>
                  </a:lnTo>
                  <a:lnTo>
                    <a:pt x="2594" y="750"/>
                  </a:lnTo>
                  <a:lnTo>
                    <a:pt x="2600" y="750"/>
                  </a:lnTo>
                  <a:lnTo>
                    <a:pt x="2605" y="748"/>
                  </a:lnTo>
                  <a:lnTo>
                    <a:pt x="2611" y="750"/>
                  </a:lnTo>
                  <a:lnTo>
                    <a:pt x="2619" y="755"/>
                  </a:lnTo>
                  <a:lnTo>
                    <a:pt x="2627" y="755"/>
                  </a:lnTo>
                  <a:lnTo>
                    <a:pt x="2636" y="754"/>
                  </a:lnTo>
                  <a:lnTo>
                    <a:pt x="2650" y="754"/>
                  </a:lnTo>
                  <a:lnTo>
                    <a:pt x="2659" y="757"/>
                  </a:lnTo>
                  <a:lnTo>
                    <a:pt x="2671" y="761"/>
                  </a:lnTo>
                  <a:lnTo>
                    <a:pt x="2680" y="759"/>
                  </a:lnTo>
                  <a:lnTo>
                    <a:pt x="2692" y="761"/>
                  </a:lnTo>
                  <a:lnTo>
                    <a:pt x="2700" y="763"/>
                  </a:lnTo>
                  <a:lnTo>
                    <a:pt x="2707" y="767"/>
                  </a:lnTo>
                  <a:lnTo>
                    <a:pt x="2709" y="769"/>
                  </a:lnTo>
                  <a:lnTo>
                    <a:pt x="2711" y="775"/>
                  </a:lnTo>
                  <a:lnTo>
                    <a:pt x="2711" y="779"/>
                  </a:lnTo>
                  <a:lnTo>
                    <a:pt x="2713" y="784"/>
                  </a:lnTo>
                  <a:lnTo>
                    <a:pt x="2719" y="790"/>
                  </a:lnTo>
                  <a:lnTo>
                    <a:pt x="2721" y="798"/>
                  </a:lnTo>
                  <a:lnTo>
                    <a:pt x="2719" y="807"/>
                  </a:lnTo>
                  <a:lnTo>
                    <a:pt x="2723" y="815"/>
                  </a:lnTo>
                  <a:lnTo>
                    <a:pt x="2723" y="825"/>
                  </a:lnTo>
                  <a:lnTo>
                    <a:pt x="2726" y="836"/>
                  </a:lnTo>
                  <a:lnTo>
                    <a:pt x="2728" y="846"/>
                  </a:lnTo>
                  <a:lnTo>
                    <a:pt x="2734" y="853"/>
                  </a:lnTo>
                  <a:lnTo>
                    <a:pt x="2736" y="867"/>
                  </a:lnTo>
                  <a:lnTo>
                    <a:pt x="2738" y="869"/>
                  </a:lnTo>
                  <a:lnTo>
                    <a:pt x="2740" y="874"/>
                  </a:lnTo>
                  <a:lnTo>
                    <a:pt x="2740" y="880"/>
                  </a:lnTo>
                  <a:lnTo>
                    <a:pt x="2742" y="886"/>
                  </a:lnTo>
                  <a:lnTo>
                    <a:pt x="2742" y="892"/>
                  </a:lnTo>
                  <a:lnTo>
                    <a:pt x="2742" y="901"/>
                  </a:lnTo>
                  <a:lnTo>
                    <a:pt x="2744" y="911"/>
                  </a:lnTo>
                  <a:lnTo>
                    <a:pt x="2746" y="915"/>
                  </a:lnTo>
                  <a:lnTo>
                    <a:pt x="2747" y="922"/>
                  </a:lnTo>
                  <a:lnTo>
                    <a:pt x="2742" y="924"/>
                  </a:lnTo>
                  <a:lnTo>
                    <a:pt x="2747" y="922"/>
                  </a:lnTo>
                  <a:lnTo>
                    <a:pt x="2749" y="928"/>
                  </a:lnTo>
                  <a:lnTo>
                    <a:pt x="2749" y="938"/>
                  </a:lnTo>
                  <a:lnTo>
                    <a:pt x="2746" y="947"/>
                  </a:lnTo>
                  <a:lnTo>
                    <a:pt x="2742" y="957"/>
                  </a:lnTo>
                  <a:lnTo>
                    <a:pt x="2738" y="967"/>
                  </a:lnTo>
                  <a:lnTo>
                    <a:pt x="2734" y="976"/>
                  </a:lnTo>
                  <a:lnTo>
                    <a:pt x="2730" y="988"/>
                  </a:lnTo>
                  <a:lnTo>
                    <a:pt x="2726" y="1003"/>
                  </a:lnTo>
                  <a:lnTo>
                    <a:pt x="2723" y="1013"/>
                  </a:lnTo>
                  <a:lnTo>
                    <a:pt x="2717" y="1024"/>
                  </a:lnTo>
                  <a:lnTo>
                    <a:pt x="2713" y="1032"/>
                  </a:lnTo>
                  <a:lnTo>
                    <a:pt x="2709" y="1041"/>
                  </a:lnTo>
                  <a:lnTo>
                    <a:pt x="2707" y="1049"/>
                  </a:lnTo>
                  <a:lnTo>
                    <a:pt x="2701" y="1059"/>
                  </a:lnTo>
                  <a:lnTo>
                    <a:pt x="2696" y="1066"/>
                  </a:lnTo>
                  <a:lnTo>
                    <a:pt x="2686" y="1072"/>
                  </a:lnTo>
                  <a:lnTo>
                    <a:pt x="2680" y="1082"/>
                  </a:lnTo>
                  <a:lnTo>
                    <a:pt x="2673" y="1089"/>
                  </a:lnTo>
                  <a:lnTo>
                    <a:pt x="2663" y="1095"/>
                  </a:lnTo>
                  <a:lnTo>
                    <a:pt x="2657" y="1103"/>
                  </a:lnTo>
                  <a:lnTo>
                    <a:pt x="2655" y="1107"/>
                  </a:lnTo>
                  <a:lnTo>
                    <a:pt x="2652" y="1116"/>
                  </a:lnTo>
                  <a:lnTo>
                    <a:pt x="2642" y="1122"/>
                  </a:lnTo>
                  <a:lnTo>
                    <a:pt x="2634" y="1128"/>
                  </a:lnTo>
                  <a:lnTo>
                    <a:pt x="2627" y="1135"/>
                  </a:lnTo>
                  <a:lnTo>
                    <a:pt x="2617" y="1141"/>
                  </a:lnTo>
                  <a:lnTo>
                    <a:pt x="2611" y="1147"/>
                  </a:lnTo>
                  <a:lnTo>
                    <a:pt x="2605" y="1151"/>
                  </a:lnTo>
                  <a:lnTo>
                    <a:pt x="2598" y="1156"/>
                  </a:lnTo>
                  <a:lnTo>
                    <a:pt x="2590" y="1164"/>
                  </a:lnTo>
                  <a:lnTo>
                    <a:pt x="2586" y="1172"/>
                  </a:lnTo>
                  <a:lnTo>
                    <a:pt x="2577" y="1176"/>
                  </a:lnTo>
                  <a:lnTo>
                    <a:pt x="2571" y="1181"/>
                  </a:lnTo>
                  <a:lnTo>
                    <a:pt x="2569" y="1187"/>
                  </a:lnTo>
                  <a:lnTo>
                    <a:pt x="2567" y="1191"/>
                  </a:lnTo>
                  <a:lnTo>
                    <a:pt x="2561" y="1197"/>
                  </a:lnTo>
                  <a:lnTo>
                    <a:pt x="2558" y="1206"/>
                  </a:lnTo>
                  <a:lnTo>
                    <a:pt x="2552" y="1214"/>
                  </a:lnTo>
                  <a:lnTo>
                    <a:pt x="2546" y="1220"/>
                  </a:lnTo>
                  <a:lnTo>
                    <a:pt x="2538" y="1227"/>
                  </a:lnTo>
                  <a:lnTo>
                    <a:pt x="2529" y="1241"/>
                  </a:lnTo>
                  <a:lnTo>
                    <a:pt x="2525" y="1260"/>
                  </a:lnTo>
                  <a:lnTo>
                    <a:pt x="2519" y="1266"/>
                  </a:lnTo>
                  <a:lnTo>
                    <a:pt x="2510" y="1279"/>
                  </a:lnTo>
                  <a:lnTo>
                    <a:pt x="2504" y="1289"/>
                  </a:lnTo>
                  <a:lnTo>
                    <a:pt x="2494" y="1295"/>
                  </a:lnTo>
                  <a:lnTo>
                    <a:pt x="2487" y="1296"/>
                  </a:lnTo>
                  <a:lnTo>
                    <a:pt x="2479" y="1304"/>
                  </a:lnTo>
                  <a:lnTo>
                    <a:pt x="2471" y="1310"/>
                  </a:lnTo>
                  <a:lnTo>
                    <a:pt x="2463" y="1308"/>
                  </a:lnTo>
                  <a:lnTo>
                    <a:pt x="2463" y="1306"/>
                  </a:lnTo>
                  <a:lnTo>
                    <a:pt x="2463" y="1302"/>
                  </a:lnTo>
                  <a:lnTo>
                    <a:pt x="2463" y="1300"/>
                  </a:lnTo>
                  <a:lnTo>
                    <a:pt x="2463" y="1296"/>
                  </a:lnTo>
                  <a:lnTo>
                    <a:pt x="2463" y="1295"/>
                  </a:lnTo>
                  <a:lnTo>
                    <a:pt x="2460" y="1293"/>
                  </a:lnTo>
                  <a:lnTo>
                    <a:pt x="2458" y="1293"/>
                  </a:lnTo>
                  <a:lnTo>
                    <a:pt x="2456" y="1295"/>
                  </a:lnTo>
                  <a:lnTo>
                    <a:pt x="2456" y="1296"/>
                  </a:lnTo>
                  <a:lnTo>
                    <a:pt x="2454" y="1302"/>
                  </a:lnTo>
                  <a:lnTo>
                    <a:pt x="2458" y="1310"/>
                  </a:lnTo>
                  <a:lnTo>
                    <a:pt x="2458" y="1318"/>
                  </a:lnTo>
                  <a:lnTo>
                    <a:pt x="2454" y="1323"/>
                  </a:lnTo>
                  <a:lnTo>
                    <a:pt x="2448" y="1331"/>
                  </a:lnTo>
                  <a:lnTo>
                    <a:pt x="2444" y="1343"/>
                  </a:lnTo>
                  <a:lnTo>
                    <a:pt x="2444" y="1350"/>
                  </a:lnTo>
                  <a:lnTo>
                    <a:pt x="2439" y="1358"/>
                  </a:lnTo>
                  <a:lnTo>
                    <a:pt x="2435" y="1364"/>
                  </a:lnTo>
                  <a:lnTo>
                    <a:pt x="2442" y="1371"/>
                  </a:lnTo>
                  <a:lnTo>
                    <a:pt x="2444" y="1381"/>
                  </a:lnTo>
                  <a:lnTo>
                    <a:pt x="2439" y="1392"/>
                  </a:lnTo>
                  <a:lnTo>
                    <a:pt x="2437" y="1402"/>
                  </a:lnTo>
                  <a:lnTo>
                    <a:pt x="2439" y="1412"/>
                  </a:lnTo>
                  <a:lnTo>
                    <a:pt x="2435" y="1415"/>
                  </a:lnTo>
                  <a:lnTo>
                    <a:pt x="2433" y="1425"/>
                  </a:lnTo>
                  <a:lnTo>
                    <a:pt x="2437" y="1437"/>
                  </a:lnTo>
                  <a:lnTo>
                    <a:pt x="2435" y="1442"/>
                  </a:lnTo>
                  <a:lnTo>
                    <a:pt x="2437" y="1461"/>
                  </a:lnTo>
                  <a:lnTo>
                    <a:pt x="2439" y="1475"/>
                  </a:lnTo>
                  <a:lnTo>
                    <a:pt x="2439" y="1483"/>
                  </a:lnTo>
                  <a:lnTo>
                    <a:pt x="2442" y="1494"/>
                  </a:lnTo>
                  <a:lnTo>
                    <a:pt x="2442" y="1500"/>
                  </a:lnTo>
                  <a:lnTo>
                    <a:pt x="2440" y="1513"/>
                  </a:lnTo>
                  <a:lnTo>
                    <a:pt x="2440" y="1521"/>
                  </a:lnTo>
                  <a:lnTo>
                    <a:pt x="2435" y="1531"/>
                  </a:lnTo>
                  <a:lnTo>
                    <a:pt x="2431" y="1544"/>
                  </a:lnTo>
                  <a:lnTo>
                    <a:pt x="2425" y="1559"/>
                  </a:lnTo>
                  <a:lnTo>
                    <a:pt x="2421" y="1571"/>
                  </a:lnTo>
                  <a:lnTo>
                    <a:pt x="2421" y="1582"/>
                  </a:lnTo>
                  <a:lnTo>
                    <a:pt x="2419" y="1590"/>
                  </a:lnTo>
                  <a:lnTo>
                    <a:pt x="2414" y="1598"/>
                  </a:lnTo>
                  <a:lnTo>
                    <a:pt x="2412" y="1607"/>
                  </a:lnTo>
                  <a:lnTo>
                    <a:pt x="2412" y="1617"/>
                  </a:lnTo>
                  <a:lnTo>
                    <a:pt x="2417" y="1625"/>
                  </a:lnTo>
                  <a:lnTo>
                    <a:pt x="2414" y="1636"/>
                  </a:lnTo>
                  <a:lnTo>
                    <a:pt x="2412" y="1646"/>
                  </a:lnTo>
                  <a:lnTo>
                    <a:pt x="2414" y="1653"/>
                  </a:lnTo>
                  <a:lnTo>
                    <a:pt x="2412" y="1661"/>
                  </a:lnTo>
                  <a:lnTo>
                    <a:pt x="2402" y="1663"/>
                  </a:lnTo>
                  <a:lnTo>
                    <a:pt x="2394" y="1671"/>
                  </a:lnTo>
                  <a:lnTo>
                    <a:pt x="2392" y="1684"/>
                  </a:lnTo>
                  <a:lnTo>
                    <a:pt x="2391" y="1696"/>
                  </a:lnTo>
                  <a:lnTo>
                    <a:pt x="2387" y="1699"/>
                  </a:lnTo>
                  <a:lnTo>
                    <a:pt x="2387" y="1701"/>
                  </a:lnTo>
                  <a:lnTo>
                    <a:pt x="2389" y="1705"/>
                  </a:lnTo>
                  <a:lnTo>
                    <a:pt x="2387" y="1713"/>
                  </a:lnTo>
                  <a:lnTo>
                    <a:pt x="2387" y="1720"/>
                  </a:lnTo>
                  <a:lnTo>
                    <a:pt x="2385" y="1726"/>
                  </a:lnTo>
                  <a:lnTo>
                    <a:pt x="2381" y="1734"/>
                  </a:lnTo>
                  <a:lnTo>
                    <a:pt x="2379" y="1742"/>
                  </a:lnTo>
                  <a:lnTo>
                    <a:pt x="2377" y="1747"/>
                  </a:lnTo>
                  <a:lnTo>
                    <a:pt x="2377" y="1753"/>
                  </a:lnTo>
                  <a:lnTo>
                    <a:pt x="2375" y="1759"/>
                  </a:lnTo>
                  <a:lnTo>
                    <a:pt x="2373" y="1765"/>
                  </a:lnTo>
                  <a:lnTo>
                    <a:pt x="2369" y="1770"/>
                  </a:lnTo>
                  <a:lnTo>
                    <a:pt x="2366" y="1778"/>
                  </a:lnTo>
                  <a:lnTo>
                    <a:pt x="2360" y="1784"/>
                  </a:lnTo>
                  <a:lnTo>
                    <a:pt x="2354" y="1788"/>
                  </a:lnTo>
                  <a:lnTo>
                    <a:pt x="2348" y="1793"/>
                  </a:lnTo>
                  <a:lnTo>
                    <a:pt x="2348" y="1797"/>
                  </a:lnTo>
                  <a:lnTo>
                    <a:pt x="2346" y="1805"/>
                  </a:lnTo>
                  <a:lnTo>
                    <a:pt x="2343" y="1811"/>
                  </a:lnTo>
                  <a:lnTo>
                    <a:pt x="2343" y="1818"/>
                  </a:lnTo>
                  <a:lnTo>
                    <a:pt x="2343" y="1824"/>
                  </a:lnTo>
                  <a:lnTo>
                    <a:pt x="2339" y="1832"/>
                  </a:lnTo>
                  <a:lnTo>
                    <a:pt x="2333" y="1836"/>
                  </a:lnTo>
                  <a:lnTo>
                    <a:pt x="2331" y="1843"/>
                  </a:lnTo>
                  <a:lnTo>
                    <a:pt x="2327" y="1847"/>
                  </a:lnTo>
                  <a:lnTo>
                    <a:pt x="2321" y="1855"/>
                  </a:lnTo>
                  <a:lnTo>
                    <a:pt x="2318" y="1859"/>
                  </a:lnTo>
                  <a:lnTo>
                    <a:pt x="2312" y="1864"/>
                  </a:lnTo>
                  <a:lnTo>
                    <a:pt x="2306" y="1864"/>
                  </a:lnTo>
                  <a:lnTo>
                    <a:pt x="2304" y="1870"/>
                  </a:lnTo>
                  <a:lnTo>
                    <a:pt x="2300" y="1874"/>
                  </a:lnTo>
                  <a:lnTo>
                    <a:pt x="2298" y="1882"/>
                  </a:lnTo>
                  <a:lnTo>
                    <a:pt x="2297" y="1889"/>
                  </a:lnTo>
                  <a:lnTo>
                    <a:pt x="2291" y="1893"/>
                  </a:lnTo>
                  <a:lnTo>
                    <a:pt x="2285" y="1897"/>
                  </a:lnTo>
                  <a:lnTo>
                    <a:pt x="2281" y="1901"/>
                  </a:lnTo>
                  <a:lnTo>
                    <a:pt x="2281" y="1908"/>
                  </a:lnTo>
                  <a:lnTo>
                    <a:pt x="2277" y="1916"/>
                  </a:lnTo>
                  <a:lnTo>
                    <a:pt x="2281" y="1928"/>
                  </a:lnTo>
                  <a:lnTo>
                    <a:pt x="2285" y="1935"/>
                  </a:lnTo>
                  <a:lnTo>
                    <a:pt x="2287" y="1943"/>
                  </a:lnTo>
                  <a:lnTo>
                    <a:pt x="2275" y="1949"/>
                  </a:lnTo>
                  <a:lnTo>
                    <a:pt x="2268" y="1953"/>
                  </a:lnTo>
                  <a:lnTo>
                    <a:pt x="2262" y="1958"/>
                  </a:lnTo>
                  <a:lnTo>
                    <a:pt x="2258" y="1964"/>
                  </a:lnTo>
                  <a:lnTo>
                    <a:pt x="2247" y="1964"/>
                  </a:lnTo>
                  <a:lnTo>
                    <a:pt x="2239" y="1970"/>
                  </a:lnTo>
                  <a:lnTo>
                    <a:pt x="2233" y="1978"/>
                  </a:lnTo>
                  <a:lnTo>
                    <a:pt x="2227" y="1985"/>
                  </a:lnTo>
                  <a:lnTo>
                    <a:pt x="2222" y="1989"/>
                  </a:lnTo>
                  <a:lnTo>
                    <a:pt x="2214" y="1995"/>
                  </a:lnTo>
                  <a:lnTo>
                    <a:pt x="2212" y="2002"/>
                  </a:lnTo>
                  <a:lnTo>
                    <a:pt x="2214" y="2014"/>
                  </a:lnTo>
                  <a:lnTo>
                    <a:pt x="2204" y="2016"/>
                  </a:lnTo>
                  <a:lnTo>
                    <a:pt x="2195" y="2012"/>
                  </a:lnTo>
                  <a:lnTo>
                    <a:pt x="2187" y="2008"/>
                  </a:lnTo>
                  <a:lnTo>
                    <a:pt x="2178" y="2010"/>
                  </a:lnTo>
                  <a:lnTo>
                    <a:pt x="2168" y="2014"/>
                  </a:lnTo>
                  <a:lnTo>
                    <a:pt x="2156" y="2012"/>
                  </a:lnTo>
                  <a:lnTo>
                    <a:pt x="2149" y="2012"/>
                  </a:lnTo>
                  <a:lnTo>
                    <a:pt x="2145" y="2006"/>
                  </a:lnTo>
                  <a:lnTo>
                    <a:pt x="2141" y="2006"/>
                  </a:lnTo>
                  <a:lnTo>
                    <a:pt x="2135" y="2012"/>
                  </a:lnTo>
                  <a:lnTo>
                    <a:pt x="2124" y="2012"/>
                  </a:lnTo>
                  <a:lnTo>
                    <a:pt x="2103" y="2014"/>
                  </a:lnTo>
                  <a:lnTo>
                    <a:pt x="2087" y="2014"/>
                  </a:lnTo>
                  <a:lnTo>
                    <a:pt x="2078" y="2014"/>
                  </a:lnTo>
                  <a:lnTo>
                    <a:pt x="2064" y="2018"/>
                  </a:lnTo>
                  <a:lnTo>
                    <a:pt x="2055" y="2020"/>
                  </a:lnTo>
                  <a:lnTo>
                    <a:pt x="2047" y="2024"/>
                  </a:lnTo>
                  <a:lnTo>
                    <a:pt x="2047" y="2031"/>
                  </a:lnTo>
                  <a:lnTo>
                    <a:pt x="2047" y="2039"/>
                  </a:lnTo>
                  <a:lnTo>
                    <a:pt x="2039" y="2041"/>
                  </a:lnTo>
                  <a:lnTo>
                    <a:pt x="2032" y="2043"/>
                  </a:lnTo>
                  <a:lnTo>
                    <a:pt x="2020" y="2045"/>
                  </a:lnTo>
                  <a:lnTo>
                    <a:pt x="2020" y="2031"/>
                  </a:lnTo>
                  <a:lnTo>
                    <a:pt x="2020" y="2043"/>
                  </a:lnTo>
                  <a:lnTo>
                    <a:pt x="2011" y="2045"/>
                  </a:lnTo>
                  <a:lnTo>
                    <a:pt x="2001" y="2050"/>
                  </a:lnTo>
                  <a:lnTo>
                    <a:pt x="1993" y="2054"/>
                  </a:lnTo>
                  <a:lnTo>
                    <a:pt x="1986" y="2060"/>
                  </a:lnTo>
                  <a:lnTo>
                    <a:pt x="1980" y="2066"/>
                  </a:lnTo>
                  <a:lnTo>
                    <a:pt x="1972" y="2068"/>
                  </a:lnTo>
                  <a:lnTo>
                    <a:pt x="1961" y="2070"/>
                  </a:lnTo>
                  <a:lnTo>
                    <a:pt x="1951" y="2072"/>
                  </a:lnTo>
                  <a:lnTo>
                    <a:pt x="1942" y="2075"/>
                  </a:lnTo>
                  <a:lnTo>
                    <a:pt x="1934" y="2079"/>
                  </a:lnTo>
                  <a:lnTo>
                    <a:pt x="1926" y="2081"/>
                  </a:lnTo>
                  <a:lnTo>
                    <a:pt x="1915" y="2081"/>
                  </a:lnTo>
                  <a:lnTo>
                    <a:pt x="1909" y="2087"/>
                  </a:lnTo>
                  <a:lnTo>
                    <a:pt x="1903" y="2093"/>
                  </a:lnTo>
                  <a:lnTo>
                    <a:pt x="1894" y="2097"/>
                  </a:lnTo>
                  <a:lnTo>
                    <a:pt x="1890" y="2100"/>
                  </a:lnTo>
                  <a:lnTo>
                    <a:pt x="1884" y="2106"/>
                  </a:lnTo>
                  <a:lnTo>
                    <a:pt x="1878" y="2112"/>
                  </a:lnTo>
                  <a:lnTo>
                    <a:pt x="1871" y="2118"/>
                  </a:lnTo>
                  <a:lnTo>
                    <a:pt x="1865" y="2123"/>
                  </a:lnTo>
                  <a:lnTo>
                    <a:pt x="1855" y="2129"/>
                  </a:lnTo>
                  <a:lnTo>
                    <a:pt x="1848" y="2133"/>
                  </a:lnTo>
                  <a:lnTo>
                    <a:pt x="1842" y="2141"/>
                  </a:lnTo>
                  <a:lnTo>
                    <a:pt x="1834" y="2144"/>
                  </a:lnTo>
                  <a:lnTo>
                    <a:pt x="1824" y="2146"/>
                  </a:lnTo>
                  <a:lnTo>
                    <a:pt x="1821" y="2156"/>
                  </a:lnTo>
                  <a:lnTo>
                    <a:pt x="1815" y="2164"/>
                  </a:lnTo>
                  <a:lnTo>
                    <a:pt x="1807" y="2171"/>
                  </a:lnTo>
                  <a:lnTo>
                    <a:pt x="1803" y="2177"/>
                  </a:lnTo>
                  <a:lnTo>
                    <a:pt x="1800" y="2187"/>
                  </a:lnTo>
                  <a:lnTo>
                    <a:pt x="1794" y="2192"/>
                  </a:lnTo>
                  <a:lnTo>
                    <a:pt x="1792" y="2198"/>
                  </a:lnTo>
                  <a:lnTo>
                    <a:pt x="1788" y="2202"/>
                  </a:lnTo>
                  <a:lnTo>
                    <a:pt x="1780" y="2204"/>
                  </a:lnTo>
                  <a:lnTo>
                    <a:pt x="1778" y="2212"/>
                  </a:lnTo>
                  <a:lnTo>
                    <a:pt x="1777" y="2217"/>
                  </a:lnTo>
                  <a:lnTo>
                    <a:pt x="1771" y="2225"/>
                  </a:lnTo>
                  <a:lnTo>
                    <a:pt x="1769" y="2233"/>
                  </a:lnTo>
                  <a:lnTo>
                    <a:pt x="1771" y="2238"/>
                  </a:lnTo>
                  <a:lnTo>
                    <a:pt x="1773" y="2244"/>
                  </a:lnTo>
                  <a:lnTo>
                    <a:pt x="1773" y="2250"/>
                  </a:lnTo>
                  <a:lnTo>
                    <a:pt x="1775" y="2258"/>
                  </a:lnTo>
                  <a:lnTo>
                    <a:pt x="1773" y="2263"/>
                  </a:lnTo>
                  <a:lnTo>
                    <a:pt x="1769" y="2269"/>
                  </a:lnTo>
                  <a:lnTo>
                    <a:pt x="1771" y="2275"/>
                  </a:lnTo>
                  <a:lnTo>
                    <a:pt x="1767" y="2279"/>
                  </a:lnTo>
                  <a:lnTo>
                    <a:pt x="1763" y="2286"/>
                  </a:lnTo>
                  <a:lnTo>
                    <a:pt x="1765" y="2290"/>
                  </a:lnTo>
                  <a:lnTo>
                    <a:pt x="1767" y="2296"/>
                  </a:lnTo>
                  <a:lnTo>
                    <a:pt x="1767" y="2302"/>
                  </a:lnTo>
                  <a:lnTo>
                    <a:pt x="1769" y="2309"/>
                  </a:lnTo>
                  <a:lnTo>
                    <a:pt x="1765" y="2313"/>
                  </a:lnTo>
                  <a:lnTo>
                    <a:pt x="1771" y="2317"/>
                  </a:lnTo>
                  <a:lnTo>
                    <a:pt x="1775" y="2319"/>
                  </a:lnTo>
                  <a:lnTo>
                    <a:pt x="1775" y="2325"/>
                  </a:lnTo>
                  <a:lnTo>
                    <a:pt x="1773" y="2332"/>
                  </a:lnTo>
                  <a:lnTo>
                    <a:pt x="1773" y="2336"/>
                  </a:lnTo>
                  <a:lnTo>
                    <a:pt x="1775" y="2340"/>
                  </a:lnTo>
                  <a:lnTo>
                    <a:pt x="1778" y="2348"/>
                  </a:lnTo>
                  <a:lnTo>
                    <a:pt x="1777" y="2356"/>
                  </a:lnTo>
                  <a:lnTo>
                    <a:pt x="1773" y="2359"/>
                  </a:lnTo>
                  <a:lnTo>
                    <a:pt x="1769" y="2365"/>
                  </a:lnTo>
                  <a:lnTo>
                    <a:pt x="1765" y="2369"/>
                  </a:lnTo>
                  <a:lnTo>
                    <a:pt x="1769" y="2379"/>
                  </a:lnTo>
                  <a:lnTo>
                    <a:pt x="1765" y="2386"/>
                  </a:lnTo>
                  <a:lnTo>
                    <a:pt x="1765" y="2392"/>
                  </a:lnTo>
                  <a:lnTo>
                    <a:pt x="1763" y="2398"/>
                  </a:lnTo>
                  <a:lnTo>
                    <a:pt x="1759" y="2403"/>
                  </a:lnTo>
                  <a:lnTo>
                    <a:pt x="1753" y="2409"/>
                  </a:lnTo>
                  <a:lnTo>
                    <a:pt x="1753" y="2419"/>
                  </a:lnTo>
                  <a:lnTo>
                    <a:pt x="1750" y="2425"/>
                  </a:lnTo>
                  <a:lnTo>
                    <a:pt x="1742" y="2428"/>
                  </a:lnTo>
                  <a:lnTo>
                    <a:pt x="1736" y="2428"/>
                  </a:lnTo>
                  <a:lnTo>
                    <a:pt x="1730" y="2432"/>
                  </a:lnTo>
                  <a:lnTo>
                    <a:pt x="1725" y="2440"/>
                  </a:lnTo>
                  <a:lnTo>
                    <a:pt x="1721" y="2448"/>
                  </a:lnTo>
                  <a:lnTo>
                    <a:pt x="1715" y="2451"/>
                  </a:lnTo>
                  <a:lnTo>
                    <a:pt x="1711" y="2459"/>
                  </a:lnTo>
                  <a:lnTo>
                    <a:pt x="1706" y="2465"/>
                  </a:lnTo>
                  <a:lnTo>
                    <a:pt x="1702" y="2469"/>
                  </a:lnTo>
                  <a:lnTo>
                    <a:pt x="1696" y="2476"/>
                  </a:lnTo>
                  <a:lnTo>
                    <a:pt x="1694" y="2473"/>
                  </a:lnTo>
                  <a:lnTo>
                    <a:pt x="1688" y="2471"/>
                  </a:lnTo>
                  <a:lnTo>
                    <a:pt x="1694" y="2471"/>
                  </a:lnTo>
                  <a:lnTo>
                    <a:pt x="1696" y="2476"/>
                  </a:lnTo>
                  <a:lnTo>
                    <a:pt x="1692" y="2482"/>
                  </a:lnTo>
                  <a:lnTo>
                    <a:pt x="1688" y="2492"/>
                  </a:lnTo>
                  <a:lnTo>
                    <a:pt x="1686" y="2497"/>
                  </a:lnTo>
                  <a:lnTo>
                    <a:pt x="1681" y="2505"/>
                  </a:lnTo>
                  <a:lnTo>
                    <a:pt x="1677" y="2519"/>
                  </a:lnTo>
                  <a:lnTo>
                    <a:pt x="1673" y="2526"/>
                  </a:lnTo>
                  <a:lnTo>
                    <a:pt x="1669" y="2530"/>
                  </a:lnTo>
                  <a:lnTo>
                    <a:pt x="1667" y="2538"/>
                  </a:lnTo>
                  <a:lnTo>
                    <a:pt x="1663" y="2544"/>
                  </a:lnTo>
                  <a:lnTo>
                    <a:pt x="1661" y="2553"/>
                  </a:lnTo>
                  <a:lnTo>
                    <a:pt x="1656" y="2561"/>
                  </a:lnTo>
                  <a:lnTo>
                    <a:pt x="1650" y="2568"/>
                  </a:lnTo>
                  <a:lnTo>
                    <a:pt x="1646" y="2572"/>
                  </a:lnTo>
                  <a:lnTo>
                    <a:pt x="1644" y="2578"/>
                  </a:lnTo>
                  <a:lnTo>
                    <a:pt x="1644" y="2582"/>
                  </a:lnTo>
                  <a:lnTo>
                    <a:pt x="1638" y="2586"/>
                  </a:lnTo>
                  <a:lnTo>
                    <a:pt x="1636" y="2591"/>
                  </a:lnTo>
                  <a:lnTo>
                    <a:pt x="1638" y="2599"/>
                  </a:lnTo>
                  <a:lnTo>
                    <a:pt x="1635" y="2605"/>
                  </a:lnTo>
                  <a:lnTo>
                    <a:pt x="1627" y="2609"/>
                  </a:lnTo>
                  <a:lnTo>
                    <a:pt x="1623" y="2620"/>
                  </a:lnTo>
                  <a:lnTo>
                    <a:pt x="1621" y="2630"/>
                  </a:lnTo>
                  <a:lnTo>
                    <a:pt x="1611" y="2634"/>
                  </a:lnTo>
                  <a:lnTo>
                    <a:pt x="1606" y="2641"/>
                  </a:lnTo>
                  <a:lnTo>
                    <a:pt x="1596" y="2645"/>
                  </a:lnTo>
                  <a:lnTo>
                    <a:pt x="1588" y="2651"/>
                  </a:lnTo>
                  <a:lnTo>
                    <a:pt x="1587" y="2657"/>
                  </a:lnTo>
                  <a:lnTo>
                    <a:pt x="1581" y="2659"/>
                  </a:lnTo>
                  <a:lnTo>
                    <a:pt x="1573" y="2664"/>
                  </a:lnTo>
                  <a:lnTo>
                    <a:pt x="1567" y="2668"/>
                  </a:lnTo>
                  <a:lnTo>
                    <a:pt x="1562" y="2674"/>
                  </a:lnTo>
                  <a:lnTo>
                    <a:pt x="1556" y="2672"/>
                  </a:lnTo>
                  <a:lnTo>
                    <a:pt x="1556" y="2670"/>
                  </a:lnTo>
                  <a:lnTo>
                    <a:pt x="1554" y="2668"/>
                  </a:lnTo>
                  <a:lnTo>
                    <a:pt x="1550" y="2668"/>
                  </a:lnTo>
                  <a:lnTo>
                    <a:pt x="1550" y="2664"/>
                  </a:lnTo>
                  <a:lnTo>
                    <a:pt x="1550" y="2662"/>
                  </a:lnTo>
                  <a:lnTo>
                    <a:pt x="1552" y="2661"/>
                  </a:lnTo>
                  <a:lnTo>
                    <a:pt x="1556" y="2657"/>
                  </a:lnTo>
                  <a:lnTo>
                    <a:pt x="1558" y="2653"/>
                  </a:lnTo>
                  <a:lnTo>
                    <a:pt x="1562" y="2649"/>
                  </a:lnTo>
                  <a:lnTo>
                    <a:pt x="1565" y="2647"/>
                  </a:lnTo>
                  <a:lnTo>
                    <a:pt x="1573" y="2643"/>
                  </a:lnTo>
                  <a:lnTo>
                    <a:pt x="1577" y="2641"/>
                  </a:lnTo>
                  <a:lnTo>
                    <a:pt x="1579" y="2636"/>
                  </a:lnTo>
                  <a:lnTo>
                    <a:pt x="1585" y="2632"/>
                  </a:lnTo>
                  <a:lnTo>
                    <a:pt x="1588" y="2632"/>
                  </a:lnTo>
                  <a:lnTo>
                    <a:pt x="1592" y="2628"/>
                  </a:lnTo>
                  <a:lnTo>
                    <a:pt x="1596" y="2626"/>
                  </a:lnTo>
                  <a:lnTo>
                    <a:pt x="1598" y="2620"/>
                  </a:lnTo>
                  <a:lnTo>
                    <a:pt x="1600" y="2616"/>
                  </a:lnTo>
                  <a:lnTo>
                    <a:pt x="1600" y="2611"/>
                  </a:lnTo>
                  <a:lnTo>
                    <a:pt x="1602" y="2603"/>
                  </a:lnTo>
                  <a:lnTo>
                    <a:pt x="1604" y="2599"/>
                  </a:lnTo>
                  <a:lnTo>
                    <a:pt x="1611" y="2599"/>
                  </a:lnTo>
                  <a:lnTo>
                    <a:pt x="1617" y="2593"/>
                  </a:lnTo>
                  <a:lnTo>
                    <a:pt x="1621" y="2590"/>
                  </a:lnTo>
                  <a:lnTo>
                    <a:pt x="1623" y="2586"/>
                  </a:lnTo>
                  <a:lnTo>
                    <a:pt x="1623" y="2582"/>
                  </a:lnTo>
                  <a:lnTo>
                    <a:pt x="1627" y="2576"/>
                  </a:lnTo>
                  <a:lnTo>
                    <a:pt x="1627" y="2570"/>
                  </a:lnTo>
                  <a:lnTo>
                    <a:pt x="1625" y="2565"/>
                  </a:lnTo>
                  <a:lnTo>
                    <a:pt x="1629" y="2561"/>
                  </a:lnTo>
                  <a:lnTo>
                    <a:pt x="1635" y="2557"/>
                  </a:lnTo>
                  <a:lnTo>
                    <a:pt x="1638" y="2553"/>
                  </a:lnTo>
                  <a:lnTo>
                    <a:pt x="1636" y="2549"/>
                  </a:lnTo>
                  <a:lnTo>
                    <a:pt x="1629" y="2549"/>
                  </a:lnTo>
                  <a:lnTo>
                    <a:pt x="1625" y="2547"/>
                  </a:lnTo>
                  <a:lnTo>
                    <a:pt x="1621" y="2553"/>
                  </a:lnTo>
                  <a:lnTo>
                    <a:pt x="1617" y="2551"/>
                  </a:lnTo>
                  <a:lnTo>
                    <a:pt x="1613" y="2549"/>
                  </a:lnTo>
                  <a:lnTo>
                    <a:pt x="1606" y="2553"/>
                  </a:lnTo>
                  <a:lnTo>
                    <a:pt x="1604" y="2557"/>
                  </a:lnTo>
                  <a:lnTo>
                    <a:pt x="1600" y="2563"/>
                  </a:lnTo>
                  <a:lnTo>
                    <a:pt x="1598" y="2568"/>
                  </a:lnTo>
                  <a:lnTo>
                    <a:pt x="1596" y="2576"/>
                  </a:lnTo>
                  <a:lnTo>
                    <a:pt x="1592" y="2584"/>
                  </a:lnTo>
                  <a:lnTo>
                    <a:pt x="1588" y="2590"/>
                  </a:lnTo>
                  <a:lnTo>
                    <a:pt x="1585" y="2597"/>
                  </a:lnTo>
                  <a:lnTo>
                    <a:pt x="1579" y="2603"/>
                  </a:lnTo>
                  <a:lnTo>
                    <a:pt x="1575" y="2609"/>
                  </a:lnTo>
                  <a:lnTo>
                    <a:pt x="1567" y="2616"/>
                  </a:lnTo>
                  <a:lnTo>
                    <a:pt x="1562" y="2624"/>
                  </a:lnTo>
                  <a:lnTo>
                    <a:pt x="1556" y="2630"/>
                  </a:lnTo>
                  <a:lnTo>
                    <a:pt x="1552" y="2636"/>
                  </a:lnTo>
                  <a:lnTo>
                    <a:pt x="1546" y="2639"/>
                  </a:lnTo>
                  <a:lnTo>
                    <a:pt x="1542" y="2643"/>
                  </a:lnTo>
                  <a:lnTo>
                    <a:pt x="1540" y="2651"/>
                  </a:lnTo>
                  <a:lnTo>
                    <a:pt x="1542" y="2659"/>
                  </a:lnTo>
                  <a:lnTo>
                    <a:pt x="1544" y="2666"/>
                  </a:lnTo>
                  <a:lnTo>
                    <a:pt x="1542" y="2670"/>
                  </a:lnTo>
                  <a:lnTo>
                    <a:pt x="1540" y="2672"/>
                  </a:lnTo>
                  <a:lnTo>
                    <a:pt x="1544" y="2674"/>
                  </a:lnTo>
                  <a:lnTo>
                    <a:pt x="1548" y="2672"/>
                  </a:lnTo>
                  <a:lnTo>
                    <a:pt x="1550" y="2676"/>
                  </a:lnTo>
                  <a:lnTo>
                    <a:pt x="1552" y="2682"/>
                  </a:lnTo>
                  <a:lnTo>
                    <a:pt x="1544" y="2691"/>
                  </a:lnTo>
                  <a:lnTo>
                    <a:pt x="1542" y="2697"/>
                  </a:lnTo>
                  <a:lnTo>
                    <a:pt x="1539" y="2707"/>
                  </a:lnTo>
                  <a:lnTo>
                    <a:pt x="1535" y="2712"/>
                  </a:lnTo>
                  <a:lnTo>
                    <a:pt x="1533" y="2724"/>
                  </a:lnTo>
                  <a:lnTo>
                    <a:pt x="1527" y="2733"/>
                  </a:lnTo>
                  <a:lnTo>
                    <a:pt x="1527" y="2743"/>
                  </a:lnTo>
                  <a:lnTo>
                    <a:pt x="1523" y="2753"/>
                  </a:lnTo>
                  <a:lnTo>
                    <a:pt x="1519" y="2760"/>
                  </a:lnTo>
                  <a:lnTo>
                    <a:pt x="1514" y="2774"/>
                  </a:lnTo>
                  <a:lnTo>
                    <a:pt x="1504" y="2778"/>
                  </a:lnTo>
                  <a:lnTo>
                    <a:pt x="1496" y="2776"/>
                  </a:lnTo>
                  <a:lnTo>
                    <a:pt x="1506" y="2768"/>
                  </a:lnTo>
                  <a:lnTo>
                    <a:pt x="1508" y="2760"/>
                  </a:lnTo>
                  <a:lnTo>
                    <a:pt x="1512" y="2753"/>
                  </a:lnTo>
                  <a:lnTo>
                    <a:pt x="1516" y="2741"/>
                  </a:lnTo>
                  <a:lnTo>
                    <a:pt x="1514" y="2739"/>
                  </a:lnTo>
                  <a:lnTo>
                    <a:pt x="1510" y="2737"/>
                  </a:lnTo>
                  <a:lnTo>
                    <a:pt x="1504" y="2747"/>
                  </a:lnTo>
                  <a:lnTo>
                    <a:pt x="1498" y="2758"/>
                  </a:lnTo>
                  <a:lnTo>
                    <a:pt x="1496" y="2768"/>
                  </a:lnTo>
                  <a:lnTo>
                    <a:pt x="1491" y="2774"/>
                  </a:lnTo>
                  <a:lnTo>
                    <a:pt x="1485" y="2779"/>
                  </a:lnTo>
                  <a:lnTo>
                    <a:pt x="1479" y="2781"/>
                  </a:lnTo>
                  <a:lnTo>
                    <a:pt x="1475" y="2781"/>
                  </a:lnTo>
                  <a:lnTo>
                    <a:pt x="1473" y="2776"/>
                  </a:lnTo>
                  <a:lnTo>
                    <a:pt x="1471" y="2770"/>
                  </a:lnTo>
                  <a:lnTo>
                    <a:pt x="1471" y="2764"/>
                  </a:lnTo>
                  <a:lnTo>
                    <a:pt x="1473" y="2758"/>
                  </a:lnTo>
                  <a:lnTo>
                    <a:pt x="1477" y="2753"/>
                  </a:lnTo>
                  <a:lnTo>
                    <a:pt x="1479" y="2743"/>
                  </a:lnTo>
                  <a:lnTo>
                    <a:pt x="1483" y="2737"/>
                  </a:lnTo>
                  <a:lnTo>
                    <a:pt x="1487" y="2730"/>
                  </a:lnTo>
                  <a:lnTo>
                    <a:pt x="1493" y="2728"/>
                  </a:lnTo>
                  <a:lnTo>
                    <a:pt x="1502" y="2726"/>
                  </a:lnTo>
                  <a:lnTo>
                    <a:pt x="1508" y="2722"/>
                  </a:lnTo>
                  <a:lnTo>
                    <a:pt x="1510" y="2716"/>
                  </a:lnTo>
                  <a:lnTo>
                    <a:pt x="1508" y="2710"/>
                  </a:lnTo>
                  <a:lnTo>
                    <a:pt x="1508" y="2707"/>
                  </a:lnTo>
                  <a:lnTo>
                    <a:pt x="1512" y="2701"/>
                  </a:lnTo>
                  <a:lnTo>
                    <a:pt x="1512" y="2695"/>
                  </a:lnTo>
                  <a:lnTo>
                    <a:pt x="1506" y="2693"/>
                  </a:lnTo>
                  <a:lnTo>
                    <a:pt x="1502" y="2697"/>
                  </a:lnTo>
                  <a:lnTo>
                    <a:pt x="1500" y="2699"/>
                  </a:lnTo>
                  <a:lnTo>
                    <a:pt x="1496" y="2707"/>
                  </a:lnTo>
                  <a:lnTo>
                    <a:pt x="1491" y="2712"/>
                  </a:lnTo>
                  <a:lnTo>
                    <a:pt x="1485" y="2712"/>
                  </a:lnTo>
                  <a:lnTo>
                    <a:pt x="1481" y="2714"/>
                  </a:lnTo>
                  <a:lnTo>
                    <a:pt x="1477" y="2710"/>
                  </a:lnTo>
                  <a:lnTo>
                    <a:pt x="1473" y="2707"/>
                  </a:lnTo>
                  <a:lnTo>
                    <a:pt x="1468" y="2701"/>
                  </a:lnTo>
                  <a:lnTo>
                    <a:pt x="1464" y="2691"/>
                  </a:lnTo>
                  <a:lnTo>
                    <a:pt x="1458" y="2685"/>
                  </a:lnTo>
                  <a:lnTo>
                    <a:pt x="1450" y="2682"/>
                  </a:lnTo>
                  <a:lnTo>
                    <a:pt x="1443" y="2678"/>
                  </a:lnTo>
                  <a:lnTo>
                    <a:pt x="1443" y="2674"/>
                  </a:lnTo>
                  <a:lnTo>
                    <a:pt x="1439" y="2664"/>
                  </a:lnTo>
                  <a:lnTo>
                    <a:pt x="1429" y="2662"/>
                  </a:lnTo>
                  <a:lnTo>
                    <a:pt x="1420" y="2655"/>
                  </a:lnTo>
                  <a:lnTo>
                    <a:pt x="1414" y="2651"/>
                  </a:lnTo>
                  <a:lnTo>
                    <a:pt x="1402" y="2645"/>
                  </a:lnTo>
                  <a:lnTo>
                    <a:pt x="1397" y="2641"/>
                  </a:lnTo>
                  <a:lnTo>
                    <a:pt x="1391" y="2636"/>
                  </a:lnTo>
                  <a:lnTo>
                    <a:pt x="1385" y="2630"/>
                  </a:lnTo>
                  <a:lnTo>
                    <a:pt x="1375" y="2626"/>
                  </a:lnTo>
                  <a:lnTo>
                    <a:pt x="1368" y="2626"/>
                  </a:lnTo>
                  <a:lnTo>
                    <a:pt x="1358" y="2618"/>
                  </a:lnTo>
                  <a:lnTo>
                    <a:pt x="1352" y="2609"/>
                  </a:lnTo>
                  <a:lnTo>
                    <a:pt x="1345" y="2607"/>
                  </a:lnTo>
                  <a:lnTo>
                    <a:pt x="1337" y="2593"/>
                  </a:lnTo>
                  <a:lnTo>
                    <a:pt x="1327" y="2590"/>
                  </a:lnTo>
                  <a:lnTo>
                    <a:pt x="1320" y="2588"/>
                  </a:lnTo>
                  <a:lnTo>
                    <a:pt x="1306" y="2580"/>
                  </a:lnTo>
                  <a:lnTo>
                    <a:pt x="1297" y="2580"/>
                  </a:lnTo>
                  <a:lnTo>
                    <a:pt x="1291" y="2576"/>
                  </a:lnTo>
                  <a:lnTo>
                    <a:pt x="1285" y="2567"/>
                  </a:lnTo>
                  <a:lnTo>
                    <a:pt x="1281" y="2555"/>
                  </a:lnTo>
                  <a:lnTo>
                    <a:pt x="1272" y="2553"/>
                  </a:lnTo>
                  <a:lnTo>
                    <a:pt x="1266" y="2547"/>
                  </a:lnTo>
                  <a:lnTo>
                    <a:pt x="1258" y="2544"/>
                  </a:lnTo>
                  <a:lnTo>
                    <a:pt x="1249" y="2545"/>
                  </a:lnTo>
                  <a:lnTo>
                    <a:pt x="1239" y="2549"/>
                  </a:lnTo>
                  <a:lnTo>
                    <a:pt x="1230" y="2551"/>
                  </a:lnTo>
                  <a:lnTo>
                    <a:pt x="1224" y="2557"/>
                  </a:lnTo>
                  <a:lnTo>
                    <a:pt x="1216" y="2557"/>
                  </a:lnTo>
                  <a:lnTo>
                    <a:pt x="1209" y="2551"/>
                  </a:lnTo>
                  <a:lnTo>
                    <a:pt x="1212" y="2540"/>
                  </a:lnTo>
                  <a:lnTo>
                    <a:pt x="1214" y="2530"/>
                  </a:lnTo>
                  <a:lnTo>
                    <a:pt x="1218" y="2520"/>
                  </a:lnTo>
                  <a:lnTo>
                    <a:pt x="1226" y="2517"/>
                  </a:lnTo>
                  <a:lnTo>
                    <a:pt x="1235" y="2511"/>
                  </a:lnTo>
                  <a:lnTo>
                    <a:pt x="1241" y="2503"/>
                  </a:lnTo>
                  <a:lnTo>
                    <a:pt x="1245" y="2494"/>
                  </a:lnTo>
                  <a:lnTo>
                    <a:pt x="1253" y="2488"/>
                  </a:lnTo>
                  <a:lnTo>
                    <a:pt x="1256" y="2480"/>
                  </a:lnTo>
                  <a:lnTo>
                    <a:pt x="1258" y="2474"/>
                  </a:lnTo>
                  <a:lnTo>
                    <a:pt x="1266" y="2471"/>
                  </a:lnTo>
                  <a:lnTo>
                    <a:pt x="1274" y="2465"/>
                  </a:lnTo>
                  <a:lnTo>
                    <a:pt x="1276" y="2457"/>
                  </a:lnTo>
                  <a:lnTo>
                    <a:pt x="1278" y="2450"/>
                  </a:lnTo>
                  <a:lnTo>
                    <a:pt x="1280" y="2438"/>
                  </a:lnTo>
                  <a:lnTo>
                    <a:pt x="1283" y="2436"/>
                  </a:lnTo>
                  <a:lnTo>
                    <a:pt x="1289" y="2432"/>
                  </a:lnTo>
                  <a:lnTo>
                    <a:pt x="1293" y="2423"/>
                  </a:lnTo>
                  <a:lnTo>
                    <a:pt x="1301" y="2415"/>
                  </a:lnTo>
                  <a:lnTo>
                    <a:pt x="1306" y="2407"/>
                  </a:lnTo>
                  <a:lnTo>
                    <a:pt x="1310" y="2398"/>
                  </a:lnTo>
                  <a:lnTo>
                    <a:pt x="1314" y="2388"/>
                  </a:lnTo>
                  <a:lnTo>
                    <a:pt x="1316" y="2386"/>
                  </a:lnTo>
                  <a:lnTo>
                    <a:pt x="1324" y="2386"/>
                  </a:lnTo>
                  <a:lnTo>
                    <a:pt x="1335" y="2379"/>
                  </a:lnTo>
                  <a:lnTo>
                    <a:pt x="1345" y="2371"/>
                  </a:lnTo>
                  <a:lnTo>
                    <a:pt x="1351" y="2367"/>
                  </a:lnTo>
                  <a:lnTo>
                    <a:pt x="1358" y="2365"/>
                  </a:lnTo>
                  <a:lnTo>
                    <a:pt x="1362" y="2361"/>
                  </a:lnTo>
                  <a:lnTo>
                    <a:pt x="1366" y="2357"/>
                  </a:lnTo>
                  <a:lnTo>
                    <a:pt x="1370" y="2350"/>
                  </a:lnTo>
                  <a:lnTo>
                    <a:pt x="1375" y="2346"/>
                  </a:lnTo>
                  <a:lnTo>
                    <a:pt x="1383" y="2344"/>
                  </a:lnTo>
                  <a:lnTo>
                    <a:pt x="1389" y="2336"/>
                  </a:lnTo>
                  <a:lnTo>
                    <a:pt x="1395" y="2332"/>
                  </a:lnTo>
                  <a:lnTo>
                    <a:pt x="1404" y="2331"/>
                  </a:lnTo>
                  <a:lnTo>
                    <a:pt x="1412" y="2323"/>
                  </a:lnTo>
                  <a:lnTo>
                    <a:pt x="1418" y="2319"/>
                  </a:lnTo>
                  <a:lnTo>
                    <a:pt x="1425" y="2317"/>
                  </a:lnTo>
                  <a:lnTo>
                    <a:pt x="1429" y="2311"/>
                  </a:lnTo>
                  <a:lnTo>
                    <a:pt x="1435" y="2306"/>
                  </a:lnTo>
                  <a:lnTo>
                    <a:pt x="1439" y="2300"/>
                  </a:lnTo>
                  <a:lnTo>
                    <a:pt x="1441" y="2292"/>
                  </a:lnTo>
                  <a:lnTo>
                    <a:pt x="1439" y="2281"/>
                  </a:lnTo>
                  <a:lnTo>
                    <a:pt x="1445" y="2271"/>
                  </a:lnTo>
                  <a:lnTo>
                    <a:pt x="1443" y="2263"/>
                  </a:lnTo>
                  <a:lnTo>
                    <a:pt x="1441" y="2256"/>
                  </a:lnTo>
                  <a:lnTo>
                    <a:pt x="1437" y="2248"/>
                  </a:lnTo>
                  <a:lnTo>
                    <a:pt x="1433" y="2240"/>
                  </a:lnTo>
                  <a:lnTo>
                    <a:pt x="1433" y="2235"/>
                  </a:lnTo>
                  <a:lnTo>
                    <a:pt x="1435" y="2225"/>
                  </a:lnTo>
                  <a:lnTo>
                    <a:pt x="1435" y="2217"/>
                  </a:lnTo>
                  <a:lnTo>
                    <a:pt x="1433" y="2208"/>
                  </a:lnTo>
                  <a:lnTo>
                    <a:pt x="1425" y="2202"/>
                  </a:lnTo>
                  <a:lnTo>
                    <a:pt x="1412" y="2198"/>
                  </a:lnTo>
                  <a:lnTo>
                    <a:pt x="1406" y="2198"/>
                  </a:lnTo>
                  <a:lnTo>
                    <a:pt x="1397" y="2202"/>
                  </a:lnTo>
                  <a:lnTo>
                    <a:pt x="1391" y="2204"/>
                  </a:lnTo>
                  <a:lnTo>
                    <a:pt x="1385" y="2202"/>
                  </a:lnTo>
                  <a:lnTo>
                    <a:pt x="1387" y="2192"/>
                  </a:lnTo>
                  <a:lnTo>
                    <a:pt x="1391" y="2175"/>
                  </a:lnTo>
                  <a:lnTo>
                    <a:pt x="1391" y="2164"/>
                  </a:lnTo>
                  <a:lnTo>
                    <a:pt x="1397" y="2154"/>
                  </a:lnTo>
                  <a:lnTo>
                    <a:pt x="1398" y="2139"/>
                  </a:lnTo>
                  <a:lnTo>
                    <a:pt x="1400" y="2123"/>
                  </a:lnTo>
                  <a:lnTo>
                    <a:pt x="1400" y="2106"/>
                  </a:lnTo>
                  <a:lnTo>
                    <a:pt x="1400" y="2095"/>
                  </a:lnTo>
                  <a:lnTo>
                    <a:pt x="1400" y="2089"/>
                  </a:lnTo>
                  <a:lnTo>
                    <a:pt x="1400" y="2091"/>
                  </a:lnTo>
                  <a:lnTo>
                    <a:pt x="1395" y="2083"/>
                  </a:lnTo>
                  <a:lnTo>
                    <a:pt x="1387" y="2079"/>
                  </a:lnTo>
                  <a:lnTo>
                    <a:pt x="1375" y="2075"/>
                  </a:lnTo>
                  <a:lnTo>
                    <a:pt x="1368" y="2072"/>
                  </a:lnTo>
                  <a:lnTo>
                    <a:pt x="1360" y="2075"/>
                  </a:lnTo>
                  <a:lnTo>
                    <a:pt x="1351" y="2073"/>
                  </a:lnTo>
                  <a:lnTo>
                    <a:pt x="1347" y="2075"/>
                  </a:lnTo>
                  <a:lnTo>
                    <a:pt x="1341" y="2077"/>
                  </a:lnTo>
                  <a:lnTo>
                    <a:pt x="1337" y="2081"/>
                  </a:lnTo>
                  <a:lnTo>
                    <a:pt x="1329" y="2081"/>
                  </a:lnTo>
                  <a:lnTo>
                    <a:pt x="1322" y="2077"/>
                  </a:lnTo>
                  <a:lnTo>
                    <a:pt x="1316" y="2072"/>
                  </a:lnTo>
                  <a:lnTo>
                    <a:pt x="1314" y="2068"/>
                  </a:lnTo>
                  <a:lnTo>
                    <a:pt x="1316" y="2058"/>
                  </a:lnTo>
                  <a:lnTo>
                    <a:pt x="1318" y="2049"/>
                  </a:lnTo>
                  <a:lnTo>
                    <a:pt x="1316" y="2041"/>
                  </a:lnTo>
                  <a:lnTo>
                    <a:pt x="1310" y="2033"/>
                  </a:lnTo>
                  <a:lnTo>
                    <a:pt x="1308" y="2024"/>
                  </a:lnTo>
                  <a:lnTo>
                    <a:pt x="1306" y="2016"/>
                  </a:lnTo>
                  <a:lnTo>
                    <a:pt x="1304" y="2008"/>
                  </a:lnTo>
                  <a:lnTo>
                    <a:pt x="1303" y="2001"/>
                  </a:lnTo>
                  <a:lnTo>
                    <a:pt x="1301" y="1993"/>
                  </a:lnTo>
                  <a:lnTo>
                    <a:pt x="1304" y="1991"/>
                  </a:lnTo>
                  <a:lnTo>
                    <a:pt x="1312" y="1989"/>
                  </a:lnTo>
                  <a:lnTo>
                    <a:pt x="1306" y="1981"/>
                  </a:lnTo>
                  <a:lnTo>
                    <a:pt x="1304" y="1972"/>
                  </a:lnTo>
                  <a:lnTo>
                    <a:pt x="1301" y="1964"/>
                  </a:lnTo>
                  <a:lnTo>
                    <a:pt x="1293" y="1960"/>
                  </a:lnTo>
                  <a:lnTo>
                    <a:pt x="1285" y="1960"/>
                  </a:lnTo>
                  <a:lnTo>
                    <a:pt x="1281" y="1964"/>
                  </a:lnTo>
                  <a:lnTo>
                    <a:pt x="1272" y="1964"/>
                  </a:lnTo>
                  <a:lnTo>
                    <a:pt x="1268" y="1958"/>
                  </a:lnTo>
                  <a:lnTo>
                    <a:pt x="1266" y="1953"/>
                  </a:lnTo>
                  <a:lnTo>
                    <a:pt x="1264" y="1949"/>
                  </a:lnTo>
                  <a:lnTo>
                    <a:pt x="1260" y="1949"/>
                  </a:lnTo>
                  <a:lnTo>
                    <a:pt x="1256" y="1951"/>
                  </a:lnTo>
                  <a:lnTo>
                    <a:pt x="1256" y="1955"/>
                  </a:lnTo>
                  <a:lnTo>
                    <a:pt x="1255" y="1956"/>
                  </a:lnTo>
                  <a:lnTo>
                    <a:pt x="1253" y="1962"/>
                  </a:lnTo>
                  <a:lnTo>
                    <a:pt x="1245" y="1966"/>
                  </a:lnTo>
                  <a:lnTo>
                    <a:pt x="1239" y="1964"/>
                  </a:lnTo>
                  <a:lnTo>
                    <a:pt x="1232" y="1962"/>
                  </a:lnTo>
                  <a:lnTo>
                    <a:pt x="1218" y="1958"/>
                  </a:lnTo>
                  <a:lnTo>
                    <a:pt x="1212" y="1955"/>
                  </a:lnTo>
                  <a:lnTo>
                    <a:pt x="1207" y="1955"/>
                  </a:lnTo>
                  <a:lnTo>
                    <a:pt x="1195" y="1955"/>
                  </a:lnTo>
                  <a:lnTo>
                    <a:pt x="1185" y="1953"/>
                  </a:lnTo>
                  <a:lnTo>
                    <a:pt x="1176" y="1953"/>
                  </a:lnTo>
                  <a:lnTo>
                    <a:pt x="1164" y="1955"/>
                  </a:lnTo>
                  <a:lnTo>
                    <a:pt x="1159" y="1955"/>
                  </a:lnTo>
                  <a:lnTo>
                    <a:pt x="1155" y="1953"/>
                  </a:lnTo>
                  <a:lnTo>
                    <a:pt x="1155" y="1947"/>
                  </a:lnTo>
                  <a:lnTo>
                    <a:pt x="1157" y="1939"/>
                  </a:lnTo>
                  <a:lnTo>
                    <a:pt x="1161" y="1932"/>
                  </a:lnTo>
                  <a:lnTo>
                    <a:pt x="1155" y="1928"/>
                  </a:lnTo>
                  <a:lnTo>
                    <a:pt x="1153" y="1918"/>
                  </a:lnTo>
                  <a:lnTo>
                    <a:pt x="1155" y="1910"/>
                  </a:lnTo>
                  <a:lnTo>
                    <a:pt x="1157" y="1901"/>
                  </a:lnTo>
                  <a:lnTo>
                    <a:pt x="1159" y="1893"/>
                  </a:lnTo>
                  <a:lnTo>
                    <a:pt x="1155" y="1887"/>
                  </a:lnTo>
                  <a:lnTo>
                    <a:pt x="1153" y="1882"/>
                  </a:lnTo>
                  <a:lnTo>
                    <a:pt x="1153" y="1872"/>
                  </a:lnTo>
                  <a:lnTo>
                    <a:pt x="1151" y="1862"/>
                  </a:lnTo>
                  <a:lnTo>
                    <a:pt x="1155" y="1857"/>
                  </a:lnTo>
                  <a:lnTo>
                    <a:pt x="1151" y="1851"/>
                  </a:lnTo>
                  <a:lnTo>
                    <a:pt x="1149" y="1843"/>
                  </a:lnTo>
                  <a:lnTo>
                    <a:pt x="1145" y="1838"/>
                  </a:lnTo>
                  <a:lnTo>
                    <a:pt x="1141" y="1834"/>
                  </a:lnTo>
                  <a:lnTo>
                    <a:pt x="1138" y="1828"/>
                  </a:lnTo>
                  <a:lnTo>
                    <a:pt x="1141" y="1822"/>
                  </a:lnTo>
                  <a:lnTo>
                    <a:pt x="1141" y="1818"/>
                  </a:lnTo>
                  <a:lnTo>
                    <a:pt x="1134" y="1814"/>
                  </a:lnTo>
                  <a:lnTo>
                    <a:pt x="1132" y="1809"/>
                  </a:lnTo>
                  <a:lnTo>
                    <a:pt x="1134" y="1805"/>
                  </a:lnTo>
                  <a:lnTo>
                    <a:pt x="1143" y="1803"/>
                  </a:lnTo>
                  <a:lnTo>
                    <a:pt x="1145" y="1799"/>
                  </a:lnTo>
                  <a:lnTo>
                    <a:pt x="1145" y="1793"/>
                  </a:lnTo>
                  <a:lnTo>
                    <a:pt x="1145" y="1786"/>
                  </a:lnTo>
                  <a:lnTo>
                    <a:pt x="1143" y="1782"/>
                  </a:lnTo>
                  <a:lnTo>
                    <a:pt x="1139" y="1778"/>
                  </a:lnTo>
                  <a:lnTo>
                    <a:pt x="1139" y="1772"/>
                  </a:lnTo>
                  <a:lnTo>
                    <a:pt x="1141" y="1770"/>
                  </a:lnTo>
                  <a:lnTo>
                    <a:pt x="1145" y="1768"/>
                  </a:lnTo>
                  <a:lnTo>
                    <a:pt x="1147" y="1763"/>
                  </a:lnTo>
                  <a:lnTo>
                    <a:pt x="1147" y="1755"/>
                  </a:lnTo>
                  <a:lnTo>
                    <a:pt x="1147" y="1751"/>
                  </a:lnTo>
                  <a:lnTo>
                    <a:pt x="1149" y="1747"/>
                  </a:lnTo>
                  <a:lnTo>
                    <a:pt x="1153" y="1742"/>
                  </a:lnTo>
                  <a:lnTo>
                    <a:pt x="1155" y="1738"/>
                  </a:lnTo>
                  <a:lnTo>
                    <a:pt x="1157" y="1728"/>
                  </a:lnTo>
                  <a:lnTo>
                    <a:pt x="1157" y="1722"/>
                  </a:lnTo>
                  <a:lnTo>
                    <a:pt x="1157" y="1715"/>
                  </a:lnTo>
                  <a:lnTo>
                    <a:pt x="1159" y="1709"/>
                  </a:lnTo>
                  <a:lnTo>
                    <a:pt x="1159" y="1703"/>
                  </a:lnTo>
                  <a:lnTo>
                    <a:pt x="1159" y="1699"/>
                  </a:lnTo>
                  <a:lnTo>
                    <a:pt x="1161" y="1692"/>
                  </a:lnTo>
                  <a:lnTo>
                    <a:pt x="1161" y="1688"/>
                  </a:lnTo>
                  <a:lnTo>
                    <a:pt x="1162" y="1682"/>
                  </a:lnTo>
                  <a:lnTo>
                    <a:pt x="1164" y="1678"/>
                  </a:lnTo>
                  <a:lnTo>
                    <a:pt x="1164" y="1674"/>
                  </a:lnTo>
                  <a:lnTo>
                    <a:pt x="1162" y="1669"/>
                  </a:lnTo>
                  <a:lnTo>
                    <a:pt x="1161" y="1665"/>
                  </a:lnTo>
                  <a:lnTo>
                    <a:pt x="1159" y="1663"/>
                  </a:lnTo>
                  <a:lnTo>
                    <a:pt x="1157" y="1659"/>
                  </a:lnTo>
                  <a:lnTo>
                    <a:pt x="1157" y="1655"/>
                  </a:lnTo>
                  <a:lnTo>
                    <a:pt x="1153" y="1653"/>
                  </a:lnTo>
                  <a:lnTo>
                    <a:pt x="1149" y="1651"/>
                  </a:lnTo>
                  <a:lnTo>
                    <a:pt x="1147" y="1648"/>
                  </a:lnTo>
                  <a:lnTo>
                    <a:pt x="1147" y="1646"/>
                  </a:lnTo>
                  <a:lnTo>
                    <a:pt x="1145" y="1640"/>
                  </a:lnTo>
                  <a:lnTo>
                    <a:pt x="1145" y="1634"/>
                  </a:lnTo>
                  <a:lnTo>
                    <a:pt x="1143" y="1628"/>
                  </a:lnTo>
                  <a:lnTo>
                    <a:pt x="1139" y="1625"/>
                  </a:lnTo>
                  <a:lnTo>
                    <a:pt x="1136" y="1619"/>
                  </a:lnTo>
                  <a:lnTo>
                    <a:pt x="1130" y="1617"/>
                  </a:lnTo>
                  <a:lnTo>
                    <a:pt x="1124" y="1617"/>
                  </a:lnTo>
                  <a:lnTo>
                    <a:pt x="1118" y="1613"/>
                  </a:lnTo>
                  <a:lnTo>
                    <a:pt x="1118" y="1607"/>
                  </a:lnTo>
                  <a:lnTo>
                    <a:pt x="1114" y="1605"/>
                  </a:lnTo>
                  <a:lnTo>
                    <a:pt x="1111" y="1600"/>
                  </a:lnTo>
                  <a:lnTo>
                    <a:pt x="1107" y="1594"/>
                  </a:lnTo>
                  <a:lnTo>
                    <a:pt x="1107" y="1590"/>
                  </a:lnTo>
                  <a:lnTo>
                    <a:pt x="1107" y="1584"/>
                  </a:lnTo>
                  <a:lnTo>
                    <a:pt x="1111" y="1580"/>
                  </a:lnTo>
                  <a:lnTo>
                    <a:pt x="1107" y="1575"/>
                  </a:lnTo>
                  <a:lnTo>
                    <a:pt x="1109" y="1565"/>
                  </a:lnTo>
                  <a:lnTo>
                    <a:pt x="1107" y="1559"/>
                  </a:lnTo>
                  <a:lnTo>
                    <a:pt x="1105" y="1555"/>
                  </a:lnTo>
                  <a:lnTo>
                    <a:pt x="1105" y="1552"/>
                  </a:lnTo>
                  <a:lnTo>
                    <a:pt x="1107" y="1548"/>
                  </a:lnTo>
                  <a:lnTo>
                    <a:pt x="1113" y="1544"/>
                  </a:lnTo>
                  <a:lnTo>
                    <a:pt x="1111" y="1540"/>
                  </a:lnTo>
                  <a:lnTo>
                    <a:pt x="1105" y="1536"/>
                  </a:lnTo>
                  <a:lnTo>
                    <a:pt x="1099" y="1538"/>
                  </a:lnTo>
                  <a:lnTo>
                    <a:pt x="1095" y="1538"/>
                  </a:lnTo>
                  <a:lnTo>
                    <a:pt x="1088" y="1540"/>
                  </a:lnTo>
                  <a:lnTo>
                    <a:pt x="1082" y="1538"/>
                  </a:lnTo>
                  <a:lnTo>
                    <a:pt x="1080" y="1542"/>
                  </a:lnTo>
                  <a:lnTo>
                    <a:pt x="1074" y="1540"/>
                  </a:lnTo>
                  <a:lnTo>
                    <a:pt x="1067" y="1542"/>
                  </a:lnTo>
                  <a:lnTo>
                    <a:pt x="1059" y="1542"/>
                  </a:lnTo>
                  <a:lnTo>
                    <a:pt x="1053" y="1542"/>
                  </a:lnTo>
                  <a:lnTo>
                    <a:pt x="1043" y="1540"/>
                  </a:lnTo>
                  <a:lnTo>
                    <a:pt x="1036" y="1540"/>
                  </a:lnTo>
                  <a:lnTo>
                    <a:pt x="1026" y="1540"/>
                  </a:lnTo>
                  <a:lnTo>
                    <a:pt x="1020" y="1540"/>
                  </a:lnTo>
                  <a:lnTo>
                    <a:pt x="1015" y="1540"/>
                  </a:lnTo>
                  <a:lnTo>
                    <a:pt x="1007" y="1538"/>
                  </a:lnTo>
                  <a:lnTo>
                    <a:pt x="1001" y="1540"/>
                  </a:lnTo>
                  <a:lnTo>
                    <a:pt x="999" y="1544"/>
                  </a:lnTo>
                  <a:lnTo>
                    <a:pt x="992" y="1544"/>
                  </a:lnTo>
                  <a:lnTo>
                    <a:pt x="986" y="1542"/>
                  </a:lnTo>
                  <a:lnTo>
                    <a:pt x="980" y="1540"/>
                  </a:lnTo>
                  <a:lnTo>
                    <a:pt x="980" y="1531"/>
                  </a:lnTo>
                  <a:lnTo>
                    <a:pt x="976" y="1525"/>
                  </a:lnTo>
                  <a:lnTo>
                    <a:pt x="976" y="1521"/>
                  </a:lnTo>
                  <a:lnTo>
                    <a:pt x="974" y="1515"/>
                  </a:lnTo>
                  <a:lnTo>
                    <a:pt x="969" y="1509"/>
                  </a:lnTo>
                  <a:lnTo>
                    <a:pt x="967" y="1504"/>
                  </a:lnTo>
                  <a:lnTo>
                    <a:pt x="965" y="1496"/>
                  </a:lnTo>
                  <a:lnTo>
                    <a:pt x="963" y="1488"/>
                  </a:lnTo>
                  <a:lnTo>
                    <a:pt x="959" y="1483"/>
                  </a:lnTo>
                  <a:lnTo>
                    <a:pt x="957" y="1477"/>
                  </a:lnTo>
                  <a:lnTo>
                    <a:pt x="951" y="1471"/>
                  </a:lnTo>
                  <a:lnTo>
                    <a:pt x="951" y="1463"/>
                  </a:lnTo>
                  <a:lnTo>
                    <a:pt x="953" y="1452"/>
                  </a:lnTo>
                  <a:lnTo>
                    <a:pt x="951" y="1446"/>
                  </a:lnTo>
                  <a:lnTo>
                    <a:pt x="957" y="1442"/>
                  </a:lnTo>
                  <a:lnTo>
                    <a:pt x="965" y="1437"/>
                  </a:lnTo>
                  <a:lnTo>
                    <a:pt x="965" y="1429"/>
                  </a:lnTo>
                  <a:lnTo>
                    <a:pt x="969" y="1421"/>
                  </a:lnTo>
                  <a:lnTo>
                    <a:pt x="965" y="1415"/>
                  </a:lnTo>
                  <a:lnTo>
                    <a:pt x="963" y="1408"/>
                  </a:lnTo>
                  <a:lnTo>
                    <a:pt x="961" y="1402"/>
                  </a:lnTo>
                  <a:lnTo>
                    <a:pt x="959" y="1392"/>
                  </a:lnTo>
                  <a:lnTo>
                    <a:pt x="955" y="1387"/>
                  </a:lnTo>
                  <a:lnTo>
                    <a:pt x="951" y="1381"/>
                  </a:lnTo>
                  <a:lnTo>
                    <a:pt x="951" y="1371"/>
                  </a:lnTo>
                  <a:lnTo>
                    <a:pt x="949" y="1366"/>
                  </a:lnTo>
                  <a:lnTo>
                    <a:pt x="946" y="1360"/>
                  </a:lnTo>
                  <a:lnTo>
                    <a:pt x="940" y="1354"/>
                  </a:lnTo>
                  <a:lnTo>
                    <a:pt x="932" y="1352"/>
                  </a:lnTo>
                  <a:lnTo>
                    <a:pt x="925" y="1346"/>
                  </a:lnTo>
                  <a:lnTo>
                    <a:pt x="921" y="1344"/>
                  </a:lnTo>
                  <a:lnTo>
                    <a:pt x="915" y="1344"/>
                  </a:lnTo>
                  <a:lnTo>
                    <a:pt x="909" y="1346"/>
                  </a:lnTo>
                  <a:lnTo>
                    <a:pt x="903" y="1346"/>
                  </a:lnTo>
                  <a:lnTo>
                    <a:pt x="898" y="1343"/>
                  </a:lnTo>
                  <a:lnTo>
                    <a:pt x="890" y="1343"/>
                  </a:lnTo>
                  <a:lnTo>
                    <a:pt x="884" y="1348"/>
                  </a:lnTo>
                  <a:lnTo>
                    <a:pt x="878" y="1348"/>
                  </a:lnTo>
                  <a:lnTo>
                    <a:pt x="871" y="1346"/>
                  </a:lnTo>
                  <a:lnTo>
                    <a:pt x="865" y="1343"/>
                  </a:lnTo>
                  <a:lnTo>
                    <a:pt x="861" y="1341"/>
                  </a:lnTo>
                  <a:lnTo>
                    <a:pt x="857" y="1343"/>
                  </a:lnTo>
                  <a:lnTo>
                    <a:pt x="854" y="1343"/>
                  </a:lnTo>
                  <a:lnTo>
                    <a:pt x="850" y="1339"/>
                  </a:lnTo>
                  <a:lnTo>
                    <a:pt x="846" y="1335"/>
                  </a:lnTo>
                  <a:lnTo>
                    <a:pt x="844" y="1329"/>
                  </a:lnTo>
                  <a:lnTo>
                    <a:pt x="836" y="1325"/>
                  </a:lnTo>
                  <a:lnTo>
                    <a:pt x="830" y="1321"/>
                  </a:lnTo>
                  <a:lnTo>
                    <a:pt x="823" y="1321"/>
                  </a:lnTo>
                  <a:lnTo>
                    <a:pt x="815" y="1318"/>
                  </a:lnTo>
                  <a:lnTo>
                    <a:pt x="807" y="1314"/>
                  </a:lnTo>
                  <a:lnTo>
                    <a:pt x="796" y="1310"/>
                  </a:lnTo>
                  <a:lnTo>
                    <a:pt x="788" y="1312"/>
                  </a:lnTo>
                  <a:lnTo>
                    <a:pt x="781" y="1312"/>
                  </a:lnTo>
                  <a:lnTo>
                    <a:pt x="775" y="1308"/>
                  </a:lnTo>
                  <a:lnTo>
                    <a:pt x="771" y="1300"/>
                  </a:lnTo>
                  <a:lnTo>
                    <a:pt x="765" y="1295"/>
                  </a:lnTo>
                  <a:lnTo>
                    <a:pt x="761" y="1291"/>
                  </a:lnTo>
                  <a:lnTo>
                    <a:pt x="754" y="1287"/>
                  </a:lnTo>
                  <a:lnTo>
                    <a:pt x="744" y="1291"/>
                  </a:lnTo>
                  <a:lnTo>
                    <a:pt x="736" y="1291"/>
                  </a:lnTo>
                  <a:lnTo>
                    <a:pt x="731" y="1285"/>
                  </a:lnTo>
                  <a:lnTo>
                    <a:pt x="725" y="1281"/>
                  </a:lnTo>
                  <a:lnTo>
                    <a:pt x="721" y="1279"/>
                  </a:lnTo>
                  <a:lnTo>
                    <a:pt x="715" y="1283"/>
                  </a:lnTo>
                  <a:lnTo>
                    <a:pt x="708" y="1285"/>
                  </a:lnTo>
                  <a:lnTo>
                    <a:pt x="698" y="1283"/>
                  </a:lnTo>
                  <a:lnTo>
                    <a:pt x="692" y="1279"/>
                  </a:lnTo>
                  <a:lnTo>
                    <a:pt x="687" y="1281"/>
                  </a:lnTo>
                  <a:lnTo>
                    <a:pt x="675" y="1279"/>
                  </a:lnTo>
                  <a:lnTo>
                    <a:pt x="669" y="1273"/>
                  </a:lnTo>
                  <a:lnTo>
                    <a:pt x="665" y="1268"/>
                  </a:lnTo>
                  <a:lnTo>
                    <a:pt x="660" y="1266"/>
                  </a:lnTo>
                  <a:lnTo>
                    <a:pt x="652" y="1262"/>
                  </a:lnTo>
                  <a:lnTo>
                    <a:pt x="648" y="1256"/>
                  </a:lnTo>
                  <a:lnTo>
                    <a:pt x="642" y="1250"/>
                  </a:lnTo>
                  <a:lnTo>
                    <a:pt x="635" y="1249"/>
                  </a:lnTo>
                  <a:lnTo>
                    <a:pt x="625" y="1245"/>
                  </a:lnTo>
                  <a:lnTo>
                    <a:pt x="627" y="1241"/>
                  </a:lnTo>
                  <a:lnTo>
                    <a:pt x="621" y="1235"/>
                  </a:lnTo>
                  <a:lnTo>
                    <a:pt x="614" y="1229"/>
                  </a:lnTo>
                  <a:lnTo>
                    <a:pt x="608" y="1222"/>
                  </a:lnTo>
                  <a:lnTo>
                    <a:pt x="608" y="1214"/>
                  </a:lnTo>
                  <a:lnTo>
                    <a:pt x="610" y="1208"/>
                  </a:lnTo>
                  <a:lnTo>
                    <a:pt x="608" y="1201"/>
                  </a:lnTo>
                  <a:lnTo>
                    <a:pt x="606" y="1193"/>
                  </a:lnTo>
                  <a:lnTo>
                    <a:pt x="604" y="1183"/>
                  </a:lnTo>
                  <a:lnTo>
                    <a:pt x="606" y="1178"/>
                  </a:lnTo>
                  <a:lnTo>
                    <a:pt x="608" y="1174"/>
                  </a:lnTo>
                  <a:lnTo>
                    <a:pt x="610" y="1166"/>
                  </a:lnTo>
                  <a:lnTo>
                    <a:pt x="612" y="1160"/>
                  </a:lnTo>
                  <a:lnTo>
                    <a:pt x="606" y="1153"/>
                  </a:lnTo>
                  <a:lnTo>
                    <a:pt x="602" y="1147"/>
                  </a:lnTo>
                  <a:lnTo>
                    <a:pt x="602" y="1141"/>
                  </a:lnTo>
                  <a:lnTo>
                    <a:pt x="602" y="1133"/>
                  </a:lnTo>
                  <a:lnTo>
                    <a:pt x="606" y="1128"/>
                  </a:lnTo>
                  <a:lnTo>
                    <a:pt x="606" y="1120"/>
                  </a:lnTo>
                  <a:lnTo>
                    <a:pt x="606" y="1112"/>
                  </a:lnTo>
                  <a:lnTo>
                    <a:pt x="606" y="1107"/>
                  </a:lnTo>
                  <a:lnTo>
                    <a:pt x="604" y="1099"/>
                  </a:lnTo>
                  <a:lnTo>
                    <a:pt x="600" y="1091"/>
                  </a:lnTo>
                  <a:lnTo>
                    <a:pt x="596" y="1084"/>
                  </a:lnTo>
                  <a:lnTo>
                    <a:pt x="593" y="1078"/>
                  </a:lnTo>
                  <a:lnTo>
                    <a:pt x="585" y="1078"/>
                  </a:lnTo>
                  <a:lnTo>
                    <a:pt x="581" y="1082"/>
                  </a:lnTo>
                  <a:lnTo>
                    <a:pt x="571" y="1084"/>
                  </a:lnTo>
                  <a:lnTo>
                    <a:pt x="570" y="1076"/>
                  </a:lnTo>
                  <a:lnTo>
                    <a:pt x="564" y="1070"/>
                  </a:lnTo>
                  <a:lnTo>
                    <a:pt x="558" y="1066"/>
                  </a:lnTo>
                  <a:lnTo>
                    <a:pt x="548" y="1070"/>
                  </a:lnTo>
                  <a:lnTo>
                    <a:pt x="539" y="1072"/>
                  </a:lnTo>
                  <a:lnTo>
                    <a:pt x="531" y="1076"/>
                  </a:lnTo>
                  <a:lnTo>
                    <a:pt x="527" y="1078"/>
                  </a:lnTo>
                  <a:lnTo>
                    <a:pt x="525" y="1078"/>
                  </a:lnTo>
                  <a:lnTo>
                    <a:pt x="516" y="1080"/>
                  </a:lnTo>
                  <a:lnTo>
                    <a:pt x="508" y="1084"/>
                  </a:lnTo>
                  <a:lnTo>
                    <a:pt x="499" y="1087"/>
                  </a:lnTo>
                  <a:lnTo>
                    <a:pt x="495" y="1091"/>
                  </a:lnTo>
                  <a:lnTo>
                    <a:pt x="491" y="1097"/>
                  </a:lnTo>
                  <a:lnTo>
                    <a:pt x="485" y="1101"/>
                  </a:lnTo>
                  <a:lnTo>
                    <a:pt x="479" y="1105"/>
                  </a:lnTo>
                  <a:lnTo>
                    <a:pt x="472" y="1108"/>
                  </a:lnTo>
                  <a:lnTo>
                    <a:pt x="468" y="1112"/>
                  </a:lnTo>
                  <a:lnTo>
                    <a:pt x="460" y="1120"/>
                  </a:lnTo>
                  <a:lnTo>
                    <a:pt x="456" y="1126"/>
                  </a:lnTo>
                  <a:lnTo>
                    <a:pt x="447" y="1130"/>
                  </a:lnTo>
                  <a:lnTo>
                    <a:pt x="443" y="1133"/>
                  </a:lnTo>
                  <a:lnTo>
                    <a:pt x="435" y="1135"/>
                  </a:lnTo>
                  <a:lnTo>
                    <a:pt x="429" y="1135"/>
                  </a:lnTo>
                  <a:lnTo>
                    <a:pt x="422" y="1137"/>
                  </a:lnTo>
                  <a:lnTo>
                    <a:pt x="410" y="1137"/>
                  </a:lnTo>
                  <a:lnTo>
                    <a:pt x="406" y="1137"/>
                  </a:lnTo>
                  <a:lnTo>
                    <a:pt x="399" y="1141"/>
                  </a:lnTo>
                  <a:lnTo>
                    <a:pt x="393" y="1139"/>
                  </a:lnTo>
                  <a:lnTo>
                    <a:pt x="389" y="1137"/>
                  </a:lnTo>
                  <a:lnTo>
                    <a:pt x="385" y="1137"/>
                  </a:lnTo>
                  <a:lnTo>
                    <a:pt x="381" y="1143"/>
                  </a:lnTo>
                  <a:lnTo>
                    <a:pt x="378" y="1149"/>
                  </a:lnTo>
                  <a:lnTo>
                    <a:pt x="374" y="1151"/>
                  </a:lnTo>
                  <a:lnTo>
                    <a:pt x="370" y="1153"/>
                  </a:lnTo>
                  <a:lnTo>
                    <a:pt x="362" y="1153"/>
                  </a:lnTo>
                  <a:lnTo>
                    <a:pt x="358" y="1156"/>
                  </a:lnTo>
                  <a:lnTo>
                    <a:pt x="353" y="1158"/>
                  </a:lnTo>
                  <a:lnTo>
                    <a:pt x="347" y="1156"/>
                  </a:lnTo>
                  <a:lnTo>
                    <a:pt x="339" y="1155"/>
                  </a:lnTo>
                  <a:lnTo>
                    <a:pt x="326" y="1156"/>
                  </a:lnTo>
                  <a:lnTo>
                    <a:pt x="318" y="1155"/>
                  </a:lnTo>
                  <a:lnTo>
                    <a:pt x="307" y="1155"/>
                  </a:lnTo>
                  <a:lnTo>
                    <a:pt x="299" y="1155"/>
                  </a:lnTo>
                  <a:lnTo>
                    <a:pt x="287" y="1156"/>
                  </a:lnTo>
                  <a:lnTo>
                    <a:pt x="280" y="1158"/>
                  </a:lnTo>
                  <a:lnTo>
                    <a:pt x="272" y="1162"/>
                  </a:lnTo>
                  <a:lnTo>
                    <a:pt x="264" y="1164"/>
                  </a:lnTo>
                  <a:lnTo>
                    <a:pt x="255" y="1164"/>
                  </a:lnTo>
                  <a:lnTo>
                    <a:pt x="249" y="1160"/>
                  </a:lnTo>
                  <a:lnTo>
                    <a:pt x="245" y="1155"/>
                  </a:lnTo>
                  <a:lnTo>
                    <a:pt x="245" y="1151"/>
                  </a:lnTo>
                  <a:lnTo>
                    <a:pt x="241" y="1145"/>
                  </a:lnTo>
                  <a:lnTo>
                    <a:pt x="239" y="1139"/>
                  </a:lnTo>
                  <a:lnTo>
                    <a:pt x="239" y="1130"/>
                  </a:lnTo>
                  <a:lnTo>
                    <a:pt x="241" y="1120"/>
                  </a:lnTo>
                  <a:lnTo>
                    <a:pt x="241" y="1114"/>
                  </a:lnTo>
                  <a:lnTo>
                    <a:pt x="243" y="1107"/>
                  </a:lnTo>
                  <a:lnTo>
                    <a:pt x="241" y="1103"/>
                  </a:lnTo>
                  <a:lnTo>
                    <a:pt x="241" y="1095"/>
                  </a:lnTo>
                  <a:lnTo>
                    <a:pt x="241" y="1078"/>
                  </a:lnTo>
                  <a:lnTo>
                    <a:pt x="241" y="1070"/>
                  </a:lnTo>
                  <a:lnTo>
                    <a:pt x="241" y="1062"/>
                  </a:lnTo>
                  <a:lnTo>
                    <a:pt x="241" y="1057"/>
                  </a:lnTo>
                  <a:lnTo>
                    <a:pt x="239" y="1053"/>
                  </a:lnTo>
                  <a:lnTo>
                    <a:pt x="232" y="1053"/>
                  </a:lnTo>
                  <a:lnTo>
                    <a:pt x="228" y="1055"/>
                  </a:lnTo>
                  <a:lnTo>
                    <a:pt x="224" y="1055"/>
                  </a:lnTo>
                  <a:lnTo>
                    <a:pt x="218" y="1059"/>
                  </a:lnTo>
                  <a:lnTo>
                    <a:pt x="211" y="1061"/>
                  </a:lnTo>
                  <a:lnTo>
                    <a:pt x="207" y="1062"/>
                  </a:lnTo>
                  <a:lnTo>
                    <a:pt x="203" y="1068"/>
                  </a:lnTo>
                  <a:lnTo>
                    <a:pt x="193" y="1074"/>
                  </a:lnTo>
                  <a:lnTo>
                    <a:pt x="188" y="1078"/>
                  </a:lnTo>
                  <a:lnTo>
                    <a:pt x="186" y="1084"/>
                  </a:lnTo>
                  <a:lnTo>
                    <a:pt x="178" y="1087"/>
                  </a:lnTo>
                  <a:lnTo>
                    <a:pt x="168" y="1085"/>
                  </a:lnTo>
                  <a:lnTo>
                    <a:pt x="163" y="1085"/>
                  </a:lnTo>
                  <a:lnTo>
                    <a:pt x="159" y="1091"/>
                  </a:lnTo>
                  <a:lnTo>
                    <a:pt x="153" y="1093"/>
                  </a:lnTo>
                  <a:lnTo>
                    <a:pt x="147" y="1091"/>
                  </a:lnTo>
                  <a:lnTo>
                    <a:pt x="142" y="1091"/>
                  </a:lnTo>
                  <a:lnTo>
                    <a:pt x="136" y="1087"/>
                  </a:lnTo>
                  <a:lnTo>
                    <a:pt x="132" y="1082"/>
                  </a:lnTo>
                  <a:lnTo>
                    <a:pt x="130" y="1076"/>
                  </a:lnTo>
                  <a:lnTo>
                    <a:pt x="130" y="1072"/>
                  </a:lnTo>
                  <a:lnTo>
                    <a:pt x="122" y="1070"/>
                  </a:lnTo>
                  <a:lnTo>
                    <a:pt x="117" y="1066"/>
                  </a:lnTo>
                  <a:lnTo>
                    <a:pt x="111" y="1062"/>
                  </a:lnTo>
                  <a:lnTo>
                    <a:pt x="103" y="1059"/>
                  </a:lnTo>
                  <a:lnTo>
                    <a:pt x="96" y="1059"/>
                  </a:lnTo>
                  <a:lnTo>
                    <a:pt x="90" y="1055"/>
                  </a:lnTo>
                  <a:lnTo>
                    <a:pt x="84" y="1051"/>
                  </a:lnTo>
                  <a:lnTo>
                    <a:pt x="76" y="1047"/>
                  </a:lnTo>
                  <a:lnTo>
                    <a:pt x="71" y="1047"/>
                  </a:lnTo>
                  <a:lnTo>
                    <a:pt x="65" y="1051"/>
                  </a:lnTo>
                  <a:lnTo>
                    <a:pt x="61" y="1047"/>
                  </a:lnTo>
                  <a:lnTo>
                    <a:pt x="59" y="1043"/>
                  </a:lnTo>
                  <a:lnTo>
                    <a:pt x="63" y="1037"/>
                  </a:lnTo>
                  <a:lnTo>
                    <a:pt x="65" y="1032"/>
                  </a:lnTo>
                  <a:lnTo>
                    <a:pt x="67" y="1028"/>
                  </a:lnTo>
                  <a:lnTo>
                    <a:pt x="67" y="1022"/>
                  </a:lnTo>
                  <a:lnTo>
                    <a:pt x="67" y="1016"/>
                  </a:lnTo>
                  <a:lnTo>
                    <a:pt x="63" y="1013"/>
                  </a:lnTo>
                  <a:lnTo>
                    <a:pt x="63" y="1007"/>
                  </a:lnTo>
                  <a:lnTo>
                    <a:pt x="59" y="1003"/>
                  </a:lnTo>
                  <a:lnTo>
                    <a:pt x="55" y="995"/>
                  </a:lnTo>
                  <a:lnTo>
                    <a:pt x="49" y="993"/>
                  </a:lnTo>
                  <a:lnTo>
                    <a:pt x="46" y="988"/>
                  </a:lnTo>
                  <a:lnTo>
                    <a:pt x="36" y="982"/>
                  </a:lnTo>
                  <a:lnTo>
                    <a:pt x="36" y="976"/>
                  </a:lnTo>
                  <a:lnTo>
                    <a:pt x="34" y="970"/>
                  </a:lnTo>
                  <a:lnTo>
                    <a:pt x="30" y="965"/>
                  </a:lnTo>
                  <a:lnTo>
                    <a:pt x="25" y="961"/>
                  </a:lnTo>
                  <a:lnTo>
                    <a:pt x="21" y="957"/>
                  </a:lnTo>
                  <a:lnTo>
                    <a:pt x="23" y="953"/>
                  </a:lnTo>
                  <a:lnTo>
                    <a:pt x="17" y="949"/>
                  </a:lnTo>
                  <a:lnTo>
                    <a:pt x="15" y="943"/>
                  </a:lnTo>
                  <a:lnTo>
                    <a:pt x="13" y="938"/>
                  </a:lnTo>
                  <a:lnTo>
                    <a:pt x="7" y="934"/>
                  </a:lnTo>
                  <a:lnTo>
                    <a:pt x="3" y="926"/>
                  </a:lnTo>
                  <a:lnTo>
                    <a:pt x="3" y="919"/>
                  </a:lnTo>
                  <a:lnTo>
                    <a:pt x="2" y="911"/>
                  </a:lnTo>
                  <a:lnTo>
                    <a:pt x="5" y="907"/>
                  </a:lnTo>
                  <a:lnTo>
                    <a:pt x="5" y="903"/>
                  </a:lnTo>
                  <a:lnTo>
                    <a:pt x="2" y="899"/>
                  </a:lnTo>
                  <a:lnTo>
                    <a:pt x="2" y="896"/>
                  </a:lnTo>
                  <a:lnTo>
                    <a:pt x="0" y="892"/>
                  </a:lnTo>
                  <a:lnTo>
                    <a:pt x="0" y="888"/>
                  </a:lnTo>
                  <a:lnTo>
                    <a:pt x="3" y="884"/>
                  </a:lnTo>
                  <a:lnTo>
                    <a:pt x="5" y="878"/>
                  </a:lnTo>
                  <a:lnTo>
                    <a:pt x="7" y="874"/>
                  </a:lnTo>
                  <a:lnTo>
                    <a:pt x="11" y="871"/>
                  </a:lnTo>
                  <a:lnTo>
                    <a:pt x="15" y="865"/>
                  </a:lnTo>
                  <a:lnTo>
                    <a:pt x="19" y="863"/>
                  </a:lnTo>
                  <a:lnTo>
                    <a:pt x="21" y="857"/>
                  </a:lnTo>
                  <a:lnTo>
                    <a:pt x="26" y="853"/>
                  </a:lnTo>
                  <a:lnTo>
                    <a:pt x="30" y="848"/>
                  </a:lnTo>
                  <a:lnTo>
                    <a:pt x="32" y="842"/>
                  </a:lnTo>
                  <a:lnTo>
                    <a:pt x="34" y="836"/>
                  </a:lnTo>
                  <a:lnTo>
                    <a:pt x="36" y="828"/>
                  </a:lnTo>
                  <a:lnTo>
                    <a:pt x="36" y="821"/>
                  </a:lnTo>
                  <a:lnTo>
                    <a:pt x="38" y="815"/>
                  </a:lnTo>
                  <a:lnTo>
                    <a:pt x="36" y="809"/>
                  </a:lnTo>
                  <a:lnTo>
                    <a:pt x="36" y="802"/>
                  </a:lnTo>
                  <a:lnTo>
                    <a:pt x="48" y="790"/>
                  </a:lnTo>
                  <a:lnTo>
                    <a:pt x="55" y="779"/>
                  </a:lnTo>
                  <a:lnTo>
                    <a:pt x="53" y="765"/>
                  </a:lnTo>
                  <a:lnTo>
                    <a:pt x="53" y="757"/>
                  </a:lnTo>
                  <a:lnTo>
                    <a:pt x="57" y="744"/>
                  </a:lnTo>
                  <a:lnTo>
                    <a:pt x="61" y="742"/>
                  </a:lnTo>
                  <a:lnTo>
                    <a:pt x="69" y="742"/>
                  </a:lnTo>
                  <a:lnTo>
                    <a:pt x="74" y="736"/>
                  </a:lnTo>
                  <a:lnTo>
                    <a:pt x="80" y="732"/>
                  </a:lnTo>
                  <a:lnTo>
                    <a:pt x="88" y="729"/>
                  </a:lnTo>
                  <a:lnTo>
                    <a:pt x="92" y="723"/>
                  </a:lnTo>
                  <a:lnTo>
                    <a:pt x="99" y="719"/>
                  </a:lnTo>
                  <a:lnTo>
                    <a:pt x="103" y="717"/>
                  </a:lnTo>
                  <a:lnTo>
                    <a:pt x="109" y="713"/>
                  </a:lnTo>
                  <a:lnTo>
                    <a:pt x="113" y="709"/>
                  </a:lnTo>
                  <a:lnTo>
                    <a:pt x="120" y="706"/>
                  </a:lnTo>
                  <a:lnTo>
                    <a:pt x="126" y="706"/>
                  </a:lnTo>
                  <a:lnTo>
                    <a:pt x="132" y="704"/>
                  </a:lnTo>
                  <a:lnTo>
                    <a:pt x="142" y="702"/>
                  </a:lnTo>
                  <a:lnTo>
                    <a:pt x="147" y="702"/>
                  </a:lnTo>
                  <a:lnTo>
                    <a:pt x="155" y="702"/>
                  </a:lnTo>
                  <a:lnTo>
                    <a:pt x="165" y="700"/>
                  </a:lnTo>
                  <a:lnTo>
                    <a:pt x="172" y="694"/>
                  </a:lnTo>
                  <a:lnTo>
                    <a:pt x="180" y="692"/>
                  </a:lnTo>
                  <a:lnTo>
                    <a:pt x="186" y="690"/>
                  </a:lnTo>
                  <a:lnTo>
                    <a:pt x="191" y="688"/>
                  </a:lnTo>
                  <a:lnTo>
                    <a:pt x="195" y="684"/>
                  </a:lnTo>
                  <a:lnTo>
                    <a:pt x="207" y="684"/>
                  </a:lnTo>
                  <a:lnTo>
                    <a:pt x="211" y="677"/>
                  </a:lnTo>
                  <a:lnTo>
                    <a:pt x="215" y="673"/>
                  </a:lnTo>
                  <a:lnTo>
                    <a:pt x="222" y="675"/>
                  </a:lnTo>
                  <a:lnTo>
                    <a:pt x="228" y="673"/>
                  </a:lnTo>
                  <a:lnTo>
                    <a:pt x="239" y="673"/>
                  </a:lnTo>
                  <a:lnTo>
                    <a:pt x="247" y="677"/>
                  </a:lnTo>
                  <a:lnTo>
                    <a:pt x="251" y="679"/>
                  </a:lnTo>
                  <a:lnTo>
                    <a:pt x="257" y="683"/>
                  </a:lnTo>
                  <a:lnTo>
                    <a:pt x="261" y="679"/>
                  </a:lnTo>
                  <a:lnTo>
                    <a:pt x="262" y="677"/>
                  </a:lnTo>
                  <a:lnTo>
                    <a:pt x="268" y="677"/>
                  </a:lnTo>
                  <a:lnTo>
                    <a:pt x="274" y="675"/>
                  </a:lnTo>
                  <a:lnTo>
                    <a:pt x="276" y="669"/>
                  </a:lnTo>
                  <a:lnTo>
                    <a:pt x="280" y="660"/>
                  </a:lnTo>
                  <a:lnTo>
                    <a:pt x="280" y="648"/>
                  </a:lnTo>
                  <a:lnTo>
                    <a:pt x="284" y="631"/>
                  </a:lnTo>
                  <a:lnTo>
                    <a:pt x="286" y="615"/>
                  </a:lnTo>
                  <a:lnTo>
                    <a:pt x="289" y="594"/>
                  </a:lnTo>
                  <a:lnTo>
                    <a:pt x="289" y="573"/>
                  </a:lnTo>
                  <a:lnTo>
                    <a:pt x="293" y="548"/>
                  </a:lnTo>
                  <a:lnTo>
                    <a:pt x="295" y="523"/>
                  </a:lnTo>
                  <a:lnTo>
                    <a:pt x="295" y="500"/>
                  </a:lnTo>
                  <a:lnTo>
                    <a:pt x="295" y="483"/>
                  </a:lnTo>
                  <a:lnTo>
                    <a:pt x="297" y="473"/>
                  </a:lnTo>
                  <a:lnTo>
                    <a:pt x="293" y="464"/>
                  </a:lnTo>
                  <a:lnTo>
                    <a:pt x="299" y="454"/>
                  </a:lnTo>
                  <a:lnTo>
                    <a:pt x="299" y="443"/>
                  </a:lnTo>
                  <a:lnTo>
                    <a:pt x="293" y="437"/>
                  </a:lnTo>
                  <a:lnTo>
                    <a:pt x="291" y="427"/>
                  </a:lnTo>
                  <a:lnTo>
                    <a:pt x="293" y="416"/>
                  </a:lnTo>
                  <a:lnTo>
                    <a:pt x="287" y="406"/>
                  </a:lnTo>
                  <a:lnTo>
                    <a:pt x="280" y="402"/>
                  </a:lnTo>
                  <a:lnTo>
                    <a:pt x="272" y="402"/>
                  </a:lnTo>
                  <a:lnTo>
                    <a:pt x="264" y="395"/>
                  </a:lnTo>
                  <a:lnTo>
                    <a:pt x="257" y="389"/>
                  </a:lnTo>
                  <a:lnTo>
                    <a:pt x="257" y="378"/>
                  </a:lnTo>
                  <a:lnTo>
                    <a:pt x="261" y="370"/>
                  </a:lnTo>
                  <a:lnTo>
                    <a:pt x="261" y="353"/>
                  </a:lnTo>
                  <a:lnTo>
                    <a:pt x="259" y="337"/>
                  </a:lnTo>
                  <a:lnTo>
                    <a:pt x="268" y="330"/>
                  </a:lnTo>
                  <a:lnTo>
                    <a:pt x="282" y="324"/>
                  </a:lnTo>
                  <a:lnTo>
                    <a:pt x="299" y="316"/>
                  </a:lnTo>
                  <a:lnTo>
                    <a:pt x="301" y="305"/>
                  </a:lnTo>
                  <a:lnTo>
                    <a:pt x="293" y="299"/>
                  </a:lnTo>
                  <a:lnTo>
                    <a:pt x="280" y="297"/>
                  </a:lnTo>
                  <a:lnTo>
                    <a:pt x="270" y="289"/>
                  </a:lnTo>
                  <a:lnTo>
                    <a:pt x="268" y="274"/>
                  </a:lnTo>
                  <a:lnTo>
                    <a:pt x="270" y="259"/>
                  </a:lnTo>
                  <a:lnTo>
                    <a:pt x="280" y="253"/>
                  </a:lnTo>
                  <a:lnTo>
                    <a:pt x="289" y="253"/>
                  </a:lnTo>
                  <a:lnTo>
                    <a:pt x="312" y="251"/>
                  </a:lnTo>
                  <a:lnTo>
                    <a:pt x="332" y="249"/>
                  </a:lnTo>
                  <a:lnTo>
                    <a:pt x="347" y="249"/>
                  </a:lnTo>
                  <a:lnTo>
                    <a:pt x="362" y="249"/>
                  </a:lnTo>
                  <a:lnTo>
                    <a:pt x="374" y="251"/>
                  </a:lnTo>
                  <a:lnTo>
                    <a:pt x="378" y="245"/>
                  </a:lnTo>
                  <a:lnTo>
                    <a:pt x="378" y="237"/>
                  </a:lnTo>
                  <a:lnTo>
                    <a:pt x="378" y="232"/>
                  </a:lnTo>
                  <a:lnTo>
                    <a:pt x="380" y="228"/>
                  </a:lnTo>
                  <a:lnTo>
                    <a:pt x="383" y="224"/>
                  </a:lnTo>
                  <a:lnTo>
                    <a:pt x="389" y="224"/>
                  </a:lnTo>
                  <a:lnTo>
                    <a:pt x="395" y="224"/>
                  </a:lnTo>
                  <a:lnTo>
                    <a:pt x="399" y="230"/>
                  </a:lnTo>
                  <a:lnTo>
                    <a:pt x="401" y="236"/>
                  </a:lnTo>
                  <a:lnTo>
                    <a:pt x="404" y="241"/>
                  </a:lnTo>
                  <a:lnTo>
                    <a:pt x="410" y="245"/>
                  </a:lnTo>
                  <a:lnTo>
                    <a:pt x="414" y="243"/>
                  </a:lnTo>
                  <a:lnTo>
                    <a:pt x="418" y="237"/>
                  </a:lnTo>
                  <a:lnTo>
                    <a:pt x="422" y="234"/>
                  </a:lnTo>
                  <a:lnTo>
                    <a:pt x="424" y="224"/>
                  </a:lnTo>
                  <a:lnTo>
                    <a:pt x="428" y="218"/>
                  </a:lnTo>
                  <a:lnTo>
                    <a:pt x="437" y="218"/>
                  </a:lnTo>
                  <a:lnTo>
                    <a:pt x="454" y="218"/>
                  </a:lnTo>
                  <a:lnTo>
                    <a:pt x="458" y="224"/>
                  </a:lnTo>
                  <a:lnTo>
                    <a:pt x="462" y="236"/>
                  </a:lnTo>
                  <a:lnTo>
                    <a:pt x="466" y="249"/>
                  </a:lnTo>
                  <a:lnTo>
                    <a:pt x="468" y="259"/>
                  </a:lnTo>
                  <a:lnTo>
                    <a:pt x="468" y="262"/>
                  </a:lnTo>
                  <a:lnTo>
                    <a:pt x="464" y="266"/>
                  </a:lnTo>
                  <a:lnTo>
                    <a:pt x="464" y="270"/>
                  </a:lnTo>
                  <a:lnTo>
                    <a:pt x="462" y="276"/>
                  </a:lnTo>
                  <a:lnTo>
                    <a:pt x="470" y="280"/>
                  </a:lnTo>
                  <a:lnTo>
                    <a:pt x="479" y="280"/>
                  </a:lnTo>
                  <a:lnTo>
                    <a:pt x="489" y="282"/>
                  </a:lnTo>
                  <a:lnTo>
                    <a:pt x="502" y="285"/>
                  </a:lnTo>
                  <a:lnTo>
                    <a:pt x="510" y="297"/>
                  </a:lnTo>
                  <a:lnTo>
                    <a:pt x="527" y="303"/>
                  </a:lnTo>
                  <a:lnTo>
                    <a:pt x="533" y="310"/>
                  </a:lnTo>
                  <a:lnTo>
                    <a:pt x="543" y="314"/>
                  </a:lnTo>
                  <a:lnTo>
                    <a:pt x="556" y="310"/>
                  </a:lnTo>
                  <a:lnTo>
                    <a:pt x="568" y="308"/>
                  </a:lnTo>
                  <a:lnTo>
                    <a:pt x="585" y="307"/>
                  </a:lnTo>
                  <a:lnTo>
                    <a:pt x="598" y="303"/>
                  </a:lnTo>
                  <a:lnTo>
                    <a:pt x="600" y="291"/>
                  </a:lnTo>
                  <a:lnTo>
                    <a:pt x="606" y="276"/>
                  </a:lnTo>
                  <a:lnTo>
                    <a:pt x="623" y="278"/>
                  </a:lnTo>
                  <a:lnTo>
                    <a:pt x="635" y="270"/>
                  </a:lnTo>
                  <a:lnTo>
                    <a:pt x="637" y="262"/>
                  </a:lnTo>
                  <a:lnTo>
                    <a:pt x="652" y="249"/>
                  </a:lnTo>
                  <a:lnTo>
                    <a:pt x="660" y="237"/>
                  </a:lnTo>
                  <a:lnTo>
                    <a:pt x="669" y="239"/>
                  </a:lnTo>
                  <a:lnTo>
                    <a:pt x="683" y="237"/>
                  </a:lnTo>
                  <a:lnTo>
                    <a:pt x="696" y="232"/>
                  </a:lnTo>
                  <a:lnTo>
                    <a:pt x="706" y="230"/>
                  </a:lnTo>
                  <a:lnTo>
                    <a:pt x="713" y="222"/>
                  </a:lnTo>
                  <a:lnTo>
                    <a:pt x="725" y="222"/>
                  </a:lnTo>
                  <a:lnTo>
                    <a:pt x="736" y="216"/>
                  </a:lnTo>
                  <a:lnTo>
                    <a:pt x="731" y="213"/>
                  </a:lnTo>
                  <a:lnTo>
                    <a:pt x="719" y="211"/>
                  </a:lnTo>
                  <a:lnTo>
                    <a:pt x="708" y="213"/>
                  </a:lnTo>
                  <a:lnTo>
                    <a:pt x="698" y="213"/>
                  </a:lnTo>
                  <a:lnTo>
                    <a:pt x="692" y="205"/>
                  </a:lnTo>
                  <a:lnTo>
                    <a:pt x="681" y="203"/>
                  </a:lnTo>
                  <a:lnTo>
                    <a:pt x="677" y="195"/>
                  </a:lnTo>
                  <a:lnTo>
                    <a:pt x="671" y="190"/>
                  </a:lnTo>
                  <a:lnTo>
                    <a:pt x="671" y="186"/>
                  </a:lnTo>
                  <a:lnTo>
                    <a:pt x="675" y="176"/>
                  </a:lnTo>
                  <a:lnTo>
                    <a:pt x="667" y="168"/>
                  </a:lnTo>
                  <a:lnTo>
                    <a:pt x="667" y="159"/>
                  </a:lnTo>
                  <a:lnTo>
                    <a:pt x="667" y="151"/>
                  </a:lnTo>
                  <a:lnTo>
                    <a:pt x="667" y="143"/>
                  </a:lnTo>
                  <a:lnTo>
                    <a:pt x="667" y="136"/>
                  </a:lnTo>
                  <a:lnTo>
                    <a:pt x="673" y="132"/>
                  </a:lnTo>
                  <a:lnTo>
                    <a:pt x="679" y="124"/>
                  </a:lnTo>
                  <a:lnTo>
                    <a:pt x="675" y="115"/>
                  </a:lnTo>
                  <a:lnTo>
                    <a:pt x="667" y="109"/>
                  </a:lnTo>
                  <a:lnTo>
                    <a:pt x="660" y="105"/>
                  </a:lnTo>
                  <a:lnTo>
                    <a:pt x="652" y="101"/>
                  </a:lnTo>
                  <a:lnTo>
                    <a:pt x="644" y="92"/>
                  </a:lnTo>
                  <a:lnTo>
                    <a:pt x="644" y="82"/>
                  </a:lnTo>
                  <a:lnTo>
                    <a:pt x="650" y="76"/>
                  </a:lnTo>
                  <a:lnTo>
                    <a:pt x="658" y="72"/>
                  </a:lnTo>
                  <a:lnTo>
                    <a:pt x="667" y="69"/>
                  </a:lnTo>
                  <a:lnTo>
                    <a:pt x="675" y="72"/>
                  </a:lnTo>
                  <a:lnTo>
                    <a:pt x="687" y="76"/>
                  </a:lnTo>
                  <a:lnTo>
                    <a:pt x="694" y="80"/>
                  </a:lnTo>
                  <a:lnTo>
                    <a:pt x="708" y="84"/>
                  </a:lnTo>
                  <a:lnTo>
                    <a:pt x="715" y="90"/>
                  </a:lnTo>
                  <a:lnTo>
                    <a:pt x="727" y="92"/>
                  </a:lnTo>
                  <a:lnTo>
                    <a:pt x="735" y="96"/>
                  </a:lnTo>
                  <a:lnTo>
                    <a:pt x="746" y="96"/>
                  </a:lnTo>
                  <a:lnTo>
                    <a:pt x="756" y="96"/>
                  </a:lnTo>
                  <a:lnTo>
                    <a:pt x="763" y="96"/>
                  </a:lnTo>
                  <a:lnTo>
                    <a:pt x="769" y="92"/>
                  </a:lnTo>
                  <a:lnTo>
                    <a:pt x="773" y="86"/>
                  </a:lnTo>
                  <a:lnTo>
                    <a:pt x="779" y="82"/>
                  </a:lnTo>
                  <a:lnTo>
                    <a:pt x="788" y="76"/>
                  </a:lnTo>
                  <a:lnTo>
                    <a:pt x="794" y="74"/>
                  </a:lnTo>
                  <a:lnTo>
                    <a:pt x="804" y="76"/>
                  </a:lnTo>
                  <a:lnTo>
                    <a:pt x="809" y="74"/>
                  </a:lnTo>
                  <a:lnTo>
                    <a:pt x="817" y="71"/>
                  </a:lnTo>
                  <a:lnTo>
                    <a:pt x="825" y="69"/>
                  </a:lnTo>
                  <a:lnTo>
                    <a:pt x="830" y="69"/>
                  </a:lnTo>
                  <a:lnTo>
                    <a:pt x="840" y="67"/>
                  </a:lnTo>
                  <a:lnTo>
                    <a:pt x="850" y="67"/>
                  </a:lnTo>
                  <a:lnTo>
                    <a:pt x="859" y="61"/>
                  </a:lnTo>
                  <a:lnTo>
                    <a:pt x="863" y="55"/>
                  </a:lnTo>
                  <a:lnTo>
                    <a:pt x="869" y="53"/>
                  </a:lnTo>
                  <a:lnTo>
                    <a:pt x="878" y="51"/>
                  </a:lnTo>
                  <a:lnTo>
                    <a:pt x="888" y="49"/>
                  </a:lnTo>
                  <a:lnTo>
                    <a:pt x="898" y="42"/>
                  </a:lnTo>
                  <a:lnTo>
                    <a:pt x="901" y="36"/>
                  </a:lnTo>
                  <a:lnTo>
                    <a:pt x="905" y="32"/>
                  </a:lnTo>
                  <a:lnTo>
                    <a:pt x="909" y="26"/>
                  </a:lnTo>
                  <a:lnTo>
                    <a:pt x="915" y="23"/>
                  </a:lnTo>
                  <a:lnTo>
                    <a:pt x="921" y="21"/>
                  </a:lnTo>
                  <a:lnTo>
                    <a:pt x="925" y="15"/>
                  </a:lnTo>
                  <a:lnTo>
                    <a:pt x="926" y="9"/>
                  </a:lnTo>
                  <a:lnTo>
                    <a:pt x="919" y="5"/>
                  </a:lnTo>
                  <a:lnTo>
                    <a:pt x="923" y="0"/>
                  </a:lnTo>
                  <a:lnTo>
                    <a:pt x="932" y="0"/>
                  </a:lnTo>
                  <a:lnTo>
                    <a:pt x="940" y="0"/>
                  </a:lnTo>
                  <a:lnTo>
                    <a:pt x="949" y="2"/>
                  </a:lnTo>
                  <a:lnTo>
                    <a:pt x="955" y="3"/>
                  </a:lnTo>
                  <a:lnTo>
                    <a:pt x="959" y="7"/>
                  </a:lnTo>
                  <a:lnTo>
                    <a:pt x="963" y="13"/>
                  </a:lnTo>
                  <a:lnTo>
                    <a:pt x="963" y="25"/>
                  </a:lnTo>
                  <a:lnTo>
                    <a:pt x="963" y="34"/>
                  </a:lnTo>
                  <a:lnTo>
                    <a:pt x="963" y="42"/>
                  </a:lnTo>
                  <a:lnTo>
                    <a:pt x="967" y="48"/>
                  </a:lnTo>
                  <a:lnTo>
                    <a:pt x="971" y="49"/>
                  </a:lnTo>
                  <a:lnTo>
                    <a:pt x="976" y="53"/>
                  </a:lnTo>
                  <a:lnTo>
                    <a:pt x="982" y="57"/>
                  </a:lnTo>
                  <a:lnTo>
                    <a:pt x="984" y="65"/>
                  </a:lnTo>
                  <a:lnTo>
                    <a:pt x="984" y="71"/>
                  </a:lnTo>
                  <a:lnTo>
                    <a:pt x="986" y="76"/>
                  </a:lnTo>
                  <a:lnTo>
                    <a:pt x="992" y="78"/>
                  </a:lnTo>
                  <a:lnTo>
                    <a:pt x="999" y="86"/>
                  </a:lnTo>
                  <a:lnTo>
                    <a:pt x="997" y="92"/>
                  </a:lnTo>
                  <a:lnTo>
                    <a:pt x="992" y="101"/>
                  </a:lnTo>
                  <a:lnTo>
                    <a:pt x="986" y="107"/>
                  </a:lnTo>
                  <a:lnTo>
                    <a:pt x="982" y="109"/>
                  </a:lnTo>
                  <a:lnTo>
                    <a:pt x="978" y="111"/>
                  </a:lnTo>
                  <a:lnTo>
                    <a:pt x="980" y="115"/>
                  </a:lnTo>
                  <a:lnTo>
                    <a:pt x="980" y="119"/>
                  </a:lnTo>
                  <a:lnTo>
                    <a:pt x="974" y="128"/>
                  </a:lnTo>
                  <a:lnTo>
                    <a:pt x="972" y="134"/>
                  </a:lnTo>
                  <a:lnTo>
                    <a:pt x="972" y="140"/>
                  </a:lnTo>
                  <a:lnTo>
                    <a:pt x="967" y="147"/>
                  </a:lnTo>
                  <a:lnTo>
                    <a:pt x="969" y="151"/>
                  </a:lnTo>
                  <a:lnTo>
                    <a:pt x="967" y="159"/>
                  </a:lnTo>
                  <a:lnTo>
                    <a:pt x="969" y="170"/>
                  </a:lnTo>
                  <a:lnTo>
                    <a:pt x="972" y="176"/>
                  </a:lnTo>
                  <a:lnTo>
                    <a:pt x="976" y="182"/>
                  </a:lnTo>
                  <a:lnTo>
                    <a:pt x="976" y="190"/>
                  </a:lnTo>
                  <a:lnTo>
                    <a:pt x="974" y="197"/>
                  </a:lnTo>
                  <a:lnTo>
                    <a:pt x="978" y="201"/>
                  </a:lnTo>
                  <a:lnTo>
                    <a:pt x="984" y="203"/>
                  </a:lnTo>
                  <a:lnTo>
                    <a:pt x="984" y="211"/>
                  </a:lnTo>
                  <a:lnTo>
                    <a:pt x="986" y="216"/>
                  </a:lnTo>
                  <a:lnTo>
                    <a:pt x="986" y="224"/>
                  </a:lnTo>
                  <a:lnTo>
                    <a:pt x="986" y="230"/>
                  </a:lnTo>
                  <a:lnTo>
                    <a:pt x="990" y="236"/>
                  </a:lnTo>
                  <a:lnTo>
                    <a:pt x="999" y="239"/>
                  </a:lnTo>
                  <a:lnTo>
                    <a:pt x="1007" y="241"/>
                  </a:lnTo>
                  <a:lnTo>
                    <a:pt x="1017" y="247"/>
                  </a:lnTo>
                  <a:lnTo>
                    <a:pt x="1019" y="251"/>
                  </a:lnTo>
                  <a:lnTo>
                    <a:pt x="1022" y="259"/>
                  </a:lnTo>
                  <a:lnTo>
                    <a:pt x="1026" y="262"/>
                  </a:lnTo>
                  <a:lnTo>
                    <a:pt x="1030" y="266"/>
                  </a:lnTo>
                  <a:lnTo>
                    <a:pt x="1036" y="270"/>
                  </a:lnTo>
                  <a:lnTo>
                    <a:pt x="1045" y="276"/>
                  </a:lnTo>
                  <a:lnTo>
                    <a:pt x="1057" y="276"/>
                  </a:lnTo>
                  <a:lnTo>
                    <a:pt x="1068" y="276"/>
                  </a:lnTo>
                  <a:lnTo>
                    <a:pt x="1080" y="270"/>
                  </a:lnTo>
                  <a:lnTo>
                    <a:pt x="1093" y="262"/>
                  </a:lnTo>
                  <a:lnTo>
                    <a:pt x="1090" y="255"/>
                  </a:lnTo>
                  <a:lnTo>
                    <a:pt x="1101" y="253"/>
                  </a:lnTo>
                  <a:lnTo>
                    <a:pt x="1109" y="251"/>
                  </a:lnTo>
                  <a:lnTo>
                    <a:pt x="1116" y="251"/>
                  </a:lnTo>
                  <a:lnTo>
                    <a:pt x="1124" y="245"/>
                  </a:lnTo>
                  <a:lnTo>
                    <a:pt x="1136" y="245"/>
                  </a:lnTo>
                  <a:lnTo>
                    <a:pt x="1143" y="241"/>
                  </a:lnTo>
                  <a:lnTo>
                    <a:pt x="1153" y="245"/>
                  </a:lnTo>
                  <a:lnTo>
                    <a:pt x="1155" y="234"/>
                  </a:lnTo>
                  <a:lnTo>
                    <a:pt x="1161" y="226"/>
                  </a:lnTo>
                  <a:lnTo>
                    <a:pt x="1178" y="218"/>
                  </a:lnTo>
                  <a:lnTo>
                    <a:pt x="1187" y="222"/>
                  </a:lnTo>
                  <a:lnTo>
                    <a:pt x="1201" y="226"/>
                  </a:lnTo>
                  <a:lnTo>
                    <a:pt x="1210" y="228"/>
                  </a:lnTo>
                  <a:lnTo>
                    <a:pt x="1226" y="230"/>
                  </a:lnTo>
                  <a:lnTo>
                    <a:pt x="1235" y="230"/>
                  </a:lnTo>
                  <a:lnTo>
                    <a:pt x="1245" y="230"/>
                  </a:lnTo>
                  <a:lnTo>
                    <a:pt x="1255" y="224"/>
                  </a:lnTo>
                  <a:lnTo>
                    <a:pt x="1266" y="224"/>
                  </a:lnTo>
                  <a:lnTo>
                    <a:pt x="1266" y="218"/>
                  </a:lnTo>
                  <a:lnTo>
                    <a:pt x="1258" y="213"/>
                  </a:lnTo>
                  <a:lnTo>
                    <a:pt x="1262" y="207"/>
                  </a:lnTo>
                  <a:lnTo>
                    <a:pt x="1260" y="199"/>
                  </a:lnTo>
                  <a:lnTo>
                    <a:pt x="1262" y="190"/>
                  </a:lnTo>
                  <a:lnTo>
                    <a:pt x="1266" y="182"/>
                  </a:lnTo>
                  <a:lnTo>
                    <a:pt x="1278" y="182"/>
                  </a:lnTo>
                  <a:lnTo>
                    <a:pt x="1285" y="188"/>
                  </a:lnTo>
                  <a:lnTo>
                    <a:pt x="1295" y="190"/>
                  </a:lnTo>
                  <a:lnTo>
                    <a:pt x="1303" y="188"/>
                  </a:lnTo>
                  <a:lnTo>
                    <a:pt x="1306" y="182"/>
                  </a:lnTo>
                  <a:lnTo>
                    <a:pt x="1316" y="182"/>
                  </a:lnTo>
                  <a:lnTo>
                    <a:pt x="1327" y="186"/>
                  </a:lnTo>
                  <a:lnTo>
                    <a:pt x="1339" y="186"/>
                  </a:lnTo>
                  <a:lnTo>
                    <a:pt x="1351" y="188"/>
                  </a:lnTo>
                  <a:lnTo>
                    <a:pt x="1360" y="190"/>
                  </a:lnTo>
                  <a:lnTo>
                    <a:pt x="1374" y="197"/>
                  </a:lnTo>
                  <a:lnTo>
                    <a:pt x="1379" y="203"/>
                  </a:lnTo>
                  <a:lnTo>
                    <a:pt x="1393" y="211"/>
                  </a:lnTo>
                  <a:lnTo>
                    <a:pt x="1398" y="216"/>
                  </a:lnTo>
                  <a:lnTo>
                    <a:pt x="1408" y="216"/>
                  </a:lnTo>
                  <a:lnTo>
                    <a:pt x="1420" y="214"/>
                  </a:lnTo>
                  <a:lnTo>
                    <a:pt x="1429" y="211"/>
                  </a:lnTo>
                  <a:lnTo>
                    <a:pt x="1437" y="209"/>
                  </a:lnTo>
                  <a:lnTo>
                    <a:pt x="1445" y="216"/>
                  </a:lnTo>
                  <a:lnTo>
                    <a:pt x="1452" y="222"/>
                  </a:lnTo>
                  <a:lnTo>
                    <a:pt x="1462" y="230"/>
                  </a:lnTo>
                  <a:lnTo>
                    <a:pt x="1469" y="228"/>
                  </a:lnTo>
                  <a:lnTo>
                    <a:pt x="1477" y="220"/>
                  </a:lnTo>
                  <a:lnTo>
                    <a:pt x="1479" y="213"/>
                  </a:lnTo>
                  <a:lnTo>
                    <a:pt x="1487" y="209"/>
                  </a:lnTo>
                  <a:lnTo>
                    <a:pt x="1494" y="205"/>
                  </a:lnTo>
                  <a:lnTo>
                    <a:pt x="1500" y="193"/>
                  </a:lnTo>
                  <a:lnTo>
                    <a:pt x="1502" y="184"/>
                  </a:lnTo>
                  <a:lnTo>
                    <a:pt x="1508" y="176"/>
                  </a:lnTo>
                  <a:lnTo>
                    <a:pt x="1512" y="168"/>
                  </a:lnTo>
                  <a:lnTo>
                    <a:pt x="1516" y="157"/>
                  </a:lnTo>
                  <a:lnTo>
                    <a:pt x="1523" y="149"/>
                  </a:lnTo>
                  <a:lnTo>
                    <a:pt x="1529" y="143"/>
                  </a:lnTo>
                  <a:lnTo>
                    <a:pt x="1529" y="138"/>
                  </a:lnTo>
                  <a:lnTo>
                    <a:pt x="1533" y="124"/>
                  </a:lnTo>
                  <a:lnTo>
                    <a:pt x="1533" y="113"/>
                  </a:lnTo>
                  <a:lnTo>
                    <a:pt x="1540" y="103"/>
                  </a:lnTo>
                  <a:lnTo>
                    <a:pt x="1544" y="90"/>
                  </a:lnTo>
                  <a:lnTo>
                    <a:pt x="1552" y="82"/>
                  </a:lnTo>
                  <a:lnTo>
                    <a:pt x="1554" y="76"/>
                  </a:lnTo>
                  <a:lnTo>
                    <a:pt x="1556" y="67"/>
                  </a:lnTo>
                  <a:lnTo>
                    <a:pt x="1562" y="57"/>
                  </a:lnTo>
                  <a:lnTo>
                    <a:pt x="1564" y="49"/>
                  </a:lnTo>
                  <a:lnTo>
                    <a:pt x="1569" y="46"/>
                  </a:lnTo>
                  <a:lnTo>
                    <a:pt x="1577" y="49"/>
                  </a:lnTo>
                  <a:lnTo>
                    <a:pt x="1585" y="53"/>
                  </a:lnTo>
                  <a:lnTo>
                    <a:pt x="1590" y="61"/>
                  </a:lnTo>
                  <a:lnTo>
                    <a:pt x="1594" y="67"/>
                  </a:lnTo>
                  <a:lnTo>
                    <a:pt x="1594" y="74"/>
                  </a:lnTo>
                  <a:lnTo>
                    <a:pt x="1600" y="82"/>
                  </a:lnTo>
                  <a:lnTo>
                    <a:pt x="1608" y="88"/>
                  </a:lnTo>
                  <a:lnTo>
                    <a:pt x="1610" y="94"/>
                  </a:lnTo>
                  <a:lnTo>
                    <a:pt x="1610" y="107"/>
                  </a:lnTo>
                  <a:lnTo>
                    <a:pt x="1610" y="115"/>
                  </a:lnTo>
                  <a:lnTo>
                    <a:pt x="1608" y="120"/>
                  </a:lnTo>
                  <a:lnTo>
                    <a:pt x="1611" y="128"/>
                  </a:lnTo>
                  <a:lnTo>
                    <a:pt x="1615" y="134"/>
                  </a:lnTo>
                  <a:lnTo>
                    <a:pt x="1615" y="140"/>
                  </a:lnTo>
                  <a:lnTo>
                    <a:pt x="1613" y="145"/>
                  </a:lnTo>
                  <a:lnTo>
                    <a:pt x="1613" y="151"/>
                  </a:lnTo>
                  <a:lnTo>
                    <a:pt x="1615" y="163"/>
                  </a:lnTo>
                  <a:lnTo>
                    <a:pt x="1621" y="170"/>
                  </a:lnTo>
                  <a:lnTo>
                    <a:pt x="1629" y="176"/>
                  </a:lnTo>
                  <a:lnTo>
                    <a:pt x="1633" y="184"/>
                  </a:lnTo>
                  <a:lnTo>
                    <a:pt x="1633" y="193"/>
                  </a:lnTo>
                  <a:lnTo>
                    <a:pt x="1633" y="201"/>
                  </a:lnTo>
                  <a:lnTo>
                    <a:pt x="1636" y="209"/>
                  </a:lnTo>
                  <a:lnTo>
                    <a:pt x="1636" y="222"/>
                  </a:lnTo>
                  <a:lnTo>
                    <a:pt x="1644" y="230"/>
                  </a:lnTo>
                  <a:lnTo>
                    <a:pt x="1652" y="236"/>
                  </a:lnTo>
                  <a:lnTo>
                    <a:pt x="1661" y="236"/>
                  </a:lnTo>
                  <a:lnTo>
                    <a:pt x="1675" y="241"/>
                  </a:lnTo>
                  <a:lnTo>
                    <a:pt x="1682" y="243"/>
                  </a:lnTo>
                  <a:lnTo>
                    <a:pt x="1684" y="251"/>
                  </a:lnTo>
                  <a:lnTo>
                    <a:pt x="1686" y="262"/>
                  </a:lnTo>
                  <a:lnTo>
                    <a:pt x="1684" y="276"/>
                  </a:lnTo>
                  <a:lnTo>
                    <a:pt x="1681" y="289"/>
                  </a:lnTo>
                  <a:lnTo>
                    <a:pt x="1671" y="301"/>
                  </a:lnTo>
                  <a:lnTo>
                    <a:pt x="1663" y="312"/>
                  </a:lnTo>
                  <a:lnTo>
                    <a:pt x="1656" y="320"/>
                  </a:lnTo>
                  <a:lnTo>
                    <a:pt x="1650" y="322"/>
                  </a:lnTo>
                  <a:lnTo>
                    <a:pt x="1640" y="328"/>
                  </a:lnTo>
                  <a:lnTo>
                    <a:pt x="1638" y="335"/>
                  </a:lnTo>
                  <a:lnTo>
                    <a:pt x="1635" y="339"/>
                  </a:lnTo>
                  <a:lnTo>
                    <a:pt x="1627" y="345"/>
                  </a:lnTo>
                  <a:lnTo>
                    <a:pt x="1617" y="353"/>
                  </a:lnTo>
                  <a:lnTo>
                    <a:pt x="1604" y="360"/>
                  </a:lnTo>
                  <a:lnTo>
                    <a:pt x="1594" y="370"/>
                  </a:lnTo>
                  <a:lnTo>
                    <a:pt x="1587" y="372"/>
                  </a:lnTo>
                  <a:lnTo>
                    <a:pt x="1577" y="381"/>
                  </a:lnTo>
                  <a:lnTo>
                    <a:pt x="1571" y="389"/>
                  </a:lnTo>
                  <a:lnTo>
                    <a:pt x="1567" y="397"/>
                  </a:lnTo>
                  <a:lnTo>
                    <a:pt x="1564" y="399"/>
                  </a:lnTo>
                  <a:lnTo>
                    <a:pt x="1562" y="408"/>
                  </a:lnTo>
                  <a:lnTo>
                    <a:pt x="1565" y="416"/>
                  </a:lnTo>
                  <a:lnTo>
                    <a:pt x="1565" y="424"/>
                  </a:lnTo>
                  <a:lnTo>
                    <a:pt x="1558" y="427"/>
                  </a:lnTo>
                  <a:lnTo>
                    <a:pt x="1556" y="437"/>
                  </a:lnTo>
                  <a:lnTo>
                    <a:pt x="1556" y="443"/>
                  </a:lnTo>
                  <a:lnTo>
                    <a:pt x="1552" y="454"/>
                  </a:lnTo>
                  <a:lnTo>
                    <a:pt x="1552" y="454"/>
                  </a:lnTo>
                  <a:lnTo>
                    <a:pt x="1560" y="462"/>
                  </a:lnTo>
                  <a:lnTo>
                    <a:pt x="1571" y="462"/>
                  </a:lnTo>
                  <a:lnTo>
                    <a:pt x="1583" y="452"/>
                  </a:lnTo>
                  <a:lnTo>
                    <a:pt x="1592" y="449"/>
                  </a:lnTo>
                  <a:lnTo>
                    <a:pt x="1606" y="450"/>
                  </a:lnTo>
                  <a:lnTo>
                    <a:pt x="1617" y="456"/>
                  </a:lnTo>
                  <a:lnTo>
                    <a:pt x="1619" y="472"/>
                  </a:lnTo>
                  <a:lnTo>
                    <a:pt x="1619" y="481"/>
                  </a:lnTo>
                  <a:lnTo>
                    <a:pt x="1621" y="491"/>
                  </a:lnTo>
                  <a:lnTo>
                    <a:pt x="1631" y="496"/>
                  </a:lnTo>
                  <a:lnTo>
                    <a:pt x="1644" y="498"/>
                  </a:lnTo>
                  <a:lnTo>
                    <a:pt x="1665" y="502"/>
                  </a:lnTo>
                  <a:lnTo>
                    <a:pt x="1677" y="498"/>
                  </a:lnTo>
                  <a:lnTo>
                    <a:pt x="1684" y="496"/>
                  </a:lnTo>
                  <a:lnTo>
                    <a:pt x="1692" y="504"/>
                  </a:lnTo>
                  <a:lnTo>
                    <a:pt x="1706" y="502"/>
                  </a:lnTo>
                  <a:lnTo>
                    <a:pt x="1713" y="495"/>
                  </a:lnTo>
                  <a:lnTo>
                    <a:pt x="1723" y="495"/>
                  </a:lnTo>
                  <a:lnTo>
                    <a:pt x="1730" y="495"/>
                  </a:lnTo>
                  <a:lnTo>
                    <a:pt x="1736" y="502"/>
                  </a:lnTo>
                  <a:lnTo>
                    <a:pt x="1742" y="502"/>
                  </a:lnTo>
                  <a:lnTo>
                    <a:pt x="1744" y="493"/>
                  </a:lnTo>
                  <a:lnTo>
                    <a:pt x="1752" y="489"/>
                  </a:lnTo>
                  <a:lnTo>
                    <a:pt x="1759" y="479"/>
                  </a:lnTo>
                  <a:lnTo>
                    <a:pt x="1763" y="472"/>
                  </a:lnTo>
                  <a:lnTo>
                    <a:pt x="1780" y="470"/>
                  </a:lnTo>
                  <a:lnTo>
                    <a:pt x="1792" y="462"/>
                  </a:lnTo>
                  <a:lnTo>
                    <a:pt x="1792" y="452"/>
                  </a:lnTo>
                  <a:lnTo>
                    <a:pt x="1796" y="439"/>
                  </a:lnTo>
                  <a:lnTo>
                    <a:pt x="1803" y="433"/>
                  </a:lnTo>
                  <a:lnTo>
                    <a:pt x="1813" y="422"/>
                  </a:lnTo>
                  <a:lnTo>
                    <a:pt x="1821" y="412"/>
                  </a:lnTo>
                  <a:lnTo>
                    <a:pt x="1836" y="406"/>
                  </a:lnTo>
                  <a:lnTo>
                    <a:pt x="1844" y="406"/>
                  </a:lnTo>
                  <a:lnTo>
                    <a:pt x="1855" y="406"/>
                  </a:lnTo>
                  <a:lnTo>
                    <a:pt x="1869" y="406"/>
                  </a:lnTo>
                  <a:lnTo>
                    <a:pt x="1884" y="410"/>
                  </a:lnTo>
                  <a:lnTo>
                    <a:pt x="1901" y="416"/>
                  </a:lnTo>
                  <a:lnTo>
                    <a:pt x="1915" y="420"/>
                  </a:lnTo>
                  <a:lnTo>
                    <a:pt x="1932" y="422"/>
                  </a:lnTo>
                  <a:lnTo>
                    <a:pt x="1949" y="429"/>
                  </a:lnTo>
                  <a:lnTo>
                    <a:pt x="1957" y="439"/>
                  </a:lnTo>
                  <a:lnTo>
                    <a:pt x="1965" y="443"/>
                  </a:lnTo>
                  <a:lnTo>
                    <a:pt x="1976" y="447"/>
                  </a:lnTo>
                  <a:lnTo>
                    <a:pt x="1982" y="452"/>
                  </a:lnTo>
                  <a:lnTo>
                    <a:pt x="1997" y="450"/>
                  </a:lnTo>
                  <a:lnTo>
                    <a:pt x="2005" y="452"/>
                  </a:lnTo>
                  <a:lnTo>
                    <a:pt x="2013" y="460"/>
                  </a:lnTo>
                  <a:lnTo>
                    <a:pt x="2022" y="462"/>
                  </a:lnTo>
                  <a:lnTo>
                    <a:pt x="2028" y="460"/>
                  </a:lnTo>
                  <a:lnTo>
                    <a:pt x="2030" y="472"/>
                  </a:lnTo>
                  <a:lnTo>
                    <a:pt x="2037" y="475"/>
                  </a:lnTo>
                  <a:lnTo>
                    <a:pt x="2047" y="475"/>
                  </a:lnTo>
                  <a:lnTo>
                    <a:pt x="2055" y="479"/>
                  </a:lnTo>
                  <a:lnTo>
                    <a:pt x="2064" y="483"/>
                  </a:lnTo>
                  <a:lnTo>
                    <a:pt x="2084" y="489"/>
                  </a:lnTo>
                  <a:lnTo>
                    <a:pt x="2084" y="495"/>
                  </a:lnTo>
                  <a:lnTo>
                    <a:pt x="2076" y="500"/>
                  </a:lnTo>
                  <a:lnTo>
                    <a:pt x="2080" y="504"/>
                  </a:lnTo>
                  <a:lnTo>
                    <a:pt x="2082" y="512"/>
                  </a:lnTo>
                  <a:lnTo>
                    <a:pt x="2084" y="520"/>
                  </a:lnTo>
                  <a:lnTo>
                    <a:pt x="2080" y="525"/>
                  </a:lnTo>
                  <a:lnTo>
                    <a:pt x="2082" y="531"/>
                  </a:lnTo>
                  <a:lnTo>
                    <a:pt x="2089" y="531"/>
                  </a:lnTo>
                  <a:lnTo>
                    <a:pt x="2095" y="533"/>
                  </a:lnTo>
                  <a:lnTo>
                    <a:pt x="2095" y="541"/>
                  </a:lnTo>
                  <a:lnTo>
                    <a:pt x="2093" y="548"/>
                  </a:lnTo>
                  <a:lnTo>
                    <a:pt x="2087" y="554"/>
                  </a:lnTo>
                  <a:lnTo>
                    <a:pt x="2085" y="562"/>
                  </a:lnTo>
                  <a:lnTo>
                    <a:pt x="2087" y="569"/>
                  </a:lnTo>
                  <a:lnTo>
                    <a:pt x="2095" y="569"/>
                  </a:lnTo>
                  <a:lnTo>
                    <a:pt x="2101" y="564"/>
                  </a:lnTo>
                  <a:lnTo>
                    <a:pt x="2103" y="552"/>
                  </a:lnTo>
                  <a:lnTo>
                    <a:pt x="2108" y="550"/>
                  </a:lnTo>
                  <a:lnTo>
                    <a:pt x="2114" y="554"/>
                  </a:lnTo>
                  <a:lnTo>
                    <a:pt x="2128" y="556"/>
                  </a:lnTo>
                  <a:lnTo>
                    <a:pt x="2132" y="546"/>
                  </a:lnTo>
                  <a:lnTo>
                    <a:pt x="2133" y="541"/>
                  </a:lnTo>
                  <a:lnTo>
                    <a:pt x="2139" y="537"/>
                  </a:lnTo>
                  <a:lnTo>
                    <a:pt x="2149" y="537"/>
                  </a:lnTo>
                  <a:lnTo>
                    <a:pt x="2156" y="541"/>
                  </a:lnTo>
                  <a:lnTo>
                    <a:pt x="2172" y="544"/>
                  </a:lnTo>
                  <a:lnTo>
                    <a:pt x="2178" y="548"/>
                  </a:lnTo>
                  <a:lnTo>
                    <a:pt x="2185" y="550"/>
                  </a:lnTo>
                  <a:lnTo>
                    <a:pt x="2197" y="556"/>
                  </a:lnTo>
                  <a:lnTo>
                    <a:pt x="2204" y="566"/>
                  </a:lnTo>
                  <a:lnTo>
                    <a:pt x="2214" y="569"/>
                  </a:lnTo>
                  <a:lnTo>
                    <a:pt x="2226" y="573"/>
                  </a:lnTo>
                  <a:lnTo>
                    <a:pt x="2235" y="577"/>
                  </a:lnTo>
                  <a:lnTo>
                    <a:pt x="2245" y="583"/>
                  </a:lnTo>
                  <a:lnTo>
                    <a:pt x="2254" y="583"/>
                  </a:lnTo>
                  <a:lnTo>
                    <a:pt x="2270" y="583"/>
                  </a:lnTo>
                  <a:lnTo>
                    <a:pt x="2275" y="583"/>
                  </a:lnTo>
                  <a:lnTo>
                    <a:pt x="2281" y="587"/>
                  </a:lnTo>
                  <a:lnTo>
                    <a:pt x="2287" y="590"/>
                  </a:lnTo>
                  <a:lnTo>
                    <a:pt x="2293" y="590"/>
                  </a:lnTo>
                  <a:lnTo>
                    <a:pt x="2302" y="592"/>
                  </a:lnTo>
                  <a:lnTo>
                    <a:pt x="2310" y="596"/>
                  </a:ln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5" name="Freeform 5"/>
            <p:cNvSpPr>
              <a:spLocks/>
            </p:cNvSpPr>
            <p:nvPr/>
          </p:nvSpPr>
          <p:spPr bwMode="auto">
            <a:xfrm>
              <a:off x="3327" y="1003"/>
              <a:ext cx="31" cy="29"/>
            </a:xfrm>
            <a:custGeom>
              <a:avLst/>
              <a:gdLst>
                <a:gd name="T0" fmla="*/ 27 w 29"/>
                <a:gd name="T1" fmla="*/ 19 h 27"/>
                <a:gd name="T2" fmla="*/ 29 w 29"/>
                <a:gd name="T3" fmla="*/ 16 h 27"/>
                <a:gd name="T4" fmla="*/ 27 w 29"/>
                <a:gd name="T5" fmla="*/ 12 h 27"/>
                <a:gd name="T6" fmla="*/ 23 w 29"/>
                <a:gd name="T7" fmla="*/ 10 h 27"/>
                <a:gd name="T8" fmla="*/ 21 w 29"/>
                <a:gd name="T9" fmla="*/ 6 h 27"/>
                <a:gd name="T10" fmla="*/ 16 w 29"/>
                <a:gd name="T11" fmla="*/ 4 h 27"/>
                <a:gd name="T12" fmla="*/ 12 w 29"/>
                <a:gd name="T13" fmla="*/ 2 h 27"/>
                <a:gd name="T14" fmla="*/ 8 w 29"/>
                <a:gd name="T15" fmla="*/ 0 h 27"/>
                <a:gd name="T16" fmla="*/ 6 w 29"/>
                <a:gd name="T17" fmla="*/ 0 h 27"/>
                <a:gd name="T18" fmla="*/ 2 w 29"/>
                <a:gd name="T19" fmla="*/ 4 h 27"/>
                <a:gd name="T20" fmla="*/ 0 w 29"/>
                <a:gd name="T21" fmla="*/ 12 h 27"/>
                <a:gd name="T22" fmla="*/ 4 w 29"/>
                <a:gd name="T23" fmla="*/ 19 h 27"/>
                <a:gd name="T24" fmla="*/ 8 w 29"/>
                <a:gd name="T25" fmla="*/ 25 h 27"/>
                <a:gd name="T26" fmla="*/ 16 w 29"/>
                <a:gd name="T27" fmla="*/ 27 h 27"/>
                <a:gd name="T28" fmla="*/ 19 w 29"/>
                <a:gd name="T29" fmla="*/ 25 h 27"/>
                <a:gd name="T30" fmla="*/ 25 w 29"/>
                <a:gd name="T31" fmla="*/ 25 h 27"/>
                <a:gd name="T32" fmla="*/ 27 w 29"/>
                <a:gd name="T33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" h="27">
                  <a:moveTo>
                    <a:pt x="27" y="19"/>
                  </a:moveTo>
                  <a:lnTo>
                    <a:pt x="29" y="16"/>
                  </a:lnTo>
                  <a:lnTo>
                    <a:pt x="27" y="12"/>
                  </a:lnTo>
                  <a:lnTo>
                    <a:pt x="23" y="10"/>
                  </a:lnTo>
                  <a:lnTo>
                    <a:pt x="21" y="6"/>
                  </a:lnTo>
                  <a:lnTo>
                    <a:pt x="16" y="4"/>
                  </a:lnTo>
                  <a:lnTo>
                    <a:pt x="12" y="2"/>
                  </a:lnTo>
                  <a:lnTo>
                    <a:pt x="8" y="0"/>
                  </a:lnTo>
                  <a:lnTo>
                    <a:pt x="6" y="0"/>
                  </a:lnTo>
                  <a:lnTo>
                    <a:pt x="2" y="4"/>
                  </a:lnTo>
                  <a:lnTo>
                    <a:pt x="0" y="12"/>
                  </a:lnTo>
                  <a:lnTo>
                    <a:pt x="4" y="19"/>
                  </a:lnTo>
                  <a:lnTo>
                    <a:pt x="8" y="25"/>
                  </a:lnTo>
                  <a:lnTo>
                    <a:pt x="16" y="27"/>
                  </a:lnTo>
                  <a:lnTo>
                    <a:pt x="19" y="25"/>
                  </a:lnTo>
                  <a:lnTo>
                    <a:pt x="25" y="25"/>
                  </a:lnTo>
                  <a:lnTo>
                    <a:pt x="27" y="19"/>
                  </a:ln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grpSp>
          <p:nvGrpSpPr>
            <p:cNvPr id="6" name="Group 6"/>
            <p:cNvGrpSpPr>
              <a:grpSpLocks/>
            </p:cNvGrpSpPr>
            <p:nvPr/>
          </p:nvGrpSpPr>
          <p:grpSpPr bwMode="auto">
            <a:xfrm>
              <a:off x="3252" y="1139"/>
              <a:ext cx="261" cy="171"/>
              <a:chOff x="3465" y="1401"/>
              <a:chExt cx="261" cy="171"/>
            </a:xfrm>
            <a:grpFill/>
          </p:grpSpPr>
          <p:sp>
            <p:nvSpPr>
              <p:cNvPr id="7" name="Freeform 7"/>
              <p:cNvSpPr>
                <a:spLocks/>
              </p:cNvSpPr>
              <p:nvPr/>
            </p:nvSpPr>
            <p:spPr bwMode="auto">
              <a:xfrm>
                <a:off x="3625" y="1425"/>
                <a:ext cx="20" cy="18"/>
              </a:xfrm>
              <a:custGeom>
                <a:avLst/>
                <a:gdLst>
                  <a:gd name="T0" fmla="*/ 12 w 18"/>
                  <a:gd name="T1" fmla="*/ 16 h 16"/>
                  <a:gd name="T2" fmla="*/ 14 w 18"/>
                  <a:gd name="T3" fmla="*/ 16 h 16"/>
                  <a:gd name="T4" fmla="*/ 16 w 18"/>
                  <a:gd name="T5" fmla="*/ 14 h 16"/>
                  <a:gd name="T6" fmla="*/ 16 w 18"/>
                  <a:gd name="T7" fmla="*/ 12 h 16"/>
                  <a:gd name="T8" fmla="*/ 18 w 18"/>
                  <a:gd name="T9" fmla="*/ 10 h 16"/>
                  <a:gd name="T10" fmla="*/ 18 w 18"/>
                  <a:gd name="T11" fmla="*/ 6 h 16"/>
                  <a:gd name="T12" fmla="*/ 18 w 18"/>
                  <a:gd name="T13" fmla="*/ 4 h 16"/>
                  <a:gd name="T14" fmla="*/ 18 w 18"/>
                  <a:gd name="T15" fmla="*/ 2 h 16"/>
                  <a:gd name="T16" fmla="*/ 16 w 18"/>
                  <a:gd name="T17" fmla="*/ 0 h 16"/>
                  <a:gd name="T18" fmla="*/ 12 w 18"/>
                  <a:gd name="T19" fmla="*/ 0 h 16"/>
                  <a:gd name="T20" fmla="*/ 6 w 18"/>
                  <a:gd name="T21" fmla="*/ 2 h 16"/>
                  <a:gd name="T22" fmla="*/ 2 w 18"/>
                  <a:gd name="T23" fmla="*/ 4 h 16"/>
                  <a:gd name="T24" fmla="*/ 0 w 18"/>
                  <a:gd name="T25" fmla="*/ 8 h 16"/>
                  <a:gd name="T26" fmla="*/ 2 w 18"/>
                  <a:gd name="T27" fmla="*/ 12 h 16"/>
                  <a:gd name="T28" fmla="*/ 4 w 18"/>
                  <a:gd name="T29" fmla="*/ 14 h 16"/>
                  <a:gd name="T30" fmla="*/ 6 w 18"/>
                  <a:gd name="T31" fmla="*/ 16 h 16"/>
                  <a:gd name="T32" fmla="*/ 12 w 18"/>
                  <a:gd name="T33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" h="16">
                    <a:moveTo>
                      <a:pt x="12" y="16"/>
                    </a:moveTo>
                    <a:lnTo>
                      <a:pt x="14" y="16"/>
                    </a:lnTo>
                    <a:lnTo>
                      <a:pt x="16" y="14"/>
                    </a:lnTo>
                    <a:lnTo>
                      <a:pt x="16" y="12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4"/>
                    </a:lnTo>
                    <a:lnTo>
                      <a:pt x="18" y="2"/>
                    </a:lnTo>
                    <a:lnTo>
                      <a:pt x="16" y="0"/>
                    </a:lnTo>
                    <a:lnTo>
                      <a:pt x="12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12" y="16"/>
                    </a:lnTo>
                    <a:close/>
                  </a:path>
                </a:pathLst>
              </a:custGeom>
              <a:grpFill/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8" name="Freeform 8"/>
              <p:cNvSpPr>
                <a:spLocks/>
              </p:cNvSpPr>
              <p:nvPr/>
            </p:nvSpPr>
            <p:spPr bwMode="auto">
              <a:xfrm>
                <a:off x="3548" y="1475"/>
                <a:ext cx="14" cy="14"/>
              </a:xfrm>
              <a:custGeom>
                <a:avLst/>
                <a:gdLst>
                  <a:gd name="T0" fmla="*/ 4 w 12"/>
                  <a:gd name="T1" fmla="*/ 13 h 13"/>
                  <a:gd name="T2" fmla="*/ 2 w 12"/>
                  <a:gd name="T3" fmla="*/ 11 h 13"/>
                  <a:gd name="T4" fmla="*/ 0 w 12"/>
                  <a:gd name="T5" fmla="*/ 11 h 13"/>
                  <a:gd name="T6" fmla="*/ 0 w 12"/>
                  <a:gd name="T7" fmla="*/ 7 h 13"/>
                  <a:gd name="T8" fmla="*/ 0 w 12"/>
                  <a:gd name="T9" fmla="*/ 7 h 13"/>
                  <a:gd name="T10" fmla="*/ 0 w 12"/>
                  <a:gd name="T11" fmla="*/ 3 h 13"/>
                  <a:gd name="T12" fmla="*/ 2 w 12"/>
                  <a:gd name="T13" fmla="*/ 1 h 13"/>
                  <a:gd name="T14" fmla="*/ 2 w 12"/>
                  <a:gd name="T15" fmla="*/ 0 h 13"/>
                  <a:gd name="T16" fmla="*/ 2 w 12"/>
                  <a:gd name="T17" fmla="*/ 0 h 13"/>
                  <a:gd name="T18" fmla="*/ 6 w 12"/>
                  <a:gd name="T19" fmla="*/ 0 h 13"/>
                  <a:gd name="T20" fmla="*/ 10 w 12"/>
                  <a:gd name="T21" fmla="*/ 1 h 13"/>
                  <a:gd name="T22" fmla="*/ 10 w 12"/>
                  <a:gd name="T23" fmla="*/ 3 h 13"/>
                  <a:gd name="T24" fmla="*/ 12 w 12"/>
                  <a:gd name="T25" fmla="*/ 7 h 13"/>
                  <a:gd name="T26" fmla="*/ 10 w 12"/>
                  <a:gd name="T27" fmla="*/ 11 h 13"/>
                  <a:gd name="T28" fmla="*/ 8 w 12"/>
                  <a:gd name="T29" fmla="*/ 11 h 13"/>
                  <a:gd name="T30" fmla="*/ 6 w 12"/>
                  <a:gd name="T31" fmla="*/ 13 h 13"/>
                  <a:gd name="T32" fmla="*/ 4 w 12"/>
                  <a:gd name="T33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" h="13">
                    <a:moveTo>
                      <a:pt x="4" y="13"/>
                    </a:moveTo>
                    <a:lnTo>
                      <a:pt x="2" y="11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3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10" y="1"/>
                    </a:lnTo>
                    <a:lnTo>
                      <a:pt x="10" y="3"/>
                    </a:lnTo>
                    <a:lnTo>
                      <a:pt x="12" y="7"/>
                    </a:lnTo>
                    <a:lnTo>
                      <a:pt x="10" y="11"/>
                    </a:lnTo>
                    <a:lnTo>
                      <a:pt x="8" y="11"/>
                    </a:lnTo>
                    <a:lnTo>
                      <a:pt x="6" y="13"/>
                    </a:lnTo>
                    <a:lnTo>
                      <a:pt x="4" y="13"/>
                    </a:lnTo>
                    <a:close/>
                  </a:path>
                </a:pathLst>
              </a:custGeom>
              <a:grpFill/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9" name="Freeform 9"/>
              <p:cNvSpPr>
                <a:spLocks/>
              </p:cNvSpPr>
              <p:nvPr/>
            </p:nvSpPr>
            <p:spPr bwMode="auto">
              <a:xfrm>
                <a:off x="3528" y="1518"/>
                <a:ext cx="18" cy="14"/>
              </a:xfrm>
              <a:custGeom>
                <a:avLst/>
                <a:gdLst>
                  <a:gd name="T0" fmla="*/ 12 w 17"/>
                  <a:gd name="T1" fmla="*/ 13 h 13"/>
                  <a:gd name="T2" fmla="*/ 10 w 17"/>
                  <a:gd name="T3" fmla="*/ 13 h 13"/>
                  <a:gd name="T4" fmla="*/ 8 w 17"/>
                  <a:gd name="T5" fmla="*/ 13 h 13"/>
                  <a:gd name="T6" fmla="*/ 6 w 17"/>
                  <a:gd name="T7" fmla="*/ 11 h 13"/>
                  <a:gd name="T8" fmla="*/ 4 w 17"/>
                  <a:gd name="T9" fmla="*/ 9 h 13"/>
                  <a:gd name="T10" fmla="*/ 2 w 17"/>
                  <a:gd name="T11" fmla="*/ 8 h 13"/>
                  <a:gd name="T12" fmla="*/ 2 w 17"/>
                  <a:gd name="T13" fmla="*/ 6 h 13"/>
                  <a:gd name="T14" fmla="*/ 0 w 17"/>
                  <a:gd name="T15" fmla="*/ 4 h 13"/>
                  <a:gd name="T16" fmla="*/ 0 w 17"/>
                  <a:gd name="T17" fmla="*/ 2 h 13"/>
                  <a:gd name="T18" fmla="*/ 4 w 17"/>
                  <a:gd name="T19" fmla="*/ 0 h 13"/>
                  <a:gd name="T20" fmla="*/ 8 w 17"/>
                  <a:gd name="T21" fmla="*/ 0 h 13"/>
                  <a:gd name="T22" fmla="*/ 12 w 17"/>
                  <a:gd name="T23" fmla="*/ 0 h 13"/>
                  <a:gd name="T24" fmla="*/ 15 w 17"/>
                  <a:gd name="T25" fmla="*/ 2 h 13"/>
                  <a:gd name="T26" fmla="*/ 17 w 17"/>
                  <a:gd name="T27" fmla="*/ 6 h 13"/>
                  <a:gd name="T28" fmla="*/ 15 w 17"/>
                  <a:gd name="T29" fmla="*/ 9 h 13"/>
                  <a:gd name="T30" fmla="*/ 15 w 17"/>
                  <a:gd name="T31" fmla="*/ 11 h 13"/>
                  <a:gd name="T32" fmla="*/ 12 w 17"/>
                  <a:gd name="T33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" h="13">
                    <a:moveTo>
                      <a:pt x="12" y="13"/>
                    </a:moveTo>
                    <a:lnTo>
                      <a:pt x="10" y="13"/>
                    </a:lnTo>
                    <a:lnTo>
                      <a:pt x="8" y="13"/>
                    </a:lnTo>
                    <a:lnTo>
                      <a:pt x="6" y="11"/>
                    </a:lnTo>
                    <a:lnTo>
                      <a:pt x="4" y="9"/>
                    </a:lnTo>
                    <a:lnTo>
                      <a:pt x="2" y="8"/>
                    </a:lnTo>
                    <a:lnTo>
                      <a:pt x="2" y="6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5" y="2"/>
                    </a:lnTo>
                    <a:lnTo>
                      <a:pt x="17" y="6"/>
                    </a:lnTo>
                    <a:lnTo>
                      <a:pt x="15" y="9"/>
                    </a:lnTo>
                    <a:lnTo>
                      <a:pt x="15" y="11"/>
                    </a:lnTo>
                    <a:lnTo>
                      <a:pt x="12" y="13"/>
                    </a:lnTo>
                    <a:close/>
                  </a:path>
                </a:pathLst>
              </a:custGeom>
              <a:grpFill/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0" name="Freeform 10"/>
              <p:cNvSpPr>
                <a:spLocks/>
              </p:cNvSpPr>
              <p:nvPr/>
            </p:nvSpPr>
            <p:spPr bwMode="auto">
              <a:xfrm>
                <a:off x="3498" y="1466"/>
                <a:ext cx="13" cy="11"/>
              </a:xfrm>
              <a:custGeom>
                <a:avLst/>
                <a:gdLst>
                  <a:gd name="T0" fmla="*/ 0 w 12"/>
                  <a:gd name="T1" fmla="*/ 6 h 11"/>
                  <a:gd name="T2" fmla="*/ 0 w 12"/>
                  <a:gd name="T3" fmla="*/ 4 h 11"/>
                  <a:gd name="T4" fmla="*/ 0 w 12"/>
                  <a:gd name="T5" fmla="*/ 2 h 11"/>
                  <a:gd name="T6" fmla="*/ 2 w 12"/>
                  <a:gd name="T7" fmla="*/ 2 h 11"/>
                  <a:gd name="T8" fmla="*/ 4 w 12"/>
                  <a:gd name="T9" fmla="*/ 2 h 11"/>
                  <a:gd name="T10" fmla="*/ 6 w 12"/>
                  <a:gd name="T11" fmla="*/ 0 h 11"/>
                  <a:gd name="T12" fmla="*/ 8 w 12"/>
                  <a:gd name="T13" fmla="*/ 0 h 11"/>
                  <a:gd name="T14" fmla="*/ 10 w 12"/>
                  <a:gd name="T15" fmla="*/ 0 h 11"/>
                  <a:gd name="T16" fmla="*/ 10 w 12"/>
                  <a:gd name="T17" fmla="*/ 2 h 11"/>
                  <a:gd name="T18" fmla="*/ 12 w 12"/>
                  <a:gd name="T19" fmla="*/ 4 h 11"/>
                  <a:gd name="T20" fmla="*/ 12 w 12"/>
                  <a:gd name="T21" fmla="*/ 8 h 11"/>
                  <a:gd name="T22" fmla="*/ 10 w 12"/>
                  <a:gd name="T23" fmla="*/ 9 h 11"/>
                  <a:gd name="T24" fmla="*/ 6 w 12"/>
                  <a:gd name="T25" fmla="*/ 11 h 11"/>
                  <a:gd name="T26" fmla="*/ 4 w 12"/>
                  <a:gd name="T27" fmla="*/ 11 h 11"/>
                  <a:gd name="T28" fmla="*/ 2 w 12"/>
                  <a:gd name="T29" fmla="*/ 9 h 11"/>
                  <a:gd name="T30" fmla="*/ 0 w 12"/>
                  <a:gd name="T31" fmla="*/ 9 h 11"/>
                  <a:gd name="T32" fmla="*/ 0 w 12"/>
                  <a:gd name="T33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" h="11">
                    <a:moveTo>
                      <a:pt x="0" y="6"/>
                    </a:moveTo>
                    <a:lnTo>
                      <a:pt x="0" y="4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2"/>
                    </a:lnTo>
                    <a:lnTo>
                      <a:pt x="12" y="4"/>
                    </a:lnTo>
                    <a:lnTo>
                      <a:pt x="12" y="8"/>
                    </a:lnTo>
                    <a:lnTo>
                      <a:pt x="10" y="9"/>
                    </a:lnTo>
                    <a:lnTo>
                      <a:pt x="6" y="11"/>
                    </a:lnTo>
                    <a:lnTo>
                      <a:pt x="4" y="11"/>
                    </a:lnTo>
                    <a:lnTo>
                      <a:pt x="2" y="9"/>
                    </a:lnTo>
                    <a:lnTo>
                      <a:pt x="0" y="9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1" name="Freeform 11"/>
              <p:cNvSpPr>
                <a:spLocks/>
              </p:cNvSpPr>
              <p:nvPr/>
            </p:nvSpPr>
            <p:spPr bwMode="auto">
              <a:xfrm>
                <a:off x="3509" y="1453"/>
                <a:ext cx="14" cy="13"/>
              </a:xfrm>
              <a:custGeom>
                <a:avLst/>
                <a:gdLst>
                  <a:gd name="T0" fmla="*/ 0 w 13"/>
                  <a:gd name="T1" fmla="*/ 6 h 12"/>
                  <a:gd name="T2" fmla="*/ 0 w 13"/>
                  <a:gd name="T3" fmla="*/ 4 h 12"/>
                  <a:gd name="T4" fmla="*/ 2 w 13"/>
                  <a:gd name="T5" fmla="*/ 2 h 12"/>
                  <a:gd name="T6" fmla="*/ 4 w 13"/>
                  <a:gd name="T7" fmla="*/ 2 h 12"/>
                  <a:gd name="T8" fmla="*/ 6 w 13"/>
                  <a:gd name="T9" fmla="*/ 0 h 12"/>
                  <a:gd name="T10" fmla="*/ 7 w 13"/>
                  <a:gd name="T11" fmla="*/ 0 h 12"/>
                  <a:gd name="T12" fmla="*/ 9 w 13"/>
                  <a:gd name="T13" fmla="*/ 0 h 12"/>
                  <a:gd name="T14" fmla="*/ 11 w 13"/>
                  <a:gd name="T15" fmla="*/ 0 h 12"/>
                  <a:gd name="T16" fmla="*/ 11 w 13"/>
                  <a:gd name="T17" fmla="*/ 0 h 12"/>
                  <a:gd name="T18" fmla="*/ 13 w 13"/>
                  <a:gd name="T19" fmla="*/ 4 h 12"/>
                  <a:gd name="T20" fmla="*/ 11 w 13"/>
                  <a:gd name="T21" fmla="*/ 6 h 12"/>
                  <a:gd name="T22" fmla="*/ 9 w 13"/>
                  <a:gd name="T23" fmla="*/ 10 h 12"/>
                  <a:gd name="T24" fmla="*/ 7 w 13"/>
                  <a:gd name="T25" fmla="*/ 12 h 12"/>
                  <a:gd name="T26" fmla="*/ 4 w 13"/>
                  <a:gd name="T27" fmla="*/ 12 h 12"/>
                  <a:gd name="T28" fmla="*/ 2 w 13"/>
                  <a:gd name="T29" fmla="*/ 10 h 12"/>
                  <a:gd name="T30" fmla="*/ 2 w 13"/>
                  <a:gd name="T31" fmla="*/ 8 h 12"/>
                  <a:gd name="T32" fmla="*/ 0 w 13"/>
                  <a:gd name="T33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" h="12">
                    <a:moveTo>
                      <a:pt x="0" y="6"/>
                    </a:moveTo>
                    <a:lnTo>
                      <a:pt x="0" y="4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7" y="0"/>
                    </a:lnTo>
                    <a:lnTo>
                      <a:pt x="9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13" y="4"/>
                    </a:lnTo>
                    <a:lnTo>
                      <a:pt x="11" y="6"/>
                    </a:lnTo>
                    <a:lnTo>
                      <a:pt x="9" y="10"/>
                    </a:lnTo>
                    <a:lnTo>
                      <a:pt x="7" y="12"/>
                    </a:lnTo>
                    <a:lnTo>
                      <a:pt x="4" y="12"/>
                    </a:lnTo>
                    <a:lnTo>
                      <a:pt x="2" y="10"/>
                    </a:lnTo>
                    <a:lnTo>
                      <a:pt x="2" y="8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2" name="Freeform 12"/>
              <p:cNvSpPr>
                <a:spLocks/>
              </p:cNvSpPr>
              <p:nvPr/>
            </p:nvSpPr>
            <p:spPr bwMode="auto">
              <a:xfrm>
                <a:off x="3538" y="1432"/>
                <a:ext cx="12" cy="11"/>
              </a:xfrm>
              <a:custGeom>
                <a:avLst/>
                <a:gdLst>
                  <a:gd name="T0" fmla="*/ 0 w 11"/>
                  <a:gd name="T1" fmla="*/ 4 h 10"/>
                  <a:gd name="T2" fmla="*/ 0 w 11"/>
                  <a:gd name="T3" fmla="*/ 2 h 10"/>
                  <a:gd name="T4" fmla="*/ 2 w 11"/>
                  <a:gd name="T5" fmla="*/ 0 h 10"/>
                  <a:gd name="T6" fmla="*/ 4 w 11"/>
                  <a:gd name="T7" fmla="*/ 0 h 10"/>
                  <a:gd name="T8" fmla="*/ 5 w 11"/>
                  <a:gd name="T9" fmla="*/ 0 h 10"/>
                  <a:gd name="T10" fmla="*/ 7 w 11"/>
                  <a:gd name="T11" fmla="*/ 0 h 10"/>
                  <a:gd name="T12" fmla="*/ 9 w 11"/>
                  <a:gd name="T13" fmla="*/ 0 h 10"/>
                  <a:gd name="T14" fmla="*/ 11 w 11"/>
                  <a:gd name="T15" fmla="*/ 0 h 10"/>
                  <a:gd name="T16" fmla="*/ 11 w 11"/>
                  <a:gd name="T17" fmla="*/ 2 h 10"/>
                  <a:gd name="T18" fmla="*/ 11 w 11"/>
                  <a:gd name="T19" fmla="*/ 4 h 10"/>
                  <a:gd name="T20" fmla="*/ 9 w 11"/>
                  <a:gd name="T21" fmla="*/ 8 h 10"/>
                  <a:gd name="T22" fmla="*/ 7 w 11"/>
                  <a:gd name="T23" fmla="*/ 10 h 10"/>
                  <a:gd name="T24" fmla="*/ 4 w 11"/>
                  <a:gd name="T25" fmla="*/ 10 h 10"/>
                  <a:gd name="T26" fmla="*/ 2 w 11"/>
                  <a:gd name="T27" fmla="*/ 10 h 10"/>
                  <a:gd name="T28" fmla="*/ 0 w 11"/>
                  <a:gd name="T29" fmla="*/ 8 h 10"/>
                  <a:gd name="T30" fmla="*/ 0 w 11"/>
                  <a:gd name="T31" fmla="*/ 6 h 10"/>
                  <a:gd name="T32" fmla="*/ 0 w 11"/>
                  <a:gd name="T33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" h="10">
                    <a:moveTo>
                      <a:pt x="0" y="4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5" y="0"/>
                    </a:lnTo>
                    <a:lnTo>
                      <a:pt x="7" y="0"/>
                    </a:lnTo>
                    <a:lnTo>
                      <a:pt x="9" y="0"/>
                    </a:lnTo>
                    <a:lnTo>
                      <a:pt x="11" y="0"/>
                    </a:lnTo>
                    <a:lnTo>
                      <a:pt x="11" y="2"/>
                    </a:lnTo>
                    <a:lnTo>
                      <a:pt x="11" y="4"/>
                    </a:lnTo>
                    <a:lnTo>
                      <a:pt x="9" y="8"/>
                    </a:lnTo>
                    <a:lnTo>
                      <a:pt x="7" y="10"/>
                    </a:lnTo>
                    <a:lnTo>
                      <a:pt x="4" y="10"/>
                    </a:lnTo>
                    <a:lnTo>
                      <a:pt x="2" y="10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3" name="Freeform 13"/>
              <p:cNvSpPr>
                <a:spLocks/>
              </p:cNvSpPr>
              <p:nvPr/>
            </p:nvSpPr>
            <p:spPr bwMode="auto">
              <a:xfrm>
                <a:off x="3557" y="1425"/>
                <a:ext cx="14" cy="18"/>
              </a:xfrm>
              <a:custGeom>
                <a:avLst/>
                <a:gdLst>
                  <a:gd name="T0" fmla="*/ 0 w 13"/>
                  <a:gd name="T1" fmla="*/ 8 h 16"/>
                  <a:gd name="T2" fmla="*/ 0 w 13"/>
                  <a:gd name="T3" fmla="*/ 4 h 16"/>
                  <a:gd name="T4" fmla="*/ 0 w 13"/>
                  <a:gd name="T5" fmla="*/ 2 h 16"/>
                  <a:gd name="T6" fmla="*/ 2 w 13"/>
                  <a:gd name="T7" fmla="*/ 0 h 16"/>
                  <a:gd name="T8" fmla="*/ 4 w 13"/>
                  <a:gd name="T9" fmla="*/ 0 h 16"/>
                  <a:gd name="T10" fmla="*/ 6 w 13"/>
                  <a:gd name="T11" fmla="*/ 0 h 16"/>
                  <a:gd name="T12" fmla="*/ 8 w 13"/>
                  <a:gd name="T13" fmla="*/ 0 h 16"/>
                  <a:gd name="T14" fmla="*/ 10 w 13"/>
                  <a:gd name="T15" fmla="*/ 0 h 16"/>
                  <a:gd name="T16" fmla="*/ 11 w 13"/>
                  <a:gd name="T17" fmla="*/ 0 h 16"/>
                  <a:gd name="T18" fmla="*/ 11 w 13"/>
                  <a:gd name="T19" fmla="*/ 4 h 16"/>
                  <a:gd name="T20" fmla="*/ 13 w 13"/>
                  <a:gd name="T21" fmla="*/ 10 h 16"/>
                  <a:gd name="T22" fmla="*/ 11 w 13"/>
                  <a:gd name="T23" fmla="*/ 14 h 16"/>
                  <a:gd name="T24" fmla="*/ 10 w 13"/>
                  <a:gd name="T25" fmla="*/ 16 h 16"/>
                  <a:gd name="T26" fmla="*/ 6 w 13"/>
                  <a:gd name="T27" fmla="*/ 16 h 16"/>
                  <a:gd name="T28" fmla="*/ 4 w 13"/>
                  <a:gd name="T29" fmla="*/ 14 h 16"/>
                  <a:gd name="T30" fmla="*/ 2 w 13"/>
                  <a:gd name="T31" fmla="*/ 12 h 16"/>
                  <a:gd name="T32" fmla="*/ 0 w 13"/>
                  <a:gd name="T33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" h="16">
                    <a:moveTo>
                      <a:pt x="0" y="8"/>
                    </a:moveTo>
                    <a:lnTo>
                      <a:pt x="0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1" y="0"/>
                    </a:lnTo>
                    <a:lnTo>
                      <a:pt x="11" y="4"/>
                    </a:lnTo>
                    <a:lnTo>
                      <a:pt x="13" y="10"/>
                    </a:lnTo>
                    <a:lnTo>
                      <a:pt x="11" y="14"/>
                    </a:lnTo>
                    <a:lnTo>
                      <a:pt x="10" y="16"/>
                    </a:lnTo>
                    <a:lnTo>
                      <a:pt x="6" y="16"/>
                    </a:lnTo>
                    <a:lnTo>
                      <a:pt x="4" y="14"/>
                    </a:lnTo>
                    <a:lnTo>
                      <a:pt x="2" y="12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4" name="Freeform 14"/>
              <p:cNvSpPr>
                <a:spLocks/>
              </p:cNvSpPr>
              <p:nvPr/>
            </p:nvSpPr>
            <p:spPr bwMode="auto">
              <a:xfrm>
                <a:off x="3521" y="1440"/>
                <a:ext cx="13" cy="13"/>
              </a:xfrm>
              <a:custGeom>
                <a:avLst/>
                <a:gdLst>
                  <a:gd name="T0" fmla="*/ 0 w 12"/>
                  <a:gd name="T1" fmla="*/ 6 h 11"/>
                  <a:gd name="T2" fmla="*/ 0 w 12"/>
                  <a:gd name="T3" fmla="*/ 4 h 11"/>
                  <a:gd name="T4" fmla="*/ 2 w 12"/>
                  <a:gd name="T5" fmla="*/ 2 h 11"/>
                  <a:gd name="T6" fmla="*/ 4 w 12"/>
                  <a:gd name="T7" fmla="*/ 2 h 11"/>
                  <a:gd name="T8" fmla="*/ 4 w 12"/>
                  <a:gd name="T9" fmla="*/ 0 h 11"/>
                  <a:gd name="T10" fmla="*/ 6 w 12"/>
                  <a:gd name="T11" fmla="*/ 0 h 11"/>
                  <a:gd name="T12" fmla="*/ 10 w 12"/>
                  <a:gd name="T13" fmla="*/ 0 h 11"/>
                  <a:gd name="T14" fmla="*/ 10 w 12"/>
                  <a:gd name="T15" fmla="*/ 0 h 11"/>
                  <a:gd name="T16" fmla="*/ 12 w 12"/>
                  <a:gd name="T17" fmla="*/ 0 h 11"/>
                  <a:gd name="T18" fmla="*/ 12 w 12"/>
                  <a:gd name="T19" fmla="*/ 4 h 11"/>
                  <a:gd name="T20" fmla="*/ 12 w 12"/>
                  <a:gd name="T21" fmla="*/ 6 h 11"/>
                  <a:gd name="T22" fmla="*/ 10 w 12"/>
                  <a:gd name="T23" fmla="*/ 9 h 11"/>
                  <a:gd name="T24" fmla="*/ 8 w 12"/>
                  <a:gd name="T25" fmla="*/ 11 h 11"/>
                  <a:gd name="T26" fmla="*/ 4 w 12"/>
                  <a:gd name="T27" fmla="*/ 11 h 11"/>
                  <a:gd name="T28" fmla="*/ 2 w 12"/>
                  <a:gd name="T29" fmla="*/ 9 h 11"/>
                  <a:gd name="T30" fmla="*/ 0 w 12"/>
                  <a:gd name="T31" fmla="*/ 8 h 11"/>
                  <a:gd name="T32" fmla="*/ 0 w 12"/>
                  <a:gd name="T33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" h="11">
                    <a:moveTo>
                      <a:pt x="0" y="6"/>
                    </a:moveTo>
                    <a:lnTo>
                      <a:pt x="0" y="4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2" y="0"/>
                    </a:lnTo>
                    <a:lnTo>
                      <a:pt x="12" y="4"/>
                    </a:lnTo>
                    <a:lnTo>
                      <a:pt x="12" y="6"/>
                    </a:lnTo>
                    <a:lnTo>
                      <a:pt x="10" y="9"/>
                    </a:lnTo>
                    <a:lnTo>
                      <a:pt x="8" y="11"/>
                    </a:lnTo>
                    <a:lnTo>
                      <a:pt x="4" y="11"/>
                    </a:lnTo>
                    <a:lnTo>
                      <a:pt x="2" y="9"/>
                    </a:lnTo>
                    <a:lnTo>
                      <a:pt x="0" y="8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" name="Freeform 15"/>
              <p:cNvSpPr>
                <a:spLocks/>
              </p:cNvSpPr>
              <p:nvPr/>
            </p:nvSpPr>
            <p:spPr bwMode="auto">
              <a:xfrm>
                <a:off x="3552" y="1440"/>
                <a:ext cx="174" cy="132"/>
              </a:xfrm>
              <a:custGeom>
                <a:avLst/>
                <a:gdLst>
                  <a:gd name="T0" fmla="*/ 159 w 159"/>
                  <a:gd name="T1" fmla="*/ 11 h 121"/>
                  <a:gd name="T2" fmla="*/ 148 w 159"/>
                  <a:gd name="T3" fmla="*/ 4 h 121"/>
                  <a:gd name="T4" fmla="*/ 134 w 159"/>
                  <a:gd name="T5" fmla="*/ 9 h 121"/>
                  <a:gd name="T6" fmla="*/ 119 w 159"/>
                  <a:gd name="T7" fmla="*/ 2 h 121"/>
                  <a:gd name="T8" fmla="*/ 102 w 159"/>
                  <a:gd name="T9" fmla="*/ 0 h 121"/>
                  <a:gd name="T10" fmla="*/ 88 w 159"/>
                  <a:gd name="T11" fmla="*/ 6 h 121"/>
                  <a:gd name="T12" fmla="*/ 75 w 159"/>
                  <a:gd name="T13" fmla="*/ 8 h 121"/>
                  <a:gd name="T14" fmla="*/ 62 w 159"/>
                  <a:gd name="T15" fmla="*/ 15 h 121"/>
                  <a:gd name="T16" fmla="*/ 50 w 159"/>
                  <a:gd name="T17" fmla="*/ 11 h 121"/>
                  <a:gd name="T18" fmla="*/ 38 w 159"/>
                  <a:gd name="T19" fmla="*/ 9 h 121"/>
                  <a:gd name="T20" fmla="*/ 27 w 159"/>
                  <a:gd name="T21" fmla="*/ 15 h 121"/>
                  <a:gd name="T22" fmla="*/ 14 w 159"/>
                  <a:gd name="T23" fmla="*/ 15 h 121"/>
                  <a:gd name="T24" fmla="*/ 12 w 159"/>
                  <a:gd name="T25" fmla="*/ 29 h 121"/>
                  <a:gd name="T26" fmla="*/ 14 w 159"/>
                  <a:gd name="T27" fmla="*/ 40 h 121"/>
                  <a:gd name="T28" fmla="*/ 10 w 159"/>
                  <a:gd name="T29" fmla="*/ 52 h 121"/>
                  <a:gd name="T30" fmla="*/ 0 w 159"/>
                  <a:gd name="T31" fmla="*/ 63 h 121"/>
                  <a:gd name="T32" fmla="*/ 4 w 159"/>
                  <a:gd name="T33" fmla="*/ 73 h 121"/>
                  <a:gd name="T34" fmla="*/ 2 w 159"/>
                  <a:gd name="T35" fmla="*/ 82 h 121"/>
                  <a:gd name="T36" fmla="*/ 0 w 159"/>
                  <a:gd name="T37" fmla="*/ 100 h 121"/>
                  <a:gd name="T38" fmla="*/ 6 w 159"/>
                  <a:gd name="T39" fmla="*/ 111 h 121"/>
                  <a:gd name="T40" fmla="*/ 17 w 159"/>
                  <a:gd name="T41" fmla="*/ 121 h 121"/>
                  <a:gd name="T42" fmla="*/ 31 w 159"/>
                  <a:gd name="T43" fmla="*/ 121 h 121"/>
                  <a:gd name="T44" fmla="*/ 44 w 159"/>
                  <a:gd name="T45" fmla="*/ 117 h 121"/>
                  <a:gd name="T46" fmla="*/ 60 w 159"/>
                  <a:gd name="T47" fmla="*/ 119 h 121"/>
                  <a:gd name="T48" fmla="*/ 71 w 159"/>
                  <a:gd name="T49" fmla="*/ 115 h 121"/>
                  <a:gd name="T50" fmla="*/ 85 w 159"/>
                  <a:gd name="T51" fmla="*/ 113 h 121"/>
                  <a:gd name="T52" fmla="*/ 98 w 159"/>
                  <a:gd name="T53" fmla="*/ 111 h 121"/>
                  <a:gd name="T54" fmla="*/ 109 w 159"/>
                  <a:gd name="T55" fmla="*/ 102 h 121"/>
                  <a:gd name="T56" fmla="*/ 121 w 159"/>
                  <a:gd name="T57" fmla="*/ 94 h 121"/>
                  <a:gd name="T58" fmla="*/ 127 w 159"/>
                  <a:gd name="T59" fmla="*/ 84 h 121"/>
                  <a:gd name="T60" fmla="*/ 133 w 159"/>
                  <a:gd name="T61" fmla="*/ 75 h 121"/>
                  <a:gd name="T62" fmla="*/ 142 w 159"/>
                  <a:gd name="T63" fmla="*/ 69 h 121"/>
                  <a:gd name="T64" fmla="*/ 144 w 159"/>
                  <a:gd name="T65" fmla="*/ 59 h 121"/>
                  <a:gd name="T66" fmla="*/ 140 w 159"/>
                  <a:gd name="T67" fmla="*/ 46 h 121"/>
                  <a:gd name="T68" fmla="*/ 150 w 159"/>
                  <a:gd name="T69" fmla="*/ 38 h 121"/>
                  <a:gd name="T70" fmla="*/ 156 w 159"/>
                  <a:gd name="T71" fmla="*/ 23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9" h="121">
                    <a:moveTo>
                      <a:pt x="156" y="23"/>
                    </a:moveTo>
                    <a:lnTo>
                      <a:pt x="159" y="11"/>
                    </a:lnTo>
                    <a:lnTo>
                      <a:pt x="157" y="6"/>
                    </a:lnTo>
                    <a:lnTo>
                      <a:pt x="148" y="4"/>
                    </a:lnTo>
                    <a:lnTo>
                      <a:pt x="140" y="8"/>
                    </a:lnTo>
                    <a:lnTo>
                      <a:pt x="134" y="9"/>
                    </a:lnTo>
                    <a:lnTo>
                      <a:pt x="129" y="8"/>
                    </a:lnTo>
                    <a:lnTo>
                      <a:pt x="119" y="2"/>
                    </a:lnTo>
                    <a:lnTo>
                      <a:pt x="109" y="0"/>
                    </a:lnTo>
                    <a:lnTo>
                      <a:pt x="102" y="0"/>
                    </a:lnTo>
                    <a:lnTo>
                      <a:pt x="94" y="2"/>
                    </a:lnTo>
                    <a:lnTo>
                      <a:pt x="88" y="6"/>
                    </a:lnTo>
                    <a:lnTo>
                      <a:pt x="81" y="8"/>
                    </a:lnTo>
                    <a:lnTo>
                      <a:pt x="75" y="8"/>
                    </a:lnTo>
                    <a:lnTo>
                      <a:pt x="69" y="11"/>
                    </a:lnTo>
                    <a:lnTo>
                      <a:pt x="62" y="15"/>
                    </a:lnTo>
                    <a:lnTo>
                      <a:pt x="58" y="13"/>
                    </a:lnTo>
                    <a:lnTo>
                      <a:pt x="50" y="11"/>
                    </a:lnTo>
                    <a:lnTo>
                      <a:pt x="44" y="11"/>
                    </a:lnTo>
                    <a:lnTo>
                      <a:pt x="38" y="9"/>
                    </a:lnTo>
                    <a:lnTo>
                      <a:pt x="31" y="11"/>
                    </a:lnTo>
                    <a:lnTo>
                      <a:pt x="27" y="15"/>
                    </a:lnTo>
                    <a:lnTo>
                      <a:pt x="19" y="13"/>
                    </a:lnTo>
                    <a:lnTo>
                      <a:pt x="14" y="15"/>
                    </a:lnTo>
                    <a:lnTo>
                      <a:pt x="10" y="19"/>
                    </a:lnTo>
                    <a:lnTo>
                      <a:pt x="12" y="29"/>
                    </a:lnTo>
                    <a:lnTo>
                      <a:pt x="15" y="34"/>
                    </a:lnTo>
                    <a:lnTo>
                      <a:pt x="14" y="40"/>
                    </a:lnTo>
                    <a:lnTo>
                      <a:pt x="14" y="48"/>
                    </a:lnTo>
                    <a:lnTo>
                      <a:pt x="10" y="52"/>
                    </a:lnTo>
                    <a:lnTo>
                      <a:pt x="6" y="57"/>
                    </a:lnTo>
                    <a:lnTo>
                      <a:pt x="0" y="63"/>
                    </a:lnTo>
                    <a:lnTo>
                      <a:pt x="0" y="67"/>
                    </a:lnTo>
                    <a:lnTo>
                      <a:pt x="4" y="73"/>
                    </a:lnTo>
                    <a:lnTo>
                      <a:pt x="2" y="77"/>
                    </a:lnTo>
                    <a:lnTo>
                      <a:pt x="2" y="82"/>
                    </a:lnTo>
                    <a:lnTo>
                      <a:pt x="0" y="88"/>
                    </a:lnTo>
                    <a:lnTo>
                      <a:pt x="0" y="100"/>
                    </a:lnTo>
                    <a:lnTo>
                      <a:pt x="2" y="105"/>
                    </a:lnTo>
                    <a:lnTo>
                      <a:pt x="6" y="111"/>
                    </a:lnTo>
                    <a:lnTo>
                      <a:pt x="10" y="113"/>
                    </a:lnTo>
                    <a:lnTo>
                      <a:pt x="17" y="121"/>
                    </a:lnTo>
                    <a:lnTo>
                      <a:pt x="23" y="121"/>
                    </a:lnTo>
                    <a:lnTo>
                      <a:pt x="31" y="121"/>
                    </a:lnTo>
                    <a:lnTo>
                      <a:pt x="40" y="121"/>
                    </a:lnTo>
                    <a:lnTo>
                      <a:pt x="44" y="117"/>
                    </a:lnTo>
                    <a:lnTo>
                      <a:pt x="50" y="115"/>
                    </a:lnTo>
                    <a:lnTo>
                      <a:pt x="60" y="119"/>
                    </a:lnTo>
                    <a:lnTo>
                      <a:pt x="67" y="117"/>
                    </a:lnTo>
                    <a:lnTo>
                      <a:pt x="71" y="115"/>
                    </a:lnTo>
                    <a:lnTo>
                      <a:pt x="79" y="113"/>
                    </a:lnTo>
                    <a:lnTo>
                      <a:pt x="85" y="113"/>
                    </a:lnTo>
                    <a:lnTo>
                      <a:pt x="92" y="113"/>
                    </a:lnTo>
                    <a:lnTo>
                      <a:pt x="98" y="111"/>
                    </a:lnTo>
                    <a:lnTo>
                      <a:pt x="106" y="105"/>
                    </a:lnTo>
                    <a:lnTo>
                      <a:pt x="109" y="102"/>
                    </a:lnTo>
                    <a:lnTo>
                      <a:pt x="113" y="96"/>
                    </a:lnTo>
                    <a:lnTo>
                      <a:pt x="121" y="94"/>
                    </a:lnTo>
                    <a:lnTo>
                      <a:pt x="125" y="90"/>
                    </a:lnTo>
                    <a:lnTo>
                      <a:pt x="127" y="84"/>
                    </a:lnTo>
                    <a:lnTo>
                      <a:pt x="129" y="80"/>
                    </a:lnTo>
                    <a:lnTo>
                      <a:pt x="133" y="75"/>
                    </a:lnTo>
                    <a:lnTo>
                      <a:pt x="136" y="73"/>
                    </a:lnTo>
                    <a:lnTo>
                      <a:pt x="142" y="69"/>
                    </a:lnTo>
                    <a:lnTo>
                      <a:pt x="142" y="65"/>
                    </a:lnTo>
                    <a:lnTo>
                      <a:pt x="144" y="59"/>
                    </a:lnTo>
                    <a:lnTo>
                      <a:pt x="142" y="52"/>
                    </a:lnTo>
                    <a:lnTo>
                      <a:pt x="140" y="46"/>
                    </a:lnTo>
                    <a:lnTo>
                      <a:pt x="144" y="42"/>
                    </a:lnTo>
                    <a:lnTo>
                      <a:pt x="150" y="38"/>
                    </a:lnTo>
                    <a:lnTo>
                      <a:pt x="154" y="32"/>
                    </a:lnTo>
                    <a:lnTo>
                      <a:pt x="156" y="23"/>
                    </a:lnTo>
                    <a:close/>
                  </a:path>
                </a:pathLst>
              </a:custGeom>
              <a:grpFill/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" name="Freeform 16"/>
              <p:cNvSpPr>
                <a:spLocks/>
              </p:cNvSpPr>
              <p:nvPr/>
            </p:nvSpPr>
            <p:spPr bwMode="auto">
              <a:xfrm>
                <a:off x="3465" y="1477"/>
                <a:ext cx="33" cy="45"/>
              </a:xfrm>
              <a:custGeom>
                <a:avLst/>
                <a:gdLst>
                  <a:gd name="T0" fmla="*/ 15 w 30"/>
                  <a:gd name="T1" fmla="*/ 33 h 41"/>
                  <a:gd name="T2" fmla="*/ 15 w 30"/>
                  <a:gd name="T3" fmla="*/ 37 h 41"/>
                  <a:gd name="T4" fmla="*/ 13 w 30"/>
                  <a:gd name="T5" fmla="*/ 39 h 41"/>
                  <a:gd name="T6" fmla="*/ 9 w 30"/>
                  <a:gd name="T7" fmla="*/ 41 h 41"/>
                  <a:gd name="T8" fmla="*/ 7 w 30"/>
                  <a:gd name="T9" fmla="*/ 41 h 41"/>
                  <a:gd name="T10" fmla="*/ 3 w 30"/>
                  <a:gd name="T11" fmla="*/ 41 h 41"/>
                  <a:gd name="T12" fmla="*/ 1 w 30"/>
                  <a:gd name="T13" fmla="*/ 39 h 41"/>
                  <a:gd name="T14" fmla="*/ 0 w 30"/>
                  <a:gd name="T15" fmla="*/ 37 h 41"/>
                  <a:gd name="T16" fmla="*/ 1 w 30"/>
                  <a:gd name="T17" fmla="*/ 31 h 41"/>
                  <a:gd name="T18" fmla="*/ 3 w 30"/>
                  <a:gd name="T19" fmla="*/ 27 h 41"/>
                  <a:gd name="T20" fmla="*/ 7 w 30"/>
                  <a:gd name="T21" fmla="*/ 21 h 41"/>
                  <a:gd name="T22" fmla="*/ 9 w 30"/>
                  <a:gd name="T23" fmla="*/ 18 h 41"/>
                  <a:gd name="T24" fmla="*/ 11 w 30"/>
                  <a:gd name="T25" fmla="*/ 12 h 41"/>
                  <a:gd name="T26" fmla="*/ 13 w 30"/>
                  <a:gd name="T27" fmla="*/ 8 h 41"/>
                  <a:gd name="T28" fmla="*/ 15 w 30"/>
                  <a:gd name="T29" fmla="*/ 4 h 41"/>
                  <a:gd name="T30" fmla="*/ 19 w 30"/>
                  <a:gd name="T31" fmla="*/ 2 h 41"/>
                  <a:gd name="T32" fmla="*/ 23 w 30"/>
                  <a:gd name="T33" fmla="*/ 0 h 41"/>
                  <a:gd name="T34" fmla="*/ 26 w 30"/>
                  <a:gd name="T35" fmla="*/ 2 h 41"/>
                  <a:gd name="T36" fmla="*/ 30 w 30"/>
                  <a:gd name="T37" fmla="*/ 6 h 41"/>
                  <a:gd name="T38" fmla="*/ 30 w 30"/>
                  <a:gd name="T39" fmla="*/ 10 h 41"/>
                  <a:gd name="T40" fmla="*/ 28 w 30"/>
                  <a:gd name="T41" fmla="*/ 14 h 41"/>
                  <a:gd name="T42" fmla="*/ 26 w 30"/>
                  <a:gd name="T43" fmla="*/ 16 h 41"/>
                  <a:gd name="T44" fmla="*/ 24 w 30"/>
                  <a:gd name="T45" fmla="*/ 18 h 41"/>
                  <a:gd name="T46" fmla="*/ 23 w 30"/>
                  <a:gd name="T47" fmla="*/ 21 h 41"/>
                  <a:gd name="T48" fmla="*/ 23 w 30"/>
                  <a:gd name="T49" fmla="*/ 25 h 41"/>
                  <a:gd name="T50" fmla="*/ 21 w 30"/>
                  <a:gd name="T51" fmla="*/ 25 h 41"/>
                  <a:gd name="T52" fmla="*/ 21 w 30"/>
                  <a:gd name="T53" fmla="*/ 27 h 41"/>
                  <a:gd name="T54" fmla="*/ 19 w 30"/>
                  <a:gd name="T55" fmla="*/ 29 h 41"/>
                  <a:gd name="T56" fmla="*/ 15 w 30"/>
                  <a:gd name="T57" fmla="*/ 33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0" h="41">
                    <a:moveTo>
                      <a:pt x="15" y="33"/>
                    </a:moveTo>
                    <a:lnTo>
                      <a:pt x="15" y="37"/>
                    </a:lnTo>
                    <a:lnTo>
                      <a:pt x="13" y="39"/>
                    </a:lnTo>
                    <a:lnTo>
                      <a:pt x="9" y="41"/>
                    </a:lnTo>
                    <a:lnTo>
                      <a:pt x="7" y="41"/>
                    </a:lnTo>
                    <a:lnTo>
                      <a:pt x="3" y="41"/>
                    </a:lnTo>
                    <a:lnTo>
                      <a:pt x="1" y="39"/>
                    </a:lnTo>
                    <a:lnTo>
                      <a:pt x="0" y="37"/>
                    </a:lnTo>
                    <a:lnTo>
                      <a:pt x="1" y="31"/>
                    </a:lnTo>
                    <a:lnTo>
                      <a:pt x="3" y="27"/>
                    </a:lnTo>
                    <a:lnTo>
                      <a:pt x="7" y="21"/>
                    </a:lnTo>
                    <a:lnTo>
                      <a:pt x="9" y="18"/>
                    </a:lnTo>
                    <a:lnTo>
                      <a:pt x="11" y="12"/>
                    </a:lnTo>
                    <a:lnTo>
                      <a:pt x="13" y="8"/>
                    </a:lnTo>
                    <a:lnTo>
                      <a:pt x="15" y="4"/>
                    </a:lnTo>
                    <a:lnTo>
                      <a:pt x="19" y="2"/>
                    </a:lnTo>
                    <a:lnTo>
                      <a:pt x="23" y="0"/>
                    </a:lnTo>
                    <a:lnTo>
                      <a:pt x="26" y="2"/>
                    </a:lnTo>
                    <a:lnTo>
                      <a:pt x="30" y="6"/>
                    </a:lnTo>
                    <a:lnTo>
                      <a:pt x="30" y="10"/>
                    </a:lnTo>
                    <a:lnTo>
                      <a:pt x="28" y="14"/>
                    </a:lnTo>
                    <a:lnTo>
                      <a:pt x="26" y="16"/>
                    </a:lnTo>
                    <a:lnTo>
                      <a:pt x="24" y="18"/>
                    </a:lnTo>
                    <a:lnTo>
                      <a:pt x="23" y="21"/>
                    </a:lnTo>
                    <a:lnTo>
                      <a:pt x="23" y="25"/>
                    </a:lnTo>
                    <a:lnTo>
                      <a:pt x="21" y="25"/>
                    </a:lnTo>
                    <a:lnTo>
                      <a:pt x="21" y="27"/>
                    </a:lnTo>
                    <a:lnTo>
                      <a:pt x="19" y="29"/>
                    </a:lnTo>
                    <a:lnTo>
                      <a:pt x="15" y="33"/>
                    </a:lnTo>
                    <a:close/>
                  </a:path>
                </a:pathLst>
              </a:custGeom>
              <a:grpFill/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7" name="Freeform 17"/>
              <p:cNvSpPr>
                <a:spLocks/>
              </p:cNvSpPr>
              <p:nvPr/>
            </p:nvSpPr>
            <p:spPr bwMode="auto">
              <a:xfrm>
                <a:off x="3502" y="1484"/>
                <a:ext cx="46" cy="28"/>
              </a:xfrm>
              <a:custGeom>
                <a:avLst/>
                <a:gdLst>
                  <a:gd name="T0" fmla="*/ 13 w 42"/>
                  <a:gd name="T1" fmla="*/ 25 h 25"/>
                  <a:gd name="T2" fmla="*/ 12 w 42"/>
                  <a:gd name="T3" fmla="*/ 25 h 25"/>
                  <a:gd name="T4" fmla="*/ 8 w 42"/>
                  <a:gd name="T5" fmla="*/ 25 h 25"/>
                  <a:gd name="T6" fmla="*/ 6 w 42"/>
                  <a:gd name="T7" fmla="*/ 25 h 25"/>
                  <a:gd name="T8" fmla="*/ 4 w 42"/>
                  <a:gd name="T9" fmla="*/ 25 h 25"/>
                  <a:gd name="T10" fmla="*/ 2 w 42"/>
                  <a:gd name="T11" fmla="*/ 23 h 25"/>
                  <a:gd name="T12" fmla="*/ 0 w 42"/>
                  <a:gd name="T13" fmla="*/ 21 h 25"/>
                  <a:gd name="T14" fmla="*/ 0 w 42"/>
                  <a:gd name="T15" fmla="*/ 19 h 25"/>
                  <a:gd name="T16" fmla="*/ 0 w 42"/>
                  <a:gd name="T17" fmla="*/ 17 h 25"/>
                  <a:gd name="T18" fmla="*/ 2 w 42"/>
                  <a:gd name="T19" fmla="*/ 15 h 25"/>
                  <a:gd name="T20" fmla="*/ 4 w 42"/>
                  <a:gd name="T21" fmla="*/ 14 h 25"/>
                  <a:gd name="T22" fmla="*/ 8 w 42"/>
                  <a:gd name="T23" fmla="*/ 12 h 25"/>
                  <a:gd name="T24" fmla="*/ 13 w 42"/>
                  <a:gd name="T25" fmla="*/ 12 h 25"/>
                  <a:gd name="T26" fmla="*/ 19 w 42"/>
                  <a:gd name="T27" fmla="*/ 8 h 25"/>
                  <a:gd name="T28" fmla="*/ 23 w 42"/>
                  <a:gd name="T29" fmla="*/ 4 h 25"/>
                  <a:gd name="T30" fmla="*/ 27 w 42"/>
                  <a:gd name="T31" fmla="*/ 2 h 25"/>
                  <a:gd name="T32" fmla="*/ 31 w 42"/>
                  <a:gd name="T33" fmla="*/ 0 h 25"/>
                  <a:gd name="T34" fmla="*/ 33 w 42"/>
                  <a:gd name="T35" fmla="*/ 0 h 25"/>
                  <a:gd name="T36" fmla="*/ 37 w 42"/>
                  <a:gd name="T37" fmla="*/ 0 h 25"/>
                  <a:gd name="T38" fmla="*/ 38 w 42"/>
                  <a:gd name="T39" fmla="*/ 2 h 25"/>
                  <a:gd name="T40" fmla="*/ 40 w 42"/>
                  <a:gd name="T41" fmla="*/ 2 h 25"/>
                  <a:gd name="T42" fmla="*/ 40 w 42"/>
                  <a:gd name="T43" fmla="*/ 4 h 25"/>
                  <a:gd name="T44" fmla="*/ 40 w 42"/>
                  <a:gd name="T45" fmla="*/ 6 h 25"/>
                  <a:gd name="T46" fmla="*/ 42 w 42"/>
                  <a:gd name="T47" fmla="*/ 8 h 25"/>
                  <a:gd name="T48" fmla="*/ 42 w 42"/>
                  <a:gd name="T49" fmla="*/ 10 h 25"/>
                  <a:gd name="T50" fmla="*/ 42 w 42"/>
                  <a:gd name="T51" fmla="*/ 12 h 25"/>
                  <a:gd name="T52" fmla="*/ 42 w 42"/>
                  <a:gd name="T53" fmla="*/ 14 h 25"/>
                  <a:gd name="T54" fmla="*/ 42 w 42"/>
                  <a:gd name="T55" fmla="*/ 15 h 25"/>
                  <a:gd name="T56" fmla="*/ 42 w 42"/>
                  <a:gd name="T57" fmla="*/ 15 h 25"/>
                  <a:gd name="T58" fmla="*/ 42 w 42"/>
                  <a:gd name="T59" fmla="*/ 17 h 25"/>
                  <a:gd name="T60" fmla="*/ 40 w 42"/>
                  <a:gd name="T61" fmla="*/ 19 h 25"/>
                  <a:gd name="T62" fmla="*/ 40 w 42"/>
                  <a:gd name="T63" fmla="*/ 21 h 25"/>
                  <a:gd name="T64" fmla="*/ 38 w 42"/>
                  <a:gd name="T65" fmla="*/ 21 h 25"/>
                  <a:gd name="T66" fmla="*/ 35 w 42"/>
                  <a:gd name="T67" fmla="*/ 21 h 25"/>
                  <a:gd name="T68" fmla="*/ 33 w 42"/>
                  <a:gd name="T69" fmla="*/ 23 h 25"/>
                  <a:gd name="T70" fmla="*/ 31 w 42"/>
                  <a:gd name="T71" fmla="*/ 23 h 25"/>
                  <a:gd name="T72" fmla="*/ 29 w 42"/>
                  <a:gd name="T73" fmla="*/ 23 h 25"/>
                  <a:gd name="T74" fmla="*/ 27 w 42"/>
                  <a:gd name="T75" fmla="*/ 23 h 25"/>
                  <a:gd name="T76" fmla="*/ 25 w 42"/>
                  <a:gd name="T77" fmla="*/ 23 h 25"/>
                  <a:gd name="T78" fmla="*/ 25 w 42"/>
                  <a:gd name="T79" fmla="*/ 23 h 25"/>
                  <a:gd name="T80" fmla="*/ 23 w 42"/>
                  <a:gd name="T81" fmla="*/ 23 h 25"/>
                  <a:gd name="T82" fmla="*/ 21 w 42"/>
                  <a:gd name="T83" fmla="*/ 23 h 25"/>
                  <a:gd name="T84" fmla="*/ 17 w 42"/>
                  <a:gd name="T85" fmla="*/ 23 h 25"/>
                  <a:gd name="T86" fmla="*/ 13 w 42"/>
                  <a:gd name="T87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42" h="25">
                    <a:moveTo>
                      <a:pt x="13" y="25"/>
                    </a:moveTo>
                    <a:lnTo>
                      <a:pt x="12" y="25"/>
                    </a:lnTo>
                    <a:lnTo>
                      <a:pt x="8" y="25"/>
                    </a:lnTo>
                    <a:lnTo>
                      <a:pt x="6" y="25"/>
                    </a:lnTo>
                    <a:lnTo>
                      <a:pt x="4" y="25"/>
                    </a:lnTo>
                    <a:lnTo>
                      <a:pt x="2" y="23"/>
                    </a:lnTo>
                    <a:lnTo>
                      <a:pt x="0" y="21"/>
                    </a:lnTo>
                    <a:lnTo>
                      <a:pt x="0" y="19"/>
                    </a:lnTo>
                    <a:lnTo>
                      <a:pt x="0" y="17"/>
                    </a:lnTo>
                    <a:lnTo>
                      <a:pt x="2" y="15"/>
                    </a:lnTo>
                    <a:lnTo>
                      <a:pt x="4" y="14"/>
                    </a:lnTo>
                    <a:lnTo>
                      <a:pt x="8" y="12"/>
                    </a:lnTo>
                    <a:lnTo>
                      <a:pt x="13" y="12"/>
                    </a:lnTo>
                    <a:lnTo>
                      <a:pt x="19" y="8"/>
                    </a:lnTo>
                    <a:lnTo>
                      <a:pt x="23" y="4"/>
                    </a:lnTo>
                    <a:lnTo>
                      <a:pt x="27" y="2"/>
                    </a:lnTo>
                    <a:lnTo>
                      <a:pt x="31" y="0"/>
                    </a:lnTo>
                    <a:lnTo>
                      <a:pt x="33" y="0"/>
                    </a:lnTo>
                    <a:lnTo>
                      <a:pt x="37" y="0"/>
                    </a:lnTo>
                    <a:lnTo>
                      <a:pt x="38" y="2"/>
                    </a:lnTo>
                    <a:lnTo>
                      <a:pt x="40" y="2"/>
                    </a:lnTo>
                    <a:lnTo>
                      <a:pt x="40" y="4"/>
                    </a:lnTo>
                    <a:lnTo>
                      <a:pt x="40" y="6"/>
                    </a:lnTo>
                    <a:lnTo>
                      <a:pt x="42" y="8"/>
                    </a:lnTo>
                    <a:lnTo>
                      <a:pt x="42" y="10"/>
                    </a:lnTo>
                    <a:lnTo>
                      <a:pt x="42" y="12"/>
                    </a:lnTo>
                    <a:lnTo>
                      <a:pt x="42" y="14"/>
                    </a:lnTo>
                    <a:lnTo>
                      <a:pt x="42" y="15"/>
                    </a:lnTo>
                    <a:lnTo>
                      <a:pt x="42" y="15"/>
                    </a:lnTo>
                    <a:lnTo>
                      <a:pt x="42" y="17"/>
                    </a:lnTo>
                    <a:lnTo>
                      <a:pt x="40" y="19"/>
                    </a:lnTo>
                    <a:lnTo>
                      <a:pt x="40" y="21"/>
                    </a:lnTo>
                    <a:lnTo>
                      <a:pt x="38" y="21"/>
                    </a:lnTo>
                    <a:lnTo>
                      <a:pt x="35" y="21"/>
                    </a:lnTo>
                    <a:lnTo>
                      <a:pt x="33" y="23"/>
                    </a:lnTo>
                    <a:lnTo>
                      <a:pt x="31" y="23"/>
                    </a:lnTo>
                    <a:lnTo>
                      <a:pt x="29" y="23"/>
                    </a:lnTo>
                    <a:lnTo>
                      <a:pt x="27" y="23"/>
                    </a:lnTo>
                    <a:lnTo>
                      <a:pt x="25" y="23"/>
                    </a:lnTo>
                    <a:lnTo>
                      <a:pt x="25" y="23"/>
                    </a:lnTo>
                    <a:lnTo>
                      <a:pt x="23" y="23"/>
                    </a:lnTo>
                    <a:lnTo>
                      <a:pt x="21" y="23"/>
                    </a:lnTo>
                    <a:lnTo>
                      <a:pt x="17" y="23"/>
                    </a:lnTo>
                    <a:lnTo>
                      <a:pt x="13" y="25"/>
                    </a:lnTo>
                    <a:close/>
                  </a:path>
                </a:pathLst>
              </a:custGeom>
              <a:grpFill/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8" name="Freeform 18"/>
              <p:cNvSpPr>
                <a:spLocks/>
              </p:cNvSpPr>
              <p:nvPr/>
            </p:nvSpPr>
            <p:spPr bwMode="auto">
              <a:xfrm>
                <a:off x="3569" y="1401"/>
                <a:ext cx="55" cy="39"/>
              </a:xfrm>
              <a:custGeom>
                <a:avLst/>
                <a:gdLst>
                  <a:gd name="T0" fmla="*/ 50 w 50"/>
                  <a:gd name="T1" fmla="*/ 22 h 37"/>
                  <a:gd name="T2" fmla="*/ 48 w 50"/>
                  <a:gd name="T3" fmla="*/ 16 h 37"/>
                  <a:gd name="T4" fmla="*/ 43 w 50"/>
                  <a:gd name="T5" fmla="*/ 14 h 37"/>
                  <a:gd name="T6" fmla="*/ 37 w 50"/>
                  <a:gd name="T7" fmla="*/ 10 h 37"/>
                  <a:gd name="T8" fmla="*/ 29 w 50"/>
                  <a:gd name="T9" fmla="*/ 6 h 37"/>
                  <a:gd name="T10" fmla="*/ 22 w 50"/>
                  <a:gd name="T11" fmla="*/ 2 h 37"/>
                  <a:gd name="T12" fmla="*/ 16 w 50"/>
                  <a:gd name="T13" fmla="*/ 0 h 37"/>
                  <a:gd name="T14" fmla="*/ 10 w 50"/>
                  <a:gd name="T15" fmla="*/ 2 h 37"/>
                  <a:gd name="T16" fmla="*/ 4 w 50"/>
                  <a:gd name="T17" fmla="*/ 6 h 37"/>
                  <a:gd name="T18" fmla="*/ 0 w 50"/>
                  <a:gd name="T19" fmla="*/ 10 h 37"/>
                  <a:gd name="T20" fmla="*/ 0 w 50"/>
                  <a:gd name="T21" fmla="*/ 14 h 37"/>
                  <a:gd name="T22" fmla="*/ 2 w 50"/>
                  <a:gd name="T23" fmla="*/ 22 h 37"/>
                  <a:gd name="T24" fmla="*/ 8 w 50"/>
                  <a:gd name="T25" fmla="*/ 23 h 37"/>
                  <a:gd name="T26" fmla="*/ 14 w 50"/>
                  <a:gd name="T27" fmla="*/ 23 h 37"/>
                  <a:gd name="T28" fmla="*/ 16 w 50"/>
                  <a:gd name="T29" fmla="*/ 25 h 37"/>
                  <a:gd name="T30" fmla="*/ 22 w 50"/>
                  <a:gd name="T31" fmla="*/ 29 h 37"/>
                  <a:gd name="T32" fmla="*/ 23 w 50"/>
                  <a:gd name="T33" fmla="*/ 33 h 37"/>
                  <a:gd name="T34" fmla="*/ 25 w 50"/>
                  <a:gd name="T35" fmla="*/ 35 h 37"/>
                  <a:gd name="T36" fmla="*/ 29 w 50"/>
                  <a:gd name="T37" fmla="*/ 37 h 37"/>
                  <a:gd name="T38" fmla="*/ 35 w 50"/>
                  <a:gd name="T39" fmla="*/ 37 h 37"/>
                  <a:gd name="T40" fmla="*/ 39 w 50"/>
                  <a:gd name="T41" fmla="*/ 35 h 37"/>
                  <a:gd name="T42" fmla="*/ 41 w 50"/>
                  <a:gd name="T43" fmla="*/ 35 h 37"/>
                  <a:gd name="T44" fmla="*/ 43 w 50"/>
                  <a:gd name="T45" fmla="*/ 35 h 37"/>
                  <a:gd name="T46" fmla="*/ 43 w 50"/>
                  <a:gd name="T47" fmla="*/ 35 h 37"/>
                  <a:gd name="T48" fmla="*/ 43 w 50"/>
                  <a:gd name="T49" fmla="*/ 35 h 37"/>
                  <a:gd name="T50" fmla="*/ 43 w 50"/>
                  <a:gd name="T51" fmla="*/ 33 h 37"/>
                  <a:gd name="T52" fmla="*/ 43 w 50"/>
                  <a:gd name="T53" fmla="*/ 33 h 37"/>
                  <a:gd name="T54" fmla="*/ 43 w 50"/>
                  <a:gd name="T55" fmla="*/ 33 h 37"/>
                  <a:gd name="T56" fmla="*/ 45 w 50"/>
                  <a:gd name="T57" fmla="*/ 33 h 37"/>
                  <a:gd name="T58" fmla="*/ 45 w 50"/>
                  <a:gd name="T59" fmla="*/ 35 h 37"/>
                  <a:gd name="T60" fmla="*/ 47 w 50"/>
                  <a:gd name="T61" fmla="*/ 33 h 37"/>
                  <a:gd name="T62" fmla="*/ 48 w 50"/>
                  <a:gd name="T63" fmla="*/ 31 h 37"/>
                  <a:gd name="T64" fmla="*/ 50 w 50"/>
                  <a:gd name="T65" fmla="*/ 25 h 37"/>
                  <a:gd name="T66" fmla="*/ 50 w 50"/>
                  <a:gd name="T67" fmla="*/ 22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50" h="37">
                    <a:moveTo>
                      <a:pt x="50" y="22"/>
                    </a:moveTo>
                    <a:lnTo>
                      <a:pt x="48" y="16"/>
                    </a:lnTo>
                    <a:lnTo>
                      <a:pt x="43" y="14"/>
                    </a:lnTo>
                    <a:lnTo>
                      <a:pt x="37" y="10"/>
                    </a:lnTo>
                    <a:lnTo>
                      <a:pt x="29" y="6"/>
                    </a:lnTo>
                    <a:lnTo>
                      <a:pt x="22" y="2"/>
                    </a:lnTo>
                    <a:lnTo>
                      <a:pt x="16" y="0"/>
                    </a:lnTo>
                    <a:lnTo>
                      <a:pt x="10" y="2"/>
                    </a:lnTo>
                    <a:lnTo>
                      <a:pt x="4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2" y="22"/>
                    </a:lnTo>
                    <a:lnTo>
                      <a:pt x="8" y="23"/>
                    </a:lnTo>
                    <a:lnTo>
                      <a:pt x="14" y="23"/>
                    </a:lnTo>
                    <a:lnTo>
                      <a:pt x="16" y="25"/>
                    </a:lnTo>
                    <a:lnTo>
                      <a:pt x="22" y="29"/>
                    </a:lnTo>
                    <a:lnTo>
                      <a:pt x="23" y="33"/>
                    </a:lnTo>
                    <a:lnTo>
                      <a:pt x="25" y="35"/>
                    </a:lnTo>
                    <a:lnTo>
                      <a:pt x="29" y="37"/>
                    </a:lnTo>
                    <a:lnTo>
                      <a:pt x="35" y="37"/>
                    </a:lnTo>
                    <a:lnTo>
                      <a:pt x="39" y="35"/>
                    </a:lnTo>
                    <a:lnTo>
                      <a:pt x="41" y="35"/>
                    </a:lnTo>
                    <a:lnTo>
                      <a:pt x="43" y="35"/>
                    </a:lnTo>
                    <a:lnTo>
                      <a:pt x="43" y="35"/>
                    </a:lnTo>
                    <a:lnTo>
                      <a:pt x="43" y="35"/>
                    </a:lnTo>
                    <a:lnTo>
                      <a:pt x="43" y="33"/>
                    </a:lnTo>
                    <a:lnTo>
                      <a:pt x="43" y="33"/>
                    </a:lnTo>
                    <a:lnTo>
                      <a:pt x="43" y="33"/>
                    </a:lnTo>
                    <a:lnTo>
                      <a:pt x="45" y="33"/>
                    </a:lnTo>
                    <a:lnTo>
                      <a:pt x="45" y="35"/>
                    </a:lnTo>
                    <a:lnTo>
                      <a:pt x="47" y="33"/>
                    </a:lnTo>
                    <a:lnTo>
                      <a:pt x="48" y="31"/>
                    </a:lnTo>
                    <a:lnTo>
                      <a:pt x="50" y="25"/>
                    </a:lnTo>
                    <a:lnTo>
                      <a:pt x="50" y="22"/>
                    </a:lnTo>
                    <a:close/>
                  </a:path>
                </a:pathLst>
              </a:custGeom>
              <a:grpFill/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09905632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eform 3"/>
          <p:cNvSpPr>
            <a:spLocks/>
          </p:cNvSpPr>
          <p:nvPr/>
        </p:nvSpPr>
        <p:spPr bwMode="auto">
          <a:xfrm>
            <a:off x="3429147" y="403710"/>
            <a:ext cx="3845335" cy="2616871"/>
          </a:xfrm>
          <a:custGeom>
            <a:avLst/>
            <a:gdLst>
              <a:gd name="T0" fmla="*/ 1074 w 2150"/>
              <a:gd name="T1" fmla="*/ 1374 h 1467"/>
              <a:gd name="T2" fmla="*/ 1024 w 2150"/>
              <a:gd name="T3" fmla="*/ 1255 h 1467"/>
              <a:gd name="T4" fmla="*/ 964 w 2150"/>
              <a:gd name="T5" fmla="*/ 1120 h 1467"/>
              <a:gd name="T6" fmla="*/ 1193 w 2150"/>
              <a:gd name="T7" fmla="*/ 1078 h 1467"/>
              <a:gd name="T8" fmla="*/ 1247 w 2150"/>
              <a:gd name="T9" fmla="*/ 947 h 1467"/>
              <a:gd name="T10" fmla="*/ 1309 w 2150"/>
              <a:gd name="T11" fmla="*/ 1109 h 1467"/>
              <a:gd name="T12" fmla="*/ 1676 w 2150"/>
              <a:gd name="T13" fmla="*/ 1147 h 1467"/>
              <a:gd name="T14" fmla="*/ 1773 w 2150"/>
              <a:gd name="T15" fmla="*/ 1243 h 1467"/>
              <a:gd name="T16" fmla="*/ 1790 w 2150"/>
              <a:gd name="T17" fmla="*/ 1370 h 1467"/>
              <a:gd name="T18" fmla="*/ 1863 w 2150"/>
              <a:gd name="T19" fmla="*/ 1422 h 1467"/>
              <a:gd name="T20" fmla="*/ 1955 w 2150"/>
              <a:gd name="T21" fmla="*/ 1428 h 1467"/>
              <a:gd name="T22" fmla="*/ 2015 w 2150"/>
              <a:gd name="T23" fmla="*/ 1407 h 1467"/>
              <a:gd name="T24" fmla="*/ 2102 w 2150"/>
              <a:gd name="T25" fmla="*/ 1374 h 1467"/>
              <a:gd name="T26" fmla="*/ 2090 w 2150"/>
              <a:gd name="T27" fmla="*/ 1253 h 1467"/>
              <a:gd name="T28" fmla="*/ 2113 w 2150"/>
              <a:gd name="T29" fmla="*/ 1209 h 1467"/>
              <a:gd name="T30" fmla="*/ 2038 w 2150"/>
              <a:gd name="T31" fmla="*/ 1057 h 1467"/>
              <a:gd name="T32" fmla="*/ 2015 w 2150"/>
              <a:gd name="T33" fmla="*/ 962 h 1467"/>
              <a:gd name="T34" fmla="*/ 2021 w 2150"/>
              <a:gd name="T35" fmla="*/ 822 h 1467"/>
              <a:gd name="T36" fmla="*/ 1992 w 2150"/>
              <a:gd name="T37" fmla="*/ 747 h 1467"/>
              <a:gd name="T38" fmla="*/ 2090 w 2150"/>
              <a:gd name="T39" fmla="*/ 596 h 1467"/>
              <a:gd name="T40" fmla="*/ 2115 w 2150"/>
              <a:gd name="T41" fmla="*/ 467 h 1467"/>
              <a:gd name="T42" fmla="*/ 1913 w 2150"/>
              <a:gd name="T43" fmla="*/ 512 h 1467"/>
              <a:gd name="T44" fmla="*/ 1759 w 2150"/>
              <a:gd name="T45" fmla="*/ 533 h 1467"/>
              <a:gd name="T46" fmla="*/ 1694 w 2150"/>
              <a:gd name="T47" fmla="*/ 444 h 1467"/>
              <a:gd name="T48" fmla="*/ 1813 w 2150"/>
              <a:gd name="T49" fmla="*/ 327 h 1467"/>
              <a:gd name="T50" fmla="*/ 1759 w 2150"/>
              <a:gd name="T51" fmla="*/ 186 h 1467"/>
              <a:gd name="T52" fmla="*/ 1719 w 2150"/>
              <a:gd name="T53" fmla="*/ 59 h 1467"/>
              <a:gd name="T54" fmla="*/ 1640 w 2150"/>
              <a:gd name="T55" fmla="*/ 184 h 1467"/>
              <a:gd name="T56" fmla="*/ 1518 w 2150"/>
              <a:gd name="T57" fmla="*/ 236 h 1467"/>
              <a:gd name="T58" fmla="*/ 1368 w 2150"/>
              <a:gd name="T59" fmla="*/ 217 h 1467"/>
              <a:gd name="T60" fmla="*/ 1241 w 2150"/>
              <a:gd name="T61" fmla="*/ 263 h 1467"/>
              <a:gd name="T62" fmla="*/ 1105 w 2150"/>
              <a:gd name="T63" fmla="*/ 273 h 1467"/>
              <a:gd name="T64" fmla="*/ 1049 w 2150"/>
              <a:gd name="T65" fmla="*/ 173 h 1467"/>
              <a:gd name="T66" fmla="*/ 1068 w 2150"/>
              <a:gd name="T67" fmla="*/ 77 h 1467"/>
              <a:gd name="T68" fmla="*/ 997 w 2150"/>
              <a:gd name="T69" fmla="*/ 7 h 1467"/>
              <a:gd name="T70" fmla="*/ 902 w 2150"/>
              <a:gd name="T71" fmla="*/ 75 h 1467"/>
              <a:gd name="T72" fmla="*/ 768 w 2150"/>
              <a:gd name="T73" fmla="*/ 92 h 1467"/>
              <a:gd name="T74" fmla="*/ 725 w 2150"/>
              <a:gd name="T75" fmla="*/ 156 h 1467"/>
              <a:gd name="T76" fmla="*/ 775 w 2150"/>
              <a:gd name="T77" fmla="*/ 242 h 1467"/>
              <a:gd name="T78" fmla="*/ 589 w 2150"/>
              <a:gd name="T79" fmla="*/ 342 h 1467"/>
              <a:gd name="T80" fmla="*/ 494 w 2150"/>
              <a:gd name="T81" fmla="*/ 238 h 1467"/>
              <a:gd name="T82" fmla="*/ 410 w 2150"/>
              <a:gd name="T83" fmla="*/ 258 h 1467"/>
              <a:gd name="T84" fmla="*/ 306 w 2150"/>
              <a:gd name="T85" fmla="*/ 352 h 1467"/>
              <a:gd name="T86" fmla="*/ 319 w 2150"/>
              <a:gd name="T87" fmla="*/ 504 h 1467"/>
              <a:gd name="T88" fmla="*/ 283 w 2150"/>
              <a:gd name="T89" fmla="*/ 737 h 1467"/>
              <a:gd name="T90" fmla="*/ 169 w 2150"/>
              <a:gd name="T91" fmla="*/ 762 h 1467"/>
              <a:gd name="T92" fmla="*/ 63 w 2150"/>
              <a:gd name="T93" fmla="*/ 808 h 1467"/>
              <a:gd name="T94" fmla="*/ 17 w 2150"/>
              <a:gd name="T95" fmla="*/ 939 h 1467"/>
              <a:gd name="T96" fmla="*/ 17 w 2150"/>
              <a:gd name="T97" fmla="*/ 1024 h 1467"/>
              <a:gd name="T98" fmla="*/ 73 w 2150"/>
              <a:gd name="T99" fmla="*/ 1109 h 1467"/>
              <a:gd name="T100" fmla="*/ 142 w 2150"/>
              <a:gd name="T101" fmla="*/ 1164 h 1467"/>
              <a:gd name="T102" fmla="*/ 229 w 2150"/>
              <a:gd name="T103" fmla="*/ 1151 h 1467"/>
              <a:gd name="T104" fmla="*/ 261 w 2150"/>
              <a:gd name="T105" fmla="*/ 1236 h 1467"/>
              <a:gd name="T106" fmla="*/ 383 w 2150"/>
              <a:gd name="T107" fmla="*/ 1257 h 1467"/>
              <a:gd name="T108" fmla="*/ 481 w 2150"/>
              <a:gd name="T109" fmla="*/ 1230 h 1467"/>
              <a:gd name="T110" fmla="*/ 585 w 2150"/>
              <a:gd name="T111" fmla="*/ 1164 h 1467"/>
              <a:gd name="T112" fmla="*/ 654 w 2150"/>
              <a:gd name="T113" fmla="*/ 1230 h 1467"/>
              <a:gd name="T114" fmla="*/ 681 w 2150"/>
              <a:gd name="T115" fmla="*/ 1347 h 1467"/>
              <a:gd name="T116" fmla="*/ 787 w 2150"/>
              <a:gd name="T117" fmla="*/ 1390 h 1467"/>
              <a:gd name="T118" fmla="*/ 908 w 2150"/>
              <a:gd name="T119" fmla="*/ 1438 h 1467"/>
              <a:gd name="T120" fmla="*/ 999 w 2150"/>
              <a:gd name="T121" fmla="*/ 1459 h 14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150" h="1467">
                <a:moveTo>
                  <a:pt x="1012" y="1467"/>
                </a:moveTo>
                <a:lnTo>
                  <a:pt x="1014" y="1459"/>
                </a:lnTo>
                <a:lnTo>
                  <a:pt x="1018" y="1457"/>
                </a:lnTo>
                <a:lnTo>
                  <a:pt x="1024" y="1449"/>
                </a:lnTo>
                <a:lnTo>
                  <a:pt x="1031" y="1444"/>
                </a:lnTo>
                <a:lnTo>
                  <a:pt x="1033" y="1438"/>
                </a:lnTo>
                <a:lnTo>
                  <a:pt x="1033" y="1432"/>
                </a:lnTo>
                <a:lnTo>
                  <a:pt x="1037" y="1428"/>
                </a:lnTo>
                <a:lnTo>
                  <a:pt x="1041" y="1420"/>
                </a:lnTo>
                <a:lnTo>
                  <a:pt x="1043" y="1413"/>
                </a:lnTo>
                <a:lnTo>
                  <a:pt x="1049" y="1409"/>
                </a:lnTo>
                <a:lnTo>
                  <a:pt x="1058" y="1405"/>
                </a:lnTo>
                <a:lnTo>
                  <a:pt x="1066" y="1399"/>
                </a:lnTo>
                <a:lnTo>
                  <a:pt x="1070" y="1390"/>
                </a:lnTo>
                <a:lnTo>
                  <a:pt x="1074" y="1382"/>
                </a:lnTo>
                <a:lnTo>
                  <a:pt x="1074" y="1374"/>
                </a:lnTo>
                <a:lnTo>
                  <a:pt x="1076" y="1368"/>
                </a:lnTo>
                <a:lnTo>
                  <a:pt x="1080" y="1359"/>
                </a:lnTo>
                <a:lnTo>
                  <a:pt x="1080" y="1351"/>
                </a:lnTo>
                <a:lnTo>
                  <a:pt x="1078" y="1343"/>
                </a:lnTo>
                <a:lnTo>
                  <a:pt x="1078" y="1332"/>
                </a:lnTo>
                <a:lnTo>
                  <a:pt x="1078" y="1328"/>
                </a:lnTo>
                <a:lnTo>
                  <a:pt x="1078" y="1322"/>
                </a:lnTo>
                <a:lnTo>
                  <a:pt x="1076" y="1311"/>
                </a:lnTo>
                <a:lnTo>
                  <a:pt x="1072" y="1303"/>
                </a:lnTo>
                <a:lnTo>
                  <a:pt x="1072" y="1291"/>
                </a:lnTo>
                <a:lnTo>
                  <a:pt x="1070" y="1278"/>
                </a:lnTo>
                <a:lnTo>
                  <a:pt x="1062" y="1272"/>
                </a:lnTo>
                <a:lnTo>
                  <a:pt x="1047" y="1268"/>
                </a:lnTo>
                <a:lnTo>
                  <a:pt x="1039" y="1266"/>
                </a:lnTo>
                <a:lnTo>
                  <a:pt x="1033" y="1263"/>
                </a:lnTo>
                <a:lnTo>
                  <a:pt x="1024" y="1255"/>
                </a:lnTo>
                <a:lnTo>
                  <a:pt x="1018" y="1253"/>
                </a:lnTo>
                <a:lnTo>
                  <a:pt x="1010" y="1253"/>
                </a:lnTo>
                <a:lnTo>
                  <a:pt x="999" y="1249"/>
                </a:lnTo>
                <a:lnTo>
                  <a:pt x="995" y="1243"/>
                </a:lnTo>
                <a:lnTo>
                  <a:pt x="989" y="1232"/>
                </a:lnTo>
                <a:lnTo>
                  <a:pt x="987" y="1226"/>
                </a:lnTo>
                <a:lnTo>
                  <a:pt x="979" y="1220"/>
                </a:lnTo>
                <a:lnTo>
                  <a:pt x="974" y="1209"/>
                </a:lnTo>
                <a:lnTo>
                  <a:pt x="974" y="1199"/>
                </a:lnTo>
                <a:lnTo>
                  <a:pt x="972" y="1189"/>
                </a:lnTo>
                <a:lnTo>
                  <a:pt x="970" y="1180"/>
                </a:lnTo>
                <a:lnTo>
                  <a:pt x="968" y="1172"/>
                </a:lnTo>
                <a:lnTo>
                  <a:pt x="964" y="1162"/>
                </a:lnTo>
                <a:lnTo>
                  <a:pt x="964" y="1147"/>
                </a:lnTo>
                <a:lnTo>
                  <a:pt x="964" y="1132"/>
                </a:lnTo>
                <a:lnTo>
                  <a:pt x="964" y="1120"/>
                </a:lnTo>
                <a:lnTo>
                  <a:pt x="964" y="1112"/>
                </a:lnTo>
                <a:lnTo>
                  <a:pt x="964" y="1099"/>
                </a:lnTo>
                <a:lnTo>
                  <a:pt x="962" y="1085"/>
                </a:lnTo>
                <a:lnTo>
                  <a:pt x="979" y="1085"/>
                </a:lnTo>
                <a:lnTo>
                  <a:pt x="989" y="1082"/>
                </a:lnTo>
                <a:lnTo>
                  <a:pt x="1001" y="1082"/>
                </a:lnTo>
                <a:lnTo>
                  <a:pt x="1016" y="1085"/>
                </a:lnTo>
                <a:lnTo>
                  <a:pt x="1037" y="1082"/>
                </a:lnTo>
                <a:lnTo>
                  <a:pt x="1053" y="1082"/>
                </a:lnTo>
                <a:lnTo>
                  <a:pt x="1072" y="1085"/>
                </a:lnTo>
                <a:lnTo>
                  <a:pt x="1095" y="1085"/>
                </a:lnTo>
                <a:lnTo>
                  <a:pt x="1116" y="1085"/>
                </a:lnTo>
                <a:lnTo>
                  <a:pt x="1135" y="1082"/>
                </a:lnTo>
                <a:lnTo>
                  <a:pt x="1155" y="1085"/>
                </a:lnTo>
                <a:lnTo>
                  <a:pt x="1176" y="1082"/>
                </a:lnTo>
                <a:lnTo>
                  <a:pt x="1193" y="1078"/>
                </a:lnTo>
                <a:lnTo>
                  <a:pt x="1203" y="1076"/>
                </a:lnTo>
                <a:lnTo>
                  <a:pt x="1210" y="1074"/>
                </a:lnTo>
                <a:lnTo>
                  <a:pt x="1212" y="1064"/>
                </a:lnTo>
                <a:lnTo>
                  <a:pt x="1210" y="1051"/>
                </a:lnTo>
                <a:lnTo>
                  <a:pt x="1220" y="1041"/>
                </a:lnTo>
                <a:lnTo>
                  <a:pt x="1220" y="1032"/>
                </a:lnTo>
                <a:lnTo>
                  <a:pt x="1222" y="1016"/>
                </a:lnTo>
                <a:lnTo>
                  <a:pt x="1222" y="1003"/>
                </a:lnTo>
                <a:lnTo>
                  <a:pt x="1224" y="993"/>
                </a:lnTo>
                <a:lnTo>
                  <a:pt x="1226" y="978"/>
                </a:lnTo>
                <a:lnTo>
                  <a:pt x="1224" y="966"/>
                </a:lnTo>
                <a:lnTo>
                  <a:pt x="1228" y="951"/>
                </a:lnTo>
                <a:lnTo>
                  <a:pt x="1237" y="941"/>
                </a:lnTo>
                <a:lnTo>
                  <a:pt x="1239" y="937"/>
                </a:lnTo>
                <a:lnTo>
                  <a:pt x="1241" y="939"/>
                </a:lnTo>
                <a:lnTo>
                  <a:pt x="1247" y="947"/>
                </a:lnTo>
                <a:lnTo>
                  <a:pt x="1249" y="962"/>
                </a:lnTo>
                <a:lnTo>
                  <a:pt x="1257" y="970"/>
                </a:lnTo>
                <a:lnTo>
                  <a:pt x="1262" y="980"/>
                </a:lnTo>
                <a:lnTo>
                  <a:pt x="1268" y="985"/>
                </a:lnTo>
                <a:lnTo>
                  <a:pt x="1272" y="993"/>
                </a:lnTo>
                <a:lnTo>
                  <a:pt x="1274" y="1003"/>
                </a:lnTo>
                <a:lnTo>
                  <a:pt x="1272" y="1016"/>
                </a:lnTo>
                <a:lnTo>
                  <a:pt x="1272" y="1026"/>
                </a:lnTo>
                <a:lnTo>
                  <a:pt x="1276" y="1039"/>
                </a:lnTo>
                <a:lnTo>
                  <a:pt x="1272" y="1051"/>
                </a:lnTo>
                <a:lnTo>
                  <a:pt x="1268" y="1057"/>
                </a:lnTo>
                <a:lnTo>
                  <a:pt x="1268" y="1070"/>
                </a:lnTo>
                <a:lnTo>
                  <a:pt x="1274" y="1085"/>
                </a:lnTo>
                <a:lnTo>
                  <a:pt x="1287" y="1091"/>
                </a:lnTo>
                <a:lnTo>
                  <a:pt x="1299" y="1101"/>
                </a:lnTo>
                <a:lnTo>
                  <a:pt x="1309" y="1109"/>
                </a:lnTo>
                <a:lnTo>
                  <a:pt x="1316" y="1120"/>
                </a:lnTo>
                <a:lnTo>
                  <a:pt x="1328" y="1132"/>
                </a:lnTo>
                <a:lnTo>
                  <a:pt x="1345" y="1130"/>
                </a:lnTo>
                <a:lnTo>
                  <a:pt x="1370" y="1130"/>
                </a:lnTo>
                <a:lnTo>
                  <a:pt x="1393" y="1130"/>
                </a:lnTo>
                <a:lnTo>
                  <a:pt x="1413" y="1130"/>
                </a:lnTo>
                <a:lnTo>
                  <a:pt x="1436" y="1132"/>
                </a:lnTo>
                <a:lnTo>
                  <a:pt x="1463" y="1137"/>
                </a:lnTo>
                <a:lnTo>
                  <a:pt x="1488" y="1137"/>
                </a:lnTo>
                <a:lnTo>
                  <a:pt x="1515" y="1137"/>
                </a:lnTo>
                <a:lnTo>
                  <a:pt x="1545" y="1137"/>
                </a:lnTo>
                <a:lnTo>
                  <a:pt x="1565" y="1139"/>
                </a:lnTo>
                <a:lnTo>
                  <a:pt x="1595" y="1141"/>
                </a:lnTo>
                <a:lnTo>
                  <a:pt x="1615" y="1143"/>
                </a:lnTo>
                <a:lnTo>
                  <a:pt x="1638" y="1143"/>
                </a:lnTo>
                <a:lnTo>
                  <a:pt x="1676" y="1147"/>
                </a:lnTo>
                <a:lnTo>
                  <a:pt x="1696" y="1147"/>
                </a:lnTo>
                <a:lnTo>
                  <a:pt x="1719" y="1147"/>
                </a:lnTo>
                <a:lnTo>
                  <a:pt x="1744" y="1151"/>
                </a:lnTo>
                <a:lnTo>
                  <a:pt x="1765" y="1151"/>
                </a:lnTo>
                <a:lnTo>
                  <a:pt x="1782" y="1155"/>
                </a:lnTo>
                <a:lnTo>
                  <a:pt x="1803" y="1155"/>
                </a:lnTo>
                <a:lnTo>
                  <a:pt x="1805" y="1155"/>
                </a:lnTo>
                <a:lnTo>
                  <a:pt x="1803" y="1164"/>
                </a:lnTo>
                <a:lnTo>
                  <a:pt x="1801" y="1170"/>
                </a:lnTo>
                <a:lnTo>
                  <a:pt x="1796" y="1180"/>
                </a:lnTo>
                <a:lnTo>
                  <a:pt x="1790" y="1189"/>
                </a:lnTo>
                <a:lnTo>
                  <a:pt x="1784" y="1199"/>
                </a:lnTo>
                <a:lnTo>
                  <a:pt x="1782" y="1211"/>
                </a:lnTo>
                <a:lnTo>
                  <a:pt x="1778" y="1222"/>
                </a:lnTo>
                <a:lnTo>
                  <a:pt x="1780" y="1234"/>
                </a:lnTo>
                <a:lnTo>
                  <a:pt x="1773" y="1243"/>
                </a:lnTo>
                <a:lnTo>
                  <a:pt x="1776" y="1255"/>
                </a:lnTo>
                <a:lnTo>
                  <a:pt x="1782" y="1261"/>
                </a:lnTo>
                <a:lnTo>
                  <a:pt x="1782" y="1270"/>
                </a:lnTo>
                <a:lnTo>
                  <a:pt x="1778" y="1278"/>
                </a:lnTo>
                <a:lnTo>
                  <a:pt x="1776" y="1286"/>
                </a:lnTo>
                <a:lnTo>
                  <a:pt x="1773" y="1297"/>
                </a:lnTo>
                <a:lnTo>
                  <a:pt x="1778" y="1307"/>
                </a:lnTo>
                <a:lnTo>
                  <a:pt x="1778" y="1320"/>
                </a:lnTo>
                <a:lnTo>
                  <a:pt x="1776" y="1332"/>
                </a:lnTo>
                <a:lnTo>
                  <a:pt x="1778" y="1347"/>
                </a:lnTo>
                <a:lnTo>
                  <a:pt x="1776" y="1357"/>
                </a:lnTo>
                <a:lnTo>
                  <a:pt x="1773" y="1370"/>
                </a:lnTo>
                <a:lnTo>
                  <a:pt x="1773" y="1376"/>
                </a:lnTo>
                <a:lnTo>
                  <a:pt x="1782" y="1378"/>
                </a:lnTo>
                <a:lnTo>
                  <a:pt x="1788" y="1376"/>
                </a:lnTo>
                <a:lnTo>
                  <a:pt x="1790" y="1370"/>
                </a:lnTo>
                <a:lnTo>
                  <a:pt x="1792" y="1363"/>
                </a:lnTo>
                <a:lnTo>
                  <a:pt x="1798" y="1359"/>
                </a:lnTo>
                <a:lnTo>
                  <a:pt x="1807" y="1361"/>
                </a:lnTo>
                <a:lnTo>
                  <a:pt x="1811" y="1365"/>
                </a:lnTo>
                <a:lnTo>
                  <a:pt x="1807" y="1372"/>
                </a:lnTo>
                <a:lnTo>
                  <a:pt x="1807" y="1380"/>
                </a:lnTo>
                <a:lnTo>
                  <a:pt x="1811" y="1384"/>
                </a:lnTo>
                <a:lnTo>
                  <a:pt x="1813" y="1392"/>
                </a:lnTo>
                <a:lnTo>
                  <a:pt x="1811" y="1397"/>
                </a:lnTo>
                <a:lnTo>
                  <a:pt x="1813" y="1405"/>
                </a:lnTo>
                <a:lnTo>
                  <a:pt x="1819" y="1411"/>
                </a:lnTo>
                <a:lnTo>
                  <a:pt x="1832" y="1409"/>
                </a:lnTo>
                <a:lnTo>
                  <a:pt x="1836" y="1405"/>
                </a:lnTo>
                <a:lnTo>
                  <a:pt x="1846" y="1407"/>
                </a:lnTo>
                <a:lnTo>
                  <a:pt x="1853" y="1417"/>
                </a:lnTo>
                <a:lnTo>
                  <a:pt x="1863" y="1422"/>
                </a:lnTo>
                <a:lnTo>
                  <a:pt x="1867" y="1422"/>
                </a:lnTo>
                <a:lnTo>
                  <a:pt x="1875" y="1422"/>
                </a:lnTo>
                <a:lnTo>
                  <a:pt x="1882" y="1420"/>
                </a:lnTo>
                <a:lnTo>
                  <a:pt x="1886" y="1411"/>
                </a:lnTo>
                <a:lnTo>
                  <a:pt x="1890" y="1405"/>
                </a:lnTo>
                <a:lnTo>
                  <a:pt x="1896" y="1395"/>
                </a:lnTo>
                <a:lnTo>
                  <a:pt x="1905" y="1392"/>
                </a:lnTo>
                <a:lnTo>
                  <a:pt x="1911" y="1397"/>
                </a:lnTo>
                <a:lnTo>
                  <a:pt x="1917" y="1395"/>
                </a:lnTo>
                <a:lnTo>
                  <a:pt x="1930" y="1397"/>
                </a:lnTo>
                <a:lnTo>
                  <a:pt x="1934" y="1403"/>
                </a:lnTo>
                <a:lnTo>
                  <a:pt x="1934" y="1411"/>
                </a:lnTo>
                <a:lnTo>
                  <a:pt x="1940" y="1417"/>
                </a:lnTo>
                <a:lnTo>
                  <a:pt x="1942" y="1422"/>
                </a:lnTo>
                <a:lnTo>
                  <a:pt x="1948" y="1428"/>
                </a:lnTo>
                <a:lnTo>
                  <a:pt x="1955" y="1428"/>
                </a:lnTo>
                <a:lnTo>
                  <a:pt x="1957" y="1426"/>
                </a:lnTo>
                <a:lnTo>
                  <a:pt x="1961" y="1422"/>
                </a:lnTo>
                <a:lnTo>
                  <a:pt x="1967" y="1420"/>
                </a:lnTo>
                <a:lnTo>
                  <a:pt x="1971" y="1424"/>
                </a:lnTo>
                <a:lnTo>
                  <a:pt x="1973" y="1428"/>
                </a:lnTo>
                <a:lnTo>
                  <a:pt x="1984" y="1430"/>
                </a:lnTo>
                <a:lnTo>
                  <a:pt x="1988" y="1430"/>
                </a:lnTo>
                <a:lnTo>
                  <a:pt x="1992" y="1434"/>
                </a:lnTo>
                <a:lnTo>
                  <a:pt x="2002" y="1436"/>
                </a:lnTo>
                <a:lnTo>
                  <a:pt x="2007" y="1432"/>
                </a:lnTo>
                <a:lnTo>
                  <a:pt x="2007" y="1426"/>
                </a:lnTo>
                <a:lnTo>
                  <a:pt x="2004" y="1420"/>
                </a:lnTo>
                <a:lnTo>
                  <a:pt x="2000" y="1413"/>
                </a:lnTo>
                <a:lnTo>
                  <a:pt x="2004" y="1407"/>
                </a:lnTo>
                <a:lnTo>
                  <a:pt x="2009" y="1405"/>
                </a:lnTo>
                <a:lnTo>
                  <a:pt x="2015" y="1407"/>
                </a:lnTo>
                <a:lnTo>
                  <a:pt x="2027" y="1409"/>
                </a:lnTo>
                <a:lnTo>
                  <a:pt x="2036" y="1413"/>
                </a:lnTo>
                <a:lnTo>
                  <a:pt x="2044" y="1411"/>
                </a:lnTo>
                <a:lnTo>
                  <a:pt x="2046" y="1405"/>
                </a:lnTo>
                <a:lnTo>
                  <a:pt x="2054" y="1403"/>
                </a:lnTo>
                <a:lnTo>
                  <a:pt x="2061" y="1401"/>
                </a:lnTo>
                <a:lnTo>
                  <a:pt x="2067" y="1397"/>
                </a:lnTo>
                <a:lnTo>
                  <a:pt x="2069" y="1388"/>
                </a:lnTo>
                <a:lnTo>
                  <a:pt x="2071" y="1382"/>
                </a:lnTo>
                <a:lnTo>
                  <a:pt x="2077" y="1380"/>
                </a:lnTo>
                <a:lnTo>
                  <a:pt x="2084" y="1384"/>
                </a:lnTo>
                <a:lnTo>
                  <a:pt x="2088" y="1388"/>
                </a:lnTo>
                <a:lnTo>
                  <a:pt x="2092" y="1386"/>
                </a:lnTo>
                <a:lnTo>
                  <a:pt x="2096" y="1384"/>
                </a:lnTo>
                <a:lnTo>
                  <a:pt x="2100" y="1386"/>
                </a:lnTo>
                <a:lnTo>
                  <a:pt x="2102" y="1374"/>
                </a:lnTo>
                <a:lnTo>
                  <a:pt x="2096" y="1365"/>
                </a:lnTo>
                <a:lnTo>
                  <a:pt x="2094" y="1353"/>
                </a:lnTo>
                <a:lnTo>
                  <a:pt x="2102" y="1343"/>
                </a:lnTo>
                <a:lnTo>
                  <a:pt x="2098" y="1332"/>
                </a:lnTo>
                <a:lnTo>
                  <a:pt x="2096" y="1322"/>
                </a:lnTo>
                <a:lnTo>
                  <a:pt x="2102" y="1318"/>
                </a:lnTo>
                <a:lnTo>
                  <a:pt x="2102" y="1311"/>
                </a:lnTo>
                <a:lnTo>
                  <a:pt x="2104" y="1303"/>
                </a:lnTo>
                <a:lnTo>
                  <a:pt x="2104" y="1297"/>
                </a:lnTo>
                <a:lnTo>
                  <a:pt x="2096" y="1295"/>
                </a:lnTo>
                <a:lnTo>
                  <a:pt x="2092" y="1288"/>
                </a:lnTo>
                <a:lnTo>
                  <a:pt x="2092" y="1282"/>
                </a:lnTo>
                <a:lnTo>
                  <a:pt x="2088" y="1276"/>
                </a:lnTo>
                <a:lnTo>
                  <a:pt x="2090" y="1266"/>
                </a:lnTo>
                <a:lnTo>
                  <a:pt x="2092" y="1259"/>
                </a:lnTo>
                <a:lnTo>
                  <a:pt x="2090" y="1253"/>
                </a:lnTo>
                <a:lnTo>
                  <a:pt x="2096" y="1249"/>
                </a:lnTo>
                <a:lnTo>
                  <a:pt x="2098" y="1243"/>
                </a:lnTo>
                <a:lnTo>
                  <a:pt x="2104" y="1238"/>
                </a:lnTo>
                <a:lnTo>
                  <a:pt x="2106" y="1234"/>
                </a:lnTo>
                <a:lnTo>
                  <a:pt x="2109" y="1230"/>
                </a:lnTo>
                <a:lnTo>
                  <a:pt x="2117" y="1228"/>
                </a:lnTo>
                <a:lnTo>
                  <a:pt x="2121" y="1230"/>
                </a:lnTo>
                <a:lnTo>
                  <a:pt x="2131" y="1222"/>
                </a:lnTo>
                <a:lnTo>
                  <a:pt x="2140" y="1218"/>
                </a:lnTo>
                <a:lnTo>
                  <a:pt x="2144" y="1216"/>
                </a:lnTo>
                <a:lnTo>
                  <a:pt x="2150" y="1211"/>
                </a:lnTo>
                <a:lnTo>
                  <a:pt x="2144" y="1209"/>
                </a:lnTo>
                <a:lnTo>
                  <a:pt x="2136" y="1211"/>
                </a:lnTo>
                <a:lnTo>
                  <a:pt x="2127" y="1214"/>
                </a:lnTo>
                <a:lnTo>
                  <a:pt x="2119" y="1209"/>
                </a:lnTo>
                <a:lnTo>
                  <a:pt x="2113" y="1209"/>
                </a:lnTo>
                <a:lnTo>
                  <a:pt x="2100" y="1201"/>
                </a:lnTo>
                <a:lnTo>
                  <a:pt x="2098" y="1193"/>
                </a:lnTo>
                <a:lnTo>
                  <a:pt x="2090" y="1184"/>
                </a:lnTo>
                <a:lnTo>
                  <a:pt x="2086" y="1172"/>
                </a:lnTo>
                <a:lnTo>
                  <a:pt x="2084" y="1162"/>
                </a:lnTo>
                <a:lnTo>
                  <a:pt x="2081" y="1149"/>
                </a:lnTo>
                <a:lnTo>
                  <a:pt x="2077" y="1139"/>
                </a:lnTo>
                <a:lnTo>
                  <a:pt x="2075" y="1128"/>
                </a:lnTo>
                <a:lnTo>
                  <a:pt x="2071" y="1114"/>
                </a:lnTo>
                <a:lnTo>
                  <a:pt x="2069" y="1105"/>
                </a:lnTo>
                <a:lnTo>
                  <a:pt x="2065" y="1097"/>
                </a:lnTo>
                <a:lnTo>
                  <a:pt x="2057" y="1091"/>
                </a:lnTo>
                <a:lnTo>
                  <a:pt x="2048" y="1082"/>
                </a:lnTo>
                <a:lnTo>
                  <a:pt x="2048" y="1072"/>
                </a:lnTo>
                <a:lnTo>
                  <a:pt x="2046" y="1066"/>
                </a:lnTo>
                <a:lnTo>
                  <a:pt x="2038" y="1057"/>
                </a:lnTo>
                <a:lnTo>
                  <a:pt x="2036" y="1051"/>
                </a:lnTo>
                <a:lnTo>
                  <a:pt x="2044" y="1045"/>
                </a:lnTo>
                <a:lnTo>
                  <a:pt x="2038" y="1041"/>
                </a:lnTo>
                <a:lnTo>
                  <a:pt x="2036" y="1035"/>
                </a:lnTo>
                <a:lnTo>
                  <a:pt x="2044" y="1035"/>
                </a:lnTo>
                <a:lnTo>
                  <a:pt x="2048" y="1026"/>
                </a:lnTo>
                <a:lnTo>
                  <a:pt x="2046" y="1018"/>
                </a:lnTo>
                <a:lnTo>
                  <a:pt x="2044" y="1012"/>
                </a:lnTo>
                <a:lnTo>
                  <a:pt x="2038" y="1003"/>
                </a:lnTo>
                <a:lnTo>
                  <a:pt x="2044" y="999"/>
                </a:lnTo>
                <a:lnTo>
                  <a:pt x="2046" y="993"/>
                </a:lnTo>
                <a:lnTo>
                  <a:pt x="2044" y="987"/>
                </a:lnTo>
                <a:lnTo>
                  <a:pt x="2034" y="980"/>
                </a:lnTo>
                <a:lnTo>
                  <a:pt x="2025" y="976"/>
                </a:lnTo>
                <a:lnTo>
                  <a:pt x="2015" y="970"/>
                </a:lnTo>
                <a:lnTo>
                  <a:pt x="2015" y="962"/>
                </a:lnTo>
                <a:lnTo>
                  <a:pt x="2011" y="958"/>
                </a:lnTo>
                <a:lnTo>
                  <a:pt x="2002" y="953"/>
                </a:lnTo>
                <a:lnTo>
                  <a:pt x="2000" y="943"/>
                </a:lnTo>
                <a:lnTo>
                  <a:pt x="2011" y="937"/>
                </a:lnTo>
                <a:lnTo>
                  <a:pt x="2017" y="928"/>
                </a:lnTo>
                <a:lnTo>
                  <a:pt x="2021" y="916"/>
                </a:lnTo>
                <a:lnTo>
                  <a:pt x="2021" y="908"/>
                </a:lnTo>
                <a:lnTo>
                  <a:pt x="2023" y="897"/>
                </a:lnTo>
                <a:lnTo>
                  <a:pt x="2025" y="889"/>
                </a:lnTo>
                <a:lnTo>
                  <a:pt x="2029" y="879"/>
                </a:lnTo>
                <a:lnTo>
                  <a:pt x="2032" y="870"/>
                </a:lnTo>
                <a:lnTo>
                  <a:pt x="2029" y="862"/>
                </a:lnTo>
                <a:lnTo>
                  <a:pt x="2025" y="856"/>
                </a:lnTo>
                <a:lnTo>
                  <a:pt x="2025" y="845"/>
                </a:lnTo>
                <a:lnTo>
                  <a:pt x="2023" y="835"/>
                </a:lnTo>
                <a:lnTo>
                  <a:pt x="2021" y="822"/>
                </a:lnTo>
                <a:lnTo>
                  <a:pt x="2015" y="814"/>
                </a:lnTo>
                <a:lnTo>
                  <a:pt x="2004" y="810"/>
                </a:lnTo>
                <a:lnTo>
                  <a:pt x="1994" y="806"/>
                </a:lnTo>
                <a:lnTo>
                  <a:pt x="1988" y="799"/>
                </a:lnTo>
                <a:lnTo>
                  <a:pt x="1975" y="799"/>
                </a:lnTo>
                <a:lnTo>
                  <a:pt x="1965" y="797"/>
                </a:lnTo>
                <a:lnTo>
                  <a:pt x="1950" y="797"/>
                </a:lnTo>
                <a:lnTo>
                  <a:pt x="1938" y="799"/>
                </a:lnTo>
                <a:lnTo>
                  <a:pt x="1946" y="789"/>
                </a:lnTo>
                <a:lnTo>
                  <a:pt x="1952" y="781"/>
                </a:lnTo>
                <a:lnTo>
                  <a:pt x="1955" y="772"/>
                </a:lnTo>
                <a:lnTo>
                  <a:pt x="1967" y="768"/>
                </a:lnTo>
                <a:lnTo>
                  <a:pt x="1975" y="760"/>
                </a:lnTo>
                <a:lnTo>
                  <a:pt x="1980" y="756"/>
                </a:lnTo>
                <a:lnTo>
                  <a:pt x="1986" y="745"/>
                </a:lnTo>
                <a:lnTo>
                  <a:pt x="1992" y="747"/>
                </a:lnTo>
                <a:lnTo>
                  <a:pt x="2007" y="752"/>
                </a:lnTo>
                <a:lnTo>
                  <a:pt x="2019" y="745"/>
                </a:lnTo>
                <a:lnTo>
                  <a:pt x="2027" y="737"/>
                </a:lnTo>
                <a:lnTo>
                  <a:pt x="2029" y="725"/>
                </a:lnTo>
                <a:lnTo>
                  <a:pt x="2032" y="716"/>
                </a:lnTo>
                <a:lnTo>
                  <a:pt x="2036" y="704"/>
                </a:lnTo>
                <a:lnTo>
                  <a:pt x="2042" y="689"/>
                </a:lnTo>
                <a:lnTo>
                  <a:pt x="2050" y="673"/>
                </a:lnTo>
                <a:lnTo>
                  <a:pt x="2059" y="664"/>
                </a:lnTo>
                <a:lnTo>
                  <a:pt x="2067" y="654"/>
                </a:lnTo>
                <a:lnTo>
                  <a:pt x="2071" y="641"/>
                </a:lnTo>
                <a:lnTo>
                  <a:pt x="2075" y="633"/>
                </a:lnTo>
                <a:lnTo>
                  <a:pt x="2086" y="623"/>
                </a:lnTo>
                <a:lnTo>
                  <a:pt x="2088" y="614"/>
                </a:lnTo>
                <a:lnTo>
                  <a:pt x="2086" y="606"/>
                </a:lnTo>
                <a:lnTo>
                  <a:pt x="2090" y="596"/>
                </a:lnTo>
                <a:lnTo>
                  <a:pt x="2098" y="589"/>
                </a:lnTo>
                <a:lnTo>
                  <a:pt x="2104" y="581"/>
                </a:lnTo>
                <a:lnTo>
                  <a:pt x="2106" y="575"/>
                </a:lnTo>
                <a:lnTo>
                  <a:pt x="2115" y="575"/>
                </a:lnTo>
                <a:lnTo>
                  <a:pt x="2117" y="564"/>
                </a:lnTo>
                <a:lnTo>
                  <a:pt x="2119" y="554"/>
                </a:lnTo>
                <a:lnTo>
                  <a:pt x="2119" y="543"/>
                </a:lnTo>
                <a:lnTo>
                  <a:pt x="2117" y="535"/>
                </a:lnTo>
                <a:lnTo>
                  <a:pt x="2127" y="523"/>
                </a:lnTo>
                <a:lnTo>
                  <a:pt x="2134" y="512"/>
                </a:lnTo>
                <a:lnTo>
                  <a:pt x="2131" y="504"/>
                </a:lnTo>
                <a:lnTo>
                  <a:pt x="2136" y="494"/>
                </a:lnTo>
                <a:lnTo>
                  <a:pt x="2144" y="485"/>
                </a:lnTo>
                <a:lnTo>
                  <a:pt x="2131" y="481"/>
                </a:lnTo>
                <a:lnTo>
                  <a:pt x="2123" y="477"/>
                </a:lnTo>
                <a:lnTo>
                  <a:pt x="2115" y="467"/>
                </a:lnTo>
                <a:lnTo>
                  <a:pt x="2096" y="458"/>
                </a:lnTo>
                <a:lnTo>
                  <a:pt x="2077" y="456"/>
                </a:lnTo>
                <a:lnTo>
                  <a:pt x="2063" y="452"/>
                </a:lnTo>
                <a:lnTo>
                  <a:pt x="2044" y="446"/>
                </a:lnTo>
                <a:lnTo>
                  <a:pt x="2027" y="442"/>
                </a:lnTo>
                <a:lnTo>
                  <a:pt x="2013" y="442"/>
                </a:lnTo>
                <a:lnTo>
                  <a:pt x="2000" y="442"/>
                </a:lnTo>
                <a:lnTo>
                  <a:pt x="1992" y="442"/>
                </a:lnTo>
                <a:lnTo>
                  <a:pt x="1975" y="448"/>
                </a:lnTo>
                <a:lnTo>
                  <a:pt x="1967" y="458"/>
                </a:lnTo>
                <a:lnTo>
                  <a:pt x="1957" y="471"/>
                </a:lnTo>
                <a:lnTo>
                  <a:pt x="1948" y="477"/>
                </a:lnTo>
                <a:lnTo>
                  <a:pt x="1944" y="491"/>
                </a:lnTo>
                <a:lnTo>
                  <a:pt x="1944" y="502"/>
                </a:lnTo>
                <a:lnTo>
                  <a:pt x="1932" y="510"/>
                </a:lnTo>
                <a:lnTo>
                  <a:pt x="1913" y="512"/>
                </a:lnTo>
                <a:lnTo>
                  <a:pt x="1909" y="521"/>
                </a:lnTo>
                <a:lnTo>
                  <a:pt x="1900" y="531"/>
                </a:lnTo>
                <a:lnTo>
                  <a:pt x="1892" y="535"/>
                </a:lnTo>
                <a:lnTo>
                  <a:pt x="1890" y="546"/>
                </a:lnTo>
                <a:lnTo>
                  <a:pt x="1884" y="546"/>
                </a:lnTo>
                <a:lnTo>
                  <a:pt x="1878" y="537"/>
                </a:lnTo>
                <a:lnTo>
                  <a:pt x="1869" y="537"/>
                </a:lnTo>
                <a:lnTo>
                  <a:pt x="1859" y="537"/>
                </a:lnTo>
                <a:lnTo>
                  <a:pt x="1850" y="546"/>
                </a:lnTo>
                <a:lnTo>
                  <a:pt x="1836" y="548"/>
                </a:lnTo>
                <a:lnTo>
                  <a:pt x="1828" y="539"/>
                </a:lnTo>
                <a:lnTo>
                  <a:pt x="1819" y="541"/>
                </a:lnTo>
                <a:lnTo>
                  <a:pt x="1807" y="546"/>
                </a:lnTo>
                <a:lnTo>
                  <a:pt x="1784" y="541"/>
                </a:lnTo>
                <a:lnTo>
                  <a:pt x="1769" y="539"/>
                </a:lnTo>
                <a:lnTo>
                  <a:pt x="1759" y="533"/>
                </a:lnTo>
                <a:lnTo>
                  <a:pt x="1757" y="523"/>
                </a:lnTo>
                <a:lnTo>
                  <a:pt x="1757" y="512"/>
                </a:lnTo>
                <a:lnTo>
                  <a:pt x="1755" y="496"/>
                </a:lnTo>
                <a:lnTo>
                  <a:pt x="1742" y="489"/>
                </a:lnTo>
                <a:lnTo>
                  <a:pt x="1728" y="487"/>
                </a:lnTo>
                <a:lnTo>
                  <a:pt x="1717" y="491"/>
                </a:lnTo>
                <a:lnTo>
                  <a:pt x="1705" y="502"/>
                </a:lnTo>
                <a:lnTo>
                  <a:pt x="1692" y="502"/>
                </a:lnTo>
                <a:lnTo>
                  <a:pt x="1684" y="494"/>
                </a:lnTo>
                <a:lnTo>
                  <a:pt x="1684" y="494"/>
                </a:lnTo>
                <a:lnTo>
                  <a:pt x="1688" y="481"/>
                </a:lnTo>
                <a:lnTo>
                  <a:pt x="1688" y="475"/>
                </a:lnTo>
                <a:lnTo>
                  <a:pt x="1690" y="464"/>
                </a:lnTo>
                <a:lnTo>
                  <a:pt x="1699" y="460"/>
                </a:lnTo>
                <a:lnTo>
                  <a:pt x="1699" y="452"/>
                </a:lnTo>
                <a:lnTo>
                  <a:pt x="1694" y="444"/>
                </a:lnTo>
                <a:lnTo>
                  <a:pt x="1696" y="433"/>
                </a:lnTo>
                <a:lnTo>
                  <a:pt x="1701" y="431"/>
                </a:lnTo>
                <a:lnTo>
                  <a:pt x="1705" y="423"/>
                </a:lnTo>
                <a:lnTo>
                  <a:pt x="1711" y="414"/>
                </a:lnTo>
                <a:lnTo>
                  <a:pt x="1721" y="404"/>
                </a:lnTo>
                <a:lnTo>
                  <a:pt x="1730" y="402"/>
                </a:lnTo>
                <a:lnTo>
                  <a:pt x="1740" y="392"/>
                </a:lnTo>
                <a:lnTo>
                  <a:pt x="1755" y="383"/>
                </a:lnTo>
                <a:lnTo>
                  <a:pt x="1765" y="375"/>
                </a:lnTo>
                <a:lnTo>
                  <a:pt x="1773" y="369"/>
                </a:lnTo>
                <a:lnTo>
                  <a:pt x="1778" y="365"/>
                </a:lnTo>
                <a:lnTo>
                  <a:pt x="1780" y="356"/>
                </a:lnTo>
                <a:lnTo>
                  <a:pt x="1790" y="350"/>
                </a:lnTo>
                <a:lnTo>
                  <a:pt x="1796" y="348"/>
                </a:lnTo>
                <a:lnTo>
                  <a:pt x="1805" y="340"/>
                </a:lnTo>
                <a:lnTo>
                  <a:pt x="1813" y="327"/>
                </a:lnTo>
                <a:lnTo>
                  <a:pt x="1823" y="315"/>
                </a:lnTo>
                <a:lnTo>
                  <a:pt x="1828" y="300"/>
                </a:lnTo>
                <a:lnTo>
                  <a:pt x="1830" y="285"/>
                </a:lnTo>
                <a:lnTo>
                  <a:pt x="1828" y="273"/>
                </a:lnTo>
                <a:lnTo>
                  <a:pt x="1826" y="265"/>
                </a:lnTo>
                <a:lnTo>
                  <a:pt x="1817" y="263"/>
                </a:lnTo>
                <a:lnTo>
                  <a:pt x="1803" y="256"/>
                </a:lnTo>
                <a:lnTo>
                  <a:pt x="1792" y="256"/>
                </a:lnTo>
                <a:lnTo>
                  <a:pt x="1784" y="250"/>
                </a:lnTo>
                <a:lnTo>
                  <a:pt x="1776" y="242"/>
                </a:lnTo>
                <a:lnTo>
                  <a:pt x="1776" y="227"/>
                </a:lnTo>
                <a:lnTo>
                  <a:pt x="1771" y="219"/>
                </a:lnTo>
                <a:lnTo>
                  <a:pt x="1771" y="211"/>
                </a:lnTo>
                <a:lnTo>
                  <a:pt x="1771" y="200"/>
                </a:lnTo>
                <a:lnTo>
                  <a:pt x="1767" y="192"/>
                </a:lnTo>
                <a:lnTo>
                  <a:pt x="1759" y="186"/>
                </a:lnTo>
                <a:lnTo>
                  <a:pt x="1753" y="177"/>
                </a:lnTo>
                <a:lnTo>
                  <a:pt x="1751" y="165"/>
                </a:lnTo>
                <a:lnTo>
                  <a:pt x="1751" y="159"/>
                </a:lnTo>
                <a:lnTo>
                  <a:pt x="1753" y="152"/>
                </a:lnTo>
                <a:lnTo>
                  <a:pt x="1753" y="146"/>
                </a:lnTo>
                <a:lnTo>
                  <a:pt x="1749" y="140"/>
                </a:lnTo>
                <a:lnTo>
                  <a:pt x="1744" y="131"/>
                </a:lnTo>
                <a:lnTo>
                  <a:pt x="1746" y="125"/>
                </a:lnTo>
                <a:lnTo>
                  <a:pt x="1746" y="117"/>
                </a:lnTo>
                <a:lnTo>
                  <a:pt x="1746" y="102"/>
                </a:lnTo>
                <a:lnTo>
                  <a:pt x="1744" y="96"/>
                </a:lnTo>
                <a:lnTo>
                  <a:pt x="1736" y="90"/>
                </a:lnTo>
                <a:lnTo>
                  <a:pt x="1730" y="82"/>
                </a:lnTo>
                <a:lnTo>
                  <a:pt x="1730" y="73"/>
                </a:lnTo>
                <a:lnTo>
                  <a:pt x="1726" y="67"/>
                </a:lnTo>
                <a:lnTo>
                  <a:pt x="1719" y="59"/>
                </a:lnTo>
                <a:lnTo>
                  <a:pt x="1711" y="55"/>
                </a:lnTo>
                <a:lnTo>
                  <a:pt x="1703" y="50"/>
                </a:lnTo>
                <a:lnTo>
                  <a:pt x="1696" y="55"/>
                </a:lnTo>
                <a:lnTo>
                  <a:pt x="1694" y="63"/>
                </a:lnTo>
                <a:lnTo>
                  <a:pt x="1688" y="73"/>
                </a:lnTo>
                <a:lnTo>
                  <a:pt x="1686" y="84"/>
                </a:lnTo>
                <a:lnTo>
                  <a:pt x="1684" y="90"/>
                </a:lnTo>
                <a:lnTo>
                  <a:pt x="1676" y="98"/>
                </a:lnTo>
                <a:lnTo>
                  <a:pt x="1672" y="113"/>
                </a:lnTo>
                <a:lnTo>
                  <a:pt x="1663" y="123"/>
                </a:lnTo>
                <a:lnTo>
                  <a:pt x="1663" y="136"/>
                </a:lnTo>
                <a:lnTo>
                  <a:pt x="1659" y="150"/>
                </a:lnTo>
                <a:lnTo>
                  <a:pt x="1659" y="156"/>
                </a:lnTo>
                <a:lnTo>
                  <a:pt x="1653" y="163"/>
                </a:lnTo>
                <a:lnTo>
                  <a:pt x="1644" y="171"/>
                </a:lnTo>
                <a:lnTo>
                  <a:pt x="1640" y="184"/>
                </a:lnTo>
                <a:lnTo>
                  <a:pt x="1636" y="192"/>
                </a:lnTo>
                <a:lnTo>
                  <a:pt x="1630" y="200"/>
                </a:lnTo>
                <a:lnTo>
                  <a:pt x="1628" y="211"/>
                </a:lnTo>
                <a:lnTo>
                  <a:pt x="1622" y="223"/>
                </a:lnTo>
                <a:lnTo>
                  <a:pt x="1613" y="227"/>
                </a:lnTo>
                <a:lnTo>
                  <a:pt x="1605" y="231"/>
                </a:lnTo>
                <a:lnTo>
                  <a:pt x="1603" y="240"/>
                </a:lnTo>
                <a:lnTo>
                  <a:pt x="1595" y="248"/>
                </a:lnTo>
                <a:lnTo>
                  <a:pt x="1586" y="250"/>
                </a:lnTo>
                <a:lnTo>
                  <a:pt x="1576" y="242"/>
                </a:lnTo>
                <a:lnTo>
                  <a:pt x="1567" y="236"/>
                </a:lnTo>
                <a:lnTo>
                  <a:pt x="1559" y="227"/>
                </a:lnTo>
                <a:lnTo>
                  <a:pt x="1551" y="229"/>
                </a:lnTo>
                <a:lnTo>
                  <a:pt x="1540" y="233"/>
                </a:lnTo>
                <a:lnTo>
                  <a:pt x="1528" y="236"/>
                </a:lnTo>
                <a:lnTo>
                  <a:pt x="1518" y="236"/>
                </a:lnTo>
                <a:lnTo>
                  <a:pt x="1511" y="229"/>
                </a:lnTo>
                <a:lnTo>
                  <a:pt x="1497" y="221"/>
                </a:lnTo>
                <a:lnTo>
                  <a:pt x="1490" y="215"/>
                </a:lnTo>
                <a:lnTo>
                  <a:pt x="1476" y="206"/>
                </a:lnTo>
                <a:lnTo>
                  <a:pt x="1465" y="204"/>
                </a:lnTo>
                <a:lnTo>
                  <a:pt x="1453" y="202"/>
                </a:lnTo>
                <a:lnTo>
                  <a:pt x="1441" y="202"/>
                </a:lnTo>
                <a:lnTo>
                  <a:pt x="1428" y="198"/>
                </a:lnTo>
                <a:lnTo>
                  <a:pt x="1418" y="198"/>
                </a:lnTo>
                <a:lnTo>
                  <a:pt x="1413" y="204"/>
                </a:lnTo>
                <a:lnTo>
                  <a:pt x="1405" y="206"/>
                </a:lnTo>
                <a:lnTo>
                  <a:pt x="1395" y="204"/>
                </a:lnTo>
                <a:lnTo>
                  <a:pt x="1386" y="198"/>
                </a:lnTo>
                <a:lnTo>
                  <a:pt x="1374" y="198"/>
                </a:lnTo>
                <a:lnTo>
                  <a:pt x="1370" y="206"/>
                </a:lnTo>
                <a:lnTo>
                  <a:pt x="1368" y="217"/>
                </a:lnTo>
                <a:lnTo>
                  <a:pt x="1370" y="225"/>
                </a:lnTo>
                <a:lnTo>
                  <a:pt x="1366" y="231"/>
                </a:lnTo>
                <a:lnTo>
                  <a:pt x="1374" y="238"/>
                </a:lnTo>
                <a:lnTo>
                  <a:pt x="1374" y="244"/>
                </a:lnTo>
                <a:lnTo>
                  <a:pt x="1361" y="244"/>
                </a:lnTo>
                <a:lnTo>
                  <a:pt x="1351" y="250"/>
                </a:lnTo>
                <a:lnTo>
                  <a:pt x="1341" y="250"/>
                </a:lnTo>
                <a:lnTo>
                  <a:pt x="1330" y="250"/>
                </a:lnTo>
                <a:lnTo>
                  <a:pt x="1314" y="248"/>
                </a:lnTo>
                <a:lnTo>
                  <a:pt x="1303" y="246"/>
                </a:lnTo>
                <a:lnTo>
                  <a:pt x="1289" y="242"/>
                </a:lnTo>
                <a:lnTo>
                  <a:pt x="1278" y="238"/>
                </a:lnTo>
                <a:lnTo>
                  <a:pt x="1259" y="246"/>
                </a:lnTo>
                <a:lnTo>
                  <a:pt x="1253" y="254"/>
                </a:lnTo>
                <a:lnTo>
                  <a:pt x="1251" y="267"/>
                </a:lnTo>
                <a:lnTo>
                  <a:pt x="1241" y="263"/>
                </a:lnTo>
                <a:lnTo>
                  <a:pt x="1232" y="267"/>
                </a:lnTo>
                <a:lnTo>
                  <a:pt x="1220" y="267"/>
                </a:lnTo>
                <a:lnTo>
                  <a:pt x="1212" y="273"/>
                </a:lnTo>
                <a:lnTo>
                  <a:pt x="1203" y="273"/>
                </a:lnTo>
                <a:lnTo>
                  <a:pt x="1195" y="275"/>
                </a:lnTo>
                <a:lnTo>
                  <a:pt x="1182" y="277"/>
                </a:lnTo>
                <a:lnTo>
                  <a:pt x="1187" y="285"/>
                </a:lnTo>
                <a:lnTo>
                  <a:pt x="1172" y="294"/>
                </a:lnTo>
                <a:lnTo>
                  <a:pt x="1160" y="300"/>
                </a:lnTo>
                <a:lnTo>
                  <a:pt x="1147" y="300"/>
                </a:lnTo>
                <a:lnTo>
                  <a:pt x="1135" y="300"/>
                </a:lnTo>
                <a:lnTo>
                  <a:pt x="1124" y="294"/>
                </a:lnTo>
                <a:lnTo>
                  <a:pt x="1118" y="290"/>
                </a:lnTo>
                <a:lnTo>
                  <a:pt x="1114" y="285"/>
                </a:lnTo>
                <a:lnTo>
                  <a:pt x="1110" y="281"/>
                </a:lnTo>
                <a:lnTo>
                  <a:pt x="1105" y="273"/>
                </a:lnTo>
                <a:lnTo>
                  <a:pt x="1103" y="269"/>
                </a:lnTo>
                <a:lnTo>
                  <a:pt x="1093" y="263"/>
                </a:lnTo>
                <a:lnTo>
                  <a:pt x="1085" y="261"/>
                </a:lnTo>
                <a:lnTo>
                  <a:pt x="1074" y="256"/>
                </a:lnTo>
                <a:lnTo>
                  <a:pt x="1070" y="250"/>
                </a:lnTo>
                <a:lnTo>
                  <a:pt x="1070" y="244"/>
                </a:lnTo>
                <a:lnTo>
                  <a:pt x="1070" y="236"/>
                </a:lnTo>
                <a:lnTo>
                  <a:pt x="1068" y="229"/>
                </a:lnTo>
                <a:lnTo>
                  <a:pt x="1068" y="221"/>
                </a:lnTo>
                <a:lnTo>
                  <a:pt x="1062" y="219"/>
                </a:lnTo>
                <a:lnTo>
                  <a:pt x="1058" y="215"/>
                </a:lnTo>
                <a:lnTo>
                  <a:pt x="1060" y="206"/>
                </a:lnTo>
                <a:lnTo>
                  <a:pt x="1060" y="198"/>
                </a:lnTo>
                <a:lnTo>
                  <a:pt x="1056" y="192"/>
                </a:lnTo>
                <a:lnTo>
                  <a:pt x="1051" y="186"/>
                </a:lnTo>
                <a:lnTo>
                  <a:pt x="1049" y="173"/>
                </a:lnTo>
                <a:lnTo>
                  <a:pt x="1051" y="165"/>
                </a:lnTo>
                <a:lnTo>
                  <a:pt x="1049" y="161"/>
                </a:lnTo>
                <a:lnTo>
                  <a:pt x="1056" y="152"/>
                </a:lnTo>
                <a:lnTo>
                  <a:pt x="1056" y="146"/>
                </a:lnTo>
                <a:lnTo>
                  <a:pt x="1058" y="140"/>
                </a:lnTo>
                <a:lnTo>
                  <a:pt x="1064" y="129"/>
                </a:lnTo>
                <a:lnTo>
                  <a:pt x="1064" y="125"/>
                </a:lnTo>
                <a:lnTo>
                  <a:pt x="1062" y="121"/>
                </a:lnTo>
                <a:lnTo>
                  <a:pt x="1066" y="119"/>
                </a:lnTo>
                <a:lnTo>
                  <a:pt x="1070" y="117"/>
                </a:lnTo>
                <a:lnTo>
                  <a:pt x="1076" y="111"/>
                </a:lnTo>
                <a:lnTo>
                  <a:pt x="1083" y="100"/>
                </a:lnTo>
                <a:lnTo>
                  <a:pt x="1085" y="94"/>
                </a:lnTo>
                <a:lnTo>
                  <a:pt x="1076" y="86"/>
                </a:lnTo>
                <a:lnTo>
                  <a:pt x="1070" y="84"/>
                </a:lnTo>
                <a:lnTo>
                  <a:pt x="1068" y="77"/>
                </a:lnTo>
                <a:lnTo>
                  <a:pt x="1068" y="71"/>
                </a:lnTo>
                <a:lnTo>
                  <a:pt x="1066" y="63"/>
                </a:lnTo>
                <a:lnTo>
                  <a:pt x="1060" y="59"/>
                </a:lnTo>
                <a:lnTo>
                  <a:pt x="1053" y="55"/>
                </a:lnTo>
                <a:lnTo>
                  <a:pt x="1049" y="52"/>
                </a:lnTo>
                <a:lnTo>
                  <a:pt x="1045" y="46"/>
                </a:lnTo>
                <a:lnTo>
                  <a:pt x="1045" y="38"/>
                </a:lnTo>
                <a:lnTo>
                  <a:pt x="1045" y="27"/>
                </a:lnTo>
                <a:lnTo>
                  <a:pt x="1045" y="15"/>
                </a:lnTo>
                <a:lnTo>
                  <a:pt x="1041" y="9"/>
                </a:lnTo>
                <a:lnTo>
                  <a:pt x="1037" y="5"/>
                </a:lnTo>
                <a:lnTo>
                  <a:pt x="1031" y="2"/>
                </a:lnTo>
                <a:lnTo>
                  <a:pt x="1020" y="0"/>
                </a:lnTo>
                <a:lnTo>
                  <a:pt x="1012" y="0"/>
                </a:lnTo>
                <a:lnTo>
                  <a:pt x="1001" y="0"/>
                </a:lnTo>
                <a:lnTo>
                  <a:pt x="997" y="7"/>
                </a:lnTo>
                <a:lnTo>
                  <a:pt x="1006" y="11"/>
                </a:lnTo>
                <a:lnTo>
                  <a:pt x="1003" y="17"/>
                </a:lnTo>
                <a:lnTo>
                  <a:pt x="999" y="23"/>
                </a:lnTo>
                <a:lnTo>
                  <a:pt x="993" y="25"/>
                </a:lnTo>
                <a:lnTo>
                  <a:pt x="987" y="30"/>
                </a:lnTo>
                <a:lnTo>
                  <a:pt x="983" y="36"/>
                </a:lnTo>
                <a:lnTo>
                  <a:pt x="979" y="40"/>
                </a:lnTo>
                <a:lnTo>
                  <a:pt x="974" y="46"/>
                </a:lnTo>
                <a:lnTo>
                  <a:pt x="964" y="55"/>
                </a:lnTo>
                <a:lnTo>
                  <a:pt x="954" y="57"/>
                </a:lnTo>
                <a:lnTo>
                  <a:pt x="943" y="59"/>
                </a:lnTo>
                <a:lnTo>
                  <a:pt x="937" y="61"/>
                </a:lnTo>
                <a:lnTo>
                  <a:pt x="933" y="67"/>
                </a:lnTo>
                <a:lnTo>
                  <a:pt x="922" y="73"/>
                </a:lnTo>
                <a:lnTo>
                  <a:pt x="912" y="73"/>
                </a:lnTo>
                <a:lnTo>
                  <a:pt x="902" y="75"/>
                </a:lnTo>
                <a:lnTo>
                  <a:pt x="895" y="75"/>
                </a:lnTo>
                <a:lnTo>
                  <a:pt x="887" y="77"/>
                </a:lnTo>
                <a:lnTo>
                  <a:pt x="879" y="82"/>
                </a:lnTo>
                <a:lnTo>
                  <a:pt x="872" y="84"/>
                </a:lnTo>
                <a:lnTo>
                  <a:pt x="862" y="82"/>
                </a:lnTo>
                <a:lnTo>
                  <a:pt x="856" y="84"/>
                </a:lnTo>
                <a:lnTo>
                  <a:pt x="845" y="90"/>
                </a:lnTo>
                <a:lnTo>
                  <a:pt x="839" y="94"/>
                </a:lnTo>
                <a:lnTo>
                  <a:pt x="835" y="100"/>
                </a:lnTo>
                <a:lnTo>
                  <a:pt x="829" y="104"/>
                </a:lnTo>
                <a:lnTo>
                  <a:pt x="820" y="104"/>
                </a:lnTo>
                <a:lnTo>
                  <a:pt x="810" y="104"/>
                </a:lnTo>
                <a:lnTo>
                  <a:pt x="797" y="104"/>
                </a:lnTo>
                <a:lnTo>
                  <a:pt x="789" y="100"/>
                </a:lnTo>
                <a:lnTo>
                  <a:pt x="777" y="98"/>
                </a:lnTo>
                <a:lnTo>
                  <a:pt x="768" y="92"/>
                </a:lnTo>
                <a:lnTo>
                  <a:pt x="754" y="88"/>
                </a:lnTo>
                <a:lnTo>
                  <a:pt x="745" y="84"/>
                </a:lnTo>
                <a:lnTo>
                  <a:pt x="733" y="79"/>
                </a:lnTo>
                <a:lnTo>
                  <a:pt x="725" y="75"/>
                </a:lnTo>
                <a:lnTo>
                  <a:pt x="714" y="79"/>
                </a:lnTo>
                <a:lnTo>
                  <a:pt x="706" y="84"/>
                </a:lnTo>
                <a:lnTo>
                  <a:pt x="700" y="90"/>
                </a:lnTo>
                <a:lnTo>
                  <a:pt x="700" y="100"/>
                </a:lnTo>
                <a:lnTo>
                  <a:pt x="708" y="111"/>
                </a:lnTo>
                <a:lnTo>
                  <a:pt x="716" y="115"/>
                </a:lnTo>
                <a:lnTo>
                  <a:pt x="725" y="119"/>
                </a:lnTo>
                <a:lnTo>
                  <a:pt x="733" y="125"/>
                </a:lnTo>
                <a:lnTo>
                  <a:pt x="737" y="136"/>
                </a:lnTo>
                <a:lnTo>
                  <a:pt x="731" y="144"/>
                </a:lnTo>
                <a:lnTo>
                  <a:pt x="725" y="148"/>
                </a:lnTo>
                <a:lnTo>
                  <a:pt x="725" y="156"/>
                </a:lnTo>
                <a:lnTo>
                  <a:pt x="725" y="165"/>
                </a:lnTo>
                <a:lnTo>
                  <a:pt x="725" y="173"/>
                </a:lnTo>
                <a:lnTo>
                  <a:pt x="725" y="184"/>
                </a:lnTo>
                <a:lnTo>
                  <a:pt x="733" y="192"/>
                </a:lnTo>
                <a:lnTo>
                  <a:pt x="729" y="202"/>
                </a:lnTo>
                <a:lnTo>
                  <a:pt x="729" y="206"/>
                </a:lnTo>
                <a:lnTo>
                  <a:pt x="735" y="213"/>
                </a:lnTo>
                <a:lnTo>
                  <a:pt x="739" y="221"/>
                </a:lnTo>
                <a:lnTo>
                  <a:pt x="752" y="223"/>
                </a:lnTo>
                <a:lnTo>
                  <a:pt x="758" y="231"/>
                </a:lnTo>
                <a:lnTo>
                  <a:pt x="768" y="231"/>
                </a:lnTo>
                <a:lnTo>
                  <a:pt x="781" y="229"/>
                </a:lnTo>
                <a:lnTo>
                  <a:pt x="793" y="231"/>
                </a:lnTo>
                <a:lnTo>
                  <a:pt x="800" y="236"/>
                </a:lnTo>
                <a:lnTo>
                  <a:pt x="787" y="242"/>
                </a:lnTo>
                <a:lnTo>
                  <a:pt x="775" y="242"/>
                </a:lnTo>
                <a:lnTo>
                  <a:pt x="766" y="250"/>
                </a:lnTo>
                <a:lnTo>
                  <a:pt x="756" y="252"/>
                </a:lnTo>
                <a:lnTo>
                  <a:pt x="741" y="258"/>
                </a:lnTo>
                <a:lnTo>
                  <a:pt x="727" y="261"/>
                </a:lnTo>
                <a:lnTo>
                  <a:pt x="716" y="258"/>
                </a:lnTo>
                <a:lnTo>
                  <a:pt x="708" y="271"/>
                </a:lnTo>
                <a:lnTo>
                  <a:pt x="691" y="285"/>
                </a:lnTo>
                <a:lnTo>
                  <a:pt x="689" y="294"/>
                </a:lnTo>
                <a:lnTo>
                  <a:pt x="677" y="302"/>
                </a:lnTo>
                <a:lnTo>
                  <a:pt x="658" y="300"/>
                </a:lnTo>
                <a:lnTo>
                  <a:pt x="652" y="317"/>
                </a:lnTo>
                <a:lnTo>
                  <a:pt x="650" y="329"/>
                </a:lnTo>
                <a:lnTo>
                  <a:pt x="635" y="333"/>
                </a:lnTo>
                <a:lnTo>
                  <a:pt x="616" y="335"/>
                </a:lnTo>
                <a:lnTo>
                  <a:pt x="604" y="337"/>
                </a:lnTo>
                <a:lnTo>
                  <a:pt x="589" y="342"/>
                </a:lnTo>
                <a:lnTo>
                  <a:pt x="579" y="337"/>
                </a:lnTo>
                <a:lnTo>
                  <a:pt x="573" y="329"/>
                </a:lnTo>
                <a:lnTo>
                  <a:pt x="554" y="323"/>
                </a:lnTo>
                <a:lnTo>
                  <a:pt x="546" y="310"/>
                </a:lnTo>
                <a:lnTo>
                  <a:pt x="531" y="306"/>
                </a:lnTo>
                <a:lnTo>
                  <a:pt x="521" y="304"/>
                </a:lnTo>
                <a:lnTo>
                  <a:pt x="510" y="304"/>
                </a:lnTo>
                <a:lnTo>
                  <a:pt x="502" y="300"/>
                </a:lnTo>
                <a:lnTo>
                  <a:pt x="504" y="294"/>
                </a:lnTo>
                <a:lnTo>
                  <a:pt x="504" y="290"/>
                </a:lnTo>
                <a:lnTo>
                  <a:pt x="508" y="285"/>
                </a:lnTo>
                <a:lnTo>
                  <a:pt x="508" y="281"/>
                </a:lnTo>
                <a:lnTo>
                  <a:pt x="506" y="271"/>
                </a:lnTo>
                <a:lnTo>
                  <a:pt x="502" y="256"/>
                </a:lnTo>
                <a:lnTo>
                  <a:pt x="498" y="244"/>
                </a:lnTo>
                <a:lnTo>
                  <a:pt x="494" y="238"/>
                </a:lnTo>
                <a:lnTo>
                  <a:pt x="475" y="238"/>
                </a:lnTo>
                <a:lnTo>
                  <a:pt x="464" y="238"/>
                </a:lnTo>
                <a:lnTo>
                  <a:pt x="460" y="244"/>
                </a:lnTo>
                <a:lnTo>
                  <a:pt x="458" y="254"/>
                </a:lnTo>
                <a:lnTo>
                  <a:pt x="454" y="258"/>
                </a:lnTo>
                <a:lnTo>
                  <a:pt x="450" y="265"/>
                </a:lnTo>
                <a:lnTo>
                  <a:pt x="446" y="267"/>
                </a:lnTo>
                <a:lnTo>
                  <a:pt x="440" y="263"/>
                </a:lnTo>
                <a:lnTo>
                  <a:pt x="435" y="256"/>
                </a:lnTo>
                <a:lnTo>
                  <a:pt x="433" y="250"/>
                </a:lnTo>
                <a:lnTo>
                  <a:pt x="429" y="244"/>
                </a:lnTo>
                <a:lnTo>
                  <a:pt x="423" y="244"/>
                </a:lnTo>
                <a:lnTo>
                  <a:pt x="417" y="244"/>
                </a:lnTo>
                <a:lnTo>
                  <a:pt x="412" y="248"/>
                </a:lnTo>
                <a:lnTo>
                  <a:pt x="410" y="252"/>
                </a:lnTo>
                <a:lnTo>
                  <a:pt x="410" y="258"/>
                </a:lnTo>
                <a:lnTo>
                  <a:pt x="410" y="267"/>
                </a:lnTo>
                <a:lnTo>
                  <a:pt x="406" y="273"/>
                </a:lnTo>
                <a:lnTo>
                  <a:pt x="394" y="271"/>
                </a:lnTo>
                <a:lnTo>
                  <a:pt x="377" y="271"/>
                </a:lnTo>
                <a:lnTo>
                  <a:pt x="360" y="271"/>
                </a:lnTo>
                <a:lnTo>
                  <a:pt x="340" y="273"/>
                </a:lnTo>
                <a:lnTo>
                  <a:pt x="315" y="275"/>
                </a:lnTo>
                <a:lnTo>
                  <a:pt x="304" y="275"/>
                </a:lnTo>
                <a:lnTo>
                  <a:pt x="294" y="281"/>
                </a:lnTo>
                <a:lnTo>
                  <a:pt x="292" y="298"/>
                </a:lnTo>
                <a:lnTo>
                  <a:pt x="294" y="315"/>
                </a:lnTo>
                <a:lnTo>
                  <a:pt x="304" y="323"/>
                </a:lnTo>
                <a:lnTo>
                  <a:pt x="319" y="325"/>
                </a:lnTo>
                <a:lnTo>
                  <a:pt x="327" y="331"/>
                </a:lnTo>
                <a:lnTo>
                  <a:pt x="325" y="344"/>
                </a:lnTo>
                <a:lnTo>
                  <a:pt x="306" y="352"/>
                </a:lnTo>
                <a:lnTo>
                  <a:pt x="292" y="358"/>
                </a:lnTo>
                <a:lnTo>
                  <a:pt x="281" y="367"/>
                </a:lnTo>
                <a:lnTo>
                  <a:pt x="283" y="383"/>
                </a:lnTo>
                <a:lnTo>
                  <a:pt x="283" y="402"/>
                </a:lnTo>
                <a:lnTo>
                  <a:pt x="279" y="410"/>
                </a:lnTo>
                <a:lnTo>
                  <a:pt x="279" y="423"/>
                </a:lnTo>
                <a:lnTo>
                  <a:pt x="288" y="429"/>
                </a:lnTo>
                <a:lnTo>
                  <a:pt x="296" y="437"/>
                </a:lnTo>
                <a:lnTo>
                  <a:pt x="304" y="437"/>
                </a:lnTo>
                <a:lnTo>
                  <a:pt x="313" y="442"/>
                </a:lnTo>
                <a:lnTo>
                  <a:pt x="319" y="452"/>
                </a:lnTo>
                <a:lnTo>
                  <a:pt x="317" y="464"/>
                </a:lnTo>
                <a:lnTo>
                  <a:pt x="319" y="475"/>
                </a:lnTo>
                <a:lnTo>
                  <a:pt x="325" y="481"/>
                </a:lnTo>
                <a:lnTo>
                  <a:pt x="325" y="494"/>
                </a:lnTo>
                <a:lnTo>
                  <a:pt x="319" y="504"/>
                </a:lnTo>
                <a:lnTo>
                  <a:pt x="323" y="514"/>
                </a:lnTo>
                <a:lnTo>
                  <a:pt x="321" y="525"/>
                </a:lnTo>
                <a:lnTo>
                  <a:pt x="321" y="543"/>
                </a:lnTo>
                <a:lnTo>
                  <a:pt x="321" y="568"/>
                </a:lnTo>
                <a:lnTo>
                  <a:pt x="319" y="596"/>
                </a:lnTo>
                <a:lnTo>
                  <a:pt x="315" y="623"/>
                </a:lnTo>
                <a:lnTo>
                  <a:pt x="315" y="645"/>
                </a:lnTo>
                <a:lnTo>
                  <a:pt x="310" y="668"/>
                </a:lnTo>
                <a:lnTo>
                  <a:pt x="308" y="685"/>
                </a:lnTo>
                <a:lnTo>
                  <a:pt x="304" y="704"/>
                </a:lnTo>
                <a:lnTo>
                  <a:pt x="304" y="716"/>
                </a:lnTo>
                <a:lnTo>
                  <a:pt x="300" y="727"/>
                </a:lnTo>
                <a:lnTo>
                  <a:pt x="298" y="733"/>
                </a:lnTo>
                <a:lnTo>
                  <a:pt x="292" y="735"/>
                </a:lnTo>
                <a:lnTo>
                  <a:pt x="286" y="735"/>
                </a:lnTo>
                <a:lnTo>
                  <a:pt x="283" y="737"/>
                </a:lnTo>
                <a:lnTo>
                  <a:pt x="279" y="741"/>
                </a:lnTo>
                <a:lnTo>
                  <a:pt x="273" y="737"/>
                </a:lnTo>
                <a:lnTo>
                  <a:pt x="269" y="735"/>
                </a:lnTo>
                <a:lnTo>
                  <a:pt x="261" y="731"/>
                </a:lnTo>
                <a:lnTo>
                  <a:pt x="248" y="731"/>
                </a:lnTo>
                <a:lnTo>
                  <a:pt x="242" y="733"/>
                </a:lnTo>
                <a:lnTo>
                  <a:pt x="233" y="731"/>
                </a:lnTo>
                <a:lnTo>
                  <a:pt x="229" y="735"/>
                </a:lnTo>
                <a:lnTo>
                  <a:pt x="225" y="743"/>
                </a:lnTo>
                <a:lnTo>
                  <a:pt x="213" y="743"/>
                </a:lnTo>
                <a:lnTo>
                  <a:pt x="209" y="747"/>
                </a:lnTo>
                <a:lnTo>
                  <a:pt x="202" y="750"/>
                </a:lnTo>
                <a:lnTo>
                  <a:pt x="196" y="752"/>
                </a:lnTo>
                <a:lnTo>
                  <a:pt x="188" y="754"/>
                </a:lnTo>
                <a:lnTo>
                  <a:pt x="179" y="760"/>
                </a:lnTo>
                <a:lnTo>
                  <a:pt x="169" y="762"/>
                </a:lnTo>
                <a:lnTo>
                  <a:pt x="161" y="762"/>
                </a:lnTo>
                <a:lnTo>
                  <a:pt x="154" y="762"/>
                </a:lnTo>
                <a:lnTo>
                  <a:pt x="144" y="764"/>
                </a:lnTo>
                <a:lnTo>
                  <a:pt x="138" y="766"/>
                </a:lnTo>
                <a:lnTo>
                  <a:pt x="132" y="766"/>
                </a:lnTo>
                <a:lnTo>
                  <a:pt x="123" y="770"/>
                </a:lnTo>
                <a:lnTo>
                  <a:pt x="119" y="774"/>
                </a:lnTo>
                <a:lnTo>
                  <a:pt x="113" y="779"/>
                </a:lnTo>
                <a:lnTo>
                  <a:pt x="109" y="781"/>
                </a:lnTo>
                <a:lnTo>
                  <a:pt x="100" y="785"/>
                </a:lnTo>
                <a:lnTo>
                  <a:pt x="96" y="791"/>
                </a:lnTo>
                <a:lnTo>
                  <a:pt x="88" y="795"/>
                </a:lnTo>
                <a:lnTo>
                  <a:pt x="82" y="799"/>
                </a:lnTo>
                <a:lnTo>
                  <a:pt x="75" y="806"/>
                </a:lnTo>
                <a:lnTo>
                  <a:pt x="67" y="806"/>
                </a:lnTo>
                <a:lnTo>
                  <a:pt x="63" y="808"/>
                </a:lnTo>
                <a:lnTo>
                  <a:pt x="59" y="822"/>
                </a:lnTo>
                <a:lnTo>
                  <a:pt x="59" y="831"/>
                </a:lnTo>
                <a:lnTo>
                  <a:pt x="61" y="845"/>
                </a:lnTo>
                <a:lnTo>
                  <a:pt x="52" y="858"/>
                </a:lnTo>
                <a:lnTo>
                  <a:pt x="40" y="870"/>
                </a:lnTo>
                <a:lnTo>
                  <a:pt x="40" y="879"/>
                </a:lnTo>
                <a:lnTo>
                  <a:pt x="42" y="885"/>
                </a:lnTo>
                <a:lnTo>
                  <a:pt x="40" y="891"/>
                </a:lnTo>
                <a:lnTo>
                  <a:pt x="40" y="899"/>
                </a:lnTo>
                <a:lnTo>
                  <a:pt x="38" y="908"/>
                </a:lnTo>
                <a:lnTo>
                  <a:pt x="36" y="914"/>
                </a:lnTo>
                <a:lnTo>
                  <a:pt x="34" y="920"/>
                </a:lnTo>
                <a:lnTo>
                  <a:pt x="30" y="926"/>
                </a:lnTo>
                <a:lnTo>
                  <a:pt x="23" y="931"/>
                </a:lnTo>
                <a:lnTo>
                  <a:pt x="21" y="937"/>
                </a:lnTo>
                <a:lnTo>
                  <a:pt x="17" y="939"/>
                </a:lnTo>
                <a:lnTo>
                  <a:pt x="13" y="945"/>
                </a:lnTo>
                <a:lnTo>
                  <a:pt x="9" y="949"/>
                </a:lnTo>
                <a:lnTo>
                  <a:pt x="7" y="953"/>
                </a:lnTo>
                <a:lnTo>
                  <a:pt x="5" y="960"/>
                </a:lnTo>
                <a:lnTo>
                  <a:pt x="0" y="964"/>
                </a:lnTo>
                <a:lnTo>
                  <a:pt x="0" y="968"/>
                </a:lnTo>
                <a:lnTo>
                  <a:pt x="2" y="972"/>
                </a:lnTo>
                <a:lnTo>
                  <a:pt x="2" y="976"/>
                </a:lnTo>
                <a:lnTo>
                  <a:pt x="7" y="980"/>
                </a:lnTo>
                <a:lnTo>
                  <a:pt x="7" y="985"/>
                </a:lnTo>
                <a:lnTo>
                  <a:pt x="2" y="989"/>
                </a:lnTo>
                <a:lnTo>
                  <a:pt x="5" y="997"/>
                </a:lnTo>
                <a:lnTo>
                  <a:pt x="5" y="1005"/>
                </a:lnTo>
                <a:lnTo>
                  <a:pt x="9" y="1014"/>
                </a:lnTo>
                <a:lnTo>
                  <a:pt x="15" y="1018"/>
                </a:lnTo>
                <a:lnTo>
                  <a:pt x="17" y="1024"/>
                </a:lnTo>
                <a:lnTo>
                  <a:pt x="19" y="1030"/>
                </a:lnTo>
                <a:lnTo>
                  <a:pt x="25" y="1035"/>
                </a:lnTo>
                <a:lnTo>
                  <a:pt x="23" y="1039"/>
                </a:lnTo>
                <a:lnTo>
                  <a:pt x="27" y="1043"/>
                </a:lnTo>
                <a:lnTo>
                  <a:pt x="34" y="1047"/>
                </a:lnTo>
                <a:lnTo>
                  <a:pt x="38" y="1053"/>
                </a:lnTo>
                <a:lnTo>
                  <a:pt x="40" y="1060"/>
                </a:lnTo>
                <a:lnTo>
                  <a:pt x="40" y="1066"/>
                </a:lnTo>
                <a:lnTo>
                  <a:pt x="50" y="1072"/>
                </a:lnTo>
                <a:lnTo>
                  <a:pt x="55" y="1078"/>
                </a:lnTo>
                <a:lnTo>
                  <a:pt x="61" y="1080"/>
                </a:lnTo>
                <a:lnTo>
                  <a:pt x="65" y="1089"/>
                </a:lnTo>
                <a:lnTo>
                  <a:pt x="69" y="1093"/>
                </a:lnTo>
                <a:lnTo>
                  <a:pt x="69" y="1099"/>
                </a:lnTo>
                <a:lnTo>
                  <a:pt x="73" y="1103"/>
                </a:lnTo>
                <a:lnTo>
                  <a:pt x="73" y="1109"/>
                </a:lnTo>
                <a:lnTo>
                  <a:pt x="73" y="1116"/>
                </a:lnTo>
                <a:lnTo>
                  <a:pt x="71" y="1120"/>
                </a:lnTo>
                <a:lnTo>
                  <a:pt x="69" y="1126"/>
                </a:lnTo>
                <a:lnTo>
                  <a:pt x="65" y="1132"/>
                </a:lnTo>
                <a:lnTo>
                  <a:pt x="67" y="1137"/>
                </a:lnTo>
                <a:lnTo>
                  <a:pt x="71" y="1141"/>
                </a:lnTo>
                <a:lnTo>
                  <a:pt x="77" y="1137"/>
                </a:lnTo>
                <a:lnTo>
                  <a:pt x="84" y="1137"/>
                </a:lnTo>
                <a:lnTo>
                  <a:pt x="92" y="1141"/>
                </a:lnTo>
                <a:lnTo>
                  <a:pt x="98" y="1145"/>
                </a:lnTo>
                <a:lnTo>
                  <a:pt x="104" y="1149"/>
                </a:lnTo>
                <a:lnTo>
                  <a:pt x="113" y="1149"/>
                </a:lnTo>
                <a:lnTo>
                  <a:pt x="121" y="1153"/>
                </a:lnTo>
                <a:lnTo>
                  <a:pt x="127" y="1157"/>
                </a:lnTo>
                <a:lnTo>
                  <a:pt x="134" y="1162"/>
                </a:lnTo>
                <a:lnTo>
                  <a:pt x="142" y="1164"/>
                </a:lnTo>
                <a:lnTo>
                  <a:pt x="142" y="1168"/>
                </a:lnTo>
                <a:lnTo>
                  <a:pt x="144" y="1174"/>
                </a:lnTo>
                <a:lnTo>
                  <a:pt x="148" y="1180"/>
                </a:lnTo>
                <a:lnTo>
                  <a:pt x="154" y="1184"/>
                </a:lnTo>
                <a:lnTo>
                  <a:pt x="161" y="1184"/>
                </a:lnTo>
                <a:lnTo>
                  <a:pt x="167" y="1186"/>
                </a:lnTo>
                <a:lnTo>
                  <a:pt x="173" y="1184"/>
                </a:lnTo>
                <a:lnTo>
                  <a:pt x="177" y="1178"/>
                </a:lnTo>
                <a:lnTo>
                  <a:pt x="184" y="1178"/>
                </a:lnTo>
                <a:lnTo>
                  <a:pt x="194" y="1180"/>
                </a:lnTo>
                <a:lnTo>
                  <a:pt x="202" y="1176"/>
                </a:lnTo>
                <a:lnTo>
                  <a:pt x="204" y="1170"/>
                </a:lnTo>
                <a:lnTo>
                  <a:pt x="211" y="1166"/>
                </a:lnTo>
                <a:lnTo>
                  <a:pt x="221" y="1159"/>
                </a:lnTo>
                <a:lnTo>
                  <a:pt x="225" y="1153"/>
                </a:lnTo>
                <a:lnTo>
                  <a:pt x="229" y="1151"/>
                </a:lnTo>
                <a:lnTo>
                  <a:pt x="238" y="1149"/>
                </a:lnTo>
                <a:lnTo>
                  <a:pt x="244" y="1145"/>
                </a:lnTo>
                <a:lnTo>
                  <a:pt x="248" y="1145"/>
                </a:lnTo>
                <a:lnTo>
                  <a:pt x="252" y="1143"/>
                </a:lnTo>
                <a:lnTo>
                  <a:pt x="261" y="1143"/>
                </a:lnTo>
                <a:lnTo>
                  <a:pt x="263" y="1147"/>
                </a:lnTo>
                <a:lnTo>
                  <a:pt x="263" y="1153"/>
                </a:lnTo>
                <a:lnTo>
                  <a:pt x="263" y="1162"/>
                </a:lnTo>
                <a:lnTo>
                  <a:pt x="263" y="1170"/>
                </a:lnTo>
                <a:lnTo>
                  <a:pt x="263" y="1189"/>
                </a:lnTo>
                <a:lnTo>
                  <a:pt x="263" y="1197"/>
                </a:lnTo>
                <a:lnTo>
                  <a:pt x="265" y="1201"/>
                </a:lnTo>
                <a:lnTo>
                  <a:pt x="263" y="1209"/>
                </a:lnTo>
                <a:lnTo>
                  <a:pt x="263" y="1216"/>
                </a:lnTo>
                <a:lnTo>
                  <a:pt x="261" y="1226"/>
                </a:lnTo>
                <a:lnTo>
                  <a:pt x="261" y="1236"/>
                </a:lnTo>
                <a:lnTo>
                  <a:pt x="263" y="1243"/>
                </a:lnTo>
                <a:lnTo>
                  <a:pt x="267" y="1249"/>
                </a:lnTo>
                <a:lnTo>
                  <a:pt x="267" y="1253"/>
                </a:lnTo>
                <a:lnTo>
                  <a:pt x="271" y="1259"/>
                </a:lnTo>
                <a:lnTo>
                  <a:pt x="277" y="1263"/>
                </a:lnTo>
                <a:lnTo>
                  <a:pt x="288" y="1263"/>
                </a:lnTo>
                <a:lnTo>
                  <a:pt x="296" y="1261"/>
                </a:lnTo>
                <a:lnTo>
                  <a:pt x="304" y="1257"/>
                </a:lnTo>
                <a:lnTo>
                  <a:pt x="313" y="1255"/>
                </a:lnTo>
                <a:lnTo>
                  <a:pt x="325" y="1253"/>
                </a:lnTo>
                <a:lnTo>
                  <a:pt x="333" y="1253"/>
                </a:lnTo>
                <a:lnTo>
                  <a:pt x="346" y="1253"/>
                </a:lnTo>
                <a:lnTo>
                  <a:pt x="354" y="1255"/>
                </a:lnTo>
                <a:lnTo>
                  <a:pt x="369" y="1253"/>
                </a:lnTo>
                <a:lnTo>
                  <a:pt x="377" y="1255"/>
                </a:lnTo>
                <a:lnTo>
                  <a:pt x="383" y="1257"/>
                </a:lnTo>
                <a:lnTo>
                  <a:pt x="390" y="1255"/>
                </a:lnTo>
                <a:lnTo>
                  <a:pt x="394" y="1251"/>
                </a:lnTo>
                <a:lnTo>
                  <a:pt x="402" y="1251"/>
                </a:lnTo>
                <a:lnTo>
                  <a:pt x="406" y="1249"/>
                </a:lnTo>
                <a:lnTo>
                  <a:pt x="410" y="1247"/>
                </a:lnTo>
                <a:lnTo>
                  <a:pt x="415" y="1241"/>
                </a:lnTo>
                <a:lnTo>
                  <a:pt x="419" y="1234"/>
                </a:lnTo>
                <a:lnTo>
                  <a:pt x="423" y="1234"/>
                </a:lnTo>
                <a:lnTo>
                  <a:pt x="427" y="1236"/>
                </a:lnTo>
                <a:lnTo>
                  <a:pt x="433" y="1238"/>
                </a:lnTo>
                <a:lnTo>
                  <a:pt x="442" y="1234"/>
                </a:lnTo>
                <a:lnTo>
                  <a:pt x="446" y="1234"/>
                </a:lnTo>
                <a:lnTo>
                  <a:pt x="458" y="1234"/>
                </a:lnTo>
                <a:lnTo>
                  <a:pt x="467" y="1232"/>
                </a:lnTo>
                <a:lnTo>
                  <a:pt x="473" y="1232"/>
                </a:lnTo>
                <a:lnTo>
                  <a:pt x="481" y="1230"/>
                </a:lnTo>
                <a:lnTo>
                  <a:pt x="485" y="1226"/>
                </a:lnTo>
                <a:lnTo>
                  <a:pt x="496" y="1222"/>
                </a:lnTo>
                <a:lnTo>
                  <a:pt x="500" y="1216"/>
                </a:lnTo>
                <a:lnTo>
                  <a:pt x="508" y="1207"/>
                </a:lnTo>
                <a:lnTo>
                  <a:pt x="512" y="1203"/>
                </a:lnTo>
                <a:lnTo>
                  <a:pt x="521" y="1199"/>
                </a:lnTo>
                <a:lnTo>
                  <a:pt x="527" y="1195"/>
                </a:lnTo>
                <a:lnTo>
                  <a:pt x="533" y="1191"/>
                </a:lnTo>
                <a:lnTo>
                  <a:pt x="537" y="1184"/>
                </a:lnTo>
                <a:lnTo>
                  <a:pt x="541" y="1180"/>
                </a:lnTo>
                <a:lnTo>
                  <a:pt x="552" y="1176"/>
                </a:lnTo>
                <a:lnTo>
                  <a:pt x="560" y="1172"/>
                </a:lnTo>
                <a:lnTo>
                  <a:pt x="571" y="1170"/>
                </a:lnTo>
                <a:lnTo>
                  <a:pt x="573" y="1170"/>
                </a:lnTo>
                <a:lnTo>
                  <a:pt x="577" y="1168"/>
                </a:lnTo>
                <a:lnTo>
                  <a:pt x="585" y="1164"/>
                </a:lnTo>
                <a:lnTo>
                  <a:pt x="596" y="1162"/>
                </a:lnTo>
                <a:lnTo>
                  <a:pt x="606" y="1157"/>
                </a:lnTo>
                <a:lnTo>
                  <a:pt x="612" y="1162"/>
                </a:lnTo>
                <a:lnTo>
                  <a:pt x="618" y="1168"/>
                </a:lnTo>
                <a:lnTo>
                  <a:pt x="621" y="1176"/>
                </a:lnTo>
                <a:lnTo>
                  <a:pt x="631" y="1174"/>
                </a:lnTo>
                <a:lnTo>
                  <a:pt x="635" y="1170"/>
                </a:lnTo>
                <a:lnTo>
                  <a:pt x="643" y="1170"/>
                </a:lnTo>
                <a:lnTo>
                  <a:pt x="648" y="1176"/>
                </a:lnTo>
                <a:lnTo>
                  <a:pt x="652" y="1184"/>
                </a:lnTo>
                <a:lnTo>
                  <a:pt x="656" y="1193"/>
                </a:lnTo>
                <a:lnTo>
                  <a:pt x="658" y="1201"/>
                </a:lnTo>
                <a:lnTo>
                  <a:pt x="658" y="1207"/>
                </a:lnTo>
                <a:lnTo>
                  <a:pt x="658" y="1216"/>
                </a:lnTo>
                <a:lnTo>
                  <a:pt x="658" y="1224"/>
                </a:lnTo>
                <a:lnTo>
                  <a:pt x="654" y="1230"/>
                </a:lnTo>
                <a:lnTo>
                  <a:pt x="654" y="1238"/>
                </a:lnTo>
                <a:lnTo>
                  <a:pt x="654" y="1245"/>
                </a:lnTo>
                <a:lnTo>
                  <a:pt x="658" y="1251"/>
                </a:lnTo>
                <a:lnTo>
                  <a:pt x="664" y="1259"/>
                </a:lnTo>
                <a:lnTo>
                  <a:pt x="662" y="1266"/>
                </a:lnTo>
                <a:lnTo>
                  <a:pt x="660" y="1274"/>
                </a:lnTo>
                <a:lnTo>
                  <a:pt x="658" y="1278"/>
                </a:lnTo>
                <a:lnTo>
                  <a:pt x="656" y="1284"/>
                </a:lnTo>
                <a:lnTo>
                  <a:pt x="658" y="1295"/>
                </a:lnTo>
                <a:lnTo>
                  <a:pt x="660" y="1303"/>
                </a:lnTo>
                <a:lnTo>
                  <a:pt x="662" y="1311"/>
                </a:lnTo>
                <a:lnTo>
                  <a:pt x="660" y="1318"/>
                </a:lnTo>
                <a:lnTo>
                  <a:pt x="660" y="1326"/>
                </a:lnTo>
                <a:lnTo>
                  <a:pt x="666" y="1334"/>
                </a:lnTo>
                <a:lnTo>
                  <a:pt x="675" y="1340"/>
                </a:lnTo>
                <a:lnTo>
                  <a:pt x="681" y="1347"/>
                </a:lnTo>
                <a:lnTo>
                  <a:pt x="679" y="1351"/>
                </a:lnTo>
                <a:lnTo>
                  <a:pt x="689" y="1355"/>
                </a:lnTo>
                <a:lnTo>
                  <a:pt x="698" y="1357"/>
                </a:lnTo>
                <a:lnTo>
                  <a:pt x="704" y="1363"/>
                </a:lnTo>
                <a:lnTo>
                  <a:pt x="708" y="1370"/>
                </a:lnTo>
                <a:lnTo>
                  <a:pt x="716" y="1374"/>
                </a:lnTo>
                <a:lnTo>
                  <a:pt x="723" y="1376"/>
                </a:lnTo>
                <a:lnTo>
                  <a:pt x="727" y="1382"/>
                </a:lnTo>
                <a:lnTo>
                  <a:pt x="733" y="1388"/>
                </a:lnTo>
                <a:lnTo>
                  <a:pt x="745" y="1390"/>
                </a:lnTo>
                <a:lnTo>
                  <a:pt x="752" y="1388"/>
                </a:lnTo>
                <a:lnTo>
                  <a:pt x="758" y="1392"/>
                </a:lnTo>
                <a:lnTo>
                  <a:pt x="768" y="1395"/>
                </a:lnTo>
                <a:lnTo>
                  <a:pt x="777" y="1392"/>
                </a:lnTo>
                <a:lnTo>
                  <a:pt x="783" y="1388"/>
                </a:lnTo>
                <a:lnTo>
                  <a:pt x="787" y="1390"/>
                </a:lnTo>
                <a:lnTo>
                  <a:pt x="793" y="1395"/>
                </a:lnTo>
                <a:lnTo>
                  <a:pt x="800" y="1401"/>
                </a:lnTo>
                <a:lnTo>
                  <a:pt x="808" y="1401"/>
                </a:lnTo>
                <a:lnTo>
                  <a:pt x="818" y="1397"/>
                </a:lnTo>
                <a:lnTo>
                  <a:pt x="827" y="1401"/>
                </a:lnTo>
                <a:lnTo>
                  <a:pt x="831" y="1405"/>
                </a:lnTo>
                <a:lnTo>
                  <a:pt x="837" y="1411"/>
                </a:lnTo>
                <a:lnTo>
                  <a:pt x="841" y="1420"/>
                </a:lnTo>
                <a:lnTo>
                  <a:pt x="847" y="1424"/>
                </a:lnTo>
                <a:lnTo>
                  <a:pt x="856" y="1424"/>
                </a:lnTo>
                <a:lnTo>
                  <a:pt x="864" y="1422"/>
                </a:lnTo>
                <a:lnTo>
                  <a:pt x="877" y="1426"/>
                </a:lnTo>
                <a:lnTo>
                  <a:pt x="885" y="1430"/>
                </a:lnTo>
                <a:lnTo>
                  <a:pt x="893" y="1434"/>
                </a:lnTo>
                <a:lnTo>
                  <a:pt x="902" y="1434"/>
                </a:lnTo>
                <a:lnTo>
                  <a:pt x="908" y="1438"/>
                </a:lnTo>
                <a:lnTo>
                  <a:pt x="916" y="1442"/>
                </a:lnTo>
                <a:lnTo>
                  <a:pt x="918" y="1449"/>
                </a:lnTo>
                <a:lnTo>
                  <a:pt x="922" y="1453"/>
                </a:lnTo>
                <a:lnTo>
                  <a:pt x="926" y="1457"/>
                </a:lnTo>
                <a:lnTo>
                  <a:pt x="931" y="1457"/>
                </a:lnTo>
                <a:lnTo>
                  <a:pt x="935" y="1455"/>
                </a:lnTo>
                <a:lnTo>
                  <a:pt x="939" y="1457"/>
                </a:lnTo>
                <a:lnTo>
                  <a:pt x="945" y="1461"/>
                </a:lnTo>
                <a:lnTo>
                  <a:pt x="954" y="1463"/>
                </a:lnTo>
                <a:lnTo>
                  <a:pt x="960" y="1463"/>
                </a:lnTo>
                <a:lnTo>
                  <a:pt x="966" y="1457"/>
                </a:lnTo>
                <a:lnTo>
                  <a:pt x="974" y="1457"/>
                </a:lnTo>
                <a:lnTo>
                  <a:pt x="981" y="1461"/>
                </a:lnTo>
                <a:lnTo>
                  <a:pt x="987" y="1461"/>
                </a:lnTo>
                <a:lnTo>
                  <a:pt x="993" y="1459"/>
                </a:lnTo>
                <a:lnTo>
                  <a:pt x="999" y="1459"/>
                </a:lnTo>
                <a:lnTo>
                  <a:pt x="1003" y="1461"/>
                </a:lnTo>
                <a:lnTo>
                  <a:pt x="1012" y="1467"/>
                </a:lnTo>
                <a:close/>
              </a:path>
            </a:pathLst>
          </a:custGeom>
          <a:solidFill>
            <a:srgbClr val="D6D6CE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pt-BR"/>
          </a:p>
        </p:txBody>
      </p:sp>
      <p:sp>
        <p:nvSpPr>
          <p:cNvPr id="21" name="Freeform 4"/>
          <p:cNvSpPr>
            <a:spLocks/>
          </p:cNvSpPr>
          <p:nvPr/>
        </p:nvSpPr>
        <p:spPr bwMode="auto">
          <a:xfrm>
            <a:off x="6610266" y="785800"/>
            <a:ext cx="53315" cy="51094"/>
          </a:xfrm>
          <a:custGeom>
            <a:avLst/>
            <a:gdLst>
              <a:gd name="T0" fmla="*/ 27 w 29"/>
              <a:gd name="T1" fmla="*/ 19 h 27"/>
              <a:gd name="T2" fmla="*/ 29 w 29"/>
              <a:gd name="T3" fmla="*/ 16 h 27"/>
              <a:gd name="T4" fmla="*/ 27 w 29"/>
              <a:gd name="T5" fmla="*/ 12 h 27"/>
              <a:gd name="T6" fmla="*/ 23 w 29"/>
              <a:gd name="T7" fmla="*/ 10 h 27"/>
              <a:gd name="T8" fmla="*/ 21 w 29"/>
              <a:gd name="T9" fmla="*/ 6 h 27"/>
              <a:gd name="T10" fmla="*/ 16 w 29"/>
              <a:gd name="T11" fmla="*/ 4 h 27"/>
              <a:gd name="T12" fmla="*/ 12 w 29"/>
              <a:gd name="T13" fmla="*/ 2 h 27"/>
              <a:gd name="T14" fmla="*/ 8 w 29"/>
              <a:gd name="T15" fmla="*/ 0 h 27"/>
              <a:gd name="T16" fmla="*/ 6 w 29"/>
              <a:gd name="T17" fmla="*/ 0 h 27"/>
              <a:gd name="T18" fmla="*/ 2 w 29"/>
              <a:gd name="T19" fmla="*/ 4 h 27"/>
              <a:gd name="T20" fmla="*/ 0 w 29"/>
              <a:gd name="T21" fmla="*/ 12 h 27"/>
              <a:gd name="T22" fmla="*/ 4 w 29"/>
              <a:gd name="T23" fmla="*/ 19 h 27"/>
              <a:gd name="T24" fmla="*/ 8 w 29"/>
              <a:gd name="T25" fmla="*/ 25 h 27"/>
              <a:gd name="T26" fmla="*/ 16 w 29"/>
              <a:gd name="T27" fmla="*/ 27 h 27"/>
              <a:gd name="T28" fmla="*/ 19 w 29"/>
              <a:gd name="T29" fmla="*/ 25 h 27"/>
              <a:gd name="T30" fmla="*/ 25 w 29"/>
              <a:gd name="T31" fmla="*/ 25 h 27"/>
              <a:gd name="T32" fmla="*/ 27 w 29"/>
              <a:gd name="T33" fmla="*/ 19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9" h="27">
                <a:moveTo>
                  <a:pt x="27" y="19"/>
                </a:moveTo>
                <a:lnTo>
                  <a:pt x="29" y="16"/>
                </a:lnTo>
                <a:lnTo>
                  <a:pt x="27" y="12"/>
                </a:lnTo>
                <a:lnTo>
                  <a:pt x="23" y="10"/>
                </a:lnTo>
                <a:lnTo>
                  <a:pt x="21" y="6"/>
                </a:lnTo>
                <a:lnTo>
                  <a:pt x="16" y="4"/>
                </a:lnTo>
                <a:lnTo>
                  <a:pt x="12" y="2"/>
                </a:lnTo>
                <a:lnTo>
                  <a:pt x="8" y="0"/>
                </a:lnTo>
                <a:lnTo>
                  <a:pt x="6" y="0"/>
                </a:lnTo>
                <a:lnTo>
                  <a:pt x="2" y="4"/>
                </a:lnTo>
                <a:lnTo>
                  <a:pt x="0" y="12"/>
                </a:lnTo>
                <a:lnTo>
                  <a:pt x="4" y="19"/>
                </a:lnTo>
                <a:lnTo>
                  <a:pt x="8" y="25"/>
                </a:lnTo>
                <a:lnTo>
                  <a:pt x="16" y="27"/>
                </a:lnTo>
                <a:lnTo>
                  <a:pt x="19" y="25"/>
                </a:lnTo>
                <a:lnTo>
                  <a:pt x="25" y="25"/>
                </a:lnTo>
                <a:lnTo>
                  <a:pt x="27" y="19"/>
                </a:lnTo>
                <a:close/>
              </a:path>
            </a:pathLst>
          </a:custGeom>
          <a:solidFill>
            <a:srgbClr val="D6D6CE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pt-BR"/>
          </a:p>
        </p:txBody>
      </p:sp>
      <p:grpSp>
        <p:nvGrpSpPr>
          <p:cNvPr id="22" name="Group 5"/>
          <p:cNvGrpSpPr>
            <a:grpSpLocks/>
          </p:cNvGrpSpPr>
          <p:nvPr/>
        </p:nvGrpSpPr>
        <p:grpSpPr bwMode="auto">
          <a:xfrm>
            <a:off x="6476979" y="1027938"/>
            <a:ext cx="462062" cy="302118"/>
            <a:chOff x="3465" y="1401"/>
            <a:chExt cx="261" cy="171"/>
          </a:xfrm>
          <a:solidFill>
            <a:srgbClr val="D6D6CE"/>
          </a:solidFill>
        </p:grpSpPr>
        <p:sp>
          <p:nvSpPr>
            <p:cNvPr id="32" name="Freeform 6"/>
            <p:cNvSpPr>
              <a:spLocks/>
            </p:cNvSpPr>
            <p:nvPr/>
          </p:nvSpPr>
          <p:spPr bwMode="auto">
            <a:xfrm>
              <a:off x="3625" y="1425"/>
              <a:ext cx="20" cy="18"/>
            </a:xfrm>
            <a:custGeom>
              <a:avLst/>
              <a:gdLst>
                <a:gd name="T0" fmla="*/ 12 w 18"/>
                <a:gd name="T1" fmla="*/ 16 h 16"/>
                <a:gd name="T2" fmla="*/ 14 w 18"/>
                <a:gd name="T3" fmla="*/ 16 h 16"/>
                <a:gd name="T4" fmla="*/ 16 w 18"/>
                <a:gd name="T5" fmla="*/ 14 h 16"/>
                <a:gd name="T6" fmla="*/ 16 w 18"/>
                <a:gd name="T7" fmla="*/ 12 h 16"/>
                <a:gd name="T8" fmla="*/ 18 w 18"/>
                <a:gd name="T9" fmla="*/ 10 h 16"/>
                <a:gd name="T10" fmla="*/ 18 w 18"/>
                <a:gd name="T11" fmla="*/ 6 h 16"/>
                <a:gd name="T12" fmla="*/ 18 w 18"/>
                <a:gd name="T13" fmla="*/ 4 h 16"/>
                <a:gd name="T14" fmla="*/ 18 w 18"/>
                <a:gd name="T15" fmla="*/ 2 h 16"/>
                <a:gd name="T16" fmla="*/ 16 w 18"/>
                <a:gd name="T17" fmla="*/ 0 h 16"/>
                <a:gd name="T18" fmla="*/ 12 w 18"/>
                <a:gd name="T19" fmla="*/ 0 h 16"/>
                <a:gd name="T20" fmla="*/ 6 w 18"/>
                <a:gd name="T21" fmla="*/ 2 h 16"/>
                <a:gd name="T22" fmla="*/ 2 w 18"/>
                <a:gd name="T23" fmla="*/ 4 h 16"/>
                <a:gd name="T24" fmla="*/ 0 w 18"/>
                <a:gd name="T25" fmla="*/ 8 h 16"/>
                <a:gd name="T26" fmla="*/ 2 w 18"/>
                <a:gd name="T27" fmla="*/ 12 h 16"/>
                <a:gd name="T28" fmla="*/ 4 w 18"/>
                <a:gd name="T29" fmla="*/ 14 h 16"/>
                <a:gd name="T30" fmla="*/ 6 w 18"/>
                <a:gd name="T31" fmla="*/ 16 h 16"/>
                <a:gd name="T32" fmla="*/ 12 w 18"/>
                <a:gd name="T3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" h="16">
                  <a:moveTo>
                    <a:pt x="12" y="16"/>
                  </a:moveTo>
                  <a:lnTo>
                    <a:pt x="14" y="16"/>
                  </a:lnTo>
                  <a:lnTo>
                    <a:pt x="16" y="14"/>
                  </a:lnTo>
                  <a:lnTo>
                    <a:pt x="16" y="12"/>
                  </a:lnTo>
                  <a:lnTo>
                    <a:pt x="18" y="10"/>
                  </a:lnTo>
                  <a:lnTo>
                    <a:pt x="18" y="6"/>
                  </a:lnTo>
                  <a:lnTo>
                    <a:pt x="18" y="4"/>
                  </a:lnTo>
                  <a:lnTo>
                    <a:pt x="18" y="2"/>
                  </a:lnTo>
                  <a:lnTo>
                    <a:pt x="16" y="0"/>
                  </a:lnTo>
                  <a:lnTo>
                    <a:pt x="12" y="0"/>
                  </a:lnTo>
                  <a:lnTo>
                    <a:pt x="6" y="2"/>
                  </a:lnTo>
                  <a:lnTo>
                    <a:pt x="2" y="4"/>
                  </a:lnTo>
                  <a:lnTo>
                    <a:pt x="0" y="8"/>
                  </a:lnTo>
                  <a:lnTo>
                    <a:pt x="2" y="12"/>
                  </a:lnTo>
                  <a:lnTo>
                    <a:pt x="4" y="14"/>
                  </a:lnTo>
                  <a:lnTo>
                    <a:pt x="6" y="16"/>
                  </a:lnTo>
                  <a:lnTo>
                    <a:pt x="12" y="16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33" name="Freeform 7"/>
            <p:cNvSpPr>
              <a:spLocks/>
            </p:cNvSpPr>
            <p:nvPr/>
          </p:nvSpPr>
          <p:spPr bwMode="auto">
            <a:xfrm>
              <a:off x="3548" y="1475"/>
              <a:ext cx="14" cy="14"/>
            </a:xfrm>
            <a:custGeom>
              <a:avLst/>
              <a:gdLst>
                <a:gd name="T0" fmla="*/ 4 w 12"/>
                <a:gd name="T1" fmla="*/ 13 h 13"/>
                <a:gd name="T2" fmla="*/ 2 w 12"/>
                <a:gd name="T3" fmla="*/ 11 h 13"/>
                <a:gd name="T4" fmla="*/ 0 w 12"/>
                <a:gd name="T5" fmla="*/ 11 h 13"/>
                <a:gd name="T6" fmla="*/ 0 w 12"/>
                <a:gd name="T7" fmla="*/ 7 h 13"/>
                <a:gd name="T8" fmla="*/ 0 w 12"/>
                <a:gd name="T9" fmla="*/ 7 h 13"/>
                <a:gd name="T10" fmla="*/ 0 w 12"/>
                <a:gd name="T11" fmla="*/ 3 h 13"/>
                <a:gd name="T12" fmla="*/ 2 w 12"/>
                <a:gd name="T13" fmla="*/ 1 h 13"/>
                <a:gd name="T14" fmla="*/ 2 w 12"/>
                <a:gd name="T15" fmla="*/ 0 h 13"/>
                <a:gd name="T16" fmla="*/ 2 w 12"/>
                <a:gd name="T17" fmla="*/ 0 h 13"/>
                <a:gd name="T18" fmla="*/ 6 w 12"/>
                <a:gd name="T19" fmla="*/ 0 h 13"/>
                <a:gd name="T20" fmla="*/ 10 w 12"/>
                <a:gd name="T21" fmla="*/ 1 h 13"/>
                <a:gd name="T22" fmla="*/ 10 w 12"/>
                <a:gd name="T23" fmla="*/ 3 h 13"/>
                <a:gd name="T24" fmla="*/ 12 w 12"/>
                <a:gd name="T25" fmla="*/ 7 h 13"/>
                <a:gd name="T26" fmla="*/ 10 w 12"/>
                <a:gd name="T27" fmla="*/ 11 h 13"/>
                <a:gd name="T28" fmla="*/ 8 w 12"/>
                <a:gd name="T29" fmla="*/ 11 h 13"/>
                <a:gd name="T30" fmla="*/ 6 w 12"/>
                <a:gd name="T31" fmla="*/ 13 h 13"/>
                <a:gd name="T32" fmla="*/ 4 w 12"/>
                <a:gd name="T3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3">
                  <a:moveTo>
                    <a:pt x="4" y="13"/>
                  </a:moveTo>
                  <a:lnTo>
                    <a:pt x="2" y="11"/>
                  </a:lnTo>
                  <a:lnTo>
                    <a:pt x="0" y="11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3"/>
                  </a:lnTo>
                  <a:lnTo>
                    <a:pt x="2" y="1"/>
                  </a:lnTo>
                  <a:lnTo>
                    <a:pt x="2" y="0"/>
                  </a:lnTo>
                  <a:lnTo>
                    <a:pt x="2" y="0"/>
                  </a:lnTo>
                  <a:lnTo>
                    <a:pt x="6" y="0"/>
                  </a:lnTo>
                  <a:lnTo>
                    <a:pt x="10" y="1"/>
                  </a:lnTo>
                  <a:lnTo>
                    <a:pt x="10" y="3"/>
                  </a:lnTo>
                  <a:lnTo>
                    <a:pt x="12" y="7"/>
                  </a:lnTo>
                  <a:lnTo>
                    <a:pt x="10" y="11"/>
                  </a:lnTo>
                  <a:lnTo>
                    <a:pt x="8" y="11"/>
                  </a:lnTo>
                  <a:lnTo>
                    <a:pt x="6" y="13"/>
                  </a:lnTo>
                  <a:lnTo>
                    <a:pt x="4" y="13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34" name="Freeform 8"/>
            <p:cNvSpPr>
              <a:spLocks/>
            </p:cNvSpPr>
            <p:nvPr/>
          </p:nvSpPr>
          <p:spPr bwMode="auto">
            <a:xfrm>
              <a:off x="3528" y="1518"/>
              <a:ext cx="18" cy="14"/>
            </a:xfrm>
            <a:custGeom>
              <a:avLst/>
              <a:gdLst>
                <a:gd name="T0" fmla="*/ 12 w 17"/>
                <a:gd name="T1" fmla="*/ 13 h 13"/>
                <a:gd name="T2" fmla="*/ 10 w 17"/>
                <a:gd name="T3" fmla="*/ 13 h 13"/>
                <a:gd name="T4" fmla="*/ 8 w 17"/>
                <a:gd name="T5" fmla="*/ 13 h 13"/>
                <a:gd name="T6" fmla="*/ 6 w 17"/>
                <a:gd name="T7" fmla="*/ 11 h 13"/>
                <a:gd name="T8" fmla="*/ 4 w 17"/>
                <a:gd name="T9" fmla="*/ 9 h 13"/>
                <a:gd name="T10" fmla="*/ 2 w 17"/>
                <a:gd name="T11" fmla="*/ 8 h 13"/>
                <a:gd name="T12" fmla="*/ 2 w 17"/>
                <a:gd name="T13" fmla="*/ 6 h 13"/>
                <a:gd name="T14" fmla="*/ 0 w 17"/>
                <a:gd name="T15" fmla="*/ 4 h 13"/>
                <a:gd name="T16" fmla="*/ 0 w 17"/>
                <a:gd name="T17" fmla="*/ 2 h 13"/>
                <a:gd name="T18" fmla="*/ 4 w 17"/>
                <a:gd name="T19" fmla="*/ 0 h 13"/>
                <a:gd name="T20" fmla="*/ 8 w 17"/>
                <a:gd name="T21" fmla="*/ 0 h 13"/>
                <a:gd name="T22" fmla="*/ 12 w 17"/>
                <a:gd name="T23" fmla="*/ 0 h 13"/>
                <a:gd name="T24" fmla="*/ 15 w 17"/>
                <a:gd name="T25" fmla="*/ 2 h 13"/>
                <a:gd name="T26" fmla="*/ 17 w 17"/>
                <a:gd name="T27" fmla="*/ 6 h 13"/>
                <a:gd name="T28" fmla="*/ 15 w 17"/>
                <a:gd name="T29" fmla="*/ 9 h 13"/>
                <a:gd name="T30" fmla="*/ 15 w 17"/>
                <a:gd name="T31" fmla="*/ 11 h 13"/>
                <a:gd name="T32" fmla="*/ 12 w 17"/>
                <a:gd name="T3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" h="13">
                  <a:moveTo>
                    <a:pt x="12" y="13"/>
                  </a:moveTo>
                  <a:lnTo>
                    <a:pt x="10" y="13"/>
                  </a:lnTo>
                  <a:lnTo>
                    <a:pt x="8" y="13"/>
                  </a:lnTo>
                  <a:lnTo>
                    <a:pt x="6" y="11"/>
                  </a:lnTo>
                  <a:lnTo>
                    <a:pt x="4" y="9"/>
                  </a:lnTo>
                  <a:lnTo>
                    <a:pt x="2" y="8"/>
                  </a:lnTo>
                  <a:lnTo>
                    <a:pt x="2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4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5" y="2"/>
                  </a:lnTo>
                  <a:lnTo>
                    <a:pt x="17" y="6"/>
                  </a:lnTo>
                  <a:lnTo>
                    <a:pt x="15" y="9"/>
                  </a:lnTo>
                  <a:lnTo>
                    <a:pt x="15" y="11"/>
                  </a:lnTo>
                  <a:lnTo>
                    <a:pt x="12" y="13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35" name="Freeform 9"/>
            <p:cNvSpPr>
              <a:spLocks/>
            </p:cNvSpPr>
            <p:nvPr/>
          </p:nvSpPr>
          <p:spPr bwMode="auto">
            <a:xfrm>
              <a:off x="3498" y="1466"/>
              <a:ext cx="13" cy="11"/>
            </a:xfrm>
            <a:custGeom>
              <a:avLst/>
              <a:gdLst>
                <a:gd name="T0" fmla="*/ 0 w 12"/>
                <a:gd name="T1" fmla="*/ 6 h 11"/>
                <a:gd name="T2" fmla="*/ 0 w 12"/>
                <a:gd name="T3" fmla="*/ 4 h 11"/>
                <a:gd name="T4" fmla="*/ 0 w 12"/>
                <a:gd name="T5" fmla="*/ 2 h 11"/>
                <a:gd name="T6" fmla="*/ 2 w 12"/>
                <a:gd name="T7" fmla="*/ 2 h 11"/>
                <a:gd name="T8" fmla="*/ 4 w 12"/>
                <a:gd name="T9" fmla="*/ 2 h 11"/>
                <a:gd name="T10" fmla="*/ 6 w 12"/>
                <a:gd name="T11" fmla="*/ 0 h 11"/>
                <a:gd name="T12" fmla="*/ 8 w 12"/>
                <a:gd name="T13" fmla="*/ 0 h 11"/>
                <a:gd name="T14" fmla="*/ 10 w 12"/>
                <a:gd name="T15" fmla="*/ 0 h 11"/>
                <a:gd name="T16" fmla="*/ 10 w 12"/>
                <a:gd name="T17" fmla="*/ 2 h 11"/>
                <a:gd name="T18" fmla="*/ 12 w 12"/>
                <a:gd name="T19" fmla="*/ 4 h 11"/>
                <a:gd name="T20" fmla="*/ 12 w 12"/>
                <a:gd name="T21" fmla="*/ 8 h 11"/>
                <a:gd name="T22" fmla="*/ 10 w 12"/>
                <a:gd name="T23" fmla="*/ 9 h 11"/>
                <a:gd name="T24" fmla="*/ 6 w 12"/>
                <a:gd name="T25" fmla="*/ 11 h 11"/>
                <a:gd name="T26" fmla="*/ 4 w 12"/>
                <a:gd name="T27" fmla="*/ 11 h 11"/>
                <a:gd name="T28" fmla="*/ 2 w 12"/>
                <a:gd name="T29" fmla="*/ 9 h 11"/>
                <a:gd name="T30" fmla="*/ 0 w 12"/>
                <a:gd name="T31" fmla="*/ 9 h 11"/>
                <a:gd name="T32" fmla="*/ 0 w 12"/>
                <a:gd name="T33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1">
                  <a:moveTo>
                    <a:pt x="0" y="6"/>
                  </a:moveTo>
                  <a:lnTo>
                    <a:pt x="0" y="4"/>
                  </a:lnTo>
                  <a:lnTo>
                    <a:pt x="0" y="2"/>
                  </a:lnTo>
                  <a:lnTo>
                    <a:pt x="2" y="2"/>
                  </a:lnTo>
                  <a:lnTo>
                    <a:pt x="4" y="2"/>
                  </a:lnTo>
                  <a:lnTo>
                    <a:pt x="6" y="0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0" y="9"/>
                  </a:lnTo>
                  <a:lnTo>
                    <a:pt x="6" y="11"/>
                  </a:lnTo>
                  <a:lnTo>
                    <a:pt x="4" y="11"/>
                  </a:lnTo>
                  <a:lnTo>
                    <a:pt x="2" y="9"/>
                  </a:lnTo>
                  <a:lnTo>
                    <a:pt x="0" y="9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36" name="Freeform 10"/>
            <p:cNvSpPr>
              <a:spLocks/>
            </p:cNvSpPr>
            <p:nvPr/>
          </p:nvSpPr>
          <p:spPr bwMode="auto">
            <a:xfrm>
              <a:off x="3509" y="1453"/>
              <a:ext cx="14" cy="13"/>
            </a:xfrm>
            <a:custGeom>
              <a:avLst/>
              <a:gdLst>
                <a:gd name="T0" fmla="*/ 0 w 13"/>
                <a:gd name="T1" fmla="*/ 6 h 12"/>
                <a:gd name="T2" fmla="*/ 0 w 13"/>
                <a:gd name="T3" fmla="*/ 4 h 12"/>
                <a:gd name="T4" fmla="*/ 2 w 13"/>
                <a:gd name="T5" fmla="*/ 2 h 12"/>
                <a:gd name="T6" fmla="*/ 4 w 13"/>
                <a:gd name="T7" fmla="*/ 2 h 12"/>
                <a:gd name="T8" fmla="*/ 6 w 13"/>
                <a:gd name="T9" fmla="*/ 0 h 12"/>
                <a:gd name="T10" fmla="*/ 7 w 13"/>
                <a:gd name="T11" fmla="*/ 0 h 12"/>
                <a:gd name="T12" fmla="*/ 9 w 13"/>
                <a:gd name="T13" fmla="*/ 0 h 12"/>
                <a:gd name="T14" fmla="*/ 11 w 13"/>
                <a:gd name="T15" fmla="*/ 0 h 12"/>
                <a:gd name="T16" fmla="*/ 11 w 13"/>
                <a:gd name="T17" fmla="*/ 0 h 12"/>
                <a:gd name="T18" fmla="*/ 13 w 13"/>
                <a:gd name="T19" fmla="*/ 4 h 12"/>
                <a:gd name="T20" fmla="*/ 11 w 13"/>
                <a:gd name="T21" fmla="*/ 6 h 12"/>
                <a:gd name="T22" fmla="*/ 9 w 13"/>
                <a:gd name="T23" fmla="*/ 10 h 12"/>
                <a:gd name="T24" fmla="*/ 7 w 13"/>
                <a:gd name="T25" fmla="*/ 12 h 12"/>
                <a:gd name="T26" fmla="*/ 4 w 13"/>
                <a:gd name="T27" fmla="*/ 12 h 12"/>
                <a:gd name="T28" fmla="*/ 2 w 13"/>
                <a:gd name="T29" fmla="*/ 10 h 12"/>
                <a:gd name="T30" fmla="*/ 2 w 13"/>
                <a:gd name="T31" fmla="*/ 8 h 12"/>
                <a:gd name="T32" fmla="*/ 0 w 13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" h="12">
                  <a:moveTo>
                    <a:pt x="0" y="6"/>
                  </a:moveTo>
                  <a:lnTo>
                    <a:pt x="0" y="4"/>
                  </a:lnTo>
                  <a:lnTo>
                    <a:pt x="2" y="2"/>
                  </a:lnTo>
                  <a:lnTo>
                    <a:pt x="4" y="2"/>
                  </a:lnTo>
                  <a:lnTo>
                    <a:pt x="6" y="0"/>
                  </a:lnTo>
                  <a:lnTo>
                    <a:pt x="7" y="0"/>
                  </a:lnTo>
                  <a:lnTo>
                    <a:pt x="9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3" y="4"/>
                  </a:lnTo>
                  <a:lnTo>
                    <a:pt x="11" y="6"/>
                  </a:lnTo>
                  <a:lnTo>
                    <a:pt x="9" y="10"/>
                  </a:lnTo>
                  <a:lnTo>
                    <a:pt x="7" y="12"/>
                  </a:lnTo>
                  <a:lnTo>
                    <a:pt x="4" y="12"/>
                  </a:lnTo>
                  <a:lnTo>
                    <a:pt x="2" y="10"/>
                  </a:lnTo>
                  <a:lnTo>
                    <a:pt x="2" y="8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37" name="Freeform 11"/>
            <p:cNvSpPr>
              <a:spLocks/>
            </p:cNvSpPr>
            <p:nvPr/>
          </p:nvSpPr>
          <p:spPr bwMode="auto">
            <a:xfrm>
              <a:off x="3538" y="1432"/>
              <a:ext cx="12" cy="11"/>
            </a:xfrm>
            <a:custGeom>
              <a:avLst/>
              <a:gdLst>
                <a:gd name="T0" fmla="*/ 0 w 11"/>
                <a:gd name="T1" fmla="*/ 4 h 10"/>
                <a:gd name="T2" fmla="*/ 0 w 11"/>
                <a:gd name="T3" fmla="*/ 2 h 10"/>
                <a:gd name="T4" fmla="*/ 2 w 11"/>
                <a:gd name="T5" fmla="*/ 0 h 10"/>
                <a:gd name="T6" fmla="*/ 4 w 11"/>
                <a:gd name="T7" fmla="*/ 0 h 10"/>
                <a:gd name="T8" fmla="*/ 5 w 11"/>
                <a:gd name="T9" fmla="*/ 0 h 10"/>
                <a:gd name="T10" fmla="*/ 7 w 11"/>
                <a:gd name="T11" fmla="*/ 0 h 10"/>
                <a:gd name="T12" fmla="*/ 9 w 11"/>
                <a:gd name="T13" fmla="*/ 0 h 10"/>
                <a:gd name="T14" fmla="*/ 11 w 11"/>
                <a:gd name="T15" fmla="*/ 0 h 10"/>
                <a:gd name="T16" fmla="*/ 11 w 11"/>
                <a:gd name="T17" fmla="*/ 2 h 10"/>
                <a:gd name="T18" fmla="*/ 11 w 11"/>
                <a:gd name="T19" fmla="*/ 4 h 10"/>
                <a:gd name="T20" fmla="*/ 9 w 11"/>
                <a:gd name="T21" fmla="*/ 8 h 10"/>
                <a:gd name="T22" fmla="*/ 7 w 11"/>
                <a:gd name="T23" fmla="*/ 10 h 10"/>
                <a:gd name="T24" fmla="*/ 4 w 11"/>
                <a:gd name="T25" fmla="*/ 10 h 10"/>
                <a:gd name="T26" fmla="*/ 2 w 11"/>
                <a:gd name="T27" fmla="*/ 10 h 10"/>
                <a:gd name="T28" fmla="*/ 0 w 11"/>
                <a:gd name="T29" fmla="*/ 8 h 10"/>
                <a:gd name="T30" fmla="*/ 0 w 11"/>
                <a:gd name="T31" fmla="*/ 6 h 10"/>
                <a:gd name="T32" fmla="*/ 0 w 11"/>
                <a:gd name="T33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0">
                  <a:moveTo>
                    <a:pt x="0" y="4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5" y="0"/>
                  </a:lnTo>
                  <a:lnTo>
                    <a:pt x="7" y="0"/>
                  </a:lnTo>
                  <a:lnTo>
                    <a:pt x="9" y="0"/>
                  </a:lnTo>
                  <a:lnTo>
                    <a:pt x="11" y="0"/>
                  </a:lnTo>
                  <a:lnTo>
                    <a:pt x="11" y="2"/>
                  </a:lnTo>
                  <a:lnTo>
                    <a:pt x="11" y="4"/>
                  </a:lnTo>
                  <a:lnTo>
                    <a:pt x="9" y="8"/>
                  </a:lnTo>
                  <a:lnTo>
                    <a:pt x="7" y="10"/>
                  </a:lnTo>
                  <a:lnTo>
                    <a:pt x="4" y="10"/>
                  </a:lnTo>
                  <a:lnTo>
                    <a:pt x="2" y="10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38" name="Freeform 12"/>
            <p:cNvSpPr>
              <a:spLocks/>
            </p:cNvSpPr>
            <p:nvPr/>
          </p:nvSpPr>
          <p:spPr bwMode="auto">
            <a:xfrm>
              <a:off x="3557" y="1425"/>
              <a:ext cx="14" cy="18"/>
            </a:xfrm>
            <a:custGeom>
              <a:avLst/>
              <a:gdLst>
                <a:gd name="T0" fmla="*/ 0 w 13"/>
                <a:gd name="T1" fmla="*/ 8 h 16"/>
                <a:gd name="T2" fmla="*/ 0 w 13"/>
                <a:gd name="T3" fmla="*/ 4 h 16"/>
                <a:gd name="T4" fmla="*/ 0 w 13"/>
                <a:gd name="T5" fmla="*/ 2 h 16"/>
                <a:gd name="T6" fmla="*/ 2 w 13"/>
                <a:gd name="T7" fmla="*/ 0 h 16"/>
                <a:gd name="T8" fmla="*/ 4 w 13"/>
                <a:gd name="T9" fmla="*/ 0 h 16"/>
                <a:gd name="T10" fmla="*/ 6 w 13"/>
                <a:gd name="T11" fmla="*/ 0 h 16"/>
                <a:gd name="T12" fmla="*/ 8 w 13"/>
                <a:gd name="T13" fmla="*/ 0 h 16"/>
                <a:gd name="T14" fmla="*/ 10 w 13"/>
                <a:gd name="T15" fmla="*/ 0 h 16"/>
                <a:gd name="T16" fmla="*/ 11 w 13"/>
                <a:gd name="T17" fmla="*/ 0 h 16"/>
                <a:gd name="T18" fmla="*/ 11 w 13"/>
                <a:gd name="T19" fmla="*/ 4 h 16"/>
                <a:gd name="T20" fmla="*/ 13 w 13"/>
                <a:gd name="T21" fmla="*/ 10 h 16"/>
                <a:gd name="T22" fmla="*/ 11 w 13"/>
                <a:gd name="T23" fmla="*/ 14 h 16"/>
                <a:gd name="T24" fmla="*/ 10 w 13"/>
                <a:gd name="T25" fmla="*/ 16 h 16"/>
                <a:gd name="T26" fmla="*/ 6 w 13"/>
                <a:gd name="T27" fmla="*/ 16 h 16"/>
                <a:gd name="T28" fmla="*/ 4 w 13"/>
                <a:gd name="T29" fmla="*/ 14 h 16"/>
                <a:gd name="T30" fmla="*/ 2 w 13"/>
                <a:gd name="T31" fmla="*/ 12 h 16"/>
                <a:gd name="T32" fmla="*/ 0 w 13"/>
                <a:gd name="T33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" h="16">
                  <a:moveTo>
                    <a:pt x="0" y="8"/>
                  </a:moveTo>
                  <a:lnTo>
                    <a:pt x="0" y="4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1" y="0"/>
                  </a:lnTo>
                  <a:lnTo>
                    <a:pt x="11" y="4"/>
                  </a:lnTo>
                  <a:lnTo>
                    <a:pt x="13" y="10"/>
                  </a:lnTo>
                  <a:lnTo>
                    <a:pt x="11" y="14"/>
                  </a:lnTo>
                  <a:lnTo>
                    <a:pt x="10" y="16"/>
                  </a:lnTo>
                  <a:lnTo>
                    <a:pt x="6" y="16"/>
                  </a:lnTo>
                  <a:lnTo>
                    <a:pt x="4" y="14"/>
                  </a:lnTo>
                  <a:lnTo>
                    <a:pt x="2" y="12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39" name="Freeform 13"/>
            <p:cNvSpPr>
              <a:spLocks/>
            </p:cNvSpPr>
            <p:nvPr/>
          </p:nvSpPr>
          <p:spPr bwMode="auto">
            <a:xfrm>
              <a:off x="3521" y="1440"/>
              <a:ext cx="13" cy="13"/>
            </a:xfrm>
            <a:custGeom>
              <a:avLst/>
              <a:gdLst>
                <a:gd name="T0" fmla="*/ 0 w 12"/>
                <a:gd name="T1" fmla="*/ 6 h 11"/>
                <a:gd name="T2" fmla="*/ 0 w 12"/>
                <a:gd name="T3" fmla="*/ 4 h 11"/>
                <a:gd name="T4" fmla="*/ 2 w 12"/>
                <a:gd name="T5" fmla="*/ 2 h 11"/>
                <a:gd name="T6" fmla="*/ 4 w 12"/>
                <a:gd name="T7" fmla="*/ 2 h 11"/>
                <a:gd name="T8" fmla="*/ 4 w 12"/>
                <a:gd name="T9" fmla="*/ 0 h 11"/>
                <a:gd name="T10" fmla="*/ 6 w 12"/>
                <a:gd name="T11" fmla="*/ 0 h 11"/>
                <a:gd name="T12" fmla="*/ 10 w 12"/>
                <a:gd name="T13" fmla="*/ 0 h 11"/>
                <a:gd name="T14" fmla="*/ 10 w 12"/>
                <a:gd name="T15" fmla="*/ 0 h 11"/>
                <a:gd name="T16" fmla="*/ 12 w 12"/>
                <a:gd name="T17" fmla="*/ 0 h 11"/>
                <a:gd name="T18" fmla="*/ 12 w 12"/>
                <a:gd name="T19" fmla="*/ 4 h 11"/>
                <a:gd name="T20" fmla="*/ 12 w 12"/>
                <a:gd name="T21" fmla="*/ 6 h 11"/>
                <a:gd name="T22" fmla="*/ 10 w 12"/>
                <a:gd name="T23" fmla="*/ 9 h 11"/>
                <a:gd name="T24" fmla="*/ 8 w 12"/>
                <a:gd name="T25" fmla="*/ 11 h 11"/>
                <a:gd name="T26" fmla="*/ 4 w 12"/>
                <a:gd name="T27" fmla="*/ 11 h 11"/>
                <a:gd name="T28" fmla="*/ 2 w 12"/>
                <a:gd name="T29" fmla="*/ 9 h 11"/>
                <a:gd name="T30" fmla="*/ 0 w 12"/>
                <a:gd name="T31" fmla="*/ 8 h 11"/>
                <a:gd name="T32" fmla="*/ 0 w 12"/>
                <a:gd name="T33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1">
                  <a:moveTo>
                    <a:pt x="0" y="6"/>
                  </a:moveTo>
                  <a:lnTo>
                    <a:pt x="0" y="4"/>
                  </a:lnTo>
                  <a:lnTo>
                    <a:pt x="2" y="2"/>
                  </a:lnTo>
                  <a:lnTo>
                    <a:pt x="4" y="2"/>
                  </a:lnTo>
                  <a:lnTo>
                    <a:pt x="4" y="0"/>
                  </a:lnTo>
                  <a:lnTo>
                    <a:pt x="6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2" y="6"/>
                  </a:lnTo>
                  <a:lnTo>
                    <a:pt x="10" y="9"/>
                  </a:lnTo>
                  <a:lnTo>
                    <a:pt x="8" y="11"/>
                  </a:lnTo>
                  <a:lnTo>
                    <a:pt x="4" y="11"/>
                  </a:lnTo>
                  <a:lnTo>
                    <a:pt x="2" y="9"/>
                  </a:lnTo>
                  <a:lnTo>
                    <a:pt x="0" y="8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40" name="Freeform 14"/>
            <p:cNvSpPr>
              <a:spLocks/>
            </p:cNvSpPr>
            <p:nvPr/>
          </p:nvSpPr>
          <p:spPr bwMode="auto">
            <a:xfrm>
              <a:off x="3552" y="1440"/>
              <a:ext cx="174" cy="132"/>
            </a:xfrm>
            <a:custGeom>
              <a:avLst/>
              <a:gdLst>
                <a:gd name="T0" fmla="*/ 159 w 159"/>
                <a:gd name="T1" fmla="*/ 11 h 121"/>
                <a:gd name="T2" fmla="*/ 148 w 159"/>
                <a:gd name="T3" fmla="*/ 4 h 121"/>
                <a:gd name="T4" fmla="*/ 134 w 159"/>
                <a:gd name="T5" fmla="*/ 9 h 121"/>
                <a:gd name="T6" fmla="*/ 119 w 159"/>
                <a:gd name="T7" fmla="*/ 2 h 121"/>
                <a:gd name="T8" fmla="*/ 102 w 159"/>
                <a:gd name="T9" fmla="*/ 0 h 121"/>
                <a:gd name="T10" fmla="*/ 88 w 159"/>
                <a:gd name="T11" fmla="*/ 6 h 121"/>
                <a:gd name="T12" fmla="*/ 75 w 159"/>
                <a:gd name="T13" fmla="*/ 8 h 121"/>
                <a:gd name="T14" fmla="*/ 62 w 159"/>
                <a:gd name="T15" fmla="*/ 15 h 121"/>
                <a:gd name="T16" fmla="*/ 50 w 159"/>
                <a:gd name="T17" fmla="*/ 11 h 121"/>
                <a:gd name="T18" fmla="*/ 38 w 159"/>
                <a:gd name="T19" fmla="*/ 9 h 121"/>
                <a:gd name="T20" fmla="*/ 27 w 159"/>
                <a:gd name="T21" fmla="*/ 15 h 121"/>
                <a:gd name="T22" fmla="*/ 14 w 159"/>
                <a:gd name="T23" fmla="*/ 15 h 121"/>
                <a:gd name="T24" fmla="*/ 12 w 159"/>
                <a:gd name="T25" fmla="*/ 29 h 121"/>
                <a:gd name="T26" fmla="*/ 14 w 159"/>
                <a:gd name="T27" fmla="*/ 40 h 121"/>
                <a:gd name="T28" fmla="*/ 10 w 159"/>
                <a:gd name="T29" fmla="*/ 52 h 121"/>
                <a:gd name="T30" fmla="*/ 0 w 159"/>
                <a:gd name="T31" fmla="*/ 63 h 121"/>
                <a:gd name="T32" fmla="*/ 4 w 159"/>
                <a:gd name="T33" fmla="*/ 73 h 121"/>
                <a:gd name="T34" fmla="*/ 2 w 159"/>
                <a:gd name="T35" fmla="*/ 82 h 121"/>
                <a:gd name="T36" fmla="*/ 0 w 159"/>
                <a:gd name="T37" fmla="*/ 100 h 121"/>
                <a:gd name="T38" fmla="*/ 6 w 159"/>
                <a:gd name="T39" fmla="*/ 111 h 121"/>
                <a:gd name="T40" fmla="*/ 17 w 159"/>
                <a:gd name="T41" fmla="*/ 121 h 121"/>
                <a:gd name="T42" fmla="*/ 31 w 159"/>
                <a:gd name="T43" fmla="*/ 121 h 121"/>
                <a:gd name="T44" fmla="*/ 44 w 159"/>
                <a:gd name="T45" fmla="*/ 117 h 121"/>
                <a:gd name="T46" fmla="*/ 60 w 159"/>
                <a:gd name="T47" fmla="*/ 119 h 121"/>
                <a:gd name="T48" fmla="*/ 71 w 159"/>
                <a:gd name="T49" fmla="*/ 115 h 121"/>
                <a:gd name="T50" fmla="*/ 85 w 159"/>
                <a:gd name="T51" fmla="*/ 113 h 121"/>
                <a:gd name="T52" fmla="*/ 98 w 159"/>
                <a:gd name="T53" fmla="*/ 111 h 121"/>
                <a:gd name="T54" fmla="*/ 109 w 159"/>
                <a:gd name="T55" fmla="*/ 102 h 121"/>
                <a:gd name="T56" fmla="*/ 121 w 159"/>
                <a:gd name="T57" fmla="*/ 94 h 121"/>
                <a:gd name="T58" fmla="*/ 127 w 159"/>
                <a:gd name="T59" fmla="*/ 84 h 121"/>
                <a:gd name="T60" fmla="*/ 133 w 159"/>
                <a:gd name="T61" fmla="*/ 75 h 121"/>
                <a:gd name="T62" fmla="*/ 142 w 159"/>
                <a:gd name="T63" fmla="*/ 69 h 121"/>
                <a:gd name="T64" fmla="*/ 144 w 159"/>
                <a:gd name="T65" fmla="*/ 59 h 121"/>
                <a:gd name="T66" fmla="*/ 140 w 159"/>
                <a:gd name="T67" fmla="*/ 46 h 121"/>
                <a:gd name="T68" fmla="*/ 150 w 159"/>
                <a:gd name="T69" fmla="*/ 38 h 121"/>
                <a:gd name="T70" fmla="*/ 156 w 159"/>
                <a:gd name="T71" fmla="*/ 23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59" h="121">
                  <a:moveTo>
                    <a:pt x="156" y="23"/>
                  </a:moveTo>
                  <a:lnTo>
                    <a:pt x="159" y="11"/>
                  </a:lnTo>
                  <a:lnTo>
                    <a:pt x="157" y="6"/>
                  </a:lnTo>
                  <a:lnTo>
                    <a:pt x="148" y="4"/>
                  </a:lnTo>
                  <a:lnTo>
                    <a:pt x="140" y="8"/>
                  </a:lnTo>
                  <a:lnTo>
                    <a:pt x="134" y="9"/>
                  </a:lnTo>
                  <a:lnTo>
                    <a:pt x="129" y="8"/>
                  </a:lnTo>
                  <a:lnTo>
                    <a:pt x="119" y="2"/>
                  </a:lnTo>
                  <a:lnTo>
                    <a:pt x="109" y="0"/>
                  </a:lnTo>
                  <a:lnTo>
                    <a:pt x="102" y="0"/>
                  </a:lnTo>
                  <a:lnTo>
                    <a:pt x="94" y="2"/>
                  </a:lnTo>
                  <a:lnTo>
                    <a:pt x="88" y="6"/>
                  </a:lnTo>
                  <a:lnTo>
                    <a:pt x="81" y="8"/>
                  </a:lnTo>
                  <a:lnTo>
                    <a:pt x="75" y="8"/>
                  </a:lnTo>
                  <a:lnTo>
                    <a:pt x="69" y="11"/>
                  </a:lnTo>
                  <a:lnTo>
                    <a:pt x="62" y="15"/>
                  </a:lnTo>
                  <a:lnTo>
                    <a:pt x="58" y="13"/>
                  </a:lnTo>
                  <a:lnTo>
                    <a:pt x="50" y="11"/>
                  </a:lnTo>
                  <a:lnTo>
                    <a:pt x="44" y="11"/>
                  </a:lnTo>
                  <a:lnTo>
                    <a:pt x="38" y="9"/>
                  </a:lnTo>
                  <a:lnTo>
                    <a:pt x="31" y="11"/>
                  </a:lnTo>
                  <a:lnTo>
                    <a:pt x="27" y="15"/>
                  </a:lnTo>
                  <a:lnTo>
                    <a:pt x="19" y="13"/>
                  </a:lnTo>
                  <a:lnTo>
                    <a:pt x="14" y="15"/>
                  </a:lnTo>
                  <a:lnTo>
                    <a:pt x="10" y="19"/>
                  </a:lnTo>
                  <a:lnTo>
                    <a:pt x="12" y="29"/>
                  </a:lnTo>
                  <a:lnTo>
                    <a:pt x="15" y="34"/>
                  </a:lnTo>
                  <a:lnTo>
                    <a:pt x="14" y="40"/>
                  </a:lnTo>
                  <a:lnTo>
                    <a:pt x="14" y="48"/>
                  </a:lnTo>
                  <a:lnTo>
                    <a:pt x="10" y="52"/>
                  </a:lnTo>
                  <a:lnTo>
                    <a:pt x="6" y="57"/>
                  </a:lnTo>
                  <a:lnTo>
                    <a:pt x="0" y="63"/>
                  </a:lnTo>
                  <a:lnTo>
                    <a:pt x="0" y="67"/>
                  </a:lnTo>
                  <a:lnTo>
                    <a:pt x="4" y="73"/>
                  </a:lnTo>
                  <a:lnTo>
                    <a:pt x="2" y="77"/>
                  </a:lnTo>
                  <a:lnTo>
                    <a:pt x="2" y="82"/>
                  </a:lnTo>
                  <a:lnTo>
                    <a:pt x="0" y="88"/>
                  </a:lnTo>
                  <a:lnTo>
                    <a:pt x="0" y="100"/>
                  </a:lnTo>
                  <a:lnTo>
                    <a:pt x="2" y="105"/>
                  </a:lnTo>
                  <a:lnTo>
                    <a:pt x="6" y="111"/>
                  </a:lnTo>
                  <a:lnTo>
                    <a:pt x="10" y="113"/>
                  </a:lnTo>
                  <a:lnTo>
                    <a:pt x="17" y="121"/>
                  </a:lnTo>
                  <a:lnTo>
                    <a:pt x="23" y="121"/>
                  </a:lnTo>
                  <a:lnTo>
                    <a:pt x="31" y="121"/>
                  </a:lnTo>
                  <a:lnTo>
                    <a:pt x="40" y="121"/>
                  </a:lnTo>
                  <a:lnTo>
                    <a:pt x="44" y="117"/>
                  </a:lnTo>
                  <a:lnTo>
                    <a:pt x="50" y="115"/>
                  </a:lnTo>
                  <a:lnTo>
                    <a:pt x="60" y="119"/>
                  </a:lnTo>
                  <a:lnTo>
                    <a:pt x="67" y="117"/>
                  </a:lnTo>
                  <a:lnTo>
                    <a:pt x="71" y="115"/>
                  </a:lnTo>
                  <a:lnTo>
                    <a:pt x="79" y="113"/>
                  </a:lnTo>
                  <a:lnTo>
                    <a:pt x="85" y="113"/>
                  </a:lnTo>
                  <a:lnTo>
                    <a:pt x="92" y="113"/>
                  </a:lnTo>
                  <a:lnTo>
                    <a:pt x="98" y="111"/>
                  </a:lnTo>
                  <a:lnTo>
                    <a:pt x="106" y="105"/>
                  </a:lnTo>
                  <a:lnTo>
                    <a:pt x="109" y="102"/>
                  </a:lnTo>
                  <a:lnTo>
                    <a:pt x="113" y="96"/>
                  </a:lnTo>
                  <a:lnTo>
                    <a:pt x="121" y="94"/>
                  </a:lnTo>
                  <a:lnTo>
                    <a:pt x="125" y="90"/>
                  </a:lnTo>
                  <a:lnTo>
                    <a:pt x="127" y="84"/>
                  </a:lnTo>
                  <a:lnTo>
                    <a:pt x="129" y="80"/>
                  </a:lnTo>
                  <a:lnTo>
                    <a:pt x="133" y="75"/>
                  </a:lnTo>
                  <a:lnTo>
                    <a:pt x="136" y="73"/>
                  </a:lnTo>
                  <a:lnTo>
                    <a:pt x="142" y="69"/>
                  </a:lnTo>
                  <a:lnTo>
                    <a:pt x="142" y="65"/>
                  </a:lnTo>
                  <a:lnTo>
                    <a:pt x="144" y="59"/>
                  </a:lnTo>
                  <a:lnTo>
                    <a:pt x="142" y="52"/>
                  </a:lnTo>
                  <a:lnTo>
                    <a:pt x="140" y="46"/>
                  </a:lnTo>
                  <a:lnTo>
                    <a:pt x="144" y="42"/>
                  </a:lnTo>
                  <a:lnTo>
                    <a:pt x="150" y="38"/>
                  </a:lnTo>
                  <a:lnTo>
                    <a:pt x="154" y="32"/>
                  </a:lnTo>
                  <a:lnTo>
                    <a:pt x="156" y="23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41" name="Freeform 15"/>
            <p:cNvSpPr>
              <a:spLocks/>
            </p:cNvSpPr>
            <p:nvPr/>
          </p:nvSpPr>
          <p:spPr bwMode="auto">
            <a:xfrm>
              <a:off x="3465" y="1477"/>
              <a:ext cx="33" cy="45"/>
            </a:xfrm>
            <a:custGeom>
              <a:avLst/>
              <a:gdLst>
                <a:gd name="T0" fmla="*/ 15 w 30"/>
                <a:gd name="T1" fmla="*/ 33 h 41"/>
                <a:gd name="T2" fmla="*/ 15 w 30"/>
                <a:gd name="T3" fmla="*/ 37 h 41"/>
                <a:gd name="T4" fmla="*/ 13 w 30"/>
                <a:gd name="T5" fmla="*/ 39 h 41"/>
                <a:gd name="T6" fmla="*/ 9 w 30"/>
                <a:gd name="T7" fmla="*/ 41 h 41"/>
                <a:gd name="T8" fmla="*/ 7 w 30"/>
                <a:gd name="T9" fmla="*/ 41 h 41"/>
                <a:gd name="T10" fmla="*/ 3 w 30"/>
                <a:gd name="T11" fmla="*/ 41 h 41"/>
                <a:gd name="T12" fmla="*/ 1 w 30"/>
                <a:gd name="T13" fmla="*/ 39 h 41"/>
                <a:gd name="T14" fmla="*/ 0 w 30"/>
                <a:gd name="T15" fmla="*/ 37 h 41"/>
                <a:gd name="T16" fmla="*/ 1 w 30"/>
                <a:gd name="T17" fmla="*/ 31 h 41"/>
                <a:gd name="T18" fmla="*/ 3 w 30"/>
                <a:gd name="T19" fmla="*/ 27 h 41"/>
                <a:gd name="T20" fmla="*/ 7 w 30"/>
                <a:gd name="T21" fmla="*/ 21 h 41"/>
                <a:gd name="T22" fmla="*/ 9 w 30"/>
                <a:gd name="T23" fmla="*/ 18 h 41"/>
                <a:gd name="T24" fmla="*/ 11 w 30"/>
                <a:gd name="T25" fmla="*/ 12 h 41"/>
                <a:gd name="T26" fmla="*/ 13 w 30"/>
                <a:gd name="T27" fmla="*/ 8 h 41"/>
                <a:gd name="T28" fmla="*/ 15 w 30"/>
                <a:gd name="T29" fmla="*/ 4 h 41"/>
                <a:gd name="T30" fmla="*/ 19 w 30"/>
                <a:gd name="T31" fmla="*/ 2 h 41"/>
                <a:gd name="T32" fmla="*/ 23 w 30"/>
                <a:gd name="T33" fmla="*/ 0 h 41"/>
                <a:gd name="T34" fmla="*/ 26 w 30"/>
                <a:gd name="T35" fmla="*/ 2 h 41"/>
                <a:gd name="T36" fmla="*/ 30 w 30"/>
                <a:gd name="T37" fmla="*/ 6 h 41"/>
                <a:gd name="T38" fmla="*/ 30 w 30"/>
                <a:gd name="T39" fmla="*/ 10 h 41"/>
                <a:gd name="T40" fmla="*/ 28 w 30"/>
                <a:gd name="T41" fmla="*/ 14 h 41"/>
                <a:gd name="T42" fmla="*/ 26 w 30"/>
                <a:gd name="T43" fmla="*/ 16 h 41"/>
                <a:gd name="T44" fmla="*/ 24 w 30"/>
                <a:gd name="T45" fmla="*/ 18 h 41"/>
                <a:gd name="T46" fmla="*/ 23 w 30"/>
                <a:gd name="T47" fmla="*/ 21 h 41"/>
                <a:gd name="T48" fmla="*/ 23 w 30"/>
                <a:gd name="T49" fmla="*/ 25 h 41"/>
                <a:gd name="T50" fmla="*/ 21 w 30"/>
                <a:gd name="T51" fmla="*/ 25 h 41"/>
                <a:gd name="T52" fmla="*/ 21 w 30"/>
                <a:gd name="T53" fmla="*/ 27 h 41"/>
                <a:gd name="T54" fmla="*/ 19 w 30"/>
                <a:gd name="T55" fmla="*/ 29 h 41"/>
                <a:gd name="T56" fmla="*/ 15 w 30"/>
                <a:gd name="T57" fmla="*/ 33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0" h="41">
                  <a:moveTo>
                    <a:pt x="15" y="33"/>
                  </a:moveTo>
                  <a:lnTo>
                    <a:pt x="15" y="37"/>
                  </a:lnTo>
                  <a:lnTo>
                    <a:pt x="13" y="39"/>
                  </a:lnTo>
                  <a:lnTo>
                    <a:pt x="9" y="41"/>
                  </a:lnTo>
                  <a:lnTo>
                    <a:pt x="7" y="41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3" y="27"/>
                  </a:lnTo>
                  <a:lnTo>
                    <a:pt x="7" y="21"/>
                  </a:lnTo>
                  <a:lnTo>
                    <a:pt x="9" y="18"/>
                  </a:lnTo>
                  <a:lnTo>
                    <a:pt x="11" y="12"/>
                  </a:lnTo>
                  <a:lnTo>
                    <a:pt x="13" y="8"/>
                  </a:lnTo>
                  <a:lnTo>
                    <a:pt x="15" y="4"/>
                  </a:lnTo>
                  <a:lnTo>
                    <a:pt x="19" y="2"/>
                  </a:lnTo>
                  <a:lnTo>
                    <a:pt x="23" y="0"/>
                  </a:lnTo>
                  <a:lnTo>
                    <a:pt x="26" y="2"/>
                  </a:lnTo>
                  <a:lnTo>
                    <a:pt x="30" y="6"/>
                  </a:lnTo>
                  <a:lnTo>
                    <a:pt x="30" y="10"/>
                  </a:lnTo>
                  <a:lnTo>
                    <a:pt x="28" y="14"/>
                  </a:lnTo>
                  <a:lnTo>
                    <a:pt x="26" y="16"/>
                  </a:lnTo>
                  <a:lnTo>
                    <a:pt x="24" y="18"/>
                  </a:lnTo>
                  <a:lnTo>
                    <a:pt x="23" y="21"/>
                  </a:lnTo>
                  <a:lnTo>
                    <a:pt x="23" y="25"/>
                  </a:lnTo>
                  <a:lnTo>
                    <a:pt x="21" y="25"/>
                  </a:lnTo>
                  <a:lnTo>
                    <a:pt x="21" y="27"/>
                  </a:lnTo>
                  <a:lnTo>
                    <a:pt x="19" y="29"/>
                  </a:lnTo>
                  <a:lnTo>
                    <a:pt x="15" y="33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42" name="Freeform 16"/>
            <p:cNvSpPr>
              <a:spLocks/>
            </p:cNvSpPr>
            <p:nvPr/>
          </p:nvSpPr>
          <p:spPr bwMode="auto">
            <a:xfrm>
              <a:off x="3502" y="1484"/>
              <a:ext cx="46" cy="28"/>
            </a:xfrm>
            <a:custGeom>
              <a:avLst/>
              <a:gdLst>
                <a:gd name="T0" fmla="*/ 13 w 42"/>
                <a:gd name="T1" fmla="*/ 25 h 25"/>
                <a:gd name="T2" fmla="*/ 12 w 42"/>
                <a:gd name="T3" fmla="*/ 25 h 25"/>
                <a:gd name="T4" fmla="*/ 8 w 42"/>
                <a:gd name="T5" fmla="*/ 25 h 25"/>
                <a:gd name="T6" fmla="*/ 6 w 42"/>
                <a:gd name="T7" fmla="*/ 25 h 25"/>
                <a:gd name="T8" fmla="*/ 4 w 42"/>
                <a:gd name="T9" fmla="*/ 25 h 25"/>
                <a:gd name="T10" fmla="*/ 2 w 42"/>
                <a:gd name="T11" fmla="*/ 23 h 25"/>
                <a:gd name="T12" fmla="*/ 0 w 42"/>
                <a:gd name="T13" fmla="*/ 21 h 25"/>
                <a:gd name="T14" fmla="*/ 0 w 42"/>
                <a:gd name="T15" fmla="*/ 19 h 25"/>
                <a:gd name="T16" fmla="*/ 0 w 42"/>
                <a:gd name="T17" fmla="*/ 17 h 25"/>
                <a:gd name="T18" fmla="*/ 2 w 42"/>
                <a:gd name="T19" fmla="*/ 15 h 25"/>
                <a:gd name="T20" fmla="*/ 4 w 42"/>
                <a:gd name="T21" fmla="*/ 14 h 25"/>
                <a:gd name="T22" fmla="*/ 8 w 42"/>
                <a:gd name="T23" fmla="*/ 12 h 25"/>
                <a:gd name="T24" fmla="*/ 13 w 42"/>
                <a:gd name="T25" fmla="*/ 12 h 25"/>
                <a:gd name="T26" fmla="*/ 19 w 42"/>
                <a:gd name="T27" fmla="*/ 8 h 25"/>
                <a:gd name="T28" fmla="*/ 23 w 42"/>
                <a:gd name="T29" fmla="*/ 4 h 25"/>
                <a:gd name="T30" fmla="*/ 27 w 42"/>
                <a:gd name="T31" fmla="*/ 2 h 25"/>
                <a:gd name="T32" fmla="*/ 31 w 42"/>
                <a:gd name="T33" fmla="*/ 0 h 25"/>
                <a:gd name="T34" fmla="*/ 33 w 42"/>
                <a:gd name="T35" fmla="*/ 0 h 25"/>
                <a:gd name="T36" fmla="*/ 37 w 42"/>
                <a:gd name="T37" fmla="*/ 0 h 25"/>
                <a:gd name="T38" fmla="*/ 38 w 42"/>
                <a:gd name="T39" fmla="*/ 2 h 25"/>
                <a:gd name="T40" fmla="*/ 40 w 42"/>
                <a:gd name="T41" fmla="*/ 2 h 25"/>
                <a:gd name="T42" fmla="*/ 40 w 42"/>
                <a:gd name="T43" fmla="*/ 4 h 25"/>
                <a:gd name="T44" fmla="*/ 40 w 42"/>
                <a:gd name="T45" fmla="*/ 6 h 25"/>
                <a:gd name="T46" fmla="*/ 42 w 42"/>
                <a:gd name="T47" fmla="*/ 8 h 25"/>
                <a:gd name="T48" fmla="*/ 42 w 42"/>
                <a:gd name="T49" fmla="*/ 10 h 25"/>
                <a:gd name="T50" fmla="*/ 42 w 42"/>
                <a:gd name="T51" fmla="*/ 12 h 25"/>
                <a:gd name="T52" fmla="*/ 42 w 42"/>
                <a:gd name="T53" fmla="*/ 14 h 25"/>
                <a:gd name="T54" fmla="*/ 42 w 42"/>
                <a:gd name="T55" fmla="*/ 15 h 25"/>
                <a:gd name="T56" fmla="*/ 42 w 42"/>
                <a:gd name="T57" fmla="*/ 15 h 25"/>
                <a:gd name="T58" fmla="*/ 42 w 42"/>
                <a:gd name="T59" fmla="*/ 17 h 25"/>
                <a:gd name="T60" fmla="*/ 40 w 42"/>
                <a:gd name="T61" fmla="*/ 19 h 25"/>
                <a:gd name="T62" fmla="*/ 40 w 42"/>
                <a:gd name="T63" fmla="*/ 21 h 25"/>
                <a:gd name="T64" fmla="*/ 38 w 42"/>
                <a:gd name="T65" fmla="*/ 21 h 25"/>
                <a:gd name="T66" fmla="*/ 35 w 42"/>
                <a:gd name="T67" fmla="*/ 21 h 25"/>
                <a:gd name="T68" fmla="*/ 33 w 42"/>
                <a:gd name="T69" fmla="*/ 23 h 25"/>
                <a:gd name="T70" fmla="*/ 31 w 42"/>
                <a:gd name="T71" fmla="*/ 23 h 25"/>
                <a:gd name="T72" fmla="*/ 29 w 42"/>
                <a:gd name="T73" fmla="*/ 23 h 25"/>
                <a:gd name="T74" fmla="*/ 27 w 42"/>
                <a:gd name="T75" fmla="*/ 23 h 25"/>
                <a:gd name="T76" fmla="*/ 25 w 42"/>
                <a:gd name="T77" fmla="*/ 23 h 25"/>
                <a:gd name="T78" fmla="*/ 25 w 42"/>
                <a:gd name="T79" fmla="*/ 23 h 25"/>
                <a:gd name="T80" fmla="*/ 23 w 42"/>
                <a:gd name="T81" fmla="*/ 23 h 25"/>
                <a:gd name="T82" fmla="*/ 21 w 42"/>
                <a:gd name="T83" fmla="*/ 23 h 25"/>
                <a:gd name="T84" fmla="*/ 17 w 42"/>
                <a:gd name="T85" fmla="*/ 23 h 25"/>
                <a:gd name="T86" fmla="*/ 13 w 42"/>
                <a:gd name="T8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2" h="25">
                  <a:moveTo>
                    <a:pt x="13" y="25"/>
                  </a:moveTo>
                  <a:lnTo>
                    <a:pt x="12" y="25"/>
                  </a:lnTo>
                  <a:lnTo>
                    <a:pt x="8" y="25"/>
                  </a:lnTo>
                  <a:lnTo>
                    <a:pt x="6" y="25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0" y="17"/>
                  </a:lnTo>
                  <a:lnTo>
                    <a:pt x="2" y="15"/>
                  </a:lnTo>
                  <a:lnTo>
                    <a:pt x="4" y="14"/>
                  </a:lnTo>
                  <a:lnTo>
                    <a:pt x="8" y="12"/>
                  </a:lnTo>
                  <a:lnTo>
                    <a:pt x="13" y="12"/>
                  </a:lnTo>
                  <a:lnTo>
                    <a:pt x="19" y="8"/>
                  </a:lnTo>
                  <a:lnTo>
                    <a:pt x="23" y="4"/>
                  </a:lnTo>
                  <a:lnTo>
                    <a:pt x="27" y="2"/>
                  </a:lnTo>
                  <a:lnTo>
                    <a:pt x="31" y="0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8" y="2"/>
                  </a:lnTo>
                  <a:lnTo>
                    <a:pt x="40" y="2"/>
                  </a:lnTo>
                  <a:lnTo>
                    <a:pt x="40" y="4"/>
                  </a:lnTo>
                  <a:lnTo>
                    <a:pt x="40" y="6"/>
                  </a:lnTo>
                  <a:lnTo>
                    <a:pt x="42" y="8"/>
                  </a:lnTo>
                  <a:lnTo>
                    <a:pt x="42" y="10"/>
                  </a:lnTo>
                  <a:lnTo>
                    <a:pt x="42" y="12"/>
                  </a:lnTo>
                  <a:lnTo>
                    <a:pt x="42" y="14"/>
                  </a:lnTo>
                  <a:lnTo>
                    <a:pt x="42" y="15"/>
                  </a:lnTo>
                  <a:lnTo>
                    <a:pt x="42" y="15"/>
                  </a:lnTo>
                  <a:lnTo>
                    <a:pt x="42" y="17"/>
                  </a:lnTo>
                  <a:lnTo>
                    <a:pt x="40" y="19"/>
                  </a:lnTo>
                  <a:lnTo>
                    <a:pt x="40" y="21"/>
                  </a:lnTo>
                  <a:lnTo>
                    <a:pt x="38" y="21"/>
                  </a:lnTo>
                  <a:lnTo>
                    <a:pt x="35" y="21"/>
                  </a:lnTo>
                  <a:lnTo>
                    <a:pt x="33" y="23"/>
                  </a:lnTo>
                  <a:lnTo>
                    <a:pt x="31" y="23"/>
                  </a:lnTo>
                  <a:lnTo>
                    <a:pt x="29" y="23"/>
                  </a:lnTo>
                  <a:lnTo>
                    <a:pt x="27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3" y="23"/>
                  </a:lnTo>
                  <a:lnTo>
                    <a:pt x="21" y="23"/>
                  </a:lnTo>
                  <a:lnTo>
                    <a:pt x="17" y="23"/>
                  </a:lnTo>
                  <a:lnTo>
                    <a:pt x="13" y="25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43" name="Freeform 17"/>
            <p:cNvSpPr>
              <a:spLocks/>
            </p:cNvSpPr>
            <p:nvPr/>
          </p:nvSpPr>
          <p:spPr bwMode="auto">
            <a:xfrm>
              <a:off x="3569" y="1401"/>
              <a:ext cx="55" cy="39"/>
            </a:xfrm>
            <a:custGeom>
              <a:avLst/>
              <a:gdLst>
                <a:gd name="T0" fmla="*/ 50 w 50"/>
                <a:gd name="T1" fmla="*/ 22 h 37"/>
                <a:gd name="T2" fmla="*/ 48 w 50"/>
                <a:gd name="T3" fmla="*/ 16 h 37"/>
                <a:gd name="T4" fmla="*/ 43 w 50"/>
                <a:gd name="T5" fmla="*/ 14 h 37"/>
                <a:gd name="T6" fmla="*/ 37 w 50"/>
                <a:gd name="T7" fmla="*/ 10 h 37"/>
                <a:gd name="T8" fmla="*/ 29 w 50"/>
                <a:gd name="T9" fmla="*/ 6 h 37"/>
                <a:gd name="T10" fmla="*/ 22 w 50"/>
                <a:gd name="T11" fmla="*/ 2 h 37"/>
                <a:gd name="T12" fmla="*/ 16 w 50"/>
                <a:gd name="T13" fmla="*/ 0 h 37"/>
                <a:gd name="T14" fmla="*/ 10 w 50"/>
                <a:gd name="T15" fmla="*/ 2 h 37"/>
                <a:gd name="T16" fmla="*/ 4 w 50"/>
                <a:gd name="T17" fmla="*/ 6 h 37"/>
                <a:gd name="T18" fmla="*/ 0 w 50"/>
                <a:gd name="T19" fmla="*/ 10 h 37"/>
                <a:gd name="T20" fmla="*/ 0 w 50"/>
                <a:gd name="T21" fmla="*/ 14 h 37"/>
                <a:gd name="T22" fmla="*/ 2 w 50"/>
                <a:gd name="T23" fmla="*/ 22 h 37"/>
                <a:gd name="T24" fmla="*/ 8 w 50"/>
                <a:gd name="T25" fmla="*/ 23 h 37"/>
                <a:gd name="T26" fmla="*/ 14 w 50"/>
                <a:gd name="T27" fmla="*/ 23 h 37"/>
                <a:gd name="T28" fmla="*/ 16 w 50"/>
                <a:gd name="T29" fmla="*/ 25 h 37"/>
                <a:gd name="T30" fmla="*/ 22 w 50"/>
                <a:gd name="T31" fmla="*/ 29 h 37"/>
                <a:gd name="T32" fmla="*/ 23 w 50"/>
                <a:gd name="T33" fmla="*/ 33 h 37"/>
                <a:gd name="T34" fmla="*/ 25 w 50"/>
                <a:gd name="T35" fmla="*/ 35 h 37"/>
                <a:gd name="T36" fmla="*/ 29 w 50"/>
                <a:gd name="T37" fmla="*/ 37 h 37"/>
                <a:gd name="T38" fmla="*/ 35 w 50"/>
                <a:gd name="T39" fmla="*/ 37 h 37"/>
                <a:gd name="T40" fmla="*/ 39 w 50"/>
                <a:gd name="T41" fmla="*/ 35 h 37"/>
                <a:gd name="T42" fmla="*/ 41 w 50"/>
                <a:gd name="T43" fmla="*/ 35 h 37"/>
                <a:gd name="T44" fmla="*/ 43 w 50"/>
                <a:gd name="T45" fmla="*/ 35 h 37"/>
                <a:gd name="T46" fmla="*/ 43 w 50"/>
                <a:gd name="T47" fmla="*/ 35 h 37"/>
                <a:gd name="T48" fmla="*/ 43 w 50"/>
                <a:gd name="T49" fmla="*/ 35 h 37"/>
                <a:gd name="T50" fmla="*/ 43 w 50"/>
                <a:gd name="T51" fmla="*/ 33 h 37"/>
                <a:gd name="T52" fmla="*/ 43 w 50"/>
                <a:gd name="T53" fmla="*/ 33 h 37"/>
                <a:gd name="T54" fmla="*/ 43 w 50"/>
                <a:gd name="T55" fmla="*/ 33 h 37"/>
                <a:gd name="T56" fmla="*/ 45 w 50"/>
                <a:gd name="T57" fmla="*/ 33 h 37"/>
                <a:gd name="T58" fmla="*/ 45 w 50"/>
                <a:gd name="T59" fmla="*/ 35 h 37"/>
                <a:gd name="T60" fmla="*/ 47 w 50"/>
                <a:gd name="T61" fmla="*/ 33 h 37"/>
                <a:gd name="T62" fmla="*/ 48 w 50"/>
                <a:gd name="T63" fmla="*/ 31 h 37"/>
                <a:gd name="T64" fmla="*/ 50 w 50"/>
                <a:gd name="T65" fmla="*/ 25 h 37"/>
                <a:gd name="T66" fmla="*/ 50 w 50"/>
                <a:gd name="T67" fmla="*/ 2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0" h="37">
                  <a:moveTo>
                    <a:pt x="50" y="22"/>
                  </a:moveTo>
                  <a:lnTo>
                    <a:pt x="48" y="16"/>
                  </a:lnTo>
                  <a:lnTo>
                    <a:pt x="43" y="14"/>
                  </a:lnTo>
                  <a:lnTo>
                    <a:pt x="37" y="10"/>
                  </a:lnTo>
                  <a:lnTo>
                    <a:pt x="29" y="6"/>
                  </a:lnTo>
                  <a:lnTo>
                    <a:pt x="22" y="2"/>
                  </a:lnTo>
                  <a:lnTo>
                    <a:pt x="16" y="0"/>
                  </a:lnTo>
                  <a:lnTo>
                    <a:pt x="10" y="2"/>
                  </a:lnTo>
                  <a:lnTo>
                    <a:pt x="4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2" y="22"/>
                  </a:lnTo>
                  <a:lnTo>
                    <a:pt x="8" y="23"/>
                  </a:lnTo>
                  <a:lnTo>
                    <a:pt x="14" y="23"/>
                  </a:lnTo>
                  <a:lnTo>
                    <a:pt x="16" y="25"/>
                  </a:lnTo>
                  <a:lnTo>
                    <a:pt x="22" y="29"/>
                  </a:lnTo>
                  <a:lnTo>
                    <a:pt x="23" y="33"/>
                  </a:lnTo>
                  <a:lnTo>
                    <a:pt x="25" y="35"/>
                  </a:lnTo>
                  <a:lnTo>
                    <a:pt x="29" y="37"/>
                  </a:lnTo>
                  <a:lnTo>
                    <a:pt x="35" y="37"/>
                  </a:lnTo>
                  <a:lnTo>
                    <a:pt x="39" y="35"/>
                  </a:lnTo>
                  <a:lnTo>
                    <a:pt x="41" y="35"/>
                  </a:lnTo>
                  <a:lnTo>
                    <a:pt x="43" y="35"/>
                  </a:lnTo>
                  <a:lnTo>
                    <a:pt x="43" y="35"/>
                  </a:lnTo>
                  <a:lnTo>
                    <a:pt x="43" y="35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5" y="33"/>
                  </a:lnTo>
                  <a:lnTo>
                    <a:pt x="45" y="35"/>
                  </a:lnTo>
                  <a:lnTo>
                    <a:pt x="47" y="33"/>
                  </a:lnTo>
                  <a:lnTo>
                    <a:pt x="48" y="31"/>
                  </a:lnTo>
                  <a:lnTo>
                    <a:pt x="50" y="25"/>
                  </a:lnTo>
                  <a:lnTo>
                    <a:pt x="50" y="22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3" name="Freeform 18"/>
          <p:cNvSpPr>
            <a:spLocks noEditPoints="1"/>
          </p:cNvSpPr>
          <p:nvPr/>
        </p:nvSpPr>
        <p:spPr bwMode="auto">
          <a:xfrm>
            <a:off x="5148550" y="2074242"/>
            <a:ext cx="2070394" cy="2379177"/>
          </a:xfrm>
          <a:custGeom>
            <a:avLst/>
            <a:gdLst>
              <a:gd name="T0" fmla="*/ 264 w 1157"/>
              <a:gd name="T1" fmla="*/ 818 h 1332"/>
              <a:gd name="T2" fmla="*/ 243 w 1157"/>
              <a:gd name="T3" fmla="*/ 778 h 1332"/>
              <a:gd name="T4" fmla="*/ 237 w 1157"/>
              <a:gd name="T5" fmla="*/ 730 h 1332"/>
              <a:gd name="T6" fmla="*/ 181 w 1157"/>
              <a:gd name="T7" fmla="*/ 736 h 1332"/>
              <a:gd name="T8" fmla="*/ 114 w 1157"/>
              <a:gd name="T9" fmla="*/ 738 h 1332"/>
              <a:gd name="T10" fmla="*/ 85 w 1157"/>
              <a:gd name="T11" fmla="*/ 686 h 1332"/>
              <a:gd name="T12" fmla="*/ 85 w 1157"/>
              <a:gd name="T13" fmla="*/ 622 h 1332"/>
              <a:gd name="T14" fmla="*/ 71 w 1157"/>
              <a:gd name="T15" fmla="*/ 551 h 1332"/>
              <a:gd name="T16" fmla="*/ 71 w 1157"/>
              <a:gd name="T17" fmla="*/ 501 h 1332"/>
              <a:gd name="T18" fmla="*/ 112 w 1157"/>
              <a:gd name="T19" fmla="*/ 445 h 1332"/>
              <a:gd name="T20" fmla="*/ 114 w 1157"/>
              <a:gd name="T21" fmla="*/ 374 h 1332"/>
              <a:gd name="T22" fmla="*/ 56 w 1157"/>
              <a:gd name="T23" fmla="*/ 316 h 1332"/>
              <a:gd name="T24" fmla="*/ 10 w 1157"/>
              <a:gd name="T25" fmla="*/ 252 h 1332"/>
              <a:gd name="T26" fmla="*/ 0 w 1157"/>
              <a:gd name="T27" fmla="*/ 148 h 1332"/>
              <a:gd name="T28" fmla="*/ 154 w 1157"/>
              <a:gd name="T29" fmla="*/ 148 h 1332"/>
              <a:gd name="T30" fmla="*/ 258 w 1157"/>
              <a:gd name="T31" fmla="*/ 104 h 1332"/>
              <a:gd name="T32" fmla="*/ 277 w 1157"/>
              <a:gd name="T33" fmla="*/ 0 h 1332"/>
              <a:gd name="T34" fmla="*/ 310 w 1157"/>
              <a:gd name="T35" fmla="*/ 79 h 1332"/>
              <a:gd name="T36" fmla="*/ 347 w 1157"/>
              <a:gd name="T37" fmla="*/ 172 h 1332"/>
              <a:gd name="T38" fmla="*/ 526 w 1157"/>
              <a:gd name="T39" fmla="*/ 200 h 1332"/>
              <a:gd name="T40" fmla="*/ 757 w 1157"/>
              <a:gd name="T41" fmla="*/ 210 h 1332"/>
              <a:gd name="T42" fmla="*/ 822 w 1157"/>
              <a:gd name="T43" fmla="*/ 262 h 1332"/>
              <a:gd name="T44" fmla="*/ 814 w 1157"/>
              <a:gd name="T45" fmla="*/ 349 h 1332"/>
              <a:gd name="T46" fmla="*/ 811 w 1157"/>
              <a:gd name="T47" fmla="*/ 441 h 1332"/>
              <a:gd name="T48" fmla="*/ 845 w 1157"/>
              <a:gd name="T49" fmla="*/ 443 h 1332"/>
              <a:gd name="T50" fmla="*/ 891 w 1157"/>
              <a:gd name="T51" fmla="*/ 480 h 1332"/>
              <a:gd name="T52" fmla="*/ 949 w 1157"/>
              <a:gd name="T53" fmla="*/ 460 h 1332"/>
              <a:gd name="T54" fmla="*/ 995 w 1157"/>
              <a:gd name="T55" fmla="*/ 489 h 1332"/>
              <a:gd name="T56" fmla="*/ 1045 w 1157"/>
              <a:gd name="T57" fmla="*/ 495 h 1332"/>
              <a:gd name="T58" fmla="*/ 1082 w 1157"/>
              <a:gd name="T59" fmla="*/ 474 h 1332"/>
              <a:gd name="T60" fmla="*/ 1126 w 1157"/>
              <a:gd name="T61" fmla="*/ 451 h 1332"/>
              <a:gd name="T62" fmla="*/ 1140 w 1157"/>
              <a:gd name="T63" fmla="*/ 489 h 1332"/>
              <a:gd name="T64" fmla="*/ 1149 w 1157"/>
              <a:gd name="T65" fmla="*/ 557 h 1332"/>
              <a:gd name="T66" fmla="*/ 1149 w 1157"/>
              <a:gd name="T67" fmla="*/ 620 h 1332"/>
              <a:gd name="T68" fmla="*/ 1090 w 1157"/>
              <a:gd name="T69" fmla="*/ 647 h 1332"/>
              <a:gd name="T70" fmla="*/ 1055 w 1157"/>
              <a:gd name="T71" fmla="*/ 724 h 1332"/>
              <a:gd name="T72" fmla="*/ 1059 w 1157"/>
              <a:gd name="T73" fmla="*/ 795 h 1332"/>
              <a:gd name="T74" fmla="*/ 1034 w 1157"/>
              <a:gd name="T75" fmla="*/ 853 h 1332"/>
              <a:gd name="T76" fmla="*/ 997 w 1157"/>
              <a:gd name="T77" fmla="*/ 886 h 1332"/>
              <a:gd name="T78" fmla="*/ 951 w 1157"/>
              <a:gd name="T79" fmla="*/ 880 h 1332"/>
              <a:gd name="T80" fmla="*/ 899 w 1157"/>
              <a:gd name="T81" fmla="*/ 905 h 1332"/>
              <a:gd name="T82" fmla="*/ 853 w 1157"/>
              <a:gd name="T83" fmla="*/ 905 h 1332"/>
              <a:gd name="T84" fmla="*/ 824 w 1157"/>
              <a:gd name="T85" fmla="*/ 942 h 1332"/>
              <a:gd name="T86" fmla="*/ 793 w 1157"/>
              <a:gd name="T87" fmla="*/ 972 h 1332"/>
              <a:gd name="T88" fmla="*/ 789 w 1157"/>
              <a:gd name="T89" fmla="*/ 1003 h 1332"/>
              <a:gd name="T90" fmla="*/ 766 w 1157"/>
              <a:gd name="T91" fmla="*/ 1042 h 1332"/>
              <a:gd name="T92" fmla="*/ 726 w 1157"/>
              <a:gd name="T93" fmla="*/ 1121 h 1332"/>
              <a:gd name="T94" fmla="*/ 662 w 1157"/>
              <a:gd name="T95" fmla="*/ 1196 h 1332"/>
              <a:gd name="T96" fmla="*/ 593 w 1157"/>
              <a:gd name="T97" fmla="*/ 1269 h 1332"/>
              <a:gd name="T98" fmla="*/ 531 w 1157"/>
              <a:gd name="T99" fmla="*/ 1315 h 1332"/>
              <a:gd name="T100" fmla="*/ 466 w 1157"/>
              <a:gd name="T101" fmla="*/ 1311 h 1332"/>
              <a:gd name="T102" fmla="*/ 451 w 1157"/>
              <a:gd name="T103" fmla="*/ 1234 h 1332"/>
              <a:gd name="T104" fmla="*/ 429 w 1157"/>
              <a:gd name="T105" fmla="*/ 1194 h 1332"/>
              <a:gd name="T106" fmla="*/ 397 w 1157"/>
              <a:gd name="T107" fmla="*/ 1192 h 1332"/>
              <a:gd name="T108" fmla="*/ 314 w 1157"/>
              <a:gd name="T109" fmla="*/ 1182 h 1332"/>
              <a:gd name="T110" fmla="*/ 291 w 1157"/>
              <a:gd name="T111" fmla="*/ 1136 h 1332"/>
              <a:gd name="T112" fmla="*/ 285 w 1157"/>
              <a:gd name="T113" fmla="*/ 1063 h 1332"/>
              <a:gd name="T114" fmla="*/ 279 w 1157"/>
              <a:gd name="T115" fmla="*/ 1019 h 1332"/>
              <a:gd name="T116" fmla="*/ 283 w 1157"/>
              <a:gd name="T117" fmla="*/ 976 h 1332"/>
              <a:gd name="T118" fmla="*/ 295 w 1157"/>
              <a:gd name="T119" fmla="*/ 917 h 1332"/>
              <a:gd name="T120" fmla="*/ 297 w 1157"/>
              <a:gd name="T121" fmla="*/ 870 h 13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157" h="1332">
                <a:moveTo>
                  <a:pt x="789" y="972"/>
                </a:moveTo>
                <a:lnTo>
                  <a:pt x="789" y="974"/>
                </a:lnTo>
                <a:lnTo>
                  <a:pt x="789" y="972"/>
                </a:lnTo>
                <a:close/>
                <a:moveTo>
                  <a:pt x="281" y="843"/>
                </a:moveTo>
                <a:lnTo>
                  <a:pt x="281" y="836"/>
                </a:lnTo>
                <a:lnTo>
                  <a:pt x="279" y="830"/>
                </a:lnTo>
                <a:lnTo>
                  <a:pt x="275" y="826"/>
                </a:lnTo>
                <a:lnTo>
                  <a:pt x="270" y="820"/>
                </a:lnTo>
                <a:lnTo>
                  <a:pt x="264" y="818"/>
                </a:lnTo>
                <a:lnTo>
                  <a:pt x="258" y="818"/>
                </a:lnTo>
                <a:lnTo>
                  <a:pt x="252" y="813"/>
                </a:lnTo>
                <a:lnTo>
                  <a:pt x="252" y="807"/>
                </a:lnTo>
                <a:lnTo>
                  <a:pt x="248" y="805"/>
                </a:lnTo>
                <a:lnTo>
                  <a:pt x="243" y="799"/>
                </a:lnTo>
                <a:lnTo>
                  <a:pt x="239" y="793"/>
                </a:lnTo>
                <a:lnTo>
                  <a:pt x="239" y="788"/>
                </a:lnTo>
                <a:lnTo>
                  <a:pt x="239" y="782"/>
                </a:lnTo>
                <a:lnTo>
                  <a:pt x="243" y="778"/>
                </a:lnTo>
                <a:lnTo>
                  <a:pt x="239" y="772"/>
                </a:lnTo>
                <a:lnTo>
                  <a:pt x="241" y="761"/>
                </a:lnTo>
                <a:lnTo>
                  <a:pt x="239" y="755"/>
                </a:lnTo>
                <a:lnTo>
                  <a:pt x="237" y="751"/>
                </a:lnTo>
                <a:lnTo>
                  <a:pt x="237" y="747"/>
                </a:lnTo>
                <a:lnTo>
                  <a:pt x="239" y="743"/>
                </a:lnTo>
                <a:lnTo>
                  <a:pt x="245" y="738"/>
                </a:lnTo>
                <a:lnTo>
                  <a:pt x="243" y="734"/>
                </a:lnTo>
                <a:lnTo>
                  <a:pt x="237" y="730"/>
                </a:lnTo>
                <a:lnTo>
                  <a:pt x="231" y="732"/>
                </a:lnTo>
                <a:lnTo>
                  <a:pt x="227" y="732"/>
                </a:lnTo>
                <a:lnTo>
                  <a:pt x="218" y="734"/>
                </a:lnTo>
                <a:lnTo>
                  <a:pt x="212" y="732"/>
                </a:lnTo>
                <a:lnTo>
                  <a:pt x="210" y="736"/>
                </a:lnTo>
                <a:lnTo>
                  <a:pt x="204" y="734"/>
                </a:lnTo>
                <a:lnTo>
                  <a:pt x="195" y="736"/>
                </a:lnTo>
                <a:lnTo>
                  <a:pt x="187" y="736"/>
                </a:lnTo>
                <a:lnTo>
                  <a:pt x="181" y="736"/>
                </a:lnTo>
                <a:lnTo>
                  <a:pt x="171" y="734"/>
                </a:lnTo>
                <a:lnTo>
                  <a:pt x="162" y="734"/>
                </a:lnTo>
                <a:lnTo>
                  <a:pt x="152" y="734"/>
                </a:lnTo>
                <a:lnTo>
                  <a:pt x="146" y="734"/>
                </a:lnTo>
                <a:lnTo>
                  <a:pt x="139" y="734"/>
                </a:lnTo>
                <a:lnTo>
                  <a:pt x="131" y="732"/>
                </a:lnTo>
                <a:lnTo>
                  <a:pt x="125" y="734"/>
                </a:lnTo>
                <a:lnTo>
                  <a:pt x="123" y="738"/>
                </a:lnTo>
                <a:lnTo>
                  <a:pt x="114" y="738"/>
                </a:lnTo>
                <a:lnTo>
                  <a:pt x="108" y="736"/>
                </a:lnTo>
                <a:lnTo>
                  <a:pt x="102" y="734"/>
                </a:lnTo>
                <a:lnTo>
                  <a:pt x="102" y="724"/>
                </a:lnTo>
                <a:lnTo>
                  <a:pt x="98" y="718"/>
                </a:lnTo>
                <a:lnTo>
                  <a:pt x="98" y="713"/>
                </a:lnTo>
                <a:lnTo>
                  <a:pt x="96" y="707"/>
                </a:lnTo>
                <a:lnTo>
                  <a:pt x="89" y="701"/>
                </a:lnTo>
                <a:lnTo>
                  <a:pt x="87" y="695"/>
                </a:lnTo>
                <a:lnTo>
                  <a:pt x="85" y="686"/>
                </a:lnTo>
                <a:lnTo>
                  <a:pt x="83" y="678"/>
                </a:lnTo>
                <a:lnTo>
                  <a:pt x="79" y="672"/>
                </a:lnTo>
                <a:lnTo>
                  <a:pt x="77" y="666"/>
                </a:lnTo>
                <a:lnTo>
                  <a:pt x="71" y="659"/>
                </a:lnTo>
                <a:lnTo>
                  <a:pt x="71" y="651"/>
                </a:lnTo>
                <a:lnTo>
                  <a:pt x="73" y="639"/>
                </a:lnTo>
                <a:lnTo>
                  <a:pt x="71" y="632"/>
                </a:lnTo>
                <a:lnTo>
                  <a:pt x="77" y="628"/>
                </a:lnTo>
                <a:lnTo>
                  <a:pt x="85" y="622"/>
                </a:lnTo>
                <a:lnTo>
                  <a:pt x="85" y="614"/>
                </a:lnTo>
                <a:lnTo>
                  <a:pt x="89" y="605"/>
                </a:lnTo>
                <a:lnTo>
                  <a:pt x="85" y="599"/>
                </a:lnTo>
                <a:lnTo>
                  <a:pt x="83" y="591"/>
                </a:lnTo>
                <a:lnTo>
                  <a:pt x="81" y="584"/>
                </a:lnTo>
                <a:lnTo>
                  <a:pt x="79" y="574"/>
                </a:lnTo>
                <a:lnTo>
                  <a:pt x="75" y="568"/>
                </a:lnTo>
                <a:lnTo>
                  <a:pt x="71" y="562"/>
                </a:lnTo>
                <a:lnTo>
                  <a:pt x="71" y="551"/>
                </a:lnTo>
                <a:lnTo>
                  <a:pt x="69" y="545"/>
                </a:lnTo>
                <a:lnTo>
                  <a:pt x="64" y="539"/>
                </a:lnTo>
                <a:lnTo>
                  <a:pt x="58" y="532"/>
                </a:lnTo>
                <a:lnTo>
                  <a:pt x="50" y="530"/>
                </a:lnTo>
                <a:lnTo>
                  <a:pt x="52" y="522"/>
                </a:lnTo>
                <a:lnTo>
                  <a:pt x="56" y="520"/>
                </a:lnTo>
                <a:lnTo>
                  <a:pt x="62" y="512"/>
                </a:lnTo>
                <a:lnTo>
                  <a:pt x="69" y="507"/>
                </a:lnTo>
                <a:lnTo>
                  <a:pt x="71" y="501"/>
                </a:lnTo>
                <a:lnTo>
                  <a:pt x="71" y="495"/>
                </a:lnTo>
                <a:lnTo>
                  <a:pt x="75" y="491"/>
                </a:lnTo>
                <a:lnTo>
                  <a:pt x="79" y="483"/>
                </a:lnTo>
                <a:lnTo>
                  <a:pt x="81" y="476"/>
                </a:lnTo>
                <a:lnTo>
                  <a:pt x="87" y="472"/>
                </a:lnTo>
                <a:lnTo>
                  <a:pt x="96" y="468"/>
                </a:lnTo>
                <a:lnTo>
                  <a:pt x="104" y="462"/>
                </a:lnTo>
                <a:lnTo>
                  <a:pt x="108" y="453"/>
                </a:lnTo>
                <a:lnTo>
                  <a:pt x="112" y="445"/>
                </a:lnTo>
                <a:lnTo>
                  <a:pt x="112" y="437"/>
                </a:lnTo>
                <a:lnTo>
                  <a:pt x="114" y="431"/>
                </a:lnTo>
                <a:lnTo>
                  <a:pt x="118" y="422"/>
                </a:lnTo>
                <a:lnTo>
                  <a:pt x="118" y="414"/>
                </a:lnTo>
                <a:lnTo>
                  <a:pt x="116" y="406"/>
                </a:lnTo>
                <a:lnTo>
                  <a:pt x="116" y="395"/>
                </a:lnTo>
                <a:lnTo>
                  <a:pt x="116" y="391"/>
                </a:lnTo>
                <a:lnTo>
                  <a:pt x="116" y="385"/>
                </a:lnTo>
                <a:lnTo>
                  <a:pt x="114" y="374"/>
                </a:lnTo>
                <a:lnTo>
                  <a:pt x="110" y="366"/>
                </a:lnTo>
                <a:lnTo>
                  <a:pt x="110" y="354"/>
                </a:lnTo>
                <a:lnTo>
                  <a:pt x="108" y="341"/>
                </a:lnTo>
                <a:lnTo>
                  <a:pt x="100" y="335"/>
                </a:lnTo>
                <a:lnTo>
                  <a:pt x="85" y="331"/>
                </a:lnTo>
                <a:lnTo>
                  <a:pt x="77" y="329"/>
                </a:lnTo>
                <a:lnTo>
                  <a:pt x="71" y="326"/>
                </a:lnTo>
                <a:lnTo>
                  <a:pt x="62" y="318"/>
                </a:lnTo>
                <a:lnTo>
                  <a:pt x="56" y="316"/>
                </a:lnTo>
                <a:lnTo>
                  <a:pt x="48" y="316"/>
                </a:lnTo>
                <a:lnTo>
                  <a:pt x="37" y="312"/>
                </a:lnTo>
                <a:lnTo>
                  <a:pt x="33" y="306"/>
                </a:lnTo>
                <a:lnTo>
                  <a:pt x="27" y="295"/>
                </a:lnTo>
                <a:lnTo>
                  <a:pt x="25" y="289"/>
                </a:lnTo>
                <a:lnTo>
                  <a:pt x="17" y="283"/>
                </a:lnTo>
                <a:lnTo>
                  <a:pt x="12" y="272"/>
                </a:lnTo>
                <a:lnTo>
                  <a:pt x="12" y="262"/>
                </a:lnTo>
                <a:lnTo>
                  <a:pt x="10" y="252"/>
                </a:lnTo>
                <a:lnTo>
                  <a:pt x="8" y="243"/>
                </a:lnTo>
                <a:lnTo>
                  <a:pt x="6" y="235"/>
                </a:lnTo>
                <a:lnTo>
                  <a:pt x="2" y="225"/>
                </a:lnTo>
                <a:lnTo>
                  <a:pt x="2" y="210"/>
                </a:lnTo>
                <a:lnTo>
                  <a:pt x="2" y="195"/>
                </a:lnTo>
                <a:lnTo>
                  <a:pt x="2" y="183"/>
                </a:lnTo>
                <a:lnTo>
                  <a:pt x="2" y="175"/>
                </a:lnTo>
                <a:lnTo>
                  <a:pt x="2" y="162"/>
                </a:lnTo>
                <a:lnTo>
                  <a:pt x="0" y="148"/>
                </a:lnTo>
                <a:lnTo>
                  <a:pt x="17" y="148"/>
                </a:lnTo>
                <a:lnTo>
                  <a:pt x="27" y="145"/>
                </a:lnTo>
                <a:lnTo>
                  <a:pt x="39" y="145"/>
                </a:lnTo>
                <a:lnTo>
                  <a:pt x="54" y="148"/>
                </a:lnTo>
                <a:lnTo>
                  <a:pt x="75" y="145"/>
                </a:lnTo>
                <a:lnTo>
                  <a:pt x="91" y="145"/>
                </a:lnTo>
                <a:lnTo>
                  <a:pt x="110" y="148"/>
                </a:lnTo>
                <a:lnTo>
                  <a:pt x="133" y="148"/>
                </a:lnTo>
                <a:lnTo>
                  <a:pt x="154" y="148"/>
                </a:lnTo>
                <a:lnTo>
                  <a:pt x="173" y="145"/>
                </a:lnTo>
                <a:lnTo>
                  <a:pt x="193" y="148"/>
                </a:lnTo>
                <a:lnTo>
                  <a:pt x="214" y="145"/>
                </a:lnTo>
                <a:lnTo>
                  <a:pt x="231" y="141"/>
                </a:lnTo>
                <a:lnTo>
                  <a:pt x="241" y="139"/>
                </a:lnTo>
                <a:lnTo>
                  <a:pt x="248" y="137"/>
                </a:lnTo>
                <a:lnTo>
                  <a:pt x="250" y="127"/>
                </a:lnTo>
                <a:lnTo>
                  <a:pt x="248" y="114"/>
                </a:lnTo>
                <a:lnTo>
                  <a:pt x="258" y="104"/>
                </a:lnTo>
                <a:lnTo>
                  <a:pt x="258" y="95"/>
                </a:lnTo>
                <a:lnTo>
                  <a:pt x="260" y="79"/>
                </a:lnTo>
                <a:lnTo>
                  <a:pt x="260" y="66"/>
                </a:lnTo>
                <a:lnTo>
                  <a:pt x="262" y="56"/>
                </a:lnTo>
                <a:lnTo>
                  <a:pt x="264" y="41"/>
                </a:lnTo>
                <a:lnTo>
                  <a:pt x="262" y="29"/>
                </a:lnTo>
                <a:lnTo>
                  <a:pt x="266" y="14"/>
                </a:lnTo>
                <a:lnTo>
                  <a:pt x="275" y="4"/>
                </a:lnTo>
                <a:lnTo>
                  <a:pt x="277" y="0"/>
                </a:lnTo>
                <a:lnTo>
                  <a:pt x="279" y="2"/>
                </a:lnTo>
                <a:lnTo>
                  <a:pt x="285" y="10"/>
                </a:lnTo>
                <a:lnTo>
                  <a:pt x="287" y="25"/>
                </a:lnTo>
                <a:lnTo>
                  <a:pt x="295" y="33"/>
                </a:lnTo>
                <a:lnTo>
                  <a:pt x="300" y="43"/>
                </a:lnTo>
                <a:lnTo>
                  <a:pt x="306" y="48"/>
                </a:lnTo>
                <a:lnTo>
                  <a:pt x="310" y="56"/>
                </a:lnTo>
                <a:lnTo>
                  <a:pt x="312" y="66"/>
                </a:lnTo>
                <a:lnTo>
                  <a:pt x="310" y="79"/>
                </a:lnTo>
                <a:lnTo>
                  <a:pt x="310" y="89"/>
                </a:lnTo>
                <a:lnTo>
                  <a:pt x="314" y="102"/>
                </a:lnTo>
                <a:lnTo>
                  <a:pt x="310" y="114"/>
                </a:lnTo>
                <a:lnTo>
                  <a:pt x="306" y="120"/>
                </a:lnTo>
                <a:lnTo>
                  <a:pt x="306" y="133"/>
                </a:lnTo>
                <a:lnTo>
                  <a:pt x="312" y="148"/>
                </a:lnTo>
                <a:lnTo>
                  <a:pt x="325" y="154"/>
                </a:lnTo>
                <a:lnTo>
                  <a:pt x="337" y="164"/>
                </a:lnTo>
                <a:lnTo>
                  <a:pt x="347" y="172"/>
                </a:lnTo>
                <a:lnTo>
                  <a:pt x="354" y="183"/>
                </a:lnTo>
                <a:lnTo>
                  <a:pt x="366" y="195"/>
                </a:lnTo>
                <a:lnTo>
                  <a:pt x="383" y="193"/>
                </a:lnTo>
                <a:lnTo>
                  <a:pt x="408" y="193"/>
                </a:lnTo>
                <a:lnTo>
                  <a:pt x="431" y="193"/>
                </a:lnTo>
                <a:lnTo>
                  <a:pt x="451" y="193"/>
                </a:lnTo>
                <a:lnTo>
                  <a:pt x="474" y="195"/>
                </a:lnTo>
                <a:lnTo>
                  <a:pt x="501" y="200"/>
                </a:lnTo>
                <a:lnTo>
                  <a:pt x="526" y="200"/>
                </a:lnTo>
                <a:lnTo>
                  <a:pt x="553" y="200"/>
                </a:lnTo>
                <a:lnTo>
                  <a:pt x="583" y="200"/>
                </a:lnTo>
                <a:lnTo>
                  <a:pt x="603" y="202"/>
                </a:lnTo>
                <a:lnTo>
                  <a:pt x="633" y="204"/>
                </a:lnTo>
                <a:lnTo>
                  <a:pt x="653" y="206"/>
                </a:lnTo>
                <a:lnTo>
                  <a:pt x="676" y="206"/>
                </a:lnTo>
                <a:lnTo>
                  <a:pt x="714" y="210"/>
                </a:lnTo>
                <a:lnTo>
                  <a:pt x="734" y="210"/>
                </a:lnTo>
                <a:lnTo>
                  <a:pt x="757" y="210"/>
                </a:lnTo>
                <a:lnTo>
                  <a:pt x="782" y="214"/>
                </a:lnTo>
                <a:lnTo>
                  <a:pt x="803" y="214"/>
                </a:lnTo>
                <a:lnTo>
                  <a:pt x="820" y="218"/>
                </a:lnTo>
                <a:lnTo>
                  <a:pt x="841" y="218"/>
                </a:lnTo>
                <a:lnTo>
                  <a:pt x="841" y="227"/>
                </a:lnTo>
                <a:lnTo>
                  <a:pt x="839" y="233"/>
                </a:lnTo>
                <a:lnTo>
                  <a:pt x="834" y="243"/>
                </a:lnTo>
                <a:lnTo>
                  <a:pt x="828" y="252"/>
                </a:lnTo>
                <a:lnTo>
                  <a:pt x="822" y="262"/>
                </a:lnTo>
                <a:lnTo>
                  <a:pt x="820" y="274"/>
                </a:lnTo>
                <a:lnTo>
                  <a:pt x="816" y="285"/>
                </a:lnTo>
                <a:lnTo>
                  <a:pt x="818" y="297"/>
                </a:lnTo>
                <a:lnTo>
                  <a:pt x="811" y="306"/>
                </a:lnTo>
                <a:lnTo>
                  <a:pt x="814" y="318"/>
                </a:lnTo>
                <a:lnTo>
                  <a:pt x="820" y="324"/>
                </a:lnTo>
                <a:lnTo>
                  <a:pt x="820" y="333"/>
                </a:lnTo>
                <a:lnTo>
                  <a:pt x="816" y="341"/>
                </a:lnTo>
                <a:lnTo>
                  <a:pt x="814" y="349"/>
                </a:lnTo>
                <a:lnTo>
                  <a:pt x="811" y="360"/>
                </a:lnTo>
                <a:lnTo>
                  <a:pt x="816" y="370"/>
                </a:lnTo>
                <a:lnTo>
                  <a:pt x="816" y="383"/>
                </a:lnTo>
                <a:lnTo>
                  <a:pt x="814" y="395"/>
                </a:lnTo>
                <a:lnTo>
                  <a:pt x="816" y="410"/>
                </a:lnTo>
                <a:lnTo>
                  <a:pt x="814" y="420"/>
                </a:lnTo>
                <a:lnTo>
                  <a:pt x="811" y="433"/>
                </a:lnTo>
                <a:lnTo>
                  <a:pt x="811" y="447"/>
                </a:lnTo>
                <a:lnTo>
                  <a:pt x="811" y="441"/>
                </a:lnTo>
                <a:lnTo>
                  <a:pt x="820" y="441"/>
                </a:lnTo>
                <a:lnTo>
                  <a:pt x="826" y="439"/>
                </a:lnTo>
                <a:lnTo>
                  <a:pt x="828" y="433"/>
                </a:lnTo>
                <a:lnTo>
                  <a:pt x="830" y="426"/>
                </a:lnTo>
                <a:lnTo>
                  <a:pt x="836" y="422"/>
                </a:lnTo>
                <a:lnTo>
                  <a:pt x="845" y="424"/>
                </a:lnTo>
                <a:lnTo>
                  <a:pt x="849" y="428"/>
                </a:lnTo>
                <a:lnTo>
                  <a:pt x="845" y="435"/>
                </a:lnTo>
                <a:lnTo>
                  <a:pt x="845" y="443"/>
                </a:lnTo>
                <a:lnTo>
                  <a:pt x="849" y="447"/>
                </a:lnTo>
                <a:lnTo>
                  <a:pt x="851" y="455"/>
                </a:lnTo>
                <a:lnTo>
                  <a:pt x="849" y="460"/>
                </a:lnTo>
                <a:lnTo>
                  <a:pt x="851" y="468"/>
                </a:lnTo>
                <a:lnTo>
                  <a:pt x="857" y="474"/>
                </a:lnTo>
                <a:lnTo>
                  <a:pt x="870" y="472"/>
                </a:lnTo>
                <a:lnTo>
                  <a:pt x="874" y="468"/>
                </a:lnTo>
                <a:lnTo>
                  <a:pt x="884" y="470"/>
                </a:lnTo>
                <a:lnTo>
                  <a:pt x="891" y="480"/>
                </a:lnTo>
                <a:lnTo>
                  <a:pt x="901" y="485"/>
                </a:lnTo>
                <a:lnTo>
                  <a:pt x="905" y="485"/>
                </a:lnTo>
                <a:lnTo>
                  <a:pt x="913" y="485"/>
                </a:lnTo>
                <a:lnTo>
                  <a:pt x="920" y="483"/>
                </a:lnTo>
                <a:lnTo>
                  <a:pt x="924" y="474"/>
                </a:lnTo>
                <a:lnTo>
                  <a:pt x="928" y="468"/>
                </a:lnTo>
                <a:lnTo>
                  <a:pt x="934" y="458"/>
                </a:lnTo>
                <a:lnTo>
                  <a:pt x="943" y="455"/>
                </a:lnTo>
                <a:lnTo>
                  <a:pt x="949" y="460"/>
                </a:lnTo>
                <a:lnTo>
                  <a:pt x="955" y="458"/>
                </a:lnTo>
                <a:lnTo>
                  <a:pt x="968" y="460"/>
                </a:lnTo>
                <a:lnTo>
                  <a:pt x="972" y="466"/>
                </a:lnTo>
                <a:lnTo>
                  <a:pt x="972" y="474"/>
                </a:lnTo>
                <a:lnTo>
                  <a:pt x="978" y="480"/>
                </a:lnTo>
                <a:lnTo>
                  <a:pt x="980" y="485"/>
                </a:lnTo>
                <a:lnTo>
                  <a:pt x="986" y="491"/>
                </a:lnTo>
                <a:lnTo>
                  <a:pt x="993" y="491"/>
                </a:lnTo>
                <a:lnTo>
                  <a:pt x="995" y="489"/>
                </a:lnTo>
                <a:lnTo>
                  <a:pt x="999" y="485"/>
                </a:lnTo>
                <a:lnTo>
                  <a:pt x="1005" y="483"/>
                </a:lnTo>
                <a:lnTo>
                  <a:pt x="1009" y="487"/>
                </a:lnTo>
                <a:lnTo>
                  <a:pt x="1011" y="491"/>
                </a:lnTo>
                <a:lnTo>
                  <a:pt x="1022" y="493"/>
                </a:lnTo>
                <a:lnTo>
                  <a:pt x="1026" y="493"/>
                </a:lnTo>
                <a:lnTo>
                  <a:pt x="1030" y="497"/>
                </a:lnTo>
                <a:lnTo>
                  <a:pt x="1040" y="499"/>
                </a:lnTo>
                <a:lnTo>
                  <a:pt x="1045" y="495"/>
                </a:lnTo>
                <a:lnTo>
                  <a:pt x="1045" y="489"/>
                </a:lnTo>
                <a:lnTo>
                  <a:pt x="1042" y="483"/>
                </a:lnTo>
                <a:lnTo>
                  <a:pt x="1038" y="476"/>
                </a:lnTo>
                <a:lnTo>
                  <a:pt x="1042" y="470"/>
                </a:lnTo>
                <a:lnTo>
                  <a:pt x="1047" y="468"/>
                </a:lnTo>
                <a:lnTo>
                  <a:pt x="1053" y="470"/>
                </a:lnTo>
                <a:lnTo>
                  <a:pt x="1065" y="472"/>
                </a:lnTo>
                <a:lnTo>
                  <a:pt x="1074" y="476"/>
                </a:lnTo>
                <a:lnTo>
                  <a:pt x="1082" y="474"/>
                </a:lnTo>
                <a:lnTo>
                  <a:pt x="1084" y="468"/>
                </a:lnTo>
                <a:lnTo>
                  <a:pt x="1092" y="466"/>
                </a:lnTo>
                <a:lnTo>
                  <a:pt x="1099" y="464"/>
                </a:lnTo>
                <a:lnTo>
                  <a:pt x="1105" y="460"/>
                </a:lnTo>
                <a:lnTo>
                  <a:pt x="1107" y="451"/>
                </a:lnTo>
                <a:lnTo>
                  <a:pt x="1109" y="445"/>
                </a:lnTo>
                <a:lnTo>
                  <a:pt x="1115" y="443"/>
                </a:lnTo>
                <a:lnTo>
                  <a:pt x="1122" y="447"/>
                </a:lnTo>
                <a:lnTo>
                  <a:pt x="1126" y="451"/>
                </a:lnTo>
                <a:lnTo>
                  <a:pt x="1130" y="449"/>
                </a:lnTo>
                <a:lnTo>
                  <a:pt x="1134" y="447"/>
                </a:lnTo>
                <a:lnTo>
                  <a:pt x="1138" y="451"/>
                </a:lnTo>
                <a:lnTo>
                  <a:pt x="1142" y="455"/>
                </a:lnTo>
                <a:lnTo>
                  <a:pt x="1142" y="464"/>
                </a:lnTo>
                <a:lnTo>
                  <a:pt x="1138" y="470"/>
                </a:lnTo>
                <a:lnTo>
                  <a:pt x="1138" y="478"/>
                </a:lnTo>
                <a:lnTo>
                  <a:pt x="1140" y="483"/>
                </a:lnTo>
                <a:lnTo>
                  <a:pt x="1140" y="489"/>
                </a:lnTo>
                <a:lnTo>
                  <a:pt x="1147" y="495"/>
                </a:lnTo>
                <a:lnTo>
                  <a:pt x="1149" y="501"/>
                </a:lnTo>
                <a:lnTo>
                  <a:pt x="1151" y="510"/>
                </a:lnTo>
                <a:lnTo>
                  <a:pt x="1144" y="514"/>
                </a:lnTo>
                <a:lnTo>
                  <a:pt x="1142" y="524"/>
                </a:lnTo>
                <a:lnTo>
                  <a:pt x="1142" y="532"/>
                </a:lnTo>
                <a:lnTo>
                  <a:pt x="1147" y="539"/>
                </a:lnTo>
                <a:lnTo>
                  <a:pt x="1149" y="551"/>
                </a:lnTo>
                <a:lnTo>
                  <a:pt x="1149" y="557"/>
                </a:lnTo>
                <a:lnTo>
                  <a:pt x="1153" y="568"/>
                </a:lnTo>
                <a:lnTo>
                  <a:pt x="1157" y="576"/>
                </a:lnTo>
                <a:lnTo>
                  <a:pt x="1155" y="584"/>
                </a:lnTo>
                <a:lnTo>
                  <a:pt x="1157" y="593"/>
                </a:lnTo>
                <a:lnTo>
                  <a:pt x="1155" y="601"/>
                </a:lnTo>
                <a:lnTo>
                  <a:pt x="1155" y="612"/>
                </a:lnTo>
                <a:lnTo>
                  <a:pt x="1155" y="622"/>
                </a:lnTo>
                <a:lnTo>
                  <a:pt x="1153" y="628"/>
                </a:lnTo>
                <a:lnTo>
                  <a:pt x="1149" y="620"/>
                </a:lnTo>
                <a:lnTo>
                  <a:pt x="1142" y="612"/>
                </a:lnTo>
                <a:lnTo>
                  <a:pt x="1132" y="612"/>
                </a:lnTo>
                <a:lnTo>
                  <a:pt x="1128" y="614"/>
                </a:lnTo>
                <a:lnTo>
                  <a:pt x="1119" y="616"/>
                </a:lnTo>
                <a:lnTo>
                  <a:pt x="1115" y="620"/>
                </a:lnTo>
                <a:lnTo>
                  <a:pt x="1107" y="630"/>
                </a:lnTo>
                <a:lnTo>
                  <a:pt x="1105" y="641"/>
                </a:lnTo>
                <a:lnTo>
                  <a:pt x="1101" y="645"/>
                </a:lnTo>
                <a:lnTo>
                  <a:pt x="1090" y="647"/>
                </a:lnTo>
                <a:lnTo>
                  <a:pt x="1078" y="649"/>
                </a:lnTo>
                <a:lnTo>
                  <a:pt x="1072" y="655"/>
                </a:lnTo>
                <a:lnTo>
                  <a:pt x="1067" y="661"/>
                </a:lnTo>
                <a:lnTo>
                  <a:pt x="1065" y="670"/>
                </a:lnTo>
                <a:lnTo>
                  <a:pt x="1065" y="682"/>
                </a:lnTo>
                <a:lnTo>
                  <a:pt x="1061" y="693"/>
                </a:lnTo>
                <a:lnTo>
                  <a:pt x="1057" y="701"/>
                </a:lnTo>
                <a:lnTo>
                  <a:pt x="1055" y="711"/>
                </a:lnTo>
                <a:lnTo>
                  <a:pt x="1055" y="724"/>
                </a:lnTo>
                <a:lnTo>
                  <a:pt x="1057" y="732"/>
                </a:lnTo>
                <a:lnTo>
                  <a:pt x="1057" y="747"/>
                </a:lnTo>
                <a:lnTo>
                  <a:pt x="1061" y="755"/>
                </a:lnTo>
                <a:lnTo>
                  <a:pt x="1065" y="766"/>
                </a:lnTo>
                <a:lnTo>
                  <a:pt x="1063" y="774"/>
                </a:lnTo>
                <a:lnTo>
                  <a:pt x="1061" y="780"/>
                </a:lnTo>
                <a:lnTo>
                  <a:pt x="1055" y="782"/>
                </a:lnTo>
                <a:lnTo>
                  <a:pt x="1053" y="790"/>
                </a:lnTo>
                <a:lnTo>
                  <a:pt x="1059" y="795"/>
                </a:lnTo>
                <a:lnTo>
                  <a:pt x="1057" y="801"/>
                </a:lnTo>
                <a:lnTo>
                  <a:pt x="1051" y="805"/>
                </a:lnTo>
                <a:lnTo>
                  <a:pt x="1042" y="811"/>
                </a:lnTo>
                <a:lnTo>
                  <a:pt x="1038" y="815"/>
                </a:lnTo>
                <a:lnTo>
                  <a:pt x="1032" y="824"/>
                </a:lnTo>
                <a:lnTo>
                  <a:pt x="1036" y="832"/>
                </a:lnTo>
                <a:lnTo>
                  <a:pt x="1036" y="840"/>
                </a:lnTo>
                <a:lnTo>
                  <a:pt x="1032" y="847"/>
                </a:lnTo>
                <a:lnTo>
                  <a:pt x="1034" y="853"/>
                </a:lnTo>
                <a:lnTo>
                  <a:pt x="1032" y="859"/>
                </a:lnTo>
                <a:lnTo>
                  <a:pt x="1032" y="870"/>
                </a:lnTo>
                <a:lnTo>
                  <a:pt x="1030" y="878"/>
                </a:lnTo>
                <a:lnTo>
                  <a:pt x="1026" y="882"/>
                </a:lnTo>
                <a:lnTo>
                  <a:pt x="1020" y="884"/>
                </a:lnTo>
                <a:lnTo>
                  <a:pt x="1013" y="886"/>
                </a:lnTo>
                <a:lnTo>
                  <a:pt x="1007" y="888"/>
                </a:lnTo>
                <a:lnTo>
                  <a:pt x="1001" y="888"/>
                </a:lnTo>
                <a:lnTo>
                  <a:pt x="997" y="886"/>
                </a:lnTo>
                <a:lnTo>
                  <a:pt x="990" y="884"/>
                </a:lnTo>
                <a:lnTo>
                  <a:pt x="986" y="882"/>
                </a:lnTo>
                <a:lnTo>
                  <a:pt x="980" y="880"/>
                </a:lnTo>
                <a:lnTo>
                  <a:pt x="976" y="880"/>
                </a:lnTo>
                <a:lnTo>
                  <a:pt x="970" y="884"/>
                </a:lnTo>
                <a:lnTo>
                  <a:pt x="963" y="884"/>
                </a:lnTo>
                <a:lnTo>
                  <a:pt x="959" y="882"/>
                </a:lnTo>
                <a:lnTo>
                  <a:pt x="955" y="880"/>
                </a:lnTo>
                <a:lnTo>
                  <a:pt x="951" y="880"/>
                </a:lnTo>
                <a:lnTo>
                  <a:pt x="947" y="882"/>
                </a:lnTo>
                <a:lnTo>
                  <a:pt x="938" y="884"/>
                </a:lnTo>
                <a:lnTo>
                  <a:pt x="932" y="882"/>
                </a:lnTo>
                <a:lnTo>
                  <a:pt x="928" y="886"/>
                </a:lnTo>
                <a:lnTo>
                  <a:pt x="922" y="890"/>
                </a:lnTo>
                <a:lnTo>
                  <a:pt x="918" y="895"/>
                </a:lnTo>
                <a:lnTo>
                  <a:pt x="911" y="899"/>
                </a:lnTo>
                <a:lnTo>
                  <a:pt x="905" y="901"/>
                </a:lnTo>
                <a:lnTo>
                  <a:pt x="899" y="905"/>
                </a:lnTo>
                <a:lnTo>
                  <a:pt x="895" y="905"/>
                </a:lnTo>
                <a:lnTo>
                  <a:pt x="888" y="901"/>
                </a:lnTo>
                <a:lnTo>
                  <a:pt x="882" y="901"/>
                </a:lnTo>
                <a:lnTo>
                  <a:pt x="874" y="901"/>
                </a:lnTo>
                <a:lnTo>
                  <a:pt x="870" y="905"/>
                </a:lnTo>
                <a:lnTo>
                  <a:pt x="868" y="907"/>
                </a:lnTo>
                <a:lnTo>
                  <a:pt x="864" y="905"/>
                </a:lnTo>
                <a:lnTo>
                  <a:pt x="859" y="905"/>
                </a:lnTo>
                <a:lnTo>
                  <a:pt x="853" y="905"/>
                </a:lnTo>
                <a:lnTo>
                  <a:pt x="847" y="907"/>
                </a:lnTo>
                <a:lnTo>
                  <a:pt x="845" y="909"/>
                </a:lnTo>
                <a:lnTo>
                  <a:pt x="841" y="913"/>
                </a:lnTo>
                <a:lnTo>
                  <a:pt x="834" y="917"/>
                </a:lnTo>
                <a:lnTo>
                  <a:pt x="832" y="922"/>
                </a:lnTo>
                <a:lnTo>
                  <a:pt x="828" y="926"/>
                </a:lnTo>
                <a:lnTo>
                  <a:pt x="826" y="930"/>
                </a:lnTo>
                <a:lnTo>
                  <a:pt x="826" y="936"/>
                </a:lnTo>
                <a:lnTo>
                  <a:pt x="824" y="942"/>
                </a:lnTo>
                <a:lnTo>
                  <a:pt x="818" y="942"/>
                </a:lnTo>
                <a:lnTo>
                  <a:pt x="816" y="949"/>
                </a:lnTo>
                <a:lnTo>
                  <a:pt x="809" y="949"/>
                </a:lnTo>
                <a:lnTo>
                  <a:pt x="805" y="953"/>
                </a:lnTo>
                <a:lnTo>
                  <a:pt x="801" y="957"/>
                </a:lnTo>
                <a:lnTo>
                  <a:pt x="799" y="961"/>
                </a:lnTo>
                <a:lnTo>
                  <a:pt x="799" y="965"/>
                </a:lnTo>
                <a:lnTo>
                  <a:pt x="797" y="969"/>
                </a:lnTo>
                <a:lnTo>
                  <a:pt x="793" y="972"/>
                </a:lnTo>
                <a:lnTo>
                  <a:pt x="789" y="972"/>
                </a:lnTo>
                <a:lnTo>
                  <a:pt x="787" y="976"/>
                </a:lnTo>
                <a:lnTo>
                  <a:pt x="782" y="980"/>
                </a:lnTo>
                <a:lnTo>
                  <a:pt x="782" y="982"/>
                </a:lnTo>
                <a:lnTo>
                  <a:pt x="782" y="986"/>
                </a:lnTo>
                <a:lnTo>
                  <a:pt x="782" y="990"/>
                </a:lnTo>
                <a:lnTo>
                  <a:pt x="782" y="994"/>
                </a:lnTo>
                <a:lnTo>
                  <a:pt x="784" y="999"/>
                </a:lnTo>
                <a:lnTo>
                  <a:pt x="789" y="1003"/>
                </a:lnTo>
                <a:lnTo>
                  <a:pt x="789" y="1009"/>
                </a:lnTo>
                <a:lnTo>
                  <a:pt x="789" y="1013"/>
                </a:lnTo>
                <a:lnTo>
                  <a:pt x="789" y="1017"/>
                </a:lnTo>
                <a:lnTo>
                  <a:pt x="787" y="1019"/>
                </a:lnTo>
                <a:lnTo>
                  <a:pt x="782" y="1026"/>
                </a:lnTo>
                <a:lnTo>
                  <a:pt x="780" y="1032"/>
                </a:lnTo>
                <a:lnTo>
                  <a:pt x="776" y="1038"/>
                </a:lnTo>
                <a:lnTo>
                  <a:pt x="770" y="1040"/>
                </a:lnTo>
                <a:lnTo>
                  <a:pt x="766" y="1042"/>
                </a:lnTo>
                <a:lnTo>
                  <a:pt x="759" y="1049"/>
                </a:lnTo>
                <a:lnTo>
                  <a:pt x="753" y="1057"/>
                </a:lnTo>
                <a:lnTo>
                  <a:pt x="749" y="1063"/>
                </a:lnTo>
                <a:lnTo>
                  <a:pt x="745" y="1073"/>
                </a:lnTo>
                <a:lnTo>
                  <a:pt x="743" y="1082"/>
                </a:lnTo>
                <a:lnTo>
                  <a:pt x="739" y="1092"/>
                </a:lnTo>
                <a:lnTo>
                  <a:pt x="732" y="1103"/>
                </a:lnTo>
                <a:lnTo>
                  <a:pt x="726" y="1111"/>
                </a:lnTo>
                <a:lnTo>
                  <a:pt x="726" y="1121"/>
                </a:lnTo>
                <a:lnTo>
                  <a:pt x="722" y="1130"/>
                </a:lnTo>
                <a:lnTo>
                  <a:pt x="714" y="1138"/>
                </a:lnTo>
                <a:lnTo>
                  <a:pt x="710" y="1148"/>
                </a:lnTo>
                <a:lnTo>
                  <a:pt x="705" y="1159"/>
                </a:lnTo>
                <a:lnTo>
                  <a:pt x="699" y="1169"/>
                </a:lnTo>
                <a:lnTo>
                  <a:pt x="693" y="1180"/>
                </a:lnTo>
                <a:lnTo>
                  <a:pt x="685" y="1188"/>
                </a:lnTo>
                <a:lnTo>
                  <a:pt x="674" y="1194"/>
                </a:lnTo>
                <a:lnTo>
                  <a:pt x="662" y="1196"/>
                </a:lnTo>
                <a:lnTo>
                  <a:pt x="653" y="1200"/>
                </a:lnTo>
                <a:lnTo>
                  <a:pt x="645" y="1209"/>
                </a:lnTo>
                <a:lnTo>
                  <a:pt x="639" y="1215"/>
                </a:lnTo>
                <a:lnTo>
                  <a:pt x="630" y="1227"/>
                </a:lnTo>
                <a:lnTo>
                  <a:pt x="616" y="1232"/>
                </a:lnTo>
                <a:lnTo>
                  <a:pt x="603" y="1238"/>
                </a:lnTo>
                <a:lnTo>
                  <a:pt x="599" y="1244"/>
                </a:lnTo>
                <a:lnTo>
                  <a:pt x="601" y="1257"/>
                </a:lnTo>
                <a:lnTo>
                  <a:pt x="593" y="1269"/>
                </a:lnTo>
                <a:lnTo>
                  <a:pt x="587" y="1279"/>
                </a:lnTo>
                <a:lnTo>
                  <a:pt x="580" y="1296"/>
                </a:lnTo>
                <a:lnTo>
                  <a:pt x="576" y="1307"/>
                </a:lnTo>
                <a:lnTo>
                  <a:pt x="568" y="1319"/>
                </a:lnTo>
                <a:lnTo>
                  <a:pt x="558" y="1329"/>
                </a:lnTo>
                <a:lnTo>
                  <a:pt x="558" y="1332"/>
                </a:lnTo>
                <a:lnTo>
                  <a:pt x="551" y="1323"/>
                </a:lnTo>
                <a:lnTo>
                  <a:pt x="543" y="1319"/>
                </a:lnTo>
                <a:lnTo>
                  <a:pt x="531" y="1315"/>
                </a:lnTo>
                <a:lnTo>
                  <a:pt x="522" y="1311"/>
                </a:lnTo>
                <a:lnTo>
                  <a:pt x="514" y="1315"/>
                </a:lnTo>
                <a:lnTo>
                  <a:pt x="503" y="1313"/>
                </a:lnTo>
                <a:lnTo>
                  <a:pt x="499" y="1315"/>
                </a:lnTo>
                <a:lnTo>
                  <a:pt x="493" y="1317"/>
                </a:lnTo>
                <a:lnTo>
                  <a:pt x="489" y="1321"/>
                </a:lnTo>
                <a:lnTo>
                  <a:pt x="481" y="1321"/>
                </a:lnTo>
                <a:lnTo>
                  <a:pt x="472" y="1317"/>
                </a:lnTo>
                <a:lnTo>
                  <a:pt x="466" y="1311"/>
                </a:lnTo>
                <a:lnTo>
                  <a:pt x="464" y="1307"/>
                </a:lnTo>
                <a:lnTo>
                  <a:pt x="466" y="1296"/>
                </a:lnTo>
                <a:lnTo>
                  <a:pt x="468" y="1286"/>
                </a:lnTo>
                <a:lnTo>
                  <a:pt x="466" y="1277"/>
                </a:lnTo>
                <a:lnTo>
                  <a:pt x="460" y="1269"/>
                </a:lnTo>
                <a:lnTo>
                  <a:pt x="458" y="1259"/>
                </a:lnTo>
                <a:lnTo>
                  <a:pt x="456" y="1250"/>
                </a:lnTo>
                <a:lnTo>
                  <a:pt x="454" y="1242"/>
                </a:lnTo>
                <a:lnTo>
                  <a:pt x="451" y="1234"/>
                </a:lnTo>
                <a:lnTo>
                  <a:pt x="449" y="1225"/>
                </a:lnTo>
                <a:lnTo>
                  <a:pt x="454" y="1223"/>
                </a:lnTo>
                <a:lnTo>
                  <a:pt x="462" y="1221"/>
                </a:lnTo>
                <a:lnTo>
                  <a:pt x="456" y="1213"/>
                </a:lnTo>
                <a:lnTo>
                  <a:pt x="454" y="1202"/>
                </a:lnTo>
                <a:lnTo>
                  <a:pt x="449" y="1194"/>
                </a:lnTo>
                <a:lnTo>
                  <a:pt x="441" y="1190"/>
                </a:lnTo>
                <a:lnTo>
                  <a:pt x="433" y="1190"/>
                </a:lnTo>
                <a:lnTo>
                  <a:pt x="429" y="1194"/>
                </a:lnTo>
                <a:lnTo>
                  <a:pt x="418" y="1194"/>
                </a:lnTo>
                <a:lnTo>
                  <a:pt x="414" y="1188"/>
                </a:lnTo>
                <a:lnTo>
                  <a:pt x="412" y="1182"/>
                </a:lnTo>
                <a:lnTo>
                  <a:pt x="410" y="1178"/>
                </a:lnTo>
                <a:lnTo>
                  <a:pt x="406" y="1178"/>
                </a:lnTo>
                <a:lnTo>
                  <a:pt x="402" y="1180"/>
                </a:lnTo>
                <a:lnTo>
                  <a:pt x="402" y="1184"/>
                </a:lnTo>
                <a:lnTo>
                  <a:pt x="399" y="1186"/>
                </a:lnTo>
                <a:lnTo>
                  <a:pt x="397" y="1192"/>
                </a:lnTo>
                <a:lnTo>
                  <a:pt x="389" y="1196"/>
                </a:lnTo>
                <a:lnTo>
                  <a:pt x="383" y="1194"/>
                </a:lnTo>
                <a:lnTo>
                  <a:pt x="374" y="1192"/>
                </a:lnTo>
                <a:lnTo>
                  <a:pt x="360" y="1188"/>
                </a:lnTo>
                <a:lnTo>
                  <a:pt x="354" y="1184"/>
                </a:lnTo>
                <a:lnTo>
                  <a:pt x="347" y="1184"/>
                </a:lnTo>
                <a:lnTo>
                  <a:pt x="335" y="1184"/>
                </a:lnTo>
                <a:lnTo>
                  <a:pt x="325" y="1182"/>
                </a:lnTo>
                <a:lnTo>
                  <a:pt x="314" y="1182"/>
                </a:lnTo>
                <a:lnTo>
                  <a:pt x="302" y="1184"/>
                </a:lnTo>
                <a:lnTo>
                  <a:pt x="295" y="1184"/>
                </a:lnTo>
                <a:lnTo>
                  <a:pt x="291" y="1182"/>
                </a:lnTo>
                <a:lnTo>
                  <a:pt x="291" y="1175"/>
                </a:lnTo>
                <a:lnTo>
                  <a:pt x="293" y="1167"/>
                </a:lnTo>
                <a:lnTo>
                  <a:pt x="297" y="1159"/>
                </a:lnTo>
                <a:lnTo>
                  <a:pt x="291" y="1155"/>
                </a:lnTo>
                <a:lnTo>
                  <a:pt x="289" y="1144"/>
                </a:lnTo>
                <a:lnTo>
                  <a:pt x="291" y="1136"/>
                </a:lnTo>
                <a:lnTo>
                  <a:pt x="293" y="1125"/>
                </a:lnTo>
                <a:lnTo>
                  <a:pt x="295" y="1117"/>
                </a:lnTo>
                <a:lnTo>
                  <a:pt x="291" y="1111"/>
                </a:lnTo>
                <a:lnTo>
                  <a:pt x="289" y="1105"/>
                </a:lnTo>
                <a:lnTo>
                  <a:pt x="289" y="1094"/>
                </a:lnTo>
                <a:lnTo>
                  <a:pt x="287" y="1084"/>
                </a:lnTo>
                <a:lnTo>
                  <a:pt x="291" y="1078"/>
                </a:lnTo>
                <a:lnTo>
                  <a:pt x="287" y="1071"/>
                </a:lnTo>
                <a:lnTo>
                  <a:pt x="285" y="1063"/>
                </a:lnTo>
                <a:lnTo>
                  <a:pt x="281" y="1057"/>
                </a:lnTo>
                <a:lnTo>
                  <a:pt x="277" y="1053"/>
                </a:lnTo>
                <a:lnTo>
                  <a:pt x="272" y="1046"/>
                </a:lnTo>
                <a:lnTo>
                  <a:pt x="277" y="1040"/>
                </a:lnTo>
                <a:lnTo>
                  <a:pt x="277" y="1036"/>
                </a:lnTo>
                <a:lnTo>
                  <a:pt x="268" y="1032"/>
                </a:lnTo>
                <a:lnTo>
                  <a:pt x="266" y="1026"/>
                </a:lnTo>
                <a:lnTo>
                  <a:pt x="268" y="1021"/>
                </a:lnTo>
                <a:lnTo>
                  <a:pt x="279" y="1019"/>
                </a:lnTo>
                <a:lnTo>
                  <a:pt x="281" y="1015"/>
                </a:lnTo>
                <a:lnTo>
                  <a:pt x="281" y="1009"/>
                </a:lnTo>
                <a:lnTo>
                  <a:pt x="281" y="1001"/>
                </a:lnTo>
                <a:lnTo>
                  <a:pt x="279" y="996"/>
                </a:lnTo>
                <a:lnTo>
                  <a:pt x="275" y="992"/>
                </a:lnTo>
                <a:lnTo>
                  <a:pt x="275" y="986"/>
                </a:lnTo>
                <a:lnTo>
                  <a:pt x="277" y="984"/>
                </a:lnTo>
                <a:lnTo>
                  <a:pt x="281" y="982"/>
                </a:lnTo>
                <a:lnTo>
                  <a:pt x="283" y="976"/>
                </a:lnTo>
                <a:lnTo>
                  <a:pt x="283" y="967"/>
                </a:lnTo>
                <a:lnTo>
                  <a:pt x="283" y="963"/>
                </a:lnTo>
                <a:lnTo>
                  <a:pt x="285" y="959"/>
                </a:lnTo>
                <a:lnTo>
                  <a:pt x="289" y="953"/>
                </a:lnTo>
                <a:lnTo>
                  <a:pt x="291" y="949"/>
                </a:lnTo>
                <a:lnTo>
                  <a:pt x="293" y="938"/>
                </a:lnTo>
                <a:lnTo>
                  <a:pt x="293" y="932"/>
                </a:lnTo>
                <a:lnTo>
                  <a:pt x="293" y="924"/>
                </a:lnTo>
                <a:lnTo>
                  <a:pt x="295" y="917"/>
                </a:lnTo>
                <a:lnTo>
                  <a:pt x="295" y="911"/>
                </a:lnTo>
                <a:lnTo>
                  <a:pt x="295" y="907"/>
                </a:lnTo>
                <a:lnTo>
                  <a:pt x="297" y="899"/>
                </a:lnTo>
                <a:lnTo>
                  <a:pt x="297" y="895"/>
                </a:lnTo>
                <a:lnTo>
                  <a:pt x="300" y="888"/>
                </a:lnTo>
                <a:lnTo>
                  <a:pt x="302" y="884"/>
                </a:lnTo>
                <a:lnTo>
                  <a:pt x="302" y="880"/>
                </a:lnTo>
                <a:lnTo>
                  <a:pt x="300" y="874"/>
                </a:lnTo>
                <a:lnTo>
                  <a:pt x="297" y="870"/>
                </a:lnTo>
                <a:lnTo>
                  <a:pt x="295" y="867"/>
                </a:lnTo>
                <a:lnTo>
                  <a:pt x="293" y="863"/>
                </a:lnTo>
                <a:lnTo>
                  <a:pt x="293" y="859"/>
                </a:lnTo>
                <a:lnTo>
                  <a:pt x="289" y="857"/>
                </a:lnTo>
                <a:lnTo>
                  <a:pt x="285" y="855"/>
                </a:lnTo>
                <a:lnTo>
                  <a:pt x="283" y="851"/>
                </a:lnTo>
                <a:lnTo>
                  <a:pt x="283" y="849"/>
                </a:lnTo>
                <a:lnTo>
                  <a:pt x="281" y="843"/>
                </a:lnTo>
                <a:close/>
              </a:path>
            </a:pathLst>
          </a:custGeom>
          <a:solidFill>
            <a:srgbClr val="D6D6CE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pt-BR"/>
          </a:p>
        </p:txBody>
      </p:sp>
      <p:sp>
        <p:nvSpPr>
          <p:cNvPr id="24" name="Freeform 19"/>
          <p:cNvSpPr>
            <a:spLocks noEditPoints="1"/>
          </p:cNvSpPr>
          <p:nvPr/>
        </p:nvSpPr>
        <p:spPr bwMode="auto">
          <a:xfrm>
            <a:off x="5772779" y="4235715"/>
            <a:ext cx="1164041" cy="1552795"/>
          </a:xfrm>
          <a:custGeom>
            <a:avLst/>
            <a:gdLst>
              <a:gd name="T0" fmla="*/ 650 w 650"/>
              <a:gd name="T1" fmla="*/ 208 h 870"/>
              <a:gd name="T2" fmla="*/ 621 w 650"/>
              <a:gd name="T3" fmla="*/ 243 h 870"/>
              <a:gd name="T4" fmla="*/ 612 w 650"/>
              <a:gd name="T5" fmla="*/ 287 h 870"/>
              <a:gd name="T6" fmla="*/ 606 w 650"/>
              <a:gd name="T7" fmla="*/ 324 h 870"/>
              <a:gd name="T8" fmla="*/ 604 w 650"/>
              <a:gd name="T9" fmla="*/ 362 h 870"/>
              <a:gd name="T10" fmla="*/ 614 w 650"/>
              <a:gd name="T11" fmla="*/ 391 h 870"/>
              <a:gd name="T12" fmla="*/ 608 w 650"/>
              <a:gd name="T13" fmla="*/ 433 h 870"/>
              <a:gd name="T14" fmla="*/ 592 w 650"/>
              <a:gd name="T15" fmla="*/ 476 h 870"/>
              <a:gd name="T16" fmla="*/ 556 w 650"/>
              <a:gd name="T17" fmla="*/ 508 h 870"/>
              <a:gd name="T18" fmla="*/ 525 w 650"/>
              <a:gd name="T19" fmla="*/ 545 h 870"/>
              <a:gd name="T20" fmla="*/ 500 w 650"/>
              <a:gd name="T21" fmla="*/ 597 h 870"/>
              <a:gd name="T22" fmla="*/ 475 w 650"/>
              <a:gd name="T23" fmla="*/ 643 h 870"/>
              <a:gd name="T24" fmla="*/ 462 w 650"/>
              <a:gd name="T25" fmla="*/ 678 h 870"/>
              <a:gd name="T26" fmla="*/ 421 w 650"/>
              <a:gd name="T27" fmla="*/ 722 h 870"/>
              <a:gd name="T28" fmla="*/ 383 w 650"/>
              <a:gd name="T29" fmla="*/ 753 h 870"/>
              <a:gd name="T30" fmla="*/ 371 w 650"/>
              <a:gd name="T31" fmla="*/ 741 h 870"/>
              <a:gd name="T32" fmla="*/ 396 w 650"/>
              <a:gd name="T33" fmla="*/ 720 h 870"/>
              <a:gd name="T34" fmla="*/ 421 w 650"/>
              <a:gd name="T35" fmla="*/ 701 h 870"/>
              <a:gd name="T36" fmla="*/ 438 w 650"/>
              <a:gd name="T37" fmla="*/ 672 h 870"/>
              <a:gd name="T38" fmla="*/ 454 w 650"/>
              <a:gd name="T39" fmla="*/ 641 h 870"/>
              <a:gd name="T40" fmla="*/ 456 w 650"/>
              <a:gd name="T41" fmla="*/ 618 h 870"/>
              <a:gd name="T42" fmla="*/ 429 w 650"/>
              <a:gd name="T43" fmla="*/ 626 h 870"/>
              <a:gd name="T44" fmla="*/ 408 w 650"/>
              <a:gd name="T45" fmla="*/ 670 h 870"/>
              <a:gd name="T46" fmla="*/ 373 w 650"/>
              <a:gd name="T47" fmla="*/ 711 h 870"/>
              <a:gd name="T48" fmla="*/ 363 w 650"/>
              <a:gd name="T49" fmla="*/ 749 h 870"/>
              <a:gd name="T50" fmla="*/ 365 w 650"/>
              <a:gd name="T51" fmla="*/ 772 h 870"/>
              <a:gd name="T52" fmla="*/ 346 w 650"/>
              <a:gd name="T53" fmla="*/ 828 h 870"/>
              <a:gd name="T54" fmla="*/ 323 w 650"/>
              <a:gd name="T55" fmla="*/ 855 h 870"/>
              <a:gd name="T56" fmla="*/ 321 w 650"/>
              <a:gd name="T57" fmla="*/ 832 h 870"/>
              <a:gd name="T58" fmla="*/ 290 w 650"/>
              <a:gd name="T59" fmla="*/ 870 h 870"/>
              <a:gd name="T60" fmla="*/ 294 w 650"/>
              <a:gd name="T61" fmla="*/ 828 h 870"/>
              <a:gd name="T62" fmla="*/ 327 w 650"/>
              <a:gd name="T63" fmla="*/ 799 h 870"/>
              <a:gd name="T64" fmla="*/ 319 w 650"/>
              <a:gd name="T65" fmla="*/ 778 h 870"/>
              <a:gd name="T66" fmla="*/ 292 w 650"/>
              <a:gd name="T67" fmla="*/ 793 h 870"/>
              <a:gd name="T68" fmla="*/ 254 w 650"/>
              <a:gd name="T69" fmla="*/ 757 h 870"/>
              <a:gd name="T70" fmla="*/ 211 w 650"/>
              <a:gd name="T71" fmla="*/ 722 h 870"/>
              <a:gd name="T72" fmla="*/ 163 w 650"/>
              <a:gd name="T73" fmla="*/ 693 h 870"/>
              <a:gd name="T74" fmla="*/ 107 w 650"/>
              <a:gd name="T75" fmla="*/ 651 h 870"/>
              <a:gd name="T76" fmla="*/ 63 w 650"/>
              <a:gd name="T77" fmla="*/ 616 h 870"/>
              <a:gd name="T78" fmla="*/ 9 w 650"/>
              <a:gd name="T79" fmla="*/ 626 h 870"/>
              <a:gd name="T80" fmla="*/ 30 w 650"/>
              <a:gd name="T81" fmla="*/ 576 h 870"/>
              <a:gd name="T82" fmla="*/ 63 w 650"/>
              <a:gd name="T83" fmla="*/ 533 h 870"/>
              <a:gd name="T84" fmla="*/ 88 w 650"/>
              <a:gd name="T85" fmla="*/ 491 h 870"/>
              <a:gd name="T86" fmla="*/ 117 w 650"/>
              <a:gd name="T87" fmla="*/ 441 h 870"/>
              <a:gd name="T88" fmla="*/ 167 w 650"/>
              <a:gd name="T89" fmla="*/ 414 h 870"/>
              <a:gd name="T90" fmla="*/ 202 w 650"/>
              <a:gd name="T91" fmla="*/ 383 h 870"/>
              <a:gd name="T92" fmla="*/ 246 w 650"/>
              <a:gd name="T93" fmla="*/ 354 h 870"/>
              <a:gd name="T94" fmla="*/ 252 w 650"/>
              <a:gd name="T95" fmla="*/ 299 h 870"/>
              <a:gd name="T96" fmla="*/ 244 w 650"/>
              <a:gd name="T97" fmla="*/ 247 h 870"/>
              <a:gd name="T98" fmla="*/ 192 w 650"/>
              <a:gd name="T99" fmla="*/ 241 h 870"/>
              <a:gd name="T100" fmla="*/ 209 w 650"/>
              <a:gd name="T101" fmla="*/ 156 h 870"/>
              <a:gd name="T102" fmla="*/ 231 w 650"/>
              <a:gd name="T103" fmla="*/ 85 h 870"/>
              <a:gd name="T104" fmla="*/ 267 w 650"/>
              <a:gd name="T105" fmla="*/ 21 h 870"/>
              <a:gd name="T106" fmla="*/ 336 w 650"/>
              <a:gd name="T107" fmla="*/ 2 h 870"/>
              <a:gd name="T108" fmla="*/ 394 w 650"/>
              <a:gd name="T109" fmla="*/ 4 h 870"/>
              <a:gd name="T110" fmla="*/ 435 w 650"/>
              <a:gd name="T111" fmla="*/ 16 h 870"/>
              <a:gd name="T112" fmla="*/ 475 w 650"/>
              <a:gd name="T113" fmla="*/ 27 h 870"/>
              <a:gd name="T114" fmla="*/ 523 w 650"/>
              <a:gd name="T115" fmla="*/ 29 h 870"/>
              <a:gd name="T116" fmla="*/ 542 w 650"/>
              <a:gd name="T117" fmla="*/ 58 h 870"/>
              <a:gd name="T118" fmla="*/ 554 w 650"/>
              <a:gd name="T119" fmla="*/ 108 h 870"/>
              <a:gd name="T120" fmla="*/ 569 w 650"/>
              <a:gd name="T121" fmla="*/ 158 h 870"/>
              <a:gd name="T122" fmla="*/ 616 w 650"/>
              <a:gd name="T123" fmla="*/ 168 h 870"/>
              <a:gd name="T124" fmla="*/ 646 w 650"/>
              <a:gd name="T125" fmla="*/ 200 h 8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50" h="870">
                <a:moveTo>
                  <a:pt x="529" y="539"/>
                </a:moveTo>
                <a:lnTo>
                  <a:pt x="527" y="533"/>
                </a:lnTo>
                <a:lnTo>
                  <a:pt x="521" y="533"/>
                </a:lnTo>
                <a:lnTo>
                  <a:pt x="527" y="535"/>
                </a:lnTo>
                <a:lnTo>
                  <a:pt x="529" y="539"/>
                </a:lnTo>
                <a:close/>
                <a:moveTo>
                  <a:pt x="650" y="208"/>
                </a:moveTo>
                <a:lnTo>
                  <a:pt x="646" y="214"/>
                </a:lnTo>
                <a:lnTo>
                  <a:pt x="641" y="225"/>
                </a:lnTo>
                <a:lnTo>
                  <a:pt x="635" y="231"/>
                </a:lnTo>
                <a:lnTo>
                  <a:pt x="633" y="237"/>
                </a:lnTo>
                <a:lnTo>
                  <a:pt x="629" y="241"/>
                </a:lnTo>
                <a:lnTo>
                  <a:pt x="621" y="243"/>
                </a:lnTo>
                <a:lnTo>
                  <a:pt x="619" y="252"/>
                </a:lnTo>
                <a:lnTo>
                  <a:pt x="616" y="258"/>
                </a:lnTo>
                <a:lnTo>
                  <a:pt x="610" y="266"/>
                </a:lnTo>
                <a:lnTo>
                  <a:pt x="608" y="274"/>
                </a:lnTo>
                <a:lnTo>
                  <a:pt x="610" y="281"/>
                </a:lnTo>
                <a:lnTo>
                  <a:pt x="612" y="287"/>
                </a:lnTo>
                <a:lnTo>
                  <a:pt x="612" y="293"/>
                </a:lnTo>
                <a:lnTo>
                  <a:pt x="614" y="302"/>
                </a:lnTo>
                <a:lnTo>
                  <a:pt x="612" y="308"/>
                </a:lnTo>
                <a:lnTo>
                  <a:pt x="608" y="314"/>
                </a:lnTo>
                <a:lnTo>
                  <a:pt x="610" y="320"/>
                </a:lnTo>
                <a:lnTo>
                  <a:pt x="606" y="324"/>
                </a:lnTo>
                <a:lnTo>
                  <a:pt x="602" y="333"/>
                </a:lnTo>
                <a:lnTo>
                  <a:pt x="604" y="337"/>
                </a:lnTo>
                <a:lnTo>
                  <a:pt x="606" y="343"/>
                </a:lnTo>
                <a:lnTo>
                  <a:pt x="606" y="349"/>
                </a:lnTo>
                <a:lnTo>
                  <a:pt x="608" y="358"/>
                </a:lnTo>
                <a:lnTo>
                  <a:pt x="604" y="362"/>
                </a:lnTo>
                <a:lnTo>
                  <a:pt x="610" y="366"/>
                </a:lnTo>
                <a:lnTo>
                  <a:pt x="614" y="368"/>
                </a:lnTo>
                <a:lnTo>
                  <a:pt x="614" y="374"/>
                </a:lnTo>
                <a:lnTo>
                  <a:pt x="612" y="383"/>
                </a:lnTo>
                <a:lnTo>
                  <a:pt x="612" y="387"/>
                </a:lnTo>
                <a:lnTo>
                  <a:pt x="614" y="391"/>
                </a:lnTo>
                <a:lnTo>
                  <a:pt x="619" y="399"/>
                </a:lnTo>
                <a:lnTo>
                  <a:pt x="616" y="408"/>
                </a:lnTo>
                <a:lnTo>
                  <a:pt x="612" y="412"/>
                </a:lnTo>
                <a:lnTo>
                  <a:pt x="608" y="418"/>
                </a:lnTo>
                <a:lnTo>
                  <a:pt x="604" y="422"/>
                </a:lnTo>
                <a:lnTo>
                  <a:pt x="608" y="433"/>
                </a:lnTo>
                <a:lnTo>
                  <a:pt x="604" y="441"/>
                </a:lnTo>
                <a:lnTo>
                  <a:pt x="604" y="447"/>
                </a:lnTo>
                <a:lnTo>
                  <a:pt x="602" y="453"/>
                </a:lnTo>
                <a:lnTo>
                  <a:pt x="598" y="460"/>
                </a:lnTo>
                <a:lnTo>
                  <a:pt x="592" y="466"/>
                </a:lnTo>
                <a:lnTo>
                  <a:pt x="592" y="476"/>
                </a:lnTo>
                <a:lnTo>
                  <a:pt x="587" y="483"/>
                </a:lnTo>
                <a:lnTo>
                  <a:pt x="579" y="487"/>
                </a:lnTo>
                <a:lnTo>
                  <a:pt x="573" y="487"/>
                </a:lnTo>
                <a:lnTo>
                  <a:pt x="567" y="491"/>
                </a:lnTo>
                <a:lnTo>
                  <a:pt x="560" y="499"/>
                </a:lnTo>
                <a:lnTo>
                  <a:pt x="556" y="508"/>
                </a:lnTo>
                <a:lnTo>
                  <a:pt x="550" y="512"/>
                </a:lnTo>
                <a:lnTo>
                  <a:pt x="546" y="520"/>
                </a:lnTo>
                <a:lnTo>
                  <a:pt x="539" y="526"/>
                </a:lnTo>
                <a:lnTo>
                  <a:pt x="535" y="530"/>
                </a:lnTo>
                <a:lnTo>
                  <a:pt x="529" y="539"/>
                </a:lnTo>
                <a:lnTo>
                  <a:pt x="525" y="545"/>
                </a:lnTo>
                <a:lnTo>
                  <a:pt x="521" y="555"/>
                </a:lnTo>
                <a:lnTo>
                  <a:pt x="519" y="562"/>
                </a:lnTo>
                <a:lnTo>
                  <a:pt x="512" y="570"/>
                </a:lnTo>
                <a:lnTo>
                  <a:pt x="508" y="585"/>
                </a:lnTo>
                <a:lnTo>
                  <a:pt x="504" y="593"/>
                </a:lnTo>
                <a:lnTo>
                  <a:pt x="500" y="597"/>
                </a:lnTo>
                <a:lnTo>
                  <a:pt x="498" y="605"/>
                </a:lnTo>
                <a:lnTo>
                  <a:pt x="494" y="612"/>
                </a:lnTo>
                <a:lnTo>
                  <a:pt x="492" y="622"/>
                </a:lnTo>
                <a:lnTo>
                  <a:pt x="485" y="630"/>
                </a:lnTo>
                <a:lnTo>
                  <a:pt x="479" y="639"/>
                </a:lnTo>
                <a:lnTo>
                  <a:pt x="475" y="643"/>
                </a:lnTo>
                <a:lnTo>
                  <a:pt x="473" y="649"/>
                </a:lnTo>
                <a:lnTo>
                  <a:pt x="473" y="653"/>
                </a:lnTo>
                <a:lnTo>
                  <a:pt x="467" y="657"/>
                </a:lnTo>
                <a:lnTo>
                  <a:pt x="465" y="664"/>
                </a:lnTo>
                <a:lnTo>
                  <a:pt x="467" y="672"/>
                </a:lnTo>
                <a:lnTo>
                  <a:pt x="462" y="678"/>
                </a:lnTo>
                <a:lnTo>
                  <a:pt x="454" y="682"/>
                </a:lnTo>
                <a:lnTo>
                  <a:pt x="450" y="695"/>
                </a:lnTo>
                <a:lnTo>
                  <a:pt x="448" y="705"/>
                </a:lnTo>
                <a:lnTo>
                  <a:pt x="438" y="709"/>
                </a:lnTo>
                <a:lnTo>
                  <a:pt x="431" y="718"/>
                </a:lnTo>
                <a:lnTo>
                  <a:pt x="421" y="722"/>
                </a:lnTo>
                <a:lnTo>
                  <a:pt x="413" y="728"/>
                </a:lnTo>
                <a:lnTo>
                  <a:pt x="410" y="734"/>
                </a:lnTo>
                <a:lnTo>
                  <a:pt x="404" y="736"/>
                </a:lnTo>
                <a:lnTo>
                  <a:pt x="396" y="743"/>
                </a:lnTo>
                <a:lnTo>
                  <a:pt x="390" y="747"/>
                </a:lnTo>
                <a:lnTo>
                  <a:pt x="383" y="753"/>
                </a:lnTo>
                <a:lnTo>
                  <a:pt x="377" y="751"/>
                </a:lnTo>
                <a:lnTo>
                  <a:pt x="377" y="749"/>
                </a:lnTo>
                <a:lnTo>
                  <a:pt x="375" y="747"/>
                </a:lnTo>
                <a:lnTo>
                  <a:pt x="371" y="747"/>
                </a:lnTo>
                <a:lnTo>
                  <a:pt x="371" y="743"/>
                </a:lnTo>
                <a:lnTo>
                  <a:pt x="371" y="741"/>
                </a:lnTo>
                <a:lnTo>
                  <a:pt x="373" y="739"/>
                </a:lnTo>
                <a:lnTo>
                  <a:pt x="377" y="734"/>
                </a:lnTo>
                <a:lnTo>
                  <a:pt x="379" y="730"/>
                </a:lnTo>
                <a:lnTo>
                  <a:pt x="383" y="726"/>
                </a:lnTo>
                <a:lnTo>
                  <a:pt x="388" y="724"/>
                </a:lnTo>
                <a:lnTo>
                  <a:pt x="396" y="720"/>
                </a:lnTo>
                <a:lnTo>
                  <a:pt x="400" y="718"/>
                </a:lnTo>
                <a:lnTo>
                  <a:pt x="402" y="711"/>
                </a:lnTo>
                <a:lnTo>
                  <a:pt x="408" y="707"/>
                </a:lnTo>
                <a:lnTo>
                  <a:pt x="413" y="707"/>
                </a:lnTo>
                <a:lnTo>
                  <a:pt x="417" y="703"/>
                </a:lnTo>
                <a:lnTo>
                  <a:pt x="421" y="701"/>
                </a:lnTo>
                <a:lnTo>
                  <a:pt x="423" y="695"/>
                </a:lnTo>
                <a:lnTo>
                  <a:pt x="425" y="691"/>
                </a:lnTo>
                <a:lnTo>
                  <a:pt x="425" y="684"/>
                </a:lnTo>
                <a:lnTo>
                  <a:pt x="427" y="676"/>
                </a:lnTo>
                <a:lnTo>
                  <a:pt x="429" y="672"/>
                </a:lnTo>
                <a:lnTo>
                  <a:pt x="438" y="672"/>
                </a:lnTo>
                <a:lnTo>
                  <a:pt x="444" y="666"/>
                </a:lnTo>
                <a:lnTo>
                  <a:pt x="448" y="662"/>
                </a:lnTo>
                <a:lnTo>
                  <a:pt x="450" y="657"/>
                </a:lnTo>
                <a:lnTo>
                  <a:pt x="450" y="653"/>
                </a:lnTo>
                <a:lnTo>
                  <a:pt x="454" y="647"/>
                </a:lnTo>
                <a:lnTo>
                  <a:pt x="454" y="641"/>
                </a:lnTo>
                <a:lnTo>
                  <a:pt x="452" y="634"/>
                </a:lnTo>
                <a:lnTo>
                  <a:pt x="456" y="630"/>
                </a:lnTo>
                <a:lnTo>
                  <a:pt x="462" y="626"/>
                </a:lnTo>
                <a:lnTo>
                  <a:pt x="467" y="622"/>
                </a:lnTo>
                <a:lnTo>
                  <a:pt x="465" y="618"/>
                </a:lnTo>
                <a:lnTo>
                  <a:pt x="456" y="618"/>
                </a:lnTo>
                <a:lnTo>
                  <a:pt x="452" y="616"/>
                </a:lnTo>
                <a:lnTo>
                  <a:pt x="448" y="622"/>
                </a:lnTo>
                <a:lnTo>
                  <a:pt x="444" y="620"/>
                </a:lnTo>
                <a:lnTo>
                  <a:pt x="440" y="618"/>
                </a:lnTo>
                <a:lnTo>
                  <a:pt x="431" y="622"/>
                </a:lnTo>
                <a:lnTo>
                  <a:pt x="429" y="626"/>
                </a:lnTo>
                <a:lnTo>
                  <a:pt x="425" y="632"/>
                </a:lnTo>
                <a:lnTo>
                  <a:pt x="423" y="639"/>
                </a:lnTo>
                <a:lnTo>
                  <a:pt x="421" y="647"/>
                </a:lnTo>
                <a:lnTo>
                  <a:pt x="417" y="655"/>
                </a:lnTo>
                <a:lnTo>
                  <a:pt x="413" y="662"/>
                </a:lnTo>
                <a:lnTo>
                  <a:pt x="408" y="670"/>
                </a:lnTo>
                <a:lnTo>
                  <a:pt x="402" y="676"/>
                </a:lnTo>
                <a:lnTo>
                  <a:pt x="398" y="682"/>
                </a:lnTo>
                <a:lnTo>
                  <a:pt x="390" y="691"/>
                </a:lnTo>
                <a:lnTo>
                  <a:pt x="383" y="699"/>
                </a:lnTo>
                <a:lnTo>
                  <a:pt x="377" y="705"/>
                </a:lnTo>
                <a:lnTo>
                  <a:pt x="373" y="711"/>
                </a:lnTo>
                <a:lnTo>
                  <a:pt x="367" y="716"/>
                </a:lnTo>
                <a:lnTo>
                  <a:pt x="363" y="720"/>
                </a:lnTo>
                <a:lnTo>
                  <a:pt x="361" y="728"/>
                </a:lnTo>
                <a:lnTo>
                  <a:pt x="363" y="736"/>
                </a:lnTo>
                <a:lnTo>
                  <a:pt x="365" y="745"/>
                </a:lnTo>
                <a:lnTo>
                  <a:pt x="363" y="749"/>
                </a:lnTo>
                <a:lnTo>
                  <a:pt x="361" y="751"/>
                </a:lnTo>
                <a:lnTo>
                  <a:pt x="365" y="753"/>
                </a:lnTo>
                <a:lnTo>
                  <a:pt x="369" y="751"/>
                </a:lnTo>
                <a:lnTo>
                  <a:pt x="371" y="755"/>
                </a:lnTo>
                <a:lnTo>
                  <a:pt x="373" y="761"/>
                </a:lnTo>
                <a:lnTo>
                  <a:pt x="365" y="772"/>
                </a:lnTo>
                <a:lnTo>
                  <a:pt x="363" y="778"/>
                </a:lnTo>
                <a:lnTo>
                  <a:pt x="358" y="788"/>
                </a:lnTo>
                <a:lnTo>
                  <a:pt x="354" y="795"/>
                </a:lnTo>
                <a:lnTo>
                  <a:pt x="352" y="807"/>
                </a:lnTo>
                <a:lnTo>
                  <a:pt x="346" y="818"/>
                </a:lnTo>
                <a:lnTo>
                  <a:pt x="346" y="828"/>
                </a:lnTo>
                <a:lnTo>
                  <a:pt x="342" y="838"/>
                </a:lnTo>
                <a:lnTo>
                  <a:pt x="338" y="847"/>
                </a:lnTo>
                <a:lnTo>
                  <a:pt x="331" y="861"/>
                </a:lnTo>
                <a:lnTo>
                  <a:pt x="321" y="865"/>
                </a:lnTo>
                <a:lnTo>
                  <a:pt x="313" y="863"/>
                </a:lnTo>
                <a:lnTo>
                  <a:pt x="323" y="855"/>
                </a:lnTo>
                <a:lnTo>
                  <a:pt x="325" y="847"/>
                </a:lnTo>
                <a:lnTo>
                  <a:pt x="329" y="838"/>
                </a:lnTo>
                <a:lnTo>
                  <a:pt x="333" y="826"/>
                </a:lnTo>
                <a:lnTo>
                  <a:pt x="331" y="824"/>
                </a:lnTo>
                <a:lnTo>
                  <a:pt x="327" y="822"/>
                </a:lnTo>
                <a:lnTo>
                  <a:pt x="321" y="832"/>
                </a:lnTo>
                <a:lnTo>
                  <a:pt x="315" y="845"/>
                </a:lnTo>
                <a:lnTo>
                  <a:pt x="313" y="855"/>
                </a:lnTo>
                <a:lnTo>
                  <a:pt x="306" y="861"/>
                </a:lnTo>
                <a:lnTo>
                  <a:pt x="300" y="868"/>
                </a:lnTo>
                <a:lnTo>
                  <a:pt x="294" y="870"/>
                </a:lnTo>
                <a:lnTo>
                  <a:pt x="290" y="870"/>
                </a:lnTo>
                <a:lnTo>
                  <a:pt x="288" y="863"/>
                </a:lnTo>
                <a:lnTo>
                  <a:pt x="286" y="857"/>
                </a:lnTo>
                <a:lnTo>
                  <a:pt x="286" y="851"/>
                </a:lnTo>
                <a:lnTo>
                  <a:pt x="288" y="845"/>
                </a:lnTo>
                <a:lnTo>
                  <a:pt x="292" y="838"/>
                </a:lnTo>
                <a:lnTo>
                  <a:pt x="294" y="828"/>
                </a:lnTo>
                <a:lnTo>
                  <a:pt x="298" y="822"/>
                </a:lnTo>
                <a:lnTo>
                  <a:pt x="302" y="813"/>
                </a:lnTo>
                <a:lnTo>
                  <a:pt x="308" y="811"/>
                </a:lnTo>
                <a:lnTo>
                  <a:pt x="319" y="809"/>
                </a:lnTo>
                <a:lnTo>
                  <a:pt x="325" y="805"/>
                </a:lnTo>
                <a:lnTo>
                  <a:pt x="327" y="799"/>
                </a:lnTo>
                <a:lnTo>
                  <a:pt x="325" y="793"/>
                </a:lnTo>
                <a:lnTo>
                  <a:pt x="325" y="788"/>
                </a:lnTo>
                <a:lnTo>
                  <a:pt x="329" y="782"/>
                </a:lnTo>
                <a:lnTo>
                  <a:pt x="329" y="776"/>
                </a:lnTo>
                <a:lnTo>
                  <a:pt x="323" y="774"/>
                </a:lnTo>
                <a:lnTo>
                  <a:pt x="319" y="778"/>
                </a:lnTo>
                <a:lnTo>
                  <a:pt x="317" y="780"/>
                </a:lnTo>
                <a:lnTo>
                  <a:pt x="313" y="788"/>
                </a:lnTo>
                <a:lnTo>
                  <a:pt x="306" y="795"/>
                </a:lnTo>
                <a:lnTo>
                  <a:pt x="300" y="795"/>
                </a:lnTo>
                <a:lnTo>
                  <a:pt x="296" y="797"/>
                </a:lnTo>
                <a:lnTo>
                  <a:pt x="292" y="793"/>
                </a:lnTo>
                <a:lnTo>
                  <a:pt x="288" y="788"/>
                </a:lnTo>
                <a:lnTo>
                  <a:pt x="281" y="782"/>
                </a:lnTo>
                <a:lnTo>
                  <a:pt x="277" y="772"/>
                </a:lnTo>
                <a:lnTo>
                  <a:pt x="271" y="766"/>
                </a:lnTo>
                <a:lnTo>
                  <a:pt x="263" y="761"/>
                </a:lnTo>
                <a:lnTo>
                  <a:pt x="254" y="757"/>
                </a:lnTo>
                <a:lnTo>
                  <a:pt x="254" y="753"/>
                </a:lnTo>
                <a:lnTo>
                  <a:pt x="250" y="743"/>
                </a:lnTo>
                <a:lnTo>
                  <a:pt x="240" y="741"/>
                </a:lnTo>
                <a:lnTo>
                  <a:pt x="229" y="732"/>
                </a:lnTo>
                <a:lnTo>
                  <a:pt x="223" y="728"/>
                </a:lnTo>
                <a:lnTo>
                  <a:pt x="211" y="722"/>
                </a:lnTo>
                <a:lnTo>
                  <a:pt x="204" y="718"/>
                </a:lnTo>
                <a:lnTo>
                  <a:pt x="198" y="711"/>
                </a:lnTo>
                <a:lnTo>
                  <a:pt x="192" y="705"/>
                </a:lnTo>
                <a:lnTo>
                  <a:pt x="182" y="701"/>
                </a:lnTo>
                <a:lnTo>
                  <a:pt x="173" y="701"/>
                </a:lnTo>
                <a:lnTo>
                  <a:pt x="163" y="693"/>
                </a:lnTo>
                <a:lnTo>
                  <a:pt x="157" y="682"/>
                </a:lnTo>
                <a:lnTo>
                  <a:pt x="148" y="680"/>
                </a:lnTo>
                <a:lnTo>
                  <a:pt x="140" y="666"/>
                </a:lnTo>
                <a:lnTo>
                  <a:pt x="130" y="662"/>
                </a:lnTo>
                <a:lnTo>
                  <a:pt x="121" y="659"/>
                </a:lnTo>
                <a:lnTo>
                  <a:pt x="107" y="651"/>
                </a:lnTo>
                <a:lnTo>
                  <a:pt x="96" y="651"/>
                </a:lnTo>
                <a:lnTo>
                  <a:pt x="90" y="647"/>
                </a:lnTo>
                <a:lnTo>
                  <a:pt x="84" y="637"/>
                </a:lnTo>
                <a:lnTo>
                  <a:pt x="80" y="624"/>
                </a:lnTo>
                <a:lnTo>
                  <a:pt x="69" y="622"/>
                </a:lnTo>
                <a:lnTo>
                  <a:pt x="63" y="616"/>
                </a:lnTo>
                <a:lnTo>
                  <a:pt x="55" y="612"/>
                </a:lnTo>
                <a:lnTo>
                  <a:pt x="44" y="614"/>
                </a:lnTo>
                <a:lnTo>
                  <a:pt x="34" y="618"/>
                </a:lnTo>
                <a:lnTo>
                  <a:pt x="23" y="620"/>
                </a:lnTo>
                <a:lnTo>
                  <a:pt x="17" y="626"/>
                </a:lnTo>
                <a:lnTo>
                  <a:pt x="9" y="626"/>
                </a:lnTo>
                <a:lnTo>
                  <a:pt x="0" y="620"/>
                </a:lnTo>
                <a:lnTo>
                  <a:pt x="5" y="607"/>
                </a:lnTo>
                <a:lnTo>
                  <a:pt x="7" y="597"/>
                </a:lnTo>
                <a:lnTo>
                  <a:pt x="11" y="587"/>
                </a:lnTo>
                <a:lnTo>
                  <a:pt x="19" y="582"/>
                </a:lnTo>
                <a:lnTo>
                  <a:pt x="30" y="576"/>
                </a:lnTo>
                <a:lnTo>
                  <a:pt x="36" y="568"/>
                </a:lnTo>
                <a:lnTo>
                  <a:pt x="40" y="557"/>
                </a:lnTo>
                <a:lnTo>
                  <a:pt x="48" y="551"/>
                </a:lnTo>
                <a:lnTo>
                  <a:pt x="53" y="543"/>
                </a:lnTo>
                <a:lnTo>
                  <a:pt x="55" y="537"/>
                </a:lnTo>
                <a:lnTo>
                  <a:pt x="63" y="533"/>
                </a:lnTo>
                <a:lnTo>
                  <a:pt x="71" y="526"/>
                </a:lnTo>
                <a:lnTo>
                  <a:pt x="73" y="518"/>
                </a:lnTo>
                <a:lnTo>
                  <a:pt x="75" y="510"/>
                </a:lnTo>
                <a:lnTo>
                  <a:pt x="77" y="497"/>
                </a:lnTo>
                <a:lnTo>
                  <a:pt x="82" y="495"/>
                </a:lnTo>
                <a:lnTo>
                  <a:pt x="88" y="491"/>
                </a:lnTo>
                <a:lnTo>
                  <a:pt x="92" y="480"/>
                </a:lnTo>
                <a:lnTo>
                  <a:pt x="100" y="472"/>
                </a:lnTo>
                <a:lnTo>
                  <a:pt x="107" y="464"/>
                </a:lnTo>
                <a:lnTo>
                  <a:pt x="111" y="453"/>
                </a:lnTo>
                <a:lnTo>
                  <a:pt x="115" y="443"/>
                </a:lnTo>
                <a:lnTo>
                  <a:pt x="117" y="441"/>
                </a:lnTo>
                <a:lnTo>
                  <a:pt x="125" y="441"/>
                </a:lnTo>
                <a:lnTo>
                  <a:pt x="138" y="433"/>
                </a:lnTo>
                <a:lnTo>
                  <a:pt x="148" y="424"/>
                </a:lnTo>
                <a:lnTo>
                  <a:pt x="154" y="420"/>
                </a:lnTo>
                <a:lnTo>
                  <a:pt x="163" y="418"/>
                </a:lnTo>
                <a:lnTo>
                  <a:pt x="167" y="414"/>
                </a:lnTo>
                <a:lnTo>
                  <a:pt x="171" y="410"/>
                </a:lnTo>
                <a:lnTo>
                  <a:pt x="175" y="401"/>
                </a:lnTo>
                <a:lnTo>
                  <a:pt x="182" y="397"/>
                </a:lnTo>
                <a:lnTo>
                  <a:pt x="190" y="395"/>
                </a:lnTo>
                <a:lnTo>
                  <a:pt x="196" y="387"/>
                </a:lnTo>
                <a:lnTo>
                  <a:pt x="202" y="383"/>
                </a:lnTo>
                <a:lnTo>
                  <a:pt x="213" y="381"/>
                </a:lnTo>
                <a:lnTo>
                  <a:pt x="221" y="372"/>
                </a:lnTo>
                <a:lnTo>
                  <a:pt x="227" y="368"/>
                </a:lnTo>
                <a:lnTo>
                  <a:pt x="236" y="366"/>
                </a:lnTo>
                <a:lnTo>
                  <a:pt x="240" y="360"/>
                </a:lnTo>
                <a:lnTo>
                  <a:pt x="246" y="354"/>
                </a:lnTo>
                <a:lnTo>
                  <a:pt x="250" y="347"/>
                </a:lnTo>
                <a:lnTo>
                  <a:pt x="252" y="339"/>
                </a:lnTo>
                <a:lnTo>
                  <a:pt x="250" y="327"/>
                </a:lnTo>
                <a:lnTo>
                  <a:pt x="256" y="316"/>
                </a:lnTo>
                <a:lnTo>
                  <a:pt x="254" y="308"/>
                </a:lnTo>
                <a:lnTo>
                  <a:pt x="252" y="299"/>
                </a:lnTo>
                <a:lnTo>
                  <a:pt x="248" y="291"/>
                </a:lnTo>
                <a:lnTo>
                  <a:pt x="244" y="283"/>
                </a:lnTo>
                <a:lnTo>
                  <a:pt x="244" y="277"/>
                </a:lnTo>
                <a:lnTo>
                  <a:pt x="246" y="266"/>
                </a:lnTo>
                <a:lnTo>
                  <a:pt x="246" y="258"/>
                </a:lnTo>
                <a:lnTo>
                  <a:pt x="244" y="247"/>
                </a:lnTo>
                <a:lnTo>
                  <a:pt x="236" y="241"/>
                </a:lnTo>
                <a:lnTo>
                  <a:pt x="221" y="237"/>
                </a:lnTo>
                <a:lnTo>
                  <a:pt x="215" y="237"/>
                </a:lnTo>
                <a:lnTo>
                  <a:pt x="204" y="241"/>
                </a:lnTo>
                <a:lnTo>
                  <a:pt x="198" y="243"/>
                </a:lnTo>
                <a:lnTo>
                  <a:pt x="192" y="241"/>
                </a:lnTo>
                <a:lnTo>
                  <a:pt x="194" y="231"/>
                </a:lnTo>
                <a:lnTo>
                  <a:pt x="198" y="212"/>
                </a:lnTo>
                <a:lnTo>
                  <a:pt x="198" y="200"/>
                </a:lnTo>
                <a:lnTo>
                  <a:pt x="204" y="189"/>
                </a:lnTo>
                <a:lnTo>
                  <a:pt x="207" y="173"/>
                </a:lnTo>
                <a:lnTo>
                  <a:pt x="209" y="156"/>
                </a:lnTo>
                <a:lnTo>
                  <a:pt x="209" y="137"/>
                </a:lnTo>
                <a:lnTo>
                  <a:pt x="209" y="125"/>
                </a:lnTo>
                <a:lnTo>
                  <a:pt x="209" y="118"/>
                </a:lnTo>
                <a:lnTo>
                  <a:pt x="219" y="108"/>
                </a:lnTo>
                <a:lnTo>
                  <a:pt x="227" y="96"/>
                </a:lnTo>
                <a:lnTo>
                  <a:pt x="231" y="85"/>
                </a:lnTo>
                <a:lnTo>
                  <a:pt x="238" y="68"/>
                </a:lnTo>
                <a:lnTo>
                  <a:pt x="244" y="58"/>
                </a:lnTo>
                <a:lnTo>
                  <a:pt x="252" y="46"/>
                </a:lnTo>
                <a:lnTo>
                  <a:pt x="250" y="33"/>
                </a:lnTo>
                <a:lnTo>
                  <a:pt x="254" y="27"/>
                </a:lnTo>
                <a:lnTo>
                  <a:pt x="267" y="21"/>
                </a:lnTo>
                <a:lnTo>
                  <a:pt x="281" y="16"/>
                </a:lnTo>
                <a:lnTo>
                  <a:pt x="290" y="4"/>
                </a:lnTo>
                <a:lnTo>
                  <a:pt x="306" y="2"/>
                </a:lnTo>
                <a:lnTo>
                  <a:pt x="319" y="4"/>
                </a:lnTo>
                <a:lnTo>
                  <a:pt x="327" y="6"/>
                </a:lnTo>
                <a:lnTo>
                  <a:pt x="336" y="2"/>
                </a:lnTo>
                <a:lnTo>
                  <a:pt x="340" y="2"/>
                </a:lnTo>
                <a:lnTo>
                  <a:pt x="352" y="4"/>
                </a:lnTo>
                <a:lnTo>
                  <a:pt x="361" y="0"/>
                </a:lnTo>
                <a:lnTo>
                  <a:pt x="371" y="0"/>
                </a:lnTo>
                <a:lnTo>
                  <a:pt x="383" y="4"/>
                </a:lnTo>
                <a:lnTo>
                  <a:pt x="394" y="4"/>
                </a:lnTo>
                <a:lnTo>
                  <a:pt x="406" y="8"/>
                </a:lnTo>
                <a:lnTo>
                  <a:pt x="415" y="8"/>
                </a:lnTo>
                <a:lnTo>
                  <a:pt x="421" y="12"/>
                </a:lnTo>
                <a:lnTo>
                  <a:pt x="429" y="8"/>
                </a:lnTo>
                <a:lnTo>
                  <a:pt x="433" y="10"/>
                </a:lnTo>
                <a:lnTo>
                  <a:pt x="435" y="16"/>
                </a:lnTo>
                <a:lnTo>
                  <a:pt x="444" y="23"/>
                </a:lnTo>
                <a:lnTo>
                  <a:pt x="450" y="27"/>
                </a:lnTo>
                <a:lnTo>
                  <a:pt x="454" y="25"/>
                </a:lnTo>
                <a:lnTo>
                  <a:pt x="462" y="29"/>
                </a:lnTo>
                <a:lnTo>
                  <a:pt x="469" y="35"/>
                </a:lnTo>
                <a:lnTo>
                  <a:pt x="475" y="27"/>
                </a:lnTo>
                <a:lnTo>
                  <a:pt x="485" y="25"/>
                </a:lnTo>
                <a:lnTo>
                  <a:pt x="498" y="25"/>
                </a:lnTo>
                <a:lnTo>
                  <a:pt x="508" y="27"/>
                </a:lnTo>
                <a:lnTo>
                  <a:pt x="515" y="29"/>
                </a:lnTo>
                <a:lnTo>
                  <a:pt x="519" y="27"/>
                </a:lnTo>
                <a:lnTo>
                  <a:pt x="523" y="29"/>
                </a:lnTo>
                <a:lnTo>
                  <a:pt x="525" y="33"/>
                </a:lnTo>
                <a:lnTo>
                  <a:pt x="525" y="39"/>
                </a:lnTo>
                <a:lnTo>
                  <a:pt x="527" y="44"/>
                </a:lnTo>
                <a:lnTo>
                  <a:pt x="537" y="44"/>
                </a:lnTo>
                <a:lnTo>
                  <a:pt x="542" y="50"/>
                </a:lnTo>
                <a:lnTo>
                  <a:pt x="542" y="58"/>
                </a:lnTo>
                <a:lnTo>
                  <a:pt x="544" y="66"/>
                </a:lnTo>
                <a:lnTo>
                  <a:pt x="548" y="75"/>
                </a:lnTo>
                <a:lnTo>
                  <a:pt x="550" y="85"/>
                </a:lnTo>
                <a:lnTo>
                  <a:pt x="548" y="93"/>
                </a:lnTo>
                <a:lnTo>
                  <a:pt x="548" y="102"/>
                </a:lnTo>
                <a:lnTo>
                  <a:pt x="554" y="108"/>
                </a:lnTo>
                <a:lnTo>
                  <a:pt x="560" y="116"/>
                </a:lnTo>
                <a:lnTo>
                  <a:pt x="562" y="127"/>
                </a:lnTo>
                <a:lnTo>
                  <a:pt x="567" y="133"/>
                </a:lnTo>
                <a:lnTo>
                  <a:pt x="567" y="143"/>
                </a:lnTo>
                <a:lnTo>
                  <a:pt x="564" y="152"/>
                </a:lnTo>
                <a:lnTo>
                  <a:pt x="569" y="158"/>
                </a:lnTo>
                <a:lnTo>
                  <a:pt x="575" y="164"/>
                </a:lnTo>
                <a:lnTo>
                  <a:pt x="583" y="162"/>
                </a:lnTo>
                <a:lnTo>
                  <a:pt x="592" y="158"/>
                </a:lnTo>
                <a:lnTo>
                  <a:pt x="602" y="164"/>
                </a:lnTo>
                <a:lnTo>
                  <a:pt x="610" y="166"/>
                </a:lnTo>
                <a:lnTo>
                  <a:pt x="616" y="168"/>
                </a:lnTo>
                <a:lnTo>
                  <a:pt x="616" y="179"/>
                </a:lnTo>
                <a:lnTo>
                  <a:pt x="616" y="191"/>
                </a:lnTo>
                <a:lnTo>
                  <a:pt x="621" y="200"/>
                </a:lnTo>
                <a:lnTo>
                  <a:pt x="629" y="200"/>
                </a:lnTo>
                <a:lnTo>
                  <a:pt x="635" y="197"/>
                </a:lnTo>
                <a:lnTo>
                  <a:pt x="646" y="200"/>
                </a:lnTo>
                <a:lnTo>
                  <a:pt x="650" y="208"/>
                </a:lnTo>
                <a:close/>
              </a:path>
            </a:pathLst>
          </a:custGeom>
          <a:solidFill>
            <a:srgbClr val="D6D6CE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pt-BR"/>
          </a:p>
        </p:txBody>
      </p:sp>
      <p:sp>
        <p:nvSpPr>
          <p:cNvPr id="25" name="Freeform 20"/>
          <p:cNvSpPr>
            <a:spLocks/>
          </p:cNvSpPr>
          <p:nvPr/>
        </p:nvSpPr>
        <p:spPr bwMode="auto">
          <a:xfrm>
            <a:off x="6292600" y="3089446"/>
            <a:ext cx="1772719" cy="1517252"/>
          </a:xfrm>
          <a:custGeom>
            <a:avLst/>
            <a:gdLst>
              <a:gd name="T0" fmla="*/ 143 w 992"/>
              <a:gd name="T1" fmla="*/ 426 h 851"/>
              <a:gd name="T2" fmla="*/ 150 w 992"/>
              <a:gd name="T3" fmla="*/ 406 h 851"/>
              <a:gd name="T4" fmla="*/ 170 w 992"/>
              <a:gd name="T5" fmla="*/ 381 h 851"/>
              <a:gd name="T6" fmla="*/ 193 w 992"/>
              <a:gd name="T7" fmla="*/ 354 h 851"/>
              <a:gd name="T8" fmla="*/ 225 w 992"/>
              <a:gd name="T9" fmla="*/ 337 h 851"/>
              <a:gd name="T10" fmla="*/ 260 w 992"/>
              <a:gd name="T11" fmla="*/ 337 h 851"/>
              <a:gd name="T12" fmla="*/ 299 w 992"/>
              <a:gd name="T13" fmla="*/ 316 h 851"/>
              <a:gd name="T14" fmla="*/ 337 w 992"/>
              <a:gd name="T15" fmla="*/ 312 h 851"/>
              <a:gd name="T16" fmla="*/ 374 w 992"/>
              <a:gd name="T17" fmla="*/ 318 h 851"/>
              <a:gd name="T18" fmla="*/ 393 w 992"/>
              <a:gd name="T19" fmla="*/ 279 h 851"/>
              <a:gd name="T20" fmla="*/ 418 w 992"/>
              <a:gd name="T21" fmla="*/ 233 h 851"/>
              <a:gd name="T22" fmla="*/ 422 w 992"/>
              <a:gd name="T23" fmla="*/ 187 h 851"/>
              <a:gd name="T24" fmla="*/ 426 w 992"/>
              <a:gd name="T25" fmla="*/ 114 h 851"/>
              <a:gd name="T26" fmla="*/ 466 w 992"/>
              <a:gd name="T27" fmla="*/ 73 h 851"/>
              <a:gd name="T28" fmla="*/ 510 w 992"/>
              <a:gd name="T29" fmla="*/ 52 h 851"/>
              <a:gd name="T30" fmla="*/ 574 w 992"/>
              <a:gd name="T31" fmla="*/ 41 h 851"/>
              <a:gd name="T32" fmla="*/ 647 w 992"/>
              <a:gd name="T33" fmla="*/ 4 h 851"/>
              <a:gd name="T34" fmla="*/ 680 w 992"/>
              <a:gd name="T35" fmla="*/ 12 h 851"/>
              <a:gd name="T36" fmla="*/ 724 w 992"/>
              <a:gd name="T37" fmla="*/ 33 h 851"/>
              <a:gd name="T38" fmla="*/ 768 w 992"/>
              <a:gd name="T39" fmla="*/ 58 h 851"/>
              <a:gd name="T40" fmla="*/ 818 w 992"/>
              <a:gd name="T41" fmla="*/ 77 h 851"/>
              <a:gd name="T42" fmla="*/ 857 w 992"/>
              <a:gd name="T43" fmla="*/ 114 h 851"/>
              <a:gd name="T44" fmla="*/ 928 w 992"/>
              <a:gd name="T45" fmla="*/ 131 h 851"/>
              <a:gd name="T46" fmla="*/ 965 w 992"/>
              <a:gd name="T47" fmla="*/ 162 h 851"/>
              <a:gd name="T48" fmla="*/ 959 w 992"/>
              <a:gd name="T49" fmla="*/ 229 h 851"/>
              <a:gd name="T50" fmla="*/ 945 w 992"/>
              <a:gd name="T51" fmla="*/ 283 h 851"/>
              <a:gd name="T52" fmla="*/ 959 w 992"/>
              <a:gd name="T53" fmla="*/ 310 h 851"/>
              <a:gd name="T54" fmla="*/ 990 w 992"/>
              <a:gd name="T55" fmla="*/ 345 h 851"/>
              <a:gd name="T56" fmla="*/ 978 w 992"/>
              <a:gd name="T57" fmla="*/ 397 h 851"/>
              <a:gd name="T58" fmla="*/ 947 w 992"/>
              <a:gd name="T59" fmla="*/ 441 h 851"/>
              <a:gd name="T60" fmla="*/ 930 w 992"/>
              <a:gd name="T61" fmla="*/ 487 h 851"/>
              <a:gd name="T62" fmla="*/ 899 w 992"/>
              <a:gd name="T63" fmla="*/ 524 h 851"/>
              <a:gd name="T64" fmla="*/ 874 w 992"/>
              <a:gd name="T65" fmla="*/ 566 h 851"/>
              <a:gd name="T66" fmla="*/ 853 w 992"/>
              <a:gd name="T67" fmla="*/ 620 h 851"/>
              <a:gd name="T68" fmla="*/ 801 w 992"/>
              <a:gd name="T69" fmla="*/ 659 h 851"/>
              <a:gd name="T70" fmla="*/ 751 w 992"/>
              <a:gd name="T71" fmla="*/ 680 h 851"/>
              <a:gd name="T72" fmla="*/ 680 w 992"/>
              <a:gd name="T73" fmla="*/ 680 h 851"/>
              <a:gd name="T74" fmla="*/ 620 w 992"/>
              <a:gd name="T75" fmla="*/ 707 h 851"/>
              <a:gd name="T76" fmla="*/ 570 w 992"/>
              <a:gd name="T77" fmla="*/ 720 h 851"/>
              <a:gd name="T78" fmla="*/ 505 w 992"/>
              <a:gd name="T79" fmla="*/ 747 h 851"/>
              <a:gd name="T80" fmla="*/ 449 w 992"/>
              <a:gd name="T81" fmla="*/ 774 h 851"/>
              <a:gd name="T82" fmla="*/ 397 w 992"/>
              <a:gd name="T83" fmla="*/ 818 h 851"/>
              <a:gd name="T84" fmla="*/ 345 w 992"/>
              <a:gd name="T85" fmla="*/ 840 h 851"/>
              <a:gd name="T86" fmla="*/ 312 w 992"/>
              <a:gd name="T87" fmla="*/ 807 h 851"/>
              <a:gd name="T88" fmla="*/ 277 w 992"/>
              <a:gd name="T89" fmla="*/ 776 h 851"/>
              <a:gd name="T90" fmla="*/ 258 w 992"/>
              <a:gd name="T91" fmla="*/ 718 h 851"/>
              <a:gd name="T92" fmla="*/ 235 w 992"/>
              <a:gd name="T93" fmla="*/ 676 h 851"/>
              <a:gd name="T94" fmla="*/ 185 w 992"/>
              <a:gd name="T95" fmla="*/ 670 h 851"/>
              <a:gd name="T96" fmla="*/ 143 w 992"/>
              <a:gd name="T97" fmla="*/ 653 h 851"/>
              <a:gd name="T98" fmla="*/ 81 w 992"/>
              <a:gd name="T99" fmla="*/ 643 h 851"/>
              <a:gd name="T100" fmla="*/ 16 w 992"/>
              <a:gd name="T101" fmla="*/ 645 h 851"/>
              <a:gd name="T102" fmla="*/ 54 w 992"/>
              <a:gd name="T103" fmla="*/ 612 h 851"/>
              <a:gd name="T104" fmla="*/ 87 w 992"/>
              <a:gd name="T105" fmla="*/ 543 h 851"/>
              <a:gd name="T106" fmla="*/ 120 w 992"/>
              <a:gd name="T107" fmla="*/ 481 h 851"/>
              <a:gd name="T108" fmla="*/ 154 w 992"/>
              <a:gd name="T109" fmla="*/ 445 h 8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992" h="851">
                <a:moveTo>
                  <a:pt x="154" y="445"/>
                </a:moveTo>
                <a:lnTo>
                  <a:pt x="150" y="449"/>
                </a:lnTo>
                <a:lnTo>
                  <a:pt x="150" y="445"/>
                </a:lnTo>
                <a:lnTo>
                  <a:pt x="150" y="441"/>
                </a:lnTo>
                <a:lnTo>
                  <a:pt x="150" y="435"/>
                </a:lnTo>
                <a:lnTo>
                  <a:pt x="145" y="431"/>
                </a:lnTo>
                <a:lnTo>
                  <a:pt x="143" y="426"/>
                </a:lnTo>
                <a:lnTo>
                  <a:pt x="143" y="422"/>
                </a:lnTo>
                <a:lnTo>
                  <a:pt x="143" y="418"/>
                </a:lnTo>
                <a:lnTo>
                  <a:pt x="143" y="414"/>
                </a:lnTo>
                <a:lnTo>
                  <a:pt x="143" y="412"/>
                </a:lnTo>
                <a:lnTo>
                  <a:pt x="148" y="408"/>
                </a:lnTo>
                <a:lnTo>
                  <a:pt x="150" y="404"/>
                </a:lnTo>
                <a:lnTo>
                  <a:pt x="150" y="406"/>
                </a:lnTo>
                <a:lnTo>
                  <a:pt x="154" y="404"/>
                </a:lnTo>
                <a:lnTo>
                  <a:pt x="158" y="401"/>
                </a:lnTo>
                <a:lnTo>
                  <a:pt x="160" y="397"/>
                </a:lnTo>
                <a:lnTo>
                  <a:pt x="160" y="393"/>
                </a:lnTo>
                <a:lnTo>
                  <a:pt x="162" y="389"/>
                </a:lnTo>
                <a:lnTo>
                  <a:pt x="166" y="385"/>
                </a:lnTo>
                <a:lnTo>
                  <a:pt x="170" y="381"/>
                </a:lnTo>
                <a:lnTo>
                  <a:pt x="177" y="381"/>
                </a:lnTo>
                <a:lnTo>
                  <a:pt x="179" y="374"/>
                </a:lnTo>
                <a:lnTo>
                  <a:pt x="185" y="374"/>
                </a:lnTo>
                <a:lnTo>
                  <a:pt x="187" y="368"/>
                </a:lnTo>
                <a:lnTo>
                  <a:pt x="187" y="362"/>
                </a:lnTo>
                <a:lnTo>
                  <a:pt x="189" y="358"/>
                </a:lnTo>
                <a:lnTo>
                  <a:pt x="193" y="354"/>
                </a:lnTo>
                <a:lnTo>
                  <a:pt x="195" y="349"/>
                </a:lnTo>
                <a:lnTo>
                  <a:pt x="202" y="345"/>
                </a:lnTo>
                <a:lnTo>
                  <a:pt x="206" y="341"/>
                </a:lnTo>
                <a:lnTo>
                  <a:pt x="208" y="339"/>
                </a:lnTo>
                <a:lnTo>
                  <a:pt x="214" y="337"/>
                </a:lnTo>
                <a:lnTo>
                  <a:pt x="220" y="337"/>
                </a:lnTo>
                <a:lnTo>
                  <a:pt x="225" y="337"/>
                </a:lnTo>
                <a:lnTo>
                  <a:pt x="229" y="339"/>
                </a:lnTo>
                <a:lnTo>
                  <a:pt x="231" y="337"/>
                </a:lnTo>
                <a:lnTo>
                  <a:pt x="235" y="333"/>
                </a:lnTo>
                <a:lnTo>
                  <a:pt x="243" y="333"/>
                </a:lnTo>
                <a:lnTo>
                  <a:pt x="249" y="333"/>
                </a:lnTo>
                <a:lnTo>
                  <a:pt x="256" y="337"/>
                </a:lnTo>
                <a:lnTo>
                  <a:pt x="260" y="337"/>
                </a:lnTo>
                <a:lnTo>
                  <a:pt x="266" y="333"/>
                </a:lnTo>
                <a:lnTo>
                  <a:pt x="272" y="331"/>
                </a:lnTo>
                <a:lnTo>
                  <a:pt x="279" y="327"/>
                </a:lnTo>
                <a:lnTo>
                  <a:pt x="283" y="322"/>
                </a:lnTo>
                <a:lnTo>
                  <a:pt x="289" y="318"/>
                </a:lnTo>
                <a:lnTo>
                  <a:pt x="293" y="314"/>
                </a:lnTo>
                <a:lnTo>
                  <a:pt x="299" y="316"/>
                </a:lnTo>
                <a:lnTo>
                  <a:pt x="308" y="314"/>
                </a:lnTo>
                <a:lnTo>
                  <a:pt x="312" y="312"/>
                </a:lnTo>
                <a:lnTo>
                  <a:pt x="316" y="312"/>
                </a:lnTo>
                <a:lnTo>
                  <a:pt x="320" y="314"/>
                </a:lnTo>
                <a:lnTo>
                  <a:pt x="324" y="316"/>
                </a:lnTo>
                <a:lnTo>
                  <a:pt x="331" y="316"/>
                </a:lnTo>
                <a:lnTo>
                  <a:pt x="337" y="312"/>
                </a:lnTo>
                <a:lnTo>
                  <a:pt x="341" y="312"/>
                </a:lnTo>
                <a:lnTo>
                  <a:pt x="347" y="314"/>
                </a:lnTo>
                <a:lnTo>
                  <a:pt x="351" y="316"/>
                </a:lnTo>
                <a:lnTo>
                  <a:pt x="358" y="318"/>
                </a:lnTo>
                <a:lnTo>
                  <a:pt x="362" y="320"/>
                </a:lnTo>
                <a:lnTo>
                  <a:pt x="368" y="320"/>
                </a:lnTo>
                <a:lnTo>
                  <a:pt x="374" y="318"/>
                </a:lnTo>
                <a:lnTo>
                  <a:pt x="381" y="316"/>
                </a:lnTo>
                <a:lnTo>
                  <a:pt x="387" y="314"/>
                </a:lnTo>
                <a:lnTo>
                  <a:pt x="391" y="310"/>
                </a:lnTo>
                <a:lnTo>
                  <a:pt x="393" y="302"/>
                </a:lnTo>
                <a:lnTo>
                  <a:pt x="393" y="291"/>
                </a:lnTo>
                <a:lnTo>
                  <a:pt x="395" y="285"/>
                </a:lnTo>
                <a:lnTo>
                  <a:pt x="393" y="279"/>
                </a:lnTo>
                <a:lnTo>
                  <a:pt x="397" y="272"/>
                </a:lnTo>
                <a:lnTo>
                  <a:pt x="397" y="264"/>
                </a:lnTo>
                <a:lnTo>
                  <a:pt x="393" y="256"/>
                </a:lnTo>
                <a:lnTo>
                  <a:pt x="399" y="247"/>
                </a:lnTo>
                <a:lnTo>
                  <a:pt x="403" y="243"/>
                </a:lnTo>
                <a:lnTo>
                  <a:pt x="412" y="237"/>
                </a:lnTo>
                <a:lnTo>
                  <a:pt x="418" y="233"/>
                </a:lnTo>
                <a:lnTo>
                  <a:pt x="420" y="227"/>
                </a:lnTo>
                <a:lnTo>
                  <a:pt x="414" y="222"/>
                </a:lnTo>
                <a:lnTo>
                  <a:pt x="416" y="214"/>
                </a:lnTo>
                <a:lnTo>
                  <a:pt x="422" y="212"/>
                </a:lnTo>
                <a:lnTo>
                  <a:pt x="424" y="206"/>
                </a:lnTo>
                <a:lnTo>
                  <a:pt x="426" y="198"/>
                </a:lnTo>
                <a:lnTo>
                  <a:pt x="422" y="187"/>
                </a:lnTo>
                <a:lnTo>
                  <a:pt x="418" y="179"/>
                </a:lnTo>
                <a:lnTo>
                  <a:pt x="418" y="164"/>
                </a:lnTo>
                <a:lnTo>
                  <a:pt x="416" y="156"/>
                </a:lnTo>
                <a:lnTo>
                  <a:pt x="416" y="143"/>
                </a:lnTo>
                <a:lnTo>
                  <a:pt x="418" y="133"/>
                </a:lnTo>
                <a:lnTo>
                  <a:pt x="422" y="125"/>
                </a:lnTo>
                <a:lnTo>
                  <a:pt x="426" y="114"/>
                </a:lnTo>
                <a:lnTo>
                  <a:pt x="426" y="102"/>
                </a:lnTo>
                <a:lnTo>
                  <a:pt x="428" y="93"/>
                </a:lnTo>
                <a:lnTo>
                  <a:pt x="433" y="87"/>
                </a:lnTo>
                <a:lnTo>
                  <a:pt x="439" y="81"/>
                </a:lnTo>
                <a:lnTo>
                  <a:pt x="451" y="79"/>
                </a:lnTo>
                <a:lnTo>
                  <a:pt x="462" y="77"/>
                </a:lnTo>
                <a:lnTo>
                  <a:pt x="466" y="73"/>
                </a:lnTo>
                <a:lnTo>
                  <a:pt x="468" y="62"/>
                </a:lnTo>
                <a:lnTo>
                  <a:pt x="476" y="52"/>
                </a:lnTo>
                <a:lnTo>
                  <a:pt x="480" y="48"/>
                </a:lnTo>
                <a:lnTo>
                  <a:pt x="489" y="46"/>
                </a:lnTo>
                <a:lnTo>
                  <a:pt x="493" y="44"/>
                </a:lnTo>
                <a:lnTo>
                  <a:pt x="503" y="44"/>
                </a:lnTo>
                <a:lnTo>
                  <a:pt x="510" y="52"/>
                </a:lnTo>
                <a:lnTo>
                  <a:pt x="514" y="60"/>
                </a:lnTo>
                <a:lnTo>
                  <a:pt x="526" y="62"/>
                </a:lnTo>
                <a:lnTo>
                  <a:pt x="537" y="58"/>
                </a:lnTo>
                <a:lnTo>
                  <a:pt x="543" y="54"/>
                </a:lnTo>
                <a:lnTo>
                  <a:pt x="549" y="50"/>
                </a:lnTo>
                <a:lnTo>
                  <a:pt x="564" y="44"/>
                </a:lnTo>
                <a:lnTo>
                  <a:pt x="574" y="41"/>
                </a:lnTo>
                <a:lnTo>
                  <a:pt x="582" y="33"/>
                </a:lnTo>
                <a:lnTo>
                  <a:pt x="593" y="29"/>
                </a:lnTo>
                <a:lnTo>
                  <a:pt x="603" y="27"/>
                </a:lnTo>
                <a:lnTo>
                  <a:pt x="612" y="16"/>
                </a:lnTo>
                <a:lnTo>
                  <a:pt x="622" y="12"/>
                </a:lnTo>
                <a:lnTo>
                  <a:pt x="634" y="8"/>
                </a:lnTo>
                <a:lnTo>
                  <a:pt x="647" y="4"/>
                </a:lnTo>
                <a:lnTo>
                  <a:pt x="653" y="2"/>
                </a:lnTo>
                <a:lnTo>
                  <a:pt x="662" y="2"/>
                </a:lnTo>
                <a:lnTo>
                  <a:pt x="670" y="2"/>
                </a:lnTo>
                <a:lnTo>
                  <a:pt x="674" y="0"/>
                </a:lnTo>
                <a:lnTo>
                  <a:pt x="682" y="4"/>
                </a:lnTo>
                <a:lnTo>
                  <a:pt x="687" y="10"/>
                </a:lnTo>
                <a:lnTo>
                  <a:pt x="680" y="12"/>
                </a:lnTo>
                <a:lnTo>
                  <a:pt x="682" y="19"/>
                </a:lnTo>
                <a:lnTo>
                  <a:pt x="684" y="27"/>
                </a:lnTo>
                <a:lnTo>
                  <a:pt x="689" y="33"/>
                </a:lnTo>
                <a:lnTo>
                  <a:pt x="697" y="33"/>
                </a:lnTo>
                <a:lnTo>
                  <a:pt x="705" y="29"/>
                </a:lnTo>
                <a:lnTo>
                  <a:pt x="714" y="31"/>
                </a:lnTo>
                <a:lnTo>
                  <a:pt x="724" y="33"/>
                </a:lnTo>
                <a:lnTo>
                  <a:pt x="732" y="37"/>
                </a:lnTo>
                <a:lnTo>
                  <a:pt x="739" y="35"/>
                </a:lnTo>
                <a:lnTo>
                  <a:pt x="739" y="41"/>
                </a:lnTo>
                <a:lnTo>
                  <a:pt x="747" y="44"/>
                </a:lnTo>
                <a:lnTo>
                  <a:pt x="753" y="44"/>
                </a:lnTo>
                <a:lnTo>
                  <a:pt x="759" y="52"/>
                </a:lnTo>
                <a:lnTo>
                  <a:pt x="768" y="58"/>
                </a:lnTo>
                <a:lnTo>
                  <a:pt x="772" y="66"/>
                </a:lnTo>
                <a:lnTo>
                  <a:pt x="778" y="69"/>
                </a:lnTo>
                <a:lnTo>
                  <a:pt x="784" y="77"/>
                </a:lnTo>
                <a:lnTo>
                  <a:pt x="793" y="79"/>
                </a:lnTo>
                <a:lnTo>
                  <a:pt x="801" y="81"/>
                </a:lnTo>
                <a:lnTo>
                  <a:pt x="809" y="79"/>
                </a:lnTo>
                <a:lnTo>
                  <a:pt x="818" y="77"/>
                </a:lnTo>
                <a:lnTo>
                  <a:pt x="824" y="75"/>
                </a:lnTo>
                <a:lnTo>
                  <a:pt x="830" y="79"/>
                </a:lnTo>
                <a:lnTo>
                  <a:pt x="836" y="85"/>
                </a:lnTo>
                <a:lnTo>
                  <a:pt x="843" y="87"/>
                </a:lnTo>
                <a:lnTo>
                  <a:pt x="849" y="96"/>
                </a:lnTo>
                <a:lnTo>
                  <a:pt x="853" y="106"/>
                </a:lnTo>
                <a:lnTo>
                  <a:pt x="857" y="114"/>
                </a:lnTo>
                <a:lnTo>
                  <a:pt x="865" y="121"/>
                </a:lnTo>
                <a:lnTo>
                  <a:pt x="874" y="123"/>
                </a:lnTo>
                <a:lnTo>
                  <a:pt x="886" y="118"/>
                </a:lnTo>
                <a:lnTo>
                  <a:pt x="899" y="118"/>
                </a:lnTo>
                <a:lnTo>
                  <a:pt x="905" y="123"/>
                </a:lnTo>
                <a:lnTo>
                  <a:pt x="913" y="131"/>
                </a:lnTo>
                <a:lnTo>
                  <a:pt x="928" y="131"/>
                </a:lnTo>
                <a:lnTo>
                  <a:pt x="936" y="127"/>
                </a:lnTo>
                <a:lnTo>
                  <a:pt x="942" y="127"/>
                </a:lnTo>
                <a:lnTo>
                  <a:pt x="951" y="131"/>
                </a:lnTo>
                <a:lnTo>
                  <a:pt x="955" y="135"/>
                </a:lnTo>
                <a:lnTo>
                  <a:pt x="961" y="143"/>
                </a:lnTo>
                <a:lnTo>
                  <a:pt x="967" y="152"/>
                </a:lnTo>
                <a:lnTo>
                  <a:pt x="965" y="162"/>
                </a:lnTo>
                <a:lnTo>
                  <a:pt x="965" y="170"/>
                </a:lnTo>
                <a:lnTo>
                  <a:pt x="965" y="179"/>
                </a:lnTo>
                <a:lnTo>
                  <a:pt x="963" y="189"/>
                </a:lnTo>
                <a:lnTo>
                  <a:pt x="959" y="202"/>
                </a:lnTo>
                <a:lnTo>
                  <a:pt x="959" y="208"/>
                </a:lnTo>
                <a:lnTo>
                  <a:pt x="959" y="218"/>
                </a:lnTo>
                <a:lnTo>
                  <a:pt x="959" y="229"/>
                </a:lnTo>
                <a:lnTo>
                  <a:pt x="953" y="237"/>
                </a:lnTo>
                <a:lnTo>
                  <a:pt x="942" y="239"/>
                </a:lnTo>
                <a:lnTo>
                  <a:pt x="938" y="245"/>
                </a:lnTo>
                <a:lnTo>
                  <a:pt x="942" y="258"/>
                </a:lnTo>
                <a:lnTo>
                  <a:pt x="945" y="268"/>
                </a:lnTo>
                <a:lnTo>
                  <a:pt x="949" y="277"/>
                </a:lnTo>
                <a:lnTo>
                  <a:pt x="945" y="283"/>
                </a:lnTo>
                <a:lnTo>
                  <a:pt x="940" y="289"/>
                </a:lnTo>
                <a:lnTo>
                  <a:pt x="934" y="293"/>
                </a:lnTo>
                <a:lnTo>
                  <a:pt x="928" y="293"/>
                </a:lnTo>
                <a:lnTo>
                  <a:pt x="938" y="304"/>
                </a:lnTo>
                <a:lnTo>
                  <a:pt x="940" y="306"/>
                </a:lnTo>
                <a:lnTo>
                  <a:pt x="953" y="308"/>
                </a:lnTo>
                <a:lnTo>
                  <a:pt x="959" y="310"/>
                </a:lnTo>
                <a:lnTo>
                  <a:pt x="963" y="318"/>
                </a:lnTo>
                <a:lnTo>
                  <a:pt x="976" y="322"/>
                </a:lnTo>
                <a:lnTo>
                  <a:pt x="980" y="324"/>
                </a:lnTo>
                <a:lnTo>
                  <a:pt x="992" y="335"/>
                </a:lnTo>
                <a:lnTo>
                  <a:pt x="988" y="339"/>
                </a:lnTo>
                <a:lnTo>
                  <a:pt x="988" y="341"/>
                </a:lnTo>
                <a:lnTo>
                  <a:pt x="990" y="345"/>
                </a:lnTo>
                <a:lnTo>
                  <a:pt x="988" y="354"/>
                </a:lnTo>
                <a:lnTo>
                  <a:pt x="988" y="362"/>
                </a:lnTo>
                <a:lnTo>
                  <a:pt x="986" y="368"/>
                </a:lnTo>
                <a:lnTo>
                  <a:pt x="982" y="376"/>
                </a:lnTo>
                <a:lnTo>
                  <a:pt x="980" y="385"/>
                </a:lnTo>
                <a:lnTo>
                  <a:pt x="978" y="391"/>
                </a:lnTo>
                <a:lnTo>
                  <a:pt x="978" y="397"/>
                </a:lnTo>
                <a:lnTo>
                  <a:pt x="976" y="404"/>
                </a:lnTo>
                <a:lnTo>
                  <a:pt x="974" y="410"/>
                </a:lnTo>
                <a:lnTo>
                  <a:pt x="970" y="416"/>
                </a:lnTo>
                <a:lnTo>
                  <a:pt x="965" y="424"/>
                </a:lnTo>
                <a:lnTo>
                  <a:pt x="959" y="431"/>
                </a:lnTo>
                <a:lnTo>
                  <a:pt x="953" y="435"/>
                </a:lnTo>
                <a:lnTo>
                  <a:pt x="947" y="441"/>
                </a:lnTo>
                <a:lnTo>
                  <a:pt x="947" y="445"/>
                </a:lnTo>
                <a:lnTo>
                  <a:pt x="945" y="453"/>
                </a:lnTo>
                <a:lnTo>
                  <a:pt x="940" y="460"/>
                </a:lnTo>
                <a:lnTo>
                  <a:pt x="940" y="468"/>
                </a:lnTo>
                <a:lnTo>
                  <a:pt x="940" y="474"/>
                </a:lnTo>
                <a:lnTo>
                  <a:pt x="936" y="483"/>
                </a:lnTo>
                <a:lnTo>
                  <a:pt x="930" y="487"/>
                </a:lnTo>
                <a:lnTo>
                  <a:pt x="928" y="495"/>
                </a:lnTo>
                <a:lnTo>
                  <a:pt x="924" y="499"/>
                </a:lnTo>
                <a:lnTo>
                  <a:pt x="918" y="508"/>
                </a:lnTo>
                <a:lnTo>
                  <a:pt x="913" y="512"/>
                </a:lnTo>
                <a:lnTo>
                  <a:pt x="907" y="518"/>
                </a:lnTo>
                <a:lnTo>
                  <a:pt x="901" y="518"/>
                </a:lnTo>
                <a:lnTo>
                  <a:pt x="899" y="524"/>
                </a:lnTo>
                <a:lnTo>
                  <a:pt x="895" y="528"/>
                </a:lnTo>
                <a:lnTo>
                  <a:pt x="893" y="537"/>
                </a:lnTo>
                <a:lnTo>
                  <a:pt x="890" y="545"/>
                </a:lnTo>
                <a:lnTo>
                  <a:pt x="884" y="549"/>
                </a:lnTo>
                <a:lnTo>
                  <a:pt x="878" y="553"/>
                </a:lnTo>
                <a:lnTo>
                  <a:pt x="874" y="557"/>
                </a:lnTo>
                <a:lnTo>
                  <a:pt x="874" y="566"/>
                </a:lnTo>
                <a:lnTo>
                  <a:pt x="870" y="574"/>
                </a:lnTo>
                <a:lnTo>
                  <a:pt x="874" y="587"/>
                </a:lnTo>
                <a:lnTo>
                  <a:pt x="878" y="595"/>
                </a:lnTo>
                <a:lnTo>
                  <a:pt x="880" y="603"/>
                </a:lnTo>
                <a:lnTo>
                  <a:pt x="868" y="610"/>
                </a:lnTo>
                <a:lnTo>
                  <a:pt x="859" y="614"/>
                </a:lnTo>
                <a:lnTo>
                  <a:pt x="853" y="620"/>
                </a:lnTo>
                <a:lnTo>
                  <a:pt x="849" y="626"/>
                </a:lnTo>
                <a:lnTo>
                  <a:pt x="836" y="626"/>
                </a:lnTo>
                <a:lnTo>
                  <a:pt x="828" y="632"/>
                </a:lnTo>
                <a:lnTo>
                  <a:pt x="822" y="641"/>
                </a:lnTo>
                <a:lnTo>
                  <a:pt x="816" y="649"/>
                </a:lnTo>
                <a:lnTo>
                  <a:pt x="809" y="653"/>
                </a:lnTo>
                <a:lnTo>
                  <a:pt x="801" y="659"/>
                </a:lnTo>
                <a:lnTo>
                  <a:pt x="799" y="668"/>
                </a:lnTo>
                <a:lnTo>
                  <a:pt x="801" y="680"/>
                </a:lnTo>
                <a:lnTo>
                  <a:pt x="791" y="682"/>
                </a:lnTo>
                <a:lnTo>
                  <a:pt x="780" y="678"/>
                </a:lnTo>
                <a:lnTo>
                  <a:pt x="772" y="674"/>
                </a:lnTo>
                <a:lnTo>
                  <a:pt x="761" y="676"/>
                </a:lnTo>
                <a:lnTo>
                  <a:pt x="751" y="680"/>
                </a:lnTo>
                <a:lnTo>
                  <a:pt x="739" y="678"/>
                </a:lnTo>
                <a:lnTo>
                  <a:pt x="730" y="678"/>
                </a:lnTo>
                <a:lnTo>
                  <a:pt x="726" y="672"/>
                </a:lnTo>
                <a:lnTo>
                  <a:pt x="722" y="672"/>
                </a:lnTo>
                <a:lnTo>
                  <a:pt x="716" y="678"/>
                </a:lnTo>
                <a:lnTo>
                  <a:pt x="703" y="678"/>
                </a:lnTo>
                <a:lnTo>
                  <a:pt x="680" y="680"/>
                </a:lnTo>
                <a:lnTo>
                  <a:pt x="664" y="680"/>
                </a:lnTo>
                <a:lnTo>
                  <a:pt x="653" y="680"/>
                </a:lnTo>
                <a:lnTo>
                  <a:pt x="639" y="684"/>
                </a:lnTo>
                <a:lnTo>
                  <a:pt x="628" y="687"/>
                </a:lnTo>
                <a:lnTo>
                  <a:pt x="620" y="691"/>
                </a:lnTo>
                <a:lnTo>
                  <a:pt x="620" y="699"/>
                </a:lnTo>
                <a:lnTo>
                  <a:pt x="620" y="707"/>
                </a:lnTo>
                <a:lnTo>
                  <a:pt x="612" y="709"/>
                </a:lnTo>
                <a:lnTo>
                  <a:pt x="603" y="711"/>
                </a:lnTo>
                <a:lnTo>
                  <a:pt x="591" y="714"/>
                </a:lnTo>
                <a:lnTo>
                  <a:pt x="591" y="699"/>
                </a:lnTo>
                <a:lnTo>
                  <a:pt x="591" y="711"/>
                </a:lnTo>
                <a:lnTo>
                  <a:pt x="580" y="714"/>
                </a:lnTo>
                <a:lnTo>
                  <a:pt x="570" y="720"/>
                </a:lnTo>
                <a:lnTo>
                  <a:pt x="562" y="724"/>
                </a:lnTo>
                <a:lnTo>
                  <a:pt x="553" y="730"/>
                </a:lnTo>
                <a:lnTo>
                  <a:pt x="547" y="736"/>
                </a:lnTo>
                <a:lnTo>
                  <a:pt x="539" y="739"/>
                </a:lnTo>
                <a:lnTo>
                  <a:pt x="526" y="741"/>
                </a:lnTo>
                <a:lnTo>
                  <a:pt x="516" y="743"/>
                </a:lnTo>
                <a:lnTo>
                  <a:pt x="505" y="747"/>
                </a:lnTo>
                <a:lnTo>
                  <a:pt x="497" y="751"/>
                </a:lnTo>
                <a:lnTo>
                  <a:pt x="489" y="753"/>
                </a:lnTo>
                <a:lnTo>
                  <a:pt x="476" y="753"/>
                </a:lnTo>
                <a:lnTo>
                  <a:pt x="470" y="759"/>
                </a:lnTo>
                <a:lnTo>
                  <a:pt x="464" y="766"/>
                </a:lnTo>
                <a:lnTo>
                  <a:pt x="453" y="770"/>
                </a:lnTo>
                <a:lnTo>
                  <a:pt x="449" y="774"/>
                </a:lnTo>
                <a:lnTo>
                  <a:pt x="443" y="780"/>
                </a:lnTo>
                <a:lnTo>
                  <a:pt x="437" y="786"/>
                </a:lnTo>
                <a:lnTo>
                  <a:pt x="428" y="793"/>
                </a:lnTo>
                <a:lnTo>
                  <a:pt x="422" y="799"/>
                </a:lnTo>
                <a:lnTo>
                  <a:pt x="412" y="805"/>
                </a:lnTo>
                <a:lnTo>
                  <a:pt x="403" y="809"/>
                </a:lnTo>
                <a:lnTo>
                  <a:pt x="397" y="818"/>
                </a:lnTo>
                <a:lnTo>
                  <a:pt x="389" y="822"/>
                </a:lnTo>
                <a:lnTo>
                  <a:pt x="379" y="824"/>
                </a:lnTo>
                <a:lnTo>
                  <a:pt x="374" y="834"/>
                </a:lnTo>
                <a:lnTo>
                  <a:pt x="368" y="843"/>
                </a:lnTo>
                <a:lnTo>
                  <a:pt x="360" y="851"/>
                </a:lnTo>
                <a:lnTo>
                  <a:pt x="356" y="843"/>
                </a:lnTo>
                <a:lnTo>
                  <a:pt x="345" y="840"/>
                </a:lnTo>
                <a:lnTo>
                  <a:pt x="339" y="843"/>
                </a:lnTo>
                <a:lnTo>
                  <a:pt x="331" y="843"/>
                </a:lnTo>
                <a:lnTo>
                  <a:pt x="326" y="834"/>
                </a:lnTo>
                <a:lnTo>
                  <a:pt x="326" y="822"/>
                </a:lnTo>
                <a:lnTo>
                  <a:pt x="326" y="811"/>
                </a:lnTo>
                <a:lnTo>
                  <a:pt x="320" y="809"/>
                </a:lnTo>
                <a:lnTo>
                  <a:pt x="312" y="807"/>
                </a:lnTo>
                <a:lnTo>
                  <a:pt x="302" y="801"/>
                </a:lnTo>
                <a:lnTo>
                  <a:pt x="293" y="805"/>
                </a:lnTo>
                <a:lnTo>
                  <a:pt x="285" y="807"/>
                </a:lnTo>
                <a:lnTo>
                  <a:pt x="279" y="801"/>
                </a:lnTo>
                <a:lnTo>
                  <a:pt x="274" y="795"/>
                </a:lnTo>
                <a:lnTo>
                  <a:pt x="277" y="786"/>
                </a:lnTo>
                <a:lnTo>
                  <a:pt x="277" y="776"/>
                </a:lnTo>
                <a:lnTo>
                  <a:pt x="272" y="770"/>
                </a:lnTo>
                <a:lnTo>
                  <a:pt x="270" y="759"/>
                </a:lnTo>
                <a:lnTo>
                  <a:pt x="264" y="751"/>
                </a:lnTo>
                <a:lnTo>
                  <a:pt x="258" y="745"/>
                </a:lnTo>
                <a:lnTo>
                  <a:pt x="258" y="736"/>
                </a:lnTo>
                <a:lnTo>
                  <a:pt x="260" y="728"/>
                </a:lnTo>
                <a:lnTo>
                  <a:pt x="258" y="718"/>
                </a:lnTo>
                <a:lnTo>
                  <a:pt x="254" y="709"/>
                </a:lnTo>
                <a:lnTo>
                  <a:pt x="252" y="701"/>
                </a:lnTo>
                <a:lnTo>
                  <a:pt x="252" y="693"/>
                </a:lnTo>
                <a:lnTo>
                  <a:pt x="247" y="687"/>
                </a:lnTo>
                <a:lnTo>
                  <a:pt x="237" y="687"/>
                </a:lnTo>
                <a:lnTo>
                  <a:pt x="235" y="682"/>
                </a:lnTo>
                <a:lnTo>
                  <a:pt x="235" y="676"/>
                </a:lnTo>
                <a:lnTo>
                  <a:pt x="233" y="672"/>
                </a:lnTo>
                <a:lnTo>
                  <a:pt x="229" y="670"/>
                </a:lnTo>
                <a:lnTo>
                  <a:pt x="225" y="672"/>
                </a:lnTo>
                <a:lnTo>
                  <a:pt x="218" y="670"/>
                </a:lnTo>
                <a:lnTo>
                  <a:pt x="208" y="668"/>
                </a:lnTo>
                <a:lnTo>
                  <a:pt x="195" y="668"/>
                </a:lnTo>
                <a:lnTo>
                  <a:pt x="185" y="670"/>
                </a:lnTo>
                <a:lnTo>
                  <a:pt x="179" y="678"/>
                </a:lnTo>
                <a:lnTo>
                  <a:pt x="172" y="672"/>
                </a:lnTo>
                <a:lnTo>
                  <a:pt x="164" y="668"/>
                </a:lnTo>
                <a:lnTo>
                  <a:pt x="160" y="670"/>
                </a:lnTo>
                <a:lnTo>
                  <a:pt x="154" y="666"/>
                </a:lnTo>
                <a:lnTo>
                  <a:pt x="145" y="659"/>
                </a:lnTo>
                <a:lnTo>
                  <a:pt x="143" y="653"/>
                </a:lnTo>
                <a:lnTo>
                  <a:pt x="139" y="651"/>
                </a:lnTo>
                <a:lnTo>
                  <a:pt x="131" y="655"/>
                </a:lnTo>
                <a:lnTo>
                  <a:pt x="125" y="651"/>
                </a:lnTo>
                <a:lnTo>
                  <a:pt x="116" y="651"/>
                </a:lnTo>
                <a:lnTo>
                  <a:pt x="104" y="647"/>
                </a:lnTo>
                <a:lnTo>
                  <a:pt x="93" y="647"/>
                </a:lnTo>
                <a:lnTo>
                  <a:pt x="81" y="643"/>
                </a:lnTo>
                <a:lnTo>
                  <a:pt x="71" y="643"/>
                </a:lnTo>
                <a:lnTo>
                  <a:pt x="62" y="647"/>
                </a:lnTo>
                <a:lnTo>
                  <a:pt x="50" y="645"/>
                </a:lnTo>
                <a:lnTo>
                  <a:pt x="46" y="645"/>
                </a:lnTo>
                <a:lnTo>
                  <a:pt x="37" y="649"/>
                </a:lnTo>
                <a:lnTo>
                  <a:pt x="29" y="647"/>
                </a:lnTo>
                <a:lnTo>
                  <a:pt x="16" y="645"/>
                </a:lnTo>
                <a:lnTo>
                  <a:pt x="0" y="647"/>
                </a:lnTo>
                <a:lnTo>
                  <a:pt x="6" y="641"/>
                </a:lnTo>
                <a:lnTo>
                  <a:pt x="14" y="632"/>
                </a:lnTo>
                <a:lnTo>
                  <a:pt x="23" y="628"/>
                </a:lnTo>
                <a:lnTo>
                  <a:pt x="35" y="626"/>
                </a:lnTo>
                <a:lnTo>
                  <a:pt x="46" y="620"/>
                </a:lnTo>
                <a:lnTo>
                  <a:pt x="54" y="612"/>
                </a:lnTo>
                <a:lnTo>
                  <a:pt x="60" y="601"/>
                </a:lnTo>
                <a:lnTo>
                  <a:pt x="66" y="591"/>
                </a:lnTo>
                <a:lnTo>
                  <a:pt x="71" y="580"/>
                </a:lnTo>
                <a:lnTo>
                  <a:pt x="75" y="570"/>
                </a:lnTo>
                <a:lnTo>
                  <a:pt x="83" y="562"/>
                </a:lnTo>
                <a:lnTo>
                  <a:pt x="87" y="553"/>
                </a:lnTo>
                <a:lnTo>
                  <a:pt x="87" y="543"/>
                </a:lnTo>
                <a:lnTo>
                  <a:pt x="93" y="535"/>
                </a:lnTo>
                <a:lnTo>
                  <a:pt x="100" y="524"/>
                </a:lnTo>
                <a:lnTo>
                  <a:pt x="104" y="514"/>
                </a:lnTo>
                <a:lnTo>
                  <a:pt x="106" y="505"/>
                </a:lnTo>
                <a:lnTo>
                  <a:pt x="110" y="495"/>
                </a:lnTo>
                <a:lnTo>
                  <a:pt x="114" y="489"/>
                </a:lnTo>
                <a:lnTo>
                  <a:pt x="120" y="481"/>
                </a:lnTo>
                <a:lnTo>
                  <a:pt x="127" y="474"/>
                </a:lnTo>
                <a:lnTo>
                  <a:pt x="131" y="472"/>
                </a:lnTo>
                <a:lnTo>
                  <a:pt x="137" y="470"/>
                </a:lnTo>
                <a:lnTo>
                  <a:pt x="141" y="464"/>
                </a:lnTo>
                <a:lnTo>
                  <a:pt x="143" y="458"/>
                </a:lnTo>
                <a:lnTo>
                  <a:pt x="148" y="451"/>
                </a:lnTo>
                <a:lnTo>
                  <a:pt x="154" y="445"/>
                </a:lnTo>
                <a:close/>
              </a:path>
            </a:pathLst>
          </a:custGeom>
          <a:solidFill>
            <a:srgbClr val="D6D6CE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pt-BR"/>
          </a:p>
        </p:txBody>
      </p:sp>
      <p:sp>
        <p:nvSpPr>
          <p:cNvPr id="26" name="Freeform 21"/>
          <p:cNvSpPr>
            <a:spLocks noEditPoints="1"/>
          </p:cNvSpPr>
          <p:nvPr/>
        </p:nvSpPr>
        <p:spPr bwMode="auto">
          <a:xfrm>
            <a:off x="6894612" y="1267856"/>
            <a:ext cx="1868242" cy="2419161"/>
          </a:xfrm>
          <a:custGeom>
            <a:avLst/>
            <a:gdLst>
              <a:gd name="T0" fmla="*/ 181 w 1045"/>
              <a:gd name="T1" fmla="*/ 724 h 1355"/>
              <a:gd name="T2" fmla="*/ 139 w 1045"/>
              <a:gd name="T3" fmla="*/ 654 h 1355"/>
              <a:gd name="T4" fmla="*/ 108 w 1045"/>
              <a:gd name="T5" fmla="*/ 581 h 1355"/>
              <a:gd name="T6" fmla="*/ 108 w 1045"/>
              <a:gd name="T7" fmla="*/ 533 h 1355"/>
              <a:gd name="T8" fmla="*/ 77 w 1045"/>
              <a:gd name="T9" fmla="*/ 485 h 1355"/>
              <a:gd name="T10" fmla="*/ 83 w 1045"/>
              <a:gd name="T11" fmla="*/ 423 h 1355"/>
              <a:gd name="T12" fmla="*/ 85 w 1045"/>
              <a:gd name="T13" fmla="*/ 350 h 1355"/>
              <a:gd name="T14" fmla="*/ 12 w 1045"/>
              <a:gd name="T15" fmla="*/ 312 h 1355"/>
              <a:gd name="T16" fmla="*/ 48 w 1045"/>
              <a:gd name="T17" fmla="*/ 260 h 1355"/>
              <a:gd name="T18" fmla="*/ 104 w 1045"/>
              <a:gd name="T19" fmla="*/ 204 h 1355"/>
              <a:gd name="T20" fmla="*/ 148 w 1045"/>
              <a:gd name="T21" fmla="*/ 121 h 1355"/>
              <a:gd name="T22" fmla="*/ 181 w 1045"/>
              <a:gd name="T23" fmla="*/ 58 h 1355"/>
              <a:gd name="T24" fmla="*/ 229 w 1045"/>
              <a:gd name="T25" fmla="*/ 4 h 1355"/>
              <a:gd name="T26" fmla="*/ 291 w 1045"/>
              <a:gd name="T27" fmla="*/ 36 h 1355"/>
              <a:gd name="T28" fmla="*/ 318 w 1045"/>
              <a:gd name="T29" fmla="*/ 86 h 1355"/>
              <a:gd name="T30" fmla="*/ 327 w 1045"/>
              <a:gd name="T31" fmla="*/ 133 h 1355"/>
              <a:gd name="T32" fmla="*/ 377 w 1045"/>
              <a:gd name="T33" fmla="*/ 102 h 1355"/>
              <a:gd name="T34" fmla="*/ 454 w 1045"/>
              <a:gd name="T35" fmla="*/ 129 h 1355"/>
              <a:gd name="T36" fmla="*/ 537 w 1045"/>
              <a:gd name="T37" fmla="*/ 152 h 1355"/>
              <a:gd name="T38" fmla="*/ 610 w 1045"/>
              <a:gd name="T39" fmla="*/ 156 h 1355"/>
              <a:gd name="T40" fmla="*/ 687 w 1045"/>
              <a:gd name="T41" fmla="*/ 171 h 1355"/>
              <a:gd name="T42" fmla="*/ 770 w 1045"/>
              <a:gd name="T43" fmla="*/ 233 h 1355"/>
              <a:gd name="T44" fmla="*/ 834 w 1045"/>
              <a:gd name="T45" fmla="*/ 289 h 1355"/>
              <a:gd name="T46" fmla="*/ 876 w 1045"/>
              <a:gd name="T47" fmla="*/ 329 h 1355"/>
              <a:gd name="T48" fmla="*/ 947 w 1045"/>
              <a:gd name="T49" fmla="*/ 337 h 1355"/>
              <a:gd name="T50" fmla="*/ 1003 w 1045"/>
              <a:gd name="T51" fmla="*/ 360 h 1355"/>
              <a:gd name="T52" fmla="*/ 1022 w 1045"/>
              <a:gd name="T53" fmla="*/ 433 h 1355"/>
              <a:gd name="T54" fmla="*/ 1036 w 1045"/>
              <a:gd name="T55" fmla="*/ 493 h 1355"/>
              <a:gd name="T56" fmla="*/ 1040 w 1045"/>
              <a:gd name="T57" fmla="*/ 543 h 1355"/>
              <a:gd name="T58" fmla="*/ 1005 w 1045"/>
              <a:gd name="T59" fmla="*/ 635 h 1355"/>
              <a:gd name="T60" fmla="*/ 951 w 1045"/>
              <a:gd name="T61" fmla="*/ 704 h 1355"/>
              <a:gd name="T62" fmla="*/ 895 w 1045"/>
              <a:gd name="T63" fmla="*/ 760 h 1355"/>
              <a:gd name="T64" fmla="*/ 847 w 1045"/>
              <a:gd name="T65" fmla="*/ 808 h 1355"/>
              <a:gd name="T66" fmla="*/ 795 w 1045"/>
              <a:gd name="T67" fmla="*/ 889 h 1355"/>
              <a:gd name="T68" fmla="*/ 735 w 1045"/>
              <a:gd name="T69" fmla="*/ 932 h 1355"/>
              <a:gd name="T70" fmla="*/ 726 w 1045"/>
              <a:gd name="T71" fmla="*/ 922 h 1355"/>
              <a:gd name="T72" fmla="*/ 707 w 1045"/>
              <a:gd name="T73" fmla="*/ 989 h 1355"/>
              <a:gd name="T74" fmla="*/ 701 w 1045"/>
              <a:gd name="T75" fmla="*/ 1061 h 1355"/>
              <a:gd name="T76" fmla="*/ 710 w 1045"/>
              <a:gd name="T77" fmla="*/ 1157 h 1355"/>
              <a:gd name="T78" fmla="*/ 680 w 1045"/>
              <a:gd name="T79" fmla="*/ 1249 h 1355"/>
              <a:gd name="T80" fmla="*/ 668 w 1045"/>
              <a:gd name="T81" fmla="*/ 1319 h 1355"/>
              <a:gd name="T82" fmla="*/ 616 w 1045"/>
              <a:gd name="T83" fmla="*/ 1328 h 1355"/>
              <a:gd name="T84" fmla="*/ 608 w 1045"/>
              <a:gd name="T85" fmla="*/ 1288 h 1355"/>
              <a:gd name="T86" fmla="*/ 622 w 1045"/>
              <a:gd name="T87" fmla="*/ 1222 h 1355"/>
              <a:gd name="T88" fmla="*/ 614 w 1045"/>
              <a:gd name="T89" fmla="*/ 1151 h 1355"/>
              <a:gd name="T90" fmla="*/ 537 w 1045"/>
              <a:gd name="T91" fmla="*/ 1143 h 1355"/>
              <a:gd name="T92" fmla="*/ 487 w 1045"/>
              <a:gd name="T93" fmla="*/ 1095 h 1355"/>
              <a:gd name="T94" fmla="*/ 431 w 1045"/>
              <a:gd name="T95" fmla="*/ 1078 h 1355"/>
              <a:gd name="T96" fmla="*/ 377 w 1045"/>
              <a:gd name="T97" fmla="*/ 1051 h 1355"/>
              <a:gd name="T98" fmla="*/ 345 w 1045"/>
              <a:gd name="T99" fmla="*/ 1024 h 1355"/>
              <a:gd name="T100" fmla="*/ 275 w 1045"/>
              <a:gd name="T101" fmla="*/ 1036 h 1355"/>
              <a:gd name="T102" fmla="*/ 200 w 1045"/>
              <a:gd name="T103" fmla="*/ 1078 h 1355"/>
              <a:gd name="T104" fmla="*/ 181 w 1045"/>
              <a:gd name="T105" fmla="*/ 1028 h 1355"/>
              <a:gd name="T106" fmla="*/ 175 w 1045"/>
              <a:gd name="T107" fmla="*/ 962 h 1355"/>
              <a:gd name="T108" fmla="*/ 166 w 1045"/>
              <a:gd name="T109" fmla="*/ 907 h 1355"/>
              <a:gd name="T110" fmla="*/ 164 w 1045"/>
              <a:gd name="T111" fmla="*/ 833 h 1355"/>
              <a:gd name="T112" fmla="*/ 152 w 1045"/>
              <a:gd name="T113" fmla="*/ 781 h 1355"/>
              <a:gd name="T114" fmla="*/ 179 w 1045"/>
              <a:gd name="T115" fmla="*/ 743 h 1355"/>
              <a:gd name="T116" fmla="*/ 212 w 1045"/>
              <a:gd name="T117" fmla="*/ 726 h 13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045" h="1355">
                <a:moveTo>
                  <a:pt x="208" y="726"/>
                </a:moveTo>
                <a:lnTo>
                  <a:pt x="208" y="726"/>
                </a:lnTo>
                <a:lnTo>
                  <a:pt x="208" y="726"/>
                </a:lnTo>
                <a:lnTo>
                  <a:pt x="204" y="722"/>
                </a:lnTo>
                <a:lnTo>
                  <a:pt x="204" y="722"/>
                </a:lnTo>
                <a:lnTo>
                  <a:pt x="198" y="726"/>
                </a:lnTo>
                <a:lnTo>
                  <a:pt x="189" y="729"/>
                </a:lnTo>
                <a:lnTo>
                  <a:pt x="181" y="724"/>
                </a:lnTo>
                <a:lnTo>
                  <a:pt x="175" y="724"/>
                </a:lnTo>
                <a:lnTo>
                  <a:pt x="162" y="716"/>
                </a:lnTo>
                <a:lnTo>
                  <a:pt x="160" y="708"/>
                </a:lnTo>
                <a:lnTo>
                  <a:pt x="152" y="699"/>
                </a:lnTo>
                <a:lnTo>
                  <a:pt x="148" y="687"/>
                </a:lnTo>
                <a:lnTo>
                  <a:pt x="146" y="677"/>
                </a:lnTo>
                <a:lnTo>
                  <a:pt x="143" y="664"/>
                </a:lnTo>
                <a:lnTo>
                  <a:pt x="139" y="654"/>
                </a:lnTo>
                <a:lnTo>
                  <a:pt x="137" y="643"/>
                </a:lnTo>
                <a:lnTo>
                  <a:pt x="133" y="629"/>
                </a:lnTo>
                <a:lnTo>
                  <a:pt x="131" y="620"/>
                </a:lnTo>
                <a:lnTo>
                  <a:pt x="127" y="612"/>
                </a:lnTo>
                <a:lnTo>
                  <a:pt x="119" y="606"/>
                </a:lnTo>
                <a:lnTo>
                  <a:pt x="110" y="597"/>
                </a:lnTo>
                <a:lnTo>
                  <a:pt x="110" y="587"/>
                </a:lnTo>
                <a:lnTo>
                  <a:pt x="108" y="581"/>
                </a:lnTo>
                <a:lnTo>
                  <a:pt x="100" y="572"/>
                </a:lnTo>
                <a:lnTo>
                  <a:pt x="98" y="566"/>
                </a:lnTo>
                <a:lnTo>
                  <a:pt x="106" y="560"/>
                </a:lnTo>
                <a:lnTo>
                  <a:pt x="100" y="556"/>
                </a:lnTo>
                <a:lnTo>
                  <a:pt x="98" y="550"/>
                </a:lnTo>
                <a:lnTo>
                  <a:pt x="106" y="550"/>
                </a:lnTo>
                <a:lnTo>
                  <a:pt x="110" y="541"/>
                </a:lnTo>
                <a:lnTo>
                  <a:pt x="108" y="533"/>
                </a:lnTo>
                <a:lnTo>
                  <a:pt x="106" y="527"/>
                </a:lnTo>
                <a:lnTo>
                  <a:pt x="100" y="518"/>
                </a:lnTo>
                <a:lnTo>
                  <a:pt x="106" y="514"/>
                </a:lnTo>
                <a:lnTo>
                  <a:pt x="108" y="508"/>
                </a:lnTo>
                <a:lnTo>
                  <a:pt x="106" y="502"/>
                </a:lnTo>
                <a:lnTo>
                  <a:pt x="96" y="495"/>
                </a:lnTo>
                <a:lnTo>
                  <a:pt x="87" y="491"/>
                </a:lnTo>
                <a:lnTo>
                  <a:pt x="77" y="485"/>
                </a:lnTo>
                <a:lnTo>
                  <a:pt x="77" y="477"/>
                </a:lnTo>
                <a:lnTo>
                  <a:pt x="73" y="473"/>
                </a:lnTo>
                <a:lnTo>
                  <a:pt x="64" y="468"/>
                </a:lnTo>
                <a:lnTo>
                  <a:pt x="62" y="458"/>
                </a:lnTo>
                <a:lnTo>
                  <a:pt x="73" y="452"/>
                </a:lnTo>
                <a:lnTo>
                  <a:pt x="79" y="443"/>
                </a:lnTo>
                <a:lnTo>
                  <a:pt x="83" y="431"/>
                </a:lnTo>
                <a:lnTo>
                  <a:pt x="83" y="423"/>
                </a:lnTo>
                <a:lnTo>
                  <a:pt x="85" y="412"/>
                </a:lnTo>
                <a:lnTo>
                  <a:pt x="87" y="404"/>
                </a:lnTo>
                <a:lnTo>
                  <a:pt x="91" y="394"/>
                </a:lnTo>
                <a:lnTo>
                  <a:pt x="94" y="385"/>
                </a:lnTo>
                <a:lnTo>
                  <a:pt x="91" y="377"/>
                </a:lnTo>
                <a:lnTo>
                  <a:pt x="87" y="371"/>
                </a:lnTo>
                <a:lnTo>
                  <a:pt x="87" y="360"/>
                </a:lnTo>
                <a:lnTo>
                  <a:pt x="85" y="350"/>
                </a:lnTo>
                <a:lnTo>
                  <a:pt x="83" y="337"/>
                </a:lnTo>
                <a:lnTo>
                  <a:pt x="77" y="329"/>
                </a:lnTo>
                <a:lnTo>
                  <a:pt x="66" y="325"/>
                </a:lnTo>
                <a:lnTo>
                  <a:pt x="56" y="321"/>
                </a:lnTo>
                <a:lnTo>
                  <a:pt x="50" y="314"/>
                </a:lnTo>
                <a:lnTo>
                  <a:pt x="37" y="314"/>
                </a:lnTo>
                <a:lnTo>
                  <a:pt x="27" y="312"/>
                </a:lnTo>
                <a:lnTo>
                  <a:pt x="12" y="312"/>
                </a:lnTo>
                <a:lnTo>
                  <a:pt x="0" y="314"/>
                </a:lnTo>
                <a:lnTo>
                  <a:pt x="8" y="304"/>
                </a:lnTo>
                <a:lnTo>
                  <a:pt x="14" y="296"/>
                </a:lnTo>
                <a:lnTo>
                  <a:pt x="17" y="287"/>
                </a:lnTo>
                <a:lnTo>
                  <a:pt x="29" y="283"/>
                </a:lnTo>
                <a:lnTo>
                  <a:pt x="37" y="275"/>
                </a:lnTo>
                <a:lnTo>
                  <a:pt x="42" y="271"/>
                </a:lnTo>
                <a:lnTo>
                  <a:pt x="48" y="260"/>
                </a:lnTo>
                <a:lnTo>
                  <a:pt x="54" y="262"/>
                </a:lnTo>
                <a:lnTo>
                  <a:pt x="69" y="267"/>
                </a:lnTo>
                <a:lnTo>
                  <a:pt x="81" y="260"/>
                </a:lnTo>
                <a:lnTo>
                  <a:pt x="89" y="252"/>
                </a:lnTo>
                <a:lnTo>
                  <a:pt x="91" y="240"/>
                </a:lnTo>
                <a:lnTo>
                  <a:pt x="94" y="231"/>
                </a:lnTo>
                <a:lnTo>
                  <a:pt x="98" y="219"/>
                </a:lnTo>
                <a:lnTo>
                  <a:pt x="104" y="204"/>
                </a:lnTo>
                <a:lnTo>
                  <a:pt x="112" y="188"/>
                </a:lnTo>
                <a:lnTo>
                  <a:pt x="121" y="179"/>
                </a:lnTo>
                <a:lnTo>
                  <a:pt x="129" y="169"/>
                </a:lnTo>
                <a:lnTo>
                  <a:pt x="133" y="156"/>
                </a:lnTo>
                <a:lnTo>
                  <a:pt x="137" y="148"/>
                </a:lnTo>
                <a:lnTo>
                  <a:pt x="148" y="138"/>
                </a:lnTo>
                <a:lnTo>
                  <a:pt x="150" y="129"/>
                </a:lnTo>
                <a:lnTo>
                  <a:pt x="148" y="121"/>
                </a:lnTo>
                <a:lnTo>
                  <a:pt x="152" y="111"/>
                </a:lnTo>
                <a:lnTo>
                  <a:pt x="160" y="104"/>
                </a:lnTo>
                <a:lnTo>
                  <a:pt x="166" y="96"/>
                </a:lnTo>
                <a:lnTo>
                  <a:pt x="168" y="90"/>
                </a:lnTo>
                <a:lnTo>
                  <a:pt x="177" y="90"/>
                </a:lnTo>
                <a:lnTo>
                  <a:pt x="179" y="79"/>
                </a:lnTo>
                <a:lnTo>
                  <a:pt x="181" y="69"/>
                </a:lnTo>
                <a:lnTo>
                  <a:pt x="181" y="58"/>
                </a:lnTo>
                <a:lnTo>
                  <a:pt x="179" y="50"/>
                </a:lnTo>
                <a:lnTo>
                  <a:pt x="189" y="38"/>
                </a:lnTo>
                <a:lnTo>
                  <a:pt x="196" y="27"/>
                </a:lnTo>
                <a:lnTo>
                  <a:pt x="193" y="19"/>
                </a:lnTo>
                <a:lnTo>
                  <a:pt x="198" y="9"/>
                </a:lnTo>
                <a:lnTo>
                  <a:pt x="206" y="0"/>
                </a:lnTo>
                <a:lnTo>
                  <a:pt x="212" y="6"/>
                </a:lnTo>
                <a:lnTo>
                  <a:pt x="229" y="4"/>
                </a:lnTo>
                <a:lnTo>
                  <a:pt x="237" y="6"/>
                </a:lnTo>
                <a:lnTo>
                  <a:pt x="245" y="15"/>
                </a:lnTo>
                <a:lnTo>
                  <a:pt x="256" y="17"/>
                </a:lnTo>
                <a:lnTo>
                  <a:pt x="262" y="15"/>
                </a:lnTo>
                <a:lnTo>
                  <a:pt x="264" y="27"/>
                </a:lnTo>
                <a:lnTo>
                  <a:pt x="273" y="31"/>
                </a:lnTo>
                <a:lnTo>
                  <a:pt x="283" y="31"/>
                </a:lnTo>
                <a:lnTo>
                  <a:pt x="291" y="36"/>
                </a:lnTo>
                <a:lnTo>
                  <a:pt x="302" y="40"/>
                </a:lnTo>
                <a:lnTo>
                  <a:pt x="322" y="46"/>
                </a:lnTo>
                <a:lnTo>
                  <a:pt x="322" y="52"/>
                </a:lnTo>
                <a:lnTo>
                  <a:pt x="314" y="58"/>
                </a:lnTo>
                <a:lnTo>
                  <a:pt x="318" y="63"/>
                </a:lnTo>
                <a:lnTo>
                  <a:pt x="320" y="71"/>
                </a:lnTo>
                <a:lnTo>
                  <a:pt x="322" y="79"/>
                </a:lnTo>
                <a:lnTo>
                  <a:pt x="318" y="86"/>
                </a:lnTo>
                <a:lnTo>
                  <a:pt x="320" y="92"/>
                </a:lnTo>
                <a:lnTo>
                  <a:pt x="329" y="92"/>
                </a:lnTo>
                <a:lnTo>
                  <a:pt x="335" y="94"/>
                </a:lnTo>
                <a:lnTo>
                  <a:pt x="335" y="102"/>
                </a:lnTo>
                <a:lnTo>
                  <a:pt x="333" y="111"/>
                </a:lnTo>
                <a:lnTo>
                  <a:pt x="327" y="117"/>
                </a:lnTo>
                <a:lnTo>
                  <a:pt x="325" y="125"/>
                </a:lnTo>
                <a:lnTo>
                  <a:pt x="327" y="133"/>
                </a:lnTo>
                <a:lnTo>
                  <a:pt x="335" y="133"/>
                </a:lnTo>
                <a:lnTo>
                  <a:pt x="341" y="127"/>
                </a:lnTo>
                <a:lnTo>
                  <a:pt x="343" y="115"/>
                </a:lnTo>
                <a:lnTo>
                  <a:pt x="350" y="113"/>
                </a:lnTo>
                <a:lnTo>
                  <a:pt x="356" y="117"/>
                </a:lnTo>
                <a:lnTo>
                  <a:pt x="370" y="119"/>
                </a:lnTo>
                <a:lnTo>
                  <a:pt x="374" y="108"/>
                </a:lnTo>
                <a:lnTo>
                  <a:pt x="377" y="102"/>
                </a:lnTo>
                <a:lnTo>
                  <a:pt x="383" y="98"/>
                </a:lnTo>
                <a:lnTo>
                  <a:pt x="393" y="98"/>
                </a:lnTo>
                <a:lnTo>
                  <a:pt x="402" y="102"/>
                </a:lnTo>
                <a:lnTo>
                  <a:pt x="418" y="106"/>
                </a:lnTo>
                <a:lnTo>
                  <a:pt x="424" y="111"/>
                </a:lnTo>
                <a:lnTo>
                  <a:pt x="433" y="113"/>
                </a:lnTo>
                <a:lnTo>
                  <a:pt x="445" y="119"/>
                </a:lnTo>
                <a:lnTo>
                  <a:pt x="454" y="129"/>
                </a:lnTo>
                <a:lnTo>
                  <a:pt x="464" y="133"/>
                </a:lnTo>
                <a:lnTo>
                  <a:pt x="476" y="138"/>
                </a:lnTo>
                <a:lnTo>
                  <a:pt x="487" y="142"/>
                </a:lnTo>
                <a:lnTo>
                  <a:pt x="497" y="148"/>
                </a:lnTo>
                <a:lnTo>
                  <a:pt x="508" y="148"/>
                </a:lnTo>
                <a:lnTo>
                  <a:pt x="524" y="148"/>
                </a:lnTo>
                <a:lnTo>
                  <a:pt x="531" y="148"/>
                </a:lnTo>
                <a:lnTo>
                  <a:pt x="537" y="152"/>
                </a:lnTo>
                <a:lnTo>
                  <a:pt x="543" y="156"/>
                </a:lnTo>
                <a:lnTo>
                  <a:pt x="549" y="156"/>
                </a:lnTo>
                <a:lnTo>
                  <a:pt x="560" y="158"/>
                </a:lnTo>
                <a:lnTo>
                  <a:pt x="568" y="163"/>
                </a:lnTo>
                <a:lnTo>
                  <a:pt x="574" y="160"/>
                </a:lnTo>
                <a:lnTo>
                  <a:pt x="587" y="160"/>
                </a:lnTo>
                <a:lnTo>
                  <a:pt x="599" y="156"/>
                </a:lnTo>
                <a:lnTo>
                  <a:pt x="610" y="156"/>
                </a:lnTo>
                <a:lnTo>
                  <a:pt x="618" y="154"/>
                </a:lnTo>
                <a:lnTo>
                  <a:pt x="628" y="152"/>
                </a:lnTo>
                <a:lnTo>
                  <a:pt x="639" y="156"/>
                </a:lnTo>
                <a:lnTo>
                  <a:pt x="647" y="158"/>
                </a:lnTo>
                <a:lnTo>
                  <a:pt x="655" y="158"/>
                </a:lnTo>
                <a:lnTo>
                  <a:pt x="664" y="160"/>
                </a:lnTo>
                <a:lnTo>
                  <a:pt x="680" y="167"/>
                </a:lnTo>
                <a:lnTo>
                  <a:pt x="687" y="171"/>
                </a:lnTo>
                <a:lnTo>
                  <a:pt x="697" y="177"/>
                </a:lnTo>
                <a:lnTo>
                  <a:pt x="703" y="179"/>
                </a:lnTo>
                <a:lnTo>
                  <a:pt x="712" y="185"/>
                </a:lnTo>
                <a:lnTo>
                  <a:pt x="735" y="200"/>
                </a:lnTo>
                <a:lnTo>
                  <a:pt x="743" y="208"/>
                </a:lnTo>
                <a:lnTo>
                  <a:pt x="751" y="221"/>
                </a:lnTo>
                <a:lnTo>
                  <a:pt x="759" y="223"/>
                </a:lnTo>
                <a:lnTo>
                  <a:pt x="770" y="233"/>
                </a:lnTo>
                <a:lnTo>
                  <a:pt x="778" y="242"/>
                </a:lnTo>
                <a:lnTo>
                  <a:pt x="787" y="248"/>
                </a:lnTo>
                <a:lnTo>
                  <a:pt x="801" y="254"/>
                </a:lnTo>
                <a:lnTo>
                  <a:pt x="803" y="262"/>
                </a:lnTo>
                <a:lnTo>
                  <a:pt x="812" y="271"/>
                </a:lnTo>
                <a:lnTo>
                  <a:pt x="820" y="279"/>
                </a:lnTo>
                <a:lnTo>
                  <a:pt x="828" y="283"/>
                </a:lnTo>
                <a:lnTo>
                  <a:pt x="834" y="289"/>
                </a:lnTo>
                <a:lnTo>
                  <a:pt x="843" y="296"/>
                </a:lnTo>
                <a:lnTo>
                  <a:pt x="851" y="308"/>
                </a:lnTo>
                <a:lnTo>
                  <a:pt x="859" y="317"/>
                </a:lnTo>
                <a:lnTo>
                  <a:pt x="868" y="321"/>
                </a:lnTo>
                <a:lnTo>
                  <a:pt x="866" y="325"/>
                </a:lnTo>
                <a:lnTo>
                  <a:pt x="868" y="321"/>
                </a:lnTo>
                <a:lnTo>
                  <a:pt x="872" y="325"/>
                </a:lnTo>
                <a:lnTo>
                  <a:pt x="876" y="329"/>
                </a:lnTo>
                <a:lnTo>
                  <a:pt x="882" y="329"/>
                </a:lnTo>
                <a:lnTo>
                  <a:pt x="889" y="327"/>
                </a:lnTo>
                <a:lnTo>
                  <a:pt x="895" y="329"/>
                </a:lnTo>
                <a:lnTo>
                  <a:pt x="903" y="335"/>
                </a:lnTo>
                <a:lnTo>
                  <a:pt x="911" y="335"/>
                </a:lnTo>
                <a:lnTo>
                  <a:pt x="922" y="333"/>
                </a:lnTo>
                <a:lnTo>
                  <a:pt x="936" y="333"/>
                </a:lnTo>
                <a:lnTo>
                  <a:pt x="947" y="337"/>
                </a:lnTo>
                <a:lnTo>
                  <a:pt x="959" y="341"/>
                </a:lnTo>
                <a:lnTo>
                  <a:pt x="970" y="339"/>
                </a:lnTo>
                <a:lnTo>
                  <a:pt x="982" y="341"/>
                </a:lnTo>
                <a:lnTo>
                  <a:pt x="990" y="344"/>
                </a:lnTo>
                <a:lnTo>
                  <a:pt x="999" y="348"/>
                </a:lnTo>
                <a:lnTo>
                  <a:pt x="1001" y="350"/>
                </a:lnTo>
                <a:lnTo>
                  <a:pt x="1003" y="356"/>
                </a:lnTo>
                <a:lnTo>
                  <a:pt x="1003" y="360"/>
                </a:lnTo>
                <a:lnTo>
                  <a:pt x="1005" y="366"/>
                </a:lnTo>
                <a:lnTo>
                  <a:pt x="1011" y="373"/>
                </a:lnTo>
                <a:lnTo>
                  <a:pt x="1013" y="381"/>
                </a:lnTo>
                <a:lnTo>
                  <a:pt x="1011" y="391"/>
                </a:lnTo>
                <a:lnTo>
                  <a:pt x="1015" y="400"/>
                </a:lnTo>
                <a:lnTo>
                  <a:pt x="1015" y="410"/>
                </a:lnTo>
                <a:lnTo>
                  <a:pt x="1020" y="423"/>
                </a:lnTo>
                <a:lnTo>
                  <a:pt x="1022" y="433"/>
                </a:lnTo>
                <a:lnTo>
                  <a:pt x="1028" y="441"/>
                </a:lnTo>
                <a:lnTo>
                  <a:pt x="1030" y="456"/>
                </a:lnTo>
                <a:lnTo>
                  <a:pt x="1032" y="458"/>
                </a:lnTo>
                <a:lnTo>
                  <a:pt x="1034" y="464"/>
                </a:lnTo>
                <a:lnTo>
                  <a:pt x="1034" y="471"/>
                </a:lnTo>
                <a:lnTo>
                  <a:pt x="1036" y="477"/>
                </a:lnTo>
                <a:lnTo>
                  <a:pt x="1036" y="483"/>
                </a:lnTo>
                <a:lnTo>
                  <a:pt x="1036" y="493"/>
                </a:lnTo>
                <a:lnTo>
                  <a:pt x="1038" y="504"/>
                </a:lnTo>
                <a:lnTo>
                  <a:pt x="1040" y="508"/>
                </a:lnTo>
                <a:lnTo>
                  <a:pt x="1043" y="516"/>
                </a:lnTo>
                <a:lnTo>
                  <a:pt x="1036" y="518"/>
                </a:lnTo>
                <a:lnTo>
                  <a:pt x="1043" y="516"/>
                </a:lnTo>
                <a:lnTo>
                  <a:pt x="1045" y="523"/>
                </a:lnTo>
                <a:lnTo>
                  <a:pt x="1045" y="533"/>
                </a:lnTo>
                <a:lnTo>
                  <a:pt x="1040" y="543"/>
                </a:lnTo>
                <a:lnTo>
                  <a:pt x="1036" y="554"/>
                </a:lnTo>
                <a:lnTo>
                  <a:pt x="1032" y="564"/>
                </a:lnTo>
                <a:lnTo>
                  <a:pt x="1028" y="575"/>
                </a:lnTo>
                <a:lnTo>
                  <a:pt x="1024" y="587"/>
                </a:lnTo>
                <a:lnTo>
                  <a:pt x="1020" y="604"/>
                </a:lnTo>
                <a:lnTo>
                  <a:pt x="1015" y="614"/>
                </a:lnTo>
                <a:lnTo>
                  <a:pt x="1009" y="627"/>
                </a:lnTo>
                <a:lnTo>
                  <a:pt x="1005" y="635"/>
                </a:lnTo>
                <a:lnTo>
                  <a:pt x="1001" y="645"/>
                </a:lnTo>
                <a:lnTo>
                  <a:pt x="999" y="654"/>
                </a:lnTo>
                <a:lnTo>
                  <a:pt x="993" y="664"/>
                </a:lnTo>
                <a:lnTo>
                  <a:pt x="986" y="672"/>
                </a:lnTo>
                <a:lnTo>
                  <a:pt x="976" y="679"/>
                </a:lnTo>
                <a:lnTo>
                  <a:pt x="970" y="689"/>
                </a:lnTo>
                <a:lnTo>
                  <a:pt x="961" y="697"/>
                </a:lnTo>
                <a:lnTo>
                  <a:pt x="951" y="704"/>
                </a:lnTo>
                <a:lnTo>
                  <a:pt x="945" y="712"/>
                </a:lnTo>
                <a:lnTo>
                  <a:pt x="943" y="716"/>
                </a:lnTo>
                <a:lnTo>
                  <a:pt x="938" y="726"/>
                </a:lnTo>
                <a:lnTo>
                  <a:pt x="928" y="733"/>
                </a:lnTo>
                <a:lnTo>
                  <a:pt x="920" y="739"/>
                </a:lnTo>
                <a:lnTo>
                  <a:pt x="911" y="747"/>
                </a:lnTo>
                <a:lnTo>
                  <a:pt x="901" y="753"/>
                </a:lnTo>
                <a:lnTo>
                  <a:pt x="895" y="760"/>
                </a:lnTo>
                <a:lnTo>
                  <a:pt x="889" y="764"/>
                </a:lnTo>
                <a:lnTo>
                  <a:pt x="880" y="770"/>
                </a:lnTo>
                <a:lnTo>
                  <a:pt x="872" y="778"/>
                </a:lnTo>
                <a:lnTo>
                  <a:pt x="868" y="787"/>
                </a:lnTo>
                <a:lnTo>
                  <a:pt x="857" y="791"/>
                </a:lnTo>
                <a:lnTo>
                  <a:pt x="851" y="797"/>
                </a:lnTo>
                <a:lnTo>
                  <a:pt x="849" y="803"/>
                </a:lnTo>
                <a:lnTo>
                  <a:pt x="847" y="808"/>
                </a:lnTo>
                <a:lnTo>
                  <a:pt x="841" y="814"/>
                </a:lnTo>
                <a:lnTo>
                  <a:pt x="836" y="824"/>
                </a:lnTo>
                <a:lnTo>
                  <a:pt x="830" y="833"/>
                </a:lnTo>
                <a:lnTo>
                  <a:pt x="824" y="839"/>
                </a:lnTo>
                <a:lnTo>
                  <a:pt x="816" y="847"/>
                </a:lnTo>
                <a:lnTo>
                  <a:pt x="805" y="862"/>
                </a:lnTo>
                <a:lnTo>
                  <a:pt x="801" y="883"/>
                </a:lnTo>
                <a:lnTo>
                  <a:pt x="795" y="889"/>
                </a:lnTo>
                <a:lnTo>
                  <a:pt x="784" y="903"/>
                </a:lnTo>
                <a:lnTo>
                  <a:pt x="778" y="914"/>
                </a:lnTo>
                <a:lnTo>
                  <a:pt x="768" y="920"/>
                </a:lnTo>
                <a:lnTo>
                  <a:pt x="759" y="922"/>
                </a:lnTo>
                <a:lnTo>
                  <a:pt x="751" y="930"/>
                </a:lnTo>
                <a:lnTo>
                  <a:pt x="743" y="937"/>
                </a:lnTo>
                <a:lnTo>
                  <a:pt x="735" y="935"/>
                </a:lnTo>
                <a:lnTo>
                  <a:pt x="735" y="932"/>
                </a:lnTo>
                <a:lnTo>
                  <a:pt x="735" y="928"/>
                </a:lnTo>
                <a:lnTo>
                  <a:pt x="735" y="926"/>
                </a:lnTo>
                <a:lnTo>
                  <a:pt x="735" y="922"/>
                </a:lnTo>
                <a:lnTo>
                  <a:pt x="735" y="920"/>
                </a:lnTo>
                <a:lnTo>
                  <a:pt x="730" y="918"/>
                </a:lnTo>
                <a:lnTo>
                  <a:pt x="728" y="918"/>
                </a:lnTo>
                <a:lnTo>
                  <a:pt x="726" y="920"/>
                </a:lnTo>
                <a:lnTo>
                  <a:pt x="726" y="922"/>
                </a:lnTo>
                <a:lnTo>
                  <a:pt x="724" y="928"/>
                </a:lnTo>
                <a:lnTo>
                  <a:pt x="728" y="937"/>
                </a:lnTo>
                <a:lnTo>
                  <a:pt x="728" y="945"/>
                </a:lnTo>
                <a:lnTo>
                  <a:pt x="724" y="951"/>
                </a:lnTo>
                <a:lnTo>
                  <a:pt x="718" y="959"/>
                </a:lnTo>
                <a:lnTo>
                  <a:pt x="714" y="972"/>
                </a:lnTo>
                <a:lnTo>
                  <a:pt x="714" y="980"/>
                </a:lnTo>
                <a:lnTo>
                  <a:pt x="707" y="989"/>
                </a:lnTo>
                <a:lnTo>
                  <a:pt x="703" y="995"/>
                </a:lnTo>
                <a:lnTo>
                  <a:pt x="712" y="1003"/>
                </a:lnTo>
                <a:lnTo>
                  <a:pt x="714" y="1014"/>
                </a:lnTo>
                <a:lnTo>
                  <a:pt x="707" y="1026"/>
                </a:lnTo>
                <a:lnTo>
                  <a:pt x="705" y="1036"/>
                </a:lnTo>
                <a:lnTo>
                  <a:pt x="707" y="1047"/>
                </a:lnTo>
                <a:lnTo>
                  <a:pt x="703" y="1051"/>
                </a:lnTo>
                <a:lnTo>
                  <a:pt x="701" y="1061"/>
                </a:lnTo>
                <a:lnTo>
                  <a:pt x="705" y="1074"/>
                </a:lnTo>
                <a:lnTo>
                  <a:pt x="703" y="1080"/>
                </a:lnTo>
                <a:lnTo>
                  <a:pt x="705" y="1101"/>
                </a:lnTo>
                <a:lnTo>
                  <a:pt x="707" y="1116"/>
                </a:lnTo>
                <a:lnTo>
                  <a:pt x="707" y="1124"/>
                </a:lnTo>
                <a:lnTo>
                  <a:pt x="712" y="1136"/>
                </a:lnTo>
                <a:lnTo>
                  <a:pt x="712" y="1143"/>
                </a:lnTo>
                <a:lnTo>
                  <a:pt x="710" y="1157"/>
                </a:lnTo>
                <a:lnTo>
                  <a:pt x="710" y="1165"/>
                </a:lnTo>
                <a:lnTo>
                  <a:pt x="703" y="1176"/>
                </a:lnTo>
                <a:lnTo>
                  <a:pt x="699" y="1190"/>
                </a:lnTo>
                <a:lnTo>
                  <a:pt x="693" y="1207"/>
                </a:lnTo>
                <a:lnTo>
                  <a:pt x="689" y="1220"/>
                </a:lnTo>
                <a:lnTo>
                  <a:pt x="689" y="1232"/>
                </a:lnTo>
                <a:lnTo>
                  <a:pt x="687" y="1240"/>
                </a:lnTo>
                <a:lnTo>
                  <a:pt x="680" y="1249"/>
                </a:lnTo>
                <a:lnTo>
                  <a:pt x="678" y="1259"/>
                </a:lnTo>
                <a:lnTo>
                  <a:pt x="678" y="1270"/>
                </a:lnTo>
                <a:lnTo>
                  <a:pt x="685" y="1278"/>
                </a:lnTo>
                <a:lnTo>
                  <a:pt x="680" y="1290"/>
                </a:lnTo>
                <a:lnTo>
                  <a:pt x="678" y="1301"/>
                </a:lnTo>
                <a:lnTo>
                  <a:pt x="680" y="1309"/>
                </a:lnTo>
                <a:lnTo>
                  <a:pt x="678" y="1317"/>
                </a:lnTo>
                <a:lnTo>
                  <a:pt x="668" y="1319"/>
                </a:lnTo>
                <a:lnTo>
                  <a:pt x="660" y="1328"/>
                </a:lnTo>
                <a:lnTo>
                  <a:pt x="658" y="1342"/>
                </a:lnTo>
                <a:lnTo>
                  <a:pt x="655" y="1355"/>
                </a:lnTo>
                <a:lnTo>
                  <a:pt x="643" y="1344"/>
                </a:lnTo>
                <a:lnTo>
                  <a:pt x="639" y="1342"/>
                </a:lnTo>
                <a:lnTo>
                  <a:pt x="626" y="1338"/>
                </a:lnTo>
                <a:lnTo>
                  <a:pt x="622" y="1330"/>
                </a:lnTo>
                <a:lnTo>
                  <a:pt x="616" y="1328"/>
                </a:lnTo>
                <a:lnTo>
                  <a:pt x="603" y="1326"/>
                </a:lnTo>
                <a:lnTo>
                  <a:pt x="601" y="1324"/>
                </a:lnTo>
                <a:lnTo>
                  <a:pt x="591" y="1313"/>
                </a:lnTo>
                <a:lnTo>
                  <a:pt x="597" y="1313"/>
                </a:lnTo>
                <a:lnTo>
                  <a:pt x="603" y="1309"/>
                </a:lnTo>
                <a:lnTo>
                  <a:pt x="608" y="1303"/>
                </a:lnTo>
                <a:lnTo>
                  <a:pt x="612" y="1297"/>
                </a:lnTo>
                <a:lnTo>
                  <a:pt x="608" y="1288"/>
                </a:lnTo>
                <a:lnTo>
                  <a:pt x="605" y="1278"/>
                </a:lnTo>
                <a:lnTo>
                  <a:pt x="601" y="1265"/>
                </a:lnTo>
                <a:lnTo>
                  <a:pt x="605" y="1259"/>
                </a:lnTo>
                <a:lnTo>
                  <a:pt x="616" y="1257"/>
                </a:lnTo>
                <a:lnTo>
                  <a:pt x="622" y="1249"/>
                </a:lnTo>
                <a:lnTo>
                  <a:pt x="622" y="1238"/>
                </a:lnTo>
                <a:lnTo>
                  <a:pt x="622" y="1228"/>
                </a:lnTo>
                <a:lnTo>
                  <a:pt x="622" y="1222"/>
                </a:lnTo>
                <a:lnTo>
                  <a:pt x="626" y="1209"/>
                </a:lnTo>
                <a:lnTo>
                  <a:pt x="628" y="1199"/>
                </a:lnTo>
                <a:lnTo>
                  <a:pt x="628" y="1190"/>
                </a:lnTo>
                <a:lnTo>
                  <a:pt x="628" y="1182"/>
                </a:lnTo>
                <a:lnTo>
                  <a:pt x="630" y="1172"/>
                </a:lnTo>
                <a:lnTo>
                  <a:pt x="624" y="1163"/>
                </a:lnTo>
                <a:lnTo>
                  <a:pt x="618" y="1155"/>
                </a:lnTo>
                <a:lnTo>
                  <a:pt x="614" y="1151"/>
                </a:lnTo>
                <a:lnTo>
                  <a:pt x="605" y="1147"/>
                </a:lnTo>
                <a:lnTo>
                  <a:pt x="599" y="1147"/>
                </a:lnTo>
                <a:lnTo>
                  <a:pt x="591" y="1151"/>
                </a:lnTo>
                <a:lnTo>
                  <a:pt x="576" y="1151"/>
                </a:lnTo>
                <a:lnTo>
                  <a:pt x="568" y="1143"/>
                </a:lnTo>
                <a:lnTo>
                  <a:pt x="562" y="1138"/>
                </a:lnTo>
                <a:lnTo>
                  <a:pt x="549" y="1138"/>
                </a:lnTo>
                <a:lnTo>
                  <a:pt x="537" y="1143"/>
                </a:lnTo>
                <a:lnTo>
                  <a:pt x="528" y="1141"/>
                </a:lnTo>
                <a:lnTo>
                  <a:pt x="520" y="1134"/>
                </a:lnTo>
                <a:lnTo>
                  <a:pt x="516" y="1126"/>
                </a:lnTo>
                <a:lnTo>
                  <a:pt x="512" y="1116"/>
                </a:lnTo>
                <a:lnTo>
                  <a:pt x="506" y="1107"/>
                </a:lnTo>
                <a:lnTo>
                  <a:pt x="499" y="1105"/>
                </a:lnTo>
                <a:lnTo>
                  <a:pt x="493" y="1099"/>
                </a:lnTo>
                <a:lnTo>
                  <a:pt x="487" y="1095"/>
                </a:lnTo>
                <a:lnTo>
                  <a:pt x="481" y="1097"/>
                </a:lnTo>
                <a:lnTo>
                  <a:pt x="472" y="1099"/>
                </a:lnTo>
                <a:lnTo>
                  <a:pt x="464" y="1101"/>
                </a:lnTo>
                <a:lnTo>
                  <a:pt x="456" y="1099"/>
                </a:lnTo>
                <a:lnTo>
                  <a:pt x="447" y="1097"/>
                </a:lnTo>
                <a:lnTo>
                  <a:pt x="441" y="1089"/>
                </a:lnTo>
                <a:lnTo>
                  <a:pt x="435" y="1086"/>
                </a:lnTo>
                <a:lnTo>
                  <a:pt x="431" y="1078"/>
                </a:lnTo>
                <a:lnTo>
                  <a:pt x="422" y="1072"/>
                </a:lnTo>
                <a:lnTo>
                  <a:pt x="416" y="1064"/>
                </a:lnTo>
                <a:lnTo>
                  <a:pt x="410" y="1064"/>
                </a:lnTo>
                <a:lnTo>
                  <a:pt x="402" y="1061"/>
                </a:lnTo>
                <a:lnTo>
                  <a:pt x="402" y="1055"/>
                </a:lnTo>
                <a:lnTo>
                  <a:pt x="395" y="1057"/>
                </a:lnTo>
                <a:lnTo>
                  <a:pt x="387" y="1053"/>
                </a:lnTo>
                <a:lnTo>
                  <a:pt x="377" y="1051"/>
                </a:lnTo>
                <a:lnTo>
                  <a:pt x="368" y="1049"/>
                </a:lnTo>
                <a:lnTo>
                  <a:pt x="360" y="1053"/>
                </a:lnTo>
                <a:lnTo>
                  <a:pt x="352" y="1053"/>
                </a:lnTo>
                <a:lnTo>
                  <a:pt x="347" y="1047"/>
                </a:lnTo>
                <a:lnTo>
                  <a:pt x="345" y="1039"/>
                </a:lnTo>
                <a:lnTo>
                  <a:pt x="343" y="1032"/>
                </a:lnTo>
                <a:lnTo>
                  <a:pt x="350" y="1030"/>
                </a:lnTo>
                <a:lnTo>
                  <a:pt x="345" y="1024"/>
                </a:lnTo>
                <a:lnTo>
                  <a:pt x="337" y="1020"/>
                </a:lnTo>
                <a:lnTo>
                  <a:pt x="333" y="1022"/>
                </a:lnTo>
                <a:lnTo>
                  <a:pt x="325" y="1022"/>
                </a:lnTo>
                <a:lnTo>
                  <a:pt x="316" y="1022"/>
                </a:lnTo>
                <a:lnTo>
                  <a:pt x="310" y="1024"/>
                </a:lnTo>
                <a:lnTo>
                  <a:pt x="297" y="1028"/>
                </a:lnTo>
                <a:lnTo>
                  <a:pt x="285" y="1032"/>
                </a:lnTo>
                <a:lnTo>
                  <a:pt x="275" y="1036"/>
                </a:lnTo>
                <a:lnTo>
                  <a:pt x="266" y="1047"/>
                </a:lnTo>
                <a:lnTo>
                  <a:pt x="256" y="1049"/>
                </a:lnTo>
                <a:lnTo>
                  <a:pt x="245" y="1053"/>
                </a:lnTo>
                <a:lnTo>
                  <a:pt x="237" y="1061"/>
                </a:lnTo>
                <a:lnTo>
                  <a:pt x="227" y="1064"/>
                </a:lnTo>
                <a:lnTo>
                  <a:pt x="212" y="1070"/>
                </a:lnTo>
                <a:lnTo>
                  <a:pt x="206" y="1074"/>
                </a:lnTo>
                <a:lnTo>
                  <a:pt x="200" y="1078"/>
                </a:lnTo>
                <a:lnTo>
                  <a:pt x="189" y="1082"/>
                </a:lnTo>
                <a:lnTo>
                  <a:pt x="177" y="1080"/>
                </a:lnTo>
                <a:lnTo>
                  <a:pt x="179" y="1074"/>
                </a:lnTo>
                <a:lnTo>
                  <a:pt x="179" y="1064"/>
                </a:lnTo>
                <a:lnTo>
                  <a:pt x="179" y="1053"/>
                </a:lnTo>
                <a:lnTo>
                  <a:pt x="181" y="1045"/>
                </a:lnTo>
                <a:lnTo>
                  <a:pt x="179" y="1036"/>
                </a:lnTo>
                <a:lnTo>
                  <a:pt x="181" y="1028"/>
                </a:lnTo>
                <a:lnTo>
                  <a:pt x="177" y="1020"/>
                </a:lnTo>
                <a:lnTo>
                  <a:pt x="173" y="1009"/>
                </a:lnTo>
                <a:lnTo>
                  <a:pt x="173" y="1003"/>
                </a:lnTo>
                <a:lnTo>
                  <a:pt x="171" y="991"/>
                </a:lnTo>
                <a:lnTo>
                  <a:pt x="166" y="984"/>
                </a:lnTo>
                <a:lnTo>
                  <a:pt x="166" y="976"/>
                </a:lnTo>
                <a:lnTo>
                  <a:pt x="168" y="966"/>
                </a:lnTo>
                <a:lnTo>
                  <a:pt x="175" y="962"/>
                </a:lnTo>
                <a:lnTo>
                  <a:pt x="173" y="953"/>
                </a:lnTo>
                <a:lnTo>
                  <a:pt x="171" y="947"/>
                </a:lnTo>
                <a:lnTo>
                  <a:pt x="164" y="941"/>
                </a:lnTo>
                <a:lnTo>
                  <a:pt x="164" y="935"/>
                </a:lnTo>
                <a:lnTo>
                  <a:pt x="162" y="930"/>
                </a:lnTo>
                <a:lnTo>
                  <a:pt x="162" y="922"/>
                </a:lnTo>
                <a:lnTo>
                  <a:pt x="166" y="916"/>
                </a:lnTo>
                <a:lnTo>
                  <a:pt x="166" y="907"/>
                </a:lnTo>
                <a:lnTo>
                  <a:pt x="164" y="901"/>
                </a:lnTo>
                <a:lnTo>
                  <a:pt x="164" y="889"/>
                </a:lnTo>
                <a:lnTo>
                  <a:pt x="158" y="880"/>
                </a:lnTo>
                <a:lnTo>
                  <a:pt x="156" y="868"/>
                </a:lnTo>
                <a:lnTo>
                  <a:pt x="164" y="858"/>
                </a:lnTo>
                <a:lnTo>
                  <a:pt x="160" y="847"/>
                </a:lnTo>
                <a:lnTo>
                  <a:pt x="158" y="837"/>
                </a:lnTo>
                <a:lnTo>
                  <a:pt x="164" y="833"/>
                </a:lnTo>
                <a:lnTo>
                  <a:pt x="164" y="826"/>
                </a:lnTo>
                <a:lnTo>
                  <a:pt x="166" y="818"/>
                </a:lnTo>
                <a:lnTo>
                  <a:pt x="166" y="812"/>
                </a:lnTo>
                <a:lnTo>
                  <a:pt x="158" y="810"/>
                </a:lnTo>
                <a:lnTo>
                  <a:pt x="154" y="803"/>
                </a:lnTo>
                <a:lnTo>
                  <a:pt x="154" y="797"/>
                </a:lnTo>
                <a:lnTo>
                  <a:pt x="150" y="791"/>
                </a:lnTo>
                <a:lnTo>
                  <a:pt x="152" y="781"/>
                </a:lnTo>
                <a:lnTo>
                  <a:pt x="154" y="774"/>
                </a:lnTo>
                <a:lnTo>
                  <a:pt x="152" y="768"/>
                </a:lnTo>
                <a:lnTo>
                  <a:pt x="158" y="764"/>
                </a:lnTo>
                <a:lnTo>
                  <a:pt x="160" y="758"/>
                </a:lnTo>
                <a:lnTo>
                  <a:pt x="166" y="753"/>
                </a:lnTo>
                <a:lnTo>
                  <a:pt x="168" y="749"/>
                </a:lnTo>
                <a:lnTo>
                  <a:pt x="171" y="745"/>
                </a:lnTo>
                <a:lnTo>
                  <a:pt x="179" y="743"/>
                </a:lnTo>
                <a:lnTo>
                  <a:pt x="183" y="745"/>
                </a:lnTo>
                <a:lnTo>
                  <a:pt x="193" y="737"/>
                </a:lnTo>
                <a:lnTo>
                  <a:pt x="202" y="733"/>
                </a:lnTo>
                <a:lnTo>
                  <a:pt x="206" y="731"/>
                </a:lnTo>
                <a:lnTo>
                  <a:pt x="210" y="726"/>
                </a:lnTo>
                <a:lnTo>
                  <a:pt x="208" y="726"/>
                </a:lnTo>
                <a:lnTo>
                  <a:pt x="208" y="726"/>
                </a:lnTo>
                <a:close/>
                <a:moveTo>
                  <a:pt x="212" y="726"/>
                </a:moveTo>
                <a:lnTo>
                  <a:pt x="212" y="726"/>
                </a:lnTo>
                <a:lnTo>
                  <a:pt x="223" y="731"/>
                </a:lnTo>
                <a:lnTo>
                  <a:pt x="212" y="726"/>
                </a:lnTo>
                <a:close/>
              </a:path>
            </a:pathLst>
          </a:custGeom>
          <a:solidFill>
            <a:srgbClr val="D6D6CE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pt-BR"/>
          </a:p>
        </p:txBody>
      </p:sp>
      <p:sp>
        <p:nvSpPr>
          <p:cNvPr id="27" name="Text Box 22"/>
          <p:cNvSpPr txBox="1">
            <a:spLocks noChangeArrowheads="1"/>
          </p:cNvSpPr>
          <p:nvPr/>
        </p:nvSpPr>
        <p:spPr bwMode="auto">
          <a:xfrm>
            <a:off x="5199671" y="1601072"/>
            <a:ext cx="366832" cy="184666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ct val="100000"/>
              </a:lnSpc>
            </a:pPr>
            <a:r>
              <a:rPr lang="pt-BR" altLang="pt-BR" sz="1200" b="1" dirty="0">
                <a:solidFill>
                  <a:srgbClr val="263143"/>
                </a:solidFill>
              </a:rPr>
              <a:t>Norte</a:t>
            </a:r>
          </a:p>
        </p:txBody>
      </p:sp>
      <p:sp>
        <p:nvSpPr>
          <p:cNvPr id="28" name="Text Box 23"/>
          <p:cNvSpPr txBox="1">
            <a:spLocks noChangeArrowheads="1"/>
          </p:cNvSpPr>
          <p:nvPr/>
        </p:nvSpPr>
        <p:spPr bwMode="auto">
          <a:xfrm>
            <a:off x="6383476" y="4808850"/>
            <a:ext cx="193964" cy="184666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ct val="100000"/>
              </a:lnSpc>
            </a:pPr>
            <a:r>
              <a:rPr lang="pt-BR" altLang="pt-BR" sz="1200" b="1">
                <a:solidFill>
                  <a:srgbClr val="263143"/>
                </a:solidFill>
              </a:rPr>
              <a:t>Sul</a:t>
            </a:r>
          </a:p>
        </p:txBody>
      </p:sp>
      <p:sp>
        <p:nvSpPr>
          <p:cNvPr id="29" name="Text Box 24"/>
          <p:cNvSpPr txBox="1">
            <a:spLocks noChangeArrowheads="1"/>
          </p:cNvSpPr>
          <p:nvPr/>
        </p:nvSpPr>
        <p:spPr bwMode="auto">
          <a:xfrm>
            <a:off x="6995109" y="3789203"/>
            <a:ext cx="502959" cy="184666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ct val="100000"/>
              </a:lnSpc>
            </a:pPr>
            <a:r>
              <a:rPr lang="pt-BR" altLang="pt-BR" sz="1200" b="1">
                <a:solidFill>
                  <a:srgbClr val="263143"/>
                </a:solidFill>
              </a:rPr>
              <a:t>Sudeste</a:t>
            </a:r>
          </a:p>
        </p:txBody>
      </p:sp>
      <p:sp>
        <p:nvSpPr>
          <p:cNvPr id="30" name="Text Box 25"/>
          <p:cNvSpPr txBox="1">
            <a:spLocks noChangeArrowheads="1"/>
          </p:cNvSpPr>
          <p:nvPr/>
        </p:nvSpPr>
        <p:spPr bwMode="auto">
          <a:xfrm>
            <a:off x="5693285" y="3082781"/>
            <a:ext cx="844334" cy="184666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ct val="100000"/>
              </a:lnSpc>
            </a:pPr>
            <a:r>
              <a:rPr lang="pt-BR" altLang="pt-BR" sz="1200" b="1" dirty="0">
                <a:solidFill>
                  <a:srgbClr val="263143"/>
                </a:solidFill>
              </a:rPr>
              <a:t>Centro-Oeste</a:t>
            </a:r>
          </a:p>
        </p:txBody>
      </p:sp>
      <p:sp>
        <p:nvSpPr>
          <p:cNvPr id="31" name="Text Box 26"/>
          <p:cNvSpPr txBox="1">
            <a:spLocks noChangeArrowheads="1"/>
          </p:cNvSpPr>
          <p:nvPr/>
        </p:nvSpPr>
        <p:spPr bwMode="auto">
          <a:xfrm>
            <a:off x="7588780" y="2143107"/>
            <a:ext cx="584455" cy="184666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0" hangingPunct="0">
              <a:lnSpc>
                <a:spcPct val="100000"/>
              </a:lnSpc>
            </a:pPr>
            <a:r>
              <a:rPr lang="pt-BR" altLang="pt-BR" sz="1200" b="1">
                <a:solidFill>
                  <a:srgbClr val="263143"/>
                </a:solidFill>
              </a:rPr>
              <a:t>Nordeste</a:t>
            </a:r>
          </a:p>
        </p:txBody>
      </p:sp>
    </p:spTree>
    <p:extLst>
      <p:ext uri="{BB962C8B-B14F-4D97-AF65-F5344CB8AC3E}">
        <p14:creationId xmlns:p14="http://schemas.microsoft.com/office/powerpoint/2010/main" val="831389317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Agrupar 16">
            <a:extLst>
              <a:ext uri="{FF2B5EF4-FFF2-40B4-BE49-F238E27FC236}">
                <a16:creationId xmlns:a16="http://schemas.microsoft.com/office/drawing/2014/main" id="{04A94AD3-2753-4B4D-8539-5D07D8404CEC}"/>
              </a:ext>
            </a:extLst>
          </p:cNvPr>
          <p:cNvGrpSpPr/>
          <p:nvPr/>
        </p:nvGrpSpPr>
        <p:grpSpPr>
          <a:xfrm>
            <a:off x="6903727" y="1266789"/>
            <a:ext cx="1879267" cy="2434018"/>
            <a:chOff x="6903727" y="1266789"/>
            <a:chExt cx="1879267" cy="2434018"/>
          </a:xfrm>
          <a:solidFill>
            <a:srgbClr val="7F7F6B"/>
          </a:solidFill>
        </p:grpSpPr>
        <p:sp>
          <p:nvSpPr>
            <p:cNvPr id="135" name="Freeform 20"/>
            <p:cNvSpPr>
              <a:spLocks/>
            </p:cNvSpPr>
            <p:nvPr/>
          </p:nvSpPr>
          <p:spPr bwMode="auto">
            <a:xfrm>
              <a:off x="6903727" y="1266789"/>
              <a:ext cx="943934" cy="1305167"/>
            </a:xfrm>
            <a:custGeom>
              <a:avLst/>
              <a:gdLst>
                <a:gd name="T0" fmla="*/ 175 w 484"/>
                <a:gd name="T1" fmla="*/ 671 h 671"/>
                <a:gd name="T2" fmla="*/ 148 w 484"/>
                <a:gd name="T3" fmla="*/ 652 h 671"/>
                <a:gd name="T4" fmla="*/ 133 w 484"/>
                <a:gd name="T5" fmla="*/ 612 h 671"/>
                <a:gd name="T6" fmla="*/ 121 w 484"/>
                <a:gd name="T7" fmla="*/ 571 h 671"/>
                <a:gd name="T8" fmla="*/ 102 w 484"/>
                <a:gd name="T9" fmla="*/ 541 h 671"/>
                <a:gd name="T10" fmla="*/ 98 w 484"/>
                <a:gd name="T11" fmla="*/ 516 h 671"/>
                <a:gd name="T12" fmla="*/ 102 w 484"/>
                <a:gd name="T13" fmla="*/ 498 h 671"/>
                <a:gd name="T14" fmla="*/ 98 w 484"/>
                <a:gd name="T15" fmla="*/ 473 h 671"/>
                <a:gd name="T16" fmla="*/ 81 w 484"/>
                <a:gd name="T17" fmla="*/ 452 h 671"/>
                <a:gd name="T18" fmla="*/ 60 w 484"/>
                <a:gd name="T19" fmla="*/ 431 h 671"/>
                <a:gd name="T20" fmla="*/ 77 w 484"/>
                <a:gd name="T21" fmla="*/ 397 h 671"/>
                <a:gd name="T22" fmla="*/ 85 w 484"/>
                <a:gd name="T23" fmla="*/ 362 h 671"/>
                <a:gd name="T24" fmla="*/ 81 w 484"/>
                <a:gd name="T25" fmla="*/ 332 h 671"/>
                <a:gd name="T26" fmla="*/ 62 w 484"/>
                <a:gd name="T27" fmla="*/ 299 h 671"/>
                <a:gd name="T28" fmla="*/ 25 w 484"/>
                <a:gd name="T29" fmla="*/ 287 h 671"/>
                <a:gd name="T30" fmla="*/ 14 w 484"/>
                <a:gd name="T31" fmla="*/ 272 h 671"/>
                <a:gd name="T32" fmla="*/ 38 w 484"/>
                <a:gd name="T33" fmla="*/ 249 h 671"/>
                <a:gd name="T34" fmla="*/ 75 w 484"/>
                <a:gd name="T35" fmla="*/ 239 h 671"/>
                <a:gd name="T36" fmla="*/ 90 w 484"/>
                <a:gd name="T37" fmla="*/ 201 h 671"/>
                <a:gd name="T38" fmla="*/ 119 w 484"/>
                <a:gd name="T39" fmla="*/ 155 h 671"/>
                <a:gd name="T40" fmla="*/ 138 w 484"/>
                <a:gd name="T41" fmla="*/ 119 h 671"/>
                <a:gd name="T42" fmla="*/ 154 w 484"/>
                <a:gd name="T43" fmla="*/ 88 h 671"/>
                <a:gd name="T44" fmla="*/ 167 w 484"/>
                <a:gd name="T45" fmla="*/ 63 h 671"/>
                <a:gd name="T46" fmla="*/ 180 w 484"/>
                <a:gd name="T47" fmla="*/ 25 h 671"/>
                <a:gd name="T48" fmla="*/ 196 w 484"/>
                <a:gd name="T49" fmla="*/ 5 h 671"/>
                <a:gd name="T50" fmla="*/ 236 w 484"/>
                <a:gd name="T51" fmla="*/ 15 h 671"/>
                <a:gd name="T52" fmla="*/ 261 w 484"/>
                <a:gd name="T53" fmla="*/ 28 h 671"/>
                <a:gd name="T54" fmla="*/ 298 w 484"/>
                <a:gd name="T55" fmla="*/ 48 h 671"/>
                <a:gd name="T56" fmla="*/ 298 w 484"/>
                <a:gd name="T57" fmla="*/ 73 h 671"/>
                <a:gd name="T58" fmla="*/ 309 w 484"/>
                <a:gd name="T59" fmla="*/ 86 h 671"/>
                <a:gd name="T60" fmla="*/ 299 w 484"/>
                <a:gd name="T61" fmla="*/ 115 h 671"/>
                <a:gd name="T62" fmla="*/ 317 w 484"/>
                <a:gd name="T63" fmla="*/ 105 h 671"/>
                <a:gd name="T64" fmla="*/ 346 w 484"/>
                <a:gd name="T65" fmla="*/ 99 h 671"/>
                <a:gd name="T66" fmla="*/ 370 w 484"/>
                <a:gd name="T67" fmla="*/ 94 h 671"/>
                <a:gd name="T68" fmla="*/ 411 w 484"/>
                <a:gd name="T69" fmla="*/ 109 h 671"/>
                <a:gd name="T70" fmla="*/ 449 w 484"/>
                <a:gd name="T71" fmla="*/ 130 h 671"/>
                <a:gd name="T72" fmla="*/ 480 w 484"/>
                <a:gd name="T73" fmla="*/ 142 h 671"/>
                <a:gd name="T74" fmla="*/ 453 w 484"/>
                <a:gd name="T75" fmla="*/ 167 h 671"/>
                <a:gd name="T76" fmla="*/ 426 w 484"/>
                <a:gd name="T77" fmla="*/ 188 h 671"/>
                <a:gd name="T78" fmla="*/ 405 w 484"/>
                <a:gd name="T79" fmla="*/ 218 h 671"/>
                <a:gd name="T80" fmla="*/ 409 w 484"/>
                <a:gd name="T81" fmla="*/ 255 h 671"/>
                <a:gd name="T82" fmla="*/ 405 w 484"/>
                <a:gd name="T83" fmla="*/ 291 h 671"/>
                <a:gd name="T84" fmla="*/ 397 w 484"/>
                <a:gd name="T85" fmla="*/ 312 h 671"/>
                <a:gd name="T86" fmla="*/ 390 w 484"/>
                <a:gd name="T87" fmla="*/ 347 h 671"/>
                <a:gd name="T88" fmla="*/ 399 w 484"/>
                <a:gd name="T89" fmla="*/ 378 h 671"/>
                <a:gd name="T90" fmla="*/ 395 w 484"/>
                <a:gd name="T91" fmla="*/ 406 h 671"/>
                <a:gd name="T92" fmla="*/ 361 w 484"/>
                <a:gd name="T93" fmla="*/ 410 h 671"/>
                <a:gd name="T94" fmla="*/ 334 w 484"/>
                <a:gd name="T95" fmla="*/ 404 h 671"/>
                <a:gd name="T96" fmla="*/ 305 w 484"/>
                <a:gd name="T97" fmla="*/ 429 h 671"/>
                <a:gd name="T98" fmla="*/ 280 w 484"/>
                <a:gd name="T99" fmla="*/ 447 h 671"/>
                <a:gd name="T100" fmla="*/ 253 w 484"/>
                <a:gd name="T101" fmla="*/ 454 h 671"/>
                <a:gd name="T102" fmla="*/ 221 w 484"/>
                <a:gd name="T103" fmla="*/ 477 h 671"/>
                <a:gd name="T104" fmla="*/ 200 w 484"/>
                <a:gd name="T105" fmla="*/ 520 h 671"/>
                <a:gd name="T106" fmla="*/ 180 w 484"/>
                <a:gd name="T107" fmla="*/ 554 h 671"/>
                <a:gd name="T108" fmla="*/ 192 w 484"/>
                <a:gd name="T109" fmla="*/ 604 h 671"/>
                <a:gd name="T110" fmla="*/ 196 w 484"/>
                <a:gd name="T111" fmla="*/ 642 h 671"/>
                <a:gd name="T112" fmla="*/ 192 w 484"/>
                <a:gd name="T113" fmla="*/ 669 h 6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84" h="671">
                  <a:moveTo>
                    <a:pt x="192" y="669"/>
                  </a:moveTo>
                  <a:lnTo>
                    <a:pt x="188" y="665"/>
                  </a:lnTo>
                  <a:lnTo>
                    <a:pt x="182" y="669"/>
                  </a:lnTo>
                  <a:lnTo>
                    <a:pt x="175" y="671"/>
                  </a:lnTo>
                  <a:lnTo>
                    <a:pt x="167" y="667"/>
                  </a:lnTo>
                  <a:lnTo>
                    <a:pt x="161" y="667"/>
                  </a:lnTo>
                  <a:lnTo>
                    <a:pt x="150" y="660"/>
                  </a:lnTo>
                  <a:lnTo>
                    <a:pt x="148" y="652"/>
                  </a:lnTo>
                  <a:lnTo>
                    <a:pt x="140" y="644"/>
                  </a:lnTo>
                  <a:lnTo>
                    <a:pt x="136" y="633"/>
                  </a:lnTo>
                  <a:lnTo>
                    <a:pt x="134" y="623"/>
                  </a:lnTo>
                  <a:lnTo>
                    <a:pt x="133" y="612"/>
                  </a:lnTo>
                  <a:lnTo>
                    <a:pt x="129" y="602"/>
                  </a:lnTo>
                  <a:lnTo>
                    <a:pt x="127" y="592"/>
                  </a:lnTo>
                  <a:lnTo>
                    <a:pt x="123" y="579"/>
                  </a:lnTo>
                  <a:lnTo>
                    <a:pt x="121" y="571"/>
                  </a:lnTo>
                  <a:lnTo>
                    <a:pt x="117" y="564"/>
                  </a:lnTo>
                  <a:lnTo>
                    <a:pt x="109" y="558"/>
                  </a:lnTo>
                  <a:lnTo>
                    <a:pt x="102" y="550"/>
                  </a:lnTo>
                  <a:lnTo>
                    <a:pt x="102" y="541"/>
                  </a:lnTo>
                  <a:lnTo>
                    <a:pt x="100" y="535"/>
                  </a:lnTo>
                  <a:lnTo>
                    <a:pt x="92" y="527"/>
                  </a:lnTo>
                  <a:lnTo>
                    <a:pt x="90" y="521"/>
                  </a:lnTo>
                  <a:lnTo>
                    <a:pt x="98" y="516"/>
                  </a:lnTo>
                  <a:lnTo>
                    <a:pt x="92" y="512"/>
                  </a:lnTo>
                  <a:lnTo>
                    <a:pt x="90" y="506"/>
                  </a:lnTo>
                  <a:lnTo>
                    <a:pt x="98" y="506"/>
                  </a:lnTo>
                  <a:lnTo>
                    <a:pt x="102" y="498"/>
                  </a:lnTo>
                  <a:lnTo>
                    <a:pt x="100" y="491"/>
                  </a:lnTo>
                  <a:lnTo>
                    <a:pt x="98" y="485"/>
                  </a:lnTo>
                  <a:lnTo>
                    <a:pt x="92" y="477"/>
                  </a:lnTo>
                  <a:lnTo>
                    <a:pt x="98" y="473"/>
                  </a:lnTo>
                  <a:lnTo>
                    <a:pt x="100" y="468"/>
                  </a:lnTo>
                  <a:lnTo>
                    <a:pt x="98" y="462"/>
                  </a:lnTo>
                  <a:lnTo>
                    <a:pt x="88" y="456"/>
                  </a:lnTo>
                  <a:lnTo>
                    <a:pt x="81" y="452"/>
                  </a:lnTo>
                  <a:lnTo>
                    <a:pt x="71" y="447"/>
                  </a:lnTo>
                  <a:lnTo>
                    <a:pt x="71" y="439"/>
                  </a:lnTo>
                  <a:lnTo>
                    <a:pt x="67" y="435"/>
                  </a:lnTo>
                  <a:lnTo>
                    <a:pt x="60" y="431"/>
                  </a:lnTo>
                  <a:lnTo>
                    <a:pt x="58" y="422"/>
                  </a:lnTo>
                  <a:lnTo>
                    <a:pt x="67" y="416"/>
                  </a:lnTo>
                  <a:lnTo>
                    <a:pt x="73" y="408"/>
                  </a:lnTo>
                  <a:lnTo>
                    <a:pt x="77" y="397"/>
                  </a:lnTo>
                  <a:lnTo>
                    <a:pt x="77" y="389"/>
                  </a:lnTo>
                  <a:lnTo>
                    <a:pt x="79" y="379"/>
                  </a:lnTo>
                  <a:lnTo>
                    <a:pt x="81" y="372"/>
                  </a:lnTo>
                  <a:lnTo>
                    <a:pt x="85" y="362"/>
                  </a:lnTo>
                  <a:lnTo>
                    <a:pt x="86" y="355"/>
                  </a:lnTo>
                  <a:lnTo>
                    <a:pt x="85" y="347"/>
                  </a:lnTo>
                  <a:lnTo>
                    <a:pt x="81" y="341"/>
                  </a:lnTo>
                  <a:lnTo>
                    <a:pt x="81" y="332"/>
                  </a:lnTo>
                  <a:lnTo>
                    <a:pt x="79" y="322"/>
                  </a:lnTo>
                  <a:lnTo>
                    <a:pt x="77" y="310"/>
                  </a:lnTo>
                  <a:lnTo>
                    <a:pt x="71" y="303"/>
                  </a:lnTo>
                  <a:lnTo>
                    <a:pt x="62" y="299"/>
                  </a:lnTo>
                  <a:lnTo>
                    <a:pt x="52" y="295"/>
                  </a:lnTo>
                  <a:lnTo>
                    <a:pt x="46" y="289"/>
                  </a:lnTo>
                  <a:lnTo>
                    <a:pt x="35" y="289"/>
                  </a:lnTo>
                  <a:lnTo>
                    <a:pt x="25" y="287"/>
                  </a:lnTo>
                  <a:lnTo>
                    <a:pt x="12" y="287"/>
                  </a:lnTo>
                  <a:lnTo>
                    <a:pt x="0" y="289"/>
                  </a:lnTo>
                  <a:lnTo>
                    <a:pt x="8" y="280"/>
                  </a:lnTo>
                  <a:lnTo>
                    <a:pt x="14" y="272"/>
                  </a:lnTo>
                  <a:lnTo>
                    <a:pt x="15" y="264"/>
                  </a:lnTo>
                  <a:lnTo>
                    <a:pt x="27" y="261"/>
                  </a:lnTo>
                  <a:lnTo>
                    <a:pt x="35" y="253"/>
                  </a:lnTo>
                  <a:lnTo>
                    <a:pt x="38" y="249"/>
                  </a:lnTo>
                  <a:lnTo>
                    <a:pt x="44" y="239"/>
                  </a:lnTo>
                  <a:lnTo>
                    <a:pt x="50" y="241"/>
                  </a:lnTo>
                  <a:lnTo>
                    <a:pt x="63" y="245"/>
                  </a:lnTo>
                  <a:lnTo>
                    <a:pt x="75" y="239"/>
                  </a:lnTo>
                  <a:lnTo>
                    <a:pt x="83" y="232"/>
                  </a:lnTo>
                  <a:lnTo>
                    <a:pt x="85" y="220"/>
                  </a:lnTo>
                  <a:lnTo>
                    <a:pt x="86" y="213"/>
                  </a:lnTo>
                  <a:lnTo>
                    <a:pt x="90" y="201"/>
                  </a:lnTo>
                  <a:lnTo>
                    <a:pt x="96" y="188"/>
                  </a:lnTo>
                  <a:lnTo>
                    <a:pt x="104" y="172"/>
                  </a:lnTo>
                  <a:lnTo>
                    <a:pt x="111" y="165"/>
                  </a:lnTo>
                  <a:lnTo>
                    <a:pt x="119" y="155"/>
                  </a:lnTo>
                  <a:lnTo>
                    <a:pt x="123" y="143"/>
                  </a:lnTo>
                  <a:lnTo>
                    <a:pt x="127" y="136"/>
                  </a:lnTo>
                  <a:lnTo>
                    <a:pt x="136" y="126"/>
                  </a:lnTo>
                  <a:lnTo>
                    <a:pt x="138" y="119"/>
                  </a:lnTo>
                  <a:lnTo>
                    <a:pt x="136" y="111"/>
                  </a:lnTo>
                  <a:lnTo>
                    <a:pt x="140" y="101"/>
                  </a:lnTo>
                  <a:lnTo>
                    <a:pt x="148" y="96"/>
                  </a:lnTo>
                  <a:lnTo>
                    <a:pt x="154" y="88"/>
                  </a:lnTo>
                  <a:lnTo>
                    <a:pt x="156" y="82"/>
                  </a:lnTo>
                  <a:lnTo>
                    <a:pt x="163" y="82"/>
                  </a:lnTo>
                  <a:lnTo>
                    <a:pt x="165" y="73"/>
                  </a:lnTo>
                  <a:lnTo>
                    <a:pt x="167" y="63"/>
                  </a:lnTo>
                  <a:lnTo>
                    <a:pt x="167" y="53"/>
                  </a:lnTo>
                  <a:lnTo>
                    <a:pt x="165" y="46"/>
                  </a:lnTo>
                  <a:lnTo>
                    <a:pt x="175" y="34"/>
                  </a:lnTo>
                  <a:lnTo>
                    <a:pt x="180" y="25"/>
                  </a:lnTo>
                  <a:lnTo>
                    <a:pt x="179" y="17"/>
                  </a:lnTo>
                  <a:lnTo>
                    <a:pt x="182" y="7"/>
                  </a:lnTo>
                  <a:lnTo>
                    <a:pt x="190" y="0"/>
                  </a:lnTo>
                  <a:lnTo>
                    <a:pt x="196" y="5"/>
                  </a:lnTo>
                  <a:lnTo>
                    <a:pt x="211" y="3"/>
                  </a:lnTo>
                  <a:lnTo>
                    <a:pt x="219" y="5"/>
                  </a:lnTo>
                  <a:lnTo>
                    <a:pt x="227" y="13"/>
                  </a:lnTo>
                  <a:lnTo>
                    <a:pt x="236" y="15"/>
                  </a:lnTo>
                  <a:lnTo>
                    <a:pt x="242" y="13"/>
                  </a:lnTo>
                  <a:lnTo>
                    <a:pt x="244" y="25"/>
                  </a:lnTo>
                  <a:lnTo>
                    <a:pt x="251" y="28"/>
                  </a:lnTo>
                  <a:lnTo>
                    <a:pt x="261" y="28"/>
                  </a:lnTo>
                  <a:lnTo>
                    <a:pt x="269" y="32"/>
                  </a:lnTo>
                  <a:lnTo>
                    <a:pt x="278" y="36"/>
                  </a:lnTo>
                  <a:lnTo>
                    <a:pt x="298" y="42"/>
                  </a:lnTo>
                  <a:lnTo>
                    <a:pt x="298" y="48"/>
                  </a:lnTo>
                  <a:lnTo>
                    <a:pt x="290" y="53"/>
                  </a:lnTo>
                  <a:lnTo>
                    <a:pt x="294" y="57"/>
                  </a:lnTo>
                  <a:lnTo>
                    <a:pt x="296" y="65"/>
                  </a:lnTo>
                  <a:lnTo>
                    <a:pt x="298" y="73"/>
                  </a:lnTo>
                  <a:lnTo>
                    <a:pt x="294" y="78"/>
                  </a:lnTo>
                  <a:lnTo>
                    <a:pt x="296" y="84"/>
                  </a:lnTo>
                  <a:lnTo>
                    <a:pt x="303" y="84"/>
                  </a:lnTo>
                  <a:lnTo>
                    <a:pt x="309" y="86"/>
                  </a:lnTo>
                  <a:lnTo>
                    <a:pt x="309" y="94"/>
                  </a:lnTo>
                  <a:lnTo>
                    <a:pt x="307" y="101"/>
                  </a:lnTo>
                  <a:lnTo>
                    <a:pt x="301" y="107"/>
                  </a:lnTo>
                  <a:lnTo>
                    <a:pt x="299" y="115"/>
                  </a:lnTo>
                  <a:lnTo>
                    <a:pt x="301" y="122"/>
                  </a:lnTo>
                  <a:lnTo>
                    <a:pt x="309" y="122"/>
                  </a:lnTo>
                  <a:lnTo>
                    <a:pt x="315" y="117"/>
                  </a:lnTo>
                  <a:lnTo>
                    <a:pt x="317" y="105"/>
                  </a:lnTo>
                  <a:lnTo>
                    <a:pt x="322" y="103"/>
                  </a:lnTo>
                  <a:lnTo>
                    <a:pt x="328" y="107"/>
                  </a:lnTo>
                  <a:lnTo>
                    <a:pt x="342" y="109"/>
                  </a:lnTo>
                  <a:lnTo>
                    <a:pt x="346" y="99"/>
                  </a:lnTo>
                  <a:lnTo>
                    <a:pt x="347" y="94"/>
                  </a:lnTo>
                  <a:lnTo>
                    <a:pt x="353" y="90"/>
                  </a:lnTo>
                  <a:lnTo>
                    <a:pt x="363" y="90"/>
                  </a:lnTo>
                  <a:lnTo>
                    <a:pt x="370" y="94"/>
                  </a:lnTo>
                  <a:lnTo>
                    <a:pt x="386" y="97"/>
                  </a:lnTo>
                  <a:lnTo>
                    <a:pt x="392" y="101"/>
                  </a:lnTo>
                  <a:lnTo>
                    <a:pt x="399" y="103"/>
                  </a:lnTo>
                  <a:lnTo>
                    <a:pt x="411" y="109"/>
                  </a:lnTo>
                  <a:lnTo>
                    <a:pt x="418" y="119"/>
                  </a:lnTo>
                  <a:lnTo>
                    <a:pt x="428" y="122"/>
                  </a:lnTo>
                  <a:lnTo>
                    <a:pt x="440" y="126"/>
                  </a:lnTo>
                  <a:lnTo>
                    <a:pt x="449" y="130"/>
                  </a:lnTo>
                  <a:lnTo>
                    <a:pt x="459" y="136"/>
                  </a:lnTo>
                  <a:lnTo>
                    <a:pt x="468" y="136"/>
                  </a:lnTo>
                  <a:lnTo>
                    <a:pt x="484" y="136"/>
                  </a:lnTo>
                  <a:lnTo>
                    <a:pt x="480" y="142"/>
                  </a:lnTo>
                  <a:lnTo>
                    <a:pt x="474" y="151"/>
                  </a:lnTo>
                  <a:lnTo>
                    <a:pt x="466" y="157"/>
                  </a:lnTo>
                  <a:lnTo>
                    <a:pt x="461" y="159"/>
                  </a:lnTo>
                  <a:lnTo>
                    <a:pt x="453" y="167"/>
                  </a:lnTo>
                  <a:lnTo>
                    <a:pt x="451" y="170"/>
                  </a:lnTo>
                  <a:lnTo>
                    <a:pt x="445" y="176"/>
                  </a:lnTo>
                  <a:lnTo>
                    <a:pt x="432" y="182"/>
                  </a:lnTo>
                  <a:lnTo>
                    <a:pt x="426" y="188"/>
                  </a:lnTo>
                  <a:lnTo>
                    <a:pt x="424" y="195"/>
                  </a:lnTo>
                  <a:lnTo>
                    <a:pt x="418" y="199"/>
                  </a:lnTo>
                  <a:lnTo>
                    <a:pt x="413" y="211"/>
                  </a:lnTo>
                  <a:lnTo>
                    <a:pt x="405" y="218"/>
                  </a:lnTo>
                  <a:lnTo>
                    <a:pt x="403" y="230"/>
                  </a:lnTo>
                  <a:lnTo>
                    <a:pt x="401" y="236"/>
                  </a:lnTo>
                  <a:lnTo>
                    <a:pt x="403" y="247"/>
                  </a:lnTo>
                  <a:lnTo>
                    <a:pt x="409" y="255"/>
                  </a:lnTo>
                  <a:lnTo>
                    <a:pt x="405" y="264"/>
                  </a:lnTo>
                  <a:lnTo>
                    <a:pt x="405" y="272"/>
                  </a:lnTo>
                  <a:lnTo>
                    <a:pt x="403" y="284"/>
                  </a:lnTo>
                  <a:lnTo>
                    <a:pt x="405" y="291"/>
                  </a:lnTo>
                  <a:lnTo>
                    <a:pt x="411" y="299"/>
                  </a:lnTo>
                  <a:lnTo>
                    <a:pt x="409" y="305"/>
                  </a:lnTo>
                  <a:lnTo>
                    <a:pt x="403" y="308"/>
                  </a:lnTo>
                  <a:lnTo>
                    <a:pt x="397" y="312"/>
                  </a:lnTo>
                  <a:lnTo>
                    <a:pt x="388" y="322"/>
                  </a:lnTo>
                  <a:lnTo>
                    <a:pt x="390" y="332"/>
                  </a:lnTo>
                  <a:lnTo>
                    <a:pt x="393" y="339"/>
                  </a:lnTo>
                  <a:lnTo>
                    <a:pt x="390" y="347"/>
                  </a:lnTo>
                  <a:lnTo>
                    <a:pt x="390" y="353"/>
                  </a:lnTo>
                  <a:lnTo>
                    <a:pt x="390" y="360"/>
                  </a:lnTo>
                  <a:lnTo>
                    <a:pt x="392" y="368"/>
                  </a:lnTo>
                  <a:lnTo>
                    <a:pt x="399" y="378"/>
                  </a:lnTo>
                  <a:lnTo>
                    <a:pt x="403" y="385"/>
                  </a:lnTo>
                  <a:lnTo>
                    <a:pt x="403" y="393"/>
                  </a:lnTo>
                  <a:lnTo>
                    <a:pt x="403" y="402"/>
                  </a:lnTo>
                  <a:lnTo>
                    <a:pt x="395" y="406"/>
                  </a:lnTo>
                  <a:lnTo>
                    <a:pt x="382" y="410"/>
                  </a:lnTo>
                  <a:lnTo>
                    <a:pt x="370" y="412"/>
                  </a:lnTo>
                  <a:lnTo>
                    <a:pt x="367" y="410"/>
                  </a:lnTo>
                  <a:lnTo>
                    <a:pt x="361" y="410"/>
                  </a:lnTo>
                  <a:lnTo>
                    <a:pt x="353" y="412"/>
                  </a:lnTo>
                  <a:lnTo>
                    <a:pt x="346" y="410"/>
                  </a:lnTo>
                  <a:lnTo>
                    <a:pt x="342" y="404"/>
                  </a:lnTo>
                  <a:lnTo>
                    <a:pt x="334" y="404"/>
                  </a:lnTo>
                  <a:lnTo>
                    <a:pt x="326" y="410"/>
                  </a:lnTo>
                  <a:lnTo>
                    <a:pt x="315" y="418"/>
                  </a:lnTo>
                  <a:lnTo>
                    <a:pt x="309" y="426"/>
                  </a:lnTo>
                  <a:lnTo>
                    <a:pt x="305" y="429"/>
                  </a:lnTo>
                  <a:lnTo>
                    <a:pt x="298" y="431"/>
                  </a:lnTo>
                  <a:lnTo>
                    <a:pt x="290" y="433"/>
                  </a:lnTo>
                  <a:lnTo>
                    <a:pt x="290" y="439"/>
                  </a:lnTo>
                  <a:lnTo>
                    <a:pt x="280" y="447"/>
                  </a:lnTo>
                  <a:lnTo>
                    <a:pt x="276" y="452"/>
                  </a:lnTo>
                  <a:lnTo>
                    <a:pt x="267" y="452"/>
                  </a:lnTo>
                  <a:lnTo>
                    <a:pt x="257" y="447"/>
                  </a:lnTo>
                  <a:lnTo>
                    <a:pt x="253" y="454"/>
                  </a:lnTo>
                  <a:lnTo>
                    <a:pt x="240" y="458"/>
                  </a:lnTo>
                  <a:lnTo>
                    <a:pt x="228" y="460"/>
                  </a:lnTo>
                  <a:lnTo>
                    <a:pt x="225" y="468"/>
                  </a:lnTo>
                  <a:lnTo>
                    <a:pt x="221" y="477"/>
                  </a:lnTo>
                  <a:lnTo>
                    <a:pt x="217" y="487"/>
                  </a:lnTo>
                  <a:lnTo>
                    <a:pt x="217" y="495"/>
                  </a:lnTo>
                  <a:lnTo>
                    <a:pt x="207" y="506"/>
                  </a:lnTo>
                  <a:lnTo>
                    <a:pt x="200" y="520"/>
                  </a:lnTo>
                  <a:lnTo>
                    <a:pt x="192" y="525"/>
                  </a:lnTo>
                  <a:lnTo>
                    <a:pt x="188" y="535"/>
                  </a:lnTo>
                  <a:lnTo>
                    <a:pt x="180" y="544"/>
                  </a:lnTo>
                  <a:lnTo>
                    <a:pt x="180" y="554"/>
                  </a:lnTo>
                  <a:lnTo>
                    <a:pt x="180" y="567"/>
                  </a:lnTo>
                  <a:lnTo>
                    <a:pt x="186" y="579"/>
                  </a:lnTo>
                  <a:lnTo>
                    <a:pt x="192" y="596"/>
                  </a:lnTo>
                  <a:lnTo>
                    <a:pt x="192" y="604"/>
                  </a:lnTo>
                  <a:lnTo>
                    <a:pt x="196" y="612"/>
                  </a:lnTo>
                  <a:lnTo>
                    <a:pt x="198" y="623"/>
                  </a:lnTo>
                  <a:lnTo>
                    <a:pt x="198" y="635"/>
                  </a:lnTo>
                  <a:lnTo>
                    <a:pt x="196" y="642"/>
                  </a:lnTo>
                  <a:lnTo>
                    <a:pt x="194" y="652"/>
                  </a:lnTo>
                  <a:lnTo>
                    <a:pt x="192" y="660"/>
                  </a:lnTo>
                  <a:lnTo>
                    <a:pt x="188" y="665"/>
                  </a:lnTo>
                  <a:lnTo>
                    <a:pt x="192" y="66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/>
            </a:p>
          </p:txBody>
        </p:sp>
        <p:sp>
          <p:nvSpPr>
            <p:cNvPr id="136" name="Freeform 21"/>
            <p:cNvSpPr>
              <a:spLocks/>
            </p:cNvSpPr>
            <p:nvPr/>
          </p:nvSpPr>
          <p:spPr bwMode="auto">
            <a:xfrm>
              <a:off x="7254208" y="1529113"/>
              <a:ext cx="743966" cy="1085847"/>
            </a:xfrm>
            <a:custGeom>
              <a:avLst/>
              <a:gdLst>
                <a:gd name="T0" fmla="*/ 294 w 380"/>
                <a:gd name="T1" fmla="*/ 15 h 556"/>
                <a:gd name="T2" fmla="*/ 273 w 380"/>
                <a:gd name="T3" fmla="*/ 31 h 556"/>
                <a:gd name="T4" fmla="*/ 252 w 380"/>
                <a:gd name="T5" fmla="*/ 46 h 556"/>
                <a:gd name="T6" fmla="*/ 238 w 380"/>
                <a:gd name="T7" fmla="*/ 63 h 556"/>
                <a:gd name="T8" fmla="*/ 223 w 380"/>
                <a:gd name="T9" fmla="*/ 94 h 556"/>
                <a:gd name="T10" fmla="*/ 229 w 380"/>
                <a:gd name="T11" fmla="*/ 119 h 556"/>
                <a:gd name="T12" fmla="*/ 223 w 380"/>
                <a:gd name="T13" fmla="*/ 148 h 556"/>
                <a:gd name="T14" fmla="*/ 229 w 380"/>
                <a:gd name="T15" fmla="*/ 169 h 556"/>
                <a:gd name="T16" fmla="*/ 208 w 380"/>
                <a:gd name="T17" fmla="*/ 186 h 556"/>
                <a:gd name="T18" fmla="*/ 210 w 380"/>
                <a:gd name="T19" fmla="*/ 211 h 556"/>
                <a:gd name="T20" fmla="*/ 212 w 380"/>
                <a:gd name="T21" fmla="*/ 232 h 556"/>
                <a:gd name="T22" fmla="*/ 223 w 380"/>
                <a:gd name="T23" fmla="*/ 257 h 556"/>
                <a:gd name="T24" fmla="*/ 202 w 380"/>
                <a:gd name="T25" fmla="*/ 274 h 556"/>
                <a:gd name="T26" fmla="*/ 181 w 380"/>
                <a:gd name="T27" fmla="*/ 274 h 556"/>
                <a:gd name="T28" fmla="*/ 162 w 380"/>
                <a:gd name="T29" fmla="*/ 268 h 556"/>
                <a:gd name="T30" fmla="*/ 135 w 380"/>
                <a:gd name="T31" fmla="*/ 282 h 556"/>
                <a:gd name="T32" fmla="*/ 118 w 380"/>
                <a:gd name="T33" fmla="*/ 295 h 556"/>
                <a:gd name="T34" fmla="*/ 100 w 380"/>
                <a:gd name="T35" fmla="*/ 311 h 556"/>
                <a:gd name="T36" fmla="*/ 77 w 380"/>
                <a:gd name="T37" fmla="*/ 311 h 556"/>
                <a:gd name="T38" fmla="*/ 48 w 380"/>
                <a:gd name="T39" fmla="*/ 324 h 556"/>
                <a:gd name="T40" fmla="*/ 37 w 380"/>
                <a:gd name="T41" fmla="*/ 351 h 556"/>
                <a:gd name="T42" fmla="*/ 20 w 380"/>
                <a:gd name="T43" fmla="*/ 384 h 556"/>
                <a:gd name="T44" fmla="*/ 0 w 380"/>
                <a:gd name="T45" fmla="*/ 408 h 556"/>
                <a:gd name="T46" fmla="*/ 6 w 380"/>
                <a:gd name="T47" fmla="*/ 443 h 556"/>
                <a:gd name="T48" fmla="*/ 16 w 380"/>
                <a:gd name="T49" fmla="*/ 476 h 556"/>
                <a:gd name="T50" fmla="*/ 16 w 380"/>
                <a:gd name="T51" fmla="*/ 506 h 556"/>
                <a:gd name="T52" fmla="*/ 8 w 380"/>
                <a:gd name="T53" fmla="*/ 529 h 556"/>
                <a:gd name="T54" fmla="*/ 25 w 380"/>
                <a:gd name="T55" fmla="*/ 537 h 556"/>
                <a:gd name="T56" fmla="*/ 50 w 380"/>
                <a:gd name="T57" fmla="*/ 556 h 556"/>
                <a:gd name="T58" fmla="*/ 79 w 380"/>
                <a:gd name="T59" fmla="*/ 550 h 556"/>
                <a:gd name="T60" fmla="*/ 114 w 380"/>
                <a:gd name="T61" fmla="*/ 543 h 556"/>
                <a:gd name="T62" fmla="*/ 141 w 380"/>
                <a:gd name="T63" fmla="*/ 516 h 556"/>
                <a:gd name="T64" fmla="*/ 162 w 380"/>
                <a:gd name="T65" fmla="*/ 485 h 556"/>
                <a:gd name="T66" fmla="*/ 183 w 380"/>
                <a:gd name="T67" fmla="*/ 460 h 556"/>
                <a:gd name="T68" fmla="*/ 210 w 380"/>
                <a:gd name="T69" fmla="*/ 458 h 556"/>
                <a:gd name="T70" fmla="*/ 237 w 380"/>
                <a:gd name="T71" fmla="*/ 460 h 556"/>
                <a:gd name="T72" fmla="*/ 265 w 380"/>
                <a:gd name="T73" fmla="*/ 458 h 556"/>
                <a:gd name="T74" fmla="*/ 298 w 380"/>
                <a:gd name="T75" fmla="*/ 431 h 556"/>
                <a:gd name="T76" fmla="*/ 325 w 380"/>
                <a:gd name="T77" fmla="*/ 412 h 556"/>
                <a:gd name="T78" fmla="*/ 352 w 380"/>
                <a:gd name="T79" fmla="*/ 395 h 556"/>
                <a:gd name="T80" fmla="*/ 369 w 380"/>
                <a:gd name="T81" fmla="*/ 366 h 556"/>
                <a:gd name="T82" fmla="*/ 361 w 380"/>
                <a:gd name="T83" fmla="*/ 339 h 556"/>
                <a:gd name="T84" fmla="*/ 375 w 380"/>
                <a:gd name="T85" fmla="*/ 311 h 556"/>
                <a:gd name="T86" fmla="*/ 377 w 380"/>
                <a:gd name="T87" fmla="*/ 282 h 556"/>
                <a:gd name="T88" fmla="*/ 354 w 380"/>
                <a:gd name="T89" fmla="*/ 265 h 556"/>
                <a:gd name="T90" fmla="*/ 346 w 380"/>
                <a:gd name="T91" fmla="*/ 226 h 556"/>
                <a:gd name="T92" fmla="*/ 344 w 380"/>
                <a:gd name="T93" fmla="*/ 201 h 556"/>
                <a:gd name="T94" fmla="*/ 348 w 380"/>
                <a:gd name="T95" fmla="*/ 155 h 556"/>
                <a:gd name="T96" fmla="*/ 350 w 380"/>
                <a:gd name="T97" fmla="*/ 119 h 556"/>
                <a:gd name="T98" fmla="*/ 359 w 380"/>
                <a:gd name="T99" fmla="*/ 94 h 556"/>
                <a:gd name="T100" fmla="*/ 371 w 380"/>
                <a:gd name="T101" fmla="*/ 78 h 556"/>
                <a:gd name="T102" fmla="*/ 354 w 380"/>
                <a:gd name="T103" fmla="*/ 65 h 556"/>
                <a:gd name="T104" fmla="*/ 340 w 380"/>
                <a:gd name="T105" fmla="*/ 44 h 556"/>
                <a:gd name="T106" fmla="*/ 344 w 380"/>
                <a:gd name="T107" fmla="*/ 29 h 556"/>
                <a:gd name="T108" fmla="*/ 336 w 380"/>
                <a:gd name="T109" fmla="*/ 9 h 556"/>
                <a:gd name="T110" fmla="*/ 315 w 380"/>
                <a:gd name="T111" fmla="*/ 4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80" h="556">
                  <a:moveTo>
                    <a:pt x="304" y="0"/>
                  </a:moveTo>
                  <a:lnTo>
                    <a:pt x="300" y="6"/>
                  </a:lnTo>
                  <a:lnTo>
                    <a:pt x="294" y="15"/>
                  </a:lnTo>
                  <a:lnTo>
                    <a:pt x="286" y="21"/>
                  </a:lnTo>
                  <a:lnTo>
                    <a:pt x="281" y="23"/>
                  </a:lnTo>
                  <a:lnTo>
                    <a:pt x="273" y="31"/>
                  </a:lnTo>
                  <a:lnTo>
                    <a:pt x="271" y="34"/>
                  </a:lnTo>
                  <a:lnTo>
                    <a:pt x="265" y="40"/>
                  </a:lnTo>
                  <a:lnTo>
                    <a:pt x="252" y="46"/>
                  </a:lnTo>
                  <a:lnTo>
                    <a:pt x="246" y="52"/>
                  </a:lnTo>
                  <a:lnTo>
                    <a:pt x="244" y="59"/>
                  </a:lnTo>
                  <a:lnTo>
                    <a:pt x="238" y="63"/>
                  </a:lnTo>
                  <a:lnTo>
                    <a:pt x="233" y="75"/>
                  </a:lnTo>
                  <a:lnTo>
                    <a:pt x="225" y="82"/>
                  </a:lnTo>
                  <a:lnTo>
                    <a:pt x="223" y="94"/>
                  </a:lnTo>
                  <a:lnTo>
                    <a:pt x="221" y="100"/>
                  </a:lnTo>
                  <a:lnTo>
                    <a:pt x="223" y="111"/>
                  </a:lnTo>
                  <a:lnTo>
                    <a:pt x="229" y="119"/>
                  </a:lnTo>
                  <a:lnTo>
                    <a:pt x="225" y="128"/>
                  </a:lnTo>
                  <a:lnTo>
                    <a:pt x="225" y="136"/>
                  </a:lnTo>
                  <a:lnTo>
                    <a:pt x="223" y="148"/>
                  </a:lnTo>
                  <a:lnTo>
                    <a:pt x="225" y="155"/>
                  </a:lnTo>
                  <a:lnTo>
                    <a:pt x="231" y="163"/>
                  </a:lnTo>
                  <a:lnTo>
                    <a:pt x="229" y="169"/>
                  </a:lnTo>
                  <a:lnTo>
                    <a:pt x="223" y="172"/>
                  </a:lnTo>
                  <a:lnTo>
                    <a:pt x="217" y="176"/>
                  </a:lnTo>
                  <a:lnTo>
                    <a:pt x="208" y="186"/>
                  </a:lnTo>
                  <a:lnTo>
                    <a:pt x="210" y="196"/>
                  </a:lnTo>
                  <a:lnTo>
                    <a:pt x="213" y="203"/>
                  </a:lnTo>
                  <a:lnTo>
                    <a:pt x="210" y="211"/>
                  </a:lnTo>
                  <a:lnTo>
                    <a:pt x="210" y="217"/>
                  </a:lnTo>
                  <a:lnTo>
                    <a:pt x="210" y="224"/>
                  </a:lnTo>
                  <a:lnTo>
                    <a:pt x="212" y="232"/>
                  </a:lnTo>
                  <a:lnTo>
                    <a:pt x="219" y="242"/>
                  </a:lnTo>
                  <a:lnTo>
                    <a:pt x="223" y="249"/>
                  </a:lnTo>
                  <a:lnTo>
                    <a:pt x="223" y="257"/>
                  </a:lnTo>
                  <a:lnTo>
                    <a:pt x="223" y="266"/>
                  </a:lnTo>
                  <a:lnTo>
                    <a:pt x="215" y="270"/>
                  </a:lnTo>
                  <a:lnTo>
                    <a:pt x="202" y="274"/>
                  </a:lnTo>
                  <a:lnTo>
                    <a:pt x="190" y="276"/>
                  </a:lnTo>
                  <a:lnTo>
                    <a:pt x="187" y="274"/>
                  </a:lnTo>
                  <a:lnTo>
                    <a:pt x="181" y="274"/>
                  </a:lnTo>
                  <a:lnTo>
                    <a:pt x="173" y="276"/>
                  </a:lnTo>
                  <a:lnTo>
                    <a:pt x="166" y="274"/>
                  </a:lnTo>
                  <a:lnTo>
                    <a:pt x="162" y="268"/>
                  </a:lnTo>
                  <a:lnTo>
                    <a:pt x="154" y="268"/>
                  </a:lnTo>
                  <a:lnTo>
                    <a:pt x="146" y="274"/>
                  </a:lnTo>
                  <a:lnTo>
                    <a:pt x="135" y="282"/>
                  </a:lnTo>
                  <a:lnTo>
                    <a:pt x="129" y="290"/>
                  </a:lnTo>
                  <a:lnTo>
                    <a:pt x="125" y="293"/>
                  </a:lnTo>
                  <a:lnTo>
                    <a:pt x="118" y="295"/>
                  </a:lnTo>
                  <a:lnTo>
                    <a:pt x="110" y="297"/>
                  </a:lnTo>
                  <a:lnTo>
                    <a:pt x="110" y="303"/>
                  </a:lnTo>
                  <a:lnTo>
                    <a:pt x="100" y="311"/>
                  </a:lnTo>
                  <a:lnTo>
                    <a:pt x="96" y="316"/>
                  </a:lnTo>
                  <a:lnTo>
                    <a:pt x="87" y="316"/>
                  </a:lnTo>
                  <a:lnTo>
                    <a:pt x="77" y="311"/>
                  </a:lnTo>
                  <a:lnTo>
                    <a:pt x="73" y="318"/>
                  </a:lnTo>
                  <a:lnTo>
                    <a:pt x="60" y="322"/>
                  </a:lnTo>
                  <a:lnTo>
                    <a:pt x="48" y="324"/>
                  </a:lnTo>
                  <a:lnTo>
                    <a:pt x="45" y="332"/>
                  </a:lnTo>
                  <a:lnTo>
                    <a:pt x="41" y="341"/>
                  </a:lnTo>
                  <a:lnTo>
                    <a:pt x="37" y="351"/>
                  </a:lnTo>
                  <a:lnTo>
                    <a:pt x="37" y="359"/>
                  </a:lnTo>
                  <a:lnTo>
                    <a:pt x="27" y="370"/>
                  </a:lnTo>
                  <a:lnTo>
                    <a:pt x="20" y="384"/>
                  </a:lnTo>
                  <a:lnTo>
                    <a:pt x="12" y="389"/>
                  </a:lnTo>
                  <a:lnTo>
                    <a:pt x="8" y="399"/>
                  </a:lnTo>
                  <a:lnTo>
                    <a:pt x="0" y="408"/>
                  </a:lnTo>
                  <a:lnTo>
                    <a:pt x="0" y="418"/>
                  </a:lnTo>
                  <a:lnTo>
                    <a:pt x="0" y="431"/>
                  </a:lnTo>
                  <a:lnTo>
                    <a:pt x="6" y="443"/>
                  </a:lnTo>
                  <a:lnTo>
                    <a:pt x="12" y="460"/>
                  </a:lnTo>
                  <a:lnTo>
                    <a:pt x="12" y="468"/>
                  </a:lnTo>
                  <a:lnTo>
                    <a:pt x="16" y="476"/>
                  </a:lnTo>
                  <a:lnTo>
                    <a:pt x="18" y="487"/>
                  </a:lnTo>
                  <a:lnTo>
                    <a:pt x="18" y="499"/>
                  </a:lnTo>
                  <a:lnTo>
                    <a:pt x="16" y="506"/>
                  </a:lnTo>
                  <a:lnTo>
                    <a:pt x="14" y="516"/>
                  </a:lnTo>
                  <a:lnTo>
                    <a:pt x="12" y="524"/>
                  </a:lnTo>
                  <a:lnTo>
                    <a:pt x="8" y="529"/>
                  </a:lnTo>
                  <a:lnTo>
                    <a:pt x="12" y="533"/>
                  </a:lnTo>
                  <a:lnTo>
                    <a:pt x="16" y="533"/>
                  </a:lnTo>
                  <a:lnTo>
                    <a:pt x="25" y="537"/>
                  </a:lnTo>
                  <a:lnTo>
                    <a:pt x="33" y="543"/>
                  </a:lnTo>
                  <a:lnTo>
                    <a:pt x="39" y="549"/>
                  </a:lnTo>
                  <a:lnTo>
                    <a:pt x="50" y="556"/>
                  </a:lnTo>
                  <a:lnTo>
                    <a:pt x="60" y="556"/>
                  </a:lnTo>
                  <a:lnTo>
                    <a:pt x="71" y="556"/>
                  </a:lnTo>
                  <a:lnTo>
                    <a:pt x="79" y="550"/>
                  </a:lnTo>
                  <a:lnTo>
                    <a:pt x="93" y="550"/>
                  </a:lnTo>
                  <a:lnTo>
                    <a:pt x="106" y="550"/>
                  </a:lnTo>
                  <a:lnTo>
                    <a:pt x="114" y="543"/>
                  </a:lnTo>
                  <a:lnTo>
                    <a:pt x="127" y="537"/>
                  </a:lnTo>
                  <a:lnTo>
                    <a:pt x="135" y="527"/>
                  </a:lnTo>
                  <a:lnTo>
                    <a:pt x="141" y="516"/>
                  </a:lnTo>
                  <a:lnTo>
                    <a:pt x="148" y="502"/>
                  </a:lnTo>
                  <a:lnTo>
                    <a:pt x="154" y="495"/>
                  </a:lnTo>
                  <a:lnTo>
                    <a:pt x="162" y="485"/>
                  </a:lnTo>
                  <a:lnTo>
                    <a:pt x="167" y="476"/>
                  </a:lnTo>
                  <a:lnTo>
                    <a:pt x="173" y="466"/>
                  </a:lnTo>
                  <a:lnTo>
                    <a:pt x="183" y="460"/>
                  </a:lnTo>
                  <a:lnTo>
                    <a:pt x="194" y="458"/>
                  </a:lnTo>
                  <a:lnTo>
                    <a:pt x="202" y="454"/>
                  </a:lnTo>
                  <a:lnTo>
                    <a:pt x="210" y="458"/>
                  </a:lnTo>
                  <a:lnTo>
                    <a:pt x="213" y="464"/>
                  </a:lnTo>
                  <a:lnTo>
                    <a:pt x="223" y="462"/>
                  </a:lnTo>
                  <a:lnTo>
                    <a:pt x="237" y="460"/>
                  </a:lnTo>
                  <a:lnTo>
                    <a:pt x="248" y="462"/>
                  </a:lnTo>
                  <a:lnTo>
                    <a:pt x="258" y="460"/>
                  </a:lnTo>
                  <a:lnTo>
                    <a:pt x="265" y="458"/>
                  </a:lnTo>
                  <a:lnTo>
                    <a:pt x="281" y="451"/>
                  </a:lnTo>
                  <a:lnTo>
                    <a:pt x="288" y="443"/>
                  </a:lnTo>
                  <a:lnTo>
                    <a:pt x="298" y="431"/>
                  </a:lnTo>
                  <a:lnTo>
                    <a:pt x="304" y="422"/>
                  </a:lnTo>
                  <a:lnTo>
                    <a:pt x="313" y="414"/>
                  </a:lnTo>
                  <a:lnTo>
                    <a:pt x="325" y="412"/>
                  </a:lnTo>
                  <a:lnTo>
                    <a:pt x="331" y="405"/>
                  </a:lnTo>
                  <a:lnTo>
                    <a:pt x="338" y="401"/>
                  </a:lnTo>
                  <a:lnTo>
                    <a:pt x="352" y="395"/>
                  </a:lnTo>
                  <a:lnTo>
                    <a:pt x="361" y="387"/>
                  </a:lnTo>
                  <a:lnTo>
                    <a:pt x="367" y="378"/>
                  </a:lnTo>
                  <a:lnTo>
                    <a:pt x="369" y="366"/>
                  </a:lnTo>
                  <a:lnTo>
                    <a:pt x="369" y="355"/>
                  </a:lnTo>
                  <a:lnTo>
                    <a:pt x="365" y="345"/>
                  </a:lnTo>
                  <a:lnTo>
                    <a:pt x="361" y="339"/>
                  </a:lnTo>
                  <a:lnTo>
                    <a:pt x="365" y="332"/>
                  </a:lnTo>
                  <a:lnTo>
                    <a:pt x="371" y="324"/>
                  </a:lnTo>
                  <a:lnTo>
                    <a:pt x="375" y="311"/>
                  </a:lnTo>
                  <a:lnTo>
                    <a:pt x="379" y="301"/>
                  </a:lnTo>
                  <a:lnTo>
                    <a:pt x="380" y="290"/>
                  </a:lnTo>
                  <a:lnTo>
                    <a:pt x="377" y="282"/>
                  </a:lnTo>
                  <a:lnTo>
                    <a:pt x="365" y="278"/>
                  </a:lnTo>
                  <a:lnTo>
                    <a:pt x="355" y="272"/>
                  </a:lnTo>
                  <a:lnTo>
                    <a:pt x="354" y="265"/>
                  </a:lnTo>
                  <a:lnTo>
                    <a:pt x="348" y="255"/>
                  </a:lnTo>
                  <a:lnTo>
                    <a:pt x="348" y="236"/>
                  </a:lnTo>
                  <a:lnTo>
                    <a:pt x="346" y="226"/>
                  </a:lnTo>
                  <a:lnTo>
                    <a:pt x="340" y="222"/>
                  </a:lnTo>
                  <a:lnTo>
                    <a:pt x="344" y="211"/>
                  </a:lnTo>
                  <a:lnTo>
                    <a:pt x="344" y="201"/>
                  </a:lnTo>
                  <a:lnTo>
                    <a:pt x="346" y="182"/>
                  </a:lnTo>
                  <a:lnTo>
                    <a:pt x="350" y="169"/>
                  </a:lnTo>
                  <a:lnTo>
                    <a:pt x="348" y="155"/>
                  </a:lnTo>
                  <a:lnTo>
                    <a:pt x="348" y="144"/>
                  </a:lnTo>
                  <a:lnTo>
                    <a:pt x="350" y="132"/>
                  </a:lnTo>
                  <a:lnTo>
                    <a:pt x="350" y="119"/>
                  </a:lnTo>
                  <a:lnTo>
                    <a:pt x="350" y="109"/>
                  </a:lnTo>
                  <a:lnTo>
                    <a:pt x="354" y="98"/>
                  </a:lnTo>
                  <a:lnTo>
                    <a:pt x="359" y="94"/>
                  </a:lnTo>
                  <a:lnTo>
                    <a:pt x="369" y="94"/>
                  </a:lnTo>
                  <a:lnTo>
                    <a:pt x="371" y="86"/>
                  </a:lnTo>
                  <a:lnTo>
                    <a:pt x="371" y="78"/>
                  </a:lnTo>
                  <a:lnTo>
                    <a:pt x="367" y="73"/>
                  </a:lnTo>
                  <a:lnTo>
                    <a:pt x="359" y="71"/>
                  </a:lnTo>
                  <a:lnTo>
                    <a:pt x="354" y="65"/>
                  </a:lnTo>
                  <a:lnTo>
                    <a:pt x="348" y="59"/>
                  </a:lnTo>
                  <a:lnTo>
                    <a:pt x="348" y="48"/>
                  </a:lnTo>
                  <a:lnTo>
                    <a:pt x="340" y="44"/>
                  </a:lnTo>
                  <a:lnTo>
                    <a:pt x="331" y="42"/>
                  </a:lnTo>
                  <a:lnTo>
                    <a:pt x="336" y="32"/>
                  </a:lnTo>
                  <a:lnTo>
                    <a:pt x="344" y="29"/>
                  </a:lnTo>
                  <a:lnTo>
                    <a:pt x="344" y="23"/>
                  </a:lnTo>
                  <a:lnTo>
                    <a:pt x="344" y="13"/>
                  </a:lnTo>
                  <a:lnTo>
                    <a:pt x="336" y="9"/>
                  </a:lnTo>
                  <a:lnTo>
                    <a:pt x="327" y="7"/>
                  </a:lnTo>
                  <a:lnTo>
                    <a:pt x="321" y="7"/>
                  </a:lnTo>
                  <a:lnTo>
                    <a:pt x="315" y="4"/>
                  </a:lnTo>
                  <a:lnTo>
                    <a:pt x="309" y="0"/>
                  </a:lnTo>
                  <a:lnTo>
                    <a:pt x="304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/>
            </a:p>
          </p:txBody>
        </p:sp>
        <p:sp>
          <p:nvSpPr>
            <p:cNvPr id="137" name="Freeform 22"/>
            <p:cNvSpPr>
              <a:spLocks/>
            </p:cNvSpPr>
            <p:nvPr/>
          </p:nvSpPr>
          <p:spPr bwMode="auto">
            <a:xfrm>
              <a:off x="7901416" y="1539864"/>
              <a:ext cx="563350" cy="679461"/>
            </a:xfrm>
            <a:custGeom>
              <a:avLst/>
              <a:gdLst>
                <a:gd name="T0" fmla="*/ 44 w 289"/>
                <a:gd name="T1" fmla="*/ 307 h 349"/>
                <a:gd name="T2" fmla="*/ 49 w 289"/>
                <a:gd name="T3" fmla="*/ 286 h 349"/>
                <a:gd name="T4" fmla="*/ 34 w 289"/>
                <a:gd name="T5" fmla="*/ 274 h 349"/>
                <a:gd name="T6" fmla="*/ 23 w 289"/>
                <a:gd name="T7" fmla="*/ 261 h 349"/>
                <a:gd name="T8" fmla="*/ 17 w 289"/>
                <a:gd name="T9" fmla="*/ 232 h 349"/>
                <a:gd name="T10" fmla="*/ 9 w 289"/>
                <a:gd name="T11" fmla="*/ 218 h 349"/>
                <a:gd name="T12" fmla="*/ 13 w 289"/>
                <a:gd name="T13" fmla="*/ 197 h 349"/>
                <a:gd name="T14" fmla="*/ 19 w 289"/>
                <a:gd name="T15" fmla="*/ 165 h 349"/>
                <a:gd name="T16" fmla="*/ 17 w 289"/>
                <a:gd name="T17" fmla="*/ 140 h 349"/>
                <a:gd name="T18" fmla="*/ 19 w 289"/>
                <a:gd name="T19" fmla="*/ 115 h 349"/>
                <a:gd name="T20" fmla="*/ 23 w 289"/>
                <a:gd name="T21" fmla="*/ 94 h 349"/>
                <a:gd name="T22" fmla="*/ 38 w 289"/>
                <a:gd name="T23" fmla="*/ 90 h 349"/>
                <a:gd name="T24" fmla="*/ 40 w 289"/>
                <a:gd name="T25" fmla="*/ 74 h 349"/>
                <a:gd name="T26" fmla="*/ 28 w 289"/>
                <a:gd name="T27" fmla="*/ 67 h 349"/>
                <a:gd name="T28" fmla="*/ 17 w 289"/>
                <a:gd name="T29" fmla="*/ 55 h 349"/>
                <a:gd name="T30" fmla="*/ 9 w 289"/>
                <a:gd name="T31" fmla="*/ 40 h 349"/>
                <a:gd name="T32" fmla="*/ 5 w 289"/>
                <a:gd name="T33" fmla="*/ 28 h 349"/>
                <a:gd name="T34" fmla="*/ 13 w 289"/>
                <a:gd name="T35" fmla="*/ 19 h 349"/>
                <a:gd name="T36" fmla="*/ 19 w 289"/>
                <a:gd name="T37" fmla="*/ 7 h 349"/>
                <a:gd name="T38" fmla="*/ 42 w 289"/>
                <a:gd name="T39" fmla="*/ 3 h 349"/>
                <a:gd name="T40" fmla="*/ 59 w 289"/>
                <a:gd name="T41" fmla="*/ 2 h 349"/>
                <a:gd name="T42" fmla="*/ 78 w 289"/>
                <a:gd name="T43" fmla="*/ 3 h 349"/>
                <a:gd name="T44" fmla="*/ 94 w 289"/>
                <a:gd name="T45" fmla="*/ 5 h 349"/>
                <a:gd name="T46" fmla="*/ 117 w 289"/>
                <a:gd name="T47" fmla="*/ 13 h 349"/>
                <a:gd name="T48" fmla="*/ 132 w 289"/>
                <a:gd name="T49" fmla="*/ 23 h 349"/>
                <a:gd name="T50" fmla="*/ 145 w 289"/>
                <a:gd name="T51" fmla="*/ 30 h 349"/>
                <a:gd name="T52" fmla="*/ 174 w 289"/>
                <a:gd name="T53" fmla="*/ 51 h 349"/>
                <a:gd name="T54" fmla="*/ 190 w 289"/>
                <a:gd name="T55" fmla="*/ 65 h 349"/>
                <a:gd name="T56" fmla="*/ 207 w 289"/>
                <a:gd name="T57" fmla="*/ 82 h 349"/>
                <a:gd name="T58" fmla="*/ 228 w 289"/>
                <a:gd name="T59" fmla="*/ 94 h 349"/>
                <a:gd name="T60" fmla="*/ 237 w 289"/>
                <a:gd name="T61" fmla="*/ 109 h 349"/>
                <a:gd name="T62" fmla="*/ 253 w 289"/>
                <a:gd name="T63" fmla="*/ 121 h 349"/>
                <a:gd name="T64" fmla="*/ 266 w 289"/>
                <a:gd name="T65" fmla="*/ 132 h 349"/>
                <a:gd name="T66" fmla="*/ 282 w 289"/>
                <a:gd name="T67" fmla="*/ 151 h 349"/>
                <a:gd name="T68" fmla="*/ 287 w 289"/>
                <a:gd name="T69" fmla="*/ 159 h 349"/>
                <a:gd name="T70" fmla="*/ 280 w 289"/>
                <a:gd name="T71" fmla="*/ 161 h 349"/>
                <a:gd name="T72" fmla="*/ 259 w 289"/>
                <a:gd name="T73" fmla="*/ 159 h 349"/>
                <a:gd name="T74" fmla="*/ 243 w 289"/>
                <a:gd name="T75" fmla="*/ 167 h 349"/>
                <a:gd name="T76" fmla="*/ 236 w 289"/>
                <a:gd name="T77" fmla="*/ 184 h 349"/>
                <a:gd name="T78" fmla="*/ 226 w 289"/>
                <a:gd name="T79" fmla="*/ 197 h 349"/>
                <a:gd name="T80" fmla="*/ 220 w 289"/>
                <a:gd name="T81" fmla="*/ 209 h 349"/>
                <a:gd name="T82" fmla="*/ 214 w 289"/>
                <a:gd name="T83" fmla="*/ 226 h 349"/>
                <a:gd name="T84" fmla="*/ 203 w 289"/>
                <a:gd name="T85" fmla="*/ 239 h 349"/>
                <a:gd name="T86" fmla="*/ 190 w 289"/>
                <a:gd name="T87" fmla="*/ 255 h 349"/>
                <a:gd name="T88" fmla="*/ 188 w 289"/>
                <a:gd name="T89" fmla="*/ 274 h 349"/>
                <a:gd name="T90" fmla="*/ 184 w 289"/>
                <a:gd name="T91" fmla="*/ 291 h 349"/>
                <a:gd name="T92" fmla="*/ 176 w 289"/>
                <a:gd name="T93" fmla="*/ 305 h 349"/>
                <a:gd name="T94" fmla="*/ 176 w 289"/>
                <a:gd name="T95" fmla="*/ 322 h 349"/>
                <a:gd name="T96" fmla="*/ 176 w 289"/>
                <a:gd name="T97" fmla="*/ 337 h 349"/>
                <a:gd name="T98" fmla="*/ 155 w 289"/>
                <a:gd name="T99" fmla="*/ 349 h 349"/>
                <a:gd name="T100" fmla="*/ 128 w 289"/>
                <a:gd name="T101" fmla="*/ 343 h 349"/>
                <a:gd name="T102" fmla="*/ 117 w 289"/>
                <a:gd name="T103" fmla="*/ 330 h 349"/>
                <a:gd name="T104" fmla="*/ 99 w 289"/>
                <a:gd name="T105" fmla="*/ 324 h 349"/>
                <a:gd name="T106" fmla="*/ 76 w 289"/>
                <a:gd name="T107" fmla="*/ 320 h 349"/>
                <a:gd name="T108" fmla="*/ 51 w 289"/>
                <a:gd name="T109" fmla="*/ 320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89" h="349">
                  <a:moveTo>
                    <a:pt x="40" y="320"/>
                  </a:moveTo>
                  <a:lnTo>
                    <a:pt x="44" y="307"/>
                  </a:lnTo>
                  <a:lnTo>
                    <a:pt x="48" y="297"/>
                  </a:lnTo>
                  <a:lnTo>
                    <a:pt x="49" y="286"/>
                  </a:lnTo>
                  <a:lnTo>
                    <a:pt x="46" y="278"/>
                  </a:lnTo>
                  <a:lnTo>
                    <a:pt x="34" y="274"/>
                  </a:lnTo>
                  <a:lnTo>
                    <a:pt x="24" y="268"/>
                  </a:lnTo>
                  <a:lnTo>
                    <a:pt x="23" y="261"/>
                  </a:lnTo>
                  <a:lnTo>
                    <a:pt x="17" y="251"/>
                  </a:lnTo>
                  <a:lnTo>
                    <a:pt x="17" y="232"/>
                  </a:lnTo>
                  <a:lnTo>
                    <a:pt x="15" y="222"/>
                  </a:lnTo>
                  <a:lnTo>
                    <a:pt x="9" y="218"/>
                  </a:lnTo>
                  <a:lnTo>
                    <a:pt x="13" y="207"/>
                  </a:lnTo>
                  <a:lnTo>
                    <a:pt x="13" y="197"/>
                  </a:lnTo>
                  <a:lnTo>
                    <a:pt x="15" y="178"/>
                  </a:lnTo>
                  <a:lnTo>
                    <a:pt x="19" y="165"/>
                  </a:lnTo>
                  <a:lnTo>
                    <a:pt x="17" y="151"/>
                  </a:lnTo>
                  <a:lnTo>
                    <a:pt x="17" y="140"/>
                  </a:lnTo>
                  <a:lnTo>
                    <a:pt x="19" y="128"/>
                  </a:lnTo>
                  <a:lnTo>
                    <a:pt x="19" y="115"/>
                  </a:lnTo>
                  <a:lnTo>
                    <a:pt x="19" y="105"/>
                  </a:lnTo>
                  <a:lnTo>
                    <a:pt x="23" y="94"/>
                  </a:lnTo>
                  <a:lnTo>
                    <a:pt x="28" y="90"/>
                  </a:lnTo>
                  <a:lnTo>
                    <a:pt x="38" y="90"/>
                  </a:lnTo>
                  <a:lnTo>
                    <a:pt x="40" y="82"/>
                  </a:lnTo>
                  <a:lnTo>
                    <a:pt x="40" y="74"/>
                  </a:lnTo>
                  <a:lnTo>
                    <a:pt x="36" y="69"/>
                  </a:lnTo>
                  <a:lnTo>
                    <a:pt x="28" y="67"/>
                  </a:lnTo>
                  <a:lnTo>
                    <a:pt x="23" y="61"/>
                  </a:lnTo>
                  <a:lnTo>
                    <a:pt x="17" y="55"/>
                  </a:lnTo>
                  <a:lnTo>
                    <a:pt x="17" y="44"/>
                  </a:lnTo>
                  <a:lnTo>
                    <a:pt x="9" y="40"/>
                  </a:lnTo>
                  <a:lnTo>
                    <a:pt x="0" y="38"/>
                  </a:lnTo>
                  <a:lnTo>
                    <a:pt x="5" y="28"/>
                  </a:lnTo>
                  <a:lnTo>
                    <a:pt x="13" y="25"/>
                  </a:lnTo>
                  <a:lnTo>
                    <a:pt x="13" y="19"/>
                  </a:lnTo>
                  <a:lnTo>
                    <a:pt x="13" y="9"/>
                  </a:lnTo>
                  <a:lnTo>
                    <a:pt x="19" y="7"/>
                  </a:lnTo>
                  <a:lnTo>
                    <a:pt x="30" y="7"/>
                  </a:lnTo>
                  <a:lnTo>
                    <a:pt x="42" y="3"/>
                  </a:lnTo>
                  <a:lnTo>
                    <a:pt x="51" y="3"/>
                  </a:lnTo>
                  <a:lnTo>
                    <a:pt x="59" y="2"/>
                  </a:lnTo>
                  <a:lnTo>
                    <a:pt x="69" y="0"/>
                  </a:lnTo>
                  <a:lnTo>
                    <a:pt x="78" y="3"/>
                  </a:lnTo>
                  <a:lnTo>
                    <a:pt x="86" y="5"/>
                  </a:lnTo>
                  <a:lnTo>
                    <a:pt x="94" y="5"/>
                  </a:lnTo>
                  <a:lnTo>
                    <a:pt x="101" y="7"/>
                  </a:lnTo>
                  <a:lnTo>
                    <a:pt x="117" y="13"/>
                  </a:lnTo>
                  <a:lnTo>
                    <a:pt x="122" y="17"/>
                  </a:lnTo>
                  <a:lnTo>
                    <a:pt x="132" y="23"/>
                  </a:lnTo>
                  <a:lnTo>
                    <a:pt x="138" y="25"/>
                  </a:lnTo>
                  <a:lnTo>
                    <a:pt x="145" y="30"/>
                  </a:lnTo>
                  <a:lnTo>
                    <a:pt x="166" y="44"/>
                  </a:lnTo>
                  <a:lnTo>
                    <a:pt x="174" y="51"/>
                  </a:lnTo>
                  <a:lnTo>
                    <a:pt x="182" y="63"/>
                  </a:lnTo>
                  <a:lnTo>
                    <a:pt x="190" y="65"/>
                  </a:lnTo>
                  <a:lnTo>
                    <a:pt x="199" y="74"/>
                  </a:lnTo>
                  <a:lnTo>
                    <a:pt x="207" y="82"/>
                  </a:lnTo>
                  <a:lnTo>
                    <a:pt x="214" y="88"/>
                  </a:lnTo>
                  <a:lnTo>
                    <a:pt x="228" y="94"/>
                  </a:lnTo>
                  <a:lnTo>
                    <a:pt x="230" y="101"/>
                  </a:lnTo>
                  <a:lnTo>
                    <a:pt x="237" y="109"/>
                  </a:lnTo>
                  <a:lnTo>
                    <a:pt x="245" y="117"/>
                  </a:lnTo>
                  <a:lnTo>
                    <a:pt x="253" y="121"/>
                  </a:lnTo>
                  <a:lnTo>
                    <a:pt x="259" y="126"/>
                  </a:lnTo>
                  <a:lnTo>
                    <a:pt x="266" y="132"/>
                  </a:lnTo>
                  <a:lnTo>
                    <a:pt x="274" y="144"/>
                  </a:lnTo>
                  <a:lnTo>
                    <a:pt x="282" y="151"/>
                  </a:lnTo>
                  <a:lnTo>
                    <a:pt x="289" y="155"/>
                  </a:lnTo>
                  <a:lnTo>
                    <a:pt x="287" y="159"/>
                  </a:lnTo>
                  <a:lnTo>
                    <a:pt x="285" y="159"/>
                  </a:lnTo>
                  <a:lnTo>
                    <a:pt x="280" y="161"/>
                  </a:lnTo>
                  <a:lnTo>
                    <a:pt x="270" y="159"/>
                  </a:lnTo>
                  <a:lnTo>
                    <a:pt x="259" y="159"/>
                  </a:lnTo>
                  <a:lnTo>
                    <a:pt x="251" y="163"/>
                  </a:lnTo>
                  <a:lnTo>
                    <a:pt x="243" y="167"/>
                  </a:lnTo>
                  <a:lnTo>
                    <a:pt x="239" y="174"/>
                  </a:lnTo>
                  <a:lnTo>
                    <a:pt x="236" y="184"/>
                  </a:lnTo>
                  <a:lnTo>
                    <a:pt x="234" y="190"/>
                  </a:lnTo>
                  <a:lnTo>
                    <a:pt x="226" y="197"/>
                  </a:lnTo>
                  <a:lnTo>
                    <a:pt x="220" y="203"/>
                  </a:lnTo>
                  <a:lnTo>
                    <a:pt x="220" y="209"/>
                  </a:lnTo>
                  <a:lnTo>
                    <a:pt x="216" y="220"/>
                  </a:lnTo>
                  <a:lnTo>
                    <a:pt x="214" y="226"/>
                  </a:lnTo>
                  <a:lnTo>
                    <a:pt x="211" y="234"/>
                  </a:lnTo>
                  <a:lnTo>
                    <a:pt x="203" y="239"/>
                  </a:lnTo>
                  <a:lnTo>
                    <a:pt x="195" y="247"/>
                  </a:lnTo>
                  <a:lnTo>
                    <a:pt x="190" y="255"/>
                  </a:lnTo>
                  <a:lnTo>
                    <a:pt x="188" y="262"/>
                  </a:lnTo>
                  <a:lnTo>
                    <a:pt x="188" y="274"/>
                  </a:lnTo>
                  <a:lnTo>
                    <a:pt x="188" y="282"/>
                  </a:lnTo>
                  <a:lnTo>
                    <a:pt x="184" y="291"/>
                  </a:lnTo>
                  <a:lnTo>
                    <a:pt x="182" y="297"/>
                  </a:lnTo>
                  <a:lnTo>
                    <a:pt x="176" y="305"/>
                  </a:lnTo>
                  <a:lnTo>
                    <a:pt x="178" y="312"/>
                  </a:lnTo>
                  <a:lnTo>
                    <a:pt x="176" y="322"/>
                  </a:lnTo>
                  <a:lnTo>
                    <a:pt x="180" y="330"/>
                  </a:lnTo>
                  <a:lnTo>
                    <a:pt x="176" y="337"/>
                  </a:lnTo>
                  <a:lnTo>
                    <a:pt x="166" y="343"/>
                  </a:lnTo>
                  <a:lnTo>
                    <a:pt x="155" y="349"/>
                  </a:lnTo>
                  <a:lnTo>
                    <a:pt x="142" y="349"/>
                  </a:lnTo>
                  <a:lnTo>
                    <a:pt x="128" y="343"/>
                  </a:lnTo>
                  <a:lnTo>
                    <a:pt x="122" y="335"/>
                  </a:lnTo>
                  <a:lnTo>
                    <a:pt x="117" y="330"/>
                  </a:lnTo>
                  <a:lnTo>
                    <a:pt x="107" y="326"/>
                  </a:lnTo>
                  <a:lnTo>
                    <a:pt x="99" y="324"/>
                  </a:lnTo>
                  <a:lnTo>
                    <a:pt x="86" y="326"/>
                  </a:lnTo>
                  <a:lnTo>
                    <a:pt x="76" y="320"/>
                  </a:lnTo>
                  <a:lnTo>
                    <a:pt x="63" y="320"/>
                  </a:lnTo>
                  <a:lnTo>
                    <a:pt x="51" y="320"/>
                  </a:lnTo>
                  <a:lnTo>
                    <a:pt x="40" y="32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/>
            </a:p>
          </p:txBody>
        </p:sp>
        <p:sp>
          <p:nvSpPr>
            <p:cNvPr id="138" name="Freeform 23"/>
            <p:cNvSpPr>
              <a:spLocks/>
            </p:cNvSpPr>
            <p:nvPr/>
          </p:nvSpPr>
          <p:spPr bwMode="auto">
            <a:xfrm>
              <a:off x="8273399" y="1843041"/>
              <a:ext cx="485944" cy="270924"/>
            </a:xfrm>
            <a:custGeom>
              <a:avLst/>
              <a:gdLst>
                <a:gd name="T0" fmla="*/ 5 w 251"/>
                <a:gd name="T1" fmla="*/ 102 h 140"/>
                <a:gd name="T2" fmla="*/ 23 w 251"/>
                <a:gd name="T3" fmla="*/ 104 h 140"/>
                <a:gd name="T4" fmla="*/ 42 w 251"/>
                <a:gd name="T5" fmla="*/ 98 h 140"/>
                <a:gd name="T6" fmla="*/ 51 w 251"/>
                <a:gd name="T7" fmla="*/ 92 h 140"/>
                <a:gd name="T8" fmla="*/ 67 w 251"/>
                <a:gd name="T9" fmla="*/ 83 h 140"/>
                <a:gd name="T10" fmla="*/ 78 w 251"/>
                <a:gd name="T11" fmla="*/ 86 h 140"/>
                <a:gd name="T12" fmla="*/ 92 w 251"/>
                <a:gd name="T13" fmla="*/ 84 h 140"/>
                <a:gd name="T14" fmla="*/ 99 w 251"/>
                <a:gd name="T15" fmla="*/ 84 h 140"/>
                <a:gd name="T16" fmla="*/ 99 w 251"/>
                <a:gd name="T17" fmla="*/ 96 h 140"/>
                <a:gd name="T18" fmla="*/ 94 w 251"/>
                <a:gd name="T19" fmla="*/ 107 h 140"/>
                <a:gd name="T20" fmla="*/ 78 w 251"/>
                <a:gd name="T21" fmla="*/ 113 h 140"/>
                <a:gd name="T22" fmla="*/ 80 w 251"/>
                <a:gd name="T23" fmla="*/ 121 h 140"/>
                <a:gd name="T24" fmla="*/ 90 w 251"/>
                <a:gd name="T25" fmla="*/ 127 h 140"/>
                <a:gd name="T26" fmla="*/ 105 w 251"/>
                <a:gd name="T27" fmla="*/ 132 h 140"/>
                <a:gd name="T28" fmla="*/ 111 w 251"/>
                <a:gd name="T29" fmla="*/ 132 h 140"/>
                <a:gd name="T30" fmla="*/ 122 w 251"/>
                <a:gd name="T31" fmla="*/ 132 h 140"/>
                <a:gd name="T32" fmla="*/ 132 w 251"/>
                <a:gd name="T33" fmla="*/ 138 h 140"/>
                <a:gd name="T34" fmla="*/ 149 w 251"/>
                <a:gd name="T35" fmla="*/ 140 h 140"/>
                <a:gd name="T36" fmla="*/ 149 w 251"/>
                <a:gd name="T37" fmla="*/ 131 h 140"/>
                <a:gd name="T38" fmla="*/ 143 w 251"/>
                <a:gd name="T39" fmla="*/ 117 h 140"/>
                <a:gd name="T40" fmla="*/ 147 w 251"/>
                <a:gd name="T41" fmla="*/ 106 h 140"/>
                <a:gd name="T42" fmla="*/ 157 w 251"/>
                <a:gd name="T43" fmla="*/ 107 h 140"/>
                <a:gd name="T44" fmla="*/ 168 w 251"/>
                <a:gd name="T45" fmla="*/ 115 h 140"/>
                <a:gd name="T46" fmla="*/ 188 w 251"/>
                <a:gd name="T47" fmla="*/ 117 h 140"/>
                <a:gd name="T48" fmla="*/ 211 w 251"/>
                <a:gd name="T49" fmla="*/ 119 h 140"/>
                <a:gd name="T50" fmla="*/ 236 w 251"/>
                <a:gd name="T51" fmla="*/ 123 h 140"/>
                <a:gd name="T52" fmla="*/ 251 w 251"/>
                <a:gd name="T53" fmla="*/ 127 h 140"/>
                <a:gd name="T54" fmla="*/ 247 w 251"/>
                <a:gd name="T55" fmla="*/ 111 h 140"/>
                <a:gd name="T56" fmla="*/ 239 w 251"/>
                <a:gd name="T57" fmla="*/ 94 h 140"/>
                <a:gd name="T58" fmla="*/ 236 w 251"/>
                <a:gd name="T59" fmla="*/ 73 h 140"/>
                <a:gd name="T60" fmla="*/ 234 w 251"/>
                <a:gd name="T61" fmla="*/ 56 h 140"/>
                <a:gd name="T62" fmla="*/ 226 w 251"/>
                <a:gd name="T63" fmla="*/ 42 h 140"/>
                <a:gd name="T64" fmla="*/ 224 w 251"/>
                <a:gd name="T65" fmla="*/ 33 h 140"/>
                <a:gd name="T66" fmla="*/ 220 w 251"/>
                <a:gd name="T67" fmla="*/ 25 h 140"/>
                <a:gd name="T68" fmla="*/ 205 w 251"/>
                <a:gd name="T69" fmla="*/ 19 h 140"/>
                <a:gd name="T70" fmla="*/ 184 w 251"/>
                <a:gd name="T71" fmla="*/ 19 h 140"/>
                <a:gd name="T72" fmla="*/ 163 w 251"/>
                <a:gd name="T73" fmla="*/ 12 h 140"/>
                <a:gd name="T74" fmla="*/ 140 w 251"/>
                <a:gd name="T75" fmla="*/ 13 h 140"/>
                <a:gd name="T76" fmla="*/ 124 w 251"/>
                <a:gd name="T77" fmla="*/ 8 h 140"/>
                <a:gd name="T78" fmla="*/ 113 w 251"/>
                <a:gd name="T79" fmla="*/ 8 h 140"/>
                <a:gd name="T80" fmla="*/ 103 w 251"/>
                <a:gd name="T81" fmla="*/ 4 h 140"/>
                <a:gd name="T82" fmla="*/ 97 w 251"/>
                <a:gd name="T83" fmla="*/ 4 h 140"/>
                <a:gd name="T84" fmla="*/ 90 w 251"/>
                <a:gd name="T85" fmla="*/ 6 h 140"/>
                <a:gd name="T86" fmla="*/ 69 w 251"/>
                <a:gd name="T87" fmla="*/ 4 h 140"/>
                <a:gd name="T88" fmla="*/ 53 w 251"/>
                <a:gd name="T89" fmla="*/ 12 h 140"/>
                <a:gd name="T90" fmla="*/ 46 w 251"/>
                <a:gd name="T91" fmla="*/ 29 h 140"/>
                <a:gd name="T92" fmla="*/ 36 w 251"/>
                <a:gd name="T93" fmla="*/ 42 h 140"/>
                <a:gd name="T94" fmla="*/ 30 w 251"/>
                <a:gd name="T95" fmla="*/ 54 h 140"/>
                <a:gd name="T96" fmla="*/ 24 w 251"/>
                <a:gd name="T97" fmla="*/ 71 h 140"/>
                <a:gd name="T98" fmla="*/ 13 w 251"/>
                <a:gd name="T99" fmla="*/ 84 h 140"/>
                <a:gd name="T100" fmla="*/ 0 w 251"/>
                <a:gd name="T101" fmla="*/ 10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1" h="140">
                  <a:moveTo>
                    <a:pt x="0" y="100"/>
                  </a:moveTo>
                  <a:lnTo>
                    <a:pt x="5" y="102"/>
                  </a:lnTo>
                  <a:lnTo>
                    <a:pt x="13" y="104"/>
                  </a:lnTo>
                  <a:lnTo>
                    <a:pt x="23" y="104"/>
                  </a:lnTo>
                  <a:lnTo>
                    <a:pt x="30" y="102"/>
                  </a:lnTo>
                  <a:lnTo>
                    <a:pt x="42" y="98"/>
                  </a:lnTo>
                  <a:lnTo>
                    <a:pt x="46" y="96"/>
                  </a:lnTo>
                  <a:lnTo>
                    <a:pt x="51" y="92"/>
                  </a:lnTo>
                  <a:lnTo>
                    <a:pt x="57" y="88"/>
                  </a:lnTo>
                  <a:lnTo>
                    <a:pt x="67" y="83"/>
                  </a:lnTo>
                  <a:lnTo>
                    <a:pt x="74" y="84"/>
                  </a:lnTo>
                  <a:lnTo>
                    <a:pt x="78" y="86"/>
                  </a:lnTo>
                  <a:lnTo>
                    <a:pt x="86" y="86"/>
                  </a:lnTo>
                  <a:lnTo>
                    <a:pt x="92" y="84"/>
                  </a:lnTo>
                  <a:lnTo>
                    <a:pt x="95" y="83"/>
                  </a:lnTo>
                  <a:lnTo>
                    <a:pt x="99" y="84"/>
                  </a:lnTo>
                  <a:lnTo>
                    <a:pt x="101" y="90"/>
                  </a:lnTo>
                  <a:lnTo>
                    <a:pt x="99" y="96"/>
                  </a:lnTo>
                  <a:lnTo>
                    <a:pt x="99" y="100"/>
                  </a:lnTo>
                  <a:lnTo>
                    <a:pt x="94" y="107"/>
                  </a:lnTo>
                  <a:lnTo>
                    <a:pt x="86" y="111"/>
                  </a:lnTo>
                  <a:lnTo>
                    <a:pt x="78" y="113"/>
                  </a:lnTo>
                  <a:lnTo>
                    <a:pt x="78" y="117"/>
                  </a:lnTo>
                  <a:lnTo>
                    <a:pt x="80" y="121"/>
                  </a:lnTo>
                  <a:lnTo>
                    <a:pt x="84" y="123"/>
                  </a:lnTo>
                  <a:lnTo>
                    <a:pt x="90" y="127"/>
                  </a:lnTo>
                  <a:lnTo>
                    <a:pt x="95" y="131"/>
                  </a:lnTo>
                  <a:lnTo>
                    <a:pt x="105" y="132"/>
                  </a:lnTo>
                  <a:lnTo>
                    <a:pt x="109" y="132"/>
                  </a:lnTo>
                  <a:lnTo>
                    <a:pt x="111" y="132"/>
                  </a:lnTo>
                  <a:lnTo>
                    <a:pt x="118" y="132"/>
                  </a:lnTo>
                  <a:lnTo>
                    <a:pt x="122" y="132"/>
                  </a:lnTo>
                  <a:lnTo>
                    <a:pt x="126" y="136"/>
                  </a:lnTo>
                  <a:lnTo>
                    <a:pt x="132" y="138"/>
                  </a:lnTo>
                  <a:lnTo>
                    <a:pt x="142" y="140"/>
                  </a:lnTo>
                  <a:lnTo>
                    <a:pt x="149" y="140"/>
                  </a:lnTo>
                  <a:lnTo>
                    <a:pt x="153" y="136"/>
                  </a:lnTo>
                  <a:lnTo>
                    <a:pt x="149" y="131"/>
                  </a:lnTo>
                  <a:lnTo>
                    <a:pt x="143" y="125"/>
                  </a:lnTo>
                  <a:lnTo>
                    <a:pt x="143" y="117"/>
                  </a:lnTo>
                  <a:lnTo>
                    <a:pt x="143" y="111"/>
                  </a:lnTo>
                  <a:lnTo>
                    <a:pt x="147" y="106"/>
                  </a:lnTo>
                  <a:lnTo>
                    <a:pt x="153" y="104"/>
                  </a:lnTo>
                  <a:lnTo>
                    <a:pt x="157" y="107"/>
                  </a:lnTo>
                  <a:lnTo>
                    <a:pt x="163" y="111"/>
                  </a:lnTo>
                  <a:lnTo>
                    <a:pt x="168" y="115"/>
                  </a:lnTo>
                  <a:lnTo>
                    <a:pt x="178" y="115"/>
                  </a:lnTo>
                  <a:lnTo>
                    <a:pt x="188" y="117"/>
                  </a:lnTo>
                  <a:lnTo>
                    <a:pt x="201" y="119"/>
                  </a:lnTo>
                  <a:lnTo>
                    <a:pt x="211" y="119"/>
                  </a:lnTo>
                  <a:lnTo>
                    <a:pt x="224" y="121"/>
                  </a:lnTo>
                  <a:lnTo>
                    <a:pt x="236" y="123"/>
                  </a:lnTo>
                  <a:lnTo>
                    <a:pt x="243" y="125"/>
                  </a:lnTo>
                  <a:lnTo>
                    <a:pt x="251" y="127"/>
                  </a:lnTo>
                  <a:lnTo>
                    <a:pt x="249" y="125"/>
                  </a:lnTo>
                  <a:lnTo>
                    <a:pt x="247" y="111"/>
                  </a:lnTo>
                  <a:lnTo>
                    <a:pt x="241" y="104"/>
                  </a:lnTo>
                  <a:lnTo>
                    <a:pt x="239" y="94"/>
                  </a:lnTo>
                  <a:lnTo>
                    <a:pt x="236" y="83"/>
                  </a:lnTo>
                  <a:lnTo>
                    <a:pt x="236" y="73"/>
                  </a:lnTo>
                  <a:lnTo>
                    <a:pt x="232" y="65"/>
                  </a:lnTo>
                  <a:lnTo>
                    <a:pt x="234" y="56"/>
                  </a:lnTo>
                  <a:lnTo>
                    <a:pt x="232" y="48"/>
                  </a:lnTo>
                  <a:lnTo>
                    <a:pt x="226" y="42"/>
                  </a:lnTo>
                  <a:lnTo>
                    <a:pt x="224" y="37"/>
                  </a:lnTo>
                  <a:lnTo>
                    <a:pt x="224" y="33"/>
                  </a:lnTo>
                  <a:lnTo>
                    <a:pt x="222" y="27"/>
                  </a:lnTo>
                  <a:lnTo>
                    <a:pt x="220" y="25"/>
                  </a:lnTo>
                  <a:lnTo>
                    <a:pt x="213" y="21"/>
                  </a:lnTo>
                  <a:lnTo>
                    <a:pt x="205" y="19"/>
                  </a:lnTo>
                  <a:lnTo>
                    <a:pt x="193" y="17"/>
                  </a:lnTo>
                  <a:lnTo>
                    <a:pt x="184" y="19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49" y="12"/>
                  </a:lnTo>
                  <a:lnTo>
                    <a:pt x="140" y="13"/>
                  </a:lnTo>
                  <a:lnTo>
                    <a:pt x="132" y="13"/>
                  </a:lnTo>
                  <a:lnTo>
                    <a:pt x="124" y="8"/>
                  </a:lnTo>
                  <a:lnTo>
                    <a:pt x="118" y="6"/>
                  </a:lnTo>
                  <a:lnTo>
                    <a:pt x="113" y="8"/>
                  </a:lnTo>
                  <a:lnTo>
                    <a:pt x="107" y="8"/>
                  </a:lnTo>
                  <a:lnTo>
                    <a:pt x="103" y="4"/>
                  </a:lnTo>
                  <a:lnTo>
                    <a:pt x="99" y="0"/>
                  </a:lnTo>
                  <a:lnTo>
                    <a:pt x="97" y="4"/>
                  </a:lnTo>
                  <a:lnTo>
                    <a:pt x="95" y="4"/>
                  </a:lnTo>
                  <a:lnTo>
                    <a:pt x="90" y="6"/>
                  </a:lnTo>
                  <a:lnTo>
                    <a:pt x="80" y="4"/>
                  </a:lnTo>
                  <a:lnTo>
                    <a:pt x="69" y="4"/>
                  </a:lnTo>
                  <a:lnTo>
                    <a:pt x="61" y="8"/>
                  </a:lnTo>
                  <a:lnTo>
                    <a:pt x="53" y="12"/>
                  </a:lnTo>
                  <a:lnTo>
                    <a:pt x="49" y="19"/>
                  </a:lnTo>
                  <a:lnTo>
                    <a:pt x="46" y="29"/>
                  </a:lnTo>
                  <a:lnTo>
                    <a:pt x="44" y="35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26" y="65"/>
                  </a:lnTo>
                  <a:lnTo>
                    <a:pt x="24" y="71"/>
                  </a:lnTo>
                  <a:lnTo>
                    <a:pt x="21" y="79"/>
                  </a:lnTo>
                  <a:lnTo>
                    <a:pt x="13" y="84"/>
                  </a:lnTo>
                  <a:lnTo>
                    <a:pt x="5" y="92"/>
                  </a:lnTo>
                  <a:lnTo>
                    <a:pt x="0" y="10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/>
            </a:p>
          </p:txBody>
        </p:sp>
        <p:sp>
          <p:nvSpPr>
            <p:cNvPr id="139" name="Freeform 24"/>
            <p:cNvSpPr>
              <a:spLocks/>
            </p:cNvSpPr>
            <p:nvPr/>
          </p:nvSpPr>
          <p:spPr bwMode="auto">
            <a:xfrm>
              <a:off x="8245446" y="2004306"/>
              <a:ext cx="533248" cy="294576"/>
            </a:xfrm>
            <a:custGeom>
              <a:avLst/>
              <a:gdLst>
                <a:gd name="T0" fmla="*/ 250 w 274"/>
                <a:gd name="T1" fmla="*/ 40 h 151"/>
                <a:gd name="T2" fmla="*/ 215 w 274"/>
                <a:gd name="T3" fmla="*/ 36 h 151"/>
                <a:gd name="T4" fmla="*/ 182 w 274"/>
                <a:gd name="T5" fmla="*/ 32 h 151"/>
                <a:gd name="T6" fmla="*/ 167 w 274"/>
                <a:gd name="T7" fmla="*/ 21 h 151"/>
                <a:gd name="T8" fmla="*/ 157 w 274"/>
                <a:gd name="T9" fmla="*/ 34 h 151"/>
                <a:gd name="T10" fmla="*/ 167 w 274"/>
                <a:gd name="T11" fmla="*/ 53 h 151"/>
                <a:gd name="T12" fmla="*/ 146 w 274"/>
                <a:gd name="T13" fmla="*/ 55 h 151"/>
                <a:gd name="T14" fmla="*/ 132 w 274"/>
                <a:gd name="T15" fmla="*/ 49 h 151"/>
                <a:gd name="T16" fmla="*/ 119 w 274"/>
                <a:gd name="T17" fmla="*/ 49 h 151"/>
                <a:gd name="T18" fmla="*/ 98 w 274"/>
                <a:gd name="T19" fmla="*/ 40 h 151"/>
                <a:gd name="T20" fmla="*/ 92 w 274"/>
                <a:gd name="T21" fmla="*/ 30 h 151"/>
                <a:gd name="T22" fmla="*/ 113 w 274"/>
                <a:gd name="T23" fmla="*/ 17 h 151"/>
                <a:gd name="T24" fmla="*/ 113 w 274"/>
                <a:gd name="T25" fmla="*/ 1 h 151"/>
                <a:gd name="T26" fmla="*/ 100 w 274"/>
                <a:gd name="T27" fmla="*/ 3 h 151"/>
                <a:gd name="T28" fmla="*/ 81 w 274"/>
                <a:gd name="T29" fmla="*/ 0 h 151"/>
                <a:gd name="T30" fmla="*/ 60 w 274"/>
                <a:gd name="T31" fmla="*/ 13 h 151"/>
                <a:gd name="T32" fmla="*/ 37 w 274"/>
                <a:gd name="T33" fmla="*/ 21 h 151"/>
                <a:gd name="T34" fmla="*/ 14 w 274"/>
                <a:gd name="T35" fmla="*/ 17 h 151"/>
                <a:gd name="T36" fmla="*/ 12 w 274"/>
                <a:gd name="T37" fmla="*/ 44 h 151"/>
                <a:gd name="T38" fmla="*/ 0 w 274"/>
                <a:gd name="T39" fmla="*/ 67 h 151"/>
                <a:gd name="T40" fmla="*/ 4 w 274"/>
                <a:gd name="T41" fmla="*/ 92 h 151"/>
                <a:gd name="T42" fmla="*/ 8 w 274"/>
                <a:gd name="T43" fmla="*/ 111 h 151"/>
                <a:gd name="T44" fmla="*/ 35 w 274"/>
                <a:gd name="T45" fmla="*/ 118 h 151"/>
                <a:gd name="T46" fmla="*/ 63 w 274"/>
                <a:gd name="T47" fmla="*/ 109 h 151"/>
                <a:gd name="T48" fmla="*/ 88 w 274"/>
                <a:gd name="T49" fmla="*/ 94 h 151"/>
                <a:gd name="T50" fmla="*/ 108 w 274"/>
                <a:gd name="T51" fmla="*/ 95 h 151"/>
                <a:gd name="T52" fmla="*/ 102 w 274"/>
                <a:gd name="T53" fmla="*/ 107 h 151"/>
                <a:gd name="T54" fmla="*/ 98 w 274"/>
                <a:gd name="T55" fmla="*/ 126 h 151"/>
                <a:gd name="T56" fmla="*/ 106 w 274"/>
                <a:gd name="T57" fmla="*/ 134 h 151"/>
                <a:gd name="T58" fmla="*/ 108 w 274"/>
                <a:gd name="T59" fmla="*/ 142 h 151"/>
                <a:gd name="T60" fmla="*/ 115 w 274"/>
                <a:gd name="T61" fmla="*/ 151 h 151"/>
                <a:gd name="T62" fmla="*/ 134 w 274"/>
                <a:gd name="T63" fmla="*/ 149 h 151"/>
                <a:gd name="T64" fmla="*/ 142 w 274"/>
                <a:gd name="T65" fmla="*/ 132 h 151"/>
                <a:gd name="T66" fmla="*/ 159 w 274"/>
                <a:gd name="T67" fmla="*/ 126 h 151"/>
                <a:gd name="T68" fmla="*/ 177 w 274"/>
                <a:gd name="T69" fmla="*/ 120 h 151"/>
                <a:gd name="T70" fmla="*/ 202 w 274"/>
                <a:gd name="T71" fmla="*/ 120 h 151"/>
                <a:gd name="T72" fmla="*/ 215 w 274"/>
                <a:gd name="T73" fmla="*/ 107 h 151"/>
                <a:gd name="T74" fmla="*/ 236 w 274"/>
                <a:gd name="T75" fmla="*/ 103 h 151"/>
                <a:gd name="T76" fmla="*/ 255 w 274"/>
                <a:gd name="T77" fmla="*/ 101 h 151"/>
                <a:gd name="T78" fmla="*/ 274 w 274"/>
                <a:gd name="T79" fmla="*/ 97 h 151"/>
                <a:gd name="T80" fmla="*/ 269 w 274"/>
                <a:gd name="T81" fmla="*/ 76 h 151"/>
                <a:gd name="T82" fmla="*/ 267 w 274"/>
                <a:gd name="T83" fmla="*/ 55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74" h="151">
                  <a:moveTo>
                    <a:pt x="265" y="44"/>
                  </a:moveTo>
                  <a:lnTo>
                    <a:pt x="257" y="42"/>
                  </a:lnTo>
                  <a:lnTo>
                    <a:pt x="250" y="40"/>
                  </a:lnTo>
                  <a:lnTo>
                    <a:pt x="238" y="38"/>
                  </a:lnTo>
                  <a:lnTo>
                    <a:pt x="225" y="36"/>
                  </a:lnTo>
                  <a:lnTo>
                    <a:pt x="215" y="36"/>
                  </a:lnTo>
                  <a:lnTo>
                    <a:pt x="202" y="34"/>
                  </a:lnTo>
                  <a:lnTo>
                    <a:pt x="192" y="32"/>
                  </a:lnTo>
                  <a:lnTo>
                    <a:pt x="182" y="32"/>
                  </a:lnTo>
                  <a:lnTo>
                    <a:pt x="177" y="28"/>
                  </a:lnTo>
                  <a:lnTo>
                    <a:pt x="171" y="24"/>
                  </a:lnTo>
                  <a:lnTo>
                    <a:pt x="167" y="21"/>
                  </a:lnTo>
                  <a:lnTo>
                    <a:pt x="161" y="23"/>
                  </a:lnTo>
                  <a:lnTo>
                    <a:pt x="157" y="28"/>
                  </a:lnTo>
                  <a:lnTo>
                    <a:pt x="157" y="34"/>
                  </a:lnTo>
                  <a:lnTo>
                    <a:pt x="157" y="42"/>
                  </a:lnTo>
                  <a:lnTo>
                    <a:pt x="163" y="48"/>
                  </a:lnTo>
                  <a:lnTo>
                    <a:pt x="167" y="53"/>
                  </a:lnTo>
                  <a:lnTo>
                    <a:pt x="163" y="57"/>
                  </a:lnTo>
                  <a:lnTo>
                    <a:pt x="156" y="57"/>
                  </a:lnTo>
                  <a:lnTo>
                    <a:pt x="146" y="55"/>
                  </a:lnTo>
                  <a:lnTo>
                    <a:pt x="140" y="53"/>
                  </a:lnTo>
                  <a:lnTo>
                    <a:pt x="136" y="49"/>
                  </a:lnTo>
                  <a:lnTo>
                    <a:pt x="132" y="49"/>
                  </a:lnTo>
                  <a:lnTo>
                    <a:pt x="125" y="49"/>
                  </a:lnTo>
                  <a:lnTo>
                    <a:pt x="123" y="49"/>
                  </a:lnTo>
                  <a:lnTo>
                    <a:pt x="119" y="49"/>
                  </a:lnTo>
                  <a:lnTo>
                    <a:pt x="109" y="48"/>
                  </a:lnTo>
                  <a:lnTo>
                    <a:pt x="104" y="44"/>
                  </a:lnTo>
                  <a:lnTo>
                    <a:pt x="98" y="40"/>
                  </a:lnTo>
                  <a:lnTo>
                    <a:pt x="94" y="38"/>
                  </a:lnTo>
                  <a:lnTo>
                    <a:pt x="92" y="34"/>
                  </a:lnTo>
                  <a:lnTo>
                    <a:pt x="92" y="30"/>
                  </a:lnTo>
                  <a:lnTo>
                    <a:pt x="100" y="28"/>
                  </a:lnTo>
                  <a:lnTo>
                    <a:pt x="108" y="24"/>
                  </a:lnTo>
                  <a:lnTo>
                    <a:pt x="113" y="17"/>
                  </a:lnTo>
                  <a:lnTo>
                    <a:pt x="113" y="13"/>
                  </a:lnTo>
                  <a:lnTo>
                    <a:pt x="115" y="7"/>
                  </a:lnTo>
                  <a:lnTo>
                    <a:pt x="113" y="1"/>
                  </a:lnTo>
                  <a:lnTo>
                    <a:pt x="109" y="0"/>
                  </a:lnTo>
                  <a:lnTo>
                    <a:pt x="106" y="1"/>
                  </a:lnTo>
                  <a:lnTo>
                    <a:pt x="100" y="3"/>
                  </a:lnTo>
                  <a:lnTo>
                    <a:pt x="92" y="3"/>
                  </a:lnTo>
                  <a:lnTo>
                    <a:pt x="88" y="1"/>
                  </a:lnTo>
                  <a:lnTo>
                    <a:pt x="81" y="0"/>
                  </a:lnTo>
                  <a:lnTo>
                    <a:pt x="71" y="5"/>
                  </a:lnTo>
                  <a:lnTo>
                    <a:pt x="65" y="9"/>
                  </a:lnTo>
                  <a:lnTo>
                    <a:pt x="60" y="13"/>
                  </a:lnTo>
                  <a:lnTo>
                    <a:pt x="56" y="15"/>
                  </a:lnTo>
                  <a:lnTo>
                    <a:pt x="44" y="19"/>
                  </a:lnTo>
                  <a:lnTo>
                    <a:pt x="37" y="21"/>
                  </a:lnTo>
                  <a:lnTo>
                    <a:pt x="27" y="21"/>
                  </a:lnTo>
                  <a:lnTo>
                    <a:pt x="19" y="19"/>
                  </a:lnTo>
                  <a:lnTo>
                    <a:pt x="14" y="17"/>
                  </a:lnTo>
                  <a:lnTo>
                    <a:pt x="12" y="24"/>
                  </a:lnTo>
                  <a:lnTo>
                    <a:pt x="12" y="36"/>
                  </a:lnTo>
                  <a:lnTo>
                    <a:pt x="12" y="44"/>
                  </a:lnTo>
                  <a:lnTo>
                    <a:pt x="8" y="53"/>
                  </a:lnTo>
                  <a:lnTo>
                    <a:pt x="6" y="59"/>
                  </a:lnTo>
                  <a:lnTo>
                    <a:pt x="0" y="67"/>
                  </a:lnTo>
                  <a:lnTo>
                    <a:pt x="2" y="74"/>
                  </a:lnTo>
                  <a:lnTo>
                    <a:pt x="0" y="84"/>
                  </a:lnTo>
                  <a:lnTo>
                    <a:pt x="4" y="92"/>
                  </a:lnTo>
                  <a:lnTo>
                    <a:pt x="0" y="99"/>
                  </a:lnTo>
                  <a:lnTo>
                    <a:pt x="2" y="103"/>
                  </a:lnTo>
                  <a:lnTo>
                    <a:pt x="8" y="111"/>
                  </a:lnTo>
                  <a:lnTo>
                    <a:pt x="15" y="117"/>
                  </a:lnTo>
                  <a:lnTo>
                    <a:pt x="23" y="118"/>
                  </a:lnTo>
                  <a:lnTo>
                    <a:pt x="35" y="118"/>
                  </a:lnTo>
                  <a:lnTo>
                    <a:pt x="46" y="118"/>
                  </a:lnTo>
                  <a:lnTo>
                    <a:pt x="58" y="115"/>
                  </a:lnTo>
                  <a:lnTo>
                    <a:pt x="63" y="109"/>
                  </a:lnTo>
                  <a:lnTo>
                    <a:pt x="71" y="103"/>
                  </a:lnTo>
                  <a:lnTo>
                    <a:pt x="79" y="97"/>
                  </a:lnTo>
                  <a:lnTo>
                    <a:pt x="88" y="94"/>
                  </a:lnTo>
                  <a:lnTo>
                    <a:pt x="94" y="90"/>
                  </a:lnTo>
                  <a:lnTo>
                    <a:pt x="102" y="90"/>
                  </a:lnTo>
                  <a:lnTo>
                    <a:pt x="108" y="95"/>
                  </a:lnTo>
                  <a:lnTo>
                    <a:pt x="109" y="101"/>
                  </a:lnTo>
                  <a:lnTo>
                    <a:pt x="106" y="105"/>
                  </a:lnTo>
                  <a:lnTo>
                    <a:pt x="102" y="107"/>
                  </a:lnTo>
                  <a:lnTo>
                    <a:pt x="100" y="115"/>
                  </a:lnTo>
                  <a:lnTo>
                    <a:pt x="100" y="122"/>
                  </a:lnTo>
                  <a:lnTo>
                    <a:pt x="98" y="126"/>
                  </a:lnTo>
                  <a:lnTo>
                    <a:pt x="98" y="130"/>
                  </a:lnTo>
                  <a:lnTo>
                    <a:pt x="100" y="134"/>
                  </a:lnTo>
                  <a:lnTo>
                    <a:pt x="106" y="134"/>
                  </a:lnTo>
                  <a:lnTo>
                    <a:pt x="109" y="136"/>
                  </a:lnTo>
                  <a:lnTo>
                    <a:pt x="109" y="140"/>
                  </a:lnTo>
                  <a:lnTo>
                    <a:pt x="108" y="142"/>
                  </a:lnTo>
                  <a:lnTo>
                    <a:pt x="108" y="145"/>
                  </a:lnTo>
                  <a:lnTo>
                    <a:pt x="109" y="147"/>
                  </a:lnTo>
                  <a:lnTo>
                    <a:pt x="115" y="151"/>
                  </a:lnTo>
                  <a:lnTo>
                    <a:pt x="123" y="151"/>
                  </a:lnTo>
                  <a:lnTo>
                    <a:pt x="129" y="147"/>
                  </a:lnTo>
                  <a:lnTo>
                    <a:pt x="134" y="149"/>
                  </a:lnTo>
                  <a:lnTo>
                    <a:pt x="138" y="143"/>
                  </a:lnTo>
                  <a:lnTo>
                    <a:pt x="140" y="136"/>
                  </a:lnTo>
                  <a:lnTo>
                    <a:pt x="142" y="132"/>
                  </a:lnTo>
                  <a:lnTo>
                    <a:pt x="148" y="126"/>
                  </a:lnTo>
                  <a:lnTo>
                    <a:pt x="156" y="126"/>
                  </a:lnTo>
                  <a:lnTo>
                    <a:pt x="159" y="126"/>
                  </a:lnTo>
                  <a:lnTo>
                    <a:pt x="169" y="124"/>
                  </a:lnTo>
                  <a:lnTo>
                    <a:pt x="173" y="118"/>
                  </a:lnTo>
                  <a:lnTo>
                    <a:pt x="177" y="120"/>
                  </a:lnTo>
                  <a:lnTo>
                    <a:pt x="184" y="122"/>
                  </a:lnTo>
                  <a:lnTo>
                    <a:pt x="192" y="120"/>
                  </a:lnTo>
                  <a:lnTo>
                    <a:pt x="202" y="120"/>
                  </a:lnTo>
                  <a:lnTo>
                    <a:pt x="207" y="117"/>
                  </a:lnTo>
                  <a:lnTo>
                    <a:pt x="211" y="115"/>
                  </a:lnTo>
                  <a:lnTo>
                    <a:pt x="215" y="107"/>
                  </a:lnTo>
                  <a:lnTo>
                    <a:pt x="221" y="105"/>
                  </a:lnTo>
                  <a:lnTo>
                    <a:pt x="228" y="103"/>
                  </a:lnTo>
                  <a:lnTo>
                    <a:pt x="236" y="103"/>
                  </a:lnTo>
                  <a:lnTo>
                    <a:pt x="240" y="103"/>
                  </a:lnTo>
                  <a:lnTo>
                    <a:pt x="248" y="101"/>
                  </a:lnTo>
                  <a:lnTo>
                    <a:pt x="255" y="101"/>
                  </a:lnTo>
                  <a:lnTo>
                    <a:pt x="261" y="101"/>
                  </a:lnTo>
                  <a:lnTo>
                    <a:pt x="269" y="99"/>
                  </a:lnTo>
                  <a:lnTo>
                    <a:pt x="274" y="97"/>
                  </a:lnTo>
                  <a:lnTo>
                    <a:pt x="273" y="90"/>
                  </a:lnTo>
                  <a:lnTo>
                    <a:pt x="271" y="86"/>
                  </a:lnTo>
                  <a:lnTo>
                    <a:pt x="269" y="76"/>
                  </a:lnTo>
                  <a:lnTo>
                    <a:pt x="269" y="67"/>
                  </a:lnTo>
                  <a:lnTo>
                    <a:pt x="269" y="61"/>
                  </a:lnTo>
                  <a:lnTo>
                    <a:pt x="267" y="55"/>
                  </a:lnTo>
                  <a:lnTo>
                    <a:pt x="267" y="49"/>
                  </a:lnTo>
                  <a:lnTo>
                    <a:pt x="265" y="4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/>
            </a:p>
          </p:txBody>
        </p:sp>
        <p:sp>
          <p:nvSpPr>
            <p:cNvPr id="140" name="Freeform 25"/>
            <p:cNvSpPr>
              <a:spLocks/>
            </p:cNvSpPr>
            <p:nvPr/>
          </p:nvSpPr>
          <p:spPr bwMode="auto">
            <a:xfrm>
              <a:off x="7172501" y="2322534"/>
              <a:ext cx="1223459" cy="1378273"/>
            </a:xfrm>
            <a:custGeom>
              <a:avLst/>
              <a:gdLst>
                <a:gd name="T0" fmla="*/ 426 w 628"/>
                <a:gd name="T1" fmla="*/ 652 h 706"/>
                <a:gd name="T2" fmla="*/ 430 w 628"/>
                <a:gd name="T3" fmla="*/ 615 h 706"/>
                <a:gd name="T4" fmla="*/ 440 w 628"/>
                <a:gd name="T5" fmla="*/ 571 h 706"/>
                <a:gd name="T6" fmla="*/ 438 w 628"/>
                <a:gd name="T7" fmla="*/ 529 h 706"/>
                <a:gd name="T8" fmla="*/ 407 w 628"/>
                <a:gd name="T9" fmla="*/ 518 h 706"/>
                <a:gd name="T10" fmla="*/ 357 w 628"/>
                <a:gd name="T11" fmla="*/ 510 h 706"/>
                <a:gd name="T12" fmla="*/ 328 w 628"/>
                <a:gd name="T13" fmla="*/ 477 h 706"/>
                <a:gd name="T14" fmla="*/ 298 w 628"/>
                <a:gd name="T15" fmla="*/ 470 h 706"/>
                <a:gd name="T16" fmla="*/ 263 w 628"/>
                <a:gd name="T17" fmla="*/ 458 h 706"/>
                <a:gd name="T18" fmla="*/ 232 w 628"/>
                <a:gd name="T19" fmla="*/ 435 h 706"/>
                <a:gd name="T20" fmla="*/ 202 w 628"/>
                <a:gd name="T21" fmla="*/ 424 h 706"/>
                <a:gd name="T22" fmla="*/ 179 w 628"/>
                <a:gd name="T23" fmla="*/ 408 h 706"/>
                <a:gd name="T24" fmla="*/ 161 w 628"/>
                <a:gd name="T25" fmla="*/ 399 h 706"/>
                <a:gd name="T26" fmla="*/ 115 w 628"/>
                <a:gd name="T27" fmla="*/ 412 h 706"/>
                <a:gd name="T28" fmla="*/ 71 w 628"/>
                <a:gd name="T29" fmla="*/ 437 h 706"/>
                <a:gd name="T30" fmla="*/ 25 w 628"/>
                <a:gd name="T31" fmla="*/ 452 h 706"/>
                <a:gd name="T32" fmla="*/ 27 w 628"/>
                <a:gd name="T33" fmla="*/ 412 h 706"/>
                <a:gd name="T34" fmla="*/ 19 w 628"/>
                <a:gd name="T35" fmla="*/ 370 h 706"/>
                <a:gd name="T36" fmla="*/ 21 w 628"/>
                <a:gd name="T37" fmla="*/ 335 h 706"/>
                <a:gd name="T38" fmla="*/ 12 w 628"/>
                <a:gd name="T39" fmla="*/ 306 h 706"/>
                <a:gd name="T40" fmla="*/ 8 w 628"/>
                <a:gd name="T41" fmla="*/ 268 h 706"/>
                <a:gd name="T42" fmla="*/ 14 w 628"/>
                <a:gd name="T43" fmla="*/ 224 h 706"/>
                <a:gd name="T44" fmla="*/ 4 w 628"/>
                <a:gd name="T45" fmla="*/ 197 h 706"/>
                <a:gd name="T46" fmla="*/ 2 w 628"/>
                <a:gd name="T47" fmla="*/ 165 h 706"/>
                <a:gd name="T48" fmla="*/ 19 w 628"/>
                <a:gd name="T49" fmla="*/ 143 h 706"/>
                <a:gd name="T50" fmla="*/ 52 w 628"/>
                <a:gd name="T51" fmla="*/ 130 h 706"/>
                <a:gd name="T52" fmla="*/ 92 w 628"/>
                <a:gd name="T53" fmla="*/ 149 h 706"/>
                <a:gd name="T54" fmla="*/ 148 w 628"/>
                <a:gd name="T55" fmla="*/ 143 h 706"/>
                <a:gd name="T56" fmla="*/ 190 w 628"/>
                <a:gd name="T57" fmla="*/ 95 h 706"/>
                <a:gd name="T58" fmla="*/ 225 w 628"/>
                <a:gd name="T59" fmla="*/ 53 h 706"/>
                <a:gd name="T60" fmla="*/ 265 w 628"/>
                <a:gd name="T61" fmla="*/ 55 h 706"/>
                <a:gd name="T62" fmla="*/ 323 w 628"/>
                <a:gd name="T63" fmla="*/ 44 h 706"/>
                <a:gd name="T64" fmla="*/ 367 w 628"/>
                <a:gd name="T65" fmla="*/ 5 h 706"/>
                <a:gd name="T66" fmla="*/ 399 w 628"/>
                <a:gd name="T67" fmla="*/ 34 h 706"/>
                <a:gd name="T68" fmla="*/ 428 w 628"/>
                <a:gd name="T69" fmla="*/ 36 h 706"/>
                <a:gd name="T70" fmla="*/ 467 w 628"/>
                <a:gd name="T71" fmla="*/ 15 h 706"/>
                <a:gd name="T72" fmla="*/ 518 w 628"/>
                <a:gd name="T73" fmla="*/ 1 h 706"/>
                <a:gd name="T74" fmla="*/ 551 w 628"/>
                <a:gd name="T75" fmla="*/ 21 h 706"/>
                <a:gd name="T76" fmla="*/ 574 w 628"/>
                <a:gd name="T77" fmla="*/ 40 h 706"/>
                <a:gd name="T78" fmla="*/ 589 w 628"/>
                <a:gd name="T79" fmla="*/ 86 h 706"/>
                <a:gd name="T80" fmla="*/ 599 w 628"/>
                <a:gd name="T81" fmla="*/ 122 h 706"/>
                <a:gd name="T82" fmla="*/ 591 w 628"/>
                <a:gd name="T83" fmla="*/ 155 h 706"/>
                <a:gd name="T84" fmla="*/ 587 w 628"/>
                <a:gd name="T85" fmla="*/ 193 h 706"/>
                <a:gd name="T86" fmla="*/ 628 w 628"/>
                <a:gd name="T87" fmla="*/ 224 h 706"/>
                <a:gd name="T88" fmla="*/ 595 w 628"/>
                <a:gd name="T89" fmla="*/ 276 h 706"/>
                <a:gd name="T90" fmla="*/ 555 w 628"/>
                <a:gd name="T91" fmla="*/ 314 h 706"/>
                <a:gd name="T92" fmla="*/ 539 w 628"/>
                <a:gd name="T93" fmla="*/ 310 h 706"/>
                <a:gd name="T94" fmla="*/ 532 w 628"/>
                <a:gd name="T95" fmla="*/ 305 h 706"/>
                <a:gd name="T96" fmla="*/ 530 w 628"/>
                <a:gd name="T97" fmla="*/ 333 h 706"/>
                <a:gd name="T98" fmla="*/ 511 w 628"/>
                <a:gd name="T99" fmla="*/ 374 h 706"/>
                <a:gd name="T100" fmla="*/ 515 w 628"/>
                <a:gd name="T101" fmla="*/ 422 h 706"/>
                <a:gd name="T102" fmla="*/ 513 w 628"/>
                <a:gd name="T103" fmla="*/ 471 h 706"/>
                <a:gd name="T104" fmla="*/ 516 w 628"/>
                <a:gd name="T105" fmla="*/ 523 h 706"/>
                <a:gd name="T106" fmla="*/ 497 w 628"/>
                <a:gd name="T107" fmla="*/ 581 h 706"/>
                <a:gd name="T108" fmla="*/ 488 w 628"/>
                <a:gd name="T109" fmla="*/ 627 h 706"/>
                <a:gd name="T110" fmla="*/ 488 w 628"/>
                <a:gd name="T111" fmla="*/ 671 h 706"/>
                <a:gd name="T112" fmla="*/ 455 w 628"/>
                <a:gd name="T113" fmla="*/ 696 h 706"/>
                <a:gd name="T114" fmla="*/ 419 w 628"/>
                <a:gd name="T115" fmla="*/ 679 h 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28" h="706">
                  <a:moveTo>
                    <a:pt x="407" y="667"/>
                  </a:moveTo>
                  <a:lnTo>
                    <a:pt x="413" y="667"/>
                  </a:lnTo>
                  <a:lnTo>
                    <a:pt x="419" y="663"/>
                  </a:lnTo>
                  <a:lnTo>
                    <a:pt x="422" y="658"/>
                  </a:lnTo>
                  <a:lnTo>
                    <a:pt x="426" y="652"/>
                  </a:lnTo>
                  <a:lnTo>
                    <a:pt x="422" y="644"/>
                  </a:lnTo>
                  <a:lnTo>
                    <a:pt x="421" y="635"/>
                  </a:lnTo>
                  <a:lnTo>
                    <a:pt x="417" y="623"/>
                  </a:lnTo>
                  <a:lnTo>
                    <a:pt x="421" y="617"/>
                  </a:lnTo>
                  <a:lnTo>
                    <a:pt x="430" y="615"/>
                  </a:lnTo>
                  <a:lnTo>
                    <a:pt x="436" y="608"/>
                  </a:lnTo>
                  <a:lnTo>
                    <a:pt x="436" y="598"/>
                  </a:lnTo>
                  <a:lnTo>
                    <a:pt x="436" y="589"/>
                  </a:lnTo>
                  <a:lnTo>
                    <a:pt x="436" y="583"/>
                  </a:lnTo>
                  <a:lnTo>
                    <a:pt x="440" y="571"/>
                  </a:lnTo>
                  <a:lnTo>
                    <a:pt x="442" y="562"/>
                  </a:lnTo>
                  <a:lnTo>
                    <a:pt x="442" y="554"/>
                  </a:lnTo>
                  <a:lnTo>
                    <a:pt x="442" y="546"/>
                  </a:lnTo>
                  <a:lnTo>
                    <a:pt x="444" y="537"/>
                  </a:lnTo>
                  <a:lnTo>
                    <a:pt x="438" y="529"/>
                  </a:lnTo>
                  <a:lnTo>
                    <a:pt x="432" y="521"/>
                  </a:lnTo>
                  <a:lnTo>
                    <a:pt x="428" y="518"/>
                  </a:lnTo>
                  <a:lnTo>
                    <a:pt x="421" y="514"/>
                  </a:lnTo>
                  <a:lnTo>
                    <a:pt x="415" y="514"/>
                  </a:lnTo>
                  <a:lnTo>
                    <a:pt x="407" y="518"/>
                  </a:lnTo>
                  <a:lnTo>
                    <a:pt x="394" y="518"/>
                  </a:lnTo>
                  <a:lnTo>
                    <a:pt x="386" y="510"/>
                  </a:lnTo>
                  <a:lnTo>
                    <a:pt x="380" y="506"/>
                  </a:lnTo>
                  <a:lnTo>
                    <a:pt x="369" y="506"/>
                  </a:lnTo>
                  <a:lnTo>
                    <a:pt x="357" y="510"/>
                  </a:lnTo>
                  <a:lnTo>
                    <a:pt x="350" y="508"/>
                  </a:lnTo>
                  <a:lnTo>
                    <a:pt x="342" y="502"/>
                  </a:lnTo>
                  <a:lnTo>
                    <a:pt x="338" y="495"/>
                  </a:lnTo>
                  <a:lnTo>
                    <a:pt x="334" y="485"/>
                  </a:lnTo>
                  <a:lnTo>
                    <a:pt x="328" y="477"/>
                  </a:lnTo>
                  <a:lnTo>
                    <a:pt x="323" y="475"/>
                  </a:lnTo>
                  <a:lnTo>
                    <a:pt x="317" y="470"/>
                  </a:lnTo>
                  <a:lnTo>
                    <a:pt x="311" y="466"/>
                  </a:lnTo>
                  <a:lnTo>
                    <a:pt x="305" y="468"/>
                  </a:lnTo>
                  <a:lnTo>
                    <a:pt x="298" y="470"/>
                  </a:lnTo>
                  <a:lnTo>
                    <a:pt x="290" y="471"/>
                  </a:lnTo>
                  <a:lnTo>
                    <a:pt x="282" y="470"/>
                  </a:lnTo>
                  <a:lnTo>
                    <a:pt x="275" y="468"/>
                  </a:lnTo>
                  <a:lnTo>
                    <a:pt x="269" y="460"/>
                  </a:lnTo>
                  <a:lnTo>
                    <a:pt x="263" y="458"/>
                  </a:lnTo>
                  <a:lnTo>
                    <a:pt x="259" y="450"/>
                  </a:lnTo>
                  <a:lnTo>
                    <a:pt x="252" y="445"/>
                  </a:lnTo>
                  <a:lnTo>
                    <a:pt x="246" y="437"/>
                  </a:lnTo>
                  <a:lnTo>
                    <a:pt x="240" y="437"/>
                  </a:lnTo>
                  <a:lnTo>
                    <a:pt x="232" y="435"/>
                  </a:lnTo>
                  <a:lnTo>
                    <a:pt x="232" y="429"/>
                  </a:lnTo>
                  <a:lnTo>
                    <a:pt x="227" y="431"/>
                  </a:lnTo>
                  <a:lnTo>
                    <a:pt x="219" y="427"/>
                  </a:lnTo>
                  <a:lnTo>
                    <a:pt x="209" y="425"/>
                  </a:lnTo>
                  <a:lnTo>
                    <a:pt x="202" y="424"/>
                  </a:lnTo>
                  <a:lnTo>
                    <a:pt x="194" y="427"/>
                  </a:lnTo>
                  <a:lnTo>
                    <a:pt x="186" y="427"/>
                  </a:lnTo>
                  <a:lnTo>
                    <a:pt x="183" y="422"/>
                  </a:lnTo>
                  <a:lnTo>
                    <a:pt x="181" y="414"/>
                  </a:lnTo>
                  <a:lnTo>
                    <a:pt x="179" y="408"/>
                  </a:lnTo>
                  <a:lnTo>
                    <a:pt x="184" y="406"/>
                  </a:lnTo>
                  <a:lnTo>
                    <a:pt x="181" y="401"/>
                  </a:lnTo>
                  <a:lnTo>
                    <a:pt x="173" y="397"/>
                  </a:lnTo>
                  <a:lnTo>
                    <a:pt x="169" y="399"/>
                  </a:lnTo>
                  <a:lnTo>
                    <a:pt x="161" y="399"/>
                  </a:lnTo>
                  <a:lnTo>
                    <a:pt x="154" y="399"/>
                  </a:lnTo>
                  <a:lnTo>
                    <a:pt x="148" y="401"/>
                  </a:lnTo>
                  <a:lnTo>
                    <a:pt x="137" y="404"/>
                  </a:lnTo>
                  <a:lnTo>
                    <a:pt x="125" y="408"/>
                  </a:lnTo>
                  <a:lnTo>
                    <a:pt x="115" y="412"/>
                  </a:lnTo>
                  <a:lnTo>
                    <a:pt x="108" y="422"/>
                  </a:lnTo>
                  <a:lnTo>
                    <a:pt x="98" y="424"/>
                  </a:lnTo>
                  <a:lnTo>
                    <a:pt x="89" y="427"/>
                  </a:lnTo>
                  <a:lnTo>
                    <a:pt x="81" y="435"/>
                  </a:lnTo>
                  <a:lnTo>
                    <a:pt x="71" y="437"/>
                  </a:lnTo>
                  <a:lnTo>
                    <a:pt x="58" y="443"/>
                  </a:lnTo>
                  <a:lnTo>
                    <a:pt x="52" y="447"/>
                  </a:lnTo>
                  <a:lnTo>
                    <a:pt x="46" y="450"/>
                  </a:lnTo>
                  <a:lnTo>
                    <a:pt x="37" y="454"/>
                  </a:lnTo>
                  <a:lnTo>
                    <a:pt x="25" y="452"/>
                  </a:lnTo>
                  <a:lnTo>
                    <a:pt x="27" y="447"/>
                  </a:lnTo>
                  <a:lnTo>
                    <a:pt x="27" y="437"/>
                  </a:lnTo>
                  <a:lnTo>
                    <a:pt x="27" y="427"/>
                  </a:lnTo>
                  <a:lnTo>
                    <a:pt x="29" y="420"/>
                  </a:lnTo>
                  <a:lnTo>
                    <a:pt x="27" y="412"/>
                  </a:lnTo>
                  <a:lnTo>
                    <a:pt x="29" y="404"/>
                  </a:lnTo>
                  <a:lnTo>
                    <a:pt x="25" y="397"/>
                  </a:lnTo>
                  <a:lnTo>
                    <a:pt x="21" y="387"/>
                  </a:lnTo>
                  <a:lnTo>
                    <a:pt x="21" y="381"/>
                  </a:lnTo>
                  <a:lnTo>
                    <a:pt x="19" y="370"/>
                  </a:lnTo>
                  <a:lnTo>
                    <a:pt x="16" y="364"/>
                  </a:lnTo>
                  <a:lnTo>
                    <a:pt x="16" y="356"/>
                  </a:lnTo>
                  <a:lnTo>
                    <a:pt x="18" y="347"/>
                  </a:lnTo>
                  <a:lnTo>
                    <a:pt x="23" y="343"/>
                  </a:lnTo>
                  <a:lnTo>
                    <a:pt x="21" y="335"/>
                  </a:lnTo>
                  <a:lnTo>
                    <a:pt x="19" y="330"/>
                  </a:lnTo>
                  <a:lnTo>
                    <a:pt x="14" y="324"/>
                  </a:lnTo>
                  <a:lnTo>
                    <a:pt x="14" y="318"/>
                  </a:lnTo>
                  <a:lnTo>
                    <a:pt x="12" y="314"/>
                  </a:lnTo>
                  <a:lnTo>
                    <a:pt x="12" y="306"/>
                  </a:lnTo>
                  <a:lnTo>
                    <a:pt x="16" y="301"/>
                  </a:lnTo>
                  <a:lnTo>
                    <a:pt x="16" y="293"/>
                  </a:lnTo>
                  <a:lnTo>
                    <a:pt x="14" y="287"/>
                  </a:lnTo>
                  <a:lnTo>
                    <a:pt x="14" y="276"/>
                  </a:lnTo>
                  <a:lnTo>
                    <a:pt x="8" y="268"/>
                  </a:lnTo>
                  <a:lnTo>
                    <a:pt x="6" y="257"/>
                  </a:lnTo>
                  <a:lnTo>
                    <a:pt x="14" y="247"/>
                  </a:lnTo>
                  <a:lnTo>
                    <a:pt x="10" y="237"/>
                  </a:lnTo>
                  <a:lnTo>
                    <a:pt x="8" y="228"/>
                  </a:lnTo>
                  <a:lnTo>
                    <a:pt x="14" y="224"/>
                  </a:lnTo>
                  <a:lnTo>
                    <a:pt x="14" y="218"/>
                  </a:lnTo>
                  <a:lnTo>
                    <a:pt x="16" y="211"/>
                  </a:lnTo>
                  <a:lnTo>
                    <a:pt x="16" y="205"/>
                  </a:lnTo>
                  <a:lnTo>
                    <a:pt x="8" y="203"/>
                  </a:lnTo>
                  <a:lnTo>
                    <a:pt x="4" y="197"/>
                  </a:lnTo>
                  <a:lnTo>
                    <a:pt x="4" y="191"/>
                  </a:lnTo>
                  <a:lnTo>
                    <a:pt x="0" y="186"/>
                  </a:lnTo>
                  <a:lnTo>
                    <a:pt x="2" y="176"/>
                  </a:lnTo>
                  <a:lnTo>
                    <a:pt x="4" y="170"/>
                  </a:lnTo>
                  <a:lnTo>
                    <a:pt x="2" y="165"/>
                  </a:lnTo>
                  <a:lnTo>
                    <a:pt x="8" y="161"/>
                  </a:lnTo>
                  <a:lnTo>
                    <a:pt x="10" y="155"/>
                  </a:lnTo>
                  <a:lnTo>
                    <a:pt x="16" y="151"/>
                  </a:lnTo>
                  <a:lnTo>
                    <a:pt x="18" y="147"/>
                  </a:lnTo>
                  <a:lnTo>
                    <a:pt x="19" y="143"/>
                  </a:lnTo>
                  <a:lnTo>
                    <a:pt x="27" y="142"/>
                  </a:lnTo>
                  <a:lnTo>
                    <a:pt x="31" y="143"/>
                  </a:lnTo>
                  <a:lnTo>
                    <a:pt x="41" y="136"/>
                  </a:lnTo>
                  <a:lnTo>
                    <a:pt x="48" y="132"/>
                  </a:lnTo>
                  <a:lnTo>
                    <a:pt x="52" y="130"/>
                  </a:lnTo>
                  <a:lnTo>
                    <a:pt x="58" y="126"/>
                  </a:lnTo>
                  <a:lnTo>
                    <a:pt x="67" y="130"/>
                  </a:lnTo>
                  <a:lnTo>
                    <a:pt x="75" y="136"/>
                  </a:lnTo>
                  <a:lnTo>
                    <a:pt x="81" y="142"/>
                  </a:lnTo>
                  <a:lnTo>
                    <a:pt x="92" y="149"/>
                  </a:lnTo>
                  <a:lnTo>
                    <a:pt x="102" y="149"/>
                  </a:lnTo>
                  <a:lnTo>
                    <a:pt x="113" y="149"/>
                  </a:lnTo>
                  <a:lnTo>
                    <a:pt x="121" y="143"/>
                  </a:lnTo>
                  <a:lnTo>
                    <a:pt x="135" y="143"/>
                  </a:lnTo>
                  <a:lnTo>
                    <a:pt x="148" y="143"/>
                  </a:lnTo>
                  <a:lnTo>
                    <a:pt x="156" y="136"/>
                  </a:lnTo>
                  <a:lnTo>
                    <a:pt x="169" y="130"/>
                  </a:lnTo>
                  <a:lnTo>
                    <a:pt x="177" y="120"/>
                  </a:lnTo>
                  <a:lnTo>
                    <a:pt x="183" y="109"/>
                  </a:lnTo>
                  <a:lnTo>
                    <a:pt x="190" y="95"/>
                  </a:lnTo>
                  <a:lnTo>
                    <a:pt x="196" y="88"/>
                  </a:lnTo>
                  <a:lnTo>
                    <a:pt x="204" y="78"/>
                  </a:lnTo>
                  <a:lnTo>
                    <a:pt x="209" y="69"/>
                  </a:lnTo>
                  <a:lnTo>
                    <a:pt x="215" y="59"/>
                  </a:lnTo>
                  <a:lnTo>
                    <a:pt x="225" y="53"/>
                  </a:lnTo>
                  <a:lnTo>
                    <a:pt x="236" y="51"/>
                  </a:lnTo>
                  <a:lnTo>
                    <a:pt x="244" y="47"/>
                  </a:lnTo>
                  <a:lnTo>
                    <a:pt x="252" y="51"/>
                  </a:lnTo>
                  <a:lnTo>
                    <a:pt x="255" y="57"/>
                  </a:lnTo>
                  <a:lnTo>
                    <a:pt x="265" y="55"/>
                  </a:lnTo>
                  <a:lnTo>
                    <a:pt x="279" y="53"/>
                  </a:lnTo>
                  <a:lnTo>
                    <a:pt x="290" y="55"/>
                  </a:lnTo>
                  <a:lnTo>
                    <a:pt x="300" y="53"/>
                  </a:lnTo>
                  <a:lnTo>
                    <a:pt x="307" y="51"/>
                  </a:lnTo>
                  <a:lnTo>
                    <a:pt x="323" y="44"/>
                  </a:lnTo>
                  <a:lnTo>
                    <a:pt x="330" y="36"/>
                  </a:lnTo>
                  <a:lnTo>
                    <a:pt x="340" y="24"/>
                  </a:lnTo>
                  <a:lnTo>
                    <a:pt x="346" y="15"/>
                  </a:lnTo>
                  <a:lnTo>
                    <a:pt x="355" y="7"/>
                  </a:lnTo>
                  <a:lnTo>
                    <a:pt x="367" y="5"/>
                  </a:lnTo>
                  <a:lnTo>
                    <a:pt x="376" y="9"/>
                  </a:lnTo>
                  <a:lnTo>
                    <a:pt x="386" y="15"/>
                  </a:lnTo>
                  <a:lnTo>
                    <a:pt x="390" y="19"/>
                  </a:lnTo>
                  <a:lnTo>
                    <a:pt x="396" y="24"/>
                  </a:lnTo>
                  <a:lnTo>
                    <a:pt x="399" y="34"/>
                  </a:lnTo>
                  <a:lnTo>
                    <a:pt x="403" y="42"/>
                  </a:lnTo>
                  <a:lnTo>
                    <a:pt x="405" y="51"/>
                  </a:lnTo>
                  <a:lnTo>
                    <a:pt x="413" y="55"/>
                  </a:lnTo>
                  <a:lnTo>
                    <a:pt x="422" y="49"/>
                  </a:lnTo>
                  <a:lnTo>
                    <a:pt x="428" y="36"/>
                  </a:lnTo>
                  <a:lnTo>
                    <a:pt x="440" y="40"/>
                  </a:lnTo>
                  <a:lnTo>
                    <a:pt x="447" y="38"/>
                  </a:lnTo>
                  <a:lnTo>
                    <a:pt x="453" y="28"/>
                  </a:lnTo>
                  <a:lnTo>
                    <a:pt x="457" y="28"/>
                  </a:lnTo>
                  <a:lnTo>
                    <a:pt x="467" y="15"/>
                  </a:lnTo>
                  <a:lnTo>
                    <a:pt x="478" y="5"/>
                  </a:lnTo>
                  <a:lnTo>
                    <a:pt x="492" y="5"/>
                  </a:lnTo>
                  <a:lnTo>
                    <a:pt x="505" y="5"/>
                  </a:lnTo>
                  <a:lnTo>
                    <a:pt x="513" y="0"/>
                  </a:lnTo>
                  <a:lnTo>
                    <a:pt x="518" y="1"/>
                  </a:lnTo>
                  <a:lnTo>
                    <a:pt x="520" y="11"/>
                  </a:lnTo>
                  <a:lnTo>
                    <a:pt x="530" y="11"/>
                  </a:lnTo>
                  <a:lnTo>
                    <a:pt x="536" y="17"/>
                  </a:lnTo>
                  <a:lnTo>
                    <a:pt x="541" y="21"/>
                  </a:lnTo>
                  <a:lnTo>
                    <a:pt x="551" y="21"/>
                  </a:lnTo>
                  <a:lnTo>
                    <a:pt x="561" y="19"/>
                  </a:lnTo>
                  <a:lnTo>
                    <a:pt x="561" y="24"/>
                  </a:lnTo>
                  <a:lnTo>
                    <a:pt x="563" y="34"/>
                  </a:lnTo>
                  <a:lnTo>
                    <a:pt x="568" y="34"/>
                  </a:lnTo>
                  <a:lnTo>
                    <a:pt x="574" y="40"/>
                  </a:lnTo>
                  <a:lnTo>
                    <a:pt x="576" y="46"/>
                  </a:lnTo>
                  <a:lnTo>
                    <a:pt x="574" y="53"/>
                  </a:lnTo>
                  <a:lnTo>
                    <a:pt x="580" y="65"/>
                  </a:lnTo>
                  <a:lnTo>
                    <a:pt x="584" y="74"/>
                  </a:lnTo>
                  <a:lnTo>
                    <a:pt x="589" y="86"/>
                  </a:lnTo>
                  <a:lnTo>
                    <a:pt x="595" y="99"/>
                  </a:lnTo>
                  <a:lnTo>
                    <a:pt x="601" y="109"/>
                  </a:lnTo>
                  <a:lnTo>
                    <a:pt x="605" y="115"/>
                  </a:lnTo>
                  <a:lnTo>
                    <a:pt x="603" y="118"/>
                  </a:lnTo>
                  <a:lnTo>
                    <a:pt x="599" y="122"/>
                  </a:lnTo>
                  <a:lnTo>
                    <a:pt x="597" y="130"/>
                  </a:lnTo>
                  <a:lnTo>
                    <a:pt x="599" y="138"/>
                  </a:lnTo>
                  <a:lnTo>
                    <a:pt x="603" y="147"/>
                  </a:lnTo>
                  <a:lnTo>
                    <a:pt x="601" y="153"/>
                  </a:lnTo>
                  <a:lnTo>
                    <a:pt x="591" y="155"/>
                  </a:lnTo>
                  <a:lnTo>
                    <a:pt x="580" y="155"/>
                  </a:lnTo>
                  <a:lnTo>
                    <a:pt x="574" y="161"/>
                  </a:lnTo>
                  <a:lnTo>
                    <a:pt x="574" y="172"/>
                  </a:lnTo>
                  <a:lnTo>
                    <a:pt x="582" y="184"/>
                  </a:lnTo>
                  <a:lnTo>
                    <a:pt x="587" y="193"/>
                  </a:lnTo>
                  <a:lnTo>
                    <a:pt x="595" y="203"/>
                  </a:lnTo>
                  <a:lnTo>
                    <a:pt x="603" y="211"/>
                  </a:lnTo>
                  <a:lnTo>
                    <a:pt x="609" y="216"/>
                  </a:lnTo>
                  <a:lnTo>
                    <a:pt x="618" y="220"/>
                  </a:lnTo>
                  <a:lnTo>
                    <a:pt x="628" y="224"/>
                  </a:lnTo>
                  <a:lnTo>
                    <a:pt x="622" y="230"/>
                  </a:lnTo>
                  <a:lnTo>
                    <a:pt x="614" y="237"/>
                  </a:lnTo>
                  <a:lnTo>
                    <a:pt x="605" y="251"/>
                  </a:lnTo>
                  <a:lnTo>
                    <a:pt x="601" y="270"/>
                  </a:lnTo>
                  <a:lnTo>
                    <a:pt x="595" y="276"/>
                  </a:lnTo>
                  <a:lnTo>
                    <a:pt x="586" y="289"/>
                  </a:lnTo>
                  <a:lnTo>
                    <a:pt x="580" y="299"/>
                  </a:lnTo>
                  <a:lnTo>
                    <a:pt x="570" y="305"/>
                  </a:lnTo>
                  <a:lnTo>
                    <a:pt x="563" y="306"/>
                  </a:lnTo>
                  <a:lnTo>
                    <a:pt x="555" y="314"/>
                  </a:lnTo>
                  <a:lnTo>
                    <a:pt x="547" y="320"/>
                  </a:lnTo>
                  <a:lnTo>
                    <a:pt x="539" y="318"/>
                  </a:lnTo>
                  <a:lnTo>
                    <a:pt x="539" y="316"/>
                  </a:lnTo>
                  <a:lnTo>
                    <a:pt x="539" y="312"/>
                  </a:lnTo>
                  <a:lnTo>
                    <a:pt x="539" y="310"/>
                  </a:lnTo>
                  <a:lnTo>
                    <a:pt x="539" y="306"/>
                  </a:lnTo>
                  <a:lnTo>
                    <a:pt x="539" y="305"/>
                  </a:lnTo>
                  <a:lnTo>
                    <a:pt x="536" y="303"/>
                  </a:lnTo>
                  <a:lnTo>
                    <a:pt x="534" y="303"/>
                  </a:lnTo>
                  <a:lnTo>
                    <a:pt x="532" y="305"/>
                  </a:lnTo>
                  <a:lnTo>
                    <a:pt x="532" y="306"/>
                  </a:lnTo>
                  <a:lnTo>
                    <a:pt x="530" y="312"/>
                  </a:lnTo>
                  <a:lnTo>
                    <a:pt x="534" y="320"/>
                  </a:lnTo>
                  <a:lnTo>
                    <a:pt x="534" y="328"/>
                  </a:lnTo>
                  <a:lnTo>
                    <a:pt x="530" y="333"/>
                  </a:lnTo>
                  <a:lnTo>
                    <a:pt x="524" y="341"/>
                  </a:lnTo>
                  <a:lnTo>
                    <a:pt x="520" y="353"/>
                  </a:lnTo>
                  <a:lnTo>
                    <a:pt x="520" y="360"/>
                  </a:lnTo>
                  <a:lnTo>
                    <a:pt x="515" y="368"/>
                  </a:lnTo>
                  <a:lnTo>
                    <a:pt x="511" y="374"/>
                  </a:lnTo>
                  <a:lnTo>
                    <a:pt x="518" y="381"/>
                  </a:lnTo>
                  <a:lnTo>
                    <a:pt x="520" y="391"/>
                  </a:lnTo>
                  <a:lnTo>
                    <a:pt x="515" y="402"/>
                  </a:lnTo>
                  <a:lnTo>
                    <a:pt x="513" y="412"/>
                  </a:lnTo>
                  <a:lnTo>
                    <a:pt x="515" y="422"/>
                  </a:lnTo>
                  <a:lnTo>
                    <a:pt x="511" y="425"/>
                  </a:lnTo>
                  <a:lnTo>
                    <a:pt x="509" y="435"/>
                  </a:lnTo>
                  <a:lnTo>
                    <a:pt x="513" y="447"/>
                  </a:lnTo>
                  <a:lnTo>
                    <a:pt x="511" y="452"/>
                  </a:lnTo>
                  <a:lnTo>
                    <a:pt x="513" y="471"/>
                  </a:lnTo>
                  <a:lnTo>
                    <a:pt x="515" y="485"/>
                  </a:lnTo>
                  <a:lnTo>
                    <a:pt x="515" y="493"/>
                  </a:lnTo>
                  <a:lnTo>
                    <a:pt x="518" y="504"/>
                  </a:lnTo>
                  <a:lnTo>
                    <a:pt x="518" y="510"/>
                  </a:lnTo>
                  <a:lnTo>
                    <a:pt x="516" y="523"/>
                  </a:lnTo>
                  <a:lnTo>
                    <a:pt x="516" y="531"/>
                  </a:lnTo>
                  <a:lnTo>
                    <a:pt x="511" y="541"/>
                  </a:lnTo>
                  <a:lnTo>
                    <a:pt x="507" y="554"/>
                  </a:lnTo>
                  <a:lnTo>
                    <a:pt x="501" y="569"/>
                  </a:lnTo>
                  <a:lnTo>
                    <a:pt x="497" y="581"/>
                  </a:lnTo>
                  <a:lnTo>
                    <a:pt x="497" y="592"/>
                  </a:lnTo>
                  <a:lnTo>
                    <a:pt x="495" y="600"/>
                  </a:lnTo>
                  <a:lnTo>
                    <a:pt x="490" y="608"/>
                  </a:lnTo>
                  <a:lnTo>
                    <a:pt x="488" y="617"/>
                  </a:lnTo>
                  <a:lnTo>
                    <a:pt x="488" y="627"/>
                  </a:lnTo>
                  <a:lnTo>
                    <a:pt x="493" y="635"/>
                  </a:lnTo>
                  <a:lnTo>
                    <a:pt x="490" y="646"/>
                  </a:lnTo>
                  <a:lnTo>
                    <a:pt x="488" y="656"/>
                  </a:lnTo>
                  <a:lnTo>
                    <a:pt x="490" y="663"/>
                  </a:lnTo>
                  <a:lnTo>
                    <a:pt x="488" y="671"/>
                  </a:lnTo>
                  <a:lnTo>
                    <a:pt x="478" y="673"/>
                  </a:lnTo>
                  <a:lnTo>
                    <a:pt x="470" y="681"/>
                  </a:lnTo>
                  <a:lnTo>
                    <a:pt x="468" y="694"/>
                  </a:lnTo>
                  <a:lnTo>
                    <a:pt x="467" y="706"/>
                  </a:lnTo>
                  <a:lnTo>
                    <a:pt x="455" y="696"/>
                  </a:lnTo>
                  <a:lnTo>
                    <a:pt x="451" y="694"/>
                  </a:lnTo>
                  <a:lnTo>
                    <a:pt x="440" y="690"/>
                  </a:lnTo>
                  <a:lnTo>
                    <a:pt x="436" y="683"/>
                  </a:lnTo>
                  <a:lnTo>
                    <a:pt x="430" y="681"/>
                  </a:lnTo>
                  <a:lnTo>
                    <a:pt x="419" y="679"/>
                  </a:lnTo>
                  <a:lnTo>
                    <a:pt x="417" y="677"/>
                  </a:lnTo>
                  <a:lnTo>
                    <a:pt x="407" y="66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/>
            </a:p>
          </p:txBody>
        </p:sp>
        <p:sp>
          <p:nvSpPr>
            <p:cNvPr id="141" name="Freeform 26"/>
            <p:cNvSpPr>
              <a:spLocks/>
            </p:cNvSpPr>
            <p:nvPr/>
          </p:nvSpPr>
          <p:spPr bwMode="auto">
            <a:xfrm>
              <a:off x="7888514" y="2163420"/>
              <a:ext cx="894480" cy="292426"/>
            </a:xfrm>
            <a:custGeom>
              <a:avLst/>
              <a:gdLst>
                <a:gd name="T0" fmla="*/ 443 w 458"/>
                <a:gd name="T1" fmla="*/ 19 h 150"/>
                <a:gd name="T2" fmla="*/ 422 w 458"/>
                <a:gd name="T3" fmla="*/ 21 h 150"/>
                <a:gd name="T4" fmla="*/ 403 w 458"/>
                <a:gd name="T5" fmla="*/ 23 h 150"/>
                <a:gd name="T6" fmla="*/ 389 w 458"/>
                <a:gd name="T7" fmla="*/ 35 h 150"/>
                <a:gd name="T8" fmla="*/ 366 w 458"/>
                <a:gd name="T9" fmla="*/ 40 h 150"/>
                <a:gd name="T10" fmla="*/ 351 w 458"/>
                <a:gd name="T11" fmla="*/ 42 h 150"/>
                <a:gd name="T12" fmla="*/ 330 w 458"/>
                <a:gd name="T13" fmla="*/ 44 h 150"/>
                <a:gd name="T14" fmla="*/ 320 w 458"/>
                <a:gd name="T15" fmla="*/ 61 h 150"/>
                <a:gd name="T16" fmla="*/ 305 w 458"/>
                <a:gd name="T17" fmla="*/ 69 h 150"/>
                <a:gd name="T18" fmla="*/ 290 w 458"/>
                <a:gd name="T19" fmla="*/ 63 h 150"/>
                <a:gd name="T20" fmla="*/ 291 w 458"/>
                <a:gd name="T21" fmla="*/ 54 h 150"/>
                <a:gd name="T22" fmla="*/ 280 w 458"/>
                <a:gd name="T23" fmla="*/ 48 h 150"/>
                <a:gd name="T24" fmla="*/ 282 w 458"/>
                <a:gd name="T25" fmla="*/ 33 h 150"/>
                <a:gd name="T26" fmla="*/ 291 w 458"/>
                <a:gd name="T27" fmla="*/ 19 h 150"/>
                <a:gd name="T28" fmla="*/ 276 w 458"/>
                <a:gd name="T29" fmla="*/ 8 h 150"/>
                <a:gd name="T30" fmla="*/ 253 w 458"/>
                <a:gd name="T31" fmla="*/ 21 h 150"/>
                <a:gd name="T32" fmla="*/ 228 w 458"/>
                <a:gd name="T33" fmla="*/ 36 h 150"/>
                <a:gd name="T34" fmla="*/ 197 w 458"/>
                <a:gd name="T35" fmla="*/ 35 h 150"/>
                <a:gd name="T36" fmla="*/ 182 w 458"/>
                <a:gd name="T37" fmla="*/ 17 h 150"/>
                <a:gd name="T38" fmla="*/ 148 w 458"/>
                <a:gd name="T39" fmla="*/ 29 h 150"/>
                <a:gd name="T40" fmla="*/ 123 w 458"/>
                <a:gd name="T41" fmla="*/ 10 h 150"/>
                <a:gd name="T42" fmla="*/ 92 w 458"/>
                <a:gd name="T43" fmla="*/ 6 h 150"/>
                <a:gd name="T44" fmla="*/ 57 w 458"/>
                <a:gd name="T45" fmla="*/ 0 h 150"/>
                <a:gd name="T46" fmla="*/ 38 w 458"/>
                <a:gd name="T47" fmla="*/ 12 h 150"/>
                <a:gd name="T48" fmla="*/ 46 w 458"/>
                <a:gd name="T49" fmla="*/ 35 h 150"/>
                <a:gd name="T50" fmla="*/ 36 w 458"/>
                <a:gd name="T51" fmla="*/ 58 h 150"/>
                <a:gd name="T52" fmla="*/ 23 w 458"/>
                <a:gd name="T53" fmla="*/ 71 h 150"/>
                <a:gd name="T54" fmla="*/ 0 w 458"/>
                <a:gd name="T55" fmla="*/ 88 h 150"/>
                <a:gd name="T56" fmla="*/ 23 w 458"/>
                <a:gd name="T57" fmla="*/ 102 h 150"/>
                <a:gd name="T58" fmla="*/ 36 w 458"/>
                <a:gd name="T59" fmla="*/ 125 h 150"/>
                <a:gd name="T60" fmla="*/ 55 w 458"/>
                <a:gd name="T61" fmla="*/ 132 h 150"/>
                <a:gd name="T62" fmla="*/ 80 w 458"/>
                <a:gd name="T63" fmla="*/ 121 h 150"/>
                <a:gd name="T64" fmla="*/ 100 w 458"/>
                <a:gd name="T65" fmla="*/ 98 h 150"/>
                <a:gd name="T66" fmla="*/ 138 w 458"/>
                <a:gd name="T67" fmla="*/ 88 h 150"/>
                <a:gd name="T68" fmla="*/ 153 w 458"/>
                <a:gd name="T69" fmla="*/ 94 h 150"/>
                <a:gd name="T70" fmla="*/ 174 w 458"/>
                <a:gd name="T71" fmla="*/ 104 h 150"/>
                <a:gd name="T72" fmla="*/ 194 w 458"/>
                <a:gd name="T73" fmla="*/ 107 h 150"/>
                <a:gd name="T74" fmla="*/ 207 w 458"/>
                <a:gd name="T75" fmla="*/ 123 h 150"/>
                <a:gd name="T76" fmla="*/ 213 w 458"/>
                <a:gd name="T77" fmla="*/ 150 h 150"/>
                <a:gd name="T78" fmla="*/ 234 w 458"/>
                <a:gd name="T79" fmla="*/ 140 h 150"/>
                <a:gd name="T80" fmla="*/ 249 w 458"/>
                <a:gd name="T81" fmla="*/ 121 h 150"/>
                <a:gd name="T82" fmla="*/ 270 w 458"/>
                <a:gd name="T83" fmla="*/ 127 h 150"/>
                <a:gd name="T84" fmla="*/ 297 w 458"/>
                <a:gd name="T85" fmla="*/ 142 h 150"/>
                <a:gd name="T86" fmla="*/ 332 w 458"/>
                <a:gd name="T87" fmla="*/ 136 h 150"/>
                <a:gd name="T88" fmla="*/ 359 w 458"/>
                <a:gd name="T89" fmla="*/ 123 h 150"/>
                <a:gd name="T90" fmla="*/ 393 w 458"/>
                <a:gd name="T91" fmla="*/ 117 h 150"/>
                <a:gd name="T92" fmla="*/ 422 w 458"/>
                <a:gd name="T93" fmla="*/ 125 h 150"/>
                <a:gd name="T94" fmla="*/ 435 w 458"/>
                <a:gd name="T95" fmla="*/ 96 h 150"/>
                <a:gd name="T96" fmla="*/ 447 w 458"/>
                <a:gd name="T97" fmla="*/ 60 h 150"/>
                <a:gd name="T98" fmla="*/ 458 w 458"/>
                <a:gd name="T99" fmla="*/ 31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58" h="150">
                  <a:moveTo>
                    <a:pt x="456" y="15"/>
                  </a:moveTo>
                  <a:lnTo>
                    <a:pt x="451" y="17"/>
                  </a:lnTo>
                  <a:lnTo>
                    <a:pt x="443" y="19"/>
                  </a:lnTo>
                  <a:lnTo>
                    <a:pt x="437" y="19"/>
                  </a:lnTo>
                  <a:lnTo>
                    <a:pt x="430" y="19"/>
                  </a:lnTo>
                  <a:lnTo>
                    <a:pt x="422" y="21"/>
                  </a:lnTo>
                  <a:lnTo>
                    <a:pt x="418" y="21"/>
                  </a:lnTo>
                  <a:lnTo>
                    <a:pt x="410" y="21"/>
                  </a:lnTo>
                  <a:lnTo>
                    <a:pt x="403" y="23"/>
                  </a:lnTo>
                  <a:lnTo>
                    <a:pt x="397" y="25"/>
                  </a:lnTo>
                  <a:lnTo>
                    <a:pt x="393" y="33"/>
                  </a:lnTo>
                  <a:lnTo>
                    <a:pt x="389" y="35"/>
                  </a:lnTo>
                  <a:lnTo>
                    <a:pt x="384" y="38"/>
                  </a:lnTo>
                  <a:lnTo>
                    <a:pt x="374" y="38"/>
                  </a:lnTo>
                  <a:lnTo>
                    <a:pt x="366" y="40"/>
                  </a:lnTo>
                  <a:lnTo>
                    <a:pt x="359" y="38"/>
                  </a:lnTo>
                  <a:lnTo>
                    <a:pt x="355" y="36"/>
                  </a:lnTo>
                  <a:lnTo>
                    <a:pt x="351" y="42"/>
                  </a:lnTo>
                  <a:lnTo>
                    <a:pt x="341" y="44"/>
                  </a:lnTo>
                  <a:lnTo>
                    <a:pt x="338" y="44"/>
                  </a:lnTo>
                  <a:lnTo>
                    <a:pt x="330" y="44"/>
                  </a:lnTo>
                  <a:lnTo>
                    <a:pt x="324" y="50"/>
                  </a:lnTo>
                  <a:lnTo>
                    <a:pt x="322" y="54"/>
                  </a:lnTo>
                  <a:lnTo>
                    <a:pt x="320" y="61"/>
                  </a:lnTo>
                  <a:lnTo>
                    <a:pt x="316" y="67"/>
                  </a:lnTo>
                  <a:lnTo>
                    <a:pt x="311" y="65"/>
                  </a:lnTo>
                  <a:lnTo>
                    <a:pt x="305" y="69"/>
                  </a:lnTo>
                  <a:lnTo>
                    <a:pt x="297" y="69"/>
                  </a:lnTo>
                  <a:lnTo>
                    <a:pt x="291" y="65"/>
                  </a:lnTo>
                  <a:lnTo>
                    <a:pt x="290" y="63"/>
                  </a:lnTo>
                  <a:lnTo>
                    <a:pt x="290" y="60"/>
                  </a:lnTo>
                  <a:lnTo>
                    <a:pt x="291" y="58"/>
                  </a:lnTo>
                  <a:lnTo>
                    <a:pt x="291" y="54"/>
                  </a:lnTo>
                  <a:lnTo>
                    <a:pt x="288" y="52"/>
                  </a:lnTo>
                  <a:lnTo>
                    <a:pt x="282" y="52"/>
                  </a:lnTo>
                  <a:lnTo>
                    <a:pt x="280" y="48"/>
                  </a:lnTo>
                  <a:lnTo>
                    <a:pt x="280" y="44"/>
                  </a:lnTo>
                  <a:lnTo>
                    <a:pt x="282" y="40"/>
                  </a:lnTo>
                  <a:lnTo>
                    <a:pt x="282" y="33"/>
                  </a:lnTo>
                  <a:lnTo>
                    <a:pt x="284" y="25"/>
                  </a:lnTo>
                  <a:lnTo>
                    <a:pt x="288" y="23"/>
                  </a:lnTo>
                  <a:lnTo>
                    <a:pt x="291" y="19"/>
                  </a:lnTo>
                  <a:lnTo>
                    <a:pt x="290" y="13"/>
                  </a:lnTo>
                  <a:lnTo>
                    <a:pt x="284" y="8"/>
                  </a:lnTo>
                  <a:lnTo>
                    <a:pt x="276" y="8"/>
                  </a:lnTo>
                  <a:lnTo>
                    <a:pt x="270" y="12"/>
                  </a:lnTo>
                  <a:lnTo>
                    <a:pt x="261" y="15"/>
                  </a:lnTo>
                  <a:lnTo>
                    <a:pt x="253" y="21"/>
                  </a:lnTo>
                  <a:lnTo>
                    <a:pt x="245" y="27"/>
                  </a:lnTo>
                  <a:lnTo>
                    <a:pt x="240" y="33"/>
                  </a:lnTo>
                  <a:lnTo>
                    <a:pt x="228" y="36"/>
                  </a:lnTo>
                  <a:lnTo>
                    <a:pt x="217" y="36"/>
                  </a:lnTo>
                  <a:lnTo>
                    <a:pt x="205" y="36"/>
                  </a:lnTo>
                  <a:lnTo>
                    <a:pt x="197" y="35"/>
                  </a:lnTo>
                  <a:lnTo>
                    <a:pt x="190" y="29"/>
                  </a:lnTo>
                  <a:lnTo>
                    <a:pt x="184" y="21"/>
                  </a:lnTo>
                  <a:lnTo>
                    <a:pt x="182" y="17"/>
                  </a:lnTo>
                  <a:lnTo>
                    <a:pt x="172" y="23"/>
                  </a:lnTo>
                  <a:lnTo>
                    <a:pt x="161" y="29"/>
                  </a:lnTo>
                  <a:lnTo>
                    <a:pt x="148" y="29"/>
                  </a:lnTo>
                  <a:lnTo>
                    <a:pt x="134" y="23"/>
                  </a:lnTo>
                  <a:lnTo>
                    <a:pt x="128" y="15"/>
                  </a:lnTo>
                  <a:lnTo>
                    <a:pt x="123" y="10"/>
                  </a:lnTo>
                  <a:lnTo>
                    <a:pt x="113" y="6"/>
                  </a:lnTo>
                  <a:lnTo>
                    <a:pt x="105" y="4"/>
                  </a:lnTo>
                  <a:lnTo>
                    <a:pt x="92" y="6"/>
                  </a:lnTo>
                  <a:lnTo>
                    <a:pt x="82" y="0"/>
                  </a:lnTo>
                  <a:lnTo>
                    <a:pt x="69" y="0"/>
                  </a:lnTo>
                  <a:lnTo>
                    <a:pt x="57" y="0"/>
                  </a:lnTo>
                  <a:lnTo>
                    <a:pt x="46" y="0"/>
                  </a:lnTo>
                  <a:lnTo>
                    <a:pt x="40" y="4"/>
                  </a:lnTo>
                  <a:lnTo>
                    <a:pt x="38" y="12"/>
                  </a:lnTo>
                  <a:lnTo>
                    <a:pt x="40" y="19"/>
                  </a:lnTo>
                  <a:lnTo>
                    <a:pt x="44" y="27"/>
                  </a:lnTo>
                  <a:lnTo>
                    <a:pt x="46" y="35"/>
                  </a:lnTo>
                  <a:lnTo>
                    <a:pt x="44" y="42"/>
                  </a:lnTo>
                  <a:lnTo>
                    <a:pt x="42" y="50"/>
                  </a:lnTo>
                  <a:lnTo>
                    <a:pt x="36" y="58"/>
                  </a:lnTo>
                  <a:lnTo>
                    <a:pt x="32" y="61"/>
                  </a:lnTo>
                  <a:lnTo>
                    <a:pt x="27" y="65"/>
                  </a:lnTo>
                  <a:lnTo>
                    <a:pt x="23" y="71"/>
                  </a:lnTo>
                  <a:lnTo>
                    <a:pt x="17" y="75"/>
                  </a:lnTo>
                  <a:lnTo>
                    <a:pt x="11" y="77"/>
                  </a:lnTo>
                  <a:lnTo>
                    <a:pt x="0" y="88"/>
                  </a:lnTo>
                  <a:lnTo>
                    <a:pt x="9" y="92"/>
                  </a:lnTo>
                  <a:lnTo>
                    <a:pt x="19" y="98"/>
                  </a:lnTo>
                  <a:lnTo>
                    <a:pt x="23" y="102"/>
                  </a:lnTo>
                  <a:lnTo>
                    <a:pt x="29" y="107"/>
                  </a:lnTo>
                  <a:lnTo>
                    <a:pt x="32" y="117"/>
                  </a:lnTo>
                  <a:lnTo>
                    <a:pt x="36" y="125"/>
                  </a:lnTo>
                  <a:lnTo>
                    <a:pt x="38" y="134"/>
                  </a:lnTo>
                  <a:lnTo>
                    <a:pt x="46" y="138"/>
                  </a:lnTo>
                  <a:lnTo>
                    <a:pt x="55" y="132"/>
                  </a:lnTo>
                  <a:lnTo>
                    <a:pt x="61" y="119"/>
                  </a:lnTo>
                  <a:lnTo>
                    <a:pt x="73" y="123"/>
                  </a:lnTo>
                  <a:lnTo>
                    <a:pt x="80" y="121"/>
                  </a:lnTo>
                  <a:lnTo>
                    <a:pt x="86" y="111"/>
                  </a:lnTo>
                  <a:lnTo>
                    <a:pt x="90" y="111"/>
                  </a:lnTo>
                  <a:lnTo>
                    <a:pt x="100" y="98"/>
                  </a:lnTo>
                  <a:lnTo>
                    <a:pt x="111" y="88"/>
                  </a:lnTo>
                  <a:lnTo>
                    <a:pt x="125" y="88"/>
                  </a:lnTo>
                  <a:lnTo>
                    <a:pt x="138" y="88"/>
                  </a:lnTo>
                  <a:lnTo>
                    <a:pt x="146" y="83"/>
                  </a:lnTo>
                  <a:lnTo>
                    <a:pt x="151" y="84"/>
                  </a:lnTo>
                  <a:lnTo>
                    <a:pt x="153" y="94"/>
                  </a:lnTo>
                  <a:lnTo>
                    <a:pt x="163" y="94"/>
                  </a:lnTo>
                  <a:lnTo>
                    <a:pt x="169" y="100"/>
                  </a:lnTo>
                  <a:lnTo>
                    <a:pt x="174" y="104"/>
                  </a:lnTo>
                  <a:lnTo>
                    <a:pt x="184" y="104"/>
                  </a:lnTo>
                  <a:lnTo>
                    <a:pt x="194" y="102"/>
                  </a:lnTo>
                  <a:lnTo>
                    <a:pt x="194" y="107"/>
                  </a:lnTo>
                  <a:lnTo>
                    <a:pt x="196" y="117"/>
                  </a:lnTo>
                  <a:lnTo>
                    <a:pt x="201" y="117"/>
                  </a:lnTo>
                  <a:lnTo>
                    <a:pt x="207" y="123"/>
                  </a:lnTo>
                  <a:lnTo>
                    <a:pt x="209" y="129"/>
                  </a:lnTo>
                  <a:lnTo>
                    <a:pt x="207" y="136"/>
                  </a:lnTo>
                  <a:lnTo>
                    <a:pt x="213" y="150"/>
                  </a:lnTo>
                  <a:lnTo>
                    <a:pt x="220" y="148"/>
                  </a:lnTo>
                  <a:lnTo>
                    <a:pt x="226" y="144"/>
                  </a:lnTo>
                  <a:lnTo>
                    <a:pt x="234" y="140"/>
                  </a:lnTo>
                  <a:lnTo>
                    <a:pt x="240" y="130"/>
                  </a:lnTo>
                  <a:lnTo>
                    <a:pt x="243" y="125"/>
                  </a:lnTo>
                  <a:lnTo>
                    <a:pt x="249" y="121"/>
                  </a:lnTo>
                  <a:lnTo>
                    <a:pt x="257" y="117"/>
                  </a:lnTo>
                  <a:lnTo>
                    <a:pt x="265" y="121"/>
                  </a:lnTo>
                  <a:lnTo>
                    <a:pt x="270" y="127"/>
                  </a:lnTo>
                  <a:lnTo>
                    <a:pt x="278" y="132"/>
                  </a:lnTo>
                  <a:lnTo>
                    <a:pt x="286" y="138"/>
                  </a:lnTo>
                  <a:lnTo>
                    <a:pt x="297" y="142"/>
                  </a:lnTo>
                  <a:lnTo>
                    <a:pt x="305" y="144"/>
                  </a:lnTo>
                  <a:lnTo>
                    <a:pt x="320" y="140"/>
                  </a:lnTo>
                  <a:lnTo>
                    <a:pt x="332" y="136"/>
                  </a:lnTo>
                  <a:lnTo>
                    <a:pt x="339" y="134"/>
                  </a:lnTo>
                  <a:lnTo>
                    <a:pt x="349" y="127"/>
                  </a:lnTo>
                  <a:lnTo>
                    <a:pt x="359" y="123"/>
                  </a:lnTo>
                  <a:lnTo>
                    <a:pt x="370" y="119"/>
                  </a:lnTo>
                  <a:lnTo>
                    <a:pt x="380" y="119"/>
                  </a:lnTo>
                  <a:lnTo>
                    <a:pt x="393" y="117"/>
                  </a:lnTo>
                  <a:lnTo>
                    <a:pt x="403" y="117"/>
                  </a:lnTo>
                  <a:lnTo>
                    <a:pt x="412" y="119"/>
                  </a:lnTo>
                  <a:lnTo>
                    <a:pt x="422" y="125"/>
                  </a:lnTo>
                  <a:lnTo>
                    <a:pt x="426" y="117"/>
                  </a:lnTo>
                  <a:lnTo>
                    <a:pt x="432" y="106"/>
                  </a:lnTo>
                  <a:lnTo>
                    <a:pt x="435" y="96"/>
                  </a:lnTo>
                  <a:lnTo>
                    <a:pt x="439" y="81"/>
                  </a:lnTo>
                  <a:lnTo>
                    <a:pt x="443" y="69"/>
                  </a:lnTo>
                  <a:lnTo>
                    <a:pt x="447" y="60"/>
                  </a:lnTo>
                  <a:lnTo>
                    <a:pt x="451" y="50"/>
                  </a:lnTo>
                  <a:lnTo>
                    <a:pt x="455" y="40"/>
                  </a:lnTo>
                  <a:lnTo>
                    <a:pt x="458" y="31"/>
                  </a:lnTo>
                  <a:lnTo>
                    <a:pt x="458" y="21"/>
                  </a:lnTo>
                  <a:lnTo>
                    <a:pt x="456" y="1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/>
            </a:p>
          </p:txBody>
        </p:sp>
        <p:sp>
          <p:nvSpPr>
            <p:cNvPr id="142" name="Freeform 27"/>
            <p:cNvSpPr>
              <a:spLocks/>
            </p:cNvSpPr>
            <p:nvPr/>
          </p:nvSpPr>
          <p:spPr bwMode="auto">
            <a:xfrm>
              <a:off x="8292750" y="2451546"/>
              <a:ext cx="251573" cy="309628"/>
            </a:xfrm>
            <a:custGeom>
              <a:avLst/>
              <a:gdLst>
                <a:gd name="T0" fmla="*/ 119 w 129"/>
                <a:gd name="T1" fmla="*/ 86 h 159"/>
                <a:gd name="T2" fmla="*/ 107 w 129"/>
                <a:gd name="T3" fmla="*/ 96 h 159"/>
                <a:gd name="T4" fmla="*/ 92 w 129"/>
                <a:gd name="T5" fmla="*/ 109 h 159"/>
                <a:gd name="T6" fmla="*/ 79 w 129"/>
                <a:gd name="T7" fmla="*/ 121 h 159"/>
                <a:gd name="T8" fmla="*/ 71 w 129"/>
                <a:gd name="T9" fmla="*/ 132 h 159"/>
                <a:gd name="T10" fmla="*/ 63 w 129"/>
                <a:gd name="T11" fmla="*/ 142 h 159"/>
                <a:gd name="T12" fmla="*/ 54 w 129"/>
                <a:gd name="T13" fmla="*/ 159 h 159"/>
                <a:gd name="T14" fmla="*/ 35 w 129"/>
                <a:gd name="T15" fmla="*/ 151 h 159"/>
                <a:gd name="T16" fmla="*/ 21 w 129"/>
                <a:gd name="T17" fmla="*/ 138 h 159"/>
                <a:gd name="T18" fmla="*/ 8 w 129"/>
                <a:gd name="T19" fmla="*/ 119 h 159"/>
                <a:gd name="T20" fmla="*/ 0 w 129"/>
                <a:gd name="T21" fmla="*/ 96 h 159"/>
                <a:gd name="T22" fmla="*/ 17 w 129"/>
                <a:gd name="T23" fmla="*/ 90 h 159"/>
                <a:gd name="T24" fmla="*/ 29 w 129"/>
                <a:gd name="T25" fmla="*/ 82 h 159"/>
                <a:gd name="T26" fmla="*/ 23 w 129"/>
                <a:gd name="T27" fmla="*/ 65 h 159"/>
                <a:gd name="T28" fmla="*/ 29 w 129"/>
                <a:gd name="T29" fmla="*/ 53 h 159"/>
                <a:gd name="T30" fmla="*/ 27 w 129"/>
                <a:gd name="T31" fmla="*/ 44 h 159"/>
                <a:gd name="T32" fmla="*/ 15 w 129"/>
                <a:gd name="T33" fmla="*/ 21 h 159"/>
                <a:gd name="T34" fmla="*/ 6 w 129"/>
                <a:gd name="T35" fmla="*/ 0 h 159"/>
                <a:gd name="T36" fmla="*/ 13 w 129"/>
                <a:gd name="T37" fmla="*/ 6 h 159"/>
                <a:gd name="T38" fmla="*/ 19 w 129"/>
                <a:gd name="T39" fmla="*/ 7 h 159"/>
                <a:gd name="T40" fmla="*/ 27 w 129"/>
                <a:gd name="T41" fmla="*/ 11 h 159"/>
                <a:gd name="T42" fmla="*/ 36 w 129"/>
                <a:gd name="T43" fmla="*/ 17 h 159"/>
                <a:gd name="T44" fmla="*/ 46 w 129"/>
                <a:gd name="T45" fmla="*/ 23 h 159"/>
                <a:gd name="T46" fmla="*/ 54 w 129"/>
                <a:gd name="T47" fmla="*/ 29 h 159"/>
                <a:gd name="T48" fmla="*/ 60 w 129"/>
                <a:gd name="T49" fmla="*/ 32 h 159"/>
                <a:gd name="T50" fmla="*/ 65 w 129"/>
                <a:gd name="T51" fmla="*/ 34 h 159"/>
                <a:gd name="T52" fmla="*/ 69 w 129"/>
                <a:gd name="T53" fmla="*/ 36 h 159"/>
                <a:gd name="T54" fmla="*/ 79 w 129"/>
                <a:gd name="T55" fmla="*/ 34 h 159"/>
                <a:gd name="T56" fmla="*/ 86 w 129"/>
                <a:gd name="T57" fmla="*/ 38 h 159"/>
                <a:gd name="T58" fmla="*/ 98 w 129"/>
                <a:gd name="T59" fmla="*/ 48 h 159"/>
                <a:gd name="T60" fmla="*/ 106 w 129"/>
                <a:gd name="T61" fmla="*/ 53 h 159"/>
                <a:gd name="T62" fmla="*/ 113 w 129"/>
                <a:gd name="T63" fmla="*/ 61 h 159"/>
                <a:gd name="T64" fmla="*/ 121 w 129"/>
                <a:gd name="T65" fmla="*/ 69 h 159"/>
                <a:gd name="T66" fmla="*/ 127 w 129"/>
                <a:gd name="T67" fmla="*/ 7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9" h="159">
                  <a:moveTo>
                    <a:pt x="129" y="80"/>
                  </a:moveTo>
                  <a:lnTo>
                    <a:pt x="119" y="86"/>
                  </a:lnTo>
                  <a:lnTo>
                    <a:pt x="113" y="92"/>
                  </a:lnTo>
                  <a:lnTo>
                    <a:pt x="107" y="96"/>
                  </a:lnTo>
                  <a:lnTo>
                    <a:pt x="100" y="101"/>
                  </a:lnTo>
                  <a:lnTo>
                    <a:pt x="92" y="109"/>
                  </a:lnTo>
                  <a:lnTo>
                    <a:pt x="88" y="117"/>
                  </a:lnTo>
                  <a:lnTo>
                    <a:pt x="79" y="121"/>
                  </a:lnTo>
                  <a:lnTo>
                    <a:pt x="73" y="126"/>
                  </a:lnTo>
                  <a:lnTo>
                    <a:pt x="71" y="132"/>
                  </a:lnTo>
                  <a:lnTo>
                    <a:pt x="69" y="136"/>
                  </a:lnTo>
                  <a:lnTo>
                    <a:pt x="63" y="142"/>
                  </a:lnTo>
                  <a:lnTo>
                    <a:pt x="60" y="151"/>
                  </a:lnTo>
                  <a:lnTo>
                    <a:pt x="54" y="159"/>
                  </a:lnTo>
                  <a:lnTo>
                    <a:pt x="44" y="155"/>
                  </a:lnTo>
                  <a:lnTo>
                    <a:pt x="35" y="151"/>
                  </a:lnTo>
                  <a:lnTo>
                    <a:pt x="29" y="146"/>
                  </a:lnTo>
                  <a:lnTo>
                    <a:pt x="21" y="138"/>
                  </a:lnTo>
                  <a:lnTo>
                    <a:pt x="13" y="128"/>
                  </a:lnTo>
                  <a:lnTo>
                    <a:pt x="8" y="119"/>
                  </a:lnTo>
                  <a:lnTo>
                    <a:pt x="0" y="107"/>
                  </a:lnTo>
                  <a:lnTo>
                    <a:pt x="0" y="96"/>
                  </a:lnTo>
                  <a:lnTo>
                    <a:pt x="6" y="90"/>
                  </a:lnTo>
                  <a:lnTo>
                    <a:pt x="17" y="90"/>
                  </a:lnTo>
                  <a:lnTo>
                    <a:pt x="27" y="88"/>
                  </a:lnTo>
                  <a:lnTo>
                    <a:pt x="29" y="82"/>
                  </a:lnTo>
                  <a:lnTo>
                    <a:pt x="25" y="73"/>
                  </a:lnTo>
                  <a:lnTo>
                    <a:pt x="23" y="65"/>
                  </a:lnTo>
                  <a:lnTo>
                    <a:pt x="25" y="57"/>
                  </a:lnTo>
                  <a:lnTo>
                    <a:pt x="29" y="53"/>
                  </a:lnTo>
                  <a:lnTo>
                    <a:pt x="31" y="50"/>
                  </a:lnTo>
                  <a:lnTo>
                    <a:pt x="27" y="44"/>
                  </a:lnTo>
                  <a:lnTo>
                    <a:pt x="21" y="34"/>
                  </a:lnTo>
                  <a:lnTo>
                    <a:pt x="15" y="21"/>
                  </a:lnTo>
                  <a:lnTo>
                    <a:pt x="10" y="9"/>
                  </a:lnTo>
                  <a:lnTo>
                    <a:pt x="6" y="0"/>
                  </a:lnTo>
                  <a:lnTo>
                    <a:pt x="10" y="2"/>
                  </a:lnTo>
                  <a:lnTo>
                    <a:pt x="13" y="6"/>
                  </a:lnTo>
                  <a:lnTo>
                    <a:pt x="15" y="6"/>
                  </a:lnTo>
                  <a:lnTo>
                    <a:pt x="19" y="7"/>
                  </a:lnTo>
                  <a:lnTo>
                    <a:pt x="25" y="11"/>
                  </a:lnTo>
                  <a:lnTo>
                    <a:pt x="27" y="11"/>
                  </a:lnTo>
                  <a:lnTo>
                    <a:pt x="31" y="15"/>
                  </a:lnTo>
                  <a:lnTo>
                    <a:pt x="36" y="17"/>
                  </a:lnTo>
                  <a:lnTo>
                    <a:pt x="42" y="21"/>
                  </a:lnTo>
                  <a:lnTo>
                    <a:pt x="46" y="23"/>
                  </a:lnTo>
                  <a:lnTo>
                    <a:pt x="50" y="27"/>
                  </a:lnTo>
                  <a:lnTo>
                    <a:pt x="54" y="29"/>
                  </a:lnTo>
                  <a:lnTo>
                    <a:pt x="58" y="30"/>
                  </a:lnTo>
                  <a:lnTo>
                    <a:pt x="60" y="32"/>
                  </a:lnTo>
                  <a:lnTo>
                    <a:pt x="63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9" y="36"/>
                  </a:lnTo>
                  <a:lnTo>
                    <a:pt x="75" y="36"/>
                  </a:lnTo>
                  <a:lnTo>
                    <a:pt x="79" y="34"/>
                  </a:lnTo>
                  <a:lnTo>
                    <a:pt x="83" y="36"/>
                  </a:lnTo>
                  <a:lnTo>
                    <a:pt x="86" y="38"/>
                  </a:lnTo>
                  <a:lnTo>
                    <a:pt x="92" y="44"/>
                  </a:lnTo>
                  <a:lnTo>
                    <a:pt x="98" y="48"/>
                  </a:lnTo>
                  <a:lnTo>
                    <a:pt x="102" y="50"/>
                  </a:lnTo>
                  <a:lnTo>
                    <a:pt x="106" y="53"/>
                  </a:lnTo>
                  <a:lnTo>
                    <a:pt x="109" y="57"/>
                  </a:lnTo>
                  <a:lnTo>
                    <a:pt x="113" y="61"/>
                  </a:lnTo>
                  <a:lnTo>
                    <a:pt x="117" y="65"/>
                  </a:lnTo>
                  <a:lnTo>
                    <a:pt x="121" y="69"/>
                  </a:lnTo>
                  <a:lnTo>
                    <a:pt x="125" y="73"/>
                  </a:lnTo>
                  <a:lnTo>
                    <a:pt x="127" y="77"/>
                  </a:lnTo>
                  <a:lnTo>
                    <a:pt x="129" y="8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/>
            </a:p>
          </p:txBody>
        </p:sp>
        <p:sp>
          <p:nvSpPr>
            <p:cNvPr id="143" name="Freeform 28"/>
            <p:cNvSpPr>
              <a:spLocks/>
            </p:cNvSpPr>
            <p:nvPr/>
          </p:nvSpPr>
          <p:spPr bwMode="auto">
            <a:xfrm>
              <a:off x="8305651" y="2391341"/>
              <a:ext cx="408536" cy="217169"/>
            </a:xfrm>
            <a:custGeom>
              <a:avLst/>
              <a:gdLst>
                <a:gd name="T0" fmla="*/ 130 w 209"/>
                <a:gd name="T1" fmla="*/ 104 h 111"/>
                <a:gd name="T2" fmla="*/ 148 w 209"/>
                <a:gd name="T3" fmla="*/ 92 h 111"/>
                <a:gd name="T4" fmla="*/ 153 w 209"/>
                <a:gd name="T5" fmla="*/ 79 h 111"/>
                <a:gd name="T6" fmla="*/ 169 w 209"/>
                <a:gd name="T7" fmla="*/ 65 h 111"/>
                <a:gd name="T8" fmla="*/ 182 w 209"/>
                <a:gd name="T9" fmla="*/ 48 h 111"/>
                <a:gd name="T10" fmla="*/ 197 w 209"/>
                <a:gd name="T11" fmla="*/ 35 h 111"/>
                <a:gd name="T12" fmla="*/ 205 w 209"/>
                <a:gd name="T13" fmla="*/ 17 h 111"/>
                <a:gd name="T14" fmla="*/ 199 w 209"/>
                <a:gd name="T15" fmla="*/ 2 h 111"/>
                <a:gd name="T16" fmla="*/ 180 w 209"/>
                <a:gd name="T17" fmla="*/ 0 h 111"/>
                <a:gd name="T18" fmla="*/ 157 w 209"/>
                <a:gd name="T19" fmla="*/ 2 h 111"/>
                <a:gd name="T20" fmla="*/ 136 w 209"/>
                <a:gd name="T21" fmla="*/ 10 h 111"/>
                <a:gd name="T22" fmla="*/ 119 w 209"/>
                <a:gd name="T23" fmla="*/ 19 h 111"/>
                <a:gd name="T24" fmla="*/ 92 w 209"/>
                <a:gd name="T25" fmla="*/ 27 h 111"/>
                <a:gd name="T26" fmla="*/ 73 w 209"/>
                <a:gd name="T27" fmla="*/ 21 h 111"/>
                <a:gd name="T28" fmla="*/ 57 w 209"/>
                <a:gd name="T29" fmla="*/ 10 h 111"/>
                <a:gd name="T30" fmla="*/ 44 w 209"/>
                <a:gd name="T31" fmla="*/ 0 h 111"/>
                <a:gd name="T32" fmla="*/ 30 w 209"/>
                <a:gd name="T33" fmla="*/ 8 h 111"/>
                <a:gd name="T34" fmla="*/ 21 w 209"/>
                <a:gd name="T35" fmla="*/ 23 h 111"/>
                <a:gd name="T36" fmla="*/ 7 w 209"/>
                <a:gd name="T37" fmla="*/ 31 h 111"/>
                <a:gd name="T38" fmla="*/ 4 w 209"/>
                <a:gd name="T39" fmla="*/ 33 h 111"/>
                <a:gd name="T40" fmla="*/ 9 w 209"/>
                <a:gd name="T41" fmla="*/ 37 h 111"/>
                <a:gd name="T42" fmla="*/ 19 w 209"/>
                <a:gd name="T43" fmla="*/ 42 h 111"/>
                <a:gd name="T44" fmla="*/ 25 w 209"/>
                <a:gd name="T45" fmla="*/ 46 h 111"/>
                <a:gd name="T46" fmla="*/ 36 w 209"/>
                <a:gd name="T47" fmla="*/ 52 h 111"/>
                <a:gd name="T48" fmla="*/ 44 w 209"/>
                <a:gd name="T49" fmla="*/ 58 h 111"/>
                <a:gd name="T50" fmla="*/ 52 w 209"/>
                <a:gd name="T51" fmla="*/ 61 h 111"/>
                <a:gd name="T52" fmla="*/ 57 w 209"/>
                <a:gd name="T53" fmla="*/ 65 h 111"/>
                <a:gd name="T54" fmla="*/ 61 w 209"/>
                <a:gd name="T55" fmla="*/ 67 h 111"/>
                <a:gd name="T56" fmla="*/ 69 w 209"/>
                <a:gd name="T57" fmla="*/ 67 h 111"/>
                <a:gd name="T58" fmla="*/ 77 w 209"/>
                <a:gd name="T59" fmla="*/ 67 h 111"/>
                <a:gd name="T60" fmla="*/ 86 w 209"/>
                <a:gd name="T61" fmla="*/ 75 h 111"/>
                <a:gd name="T62" fmla="*/ 96 w 209"/>
                <a:gd name="T63" fmla="*/ 81 h 111"/>
                <a:gd name="T64" fmla="*/ 103 w 209"/>
                <a:gd name="T65" fmla="*/ 88 h 111"/>
                <a:gd name="T66" fmla="*/ 111 w 209"/>
                <a:gd name="T67" fmla="*/ 96 h 111"/>
                <a:gd name="T68" fmla="*/ 119 w 209"/>
                <a:gd name="T69" fmla="*/ 104 h 111"/>
                <a:gd name="T70" fmla="*/ 123 w 209"/>
                <a:gd name="T71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09" h="111">
                  <a:moveTo>
                    <a:pt x="123" y="111"/>
                  </a:moveTo>
                  <a:lnTo>
                    <a:pt x="130" y="104"/>
                  </a:lnTo>
                  <a:lnTo>
                    <a:pt x="138" y="98"/>
                  </a:lnTo>
                  <a:lnTo>
                    <a:pt x="148" y="92"/>
                  </a:lnTo>
                  <a:lnTo>
                    <a:pt x="151" y="83"/>
                  </a:lnTo>
                  <a:lnTo>
                    <a:pt x="153" y="79"/>
                  </a:lnTo>
                  <a:lnTo>
                    <a:pt x="159" y="71"/>
                  </a:lnTo>
                  <a:lnTo>
                    <a:pt x="169" y="65"/>
                  </a:lnTo>
                  <a:lnTo>
                    <a:pt x="176" y="58"/>
                  </a:lnTo>
                  <a:lnTo>
                    <a:pt x="182" y="48"/>
                  </a:lnTo>
                  <a:lnTo>
                    <a:pt x="192" y="42"/>
                  </a:lnTo>
                  <a:lnTo>
                    <a:pt x="197" y="35"/>
                  </a:lnTo>
                  <a:lnTo>
                    <a:pt x="203" y="25"/>
                  </a:lnTo>
                  <a:lnTo>
                    <a:pt x="205" y="17"/>
                  </a:lnTo>
                  <a:lnTo>
                    <a:pt x="209" y="8"/>
                  </a:lnTo>
                  <a:lnTo>
                    <a:pt x="199" y="2"/>
                  </a:lnTo>
                  <a:lnTo>
                    <a:pt x="190" y="0"/>
                  </a:lnTo>
                  <a:lnTo>
                    <a:pt x="180" y="0"/>
                  </a:lnTo>
                  <a:lnTo>
                    <a:pt x="167" y="2"/>
                  </a:lnTo>
                  <a:lnTo>
                    <a:pt x="157" y="2"/>
                  </a:lnTo>
                  <a:lnTo>
                    <a:pt x="146" y="6"/>
                  </a:lnTo>
                  <a:lnTo>
                    <a:pt x="136" y="10"/>
                  </a:lnTo>
                  <a:lnTo>
                    <a:pt x="126" y="17"/>
                  </a:lnTo>
                  <a:lnTo>
                    <a:pt x="119" y="19"/>
                  </a:lnTo>
                  <a:lnTo>
                    <a:pt x="107" y="23"/>
                  </a:lnTo>
                  <a:lnTo>
                    <a:pt x="92" y="27"/>
                  </a:lnTo>
                  <a:lnTo>
                    <a:pt x="84" y="25"/>
                  </a:lnTo>
                  <a:lnTo>
                    <a:pt x="73" y="21"/>
                  </a:lnTo>
                  <a:lnTo>
                    <a:pt x="65" y="15"/>
                  </a:lnTo>
                  <a:lnTo>
                    <a:pt x="57" y="10"/>
                  </a:lnTo>
                  <a:lnTo>
                    <a:pt x="52" y="4"/>
                  </a:lnTo>
                  <a:lnTo>
                    <a:pt x="44" y="0"/>
                  </a:lnTo>
                  <a:lnTo>
                    <a:pt x="36" y="4"/>
                  </a:lnTo>
                  <a:lnTo>
                    <a:pt x="30" y="8"/>
                  </a:lnTo>
                  <a:lnTo>
                    <a:pt x="27" y="13"/>
                  </a:lnTo>
                  <a:lnTo>
                    <a:pt x="21" y="23"/>
                  </a:lnTo>
                  <a:lnTo>
                    <a:pt x="13" y="27"/>
                  </a:lnTo>
                  <a:lnTo>
                    <a:pt x="7" y="31"/>
                  </a:lnTo>
                  <a:lnTo>
                    <a:pt x="0" y="31"/>
                  </a:lnTo>
                  <a:lnTo>
                    <a:pt x="4" y="33"/>
                  </a:lnTo>
                  <a:lnTo>
                    <a:pt x="7" y="37"/>
                  </a:lnTo>
                  <a:lnTo>
                    <a:pt x="9" y="37"/>
                  </a:lnTo>
                  <a:lnTo>
                    <a:pt x="13" y="38"/>
                  </a:lnTo>
                  <a:lnTo>
                    <a:pt x="19" y="42"/>
                  </a:lnTo>
                  <a:lnTo>
                    <a:pt x="21" y="42"/>
                  </a:lnTo>
                  <a:lnTo>
                    <a:pt x="25" y="46"/>
                  </a:lnTo>
                  <a:lnTo>
                    <a:pt x="30" y="48"/>
                  </a:lnTo>
                  <a:lnTo>
                    <a:pt x="36" y="52"/>
                  </a:lnTo>
                  <a:lnTo>
                    <a:pt x="40" y="54"/>
                  </a:lnTo>
                  <a:lnTo>
                    <a:pt x="44" y="58"/>
                  </a:lnTo>
                  <a:lnTo>
                    <a:pt x="48" y="60"/>
                  </a:lnTo>
                  <a:lnTo>
                    <a:pt x="52" y="61"/>
                  </a:lnTo>
                  <a:lnTo>
                    <a:pt x="54" y="63"/>
                  </a:lnTo>
                  <a:lnTo>
                    <a:pt x="57" y="65"/>
                  </a:lnTo>
                  <a:lnTo>
                    <a:pt x="59" y="65"/>
                  </a:lnTo>
                  <a:lnTo>
                    <a:pt x="61" y="67"/>
                  </a:lnTo>
                  <a:lnTo>
                    <a:pt x="63" y="67"/>
                  </a:lnTo>
                  <a:lnTo>
                    <a:pt x="69" y="67"/>
                  </a:lnTo>
                  <a:lnTo>
                    <a:pt x="73" y="65"/>
                  </a:lnTo>
                  <a:lnTo>
                    <a:pt x="77" y="67"/>
                  </a:lnTo>
                  <a:lnTo>
                    <a:pt x="80" y="69"/>
                  </a:lnTo>
                  <a:lnTo>
                    <a:pt x="86" y="75"/>
                  </a:lnTo>
                  <a:lnTo>
                    <a:pt x="92" y="79"/>
                  </a:lnTo>
                  <a:lnTo>
                    <a:pt x="96" y="81"/>
                  </a:lnTo>
                  <a:lnTo>
                    <a:pt x="100" y="84"/>
                  </a:lnTo>
                  <a:lnTo>
                    <a:pt x="103" y="88"/>
                  </a:lnTo>
                  <a:lnTo>
                    <a:pt x="107" y="92"/>
                  </a:lnTo>
                  <a:lnTo>
                    <a:pt x="111" y="96"/>
                  </a:lnTo>
                  <a:lnTo>
                    <a:pt x="115" y="100"/>
                  </a:lnTo>
                  <a:lnTo>
                    <a:pt x="119" y="104"/>
                  </a:lnTo>
                  <a:lnTo>
                    <a:pt x="121" y="108"/>
                  </a:lnTo>
                  <a:lnTo>
                    <a:pt x="123" y="11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/>
            </a:p>
          </p:txBody>
        </p:sp>
      </p:grpSp>
      <p:grpSp>
        <p:nvGrpSpPr>
          <p:cNvPr id="15" name="Agrupar 14">
            <a:extLst>
              <a:ext uri="{FF2B5EF4-FFF2-40B4-BE49-F238E27FC236}">
                <a16:creationId xmlns:a16="http://schemas.microsoft.com/office/drawing/2014/main" id="{2F337834-0AE3-472B-A374-13C1758A5D7E}"/>
              </a:ext>
            </a:extLst>
          </p:cNvPr>
          <p:cNvGrpSpPr/>
          <p:nvPr/>
        </p:nvGrpSpPr>
        <p:grpSpPr>
          <a:xfrm>
            <a:off x="6295223" y="3096604"/>
            <a:ext cx="1786809" cy="1530936"/>
            <a:chOff x="6295223" y="3096604"/>
            <a:chExt cx="1786809" cy="1530936"/>
          </a:xfrm>
          <a:solidFill>
            <a:srgbClr val="D6D6CE"/>
          </a:solidFill>
        </p:grpSpPr>
        <p:sp>
          <p:nvSpPr>
            <p:cNvPr id="123" name="Freeform 8"/>
            <p:cNvSpPr>
              <a:spLocks/>
            </p:cNvSpPr>
            <p:nvPr/>
          </p:nvSpPr>
          <p:spPr bwMode="auto">
            <a:xfrm>
              <a:off x="6295223" y="3877123"/>
              <a:ext cx="1143901" cy="750417"/>
            </a:xfrm>
            <a:custGeom>
              <a:avLst/>
              <a:gdLst>
                <a:gd name="T0" fmla="*/ 568 w 586"/>
                <a:gd name="T1" fmla="*/ 193 h 385"/>
                <a:gd name="T2" fmla="*/ 551 w 586"/>
                <a:gd name="T3" fmla="*/ 184 h 385"/>
                <a:gd name="T4" fmla="*/ 538 w 586"/>
                <a:gd name="T5" fmla="*/ 193 h 385"/>
                <a:gd name="T6" fmla="*/ 515 w 586"/>
                <a:gd name="T7" fmla="*/ 195 h 385"/>
                <a:gd name="T8" fmla="*/ 491 w 586"/>
                <a:gd name="T9" fmla="*/ 201 h 385"/>
                <a:gd name="T10" fmla="*/ 470 w 586"/>
                <a:gd name="T11" fmla="*/ 216 h 385"/>
                <a:gd name="T12" fmla="*/ 445 w 586"/>
                <a:gd name="T13" fmla="*/ 207 h 385"/>
                <a:gd name="T14" fmla="*/ 428 w 586"/>
                <a:gd name="T15" fmla="*/ 182 h 385"/>
                <a:gd name="T16" fmla="*/ 422 w 586"/>
                <a:gd name="T17" fmla="*/ 155 h 385"/>
                <a:gd name="T18" fmla="*/ 424 w 586"/>
                <a:gd name="T19" fmla="*/ 124 h 385"/>
                <a:gd name="T20" fmla="*/ 401 w 586"/>
                <a:gd name="T21" fmla="*/ 99 h 385"/>
                <a:gd name="T22" fmla="*/ 392 w 586"/>
                <a:gd name="T23" fmla="*/ 67 h 385"/>
                <a:gd name="T24" fmla="*/ 386 w 586"/>
                <a:gd name="T25" fmla="*/ 38 h 385"/>
                <a:gd name="T26" fmla="*/ 373 w 586"/>
                <a:gd name="T27" fmla="*/ 11 h 385"/>
                <a:gd name="T28" fmla="*/ 338 w 586"/>
                <a:gd name="T29" fmla="*/ 11 h 385"/>
                <a:gd name="T30" fmla="*/ 302 w 586"/>
                <a:gd name="T31" fmla="*/ 17 h 385"/>
                <a:gd name="T32" fmla="*/ 280 w 586"/>
                <a:gd name="T33" fmla="*/ 30 h 385"/>
                <a:gd name="T34" fmla="*/ 267 w 586"/>
                <a:gd name="T35" fmla="*/ 25 h 385"/>
                <a:gd name="T36" fmla="*/ 255 w 586"/>
                <a:gd name="T37" fmla="*/ 25 h 385"/>
                <a:gd name="T38" fmla="*/ 255 w 586"/>
                <a:gd name="T39" fmla="*/ 11 h 385"/>
                <a:gd name="T40" fmla="*/ 231 w 586"/>
                <a:gd name="T41" fmla="*/ 0 h 385"/>
                <a:gd name="T42" fmla="*/ 188 w 586"/>
                <a:gd name="T43" fmla="*/ 5 h 385"/>
                <a:gd name="T44" fmla="*/ 156 w 586"/>
                <a:gd name="T45" fmla="*/ 2 h 385"/>
                <a:gd name="T46" fmla="*/ 133 w 586"/>
                <a:gd name="T47" fmla="*/ 23 h 385"/>
                <a:gd name="T48" fmla="*/ 117 w 586"/>
                <a:gd name="T49" fmla="*/ 38 h 385"/>
                <a:gd name="T50" fmla="*/ 98 w 586"/>
                <a:gd name="T51" fmla="*/ 67 h 385"/>
                <a:gd name="T52" fmla="*/ 81 w 586"/>
                <a:gd name="T53" fmla="*/ 101 h 385"/>
                <a:gd name="T54" fmla="*/ 65 w 586"/>
                <a:gd name="T55" fmla="*/ 136 h 385"/>
                <a:gd name="T56" fmla="*/ 42 w 586"/>
                <a:gd name="T57" fmla="*/ 172 h 385"/>
                <a:gd name="T58" fmla="*/ 6 w 586"/>
                <a:gd name="T59" fmla="*/ 192 h 385"/>
                <a:gd name="T60" fmla="*/ 35 w 586"/>
                <a:gd name="T61" fmla="*/ 199 h 385"/>
                <a:gd name="T62" fmla="*/ 65 w 586"/>
                <a:gd name="T63" fmla="*/ 193 h 385"/>
                <a:gd name="T64" fmla="*/ 108 w 586"/>
                <a:gd name="T65" fmla="*/ 201 h 385"/>
                <a:gd name="T66" fmla="*/ 133 w 586"/>
                <a:gd name="T67" fmla="*/ 203 h 385"/>
                <a:gd name="T68" fmla="*/ 152 w 586"/>
                <a:gd name="T69" fmla="*/ 216 h 385"/>
                <a:gd name="T70" fmla="*/ 181 w 586"/>
                <a:gd name="T71" fmla="*/ 216 h 385"/>
                <a:gd name="T72" fmla="*/ 211 w 586"/>
                <a:gd name="T73" fmla="*/ 218 h 385"/>
                <a:gd name="T74" fmla="*/ 219 w 586"/>
                <a:gd name="T75" fmla="*/ 234 h 385"/>
                <a:gd name="T76" fmla="*/ 234 w 586"/>
                <a:gd name="T77" fmla="*/ 255 h 385"/>
                <a:gd name="T78" fmla="*/ 238 w 586"/>
                <a:gd name="T79" fmla="*/ 287 h 385"/>
                <a:gd name="T80" fmla="*/ 255 w 586"/>
                <a:gd name="T81" fmla="*/ 316 h 385"/>
                <a:gd name="T82" fmla="*/ 263 w 586"/>
                <a:gd name="T83" fmla="*/ 345 h 385"/>
                <a:gd name="T84" fmla="*/ 296 w 586"/>
                <a:gd name="T85" fmla="*/ 347 h 385"/>
                <a:gd name="T86" fmla="*/ 305 w 586"/>
                <a:gd name="T87" fmla="*/ 378 h 385"/>
                <a:gd name="T88" fmla="*/ 332 w 586"/>
                <a:gd name="T89" fmla="*/ 385 h 385"/>
                <a:gd name="T90" fmla="*/ 359 w 586"/>
                <a:gd name="T91" fmla="*/ 358 h 385"/>
                <a:gd name="T92" fmla="*/ 390 w 586"/>
                <a:gd name="T93" fmla="*/ 337 h 385"/>
                <a:gd name="T94" fmla="*/ 415 w 586"/>
                <a:gd name="T95" fmla="*/ 314 h 385"/>
                <a:gd name="T96" fmla="*/ 440 w 586"/>
                <a:gd name="T97" fmla="*/ 295 h 385"/>
                <a:gd name="T98" fmla="*/ 476 w 586"/>
                <a:gd name="T99" fmla="*/ 286 h 385"/>
                <a:gd name="T100" fmla="*/ 511 w 586"/>
                <a:gd name="T101" fmla="*/ 274 h 385"/>
                <a:gd name="T102" fmla="*/ 545 w 586"/>
                <a:gd name="T103" fmla="*/ 257 h 385"/>
                <a:gd name="T104" fmla="*/ 549 w 586"/>
                <a:gd name="T105" fmla="*/ 222 h 385"/>
                <a:gd name="T106" fmla="*/ 572 w 586"/>
                <a:gd name="T107" fmla="*/ 209 h 385"/>
                <a:gd name="T108" fmla="*/ 586 w 586"/>
                <a:gd name="T109" fmla="*/ 203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86" h="385">
                  <a:moveTo>
                    <a:pt x="584" y="197"/>
                  </a:moveTo>
                  <a:lnTo>
                    <a:pt x="576" y="199"/>
                  </a:lnTo>
                  <a:lnTo>
                    <a:pt x="572" y="195"/>
                  </a:lnTo>
                  <a:lnTo>
                    <a:pt x="568" y="193"/>
                  </a:lnTo>
                  <a:lnTo>
                    <a:pt x="561" y="195"/>
                  </a:lnTo>
                  <a:lnTo>
                    <a:pt x="555" y="192"/>
                  </a:lnTo>
                  <a:lnTo>
                    <a:pt x="555" y="188"/>
                  </a:lnTo>
                  <a:lnTo>
                    <a:pt x="551" y="184"/>
                  </a:lnTo>
                  <a:lnTo>
                    <a:pt x="545" y="182"/>
                  </a:lnTo>
                  <a:lnTo>
                    <a:pt x="541" y="184"/>
                  </a:lnTo>
                  <a:lnTo>
                    <a:pt x="539" y="188"/>
                  </a:lnTo>
                  <a:lnTo>
                    <a:pt x="538" y="193"/>
                  </a:lnTo>
                  <a:lnTo>
                    <a:pt x="534" y="197"/>
                  </a:lnTo>
                  <a:lnTo>
                    <a:pt x="528" y="195"/>
                  </a:lnTo>
                  <a:lnTo>
                    <a:pt x="520" y="193"/>
                  </a:lnTo>
                  <a:lnTo>
                    <a:pt x="515" y="195"/>
                  </a:lnTo>
                  <a:lnTo>
                    <a:pt x="507" y="203"/>
                  </a:lnTo>
                  <a:lnTo>
                    <a:pt x="501" y="201"/>
                  </a:lnTo>
                  <a:lnTo>
                    <a:pt x="497" y="197"/>
                  </a:lnTo>
                  <a:lnTo>
                    <a:pt x="491" y="201"/>
                  </a:lnTo>
                  <a:lnTo>
                    <a:pt x="491" y="209"/>
                  </a:lnTo>
                  <a:lnTo>
                    <a:pt x="486" y="213"/>
                  </a:lnTo>
                  <a:lnTo>
                    <a:pt x="480" y="213"/>
                  </a:lnTo>
                  <a:lnTo>
                    <a:pt x="470" y="216"/>
                  </a:lnTo>
                  <a:lnTo>
                    <a:pt x="463" y="218"/>
                  </a:lnTo>
                  <a:lnTo>
                    <a:pt x="453" y="216"/>
                  </a:lnTo>
                  <a:lnTo>
                    <a:pt x="449" y="211"/>
                  </a:lnTo>
                  <a:lnTo>
                    <a:pt x="445" y="207"/>
                  </a:lnTo>
                  <a:lnTo>
                    <a:pt x="444" y="201"/>
                  </a:lnTo>
                  <a:lnTo>
                    <a:pt x="440" y="192"/>
                  </a:lnTo>
                  <a:lnTo>
                    <a:pt x="434" y="188"/>
                  </a:lnTo>
                  <a:lnTo>
                    <a:pt x="428" y="182"/>
                  </a:lnTo>
                  <a:lnTo>
                    <a:pt x="428" y="176"/>
                  </a:lnTo>
                  <a:lnTo>
                    <a:pt x="426" y="170"/>
                  </a:lnTo>
                  <a:lnTo>
                    <a:pt x="422" y="163"/>
                  </a:lnTo>
                  <a:lnTo>
                    <a:pt x="422" y="155"/>
                  </a:lnTo>
                  <a:lnTo>
                    <a:pt x="424" y="149"/>
                  </a:lnTo>
                  <a:lnTo>
                    <a:pt x="426" y="142"/>
                  </a:lnTo>
                  <a:lnTo>
                    <a:pt x="426" y="134"/>
                  </a:lnTo>
                  <a:lnTo>
                    <a:pt x="424" y="124"/>
                  </a:lnTo>
                  <a:lnTo>
                    <a:pt x="420" y="117"/>
                  </a:lnTo>
                  <a:lnTo>
                    <a:pt x="413" y="111"/>
                  </a:lnTo>
                  <a:lnTo>
                    <a:pt x="405" y="105"/>
                  </a:lnTo>
                  <a:lnTo>
                    <a:pt x="401" y="99"/>
                  </a:lnTo>
                  <a:lnTo>
                    <a:pt x="399" y="90"/>
                  </a:lnTo>
                  <a:lnTo>
                    <a:pt x="397" y="82"/>
                  </a:lnTo>
                  <a:lnTo>
                    <a:pt x="394" y="76"/>
                  </a:lnTo>
                  <a:lnTo>
                    <a:pt x="392" y="67"/>
                  </a:lnTo>
                  <a:lnTo>
                    <a:pt x="394" y="61"/>
                  </a:lnTo>
                  <a:lnTo>
                    <a:pt x="392" y="53"/>
                  </a:lnTo>
                  <a:lnTo>
                    <a:pt x="388" y="46"/>
                  </a:lnTo>
                  <a:lnTo>
                    <a:pt x="386" y="38"/>
                  </a:lnTo>
                  <a:lnTo>
                    <a:pt x="386" y="30"/>
                  </a:lnTo>
                  <a:lnTo>
                    <a:pt x="386" y="23"/>
                  </a:lnTo>
                  <a:lnTo>
                    <a:pt x="380" y="15"/>
                  </a:lnTo>
                  <a:lnTo>
                    <a:pt x="373" y="11"/>
                  </a:lnTo>
                  <a:lnTo>
                    <a:pt x="363" y="9"/>
                  </a:lnTo>
                  <a:lnTo>
                    <a:pt x="355" y="11"/>
                  </a:lnTo>
                  <a:lnTo>
                    <a:pt x="346" y="11"/>
                  </a:lnTo>
                  <a:lnTo>
                    <a:pt x="338" y="11"/>
                  </a:lnTo>
                  <a:lnTo>
                    <a:pt x="330" y="15"/>
                  </a:lnTo>
                  <a:lnTo>
                    <a:pt x="321" y="15"/>
                  </a:lnTo>
                  <a:lnTo>
                    <a:pt x="309" y="15"/>
                  </a:lnTo>
                  <a:lnTo>
                    <a:pt x="302" y="17"/>
                  </a:lnTo>
                  <a:lnTo>
                    <a:pt x="294" y="21"/>
                  </a:lnTo>
                  <a:lnTo>
                    <a:pt x="286" y="23"/>
                  </a:lnTo>
                  <a:lnTo>
                    <a:pt x="280" y="23"/>
                  </a:lnTo>
                  <a:lnTo>
                    <a:pt x="280" y="30"/>
                  </a:lnTo>
                  <a:lnTo>
                    <a:pt x="278" y="34"/>
                  </a:lnTo>
                  <a:lnTo>
                    <a:pt x="273" y="34"/>
                  </a:lnTo>
                  <a:lnTo>
                    <a:pt x="269" y="30"/>
                  </a:lnTo>
                  <a:lnTo>
                    <a:pt x="267" y="25"/>
                  </a:lnTo>
                  <a:lnTo>
                    <a:pt x="265" y="19"/>
                  </a:lnTo>
                  <a:lnTo>
                    <a:pt x="263" y="21"/>
                  </a:lnTo>
                  <a:lnTo>
                    <a:pt x="257" y="27"/>
                  </a:lnTo>
                  <a:lnTo>
                    <a:pt x="255" y="25"/>
                  </a:lnTo>
                  <a:lnTo>
                    <a:pt x="254" y="23"/>
                  </a:lnTo>
                  <a:lnTo>
                    <a:pt x="254" y="21"/>
                  </a:lnTo>
                  <a:lnTo>
                    <a:pt x="255" y="15"/>
                  </a:lnTo>
                  <a:lnTo>
                    <a:pt x="255" y="11"/>
                  </a:lnTo>
                  <a:lnTo>
                    <a:pt x="250" y="7"/>
                  </a:lnTo>
                  <a:lnTo>
                    <a:pt x="240" y="7"/>
                  </a:lnTo>
                  <a:lnTo>
                    <a:pt x="234" y="5"/>
                  </a:lnTo>
                  <a:lnTo>
                    <a:pt x="231" y="0"/>
                  </a:lnTo>
                  <a:lnTo>
                    <a:pt x="223" y="2"/>
                  </a:lnTo>
                  <a:lnTo>
                    <a:pt x="215" y="7"/>
                  </a:lnTo>
                  <a:lnTo>
                    <a:pt x="206" y="7"/>
                  </a:lnTo>
                  <a:lnTo>
                    <a:pt x="188" y="5"/>
                  </a:lnTo>
                  <a:lnTo>
                    <a:pt x="179" y="4"/>
                  </a:lnTo>
                  <a:lnTo>
                    <a:pt x="173" y="0"/>
                  </a:lnTo>
                  <a:lnTo>
                    <a:pt x="165" y="0"/>
                  </a:lnTo>
                  <a:lnTo>
                    <a:pt x="156" y="2"/>
                  </a:lnTo>
                  <a:lnTo>
                    <a:pt x="148" y="5"/>
                  </a:lnTo>
                  <a:lnTo>
                    <a:pt x="142" y="11"/>
                  </a:lnTo>
                  <a:lnTo>
                    <a:pt x="136" y="17"/>
                  </a:lnTo>
                  <a:lnTo>
                    <a:pt x="133" y="23"/>
                  </a:lnTo>
                  <a:lnTo>
                    <a:pt x="131" y="28"/>
                  </a:lnTo>
                  <a:lnTo>
                    <a:pt x="127" y="34"/>
                  </a:lnTo>
                  <a:lnTo>
                    <a:pt x="121" y="36"/>
                  </a:lnTo>
                  <a:lnTo>
                    <a:pt x="117" y="38"/>
                  </a:lnTo>
                  <a:lnTo>
                    <a:pt x="112" y="44"/>
                  </a:lnTo>
                  <a:lnTo>
                    <a:pt x="106" y="52"/>
                  </a:lnTo>
                  <a:lnTo>
                    <a:pt x="102" y="57"/>
                  </a:lnTo>
                  <a:lnTo>
                    <a:pt x="98" y="67"/>
                  </a:lnTo>
                  <a:lnTo>
                    <a:pt x="96" y="75"/>
                  </a:lnTo>
                  <a:lnTo>
                    <a:pt x="92" y="84"/>
                  </a:lnTo>
                  <a:lnTo>
                    <a:pt x="87" y="94"/>
                  </a:lnTo>
                  <a:lnTo>
                    <a:pt x="81" y="101"/>
                  </a:lnTo>
                  <a:lnTo>
                    <a:pt x="81" y="111"/>
                  </a:lnTo>
                  <a:lnTo>
                    <a:pt x="77" y="119"/>
                  </a:lnTo>
                  <a:lnTo>
                    <a:pt x="69" y="126"/>
                  </a:lnTo>
                  <a:lnTo>
                    <a:pt x="65" y="136"/>
                  </a:lnTo>
                  <a:lnTo>
                    <a:pt x="62" y="146"/>
                  </a:lnTo>
                  <a:lnTo>
                    <a:pt x="56" y="155"/>
                  </a:lnTo>
                  <a:lnTo>
                    <a:pt x="50" y="165"/>
                  </a:lnTo>
                  <a:lnTo>
                    <a:pt x="42" y="172"/>
                  </a:lnTo>
                  <a:lnTo>
                    <a:pt x="33" y="178"/>
                  </a:lnTo>
                  <a:lnTo>
                    <a:pt x="21" y="180"/>
                  </a:lnTo>
                  <a:lnTo>
                    <a:pt x="14" y="184"/>
                  </a:lnTo>
                  <a:lnTo>
                    <a:pt x="6" y="192"/>
                  </a:lnTo>
                  <a:lnTo>
                    <a:pt x="0" y="197"/>
                  </a:lnTo>
                  <a:lnTo>
                    <a:pt x="16" y="195"/>
                  </a:lnTo>
                  <a:lnTo>
                    <a:pt x="27" y="197"/>
                  </a:lnTo>
                  <a:lnTo>
                    <a:pt x="35" y="199"/>
                  </a:lnTo>
                  <a:lnTo>
                    <a:pt x="42" y="195"/>
                  </a:lnTo>
                  <a:lnTo>
                    <a:pt x="46" y="195"/>
                  </a:lnTo>
                  <a:lnTo>
                    <a:pt x="58" y="197"/>
                  </a:lnTo>
                  <a:lnTo>
                    <a:pt x="65" y="193"/>
                  </a:lnTo>
                  <a:lnTo>
                    <a:pt x="75" y="193"/>
                  </a:lnTo>
                  <a:lnTo>
                    <a:pt x="87" y="197"/>
                  </a:lnTo>
                  <a:lnTo>
                    <a:pt x="96" y="197"/>
                  </a:lnTo>
                  <a:lnTo>
                    <a:pt x="108" y="201"/>
                  </a:lnTo>
                  <a:lnTo>
                    <a:pt x="115" y="201"/>
                  </a:lnTo>
                  <a:lnTo>
                    <a:pt x="121" y="205"/>
                  </a:lnTo>
                  <a:lnTo>
                    <a:pt x="129" y="201"/>
                  </a:lnTo>
                  <a:lnTo>
                    <a:pt x="133" y="203"/>
                  </a:lnTo>
                  <a:lnTo>
                    <a:pt x="135" y="209"/>
                  </a:lnTo>
                  <a:lnTo>
                    <a:pt x="142" y="215"/>
                  </a:lnTo>
                  <a:lnTo>
                    <a:pt x="148" y="218"/>
                  </a:lnTo>
                  <a:lnTo>
                    <a:pt x="152" y="216"/>
                  </a:lnTo>
                  <a:lnTo>
                    <a:pt x="160" y="220"/>
                  </a:lnTo>
                  <a:lnTo>
                    <a:pt x="165" y="226"/>
                  </a:lnTo>
                  <a:lnTo>
                    <a:pt x="171" y="218"/>
                  </a:lnTo>
                  <a:lnTo>
                    <a:pt x="181" y="216"/>
                  </a:lnTo>
                  <a:lnTo>
                    <a:pt x="192" y="216"/>
                  </a:lnTo>
                  <a:lnTo>
                    <a:pt x="202" y="218"/>
                  </a:lnTo>
                  <a:lnTo>
                    <a:pt x="207" y="220"/>
                  </a:lnTo>
                  <a:lnTo>
                    <a:pt x="211" y="218"/>
                  </a:lnTo>
                  <a:lnTo>
                    <a:pt x="215" y="220"/>
                  </a:lnTo>
                  <a:lnTo>
                    <a:pt x="217" y="224"/>
                  </a:lnTo>
                  <a:lnTo>
                    <a:pt x="217" y="230"/>
                  </a:lnTo>
                  <a:lnTo>
                    <a:pt x="219" y="234"/>
                  </a:lnTo>
                  <a:lnTo>
                    <a:pt x="229" y="234"/>
                  </a:lnTo>
                  <a:lnTo>
                    <a:pt x="232" y="240"/>
                  </a:lnTo>
                  <a:lnTo>
                    <a:pt x="232" y="247"/>
                  </a:lnTo>
                  <a:lnTo>
                    <a:pt x="234" y="255"/>
                  </a:lnTo>
                  <a:lnTo>
                    <a:pt x="238" y="263"/>
                  </a:lnTo>
                  <a:lnTo>
                    <a:pt x="240" y="272"/>
                  </a:lnTo>
                  <a:lnTo>
                    <a:pt x="238" y="280"/>
                  </a:lnTo>
                  <a:lnTo>
                    <a:pt x="238" y="287"/>
                  </a:lnTo>
                  <a:lnTo>
                    <a:pt x="244" y="293"/>
                  </a:lnTo>
                  <a:lnTo>
                    <a:pt x="250" y="301"/>
                  </a:lnTo>
                  <a:lnTo>
                    <a:pt x="252" y="311"/>
                  </a:lnTo>
                  <a:lnTo>
                    <a:pt x="255" y="316"/>
                  </a:lnTo>
                  <a:lnTo>
                    <a:pt x="255" y="326"/>
                  </a:lnTo>
                  <a:lnTo>
                    <a:pt x="254" y="334"/>
                  </a:lnTo>
                  <a:lnTo>
                    <a:pt x="257" y="339"/>
                  </a:lnTo>
                  <a:lnTo>
                    <a:pt x="263" y="345"/>
                  </a:lnTo>
                  <a:lnTo>
                    <a:pt x="271" y="343"/>
                  </a:lnTo>
                  <a:lnTo>
                    <a:pt x="278" y="339"/>
                  </a:lnTo>
                  <a:lnTo>
                    <a:pt x="288" y="345"/>
                  </a:lnTo>
                  <a:lnTo>
                    <a:pt x="296" y="347"/>
                  </a:lnTo>
                  <a:lnTo>
                    <a:pt x="302" y="349"/>
                  </a:lnTo>
                  <a:lnTo>
                    <a:pt x="302" y="358"/>
                  </a:lnTo>
                  <a:lnTo>
                    <a:pt x="302" y="370"/>
                  </a:lnTo>
                  <a:lnTo>
                    <a:pt x="305" y="378"/>
                  </a:lnTo>
                  <a:lnTo>
                    <a:pt x="313" y="378"/>
                  </a:lnTo>
                  <a:lnTo>
                    <a:pt x="319" y="376"/>
                  </a:lnTo>
                  <a:lnTo>
                    <a:pt x="328" y="378"/>
                  </a:lnTo>
                  <a:lnTo>
                    <a:pt x="332" y="385"/>
                  </a:lnTo>
                  <a:lnTo>
                    <a:pt x="340" y="378"/>
                  </a:lnTo>
                  <a:lnTo>
                    <a:pt x="346" y="370"/>
                  </a:lnTo>
                  <a:lnTo>
                    <a:pt x="349" y="360"/>
                  </a:lnTo>
                  <a:lnTo>
                    <a:pt x="359" y="358"/>
                  </a:lnTo>
                  <a:lnTo>
                    <a:pt x="367" y="355"/>
                  </a:lnTo>
                  <a:lnTo>
                    <a:pt x="373" y="347"/>
                  </a:lnTo>
                  <a:lnTo>
                    <a:pt x="380" y="343"/>
                  </a:lnTo>
                  <a:lnTo>
                    <a:pt x="390" y="337"/>
                  </a:lnTo>
                  <a:lnTo>
                    <a:pt x="396" y="332"/>
                  </a:lnTo>
                  <a:lnTo>
                    <a:pt x="403" y="326"/>
                  </a:lnTo>
                  <a:lnTo>
                    <a:pt x="409" y="320"/>
                  </a:lnTo>
                  <a:lnTo>
                    <a:pt x="415" y="314"/>
                  </a:lnTo>
                  <a:lnTo>
                    <a:pt x="419" y="311"/>
                  </a:lnTo>
                  <a:lnTo>
                    <a:pt x="428" y="307"/>
                  </a:lnTo>
                  <a:lnTo>
                    <a:pt x="434" y="301"/>
                  </a:lnTo>
                  <a:lnTo>
                    <a:pt x="440" y="295"/>
                  </a:lnTo>
                  <a:lnTo>
                    <a:pt x="451" y="295"/>
                  </a:lnTo>
                  <a:lnTo>
                    <a:pt x="459" y="293"/>
                  </a:lnTo>
                  <a:lnTo>
                    <a:pt x="467" y="289"/>
                  </a:lnTo>
                  <a:lnTo>
                    <a:pt x="476" y="286"/>
                  </a:lnTo>
                  <a:lnTo>
                    <a:pt x="486" y="284"/>
                  </a:lnTo>
                  <a:lnTo>
                    <a:pt x="497" y="282"/>
                  </a:lnTo>
                  <a:lnTo>
                    <a:pt x="505" y="280"/>
                  </a:lnTo>
                  <a:lnTo>
                    <a:pt x="511" y="274"/>
                  </a:lnTo>
                  <a:lnTo>
                    <a:pt x="518" y="268"/>
                  </a:lnTo>
                  <a:lnTo>
                    <a:pt x="526" y="264"/>
                  </a:lnTo>
                  <a:lnTo>
                    <a:pt x="536" y="259"/>
                  </a:lnTo>
                  <a:lnTo>
                    <a:pt x="545" y="257"/>
                  </a:lnTo>
                  <a:lnTo>
                    <a:pt x="545" y="245"/>
                  </a:lnTo>
                  <a:lnTo>
                    <a:pt x="545" y="238"/>
                  </a:lnTo>
                  <a:lnTo>
                    <a:pt x="545" y="230"/>
                  </a:lnTo>
                  <a:lnTo>
                    <a:pt x="549" y="222"/>
                  </a:lnTo>
                  <a:lnTo>
                    <a:pt x="557" y="220"/>
                  </a:lnTo>
                  <a:lnTo>
                    <a:pt x="564" y="222"/>
                  </a:lnTo>
                  <a:lnTo>
                    <a:pt x="568" y="216"/>
                  </a:lnTo>
                  <a:lnTo>
                    <a:pt x="572" y="209"/>
                  </a:lnTo>
                  <a:lnTo>
                    <a:pt x="580" y="207"/>
                  </a:lnTo>
                  <a:lnTo>
                    <a:pt x="584" y="207"/>
                  </a:lnTo>
                  <a:lnTo>
                    <a:pt x="586" y="205"/>
                  </a:lnTo>
                  <a:lnTo>
                    <a:pt x="586" y="203"/>
                  </a:lnTo>
                  <a:lnTo>
                    <a:pt x="586" y="201"/>
                  </a:lnTo>
                  <a:lnTo>
                    <a:pt x="584" y="199"/>
                  </a:lnTo>
                  <a:lnTo>
                    <a:pt x="584" y="19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/>
            </a:p>
          </p:txBody>
        </p:sp>
        <p:sp>
          <p:nvSpPr>
            <p:cNvPr id="133" name="Freeform 18"/>
            <p:cNvSpPr>
              <a:spLocks/>
            </p:cNvSpPr>
            <p:nvPr/>
          </p:nvSpPr>
          <p:spPr bwMode="auto">
            <a:xfrm>
              <a:off x="7359568" y="4046988"/>
              <a:ext cx="520346" cy="335430"/>
            </a:xfrm>
            <a:custGeom>
              <a:avLst/>
              <a:gdLst>
                <a:gd name="T0" fmla="*/ 181 w 267"/>
                <a:gd name="T1" fmla="*/ 6 h 171"/>
                <a:gd name="T2" fmla="*/ 173 w 267"/>
                <a:gd name="T3" fmla="*/ 25 h 171"/>
                <a:gd name="T4" fmla="*/ 163 w 267"/>
                <a:gd name="T5" fmla="*/ 40 h 171"/>
                <a:gd name="T6" fmla="*/ 152 w 267"/>
                <a:gd name="T7" fmla="*/ 52 h 171"/>
                <a:gd name="T8" fmla="*/ 131 w 267"/>
                <a:gd name="T9" fmla="*/ 65 h 171"/>
                <a:gd name="T10" fmla="*/ 110 w 267"/>
                <a:gd name="T11" fmla="*/ 69 h 171"/>
                <a:gd name="T12" fmla="*/ 88 w 267"/>
                <a:gd name="T13" fmla="*/ 71 h 171"/>
                <a:gd name="T14" fmla="*/ 67 w 267"/>
                <a:gd name="T15" fmla="*/ 73 h 171"/>
                <a:gd name="T16" fmla="*/ 46 w 267"/>
                <a:gd name="T17" fmla="*/ 79 h 171"/>
                <a:gd name="T18" fmla="*/ 29 w 267"/>
                <a:gd name="T19" fmla="*/ 84 h 171"/>
                <a:gd name="T20" fmla="*/ 6 w 267"/>
                <a:gd name="T21" fmla="*/ 96 h 171"/>
                <a:gd name="T22" fmla="*/ 10 w 267"/>
                <a:gd name="T23" fmla="*/ 104 h 171"/>
                <a:gd name="T24" fmla="*/ 23 w 267"/>
                <a:gd name="T25" fmla="*/ 105 h 171"/>
                <a:gd name="T26" fmla="*/ 31 w 267"/>
                <a:gd name="T27" fmla="*/ 111 h 171"/>
                <a:gd name="T28" fmla="*/ 39 w 267"/>
                <a:gd name="T29" fmla="*/ 111 h 171"/>
                <a:gd name="T30" fmla="*/ 41 w 267"/>
                <a:gd name="T31" fmla="*/ 115 h 171"/>
                <a:gd name="T32" fmla="*/ 39 w 267"/>
                <a:gd name="T33" fmla="*/ 119 h 171"/>
                <a:gd name="T34" fmla="*/ 27 w 267"/>
                <a:gd name="T35" fmla="*/ 121 h 171"/>
                <a:gd name="T36" fmla="*/ 19 w 267"/>
                <a:gd name="T37" fmla="*/ 134 h 171"/>
                <a:gd name="T38" fmla="*/ 4 w 267"/>
                <a:gd name="T39" fmla="*/ 134 h 171"/>
                <a:gd name="T40" fmla="*/ 0 w 267"/>
                <a:gd name="T41" fmla="*/ 150 h 171"/>
                <a:gd name="T42" fmla="*/ 0 w 267"/>
                <a:gd name="T43" fmla="*/ 171 h 171"/>
                <a:gd name="T44" fmla="*/ 19 w 267"/>
                <a:gd name="T45" fmla="*/ 167 h 171"/>
                <a:gd name="T46" fmla="*/ 27 w 267"/>
                <a:gd name="T47" fmla="*/ 157 h 171"/>
                <a:gd name="T48" fmla="*/ 35 w 267"/>
                <a:gd name="T49" fmla="*/ 146 h 171"/>
                <a:gd name="T50" fmla="*/ 58 w 267"/>
                <a:gd name="T51" fmla="*/ 140 h 171"/>
                <a:gd name="T52" fmla="*/ 83 w 267"/>
                <a:gd name="T53" fmla="*/ 140 h 171"/>
                <a:gd name="T54" fmla="*/ 115 w 267"/>
                <a:gd name="T55" fmla="*/ 138 h 171"/>
                <a:gd name="T56" fmla="*/ 125 w 267"/>
                <a:gd name="T57" fmla="*/ 132 h 171"/>
                <a:gd name="T58" fmla="*/ 136 w 267"/>
                <a:gd name="T59" fmla="*/ 138 h 171"/>
                <a:gd name="T60" fmla="*/ 158 w 267"/>
                <a:gd name="T61" fmla="*/ 136 h 171"/>
                <a:gd name="T62" fmla="*/ 175 w 267"/>
                <a:gd name="T63" fmla="*/ 138 h 171"/>
                <a:gd name="T64" fmla="*/ 194 w 267"/>
                <a:gd name="T65" fmla="*/ 140 h 171"/>
                <a:gd name="T66" fmla="*/ 194 w 267"/>
                <a:gd name="T67" fmla="*/ 121 h 171"/>
                <a:gd name="T68" fmla="*/ 207 w 267"/>
                <a:gd name="T69" fmla="*/ 111 h 171"/>
                <a:gd name="T70" fmla="*/ 219 w 267"/>
                <a:gd name="T71" fmla="*/ 96 h 171"/>
                <a:gd name="T72" fmla="*/ 238 w 267"/>
                <a:gd name="T73" fmla="*/ 90 h 171"/>
                <a:gd name="T74" fmla="*/ 248 w 267"/>
                <a:gd name="T75" fmla="*/ 79 h 171"/>
                <a:gd name="T76" fmla="*/ 267 w 267"/>
                <a:gd name="T77" fmla="*/ 69 h 171"/>
                <a:gd name="T78" fmla="*/ 261 w 267"/>
                <a:gd name="T79" fmla="*/ 54 h 171"/>
                <a:gd name="T80" fmla="*/ 261 w 267"/>
                <a:gd name="T81" fmla="*/ 34 h 171"/>
                <a:gd name="T82" fmla="*/ 246 w 267"/>
                <a:gd name="T83" fmla="*/ 34 h 171"/>
                <a:gd name="T84" fmla="*/ 230 w 267"/>
                <a:gd name="T85" fmla="*/ 36 h 171"/>
                <a:gd name="T86" fmla="*/ 209 w 267"/>
                <a:gd name="T87" fmla="*/ 31 h 171"/>
                <a:gd name="T88" fmla="*/ 192 w 267"/>
                <a:gd name="T89" fmla="*/ 25 h 171"/>
                <a:gd name="T90" fmla="*/ 190 w 267"/>
                <a:gd name="T91" fmla="*/ 13 h 171"/>
                <a:gd name="T92" fmla="*/ 186 w 267"/>
                <a:gd name="T93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67" h="171">
                  <a:moveTo>
                    <a:pt x="186" y="0"/>
                  </a:moveTo>
                  <a:lnTo>
                    <a:pt x="181" y="6"/>
                  </a:lnTo>
                  <a:lnTo>
                    <a:pt x="177" y="13"/>
                  </a:lnTo>
                  <a:lnTo>
                    <a:pt x="173" y="25"/>
                  </a:lnTo>
                  <a:lnTo>
                    <a:pt x="169" y="33"/>
                  </a:lnTo>
                  <a:lnTo>
                    <a:pt x="163" y="40"/>
                  </a:lnTo>
                  <a:lnTo>
                    <a:pt x="156" y="48"/>
                  </a:lnTo>
                  <a:lnTo>
                    <a:pt x="152" y="52"/>
                  </a:lnTo>
                  <a:lnTo>
                    <a:pt x="142" y="58"/>
                  </a:lnTo>
                  <a:lnTo>
                    <a:pt x="131" y="65"/>
                  </a:lnTo>
                  <a:lnTo>
                    <a:pt x="125" y="67"/>
                  </a:lnTo>
                  <a:lnTo>
                    <a:pt x="110" y="69"/>
                  </a:lnTo>
                  <a:lnTo>
                    <a:pt x="100" y="71"/>
                  </a:lnTo>
                  <a:lnTo>
                    <a:pt x="88" y="71"/>
                  </a:lnTo>
                  <a:lnTo>
                    <a:pt x="71" y="73"/>
                  </a:lnTo>
                  <a:lnTo>
                    <a:pt x="67" y="73"/>
                  </a:lnTo>
                  <a:lnTo>
                    <a:pt x="60" y="77"/>
                  </a:lnTo>
                  <a:lnTo>
                    <a:pt x="46" y="79"/>
                  </a:lnTo>
                  <a:lnTo>
                    <a:pt x="35" y="82"/>
                  </a:lnTo>
                  <a:lnTo>
                    <a:pt x="29" y="84"/>
                  </a:lnTo>
                  <a:lnTo>
                    <a:pt x="21" y="88"/>
                  </a:lnTo>
                  <a:lnTo>
                    <a:pt x="6" y="96"/>
                  </a:lnTo>
                  <a:lnTo>
                    <a:pt x="10" y="100"/>
                  </a:lnTo>
                  <a:lnTo>
                    <a:pt x="10" y="104"/>
                  </a:lnTo>
                  <a:lnTo>
                    <a:pt x="16" y="107"/>
                  </a:lnTo>
                  <a:lnTo>
                    <a:pt x="23" y="105"/>
                  </a:lnTo>
                  <a:lnTo>
                    <a:pt x="27" y="107"/>
                  </a:lnTo>
                  <a:lnTo>
                    <a:pt x="31" y="111"/>
                  </a:lnTo>
                  <a:lnTo>
                    <a:pt x="39" y="109"/>
                  </a:lnTo>
                  <a:lnTo>
                    <a:pt x="39" y="111"/>
                  </a:lnTo>
                  <a:lnTo>
                    <a:pt x="41" y="113"/>
                  </a:lnTo>
                  <a:lnTo>
                    <a:pt x="41" y="115"/>
                  </a:lnTo>
                  <a:lnTo>
                    <a:pt x="41" y="117"/>
                  </a:lnTo>
                  <a:lnTo>
                    <a:pt x="39" y="119"/>
                  </a:lnTo>
                  <a:lnTo>
                    <a:pt x="35" y="119"/>
                  </a:lnTo>
                  <a:lnTo>
                    <a:pt x="27" y="121"/>
                  </a:lnTo>
                  <a:lnTo>
                    <a:pt x="23" y="128"/>
                  </a:lnTo>
                  <a:lnTo>
                    <a:pt x="19" y="134"/>
                  </a:lnTo>
                  <a:lnTo>
                    <a:pt x="12" y="132"/>
                  </a:lnTo>
                  <a:lnTo>
                    <a:pt x="4" y="134"/>
                  </a:lnTo>
                  <a:lnTo>
                    <a:pt x="0" y="142"/>
                  </a:lnTo>
                  <a:lnTo>
                    <a:pt x="0" y="150"/>
                  </a:lnTo>
                  <a:lnTo>
                    <a:pt x="0" y="157"/>
                  </a:lnTo>
                  <a:lnTo>
                    <a:pt x="0" y="171"/>
                  </a:lnTo>
                  <a:lnTo>
                    <a:pt x="12" y="169"/>
                  </a:lnTo>
                  <a:lnTo>
                    <a:pt x="19" y="167"/>
                  </a:lnTo>
                  <a:lnTo>
                    <a:pt x="27" y="165"/>
                  </a:lnTo>
                  <a:lnTo>
                    <a:pt x="27" y="157"/>
                  </a:lnTo>
                  <a:lnTo>
                    <a:pt x="27" y="150"/>
                  </a:lnTo>
                  <a:lnTo>
                    <a:pt x="35" y="146"/>
                  </a:lnTo>
                  <a:lnTo>
                    <a:pt x="44" y="144"/>
                  </a:lnTo>
                  <a:lnTo>
                    <a:pt x="58" y="140"/>
                  </a:lnTo>
                  <a:lnTo>
                    <a:pt x="67" y="140"/>
                  </a:lnTo>
                  <a:lnTo>
                    <a:pt x="83" y="140"/>
                  </a:lnTo>
                  <a:lnTo>
                    <a:pt x="104" y="138"/>
                  </a:lnTo>
                  <a:lnTo>
                    <a:pt x="115" y="138"/>
                  </a:lnTo>
                  <a:lnTo>
                    <a:pt x="121" y="132"/>
                  </a:lnTo>
                  <a:lnTo>
                    <a:pt x="125" y="132"/>
                  </a:lnTo>
                  <a:lnTo>
                    <a:pt x="129" y="138"/>
                  </a:lnTo>
                  <a:lnTo>
                    <a:pt x="136" y="138"/>
                  </a:lnTo>
                  <a:lnTo>
                    <a:pt x="148" y="140"/>
                  </a:lnTo>
                  <a:lnTo>
                    <a:pt x="158" y="136"/>
                  </a:lnTo>
                  <a:lnTo>
                    <a:pt x="167" y="134"/>
                  </a:lnTo>
                  <a:lnTo>
                    <a:pt x="175" y="138"/>
                  </a:lnTo>
                  <a:lnTo>
                    <a:pt x="184" y="142"/>
                  </a:lnTo>
                  <a:lnTo>
                    <a:pt x="194" y="140"/>
                  </a:lnTo>
                  <a:lnTo>
                    <a:pt x="192" y="128"/>
                  </a:lnTo>
                  <a:lnTo>
                    <a:pt x="194" y="121"/>
                  </a:lnTo>
                  <a:lnTo>
                    <a:pt x="202" y="115"/>
                  </a:lnTo>
                  <a:lnTo>
                    <a:pt x="207" y="111"/>
                  </a:lnTo>
                  <a:lnTo>
                    <a:pt x="213" y="104"/>
                  </a:lnTo>
                  <a:lnTo>
                    <a:pt x="219" y="96"/>
                  </a:lnTo>
                  <a:lnTo>
                    <a:pt x="227" y="90"/>
                  </a:lnTo>
                  <a:lnTo>
                    <a:pt x="238" y="90"/>
                  </a:lnTo>
                  <a:lnTo>
                    <a:pt x="242" y="84"/>
                  </a:lnTo>
                  <a:lnTo>
                    <a:pt x="248" y="79"/>
                  </a:lnTo>
                  <a:lnTo>
                    <a:pt x="255" y="75"/>
                  </a:lnTo>
                  <a:lnTo>
                    <a:pt x="267" y="69"/>
                  </a:lnTo>
                  <a:lnTo>
                    <a:pt x="265" y="61"/>
                  </a:lnTo>
                  <a:lnTo>
                    <a:pt x="261" y="54"/>
                  </a:lnTo>
                  <a:lnTo>
                    <a:pt x="257" y="42"/>
                  </a:lnTo>
                  <a:lnTo>
                    <a:pt x="261" y="34"/>
                  </a:lnTo>
                  <a:lnTo>
                    <a:pt x="257" y="33"/>
                  </a:lnTo>
                  <a:lnTo>
                    <a:pt x="246" y="34"/>
                  </a:lnTo>
                  <a:lnTo>
                    <a:pt x="238" y="34"/>
                  </a:lnTo>
                  <a:lnTo>
                    <a:pt x="230" y="36"/>
                  </a:lnTo>
                  <a:lnTo>
                    <a:pt x="217" y="29"/>
                  </a:lnTo>
                  <a:lnTo>
                    <a:pt x="209" y="31"/>
                  </a:lnTo>
                  <a:lnTo>
                    <a:pt x="200" y="31"/>
                  </a:lnTo>
                  <a:lnTo>
                    <a:pt x="192" y="25"/>
                  </a:lnTo>
                  <a:lnTo>
                    <a:pt x="192" y="21"/>
                  </a:lnTo>
                  <a:lnTo>
                    <a:pt x="190" y="13"/>
                  </a:lnTo>
                  <a:lnTo>
                    <a:pt x="188" y="6"/>
                  </a:lnTo>
                  <a:lnTo>
                    <a:pt x="186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 dirty="0"/>
            </a:p>
          </p:txBody>
        </p:sp>
        <p:sp>
          <p:nvSpPr>
            <p:cNvPr id="134" name="Freeform 19"/>
            <p:cNvSpPr>
              <a:spLocks/>
            </p:cNvSpPr>
            <p:nvPr/>
          </p:nvSpPr>
          <p:spPr bwMode="auto">
            <a:xfrm>
              <a:off x="7722950" y="3621250"/>
              <a:ext cx="359082" cy="498845"/>
            </a:xfrm>
            <a:custGeom>
              <a:avLst/>
              <a:gdLst>
                <a:gd name="T0" fmla="*/ 173 w 185"/>
                <a:gd name="T1" fmla="*/ 29 h 253"/>
                <a:gd name="T2" fmla="*/ 158 w 185"/>
                <a:gd name="T3" fmla="*/ 23 h 253"/>
                <a:gd name="T4" fmla="*/ 148 w 185"/>
                <a:gd name="T5" fmla="*/ 14 h 253"/>
                <a:gd name="T6" fmla="*/ 135 w 185"/>
                <a:gd name="T7" fmla="*/ 10 h 253"/>
                <a:gd name="T8" fmla="*/ 114 w 185"/>
                <a:gd name="T9" fmla="*/ 0 h 253"/>
                <a:gd name="T10" fmla="*/ 92 w 185"/>
                <a:gd name="T11" fmla="*/ 6 h 253"/>
                <a:gd name="T12" fmla="*/ 85 w 185"/>
                <a:gd name="T13" fmla="*/ 21 h 253"/>
                <a:gd name="T14" fmla="*/ 79 w 185"/>
                <a:gd name="T15" fmla="*/ 37 h 253"/>
                <a:gd name="T16" fmla="*/ 77 w 185"/>
                <a:gd name="T17" fmla="*/ 52 h 253"/>
                <a:gd name="T18" fmla="*/ 79 w 185"/>
                <a:gd name="T19" fmla="*/ 75 h 253"/>
                <a:gd name="T20" fmla="*/ 75 w 185"/>
                <a:gd name="T21" fmla="*/ 90 h 253"/>
                <a:gd name="T22" fmla="*/ 73 w 185"/>
                <a:gd name="T23" fmla="*/ 106 h 253"/>
                <a:gd name="T24" fmla="*/ 69 w 185"/>
                <a:gd name="T25" fmla="*/ 119 h 253"/>
                <a:gd name="T26" fmla="*/ 60 w 185"/>
                <a:gd name="T27" fmla="*/ 131 h 253"/>
                <a:gd name="T28" fmla="*/ 60 w 185"/>
                <a:gd name="T29" fmla="*/ 144 h 253"/>
                <a:gd name="T30" fmla="*/ 46 w 185"/>
                <a:gd name="T31" fmla="*/ 161 h 253"/>
                <a:gd name="T32" fmla="*/ 23 w 185"/>
                <a:gd name="T33" fmla="*/ 171 h 253"/>
                <a:gd name="T34" fmla="*/ 14 w 185"/>
                <a:gd name="T35" fmla="*/ 190 h 253"/>
                <a:gd name="T36" fmla="*/ 6 w 185"/>
                <a:gd name="T37" fmla="*/ 207 h 253"/>
                <a:gd name="T38" fmla="*/ 2 w 185"/>
                <a:gd name="T39" fmla="*/ 223 h 253"/>
                <a:gd name="T40" fmla="*/ 6 w 185"/>
                <a:gd name="T41" fmla="*/ 238 h 253"/>
                <a:gd name="T42" fmla="*/ 14 w 185"/>
                <a:gd name="T43" fmla="*/ 248 h 253"/>
                <a:gd name="T44" fmla="*/ 31 w 185"/>
                <a:gd name="T45" fmla="*/ 246 h 253"/>
                <a:gd name="T46" fmla="*/ 52 w 185"/>
                <a:gd name="T47" fmla="*/ 251 h 253"/>
                <a:gd name="T48" fmla="*/ 71 w 185"/>
                <a:gd name="T49" fmla="*/ 250 h 253"/>
                <a:gd name="T50" fmla="*/ 75 w 185"/>
                <a:gd name="T51" fmla="*/ 244 h 253"/>
                <a:gd name="T52" fmla="*/ 85 w 185"/>
                <a:gd name="T53" fmla="*/ 236 h 253"/>
                <a:gd name="T54" fmla="*/ 92 w 185"/>
                <a:gd name="T55" fmla="*/ 225 h 253"/>
                <a:gd name="T56" fmla="*/ 98 w 185"/>
                <a:gd name="T57" fmla="*/ 213 h 253"/>
                <a:gd name="T58" fmla="*/ 106 w 185"/>
                <a:gd name="T59" fmla="*/ 207 h 253"/>
                <a:gd name="T60" fmla="*/ 115 w 185"/>
                <a:gd name="T61" fmla="*/ 198 h 253"/>
                <a:gd name="T62" fmla="*/ 125 w 185"/>
                <a:gd name="T63" fmla="*/ 186 h 253"/>
                <a:gd name="T64" fmla="*/ 133 w 185"/>
                <a:gd name="T65" fmla="*/ 175 h 253"/>
                <a:gd name="T66" fmla="*/ 137 w 185"/>
                <a:gd name="T67" fmla="*/ 161 h 253"/>
                <a:gd name="T68" fmla="*/ 140 w 185"/>
                <a:gd name="T69" fmla="*/ 148 h 253"/>
                <a:gd name="T70" fmla="*/ 142 w 185"/>
                <a:gd name="T71" fmla="*/ 136 h 253"/>
                <a:gd name="T72" fmla="*/ 154 w 185"/>
                <a:gd name="T73" fmla="*/ 127 h 253"/>
                <a:gd name="T74" fmla="*/ 163 w 185"/>
                <a:gd name="T75" fmla="*/ 113 h 253"/>
                <a:gd name="T76" fmla="*/ 169 w 185"/>
                <a:gd name="T77" fmla="*/ 102 h 253"/>
                <a:gd name="T78" fmla="*/ 171 w 185"/>
                <a:gd name="T79" fmla="*/ 90 h 253"/>
                <a:gd name="T80" fmla="*/ 175 w 185"/>
                <a:gd name="T81" fmla="*/ 77 h 253"/>
                <a:gd name="T82" fmla="*/ 181 w 185"/>
                <a:gd name="T83" fmla="*/ 63 h 253"/>
                <a:gd name="T84" fmla="*/ 183 w 185"/>
                <a:gd name="T85" fmla="*/ 48 h 253"/>
                <a:gd name="T86" fmla="*/ 181 w 185"/>
                <a:gd name="T87" fmla="*/ 42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5" h="253">
                  <a:moveTo>
                    <a:pt x="185" y="39"/>
                  </a:moveTo>
                  <a:lnTo>
                    <a:pt x="173" y="29"/>
                  </a:lnTo>
                  <a:lnTo>
                    <a:pt x="169" y="27"/>
                  </a:lnTo>
                  <a:lnTo>
                    <a:pt x="158" y="23"/>
                  </a:lnTo>
                  <a:lnTo>
                    <a:pt x="154" y="16"/>
                  </a:lnTo>
                  <a:lnTo>
                    <a:pt x="148" y="14"/>
                  </a:lnTo>
                  <a:lnTo>
                    <a:pt x="137" y="12"/>
                  </a:lnTo>
                  <a:lnTo>
                    <a:pt x="135" y="10"/>
                  </a:lnTo>
                  <a:lnTo>
                    <a:pt x="125" y="0"/>
                  </a:lnTo>
                  <a:lnTo>
                    <a:pt x="114" y="0"/>
                  </a:lnTo>
                  <a:lnTo>
                    <a:pt x="102" y="4"/>
                  </a:lnTo>
                  <a:lnTo>
                    <a:pt x="92" y="6"/>
                  </a:lnTo>
                  <a:lnTo>
                    <a:pt x="83" y="12"/>
                  </a:lnTo>
                  <a:lnTo>
                    <a:pt x="85" y="21"/>
                  </a:lnTo>
                  <a:lnTo>
                    <a:pt x="81" y="27"/>
                  </a:lnTo>
                  <a:lnTo>
                    <a:pt x="79" y="37"/>
                  </a:lnTo>
                  <a:lnTo>
                    <a:pt x="79" y="46"/>
                  </a:lnTo>
                  <a:lnTo>
                    <a:pt x="77" y="52"/>
                  </a:lnTo>
                  <a:lnTo>
                    <a:pt x="79" y="63"/>
                  </a:lnTo>
                  <a:lnTo>
                    <a:pt x="79" y="75"/>
                  </a:lnTo>
                  <a:lnTo>
                    <a:pt x="75" y="85"/>
                  </a:lnTo>
                  <a:lnTo>
                    <a:pt x="75" y="90"/>
                  </a:lnTo>
                  <a:lnTo>
                    <a:pt x="73" y="98"/>
                  </a:lnTo>
                  <a:lnTo>
                    <a:pt x="73" y="106"/>
                  </a:lnTo>
                  <a:lnTo>
                    <a:pt x="73" y="111"/>
                  </a:lnTo>
                  <a:lnTo>
                    <a:pt x="69" y="119"/>
                  </a:lnTo>
                  <a:lnTo>
                    <a:pt x="64" y="123"/>
                  </a:lnTo>
                  <a:lnTo>
                    <a:pt x="60" y="131"/>
                  </a:lnTo>
                  <a:lnTo>
                    <a:pt x="60" y="138"/>
                  </a:lnTo>
                  <a:lnTo>
                    <a:pt x="60" y="144"/>
                  </a:lnTo>
                  <a:lnTo>
                    <a:pt x="52" y="154"/>
                  </a:lnTo>
                  <a:lnTo>
                    <a:pt x="46" y="161"/>
                  </a:lnTo>
                  <a:lnTo>
                    <a:pt x="33" y="165"/>
                  </a:lnTo>
                  <a:lnTo>
                    <a:pt x="23" y="171"/>
                  </a:lnTo>
                  <a:lnTo>
                    <a:pt x="16" y="181"/>
                  </a:lnTo>
                  <a:lnTo>
                    <a:pt x="14" y="190"/>
                  </a:lnTo>
                  <a:lnTo>
                    <a:pt x="12" y="200"/>
                  </a:lnTo>
                  <a:lnTo>
                    <a:pt x="6" y="207"/>
                  </a:lnTo>
                  <a:lnTo>
                    <a:pt x="0" y="217"/>
                  </a:lnTo>
                  <a:lnTo>
                    <a:pt x="2" y="223"/>
                  </a:lnTo>
                  <a:lnTo>
                    <a:pt x="4" y="230"/>
                  </a:lnTo>
                  <a:lnTo>
                    <a:pt x="6" y="238"/>
                  </a:lnTo>
                  <a:lnTo>
                    <a:pt x="6" y="242"/>
                  </a:lnTo>
                  <a:lnTo>
                    <a:pt x="14" y="248"/>
                  </a:lnTo>
                  <a:lnTo>
                    <a:pt x="23" y="248"/>
                  </a:lnTo>
                  <a:lnTo>
                    <a:pt x="31" y="246"/>
                  </a:lnTo>
                  <a:lnTo>
                    <a:pt x="44" y="253"/>
                  </a:lnTo>
                  <a:lnTo>
                    <a:pt x="52" y="251"/>
                  </a:lnTo>
                  <a:lnTo>
                    <a:pt x="60" y="251"/>
                  </a:lnTo>
                  <a:lnTo>
                    <a:pt x="71" y="250"/>
                  </a:lnTo>
                  <a:lnTo>
                    <a:pt x="75" y="251"/>
                  </a:lnTo>
                  <a:lnTo>
                    <a:pt x="75" y="244"/>
                  </a:lnTo>
                  <a:lnTo>
                    <a:pt x="79" y="240"/>
                  </a:lnTo>
                  <a:lnTo>
                    <a:pt x="85" y="236"/>
                  </a:lnTo>
                  <a:lnTo>
                    <a:pt x="91" y="232"/>
                  </a:lnTo>
                  <a:lnTo>
                    <a:pt x="92" y="225"/>
                  </a:lnTo>
                  <a:lnTo>
                    <a:pt x="94" y="217"/>
                  </a:lnTo>
                  <a:lnTo>
                    <a:pt x="98" y="213"/>
                  </a:lnTo>
                  <a:lnTo>
                    <a:pt x="100" y="207"/>
                  </a:lnTo>
                  <a:lnTo>
                    <a:pt x="106" y="207"/>
                  </a:lnTo>
                  <a:lnTo>
                    <a:pt x="112" y="202"/>
                  </a:lnTo>
                  <a:lnTo>
                    <a:pt x="115" y="198"/>
                  </a:lnTo>
                  <a:lnTo>
                    <a:pt x="121" y="190"/>
                  </a:lnTo>
                  <a:lnTo>
                    <a:pt x="125" y="186"/>
                  </a:lnTo>
                  <a:lnTo>
                    <a:pt x="127" y="179"/>
                  </a:lnTo>
                  <a:lnTo>
                    <a:pt x="133" y="175"/>
                  </a:lnTo>
                  <a:lnTo>
                    <a:pt x="137" y="167"/>
                  </a:lnTo>
                  <a:lnTo>
                    <a:pt x="137" y="161"/>
                  </a:lnTo>
                  <a:lnTo>
                    <a:pt x="137" y="154"/>
                  </a:lnTo>
                  <a:lnTo>
                    <a:pt x="140" y="148"/>
                  </a:lnTo>
                  <a:lnTo>
                    <a:pt x="142" y="140"/>
                  </a:lnTo>
                  <a:lnTo>
                    <a:pt x="142" y="136"/>
                  </a:lnTo>
                  <a:lnTo>
                    <a:pt x="148" y="131"/>
                  </a:lnTo>
                  <a:lnTo>
                    <a:pt x="154" y="127"/>
                  </a:lnTo>
                  <a:lnTo>
                    <a:pt x="160" y="121"/>
                  </a:lnTo>
                  <a:lnTo>
                    <a:pt x="163" y="113"/>
                  </a:lnTo>
                  <a:lnTo>
                    <a:pt x="167" y="108"/>
                  </a:lnTo>
                  <a:lnTo>
                    <a:pt x="169" y="102"/>
                  </a:lnTo>
                  <a:lnTo>
                    <a:pt x="171" y="96"/>
                  </a:lnTo>
                  <a:lnTo>
                    <a:pt x="171" y="90"/>
                  </a:lnTo>
                  <a:lnTo>
                    <a:pt x="173" y="85"/>
                  </a:lnTo>
                  <a:lnTo>
                    <a:pt x="175" y="77"/>
                  </a:lnTo>
                  <a:lnTo>
                    <a:pt x="179" y="69"/>
                  </a:lnTo>
                  <a:lnTo>
                    <a:pt x="181" y="63"/>
                  </a:lnTo>
                  <a:lnTo>
                    <a:pt x="181" y="56"/>
                  </a:lnTo>
                  <a:lnTo>
                    <a:pt x="183" y="48"/>
                  </a:lnTo>
                  <a:lnTo>
                    <a:pt x="181" y="44"/>
                  </a:lnTo>
                  <a:lnTo>
                    <a:pt x="181" y="42"/>
                  </a:lnTo>
                  <a:lnTo>
                    <a:pt x="185" y="3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/>
            </a:p>
          </p:txBody>
        </p:sp>
        <p:sp>
          <p:nvSpPr>
            <p:cNvPr id="165" name="Freeform 50"/>
            <p:cNvSpPr>
              <a:spLocks/>
            </p:cNvSpPr>
            <p:nvPr/>
          </p:nvSpPr>
          <p:spPr bwMode="auto">
            <a:xfrm>
              <a:off x="6553246" y="3096604"/>
              <a:ext cx="1485783" cy="1204108"/>
            </a:xfrm>
            <a:custGeom>
              <a:avLst/>
              <a:gdLst>
                <a:gd name="T0" fmla="*/ 401 w 760"/>
                <a:gd name="T1" fmla="*/ 596 h 617"/>
                <a:gd name="T2" fmla="*/ 364 w 760"/>
                <a:gd name="T3" fmla="*/ 596 h 617"/>
                <a:gd name="T4" fmla="*/ 330 w 760"/>
                <a:gd name="T5" fmla="*/ 617 h 617"/>
                <a:gd name="T6" fmla="*/ 301 w 760"/>
                <a:gd name="T7" fmla="*/ 587 h 617"/>
                <a:gd name="T8" fmla="*/ 291 w 760"/>
                <a:gd name="T9" fmla="*/ 548 h 617"/>
                <a:gd name="T10" fmla="*/ 272 w 760"/>
                <a:gd name="T11" fmla="*/ 504 h 617"/>
                <a:gd name="T12" fmla="*/ 261 w 760"/>
                <a:gd name="T13" fmla="*/ 460 h 617"/>
                <a:gd name="T14" fmla="*/ 247 w 760"/>
                <a:gd name="T15" fmla="*/ 414 h 617"/>
                <a:gd name="T16" fmla="*/ 197 w 760"/>
                <a:gd name="T17" fmla="*/ 414 h 617"/>
                <a:gd name="T18" fmla="*/ 147 w 760"/>
                <a:gd name="T19" fmla="*/ 422 h 617"/>
                <a:gd name="T20" fmla="*/ 132 w 760"/>
                <a:gd name="T21" fmla="*/ 418 h 617"/>
                <a:gd name="T22" fmla="*/ 122 w 760"/>
                <a:gd name="T23" fmla="*/ 414 h 617"/>
                <a:gd name="T24" fmla="*/ 90 w 760"/>
                <a:gd name="T25" fmla="*/ 401 h 617"/>
                <a:gd name="T26" fmla="*/ 32 w 760"/>
                <a:gd name="T27" fmla="*/ 399 h 617"/>
                <a:gd name="T28" fmla="*/ 5 w 760"/>
                <a:gd name="T29" fmla="*/ 406 h 617"/>
                <a:gd name="T30" fmla="*/ 0 w 760"/>
                <a:gd name="T31" fmla="*/ 381 h 617"/>
                <a:gd name="T32" fmla="*/ 13 w 760"/>
                <a:gd name="T33" fmla="*/ 370 h 617"/>
                <a:gd name="T34" fmla="*/ 30 w 760"/>
                <a:gd name="T35" fmla="*/ 351 h 617"/>
                <a:gd name="T36" fmla="*/ 46 w 760"/>
                <a:gd name="T37" fmla="*/ 326 h 617"/>
                <a:gd name="T38" fmla="*/ 71 w 760"/>
                <a:gd name="T39" fmla="*/ 310 h 617"/>
                <a:gd name="T40" fmla="*/ 98 w 760"/>
                <a:gd name="T41" fmla="*/ 307 h 617"/>
                <a:gd name="T42" fmla="*/ 128 w 760"/>
                <a:gd name="T43" fmla="*/ 297 h 617"/>
                <a:gd name="T44" fmla="*/ 159 w 760"/>
                <a:gd name="T45" fmla="*/ 287 h 617"/>
                <a:gd name="T46" fmla="*/ 188 w 760"/>
                <a:gd name="T47" fmla="*/ 289 h 617"/>
                <a:gd name="T48" fmla="*/ 218 w 760"/>
                <a:gd name="T49" fmla="*/ 291 h 617"/>
                <a:gd name="T50" fmla="*/ 230 w 760"/>
                <a:gd name="T51" fmla="*/ 257 h 617"/>
                <a:gd name="T52" fmla="*/ 247 w 760"/>
                <a:gd name="T53" fmla="*/ 218 h 617"/>
                <a:gd name="T54" fmla="*/ 259 w 760"/>
                <a:gd name="T55" fmla="*/ 190 h 617"/>
                <a:gd name="T56" fmla="*/ 251 w 760"/>
                <a:gd name="T57" fmla="*/ 132 h 617"/>
                <a:gd name="T58" fmla="*/ 266 w 760"/>
                <a:gd name="T59" fmla="*/ 80 h 617"/>
                <a:gd name="T60" fmla="*/ 307 w 760"/>
                <a:gd name="T61" fmla="*/ 48 h 617"/>
                <a:gd name="T62" fmla="*/ 341 w 760"/>
                <a:gd name="T63" fmla="*/ 55 h 617"/>
                <a:gd name="T64" fmla="*/ 397 w 760"/>
                <a:gd name="T65" fmla="*/ 38 h 617"/>
                <a:gd name="T66" fmla="*/ 453 w 760"/>
                <a:gd name="T67" fmla="*/ 7 h 617"/>
                <a:gd name="T68" fmla="*/ 497 w 760"/>
                <a:gd name="T69" fmla="*/ 4 h 617"/>
                <a:gd name="T70" fmla="*/ 510 w 760"/>
                <a:gd name="T71" fmla="*/ 30 h 617"/>
                <a:gd name="T72" fmla="*/ 548 w 760"/>
                <a:gd name="T73" fmla="*/ 38 h 617"/>
                <a:gd name="T74" fmla="*/ 585 w 760"/>
                <a:gd name="T75" fmla="*/ 63 h 617"/>
                <a:gd name="T76" fmla="*/ 627 w 760"/>
                <a:gd name="T77" fmla="*/ 69 h 617"/>
                <a:gd name="T78" fmla="*/ 658 w 760"/>
                <a:gd name="T79" fmla="*/ 105 h 617"/>
                <a:gd name="T80" fmla="*/ 710 w 760"/>
                <a:gd name="T81" fmla="*/ 121 h 617"/>
                <a:gd name="T82" fmla="*/ 754 w 760"/>
                <a:gd name="T83" fmla="*/ 132 h 617"/>
                <a:gd name="T84" fmla="*/ 752 w 760"/>
                <a:gd name="T85" fmla="*/ 186 h 617"/>
                <a:gd name="T86" fmla="*/ 733 w 760"/>
                <a:gd name="T87" fmla="*/ 226 h 617"/>
                <a:gd name="T88" fmla="*/ 729 w 760"/>
                <a:gd name="T89" fmla="*/ 270 h 617"/>
                <a:gd name="T90" fmla="*/ 683 w 760"/>
                <a:gd name="T91" fmla="*/ 291 h 617"/>
                <a:gd name="T92" fmla="*/ 677 w 760"/>
                <a:gd name="T93" fmla="*/ 345 h 617"/>
                <a:gd name="T94" fmla="*/ 667 w 760"/>
                <a:gd name="T95" fmla="*/ 389 h 617"/>
                <a:gd name="T96" fmla="*/ 644 w 760"/>
                <a:gd name="T97" fmla="*/ 431 h 617"/>
                <a:gd name="T98" fmla="*/ 604 w 760"/>
                <a:gd name="T99" fmla="*/ 477 h 617"/>
                <a:gd name="T100" fmla="*/ 575 w 760"/>
                <a:gd name="T101" fmla="*/ 527 h 617"/>
                <a:gd name="T102" fmla="*/ 522 w 760"/>
                <a:gd name="T103" fmla="*/ 556 h 617"/>
                <a:gd name="T104" fmla="*/ 458 w 760"/>
                <a:gd name="T105" fmla="*/ 566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60" h="617">
                  <a:moveTo>
                    <a:pt x="418" y="583"/>
                  </a:moveTo>
                  <a:lnTo>
                    <a:pt x="412" y="581"/>
                  </a:lnTo>
                  <a:lnTo>
                    <a:pt x="408" y="583"/>
                  </a:lnTo>
                  <a:lnTo>
                    <a:pt x="406" y="587"/>
                  </a:lnTo>
                  <a:lnTo>
                    <a:pt x="405" y="592"/>
                  </a:lnTo>
                  <a:lnTo>
                    <a:pt x="401" y="596"/>
                  </a:lnTo>
                  <a:lnTo>
                    <a:pt x="395" y="594"/>
                  </a:lnTo>
                  <a:lnTo>
                    <a:pt x="387" y="592"/>
                  </a:lnTo>
                  <a:lnTo>
                    <a:pt x="382" y="594"/>
                  </a:lnTo>
                  <a:lnTo>
                    <a:pt x="374" y="602"/>
                  </a:lnTo>
                  <a:lnTo>
                    <a:pt x="368" y="600"/>
                  </a:lnTo>
                  <a:lnTo>
                    <a:pt x="364" y="596"/>
                  </a:lnTo>
                  <a:lnTo>
                    <a:pt x="358" y="600"/>
                  </a:lnTo>
                  <a:lnTo>
                    <a:pt x="358" y="608"/>
                  </a:lnTo>
                  <a:lnTo>
                    <a:pt x="353" y="612"/>
                  </a:lnTo>
                  <a:lnTo>
                    <a:pt x="347" y="612"/>
                  </a:lnTo>
                  <a:lnTo>
                    <a:pt x="337" y="615"/>
                  </a:lnTo>
                  <a:lnTo>
                    <a:pt x="330" y="617"/>
                  </a:lnTo>
                  <a:lnTo>
                    <a:pt x="320" y="615"/>
                  </a:lnTo>
                  <a:lnTo>
                    <a:pt x="316" y="610"/>
                  </a:lnTo>
                  <a:lnTo>
                    <a:pt x="312" y="606"/>
                  </a:lnTo>
                  <a:lnTo>
                    <a:pt x="311" y="600"/>
                  </a:lnTo>
                  <a:lnTo>
                    <a:pt x="307" y="591"/>
                  </a:lnTo>
                  <a:lnTo>
                    <a:pt x="301" y="587"/>
                  </a:lnTo>
                  <a:lnTo>
                    <a:pt x="295" y="581"/>
                  </a:lnTo>
                  <a:lnTo>
                    <a:pt x="295" y="575"/>
                  </a:lnTo>
                  <a:lnTo>
                    <a:pt x="293" y="569"/>
                  </a:lnTo>
                  <a:lnTo>
                    <a:pt x="289" y="562"/>
                  </a:lnTo>
                  <a:lnTo>
                    <a:pt x="289" y="554"/>
                  </a:lnTo>
                  <a:lnTo>
                    <a:pt x="291" y="548"/>
                  </a:lnTo>
                  <a:lnTo>
                    <a:pt x="293" y="541"/>
                  </a:lnTo>
                  <a:lnTo>
                    <a:pt x="293" y="533"/>
                  </a:lnTo>
                  <a:lnTo>
                    <a:pt x="291" y="523"/>
                  </a:lnTo>
                  <a:lnTo>
                    <a:pt x="287" y="516"/>
                  </a:lnTo>
                  <a:lnTo>
                    <a:pt x="280" y="510"/>
                  </a:lnTo>
                  <a:lnTo>
                    <a:pt x="272" y="504"/>
                  </a:lnTo>
                  <a:lnTo>
                    <a:pt x="268" y="498"/>
                  </a:lnTo>
                  <a:lnTo>
                    <a:pt x="266" y="489"/>
                  </a:lnTo>
                  <a:lnTo>
                    <a:pt x="264" y="481"/>
                  </a:lnTo>
                  <a:lnTo>
                    <a:pt x="261" y="475"/>
                  </a:lnTo>
                  <a:lnTo>
                    <a:pt x="259" y="466"/>
                  </a:lnTo>
                  <a:lnTo>
                    <a:pt x="261" y="460"/>
                  </a:lnTo>
                  <a:lnTo>
                    <a:pt x="259" y="452"/>
                  </a:lnTo>
                  <a:lnTo>
                    <a:pt x="255" y="445"/>
                  </a:lnTo>
                  <a:lnTo>
                    <a:pt x="253" y="437"/>
                  </a:lnTo>
                  <a:lnTo>
                    <a:pt x="253" y="429"/>
                  </a:lnTo>
                  <a:lnTo>
                    <a:pt x="253" y="422"/>
                  </a:lnTo>
                  <a:lnTo>
                    <a:pt x="247" y="414"/>
                  </a:lnTo>
                  <a:lnTo>
                    <a:pt x="240" y="410"/>
                  </a:lnTo>
                  <a:lnTo>
                    <a:pt x="230" y="408"/>
                  </a:lnTo>
                  <a:lnTo>
                    <a:pt x="222" y="410"/>
                  </a:lnTo>
                  <a:lnTo>
                    <a:pt x="213" y="410"/>
                  </a:lnTo>
                  <a:lnTo>
                    <a:pt x="205" y="410"/>
                  </a:lnTo>
                  <a:lnTo>
                    <a:pt x="197" y="414"/>
                  </a:lnTo>
                  <a:lnTo>
                    <a:pt x="188" y="414"/>
                  </a:lnTo>
                  <a:lnTo>
                    <a:pt x="176" y="414"/>
                  </a:lnTo>
                  <a:lnTo>
                    <a:pt x="169" y="416"/>
                  </a:lnTo>
                  <a:lnTo>
                    <a:pt x="161" y="420"/>
                  </a:lnTo>
                  <a:lnTo>
                    <a:pt x="153" y="422"/>
                  </a:lnTo>
                  <a:lnTo>
                    <a:pt x="147" y="422"/>
                  </a:lnTo>
                  <a:lnTo>
                    <a:pt x="147" y="429"/>
                  </a:lnTo>
                  <a:lnTo>
                    <a:pt x="145" y="433"/>
                  </a:lnTo>
                  <a:lnTo>
                    <a:pt x="140" y="433"/>
                  </a:lnTo>
                  <a:lnTo>
                    <a:pt x="136" y="429"/>
                  </a:lnTo>
                  <a:lnTo>
                    <a:pt x="134" y="424"/>
                  </a:lnTo>
                  <a:lnTo>
                    <a:pt x="132" y="418"/>
                  </a:lnTo>
                  <a:lnTo>
                    <a:pt x="130" y="420"/>
                  </a:lnTo>
                  <a:lnTo>
                    <a:pt x="124" y="426"/>
                  </a:lnTo>
                  <a:lnTo>
                    <a:pt x="122" y="424"/>
                  </a:lnTo>
                  <a:lnTo>
                    <a:pt x="121" y="422"/>
                  </a:lnTo>
                  <a:lnTo>
                    <a:pt x="121" y="420"/>
                  </a:lnTo>
                  <a:lnTo>
                    <a:pt x="122" y="414"/>
                  </a:lnTo>
                  <a:lnTo>
                    <a:pt x="122" y="410"/>
                  </a:lnTo>
                  <a:lnTo>
                    <a:pt x="117" y="406"/>
                  </a:lnTo>
                  <a:lnTo>
                    <a:pt x="107" y="406"/>
                  </a:lnTo>
                  <a:lnTo>
                    <a:pt x="101" y="404"/>
                  </a:lnTo>
                  <a:lnTo>
                    <a:pt x="98" y="399"/>
                  </a:lnTo>
                  <a:lnTo>
                    <a:pt x="90" y="401"/>
                  </a:lnTo>
                  <a:lnTo>
                    <a:pt x="82" y="406"/>
                  </a:lnTo>
                  <a:lnTo>
                    <a:pt x="73" y="406"/>
                  </a:lnTo>
                  <a:lnTo>
                    <a:pt x="55" y="404"/>
                  </a:lnTo>
                  <a:lnTo>
                    <a:pt x="46" y="403"/>
                  </a:lnTo>
                  <a:lnTo>
                    <a:pt x="40" y="399"/>
                  </a:lnTo>
                  <a:lnTo>
                    <a:pt x="32" y="399"/>
                  </a:lnTo>
                  <a:lnTo>
                    <a:pt x="23" y="401"/>
                  </a:lnTo>
                  <a:lnTo>
                    <a:pt x="15" y="404"/>
                  </a:lnTo>
                  <a:lnTo>
                    <a:pt x="9" y="410"/>
                  </a:lnTo>
                  <a:lnTo>
                    <a:pt x="5" y="414"/>
                  </a:lnTo>
                  <a:lnTo>
                    <a:pt x="5" y="410"/>
                  </a:lnTo>
                  <a:lnTo>
                    <a:pt x="5" y="406"/>
                  </a:lnTo>
                  <a:lnTo>
                    <a:pt x="5" y="401"/>
                  </a:lnTo>
                  <a:lnTo>
                    <a:pt x="2" y="397"/>
                  </a:lnTo>
                  <a:lnTo>
                    <a:pt x="0" y="393"/>
                  </a:lnTo>
                  <a:lnTo>
                    <a:pt x="0" y="389"/>
                  </a:lnTo>
                  <a:lnTo>
                    <a:pt x="0" y="385"/>
                  </a:lnTo>
                  <a:lnTo>
                    <a:pt x="0" y="381"/>
                  </a:lnTo>
                  <a:lnTo>
                    <a:pt x="0" y="380"/>
                  </a:lnTo>
                  <a:lnTo>
                    <a:pt x="3" y="376"/>
                  </a:lnTo>
                  <a:lnTo>
                    <a:pt x="5" y="372"/>
                  </a:lnTo>
                  <a:lnTo>
                    <a:pt x="5" y="374"/>
                  </a:lnTo>
                  <a:lnTo>
                    <a:pt x="9" y="372"/>
                  </a:lnTo>
                  <a:lnTo>
                    <a:pt x="13" y="370"/>
                  </a:lnTo>
                  <a:lnTo>
                    <a:pt x="15" y="366"/>
                  </a:lnTo>
                  <a:lnTo>
                    <a:pt x="15" y="362"/>
                  </a:lnTo>
                  <a:lnTo>
                    <a:pt x="17" y="358"/>
                  </a:lnTo>
                  <a:lnTo>
                    <a:pt x="21" y="355"/>
                  </a:lnTo>
                  <a:lnTo>
                    <a:pt x="25" y="351"/>
                  </a:lnTo>
                  <a:lnTo>
                    <a:pt x="30" y="351"/>
                  </a:lnTo>
                  <a:lnTo>
                    <a:pt x="32" y="345"/>
                  </a:lnTo>
                  <a:lnTo>
                    <a:pt x="38" y="345"/>
                  </a:lnTo>
                  <a:lnTo>
                    <a:pt x="40" y="339"/>
                  </a:lnTo>
                  <a:lnTo>
                    <a:pt x="40" y="333"/>
                  </a:lnTo>
                  <a:lnTo>
                    <a:pt x="42" y="330"/>
                  </a:lnTo>
                  <a:lnTo>
                    <a:pt x="46" y="326"/>
                  </a:lnTo>
                  <a:lnTo>
                    <a:pt x="48" y="322"/>
                  </a:lnTo>
                  <a:lnTo>
                    <a:pt x="53" y="318"/>
                  </a:lnTo>
                  <a:lnTo>
                    <a:pt x="57" y="314"/>
                  </a:lnTo>
                  <a:lnTo>
                    <a:pt x="59" y="312"/>
                  </a:lnTo>
                  <a:lnTo>
                    <a:pt x="65" y="310"/>
                  </a:lnTo>
                  <a:lnTo>
                    <a:pt x="71" y="310"/>
                  </a:lnTo>
                  <a:lnTo>
                    <a:pt x="74" y="310"/>
                  </a:lnTo>
                  <a:lnTo>
                    <a:pt x="78" y="312"/>
                  </a:lnTo>
                  <a:lnTo>
                    <a:pt x="80" y="310"/>
                  </a:lnTo>
                  <a:lnTo>
                    <a:pt x="84" y="307"/>
                  </a:lnTo>
                  <a:lnTo>
                    <a:pt x="92" y="307"/>
                  </a:lnTo>
                  <a:lnTo>
                    <a:pt x="98" y="307"/>
                  </a:lnTo>
                  <a:lnTo>
                    <a:pt x="103" y="310"/>
                  </a:lnTo>
                  <a:lnTo>
                    <a:pt x="107" y="310"/>
                  </a:lnTo>
                  <a:lnTo>
                    <a:pt x="113" y="307"/>
                  </a:lnTo>
                  <a:lnTo>
                    <a:pt x="119" y="305"/>
                  </a:lnTo>
                  <a:lnTo>
                    <a:pt x="124" y="301"/>
                  </a:lnTo>
                  <a:lnTo>
                    <a:pt x="128" y="297"/>
                  </a:lnTo>
                  <a:lnTo>
                    <a:pt x="134" y="293"/>
                  </a:lnTo>
                  <a:lnTo>
                    <a:pt x="138" y="289"/>
                  </a:lnTo>
                  <a:lnTo>
                    <a:pt x="144" y="291"/>
                  </a:lnTo>
                  <a:lnTo>
                    <a:pt x="151" y="289"/>
                  </a:lnTo>
                  <a:lnTo>
                    <a:pt x="155" y="287"/>
                  </a:lnTo>
                  <a:lnTo>
                    <a:pt x="159" y="287"/>
                  </a:lnTo>
                  <a:lnTo>
                    <a:pt x="163" y="289"/>
                  </a:lnTo>
                  <a:lnTo>
                    <a:pt x="167" y="291"/>
                  </a:lnTo>
                  <a:lnTo>
                    <a:pt x="172" y="291"/>
                  </a:lnTo>
                  <a:lnTo>
                    <a:pt x="178" y="287"/>
                  </a:lnTo>
                  <a:lnTo>
                    <a:pt x="182" y="287"/>
                  </a:lnTo>
                  <a:lnTo>
                    <a:pt x="188" y="289"/>
                  </a:lnTo>
                  <a:lnTo>
                    <a:pt x="192" y="291"/>
                  </a:lnTo>
                  <a:lnTo>
                    <a:pt x="197" y="293"/>
                  </a:lnTo>
                  <a:lnTo>
                    <a:pt x="201" y="295"/>
                  </a:lnTo>
                  <a:lnTo>
                    <a:pt x="207" y="295"/>
                  </a:lnTo>
                  <a:lnTo>
                    <a:pt x="213" y="293"/>
                  </a:lnTo>
                  <a:lnTo>
                    <a:pt x="218" y="291"/>
                  </a:lnTo>
                  <a:lnTo>
                    <a:pt x="224" y="289"/>
                  </a:lnTo>
                  <a:lnTo>
                    <a:pt x="228" y="286"/>
                  </a:lnTo>
                  <a:lnTo>
                    <a:pt x="230" y="278"/>
                  </a:lnTo>
                  <a:lnTo>
                    <a:pt x="230" y="268"/>
                  </a:lnTo>
                  <a:lnTo>
                    <a:pt x="232" y="262"/>
                  </a:lnTo>
                  <a:lnTo>
                    <a:pt x="230" y="257"/>
                  </a:lnTo>
                  <a:lnTo>
                    <a:pt x="234" y="251"/>
                  </a:lnTo>
                  <a:lnTo>
                    <a:pt x="234" y="243"/>
                  </a:lnTo>
                  <a:lnTo>
                    <a:pt x="230" y="236"/>
                  </a:lnTo>
                  <a:lnTo>
                    <a:pt x="236" y="228"/>
                  </a:lnTo>
                  <a:lnTo>
                    <a:pt x="240" y="224"/>
                  </a:lnTo>
                  <a:lnTo>
                    <a:pt x="247" y="218"/>
                  </a:lnTo>
                  <a:lnTo>
                    <a:pt x="253" y="215"/>
                  </a:lnTo>
                  <a:lnTo>
                    <a:pt x="255" y="209"/>
                  </a:lnTo>
                  <a:lnTo>
                    <a:pt x="249" y="205"/>
                  </a:lnTo>
                  <a:lnTo>
                    <a:pt x="251" y="197"/>
                  </a:lnTo>
                  <a:lnTo>
                    <a:pt x="257" y="195"/>
                  </a:lnTo>
                  <a:lnTo>
                    <a:pt x="259" y="190"/>
                  </a:lnTo>
                  <a:lnTo>
                    <a:pt x="261" y="182"/>
                  </a:lnTo>
                  <a:lnTo>
                    <a:pt x="257" y="172"/>
                  </a:lnTo>
                  <a:lnTo>
                    <a:pt x="253" y="165"/>
                  </a:lnTo>
                  <a:lnTo>
                    <a:pt x="253" y="151"/>
                  </a:lnTo>
                  <a:lnTo>
                    <a:pt x="251" y="144"/>
                  </a:lnTo>
                  <a:lnTo>
                    <a:pt x="251" y="132"/>
                  </a:lnTo>
                  <a:lnTo>
                    <a:pt x="253" y="122"/>
                  </a:lnTo>
                  <a:lnTo>
                    <a:pt x="257" y="115"/>
                  </a:lnTo>
                  <a:lnTo>
                    <a:pt x="261" y="105"/>
                  </a:lnTo>
                  <a:lnTo>
                    <a:pt x="261" y="94"/>
                  </a:lnTo>
                  <a:lnTo>
                    <a:pt x="263" y="86"/>
                  </a:lnTo>
                  <a:lnTo>
                    <a:pt x="266" y="80"/>
                  </a:lnTo>
                  <a:lnTo>
                    <a:pt x="272" y="74"/>
                  </a:lnTo>
                  <a:lnTo>
                    <a:pt x="284" y="73"/>
                  </a:lnTo>
                  <a:lnTo>
                    <a:pt x="293" y="71"/>
                  </a:lnTo>
                  <a:lnTo>
                    <a:pt x="297" y="67"/>
                  </a:lnTo>
                  <a:lnTo>
                    <a:pt x="299" y="57"/>
                  </a:lnTo>
                  <a:lnTo>
                    <a:pt x="307" y="48"/>
                  </a:lnTo>
                  <a:lnTo>
                    <a:pt x="311" y="44"/>
                  </a:lnTo>
                  <a:lnTo>
                    <a:pt x="318" y="42"/>
                  </a:lnTo>
                  <a:lnTo>
                    <a:pt x="322" y="40"/>
                  </a:lnTo>
                  <a:lnTo>
                    <a:pt x="332" y="40"/>
                  </a:lnTo>
                  <a:lnTo>
                    <a:pt x="337" y="48"/>
                  </a:lnTo>
                  <a:lnTo>
                    <a:pt x="341" y="55"/>
                  </a:lnTo>
                  <a:lnTo>
                    <a:pt x="353" y="57"/>
                  </a:lnTo>
                  <a:lnTo>
                    <a:pt x="362" y="53"/>
                  </a:lnTo>
                  <a:lnTo>
                    <a:pt x="368" y="50"/>
                  </a:lnTo>
                  <a:lnTo>
                    <a:pt x="374" y="46"/>
                  </a:lnTo>
                  <a:lnTo>
                    <a:pt x="387" y="40"/>
                  </a:lnTo>
                  <a:lnTo>
                    <a:pt x="397" y="38"/>
                  </a:lnTo>
                  <a:lnTo>
                    <a:pt x="405" y="30"/>
                  </a:lnTo>
                  <a:lnTo>
                    <a:pt x="414" y="27"/>
                  </a:lnTo>
                  <a:lnTo>
                    <a:pt x="424" y="25"/>
                  </a:lnTo>
                  <a:lnTo>
                    <a:pt x="431" y="15"/>
                  </a:lnTo>
                  <a:lnTo>
                    <a:pt x="441" y="11"/>
                  </a:lnTo>
                  <a:lnTo>
                    <a:pt x="453" y="7"/>
                  </a:lnTo>
                  <a:lnTo>
                    <a:pt x="464" y="4"/>
                  </a:lnTo>
                  <a:lnTo>
                    <a:pt x="470" y="2"/>
                  </a:lnTo>
                  <a:lnTo>
                    <a:pt x="477" y="2"/>
                  </a:lnTo>
                  <a:lnTo>
                    <a:pt x="485" y="2"/>
                  </a:lnTo>
                  <a:lnTo>
                    <a:pt x="489" y="0"/>
                  </a:lnTo>
                  <a:lnTo>
                    <a:pt x="497" y="4"/>
                  </a:lnTo>
                  <a:lnTo>
                    <a:pt x="500" y="9"/>
                  </a:lnTo>
                  <a:lnTo>
                    <a:pt x="495" y="11"/>
                  </a:lnTo>
                  <a:lnTo>
                    <a:pt x="497" y="17"/>
                  </a:lnTo>
                  <a:lnTo>
                    <a:pt x="499" y="25"/>
                  </a:lnTo>
                  <a:lnTo>
                    <a:pt x="502" y="30"/>
                  </a:lnTo>
                  <a:lnTo>
                    <a:pt x="510" y="30"/>
                  </a:lnTo>
                  <a:lnTo>
                    <a:pt x="518" y="27"/>
                  </a:lnTo>
                  <a:lnTo>
                    <a:pt x="525" y="28"/>
                  </a:lnTo>
                  <a:lnTo>
                    <a:pt x="535" y="30"/>
                  </a:lnTo>
                  <a:lnTo>
                    <a:pt x="543" y="34"/>
                  </a:lnTo>
                  <a:lnTo>
                    <a:pt x="548" y="32"/>
                  </a:lnTo>
                  <a:lnTo>
                    <a:pt x="548" y="38"/>
                  </a:lnTo>
                  <a:lnTo>
                    <a:pt x="556" y="40"/>
                  </a:lnTo>
                  <a:lnTo>
                    <a:pt x="562" y="40"/>
                  </a:lnTo>
                  <a:lnTo>
                    <a:pt x="568" y="48"/>
                  </a:lnTo>
                  <a:lnTo>
                    <a:pt x="575" y="53"/>
                  </a:lnTo>
                  <a:lnTo>
                    <a:pt x="579" y="61"/>
                  </a:lnTo>
                  <a:lnTo>
                    <a:pt x="585" y="63"/>
                  </a:lnTo>
                  <a:lnTo>
                    <a:pt x="591" y="71"/>
                  </a:lnTo>
                  <a:lnTo>
                    <a:pt x="598" y="73"/>
                  </a:lnTo>
                  <a:lnTo>
                    <a:pt x="606" y="74"/>
                  </a:lnTo>
                  <a:lnTo>
                    <a:pt x="614" y="73"/>
                  </a:lnTo>
                  <a:lnTo>
                    <a:pt x="621" y="71"/>
                  </a:lnTo>
                  <a:lnTo>
                    <a:pt x="627" y="69"/>
                  </a:lnTo>
                  <a:lnTo>
                    <a:pt x="633" y="73"/>
                  </a:lnTo>
                  <a:lnTo>
                    <a:pt x="639" y="78"/>
                  </a:lnTo>
                  <a:lnTo>
                    <a:pt x="644" y="80"/>
                  </a:lnTo>
                  <a:lnTo>
                    <a:pt x="650" y="88"/>
                  </a:lnTo>
                  <a:lnTo>
                    <a:pt x="654" y="98"/>
                  </a:lnTo>
                  <a:lnTo>
                    <a:pt x="658" y="105"/>
                  </a:lnTo>
                  <a:lnTo>
                    <a:pt x="666" y="111"/>
                  </a:lnTo>
                  <a:lnTo>
                    <a:pt x="673" y="113"/>
                  </a:lnTo>
                  <a:lnTo>
                    <a:pt x="685" y="109"/>
                  </a:lnTo>
                  <a:lnTo>
                    <a:pt x="696" y="109"/>
                  </a:lnTo>
                  <a:lnTo>
                    <a:pt x="702" y="113"/>
                  </a:lnTo>
                  <a:lnTo>
                    <a:pt x="710" y="121"/>
                  </a:lnTo>
                  <a:lnTo>
                    <a:pt x="723" y="121"/>
                  </a:lnTo>
                  <a:lnTo>
                    <a:pt x="731" y="117"/>
                  </a:lnTo>
                  <a:lnTo>
                    <a:pt x="737" y="117"/>
                  </a:lnTo>
                  <a:lnTo>
                    <a:pt x="744" y="121"/>
                  </a:lnTo>
                  <a:lnTo>
                    <a:pt x="748" y="124"/>
                  </a:lnTo>
                  <a:lnTo>
                    <a:pt x="754" y="132"/>
                  </a:lnTo>
                  <a:lnTo>
                    <a:pt x="760" y="140"/>
                  </a:lnTo>
                  <a:lnTo>
                    <a:pt x="758" y="149"/>
                  </a:lnTo>
                  <a:lnTo>
                    <a:pt x="758" y="157"/>
                  </a:lnTo>
                  <a:lnTo>
                    <a:pt x="758" y="165"/>
                  </a:lnTo>
                  <a:lnTo>
                    <a:pt x="756" y="174"/>
                  </a:lnTo>
                  <a:lnTo>
                    <a:pt x="752" y="186"/>
                  </a:lnTo>
                  <a:lnTo>
                    <a:pt x="752" y="192"/>
                  </a:lnTo>
                  <a:lnTo>
                    <a:pt x="752" y="201"/>
                  </a:lnTo>
                  <a:lnTo>
                    <a:pt x="752" y="211"/>
                  </a:lnTo>
                  <a:lnTo>
                    <a:pt x="746" y="218"/>
                  </a:lnTo>
                  <a:lnTo>
                    <a:pt x="737" y="220"/>
                  </a:lnTo>
                  <a:lnTo>
                    <a:pt x="733" y="226"/>
                  </a:lnTo>
                  <a:lnTo>
                    <a:pt x="737" y="238"/>
                  </a:lnTo>
                  <a:lnTo>
                    <a:pt x="738" y="247"/>
                  </a:lnTo>
                  <a:lnTo>
                    <a:pt x="742" y="255"/>
                  </a:lnTo>
                  <a:lnTo>
                    <a:pt x="738" y="261"/>
                  </a:lnTo>
                  <a:lnTo>
                    <a:pt x="735" y="266"/>
                  </a:lnTo>
                  <a:lnTo>
                    <a:pt x="729" y="270"/>
                  </a:lnTo>
                  <a:lnTo>
                    <a:pt x="723" y="270"/>
                  </a:lnTo>
                  <a:lnTo>
                    <a:pt x="712" y="270"/>
                  </a:lnTo>
                  <a:lnTo>
                    <a:pt x="700" y="274"/>
                  </a:lnTo>
                  <a:lnTo>
                    <a:pt x="690" y="276"/>
                  </a:lnTo>
                  <a:lnTo>
                    <a:pt x="681" y="282"/>
                  </a:lnTo>
                  <a:lnTo>
                    <a:pt x="683" y="291"/>
                  </a:lnTo>
                  <a:lnTo>
                    <a:pt x="679" y="297"/>
                  </a:lnTo>
                  <a:lnTo>
                    <a:pt x="677" y="307"/>
                  </a:lnTo>
                  <a:lnTo>
                    <a:pt x="677" y="316"/>
                  </a:lnTo>
                  <a:lnTo>
                    <a:pt x="675" y="322"/>
                  </a:lnTo>
                  <a:lnTo>
                    <a:pt x="677" y="333"/>
                  </a:lnTo>
                  <a:lnTo>
                    <a:pt x="677" y="345"/>
                  </a:lnTo>
                  <a:lnTo>
                    <a:pt x="673" y="355"/>
                  </a:lnTo>
                  <a:lnTo>
                    <a:pt x="673" y="360"/>
                  </a:lnTo>
                  <a:lnTo>
                    <a:pt x="671" y="368"/>
                  </a:lnTo>
                  <a:lnTo>
                    <a:pt x="671" y="376"/>
                  </a:lnTo>
                  <a:lnTo>
                    <a:pt x="671" y="381"/>
                  </a:lnTo>
                  <a:lnTo>
                    <a:pt x="667" y="389"/>
                  </a:lnTo>
                  <a:lnTo>
                    <a:pt x="662" y="393"/>
                  </a:lnTo>
                  <a:lnTo>
                    <a:pt x="658" y="401"/>
                  </a:lnTo>
                  <a:lnTo>
                    <a:pt x="658" y="408"/>
                  </a:lnTo>
                  <a:lnTo>
                    <a:pt x="658" y="414"/>
                  </a:lnTo>
                  <a:lnTo>
                    <a:pt x="650" y="424"/>
                  </a:lnTo>
                  <a:lnTo>
                    <a:pt x="644" y="431"/>
                  </a:lnTo>
                  <a:lnTo>
                    <a:pt x="631" y="435"/>
                  </a:lnTo>
                  <a:lnTo>
                    <a:pt x="621" y="441"/>
                  </a:lnTo>
                  <a:lnTo>
                    <a:pt x="614" y="451"/>
                  </a:lnTo>
                  <a:lnTo>
                    <a:pt x="612" y="460"/>
                  </a:lnTo>
                  <a:lnTo>
                    <a:pt x="610" y="470"/>
                  </a:lnTo>
                  <a:lnTo>
                    <a:pt x="604" y="477"/>
                  </a:lnTo>
                  <a:lnTo>
                    <a:pt x="598" y="487"/>
                  </a:lnTo>
                  <a:lnTo>
                    <a:pt x="593" y="493"/>
                  </a:lnTo>
                  <a:lnTo>
                    <a:pt x="589" y="500"/>
                  </a:lnTo>
                  <a:lnTo>
                    <a:pt x="585" y="510"/>
                  </a:lnTo>
                  <a:lnTo>
                    <a:pt x="581" y="520"/>
                  </a:lnTo>
                  <a:lnTo>
                    <a:pt x="575" y="527"/>
                  </a:lnTo>
                  <a:lnTo>
                    <a:pt x="568" y="535"/>
                  </a:lnTo>
                  <a:lnTo>
                    <a:pt x="564" y="539"/>
                  </a:lnTo>
                  <a:lnTo>
                    <a:pt x="554" y="545"/>
                  </a:lnTo>
                  <a:lnTo>
                    <a:pt x="543" y="552"/>
                  </a:lnTo>
                  <a:lnTo>
                    <a:pt x="537" y="554"/>
                  </a:lnTo>
                  <a:lnTo>
                    <a:pt x="522" y="556"/>
                  </a:lnTo>
                  <a:lnTo>
                    <a:pt x="512" y="558"/>
                  </a:lnTo>
                  <a:lnTo>
                    <a:pt x="500" y="558"/>
                  </a:lnTo>
                  <a:lnTo>
                    <a:pt x="483" y="560"/>
                  </a:lnTo>
                  <a:lnTo>
                    <a:pt x="479" y="560"/>
                  </a:lnTo>
                  <a:lnTo>
                    <a:pt x="472" y="564"/>
                  </a:lnTo>
                  <a:lnTo>
                    <a:pt x="458" y="566"/>
                  </a:lnTo>
                  <a:lnTo>
                    <a:pt x="447" y="569"/>
                  </a:lnTo>
                  <a:lnTo>
                    <a:pt x="441" y="571"/>
                  </a:lnTo>
                  <a:lnTo>
                    <a:pt x="433" y="575"/>
                  </a:lnTo>
                  <a:lnTo>
                    <a:pt x="418" y="58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/>
            </a:p>
          </p:txBody>
        </p:sp>
      </p:grpSp>
      <p:grpSp>
        <p:nvGrpSpPr>
          <p:cNvPr id="13" name="Agrupar 12">
            <a:extLst>
              <a:ext uri="{FF2B5EF4-FFF2-40B4-BE49-F238E27FC236}">
                <a16:creationId xmlns:a16="http://schemas.microsoft.com/office/drawing/2014/main" id="{405FBC6C-2707-4805-9C2B-190C0743B428}"/>
              </a:ext>
            </a:extLst>
          </p:cNvPr>
          <p:cNvGrpSpPr/>
          <p:nvPr/>
        </p:nvGrpSpPr>
        <p:grpSpPr>
          <a:xfrm>
            <a:off x="3413966" y="393812"/>
            <a:ext cx="3872495" cy="2636135"/>
            <a:chOff x="3413966" y="393812"/>
            <a:chExt cx="3872495" cy="2636135"/>
          </a:xfrm>
          <a:solidFill>
            <a:srgbClr val="D6D6CE"/>
          </a:solidFill>
        </p:grpSpPr>
        <p:sp>
          <p:nvSpPr>
            <p:cNvPr id="126" name="Freeform 11"/>
            <p:cNvSpPr>
              <a:spLocks/>
            </p:cNvSpPr>
            <p:nvPr/>
          </p:nvSpPr>
          <p:spPr bwMode="auto">
            <a:xfrm>
              <a:off x="6607001" y="1823690"/>
              <a:ext cx="679460" cy="1150353"/>
            </a:xfrm>
            <a:custGeom>
              <a:avLst/>
              <a:gdLst>
                <a:gd name="T0" fmla="*/ 15 w 347"/>
                <a:gd name="T1" fmla="*/ 528 h 589"/>
                <a:gd name="T2" fmla="*/ 34 w 347"/>
                <a:gd name="T3" fmla="*/ 524 h 589"/>
                <a:gd name="T4" fmla="*/ 36 w 347"/>
                <a:gd name="T5" fmla="*/ 549 h 589"/>
                <a:gd name="T6" fmla="*/ 53 w 347"/>
                <a:gd name="T7" fmla="*/ 564 h 589"/>
                <a:gd name="T8" fmla="*/ 82 w 347"/>
                <a:gd name="T9" fmla="*/ 576 h 589"/>
                <a:gd name="T10" fmla="*/ 103 w 347"/>
                <a:gd name="T11" fmla="*/ 566 h 589"/>
                <a:gd name="T12" fmla="*/ 126 w 347"/>
                <a:gd name="T13" fmla="*/ 553 h 589"/>
                <a:gd name="T14" fmla="*/ 147 w 347"/>
                <a:gd name="T15" fmla="*/ 566 h 589"/>
                <a:gd name="T16" fmla="*/ 166 w 347"/>
                <a:gd name="T17" fmla="*/ 582 h 589"/>
                <a:gd name="T18" fmla="*/ 182 w 347"/>
                <a:gd name="T19" fmla="*/ 578 h 589"/>
                <a:gd name="T20" fmla="*/ 201 w 347"/>
                <a:gd name="T21" fmla="*/ 587 h 589"/>
                <a:gd name="T22" fmla="*/ 213 w 347"/>
                <a:gd name="T23" fmla="*/ 574 h 589"/>
                <a:gd name="T24" fmla="*/ 222 w 347"/>
                <a:gd name="T25" fmla="*/ 562 h 589"/>
                <a:gd name="T26" fmla="*/ 251 w 347"/>
                <a:gd name="T27" fmla="*/ 561 h 589"/>
                <a:gd name="T28" fmla="*/ 272 w 347"/>
                <a:gd name="T29" fmla="*/ 545 h 589"/>
                <a:gd name="T30" fmla="*/ 289 w 347"/>
                <a:gd name="T31" fmla="*/ 545 h 589"/>
                <a:gd name="T32" fmla="*/ 303 w 347"/>
                <a:gd name="T33" fmla="*/ 532 h 589"/>
                <a:gd name="T34" fmla="*/ 299 w 347"/>
                <a:gd name="T35" fmla="*/ 493 h 589"/>
                <a:gd name="T36" fmla="*/ 305 w 347"/>
                <a:gd name="T37" fmla="*/ 467 h 589"/>
                <a:gd name="T38" fmla="*/ 293 w 347"/>
                <a:gd name="T39" fmla="*/ 447 h 589"/>
                <a:gd name="T40" fmla="*/ 291 w 347"/>
                <a:gd name="T41" fmla="*/ 421 h 589"/>
                <a:gd name="T42" fmla="*/ 307 w 347"/>
                <a:gd name="T43" fmla="*/ 403 h 589"/>
                <a:gd name="T44" fmla="*/ 330 w 347"/>
                <a:gd name="T45" fmla="*/ 392 h 589"/>
                <a:gd name="T46" fmla="*/ 341 w 347"/>
                <a:gd name="T47" fmla="*/ 380 h 589"/>
                <a:gd name="T48" fmla="*/ 312 w 347"/>
                <a:gd name="T49" fmla="*/ 380 h 589"/>
                <a:gd name="T50" fmla="*/ 287 w 347"/>
                <a:gd name="T51" fmla="*/ 346 h 589"/>
                <a:gd name="T52" fmla="*/ 278 w 347"/>
                <a:gd name="T53" fmla="*/ 305 h 589"/>
                <a:gd name="T54" fmla="*/ 260 w 347"/>
                <a:gd name="T55" fmla="*/ 271 h 589"/>
                <a:gd name="T56" fmla="*/ 243 w 347"/>
                <a:gd name="T57" fmla="*/ 240 h 589"/>
                <a:gd name="T58" fmla="*/ 241 w 347"/>
                <a:gd name="T59" fmla="*/ 219 h 589"/>
                <a:gd name="T60" fmla="*/ 249 w 347"/>
                <a:gd name="T61" fmla="*/ 198 h 589"/>
                <a:gd name="T62" fmla="*/ 249 w 347"/>
                <a:gd name="T63" fmla="*/ 175 h 589"/>
                <a:gd name="T64" fmla="*/ 222 w 347"/>
                <a:gd name="T65" fmla="*/ 152 h 589"/>
                <a:gd name="T66" fmla="*/ 218 w 347"/>
                <a:gd name="T67" fmla="*/ 129 h 589"/>
                <a:gd name="T68" fmla="*/ 230 w 347"/>
                <a:gd name="T69" fmla="*/ 92 h 589"/>
                <a:gd name="T70" fmla="*/ 236 w 347"/>
                <a:gd name="T71" fmla="*/ 60 h 589"/>
                <a:gd name="T72" fmla="*/ 228 w 347"/>
                <a:gd name="T73" fmla="*/ 23 h 589"/>
                <a:gd name="T74" fmla="*/ 197 w 347"/>
                <a:gd name="T75" fmla="*/ 2 h 589"/>
                <a:gd name="T76" fmla="*/ 151 w 347"/>
                <a:gd name="T77" fmla="*/ 2 h 589"/>
                <a:gd name="T78" fmla="*/ 161 w 347"/>
                <a:gd name="T79" fmla="*/ 31 h 589"/>
                <a:gd name="T80" fmla="*/ 159 w 347"/>
                <a:gd name="T81" fmla="*/ 60 h 589"/>
                <a:gd name="T82" fmla="*/ 153 w 347"/>
                <a:gd name="T83" fmla="*/ 89 h 589"/>
                <a:gd name="T84" fmla="*/ 134 w 347"/>
                <a:gd name="T85" fmla="*/ 106 h 589"/>
                <a:gd name="T86" fmla="*/ 115 w 347"/>
                <a:gd name="T87" fmla="*/ 125 h 589"/>
                <a:gd name="T88" fmla="*/ 99 w 347"/>
                <a:gd name="T89" fmla="*/ 152 h 589"/>
                <a:gd name="T90" fmla="*/ 103 w 347"/>
                <a:gd name="T91" fmla="*/ 192 h 589"/>
                <a:gd name="T92" fmla="*/ 80 w 347"/>
                <a:gd name="T93" fmla="*/ 242 h 589"/>
                <a:gd name="T94" fmla="*/ 53 w 347"/>
                <a:gd name="T95" fmla="*/ 280 h 589"/>
                <a:gd name="T96" fmla="*/ 36 w 347"/>
                <a:gd name="T97" fmla="*/ 317 h 589"/>
                <a:gd name="T98" fmla="*/ 21 w 347"/>
                <a:gd name="T99" fmla="*/ 353 h 589"/>
                <a:gd name="T100" fmla="*/ 3 w 347"/>
                <a:gd name="T101" fmla="*/ 392 h 589"/>
                <a:gd name="T102" fmla="*/ 7 w 347"/>
                <a:gd name="T103" fmla="*/ 428 h 589"/>
                <a:gd name="T104" fmla="*/ 0 w 347"/>
                <a:gd name="T105" fmla="*/ 461 h 589"/>
                <a:gd name="T106" fmla="*/ 3 w 347"/>
                <a:gd name="T107" fmla="*/ 507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47" h="589">
                  <a:moveTo>
                    <a:pt x="0" y="534"/>
                  </a:moveTo>
                  <a:lnTo>
                    <a:pt x="7" y="536"/>
                  </a:lnTo>
                  <a:lnTo>
                    <a:pt x="13" y="534"/>
                  </a:lnTo>
                  <a:lnTo>
                    <a:pt x="15" y="528"/>
                  </a:lnTo>
                  <a:lnTo>
                    <a:pt x="17" y="522"/>
                  </a:lnTo>
                  <a:lnTo>
                    <a:pt x="23" y="518"/>
                  </a:lnTo>
                  <a:lnTo>
                    <a:pt x="30" y="520"/>
                  </a:lnTo>
                  <a:lnTo>
                    <a:pt x="34" y="524"/>
                  </a:lnTo>
                  <a:lnTo>
                    <a:pt x="30" y="530"/>
                  </a:lnTo>
                  <a:lnTo>
                    <a:pt x="30" y="538"/>
                  </a:lnTo>
                  <a:lnTo>
                    <a:pt x="34" y="541"/>
                  </a:lnTo>
                  <a:lnTo>
                    <a:pt x="36" y="549"/>
                  </a:lnTo>
                  <a:lnTo>
                    <a:pt x="34" y="553"/>
                  </a:lnTo>
                  <a:lnTo>
                    <a:pt x="36" y="561"/>
                  </a:lnTo>
                  <a:lnTo>
                    <a:pt x="42" y="566"/>
                  </a:lnTo>
                  <a:lnTo>
                    <a:pt x="53" y="564"/>
                  </a:lnTo>
                  <a:lnTo>
                    <a:pt x="57" y="561"/>
                  </a:lnTo>
                  <a:lnTo>
                    <a:pt x="67" y="562"/>
                  </a:lnTo>
                  <a:lnTo>
                    <a:pt x="72" y="572"/>
                  </a:lnTo>
                  <a:lnTo>
                    <a:pt x="82" y="576"/>
                  </a:lnTo>
                  <a:lnTo>
                    <a:pt x="86" y="576"/>
                  </a:lnTo>
                  <a:lnTo>
                    <a:pt x="94" y="576"/>
                  </a:lnTo>
                  <a:lnTo>
                    <a:pt x="99" y="574"/>
                  </a:lnTo>
                  <a:lnTo>
                    <a:pt x="103" y="566"/>
                  </a:lnTo>
                  <a:lnTo>
                    <a:pt x="107" y="561"/>
                  </a:lnTo>
                  <a:lnTo>
                    <a:pt x="113" y="551"/>
                  </a:lnTo>
                  <a:lnTo>
                    <a:pt x="120" y="549"/>
                  </a:lnTo>
                  <a:lnTo>
                    <a:pt x="126" y="553"/>
                  </a:lnTo>
                  <a:lnTo>
                    <a:pt x="132" y="551"/>
                  </a:lnTo>
                  <a:lnTo>
                    <a:pt x="143" y="553"/>
                  </a:lnTo>
                  <a:lnTo>
                    <a:pt x="147" y="559"/>
                  </a:lnTo>
                  <a:lnTo>
                    <a:pt x="147" y="566"/>
                  </a:lnTo>
                  <a:lnTo>
                    <a:pt x="153" y="572"/>
                  </a:lnTo>
                  <a:lnTo>
                    <a:pt x="155" y="576"/>
                  </a:lnTo>
                  <a:lnTo>
                    <a:pt x="161" y="582"/>
                  </a:lnTo>
                  <a:lnTo>
                    <a:pt x="166" y="582"/>
                  </a:lnTo>
                  <a:lnTo>
                    <a:pt x="168" y="580"/>
                  </a:lnTo>
                  <a:lnTo>
                    <a:pt x="172" y="576"/>
                  </a:lnTo>
                  <a:lnTo>
                    <a:pt x="178" y="574"/>
                  </a:lnTo>
                  <a:lnTo>
                    <a:pt x="182" y="578"/>
                  </a:lnTo>
                  <a:lnTo>
                    <a:pt x="184" y="582"/>
                  </a:lnTo>
                  <a:lnTo>
                    <a:pt x="193" y="584"/>
                  </a:lnTo>
                  <a:lnTo>
                    <a:pt x="197" y="584"/>
                  </a:lnTo>
                  <a:lnTo>
                    <a:pt x="201" y="587"/>
                  </a:lnTo>
                  <a:lnTo>
                    <a:pt x="211" y="589"/>
                  </a:lnTo>
                  <a:lnTo>
                    <a:pt x="214" y="586"/>
                  </a:lnTo>
                  <a:lnTo>
                    <a:pt x="214" y="580"/>
                  </a:lnTo>
                  <a:lnTo>
                    <a:pt x="213" y="574"/>
                  </a:lnTo>
                  <a:lnTo>
                    <a:pt x="209" y="568"/>
                  </a:lnTo>
                  <a:lnTo>
                    <a:pt x="213" y="562"/>
                  </a:lnTo>
                  <a:lnTo>
                    <a:pt x="216" y="561"/>
                  </a:lnTo>
                  <a:lnTo>
                    <a:pt x="222" y="562"/>
                  </a:lnTo>
                  <a:lnTo>
                    <a:pt x="234" y="564"/>
                  </a:lnTo>
                  <a:lnTo>
                    <a:pt x="241" y="568"/>
                  </a:lnTo>
                  <a:lnTo>
                    <a:pt x="249" y="566"/>
                  </a:lnTo>
                  <a:lnTo>
                    <a:pt x="251" y="561"/>
                  </a:lnTo>
                  <a:lnTo>
                    <a:pt x="259" y="559"/>
                  </a:lnTo>
                  <a:lnTo>
                    <a:pt x="264" y="557"/>
                  </a:lnTo>
                  <a:lnTo>
                    <a:pt x="270" y="553"/>
                  </a:lnTo>
                  <a:lnTo>
                    <a:pt x="272" y="545"/>
                  </a:lnTo>
                  <a:lnTo>
                    <a:pt x="274" y="539"/>
                  </a:lnTo>
                  <a:lnTo>
                    <a:pt x="280" y="538"/>
                  </a:lnTo>
                  <a:lnTo>
                    <a:pt x="285" y="541"/>
                  </a:lnTo>
                  <a:lnTo>
                    <a:pt x="289" y="545"/>
                  </a:lnTo>
                  <a:lnTo>
                    <a:pt x="293" y="543"/>
                  </a:lnTo>
                  <a:lnTo>
                    <a:pt x="297" y="541"/>
                  </a:lnTo>
                  <a:lnTo>
                    <a:pt x="301" y="543"/>
                  </a:lnTo>
                  <a:lnTo>
                    <a:pt x="303" y="532"/>
                  </a:lnTo>
                  <a:lnTo>
                    <a:pt x="297" y="524"/>
                  </a:lnTo>
                  <a:lnTo>
                    <a:pt x="295" y="513"/>
                  </a:lnTo>
                  <a:lnTo>
                    <a:pt x="303" y="503"/>
                  </a:lnTo>
                  <a:lnTo>
                    <a:pt x="299" y="493"/>
                  </a:lnTo>
                  <a:lnTo>
                    <a:pt x="297" y="484"/>
                  </a:lnTo>
                  <a:lnTo>
                    <a:pt x="303" y="480"/>
                  </a:lnTo>
                  <a:lnTo>
                    <a:pt x="303" y="474"/>
                  </a:lnTo>
                  <a:lnTo>
                    <a:pt x="305" y="467"/>
                  </a:lnTo>
                  <a:lnTo>
                    <a:pt x="305" y="461"/>
                  </a:lnTo>
                  <a:lnTo>
                    <a:pt x="297" y="459"/>
                  </a:lnTo>
                  <a:lnTo>
                    <a:pt x="293" y="453"/>
                  </a:lnTo>
                  <a:lnTo>
                    <a:pt x="293" y="447"/>
                  </a:lnTo>
                  <a:lnTo>
                    <a:pt x="289" y="442"/>
                  </a:lnTo>
                  <a:lnTo>
                    <a:pt x="291" y="432"/>
                  </a:lnTo>
                  <a:lnTo>
                    <a:pt x="293" y="426"/>
                  </a:lnTo>
                  <a:lnTo>
                    <a:pt x="291" y="421"/>
                  </a:lnTo>
                  <a:lnTo>
                    <a:pt x="297" y="417"/>
                  </a:lnTo>
                  <a:lnTo>
                    <a:pt x="299" y="411"/>
                  </a:lnTo>
                  <a:lnTo>
                    <a:pt x="305" y="407"/>
                  </a:lnTo>
                  <a:lnTo>
                    <a:pt x="307" y="403"/>
                  </a:lnTo>
                  <a:lnTo>
                    <a:pt x="308" y="399"/>
                  </a:lnTo>
                  <a:lnTo>
                    <a:pt x="316" y="398"/>
                  </a:lnTo>
                  <a:lnTo>
                    <a:pt x="320" y="399"/>
                  </a:lnTo>
                  <a:lnTo>
                    <a:pt x="330" y="392"/>
                  </a:lnTo>
                  <a:lnTo>
                    <a:pt x="337" y="388"/>
                  </a:lnTo>
                  <a:lnTo>
                    <a:pt x="341" y="386"/>
                  </a:lnTo>
                  <a:lnTo>
                    <a:pt x="347" y="382"/>
                  </a:lnTo>
                  <a:lnTo>
                    <a:pt x="341" y="380"/>
                  </a:lnTo>
                  <a:lnTo>
                    <a:pt x="333" y="382"/>
                  </a:lnTo>
                  <a:lnTo>
                    <a:pt x="326" y="384"/>
                  </a:lnTo>
                  <a:lnTo>
                    <a:pt x="318" y="380"/>
                  </a:lnTo>
                  <a:lnTo>
                    <a:pt x="312" y="380"/>
                  </a:lnTo>
                  <a:lnTo>
                    <a:pt x="301" y="373"/>
                  </a:lnTo>
                  <a:lnTo>
                    <a:pt x="299" y="365"/>
                  </a:lnTo>
                  <a:lnTo>
                    <a:pt x="291" y="357"/>
                  </a:lnTo>
                  <a:lnTo>
                    <a:pt x="287" y="346"/>
                  </a:lnTo>
                  <a:lnTo>
                    <a:pt x="285" y="336"/>
                  </a:lnTo>
                  <a:lnTo>
                    <a:pt x="284" y="325"/>
                  </a:lnTo>
                  <a:lnTo>
                    <a:pt x="280" y="315"/>
                  </a:lnTo>
                  <a:lnTo>
                    <a:pt x="278" y="305"/>
                  </a:lnTo>
                  <a:lnTo>
                    <a:pt x="274" y="292"/>
                  </a:lnTo>
                  <a:lnTo>
                    <a:pt x="272" y="284"/>
                  </a:lnTo>
                  <a:lnTo>
                    <a:pt x="268" y="277"/>
                  </a:lnTo>
                  <a:lnTo>
                    <a:pt x="260" y="271"/>
                  </a:lnTo>
                  <a:lnTo>
                    <a:pt x="253" y="263"/>
                  </a:lnTo>
                  <a:lnTo>
                    <a:pt x="253" y="254"/>
                  </a:lnTo>
                  <a:lnTo>
                    <a:pt x="251" y="248"/>
                  </a:lnTo>
                  <a:lnTo>
                    <a:pt x="243" y="240"/>
                  </a:lnTo>
                  <a:lnTo>
                    <a:pt x="241" y="234"/>
                  </a:lnTo>
                  <a:lnTo>
                    <a:pt x="249" y="229"/>
                  </a:lnTo>
                  <a:lnTo>
                    <a:pt x="243" y="225"/>
                  </a:lnTo>
                  <a:lnTo>
                    <a:pt x="241" y="219"/>
                  </a:lnTo>
                  <a:lnTo>
                    <a:pt x="249" y="219"/>
                  </a:lnTo>
                  <a:lnTo>
                    <a:pt x="253" y="211"/>
                  </a:lnTo>
                  <a:lnTo>
                    <a:pt x="251" y="204"/>
                  </a:lnTo>
                  <a:lnTo>
                    <a:pt x="249" y="198"/>
                  </a:lnTo>
                  <a:lnTo>
                    <a:pt x="243" y="190"/>
                  </a:lnTo>
                  <a:lnTo>
                    <a:pt x="249" y="186"/>
                  </a:lnTo>
                  <a:lnTo>
                    <a:pt x="251" y="181"/>
                  </a:lnTo>
                  <a:lnTo>
                    <a:pt x="249" y="175"/>
                  </a:lnTo>
                  <a:lnTo>
                    <a:pt x="239" y="169"/>
                  </a:lnTo>
                  <a:lnTo>
                    <a:pt x="232" y="165"/>
                  </a:lnTo>
                  <a:lnTo>
                    <a:pt x="222" y="160"/>
                  </a:lnTo>
                  <a:lnTo>
                    <a:pt x="222" y="152"/>
                  </a:lnTo>
                  <a:lnTo>
                    <a:pt x="218" y="148"/>
                  </a:lnTo>
                  <a:lnTo>
                    <a:pt x="211" y="144"/>
                  </a:lnTo>
                  <a:lnTo>
                    <a:pt x="209" y="135"/>
                  </a:lnTo>
                  <a:lnTo>
                    <a:pt x="218" y="129"/>
                  </a:lnTo>
                  <a:lnTo>
                    <a:pt x="224" y="121"/>
                  </a:lnTo>
                  <a:lnTo>
                    <a:pt x="228" y="110"/>
                  </a:lnTo>
                  <a:lnTo>
                    <a:pt x="228" y="102"/>
                  </a:lnTo>
                  <a:lnTo>
                    <a:pt x="230" y="92"/>
                  </a:lnTo>
                  <a:lnTo>
                    <a:pt x="232" y="85"/>
                  </a:lnTo>
                  <a:lnTo>
                    <a:pt x="236" y="75"/>
                  </a:lnTo>
                  <a:lnTo>
                    <a:pt x="237" y="68"/>
                  </a:lnTo>
                  <a:lnTo>
                    <a:pt x="236" y="60"/>
                  </a:lnTo>
                  <a:lnTo>
                    <a:pt x="232" y="54"/>
                  </a:lnTo>
                  <a:lnTo>
                    <a:pt x="232" y="45"/>
                  </a:lnTo>
                  <a:lnTo>
                    <a:pt x="230" y="35"/>
                  </a:lnTo>
                  <a:lnTo>
                    <a:pt x="228" y="23"/>
                  </a:lnTo>
                  <a:lnTo>
                    <a:pt x="222" y="16"/>
                  </a:lnTo>
                  <a:lnTo>
                    <a:pt x="213" y="12"/>
                  </a:lnTo>
                  <a:lnTo>
                    <a:pt x="203" y="8"/>
                  </a:lnTo>
                  <a:lnTo>
                    <a:pt x="197" y="2"/>
                  </a:lnTo>
                  <a:lnTo>
                    <a:pt x="186" y="2"/>
                  </a:lnTo>
                  <a:lnTo>
                    <a:pt x="176" y="0"/>
                  </a:lnTo>
                  <a:lnTo>
                    <a:pt x="163" y="0"/>
                  </a:lnTo>
                  <a:lnTo>
                    <a:pt x="151" y="2"/>
                  </a:lnTo>
                  <a:lnTo>
                    <a:pt x="142" y="10"/>
                  </a:lnTo>
                  <a:lnTo>
                    <a:pt x="149" y="14"/>
                  </a:lnTo>
                  <a:lnTo>
                    <a:pt x="155" y="20"/>
                  </a:lnTo>
                  <a:lnTo>
                    <a:pt x="161" y="31"/>
                  </a:lnTo>
                  <a:lnTo>
                    <a:pt x="161" y="43"/>
                  </a:lnTo>
                  <a:lnTo>
                    <a:pt x="155" y="48"/>
                  </a:lnTo>
                  <a:lnTo>
                    <a:pt x="159" y="54"/>
                  </a:lnTo>
                  <a:lnTo>
                    <a:pt x="159" y="60"/>
                  </a:lnTo>
                  <a:lnTo>
                    <a:pt x="155" y="68"/>
                  </a:lnTo>
                  <a:lnTo>
                    <a:pt x="157" y="73"/>
                  </a:lnTo>
                  <a:lnTo>
                    <a:pt x="159" y="79"/>
                  </a:lnTo>
                  <a:lnTo>
                    <a:pt x="153" y="89"/>
                  </a:lnTo>
                  <a:lnTo>
                    <a:pt x="147" y="89"/>
                  </a:lnTo>
                  <a:lnTo>
                    <a:pt x="142" y="92"/>
                  </a:lnTo>
                  <a:lnTo>
                    <a:pt x="140" y="96"/>
                  </a:lnTo>
                  <a:lnTo>
                    <a:pt x="134" y="106"/>
                  </a:lnTo>
                  <a:lnTo>
                    <a:pt x="126" y="106"/>
                  </a:lnTo>
                  <a:lnTo>
                    <a:pt x="124" y="115"/>
                  </a:lnTo>
                  <a:lnTo>
                    <a:pt x="120" y="119"/>
                  </a:lnTo>
                  <a:lnTo>
                    <a:pt x="115" y="125"/>
                  </a:lnTo>
                  <a:lnTo>
                    <a:pt x="111" y="127"/>
                  </a:lnTo>
                  <a:lnTo>
                    <a:pt x="109" y="133"/>
                  </a:lnTo>
                  <a:lnTo>
                    <a:pt x="107" y="139"/>
                  </a:lnTo>
                  <a:lnTo>
                    <a:pt x="99" y="152"/>
                  </a:lnTo>
                  <a:lnTo>
                    <a:pt x="95" y="160"/>
                  </a:lnTo>
                  <a:lnTo>
                    <a:pt x="95" y="169"/>
                  </a:lnTo>
                  <a:lnTo>
                    <a:pt x="95" y="177"/>
                  </a:lnTo>
                  <a:lnTo>
                    <a:pt x="103" y="192"/>
                  </a:lnTo>
                  <a:lnTo>
                    <a:pt x="99" y="202"/>
                  </a:lnTo>
                  <a:lnTo>
                    <a:pt x="92" y="215"/>
                  </a:lnTo>
                  <a:lnTo>
                    <a:pt x="86" y="227"/>
                  </a:lnTo>
                  <a:lnTo>
                    <a:pt x="80" y="242"/>
                  </a:lnTo>
                  <a:lnTo>
                    <a:pt x="74" y="250"/>
                  </a:lnTo>
                  <a:lnTo>
                    <a:pt x="71" y="259"/>
                  </a:lnTo>
                  <a:lnTo>
                    <a:pt x="61" y="271"/>
                  </a:lnTo>
                  <a:lnTo>
                    <a:pt x="53" y="280"/>
                  </a:lnTo>
                  <a:lnTo>
                    <a:pt x="49" y="288"/>
                  </a:lnTo>
                  <a:lnTo>
                    <a:pt x="47" y="298"/>
                  </a:lnTo>
                  <a:lnTo>
                    <a:pt x="42" y="309"/>
                  </a:lnTo>
                  <a:lnTo>
                    <a:pt x="36" y="317"/>
                  </a:lnTo>
                  <a:lnTo>
                    <a:pt x="28" y="330"/>
                  </a:lnTo>
                  <a:lnTo>
                    <a:pt x="26" y="338"/>
                  </a:lnTo>
                  <a:lnTo>
                    <a:pt x="24" y="344"/>
                  </a:lnTo>
                  <a:lnTo>
                    <a:pt x="21" y="353"/>
                  </a:lnTo>
                  <a:lnTo>
                    <a:pt x="15" y="361"/>
                  </a:lnTo>
                  <a:lnTo>
                    <a:pt x="9" y="371"/>
                  </a:lnTo>
                  <a:lnTo>
                    <a:pt x="7" y="382"/>
                  </a:lnTo>
                  <a:lnTo>
                    <a:pt x="3" y="392"/>
                  </a:lnTo>
                  <a:lnTo>
                    <a:pt x="5" y="403"/>
                  </a:lnTo>
                  <a:lnTo>
                    <a:pt x="0" y="411"/>
                  </a:lnTo>
                  <a:lnTo>
                    <a:pt x="1" y="422"/>
                  </a:lnTo>
                  <a:lnTo>
                    <a:pt x="7" y="428"/>
                  </a:lnTo>
                  <a:lnTo>
                    <a:pt x="7" y="436"/>
                  </a:lnTo>
                  <a:lnTo>
                    <a:pt x="3" y="444"/>
                  </a:lnTo>
                  <a:lnTo>
                    <a:pt x="1" y="451"/>
                  </a:lnTo>
                  <a:lnTo>
                    <a:pt x="0" y="461"/>
                  </a:lnTo>
                  <a:lnTo>
                    <a:pt x="3" y="470"/>
                  </a:lnTo>
                  <a:lnTo>
                    <a:pt x="3" y="482"/>
                  </a:lnTo>
                  <a:lnTo>
                    <a:pt x="1" y="493"/>
                  </a:lnTo>
                  <a:lnTo>
                    <a:pt x="3" y="507"/>
                  </a:lnTo>
                  <a:lnTo>
                    <a:pt x="1" y="516"/>
                  </a:lnTo>
                  <a:lnTo>
                    <a:pt x="0" y="528"/>
                  </a:lnTo>
                  <a:lnTo>
                    <a:pt x="0" y="53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/>
            </a:p>
          </p:txBody>
        </p:sp>
        <p:sp>
          <p:nvSpPr>
            <p:cNvPr id="127" name="Freeform 12"/>
            <p:cNvSpPr>
              <a:spLocks/>
            </p:cNvSpPr>
            <p:nvPr/>
          </p:nvSpPr>
          <p:spPr bwMode="auto">
            <a:xfrm>
              <a:off x="4405204" y="2210724"/>
              <a:ext cx="954685" cy="819223"/>
            </a:xfrm>
            <a:custGeom>
              <a:avLst/>
              <a:gdLst>
                <a:gd name="T0" fmla="*/ 432 w 490"/>
                <a:gd name="T1" fmla="*/ 411 h 420"/>
                <a:gd name="T2" fmla="*/ 445 w 490"/>
                <a:gd name="T3" fmla="*/ 393 h 420"/>
                <a:gd name="T4" fmla="*/ 453 w 490"/>
                <a:gd name="T5" fmla="*/ 376 h 420"/>
                <a:gd name="T6" fmla="*/ 468 w 490"/>
                <a:gd name="T7" fmla="*/ 363 h 420"/>
                <a:gd name="T8" fmla="*/ 484 w 490"/>
                <a:gd name="T9" fmla="*/ 341 h 420"/>
                <a:gd name="T10" fmla="*/ 490 w 490"/>
                <a:gd name="T11" fmla="*/ 320 h 420"/>
                <a:gd name="T12" fmla="*/ 488 w 490"/>
                <a:gd name="T13" fmla="*/ 295 h 420"/>
                <a:gd name="T14" fmla="*/ 486 w 490"/>
                <a:gd name="T15" fmla="*/ 276 h 420"/>
                <a:gd name="T16" fmla="*/ 480 w 490"/>
                <a:gd name="T17" fmla="*/ 246 h 420"/>
                <a:gd name="T18" fmla="*/ 451 w 490"/>
                <a:gd name="T19" fmla="*/ 234 h 420"/>
                <a:gd name="T20" fmla="*/ 432 w 490"/>
                <a:gd name="T21" fmla="*/ 223 h 420"/>
                <a:gd name="T22" fmla="*/ 411 w 490"/>
                <a:gd name="T23" fmla="*/ 213 h 420"/>
                <a:gd name="T24" fmla="*/ 395 w 490"/>
                <a:gd name="T25" fmla="*/ 192 h 420"/>
                <a:gd name="T26" fmla="*/ 390 w 490"/>
                <a:gd name="T27" fmla="*/ 163 h 420"/>
                <a:gd name="T28" fmla="*/ 382 w 490"/>
                <a:gd name="T29" fmla="*/ 138 h 420"/>
                <a:gd name="T30" fmla="*/ 382 w 490"/>
                <a:gd name="T31" fmla="*/ 100 h 420"/>
                <a:gd name="T32" fmla="*/ 380 w 490"/>
                <a:gd name="T33" fmla="*/ 67 h 420"/>
                <a:gd name="T34" fmla="*/ 359 w 490"/>
                <a:gd name="T35" fmla="*/ 50 h 420"/>
                <a:gd name="T36" fmla="*/ 330 w 490"/>
                <a:gd name="T37" fmla="*/ 40 h 420"/>
                <a:gd name="T38" fmla="*/ 311 w 490"/>
                <a:gd name="T39" fmla="*/ 25 h 420"/>
                <a:gd name="T40" fmla="*/ 292 w 490"/>
                <a:gd name="T41" fmla="*/ 8 h 420"/>
                <a:gd name="T42" fmla="*/ 267 w 490"/>
                <a:gd name="T43" fmla="*/ 6 h 420"/>
                <a:gd name="T44" fmla="*/ 234 w 490"/>
                <a:gd name="T45" fmla="*/ 2 h 420"/>
                <a:gd name="T46" fmla="*/ 207 w 490"/>
                <a:gd name="T47" fmla="*/ 8 h 420"/>
                <a:gd name="T48" fmla="*/ 192 w 490"/>
                <a:gd name="T49" fmla="*/ 33 h 420"/>
                <a:gd name="T50" fmla="*/ 171 w 490"/>
                <a:gd name="T51" fmla="*/ 56 h 420"/>
                <a:gd name="T52" fmla="*/ 152 w 490"/>
                <a:gd name="T53" fmla="*/ 73 h 420"/>
                <a:gd name="T54" fmla="*/ 129 w 490"/>
                <a:gd name="T55" fmla="*/ 86 h 420"/>
                <a:gd name="T56" fmla="*/ 106 w 490"/>
                <a:gd name="T57" fmla="*/ 96 h 420"/>
                <a:gd name="T58" fmla="*/ 87 w 490"/>
                <a:gd name="T59" fmla="*/ 104 h 420"/>
                <a:gd name="T60" fmla="*/ 62 w 490"/>
                <a:gd name="T61" fmla="*/ 109 h 420"/>
                <a:gd name="T62" fmla="*/ 31 w 490"/>
                <a:gd name="T63" fmla="*/ 115 h 420"/>
                <a:gd name="T64" fmla="*/ 8 w 490"/>
                <a:gd name="T65" fmla="*/ 130 h 420"/>
                <a:gd name="T66" fmla="*/ 14 w 490"/>
                <a:gd name="T67" fmla="*/ 144 h 420"/>
                <a:gd name="T68" fmla="*/ 33 w 490"/>
                <a:gd name="T69" fmla="*/ 140 h 420"/>
                <a:gd name="T70" fmla="*/ 58 w 490"/>
                <a:gd name="T71" fmla="*/ 138 h 420"/>
                <a:gd name="T72" fmla="*/ 75 w 490"/>
                <a:gd name="T73" fmla="*/ 150 h 420"/>
                <a:gd name="T74" fmla="*/ 90 w 490"/>
                <a:gd name="T75" fmla="*/ 152 h 420"/>
                <a:gd name="T76" fmla="*/ 100 w 490"/>
                <a:gd name="T77" fmla="*/ 175 h 420"/>
                <a:gd name="T78" fmla="*/ 100 w 490"/>
                <a:gd name="T79" fmla="*/ 196 h 420"/>
                <a:gd name="T80" fmla="*/ 96 w 490"/>
                <a:gd name="T81" fmla="*/ 215 h 420"/>
                <a:gd name="T82" fmla="*/ 104 w 490"/>
                <a:gd name="T83" fmla="*/ 234 h 420"/>
                <a:gd name="T84" fmla="*/ 98 w 490"/>
                <a:gd name="T85" fmla="*/ 251 h 420"/>
                <a:gd name="T86" fmla="*/ 104 w 490"/>
                <a:gd name="T87" fmla="*/ 276 h 420"/>
                <a:gd name="T88" fmla="*/ 108 w 490"/>
                <a:gd name="T89" fmla="*/ 297 h 420"/>
                <a:gd name="T90" fmla="*/ 119 w 490"/>
                <a:gd name="T91" fmla="*/ 313 h 420"/>
                <a:gd name="T92" fmla="*/ 142 w 490"/>
                <a:gd name="T93" fmla="*/ 324 h 420"/>
                <a:gd name="T94" fmla="*/ 159 w 490"/>
                <a:gd name="T95" fmla="*/ 336 h 420"/>
                <a:gd name="T96" fmla="*/ 181 w 490"/>
                <a:gd name="T97" fmla="*/ 349 h 420"/>
                <a:gd name="T98" fmla="*/ 202 w 490"/>
                <a:gd name="T99" fmla="*/ 353 h 420"/>
                <a:gd name="T100" fmla="*/ 219 w 490"/>
                <a:gd name="T101" fmla="*/ 349 h 420"/>
                <a:gd name="T102" fmla="*/ 238 w 490"/>
                <a:gd name="T103" fmla="*/ 359 h 420"/>
                <a:gd name="T104" fmla="*/ 259 w 490"/>
                <a:gd name="T105" fmla="*/ 363 h 420"/>
                <a:gd name="T106" fmla="*/ 275 w 490"/>
                <a:gd name="T107" fmla="*/ 380 h 420"/>
                <a:gd name="T108" fmla="*/ 301 w 490"/>
                <a:gd name="T109" fmla="*/ 382 h 420"/>
                <a:gd name="T110" fmla="*/ 324 w 490"/>
                <a:gd name="T111" fmla="*/ 389 h 420"/>
                <a:gd name="T112" fmla="*/ 340 w 490"/>
                <a:gd name="T113" fmla="*/ 403 h 420"/>
                <a:gd name="T114" fmla="*/ 351 w 490"/>
                <a:gd name="T115" fmla="*/ 411 h 420"/>
                <a:gd name="T116" fmla="*/ 365 w 490"/>
                <a:gd name="T117" fmla="*/ 414 h 420"/>
                <a:gd name="T118" fmla="*/ 384 w 490"/>
                <a:gd name="T119" fmla="*/ 411 h 420"/>
                <a:gd name="T120" fmla="*/ 403 w 490"/>
                <a:gd name="T121" fmla="*/ 414 h 420"/>
                <a:gd name="T122" fmla="*/ 419 w 490"/>
                <a:gd name="T123" fmla="*/ 414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90" h="420">
                  <a:moveTo>
                    <a:pt x="426" y="420"/>
                  </a:moveTo>
                  <a:lnTo>
                    <a:pt x="428" y="412"/>
                  </a:lnTo>
                  <a:lnTo>
                    <a:pt x="432" y="411"/>
                  </a:lnTo>
                  <a:lnTo>
                    <a:pt x="438" y="403"/>
                  </a:lnTo>
                  <a:lnTo>
                    <a:pt x="443" y="399"/>
                  </a:lnTo>
                  <a:lnTo>
                    <a:pt x="445" y="393"/>
                  </a:lnTo>
                  <a:lnTo>
                    <a:pt x="445" y="388"/>
                  </a:lnTo>
                  <a:lnTo>
                    <a:pt x="449" y="384"/>
                  </a:lnTo>
                  <a:lnTo>
                    <a:pt x="453" y="376"/>
                  </a:lnTo>
                  <a:lnTo>
                    <a:pt x="455" y="370"/>
                  </a:lnTo>
                  <a:lnTo>
                    <a:pt x="461" y="366"/>
                  </a:lnTo>
                  <a:lnTo>
                    <a:pt x="468" y="363"/>
                  </a:lnTo>
                  <a:lnTo>
                    <a:pt x="476" y="357"/>
                  </a:lnTo>
                  <a:lnTo>
                    <a:pt x="480" y="349"/>
                  </a:lnTo>
                  <a:lnTo>
                    <a:pt x="484" y="341"/>
                  </a:lnTo>
                  <a:lnTo>
                    <a:pt x="484" y="334"/>
                  </a:lnTo>
                  <a:lnTo>
                    <a:pt x="486" y="328"/>
                  </a:lnTo>
                  <a:lnTo>
                    <a:pt x="490" y="320"/>
                  </a:lnTo>
                  <a:lnTo>
                    <a:pt x="490" y="313"/>
                  </a:lnTo>
                  <a:lnTo>
                    <a:pt x="488" y="305"/>
                  </a:lnTo>
                  <a:lnTo>
                    <a:pt x="488" y="295"/>
                  </a:lnTo>
                  <a:lnTo>
                    <a:pt x="488" y="292"/>
                  </a:lnTo>
                  <a:lnTo>
                    <a:pt x="488" y="286"/>
                  </a:lnTo>
                  <a:lnTo>
                    <a:pt x="486" y="276"/>
                  </a:lnTo>
                  <a:lnTo>
                    <a:pt x="482" y="269"/>
                  </a:lnTo>
                  <a:lnTo>
                    <a:pt x="482" y="257"/>
                  </a:lnTo>
                  <a:lnTo>
                    <a:pt x="480" y="246"/>
                  </a:lnTo>
                  <a:lnTo>
                    <a:pt x="472" y="240"/>
                  </a:lnTo>
                  <a:lnTo>
                    <a:pt x="459" y="236"/>
                  </a:lnTo>
                  <a:lnTo>
                    <a:pt x="451" y="234"/>
                  </a:lnTo>
                  <a:lnTo>
                    <a:pt x="445" y="232"/>
                  </a:lnTo>
                  <a:lnTo>
                    <a:pt x="438" y="224"/>
                  </a:lnTo>
                  <a:lnTo>
                    <a:pt x="432" y="223"/>
                  </a:lnTo>
                  <a:lnTo>
                    <a:pt x="424" y="223"/>
                  </a:lnTo>
                  <a:lnTo>
                    <a:pt x="415" y="219"/>
                  </a:lnTo>
                  <a:lnTo>
                    <a:pt x="411" y="213"/>
                  </a:lnTo>
                  <a:lnTo>
                    <a:pt x="405" y="203"/>
                  </a:lnTo>
                  <a:lnTo>
                    <a:pt x="403" y="198"/>
                  </a:lnTo>
                  <a:lnTo>
                    <a:pt x="395" y="192"/>
                  </a:lnTo>
                  <a:lnTo>
                    <a:pt x="392" y="182"/>
                  </a:lnTo>
                  <a:lnTo>
                    <a:pt x="392" y="173"/>
                  </a:lnTo>
                  <a:lnTo>
                    <a:pt x="390" y="163"/>
                  </a:lnTo>
                  <a:lnTo>
                    <a:pt x="388" y="155"/>
                  </a:lnTo>
                  <a:lnTo>
                    <a:pt x="386" y="148"/>
                  </a:lnTo>
                  <a:lnTo>
                    <a:pt x="382" y="138"/>
                  </a:lnTo>
                  <a:lnTo>
                    <a:pt x="382" y="125"/>
                  </a:lnTo>
                  <a:lnTo>
                    <a:pt x="382" y="111"/>
                  </a:lnTo>
                  <a:lnTo>
                    <a:pt x="382" y="100"/>
                  </a:lnTo>
                  <a:lnTo>
                    <a:pt x="382" y="92"/>
                  </a:lnTo>
                  <a:lnTo>
                    <a:pt x="382" y="81"/>
                  </a:lnTo>
                  <a:lnTo>
                    <a:pt x="380" y="67"/>
                  </a:lnTo>
                  <a:lnTo>
                    <a:pt x="376" y="58"/>
                  </a:lnTo>
                  <a:lnTo>
                    <a:pt x="369" y="50"/>
                  </a:lnTo>
                  <a:lnTo>
                    <a:pt x="359" y="50"/>
                  </a:lnTo>
                  <a:lnTo>
                    <a:pt x="353" y="48"/>
                  </a:lnTo>
                  <a:lnTo>
                    <a:pt x="342" y="46"/>
                  </a:lnTo>
                  <a:lnTo>
                    <a:pt x="330" y="40"/>
                  </a:lnTo>
                  <a:lnTo>
                    <a:pt x="324" y="35"/>
                  </a:lnTo>
                  <a:lnTo>
                    <a:pt x="319" y="29"/>
                  </a:lnTo>
                  <a:lnTo>
                    <a:pt x="311" y="25"/>
                  </a:lnTo>
                  <a:lnTo>
                    <a:pt x="303" y="23"/>
                  </a:lnTo>
                  <a:lnTo>
                    <a:pt x="300" y="17"/>
                  </a:lnTo>
                  <a:lnTo>
                    <a:pt x="292" y="8"/>
                  </a:lnTo>
                  <a:lnTo>
                    <a:pt x="282" y="4"/>
                  </a:lnTo>
                  <a:lnTo>
                    <a:pt x="275" y="4"/>
                  </a:lnTo>
                  <a:lnTo>
                    <a:pt x="267" y="6"/>
                  </a:lnTo>
                  <a:lnTo>
                    <a:pt x="255" y="4"/>
                  </a:lnTo>
                  <a:lnTo>
                    <a:pt x="244" y="0"/>
                  </a:lnTo>
                  <a:lnTo>
                    <a:pt x="234" y="2"/>
                  </a:lnTo>
                  <a:lnTo>
                    <a:pt x="223" y="0"/>
                  </a:lnTo>
                  <a:lnTo>
                    <a:pt x="215" y="2"/>
                  </a:lnTo>
                  <a:lnTo>
                    <a:pt x="207" y="8"/>
                  </a:lnTo>
                  <a:lnTo>
                    <a:pt x="200" y="13"/>
                  </a:lnTo>
                  <a:lnTo>
                    <a:pt x="196" y="19"/>
                  </a:lnTo>
                  <a:lnTo>
                    <a:pt x="192" y="33"/>
                  </a:lnTo>
                  <a:lnTo>
                    <a:pt x="186" y="38"/>
                  </a:lnTo>
                  <a:lnTo>
                    <a:pt x="175" y="46"/>
                  </a:lnTo>
                  <a:lnTo>
                    <a:pt x="171" y="56"/>
                  </a:lnTo>
                  <a:lnTo>
                    <a:pt x="167" y="63"/>
                  </a:lnTo>
                  <a:lnTo>
                    <a:pt x="161" y="69"/>
                  </a:lnTo>
                  <a:lnTo>
                    <a:pt x="152" y="73"/>
                  </a:lnTo>
                  <a:lnTo>
                    <a:pt x="142" y="79"/>
                  </a:lnTo>
                  <a:lnTo>
                    <a:pt x="133" y="81"/>
                  </a:lnTo>
                  <a:lnTo>
                    <a:pt x="129" y="86"/>
                  </a:lnTo>
                  <a:lnTo>
                    <a:pt x="121" y="90"/>
                  </a:lnTo>
                  <a:lnTo>
                    <a:pt x="115" y="94"/>
                  </a:lnTo>
                  <a:lnTo>
                    <a:pt x="106" y="96"/>
                  </a:lnTo>
                  <a:lnTo>
                    <a:pt x="104" y="100"/>
                  </a:lnTo>
                  <a:lnTo>
                    <a:pt x="96" y="102"/>
                  </a:lnTo>
                  <a:lnTo>
                    <a:pt x="87" y="104"/>
                  </a:lnTo>
                  <a:lnTo>
                    <a:pt x="79" y="107"/>
                  </a:lnTo>
                  <a:lnTo>
                    <a:pt x="71" y="107"/>
                  </a:lnTo>
                  <a:lnTo>
                    <a:pt x="62" y="109"/>
                  </a:lnTo>
                  <a:lnTo>
                    <a:pt x="48" y="109"/>
                  </a:lnTo>
                  <a:lnTo>
                    <a:pt x="40" y="111"/>
                  </a:lnTo>
                  <a:lnTo>
                    <a:pt x="31" y="115"/>
                  </a:lnTo>
                  <a:lnTo>
                    <a:pt x="21" y="121"/>
                  </a:lnTo>
                  <a:lnTo>
                    <a:pt x="14" y="129"/>
                  </a:lnTo>
                  <a:lnTo>
                    <a:pt x="8" y="130"/>
                  </a:lnTo>
                  <a:lnTo>
                    <a:pt x="0" y="134"/>
                  </a:lnTo>
                  <a:lnTo>
                    <a:pt x="6" y="140"/>
                  </a:lnTo>
                  <a:lnTo>
                    <a:pt x="14" y="144"/>
                  </a:lnTo>
                  <a:lnTo>
                    <a:pt x="21" y="146"/>
                  </a:lnTo>
                  <a:lnTo>
                    <a:pt x="25" y="144"/>
                  </a:lnTo>
                  <a:lnTo>
                    <a:pt x="33" y="140"/>
                  </a:lnTo>
                  <a:lnTo>
                    <a:pt x="42" y="138"/>
                  </a:lnTo>
                  <a:lnTo>
                    <a:pt x="52" y="134"/>
                  </a:lnTo>
                  <a:lnTo>
                    <a:pt x="58" y="138"/>
                  </a:lnTo>
                  <a:lnTo>
                    <a:pt x="64" y="144"/>
                  </a:lnTo>
                  <a:lnTo>
                    <a:pt x="65" y="152"/>
                  </a:lnTo>
                  <a:lnTo>
                    <a:pt x="75" y="150"/>
                  </a:lnTo>
                  <a:lnTo>
                    <a:pt x="79" y="146"/>
                  </a:lnTo>
                  <a:lnTo>
                    <a:pt x="87" y="146"/>
                  </a:lnTo>
                  <a:lnTo>
                    <a:pt x="90" y="152"/>
                  </a:lnTo>
                  <a:lnTo>
                    <a:pt x="94" y="159"/>
                  </a:lnTo>
                  <a:lnTo>
                    <a:pt x="98" y="167"/>
                  </a:lnTo>
                  <a:lnTo>
                    <a:pt x="100" y="175"/>
                  </a:lnTo>
                  <a:lnTo>
                    <a:pt x="100" y="180"/>
                  </a:lnTo>
                  <a:lnTo>
                    <a:pt x="100" y="188"/>
                  </a:lnTo>
                  <a:lnTo>
                    <a:pt x="100" y="196"/>
                  </a:lnTo>
                  <a:lnTo>
                    <a:pt x="96" y="201"/>
                  </a:lnTo>
                  <a:lnTo>
                    <a:pt x="96" y="209"/>
                  </a:lnTo>
                  <a:lnTo>
                    <a:pt x="96" y="215"/>
                  </a:lnTo>
                  <a:lnTo>
                    <a:pt x="100" y="221"/>
                  </a:lnTo>
                  <a:lnTo>
                    <a:pt x="106" y="228"/>
                  </a:lnTo>
                  <a:lnTo>
                    <a:pt x="104" y="234"/>
                  </a:lnTo>
                  <a:lnTo>
                    <a:pt x="102" y="242"/>
                  </a:lnTo>
                  <a:lnTo>
                    <a:pt x="100" y="246"/>
                  </a:lnTo>
                  <a:lnTo>
                    <a:pt x="98" y="251"/>
                  </a:lnTo>
                  <a:lnTo>
                    <a:pt x="100" y="261"/>
                  </a:lnTo>
                  <a:lnTo>
                    <a:pt x="102" y="269"/>
                  </a:lnTo>
                  <a:lnTo>
                    <a:pt x="104" y="276"/>
                  </a:lnTo>
                  <a:lnTo>
                    <a:pt x="102" y="282"/>
                  </a:lnTo>
                  <a:lnTo>
                    <a:pt x="102" y="290"/>
                  </a:lnTo>
                  <a:lnTo>
                    <a:pt x="108" y="297"/>
                  </a:lnTo>
                  <a:lnTo>
                    <a:pt x="115" y="303"/>
                  </a:lnTo>
                  <a:lnTo>
                    <a:pt x="121" y="309"/>
                  </a:lnTo>
                  <a:lnTo>
                    <a:pt x="119" y="313"/>
                  </a:lnTo>
                  <a:lnTo>
                    <a:pt x="129" y="317"/>
                  </a:lnTo>
                  <a:lnTo>
                    <a:pt x="136" y="318"/>
                  </a:lnTo>
                  <a:lnTo>
                    <a:pt x="142" y="324"/>
                  </a:lnTo>
                  <a:lnTo>
                    <a:pt x="146" y="330"/>
                  </a:lnTo>
                  <a:lnTo>
                    <a:pt x="154" y="334"/>
                  </a:lnTo>
                  <a:lnTo>
                    <a:pt x="159" y="336"/>
                  </a:lnTo>
                  <a:lnTo>
                    <a:pt x="163" y="341"/>
                  </a:lnTo>
                  <a:lnTo>
                    <a:pt x="169" y="347"/>
                  </a:lnTo>
                  <a:lnTo>
                    <a:pt x="181" y="349"/>
                  </a:lnTo>
                  <a:lnTo>
                    <a:pt x="186" y="347"/>
                  </a:lnTo>
                  <a:lnTo>
                    <a:pt x="192" y="351"/>
                  </a:lnTo>
                  <a:lnTo>
                    <a:pt x="202" y="353"/>
                  </a:lnTo>
                  <a:lnTo>
                    <a:pt x="209" y="351"/>
                  </a:lnTo>
                  <a:lnTo>
                    <a:pt x="215" y="347"/>
                  </a:lnTo>
                  <a:lnTo>
                    <a:pt x="219" y="349"/>
                  </a:lnTo>
                  <a:lnTo>
                    <a:pt x="225" y="353"/>
                  </a:lnTo>
                  <a:lnTo>
                    <a:pt x="230" y="359"/>
                  </a:lnTo>
                  <a:lnTo>
                    <a:pt x="238" y="359"/>
                  </a:lnTo>
                  <a:lnTo>
                    <a:pt x="248" y="355"/>
                  </a:lnTo>
                  <a:lnTo>
                    <a:pt x="255" y="359"/>
                  </a:lnTo>
                  <a:lnTo>
                    <a:pt x="259" y="363"/>
                  </a:lnTo>
                  <a:lnTo>
                    <a:pt x="265" y="368"/>
                  </a:lnTo>
                  <a:lnTo>
                    <a:pt x="269" y="376"/>
                  </a:lnTo>
                  <a:lnTo>
                    <a:pt x="275" y="380"/>
                  </a:lnTo>
                  <a:lnTo>
                    <a:pt x="282" y="380"/>
                  </a:lnTo>
                  <a:lnTo>
                    <a:pt x="290" y="378"/>
                  </a:lnTo>
                  <a:lnTo>
                    <a:pt x="301" y="382"/>
                  </a:lnTo>
                  <a:lnTo>
                    <a:pt x="309" y="386"/>
                  </a:lnTo>
                  <a:lnTo>
                    <a:pt x="317" y="389"/>
                  </a:lnTo>
                  <a:lnTo>
                    <a:pt x="324" y="389"/>
                  </a:lnTo>
                  <a:lnTo>
                    <a:pt x="330" y="393"/>
                  </a:lnTo>
                  <a:lnTo>
                    <a:pt x="338" y="397"/>
                  </a:lnTo>
                  <a:lnTo>
                    <a:pt x="340" y="403"/>
                  </a:lnTo>
                  <a:lnTo>
                    <a:pt x="344" y="407"/>
                  </a:lnTo>
                  <a:lnTo>
                    <a:pt x="348" y="411"/>
                  </a:lnTo>
                  <a:lnTo>
                    <a:pt x="351" y="411"/>
                  </a:lnTo>
                  <a:lnTo>
                    <a:pt x="355" y="409"/>
                  </a:lnTo>
                  <a:lnTo>
                    <a:pt x="359" y="411"/>
                  </a:lnTo>
                  <a:lnTo>
                    <a:pt x="365" y="414"/>
                  </a:lnTo>
                  <a:lnTo>
                    <a:pt x="372" y="416"/>
                  </a:lnTo>
                  <a:lnTo>
                    <a:pt x="378" y="416"/>
                  </a:lnTo>
                  <a:lnTo>
                    <a:pt x="384" y="411"/>
                  </a:lnTo>
                  <a:lnTo>
                    <a:pt x="392" y="411"/>
                  </a:lnTo>
                  <a:lnTo>
                    <a:pt x="397" y="414"/>
                  </a:lnTo>
                  <a:lnTo>
                    <a:pt x="403" y="414"/>
                  </a:lnTo>
                  <a:lnTo>
                    <a:pt x="409" y="412"/>
                  </a:lnTo>
                  <a:lnTo>
                    <a:pt x="415" y="412"/>
                  </a:lnTo>
                  <a:lnTo>
                    <a:pt x="419" y="414"/>
                  </a:lnTo>
                  <a:lnTo>
                    <a:pt x="426" y="42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/>
            </a:p>
          </p:txBody>
        </p:sp>
        <p:sp>
          <p:nvSpPr>
            <p:cNvPr id="128" name="Freeform 13"/>
            <p:cNvSpPr>
              <a:spLocks/>
            </p:cNvSpPr>
            <p:nvPr/>
          </p:nvSpPr>
          <p:spPr bwMode="auto">
            <a:xfrm>
              <a:off x="3418267" y="2144069"/>
              <a:ext cx="1025641" cy="520346"/>
            </a:xfrm>
            <a:custGeom>
              <a:avLst/>
              <a:gdLst>
                <a:gd name="T0" fmla="*/ 506 w 525"/>
                <a:gd name="T1" fmla="*/ 188 h 268"/>
                <a:gd name="T2" fmla="*/ 489 w 525"/>
                <a:gd name="T3" fmla="*/ 201 h 268"/>
                <a:gd name="T4" fmla="*/ 470 w 525"/>
                <a:gd name="T5" fmla="*/ 212 h 268"/>
                <a:gd name="T6" fmla="*/ 454 w 525"/>
                <a:gd name="T7" fmla="*/ 230 h 268"/>
                <a:gd name="T8" fmla="*/ 433 w 525"/>
                <a:gd name="T9" fmla="*/ 239 h 268"/>
                <a:gd name="T10" fmla="*/ 408 w 525"/>
                <a:gd name="T11" fmla="*/ 241 h 268"/>
                <a:gd name="T12" fmla="*/ 391 w 525"/>
                <a:gd name="T13" fmla="*/ 243 h 268"/>
                <a:gd name="T14" fmla="*/ 379 w 525"/>
                <a:gd name="T15" fmla="*/ 247 h 268"/>
                <a:gd name="T16" fmla="*/ 368 w 525"/>
                <a:gd name="T17" fmla="*/ 257 h 268"/>
                <a:gd name="T18" fmla="*/ 351 w 525"/>
                <a:gd name="T19" fmla="*/ 262 h 268"/>
                <a:gd name="T20" fmla="*/ 324 w 525"/>
                <a:gd name="T21" fmla="*/ 260 h 268"/>
                <a:gd name="T22" fmla="*/ 297 w 525"/>
                <a:gd name="T23" fmla="*/ 259 h 268"/>
                <a:gd name="T24" fmla="*/ 270 w 525"/>
                <a:gd name="T25" fmla="*/ 266 h 268"/>
                <a:gd name="T26" fmla="*/ 247 w 525"/>
                <a:gd name="T27" fmla="*/ 264 h 268"/>
                <a:gd name="T28" fmla="*/ 239 w 525"/>
                <a:gd name="T29" fmla="*/ 249 h 268"/>
                <a:gd name="T30" fmla="*/ 239 w 525"/>
                <a:gd name="T31" fmla="*/ 224 h 268"/>
                <a:gd name="T32" fmla="*/ 239 w 525"/>
                <a:gd name="T33" fmla="*/ 207 h 268"/>
                <a:gd name="T34" fmla="*/ 239 w 525"/>
                <a:gd name="T35" fmla="*/ 174 h 268"/>
                <a:gd name="T36" fmla="*/ 237 w 525"/>
                <a:gd name="T37" fmla="*/ 157 h 268"/>
                <a:gd name="T38" fmla="*/ 222 w 525"/>
                <a:gd name="T39" fmla="*/ 159 h 268"/>
                <a:gd name="T40" fmla="*/ 205 w 525"/>
                <a:gd name="T41" fmla="*/ 166 h 268"/>
                <a:gd name="T42" fmla="*/ 186 w 525"/>
                <a:gd name="T43" fmla="*/ 182 h 268"/>
                <a:gd name="T44" fmla="*/ 166 w 525"/>
                <a:gd name="T45" fmla="*/ 189 h 268"/>
                <a:gd name="T46" fmla="*/ 151 w 525"/>
                <a:gd name="T47" fmla="*/ 197 h 268"/>
                <a:gd name="T48" fmla="*/ 134 w 525"/>
                <a:gd name="T49" fmla="*/ 191 h 268"/>
                <a:gd name="T50" fmla="*/ 128 w 525"/>
                <a:gd name="T51" fmla="*/ 176 h 268"/>
                <a:gd name="T52" fmla="*/ 109 w 525"/>
                <a:gd name="T53" fmla="*/ 166 h 268"/>
                <a:gd name="T54" fmla="*/ 88 w 525"/>
                <a:gd name="T55" fmla="*/ 159 h 268"/>
                <a:gd name="T56" fmla="*/ 69 w 525"/>
                <a:gd name="T57" fmla="*/ 151 h 268"/>
                <a:gd name="T58" fmla="*/ 57 w 525"/>
                <a:gd name="T59" fmla="*/ 147 h 268"/>
                <a:gd name="T60" fmla="*/ 65 w 525"/>
                <a:gd name="T61" fmla="*/ 132 h 268"/>
                <a:gd name="T62" fmla="*/ 61 w 525"/>
                <a:gd name="T63" fmla="*/ 117 h 268"/>
                <a:gd name="T64" fmla="*/ 53 w 525"/>
                <a:gd name="T65" fmla="*/ 99 h 268"/>
                <a:gd name="T66" fmla="*/ 34 w 525"/>
                <a:gd name="T67" fmla="*/ 86 h 268"/>
                <a:gd name="T68" fmla="*/ 28 w 525"/>
                <a:gd name="T69" fmla="*/ 69 h 268"/>
                <a:gd name="T70" fmla="*/ 21 w 525"/>
                <a:gd name="T71" fmla="*/ 57 h 268"/>
                <a:gd name="T72" fmla="*/ 11 w 525"/>
                <a:gd name="T73" fmla="*/ 42 h 268"/>
                <a:gd name="T74" fmla="*/ 1 w 525"/>
                <a:gd name="T75" fmla="*/ 23 h 268"/>
                <a:gd name="T76" fmla="*/ 3 w 525"/>
                <a:gd name="T77" fmla="*/ 7 h 268"/>
                <a:gd name="T78" fmla="*/ 7 w 525"/>
                <a:gd name="T79" fmla="*/ 0 h 268"/>
                <a:gd name="T80" fmla="*/ 47 w 525"/>
                <a:gd name="T81" fmla="*/ 3 h 268"/>
                <a:gd name="T82" fmla="*/ 84 w 525"/>
                <a:gd name="T83" fmla="*/ 9 h 268"/>
                <a:gd name="T84" fmla="*/ 113 w 525"/>
                <a:gd name="T85" fmla="*/ 19 h 268"/>
                <a:gd name="T86" fmla="*/ 142 w 525"/>
                <a:gd name="T87" fmla="*/ 28 h 268"/>
                <a:gd name="T88" fmla="*/ 172 w 525"/>
                <a:gd name="T89" fmla="*/ 38 h 268"/>
                <a:gd name="T90" fmla="*/ 211 w 525"/>
                <a:gd name="T91" fmla="*/ 46 h 268"/>
                <a:gd name="T92" fmla="*/ 251 w 525"/>
                <a:gd name="T93" fmla="*/ 57 h 268"/>
                <a:gd name="T94" fmla="*/ 301 w 525"/>
                <a:gd name="T95" fmla="*/ 78 h 268"/>
                <a:gd name="T96" fmla="*/ 343 w 525"/>
                <a:gd name="T97" fmla="*/ 95 h 268"/>
                <a:gd name="T98" fmla="*/ 383 w 525"/>
                <a:gd name="T99" fmla="*/ 113 h 268"/>
                <a:gd name="T100" fmla="*/ 420 w 525"/>
                <a:gd name="T101" fmla="*/ 132 h 268"/>
                <a:gd name="T102" fmla="*/ 454 w 525"/>
                <a:gd name="T103" fmla="*/ 147 h 268"/>
                <a:gd name="T104" fmla="*/ 483 w 525"/>
                <a:gd name="T105" fmla="*/ 159 h 268"/>
                <a:gd name="T106" fmla="*/ 510 w 525"/>
                <a:gd name="T107" fmla="*/ 176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25" h="268">
                  <a:moveTo>
                    <a:pt x="525" y="182"/>
                  </a:moveTo>
                  <a:lnTo>
                    <a:pt x="514" y="184"/>
                  </a:lnTo>
                  <a:lnTo>
                    <a:pt x="506" y="188"/>
                  </a:lnTo>
                  <a:lnTo>
                    <a:pt x="497" y="191"/>
                  </a:lnTo>
                  <a:lnTo>
                    <a:pt x="493" y="195"/>
                  </a:lnTo>
                  <a:lnTo>
                    <a:pt x="489" y="201"/>
                  </a:lnTo>
                  <a:lnTo>
                    <a:pt x="483" y="205"/>
                  </a:lnTo>
                  <a:lnTo>
                    <a:pt x="477" y="209"/>
                  </a:lnTo>
                  <a:lnTo>
                    <a:pt x="470" y="212"/>
                  </a:lnTo>
                  <a:lnTo>
                    <a:pt x="466" y="216"/>
                  </a:lnTo>
                  <a:lnTo>
                    <a:pt x="458" y="224"/>
                  </a:lnTo>
                  <a:lnTo>
                    <a:pt x="454" y="230"/>
                  </a:lnTo>
                  <a:lnTo>
                    <a:pt x="445" y="234"/>
                  </a:lnTo>
                  <a:lnTo>
                    <a:pt x="441" y="237"/>
                  </a:lnTo>
                  <a:lnTo>
                    <a:pt x="433" y="239"/>
                  </a:lnTo>
                  <a:lnTo>
                    <a:pt x="427" y="239"/>
                  </a:lnTo>
                  <a:lnTo>
                    <a:pt x="420" y="241"/>
                  </a:lnTo>
                  <a:lnTo>
                    <a:pt x="408" y="241"/>
                  </a:lnTo>
                  <a:lnTo>
                    <a:pt x="404" y="241"/>
                  </a:lnTo>
                  <a:lnTo>
                    <a:pt x="397" y="245"/>
                  </a:lnTo>
                  <a:lnTo>
                    <a:pt x="391" y="243"/>
                  </a:lnTo>
                  <a:lnTo>
                    <a:pt x="387" y="241"/>
                  </a:lnTo>
                  <a:lnTo>
                    <a:pt x="383" y="241"/>
                  </a:lnTo>
                  <a:lnTo>
                    <a:pt x="379" y="247"/>
                  </a:lnTo>
                  <a:lnTo>
                    <a:pt x="376" y="253"/>
                  </a:lnTo>
                  <a:lnTo>
                    <a:pt x="372" y="255"/>
                  </a:lnTo>
                  <a:lnTo>
                    <a:pt x="368" y="257"/>
                  </a:lnTo>
                  <a:lnTo>
                    <a:pt x="360" y="257"/>
                  </a:lnTo>
                  <a:lnTo>
                    <a:pt x="356" y="260"/>
                  </a:lnTo>
                  <a:lnTo>
                    <a:pt x="351" y="262"/>
                  </a:lnTo>
                  <a:lnTo>
                    <a:pt x="345" y="260"/>
                  </a:lnTo>
                  <a:lnTo>
                    <a:pt x="337" y="259"/>
                  </a:lnTo>
                  <a:lnTo>
                    <a:pt x="324" y="260"/>
                  </a:lnTo>
                  <a:lnTo>
                    <a:pt x="316" y="259"/>
                  </a:lnTo>
                  <a:lnTo>
                    <a:pt x="305" y="259"/>
                  </a:lnTo>
                  <a:lnTo>
                    <a:pt x="297" y="259"/>
                  </a:lnTo>
                  <a:lnTo>
                    <a:pt x="285" y="260"/>
                  </a:lnTo>
                  <a:lnTo>
                    <a:pt x="278" y="262"/>
                  </a:lnTo>
                  <a:lnTo>
                    <a:pt x="270" y="266"/>
                  </a:lnTo>
                  <a:lnTo>
                    <a:pt x="262" y="268"/>
                  </a:lnTo>
                  <a:lnTo>
                    <a:pt x="253" y="268"/>
                  </a:lnTo>
                  <a:lnTo>
                    <a:pt x="247" y="264"/>
                  </a:lnTo>
                  <a:lnTo>
                    <a:pt x="243" y="259"/>
                  </a:lnTo>
                  <a:lnTo>
                    <a:pt x="243" y="255"/>
                  </a:lnTo>
                  <a:lnTo>
                    <a:pt x="239" y="249"/>
                  </a:lnTo>
                  <a:lnTo>
                    <a:pt x="237" y="243"/>
                  </a:lnTo>
                  <a:lnTo>
                    <a:pt x="237" y="234"/>
                  </a:lnTo>
                  <a:lnTo>
                    <a:pt x="239" y="224"/>
                  </a:lnTo>
                  <a:lnTo>
                    <a:pt x="239" y="218"/>
                  </a:lnTo>
                  <a:lnTo>
                    <a:pt x="241" y="211"/>
                  </a:lnTo>
                  <a:lnTo>
                    <a:pt x="239" y="207"/>
                  </a:lnTo>
                  <a:lnTo>
                    <a:pt x="239" y="199"/>
                  </a:lnTo>
                  <a:lnTo>
                    <a:pt x="239" y="182"/>
                  </a:lnTo>
                  <a:lnTo>
                    <a:pt x="239" y="174"/>
                  </a:lnTo>
                  <a:lnTo>
                    <a:pt x="239" y="166"/>
                  </a:lnTo>
                  <a:lnTo>
                    <a:pt x="239" y="161"/>
                  </a:lnTo>
                  <a:lnTo>
                    <a:pt x="237" y="157"/>
                  </a:lnTo>
                  <a:lnTo>
                    <a:pt x="230" y="157"/>
                  </a:lnTo>
                  <a:lnTo>
                    <a:pt x="226" y="159"/>
                  </a:lnTo>
                  <a:lnTo>
                    <a:pt x="222" y="159"/>
                  </a:lnTo>
                  <a:lnTo>
                    <a:pt x="216" y="163"/>
                  </a:lnTo>
                  <a:lnTo>
                    <a:pt x="209" y="165"/>
                  </a:lnTo>
                  <a:lnTo>
                    <a:pt x="205" y="166"/>
                  </a:lnTo>
                  <a:lnTo>
                    <a:pt x="201" y="172"/>
                  </a:lnTo>
                  <a:lnTo>
                    <a:pt x="191" y="178"/>
                  </a:lnTo>
                  <a:lnTo>
                    <a:pt x="186" y="182"/>
                  </a:lnTo>
                  <a:lnTo>
                    <a:pt x="184" y="188"/>
                  </a:lnTo>
                  <a:lnTo>
                    <a:pt x="176" y="191"/>
                  </a:lnTo>
                  <a:lnTo>
                    <a:pt x="166" y="189"/>
                  </a:lnTo>
                  <a:lnTo>
                    <a:pt x="161" y="189"/>
                  </a:lnTo>
                  <a:lnTo>
                    <a:pt x="157" y="195"/>
                  </a:lnTo>
                  <a:lnTo>
                    <a:pt x="151" y="197"/>
                  </a:lnTo>
                  <a:lnTo>
                    <a:pt x="145" y="195"/>
                  </a:lnTo>
                  <a:lnTo>
                    <a:pt x="140" y="195"/>
                  </a:lnTo>
                  <a:lnTo>
                    <a:pt x="134" y="191"/>
                  </a:lnTo>
                  <a:lnTo>
                    <a:pt x="130" y="186"/>
                  </a:lnTo>
                  <a:lnTo>
                    <a:pt x="128" y="180"/>
                  </a:lnTo>
                  <a:lnTo>
                    <a:pt x="128" y="176"/>
                  </a:lnTo>
                  <a:lnTo>
                    <a:pt x="120" y="174"/>
                  </a:lnTo>
                  <a:lnTo>
                    <a:pt x="115" y="170"/>
                  </a:lnTo>
                  <a:lnTo>
                    <a:pt x="109" y="166"/>
                  </a:lnTo>
                  <a:lnTo>
                    <a:pt x="101" y="163"/>
                  </a:lnTo>
                  <a:lnTo>
                    <a:pt x="94" y="163"/>
                  </a:lnTo>
                  <a:lnTo>
                    <a:pt x="88" y="159"/>
                  </a:lnTo>
                  <a:lnTo>
                    <a:pt x="82" y="155"/>
                  </a:lnTo>
                  <a:lnTo>
                    <a:pt x="74" y="151"/>
                  </a:lnTo>
                  <a:lnTo>
                    <a:pt x="69" y="151"/>
                  </a:lnTo>
                  <a:lnTo>
                    <a:pt x="63" y="155"/>
                  </a:lnTo>
                  <a:lnTo>
                    <a:pt x="59" y="151"/>
                  </a:lnTo>
                  <a:lnTo>
                    <a:pt x="57" y="147"/>
                  </a:lnTo>
                  <a:lnTo>
                    <a:pt x="61" y="141"/>
                  </a:lnTo>
                  <a:lnTo>
                    <a:pt x="63" y="136"/>
                  </a:lnTo>
                  <a:lnTo>
                    <a:pt x="65" y="132"/>
                  </a:lnTo>
                  <a:lnTo>
                    <a:pt x="65" y="126"/>
                  </a:lnTo>
                  <a:lnTo>
                    <a:pt x="65" y="120"/>
                  </a:lnTo>
                  <a:lnTo>
                    <a:pt x="61" y="117"/>
                  </a:lnTo>
                  <a:lnTo>
                    <a:pt x="61" y="111"/>
                  </a:lnTo>
                  <a:lnTo>
                    <a:pt x="57" y="107"/>
                  </a:lnTo>
                  <a:lnTo>
                    <a:pt x="53" y="99"/>
                  </a:lnTo>
                  <a:lnTo>
                    <a:pt x="47" y="97"/>
                  </a:lnTo>
                  <a:lnTo>
                    <a:pt x="44" y="92"/>
                  </a:lnTo>
                  <a:lnTo>
                    <a:pt x="34" y="86"/>
                  </a:lnTo>
                  <a:lnTo>
                    <a:pt x="34" y="80"/>
                  </a:lnTo>
                  <a:lnTo>
                    <a:pt x="32" y="74"/>
                  </a:lnTo>
                  <a:lnTo>
                    <a:pt x="28" y="69"/>
                  </a:lnTo>
                  <a:lnTo>
                    <a:pt x="23" y="65"/>
                  </a:lnTo>
                  <a:lnTo>
                    <a:pt x="19" y="61"/>
                  </a:lnTo>
                  <a:lnTo>
                    <a:pt x="21" y="57"/>
                  </a:lnTo>
                  <a:lnTo>
                    <a:pt x="15" y="53"/>
                  </a:lnTo>
                  <a:lnTo>
                    <a:pt x="13" y="47"/>
                  </a:lnTo>
                  <a:lnTo>
                    <a:pt x="11" y="42"/>
                  </a:lnTo>
                  <a:lnTo>
                    <a:pt x="5" y="38"/>
                  </a:lnTo>
                  <a:lnTo>
                    <a:pt x="1" y="30"/>
                  </a:lnTo>
                  <a:lnTo>
                    <a:pt x="1" y="23"/>
                  </a:lnTo>
                  <a:lnTo>
                    <a:pt x="0" y="15"/>
                  </a:lnTo>
                  <a:lnTo>
                    <a:pt x="3" y="11"/>
                  </a:lnTo>
                  <a:lnTo>
                    <a:pt x="3" y="7"/>
                  </a:lnTo>
                  <a:lnTo>
                    <a:pt x="0" y="3"/>
                  </a:lnTo>
                  <a:lnTo>
                    <a:pt x="0" y="0"/>
                  </a:lnTo>
                  <a:lnTo>
                    <a:pt x="7" y="0"/>
                  </a:lnTo>
                  <a:lnTo>
                    <a:pt x="21" y="0"/>
                  </a:lnTo>
                  <a:lnTo>
                    <a:pt x="28" y="1"/>
                  </a:lnTo>
                  <a:lnTo>
                    <a:pt x="47" y="3"/>
                  </a:lnTo>
                  <a:lnTo>
                    <a:pt x="63" y="3"/>
                  </a:lnTo>
                  <a:lnTo>
                    <a:pt x="72" y="5"/>
                  </a:lnTo>
                  <a:lnTo>
                    <a:pt x="84" y="9"/>
                  </a:lnTo>
                  <a:lnTo>
                    <a:pt x="94" y="11"/>
                  </a:lnTo>
                  <a:lnTo>
                    <a:pt x="103" y="17"/>
                  </a:lnTo>
                  <a:lnTo>
                    <a:pt x="113" y="19"/>
                  </a:lnTo>
                  <a:lnTo>
                    <a:pt x="124" y="23"/>
                  </a:lnTo>
                  <a:lnTo>
                    <a:pt x="134" y="26"/>
                  </a:lnTo>
                  <a:lnTo>
                    <a:pt x="142" y="28"/>
                  </a:lnTo>
                  <a:lnTo>
                    <a:pt x="151" y="34"/>
                  </a:lnTo>
                  <a:lnTo>
                    <a:pt x="161" y="36"/>
                  </a:lnTo>
                  <a:lnTo>
                    <a:pt x="172" y="38"/>
                  </a:lnTo>
                  <a:lnTo>
                    <a:pt x="184" y="40"/>
                  </a:lnTo>
                  <a:lnTo>
                    <a:pt x="195" y="42"/>
                  </a:lnTo>
                  <a:lnTo>
                    <a:pt x="211" y="46"/>
                  </a:lnTo>
                  <a:lnTo>
                    <a:pt x="226" y="49"/>
                  </a:lnTo>
                  <a:lnTo>
                    <a:pt x="239" y="53"/>
                  </a:lnTo>
                  <a:lnTo>
                    <a:pt x="251" y="57"/>
                  </a:lnTo>
                  <a:lnTo>
                    <a:pt x="268" y="63"/>
                  </a:lnTo>
                  <a:lnTo>
                    <a:pt x="285" y="69"/>
                  </a:lnTo>
                  <a:lnTo>
                    <a:pt x="301" y="78"/>
                  </a:lnTo>
                  <a:lnTo>
                    <a:pt x="312" y="82"/>
                  </a:lnTo>
                  <a:lnTo>
                    <a:pt x="328" y="88"/>
                  </a:lnTo>
                  <a:lnTo>
                    <a:pt x="343" y="95"/>
                  </a:lnTo>
                  <a:lnTo>
                    <a:pt x="358" y="101"/>
                  </a:lnTo>
                  <a:lnTo>
                    <a:pt x="370" y="109"/>
                  </a:lnTo>
                  <a:lnTo>
                    <a:pt x="383" y="113"/>
                  </a:lnTo>
                  <a:lnTo>
                    <a:pt x="395" y="120"/>
                  </a:lnTo>
                  <a:lnTo>
                    <a:pt x="406" y="126"/>
                  </a:lnTo>
                  <a:lnTo>
                    <a:pt x="420" y="132"/>
                  </a:lnTo>
                  <a:lnTo>
                    <a:pt x="429" y="136"/>
                  </a:lnTo>
                  <a:lnTo>
                    <a:pt x="443" y="143"/>
                  </a:lnTo>
                  <a:lnTo>
                    <a:pt x="454" y="147"/>
                  </a:lnTo>
                  <a:lnTo>
                    <a:pt x="464" y="153"/>
                  </a:lnTo>
                  <a:lnTo>
                    <a:pt x="473" y="155"/>
                  </a:lnTo>
                  <a:lnTo>
                    <a:pt x="483" y="159"/>
                  </a:lnTo>
                  <a:lnTo>
                    <a:pt x="495" y="165"/>
                  </a:lnTo>
                  <a:lnTo>
                    <a:pt x="504" y="170"/>
                  </a:lnTo>
                  <a:lnTo>
                    <a:pt x="510" y="176"/>
                  </a:lnTo>
                  <a:lnTo>
                    <a:pt x="518" y="180"/>
                  </a:lnTo>
                  <a:lnTo>
                    <a:pt x="525" y="18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/>
            </a:p>
          </p:txBody>
        </p:sp>
        <p:sp>
          <p:nvSpPr>
            <p:cNvPr id="129" name="Freeform 14"/>
            <p:cNvSpPr>
              <a:spLocks/>
            </p:cNvSpPr>
            <p:nvPr/>
          </p:nvSpPr>
          <p:spPr bwMode="auto">
            <a:xfrm>
              <a:off x="3413966" y="813099"/>
              <a:ext cx="2388863" cy="1659948"/>
            </a:xfrm>
            <a:custGeom>
              <a:avLst/>
              <a:gdLst>
                <a:gd name="T0" fmla="*/ 1130 w 1222"/>
                <a:gd name="T1" fmla="*/ 685 h 850"/>
                <a:gd name="T2" fmla="*/ 1114 w 1222"/>
                <a:gd name="T3" fmla="*/ 752 h 850"/>
                <a:gd name="T4" fmla="*/ 1065 w 1222"/>
                <a:gd name="T5" fmla="*/ 783 h 850"/>
                <a:gd name="T6" fmla="*/ 955 w 1222"/>
                <a:gd name="T7" fmla="*/ 781 h 850"/>
                <a:gd name="T8" fmla="*/ 882 w 1222"/>
                <a:gd name="T9" fmla="*/ 774 h 850"/>
                <a:gd name="T10" fmla="*/ 830 w 1222"/>
                <a:gd name="T11" fmla="*/ 751 h 850"/>
                <a:gd name="T12" fmla="*/ 788 w 1222"/>
                <a:gd name="T13" fmla="*/ 720 h 850"/>
                <a:gd name="T14" fmla="*/ 729 w 1222"/>
                <a:gd name="T15" fmla="*/ 716 h 850"/>
                <a:gd name="T16" fmla="*/ 692 w 1222"/>
                <a:gd name="T17" fmla="*/ 754 h 850"/>
                <a:gd name="T18" fmla="*/ 648 w 1222"/>
                <a:gd name="T19" fmla="*/ 795 h 850"/>
                <a:gd name="T20" fmla="*/ 610 w 1222"/>
                <a:gd name="T21" fmla="*/ 816 h 850"/>
                <a:gd name="T22" fmla="*/ 554 w 1222"/>
                <a:gd name="T23" fmla="*/ 825 h 850"/>
                <a:gd name="T24" fmla="*/ 506 w 1222"/>
                <a:gd name="T25" fmla="*/ 850 h 850"/>
                <a:gd name="T26" fmla="*/ 445 w 1222"/>
                <a:gd name="T27" fmla="*/ 823 h 850"/>
                <a:gd name="T28" fmla="*/ 372 w 1222"/>
                <a:gd name="T29" fmla="*/ 789 h 850"/>
                <a:gd name="T30" fmla="*/ 287 w 1222"/>
                <a:gd name="T31" fmla="*/ 749 h 850"/>
                <a:gd name="T32" fmla="*/ 197 w 1222"/>
                <a:gd name="T33" fmla="*/ 722 h 850"/>
                <a:gd name="T34" fmla="*/ 136 w 1222"/>
                <a:gd name="T35" fmla="*/ 706 h 850"/>
                <a:gd name="T36" fmla="*/ 74 w 1222"/>
                <a:gd name="T37" fmla="*/ 685 h 850"/>
                <a:gd name="T38" fmla="*/ 2 w 1222"/>
                <a:gd name="T39" fmla="*/ 680 h 850"/>
                <a:gd name="T40" fmla="*/ 11 w 1222"/>
                <a:gd name="T41" fmla="*/ 655 h 850"/>
                <a:gd name="T42" fmla="*/ 32 w 1222"/>
                <a:gd name="T43" fmla="*/ 626 h 850"/>
                <a:gd name="T44" fmla="*/ 36 w 1222"/>
                <a:gd name="T45" fmla="*/ 586 h 850"/>
                <a:gd name="T46" fmla="*/ 61 w 1222"/>
                <a:gd name="T47" fmla="*/ 526 h 850"/>
                <a:gd name="T48" fmla="*/ 99 w 1222"/>
                <a:gd name="T49" fmla="*/ 503 h 850"/>
                <a:gd name="T50" fmla="*/ 132 w 1222"/>
                <a:gd name="T51" fmla="*/ 488 h 850"/>
                <a:gd name="T52" fmla="*/ 180 w 1222"/>
                <a:gd name="T53" fmla="*/ 476 h 850"/>
                <a:gd name="T54" fmla="*/ 215 w 1222"/>
                <a:gd name="T55" fmla="*/ 457 h 850"/>
                <a:gd name="T56" fmla="*/ 257 w 1222"/>
                <a:gd name="T57" fmla="*/ 467 h 850"/>
                <a:gd name="T58" fmla="*/ 280 w 1222"/>
                <a:gd name="T59" fmla="*/ 444 h 850"/>
                <a:gd name="T60" fmla="*/ 293 w 1222"/>
                <a:gd name="T61" fmla="*/ 332 h 850"/>
                <a:gd name="T62" fmla="*/ 299 w 1222"/>
                <a:gd name="T63" fmla="*/ 238 h 850"/>
                <a:gd name="T64" fmla="*/ 280 w 1222"/>
                <a:gd name="T65" fmla="*/ 186 h 850"/>
                <a:gd name="T66" fmla="*/ 261 w 1222"/>
                <a:gd name="T67" fmla="*/ 137 h 850"/>
                <a:gd name="T68" fmla="*/ 293 w 1222"/>
                <a:gd name="T69" fmla="*/ 83 h 850"/>
                <a:gd name="T70" fmla="*/ 289 w 1222"/>
                <a:gd name="T71" fmla="*/ 37 h 850"/>
                <a:gd name="T72" fmla="*/ 378 w 1222"/>
                <a:gd name="T73" fmla="*/ 29 h 850"/>
                <a:gd name="T74" fmla="*/ 395 w 1222"/>
                <a:gd name="T75" fmla="*/ 8 h 850"/>
                <a:gd name="T76" fmla="*/ 418 w 1222"/>
                <a:gd name="T77" fmla="*/ 21 h 850"/>
                <a:gd name="T78" fmla="*/ 458 w 1222"/>
                <a:gd name="T79" fmla="*/ 8 h 850"/>
                <a:gd name="T80" fmla="*/ 464 w 1222"/>
                <a:gd name="T81" fmla="*/ 54 h 850"/>
                <a:gd name="T82" fmla="*/ 510 w 1222"/>
                <a:gd name="T83" fmla="*/ 81 h 850"/>
                <a:gd name="T84" fmla="*/ 585 w 1222"/>
                <a:gd name="T85" fmla="*/ 91 h 850"/>
                <a:gd name="T86" fmla="*/ 637 w 1222"/>
                <a:gd name="T87" fmla="*/ 46 h 850"/>
                <a:gd name="T88" fmla="*/ 706 w 1222"/>
                <a:gd name="T89" fmla="*/ 14 h 850"/>
                <a:gd name="T90" fmla="*/ 765 w 1222"/>
                <a:gd name="T91" fmla="*/ 21 h 850"/>
                <a:gd name="T92" fmla="*/ 804 w 1222"/>
                <a:gd name="T93" fmla="*/ 106 h 850"/>
                <a:gd name="T94" fmla="*/ 815 w 1222"/>
                <a:gd name="T95" fmla="*/ 194 h 850"/>
                <a:gd name="T96" fmla="*/ 852 w 1222"/>
                <a:gd name="T97" fmla="*/ 254 h 850"/>
                <a:gd name="T98" fmla="*/ 873 w 1222"/>
                <a:gd name="T99" fmla="*/ 165 h 850"/>
                <a:gd name="T100" fmla="*/ 936 w 1222"/>
                <a:gd name="T101" fmla="*/ 158 h 850"/>
                <a:gd name="T102" fmla="*/ 1005 w 1222"/>
                <a:gd name="T103" fmla="*/ 135 h 850"/>
                <a:gd name="T104" fmla="*/ 1034 w 1222"/>
                <a:gd name="T105" fmla="*/ 206 h 850"/>
                <a:gd name="T106" fmla="*/ 1063 w 1222"/>
                <a:gd name="T107" fmla="*/ 221 h 850"/>
                <a:gd name="T108" fmla="*/ 1124 w 1222"/>
                <a:gd name="T109" fmla="*/ 261 h 850"/>
                <a:gd name="T110" fmla="*/ 1182 w 1222"/>
                <a:gd name="T111" fmla="*/ 298 h 850"/>
                <a:gd name="T112" fmla="*/ 1222 w 1222"/>
                <a:gd name="T113" fmla="*/ 325 h 850"/>
                <a:gd name="T114" fmla="*/ 1205 w 1222"/>
                <a:gd name="T115" fmla="*/ 415 h 850"/>
                <a:gd name="T116" fmla="*/ 1187 w 1222"/>
                <a:gd name="T117" fmla="*/ 486 h 850"/>
                <a:gd name="T118" fmla="*/ 1164 w 1222"/>
                <a:gd name="T119" fmla="*/ 570 h 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22" h="850">
                  <a:moveTo>
                    <a:pt x="1143" y="641"/>
                  </a:moveTo>
                  <a:lnTo>
                    <a:pt x="1141" y="647"/>
                  </a:lnTo>
                  <a:lnTo>
                    <a:pt x="1139" y="651"/>
                  </a:lnTo>
                  <a:lnTo>
                    <a:pt x="1132" y="660"/>
                  </a:lnTo>
                  <a:lnTo>
                    <a:pt x="1128" y="674"/>
                  </a:lnTo>
                  <a:lnTo>
                    <a:pt x="1130" y="685"/>
                  </a:lnTo>
                  <a:lnTo>
                    <a:pt x="1128" y="699"/>
                  </a:lnTo>
                  <a:lnTo>
                    <a:pt x="1126" y="708"/>
                  </a:lnTo>
                  <a:lnTo>
                    <a:pt x="1126" y="720"/>
                  </a:lnTo>
                  <a:lnTo>
                    <a:pt x="1124" y="735"/>
                  </a:lnTo>
                  <a:lnTo>
                    <a:pt x="1124" y="743"/>
                  </a:lnTo>
                  <a:lnTo>
                    <a:pt x="1114" y="752"/>
                  </a:lnTo>
                  <a:lnTo>
                    <a:pt x="1116" y="764"/>
                  </a:lnTo>
                  <a:lnTo>
                    <a:pt x="1114" y="774"/>
                  </a:lnTo>
                  <a:lnTo>
                    <a:pt x="1109" y="775"/>
                  </a:lnTo>
                  <a:lnTo>
                    <a:pt x="1099" y="777"/>
                  </a:lnTo>
                  <a:lnTo>
                    <a:pt x="1084" y="781"/>
                  </a:lnTo>
                  <a:lnTo>
                    <a:pt x="1065" y="783"/>
                  </a:lnTo>
                  <a:lnTo>
                    <a:pt x="1045" y="781"/>
                  </a:lnTo>
                  <a:lnTo>
                    <a:pt x="1028" y="783"/>
                  </a:lnTo>
                  <a:lnTo>
                    <a:pt x="1009" y="783"/>
                  </a:lnTo>
                  <a:lnTo>
                    <a:pt x="988" y="783"/>
                  </a:lnTo>
                  <a:lnTo>
                    <a:pt x="971" y="781"/>
                  </a:lnTo>
                  <a:lnTo>
                    <a:pt x="955" y="781"/>
                  </a:lnTo>
                  <a:lnTo>
                    <a:pt x="936" y="783"/>
                  </a:lnTo>
                  <a:lnTo>
                    <a:pt x="923" y="781"/>
                  </a:lnTo>
                  <a:lnTo>
                    <a:pt x="911" y="781"/>
                  </a:lnTo>
                  <a:lnTo>
                    <a:pt x="901" y="783"/>
                  </a:lnTo>
                  <a:lnTo>
                    <a:pt x="886" y="783"/>
                  </a:lnTo>
                  <a:lnTo>
                    <a:pt x="882" y="774"/>
                  </a:lnTo>
                  <a:lnTo>
                    <a:pt x="875" y="766"/>
                  </a:lnTo>
                  <a:lnTo>
                    <a:pt x="865" y="766"/>
                  </a:lnTo>
                  <a:lnTo>
                    <a:pt x="859" y="764"/>
                  </a:lnTo>
                  <a:lnTo>
                    <a:pt x="848" y="762"/>
                  </a:lnTo>
                  <a:lnTo>
                    <a:pt x="836" y="756"/>
                  </a:lnTo>
                  <a:lnTo>
                    <a:pt x="830" y="751"/>
                  </a:lnTo>
                  <a:lnTo>
                    <a:pt x="825" y="745"/>
                  </a:lnTo>
                  <a:lnTo>
                    <a:pt x="817" y="741"/>
                  </a:lnTo>
                  <a:lnTo>
                    <a:pt x="809" y="739"/>
                  </a:lnTo>
                  <a:lnTo>
                    <a:pt x="806" y="733"/>
                  </a:lnTo>
                  <a:lnTo>
                    <a:pt x="798" y="724"/>
                  </a:lnTo>
                  <a:lnTo>
                    <a:pt x="788" y="720"/>
                  </a:lnTo>
                  <a:lnTo>
                    <a:pt x="781" y="720"/>
                  </a:lnTo>
                  <a:lnTo>
                    <a:pt x="773" y="722"/>
                  </a:lnTo>
                  <a:lnTo>
                    <a:pt x="761" y="720"/>
                  </a:lnTo>
                  <a:lnTo>
                    <a:pt x="750" y="716"/>
                  </a:lnTo>
                  <a:lnTo>
                    <a:pt x="740" y="718"/>
                  </a:lnTo>
                  <a:lnTo>
                    <a:pt x="729" y="716"/>
                  </a:lnTo>
                  <a:lnTo>
                    <a:pt x="721" y="718"/>
                  </a:lnTo>
                  <a:lnTo>
                    <a:pt x="713" y="724"/>
                  </a:lnTo>
                  <a:lnTo>
                    <a:pt x="706" y="729"/>
                  </a:lnTo>
                  <a:lnTo>
                    <a:pt x="702" y="735"/>
                  </a:lnTo>
                  <a:lnTo>
                    <a:pt x="698" y="749"/>
                  </a:lnTo>
                  <a:lnTo>
                    <a:pt x="692" y="754"/>
                  </a:lnTo>
                  <a:lnTo>
                    <a:pt x="681" y="762"/>
                  </a:lnTo>
                  <a:lnTo>
                    <a:pt x="677" y="772"/>
                  </a:lnTo>
                  <a:lnTo>
                    <a:pt x="673" y="779"/>
                  </a:lnTo>
                  <a:lnTo>
                    <a:pt x="667" y="785"/>
                  </a:lnTo>
                  <a:lnTo>
                    <a:pt x="658" y="789"/>
                  </a:lnTo>
                  <a:lnTo>
                    <a:pt x="648" y="795"/>
                  </a:lnTo>
                  <a:lnTo>
                    <a:pt x="639" y="797"/>
                  </a:lnTo>
                  <a:lnTo>
                    <a:pt x="635" y="802"/>
                  </a:lnTo>
                  <a:lnTo>
                    <a:pt x="627" y="806"/>
                  </a:lnTo>
                  <a:lnTo>
                    <a:pt x="621" y="810"/>
                  </a:lnTo>
                  <a:lnTo>
                    <a:pt x="612" y="812"/>
                  </a:lnTo>
                  <a:lnTo>
                    <a:pt x="610" y="816"/>
                  </a:lnTo>
                  <a:lnTo>
                    <a:pt x="602" y="818"/>
                  </a:lnTo>
                  <a:lnTo>
                    <a:pt x="593" y="820"/>
                  </a:lnTo>
                  <a:lnTo>
                    <a:pt x="585" y="823"/>
                  </a:lnTo>
                  <a:lnTo>
                    <a:pt x="577" y="823"/>
                  </a:lnTo>
                  <a:lnTo>
                    <a:pt x="568" y="825"/>
                  </a:lnTo>
                  <a:lnTo>
                    <a:pt x="554" y="825"/>
                  </a:lnTo>
                  <a:lnTo>
                    <a:pt x="546" y="827"/>
                  </a:lnTo>
                  <a:lnTo>
                    <a:pt x="537" y="831"/>
                  </a:lnTo>
                  <a:lnTo>
                    <a:pt x="527" y="837"/>
                  </a:lnTo>
                  <a:lnTo>
                    <a:pt x="520" y="845"/>
                  </a:lnTo>
                  <a:lnTo>
                    <a:pt x="514" y="846"/>
                  </a:lnTo>
                  <a:lnTo>
                    <a:pt x="506" y="850"/>
                  </a:lnTo>
                  <a:lnTo>
                    <a:pt x="497" y="845"/>
                  </a:lnTo>
                  <a:lnTo>
                    <a:pt x="485" y="839"/>
                  </a:lnTo>
                  <a:lnTo>
                    <a:pt x="475" y="835"/>
                  </a:lnTo>
                  <a:lnTo>
                    <a:pt x="466" y="833"/>
                  </a:lnTo>
                  <a:lnTo>
                    <a:pt x="456" y="827"/>
                  </a:lnTo>
                  <a:lnTo>
                    <a:pt x="445" y="823"/>
                  </a:lnTo>
                  <a:lnTo>
                    <a:pt x="431" y="816"/>
                  </a:lnTo>
                  <a:lnTo>
                    <a:pt x="422" y="812"/>
                  </a:lnTo>
                  <a:lnTo>
                    <a:pt x="408" y="806"/>
                  </a:lnTo>
                  <a:lnTo>
                    <a:pt x="397" y="800"/>
                  </a:lnTo>
                  <a:lnTo>
                    <a:pt x="385" y="793"/>
                  </a:lnTo>
                  <a:lnTo>
                    <a:pt x="372" y="789"/>
                  </a:lnTo>
                  <a:lnTo>
                    <a:pt x="360" y="781"/>
                  </a:lnTo>
                  <a:lnTo>
                    <a:pt x="345" y="775"/>
                  </a:lnTo>
                  <a:lnTo>
                    <a:pt x="330" y="768"/>
                  </a:lnTo>
                  <a:lnTo>
                    <a:pt x="314" y="762"/>
                  </a:lnTo>
                  <a:lnTo>
                    <a:pt x="303" y="758"/>
                  </a:lnTo>
                  <a:lnTo>
                    <a:pt x="287" y="749"/>
                  </a:lnTo>
                  <a:lnTo>
                    <a:pt x="270" y="743"/>
                  </a:lnTo>
                  <a:lnTo>
                    <a:pt x="253" y="737"/>
                  </a:lnTo>
                  <a:lnTo>
                    <a:pt x="241" y="733"/>
                  </a:lnTo>
                  <a:lnTo>
                    <a:pt x="228" y="729"/>
                  </a:lnTo>
                  <a:lnTo>
                    <a:pt x="213" y="726"/>
                  </a:lnTo>
                  <a:lnTo>
                    <a:pt x="197" y="722"/>
                  </a:lnTo>
                  <a:lnTo>
                    <a:pt x="186" y="720"/>
                  </a:lnTo>
                  <a:lnTo>
                    <a:pt x="174" y="718"/>
                  </a:lnTo>
                  <a:lnTo>
                    <a:pt x="163" y="716"/>
                  </a:lnTo>
                  <a:lnTo>
                    <a:pt x="153" y="714"/>
                  </a:lnTo>
                  <a:lnTo>
                    <a:pt x="144" y="708"/>
                  </a:lnTo>
                  <a:lnTo>
                    <a:pt x="136" y="706"/>
                  </a:lnTo>
                  <a:lnTo>
                    <a:pt x="126" y="703"/>
                  </a:lnTo>
                  <a:lnTo>
                    <a:pt x="115" y="699"/>
                  </a:lnTo>
                  <a:lnTo>
                    <a:pt x="105" y="697"/>
                  </a:lnTo>
                  <a:lnTo>
                    <a:pt x="96" y="691"/>
                  </a:lnTo>
                  <a:lnTo>
                    <a:pt x="86" y="689"/>
                  </a:lnTo>
                  <a:lnTo>
                    <a:pt x="74" y="685"/>
                  </a:lnTo>
                  <a:lnTo>
                    <a:pt x="65" y="683"/>
                  </a:lnTo>
                  <a:lnTo>
                    <a:pt x="49" y="683"/>
                  </a:lnTo>
                  <a:lnTo>
                    <a:pt x="30" y="681"/>
                  </a:lnTo>
                  <a:lnTo>
                    <a:pt x="23" y="680"/>
                  </a:lnTo>
                  <a:lnTo>
                    <a:pt x="9" y="680"/>
                  </a:lnTo>
                  <a:lnTo>
                    <a:pt x="2" y="680"/>
                  </a:lnTo>
                  <a:lnTo>
                    <a:pt x="0" y="676"/>
                  </a:lnTo>
                  <a:lnTo>
                    <a:pt x="0" y="672"/>
                  </a:lnTo>
                  <a:lnTo>
                    <a:pt x="3" y="668"/>
                  </a:lnTo>
                  <a:lnTo>
                    <a:pt x="5" y="662"/>
                  </a:lnTo>
                  <a:lnTo>
                    <a:pt x="7" y="658"/>
                  </a:lnTo>
                  <a:lnTo>
                    <a:pt x="11" y="655"/>
                  </a:lnTo>
                  <a:lnTo>
                    <a:pt x="15" y="649"/>
                  </a:lnTo>
                  <a:lnTo>
                    <a:pt x="19" y="647"/>
                  </a:lnTo>
                  <a:lnTo>
                    <a:pt x="21" y="641"/>
                  </a:lnTo>
                  <a:lnTo>
                    <a:pt x="26" y="637"/>
                  </a:lnTo>
                  <a:lnTo>
                    <a:pt x="30" y="632"/>
                  </a:lnTo>
                  <a:lnTo>
                    <a:pt x="32" y="626"/>
                  </a:lnTo>
                  <a:lnTo>
                    <a:pt x="34" y="620"/>
                  </a:lnTo>
                  <a:lnTo>
                    <a:pt x="36" y="612"/>
                  </a:lnTo>
                  <a:lnTo>
                    <a:pt x="36" y="605"/>
                  </a:lnTo>
                  <a:lnTo>
                    <a:pt x="38" y="599"/>
                  </a:lnTo>
                  <a:lnTo>
                    <a:pt x="36" y="593"/>
                  </a:lnTo>
                  <a:lnTo>
                    <a:pt x="36" y="586"/>
                  </a:lnTo>
                  <a:lnTo>
                    <a:pt x="48" y="574"/>
                  </a:lnTo>
                  <a:lnTo>
                    <a:pt x="55" y="563"/>
                  </a:lnTo>
                  <a:lnTo>
                    <a:pt x="53" y="549"/>
                  </a:lnTo>
                  <a:lnTo>
                    <a:pt x="53" y="541"/>
                  </a:lnTo>
                  <a:lnTo>
                    <a:pt x="57" y="528"/>
                  </a:lnTo>
                  <a:lnTo>
                    <a:pt x="61" y="526"/>
                  </a:lnTo>
                  <a:lnTo>
                    <a:pt x="69" y="526"/>
                  </a:lnTo>
                  <a:lnTo>
                    <a:pt x="74" y="520"/>
                  </a:lnTo>
                  <a:lnTo>
                    <a:pt x="80" y="516"/>
                  </a:lnTo>
                  <a:lnTo>
                    <a:pt x="88" y="513"/>
                  </a:lnTo>
                  <a:lnTo>
                    <a:pt x="92" y="507"/>
                  </a:lnTo>
                  <a:lnTo>
                    <a:pt x="99" y="503"/>
                  </a:lnTo>
                  <a:lnTo>
                    <a:pt x="103" y="501"/>
                  </a:lnTo>
                  <a:lnTo>
                    <a:pt x="109" y="497"/>
                  </a:lnTo>
                  <a:lnTo>
                    <a:pt x="113" y="493"/>
                  </a:lnTo>
                  <a:lnTo>
                    <a:pt x="120" y="490"/>
                  </a:lnTo>
                  <a:lnTo>
                    <a:pt x="126" y="490"/>
                  </a:lnTo>
                  <a:lnTo>
                    <a:pt x="132" y="488"/>
                  </a:lnTo>
                  <a:lnTo>
                    <a:pt x="142" y="486"/>
                  </a:lnTo>
                  <a:lnTo>
                    <a:pt x="147" y="486"/>
                  </a:lnTo>
                  <a:lnTo>
                    <a:pt x="155" y="486"/>
                  </a:lnTo>
                  <a:lnTo>
                    <a:pt x="165" y="484"/>
                  </a:lnTo>
                  <a:lnTo>
                    <a:pt x="172" y="478"/>
                  </a:lnTo>
                  <a:lnTo>
                    <a:pt x="180" y="476"/>
                  </a:lnTo>
                  <a:lnTo>
                    <a:pt x="186" y="474"/>
                  </a:lnTo>
                  <a:lnTo>
                    <a:pt x="191" y="472"/>
                  </a:lnTo>
                  <a:lnTo>
                    <a:pt x="195" y="468"/>
                  </a:lnTo>
                  <a:lnTo>
                    <a:pt x="207" y="468"/>
                  </a:lnTo>
                  <a:lnTo>
                    <a:pt x="211" y="461"/>
                  </a:lnTo>
                  <a:lnTo>
                    <a:pt x="215" y="457"/>
                  </a:lnTo>
                  <a:lnTo>
                    <a:pt x="222" y="459"/>
                  </a:lnTo>
                  <a:lnTo>
                    <a:pt x="228" y="457"/>
                  </a:lnTo>
                  <a:lnTo>
                    <a:pt x="239" y="457"/>
                  </a:lnTo>
                  <a:lnTo>
                    <a:pt x="247" y="461"/>
                  </a:lnTo>
                  <a:lnTo>
                    <a:pt x="251" y="463"/>
                  </a:lnTo>
                  <a:lnTo>
                    <a:pt x="257" y="467"/>
                  </a:lnTo>
                  <a:lnTo>
                    <a:pt x="261" y="463"/>
                  </a:lnTo>
                  <a:lnTo>
                    <a:pt x="262" y="461"/>
                  </a:lnTo>
                  <a:lnTo>
                    <a:pt x="268" y="461"/>
                  </a:lnTo>
                  <a:lnTo>
                    <a:pt x="274" y="459"/>
                  </a:lnTo>
                  <a:lnTo>
                    <a:pt x="276" y="453"/>
                  </a:lnTo>
                  <a:lnTo>
                    <a:pt x="280" y="444"/>
                  </a:lnTo>
                  <a:lnTo>
                    <a:pt x="280" y="432"/>
                  </a:lnTo>
                  <a:lnTo>
                    <a:pt x="284" y="415"/>
                  </a:lnTo>
                  <a:lnTo>
                    <a:pt x="286" y="399"/>
                  </a:lnTo>
                  <a:lnTo>
                    <a:pt x="289" y="378"/>
                  </a:lnTo>
                  <a:lnTo>
                    <a:pt x="289" y="357"/>
                  </a:lnTo>
                  <a:lnTo>
                    <a:pt x="293" y="332"/>
                  </a:lnTo>
                  <a:lnTo>
                    <a:pt x="295" y="307"/>
                  </a:lnTo>
                  <a:lnTo>
                    <a:pt x="295" y="284"/>
                  </a:lnTo>
                  <a:lnTo>
                    <a:pt x="295" y="267"/>
                  </a:lnTo>
                  <a:lnTo>
                    <a:pt x="297" y="257"/>
                  </a:lnTo>
                  <a:lnTo>
                    <a:pt x="293" y="248"/>
                  </a:lnTo>
                  <a:lnTo>
                    <a:pt x="299" y="238"/>
                  </a:lnTo>
                  <a:lnTo>
                    <a:pt x="299" y="227"/>
                  </a:lnTo>
                  <a:lnTo>
                    <a:pt x="293" y="221"/>
                  </a:lnTo>
                  <a:lnTo>
                    <a:pt x="291" y="211"/>
                  </a:lnTo>
                  <a:lnTo>
                    <a:pt x="293" y="200"/>
                  </a:lnTo>
                  <a:lnTo>
                    <a:pt x="287" y="190"/>
                  </a:lnTo>
                  <a:lnTo>
                    <a:pt x="280" y="186"/>
                  </a:lnTo>
                  <a:lnTo>
                    <a:pt x="272" y="186"/>
                  </a:lnTo>
                  <a:lnTo>
                    <a:pt x="264" y="179"/>
                  </a:lnTo>
                  <a:lnTo>
                    <a:pt x="257" y="173"/>
                  </a:lnTo>
                  <a:lnTo>
                    <a:pt x="257" y="162"/>
                  </a:lnTo>
                  <a:lnTo>
                    <a:pt x="261" y="154"/>
                  </a:lnTo>
                  <a:lnTo>
                    <a:pt x="261" y="137"/>
                  </a:lnTo>
                  <a:lnTo>
                    <a:pt x="259" y="121"/>
                  </a:lnTo>
                  <a:lnTo>
                    <a:pt x="268" y="114"/>
                  </a:lnTo>
                  <a:lnTo>
                    <a:pt x="282" y="108"/>
                  </a:lnTo>
                  <a:lnTo>
                    <a:pt x="299" y="100"/>
                  </a:lnTo>
                  <a:lnTo>
                    <a:pt x="301" y="89"/>
                  </a:lnTo>
                  <a:lnTo>
                    <a:pt x="293" y="83"/>
                  </a:lnTo>
                  <a:lnTo>
                    <a:pt x="280" y="81"/>
                  </a:lnTo>
                  <a:lnTo>
                    <a:pt x="270" y="73"/>
                  </a:lnTo>
                  <a:lnTo>
                    <a:pt x="268" y="58"/>
                  </a:lnTo>
                  <a:lnTo>
                    <a:pt x="270" y="43"/>
                  </a:lnTo>
                  <a:lnTo>
                    <a:pt x="280" y="37"/>
                  </a:lnTo>
                  <a:lnTo>
                    <a:pt x="289" y="37"/>
                  </a:lnTo>
                  <a:lnTo>
                    <a:pt x="312" y="35"/>
                  </a:lnTo>
                  <a:lnTo>
                    <a:pt x="332" y="33"/>
                  </a:lnTo>
                  <a:lnTo>
                    <a:pt x="347" y="33"/>
                  </a:lnTo>
                  <a:lnTo>
                    <a:pt x="362" y="33"/>
                  </a:lnTo>
                  <a:lnTo>
                    <a:pt x="374" y="35"/>
                  </a:lnTo>
                  <a:lnTo>
                    <a:pt x="378" y="29"/>
                  </a:lnTo>
                  <a:lnTo>
                    <a:pt x="378" y="21"/>
                  </a:lnTo>
                  <a:lnTo>
                    <a:pt x="378" y="16"/>
                  </a:lnTo>
                  <a:lnTo>
                    <a:pt x="380" y="12"/>
                  </a:lnTo>
                  <a:lnTo>
                    <a:pt x="383" y="8"/>
                  </a:lnTo>
                  <a:lnTo>
                    <a:pt x="389" y="8"/>
                  </a:lnTo>
                  <a:lnTo>
                    <a:pt x="395" y="8"/>
                  </a:lnTo>
                  <a:lnTo>
                    <a:pt x="399" y="14"/>
                  </a:lnTo>
                  <a:lnTo>
                    <a:pt x="401" y="20"/>
                  </a:lnTo>
                  <a:lnTo>
                    <a:pt x="404" y="25"/>
                  </a:lnTo>
                  <a:lnTo>
                    <a:pt x="410" y="29"/>
                  </a:lnTo>
                  <a:lnTo>
                    <a:pt x="414" y="27"/>
                  </a:lnTo>
                  <a:lnTo>
                    <a:pt x="418" y="21"/>
                  </a:lnTo>
                  <a:lnTo>
                    <a:pt x="422" y="18"/>
                  </a:lnTo>
                  <a:lnTo>
                    <a:pt x="424" y="8"/>
                  </a:lnTo>
                  <a:lnTo>
                    <a:pt x="428" y="2"/>
                  </a:lnTo>
                  <a:lnTo>
                    <a:pt x="437" y="2"/>
                  </a:lnTo>
                  <a:lnTo>
                    <a:pt x="454" y="2"/>
                  </a:lnTo>
                  <a:lnTo>
                    <a:pt x="458" y="8"/>
                  </a:lnTo>
                  <a:lnTo>
                    <a:pt x="462" y="20"/>
                  </a:lnTo>
                  <a:lnTo>
                    <a:pt x="466" y="33"/>
                  </a:lnTo>
                  <a:lnTo>
                    <a:pt x="468" y="43"/>
                  </a:lnTo>
                  <a:lnTo>
                    <a:pt x="468" y="46"/>
                  </a:lnTo>
                  <a:lnTo>
                    <a:pt x="464" y="50"/>
                  </a:lnTo>
                  <a:lnTo>
                    <a:pt x="464" y="54"/>
                  </a:lnTo>
                  <a:lnTo>
                    <a:pt x="462" y="60"/>
                  </a:lnTo>
                  <a:lnTo>
                    <a:pt x="470" y="64"/>
                  </a:lnTo>
                  <a:lnTo>
                    <a:pt x="479" y="64"/>
                  </a:lnTo>
                  <a:lnTo>
                    <a:pt x="489" y="66"/>
                  </a:lnTo>
                  <a:lnTo>
                    <a:pt x="502" y="69"/>
                  </a:lnTo>
                  <a:lnTo>
                    <a:pt x="510" y="81"/>
                  </a:lnTo>
                  <a:lnTo>
                    <a:pt x="527" y="87"/>
                  </a:lnTo>
                  <a:lnTo>
                    <a:pt x="533" y="94"/>
                  </a:lnTo>
                  <a:lnTo>
                    <a:pt x="543" y="98"/>
                  </a:lnTo>
                  <a:lnTo>
                    <a:pt x="556" y="94"/>
                  </a:lnTo>
                  <a:lnTo>
                    <a:pt x="568" y="92"/>
                  </a:lnTo>
                  <a:lnTo>
                    <a:pt x="585" y="91"/>
                  </a:lnTo>
                  <a:lnTo>
                    <a:pt x="598" y="87"/>
                  </a:lnTo>
                  <a:lnTo>
                    <a:pt x="600" y="75"/>
                  </a:lnTo>
                  <a:lnTo>
                    <a:pt x="606" y="60"/>
                  </a:lnTo>
                  <a:lnTo>
                    <a:pt x="623" y="62"/>
                  </a:lnTo>
                  <a:lnTo>
                    <a:pt x="635" y="54"/>
                  </a:lnTo>
                  <a:lnTo>
                    <a:pt x="637" y="46"/>
                  </a:lnTo>
                  <a:lnTo>
                    <a:pt x="652" y="33"/>
                  </a:lnTo>
                  <a:lnTo>
                    <a:pt x="660" y="21"/>
                  </a:lnTo>
                  <a:lnTo>
                    <a:pt x="669" y="23"/>
                  </a:lnTo>
                  <a:lnTo>
                    <a:pt x="683" y="21"/>
                  </a:lnTo>
                  <a:lnTo>
                    <a:pt x="696" y="16"/>
                  </a:lnTo>
                  <a:lnTo>
                    <a:pt x="706" y="14"/>
                  </a:lnTo>
                  <a:lnTo>
                    <a:pt x="713" y="6"/>
                  </a:lnTo>
                  <a:lnTo>
                    <a:pt x="725" y="6"/>
                  </a:lnTo>
                  <a:lnTo>
                    <a:pt x="736" y="0"/>
                  </a:lnTo>
                  <a:lnTo>
                    <a:pt x="746" y="2"/>
                  </a:lnTo>
                  <a:lnTo>
                    <a:pt x="756" y="12"/>
                  </a:lnTo>
                  <a:lnTo>
                    <a:pt x="765" y="21"/>
                  </a:lnTo>
                  <a:lnTo>
                    <a:pt x="773" y="31"/>
                  </a:lnTo>
                  <a:lnTo>
                    <a:pt x="777" y="46"/>
                  </a:lnTo>
                  <a:lnTo>
                    <a:pt x="784" y="62"/>
                  </a:lnTo>
                  <a:lnTo>
                    <a:pt x="792" y="73"/>
                  </a:lnTo>
                  <a:lnTo>
                    <a:pt x="796" y="87"/>
                  </a:lnTo>
                  <a:lnTo>
                    <a:pt x="804" y="106"/>
                  </a:lnTo>
                  <a:lnTo>
                    <a:pt x="809" y="121"/>
                  </a:lnTo>
                  <a:lnTo>
                    <a:pt x="811" y="135"/>
                  </a:lnTo>
                  <a:lnTo>
                    <a:pt x="811" y="152"/>
                  </a:lnTo>
                  <a:lnTo>
                    <a:pt x="813" y="162"/>
                  </a:lnTo>
                  <a:lnTo>
                    <a:pt x="817" y="181"/>
                  </a:lnTo>
                  <a:lnTo>
                    <a:pt x="815" y="194"/>
                  </a:lnTo>
                  <a:lnTo>
                    <a:pt x="821" y="211"/>
                  </a:lnTo>
                  <a:lnTo>
                    <a:pt x="823" y="223"/>
                  </a:lnTo>
                  <a:lnTo>
                    <a:pt x="829" y="233"/>
                  </a:lnTo>
                  <a:lnTo>
                    <a:pt x="836" y="252"/>
                  </a:lnTo>
                  <a:lnTo>
                    <a:pt x="846" y="257"/>
                  </a:lnTo>
                  <a:lnTo>
                    <a:pt x="852" y="254"/>
                  </a:lnTo>
                  <a:lnTo>
                    <a:pt x="855" y="242"/>
                  </a:lnTo>
                  <a:lnTo>
                    <a:pt x="863" y="231"/>
                  </a:lnTo>
                  <a:lnTo>
                    <a:pt x="869" y="219"/>
                  </a:lnTo>
                  <a:lnTo>
                    <a:pt x="871" y="202"/>
                  </a:lnTo>
                  <a:lnTo>
                    <a:pt x="871" y="186"/>
                  </a:lnTo>
                  <a:lnTo>
                    <a:pt x="873" y="165"/>
                  </a:lnTo>
                  <a:lnTo>
                    <a:pt x="886" y="158"/>
                  </a:lnTo>
                  <a:lnTo>
                    <a:pt x="898" y="150"/>
                  </a:lnTo>
                  <a:lnTo>
                    <a:pt x="909" y="160"/>
                  </a:lnTo>
                  <a:lnTo>
                    <a:pt x="917" y="169"/>
                  </a:lnTo>
                  <a:lnTo>
                    <a:pt x="928" y="165"/>
                  </a:lnTo>
                  <a:lnTo>
                    <a:pt x="936" y="158"/>
                  </a:lnTo>
                  <a:lnTo>
                    <a:pt x="948" y="148"/>
                  </a:lnTo>
                  <a:lnTo>
                    <a:pt x="961" y="146"/>
                  </a:lnTo>
                  <a:lnTo>
                    <a:pt x="978" y="142"/>
                  </a:lnTo>
                  <a:lnTo>
                    <a:pt x="984" y="139"/>
                  </a:lnTo>
                  <a:lnTo>
                    <a:pt x="996" y="137"/>
                  </a:lnTo>
                  <a:lnTo>
                    <a:pt x="1005" y="135"/>
                  </a:lnTo>
                  <a:lnTo>
                    <a:pt x="1013" y="135"/>
                  </a:lnTo>
                  <a:lnTo>
                    <a:pt x="1019" y="150"/>
                  </a:lnTo>
                  <a:lnTo>
                    <a:pt x="1019" y="167"/>
                  </a:lnTo>
                  <a:lnTo>
                    <a:pt x="1015" y="183"/>
                  </a:lnTo>
                  <a:lnTo>
                    <a:pt x="1022" y="192"/>
                  </a:lnTo>
                  <a:lnTo>
                    <a:pt x="1034" y="206"/>
                  </a:lnTo>
                  <a:lnTo>
                    <a:pt x="1036" y="215"/>
                  </a:lnTo>
                  <a:lnTo>
                    <a:pt x="1045" y="225"/>
                  </a:lnTo>
                  <a:lnTo>
                    <a:pt x="1051" y="217"/>
                  </a:lnTo>
                  <a:lnTo>
                    <a:pt x="1055" y="209"/>
                  </a:lnTo>
                  <a:lnTo>
                    <a:pt x="1059" y="211"/>
                  </a:lnTo>
                  <a:lnTo>
                    <a:pt x="1063" y="221"/>
                  </a:lnTo>
                  <a:lnTo>
                    <a:pt x="1072" y="233"/>
                  </a:lnTo>
                  <a:lnTo>
                    <a:pt x="1088" y="244"/>
                  </a:lnTo>
                  <a:lnTo>
                    <a:pt x="1097" y="248"/>
                  </a:lnTo>
                  <a:lnTo>
                    <a:pt x="1103" y="252"/>
                  </a:lnTo>
                  <a:lnTo>
                    <a:pt x="1114" y="257"/>
                  </a:lnTo>
                  <a:lnTo>
                    <a:pt x="1124" y="261"/>
                  </a:lnTo>
                  <a:lnTo>
                    <a:pt x="1134" y="263"/>
                  </a:lnTo>
                  <a:lnTo>
                    <a:pt x="1153" y="277"/>
                  </a:lnTo>
                  <a:lnTo>
                    <a:pt x="1161" y="275"/>
                  </a:lnTo>
                  <a:lnTo>
                    <a:pt x="1172" y="280"/>
                  </a:lnTo>
                  <a:lnTo>
                    <a:pt x="1174" y="290"/>
                  </a:lnTo>
                  <a:lnTo>
                    <a:pt x="1182" y="298"/>
                  </a:lnTo>
                  <a:lnTo>
                    <a:pt x="1189" y="309"/>
                  </a:lnTo>
                  <a:lnTo>
                    <a:pt x="1195" y="317"/>
                  </a:lnTo>
                  <a:lnTo>
                    <a:pt x="1203" y="313"/>
                  </a:lnTo>
                  <a:lnTo>
                    <a:pt x="1210" y="315"/>
                  </a:lnTo>
                  <a:lnTo>
                    <a:pt x="1220" y="319"/>
                  </a:lnTo>
                  <a:lnTo>
                    <a:pt x="1222" y="325"/>
                  </a:lnTo>
                  <a:lnTo>
                    <a:pt x="1222" y="336"/>
                  </a:lnTo>
                  <a:lnTo>
                    <a:pt x="1220" y="350"/>
                  </a:lnTo>
                  <a:lnTo>
                    <a:pt x="1214" y="363"/>
                  </a:lnTo>
                  <a:lnTo>
                    <a:pt x="1214" y="374"/>
                  </a:lnTo>
                  <a:lnTo>
                    <a:pt x="1210" y="390"/>
                  </a:lnTo>
                  <a:lnTo>
                    <a:pt x="1205" y="415"/>
                  </a:lnTo>
                  <a:lnTo>
                    <a:pt x="1201" y="426"/>
                  </a:lnTo>
                  <a:lnTo>
                    <a:pt x="1199" y="438"/>
                  </a:lnTo>
                  <a:lnTo>
                    <a:pt x="1199" y="449"/>
                  </a:lnTo>
                  <a:lnTo>
                    <a:pt x="1195" y="459"/>
                  </a:lnTo>
                  <a:lnTo>
                    <a:pt x="1193" y="474"/>
                  </a:lnTo>
                  <a:lnTo>
                    <a:pt x="1187" y="486"/>
                  </a:lnTo>
                  <a:lnTo>
                    <a:pt x="1185" y="503"/>
                  </a:lnTo>
                  <a:lnTo>
                    <a:pt x="1178" y="513"/>
                  </a:lnTo>
                  <a:lnTo>
                    <a:pt x="1176" y="524"/>
                  </a:lnTo>
                  <a:lnTo>
                    <a:pt x="1172" y="541"/>
                  </a:lnTo>
                  <a:lnTo>
                    <a:pt x="1168" y="557"/>
                  </a:lnTo>
                  <a:lnTo>
                    <a:pt x="1164" y="570"/>
                  </a:lnTo>
                  <a:lnTo>
                    <a:pt x="1161" y="595"/>
                  </a:lnTo>
                  <a:lnTo>
                    <a:pt x="1153" y="610"/>
                  </a:lnTo>
                  <a:lnTo>
                    <a:pt x="1147" y="630"/>
                  </a:lnTo>
                  <a:lnTo>
                    <a:pt x="1143" y="64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/>
            </a:p>
          </p:txBody>
        </p:sp>
        <p:sp>
          <p:nvSpPr>
            <p:cNvPr id="130" name="Freeform 15"/>
            <p:cNvSpPr>
              <a:spLocks/>
            </p:cNvSpPr>
            <p:nvPr/>
          </p:nvSpPr>
          <p:spPr bwMode="auto">
            <a:xfrm>
              <a:off x="5394293" y="748593"/>
              <a:ext cx="1879267" cy="1720153"/>
            </a:xfrm>
            <a:custGeom>
              <a:avLst/>
              <a:gdLst>
                <a:gd name="T0" fmla="*/ 783 w 963"/>
                <a:gd name="T1" fmla="*/ 583 h 882"/>
                <a:gd name="T2" fmla="*/ 777 w 963"/>
                <a:gd name="T3" fmla="*/ 620 h 882"/>
                <a:gd name="T4" fmla="*/ 764 w 963"/>
                <a:gd name="T5" fmla="*/ 644 h 882"/>
                <a:gd name="T6" fmla="*/ 742 w 963"/>
                <a:gd name="T7" fmla="*/ 671 h 882"/>
                <a:gd name="T8" fmla="*/ 721 w 963"/>
                <a:gd name="T9" fmla="*/ 704 h 882"/>
                <a:gd name="T10" fmla="*/ 721 w 963"/>
                <a:gd name="T11" fmla="*/ 754 h 882"/>
                <a:gd name="T12" fmla="*/ 693 w 963"/>
                <a:gd name="T13" fmla="*/ 811 h 882"/>
                <a:gd name="T14" fmla="*/ 664 w 963"/>
                <a:gd name="T15" fmla="*/ 861 h 882"/>
                <a:gd name="T16" fmla="*/ 595 w 963"/>
                <a:gd name="T17" fmla="*/ 879 h 882"/>
                <a:gd name="T18" fmla="*/ 476 w 963"/>
                <a:gd name="T19" fmla="*/ 871 h 882"/>
                <a:gd name="T20" fmla="*/ 359 w 963"/>
                <a:gd name="T21" fmla="*/ 865 h 882"/>
                <a:gd name="T22" fmla="*/ 249 w 963"/>
                <a:gd name="T23" fmla="*/ 859 h 882"/>
                <a:gd name="T24" fmla="*/ 184 w 963"/>
                <a:gd name="T25" fmla="*/ 832 h 882"/>
                <a:gd name="T26" fmla="*/ 159 w 963"/>
                <a:gd name="T27" fmla="*/ 786 h 882"/>
                <a:gd name="T28" fmla="*/ 159 w 963"/>
                <a:gd name="T29" fmla="*/ 733 h 882"/>
                <a:gd name="T30" fmla="*/ 136 w 963"/>
                <a:gd name="T31" fmla="*/ 691 h 882"/>
                <a:gd name="T32" fmla="*/ 140 w 963"/>
                <a:gd name="T33" fmla="*/ 644 h 882"/>
                <a:gd name="T34" fmla="*/ 163 w 963"/>
                <a:gd name="T35" fmla="*/ 558 h 882"/>
                <a:gd name="T36" fmla="*/ 182 w 963"/>
                <a:gd name="T37" fmla="*/ 493 h 882"/>
                <a:gd name="T38" fmla="*/ 197 w 963"/>
                <a:gd name="T39" fmla="*/ 424 h 882"/>
                <a:gd name="T40" fmla="*/ 209 w 963"/>
                <a:gd name="T41" fmla="*/ 359 h 882"/>
                <a:gd name="T42" fmla="*/ 176 w 963"/>
                <a:gd name="T43" fmla="*/ 343 h 882"/>
                <a:gd name="T44" fmla="*/ 140 w 963"/>
                <a:gd name="T45" fmla="*/ 311 h 882"/>
                <a:gd name="T46" fmla="*/ 84 w 963"/>
                <a:gd name="T47" fmla="*/ 282 h 882"/>
                <a:gd name="T48" fmla="*/ 42 w 963"/>
                <a:gd name="T49" fmla="*/ 243 h 882"/>
                <a:gd name="T50" fmla="*/ 9 w 963"/>
                <a:gd name="T51" fmla="*/ 226 h 882"/>
                <a:gd name="T52" fmla="*/ 7 w 963"/>
                <a:gd name="T53" fmla="*/ 159 h 882"/>
                <a:gd name="T54" fmla="*/ 23 w 963"/>
                <a:gd name="T55" fmla="*/ 88 h 882"/>
                <a:gd name="T56" fmla="*/ 80 w 963"/>
                <a:gd name="T57" fmla="*/ 80 h 882"/>
                <a:gd name="T58" fmla="*/ 111 w 963"/>
                <a:gd name="T59" fmla="*/ 63 h 882"/>
                <a:gd name="T60" fmla="*/ 148 w 963"/>
                <a:gd name="T61" fmla="*/ 44 h 882"/>
                <a:gd name="T62" fmla="*/ 213 w 963"/>
                <a:gd name="T63" fmla="*/ 48 h 882"/>
                <a:gd name="T64" fmla="*/ 253 w 963"/>
                <a:gd name="T65" fmla="*/ 36 h 882"/>
                <a:gd name="T66" fmla="*/ 253 w 963"/>
                <a:gd name="T67" fmla="*/ 0 h 882"/>
                <a:gd name="T68" fmla="*/ 293 w 963"/>
                <a:gd name="T69" fmla="*/ 0 h 882"/>
                <a:gd name="T70" fmla="*/ 332 w 963"/>
                <a:gd name="T71" fmla="*/ 17 h 882"/>
                <a:gd name="T72" fmla="*/ 349 w 963"/>
                <a:gd name="T73" fmla="*/ 63 h 882"/>
                <a:gd name="T74" fmla="*/ 401 w 963"/>
                <a:gd name="T75" fmla="*/ 88 h 882"/>
                <a:gd name="T76" fmla="*/ 449 w 963"/>
                <a:gd name="T77" fmla="*/ 132 h 882"/>
                <a:gd name="T78" fmla="*/ 462 w 963"/>
                <a:gd name="T79" fmla="*/ 199 h 882"/>
                <a:gd name="T80" fmla="*/ 489 w 963"/>
                <a:gd name="T81" fmla="*/ 243 h 882"/>
                <a:gd name="T82" fmla="*/ 547 w 963"/>
                <a:gd name="T83" fmla="*/ 280 h 882"/>
                <a:gd name="T84" fmla="*/ 604 w 963"/>
                <a:gd name="T85" fmla="*/ 274 h 882"/>
                <a:gd name="T86" fmla="*/ 631 w 963"/>
                <a:gd name="T87" fmla="*/ 316 h 882"/>
                <a:gd name="T88" fmla="*/ 693 w 963"/>
                <a:gd name="T89" fmla="*/ 320 h 882"/>
                <a:gd name="T90" fmla="*/ 729 w 963"/>
                <a:gd name="T91" fmla="*/ 320 h 882"/>
                <a:gd name="T92" fmla="*/ 767 w 963"/>
                <a:gd name="T93" fmla="*/ 288 h 882"/>
                <a:gd name="T94" fmla="*/ 800 w 963"/>
                <a:gd name="T95" fmla="*/ 240 h 882"/>
                <a:gd name="T96" fmla="*/ 856 w 963"/>
                <a:gd name="T97" fmla="*/ 224 h 882"/>
                <a:gd name="T98" fmla="*/ 936 w 963"/>
                <a:gd name="T99" fmla="*/ 247 h 882"/>
                <a:gd name="T100" fmla="*/ 952 w 963"/>
                <a:gd name="T101" fmla="*/ 282 h 882"/>
                <a:gd name="T102" fmla="*/ 940 w 963"/>
                <a:gd name="T103" fmla="*/ 328 h 882"/>
                <a:gd name="T104" fmla="*/ 921 w 963"/>
                <a:gd name="T105" fmla="*/ 361 h 882"/>
                <a:gd name="T106" fmla="*/ 900 w 963"/>
                <a:gd name="T107" fmla="*/ 401 h 882"/>
                <a:gd name="T108" fmla="*/ 869 w 963"/>
                <a:gd name="T109" fmla="*/ 453 h 882"/>
                <a:gd name="T110" fmla="*/ 848 w 963"/>
                <a:gd name="T111" fmla="*/ 504 h 882"/>
                <a:gd name="T112" fmla="*/ 808 w 963"/>
                <a:gd name="T113" fmla="*/ 518 h 882"/>
                <a:gd name="T114" fmla="*/ 773 w 963"/>
                <a:gd name="T115" fmla="*/ 554 h 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63" h="882">
                  <a:moveTo>
                    <a:pt x="773" y="554"/>
                  </a:moveTo>
                  <a:lnTo>
                    <a:pt x="764" y="562"/>
                  </a:lnTo>
                  <a:lnTo>
                    <a:pt x="771" y="566"/>
                  </a:lnTo>
                  <a:lnTo>
                    <a:pt x="777" y="572"/>
                  </a:lnTo>
                  <a:lnTo>
                    <a:pt x="783" y="583"/>
                  </a:lnTo>
                  <a:lnTo>
                    <a:pt x="783" y="595"/>
                  </a:lnTo>
                  <a:lnTo>
                    <a:pt x="777" y="600"/>
                  </a:lnTo>
                  <a:lnTo>
                    <a:pt x="781" y="606"/>
                  </a:lnTo>
                  <a:lnTo>
                    <a:pt x="781" y="612"/>
                  </a:lnTo>
                  <a:lnTo>
                    <a:pt x="777" y="620"/>
                  </a:lnTo>
                  <a:lnTo>
                    <a:pt x="779" y="625"/>
                  </a:lnTo>
                  <a:lnTo>
                    <a:pt x="781" y="631"/>
                  </a:lnTo>
                  <a:lnTo>
                    <a:pt x="775" y="641"/>
                  </a:lnTo>
                  <a:lnTo>
                    <a:pt x="769" y="641"/>
                  </a:lnTo>
                  <a:lnTo>
                    <a:pt x="764" y="644"/>
                  </a:lnTo>
                  <a:lnTo>
                    <a:pt x="762" y="648"/>
                  </a:lnTo>
                  <a:lnTo>
                    <a:pt x="756" y="658"/>
                  </a:lnTo>
                  <a:lnTo>
                    <a:pt x="748" y="658"/>
                  </a:lnTo>
                  <a:lnTo>
                    <a:pt x="746" y="667"/>
                  </a:lnTo>
                  <a:lnTo>
                    <a:pt x="742" y="671"/>
                  </a:lnTo>
                  <a:lnTo>
                    <a:pt x="737" y="677"/>
                  </a:lnTo>
                  <a:lnTo>
                    <a:pt x="733" y="679"/>
                  </a:lnTo>
                  <a:lnTo>
                    <a:pt x="731" y="685"/>
                  </a:lnTo>
                  <a:lnTo>
                    <a:pt x="729" y="691"/>
                  </a:lnTo>
                  <a:lnTo>
                    <a:pt x="721" y="704"/>
                  </a:lnTo>
                  <a:lnTo>
                    <a:pt x="717" y="712"/>
                  </a:lnTo>
                  <a:lnTo>
                    <a:pt x="717" y="721"/>
                  </a:lnTo>
                  <a:lnTo>
                    <a:pt x="717" y="729"/>
                  </a:lnTo>
                  <a:lnTo>
                    <a:pt x="725" y="744"/>
                  </a:lnTo>
                  <a:lnTo>
                    <a:pt x="721" y="754"/>
                  </a:lnTo>
                  <a:lnTo>
                    <a:pt x="714" y="767"/>
                  </a:lnTo>
                  <a:lnTo>
                    <a:pt x="708" y="779"/>
                  </a:lnTo>
                  <a:lnTo>
                    <a:pt x="702" y="794"/>
                  </a:lnTo>
                  <a:lnTo>
                    <a:pt x="696" y="802"/>
                  </a:lnTo>
                  <a:lnTo>
                    <a:pt x="693" y="811"/>
                  </a:lnTo>
                  <a:lnTo>
                    <a:pt x="683" y="823"/>
                  </a:lnTo>
                  <a:lnTo>
                    <a:pt x="675" y="832"/>
                  </a:lnTo>
                  <a:lnTo>
                    <a:pt x="671" y="840"/>
                  </a:lnTo>
                  <a:lnTo>
                    <a:pt x="669" y="850"/>
                  </a:lnTo>
                  <a:lnTo>
                    <a:pt x="664" y="861"/>
                  </a:lnTo>
                  <a:lnTo>
                    <a:pt x="658" y="869"/>
                  </a:lnTo>
                  <a:lnTo>
                    <a:pt x="648" y="882"/>
                  </a:lnTo>
                  <a:lnTo>
                    <a:pt x="629" y="882"/>
                  </a:lnTo>
                  <a:lnTo>
                    <a:pt x="614" y="879"/>
                  </a:lnTo>
                  <a:lnTo>
                    <a:pt x="595" y="879"/>
                  </a:lnTo>
                  <a:lnTo>
                    <a:pt x="572" y="875"/>
                  </a:lnTo>
                  <a:lnTo>
                    <a:pt x="551" y="875"/>
                  </a:lnTo>
                  <a:lnTo>
                    <a:pt x="531" y="875"/>
                  </a:lnTo>
                  <a:lnTo>
                    <a:pt x="497" y="871"/>
                  </a:lnTo>
                  <a:lnTo>
                    <a:pt x="476" y="871"/>
                  </a:lnTo>
                  <a:lnTo>
                    <a:pt x="456" y="869"/>
                  </a:lnTo>
                  <a:lnTo>
                    <a:pt x="430" y="867"/>
                  </a:lnTo>
                  <a:lnTo>
                    <a:pt x="410" y="865"/>
                  </a:lnTo>
                  <a:lnTo>
                    <a:pt x="384" y="865"/>
                  </a:lnTo>
                  <a:lnTo>
                    <a:pt x="359" y="865"/>
                  </a:lnTo>
                  <a:lnTo>
                    <a:pt x="336" y="865"/>
                  </a:lnTo>
                  <a:lnTo>
                    <a:pt x="311" y="861"/>
                  </a:lnTo>
                  <a:lnTo>
                    <a:pt x="290" y="859"/>
                  </a:lnTo>
                  <a:lnTo>
                    <a:pt x="270" y="859"/>
                  </a:lnTo>
                  <a:lnTo>
                    <a:pt x="249" y="859"/>
                  </a:lnTo>
                  <a:lnTo>
                    <a:pt x="226" y="859"/>
                  </a:lnTo>
                  <a:lnTo>
                    <a:pt x="211" y="861"/>
                  </a:lnTo>
                  <a:lnTo>
                    <a:pt x="199" y="850"/>
                  </a:lnTo>
                  <a:lnTo>
                    <a:pt x="194" y="840"/>
                  </a:lnTo>
                  <a:lnTo>
                    <a:pt x="184" y="832"/>
                  </a:lnTo>
                  <a:lnTo>
                    <a:pt x="172" y="823"/>
                  </a:lnTo>
                  <a:lnTo>
                    <a:pt x="161" y="817"/>
                  </a:lnTo>
                  <a:lnTo>
                    <a:pt x="155" y="804"/>
                  </a:lnTo>
                  <a:lnTo>
                    <a:pt x="155" y="792"/>
                  </a:lnTo>
                  <a:lnTo>
                    <a:pt x="159" y="786"/>
                  </a:lnTo>
                  <a:lnTo>
                    <a:pt x="163" y="775"/>
                  </a:lnTo>
                  <a:lnTo>
                    <a:pt x="159" y="763"/>
                  </a:lnTo>
                  <a:lnTo>
                    <a:pt x="159" y="754"/>
                  </a:lnTo>
                  <a:lnTo>
                    <a:pt x="161" y="742"/>
                  </a:lnTo>
                  <a:lnTo>
                    <a:pt x="159" y="733"/>
                  </a:lnTo>
                  <a:lnTo>
                    <a:pt x="155" y="725"/>
                  </a:lnTo>
                  <a:lnTo>
                    <a:pt x="149" y="721"/>
                  </a:lnTo>
                  <a:lnTo>
                    <a:pt x="146" y="712"/>
                  </a:lnTo>
                  <a:lnTo>
                    <a:pt x="138" y="704"/>
                  </a:lnTo>
                  <a:lnTo>
                    <a:pt x="136" y="691"/>
                  </a:lnTo>
                  <a:lnTo>
                    <a:pt x="130" y="683"/>
                  </a:lnTo>
                  <a:lnTo>
                    <a:pt x="128" y="681"/>
                  </a:lnTo>
                  <a:lnTo>
                    <a:pt x="130" y="675"/>
                  </a:lnTo>
                  <a:lnTo>
                    <a:pt x="134" y="664"/>
                  </a:lnTo>
                  <a:lnTo>
                    <a:pt x="140" y="644"/>
                  </a:lnTo>
                  <a:lnTo>
                    <a:pt x="148" y="629"/>
                  </a:lnTo>
                  <a:lnTo>
                    <a:pt x="151" y="604"/>
                  </a:lnTo>
                  <a:lnTo>
                    <a:pt x="155" y="591"/>
                  </a:lnTo>
                  <a:lnTo>
                    <a:pt x="159" y="575"/>
                  </a:lnTo>
                  <a:lnTo>
                    <a:pt x="163" y="558"/>
                  </a:lnTo>
                  <a:lnTo>
                    <a:pt x="165" y="547"/>
                  </a:lnTo>
                  <a:lnTo>
                    <a:pt x="172" y="537"/>
                  </a:lnTo>
                  <a:lnTo>
                    <a:pt x="174" y="520"/>
                  </a:lnTo>
                  <a:lnTo>
                    <a:pt x="180" y="508"/>
                  </a:lnTo>
                  <a:lnTo>
                    <a:pt x="182" y="493"/>
                  </a:lnTo>
                  <a:lnTo>
                    <a:pt x="186" y="483"/>
                  </a:lnTo>
                  <a:lnTo>
                    <a:pt x="186" y="472"/>
                  </a:lnTo>
                  <a:lnTo>
                    <a:pt x="188" y="460"/>
                  </a:lnTo>
                  <a:lnTo>
                    <a:pt x="192" y="449"/>
                  </a:lnTo>
                  <a:lnTo>
                    <a:pt x="197" y="424"/>
                  </a:lnTo>
                  <a:lnTo>
                    <a:pt x="201" y="408"/>
                  </a:lnTo>
                  <a:lnTo>
                    <a:pt x="201" y="397"/>
                  </a:lnTo>
                  <a:lnTo>
                    <a:pt x="207" y="384"/>
                  </a:lnTo>
                  <a:lnTo>
                    <a:pt x="209" y="370"/>
                  </a:lnTo>
                  <a:lnTo>
                    <a:pt x="209" y="359"/>
                  </a:lnTo>
                  <a:lnTo>
                    <a:pt x="207" y="353"/>
                  </a:lnTo>
                  <a:lnTo>
                    <a:pt x="197" y="349"/>
                  </a:lnTo>
                  <a:lnTo>
                    <a:pt x="190" y="347"/>
                  </a:lnTo>
                  <a:lnTo>
                    <a:pt x="182" y="351"/>
                  </a:lnTo>
                  <a:lnTo>
                    <a:pt x="176" y="343"/>
                  </a:lnTo>
                  <a:lnTo>
                    <a:pt x="169" y="332"/>
                  </a:lnTo>
                  <a:lnTo>
                    <a:pt x="161" y="324"/>
                  </a:lnTo>
                  <a:lnTo>
                    <a:pt x="159" y="314"/>
                  </a:lnTo>
                  <a:lnTo>
                    <a:pt x="148" y="309"/>
                  </a:lnTo>
                  <a:lnTo>
                    <a:pt x="140" y="311"/>
                  </a:lnTo>
                  <a:lnTo>
                    <a:pt x="121" y="297"/>
                  </a:lnTo>
                  <a:lnTo>
                    <a:pt x="111" y="295"/>
                  </a:lnTo>
                  <a:lnTo>
                    <a:pt x="101" y="291"/>
                  </a:lnTo>
                  <a:lnTo>
                    <a:pt x="90" y="286"/>
                  </a:lnTo>
                  <a:lnTo>
                    <a:pt x="84" y="282"/>
                  </a:lnTo>
                  <a:lnTo>
                    <a:pt x="75" y="278"/>
                  </a:lnTo>
                  <a:lnTo>
                    <a:pt x="59" y="267"/>
                  </a:lnTo>
                  <a:lnTo>
                    <a:pt x="50" y="255"/>
                  </a:lnTo>
                  <a:lnTo>
                    <a:pt x="46" y="245"/>
                  </a:lnTo>
                  <a:lnTo>
                    <a:pt x="42" y="243"/>
                  </a:lnTo>
                  <a:lnTo>
                    <a:pt x="38" y="251"/>
                  </a:lnTo>
                  <a:lnTo>
                    <a:pt x="32" y="259"/>
                  </a:lnTo>
                  <a:lnTo>
                    <a:pt x="23" y="249"/>
                  </a:lnTo>
                  <a:lnTo>
                    <a:pt x="21" y="240"/>
                  </a:lnTo>
                  <a:lnTo>
                    <a:pt x="9" y="226"/>
                  </a:lnTo>
                  <a:lnTo>
                    <a:pt x="2" y="217"/>
                  </a:lnTo>
                  <a:lnTo>
                    <a:pt x="6" y="201"/>
                  </a:lnTo>
                  <a:lnTo>
                    <a:pt x="6" y="184"/>
                  </a:lnTo>
                  <a:lnTo>
                    <a:pt x="0" y="169"/>
                  </a:lnTo>
                  <a:lnTo>
                    <a:pt x="7" y="159"/>
                  </a:lnTo>
                  <a:lnTo>
                    <a:pt x="9" y="142"/>
                  </a:lnTo>
                  <a:lnTo>
                    <a:pt x="9" y="123"/>
                  </a:lnTo>
                  <a:lnTo>
                    <a:pt x="15" y="107"/>
                  </a:lnTo>
                  <a:lnTo>
                    <a:pt x="19" y="98"/>
                  </a:lnTo>
                  <a:lnTo>
                    <a:pt x="23" y="88"/>
                  </a:lnTo>
                  <a:lnTo>
                    <a:pt x="32" y="94"/>
                  </a:lnTo>
                  <a:lnTo>
                    <a:pt x="44" y="94"/>
                  </a:lnTo>
                  <a:lnTo>
                    <a:pt x="55" y="94"/>
                  </a:lnTo>
                  <a:lnTo>
                    <a:pt x="67" y="88"/>
                  </a:lnTo>
                  <a:lnTo>
                    <a:pt x="80" y="80"/>
                  </a:lnTo>
                  <a:lnTo>
                    <a:pt x="77" y="73"/>
                  </a:lnTo>
                  <a:lnTo>
                    <a:pt x="88" y="71"/>
                  </a:lnTo>
                  <a:lnTo>
                    <a:pt x="96" y="69"/>
                  </a:lnTo>
                  <a:lnTo>
                    <a:pt x="103" y="69"/>
                  </a:lnTo>
                  <a:lnTo>
                    <a:pt x="111" y="63"/>
                  </a:lnTo>
                  <a:lnTo>
                    <a:pt x="123" y="63"/>
                  </a:lnTo>
                  <a:lnTo>
                    <a:pt x="130" y="59"/>
                  </a:lnTo>
                  <a:lnTo>
                    <a:pt x="140" y="63"/>
                  </a:lnTo>
                  <a:lnTo>
                    <a:pt x="142" y="52"/>
                  </a:lnTo>
                  <a:lnTo>
                    <a:pt x="148" y="44"/>
                  </a:lnTo>
                  <a:lnTo>
                    <a:pt x="165" y="36"/>
                  </a:lnTo>
                  <a:lnTo>
                    <a:pt x="174" y="40"/>
                  </a:lnTo>
                  <a:lnTo>
                    <a:pt x="188" y="44"/>
                  </a:lnTo>
                  <a:lnTo>
                    <a:pt x="197" y="46"/>
                  </a:lnTo>
                  <a:lnTo>
                    <a:pt x="213" y="48"/>
                  </a:lnTo>
                  <a:lnTo>
                    <a:pt x="222" y="48"/>
                  </a:lnTo>
                  <a:lnTo>
                    <a:pt x="232" y="48"/>
                  </a:lnTo>
                  <a:lnTo>
                    <a:pt x="242" y="42"/>
                  </a:lnTo>
                  <a:lnTo>
                    <a:pt x="253" y="42"/>
                  </a:lnTo>
                  <a:lnTo>
                    <a:pt x="253" y="36"/>
                  </a:lnTo>
                  <a:lnTo>
                    <a:pt x="245" y="31"/>
                  </a:lnTo>
                  <a:lnTo>
                    <a:pt x="249" y="25"/>
                  </a:lnTo>
                  <a:lnTo>
                    <a:pt x="247" y="17"/>
                  </a:lnTo>
                  <a:lnTo>
                    <a:pt x="249" y="8"/>
                  </a:lnTo>
                  <a:lnTo>
                    <a:pt x="253" y="0"/>
                  </a:lnTo>
                  <a:lnTo>
                    <a:pt x="265" y="0"/>
                  </a:lnTo>
                  <a:lnTo>
                    <a:pt x="272" y="6"/>
                  </a:lnTo>
                  <a:lnTo>
                    <a:pt x="282" y="8"/>
                  </a:lnTo>
                  <a:lnTo>
                    <a:pt x="290" y="6"/>
                  </a:lnTo>
                  <a:lnTo>
                    <a:pt x="293" y="0"/>
                  </a:lnTo>
                  <a:lnTo>
                    <a:pt x="303" y="0"/>
                  </a:lnTo>
                  <a:lnTo>
                    <a:pt x="314" y="4"/>
                  </a:lnTo>
                  <a:lnTo>
                    <a:pt x="326" y="4"/>
                  </a:lnTo>
                  <a:lnTo>
                    <a:pt x="330" y="9"/>
                  </a:lnTo>
                  <a:lnTo>
                    <a:pt x="332" y="17"/>
                  </a:lnTo>
                  <a:lnTo>
                    <a:pt x="332" y="27"/>
                  </a:lnTo>
                  <a:lnTo>
                    <a:pt x="334" y="40"/>
                  </a:lnTo>
                  <a:lnTo>
                    <a:pt x="334" y="52"/>
                  </a:lnTo>
                  <a:lnTo>
                    <a:pt x="338" y="61"/>
                  </a:lnTo>
                  <a:lnTo>
                    <a:pt x="349" y="63"/>
                  </a:lnTo>
                  <a:lnTo>
                    <a:pt x="361" y="67"/>
                  </a:lnTo>
                  <a:lnTo>
                    <a:pt x="370" y="75"/>
                  </a:lnTo>
                  <a:lnTo>
                    <a:pt x="380" y="82"/>
                  </a:lnTo>
                  <a:lnTo>
                    <a:pt x="391" y="80"/>
                  </a:lnTo>
                  <a:lnTo>
                    <a:pt x="401" y="88"/>
                  </a:lnTo>
                  <a:lnTo>
                    <a:pt x="414" y="100"/>
                  </a:lnTo>
                  <a:lnTo>
                    <a:pt x="422" y="113"/>
                  </a:lnTo>
                  <a:lnTo>
                    <a:pt x="433" y="121"/>
                  </a:lnTo>
                  <a:lnTo>
                    <a:pt x="439" y="126"/>
                  </a:lnTo>
                  <a:lnTo>
                    <a:pt x="449" y="132"/>
                  </a:lnTo>
                  <a:lnTo>
                    <a:pt x="445" y="144"/>
                  </a:lnTo>
                  <a:lnTo>
                    <a:pt x="445" y="155"/>
                  </a:lnTo>
                  <a:lnTo>
                    <a:pt x="455" y="169"/>
                  </a:lnTo>
                  <a:lnTo>
                    <a:pt x="453" y="182"/>
                  </a:lnTo>
                  <a:lnTo>
                    <a:pt x="462" y="199"/>
                  </a:lnTo>
                  <a:lnTo>
                    <a:pt x="470" y="207"/>
                  </a:lnTo>
                  <a:lnTo>
                    <a:pt x="478" y="213"/>
                  </a:lnTo>
                  <a:lnTo>
                    <a:pt x="485" y="220"/>
                  </a:lnTo>
                  <a:lnTo>
                    <a:pt x="485" y="230"/>
                  </a:lnTo>
                  <a:lnTo>
                    <a:pt x="489" y="243"/>
                  </a:lnTo>
                  <a:lnTo>
                    <a:pt x="503" y="251"/>
                  </a:lnTo>
                  <a:lnTo>
                    <a:pt x="512" y="265"/>
                  </a:lnTo>
                  <a:lnTo>
                    <a:pt x="526" y="268"/>
                  </a:lnTo>
                  <a:lnTo>
                    <a:pt x="539" y="272"/>
                  </a:lnTo>
                  <a:lnTo>
                    <a:pt x="547" y="280"/>
                  </a:lnTo>
                  <a:lnTo>
                    <a:pt x="558" y="280"/>
                  </a:lnTo>
                  <a:lnTo>
                    <a:pt x="570" y="270"/>
                  </a:lnTo>
                  <a:lnTo>
                    <a:pt x="579" y="267"/>
                  </a:lnTo>
                  <a:lnTo>
                    <a:pt x="593" y="268"/>
                  </a:lnTo>
                  <a:lnTo>
                    <a:pt x="604" y="274"/>
                  </a:lnTo>
                  <a:lnTo>
                    <a:pt x="606" y="290"/>
                  </a:lnTo>
                  <a:lnTo>
                    <a:pt x="606" y="299"/>
                  </a:lnTo>
                  <a:lnTo>
                    <a:pt x="608" y="309"/>
                  </a:lnTo>
                  <a:lnTo>
                    <a:pt x="618" y="314"/>
                  </a:lnTo>
                  <a:lnTo>
                    <a:pt x="631" y="316"/>
                  </a:lnTo>
                  <a:lnTo>
                    <a:pt x="652" y="320"/>
                  </a:lnTo>
                  <a:lnTo>
                    <a:pt x="664" y="316"/>
                  </a:lnTo>
                  <a:lnTo>
                    <a:pt x="671" y="314"/>
                  </a:lnTo>
                  <a:lnTo>
                    <a:pt x="679" y="322"/>
                  </a:lnTo>
                  <a:lnTo>
                    <a:pt x="693" y="320"/>
                  </a:lnTo>
                  <a:lnTo>
                    <a:pt x="700" y="313"/>
                  </a:lnTo>
                  <a:lnTo>
                    <a:pt x="710" y="313"/>
                  </a:lnTo>
                  <a:lnTo>
                    <a:pt x="717" y="313"/>
                  </a:lnTo>
                  <a:lnTo>
                    <a:pt x="723" y="320"/>
                  </a:lnTo>
                  <a:lnTo>
                    <a:pt x="729" y="320"/>
                  </a:lnTo>
                  <a:lnTo>
                    <a:pt x="731" y="311"/>
                  </a:lnTo>
                  <a:lnTo>
                    <a:pt x="739" y="307"/>
                  </a:lnTo>
                  <a:lnTo>
                    <a:pt x="746" y="297"/>
                  </a:lnTo>
                  <a:lnTo>
                    <a:pt x="750" y="290"/>
                  </a:lnTo>
                  <a:lnTo>
                    <a:pt x="767" y="288"/>
                  </a:lnTo>
                  <a:lnTo>
                    <a:pt x="779" y="280"/>
                  </a:lnTo>
                  <a:lnTo>
                    <a:pt x="779" y="270"/>
                  </a:lnTo>
                  <a:lnTo>
                    <a:pt x="783" y="257"/>
                  </a:lnTo>
                  <a:lnTo>
                    <a:pt x="790" y="251"/>
                  </a:lnTo>
                  <a:lnTo>
                    <a:pt x="800" y="240"/>
                  </a:lnTo>
                  <a:lnTo>
                    <a:pt x="808" y="230"/>
                  </a:lnTo>
                  <a:lnTo>
                    <a:pt x="823" y="224"/>
                  </a:lnTo>
                  <a:lnTo>
                    <a:pt x="831" y="224"/>
                  </a:lnTo>
                  <a:lnTo>
                    <a:pt x="842" y="224"/>
                  </a:lnTo>
                  <a:lnTo>
                    <a:pt x="856" y="224"/>
                  </a:lnTo>
                  <a:lnTo>
                    <a:pt x="871" y="228"/>
                  </a:lnTo>
                  <a:lnTo>
                    <a:pt x="888" y="234"/>
                  </a:lnTo>
                  <a:lnTo>
                    <a:pt x="902" y="238"/>
                  </a:lnTo>
                  <a:lnTo>
                    <a:pt x="919" y="240"/>
                  </a:lnTo>
                  <a:lnTo>
                    <a:pt x="936" y="247"/>
                  </a:lnTo>
                  <a:lnTo>
                    <a:pt x="944" y="257"/>
                  </a:lnTo>
                  <a:lnTo>
                    <a:pt x="952" y="261"/>
                  </a:lnTo>
                  <a:lnTo>
                    <a:pt x="963" y="265"/>
                  </a:lnTo>
                  <a:lnTo>
                    <a:pt x="955" y="272"/>
                  </a:lnTo>
                  <a:lnTo>
                    <a:pt x="952" y="282"/>
                  </a:lnTo>
                  <a:lnTo>
                    <a:pt x="953" y="290"/>
                  </a:lnTo>
                  <a:lnTo>
                    <a:pt x="948" y="299"/>
                  </a:lnTo>
                  <a:lnTo>
                    <a:pt x="938" y="311"/>
                  </a:lnTo>
                  <a:lnTo>
                    <a:pt x="940" y="318"/>
                  </a:lnTo>
                  <a:lnTo>
                    <a:pt x="940" y="328"/>
                  </a:lnTo>
                  <a:lnTo>
                    <a:pt x="938" y="338"/>
                  </a:lnTo>
                  <a:lnTo>
                    <a:pt x="936" y="347"/>
                  </a:lnTo>
                  <a:lnTo>
                    <a:pt x="929" y="347"/>
                  </a:lnTo>
                  <a:lnTo>
                    <a:pt x="927" y="353"/>
                  </a:lnTo>
                  <a:lnTo>
                    <a:pt x="921" y="361"/>
                  </a:lnTo>
                  <a:lnTo>
                    <a:pt x="913" y="366"/>
                  </a:lnTo>
                  <a:lnTo>
                    <a:pt x="909" y="376"/>
                  </a:lnTo>
                  <a:lnTo>
                    <a:pt x="911" y="384"/>
                  </a:lnTo>
                  <a:lnTo>
                    <a:pt x="909" y="391"/>
                  </a:lnTo>
                  <a:lnTo>
                    <a:pt x="900" y="401"/>
                  </a:lnTo>
                  <a:lnTo>
                    <a:pt x="896" y="408"/>
                  </a:lnTo>
                  <a:lnTo>
                    <a:pt x="892" y="420"/>
                  </a:lnTo>
                  <a:lnTo>
                    <a:pt x="884" y="430"/>
                  </a:lnTo>
                  <a:lnTo>
                    <a:pt x="877" y="437"/>
                  </a:lnTo>
                  <a:lnTo>
                    <a:pt x="869" y="453"/>
                  </a:lnTo>
                  <a:lnTo>
                    <a:pt x="863" y="466"/>
                  </a:lnTo>
                  <a:lnTo>
                    <a:pt x="859" y="478"/>
                  </a:lnTo>
                  <a:lnTo>
                    <a:pt x="858" y="485"/>
                  </a:lnTo>
                  <a:lnTo>
                    <a:pt x="856" y="497"/>
                  </a:lnTo>
                  <a:lnTo>
                    <a:pt x="848" y="504"/>
                  </a:lnTo>
                  <a:lnTo>
                    <a:pt x="836" y="510"/>
                  </a:lnTo>
                  <a:lnTo>
                    <a:pt x="823" y="506"/>
                  </a:lnTo>
                  <a:lnTo>
                    <a:pt x="817" y="504"/>
                  </a:lnTo>
                  <a:lnTo>
                    <a:pt x="811" y="514"/>
                  </a:lnTo>
                  <a:lnTo>
                    <a:pt x="808" y="518"/>
                  </a:lnTo>
                  <a:lnTo>
                    <a:pt x="800" y="526"/>
                  </a:lnTo>
                  <a:lnTo>
                    <a:pt x="788" y="529"/>
                  </a:lnTo>
                  <a:lnTo>
                    <a:pt x="787" y="537"/>
                  </a:lnTo>
                  <a:lnTo>
                    <a:pt x="781" y="545"/>
                  </a:lnTo>
                  <a:lnTo>
                    <a:pt x="773" y="55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 dirty="0"/>
            </a:p>
          </p:txBody>
        </p:sp>
        <p:sp>
          <p:nvSpPr>
            <p:cNvPr id="131" name="Freeform 16"/>
            <p:cNvSpPr>
              <a:spLocks/>
            </p:cNvSpPr>
            <p:nvPr/>
          </p:nvSpPr>
          <p:spPr bwMode="auto">
            <a:xfrm>
              <a:off x="4673978" y="393812"/>
              <a:ext cx="763318" cy="920282"/>
            </a:xfrm>
            <a:custGeom>
              <a:avLst/>
              <a:gdLst>
                <a:gd name="T0" fmla="*/ 384 w 392"/>
                <a:gd name="T1" fmla="*/ 289 h 473"/>
                <a:gd name="T2" fmla="*/ 376 w 392"/>
                <a:gd name="T3" fmla="*/ 341 h 473"/>
                <a:gd name="T4" fmla="*/ 352 w 392"/>
                <a:gd name="T5" fmla="*/ 353 h 473"/>
                <a:gd name="T6" fmla="*/ 317 w 392"/>
                <a:gd name="T7" fmla="*/ 362 h 473"/>
                <a:gd name="T8" fmla="*/ 284 w 392"/>
                <a:gd name="T9" fmla="*/ 381 h 473"/>
                <a:gd name="T10" fmla="*/ 254 w 392"/>
                <a:gd name="T11" fmla="*/ 366 h 473"/>
                <a:gd name="T12" fmla="*/ 227 w 392"/>
                <a:gd name="T13" fmla="*/ 402 h 473"/>
                <a:gd name="T14" fmla="*/ 219 w 392"/>
                <a:gd name="T15" fmla="*/ 447 h 473"/>
                <a:gd name="T16" fmla="*/ 202 w 392"/>
                <a:gd name="T17" fmla="*/ 473 h 473"/>
                <a:gd name="T18" fmla="*/ 179 w 392"/>
                <a:gd name="T19" fmla="*/ 439 h 473"/>
                <a:gd name="T20" fmla="*/ 173 w 392"/>
                <a:gd name="T21" fmla="*/ 397 h 473"/>
                <a:gd name="T22" fmla="*/ 167 w 392"/>
                <a:gd name="T23" fmla="*/ 351 h 473"/>
                <a:gd name="T24" fmla="*/ 152 w 392"/>
                <a:gd name="T25" fmla="*/ 303 h 473"/>
                <a:gd name="T26" fmla="*/ 133 w 392"/>
                <a:gd name="T27" fmla="*/ 262 h 473"/>
                <a:gd name="T28" fmla="*/ 112 w 392"/>
                <a:gd name="T29" fmla="*/ 228 h 473"/>
                <a:gd name="T30" fmla="*/ 87 w 392"/>
                <a:gd name="T31" fmla="*/ 213 h 473"/>
                <a:gd name="T32" fmla="*/ 54 w 392"/>
                <a:gd name="T33" fmla="*/ 213 h 473"/>
                <a:gd name="T34" fmla="*/ 33 w 392"/>
                <a:gd name="T35" fmla="*/ 195 h 473"/>
                <a:gd name="T36" fmla="*/ 31 w 392"/>
                <a:gd name="T37" fmla="*/ 176 h 473"/>
                <a:gd name="T38" fmla="*/ 23 w 392"/>
                <a:gd name="T39" fmla="*/ 151 h 473"/>
                <a:gd name="T40" fmla="*/ 29 w 392"/>
                <a:gd name="T41" fmla="*/ 132 h 473"/>
                <a:gd name="T42" fmla="*/ 23 w 392"/>
                <a:gd name="T43" fmla="*/ 109 h 473"/>
                <a:gd name="T44" fmla="*/ 0 w 392"/>
                <a:gd name="T45" fmla="*/ 92 h 473"/>
                <a:gd name="T46" fmla="*/ 14 w 392"/>
                <a:gd name="T47" fmla="*/ 72 h 473"/>
                <a:gd name="T48" fmla="*/ 43 w 392"/>
                <a:gd name="T49" fmla="*/ 76 h 473"/>
                <a:gd name="T50" fmla="*/ 71 w 392"/>
                <a:gd name="T51" fmla="*/ 90 h 473"/>
                <a:gd name="T52" fmla="*/ 102 w 392"/>
                <a:gd name="T53" fmla="*/ 96 h 473"/>
                <a:gd name="T54" fmla="*/ 125 w 392"/>
                <a:gd name="T55" fmla="*/ 92 h 473"/>
                <a:gd name="T56" fmla="*/ 144 w 392"/>
                <a:gd name="T57" fmla="*/ 76 h 473"/>
                <a:gd name="T58" fmla="*/ 165 w 392"/>
                <a:gd name="T59" fmla="*/ 74 h 473"/>
                <a:gd name="T60" fmla="*/ 186 w 392"/>
                <a:gd name="T61" fmla="*/ 69 h 473"/>
                <a:gd name="T62" fmla="*/ 215 w 392"/>
                <a:gd name="T63" fmla="*/ 61 h 473"/>
                <a:gd name="T64" fmla="*/ 234 w 392"/>
                <a:gd name="T65" fmla="*/ 51 h 473"/>
                <a:gd name="T66" fmla="*/ 257 w 392"/>
                <a:gd name="T67" fmla="*/ 36 h 473"/>
                <a:gd name="T68" fmla="*/ 271 w 392"/>
                <a:gd name="T69" fmla="*/ 23 h 473"/>
                <a:gd name="T70" fmla="*/ 282 w 392"/>
                <a:gd name="T71" fmla="*/ 9 h 473"/>
                <a:gd name="T72" fmla="*/ 288 w 392"/>
                <a:gd name="T73" fmla="*/ 0 h 473"/>
                <a:gd name="T74" fmla="*/ 311 w 392"/>
                <a:gd name="T75" fmla="*/ 3 h 473"/>
                <a:gd name="T76" fmla="*/ 319 w 392"/>
                <a:gd name="T77" fmla="*/ 25 h 473"/>
                <a:gd name="T78" fmla="*/ 323 w 392"/>
                <a:gd name="T79" fmla="*/ 48 h 473"/>
                <a:gd name="T80" fmla="*/ 338 w 392"/>
                <a:gd name="T81" fmla="*/ 57 h 473"/>
                <a:gd name="T82" fmla="*/ 342 w 392"/>
                <a:gd name="T83" fmla="*/ 76 h 473"/>
                <a:gd name="T84" fmla="*/ 353 w 392"/>
                <a:gd name="T85" fmla="*/ 92 h 473"/>
                <a:gd name="T86" fmla="*/ 338 w 392"/>
                <a:gd name="T87" fmla="*/ 109 h 473"/>
                <a:gd name="T88" fmla="*/ 336 w 392"/>
                <a:gd name="T89" fmla="*/ 119 h 473"/>
                <a:gd name="T90" fmla="*/ 328 w 392"/>
                <a:gd name="T91" fmla="*/ 140 h 473"/>
                <a:gd name="T92" fmla="*/ 323 w 392"/>
                <a:gd name="T93" fmla="*/ 159 h 473"/>
                <a:gd name="T94" fmla="*/ 332 w 392"/>
                <a:gd name="T95" fmla="*/ 182 h 473"/>
                <a:gd name="T96" fmla="*/ 334 w 392"/>
                <a:gd name="T97" fmla="*/ 201 h 473"/>
                <a:gd name="T98" fmla="*/ 342 w 392"/>
                <a:gd name="T99" fmla="*/ 216 h 473"/>
                <a:gd name="T100" fmla="*/ 346 w 392"/>
                <a:gd name="T101" fmla="*/ 236 h 473"/>
                <a:gd name="T102" fmla="*/ 373 w 392"/>
                <a:gd name="T103" fmla="*/ 247 h 473"/>
                <a:gd name="T104" fmla="*/ 382 w 392"/>
                <a:gd name="T105" fmla="*/ 262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92" h="473">
                  <a:moveTo>
                    <a:pt x="392" y="270"/>
                  </a:moveTo>
                  <a:lnTo>
                    <a:pt x="388" y="280"/>
                  </a:lnTo>
                  <a:lnTo>
                    <a:pt x="384" y="289"/>
                  </a:lnTo>
                  <a:lnTo>
                    <a:pt x="378" y="305"/>
                  </a:lnTo>
                  <a:lnTo>
                    <a:pt x="378" y="324"/>
                  </a:lnTo>
                  <a:lnTo>
                    <a:pt x="376" y="341"/>
                  </a:lnTo>
                  <a:lnTo>
                    <a:pt x="369" y="351"/>
                  </a:lnTo>
                  <a:lnTo>
                    <a:pt x="361" y="351"/>
                  </a:lnTo>
                  <a:lnTo>
                    <a:pt x="352" y="353"/>
                  </a:lnTo>
                  <a:lnTo>
                    <a:pt x="340" y="355"/>
                  </a:lnTo>
                  <a:lnTo>
                    <a:pt x="334" y="358"/>
                  </a:lnTo>
                  <a:lnTo>
                    <a:pt x="317" y="362"/>
                  </a:lnTo>
                  <a:lnTo>
                    <a:pt x="304" y="364"/>
                  </a:lnTo>
                  <a:lnTo>
                    <a:pt x="292" y="374"/>
                  </a:lnTo>
                  <a:lnTo>
                    <a:pt x="284" y="381"/>
                  </a:lnTo>
                  <a:lnTo>
                    <a:pt x="273" y="385"/>
                  </a:lnTo>
                  <a:lnTo>
                    <a:pt x="265" y="376"/>
                  </a:lnTo>
                  <a:lnTo>
                    <a:pt x="254" y="366"/>
                  </a:lnTo>
                  <a:lnTo>
                    <a:pt x="242" y="374"/>
                  </a:lnTo>
                  <a:lnTo>
                    <a:pt x="229" y="381"/>
                  </a:lnTo>
                  <a:lnTo>
                    <a:pt x="227" y="402"/>
                  </a:lnTo>
                  <a:lnTo>
                    <a:pt x="227" y="418"/>
                  </a:lnTo>
                  <a:lnTo>
                    <a:pt x="225" y="435"/>
                  </a:lnTo>
                  <a:lnTo>
                    <a:pt x="219" y="447"/>
                  </a:lnTo>
                  <a:lnTo>
                    <a:pt x="211" y="458"/>
                  </a:lnTo>
                  <a:lnTo>
                    <a:pt x="208" y="470"/>
                  </a:lnTo>
                  <a:lnTo>
                    <a:pt x="202" y="473"/>
                  </a:lnTo>
                  <a:lnTo>
                    <a:pt x="192" y="468"/>
                  </a:lnTo>
                  <a:lnTo>
                    <a:pt x="185" y="449"/>
                  </a:lnTo>
                  <a:lnTo>
                    <a:pt x="179" y="439"/>
                  </a:lnTo>
                  <a:lnTo>
                    <a:pt x="177" y="427"/>
                  </a:lnTo>
                  <a:lnTo>
                    <a:pt x="171" y="410"/>
                  </a:lnTo>
                  <a:lnTo>
                    <a:pt x="173" y="397"/>
                  </a:lnTo>
                  <a:lnTo>
                    <a:pt x="169" y="378"/>
                  </a:lnTo>
                  <a:lnTo>
                    <a:pt x="167" y="368"/>
                  </a:lnTo>
                  <a:lnTo>
                    <a:pt x="167" y="351"/>
                  </a:lnTo>
                  <a:lnTo>
                    <a:pt x="165" y="337"/>
                  </a:lnTo>
                  <a:lnTo>
                    <a:pt x="160" y="322"/>
                  </a:lnTo>
                  <a:lnTo>
                    <a:pt x="152" y="303"/>
                  </a:lnTo>
                  <a:lnTo>
                    <a:pt x="148" y="289"/>
                  </a:lnTo>
                  <a:lnTo>
                    <a:pt x="140" y="278"/>
                  </a:lnTo>
                  <a:lnTo>
                    <a:pt x="133" y="262"/>
                  </a:lnTo>
                  <a:lnTo>
                    <a:pt x="129" y="247"/>
                  </a:lnTo>
                  <a:lnTo>
                    <a:pt x="121" y="237"/>
                  </a:lnTo>
                  <a:lnTo>
                    <a:pt x="112" y="228"/>
                  </a:lnTo>
                  <a:lnTo>
                    <a:pt x="102" y="218"/>
                  </a:lnTo>
                  <a:lnTo>
                    <a:pt x="92" y="216"/>
                  </a:lnTo>
                  <a:lnTo>
                    <a:pt x="87" y="213"/>
                  </a:lnTo>
                  <a:lnTo>
                    <a:pt x="75" y="211"/>
                  </a:lnTo>
                  <a:lnTo>
                    <a:pt x="64" y="213"/>
                  </a:lnTo>
                  <a:lnTo>
                    <a:pt x="54" y="213"/>
                  </a:lnTo>
                  <a:lnTo>
                    <a:pt x="48" y="205"/>
                  </a:lnTo>
                  <a:lnTo>
                    <a:pt x="37" y="203"/>
                  </a:lnTo>
                  <a:lnTo>
                    <a:pt x="33" y="195"/>
                  </a:lnTo>
                  <a:lnTo>
                    <a:pt x="27" y="190"/>
                  </a:lnTo>
                  <a:lnTo>
                    <a:pt x="27" y="186"/>
                  </a:lnTo>
                  <a:lnTo>
                    <a:pt x="31" y="176"/>
                  </a:lnTo>
                  <a:lnTo>
                    <a:pt x="23" y="168"/>
                  </a:lnTo>
                  <a:lnTo>
                    <a:pt x="23" y="159"/>
                  </a:lnTo>
                  <a:lnTo>
                    <a:pt x="23" y="151"/>
                  </a:lnTo>
                  <a:lnTo>
                    <a:pt x="23" y="143"/>
                  </a:lnTo>
                  <a:lnTo>
                    <a:pt x="23" y="136"/>
                  </a:lnTo>
                  <a:lnTo>
                    <a:pt x="29" y="132"/>
                  </a:lnTo>
                  <a:lnTo>
                    <a:pt x="35" y="124"/>
                  </a:lnTo>
                  <a:lnTo>
                    <a:pt x="31" y="115"/>
                  </a:lnTo>
                  <a:lnTo>
                    <a:pt x="23" y="109"/>
                  </a:lnTo>
                  <a:lnTo>
                    <a:pt x="16" y="105"/>
                  </a:lnTo>
                  <a:lnTo>
                    <a:pt x="8" y="101"/>
                  </a:lnTo>
                  <a:lnTo>
                    <a:pt x="0" y="92"/>
                  </a:lnTo>
                  <a:lnTo>
                    <a:pt x="0" y="82"/>
                  </a:lnTo>
                  <a:lnTo>
                    <a:pt x="6" y="76"/>
                  </a:lnTo>
                  <a:lnTo>
                    <a:pt x="14" y="72"/>
                  </a:lnTo>
                  <a:lnTo>
                    <a:pt x="23" y="69"/>
                  </a:lnTo>
                  <a:lnTo>
                    <a:pt x="31" y="72"/>
                  </a:lnTo>
                  <a:lnTo>
                    <a:pt x="43" y="76"/>
                  </a:lnTo>
                  <a:lnTo>
                    <a:pt x="50" y="80"/>
                  </a:lnTo>
                  <a:lnTo>
                    <a:pt x="64" y="84"/>
                  </a:lnTo>
                  <a:lnTo>
                    <a:pt x="71" y="90"/>
                  </a:lnTo>
                  <a:lnTo>
                    <a:pt x="83" y="92"/>
                  </a:lnTo>
                  <a:lnTo>
                    <a:pt x="91" y="96"/>
                  </a:lnTo>
                  <a:lnTo>
                    <a:pt x="102" y="96"/>
                  </a:lnTo>
                  <a:lnTo>
                    <a:pt x="112" y="96"/>
                  </a:lnTo>
                  <a:lnTo>
                    <a:pt x="119" y="96"/>
                  </a:lnTo>
                  <a:lnTo>
                    <a:pt x="125" y="92"/>
                  </a:lnTo>
                  <a:lnTo>
                    <a:pt x="129" y="86"/>
                  </a:lnTo>
                  <a:lnTo>
                    <a:pt x="135" y="82"/>
                  </a:lnTo>
                  <a:lnTo>
                    <a:pt x="144" y="76"/>
                  </a:lnTo>
                  <a:lnTo>
                    <a:pt x="150" y="74"/>
                  </a:lnTo>
                  <a:lnTo>
                    <a:pt x="160" y="76"/>
                  </a:lnTo>
                  <a:lnTo>
                    <a:pt x="165" y="74"/>
                  </a:lnTo>
                  <a:lnTo>
                    <a:pt x="173" y="71"/>
                  </a:lnTo>
                  <a:lnTo>
                    <a:pt x="181" y="69"/>
                  </a:lnTo>
                  <a:lnTo>
                    <a:pt x="186" y="69"/>
                  </a:lnTo>
                  <a:lnTo>
                    <a:pt x="196" y="67"/>
                  </a:lnTo>
                  <a:lnTo>
                    <a:pt x="206" y="67"/>
                  </a:lnTo>
                  <a:lnTo>
                    <a:pt x="215" y="61"/>
                  </a:lnTo>
                  <a:lnTo>
                    <a:pt x="219" y="55"/>
                  </a:lnTo>
                  <a:lnTo>
                    <a:pt x="225" y="53"/>
                  </a:lnTo>
                  <a:lnTo>
                    <a:pt x="234" y="51"/>
                  </a:lnTo>
                  <a:lnTo>
                    <a:pt x="244" y="49"/>
                  </a:lnTo>
                  <a:lnTo>
                    <a:pt x="254" y="42"/>
                  </a:lnTo>
                  <a:lnTo>
                    <a:pt x="257" y="36"/>
                  </a:lnTo>
                  <a:lnTo>
                    <a:pt x="261" y="32"/>
                  </a:lnTo>
                  <a:lnTo>
                    <a:pt x="265" y="26"/>
                  </a:lnTo>
                  <a:lnTo>
                    <a:pt x="271" y="23"/>
                  </a:lnTo>
                  <a:lnTo>
                    <a:pt x="277" y="21"/>
                  </a:lnTo>
                  <a:lnTo>
                    <a:pt x="281" y="15"/>
                  </a:lnTo>
                  <a:lnTo>
                    <a:pt x="282" y="9"/>
                  </a:lnTo>
                  <a:lnTo>
                    <a:pt x="275" y="5"/>
                  </a:lnTo>
                  <a:lnTo>
                    <a:pt x="279" y="0"/>
                  </a:lnTo>
                  <a:lnTo>
                    <a:pt x="288" y="0"/>
                  </a:lnTo>
                  <a:lnTo>
                    <a:pt x="296" y="0"/>
                  </a:lnTo>
                  <a:lnTo>
                    <a:pt x="305" y="2"/>
                  </a:lnTo>
                  <a:lnTo>
                    <a:pt x="311" y="3"/>
                  </a:lnTo>
                  <a:lnTo>
                    <a:pt x="315" y="7"/>
                  </a:lnTo>
                  <a:lnTo>
                    <a:pt x="319" y="13"/>
                  </a:lnTo>
                  <a:lnTo>
                    <a:pt x="319" y="25"/>
                  </a:lnTo>
                  <a:lnTo>
                    <a:pt x="319" y="34"/>
                  </a:lnTo>
                  <a:lnTo>
                    <a:pt x="319" y="42"/>
                  </a:lnTo>
                  <a:lnTo>
                    <a:pt x="323" y="48"/>
                  </a:lnTo>
                  <a:lnTo>
                    <a:pt x="327" y="49"/>
                  </a:lnTo>
                  <a:lnTo>
                    <a:pt x="332" y="53"/>
                  </a:lnTo>
                  <a:lnTo>
                    <a:pt x="338" y="57"/>
                  </a:lnTo>
                  <a:lnTo>
                    <a:pt x="340" y="65"/>
                  </a:lnTo>
                  <a:lnTo>
                    <a:pt x="340" y="71"/>
                  </a:lnTo>
                  <a:lnTo>
                    <a:pt x="342" y="76"/>
                  </a:lnTo>
                  <a:lnTo>
                    <a:pt x="348" y="78"/>
                  </a:lnTo>
                  <a:lnTo>
                    <a:pt x="355" y="86"/>
                  </a:lnTo>
                  <a:lnTo>
                    <a:pt x="353" y="92"/>
                  </a:lnTo>
                  <a:lnTo>
                    <a:pt x="348" y="101"/>
                  </a:lnTo>
                  <a:lnTo>
                    <a:pt x="342" y="107"/>
                  </a:lnTo>
                  <a:lnTo>
                    <a:pt x="338" y="109"/>
                  </a:lnTo>
                  <a:lnTo>
                    <a:pt x="334" y="111"/>
                  </a:lnTo>
                  <a:lnTo>
                    <a:pt x="336" y="115"/>
                  </a:lnTo>
                  <a:lnTo>
                    <a:pt x="336" y="119"/>
                  </a:lnTo>
                  <a:lnTo>
                    <a:pt x="330" y="128"/>
                  </a:lnTo>
                  <a:lnTo>
                    <a:pt x="328" y="134"/>
                  </a:lnTo>
                  <a:lnTo>
                    <a:pt x="328" y="140"/>
                  </a:lnTo>
                  <a:lnTo>
                    <a:pt x="323" y="147"/>
                  </a:lnTo>
                  <a:lnTo>
                    <a:pt x="325" y="151"/>
                  </a:lnTo>
                  <a:lnTo>
                    <a:pt x="323" y="159"/>
                  </a:lnTo>
                  <a:lnTo>
                    <a:pt x="325" y="170"/>
                  </a:lnTo>
                  <a:lnTo>
                    <a:pt x="328" y="176"/>
                  </a:lnTo>
                  <a:lnTo>
                    <a:pt x="332" y="182"/>
                  </a:lnTo>
                  <a:lnTo>
                    <a:pt x="332" y="190"/>
                  </a:lnTo>
                  <a:lnTo>
                    <a:pt x="330" y="197"/>
                  </a:lnTo>
                  <a:lnTo>
                    <a:pt x="334" y="201"/>
                  </a:lnTo>
                  <a:lnTo>
                    <a:pt x="340" y="203"/>
                  </a:lnTo>
                  <a:lnTo>
                    <a:pt x="340" y="211"/>
                  </a:lnTo>
                  <a:lnTo>
                    <a:pt x="342" y="216"/>
                  </a:lnTo>
                  <a:lnTo>
                    <a:pt x="342" y="224"/>
                  </a:lnTo>
                  <a:lnTo>
                    <a:pt x="342" y="230"/>
                  </a:lnTo>
                  <a:lnTo>
                    <a:pt x="346" y="236"/>
                  </a:lnTo>
                  <a:lnTo>
                    <a:pt x="355" y="239"/>
                  </a:lnTo>
                  <a:lnTo>
                    <a:pt x="363" y="241"/>
                  </a:lnTo>
                  <a:lnTo>
                    <a:pt x="373" y="247"/>
                  </a:lnTo>
                  <a:lnTo>
                    <a:pt x="375" y="251"/>
                  </a:lnTo>
                  <a:lnTo>
                    <a:pt x="378" y="259"/>
                  </a:lnTo>
                  <a:lnTo>
                    <a:pt x="382" y="262"/>
                  </a:lnTo>
                  <a:lnTo>
                    <a:pt x="386" y="266"/>
                  </a:lnTo>
                  <a:lnTo>
                    <a:pt x="392" y="27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/>
            </a:p>
          </p:txBody>
        </p:sp>
        <p:sp>
          <p:nvSpPr>
            <p:cNvPr id="132" name="Freeform 17"/>
            <p:cNvSpPr>
              <a:spLocks/>
            </p:cNvSpPr>
            <p:nvPr/>
          </p:nvSpPr>
          <p:spPr bwMode="auto">
            <a:xfrm>
              <a:off x="6030749" y="481970"/>
              <a:ext cx="677310" cy="795571"/>
            </a:xfrm>
            <a:custGeom>
              <a:avLst/>
              <a:gdLst>
                <a:gd name="T0" fmla="*/ 200 w 347"/>
                <a:gd name="T1" fmla="*/ 404 h 408"/>
                <a:gd name="T2" fmla="*/ 177 w 347"/>
                <a:gd name="T3" fmla="*/ 387 h 408"/>
                <a:gd name="T4" fmla="*/ 159 w 347"/>
                <a:gd name="T5" fmla="*/ 366 h 408"/>
                <a:gd name="T6" fmla="*/ 152 w 347"/>
                <a:gd name="T7" fmla="*/ 349 h 408"/>
                <a:gd name="T8" fmla="*/ 136 w 347"/>
                <a:gd name="T9" fmla="*/ 335 h 408"/>
                <a:gd name="T10" fmla="*/ 129 w 347"/>
                <a:gd name="T11" fmla="*/ 305 h 408"/>
                <a:gd name="T12" fmla="*/ 119 w 347"/>
                <a:gd name="T13" fmla="*/ 280 h 408"/>
                <a:gd name="T14" fmla="*/ 113 w 347"/>
                <a:gd name="T15" fmla="*/ 262 h 408"/>
                <a:gd name="T16" fmla="*/ 96 w 347"/>
                <a:gd name="T17" fmla="*/ 249 h 408"/>
                <a:gd name="T18" fmla="*/ 75 w 347"/>
                <a:gd name="T19" fmla="*/ 224 h 408"/>
                <a:gd name="T20" fmla="*/ 54 w 347"/>
                <a:gd name="T21" fmla="*/ 218 h 408"/>
                <a:gd name="T22" fmla="*/ 35 w 347"/>
                <a:gd name="T23" fmla="*/ 203 h 408"/>
                <a:gd name="T24" fmla="*/ 12 w 347"/>
                <a:gd name="T25" fmla="*/ 197 h 408"/>
                <a:gd name="T26" fmla="*/ 8 w 347"/>
                <a:gd name="T27" fmla="*/ 176 h 408"/>
                <a:gd name="T28" fmla="*/ 6 w 347"/>
                <a:gd name="T29" fmla="*/ 153 h 408"/>
                <a:gd name="T30" fmla="*/ 0 w 347"/>
                <a:gd name="T31" fmla="*/ 140 h 408"/>
                <a:gd name="T32" fmla="*/ 21 w 347"/>
                <a:gd name="T33" fmla="*/ 144 h 408"/>
                <a:gd name="T34" fmla="*/ 40 w 347"/>
                <a:gd name="T35" fmla="*/ 157 h 408"/>
                <a:gd name="T36" fmla="*/ 59 w 347"/>
                <a:gd name="T37" fmla="*/ 170 h 408"/>
                <a:gd name="T38" fmla="*/ 81 w 347"/>
                <a:gd name="T39" fmla="*/ 168 h 408"/>
                <a:gd name="T40" fmla="*/ 98 w 347"/>
                <a:gd name="T41" fmla="*/ 163 h 408"/>
                <a:gd name="T42" fmla="*/ 113 w 347"/>
                <a:gd name="T43" fmla="*/ 176 h 408"/>
                <a:gd name="T44" fmla="*/ 130 w 347"/>
                <a:gd name="T45" fmla="*/ 182 h 408"/>
                <a:gd name="T46" fmla="*/ 140 w 347"/>
                <a:gd name="T47" fmla="*/ 167 h 408"/>
                <a:gd name="T48" fmla="*/ 155 w 347"/>
                <a:gd name="T49" fmla="*/ 159 h 408"/>
                <a:gd name="T50" fmla="*/ 163 w 347"/>
                <a:gd name="T51" fmla="*/ 138 h 408"/>
                <a:gd name="T52" fmla="*/ 173 w 347"/>
                <a:gd name="T53" fmla="*/ 122 h 408"/>
                <a:gd name="T54" fmla="*/ 184 w 347"/>
                <a:gd name="T55" fmla="*/ 103 h 408"/>
                <a:gd name="T56" fmla="*/ 190 w 347"/>
                <a:gd name="T57" fmla="*/ 92 h 408"/>
                <a:gd name="T58" fmla="*/ 194 w 347"/>
                <a:gd name="T59" fmla="*/ 67 h 408"/>
                <a:gd name="T60" fmla="*/ 205 w 347"/>
                <a:gd name="T61" fmla="*/ 44 h 408"/>
                <a:gd name="T62" fmla="*/ 215 w 347"/>
                <a:gd name="T63" fmla="*/ 30 h 408"/>
                <a:gd name="T64" fmla="*/ 223 w 347"/>
                <a:gd name="T65" fmla="*/ 11 h 408"/>
                <a:gd name="T66" fmla="*/ 230 w 347"/>
                <a:gd name="T67" fmla="*/ 0 h 408"/>
                <a:gd name="T68" fmla="*/ 246 w 347"/>
                <a:gd name="T69" fmla="*/ 7 h 408"/>
                <a:gd name="T70" fmla="*/ 255 w 347"/>
                <a:gd name="T71" fmla="*/ 21 h 408"/>
                <a:gd name="T72" fmla="*/ 261 w 347"/>
                <a:gd name="T73" fmla="*/ 36 h 408"/>
                <a:gd name="T74" fmla="*/ 271 w 347"/>
                <a:gd name="T75" fmla="*/ 48 h 408"/>
                <a:gd name="T76" fmla="*/ 271 w 347"/>
                <a:gd name="T77" fmla="*/ 69 h 408"/>
                <a:gd name="T78" fmla="*/ 272 w 347"/>
                <a:gd name="T79" fmla="*/ 82 h 408"/>
                <a:gd name="T80" fmla="*/ 276 w 347"/>
                <a:gd name="T81" fmla="*/ 94 h 408"/>
                <a:gd name="T82" fmla="*/ 274 w 347"/>
                <a:gd name="T83" fmla="*/ 105 h 408"/>
                <a:gd name="T84" fmla="*/ 282 w 347"/>
                <a:gd name="T85" fmla="*/ 124 h 408"/>
                <a:gd name="T86" fmla="*/ 294 w 347"/>
                <a:gd name="T87" fmla="*/ 138 h 408"/>
                <a:gd name="T88" fmla="*/ 294 w 347"/>
                <a:gd name="T89" fmla="*/ 155 h 408"/>
                <a:gd name="T90" fmla="*/ 297 w 347"/>
                <a:gd name="T91" fmla="*/ 176 h 408"/>
                <a:gd name="T92" fmla="*/ 313 w 347"/>
                <a:gd name="T93" fmla="*/ 190 h 408"/>
                <a:gd name="T94" fmla="*/ 336 w 347"/>
                <a:gd name="T95" fmla="*/ 195 h 408"/>
                <a:gd name="T96" fmla="*/ 345 w 347"/>
                <a:gd name="T97" fmla="*/ 205 h 408"/>
                <a:gd name="T98" fmla="*/ 345 w 347"/>
                <a:gd name="T99" fmla="*/ 230 h 408"/>
                <a:gd name="T100" fmla="*/ 332 w 347"/>
                <a:gd name="T101" fmla="*/ 255 h 408"/>
                <a:gd name="T102" fmla="*/ 317 w 347"/>
                <a:gd name="T103" fmla="*/ 274 h 408"/>
                <a:gd name="T104" fmla="*/ 301 w 347"/>
                <a:gd name="T105" fmla="*/ 282 h 408"/>
                <a:gd name="T106" fmla="*/ 296 w 347"/>
                <a:gd name="T107" fmla="*/ 293 h 408"/>
                <a:gd name="T108" fmla="*/ 278 w 347"/>
                <a:gd name="T109" fmla="*/ 307 h 408"/>
                <a:gd name="T110" fmla="*/ 255 w 347"/>
                <a:gd name="T111" fmla="*/ 324 h 408"/>
                <a:gd name="T112" fmla="*/ 238 w 347"/>
                <a:gd name="T113" fmla="*/ 335 h 408"/>
                <a:gd name="T114" fmla="*/ 228 w 347"/>
                <a:gd name="T115" fmla="*/ 351 h 408"/>
                <a:gd name="T116" fmla="*/ 223 w 347"/>
                <a:gd name="T117" fmla="*/ 362 h 408"/>
                <a:gd name="T118" fmla="*/ 226 w 347"/>
                <a:gd name="T119" fmla="*/ 378 h 408"/>
                <a:gd name="T120" fmla="*/ 217 w 347"/>
                <a:gd name="T121" fmla="*/ 391 h 408"/>
                <a:gd name="T122" fmla="*/ 213 w 347"/>
                <a:gd name="T123" fmla="*/ 408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47" h="408">
                  <a:moveTo>
                    <a:pt x="213" y="408"/>
                  </a:moveTo>
                  <a:lnTo>
                    <a:pt x="200" y="404"/>
                  </a:lnTo>
                  <a:lnTo>
                    <a:pt x="186" y="401"/>
                  </a:lnTo>
                  <a:lnTo>
                    <a:pt x="177" y="387"/>
                  </a:lnTo>
                  <a:lnTo>
                    <a:pt x="163" y="379"/>
                  </a:lnTo>
                  <a:lnTo>
                    <a:pt x="159" y="366"/>
                  </a:lnTo>
                  <a:lnTo>
                    <a:pt x="159" y="356"/>
                  </a:lnTo>
                  <a:lnTo>
                    <a:pt x="152" y="349"/>
                  </a:lnTo>
                  <a:lnTo>
                    <a:pt x="144" y="343"/>
                  </a:lnTo>
                  <a:lnTo>
                    <a:pt x="136" y="335"/>
                  </a:lnTo>
                  <a:lnTo>
                    <a:pt x="127" y="318"/>
                  </a:lnTo>
                  <a:lnTo>
                    <a:pt x="129" y="305"/>
                  </a:lnTo>
                  <a:lnTo>
                    <a:pt x="119" y="291"/>
                  </a:lnTo>
                  <a:lnTo>
                    <a:pt x="119" y="280"/>
                  </a:lnTo>
                  <a:lnTo>
                    <a:pt x="123" y="268"/>
                  </a:lnTo>
                  <a:lnTo>
                    <a:pt x="113" y="262"/>
                  </a:lnTo>
                  <a:lnTo>
                    <a:pt x="107" y="257"/>
                  </a:lnTo>
                  <a:lnTo>
                    <a:pt x="96" y="249"/>
                  </a:lnTo>
                  <a:lnTo>
                    <a:pt x="88" y="236"/>
                  </a:lnTo>
                  <a:lnTo>
                    <a:pt x="75" y="224"/>
                  </a:lnTo>
                  <a:lnTo>
                    <a:pt x="65" y="216"/>
                  </a:lnTo>
                  <a:lnTo>
                    <a:pt x="54" y="218"/>
                  </a:lnTo>
                  <a:lnTo>
                    <a:pt x="44" y="211"/>
                  </a:lnTo>
                  <a:lnTo>
                    <a:pt x="35" y="203"/>
                  </a:lnTo>
                  <a:lnTo>
                    <a:pt x="23" y="199"/>
                  </a:lnTo>
                  <a:lnTo>
                    <a:pt x="12" y="197"/>
                  </a:lnTo>
                  <a:lnTo>
                    <a:pt x="8" y="188"/>
                  </a:lnTo>
                  <a:lnTo>
                    <a:pt x="8" y="176"/>
                  </a:lnTo>
                  <a:lnTo>
                    <a:pt x="6" y="163"/>
                  </a:lnTo>
                  <a:lnTo>
                    <a:pt x="6" y="153"/>
                  </a:lnTo>
                  <a:lnTo>
                    <a:pt x="4" y="145"/>
                  </a:lnTo>
                  <a:lnTo>
                    <a:pt x="0" y="140"/>
                  </a:lnTo>
                  <a:lnTo>
                    <a:pt x="12" y="142"/>
                  </a:lnTo>
                  <a:lnTo>
                    <a:pt x="21" y="144"/>
                  </a:lnTo>
                  <a:lnTo>
                    <a:pt x="35" y="151"/>
                  </a:lnTo>
                  <a:lnTo>
                    <a:pt x="40" y="157"/>
                  </a:lnTo>
                  <a:lnTo>
                    <a:pt x="54" y="165"/>
                  </a:lnTo>
                  <a:lnTo>
                    <a:pt x="59" y="170"/>
                  </a:lnTo>
                  <a:lnTo>
                    <a:pt x="69" y="170"/>
                  </a:lnTo>
                  <a:lnTo>
                    <a:pt x="81" y="168"/>
                  </a:lnTo>
                  <a:lnTo>
                    <a:pt x="90" y="165"/>
                  </a:lnTo>
                  <a:lnTo>
                    <a:pt x="98" y="163"/>
                  </a:lnTo>
                  <a:lnTo>
                    <a:pt x="106" y="170"/>
                  </a:lnTo>
                  <a:lnTo>
                    <a:pt x="113" y="176"/>
                  </a:lnTo>
                  <a:lnTo>
                    <a:pt x="123" y="184"/>
                  </a:lnTo>
                  <a:lnTo>
                    <a:pt x="130" y="182"/>
                  </a:lnTo>
                  <a:lnTo>
                    <a:pt x="138" y="174"/>
                  </a:lnTo>
                  <a:lnTo>
                    <a:pt x="140" y="167"/>
                  </a:lnTo>
                  <a:lnTo>
                    <a:pt x="148" y="163"/>
                  </a:lnTo>
                  <a:lnTo>
                    <a:pt x="155" y="159"/>
                  </a:lnTo>
                  <a:lnTo>
                    <a:pt x="161" y="147"/>
                  </a:lnTo>
                  <a:lnTo>
                    <a:pt x="163" y="138"/>
                  </a:lnTo>
                  <a:lnTo>
                    <a:pt x="169" y="130"/>
                  </a:lnTo>
                  <a:lnTo>
                    <a:pt x="173" y="122"/>
                  </a:lnTo>
                  <a:lnTo>
                    <a:pt x="177" y="111"/>
                  </a:lnTo>
                  <a:lnTo>
                    <a:pt x="184" y="103"/>
                  </a:lnTo>
                  <a:lnTo>
                    <a:pt x="190" y="97"/>
                  </a:lnTo>
                  <a:lnTo>
                    <a:pt x="190" y="92"/>
                  </a:lnTo>
                  <a:lnTo>
                    <a:pt x="194" y="78"/>
                  </a:lnTo>
                  <a:lnTo>
                    <a:pt x="194" y="67"/>
                  </a:lnTo>
                  <a:lnTo>
                    <a:pt x="201" y="57"/>
                  </a:lnTo>
                  <a:lnTo>
                    <a:pt x="205" y="44"/>
                  </a:lnTo>
                  <a:lnTo>
                    <a:pt x="213" y="36"/>
                  </a:lnTo>
                  <a:lnTo>
                    <a:pt x="215" y="30"/>
                  </a:lnTo>
                  <a:lnTo>
                    <a:pt x="217" y="21"/>
                  </a:lnTo>
                  <a:lnTo>
                    <a:pt x="223" y="11"/>
                  </a:lnTo>
                  <a:lnTo>
                    <a:pt x="225" y="3"/>
                  </a:lnTo>
                  <a:lnTo>
                    <a:pt x="230" y="0"/>
                  </a:lnTo>
                  <a:lnTo>
                    <a:pt x="238" y="3"/>
                  </a:lnTo>
                  <a:lnTo>
                    <a:pt x="246" y="7"/>
                  </a:lnTo>
                  <a:lnTo>
                    <a:pt x="251" y="15"/>
                  </a:lnTo>
                  <a:lnTo>
                    <a:pt x="255" y="21"/>
                  </a:lnTo>
                  <a:lnTo>
                    <a:pt x="255" y="28"/>
                  </a:lnTo>
                  <a:lnTo>
                    <a:pt x="261" y="36"/>
                  </a:lnTo>
                  <a:lnTo>
                    <a:pt x="269" y="42"/>
                  </a:lnTo>
                  <a:lnTo>
                    <a:pt x="271" y="48"/>
                  </a:lnTo>
                  <a:lnTo>
                    <a:pt x="271" y="61"/>
                  </a:lnTo>
                  <a:lnTo>
                    <a:pt x="271" y="69"/>
                  </a:lnTo>
                  <a:lnTo>
                    <a:pt x="269" y="74"/>
                  </a:lnTo>
                  <a:lnTo>
                    <a:pt x="272" y="82"/>
                  </a:lnTo>
                  <a:lnTo>
                    <a:pt x="276" y="88"/>
                  </a:lnTo>
                  <a:lnTo>
                    <a:pt x="276" y="94"/>
                  </a:lnTo>
                  <a:lnTo>
                    <a:pt x="274" y="99"/>
                  </a:lnTo>
                  <a:lnTo>
                    <a:pt x="274" y="105"/>
                  </a:lnTo>
                  <a:lnTo>
                    <a:pt x="276" y="117"/>
                  </a:lnTo>
                  <a:lnTo>
                    <a:pt x="282" y="124"/>
                  </a:lnTo>
                  <a:lnTo>
                    <a:pt x="290" y="130"/>
                  </a:lnTo>
                  <a:lnTo>
                    <a:pt x="294" y="138"/>
                  </a:lnTo>
                  <a:lnTo>
                    <a:pt x="294" y="147"/>
                  </a:lnTo>
                  <a:lnTo>
                    <a:pt x="294" y="155"/>
                  </a:lnTo>
                  <a:lnTo>
                    <a:pt x="297" y="163"/>
                  </a:lnTo>
                  <a:lnTo>
                    <a:pt x="297" y="176"/>
                  </a:lnTo>
                  <a:lnTo>
                    <a:pt x="305" y="184"/>
                  </a:lnTo>
                  <a:lnTo>
                    <a:pt x="313" y="190"/>
                  </a:lnTo>
                  <a:lnTo>
                    <a:pt x="322" y="190"/>
                  </a:lnTo>
                  <a:lnTo>
                    <a:pt x="336" y="195"/>
                  </a:lnTo>
                  <a:lnTo>
                    <a:pt x="343" y="197"/>
                  </a:lnTo>
                  <a:lnTo>
                    <a:pt x="345" y="205"/>
                  </a:lnTo>
                  <a:lnTo>
                    <a:pt x="347" y="216"/>
                  </a:lnTo>
                  <a:lnTo>
                    <a:pt x="345" y="230"/>
                  </a:lnTo>
                  <a:lnTo>
                    <a:pt x="342" y="243"/>
                  </a:lnTo>
                  <a:lnTo>
                    <a:pt x="332" y="255"/>
                  </a:lnTo>
                  <a:lnTo>
                    <a:pt x="324" y="266"/>
                  </a:lnTo>
                  <a:lnTo>
                    <a:pt x="317" y="274"/>
                  </a:lnTo>
                  <a:lnTo>
                    <a:pt x="311" y="276"/>
                  </a:lnTo>
                  <a:lnTo>
                    <a:pt x="301" y="282"/>
                  </a:lnTo>
                  <a:lnTo>
                    <a:pt x="299" y="289"/>
                  </a:lnTo>
                  <a:lnTo>
                    <a:pt x="296" y="293"/>
                  </a:lnTo>
                  <a:lnTo>
                    <a:pt x="288" y="299"/>
                  </a:lnTo>
                  <a:lnTo>
                    <a:pt x="278" y="307"/>
                  </a:lnTo>
                  <a:lnTo>
                    <a:pt x="265" y="314"/>
                  </a:lnTo>
                  <a:lnTo>
                    <a:pt x="255" y="324"/>
                  </a:lnTo>
                  <a:lnTo>
                    <a:pt x="248" y="326"/>
                  </a:lnTo>
                  <a:lnTo>
                    <a:pt x="238" y="335"/>
                  </a:lnTo>
                  <a:lnTo>
                    <a:pt x="232" y="343"/>
                  </a:lnTo>
                  <a:lnTo>
                    <a:pt x="228" y="351"/>
                  </a:lnTo>
                  <a:lnTo>
                    <a:pt x="225" y="353"/>
                  </a:lnTo>
                  <a:lnTo>
                    <a:pt x="223" y="362"/>
                  </a:lnTo>
                  <a:lnTo>
                    <a:pt x="226" y="370"/>
                  </a:lnTo>
                  <a:lnTo>
                    <a:pt x="226" y="378"/>
                  </a:lnTo>
                  <a:lnTo>
                    <a:pt x="219" y="381"/>
                  </a:lnTo>
                  <a:lnTo>
                    <a:pt x="217" y="391"/>
                  </a:lnTo>
                  <a:lnTo>
                    <a:pt x="217" y="397"/>
                  </a:lnTo>
                  <a:lnTo>
                    <a:pt x="213" y="40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/>
            </a:p>
          </p:txBody>
        </p:sp>
        <p:sp>
          <p:nvSpPr>
            <p:cNvPr id="233" name="Freeform 119"/>
            <p:cNvSpPr>
              <a:spLocks/>
            </p:cNvSpPr>
            <p:nvPr/>
          </p:nvSpPr>
          <p:spPr bwMode="auto">
            <a:xfrm>
              <a:off x="6619902" y="776546"/>
              <a:ext cx="55904" cy="53755"/>
            </a:xfrm>
            <a:custGeom>
              <a:avLst/>
              <a:gdLst>
                <a:gd name="T0" fmla="*/ 27 w 29"/>
                <a:gd name="T1" fmla="*/ 19 h 27"/>
                <a:gd name="T2" fmla="*/ 29 w 29"/>
                <a:gd name="T3" fmla="*/ 16 h 27"/>
                <a:gd name="T4" fmla="*/ 27 w 29"/>
                <a:gd name="T5" fmla="*/ 12 h 27"/>
                <a:gd name="T6" fmla="*/ 23 w 29"/>
                <a:gd name="T7" fmla="*/ 10 h 27"/>
                <a:gd name="T8" fmla="*/ 21 w 29"/>
                <a:gd name="T9" fmla="*/ 6 h 27"/>
                <a:gd name="T10" fmla="*/ 16 w 29"/>
                <a:gd name="T11" fmla="*/ 4 h 27"/>
                <a:gd name="T12" fmla="*/ 12 w 29"/>
                <a:gd name="T13" fmla="*/ 2 h 27"/>
                <a:gd name="T14" fmla="*/ 8 w 29"/>
                <a:gd name="T15" fmla="*/ 0 h 27"/>
                <a:gd name="T16" fmla="*/ 6 w 29"/>
                <a:gd name="T17" fmla="*/ 0 h 27"/>
                <a:gd name="T18" fmla="*/ 2 w 29"/>
                <a:gd name="T19" fmla="*/ 4 h 27"/>
                <a:gd name="T20" fmla="*/ 0 w 29"/>
                <a:gd name="T21" fmla="*/ 12 h 27"/>
                <a:gd name="T22" fmla="*/ 4 w 29"/>
                <a:gd name="T23" fmla="*/ 19 h 27"/>
                <a:gd name="T24" fmla="*/ 8 w 29"/>
                <a:gd name="T25" fmla="*/ 25 h 27"/>
                <a:gd name="T26" fmla="*/ 16 w 29"/>
                <a:gd name="T27" fmla="*/ 27 h 27"/>
                <a:gd name="T28" fmla="*/ 19 w 29"/>
                <a:gd name="T29" fmla="*/ 25 h 27"/>
                <a:gd name="T30" fmla="*/ 25 w 29"/>
                <a:gd name="T31" fmla="*/ 25 h 27"/>
                <a:gd name="T32" fmla="*/ 27 w 29"/>
                <a:gd name="T33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" h="27">
                  <a:moveTo>
                    <a:pt x="27" y="19"/>
                  </a:moveTo>
                  <a:lnTo>
                    <a:pt x="29" y="16"/>
                  </a:lnTo>
                  <a:lnTo>
                    <a:pt x="27" y="12"/>
                  </a:lnTo>
                  <a:lnTo>
                    <a:pt x="23" y="10"/>
                  </a:lnTo>
                  <a:lnTo>
                    <a:pt x="21" y="6"/>
                  </a:lnTo>
                  <a:lnTo>
                    <a:pt x="16" y="4"/>
                  </a:lnTo>
                  <a:lnTo>
                    <a:pt x="12" y="2"/>
                  </a:lnTo>
                  <a:lnTo>
                    <a:pt x="8" y="0"/>
                  </a:lnTo>
                  <a:lnTo>
                    <a:pt x="6" y="0"/>
                  </a:lnTo>
                  <a:lnTo>
                    <a:pt x="2" y="4"/>
                  </a:lnTo>
                  <a:lnTo>
                    <a:pt x="0" y="12"/>
                  </a:lnTo>
                  <a:lnTo>
                    <a:pt x="4" y="19"/>
                  </a:lnTo>
                  <a:lnTo>
                    <a:pt x="8" y="25"/>
                  </a:lnTo>
                  <a:lnTo>
                    <a:pt x="16" y="27"/>
                  </a:lnTo>
                  <a:lnTo>
                    <a:pt x="19" y="25"/>
                  </a:lnTo>
                  <a:lnTo>
                    <a:pt x="25" y="25"/>
                  </a:lnTo>
                  <a:lnTo>
                    <a:pt x="27" y="1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/>
            </a:p>
          </p:txBody>
        </p:sp>
        <p:grpSp>
          <p:nvGrpSpPr>
            <p:cNvPr id="234" name="Group 120"/>
            <p:cNvGrpSpPr>
              <a:grpSpLocks/>
            </p:cNvGrpSpPr>
            <p:nvPr/>
          </p:nvGrpSpPr>
          <p:grpSpPr bwMode="auto">
            <a:xfrm>
              <a:off x="6484440" y="1021668"/>
              <a:ext cx="468742" cy="307477"/>
              <a:chOff x="3465" y="1401"/>
              <a:chExt cx="261" cy="171"/>
            </a:xfrm>
            <a:grpFill/>
          </p:grpSpPr>
          <p:sp>
            <p:nvSpPr>
              <p:cNvPr id="251" name="Freeform 121"/>
              <p:cNvSpPr>
                <a:spLocks/>
              </p:cNvSpPr>
              <p:nvPr/>
            </p:nvSpPr>
            <p:spPr bwMode="auto">
              <a:xfrm>
                <a:off x="3625" y="1425"/>
                <a:ext cx="20" cy="18"/>
              </a:xfrm>
              <a:custGeom>
                <a:avLst/>
                <a:gdLst>
                  <a:gd name="T0" fmla="*/ 12 w 18"/>
                  <a:gd name="T1" fmla="*/ 16 h 16"/>
                  <a:gd name="T2" fmla="*/ 14 w 18"/>
                  <a:gd name="T3" fmla="*/ 16 h 16"/>
                  <a:gd name="T4" fmla="*/ 16 w 18"/>
                  <a:gd name="T5" fmla="*/ 14 h 16"/>
                  <a:gd name="T6" fmla="*/ 16 w 18"/>
                  <a:gd name="T7" fmla="*/ 12 h 16"/>
                  <a:gd name="T8" fmla="*/ 18 w 18"/>
                  <a:gd name="T9" fmla="*/ 10 h 16"/>
                  <a:gd name="T10" fmla="*/ 18 w 18"/>
                  <a:gd name="T11" fmla="*/ 6 h 16"/>
                  <a:gd name="T12" fmla="*/ 18 w 18"/>
                  <a:gd name="T13" fmla="*/ 4 h 16"/>
                  <a:gd name="T14" fmla="*/ 18 w 18"/>
                  <a:gd name="T15" fmla="*/ 2 h 16"/>
                  <a:gd name="T16" fmla="*/ 16 w 18"/>
                  <a:gd name="T17" fmla="*/ 0 h 16"/>
                  <a:gd name="T18" fmla="*/ 12 w 18"/>
                  <a:gd name="T19" fmla="*/ 0 h 16"/>
                  <a:gd name="T20" fmla="*/ 6 w 18"/>
                  <a:gd name="T21" fmla="*/ 2 h 16"/>
                  <a:gd name="T22" fmla="*/ 2 w 18"/>
                  <a:gd name="T23" fmla="*/ 4 h 16"/>
                  <a:gd name="T24" fmla="*/ 0 w 18"/>
                  <a:gd name="T25" fmla="*/ 8 h 16"/>
                  <a:gd name="T26" fmla="*/ 2 w 18"/>
                  <a:gd name="T27" fmla="*/ 12 h 16"/>
                  <a:gd name="T28" fmla="*/ 4 w 18"/>
                  <a:gd name="T29" fmla="*/ 14 h 16"/>
                  <a:gd name="T30" fmla="*/ 6 w 18"/>
                  <a:gd name="T31" fmla="*/ 16 h 16"/>
                  <a:gd name="T32" fmla="*/ 12 w 18"/>
                  <a:gd name="T33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" h="16">
                    <a:moveTo>
                      <a:pt x="12" y="16"/>
                    </a:moveTo>
                    <a:lnTo>
                      <a:pt x="14" y="16"/>
                    </a:lnTo>
                    <a:lnTo>
                      <a:pt x="16" y="14"/>
                    </a:lnTo>
                    <a:lnTo>
                      <a:pt x="16" y="12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4"/>
                    </a:lnTo>
                    <a:lnTo>
                      <a:pt x="18" y="2"/>
                    </a:lnTo>
                    <a:lnTo>
                      <a:pt x="16" y="0"/>
                    </a:lnTo>
                    <a:lnTo>
                      <a:pt x="12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12" y="1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252" name="Freeform 122"/>
              <p:cNvSpPr>
                <a:spLocks/>
              </p:cNvSpPr>
              <p:nvPr/>
            </p:nvSpPr>
            <p:spPr bwMode="auto">
              <a:xfrm>
                <a:off x="3548" y="1475"/>
                <a:ext cx="14" cy="14"/>
              </a:xfrm>
              <a:custGeom>
                <a:avLst/>
                <a:gdLst>
                  <a:gd name="T0" fmla="*/ 4 w 12"/>
                  <a:gd name="T1" fmla="*/ 13 h 13"/>
                  <a:gd name="T2" fmla="*/ 2 w 12"/>
                  <a:gd name="T3" fmla="*/ 11 h 13"/>
                  <a:gd name="T4" fmla="*/ 0 w 12"/>
                  <a:gd name="T5" fmla="*/ 11 h 13"/>
                  <a:gd name="T6" fmla="*/ 0 w 12"/>
                  <a:gd name="T7" fmla="*/ 7 h 13"/>
                  <a:gd name="T8" fmla="*/ 0 w 12"/>
                  <a:gd name="T9" fmla="*/ 7 h 13"/>
                  <a:gd name="T10" fmla="*/ 0 w 12"/>
                  <a:gd name="T11" fmla="*/ 3 h 13"/>
                  <a:gd name="T12" fmla="*/ 2 w 12"/>
                  <a:gd name="T13" fmla="*/ 1 h 13"/>
                  <a:gd name="T14" fmla="*/ 2 w 12"/>
                  <a:gd name="T15" fmla="*/ 0 h 13"/>
                  <a:gd name="T16" fmla="*/ 2 w 12"/>
                  <a:gd name="T17" fmla="*/ 0 h 13"/>
                  <a:gd name="T18" fmla="*/ 6 w 12"/>
                  <a:gd name="T19" fmla="*/ 0 h 13"/>
                  <a:gd name="T20" fmla="*/ 10 w 12"/>
                  <a:gd name="T21" fmla="*/ 1 h 13"/>
                  <a:gd name="T22" fmla="*/ 10 w 12"/>
                  <a:gd name="T23" fmla="*/ 3 h 13"/>
                  <a:gd name="T24" fmla="*/ 12 w 12"/>
                  <a:gd name="T25" fmla="*/ 7 h 13"/>
                  <a:gd name="T26" fmla="*/ 10 w 12"/>
                  <a:gd name="T27" fmla="*/ 11 h 13"/>
                  <a:gd name="T28" fmla="*/ 8 w 12"/>
                  <a:gd name="T29" fmla="*/ 11 h 13"/>
                  <a:gd name="T30" fmla="*/ 6 w 12"/>
                  <a:gd name="T31" fmla="*/ 13 h 13"/>
                  <a:gd name="T32" fmla="*/ 4 w 12"/>
                  <a:gd name="T33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" h="13">
                    <a:moveTo>
                      <a:pt x="4" y="13"/>
                    </a:moveTo>
                    <a:lnTo>
                      <a:pt x="2" y="11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3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10" y="1"/>
                    </a:lnTo>
                    <a:lnTo>
                      <a:pt x="10" y="3"/>
                    </a:lnTo>
                    <a:lnTo>
                      <a:pt x="12" y="7"/>
                    </a:lnTo>
                    <a:lnTo>
                      <a:pt x="10" y="11"/>
                    </a:lnTo>
                    <a:lnTo>
                      <a:pt x="8" y="11"/>
                    </a:lnTo>
                    <a:lnTo>
                      <a:pt x="6" y="13"/>
                    </a:lnTo>
                    <a:lnTo>
                      <a:pt x="4" y="1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253" name="Freeform 123"/>
              <p:cNvSpPr>
                <a:spLocks/>
              </p:cNvSpPr>
              <p:nvPr/>
            </p:nvSpPr>
            <p:spPr bwMode="auto">
              <a:xfrm>
                <a:off x="3528" y="1518"/>
                <a:ext cx="18" cy="14"/>
              </a:xfrm>
              <a:custGeom>
                <a:avLst/>
                <a:gdLst>
                  <a:gd name="T0" fmla="*/ 12 w 17"/>
                  <a:gd name="T1" fmla="*/ 13 h 13"/>
                  <a:gd name="T2" fmla="*/ 10 w 17"/>
                  <a:gd name="T3" fmla="*/ 13 h 13"/>
                  <a:gd name="T4" fmla="*/ 8 w 17"/>
                  <a:gd name="T5" fmla="*/ 13 h 13"/>
                  <a:gd name="T6" fmla="*/ 6 w 17"/>
                  <a:gd name="T7" fmla="*/ 11 h 13"/>
                  <a:gd name="T8" fmla="*/ 4 w 17"/>
                  <a:gd name="T9" fmla="*/ 9 h 13"/>
                  <a:gd name="T10" fmla="*/ 2 w 17"/>
                  <a:gd name="T11" fmla="*/ 8 h 13"/>
                  <a:gd name="T12" fmla="*/ 2 w 17"/>
                  <a:gd name="T13" fmla="*/ 6 h 13"/>
                  <a:gd name="T14" fmla="*/ 0 w 17"/>
                  <a:gd name="T15" fmla="*/ 4 h 13"/>
                  <a:gd name="T16" fmla="*/ 0 w 17"/>
                  <a:gd name="T17" fmla="*/ 2 h 13"/>
                  <a:gd name="T18" fmla="*/ 4 w 17"/>
                  <a:gd name="T19" fmla="*/ 0 h 13"/>
                  <a:gd name="T20" fmla="*/ 8 w 17"/>
                  <a:gd name="T21" fmla="*/ 0 h 13"/>
                  <a:gd name="T22" fmla="*/ 12 w 17"/>
                  <a:gd name="T23" fmla="*/ 0 h 13"/>
                  <a:gd name="T24" fmla="*/ 15 w 17"/>
                  <a:gd name="T25" fmla="*/ 2 h 13"/>
                  <a:gd name="T26" fmla="*/ 17 w 17"/>
                  <a:gd name="T27" fmla="*/ 6 h 13"/>
                  <a:gd name="T28" fmla="*/ 15 w 17"/>
                  <a:gd name="T29" fmla="*/ 9 h 13"/>
                  <a:gd name="T30" fmla="*/ 15 w 17"/>
                  <a:gd name="T31" fmla="*/ 11 h 13"/>
                  <a:gd name="T32" fmla="*/ 12 w 17"/>
                  <a:gd name="T33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" h="13">
                    <a:moveTo>
                      <a:pt x="12" y="13"/>
                    </a:moveTo>
                    <a:lnTo>
                      <a:pt x="10" y="13"/>
                    </a:lnTo>
                    <a:lnTo>
                      <a:pt x="8" y="13"/>
                    </a:lnTo>
                    <a:lnTo>
                      <a:pt x="6" y="11"/>
                    </a:lnTo>
                    <a:lnTo>
                      <a:pt x="4" y="9"/>
                    </a:lnTo>
                    <a:lnTo>
                      <a:pt x="2" y="8"/>
                    </a:lnTo>
                    <a:lnTo>
                      <a:pt x="2" y="6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5" y="2"/>
                    </a:lnTo>
                    <a:lnTo>
                      <a:pt x="17" y="6"/>
                    </a:lnTo>
                    <a:lnTo>
                      <a:pt x="15" y="9"/>
                    </a:lnTo>
                    <a:lnTo>
                      <a:pt x="15" y="11"/>
                    </a:lnTo>
                    <a:lnTo>
                      <a:pt x="12" y="1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254" name="Freeform 124"/>
              <p:cNvSpPr>
                <a:spLocks/>
              </p:cNvSpPr>
              <p:nvPr/>
            </p:nvSpPr>
            <p:spPr bwMode="auto">
              <a:xfrm>
                <a:off x="3498" y="1466"/>
                <a:ext cx="13" cy="11"/>
              </a:xfrm>
              <a:custGeom>
                <a:avLst/>
                <a:gdLst>
                  <a:gd name="T0" fmla="*/ 0 w 12"/>
                  <a:gd name="T1" fmla="*/ 6 h 11"/>
                  <a:gd name="T2" fmla="*/ 0 w 12"/>
                  <a:gd name="T3" fmla="*/ 4 h 11"/>
                  <a:gd name="T4" fmla="*/ 0 w 12"/>
                  <a:gd name="T5" fmla="*/ 2 h 11"/>
                  <a:gd name="T6" fmla="*/ 2 w 12"/>
                  <a:gd name="T7" fmla="*/ 2 h 11"/>
                  <a:gd name="T8" fmla="*/ 4 w 12"/>
                  <a:gd name="T9" fmla="*/ 2 h 11"/>
                  <a:gd name="T10" fmla="*/ 6 w 12"/>
                  <a:gd name="T11" fmla="*/ 0 h 11"/>
                  <a:gd name="T12" fmla="*/ 8 w 12"/>
                  <a:gd name="T13" fmla="*/ 0 h 11"/>
                  <a:gd name="T14" fmla="*/ 10 w 12"/>
                  <a:gd name="T15" fmla="*/ 0 h 11"/>
                  <a:gd name="T16" fmla="*/ 10 w 12"/>
                  <a:gd name="T17" fmla="*/ 2 h 11"/>
                  <a:gd name="T18" fmla="*/ 12 w 12"/>
                  <a:gd name="T19" fmla="*/ 4 h 11"/>
                  <a:gd name="T20" fmla="*/ 12 w 12"/>
                  <a:gd name="T21" fmla="*/ 8 h 11"/>
                  <a:gd name="T22" fmla="*/ 10 w 12"/>
                  <a:gd name="T23" fmla="*/ 9 h 11"/>
                  <a:gd name="T24" fmla="*/ 6 w 12"/>
                  <a:gd name="T25" fmla="*/ 11 h 11"/>
                  <a:gd name="T26" fmla="*/ 4 w 12"/>
                  <a:gd name="T27" fmla="*/ 11 h 11"/>
                  <a:gd name="T28" fmla="*/ 2 w 12"/>
                  <a:gd name="T29" fmla="*/ 9 h 11"/>
                  <a:gd name="T30" fmla="*/ 0 w 12"/>
                  <a:gd name="T31" fmla="*/ 9 h 11"/>
                  <a:gd name="T32" fmla="*/ 0 w 12"/>
                  <a:gd name="T33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" h="11">
                    <a:moveTo>
                      <a:pt x="0" y="6"/>
                    </a:moveTo>
                    <a:lnTo>
                      <a:pt x="0" y="4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2"/>
                    </a:lnTo>
                    <a:lnTo>
                      <a:pt x="12" y="4"/>
                    </a:lnTo>
                    <a:lnTo>
                      <a:pt x="12" y="8"/>
                    </a:lnTo>
                    <a:lnTo>
                      <a:pt x="10" y="9"/>
                    </a:lnTo>
                    <a:lnTo>
                      <a:pt x="6" y="11"/>
                    </a:lnTo>
                    <a:lnTo>
                      <a:pt x="4" y="11"/>
                    </a:lnTo>
                    <a:lnTo>
                      <a:pt x="2" y="9"/>
                    </a:lnTo>
                    <a:lnTo>
                      <a:pt x="0" y="9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255" name="Freeform 125"/>
              <p:cNvSpPr>
                <a:spLocks/>
              </p:cNvSpPr>
              <p:nvPr/>
            </p:nvSpPr>
            <p:spPr bwMode="auto">
              <a:xfrm>
                <a:off x="3509" y="1453"/>
                <a:ext cx="14" cy="13"/>
              </a:xfrm>
              <a:custGeom>
                <a:avLst/>
                <a:gdLst>
                  <a:gd name="T0" fmla="*/ 0 w 13"/>
                  <a:gd name="T1" fmla="*/ 6 h 12"/>
                  <a:gd name="T2" fmla="*/ 0 w 13"/>
                  <a:gd name="T3" fmla="*/ 4 h 12"/>
                  <a:gd name="T4" fmla="*/ 2 w 13"/>
                  <a:gd name="T5" fmla="*/ 2 h 12"/>
                  <a:gd name="T6" fmla="*/ 4 w 13"/>
                  <a:gd name="T7" fmla="*/ 2 h 12"/>
                  <a:gd name="T8" fmla="*/ 6 w 13"/>
                  <a:gd name="T9" fmla="*/ 0 h 12"/>
                  <a:gd name="T10" fmla="*/ 7 w 13"/>
                  <a:gd name="T11" fmla="*/ 0 h 12"/>
                  <a:gd name="T12" fmla="*/ 9 w 13"/>
                  <a:gd name="T13" fmla="*/ 0 h 12"/>
                  <a:gd name="T14" fmla="*/ 11 w 13"/>
                  <a:gd name="T15" fmla="*/ 0 h 12"/>
                  <a:gd name="T16" fmla="*/ 11 w 13"/>
                  <a:gd name="T17" fmla="*/ 0 h 12"/>
                  <a:gd name="T18" fmla="*/ 13 w 13"/>
                  <a:gd name="T19" fmla="*/ 4 h 12"/>
                  <a:gd name="T20" fmla="*/ 11 w 13"/>
                  <a:gd name="T21" fmla="*/ 6 h 12"/>
                  <a:gd name="T22" fmla="*/ 9 w 13"/>
                  <a:gd name="T23" fmla="*/ 10 h 12"/>
                  <a:gd name="T24" fmla="*/ 7 w 13"/>
                  <a:gd name="T25" fmla="*/ 12 h 12"/>
                  <a:gd name="T26" fmla="*/ 4 w 13"/>
                  <a:gd name="T27" fmla="*/ 12 h 12"/>
                  <a:gd name="T28" fmla="*/ 2 w 13"/>
                  <a:gd name="T29" fmla="*/ 10 h 12"/>
                  <a:gd name="T30" fmla="*/ 2 w 13"/>
                  <a:gd name="T31" fmla="*/ 8 h 12"/>
                  <a:gd name="T32" fmla="*/ 0 w 13"/>
                  <a:gd name="T33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" h="12">
                    <a:moveTo>
                      <a:pt x="0" y="6"/>
                    </a:moveTo>
                    <a:lnTo>
                      <a:pt x="0" y="4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7" y="0"/>
                    </a:lnTo>
                    <a:lnTo>
                      <a:pt x="9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13" y="4"/>
                    </a:lnTo>
                    <a:lnTo>
                      <a:pt x="11" y="6"/>
                    </a:lnTo>
                    <a:lnTo>
                      <a:pt x="9" y="10"/>
                    </a:lnTo>
                    <a:lnTo>
                      <a:pt x="7" y="12"/>
                    </a:lnTo>
                    <a:lnTo>
                      <a:pt x="4" y="12"/>
                    </a:lnTo>
                    <a:lnTo>
                      <a:pt x="2" y="10"/>
                    </a:lnTo>
                    <a:lnTo>
                      <a:pt x="2" y="8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256" name="Freeform 126"/>
              <p:cNvSpPr>
                <a:spLocks/>
              </p:cNvSpPr>
              <p:nvPr/>
            </p:nvSpPr>
            <p:spPr bwMode="auto">
              <a:xfrm>
                <a:off x="3538" y="1432"/>
                <a:ext cx="12" cy="11"/>
              </a:xfrm>
              <a:custGeom>
                <a:avLst/>
                <a:gdLst>
                  <a:gd name="T0" fmla="*/ 0 w 11"/>
                  <a:gd name="T1" fmla="*/ 4 h 10"/>
                  <a:gd name="T2" fmla="*/ 0 w 11"/>
                  <a:gd name="T3" fmla="*/ 2 h 10"/>
                  <a:gd name="T4" fmla="*/ 2 w 11"/>
                  <a:gd name="T5" fmla="*/ 0 h 10"/>
                  <a:gd name="T6" fmla="*/ 4 w 11"/>
                  <a:gd name="T7" fmla="*/ 0 h 10"/>
                  <a:gd name="T8" fmla="*/ 5 w 11"/>
                  <a:gd name="T9" fmla="*/ 0 h 10"/>
                  <a:gd name="T10" fmla="*/ 7 w 11"/>
                  <a:gd name="T11" fmla="*/ 0 h 10"/>
                  <a:gd name="T12" fmla="*/ 9 w 11"/>
                  <a:gd name="T13" fmla="*/ 0 h 10"/>
                  <a:gd name="T14" fmla="*/ 11 w 11"/>
                  <a:gd name="T15" fmla="*/ 0 h 10"/>
                  <a:gd name="T16" fmla="*/ 11 w 11"/>
                  <a:gd name="T17" fmla="*/ 2 h 10"/>
                  <a:gd name="T18" fmla="*/ 11 w 11"/>
                  <a:gd name="T19" fmla="*/ 4 h 10"/>
                  <a:gd name="T20" fmla="*/ 9 w 11"/>
                  <a:gd name="T21" fmla="*/ 8 h 10"/>
                  <a:gd name="T22" fmla="*/ 7 w 11"/>
                  <a:gd name="T23" fmla="*/ 10 h 10"/>
                  <a:gd name="T24" fmla="*/ 4 w 11"/>
                  <a:gd name="T25" fmla="*/ 10 h 10"/>
                  <a:gd name="T26" fmla="*/ 2 w 11"/>
                  <a:gd name="T27" fmla="*/ 10 h 10"/>
                  <a:gd name="T28" fmla="*/ 0 w 11"/>
                  <a:gd name="T29" fmla="*/ 8 h 10"/>
                  <a:gd name="T30" fmla="*/ 0 w 11"/>
                  <a:gd name="T31" fmla="*/ 6 h 10"/>
                  <a:gd name="T32" fmla="*/ 0 w 11"/>
                  <a:gd name="T33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" h="10">
                    <a:moveTo>
                      <a:pt x="0" y="4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5" y="0"/>
                    </a:lnTo>
                    <a:lnTo>
                      <a:pt x="7" y="0"/>
                    </a:lnTo>
                    <a:lnTo>
                      <a:pt x="9" y="0"/>
                    </a:lnTo>
                    <a:lnTo>
                      <a:pt x="11" y="0"/>
                    </a:lnTo>
                    <a:lnTo>
                      <a:pt x="11" y="2"/>
                    </a:lnTo>
                    <a:lnTo>
                      <a:pt x="11" y="4"/>
                    </a:lnTo>
                    <a:lnTo>
                      <a:pt x="9" y="8"/>
                    </a:lnTo>
                    <a:lnTo>
                      <a:pt x="7" y="10"/>
                    </a:lnTo>
                    <a:lnTo>
                      <a:pt x="4" y="10"/>
                    </a:lnTo>
                    <a:lnTo>
                      <a:pt x="2" y="10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257" name="Freeform 127"/>
              <p:cNvSpPr>
                <a:spLocks/>
              </p:cNvSpPr>
              <p:nvPr/>
            </p:nvSpPr>
            <p:spPr bwMode="auto">
              <a:xfrm>
                <a:off x="3557" y="1425"/>
                <a:ext cx="14" cy="18"/>
              </a:xfrm>
              <a:custGeom>
                <a:avLst/>
                <a:gdLst>
                  <a:gd name="T0" fmla="*/ 0 w 13"/>
                  <a:gd name="T1" fmla="*/ 8 h 16"/>
                  <a:gd name="T2" fmla="*/ 0 w 13"/>
                  <a:gd name="T3" fmla="*/ 4 h 16"/>
                  <a:gd name="T4" fmla="*/ 0 w 13"/>
                  <a:gd name="T5" fmla="*/ 2 h 16"/>
                  <a:gd name="T6" fmla="*/ 2 w 13"/>
                  <a:gd name="T7" fmla="*/ 0 h 16"/>
                  <a:gd name="T8" fmla="*/ 4 w 13"/>
                  <a:gd name="T9" fmla="*/ 0 h 16"/>
                  <a:gd name="T10" fmla="*/ 6 w 13"/>
                  <a:gd name="T11" fmla="*/ 0 h 16"/>
                  <a:gd name="T12" fmla="*/ 8 w 13"/>
                  <a:gd name="T13" fmla="*/ 0 h 16"/>
                  <a:gd name="T14" fmla="*/ 10 w 13"/>
                  <a:gd name="T15" fmla="*/ 0 h 16"/>
                  <a:gd name="T16" fmla="*/ 11 w 13"/>
                  <a:gd name="T17" fmla="*/ 0 h 16"/>
                  <a:gd name="T18" fmla="*/ 11 w 13"/>
                  <a:gd name="T19" fmla="*/ 4 h 16"/>
                  <a:gd name="T20" fmla="*/ 13 w 13"/>
                  <a:gd name="T21" fmla="*/ 10 h 16"/>
                  <a:gd name="T22" fmla="*/ 11 w 13"/>
                  <a:gd name="T23" fmla="*/ 14 h 16"/>
                  <a:gd name="T24" fmla="*/ 10 w 13"/>
                  <a:gd name="T25" fmla="*/ 16 h 16"/>
                  <a:gd name="T26" fmla="*/ 6 w 13"/>
                  <a:gd name="T27" fmla="*/ 16 h 16"/>
                  <a:gd name="T28" fmla="*/ 4 w 13"/>
                  <a:gd name="T29" fmla="*/ 14 h 16"/>
                  <a:gd name="T30" fmla="*/ 2 w 13"/>
                  <a:gd name="T31" fmla="*/ 12 h 16"/>
                  <a:gd name="T32" fmla="*/ 0 w 13"/>
                  <a:gd name="T33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" h="16">
                    <a:moveTo>
                      <a:pt x="0" y="8"/>
                    </a:moveTo>
                    <a:lnTo>
                      <a:pt x="0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1" y="0"/>
                    </a:lnTo>
                    <a:lnTo>
                      <a:pt x="11" y="4"/>
                    </a:lnTo>
                    <a:lnTo>
                      <a:pt x="13" y="10"/>
                    </a:lnTo>
                    <a:lnTo>
                      <a:pt x="11" y="14"/>
                    </a:lnTo>
                    <a:lnTo>
                      <a:pt x="10" y="16"/>
                    </a:lnTo>
                    <a:lnTo>
                      <a:pt x="6" y="16"/>
                    </a:lnTo>
                    <a:lnTo>
                      <a:pt x="4" y="14"/>
                    </a:lnTo>
                    <a:lnTo>
                      <a:pt x="2" y="12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258" name="Freeform 128"/>
              <p:cNvSpPr>
                <a:spLocks/>
              </p:cNvSpPr>
              <p:nvPr/>
            </p:nvSpPr>
            <p:spPr bwMode="auto">
              <a:xfrm>
                <a:off x="3521" y="1440"/>
                <a:ext cx="13" cy="13"/>
              </a:xfrm>
              <a:custGeom>
                <a:avLst/>
                <a:gdLst>
                  <a:gd name="T0" fmla="*/ 0 w 12"/>
                  <a:gd name="T1" fmla="*/ 6 h 11"/>
                  <a:gd name="T2" fmla="*/ 0 w 12"/>
                  <a:gd name="T3" fmla="*/ 4 h 11"/>
                  <a:gd name="T4" fmla="*/ 2 w 12"/>
                  <a:gd name="T5" fmla="*/ 2 h 11"/>
                  <a:gd name="T6" fmla="*/ 4 w 12"/>
                  <a:gd name="T7" fmla="*/ 2 h 11"/>
                  <a:gd name="T8" fmla="*/ 4 w 12"/>
                  <a:gd name="T9" fmla="*/ 0 h 11"/>
                  <a:gd name="T10" fmla="*/ 6 w 12"/>
                  <a:gd name="T11" fmla="*/ 0 h 11"/>
                  <a:gd name="T12" fmla="*/ 10 w 12"/>
                  <a:gd name="T13" fmla="*/ 0 h 11"/>
                  <a:gd name="T14" fmla="*/ 10 w 12"/>
                  <a:gd name="T15" fmla="*/ 0 h 11"/>
                  <a:gd name="T16" fmla="*/ 12 w 12"/>
                  <a:gd name="T17" fmla="*/ 0 h 11"/>
                  <a:gd name="T18" fmla="*/ 12 w 12"/>
                  <a:gd name="T19" fmla="*/ 4 h 11"/>
                  <a:gd name="T20" fmla="*/ 12 w 12"/>
                  <a:gd name="T21" fmla="*/ 6 h 11"/>
                  <a:gd name="T22" fmla="*/ 10 w 12"/>
                  <a:gd name="T23" fmla="*/ 9 h 11"/>
                  <a:gd name="T24" fmla="*/ 8 w 12"/>
                  <a:gd name="T25" fmla="*/ 11 h 11"/>
                  <a:gd name="T26" fmla="*/ 4 w 12"/>
                  <a:gd name="T27" fmla="*/ 11 h 11"/>
                  <a:gd name="T28" fmla="*/ 2 w 12"/>
                  <a:gd name="T29" fmla="*/ 9 h 11"/>
                  <a:gd name="T30" fmla="*/ 0 w 12"/>
                  <a:gd name="T31" fmla="*/ 8 h 11"/>
                  <a:gd name="T32" fmla="*/ 0 w 12"/>
                  <a:gd name="T33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" h="11">
                    <a:moveTo>
                      <a:pt x="0" y="6"/>
                    </a:moveTo>
                    <a:lnTo>
                      <a:pt x="0" y="4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2" y="0"/>
                    </a:lnTo>
                    <a:lnTo>
                      <a:pt x="12" y="4"/>
                    </a:lnTo>
                    <a:lnTo>
                      <a:pt x="12" y="6"/>
                    </a:lnTo>
                    <a:lnTo>
                      <a:pt x="10" y="9"/>
                    </a:lnTo>
                    <a:lnTo>
                      <a:pt x="8" y="11"/>
                    </a:lnTo>
                    <a:lnTo>
                      <a:pt x="4" y="11"/>
                    </a:lnTo>
                    <a:lnTo>
                      <a:pt x="2" y="9"/>
                    </a:lnTo>
                    <a:lnTo>
                      <a:pt x="0" y="8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259" name="Freeform 129"/>
              <p:cNvSpPr>
                <a:spLocks/>
              </p:cNvSpPr>
              <p:nvPr/>
            </p:nvSpPr>
            <p:spPr bwMode="auto">
              <a:xfrm>
                <a:off x="3552" y="1440"/>
                <a:ext cx="174" cy="132"/>
              </a:xfrm>
              <a:custGeom>
                <a:avLst/>
                <a:gdLst>
                  <a:gd name="T0" fmla="*/ 159 w 159"/>
                  <a:gd name="T1" fmla="*/ 11 h 121"/>
                  <a:gd name="T2" fmla="*/ 148 w 159"/>
                  <a:gd name="T3" fmla="*/ 4 h 121"/>
                  <a:gd name="T4" fmla="*/ 134 w 159"/>
                  <a:gd name="T5" fmla="*/ 9 h 121"/>
                  <a:gd name="T6" fmla="*/ 119 w 159"/>
                  <a:gd name="T7" fmla="*/ 2 h 121"/>
                  <a:gd name="T8" fmla="*/ 102 w 159"/>
                  <a:gd name="T9" fmla="*/ 0 h 121"/>
                  <a:gd name="T10" fmla="*/ 88 w 159"/>
                  <a:gd name="T11" fmla="*/ 6 h 121"/>
                  <a:gd name="T12" fmla="*/ 75 w 159"/>
                  <a:gd name="T13" fmla="*/ 8 h 121"/>
                  <a:gd name="T14" fmla="*/ 62 w 159"/>
                  <a:gd name="T15" fmla="*/ 15 h 121"/>
                  <a:gd name="T16" fmla="*/ 50 w 159"/>
                  <a:gd name="T17" fmla="*/ 11 h 121"/>
                  <a:gd name="T18" fmla="*/ 38 w 159"/>
                  <a:gd name="T19" fmla="*/ 9 h 121"/>
                  <a:gd name="T20" fmla="*/ 27 w 159"/>
                  <a:gd name="T21" fmla="*/ 15 h 121"/>
                  <a:gd name="T22" fmla="*/ 14 w 159"/>
                  <a:gd name="T23" fmla="*/ 15 h 121"/>
                  <a:gd name="T24" fmla="*/ 12 w 159"/>
                  <a:gd name="T25" fmla="*/ 29 h 121"/>
                  <a:gd name="T26" fmla="*/ 14 w 159"/>
                  <a:gd name="T27" fmla="*/ 40 h 121"/>
                  <a:gd name="T28" fmla="*/ 10 w 159"/>
                  <a:gd name="T29" fmla="*/ 52 h 121"/>
                  <a:gd name="T30" fmla="*/ 0 w 159"/>
                  <a:gd name="T31" fmla="*/ 63 h 121"/>
                  <a:gd name="T32" fmla="*/ 4 w 159"/>
                  <a:gd name="T33" fmla="*/ 73 h 121"/>
                  <a:gd name="T34" fmla="*/ 2 w 159"/>
                  <a:gd name="T35" fmla="*/ 82 h 121"/>
                  <a:gd name="T36" fmla="*/ 0 w 159"/>
                  <a:gd name="T37" fmla="*/ 100 h 121"/>
                  <a:gd name="T38" fmla="*/ 6 w 159"/>
                  <a:gd name="T39" fmla="*/ 111 h 121"/>
                  <a:gd name="T40" fmla="*/ 17 w 159"/>
                  <a:gd name="T41" fmla="*/ 121 h 121"/>
                  <a:gd name="T42" fmla="*/ 31 w 159"/>
                  <a:gd name="T43" fmla="*/ 121 h 121"/>
                  <a:gd name="T44" fmla="*/ 44 w 159"/>
                  <a:gd name="T45" fmla="*/ 117 h 121"/>
                  <a:gd name="T46" fmla="*/ 60 w 159"/>
                  <a:gd name="T47" fmla="*/ 119 h 121"/>
                  <a:gd name="T48" fmla="*/ 71 w 159"/>
                  <a:gd name="T49" fmla="*/ 115 h 121"/>
                  <a:gd name="T50" fmla="*/ 85 w 159"/>
                  <a:gd name="T51" fmla="*/ 113 h 121"/>
                  <a:gd name="T52" fmla="*/ 98 w 159"/>
                  <a:gd name="T53" fmla="*/ 111 h 121"/>
                  <a:gd name="T54" fmla="*/ 109 w 159"/>
                  <a:gd name="T55" fmla="*/ 102 h 121"/>
                  <a:gd name="T56" fmla="*/ 121 w 159"/>
                  <a:gd name="T57" fmla="*/ 94 h 121"/>
                  <a:gd name="T58" fmla="*/ 127 w 159"/>
                  <a:gd name="T59" fmla="*/ 84 h 121"/>
                  <a:gd name="T60" fmla="*/ 133 w 159"/>
                  <a:gd name="T61" fmla="*/ 75 h 121"/>
                  <a:gd name="T62" fmla="*/ 142 w 159"/>
                  <a:gd name="T63" fmla="*/ 69 h 121"/>
                  <a:gd name="T64" fmla="*/ 144 w 159"/>
                  <a:gd name="T65" fmla="*/ 59 h 121"/>
                  <a:gd name="T66" fmla="*/ 140 w 159"/>
                  <a:gd name="T67" fmla="*/ 46 h 121"/>
                  <a:gd name="T68" fmla="*/ 150 w 159"/>
                  <a:gd name="T69" fmla="*/ 38 h 121"/>
                  <a:gd name="T70" fmla="*/ 156 w 159"/>
                  <a:gd name="T71" fmla="*/ 23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9" h="121">
                    <a:moveTo>
                      <a:pt x="156" y="23"/>
                    </a:moveTo>
                    <a:lnTo>
                      <a:pt x="159" y="11"/>
                    </a:lnTo>
                    <a:lnTo>
                      <a:pt x="157" y="6"/>
                    </a:lnTo>
                    <a:lnTo>
                      <a:pt x="148" y="4"/>
                    </a:lnTo>
                    <a:lnTo>
                      <a:pt x="140" y="8"/>
                    </a:lnTo>
                    <a:lnTo>
                      <a:pt x="134" y="9"/>
                    </a:lnTo>
                    <a:lnTo>
                      <a:pt x="129" y="8"/>
                    </a:lnTo>
                    <a:lnTo>
                      <a:pt x="119" y="2"/>
                    </a:lnTo>
                    <a:lnTo>
                      <a:pt x="109" y="0"/>
                    </a:lnTo>
                    <a:lnTo>
                      <a:pt x="102" y="0"/>
                    </a:lnTo>
                    <a:lnTo>
                      <a:pt x="94" y="2"/>
                    </a:lnTo>
                    <a:lnTo>
                      <a:pt x="88" y="6"/>
                    </a:lnTo>
                    <a:lnTo>
                      <a:pt x="81" y="8"/>
                    </a:lnTo>
                    <a:lnTo>
                      <a:pt x="75" y="8"/>
                    </a:lnTo>
                    <a:lnTo>
                      <a:pt x="69" y="11"/>
                    </a:lnTo>
                    <a:lnTo>
                      <a:pt x="62" y="15"/>
                    </a:lnTo>
                    <a:lnTo>
                      <a:pt x="58" y="13"/>
                    </a:lnTo>
                    <a:lnTo>
                      <a:pt x="50" y="11"/>
                    </a:lnTo>
                    <a:lnTo>
                      <a:pt x="44" y="11"/>
                    </a:lnTo>
                    <a:lnTo>
                      <a:pt x="38" y="9"/>
                    </a:lnTo>
                    <a:lnTo>
                      <a:pt x="31" y="11"/>
                    </a:lnTo>
                    <a:lnTo>
                      <a:pt x="27" y="15"/>
                    </a:lnTo>
                    <a:lnTo>
                      <a:pt x="19" y="13"/>
                    </a:lnTo>
                    <a:lnTo>
                      <a:pt x="14" y="15"/>
                    </a:lnTo>
                    <a:lnTo>
                      <a:pt x="10" y="19"/>
                    </a:lnTo>
                    <a:lnTo>
                      <a:pt x="12" y="29"/>
                    </a:lnTo>
                    <a:lnTo>
                      <a:pt x="15" y="34"/>
                    </a:lnTo>
                    <a:lnTo>
                      <a:pt x="14" y="40"/>
                    </a:lnTo>
                    <a:lnTo>
                      <a:pt x="14" y="48"/>
                    </a:lnTo>
                    <a:lnTo>
                      <a:pt x="10" y="52"/>
                    </a:lnTo>
                    <a:lnTo>
                      <a:pt x="6" y="57"/>
                    </a:lnTo>
                    <a:lnTo>
                      <a:pt x="0" y="63"/>
                    </a:lnTo>
                    <a:lnTo>
                      <a:pt x="0" y="67"/>
                    </a:lnTo>
                    <a:lnTo>
                      <a:pt x="4" y="73"/>
                    </a:lnTo>
                    <a:lnTo>
                      <a:pt x="2" y="77"/>
                    </a:lnTo>
                    <a:lnTo>
                      <a:pt x="2" y="82"/>
                    </a:lnTo>
                    <a:lnTo>
                      <a:pt x="0" y="88"/>
                    </a:lnTo>
                    <a:lnTo>
                      <a:pt x="0" y="100"/>
                    </a:lnTo>
                    <a:lnTo>
                      <a:pt x="2" y="105"/>
                    </a:lnTo>
                    <a:lnTo>
                      <a:pt x="6" y="111"/>
                    </a:lnTo>
                    <a:lnTo>
                      <a:pt x="10" y="113"/>
                    </a:lnTo>
                    <a:lnTo>
                      <a:pt x="17" y="121"/>
                    </a:lnTo>
                    <a:lnTo>
                      <a:pt x="23" y="121"/>
                    </a:lnTo>
                    <a:lnTo>
                      <a:pt x="31" y="121"/>
                    </a:lnTo>
                    <a:lnTo>
                      <a:pt x="40" y="121"/>
                    </a:lnTo>
                    <a:lnTo>
                      <a:pt x="44" y="117"/>
                    </a:lnTo>
                    <a:lnTo>
                      <a:pt x="50" y="115"/>
                    </a:lnTo>
                    <a:lnTo>
                      <a:pt x="60" y="119"/>
                    </a:lnTo>
                    <a:lnTo>
                      <a:pt x="67" y="117"/>
                    </a:lnTo>
                    <a:lnTo>
                      <a:pt x="71" y="115"/>
                    </a:lnTo>
                    <a:lnTo>
                      <a:pt x="79" y="113"/>
                    </a:lnTo>
                    <a:lnTo>
                      <a:pt x="85" y="113"/>
                    </a:lnTo>
                    <a:lnTo>
                      <a:pt x="92" y="113"/>
                    </a:lnTo>
                    <a:lnTo>
                      <a:pt x="98" y="111"/>
                    </a:lnTo>
                    <a:lnTo>
                      <a:pt x="106" y="105"/>
                    </a:lnTo>
                    <a:lnTo>
                      <a:pt x="109" y="102"/>
                    </a:lnTo>
                    <a:lnTo>
                      <a:pt x="113" y="96"/>
                    </a:lnTo>
                    <a:lnTo>
                      <a:pt x="121" y="94"/>
                    </a:lnTo>
                    <a:lnTo>
                      <a:pt x="125" y="90"/>
                    </a:lnTo>
                    <a:lnTo>
                      <a:pt x="127" y="84"/>
                    </a:lnTo>
                    <a:lnTo>
                      <a:pt x="129" y="80"/>
                    </a:lnTo>
                    <a:lnTo>
                      <a:pt x="133" y="75"/>
                    </a:lnTo>
                    <a:lnTo>
                      <a:pt x="136" y="73"/>
                    </a:lnTo>
                    <a:lnTo>
                      <a:pt x="142" y="69"/>
                    </a:lnTo>
                    <a:lnTo>
                      <a:pt x="142" y="65"/>
                    </a:lnTo>
                    <a:lnTo>
                      <a:pt x="144" y="59"/>
                    </a:lnTo>
                    <a:lnTo>
                      <a:pt x="142" y="52"/>
                    </a:lnTo>
                    <a:lnTo>
                      <a:pt x="140" y="46"/>
                    </a:lnTo>
                    <a:lnTo>
                      <a:pt x="144" y="42"/>
                    </a:lnTo>
                    <a:lnTo>
                      <a:pt x="150" y="38"/>
                    </a:lnTo>
                    <a:lnTo>
                      <a:pt x="154" y="32"/>
                    </a:lnTo>
                    <a:lnTo>
                      <a:pt x="156" y="2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260" name="Freeform 130"/>
              <p:cNvSpPr>
                <a:spLocks/>
              </p:cNvSpPr>
              <p:nvPr/>
            </p:nvSpPr>
            <p:spPr bwMode="auto">
              <a:xfrm>
                <a:off x="3465" y="1477"/>
                <a:ext cx="33" cy="45"/>
              </a:xfrm>
              <a:custGeom>
                <a:avLst/>
                <a:gdLst>
                  <a:gd name="T0" fmla="*/ 15 w 30"/>
                  <a:gd name="T1" fmla="*/ 33 h 41"/>
                  <a:gd name="T2" fmla="*/ 15 w 30"/>
                  <a:gd name="T3" fmla="*/ 37 h 41"/>
                  <a:gd name="T4" fmla="*/ 13 w 30"/>
                  <a:gd name="T5" fmla="*/ 39 h 41"/>
                  <a:gd name="T6" fmla="*/ 9 w 30"/>
                  <a:gd name="T7" fmla="*/ 41 h 41"/>
                  <a:gd name="T8" fmla="*/ 7 w 30"/>
                  <a:gd name="T9" fmla="*/ 41 h 41"/>
                  <a:gd name="T10" fmla="*/ 3 w 30"/>
                  <a:gd name="T11" fmla="*/ 41 h 41"/>
                  <a:gd name="T12" fmla="*/ 1 w 30"/>
                  <a:gd name="T13" fmla="*/ 39 h 41"/>
                  <a:gd name="T14" fmla="*/ 0 w 30"/>
                  <a:gd name="T15" fmla="*/ 37 h 41"/>
                  <a:gd name="T16" fmla="*/ 1 w 30"/>
                  <a:gd name="T17" fmla="*/ 31 h 41"/>
                  <a:gd name="T18" fmla="*/ 3 w 30"/>
                  <a:gd name="T19" fmla="*/ 27 h 41"/>
                  <a:gd name="T20" fmla="*/ 7 w 30"/>
                  <a:gd name="T21" fmla="*/ 21 h 41"/>
                  <a:gd name="T22" fmla="*/ 9 w 30"/>
                  <a:gd name="T23" fmla="*/ 18 h 41"/>
                  <a:gd name="T24" fmla="*/ 11 w 30"/>
                  <a:gd name="T25" fmla="*/ 12 h 41"/>
                  <a:gd name="T26" fmla="*/ 13 w 30"/>
                  <a:gd name="T27" fmla="*/ 8 h 41"/>
                  <a:gd name="T28" fmla="*/ 15 w 30"/>
                  <a:gd name="T29" fmla="*/ 4 h 41"/>
                  <a:gd name="T30" fmla="*/ 19 w 30"/>
                  <a:gd name="T31" fmla="*/ 2 h 41"/>
                  <a:gd name="T32" fmla="*/ 23 w 30"/>
                  <a:gd name="T33" fmla="*/ 0 h 41"/>
                  <a:gd name="T34" fmla="*/ 26 w 30"/>
                  <a:gd name="T35" fmla="*/ 2 h 41"/>
                  <a:gd name="T36" fmla="*/ 30 w 30"/>
                  <a:gd name="T37" fmla="*/ 6 h 41"/>
                  <a:gd name="T38" fmla="*/ 30 w 30"/>
                  <a:gd name="T39" fmla="*/ 10 h 41"/>
                  <a:gd name="T40" fmla="*/ 28 w 30"/>
                  <a:gd name="T41" fmla="*/ 14 h 41"/>
                  <a:gd name="T42" fmla="*/ 26 w 30"/>
                  <a:gd name="T43" fmla="*/ 16 h 41"/>
                  <a:gd name="T44" fmla="*/ 24 w 30"/>
                  <a:gd name="T45" fmla="*/ 18 h 41"/>
                  <a:gd name="T46" fmla="*/ 23 w 30"/>
                  <a:gd name="T47" fmla="*/ 21 h 41"/>
                  <a:gd name="T48" fmla="*/ 23 w 30"/>
                  <a:gd name="T49" fmla="*/ 25 h 41"/>
                  <a:gd name="T50" fmla="*/ 21 w 30"/>
                  <a:gd name="T51" fmla="*/ 25 h 41"/>
                  <a:gd name="T52" fmla="*/ 21 w 30"/>
                  <a:gd name="T53" fmla="*/ 27 h 41"/>
                  <a:gd name="T54" fmla="*/ 19 w 30"/>
                  <a:gd name="T55" fmla="*/ 29 h 41"/>
                  <a:gd name="T56" fmla="*/ 15 w 30"/>
                  <a:gd name="T57" fmla="*/ 33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0" h="41">
                    <a:moveTo>
                      <a:pt x="15" y="33"/>
                    </a:moveTo>
                    <a:lnTo>
                      <a:pt x="15" y="37"/>
                    </a:lnTo>
                    <a:lnTo>
                      <a:pt x="13" y="39"/>
                    </a:lnTo>
                    <a:lnTo>
                      <a:pt x="9" y="41"/>
                    </a:lnTo>
                    <a:lnTo>
                      <a:pt x="7" y="41"/>
                    </a:lnTo>
                    <a:lnTo>
                      <a:pt x="3" y="41"/>
                    </a:lnTo>
                    <a:lnTo>
                      <a:pt x="1" y="39"/>
                    </a:lnTo>
                    <a:lnTo>
                      <a:pt x="0" y="37"/>
                    </a:lnTo>
                    <a:lnTo>
                      <a:pt x="1" y="31"/>
                    </a:lnTo>
                    <a:lnTo>
                      <a:pt x="3" y="27"/>
                    </a:lnTo>
                    <a:lnTo>
                      <a:pt x="7" y="21"/>
                    </a:lnTo>
                    <a:lnTo>
                      <a:pt x="9" y="18"/>
                    </a:lnTo>
                    <a:lnTo>
                      <a:pt x="11" y="12"/>
                    </a:lnTo>
                    <a:lnTo>
                      <a:pt x="13" y="8"/>
                    </a:lnTo>
                    <a:lnTo>
                      <a:pt x="15" y="4"/>
                    </a:lnTo>
                    <a:lnTo>
                      <a:pt x="19" y="2"/>
                    </a:lnTo>
                    <a:lnTo>
                      <a:pt x="23" y="0"/>
                    </a:lnTo>
                    <a:lnTo>
                      <a:pt x="26" y="2"/>
                    </a:lnTo>
                    <a:lnTo>
                      <a:pt x="30" y="6"/>
                    </a:lnTo>
                    <a:lnTo>
                      <a:pt x="30" y="10"/>
                    </a:lnTo>
                    <a:lnTo>
                      <a:pt x="28" y="14"/>
                    </a:lnTo>
                    <a:lnTo>
                      <a:pt x="26" y="16"/>
                    </a:lnTo>
                    <a:lnTo>
                      <a:pt x="24" y="18"/>
                    </a:lnTo>
                    <a:lnTo>
                      <a:pt x="23" y="21"/>
                    </a:lnTo>
                    <a:lnTo>
                      <a:pt x="23" y="25"/>
                    </a:lnTo>
                    <a:lnTo>
                      <a:pt x="21" y="25"/>
                    </a:lnTo>
                    <a:lnTo>
                      <a:pt x="21" y="27"/>
                    </a:lnTo>
                    <a:lnTo>
                      <a:pt x="19" y="29"/>
                    </a:lnTo>
                    <a:lnTo>
                      <a:pt x="15" y="3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261" name="Freeform 131"/>
              <p:cNvSpPr>
                <a:spLocks/>
              </p:cNvSpPr>
              <p:nvPr/>
            </p:nvSpPr>
            <p:spPr bwMode="auto">
              <a:xfrm>
                <a:off x="3502" y="1484"/>
                <a:ext cx="46" cy="28"/>
              </a:xfrm>
              <a:custGeom>
                <a:avLst/>
                <a:gdLst>
                  <a:gd name="T0" fmla="*/ 13 w 42"/>
                  <a:gd name="T1" fmla="*/ 25 h 25"/>
                  <a:gd name="T2" fmla="*/ 12 w 42"/>
                  <a:gd name="T3" fmla="*/ 25 h 25"/>
                  <a:gd name="T4" fmla="*/ 8 w 42"/>
                  <a:gd name="T5" fmla="*/ 25 h 25"/>
                  <a:gd name="T6" fmla="*/ 6 w 42"/>
                  <a:gd name="T7" fmla="*/ 25 h 25"/>
                  <a:gd name="T8" fmla="*/ 4 w 42"/>
                  <a:gd name="T9" fmla="*/ 25 h 25"/>
                  <a:gd name="T10" fmla="*/ 2 w 42"/>
                  <a:gd name="T11" fmla="*/ 23 h 25"/>
                  <a:gd name="T12" fmla="*/ 0 w 42"/>
                  <a:gd name="T13" fmla="*/ 21 h 25"/>
                  <a:gd name="T14" fmla="*/ 0 w 42"/>
                  <a:gd name="T15" fmla="*/ 19 h 25"/>
                  <a:gd name="T16" fmla="*/ 0 w 42"/>
                  <a:gd name="T17" fmla="*/ 17 h 25"/>
                  <a:gd name="T18" fmla="*/ 2 w 42"/>
                  <a:gd name="T19" fmla="*/ 15 h 25"/>
                  <a:gd name="T20" fmla="*/ 4 w 42"/>
                  <a:gd name="T21" fmla="*/ 14 h 25"/>
                  <a:gd name="T22" fmla="*/ 8 w 42"/>
                  <a:gd name="T23" fmla="*/ 12 h 25"/>
                  <a:gd name="T24" fmla="*/ 13 w 42"/>
                  <a:gd name="T25" fmla="*/ 12 h 25"/>
                  <a:gd name="T26" fmla="*/ 19 w 42"/>
                  <a:gd name="T27" fmla="*/ 8 h 25"/>
                  <a:gd name="T28" fmla="*/ 23 w 42"/>
                  <a:gd name="T29" fmla="*/ 4 h 25"/>
                  <a:gd name="T30" fmla="*/ 27 w 42"/>
                  <a:gd name="T31" fmla="*/ 2 h 25"/>
                  <a:gd name="T32" fmla="*/ 31 w 42"/>
                  <a:gd name="T33" fmla="*/ 0 h 25"/>
                  <a:gd name="T34" fmla="*/ 33 w 42"/>
                  <a:gd name="T35" fmla="*/ 0 h 25"/>
                  <a:gd name="T36" fmla="*/ 37 w 42"/>
                  <a:gd name="T37" fmla="*/ 0 h 25"/>
                  <a:gd name="T38" fmla="*/ 38 w 42"/>
                  <a:gd name="T39" fmla="*/ 2 h 25"/>
                  <a:gd name="T40" fmla="*/ 40 w 42"/>
                  <a:gd name="T41" fmla="*/ 2 h 25"/>
                  <a:gd name="T42" fmla="*/ 40 w 42"/>
                  <a:gd name="T43" fmla="*/ 4 h 25"/>
                  <a:gd name="T44" fmla="*/ 40 w 42"/>
                  <a:gd name="T45" fmla="*/ 6 h 25"/>
                  <a:gd name="T46" fmla="*/ 42 w 42"/>
                  <a:gd name="T47" fmla="*/ 8 h 25"/>
                  <a:gd name="T48" fmla="*/ 42 w 42"/>
                  <a:gd name="T49" fmla="*/ 10 h 25"/>
                  <a:gd name="T50" fmla="*/ 42 w 42"/>
                  <a:gd name="T51" fmla="*/ 12 h 25"/>
                  <a:gd name="T52" fmla="*/ 42 w 42"/>
                  <a:gd name="T53" fmla="*/ 14 h 25"/>
                  <a:gd name="T54" fmla="*/ 42 w 42"/>
                  <a:gd name="T55" fmla="*/ 15 h 25"/>
                  <a:gd name="T56" fmla="*/ 42 w 42"/>
                  <a:gd name="T57" fmla="*/ 15 h 25"/>
                  <a:gd name="T58" fmla="*/ 42 w 42"/>
                  <a:gd name="T59" fmla="*/ 17 h 25"/>
                  <a:gd name="T60" fmla="*/ 40 w 42"/>
                  <a:gd name="T61" fmla="*/ 19 h 25"/>
                  <a:gd name="T62" fmla="*/ 40 w 42"/>
                  <a:gd name="T63" fmla="*/ 21 h 25"/>
                  <a:gd name="T64" fmla="*/ 38 w 42"/>
                  <a:gd name="T65" fmla="*/ 21 h 25"/>
                  <a:gd name="T66" fmla="*/ 35 w 42"/>
                  <a:gd name="T67" fmla="*/ 21 h 25"/>
                  <a:gd name="T68" fmla="*/ 33 w 42"/>
                  <a:gd name="T69" fmla="*/ 23 h 25"/>
                  <a:gd name="T70" fmla="*/ 31 w 42"/>
                  <a:gd name="T71" fmla="*/ 23 h 25"/>
                  <a:gd name="T72" fmla="*/ 29 w 42"/>
                  <a:gd name="T73" fmla="*/ 23 h 25"/>
                  <a:gd name="T74" fmla="*/ 27 w 42"/>
                  <a:gd name="T75" fmla="*/ 23 h 25"/>
                  <a:gd name="T76" fmla="*/ 25 w 42"/>
                  <a:gd name="T77" fmla="*/ 23 h 25"/>
                  <a:gd name="T78" fmla="*/ 25 w 42"/>
                  <a:gd name="T79" fmla="*/ 23 h 25"/>
                  <a:gd name="T80" fmla="*/ 23 w 42"/>
                  <a:gd name="T81" fmla="*/ 23 h 25"/>
                  <a:gd name="T82" fmla="*/ 21 w 42"/>
                  <a:gd name="T83" fmla="*/ 23 h 25"/>
                  <a:gd name="T84" fmla="*/ 17 w 42"/>
                  <a:gd name="T85" fmla="*/ 23 h 25"/>
                  <a:gd name="T86" fmla="*/ 13 w 42"/>
                  <a:gd name="T87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42" h="25">
                    <a:moveTo>
                      <a:pt x="13" y="25"/>
                    </a:moveTo>
                    <a:lnTo>
                      <a:pt x="12" y="25"/>
                    </a:lnTo>
                    <a:lnTo>
                      <a:pt x="8" y="25"/>
                    </a:lnTo>
                    <a:lnTo>
                      <a:pt x="6" y="25"/>
                    </a:lnTo>
                    <a:lnTo>
                      <a:pt x="4" y="25"/>
                    </a:lnTo>
                    <a:lnTo>
                      <a:pt x="2" y="23"/>
                    </a:lnTo>
                    <a:lnTo>
                      <a:pt x="0" y="21"/>
                    </a:lnTo>
                    <a:lnTo>
                      <a:pt x="0" y="19"/>
                    </a:lnTo>
                    <a:lnTo>
                      <a:pt x="0" y="17"/>
                    </a:lnTo>
                    <a:lnTo>
                      <a:pt x="2" y="15"/>
                    </a:lnTo>
                    <a:lnTo>
                      <a:pt x="4" y="14"/>
                    </a:lnTo>
                    <a:lnTo>
                      <a:pt x="8" y="12"/>
                    </a:lnTo>
                    <a:lnTo>
                      <a:pt x="13" y="12"/>
                    </a:lnTo>
                    <a:lnTo>
                      <a:pt x="19" y="8"/>
                    </a:lnTo>
                    <a:lnTo>
                      <a:pt x="23" y="4"/>
                    </a:lnTo>
                    <a:lnTo>
                      <a:pt x="27" y="2"/>
                    </a:lnTo>
                    <a:lnTo>
                      <a:pt x="31" y="0"/>
                    </a:lnTo>
                    <a:lnTo>
                      <a:pt x="33" y="0"/>
                    </a:lnTo>
                    <a:lnTo>
                      <a:pt x="37" y="0"/>
                    </a:lnTo>
                    <a:lnTo>
                      <a:pt x="38" y="2"/>
                    </a:lnTo>
                    <a:lnTo>
                      <a:pt x="40" y="2"/>
                    </a:lnTo>
                    <a:lnTo>
                      <a:pt x="40" y="4"/>
                    </a:lnTo>
                    <a:lnTo>
                      <a:pt x="40" y="6"/>
                    </a:lnTo>
                    <a:lnTo>
                      <a:pt x="42" y="8"/>
                    </a:lnTo>
                    <a:lnTo>
                      <a:pt x="42" y="10"/>
                    </a:lnTo>
                    <a:lnTo>
                      <a:pt x="42" y="12"/>
                    </a:lnTo>
                    <a:lnTo>
                      <a:pt x="42" y="14"/>
                    </a:lnTo>
                    <a:lnTo>
                      <a:pt x="42" y="15"/>
                    </a:lnTo>
                    <a:lnTo>
                      <a:pt x="42" y="15"/>
                    </a:lnTo>
                    <a:lnTo>
                      <a:pt x="42" y="17"/>
                    </a:lnTo>
                    <a:lnTo>
                      <a:pt x="40" y="19"/>
                    </a:lnTo>
                    <a:lnTo>
                      <a:pt x="40" y="21"/>
                    </a:lnTo>
                    <a:lnTo>
                      <a:pt x="38" y="21"/>
                    </a:lnTo>
                    <a:lnTo>
                      <a:pt x="35" y="21"/>
                    </a:lnTo>
                    <a:lnTo>
                      <a:pt x="33" y="23"/>
                    </a:lnTo>
                    <a:lnTo>
                      <a:pt x="31" y="23"/>
                    </a:lnTo>
                    <a:lnTo>
                      <a:pt x="29" y="23"/>
                    </a:lnTo>
                    <a:lnTo>
                      <a:pt x="27" y="23"/>
                    </a:lnTo>
                    <a:lnTo>
                      <a:pt x="25" y="23"/>
                    </a:lnTo>
                    <a:lnTo>
                      <a:pt x="25" y="23"/>
                    </a:lnTo>
                    <a:lnTo>
                      <a:pt x="23" y="23"/>
                    </a:lnTo>
                    <a:lnTo>
                      <a:pt x="21" y="23"/>
                    </a:lnTo>
                    <a:lnTo>
                      <a:pt x="17" y="23"/>
                    </a:lnTo>
                    <a:lnTo>
                      <a:pt x="13" y="2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262" name="Freeform 132"/>
              <p:cNvSpPr>
                <a:spLocks/>
              </p:cNvSpPr>
              <p:nvPr/>
            </p:nvSpPr>
            <p:spPr bwMode="auto">
              <a:xfrm>
                <a:off x="3569" y="1401"/>
                <a:ext cx="55" cy="39"/>
              </a:xfrm>
              <a:custGeom>
                <a:avLst/>
                <a:gdLst>
                  <a:gd name="T0" fmla="*/ 50 w 50"/>
                  <a:gd name="T1" fmla="*/ 22 h 37"/>
                  <a:gd name="T2" fmla="*/ 48 w 50"/>
                  <a:gd name="T3" fmla="*/ 16 h 37"/>
                  <a:gd name="T4" fmla="*/ 43 w 50"/>
                  <a:gd name="T5" fmla="*/ 14 h 37"/>
                  <a:gd name="T6" fmla="*/ 37 w 50"/>
                  <a:gd name="T7" fmla="*/ 10 h 37"/>
                  <a:gd name="T8" fmla="*/ 29 w 50"/>
                  <a:gd name="T9" fmla="*/ 6 h 37"/>
                  <a:gd name="T10" fmla="*/ 22 w 50"/>
                  <a:gd name="T11" fmla="*/ 2 h 37"/>
                  <a:gd name="T12" fmla="*/ 16 w 50"/>
                  <a:gd name="T13" fmla="*/ 0 h 37"/>
                  <a:gd name="T14" fmla="*/ 10 w 50"/>
                  <a:gd name="T15" fmla="*/ 2 h 37"/>
                  <a:gd name="T16" fmla="*/ 4 w 50"/>
                  <a:gd name="T17" fmla="*/ 6 h 37"/>
                  <a:gd name="T18" fmla="*/ 0 w 50"/>
                  <a:gd name="T19" fmla="*/ 10 h 37"/>
                  <a:gd name="T20" fmla="*/ 0 w 50"/>
                  <a:gd name="T21" fmla="*/ 14 h 37"/>
                  <a:gd name="T22" fmla="*/ 2 w 50"/>
                  <a:gd name="T23" fmla="*/ 22 h 37"/>
                  <a:gd name="T24" fmla="*/ 8 w 50"/>
                  <a:gd name="T25" fmla="*/ 23 h 37"/>
                  <a:gd name="T26" fmla="*/ 14 w 50"/>
                  <a:gd name="T27" fmla="*/ 23 h 37"/>
                  <a:gd name="T28" fmla="*/ 16 w 50"/>
                  <a:gd name="T29" fmla="*/ 25 h 37"/>
                  <a:gd name="T30" fmla="*/ 22 w 50"/>
                  <a:gd name="T31" fmla="*/ 29 h 37"/>
                  <a:gd name="T32" fmla="*/ 23 w 50"/>
                  <a:gd name="T33" fmla="*/ 33 h 37"/>
                  <a:gd name="T34" fmla="*/ 25 w 50"/>
                  <a:gd name="T35" fmla="*/ 35 h 37"/>
                  <a:gd name="T36" fmla="*/ 29 w 50"/>
                  <a:gd name="T37" fmla="*/ 37 h 37"/>
                  <a:gd name="T38" fmla="*/ 35 w 50"/>
                  <a:gd name="T39" fmla="*/ 37 h 37"/>
                  <a:gd name="T40" fmla="*/ 39 w 50"/>
                  <a:gd name="T41" fmla="*/ 35 h 37"/>
                  <a:gd name="T42" fmla="*/ 41 w 50"/>
                  <a:gd name="T43" fmla="*/ 35 h 37"/>
                  <a:gd name="T44" fmla="*/ 43 w 50"/>
                  <a:gd name="T45" fmla="*/ 35 h 37"/>
                  <a:gd name="T46" fmla="*/ 43 w 50"/>
                  <a:gd name="T47" fmla="*/ 35 h 37"/>
                  <a:gd name="T48" fmla="*/ 43 w 50"/>
                  <a:gd name="T49" fmla="*/ 35 h 37"/>
                  <a:gd name="T50" fmla="*/ 43 w 50"/>
                  <a:gd name="T51" fmla="*/ 33 h 37"/>
                  <a:gd name="T52" fmla="*/ 43 w 50"/>
                  <a:gd name="T53" fmla="*/ 33 h 37"/>
                  <a:gd name="T54" fmla="*/ 43 w 50"/>
                  <a:gd name="T55" fmla="*/ 33 h 37"/>
                  <a:gd name="T56" fmla="*/ 45 w 50"/>
                  <a:gd name="T57" fmla="*/ 33 h 37"/>
                  <a:gd name="T58" fmla="*/ 45 w 50"/>
                  <a:gd name="T59" fmla="*/ 35 h 37"/>
                  <a:gd name="T60" fmla="*/ 47 w 50"/>
                  <a:gd name="T61" fmla="*/ 33 h 37"/>
                  <a:gd name="T62" fmla="*/ 48 w 50"/>
                  <a:gd name="T63" fmla="*/ 31 h 37"/>
                  <a:gd name="T64" fmla="*/ 50 w 50"/>
                  <a:gd name="T65" fmla="*/ 25 h 37"/>
                  <a:gd name="T66" fmla="*/ 50 w 50"/>
                  <a:gd name="T67" fmla="*/ 22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50" h="37">
                    <a:moveTo>
                      <a:pt x="50" y="22"/>
                    </a:moveTo>
                    <a:lnTo>
                      <a:pt x="48" y="16"/>
                    </a:lnTo>
                    <a:lnTo>
                      <a:pt x="43" y="14"/>
                    </a:lnTo>
                    <a:lnTo>
                      <a:pt x="37" y="10"/>
                    </a:lnTo>
                    <a:lnTo>
                      <a:pt x="29" y="6"/>
                    </a:lnTo>
                    <a:lnTo>
                      <a:pt x="22" y="2"/>
                    </a:lnTo>
                    <a:lnTo>
                      <a:pt x="16" y="0"/>
                    </a:lnTo>
                    <a:lnTo>
                      <a:pt x="10" y="2"/>
                    </a:lnTo>
                    <a:lnTo>
                      <a:pt x="4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2" y="22"/>
                    </a:lnTo>
                    <a:lnTo>
                      <a:pt x="8" y="23"/>
                    </a:lnTo>
                    <a:lnTo>
                      <a:pt x="14" y="23"/>
                    </a:lnTo>
                    <a:lnTo>
                      <a:pt x="16" y="25"/>
                    </a:lnTo>
                    <a:lnTo>
                      <a:pt x="22" y="29"/>
                    </a:lnTo>
                    <a:lnTo>
                      <a:pt x="23" y="33"/>
                    </a:lnTo>
                    <a:lnTo>
                      <a:pt x="25" y="35"/>
                    </a:lnTo>
                    <a:lnTo>
                      <a:pt x="29" y="37"/>
                    </a:lnTo>
                    <a:lnTo>
                      <a:pt x="35" y="37"/>
                    </a:lnTo>
                    <a:lnTo>
                      <a:pt x="39" y="35"/>
                    </a:lnTo>
                    <a:lnTo>
                      <a:pt x="41" y="35"/>
                    </a:lnTo>
                    <a:lnTo>
                      <a:pt x="43" y="35"/>
                    </a:lnTo>
                    <a:lnTo>
                      <a:pt x="43" y="35"/>
                    </a:lnTo>
                    <a:lnTo>
                      <a:pt x="43" y="35"/>
                    </a:lnTo>
                    <a:lnTo>
                      <a:pt x="43" y="33"/>
                    </a:lnTo>
                    <a:lnTo>
                      <a:pt x="43" y="33"/>
                    </a:lnTo>
                    <a:lnTo>
                      <a:pt x="43" y="33"/>
                    </a:lnTo>
                    <a:lnTo>
                      <a:pt x="45" y="33"/>
                    </a:lnTo>
                    <a:lnTo>
                      <a:pt x="45" y="35"/>
                    </a:lnTo>
                    <a:lnTo>
                      <a:pt x="47" y="33"/>
                    </a:lnTo>
                    <a:lnTo>
                      <a:pt x="48" y="31"/>
                    </a:lnTo>
                    <a:lnTo>
                      <a:pt x="50" y="25"/>
                    </a:lnTo>
                    <a:lnTo>
                      <a:pt x="50" y="2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</p:grpSp>
      </p:grpSp>
      <p:grpSp>
        <p:nvGrpSpPr>
          <p:cNvPr id="16" name="Agrupar 15">
            <a:extLst>
              <a:ext uri="{FF2B5EF4-FFF2-40B4-BE49-F238E27FC236}">
                <a16:creationId xmlns:a16="http://schemas.microsoft.com/office/drawing/2014/main" id="{6CC6EFA1-5010-4F28-8C47-5835EEB354C6}"/>
              </a:ext>
            </a:extLst>
          </p:cNvPr>
          <p:cNvGrpSpPr/>
          <p:nvPr/>
        </p:nvGrpSpPr>
        <p:grpSpPr>
          <a:xfrm>
            <a:off x="5774876" y="4253406"/>
            <a:ext cx="1169704" cy="1563190"/>
            <a:chOff x="5774876" y="4253406"/>
            <a:chExt cx="1169704" cy="1563190"/>
          </a:xfrm>
          <a:solidFill>
            <a:srgbClr val="7F7F6B"/>
          </a:solidFill>
        </p:grpSpPr>
        <p:sp>
          <p:nvSpPr>
            <p:cNvPr id="121" name="Freeform 6"/>
            <p:cNvSpPr>
              <a:spLocks/>
            </p:cNvSpPr>
            <p:nvPr/>
          </p:nvSpPr>
          <p:spPr bwMode="auto">
            <a:xfrm>
              <a:off x="5774876" y="4892014"/>
              <a:ext cx="952535" cy="924582"/>
            </a:xfrm>
            <a:custGeom>
              <a:avLst/>
              <a:gdLst>
                <a:gd name="T0" fmla="*/ 378 w 487"/>
                <a:gd name="T1" fmla="*/ 351 h 475"/>
                <a:gd name="T2" fmla="*/ 412 w 487"/>
                <a:gd name="T3" fmla="*/ 324 h 475"/>
                <a:gd name="T4" fmla="*/ 427 w 487"/>
                <a:gd name="T5" fmla="*/ 285 h 475"/>
                <a:gd name="T6" fmla="*/ 441 w 487"/>
                <a:gd name="T7" fmla="*/ 262 h 475"/>
                <a:gd name="T8" fmla="*/ 460 w 487"/>
                <a:gd name="T9" fmla="*/ 224 h 475"/>
                <a:gd name="T10" fmla="*/ 479 w 487"/>
                <a:gd name="T11" fmla="*/ 186 h 475"/>
                <a:gd name="T12" fmla="*/ 473 w 487"/>
                <a:gd name="T13" fmla="*/ 161 h 475"/>
                <a:gd name="T14" fmla="*/ 470 w 487"/>
                <a:gd name="T15" fmla="*/ 136 h 475"/>
                <a:gd name="T16" fmla="*/ 479 w 487"/>
                <a:gd name="T17" fmla="*/ 105 h 475"/>
                <a:gd name="T18" fmla="*/ 452 w 487"/>
                <a:gd name="T19" fmla="*/ 92 h 475"/>
                <a:gd name="T20" fmla="*/ 420 w 487"/>
                <a:gd name="T21" fmla="*/ 74 h 475"/>
                <a:gd name="T22" fmla="*/ 397 w 487"/>
                <a:gd name="T23" fmla="*/ 50 h 475"/>
                <a:gd name="T24" fmla="*/ 370 w 487"/>
                <a:gd name="T25" fmla="*/ 30 h 475"/>
                <a:gd name="T26" fmla="*/ 331 w 487"/>
                <a:gd name="T27" fmla="*/ 17 h 475"/>
                <a:gd name="T28" fmla="*/ 310 w 487"/>
                <a:gd name="T29" fmla="*/ 11 h 475"/>
                <a:gd name="T30" fmla="*/ 293 w 487"/>
                <a:gd name="T31" fmla="*/ 11 h 475"/>
                <a:gd name="T32" fmla="*/ 272 w 487"/>
                <a:gd name="T33" fmla="*/ 7 h 475"/>
                <a:gd name="T34" fmla="*/ 249 w 487"/>
                <a:gd name="T35" fmla="*/ 0 h 475"/>
                <a:gd name="T36" fmla="*/ 220 w 487"/>
                <a:gd name="T37" fmla="*/ 5 h 475"/>
                <a:gd name="T38" fmla="*/ 186 w 487"/>
                <a:gd name="T39" fmla="*/ 26 h 475"/>
                <a:gd name="T40" fmla="*/ 157 w 487"/>
                <a:gd name="T41" fmla="*/ 51 h 475"/>
                <a:gd name="T42" fmla="*/ 126 w 487"/>
                <a:gd name="T43" fmla="*/ 73 h 475"/>
                <a:gd name="T44" fmla="*/ 97 w 487"/>
                <a:gd name="T45" fmla="*/ 101 h 475"/>
                <a:gd name="T46" fmla="*/ 71 w 487"/>
                <a:gd name="T47" fmla="*/ 132 h 475"/>
                <a:gd name="T48" fmla="*/ 49 w 487"/>
                <a:gd name="T49" fmla="*/ 168 h 475"/>
                <a:gd name="T50" fmla="*/ 26 w 487"/>
                <a:gd name="T51" fmla="*/ 205 h 475"/>
                <a:gd name="T52" fmla="*/ 0 w 487"/>
                <a:gd name="T53" fmla="*/ 245 h 475"/>
                <a:gd name="T54" fmla="*/ 40 w 487"/>
                <a:gd name="T55" fmla="*/ 239 h 475"/>
                <a:gd name="T56" fmla="*/ 76 w 487"/>
                <a:gd name="T57" fmla="*/ 261 h 475"/>
                <a:gd name="T58" fmla="*/ 118 w 487"/>
                <a:gd name="T59" fmla="*/ 284 h 475"/>
                <a:gd name="T60" fmla="*/ 159 w 487"/>
                <a:gd name="T61" fmla="*/ 320 h 475"/>
                <a:gd name="T62" fmla="*/ 193 w 487"/>
                <a:gd name="T63" fmla="*/ 339 h 475"/>
                <a:gd name="T64" fmla="*/ 234 w 487"/>
                <a:gd name="T65" fmla="*/ 368 h 475"/>
                <a:gd name="T66" fmla="*/ 259 w 487"/>
                <a:gd name="T67" fmla="*/ 395 h 475"/>
                <a:gd name="T68" fmla="*/ 282 w 487"/>
                <a:gd name="T69" fmla="*/ 406 h 475"/>
                <a:gd name="T70" fmla="*/ 303 w 487"/>
                <a:gd name="T71" fmla="*/ 389 h 475"/>
                <a:gd name="T72" fmla="*/ 299 w 487"/>
                <a:gd name="T73" fmla="*/ 416 h 475"/>
                <a:gd name="T74" fmla="*/ 270 w 487"/>
                <a:gd name="T75" fmla="*/ 437 h 475"/>
                <a:gd name="T76" fmla="*/ 264 w 487"/>
                <a:gd name="T77" fmla="*/ 470 h 475"/>
                <a:gd name="T78" fmla="*/ 287 w 487"/>
                <a:gd name="T79" fmla="*/ 462 h 475"/>
                <a:gd name="T80" fmla="*/ 307 w 487"/>
                <a:gd name="T81" fmla="*/ 435 h 475"/>
                <a:gd name="T82" fmla="*/ 295 w 487"/>
                <a:gd name="T83" fmla="*/ 472 h 475"/>
                <a:gd name="T84" fmla="*/ 318 w 487"/>
                <a:gd name="T85" fmla="*/ 427 h 475"/>
                <a:gd name="T86" fmla="*/ 335 w 487"/>
                <a:gd name="T87" fmla="*/ 385 h 475"/>
                <a:gd name="T88" fmla="*/ 331 w 487"/>
                <a:gd name="T89" fmla="*/ 366 h 475"/>
                <a:gd name="T90" fmla="*/ 333 w 487"/>
                <a:gd name="T91" fmla="*/ 337 h 475"/>
                <a:gd name="T92" fmla="*/ 358 w 487"/>
                <a:gd name="T93" fmla="*/ 310 h 475"/>
                <a:gd name="T94" fmla="*/ 383 w 487"/>
                <a:gd name="T95" fmla="*/ 278 h 475"/>
                <a:gd name="T96" fmla="*/ 397 w 487"/>
                <a:gd name="T97" fmla="*/ 247 h 475"/>
                <a:gd name="T98" fmla="*/ 420 w 487"/>
                <a:gd name="T99" fmla="*/ 243 h 475"/>
                <a:gd name="T100" fmla="*/ 416 w 487"/>
                <a:gd name="T101" fmla="*/ 259 h 475"/>
                <a:gd name="T102" fmla="*/ 412 w 487"/>
                <a:gd name="T103" fmla="*/ 284 h 475"/>
                <a:gd name="T104" fmla="*/ 391 w 487"/>
                <a:gd name="T105" fmla="*/ 305 h 475"/>
                <a:gd name="T106" fmla="*/ 379 w 487"/>
                <a:gd name="T107" fmla="*/ 326 h 475"/>
                <a:gd name="T108" fmla="*/ 356 w 487"/>
                <a:gd name="T109" fmla="*/ 341 h 475"/>
                <a:gd name="T110" fmla="*/ 341 w 487"/>
                <a:gd name="T111" fmla="*/ 356 h 475"/>
                <a:gd name="T112" fmla="*/ 347 w 487"/>
                <a:gd name="T113" fmla="*/ 366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87" h="475">
                  <a:moveTo>
                    <a:pt x="353" y="368"/>
                  </a:moveTo>
                  <a:lnTo>
                    <a:pt x="358" y="362"/>
                  </a:lnTo>
                  <a:lnTo>
                    <a:pt x="364" y="358"/>
                  </a:lnTo>
                  <a:lnTo>
                    <a:pt x="372" y="353"/>
                  </a:lnTo>
                  <a:lnTo>
                    <a:pt x="378" y="351"/>
                  </a:lnTo>
                  <a:lnTo>
                    <a:pt x="379" y="345"/>
                  </a:lnTo>
                  <a:lnTo>
                    <a:pt x="387" y="339"/>
                  </a:lnTo>
                  <a:lnTo>
                    <a:pt x="397" y="335"/>
                  </a:lnTo>
                  <a:lnTo>
                    <a:pt x="402" y="328"/>
                  </a:lnTo>
                  <a:lnTo>
                    <a:pt x="412" y="324"/>
                  </a:lnTo>
                  <a:lnTo>
                    <a:pt x="414" y="314"/>
                  </a:lnTo>
                  <a:lnTo>
                    <a:pt x="418" y="303"/>
                  </a:lnTo>
                  <a:lnTo>
                    <a:pt x="426" y="299"/>
                  </a:lnTo>
                  <a:lnTo>
                    <a:pt x="429" y="293"/>
                  </a:lnTo>
                  <a:lnTo>
                    <a:pt x="427" y="285"/>
                  </a:lnTo>
                  <a:lnTo>
                    <a:pt x="429" y="280"/>
                  </a:lnTo>
                  <a:lnTo>
                    <a:pt x="435" y="276"/>
                  </a:lnTo>
                  <a:lnTo>
                    <a:pt x="435" y="272"/>
                  </a:lnTo>
                  <a:lnTo>
                    <a:pt x="437" y="266"/>
                  </a:lnTo>
                  <a:lnTo>
                    <a:pt x="441" y="262"/>
                  </a:lnTo>
                  <a:lnTo>
                    <a:pt x="447" y="255"/>
                  </a:lnTo>
                  <a:lnTo>
                    <a:pt x="452" y="247"/>
                  </a:lnTo>
                  <a:lnTo>
                    <a:pt x="454" y="238"/>
                  </a:lnTo>
                  <a:lnTo>
                    <a:pt x="458" y="232"/>
                  </a:lnTo>
                  <a:lnTo>
                    <a:pt x="460" y="224"/>
                  </a:lnTo>
                  <a:lnTo>
                    <a:pt x="464" y="220"/>
                  </a:lnTo>
                  <a:lnTo>
                    <a:pt x="468" y="213"/>
                  </a:lnTo>
                  <a:lnTo>
                    <a:pt x="472" y="199"/>
                  </a:lnTo>
                  <a:lnTo>
                    <a:pt x="477" y="191"/>
                  </a:lnTo>
                  <a:lnTo>
                    <a:pt x="479" y="186"/>
                  </a:lnTo>
                  <a:lnTo>
                    <a:pt x="483" y="176"/>
                  </a:lnTo>
                  <a:lnTo>
                    <a:pt x="487" y="170"/>
                  </a:lnTo>
                  <a:lnTo>
                    <a:pt x="485" y="167"/>
                  </a:lnTo>
                  <a:lnTo>
                    <a:pt x="479" y="165"/>
                  </a:lnTo>
                  <a:lnTo>
                    <a:pt x="473" y="161"/>
                  </a:lnTo>
                  <a:lnTo>
                    <a:pt x="470" y="161"/>
                  </a:lnTo>
                  <a:lnTo>
                    <a:pt x="462" y="155"/>
                  </a:lnTo>
                  <a:lnTo>
                    <a:pt x="458" y="149"/>
                  </a:lnTo>
                  <a:lnTo>
                    <a:pt x="464" y="144"/>
                  </a:lnTo>
                  <a:lnTo>
                    <a:pt x="470" y="136"/>
                  </a:lnTo>
                  <a:lnTo>
                    <a:pt x="472" y="130"/>
                  </a:lnTo>
                  <a:lnTo>
                    <a:pt x="473" y="124"/>
                  </a:lnTo>
                  <a:lnTo>
                    <a:pt x="475" y="117"/>
                  </a:lnTo>
                  <a:lnTo>
                    <a:pt x="477" y="111"/>
                  </a:lnTo>
                  <a:lnTo>
                    <a:pt x="479" y="105"/>
                  </a:lnTo>
                  <a:lnTo>
                    <a:pt x="477" y="99"/>
                  </a:lnTo>
                  <a:lnTo>
                    <a:pt x="473" y="97"/>
                  </a:lnTo>
                  <a:lnTo>
                    <a:pt x="466" y="97"/>
                  </a:lnTo>
                  <a:lnTo>
                    <a:pt x="456" y="97"/>
                  </a:lnTo>
                  <a:lnTo>
                    <a:pt x="452" y="92"/>
                  </a:lnTo>
                  <a:lnTo>
                    <a:pt x="445" y="90"/>
                  </a:lnTo>
                  <a:lnTo>
                    <a:pt x="437" y="88"/>
                  </a:lnTo>
                  <a:lnTo>
                    <a:pt x="431" y="84"/>
                  </a:lnTo>
                  <a:lnTo>
                    <a:pt x="424" y="80"/>
                  </a:lnTo>
                  <a:lnTo>
                    <a:pt x="420" y="74"/>
                  </a:lnTo>
                  <a:lnTo>
                    <a:pt x="418" y="67"/>
                  </a:lnTo>
                  <a:lnTo>
                    <a:pt x="414" y="59"/>
                  </a:lnTo>
                  <a:lnTo>
                    <a:pt x="408" y="57"/>
                  </a:lnTo>
                  <a:lnTo>
                    <a:pt x="399" y="53"/>
                  </a:lnTo>
                  <a:lnTo>
                    <a:pt x="397" y="50"/>
                  </a:lnTo>
                  <a:lnTo>
                    <a:pt x="393" y="44"/>
                  </a:lnTo>
                  <a:lnTo>
                    <a:pt x="389" y="42"/>
                  </a:lnTo>
                  <a:lnTo>
                    <a:pt x="385" y="38"/>
                  </a:lnTo>
                  <a:lnTo>
                    <a:pt x="376" y="34"/>
                  </a:lnTo>
                  <a:lnTo>
                    <a:pt x="370" y="30"/>
                  </a:lnTo>
                  <a:lnTo>
                    <a:pt x="362" y="30"/>
                  </a:lnTo>
                  <a:lnTo>
                    <a:pt x="355" y="26"/>
                  </a:lnTo>
                  <a:lnTo>
                    <a:pt x="349" y="23"/>
                  </a:lnTo>
                  <a:lnTo>
                    <a:pt x="341" y="17"/>
                  </a:lnTo>
                  <a:lnTo>
                    <a:pt x="331" y="17"/>
                  </a:lnTo>
                  <a:lnTo>
                    <a:pt x="330" y="15"/>
                  </a:lnTo>
                  <a:lnTo>
                    <a:pt x="326" y="13"/>
                  </a:lnTo>
                  <a:lnTo>
                    <a:pt x="320" y="11"/>
                  </a:lnTo>
                  <a:lnTo>
                    <a:pt x="314" y="11"/>
                  </a:lnTo>
                  <a:lnTo>
                    <a:pt x="310" y="11"/>
                  </a:lnTo>
                  <a:lnTo>
                    <a:pt x="307" y="7"/>
                  </a:lnTo>
                  <a:lnTo>
                    <a:pt x="303" y="7"/>
                  </a:lnTo>
                  <a:lnTo>
                    <a:pt x="301" y="9"/>
                  </a:lnTo>
                  <a:lnTo>
                    <a:pt x="297" y="11"/>
                  </a:lnTo>
                  <a:lnTo>
                    <a:pt x="293" y="11"/>
                  </a:lnTo>
                  <a:lnTo>
                    <a:pt x="289" y="7"/>
                  </a:lnTo>
                  <a:lnTo>
                    <a:pt x="284" y="3"/>
                  </a:lnTo>
                  <a:lnTo>
                    <a:pt x="278" y="3"/>
                  </a:lnTo>
                  <a:lnTo>
                    <a:pt x="274" y="3"/>
                  </a:lnTo>
                  <a:lnTo>
                    <a:pt x="272" y="7"/>
                  </a:lnTo>
                  <a:lnTo>
                    <a:pt x="266" y="7"/>
                  </a:lnTo>
                  <a:lnTo>
                    <a:pt x="264" y="5"/>
                  </a:lnTo>
                  <a:lnTo>
                    <a:pt x="260" y="3"/>
                  </a:lnTo>
                  <a:lnTo>
                    <a:pt x="257" y="2"/>
                  </a:lnTo>
                  <a:lnTo>
                    <a:pt x="249" y="0"/>
                  </a:lnTo>
                  <a:lnTo>
                    <a:pt x="243" y="2"/>
                  </a:lnTo>
                  <a:lnTo>
                    <a:pt x="237" y="3"/>
                  </a:lnTo>
                  <a:lnTo>
                    <a:pt x="232" y="0"/>
                  </a:lnTo>
                  <a:lnTo>
                    <a:pt x="226" y="0"/>
                  </a:lnTo>
                  <a:lnTo>
                    <a:pt x="220" y="5"/>
                  </a:lnTo>
                  <a:lnTo>
                    <a:pt x="216" y="11"/>
                  </a:lnTo>
                  <a:lnTo>
                    <a:pt x="209" y="13"/>
                  </a:lnTo>
                  <a:lnTo>
                    <a:pt x="203" y="17"/>
                  </a:lnTo>
                  <a:lnTo>
                    <a:pt x="195" y="25"/>
                  </a:lnTo>
                  <a:lnTo>
                    <a:pt x="186" y="26"/>
                  </a:lnTo>
                  <a:lnTo>
                    <a:pt x="180" y="30"/>
                  </a:lnTo>
                  <a:lnTo>
                    <a:pt x="174" y="38"/>
                  </a:lnTo>
                  <a:lnTo>
                    <a:pt x="166" y="40"/>
                  </a:lnTo>
                  <a:lnTo>
                    <a:pt x="161" y="44"/>
                  </a:lnTo>
                  <a:lnTo>
                    <a:pt x="157" y="51"/>
                  </a:lnTo>
                  <a:lnTo>
                    <a:pt x="153" y="55"/>
                  </a:lnTo>
                  <a:lnTo>
                    <a:pt x="149" y="59"/>
                  </a:lnTo>
                  <a:lnTo>
                    <a:pt x="142" y="61"/>
                  </a:lnTo>
                  <a:lnTo>
                    <a:pt x="136" y="65"/>
                  </a:lnTo>
                  <a:lnTo>
                    <a:pt x="126" y="73"/>
                  </a:lnTo>
                  <a:lnTo>
                    <a:pt x="115" y="80"/>
                  </a:lnTo>
                  <a:lnTo>
                    <a:pt x="107" y="80"/>
                  </a:lnTo>
                  <a:lnTo>
                    <a:pt x="105" y="82"/>
                  </a:lnTo>
                  <a:lnTo>
                    <a:pt x="101" y="92"/>
                  </a:lnTo>
                  <a:lnTo>
                    <a:pt x="97" y="101"/>
                  </a:lnTo>
                  <a:lnTo>
                    <a:pt x="92" y="109"/>
                  </a:lnTo>
                  <a:lnTo>
                    <a:pt x="84" y="117"/>
                  </a:lnTo>
                  <a:lnTo>
                    <a:pt x="80" y="126"/>
                  </a:lnTo>
                  <a:lnTo>
                    <a:pt x="74" y="130"/>
                  </a:lnTo>
                  <a:lnTo>
                    <a:pt x="71" y="132"/>
                  </a:lnTo>
                  <a:lnTo>
                    <a:pt x="69" y="144"/>
                  </a:lnTo>
                  <a:lnTo>
                    <a:pt x="67" y="151"/>
                  </a:lnTo>
                  <a:lnTo>
                    <a:pt x="65" y="159"/>
                  </a:lnTo>
                  <a:lnTo>
                    <a:pt x="57" y="165"/>
                  </a:lnTo>
                  <a:lnTo>
                    <a:pt x="49" y="168"/>
                  </a:lnTo>
                  <a:lnTo>
                    <a:pt x="47" y="174"/>
                  </a:lnTo>
                  <a:lnTo>
                    <a:pt x="44" y="182"/>
                  </a:lnTo>
                  <a:lnTo>
                    <a:pt x="36" y="188"/>
                  </a:lnTo>
                  <a:lnTo>
                    <a:pt x="32" y="197"/>
                  </a:lnTo>
                  <a:lnTo>
                    <a:pt x="26" y="205"/>
                  </a:lnTo>
                  <a:lnTo>
                    <a:pt x="17" y="211"/>
                  </a:lnTo>
                  <a:lnTo>
                    <a:pt x="9" y="214"/>
                  </a:lnTo>
                  <a:lnTo>
                    <a:pt x="5" y="224"/>
                  </a:lnTo>
                  <a:lnTo>
                    <a:pt x="3" y="234"/>
                  </a:lnTo>
                  <a:lnTo>
                    <a:pt x="0" y="245"/>
                  </a:lnTo>
                  <a:lnTo>
                    <a:pt x="7" y="251"/>
                  </a:lnTo>
                  <a:lnTo>
                    <a:pt x="15" y="251"/>
                  </a:lnTo>
                  <a:lnTo>
                    <a:pt x="21" y="245"/>
                  </a:lnTo>
                  <a:lnTo>
                    <a:pt x="30" y="243"/>
                  </a:lnTo>
                  <a:lnTo>
                    <a:pt x="40" y="239"/>
                  </a:lnTo>
                  <a:lnTo>
                    <a:pt x="49" y="238"/>
                  </a:lnTo>
                  <a:lnTo>
                    <a:pt x="57" y="241"/>
                  </a:lnTo>
                  <a:lnTo>
                    <a:pt x="63" y="247"/>
                  </a:lnTo>
                  <a:lnTo>
                    <a:pt x="72" y="249"/>
                  </a:lnTo>
                  <a:lnTo>
                    <a:pt x="76" y="261"/>
                  </a:lnTo>
                  <a:lnTo>
                    <a:pt x="82" y="270"/>
                  </a:lnTo>
                  <a:lnTo>
                    <a:pt x="88" y="274"/>
                  </a:lnTo>
                  <a:lnTo>
                    <a:pt x="97" y="274"/>
                  </a:lnTo>
                  <a:lnTo>
                    <a:pt x="111" y="282"/>
                  </a:lnTo>
                  <a:lnTo>
                    <a:pt x="118" y="284"/>
                  </a:lnTo>
                  <a:lnTo>
                    <a:pt x="128" y="287"/>
                  </a:lnTo>
                  <a:lnTo>
                    <a:pt x="136" y="301"/>
                  </a:lnTo>
                  <a:lnTo>
                    <a:pt x="143" y="303"/>
                  </a:lnTo>
                  <a:lnTo>
                    <a:pt x="149" y="312"/>
                  </a:lnTo>
                  <a:lnTo>
                    <a:pt x="159" y="320"/>
                  </a:lnTo>
                  <a:lnTo>
                    <a:pt x="166" y="320"/>
                  </a:lnTo>
                  <a:lnTo>
                    <a:pt x="176" y="324"/>
                  </a:lnTo>
                  <a:lnTo>
                    <a:pt x="182" y="330"/>
                  </a:lnTo>
                  <a:lnTo>
                    <a:pt x="188" y="335"/>
                  </a:lnTo>
                  <a:lnTo>
                    <a:pt x="193" y="339"/>
                  </a:lnTo>
                  <a:lnTo>
                    <a:pt x="205" y="345"/>
                  </a:lnTo>
                  <a:lnTo>
                    <a:pt x="211" y="349"/>
                  </a:lnTo>
                  <a:lnTo>
                    <a:pt x="220" y="356"/>
                  </a:lnTo>
                  <a:lnTo>
                    <a:pt x="230" y="358"/>
                  </a:lnTo>
                  <a:lnTo>
                    <a:pt x="234" y="368"/>
                  </a:lnTo>
                  <a:lnTo>
                    <a:pt x="234" y="372"/>
                  </a:lnTo>
                  <a:lnTo>
                    <a:pt x="241" y="376"/>
                  </a:lnTo>
                  <a:lnTo>
                    <a:pt x="249" y="379"/>
                  </a:lnTo>
                  <a:lnTo>
                    <a:pt x="255" y="385"/>
                  </a:lnTo>
                  <a:lnTo>
                    <a:pt x="259" y="395"/>
                  </a:lnTo>
                  <a:lnTo>
                    <a:pt x="264" y="401"/>
                  </a:lnTo>
                  <a:lnTo>
                    <a:pt x="268" y="404"/>
                  </a:lnTo>
                  <a:lnTo>
                    <a:pt x="272" y="408"/>
                  </a:lnTo>
                  <a:lnTo>
                    <a:pt x="276" y="406"/>
                  </a:lnTo>
                  <a:lnTo>
                    <a:pt x="282" y="406"/>
                  </a:lnTo>
                  <a:lnTo>
                    <a:pt x="287" y="401"/>
                  </a:lnTo>
                  <a:lnTo>
                    <a:pt x="291" y="393"/>
                  </a:lnTo>
                  <a:lnTo>
                    <a:pt x="293" y="391"/>
                  </a:lnTo>
                  <a:lnTo>
                    <a:pt x="297" y="387"/>
                  </a:lnTo>
                  <a:lnTo>
                    <a:pt x="303" y="389"/>
                  </a:lnTo>
                  <a:lnTo>
                    <a:pt x="303" y="395"/>
                  </a:lnTo>
                  <a:lnTo>
                    <a:pt x="299" y="401"/>
                  </a:lnTo>
                  <a:lnTo>
                    <a:pt x="299" y="404"/>
                  </a:lnTo>
                  <a:lnTo>
                    <a:pt x="301" y="410"/>
                  </a:lnTo>
                  <a:lnTo>
                    <a:pt x="299" y="416"/>
                  </a:lnTo>
                  <a:lnTo>
                    <a:pt x="293" y="420"/>
                  </a:lnTo>
                  <a:lnTo>
                    <a:pt x="284" y="422"/>
                  </a:lnTo>
                  <a:lnTo>
                    <a:pt x="278" y="424"/>
                  </a:lnTo>
                  <a:lnTo>
                    <a:pt x="274" y="431"/>
                  </a:lnTo>
                  <a:lnTo>
                    <a:pt x="270" y="437"/>
                  </a:lnTo>
                  <a:lnTo>
                    <a:pt x="268" y="447"/>
                  </a:lnTo>
                  <a:lnTo>
                    <a:pt x="264" y="452"/>
                  </a:lnTo>
                  <a:lnTo>
                    <a:pt x="262" y="458"/>
                  </a:lnTo>
                  <a:lnTo>
                    <a:pt x="262" y="464"/>
                  </a:lnTo>
                  <a:lnTo>
                    <a:pt x="264" y="470"/>
                  </a:lnTo>
                  <a:lnTo>
                    <a:pt x="266" y="475"/>
                  </a:lnTo>
                  <a:lnTo>
                    <a:pt x="270" y="475"/>
                  </a:lnTo>
                  <a:lnTo>
                    <a:pt x="276" y="473"/>
                  </a:lnTo>
                  <a:lnTo>
                    <a:pt x="282" y="468"/>
                  </a:lnTo>
                  <a:lnTo>
                    <a:pt x="287" y="462"/>
                  </a:lnTo>
                  <a:lnTo>
                    <a:pt x="289" y="452"/>
                  </a:lnTo>
                  <a:lnTo>
                    <a:pt x="295" y="441"/>
                  </a:lnTo>
                  <a:lnTo>
                    <a:pt x="301" y="431"/>
                  </a:lnTo>
                  <a:lnTo>
                    <a:pt x="305" y="433"/>
                  </a:lnTo>
                  <a:lnTo>
                    <a:pt x="307" y="435"/>
                  </a:lnTo>
                  <a:lnTo>
                    <a:pt x="303" y="447"/>
                  </a:lnTo>
                  <a:lnTo>
                    <a:pt x="299" y="454"/>
                  </a:lnTo>
                  <a:lnTo>
                    <a:pt x="297" y="462"/>
                  </a:lnTo>
                  <a:lnTo>
                    <a:pt x="287" y="470"/>
                  </a:lnTo>
                  <a:lnTo>
                    <a:pt x="295" y="472"/>
                  </a:lnTo>
                  <a:lnTo>
                    <a:pt x="305" y="468"/>
                  </a:lnTo>
                  <a:lnTo>
                    <a:pt x="310" y="454"/>
                  </a:lnTo>
                  <a:lnTo>
                    <a:pt x="314" y="447"/>
                  </a:lnTo>
                  <a:lnTo>
                    <a:pt x="318" y="437"/>
                  </a:lnTo>
                  <a:lnTo>
                    <a:pt x="318" y="427"/>
                  </a:lnTo>
                  <a:lnTo>
                    <a:pt x="324" y="418"/>
                  </a:lnTo>
                  <a:lnTo>
                    <a:pt x="326" y="406"/>
                  </a:lnTo>
                  <a:lnTo>
                    <a:pt x="330" y="401"/>
                  </a:lnTo>
                  <a:lnTo>
                    <a:pt x="333" y="391"/>
                  </a:lnTo>
                  <a:lnTo>
                    <a:pt x="335" y="385"/>
                  </a:lnTo>
                  <a:lnTo>
                    <a:pt x="343" y="376"/>
                  </a:lnTo>
                  <a:lnTo>
                    <a:pt x="341" y="370"/>
                  </a:lnTo>
                  <a:lnTo>
                    <a:pt x="339" y="366"/>
                  </a:lnTo>
                  <a:lnTo>
                    <a:pt x="335" y="368"/>
                  </a:lnTo>
                  <a:lnTo>
                    <a:pt x="331" y="366"/>
                  </a:lnTo>
                  <a:lnTo>
                    <a:pt x="333" y="364"/>
                  </a:lnTo>
                  <a:lnTo>
                    <a:pt x="335" y="360"/>
                  </a:lnTo>
                  <a:lnTo>
                    <a:pt x="333" y="353"/>
                  </a:lnTo>
                  <a:lnTo>
                    <a:pt x="331" y="345"/>
                  </a:lnTo>
                  <a:lnTo>
                    <a:pt x="333" y="337"/>
                  </a:lnTo>
                  <a:lnTo>
                    <a:pt x="337" y="333"/>
                  </a:lnTo>
                  <a:lnTo>
                    <a:pt x="343" y="330"/>
                  </a:lnTo>
                  <a:lnTo>
                    <a:pt x="347" y="324"/>
                  </a:lnTo>
                  <a:lnTo>
                    <a:pt x="353" y="318"/>
                  </a:lnTo>
                  <a:lnTo>
                    <a:pt x="358" y="310"/>
                  </a:lnTo>
                  <a:lnTo>
                    <a:pt x="366" y="303"/>
                  </a:lnTo>
                  <a:lnTo>
                    <a:pt x="370" y="297"/>
                  </a:lnTo>
                  <a:lnTo>
                    <a:pt x="376" y="291"/>
                  </a:lnTo>
                  <a:lnTo>
                    <a:pt x="379" y="284"/>
                  </a:lnTo>
                  <a:lnTo>
                    <a:pt x="383" y="278"/>
                  </a:lnTo>
                  <a:lnTo>
                    <a:pt x="387" y="270"/>
                  </a:lnTo>
                  <a:lnTo>
                    <a:pt x="389" y="262"/>
                  </a:lnTo>
                  <a:lnTo>
                    <a:pt x="391" y="257"/>
                  </a:lnTo>
                  <a:lnTo>
                    <a:pt x="395" y="251"/>
                  </a:lnTo>
                  <a:lnTo>
                    <a:pt x="397" y="247"/>
                  </a:lnTo>
                  <a:lnTo>
                    <a:pt x="404" y="243"/>
                  </a:lnTo>
                  <a:lnTo>
                    <a:pt x="408" y="245"/>
                  </a:lnTo>
                  <a:lnTo>
                    <a:pt x="412" y="247"/>
                  </a:lnTo>
                  <a:lnTo>
                    <a:pt x="416" y="241"/>
                  </a:lnTo>
                  <a:lnTo>
                    <a:pt x="420" y="243"/>
                  </a:lnTo>
                  <a:lnTo>
                    <a:pt x="427" y="243"/>
                  </a:lnTo>
                  <a:lnTo>
                    <a:pt x="429" y="247"/>
                  </a:lnTo>
                  <a:lnTo>
                    <a:pt x="426" y="251"/>
                  </a:lnTo>
                  <a:lnTo>
                    <a:pt x="420" y="255"/>
                  </a:lnTo>
                  <a:lnTo>
                    <a:pt x="416" y="259"/>
                  </a:lnTo>
                  <a:lnTo>
                    <a:pt x="418" y="264"/>
                  </a:lnTo>
                  <a:lnTo>
                    <a:pt x="418" y="270"/>
                  </a:lnTo>
                  <a:lnTo>
                    <a:pt x="414" y="276"/>
                  </a:lnTo>
                  <a:lnTo>
                    <a:pt x="414" y="280"/>
                  </a:lnTo>
                  <a:lnTo>
                    <a:pt x="412" y="284"/>
                  </a:lnTo>
                  <a:lnTo>
                    <a:pt x="408" y="287"/>
                  </a:lnTo>
                  <a:lnTo>
                    <a:pt x="402" y="293"/>
                  </a:lnTo>
                  <a:lnTo>
                    <a:pt x="395" y="293"/>
                  </a:lnTo>
                  <a:lnTo>
                    <a:pt x="393" y="297"/>
                  </a:lnTo>
                  <a:lnTo>
                    <a:pt x="391" y="305"/>
                  </a:lnTo>
                  <a:lnTo>
                    <a:pt x="391" y="310"/>
                  </a:lnTo>
                  <a:lnTo>
                    <a:pt x="389" y="314"/>
                  </a:lnTo>
                  <a:lnTo>
                    <a:pt x="387" y="320"/>
                  </a:lnTo>
                  <a:lnTo>
                    <a:pt x="383" y="322"/>
                  </a:lnTo>
                  <a:lnTo>
                    <a:pt x="379" y="326"/>
                  </a:lnTo>
                  <a:lnTo>
                    <a:pt x="376" y="326"/>
                  </a:lnTo>
                  <a:lnTo>
                    <a:pt x="370" y="330"/>
                  </a:lnTo>
                  <a:lnTo>
                    <a:pt x="368" y="335"/>
                  </a:lnTo>
                  <a:lnTo>
                    <a:pt x="364" y="337"/>
                  </a:lnTo>
                  <a:lnTo>
                    <a:pt x="356" y="341"/>
                  </a:lnTo>
                  <a:lnTo>
                    <a:pt x="353" y="343"/>
                  </a:lnTo>
                  <a:lnTo>
                    <a:pt x="349" y="347"/>
                  </a:lnTo>
                  <a:lnTo>
                    <a:pt x="347" y="351"/>
                  </a:lnTo>
                  <a:lnTo>
                    <a:pt x="343" y="355"/>
                  </a:lnTo>
                  <a:lnTo>
                    <a:pt x="341" y="356"/>
                  </a:lnTo>
                  <a:lnTo>
                    <a:pt x="341" y="358"/>
                  </a:lnTo>
                  <a:lnTo>
                    <a:pt x="341" y="362"/>
                  </a:lnTo>
                  <a:lnTo>
                    <a:pt x="345" y="362"/>
                  </a:lnTo>
                  <a:lnTo>
                    <a:pt x="347" y="364"/>
                  </a:lnTo>
                  <a:lnTo>
                    <a:pt x="347" y="366"/>
                  </a:lnTo>
                  <a:lnTo>
                    <a:pt x="353" y="36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/>
            </a:p>
          </p:txBody>
        </p:sp>
        <p:sp>
          <p:nvSpPr>
            <p:cNvPr id="122" name="Freeform 7"/>
            <p:cNvSpPr>
              <a:spLocks/>
            </p:cNvSpPr>
            <p:nvPr/>
          </p:nvSpPr>
          <p:spPr bwMode="auto">
            <a:xfrm>
              <a:off x="6213516" y="4730749"/>
              <a:ext cx="675160" cy="490243"/>
            </a:xfrm>
            <a:custGeom>
              <a:avLst/>
              <a:gdLst>
                <a:gd name="T0" fmla="*/ 255 w 345"/>
                <a:gd name="T1" fmla="*/ 246 h 251"/>
                <a:gd name="T2" fmla="*/ 238 w 345"/>
                <a:gd name="T3" fmla="*/ 236 h 251"/>
                <a:gd name="T4" fmla="*/ 246 w 345"/>
                <a:gd name="T5" fmla="*/ 217 h 251"/>
                <a:gd name="T6" fmla="*/ 251 w 345"/>
                <a:gd name="T7" fmla="*/ 198 h 251"/>
                <a:gd name="T8" fmla="*/ 253 w 345"/>
                <a:gd name="T9" fmla="*/ 180 h 251"/>
                <a:gd name="T10" fmla="*/ 232 w 345"/>
                <a:gd name="T11" fmla="*/ 178 h 251"/>
                <a:gd name="T12" fmla="*/ 213 w 345"/>
                <a:gd name="T13" fmla="*/ 169 h 251"/>
                <a:gd name="T14" fmla="*/ 196 w 345"/>
                <a:gd name="T15" fmla="*/ 155 h 251"/>
                <a:gd name="T16" fmla="*/ 184 w 345"/>
                <a:gd name="T17" fmla="*/ 138 h 251"/>
                <a:gd name="T18" fmla="*/ 169 w 345"/>
                <a:gd name="T19" fmla="*/ 125 h 251"/>
                <a:gd name="T20" fmla="*/ 152 w 345"/>
                <a:gd name="T21" fmla="*/ 115 h 251"/>
                <a:gd name="T22" fmla="*/ 131 w 345"/>
                <a:gd name="T23" fmla="*/ 107 h 251"/>
                <a:gd name="T24" fmla="*/ 107 w 345"/>
                <a:gd name="T25" fmla="*/ 98 h 251"/>
                <a:gd name="T26" fmla="*/ 96 w 345"/>
                <a:gd name="T27" fmla="*/ 92 h 251"/>
                <a:gd name="T28" fmla="*/ 83 w 345"/>
                <a:gd name="T29" fmla="*/ 88 h 251"/>
                <a:gd name="T30" fmla="*/ 73 w 345"/>
                <a:gd name="T31" fmla="*/ 92 h 251"/>
                <a:gd name="T32" fmla="*/ 60 w 345"/>
                <a:gd name="T33" fmla="*/ 84 h 251"/>
                <a:gd name="T34" fmla="*/ 48 w 345"/>
                <a:gd name="T35" fmla="*/ 88 h 251"/>
                <a:gd name="T36" fmla="*/ 36 w 345"/>
                <a:gd name="T37" fmla="*/ 84 h 251"/>
                <a:gd name="T38" fmla="*/ 19 w 345"/>
                <a:gd name="T39" fmla="*/ 83 h 251"/>
                <a:gd name="T40" fmla="*/ 2 w 345"/>
                <a:gd name="T41" fmla="*/ 81 h 251"/>
                <a:gd name="T42" fmla="*/ 6 w 345"/>
                <a:gd name="T43" fmla="*/ 56 h 251"/>
                <a:gd name="T44" fmla="*/ 8 w 345"/>
                <a:gd name="T45" fmla="*/ 31 h 251"/>
                <a:gd name="T46" fmla="*/ 8 w 345"/>
                <a:gd name="T47" fmla="*/ 15 h 251"/>
                <a:gd name="T48" fmla="*/ 21 w 345"/>
                <a:gd name="T49" fmla="*/ 31 h 251"/>
                <a:gd name="T50" fmla="*/ 40 w 345"/>
                <a:gd name="T51" fmla="*/ 29 h 251"/>
                <a:gd name="T52" fmla="*/ 54 w 345"/>
                <a:gd name="T53" fmla="*/ 38 h 251"/>
                <a:gd name="T54" fmla="*/ 71 w 345"/>
                <a:gd name="T55" fmla="*/ 31 h 251"/>
                <a:gd name="T56" fmla="*/ 92 w 345"/>
                <a:gd name="T57" fmla="*/ 27 h 251"/>
                <a:gd name="T58" fmla="*/ 111 w 345"/>
                <a:gd name="T59" fmla="*/ 38 h 251"/>
                <a:gd name="T60" fmla="*/ 134 w 345"/>
                <a:gd name="T61" fmla="*/ 46 h 251"/>
                <a:gd name="T62" fmla="*/ 161 w 345"/>
                <a:gd name="T63" fmla="*/ 60 h 251"/>
                <a:gd name="T64" fmla="*/ 173 w 345"/>
                <a:gd name="T65" fmla="*/ 48 h 251"/>
                <a:gd name="T66" fmla="*/ 175 w 345"/>
                <a:gd name="T67" fmla="*/ 31 h 251"/>
                <a:gd name="T68" fmla="*/ 186 w 345"/>
                <a:gd name="T69" fmla="*/ 19 h 251"/>
                <a:gd name="T70" fmla="*/ 205 w 345"/>
                <a:gd name="T71" fmla="*/ 15 h 251"/>
                <a:gd name="T72" fmla="*/ 219 w 345"/>
                <a:gd name="T73" fmla="*/ 6 h 251"/>
                <a:gd name="T74" fmla="*/ 232 w 345"/>
                <a:gd name="T75" fmla="*/ 17 h 251"/>
                <a:gd name="T76" fmla="*/ 249 w 345"/>
                <a:gd name="T77" fmla="*/ 13 h 251"/>
                <a:gd name="T78" fmla="*/ 269 w 345"/>
                <a:gd name="T79" fmla="*/ 19 h 251"/>
                <a:gd name="T80" fmla="*/ 288 w 345"/>
                <a:gd name="T81" fmla="*/ 12 h 251"/>
                <a:gd name="T82" fmla="*/ 309 w 345"/>
                <a:gd name="T83" fmla="*/ 0 h 251"/>
                <a:gd name="T84" fmla="*/ 338 w 345"/>
                <a:gd name="T85" fmla="*/ 0 h 251"/>
                <a:gd name="T86" fmla="*/ 340 w 345"/>
                <a:gd name="T87" fmla="*/ 19 h 251"/>
                <a:gd name="T88" fmla="*/ 340 w 345"/>
                <a:gd name="T89" fmla="*/ 38 h 251"/>
                <a:gd name="T90" fmla="*/ 334 w 345"/>
                <a:gd name="T91" fmla="*/ 54 h 251"/>
                <a:gd name="T92" fmla="*/ 334 w 345"/>
                <a:gd name="T93" fmla="*/ 71 h 251"/>
                <a:gd name="T94" fmla="*/ 332 w 345"/>
                <a:gd name="T95" fmla="*/ 88 h 251"/>
                <a:gd name="T96" fmla="*/ 342 w 345"/>
                <a:gd name="T97" fmla="*/ 100 h 251"/>
                <a:gd name="T98" fmla="*/ 342 w 345"/>
                <a:gd name="T99" fmla="*/ 115 h 251"/>
                <a:gd name="T100" fmla="*/ 340 w 345"/>
                <a:gd name="T101" fmla="*/ 134 h 251"/>
                <a:gd name="T102" fmla="*/ 336 w 345"/>
                <a:gd name="T103" fmla="*/ 154 h 251"/>
                <a:gd name="T104" fmla="*/ 330 w 345"/>
                <a:gd name="T105" fmla="*/ 173 h 251"/>
                <a:gd name="T106" fmla="*/ 320 w 345"/>
                <a:gd name="T107" fmla="*/ 194 h 251"/>
                <a:gd name="T108" fmla="*/ 303 w 345"/>
                <a:gd name="T109" fmla="*/ 203 h 251"/>
                <a:gd name="T110" fmla="*/ 288 w 345"/>
                <a:gd name="T111" fmla="*/ 223 h 251"/>
                <a:gd name="T112" fmla="*/ 273 w 345"/>
                <a:gd name="T113" fmla="*/ 24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45" h="251">
                  <a:moveTo>
                    <a:pt x="263" y="251"/>
                  </a:moveTo>
                  <a:lnTo>
                    <a:pt x="261" y="246"/>
                  </a:lnTo>
                  <a:lnTo>
                    <a:pt x="255" y="246"/>
                  </a:lnTo>
                  <a:lnTo>
                    <a:pt x="249" y="242"/>
                  </a:lnTo>
                  <a:lnTo>
                    <a:pt x="246" y="242"/>
                  </a:lnTo>
                  <a:lnTo>
                    <a:pt x="238" y="236"/>
                  </a:lnTo>
                  <a:lnTo>
                    <a:pt x="234" y="230"/>
                  </a:lnTo>
                  <a:lnTo>
                    <a:pt x="240" y="225"/>
                  </a:lnTo>
                  <a:lnTo>
                    <a:pt x="246" y="217"/>
                  </a:lnTo>
                  <a:lnTo>
                    <a:pt x="248" y="211"/>
                  </a:lnTo>
                  <a:lnTo>
                    <a:pt x="249" y="205"/>
                  </a:lnTo>
                  <a:lnTo>
                    <a:pt x="251" y="198"/>
                  </a:lnTo>
                  <a:lnTo>
                    <a:pt x="253" y="192"/>
                  </a:lnTo>
                  <a:lnTo>
                    <a:pt x="255" y="186"/>
                  </a:lnTo>
                  <a:lnTo>
                    <a:pt x="253" y="180"/>
                  </a:lnTo>
                  <a:lnTo>
                    <a:pt x="249" y="178"/>
                  </a:lnTo>
                  <a:lnTo>
                    <a:pt x="242" y="178"/>
                  </a:lnTo>
                  <a:lnTo>
                    <a:pt x="232" y="178"/>
                  </a:lnTo>
                  <a:lnTo>
                    <a:pt x="228" y="173"/>
                  </a:lnTo>
                  <a:lnTo>
                    <a:pt x="221" y="171"/>
                  </a:lnTo>
                  <a:lnTo>
                    <a:pt x="213" y="169"/>
                  </a:lnTo>
                  <a:lnTo>
                    <a:pt x="207" y="165"/>
                  </a:lnTo>
                  <a:lnTo>
                    <a:pt x="200" y="161"/>
                  </a:lnTo>
                  <a:lnTo>
                    <a:pt x="196" y="155"/>
                  </a:lnTo>
                  <a:lnTo>
                    <a:pt x="194" y="148"/>
                  </a:lnTo>
                  <a:lnTo>
                    <a:pt x="190" y="140"/>
                  </a:lnTo>
                  <a:lnTo>
                    <a:pt x="184" y="138"/>
                  </a:lnTo>
                  <a:lnTo>
                    <a:pt x="175" y="134"/>
                  </a:lnTo>
                  <a:lnTo>
                    <a:pt x="173" y="131"/>
                  </a:lnTo>
                  <a:lnTo>
                    <a:pt x="169" y="125"/>
                  </a:lnTo>
                  <a:lnTo>
                    <a:pt x="165" y="123"/>
                  </a:lnTo>
                  <a:lnTo>
                    <a:pt x="161" y="119"/>
                  </a:lnTo>
                  <a:lnTo>
                    <a:pt x="152" y="115"/>
                  </a:lnTo>
                  <a:lnTo>
                    <a:pt x="146" y="111"/>
                  </a:lnTo>
                  <a:lnTo>
                    <a:pt x="138" y="111"/>
                  </a:lnTo>
                  <a:lnTo>
                    <a:pt x="131" y="107"/>
                  </a:lnTo>
                  <a:lnTo>
                    <a:pt x="125" y="104"/>
                  </a:lnTo>
                  <a:lnTo>
                    <a:pt x="117" y="98"/>
                  </a:lnTo>
                  <a:lnTo>
                    <a:pt x="107" y="98"/>
                  </a:lnTo>
                  <a:lnTo>
                    <a:pt x="106" y="96"/>
                  </a:lnTo>
                  <a:lnTo>
                    <a:pt x="102" y="94"/>
                  </a:lnTo>
                  <a:lnTo>
                    <a:pt x="96" y="92"/>
                  </a:lnTo>
                  <a:lnTo>
                    <a:pt x="90" y="92"/>
                  </a:lnTo>
                  <a:lnTo>
                    <a:pt x="86" y="92"/>
                  </a:lnTo>
                  <a:lnTo>
                    <a:pt x="83" y="88"/>
                  </a:lnTo>
                  <a:lnTo>
                    <a:pt x="79" y="88"/>
                  </a:lnTo>
                  <a:lnTo>
                    <a:pt x="77" y="90"/>
                  </a:lnTo>
                  <a:lnTo>
                    <a:pt x="73" y="92"/>
                  </a:lnTo>
                  <a:lnTo>
                    <a:pt x="69" y="92"/>
                  </a:lnTo>
                  <a:lnTo>
                    <a:pt x="65" y="88"/>
                  </a:lnTo>
                  <a:lnTo>
                    <a:pt x="60" y="84"/>
                  </a:lnTo>
                  <a:lnTo>
                    <a:pt x="54" y="84"/>
                  </a:lnTo>
                  <a:lnTo>
                    <a:pt x="50" y="84"/>
                  </a:lnTo>
                  <a:lnTo>
                    <a:pt x="48" y="88"/>
                  </a:lnTo>
                  <a:lnTo>
                    <a:pt x="42" y="88"/>
                  </a:lnTo>
                  <a:lnTo>
                    <a:pt x="40" y="86"/>
                  </a:lnTo>
                  <a:lnTo>
                    <a:pt x="36" y="84"/>
                  </a:lnTo>
                  <a:lnTo>
                    <a:pt x="33" y="83"/>
                  </a:lnTo>
                  <a:lnTo>
                    <a:pt x="25" y="81"/>
                  </a:lnTo>
                  <a:lnTo>
                    <a:pt x="19" y="83"/>
                  </a:lnTo>
                  <a:lnTo>
                    <a:pt x="13" y="84"/>
                  </a:lnTo>
                  <a:lnTo>
                    <a:pt x="8" y="81"/>
                  </a:lnTo>
                  <a:lnTo>
                    <a:pt x="2" y="81"/>
                  </a:lnTo>
                  <a:lnTo>
                    <a:pt x="6" y="75"/>
                  </a:lnTo>
                  <a:lnTo>
                    <a:pt x="8" y="67"/>
                  </a:lnTo>
                  <a:lnTo>
                    <a:pt x="6" y="56"/>
                  </a:lnTo>
                  <a:lnTo>
                    <a:pt x="12" y="46"/>
                  </a:lnTo>
                  <a:lnTo>
                    <a:pt x="10" y="38"/>
                  </a:lnTo>
                  <a:lnTo>
                    <a:pt x="8" y="31"/>
                  </a:lnTo>
                  <a:lnTo>
                    <a:pt x="4" y="23"/>
                  </a:lnTo>
                  <a:lnTo>
                    <a:pt x="0" y="15"/>
                  </a:lnTo>
                  <a:lnTo>
                    <a:pt x="8" y="15"/>
                  </a:lnTo>
                  <a:lnTo>
                    <a:pt x="12" y="19"/>
                  </a:lnTo>
                  <a:lnTo>
                    <a:pt x="15" y="27"/>
                  </a:lnTo>
                  <a:lnTo>
                    <a:pt x="21" y="31"/>
                  </a:lnTo>
                  <a:lnTo>
                    <a:pt x="29" y="31"/>
                  </a:lnTo>
                  <a:lnTo>
                    <a:pt x="33" y="35"/>
                  </a:lnTo>
                  <a:lnTo>
                    <a:pt x="40" y="29"/>
                  </a:lnTo>
                  <a:lnTo>
                    <a:pt x="44" y="31"/>
                  </a:lnTo>
                  <a:lnTo>
                    <a:pt x="48" y="35"/>
                  </a:lnTo>
                  <a:lnTo>
                    <a:pt x="54" y="38"/>
                  </a:lnTo>
                  <a:lnTo>
                    <a:pt x="60" y="35"/>
                  </a:lnTo>
                  <a:lnTo>
                    <a:pt x="65" y="33"/>
                  </a:lnTo>
                  <a:lnTo>
                    <a:pt x="71" y="31"/>
                  </a:lnTo>
                  <a:lnTo>
                    <a:pt x="77" y="29"/>
                  </a:lnTo>
                  <a:lnTo>
                    <a:pt x="84" y="25"/>
                  </a:lnTo>
                  <a:lnTo>
                    <a:pt x="92" y="27"/>
                  </a:lnTo>
                  <a:lnTo>
                    <a:pt x="100" y="29"/>
                  </a:lnTo>
                  <a:lnTo>
                    <a:pt x="107" y="35"/>
                  </a:lnTo>
                  <a:lnTo>
                    <a:pt x="111" y="38"/>
                  </a:lnTo>
                  <a:lnTo>
                    <a:pt x="119" y="42"/>
                  </a:lnTo>
                  <a:lnTo>
                    <a:pt x="123" y="42"/>
                  </a:lnTo>
                  <a:lnTo>
                    <a:pt x="134" y="46"/>
                  </a:lnTo>
                  <a:lnTo>
                    <a:pt x="144" y="52"/>
                  </a:lnTo>
                  <a:lnTo>
                    <a:pt x="154" y="58"/>
                  </a:lnTo>
                  <a:lnTo>
                    <a:pt x="161" y="60"/>
                  </a:lnTo>
                  <a:lnTo>
                    <a:pt x="171" y="60"/>
                  </a:lnTo>
                  <a:lnTo>
                    <a:pt x="173" y="54"/>
                  </a:lnTo>
                  <a:lnTo>
                    <a:pt x="173" y="48"/>
                  </a:lnTo>
                  <a:lnTo>
                    <a:pt x="177" y="44"/>
                  </a:lnTo>
                  <a:lnTo>
                    <a:pt x="177" y="36"/>
                  </a:lnTo>
                  <a:lnTo>
                    <a:pt x="175" y="31"/>
                  </a:lnTo>
                  <a:lnTo>
                    <a:pt x="175" y="23"/>
                  </a:lnTo>
                  <a:lnTo>
                    <a:pt x="177" y="19"/>
                  </a:lnTo>
                  <a:lnTo>
                    <a:pt x="186" y="19"/>
                  </a:lnTo>
                  <a:lnTo>
                    <a:pt x="190" y="19"/>
                  </a:lnTo>
                  <a:lnTo>
                    <a:pt x="200" y="17"/>
                  </a:lnTo>
                  <a:lnTo>
                    <a:pt x="205" y="15"/>
                  </a:lnTo>
                  <a:lnTo>
                    <a:pt x="209" y="10"/>
                  </a:lnTo>
                  <a:lnTo>
                    <a:pt x="211" y="4"/>
                  </a:lnTo>
                  <a:lnTo>
                    <a:pt x="219" y="6"/>
                  </a:lnTo>
                  <a:lnTo>
                    <a:pt x="223" y="10"/>
                  </a:lnTo>
                  <a:lnTo>
                    <a:pt x="226" y="15"/>
                  </a:lnTo>
                  <a:lnTo>
                    <a:pt x="232" y="17"/>
                  </a:lnTo>
                  <a:lnTo>
                    <a:pt x="240" y="17"/>
                  </a:lnTo>
                  <a:lnTo>
                    <a:pt x="244" y="15"/>
                  </a:lnTo>
                  <a:lnTo>
                    <a:pt x="249" y="13"/>
                  </a:lnTo>
                  <a:lnTo>
                    <a:pt x="255" y="13"/>
                  </a:lnTo>
                  <a:lnTo>
                    <a:pt x="261" y="17"/>
                  </a:lnTo>
                  <a:lnTo>
                    <a:pt x="269" y="19"/>
                  </a:lnTo>
                  <a:lnTo>
                    <a:pt x="276" y="19"/>
                  </a:lnTo>
                  <a:lnTo>
                    <a:pt x="282" y="13"/>
                  </a:lnTo>
                  <a:lnTo>
                    <a:pt x="288" y="12"/>
                  </a:lnTo>
                  <a:lnTo>
                    <a:pt x="294" y="6"/>
                  </a:lnTo>
                  <a:lnTo>
                    <a:pt x="303" y="2"/>
                  </a:lnTo>
                  <a:lnTo>
                    <a:pt x="309" y="0"/>
                  </a:lnTo>
                  <a:lnTo>
                    <a:pt x="317" y="2"/>
                  </a:lnTo>
                  <a:lnTo>
                    <a:pt x="330" y="2"/>
                  </a:lnTo>
                  <a:lnTo>
                    <a:pt x="338" y="0"/>
                  </a:lnTo>
                  <a:lnTo>
                    <a:pt x="336" y="8"/>
                  </a:lnTo>
                  <a:lnTo>
                    <a:pt x="338" y="13"/>
                  </a:lnTo>
                  <a:lnTo>
                    <a:pt x="340" y="19"/>
                  </a:lnTo>
                  <a:lnTo>
                    <a:pt x="340" y="25"/>
                  </a:lnTo>
                  <a:lnTo>
                    <a:pt x="342" y="33"/>
                  </a:lnTo>
                  <a:lnTo>
                    <a:pt x="340" y="38"/>
                  </a:lnTo>
                  <a:lnTo>
                    <a:pt x="336" y="44"/>
                  </a:lnTo>
                  <a:lnTo>
                    <a:pt x="338" y="50"/>
                  </a:lnTo>
                  <a:lnTo>
                    <a:pt x="334" y="54"/>
                  </a:lnTo>
                  <a:lnTo>
                    <a:pt x="330" y="61"/>
                  </a:lnTo>
                  <a:lnTo>
                    <a:pt x="332" y="65"/>
                  </a:lnTo>
                  <a:lnTo>
                    <a:pt x="334" y="71"/>
                  </a:lnTo>
                  <a:lnTo>
                    <a:pt x="334" y="77"/>
                  </a:lnTo>
                  <a:lnTo>
                    <a:pt x="336" y="84"/>
                  </a:lnTo>
                  <a:lnTo>
                    <a:pt x="332" y="88"/>
                  </a:lnTo>
                  <a:lnTo>
                    <a:pt x="338" y="92"/>
                  </a:lnTo>
                  <a:lnTo>
                    <a:pt x="342" y="94"/>
                  </a:lnTo>
                  <a:lnTo>
                    <a:pt x="342" y="100"/>
                  </a:lnTo>
                  <a:lnTo>
                    <a:pt x="340" y="107"/>
                  </a:lnTo>
                  <a:lnTo>
                    <a:pt x="340" y="111"/>
                  </a:lnTo>
                  <a:lnTo>
                    <a:pt x="342" y="115"/>
                  </a:lnTo>
                  <a:lnTo>
                    <a:pt x="345" y="123"/>
                  </a:lnTo>
                  <a:lnTo>
                    <a:pt x="344" y="131"/>
                  </a:lnTo>
                  <a:lnTo>
                    <a:pt x="340" y="134"/>
                  </a:lnTo>
                  <a:lnTo>
                    <a:pt x="336" y="140"/>
                  </a:lnTo>
                  <a:lnTo>
                    <a:pt x="332" y="144"/>
                  </a:lnTo>
                  <a:lnTo>
                    <a:pt x="336" y="154"/>
                  </a:lnTo>
                  <a:lnTo>
                    <a:pt x="332" y="161"/>
                  </a:lnTo>
                  <a:lnTo>
                    <a:pt x="332" y="167"/>
                  </a:lnTo>
                  <a:lnTo>
                    <a:pt x="330" y="173"/>
                  </a:lnTo>
                  <a:lnTo>
                    <a:pt x="326" y="178"/>
                  </a:lnTo>
                  <a:lnTo>
                    <a:pt x="320" y="184"/>
                  </a:lnTo>
                  <a:lnTo>
                    <a:pt x="320" y="194"/>
                  </a:lnTo>
                  <a:lnTo>
                    <a:pt x="317" y="200"/>
                  </a:lnTo>
                  <a:lnTo>
                    <a:pt x="309" y="203"/>
                  </a:lnTo>
                  <a:lnTo>
                    <a:pt x="303" y="203"/>
                  </a:lnTo>
                  <a:lnTo>
                    <a:pt x="297" y="207"/>
                  </a:lnTo>
                  <a:lnTo>
                    <a:pt x="292" y="215"/>
                  </a:lnTo>
                  <a:lnTo>
                    <a:pt x="288" y="223"/>
                  </a:lnTo>
                  <a:lnTo>
                    <a:pt x="282" y="226"/>
                  </a:lnTo>
                  <a:lnTo>
                    <a:pt x="278" y="234"/>
                  </a:lnTo>
                  <a:lnTo>
                    <a:pt x="273" y="240"/>
                  </a:lnTo>
                  <a:lnTo>
                    <a:pt x="269" y="244"/>
                  </a:lnTo>
                  <a:lnTo>
                    <a:pt x="263" y="25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/>
            </a:p>
          </p:txBody>
        </p:sp>
        <p:sp>
          <p:nvSpPr>
            <p:cNvPr id="124" name="Freeform 9"/>
            <p:cNvSpPr>
              <a:spLocks/>
            </p:cNvSpPr>
            <p:nvPr/>
          </p:nvSpPr>
          <p:spPr bwMode="auto">
            <a:xfrm>
              <a:off x="6121057" y="4253406"/>
              <a:ext cx="823523" cy="595603"/>
            </a:xfrm>
            <a:custGeom>
              <a:avLst/>
              <a:gdLst>
                <a:gd name="T0" fmla="*/ 415 w 422"/>
                <a:gd name="T1" fmla="*/ 208 h 306"/>
                <a:gd name="T2" fmla="*/ 403 w 422"/>
                <a:gd name="T3" fmla="*/ 223 h 306"/>
                <a:gd name="T4" fmla="*/ 392 w 422"/>
                <a:gd name="T5" fmla="*/ 238 h 306"/>
                <a:gd name="T6" fmla="*/ 365 w 422"/>
                <a:gd name="T7" fmla="*/ 248 h 306"/>
                <a:gd name="T8" fmla="*/ 342 w 422"/>
                <a:gd name="T9" fmla="*/ 252 h 306"/>
                <a:gd name="T10" fmla="*/ 324 w 422"/>
                <a:gd name="T11" fmla="*/ 265 h 306"/>
                <a:gd name="T12" fmla="*/ 303 w 422"/>
                <a:gd name="T13" fmla="*/ 259 h 306"/>
                <a:gd name="T14" fmla="*/ 288 w 422"/>
                <a:gd name="T15" fmla="*/ 263 h 306"/>
                <a:gd name="T16" fmla="*/ 271 w 422"/>
                <a:gd name="T17" fmla="*/ 256 h 306"/>
                <a:gd name="T18" fmla="*/ 257 w 422"/>
                <a:gd name="T19" fmla="*/ 256 h 306"/>
                <a:gd name="T20" fmla="*/ 238 w 422"/>
                <a:gd name="T21" fmla="*/ 265 h 306"/>
                <a:gd name="T22" fmla="*/ 223 w 422"/>
                <a:gd name="T23" fmla="*/ 269 h 306"/>
                <a:gd name="T24" fmla="*/ 225 w 422"/>
                <a:gd name="T25" fmla="*/ 290 h 306"/>
                <a:gd name="T26" fmla="*/ 219 w 422"/>
                <a:gd name="T27" fmla="*/ 306 h 306"/>
                <a:gd name="T28" fmla="*/ 192 w 422"/>
                <a:gd name="T29" fmla="*/ 298 h 306"/>
                <a:gd name="T30" fmla="*/ 167 w 422"/>
                <a:gd name="T31" fmla="*/ 288 h 306"/>
                <a:gd name="T32" fmla="*/ 148 w 422"/>
                <a:gd name="T33" fmla="*/ 275 h 306"/>
                <a:gd name="T34" fmla="*/ 125 w 422"/>
                <a:gd name="T35" fmla="*/ 275 h 306"/>
                <a:gd name="T36" fmla="*/ 108 w 422"/>
                <a:gd name="T37" fmla="*/ 281 h 306"/>
                <a:gd name="T38" fmla="*/ 92 w 422"/>
                <a:gd name="T39" fmla="*/ 277 h 306"/>
                <a:gd name="T40" fmla="*/ 77 w 422"/>
                <a:gd name="T41" fmla="*/ 277 h 306"/>
                <a:gd name="T42" fmla="*/ 60 w 422"/>
                <a:gd name="T43" fmla="*/ 265 h 306"/>
                <a:gd name="T44" fmla="*/ 48 w 422"/>
                <a:gd name="T45" fmla="*/ 256 h 306"/>
                <a:gd name="T46" fmla="*/ 48 w 422"/>
                <a:gd name="T47" fmla="*/ 229 h 306"/>
                <a:gd name="T48" fmla="*/ 21 w 422"/>
                <a:gd name="T49" fmla="*/ 219 h 306"/>
                <a:gd name="T50" fmla="*/ 0 w 422"/>
                <a:gd name="T51" fmla="*/ 223 h 306"/>
                <a:gd name="T52" fmla="*/ 6 w 422"/>
                <a:gd name="T53" fmla="*/ 185 h 306"/>
                <a:gd name="T54" fmla="*/ 15 w 422"/>
                <a:gd name="T55" fmla="*/ 144 h 306"/>
                <a:gd name="T56" fmla="*/ 15 w 422"/>
                <a:gd name="T57" fmla="*/ 110 h 306"/>
                <a:gd name="T58" fmla="*/ 37 w 422"/>
                <a:gd name="T59" fmla="*/ 79 h 306"/>
                <a:gd name="T60" fmla="*/ 56 w 422"/>
                <a:gd name="T61" fmla="*/ 43 h 306"/>
                <a:gd name="T62" fmla="*/ 69 w 422"/>
                <a:gd name="T63" fmla="*/ 20 h 306"/>
                <a:gd name="T64" fmla="*/ 106 w 422"/>
                <a:gd name="T65" fmla="*/ 2 h 306"/>
                <a:gd name="T66" fmla="*/ 132 w 422"/>
                <a:gd name="T67" fmla="*/ 2 h 306"/>
                <a:gd name="T68" fmla="*/ 155 w 422"/>
                <a:gd name="T69" fmla="*/ 0 h 306"/>
                <a:gd name="T70" fmla="*/ 186 w 422"/>
                <a:gd name="T71" fmla="*/ 4 h 306"/>
                <a:gd name="T72" fmla="*/ 211 w 422"/>
                <a:gd name="T73" fmla="*/ 12 h 306"/>
                <a:gd name="T74" fmla="*/ 225 w 422"/>
                <a:gd name="T75" fmla="*/ 16 h 306"/>
                <a:gd name="T76" fmla="*/ 242 w 422"/>
                <a:gd name="T77" fmla="*/ 23 h 306"/>
                <a:gd name="T78" fmla="*/ 261 w 422"/>
                <a:gd name="T79" fmla="*/ 25 h 306"/>
                <a:gd name="T80" fmla="*/ 292 w 422"/>
                <a:gd name="T81" fmla="*/ 25 h 306"/>
                <a:gd name="T82" fmla="*/ 305 w 422"/>
                <a:gd name="T83" fmla="*/ 27 h 306"/>
                <a:gd name="T84" fmla="*/ 309 w 422"/>
                <a:gd name="T85" fmla="*/ 41 h 306"/>
                <a:gd name="T86" fmla="*/ 322 w 422"/>
                <a:gd name="T87" fmla="*/ 54 h 306"/>
                <a:gd name="T88" fmla="*/ 330 w 422"/>
                <a:gd name="T89" fmla="*/ 79 h 306"/>
                <a:gd name="T90" fmla="*/ 334 w 422"/>
                <a:gd name="T91" fmla="*/ 100 h 306"/>
                <a:gd name="T92" fmla="*/ 345 w 422"/>
                <a:gd name="T93" fmla="*/ 123 h 306"/>
                <a:gd name="T94" fmla="*/ 347 w 422"/>
                <a:gd name="T95" fmla="*/ 146 h 306"/>
                <a:gd name="T96" fmla="*/ 368 w 422"/>
                <a:gd name="T97" fmla="*/ 146 h 306"/>
                <a:gd name="T98" fmla="*/ 392 w 422"/>
                <a:gd name="T99" fmla="*/ 156 h 306"/>
                <a:gd name="T100" fmla="*/ 395 w 422"/>
                <a:gd name="T101" fmla="*/ 185 h 306"/>
                <a:gd name="T102" fmla="*/ 418 w 422"/>
                <a:gd name="T103" fmla="*/ 185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22" h="306">
                  <a:moveTo>
                    <a:pt x="422" y="192"/>
                  </a:moveTo>
                  <a:lnTo>
                    <a:pt x="418" y="198"/>
                  </a:lnTo>
                  <a:lnTo>
                    <a:pt x="415" y="208"/>
                  </a:lnTo>
                  <a:lnTo>
                    <a:pt x="409" y="213"/>
                  </a:lnTo>
                  <a:lnTo>
                    <a:pt x="407" y="219"/>
                  </a:lnTo>
                  <a:lnTo>
                    <a:pt x="403" y="223"/>
                  </a:lnTo>
                  <a:lnTo>
                    <a:pt x="395" y="225"/>
                  </a:lnTo>
                  <a:lnTo>
                    <a:pt x="393" y="233"/>
                  </a:lnTo>
                  <a:lnTo>
                    <a:pt x="392" y="238"/>
                  </a:lnTo>
                  <a:lnTo>
                    <a:pt x="386" y="246"/>
                  </a:lnTo>
                  <a:lnTo>
                    <a:pt x="378" y="248"/>
                  </a:lnTo>
                  <a:lnTo>
                    <a:pt x="365" y="248"/>
                  </a:lnTo>
                  <a:lnTo>
                    <a:pt x="357" y="246"/>
                  </a:lnTo>
                  <a:lnTo>
                    <a:pt x="351" y="248"/>
                  </a:lnTo>
                  <a:lnTo>
                    <a:pt x="342" y="252"/>
                  </a:lnTo>
                  <a:lnTo>
                    <a:pt x="336" y="258"/>
                  </a:lnTo>
                  <a:lnTo>
                    <a:pt x="330" y="259"/>
                  </a:lnTo>
                  <a:lnTo>
                    <a:pt x="324" y="265"/>
                  </a:lnTo>
                  <a:lnTo>
                    <a:pt x="317" y="265"/>
                  </a:lnTo>
                  <a:lnTo>
                    <a:pt x="309" y="263"/>
                  </a:lnTo>
                  <a:lnTo>
                    <a:pt x="303" y="259"/>
                  </a:lnTo>
                  <a:lnTo>
                    <a:pt x="297" y="259"/>
                  </a:lnTo>
                  <a:lnTo>
                    <a:pt x="292" y="261"/>
                  </a:lnTo>
                  <a:lnTo>
                    <a:pt x="288" y="263"/>
                  </a:lnTo>
                  <a:lnTo>
                    <a:pt x="280" y="263"/>
                  </a:lnTo>
                  <a:lnTo>
                    <a:pt x="274" y="261"/>
                  </a:lnTo>
                  <a:lnTo>
                    <a:pt x="271" y="256"/>
                  </a:lnTo>
                  <a:lnTo>
                    <a:pt x="267" y="252"/>
                  </a:lnTo>
                  <a:lnTo>
                    <a:pt x="259" y="250"/>
                  </a:lnTo>
                  <a:lnTo>
                    <a:pt x="257" y="256"/>
                  </a:lnTo>
                  <a:lnTo>
                    <a:pt x="253" y="261"/>
                  </a:lnTo>
                  <a:lnTo>
                    <a:pt x="248" y="263"/>
                  </a:lnTo>
                  <a:lnTo>
                    <a:pt x="238" y="265"/>
                  </a:lnTo>
                  <a:lnTo>
                    <a:pt x="234" y="265"/>
                  </a:lnTo>
                  <a:lnTo>
                    <a:pt x="225" y="265"/>
                  </a:lnTo>
                  <a:lnTo>
                    <a:pt x="223" y="269"/>
                  </a:lnTo>
                  <a:lnTo>
                    <a:pt x="223" y="277"/>
                  </a:lnTo>
                  <a:lnTo>
                    <a:pt x="225" y="282"/>
                  </a:lnTo>
                  <a:lnTo>
                    <a:pt x="225" y="290"/>
                  </a:lnTo>
                  <a:lnTo>
                    <a:pt x="221" y="294"/>
                  </a:lnTo>
                  <a:lnTo>
                    <a:pt x="221" y="300"/>
                  </a:lnTo>
                  <a:lnTo>
                    <a:pt x="219" y="306"/>
                  </a:lnTo>
                  <a:lnTo>
                    <a:pt x="209" y="306"/>
                  </a:lnTo>
                  <a:lnTo>
                    <a:pt x="202" y="304"/>
                  </a:lnTo>
                  <a:lnTo>
                    <a:pt x="192" y="298"/>
                  </a:lnTo>
                  <a:lnTo>
                    <a:pt x="182" y="292"/>
                  </a:lnTo>
                  <a:lnTo>
                    <a:pt x="171" y="288"/>
                  </a:lnTo>
                  <a:lnTo>
                    <a:pt x="167" y="288"/>
                  </a:lnTo>
                  <a:lnTo>
                    <a:pt x="159" y="284"/>
                  </a:lnTo>
                  <a:lnTo>
                    <a:pt x="155" y="281"/>
                  </a:lnTo>
                  <a:lnTo>
                    <a:pt x="148" y="275"/>
                  </a:lnTo>
                  <a:lnTo>
                    <a:pt x="140" y="273"/>
                  </a:lnTo>
                  <a:lnTo>
                    <a:pt x="132" y="271"/>
                  </a:lnTo>
                  <a:lnTo>
                    <a:pt x="125" y="275"/>
                  </a:lnTo>
                  <a:lnTo>
                    <a:pt x="119" y="277"/>
                  </a:lnTo>
                  <a:lnTo>
                    <a:pt x="113" y="279"/>
                  </a:lnTo>
                  <a:lnTo>
                    <a:pt x="108" y="281"/>
                  </a:lnTo>
                  <a:lnTo>
                    <a:pt x="102" y="284"/>
                  </a:lnTo>
                  <a:lnTo>
                    <a:pt x="96" y="281"/>
                  </a:lnTo>
                  <a:lnTo>
                    <a:pt x="92" y="277"/>
                  </a:lnTo>
                  <a:lnTo>
                    <a:pt x="88" y="275"/>
                  </a:lnTo>
                  <a:lnTo>
                    <a:pt x="81" y="281"/>
                  </a:lnTo>
                  <a:lnTo>
                    <a:pt x="77" y="277"/>
                  </a:lnTo>
                  <a:lnTo>
                    <a:pt x="69" y="277"/>
                  </a:lnTo>
                  <a:lnTo>
                    <a:pt x="63" y="273"/>
                  </a:lnTo>
                  <a:lnTo>
                    <a:pt x="60" y="265"/>
                  </a:lnTo>
                  <a:lnTo>
                    <a:pt x="56" y="261"/>
                  </a:lnTo>
                  <a:lnTo>
                    <a:pt x="48" y="261"/>
                  </a:lnTo>
                  <a:lnTo>
                    <a:pt x="48" y="256"/>
                  </a:lnTo>
                  <a:lnTo>
                    <a:pt x="50" y="246"/>
                  </a:lnTo>
                  <a:lnTo>
                    <a:pt x="50" y="238"/>
                  </a:lnTo>
                  <a:lnTo>
                    <a:pt x="48" y="229"/>
                  </a:lnTo>
                  <a:lnTo>
                    <a:pt x="40" y="223"/>
                  </a:lnTo>
                  <a:lnTo>
                    <a:pt x="27" y="219"/>
                  </a:lnTo>
                  <a:lnTo>
                    <a:pt x="21" y="219"/>
                  </a:lnTo>
                  <a:lnTo>
                    <a:pt x="12" y="223"/>
                  </a:lnTo>
                  <a:lnTo>
                    <a:pt x="6" y="225"/>
                  </a:lnTo>
                  <a:lnTo>
                    <a:pt x="0" y="223"/>
                  </a:lnTo>
                  <a:lnTo>
                    <a:pt x="2" y="213"/>
                  </a:lnTo>
                  <a:lnTo>
                    <a:pt x="6" y="196"/>
                  </a:lnTo>
                  <a:lnTo>
                    <a:pt x="6" y="185"/>
                  </a:lnTo>
                  <a:lnTo>
                    <a:pt x="12" y="175"/>
                  </a:lnTo>
                  <a:lnTo>
                    <a:pt x="13" y="160"/>
                  </a:lnTo>
                  <a:lnTo>
                    <a:pt x="15" y="144"/>
                  </a:lnTo>
                  <a:lnTo>
                    <a:pt x="15" y="127"/>
                  </a:lnTo>
                  <a:lnTo>
                    <a:pt x="15" y="116"/>
                  </a:lnTo>
                  <a:lnTo>
                    <a:pt x="15" y="110"/>
                  </a:lnTo>
                  <a:lnTo>
                    <a:pt x="25" y="100"/>
                  </a:lnTo>
                  <a:lnTo>
                    <a:pt x="33" y="89"/>
                  </a:lnTo>
                  <a:lnTo>
                    <a:pt x="37" y="79"/>
                  </a:lnTo>
                  <a:lnTo>
                    <a:pt x="42" y="64"/>
                  </a:lnTo>
                  <a:lnTo>
                    <a:pt x="48" y="54"/>
                  </a:lnTo>
                  <a:lnTo>
                    <a:pt x="56" y="43"/>
                  </a:lnTo>
                  <a:lnTo>
                    <a:pt x="54" y="31"/>
                  </a:lnTo>
                  <a:lnTo>
                    <a:pt x="58" y="25"/>
                  </a:lnTo>
                  <a:lnTo>
                    <a:pt x="69" y="20"/>
                  </a:lnTo>
                  <a:lnTo>
                    <a:pt x="83" y="16"/>
                  </a:lnTo>
                  <a:lnTo>
                    <a:pt x="90" y="4"/>
                  </a:lnTo>
                  <a:lnTo>
                    <a:pt x="106" y="2"/>
                  </a:lnTo>
                  <a:lnTo>
                    <a:pt x="117" y="4"/>
                  </a:lnTo>
                  <a:lnTo>
                    <a:pt x="125" y="6"/>
                  </a:lnTo>
                  <a:lnTo>
                    <a:pt x="132" y="2"/>
                  </a:lnTo>
                  <a:lnTo>
                    <a:pt x="136" y="2"/>
                  </a:lnTo>
                  <a:lnTo>
                    <a:pt x="148" y="4"/>
                  </a:lnTo>
                  <a:lnTo>
                    <a:pt x="155" y="0"/>
                  </a:lnTo>
                  <a:lnTo>
                    <a:pt x="165" y="0"/>
                  </a:lnTo>
                  <a:lnTo>
                    <a:pt x="177" y="4"/>
                  </a:lnTo>
                  <a:lnTo>
                    <a:pt x="186" y="4"/>
                  </a:lnTo>
                  <a:lnTo>
                    <a:pt x="198" y="8"/>
                  </a:lnTo>
                  <a:lnTo>
                    <a:pt x="205" y="8"/>
                  </a:lnTo>
                  <a:lnTo>
                    <a:pt x="211" y="12"/>
                  </a:lnTo>
                  <a:lnTo>
                    <a:pt x="219" y="8"/>
                  </a:lnTo>
                  <a:lnTo>
                    <a:pt x="223" y="10"/>
                  </a:lnTo>
                  <a:lnTo>
                    <a:pt x="225" y="16"/>
                  </a:lnTo>
                  <a:lnTo>
                    <a:pt x="232" y="22"/>
                  </a:lnTo>
                  <a:lnTo>
                    <a:pt x="238" y="25"/>
                  </a:lnTo>
                  <a:lnTo>
                    <a:pt x="242" y="23"/>
                  </a:lnTo>
                  <a:lnTo>
                    <a:pt x="250" y="27"/>
                  </a:lnTo>
                  <a:lnTo>
                    <a:pt x="255" y="33"/>
                  </a:lnTo>
                  <a:lnTo>
                    <a:pt x="261" y="25"/>
                  </a:lnTo>
                  <a:lnTo>
                    <a:pt x="271" y="23"/>
                  </a:lnTo>
                  <a:lnTo>
                    <a:pt x="282" y="23"/>
                  </a:lnTo>
                  <a:lnTo>
                    <a:pt x="292" y="25"/>
                  </a:lnTo>
                  <a:lnTo>
                    <a:pt x="297" y="27"/>
                  </a:lnTo>
                  <a:lnTo>
                    <a:pt x="301" y="25"/>
                  </a:lnTo>
                  <a:lnTo>
                    <a:pt x="305" y="27"/>
                  </a:lnTo>
                  <a:lnTo>
                    <a:pt x="307" y="31"/>
                  </a:lnTo>
                  <a:lnTo>
                    <a:pt x="307" y="37"/>
                  </a:lnTo>
                  <a:lnTo>
                    <a:pt x="309" y="41"/>
                  </a:lnTo>
                  <a:lnTo>
                    <a:pt x="319" y="41"/>
                  </a:lnTo>
                  <a:lnTo>
                    <a:pt x="322" y="47"/>
                  </a:lnTo>
                  <a:lnTo>
                    <a:pt x="322" y="54"/>
                  </a:lnTo>
                  <a:lnTo>
                    <a:pt x="324" y="62"/>
                  </a:lnTo>
                  <a:lnTo>
                    <a:pt x="328" y="70"/>
                  </a:lnTo>
                  <a:lnTo>
                    <a:pt x="330" y="79"/>
                  </a:lnTo>
                  <a:lnTo>
                    <a:pt x="328" y="87"/>
                  </a:lnTo>
                  <a:lnTo>
                    <a:pt x="328" y="94"/>
                  </a:lnTo>
                  <a:lnTo>
                    <a:pt x="334" y="100"/>
                  </a:lnTo>
                  <a:lnTo>
                    <a:pt x="340" y="108"/>
                  </a:lnTo>
                  <a:lnTo>
                    <a:pt x="342" y="118"/>
                  </a:lnTo>
                  <a:lnTo>
                    <a:pt x="345" y="123"/>
                  </a:lnTo>
                  <a:lnTo>
                    <a:pt x="345" y="133"/>
                  </a:lnTo>
                  <a:lnTo>
                    <a:pt x="344" y="141"/>
                  </a:lnTo>
                  <a:lnTo>
                    <a:pt x="347" y="146"/>
                  </a:lnTo>
                  <a:lnTo>
                    <a:pt x="353" y="152"/>
                  </a:lnTo>
                  <a:lnTo>
                    <a:pt x="361" y="150"/>
                  </a:lnTo>
                  <a:lnTo>
                    <a:pt x="368" y="146"/>
                  </a:lnTo>
                  <a:lnTo>
                    <a:pt x="378" y="152"/>
                  </a:lnTo>
                  <a:lnTo>
                    <a:pt x="386" y="154"/>
                  </a:lnTo>
                  <a:lnTo>
                    <a:pt x="392" y="156"/>
                  </a:lnTo>
                  <a:lnTo>
                    <a:pt x="392" y="165"/>
                  </a:lnTo>
                  <a:lnTo>
                    <a:pt x="392" y="177"/>
                  </a:lnTo>
                  <a:lnTo>
                    <a:pt x="395" y="185"/>
                  </a:lnTo>
                  <a:lnTo>
                    <a:pt x="403" y="185"/>
                  </a:lnTo>
                  <a:lnTo>
                    <a:pt x="409" y="183"/>
                  </a:lnTo>
                  <a:lnTo>
                    <a:pt x="418" y="185"/>
                  </a:lnTo>
                  <a:lnTo>
                    <a:pt x="422" y="19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/>
            </a:p>
          </p:txBody>
        </p:sp>
      </p:grpSp>
      <p:grpSp>
        <p:nvGrpSpPr>
          <p:cNvPr id="14" name="Agrupar 13">
            <a:extLst>
              <a:ext uri="{FF2B5EF4-FFF2-40B4-BE49-F238E27FC236}">
                <a16:creationId xmlns:a16="http://schemas.microsoft.com/office/drawing/2014/main" id="{FD5C1B23-5476-4850-B161-62B42440ED42}"/>
              </a:ext>
            </a:extLst>
          </p:cNvPr>
          <p:cNvGrpSpPr/>
          <p:nvPr/>
        </p:nvGrpSpPr>
        <p:grpSpPr>
          <a:xfrm>
            <a:off x="5144870" y="2075262"/>
            <a:ext cx="2083537" cy="2395314"/>
            <a:chOff x="5144870" y="2075262"/>
            <a:chExt cx="2083537" cy="2395314"/>
          </a:xfrm>
          <a:solidFill>
            <a:srgbClr val="B1B1A1"/>
          </a:solidFill>
        </p:grpSpPr>
        <p:sp>
          <p:nvSpPr>
            <p:cNvPr id="119" name="Freeform 4"/>
            <p:cNvSpPr>
              <a:spLocks noEditPoints="1"/>
            </p:cNvSpPr>
            <p:nvPr/>
          </p:nvSpPr>
          <p:spPr bwMode="auto">
            <a:xfrm>
              <a:off x="6271571" y="2836430"/>
              <a:ext cx="956836" cy="991239"/>
            </a:xfrm>
            <a:custGeom>
              <a:avLst/>
              <a:gdLst>
                <a:gd name="T0" fmla="*/ 155 w 491"/>
                <a:gd name="T1" fmla="*/ 507 h 509"/>
                <a:gd name="T2" fmla="*/ 167 w 491"/>
                <a:gd name="T3" fmla="*/ 490 h 509"/>
                <a:gd name="T4" fmla="*/ 186 w 491"/>
                <a:gd name="T5" fmla="*/ 474 h 509"/>
                <a:gd name="T6" fmla="*/ 199 w 491"/>
                <a:gd name="T7" fmla="*/ 453 h 509"/>
                <a:gd name="T8" fmla="*/ 220 w 491"/>
                <a:gd name="T9" fmla="*/ 445 h 509"/>
                <a:gd name="T10" fmla="*/ 244 w 491"/>
                <a:gd name="T11" fmla="*/ 442 h 509"/>
                <a:gd name="T12" fmla="*/ 270 w 491"/>
                <a:gd name="T13" fmla="*/ 436 h 509"/>
                <a:gd name="T14" fmla="*/ 297 w 491"/>
                <a:gd name="T15" fmla="*/ 424 h 509"/>
                <a:gd name="T16" fmla="*/ 318 w 491"/>
                <a:gd name="T17" fmla="*/ 426 h 509"/>
                <a:gd name="T18" fmla="*/ 343 w 491"/>
                <a:gd name="T19" fmla="*/ 428 h 509"/>
                <a:gd name="T20" fmla="*/ 370 w 491"/>
                <a:gd name="T21" fmla="*/ 424 h 509"/>
                <a:gd name="T22" fmla="*/ 376 w 491"/>
                <a:gd name="T23" fmla="*/ 392 h 509"/>
                <a:gd name="T24" fmla="*/ 386 w 491"/>
                <a:gd name="T25" fmla="*/ 359 h 509"/>
                <a:gd name="T26" fmla="*/ 397 w 491"/>
                <a:gd name="T27" fmla="*/ 332 h 509"/>
                <a:gd name="T28" fmla="*/ 399 w 491"/>
                <a:gd name="T29" fmla="*/ 300 h 509"/>
                <a:gd name="T30" fmla="*/ 403 w 491"/>
                <a:gd name="T31" fmla="*/ 250 h 509"/>
                <a:gd name="T32" fmla="*/ 418 w 491"/>
                <a:gd name="T33" fmla="*/ 209 h 509"/>
                <a:gd name="T34" fmla="*/ 453 w 491"/>
                <a:gd name="T35" fmla="*/ 183 h 509"/>
                <a:gd name="T36" fmla="*/ 483 w 491"/>
                <a:gd name="T37" fmla="*/ 183 h 509"/>
                <a:gd name="T38" fmla="*/ 491 w 491"/>
                <a:gd name="T39" fmla="*/ 158 h 509"/>
                <a:gd name="T40" fmla="*/ 483 w 491"/>
                <a:gd name="T41" fmla="*/ 119 h 509"/>
                <a:gd name="T42" fmla="*/ 485 w 491"/>
                <a:gd name="T43" fmla="*/ 81 h 509"/>
                <a:gd name="T44" fmla="*/ 474 w 491"/>
                <a:gd name="T45" fmla="*/ 52 h 509"/>
                <a:gd name="T46" fmla="*/ 470 w 491"/>
                <a:gd name="T47" fmla="*/ 23 h 509"/>
                <a:gd name="T48" fmla="*/ 447 w 491"/>
                <a:gd name="T49" fmla="*/ 21 h 509"/>
                <a:gd name="T50" fmla="*/ 424 w 491"/>
                <a:gd name="T51" fmla="*/ 43 h 509"/>
                <a:gd name="T52" fmla="*/ 389 w 491"/>
                <a:gd name="T53" fmla="*/ 43 h 509"/>
                <a:gd name="T54" fmla="*/ 387 w 491"/>
                <a:gd name="T55" fmla="*/ 68 h 509"/>
                <a:gd name="T56" fmla="*/ 357 w 491"/>
                <a:gd name="T57" fmla="*/ 64 h 509"/>
                <a:gd name="T58" fmla="*/ 339 w 491"/>
                <a:gd name="T59" fmla="*/ 64 h 509"/>
                <a:gd name="T60" fmla="*/ 320 w 491"/>
                <a:gd name="T61" fmla="*/ 41 h 509"/>
                <a:gd name="T62" fmla="*/ 286 w 491"/>
                <a:gd name="T63" fmla="*/ 33 h 509"/>
                <a:gd name="T64" fmla="*/ 259 w 491"/>
                <a:gd name="T65" fmla="*/ 58 h 509"/>
                <a:gd name="T66" fmla="*/ 226 w 491"/>
                <a:gd name="T67" fmla="*/ 46 h 509"/>
                <a:gd name="T68" fmla="*/ 207 w 491"/>
                <a:gd name="T69" fmla="*/ 23 h 509"/>
                <a:gd name="T70" fmla="*/ 196 w 491"/>
                <a:gd name="T71" fmla="*/ 0 h 509"/>
                <a:gd name="T72" fmla="*/ 173 w 491"/>
                <a:gd name="T73" fmla="*/ 18 h 509"/>
                <a:gd name="T74" fmla="*/ 186 w 491"/>
                <a:gd name="T75" fmla="*/ 31 h 509"/>
                <a:gd name="T76" fmla="*/ 171 w 491"/>
                <a:gd name="T77" fmla="*/ 73 h 509"/>
                <a:gd name="T78" fmla="*/ 159 w 491"/>
                <a:gd name="T79" fmla="*/ 123 h 509"/>
                <a:gd name="T80" fmla="*/ 138 w 491"/>
                <a:gd name="T81" fmla="*/ 175 h 509"/>
                <a:gd name="T82" fmla="*/ 111 w 491"/>
                <a:gd name="T83" fmla="*/ 202 h 509"/>
                <a:gd name="T84" fmla="*/ 90 w 491"/>
                <a:gd name="T85" fmla="*/ 240 h 509"/>
                <a:gd name="T86" fmla="*/ 57 w 491"/>
                <a:gd name="T87" fmla="*/ 259 h 509"/>
                <a:gd name="T88" fmla="*/ 38 w 491"/>
                <a:gd name="T89" fmla="*/ 296 h 509"/>
                <a:gd name="T90" fmla="*/ 6 w 491"/>
                <a:gd name="T91" fmla="*/ 313 h 509"/>
                <a:gd name="T92" fmla="*/ 4 w 491"/>
                <a:gd name="T93" fmla="*/ 357 h 509"/>
                <a:gd name="T94" fmla="*/ 17 w 491"/>
                <a:gd name="T95" fmla="*/ 417 h 509"/>
                <a:gd name="T96" fmla="*/ 32 w 491"/>
                <a:gd name="T97" fmla="*/ 440 h 509"/>
                <a:gd name="T98" fmla="*/ 55 w 491"/>
                <a:gd name="T99" fmla="*/ 457 h 509"/>
                <a:gd name="T100" fmla="*/ 77 w 491"/>
                <a:gd name="T101" fmla="*/ 467 h 509"/>
                <a:gd name="T102" fmla="*/ 102 w 491"/>
                <a:gd name="T103" fmla="*/ 474 h 509"/>
                <a:gd name="T104" fmla="*/ 117 w 491"/>
                <a:gd name="T105" fmla="*/ 480 h 509"/>
                <a:gd name="T106" fmla="*/ 134 w 491"/>
                <a:gd name="T107" fmla="*/ 486 h 509"/>
                <a:gd name="T108" fmla="*/ 148 w 491"/>
                <a:gd name="T109" fmla="*/ 501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91" h="509">
                  <a:moveTo>
                    <a:pt x="151" y="507"/>
                  </a:moveTo>
                  <a:lnTo>
                    <a:pt x="151" y="509"/>
                  </a:lnTo>
                  <a:lnTo>
                    <a:pt x="151" y="507"/>
                  </a:lnTo>
                  <a:close/>
                  <a:moveTo>
                    <a:pt x="151" y="507"/>
                  </a:moveTo>
                  <a:lnTo>
                    <a:pt x="155" y="507"/>
                  </a:lnTo>
                  <a:lnTo>
                    <a:pt x="159" y="505"/>
                  </a:lnTo>
                  <a:lnTo>
                    <a:pt x="161" y="501"/>
                  </a:lnTo>
                  <a:lnTo>
                    <a:pt x="161" y="497"/>
                  </a:lnTo>
                  <a:lnTo>
                    <a:pt x="163" y="493"/>
                  </a:lnTo>
                  <a:lnTo>
                    <a:pt x="167" y="490"/>
                  </a:lnTo>
                  <a:lnTo>
                    <a:pt x="171" y="486"/>
                  </a:lnTo>
                  <a:lnTo>
                    <a:pt x="176" y="486"/>
                  </a:lnTo>
                  <a:lnTo>
                    <a:pt x="178" y="480"/>
                  </a:lnTo>
                  <a:lnTo>
                    <a:pt x="184" y="480"/>
                  </a:lnTo>
                  <a:lnTo>
                    <a:pt x="186" y="474"/>
                  </a:lnTo>
                  <a:lnTo>
                    <a:pt x="186" y="468"/>
                  </a:lnTo>
                  <a:lnTo>
                    <a:pt x="188" y="465"/>
                  </a:lnTo>
                  <a:lnTo>
                    <a:pt x="192" y="461"/>
                  </a:lnTo>
                  <a:lnTo>
                    <a:pt x="194" y="457"/>
                  </a:lnTo>
                  <a:lnTo>
                    <a:pt x="199" y="453"/>
                  </a:lnTo>
                  <a:lnTo>
                    <a:pt x="203" y="449"/>
                  </a:lnTo>
                  <a:lnTo>
                    <a:pt x="205" y="447"/>
                  </a:lnTo>
                  <a:lnTo>
                    <a:pt x="211" y="445"/>
                  </a:lnTo>
                  <a:lnTo>
                    <a:pt x="217" y="445"/>
                  </a:lnTo>
                  <a:lnTo>
                    <a:pt x="220" y="445"/>
                  </a:lnTo>
                  <a:lnTo>
                    <a:pt x="224" y="447"/>
                  </a:lnTo>
                  <a:lnTo>
                    <a:pt x="226" y="445"/>
                  </a:lnTo>
                  <a:lnTo>
                    <a:pt x="230" y="442"/>
                  </a:lnTo>
                  <a:lnTo>
                    <a:pt x="238" y="442"/>
                  </a:lnTo>
                  <a:lnTo>
                    <a:pt x="244" y="442"/>
                  </a:lnTo>
                  <a:lnTo>
                    <a:pt x="249" y="445"/>
                  </a:lnTo>
                  <a:lnTo>
                    <a:pt x="253" y="445"/>
                  </a:lnTo>
                  <a:lnTo>
                    <a:pt x="259" y="442"/>
                  </a:lnTo>
                  <a:lnTo>
                    <a:pt x="265" y="440"/>
                  </a:lnTo>
                  <a:lnTo>
                    <a:pt x="270" y="436"/>
                  </a:lnTo>
                  <a:lnTo>
                    <a:pt x="274" y="432"/>
                  </a:lnTo>
                  <a:lnTo>
                    <a:pt x="280" y="428"/>
                  </a:lnTo>
                  <a:lnTo>
                    <a:pt x="284" y="424"/>
                  </a:lnTo>
                  <a:lnTo>
                    <a:pt x="290" y="426"/>
                  </a:lnTo>
                  <a:lnTo>
                    <a:pt x="297" y="424"/>
                  </a:lnTo>
                  <a:lnTo>
                    <a:pt x="301" y="422"/>
                  </a:lnTo>
                  <a:lnTo>
                    <a:pt x="305" y="422"/>
                  </a:lnTo>
                  <a:lnTo>
                    <a:pt x="309" y="424"/>
                  </a:lnTo>
                  <a:lnTo>
                    <a:pt x="313" y="426"/>
                  </a:lnTo>
                  <a:lnTo>
                    <a:pt x="318" y="426"/>
                  </a:lnTo>
                  <a:lnTo>
                    <a:pt x="324" y="422"/>
                  </a:lnTo>
                  <a:lnTo>
                    <a:pt x="328" y="422"/>
                  </a:lnTo>
                  <a:lnTo>
                    <a:pt x="334" y="424"/>
                  </a:lnTo>
                  <a:lnTo>
                    <a:pt x="338" y="426"/>
                  </a:lnTo>
                  <a:lnTo>
                    <a:pt x="343" y="428"/>
                  </a:lnTo>
                  <a:lnTo>
                    <a:pt x="347" y="430"/>
                  </a:lnTo>
                  <a:lnTo>
                    <a:pt x="353" y="430"/>
                  </a:lnTo>
                  <a:lnTo>
                    <a:pt x="359" y="428"/>
                  </a:lnTo>
                  <a:lnTo>
                    <a:pt x="364" y="426"/>
                  </a:lnTo>
                  <a:lnTo>
                    <a:pt x="370" y="424"/>
                  </a:lnTo>
                  <a:lnTo>
                    <a:pt x="374" y="421"/>
                  </a:lnTo>
                  <a:lnTo>
                    <a:pt x="376" y="413"/>
                  </a:lnTo>
                  <a:lnTo>
                    <a:pt x="376" y="403"/>
                  </a:lnTo>
                  <a:lnTo>
                    <a:pt x="378" y="397"/>
                  </a:lnTo>
                  <a:lnTo>
                    <a:pt x="376" y="392"/>
                  </a:lnTo>
                  <a:lnTo>
                    <a:pt x="380" y="386"/>
                  </a:lnTo>
                  <a:lnTo>
                    <a:pt x="380" y="378"/>
                  </a:lnTo>
                  <a:lnTo>
                    <a:pt x="376" y="371"/>
                  </a:lnTo>
                  <a:lnTo>
                    <a:pt x="382" y="363"/>
                  </a:lnTo>
                  <a:lnTo>
                    <a:pt x="386" y="359"/>
                  </a:lnTo>
                  <a:lnTo>
                    <a:pt x="393" y="353"/>
                  </a:lnTo>
                  <a:lnTo>
                    <a:pt x="399" y="350"/>
                  </a:lnTo>
                  <a:lnTo>
                    <a:pt x="401" y="344"/>
                  </a:lnTo>
                  <a:lnTo>
                    <a:pt x="395" y="340"/>
                  </a:lnTo>
                  <a:lnTo>
                    <a:pt x="397" y="332"/>
                  </a:lnTo>
                  <a:lnTo>
                    <a:pt x="403" y="330"/>
                  </a:lnTo>
                  <a:lnTo>
                    <a:pt x="405" y="325"/>
                  </a:lnTo>
                  <a:lnTo>
                    <a:pt x="407" y="317"/>
                  </a:lnTo>
                  <a:lnTo>
                    <a:pt x="403" y="307"/>
                  </a:lnTo>
                  <a:lnTo>
                    <a:pt x="399" y="300"/>
                  </a:lnTo>
                  <a:lnTo>
                    <a:pt x="399" y="286"/>
                  </a:lnTo>
                  <a:lnTo>
                    <a:pt x="397" y="279"/>
                  </a:lnTo>
                  <a:lnTo>
                    <a:pt x="397" y="267"/>
                  </a:lnTo>
                  <a:lnTo>
                    <a:pt x="399" y="257"/>
                  </a:lnTo>
                  <a:lnTo>
                    <a:pt x="403" y="250"/>
                  </a:lnTo>
                  <a:lnTo>
                    <a:pt x="407" y="240"/>
                  </a:lnTo>
                  <a:lnTo>
                    <a:pt x="407" y="229"/>
                  </a:lnTo>
                  <a:lnTo>
                    <a:pt x="409" y="221"/>
                  </a:lnTo>
                  <a:lnTo>
                    <a:pt x="412" y="215"/>
                  </a:lnTo>
                  <a:lnTo>
                    <a:pt x="418" y="209"/>
                  </a:lnTo>
                  <a:lnTo>
                    <a:pt x="430" y="208"/>
                  </a:lnTo>
                  <a:lnTo>
                    <a:pt x="439" y="206"/>
                  </a:lnTo>
                  <a:lnTo>
                    <a:pt x="443" y="202"/>
                  </a:lnTo>
                  <a:lnTo>
                    <a:pt x="445" y="192"/>
                  </a:lnTo>
                  <a:lnTo>
                    <a:pt x="453" y="183"/>
                  </a:lnTo>
                  <a:lnTo>
                    <a:pt x="457" y="179"/>
                  </a:lnTo>
                  <a:lnTo>
                    <a:pt x="464" y="177"/>
                  </a:lnTo>
                  <a:lnTo>
                    <a:pt x="468" y="175"/>
                  </a:lnTo>
                  <a:lnTo>
                    <a:pt x="478" y="175"/>
                  </a:lnTo>
                  <a:lnTo>
                    <a:pt x="483" y="183"/>
                  </a:lnTo>
                  <a:lnTo>
                    <a:pt x="487" y="190"/>
                  </a:lnTo>
                  <a:lnTo>
                    <a:pt x="489" y="185"/>
                  </a:lnTo>
                  <a:lnTo>
                    <a:pt x="489" y="175"/>
                  </a:lnTo>
                  <a:lnTo>
                    <a:pt x="489" y="165"/>
                  </a:lnTo>
                  <a:lnTo>
                    <a:pt x="491" y="158"/>
                  </a:lnTo>
                  <a:lnTo>
                    <a:pt x="489" y="150"/>
                  </a:lnTo>
                  <a:lnTo>
                    <a:pt x="491" y="142"/>
                  </a:lnTo>
                  <a:lnTo>
                    <a:pt x="487" y="135"/>
                  </a:lnTo>
                  <a:lnTo>
                    <a:pt x="483" y="125"/>
                  </a:lnTo>
                  <a:lnTo>
                    <a:pt x="483" y="119"/>
                  </a:lnTo>
                  <a:lnTo>
                    <a:pt x="481" y="108"/>
                  </a:lnTo>
                  <a:lnTo>
                    <a:pt x="478" y="102"/>
                  </a:lnTo>
                  <a:lnTo>
                    <a:pt x="478" y="94"/>
                  </a:lnTo>
                  <a:lnTo>
                    <a:pt x="480" y="85"/>
                  </a:lnTo>
                  <a:lnTo>
                    <a:pt x="485" y="81"/>
                  </a:lnTo>
                  <a:lnTo>
                    <a:pt x="483" y="73"/>
                  </a:lnTo>
                  <a:lnTo>
                    <a:pt x="481" y="68"/>
                  </a:lnTo>
                  <a:lnTo>
                    <a:pt x="476" y="62"/>
                  </a:lnTo>
                  <a:lnTo>
                    <a:pt x="476" y="56"/>
                  </a:lnTo>
                  <a:lnTo>
                    <a:pt x="474" y="52"/>
                  </a:lnTo>
                  <a:lnTo>
                    <a:pt x="474" y="44"/>
                  </a:lnTo>
                  <a:lnTo>
                    <a:pt x="478" y="39"/>
                  </a:lnTo>
                  <a:lnTo>
                    <a:pt x="478" y="31"/>
                  </a:lnTo>
                  <a:lnTo>
                    <a:pt x="474" y="27"/>
                  </a:lnTo>
                  <a:lnTo>
                    <a:pt x="470" y="23"/>
                  </a:lnTo>
                  <a:lnTo>
                    <a:pt x="466" y="25"/>
                  </a:lnTo>
                  <a:lnTo>
                    <a:pt x="462" y="27"/>
                  </a:lnTo>
                  <a:lnTo>
                    <a:pt x="458" y="23"/>
                  </a:lnTo>
                  <a:lnTo>
                    <a:pt x="453" y="20"/>
                  </a:lnTo>
                  <a:lnTo>
                    <a:pt x="447" y="21"/>
                  </a:lnTo>
                  <a:lnTo>
                    <a:pt x="445" y="27"/>
                  </a:lnTo>
                  <a:lnTo>
                    <a:pt x="443" y="35"/>
                  </a:lnTo>
                  <a:lnTo>
                    <a:pt x="437" y="39"/>
                  </a:lnTo>
                  <a:lnTo>
                    <a:pt x="432" y="41"/>
                  </a:lnTo>
                  <a:lnTo>
                    <a:pt x="424" y="43"/>
                  </a:lnTo>
                  <a:lnTo>
                    <a:pt x="422" y="48"/>
                  </a:lnTo>
                  <a:lnTo>
                    <a:pt x="414" y="50"/>
                  </a:lnTo>
                  <a:lnTo>
                    <a:pt x="407" y="46"/>
                  </a:lnTo>
                  <a:lnTo>
                    <a:pt x="395" y="44"/>
                  </a:lnTo>
                  <a:lnTo>
                    <a:pt x="389" y="43"/>
                  </a:lnTo>
                  <a:lnTo>
                    <a:pt x="386" y="44"/>
                  </a:lnTo>
                  <a:lnTo>
                    <a:pt x="382" y="50"/>
                  </a:lnTo>
                  <a:lnTo>
                    <a:pt x="386" y="56"/>
                  </a:lnTo>
                  <a:lnTo>
                    <a:pt x="387" y="62"/>
                  </a:lnTo>
                  <a:lnTo>
                    <a:pt x="387" y="68"/>
                  </a:lnTo>
                  <a:lnTo>
                    <a:pt x="384" y="71"/>
                  </a:lnTo>
                  <a:lnTo>
                    <a:pt x="374" y="69"/>
                  </a:lnTo>
                  <a:lnTo>
                    <a:pt x="370" y="66"/>
                  </a:lnTo>
                  <a:lnTo>
                    <a:pt x="366" y="66"/>
                  </a:lnTo>
                  <a:lnTo>
                    <a:pt x="357" y="64"/>
                  </a:lnTo>
                  <a:lnTo>
                    <a:pt x="355" y="60"/>
                  </a:lnTo>
                  <a:lnTo>
                    <a:pt x="351" y="56"/>
                  </a:lnTo>
                  <a:lnTo>
                    <a:pt x="345" y="58"/>
                  </a:lnTo>
                  <a:lnTo>
                    <a:pt x="341" y="62"/>
                  </a:lnTo>
                  <a:lnTo>
                    <a:pt x="339" y="64"/>
                  </a:lnTo>
                  <a:lnTo>
                    <a:pt x="334" y="64"/>
                  </a:lnTo>
                  <a:lnTo>
                    <a:pt x="328" y="58"/>
                  </a:lnTo>
                  <a:lnTo>
                    <a:pt x="326" y="54"/>
                  </a:lnTo>
                  <a:lnTo>
                    <a:pt x="320" y="48"/>
                  </a:lnTo>
                  <a:lnTo>
                    <a:pt x="320" y="41"/>
                  </a:lnTo>
                  <a:lnTo>
                    <a:pt x="316" y="35"/>
                  </a:lnTo>
                  <a:lnTo>
                    <a:pt x="305" y="33"/>
                  </a:lnTo>
                  <a:lnTo>
                    <a:pt x="299" y="35"/>
                  </a:lnTo>
                  <a:lnTo>
                    <a:pt x="293" y="31"/>
                  </a:lnTo>
                  <a:lnTo>
                    <a:pt x="286" y="33"/>
                  </a:lnTo>
                  <a:lnTo>
                    <a:pt x="280" y="43"/>
                  </a:lnTo>
                  <a:lnTo>
                    <a:pt x="276" y="48"/>
                  </a:lnTo>
                  <a:lnTo>
                    <a:pt x="272" y="56"/>
                  </a:lnTo>
                  <a:lnTo>
                    <a:pt x="267" y="58"/>
                  </a:lnTo>
                  <a:lnTo>
                    <a:pt x="259" y="58"/>
                  </a:lnTo>
                  <a:lnTo>
                    <a:pt x="255" y="58"/>
                  </a:lnTo>
                  <a:lnTo>
                    <a:pt x="245" y="54"/>
                  </a:lnTo>
                  <a:lnTo>
                    <a:pt x="240" y="44"/>
                  </a:lnTo>
                  <a:lnTo>
                    <a:pt x="230" y="43"/>
                  </a:lnTo>
                  <a:lnTo>
                    <a:pt x="226" y="46"/>
                  </a:lnTo>
                  <a:lnTo>
                    <a:pt x="215" y="48"/>
                  </a:lnTo>
                  <a:lnTo>
                    <a:pt x="209" y="43"/>
                  </a:lnTo>
                  <a:lnTo>
                    <a:pt x="207" y="35"/>
                  </a:lnTo>
                  <a:lnTo>
                    <a:pt x="209" y="31"/>
                  </a:lnTo>
                  <a:lnTo>
                    <a:pt x="207" y="23"/>
                  </a:lnTo>
                  <a:lnTo>
                    <a:pt x="203" y="20"/>
                  </a:lnTo>
                  <a:lnTo>
                    <a:pt x="203" y="12"/>
                  </a:lnTo>
                  <a:lnTo>
                    <a:pt x="207" y="6"/>
                  </a:lnTo>
                  <a:lnTo>
                    <a:pt x="203" y="2"/>
                  </a:lnTo>
                  <a:lnTo>
                    <a:pt x="196" y="0"/>
                  </a:lnTo>
                  <a:lnTo>
                    <a:pt x="190" y="4"/>
                  </a:lnTo>
                  <a:lnTo>
                    <a:pt x="188" y="10"/>
                  </a:lnTo>
                  <a:lnTo>
                    <a:pt x="186" y="16"/>
                  </a:lnTo>
                  <a:lnTo>
                    <a:pt x="180" y="18"/>
                  </a:lnTo>
                  <a:lnTo>
                    <a:pt x="173" y="18"/>
                  </a:lnTo>
                  <a:lnTo>
                    <a:pt x="173" y="23"/>
                  </a:lnTo>
                  <a:lnTo>
                    <a:pt x="174" y="29"/>
                  </a:lnTo>
                  <a:lnTo>
                    <a:pt x="180" y="31"/>
                  </a:lnTo>
                  <a:lnTo>
                    <a:pt x="184" y="29"/>
                  </a:lnTo>
                  <a:lnTo>
                    <a:pt x="186" y="31"/>
                  </a:lnTo>
                  <a:lnTo>
                    <a:pt x="182" y="41"/>
                  </a:lnTo>
                  <a:lnTo>
                    <a:pt x="180" y="48"/>
                  </a:lnTo>
                  <a:lnTo>
                    <a:pt x="180" y="54"/>
                  </a:lnTo>
                  <a:lnTo>
                    <a:pt x="174" y="64"/>
                  </a:lnTo>
                  <a:lnTo>
                    <a:pt x="171" y="73"/>
                  </a:lnTo>
                  <a:lnTo>
                    <a:pt x="165" y="79"/>
                  </a:lnTo>
                  <a:lnTo>
                    <a:pt x="159" y="87"/>
                  </a:lnTo>
                  <a:lnTo>
                    <a:pt x="159" y="98"/>
                  </a:lnTo>
                  <a:lnTo>
                    <a:pt x="159" y="110"/>
                  </a:lnTo>
                  <a:lnTo>
                    <a:pt x="159" y="123"/>
                  </a:lnTo>
                  <a:lnTo>
                    <a:pt x="151" y="133"/>
                  </a:lnTo>
                  <a:lnTo>
                    <a:pt x="149" y="146"/>
                  </a:lnTo>
                  <a:lnTo>
                    <a:pt x="146" y="158"/>
                  </a:lnTo>
                  <a:lnTo>
                    <a:pt x="144" y="169"/>
                  </a:lnTo>
                  <a:lnTo>
                    <a:pt x="138" y="175"/>
                  </a:lnTo>
                  <a:lnTo>
                    <a:pt x="128" y="181"/>
                  </a:lnTo>
                  <a:lnTo>
                    <a:pt x="121" y="183"/>
                  </a:lnTo>
                  <a:lnTo>
                    <a:pt x="117" y="186"/>
                  </a:lnTo>
                  <a:lnTo>
                    <a:pt x="113" y="192"/>
                  </a:lnTo>
                  <a:lnTo>
                    <a:pt x="111" y="202"/>
                  </a:lnTo>
                  <a:lnTo>
                    <a:pt x="105" y="211"/>
                  </a:lnTo>
                  <a:lnTo>
                    <a:pt x="103" y="217"/>
                  </a:lnTo>
                  <a:lnTo>
                    <a:pt x="98" y="227"/>
                  </a:lnTo>
                  <a:lnTo>
                    <a:pt x="92" y="233"/>
                  </a:lnTo>
                  <a:lnTo>
                    <a:pt x="90" y="240"/>
                  </a:lnTo>
                  <a:lnTo>
                    <a:pt x="82" y="244"/>
                  </a:lnTo>
                  <a:lnTo>
                    <a:pt x="67" y="246"/>
                  </a:lnTo>
                  <a:lnTo>
                    <a:pt x="61" y="246"/>
                  </a:lnTo>
                  <a:lnTo>
                    <a:pt x="61" y="256"/>
                  </a:lnTo>
                  <a:lnTo>
                    <a:pt x="57" y="259"/>
                  </a:lnTo>
                  <a:lnTo>
                    <a:pt x="52" y="267"/>
                  </a:lnTo>
                  <a:lnTo>
                    <a:pt x="50" y="275"/>
                  </a:lnTo>
                  <a:lnTo>
                    <a:pt x="46" y="284"/>
                  </a:lnTo>
                  <a:lnTo>
                    <a:pt x="42" y="292"/>
                  </a:lnTo>
                  <a:lnTo>
                    <a:pt x="38" y="296"/>
                  </a:lnTo>
                  <a:lnTo>
                    <a:pt x="32" y="302"/>
                  </a:lnTo>
                  <a:lnTo>
                    <a:pt x="27" y="309"/>
                  </a:lnTo>
                  <a:lnTo>
                    <a:pt x="21" y="313"/>
                  </a:lnTo>
                  <a:lnTo>
                    <a:pt x="13" y="313"/>
                  </a:lnTo>
                  <a:lnTo>
                    <a:pt x="6" y="313"/>
                  </a:lnTo>
                  <a:lnTo>
                    <a:pt x="6" y="321"/>
                  </a:lnTo>
                  <a:lnTo>
                    <a:pt x="6" y="334"/>
                  </a:lnTo>
                  <a:lnTo>
                    <a:pt x="4" y="344"/>
                  </a:lnTo>
                  <a:lnTo>
                    <a:pt x="0" y="350"/>
                  </a:lnTo>
                  <a:lnTo>
                    <a:pt x="4" y="357"/>
                  </a:lnTo>
                  <a:lnTo>
                    <a:pt x="4" y="373"/>
                  </a:lnTo>
                  <a:lnTo>
                    <a:pt x="7" y="378"/>
                  </a:lnTo>
                  <a:lnTo>
                    <a:pt x="11" y="396"/>
                  </a:lnTo>
                  <a:lnTo>
                    <a:pt x="13" y="407"/>
                  </a:lnTo>
                  <a:lnTo>
                    <a:pt x="17" y="417"/>
                  </a:lnTo>
                  <a:lnTo>
                    <a:pt x="21" y="426"/>
                  </a:lnTo>
                  <a:lnTo>
                    <a:pt x="25" y="430"/>
                  </a:lnTo>
                  <a:lnTo>
                    <a:pt x="27" y="434"/>
                  </a:lnTo>
                  <a:lnTo>
                    <a:pt x="29" y="436"/>
                  </a:lnTo>
                  <a:lnTo>
                    <a:pt x="32" y="440"/>
                  </a:lnTo>
                  <a:lnTo>
                    <a:pt x="36" y="445"/>
                  </a:lnTo>
                  <a:lnTo>
                    <a:pt x="42" y="447"/>
                  </a:lnTo>
                  <a:lnTo>
                    <a:pt x="46" y="451"/>
                  </a:lnTo>
                  <a:lnTo>
                    <a:pt x="50" y="455"/>
                  </a:lnTo>
                  <a:lnTo>
                    <a:pt x="55" y="457"/>
                  </a:lnTo>
                  <a:lnTo>
                    <a:pt x="59" y="457"/>
                  </a:lnTo>
                  <a:lnTo>
                    <a:pt x="63" y="461"/>
                  </a:lnTo>
                  <a:lnTo>
                    <a:pt x="69" y="465"/>
                  </a:lnTo>
                  <a:lnTo>
                    <a:pt x="73" y="467"/>
                  </a:lnTo>
                  <a:lnTo>
                    <a:pt x="77" y="467"/>
                  </a:lnTo>
                  <a:lnTo>
                    <a:pt x="80" y="470"/>
                  </a:lnTo>
                  <a:lnTo>
                    <a:pt x="86" y="474"/>
                  </a:lnTo>
                  <a:lnTo>
                    <a:pt x="90" y="474"/>
                  </a:lnTo>
                  <a:lnTo>
                    <a:pt x="94" y="474"/>
                  </a:lnTo>
                  <a:lnTo>
                    <a:pt x="102" y="474"/>
                  </a:lnTo>
                  <a:lnTo>
                    <a:pt x="107" y="474"/>
                  </a:lnTo>
                  <a:lnTo>
                    <a:pt x="111" y="474"/>
                  </a:lnTo>
                  <a:lnTo>
                    <a:pt x="113" y="474"/>
                  </a:lnTo>
                  <a:lnTo>
                    <a:pt x="115" y="478"/>
                  </a:lnTo>
                  <a:lnTo>
                    <a:pt x="117" y="480"/>
                  </a:lnTo>
                  <a:lnTo>
                    <a:pt x="119" y="484"/>
                  </a:lnTo>
                  <a:lnTo>
                    <a:pt x="123" y="486"/>
                  </a:lnTo>
                  <a:lnTo>
                    <a:pt x="126" y="486"/>
                  </a:lnTo>
                  <a:lnTo>
                    <a:pt x="130" y="486"/>
                  </a:lnTo>
                  <a:lnTo>
                    <a:pt x="134" y="486"/>
                  </a:lnTo>
                  <a:lnTo>
                    <a:pt x="138" y="488"/>
                  </a:lnTo>
                  <a:lnTo>
                    <a:pt x="140" y="490"/>
                  </a:lnTo>
                  <a:lnTo>
                    <a:pt x="144" y="493"/>
                  </a:lnTo>
                  <a:lnTo>
                    <a:pt x="146" y="497"/>
                  </a:lnTo>
                  <a:lnTo>
                    <a:pt x="148" y="501"/>
                  </a:lnTo>
                  <a:lnTo>
                    <a:pt x="151" y="50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/>
            </a:p>
          </p:txBody>
        </p:sp>
        <p:sp>
          <p:nvSpPr>
            <p:cNvPr id="120" name="Freeform 5"/>
            <p:cNvSpPr>
              <a:spLocks/>
            </p:cNvSpPr>
            <p:nvPr/>
          </p:nvSpPr>
          <p:spPr bwMode="auto">
            <a:xfrm>
              <a:off x="5144870" y="2075262"/>
              <a:ext cx="1513735" cy="1584691"/>
            </a:xfrm>
            <a:custGeom>
              <a:avLst/>
              <a:gdLst>
                <a:gd name="T0" fmla="*/ 578 w 775"/>
                <a:gd name="T1" fmla="*/ 804 h 815"/>
                <a:gd name="T2" fmla="*/ 557 w 775"/>
                <a:gd name="T3" fmla="*/ 777 h 815"/>
                <a:gd name="T4" fmla="*/ 530 w 775"/>
                <a:gd name="T5" fmla="*/ 760 h 815"/>
                <a:gd name="T6" fmla="*/ 509 w 775"/>
                <a:gd name="T7" fmla="*/ 754 h 815"/>
                <a:gd name="T8" fmla="*/ 482 w 775"/>
                <a:gd name="T9" fmla="*/ 760 h 815"/>
                <a:gd name="T10" fmla="*/ 455 w 775"/>
                <a:gd name="T11" fmla="*/ 758 h 815"/>
                <a:gd name="T12" fmla="*/ 424 w 775"/>
                <a:gd name="T13" fmla="*/ 754 h 815"/>
                <a:gd name="T14" fmla="*/ 390 w 775"/>
                <a:gd name="T15" fmla="*/ 742 h 815"/>
                <a:gd name="T16" fmla="*/ 361 w 775"/>
                <a:gd name="T17" fmla="*/ 740 h 815"/>
                <a:gd name="T18" fmla="*/ 336 w 775"/>
                <a:gd name="T19" fmla="*/ 754 h 815"/>
                <a:gd name="T20" fmla="*/ 315 w 775"/>
                <a:gd name="T21" fmla="*/ 769 h 815"/>
                <a:gd name="T22" fmla="*/ 280 w 775"/>
                <a:gd name="T23" fmla="*/ 773 h 815"/>
                <a:gd name="T24" fmla="*/ 259 w 775"/>
                <a:gd name="T25" fmla="*/ 777 h 815"/>
                <a:gd name="T26" fmla="*/ 238 w 775"/>
                <a:gd name="T27" fmla="*/ 754 h 815"/>
                <a:gd name="T28" fmla="*/ 221 w 775"/>
                <a:gd name="T29" fmla="*/ 727 h 815"/>
                <a:gd name="T30" fmla="*/ 219 w 775"/>
                <a:gd name="T31" fmla="*/ 692 h 815"/>
                <a:gd name="T32" fmla="*/ 213 w 775"/>
                <a:gd name="T33" fmla="*/ 675 h 815"/>
                <a:gd name="T34" fmla="*/ 181 w 775"/>
                <a:gd name="T35" fmla="*/ 679 h 815"/>
                <a:gd name="T36" fmla="*/ 134 w 775"/>
                <a:gd name="T37" fmla="*/ 677 h 815"/>
                <a:gd name="T38" fmla="*/ 100 w 775"/>
                <a:gd name="T39" fmla="*/ 679 h 815"/>
                <a:gd name="T40" fmla="*/ 83 w 775"/>
                <a:gd name="T41" fmla="*/ 646 h 815"/>
                <a:gd name="T42" fmla="*/ 65 w 775"/>
                <a:gd name="T43" fmla="*/ 608 h 815"/>
                <a:gd name="T44" fmla="*/ 79 w 775"/>
                <a:gd name="T45" fmla="*/ 566 h 815"/>
                <a:gd name="T46" fmla="*/ 69 w 775"/>
                <a:gd name="T47" fmla="*/ 524 h 815"/>
                <a:gd name="T48" fmla="*/ 46 w 775"/>
                <a:gd name="T49" fmla="*/ 489 h 815"/>
                <a:gd name="T50" fmla="*/ 65 w 775"/>
                <a:gd name="T51" fmla="*/ 457 h 815"/>
                <a:gd name="T52" fmla="*/ 96 w 775"/>
                <a:gd name="T53" fmla="*/ 426 h 815"/>
                <a:gd name="T54" fmla="*/ 110 w 775"/>
                <a:gd name="T55" fmla="*/ 382 h 815"/>
                <a:gd name="T56" fmla="*/ 102 w 775"/>
                <a:gd name="T57" fmla="*/ 338 h 815"/>
                <a:gd name="T58" fmla="*/ 65 w 775"/>
                <a:gd name="T59" fmla="*/ 301 h 815"/>
                <a:gd name="T60" fmla="*/ 25 w 775"/>
                <a:gd name="T61" fmla="*/ 272 h 815"/>
                <a:gd name="T62" fmla="*/ 8 w 775"/>
                <a:gd name="T63" fmla="*/ 224 h 815"/>
                <a:gd name="T64" fmla="*/ 2 w 775"/>
                <a:gd name="T65" fmla="*/ 161 h 815"/>
                <a:gd name="T66" fmla="*/ 50 w 775"/>
                <a:gd name="T67" fmla="*/ 136 h 815"/>
                <a:gd name="T68" fmla="*/ 159 w 775"/>
                <a:gd name="T69" fmla="*/ 134 h 815"/>
                <a:gd name="T70" fmla="*/ 230 w 775"/>
                <a:gd name="T71" fmla="*/ 117 h 815"/>
                <a:gd name="T72" fmla="*/ 242 w 775"/>
                <a:gd name="T73" fmla="*/ 52 h 815"/>
                <a:gd name="T74" fmla="*/ 257 w 775"/>
                <a:gd name="T75" fmla="*/ 2 h 815"/>
                <a:gd name="T76" fmla="*/ 286 w 775"/>
                <a:gd name="T77" fmla="*/ 52 h 815"/>
                <a:gd name="T78" fmla="*/ 282 w 775"/>
                <a:gd name="T79" fmla="*/ 111 h 815"/>
                <a:gd name="T80" fmla="*/ 326 w 775"/>
                <a:gd name="T81" fmla="*/ 169 h 815"/>
                <a:gd name="T82" fmla="*/ 438 w 775"/>
                <a:gd name="T83" fmla="*/ 180 h 815"/>
                <a:gd name="T84" fmla="*/ 583 w 775"/>
                <a:gd name="T85" fmla="*/ 188 h 815"/>
                <a:gd name="T86" fmla="*/ 722 w 775"/>
                <a:gd name="T87" fmla="*/ 198 h 815"/>
                <a:gd name="T88" fmla="*/ 770 w 775"/>
                <a:gd name="T89" fmla="*/ 224 h 815"/>
                <a:gd name="T90" fmla="*/ 749 w 775"/>
                <a:gd name="T91" fmla="*/ 282 h 815"/>
                <a:gd name="T92" fmla="*/ 749 w 775"/>
                <a:gd name="T93" fmla="*/ 332 h 815"/>
                <a:gd name="T94" fmla="*/ 749 w 775"/>
                <a:gd name="T95" fmla="*/ 399 h 815"/>
                <a:gd name="T96" fmla="*/ 758 w 775"/>
                <a:gd name="T97" fmla="*/ 430 h 815"/>
                <a:gd name="T98" fmla="*/ 735 w 775"/>
                <a:gd name="T99" fmla="*/ 476 h 815"/>
                <a:gd name="T100" fmla="*/ 722 w 775"/>
                <a:gd name="T101" fmla="*/ 547 h 815"/>
                <a:gd name="T102" fmla="*/ 689 w 775"/>
                <a:gd name="T103" fmla="*/ 581 h 815"/>
                <a:gd name="T104" fmla="*/ 666 w 775"/>
                <a:gd name="T105" fmla="*/ 629 h 815"/>
                <a:gd name="T106" fmla="*/ 628 w 775"/>
                <a:gd name="T107" fmla="*/ 656 h 815"/>
                <a:gd name="T108" fmla="*/ 603 w 775"/>
                <a:gd name="T109" fmla="*/ 698 h 815"/>
                <a:gd name="T110" fmla="*/ 580 w 775"/>
                <a:gd name="T111" fmla="*/ 733 h 815"/>
                <a:gd name="T112" fmla="*/ 589 w 775"/>
                <a:gd name="T113" fmla="*/ 796 h 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75" h="815">
                  <a:moveTo>
                    <a:pt x="597" y="815"/>
                  </a:moveTo>
                  <a:lnTo>
                    <a:pt x="593" y="813"/>
                  </a:lnTo>
                  <a:lnTo>
                    <a:pt x="589" y="811"/>
                  </a:lnTo>
                  <a:lnTo>
                    <a:pt x="587" y="811"/>
                  </a:lnTo>
                  <a:lnTo>
                    <a:pt x="582" y="808"/>
                  </a:lnTo>
                  <a:lnTo>
                    <a:pt x="578" y="804"/>
                  </a:lnTo>
                  <a:lnTo>
                    <a:pt x="574" y="798"/>
                  </a:lnTo>
                  <a:lnTo>
                    <a:pt x="570" y="794"/>
                  </a:lnTo>
                  <a:lnTo>
                    <a:pt x="566" y="790"/>
                  </a:lnTo>
                  <a:lnTo>
                    <a:pt x="564" y="785"/>
                  </a:lnTo>
                  <a:lnTo>
                    <a:pt x="560" y="781"/>
                  </a:lnTo>
                  <a:lnTo>
                    <a:pt x="557" y="777"/>
                  </a:lnTo>
                  <a:lnTo>
                    <a:pt x="551" y="775"/>
                  </a:lnTo>
                  <a:lnTo>
                    <a:pt x="547" y="771"/>
                  </a:lnTo>
                  <a:lnTo>
                    <a:pt x="543" y="767"/>
                  </a:lnTo>
                  <a:lnTo>
                    <a:pt x="539" y="763"/>
                  </a:lnTo>
                  <a:lnTo>
                    <a:pt x="534" y="760"/>
                  </a:lnTo>
                  <a:lnTo>
                    <a:pt x="530" y="760"/>
                  </a:lnTo>
                  <a:lnTo>
                    <a:pt x="528" y="760"/>
                  </a:lnTo>
                  <a:lnTo>
                    <a:pt x="524" y="762"/>
                  </a:lnTo>
                  <a:lnTo>
                    <a:pt x="520" y="760"/>
                  </a:lnTo>
                  <a:lnTo>
                    <a:pt x="516" y="758"/>
                  </a:lnTo>
                  <a:lnTo>
                    <a:pt x="512" y="754"/>
                  </a:lnTo>
                  <a:lnTo>
                    <a:pt x="509" y="754"/>
                  </a:lnTo>
                  <a:lnTo>
                    <a:pt x="501" y="754"/>
                  </a:lnTo>
                  <a:lnTo>
                    <a:pt x="497" y="754"/>
                  </a:lnTo>
                  <a:lnTo>
                    <a:pt x="493" y="756"/>
                  </a:lnTo>
                  <a:lnTo>
                    <a:pt x="491" y="760"/>
                  </a:lnTo>
                  <a:lnTo>
                    <a:pt x="488" y="762"/>
                  </a:lnTo>
                  <a:lnTo>
                    <a:pt x="482" y="760"/>
                  </a:lnTo>
                  <a:lnTo>
                    <a:pt x="480" y="758"/>
                  </a:lnTo>
                  <a:lnTo>
                    <a:pt x="476" y="756"/>
                  </a:lnTo>
                  <a:lnTo>
                    <a:pt x="474" y="756"/>
                  </a:lnTo>
                  <a:lnTo>
                    <a:pt x="466" y="758"/>
                  </a:lnTo>
                  <a:lnTo>
                    <a:pt x="461" y="756"/>
                  </a:lnTo>
                  <a:lnTo>
                    <a:pt x="455" y="758"/>
                  </a:lnTo>
                  <a:lnTo>
                    <a:pt x="449" y="758"/>
                  </a:lnTo>
                  <a:lnTo>
                    <a:pt x="445" y="760"/>
                  </a:lnTo>
                  <a:lnTo>
                    <a:pt x="440" y="760"/>
                  </a:lnTo>
                  <a:lnTo>
                    <a:pt x="434" y="758"/>
                  </a:lnTo>
                  <a:lnTo>
                    <a:pt x="430" y="756"/>
                  </a:lnTo>
                  <a:lnTo>
                    <a:pt x="424" y="754"/>
                  </a:lnTo>
                  <a:lnTo>
                    <a:pt x="418" y="752"/>
                  </a:lnTo>
                  <a:lnTo>
                    <a:pt x="413" y="750"/>
                  </a:lnTo>
                  <a:lnTo>
                    <a:pt x="405" y="746"/>
                  </a:lnTo>
                  <a:lnTo>
                    <a:pt x="399" y="746"/>
                  </a:lnTo>
                  <a:lnTo>
                    <a:pt x="395" y="744"/>
                  </a:lnTo>
                  <a:lnTo>
                    <a:pt x="390" y="742"/>
                  </a:lnTo>
                  <a:lnTo>
                    <a:pt x="386" y="740"/>
                  </a:lnTo>
                  <a:lnTo>
                    <a:pt x="380" y="739"/>
                  </a:lnTo>
                  <a:lnTo>
                    <a:pt x="376" y="739"/>
                  </a:lnTo>
                  <a:lnTo>
                    <a:pt x="370" y="739"/>
                  </a:lnTo>
                  <a:lnTo>
                    <a:pt x="367" y="739"/>
                  </a:lnTo>
                  <a:lnTo>
                    <a:pt x="361" y="740"/>
                  </a:lnTo>
                  <a:lnTo>
                    <a:pt x="357" y="742"/>
                  </a:lnTo>
                  <a:lnTo>
                    <a:pt x="351" y="744"/>
                  </a:lnTo>
                  <a:lnTo>
                    <a:pt x="349" y="746"/>
                  </a:lnTo>
                  <a:lnTo>
                    <a:pt x="344" y="746"/>
                  </a:lnTo>
                  <a:lnTo>
                    <a:pt x="340" y="750"/>
                  </a:lnTo>
                  <a:lnTo>
                    <a:pt x="336" y="754"/>
                  </a:lnTo>
                  <a:lnTo>
                    <a:pt x="334" y="756"/>
                  </a:lnTo>
                  <a:lnTo>
                    <a:pt x="328" y="760"/>
                  </a:lnTo>
                  <a:lnTo>
                    <a:pt x="324" y="763"/>
                  </a:lnTo>
                  <a:lnTo>
                    <a:pt x="321" y="767"/>
                  </a:lnTo>
                  <a:lnTo>
                    <a:pt x="319" y="769"/>
                  </a:lnTo>
                  <a:lnTo>
                    <a:pt x="315" y="769"/>
                  </a:lnTo>
                  <a:lnTo>
                    <a:pt x="311" y="771"/>
                  </a:lnTo>
                  <a:lnTo>
                    <a:pt x="303" y="775"/>
                  </a:lnTo>
                  <a:lnTo>
                    <a:pt x="299" y="777"/>
                  </a:lnTo>
                  <a:lnTo>
                    <a:pt x="292" y="775"/>
                  </a:lnTo>
                  <a:lnTo>
                    <a:pt x="288" y="775"/>
                  </a:lnTo>
                  <a:lnTo>
                    <a:pt x="280" y="773"/>
                  </a:lnTo>
                  <a:lnTo>
                    <a:pt x="276" y="769"/>
                  </a:lnTo>
                  <a:lnTo>
                    <a:pt x="273" y="769"/>
                  </a:lnTo>
                  <a:lnTo>
                    <a:pt x="269" y="769"/>
                  </a:lnTo>
                  <a:lnTo>
                    <a:pt x="263" y="771"/>
                  </a:lnTo>
                  <a:lnTo>
                    <a:pt x="261" y="775"/>
                  </a:lnTo>
                  <a:lnTo>
                    <a:pt x="259" y="777"/>
                  </a:lnTo>
                  <a:lnTo>
                    <a:pt x="259" y="771"/>
                  </a:lnTo>
                  <a:lnTo>
                    <a:pt x="257" y="765"/>
                  </a:lnTo>
                  <a:lnTo>
                    <a:pt x="253" y="762"/>
                  </a:lnTo>
                  <a:lnTo>
                    <a:pt x="250" y="756"/>
                  </a:lnTo>
                  <a:lnTo>
                    <a:pt x="244" y="754"/>
                  </a:lnTo>
                  <a:lnTo>
                    <a:pt x="238" y="754"/>
                  </a:lnTo>
                  <a:lnTo>
                    <a:pt x="232" y="750"/>
                  </a:lnTo>
                  <a:lnTo>
                    <a:pt x="232" y="744"/>
                  </a:lnTo>
                  <a:lnTo>
                    <a:pt x="228" y="742"/>
                  </a:lnTo>
                  <a:lnTo>
                    <a:pt x="225" y="737"/>
                  </a:lnTo>
                  <a:lnTo>
                    <a:pt x="221" y="731"/>
                  </a:lnTo>
                  <a:lnTo>
                    <a:pt x="221" y="727"/>
                  </a:lnTo>
                  <a:lnTo>
                    <a:pt x="221" y="721"/>
                  </a:lnTo>
                  <a:lnTo>
                    <a:pt x="225" y="717"/>
                  </a:lnTo>
                  <a:lnTo>
                    <a:pt x="221" y="712"/>
                  </a:lnTo>
                  <a:lnTo>
                    <a:pt x="223" y="702"/>
                  </a:lnTo>
                  <a:lnTo>
                    <a:pt x="221" y="696"/>
                  </a:lnTo>
                  <a:lnTo>
                    <a:pt x="219" y="692"/>
                  </a:lnTo>
                  <a:lnTo>
                    <a:pt x="219" y="689"/>
                  </a:lnTo>
                  <a:lnTo>
                    <a:pt x="221" y="685"/>
                  </a:lnTo>
                  <a:lnTo>
                    <a:pt x="227" y="681"/>
                  </a:lnTo>
                  <a:lnTo>
                    <a:pt x="225" y="677"/>
                  </a:lnTo>
                  <a:lnTo>
                    <a:pt x="219" y="673"/>
                  </a:lnTo>
                  <a:lnTo>
                    <a:pt x="213" y="675"/>
                  </a:lnTo>
                  <a:lnTo>
                    <a:pt x="209" y="675"/>
                  </a:lnTo>
                  <a:lnTo>
                    <a:pt x="202" y="677"/>
                  </a:lnTo>
                  <a:lnTo>
                    <a:pt x="196" y="675"/>
                  </a:lnTo>
                  <a:lnTo>
                    <a:pt x="194" y="679"/>
                  </a:lnTo>
                  <a:lnTo>
                    <a:pt x="188" y="677"/>
                  </a:lnTo>
                  <a:lnTo>
                    <a:pt x="181" y="679"/>
                  </a:lnTo>
                  <a:lnTo>
                    <a:pt x="173" y="679"/>
                  </a:lnTo>
                  <a:lnTo>
                    <a:pt x="167" y="679"/>
                  </a:lnTo>
                  <a:lnTo>
                    <a:pt x="157" y="677"/>
                  </a:lnTo>
                  <a:lnTo>
                    <a:pt x="150" y="677"/>
                  </a:lnTo>
                  <a:lnTo>
                    <a:pt x="140" y="677"/>
                  </a:lnTo>
                  <a:lnTo>
                    <a:pt x="134" y="677"/>
                  </a:lnTo>
                  <a:lnTo>
                    <a:pt x="129" y="677"/>
                  </a:lnTo>
                  <a:lnTo>
                    <a:pt x="121" y="675"/>
                  </a:lnTo>
                  <a:lnTo>
                    <a:pt x="115" y="677"/>
                  </a:lnTo>
                  <a:lnTo>
                    <a:pt x="113" y="681"/>
                  </a:lnTo>
                  <a:lnTo>
                    <a:pt x="106" y="681"/>
                  </a:lnTo>
                  <a:lnTo>
                    <a:pt x="100" y="679"/>
                  </a:lnTo>
                  <a:lnTo>
                    <a:pt x="94" y="677"/>
                  </a:lnTo>
                  <a:lnTo>
                    <a:pt x="94" y="668"/>
                  </a:lnTo>
                  <a:lnTo>
                    <a:pt x="90" y="662"/>
                  </a:lnTo>
                  <a:lnTo>
                    <a:pt x="90" y="658"/>
                  </a:lnTo>
                  <a:lnTo>
                    <a:pt x="88" y="652"/>
                  </a:lnTo>
                  <a:lnTo>
                    <a:pt x="83" y="646"/>
                  </a:lnTo>
                  <a:lnTo>
                    <a:pt x="81" y="641"/>
                  </a:lnTo>
                  <a:lnTo>
                    <a:pt x="79" y="633"/>
                  </a:lnTo>
                  <a:lnTo>
                    <a:pt x="77" y="625"/>
                  </a:lnTo>
                  <a:lnTo>
                    <a:pt x="73" y="620"/>
                  </a:lnTo>
                  <a:lnTo>
                    <a:pt x="71" y="614"/>
                  </a:lnTo>
                  <a:lnTo>
                    <a:pt x="65" y="608"/>
                  </a:lnTo>
                  <a:lnTo>
                    <a:pt x="65" y="600"/>
                  </a:lnTo>
                  <a:lnTo>
                    <a:pt x="67" y="589"/>
                  </a:lnTo>
                  <a:lnTo>
                    <a:pt x="65" y="583"/>
                  </a:lnTo>
                  <a:lnTo>
                    <a:pt x="71" y="579"/>
                  </a:lnTo>
                  <a:lnTo>
                    <a:pt x="79" y="574"/>
                  </a:lnTo>
                  <a:lnTo>
                    <a:pt x="79" y="566"/>
                  </a:lnTo>
                  <a:lnTo>
                    <a:pt x="83" y="558"/>
                  </a:lnTo>
                  <a:lnTo>
                    <a:pt x="79" y="552"/>
                  </a:lnTo>
                  <a:lnTo>
                    <a:pt x="77" y="545"/>
                  </a:lnTo>
                  <a:lnTo>
                    <a:pt x="75" y="539"/>
                  </a:lnTo>
                  <a:lnTo>
                    <a:pt x="73" y="529"/>
                  </a:lnTo>
                  <a:lnTo>
                    <a:pt x="69" y="524"/>
                  </a:lnTo>
                  <a:lnTo>
                    <a:pt x="65" y="518"/>
                  </a:lnTo>
                  <a:lnTo>
                    <a:pt x="65" y="508"/>
                  </a:lnTo>
                  <a:lnTo>
                    <a:pt x="63" y="503"/>
                  </a:lnTo>
                  <a:lnTo>
                    <a:pt x="60" y="497"/>
                  </a:lnTo>
                  <a:lnTo>
                    <a:pt x="54" y="491"/>
                  </a:lnTo>
                  <a:lnTo>
                    <a:pt x="46" y="489"/>
                  </a:lnTo>
                  <a:lnTo>
                    <a:pt x="48" y="481"/>
                  </a:lnTo>
                  <a:lnTo>
                    <a:pt x="52" y="480"/>
                  </a:lnTo>
                  <a:lnTo>
                    <a:pt x="58" y="472"/>
                  </a:lnTo>
                  <a:lnTo>
                    <a:pt x="63" y="468"/>
                  </a:lnTo>
                  <a:lnTo>
                    <a:pt x="65" y="462"/>
                  </a:lnTo>
                  <a:lnTo>
                    <a:pt x="65" y="457"/>
                  </a:lnTo>
                  <a:lnTo>
                    <a:pt x="69" y="453"/>
                  </a:lnTo>
                  <a:lnTo>
                    <a:pt x="73" y="445"/>
                  </a:lnTo>
                  <a:lnTo>
                    <a:pt x="75" y="439"/>
                  </a:lnTo>
                  <a:lnTo>
                    <a:pt x="81" y="435"/>
                  </a:lnTo>
                  <a:lnTo>
                    <a:pt x="88" y="432"/>
                  </a:lnTo>
                  <a:lnTo>
                    <a:pt x="96" y="426"/>
                  </a:lnTo>
                  <a:lnTo>
                    <a:pt x="100" y="418"/>
                  </a:lnTo>
                  <a:lnTo>
                    <a:pt x="104" y="410"/>
                  </a:lnTo>
                  <a:lnTo>
                    <a:pt x="104" y="403"/>
                  </a:lnTo>
                  <a:lnTo>
                    <a:pt x="106" y="397"/>
                  </a:lnTo>
                  <a:lnTo>
                    <a:pt x="110" y="389"/>
                  </a:lnTo>
                  <a:lnTo>
                    <a:pt x="110" y="382"/>
                  </a:lnTo>
                  <a:lnTo>
                    <a:pt x="108" y="374"/>
                  </a:lnTo>
                  <a:lnTo>
                    <a:pt x="108" y="364"/>
                  </a:lnTo>
                  <a:lnTo>
                    <a:pt x="108" y="361"/>
                  </a:lnTo>
                  <a:lnTo>
                    <a:pt x="108" y="355"/>
                  </a:lnTo>
                  <a:lnTo>
                    <a:pt x="106" y="345"/>
                  </a:lnTo>
                  <a:lnTo>
                    <a:pt x="102" y="338"/>
                  </a:lnTo>
                  <a:lnTo>
                    <a:pt x="102" y="326"/>
                  </a:lnTo>
                  <a:lnTo>
                    <a:pt x="100" y="315"/>
                  </a:lnTo>
                  <a:lnTo>
                    <a:pt x="92" y="309"/>
                  </a:lnTo>
                  <a:lnTo>
                    <a:pt x="79" y="305"/>
                  </a:lnTo>
                  <a:lnTo>
                    <a:pt x="71" y="303"/>
                  </a:lnTo>
                  <a:lnTo>
                    <a:pt x="65" y="301"/>
                  </a:lnTo>
                  <a:lnTo>
                    <a:pt x="58" y="293"/>
                  </a:lnTo>
                  <a:lnTo>
                    <a:pt x="52" y="292"/>
                  </a:lnTo>
                  <a:lnTo>
                    <a:pt x="44" y="292"/>
                  </a:lnTo>
                  <a:lnTo>
                    <a:pt x="35" y="288"/>
                  </a:lnTo>
                  <a:lnTo>
                    <a:pt x="31" y="282"/>
                  </a:lnTo>
                  <a:lnTo>
                    <a:pt x="25" y="272"/>
                  </a:lnTo>
                  <a:lnTo>
                    <a:pt x="23" y="267"/>
                  </a:lnTo>
                  <a:lnTo>
                    <a:pt x="15" y="261"/>
                  </a:lnTo>
                  <a:lnTo>
                    <a:pt x="12" y="251"/>
                  </a:lnTo>
                  <a:lnTo>
                    <a:pt x="12" y="242"/>
                  </a:lnTo>
                  <a:lnTo>
                    <a:pt x="10" y="232"/>
                  </a:lnTo>
                  <a:lnTo>
                    <a:pt x="8" y="224"/>
                  </a:lnTo>
                  <a:lnTo>
                    <a:pt x="6" y="217"/>
                  </a:lnTo>
                  <a:lnTo>
                    <a:pt x="2" y="207"/>
                  </a:lnTo>
                  <a:lnTo>
                    <a:pt x="2" y="194"/>
                  </a:lnTo>
                  <a:lnTo>
                    <a:pt x="2" y="180"/>
                  </a:lnTo>
                  <a:lnTo>
                    <a:pt x="2" y="169"/>
                  </a:lnTo>
                  <a:lnTo>
                    <a:pt x="2" y="161"/>
                  </a:lnTo>
                  <a:lnTo>
                    <a:pt x="2" y="150"/>
                  </a:lnTo>
                  <a:lnTo>
                    <a:pt x="0" y="136"/>
                  </a:lnTo>
                  <a:lnTo>
                    <a:pt x="15" y="136"/>
                  </a:lnTo>
                  <a:lnTo>
                    <a:pt x="25" y="134"/>
                  </a:lnTo>
                  <a:lnTo>
                    <a:pt x="37" y="134"/>
                  </a:lnTo>
                  <a:lnTo>
                    <a:pt x="50" y="136"/>
                  </a:lnTo>
                  <a:lnTo>
                    <a:pt x="69" y="134"/>
                  </a:lnTo>
                  <a:lnTo>
                    <a:pt x="85" y="134"/>
                  </a:lnTo>
                  <a:lnTo>
                    <a:pt x="102" y="136"/>
                  </a:lnTo>
                  <a:lnTo>
                    <a:pt x="123" y="136"/>
                  </a:lnTo>
                  <a:lnTo>
                    <a:pt x="142" y="136"/>
                  </a:lnTo>
                  <a:lnTo>
                    <a:pt x="159" y="134"/>
                  </a:lnTo>
                  <a:lnTo>
                    <a:pt x="179" y="136"/>
                  </a:lnTo>
                  <a:lnTo>
                    <a:pt x="198" y="134"/>
                  </a:lnTo>
                  <a:lnTo>
                    <a:pt x="213" y="130"/>
                  </a:lnTo>
                  <a:lnTo>
                    <a:pt x="223" y="128"/>
                  </a:lnTo>
                  <a:lnTo>
                    <a:pt x="228" y="127"/>
                  </a:lnTo>
                  <a:lnTo>
                    <a:pt x="230" y="117"/>
                  </a:lnTo>
                  <a:lnTo>
                    <a:pt x="228" y="105"/>
                  </a:lnTo>
                  <a:lnTo>
                    <a:pt x="238" y="96"/>
                  </a:lnTo>
                  <a:lnTo>
                    <a:pt x="238" y="88"/>
                  </a:lnTo>
                  <a:lnTo>
                    <a:pt x="240" y="73"/>
                  </a:lnTo>
                  <a:lnTo>
                    <a:pt x="240" y="61"/>
                  </a:lnTo>
                  <a:lnTo>
                    <a:pt x="242" y="52"/>
                  </a:lnTo>
                  <a:lnTo>
                    <a:pt x="244" y="38"/>
                  </a:lnTo>
                  <a:lnTo>
                    <a:pt x="242" y="27"/>
                  </a:lnTo>
                  <a:lnTo>
                    <a:pt x="246" y="13"/>
                  </a:lnTo>
                  <a:lnTo>
                    <a:pt x="253" y="4"/>
                  </a:lnTo>
                  <a:lnTo>
                    <a:pt x="255" y="0"/>
                  </a:lnTo>
                  <a:lnTo>
                    <a:pt x="257" y="2"/>
                  </a:lnTo>
                  <a:lnTo>
                    <a:pt x="263" y="10"/>
                  </a:lnTo>
                  <a:lnTo>
                    <a:pt x="265" y="23"/>
                  </a:lnTo>
                  <a:lnTo>
                    <a:pt x="273" y="31"/>
                  </a:lnTo>
                  <a:lnTo>
                    <a:pt x="276" y="40"/>
                  </a:lnTo>
                  <a:lnTo>
                    <a:pt x="282" y="44"/>
                  </a:lnTo>
                  <a:lnTo>
                    <a:pt x="286" y="52"/>
                  </a:lnTo>
                  <a:lnTo>
                    <a:pt x="288" y="61"/>
                  </a:lnTo>
                  <a:lnTo>
                    <a:pt x="286" y="73"/>
                  </a:lnTo>
                  <a:lnTo>
                    <a:pt x="286" y="82"/>
                  </a:lnTo>
                  <a:lnTo>
                    <a:pt x="290" y="94"/>
                  </a:lnTo>
                  <a:lnTo>
                    <a:pt x="286" y="105"/>
                  </a:lnTo>
                  <a:lnTo>
                    <a:pt x="282" y="111"/>
                  </a:lnTo>
                  <a:lnTo>
                    <a:pt x="282" y="123"/>
                  </a:lnTo>
                  <a:lnTo>
                    <a:pt x="288" y="136"/>
                  </a:lnTo>
                  <a:lnTo>
                    <a:pt x="299" y="142"/>
                  </a:lnTo>
                  <a:lnTo>
                    <a:pt x="311" y="151"/>
                  </a:lnTo>
                  <a:lnTo>
                    <a:pt x="321" y="159"/>
                  </a:lnTo>
                  <a:lnTo>
                    <a:pt x="326" y="169"/>
                  </a:lnTo>
                  <a:lnTo>
                    <a:pt x="338" y="180"/>
                  </a:lnTo>
                  <a:lnTo>
                    <a:pt x="353" y="178"/>
                  </a:lnTo>
                  <a:lnTo>
                    <a:pt x="376" y="178"/>
                  </a:lnTo>
                  <a:lnTo>
                    <a:pt x="397" y="178"/>
                  </a:lnTo>
                  <a:lnTo>
                    <a:pt x="417" y="178"/>
                  </a:lnTo>
                  <a:lnTo>
                    <a:pt x="438" y="180"/>
                  </a:lnTo>
                  <a:lnTo>
                    <a:pt x="463" y="184"/>
                  </a:lnTo>
                  <a:lnTo>
                    <a:pt x="486" y="184"/>
                  </a:lnTo>
                  <a:lnTo>
                    <a:pt x="511" y="184"/>
                  </a:lnTo>
                  <a:lnTo>
                    <a:pt x="537" y="184"/>
                  </a:lnTo>
                  <a:lnTo>
                    <a:pt x="557" y="186"/>
                  </a:lnTo>
                  <a:lnTo>
                    <a:pt x="583" y="188"/>
                  </a:lnTo>
                  <a:lnTo>
                    <a:pt x="603" y="190"/>
                  </a:lnTo>
                  <a:lnTo>
                    <a:pt x="624" y="190"/>
                  </a:lnTo>
                  <a:lnTo>
                    <a:pt x="658" y="194"/>
                  </a:lnTo>
                  <a:lnTo>
                    <a:pt x="678" y="194"/>
                  </a:lnTo>
                  <a:lnTo>
                    <a:pt x="699" y="194"/>
                  </a:lnTo>
                  <a:lnTo>
                    <a:pt x="722" y="198"/>
                  </a:lnTo>
                  <a:lnTo>
                    <a:pt x="741" y="198"/>
                  </a:lnTo>
                  <a:lnTo>
                    <a:pt x="756" y="201"/>
                  </a:lnTo>
                  <a:lnTo>
                    <a:pt x="775" y="201"/>
                  </a:lnTo>
                  <a:lnTo>
                    <a:pt x="775" y="209"/>
                  </a:lnTo>
                  <a:lnTo>
                    <a:pt x="773" y="215"/>
                  </a:lnTo>
                  <a:lnTo>
                    <a:pt x="770" y="224"/>
                  </a:lnTo>
                  <a:lnTo>
                    <a:pt x="764" y="232"/>
                  </a:lnTo>
                  <a:lnTo>
                    <a:pt x="758" y="242"/>
                  </a:lnTo>
                  <a:lnTo>
                    <a:pt x="756" y="253"/>
                  </a:lnTo>
                  <a:lnTo>
                    <a:pt x="752" y="263"/>
                  </a:lnTo>
                  <a:lnTo>
                    <a:pt x="754" y="274"/>
                  </a:lnTo>
                  <a:lnTo>
                    <a:pt x="749" y="282"/>
                  </a:lnTo>
                  <a:lnTo>
                    <a:pt x="750" y="293"/>
                  </a:lnTo>
                  <a:lnTo>
                    <a:pt x="756" y="299"/>
                  </a:lnTo>
                  <a:lnTo>
                    <a:pt x="756" y="307"/>
                  </a:lnTo>
                  <a:lnTo>
                    <a:pt x="752" y="315"/>
                  </a:lnTo>
                  <a:lnTo>
                    <a:pt x="750" y="322"/>
                  </a:lnTo>
                  <a:lnTo>
                    <a:pt x="749" y="332"/>
                  </a:lnTo>
                  <a:lnTo>
                    <a:pt x="752" y="341"/>
                  </a:lnTo>
                  <a:lnTo>
                    <a:pt x="752" y="353"/>
                  </a:lnTo>
                  <a:lnTo>
                    <a:pt x="750" y="364"/>
                  </a:lnTo>
                  <a:lnTo>
                    <a:pt x="752" y="378"/>
                  </a:lnTo>
                  <a:lnTo>
                    <a:pt x="750" y="387"/>
                  </a:lnTo>
                  <a:lnTo>
                    <a:pt x="749" y="399"/>
                  </a:lnTo>
                  <a:lnTo>
                    <a:pt x="749" y="412"/>
                  </a:lnTo>
                  <a:lnTo>
                    <a:pt x="750" y="418"/>
                  </a:lnTo>
                  <a:lnTo>
                    <a:pt x="756" y="420"/>
                  </a:lnTo>
                  <a:lnTo>
                    <a:pt x="760" y="418"/>
                  </a:lnTo>
                  <a:lnTo>
                    <a:pt x="762" y="420"/>
                  </a:lnTo>
                  <a:lnTo>
                    <a:pt x="758" y="430"/>
                  </a:lnTo>
                  <a:lnTo>
                    <a:pt x="756" y="437"/>
                  </a:lnTo>
                  <a:lnTo>
                    <a:pt x="756" y="443"/>
                  </a:lnTo>
                  <a:lnTo>
                    <a:pt x="750" y="453"/>
                  </a:lnTo>
                  <a:lnTo>
                    <a:pt x="747" y="462"/>
                  </a:lnTo>
                  <a:lnTo>
                    <a:pt x="741" y="468"/>
                  </a:lnTo>
                  <a:lnTo>
                    <a:pt x="735" y="476"/>
                  </a:lnTo>
                  <a:lnTo>
                    <a:pt x="735" y="487"/>
                  </a:lnTo>
                  <a:lnTo>
                    <a:pt x="735" y="499"/>
                  </a:lnTo>
                  <a:lnTo>
                    <a:pt x="735" y="512"/>
                  </a:lnTo>
                  <a:lnTo>
                    <a:pt x="727" y="522"/>
                  </a:lnTo>
                  <a:lnTo>
                    <a:pt x="725" y="535"/>
                  </a:lnTo>
                  <a:lnTo>
                    <a:pt x="722" y="547"/>
                  </a:lnTo>
                  <a:lnTo>
                    <a:pt x="720" y="558"/>
                  </a:lnTo>
                  <a:lnTo>
                    <a:pt x="714" y="564"/>
                  </a:lnTo>
                  <a:lnTo>
                    <a:pt x="704" y="570"/>
                  </a:lnTo>
                  <a:lnTo>
                    <a:pt x="697" y="572"/>
                  </a:lnTo>
                  <a:lnTo>
                    <a:pt x="693" y="575"/>
                  </a:lnTo>
                  <a:lnTo>
                    <a:pt x="689" y="581"/>
                  </a:lnTo>
                  <a:lnTo>
                    <a:pt x="687" y="591"/>
                  </a:lnTo>
                  <a:lnTo>
                    <a:pt x="681" y="600"/>
                  </a:lnTo>
                  <a:lnTo>
                    <a:pt x="679" y="606"/>
                  </a:lnTo>
                  <a:lnTo>
                    <a:pt x="674" y="616"/>
                  </a:lnTo>
                  <a:lnTo>
                    <a:pt x="668" y="622"/>
                  </a:lnTo>
                  <a:lnTo>
                    <a:pt x="666" y="629"/>
                  </a:lnTo>
                  <a:lnTo>
                    <a:pt x="658" y="633"/>
                  </a:lnTo>
                  <a:lnTo>
                    <a:pt x="643" y="635"/>
                  </a:lnTo>
                  <a:lnTo>
                    <a:pt x="637" y="635"/>
                  </a:lnTo>
                  <a:lnTo>
                    <a:pt x="637" y="645"/>
                  </a:lnTo>
                  <a:lnTo>
                    <a:pt x="633" y="648"/>
                  </a:lnTo>
                  <a:lnTo>
                    <a:pt x="628" y="656"/>
                  </a:lnTo>
                  <a:lnTo>
                    <a:pt x="626" y="664"/>
                  </a:lnTo>
                  <a:lnTo>
                    <a:pt x="622" y="673"/>
                  </a:lnTo>
                  <a:lnTo>
                    <a:pt x="618" y="681"/>
                  </a:lnTo>
                  <a:lnTo>
                    <a:pt x="614" y="685"/>
                  </a:lnTo>
                  <a:lnTo>
                    <a:pt x="608" y="691"/>
                  </a:lnTo>
                  <a:lnTo>
                    <a:pt x="603" y="698"/>
                  </a:lnTo>
                  <a:lnTo>
                    <a:pt x="597" y="702"/>
                  </a:lnTo>
                  <a:lnTo>
                    <a:pt x="589" y="702"/>
                  </a:lnTo>
                  <a:lnTo>
                    <a:pt x="582" y="702"/>
                  </a:lnTo>
                  <a:lnTo>
                    <a:pt x="582" y="710"/>
                  </a:lnTo>
                  <a:lnTo>
                    <a:pt x="582" y="723"/>
                  </a:lnTo>
                  <a:lnTo>
                    <a:pt x="580" y="733"/>
                  </a:lnTo>
                  <a:lnTo>
                    <a:pt x="576" y="739"/>
                  </a:lnTo>
                  <a:lnTo>
                    <a:pt x="580" y="746"/>
                  </a:lnTo>
                  <a:lnTo>
                    <a:pt x="580" y="762"/>
                  </a:lnTo>
                  <a:lnTo>
                    <a:pt x="583" y="767"/>
                  </a:lnTo>
                  <a:lnTo>
                    <a:pt x="587" y="785"/>
                  </a:lnTo>
                  <a:lnTo>
                    <a:pt x="589" y="796"/>
                  </a:lnTo>
                  <a:lnTo>
                    <a:pt x="593" y="806"/>
                  </a:lnTo>
                  <a:lnTo>
                    <a:pt x="597" y="81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/>
            </a:p>
          </p:txBody>
        </p:sp>
        <p:sp>
          <p:nvSpPr>
            <p:cNvPr id="125" name="Freeform 10"/>
            <p:cNvSpPr>
              <a:spLocks/>
            </p:cNvSpPr>
            <p:nvPr/>
          </p:nvSpPr>
          <p:spPr bwMode="auto">
            <a:xfrm>
              <a:off x="5626513" y="3518041"/>
              <a:ext cx="939634" cy="952535"/>
            </a:xfrm>
            <a:custGeom>
              <a:avLst/>
              <a:gdLst>
                <a:gd name="T0" fmla="*/ 460 w 481"/>
                <a:gd name="T1" fmla="*/ 222 h 489"/>
                <a:gd name="T2" fmla="*/ 439 w 481"/>
                <a:gd name="T3" fmla="*/ 259 h 489"/>
                <a:gd name="T4" fmla="*/ 420 w 481"/>
                <a:gd name="T5" fmla="*/ 303 h 489"/>
                <a:gd name="T6" fmla="*/ 393 w 481"/>
                <a:gd name="T7" fmla="*/ 349 h 489"/>
                <a:gd name="T8" fmla="*/ 349 w 481"/>
                <a:gd name="T9" fmla="*/ 376 h 489"/>
                <a:gd name="T10" fmla="*/ 307 w 481"/>
                <a:gd name="T11" fmla="*/ 408 h 489"/>
                <a:gd name="T12" fmla="*/ 286 w 481"/>
                <a:gd name="T13" fmla="*/ 466 h 489"/>
                <a:gd name="T14" fmla="*/ 255 w 481"/>
                <a:gd name="T15" fmla="*/ 477 h 489"/>
                <a:gd name="T16" fmla="*/ 215 w 481"/>
                <a:gd name="T17" fmla="*/ 473 h 489"/>
                <a:gd name="T18" fmla="*/ 184 w 481"/>
                <a:gd name="T19" fmla="*/ 470 h 489"/>
                <a:gd name="T20" fmla="*/ 178 w 481"/>
                <a:gd name="T21" fmla="*/ 431 h 489"/>
                <a:gd name="T22" fmla="*/ 169 w 481"/>
                <a:gd name="T23" fmla="*/ 391 h 489"/>
                <a:gd name="T24" fmla="*/ 169 w 481"/>
                <a:gd name="T25" fmla="*/ 362 h 489"/>
                <a:gd name="T26" fmla="*/ 136 w 481"/>
                <a:gd name="T27" fmla="*/ 356 h 489"/>
                <a:gd name="T28" fmla="*/ 124 w 481"/>
                <a:gd name="T29" fmla="*/ 353 h 489"/>
                <a:gd name="T30" fmla="*/ 100 w 481"/>
                <a:gd name="T31" fmla="*/ 360 h 489"/>
                <a:gd name="T32" fmla="*/ 53 w 481"/>
                <a:gd name="T33" fmla="*/ 351 h 489"/>
                <a:gd name="T34" fmla="*/ 23 w 481"/>
                <a:gd name="T35" fmla="*/ 345 h 489"/>
                <a:gd name="T36" fmla="*/ 23 w 481"/>
                <a:gd name="T37" fmla="*/ 308 h 489"/>
                <a:gd name="T38" fmla="*/ 21 w 481"/>
                <a:gd name="T39" fmla="*/ 270 h 489"/>
                <a:gd name="T40" fmla="*/ 13 w 481"/>
                <a:gd name="T41" fmla="*/ 236 h 489"/>
                <a:gd name="T42" fmla="*/ 2 w 481"/>
                <a:gd name="T43" fmla="*/ 212 h 489"/>
                <a:gd name="T44" fmla="*/ 13 w 481"/>
                <a:gd name="T45" fmla="*/ 191 h 489"/>
                <a:gd name="T46" fmla="*/ 9 w 481"/>
                <a:gd name="T47" fmla="*/ 168 h 489"/>
                <a:gd name="T48" fmla="*/ 17 w 481"/>
                <a:gd name="T49" fmla="*/ 145 h 489"/>
                <a:gd name="T50" fmla="*/ 25 w 481"/>
                <a:gd name="T51" fmla="*/ 113 h 489"/>
                <a:gd name="T52" fmla="*/ 29 w 481"/>
                <a:gd name="T53" fmla="*/ 86 h 489"/>
                <a:gd name="T54" fmla="*/ 29 w 481"/>
                <a:gd name="T55" fmla="*/ 63 h 489"/>
                <a:gd name="T56" fmla="*/ 17 w 481"/>
                <a:gd name="T57" fmla="*/ 49 h 489"/>
                <a:gd name="T58" fmla="*/ 17 w 481"/>
                <a:gd name="T59" fmla="*/ 32 h 489"/>
                <a:gd name="T60" fmla="*/ 42 w 481"/>
                <a:gd name="T61" fmla="*/ 36 h 489"/>
                <a:gd name="T62" fmla="*/ 69 w 481"/>
                <a:gd name="T63" fmla="*/ 30 h 489"/>
                <a:gd name="T64" fmla="*/ 88 w 481"/>
                <a:gd name="T65" fmla="*/ 17 h 489"/>
                <a:gd name="T66" fmla="*/ 105 w 481"/>
                <a:gd name="T67" fmla="*/ 5 h 489"/>
                <a:gd name="T68" fmla="*/ 130 w 481"/>
                <a:gd name="T69" fmla="*/ 0 h 489"/>
                <a:gd name="T70" fmla="*/ 153 w 481"/>
                <a:gd name="T71" fmla="*/ 7 h 489"/>
                <a:gd name="T72" fmla="*/ 184 w 481"/>
                <a:gd name="T73" fmla="*/ 17 h 489"/>
                <a:gd name="T74" fmla="*/ 209 w 481"/>
                <a:gd name="T75" fmla="*/ 19 h 489"/>
                <a:gd name="T76" fmla="*/ 234 w 481"/>
                <a:gd name="T77" fmla="*/ 19 h 489"/>
                <a:gd name="T78" fmla="*/ 251 w 481"/>
                <a:gd name="T79" fmla="*/ 15 h 489"/>
                <a:gd name="T80" fmla="*/ 274 w 481"/>
                <a:gd name="T81" fmla="*/ 21 h 489"/>
                <a:gd name="T82" fmla="*/ 293 w 481"/>
                <a:gd name="T83" fmla="*/ 24 h 489"/>
                <a:gd name="T84" fmla="*/ 314 w 481"/>
                <a:gd name="T85" fmla="*/ 42 h 489"/>
                <a:gd name="T86" fmla="*/ 332 w 481"/>
                <a:gd name="T87" fmla="*/ 65 h 489"/>
                <a:gd name="T88" fmla="*/ 351 w 481"/>
                <a:gd name="T89" fmla="*/ 76 h 489"/>
                <a:gd name="T90" fmla="*/ 366 w 481"/>
                <a:gd name="T91" fmla="*/ 95 h 489"/>
                <a:gd name="T92" fmla="*/ 389 w 481"/>
                <a:gd name="T93" fmla="*/ 107 h 489"/>
                <a:gd name="T94" fmla="*/ 410 w 481"/>
                <a:gd name="T95" fmla="*/ 120 h 489"/>
                <a:gd name="T96" fmla="*/ 437 w 481"/>
                <a:gd name="T97" fmla="*/ 124 h 489"/>
                <a:gd name="T98" fmla="*/ 449 w 481"/>
                <a:gd name="T99" fmla="*/ 134 h 489"/>
                <a:gd name="T100" fmla="*/ 468 w 481"/>
                <a:gd name="T101" fmla="*/ 138 h 489"/>
                <a:gd name="T102" fmla="*/ 481 w 481"/>
                <a:gd name="T103" fmla="*/ 157 h 489"/>
                <a:gd name="T104" fmla="*/ 476 w 481"/>
                <a:gd name="T105" fmla="*/ 174 h 489"/>
                <a:gd name="T106" fmla="*/ 481 w 481"/>
                <a:gd name="T107" fmla="*/ 195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81" h="489">
                  <a:moveTo>
                    <a:pt x="476" y="207"/>
                  </a:moveTo>
                  <a:lnTo>
                    <a:pt x="474" y="212"/>
                  </a:lnTo>
                  <a:lnTo>
                    <a:pt x="470" y="218"/>
                  </a:lnTo>
                  <a:lnTo>
                    <a:pt x="464" y="220"/>
                  </a:lnTo>
                  <a:lnTo>
                    <a:pt x="460" y="222"/>
                  </a:lnTo>
                  <a:lnTo>
                    <a:pt x="455" y="228"/>
                  </a:lnTo>
                  <a:lnTo>
                    <a:pt x="449" y="236"/>
                  </a:lnTo>
                  <a:lnTo>
                    <a:pt x="445" y="241"/>
                  </a:lnTo>
                  <a:lnTo>
                    <a:pt x="441" y="251"/>
                  </a:lnTo>
                  <a:lnTo>
                    <a:pt x="439" y="259"/>
                  </a:lnTo>
                  <a:lnTo>
                    <a:pt x="435" y="268"/>
                  </a:lnTo>
                  <a:lnTo>
                    <a:pt x="430" y="278"/>
                  </a:lnTo>
                  <a:lnTo>
                    <a:pt x="424" y="285"/>
                  </a:lnTo>
                  <a:lnTo>
                    <a:pt x="424" y="295"/>
                  </a:lnTo>
                  <a:lnTo>
                    <a:pt x="420" y="303"/>
                  </a:lnTo>
                  <a:lnTo>
                    <a:pt x="412" y="310"/>
                  </a:lnTo>
                  <a:lnTo>
                    <a:pt x="408" y="320"/>
                  </a:lnTo>
                  <a:lnTo>
                    <a:pt x="405" y="330"/>
                  </a:lnTo>
                  <a:lnTo>
                    <a:pt x="399" y="339"/>
                  </a:lnTo>
                  <a:lnTo>
                    <a:pt x="393" y="349"/>
                  </a:lnTo>
                  <a:lnTo>
                    <a:pt x="385" y="356"/>
                  </a:lnTo>
                  <a:lnTo>
                    <a:pt x="376" y="362"/>
                  </a:lnTo>
                  <a:lnTo>
                    <a:pt x="364" y="364"/>
                  </a:lnTo>
                  <a:lnTo>
                    <a:pt x="357" y="368"/>
                  </a:lnTo>
                  <a:lnTo>
                    <a:pt x="349" y="376"/>
                  </a:lnTo>
                  <a:lnTo>
                    <a:pt x="343" y="381"/>
                  </a:lnTo>
                  <a:lnTo>
                    <a:pt x="336" y="393"/>
                  </a:lnTo>
                  <a:lnTo>
                    <a:pt x="322" y="397"/>
                  </a:lnTo>
                  <a:lnTo>
                    <a:pt x="311" y="402"/>
                  </a:lnTo>
                  <a:lnTo>
                    <a:pt x="307" y="408"/>
                  </a:lnTo>
                  <a:lnTo>
                    <a:pt x="309" y="420"/>
                  </a:lnTo>
                  <a:lnTo>
                    <a:pt x="301" y="431"/>
                  </a:lnTo>
                  <a:lnTo>
                    <a:pt x="295" y="441"/>
                  </a:lnTo>
                  <a:lnTo>
                    <a:pt x="290" y="456"/>
                  </a:lnTo>
                  <a:lnTo>
                    <a:pt x="286" y="466"/>
                  </a:lnTo>
                  <a:lnTo>
                    <a:pt x="278" y="477"/>
                  </a:lnTo>
                  <a:lnTo>
                    <a:pt x="268" y="487"/>
                  </a:lnTo>
                  <a:lnTo>
                    <a:pt x="268" y="489"/>
                  </a:lnTo>
                  <a:lnTo>
                    <a:pt x="263" y="481"/>
                  </a:lnTo>
                  <a:lnTo>
                    <a:pt x="255" y="477"/>
                  </a:lnTo>
                  <a:lnTo>
                    <a:pt x="243" y="473"/>
                  </a:lnTo>
                  <a:lnTo>
                    <a:pt x="236" y="470"/>
                  </a:lnTo>
                  <a:lnTo>
                    <a:pt x="228" y="473"/>
                  </a:lnTo>
                  <a:lnTo>
                    <a:pt x="219" y="471"/>
                  </a:lnTo>
                  <a:lnTo>
                    <a:pt x="215" y="473"/>
                  </a:lnTo>
                  <a:lnTo>
                    <a:pt x="209" y="475"/>
                  </a:lnTo>
                  <a:lnTo>
                    <a:pt x="205" y="479"/>
                  </a:lnTo>
                  <a:lnTo>
                    <a:pt x="197" y="479"/>
                  </a:lnTo>
                  <a:lnTo>
                    <a:pt x="190" y="475"/>
                  </a:lnTo>
                  <a:lnTo>
                    <a:pt x="184" y="470"/>
                  </a:lnTo>
                  <a:lnTo>
                    <a:pt x="182" y="466"/>
                  </a:lnTo>
                  <a:lnTo>
                    <a:pt x="184" y="456"/>
                  </a:lnTo>
                  <a:lnTo>
                    <a:pt x="186" y="447"/>
                  </a:lnTo>
                  <a:lnTo>
                    <a:pt x="184" y="439"/>
                  </a:lnTo>
                  <a:lnTo>
                    <a:pt x="178" y="431"/>
                  </a:lnTo>
                  <a:lnTo>
                    <a:pt x="176" y="422"/>
                  </a:lnTo>
                  <a:lnTo>
                    <a:pt x="174" y="414"/>
                  </a:lnTo>
                  <a:lnTo>
                    <a:pt x="172" y="406"/>
                  </a:lnTo>
                  <a:lnTo>
                    <a:pt x="171" y="399"/>
                  </a:lnTo>
                  <a:lnTo>
                    <a:pt x="169" y="391"/>
                  </a:lnTo>
                  <a:lnTo>
                    <a:pt x="172" y="389"/>
                  </a:lnTo>
                  <a:lnTo>
                    <a:pt x="180" y="387"/>
                  </a:lnTo>
                  <a:lnTo>
                    <a:pt x="174" y="379"/>
                  </a:lnTo>
                  <a:lnTo>
                    <a:pt x="172" y="370"/>
                  </a:lnTo>
                  <a:lnTo>
                    <a:pt x="169" y="362"/>
                  </a:lnTo>
                  <a:lnTo>
                    <a:pt x="161" y="358"/>
                  </a:lnTo>
                  <a:lnTo>
                    <a:pt x="153" y="358"/>
                  </a:lnTo>
                  <a:lnTo>
                    <a:pt x="149" y="362"/>
                  </a:lnTo>
                  <a:lnTo>
                    <a:pt x="140" y="362"/>
                  </a:lnTo>
                  <a:lnTo>
                    <a:pt x="136" y="356"/>
                  </a:lnTo>
                  <a:lnTo>
                    <a:pt x="134" y="351"/>
                  </a:lnTo>
                  <a:lnTo>
                    <a:pt x="132" y="347"/>
                  </a:lnTo>
                  <a:lnTo>
                    <a:pt x="128" y="347"/>
                  </a:lnTo>
                  <a:lnTo>
                    <a:pt x="124" y="349"/>
                  </a:lnTo>
                  <a:lnTo>
                    <a:pt x="124" y="353"/>
                  </a:lnTo>
                  <a:lnTo>
                    <a:pt x="123" y="354"/>
                  </a:lnTo>
                  <a:lnTo>
                    <a:pt x="121" y="360"/>
                  </a:lnTo>
                  <a:lnTo>
                    <a:pt x="113" y="364"/>
                  </a:lnTo>
                  <a:lnTo>
                    <a:pt x="107" y="362"/>
                  </a:lnTo>
                  <a:lnTo>
                    <a:pt x="100" y="360"/>
                  </a:lnTo>
                  <a:lnTo>
                    <a:pt x="86" y="356"/>
                  </a:lnTo>
                  <a:lnTo>
                    <a:pt x="80" y="353"/>
                  </a:lnTo>
                  <a:lnTo>
                    <a:pt x="75" y="353"/>
                  </a:lnTo>
                  <a:lnTo>
                    <a:pt x="63" y="353"/>
                  </a:lnTo>
                  <a:lnTo>
                    <a:pt x="53" y="351"/>
                  </a:lnTo>
                  <a:lnTo>
                    <a:pt x="44" y="351"/>
                  </a:lnTo>
                  <a:lnTo>
                    <a:pt x="32" y="353"/>
                  </a:lnTo>
                  <a:lnTo>
                    <a:pt x="27" y="353"/>
                  </a:lnTo>
                  <a:lnTo>
                    <a:pt x="23" y="351"/>
                  </a:lnTo>
                  <a:lnTo>
                    <a:pt x="23" y="345"/>
                  </a:lnTo>
                  <a:lnTo>
                    <a:pt x="25" y="337"/>
                  </a:lnTo>
                  <a:lnTo>
                    <a:pt x="29" y="330"/>
                  </a:lnTo>
                  <a:lnTo>
                    <a:pt x="23" y="326"/>
                  </a:lnTo>
                  <a:lnTo>
                    <a:pt x="21" y="316"/>
                  </a:lnTo>
                  <a:lnTo>
                    <a:pt x="23" y="308"/>
                  </a:lnTo>
                  <a:lnTo>
                    <a:pt x="25" y="299"/>
                  </a:lnTo>
                  <a:lnTo>
                    <a:pt x="27" y="291"/>
                  </a:lnTo>
                  <a:lnTo>
                    <a:pt x="23" y="285"/>
                  </a:lnTo>
                  <a:lnTo>
                    <a:pt x="21" y="280"/>
                  </a:lnTo>
                  <a:lnTo>
                    <a:pt x="21" y="270"/>
                  </a:lnTo>
                  <a:lnTo>
                    <a:pt x="19" y="260"/>
                  </a:lnTo>
                  <a:lnTo>
                    <a:pt x="23" y="255"/>
                  </a:lnTo>
                  <a:lnTo>
                    <a:pt x="19" y="249"/>
                  </a:lnTo>
                  <a:lnTo>
                    <a:pt x="17" y="241"/>
                  </a:lnTo>
                  <a:lnTo>
                    <a:pt x="13" y="236"/>
                  </a:lnTo>
                  <a:lnTo>
                    <a:pt x="9" y="232"/>
                  </a:lnTo>
                  <a:lnTo>
                    <a:pt x="6" y="226"/>
                  </a:lnTo>
                  <a:lnTo>
                    <a:pt x="9" y="220"/>
                  </a:lnTo>
                  <a:lnTo>
                    <a:pt x="9" y="216"/>
                  </a:lnTo>
                  <a:lnTo>
                    <a:pt x="2" y="212"/>
                  </a:lnTo>
                  <a:lnTo>
                    <a:pt x="0" y="207"/>
                  </a:lnTo>
                  <a:lnTo>
                    <a:pt x="2" y="203"/>
                  </a:lnTo>
                  <a:lnTo>
                    <a:pt x="11" y="201"/>
                  </a:lnTo>
                  <a:lnTo>
                    <a:pt x="13" y="197"/>
                  </a:lnTo>
                  <a:lnTo>
                    <a:pt x="13" y="191"/>
                  </a:lnTo>
                  <a:lnTo>
                    <a:pt x="13" y="184"/>
                  </a:lnTo>
                  <a:lnTo>
                    <a:pt x="11" y="180"/>
                  </a:lnTo>
                  <a:lnTo>
                    <a:pt x="7" y="176"/>
                  </a:lnTo>
                  <a:lnTo>
                    <a:pt x="7" y="170"/>
                  </a:lnTo>
                  <a:lnTo>
                    <a:pt x="9" y="168"/>
                  </a:lnTo>
                  <a:lnTo>
                    <a:pt x="13" y="166"/>
                  </a:lnTo>
                  <a:lnTo>
                    <a:pt x="15" y="161"/>
                  </a:lnTo>
                  <a:lnTo>
                    <a:pt x="15" y="153"/>
                  </a:lnTo>
                  <a:lnTo>
                    <a:pt x="15" y="149"/>
                  </a:lnTo>
                  <a:lnTo>
                    <a:pt x="17" y="145"/>
                  </a:lnTo>
                  <a:lnTo>
                    <a:pt x="21" y="140"/>
                  </a:lnTo>
                  <a:lnTo>
                    <a:pt x="23" y="136"/>
                  </a:lnTo>
                  <a:lnTo>
                    <a:pt x="25" y="126"/>
                  </a:lnTo>
                  <a:lnTo>
                    <a:pt x="25" y="120"/>
                  </a:lnTo>
                  <a:lnTo>
                    <a:pt x="25" y="113"/>
                  </a:lnTo>
                  <a:lnTo>
                    <a:pt x="27" y="107"/>
                  </a:lnTo>
                  <a:lnTo>
                    <a:pt x="27" y="101"/>
                  </a:lnTo>
                  <a:lnTo>
                    <a:pt x="27" y="97"/>
                  </a:lnTo>
                  <a:lnTo>
                    <a:pt x="29" y="90"/>
                  </a:lnTo>
                  <a:lnTo>
                    <a:pt x="29" y="86"/>
                  </a:lnTo>
                  <a:lnTo>
                    <a:pt x="30" y="80"/>
                  </a:lnTo>
                  <a:lnTo>
                    <a:pt x="32" y="76"/>
                  </a:lnTo>
                  <a:lnTo>
                    <a:pt x="32" y="72"/>
                  </a:lnTo>
                  <a:lnTo>
                    <a:pt x="30" y="67"/>
                  </a:lnTo>
                  <a:lnTo>
                    <a:pt x="29" y="63"/>
                  </a:lnTo>
                  <a:lnTo>
                    <a:pt x="27" y="61"/>
                  </a:lnTo>
                  <a:lnTo>
                    <a:pt x="25" y="57"/>
                  </a:lnTo>
                  <a:lnTo>
                    <a:pt x="25" y="53"/>
                  </a:lnTo>
                  <a:lnTo>
                    <a:pt x="21" y="51"/>
                  </a:lnTo>
                  <a:lnTo>
                    <a:pt x="17" y="49"/>
                  </a:lnTo>
                  <a:lnTo>
                    <a:pt x="15" y="46"/>
                  </a:lnTo>
                  <a:lnTo>
                    <a:pt x="15" y="44"/>
                  </a:lnTo>
                  <a:lnTo>
                    <a:pt x="13" y="38"/>
                  </a:lnTo>
                  <a:lnTo>
                    <a:pt x="15" y="36"/>
                  </a:lnTo>
                  <a:lnTo>
                    <a:pt x="17" y="32"/>
                  </a:lnTo>
                  <a:lnTo>
                    <a:pt x="23" y="30"/>
                  </a:lnTo>
                  <a:lnTo>
                    <a:pt x="27" y="30"/>
                  </a:lnTo>
                  <a:lnTo>
                    <a:pt x="30" y="30"/>
                  </a:lnTo>
                  <a:lnTo>
                    <a:pt x="34" y="34"/>
                  </a:lnTo>
                  <a:lnTo>
                    <a:pt x="42" y="36"/>
                  </a:lnTo>
                  <a:lnTo>
                    <a:pt x="46" y="36"/>
                  </a:lnTo>
                  <a:lnTo>
                    <a:pt x="53" y="38"/>
                  </a:lnTo>
                  <a:lnTo>
                    <a:pt x="57" y="36"/>
                  </a:lnTo>
                  <a:lnTo>
                    <a:pt x="65" y="32"/>
                  </a:lnTo>
                  <a:lnTo>
                    <a:pt x="69" y="30"/>
                  </a:lnTo>
                  <a:lnTo>
                    <a:pt x="73" y="30"/>
                  </a:lnTo>
                  <a:lnTo>
                    <a:pt x="75" y="28"/>
                  </a:lnTo>
                  <a:lnTo>
                    <a:pt x="78" y="24"/>
                  </a:lnTo>
                  <a:lnTo>
                    <a:pt x="82" y="21"/>
                  </a:lnTo>
                  <a:lnTo>
                    <a:pt x="88" y="17"/>
                  </a:lnTo>
                  <a:lnTo>
                    <a:pt x="90" y="15"/>
                  </a:lnTo>
                  <a:lnTo>
                    <a:pt x="94" y="11"/>
                  </a:lnTo>
                  <a:lnTo>
                    <a:pt x="98" y="7"/>
                  </a:lnTo>
                  <a:lnTo>
                    <a:pt x="103" y="7"/>
                  </a:lnTo>
                  <a:lnTo>
                    <a:pt x="105" y="5"/>
                  </a:lnTo>
                  <a:lnTo>
                    <a:pt x="111" y="3"/>
                  </a:lnTo>
                  <a:lnTo>
                    <a:pt x="115" y="1"/>
                  </a:lnTo>
                  <a:lnTo>
                    <a:pt x="121" y="0"/>
                  </a:lnTo>
                  <a:lnTo>
                    <a:pt x="124" y="0"/>
                  </a:lnTo>
                  <a:lnTo>
                    <a:pt x="130" y="0"/>
                  </a:lnTo>
                  <a:lnTo>
                    <a:pt x="134" y="0"/>
                  </a:lnTo>
                  <a:lnTo>
                    <a:pt x="140" y="1"/>
                  </a:lnTo>
                  <a:lnTo>
                    <a:pt x="144" y="3"/>
                  </a:lnTo>
                  <a:lnTo>
                    <a:pt x="149" y="5"/>
                  </a:lnTo>
                  <a:lnTo>
                    <a:pt x="153" y="7"/>
                  </a:lnTo>
                  <a:lnTo>
                    <a:pt x="159" y="7"/>
                  </a:lnTo>
                  <a:lnTo>
                    <a:pt x="167" y="11"/>
                  </a:lnTo>
                  <a:lnTo>
                    <a:pt x="172" y="13"/>
                  </a:lnTo>
                  <a:lnTo>
                    <a:pt x="178" y="15"/>
                  </a:lnTo>
                  <a:lnTo>
                    <a:pt x="184" y="17"/>
                  </a:lnTo>
                  <a:lnTo>
                    <a:pt x="188" y="19"/>
                  </a:lnTo>
                  <a:lnTo>
                    <a:pt x="194" y="21"/>
                  </a:lnTo>
                  <a:lnTo>
                    <a:pt x="199" y="21"/>
                  </a:lnTo>
                  <a:lnTo>
                    <a:pt x="203" y="19"/>
                  </a:lnTo>
                  <a:lnTo>
                    <a:pt x="209" y="19"/>
                  </a:lnTo>
                  <a:lnTo>
                    <a:pt x="215" y="17"/>
                  </a:lnTo>
                  <a:lnTo>
                    <a:pt x="220" y="19"/>
                  </a:lnTo>
                  <a:lnTo>
                    <a:pt x="228" y="17"/>
                  </a:lnTo>
                  <a:lnTo>
                    <a:pt x="230" y="17"/>
                  </a:lnTo>
                  <a:lnTo>
                    <a:pt x="234" y="19"/>
                  </a:lnTo>
                  <a:lnTo>
                    <a:pt x="236" y="21"/>
                  </a:lnTo>
                  <a:lnTo>
                    <a:pt x="242" y="23"/>
                  </a:lnTo>
                  <a:lnTo>
                    <a:pt x="245" y="21"/>
                  </a:lnTo>
                  <a:lnTo>
                    <a:pt x="247" y="17"/>
                  </a:lnTo>
                  <a:lnTo>
                    <a:pt x="251" y="15"/>
                  </a:lnTo>
                  <a:lnTo>
                    <a:pt x="255" y="15"/>
                  </a:lnTo>
                  <a:lnTo>
                    <a:pt x="263" y="15"/>
                  </a:lnTo>
                  <a:lnTo>
                    <a:pt x="266" y="15"/>
                  </a:lnTo>
                  <a:lnTo>
                    <a:pt x="270" y="19"/>
                  </a:lnTo>
                  <a:lnTo>
                    <a:pt x="274" y="21"/>
                  </a:lnTo>
                  <a:lnTo>
                    <a:pt x="278" y="23"/>
                  </a:lnTo>
                  <a:lnTo>
                    <a:pt x="282" y="21"/>
                  </a:lnTo>
                  <a:lnTo>
                    <a:pt x="284" y="21"/>
                  </a:lnTo>
                  <a:lnTo>
                    <a:pt x="288" y="21"/>
                  </a:lnTo>
                  <a:lnTo>
                    <a:pt x="293" y="24"/>
                  </a:lnTo>
                  <a:lnTo>
                    <a:pt x="297" y="28"/>
                  </a:lnTo>
                  <a:lnTo>
                    <a:pt x="301" y="32"/>
                  </a:lnTo>
                  <a:lnTo>
                    <a:pt x="305" y="36"/>
                  </a:lnTo>
                  <a:lnTo>
                    <a:pt x="311" y="38"/>
                  </a:lnTo>
                  <a:lnTo>
                    <a:pt x="314" y="42"/>
                  </a:lnTo>
                  <a:lnTo>
                    <a:pt x="318" y="46"/>
                  </a:lnTo>
                  <a:lnTo>
                    <a:pt x="320" y="51"/>
                  </a:lnTo>
                  <a:lnTo>
                    <a:pt x="324" y="55"/>
                  </a:lnTo>
                  <a:lnTo>
                    <a:pt x="328" y="59"/>
                  </a:lnTo>
                  <a:lnTo>
                    <a:pt x="332" y="65"/>
                  </a:lnTo>
                  <a:lnTo>
                    <a:pt x="336" y="69"/>
                  </a:lnTo>
                  <a:lnTo>
                    <a:pt x="341" y="72"/>
                  </a:lnTo>
                  <a:lnTo>
                    <a:pt x="343" y="72"/>
                  </a:lnTo>
                  <a:lnTo>
                    <a:pt x="347" y="74"/>
                  </a:lnTo>
                  <a:lnTo>
                    <a:pt x="351" y="76"/>
                  </a:lnTo>
                  <a:lnTo>
                    <a:pt x="355" y="80"/>
                  </a:lnTo>
                  <a:lnTo>
                    <a:pt x="357" y="84"/>
                  </a:lnTo>
                  <a:lnTo>
                    <a:pt x="359" y="86"/>
                  </a:lnTo>
                  <a:lnTo>
                    <a:pt x="362" y="90"/>
                  </a:lnTo>
                  <a:lnTo>
                    <a:pt x="366" y="95"/>
                  </a:lnTo>
                  <a:lnTo>
                    <a:pt x="372" y="97"/>
                  </a:lnTo>
                  <a:lnTo>
                    <a:pt x="376" y="101"/>
                  </a:lnTo>
                  <a:lnTo>
                    <a:pt x="380" y="105"/>
                  </a:lnTo>
                  <a:lnTo>
                    <a:pt x="385" y="107"/>
                  </a:lnTo>
                  <a:lnTo>
                    <a:pt x="389" y="107"/>
                  </a:lnTo>
                  <a:lnTo>
                    <a:pt x="393" y="111"/>
                  </a:lnTo>
                  <a:lnTo>
                    <a:pt x="399" y="115"/>
                  </a:lnTo>
                  <a:lnTo>
                    <a:pt x="403" y="117"/>
                  </a:lnTo>
                  <a:lnTo>
                    <a:pt x="407" y="117"/>
                  </a:lnTo>
                  <a:lnTo>
                    <a:pt x="410" y="120"/>
                  </a:lnTo>
                  <a:lnTo>
                    <a:pt x="416" y="124"/>
                  </a:lnTo>
                  <a:lnTo>
                    <a:pt x="420" y="124"/>
                  </a:lnTo>
                  <a:lnTo>
                    <a:pt x="424" y="124"/>
                  </a:lnTo>
                  <a:lnTo>
                    <a:pt x="432" y="124"/>
                  </a:lnTo>
                  <a:lnTo>
                    <a:pt x="437" y="124"/>
                  </a:lnTo>
                  <a:lnTo>
                    <a:pt x="441" y="124"/>
                  </a:lnTo>
                  <a:lnTo>
                    <a:pt x="443" y="124"/>
                  </a:lnTo>
                  <a:lnTo>
                    <a:pt x="445" y="128"/>
                  </a:lnTo>
                  <a:lnTo>
                    <a:pt x="447" y="130"/>
                  </a:lnTo>
                  <a:lnTo>
                    <a:pt x="449" y="134"/>
                  </a:lnTo>
                  <a:lnTo>
                    <a:pt x="453" y="136"/>
                  </a:lnTo>
                  <a:lnTo>
                    <a:pt x="456" y="136"/>
                  </a:lnTo>
                  <a:lnTo>
                    <a:pt x="460" y="136"/>
                  </a:lnTo>
                  <a:lnTo>
                    <a:pt x="464" y="136"/>
                  </a:lnTo>
                  <a:lnTo>
                    <a:pt x="468" y="138"/>
                  </a:lnTo>
                  <a:lnTo>
                    <a:pt x="470" y="140"/>
                  </a:lnTo>
                  <a:lnTo>
                    <a:pt x="474" y="143"/>
                  </a:lnTo>
                  <a:lnTo>
                    <a:pt x="476" y="147"/>
                  </a:lnTo>
                  <a:lnTo>
                    <a:pt x="478" y="151"/>
                  </a:lnTo>
                  <a:lnTo>
                    <a:pt x="481" y="157"/>
                  </a:lnTo>
                  <a:lnTo>
                    <a:pt x="479" y="161"/>
                  </a:lnTo>
                  <a:lnTo>
                    <a:pt x="476" y="165"/>
                  </a:lnTo>
                  <a:lnTo>
                    <a:pt x="476" y="166"/>
                  </a:lnTo>
                  <a:lnTo>
                    <a:pt x="476" y="170"/>
                  </a:lnTo>
                  <a:lnTo>
                    <a:pt x="476" y="174"/>
                  </a:lnTo>
                  <a:lnTo>
                    <a:pt x="476" y="178"/>
                  </a:lnTo>
                  <a:lnTo>
                    <a:pt x="478" y="182"/>
                  </a:lnTo>
                  <a:lnTo>
                    <a:pt x="481" y="186"/>
                  </a:lnTo>
                  <a:lnTo>
                    <a:pt x="481" y="191"/>
                  </a:lnTo>
                  <a:lnTo>
                    <a:pt x="481" y="195"/>
                  </a:lnTo>
                  <a:lnTo>
                    <a:pt x="481" y="199"/>
                  </a:lnTo>
                  <a:lnTo>
                    <a:pt x="479" y="201"/>
                  </a:lnTo>
                  <a:lnTo>
                    <a:pt x="476" y="20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146" name="Freeform 31"/>
          <p:cNvSpPr>
            <a:spLocks/>
          </p:cNvSpPr>
          <p:nvPr/>
        </p:nvSpPr>
        <p:spPr bwMode="auto">
          <a:xfrm>
            <a:off x="6897276" y="1271090"/>
            <a:ext cx="1182605" cy="2425416"/>
          </a:xfrm>
          <a:custGeom>
            <a:avLst/>
            <a:gdLst>
              <a:gd name="T0" fmla="*/ 580 w 605"/>
              <a:gd name="T1" fmla="*/ 1232 h 1249"/>
              <a:gd name="T2" fmla="*/ 555 w 605"/>
              <a:gd name="T3" fmla="*/ 1220 h 1249"/>
              <a:gd name="T4" fmla="*/ 561 w 605"/>
              <a:gd name="T5" fmla="*/ 1199 h 1249"/>
              <a:gd name="T6" fmla="*/ 557 w 605"/>
              <a:gd name="T7" fmla="*/ 1167 h 1249"/>
              <a:gd name="T8" fmla="*/ 575 w 605"/>
              <a:gd name="T9" fmla="*/ 1142 h 1249"/>
              <a:gd name="T10" fmla="*/ 582 w 605"/>
              <a:gd name="T11" fmla="*/ 1105 h 1249"/>
              <a:gd name="T12" fmla="*/ 579 w 605"/>
              <a:gd name="T13" fmla="*/ 1073 h 1249"/>
              <a:gd name="T14" fmla="*/ 555 w 605"/>
              <a:gd name="T15" fmla="*/ 1057 h 1249"/>
              <a:gd name="T16" fmla="*/ 519 w 605"/>
              <a:gd name="T17" fmla="*/ 1050 h 1249"/>
              <a:gd name="T18" fmla="*/ 482 w 605"/>
              <a:gd name="T19" fmla="*/ 1046 h 1249"/>
              <a:gd name="T20" fmla="*/ 463 w 605"/>
              <a:gd name="T21" fmla="*/ 1019 h 1249"/>
              <a:gd name="T22" fmla="*/ 438 w 605"/>
              <a:gd name="T23" fmla="*/ 1013 h 1249"/>
              <a:gd name="T24" fmla="*/ 408 w 605"/>
              <a:gd name="T25" fmla="*/ 1004 h 1249"/>
              <a:gd name="T26" fmla="*/ 386 w 605"/>
              <a:gd name="T27" fmla="*/ 981 h 1249"/>
              <a:gd name="T28" fmla="*/ 367 w 605"/>
              <a:gd name="T29" fmla="*/ 975 h 1249"/>
              <a:gd name="T30" fmla="*/ 333 w 605"/>
              <a:gd name="T31" fmla="*/ 971 h 1249"/>
              <a:gd name="T32" fmla="*/ 319 w 605"/>
              <a:gd name="T33" fmla="*/ 952 h 1249"/>
              <a:gd name="T34" fmla="*/ 310 w 605"/>
              <a:gd name="T35" fmla="*/ 940 h 1249"/>
              <a:gd name="T36" fmla="*/ 277 w 605"/>
              <a:gd name="T37" fmla="*/ 948 h 1249"/>
              <a:gd name="T38" fmla="*/ 237 w 605"/>
              <a:gd name="T39" fmla="*/ 967 h 1249"/>
              <a:gd name="T40" fmla="*/ 198 w 605"/>
              <a:gd name="T41" fmla="*/ 986 h 1249"/>
              <a:gd name="T42" fmla="*/ 166 w 605"/>
              <a:gd name="T43" fmla="*/ 996 h 1249"/>
              <a:gd name="T44" fmla="*/ 169 w 605"/>
              <a:gd name="T45" fmla="*/ 963 h 1249"/>
              <a:gd name="T46" fmla="*/ 162 w 605"/>
              <a:gd name="T47" fmla="*/ 931 h 1249"/>
              <a:gd name="T48" fmla="*/ 156 w 605"/>
              <a:gd name="T49" fmla="*/ 900 h 1249"/>
              <a:gd name="T50" fmla="*/ 160 w 605"/>
              <a:gd name="T51" fmla="*/ 873 h 1249"/>
              <a:gd name="T52" fmla="*/ 152 w 605"/>
              <a:gd name="T53" fmla="*/ 850 h 1249"/>
              <a:gd name="T54" fmla="*/ 154 w 605"/>
              <a:gd name="T55" fmla="*/ 819 h 1249"/>
              <a:gd name="T56" fmla="*/ 150 w 605"/>
              <a:gd name="T57" fmla="*/ 781 h 1249"/>
              <a:gd name="T58" fmla="*/ 156 w 605"/>
              <a:gd name="T59" fmla="*/ 754 h 1249"/>
              <a:gd name="T60" fmla="*/ 144 w 605"/>
              <a:gd name="T61" fmla="*/ 735 h 1249"/>
              <a:gd name="T62" fmla="*/ 143 w 605"/>
              <a:gd name="T63" fmla="*/ 708 h 1249"/>
              <a:gd name="T64" fmla="*/ 158 w 605"/>
              <a:gd name="T65" fmla="*/ 691 h 1249"/>
              <a:gd name="T66" fmla="*/ 179 w 605"/>
              <a:gd name="T67" fmla="*/ 679 h 1249"/>
              <a:gd name="T68" fmla="*/ 194 w 605"/>
              <a:gd name="T69" fmla="*/ 670 h 1249"/>
              <a:gd name="T70" fmla="*/ 169 w 605"/>
              <a:gd name="T71" fmla="*/ 668 h 1249"/>
              <a:gd name="T72" fmla="*/ 143 w 605"/>
              <a:gd name="T73" fmla="*/ 645 h 1249"/>
              <a:gd name="T74" fmla="*/ 131 w 605"/>
              <a:gd name="T75" fmla="*/ 602 h 1249"/>
              <a:gd name="T76" fmla="*/ 119 w 605"/>
              <a:gd name="T77" fmla="*/ 564 h 1249"/>
              <a:gd name="T78" fmla="*/ 102 w 605"/>
              <a:gd name="T79" fmla="*/ 535 h 1249"/>
              <a:gd name="T80" fmla="*/ 95 w 605"/>
              <a:gd name="T81" fmla="*/ 512 h 1249"/>
              <a:gd name="T82" fmla="*/ 102 w 605"/>
              <a:gd name="T83" fmla="*/ 491 h 1249"/>
              <a:gd name="T84" fmla="*/ 102 w 605"/>
              <a:gd name="T85" fmla="*/ 468 h 1249"/>
              <a:gd name="T86" fmla="*/ 73 w 605"/>
              <a:gd name="T87" fmla="*/ 449 h 1249"/>
              <a:gd name="T88" fmla="*/ 60 w 605"/>
              <a:gd name="T89" fmla="*/ 422 h 1249"/>
              <a:gd name="T90" fmla="*/ 79 w 605"/>
              <a:gd name="T91" fmla="*/ 389 h 1249"/>
              <a:gd name="T92" fmla="*/ 89 w 605"/>
              <a:gd name="T93" fmla="*/ 355 h 1249"/>
              <a:gd name="T94" fmla="*/ 81 w 605"/>
              <a:gd name="T95" fmla="*/ 322 h 1249"/>
              <a:gd name="T96" fmla="*/ 54 w 605"/>
              <a:gd name="T97" fmla="*/ 295 h 1249"/>
              <a:gd name="T98" fmla="*/ 14 w 605"/>
              <a:gd name="T99" fmla="*/ 288 h 1249"/>
              <a:gd name="T100" fmla="*/ 18 w 605"/>
              <a:gd name="T101" fmla="*/ 266 h 1249"/>
              <a:gd name="T102" fmla="*/ 47 w 605"/>
              <a:gd name="T103" fmla="*/ 240 h 1249"/>
              <a:gd name="T104" fmla="*/ 83 w 605"/>
              <a:gd name="T105" fmla="*/ 234 h 1249"/>
              <a:gd name="T106" fmla="*/ 98 w 605"/>
              <a:gd name="T107" fmla="*/ 188 h 1249"/>
              <a:gd name="T108" fmla="*/ 125 w 605"/>
              <a:gd name="T109" fmla="*/ 145 h 1249"/>
              <a:gd name="T110" fmla="*/ 139 w 605"/>
              <a:gd name="T111" fmla="*/ 111 h 1249"/>
              <a:gd name="T112" fmla="*/ 156 w 605"/>
              <a:gd name="T113" fmla="*/ 82 h 1249"/>
              <a:gd name="T114" fmla="*/ 169 w 605"/>
              <a:gd name="T115" fmla="*/ 53 h 1249"/>
              <a:gd name="T116" fmla="*/ 181 w 605"/>
              <a:gd name="T117" fmla="*/ 17 h 1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05" h="1249">
                <a:moveTo>
                  <a:pt x="605" y="1249"/>
                </a:moveTo>
                <a:lnTo>
                  <a:pt x="596" y="1240"/>
                </a:lnTo>
                <a:lnTo>
                  <a:pt x="592" y="1236"/>
                </a:lnTo>
                <a:lnTo>
                  <a:pt x="580" y="1232"/>
                </a:lnTo>
                <a:lnTo>
                  <a:pt x="575" y="1226"/>
                </a:lnTo>
                <a:lnTo>
                  <a:pt x="569" y="1222"/>
                </a:lnTo>
                <a:lnTo>
                  <a:pt x="559" y="1222"/>
                </a:lnTo>
                <a:lnTo>
                  <a:pt x="555" y="1220"/>
                </a:lnTo>
                <a:lnTo>
                  <a:pt x="546" y="1211"/>
                </a:lnTo>
                <a:lnTo>
                  <a:pt x="552" y="1209"/>
                </a:lnTo>
                <a:lnTo>
                  <a:pt x="559" y="1207"/>
                </a:lnTo>
                <a:lnTo>
                  <a:pt x="561" y="1199"/>
                </a:lnTo>
                <a:lnTo>
                  <a:pt x="565" y="1196"/>
                </a:lnTo>
                <a:lnTo>
                  <a:pt x="563" y="1188"/>
                </a:lnTo>
                <a:lnTo>
                  <a:pt x="559" y="1176"/>
                </a:lnTo>
                <a:lnTo>
                  <a:pt x="557" y="1167"/>
                </a:lnTo>
                <a:lnTo>
                  <a:pt x="561" y="1161"/>
                </a:lnTo>
                <a:lnTo>
                  <a:pt x="571" y="1159"/>
                </a:lnTo>
                <a:lnTo>
                  <a:pt x="577" y="1151"/>
                </a:lnTo>
                <a:lnTo>
                  <a:pt x="575" y="1142"/>
                </a:lnTo>
                <a:lnTo>
                  <a:pt x="577" y="1132"/>
                </a:lnTo>
                <a:lnTo>
                  <a:pt x="577" y="1124"/>
                </a:lnTo>
                <a:lnTo>
                  <a:pt x="579" y="1115"/>
                </a:lnTo>
                <a:lnTo>
                  <a:pt x="582" y="1105"/>
                </a:lnTo>
                <a:lnTo>
                  <a:pt x="582" y="1098"/>
                </a:lnTo>
                <a:lnTo>
                  <a:pt x="582" y="1088"/>
                </a:lnTo>
                <a:lnTo>
                  <a:pt x="584" y="1080"/>
                </a:lnTo>
                <a:lnTo>
                  <a:pt x="579" y="1073"/>
                </a:lnTo>
                <a:lnTo>
                  <a:pt x="573" y="1065"/>
                </a:lnTo>
                <a:lnTo>
                  <a:pt x="569" y="1061"/>
                </a:lnTo>
                <a:lnTo>
                  <a:pt x="561" y="1055"/>
                </a:lnTo>
                <a:lnTo>
                  <a:pt x="555" y="1057"/>
                </a:lnTo>
                <a:lnTo>
                  <a:pt x="546" y="1061"/>
                </a:lnTo>
                <a:lnTo>
                  <a:pt x="532" y="1061"/>
                </a:lnTo>
                <a:lnTo>
                  <a:pt x="527" y="1053"/>
                </a:lnTo>
                <a:lnTo>
                  <a:pt x="519" y="1050"/>
                </a:lnTo>
                <a:lnTo>
                  <a:pt x="509" y="1050"/>
                </a:lnTo>
                <a:lnTo>
                  <a:pt x="498" y="1053"/>
                </a:lnTo>
                <a:lnTo>
                  <a:pt x="490" y="1052"/>
                </a:lnTo>
                <a:lnTo>
                  <a:pt x="482" y="1046"/>
                </a:lnTo>
                <a:lnTo>
                  <a:pt x="477" y="1038"/>
                </a:lnTo>
                <a:lnTo>
                  <a:pt x="473" y="1029"/>
                </a:lnTo>
                <a:lnTo>
                  <a:pt x="469" y="1021"/>
                </a:lnTo>
                <a:lnTo>
                  <a:pt x="463" y="1019"/>
                </a:lnTo>
                <a:lnTo>
                  <a:pt x="458" y="1013"/>
                </a:lnTo>
                <a:lnTo>
                  <a:pt x="450" y="1009"/>
                </a:lnTo>
                <a:lnTo>
                  <a:pt x="444" y="1009"/>
                </a:lnTo>
                <a:lnTo>
                  <a:pt x="438" y="1013"/>
                </a:lnTo>
                <a:lnTo>
                  <a:pt x="431" y="1015"/>
                </a:lnTo>
                <a:lnTo>
                  <a:pt x="421" y="1013"/>
                </a:lnTo>
                <a:lnTo>
                  <a:pt x="415" y="1009"/>
                </a:lnTo>
                <a:lnTo>
                  <a:pt x="408" y="1004"/>
                </a:lnTo>
                <a:lnTo>
                  <a:pt x="402" y="1000"/>
                </a:lnTo>
                <a:lnTo>
                  <a:pt x="398" y="994"/>
                </a:lnTo>
                <a:lnTo>
                  <a:pt x="392" y="988"/>
                </a:lnTo>
                <a:lnTo>
                  <a:pt x="386" y="981"/>
                </a:lnTo>
                <a:lnTo>
                  <a:pt x="381" y="981"/>
                </a:lnTo>
                <a:lnTo>
                  <a:pt x="373" y="979"/>
                </a:lnTo>
                <a:lnTo>
                  <a:pt x="371" y="973"/>
                </a:lnTo>
                <a:lnTo>
                  <a:pt x="367" y="975"/>
                </a:lnTo>
                <a:lnTo>
                  <a:pt x="360" y="971"/>
                </a:lnTo>
                <a:lnTo>
                  <a:pt x="350" y="969"/>
                </a:lnTo>
                <a:lnTo>
                  <a:pt x="342" y="967"/>
                </a:lnTo>
                <a:lnTo>
                  <a:pt x="333" y="971"/>
                </a:lnTo>
                <a:lnTo>
                  <a:pt x="327" y="971"/>
                </a:lnTo>
                <a:lnTo>
                  <a:pt x="323" y="963"/>
                </a:lnTo>
                <a:lnTo>
                  <a:pt x="321" y="957"/>
                </a:lnTo>
                <a:lnTo>
                  <a:pt x="319" y="952"/>
                </a:lnTo>
                <a:lnTo>
                  <a:pt x="325" y="950"/>
                </a:lnTo>
                <a:lnTo>
                  <a:pt x="319" y="944"/>
                </a:lnTo>
                <a:lnTo>
                  <a:pt x="313" y="940"/>
                </a:lnTo>
                <a:lnTo>
                  <a:pt x="310" y="940"/>
                </a:lnTo>
                <a:lnTo>
                  <a:pt x="302" y="942"/>
                </a:lnTo>
                <a:lnTo>
                  <a:pt x="294" y="940"/>
                </a:lnTo>
                <a:lnTo>
                  <a:pt x="287" y="944"/>
                </a:lnTo>
                <a:lnTo>
                  <a:pt x="277" y="948"/>
                </a:lnTo>
                <a:lnTo>
                  <a:pt x="265" y="952"/>
                </a:lnTo>
                <a:lnTo>
                  <a:pt x="256" y="956"/>
                </a:lnTo>
                <a:lnTo>
                  <a:pt x="248" y="963"/>
                </a:lnTo>
                <a:lnTo>
                  <a:pt x="237" y="967"/>
                </a:lnTo>
                <a:lnTo>
                  <a:pt x="227" y="971"/>
                </a:lnTo>
                <a:lnTo>
                  <a:pt x="221" y="977"/>
                </a:lnTo>
                <a:lnTo>
                  <a:pt x="212" y="981"/>
                </a:lnTo>
                <a:lnTo>
                  <a:pt x="198" y="986"/>
                </a:lnTo>
                <a:lnTo>
                  <a:pt x="192" y="990"/>
                </a:lnTo>
                <a:lnTo>
                  <a:pt x="187" y="994"/>
                </a:lnTo>
                <a:lnTo>
                  <a:pt x="175" y="996"/>
                </a:lnTo>
                <a:lnTo>
                  <a:pt x="166" y="996"/>
                </a:lnTo>
                <a:lnTo>
                  <a:pt x="168" y="988"/>
                </a:lnTo>
                <a:lnTo>
                  <a:pt x="166" y="981"/>
                </a:lnTo>
                <a:lnTo>
                  <a:pt x="168" y="971"/>
                </a:lnTo>
                <a:lnTo>
                  <a:pt x="169" y="963"/>
                </a:lnTo>
                <a:lnTo>
                  <a:pt x="168" y="954"/>
                </a:lnTo>
                <a:lnTo>
                  <a:pt x="169" y="946"/>
                </a:lnTo>
                <a:lnTo>
                  <a:pt x="166" y="938"/>
                </a:lnTo>
                <a:lnTo>
                  <a:pt x="162" y="931"/>
                </a:lnTo>
                <a:lnTo>
                  <a:pt x="162" y="925"/>
                </a:lnTo>
                <a:lnTo>
                  <a:pt x="160" y="913"/>
                </a:lnTo>
                <a:lnTo>
                  <a:pt x="156" y="908"/>
                </a:lnTo>
                <a:lnTo>
                  <a:pt x="156" y="900"/>
                </a:lnTo>
                <a:lnTo>
                  <a:pt x="158" y="890"/>
                </a:lnTo>
                <a:lnTo>
                  <a:pt x="162" y="886"/>
                </a:lnTo>
                <a:lnTo>
                  <a:pt x="162" y="879"/>
                </a:lnTo>
                <a:lnTo>
                  <a:pt x="160" y="873"/>
                </a:lnTo>
                <a:lnTo>
                  <a:pt x="154" y="867"/>
                </a:lnTo>
                <a:lnTo>
                  <a:pt x="154" y="862"/>
                </a:lnTo>
                <a:lnTo>
                  <a:pt x="152" y="858"/>
                </a:lnTo>
                <a:lnTo>
                  <a:pt x="152" y="850"/>
                </a:lnTo>
                <a:lnTo>
                  <a:pt x="156" y="844"/>
                </a:lnTo>
                <a:lnTo>
                  <a:pt x="156" y="837"/>
                </a:lnTo>
                <a:lnTo>
                  <a:pt x="152" y="831"/>
                </a:lnTo>
                <a:lnTo>
                  <a:pt x="154" y="819"/>
                </a:lnTo>
                <a:lnTo>
                  <a:pt x="148" y="812"/>
                </a:lnTo>
                <a:lnTo>
                  <a:pt x="146" y="800"/>
                </a:lnTo>
                <a:lnTo>
                  <a:pt x="154" y="790"/>
                </a:lnTo>
                <a:lnTo>
                  <a:pt x="150" y="781"/>
                </a:lnTo>
                <a:lnTo>
                  <a:pt x="148" y="771"/>
                </a:lnTo>
                <a:lnTo>
                  <a:pt x="154" y="767"/>
                </a:lnTo>
                <a:lnTo>
                  <a:pt x="154" y="762"/>
                </a:lnTo>
                <a:lnTo>
                  <a:pt x="156" y="754"/>
                </a:lnTo>
                <a:lnTo>
                  <a:pt x="156" y="748"/>
                </a:lnTo>
                <a:lnTo>
                  <a:pt x="148" y="746"/>
                </a:lnTo>
                <a:lnTo>
                  <a:pt x="144" y="741"/>
                </a:lnTo>
                <a:lnTo>
                  <a:pt x="144" y="735"/>
                </a:lnTo>
                <a:lnTo>
                  <a:pt x="141" y="729"/>
                </a:lnTo>
                <a:lnTo>
                  <a:pt x="141" y="719"/>
                </a:lnTo>
                <a:lnTo>
                  <a:pt x="144" y="714"/>
                </a:lnTo>
                <a:lnTo>
                  <a:pt x="143" y="708"/>
                </a:lnTo>
                <a:lnTo>
                  <a:pt x="148" y="704"/>
                </a:lnTo>
                <a:lnTo>
                  <a:pt x="150" y="698"/>
                </a:lnTo>
                <a:lnTo>
                  <a:pt x="156" y="694"/>
                </a:lnTo>
                <a:lnTo>
                  <a:pt x="158" y="691"/>
                </a:lnTo>
                <a:lnTo>
                  <a:pt x="160" y="685"/>
                </a:lnTo>
                <a:lnTo>
                  <a:pt x="168" y="685"/>
                </a:lnTo>
                <a:lnTo>
                  <a:pt x="171" y="685"/>
                </a:lnTo>
                <a:lnTo>
                  <a:pt x="179" y="679"/>
                </a:lnTo>
                <a:lnTo>
                  <a:pt x="189" y="675"/>
                </a:lnTo>
                <a:lnTo>
                  <a:pt x="192" y="673"/>
                </a:lnTo>
                <a:lnTo>
                  <a:pt x="196" y="670"/>
                </a:lnTo>
                <a:lnTo>
                  <a:pt x="194" y="670"/>
                </a:lnTo>
                <a:lnTo>
                  <a:pt x="191" y="666"/>
                </a:lnTo>
                <a:lnTo>
                  <a:pt x="183" y="670"/>
                </a:lnTo>
                <a:lnTo>
                  <a:pt x="177" y="671"/>
                </a:lnTo>
                <a:lnTo>
                  <a:pt x="169" y="668"/>
                </a:lnTo>
                <a:lnTo>
                  <a:pt x="162" y="668"/>
                </a:lnTo>
                <a:lnTo>
                  <a:pt x="152" y="660"/>
                </a:lnTo>
                <a:lnTo>
                  <a:pt x="150" y="652"/>
                </a:lnTo>
                <a:lnTo>
                  <a:pt x="143" y="645"/>
                </a:lnTo>
                <a:lnTo>
                  <a:pt x="139" y="633"/>
                </a:lnTo>
                <a:lnTo>
                  <a:pt x="137" y="623"/>
                </a:lnTo>
                <a:lnTo>
                  <a:pt x="135" y="612"/>
                </a:lnTo>
                <a:lnTo>
                  <a:pt x="131" y="602"/>
                </a:lnTo>
                <a:lnTo>
                  <a:pt x="129" y="593"/>
                </a:lnTo>
                <a:lnTo>
                  <a:pt x="123" y="579"/>
                </a:lnTo>
                <a:lnTo>
                  <a:pt x="123" y="572"/>
                </a:lnTo>
                <a:lnTo>
                  <a:pt x="119" y="564"/>
                </a:lnTo>
                <a:lnTo>
                  <a:pt x="112" y="558"/>
                </a:lnTo>
                <a:lnTo>
                  <a:pt x="104" y="551"/>
                </a:lnTo>
                <a:lnTo>
                  <a:pt x="102" y="541"/>
                </a:lnTo>
                <a:lnTo>
                  <a:pt x="102" y="535"/>
                </a:lnTo>
                <a:lnTo>
                  <a:pt x="95" y="527"/>
                </a:lnTo>
                <a:lnTo>
                  <a:pt x="93" y="522"/>
                </a:lnTo>
                <a:lnTo>
                  <a:pt x="98" y="516"/>
                </a:lnTo>
                <a:lnTo>
                  <a:pt x="95" y="512"/>
                </a:lnTo>
                <a:lnTo>
                  <a:pt x="93" y="508"/>
                </a:lnTo>
                <a:lnTo>
                  <a:pt x="100" y="506"/>
                </a:lnTo>
                <a:lnTo>
                  <a:pt x="104" y="499"/>
                </a:lnTo>
                <a:lnTo>
                  <a:pt x="102" y="491"/>
                </a:lnTo>
                <a:lnTo>
                  <a:pt x="98" y="485"/>
                </a:lnTo>
                <a:lnTo>
                  <a:pt x="95" y="478"/>
                </a:lnTo>
                <a:lnTo>
                  <a:pt x="98" y="474"/>
                </a:lnTo>
                <a:lnTo>
                  <a:pt x="102" y="468"/>
                </a:lnTo>
                <a:lnTo>
                  <a:pt x="98" y="462"/>
                </a:lnTo>
                <a:lnTo>
                  <a:pt x="91" y="456"/>
                </a:lnTo>
                <a:lnTo>
                  <a:pt x="81" y="453"/>
                </a:lnTo>
                <a:lnTo>
                  <a:pt x="73" y="449"/>
                </a:lnTo>
                <a:lnTo>
                  <a:pt x="73" y="439"/>
                </a:lnTo>
                <a:lnTo>
                  <a:pt x="70" y="435"/>
                </a:lnTo>
                <a:lnTo>
                  <a:pt x="62" y="432"/>
                </a:lnTo>
                <a:lnTo>
                  <a:pt x="60" y="422"/>
                </a:lnTo>
                <a:lnTo>
                  <a:pt x="70" y="416"/>
                </a:lnTo>
                <a:lnTo>
                  <a:pt x="75" y="408"/>
                </a:lnTo>
                <a:lnTo>
                  <a:pt x="79" y="397"/>
                </a:lnTo>
                <a:lnTo>
                  <a:pt x="79" y="389"/>
                </a:lnTo>
                <a:lnTo>
                  <a:pt x="81" y="380"/>
                </a:lnTo>
                <a:lnTo>
                  <a:pt x="83" y="372"/>
                </a:lnTo>
                <a:lnTo>
                  <a:pt x="87" y="362"/>
                </a:lnTo>
                <a:lnTo>
                  <a:pt x="89" y="355"/>
                </a:lnTo>
                <a:lnTo>
                  <a:pt x="87" y="347"/>
                </a:lnTo>
                <a:lnTo>
                  <a:pt x="83" y="341"/>
                </a:lnTo>
                <a:lnTo>
                  <a:pt x="81" y="332"/>
                </a:lnTo>
                <a:lnTo>
                  <a:pt x="81" y="322"/>
                </a:lnTo>
                <a:lnTo>
                  <a:pt x="79" y="312"/>
                </a:lnTo>
                <a:lnTo>
                  <a:pt x="73" y="303"/>
                </a:lnTo>
                <a:lnTo>
                  <a:pt x="64" y="299"/>
                </a:lnTo>
                <a:lnTo>
                  <a:pt x="54" y="295"/>
                </a:lnTo>
                <a:lnTo>
                  <a:pt x="48" y="291"/>
                </a:lnTo>
                <a:lnTo>
                  <a:pt x="37" y="289"/>
                </a:lnTo>
                <a:lnTo>
                  <a:pt x="27" y="288"/>
                </a:lnTo>
                <a:lnTo>
                  <a:pt x="14" y="288"/>
                </a:lnTo>
                <a:lnTo>
                  <a:pt x="0" y="289"/>
                </a:lnTo>
                <a:lnTo>
                  <a:pt x="10" y="280"/>
                </a:lnTo>
                <a:lnTo>
                  <a:pt x="16" y="274"/>
                </a:lnTo>
                <a:lnTo>
                  <a:pt x="18" y="266"/>
                </a:lnTo>
                <a:lnTo>
                  <a:pt x="27" y="261"/>
                </a:lnTo>
                <a:lnTo>
                  <a:pt x="35" y="253"/>
                </a:lnTo>
                <a:lnTo>
                  <a:pt x="41" y="249"/>
                </a:lnTo>
                <a:lnTo>
                  <a:pt x="47" y="240"/>
                </a:lnTo>
                <a:lnTo>
                  <a:pt x="52" y="241"/>
                </a:lnTo>
                <a:lnTo>
                  <a:pt x="66" y="245"/>
                </a:lnTo>
                <a:lnTo>
                  <a:pt x="75" y="240"/>
                </a:lnTo>
                <a:lnTo>
                  <a:pt x="83" y="234"/>
                </a:lnTo>
                <a:lnTo>
                  <a:pt x="87" y="220"/>
                </a:lnTo>
                <a:lnTo>
                  <a:pt x="89" y="213"/>
                </a:lnTo>
                <a:lnTo>
                  <a:pt x="91" y="201"/>
                </a:lnTo>
                <a:lnTo>
                  <a:pt x="98" y="188"/>
                </a:lnTo>
                <a:lnTo>
                  <a:pt x="106" y="172"/>
                </a:lnTo>
                <a:lnTo>
                  <a:pt x="114" y="165"/>
                </a:lnTo>
                <a:lnTo>
                  <a:pt x="121" y="155"/>
                </a:lnTo>
                <a:lnTo>
                  <a:pt x="125" y="145"/>
                </a:lnTo>
                <a:lnTo>
                  <a:pt x="129" y="136"/>
                </a:lnTo>
                <a:lnTo>
                  <a:pt x="139" y="126"/>
                </a:lnTo>
                <a:lnTo>
                  <a:pt x="139" y="119"/>
                </a:lnTo>
                <a:lnTo>
                  <a:pt x="139" y="111"/>
                </a:lnTo>
                <a:lnTo>
                  <a:pt x="143" y="101"/>
                </a:lnTo>
                <a:lnTo>
                  <a:pt x="150" y="96"/>
                </a:lnTo>
                <a:lnTo>
                  <a:pt x="156" y="88"/>
                </a:lnTo>
                <a:lnTo>
                  <a:pt x="156" y="82"/>
                </a:lnTo>
                <a:lnTo>
                  <a:pt x="164" y="82"/>
                </a:lnTo>
                <a:lnTo>
                  <a:pt x="168" y="74"/>
                </a:lnTo>
                <a:lnTo>
                  <a:pt x="169" y="63"/>
                </a:lnTo>
                <a:lnTo>
                  <a:pt x="169" y="53"/>
                </a:lnTo>
                <a:lnTo>
                  <a:pt x="168" y="46"/>
                </a:lnTo>
                <a:lnTo>
                  <a:pt x="177" y="34"/>
                </a:lnTo>
                <a:lnTo>
                  <a:pt x="183" y="26"/>
                </a:lnTo>
                <a:lnTo>
                  <a:pt x="181" y="17"/>
                </a:lnTo>
                <a:lnTo>
                  <a:pt x="185" y="7"/>
                </a:lnTo>
                <a:lnTo>
                  <a:pt x="192" y="0"/>
                </a:lnTo>
              </a:path>
            </a:pathLst>
          </a:custGeom>
          <a:noFill/>
          <a:ln w="1270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333333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/>
          </a:p>
        </p:txBody>
      </p:sp>
      <p:sp>
        <p:nvSpPr>
          <p:cNvPr id="147" name="Oval 32"/>
          <p:cNvSpPr>
            <a:spLocks noChangeArrowheads="1"/>
          </p:cNvSpPr>
          <p:nvPr/>
        </p:nvSpPr>
        <p:spPr bwMode="auto">
          <a:xfrm>
            <a:off x="6546795" y="5315601"/>
            <a:ext cx="49454" cy="47304"/>
          </a:xfrm>
          <a:prstGeom prst="ellipse">
            <a:avLst/>
          </a:prstGeom>
          <a:solidFill>
            <a:schemeClr val="tx1"/>
          </a:solidFill>
          <a:ln w="3175">
            <a:solidFill>
              <a:srgbClr val="002C56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pt-BR"/>
          </a:p>
        </p:txBody>
      </p:sp>
      <p:sp>
        <p:nvSpPr>
          <p:cNvPr id="149" name="Text Box 34"/>
          <p:cNvSpPr txBox="1">
            <a:spLocks noChangeArrowheads="1"/>
          </p:cNvSpPr>
          <p:nvPr/>
        </p:nvSpPr>
        <p:spPr bwMode="auto">
          <a:xfrm>
            <a:off x="6189863" y="4978021"/>
            <a:ext cx="206418" cy="249422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pt-BR" altLang="pt-BR" sz="1200">
                <a:solidFill>
                  <a:srgbClr val="000000"/>
                </a:solidFill>
              </a:rPr>
              <a:t>RS</a:t>
            </a:r>
          </a:p>
        </p:txBody>
      </p:sp>
      <p:sp>
        <p:nvSpPr>
          <p:cNvPr id="150" name="Text Box 35"/>
          <p:cNvSpPr txBox="1">
            <a:spLocks noChangeArrowheads="1"/>
          </p:cNvSpPr>
          <p:nvPr/>
        </p:nvSpPr>
        <p:spPr bwMode="auto">
          <a:xfrm>
            <a:off x="6125358" y="5203791"/>
            <a:ext cx="365532" cy="283825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85000"/>
              </a:lnSpc>
            </a:pPr>
            <a:r>
              <a:rPr lang="pt-BR" altLang="pt-BR" sz="800">
                <a:solidFill>
                  <a:srgbClr val="000000"/>
                </a:solidFill>
              </a:rPr>
              <a:t>Porto</a:t>
            </a:r>
            <a:br>
              <a:rPr lang="pt-BR" altLang="pt-BR" sz="800">
                <a:solidFill>
                  <a:srgbClr val="000000"/>
                </a:solidFill>
              </a:rPr>
            </a:br>
            <a:r>
              <a:rPr lang="pt-BR" altLang="pt-BR" sz="800">
                <a:solidFill>
                  <a:srgbClr val="000000"/>
                </a:solidFill>
              </a:rPr>
              <a:t>Alegre</a:t>
            </a:r>
          </a:p>
        </p:txBody>
      </p:sp>
      <p:sp>
        <p:nvSpPr>
          <p:cNvPr id="151" name="Oval 36"/>
          <p:cNvSpPr>
            <a:spLocks noChangeArrowheads="1"/>
          </p:cNvSpPr>
          <p:nvPr/>
        </p:nvSpPr>
        <p:spPr bwMode="auto">
          <a:xfrm>
            <a:off x="6815569" y="4879113"/>
            <a:ext cx="49454" cy="51605"/>
          </a:xfrm>
          <a:prstGeom prst="ellipse">
            <a:avLst/>
          </a:prstGeom>
          <a:solidFill>
            <a:schemeClr val="tx1"/>
          </a:solidFill>
          <a:ln w="3175">
            <a:solidFill>
              <a:srgbClr val="002C56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pt-BR"/>
          </a:p>
        </p:txBody>
      </p:sp>
      <p:sp>
        <p:nvSpPr>
          <p:cNvPr id="153" name="Text Box 38"/>
          <p:cNvSpPr txBox="1">
            <a:spLocks noChangeArrowheads="1"/>
          </p:cNvSpPr>
          <p:nvPr/>
        </p:nvSpPr>
        <p:spPr bwMode="auto">
          <a:xfrm>
            <a:off x="6555396" y="4812456"/>
            <a:ext cx="206418" cy="249422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pt-BR" altLang="pt-BR" sz="1200" dirty="0">
                <a:solidFill>
                  <a:srgbClr val="000000"/>
                </a:solidFill>
              </a:rPr>
              <a:t>SC</a:t>
            </a:r>
          </a:p>
        </p:txBody>
      </p:sp>
      <p:sp>
        <p:nvSpPr>
          <p:cNvPr id="154" name="Text Box 39"/>
          <p:cNvSpPr txBox="1">
            <a:spLocks noChangeArrowheads="1"/>
          </p:cNvSpPr>
          <p:nvPr/>
        </p:nvSpPr>
        <p:spPr bwMode="auto">
          <a:xfrm>
            <a:off x="6918779" y="4833958"/>
            <a:ext cx="731065" cy="167715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pt-BR" altLang="pt-BR" sz="800">
                <a:solidFill>
                  <a:srgbClr val="000000"/>
                </a:solidFill>
              </a:rPr>
              <a:t>Florianópolis</a:t>
            </a:r>
          </a:p>
        </p:txBody>
      </p:sp>
      <p:sp>
        <p:nvSpPr>
          <p:cNvPr id="155" name="Text Box 40"/>
          <p:cNvSpPr txBox="1">
            <a:spLocks noChangeArrowheads="1"/>
          </p:cNvSpPr>
          <p:nvPr/>
        </p:nvSpPr>
        <p:spPr bwMode="auto">
          <a:xfrm>
            <a:off x="6366179" y="4352315"/>
            <a:ext cx="221470" cy="249422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pt-BR" altLang="pt-BR" sz="1200" dirty="0">
                <a:solidFill>
                  <a:srgbClr val="000000"/>
                </a:solidFill>
              </a:rPr>
              <a:t>PR</a:t>
            </a:r>
          </a:p>
        </p:txBody>
      </p:sp>
      <p:sp>
        <p:nvSpPr>
          <p:cNvPr id="156" name="Text Box 41"/>
          <p:cNvSpPr txBox="1">
            <a:spLocks noChangeArrowheads="1"/>
          </p:cNvSpPr>
          <p:nvPr/>
        </p:nvSpPr>
        <p:spPr bwMode="auto">
          <a:xfrm>
            <a:off x="6262970" y="4575935"/>
            <a:ext cx="447240" cy="167715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pt-BR" altLang="pt-BR" sz="800">
                <a:solidFill>
                  <a:srgbClr val="000000"/>
                </a:solidFill>
              </a:rPr>
              <a:t>Curitiba</a:t>
            </a:r>
          </a:p>
        </p:txBody>
      </p:sp>
      <p:sp>
        <p:nvSpPr>
          <p:cNvPr id="158" name="Text Box 43"/>
          <p:cNvSpPr txBox="1">
            <a:spLocks noChangeArrowheads="1"/>
          </p:cNvSpPr>
          <p:nvPr/>
        </p:nvSpPr>
        <p:spPr bwMode="auto">
          <a:xfrm>
            <a:off x="6690858" y="4016885"/>
            <a:ext cx="204268" cy="249422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pt-BR" altLang="pt-BR" sz="1200">
                <a:solidFill>
                  <a:srgbClr val="000000"/>
                </a:solidFill>
              </a:rPr>
              <a:t>SP</a:t>
            </a:r>
          </a:p>
        </p:txBody>
      </p:sp>
      <p:sp>
        <p:nvSpPr>
          <p:cNvPr id="159" name="Text Box 44"/>
          <p:cNvSpPr txBox="1">
            <a:spLocks noChangeArrowheads="1"/>
          </p:cNvSpPr>
          <p:nvPr/>
        </p:nvSpPr>
        <p:spPr bwMode="auto">
          <a:xfrm>
            <a:off x="6766115" y="4289959"/>
            <a:ext cx="318228" cy="249422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75000"/>
              </a:lnSpc>
            </a:pPr>
            <a:r>
              <a:rPr lang="pt-BR" altLang="pt-BR" sz="800">
                <a:solidFill>
                  <a:srgbClr val="000000"/>
                </a:solidFill>
              </a:rPr>
              <a:t>São </a:t>
            </a:r>
            <a:br>
              <a:rPr lang="pt-BR" altLang="pt-BR" sz="800">
                <a:solidFill>
                  <a:srgbClr val="000000"/>
                </a:solidFill>
              </a:rPr>
            </a:br>
            <a:r>
              <a:rPr lang="pt-BR" altLang="pt-BR" sz="800">
                <a:solidFill>
                  <a:srgbClr val="000000"/>
                </a:solidFill>
              </a:rPr>
              <a:t>Paulo</a:t>
            </a:r>
          </a:p>
        </p:txBody>
      </p:sp>
      <p:sp>
        <p:nvSpPr>
          <p:cNvPr id="160" name="Oval 45"/>
          <p:cNvSpPr>
            <a:spLocks noChangeArrowheads="1"/>
          </p:cNvSpPr>
          <p:nvPr/>
        </p:nvSpPr>
        <p:spPr bwMode="auto">
          <a:xfrm>
            <a:off x="7103695" y="4345865"/>
            <a:ext cx="30103" cy="30103"/>
          </a:xfrm>
          <a:prstGeom prst="ellipse">
            <a:avLst/>
          </a:prstGeom>
          <a:solidFill>
            <a:schemeClr val="tx1"/>
          </a:solidFill>
          <a:ln w="3175">
            <a:solidFill>
              <a:srgbClr val="002C5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/>
          </a:p>
        </p:txBody>
      </p:sp>
      <p:sp>
        <p:nvSpPr>
          <p:cNvPr id="161" name="Oval 46"/>
          <p:cNvSpPr>
            <a:spLocks noChangeArrowheads="1"/>
          </p:cNvSpPr>
          <p:nvPr/>
        </p:nvSpPr>
        <p:spPr bwMode="auto">
          <a:xfrm>
            <a:off x="7540183" y="4270608"/>
            <a:ext cx="47304" cy="49454"/>
          </a:xfrm>
          <a:prstGeom prst="ellipse">
            <a:avLst/>
          </a:prstGeom>
          <a:solidFill>
            <a:schemeClr val="tx1"/>
          </a:solidFill>
          <a:ln w="3175">
            <a:solidFill>
              <a:srgbClr val="002C5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/>
          </a:p>
        </p:txBody>
      </p:sp>
      <p:sp>
        <p:nvSpPr>
          <p:cNvPr id="162" name="Text Box 47"/>
          <p:cNvSpPr txBox="1">
            <a:spLocks noChangeArrowheads="1"/>
          </p:cNvSpPr>
          <p:nvPr/>
        </p:nvSpPr>
        <p:spPr bwMode="auto">
          <a:xfrm>
            <a:off x="7522982" y="4335114"/>
            <a:ext cx="795571" cy="124711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75000"/>
              </a:lnSpc>
            </a:pPr>
            <a:r>
              <a:rPr lang="pt-BR" altLang="pt-BR" sz="800">
                <a:solidFill>
                  <a:srgbClr val="000000"/>
                </a:solidFill>
              </a:rPr>
              <a:t>Rio de Janeiro</a:t>
            </a:r>
          </a:p>
        </p:txBody>
      </p:sp>
      <p:sp>
        <p:nvSpPr>
          <p:cNvPr id="163" name="Oval 48"/>
          <p:cNvSpPr>
            <a:spLocks noChangeArrowheads="1"/>
          </p:cNvSpPr>
          <p:nvPr/>
        </p:nvSpPr>
        <p:spPr bwMode="auto">
          <a:xfrm>
            <a:off x="7920768" y="3956680"/>
            <a:ext cx="47304" cy="49454"/>
          </a:xfrm>
          <a:prstGeom prst="ellipse">
            <a:avLst/>
          </a:prstGeom>
          <a:solidFill>
            <a:schemeClr val="tx1"/>
          </a:solidFill>
          <a:ln w="3175">
            <a:solidFill>
              <a:srgbClr val="002C5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/>
          </a:p>
        </p:txBody>
      </p:sp>
      <p:sp>
        <p:nvSpPr>
          <p:cNvPr id="164" name="Text Box 49"/>
          <p:cNvSpPr txBox="1">
            <a:spLocks noChangeArrowheads="1"/>
          </p:cNvSpPr>
          <p:nvPr/>
        </p:nvSpPr>
        <p:spPr bwMode="auto">
          <a:xfrm>
            <a:off x="7983123" y="3978181"/>
            <a:ext cx="378433" cy="124711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75000"/>
              </a:lnSpc>
            </a:pPr>
            <a:r>
              <a:rPr lang="pt-BR" altLang="pt-BR" sz="800">
                <a:solidFill>
                  <a:srgbClr val="000000"/>
                </a:solidFill>
              </a:rPr>
              <a:t>Vitória</a:t>
            </a:r>
          </a:p>
        </p:txBody>
      </p:sp>
      <p:sp>
        <p:nvSpPr>
          <p:cNvPr id="166" name="Text Box 51"/>
          <p:cNvSpPr txBox="1">
            <a:spLocks noChangeArrowheads="1"/>
          </p:cNvSpPr>
          <p:nvPr/>
        </p:nvSpPr>
        <p:spPr bwMode="auto">
          <a:xfrm>
            <a:off x="7348817" y="3563195"/>
            <a:ext cx="309628" cy="249422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pt-BR" altLang="pt-BR" sz="1200">
                <a:solidFill>
                  <a:srgbClr val="000000"/>
                </a:solidFill>
              </a:rPr>
              <a:t>MG</a:t>
            </a:r>
          </a:p>
        </p:txBody>
      </p:sp>
      <p:sp>
        <p:nvSpPr>
          <p:cNvPr id="167" name="Text Box 52"/>
          <p:cNvSpPr txBox="1">
            <a:spLocks noChangeArrowheads="1"/>
          </p:cNvSpPr>
          <p:nvPr/>
        </p:nvSpPr>
        <p:spPr bwMode="auto">
          <a:xfrm>
            <a:off x="7062841" y="3909376"/>
            <a:ext cx="559050" cy="249422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75000"/>
              </a:lnSpc>
            </a:pPr>
            <a:r>
              <a:rPr lang="pt-BR" altLang="pt-BR" sz="800">
                <a:solidFill>
                  <a:srgbClr val="000000"/>
                </a:solidFill>
              </a:rPr>
              <a:t>Belo</a:t>
            </a:r>
            <a:br>
              <a:rPr lang="pt-BR" altLang="pt-BR" sz="800">
                <a:solidFill>
                  <a:srgbClr val="000000"/>
                </a:solidFill>
              </a:rPr>
            </a:br>
            <a:r>
              <a:rPr lang="pt-BR" altLang="pt-BR" sz="800">
                <a:solidFill>
                  <a:srgbClr val="000000"/>
                </a:solidFill>
              </a:rPr>
              <a:t>Horizonte</a:t>
            </a:r>
          </a:p>
        </p:txBody>
      </p:sp>
      <p:sp>
        <p:nvSpPr>
          <p:cNvPr id="168" name="Oval 53"/>
          <p:cNvSpPr>
            <a:spLocks noChangeArrowheads="1"/>
          </p:cNvSpPr>
          <p:nvPr/>
        </p:nvSpPr>
        <p:spPr bwMode="auto">
          <a:xfrm>
            <a:off x="7454176" y="3851321"/>
            <a:ext cx="49454" cy="45154"/>
          </a:xfrm>
          <a:prstGeom prst="ellipse">
            <a:avLst/>
          </a:prstGeom>
          <a:solidFill>
            <a:schemeClr val="tx1"/>
          </a:solidFill>
          <a:ln w="3175" algn="ctr">
            <a:solidFill>
              <a:srgbClr val="002C5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/>
          </a:p>
        </p:txBody>
      </p:sp>
      <p:sp>
        <p:nvSpPr>
          <p:cNvPr id="169" name="Text Box 54"/>
          <p:cNvSpPr txBox="1">
            <a:spLocks noChangeArrowheads="1"/>
          </p:cNvSpPr>
          <p:nvPr/>
        </p:nvSpPr>
        <p:spPr bwMode="auto">
          <a:xfrm>
            <a:off x="5867335" y="2750423"/>
            <a:ext cx="279525" cy="249422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pt-BR" altLang="pt-BR" sz="1200">
                <a:solidFill>
                  <a:srgbClr val="000000"/>
                </a:solidFill>
              </a:rPr>
              <a:t>MT</a:t>
            </a:r>
          </a:p>
        </p:txBody>
      </p:sp>
      <p:sp>
        <p:nvSpPr>
          <p:cNvPr id="170" name="Text Box 55"/>
          <p:cNvSpPr txBox="1">
            <a:spLocks noChangeArrowheads="1"/>
          </p:cNvSpPr>
          <p:nvPr/>
        </p:nvSpPr>
        <p:spPr bwMode="auto">
          <a:xfrm>
            <a:off x="5946891" y="3685756"/>
            <a:ext cx="273074" cy="249422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pt-BR" altLang="pt-BR" sz="1200">
                <a:solidFill>
                  <a:srgbClr val="000000"/>
                </a:solidFill>
              </a:rPr>
              <a:t>MS</a:t>
            </a:r>
          </a:p>
        </p:txBody>
      </p:sp>
      <p:sp>
        <p:nvSpPr>
          <p:cNvPr id="171" name="Text Box 56"/>
          <p:cNvSpPr txBox="1">
            <a:spLocks noChangeArrowheads="1"/>
          </p:cNvSpPr>
          <p:nvPr/>
        </p:nvSpPr>
        <p:spPr bwMode="auto">
          <a:xfrm>
            <a:off x="5953343" y="3978181"/>
            <a:ext cx="430038" cy="283825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85000"/>
              </a:lnSpc>
            </a:pPr>
            <a:r>
              <a:rPr lang="pt-BR" altLang="pt-BR" sz="800">
                <a:solidFill>
                  <a:srgbClr val="000000"/>
                </a:solidFill>
              </a:rPr>
              <a:t>Campo </a:t>
            </a:r>
            <a:br>
              <a:rPr lang="pt-BR" altLang="pt-BR" sz="800">
                <a:solidFill>
                  <a:srgbClr val="000000"/>
                </a:solidFill>
              </a:rPr>
            </a:br>
            <a:r>
              <a:rPr lang="pt-BR" altLang="pt-BR" sz="800">
                <a:solidFill>
                  <a:srgbClr val="000000"/>
                </a:solidFill>
              </a:rPr>
              <a:t>Grande</a:t>
            </a:r>
          </a:p>
        </p:txBody>
      </p:sp>
      <p:sp>
        <p:nvSpPr>
          <p:cNvPr id="172" name="Text Box 57"/>
          <p:cNvSpPr txBox="1">
            <a:spLocks noChangeArrowheads="1"/>
          </p:cNvSpPr>
          <p:nvPr/>
        </p:nvSpPr>
        <p:spPr bwMode="auto">
          <a:xfrm>
            <a:off x="5731873" y="3229915"/>
            <a:ext cx="389185" cy="141913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85000"/>
              </a:lnSpc>
            </a:pPr>
            <a:r>
              <a:rPr lang="pt-BR" altLang="pt-BR" sz="800">
                <a:solidFill>
                  <a:srgbClr val="000000"/>
                </a:solidFill>
              </a:rPr>
              <a:t>Cuiabá</a:t>
            </a:r>
          </a:p>
        </p:txBody>
      </p:sp>
      <p:sp>
        <p:nvSpPr>
          <p:cNvPr id="173" name="Oval 58"/>
          <p:cNvSpPr>
            <a:spLocks noChangeArrowheads="1"/>
          </p:cNvSpPr>
          <p:nvPr/>
        </p:nvSpPr>
        <p:spPr bwMode="auto">
          <a:xfrm>
            <a:off x="5923239" y="3174010"/>
            <a:ext cx="30103" cy="32252"/>
          </a:xfrm>
          <a:prstGeom prst="ellipse">
            <a:avLst/>
          </a:prstGeom>
          <a:solidFill>
            <a:schemeClr val="accent2"/>
          </a:solidFill>
          <a:ln w="3175">
            <a:solidFill>
              <a:srgbClr val="002C5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/>
          </a:p>
        </p:txBody>
      </p:sp>
      <p:sp>
        <p:nvSpPr>
          <p:cNvPr id="174" name="Text Box 59"/>
          <p:cNvSpPr txBox="1">
            <a:spLocks noChangeArrowheads="1"/>
          </p:cNvSpPr>
          <p:nvPr/>
        </p:nvSpPr>
        <p:spPr bwMode="auto">
          <a:xfrm>
            <a:off x="6376930" y="3315923"/>
            <a:ext cx="270924" cy="249422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pt-BR" altLang="pt-BR" sz="1200">
                <a:solidFill>
                  <a:srgbClr val="000000"/>
                </a:solidFill>
              </a:rPr>
              <a:t>GO</a:t>
            </a:r>
          </a:p>
        </p:txBody>
      </p:sp>
      <p:sp>
        <p:nvSpPr>
          <p:cNvPr id="175" name="Text Box 60"/>
          <p:cNvSpPr txBox="1">
            <a:spLocks noChangeArrowheads="1"/>
          </p:cNvSpPr>
          <p:nvPr/>
        </p:nvSpPr>
        <p:spPr bwMode="auto">
          <a:xfrm>
            <a:off x="6462937" y="3518041"/>
            <a:ext cx="434339" cy="141913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85000"/>
              </a:lnSpc>
            </a:pPr>
            <a:r>
              <a:rPr lang="pt-BR" altLang="pt-BR" sz="800">
                <a:solidFill>
                  <a:srgbClr val="000000"/>
                </a:solidFill>
              </a:rPr>
              <a:t>Goiânia</a:t>
            </a:r>
          </a:p>
        </p:txBody>
      </p:sp>
      <p:sp>
        <p:nvSpPr>
          <p:cNvPr id="176" name="Text Box 61"/>
          <p:cNvSpPr txBox="1">
            <a:spLocks noChangeArrowheads="1"/>
          </p:cNvSpPr>
          <p:nvPr/>
        </p:nvSpPr>
        <p:spPr bwMode="auto">
          <a:xfrm>
            <a:off x="6830621" y="3027797"/>
            <a:ext cx="223620" cy="249422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pt-BR" altLang="pt-BR" sz="1200">
                <a:solidFill>
                  <a:srgbClr val="000000"/>
                </a:solidFill>
              </a:rPr>
              <a:t>DF</a:t>
            </a:r>
          </a:p>
        </p:txBody>
      </p:sp>
      <p:sp>
        <p:nvSpPr>
          <p:cNvPr id="177" name="Text Box 62"/>
          <p:cNvSpPr txBox="1">
            <a:spLocks noChangeArrowheads="1"/>
          </p:cNvSpPr>
          <p:nvPr/>
        </p:nvSpPr>
        <p:spPr bwMode="auto">
          <a:xfrm>
            <a:off x="6407033" y="3225614"/>
            <a:ext cx="410687" cy="141913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85000"/>
              </a:lnSpc>
            </a:pPr>
            <a:r>
              <a:rPr lang="pt-BR" altLang="pt-BR" sz="800" dirty="0">
                <a:solidFill>
                  <a:srgbClr val="000000"/>
                </a:solidFill>
              </a:rPr>
              <a:t>Brasília</a:t>
            </a:r>
          </a:p>
        </p:txBody>
      </p:sp>
      <p:sp>
        <p:nvSpPr>
          <p:cNvPr id="178" name="Text Box 63"/>
          <p:cNvSpPr txBox="1">
            <a:spLocks noChangeArrowheads="1"/>
          </p:cNvSpPr>
          <p:nvPr/>
        </p:nvSpPr>
        <p:spPr bwMode="auto">
          <a:xfrm>
            <a:off x="4951353" y="2688067"/>
            <a:ext cx="249422" cy="249422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pt-BR" altLang="pt-BR" sz="1200">
                <a:solidFill>
                  <a:srgbClr val="000000"/>
                </a:solidFill>
              </a:rPr>
              <a:t>RO</a:t>
            </a:r>
          </a:p>
        </p:txBody>
      </p:sp>
      <p:sp>
        <p:nvSpPr>
          <p:cNvPr id="179" name="Text Box 64"/>
          <p:cNvSpPr txBox="1">
            <a:spLocks noChangeArrowheads="1"/>
          </p:cNvSpPr>
          <p:nvPr/>
        </p:nvSpPr>
        <p:spPr bwMode="auto">
          <a:xfrm>
            <a:off x="3596732" y="2223625"/>
            <a:ext cx="230070" cy="249422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pt-BR" altLang="pt-BR" sz="1200">
                <a:solidFill>
                  <a:srgbClr val="000000"/>
                </a:solidFill>
              </a:rPr>
              <a:t>AC</a:t>
            </a:r>
          </a:p>
        </p:txBody>
      </p:sp>
      <p:sp>
        <p:nvSpPr>
          <p:cNvPr id="180" name="Text Box 65"/>
          <p:cNvSpPr txBox="1">
            <a:spLocks noChangeArrowheads="1"/>
          </p:cNvSpPr>
          <p:nvPr/>
        </p:nvSpPr>
        <p:spPr bwMode="auto">
          <a:xfrm>
            <a:off x="5045961" y="819550"/>
            <a:ext cx="225770" cy="249422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pt-BR" altLang="pt-BR" sz="1200">
                <a:solidFill>
                  <a:srgbClr val="000000"/>
                </a:solidFill>
              </a:rPr>
              <a:t>RR</a:t>
            </a:r>
          </a:p>
        </p:txBody>
      </p:sp>
      <p:sp>
        <p:nvSpPr>
          <p:cNvPr id="181" name="Text Box 66"/>
          <p:cNvSpPr txBox="1">
            <a:spLocks noChangeArrowheads="1"/>
          </p:cNvSpPr>
          <p:nvPr/>
        </p:nvSpPr>
        <p:spPr bwMode="auto">
          <a:xfrm>
            <a:off x="6331776" y="720642"/>
            <a:ext cx="230070" cy="249422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pt-BR" altLang="pt-BR" sz="1200">
                <a:solidFill>
                  <a:srgbClr val="000000"/>
                </a:solidFill>
              </a:rPr>
              <a:t>AP</a:t>
            </a:r>
          </a:p>
        </p:txBody>
      </p:sp>
      <p:sp>
        <p:nvSpPr>
          <p:cNvPr id="182" name="Text Box 67"/>
          <p:cNvSpPr txBox="1">
            <a:spLocks noChangeArrowheads="1"/>
          </p:cNvSpPr>
          <p:nvPr/>
        </p:nvSpPr>
        <p:spPr bwMode="auto">
          <a:xfrm>
            <a:off x="6256519" y="1722631"/>
            <a:ext cx="215020" cy="249422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pt-BR" altLang="pt-BR" sz="1200">
                <a:solidFill>
                  <a:srgbClr val="000000"/>
                </a:solidFill>
              </a:rPr>
              <a:t>PA</a:t>
            </a:r>
          </a:p>
        </p:txBody>
      </p:sp>
      <p:sp>
        <p:nvSpPr>
          <p:cNvPr id="183" name="Text Box 68"/>
          <p:cNvSpPr txBox="1">
            <a:spLocks noChangeArrowheads="1"/>
          </p:cNvSpPr>
          <p:nvPr/>
        </p:nvSpPr>
        <p:spPr bwMode="auto">
          <a:xfrm>
            <a:off x="4630975" y="2436494"/>
            <a:ext cx="344030" cy="249422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75000"/>
              </a:lnSpc>
            </a:pPr>
            <a:r>
              <a:rPr lang="pt-BR" altLang="pt-BR" sz="800">
                <a:solidFill>
                  <a:srgbClr val="000000"/>
                </a:solidFill>
              </a:rPr>
              <a:t>Porto </a:t>
            </a:r>
            <a:br>
              <a:rPr lang="pt-BR" altLang="pt-BR" sz="800">
                <a:solidFill>
                  <a:srgbClr val="000000"/>
                </a:solidFill>
              </a:rPr>
            </a:br>
            <a:r>
              <a:rPr lang="pt-BR" altLang="pt-BR" sz="800">
                <a:solidFill>
                  <a:srgbClr val="000000"/>
                </a:solidFill>
              </a:rPr>
              <a:t>Velho</a:t>
            </a:r>
          </a:p>
        </p:txBody>
      </p:sp>
      <p:sp>
        <p:nvSpPr>
          <p:cNvPr id="184" name="Text Box 69"/>
          <p:cNvSpPr txBox="1">
            <a:spLocks noChangeArrowheads="1"/>
          </p:cNvSpPr>
          <p:nvPr/>
        </p:nvSpPr>
        <p:spPr bwMode="auto">
          <a:xfrm>
            <a:off x="3852606" y="2417143"/>
            <a:ext cx="397786" cy="249422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75000"/>
              </a:lnSpc>
            </a:pPr>
            <a:r>
              <a:rPr lang="pt-BR" altLang="pt-BR" sz="800">
                <a:solidFill>
                  <a:srgbClr val="000000"/>
                </a:solidFill>
              </a:rPr>
              <a:t>Rio</a:t>
            </a:r>
            <a:br>
              <a:rPr lang="pt-BR" altLang="pt-BR" sz="800">
                <a:solidFill>
                  <a:srgbClr val="000000"/>
                </a:solidFill>
              </a:rPr>
            </a:br>
            <a:r>
              <a:rPr lang="pt-BR" altLang="pt-BR" sz="800">
                <a:solidFill>
                  <a:srgbClr val="000000"/>
                </a:solidFill>
              </a:rPr>
              <a:t>Branco</a:t>
            </a:r>
          </a:p>
        </p:txBody>
      </p:sp>
      <p:sp>
        <p:nvSpPr>
          <p:cNvPr id="185" name="Text Box 70"/>
          <p:cNvSpPr txBox="1">
            <a:spLocks noChangeArrowheads="1"/>
          </p:cNvSpPr>
          <p:nvPr/>
        </p:nvSpPr>
        <p:spPr bwMode="auto">
          <a:xfrm>
            <a:off x="4820191" y="1542014"/>
            <a:ext cx="455840" cy="124711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75000"/>
              </a:lnSpc>
            </a:pPr>
            <a:r>
              <a:rPr lang="pt-BR" altLang="pt-BR" sz="800" dirty="0">
                <a:solidFill>
                  <a:srgbClr val="000000"/>
                </a:solidFill>
              </a:rPr>
              <a:t>Manaus</a:t>
            </a:r>
          </a:p>
        </p:txBody>
      </p:sp>
      <p:sp>
        <p:nvSpPr>
          <p:cNvPr id="186" name="Text Box 71"/>
          <p:cNvSpPr txBox="1">
            <a:spLocks noChangeArrowheads="1"/>
          </p:cNvSpPr>
          <p:nvPr/>
        </p:nvSpPr>
        <p:spPr bwMode="auto">
          <a:xfrm>
            <a:off x="4839543" y="593780"/>
            <a:ext cx="277375" cy="249422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75000"/>
              </a:lnSpc>
            </a:pPr>
            <a:r>
              <a:rPr lang="pt-BR" altLang="pt-BR" sz="800" dirty="0">
                <a:solidFill>
                  <a:srgbClr val="000000"/>
                </a:solidFill>
              </a:rPr>
              <a:t>Boa</a:t>
            </a:r>
            <a:br>
              <a:rPr lang="pt-BR" altLang="pt-BR" sz="800" dirty="0">
                <a:solidFill>
                  <a:srgbClr val="000000"/>
                </a:solidFill>
              </a:rPr>
            </a:br>
            <a:r>
              <a:rPr lang="pt-BR" altLang="pt-BR" sz="800" dirty="0">
                <a:solidFill>
                  <a:srgbClr val="000000"/>
                </a:solidFill>
              </a:rPr>
              <a:t>Vista</a:t>
            </a:r>
          </a:p>
        </p:txBody>
      </p:sp>
      <p:sp>
        <p:nvSpPr>
          <p:cNvPr id="187" name="Text Box 72"/>
          <p:cNvSpPr txBox="1">
            <a:spLocks noChangeArrowheads="1"/>
          </p:cNvSpPr>
          <p:nvPr/>
        </p:nvSpPr>
        <p:spPr bwMode="auto">
          <a:xfrm>
            <a:off x="6041500" y="965763"/>
            <a:ext cx="453690" cy="124711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75000"/>
              </a:lnSpc>
            </a:pPr>
            <a:r>
              <a:rPr lang="pt-BR" altLang="pt-BR" sz="800">
                <a:solidFill>
                  <a:srgbClr val="000000"/>
                </a:solidFill>
              </a:rPr>
              <a:t>Macapá</a:t>
            </a:r>
          </a:p>
        </p:txBody>
      </p:sp>
      <p:sp>
        <p:nvSpPr>
          <p:cNvPr id="188" name="Oval 73"/>
          <p:cNvSpPr>
            <a:spLocks noChangeArrowheads="1"/>
          </p:cNvSpPr>
          <p:nvPr/>
        </p:nvSpPr>
        <p:spPr bwMode="auto">
          <a:xfrm>
            <a:off x="4798689" y="2356937"/>
            <a:ext cx="49454" cy="49454"/>
          </a:xfrm>
          <a:prstGeom prst="ellipse">
            <a:avLst/>
          </a:prstGeom>
          <a:solidFill>
            <a:schemeClr val="tx1"/>
          </a:solidFill>
          <a:ln w="3175">
            <a:solidFill>
              <a:srgbClr val="002C5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/>
          </a:p>
        </p:txBody>
      </p:sp>
      <p:sp>
        <p:nvSpPr>
          <p:cNvPr id="189" name="Oval 74"/>
          <p:cNvSpPr>
            <a:spLocks noChangeArrowheads="1"/>
          </p:cNvSpPr>
          <p:nvPr/>
        </p:nvSpPr>
        <p:spPr bwMode="auto">
          <a:xfrm>
            <a:off x="4226738" y="2462297"/>
            <a:ext cx="47304" cy="51605"/>
          </a:xfrm>
          <a:prstGeom prst="ellipse">
            <a:avLst/>
          </a:prstGeom>
          <a:solidFill>
            <a:schemeClr val="tx1"/>
          </a:solidFill>
          <a:ln w="3175">
            <a:solidFill>
              <a:srgbClr val="002C5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/>
          </a:p>
        </p:txBody>
      </p:sp>
      <p:sp>
        <p:nvSpPr>
          <p:cNvPr id="190" name="Oval 75"/>
          <p:cNvSpPr>
            <a:spLocks noChangeArrowheads="1"/>
          </p:cNvSpPr>
          <p:nvPr/>
        </p:nvSpPr>
        <p:spPr bwMode="auto">
          <a:xfrm>
            <a:off x="5018009" y="1477508"/>
            <a:ext cx="47304" cy="47304"/>
          </a:xfrm>
          <a:prstGeom prst="ellipse">
            <a:avLst/>
          </a:prstGeom>
          <a:solidFill>
            <a:schemeClr val="tx1"/>
          </a:solidFill>
          <a:ln w="3175">
            <a:solidFill>
              <a:srgbClr val="002C5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/>
          </a:p>
        </p:txBody>
      </p:sp>
      <p:sp>
        <p:nvSpPr>
          <p:cNvPr id="191" name="Text Box 77"/>
          <p:cNvSpPr txBox="1">
            <a:spLocks noChangeArrowheads="1"/>
          </p:cNvSpPr>
          <p:nvPr/>
        </p:nvSpPr>
        <p:spPr bwMode="auto">
          <a:xfrm>
            <a:off x="6690858" y="1410853"/>
            <a:ext cx="359082" cy="124711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75000"/>
              </a:lnSpc>
            </a:pPr>
            <a:r>
              <a:rPr lang="pt-BR" altLang="pt-BR" sz="800">
                <a:solidFill>
                  <a:srgbClr val="000000"/>
                </a:solidFill>
              </a:rPr>
              <a:t>Belém</a:t>
            </a:r>
          </a:p>
        </p:txBody>
      </p:sp>
      <p:sp>
        <p:nvSpPr>
          <p:cNvPr id="192" name="Oval 78"/>
          <p:cNvSpPr>
            <a:spLocks noChangeArrowheads="1"/>
          </p:cNvSpPr>
          <p:nvPr/>
        </p:nvSpPr>
        <p:spPr bwMode="auto">
          <a:xfrm>
            <a:off x="7492879" y="1466757"/>
            <a:ext cx="49454" cy="47304"/>
          </a:xfrm>
          <a:prstGeom prst="ellipse">
            <a:avLst/>
          </a:prstGeom>
          <a:solidFill>
            <a:schemeClr val="tx1"/>
          </a:solidFill>
          <a:ln w="3175" algn="ctr">
            <a:solidFill>
              <a:srgbClr val="002C5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/>
          </a:p>
        </p:txBody>
      </p:sp>
      <p:sp>
        <p:nvSpPr>
          <p:cNvPr id="193" name="Oval 79"/>
          <p:cNvSpPr>
            <a:spLocks noChangeArrowheads="1"/>
          </p:cNvSpPr>
          <p:nvPr/>
        </p:nvSpPr>
        <p:spPr bwMode="auto">
          <a:xfrm>
            <a:off x="7503630" y="1477508"/>
            <a:ext cx="27953" cy="27953"/>
          </a:xfrm>
          <a:prstGeom prst="ellipse">
            <a:avLst/>
          </a:prstGeom>
          <a:solidFill>
            <a:schemeClr val="tx1"/>
          </a:solidFill>
          <a:ln w="3175" algn="ctr">
            <a:solidFill>
              <a:srgbClr val="002C5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/>
          </a:p>
        </p:txBody>
      </p:sp>
      <p:sp>
        <p:nvSpPr>
          <p:cNvPr id="194" name="Text Box 80"/>
          <p:cNvSpPr txBox="1">
            <a:spLocks noChangeArrowheads="1"/>
          </p:cNvSpPr>
          <p:nvPr/>
        </p:nvSpPr>
        <p:spPr bwMode="auto">
          <a:xfrm>
            <a:off x="7525133" y="1268940"/>
            <a:ext cx="453690" cy="167715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pt-BR" altLang="pt-BR" sz="800">
                <a:solidFill>
                  <a:srgbClr val="000000"/>
                </a:solidFill>
              </a:rPr>
              <a:t>São Luís</a:t>
            </a:r>
          </a:p>
        </p:txBody>
      </p:sp>
      <p:sp>
        <p:nvSpPr>
          <p:cNvPr id="195" name="Text Box 81"/>
          <p:cNvSpPr txBox="1">
            <a:spLocks noChangeArrowheads="1"/>
          </p:cNvSpPr>
          <p:nvPr/>
        </p:nvSpPr>
        <p:spPr bwMode="auto">
          <a:xfrm>
            <a:off x="7202604" y="1651674"/>
            <a:ext cx="298877" cy="249422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pt-BR" altLang="pt-BR" sz="1200">
                <a:solidFill>
                  <a:srgbClr val="000000"/>
                </a:solidFill>
              </a:rPr>
              <a:t>MA</a:t>
            </a:r>
          </a:p>
        </p:txBody>
      </p:sp>
      <p:sp>
        <p:nvSpPr>
          <p:cNvPr id="196" name="Oval 82"/>
          <p:cNvSpPr>
            <a:spLocks noChangeArrowheads="1"/>
          </p:cNvSpPr>
          <p:nvPr/>
        </p:nvSpPr>
        <p:spPr bwMode="auto">
          <a:xfrm>
            <a:off x="6570447" y="1028119"/>
            <a:ext cx="27953" cy="30103"/>
          </a:xfrm>
          <a:prstGeom prst="ellipse">
            <a:avLst/>
          </a:prstGeom>
          <a:solidFill>
            <a:schemeClr val="tx1"/>
          </a:solidFill>
          <a:ln w="3175">
            <a:solidFill>
              <a:srgbClr val="002C5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/>
          </a:p>
        </p:txBody>
      </p:sp>
      <p:sp>
        <p:nvSpPr>
          <p:cNvPr id="197" name="Text Box 83"/>
          <p:cNvSpPr txBox="1">
            <a:spLocks noChangeArrowheads="1"/>
          </p:cNvSpPr>
          <p:nvPr/>
        </p:nvSpPr>
        <p:spPr bwMode="auto">
          <a:xfrm>
            <a:off x="7630492" y="2086013"/>
            <a:ext cx="161264" cy="249422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pt-BR" altLang="pt-BR" sz="1200">
                <a:solidFill>
                  <a:srgbClr val="000000"/>
                </a:solidFill>
              </a:rPr>
              <a:t>PI</a:t>
            </a:r>
          </a:p>
        </p:txBody>
      </p:sp>
      <p:sp>
        <p:nvSpPr>
          <p:cNvPr id="198" name="Text Box 84"/>
          <p:cNvSpPr txBox="1">
            <a:spLocks noChangeArrowheads="1"/>
          </p:cNvSpPr>
          <p:nvPr/>
        </p:nvSpPr>
        <p:spPr bwMode="auto">
          <a:xfrm>
            <a:off x="7501480" y="1894646"/>
            <a:ext cx="481643" cy="167715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pt-BR" altLang="pt-BR" sz="800">
                <a:solidFill>
                  <a:srgbClr val="000000"/>
                </a:solidFill>
              </a:rPr>
              <a:t>Teresina</a:t>
            </a:r>
          </a:p>
        </p:txBody>
      </p:sp>
      <p:sp>
        <p:nvSpPr>
          <p:cNvPr id="199" name="Oval 85"/>
          <p:cNvSpPr>
            <a:spLocks noChangeArrowheads="1"/>
          </p:cNvSpPr>
          <p:nvPr/>
        </p:nvSpPr>
        <p:spPr bwMode="auto">
          <a:xfrm>
            <a:off x="7714349" y="1855943"/>
            <a:ext cx="51605" cy="49454"/>
          </a:xfrm>
          <a:prstGeom prst="ellipse">
            <a:avLst/>
          </a:prstGeom>
          <a:solidFill>
            <a:schemeClr val="tx1"/>
          </a:solidFill>
          <a:ln w="3175" algn="ctr">
            <a:solidFill>
              <a:srgbClr val="002C5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/>
          </a:p>
        </p:txBody>
      </p:sp>
      <p:sp>
        <p:nvSpPr>
          <p:cNvPr id="200" name="Oval 86"/>
          <p:cNvSpPr>
            <a:spLocks noChangeArrowheads="1"/>
          </p:cNvSpPr>
          <p:nvPr/>
        </p:nvSpPr>
        <p:spPr bwMode="auto">
          <a:xfrm>
            <a:off x="7725100" y="1866693"/>
            <a:ext cx="30103" cy="27953"/>
          </a:xfrm>
          <a:prstGeom prst="ellipse">
            <a:avLst/>
          </a:prstGeom>
          <a:solidFill>
            <a:schemeClr val="tx1"/>
          </a:solidFill>
          <a:ln w="3175" algn="ctr">
            <a:solidFill>
              <a:srgbClr val="002C5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/>
          </a:p>
        </p:txBody>
      </p:sp>
      <p:sp>
        <p:nvSpPr>
          <p:cNvPr id="201" name="Oval 87"/>
          <p:cNvSpPr>
            <a:spLocks noChangeArrowheads="1"/>
          </p:cNvSpPr>
          <p:nvPr/>
        </p:nvSpPr>
        <p:spPr bwMode="auto">
          <a:xfrm>
            <a:off x="8260498" y="1688227"/>
            <a:ext cx="51605" cy="51605"/>
          </a:xfrm>
          <a:prstGeom prst="ellipse">
            <a:avLst/>
          </a:prstGeom>
          <a:solidFill>
            <a:schemeClr val="tx1"/>
          </a:solidFill>
          <a:ln w="3175" algn="ctr">
            <a:solidFill>
              <a:srgbClr val="002C5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/>
          </a:p>
        </p:txBody>
      </p:sp>
      <p:sp>
        <p:nvSpPr>
          <p:cNvPr id="202" name="Oval 88"/>
          <p:cNvSpPr>
            <a:spLocks noChangeArrowheads="1"/>
          </p:cNvSpPr>
          <p:nvPr/>
        </p:nvSpPr>
        <p:spPr bwMode="auto">
          <a:xfrm>
            <a:off x="8273399" y="1701128"/>
            <a:ext cx="27953" cy="27953"/>
          </a:xfrm>
          <a:prstGeom prst="ellipse">
            <a:avLst/>
          </a:prstGeom>
          <a:solidFill>
            <a:schemeClr val="tx1"/>
          </a:solidFill>
          <a:ln w="3175" algn="ctr">
            <a:solidFill>
              <a:srgbClr val="002C5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/>
          </a:p>
        </p:txBody>
      </p:sp>
      <p:sp>
        <p:nvSpPr>
          <p:cNvPr id="203" name="Text Box 89"/>
          <p:cNvSpPr txBox="1">
            <a:spLocks noChangeArrowheads="1"/>
          </p:cNvSpPr>
          <p:nvPr/>
        </p:nvSpPr>
        <p:spPr bwMode="auto">
          <a:xfrm>
            <a:off x="8017526" y="1750583"/>
            <a:ext cx="212869" cy="249422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pt-BR" altLang="pt-BR" sz="1200">
                <a:solidFill>
                  <a:srgbClr val="000000"/>
                </a:solidFill>
              </a:rPr>
              <a:t>CE</a:t>
            </a:r>
          </a:p>
        </p:txBody>
      </p:sp>
      <p:sp>
        <p:nvSpPr>
          <p:cNvPr id="204" name="Text Box 90"/>
          <p:cNvSpPr txBox="1">
            <a:spLocks noChangeArrowheads="1"/>
          </p:cNvSpPr>
          <p:nvPr/>
        </p:nvSpPr>
        <p:spPr bwMode="auto">
          <a:xfrm>
            <a:off x="8408861" y="1853792"/>
            <a:ext cx="206418" cy="208568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pt-BR" altLang="pt-BR" sz="1000">
                <a:solidFill>
                  <a:srgbClr val="000000"/>
                </a:solidFill>
              </a:rPr>
              <a:t>RN</a:t>
            </a:r>
          </a:p>
        </p:txBody>
      </p:sp>
      <p:sp>
        <p:nvSpPr>
          <p:cNvPr id="205" name="Text Box 91"/>
          <p:cNvSpPr txBox="1">
            <a:spLocks noChangeArrowheads="1"/>
          </p:cNvSpPr>
          <p:nvPr/>
        </p:nvSpPr>
        <p:spPr bwMode="auto">
          <a:xfrm>
            <a:off x="8755042" y="1883895"/>
            <a:ext cx="301027" cy="124711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75000"/>
              </a:lnSpc>
            </a:pPr>
            <a:r>
              <a:rPr lang="pt-BR" altLang="pt-BR" sz="800">
                <a:solidFill>
                  <a:srgbClr val="000000"/>
                </a:solidFill>
              </a:rPr>
              <a:t>Natal</a:t>
            </a:r>
          </a:p>
        </p:txBody>
      </p:sp>
      <p:sp>
        <p:nvSpPr>
          <p:cNvPr id="206" name="Text Box 92"/>
          <p:cNvSpPr txBox="1">
            <a:spLocks noChangeArrowheads="1"/>
          </p:cNvSpPr>
          <p:nvPr/>
        </p:nvSpPr>
        <p:spPr bwMode="auto">
          <a:xfrm>
            <a:off x="8297051" y="1535564"/>
            <a:ext cx="520346" cy="124711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75000"/>
              </a:lnSpc>
            </a:pPr>
            <a:r>
              <a:rPr lang="pt-BR" altLang="pt-BR" sz="800">
                <a:solidFill>
                  <a:srgbClr val="000000"/>
                </a:solidFill>
              </a:rPr>
              <a:t>Fortaleza</a:t>
            </a:r>
          </a:p>
        </p:txBody>
      </p:sp>
      <p:sp>
        <p:nvSpPr>
          <p:cNvPr id="207" name="Oval 93"/>
          <p:cNvSpPr>
            <a:spLocks noChangeArrowheads="1"/>
          </p:cNvSpPr>
          <p:nvPr/>
        </p:nvSpPr>
        <p:spPr bwMode="auto">
          <a:xfrm>
            <a:off x="8677635" y="1933350"/>
            <a:ext cx="47304" cy="49454"/>
          </a:xfrm>
          <a:prstGeom prst="ellipse">
            <a:avLst/>
          </a:prstGeom>
          <a:solidFill>
            <a:schemeClr val="tx1"/>
          </a:solidFill>
          <a:ln w="3175" algn="ctr">
            <a:solidFill>
              <a:srgbClr val="002C5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/>
          </a:p>
        </p:txBody>
      </p:sp>
      <p:sp>
        <p:nvSpPr>
          <p:cNvPr id="208" name="Oval 94"/>
          <p:cNvSpPr>
            <a:spLocks noChangeArrowheads="1"/>
          </p:cNvSpPr>
          <p:nvPr/>
        </p:nvSpPr>
        <p:spPr bwMode="auto">
          <a:xfrm>
            <a:off x="8686236" y="1944101"/>
            <a:ext cx="27953" cy="27953"/>
          </a:xfrm>
          <a:prstGeom prst="ellipse">
            <a:avLst/>
          </a:prstGeom>
          <a:solidFill>
            <a:schemeClr val="tx1"/>
          </a:solidFill>
          <a:ln w="3175" algn="ctr">
            <a:solidFill>
              <a:srgbClr val="002C5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/>
          </a:p>
        </p:txBody>
      </p:sp>
      <p:sp>
        <p:nvSpPr>
          <p:cNvPr id="209" name="Text Box 95"/>
          <p:cNvSpPr txBox="1">
            <a:spLocks noChangeArrowheads="1"/>
          </p:cNvSpPr>
          <p:nvPr/>
        </p:nvSpPr>
        <p:spPr bwMode="auto">
          <a:xfrm>
            <a:off x="8432513" y="2062361"/>
            <a:ext cx="184916" cy="208568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pt-BR" altLang="pt-BR" sz="1000" dirty="0">
                <a:solidFill>
                  <a:srgbClr val="000000"/>
                </a:solidFill>
              </a:rPr>
              <a:t>PB</a:t>
            </a:r>
          </a:p>
        </p:txBody>
      </p:sp>
      <p:sp>
        <p:nvSpPr>
          <p:cNvPr id="210" name="Text Box 96"/>
          <p:cNvSpPr txBox="1">
            <a:spLocks noChangeArrowheads="1"/>
          </p:cNvSpPr>
          <p:nvPr/>
        </p:nvSpPr>
        <p:spPr bwMode="auto">
          <a:xfrm>
            <a:off x="8830299" y="2073112"/>
            <a:ext cx="679460" cy="124711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75000"/>
              </a:lnSpc>
            </a:pPr>
            <a:r>
              <a:rPr lang="pt-BR" altLang="pt-BR" sz="800">
                <a:solidFill>
                  <a:srgbClr val="000000"/>
                </a:solidFill>
              </a:rPr>
              <a:t>João Pessoa</a:t>
            </a:r>
          </a:p>
        </p:txBody>
      </p:sp>
      <p:sp>
        <p:nvSpPr>
          <p:cNvPr id="211" name="Text Box 97"/>
          <p:cNvSpPr txBox="1">
            <a:spLocks noChangeArrowheads="1"/>
          </p:cNvSpPr>
          <p:nvPr/>
        </p:nvSpPr>
        <p:spPr bwMode="auto">
          <a:xfrm>
            <a:off x="8785145" y="2279531"/>
            <a:ext cx="350482" cy="124711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75000"/>
              </a:lnSpc>
            </a:pPr>
            <a:r>
              <a:rPr lang="pt-BR" altLang="pt-BR" sz="800">
                <a:solidFill>
                  <a:srgbClr val="000000"/>
                </a:solidFill>
              </a:rPr>
              <a:t>Recife</a:t>
            </a:r>
          </a:p>
        </p:txBody>
      </p:sp>
      <p:sp>
        <p:nvSpPr>
          <p:cNvPr id="212" name="Oval 98"/>
          <p:cNvSpPr>
            <a:spLocks noChangeArrowheads="1"/>
          </p:cNvSpPr>
          <p:nvPr/>
        </p:nvSpPr>
        <p:spPr bwMode="auto">
          <a:xfrm>
            <a:off x="8720639" y="2116116"/>
            <a:ext cx="51605" cy="49454"/>
          </a:xfrm>
          <a:prstGeom prst="ellipse">
            <a:avLst/>
          </a:prstGeom>
          <a:solidFill>
            <a:schemeClr val="tx1"/>
          </a:solidFill>
          <a:ln w="3175">
            <a:solidFill>
              <a:srgbClr val="002C5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/>
          </a:p>
        </p:txBody>
      </p:sp>
      <p:sp>
        <p:nvSpPr>
          <p:cNvPr id="213" name="Oval 99"/>
          <p:cNvSpPr>
            <a:spLocks noChangeArrowheads="1"/>
          </p:cNvSpPr>
          <p:nvPr/>
        </p:nvSpPr>
        <p:spPr bwMode="auto">
          <a:xfrm>
            <a:off x="8731390" y="2126867"/>
            <a:ext cx="30103" cy="30103"/>
          </a:xfrm>
          <a:prstGeom prst="ellipse">
            <a:avLst/>
          </a:prstGeom>
          <a:solidFill>
            <a:schemeClr val="tx1"/>
          </a:solidFill>
          <a:ln w="3175">
            <a:solidFill>
              <a:srgbClr val="002C5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/>
          </a:p>
        </p:txBody>
      </p:sp>
      <p:sp>
        <p:nvSpPr>
          <p:cNvPr id="214" name="Oval 100"/>
          <p:cNvSpPr>
            <a:spLocks noChangeArrowheads="1"/>
          </p:cNvSpPr>
          <p:nvPr/>
        </p:nvSpPr>
        <p:spPr bwMode="auto">
          <a:xfrm>
            <a:off x="8705587" y="2268780"/>
            <a:ext cx="49454" cy="51605"/>
          </a:xfrm>
          <a:prstGeom prst="ellipse">
            <a:avLst/>
          </a:prstGeom>
          <a:solidFill>
            <a:schemeClr val="tx1"/>
          </a:solidFill>
          <a:ln w="3175">
            <a:solidFill>
              <a:srgbClr val="002C5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/>
          </a:p>
        </p:txBody>
      </p:sp>
      <p:sp>
        <p:nvSpPr>
          <p:cNvPr id="215" name="Oval 101"/>
          <p:cNvSpPr>
            <a:spLocks noChangeArrowheads="1"/>
          </p:cNvSpPr>
          <p:nvPr/>
        </p:nvSpPr>
        <p:spPr bwMode="auto">
          <a:xfrm>
            <a:off x="8716338" y="2279531"/>
            <a:ext cx="27953" cy="30103"/>
          </a:xfrm>
          <a:prstGeom prst="ellipse">
            <a:avLst/>
          </a:prstGeom>
          <a:solidFill>
            <a:schemeClr val="tx1"/>
          </a:solidFill>
          <a:ln w="3175">
            <a:solidFill>
              <a:srgbClr val="002C5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/>
          </a:p>
        </p:txBody>
      </p:sp>
      <p:sp>
        <p:nvSpPr>
          <p:cNvPr id="216" name="Text Box 102"/>
          <p:cNvSpPr txBox="1">
            <a:spLocks noChangeArrowheads="1"/>
          </p:cNvSpPr>
          <p:nvPr/>
        </p:nvSpPr>
        <p:spPr bwMode="auto">
          <a:xfrm>
            <a:off x="8406711" y="2242977"/>
            <a:ext cx="174166" cy="208568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pt-BR" altLang="pt-BR" sz="1000">
                <a:solidFill>
                  <a:srgbClr val="000000"/>
                </a:solidFill>
              </a:rPr>
              <a:t>PE</a:t>
            </a:r>
          </a:p>
        </p:txBody>
      </p:sp>
      <p:sp>
        <p:nvSpPr>
          <p:cNvPr id="217" name="Text Box 103"/>
          <p:cNvSpPr txBox="1">
            <a:spLocks noChangeArrowheads="1"/>
          </p:cNvSpPr>
          <p:nvPr/>
        </p:nvSpPr>
        <p:spPr bwMode="auto">
          <a:xfrm>
            <a:off x="8176640" y="2533253"/>
            <a:ext cx="165565" cy="208568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pt-BR" altLang="pt-BR" sz="1000">
                <a:solidFill>
                  <a:srgbClr val="000000"/>
                </a:solidFill>
              </a:rPr>
              <a:t>SE</a:t>
            </a:r>
          </a:p>
        </p:txBody>
      </p:sp>
      <p:sp>
        <p:nvSpPr>
          <p:cNvPr id="218" name="Text Box 104"/>
          <p:cNvSpPr txBox="1">
            <a:spLocks noChangeArrowheads="1"/>
          </p:cNvSpPr>
          <p:nvPr/>
        </p:nvSpPr>
        <p:spPr bwMode="auto">
          <a:xfrm>
            <a:off x="8361557" y="2391341"/>
            <a:ext cx="174166" cy="208568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pt-BR" altLang="pt-BR" sz="1000" dirty="0">
                <a:solidFill>
                  <a:srgbClr val="000000"/>
                </a:solidFill>
              </a:rPr>
              <a:t>AL</a:t>
            </a:r>
          </a:p>
        </p:txBody>
      </p:sp>
      <p:sp>
        <p:nvSpPr>
          <p:cNvPr id="219" name="Text Box 105"/>
          <p:cNvSpPr txBox="1">
            <a:spLocks noChangeArrowheads="1"/>
          </p:cNvSpPr>
          <p:nvPr/>
        </p:nvSpPr>
        <p:spPr bwMode="auto">
          <a:xfrm>
            <a:off x="8684086" y="2509601"/>
            <a:ext cx="421438" cy="124711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75000"/>
              </a:lnSpc>
            </a:pPr>
            <a:r>
              <a:rPr lang="pt-BR" altLang="pt-BR" sz="800">
                <a:solidFill>
                  <a:srgbClr val="000000"/>
                </a:solidFill>
              </a:rPr>
              <a:t>Maceió</a:t>
            </a:r>
          </a:p>
        </p:txBody>
      </p:sp>
      <p:sp>
        <p:nvSpPr>
          <p:cNvPr id="220" name="Text Box 106"/>
          <p:cNvSpPr txBox="1">
            <a:spLocks noChangeArrowheads="1"/>
          </p:cNvSpPr>
          <p:nvPr/>
        </p:nvSpPr>
        <p:spPr bwMode="auto">
          <a:xfrm>
            <a:off x="8492718" y="2677316"/>
            <a:ext cx="427888" cy="124711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75000"/>
              </a:lnSpc>
            </a:pPr>
            <a:r>
              <a:rPr lang="pt-BR" altLang="pt-BR" sz="800">
                <a:solidFill>
                  <a:srgbClr val="000000"/>
                </a:solidFill>
              </a:rPr>
              <a:t>Aracaju</a:t>
            </a:r>
          </a:p>
        </p:txBody>
      </p:sp>
      <p:sp>
        <p:nvSpPr>
          <p:cNvPr id="221" name="Oval 107"/>
          <p:cNvSpPr>
            <a:spLocks noChangeArrowheads="1"/>
          </p:cNvSpPr>
          <p:nvPr/>
        </p:nvSpPr>
        <p:spPr bwMode="auto">
          <a:xfrm>
            <a:off x="8606679" y="2464447"/>
            <a:ext cx="49454" cy="49454"/>
          </a:xfrm>
          <a:prstGeom prst="ellipse">
            <a:avLst/>
          </a:prstGeom>
          <a:solidFill>
            <a:schemeClr val="tx1"/>
          </a:solidFill>
          <a:ln w="3175">
            <a:solidFill>
              <a:srgbClr val="002C5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/>
          </a:p>
        </p:txBody>
      </p:sp>
      <p:sp>
        <p:nvSpPr>
          <p:cNvPr id="222" name="Oval 108"/>
          <p:cNvSpPr>
            <a:spLocks noChangeArrowheads="1"/>
          </p:cNvSpPr>
          <p:nvPr/>
        </p:nvSpPr>
        <p:spPr bwMode="auto">
          <a:xfrm>
            <a:off x="8617429" y="2475198"/>
            <a:ext cx="27953" cy="27953"/>
          </a:xfrm>
          <a:prstGeom prst="ellipse">
            <a:avLst/>
          </a:prstGeom>
          <a:solidFill>
            <a:schemeClr val="tx1"/>
          </a:solidFill>
          <a:ln w="3175">
            <a:solidFill>
              <a:srgbClr val="002C5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/>
          </a:p>
        </p:txBody>
      </p:sp>
      <p:sp>
        <p:nvSpPr>
          <p:cNvPr id="223" name="Oval 109"/>
          <p:cNvSpPr>
            <a:spLocks noChangeArrowheads="1"/>
          </p:cNvSpPr>
          <p:nvPr/>
        </p:nvSpPr>
        <p:spPr bwMode="auto">
          <a:xfrm>
            <a:off x="8415312" y="2642912"/>
            <a:ext cx="51605" cy="47304"/>
          </a:xfrm>
          <a:prstGeom prst="ellipse">
            <a:avLst/>
          </a:prstGeom>
          <a:solidFill>
            <a:schemeClr val="tx1"/>
          </a:solidFill>
          <a:ln w="3175">
            <a:solidFill>
              <a:srgbClr val="002C5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/>
          </a:p>
        </p:txBody>
      </p:sp>
      <p:sp>
        <p:nvSpPr>
          <p:cNvPr id="224" name="Oval 110"/>
          <p:cNvSpPr>
            <a:spLocks noChangeArrowheads="1"/>
          </p:cNvSpPr>
          <p:nvPr/>
        </p:nvSpPr>
        <p:spPr bwMode="auto">
          <a:xfrm>
            <a:off x="8428212" y="2651514"/>
            <a:ext cx="30103" cy="30103"/>
          </a:xfrm>
          <a:prstGeom prst="ellipse">
            <a:avLst/>
          </a:prstGeom>
          <a:solidFill>
            <a:schemeClr val="tx1"/>
          </a:solidFill>
          <a:ln w="3175">
            <a:solidFill>
              <a:srgbClr val="002C5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/>
          </a:p>
        </p:txBody>
      </p:sp>
      <p:sp>
        <p:nvSpPr>
          <p:cNvPr id="225" name="Text Box 111"/>
          <p:cNvSpPr txBox="1">
            <a:spLocks noChangeArrowheads="1"/>
          </p:cNvSpPr>
          <p:nvPr/>
        </p:nvSpPr>
        <p:spPr bwMode="auto">
          <a:xfrm>
            <a:off x="7729400" y="2679466"/>
            <a:ext cx="232220" cy="249422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pt-BR" altLang="pt-BR" sz="1200">
                <a:solidFill>
                  <a:srgbClr val="000000"/>
                </a:solidFill>
              </a:rPr>
              <a:t>BA</a:t>
            </a:r>
          </a:p>
        </p:txBody>
      </p:sp>
      <p:sp>
        <p:nvSpPr>
          <p:cNvPr id="226" name="Text Box 112"/>
          <p:cNvSpPr txBox="1">
            <a:spLocks noChangeArrowheads="1"/>
          </p:cNvSpPr>
          <p:nvPr/>
        </p:nvSpPr>
        <p:spPr bwMode="auto">
          <a:xfrm>
            <a:off x="8294901" y="2963291"/>
            <a:ext cx="488094" cy="124711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75000"/>
              </a:lnSpc>
            </a:pPr>
            <a:r>
              <a:rPr lang="pt-BR" altLang="pt-BR" sz="800">
                <a:solidFill>
                  <a:srgbClr val="000000"/>
                </a:solidFill>
              </a:rPr>
              <a:t>Salvador</a:t>
            </a:r>
          </a:p>
        </p:txBody>
      </p:sp>
      <p:sp>
        <p:nvSpPr>
          <p:cNvPr id="227" name="Oval 113"/>
          <p:cNvSpPr>
            <a:spLocks noChangeArrowheads="1"/>
          </p:cNvSpPr>
          <p:nvPr/>
        </p:nvSpPr>
        <p:spPr bwMode="auto">
          <a:xfrm>
            <a:off x="8230395" y="2898786"/>
            <a:ext cx="49454" cy="47304"/>
          </a:xfrm>
          <a:prstGeom prst="ellipse">
            <a:avLst/>
          </a:prstGeom>
          <a:solidFill>
            <a:schemeClr val="tx1"/>
          </a:solidFill>
          <a:ln w="3175">
            <a:solidFill>
              <a:srgbClr val="002C5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/>
          </a:p>
        </p:txBody>
      </p:sp>
      <p:sp>
        <p:nvSpPr>
          <p:cNvPr id="228" name="Oval 114"/>
          <p:cNvSpPr>
            <a:spLocks noChangeArrowheads="1"/>
          </p:cNvSpPr>
          <p:nvPr/>
        </p:nvSpPr>
        <p:spPr bwMode="auto">
          <a:xfrm>
            <a:off x="8238996" y="2907386"/>
            <a:ext cx="30103" cy="30103"/>
          </a:xfrm>
          <a:prstGeom prst="ellipse">
            <a:avLst/>
          </a:prstGeom>
          <a:solidFill>
            <a:schemeClr val="tx1"/>
          </a:solidFill>
          <a:ln w="3175">
            <a:solidFill>
              <a:srgbClr val="002C5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/>
          </a:p>
        </p:txBody>
      </p:sp>
      <p:sp>
        <p:nvSpPr>
          <p:cNvPr id="229" name="Text Box 115"/>
          <p:cNvSpPr txBox="1">
            <a:spLocks noChangeArrowheads="1"/>
          </p:cNvSpPr>
          <p:nvPr/>
        </p:nvSpPr>
        <p:spPr bwMode="auto">
          <a:xfrm>
            <a:off x="6817719" y="2221475"/>
            <a:ext cx="234371" cy="249422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pt-BR" altLang="pt-BR" sz="1200">
                <a:solidFill>
                  <a:srgbClr val="000000"/>
                </a:solidFill>
              </a:rPr>
              <a:t>TO</a:t>
            </a:r>
          </a:p>
        </p:txBody>
      </p:sp>
      <p:sp>
        <p:nvSpPr>
          <p:cNvPr id="230" name="Text Box 116"/>
          <p:cNvSpPr txBox="1">
            <a:spLocks noChangeArrowheads="1"/>
          </p:cNvSpPr>
          <p:nvPr/>
        </p:nvSpPr>
        <p:spPr bwMode="auto">
          <a:xfrm>
            <a:off x="6669356" y="2522502"/>
            <a:ext cx="404236" cy="124711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75000"/>
              </a:lnSpc>
            </a:pPr>
            <a:r>
              <a:rPr lang="pt-BR" altLang="pt-BR" sz="800">
                <a:solidFill>
                  <a:srgbClr val="000000"/>
                </a:solidFill>
              </a:rPr>
              <a:t>Palmas</a:t>
            </a:r>
          </a:p>
        </p:txBody>
      </p:sp>
      <p:sp>
        <p:nvSpPr>
          <p:cNvPr id="231" name="Oval 117"/>
          <p:cNvSpPr>
            <a:spLocks noChangeArrowheads="1"/>
          </p:cNvSpPr>
          <p:nvPr/>
        </p:nvSpPr>
        <p:spPr bwMode="auto">
          <a:xfrm>
            <a:off x="6875774" y="2447245"/>
            <a:ext cx="49454" cy="47304"/>
          </a:xfrm>
          <a:prstGeom prst="ellipse">
            <a:avLst/>
          </a:prstGeom>
          <a:solidFill>
            <a:srgbClr val="1C3148"/>
          </a:solidFill>
          <a:ln w="3175">
            <a:solidFill>
              <a:srgbClr val="002C5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/>
          </a:p>
        </p:txBody>
      </p:sp>
      <p:sp>
        <p:nvSpPr>
          <p:cNvPr id="232" name="Oval 118"/>
          <p:cNvSpPr>
            <a:spLocks noChangeArrowheads="1"/>
          </p:cNvSpPr>
          <p:nvPr/>
        </p:nvSpPr>
        <p:spPr bwMode="auto">
          <a:xfrm>
            <a:off x="6886525" y="2455846"/>
            <a:ext cx="27953" cy="27953"/>
          </a:xfrm>
          <a:prstGeom prst="ellipse">
            <a:avLst/>
          </a:prstGeom>
          <a:solidFill>
            <a:srgbClr val="1C3148"/>
          </a:solidFill>
          <a:ln w="3175">
            <a:solidFill>
              <a:srgbClr val="002C5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/>
          </a:p>
        </p:txBody>
      </p:sp>
      <p:sp>
        <p:nvSpPr>
          <p:cNvPr id="235" name="Oval 133"/>
          <p:cNvSpPr>
            <a:spLocks noChangeArrowheads="1"/>
          </p:cNvSpPr>
          <p:nvPr/>
        </p:nvSpPr>
        <p:spPr bwMode="auto">
          <a:xfrm>
            <a:off x="6751063" y="3408382"/>
            <a:ext cx="49454" cy="51605"/>
          </a:xfrm>
          <a:prstGeom prst="ellipse">
            <a:avLst/>
          </a:prstGeom>
          <a:solidFill>
            <a:schemeClr val="tx1"/>
          </a:solidFill>
          <a:ln w="3175">
            <a:solidFill>
              <a:srgbClr val="002C5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/>
          </a:p>
        </p:txBody>
      </p:sp>
      <p:sp>
        <p:nvSpPr>
          <p:cNvPr id="237" name="Text Box 135"/>
          <p:cNvSpPr txBox="1">
            <a:spLocks noChangeArrowheads="1"/>
          </p:cNvSpPr>
          <p:nvPr/>
        </p:nvSpPr>
        <p:spPr bwMode="auto">
          <a:xfrm>
            <a:off x="4338548" y="1651674"/>
            <a:ext cx="298877" cy="249422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pt-BR" altLang="pt-BR" sz="1200">
                <a:solidFill>
                  <a:srgbClr val="000000"/>
                </a:solidFill>
              </a:rPr>
              <a:t>AM</a:t>
            </a:r>
          </a:p>
        </p:txBody>
      </p:sp>
      <p:grpSp>
        <p:nvGrpSpPr>
          <p:cNvPr id="238" name="Group 149"/>
          <p:cNvGrpSpPr>
            <a:grpSpLocks/>
          </p:cNvGrpSpPr>
          <p:nvPr/>
        </p:nvGrpSpPr>
        <p:grpSpPr bwMode="auto">
          <a:xfrm>
            <a:off x="5183574" y="645385"/>
            <a:ext cx="49454" cy="49454"/>
            <a:chOff x="2576" y="1536"/>
            <a:chExt cx="23" cy="23"/>
          </a:xfrm>
        </p:grpSpPr>
        <p:sp>
          <p:nvSpPr>
            <p:cNvPr id="249" name="Oval 76"/>
            <p:cNvSpPr>
              <a:spLocks noChangeArrowheads="1"/>
            </p:cNvSpPr>
            <p:nvPr/>
          </p:nvSpPr>
          <p:spPr bwMode="auto">
            <a:xfrm>
              <a:off x="2581" y="1541"/>
              <a:ext cx="12" cy="14"/>
            </a:xfrm>
            <a:prstGeom prst="ellipse">
              <a:avLst/>
            </a:prstGeom>
            <a:solidFill>
              <a:schemeClr val="tx1"/>
            </a:solidFill>
            <a:ln w="3175">
              <a:solidFill>
                <a:srgbClr val="002C5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/>
            </a:p>
          </p:txBody>
        </p:sp>
        <p:sp>
          <p:nvSpPr>
            <p:cNvPr id="250" name="Oval 137"/>
            <p:cNvSpPr>
              <a:spLocks noChangeArrowheads="1"/>
            </p:cNvSpPr>
            <p:nvPr/>
          </p:nvSpPr>
          <p:spPr bwMode="auto">
            <a:xfrm>
              <a:off x="2576" y="1536"/>
              <a:ext cx="23" cy="23"/>
            </a:xfrm>
            <a:prstGeom prst="ellipse">
              <a:avLst/>
            </a:prstGeom>
            <a:solidFill>
              <a:schemeClr val="tx1"/>
            </a:solidFill>
            <a:ln w="3175">
              <a:solidFill>
                <a:srgbClr val="002C5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/>
            </a:p>
          </p:txBody>
        </p:sp>
      </p:grpSp>
      <p:sp>
        <p:nvSpPr>
          <p:cNvPr id="239" name="Oval 138"/>
          <p:cNvSpPr>
            <a:spLocks noChangeArrowheads="1"/>
          </p:cNvSpPr>
          <p:nvPr/>
        </p:nvSpPr>
        <p:spPr bwMode="auto">
          <a:xfrm>
            <a:off x="6559697" y="1017368"/>
            <a:ext cx="49454" cy="49454"/>
          </a:xfrm>
          <a:prstGeom prst="ellipse">
            <a:avLst/>
          </a:prstGeom>
          <a:solidFill>
            <a:schemeClr val="tx1"/>
          </a:solidFill>
          <a:ln w="3175" algn="ctr">
            <a:solidFill>
              <a:srgbClr val="0C6D78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pt-BR"/>
          </a:p>
        </p:txBody>
      </p:sp>
      <p:sp>
        <p:nvSpPr>
          <p:cNvPr id="240" name="Oval 139"/>
          <p:cNvSpPr>
            <a:spLocks noChangeArrowheads="1"/>
          </p:cNvSpPr>
          <p:nvPr/>
        </p:nvSpPr>
        <p:spPr bwMode="auto">
          <a:xfrm>
            <a:off x="6854273" y="1329145"/>
            <a:ext cx="30103" cy="27953"/>
          </a:xfrm>
          <a:prstGeom prst="ellipse">
            <a:avLst/>
          </a:prstGeom>
          <a:solidFill>
            <a:schemeClr val="tx1"/>
          </a:solidFill>
          <a:ln w="3175">
            <a:solidFill>
              <a:srgbClr val="002C5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/>
          </a:p>
        </p:txBody>
      </p:sp>
      <p:sp>
        <p:nvSpPr>
          <p:cNvPr id="241" name="Oval 140"/>
          <p:cNvSpPr>
            <a:spLocks noChangeArrowheads="1"/>
          </p:cNvSpPr>
          <p:nvPr/>
        </p:nvSpPr>
        <p:spPr bwMode="auto">
          <a:xfrm>
            <a:off x="6845671" y="1316244"/>
            <a:ext cx="47304" cy="51605"/>
          </a:xfrm>
          <a:prstGeom prst="ellipse">
            <a:avLst/>
          </a:prstGeom>
          <a:solidFill>
            <a:schemeClr val="tx1"/>
          </a:solidFill>
          <a:ln w="3175">
            <a:solidFill>
              <a:srgbClr val="002C5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/>
          </a:p>
        </p:txBody>
      </p:sp>
      <p:sp>
        <p:nvSpPr>
          <p:cNvPr id="242" name="Oval 141"/>
          <p:cNvSpPr>
            <a:spLocks noChangeArrowheads="1"/>
          </p:cNvSpPr>
          <p:nvPr/>
        </p:nvSpPr>
        <p:spPr bwMode="auto">
          <a:xfrm>
            <a:off x="6086654" y="3943779"/>
            <a:ext cx="30103" cy="27953"/>
          </a:xfrm>
          <a:prstGeom prst="ellipse">
            <a:avLst/>
          </a:prstGeom>
          <a:solidFill>
            <a:schemeClr val="tx1"/>
          </a:solidFill>
          <a:ln w="3175">
            <a:solidFill>
              <a:srgbClr val="002C5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/>
          </a:p>
        </p:txBody>
      </p:sp>
      <p:sp>
        <p:nvSpPr>
          <p:cNvPr id="243" name="Oval 142"/>
          <p:cNvSpPr>
            <a:spLocks noChangeArrowheads="1"/>
          </p:cNvSpPr>
          <p:nvPr/>
        </p:nvSpPr>
        <p:spPr bwMode="auto">
          <a:xfrm>
            <a:off x="5912489" y="3165409"/>
            <a:ext cx="51605" cy="49454"/>
          </a:xfrm>
          <a:prstGeom prst="ellipse">
            <a:avLst/>
          </a:prstGeom>
          <a:solidFill>
            <a:schemeClr val="tx1"/>
          </a:solidFill>
          <a:ln w="3175">
            <a:solidFill>
              <a:srgbClr val="002C5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/>
          </a:p>
        </p:txBody>
      </p:sp>
      <p:sp>
        <p:nvSpPr>
          <p:cNvPr id="244" name="Oval 143"/>
          <p:cNvSpPr>
            <a:spLocks noChangeArrowheads="1"/>
          </p:cNvSpPr>
          <p:nvPr/>
        </p:nvSpPr>
        <p:spPr bwMode="auto">
          <a:xfrm>
            <a:off x="6078054" y="3933028"/>
            <a:ext cx="49454" cy="49454"/>
          </a:xfrm>
          <a:prstGeom prst="ellipse">
            <a:avLst/>
          </a:prstGeom>
          <a:solidFill>
            <a:schemeClr val="tx1"/>
          </a:solidFill>
          <a:ln w="3175">
            <a:solidFill>
              <a:srgbClr val="002C5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/>
          </a:p>
        </p:txBody>
      </p:sp>
      <p:sp>
        <p:nvSpPr>
          <p:cNvPr id="245" name="Rectangle 144"/>
          <p:cNvSpPr>
            <a:spLocks noChangeArrowheads="1"/>
          </p:cNvSpPr>
          <p:nvPr/>
        </p:nvSpPr>
        <p:spPr bwMode="auto">
          <a:xfrm>
            <a:off x="6938130" y="3270769"/>
            <a:ext cx="120410" cy="68806"/>
          </a:xfrm>
          <a:prstGeom prst="rect">
            <a:avLst/>
          </a:prstGeom>
          <a:solidFill>
            <a:srgbClr val="ECECE8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lnSpc>
                <a:spcPct val="85000"/>
              </a:lnSpc>
            </a:pPr>
            <a:endParaRPr lang="pt-BR" altLang="pt-BR">
              <a:solidFill>
                <a:srgbClr val="000000"/>
              </a:solidFill>
            </a:endParaRPr>
          </a:p>
        </p:txBody>
      </p:sp>
      <p:sp>
        <p:nvSpPr>
          <p:cNvPr id="246" name="Oval 145"/>
          <p:cNvSpPr>
            <a:spLocks noChangeArrowheads="1"/>
          </p:cNvSpPr>
          <p:nvPr/>
        </p:nvSpPr>
        <p:spPr bwMode="auto">
          <a:xfrm>
            <a:off x="7095094" y="4335114"/>
            <a:ext cx="47304" cy="51605"/>
          </a:xfrm>
          <a:prstGeom prst="ellipse">
            <a:avLst/>
          </a:prstGeom>
          <a:solidFill>
            <a:schemeClr val="tx1"/>
          </a:solidFill>
          <a:ln w="3175" algn="ctr">
            <a:solidFill>
              <a:srgbClr val="002C5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/>
          </a:p>
        </p:txBody>
      </p:sp>
      <p:sp>
        <p:nvSpPr>
          <p:cNvPr id="247" name="Text Box 146"/>
          <p:cNvSpPr txBox="1">
            <a:spLocks noChangeArrowheads="1"/>
          </p:cNvSpPr>
          <p:nvPr/>
        </p:nvSpPr>
        <p:spPr bwMode="auto">
          <a:xfrm>
            <a:off x="7817558" y="3711558"/>
            <a:ext cx="165565" cy="208568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pt-BR" altLang="pt-BR" sz="1000">
                <a:solidFill>
                  <a:srgbClr val="000000"/>
                </a:solidFill>
              </a:rPr>
              <a:t>ES</a:t>
            </a:r>
          </a:p>
        </p:txBody>
      </p:sp>
      <p:sp>
        <p:nvSpPr>
          <p:cNvPr id="248" name="Text Box 147"/>
          <p:cNvSpPr txBox="1">
            <a:spLocks noChangeArrowheads="1"/>
          </p:cNvSpPr>
          <p:nvPr/>
        </p:nvSpPr>
        <p:spPr bwMode="auto">
          <a:xfrm>
            <a:off x="7574587" y="4102893"/>
            <a:ext cx="150514" cy="208568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00000"/>
              </a:lnSpc>
            </a:pPr>
            <a:r>
              <a:rPr lang="pt-BR" altLang="pt-BR" sz="1000">
                <a:solidFill>
                  <a:srgbClr val="000000"/>
                </a:solidFill>
              </a:rPr>
              <a:t>RJ</a:t>
            </a:r>
          </a:p>
        </p:txBody>
      </p:sp>
      <p:sp>
        <p:nvSpPr>
          <p:cNvPr id="265" name="Oval 145">
            <a:extLst>
              <a:ext uri="{FF2B5EF4-FFF2-40B4-BE49-F238E27FC236}">
                <a16:creationId xmlns:a16="http://schemas.microsoft.com/office/drawing/2014/main" id="{D552C0D3-2640-45A9-92D2-EE474DAC9B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04457" y="4580235"/>
            <a:ext cx="47304" cy="51605"/>
          </a:xfrm>
          <a:prstGeom prst="ellipse">
            <a:avLst/>
          </a:prstGeom>
          <a:solidFill>
            <a:schemeClr val="tx1"/>
          </a:solidFill>
          <a:ln w="3175" algn="ctr">
            <a:solidFill>
              <a:srgbClr val="002C5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4484592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Agrupar 16">
            <a:extLst>
              <a:ext uri="{FF2B5EF4-FFF2-40B4-BE49-F238E27FC236}">
                <a16:creationId xmlns:a16="http://schemas.microsoft.com/office/drawing/2014/main" id="{04A94AD3-2753-4B4D-8539-5D07D8404CEC}"/>
              </a:ext>
            </a:extLst>
          </p:cNvPr>
          <p:cNvGrpSpPr/>
          <p:nvPr/>
        </p:nvGrpSpPr>
        <p:grpSpPr>
          <a:xfrm>
            <a:off x="6903727" y="1266789"/>
            <a:ext cx="1879267" cy="2434018"/>
            <a:chOff x="6903727" y="1266789"/>
            <a:chExt cx="1879267" cy="2434018"/>
          </a:xfrm>
          <a:solidFill>
            <a:schemeClr val="bg2"/>
          </a:solidFill>
        </p:grpSpPr>
        <p:sp>
          <p:nvSpPr>
            <p:cNvPr id="135" name="Freeform 20"/>
            <p:cNvSpPr>
              <a:spLocks/>
            </p:cNvSpPr>
            <p:nvPr/>
          </p:nvSpPr>
          <p:spPr bwMode="auto">
            <a:xfrm>
              <a:off x="6903727" y="1266789"/>
              <a:ext cx="943934" cy="1305167"/>
            </a:xfrm>
            <a:custGeom>
              <a:avLst/>
              <a:gdLst>
                <a:gd name="T0" fmla="*/ 175 w 484"/>
                <a:gd name="T1" fmla="*/ 671 h 671"/>
                <a:gd name="T2" fmla="*/ 148 w 484"/>
                <a:gd name="T3" fmla="*/ 652 h 671"/>
                <a:gd name="T4" fmla="*/ 133 w 484"/>
                <a:gd name="T5" fmla="*/ 612 h 671"/>
                <a:gd name="T6" fmla="*/ 121 w 484"/>
                <a:gd name="T7" fmla="*/ 571 h 671"/>
                <a:gd name="T8" fmla="*/ 102 w 484"/>
                <a:gd name="T9" fmla="*/ 541 h 671"/>
                <a:gd name="T10" fmla="*/ 98 w 484"/>
                <a:gd name="T11" fmla="*/ 516 h 671"/>
                <a:gd name="T12" fmla="*/ 102 w 484"/>
                <a:gd name="T13" fmla="*/ 498 h 671"/>
                <a:gd name="T14" fmla="*/ 98 w 484"/>
                <a:gd name="T15" fmla="*/ 473 h 671"/>
                <a:gd name="T16" fmla="*/ 81 w 484"/>
                <a:gd name="T17" fmla="*/ 452 h 671"/>
                <a:gd name="T18" fmla="*/ 60 w 484"/>
                <a:gd name="T19" fmla="*/ 431 h 671"/>
                <a:gd name="T20" fmla="*/ 77 w 484"/>
                <a:gd name="T21" fmla="*/ 397 h 671"/>
                <a:gd name="T22" fmla="*/ 85 w 484"/>
                <a:gd name="T23" fmla="*/ 362 h 671"/>
                <a:gd name="T24" fmla="*/ 81 w 484"/>
                <a:gd name="T25" fmla="*/ 332 h 671"/>
                <a:gd name="T26" fmla="*/ 62 w 484"/>
                <a:gd name="T27" fmla="*/ 299 h 671"/>
                <a:gd name="T28" fmla="*/ 25 w 484"/>
                <a:gd name="T29" fmla="*/ 287 h 671"/>
                <a:gd name="T30" fmla="*/ 14 w 484"/>
                <a:gd name="T31" fmla="*/ 272 h 671"/>
                <a:gd name="T32" fmla="*/ 38 w 484"/>
                <a:gd name="T33" fmla="*/ 249 h 671"/>
                <a:gd name="T34" fmla="*/ 75 w 484"/>
                <a:gd name="T35" fmla="*/ 239 h 671"/>
                <a:gd name="T36" fmla="*/ 90 w 484"/>
                <a:gd name="T37" fmla="*/ 201 h 671"/>
                <a:gd name="T38" fmla="*/ 119 w 484"/>
                <a:gd name="T39" fmla="*/ 155 h 671"/>
                <a:gd name="T40" fmla="*/ 138 w 484"/>
                <a:gd name="T41" fmla="*/ 119 h 671"/>
                <a:gd name="T42" fmla="*/ 154 w 484"/>
                <a:gd name="T43" fmla="*/ 88 h 671"/>
                <a:gd name="T44" fmla="*/ 167 w 484"/>
                <a:gd name="T45" fmla="*/ 63 h 671"/>
                <a:gd name="T46" fmla="*/ 180 w 484"/>
                <a:gd name="T47" fmla="*/ 25 h 671"/>
                <a:gd name="T48" fmla="*/ 196 w 484"/>
                <a:gd name="T49" fmla="*/ 5 h 671"/>
                <a:gd name="T50" fmla="*/ 236 w 484"/>
                <a:gd name="T51" fmla="*/ 15 h 671"/>
                <a:gd name="T52" fmla="*/ 261 w 484"/>
                <a:gd name="T53" fmla="*/ 28 h 671"/>
                <a:gd name="T54" fmla="*/ 298 w 484"/>
                <a:gd name="T55" fmla="*/ 48 h 671"/>
                <a:gd name="T56" fmla="*/ 298 w 484"/>
                <a:gd name="T57" fmla="*/ 73 h 671"/>
                <a:gd name="T58" fmla="*/ 309 w 484"/>
                <a:gd name="T59" fmla="*/ 86 h 671"/>
                <a:gd name="T60" fmla="*/ 299 w 484"/>
                <a:gd name="T61" fmla="*/ 115 h 671"/>
                <a:gd name="T62" fmla="*/ 317 w 484"/>
                <a:gd name="T63" fmla="*/ 105 h 671"/>
                <a:gd name="T64" fmla="*/ 346 w 484"/>
                <a:gd name="T65" fmla="*/ 99 h 671"/>
                <a:gd name="T66" fmla="*/ 370 w 484"/>
                <a:gd name="T67" fmla="*/ 94 h 671"/>
                <a:gd name="T68" fmla="*/ 411 w 484"/>
                <a:gd name="T69" fmla="*/ 109 h 671"/>
                <a:gd name="T70" fmla="*/ 449 w 484"/>
                <a:gd name="T71" fmla="*/ 130 h 671"/>
                <a:gd name="T72" fmla="*/ 480 w 484"/>
                <a:gd name="T73" fmla="*/ 142 h 671"/>
                <a:gd name="T74" fmla="*/ 453 w 484"/>
                <a:gd name="T75" fmla="*/ 167 h 671"/>
                <a:gd name="T76" fmla="*/ 426 w 484"/>
                <a:gd name="T77" fmla="*/ 188 h 671"/>
                <a:gd name="T78" fmla="*/ 405 w 484"/>
                <a:gd name="T79" fmla="*/ 218 h 671"/>
                <a:gd name="T80" fmla="*/ 409 w 484"/>
                <a:gd name="T81" fmla="*/ 255 h 671"/>
                <a:gd name="T82" fmla="*/ 405 w 484"/>
                <a:gd name="T83" fmla="*/ 291 h 671"/>
                <a:gd name="T84" fmla="*/ 397 w 484"/>
                <a:gd name="T85" fmla="*/ 312 h 671"/>
                <a:gd name="T86" fmla="*/ 390 w 484"/>
                <a:gd name="T87" fmla="*/ 347 h 671"/>
                <a:gd name="T88" fmla="*/ 399 w 484"/>
                <a:gd name="T89" fmla="*/ 378 h 671"/>
                <a:gd name="T90" fmla="*/ 395 w 484"/>
                <a:gd name="T91" fmla="*/ 406 h 671"/>
                <a:gd name="T92" fmla="*/ 361 w 484"/>
                <a:gd name="T93" fmla="*/ 410 h 671"/>
                <a:gd name="T94" fmla="*/ 334 w 484"/>
                <a:gd name="T95" fmla="*/ 404 h 671"/>
                <a:gd name="T96" fmla="*/ 305 w 484"/>
                <a:gd name="T97" fmla="*/ 429 h 671"/>
                <a:gd name="T98" fmla="*/ 280 w 484"/>
                <a:gd name="T99" fmla="*/ 447 h 671"/>
                <a:gd name="T100" fmla="*/ 253 w 484"/>
                <a:gd name="T101" fmla="*/ 454 h 671"/>
                <a:gd name="T102" fmla="*/ 221 w 484"/>
                <a:gd name="T103" fmla="*/ 477 h 671"/>
                <a:gd name="T104" fmla="*/ 200 w 484"/>
                <a:gd name="T105" fmla="*/ 520 h 671"/>
                <a:gd name="T106" fmla="*/ 180 w 484"/>
                <a:gd name="T107" fmla="*/ 554 h 671"/>
                <a:gd name="T108" fmla="*/ 192 w 484"/>
                <a:gd name="T109" fmla="*/ 604 h 671"/>
                <a:gd name="T110" fmla="*/ 196 w 484"/>
                <a:gd name="T111" fmla="*/ 642 h 671"/>
                <a:gd name="T112" fmla="*/ 192 w 484"/>
                <a:gd name="T113" fmla="*/ 669 h 6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84" h="671">
                  <a:moveTo>
                    <a:pt x="192" y="669"/>
                  </a:moveTo>
                  <a:lnTo>
                    <a:pt x="188" y="665"/>
                  </a:lnTo>
                  <a:lnTo>
                    <a:pt x="182" y="669"/>
                  </a:lnTo>
                  <a:lnTo>
                    <a:pt x="175" y="671"/>
                  </a:lnTo>
                  <a:lnTo>
                    <a:pt x="167" y="667"/>
                  </a:lnTo>
                  <a:lnTo>
                    <a:pt x="161" y="667"/>
                  </a:lnTo>
                  <a:lnTo>
                    <a:pt x="150" y="660"/>
                  </a:lnTo>
                  <a:lnTo>
                    <a:pt x="148" y="652"/>
                  </a:lnTo>
                  <a:lnTo>
                    <a:pt x="140" y="644"/>
                  </a:lnTo>
                  <a:lnTo>
                    <a:pt x="136" y="633"/>
                  </a:lnTo>
                  <a:lnTo>
                    <a:pt x="134" y="623"/>
                  </a:lnTo>
                  <a:lnTo>
                    <a:pt x="133" y="612"/>
                  </a:lnTo>
                  <a:lnTo>
                    <a:pt x="129" y="602"/>
                  </a:lnTo>
                  <a:lnTo>
                    <a:pt x="127" y="592"/>
                  </a:lnTo>
                  <a:lnTo>
                    <a:pt x="123" y="579"/>
                  </a:lnTo>
                  <a:lnTo>
                    <a:pt x="121" y="571"/>
                  </a:lnTo>
                  <a:lnTo>
                    <a:pt x="117" y="564"/>
                  </a:lnTo>
                  <a:lnTo>
                    <a:pt x="109" y="558"/>
                  </a:lnTo>
                  <a:lnTo>
                    <a:pt x="102" y="550"/>
                  </a:lnTo>
                  <a:lnTo>
                    <a:pt x="102" y="541"/>
                  </a:lnTo>
                  <a:lnTo>
                    <a:pt x="100" y="535"/>
                  </a:lnTo>
                  <a:lnTo>
                    <a:pt x="92" y="527"/>
                  </a:lnTo>
                  <a:lnTo>
                    <a:pt x="90" y="521"/>
                  </a:lnTo>
                  <a:lnTo>
                    <a:pt x="98" y="516"/>
                  </a:lnTo>
                  <a:lnTo>
                    <a:pt x="92" y="512"/>
                  </a:lnTo>
                  <a:lnTo>
                    <a:pt x="90" y="506"/>
                  </a:lnTo>
                  <a:lnTo>
                    <a:pt x="98" y="506"/>
                  </a:lnTo>
                  <a:lnTo>
                    <a:pt x="102" y="498"/>
                  </a:lnTo>
                  <a:lnTo>
                    <a:pt x="100" y="491"/>
                  </a:lnTo>
                  <a:lnTo>
                    <a:pt x="98" y="485"/>
                  </a:lnTo>
                  <a:lnTo>
                    <a:pt x="92" y="477"/>
                  </a:lnTo>
                  <a:lnTo>
                    <a:pt x="98" y="473"/>
                  </a:lnTo>
                  <a:lnTo>
                    <a:pt x="100" y="468"/>
                  </a:lnTo>
                  <a:lnTo>
                    <a:pt x="98" y="462"/>
                  </a:lnTo>
                  <a:lnTo>
                    <a:pt x="88" y="456"/>
                  </a:lnTo>
                  <a:lnTo>
                    <a:pt x="81" y="452"/>
                  </a:lnTo>
                  <a:lnTo>
                    <a:pt x="71" y="447"/>
                  </a:lnTo>
                  <a:lnTo>
                    <a:pt x="71" y="439"/>
                  </a:lnTo>
                  <a:lnTo>
                    <a:pt x="67" y="435"/>
                  </a:lnTo>
                  <a:lnTo>
                    <a:pt x="60" y="431"/>
                  </a:lnTo>
                  <a:lnTo>
                    <a:pt x="58" y="422"/>
                  </a:lnTo>
                  <a:lnTo>
                    <a:pt x="67" y="416"/>
                  </a:lnTo>
                  <a:lnTo>
                    <a:pt x="73" y="408"/>
                  </a:lnTo>
                  <a:lnTo>
                    <a:pt x="77" y="397"/>
                  </a:lnTo>
                  <a:lnTo>
                    <a:pt x="77" y="389"/>
                  </a:lnTo>
                  <a:lnTo>
                    <a:pt x="79" y="379"/>
                  </a:lnTo>
                  <a:lnTo>
                    <a:pt x="81" y="372"/>
                  </a:lnTo>
                  <a:lnTo>
                    <a:pt x="85" y="362"/>
                  </a:lnTo>
                  <a:lnTo>
                    <a:pt x="86" y="355"/>
                  </a:lnTo>
                  <a:lnTo>
                    <a:pt x="85" y="347"/>
                  </a:lnTo>
                  <a:lnTo>
                    <a:pt x="81" y="341"/>
                  </a:lnTo>
                  <a:lnTo>
                    <a:pt x="81" y="332"/>
                  </a:lnTo>
                  <a:lnTo>
                    <a:pt x="79" y="322"/>
                  </a:lnTo>
                  <a:lnTo>
                    <a:pt x="77" y="310"/>
                  </a:lnTo>
                  <a:lnTo>
                    <a:pt x="71" y="303"/>
                  </a:lnTo>
                  <a:lnTo>
                    <a:pt x="62" y="299"/>
                  </a:lnTo>
                  <a:lnTo>
                    <a:pt x="52" y="295"/>
                  </a:lnTo>
                  <a:lnTo>
                    <a:pt x="46" y="289"/>
                  </a:lnTo>
                  <a:lnTo>
                    <a:pt x="35" y="289"/>
                  </a:lnTo>
                  <a:lnTo>
                    <a:pt x="25" y="287"/>
                  </a:lnTo>
                  <a:lnTo>
                    <a:pt x="12" y="287"/>
                  </a:lnTo>
                  <a:lnTo>
                    <a:pt x="0" y="289"/>
                  </a:lnTo>
                  <a:lnTo>
                    <a:pt x="8" y="280"/>
                  </a:lnTo>
                  <a:lnTo>
                    <a:pt x="14" y="272"/>
                  </a:lnTo>
                  <a:lnTo>
                    <a:pt x="15" y="264"/>
                  </a:lnTo>
                  <a:lnTo>
                    <a:pt x="27" y="261"/>
                  </a:lnTo>
                  <a:lnTo>
                    <a:pt x="35" y="253"/>
                  </a:lnTo>
                  <a:lnTo>
                    <a:pt x="38" y="249"/>
                  </a:lnTo>
                  <a:lnTo>
                    <a:pt x="44" y="239"/>
                  </a:lnTo>
                  <a:lnTo>
                    <a:pt x="50" y="241"/>
                  </a:lnTo>
                  <a:lnTo>
                    <a:pt x="63" y="245"/>
                  </a:lnTo>
                  <a:lnTo>
                    <a:pt x="75" y="239"/>
                  </a:lnTo>
                  <a:lnTo>
                    <a:pt x="83" y="232"/>
                  </a:lnTo>
                  <a:lnTo>
                    <a:pt x="85" y="220"/>
                  </a:lnTo>
                  <a:lnTo>
                    <a:pt x="86" y="213"/>
                  </a:lnTo>
                  <a:lnTo>
                    <a:pt x="90" y="201"/>
                  </a:lnTo>
                  <a:lnTo>
                    <a:pt x="96" y="188"/>
                  </a:lnTo>
                  <a:lnTo>
                    <a:pt x="104" y="172"/>
                  </a:lnTo>
                  <a:lnTo>
                    <a:pt x="111" y="165"/>
                  </a:lnTo>
                  <a:lnTo>
                    <a:pt x="119" y="155"/>
                  </a:lnTo>
                  <a:lnTo>
                    <a:pt x="123" y="143"/>
                  </a:lnTo>
                  <a:lnTo>
                    <a:pt x="127" y="136"/>
                  </a:lnTo>
                  <a:lnTo>
                    <a:pt x="136" y="126"/>
                  </a:lnTo>
                  <a:lnTo>
                    <a:pt x="138" y="119"/>
                  </a:lnTo>
                  <a:lnTo>
                    <a:pt x="136" y="111"/>
                  </a:lnTo>
                  <a:lnTo>
                    <a:pt x="140" y="101"/>
                  </a:lnTo>
                  <a:lnTo>
                    <a:pt x="148" y="96"/>
                  </a:lnTo>
                  <a:lnTo>
                    <a:pt x="154" y="88"/>
                  </a:lnTo>
                  <a:lnTo>
                    <a:pt x="156" y="82"/>
                  </a:lnTo>
                  <a:lnTo>
                    <a:pt x="163" y="82"/>
                  </a:lnTo>
                  <a:lnTo>
                    <a:pt x="165" y="73"/>
                  </a:lnTo>
                  <a:lnTo>
                    <a:pt x="167" y="63"/>
                  </a:lnTo>
                  <a:lnTo>
                    <a:pt x="167" y="53"/>
                  </a:lnTo>
                  <a:lnTo>
                    <a:pt x="165" y="46"/>
                  </a:lnTo>
                  <a:lnTo>
                    <a:pt x="175" y="34"/>
                  </a:lnTo>
                  <a:lnTo>
                    <a:pt x="180" y="25"/>
                  </a:lnTo>
                  <a:lnTo>
                    <a:pt x="179" y="17"/>
                  </a:lnTo>
                  <a:lnTo>
                    <a:pt x="182" y="7"/>
                  </a:lnTo>
                  <a:lnTo>
                    <a:pt x="190" y="0"/>
                  </a:lnTo>
                  <a:lnTo>
                    <a:pt x="196" y="5"/>
                  </a:lnTo>
                  <a:lnTo>
                    <a:pt x="211" y="3"/>
                  </a:lnTo>
                  <a:lnTo>
                    <a:pt x="219" y="5"/>
                  </a:lnTo>
                  <a:lnTo>
                    <a:pt x="227" y="13"/>
                  </a:lnTo>
                  <a:lnTo>
                    <a:pt x="236" y="15"/>
                  </a:lnTo>
                  <a:lnTo>
                    <a:pt x="242" y="13"/>
                  </a:lnTo>
                  <a:lnTo>
                    <a:pt x="244" y="25"/>
                  </a:lnTo>
                  <a:lnTo>
                    <a:pt x="251" y="28"/>
                  </a:lnTo>
                  <a:lnTo>
                    <a:pt x="261" y="28"/>
                  </a:lnTo>
                  <a:lnTo>
                    <a:pt x="269" y="32"/>
                  </a:lnTo>
                  <a:lnTo>
                    <a:pt x="278" y="36"/>
                  </a:lnTo>
                  <a:lnTo>
                    <a:pt x="298" y="42"/>
                  </a:lnTo>
                  <a:lnTo>
                    <a:pt x="298" y="48"/>
                  </a:lnTo>
                  <a:lnTo>
                    <a:pt x="290" y="53"/>
                  </a:lnTo>
                  <a:lnTo>
                    <a:pt x="294" y="57"/>
                  </a:lnTo>
                  <a:lnTo>
                    <a:pt x="296" y="65"/>
                  </a:lnTo>
                  <a:lnTo>
                    <a:pt x="298" y="73"/>
                  </a:lnTo>
                  <a:lnTo>
                    <a:pt x="294" y="78"/>
                  </a:lnTo>
                  <a:lnTo>
                    <a:pt x="296" y="84"/>
                  </a:lnTo>
                  <a:lnTo>
                    <a:pt x="303" y="84"/>
                  </a:lnTo>
                  <a:lnTo>
                    <a:pt x="309" y="86"/>
                  </a:lnTo>
                  <a:lnTo>
                    <a:pt x="309" y="94"/>
                  </a:lnTo>
                  <a:lnTo>
                    <a:pt x="307" y="101"/>
                  </a:lnTo>
                  <a:lnTo>
                    <a:pt x="301" y="107"/>
                  </a:lnTo>
                  <a:lnTo>
                    <a:pt x="299" y="115"/>
                  </a:lnTo>
                  <a:lnTo>
                    <a:pt x="301" y="122"/>
                  </a:lnTo>
                  <a:lnTo>
                    <a:pt x="309" y="122"/>
                  </a:lnTo>
                  <a:lnTo>
                    <a:pt x="315" y="117"/>
                  </a:lnTo>
                  <a:lnTo>
                    <a:pt x="317" y="105"/>
                  </a:lnTo>
                  <a:lnTo>
                    <a:pt x="322" y="103"/>
                  </a:lnTo>
                  <a:lnTo>
                    <a:pt x="328" y="107"/>
                  </a:lnTo>
                  <a:lnTo>
                    <a:pt x="342" y="109"/>
                  </a:lnTo>
                  <a:lnTo>
                    <a:pt x="346" y="99"/>
                  </a:lnTo>
                  <a:lnTo>
                    <a:pt x="347" y="94"/>
                  </a:lnTo>
                  <a:lnTo>
                    <a:pt x="353" y="90"/>
                  </a:lnTo>
                  <a:lnTo>
                    <a:pt x="363" y="90"/>
                  </a:lnTo>
                  <a:lnTo>
                    <a:pt x="370" y="94"/>
                  </a:lnTo>
                  <a:lnTo>
                    <a:pt x="386" y="97"/>
                  </a:lnTo>
                  <a:lnTo>
                    <a:pt x="392" y="101"/>
                  </a:lnTo>
                  <a:lnTo>
                    <a:pt x="399" y="103"/>
                  </a:lnTo>
                  <a:lnTo>
                    <a:pt x="411" y="109"/>
                  </a:lnTo>
                  <a:lnTo>
                    <a:pt x="418" y="119"/>
                  </a:lnTo>
                  <a:lnTo>
                    <a:pt x="428" y="122"/>
                  </a:lnTo>
                  <a:lnTo>
                    <a:pt x="440" y="126"/>
                  </a:lnTo>
                  <a:lnTo>
                    <a:pt x="449" y="130"/>
                  </a:lnTo>
                  <a:lnTo>
                    <a:pt x="459" y="136"/>
                  </a:lnTo>
                  <a:lnTo>
                    <a:pt x="468" y="136"/>
                  </a:lnTo>
                  <a:lnTo>
                    <a:pt x="484" y="136"/>
                  </a:lnTo>
                  <a:lnTo>
                    <a:pt x="480" y="142"/>
                  </a:lnTo>
                  <a:lnTo>
                    <a:pt x="474" y="151"/>
                  </a:lnTo>
                  <a:lnTo>
                    <a:pt x="466" y="157"/>
                  </a:lnTo>
                  <a:lnTo>
                    <a:pt x="461" y="159"/>
                  </a:lnTo>
                  <a:lnTo>
                    <a:pt x="453" y="167"/>
                  </a:lnTo>
                  <a:lnTo>
                    <a:pt x="451" y="170"/>
                  </a:lnTo>
                  <a:lnTo>
                    <a:pt x="445" y="176"/>
                  </a:lnTo>
                  <a:lnTo>
                    <a:pt x="432" y="182"/>
                  </a:lnTo>
                  <a:lnTo>
                    <a:pt x="426" y="188"/>
                  </a:lnTo>
                  <a:lnTo>
                    <a:pt x="424" y="195"/>
                  </a:lnTo>
                  <a:lnTo>
                    <a:pt x="418" y="199"/>
                  </a:lnTo>
                  <a:lnTo>
                    <a:pt x="413" y="211"/>
                  </a:lnTo>
                  <a:lnTo>
                    <a:pt x="405" y="218"/>
                  </a:lnTo>
                  <a:lnTo>
                    <a:pt x="403" y="230"/>
                  </a:lnTo>
                  <a:lnTo>
                    <a:pt x="401" y="236"/>
                  </a:lnTo>
                  <a:lnTo>
                    <a:pt x="403" y="247"/>
                  </a:lnTo>
                  <a:lnTo>
                    <a:pt x="409" y="255"/>
                  </a:lnTo>
                  <a:lnTo>
                    <a:pt x="405" y="264"/>
                  </a:lnTo>
                  <a:lnTo>
                    <a:pt x="405" y="272"/>
                  </a:lnTo>
                  <a:lnTo>
                    <a:pt x="403" y="284"/>
                  </a:lnTo>
                  <a:lnTo>
                    <a:pt x="405" y="291"/>
                  </a:lnTo>
                  <a:lnTo>
                    <a:pt x="411" y="299"/>
                  </a:lnTo>
                  <a:lnTo>
                    <a:pt x="409" y="305"/>
                  </a:lnTo>
                  <a:lnTo>
                    <a:pt x="403" y="308"/>
                  </a:lnTo>
                  <a:lnTo>
                    <a:pt x="397" y="312"/>
                  </a:lnTo>
                  <a:lnTo>
                    <a:pt x="388" y="322"/>
                  </a:lnTo>
                  <a:lnTo>
                    <a:pt x="390" y="332"/>
                  </a:lnTo>
                  <a:lnTo>
                    <a:pt x="393" y="339"/>
                  </a:lnTo>
                  <a:lnTo>
                    <a:pt x="390" y="347"/>
                  </a:lnTo>
                  <a:lnTo>
                    <a:pt x="390" y="353"/>
                  </a:lnTo>
                  <a:lnTo>
                    <a:pt x="390" y="360"/>
                  </a:lnTo>
                  <a:lnTo>
                    <a:pt x="392" y="368"/>
                  </a:lnTo>
                  <a:lnTo>
                    <a:pt x="399" y="378"/>
                  </a:lnTo>
                  <a:lnTo>
                    <a:pt x="403" y="385"/>
                  </a:lnTo>
                  <a:lnTo>
                    <a:pt x="403" y="393"/>
                  </a:lnTo>
                  <a:lnTo>
                    <a:pt x="403" y="402"/>
                  </a:lnTo>
                  <a:lnTo>
                    <a:pt x="395" y="406"/>
                  </a:lnTo>
                  <a:lnTo>
                    <a:pt x="382" y="410"/>
                  </a:lnTo>
                  <a:lnTo>
                    <a:pt x="370" y="412"/>
                  </a:lnTo>
                  <a:lnTo>
                    <a:pt x="367" y="410"/>
                  </a:lnTo>
                  <a:lnTo>
                    <a:pt x="361" y="410"/>
                  </a:lnTo>
                  <a:lnTo>
                    <a:pt x="353" y="412"/>
                  </a:lnTo>
                  <a:lnTo>
                    <a:pt x="346" y="410"/>
                  </a:lnTo>
                  <a:lnTo>
                    <a:pt x="342" y="404"/>
                  </a:lnTo>
                  <a:lnTo>
                    <a:pt x="334" y="404"/>
                  </a:lnTo>
                  <a:lnTo>
                    <a:pt x="326" y="410"/>
                  </a:lnTo>
                  <a:lnTo>
                    <a:pt x="315" y="418"/>
                  </a:lnTo>
                  <a:lnTo>
                    <a:pt x="309" y="426"/>
                  </a:lnTo>
                  <a:lnTo>
                    <a:pt x="305" y="429"/>
                  </a:lnTo>
                  <a:lnTo>
                    <a:pt x="298" y="431"/>
                  </a:lnTo>
                  <a:lnTo>
                    <a:pt x="290" y="433"/>
                  </a:lnTo>
                  <a:lnTo>
                    <a:pt x="290" y="439"/>
                  </a:lnTo>
                  <a:lnTo>
                    <a:pt x="280" y="447"/>
                  </a:lnTo>
                  <a:lnTo>
                    <a:pt x="276" y="452"/>
                  </a:lnTo>
                  <a:lnTo>
                    <a:pt x="267" y="452"/>
                  </a:lnTo>
                  <a:lnTo>
                    <a:pt x="257" y="447"/>
                  </a:lnTo>
                  <a:lnTo>
                    <a:pt x="253" y="454"/>
                  </a:lnTo>
                  <a:lnTo>
                    <a:pt x="240" y="458"/>
                  </a:lnTo>
                  <a:lnTo>
                    <a:pt x="228" y="460"/>
                  </a:lnTo>
                  <a:lnTo>
                    <a:pt x="225" y="468"/>
                  </a:lnTo>
                  <a:lnTo>
                    <a:pt x="221" y="477"/>
                  </a:lnTo>
                  <a:lnTo>
                    <a:pt x="217" y="487"/>
                  </a:lnTo>
                  <a:lnTo>
                    <a:pt x="217" y="495"/>
                  </a:lnTo>
                  <a:lnTo>
                    <a:pt x="207" y="506"/>
                  </a:lnTo>
                  <a:lnTo>
                    <a:pt x="200" y="520"/>
                  </a:lnTo>
                  <a:lnTo>
                    <a:pt x="192" y="525"/>
                  </a:lnTo>
                  <a:lnTo>
                    <a:pt x="188" y="535"/>
                  </a:lnTo>
                  <a:lnTo>
                    <a:pt x="180" y="544"/>
                  </a:lnTo>
                  <a:lnTo>
                    <a:pt x="180" y="554"/>
                  </a:lnTo>
                  <a:lnTo>
                    <a:pt x="180" y="567"/>
                  </a:lnTo>
                  <a:lnTo>
                    <a:pt x="186" y="579"/>
                  </a:lnTo>
                  <a:lnTo>
                    <a:pt x="192" y="596"/>
                  </a:lnTo>
                  <a:lnTo>
                    <a:pt x="192" y="604"/>
                  </a:lnTo>
                  <a:lnTo>
                    <a:pt x="196" y="612"/>
                  </a:lnTo>
                  <a:lnTo>
                    <a:pt x="198" y="623"/>
                  </a:lnTo>
                  <a:lnTo>
                    <a:pt x="198" y="635"/>
                  </a:lnTo>
                  <a:lnTo>
                    <a:pt x="196" y="642"/>
                  </a:lnTo>
                  <a:lnTo>
                    <a:pt x="194" y="652"/>
                  </a:lnTo>
                  <a:lnTo>
                    <a:pt x="192" y="660"/>
                  </a:lnTo>
                  <a:lnTo>
                    <a:pt x="188" y="665"/>
                  </a:lnTo>
                  <a:lnTo>
                    <a:pt x="192" y="66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/>
            </a:p>
          </p:txBody>
        </p:sp>
        <p:sp>
          <p:nvSpPr>
            <p:cNvPr id="136" name="Freeform 21"/>
            <p:cNvSpPr>
              <a:spLocks/>
            </p:cNvSpPr>
            <p:nvPr/>
          </p:nvSpPr>
          <p:spPr bwMode="auto">
            <a:xfrm>
              <a:off x="7254208" y="1529113"/>
              <a:ext cx="743966" cy="1085847"/>
            </a:xfrm>
            <a:custGeom>
              <a:avLst/>
              <a:gdLst>
                <a:gd name="T0" fmla="*/ 294 w 380"/>
                <a:gd name="T1" fmla="*/ 15 h 556"/>
                <a:gd name="T2" fmla="*/ 273 w 380"/>
                <a:gd name="T3" fmla="*/ 31 h 556"/>
                <a:gd name="T4" fmla="*/ 252 w 380"/>
                <a:gd name="T5" fmla="*/ 46 h 556"/>
                <a:gd name="T6" fmla="*/ 238 w 380"/>
                <a:gd name="T7" fmla="*/ 63 h 556"/>
                <a:gd name="T8" fmla="*/ 223 w 380"/>
                <a:gd name="T9" fmla="*/ 94 h 556"/>
                <a:gd name="T10" fmla="*/ 229 w 380"/>
                <a:gd name="T11" fmla="*/ 119 h 556"/>
                <a:gd name="T12" fmla="*/ 223 w 380"/>
                <a:gd name="T13" fmla="*/ 148 h 556"/>
                <a:gd name="T14" fmla="*/ 229 w 380"/>
                <a:gd name="T15" fmla="*/ 169 h 556"/>
                <a:gd name="T16" fmla="*/ 208 w 380"/>
                <a:gd name="T17" fmla="*/ 186 h 556"/>
                <a:gd name="T18" fmla="*/ 210 w 380"/>
                <a:gd name="T19" fmla="*/ 211 h 556"/>
                <a:gd name="T20" fmla="*/ 212 w 380"/>
                <a:gd name="T21" fmla="*/ 232 h 556"/>
                <a:gd name="T22" fmla="*/ 223 w 380"/>
                <a:gd name="T23" fmla="*/ 257 h 556"/>
                <a:gd name="T24" fmla="*/ 202 w 380"/>
                <a:gd name="T25" fmla="*/ 274 h 556"/>
                <a:gd name="T26" fmla="*/ 181 w 380"/>
                <a:gd name="T27" fmla="*/ 274 h 556"/>
                <a:gd name="T28" fmla="*/ 162 w 380"/>
                <a:gd name="T29" fmla="*/ 268 h 556"/>
                <a:gd name="T30" fmla="*/ 135 w 380"/>
                <a:gd name="T31" fmla="*/ 282 h 556"/>
                <a:gd name="T32" fmla="*/ 118 w 380"/>
                <a:gd name="T33" fmla="*/ 295 h 556"/>
                <a:gd name="T34" fmla="*/ 100 w 380"/>
                <a:gd name="T35" fmla="*/ 311 h 556"/>
                <a:gd name="T36" fmla="*/ 77 w 380"/>
                <a:gd name="T37" fmla="*/ 311 h 556"/>
                <a:gd name="T38" fmla="*/ 48 w 380"/>
                <a:gd name="T39" fmla="*/ 324 h 556"/>
                <a:gd name="T40" fmla="*/ 37 w 380"/>
                <a:gd name="T41" fmla="*/ 351 h 556"/>
                <a:gd name="T42" fmla="*/ 20 w 380"/>
                <a:gd name="T43" fmla="*/ 384 h 556"/>
                <a:gd name="T44" fmla="*/ 0 w 380"/>
                <a:gd name="T45" fmla="*/ 408 h 556"/>
                <a:gd name="T46" fmla="*/ 6 w 380"/>
                <a:gd name="T47" fmla="*/ 443 h 556"/>
                <a:gd name="T48" fmla="*/ 16 w 380"/>
                <a:gd name="T49" fmla="*/ 476 h 556"/>
                <a:gd name="T50" fmla="*/ 16 w 380"/>
                <a:gd name="T51" fmla="*/ 506 h 556"/>
                <a:gd name="T52" fmla="*/ 8 w 380"/>
                <a:gd name="T53" fmla="*/ 529 h 556"/>
                <a:gd name="T54" fmla="*/ 25 w 380"/>
                <a:gd name="T55" fmla="*/ 537 h 556"/>
                <a:gd name="T56" fmla="*/ 50 w 380"/>
                <a:gd name="T57" fmla="*/ 556 h 556"/>
                <a:gd name="T58" fmla="*/ 79 w 380"/>
                <a:gd name="T59" fmla="*/ 550 h 556"/>
                <a:gd name="T60" fmla="*/ 114 w 380"/>
                <a:gd name="T61" fmla="*/ 543 h 556"/>
                <a:gd name="T62" fmla="*/ 141 w 380"/>
                <a:gd name="T63" fmla="*/ 516 h 556"/>
                <a:gd name="T64" fmla="*/ 162 w 380"/>
                <a:gd name="T65" fmla="*/ 485 h 556"/>
                <a:gd name="T66" fmla="*/ 183 w 380"/>
                <a:gd name="T67" fmla="*/ 460 h 556"/>
                <a:gd name="T68" fmla="*/ 210 w 380"/>
                <a:gd name="T69" fmla="*/ 458 h 556"/>
                <a:gd name="T70" fmla="*/ 237 w 380"/>
                <a:gd name="T71" fmla="*/ 460 h 556"/>
                <a:gd name="T72" fmla="*/ 265 w 380"/>
                <a:gd name="T73" fmla="*/ 458 h 556"/>
                <a:gd name="T74" fmla="*/ 298 w 380"/>
                <a:gd name="T75" fmla="*/ 431 h 556"/>
                <a:gd name="T76" fmla="*/ 325 w 380"/>
                <a:gd name="T77" fmla="*/ 412 h 556"/>
                <a:gd name="T78" fmla="*/ 352 w 380"/>
                <a:gd name="T79" fmla="*/ 395 h 556"/>
                <a:gd name="T80" fmla="*/ 369 w 380"/>
                <a:gd name="T81" fmla="*/ 366 h 556"/>
                <a:gd name="T82" fmla="*/ 361 w 380"/>
                <a:gd name="T83" fmla="*/ 339 h 556"/>
                <a:gd name="T84" fmla="*/ 375 w 380"/>
                <a:gd name="T85" fmla="*/ 311 h 556"/>
                <a:gd name="T86" fmla="*/ 377 w 380"/>
                <a:gd name="T87" fmla="*/ 282 h 556"/>
                <a:gd name="T88" fmla="*/ 354 w 380"/>
                <a:gd name="T89" fmla="*/ 265 h 556"/>
                <a:gd name="T90" fmla="*/ 346 w 380"/>
                <a:gd name="T91" fmla="*/ 226 h 556"/>
                <a:gd name="T92" fmla="*/ 344 w 380"/>
                <a:gd name="T93" fmla="*/ 201 h 556"/>
                <a:gd name="T94" fmla="*/ 348 w 380"/>
                <a:gd name="T95" fmla="*/ 155 h 556"/>
                <a:gd name="T96" fmla="*/ 350 w 380"/>
                <a:gd name="T97" fmla="*/ 119 h 556"/>
                <a:gd name="T98" fmla="*/ 359 w 380"/>
                <a:gd name="T99" fmla="*/ 94 h 556"/>
                <a:gd name="T100" fmla="*/ 371 w 380"/>
                <a:gd name="T101" fmla="*/ 78 h 556"/>
                <a:gd name="T102" fmla="*/ 354 w 380"/>
                <a:gd name="T103" fmla="*/ 65 h 556"/>
                <a:gd name="T104" fmla="*/ 340 w 380"/>
                <a:gd name="T105" fmla="*/ 44 h 556"/>
                <a:gd name="T106" fmla="*/ 344 w 380"/>
                <a:gd name="T107" fmla="*/ 29 h 556"/>
                <a:gd name="T108" fmla="*/ 336 w 380"/>
                <a:gd name="T109" fmla="*/ 9 h 556"/>
                <a:gd name="T110" fmla="*/ 315 w 380"/>
                <a:gd name="T111" fmla="*/ 4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80" h="556">
                  <a:moveTo>
                    <a:pt x="304" y="0"/>
                  </a:moveTo>
                  <a:lnTo>
                    <a:pt x="300" y="6"/>
                  </a:lnTo>
                  <a:lnTo>
                    <a:pt x="294" y="15"/>
                  </a:lnTo>
                  <a:lnTo>
                    <a:pt x="286" y="21"/>
                  </a:lnTo>
                  <a:lnTo>
                    <a:pt x="281" y="23"/>
                  </a:lnTo>
                  <a:lnTo>
                    <a:pt x="273" y="31"/>
                  </a:lnTo>
                  <a:lnTo>
                    <a:pt x="271" y="34"/>
                  </a:lnTo>
                  <a:lnTo>
                    <a:pt x="265" y="40"/>
                  </a:lnTo>
                  <a:lnTo>
                    <a:pt x="252" y="46"/>
                  </a:lnTo>
                  <a:lnTo>
                    <a:pt x="246" y="52"/>
                  </a:lnTo>
                  <a:lnTo>
                    <a:pt x="244" y="59"/>
                  </a:lnTo>
                  <a:lnTo>
                    <a:pt x="238" y="63"/>
                  </a:lnTo>
                  <a:lnTo>
                    <a:pt x="233" y="75"/>
                  </a:lnTo>
                  <a:lnTo>
                    <a:pt x="225" y="82"/>
                  </a:lnTo>
                  <a:lnTo>
                    <a:pt x="223" y="94"/>
                  </a:lnTo>
                  <a:lnTo>
                    <a:pt x="221" y="100"/>
                  </a:lnTo>
                  <a:lnTo>
                    <a:pt x="223" y="111"/>
                  </a:lnTo>
                  <a:lnTo>
                    <a:pt x="229" y="119"/>
                  </a:lnTo>
                  <a:lnTo>
                    <a:pt x="225" y="128"/>
                  </a:lnTo>
                  <a:lnTo>
                    <a:pt x="225" y="136"/>
                  </a:lnTo>
                  <a:lnTo>
                    <a:pt x="223" y="148"/>
                  </a:lnTo>
                  <a:lnTo>
                    <a:pt x="225" y="155"/>
                  </a:lnTo>
                  <a:lnTo>
                    <a:pt x="231" y="163"/>
                  </a:lnTo>
                  <a:lnTo>
                    <a:pt x="229" y="169"/>
                  </a:lnTo>
                  <a:lnTo>
                    <a:pt x="223" y="172"/>
                  </a:lnTo>
                  <a:lnTo>
                    <a:pt x="217" y="176"/>
                  </a:lnTo>
                  <a:lnTo>
                    <a:pt x="208" y="186"/>
                  </a:lnTo>
                  <a:lnTo>
                    <a:pt x="210" y="196"/>
                  </a:lnTo>
                  <a:lnTo>
                    <a:pt x="213" y="203"/>
                  </a:lnTo>
                  <a:lnTo>
                    <a:pt x="210" y="211"/>
                  </a:lnTo>
                  <a:lnTo>
                    <a:pt x="210" y="217"/>
                  </a:lnTo>
                  <a:lnTo>
                    <a:pt x="210" y="224"/>
                  </a:lnTo>
                  <a:lnTo>
                    <a:pt x="212" y="232"/>
                  </a:lnTo>
                  <a:lnTo>
                    <a:pt x="219" y="242"/>
                  </a:lnTo>
                  <a:lnTo>
                    <a:pt x="223" y="249"/>
                  </a:lnTo>
                  <a:lnTo>
                    <a:pt x="223" y="257"/>
                  </a:lnTo>
                  <a:lnTo>
                    <a:pt x="223" y="266"/>
                  </a:lnTo>
                  <a:lnTo>
                    <a:pt x="215" y="270"/>
                  </a:lnTo>
                  <a:lnTo>
                    <a:pt x="202" y="274"/>
                  </a:lnTo>
                  <a:lnTo>
                    <a:pt x="190" y="276"/>
                  </a:lnTo>
                  <a:lnTo>
                    <a:pt x="187" y="274"/>
                  </a:lnTo>
                  <a:lnTo>
                    <a:pt x="181" y="274"/>
                  </a:lnTo>
                  <a:lnTo>
                    <a:pt x="173" y="276"/>
                  </a:lnTo>
                  <a:lnTo>
                    <a:pt x="166" y="274"/>
                  </a:lnTo>
                  <a:lnTo>
                    <a:pt x="162" y="268"/>
                  </a:lnTo>
                  <a:lnTo>
                    <a:pt x="154" y="268"/>
                  </a:lnTo>
                  <a:lnTo>
                    <a:pt x="146" y="274"/>
                  </a:lnTo>
                  <a:lnTo>
                    <a:pt x="135" y="282"/>
                  </a:lnTo>
                  <a:lnTo>
                    <a:pt x="129" y="290"/>
                  </a:lnTo>
                  <a:lnTo>
                    <a:pt x="125" y="293"/>
                  </a:lnTo>
                  <a:lnTo>
                    <a:pt x="118" y="295"/>
                  </a:lnTo>
                  <a:lnTo>
                    <a:pt x="110" y="297"/>
                  </a:lnTo>
                  <a:lnTo>
                    <a:pt x="110" y="303"/>
                  </a:lnTo>
                  <a:lnTo>
                    <a:pt x="100" y="311"/>
                  </a:lnTo>
                  <a:lnTo>
                    <a:pt x="96" y="316"/>
                  </a:lnTo>
                  <a:lnTo>
                    <a:pt x="87" y="316"/>
                  </a:lnTo>
                  <a:lnTo>
                    <a:pt x="77" y="311"/>
                  </a:lnTo>
                  <a:lnTo>
                    <a:pt x="73" y="318"/>
                  </a:lnTo>
                  <a:lnTo>
                    <a:pt x="60" y="322"/>
                  </a:lnTo>
                  <a:lnTo>
                    <a:pt x="48" y="324"/>
                  </a:lnTo>
                  <a:lnTo>
                    <a:pt x="45" y="332"/>
                  </a:lnTo>
                  <a:lnTo>
                    <a:pt x="41" y="341"/>
                  </a:lnTo>
                  <a:lnTo>
                    <a:pt x="37" y="351"/>
                  </a:lnTo>
                  <a:lnTo>
                    <a:pt x="37" y="359"/>
                  </a:lnTo>
                  <a:lnTo>
                    <a:pt x="27" y="370"/>
                  </a:lnTo>
                  <a:lnTo>
                    <a:pt x="20" y="384"/>
                  </a:lnTo>
                  <a:lnTo>
                    <a:pt x="12" y="389"/>
                  </a:lnTo>
                  <a:lnTo>
                    <a:pt x="8" y="399"/>
                  </a:lnTo>
                  <a:lnTo>
                    <a:pt x="0" y="408"/>
                  </a:lnTo>
                  <a:lnTo>
                    <a:pt x="0" y="418"/>
                  </a:lnTo>
                  <a:lnTo>
                    <a:pt x="0" y="431"/>
                  </a:lnTo>
                  <a:lnTo>
                    <a:pt x="6" y="443"/>
                  </a:lnTo>
                  <a:lnTo>
                    <a:pt x="12" y="460"/>
                  </a:lnTo>
                  <a:lnTo>
                    <a:pt x="12" y="468"/>
                  </a:lnTo>
                  <a:lnTo>
                    <a:pt x="16" y="476"/>
                  </a:lnTo>
                  <a:lnTo>
                    <a:pt x="18" y="487"/>
                  </a:lnTo>
                  <a:lnTo>
                    <a:pt x="18" y="499"/>
                  </a:lnTo>
                  <a:lnTo>
                    <a:pt x="16" y="506"/>
                  </a:lnTo>
                  <a:lnTo>
                    <a:pt x="14" y="516"/>
                  </a:lnTo>
                  <a:lnTo>
                    <a:pt x="12" y="524"/>
                  </a:lnTo>
                  <a:lnTo>
                    <a:pt x="8" y="529"/>
                  </a:lnTo>
                  <a:lnTo>
                    <a:pt x="12" y="533"/>
                  </a:lnTo>
                  <a:lnTo>
                    <a:pt x="16" y="533"/>
                  </a:lnTo>
                  <a:lnTo>
                    <a:pt x="25" y="537"/>
                  </a:lnTo>
                  <a:lnTo>
                    <a:pt x="33" y="543"/>
                  </a:lnTo>
                  <a:lnTo>
                    <a:pt x="39" y="549"/>
                  </a:lnTo>
                  <a:lnTo>
                    <a:pt x="50" y="556"/>
                  </a:lnTo>
                  <a:lnTo>
                    <a:pt x="60" y="556"/>
                  </a:lnTo>
                  <a:lnTo>
                    <a:pt x="71" y="556"/>
                  </a:lnTo>
                  <a:lnTo>
                    <a:pt x="79" y="550"/>
                  </a:lnTo>
                  <a:lnTo>
                    <a:pt x="93" y="550"/>
                  </a:lnTo>
                  <a:lnTo>
                    <a:pt x="106" y="550"/>
                  </a:lnTo>
                  <a:lnTo>
                    <a:pt x="114" y="543"/>
                  </a:lnTo>
                  <a:lnTo>
                    <a:pt x="127" y="537"/>
                  </a:lnTo>
                  <a:lnTo>
                    <a:pt x="135" y="527"/>
                  </a:lnTo>
                  <a:lnTo>
                    <a:pt x="141" y="516"/>
                  </a:lnTo>
                  <a:lnTo>
                    <a:pt x="148" y="502"/>
                  </a:lnTo>
                  <a:lnTo>
                    <a:pt x="154" y="495"/>
                  </a:lnTo>
                  <a:lnTo>
                    <a:pt x="162" y="485"/>
                  </a:lnTo>
                  <a:lnTo>
                    <a:pt x="167" y="476"/>
                  </a:lnTo>
                  <a:lnTo>
                    <a:pt x="173" y="466"/>
                  </a:lnTo>
                  <a:lnTo>
                    <a:pt x="183" y="460"/>
                  </a:lnTo>
                  <a:lnTo>
                    <a:pt x="194" y="458"/>
                  </a:lnTo>
                  <a:lnTo>
                    <a:pt x="202" y="454"/>
                  </a:lnTo>
                  <a:lnTo>
                    <a:pt x="210" y="458"/>
                  </a:lnTo>
                  <a:lnTo>
                    <a:pt x="213" y="464"/>
                  </a:lnTo>
                  <a:lnTo>
                    <a:pt x="223" y="462"/>
                  </a:lnTo>
                  <a:lnTo>
                    <a:pt x="237" y="460"/>
                  </a:lnTo>
                  <a:lnTo>
                    <a:pt x="248" y="462"/>
                  </a:lnTo>
                  <a:lnTo>
                    <a:pt x="258" y="460"/>
                  </a:lnTo>
                  <a:lnTo>
                    <a:pt x="265" y="458"/>
                  </a:lnTo>
                  <a:lnTo>
                    <a:pt x="281" y="451"/>
                  </a:lnTo>
                  <a:lnTo>
                    <a:pt x="288" y="443"/>
                  </a:lnTo>
                  <a:lnTo>
                    <a:pt x="298" y="431"/>
                  </a:lnTo>
                  <a:lnTo>
                    <a:pt x="304" y="422"/>
                  </a:lnTo>
                  <a:lnTo>
                    <a:pt x="313" y="414"/>
                  </a:lnTo>
                  <a:lnTo>
                    <a:pt x="325" y="412"/>
                  </a:lnTo>
                  <a:lnTo>
                    <a:pt x="331" y="405"/>
                  </a:lnTo>
                  <a:lnTo>
                    <a:pt x="338" y="401"/>
                  </a:lnTo>
                  <a:lnTo>
                    <a:pt x="352" y="395"/>
                  </a:lnTo>
                  <a:lnTo>
                    <a:pt x="361" y="387"/>
                  </a:lnTo>
                  <a:lnTo>
                    <a:pt x="367" y="378"/>
                  </a:lnTo>
                  <a:lnTo>
                    <a:pt x="369" y="366"/>
                  </a:lnTo>
                  <a:lnTo>
                    <a:pt x="369" y="355"/>
                  </a:lnTo>
                  <a:lnTo>
                    <a:pt x="365" y="345"/>
                  </a:lnTo>
                  <a:lnTo>
                    <a:pt x="361" y="339"/>
                  </a:lnTo>
                  <a:lnTo>
                    <a:pt x="365" y="332"/>
                  </a:lnTo>
                  <a:lnTo>
                    <a:pt x="371" y="324"/>
                  </a:lnTo>
                  <a:lnTo>
                    <a:pt x="375" y="311"/>
                  </a:lnTo>
                  <a:lnTo>
                    <a:pt x="379" y="301"/>
                  </a:lnTo>
                  <a:lnTo>
                    <a:pt x="380" y="290"/>
                  </a:lnTo>
                  <a:lnTo>
                    <a:pt x="377" y="282"/>
                  </a:lnTo>
                  <a:lnTo>
                    <a:pt x="365" y="278"/>
                  </a:lnTo>
                  <a:lnTo>
                    <a:pt x="355" y="272"/>
                  </a:lnTo>
                  <a:lnTo>
                    <a:pt x="354" y="265"/>
                  </a:lnTo>
                  <a:lnTo>
                    <a:pt x="348" y="255"/>
                  </a:lnTo>
                  <a:lnTo>
                    <a:pt x="348" y="236"/>
                  </a:lnTo>
                  <a:lnTo>
                    <a:pt x="346" y="226"/>
                  </a:lnTo>
                  <a:lnTo>
                    <a:pt x="340" y="222"/>
                  </a:lnTo>
                  <a:lnTo>
                    <a:pt x="344" y="211"/>
                  </a:lnTo>
                  <a:lnTo>
                    <a:pt x="344" y="201"/>
                  </a:lnTo>
                  <a:lnTo>
                    <a:pt x="346" y="182"/>
                  </a:lnTo>
                  <a:lnTo>
                    <a:pt x="350" y="169"/>
                  </a:lnTo>
                  <a:lnTo>
                    <a:pt x="348" y="155"/>
                  </a:lnTo>
                  <a:lnTo>
                    <a:pt x="348" y="144"/>
                  </a:lnTo>
                  <a:lnTo>
                    <a:pt x="350" y="132"/>
                  </a:lnTo>
                  <a:lnTo>
                    <a:pt x="350" y="119"/>
                  </a:lnTo>
                  <a:lnTo>
                    <a:pt x="350" y="109"/>
                  </a:lnTo>
                  <a:lnTo>
                    <a:pt x="354" y="98"/>
                  </a:lnTo>
                  <a:lnTo>
                    <a:pt x="359" y="94"/>
                  </a:lnTo>
                  <a:lnTo>
                    <a:pt x="369" y="94"/>
                  </a:lnTo>
                  <a:lnTo>
                    <a:pt x="371" y="86"/>
                  </a:lnTo>
                  <a:lnTo>
                    <a:pt x="371" y="78"/>
                  </a:lnTo>
                  <a:lnTo>
                    <a:pt x="367" y="73"/>
                  </a:lnTo>
                  <a:lnTo>
                    <a:pt x="359" y="71"/>
                  </a:lnTo>
                  <a:lnTo>
                    <a:pt x="354" y="65"/>
                  </a:lnTo>
                  <a:lnTo>
                    <a:pt x="348" y="59"/>
                  </a:lnTo>
                  <a:lnTo>
                    <a:pt x="348" y="48"/>
                  </a:lnTo>
                  <a:lnTo>
                    <a:pt x="340" y="44"/>
                  </a:lnTo>
                  <a:lnTo>
                    <a:pt x="331" y="42"/>
                  </a:lnTo>
                  <a:lnTo>
                    <a:pt x="336" y="32"/>
                  </a:lnTo>
                  <a:lnTo>
                    <a:pt x="344" y="29"/>
                  </a:lnTo>
                  <a:lnTo>
                    <a:pt x="344" y="23"/>
                  </a:lnTo>
                  <a:lnTo>
                    <a:pt x="344" y="13"/>
                  </a:lnTo>
                  <a:lnTo>
                    <a:pt x="336" y="9"/>
                  </a:lnTo>
                  <a:lnTo>
                    <a:pt x="327" y="7"/>
                  </a:lnTo>
                  <a:lnTo>
                    <a:pt x="321" y="7"/>
                  </a:lnTo>
                  <a:lnTo>
                    <a:pt x="315" y="4"/>
                  </a:lnTo>
                  <a:lnTo>
                    <a:pt x="309" y="0"/>
                  </a:lnTo>
                  <a:lnTo>
                    <a:pt x="304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/>
            </a:p>
          </p:txBody>
        </p:sp>
        <p:sp>
          <p:nvSpPr>
            <p:cNvPr id="137" name="Freeform 22"/>
            <p:cNvSpPr>
              <a:spLocks/>
            </p:cNvSpPr>
            <p:nvPr/>
          </p:nvSpPr>
          <p:spPr bwMode="auto">
            <a:xfrm>
              <a:off x="7901416" y="1539864"/>
              <a:ext cx="563350" cy="679461"/>
            </a:xfrm>
            <a:custGeom>
              <a:avLst/>
              <a:gdLst>
                <a:gd name="T0" fmla="*/ 44 w 289"/>
                <a:gd name="T1" fmla="*/ 307 h 349"/>
                <a:gd name="T2" fmla="*/ 49 w 289"/>
                <a:gd name="T3" fmla="*/ 286 h 349"/>
                <a:gd name="T4" fmla="*/ 34 w 289"/>
                <a:gd name="T5" fmla="*/ 274 h 349"/>
                <a:gd name="T6" fmla="*/ 23 w 289"/>
                <a:gd name="T7" fmla="*/ 261 h 349"/>
                <a:gd name="T8" fmla="*/ 17 w 289"/>
                <a:gd name="T9" fmla="*/ 232 h 349"/>
                <a:gd name="T10" fmla="*/ 9 w 289"/>
                <a:gd name="T11" fmla="*/ 218 h 349"/>
                <a:gd name="T12" fmla="*/ 13 w 289"/>
                <a:gd name="T13" fmla="*/ 197 h 349"/>
                <a:gd name="T14" fmla="*/ 19 w 289"/>
                <a:gd name="T15" fmla="*/ 165 h 349"/>
                <a:gd name="T16" fmla="*/ 17 w 289"/>
                <a:gd name="T17" fmla="*/ 140 h 349"/>
                <a:gd name="T18" fmla="*/ 19 w 289"/>
                <a:gd name="T19" fmla="*/ 115 h 349"/>
                <a:gd name="T20" fmla="*/ 23 w 289"/>
                <a:gd name="T21" fmla="*/ 94 h 349"/>
                <a:gd name="T22" fmla="*/ 38 w 289"/>
                <a:gd name="T23" fmla="*/ 90 h 349"/>
                <a:gd name="T24" fmla="*/ 40 w 289"/>
                <a:gd name="T25" fmla="*/ 74 h 349"/>
                <a:gd name="T26" fmla="*/ 28 w 289"/>
                <a:gd name="T27" fmla="*/ 67 h 349"/>
                <a:gd name="T28" fmla="*/ 17 w 289"/>
                <a:gd name="T29" fmla="*/ 55 h 349"/>
                <a:gd name="T30" fmla="*/ 9 w 289"/>
                <a:gd name="T31" fmla="*/ 40 h 349"/>
                <a:gd name="T32" fmla="*/ 5 w 289"/>
                <a:gd name="T33" fmla="*/ 28 h 349"/>
                <a:gd name="T34" fmla="*/ 13 w 289"/>
                <a:gd name="T35" fmla="*/ 19 h 349"/>
                <a:gd name="T36" fmla="*/ 19 w 289"/>
                <a:gd name="T37" fmla="*/ 7 h 349"/>
                <a:gd name="T38" fmla="*/ 42 w 289"/>
                <a:gd name="T39" fmla="*/ 3 h 349"/>
                <a:gd name="T40" fmla="*/ 59 w 289"/>
                <a:gd name="T41" fmla="*/ 2 h 349"/>
                <a:gd name="T42" fmla="*/ 78 w 289"/>
                <a:gd name="T43" fmla="*/ 3 h 349"/>
                <a:gd name="T44" fmla="*/ 94 w 289"/>
                <a:gd name="T45" fmla="*/ 5 h 349"/>
                <a:gd name="T46" fmla="*/ 117 w 289"/>
                <a:gd name="T47" fmla="*/ 13 h 349"/>
                <a:gd name="T48" fmla="*/ 132 w 289"/>
                <a:gd name="T49" fmla="*/ 23 h 349"/>
                <a:gd name="T50" fmla="*/ 145 w 289"/>
                <a:gd name="T51" fmla="*/ 30 h 349"/>
                <a:gd name="T52" fmla="*/ 174 w 289"/>
                <a:gd name="T53" fmla="*/ 51 h 349"/>
                <a:gd name="T54" fmla="*/ 190 w 289"/>
                <a:gd name="T55" fmla="*/ 65 h 349"/>
                <a:gd name="T56" fmla="*/ 207 w 289"/>
                <a:gd name="T57" fmla="*/ 82 h 349"/>
                <a:gd name="T58" fmla="*/ 228 w 289"/>
                <a:gd name="T59" fmla="*/ 94 h 349"/>
                <a:gd name="T60" fmla="*/ 237 w 289"/>
                <a:gd name="T61" fmla="*/ 109 h 349"/>
                <a:gd name="T62" fmla="*/ 253 w 289"/>
                <a:gd name="T63" fmla="*/ 121 h 349"/>
                <a:gd name="T64" fmla="*/ 266 w 289"/>
                <a:gd name="T65" fmla="*/ 132 h 349"/>
                <a:gd name="T66" fmla="*/ 282 w 289"/>
                <a:gd name="T67" fmla="*/ 151 h 349"/>
                <a:gd name="T68" fmla="*/ 287 w 289"/>
                <a:gd name="T69" fmla="*/ 159 h 349"/>
                <a:gd name="T70" fmla="*/ 280 w 289"/>
                <a:gd name="T71" fmla="*/ 161 h 349"/>
                <a:gd name="T72" fmla="*/ 259 w 289"/>
                <a:gd name="T73" fmla="*/ 159 h 349"/>
                <a:gd name="T74" fmla="*/ 243 w 289"/>
                <a:gd name="T75" fmla="*/ 167 h 349"/>
                <a:gd name="T76" fmla="*/ 236 w 289"/>
                <a:gd name="T77" fmla="*/ 184 h 349"/>
                <a:gd name="T78" fmla="*/ 226 w 289"/>
                <a:gd name="T79" fmla="*/ 197 h 349"/>
                <a:gd name="T80" fmla="*/ 220 w 289"/>
                <a:gd name="T81" fmla="*/ 209 h 349"/>
                <a:gd name="T82" fmla="*/ 214 w 289"/>
                <a:gd name="T83" fmla="*/ 226 h 349"/>
                <a:gd name="T84" fmla="*/ 203 w 289"/>
                <a:gd name="T85" fmla="*/ 239 h 349"/>
                <a:gd name="T86" fmla="*/ 190 w 289"/>
                <a:gd name="T87" fmla="*/ 255 h 349"/>
                <a:gd name="T88" fmla="*/ 188 w 289"/>
                <a:gd name="T89" fmla="*/ 274 h 349"/>
                <a:gd name="T90" fmla="*/ 184 w 289"/>
                <a:gd name="T91" fmla="*/ 291 h 349"/>
                <a:gd name="T92" fmla="*/ 176 w 289"/>
                <a:gd name="T93" fmla="*/ 305 h 349"/>
                <a:gd name="T94" fmla="*/ 176 w 289"/>
                <a:gd name="T95" fmla="*/ 322 h 349"/>
                <a:gd name="T96" fmla="*/ 176 w 289"/>
                <a:gd name="T97" fmla="*/ 337 h 349"/>
                <a:gd name="T98" fmla="*/ 155 w 289"/>
                <a:gd name="T99" fmla="*/ 349 h 349"/>
                <a:gd name="T100" fmla="*/ 128 w 289"/>
                <a:gd name="T101" fmla="*/ 343 h 349"/>
                <a:gd name="T102" fmla="*/ 117 w 289"/>
                <a:gd name="T103" fmla="*/ 330 h 349"/>
                <a:gd name="T104" fmla="*/ 99 w 289"/>
                <a:gd name="T105" fmla="*/ 324 h 349"/>
                <a:gd name="T106" fmla="*/ 76 w 289"/>
                <a:gd name="T107" fmla="*/ 320 h 349"/>
                <a:gd name="T108" fmla="*/ 51 w 289"/>
                <a:gd name="T109" fmla="*/ 320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89" h="349">
                  <a:moveTo>
                    <a:pt x="40" y="320"/>
                  </a:moveTo>
                  <a:lnTo>
                    <a:pt x="44" y="307"/>
                  </a:lnTo>
                  <a:lnTo>
                    <a:pt x="48" y="297"/>
                  </a:lnTo>
                  <a:lnTo>
                    <a:pt x="49" y="286"/>
                  </a:lnTo>
                  <a:lnTo>
                    <a:pt x="46" y="278"/>
                  </a:lnTo>
                  <a:lnTo>
                    <a:pt x="34" y="274"/>
                  </a:lnTo>
                  <a:lnTo>
                    <a:pt x="24" y="268"/>
                  </a:lnTo>
                  <a:lnTo>
                    <a:pt x="23" y="261"/>
                  </a:lnTo>
                  <a:lnTo>
                    <a:pt x="17" y="251"/>
                  </a:lnTo>
                  <a:lnTo>
                    <a:pt x="17" y="232"/>
                  </a:lnTo>
                  <a:lnTo>
                    <a:pt x="15" y="222"/>
                  </a:lnTo>
                  <a:lnTo>
                    <a:pt x="9" y="218"/>
                  </a:lnTo>
                  <a:lnTo>
                    <a:pt x="13" y="207"/>
                  </a:lnTo>
                  <a:lnTo>
                    <a:pt x="13" y="197"/>
                  </a:lnTo>
                  <a:lnTo>
                    <a:pt x="15" y="178"/>
                  </a:lnTo>
                  <a:lnTo>
                    <a:pt x="19" y="165"/>
                  </a:lnTo>
                  <a:lnTo>
                    <a:pt x="17" y="151"/>
                  </a:lnTo>
                  <a:lnTo>
                    <a:pt x="17" y="140"/>
                  </a:lnTo>
                  <a:lnTo>
                    <a:pt x="19" y="128"/>
                  </a:lnTo>
                  <a:lnTo>
                    <a:pt x="19" y="115"/>
                  </a:lnTo>
                  <a:lnTo>
                    <a:pt x="19" y="105"/>
                  </a:lnTo>
                  <a:lnTo>
                    <a:pt x="23" y="94"/>
                  </a:lnTo>
                  <a:lnTo>
                    <a:pt x="28" y="90"/>
                  </a:lnTo>
                  <a:lnTo>
                    <a:pt x="38" y="90"/>
                  </a:lnTo>
                  <a:lnTo>
                    <a:pt x="40" y="82"/>
                  </a:lnTo>
                  <a:lnTo>
                    <a:pt x="40" y="74"/>
                  </a:lnTo>
                  <a:lnTo>
                    <a:pt x="36" y="69"/>
                  </a:lnTo>
                  <a:lnTo>
                    <a:pt x="28" y="67"/>
                  </a:lnTo>
                  <a:lnTo>
                    <a:pt x="23" y="61"/>
                  </a:lnTo>
                  <a:lnTo>
                    <a:pt x="17" y="55"/>
                  </a:lnTo>
                  <a:lnTo>
                    <a:pt x="17" y="44"/>
                  </a:lnTo>
                  <a:lnTo>
                    <a:pt x="9" y="40"/>
                  </a:lnTo>
                  <a:lnTo>
                    <a:pt x="0" y="38"/>
                  </a:lnTo>
                  <a:lnTo>
                    <a:pt x="5" y="28"/>
                  </a:lnTo>
                  <a:lnTo>
                    <a:pt x="13" y="25"/>
                  </a:lnTo>
                  <a:lnTo>
                    <a:pt x="13" y="19"/>
                  </a:lnTo>
                  <a:lnTo>
                    <a:pt x="13" y="9"/>
                  </a:lnTo>
                  <a:lnTo>
                    <a:pt x="19" y="7"/>
                  </a:lnTo>
                  <a:lnTo>
                    <a:pt x="30" y="7"/>
                  </a:lnTo>
                  <a:lnTo>
                    <a:pt x="42" y="3"/>
                  </a:lnTo>
                  <a:lnTo>
                    <a:pt x="51" y="3"/>
                  </a:lnTo>
                  <a:lnTo>
                    <a:pt x="59" y="2"/>
                  </a:lnTo>
                  <a:lnTo>
                    <a:pt x="69" y="0"/>
                  </a:lnTo>
                  <a:lnTo>
                    <a:pt x="78" y="3"/>
                  </a:lnTo>
                  <a:lnTo>
                    <a:pt x="86" y="5"/>
                  </a:lnTo>
                  <a:lnTo>
                    <a:pt x="94" y="5"/>
                  </a:lnTo>
                  <a:lnTo>
                    <a:pt x="101" y="7"/>
                  </a:lnTo>
                  <a:lnTo>
                    <a:pt x="117" y="13"/>
                  </a:lnTo>
                  <a:lnTo>
                    <a:pt x="122" y="17"/>
                  </a:lnTo>
                  <a:lnTo>
                    <a:pt x="132" y="23"/>
                  </a:lnTo>
                  <a:lnTo>
                    <a:pt x="138" y="25"/>
                  </a:lnTo>
                  <a:lnTo>
                    <a:pt x="145" y="30"/>
                  </a:lnTo>
                  <a:lnTo>
                    <a:pt x="166" y="44"/>
                  </a:lnTo>
                  <a:lnTo>
                    <a:pt x="174" y="51"/>
                  </a:lnTo>
                  <a:lnTo>
                    <a:pt x="182" y="63"/>
                  </a:lnTo>
                  <a:lnTo>
                    <a:pt x="190" y="65"/>
                  </a:lnTo>
                  <a:lnTo>
                    <a:pt x="199" y="74"/>
                  </a:lnTo>
                  <a:lnTo>
                    <a:pt x="207" y="82"/>
                  </a:lnTo>
                  <a:lnTo>
                    <a:pt x="214" y="88"/>
                  </a:lnTo>
                  <a:lnTo>
                    <a:pt x="228" y="94"/>
                  </a:lnTo>
                  <a:lnTo>
                    <a:pt x="230" y="101"/>
                  </a:lnTo>
                  <a:lnTo>
                    <a:pt x="237" y="109"/>
                  </a:lnTo>
                  <a:lnTo>
                    <a:pt x="245" y="117"/>
                  </a:lnTo>
                  <a:lnTo>
                    <a:pt x="253" y="121"/>
                  </a:lnTo>
                  <a:lnTo>
                    <a:pt x="259" y="126"/>
                  </a:lnTo>
                  <a:lnTo>
                    <a:pt x="266" y="132"/>
                  </a:lnTo>
                  <a:lnTo>
                    <a:pt x="274" y="144"/>
                  </a:lnTo>
                  <a:lnTo>
                    <a:pt x="282" y="151"/>
                  </a:lnTo>
                  <a:lnTo>
                    <a:pt x="289" y="155"/>
                  </a:lnTo>
                  <a:lnTo>
                    <a:pt x="287" y="159"/>
                  </a:lnTo>
                  <a:lnTo>
                    <a:pt x="285" y="159"/>
                  </a:lnTo>
                  <a:lnTo>
                    <a:pt x="280" y="161"/>
                  </a:lnTo>
                  <a:lnTo>
                    <a:pt x="270" y="159"/>
                  </a:lnTo>
                  <a:lnTo>
                    <a:pt x="259" y="159"/>
                  </a:lnTo>
                  <a:lnTo>
                    <a:pt x="251" y="163"/>
                  </a:lnTo>
                  <a:lnTo>
                    <a:pt x="243" y="167"/>
                  </a:lnTo>
                  <a:lnTo>
                    <a:pt x="239" y="174"/>
                  </a:lnTo>
                  <a:lnTo>
                    <a:pt x="236" y="184"/>
                  </a:lnTo>
                  <a:lnTo>
                    <a:pt x="234" y="190"/>
                  </a:lnTo>
                  <a:lnTo>
                    <a:pt x="226" y="197"/>
                  </a:lnTo>
                  <a:lnTo>
                    <a:pt x="220" y="203"/>
                  </a:lnTo>
                  <a:lnTo>
                    <a:pt x="220" y="209"/>
                  </a:lnTo>
                  <a:lnTo>
                    <a:pt x="216" y="220"/>
                  </a:lnTo>
                  <a:lnTo>
                    <a:pt x="214" y="226"/>
                  </a:lnTo>
                  <a:lnTo>
                    <a:pt x="211" y="234"/>
                  </a:lnTo>
                  <a:lnTo>
                    <a:pt x="203" y="239"/>
                  </a:lnTo>
                  <a:lnTo>
                    <a:pt x="195" y="247"/>
                  </a:lnTo>
                  <a:lnTo>
                    <a:pt x="190" y="255"/>
                  </a:lnTo>
                  <a:lnTo>
                    <a:pt x="188" y="262"/>
                  </a:lnTo>
                  <a:lnTo>
                    <a:pt x="188" y="274"/>
                  </a:lnTo>
                  <a:lnTo>
                    <a:pt x="188" y="282"/>
                  </a:lnTo>
                  <a:lnTo>
                    <a:pt x="184" y="291"/>
                  </a:lnTo>
                  <a:lnTo>
                    <a:pt x="182" y="297"/>
                  </a:lnTo>
                  <a:lnTo>
                    <a:pt x="176" y="305"/>
                  </a:lnTo>
                  <a:lnTo>
                    <a:pt x="178" y="312"/>
                  </a:lnTo>
                  <a:lnTo>
                    <a:pt x="176" y="322"/>
                  </a:lnTo>
                  <a:lnTo>
                    <a:pt x="180" y="330"/>
                  </a:lnTo>
                  <a:lnTo>
                    <a:pt x="176" y="337"/>
                  </a:lnTo>
                  <a:lnTo>
                    <a:pt x="166" y="343"/>
                  </a:lnTo>
                  <a:lnTo>
                    <a:pt x="155" y="349"/>
                  </a:lnTo>
                  <a:lnTo>
                    <a:pt x="142" y="349"/>
                  </a:lnTo>
                  <a:lnTo>
                    <a:pt x="128" y="343"/>
                  </a:lnTo>
                  <a:lnTo>
                    <a:pt x="122" y="335"/>
                  </a:lnTo>
                  <a:lnTo>
                    <a:pt x="117" y="330"/>
                  </a:lnTo>
                  <a:lnTo>
                    <a:pt x="107" y="326"/>
                  </a:lnTo>
                  <a:lnTo>
                    <a:pt x="99" y="324"/>
                  </a:lnTo>
                  <a:lnTo>
                    <a:pt x="86" y="326"/>
                  </a:lnTo>
                  <a:lnTo>
                    <a:pt x="76" y="320"/>
                  </a:lnTo>
                  <a:lnTo>
                    <a:pt x="63" y="320"/>
                  </a:lnTo>
                  <a:lnTo>
                    <a:pt x="51" y="320"/>
                  </a:lnTo>
                  <a:lnTo>
                    <a:pt x="40" y="32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/>
            </a:p>
          </p:txBody>
        </p:sp>
        <p:sp>
          <p:nvSpPr>
            <p:cNvPr id="138" name="Freeform 23"/>
            <p:cNvSpPr>
              <a:spLocks/>
            </p:cNvSpPr>
            <p:nvPr/>
          </p:nvSpPr>
          <p:spPr bwMode="auto">
            <a:xfrm>
              <a:off x="8273399" y="1843041"/>
              <a:ext cx="485944" cy="270924"/>
            </a:xfrm>
            <a:custGeom>
              <a:avLst/>
              <a:gdLst>
                <a:gd name="T0" fmla="*/ 5 w 251"/>
                <a:gd name="T1" fmla="*/ 102 h 140"/>
                <a:gd name="T2" fmla="*/ 23 w 251"/>
                <a:gd name="T3" fmla="*/ 104 h 140"/>
                <a:gd name="T4" fmla="*/ 42 w 251"/>
                <a:gd name="T5" fmla="*/ 98 h 140"/>
                <a:gd name="T6" fmla="*/ 51 w 251"/>
                <a:gd name="T7" fmla="*/ 92 h 140"/>
                <a:gd name="T8" fmla="*/ 67 w 251"/>
                <a:gd name="T9" fmla="*/ 83 h 140"/>
                <a:gd name="T10" fmla="*/ 78 w 251"/>
                <a:gd name="T11" fmla="*/ 86 h 140"/>
                <a:gd name="T12" fmla="*/ 92 w 251"/>
                <a:gd name="T13" fmla="*/ 84 h 140"/>
                <a:gd name="T14" fmla="*/ 99 w 251"/>
                <a:gd name="T15" fmla="*/ 84 h 140"/>
                <a:gd name="T16" fmla="*/ 99 w 251"/>
                <a:gd name="T17" fmla="*/ 96 h 140"/>
                <a:gd name="T18" fmla="*/ 94 w 251"/>
                <a:gd name="T19" fmla="*/ 107 h 140"/>
                <a:gd name="T20" fmla="*/ 78 w 251"/>
                <a:gd name="T21" fmla="*/ 113 h 140"/>
                <a:gd name="T22" fmla="*/ 80 w 251"/>
                <a:gd name="T23" fmla="*/ 121 h 140"/>
                <a:gd name="T24" fmla="*/ 90 w 251"/>
                <a:gd name="T25" fmla="*/ 127 h 140"/>
                <a:gd name="T26" fmla="*/ 105 w 251"/>
                <a:gd name="T27" fmla="*/ 132 h 140"/>
                <a:gd name="T28" fmla="*/ 111 w 251"/>
                <a:gd name="T29" fmla="*/ 132 h 140"/>
                <a:gd name="T30" fmla="*/ 122 w 251"/>
                <a:gd name="T31" fmla="*/ 132 h 140"/>
                <a:gd name="T32" fmla="*/ 132 w 251"/>
                <a:gd name="T33" fmla="*/ 138 h 140"/>
                <a:gd name="T34" fmla="*/ 149 w 251"/>
                <a:gd name="T35" fmla="*/ 140 h 140"/>
                <a:gd name="T36" fmla="*/ 149 w 251"/>
                <a:gd name="T37" fmla="*/ 131 h 140"/>
                <a:gd name="T38" fmla="*/ 143 w 251"/>
                <a:gd name="T39" fmla="*/ 117 h 140"/>
                <a:gd name="T40" fmla="*/ 147 w 251"/>
                <a:gd name="T41" fmla="*/ 106 h 140"/>
                <a:gd name="T42" fmla="*/ 157 w 251"/>
                <a:gd name="T43" fmla="*/ 107 h 140"/>
                <a:gd name="T44" fmla="*/ 168 w 251"/>
                <a:gd name="T45" fmla="*/ 115 h 140"/>
                <a:gd name="T46" fmla="*/ 188 w 251"/>
                <a:gd name="T47" fmla="*/ 117 h 140"/>
                <a:gd name="T48" fmla="*/ 211 w 251"/>
                <a:gd name="T49" fmla="*/ 119 h 140"/>
                <a:gd name="T50" fmla="*/ 236 w 251"/>
                <a:gd name="T51" fmla="*/ 123 h 140"/>
                <a:gd name="T52" fmla="*/ 251 w 251"/>
                <a:gd name="T53" fmla="*/ 127 h 140"/>
                <a:gd name="T54" fmla="*/ 247 w 251"/>
                <a:gd name="T55" fmla="*/ 111 h 140"/>
                <a:gd name="T56" fmla="*/ 239 w 251"/>
                <a:gd name="T57" fmla="*/ 94 h 140"/>
                <a:gd name="T58" fmla="*/ 236 w 251"/>
                <a:gd name="T59" fmla="*/ 73 h 140"/>
                <a:gd name="T60" fmla="*/ 234 w 251"/>
                <a:gd name="T61" fmla="*/ 56 h 140"/>
                <a:gd name="T62" fmla="*/ 226 w 251"/>
                <a:gd name="T63" fmla="*/ 42 h 140"/>
                <a:gd name="T64" fmla="*/ 224 w 251"/>
                <a:gd name="T65" fmla="*/ 33 h 140"/>
                <a:gd name="T66" fmla="*/ 220 w 251"/>
                <a:gd name="T67" fmla="*/ 25 h 140"/>
                <a:gd name="T68" fmla="*/ 205 w 251"/>
                <a:gd name="T69" fmla="*/ 19 h 140"/>
                <a:gd name="T70" fmla="*/ 184 w 251"/>
                <a:gd name="T71" fmla="*/ 19 h 140"/>
                <a:gd name="T72" fmla="*/ 163 w 251"/>
                <a:gd name="T73" fmla="*/ 12 h 140"/>
                <a:gd name="T74" fmla="*/ 140 w 251"/>
                <a:gd name="T75" fmla="*/ 13 h 140"/>
                <a:gd name="T76" fmla="*/ 124 w 251"/>
                <a:gd name="T77" fmla="*/ 8 h 140"/>
                <a:gd name="T78" fmla="*/ 113 w 251"/>
                <a:gd name="T79" fmla="*/ 8 h 140"/>
                <a:gd name="T80" fmla="*/ 103 w 251"/>
                <a:gd name="T81" fmla="*/ 4 h 140"/>
                <a:gd name="T82" fmla="*/ 97 w 251"/>
                <a:gd name="T83" fmla="*/ 4 h 140"/>
                <a:gd name="T84" fmla="*/ 90 w 251"/>
                <a:gd name="T85" fmla="*/ 6 h 140"/>
                <a:gd name="T86" fmla="*/ 69 w 251"/>
                <a:gd name="T87" fmla="*/ 4 h 140"/>
                <a:gd name="T88" fmla="*/ 53 w 251"/>
                <a:gd name="T89" fmla="*/ 12 h 140"/>
                <a:gd name="T90" fmla="*/ 46 w 251"/>
                <a:gd name="T91" fmla="*/ 29 h 140"/>
                <a:gd name="T92" fmla="*/ 36 w 251"/>
                <a:gd name="T93" fmla="*/ 42 h 140"/>
                <a:gd name="T94" fmla="*/ 30 w 251"/>
                <a:gd name="T95" fmla="*/ 54 h 140"/>
                <a:gd name="T96" fmla="*/ 24 w 251"/>
                <a:gd name="T97" fmla="*/ 71 h 140"/>
                <a:gd name="T98" fmla="*/ 13 w 251"/>
                <a:gd name="T99" fmla="*/ 84 h 140"/>
                <a:gd name="T100" fmla="*/ 0 w 251"/>
                <a:gd name="T101" fmla="*/ 10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1" h="140">
                  <a:moveTo>
                    <a:pt x="0" y="100"/>
                  </a:moveTo>
                  <a:lnTo>
                    <a:pt x="5" y="102"/>
                  </a:lnTo>
                  <a:lnTo>
                    <a:pt x="13" y="104"/>
                  </a:lnTo>
                  <a:lnTo>
                    <a:pt x="23" y="104"/>
                  </a:lnTo>
                  <a:lnTo>
                    <a:pt x="30" y="102"/>
                  </a:lnTo>
                  <a:lnTo>
                    <a:pt x="42" y="98"/>
                  </a:lnTo>
                  <a:lnTo>
                    <a:pt x="46" y="96"/>
                  </a:lnTo>
                  <a:lnTo>
                    <a:pt x="51" y="92"/>
                  </a:lnTo>
                  <a:lnTo>
                    <a:pt x="57" y="88"/>
                  </a:lnTo>
                  <a:lnTo>
                    <a:pt x="67" y="83"/>
                  </a:lnTo>
                  <a:lnTo>
                    <a:pt x="74" y="84"/>
                  </a:lnTo>
                  <a:lnTo>
                    <a:pt x="78" y="86"/>
                  </a:lnTo>
                  <a:lnTo>
                    <a:pt x="86" y="86"/>
                  </a:lnTo>
                  <a:lnTo>
                    <a:pt x="92" y="84"/>
                  </a:lnTo>
                  <a:lnTo>
                    <a:pt x="95" y="83"/>
                  </a:lnTo>
                  <a:lnTo>
                    <a:pt x="99" y="84"/>
                  </a:lnTo>
                  <a:lnTo>
                    <a:pt x="101" y="90"/>
                  </a:lnTo>
                  <a:lnTo>
                    <a:pt x="99" y="96"/>
                  </a:lnTo>
                  <a:lnTo>
                    <a:pt x="99" y="100"/>
                  </a:lnTo>
                  <a:lnTo>
                    <a:pt x="94" y="107"/>
                  </a:lnTo>
                  <a:lnTo>
                    <a:pt x="86" y="111"/>
                  </a:lnTo>
                  <a:lnTo>
                    <a:pt x="78" y="113"/>
                  </a:lnTo>
                  <a:lnTo>
                    <a:pt x="78" y="117"/>
                  </a:lnTo>
                  <a:lnTo>
                    <a:pt x="80" y="121"/>
                  </a:lnTo>
                  <a:lnTo>
                    <a:pt x="84" y="123"/>
                  </a:lnTo>
                  <a:lnTo>
                    <a:pt x="90" y="127"/>
                  </a:lnTo>
                  <a:lnTo>
                    <a:pt x="95" y="131"/>
                  </a:lnTo>
                  <a:lnTo>
                    <a:pt x="105" y="132"/>
                  </a:lnTo>
                  <a:lnTo>
                    <a:pt x="109" y="132"/>
                  </a:lnTo>
                  <a:lnTo>
                    <a:pt x="111" y="132"/>
                  </a:lnTo>
                  <a:lnTo>
                    <a:pt x="118" y="132"/>
                  </a:lnTo>
                  <a:lnTo>
                    <a:pt x="122" y="132"/>
                  </a:lnTo>
                  <a:lnTo>
                    <a:pt x="126" y="136"/>
                  </a:lnTo>
                  <a:lnTo>
                    <a:pt x="132" y="138"/>
                  </a:lnTo>
                  <a:lnTo>
                    <a:pt x="142" y="140"/>
                  </a:lnTo>
                  <a:lnTo>
                    <a:pt x="149" y="140"/>
                  </a:lnTo>
                  <a:lnTo>
                    <a:pt x="153" y="136"/>
                  </a:lnTo>
                  <a:lnTo>
                    <a:pt x="149" y="131"/>
                  </a:lnTo>
                  <a:lnTo>
                    <a:pt x="143" y="125"/>
                  </a:lnTo>
                  <a:lnTo>
                    <a:pt x="143" y="117"/>
                  </a:lnTo>
                  <a:lnTo>
                    <a:pt x="143" y="111"/>
                  </a:lnTo>
                  <a:lnTo>
                    <a:pt x="147" y="106"/>
                  </a:lnTo>
                  <a:lnTo>
                    <a:pt x="153" y="104"/>
                  </a:lnTo>
                  <a:lnTo>
                    <a:pt x="157" y="107"/>
                  </a:lnTo>
                  <a:lnTo>
                    <a:pt x="163" y="111"/>
                  </a:lnTo>
                  <a:lnTo>
                    <a:pt x="168" y="115"/>
                  </a:lnTo>
                  <a:lnTo>
                    <a:pt x="178" y="115"/>
                  </a:lnTo>
                  <a:lnTo>
                    <a:pt x="188" y="117"/>
                  </a:lnTo>
                  <a:lnTo>
                    <a:pt x="201" y="119"/>
                  </a:lnTo>
                  <a:lnTo>
                    <a:pt x="211" y="119"/>
                  </a:lnTo>
                  <a:lnTo>
                    <a:pt x="224" y="121"/>
                  </a:lnTo>
                  <a:lnTo>
                    <a:pt x="236" y="123"/>
                  </a:lnTo>
                  <a:lnTo>
                    <a:pt x="243" y="125"/>
                  </a:lnTo>
                  <a:lnTo>
                    <a:pt x="251" y="127"/>
                  </a:lnTo>
                  <a:lnTo>
                    <a:pt x="249" y="125"/>
                  </a:lnTo>
                  <a:lnTo>
                    <a:pt x="247" y="111"/>
                  </a:lnTo>
                  <a:lnTo>
                    <a:pt x="241" y="104"/>
                  </a:lnTo>
                  <a:lnTo>
                    <a:pt x="239" y="94"/>
                  </a:lnTo>
                  <a:lnTo>
                    <a:pt x="236" y="83"/>
                  </a:lnTo>
                  <a:lnTo>
                    <a:pt x="236" y="73"/>
                  </a:lnTo>
                  <a:lnTo>
                    <a:pt x="232" y="65"/>
                  </a:lnTo>
                  <a:lnTo>
                    <a:pt x="234" y="56"/>
                  </a:lnTo>
                  <a:lnTo>
                    <a:pt x="232" y="48"/>
                  </a:lnTo>
                  <a:lnTo>
                    <a:pt x="226" y="42"/>
                  </a:lnTo>
                  <a:lnTo>
                    <a:pt x="224" y="37"/>
                  </a:lnTo>
                  <a:lnTo>
                    <a:pt x="224" y="33"/>
                  </a:lnTo>
                  <a:lnTo>
                    <a:pt x="222" y="27"/>
                  </a:lnTo>
                  <a:lnTo>
                    <a:pt x="220" y="25"/>
                  </a:lnTo>
                  <a:lnTo>
                    <a:pt x="213" y="21"/>
                  </a:lnTo>
                  <a:lnTo>
                    <a:pt x="205" y="19"/>
                  </a:lnTo>
                  <a:lnTo>
                    <a:pt x="193" y="17"/>
                  </a:lnTo>
                  <a:lnTo>
                    <a:pt x="184" y="19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49" y="12"/>
                  </a:lnTo>
                  <a:lnTo>
                    <a:pt x="140" y="13"/>
                  </a:lnTo>
                  <a:lnTo>
                    <a:pt x="132" y="13"/>
                  </a:lnTo>
                  <a:lnTo>
                    <a:pt x="124" y="8"/>
                  </a:lnTo>
                  <a:lnTo>
                    <a:pt x="118" y="6"/>
                  </a:lnTo>
                  <a:lnTo>
                    <a:pt x="113" y="8"/>
                  </a:lnTo>
                  <a:lnTo>
                    <a:pt x="107" y="8"/>
                  </a:lnTo>
                  <a:lnTo>
                    <a:pt x="103" y="4"/>
                  </a:lnTo>
                  <a:lnTo>
                    <a:pt x="99" y="0"/>
                  </a:lnTo>
                  <a:lnTo>
                    <a:pt x="97" y="4"/>
                  </a:lnTo>
                  <a:lnTo>
                    <a:pt x="95" y="4"/>
                  </a:lnTo>
                  <a:lnTo>
                    <a:pt x="90" y="6"/>
                  </a:lnTo>
                  <a:lnTo>
                    <a:pt x="80" y="4"/>
                  </a:lnTo>
                  <a:lnTo>
                    <a:pt x="69" y="4"/>
                  </a:lnTo>
                  <a:lnTo>
                    <a:pt x="61" y="8"/>
                  </a:lnTo>
                  <a:lnTo>
                    <a:pt x="53" y="12"/>
                  </a:lnTo>
                  <a:lnTo>
                    <a:pt x="49" y="19"/>
                  </a:lnTo>
                  <a:lnTo>
                    <a:pt x="46" y="29"/>
                  </a:lnTo>
                  <a:lnTo>
                    <a:pt x="44" y="35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26" y="65"/>
                  </a:lnTo>
                  <a:lnTo>
                    <a:pt x="24" y="71"/>
                  </a:lnTo>
                  <a:lnTo>
                    <a:pt x="21" y="79"/>
                  </a:lnTo>
                  <a:lnTo>
                    <a:pt x="13" y="84"/>
                  </a:lnTo>
                  <a:lnTo>
                    <a:pt x="5" y="92"/>
                  </a:lnTo>
                  <a:lnTo>
                    <a:pt x="0" y="10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/>
            </a:p>
          </p:txBody>
        </p:sp>
        <p:sp>
          <p:nvSpPr>
            <p:cNvPr id="139" name="Freeform 24"/>
            <p:cNvSpPr>
              <a:spLocks/>
            </p:cNvSpPr>
            <p:nvPr/>
          </p:nvSpPr>
          <p:spPr bwMode="auto">
            <a:xfrm>
              <a:off x="8245446" y="2004306"/>
              <a:ext cx="533248" cy="294576"/>
            </a:xfrm>
            <a:custGeom>
              <a:avLst/>
              <a:gdLst>
                <a:gd name="T0" fmla="*/ 250 w 274"/>
                <a:gd name="T1" fmla="*/ 40 h 151"/>
                <a:gd name="T2" fmla="*/ 215 w 274"/>
                <a:gd name="T3" fmla="*/ 36 h 151"/>
                <a:gd name="T4" fmla="*/ 182 w 274"/>
                <a:gd name="T5" fmla="*/ 32 h 151"/>
                <a:gd name="T6" fmla="*/ 167 w 274"/>
                <a:gd name="T7" fmla="*/ 21 h 151"/>
                <a:gd name="T8" fmla="*/ 157 w 274"/>
                <a:gd name="T9" fmla="*/ 34 h 151"/>
                <a:gd name="T10" fmla="*/ 167 w 274"/>
                <a:gd name="T11" fmla="*/ 53 h 151"/>
                <a:gd name="T12" fmla="*/ 146 w 274"/>
                <a:gd name="T13" fmla="*/ 55 h 151"/>
                <a:gd name="T14" fmla="*/ 132 w 274"/>
                <a:gd name="T15" fmla="*/ 49 h 151"/>
                <a:gd name="T16" fmla="*/ 119 w 274"/>
                <a:gd name="T17" fmla="*/ 49 h 151"/>
                <a:gd name="T18" fmla="*/ 98 w 274"/>
                <a:gd name="T19" fmla="*/ 40 h 151"/>
                <a:gd name="T20" fmla="*/ 92 w 274"/>
                <a:gd name="T21" fmla="*/ 30 h 151"/>
                <a:gd name="T22" fmla="*/ 113 w 274"/>
                <a:gd name="T23" fmla="*/ 17 h 151"/>
                <a:gd name="T24" fmla="*/ 113 w 274"/>
                <a:gd name="T25" fmla="*/ 1 h 151"/>
                <a:gd name="T26" fmla="*/ 100 w 274"/>
                <a:gd name="T27" fmla="*/ 3 h 151"/>
                <a:gd name="T28" fmla="*/ 81 w 274"/>
                <a:gd name="T29" fmla="*/ 0 h 151"/>
                <a:gd name="T30" fmla="*/ 60 w 274"/>
                <a:gd name="T31" fmla="*/ 13 h 151"/>
                <a:gd name="T32" fmla="*/ 37 w 274"/>
                <a:gd name="T33" fmla="*/ 21 h 151"/>
                <a:gd name="T34" fmla="*/ 14 w 274"/>
                <a:gd name="T35" fmla="*/ 17 h 151"/>
                <a:gd name="T36" fmla="*/ 12 w 274"/>
                <a:gd name="T37" fmla="*/ 44 h 151"/>
                <a:gd name="T38" fmla="*/ 0 w 274"/>
                <a:gd name="T39" fmla="*/ 67 h 151"/>
                <a:gd name="T40" fmla="*/ 4 w 274"/>
                <a:gd name="T41" fmla="*/ 92 h 151"/>
                <a:gd name="T42" fmla="*/ 8 w 274"/>
                <a:gd name="T43" fmla="*/ 111 h 151"/>
                <a:gd name="T44" fmla="*/ 35 w 274"/>
                <a:gd name="T45" fmla="*/ 118 h 151"/>
                <a:gd name="T46" fmla="*/ 63 w 274"/>
                <a:gd name="T47" fmla="*/ 109 h 151"/>
                <a:gd name="T48" fmla="*/ 88 w 274"/>
                <a:gd name="T49" fmla="*/ 94 h 151"/>
                <a:gd name="T50" fmla="*/ 108 w 274"/>
                <a:gd name="T51" fmla="*/ 95 h 151"/>
                <a:gd name="T52" fmla="*/ 102 w 274"/>
                <a:gd name="T53" fmla="*/ 107 h 151"/>
                <a:gd name="T54" fmla="*/ 98 w 274"/>
                <a:gd name="T55" fmla="*/ 126 h 151"/>
                <a:gd name="T56" fmla="*/ 106 w 274"/>
                <a:gd name="T57" fmla="*/ 134 h 151"/>
                <a:gd name="T58" fmla="*/ 108 w 274"/>
                <a:gd name="T59" fmla="*/ 142 h 151"/>
                <a:gd name="T60" fmla="*/ 115 w 274"/>
                <a:gd name="T61" fmla="*/ 151 h 151"/>
                <a:gd name="T62" fmla="*/ 134 w 274"/>
                <a:gd name="T63" fmla="*/ 149 h 151"/>
                <a:gd name="T64" fmla="*/ 142 w 274"/>
                <a:gd name="T65" fmla="*/ 132 h 151"/>
                <a:gd name="T66" fmla="*/ 159 w 274"/>
                <a:gd name="T67" fmla="*/ 126 h 151"/>
                <a:gd name="T68" fmla="*/ 177 w 274"/>
                <a:gd name="T69" fmla="*/ 120 h 151"/>
                <a:gd name="T70" fmla="*/ 202 w 274"/>
                <a:gd name="T71" fmla="*/ 120 h 151"/>
                <a:gd name="T72" fmla="*/ 215 w 274"/>
                <a:gd name="T73" fmla="*/ 107 h 151"/>
                <a:gd name="T74" fmla="*/ 236 w 274"/>
                <a:gd name="T75" fmla="*/ 103 h 151"/>
                <a:gd name="T76" fmla="*/ 255 w 274"/>
                <a:gd name="T77" fmla="*/ 101 h 151"/>
                <a:gd name="T78" fmla="*/ 274 w 274"/>
                <a:gd name="T79" fmla="*/ 97 h 151"/>
                <a:gd name="T80" fmla="*/ 269 w 274"/>
                <a:gd name="T81" fmla="*/ 76 h 151"/>
                <a:gd name="T82" fmla="*/ 267 w 274"/>
                <a:gd name="T83" fmla="*/ 55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74" h="151">
                  <a:moveTo>
                    <a:pt x="265" y="44"/>
                  </a:moveTo>
                  <a:lnTo>
                    <a:pt x="257" y="42"/>
                  </a:lnTo>
                  <a:lnTo>
                    <a:pt x="250" y="40"/>
                  </a:lnTo>
                  <a:lnTo>
                    <a:pt x="238" y="38"/>
                  </a:lnTo>
                  <a:lnTo>
                    <a:pt x="225" y="36"/>
                  </a:lnTo>
                  <a:lnTo>
                    <a:pt x="215" y="36"/>
                  </a:lnTo>
                  <a:lnTo>
                    <a:pt x="202" y="34"/>
                  </a:lnTo>
                  <a:lnTo>
                    <a:pt x="192" y="32"/>
                  </a:lnTo>
                  <a:lnTo>
                    <a:pt x="182" y="32"/>
                  </a:lnTo>
                  <a:lnTo>
                    <a:pt x="177" y="28"/>
                  </a:lnTo>
                  <a:lnTo>
                    <a:pt x="171" y="24"/>
                  </a:lnTo>
                  <a:lnTo>
                    <a:pt x="167" y="21"/>
                  </a:lnTo>
                  <a:lnTo>
                    <a:pt x="161" y="23"/>
                  </a:lnTo>
                  <a:lnTo>
                    <a:pt x="157" y="28"/>
                  </a:lnTo>
                  <a:lnTo>
                    <a:pt x="157" y="34"/>
                  </a:lnTo>
                  <a:lnTo>
                    <a:pt x="157" y="42"/>
                  </a:lnTo>
                  <a:lnTo>
                    <a:pt x="163" y="48"/>
                  </a:lnTo>
                  <a:lnTo>
                    <a:pt x="167" y="53"/>
                  </a:lnTo>
                  <a:lnTo>
                    <a:pt x="163" y="57"/>
                  </a:lnTo>
                  <a:lnTo>
                    <a:pt x="156" y="57"/>
                  </a:lnTo>
                  <a:lnTo>
                    <a:pt x="146" y="55"/>
                  </a:lnTo>
                  <a:lnTo>
                    <a:pt x="140" y="53"/>
                  </a:lnTo>
                  <a:lnTo>
                    <a:pt x="136" y="49"/>
                  </a:lnTo>
                  <a:lnTo>
                    <a:pt x="132" y="49"/>
                  </a:lnTo>
                  <a:lnTo>
                    <a:pt x="125" y="49"/>
                  </a:lnTo>
                  <a:lnTo>
                    <a:pt x="123" y="49"/>
                  </a:lnTo>
                  <a:lnTo>
                    <a:pt x="119" y="49"/>
                  </a:lnTo>
                  <a:lnTo>
                    <a:pt x="109" y="48"/>
                  </a:lnTo>
                  <a:lnTo>
                    <a:pt x="104" y="44"/>
                  </a:lnTo>
                  <a:lnTo>
                    <a:pt x="98" y="40"/>
                  </a:lnTo>
                  <a:lnTo>
                    <a:pt x="94" y="38"/>
                  </a:lnTo>
                  <a:lnTo>
                    <a:pt x="92" y="34"/>
                  </a:lnTo>
                  <a:lnTo>
                    <a:pt x="92" y="30"/>
                  </a:lnTo>
                  <a:lnTo>
                    <a:pt x="100" y="28"/>
                  </a:lnTo>
                  <a:lnTo>
                    <a:pt x="108" y="24"/>
                  </a:lnTo>
                  <a:lnTo>
                    <a:pt x="113" y="17"/>
                  </a:lnTo>
                  <a:lnTo>
                    <a:pt x="113" y="13"/>
                  </a:lnTo>
                  <a:lnTo>
                    <a:pt x="115" y="7"/>
                  </a:lnTo>
                  <a:lnTo>
                    <a:pt x="113" y="1"/>
                  </a:lnTo>
                  <a:lnTo>
                    <a:pt x="109" y="0"/>
                  </a:lnTo>
                  <a:lnTo>
                    <a:pt x="106" y="1"/>
                  </a:lnTo>
                  <a:lnTo>
                    <a:pt x="100" y="3"/>
                  </a:lnTo>
                  <a:lnTo>
                    <a:pt x="92" y="3"/>
                  </a:lnTo>
                  <a:lnTo>
                    <a:pt x="88" y="1"/>
                  </a:lnTo>
                  <a:lnTo>
                    <a:pt x="81" y="0"/>
                  </a:lnTo>
                  <a:lnTo>
                    <a:pt x="71" y="5"/>
                  </a:lnTo>
                  <a:lnTo>
                    <a:pt x="65" y="9"/>
                  </a:lnTo>
                  <a:lnTo>
                    <a:pt x="60" y="13"/>
                  </a:lnTo>
                  <a:lnTo>
                    <a:pt x="56" y="15"/>
                  </a:lnTo>
                  <a:lnTo>
                    <a:pt x="44" y="19"/>
                  </a:lnTo>
                  <a:lnTo>
                    <a:pt x="37" y="21"/>
                  </a:lnTo>
                  <a:lnTo>
                    <a:pt x="27" y="21"/>
                  </a:lnTo>
                  <a:lnTo>
                    <a:pt x="19" y="19"/>
                  </a:lnTo>
                  <a:lnTo>
                    <a:pt x="14" y="17"/>
                  </a:lnTo>
                  <a:lnTo>
                    <a:pt x="12" y="24"/>
                  </a:lnTo>
                  <a:lnTo>
                    <a:pt x="12" y="36"/>
                  </a:lnTo>
                  <a:lnTo>
                    <a:pt x="12" y="44"/>
                  </a:lnTo>
                  <a:lnTo>
                    <a:pt x="8" y="53"/>
                  </a:lnTo>
                  <a:lnTo>
                    <a:pt x="6" y="59"/>
                  </a:lnTo>
                  <a:lnTo>
                    <a:pt x="0" y="67"/>
                  </a:lnTo>
                  <a:lnTo>
                    <a:pt x="2" y="74"/>
                  </a:lnTo>
                  <a:lnTo>
                    <a:pt x="0" y="84"/>
                  </a:lnTo>
                  <a:lnTo>
                    <a:pt x="4" y="92"/>
                  </a:lnTo>
                  <a:lnTo>
                    <a:pt x="0" y="99"/>
                  </a:lnTo>
                  <a:lnTo>
                    <a:pt x="2" y="103"/>
                  </a:lnTo>
                  <a:lnTo>
                    <a:pt x="8" y="111"/>
                  </a:lnTo>
                  <a:lnTo>
                    <a:pt x="15" y="117"/>
                  </a:lnTo>
                  <a:lnTo>
                    <a:pt x="23" y="118"/>
                  </a:lnTo>
                  <a:lnTo>
                    <a:pt x="35" y="118"/>
                  </a:lnTo>
                  <a:lnTo>
                    <a:pt x="46" y="118"/>
                  </a:lnTo>
                  <a:lnTo>
                    <a:pt x="58" y="115"/>
                  </a:lnTo>
                  <a:lnTo>
                    <a:pt x="63" y="109"/>
                  </a:lnTo>
                  <a:lnTo>
                    <a:pt x="71" y="103"/>
                  </a:lnTo>
                  <a:lnTo>
                    <a:pt x="79" y="97"/>
                  </a:lnTo>
                  <a:lnTo>
                    <a:pt x="88" y="94"/>
                  </a:lnTo>
                  <a:lnTo>
                    <a:pt x="94" y="90"/>
                  </a:lnTo>
                  <a:lnTo>
                    <a:pt x="102" y="90"/>
                  </a:lnTo>
                  <a:lnTo>
                    <a:pt x="108" y="95"/>
                  </a:lnTo>
                  <a:lnTo>
                    <a:pt x="109" y="101"/>
                  </a:lnTo>
                  <a:lnTo>
                    <a:pt x="106" y="105"/>
                  </a:lnTo>
                  <a:lnTo>
                    <a:pt x="102" y="107"/>
                  </a:lnTo>
                  <a:lnTo>
                    <a:pt x="100" y="115"/>
                  </a:lnTo>
                  <a:lnTo>
                    <a:pt x="100" y="122"/>
                  </a:lnTo>
                  <a:lnTo>
                    <a:pt x="98" y="126"/>
                  </a:lnTo>
                  <a:lnTo>
                    <a:pt x="98" y="130"/>
                  </a:lnTo>
                  <a:lnTo>
                    <a:pt x="100" y="134"/>
                  </a:lnTo>
                  <a:lnTo>
                    <a:pt x="106" y="134"/>
                  </a:lnTo>
                  <a:lnTo>
                    <a:pt x="109" y="136"/>
                  </a:lnTo>
                  <a:lnTo>
                    <a:pt x="109" y="140"/>
                  </a:lnTo>
                  <a:lnTo>
                    <a:pt x="108" y="142"/>
                  </a:lnTo>
                  <a:lnTo>
                    <a:pt x="108" y="145"/>
                  </a:lnTo>
                  <a:lnTo>
                    <a:pt x="109" y="147"/>
                  </a:lnTo>
                  <a:lnTo>
                    <a:pt x="115" y="151"/>
                  </a:lnTo>
                  <a:lnTo>
                    <a:pt x="123" y="151"/>
                  </a:lnTo>
                  <a:lnTo>
                    <a:pt x="129" y="147"/>
                  </a:lnTo>
                  <a:lnTo>
                    <a:pt x="134" y="149"/>
                  </a:lnTo>
                  <a:lnTo>
                    <a:pt x="138" y="143"/>
                  </a:lnTo>
                  <a:lnTo>
                    <a:pt x="140" y="136"/>
                  </a:lnTo>
                  <a:lnTo>
                    <a:pt x="142" y="132"/>
                  </a:lnTo>
                  <a:lnTo>
                    <a:pt x="148" y="126"/>
                  </a:lnTo>
                  <a:lnTo>
                    <a:pt x="156" y="126"/>
                  </a:lnTo>
                  <a:lnTo>
                    <a:pt x="159" y="126"/>
                  </a:lnTo>
                  <a:lnTo>
                    <a:pt x="169" y="124"/>
                  </a:lnTo>
                  <a:lnTo>
                    <a:pt x="173" y="118"/>
                  </a:lnTo>
                  <a:lnTo>
                    <a:pt x="177" y="120"/>
                  </a:lnTo>
                  <a:lnTo>
                    <a:pt x="184" y="122"/>
                  </a:lnTo>
                  <a:lnTo>
                    <a:pt x="192" y="120"/>
                  </a:lnTo>
                  <a:lnTo>
                    <a:pt x="202" y="120"/>
                  </a:lnTo>
                  <a:lnTo>
                    <a:pt x="207" y="117"/>
                  </a:lnTo>
                  <a:lnTo>
                    <a:pt x="211" y="115"/>
                  </a:lnTo>
                  <a:lnTo>
                    <a:pt x="215" y="107"/>
                  </a:lnTo>
                  <a:lnTo>
                    <a:pt x="221" y="105"/>
                  </a:lnTo>
                  <a:lnTo>
                    <a:pt x="228" y="103"/>
                  </a:lnTo>
                  <a:lnTo>
                    <a:pt x="236" y="103"/>
                  </a:lnTo>
                  <a:lnTo>
                    <a:pt x="240" y="103"/>
                  </a:lnTo>
                  <a:lnTo>
                    <a:pt x="248" y="101"/>
                  </a:lnTo>
                  <a:lnTo>
                    <a:pt x="255" y="101"/>
                  </a:lnTo>
                  <a:lnTo>
                    <a:pt x="261" y="101"/>
                  </a:lnTo>
                  <a:lnTo>
                    <a:pt x="269" y="99"/>
                  </a:lnTo>
                  <a:lnTo>
                    <a:pt x="274" y="97"/>
                  </a:lnTo>
                  <a:lnTo>
                    <a:pt x="273" y="90"/>
                  </a:lnTo>
                  <a:lnTo>
                    <a:pt x="271" y="86"/>
                  </a:lnTo>
                  <a:lnTo>
                    <a:pt x="269" y="76"/>
                  </a:lnTo>
                  <a:lnTo>
                    <a:pt x="269" y="67"/>
                  </a:lnTo>
                  <a:lnTo>
                    <a:pt x="269" y="61"/>
                  </a:lnTo>
                  <a:lnTo>
                    <a:pt x="267" y="55"/>
                  </a:lnTo>
                  <a:lnTo>
                    <a:pt x="267" y="49"/>
                  </a:lnTo>
                  <a:lnTo>
                    <a:pt x="265" y="4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/>
            </a:p>
          </p:txBody>
        </p:sp>
        <p:sp>
          <p:nvSpPr>
            <p:cNvPr id="140" name="Freeform 25"/>
            <p:cNvSpPr>
              <a:spLocks/>
            </p:cNvSpPr>
            <p:nvPr/>
          </p:nvSpPr>
          <p:spPr bwMode="auto">
            <a:xfrm>
              <a:off x="7172501" y="2322534"/>
              <a:ext cx="1223459" cy="1378273"/>
            </a:xfrm>
            <a:custGeom>
              <a:avLst/>
              <a:gdLst>
                <a:gd name="T0" fmla="*/ 426 w 628"/>
                <a:gd name="T1" fmla="*/ 652 h 706"/>
                <a:gd name="T2" fmla="*/ 430 w 628"/>
                <a:gd name="T3" fmla="*/ 615 h 706"/>
                <a:gd name="T4" fmla="*/ 440 w 628"/>
                <a:gd name="T5" fmla="*/ 571 h 706"/>
                <a:gd name="T6" fmla="*/ 438 w 628"/>
                <a:gd name="T7" fmla="*/ 529 h 706"/>
                <a:gd name="T8" fmla="*/ 407 w 628"/>
                <a:gd name="T9" fmla="*/ 518 h 706"/>
                <a:gd name="T10" fmla="*/ 357 w 628"/>
                <a:gd name="T11" fmla="*/ 510 h 706"/>
                <a:gd name="T12" fmla="*/ 328 w 628"/>
                <a:gd name="T13" fmla="*/ 477 h 706"/>
                <a:gd name="T14" fmla="*/ 298 w 628"/>
                <a:gd name="T15" fmla="*/ 470 h 706"/>
                <a:gd name="T16" fmla="*/ 263 w 628"/>
                <a:gd name="T17" fmla="*/ 458 h 706"/>
                <a:gd name="T18" fmla="*/ 232 w 628"/>
                <a:gd name="T19" fmla="*/ 435 h 706"/>
                <a:gd name="T20" fmla="*/ 202 w 628"/>
                <a:gd name="T21" fmla="*/ 424 h 706"/>
                <a:gd name="T22" fmla="*/ 179 w 628"/>
                <a:gd name="T23" fmla="*/ 408 h 706"/>
                <a:gd name="T24" fmla="*/ 161 w 628"/>
                <a:gd name="T25" fmla="*/ 399 h 706"/>
                <a:gd name="T26" fmla="*/ 115 w 628"/>
                <a:gd name="T27" fmla="*/ 412 h 706"/>
                <a:gd name="T28" fmla="*/ 71 w 628"/>
                <a:gd name="T29" fmla="*/ 437 h 706"/>
                <a:gd name="T30" fmla="*/ 25 w 628"/>
                <a:gd name="T31" fmla="*/ 452 h 706"/>
                <a:gd name="T32" fmla="*/ 27 w 628"/>
                <a:gd name="T33" fmla="*/ 412 h 706"/>
                <a:gd name="T34" fmla="*/ 19 w 628"/>
                <a:gd name="T35" fmla="*/ 370 h 706"/>
                <a:gd name="T36" fmla="*/ 21 w 628"/>
                <a:gd name="T37" fmla="*/ 335 h 706"/>
                <a:gd name="T38" fmla="*/ 12 w 628"/>
                <a:gd name="T39" fmla="*/ 306 h 706"/>
                <a:gd name="T40" fmla="*/ 8 w 628"/>
                <a:gd name="T41" fmla="*/ 268 h 706"/>
                <a:gd name="T42" fmla="*/ 14 w 628"/>
                <a:gd name="T43" fmla="*/ 224 h 706"/>
                <a:gd name="T44" fmla="*/ 4 w 628"/>
                <a:gd name="T45" fmla="*/ 197 h 706"/>
                <a:gd name="T46" fmla="*/ 2 w 628"/>
                <a:gd name="T47" fmla="*/ 165 h 706"/>
                <a:gd name="T48" fmla="*/ 19 w 628"/>
                <a:gd name="T49" fmla="*/ 143 h 706"/>
                <a:gd name="T50" fmla="*/ 52 w 628"/>
                <a:gd name="T51" fmla="*/ 130 h 706"/>
                <a:gd name="T52" fmla="*/ 92 w 628"/>
                <a:gd name="T53" fmla="*/ 149 h 706"/>
                <a:gd name="T54" fmla="*/ 148 w 628"/>
                <a:gd name="T55" fmla="*/ 143 h 706"/>
                <a:gd name="T56" fmla="*/ 190 w 628"/>
                <a:gd name="T57" fmla="*/ 95 h 706"/>
                <a:gd name="T58" fmla="*/ 225 w 628"/>
                <a:gd name="T59" fmla="*/ 53 h 706"/>
                <a:gd name="T60" fmla="*/ 265 w 628"/>
                <a:gd name="T61" fmla="*/ 55 h 706"/>
                <a:gd name="T62" fmla="*/ 323 w 628"/>
                <a:gd name="T63" fmla="*/ 44 h 706"/>
                <a:gd name="T64" fmla="*/ 367 w 628"/>
                <a:gd name="T65" fmla="*/ 5 h 706"/>
                <a:gd name="T66" fmla="*/ 399 w 628"/>
                <a:gd name="T67" fmla="*/ 34 h 706"/>
                <a:gd name="T68" fmla="*/ 428 w 628"/>
                <a:gd name="T69" fmla="*/ 36 h 706"/>
                <a:gd name="T70" fmla="*/ 467 w 628"/>
                <a:gd name="T71" fmla="*/ 15 h 706"/>
                <a:gd name="T72" fmla="*/ 518 w 628"/>
                <a:gd name="T73" fmla="*/ 1 h 706"/>
                <a:gd name="T74" fmla="*/ 551 w 628"/>
                <a:gd name="T75" fmla="*/ 21 h 706"/>
                <a:gd name="T76" fmla="*/ 574 w 628"/>
                <a:gd name="T77" fmla="*/ 40 h 706"/>
                <a:gd name="T78" fmla="*/ 589 w 628"/>
                <a:gd name="T79" fmla="*/ 86 h 706"/>
                <a:gd name="T80" fmla="*/ 599 w 628"/>
                <a:gd name="T81" fmla="*/ 122 h 706"/>
                <a:gd name="T82" fmla="*/ 591 w 628"/>
                <a:gd name="T83" fmla="*/ 155 h 706"/>
                <a:gd name="T84" fmla="*/ 587 w 628"/>
                <a:gd name="T85" fmla="*/ 193 h 706"/>
                <a:gd name="T86" fmla="*/ 628 w 628"/>
                <a:gd name="T87" fmla="*/ 224 h 706"/>
                <a:gd name="T88" fmla="*/ 595 w 628"/>
                <a:gd name="T89" fmla="*/ 276 h 706"/>
                <a:gd name="T90" fmla="*/ 555 w 628"/>
                <a:gd name="T91" fmla="*/ 314 h 706"/>
                <a:gd name="T92" fmla="*/ 539 w 628"/>
                <a:gd name="T93" fmla="*/ 310 h 706"/>
                <a:gd name="T94" fmla="*/ 532 w 628"/>
                <a:gd name="T95" fmla="*/ 305 h 706"/>
                <a:gd name="T96" fmla="*/ 530 w 628"/>
                <a:gd name="T97" fmla="*/ 333 h 706"/>
                <a:gd name="T98" fmla="*/ 511 w 628"/>
                <a:gd name="T99" fmla="*/ 374 h 706"/>
                <a:gd name="T100" fmla="*/ 515 w 628"/>
                <a:gd name="T101" fmla="*/ 422 h 706"/>
                <a:gd name="T102" fmla="*/ 513 w 628"/>
                <a:gd name="T103" fmla="*/ 471 h 706"/>
                <a:gd name="T104" fmla="*/ 516 w 628"/>
                <a:gd name="T105" fmla="*/ 523 h 706"/>
                <a:gd name="T106" fmla="*/ 497 w 628"/>
                <a:gd name="T107" fmla="*/ 581 h 706"/>
                <a:gd name="T108" fmla="*/ 488 w 628"/>
                <a:gd name="T109" fmla="*/ 627 h 706"/>
                <a:gd name="T110" fmla="*/ 488 w 628"/>
                <a:gd name="T111" fmla="*/ 671 h 706"/>
                <a:gd name="T112" fmla="*/ 455 w 628"/>
                <a:gd name="T113" fmla="*/ 696 h 706"/>
                <a:gd name="T114" fmla="*/ 419 w 628"/>
                <a:gd name="T115" fmla="*/ 679 h 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28" h="706">
                  <a:moveTo>
                    <a:pt x="407" y="667"/>
                  </a:moveTo>
                  <a:lnTo>
                    <a:pt x="413" y="667"/>
                  </a:lnTo>
                  <a:lnTo>
                    <a:pt x="419" y="663"/>
                  </a:lnTo>
                  <a:lnTo>
                    <a:pt x="422" y="658"/>
                  </a:lnTo>
                  <a:lnTo>
                    <a:pt x="426" y="652"/>
                  </a:lnTo>
                  <a:lnTo>
                    <a:pt x="422" y="644"/>
                  </a:lnTo>
                  <a:lnTo>
                    <a:pt x="421" y="635"/>
                  </a:lnTo>
                  <a:lnTo>
                    <a:pt x="417" y="623"/>
                  </a:lnTo>
                  <a:lnTo>
                    <a:pt x="421" y="617"/>
                  </a:lnTo>
                  <a:lnTo>
                    <a:pt x="430" y="615"/>
                  </a:lnTo>
                  <a:lnTo>
                    <a:pt x="436" y="608"/>
                  </a:lnTo>
                  <a:lnTo>
                    <a:pt x="436" y="598"/>
                  </a:lnTo>
                  <a:lnTo>
                    <a:pt x="436" y="589"/>
                  </a:lnTo>
                  <a:lnTo>
                    <a:pt x="436" y="583"/>
                  </a:lnTo>
                  <a:lnTo>
                    <a:pt x="440" y="571"/>
                  </a:lnTo>
                  <a:lnTo>
                    <a:pt x="442" y="562"/>
                  </a:lnTo>
                  <a:lnTo>
                    <a:pt x="442" y="554"/>
                  </a:lnTo>
                  <a:lnTo>
                    <a:pt x="442" y="546"/>
                  </a:lnTo>
                  <a:lnTo>
                    <a:pt x="444" y="537"/>
                  </a:lnTo>
                  <a:lnTo>
                    <a:pt x="438" y="529"/>
                  </a:lnTo>
                  <a:lnTo>
                    <a:pt x="432" y="521"/>
                  </a:lnTo>
                  <a:lnTo>
                    <a:pt x="428" y="518"/>
                  </a:lnTo>
                  <a:lnTo>
                    <a:pt x="421" y="514"/>
                  </a:lnTo>
                  <a:lnTo>
                    <a:pt x="415" y="514"/>
                  </a:lnTo>
                  <a:lnTo>
                    <a:pt x="407" y="518"/>
                  </a:lnTo>
                  <a:lnTo>
                    <a:pt x="394" y="518"/>
                  </a:lnTo>
                  <a:lnTo>
                    <a:pt x="386" y="510"/>
                  </a:lnTo>
                  <a:lnTo>
                    <a:pt x="380" y="506"/>
                  </a:lnTo>
                  <a:lnTo>
                    <a:pt x="369" y="506"/>
                  </a:lnTo>
                  <a:lnTo>
                    <a:pt x="357" y="510"/>
                  </a:lnTo>
                  <a:lnTo>
                    <a:pt x="350" y="508"/>
                  </a:lnTo>
                  <a:lnTo>
                    <a:pt x="342" y="502"/>
                  </a:lnTo>
                  <a:lnTo>
                    <a:pt x="338" y="495"/>
                  </a:lnTo>
                  <a:lnTo>
                    <a:pt x="334" y="485"/>
                  </a:lnTo>
                  <a:lnTo>
                    <a:pt x="328" y="477"/>
                  </a:lnTo>
                  <a:lnTo>
                    <a:pt x="323" y="475"/>
                  </a:lnTo>
                  <a:lnTo>
                    <a:pt x="317" y="470"/>
                  </a:lnTo>
                  <a:lnTo>
                    <a:pt x="311" y="466"/>
                  </a:lnTo>
                  <a:lnTo>
                    <a:pt x="305" y="468"/>
                  </a:lnTo>
                  <a:lnTo>
                    <a:pt x="298" y="470"/>
                  </a:lnTo>
                  <a:lnTo>
                    <a:pt x="290" y="471"/>
                  </a:lnTo>
                  <a:lnTo>
                    <a:pt x="282" y="470"/>
                  </a:lnTo>
                  <a:lnTo>
                    <a:pt x="275" y="468"/>
                  </a:lnTo>
                  <a:lnTo>
                    <a:pt x="269" y="460"/>
                  </a:lnTo>
                  <a:lnTo>
                    <a:pt x="263" y="458"/>
                  </a:lnTo>
                  <a:lnTo>
                    <a:pt x="259" y="450"/>
                  </a:lnTo>
                  <a:lnTo>
                    <a:pt x="252" y="445"/>
                  </a:lnTo>
                  <a:lnTo>
                    <a:pt x="246" y="437"/>
                  </a:lnTo>
                  <a:lnTo>
                    <a:pt x="240" y="437"/>
                  </a:lnTo>
                  <a:lnTo>
                    <a:pt x="232" y="435"/>
                  </a:lnTo>
                  <a:lnTo>
                    <a:pt x="232" y="429"/>
                  </a:lnTo>
                  <a:lnTo>
                    <a:pt x="227" y="431"/>
                  </a:lnTo>
                  <a:lnTo>
                    <a:pt x="219" y="427"/>
                  </a:lnTo>
                  <a:lnTo>
                    <a:pt x="209" y="425"/>
                  </a:lnTo>
                  <a:lnTo>
                    <a:pt x="202" y="424"/>
                  </a:lnTo>
                  <a:lnTo>
                    <a:pt x="194" y="427"/>
                  </a:lnTo>
                  <a:lnTo>
                    <a:pt x="186" y="427"/>
                  </a:lnTo>
                  <a:lnTo>
                    <a:pt x="183" y="422"/>
                  </a:lnTo>
                  <a:lnTo>
                    <a:pt x="181" y="414"/>
                  </a:lnTo>
                  <a:lnTo>
                    <a:pt x="179" y="408"/>
                  </a:lnTo>
                  <a:lnTo>
                    <a:pt x="184" y="406"/>
                  </a:lnTo>
                  <a:lnTo>
                    <a:pt x="181" y="401"/>
                  </a:lnTo>
                  <a:lnTo>
                    <a:pt x="173" y="397"/>
                  </a:lnTo>
                  <a:lnTo>
                    <a:pt x="169" y="399"/>
                  </a:lnTo>
                  <a:lnTo>
                    <a:pt x="161" y="399"/>
                  </a:lnTo>
                  <a:lnTo>
                    <a:pt x="154" y="399"/>
                  </a:lnTo>
                  <a:lnTo>
                    <a:pt x="148" y="401"/>
                  </a:lnTo>
                  <a:lnTo>
                    <a:pt x="137" y="404"/>
                  </a:lnTo>
                  <a:lnTo>
                    <a:pt x="125" y="408"/>
                  </a:lnTo>
                  <a:lnTo>
                    <a:pt x="115" y="412"/>
                  </a:lnTo>
                  <a:lnTo>
                    <a:pt x="108" y="422"/>
                  </a:lnTo>
                  <a:lnTo>
                    <a:pt x="98" y="424"/>
                  </a:lnTo>
                  <a:lnTo>
                    <a:pt x="89" y="427"/>
                  </a:lnTo>
                  <a:lnTo>
                    <a:pt x="81" y="435"/>
                  </a:lnTo>
                  <a:lnTo>
                    <a:pt x="71" y="437"/>
                  </a:lnTo>
                  <a:lnTo>
                    <a:pt x="58" y="443"/>
                  </a:lnTo>
                  <a:lnTo>
                    <a:pt x="52" y="447"/>
                  </a:lnTo>
                  <a:lnTo>
                    <a:pt x="46" y="450"/>
                  </a:lnTo>
                  <a:lnTo>
                    <a:pt x="37" y="454"/>
                  </a:lnTo>
                  <a:lnTo>
                    <a:pt x="25" y="452"/>
                  </a:lnTo>
                  <a:lnTo>
                    <a:pt x="27" y="447"/>
                  </a:lnTo>
                  <a:lnTo>
                    <a:pt x="27" y="437"/>
                  </a:lnTo>
                  <a:lnTo>
                    <a:pt x="27" y="427"/>
                  </a:lnTo>
                  <a:lnTo>
                    <a:pt x="29" y="420"/>
                  </a:lnTo>
                  <a:lnTo>
                    <a:pt x="27" y="412"/>
                  </a:lnTo>
                  <a:lnTo>
                    <a:pt x="29" y="404"/>
                  </a:lnTo>
                  <a:lnTo>
                    <a:pt x="25" y="397"/>
                  </a:lnTo>
                  <a:lnTo>
                    <a:pt x="21" y="387"/>
                  </a:lnTo>
                  <a:lnTo>
                    <a:pt x="21" y="381"/>
                  </a:lnTo>
                  <a:lnTo>
                    <a:pt x="19" y="370"/>
                  </a:lnTo>
                  <a:lnTo>
                    <a:pt x="16" y="364"/>
                  </a:lnTo>
                  <a:lnTo>
                    <a:pt x="16" y="356"/>
                  </a:lnTo>
                  <a:lnTo>
                    <a:pt x="18" y="347"/>
                  </a:lnTo>
                  <a:lnTo>
                    <a:pt x="23" y="343"/>
                  </a:lnTo>
                  <a:lnTo>
                    <a:pt x="21" y="335"/>
                  </a:lnTo>
                  <a:lnTo>
                    <a:pt x="19" y="330"/>
                  </a:lnTo>
                  <a:lnTo>
                    <a:pt x="14" y="324"/>
                  </a:lnTo>
                  <a:lnTo>
                    <a:pt x="14" y="318"/>
                  </a:lnTo>
                  <a:lnTo>
                    <a:pt x="12" y="314"/>
                  </a:lnTo>
                  <a:lnTo>
                    <a:pt x="12" y="306"/>
                  </a:lnTo>
                  <a:lnTo>
                    <a:pt x="16" y="301"/>
                  </a:lnTo>
                  <a:lnTo>
                    <a:pt x="16" y="293"/>
                  </a:lnTo>
                  <a:lnTo>
                    <a:pt x="14" y="287"/>
                  </a:lnTo>
                  <a:lnTo>
                    <a:pt x="14" y="276"/>
                  </a:lnTo>
                  <a:lnTo>
                    <a:pt x="8" y="268"/>
                  </a:lnTo>
                  <a:lnTo>
                    <a:pt x="6" y="257"/>
                  </a:lnTo>
                  <a:lnTo>
                    <a:pt x="14" y="247"/>
                  </a:lnTo>
                  <a:lnTo>
                    <a:pt x="10" y="237"/>
                  </a:lnTo>
                  <a:lnTo>
                    <a:pt x="8" y="228"/>
                  </a:lnTo>
                  <a:lnTo>
                    <a:pt x="14" y="224"/>
                  </a:lnTo>
                  <a:lnTo>
                    <a:pt x="14" y="218"/>
                  </a:lnTo>
                  <a:lnTo>
                    <a:pt x="16" y="211"/>
                  </a:lnTo>
                  <a:lnTo>
                    <a:pt x="16" y="205"/>
                  </a:lnTo>
                  <a:lnTo>
                    <a:pt x="8" y="203"/>
                  </a:lnTo>
                  <a:lnTo>
                    <a:pt x="4" y="197"/>
                  </a:lnTo>
                  <a:lnTo>
                    <a:pt x="4" y="191"/>
                  </a:lnTo>
                  <a:lnTo>
                    <a:pt x="0" y="186"/>
                  </a:lnTo>
                  <a:lnTo>
                    <a:pt x="2" y="176"/>
                  </a:lnTo>
                  <a:lnTo>
                    <a:pt x="4" y="170"/>
                  </a:lnTo>
                  <a:lnTo>
                    <a:pt x="2" y="165"/>
                  </a:lnTo>
                  <a:lnTo>
                    <a:pt x="8" y="161"/>
                  </a:lnTo>
                  <a:lnTo>
                    <a:pt x="10" y="155"/>
                  </a:lnTo>
                  <a:lnTo>
                    <a:pt x="16" y="151"/>
                  </a:lnTo>
                  <a:lnTo>
                    <a:pt x="18" y="147"/>
                  </a:lnTo>
                  <a:lnTo>
                    <a:pt x="19" y="143"/>
                  </a:lnTo>
                  <a:lnTo>
                    <a:pt x="27" y="142"/>
                  </a:lnTo>
                  <a:lnTo>
                    <a:pt x="31" y="143"/>
                  </a:lnTo>
                  <a:lnTo>
                    <a:pt x="41" y="136"/>
                  </a:lnTo>
                  <a:lnTo>
                    <a:pt x="48" y="132"/>
                  </a:lnTo>
                  <a:lnTo>
                    <a:pt x="52" y="130"/>
                  </a:lnTo>
                  <a:lnTo>
                    <a:pt x="58" y="126"/>
                  </a:lnTo>
                  <a:lnTo>
                    <a:pt x="67" y="130"/>
                  </a:lnTo>
                  <a:lnTo>
                    <a:pt x="75" y="136"/>
                  </a:lnTo>
                  <a:lnTo>
                    <a:pt x="81" y="142"/>
                  </a:lnTo>
                  <a:lnTo>
                    <a:pt x="92" y="149"/>
                  </a:lnTo>
                  <a:lnTo>
                    <a:pt x="102" y="149"/>
                  </a:lnTo>
                  <a:lnTo>
                    <a:pt x="113" y="149"/>
                  </a:lnTo>
                  <a:lnTo>
                    <a:pt x="121" y="143"/>
                  </a:lnTo>
                  <a:lnTo>
                    <a:pt x="135" y="143"/>
                  </a:lnTo>
                  <a:lnTo>
                    <a:pt x="148" y="143"/>
                  </a:lnTo>
                  <a:lnTo>
                    <a:pt x="156" y="136"/>
                  </a:lnTo>
                  <a:lnTo>
                    <a:pt x="169" y="130"/>
                  </a:lnTo>
                  <a:lnTo>
                    <a:pt x="177" y="120"/>
                  </a:lnTo>
                  <a:lnTo>
                    <a:pt x="183" y="109"/>
                  </a:lnTo>
                  <a:lnTo>
                    <a:pt x="190" y="95"/>
                  </a:lnTo>
                  <a:lnTo>
                    <a:pt x="196" y="88"/>
                  </a:lnTo>
                  <a:lnTo>
                    <a:pt x="204" y="78"/>
                  </a:lnTo>
                  <a:lnTo>
                    <a:pt x="209" y="69"/>
                  </a:lnTo>
                  <a:lnTo>
                    <a:pt x="215" y="59"/>
                  </a:lnTo>
                  <a:lnTo>
                    <a:pt x="225" y="53"/>
                  </a:lnTo>
                  <a:lnTo>
                    <a:pt x="236" y="51"/>
                  </a:lnTo>
                  <a:lnTo>
                    <a:pt x="244" y="47"/>
                  </a:lnTo>
                  <a:lnTo>
                    <a:pt x="252" y="51"/>
                  </a:lnTo>
                  <a:lnTo>
                    <a:pt x="255" y="57"/>
                  </a:lnTo>
                  <a:lnTo>
                    <a:pt x="265" y="55"/>
                  </a:lnTo>
                  <a:lnTo>
                    <a:pt x="279" y="53"/>
                  </a:lnTo>
                  <a:lnTo>
                    <a:pt x="290" y="55"/>
                  </a:lnTo>
                  <a:lnTo>
                    <a:pt x="300" y="53"/>
                  </a:lnTo>
                  <a:lnTo>
                    <a:pt x="307" y="51"/>
                  </a:lnTo>
                  <a:lnTo>
                    <a:pt x="323" y="44"/>
                  </a:lnTo>
                  <a:lnTo>
                    <a:pt x="330" y="36"/>
                  </a:lnTo>
                  <a:lnTo>
                    <a:pt x="340" y="24"/>
                  </a:lnTo>
                  <a:lnTo>
                    <a:pt x="346" y="15"/>
                  </a:lnTo>
                  <a:lnTo>
                    <a:pt x="355" y="7"/>
                  </a:lnTo>
                  <a:lnTo>
                    <a:pt x="367" y="5"/>
                  </a:lnTo>
                  <a:lnTo>
                    <a:pt x="376" y="9"/>
                  </a:lnTo>
                  <a:lnTo>
                    <a:pt x="386" y="15"/>
                  </a:lnTo>
                  <a:lnTo>
                    <a:pt x="390" y="19"/>
                  </a:lnTo>
                  <a:lnTo>
                    <a:pt x="396" y="24"/>
                  </a:lnTo>
                  <a:lnTo>
                    <a:pt x="399" y="34"/>
                  </a:lnTo>
                  <a:lnTo>
                    <a:pt x="403" y="42"/>
                  </a:lnTo>
                  <a:lnTo>
                    <a:pt x="405" y="51"/>
                  </a:lnTo>
                  <a:lnTo>
                    <a:pt x="413" y="55"/>
                  </a:lnTo>
                  <a:lnTo>
                    <a:pt x="422" y="49"/>
                  </a:lnTo>
                  <a:lnTo>
                    <a:pt x="428" y="36"/>
                  </a:lnTo>
                  <a:lnTo>
                    <a:pt x="440" y="40"/>
                  </a:lnTo>
                  <a:lnTo>
                    <a:pt x="447" y="38"/>
                  </a:lnTo>
                  <a:lnTo>
                    <a:pt x="453" y="28"/>
                  </a:lnTo>
                  <a:lnTo>
                    <a:pt x="457" y="28"/>
                  </a:lnTo>
                  <a:lnTo>
                    <a:pt x="467" y="15"/>
                  </a:lnTo>
                  <a:lnTo>
                    <a:pt x="478" y="5"/>
                  </a:lnTo>
                  <a:lnTo>
                    <a:pt x="492" y="5"/>
                  </a:lnTo>
                  <a:lnTo>
                    <a:pt x="505" y="5"/>
                  </a:lnTo>
                  <a:lnTo>
                    <a:pt x="513" y="0"/>
                  </a:lnTo>
                  <a:lnTo>
                    <a:pt x="518" y="1"/>
                  </a:lnTo>
                  <a:lnTo>
                    <a:pt x="520" y="11"/>
                  </a:lnTo>
                  <a:lnTo>
                    <a:pt x="530" y="11"/>
                  </a:lnTo>
                  <a:lnTo>
                    <a:pt x="536" y="17"/>
                  </a:lnTo>
                  <a:lnTo>
                    <a:pt x="541" y="21"/>
                  </a:lnTo>
                  <a:lnTo>
                    <a:pt x="551" y="21"/>
                  </a:lnTo>
                  <a:lnTo>
                    <a:pt x="561" y="19"/>
                  </a:lnTo>
                  <a:lnTo>
                    <a:pt x="561" y="24"/>
                  </a:lnTo>
                  <a:lnTo>
                    <a:pt x="563" y="34"/>
                  </a:lnTo>
                  <a:lnTo>
                    <a:pt x="568" y="34"/>
                  </a:lnTo>
                  <a:lnTo>
                    <a:pt x="574" y="40"/>
                  </a:lnTo>
                  <a:lnTo>
                    <a:pt x="576" y="46"/>
                  </a:lnTo>
                  <a:lnTo>
                    <a:pt x="574" y="53"/>
                  </a:lnTo>
                  <a:lnTo>
                    <a:pt x="580" y="65"/>
                  </a:lnTo>
                  <a:lnTo>
                    <a:pt x="584" y="74"/>
                  </a:lnTo>
                  <a:lnTo>
                    <a:pt x="589" y="86"/>
                  </a:lnTo>
                  <a:lnTo>
                    <a:pt x="595" y="99"/>
                  </a:lnTo>
                  <a:lnTo>
                    <a:pt x="601" y="109"/>
                  </a:lnTo>
                  <a:lnTo>
                    <a:pt x="605" y="115"/>
                  </a:lnTo>
                  <a:lnTo>
                    <a:pt x="603" y="118"/>
                  </a:lnTo>
                  <a:lnTo>
                    <a:pt x="599" y="122"/>
                  </a:lnTo>
                  <a:lnTo>
                    <a:pt x="597" y="130"/>
                  </a:lnTo>
                  <a:lnTo>
                    <a:pt x="599" y="138"/>
                  </a:lnTo>
                  <a:lnTo>
                    <a:pt x="603" y="147"/>
                  </a:lnTo>
                  <a:lnTo>
                    <a:pt x="601" y="153"/>
                  </a:lnTo>
                  <a:lnTo>
                    <a:pt x="591" y="155"/>
                  </a:lnTo>
                  <a:lnTo>
                    <a:pt x="580" y="155"/>
                  </a:lnTo>
                  <a:lnTo>
                    <a:pt x="574" y="161"/>
                  </a:lnTo>
                  <a:lnTo>
                    <a:pt x="574" y="172"/>
                  </a:lnTo>
                  <a:lnTo>
                    <a:pt x="582" y="184"/>
                  </a:lnTo>
                  <a:lnTo>
                    <a:pt x="587" y="193"/>
                  </a:lnTo>
                  <a:lnTo>
                    <a:pt x="595" y="203"/>
                  </a:lnTo>
                  <a:lnTo>
                    <a:pt x="603" y="211"/>
                  </a:lnTo>
                  <a:lnTo>
                    <a:pt x="609" y="216"/>
                  </a:lnTo>
                  <a:lnTo>
                    <a:pt x="618" y="220"/>
                  </a:lnTo>
                  <a:lnTo>
                    <a:pt x="628" y="224"/>
                  </a:lnTo>
                  <a:lnTo>
                    <a:pt x="622" y="230"/>
                  </a:lnTo>
                  <a:lnTo>
                    <a:pt x="614" y="237"/>
                  </a:lnTo>
                  <a:lnTo>
                    <a:pt x="605" y="251"/>
                  </a:lnTo>
                  <a:lnTo>
                    <a:pt x="601" y="270"/>
                  </a:lnTo>
                  <a:lnTo>
                    <a:pt x="595" y="276"/>
                  </a:lnTo>
                  <a:lnTo>
                    <a:pt x="586" y="289"/>
                  </a:lnTo>
                  <a:lnTo>
                    <a:pt x="580" y="299"/>
                  </a:lnTo>
                  <a:lnTo>
                    <a:pt x="570" y="305"/>
                  </a:lnTo>
                  <a:lnTo>
                    <a:pt x="563" y="306"/>
                  </a:lnTo>
                  <a:lnTo>
                    <a:pt x="555" y="314"/>
                  </a:lnTo>
                  <a:lnTo>
                    <a:pt x="547" y="320"/>
                  </a:lnTo>
                  <a:lnTo>
                    <a:pt x="539" y="318"/>
                  </a:lnTo>
                  <a:lnTo>
                    <a:pt x="539" y="316"/>
                  </a:lnTo>
                  <a:lnTo>
                    <a:pt x="539" y="312"/>
                  </a:lnTo>
                  <a:lnTo>
                    <a:pt x="539" y="310"/>
                  </a:lnTo>
                  <a:lnTo>
                    <a:pt x="539" y="306"/>
                  </a:lnTo>
                  <a:lnTo>
                    <a:pt x="539" y="305"/>
                  </a:lnTo>
                  <a:lnTo>
                    <a:pt x="536" y="303"/>
                  </a:lnTo>
                  <a:lnTo>
                    <a:pt x="534" y="303"/>
                  </a:lnTo>
                  <a:lnTo>
                    <a:pt x="532" y="305"/>
                  </a:lnTo>
                  <a:lnTo>
                    <a:pt x="532" y="306"/>
                  </a:lnTo>
                  <a:lnTo>
                    <a:pt x="530" y="312"/>
                  </a:lnTo>
                  <a:lnTo>
                    <a:pt x="534" y="320"/>
                  </a:lnTo>
                  <a:lnTo>
                    <a:pt x="534" y="328"/>
                  </a:lnTo>
                  <a:lnTo>
                    <a:pt x="530" y="333"/>
                  </a:lnTo>
                  <a:lnTo>
                    <a:pt x="524" y="341"/>
                  </a:lnTo>
                  <a:lnTo>
                    <a:pt x="520" y="353"/>
                  </a:lnTo>
                  <a:lnTo>
                    <a:pt x="520" y="360"/>
                  </a:lnTo>
                  <a:lnTo>
                    <a:pt x="515" y="368"/>
                  </a:lnTo>
                  <a:lnTo>
                    <a:pt x="511" y="374"/>
                  </a:lnTo>
                  <a:lnTo>
                    <a:pt x="518" y="381"/>
                  </a:lnTo>
                  <a:lnTo>
                    <a:pt x="520" y="391"/>
                  </a:lnTo>
                  <a:lnTo>
                    <a:pt x="515" y="402"/>
                  </a:lnTo>
                  <a:lnTo>
                    <a:pt x="513" y="412"/>
                  </a:lnTo>
                  <a:lnTo>
                    <a:pt x="515" y="422"/>
                  </a:lnTo>
                  <a:lnTo>
                    <a:pt x="511" y="425"/>
                  </a:lnTo>
                  <a:lnTo>
                    <a:pt x="509" y="435"/>
                  </a:lnTo>
                  <a:lnTo>
                    <a:pt x="513" y="447"/>
                  </a:lnTo>
                  <a:lnTo>
                    <a:pt x="511" y="452"/>
                  </a:lnTo>
                  <a:lnTo>
                    <a:pt x="513" y="471"/>
                  </a:lnTo>
                  <a:lnTo>
                    <a:pt x="515" y="485"/>
                  </a:lnTo>
                  <a:lnTo>
                    <a:pt x="515" y="493"/>
                  </a:lnTo>
                  <a:lnTo>
                    <a:pt x="518" y="504"/>
                  </a:lnTo>
                  <a:lnTo>
                    <a:pt x="518" y="510"/>
                  </a:lnTo>
                  <a:lnTo>
                    <a:pt x="516" y="523"/>
                  </a:lnTo>
                  <a:lnTo>
                    <a:pt x="516" y="531"/>
                  </a:lnTo>
                  <a:lnTo>
                    <a:pt x="511" y="541"/>
                  </a:lnTo>
                  <a:lnTo>
                    <a:pt x="507" y="554"/>
                  </a:lnTo>
                  <a:lnTo>
                    <a:pt x="501" y="569"/>
                  </a:lnTo>
                  <a:lnTo>
                    <a:pt x="497" y="581"/>
                  </a:lnTo>
                  <a:lnTo>
                    <a:pt x="497" y="592"/>
                  </a:lnTo>
                  <a:lnTo>
                    <a:pt x="495" y="600"/>
                  </a:lnTo>
                  <a:lnTo>
                    <a:pt x="490" y="608"/>
                  </a:lnTo>
                  <a:lnTo>
                    <a:pt x="488" y="617"/>
                  </a:lnTo>
                  <a:lnTo>
                    <a:pt x="488" y="627"/>
                  </a:lnTo>
                  <a:lnTo>
                    <a:pt x="493" y="635"/>
                  </a:lnTo>
                  <a:lnTo>
                    <a:pt x="490" y="646"/>
                  </a:lnTo>
                  <a:lnTo>
                    <a:pt x="488" y="656"/>
                  </a:lnTo>
                  <a:lnTo>
                    <a:pt x="490" y="663"/>
                  </a:lnTo>
                  <a:lnTo>
                    <a:pt x="488" y="671"/>
                  </a:lnTo>
                  <a:lnTo>
                    <a:pt x="478" y="673"/>
                  </a:lnTo>
                  <a:lnTo>
                    <a:pt x="470" y="681"/>
                  </a:lnTo>
                  <a:lnTo>
                    <a:pt x="468" y="694"/>
                  </a:lnTo>
                  <a:lnTo>
                    <a:pt x="467" y="706"/>
                  </a:lnTo>
                  <a:lnTo>
                    <a:pt x="455" y="696"/>
                  </a:lnTo>
                  <a:lnTo>
                    <a:pt x="451" y="694"/>
                  </a:lnTo>
                  <a:lnTo>
                    <a:pt x="440" y="690"/>
                  </a:lnTo>
                  <a:lnTo>
                    <a:pt x="436" y="683"/>
                  </a:lnTo>
                  <a:lnTo>
                    <a:pt x="430" y="681"/>
                  </a:lnTo>
                  <a:lnTo>
                    <a:pt x="419" y="679"/>
                  </a:lnTo>
                  <a:lnTo>
                    <a:pt x="417" y="677"/>
                  </a:lnTo>
                  <a:lnTo>
                    <a:pt x="407" y="66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/>
            </a:p>
          </p:txBody>
        </p:sp>
        <p:sp>
          <p:nvSpPr>
            <p:cNvPr id="141" name="Freeform 26"/>
            <p:cNvSpPr>
              <a:spLocks/>
            </p:cNvSpPr>
            <p:nvPr/>
          </p:nvSpPr>
          <p:spPr bwMode="auto">
            <a:xfrm>
              <a:off x="7888514" y="2163420"/>
              <a:ext cx="894480" cy="292426"/>
            </a:xfrm>
            <a:custGeom>
              <a:avLst/>
              <a:gdLst>
                <a:gd name="T0" fmla="*/ 443 w 458"/>
                <a:gd name="T1" fmla="*/ 19 h 150"/>
                <a:gd name="T2" fmla="*/ 422 w 458"/>
                <a:gd name="T3" fmla="*/ 21 h 150"/>
                <a:gd name="T4" fmla="*/ 403 w 458"/>
                <a:gd name="T5" fmla="*/ 23 h 150"/>
                <a:gd name="T6" fmla="*/ 389 w 458"/>
                <a:gd name="T7" fmla="*/ 35 h 150"/>
                <a:gd name="T8" fmla="*/ 366 w 458"/>
                <a:gd name="T9" fmla="*/ 40 h 150"/>
                <a:gd name="T10" fmla="*/ 351 w 458"/>
                <a:gd name="T11" fmla="*/ 42 h 150"/>
                <a:gd name="T12" fmla="*/ 330 w 458"/>
                <a:gd name="T13" fmla="*/ 44 h 150"/>
                <a:gd name="T14" fmla="*/ 320 w 458"/>
                <a:gd name="T15" fmla="*/ 61 h 150"/>
                <a:gd name="T16" fmla="*/ 305 w 458"/>
                <a:gd name="T17" fmla="*/ 69 h 150"/>
                <a:gd name="T18" fmla="*/ 290 w 458"/>
                <a:gd name="T19" fmla="*/ 63 h 150"/>
                <a:gd name="T20" fmla="*/ 291 w 458"/>
                <a:gd name="T21" fmla="*/ 54 h 150"/>
                <a:gd name="T22" fmla="*/ 280 w 458"/>
                <a:gd name="T23" fmla="*/ 48 h 150"/>
                <a:gd name="T24" fmla="*/ 282 w 458"/>
                <a:gd name="T25" fmla="*/ 33 h 150"/>
                <a:gd name="T26" fmla="*/ 291 w 458"/>
                <a:gd name="T27" fmla="*/ 19 h 150"/>
                <a:gd name="T28" fmla="*/ 276 w 458"/>
                <a:gd name="T29" fmla="*/ 8 h 150"/>
                <a:gd name="T30" fmla="*/ 253 w 458"/>
                <a:gd name="T31" fmla="*/ 21 h 150"/>
                <a:gd name="T32" fmla="*/ 228 w 458"/>
                <a:gd name="T33" fmla="*/ 36 h 150"/>
                <a:gd name="T34" fmla="*/ 197 w 458"/>
                <a:gd name="T35" fmla="*/ 35 h 150"/>
                <a:gd name="T36" fmla="*/ 182 w 458"/>
                <a:gd name="T37" fmla="*/ 17 h 150"/>
                <a:gd name="T38" fmla="*/ 148 w 458"/>
                <a:gd name="T39" fmla="*/ 29 h 150"/>
                <a:gd name="T40" fmla="*/ 123 w 458"/>
                <a:gd name="T41" fmla="*/ 10 h 150"/>
                <a:gd name="T42" fmla="*/ 92 w 458"/>
                <a:gd name="T43" fmla="*/ 6 h 150"/>
                <a:gd name="T44" fmla="*/ 57 w 458"/>
                <a:gd name="T45" fmla="*/ 0 h 150"/>
                <a:gd name="T46" fmla="*/ 38 w 458"/>
                <a:gd name="T47" fmla="*/ 12 h 150"/>
                <a:gd name="T48" fmla="*/ 46 w 458"/>
                <a:gd name="T49" fmla="*/ 35 h 150"/>
                <a:gd name="T50" fmla="*/ 36 w 458"/>
                <a:gd name="T51" fmla="*/ 58 h 150"/>
                <a:gd name="T52" fmla="*/ 23 w 458"/>
                <a:gd name="T53" fmla="*/ 71 h 150"/>
                <a:gd name="T54" fmla="*/ 0 w 458"/>
                <a:gd name="T55" fmla="*/ 88 h 150"/>
                <a:gd name="T56" fmla="*/ 23 w 458"/>
                <a:gd name="T57" fmla="*/ 102 h 150"/>
                <a:gd name="T58" fmla="*/ 36 w 458"/>
                <a:gd name="T59" fmla="*/ 125 h 150"/>
                <a:gd name="T60" fmla="*/ 55 w 458"/>
                <a:gd name="T61" fmla="*/ 132 h 150"/>
                <a:gd name="T62" fmla="*/ 80 w 458"/>
                <a:gd name="T63" fmla="*/ 121 h 150"/>
                <a:gd name="T64" fmla="*/ 100 w 458"/>
                <a:gd name="T65" fmla="*/ 98 h 150"/>
                <a:gd name="T66" fmla="*/ 138 w 458"/>
                <a:gd name="T67" fmla="*/ 88 h 150"/>
                <a:gd name="T68" fmla="*/ 153 w 458"/>
                <a:gd name="T69" fmla="*/ 94 h 150"/>
                <a:gd name="T70" fmla="*/ 174 w 458"/>
                <a:gd name="T71" fmla="*/ 104 h 150"/>
                <a:gd name="T72" fmla="*/ 194 w 458"/>
                <a:gd name="T73" fmla="*/ 107 h 150"/>
                <a:gd name="T74" fmla="*/ 207 w 458"/>
                <a:gd name="T75" fmla="*/ 123 h 150"/>
                <a:gd name="T76" fmla="*/ 213 w 458"/>
                <a:gd name="T77" fmla="*/ 150 h 150"/>
                <a:gd name="T78" fmla="*/ 234 w 458"/>
                <a:gd name="T79" fmla="*/ 140 h 150"/>
                <a:gd name="T80" fmla="*/ 249 w 458"/>
                <a:gd name="T81" fmla="*/ 121 h 150"/>
                <a:gd name="T82" fmla="*/ 270 w 458"/>
                <a:gd name="T83" fmla="*/ 127 h 150"/>
                <a:gd name="T84" fmla="*/ 297 w 458"/>
                <a:gd name="T85" fmla="*/ 142 h 150"/>
                <a:gd name="T86" fmla="*/ 332 w 458"/>
                <a:gd name="T87" fmla="*/ 136 h 150"/>
                <a:gd name="T88" fmla="*/ 359 w 458"/>
                <a:gd name="T89" fmla="*/ 123 h 150"/>
                <a:gd name="T90" fmla="*/ 393 w 458"/>
                <a:gd name="T91" fmla="*/ 117 h 150"/>
                <a:gd name="T92" fmla="*/ 422 w 458"/>
                <a:gd name="T93" fmla="*/ 125 h 150"/>
                <a:gd name="T94" fmla="*/ 435 w 458"/>
                <a:gd name="T95" fmla="*/ 96 h 150"/>
                <a:gd name="T96" fmla="*/ 447 w 458"/>
                <a:gd name="T97" fmla="*/ 60 h 150"/>
                <a:gd name="T98" fmla="*/ 458 w 458"/>
                <a:gd name="T99" fmla="*/ 31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58" h="150">
                  <a:moveTo>
                    <a:pt x="456" y="15"/>
                  </a:moveTo>
                  <a:lnTo>
                    <a:pt x="451" y="17"/>
                  </a:lnTo>
                  <a:lnTo>
                    <a:pt x="443" y="19"/>
                  </a:lnTo>
                  <a:lnTo>
                    <a:pt x="437" y="19"/>
                  </a:lnTo>
                  <a:lnTo>
                    <a:pt x="430" y="19"/>
                  </a:lnTo>
                  <a:lnTo>
                    <a:pt x="422" y="21"/>
                  </a:lnTo>
                  <a:lnTo>
                    <a:pt x="418" y="21"/>
                  </a:lnTo>
                  <a:lnTo>
                    <a:pt x="410" y="21"/>
                  </a:lnTo>
                  <a:lnTo>
                    <a:pt x="403" y="23"/>
                  </a:lnTo>
                  <a:lnTo>
                    <a:pt x="397" y="25"/>
                  </a:lnTo>
                  <a:lnTo>
                    <a:pt x="393" y="33"/>
                  </a:lnTo>
                  <a:lnTo>
                    <a:pt x="389" y="35"/>
                  </a:lnTo>
                  <a:lnTo>
                    <a:pt x="384" y="38"/>
                  </a:lnTo>
                  <a:lnTo>
                    <a:pt x="374" y="38"/>
                  </a:lnTo>
                  <a:lnTo>
                    <a:pt x="366" y="40"/>
                  </a:lnTo>
                  <a:lnTo>
                    <a:pt x="359" y="38"/>
                  </a:lnTo>
                  <a:lnTo>
                    <a:pt x="355" y="36"/>
                  </a:lnTo>
                  <a:lnTo>
                    <a:pt x="351" y="42"/>
                  </a:lnTo>
                  <a:lnTo>
                    <a:pt x="341" y="44"/>
                  </a:lnTo>
                  <a:lnTo>
                    <a:pt x="338" y="44"/>
                  </a:lnTo>
                  <a:lnTo>
                    <a:pt x="330" y="44"/>
                  </a:lnTo>
                  <a:lnTo>
                    <a:pt x="324" y="50"/>
                  </a:lnTo>
                  <a:lnTo>
                    <a:pt x="322" y="54"/>
                  </a:lnTo>
                  <a:lnTo>
                    <a:pt x="320" y="61"/>
                  </a:lnTo>
                  <a:lnTo>
                    <a:pt x="316" y="67"/>
                  </a:lnTo>
                  <a:lnTo>
                    <a:pt x="311" y="65"/>
                  </a:lnTo>
                  <a:lnTo>
                    <a:pt x="305" y="69"/>
                  </a:lnTo>
                  <a:lnTo>
                    <a:pt x="297" y="69"/>
                  </a:lnTo>
                  <a:lnTo>
                    <a:pt x="291" y="65"/>
                  </a:lnTo>
                  <a:lnTo>
                    <a:pt x="290" y="63"/>
                  </a:lnTo>
                  <a:lnTo>
                    <a:pt x="290" y="60"/>
                  </a:lnTo>
                  <a:lnTo>
                    <a:pt x="291" y="58"/>
                  </a:lnTo>
                  <a:lnTo>
                    <a:pt x="291" y="54"/>
                  </a:lnTo>
                  <a:lnTo>
                    <a:pt x="288" y="52"/>
                  </a:lnTo>
                  <a:lnTo>
                    <a:pt x="282" y="52"/>
                  </a:lnTo>
                  <a:lnTo>
                    <a:pt x="280" y="48"/>
                  </a:lnTo>
                  <a:lnTo>
                    <a:pt x="280" y="44"/>
                  </a:lnTo>
                  <a:lnTo>
                    <a:pt x="282" y="40"/>
                  </a:lnTo>
                  <a:lnTo>
                    <a:pt x="282" y="33"/>
                  </a:lnTo>
                  <a:lnTo>
                    <a:pt x="284" y="25"/>
                  </a:lnTo>
                  <a:lnTo>
                    <a:pt x="288" y="23"/>
                  </a:lnTo>
                  <a:lnTo>
                    <a:pt x="291" y="19"/>
                  </a:lnTo>
                  <a:lnTo>
                    <a:pt x="290" y="13"/>
                  </a:lnTo>
                  <a:lnTo>
                    <a:pt x="284" y="8"/>
                  </a:lnTo>
                  <a:lnTo>
                    <a:pt x="276" y="8"/>
                  </a:lnTo>
                  <a:lnTo>
                    <a:pt x="270" y="12"/>
                  </a:lnTo>
                  <a:lnTo>
                    <a:pt x="261" y="15"/>
                  </a:lnTo>
                  <a:lnTo>
                    <a:pt x="253" y="21"/>
                  </a:lnTo>
                  <a:lnTo>
                    <a:pt x="245" y="27"/>
                  </a:lnTo>
                  <a:lnTo>
                    <a:pt x="240" y="33"/>
                  </a:lnTo>
                  <a:lnTo>
                    <a:pt x="228" y="36"/>
                  </a:lnTo>
                  <a:lnTo>
                    <a:pt x="217" y="36"/>
                  </a:lnTo>
                  <a:lnTo>
                    <a:pt x="205" y="36"/>
                  </a:lnTo>
                  <a:lnTo>
                    <a:pt x="197" y="35"/>
                  </a:lnTo>
                  <a:lnTo>
                    <a:pt x="190" y="29"/>
                  </a:lnTo>
                  <a:lnTo>
                    <a:pt x="184" y="21"/>
                  </a:lnTo>
                  <a:lnTo>
                    <a:pt x="182" y="17"/>
                  </a:lnTo>
                  <a:lnTo>
                    <a:pt x="172" y="23"/>
                  </a:lnTo>
                  <a:lnTo>
                    <a:pt x="161" y="29"/>
                  </a:lnTo>
                  <a:lnTo>
                    <a:pt x="148" y="29"/>
                  </a:lnTo>
                  <a:lnTo>
                    <a:pt x="134" y="23"/>
                  </a:lnTo>
                  <a:lnTo>
                    <a:pt x="128" y="15"/>
                  </a:lnTo>
                  <a:lnTo>
                    <a:pt x="123" y="10"/>
                  </a:lnTo>
                  <a:lnTo>
                    <a:pt x="113" y="6"/>
                  </a:lnTo>
                  <a:lnTo>
                    <a:pt x="105" y="4"/>
                  </a:lnTo>
                  <a:lnTo>
                    <a:pt x="92" y="6"/>
                  </a:lnTo>
                  <a:lnTo>
                    <a:pt x="82" y="0"/>
                  </a:lnTo>
                  <a:lnTo>
                    <a:pt x="69" y="0"/>
                  </a:lnTo>
                  <a:lnTo>
                    <a:pt x="57" y="0"/>
                  </a:lnTo>
                  <a:lnTo>
                    <a:pt x="46" y="0"/>
                  </a:lnTo>
                  <a:lnTo>
                    <a:pt x="40" y="4"/>
                  </a:lnTo>
                  <a:lnTo>
                    <a:pt x="38" y="12"/>
                  </a:lnTo>
                  <a:lnTo>
                    <a:pt x="40" y="19"/>
                  </a:lnTo>
                  <a:lnTo>
                    <a:pt x="44" y="27"/>
                  </a:lnTo>
                  <a:lnTo>
                    <a:pt x="46" y="35"/>
                  </a:lnTo>
                  <a:lnTo>
                    <a:pt x="44" y="42"/>
                  </a:lnTo>
                  <a:lnTo>
                    <a:pt x="42" y="50"/>
                  </a:lnTo>
                  <a:lnTo>
                    <a:pt x="36" y="58"/>
                  </a:lnTo>
                  <a:lnTo>
                    <a:pt x="32" y="61"/>
                  </a:lnTo>
                  <a:lnTo>
                    <a:pt x="27" y="65"/>
                  </a:lnTo>
                  <a:lnTo>
                    <a:pt x="23" y="71"/>
                  </a:lnTo>
                  <a:lnTo>
                    <a:pt x="17" y="75"/>
                  </a:lnTo>
                  <a:lnTo>
                    <a:pt x="11" y="77"/>
                  </a:lnTo>
                  <a:lnTo>
                    <a:pt x="0" y="88"/>
                  </a:lnTo>
                  <a:lnTo>
                    <a:pt x="9" y="92"/>
                  </a:lnTo>
                  <a:lnTo>
                    <a:pt x="19" y="98"/>
                  </a:lnTo>
                  <a:lnTo>
                    <a:pt x="23" y="102"/>
                  </a:lnTo>
                  <a:lnTo>
                    <a:pt x="29" y="107"/>
                  </a:lnTo>
                  <a:lnTo>
                    <a:pt x="32" y="117"/>
                  </a:lnTo>
                  <a:lnTo>
                    <a:pt x="36" y="125"/>
                  </a:lnTo>
                  <a:lnTo>
                    <a:pt x="38" y="134"/>
                  </a:lnTo>
                  <a:lnTo>
                    <a:pt x="46" y="138"/>
                  </a:lnTo>
                  <a:lnTo>
                    <a:pt x="55" y="132"/>
                  </a:lnTo>
                  <a:lnTo>
                    <a:pt x="61" y="119"/>
                  </a:lnTo>
                  <a:lnTo>
                    <a:pt x="73" y="123"/>
                  </a:lnTo>
                  <a:lnTo>
                    <a:pt x="80" y="121"/>
                  </a:lnTo>
                  <a:lnTo>
                    <a:pt x="86" y="111"/>
                  </a:lnTo>
                  <a:lnTo>
                    <a:pt x="90" y="111"/>
                  </a:lnTo>
                  <a:lnTo>
                    <a:pt x="100" y="98"/>
                  </a:lnTo>
                  <a:lnTo>
                    <a:pt x="111" y="88"/>
                  </a:lnTo>
                  <a:lnTo>
                    <a:pt x="125" y="88"/>
                  </a:lnTo>
                  <a:lnTo>
                    <a:pt x="138" y="88"/>
                  </a:lnTo>
                  <a:lnTo>
                    <a:pt x="146" y="83"/>
                  </a:lnTo>
                  <a:lnTo>
                    <a:pt x="151" y="84"/>
                  </a:lnTo>
                  <a:lnTo>
                    <a:pt x="153" y="94"/>
                  </a:lnTo>
                  <a:lnTo>
                    <a:pt x="163" y="94"/>
                  </a:lnTo>
                  <a:lnTo>
                    <a:pt x="169" y="100"/>
                  </a:lnTo>
                  <a:lnTo>
                    <a:pt x="174" y="104"/>
                  </a:lnTo>
                  <a:lnTo>
                    <a:pt x="184" y="104"/>
                  </a:lnTo>
                  <a:lnTo>
                    <a:pt x="194" y="102"/>
                  </a:lnTo>
                  <a:lnTo>
                    <a:pt x="194" y="107"/>
                  </a:lnTo>
                  <a:lnTo>
                    <a:pt x="196" y="117"/>
                  </a:lnTo>
                  <a:lnTo>
                    <a:pt x="201" y="117"/>
                  </a:lnTo>
                  <a:lnTo>
                    <a:pt x="207" y="123"/>
                  </a:lnTo>
                  <a:lnTo>
                    <a:pt x="209" y="129"/>
                  </a:lnTo>
                  <a:lnTo>
                    <a:pt x="207" y="136"/>
                  </a:lnTo>
                  <a:lnTo>
                    <a:pt x="213" y="150"/>
                  </a:lnTo>
                  <a:lnTo>
                    <a:pt x="220" y="148"/>
                  </a:lnTo>
                  <a:lnTo>
                    <a:pt x="226" y="144"/>
                  </a:lnTo>
                  <a:lnTo>
                    <a:pt x="234" y="140"/>
                  </a:lnTo>
                  <a:lnTo>
                    <a:pt x="240" y="130"/>
                  </a:lnTo>
                  <a:lnTo>
                    <a:pt x="243" y="125"/>
                  </a:lnTo>
                  <a:lnTo>
                    <a:pt x="249" y="121"/>
                  </a:lnTo>
                  <a:lnTo>
                    <a:pt x="257" y="117"/>
                  </a:lnTo>
                  <a:lnTo>
                    <a:pt x="265" y="121"/>
                  </a:lnTo>
                  <a:lnTo>
                    <a:pt x="270" y="127"/>
                  </a:lnTo>
                  <a:lnTo>
                    <a:pt x="278" y="132"/>
                  </a:lnTo>
                  <a:lnTo>
                    <a:pt x="286" y="138"/>
                  </a:lnTo>
                  <a:lnTo>
                    <a:pt x="297" y="142"/>
                  </a:lnTo>
                  <a:lnTo>
                    <a:pt x="305" y="144"/>
                  </a:lnTo>
                  <a:lnTo>
                    <a:pt x="320" y="140"/>
                  </a:lnTo>
                  <a:lnTo>
                    <a:pt x="332" y="136"/>
                  </a:lnTo>
                  <a:lnTo>
                    <a:pt x="339" y="134"/>
                  </a:lnTo>
                  <a:lnTo>
                    <a:pt x="349" y="127"/>
                  </a:lnTo>
                  <a:lnTo>
                    <a:pt x="359" y="123"/>
                  </a:lnTo>
                  <a:lnTo>
                    <a:pt x="370" y="119"/>
                  </a:lnTo>
                  <a:lnTo>
                    <a:pt x="380" y="119"/>
                  </a:lnTo>
                  <a:lnTo>
                    <a:pt x="393" y="117"/>
                  </a:lnTo>
                  <a:lnTo>
                    <a:pt x="403" y="117"/>
                  </a:lnTo>
                  <a:lnTo>
                    <a:pt x="412" y="119"/>
                  </a:lnTo>
                  <a:lnTo>
                    <a:pt x="422" y="125"/>
                  </a:lnTo>
                  <a:lnTo>
                    <a:pt x="426" y="117"/>
                  </a:lnTo>
                  <a:lnTo>
                    <a:pt x="432" y="106"/>
                  </a:lnTo>
                  <a:lnTo>
                    <a:pt x="435" y="96"/>
                  </a:lnTo>
                  <a:lnTo>
                    <a:pt x="439" y="81"/>
                  </a:lnTo>
                  <a:lnTo>
                    <a:pt x="443" y="69"/>
                  </a:lnTo>
                  <a:lnTo>
                    <a:pt x="447" y="60"/>
                  </a:lnTo>
                  <a:lnTo>
                    <a:pt x="451" y="50"/>
                  </a:lnTo>
                  <a:lnTo>
                    <a:pt x="455" y="40"/>
                  </a:lnTo>
                  <a:lnTo>
                    <a:pt x="458" y="31"/>
                  </a:lnTo>
                  <a:lnTo>
                    <a:pt x="458" y="21"/>
                  </a:lnTo>
                  <a:lnTo>
                    <a:pt x="456" y="1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/>
            </a:p>
          </p:txBody>
        </p:sp>
        <p:sp>
          <p:nvSpPr>
            <p:cNvPr id="142" name="Freeform 27"/>
            <p:cNvSpPr>
              <a:spLocks/>
            </p:cNvSpPr>
            <p:nvPr/>
          </p:nvSpPr>
          <p:spPr bwMode="auto">
            <a:xfrm>
              <a:off x="8292750" y="2451546"/>
              <a:ext cx="251573" cy="309628"/>
            </a:xfrm>
            <a:custGeom>
              <a:avLst/>
              <a:gdLst>
                <a:gd name="T0" fmla="*/ 119 w 129"/>
                <a:gd name="T1" fmla="*/ 86 h 159"/>
                <a:gd name="T2" fmla="*/ 107 w 129"/>
                <a:gd name="T3" fmla="*/ 96 h 159"/>
                <a:gd name="T4" fmla="*/ 92 w 129"/>
                <a:gd name="T5" fmla="*/ 109 h 159"/>
                <a:gd name="T6" fmla="*/ 79 w 129"/>
                <a:gd name="T7" fmla="*/ 121 h 159"/>
                <a:gd name="T8" fmla="*/ 71 w 129"/>
                <a:gd name="T9" fmla="*/ 132 h 159"/>
                <a:gd name="T10" fmla="*/ 63 w 129"/>
                <a:gd name="T11" fmla="*/ 142 h 159"/>
                <a:gd name="T12" fmla="*/ 54 w 129"/>
                <a:gd name="T13" fmla="*/ 159 h 159"/>
                <a:gd name="T14" fmla="*/ 35 w 129"/>
                <a:gd name="T15" fmla="*/ 151 h 159"/>
                <a:gd name="T16" fmla="*/ 21 w 129"/>
                <a:gd name="T17" fmla="*/ 138 h 159"/>
                <a:gd name="T18" fmla="*/ 8 w 129"/>
                <a:gd name="T19" fmla="*/ 119 h 159"/>
                <a:gd name="T20" fmla="*/ 0 w 129"/>
                <a:gd name="T21" fmla="*/ 96 h 159"/>
                <a:gd name="T22" fmla="*/ 17 w 129"/>
                <a:gd name="T23" fmla="*/ 90 h 159"/>
                <a:gd name="T24" fmla="*/ 29 w 129"/>
                <a:gd name="T25" fmla="*/ 82 h 159"/>
                <a:gd name="T26" fmla="*/ 23 w 129"/>
                <a:gd name="T27" fmla="*/ 65 h 159"/>
                <a:gd name="T28" fmla="*/ 29 w 129"/>
                <a:gd name="T29" fmla="*/ 53 h 159"/>
                <a:gd name="T30" fmla="*/ 27 w 129"/>
                <a:gd name="T31" fmla="*/ 44 h 159"/>
                <a:gd name="T32" fmla="*/ 15 w 129"/>
                <a:gd name="T33" fmla="*/ 21 h 159"/>
                <a:gd name="T34" fmla="*/ 6 w 129"/>
                <a:gd name="T35" fmla="*/ 0 h 159"/>
                <a:gd name="T36" fmla="*/ 13 w 129"/>
                <a:gd name="T37" fmla="*/ 6 h 159"/>
                <a:gd name="T38" fmla="*/ 19 w 129"/>
                <a:gd name="T39" fmla="*/ 7 h 159"/>
                <a:gd name="T40" fmla="*/ 27 w 129"/>
                <a:gd name="T41" fmla="*/ 11 h 159"/>
                <a:gd name="T42" fmla="*/ 36 w 129"/>
                <a:gd name="T43" fmla="*/ 17 h 159"/>
                <a:gd name="T44" fmla="*/ 46 w 129"/>
                <a:gd name="T45" fmla="*/ 23 h 159"/>
                <a:gd name="T46" fmla="*/ 54 w 129"/>
                <a:gd name="T47" fmla="*/ 29 h 159"/>
                <a:gd name="T48" fmla="*/ 60 w 129"/>
                <a:gd name="T49" fmla="*/ 32 h 159"/>
                <a:gd name="T50" fmla="*/ 65 w 129"/>
                <a:gd name="T51" fmla="*/ 34 h 159"/>
                <a:gd name="T52" fmla="*/ 69 w 129"/>
                <a:gd name="T53" fmla="*/ 36 h 159"/>
                <a:gd name="T54" fmla="*/ 79 w 129"/>
                <a:gd name="T55" fmla="*/ 34 h 159"/>
                <a:gd name="T56" fmla="*/ 86 w 129"/>
                <a:gd name="T57" fmla="*/ 38 h 159"/>
                <a:gd name="T58" fmla="*/ 98 w 129"/>
                <a:gd name="T59" fmla="*/ 48 h 159"/>
                <a:gd name="T60" fmla="*/ 106 w 129"/>
                <a:gd name="T61" fmla="*/ 53 h 159"/>
                <a:gd name="T62" fmla="*/ 113 w 129"/>
                <a:gd name="T63" fmla="*/ 61 h 159"/>
                <a:gd name="T64" fmla="*/ 121 w 129"/>
                <a:gd name="T65" fmla="*/ 69 h 159"/>
                <a:gd name="T66" fmla="*/ 127 w 129"/>
                <a:gd name="T67" fmla="*/ 7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9" h="159">
                  <a:moveTo>
                    <a:pt x="129" y="80"/>
                  </a:moveTo>
                  <a:lnTo>
                    <a:pt x="119" y="86"/>
                  </a:lnTo>
                  <a:lnTo>
                    <a:pt x="113" y="92"/>
                  </a:lnTo>
                  <a:lnTo>
                    <a:pt x="107" y="96"/>
                  </a:lnTo>
                  <a:lnTo>
                    <a:pt x="100" y="101"/>
                  </a:lnTo>
                  <a:lnTo>
                    <a:pt x="92" y="109"/>
                  </a:lnTo>
                  <a:lnTo>
                    <a:pt x="88" y="117"/>
                  </a:lnTo>
                  <a:lnTo>
                    <a:pt x="79" y="121"/>
                  </a:lnTo>
                  <a:lnTo>
                    <a:pt x="73" y="126"/>
                  </a:lnTo>
                  <a:lnTo>
                    <a:pt x="71" y="132"/>
                  </a:lnTo>
                  <a:lnTo>
                    <a:pt x="69" y="136"/>
                  </a:lnTo>
                  <a:lnTo>
                    <a:pt x="63" y="142"/>
                  </a:lnTo>
                  <a:lnTo>
                    <a:pt x="60" y="151"/>
                  </a:lnTo>
                  <a:lnTo>
                    <a:pt x="54" y="159"/>
                  </a:lnTo>
                  <a:lnTo>
                    <a:pt x="44" y="155"/>
                  </a:lnTo>
                  <a:lnTo>
                    <a:pt x="35" y="151"/>
                  </a:lnTo>
                  <a:lnTo>
                    <a:pt x="29" y="146"/>
                  </a:lnTo>
                  <a:lnTo>
                    <a:pt x="21" y="138"/>
                  </a:lnTo>
                  <a:lnTo>
                    <a:pt x="13" y="128"/>
                  </a:lnTo>
                  <a:lnTo>
                    <a:pt x="8" y="119"/>
                  </a:lnTo>
                  <a:lnTo>
                    <a:pt x="0" y="107"/>
                  </a:lnTo>
                  <a:lnTo>
                    <a:pt x="0" y="96"/>
                  </a:lnTo>
                  <a:lnTo>
                    <a:pt x="6" y="90"/>
                  </a:lnTo>
                  <a:lnTo>
                    <a:pt x="17" y="90"/>
                  </a:lnTo>
                  <a:lnTo>
                    <a:pt x="27" y="88"/>
                  </a:lnTo>
                  <a:lnTo>
                    <a:pt x="29" y="82"/>
                  </a:lnTo>
                  <a:lnTo>
                    <a:pt x="25" y="73"/>
                  </a:lnTo>
                  <a:lnTo>
                    <a:pt x="23" y="65"/>
                  </a:lnTo>
                  <a:lnTo>
                    <a:pt x="25" y="57"/>
                  </a:lnTo>
                  <a:lnTo>
                    <a:pt x="29" y="53"/>
                  </a:lnTo>
                  <a:lnTo>
                    <a:pt x="31" y="50"/>
                  </a:lnTo>
                  <a:lnTo>
                    <a:pt x="27" y="44"/>
                  </a:lnTo>
                  <a:lnTo>
                    <a:pt x="21" y="34"/>
                  </a:lnTo>
                  <a:lnTo>
                    <a:pt x="15" y="21"/>
                  </a:lnTo>
                  <a:lnTo>
                    <a:pt x="10" y="9"/>
                  </a:lnTo>
                  <a:lnTo>
                    <a:pt x="6" y="0"/>
                  </a:lnTo>
                  <a:lnTo>
                    <a:pt x="10" y="2"/>
                  </a:lnTo>
                  <a:lnTo>
                    <a:pt x="13" y="6"/>
                  </a:lnTo>
                  <a:lnTo>
                    <a:pt x="15" y="6"/>
                  </a:lnTo>
                  <a:lnTo>
                    <a:pt x="19" y="7"/>
                  </a:lnTo>
                  <a:lnTo>
                    <a:pt x="25" y="11"/>
                  </a:lnTo>
                  <a:lnTo>
                    <a:pt x="27" y="11"/>
                  </a:lnTo>
                  <a:lnTo>
                    <a:pt x="31" y="15"/>
                  </a:lnTo>
                  <a:lnTo>
                    <a:pt x="36" y="17"/>
                  </a:lnTo>
                  <a:lnTo>
                    <a:pt x="42" y="21"/>
                  </a:lnTo>
                  <a:lnTo>
                    <a:pt x="46" y="23"/>
                  </a:lnTo>
                  <a:lnTo>
                    <a:pt x="50" y="27"/>
                  </a:lnTo>
                  <a:lnTo>
                    <a:pt x="54" y="29"/>
                  </a:lnTo>
                  <a:lnTo>
                    <a:pt x="58" y="30"/>
                  </a:lnTo>
                  <a:lnTo>
                    <a:pt x="60" y="32"/>
                  </a:lnTo>
                  <a:lnTo>
                    <a:pt x="63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9" y="36"/>
                  </a:lnTo>
                  <a:lnTo>
                    <a:pt x="75" y="36"/>
                  </a:lnTo>
                  <a:lnTo>
                    <a:pt x="79" y="34"/>
                  </a:lnTo>
                  <a:lnTo>
                    <a:pt x="83" y="36"/>
                  </a:lnTo>
                  <a:lnTo>
                    <a:pt x="86" y="38"/>
                  </a:lnTo>
                  <a:lnTo>
                    <a:pt x="92" y="44"/>
                  </a:lnTo>
                  <a:lnTo>
                    <a:pt x="98" y="48"/>
                  </a:lnTo>
                  <a:lnTo>
                    <a:pt x="102" y="50"/>
                  </a:lnTo>
                  <a:lnTo>
                    <a:pt x="106" y="53"/>
                  </a:lnTo>
                  <a:lnTo>
                    <a:pt x="109" y="57"/>
                  </a:lnTo>
                  <a:lnTo>
                    <a:pt x="113" y="61"/>
                  </a:lnTo>
                  <a:lnTo>
                    <a:pt x="117" y="65"/>
                  </a:lnTo>
                  <a:lnTo>
                    <a:pt x="121" y="69"/>
                  </a:lnTo>
                  <a:lnTo>
                    <a:pt x="125" y="73"/>
                  </a:lnTo>
                  <a:lnTo>
                    <a:pt x="127" y="77"/>
                  </a:lnTo>
                  <a:lnTo>
                    <a:pt x="129" y="8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/>
            </a:p>
          </p:txBody>
        </p:sp>
        <p:sp>
          <p:nvSpPr>
            <p:cNvPr id="143" name="Freeform 28"/>
            <p:cNvSpPr>
              <a:spLocks/>
            </p:cNvSpPr>
            <p:nvPr/>
          </p:nvSpPr>
          <p:spPr bwMode="auto">
            <a:xfrm>
              <a:off x="8305651" y="2391341"/>
              <a:ext cx="408536" cy="217169"/>
            </a:xfrm>
            <a:custGeom>
              <a:avLst/>
              <a:gdLst>
                <a:gd name="T0" fmla="*/ 130 w 209"/>
                <a:gd name="T1" fmla="*/ 104 h 111"/>
                <a:gd name="T2" fmla="*/ 148 w 209"/>
                <a:gd name="T3" fmla="*/ 92 h 111"/>
                <a:gd name="T4" fmla="*/ 153 w 209"/>
                <a:gd name="T5" fmla="*/ 79 h 111"/>
                <a:gd name="T6" fmla="*/ 169 w 209"/>
                <a:gd name="T7" fmla="*/ 65 h 111"/>
                <a:gd name="T8" fmla="*/ 182 w 209"/>
                <a:gd name="T9" fmla="*/ 48 h 111"/>
                <a:gd name="T10" fmla="*/ 197 w 209"/>
                <a:gd name="T11" fmla="*/ 35 h 111"/>
                <a:gd name="T12" fmla="*/ 205 w 209"/>
                <a:gd name="T13" fmla="*/ 17 h 111"/>
                <a:gd name="T14" fmla="*/ 199 w 209"/>
                <a:gd name="T15" fmla="*/ 2 h 111"/>
                <a:gd name="T16" fmla="*/ 180 w 209"/>
                <a:gd name="T17" fmla="*/ 0 h 111"/>
                <a:gd name="T18" fmla="*/ 157 w 209"/>
                <a:gd name="T19" fmla="*/ 2 h 111"/>
                <a:gd name="T20" fmla="*/ 136 w 209"/>
                <a:gd name="T21" fmla="*/ 10 h 111"/>
                <a:gd name="T22" fmla="*/ 119 w 209"/>
                <a:gd name="T23" fmla="*/ 19 h 111"/>
                <a:gd name="T24" fmla="*/ 92 w 209"/>
                <a:gd name="T25" fmla="*/ 27 h 111"/>
                <a:gd name="T26" fmla="*/ 73 w 209"/>
                <a:gd name="T27" fmla="*/ 21 h 111"/>
                <a:gd name="T28" fmla="*/ 57 w 209"/>
                <a:gd name="T29" fmla="*/ 10 h 111"/>
                <a:gd name="T30" fmla="*/ 44 w 209"/>
                <a:gd name="T31" fmla="*/ 0 h 111"/>
                <a:gd name="T32" fmla="*/ 30 w 209"/>
                <a:gd name="T33" fmla="*/ 8 h 111"/>
                <a:gd name="T34" fmla="*/ 21 w 209"/>
                <a:gd name="T35" fmla="*/ 23 h 111"/>
                <a:gd name="T36" fmla="*/ 7 w 209"/>
                <a:gd name="T37" fmla="*/ 31 h 111"/>
                <a:gd name="T38" fmla="*/ 4 w 209"/>
                <a:gd name="T39" fmla="*/ 33 h 111"/>
                <a:gd name="T40" fmla="*/ 9 w 209"/>
                <a:gd name="T41" fmla="*/ 37 h 111"/>
                <a:gd name="T42" fmla="*/ 19 w 209"/>
                <a:gd name="T43" fmla="*/ 42 h 111"/>
                <a:gd name="T44" fmla="*/ 25 w 209"/>
                <a:gd name="T45" fmla="*/ 46 h 111"/>
                <a:gd name="T46" fmla="*/ 36 w 209"/>
                <a:gd name="T47" fmla="*/ 52 h 111"/>
                <a:gd name="T48" fmla="*/ 44 w 209"/>
                <a:gd name="T49" fmla="*/ 58 h 111"/>
                <a:gd name="T50" fmla="*/ 52 w 209"/>
                <a:gd name="T51" fmla="*/ 61 h 111"/>
                <a:gd name="T52" fmla="*/ 57 w 209"/>
                <a:gd name="T53" fmla="*/ 65 h 111"/>
                <a:gd name="T54" fmla="*/ 61 w 209"/>
                <a:gd name="T55" fmla="*/ 67 h 111"/>
                <a:gd name="T56" fmla="*/ 69 w 209"/>
                <a:gd name="T57" fmla="*/ 67 h 111"/>
                <a:gd name="T58" fmla="*/ 77 w 209"/>
                <a:gd name="T59" fmla="*/ 67 h 111"/>
                <a:gd name="T60" fmla="*/ 86 w 209"/>
                <a:gd name="T61" fmla="*/ 75 h 111"/>
                <a:gd name="T62" fmla="*/ 96 w 209"/>
                <a:gd name="T63" fmla="*/ 81 h 111"/>
                <a:gd name="T64" fmla="*/ 103 w 209"/>
                <a:gd name="T65" fmla="*/ 88 h 111"/>
                <a:gd name="T66" fmla="*/ 111 w 209"/>
                <a:gd name="T67" fmla="*/ 96 h 111"/>
                <a:gd name="T68" fmla="*/ 119 w 209"/>
                <a:gd name="T69" fmla="*/ 104 h 111"/>
                <a:gd name="T70" fmla="*/ 123 w 209"/>
                <a:gd name="T71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09" h="111">
                  <a:moveTo>
                    <a:pt x="123" y="111"/>
                  </a:moveTo>
                  <a:lnTo>
                    <a:pt x="130" y="104"/>
                  </a:lnTo>
                  <a:lnTo>
                    <a:pt x="138" y="98"/>
                  </a:lnTo>
                  <a:lnTo>
                    <a:pt x="148" y="92"/>
                  </a:lnTo>
                  <a:lnTo>
                    <a:pt x="151" y="83"/>
                  </a:lnTo>
                  <a:lnTo>
                    <a:pt x="153" y="79"/>
                  </a:lnTo>
                  <a:lnTo>
                    <a:pt x="159" y="71"/>
                  </a:lnTo>
                  <a:lnTo>
                    <a:pt x="169" y="65"/>
                  </a:lnTo>
                  <a:lnTo>
                    <a:pt x="176" y="58"/>
                  </a:lnTo>
                  <a:lnTo>
                    <a:pt x="182" y="48"/>
                  </a:lnTo>
                  <a:lnTo>
                    <a:pt x="192" y="42"/>
                  </a:lnTo>
                  <a:lnTo>
                    <a:pt x="197" y="35"/>
                  </a:lnTo>
                  <a:lnTo>
                    <a:pt x="203" y="25"/>
                  </a:lnTo>
                  <a:lnTo>
                    <a:pt x="205" y="17"/>
                  </a:lnTo>
                  <a:lnTo>
                    <a:pt x="209" y="8"/>
                  </a:lnTo>
                  <a:lnTo>
                    <a:pt x="199" y="2"/>
                  </a:lnTo>
                  <a:lnTo>
                    <a:pt x="190" y="0"/>
                  </a:lnTo>
                  <a:lnTo>
                    <a:pt x="180" y="0"/>
                  </a:lnTo>
                  <a:lnTo>
                    <a:pt x="167" y="2"/>
                  </a:lnTo>
                  <a:lnTo>
                    <a:pt x="157" y="2"/>
                  </a:lnTo>
                  <a:lnTo>
                    <a:pt x="146" y="6"/>
                  </a:lnTo>
                  <a:lnTo>
                    <a:pt x="136" y="10"/>
                  </a:lnTo>
                  <a:lnTo>
                    <a:pt x="126" y="17"/>
                  </a:lnTo>
                  <a:lnTo>
                    <a:pt x="119" y="19"/>
                  </a:lnTo>
                  <a:lnTo>
                    <a:pt x="107" y="23"/>
                  </a:lnTo>
                  <a:lnTo>
                    <a:pt x="92" y="27"/>
                  </a:lnTo>
                  <a:lnTo>
                    <a:pt x="84" y="25"/>
                  </a:lnTo>
                  <a:lnTo>
                    <a:pt x="73" y="21"/>
                  </a:lnTo>
                  <a:lnTo>
                    <a:pt x="65" y="15"/>
                  </a:lnTo>
                  <a:lnTo>
                    <a:pt x="57" y="10"/>
                  </a:lnTo>
                  <a:lnTo>
                    <a:pt x="52" y="4"/>
                  </a:lnTo>
                  <a:lnTo>
                    <a:pt x="44" y="0"/>
                  </a:lnTo>
                  <a:lnTo>
                    <a:pt x="36" y="4"/>
                  </a:lnTo>
                  <a:lnTo>
                    <a:pt x="30" y="8"/>
                  </a:lnTo>
                  <a:lnTo>
                    <a:pt x="27" y="13"/>
                  </a:lnTo>
                  <a:lnTo>
                    <a:pt x="21" y="23"/>
                  </a:lnTo>
                  <a:lnTo>
                    <a:pt x="13" y="27"/>
                  </a:lnTo>
                  <a:lnTo>
                    <a:pt x="7" y="31"/>
                  </a:lnTo>
                  <a:lnTo>
                    <a:pt x="0" y="31"/>
                  </a:lnTo>
                  <a:lnTo>
                    <a:pt x="4" y="33"/>
                  </a:lnTo>
                  <a:lnTo>
                    <a:pt x="7" y="37"/>
                  </a:lnTo>
                  <a:lnTo>
                    <a:pt x="9" y="37"/>
                  </a:lnTo>
                  <a:lnTo>
                    <a:pt x="13" y="38"/>
                  </a:lnTo>
                  <a:lnTo>
                    <a:pt x="19" y="42"/>
                  </a:lnTo>
                  <a:lnTo>
                    <a:pt x="21" y="42"/>
                  </a:lnTo>
                  <a:lnTo>
                    <a:pt x="25" y="46"/>
                  </a:lnTo>
                  <a:lnTo>
                    <a:pt x="30" y="48"/>
                  </a:lnTo>
                  <a:lnTo>
                    <a:pt x="36" y="52"/>
                  </a:lnTo>
                  <a:lnTo>
                    <a:pt x="40" y="54"/>
                  </a:lnTo>
                  <a:lnTo>
                    <a:pt x="44" y="58"/>
                  </a:lnTo>
                  <a:lnTo>
                    <a:pt x="48" y="60"/>
                  </a:lnTo>
                  <a:lnTo>
                    <a:pt x="52" y="61"/>
                  </a:lnTo>
                  <a:lnTo>
                    <a:pt x="54" y="63"/>
                  </a:lnTo>
                  <a:lnTo>
                    <a:pt x="57" y="65"/>
                  </a:lnTo>
                  <a:lnTo>
                    <a:pt x="59" y="65"/>
                  </a:lnTo>
                  <a:lnTo>
                    <a:pt x="61" y="67"/>
                  </a:lnTo>
                  <a:lnTo>
                    <a:pt x="63" y="67"/>
                  </a:lnTo>
                  <a:lnTo>
                    <a:pt x="69" y="67"/>
                  </a:lnTo>
                  <a:lnTo>
                    <a:pt x="73" y="65"/>
                  </a:lnTo>
                  <a:lnTo>
                    <a:pt x="77" y="67"/>
                  </a:lnTo>
                  <a:lnTo>
                    <a:pt x="80" y="69"/>
                  </a:lnTo>
                  <a:lnTo>
                    <a:pt x="86" y="75"/>
                  </a:lnTo>
                  <a:lnTo>
                    <a:pt x="92" y="79"/>
                  </a:lnTo>
                  <a:lnTo>
                    <a:pt x="96" y="81"/>
                  </a:lnTo>
                  <a:lnTo>
                    <a:pt x="100" y="84"/>
                  </a:lnTo>
                  <a:lnTo>
                    <a:pt x="103" y="88"/>
                  </a:lnTo>
                  <a:lnTo>
                    <a:pt x="107" y="92"/>
                  </a:lnTo>
                  <a:lnTo>
                    <a:pt x="111" y="96"/>
                  </a:lnTo>
                  <a:lnTo>
                    <a:pt x="115" y="100"/>
                  </a:lnTo>
                  <a:lnTo>
                    <a:pt x="119" y="104"/>
                  </a:lnTo>
                  <a:lnTo>
                    <a:pt x="121" y="108"/>
                  </a:lnTo>
                  <a:lnTo>
                    <a:pt x="123" y="11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/>
            </a:p>
          </p:txBody>
        </p:sp>
      </p:grpSp>
      <p:grpSp>
        <p:nvGrpSpPr>
          <p:cNvPr id="15" name="Agrupar 14">
            <a:extLst>
              <a:ext uri="{FF2B5EF4-FFF2-40B4-BE49-F238E27FC236}">
                <a16:creationId xmlns:a16="http://schemas.microsoft.com/office/drawing/2014/main" id="{2F337834-0AE3-472B-A374-13C1758A5D7E}"/>
              </a:ext>
            </a:extLst>
          </p:cNvPr>
          <p:cNvGrpSpPr/>
          <p:nvPr/>
        </p:nvGrpSpPr>
        <p:grpSpPr>
          <a:xfrm>
            <a:off x="6295223" y="3096604"/>
            <a:ext cx="1786809" cy="1530936"/>
            <a:chOff x="6295223" y="3096604"/>
            <a:chExt cx="1786809" cy="1530936"/>
          </a:xfrm>
          <a:solidFill>
            <a:schemeClr val="bg2"/>
          </a:solidFill>
        </p:grpSpPr>
        <p:sp>
          <p:nvSpPr>
            <p:cNvPr id="123" name="Freeform 8"/>
            <p:cNvSpPr>
              <a:spLocks/>
            </p:cNvSpPr>
            <p:nvPr/>
          </p:nvSpPr>
          <p:spPr bwMode="auto">
            <a:xfrm>
              <a:off x="6295223" y="3877123"/>
              <a:ext cx="1143901" cy="750417"/>
            </a:xfrm>
            <a:custGeom>
              <a:avLst/>
              <a:gdLst>
                <a:gd name="T0" fmla="*/ 568 w 586"/>
                <a:gd name="T1" fmla="*/ 193 h 385"/>
                <a:gd name="T2" fmla="*/ 551 w 586"/>
                <a:gd name="T3" fmla="*/ 184 h 385"/>
                <a:gd name="T4" fmla="*/ 538 w 586"/>
                <a:gd name="T5" fmla="*/ 193 h 385"/>
                <a:gd name="T6" fmla="*/ 515 w 586"/>
                <a:gd name="T7" fmla="*/ 195 h 385"/>
                <a:gd name="T8" fmla="*/ 491 w 586"/>
                <a:gd name="T9" fmla="*/ 201 h 385"/>
                <a:gd name="T10" fmla="*/ 470 w 586"/>
                <a:gd name="T11" fmla="*/ 216 h 385"/>
                <a:gd name="T12" fmla="*/ 445 w 586"/>
                <a:gd name="T13" fmla="*/ 207 h 385"/>
                <a:gd name="T14" fmla="*/ 428 w 586"/>
                <a:gd name="T15" fmla="*/ 182 h 385"/>
                <a:gd name="T16" fmla="*/ 422 w 586"/>
                <a:gd name="T17" fmla="*/ 155 h 385"/>
                <a:gd name="T18" fmla="*/ 424 w 586"/>
                <a:gd name="T19" fmla="*/ 124 h 385"/>
                <a:gd name="T20" fmla="*/ 401 w 586"/>
                <a:gd name="T21" fmla="*/ 99 h 385"/>
                <a:gd name="T22" fmla="*/ 392 w 586"/>
                <a:gd name="T23" fmla="*/ 67 h 385"/>
                <a:gd name="T24" fmla="*/ 386 w 586"/>
                <a:gd name="T25" fmla="*/ 38 h 385"/>
                <a:gd name="T26" fmla="*/ 373 w 586"/>
                <a:gd name="T27" fmla="*/ 11 h 385"/>
                <a:gd name="T28" fmla="*/ 338 w 586"/>
                <a:gd name="T29" fmla="*/ 11 h 385"/>
                <a:gd name="T30" fmla="*/ 302 w 586"/>
                <a:gd name="T31" fmla="*/ 17 h 385"/>
                <a:gd name="T32" fmla="*/ 280 w 586"/>
                <a:gd name="T33" fmla="*/ 30 h 385"/>
                <a:gd name="T34" fmla="*/ 267 w 586"/>
                <a:gd name="T35" fmla="*/ 25 h 385"/>
                <a:gd name="T36" fmla="*/ 255 w 586"/>
                <a:gd name="T37" fmla="*/ 25 h 385"/>
                <a:gd name="T38" fmla="*/ 255 w 586"/>
                <a:gd name="T39" fmla="*/ 11 h 385"/>
                <a:gd name="T40" fmla="*/ 231 w 586"/>
                <a:gd name="T41" fmla="*/ 0 h 385"/>
                <a:gd name="T42" fmla="*/ 188 w 586"/>
                <a:gd name="T43" fmla="*/ 5 h 385"/>
                <a:gd name="T44" fmla="*/ 156 w 586"/>
                <a:gd name="T45" fmla="*/ 2 h 385"/>
                <a:gd name="T46" fmla="*/ 133 w 586"/>
                <a:gd name="T47" fmla="*/ 23 h 385"/>
                <a:gd name="T48" fmla="*/ 117 w 586"/>
                <a:gd name="T49" fmla="*/ 38 h 385"/>
                <a:gd name="T50" fmla="*/ 98 w 586"/>
                <a:gd name="T51" fmla="*/ 67 h 385"/>
                <a:gd name="T52" fmla="*/ 81 w 586"/>
                <a:gd name="T53" fmla="*/ 101 h 385"/>
                <a:gd name="T54" fmla="*/ 65 w 586"/>
                <a:gd name="T55" fmla="*/ 136 h 385"/>
                <a:gd name="T56" fmla="*/ 42 w 586"/>
                <a:gd name="T57" fmla="*/ 172 h 385"/>
                <a:gd name="T58" fmla="*/ 6 w 586"/>
                <a:gd name="T59" fmla="*/ 192 h 385"/>
                <a:gd name="T60" fmla="*/ 35 w 586"/>
                <a:gd name="T61" fmla="*/ 199 h 385"/>
                <a:gd name="T62" fmla="*/ 65 w 586"/>
                <a:gd name="T63" fmla="*/ 193 h 385"/>
                <a:gd name="T64" fmla="*/ 108 w 586"/>
                <a:gd name="T65" fmla="*/ 201 h 385"/>
                <a:gd name="T66" fmla="*/ 133 w 586"/>
                <a:gd name="T67" fmla="*/ 203 h 385"/>
                <a:gd name="T68" fmla="*/ 152 w 586"/>
                <a:gd name="T69" fmla="*/ 216 h 385"/>
                <a:gd name="T70" fmla="*/ 181 w 586"/>
                <a:gd name="T71" fmla="*/ 216 h 385"/>
                <a:gd name="T72" fmla="*/ 211 w 586"/>
                <a:gd name="T73" fmla="*/ 218 h 385"/>
                <a:gd name="T74" fmla="*/ 219 w 586"/>
                <a:gd name="T75" fmla="*/ 234 h 385"/>
                <a:gd name="T76" fmla="*/ 234 w 586"/>
                <a:gd name="T77" fmla="*/ 255 h 385"/>
                <a:gd name="T78" fmla="*/ 238 w 586"/>
                <a:gd name="T79" fmla="*/ 287 h 385"/>
                <a:gd name="T80" fmla="*/ 255 w 586"/>
                <a:gd name="T81" fmla="*/ 316 h 385"/>
                <a:gd name="T82" fmla="*/ 263 w 586"/>
                <a:gd name="T83" fmla="*/ 345 h 385"/>
                <a:gd name="T84" fmla="*/ 296 w 586"/>
                <a:gd name="T85" fmla="*/ 347 h 385"/>
                <a:gd name="T86" fmla="*/ 305 w 586"/>
                <a:gd name="T87" fmla="*/ 378 h 385"/>
                <a:gd name="T88" fmla="*/ 332 w 586"/>
                <a:gd name="T89" fmla="*/ 385 h 385"/>
                <a:gd name="T90" fmla="*/ 359 w 586"/>
                <a:gd name="T91" fmla="*/ 358 h 385"/>
                <a:gd name="T92" fmla="*/ 390 w 586"/>
                <a:gd name="T93" fmla="*/ 337 h 385"/>
                <a:gd name="T94" fmla="*/ 415 w 586"/>
                <a:gd name="T95" fmla="*/ 314 h 385"/>
                <a:gd name="T96" fmla="*/ 440 w 586"/>
                <a:gd name="T97" fmla="*/ 295 h 385"/>
                <a:gd name="T98" fmla="*/ 476 w 586"/>
                <a:gd name="T99" fmla="*/ 286 h 385"/>
                <a:gd name="T100" fmla="*/ 511 w 586"/>
                <a:gd name="T101" fmla="*/ 274 h 385"/>
                <a:gd name="T102" fmla="*/ 545 w 586"/>
                <a:gd name="T103" fmla="*/ 257 h 385"/>
                <a:gd name="T104" fmla="*/ 549 w 586"/>
                <a:gd name="T105" fmla="*/ 222 h 385"/>
                <a:gd name="T106" fmla="*/ 572 w 586"/>
                <a:gd name="T107" fmla="*/ 209 h 385"/>
                <a:gd name="T108" fmla="*/ 586 w 586"/>
                <a:gd name="T109" fmla="*/ 203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86" h="385">
                  <a:moveTo>
                    <a:pt x="584" y="197"/>
                  </a:moveTo>
                  <a:lnTo>
                    <a:pt x="576" y="199"/>
                  </a:lnTo>
                  <a:lnTo>
                    <a:pt x="572" y="195"/>
                  </a:lnTo>
                  <a:lnTo>
                    <a:pt x="568" y="193"/>
                  </a:lnTo>
                  <a:lnTo>
                    <a:pt x="561" y="195"/>
                  </a:lnTo>
                  <a:lnTo>
                    <a:pt x="555" y="192"/>
                  </a:lnTo>
                  <a:lnTo>
                    <a:pt x="555" y="188"/>
                  </a:lnTo>
                  <a:lnTo>
                    <a:pt x="551" y="184"/>
                  </a:lnTo>
                  <a:lnTo>
                    <a:pt x="545" y="182"/>
                  </a:lnTo>
                  <a:lnTo>
                    <a:pt x="541" y="184"/>
                  </a:lnTo>
                  <a:lnTo>
                    <a:pt x="539" y="188"/>
                  </a:lnTo>
                  <a:lnTo>
                    <a:pt x="538" y="193"/>
                  </a:lnTo>
                  <a:lnTo>
                    <a:pt x="534" y="197"/>
                  </a:lnTo>
                  <a:lnTo>
                    <a:pt x="528" y="195"/>
                  </a:lnTo>
                  <a:lnTo>
                    <a:pt x="520" y="193"/>
                  </a:lnTo>
                  <a:lnTo>
                    <a:pt x="515" y="195"/>
                  </a:lnTo>
                  <a:lnTo>
                    <a:pt x="507" y="203"/>
                  </a:lnTo>
                  <a:lnTo>
                    <a:pt x="501" y="201"/>
                  </a:lnTo>
                  <a:lnTo>
                    <a:pt x="497" y="197"/>
                  </a:lnTo>
                  <a:lnTo>
                    <a:pt x="491" y="201"/>
                  </a:lnTo>
                  <a:lnTo>
                    <a:pt x="491" y="209"/>
                  </a:lnTo>
                  <a:lnTo>
                    <a:pt x="486" y="213"/>
                  </a:lnTo>
                  <a:lnTo>
                    <a:pt x="480" y="213"/>
                  </a:lnTo>
                  <a:lnTo>
                    <a:pt x="470" y="216"/>
                  </a:lnTo>
                  <a:lnTo>
                    <a:pt x="463" y="218"/>
                  </a:lnTo>
                  <a:lnTo>
                    <a:pt x="453" y="216"/>
                  </a:lnTo>
                  <a:lnTo>
                    <a:pt x="449" y="211"/>
                  </a:lnTo>
                  <a:lnTo>
                    <a:pt x="445" y="207"/>
                  </a:lnTo>
                  <a:lnTo>
                    <a:pt x="444" y="201"/>
                  </a:lnTo>
                  <a:lnTo>
                    <a:pt x="440" y="192"/>
                  </a:lnTo>
                  <a:lnTo>
                    <a:pt x="434" y="188"/>
                  </a:lnTo>
                  <a:lnTo>
                    <a:pt x="428" y="182"/>
                  </a:lnTo>
                  <a:lnTo>
                    <a:pt x="428" y="176"/>
                  </a:lnTo>
                  <a:lnTo>
                    <a:pt x="426" y="170"/>
                  </a:lnTo>
                  <a:lnTo>
                    <a:pt x="422" y="163"/>
                  </a:lnTo>
                  <a:lnTo>
                    <a:pt x="422" y="155"/>
                  </a:lnTo>
                  <a:lnTo>
                    <a:pt x="424" y="149"/>
                  </a:lnTo>
                  <a:lnTo>
                    <a:pt x="426" y="142"/>
                  </a:lnTo>
                  <a:lnTo>
                    <a:pt x="426" y="134"/>
                  </a:lnTo>
                  <a:lnTo>
                    <a:pt x="424" y="124"/>
                  </a:lnTo>
                  <a:lnTo>
                    <a:pt x="420" y="117"/>
                  </a:lnTo>
                  <a:lnTo>
                    <a:pt x="413" y="111"/>
                  </a:lnTo>
                  <a:lnTo>
                    <a:pt x="405" y="105"/>
                  </a:lnTo>
                  <a:lnTo>
                    <a:pt x="401" y="99"/>
                  </a:lnTo>
                  <a:lnTo>
                    <a:pt x="399" y="90"/>
                  </a:lnTo>
                  <a:lnTo>
                    <a:pt x="397" y="82"/>
                  </a:lnTo>
                  <a:lnTo>
                    <a:pt x="394" y="76"/>
                  </a:lnTo>
                  <a:lnTo>
                    <a:pt x="392" y="67"/>
                  </a:lnTo>
                  <a:lnTo>
                    <a:pt x="394" y="61"/>
                  </a:lnTo>
                  <a:lnTo>
                    <a:pt x="392" y="53"/>
                  </a:lnTo>
                  <a:lnTo>
                    <a:pt x="388" y="46"/>
                  </a:lnTo>
                  <a:lnTo>
                    <a:pt x="386" y="38"/>
                  </a:lnTo>
                  <a:lnTo>
                    <a:pt x="386" y="30"/>
                  </a:lnTo>
                  <a:lnTo>
                    <a:pt x="386" y="23"/>
                  </a:lnTo>
                  <a:lnTo>
                    <a:pt x="380" y="15"/>
                  </a:lnTo>
                  <a:lnTo>
                    <a:pt x="373" y="11"/>
                  </a:lnTo>
                  <a:lnTo>
                    <a:pt x="363" y="9"/>
                  </a:lnTo>
                  <a:lnTo>
                    <a:pt x="355" y="11"/>
                  </a:lnTo>
                  <a:lnTo>
                    <a:pt x="346" y="11"/>
                  </a:lnTo>
                  <a:lnTo>
                    <a:pt x="338" y="11"/>
                  </a:lnTo>
                  <a:lnTo>
                    <a:pt x="330" y="15"/>
                  </a:lnTo>
                  <a:lnTo>
                    <a:pt x="321" y="15"/>
                  </a:lnTo>
                  <a:lnTo>
                    <a:pt x="309" y="15"/>
                  </a:lnTo>
                  <a:lnTo>
                    <a:pt x="302" y="17"/>
                  </a:lnTo>
                  <a:lnTo>
                    <a:pt x="294" y="21"/>
                  </a:lnTo>
                  <a:lnTo>
                    <a:pt x="286" y="23"/>
                  </a:lnTo>
                  <a:lnTo>
                    <a:pt x="280" y="23"/>
                  </a:lnTo>
                  <a:lnTo>
                    <a:pt x="280" y="30"/>
                  </a:lnTo>
                  <a:lnTo>
                    <a:pt x="278" y="34"/>
                  </a:lnTo>
                  <a:lnTo>
                    <a:pt x="273" y="34"/>
                  </a:lnTo>
                  <a:lnTo>
                    <a:pt x="269" y="30"/>
                  </a:lnTo>
                  <a:lnTo>
                    <a:pt x="267" y="25"/>
                  </a:lnTo>
                  <a:lnTo>
                    <a:pt x="265" y="19"/>
                  </a:lnTo>
                  <a:lnTo>
                    <a:pt x="263" y="21"/>
                  </a:lnTo>
                  <a:lnTo>
                    <a:pt x="257" y="27"/>
                  </a:lnTo>
                  <a:lnTo>
                    <a:pt x="255" y="25"/>
                  </a:lnTo>
                  <a:lnTo>
                    <a:pt x="254" y="23"/>
                  </a:lnTo>
                  <a:lnTo>
                    <a:pt x="254" y="21"/>
                  </a:lnTo>
                  <a:lnTo>
                    <a:pt x="255" y="15"/>
                  </a:lnTo>
                  <a:lnTo>
                    <a:pt x="255" y="11"/>
                  </a:lnTo>
                  <a:lnTo>
                    <a:pt x="250" y="7"/>
                  </a:lnTo>
                  <a:lnTo>
                    <a:pt x="240" y="7"/>
                  </a:lnTo>
                  <a:lnTo>
                    <a:pt x="234" y="5"/>
                  </a:lnTo>
                  <a:lnTo>
                    <a:pt x="231" y="0"/>
                  </a:lnTo>
                  <a:lnTo>
                    <a:pt x="223" y="2"/>
                  </a:lnTo>
                  <a:lnTo>
                    <a:pt x="215" y="7"/>
                  </a:lnTo>
                  <a:lnTo>
                    <a:pt x="206" y="7"/>
                  </a:lnTo>
                  <a:lnTo>
                    <a:pt x="188" y="5"/>
                  </a:lnTo>
                  <a:lnTo>
                    <a:pt x="179" y="4"/>
                  </a:lnTo>
                  <a:lnTo>
                    <a:pt x="173" y="0"/>
                  </a:lnTo>
                  <a:lnTo>
                    <a:pt x="165" y="0"/>
                  </a:lnTo>
                  <a:lnTo>
                    <a:pt x="156" y="2"/>
                  </a:lnTo>
                  <a:lnTo>
                    <a:pt x="148" y="5"/>
                  </a:lnTo>
                  <a:lnTo>
                    <a:pt x="142" y="11"/>
                  </a:lnTo>
                  <a:lnTo>
                    <a:pt x="136" y="17"/>
                  </a:lnTo>
                  <a:lnTo>
                    <a:pt x="133" y="23"/>
                  </a:lnTo>
                  <a:lnTo>
                    <a:pt x="131" y="28"/>
                  </a:lnTo>
                  <a:lnTo>
                    <a:pt x="127" y="34"/>
                  </a:lnTo>
                  <a:lnTo>
                    <a:pt x="121" y="36"/>
                  </a:lnTo>
                  <a:lnTo>
                    <a:pt x="117" y="38"/>
                  </a:lnTo>
                  <a:lnTo>
                    <a:pt x="112" y="44"/>
                  </a:lnTo>
                  <a:lnTo>
                    <a:pt x="106" y="52"/>
                  </a:lnTo>
                  <a:lnTo>
                    <a:pt x="102" y="57"/>
                  </a:lnTo>
                  <a:lnTo>
                    <a:pt x="98" y="67"/>
                  </a:lnTo>
                  <a:lnTo>
                    <a:pt x="96" y="75"/>
                  </a:lnTo>
                  <a:lnTo>
                    <a:pt x="92" y="84"/>
                  </a:lnTo>
                  <a:lnTo>
                    <a:pt x="87" y="94"/>
                  </a:lnTo>
                  <a:lnTo>
                    <a:pt x="81" y="101"/>
                  </a:lnTo>
                  <a:lnTo>
                    <a:pt x="81" y="111"/>
                  </a:lnTo>
                  <a:lnTo>
                    <a:pt x="77" y="119"/>
                  </a:lnTo>
                  <a:lnTo>
                    <a:pt x="69" y="126"/>
                  </a:lnTo>
                  <a:lnTo>
                    <a:pt x="65" y="136"/>
                  </a:lnTo>
                  <a:lnTo>
                    <a:pt x="62" y="146"/>
                  </a:lnTo>
                  <a:lnTo>
                    <a:pt x="56" y="155"/>
                  </a:lnTo>
                  <a:lnTo>
                    <a:pt x="50" y="165"/>
                  </a:lnTo>
                  <a:lnTo>
                    <a:pt x="42" y="172"/>
                  </a:lnTo>
                  <a:lnTo>
                    <a:pt x="33" y="178"/>
                  </a:lnTo>
                  <a:lnTo>
                    <a:pt x="21" y="180"/>
                  </a:lnTo>
                  <a:lnTo>
                    <a:pt x="14" y="184"/>
                  </a:lnTo>
                  <a:lnTo>
                    <a:pt x="6" y="192"/>
                  </a:lnTo>
                  <a:lnTo>
                    <a:pt x="0" y="197"/>
                  </a:lnTo>
                  <a:lnTo>
                    <a:pt x="16" y="195"/>
                  </a:lnTo>
                  <a:lnTo>
                    <a:pt x="27" y="197"/>
                  </a:lnTo>
                  <a:lnTo>
                    <a:pt x="35" y="199"/>
                  </a:lnTo>
                  <a:lnTo>
                    <a:pt x="42" y="195"/>
                  </a:lnTo>
                  <a:lnTo>
                    <a:pt x="46" y="195"/>
                  </a:lnTo>
                  <a:lnTo>
                    <a:pt x="58" y="197"/>
                  </a:lnTo>
                  <a:lnTo>
                    <a:pt x="65" y="193"/>
                  </a:lnTo>
                  <a:lnTo>
                    <a:pt x="75" y="193"/>
                  </a:lnTo>
                  <a:lnTo>
                    <a:pt x="87" y="197"/>
                  </a:lnTo>
                  <a:lnTo>
                    <a:pt x="96" y="197"/>
                  </a:lnTo>
                  <a:lnTo>
                    <a:pt x="108" y="201"/>
                  </a:lnTo>
                  <a:lnTo>
                    <a:pt x="115" y="201"/>
                  </a:lnTo>
                  <a:lnTo>
                    <a:pt x="121" y="205"/>
                  </a:lnTo>
                  <a:lnTo>
                    <a:pt x="129" y="201"/>
                  </a:lnTo>
                  <a:lnTo>
                    <a:pt x="133" y="203"/>
                  </a:lnTo>
                  <a:lnTo>
                    <a:pt x="135" y="209"/>
                  </a:lnTo>
                  <a:lnTo>
                    <a:pt x="142" y="215"/>
                  </a:lnTo>
                  <a:lnTo>
                    <a:pt x="148" y="218"/>
                  </a:lnTo>
                  <a:lnTo>
                    <a:pt x="152" y="216"/>
                  </a:lnTo>
                  <a:lnTo>
                    <a:pt x="160" y="220"/>
                  </a:lnTo>
                  <a:lnTo>
                    <a:pt x="165" y="226"/>
                  </a:lnTo>
                  <a:lnTo>
                    <a:pt x="171" y="218"/>
                  </a:lnTo>
                  <a:lnTo>
                    <a:pt x="181" y="216"/>
                  </a:lnTo>
                  <a:lnTo>
                    <a:pt x="192" y="216"/>
                  </a:lnTo>
                  <a:lnTo>
                    <a:pt x="202" y="218"/>
                  </a:lnTo>
                  <a:lnTo>
                    <a:pt x="207" y="220"/>
                  </a:lnTo>
                  <a:lnTo>
                    <a:pt x="211" y="218"/>
                  </a:lnTo>
                  <a:lnTo>
                    <a:pt x="215" y="220"/>
                  </a:lnTo>
                  <a:lnTo>
                    <a:pt x="217" y="224"/>
                  </a:lnTo>
                  <a:lnTo>
                    <a:pt x="217" y="230"/>
                  </a:lnTo>
                  <a:lnTo>
                    <a:pt x="219" y="234"/>
                  </a:lnTo>
                  <a:lnTo>
                    <a:pt x="229" y="234"/>
                  </a:lnTo>
                  <a:lnTo>
                    <a:pt x="232" y="240"/>
                  </a:lnTo>
                  <a:lnTo>
                    <a:pt x="232" y="247"/>
                  </a:lnTo>
                  <a:lnTo>
                    <a:pt x="234" y="255"/>
                  </a:lnTo>
                  <a:lnTo>
                    <a:pt x="238" y="263"/>
                  </a:lnTo>
                  <a:lnTo>
                    <a:pt x="240" y="272"/>
                  </a:lnTo>
                  <a:lnTo>
                    <a:pt x="238" y="280"/>
                  </a:lnTo>
                  <a:lnTo>
                    <a:pt x="238" y="287"/>
                  </a:lnTo>
                  <a:lnTo>
                    <a:pt x="244" y="293"/>
                  </a:lnTo>
                  <a:lnTo>
                    <a:pt x="250" y="301"/>
                  </a:lnTo>
                  <a:lnTo>
                    <a:pt x="252" y="311"/>
                  </a:lnTo>
                  <a:lnTo>
                    <a:pt x="255" y="316"/>
                  </a:lnTo>
                  <a:lnTo>
                    <a:pt x="255" y="326"/>
                  </a:lnTo>
                  <a:lnTo>
                    <a:pt x="254" y="334"/>
                  </a:lnTo>
                  <a:lnTo>
                    <a:pt x="257" y="339"/>
                  </a:lnTo>
                  <a:lnTo>
                    <a:pt x="263" y="345"/>
                  </a:lnTo>
                  <a:lnTo>
                    <a:pt x="271" y="343"/>
                  </a:lnTo>
                  <a:lnTo>
                    <a:pt x="278" y="339"/>
                  </a:lnTo>
                  <a:lnTo>
                    <a:pt x="288" y="345"/>
                  </a:lnTo>
                  <a:lnTo>
                    <a:pt x="296" y="347"/>
                  </a:lnTo>
                  <a:lnTo>
                    <a:pt x="302" y="349"/>
                  </a:lnTo>
                  <a:lnTo>
                    <a:pt x="302" y="358"/>
                  </a:lnTo>
                  <a:lnTo>
                    <a:pt x="302" y="370"/>
                  </a:lnTo>
                  <a:lnTo>
                    <a:pt x="305" y="378"/>
                  </a:lnTo>
                  <a:lnTo>
                    <a:pt x="313" y="378"/>
                  </a:lnTo>
                  <a:lnTo>
                    <a:pt x="319" y="376"/>
                  </a:lnTo>
                  <a:lnTo>
                    <a:pt x="328" y="378"/>
                  </a:lnTo>
                  <a:lnTo>
                    <a:pt x="332" y="385"/>
                  </a:lnTo>
                  <a:lnTo>
                    <a:pt x="340" y="378"/>
                  </a:lnTo>
                  <a:lnTo>
                    <a:pt x="346" y="370"/>
                  </a:lnTo>
                  <a:lnTo>
                    <a:pt x="349" y="360"/>
                  </a:lnTo>
                  <a:lnTo>
                    <a:pt x="359" y="358"/>
                  </a:lnTo>
                  <a:lnTo>
                    <a:pt x="367" y="355"/>
                  </a:lnTo>
                  <a:lnTo>
                    <a:pt x="373" y="347"/>
                  </a:lnTo>
                  <a:lnTo>
                    <a:pt x="380" y="343"/>
                  </a:lnTo>
                  <a:lnTo>
                    <a:pt x="390" y="337"/>
                  </a:lnTo>
                  <a:lnTo>
                    <a:pt x="396" y="332"/>
                  </a:lnTo>
                  <a:lnTo>
                    <a:pt x="403" y="326"/>
                  </a:lnTo>
                  <a:lnTo>
                    <a:pt x="409" y="320"/>
                  </a:lnTo>
                  <a:lnTo>
                    <a:pt x="415" y="314"/>
                  </a:lnTo>
                  <a:lnTo>
                    <a:pt x="419" y="311"/>
                  </a:lnTo>
                  <a:lnTo>
                    <a:pt x="428" y="307"/>
                  </a:lnTo>
                  <a:lnTo>
                    <a:pt x="434" y="301"/>
                  </a:lnTo>
                  <a:lnTo>
                    <a:pt x="440" y="295"/>
                  </a:lnTo>
                  <a:lnTo>
                    <a:pt x="451" y="295"/>
                  </a:lnTo>
                  <a:lnTo>
                    <a:pt x="459" y="293"/>
                  </a:lnTo>
                  <a:lnTo>
                    <a:pt x="467" y="289"/>
                  </a:lnTo>
                  <a:lnTo>
                    <a:pt x="476" y="286"/>
                  </a:lnTo>
                  <a:lnTo>
                    <a:pt x="486" y="284"/>
                  </a:lnTo>
                  <a:lnTo>
                    <a:pt x="497" y="282"/>
                  </a:lnTo>
                  <a:lnTo>
                    <a:pt x="505" y="280"/>
                  </a:lnTo>
                  <a:lnTo>
                    <a:pt x="511" y="274"/>
                  </a:lnTo>
                  <a:lnTo>
                    <a:pt x="518" y="268"/>
                  </a:lnTo>
                  <a:lnTo>
                    <a:pt x="526" y="264"/>
                  </a:lnTo>
                  <a:lnTo>
                    <a:pt x="536" y="259"/>
                  </a:lnTo>
                  <a:lnTo>
                    <a:pt x="545" y="257"/>
                  </a:lnTo>
                  <a:lnTo>
                    <a:pt x="545" y="245"/>
                  </a:lnTo>
                  <a:lnTo>
                    <a:pt x="545" y="238"/>
                  </a:lnTo>
                  <a:lnTo>
                    <a:pt x="545" y="230"/>
                  </a:lnTo>
                  <a:lnTo>
                    <a:pt x="549" y="222"/>
                  </a:lnTo>
                  <a:lnTo>
                    <a:pt x="557" y="220"/>
                  </a:lnTo>
                  <a:lnTo>
                    <a:pt x="564" y="222"/>
                  </a:lnTo>
                  <a:lnTo>
                    <a:pt x="568" y="216"/>
                  </a:lnTo>
                  <a:lnTo>
                    <a:pt x="572" y="209"/>
                  </a:lnTo>
                  <a:lnTo>
                    <a:pt x="580" y="207"/>
                  </a:lnTo>
                  <a:lnTo>
                    <a:pt x="584" y="207"/>
                  </a:lnTo>
                  <a:lnTo>
                    <a:pt x="586" y="205"/>
                  </a:lnTo>
                  <a:lnTo>
                    <a:pt x="586" y="203"/>
                  </a:lnTo>
                  <a:lnTo>
                    <a:pt x="586" y="201"/>
                  </a:lnTo>
                  <a:lnTo>
                    <a:pt x="584" y="199"/>
                  </a:lnTo>
                  <a:lnTo>
                    <a:pt x="584" y="197"/>
                  </a:lnTo>
                  <a:close/>
                </a:path>
              </a:pathLst>
            </a:custGeom>
            <a:solidFill>
              <a:schemeClr val="tx2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/>
            </a:p>
          </p:txBody>
        </p:sp>
        <p:sp>
          <p:nvSpPr>
            <p:cNvPr id="133" name="Freeform 18"/>
            <p:cNvSpPr>
              <a:spLocks/>
            </p:cNvSpPr>
            <p:nvPr/>
          </p:nvSpPr>
          <p:spPr bwMode="auto">
            <a:xfrm>
              <a:off x="7359568" y="4046988"/>
              <a:ext cx="520346" cy="335430"/>
            </a:xfrm>
            <a:custGeom>
              <a:avLst/>
              <a:gdLst>
                <a:gd name="T0" fmla="*/ 181 w 267"/>
                <a:gd name="T1" fmla="*/ 6 h 171"/>
                <a:gd name="T2" fmla="*/ 173 w 267"/>
                <a:gd name="T3" fmla="*/ 25 h 171"/>
                <a:gd name="T4" fmla="*/ 163 w 267"/>
                <a:gd name="T5" fmla="*/ 40 h 171"/>
                <a:gd name="T6" fmla="*/ 152 w 267"/>
                <a:gd name="T7" fmla="*/ 52 h 171"/>
                <a:gd name="T8" fmla="*/ 131 w 267"/>
                <a:gd name="T9" fmla="*/ 65 h 171"/>
                <a:gd name="T10" fmla="*/ 110 w 267"/>
                <a:gd name="T11" fmla="*/ 69 h 171"/>
                <a:gd name="T12" fmla="*/ 88 w 267"/>
                <a:gd name="T13" fmla="*/ 71 h 171"/>
                <a:gd name="T14" fmla="*/ 67 w 267"/>
                <a:gd name="T15" fmla="*/ 73 h 171"/>
                <a:gd name="T16" fmla="*/ 46 w 267"/>
                <a:gd name="T17" fmla="*/ 79 h 171"/>
                <a:gd name="T18" fmla="*/ 29 w 267"/>
                <a:gd name="T19" fmla="*/ 84 h 171"/>
                <a:gd name="T20" fmla="*/ 6 w 267"/>
                <a:gd name="T21" fmla="*/ 96 h 171"/>
                <a:gd name="T22" fmla="*/ 10 w 267"/>
                <a:gd name="T23" fmla="*/ 104 h 171"/>
                <a:gd name="T24" fmla="*/ 23 w 267"/>
                <a:gd name="T25" fmla="*/ 105 h 171"/>
                <a:gd name="T26" fmla="*/ 31 w 267"/>
                <a:gd name="T27" fmla="*/ 111 h 171"/>
                <a:gd name="T28" fmla="*/ 39 w 267"/>
                <a:gd name="T29" fmla="*/ 111 h 171"/>
                <a:gd name="T30" fmla="*/ 41 w 267"/>
                <a:gd name="T31" fmla="*/ 115 h 171"/>
                <a:gd name="T32" fmla="*/ 39 w 267"/>
                <a:gd name="T33" fmla="*/ 119 h 171"/>
                <a:gd name="T34" fmla="*/ 27 w 267"/>
                <a:gd name="T35" fmla="*/ 121 h 171"/>
                <a:gd name="T36" fmla="*/ 19 w 267"/>
                <a:gd name="T37" fmla="*/ 134 h 171"/>
                <a:gd name="T38" fmla="*/ 4 w 267"/>
                <a:gd name="T39" fmla="*/ 134 h 171"/>
                <a:gd name="T40" fmla="*/ 0 w 267"/>
                <a:gd name="T41" fmla="*/ 150 h 171"/>
                <a:gd name="T42" fmla="*/ 0 w 267"/>
                <a:gd name="T43" fmla="*/ 171 h 171"/>
                <a:gd name="T44" fmla="*/ 19 w 267"/>
                <a:gd name="T45" fmla="*/ 167 h 171"/>
                <a:gd name="T46" fmla="*/ 27 w 267"/>
                <a:gd name="T47" fmla="*/ 157 h 171"/>
                <a:gd name="T48" fmla="*/ 35 w 267"/>
                <a:gd name="T49" fmla="*/ 146 h 171"/>
                <a:gd name="T50" fmla="*/ 58 w 267"/>
                <a:gd name="T51" fmla="*/ 140 h 171"/>
                <a:gd name="T52" fmla="*/ 83 w 267"/>
                <a:gd name="T53" fmla="*/ 140 h 171"/>
                <a:gd name="T54" fmla="*/ 115 w 267"/>
                <a:gd name="T55" fmla="*/ 138 h 171"/>
                <a:gd name="T56" fmla="*/ 125 w 267"/>
                <a:gd name="T57" fmla="*/ 132 h 171"/>
                <a:gd name="T58" fmla="*/ 136 w 267"/>
                <a:gd name="T59" fmla="*/ 138 h 171"/>
                <a:gd name="T60" fmla="*/ 158 w 267"/>
                <a:gd name="T61" fmla="*/ 136 h 171"/>
                <a:gd name="T62" fmla="*/ 175 w 267"/>
                <a:gd name="T63" fmla="*/ 138 h 171"/>
                <a:gd name="T64" fmla="*/ 194 w 267"/>
                <a:gd name="T65" fmla="*/ 140 h 171"/>
                <a:gd name="T66" fmla="*/ 194 w 267"/>
                <a:gd name="T67" fmla="*/ 121 h 171"/>
                <a:gd name="T68" fmla="*/ 207 w 267"/>
                <a:gd name="T69" fmla="*/ 111 h 171"/>
                <a:gd name="T70" fmla="*/ 219 w 267"/>
                <a:gd name="T71" fmla="*/ 96 h 171"/>
                <a:gd name="T72" fmla="*/ 238 w 267"/>
                <a:gd name="T73" fmla="*/ 90 h 171"/>
                <a:gd name="T74" fmla="*/ 248 w 267"/>
                <a:gd name="T75" fmla="*/ 79 h 171"/>
                <a:gd name="T76" fmla="*/ 267 w 267"/>
                <a:gd name="T77" fmla="*/ 69 h 171"/>
                <a:gd name="T78" fmla="*/ 261 w 267"/>
                <a:gd name="T79" fmla="*/ 54 h 171"/>
                <a:gd name="T80" fmla="*/ 261 w 267"/>
                <a:gd name="T81" fmla="*/ 34 h 171"/>
                <a:gd name="T82" fmla="*/ 246 w 267"/>
                <a:gd name="T83" fmla="*/ 34 h 171"/>
                <a:gd name="T84" fmla="*/ 230 w 267"/>
                <a:gd name="T85" fmla="*/ 36 h 171"/>
                <a:gd name="T86" fmla="*/ 209 w 267"/>
                <a:gd name="T87" fmla="*/ 31 h 171"/>
                <a:gd name="T88" fmla="*/ 192 w 267"/>
                <a:gd name="T89" fmla="*/ 25 h 171"/>
                <a:gd name="T90" fmla="*/ 190 w 267"/>
                <a:gd name="T91" fmla="*/ 13 h 171"/>
                <a:gd name="T92" fmla="*/ 186 w 267"/>
                <a:gd name="T93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67" h="171">
                  <a:moveTo>
                    <a:pt x="186" y="0"/>
                  </a:moveTo>
                  <a:lnTo>
                    <a:pt x="181" y="6"/>
                  </a:lnTo>
                  <a:lnTo>
                    <a:pt x="177" y="13"/>
                  </a:lnTo>
                  <a:lnTo>
                    <a:pt x="173" y="25"/>
                  </a:lnTo>
                  <a:lnTo>
                    <a:pt x="169" y="33"/>
                  </a:lnTo>
                  <a:lnTo>
                    <a:pt x="163" y="40"/>
                  </a:lnTo>
                  <a:lnTo>
                    <a:pt x="156" y="48"/>
                  </a:lnTo>
                  <a:lnTo>
                    <a:pt x="152" y="52"/>
                  </a:lnTo>
                  <a:lnTo>
                    <a:pt x="142" y="58"/>
                  </a:lnTo>
                  <a:lnTo>
                    <a:pt x="131" y="65"/>
                  </a:lnTo>
                  <a:lnTo>
                    <a:pt x="125" y="67"/>
                  </a:lnTo>
                  <a:lnTo>
                    <a:pt x="110" y="69"/>
                  </a:lnTo>
                  <a:lnTo>
                    <a:pt x="100" y="71"/>
                  </a:lnTo>
                  <a:lnTo>
                    <a:pt x="88" y="71"/>
                  </a:lnTo>
                  <a:lnTo>
                    <a:pt x="71" y="73"/>
                  </a:lnTo>
                  <a:lnTo>
                    <a:pt x="67" y="73"/>
                  </a:lnTo>
                  <a:lnTo>
                    <a:pt x="60" y="77"/>
                  </a:lnTo>
                  <a:lnTo>
                    <a:pt x="46" y="79"/>
                  </a:lnTo>
                  <a:lnTo>
                    <a:pt x="35" y="82"/>
                  </a:lnTo>
                  <a:lnTo>
                    <a:pt x="29" y="84"/>
                  </a:lnTo>
                  <a:lnTo>
                    <a:pt x="21" y="88"/>
                  </a:lnTo>
                  <a:lnTo>
                    <a:pt x="6" y="96"/>
                  </a:lnTo>
                  <a:lnTo>
                    <a:pt x="10" y="100"/>
                  </a:lnTo>
                  <a:lnTo>
                    <a:pt x="10" y="104"/>
                  </a:lnTo>
                  <a:lnTo>
                    <a:pt x="16" y="107"/>
                  </a:lnTo>
                  <a:lnTo>
                    <a:pt x="23" y="105"/>
                  </a:lnTo>
                  <a:lnTo>
                    <a:pt x="27" y="107"/>
                  </a:lnTo>
                  <a:lnTo>
                    <a:pt x="31" y="111"/>
                  </a:lnTo>
                  <a:lnTo>
                    <a:pt x="39" y="109"/>
                  </a:lnTo>
                  <a:lnTo>
                    <a:pt x="39" y="111"/>
                  </a:lnTo>
                  <a:lnTo>
                    <a:pt x="41" y="113"/>
                  </a:lnTo>
                  <a:lnTo>
                    <a:pt x="41" y="115"/>
                  </a:lnTo>
                  <a:lnTo>
                    <a:pt x="41" y="117"/>
                  </a:lnTo>
                  <a:lnTo>
                    <a:pt x="39" y="119"/>
                  </a:lnTo>
                  <a:lnTo>
                    <a:pt x="35" y="119"/>
                  </a:lnTo>
                  <a:lnTo>
                    <a:pt x="27" y="121"/>
                  </a:lnTo>
                  <a:lnTo>
                    <a:pt x="23" y="128"/>
                  </a:lnTo>
                  <a:lnTo>
                    <a:pt x="19" y="134"/>
                  </a:lnTo>
                  <a:lnTo>
                    <a:pt x="12" y="132"/>
                  </a:lnTo>
                  <a:lnTo>
                    <a:pt x="4" y="134"/>
                  </a:lnTo>
                  <a:lnTo>
                    <a:pt x="0" y="142"/>
                  </a:lnTo>
                  <a:lnTo>
                    <a:pt x="0" y="150"/>
                  </a:lnTo>
                  <a:lnTo>
                    <a:pt x="0" y="157"/>
                  </a:lnTo>
                  <a:lnTo>
                    <a:pt x="0" y="171"/>
                  </a:lnTo>
                  <a:lnTo>
                    <a:pt x="12" y="169"/>
                  </a:lnTo>
                  <a:lnTo>
                    <a:pt x="19" y="167"/>
                  </a:lnTo>
                  <a:lnTo>
                    <a:pt x="27" y="165"/>
                  </a:lnTo>
                  <a:lnTo>
                    <a:pt x="27" y="157"/>
                  </a:lnTo>
                  <a:lnTo>
                    <a:pt x="27" y="150"/>
                  </a:lnTo>
                  <a:lnTo>
                    <a:pt x="35" y="146"/>
                  </a:lnTo>
                  <a:lnTo>
                    <a:pt x="44" y="144"/>
                  </a:lnTo>
                  <a:lnTo>
                    <a:pt x="58" y="140"/>
                  </a:lnTo>
                  <a:lnTo>
                    <a:pt x="67" y="140"/>
                  </a:lnTo>
                  <a:lnTo>
                    <a:pt x="83" y="140"/>
                  </a:lnTo>
                  <a:lnTo>
                    <a:pt x="104" y="138"/>
                  </a:lnTo>
                  <a:lnTo>
                    <a:pt x="115" y="138"/>
                  </a:lnTo>
                  <a:lnTo>
                    <a:pt x="121" y="132"/>
                  </a:lnTo>
                  <a:lnTo>
                    <a:pt x="125" y="132"/>
                  </a:lnTo>
                  <a:lnTo>
                    <a:pt x="129" y="138"/>
                  </a:lnTo>
                  <a:lnTo>
                    <a:pt x="136" y="138"/>
                  </a:lnTo>
                  <a:lnTo>
                    <a:pt x="148" y="140"/>
                  </a:lnTo>
                  <a:lnTo>
                    <a:pt x="158" y="136"/>
                  </a:lnTo>
                  <a:lnTo>
                    <a:pt x="167" y="134"/>
                  </a:lnTo>
                  <a:lnTo>
                    <a:pt x="175" y="138"/>
                  </a:lnTo>
                  <a:lnTo>
                    <a:pt x="184" y="142"/>
                  </a:lnTo>
                  <a:lnTo>
                    <a:pt x="194" y="140"/>
                  </a:lnTo>
                  <a:lnTo>
                    <a:pt x="192" y="128"/>
                  </a:lnTo>
                  <a:lnTo>
                    <a:pt x="194" y="121"/>
                  </a:lnTo>
                  <a:lnTo>
                    <a:pt x="202" y="115"/>
                  </a:lnTo>
                  <a:lnTo>
                    <a:pt x="207" y="111"/>
                  </a:lnTo>
                  <a:lnTo>
                    <a:pt x="213" y="104"/>
                  </a:lnTo>
                  <a:lnTo>
                    <a:pt x="219" y="96"/>
                  </a:lnTo>
                  <a:lnTo>
                    <a:pt x="227" y="90"/>
                  </a:lnTo>
                  <a:lnTo>
                    <a:pt x="238" y="90"/>
                  </a:lnTo>
                  <a:lnTo>
                    <a:pt x="242" y="84"/>
                  </a:lnTo>
                  <a:lnTo>
                    <a:pt x="248" y="79"/>
                  </a:lnTo>
                  <a:lnTo>
                    <a:pt x="255" y="75"/>
                  </a:lnTo>
                  <a:lnTo>
                    <a:pt x="267" y="69"/>
                  </a:lnTo>
                  <a:lnTo>
                    <a:pt x="265" y="61"/>
                  </a:lnTo>
                  <a:lnTo>
                    <a:pt x="261" y="54"/>
                  </a:lnTo>
                  <a:lnTo>
                    <a:pt x="257" y="42"/>
                  </a:lnTo>
                  <a:lnTo>
                    <a:pt x="261" y="34"/>
                  </a:lnTo>
                  <a:lnTo>
                    <a:pt x="257" y="33"/>
                  </a:lnTo>
                  <a:lnTo>
                    <a:pt x="246" y="34"/>
                  </a:lnTo>
                  <a:lnTo>
                    <a:pt x="238" y="34"/>
                  </a:lnTo>
                  <a:lnTo>
                    <a:pt x="230" y="36"/>
                  </a:lnTo>
                  <a:lnTo>
                    <a:pt x="217" y="29"/>
                  </a:lnTo>
                  <a:lnTo>
                    <a:pt x="209" y="31"/>
                  </a:lnTo>
                  <a:lnTo>
                    <a:pt x="200" y="31"/>
                  </a:lnTo>
                  <a:lnTo>
                    <a:pt x="192" y="25"/>
                  </a:lnTo>
                  <a:lnTo>
                    <a:pt x="192" y="21"/>
                  </a:lnTo>
                  <a:lnTo>
                    <a:pt x="190" y="13"/>
                  </a:lnTo>
                  <a:lnTo>
                    <a:pt x="188" y="6"/>
                  </a:lnTo>
                  <a:lnTo>
                    <a:pt x="186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 dirty="0"/>
            </a:p>
          </p:txBody>
        </p:sp>
        <p:sp>
          <p:nvSpPr>
            <p:cNvPr id="134" name="Freeform 19"/>
            <p:cNvSpPr>
              <a:spLocks/>
            </p:cNvSpPr>
            <p:nvPr/>
          </p:nvSpPr>
          <p:spPr bwMode="auto">
            <a:xfrm>
              <a:off x="7722950" y="3621250"/>
              <a:ext cx="359082" cy="498845"/>
            </a:xfrm>
            <a:custGeom>
              <a:avLst/>
              <a:gdLst>
                <a:gd name="T0" fmla="*/ 173 w 185"/>
                <a:gd name="T1" fmla="*/ 29 h 253"/>
                <a:gd name="T2" fmla="*/ 158 w 185"/>
                <a:gd name="T3" fmla="*/ 23 h 253"/>
                <a:gd name="T4" fmla="*/ 148 w 185"/>
                <a:gd name="T5" fmla="*/ 14 h 253"/>
                <a:gd name="T6" fmla="*/ 135 w 185"/>
                <a:gd name="T7" fmla="*/ 10 h 253"/>
                <a:gd name="T8" fmla="*/ 114 w 185"/>
                <a:gd name="T9" fmla="*/ 0 h 253"/>
                <a:gd name="T10" fmla="*/ 92 w 185"/>
                <a:gd name="T11" fmla="*/ 6 h 253"/>
                <a:gd name="T12" fmla="*/ 85 w 185"/>
                <a:gd name="T13" fmla="*/ 21 h 253"/>
                <a:gd name="T14" fmla="*/ 79 w 185"/>
                <a:gd name="T15" fmla="*/ 37 h 253"/>
                <a:gd name="T16" fmla="*/ 77 w 185"/>
                <a:gd name="T17" fmla="*/ 52 h 253"/>
                <a:gd name="T18" fmla="*/ 79 w 185"/>
                <a:gd name="T19" fmla="*/ 75 h 253"/>
                <a:gd name="T20" fmla="*/ 75 w 185"/>
                <a:gd name="T21" fmla="*/ 90 h 253"/>
                <a:gd name="T22" fmla="*/ 73 w 185"/>
                <a:gd name="T23" fmla="*/ 106 h 253"/>
                <a:gd name="T24" fmla="*/ 69 w 185"/>
                <a:gd name="T25" fmla="*/ 119 h 253"/>
                <a:gd name="T26" fmla="*/ 60 w 185"/>
                <a:gd name="T27" fmla="*/ 131 h 253"/>
                <a:gd name="T28" fmla="*/ 60 w 185"/>
                <a:gd name="T29" fmla="*/ 144 h 253"/>
                <a:gd name="T30" fmla="*/ 46 w 185"/>
                <a:gd name="T31" fmla="*/ 161 h 253"/>
                <a:gd name="T32" fmla="*/ 23 w 185"/>
                <a:gd name="T33" fmla="*/ 171 h 253"/>
                <a:gd name="T34" fmla="*/ 14 w 185"/>
                <a:gd name="T35" fmla="*/ 190 h 253"/>
                <a:gd name="T36" fmla="*/ 6 w 185"/>
                <a:gd name="T37" fmla="*/ 207 h 253"/>
                <a:gd name="T38" fmla="*/ 2 w 185"/>
                <a:gd name="T39" fmla="*/ 223 h 253"/>
                <a:gd name="T40" fmla="*/ 6 w 185"/>
                <a:gd name="T41" fmla="*/ 238 h 253"/>
                <a:gd name="T42" fmla="*/ 14 w 185"/>
                <a:gd name="T43" fmla="*/ 248 h 253"/>
                <a:gd name="T44" fmla="*/ 31 w 185"/>
                <a:gd name="T45" fmla="*/ 246 h 253"/>
                <a:gd name="T46" fmla="*/ 52 w 185"/>
                <a:gd name="T47" fmla="*/ 251 h 253"/>
                <a:gd name="T48" fmla="*/ 71 w 185"/>
                <a:gd name="T49" fmla="*/ 250 h 253"/>
                <a:gd name="T50" fmla="*/ 75 w 185"/>
                <a:gd name="T51" fmla="*/ 244 h 253"/>
                <a:gd name="T52" fmla="*/ 85 w 185"/>
                <a:gd name="T53" fmla="*/ 236 h 253"/>
                <a:gd name="T54" fmla="*/ 92 w 185"/>
                <a:gd name="T55" fmla="*/ 225 h 253"/>
                <a:gd name="T56" fmla="*/ 98 w 185"/>
                <a:gd name="T57" fmla="*/ 213 h 253"/>
                <a:gd name="T58" fmla="*/ 106 w 185"/>
                <a:gd name="T59" fmla="*/ 207 h 253"/>
                <a:gd name="T60" fmla="*/ 115 w 185"/>
                <a:gd name="T61" fmla="*/ 198 h 253"/>
                <a:gd name="T62" fmla="*/ 125 w 185"/>
                <a:gd name="T63" fmla="*/ 186 h 253"/>
                <a:gd name="T64" fmla="*/ 133 w 185"/>
                <a:gd name="T65" fmla="*/ 175 h 253"/>
                <a:gd name="T66" fmla="*/ 137 w 185"/>
                <a:gd name="T67" fmla="*/ 161 h 253"/>
                <a:gd name="T68" fmla="*/ 140 w 185"/>
                <a:gd name="T69" fmla="*/ 148 h 253"/>
                <a:gd name="T70" fmla="*/ 142 w 185"/>
                <a:gd name="T71" fmla="*/ 136 h 253"/>
                <a:gd name="T72" fmla="*/ 154 w 185"/>
                <a:gd name="T73" fmla="*/ 127 h 253"/>
                <a:gd name="T74" fmla="*/ 163 w 185"/>
                <a:gd name="T75" fmla="*/ 113 h 253"/>
                <a:gd name="T76" fmla="*/ 169 w 185"/>
                <a:gd name="T77" fmla="*/ 102 h 253"/>
                <a:gd name="T78" fmla="*/ 171 w 185"/>
                <a:gd name="T79" fmla="*/ 90 h 253"/>
                <a:gd name="T80" fmla="*/ 175 w 185"/>
                <a:gd name="T81" fmla="*/ 77 h 253"/>
                <a:gd name="T82" fmla="*/ 181 w 185"/>
                <a:gd name="T83" fmla="*/ 63 h 253"/>
                <a:gd name="T84" fmla="*/ 183 w 185"/>
                <a:gd name="T85" fmla="*/ 48 h 253"/>
                <a:gd name="T86" fmla="*/ 181 w 185"/>
                <a:gd name="T87" fmla="*/ 42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5" h="253">
                  <a:moveTo>
                    <a:pt x="185" y="39"/>
                  </a:moveTo>
                  <a:lnTo>
                    <a:pt x="173" y="29"/>
                  </a:lnTo>
                  <a:lnTo>
                    <a:pt x="169" y="27"/>
                  </a:lnTo>
                  <a:lnTo>
                    <a:pt x="158" y="23"/>
                  </a:lnTo>
                  <a:lnTo>
                    <a:pt x="154" y="16"/>
                  </a:lnTo>
                  <a:lnTo>
                    <a:pt x="148" y="14"/>
                  </a:lnTo>
                  <a:lnTo>
                    <a:pt x="137" y="12"/>
                  </a:lnTo>
                  <a:lnTo>
                    <a:pt x="135" y="10"/>
                  </a:lnTo>
                  <a:lnTo>
                    <a:pt x="125" y="0"/>
                  </a:lnTo>
                  <a:lnTo>
                    <a:pt x="114" y="0"/>
                  </a:lnTo>
                  <a:lnTo>
                    <a:pt x="102" y="4"/>
                  </a:lnTo>
                  <a:lnTo>
                    <a:pt x="92" y="6"/>
                  </a:lnTo>
                  <a:lnTo>
                    <a:pt x="83" y="12"/>
                  </a:lnTo>
                  <a:lnTo>
                    <a:pt x="85" y="21"/>
                  </a:lnTo>
                  <a:lnTo>
                    <a:pt x="81" y="27"/>
                  </a:lnTo>
                  <a:lnTo>
                    <a:pt x="79" y="37"/>
                  </a:lnTo>
                  <a:lnTo>
                    <a:pt x="79" y="46"/>
                  </a:lnTo>
                  <a:lnTo>
                    <a:pt x="77" y="52"/>
                  </a:lnTo>
                  <a:lnTo>
                    <a:pt x="79" y="63"/>
                  </a:lnTo>
                  <a:lnTo>
                    <a:pt x="79" y="75"/>
                  </a:lnTo>
                  <a:lnTo>
                    <a:pt x="75" y="85"/>
                  </a:lnTo>
                  <a:lnTo>
                    <a:pt x="75" y="90"/>
                  </a:lnTo>
                  <a:lnTo>
                    <a:pt x="73" y="98"/>
                  </a:lnTo>
                  <a:lnTo>
                    <a:pt x="73" y="106"/>
                  </a:lnTo>
                  <a:lnTo>
                    <a:pt x="73" y="111"/>
                  </a:lnTo>
                  <a:lnTo>
                    <a:pt x="69" y="119"/>
                  </a:lnTo>
                  <a:lnTo>
                    <a:pt x="64" y="123"/>
                  </a:lnTo>
                  <a:lnTo>
                    <a:pt x="60" y="131"/>
                  </a:lnTo>
                  <a:lnTo>
                    <a:pt x="60" y="138"/>
                  </a:lnTo>
                  <a:lnTo>
                    <a:pt x="60" y="144"/>
                  </a:lnTo>
                  <a:lnTo>
                    <a:pt x="52" y="154"/>
                  </a:lnTo>
                  <a:lnTo>
                    <a:pt x="46" y="161"/>
                  </a:lnTo>
                  <a:lnTo>
                    <a:pt x="33" y="165"/>
                  </a:lnTo>
                  <a:lnTo>
                    <a:pt x="23" y="171"/>
                  </a:lnTo>
                  <a:lnTo>
                    <a:pt x="16" y="181"/>
                  </a:lnTo>
                  <a:lnTo>
                    <a:pt x="14" y="190"/>
                  </a:lnTo>
                  <a:lnTo>
                    <a:pt x="12" y="200"/>
                  </a:lnTo>
                  <a:lnTo>
                    <a:pt x="6" y="207"/>
                  </a:lnTo>
                  <a:lnTo>
                    <a:pt x="0" y="217"/>
                  </a:lnTo>
                  <a:lnTo>
                    <a:pt x="2" y="223"/>
                  </a:lnTo>
                  <a:lnTo>
                    <a:pt x="4" y="230"/>
                  </a:lnTo>
                  <a:lnTo>
                    <a:pt x="6" y="238"/>
                  </a:lnTo>
                  <a:lnTo>
                    <a:pt x="6" y="242"/>
                  </a:lnTo>
                  <a:lnTo>
                    <a:pt x="14" y="248"/>
                  </a:lnTo>
                  <a:lnTo>
                    <a:pt x="23" y="248"/>
                  </a:lnTo>
                  <a:lnTo>
                    <a:pt x="31" y="246"/>
                  </a:lnTo>
                  <a:lnTo>
                    <a:pt x="44" y="253"/>
                  </a:lnTo>
                  <a:lnTo>
                    <a:pt x="52" y="251"/>
                  </a:lnTo>
                  <a:lnTo>
                    <a:pt x="60" y="251"/>
                  </a:lnTo>
                  <a:lnTo>
                    <a:pt x="71" y="250"/>
                  </a:lnTo>
                  <a:lnTo>
                    <a:pt x="75" y="251"/>
                  </a:lnTo>
                  <a:lnTo>
                    <a:pt x="75" y="244"/>
                  </a:lnTo>
                  <a:lnTo>
                    <a:pt x="79" y="240"/>
                  </a:lnTo>
                  <a:lnTo>
                    <a:pt x="85" y="236"/>
                  </a:lnTo>
                  <a:lnTo>
                    <a:pt x="91" y="232"/>
                  </a:lnTo>
                  <a:lnTo>
                    <a:pt x="92" y="225"/>
                  </a:lnTo>
                  <a:lnTo>
                    <a:pt x="94" y="217"/>
                  </a:lnTo>
                  <a:lnTo>
                    <a:pt x="98" y="213"/>
                  </a:lnTo>
                  <a:lnTo>
                    <a:pt x="100" y="207"/>
                  </a:lnTo>
                  <a:lnTo>
                    <a:pt x="106" y="207"/>
                  </a:lnTo>
                  <a:lnTo>
                    <a:pt x="112" y="202"/>
                  </a:lnTo>
                  <a:lnTo>
                    <a:pt x="115" y="198"/>
                  </a:lnTo>
                  <a:lnTo>
                    <a:pt x="121" y="190"/>
                  </a:lnTo>
                  <a:lnTo>
                    <a:pt x="125" y="186"/>
                  </a:lnTo>
                  <a:lnTo>
                    <a:pt x="127" y="179"/>
                  </a:lnTo>
                  <a:lnTo>
                    <a:pt x="133" y="175"/>
                  </a:lnTo>
                  <a:lnTo>
                    <a:pt x="137" y="167"/>
                  </a:lnTo>
                  <a:lnTo>
                    <a:pt x="137" y="161"/>
                  </a:lnTo>
                  <a:lnTo>
                    <a:pt x="137" y="154"/>
                  </a:lnTo>
                  <a:lnTo>
                    <a:pt x="140" y="148"/>
                  </a:lnTo>
                  <a:lnTo>
                    <a:pt x="142" y="140"/>
                  </a:lnTo>
                  <a:lnTo>
                    <a:pt x="142" y="136"/>
                  </a:lnTo>
                  <a:lnTo>
                    <a:pt x="148" y="131"/>
                  </a:lnTo>
                  <a:lnTo>
                    <a:pt x="154" y="127"/>
                  </a:lnTo>
                  <a:lnTo>
                    <a:pt x="160" y="121"/>
                  </a:lnTo>
                  <a:lnTo>
                    <a:pt x="163" y="113"/>
                  </a:lnTo>
                  <a:lnTo>
                    <a:pt x="167" y="108"/>
                  </a:lnTo>
                  <a:lnTo>
                    <a:pt x="169" y="102"/>
                  </a:lnTo>
                  <a:lnTo>
                    <a:pt x="171" y="96"/>
                  </a:lnTo>
                  <a:lnTo>
                    <a:pt x="171" y="90"/>
                  </a:lnTo>
                  <a:lnTo>
                    <a:pt x="173" y="85"/>
                  </a:lnTo>
                  <a:lnTo>
                    <a:pt x="175" y="77"/>
                  </a:lnTo>
                  <a:lnTo>
                    <a:pt x="179" y="69"/>
                  </a:lnTo>
                  <a:lnTo>
                    <a:pt x="181" y="63"/>
                  </a:lnTo>
                  <a:lnTo>
                    <a:pt x="181" y="56"/>
                  </a:lnTo>
                  <a:lnTo>
                    <a:pt x="183" y="48"/>
                  </a:lnTo>
                  <a:lnTo>
                    <a:pt x="181" y="44"/>
                  </a:lnTo>
                  <a:lnTo>
                    <a:pt x="181" y="42"/>
                  </a:lnTo>
                  <a:lnTo>
                    <a:pt x="185" y="3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/>
            </a:p>
          </p:txBody>
        </p:sp>
        <p:sp>
          <p:nvSpPr>
            <p:cNvPr id="165" name="Freeform 50"/>
            <p:cNvSpPr>
              <a:spLocks/>
            </p:cNvSpPr>
            <p:nvPr/>
          </p:nvSpPr>
          <p:spPr bwMode="auto">
            <a:xfrm>
              <a:off x="6553246" y="3096604"/>
              <a:ext cx="1485783" cy="1204108"/>
            </a:xfrm>
            <a:custGeom>
              <a:avLst/>
              <a:gdLst>
                <a:gd name="T0" fmla="*/ 401 w 760"/>
                <a:gd name="T1" fmla="*/ 596 h 617"/>
                <a:gd name="T2" fmla="*/ 364 w 760"/>
                <a:gd name="T3" fmla="*/ 596 h 617"/>
                <a:gd name="T4" fmla="*/ 330 w 760"/>
                <a:gd name="T5" fmla="*/ 617 h 617"/>
                <a:gd name="T6" fmla="*/ 301 w 760"/>
                <a:gd name="T7" fmla="*/ 587 h 617"/>
                <a:gd name="T8" fmla="*/ 291 w 760"/>
                <a:gd name="T9" fmla="*/ 548 h 617"/>
                <a:gd name="T10" fmla="*/ 272 w 760"/>
                <a:gd name="T11" fmla="*/ 504 h 617"/>
                <a:gd name="T12" fmla="*/ 261 w 760"/>
                <a:gd name="T13" fmla="*/ 460 h 617"/>
                <a:gd name="T14" fmla="*/ 247 w 760"/>
                <a:gd name="T15" fmla="*/ 414 h 617"/>
                <a:gd name="T16" fmla="*/ 197 w 760"/>
                <a:gd name="T17" fmla="*/ 414 h 617"/>
                <a:gd name="T18" fmla="*/ 147 w 760"/>
                <a:gd name="T19" fmla="*/ 422 h 617"/>
                <a:gd name="T20" fmla="*/ 132 w 760"/>
                <a:gd name="T21" fmla="*/ 418 h 617"/>
                <a:gd name="T22" fmla="*/ 122 w 760"/>
                <a:gd name="T23" fmla="*/ 414 h 617"/>
                <a:gd name="T24" fmla="*/ 90 w 760"/>
                <a:gd name="T25" fmla="*/ 401 h 617"/>
                <a:gd name="T26" fmla="*/ 32 w 760"/>
                <a:gd name="T27" fmla="*/ 399 h 617"/>
                <a:gd name="T28" fmla="*/ 5 w 760"/>
                <a:gd name="T29" fmla="*/ 406 h 617"/>
                <a:gd name="T30" fmla="*/ 0 w 760"/>
                <a:gd name="T31" fmla="*/ 381 h 617"/>
                <a:gd name="T32" fmla="*/ 13 w 760"/>
                <a:gd name="T33" fmla="*/ 370 h 617"/>
                <a:gd name="T34" fmla="*/ 30 w 760"/>
                <a:gd name="T35" fmla="*/ 351 h 617"/>
                <a:gd name="T36" fmla="*/ 46 w 760"/>
                <a:gd name="T37" fmla="*/ 326 h 617"/>
                <a:gd name="T38" fmla="*/ 71 w 760"/>
                <a:gd name="T39" fmla="*/ 310 h 617"/>
                <a:gd name="T40" fmla="*/ 98 w 760"/>
                <a:gd name="T41" fmla="*/ 307 h 617"/>
                <a:gd name="T42" fmla="*/ 128 w 760"/>
                <a:gd name="T43" fmla="*/ 297 h 617"/>
                <a:gd name="T44" fmla="*/ 159 w 760"/>
                <a:gd name="T45" fmla="*/ 287 h 617"/>
                <a:gd name="T46" fmla="*/ 188 w 760"/>
                <a:gd name="T47" fmla="*/ 289 h 617"/>
                <a:gd name="T48" fmla="*/ 218 w 760"/>
                <a:gd name="T49" fmla="*/ 291 h 617"/>
                <a:gd name="T50" fmla="*/ 230 w 760"/>
                <a:gd name="T51" fmla="*/ 257 h 617"/>
                <a:gd name="T52" fmla="*/ 247 w 760"/>
                <a:gd name="T53" fmla="*/ 218 h 617"/>
                <a:gd name="T54" fmla="*/ 259 w 760"/>
                <a:gd name="T55" fmla="*/ 190 h 617"/>
                <a:gd name="T56" fmla="*/ 251 w 760"/>
                <a:gd name="T57" fmla="*/ 132 h 617"/>
                <a:gd name="T58" fmla="*/ 266 w 760"/>
                <a:gd name="T59" fmla="*/ 80 h 617"/>
                <a:gd name="T60" fmla="*/ 307 w 760"/>
                <a:gd name="T61" fmla="*/ 48 h 617"/>
                <a:gd name="T62" fmla="*/ 341 w 760"/>
                <a:gd name="T63" fmla="*/ 55 h 617"/>
                <a:gd name="T64" fmla="*/ 397 w 760"/>
                <a:gd name="T65" fmla="*/ 38 h 617"/>
                <a:gd name="T66" fmla="*/ 453 w 760"/>
                <a:gd name="T67" fmla="*/ 7 h 617"/>
                <a:gd name="T68" fmla="*/ 497 w 760"/>
                <a:gd name="T69" fmla="*/ 4 h 617"/>
                <a:gd name="T70" fmla="*/ 510 w 760"/>
                <a:gd name="T71" fmla="*/ 30 h 617"/>
                <a:gd name="T72" fmla="*/ 548 w 760"/>
                <a:gd name="T73" fmla="*/ 38 h 617"/>
                <a:gd name="T74" fmla="*/ 585 w 760"/>
                <a:gd name="T75" fmla="*/ 63 h 617"/>
                <a:gd name="T76" fmla="*/ 627 w 760"/>
                <a:gd name="T77" fmla="*/ 69 h 617"/>
                <a:gd name="T78" fmla="*/ 658 w 760"/>
                <a:gd name="T79" fmla="*/ 105 h 617"/>
                <a:gd name="T80" fmla="*/ 710 w 760"/>
                <a:gd name="T81" fmla="*/ 121 h 617"/>
                <a:gd name="T82" fmla="*/ 754 w 760"/>
                <a:gd name="T83" fmla="*/ 132 h 617"/>
                <a:gd name="T84" fmla="*/ 752 w 760"/>
                <a:gd name="T85" fmla="*/ 186 h 617"/>
                <a:gd name="T86" fmla="*/ 733 w 760"/>
                <a:gd name="T87" fmla="*/ 226 h 617"/>
                <a:gd name="T88" fmla="*/ 729 w 760"/>
                <a:gd name="T89" fmla="*/ 270 h 617"/>
                <a:gd name="T90" fmla="*/ 683 w 760"/>
                <a:gd name="T91" fmla="*/ 291 h 617"/>
                <a:gd name="T92" fmla="*/ 677 w 760"/>
                <a:gd name="T93" fmla="*/ 345 h 617"/>
                <a:gd name="T94" fmla="*/ 667 w 760"/>
                <a:gd name="T95" fmla="*/ 389 h 617"/>
                <a:gd name="T96" fmla="*/ 644 w 760"/>
                <a:gd name="T97" fmla="*/ 431 h 617"/>
                <a:gd name="T98" fmla="*/ 604 w 760"/>
                <a:gd name="T99" fmla="*/ 477 h 617"/>
                <a:gd name="T100" fmla="*/ 575 w 760"/>
                <a:gd name="T101" fmla="*/ 527 h 617"/>
                <a:gd name="T102" fmla="*/ 522 w 760"/>
                <a:gd name="T103" fmla="*/ 556 h 617"/>
                <a:gd name="T104" fmla="*/ 458 w 760"/>
                <a:gd name="T105" fmla="*/ 566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60" h="617">
                  <a:moveTo>
                    <a:pt x="418" y="583"/>
                  </a:moveTo>
                  <a:lnTo>
                    <a:pt x="412" y="581"/>
                  </a:lnTo>
                  <a:lnTo>
                    <a:pt x="408" y="583"/>
                  </a:lnTo>
                  <a:lnTo>
                    <a:pt x="406" y="587"/>
                  </a:lnTo>
                  <a:lnTo>
                    <a:pt x="405" y="592"/>
                  </a:lnTo>
                  <a:lnTo>
                    <a:pt x="401" y="596"/>
                  </a:lnTo>
                  <a:lnTo>
                    <a:pt x="395" y="594"/>
                  </a:lnTo>
                  <a:lnTo>
                    <a:pt x="387" y="592"/>
                  </a:lnTo>
                  <a:lnTo>
                    <a:pt x="382" y="594"/>
                  </a:lnTo>
                  <a:lnTo>
                    <a:pt x="374" y="602"/>
                  </a:lnTo>
                  <a:lnTo>
                    <a:pt x="368" y="600"/>
                  </a:lnTo>
                  <a:lnTo>
                    <a:pt x="364" y="596"/>
                  </a:lnTo>
                  <a:lnTo>
                    <a:pt x="358" y="600"/>
                  </a:lnTo>
                  <a:lnTo>
                    <a:pt x="358" y="608"/>
                  </a:lnTo>
                  <a:lnTo>
                    <a:pt x="353" y="612"/>
                  </a:lnTo>
                  <a:lnTo>
                    <a:pt x="347" y="612"/>
                  </a:lnTo>
                  <a:lnTo>
                    <a:pt x="337" y="615"/>
                  </a:lnTo>
                  <a:lnTo>
                    <a:pt x="330" y="617"/>
                  </a:lnTo>
                  <a:lnTo>
                    <a:pt x="320" y="615"/>
                  </a:lnTo>
                  <a:lnTo>
                    <a:pt x="316" y="610"/>
                  </a:lnTo>
                  <a:lnTo>
                    <a:pt x="312" y="606"/>
                  </a:lnTo>
                  <a:lnTo>
                    <a:pt x="311" y="600"/>
                  </a:lnTo>
                  <a:lnTo>
                    <a:pt x="307" y="591"/>
                  </a:lnTo>
                  <a:lnTo>
                    <a:pt x="301" y="587"/>
                  </a:lnTo>
                  <a:lnTo>
                    <a:pt x="295" y="581"/>
                  </a:lnTo>
                  <a:lnTo>
                    <a:pt x="295" y="575"/>
                  </a:lnTo>
                  <a:lnTo>
                    <a:pt x="293" y="569"/>
                  </a:lnTo>
                  <a:lnTo>
                    <a:pt x="289" y="562"/>
                  </a:lnTo>
                  <a:lnTo>
                    <a:pt x="289" y="554"/>
                  </a:lnTo>
                  <a:lnTo>
                    <a:pt x="291" y="548"/>
                  </a:lnTo>
                  <a:lnTo>
                    <a:pt x="293" y="541"/>
                  </a:lnTo>
                  <a:lnTo>
                    <a:pt x="293" y="533"/>
                  </a:lnTo>
                  <a:lnTo>
                    <a:pt x="291" y="523"/>
                  </a:lnTo>
                  <a:lnTo>
                    <a:pt x="287" y="516"/>
                  </a:lnTo>
                  <a:lnTo>
                    <a:pt x="280" y="510"/>
                  </a:lnTo>
                  <a:lnTo>
                    <a:pt x="272" y="504"/>
                  </a:lnTo>
                  <a:lnTo>
                    <a:pt x="268" y="498"/>
                  </a:lnTo>
                  <a:lnTo>
                    <a:pt x="266" y="489"/>
                  </a:lnTo>
                  <a:lnTo>
                    <a:pt x="264" y="481"/>
                  </a:lnTo>
                  <a:lnTo>
                    <a:pt x="261" y="475"/>
                  </a:lnTo>
                  <a:lnTo>
                    <a:pt x="259" y="466"/>
                  </a:lnTo>
                  <a:lnTo>
                    <a:pt x="261" y="460"/>
                  </a:lnTo>
                  <a:lnTo>
                    <a:pt x="259" y="452"/>
                  </a:lnTo>
                  <a:lnTo>
                    <a:pt x="255" y="445"/>
                  </a:lnTo>
                  <a:lnTo>
                    <a:pt x="253" y="437"/>
                  </a:lnTo>
                  <a:lnTo>
                    <a:pt x="253" y="429"/>
                  </a:lnTo>
                  <a:lnTo>
                    <a:pt x="253" y="422"/>
                  </a:lnTo>
                  <a:lnTo>
                    <a:pt x="247" y="414"/>
                  </a:lnTo>
                  <a:lnTo>
                    <a:pt x="240" y="410"/>
                  </a:lnTo>
                  <a:lnTo>
                    <a:pt x="230" y="408"/>
                  </a:lnTo>
                  <a:lnTo>
                    <a:pt x="222" y="410"/>
                  </a:lnTo>
                  <a:lnTo>
                    <a:pt x="213" y="410"/>
                  </a:lnTo>
                  <a:lnTo>
                    <a:pt x="205" y="410"/>
                  </a:lnTo>
                  <a:lnTo>
                    <a:pt x="197" y="414"/>
                  </a:lnTo>
                  <a:lnTo>
                    <a:pt x="188" y="414"/>
                  </a:lnTo>
                  <a:lnTo>
                    <a:pt x="176" y="414"/>
                  </a:lnTo>
                  <a:lnTo>
                    <a:pt x="169" y="416"/>
                  </a:lnTo>
                  <a:lnTo>
                    <a:pt x="161" y="420"/>
                  </a:lnTo>
                  <a:lnTo>
                    <a:pt x="153" y="422"/>
                  </a:lnTo>
                  <a:lnTo>
                    <a:pt x="147" y="422"/>
                  </a:lnTo>
                  <a:lnTo>
                    <a:pt x="147" y="429"/>
                  </a:lnTo>
                  <a:lnTo>
                    <a:pt x="145" y="433"/>
                  </a:lnTo>
                  <a:lnTo>
                    <a:pt x="140" y="433"/>
                  </a:lnTo>
                  <a:lnTo>
                    <a:pt x="136" y="429"/>
                  </a:lnTo>
                  <a:lnTo>
                    <a:pt x="134" y="424"/>
                  </a:lnTo>
                  <a:lnTo>
                    <a:pt x="132" y="418"/>
                  </a:lnTo>
                  <a:lnTo>
                    <a:pt x="130" y="420"/>
                  </a:lnTo>
                  <a:lnTo>
                    <a:pt x="124" y="426"/>
                  </a:lnTo>
                  <a:lnTo>
                    <a:pt x="122" y="424"/>
                  </a:lnTo>
                  <a:lnTo>
                    <a:pt x="121" y="422"/>
                  </a:lnTo>
                  <a:lnTo>
                    <a:pt x="121" y="420"/>
                  </a:lnTo>
                  <a:lnTo>
                    <a:pt x="122" y="414"/>
                  </a:lnTo>
                  <a:lnTo>
                    <a:pt x="122" y="410"/>
                  </a:lnTo>
                  <a:lnTo>
                    <a:pt x="117" y="406"/>
                  </a:lnTo>
                  <a:lnTo>
                    <a:pt x="107" y="406"/>
                  </a:lnTo>
                  <a:lnTo>
                    <a:pt x="101" y="404"/>
                  </a:lnTo>
                  <a:lnTo>
                    <a:pt x="98" y="399"/>
                  </a:lnTo>
                  <a:lnTo>
                    <a:pt x="90" y="401"/>
                  </a:lnTo>
                  <a:lnTo>
                    <a:pt x="82" y="406"/>
                  </a:lnTo>
                  <a:lnTo>
                    <a:pt x="73" y="406"/>
                  </a:lnTo>
                  <a:lnTo>
                    <a:pt x="55" y="404"/>
                  </a:lnTo>
                  <a:lnTo>
                    <a:pt x="46" y="403"/>
                  </a:lnTo>
                  <a:lnTo>
                    <a:pt x="40" y="399"/>
                  </a:lnTo>
                  <a:lnTo>
                    <a:pt x="32" y="399"/>
                  </a:lnTo>
                  <a:lnTo>
                    <a:pt x="23" y="401"/>
                  </a:lnTo>
                  <a:lnTo>
                    <a:pt x="15" y="404"/>
                  </a:lnTo>
                  <a:lnTo>
                    <a:pt x="9" y="410"/>
                  </a:lnTo>
                  <a:lnTo>
                    <a:pt x="5" y="414"/>
                  </a:lnTo>
                  <a:lnTo>
                    <a:pt x="5" y="410"/>
                  </a:lnTo>
                  <a:lnTo>
                    <a:pt x="5" y="406"/>
                  </a:lnTo>
                  <a:lnTo>
                    <a:pt x="5" y="401"/>
                  </a:lnTo>
                  <a:lnTo>
                    <a:pt x="2" y="397"/>
                  </a:lnTo>
                  <a:lnTo>
                    <a:pt x="0" y="393"/>
                  </a:lnTo>
                  <a:lnTo>
                    <a:pt x="0" y="389"/>
                  </a:lnTo>
                  <a:lnTo>
                    <a:pt x="0" y="385"/>
                  </a:lnTo>
                  <a:lnTo>
                    <a:pt x="0" y="381"/>
                  </a:lnTo>
                  <a:lnTo>
                    <a:pt x="0" y="380"/>
                  </a:lnTo>
                  <a:lnTo>
                    <a:pt x="3" y="376"/>
                  </a:lnTo>
                  <a:lnTo>
                    <a:pt x="5" y="372"/>
                  </a:lnTo>
                  <a:lnTo>
                    <a:pt x="5" y="374"/>
                  </a:lnTo>
                  <a:lnTo>
                    <a:pt x="9" y="372"/>
                  </a:lnTo>
                  <a:lnTo>
                    <a:pt x="13" y="370"/>
                  </a:lnTo>
                  <a:lnTo>
                    <a:pt x="15" y="366"/>
                  </a:lnTo>
                  <a:lnTo>
                    <a:pt x="15" y="362"/>
                  </a:lnTo>
                  <a:lnTo>
                    <a:pt x="17" y="358"/>
                  </a:lnTo>
                  <a:lnTo>
                    <a:pt x="21" y="355"/>
                  </a:lnTo>
                  <a:lnTo>
                    <a:pt x="25" y="351"/>
                  </a:lnTo>
                  <a:lnTo>
                    <a:pt x="30" y="351"/>
                  </a:lnTo>
                  <a:lnTo>
                    <a:pt x="32" y="345"/>
                  </a:lnTo>
                  <a:lnTo>
                    <a:pt x="38" y="345"/>
                  </a:lnTo>
                  <a:lnTo>
                    <a:pt x="40" y="339"/>
                  </a:lnTo>
                  <a:lnTo>
                    <a:pt x="40" y="333"/>
                  </a:lnTo>
                  <a:lnTo>
                    <a:pt x="42" y="330"/>
                  </a:lnTo>
                  <a:lnTo>
                    <a:pt x="46" y="326"/>
                  </a:lnTo>
                  <a:lnTo>
                    <a:pt x="48" y="322"/>
                  </a:lnTo>
                  <a:lnTo>
                    <a:pt x="53" y="318"/>
                  </a:lnTo>
                  <a:lnTo>
                    <a:pt x="57" y="314"/>
                  </a:lnTo>
                  <a:lnTo>
                    <a:pt x="59" y="312"/>
                  </a:lnTo>
                  <a:lnTo>
                    <a:pt x="65" y="310"/>
                  </a:lnTo>
                  <a:lnTo>
                    <a:pt x="71" y="310"/>
                  </a:lnTo>
                  <a:lnTo>
                    <a:pt x="74" y="310"/>
                  </a:lnTo>
                  <a:lnTo>
                    <a:pt x="78" y="312"/>
                  </a:lnTo>
                  <a:lnTo>
                    <a:pt x="80" y="310"/>
                  </a:lnTo>
                  <a:lnTo>
                    <a:pt x="84" y="307"/>
                  </a:lnTo>
                  <a:lnTo>
                    <a:pt x="92" y="307"/>
                  </a:lnTo>
                  <a:lnTo>
                    <a:pt x="98" y="307"/>
                  </a:lnTo>
                  <a:lnTo>
                    <a:pt x="103" y="310"/>
                  </a:lnTo>
                  <a:lnTo>
                    <a:pt x="107" y="310"/>
                  </a:lnTo>
                  <a:lnTo>
                    <a:pt x="113" y="307"/>
                  </a:lnTo>
                  <a:lnTo>
                    <a:pt x="119" y="305"/>
                  </a:lnTo>
                  <a:lnTo>
                    <a:pt x="124" y="301"/>
                  </a:lnTo>
                  <a:lnTo>
                    <a:pt x="128" y="297"/>
                  </a:lnTo>
                  <a:lnTo>
                    <a:pt x="134" y="293"/>
                  </a:lnTo>
                  <a:lnTo>
                    <a:pt x="138" y="289"/>
                  </a:lnTo>
                  <a:lnTo>
                    <a:pt x="144" y="291"/>
                  </a:lnTo>
                  <a:lnTo>
                    <a:pt x="151" y="289"/>
                  </a:lnTo>
                  <a:lnTo>
                    <a:pt x="155" y="287"/>
                  </a:lnTo>
                  <a:lnTo>
                    <a:pt x="159" y="287"/>
                  </a:lnTo>
                  <a:lnTo>
                    <a:pt x="163" y="289"/>
                  </a:lnTo>
                  <a:lnTo>
                    <a:pt x="167" y="291"/>
                  </a:lnTo>
                  <a:lnTo>
                    <a:pt x="172" y="291"/>
                  </a:lnTo>
                  <a:lnTo>
                    <a:pt x="178" y="287"/>
                  </a:lnTo>
                  <a:lnTo>
                    <a:pt x="182" y="287"/>
                  </a:lnTo>
                  <a:lnTo>
                    <a:pt x="188" y="289"/>
                  </a:lnTo>
                  <a:lnTo>
                    <a:pt x="192" y="291"/>
                  </a:lnTo>
                  <a:lnTo>
                    <a:pt x="197" y="293"/>
                  </a:lnTo>
                  <a:lnTo>
                    <a:pt x="201" y="295"/>
                  </a:lnTo>
                  <a:lnTo>
                    <a:pt x="207" y="295"/>
                  </a:lnTo>
                  <a:lnTo>
                    <a:pt x="213" y="293"/>
                  </a:lnTo>
                  <a:lnTo>
                    <a:pt x="218" y="291"/>
                  </a:lnTo>
                  <a:lnTo>
                    <a:pt x="224" y="289"/>
                  </a:lnTo>
                  <a:lnTo>
                    <a:pt x="228" y="286"/>
                  </a:lnTo>
                  <a:lnTo>
                    <a:pt x="230" y="278"/>
                  </a:lnTo>
                  <a:lnTo>
                    <a:pt x="230" y="268"/>
                  </a:lnTo>
                  <a:lnTo>
                    <a:pt x="232" y="262"/>
                  </a:lnTo>
                  <a:lnTo>
                    <a:pt x="230" y="257"/>
                  </a:lnTo>
                  <a:lnTo>
                    <a:pt x="234" y="251"/>
                  </a:lnTo>
                  <a:lnTo>
                    <a:pt x="234" y="243"/>
                  </a:lnTo>
                  <a:lnTo>
                    <a:pt x="230" y="236"/>
                  </a:lnTo>
                  <a:lnTo>
                    <a:pt x="236" y="228"/>
                  </a:lnTo>
                  <a:lnTo>
                    <a:pt x="240" y="224"/>
                  </a:lnTo>
                  <a:lnTo>
                    <a:pt x="247" y="218"/>
                  </a:lnTo>
                  <a:lnTo>
                    <a:pt x="253" y="215"/>
                  </a:lnTo>
                  <a:lnTo>
                    <a:pt x="255" y="209"/>
                  </a:lnTo>
                  <a:lnTo>
                    <a:pt x="249" y="205"/>
                  </a:lnTo>
                  <a:lnTo>
                    <a:pt x="251" y="197"/>
                  </a:lnTo>
                  <a:lnTo>
                    <a:pt x="257" y="195"/>
                  </a:lnTo>
                  <a:lnTo>
                    <a:pt x="259" y="190"/>
                  </a:lnTo>
                  <a:lnTo>
                    <a:pt x="261" y="182"/>
                  </a:lnTo>
                  <a:lnTo>
                    <a:pt x="257" y="172"/>
                  </a:lnTo>
                  <a:lnTo>
                    <a:pt x="253" y="165"/>
                  </a:lnTo>
                  <a:lnTo>
                    <a:pt x="253" y="151"/>
                  </a:lnTo>
                  <a:lnTo>
                    <a:pt x="251" y="144"/>
                  </a:lnTo>
                  <a:lnTo>
                    <a:pt x="251" y="132"/>
                  </a:lnTo>
                  <a:lnTo>
                    <a:pt x="253" y="122"/>
                  </a:lnTo>
                  <a:lnTo>
                    <a:pt x="257" y="115"/>
                  </a:lnTo>
                  <a:lnTo>
                    <a:pt x="261" y="105"/>
                  </a:lnTo>
                  <a:lnTo>
                    <a:pt x="261" y="94"/>
                  </a:lnTo>
                  <a:lnTo>
                    <a:pt x="263" y="86"/>
                  </a:lnTo>
                  <a:lnTo>
                    <a:pt x="266" y="80"/>
                  </a:lnTo>
                  <a:lnTo>
                    <a:pt x="272" y="74"/>
                  </a:lnTo>
                  <a:lnTo>
                    <a:pt x="284" y="73"/>
                  </a:lnTo>
                  <a:lnTo>
                    <a:pt x="293" y="71"/>
                  </a:lnTo>
                  <a:lnTo>
                    <a:pt x="297" y="67"/>
                  </a:lnTo>
                  <a:lnTo>
                    <a:pt x="299" y="57"/>
                  </a:lnTo>
                  <a:lnTo>
                    <a:pt x="307" y="48"/>
                  </a:lnTo>
                  <a:lnTo>
                    <a:pt x="311" y="44"/>
                  </a:lnTo>
                  <a:lnTo>
                    <a:pt x="318" y="42"/>
                  </a:lnTo>
                  <a:lnTo>
                    <a:pt x="322" y="40"/>
                  </a:lnTo>
                  <a:lnTo>
                    <a:pt x="332" y="40"/>
                  </a:lnTo>
                  <a:lnTo>
                    <a:pt x="337" y="48"/>
                  </a:lnTo>
                  <a:lnTo>
                    <a:pt x="341" y="55"/>
                  </a:lnTo>
                  <a:lnTo>
                    <a:pt x="353" y="57"/>
                  </a:lnTo>
                  <a:lnTo>
                    <a:pt x="362" y="53"/>
                  </a:lnTo>
                  <a:lnTo>
                    <a:pt x="368" y="50"/>
                  </a:lnTo>
                  <a:lnTo>
                    <a:pt x="374" y="46"/>
                  </a:lnTo>
                  <a:lnTo>
                    <a:pt x="387" y="40"/>
                  </a:lnTo>
                  <a:lnTo>
                    <a:pt x="397" y="38"/>
                  </a:lnTo>
                  <a:lnTo>
                    <a:pt x="405" y="30"/>
                  </a:lnTo>
                  <a:lnTo>
                    <a:pt x="414" y="27"/>
                  </a:lnTo>
                  <a:lnTo>
                    <a:pt x="424" y="25"/>
                  </a:lnTo>
                  <a:lnTo>
                    <a:pt x="431" y="15"/>
                  </a:lnTo>
                  <a:lnTo>
                    <a:pt x="441" y="11"/>
                  </a:lnTo>
                  <a:lnTo>
                    <a:pt x="453" y="7"/>
                  </a:lnTo>
                  <a:lnTo>
                    <a:pt x="464" y="4"/>
                  </a:lnTo>
                  <a:lnTo>
                    <a:pt x="470" y="2"/>
                  </a:lnTo>
                  <a:lnTo>
                    <a:pt x="477" y="2"/>
                  </a:lnTo>
                  <a:lnTo>
                    <a:pt x="485" y="2"/>
                  </a:lnTo>
                  <a:lnTo>
                    <a:pt x="489" y="0"/>
                  </a:lnTo>
                  <a:lnTo>
                    <a:pt x="497" y="4"/>
                  </a:lnTo>
                  <a:lnTo>
                    <a:pt x="500" y="9"/>
                  </a:lnTo>
                  <a:lnTo>
                    <a:pt x="495" y="11"/>
                  </a:lnTo>
                  <a:lnTo>
                    <a:pt x="497" y="17"/>
                  </a:lnTo>
                  <a:lnTo>
                    <a:pt x="499" y="25"/>
                  </a:lnTo>
                  <a:lnTo>
                    <a:pt x="502" y="30"/>
                  </a:lnTo>
                  <a:lnTo>
                    <a:pt x="510" y="30"/>
                  </a:lnTo>
                  <a:lnTo>
                    <a:pt x="518" y="27"/>
                  </a:lnTo>
                  <a:lnTo>
                    <a:pt x="525" y="28"/>
                  </a:lnTo>
                  <a:lnTo>
                    <a:pt x="535" y="30"/>
                  </a:lnTo>
                  <a:lnTo>
                    <a:pt x="543" y="34"/>
                  </a:lnTo>
                  <a:lnTo>
                    <a:pt x="548" y="32"/>
                  </a:lnTo>
                  <a:lnTo>
                    <a:pt x="548" y="38"/>
                  </a:lnTo>
                  <a:lnTo>
                    <a:pt x="556" y="40"/>
                  </a:lnTo>
                  <a:lnTo>
                    <a:pt x="562" y="40"/>
                  </a:lnTo>
                  <a:lnTo>
                    <a:pt x="568" y="48"/>
                  </a:lnTo>
                  <a:lnTo>
                    <a:pt x="575" y="53"/>
                  </a:lnTo>
                  <a:lnTo>
                    <a:pt x="579" y="61"/>
                  </a:lnTo>
                  <a:lnTo>
                    <a:pt x="585" y="63"/>
                  </a:lnTo>
                  <a:lnTo>
                    <a:pt x="591" y="71"/>
                  </a:lnTo>
                  <a:lnTo>
                    <a:pt x="598" y="73"/>
                  </a:lnTo>
                  <a:lnTo>
                    <a:pt x="606" y="74"/>
                  </a:lnTo>
                  <a:lnTo>
                    <a:pt x="614" y="73"/>
                  </a:lnTo>
                  <a:lnTo>
                    <a:pt x="621" y="71"/>
                  </a:lnTo>
                  <a:lnTo>
                    <a:pt x="627" y="69"/>
                  </a:lnTo>
                  <a:lnTo>
                    <a:pt x="633" y="73"/>
                  </a:lnTo>
                  <a:lnTo>
                    <a:pt x="639" y="78"/>
                  </a:lnTo>
                  <a:lnTo>
                    <a:pt x="644" y="80"/>
                  </a:lnTo>
                  <a:lnTo>
                    <a:pt x="650" y="88"/>
                  </a:lnTo>
                  <a:lnTo>
                    <a:pt x="654" y="98"/>
                  </a:lnTo>
                  <a:lnTo>
                    <a:pt x="658" y="105"/>
                  </a:lnTo>
                  <a:lnTo>
                    <a:pt x="666" y="111"/>
                  </a:lnTo>
                  <a:lnTo>
                    <a:pt x="673" y="113"/>
                  </a:lnTo>
                  <a:lnTo>
                    <a:pt x="685" y="109"/>
                  </a:lnTo>
                  <a:lnTo>
                    <a:pt x="696" y="109"/>
                  </a:lnTo>
                  <a:lnTo>
                    <a:pt x="702" y="113"/>
                  </a:lnTo>
                  <a:lnTo>
                    <a:pt x="710" y="121"/>
                  </a:lnTo>
                  <a:lnTo>
                    <a:pt x="723" y="121"/>
                  </a:lnTo>
                  <a:lnTo>
                    <a:pt x="731" y="117"/>
                  </a:lnTo>
                  <a:lnTo>
                    <a:pt x="737" y="117"/>
                  </a:lnTo>
                  <a:lnTo>
                    <a:pt x="744" y="121"/>
                  </a:lnTo>
                  <a:lnTo>
                    <a:pt x="748" y="124"/>
                  </a:lnTo>
                  <a:lnTo>
                    <a:pt x="754" y="132"/>
                  </a:lnTo>
                  <a:lnTo>
                    <a:pt x="760" y="140"/>
                  </a:lnTo>
                  <a:lnTo>
                    <a:pt x="758" y="149"/>
                  </a:lnTo>
                  <a:lnTo>
                    <a:pt x="758" y="157"/>
                  </a:lnTo>
                  <a:lnTo>
                    <a:pt x="758" y="165"/>
                  </a:lnTo>
                  <a:lnTo>
                    <a:pt x="756" y="174"/>
                  </a:lnTo>
                  <a:lnTo>
                    <a:pt x="752" y="186"/>
                  </a:lnTo>
                  <a:lnTo>
                    <a:pt x="752" y="192"/>
                  </a:lnTo>
                  <a:lnTo>
                    <a:pt x="752" y="201"/>
                  </a:lnTo>
                  <a:lnTo>
                    <a:pt x="752" y="211"/>
                  </a:lnTo>
                  <a:lnTo>
                    <a:pt x="746" y="218"/>
                  </a:lnTo>
                  <a:lnTo>
                    <a:pt x="737" y="220"/>
                  </a:lnTo>
                  <a:lnTo>
                    <a:pt x="733" y="226"/>
                  </a:lnTo>
                  <a:lnTo>
                    <a:pt x="737" y="238"/>
                  </a:lnTo>
                  <a:lnTo>
                    <a:pt x="738" y="247"/>
                  </a:lnTo>
                  <a:lnTo>
                    <a:pt x="742" y="255"/>
                  </a:lnTo>
                  <a:lnTo>
                    <a:pt x="738" y="261"/>
                  </a:lnTo>
                  <a:lnTo>
                    <a:pt x="735" y="266"/>
                  </a:lnTo>
                  <a:lnTo>
                    <a:pt x="729" y="270"/>
                  </a:lnTo>
                  <a:lnTo>
                    <a:pt x="723" y="270"/>
                  </a:lnTo>
                  <a:lnTo>
                    <a:pt x="712" y="270"/>
                  </a:lnTo>
                  <a:lnTo>
                    <a:pt x="700" y="274"/>
                  </a:lnTo>
                  <a:lnTo>
                    <a:pt x="690" y="276"/>
                  </a:lnTo>
                  <a:lnTo>
                    <a:pt x="681" y="282"/>
                  </a:lnTo>
                  <a:lnTo>
                    <a:pt x="683" y="291"/>
                  </a:lnTo>
                  <a:lnTo>
                    <a:pt x="679" y="297"/>
                  </a:lnTo>
                  <a:lnTo>
                    <a:pt x="677" y="307"/>
                  </a:lnTo>
                  <a:lnTo>
                    <a:pt x="677" y="316"/>
                  </a:lnTo>
                  <a:lnTo>
                    <a:pt x="675" y="322"/>
                  </a:lnTo>
                  <a:lnTo>
                    <a:pt x="677" y="333"/>
                  </a:lnTo>
                  <a:lnTo>
                    <a:pt x="677" y="345"/>
                  </a:lnTo>
                  <a:lnTo>
                    <a:pt x="673" y="355"/>
                  </a:lnTo>
                  <a:lnTo>
                    <a:pt x="673" y="360"/>
                  </a:lnTo>
                  <a:lnTo>
                    <a:pt x="671" y="368"/>
                  </a:lnTo>
                  <a:lnTo>
                    <a:pt x="671" y="376"/>
                  </a:lnTo>
                  <a:lnTo>
                    <a:pt x="671" y="381"/>
                  </a:lnTo>
                  <a:lnTo>
                    <a:pt x="667" y="389"/>
                  </a:lnTo>
                  <a:lnTo>
                    <a:pt x="662" y="393"/>
                  </a:lnTo>
                  <a:lnTo>
                    <a:pt x="658" y="401"/>
                  </a:lnTo>
                  <a:lnTo>
                    <a:pt x="658" y="408"/>
                  </a:lnTo>
                  <a:lnTo>
                    <a:pt x="658" y="414"/>
                  </a:lnTo>
                  <a:lnTo>
                    <a:pt x="650" y="424"/>
                  </a:lnTo>
                  <a:lnTo>
                    <a:pt x="644" y="431"/>
                  </a:lnTo>
                  <a:lnTo>
                    <a:pt x="631" y="435"/>
                  </a:lnTo>
                  <a:lnTo>
                    <a:pt x="621" y="441"/>
                  </a:lnTo>
                  <a:lnTo>
                    <a:pt x="614" y="451"/>
                  </a:lnTo>
                  <a:lnTo>
                    <a:pt x="612" y="460"/>
                  </a:lnTo>
                  <a:lnTo>
                    <a:pt x="610" y="470"/>
                  </a:lnTo>
                  <a:lnTo>
                    <a:pt x="604" y="477"/>
                  </a:lnTo>
                  <a:lnTo>
                    <a:pt x="598" y="487"/>
                  </a:lnTo>
                  <a:lnTo>
                    <a:pt x="593" y="493"/>
                  </a:lnTo>
                  <a:lnTo>
                    <a:pt x="589" y="500"/>
                  </a:lnTo>
                  <a:lnTo>
                    <a:pt x="585" y="510"/>
                  </a:lnTo>
                  <a:lnTo>
                    <a:pt x="581" y="520"/>
                  </a:lnTo>
                  <a:lnTo>
                    <a:pt x="575" y="527"/>
                  </a:lnTo>
                  <a:lnTo>
                    <a:pt x="568" y="535"/>
                  </a:lnTo>
                  <a:lnTo>
                    <a:pt x="564" y="539"/>
                  </a:lnTo>
                  <a:lnTo>
                    <a:pt x="554" y="545"/>
                  </a:lnTo>
                  <a:lnTo>
                    <a:pt x="543" y="552"/>
                  </a:lnTo>
                  <a:lnTo>
                    <a:pt x="537" y="554"/>
                  </a:lnTo>
                  <a:lnTo>
                    <a:pt x="522" y="556"/>
                  </a:lnTo>
                  <a:lnTo>
                    <a:pt x="512" y="558"/>
                  </a:lnTo>
                  <a:lnTo>
                    <a:pt x="500" y="558"/>
                  </a:lnTo>
                  <a:lnTo>
                    <a:pt x="483" y="560"/>
                  </a:lnTo>
                  <a:lnTo>
                    <a:pt x="479" y="560"/>
                  </a:lnTo>
                  <a:lnTo>
                    <a:pt x="472" y="564"/>
                  </a:lnTo>
                  <a:lnTo>
                    <a:pt x="458" y="566"/>
                  </a:lnTo>
                  <a:lnTo>
                    <a:pt x="447" y="569"/>
                  </a:lnTo>
                  <a:lnTo>
                    <a:pt x="441" y="571"/>
                  </a:lnTo>
                  <a:lnTo>
                    <a:pt x="433" y="575"/>
                  </a:lnTo>
                  <a:lnTo>
                    <a:pt x="418" y="58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/>
            </a:p>
          </p:txBody>
        </p:sp>
      </p:grpSp>
      <p:grpSp>
        <p:nvGrpSpPr>
          <p:cNvPr id="13" name="Agrupar 12">
            <a:extLst>
              <a:ext uri="{FF2B5EF4-FFF2-40B4-BE49-F238E27FC236}">
                <a16:creationId xmlns:a16="http://schemas.microsoft.com/office/drawing/2014/main" id="{405FBC6C-2707-4805-9C2B-190C0743B428}"/>
              </a:ext>
            </a:extLst>
          </p:cNvPr>
          <p:cNvGrpSpPr/>
          <p:nvPr/>
        </p:nvGrpSpPr>
        <p:grpSpPr>
          <a:xfrm>
            <a:off x="3413966" y="393812"/>
            <a:ext cx="3872495" cy="2636135"/>
            <a:chOff x="3413966" y="393812"/>
            <a:chExt cx="3872495" cy="2636135"/>
          </a:xfrm>
          <a:solidFill>
            <a:schemeClr val="bg2"/>
          </a:solidFill>
        </p:grpSpPr>
        <p:sp>
          <p:nvSpPr>
            <p:cNvPr id="126" name="Freeform 11"/>
            <p:cNvSpPr>
              <a:spLocks/>
            </p:cNvSpPr>
            <p:nvPr/>
          </p:nvSpPr>
          <p:spPr bwMode="auto">
            <a:xfrm>
              <a:off x="6607001" y="1823690"/>
              <a:ext cx="679460" cy="1150353"/>
            </a:xfrm>
            <a:custGeom>
              <a:avLst/>
              <a:gdLst>
                <a:gd name="T0" fmla="*/ 15 w 347"/>
                <a:gd name="T1" fmla="*/ 528 h 589"/>
                <a:gd name="T2" fmla="*/ 34 w 347"/>
                <a:gd name="T3" fmla="*/ 524 h 589"/>
                <a:gd name="T4" fmla="*/ 36 w 347"/>
                <a:gd name="T5" fmla="*/ 549 h 589"/>
                <a:gd name="T6" fmla="*/ 53 w 347"/>
                <a:gd name="T7" fmla="*/ 564 h 589"/>
                <a:gd name="T8" fmla="*/ 82 w 347"/>
                <a:gd name="T9" fmla="*/ 576 h 589"/>
                <a:gd name="T10" fmla="*/ 103 w 347"/>
                <a:gd name="T11" fmla="*/ 566 h 589"/>
                <a:gd name="T12" fmla="*/ 126 w 347"/>
                <a:gd name="T13" fmla="*/ 553 h 589"/>
                <a:gd name="T14" fmla="*/ 147 w 347"/>
                <a:gd name="T15" fmla="*/ 566 h 589"/>
                <a:gd name="T16" fmla="*/ 166 w 347"/>
                <a:gd name="T17" fmla="*/ 582 h 589"/>
                <a:gd name="T18" fmla="*/ 182 w 347"/>
                <a:gd name="T19" fmla="*/ 578 h 589"/>
                <a:gd name="T20" fmla="*/ 201 w 347"/>
                <a:gd name="T21" fmla="*/ 587 h 589"/>
                <a:gd name="T22" fmla="*/ 213 w 347"/>
                <a:gd name="T23" fmla="*/ 574 h 589"/>
                <a:gd name="T24" fmla="*/ 222 w 347"/>
                <a:gd name="T25" fmla="*/ 562 h 589"/>
                <a:gd name="T26" fmla="*/ 251 w 347"/>
                <a:gd name="T27" fmla="*/ 561 h 589"/>
                <a:gd name="T28" fmla="*/ 272 w 347"/>
                <a:gd name="T29" fmla="*/ 545 h 589"/>
                <a:gd name="T30" fmla="*/ 289 w 347"/>
                <a:gd name="T31" fmla="*/ 545 h 589"/>
                <a:gd name="T32" fmla="*/ 303 w 347"/>
                <a:gd name="T33" fmla="*/ 532 h 589"/>
                <a:gd name="T34" fmla="*/ 299 w 347"/>
                <a:gd name="T35" fmla="*/ 493 h 589"/>
                <a:gd name="T36" fmla="*/ 305 w 347"/>
                <a:gd name="T37" fmla="*/ 467 h 589"/>
                <a:gd name="T38" fmla="*/ 293 w 347"/>
                <a:gd name="T39" fmla="*/ 447 h 589"/>
                <a:gd name="T40" fmla="*/ 291 w 347"/>
                <a:gd name="T41" fmla="*/ 421 h 589"/>
                <a:gd name="T42" fmla="*/ 307 w 347"/>
                <a:gd name="T43" fmla="*/ 403 h 589"/>
                <a:gd name="T44" fmla="*/ 330 w 347"/>
                <a:gd name="T45" fmla="*/ 392 h 589"/>
                <a:gd name="T46" fmla="*/ 341 w 347"/>
                <a:gd name="T47" fmla="*/ 380 h 589"/>
                <a:gd name="T48" fmla="*/ 312 w 347"/>
                <a:gd name="T49" fmla="*/ 380 h 589"/>
                <a:gd name="T50" fmla="*/ 287 w 347"/>
                <a:gd name="T51" fmla="*/ 346 h 589"/>
                <a:gd name="T52" fmla="*/ 278 w 347"/>
                <a:gd name="T53" fmla="*/ 305 h 589"/>
                <a:gd name="T54" fmla="*/ 260 w 347"/>
                <a:gd name="T55" fmla="*/ 271 h 589"/>
                <a:gd name="T56" fmla="*/ 243 w 347"/>
                <a:gd name="T57" fmla="*/ 240 h 589"/>
                <a:gd name="T58" fmla="*/ 241 w 347"/>
                <a:gd name="T59" fmla="*/ 219 h 589"/>
                <a:gd name="T60" fmla="*/ 249 w 347"/>
                <a:gd name="T61" fmla="*/ 198 h 589"/>
                <a:gd name="T62" fmla="*/ 249 w 347"/>
                <a:gd name="T63" fmla="*/ 175 h 589"/>
                <a:gd name="T64" fmla="*/ 222 w 347"/>
                <a:gd name="T65" fmla="*/ 152 h 589"/>
                <a:gd name="T66" fmla="*/ 218 w 347"/>
                <a:gd name="T67" fmla="*/ 129 h 589"/>
                <a:gd name="T68" fmla="*/ 230 w 347"/>
                <a:gd name="T69" fmla="*/ 92 h 589"/>
                <a:gd name="T70" fmla="*/ 236 w 347"/>
                <a:gd name="T71" fmla="*/ 60 h 589"/>
                <a:gd name="T72" fmla="*/ 228 w 347"/>
                <a:gd name="T73" fmla="*/ 23 h 589"/>
                <a:gd name="T74" fmla="*/ 197 w 347"/>
                <a:gd name="T75" fmla="*/ 2 h 589"/>
                <a:gd name="T76" fmla="*/ 151 w 347"/>
                <a:gd name="T77" fmla="*/ 2 h 589"/>
                <a:gd name="T78" fmla="*/ 161 w 347"/>
                <a:gd name="T79" fmla="*/ 31 h 589"/>
                <a:gd name="T80" fmla="*/ 159 w 347"/>
                <a:gd name="T81" fmla="*/ 60 h 589"/>
                <a:gd name="T82" fmla="*/ 153 w 347"/>
                <a:gd name="T83" fmla="*/ 89 h 589"/>
                <a:gd name="T84" fmla="*/ 134 w 347"/>
                <a:gd name="T85" fmla="*/ 106 h 589"/>
                <a:gd name="T86" fmla="*/ 115 w 347"/>
                <a:gd name="T87" fmla="*/ 125 h 589"/>
                <a:gd name="T88" fmla="*/ 99 w 347"/>
                <a:gd name="T89" fmla="*/ 152 h 589"/>
                <a:gd name="T90" fmla="*/ 103 w 347"/>
                <a:gd name="T91" fmla="*/ 192 h 589"/>
                <a:gd name="T92" fmla="*/ 80 w 347"/>
                <a:gd name="T93" fmla="*/ 242 h 589"/>
                <a:gd name="T94" fmla="*/ 53 w 347"/>
                <a:gd name="T95" fmla="*/ 280 h 589"/>
                <a:gd name="T96" fmla="*/ 36 w 347"/>
                <a:gd name="T97" fmla="*/ 317 h 589"/>
                <a:gd name="T98" fmla="*/ 21 w 347"/>
                <a:gd name="T99" fmla="*/ 353 h 589"/>
                <a:gd name="T100" fmla="*/ 3 w 347"/>
                <a:gd name="T101" fmla="*/ 392 h 589"/>
                <a:gd name="T102" fmla="*/ 7 w 347"/>
                <a:gd name="T103" fmla="*/ 428 h 589"/>
                <a:gd name="T104" fmla="*/ 0 w 347"/>
                <a:gd name="T105" fmla="*/ 461 h 589"/>
                <a:gd name="T106" fmla="*/ 3 w 347"/>
                <a:gd name="T107" fmla="*/ 507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47" h="589">
                  <a:moveTo>
                    <a:pt x="0" y="534"/>
                  </a:moveTo>
                  <a:lnTo>
                    <a:pt x="7" y="536"/>
                  </a:lnTo>
                  <a:lnTo>
                    <a:pt x="13" y="534"/>
                  </a:lnTo>
                  <a:lnTo>
                    <a:pt x="15" y="528"/>
                  </a:lnTo>
                  <a:lnTo>
                    <a:pt x="17" y="522"/>
                  </a:lnTo>
                  <a:lnTo>
                    <a:pt x="23" y="518"/>
                  </a:lnTo>
                  <a:lnTo>
                    <a:pt x="30" y="520"/>
                  </a:lnTo>
                  <a:lnTo>
                    <a:pt x="34" y="524"/>
                  </a:lnTo>
                  <a:lnTo>
                    <a:pt x="30" y="530"/>
                  </a:lnTo>
                  <a:lnTo>
                    <a:pt x="30" y="538"/>
                  </a:lnTo>
                  <a:lnTo>
                    <a:pt x="34" y="541"/>
                  </a:lnTo>
                  <a:lnTo>
                    <a:pt x="36" y="549"/>
                  </a:lnTo>
                  <a:lnTo>
                    <a:pt x="34" y="553"/>
                  </a:lnTo>
                  <a:lnTo>
                    <a:pt x="36" y="561"/>
                  </a:lnTo>
                  <a:lnTo>
                    <a:pt x="42" y="566"/>
                  </a:lnTo>
                  <a:lnTo>
                    <a:pt x="53" y="564"/>
                  </a:lnTo>
                  <a:lnTo>
                    <a:pt x="57" y="561"/>
                  </a:lnTo>
                  <a:lnTo>
                    <a:pt x="67" y="562"/>
                  </a:lnTo>
                  <a:lnTo>
                    <a:pt x="72" y="572"/>
                  </a:lnTo>
                  <a:lnTo>
                    <a:pt x="82" y="576"/>
                  </a:lnTo>
                  <a:lnTo>
                    <a:pt x="86" y="576"/>
                  </a:lnTo>
                  <a:lnTo>
                    <a:pt x="94" y="576"/>
                  </a:lnTo>
                  <a:lnTo>
                    <a:pt x="99" y="574"/>
                  </a:lnTo>
                  <a:lnTo>
                    <a:pt x="103" y="566"/>
                  </a:lnTo>
                  <a:lnTo>
                    <a:pt x="107" y="561"/>
                  </a:lnTo>
                  <a:lnTo>
                    <a:pt x="113" y="551"/>
                  </a:lnTo>
                  <a:lnTo>
                    <a:pt x="120" y="549"/>
                  </a:lnTo>
                  <a:lnTo>
                    <a:pt x="126" y="553"/>
                  </a:lnTo>
                  <a:lnTo>
                    <a:pt x="132" y="551"/>
                  </a:lnTo>
                  <a:lnTo>
                    <a:pt x="143" y="553"/>
                  </a:lnTo>
                  <a:lnTo>
                    <a:pt x="147" y="559"/>
                  </a:lnTo>
                  <a:lnTo>
                    <a:pt x="147" y="566"/>
                  </a:lnTo>
                  <a:lnTo>
                    <a:pt x="153" y="572"/>
                  </a:lnTo>
                  <a:lnTo>
                    <a:pt x="155" y="576"/>
                  </a:lnTo>
                  <a:lnTo>
                    <a:pt x="161" y="582"/>
                  </a:lnTo>
                  <a:lnTo>
                    <a:pt x="166" y="582"/>
                  </a:lnTo>
                  <a:lnTo>
                    <a:pt x="168" y="580"/>
                  </a:lnTo>
                  <a:lnTo>
                    <a:pt x="172" y="576"/>
                  </a:lnTo>
                  <a:lnTo>
                    <a:pt x="178" y="574"/>
                  </a:lnTo>
                  <a:lnTo>
                    <a:pt x="182" y="578"/>
                  </a:lnTo>
                  <a:lnTo>
                    <a:pt x="184" y="582"/>
                  </a:lnTo>
                  <a:lnTo>
                    <a:pt x="193" y="584"/>
                  </a:lnTo>
                  <a:lnTo>
                    <a:pt x="197" y="584"/>
                  </a:lnTo>
                  <a:lnTo>
                    <a:pt x="201" y="587"/>
                  </a:lnTo>
                  <a:lnTo>
                    <a:pt x="211" y="589"/>
                  </a:lnTo>
                  <a:lnTo>
                    <a:pt x="214" y="586"/>
                  </a:lnTo>
                  <a:lnTo>
                    <a:pt x="214" y="580"/>
                  </a:lnTo>
                  <a:lnTo>
                    <a:pt x="213" y="574"/>
                  </a:lnTo>
                  <a:lnTo>
                    <a:pt x="209" y="568"/>
                  </a:lnTo>
                  <a:lnTo>
                    <a:pt x="213" y="562"/>
                  </a:lnTo>
                  <a:lnTo>
                    <a:pt x="216" y="561"/>
                  </a:lnTo>
                  <a:lnTo>
                    <a:pt x="222" y="562"/>
                  </a:lnTo>
                  <a:lnTo>
                    <a:pt x="234" y="564"/>
                  </a:lnTo>
                  <a:lnTo>
                    <a:pt x="241" y="568"/>
                  </a:lnTo>
                  <a:lnTo>
                    <a:pt x="249" y="566"/>
                  </a:lnTo>
                  <a:lnTo>
                    <a:pt x="251" y="561"/>
                  </a:lnTo>
                  <a:lnTo>
                    <a:pt x="259" y="559"/>
                  </a:lnTo>
                  <a:lnTo>
                    <a:pt x="264" y="557"/>
                  </a:lnTo>
                  <a:lnTo>
                    <a:pt x="270" y="553"/>
                  </a:lnTo>
                  <a:lnTo>
                    <a:pt x="272" y="545"/>
                  </a:lnTo>
                  <a:lnTo>
                    <a:pt x="274" y="539"/>
                  </a:lnTo>
                  <a:lnTo>
                    <a:pt x="280" y="538"/>
                  </a:lnTo>
                  <a:lnTo>
                    <a:pt x="285" y="541"/>
                  </a:lnTo>
                  <a:lnTo>
                    <a:pt x="289" y="545"/>
                  </a:lnTo>
                  <a:lnTo>
                    <a:pt x="293" y="543"/>
                  </a:lnTo>
                  <a:lnTo>
                    <a:pt x="297" y="541"/>
                  </a:lnTo>
                  <a:lnTo>
                    <a:pt x="301" y="543"/>
                  </a:lnTo>
                  <a:lnTo>
                    <a:pt x="303" y="532"/>
                  </a:lnTo>
                  <a:lnTo>
                    <a:pt x="297" y="524"/>
                  </a:lnTo>
                  <a:lnTo>
                    <a:pt x="295" y="513"/>
                  </a:lnTo>
                  <a:lnTo>
                    <a:pt x="303" y="503"/>
                  </a:lnTo>
                  <a:lnTo>
                    <a:pt x="299" y="493"/>
                  </a:lnTo>
                  <a:lnTo>
                    <a:pt x="297" y="484"/>
                  </a:lnTo>
                  <a:lnTo>
                    <a:pt x="303" y="480"/>
                  </a:lnTo>
                  <a:lnTo>
                    <a:pt x="303" y="474"/>
                  </a:lnTo>
                  <a:lnTo>
                    <a:pt x="305" y="467"/>
                  </a:lnTo>
                  <a:lnTo>
                    <a:pt x="305" y="461"/>
                  </a:lnTo>
                  <a:lnTo>
                    <a:pt x="297" y="459"/>
                  </a:lnTo>
                  <a:lnTo>
                    <a:pt x="293" y="453"/>
                  </a:lnTo>
                  <a:lnTo>
                    <a:pt x="293" y="447"/>
                  </a:lnTo>
                  <a:lnTo>
                    <a:pt x="289" y="442"/>
                  </a:lnTo>
                  <a:lnTo>
                    <a:pt x="291" y="432"/>
                  </a:lnTo>
                  <a:lnTo>
                    <a:pt x="293" y="426"/>
                  </a:lnTo>
                  <a:lnTo>
                    <a:pt x="291" y="421"/>
                  </a:lnTo>
                  <a:lnTo>
                    <a:pt x="297" y="417"/>
                  </a:lnTo>
                  <a:lnTo>
                    <a:pt x="299" y="411"/>
                  </a:lnTo>
                  <a:lnTo>
                    <a:pt x="305" y="407"/>
                  </a:lnTo>
                  <a:lnTo>
                    <a:pt x="307" y="403"/>
                  </a:lnTo>
                  <a:lnTo>
                    <a:pt x="308" y="399"/>
                  </a:lnTo>
                  <a:lnTo>
                    <a:pt x="316" y="398"/>
                  </a:lnTo>
                  <a:lnTo>
                    <a:pt x="320" y="399"/>
                  </a:lnTo>
                  <a:lnTo>
                    <a:pt x="330" y="392"/>
                  </a:lnTo>
                  <a:lnTo>
                    <a:pt x="337" y="388"/>
                  </a:lnTo>
                  <a:lnTo>
                    <a:pt x="341" y="386"/>
                  </a:lnTo>
                  <a:lnTo>
                    <a:pt x="347" y="382"/>
                  </a:lnTo>
                  <a:lnTo>
                    <a:pt x="341" y="380"/>
                  </a:lnTo>
                  <a:lnTo>
                    <a:pt x="333" y="382"/>
                  </a:lnTo>
                  <a:lnTo>
                    <a:pt x="326" y="384"/>
                  </a:lnTo>
                  <a:lnTo>
                    <a:pt x="318" y="380"/>
                  </a:lnTo>
                  <a:lnTo>
                    <a:pt x="312" y="380"/>
                  </a:lnTo>
                  <a:lnTo>
                    <a:pt x="301" y="373"/>
                  </a:lnTo>
                  <a:lnTo>
                    <a:pt x="299" y="365"/>
                  </a:lnTo>
                  <a:lnTo>
                    <a:pt x="291" y="357"/>
                  </a:lnTo>
                  <a:lnTo>
                    <a:pt x="287" y="346"/>
                  </a:lnTo>
                  <a:lnTo>
                    <a:pt x="285" y="336"/>
                  </a:lnTo>
                  <a:lnTo>
                    <a:pt x="284" y="325"/>
                  </a:lnTo>
                  <a:lnTo>
                    <a:pt x="280" y="315"/>
                  </a:lnTo>
                  <a:lnTo>
                    <a:pt x="278" y="305"/>
                  </a:lnTo>
                  <a:lnTo>
                    <a:pt x="274" y="292"/>
                  </a:lnTo>
                  <a:lnTo>
                    <a:pt x="272" y="284"/>
                  </a:lnTo>
                  <a:lnTo>
                    <a:pt x="268" y="277"/>
                  </a:lnTo>
                  <a:lnTo>
                    <a:pt x="260" y="271"/>
                  </a:lnTo>
                  <a:lnTo>
                    <a:pt x="253" y="263"/>
                  </a:lnTo>
                  <a:lnTo>
                    <a:pt x="253" y="254"/>
                  </a:lnTo>
                  <a:lnTo>
                    <a:pt x="251" y="248"/>
                  </a:lnTo>
                  <a:lnTo>
                    <a:pt x="243" y="240"/>
                  </a:lnTo>
                  <a:lnTo>
                    <a:pt x="241" y="234"/>
                  </a:lnTo>
                  <a:lnTo>
                    <a:pt x="249" y="229"/>
                  </a:lnTo>
                  <a:lnTo>
                    <a:pt x="243" y="225"/>
                  </a:lnTo>
                  <a:lnTo>
                    <a:pt x="241" y="219"/>
                  </a:lnTo>
                  <a:lnTo>
                    <a:pt x="249" y="219"/>
                  </a:lnTo>
                  <a:lnTo>
                    <a:pt x="253" y="211"/>
                  </a:lnTo>
                  <a:lnTo>
                    <a:pt x="251" y="204"/>
                  </a:lnTo>
                  <a:lnTo>
                    <a:pt x="249" y="198"/>
                  </a:lnTo>
                  <a:lnTo>
                    <a:pt x="243" y="190"/>
                  </a:lnTo>
                  <a:lnTo>
                    <a:pt x="249" y="186"/>
                  </a:lnTo>
                  <a:lnTo>
                    <a:pt x="251" y="181"/>
                  </a:lnTo>
                  <a:lnTo>
                    <a:pt x="249" y="175"/>
                  </a:lnTo>
                  <a:lnTo>
                    <a:pt x="239" y="169"/>
                  </a:lnTo>
                  <a:lnTo>
                    <a:pt x="232" y="165"/>
                  </a:lnTo>
                  <a:lnTo>
                    <a:pt x="222" y="160"/>
                  </a:lnTo>
                  <a:lnTo>
                    <a:pt x="222" y="152"/>
                  </a:lnTo>
                  <a:lnTo>
                    <a:pt x="218" y="148"/>
                  </a:lnTo>
                  <a:lnTo>
                    <a:pt x="211" y="144"/>
                  </a:lnTo>
                  <a:lnTo>
                    <a:pt x="209" y="135"/>
                  </a:lnTo>
                  <a:lnTo>
                    <a:pt x="218" y="129"/>
                  </a:lnTo>
                  <a:lnTo>
                    <a:pt x="224" y="121"/>
                  </a:lnTo>
                  <a:lnTo>
                    <a:pt x="228" y="110"/>
                  </a:lnTo>
                  <a:lnTo>
                    <a:pt x="228" y="102"/>
                  </a:lnTo>
                  <a:lnTo>
                    <a:pt x="230" y="92"/>
                  </a:lnTo>
                  <a:lnTo>
                    <a:pt x="232" y="85"/>
                  </a:lnTo>
                  <a:lnTo>
                    <a:pt x="236" y="75"/>
                  </a:lnTo>
                  <a:lnTo>
                    <a:pt x="237" y="68"/>
                  </a:lnTo>
                  <a:lnTo>
                    <a:pt x="236" y="60"/>
                  </a:lnTo>
                  <a:lnTo>
                    <a:pt x="232" y="54"/>
                  </a:lnTo>
                  <a:lnTo>
                    <a:pt x="232" y="45"/>
                  </a:lnTo>
                  <a:lnTo>
                    <a:pt x="230" y="35"/>
                  </a:lnTo>
                  <a:lnTo>
                    <a:pt x="228" y="23"/>
                  </a:lnTo>
                  <a:lnTo>
                    <a:pt x="222" y="16"/>
                  </a:lnTo>
                  <a:lnTo>
                    <a:pt x="213" y="12"/>
                  </a:lnTo>
                  <a:lnTo>
                    <a:pt x="203" y="8"/>
                  </a:lnTo>
                  <a:lnTo>
                    <a:pt x="197" y="2"/>
                  </a:lnTo>
                  <a:lnTo>
                    <a:pt x="186" y="2"/>
                  </a:lnTo>
                  <a:lnTo>
                    <a:pt x="176" y="0"/>
                  </a:lnTo>
                  <a:lnTo>
                    <a:pt x="163" y="0"/>
                  </a:lnTo>
                  <a:lnTo>
                    <a:pt x="151" y="2"/>
                  </a:lnTo>
                  <a:lnTo>
                    <a:pt x="142" y="10"/>
                  </a:lnTo>
                  <a:lnTo>
                    <a:pt x="149" y="14"/>
                  </a:lnTo>
                  <a:lnTo>
                    <a:pt x="155" y="20"/>
                  </a:lnTo>
                  <a:lnTo>
                    <a:pt x="161" y="31"/>
                  </a:lnTo>
                  <a:lnTo>
                    <a:pt x="161" y="43"/>
                  </a:lnTo>
                  <a:lnTo>
                    <a:pt x="155" y="48"/>
                  </a:lnTo>
                  <a:lnTo>
                    <a:pt x="159" y="54"/>
                  </a:lnTo>
                  <a:lnTo>
                    <a:pt x="159" y="60"/>
                  </a:lnTo>
                  <a:lnTo>
                    <a:pt x="155" y="68"/>
                  </a:lnTo>
                  <a:lnTo>
                    <a:pt x="157" y="73"/>
                  </a:lnTo>
                  <a:lnTo>
                    <a:pt x="159" y="79"/>
                  </a:lnTo>
                  <a:lnTo>
                    <a:pt x="153" y="89"/>
                  </a:lnTo>
                  <a:lnTo>
                    <a:pt x="147" y="89"/>
                  </a:lnTo>
                  <a:lnTo>
                    <a:pt x="142" y="92"/>
                  </a:lnTo>
                  <a:lnTo>
                    <a:pt x="140" y="96"/>
                  </a:lnTo>
                  <a:lnTo>
                    <a:pt x="134" y="106"/>
                  </a:lnTo>
                  <a:lnTo>
                    <a:pt x="126" y="106"/>
                  </a:lnTo>
                  <a:lnTo>
                    <a:pt x="124" y="115"/>
                  </a:lnTo>
                  <a:lnTo>
                    <a:pt x="120" y="119"/>
                  </a:lnTo>
                  <a:lnTo>
                    <a:pt x="115" y="125"/>
                  </a:lnTo>
                  <a:lnTo>
                    <a:pt x="111" y="127"/>
                  </a:lnTo>
                  <a:lnTo>
                    <a:pt x="109" y="133"/>
                  </a:lnTo>
                  <a:lnTo>
                    <a:pt x="107" y="139"/>
                  </a:lnTo>
                  <a:lnTo>
                    <a:pt x="99" y="152"/>
                  </a:lnTo>
                  <a:lnTo>
                    <a:pt x="95" y="160"/>
                  </a:lnTo>
                  <a:lnTo>
                    <a:pt x="95" y="169"/>
                  </a:lnTo>
                  <a:lnTo>
                    <a:pt x="95" y="177"/>
                  </a:lnTo>
                  <a:lnTo>
                    <a:pt x="103" y="192"/>
                  </a:lnTo>
                  <a:lnTo>
                    <a:pt x="99" y="202"/>
                  </a:lnTo>
                  <a:lnTo>
                    <a:pt x="92" y="215"/>
                  </a:lnTo>
                  <a:lnTo>
                    <a:pt x="86" y="227"/>
                  </a:lnTo>
                  <a:lnTo>
                    <a:pt x="80" y="242"/>
                  </a:lnTo>
                  <a:lnTo>
                    <a:pt x="74" y="250"/>
                  </a:lnTo>
                  <a:lnTo>
                    <a:pt x="71" y="259"/>
                  </a:lnTo>
                  <a:lnTo>
                    <a:pt x="61" y="271"/>
                  </a:lnTo>
                  <a:lnTo>
                    <a:pt x="53" y="280"/>
                  </a:lnTo>
                  <a:lnTo>
                    <a:pt x="49" y="288"/>
                  </a:lnTo>
                  <a:lnTo>
                    <a:pt x="47" y="298"/>
                  </a:lnTo>
                  <a:lnTo>
                    <a:pt x="42" y="309"/>
                  </a:lnTo>
                  <a:lnTo>
                    <a:pt x="36" y="317"/>
                  </a:lnTo>
                  <a:lnTo>
                    <a:pt x="28" y="330"/>
                  </a:lnTo>
                  <a:lnTo>
                    <a:pt x="26" y="338"/>
                  </a:lnTo>
                  <a:lnTo>
                    <a:pt x="24" y="344"/>
                  </a:lnTo>
                  <a:lnTo>
                    <a:pt x="21" y="353"/>
                  </a:lnTo>
                  <a:lnTo>
                    <a:pt x="15" y="361"/>
                  </a:lnTo>
                  <a:lnTo>
                    <a:pt x="9" y="371"/>
                  </a:lnTo>
                  <a:lnTo>
                    <a:pt x="7" y="382"/>
                  </a:lnTo>
                  <a:lnTo>
                    <a:pt x="3" y="392"/>
                  </a:lnTo>
                  <a:lnTo>
                    <a:pt x="5" y="403"/>
                  </a:lnTo>
                  <a:lnTo>
                    <a:pt x="0" y="411"/>
                  </a:lnTo>
                  <a:lnTo>
                    <a:pt x="1" y="422"/>
                  </a:lnTo>
                  <a:lnTo>
                    <a:pt x="7" y="428"/>
                  </a:lnTo>
                  <a:lnTo>
                    <a:pt x="7" y="436"/>
                  </a:lnTo>
                  <a:lnTo>
                    <a:pt x="3" y="444"/>
                  </a:lnTo>
                  <a:lnTo>
                    <a:pt x="1" y="451"/>
                  </a:lnTo>
                  <a:lnTo>
                    <a:pt x="0" y="461"/>
                  </a:lnTo>
                  <a:lnTo>
                    <a:pt x="3" y="470"/>
                  </a:lnTo>
                  <a:lnTo>
                    <a:pt x="3" y="482"/>
                  </a:lnTo>
                  <a:lnTo>
                    <a:pt x="1" y="493"/>
                  </a:lnTo>
                  <a:lnTo>
                    <a:pt x="3" y="507"/>
                  </a:lnTo>
                  <a:lnTo>
                    <a:pt x="1" y="516"/>
                  </a:lnTo>
                  <a:lnTo>
                    <a:pt x="0" y="528"/>
                  </a:lnTo>
                  <a:lnTo>
                    <a:pt x="0" y="53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/>
            </a:p>
          </p:txBody>
        </p:sp>
        <p:sp>
          <p:nvSpPr>
            <p:cNvPr id="127" name="Freeform 12"/>
            <p:cNvSpPr>
              <a:spLocks/>
            </p:cNvSpPr>
            <p:nvPr/>
          </p:nvSpPr>
          <p:spPr bwMode="auto">
            <a:xfrm>
              <a:off x="4405204" y="2210724"/>
              <a:ext cx="954685" cy="819223"/>
            </a:xfrm>
            <a:custGeom>
              <a:avLst/>
              <a:gdLst>
                <a:gd name="T0" fmla="*/ 432 w 490"/>
                <a:gd name="T1" fmla="*/ 411 h 420"/>
                <a:gd name="T2" fmla="*/ 445 w 490"/>
                <a:gd name="T3" fmla="*/ 393 h 420"/>
                <a:gd name="T4" fmla="*/ 453 w 490"/>
                <a:gd name="T5" fmla="*/ 376 h 420"/>
                <a:gd name="T6" fmla="*/ 468 w 490"/>
                <a:gd name="T7" fmla="*/ 363 h 420"/>
                <a:gd name="T8" fmla="*/ 484 w 490"/>
                <a:gd name="T9" fmla="*/ 341 h 420"/>
                <a:gd name="T10" fmla="*/ 490 w 490"/>
                <a:gd name="T11" fmla="*/ 320 h 420"/>
                <a:gd name="T12" fmla="*/ 488 w 490"/>
                <a:gd name="T13" fmla="*/ 295 h 420"/>
                <a:gd name="T14" fmla="*/ 486 w 490"/>
                <a:gd name="T15" fmla="*/ 276 h 420"/>
                <a:gd name="T16" fmla="*/ 480 w 490"/>
                <a:gd name="T17" fmla="*/ 246 h 420"/>
                <a:gd name="T18" fmla="*/ 451 w 490"/>
                <a:gd name="T19" fmla="*/ 234 h 420"/>
                <a:gd name="T20" fmla="*/ 432 w 490"/>
                <a:gd name="T21" fmla="*/ 223 h 420"/>
                <a:gd name="T22" fmla="*/ 411 w 490"/>
                <a:gd name="T23" fmla="*/ 213 h 420"/>
                <a:gd name="T24" fmla="*/ 395 w 490"/>
                <a:gd name="T25" fmla="*/ 192 h 420"/>
                <a:gd name="T26" fmla="*/ 390 w 490"/>
                <a:gd name="T27" fmla="*/ 163 h 420"/>
                <a:gd name="T28" fmla="*/ 382 w 490"/>
                <a:gd name="T29" fmla="*/ 138 h 420"/>
                <a:gd name="T30" fmla="*/ 382 w 490"/>
                <a:gd name="T31" fmla="*/ 100 h 420"/>
                <a:gd name="T32" fmla="*/ 380 w 490"/>
                <a:gd name="T33" fmla="*/ 67 h 420"/>
                <a:gd name="T34" fmla="*/ 359 w 490"/>
                <a:gd name="T35" fmla="*/ 50 h 420"/>
                <a:gd name="T36" fmla="*/ 330 w 490"/>
                <a:gd name="T37" fmla="*/ 40 h 420"/>
                <a:gd name="T38" fmla="*/ 311 w 490"/>
                <a:gd name="T39" fmla="*/ 25 h 420"/>
                <a:gd name="T40" fmla="*/ 292 w 490"/>
                <a:gd name="T41" fmla="*/ 8 h 420"/>
                <a:gd name="T42" fmla="*/ 267 w 490"/>
                <a:gd name="T43" fmla="*/ 6 h 420"/>
                <a:gd name="T44" fmla="*/ 234 w 490"/>
                <a:gd name="T45" fmla="*/ 2 h 420"/>
                <a:gd name="T46" fmla="*/ 207 w 490"/>
                <a:gd name="T47" fmla="*/ 8 h 420"/>
                <a:gd name="T48" fmla="*/ 192 w 490"/>
                <a:gd name="T49" fmla="*/ 33 h 420"/>
                <a:gd name="T50" fmla="*/ 171 w 490"/>
                <a:gd name="T51" fmla="*/ 56 h 420"/>
                <a:gd name="T52" fmla="*/ 152 w 490"/>
                <a:gd name="T53" fmla="*/ 73 h 420"/>
                <a:gd name="T54" fmla="*/ 129 w 490"/>
                <a:gd name="T55" fmla="*/ 86 h 420"/>
                <a:gd name="T56" fmla="*/ 106 w 490"/>
                <a:gd name="T57" fmla="*/ 96 h 420"/>
                <a:gd name="T58" fmla="*/ 87 w 490"/>
                <a:gd name="T59" fmla="*/ 104 h 420"/>
                <a:gd name="T60" fmla="*/ 62 w 490"/>
                <a:gd name="T61" fmla="*/ 109 h 420"/>
                <a:gd name="T62" fmla="*/ 31 w 490"/>
                <a:gd name="T63" fmla="*/ 115 h 420"/>
                <a:gd name="T64" fmla="*/ 8 w 490"/>
                <a:gd name="T65" fmla="*/ 130 h 420"/>
                <a:gd name="T66" fmla="*/ 14 w 490"/>
                <a:gd name="T67" fmla="*/ 144 h 420"/>
                <a:gd name="T68" fmla="*/ 33 w 490"/>
                <a:gd name="T69" fmla="*/ 140 h 420"/>
                <a:gd name="T70" fmla="*/ 58 w 490"/>
                <a:gd name="T71" fmla="*/ 138 h 420"/>
                <a:gd name="T72" fmla="*/ 75 w 490"/>
                <a:gd name="T73" fmla="*/ 150 h 420"/>
                <a:gd name="T74" fmla="*/ 90 w 490"/>
                <a:gd name="T75" fmla="*/ 152 h 420"/>
                <a:gd name="T76" fmla="*/ 100 w 490"/>
                <a:gd name="T77" fmla="*/ 175 h 420"/>
                <a:gd name="T78" fmla="*/ 100 w 490"/>
                <a:gd name="T79" fmla="*/ 196 h 420"/>
                <a:gd name="T80" fmla="*/ 96 w 490"/>
                <a:gd name="T81" fmla="*/ 215 h 420"/>
                <a:gd name="T82" fmla="*/ 104 w 490"/>
                <a:gd name="T83" fmla="*/ 234 h 420"/>
                <a:gd name="T84" fmla="*/ 98 w 490"/>
                <a:gd name="T85" fmla="*/ 251 h 420"/>
                <a:gd name="T86" fmla="*/ 104 w 490"/>
                <a:gd name="T87" fmla="*/ 276 h 420"/>
                <a:gd name="T88" fmla="*/ 108 w 490"/>
                <a:gd name="T89" fmla="*/ 297 h 420"/>
                <a:gd name="T90" fmla="*/ 119 w 490"/>
                <a:gd name="T91" fmla="*/ 313 h 420"/>
                <a:gd name="T92" fmla="*/ 142 w 490"/>
                <a:gd name="T93" fmla="*/ 324 h 420"/>
                <a:gd name="T94" fmla="*/ 159 w 490"/>
                <a:gd name="T95" fmla="*/ 336 h 420"/>
                <a:gd name="T96" fmla="*/ 181 w 490"/>
                <a:gd name="T97" fmla="*/ 349 h 420"/>
                <a:gd name="T98" fmla="*/ 202 w 490"/>
                <a:gd name="T99" fmla="*/ 353 h 420"/>
                <a:gd name="T100" fmla="*/ 219 w 490"/>
                <a:gd name="T101" fmla="*/ 349 h 420"/>
                <a:gd name="T102" fmla="*/ 238 w 490"/>
                <a:gd name="T103" fmla="*/ 359 h 420"/>
                <a:gd name="T104" fmla="*/ 259 w 490"/>
                <a:gd name="T105" fmla="*/ 363 h 420"/>
                <a:gd name="T106" fmla="*/ 275 w 490"/>
                <a:gd name="T107" fmla="*/ 380 h 420"/>
                <a:gd name="T108" fmla="*/ 301 w 490"/>
                <a:gd name="T109" fmla="*/ 382 h 420"/>
                <a:gd name="T110" fmla="*/ 324 w 490"/>
                <a:gd name="T111" fmla="*/ 389 h 420"/>
                <a:gd name="T112" fmla="*/ 340 w 490"/>
                <a:gd name="T113" fmla="*/ 403 h 420"/>
                <a:gd name="T114" fmla="*/ 351 w 490"/>
                <a:gd name="T115" fmla="*/ 411 h 420"/>
                <a:gd name="T116" fmla="*/ 365 w 490"/>
                <a:gd name="T117" fmla="*/ 414 h 420"/>
                <a:gd name="T118" fmla="*/ 384 w 490"/>
                <a:gd name="T119" fmla="*/ 411 h 420"/>
                <a:gd name="T120" fmla="*/ 403 w 490"/>
                <a:gd name="T121" fmla="*/ 414 h 420"/>
                <a:gd name="T122" fmla="*/ 419 w 490"/>
                <a:gd name="T123" fmla="*/ 414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90" h="420">
                  <a:moveTo>
                    <a:pt x="426" y="420"/>
                  </a:moveTo>
                  <a:lnTo>
                    <a:pt x="428" y="412"/>
                  </a:lnTo>
                  <a:lnTo>
                    <a:pt x="432" y="411"/>
                  </a:lnTo>
                  <a:lnTo>
                    <a:pt x="438" y="403"/>
                  </a:lnTo>
                  <a:lnTo>
                    <a:pt x="443" y="399"/>
                  </a:lnTo>
                  <a:lnTo>
                    <a:pt x="445" y="393"/>
                  </a:lnTo>
                  <a:lnTo>
                    <a:pt x="445" y="388"/>
                  </a:lnTo>
                  <a:lnTo>
                    <a:pt x="449" y="384"/>
                  </a:lnTo>
                  <a:lnTo>
                    <a:pt x="453" y="376"/>
                  </a:lnTo>
                  <a:lnTo>
                    <a:pt x="455" y="370"/>
                  </a:lnTo>
                  <a:lnTo>
                    <a:pt x="461" y="366"/>
                  </a:lnTo>
                  <a:lnTo>
                    <a:pt x="468" y="363"/>
                  </a:lnTo>
                  <a:lnTo>
                    <a:pt x="476" y="357"/>
                  </a:lnTo>
                  <a:lnTo>
                    <a:pt x="480" y="349"/>
                  </a:lnTo>
                  <a:lnTo>
                    <a:pt x="484" y="341"/>
                  </a:lnTo>
                  <a:lnTo>
                    <a:pt x="484" y="334"/>
                  </a:lnTo>
                  <a:lnTo>
                    <a:pt x="486" y="328"/>
                  </a:lnTo>
                  <a:lnTo>
                    <a:pt x="490" y="320"/>
                  </a:lnTo>
                  <a:lnTo>
                    <a:pt x="490" y="313"/>
                  </a:lnTo>
                  <a:lnTo>
                    <a:pt x="488" y="305"/>
                  </a:lnTo>
                  <a:lnTo>
                    <a:pt x="488" y="295"/>
                  </a:lnTo>
                  <a:lnTo>
                    <a:pt x="488" y="292"/>
                  </a:lnTo>
                  <a:lnTo>
                    <a:pt x="488" y="286"/>
                  </a:lnTo>
                  <a:lnTo>
                    <a:pt x="486" y="276"/>
                  </a:lnTo>
                  <a:lnTo>
                    <a:pt x="482" y="269"/>
                  </a:lnTo>
                  <a:lnTo>
                    <a:pt x="482" y="257"/>
                  </a:lnTo>
                  <a:lnTo>
                    <a:pt x="480" y="246"/>
                  </a:lnTo>
                  <a:lnTo>
                    <a:pt x="472" y="240"/>
                  </a:lnTo>
                  <a:lnTo>
                    <a:pt x="459" y="236"/>
                  </a:lnTo>
                  <a:lnTo>
                    <a:pt x="451" y="234"/>
                  </a:lnTo>
                  <a:lnTo>
                    <a:pt x="445" y="232"/>
                  </a:lnTo>
                  <a:lnTo>
                    <a:pt x="438" y="224"/>
                  </a:lnTo>
                  <a:lnTo>
                    <a:pt x="432" y="223"/>
                  </a:lnTo>
                  <a:lnTo>
                    <a:pt x="424" y="223"/>
                  </a:lnTo>
                  <a:lnTo>
                    <a:pt x="415" y="219"/>
                  </a:lnTo>
                  <a:lnTo>
                    <a:pt x="411" y="213"/>
                  </a:lnTo>
                  <a:lnTo>
                    <a:pt x="405" y="203"/>
                  </a:lnTo>
                  <a:lnTo>
                    <a:pt x="403" y="198"/>
                  </a:lnTo>
                  <a:lnTo>
                    <a:pt x="395" y="192"/>
                  </a:lnTo>
                  <a:lnTo>
                    <a:pt x="392" y="182"/>
                  </a:lnTo>
                  <a:lnTo>
                    <a:pt x="392" y="173"/>
                  </a:lnTo>
                  <a:lnTo>
                    <a:pt x="390" y="163"/>
                  </a:lnTo>
                  <a:lnTo>
                    <a:pt x="388" y="155"/>
                  </a:lnTo>
                  <a:lnTo>
                    <a:pt x="386" y="148"/>
                  </a:lnTo>
                  <a:lnTo>
                    <a:pt x="382" y="138"/>
                  </a:lnTo>
                  <a:lnTo>
                    <a:pt x="382" y="125"/>
                  </a:lnTo>
                  <a:lnTo>
                    <a:pt x="382" y="111"/>
                  </a:lnTo>
                  <a:lnTo>
                    <a:pt x="382" y="100"/>
                  </a:lnTo>
                  <a:lnTo>
                    <a:pt x="382" y="92"/>
                  </a:lnTo>
                  <a:lnTo>
                    <a:pt x="382" y="81"/>
                  </a:lnTo>
                  <a:lnTo>
                    <a:pt x="380" y="67"/>
                  </a:lnTo>
                  <a:lnTo>
                    <a:pt x="376" y="58"/>
                  </a:lnTo>
                  <a:lnTo>
                    <a:pt x="369" y="50"/>
                  </a:lnTo>
                  <a:lnTo>
                    <a:pt x="359" y="50"/>
                  </a:lnTo>
                  <a:lnTo>
                    <a:pt x="353" y="48"/>
                  </a:lnTo>
                  <a:lnTo>
                    <a:pt x="342" y="46"/>
                  </a:lnTo>
                  <a:lnTo>
                    <a:pt x="330" y="40"/>
                  </a:lnTo>
                  <a:lnTo>
                    <a:pt x="324" y="35"/>
                  </a:lnTo>
                  <a:lnTo>
                    <a:pt x="319" y="29"/>
                  </a:lnTo>
                  <a:lnTo>
                    <a:pt x="311" y="25"/>
                  </a:lnTo>
                  <a:lnTo>
                    <a:pt x="303" y="23"/>
                  </a:lnTo>
                  <a:lnTo>
                    <a:pt x="300" y="17"/>
                  </a:lnTo>
                  <a:lnTo>
                    <a:pt x="292" y="8"/>
                  </a:lnTo>
                  <a:lnTo>
                    <a:pt x="282" y="4"/>
                  </a:lnTo>
                  <a:lnTo>
                    <a:pt x="275" y="4"/>
                  </a:lnTo>
                  <a:lnTo>
                    <a:pt x="267" y="6"/>
                  </a:lnTo>
                  <a:lnTo>
                    <a:pt x="255" y="4"/>
                  </a:lnTo>
                  <a:lnTo>
                    <a:pt x="244" y="0"/>
                  </a:lnTo>
                  <a:lnTo>
                    <a:pt x="234" y="2"/>
                  </a:lnTo>
                  <a:lnTo>
                    <a:pt x="223" y="0"/>
                  </a:lnTo>
                  <a:lnTo>
                    <a:pt x="215" y="2"/>
                  </a:lnTo>
                  <a:lnTo>
                    <a:pt x="207" y="8"/>
                  </a:lnTo>
                  <a:lnTo>
                    <a:pt x="200" y="13"/>
                  </a:lnTo>
                  <a:lnTo>
                    <a:pt x="196" y="19"/>
                  </a:lnTo>
                  <a:lnTo>
                    <a:pt x="192" y="33"/>
                  </a:lnTo>
                  <a:lnTo>
                    <a:pt x="186" y="38"/>
                  </a:lnTo>
                  <a:lnTo>
                    <a:pt x="175" y="46"/>
                  </a:lnTo>
                  <a:lnTo>
                    <a:pt x="171" y="56"/>
                  </a:lnTo>
                  <a:lnTo>
                    <a:pt x="167" y="63"/>
                  </a:lnTo>
                  <a:lnTo>
                    <a:pt x="161" y="69"/>
                  </a:lnTo>
                  <a:lnTo>
                    <a:pt x="152" y="73"/>
                  </a:lnTo>
                  <a:lnTo>
                    <a:pt x="142" y="79"/>
                  </a:lnTo>
                  <a:lnTo>
                    <a:pt x="133" y="81"/>
                  </a:lnTo>
                  <a:lnTo>
                    <a:pt x="129" y="86"/>
                  </a:lnTo>
                  <a:lnTo>
                    <a:pt x="121" y="90"/>
                  </a:lnTo>
                  <a:lnTo>
                    <a:pt x="115" y="94"/>
                  </a:lnTo>
                  <a:lnTo>
                    <a:pt x="106" y="96"/>
                  </a:lnTo>
                  <a:lnTo>
                    <a:pt x="104" y="100"/>
                  </a:lnTo>
                  <a:lnTo>
                    <a:pt x="96" y="102"/>
                  </a:lnTo>
                  <a:lnTo>
                    <a:pt x="87" y="104"/>
                  </a:lnTo>
                  <a:lnTo>
                    <a:pt x="79" y="107"/>
                  </a:lnTo>
                  <a:lnTo>
                    <a:pt x="71" y="107"/>
                  </a:lnTo>
                  <a:lnTo>
                    <a:pt x="62" y="109"/>
                  </a:lnTo>
                  <a:lnTo>
                    <a:pt x="48" y="109"/>
                  </a:lnTo>
                  <a:lnTo>
                    <a:pt x="40" y="111"/>
                  </a:lnTo>
                  <a:lnTo>
                    <a:pt x="31" y="115"/>
                  </a:lnTo>
                  <a:lnTo>
                    <a:pt x="21" y="121"/>
                  </a:lnTo>
                  <a:lnTo>
                    <a:pt x="14" y="129"/>
                  </a:lnTo>
                  <a:lnTo>
                    <a:pt x="8" y="130"/>
                  </a:lnTo>
                  <a:lnTo>
                    <a:pt x="0" y="134"/>
                  </a:lnTo>
                  <a:lnTo>
                    <a:pt x="6" y="140"/>
                  </a:lnTo>
                  <a:lnTo>
                    <a:pt x="14" y="144"/>
                  </a:lnTo>
                  <a:lnTo>
                    <a:pt x="21" y="146"/>
                  </a:lnTo>
                  <a:lnTo>
                    <a:pt x="25" y="144"/>
                  </a:lnTo>
                  <a:lnTo>
                    <a:pt x="33" y="140"/>
                  </a:lnTo>
                  <a:lnTo>
                    <a:pt x="42" y="138"/>
                  </a:lnTo>
                  <a:lnTo>
                    <a:pt x="52" y="134"/>
                  </a:lnTo>
                  <a:lnTo>
                    <a:pt x="58" y="138"/>
                  </a:lnTo>
                  <a:lnTo>
                    <a:pt x="64" y="144"/>
                  </a:lnTo>
                  <a:lnTo>
                    <a:pt x="65" y="152"/>
                  </a:lnTo>
                  <a:lnTo>
                    <a:pt x="75" y="150"/>
                  </a:lnTo>
                  <a:lnTo>
                    <a:pt x="79" y="146"/>
                  </a:lnTo>
                  <a:lnTo>
                    <a:pt x="87" y="146"/>
                  </a:lnTo>
                  <a:lnTo>
                    <a:pt x="90" y="152"/>
                  </a:lnTo>
                  <a:lnTo>
                    <a:pt x="94" y="159"/>
                  </a:lnTo>
                  <a:lnTo>
                    <a:pt x="98" y="167"/>
                  </a:lnTo>
                  <a:lnTo>
                    <a:pt x="100" y="175"/>
                  </a:lnTo>
                  <a:lnTo>
                    <a:pt x="100" y="180"/>
                  </a:lnTo>
                  <a:lnTo>
                    <a:pt x="100" y="188"/>
                  </a:lnTo>
                  <a:lnTo>
                    <a:pt x="100" y="196"/>
                  </a:lnTo>
                  <a:lnTo>
                    <a:pt x="96" y="201"/>
                  </a:lnTo>
                  <a:lnTo>
                    <a:pt x="96" y="209"/>
                  </a:lnTo>
                  <a:lnTo>
                    <a:pt x="96" y="215"/>
                  </a:lnTo>
                  <a:lnTo>
                    <a:pt x="100" y="221"/>
                  </a:lnTo>
                  <a:lnTo>
                    <a:pt x="106" y="228"/>
                  </a:lnTo>
                  <a:lnTo>
                    <a:pt x="104" y="234"/>
                  </a:lnTo>
                  <a:lnTo>
                    <a:pt x="102" y="242"/>
                  </a:lnTo>
                  <a:lnTo>
                    <a:pt x="100" y="246"/>
                  </a:lnTo>
                  <a:lnTo>
                    <a:pt x="98" y="251"/>
                  </a:lnTo>
                  <a:lnTo>
                    <a:pt x="100" y="261"/>
                  </a:lnTo>
                  <a:lnTo>
                    <a:pt x="102" y="269"/>
                  </a:lnTo>
                  <a:lnTo>
                    <a:pt x="104" y="276"/>
                  </a:lnTo>
                  <a:lnTo>
                    <a:pt x="102" y="282"/>
                  </a:lnTo>
                  <a:lnTo>
                    <a:pt x="102" y="290"/>
                  </a:lnTo>
                  <a:lnTo>
                    <a:pt x="108" y="297"/>
                  </a:lnTo>
                  <a:lnTo>
                    <a:pt x="115" y="303"/>
                  </a:lnTo>
                  <a:lnTo>
                    <a:pt x="121" y="309"/>
                  </a:lnTo>
                  <a:lnTo>
                    <a:pt x="119" y="313"/>
                  </a:lnTo>
                  <a:lnTo>
                    <a:pt x="129" y="317"/>
                  </a:lnTo>
                  <a:lnTo>
                    <a:pt x="136" y="318"/>
                  </a:lnTo>
                  <a:lnTo>
                    <a:pt x="142" y="324"/>
                  </a:lnTo>
                  <a:lnTo>
                    <a:pt x="146" y="330"/>
                  </a:lnTo>
                  <a:lnTo>
                    <a:pt x="154" y="334"/>
                  </a:lnTo>
                  <a:lnTo>
                    <a:pt x="159" y="336"/>
                  </a:lnTo>
                  <a:lnTo>
                    <a:pt x="163" y="341"/>
                  </a:lnTo>
                  <a:lnTo>
                    <a:pt x="169" y="347"/>
                  </a:lnTo>
                  <a:lnTo>
                    <a:pt x="181" y="349"/>
                  </a:lnTo>
                  <a:lnTo>
                    <a:pt x="186" y="347"/>
                  </a:lnTo>
                  <a:lnTo>
                    <a:pt x="192" y="351"/>
                  </a:lnTo>
                  <a:lnTo>
                    <a:pt x="202" y="353"/>
                  </a:lnTo>
                  <a:lnTo>
                    <a:pt x="209" y="351"/>
                  </a:lnTo>
                  <a:lnTo>
                    <a:pt x="215" y="347"/>
                  </a:lnTo>
                  <a:lnTo>
                    <a:pt x="219" y="349"/>
                  </a:lnTo>
                  <a:lnTo>
                    <a:pt x="225" y="353"/>
                  </a:lnTo>
                  <a:lnTo>
                    <a:pt x="230" y="359"/>
                  </a:lnTo>
                  <a:lnTo>
                    <a:pt x="238" y="359"/>
                  </a:lnTo>
                  <a:lnTo>
                    <a:pt x="248" y="355"/>
                  </a:lnTo>
                  <a:lnTo>
                    <a:pt x="255" y="359"/>
                  </a:lnTo>
                  <a:lnTo>
                    <a:pt x="259" y="363"/>
                  </a:lnTo>
                  <a:lnTo>
                    <a:pt x="265" y="368"/>
                  </a:lnTo>
                  <a:lnTo>
                    <a:pt x="269" y="376"/>
                  </a:lnTo>
                  <a:lnTo>
                    <a:pt x="275" y="380"/>
                  </a:lnTo>
                  <a:lnTo>
                    <a:pt x="282" y="380"/>
                  </a:lnTo>
                  <a:lnTo>
                    <a:pt x="290" y="378"/>
                  </a:lnTo>
                  <a:lnTo>
                    <a:pt x="301" y="382"/>
                  </a:lnTo>
                  <a:lnTo>
                    <a:pt x="309" y="386"/>
                  </a:lnTo>
                  <a:lnTo>
                    <a:pt x="317" y="389"/>
                  </a:lnTo>
                  <a:lnTo>
                    <a:pt x="324" y="389"/>
                  </a:lnTo>
                  <a:lnTo>
                    <a:pt x="330" y="393"/>
                  </a:lnTo>
                  <a:lnTo>
                    <a:pt x="338" y="397"/>
                  </a:lnTo>
                  <a:lnTo>
                    <a:pt x="340" y="403"/>
                  </a:lnTo>
                  <a:lnTo>
                    <a:pt x="344" y="407"/>
                  </a:lnTo>
                  <a:lnTo>
                    <a:pt x="348" y="411"/>
                  </a:lnTo>
                  <a:lnTo>
                    <a:pt x="351" y="411"/>
                  </a:lnTo>
                  <a:lnTo>
                    <a:pt x="355" y="409"/>
                  </a:lnTo>
                  <a:lnTo>
                    <a:pt x="359" y="411"/>
                  </a:lnTo>
                  <a:lnTo>
                    <a:pt x="365" y="414"/>
                  </a:lnTo>
                  <a:lnTo>
                    <a:pt x="372" y="416"/>
                  </a:lnTo>
                  <a:lnTo>
                    <a:pt x="378" y="416"/>
                  </a:lnTo>
                  <a:lnTo>
                    <a:pt x="384" y="411"/>
                  </a:lnTo>
                  <a:lnTo>
                    <a:pt x="392" y="411"/>
                  </a:lnTo>
                  <a:lnTo>
                    <a:pt x="397" y="414"/>
                  </a:lnTo>
                  <a:lnTo>
                    <a:pt x="403" y="414"/>
                  </a:lnTo>
                  <a:lnTo>
                    <a:pt x="409" y="412"/>
                  </a:lnTo>
                  <a:lnTo>
                    <a:pt x="415" y="412"/>
                  </a:lnTo>
                  <a:lnTo>
                    <a:pt x="419" y="414"/>
                  </a:lnTo>
                  <a:lnTo>
                    <a:pt x="426" y="42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/>
            </a:p>
          </p:txBody>
        </p:sp>
        <p:sp>
          <p:nvSpPr>
            <p:cNvPr id="128" name="Freeform 13"/>
            <p:cNvSpPr>
              <a:spLocks/>
            </p:cNvSpPr>
            <p:nvPr/>
          </p:nvSpPr>
          <p:spPr bwMode="auto">
            <a:xfrm>
              <a:off x="3418267" y="2144069"/>
              <a:ext cx="1025641" cy="520346"/>
            </a:xfrm>
            <a:custGeom>
              <a:avLst/>
              <a:gdLst>
                <a:gd name="T0" fmla="*/ 506 w 525"/>
                <a:gd name="T1" fmla="*/ 188 h 268"/>
                <a:gd name="T2" fmla="*/ 489 w 525"/>
                <a:gd name="T3" fmla="*/ 201 h 268"/>
                <a:gd name="T4" fmla="*/ 470 w 525"/>
                <a:gd name="T5" fmla="*/ 212 h 268"/>
                <a:gd name="T6" fmla="*/ 454 w 525"/>
                <a:gd name="T7" fmla="*/ 230 h 268"/>
                <a:gd name="T8" fmla="*/ 433 w 525"/>
                <a:gd name="T9" fmla="*/ 239 h 268"/>
                <a:gd name="T10" fmla="*/ 408 w 525"/>
                <a:gd name="T11" fmla="*/ 241 h 268"/>
                <a:gd name="T12" fmla="*/ 391 w 525"/>
                <a:gd name="T13" fmla="*/ 243 h 268"/>
                <a:gd name="T14" fmla="*/ 379 w 525"/>
                <a:gd name="T15" fmla="*/ 247 h 268"/>
                <a:gd name="T16" fmla="*/ 368 w 525"/>
                <a:gd name="T17" fmla="*/ 257 h 268"/>
                <a:gd name="T18" fmla="*/ 351 w 525"/>
                <a:gd name="T19" fmla="*/ 262 h 268"/>
                <a:gd name="T20" fmla="*/ 324 w 525"/>
                <a:gd name="T21" fmla="*/ 260 h 268"/>
                <a:gd name="T22" fmla="*/ 297 w 525"/>
                <a:gd name="T23" fmla="*/ 259 h 268"/>
                <a:gd name="T24" fmla="*/ 270 w 525"/>
                <a:gd name="T25" fmla="*/ 266 h 268"/>
                <a:gd name="T26" fmla="*/ 247 w 525"/>
                <a:gd name="T27" fmla="*/ 264 h 268"/>
                <a:gd name="T28" fmla="*/ 239 w 525"/>
                <a:gd name="T29" fmla="*/ 249 h 268"/>
                <a:gd name="T30" fmla="*/ 239 w 525"/>
                <a:gd name="T31" fmla="*/ 224 h 268"/>
                <a:gd name="T32" fmla="*/ 239 w 525"/>
                <a:gd name="T33" fmla="*/ 207 h 268"/>
                <a:gd name="T34" fmla="*/ 239 w 525"/>
                <a:gd name="T35" fmla="*/ 174 h 268"/>
                <a:gd name="T36" fmla="*/ 237 w 525"/>
                <a:gd name="T37" fmla="*/ 157 h 268"/>
                <a:gd name="T38" fmla="*/ 222 w 525"/>
                <a:gd name="T39" fmla="*/ 159 h 268"/>
                <a:gd name="T40" fmla="*/ 205 w 525"/>
                <a:gd name="T41" fmla="*/ 166 h 268"/>
                <a:gd name="T42" fmla="*/ 186 w 525"/>
                <a:gd name="T43" fmla="*/ 182 h 268"/>
                <a:gd name="T44" fmla="*/ 166 w 525"/>
                <a:gd name="T45" fmla="*/ 189 h 268"/>
                <a:gd name="T46" fmla="*/ 151 w 525"/>
                <a:gd name="T47" fmla="*/ 197 h 268"/>
                <a:gd name="T48" fmla="*/ 134 w 525"/>
                <a:gd name="T49" fmla="*/ 191 h 268"/>
                <a:gd name="T50" fmla="*/ 128 w 525"/>
                <a:gd name="T51" fmla="*/ 176 h 268"/>
                <a:gd name="T52" fmla="*/ 109 w 525"/>
                <a:gd name="T53" fmla="*/ 166 h 268"/>
                <a:gd name="T54" fmla="*/ 88 w 525"/>
                <a:gd name="T55" fmla="*/ 159 h 268"/>
                <a:gd name="T56" fmla="*/ 69 w 525"/>
                <a:gd name="T57" fmla="*/ 151 h 268"/>
                <a:gd name="T58" fmla="*/ 57 w 525"/>
                <a:gd name="T59" fmla="*/ 147 h 268"/>
                <a:gd name="T60" fmla="*/ 65 w 525"/>
                <a:gd name="T61" fmla="*/ 132 h 268"/>
                <a:gd name="T62" fmla="*/ 61 w 525"/>
                <a:gd name="T63" fmla="*/ 117 h 268"/>
                <a:gd name="T64" fmla="*/ 53 w 525"/>
                <a:gd name="T65" fmla="*/ 99 h 268"/>
                <a:gd name="T66" fmla="*/ 34 w 525"/>
                <a:gd name="T67" fmla="*/ 86 h 268"/>
                <a:gd name="T68" fmla="*/ 28 w 525"/>
                <a:gd name="T69" fmla="*/ 69 h 268"/>
                <a:gd name="T70" fmla="*/ 21 w 525"/>
                <a:gd name="T71" fmla="*/ 57 h 268"/>
                <a:gd name="T72" fmla="*/ 11 w 525"/>
                <a:gd name="T73" fmla="*/ 42 h 268"/>
                <a:gd name="T74" fmla="*/ 1 w 525"/>
                <a:gd name="T75" fmla="*/ 23 h 268"/>
                <a:gd name="T76" fmla="*/ 3 w 525"/>
                <a:gd name="T77" fmla="*/ 7 h 268"/>
                <a:gd name="T78" fmla="*/ 7 w 525"/>
                <a:gd name="T79" fmla="*/ 0 h 268"/>
                <a:gd name="T80" fmla="*/ 47 w 525"/>
                <a:gd name="T81" fmla="*/ 3 h 268"/>
                <a:gd name="T82" fmla="*/ 84 w 525"/>
                <a:gd name="T83" fmla="*/ 9 h 268"/>
                <a:gd name="T84" fmla="*/ 113 w 525"/>
                <a:gd name="T85" fmla="*/ 19 h 268"/>
                <a:gd name="T86" fmla="*/ 142 w 525"/>
                <a:gd name="T87" fmla="*/ 28 h 268"/>
                <a:gd name="T88" fmla="*/ 172 w 525"/>
                <a:gd name="T89" fmla="*/ 38 h 268"/>
                <a:gd name="T90" fmla="*/ 211 w 525"/>
                <a:gd name="T91" fmla="*/ 46 h 268"/>
                <a:gd name="T92" fmla="*/ 251 w 525"/>
                <a:gd name="T93" fmla="*/ 57 h 268"/>
                <a:gd name="T94" fmla="*/ 301 w 525"/>
                <a:gd name="T95" fmla="*/ 78 h 268"/>
                <a:gd name="T96" fmla="*/ 343 w 525"/>
                <a:gd name="T97" fmla="*/ 95 h 268"/>
                <a:gd name="T98" fmla="*/ 383 w 525"/>
                <a:gd name="T99" fmla="*/ 113 h 268"/>
                <a:gd name="T100" fmla="*/ 420 w 525"/>
                <a:gd name="T101" fmla="*/ 132 h 268"/>
                <a:gd name="T102" fmla="*/ 454 w 525"/>
                <a:gd name="T103" fmla="*/ 147 h 268"/>
                <a:gd name="T104" fmla="*/ 483 w 525"/>
                <a:gd name="T105" fmla="*/ 159 h 268"/>
                <a:gd name="T106" fmla="*/ 510 w 525"/>
                <a:gd name="T107" fmla="*/ 176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25" h="268">
                  <a:moveTo>
                    <a:pt x="525" y="182"/>
                  </a:moveTo>
                  <a:lnTo>
                    <a:pt x="514" y="184"/>
                  </a:lnTo>
                  <a:lnTo>
                    <a:pt x="506" y="188"/>
                  </a:lnTo>
                  <a:lnTo>
                    <a:pt x="497" y="191"/>
                  </a:lnTo>
                  <a:lnTo>
                    <a:pt x="493" y="195"/>
                  </a:lnTo>
                  <a:lnTo>
                    <a:pt x="489" y="201"/>
                  </a:lnTo>
                  <a:lnTo>
                    <a:pt x="483" y="205"/>
                  </a:lnTo>
                  <a:lnTo>
                    <a:pt x="477" y="209"/>
                  </a:lnTo>
                  <a:lnTo>
                    <a:pt x="470" y="212"/>
                  </a:lnTo>
                  <a:lnTo>
                    <a:pt x="466" y="216"/>
                  </a:lnTo>
                  <a:lnTo>
                    <a:pt x="458" y="224"/>
                  </a:lnTo>
                  <a:lnTo>
                    <a:pt x="454" y="230"/>
                  </a:lnTo>
                  <a:lnTo>
                    <a:pt x="445" y="234"/>
                  </a:lnTo>
                  <a:lnTo>
                    <a:pt x="441" y="237"/>
                  </a:lnTo>
                  <a:lnTo>
                    <a:pt x="433" y="239"/>
                  </a:lnTo>
                  <a:lnTo>
                    <a:pt x="427" y="239"/>
                  </a:lnTo>
                  <a:lnTo>
                    <a:pt x="420" y="241"/>
                  </a:lnTo>
                  <a:lnTo>
                    <a:pt x="408" y="241"/>
                  </a:lnTo>
                  <a:lnTo>
                    <a:pt x="404" y="241"/>
                  </a:lnTo>
                  <a:lnTo>
                    <a:pt x="397" y="245"/>
                  </a:lnTo>
                  <a:lnTo>
                    <a:pt x="391" y="243"/>
                  </a:lnTo>
                  <a:lnTo>
                    <a:pt x="387" y="241"/>
                  </a:lnTo>
                  <a:lnTo>
                    <a:pt x="383" y="241"/>
                  </a:lnTo>
                  <a:lnTo>
                    <a:pt x="379" y="247"/>
                  </a:lnTo>
                  <a:lnTo>
                    <a:pt x="376" y="253"/>
                  </a:lnTo>
                  <a:lnTo>
                    <a:pt x="372" y="255"/>
                  </a:lnTo>
                  <a:lnTo>
                    <a:pt x="368" y="257"/>
                  </a:lnTo>
                  <a:lnTo>
                    <a:pt x="360" y="257"/>
                  </a:lnTo>
                  <a:lnTo>
                    <a:pt x="356" y="260"/>
                  </a:lnTo>
                  <a:lnTo>
                    <a:pt x="351" y="262"/>
                  </a:lnTo>
                  <a:lnTo>
                    <a:pt x="345" y="260"/>
                  </a:lnTo>
                  <a:lnTo>
                    <a:pt x="337" y="259"/>
                  </a:lnTo>
                  <a:lnTo>
                    <a:pt x="324" y="260"/>
                  </a:lnTo>
                  <a:lnTo>
                    <a:pt x="316" y="259"/>
                  </a:lnTo>
                  <a:lnTo>
                    <a:pt x="305" y="259"/>
                  </a:lnTo>
                  <a:lnTo>
                    <a:pt x="297" y="259"/>
                  </a:lnTo>
                  <a:lnTo>
                    <a:pt x="285" y="260"/>
                  </a:lnTo>
                  <a:lnTo>
                    <a:pt x="278" y="262"/>
                  </a:lnTo>
                  <a:lnTo>
                    <a:pt x="270" y="266"/>
                  </a:lnTo>
                  <a:lnTo>
                    <a:pt x="262" y="268"/>
                  </a:lnTo>
                  <a:lnTo>
                    <a:pt x="253" y="268"/>
                  </a:lnTo>
                  <a:lnTo>
                    <a:pt x="247" y="264"/>
                  </a:lnTo>
                  <a:lnTo>
                    <a:pt x="243" y="259"/>
                  </a:lnTo>
                  <a:lnTo>
                    <a:pt x="243" y="255"/>
                  </a:lnTo>
                  <a:lnTo>
                    <a:pt x="239" y="249"/>
                  </a:lnTo>
                  <a:lnTo>
                    <a:pt x="237" y="243"/>
                  </a:lnTo>
                  <a:lnTo>
                    <a:pt x="237" y="234"/>
                  </a:lnTo>
                  <a:lnTo>
                    <a:pt x="239" y="224"/>
                  </a:lnTo>
                  <a:lnTo>
                    <a:pt x="239" y="218"/>
                  </a:lnTo>
                  <a:lnTo>
                    <a:pt x="241" y="211"/>
                  </a:lnTo>
                  <a:lnTo>
                    <a:pt x="239" y="207"/>
                  </a:lnTo>
                  <a:lnTo>
                    <a:pt x="239" y="199"/>
                  </a:lnTo>
                  <a:lnTo>
                    <a:pt x="239" y="182"/>
                  </a:lnTo>
                  <a:lnTo>
                    <a:pt x="239" y="174"/>
                  </a:lnTo>
                  <a:lnTo>
                    <a:pt x="239" y="166"/>
                  </a:lnTo>
                  <a:lnTo>
                    <a:pt x="239" y="161"/>
                  </a:lnTo>
                  <a:lnTo>
                    <a:pt x="237" y="157"/>
                  </a:lnTo>
                  <a:lnTo>
                    <a:pt x="230" y="157"/>
                  </a:lnTo>
                  <a:lnTo>
                    <a:pt x="226" y="159"/>
                  </a:lnTo>
                  <a:lnTo>
                    <a:pt x="222" y="159"/>
                  </a:lnTo>
                  <a:lnTo>
                    <a:pt x="216" y="163"/>
                  </a:lnTo>
                  <a:lnTo>
                    <a:pt x="209" y="165"/>
                  </a:lnTo>
                  <a:lnTo>
                    <a:pt x="205" y="166"/>
                  </a:lnTo>
                  <a:lnTo>
                    <a:pt x="201" y="172"/>
                  </a:lnTo>
                  <a:lnTo>
                    <a:pt x="191" y="178"/>
                  </a:lnTo>
                  <a:lnTo>
                    <a:pt x="186" y="182"/>
                  </a:lnTo>
                  <a:lnTo>
                    <a:pt x="184" y="188"/>
                  </a:lnTo>
                  <a:lnTo>
                    <a:pt x="176" y="191"/>
                  </a:lnTo>
                  <a:lnTo>
                    <a:pt x="166" y="189"/>
                  </a:lnTo>
                  <a:lnTo>
                    <a:pt x="161" y="189"/>
                  </a:lnTo>
                  <a:lnTo>
                    <a:pt x="157" y="195"/>
                  </a:lnTo>
                  <a:lnTo>
                    <a:pt x="151" y="197"/>
                  </a:lnTo>
                  <a:lnTo>
                    <a:pt x="145" y="195"/>
                  </a:lnTo>
                  <a:lnTo>
                    <a:pt x="140" y="195"/>
                  </a:lnTo>
                  <a:lnTo>
                    <a:pt x="134" y="191"/>
                  </a:lnTo>
                  <a:lnTo>
                    <a:pt x="130" y="186"/>
                  </a:lnTo>
                  <a:lnTo>
                    <a:pt x="128" y="180"/>
                  </a:lnTo>
                  <a:lnTo>
                    <a:pt x="128" y="176"/>
                  </a:lnTo>
                  <a:lnTo>
                    <a:pt x="120" y="174"/>
                  </a:lnTo>
                  <a:lnTo>
                    <a:pt x="115" y="170"/>
                  </a:lnTo>
                  <a:lnTo>
                    <a:pt x="109" y="166"/>
                  </a:lnTo>
                  <a:lnTo>
                    <a:pt x="101" y="163"/>
                  </a:lnTo>
                  <a:lnTo>
                    <a:pt x="94" y="163"/>
                  </a:lnTo>
                  <a:lnTo>
                    <a:pt x="88" y="159"/>
                  </a:lnTo>
                  <a:lnTo>
                    <a:pt x="82" y="155"/>
                  </a:lnTo>
                  <a:lnTo>
                    <a:pt x="74" y="151"/>
                  </a:lnTo>
                  <a:lnTo>
                    <a:pt x="69" y="151"/>
                  </a:lnTo>
                  <a:lnTo>
                    <a:pt x="63" y="155"/>
                  </a:lnTo>
                  <a:lnTo>
                    <a:pt x="59" y="151"/>
                  </a:lnTo>
                  <a:lnTo>
                    <a:pt x="57" y="147"/>
                  </a:lnTo>
                  <a:lnTo>
                    <a:pt x="61" y="141"/>
                  </a:lnTo>
                  <a:lnTo>
                    <a:pt x="63" y="136"/>
                  </a:lnTo>
                  <a:lnTo>
                    <a:pt x="65" y="132"/>
                  </a:lnTo>
                  <a:lnTo>
                    <a:pt x="65" y="126"/>
                  </a:lnTo>
                  <a:lnTo>
                    <a:pt x="65" y="120"/>
                  </a:lnTo>
                  <a:lnTo>
                    <a:pt x="61" y="117"/>
                  </a:lnTo>
                  <a:lnTo>
                    <a:pt x="61" y="111"/>
                  </a:lnTo>
                  <a:lnTo>
                    <a:pt x="57" y="107"/>
                  </a:lnTo>
                  <a:lnTo>
                    <a:pt x="53" y="99"/>
                  </a:lnTo>
                  <a:lnTo>
                    <a:pt x="47" y="97"/>
                  </a:lnTo>
                  <a:lnTo>
                    <a:pt x="44" y="92"/>
                  </a:lnTo>
                  <a:lnTo>
                    <a:pt x="34" y="86"/>
                  </a:lnTo>
                  <a:lnTo>
                    <a:pt x="34" y="80"/>
                  </a:lnTo>
                  <a:lnTo>
                    <a:pt x="32" y="74"/>
                  </a:lnTo>
                  <a:lnTo>
                    <a:pt x="28" y="69"/>
                  </a:lnTo>
                  <a:lnTo>
                    <a:pt x="23" y="65"/>
                  </a:lnTo>
                  <a:lnTo>
                    <a:pt x="19" y="61"/>
                  </a:lnTo>
                  <a:lnTo>
                    <a:pt x="21" y="57"/>
                  </a:lnTo>
                  <a:lnTo>
                    <a:pt x="15" y="53"/>
                  </a:lnTo>
                  <a:lnTo>
                    <a:pt x="13" y="47"/>
                  </a:lnTo>
                  <a:lnTo>
                    <a:pt x="11" y="42"/>
                  </a:lnTo>
                  <a:lnTo>
                    <a:pt x="5" y="38"/>
                  </a:lnTo>
                  <a:lnTo>
                    <a:pt x="1" y="30"/>
                  </a:lnTo>
                  <a:lnTo>
                    <a:pt x="1" y="23"/>
                  </a:lnTo>
                  <a:lnTo>
                    <a:pt x="0" y="15"/>
                  </a:lnTo>
                  <a:lnTo>
                    <a:pt x="3" y="11"/>
                  </a:lnTo>
                  <a:lnTo>
                    <a:pt x="3" y="7"/>
                  </a:lnTo>
                  <a:lnTo>
                    <a:pt x="0" y="3"/>
                  </a:lnTo>
                  <a:lnTo>
                    <a:pt x="0" y="0"/>
                  </a:lnTo>
                  <a:lnTo>
                    <a:pt x="7" y="0"/>
                  </a:lnTo>
                  <a:lnTo>
                    <a:pt x="21" y="0"/>
                  </a:lnTo>
                  <a:lnTo>
                    <a:pt x="28" y="1"/>
                  </a:lnTo>
                  <a:lnTo>
                    <a:pt x="47" y="3"/>
                  </a:lnTo>
                  <a:lnTo>
                    <a:pt x="63" y="3"/>
                  </a:lnTo>
                  <a:lnTo>
                    <a:pt x="72" y="5"/>
                  </a:lnTo>
                  <a:lnTo>
                    <a:pt x="84" y="9"/>
                  </a:lnTo>
                  <a:lnTo>
                    <a:pt x="94" y="11"/>
                  </a:lnTo>
                  <a:lnTo>
                    <a:pt x="103" y="17"/>
                  </a:lnTo>
                  <a:lnTo>
                    <a:pt x="113" y="19"/>
                  </a:lnTo>
                  <a:lnTo>
                    <a:pt x="124" y="23"/>
                  </a:lnTo>
                  <a:lnTo>
                    <a:pt x="134" y="26"/>
                  </a:lnTo>
                  <a:lnTo>
                    <a:pt x="142" y="28"/>
                  </a:lnTo>
                  <a:lnTo>
                    <a:pt x="151" y="34"/>
                  </a:lnTo>
                  <a:lnTo>
                    <a:pt x="161" y="36"/>
                  </a:lnTo>
                  <a:lnTo>
                    <a:pt x="172" y="38"/>
                  </a:lnTo>
                  <a:lnTo>
                    <a:pt x="184" y="40"/>
                  </a:lnTo>
                  <a:lnTo>
                    <a:pt x="195" y="42"/>
                  </a:lnTo>
                  <a:lnTo>
                    <a:pt x="211" y="46"/>
                  </a:lnTo>
                  <a:lnTo>
                    <a:pt x="226" y="49"/>
                  </a:lnTo>
                  <a:lnTo>
                    <a:pt x="239" y="53"/>
                  </a:lnTo>
                  <a:lnTo>
                    <a:pt x="251" y="57"/>
                  </a:lnTo>
                  <a:lnTo>
                    <a:pt x="268" y="63"/>
                  </a:lnTo>
                  <a:lnTo>
                    <a:pt x="285" y="69"/>
                  </a:lnTo>
                  <a:lnTo>
                    <a:pt x="301" y="78"/>
                  </a:lnTo>
                  <a:lnTo>
                    <a:pt x="312" y="82"/>
                  </a:lnTo>
                  <a:lnTo>
                    <a:pt x="328" y="88"/>
                  </a:lnTo>
                  <a:lnTo>
                    <a:pt x="343" y="95"/>
                  </a:lnTo>
                  <a:lnTo>
                    <a:pt x="358" y="101"/>
                  </a:lnTo>
                  <a:lnTo>
                    <a:pt x="370" y="109"/>
                  </a:lnTo>
                  <a:lnTo>
                    <a:pt x="383" y="113"/>
                  </a:lnTo>
                  <a:lnTo>
                    <a:pt x="395" y="120"/>
                  </a:lnTo>
                  <a:lnTo>
                    <a:pt x="406" y="126"/>
                  </a:lnTo>
                  <a:lnTo>
                    <a:pt x="420" y="132"/>
                  </a:lnTo>
                  <a:lnTo>
                    <a:pt x="429" y="136"/>
                  </a:lnTo>
                  <a:lnTo>
                    <a:pt x="443" y="143"/>
                  </a:lnTo>
                  <a:lnTo>
                    <a:pt x="454" y="147"/>
                  </a:lnTo>
                  <a:lnTo>
                    <a:pt x="464" y="153"/>
                  </a:lnTo>
                  <a:lnTo>
                    <a:pt x="473" y="155"/>
                  </a:lnTo>
                  <a:lnTo>
                    <a:pt x="483" y="159"/>
                  </a:lnTo>
                  <a:lnTo>
                    <a:pt x="495" y="165"/>
                  </a:lnTo>
                  <a:lnTo>
                    <a:pt x="504" y="170"/>
                  </a:lnTo>
                  <a:lnTo>
                    <a:pt x="510" y="176"/>
                  </a:lnTo>
                  <a:lnTo>
                    <a:pt x="518" y="180"/>
                  </a:lnTo>
                  <a:lnTo>
                    <a:pt x="525" y="18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/>
            </a:p>
          </p:txBody>
        </p:sp>
        <p:sp>
          <p:nvSpPr>
            <p:cNvPr id="129" name="Freeform 14"/>
            <p:cNvSpPr>
              <a:spLocks/>
            </p:cNvSpPr>
            <p:nvPr/>
          </p:nvSpPr>
          <p:spPr bwMode="auto">
            <a:xfrm>
              <a:off x="3413966" y="813099"/>
              <a:ext cx="2388863" cy="1659948"/>
            </a:xfrm>
            <a:custGeom>
              <a:avLst/>
              <a:gdLst>
                <a:gd name="T0" fmla="*/ 1130 w 1222"/>
                <a:gd name="T1" fmla="*/ 685 h 850"/>
                <a:gd name="T2" fmla="*/ 1114 w 1222"/>
                <a:gd name="T3" fmla="*/ 752 h 850"/>
                <a:gd name="T4" fmla="*/ 1065 w 1222"/>
                <a:gd name="T5" fmla="*/ 783 h 850"/>
                <a:gd name="T6" fmla="*/ 955 w 1222"/>
                <a:gd name="T7" fmla="*/ 781 h 850"/>
                <a:gd name="T8" fmla="*/ 882 w 1222"/>
                <a:gd name="T9" fmla="*/ 774 h 850"/>
                <a:gd name="T10" fmla="*/ 830 w 1222"/>
                <a:gd name="T11" fmla="*/ 751 h 850"/>
                <a:gd name="T12" fmla="*/ 788 w 1222"/>
                <a:gd name="T13" fmla="*/ 720 h 850"/>
                <a:gd name="T14" fmla="*/ 729 w 1222"/>
                <a:gd name="T15" fmla="*/ 716 h 850"/>
                <a:gd name="T16" fmla="*/ 692 w 1222"/>
                <a:gd name="T17" fmla="*/ 754 h 850"/>
                <a:gd name="T18" fmla="*/ 648 w 1222"/>
                <a:gd name="T19" fmla="*/ 795 h 850"/>
                <a:gd name="T20" fmla="*/ 610 w 1222"/>
                <a:gd name="T21" fmla="*/ 816 h 850"/>
                <a:gd name="T22" fmla="*/ 554 w 1222"/>
                <a:gd name="T23" fmla="*/ 825 h 850"/>
                <a:gd name="T24" fmla="*/ 506 w 1222"/>
                <a:gd name="T25" fmla="*/ 850 h 850"/>
                <a:gd name="T26" fmla="*/ 445 w 1222"/>
                <a:gd name="T27" fmla="*/ 823 h 850"/>
                <a:gd name="T28" fmla="*/ 372 w 1222"/>
                <a:gd name="T29" fmla="*/ 789 h 850"/>
                <a:gd name="T30" fmla="*/ 287 w 1222"/>
                <a:gd name="T31" fmla="*/ 749 h 850"/>
                <a:gd name="T32" fmla="*/ 197 w 1222"/>
                <a:gd name="T33" fmla="*/ 722 h 850"/>
                <a:gd name="T34" fmla="*/ 136 w 1222"/>
                <a:gd name="T35" fmla="*/ 706 h 850"/>
                <a:gd name="T36" fmla="*/ 74 w 1222"/>
                <a:gd name="T37" fmla="*/ 685 h 850"/>
                <a:gd name="T38" fmla="*/ 2 w 1222"/>
                <a:gd name="T39" fmla="*/ 680 h 850"/>
                <a:gd name="T40" fmla="*/ 11 w 1222"/>
                <a:gd name="T41" fmla="*/ 655 h 850"/>
                <a:gd name="T42" fmla="*/ 32 w 1222"/>
                <a:gd name="T43" fmla="*/ 626 h 850"/>
                <a:gd name="T44" fmla="*/ 36 w 1222"/>
                <a:gd name="T45" fmla="*/ 586 h 850"/>
                <a:gd name="T46" fmla="*/ 61 w 1222"/>
                <a:gd name="T47" fmla="*/ 526 h 850"/>
                <a:gd name="T48" fmla="*/ 99 w 1222"/>
                <a:gd name="T49" fmla="*/ 503 h 850"/>
                <a:gd name="T50" fmla="*/ 132 w 1222"/>
                <a:gd name="T51" fmla="*/ 488 h 850"/>
                <a:gd name="T52" fmla="*/ 180 w 1222"/>
                <a:gd name="T53" fmla="*/ 476 h 850"/>
                <a:gd name="T54" fmla="*/ 215 w 1222"/>
                <a:gd name="T55" fmla="*/ 457 h 850"/>
                <a:gd name="T56" fmla="*/ 257 w 1222"/>
                <a:gd name="T57" fmla="*/ 467 h 850"/>
                <a:gd name="T58" fmla="*/ 280 w 1222"/>
                <a:gd name="T59" fmla="*/ 444 h 850"/>
                <a:gd name="T60" fmla="*/ 293 w 1222"/>
                <a:gd name="T61" fmla="*/ 332 h 850"/>
                <a:gd name="T62" fmla="*/ 299 w 1222"/>
                <a:gd name="T63" fmla="*/ 238 h 850"/>
                <a:gd name="T64" fmla="*/ 280 w 1222"/>
                <a:gd name="T65" fmla="*/ 186 h 850"/>
                <a:gd name="T66" fmla="*/ 261 w 1222"/>
                <a:gd name="T67" fmla="*/ 137 h 850"/>
                <a:gd name="T68" fmla="*/ 293 w 1222"/>
                <a:gd name="T69" fmla="*/ 83 h 850"/>
                <a:gd name="T70" fmla="*/ 289 w 1222"/>
                <a:gd name="T71" fmla="*/ 37 h 850"/>
                <a:gd name="T72" fmla="*/ 378 w 1222"/>
                <a:gd name="T73" fmla="*/ 29 h 850"/>
                <a:gd name="T74" fmla="*/ 395 w 1222"/>
                <a:gd name="T75" fmla="*/ 8 h 850"/>
                <a:gd name="T76" fmla="*/ 418 w 1222"/>
                <a:gd name="T77" fmla="*/ 21 h 850"/>
                <a:gd name="T78" fmla="*/ 458 w 1222"/>
                <a:gd name="T79" fmla="*/ 8 h 850"/>
                <a:gd name="T80" fmla="*/ 464 w 1222"/>
                <a:gd name="T81" fmla="*/ 54 h 850"/>
                <a:gd name="T82" fmla="*/ 510 w 1222"/>
                <a:gd name="T83" fmla="*/ 81 h 850"/>
                <a:gd name="T84" fmla="*/ 585 w 1222"/>
                <a:gd name="T85" fmla="*/ 91 h 850"/>
                <a:gd name="T86" fmla="*/ 637 w 1222"/>
                <a:gd name="T87" fmla="*/ 46 h 850"/>
                <a:gd name="T88" fmla="*/ 706 w 1222"/>
                <a:gd name="T89" fmla="*/ 14 h 850"/>
                <a:gd name="T90" fmla="*/ 765 w 1222"/>
                <a:gd name="T91" fmla="*/ 21 h 850"/>
                <a:gd name="T92" fmla="*/ 804 w 1222"/>
                <a:gd name="T93" fmla="*/ 106 h 850"/>
                <a:gd name="T94" fmla="*/ 815 w 1222"/>
                <a:gd name="T95" fmla="*/ 194 h 850"/>
                <a:gd name="T96" fmla="*/ 852 w 1222"/>
                <a:gd name="T97" fmla="*/ 254 h 850"/>
                <a:gd name="T98" fmla="*/ 873 w 1222"/>
                <a:gd name="T99" fmla="*/ 165 h 850"/>
                <a:gd name="T100" fmla="*/ 936 w 1222"/>
                <a:gd name="T101" fmla="*/ 158 h 850"/>
                <a:gd name="T102" fmla="*/ 1005 w 1222"/>
                <a:gd name="T103" fmla="*/ 135 h 850"/>
                <a:gd name="T104" fmla="*/ 1034 w 1222"/>
                <a:gd name="T105" fmla="*/ 206 h 850"/>
                <a:gd name="T106" fmla="*/ 1063 w 1222"/>
                <a:gd name="T107" fmla="*/ 221 h 850"/>
                <a:gd name="T108" fmla="*/ 1124 w 1222"/>
                <a:gd name="T109" fmla="*/ 261 h 850"/>
                <a:gd name="T110" fmla="*/ 1182 w 1222"/>
                <a:gd name="T111" fmla="*/ 298 h 850"/>
                <a:gd name="T112" fmla="*/ 1222 w 1222"/>
                <a:gd name="T113" fmla="*/ 325 h 850"/>
                <a:gd name="T114" fmla="*/ 1205 w 1222"/>
                <a:gd name="T115" fmla="*/ 415 h 850"/>
                <a:gd name="T116" fmla="*/ 1187 w 1222"/>
                <a:gd name="T117" fmla="*/ 486 h 850"/>
                <a:gd name="T118" fmla="*/ 1164 w 1222"/>
                <a:gd name="T119" fmla="*/ 570 h 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22" h="850">
                  <a:moveTo>
                    <a:pt x="1143" y="641"/>
                  </a:moveTo>
                  <a:lnTo>
                    <a:pt x="1141" y="647"/>
                  </a:lnTo>
                  <a:lnTo>
                    <a:pt x="1139" y="651"/>
                  </a:lnTo>
                  <a:lnTo>
                    <a:pt x="1132" y="660"/>
                  </a:lnTo>
                  <a:lnTo>
                    <a:pt x="1128" y="674"/>
                  </a:lnTo>
                  <a:lnTo>
                    <a:pt x="1130" y="685"/>
                  </a:lnTo>
                  <a:lnTo>
                    <a:pt x="1128" y="699"/>
                  </a:lnTo>
                  <a:lnTo>
                    <a:pt x="1126" y="708"/>
                  </a:lnTo>
                  <a:lnTo>
                    <a:pt x="1126" y="720"/>
                  </a:lnTo>
                  <a:lnTo>
                    <a:pt x="1124" y="735"/>
                  </a:lnTo>
                  <a:lnTo>
                    <a:pt x="1124" y="743"/>
                  </a:lnTo>
                  <a:lnTo>
                    <a:pt x="1114" y="752"/>
                  </a:lnTo>
                  <a:lnTo>
                    <a:pt x="1116" y="764"/>
                  </a:lnTo>
                  <a:lnTo>
                    <a:pt x="1114" y="774"/>
                  </a:lnTo>
                  <a:lnTo>
                    <a:pt x="1109" y="775"/>
                  </a:lnTo>
                  <a:lnTo>
                    <a:pt x="1099" y="777"/>
                  </a:lnTo>
                  <a:lnTo>
                    <a:pt x="1084" y="781"/>
                  </a:lnTo>
                  <a:lnTo>
                    <a:pt x="1065" y="783"/>
                  </a:lnTo>
                  <a:lnTo>
                    <a:pt x="1045" y="781"/>
                  </a:lnTo>
                  <a:lnTo>
                    <a:pt x="1028" y="783"/>
                  </a:lnTo>
                  <a:lnTo>
                    <a:pt x="1009" y="783"/>
                  </a:lnTo>
                  <a:lnTo>
                    <a:pt x="988" y="783"/>
                  </a:lnTo>
                  <a:lnTo>
                    <a:pt x="971" y="781"/>
                  </a:lnTo>
                  <a:lnTo>
                    <a:pt x="955" y="781"/>
                  </a:lnTo>
                  <a:lnTo>
                    <a:pt x="936" y="783"/>
                  </a:lnTo>
                  <a:lnTo>
                    <a:pt x="923" y="781"/>
                  </a:lnTo>
                  <a:lnTo>
                    <a:pt x="911" y="781"/>
                  </a:lnTo>
                  <a:lnTo>
                    <a:pt x="901" y="783"/>
                  </a:lnTo>
                  <a:lnTo>
                    <a:pt x="886" y="783"/>
                  </a:lnTo>
                  <a:lnTo>
                    <a:pt x="882" y="774"/>
                  </a:lnTo>
                  <a:lnTo>
                    <a:pt x="875" y="766"/>
                  </a:lnTo>
                  <a:lnTo>
                    <a:pt x="865" y="766"/>
                  </a:lnTo>
                  <a:lnTo>
                    <a:pt x="859" y="764"/>
                  </a:lnTo>
                  <a:lnTo>
                    <a:pt x="848" y="762"/>
                  </a:lnTo>
                  <a:lnTo>
                    <a:pt x="836" y="756"/>
                  </a:lnTo>
                  <a:lnTo>
                    <a:pt x="830" y="751"/>
                  </a:lnTo>
                  <a:lnTo>
                    <a:pt x="825" y="745"/>
                  </a:lnTo>
                  <a:lnTo>
                    <a:pt x="817" y="741"/>
                  </a:lnTo>
                  <a:lnTo>
                    <a:pt x="809" y="739"/>
                  </a:lnTo>
                  <a:lnTo>
                    <a:pt x="806" y="733"/>
                  </a:lnTo>
                  <a:lnTo>
                    <a:pt x="798" y="724"/>
                  </a:lnTo>
                  <a:lnTo>
                    <a:pt x="788" y="720"/>
                  </a:lnTo>
                  <a:lnTo>
                    <a:pt x="781" y="720"/>
                  </a:lnTo>
                  <a:lnTo>
                    <a:pt x="773" y="722"/>
                  </a:lnTo>
                  <a:lnTo>
                    <a:pt x="761" y="720"/>
                  </a:lnTo>
                  <a:lnTo>
                    <a:pt x="750" y="716"/>
                  </a:lnTo>
                  <a:lnTo>
                    <a:pt x="740" y="718"/>
                  </a:lnTo>
                  <a:lnTo>
                    <a:pt x="729" y="716"/>
                  </a:lnTo>
                  <a:lnTo>
                    <a:pt x="721" y="718"/>
                  </a:lnTo>
                  <a:lnTo>
                    <a:pt x="713" y="724"/>
                  </a:lnTo>
                  <a:lnTo>
                    <a:pt x="706" y="729"/>
                  </a:lnTo>
                  <a:lnTo>
                    <a:pt x="702" y="735"/>
                  </a:lnTo>
                  <a:lnTo>
                    <a:pt x="698" y="749"/>
                  </a:lnTo>
                  <a:lnTo>
                    <a:pt x="692" y="754"/>
                  </a:lnTo>
                  <a:lnTo>
                    <a:pt x="681" y="762"/>
                  </a:lnTo>
                  <a:lnTo>
                    <a:pt x="677" y="772"/>
                  </a:lnTo>
                  <a:lnTo>
                    <a:pt x="673" y="779"/>
                  </a:lnTo>
                  <a:lnTo>
                    <a:pt x="667" y="785"/>
                  </a:lnTo>
                  <a:lnTo>
                    <a:pt x="658" y="789"/>
                  </a:lnTo>
                  <a:lnTo>
                    <a:pt x="648" y="795"/>
                  </a:lnTo>
                  <a:lnTo>
                    <a:pt x="639" y="797"/>
                  </a:lnTo>
                  <a:lnTo>
                    <a:pt x="635" y="802"/>
                  </a:lnTo>
                  <a:lnTo>
                    <a:pt x="627" y="806"/>
                  </a:lnTo>
                  <a:lnTo>
                    <a:pt x="621" y="810"/>
                  </a:lnTo>
                  <a:lnTo>
                    <a:pt x="612" y="812"/>
                  </a:lnTo>
                  <a:lnTo>
                    <a:pt x="610" y="816"/>
                  </a:lnTo>
                  <a:lnTo>
                    <a:pt x="602" y="818"/>
                  </a:lnTo>
                  <a:lnTo>
                    <a:pt x="593" y="820"/>
                  </a:lnTo>
                  <a:lnTo>
                    <a:pt x="585" y="823"/>
                  </a:lnTo>
                  <a:lnTo>
                    <a:pt x="577" y="823"/>
                  </a:lnTo>
                  <a:lnTo>
                    <a:pt x="568" y="825"/>
                  </a:lnTo>
                  <a:lnTo>
                    <a:pt x="554" y="825"/>
                  </a:lnTo>
                  <a:lnTo>
                    <a:pt x="546" y="827"/>
                  </a:lnTo>
                  <a:lnTo>
                    <a:pt x="537" y="831"/>
                  </a:lnTo>
                  <a:lnTo>
                    <a:pt x="527" y="837"/>
                  </a:lnTo>
                  <a:lnTo>
                    <a:pt x="520" y="845"/>
                  </a:lnTo>
                  <a:lnTo>
                    <a:pt x="514" y="846"/>
                  </a:lnTo>
                  <a:lnTo>
                    <a:pt x="506" y="850"/>
                  </a:lnTo>
                  <a:lnTo>
                    <a:pt x="497" y="845"/>
                  </a:lnTo>
                  <a:lnTo>
                    <a:pt x="485" y="839"/>
                  </a:lnTo>
                  <a:lnTo>
                    <a:pt x="475" y="835"/>
                  </a:lnTo>
                  <a:lnTo>
                    <a:pt x="466" y="833"/>
                  </a:lnTo>
                  <a:lnTo>
                    <a:pt x="456" y="827"/>
                  </a:lnTo>
                  <a:lnTo>
                    <a:pt x="445" y="823"/>
                  </a:lnTo>
                  <a:lnTo>
                    <a:pt x="431" y="816"/>
                  </a:lnTo>
                  <a:lnTo>
                    <a:pt x="422" y="812"/>
                  </a:lnTo>
                  <a:lnTo>
                    <a:pt x="408" y="806"/>
                  </a:lnTo>
                  <a:lnTo>
                    <a:pt x="397" y="800"/>
                  </a:lnTo>
                  <a:lnTo>
                    <a:pt x="385" y="793"/>
                  </a:lnTo>
                  <a:lnTo>
                    <a:pt x="372" y="789"/>
                  </a:lnTo>
                  <a:lnTo>
                    <a:pt x="360" y="781"/>
                  </a:lnTo>
                  <a:lnTo>
                    <a:pt x="345" y="775"/>
                  </a:lnTo>
                  <a:lnTo>
                    <a:pt x="330" y="768"/>
                  </a:lnTo>
                  <a:lnTo>
                    <a:pt x="314" y="762"/>
                  </a:lnTo>
                  <a:lnTo>
                    <a:pt x="303" y="758"/>
                  </a:lnTo>
                  <a:lnTo>
                    <a:pt x="287" y="749"/>
                  </a:lnTo>
                  <a:lnTo>
                    <a:pt x="270" y="743"/>
                  </a:lnTo>
                  <a:lnTo>
                    <a:pt x="253" y="737"/>
                  </a:lnTo>
                  <a:lnTo>
                    <a:pt x="241" y="733"/>
                  </a:lnTo>
                  <a:lnTo>
                    <a:pt x="228" y="729"/>
                  </a:lnTo>
                  <a:lnTo>
                    <a:pt x="213" y="726"/>
                  </a:lnTo>
                  <a:lnTo>
                    <a:pt x="197" y="722"/>
                  </a:lnTo>
                  <a:lnTo>
                    <a:pt x="186" y="720"/>
                  </a:lnTo>
                  <a:lnTo>
                    <a:pt x="174" y="718"/>
                  </a:lnTo>
                  <a:lnTo>
                    <a:pt x="163" y="716"/>
                  </a:lnTo>
                  <a:lnTo>
                    <a:pt x="153" y="714"/>
                  </a:lnTo>
                  <a:lnTo>
                    <a:pt x="144" y="708"/>
                  </a:lnTo>
                  <a:lnTo>
                    <a:pt x="136" y="706"/>
                  </a:lnTo>
                  <a:lnTo>
                    <a:pt x="126" y="703"/>
                  </a:lnTo>
                  <a:lnTo>
                    <a:pt x="115" y="699"/>
                  </a:lnTo>
                  <a:lnTo>
                    <a:pt x="105" y="697"/>
                  </a:lnTo>
                  <a:lnTo>
                    <a:pt x="96" y="691"/>
                  </a:lnTo>
                  <a:lnTo>
                    <a:pt x="86" y="689"/>
                  </a:lnTo>
                  <a:lnTo>
                    <a:pt x="74" y="685"/>
                  </a:lnTo>
                  <a:lnTo>
                    <a:pt x="65" y="683"/>
                  </a:lnTo>
                  <a:lnTo>
                    <a:pt x="49" y="683"/>
                  </a:lnTo>
                  <a:lnTo>
                    <a:pt x="30" y="681"/>
                  </a:lnTo>
                  <a:lnTo>
                    <a:pt x="23" y="680"/>
                  </a:lnTo>
                  <a:lnTo>
                    <a:pt x="9" y="680"/>
                  </a:lnTo>
                  <a:lnTo>
                    <a:pt x="2" y="680"/>
                  </a:lnTo>
                  <a:lnTo>
                    <a:pt x="0" y="676"/>
                  </a:lnTo>
                  <a:lnTo>
                    <a:pt x="0" y="672"/>
                  </a:lnTo>
                  <a:lnTo>
                    <a:pt x="3" y="668"/>
                  </a:lnTo>
                  <a:lnTo>
                    <a:pt x="5" y="662"/>
                  </a:lnTo>
                  <a:lnTo>
                    <a:pt x="7" y="658"/>
                  </a:lnTo>
                  <a:lnTo>
                    <a:pt x="11" y="655"/>
                  </a:lnTo>
                  <a:lnTo>
                    <a:pt x="15" y="649"/>
                  </a:lnTo>
                  <a:lnTo>
                    <a:pt x="19" y="647"/>
                  </a:lnTo>
                  <a:lnTo>
                    <a:pt x="21" y="641"/>
                  </a:lnTo>
                  <a:lnTo>
                    <a:pt x="26" y="637"/>
                  </a:lnTo>
                  <a:lnTo>
                    <a:pt x="30" y="632"/>
                  </a:lnTo>
                  <a:lnTo>
                    <a:pt x="32" y="626"/>
                  </a:lnTo>
                  <a:lnTo>
                    <a:pt x="34" y="620"/>
                  </a:lnTo>
                  <a:lnTo>
                    <a:pt x="36" y="612"/>
                  </a:lnTo>
                  <a:lnTo>
                    <a:pt x="36" y="605"/>
                  </a:lnTo>
                  <a:lnTo>
                    <a:pt x="38" y="599"/>
                  </a:lnTo>
                  <a:lnTo>
                    <a:pt x="36" y="593"/>
                  </a:lnTo>
                  <a:lnTo>
                    <a:pt x="36" y="586"/>
                  </a:lnTo>
                  <a:lnTo>
                    <a:pt x="48" y="574"/>
                  </a:lnTo>
                  <a:lnTo>
                    <a:pt x="55" y="563"/>
                  </a:lnTo>
                  <a:lnTo>
                    <a:pt x="53" y="549"/>
                  </a:lnTo>
                  <a:lnTo>
                    <a:pt x="53" y="541"/>
                  </a:lnTo>
                  <a:lnTo>
                    <a:pt x="57" y="528"/>
                  </a:lnTo>
                  <a:lnTo>
                    <a:pt x="61" y="526"/>
                  </a:lnTo>
                  <a:lnTo>
                    <a:pt x="69" y="526"/>
                  </a:lnTo>
                  <a:lnTo>
                    <a:pt x="74" y="520"/>
                  </a:lnTo>
                  <a:lnTo>
                    <a:pt x="80" y="516"/>
                  </a:lnTo>
                  <a:lnTo>
                    <a:pt x="88" y="513"/>
                  </a:lnTo>
                  <a:lnTo>
                    <a:pt x="92" y="507"/>
                  </a:lnTo>
                  <a:lnTo>
                    <a:pt x="99" y="503"/>
                  </a:lnTo>
                  <a:lnTo>
                    <a:pt x="103" y="501"/>
                  </a:lnTo>
                  <a:lnTo>
                    <a:pt x="109" y="497"/>
                  </a:lnTo>
                  <a:lnTo>
                    <a:pt x="113" y="493"/>
                  </a:lnTo>
                  <a:lnTo>
                    <a:pt x="120" y="490"/>
                  </a:lnTo>
                  <a:lnTo>
                    <a:pt x="126" y="490"/>
                  </a:lnTo>
                  <a:lnTo>
                    <a:pt x="132" y="488"/>
                  </a:lnTo>
                  <a:lnTo>
                    <a:pt x="142" y="486"/>
                  </a:lnTo>
                  <a:lnTo>
                    <a:pt x="147" y="486"/>
                  </a:lnTo>
                  <a:lnTo>
                    <a:pt x="155" y="486"/>
                  </a:lnTo>
                  <a:lnTo>
                    <a:pt x="165" y="484"/>
                  </a:lnTo>
                  <a:lnTo>
                    <a:pt x="172" y="478"/>
                  </a:lnTo>
                  <a:lnTo>
                    <a:pt x="180" y="476"/>
                  </a:lnTo>
                  <a:lnTo>
                    <a:pt x="186" y="474"/>
                  </a:lnTo>
                  <a:lnTo>
                    <a:pt x="191" y="472"/>
                  </a:lnTo>
                  <a:lnTo>
                    <a:pt x="195" y="468"/>
                  </a:lnTo>
                  <a:lnTo>
                    <a:pt x="207" y="468"/>
                  </a:lnTo>
                  <a:lnTo>
                    <a:pt x="211" y="461"/>
                  </a:lnTo>
                  <a:lnTo>
                    <a:pt x="215" y="457"/>
                  </a:lnTo>
                  <a:lnTo>
                    <a:pt x="222" y="459"/>
                  </a:lnTo>
                  <a:lnTo>
                    <a:pt x="228" y="457"/>
                  </a:lnTo>
                  <a:lnTo>
                    <a:pt x="239" y="457"/>
                  </a:lnTo>
                  <a:lnTo>
                    <a:pt x="247" y="461"/>
                  </a:lnTo>
                  <a:lnTo>
                    <a:pt x="251" y="463"/>
                  </a:lnTo>
                  <a:lnTo>
                    <a:pt x="257" y="467"/>
                  </a:lnTo>
                  <a:lnTo>
                    <a:pt x="261" y="463"/>
                  </a:lnTo>
                  <a:lnTo>
                    <a:pt x="262" y="461"/>
                  </a:lnTo>
                  <a:lnTo>
                    <a:pt x="268" y="461"/>
                  </a:lnTo>
                  <a:lnTo>
                    <a:pt x="274" y="459"/>
                  </a:lnTo>
                  <a:lnTo>
                    <a:pt x="276" y="453"/>
                  </a:lnTo>
                  <a:lnTo>
                    <a:pt x="280" y="444"/>
                  </a:lnTo>
                  <a:lnTo>
                    <a:pt x="280" y="432"/>
                  </a:lnTo>
                  <a:lnTo>
                    <a:pt x="284" y="415"/>
                  </a:lnTo>
                  <a:lnTo>
                    <a:pt x="286" y="399"/>
                  </a:lnTo>
                  <a:lnTo>
                    <a:pt x="289" y="378"/>
                  </a:lnTo>
                  <a:lnTo>
                    <a:pt x="289" y="357"/>
                  </a:lnTo>
                  <a:lnTo>
                    <a:pt x="293" y="332"/>
                  </a:lnTo>
                  <a:lnTo>
                    <a:pt x="295" y="307"/>
                  </a:lnTo>
                  <a:lnTo>
                    <a:pt x="295" y="284"/>
                  </a:lnTo>
                  <a:lnTo>
                    <a:pt x="295" y="267"/>
                  </a:lnTo>
                  <a:lnTo>
                    <a:pt x="297" y="257"/>
                  </a:lnTo>
                  <a:lnTo>
                    <a:pt x="293" y="248"/>
                  </a:lnTo>
                  <a:lnTo>
                    <a:pt x="299" y="238"/>
                  </a:lnTo>
                  <a:lnTo>
                    <a:pt x="299" y="227"/>
                  </a:lnTo>
                  <a:lnTo>
                    <a:pt x="293" y="221"/>
                  </a:lnTo>
                  <a:lnTo>
                    <a:pt x="291" y="211"/>
                  </a:lnTo>
                  <a:lnTo>
                    <a:pt x="293" y="200"/>
                  </a:lnTo>
                  <a:lnTo>
                    <a:pt x="287" y="190"/>
                  </a:lnTo>
                  <a:lnTo>
                    <a:pt x="280" y="186"/>
                  </a:lnTo>
                  <a:lnTo>
                    <a:pt x="272" y="186"/>
                  </a:lnTo>
                  <a:lnTo>
                    <a:pt x="264" y="179"/>
                  </a:lnTo>
                  <a:lnTo>
                    <a:pt x="257" y="173"/>
                  </a:lnTo>
                  <a:lnTo>
                    <a:pt x="257" y="162"/>
                  </a:lnTo>
                  <a:lnTo>
                    <a:pt x="261" y="154"/>
                  </a:lnTo>
                  <a:lnTo>
                    <a:pt x="261" y="137"/>
                  </a:lnTo>
                  <a:lnTo>
                    <a:pt x="259" y="121"/>
                  </a:lnTo>
                  <a:lnTo>
                    <a:pt x="268" y="114"/>
                  </a:lnTo>
                  <a:lnTo>
                    <a:pt x="282" y="108"/>
                  </a:lnTo>
                  <a:lnTo>
                    <a:pt x="299" y="100"/>
                  </a:lnTo>
                  <a:lnTo>
                    <a:pt x="301" y="89"/>
                  </a:lnTo>
                  <a:lnTo>
                    <a:pt x="293" y="83"/>
                  </a:lnTo>
                  <a:lnTo>
                    <a:pt x="280" y="81"/>
                  </a:lnTo>
                  <a:lnTo>
                    <a:pt x="270" y="73"/>
                  </a:lnTo>
                  <a:lnTo>
                    <a:pt x="268" y="58"/>
                  </a:lnTo>
                  <a:lnTo>
                    <a:pt x="270" y="43"/>
                  </a:lnTo>
                  <a:lnTo>
                    <a:pt x="280" y="37"/>
                  </a:lnTo>
                  <a:lnTo>
                    <a:pt x="289" y="37"/>
                  </a:lnTo>
                  <a:lnTo>
                    <a:pt x="312" y="35"/>
                  </a:lnTo>
                  <a:lnTo>
                    <a:pt x="332" y="33"/>
                  </a:lnTo>
                  <a:lnTo>
                    <a:pt x="347" y="33"/>
                  </a:lnTo>
                  <a:lnTo>
                    <a:pt x="362" y="33"/>
                  </a:lnTo>
                  <a:lnTo>
                    <a:pt x="374" y="35"/>
                  </a:lnTo>
                  <a:lnTo>
                    <a:pt x="378" y="29"/>
                  </a:lnTo>
                  <a:lnTo>
                    <a:pt x="378" y="21"/>
                  </a:lnTo>
                  <a:lnTo>
                    <a:pt x="378" y="16"/>
                  </a:lnTo>
                  <a:lnTo>
                    <a:pt x="380" y="12"/>
                  </a:lnTo>
                  <a:lnTo>
                    <a:pt x="383" y="8"/>
                  </a:lnTo>
                  <a:lnTo>
                    <a:pt x="389" y="8"/>
                  </a:lnTo>
                  <a:lnTo>
                    <a:pt x="395" y="8"/>
                  </a:lnTo>
                  <a:lnTo>
                    <a:pt x="399" y="14"/>
                  </a:lnTo>
                  <a:lnTo>
                    <a:pt x="401" y="20"/>
                  </a:lnTo>
                  <a:lnTo>
                    <a:pt x="404" y="25"/>
                  </a:lnTo>
                  <a:lnTo>
                    <a:pt x="410" y="29"/>
                  </a:lnTo>
                  <a:lnTo>
                    <a:pt x="414" y="27"/>
                  </a:lnTo>
                  <a:lnTo>
                    <a:pt x="418" y="21"/>
                  </a:lnTo>
                  <a:lnTo>
                    <a:pt x="422" y="18"/>
                  </a:lnTo>
                  <a:lnTo>
                    <a:pt x="424" y="8"/>
                  </a:lnTo>
                  <a:lnTo>
                    <a:pt x="428" y="2"/>
                  </a:lnTo>
                  <a:lnTo>
                    <a:pt x="437" y="2"/>
                  </a:lnTo>
                  <a:lnTo>
                    <a:pt x="454" y="2"/>
                  </a:lnTo>
                  <a:lnTo>
                    <a:pt x="458" y="8"/>
                  </a:lnTo>
                  <a:lnTo>
                    <a:pt x="462" y="20"/>
                  </a:lnTo>
                  <a:lnTo>
                    <a:pt x="466" y="33"/>
                  </a:lnTo>
                  <a:lnTo>
                    <a:pt x="468" y="43"/>
                  </a:lnTo>
                  <a:lnTo>
                    <a:pt x="468" y="46"/>
                  </a:lnTo>
                  <a:lnTo>
                    <a:pt x="464" y="50"/>
                  </a:lnTo>
                  <a:lnTo>
                    <a:pt x="464" y="54"/>
                  </a:lnTo>
                  <a:lnTo>
                    <a:pt x="462" y="60"/>
                  </a:lnTo>
                  <a:lnTo>
                    <a:pt x="470" y="64"/>
                  </a:lnTo>
                  <a:lnTo>
                    <a:pt x="479" y="64"/>
                  </a:lnTo>
                  <a:lnTo>
                    <a:pt x="489" y="66"/>
                  </a:lnTo>
                  <a:lnTo>
                    <a:pt x="502" y="69"/>
                  </a:lnTo>
                  <a:lnTo>
                    <a:pt x="510" y="81"/>
                  </a:lnTo>
                  <a:lnTo>
                    <a:pt x="527" y="87"/>
                  </a:lnTo>
                  <a:lnTo>
                    <a:pt x="533" y="94"/>
                  </a:lnTo>
                  <a:lnTo>
                    <a:pt x="543" y="98"/>
                  </a:lnTo>
                  <a:lnTo>
                    <a:pt x="556" y="94"/>
                  </a:lnTo>
                  <a:lnTo>
                    <a:pt x="568" y="92"/>
                  </a:lnTo>
                  <a:lnTo>
                    <a:pt x="585" y="91"/>
                  </a:lnTo>
                  <a:lnTo>
                    <a:pt x="598" y="87"/>
                  </a:lnTo>
                  <a:lnTo>
                    <a:pt x="600" y="75"/>
                  </a:lnTo>
                  <a:lnTo>
                    <a:pt x="606" y="60"/>
                  </a:lnTo>
                  <a:lnTo>
                    <a:pt x="623" y="62"/>
                  </a:lnTo>
                  <a:lnTo>
                    <a:pt x="635" y="54"/>
                  </a:lnTo>
                  <a:lnTo>
                    <a:pt x="637" y="46"/>
                  </a:lnTo>
                  <a:lnTo>
                    <a:pt x="652" y="33"/>
                  </a:lnTo>
                  <a:lnTo>
                    <a:pt x="660" y="21"/>
                  </a:lnTo>
                  <a:lnTo>
                    <a:pt x="669" y="23"/>
                  </a:lnTo>
                  <a:lnTo>
                    <a:pt x="683" y="21"/>
                  </a:lnTo>
                  <a:lnTo>
                    <a:pt x="696" y="16"/>
                  </a:lnTo>
                  <a:lnTo>
                    <a:pt x="706" y="14"/>
                  </a:lnTo>
                  <a:lnTo>
                    <a:pt x="713" y="6"/>
                  </a:lnTo>
                  <a:lnTo>
                    <a:pt x="725" y="6"/>
                  </a:lnTo>
                  <a:lnTo>
                    <a:pt x="736" y="0"/>
                  </a:lnTo>
                  <a:lnTo>
                    <a:pt x="746" y="2"/>
                  </a:lnTo>
                  <a:lnTo>
                    <a:pt x="756" y="12"/>
                  </a:lnTo>
                  <a:lnTo>
                    <a:pt x="765" y="21"/>
                  </a:lnTo>
                  <a:lnTo>
                    <a:pt x="773" y="31"/>
                  </a:lnTo>
                  <a:lnTo>
                    <a:pt x="777" y="46"/>
                  </a:lnTo>
                  <a:lnTo>
                    <a:pt x="784" y="62"/>
                  </a:lnTo>
                  <a:lnTo>
                    <a:pt x="792" y="73"/>
                  </a:lnTo>
                  <a:lnTo>
                    <a:pt x="796" y="87"/>
                  </a:lnTo>
                  <a:lnTo>
                    <a:pt x="804" y="106"/>
                  </a:lnTo>
                  <a:lnTo>
                    <a:pt x="809" y="121"/>
                  </a:lnTo>
                  <a:lnTo>
                    <a:pt x="811" y="135"/>
                  </a:lnTo>
                  <a:lnTo>
                    <a:pt x="811" y="152"/>
                  </a:lnTo>
                  <a:lnTo>
                    <a:pt x="813" y="162"/>
                  </a:lnTo>
                  <a:lnTo>
                    <a:pt x="817" y="181"/>
                  </a:lnTo>
                  <a:lnTo>
                    <a:pt x="815" y="194"/>
                  </a:lnTo>
                  <a:lnTo>
                    <a:pt x="821" y="211"/>
                  </a:lnTo>
                  <a:lnTo>
                    <a:pt x="823" y="223"/>
                  </a:lnTo>
                  <a:lnTo>
                    <a:pt x="829" y="233"/>
                  </a:lnTo>
                  <a:lnTo>
                    <a:pt x="836" y="252"/>
                  </a:lnTo>
                  <a:lnTo>
                    <a:pt x="846" y="257"/>
                  </a:lnTo>
                  <a:lnTo>
                    <a:pt x="852" y="254"/>
                  </a:lnTo>
                  <a:lnTo>
                    <a:pt x="855" y="242"/>
                  </a:lnTo>
                  <a:lnTo>
                    <a:pt x="863" y="231"/>
                  </a:lnTo>
                  <a:lnTo>
                    <a:pt x="869" y="219"/>
                  </a:lnTo>
                  <a:lnTo>
                    <a:pt x="871" y="202"/>
                  </a:lnTo>
                  <a:lnTo>
                    <a:pt x="871" y="186"/>
                  </a:lnTo>
                  <a:lnTo>
                    <a:pt x="873" y="165"/>
                  </a:lnTo>
                  <a:lnTo>
                    <a:pt x="886" y="158"/>
                  </a:lnTo>
                  <a:lnTo>
                    <a:pt x="898" y="150"/>
                  </a:lnTo>
                  <a:lnTo>
                    <a:pt x="909" y="160"/>
                  </a:lnTo>
                  <a:lnTo>
                    <a:pt x="917" y="169"/>
                  </a:lnTo>
                  <a:lnTo>
                    <a:pt x="928" y="165"/>
                  </a:lnTo>
                  <a:lnTo>
                    <a:pt x="936" y="158"/>
                  </a:lnTo>
                  <a:lnTo>
                    <a:pt x="948" y="148"/>
                  </a:lnTo>
                  <a:lnTo>
                    <a:pt x="961" y="146"/>
                  </a:lnTo>
                  <a:lnTo>
                    <a:pt x="978" y="142"/>
                  </a:lnTo>
                  <a:lnTo>
                    <a:pt x="984" y="139"/>
                  </a:lnTo>
                  <a:lnTo>
                    <a:pt x="996" y="137"/>
                  </a:lnTo>
                  <a:lnTo>
                    <a:pt x="1005" y="135"/>
                  </a:lnTo>
                  <a:lnTo>
                    <a:pt x="1013" y="135"/>
                  </a:lnTo>
                  <a:lnTo>
                    <a:pt x="1019" y="150"/>
                  </a:lnTo>
                  <a:lnTo>
                    <a:pt x="1019" y="167"/>
                  </a:lnTo>
                  <a:lnTo>
                    <a:pt x="1015" y="183"/>
                  </a:lnTo>
                  <a:lnTo>
                    <a:pt x="1022" y="192"/>
                  </a:lnTo>
                  <a:lnTo>
                    <a:pt x="1034" y="206"/>
                  </a:lnTo>
                  <a:lnTo>
                    <a:pt x="1036" y="215"/>
                  </a:lnTo>
                  <a:lnTo>
                    <a:pt x="1045" y="225"/>
                  </a:lnTo>
                  <a:lnTo>
                    <a:pt x="1051" y="217"/>
                  </a:lnTo>
                  <a:lnTo>
                    <a:pt x="1055" y="209"/>
                  </a:lnTo>
                  <a:lnTo>
                    <a:pt x="1059" y="211"/>
                  </a:lnTo>
                  <a:lnTo>
                    <a:pt x="1063" y="221"/>
                  </a:lnTo>
                  <a:lnTo>
                    <a:pt x="1072" y="233"/>
                  </a:lnTo>
                  <a:lnTo>
                    <a:pt x="1088" y="244"/>
                  </a:lnTo>
                  <a:lnTo>
                    <a:pt x="1097" y="248"/>
                  </a:lnTo>
                  <a:lnTo>
                    <a:pt x="1103" y="252"/>
                  </a:lnTo>
                  <a:lnTo>
                    <a:pt x="1114" y="257"/>
                  </a:lnTo>
                  <a:lnTo>
                    <a:pt x="1124" y="261"/>
                  </a:lnTo>
                  <a:lnTo>
                    <a:pt x="1134" y="263"/>
                  </a:lnTo>
                  <a:lnTo>
                    <a:pt x="1153" y="277"/>
                  </a:lnTo>
                  <a:lnTo>
                    <a:pt x="1161" y="275"/>
                  </a:lnTo>
                  <a:lnTo>
                    <a:pt x="1172" y="280"/>
                  </a:lnTo>
                  <a:lnTo>
                    <a:pt x="1174" y="290"/>
                  </a:lnTo>
                  <a:lnTo>
                    <a:pt x="1182" y="298"/>
                  </a:lnTo>
                  <a:lnTo>
                    <a:pt x="1189" y="309"/>
                  </a:lnTo>
                  <a:lnTo>
                    <a:pt x="1195" y="317"/>
                  </a:lnTo>
                  <a:lnTo>
                    <a:pt x="1203" y="313"/>
                  </a:lnTo>
                  <a:lnTo>
                    <a:pt x="1210" y="315"/>
                  </a:lnTo>
                  <a:lnTo>
                    <a:pt x="1220" y="319"/>
                  </a:lnTo>
                  <a:lnTo>
                    <a:pt x="1222" y="325"/>
                  </a:lnTo>
                  <a:lnTo>
                    <a:pt x="1222" y="336"/>
                  </a:lnTo>
                  <a:lnTo>
                    <a:pt x="1220" y="350"/>
                  </a:lnTo>
                  <a:lnTo>
                    <a:pt x="1214" y="363"/>
                  </a:lnTo>
                  <a:lnTo>
                    <a:pt x="1214" y="374"/>
                  </a:lnTo>
                  <a:lnTo>
                    <a:pt x="1210" y="390"/>
                  </a:lnTo>
                  <a:lnTo>
                    <a:pt x="1205" y="415"/>
                  </a:lnTo>
                  <a:lnTo>
                    <a:pt x="1201" y="426"/>
                  </a:lnTo>
                  <a:lnTo>
                    <a:pt x="1199" y="438"/>
                  </a:lnTo>
                  <a:lnTo>
                    <a:pt x="1199" y="449"/>
                  </a:lnTo>
                  <a:lnTo>
                    <a:pt x="1195" y="459"/>
                  </a:lnTo>
                  <a:lnTo>
                    <a:pt x="1193" y="474"/>
                  </a:lnTo>
                  <a:lnTo>
                    <a:pt x="1187" y="486"/>
                  </a:lnTo>
                  <a:lnTo>
                    <a:pt x="1185" y="503"/>
                  </a:lnTo>
                  <a:lnTo>
                    <a:pt x="1178" y="513"/>
                  </a:lnTo>
                  <a:lnTo>
                    <a:pt x="1176" y="524"/>
                  </a:lnTo>
                  <a:lnTo>
                    <a:pt x="1172" y="541"/>
                  </a:lnTo>
                  <a:lnTo>
                    <a:pt x="1168" y="557"/>
                  </a:lnTo>
                  <a:lnTo>
                    <a:pt x="1164" y="570"/>
                  </a:lnTo>
                  <a:lnTo>
                    <a:pt x="1161" y="595"/>
                  </a:lnTo>
                  <a:lnTo>
                    <a:pt x="1153" y="610"/>
                  </a:lnTo>
                  <a:lnTo>
                    <a:pt x="1147" y="630"/>
                  </a:lnTo>
                  <a:lnTo>
                    <a:pt x="1143" y="64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/>
            </a:p>
          </p:txBody>
        </p:sp>
        <p:sp>
          <p:nvSpPr>
            <p:cNvPr id="130" name="Freeform 15"/>
            <p:cNvSpPr>
              <a:spLocks/>
            </p:cNvSpPr>
            <p:nvPr/>
          </p:nvSpPr>
          <p:spPr bwMode="auto">
            <a:xfrm>
              <a:off x="5394293" y="748593"/>
              <a:ext cx="1879267" cy="1720153"/>
            </a:xfrm>
            <a:custGeom>
              <a:avLst/>
              <a:gdLst>
                <a:gd name="T0" fmla="*/ 783 w 963"/>
                <a:gd name="T1" fmla="*/ 583 h 882"/>
                <a:gd name="T2" fmla="*/ 777 w 963"/>
                <a:gd name="T3" fmla="*/ 620 h 882"/>
                <a:gd name="T4" fmla="*/ 764 w 963"/>
                <a:gd name="T5" fmla="*/ 644 h 882"/>
                <a:gd name="T6" fmla="*/ 742 w 963"/>
                <a:gd name="T7" fmla="*/ 671 h 882"/>
                <a:gd name="T8" fmla="*/ 721 w 963"/>
                <a:gd name="T9" fmla="*/ 704 h 882"/>
                <a:gd name="T10" fmla="*/ 721 w 963"/>
                <a:gd name="T11" fmla="*/ 754 h 882"/>
                <a:gd name="T12" fmla="*/ 693 w 963"/>
                <a:gd name="T13" fmla="*/ 811 h 882"/>
                <a:gd name="T14" fmla="*/ 664 w 963"/>
                <a:gd name="T15" fmla="*/ 861 h 882"/>
                <a:gd name="T16" fmla="*/ 595 w 963"/>
                <a:gd name="T17" fmla="*/ 879 h 882"/>
                <a:gd name="T18" fmla="*/ 476 w 963"/>
                <a:gd name="T19" fmla="*/ 871 h 882"/>
                <a:gd name="T20" fmla="*/ 359 w 963"/>
                <a:gd name="T21" fmla="*/ 865 h 882"/>
                <a:gd name="T22" fmla="*/ 249 w 963"/>
                <a:gd name="T23" fmla="*/ 859 h 882"/>
                <a:gd name="T24" fmla="*/ 184 w 963"/>
                <a:gd name="T25" fmla="*/ 832 h 882"/>
                <a:gd name="T26" fmla="*/ 159 w 963"/>
                <a:gd name="T27" fmla="*/ 786 h 882"/>
                <a:gd name="T28" fmla="*/ 159 w 963"/>
                <a:gd name="T29" fmla="*/ 733 h 882"/>
                <a:gd name="T30" fmla="*/ 136 w 963"/>
                <a:gd name="T31" fmla="*/ 691 h 882"/>
                <a:gd name="T32" fmla="*/ 140 w 963"/>
                <a:gd name="T33" fmla="*/ 644 h 882"/>
                <a:gd name="T34" fmla="*/ 163 w 963"/>
                <a:gd name="T35" fmla="*/ 558 h 882"/>
                <a:gd name="T36" fmla="*/ 182 w 963"/>
                <a:gd name="T37" fmla="*/ 493 h 882"/>
                <a:gd name="T38" fmla="*/ 197 w 963"/>
                <a:gd name="T39" fmla="*/ 424 h 882"/>
                <a:gd name="T40" fmla="*/ 209 w 963"/>
                <a:gd name="T41" fmla="*/ 359 h 882"/>
                <a:gd name="T42" fmla="*/ 176 w 963"/>
                <a:gd name="T43" fmla="*/ 343 h 882"/>
                <a:gd name="T44" fmla="*/ 140 w 963"/>
                <a:gd name="T45" fmla="*/ 311 h 882"/>
                <a:gd name="T46" fmla="*/ 84 w 963"/>
                <a:gd name="T47" fmla="*/ 282 h 882"/>
                <a:gd name="T48" fmla="*/ 42 w 963"/>
                <a:gd name="T49" fmla="*/ 243 h 882"/>
                <a:gd name="T50" fmla="*/ 9 w 963"/>
                <a:gd name="T51" fmla="*/ 226 h 882"/>
                <a:gd name="T52" fmla="*/ 7 w 963"/>
                <a:gd name="T53" fmla="*/ 159 h 882"/>
                <a:gd name="T54" fmla="*/ 23 w 963"/>
                <a:gd name="T55" fmla="*/ 88 h 882"/>
                <a:gd name="T56" fmla="*/ 80 w 963"/>
                <a:gd name="T57" fmla="*/ 80 h 882"/>
                <a:gd name="T58" fmla="*/ 111 w 963"/>
                <a:gd name="T59" fmla="*/ 63 h 882"/>
                <a:gd name="T60" fmla="*/ 148 w 963"/>
                <a:gd name="T61" fmla="*/ 44 h 882"/>
                <a:gd name="T62" fmla="*/ 213 w 963"/>
                <a:gd name="T63" fmla="*/ 48 h 882"/>
                <a:gd name="T64" fmla="*/ 253 w 963"/>
                <a:gd name="T65" fmla="*/ 36 h 882"/>
                <a:gd name="T66" fmla="*/ 253 w 963"/>
                <a:gd name="T67" fmla="*/ 0 h 882"/>
                <a:gd name="T68" fmla="*/ 293 w 963"/>
                <a:gd name="T69" fmla="*/ 0 h 882"/>
                <a:gd name="T70" fmla="*/ 332 w 963"/>
                <a:gd name="T71" fmla="*/ 17 h 882"/>
                <a:gd name="T72" fmla="*/ 349 w 963"/>
                <a:gd name="T73" fmla="*/ 63 h 882"/>
                <a:gd name="T74" fmla="*/ 401 w 963"/>
                <a:gd name="T75" fmla="*/ 88 h 882"/>
                <a:gd name="T76" fmla="*/ 449 w 963"/>
                <a:gd name="T77" fmla="*/ 132 h 882"/>
                <a:gd name="T78" fmla="*/ 462 w 963"/>
                <a:gd name="T79" fmla="*/ 199 h 882"/>
                <a:gd name="T80" fmla="*/ 489 w 963"/>
                <a:gd name="T81" fmla="*/ 243 h 882"/>
                <a:gd name="T82" fmla="*/ 547 w 963"/>
                <a:gd name="T83" fmla="*/ 280 h 882"/>
                <a:gd name="T84" fmla="*/ 604 w 963"/>
                <a:gd name="T85" fmla="*/ 274 h 882"/>
                <a:gd name="T86" fmla="*/ 631 w 963"/>
                <a:gd name="T87" fmla="*/ 316 h 882"/>
                <a:gd name="T88" fmla="*/ 693 w 963"/>
                <a:gd name="T89" fmla="*/ 320 h 882"/>
                <a:gd name="T90" fmla="*/ 729 w 963"/>
                <a:gd name="T91" fmla="*/ 320 h 882"/>
                <a:gd name="T92" fmla="*/ 767 w 963"/>
                <a:gd name="T93" fmla="*/ 288 h 882"/>
                <a:gd name="T94" fmla="*/ 800 w 963"/>
                <a:gd name="T95" fmla="*/ 240 h 882"/>
                <a:gd name="T96" fmla="*/ 856 w 963"/>
                <a:gd name="T97" fmla="*/ 224 h 882"/>
                <a:gd name="T98" fmla="*/ 936 w 963"/>
                <a:gd name="T99" fmla="*/ 247 h 882"/>
                <a:gd name="T100" fmla="*/ 952 w 963"/>
                <a:gd name="T101" fmla="*/ 282 h 882"/>
                <a:gd name="T102" fmla="*/ 940 w 963"/>
                <a:gd name="T103" fmla="*/ 328 h 882"/>
                <a:gd name="T104" fmla="*/ 921 w 963"/>
                <a:gd name="T105" fmla="*/ 361 h 882"/>
                <a:gd name="T106" fmla="*/ 900 w 963"/>
                <a:gd name="T107" fmla="*/ 401 h 882"/>
                <a:gd name="T108" fmla="*/ 869 w 963"/>
                <a:gd name="T109" fmla="*/ 453 h 882"/>
                <a:gd name="T110" fmla="*/ 848 w 963"/>
                <a:gd name="T111" fmla="*/ 504 h 882"/>
                <a:gd name="T112" fmla="*/ 808 w 963"/>
                <a:gd name="T113" fmla="*/ 518 h 882"/>
                <a:gd name="T114" fmla="*/ 773 w 963"/>
                <a:gd name="T115" fmla="*/ 554 h 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63" h="882">
                  <a:moveTo>
                    <a:pt x="773" y="554"/>
                  </a:moveTo>
                  <a:lnTo>
                    <a:pt x="764" y="562"/>
                  </a:lnTo>
                  <a:lnTo>
                    <a:pt x="771" y="566"/>
                  </a:lnTo>
                  <a:lnTo>
                    <a:pt x="777" y="572"/>
                  </a:lnTo>
                  <a:lnTo>
                    <a:pt x="783" y="583"/>
                  </a:lnTo>
                  <a:lnTo>
                    <a:pt x="783" y="595"/>
                  </a:lnTo>
                  <a:lnTo>
                    <a:pt x="777" y="600"/>
                  </a:lnTo>
                  <a:lnTo>
                    <a:pt x="781" y="606"/>
                  </a:lnTo>
                  <a:lnTo>
                    <a:pt x="781" y="612"/>
                  </a:lnTo>
                  <a:lnTo>
                    <a:pt x="777" y="620"/>
                  </a:lnTo>
                  <a:lnTo>
                    <a:pt x="779" y="625"/>
                  </a:lnTo>
                  <a:lnTo>
                    <a:pt x="781" y="631"/>
                  </a:lnTo>
                  <a:lnTo>
                    <a:pt x="775" y="641"/>
                  </a:lnTo>
                  <a:lnTo>
                    <a:pt x="769" y="641"/>
                  </a:lnTo>
                  <a:lnTo>
                    <a:pt x="764" y="644"/>
                  </a:lnTo>
                  <a:lnTo>
                    <a:pt x="762" y="648"/>
                  </a:lnTo>
                  <a:lnTo>
                    <a:pt x="756" y="658"/>
                  </a:lnTo>
                  <a:lnTo>
                    <a:pt x="748" y="658"/>
                  </a:lnTo>
                  <a:lnTo>
                    <a:pt x="746" y="667"/>
                  </a:lnTo>
                  <a:lnTo>
                    <a:pt x="742" y="671"/>
                  </a:lnTo>
                  <a:lnTo>
                    <a:pt x="737" y="677"/>
                  </a:lnTo>
                  <a:lnTo>
                    <a:pt x="733" y="679"/>
                  </a:lnTo>
                  <a:lnTo>
                    <a:pt x="731" y="685"/>
                  </a:lnTo>
                  <a:lnTo>
                    <a:pt x="729" y="691"/>
                  </a:lnTo>
                  <a:lnTo>
                    <a:pt x="721" y="704"/>
                  </a:lnTo>
                  <a:lnTo>
                    <a:pt x="717" y="712"/>
                  </a:lnTo>
                  <a:lnTo>
                    <a:pt x="717" y="721"/>
                  </a:lnTo>
                  <a:lnTo>
                    <a:pt x="717" y="729"/>
                  </a:lnTo>
                  <a:lnTo>
                    <a:pt x="725" y="744"/>
                  </a:lnTo>
                  <a:lnTo>
                    <a:pt x="721" y="754"/>
                  </a:lnTo>
                  <a:lnTo>
                    <a:pt x="714" y="767"/>
                  </a:lnTo>
                  <a:lnTo>
                    <a:pt x="708" y="779"/>
                  </a:lnTo>
                  <a:lnTo>
                    <a:pt x="702" y="794"/>
                  </a:lnTo>
                  <a:lnTo>
                    <a:pt x="696" y="802"/>
                  </a:lnTo>
                  <a:lnTo>
                    <a:pt x="693" y="811"/>
                  </a:lnTo>
                  <a:lnTo>
                    <a:pt x="683" y="823"/>
                  </a:lnTo>
                  <a:lnTo>
                    <a:pt x="675" y="832"/>
                  </a:lnTo>
                  <a:lnTo>
                    <a:pt x="671" y="840"/>
                  </a:lnTo>
                  <a:lnTo>
                    <a:pt x="669" y="850"/>
                  </a:lnTo>
                  <a:lnTo>
                    <a:pt x="664" y="861"/>
                  </a:lnTo>
                  <a:lnTo>
                    <a:pt x="658" y="869"/>
                  </a:lnTo>
                  <a:lnTo>
                    <a:pt x="648" y="882"/>
                  </a:lnTo>
                  <a:lnTo>
                    <a:pt x="629" y="882"/>
                  </a:lnTo>
                  <a:lnTo>
                    <a:pt x="614" y="879"/>
                  </a:lnTo>
                  <a:lnTo>
                    <a:pt x="595" y="879"/>
                  </a:lnTo>
                  <a:lnTo>
                    <a:pt x="572" y="875"/>
                  </a:lnTo>
                  <a:lnTo>
                    <a:pt x="551" y="875"/>
                  </a:lnTo>
                  <a:lnTo>
                    <a:pt x="531" y="875"/>
                  </a:lnTo>
                  <a:lnTo>
                    <a:pt x="497" y="871"/>
                  </a:lnTo>
                  <a:lnTo>
                    <a:pt x="476" y="871"/>
                  </a:lnTo>
                  <a:lnTo>
                    <a:pt x="456" y="869"/>
                  </a:lnTo>
                  <a:lnTo>
                    <a:pt x="430" y="867"/>
                  </a:lnTo>
                  <a:lnTo>
                    <a:pt x="410" y="865"/>
                  </a:lnTo>
                  <a:lnTo>
                    <a:pt x="384" y="865"/>
                  </a:lnTo>
                  <a:lnTo>
                    <a:pt x="359" y="865"/>
                  </a:lnTo>
                  <a:lnTo>
                    <a:pt x="336" y="865"/>
                  </a:lnTo>
                  <a:lnTo>
                    <a:pt x="311" y="861"/>
                  </a:lnTo>
                  <a:lnTo>
                    <a:pt x="290" y="859"/>
                  </a:lnTo>
                  <a:lnTo>
                    <a:pt x="270" y="859"/>
                  </a:lnTo>
                  <a:lnTo>
                    <a:pt x="249" y="859"/>
                  </a:lnTo>
                  <a:lnTo>
                    <a:pt x="226" y="859"/>
                  </a:lnTo>
                  <a:lnTo>
                    <a:pt x="211" y="861"/>
                  </a:lnTo>
                  <a:lnTo>
                    <a:pt x="199" y="850"/>
                  </a:lnTo>
                  <a:lnTo>
                    <a:pt x="194" y="840"/>
                  </a:lnTo>
                  <a:lnTo>
                    <a:pt x="184" y="832"/>
                  </a:lnTo>
                  <a:lnTo>
                    <a:pt x="172" y="823"/>
                  </a:lnTo>
                  <a:lnTo>
                    <a:pt x="161" y="817"/>
                  </a:lnTo>
                  <a:lnTo>
                    <a:pt x="155" y="804"/>
                  </a:lnTo>
                  <a:lnTo>
                    <a:pt x="155" y="792"/>
                  </a:lnTo>
                  <a:lnTo>
                    <a:pt x="159" y="786"/>
                  </a:lnTo>
                  <a:lnTo>
                    <a:pt x="163" y="775"/>
                  </a:lnTo>
                  <a:lnTo>
                    <a:pt x="159" y="763"/>
                  </a:lnTo>
                  <a:lnTo>
                    <a:pt x="159" y="754"/>
                  </a:lnTo>
                  <a:lnTo>
                    <a:pt x="161" y="742"/>
                  </a:lnTo>
                  <a:lnTo>
                    <a:pt x="159" y="733"/>
                  </a:lnTo>
                  <a:lnTo>
                    <a:pt x="155" y="725"/>
                  </a:lnTo>
                  <a:lnTo>
                    <a:pt x="149" y="721"/>
                  </a:lnTo>
                  <a:lnTo>
                    <a:pt x="146" y="712"/>
                  </a:lnTo>
                  <a:lnTo>
                    <a:pt x="138" y="704"/>
                  </a:lnTo>
                  <a:lnTo>
                    <a:pt x="136" y="691"/>
                  </a:lnTo>
                  <a:lnTo>
                    <a:pt x="130" y="683"/>
                  </a:lnTo>
                  <a:lnTo>
                    <a:pt x="128" y="681"/>
                  </a:lnTo>
                  <a:lnTo>
                    <a:pt x="130" y="675"/>
                  </a:lnTo>
                  <a:lnTo>
                    <a:pt x="134" y="664"/>
                  </a:lnTo>
                  <a:lnTo>
                    <a:pt x="140" y="644"/>
                  </a:lnTo>
                  <a:lnTo>
                    <a:pt x="148" y="629"/>
                  </a:lnTo>
                  <a:lnTo>
                    <a:pt x="151" y="604"/>
                  </a:lnTo>
                  <a:lnTo>
                    <a:pt x="155" y="591"/>
                  </a:lnTo>
                  <a:lnTo>
                    <a:pt x="159" y="575"/>
                  </a:lnTo>
                  <a:lnTo>
                    <a:pt x="163" y="558"/>
                  </a:lnTo>
                  <a:lnTo>
                    <a:pt x="165" y="547"/>
                  </a:lnTo>
                  <a:lnTo>
                    <a:pt x="172" y="537"/>
                  </a:lnTo>
                  <a:lnTo>
                    <a:pt x="174" y="520"/>
                  </a:lnTo>
                  <a:lnTo>
                    <a:pt x="180" y="508"/>
                  </a:lnTo>
                  <a:lnTo>
                    <a:pt x="182" y="493"/>
                  </a:lnTo>
                  <a:lnTo>
                    <a:pt x="186" y="483"/>
                  </a:lnTo>
                  <a:lnTo>
                    <a:pt x="186" y="472"/>
                  </a:lnTo>
                  <a:lnTo>
                    <a:pt x="188" y="460"/>
                  </a:lnTo>
                  <a:lnTo>
                    <a:pt x="192" y="449"/>
                  </a:lnTo>
                  <a:lnTo>
                    <a:pt x="197" y="424"/>
                  </a:lnTo>
                  <a:lnTo>
                    <a:pt x="201" y="408"/>
                  </a:lnTo>
                  <a:lnTo>
                    <a:pt x="201" y="397"/>
                  </a:lnTo>
                  <a:lnTo>
                    <a:pt x="207" y="384"/>
                  </a:lnTo>
                  <a:lnTo>
                    <a:pt x="209" y="370"/>
                  </a:lnTo>
                  <a:lnTo>
                    <a:pt x="209" y="359"/>
                  </a:lnTo>
                  <a:lnTo>
                    <a:pt x="207" y="353"/>
                  </a:lnTo>
                  <a:lnTo>
                    <a:pt x="197" y="349"/>
                  </a:lnTo>
                  <a:lnTo>
                    <a:pt x="190" y="347"/>
                  </a:lnTo>
                  <a:lnTo>
                    <a:pt x="182" y="351"/>
                  </a:lnTo>
                  <a:lnTo>
                    <a:pt x="176" y="343"/>
                  </a:lnTo>
                  <a:lnTo>
                    <a:pt x="169" y="332"/>
                  </a:lnTo>
                  <a:lnTo>
                    <a:pt x="161" y="324"/>
                  </a:lnTo>
                  <a:lnTo>
                    <a:pt x="159" y="314"/>
                  </a:lnTo>
                  <a:lnTo>
                    <a:pt x="148" y="309"/>
                  </a:lnTo>
                  <a:lnTo>
                    <a:pt x="140" y="311"/>
                  </a:lnTo>
                  <a:lnTo>
                    <a:pt x="121" y="297"/>
                  </a:lnTo>
                  <a:lnTo>
                    <a:pt x="111" y="295"/>
                  </a:lnTo>
                  <a:lnTo>
                    <a:pt x="101" y="291"/>
                  </a:lnTo>
                  <a:lnTo>
                    <a:pt x="90" y="286"/>
                  </a:lnTo>
                  <a:lnTo>
                    <a:pt x="84" y="282"/>
                  </a:lnTo>
                  <a:lnTo>
                    <a:pt x="75" y="278"/>
                  </a:lnTo>
                  <a:lnTo>
                    <a:pt x="59" y="267"/>
                  </a:lnTo>
                  <a:lnTo>
                    <a:pt x="50" y="255"/>
                  </a:lnTo>
                  <a:lnTo>
                    <a:pt x="46" y="245"/>
                  </a:lnTo>
                  <a:lnTo>
                    <a:pt x="42" y="243"/>
                  </a:lnTo>
                  <a:lnTo>
                    <a:pt x="38" y="251"/>
                  </a:lnTo>
                  <a:lnTo>
                    <a:pt x="32" y="259"/>
                  </a:lnTo>
                  <a:lnTo>
                    <a:pt x="23" y="249"/>
                  </a:lnTo>
                  <a:lnTo>
                    <a:pt x="21" y="240"/>
                  </a:lnTo>
                  <a:lnTo>
                    <a:pt x="9" y="226"/>
                  </a:lnTo>
                  <a:lnTo>
                    <a:pt x="2" y="217"/>
                  </a:lnTo>
                  <a:lnTo>
                    <a:pt x="6" y="201"/>
                  </a:lnTo>
                  <a:lnTo>
                    <a:pt x="6" y="184"/>
                  </a:lnTo>
                  <a:lnTo>
                    <a:pt x="0" y="169"/>
                  </a:lnTo>
                  <a:lnTo>
                    <a:pt x="7" y="159"/>
                  </a:lnTo>
                  <a:lnTo>
                    <a:pt x="9" y="142"/>
                  </a:lnTo>
                  <a:lnTo>
                    <a:pt x="9" y="123"/>
                  </a:lnTo>
                  <a:lnTo>
                    <a:pt x="15" y="107"/>
                  </a:lnTo>
                  <a:lnTo>
                    <a:pt x="19" y="98"/>
                  </a:lnTo>
                  <a:lnTo>
                    <a:pt x="23" y="88"/>
                  </a:lnTo>
                  <a:lnTo>
                    <a:pt x="32" y="94"/>
                  </a:lnTo>
                  <a:lnTo>
                    <a:pt x="44" y="94"/>
                  </a:lnTo>
                  <a:lnTo>
                    <a:pt x="55" y="94"/>
                  </a:lnTo>
                  <a:lnTo>
                    <a:pt x="67" y="88"/>
                  </a:lnTo>
                  <a:lnTo>
                    <a:pt x="80" y="80"/>
                  </a:lnTo>
                  <a:lnTo>
                    <a:pt x="77" y="73"/>
                  </a:lnTo>
                  <a:lnTo>
                    <a:pt x="88" y="71"/>
                  </a:lnTo>
                  <a:lnTo>
                    <a:pt x="96" y="69"/>
                  </a:lnTo>
                  <a:lnTo>
                    <a:pt x="103" y="69"/>
                  </a:lnTo>
                  <a:lnTo>
                    <a:pt x="111" y="63"/>
                  </a:lnTo>
                  <a:lnTo>
                    <a:pt x="123" y="63"/>
                  </a:lnTo>
                  <a:lnTo>
                    <a:pt x="130" y="59"/>
                  </a:lnTo>
                  <a:lnTo>
                    <a:pt x="140" y="63"/>
                  </a:lnTo>
                  <a:lnTo>
                    <a:pt x="142" y="52"/>
                  </a:lnTo>
                  <a:lnTo>
                    <a:pt x="148" y="44"/>
                  </a:lnTo>
                  <a:lnTo>
                    <a:pt x="165" y="36"/>
                  </a:lnTo>
                  <a:lnTo>
                    <a:pt x="174" y="40"/>
                  </a:lnTo>
                  <a:lnTo>
                    <a:pt x="188" y="44"/>
                  </a:lnTo>
                  <a:lnTo>
                    <a:pt x="197" y="46"/>
                  </a:lnTo>
                  <a:lnTo>
                    <a:pt x="213" y="48"/>
                  </a:lnTo>
                  <a:lnTo>
                    <a:pt x="222" y="48"/>
                  </a:lnTo>
                  <a:lnTo>
                    <a:pt x="232" y="48"/>
                  </a:lnTo>
                  <a:lnTo>
                    <a:pt x="242" y="42"/>
                  </a:lnTo>
                  <a:lnTo>
                    <a:pt x="253" y="42"/>
                  </a:lnTo>
                  <a:lnTo>
                    <a:pt x="253" y="36"/>
                  </a:lnTo>
                  <a:lnTo>
                    <a:pt x="245" y="31"/>
                  </a:lnTo>
                  <a:lnTo>
                    <a:pt x="249" y="25"/>
                  </a:lnTo>
                  <a:lnTo>
                    <a:pt x="247" y="17"/>
                  </a:lnTo>
                  <a:lnTo>
                    <a:pt x="249" y="8"/>
                  </a:lnTo>
                  <a:lnTo>
                    <a:pt x="253" y="0"/>
                  </a:lnTo>
                  <a:lnTo>
                    <a:pt x="265" y="0"/>
                  </a:lnTo>
                  <a:lnTo>
                    <a:pt x="272" y="6"/>
                  </a:lnTo>
                  <a:lnTo>
                    <a:pt x="282" y="8"/>
                  </a:lnTo>
                  <a:lnTo>
                    <a:pt x="290" y="6"/>
                  </a:lnTo>
                  <a:lnTo>
                    <a:pt x="293" y="0"/>
                  </a:lnTo>
                  <a:lnTo>
                    <a:pt x="303" y="0"/>
                  </a:lnTo>
                  <a:lnTo>
                    <a:pt x="314" y="4"/>
                  </a:lnTo>
                  <a:lnTo>
                    <a:pt x="326" y="4"/>
                  </a:lnTo>
                  <a:lnTo>
                    <a:pt x="330" y="9"/>
                  </a:lnTo>
                  <a:lnTo>
                    <a:pt x="332" y="17"/>
                  </a:lnTo>
                  <a:lnTo>
                    <a:pt x="332" y="27"/>
                  </a:lnTo>
                  <a:lnTo>
                    <a:pt x="334" y="40"/>
                  </a:lnTo>
                  <a:lnTo>
                    <a:pt x="334" y="52"/>
                  </a:lnTo>
                  <a:lnTo>
                    <a:pt x="338" y="61"/>
                  </a:lnTo>
                  <a:lnTo>
                    <a:pt x="349" y="63"/>
                  </a:lnTo>
                  <a:lnTo>
                    <a:pt x="361" y="67"/>
                  </a:lnTo>
                  <a:lnTo>
                    <a:pt x="370" y="75"/>
                  </a:lnTo>
                  <a:lnTo>
                    <a:pt x="380" y="82"/>
                  </a:lnTo>
                  <a:lnTo>
                    <a:pt x="391" y="80"/>
                  </a:lnTo>
                  <a:lnTo>
                    <a:pt x="401" y="88"/>
                  </a:lnTo>
                  <a:lnTo>
                    <a:pt x="414" y="100"/>
                  </a:lnTo>
                  <a:lnTo>
                    <a:pt x="422" y="113"/>
                  </a:lnTo>
                  <a:lnTo>
                    <a:pt x="433" y="121"/>
                  </a:lnTo>
                  <a:lnTo>
                    <a:pt x="439" y="126"/>
                  </a:lnTo>
                  <a:lnTo>
                    <a:pt x="449" y="132"/>
                  </a:lnTo>
                  <a:lnTo>
                    <a:pt x="445" y="144"/>
                  </a:lnTo>
                  <a:lnTo>
                    <a:pt x="445" y="155"/>
                  </a:lnTo>
                  <a:lnTo>
                    <a:pt x="455" y="169"/>
                  </a:lnTo>
                  <a:lnTo>
                    <a:pt x="453" y="182"/>
                  </a:lnTo>
                  <a:lnTo>
                    <a:pt x="462" y="199"/>
                  </a:lnTo>
                  <a:lnTo>
                    <a:pt x="470" y="207"/>
                  </a:lnTo>
                  <a:lnTo>
                    <a:pt x="478" y="213"/>
                  </a:lnTo>
                  <a:lnTo>
                    <a:pt x="485" y="220"/>
                  </a:lnTo>
                  <a:lnTo>
                    <a:pt x="485" y="230"/>
                  </a:lnTo>
                  <a:lnTo>
                    <a:pt x="489" y="243"/>
                  </a:lnTo>
                  <a:lnTo>
                    <a:pt x="503" y="251"/>
                  </a:lnTo>
                  <a:lnTo>
                    <a:pt x="512" y="265"/>
                  </a:lnTo>
                  <a:lnTo>
                    <a:pt x="526" y="268"/>
                  </a:lnTo>
                  <a:lnTo>
                    <a:pt x="539" y="272"/>
                  </a:lnTo>
                  <a:lnTo>
                    <a:pt x="547" y="280"/>
                  </a:lnTo>
                  <a:lnTo>
                    <a:pt x="558" y="280"/>
                  </a:lnTo>
                  <a:lnTo>
                    <a:pt x="570" y="270"/>
                  </a:lnTo>
                  <a:lnTo>
                    <a:pt x="579" y="267"/>
                  </a:lnTo>
                  <a:lnTo>
                    <a:pt x="593" y="268"/>
                  </a:lnTo>
                  <a:lnTo>
                    <a:pt x="604" y="274"/>
                  </a:lnTo>
                  <a:lnTo>
                    <a:pt x="606" y="290"/>
                  </a:lnTo>
                  <a:lnTo>
                    <a:pt x="606" y="299"/>
                  </a:lnTo>
                  <a:lnTo>
                    <a:pt x="608" y="309"/>
                  </a:lnTo>
                  <a:lnTo>
                    <a:pt x="618" y="314"/>
                  </a:lnTo>
                  <a:lnTo>
                    <a:pt x="631" y="316"/>
                  </a:lnTo>
                  <a:lnTo>
                    <a:pt x="652" y="320"/>
                  </a:lnTo>
                  <a:lnTo>
                    <a:pt x="664" y="316"/>
                  </a:lnTo>
                  <a:lnTo>
                    <a:pt x="671" y="314"/>
                  </a:lnTo>
                  <a:lnTo>
                    <a:pt x="679" y="322"/>
                  </a:lnTo>
                  <a:lnTo>
                    <a:pt x="693" y="320"/>
                  </a:lnTo>
                  <a:lnTo>
                    <a:pt x="700" y="313"/>
                  </a:lnTo>
                  <a:lnTo>
                    <a:pt x="710" y="313"/>
                  </a:lnTo>
                  <a:lnTo>
                    <a:pt x="717" y="313"/>
                  </a:lnTo>
                  <a:lnTo>
                    <a:pt x="723" y="320"/>
                  </a:lnTo>
                  <a:lnTo>
                    <a:pt x="729" y="320"/>
                  </a:lnTo>
                  <a:lnTo>
                    <a:pt x="731" y="311"/>
                  </a:lnTo>
                  <a:lnTo>
                    <a:pt x="739" y="307"/>
                  </a:lnTo>
                  <a:lnTo>
                    <a:pt x="746" y="297"/>
                  </a:lnTo>
                  <a:lnTo>
                    <a:pt x="750" y="290"/>
                  </a:lnTo>
                  <a:lnTo>
                    <a:pt x="767" y="288"/>
                  </a:lnTo>
                  <a:lnTo>
                    <a:pt x="779" y="280"/>
                  </a:lnTo>
                  <a:lnTo>
                    <a:pt x="779" y="270"/>
                  </a:lnTo>
                  <a:lnTo>
                    <a:pt x="783" y="257"/>
                  </a:lnTo>
                  <a:lnTo>
                    <a:pt x="790" y="251"/>
                  </a:lnTo>
                  <a:lnTo>
                    <a:pt x="800" y="240"/>
                  </a:lnTo>
                  <a:lnTo>
                    <a:pt x="808" y="230"/>
                  </a:lnTo>
                  <a:lnTo>
                    <a:pt x="823" y="224"/>
                  </a:lnTo>
                  <a:lnTo>
                    <a:pt x="831" y="224"/>
                  </a:lnTo>
                  <a:lnTo>
                    <a:pt x="842" y="224"/>
                  </a:lnTo>
                  <a:lnTo>
                    <a:pt x="856" y="224"/>
                  </a:lnTo>
                  <a:lnTo>
                    <a:pt x="871" y="228"/>
                  </a:lnTo>
                  <a:lnTo>
                    <a:pt x="888" y="234"/>
                  </a:lnTo>
                  <a:lnTo>
                    <a:pt x="902" y="238"/>
                  </a:lnTo>
                  <a:lnTo>
                    <a:pt x="919" y="240"/>
                  </a:lnTo>
                  <a:lnTo>
                    <a:pt x="936" y="247"/>
                  </a:lnTo>
                  <a:lnTo>
                    <a:pt x="944" y="257"/>
                  </a:lnTo>
                  <a:lnTo>
                    <a:pt x="952" y="261"/>
                  </a:lnTo>
                  <a:lnTo>
                    <a:pt x="963" y="265"/>
                  </a:lnTo>
                  <a:lnTo>
                    <a:pt x="955" y="272"/>
                  </a:lnTo>
                  <a:lnTo>
                    <a:pt x="952" y="282"/>
                  </a:lnTo>
                  <a:lnTo>
                    <a:pt x="953" y="290"/>
                  </a:lnTo>
                  <a:lnTo>
                    <a:pt x="948" y="299"/>
                  </a:lnTo>
                  <a:lnTo>
                    <a:pt x="938" y="311"/>
                  </a:lnTo>
                  <a:lnTo>
                    <a:pt x="940" y="318"/>
                  </a:lnTo>
                  <a:lnTo>
                    <a:pt x="940" y="328"/>
                  </a:lnTo>
                  <a:lnTo>
                    <a:pt x="938" y="338"/>
                  </a:lnTo>
                  <a:lnTo>
                    <a:pt x="936" y="347"/>
                  </a:lnTo>
                  <a:lnTo>
                    <a:pt x="929" y="347"/>
                  </a:lnTo>
                  <a:lnTo>
                    <a:pt x="927" y="353"/>
                  </a:lnTo>
                  <a:lnTo>
                    <a:pt x="921" y="361"/>
                  </a:lnTo>
                  <a:lnTo>
                    <a:pt x="913" y="366"/>
                  </a:lnTo>
                  <a:lnTo>
                    <a:pt x="909" y="376"/>
                  </a:lnTo>
                  <a:lnTo>
                    <a:pt x="911" y="384"/>
                  </a:lnTo>
                  <a:lnTo>
                    <a:pt x="909" y="391"/>
                  </a:lnTo>
                  <a:lnTo>
                    <a:pt x="900" y="401"/>
                  </a:lnTo>
                  <a:lnTo>
                    <a:pt x="896" y="408"/>
                  </a:lnTo>
                  <a:lnTo>
                    <a:pt x="892" y="420"/>
                  </a:lnTo>
                  <a:lnTo>
                    <a:pt x="884" y="430"/>
                  </a:lnTo>
                  <a:lnTo>
                    <a:pt x="877" y="437"/>
                  </a:lnTo>
                  <a:lnTo>
                    <a:pt x="869" y="453"/>
                  </a:lnTo>
                  <a:lnTo>
                    <a:pt x="863" y="466"/>
                  </a:lnTo>
                  <a:lnTo>
                    <a:pt x="859" y="478"/>
                  </a:lnTo>
                  <a:lnTo>
                    <a:pt x="858" y="485"/>
                  </a:lnTo>
                  <a:lnTo>
                    <a:pt x="856" y="497"/>
                  </a:lnTo>
                  <a:lnTo>
                    <a:pt x="848" y="504"/>
                  </a:lnTo>
                  <a:lnTo>
                    <a:pt x="836" y="510"/>
                  </a:lnTo>
                  <a:lnTo>
                    <a:pt x="823" y="506"/>
                  </a:lnTo>
                  <a:lnTo>
                    <a:pt x="817" y="504"/>
                  </a:lnTo>
                  <a:lnTo>
                    <a:pt x="811" y="514"/>
                  </a:lnTo>
                  <a:lnTo>
                    <a:pt x="808" y="518"/>
                  </a:lnTo>
                  <a:lnTo>
                    <a:pt x="800" y="526"/>
                  </a:lnTo>
                  <a:lnTo>
                    <a:pt x="788" y="529"/>
                  </a:lnTo>
                  <a:lnTo>
                    <a:pt x="787" y="537"/>
                  </a:lnTo>
                  <a:lnTo>
                    <a:pt x="781" y="545"/>
                  </a:lnTo>
                  <a:lnTo>
                    <a:pt x="773" y="55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 dirty="0"/>
            </a:p>
          </p:txBody>
        </p:sp>
        <p:sp>
          <p:nvSpPr>
            <p:cNvPr id="131" name="Freeform 16"/>
            <p:cNvSpPr>
              <a:spLocks/>
            </p:cNvSpPr>
            <p:nvPr/>
          </p:nvSpPr>
          <p:spPr bwMode="auto">
            <a:xfrm>
              <a:off x="4673978" y="393812"/>
              <a:ext cx="763318" cy="920282"/>
            </a:xfrm>
            <a:custGeom>
              <a:avLst/>
              <a:gdLst>
                <a:gd name="T0" fmla="*/ 384 w 392"/>
                <a:gd name="T1" fmla="*/ 289 h 473"/>
                <a:gd name="T2" fmla="*/ 376 w 392"/>
                <a:gd name="T3" fmla="*/ 341 h 473"/>
                <a:gd name="T4" fmla="*/ 352 w 392"/>
                <a:gd name="T5" fmla="*/ 353 h 473"/>
                <a:gd name="T6" fmla="*/ 317 w 392"/>
                <a:gd name="T7" fmla="*/ 362 h 473"/>
                <a:gd name="T8" fmla="*/ 284 w 392"/>
                <a:gd name="T9" fmla="*/ 381 h 473"/>
                <a:gd name="T10" fmla="*/ 254 w 392"/>
                <a:gd name="T11" fmla="*/ 366 h 473"/>
                <a:gd name="T12" fmla="*/ 227 w 392"/>
                <a:gd name="T13" fmla="*/ 402 h 473"/>
                <a:gd name="T14" fmla="*/ 219 w 392"/>
                <a:gd name="T15" fmla="*/ 447 h 473"/>
                <a:gd name="T16" fmla="*/ 202 w 392"/>
                <a:gd name="T17" fmla="*/ 473 h 473"/>
                <a:gd name="T18" fmla="*/ 179 w 392"/>
                <a:gd name="T19" fmla="*/ 439 h 473"/>
                <a:gd name="T20" fmla="*/ 173 w 392"/>
                <a:gd name="T21" fmla="*/ 397 h 473"/>
                <a:gd name="T22" fmla="*/ 167 w 392"/>
                <a:gd name="T23" fmla="*/ 351 h 473"/>
                <a:gd name="T24" fmla="*/ 152 w 392"/>
                <a:gd name="T25" fmla="*/ 303 h 473"/>
                <a:gd name="T26" fmla="*/ 133 w 392"/>
                <a:gd name="T27" fmla="*/ 262 h 473"/>
                <a:gd name="T28" fmla="*/ 112 w 392"/>
                <a:gd name="T29" fmla="*/ 228 h 473"/>
                <a:gd name="T30" fmla="*/ 87 w 392"/>
                <a:gd name="T31" fmla="*/ 213 h 473"/>
                <a:gd name="T32" fmla="*/ 54 w 392"/>
                <a:gd name="T33" fmla="*/ 213 h 473"/>
                <a:gd name="T34" fmla="*/ 33 w 392"/>
                <a:gd name="T35" fmla="*/ 195 h 473"/>
                <a:gd name="T36" fmla="*/ 31 w 392"/>
                <a:gd name="T37" fmla="*/ 176 h 473"/>
                <a:gd name="T38" fmla="*/ 23 w 392"/>
                <a:gd name="T39" fmla="*/ 151 h 473"/>
                <a:gd name="T40" fmla="*/ 29 w 392"/>
                <a:gd name="T41" fmla="*/ 132 h 473"/>
                <a:gd name="T42" fmla="*/ 23 w 392"/>
                <a:gd name="T43" fmla="*/ 109 h 473"/>
                <a:gd name="T44" fmla="*/ 0 w 392"/>
                <a:gd name="T45" fmla="*/ 92 h 473"/>
                <a:gd name="T46" fmla="*/ 14 w 392"/>
                <a:gd name="T47" fmla="*/ 72 h 473"/>
                <a:gd name="T48" fmla="*/ 43 w 392"/>
                <a:gd name="T49" fmla="*/ 76 h 473"/>
                <a:gd name="T50" fmla="*/ 71 w 392"/>
                <a:gd name="T51" fmla="*/ 90 h 473"/>
                <a:gd name="T52" fmla="*/ 102 w 392"/>
                <a:gd name="T53" fmla="*/ 96 h 473"/>
                <a:gd name="T54" fmla="*/ 125 w 392"/>
                <a:gd name="T55" fmla="*/ 92 h 473"/>
                <a:gd name="T56" fmla="*/ 144 w 392"/>
                <a:gd name="T57" fmla="*/ 76 h 473"/>
                <a:gd name="T58" fmla="*/ 165 w 392"/>
                <a:gd name="T59" fmla="*/ 74 h 473"/>
                <a:gd name="T60" fmla="*/ 186 w 392"/>
                <a:gd name="T61" fmla="*/ 69 h 473"/>
                <a:gd name="T62" fmla="*/ 215 w 392"/>
                <a:gd name="T63" fmla="*/ 61 h 473"/>
                <a:gd name="T64" fmla="*/ 234 w 392"/>
                <a:gd name="T65" fmla="*/ 51 h 473"/>
                <a:gd name="T66" fmla="*/ 257 w 392"/>
                <a:gd name="T67" fmla="*/ 36 h 473"/>
                <a:gd name="T68" fmla="*/ 271 w 392"/>
                <a:gd name="T69" fmla="*/ 23 h 473"/>
                <a:gd name="T70" fmla="*/ 282 w 392"/>
                <a:gd name="T71" fmla="*/ 9 h 473"/>
                <a:gd name="T72" fmla="*/ 288 w 392"/>
                <a:gd name="T73" fmla="*/ 0 h 473"/>
                <a:gd name="T74" fmla="*/ 311 w 392"/>
                <a:gd name="T75" fmla="*/ 3 h 473"/>
                <a:gd name="T76" fmla="*/ 319 w 392"/>
                <a:gd name="T77" fmla="*/ 25 h 473"/>
                <a:gd name="T78" fmla="*/ 323 w 392"/>
                <a:gd name="T79" fmla="*/ 48 h 473"/>
                <a:gd name="T80" fmla="*/ 338 w 392"/>
                <a:gd name="T81" fmla="*/ 57 h 473"/>
                <a:gd name="T82" fmla="*/ 342 w 392"/>
                <a:gd name="T83" fmla="*/ 76 h 473"/>
                <a:gd name="T84" fmla="*/ 353 w 392"/>
                <a:gd name="T85" fmla="*/ 92 h 473"/>
                <a:gd name="T86" fmla="*/ 338 w 392"/>
                <a:gd name="T87" fmla="*/ 109 h 473"/>
                <a:gd name="T88" fmla="*/ 336 w 392"/>
                <a:gd name="T89" fmla="*/ 119 h 473"/>
                <a:gd name="T90" fmla="*/ 328 w 392"/>
                <a:gd name="T91" fmla="*/ 140 h 473"/>
                <a:gd name="T92" fmla="*/ 323 w 392"/>
                <a:gd name="T93" fmla="*/ 159 h 473"/>
                <a:gd name="T94" fmla="*/ 332 w 392"/>
                <a:gd name="T95" fmla="*/ 182 h 473"/>
                <a:gd name="T96" fmla="*/ 334 w 392"/>
                <a:gd name="T97" fmla="*/ 201 h 473"/>
                <a:gd name="T98" fmla="*/ 342 w 392"/>
                <a:gd name="T99" fmla="*/ 216 h 473"/>
                <a:gd name="T100" fmla="*/ 346 w 392"/>
                <a:gd name="T101" fmla="*/ 236 h 473"/>
                <a:gd name="T102" fmla="*/ 373 w 392"/>
                <a:gd name="T103" fmla="*/ 247 h 473"/>
                <a:gd name="T104" fmla="*/ 382 w 392"/>
                <a:gd name="T105" fmla="*/ 262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92" h="473">
                  <a:moveTo>
                    <a:pt x="392" y="270"/>
                  </a:moveTo>
                  <a:lnTo>
                    <a:pt x="388" y="280"/>
                  </a:lnTo>
                  <a:lnTo>
                    <a:pt x="384" y="289"/>
                  </a:lnTo>
                  <a:lnTo>
                    <a:pt x="378" y="305"/>
                  </a:lnTo>
                  <a:lnTo>
                    <a:pt x="378" y="324"/>
                  </a:lnTo>
                  <a:lnTo>
                    <a:pt x="376" y="341"/>
                  </a:lnTo>
                  <a:lnTo>
                    <a:pt x="369" y="351"/>
                  </a:lnTo>
                  <a:lnTo>
                    <a:pt x="361" y="351"/>
                  </a:lnTo>
                  <a:lnTo>
                    <a:pt x="352" y="353"/>
                  </a:lnTo>
                  <a:lnTo>
                    <a:pt x="340" y="355"/>
                  </a:lnTo>
                  <a:lnTo>
                    <a:pt x="334" y="358"/>
                  </a:lnTo>
                  <a:lnTo>
                    <a:pt x="317" y="362"/>
                  </a:lnTo>
                  <a:lnTo>
                    <a:pt x="304" y="364"/>
                  </a:lnTo>
                  <a:lnTo>
                    <a:pt x="292" y="374"/>
                  </a:lnTo>
                  <a:lnTo>
                    <a:pt x="284" y="381"/>
                  </a:lnTo>
                  <a:lnTo>
                    <a:pt x="273" y="385"/>
                  </a:lnTo>
                  <a:lnTo>
                    <a:pt x="265" y="376"/>
                  </a:lnTo>
                  <a:lnTo>
                    <a:pt x="254" y="366"/>
                  </a:lnTo>
                  <a:lnTo>
                    <a:pt x="242" y="374"/>
                  </a:lnTo>
                  <a:lnTo>
                    <a:pt x="229" y="381"/>
                  </a:lnTo>
                  <a:lnTo>
                    <a:pt x="227" y="402"/>
                  </a:lnTo>
                  <a:lnTo>
                    <a:pt x="227" y="418"/>
                  </a:lnTo>
                  <a:lnTo>
                    <a:pt x="225" y="435"/>
                  </a:lnTo>
                  <a:lnTo>
                    <a:pt x="219" y="447"/>
                  </a:lnTo>
                  <a:lnTo>
                    <a:pt x="211" y="458"/>
                  </a:lnTo>
                  <a:lnTo>
                    <a:pt x="208" y="470"/>
                  </a:lnTo>
                  <a:lnTo>
                    <a:pt x="202" y="473"/>
                  </a:lnTo>
                  <a:lnTo>
                    <a:pt x="192" y="468"/>
                  </a:lnTo>
                  <a:lnTo>
                    <a:pt x="185" y="449"/>
                  </a:lnTo>
                  <a:lnTo>
                    <a:pt x="179" y="439"/>
                  </a:lnTo>
                  <a:lnTo>
                    <a:pt x="177" y="427"/>
                  </a:lnTo>
                  <a:lnTo>
                    <a:pt x="171" y="410"/>
                  </a:lnTo>
                  <a:lnTo>
                    <a:pt x="173" y="397"/>
                  </a:lnTo>
                  <a:lnTo>
                    <a:pt x="169" y="378"/>
                  </a:lnTo>
                  <a:lnTo>
                    <a:pt x="167" y="368"/>
                  </a:lnTo>
                  <a:lnTo>
                    <a:pt x="167" y="351"/>
                  </a:lnTo>
                  <a:lnTo>
                    <a:pt x="165" y="337"/>
                  </a:lnTo>
                  <a:lnTo>
                    <a:pt x="160" y="322"/>
                  </a:lnTo>
                  <a:lnTo>
                    <a:pt x="152" y="303"/>
                  </a:lnTo>
                  <a:lnTo>
                    <a:pt x="148" y="289"/>
                  </a:lnTo>
                  <a:lnTo>
                    <a:pt x="140" y="278"/>
                  </a:lnTo>
                  <a:lnTo>
                    <a:pt x="133" y="262"/>
                  </a:lnTo>
                  <a:lnTo>
                    <a:pt x="129" y="247"/>
                  </a:lnTo>
                  <a:lnTo>
                    <a:pt x="121" y="237"/>
                  </a:lnTo>
                  <a:lnTo>
                    <a:pt x="112" y="228"/>
                  </a:lnTo>
                  <a:lnTo>
                    <a:pt x="102" y="218"/>
                  </a:lnTo>
                  <a:lnTo>
                    <a:pt x="92" y="216"/>
                  </a:lnTo>
                  <a:lnTo>
                    <a:pt x="87" y="213"/>
                  </a:lnTo>
                  <a:lnTo>
                    <a:pt x="75" y="211"/>
                  </a:lnTo>
                  <a:lnTo>
                    <a:pt x="64" y="213"/>
                  </a:lnTo>
                  <a:lnTo>
                    <a:pt x="54" y="213"/>
                  </a:lnTo>
                  <a:lnTo>
                    <a:pt x="48" y="205"/>
                  </a:lnTo>
                  <a:lnTo>
                    <a:pt x="37" y="203"/>
                  </a:lnTo>
                  <a:lnTo>
                    <a:pt x="33" y="195"/>
                  </a:lnTo>
                  <a:lnTo>
                    <a:pt x="27" y="190"/>
                  </a:lnTo>
                  <a:lnTo>
                    <a:pt x="27" y="186"/>
                  </a:lnTo>
                  <a:lnTo>
                    <a:pt x="31" y="176"/>
                  </a:lnTo>
                  <a:lnTo>
                    <a:pt x="23" y="168"/>
                  </a:lnTo>
                  <a:lnTo>
                    <a:pt x="23" y="159"/>
                  </a:lnTo>
                  <a:lnTo>
                    <a:pt x="23" y="151"/>
                  </a:lnTo>
                  <a:lnTo>
                    <a:pt x="23" y="143"/>
                  </a:lnTo>
                  <a:lnTo>
                    <a:pt x="23" y="136"/>
                  </a:lnTo>
                  <a:lnTo>
                    <a:pt x="29" y="132"/>
                  </a:lnTo>
                  <a:lnTo>
                    <a:pt x="35" y="124"/>
                  </a:lnTo>
                  <a:lnTo>
                    <a:pt x="31" y="115"/>
                  </a:lnTo>
                  <a:lnTo>
                    <a:pt x="23" y="109"/>
                  </a:lnTo>
                  <a:lnTo>
                    <a:pt x="16" y="105"/>
                  </a:lnTo>
                  <a:lnTo>
                    <a:pt x="8" y="101"/>
                  </a:lnTo>
                  <a:lnTo>
                    <a:pt x="0" y="92"/>
                  </a:lnTo>
                  <a:lnTo>
                    <a:pt x="0" y="82"/>
                  </a:lnTo>
                  <a:lnTo>
                    <a:pt x="6" y="76"/>
                  </a:lnTo>
                  <a:lnTo>
                    <a:pt x="14" y="72"/>
                  </a:lnTo>
                  <a:lnTo>
                    <a:pt x="23" y="69"/>
                  </a:lnTo>
                  <a:lnTo>
                    <a:pt x="31" y="72"/>
                  </a:lnTo>
                  <a:lnTo>
                    <a:pt x="43" y="76"/>
                  </a:lnTo>
                  <a:lnTo>
                    <a:pt x="50" y="80"/>
                  </a:lnTo>
                  <a:lnTo>
                    <a:pt x="64" y="84"/>
                  </a:lnTo>
                  <a:lnTo>
                    <a:pt x="71" y="90"/>
                  </a:lnTo>
                  <a:lnTo>
                    <a:pt x="83" y="92"/>
                  </a:lnTo>
                  <a:lnTo>
                    <a:pt x="91" y="96"/>
                  </a:lnTo>
                  <a:lnTo>
                    <a:pt x="102" y="96"/>
                  </a:lnTo>
                  <a:lnTo>
                    <a:pt x="112" y="96"/>
                  </a:lnTo>
                  <a:lnTo>
                    <a:pt x="119" y="96"/>
                  </a:lnTo>
                  <a:lnTo>
                    <a:pt x="125" y="92"/>
                  </a:lnTo>
                  <a:lnTo>
                    <a:pt x="129" y="86"/>
                  </a:lnTo>
                  <a:lnTo>
                    <a:pt x="135" y="82"/>
                  </a:lnTo>
                  <a:lnTo>
                    <a:pt x="144" y="76"/>
                  </a:lnTo>
                  <a:lnTo>
                    <a:pt x="150" y="74"/>
                  </a:lnTo>
                  <a:lnTo>
                    <a:pt x="160" y="76"/>
                  </a:lnTo>
                  <a:lnTo>
                    <a:pt x="165" y="74"/>
                  </a:lnTo>
                  <a:lnTo>
                    <a:pt x="173" y="71"/>
                  </a:lnTo>
                  <a:lnTo>
                    <a:pt x="181" y="69"/>
                  </a:lnTo>
                  <a:lnTo>
                    <a:pt x="186" y="69"/>
                  </a:lnTo>
                  <a:lnTo>
                    <a:pt x="196" y="67"/>
                  </a:lnTo>
                  <a:lnTo>
                    <a:pt x="206" y="67"/>
                  </a:lnTo>
                  <a:lnTo>
                    <a:pt x="215" y="61"/>
                  </a:lnTo>
                  <a:lnTo>
                    <a:pt x="219" y="55"/>
                  </a:lnTo>
                  <a:lnTo>
                    <a:pt x="225" y="53"/>
                  </a:lnTo>
                  <a:lnTo>
                    <a:pt x="234" y="51"/>
                  </a:lnTo>
                  <a:lnTo>
                    <a:pt x="244" y="49"/>
                  </a:lnTo>
                  <a:lnTo>
                    <a:pt x="254" y="42"/>
                  </a:lnTo>
                  <a:lnTo>
                    <a:pt x="257" y="36"/>
                  </a:lnTo>
                  <a:lnTo>
                    <a:pt x="261" y="32"/>
                  </a:lnTo>
                  <a:lnTo>
                    <a:pt x="265" y="26"/>
                  </a:lnTo>
                  <a:lnTo>
                    <a:pt x="271" y="23"/>
                  </a:lnTo>
                  <a:lnTo>
                    <a:pt x="277" y="21"/>
                  </a:lnTo>
                  <a:lnTo>
                    <a:pt x="281" y="15"/>
                  </a:lnTo>
                  <a:lnTo>
                    <a:pt x="282" y="9"/>
                  </a:lnTo>
                  <a:lnTo>
                    <a:pt x="275" y="5"/>
                  </a:lnTo>
                  <a:lnTo>
                    <a:pt x="279" y="0"/>
                  </a:lnTo>
                  <a:lnTo>
                    <a:pt x="288" y="0"/>
                  </a:lnTo>
                  <a:lnTo>
                    <a:pt x="296" y="0"/>
                  </a:lnTo>
                  <a:lnTo>
                    <a:pt x="305" y="2"/>
                  </a:lnTo>
                  <a:lnTo>
                    <a:pt x="311" y="3"/>
                  </a:lnTo>
                  <a:lnTo>
                    <a:pt x="315" y="7"/>
                  </a:lnTo>
                  <a:lnTo>
                    <a:pt x="319" y="13"/>
                  </a:lnTo>
                  <a:lnTo>
                    <a:pt x="319" y="25"/>
                  </a:lnTo>
                  <a:lnTo>
                    <a:pt x="319" y="34"/>
                  </a:lnTo>
                  <a:lnTo>
                    <a:pt x="319" y="42"/>
                  </a:lnTo>
                  <a:lnTo>
                    <a:pt x="323" y="48"/>
                  </a:lnTo>
                  <a:lnTo>
                    <a:pt x="327" y="49"/>
                  </a:lnTo>
                  <a:lnTo>
                    <a:pt x="332" y="53"/>
                  </a:lnTo>
                  <a:lnTo>
                    <a:pt x="338" y="57"/>
                  </a:lnTo>
                  <a:lnTo>
                    <a:pt x="340" y="65"/>
                  </a:lnTo>
                  <a:lnTo>
                    <a:pt x="340" y="71"/>
                  </a:lnTo>
                  <a:lnTo>
                    <a:pt x="342" y="76"/>
                  </a:lnTo>
                  <a:lnTo>
                    <a:pt x="348" y="78"/>
                  </a:lnTo>
                  <a:lnTo>
                    <a:pt x="355" y="86"/>
                  </a:lnTo>
                  <a:lnTo>
                    <a:pt x="353" y="92"/>
                  </a:lnTo>
                  <a:lnTo>
                    <a:pt x="348" y="101"/>
                  </a:lnTo>
                  <a:lnTo>
                    <a:pt x="342" y="107"/>
                  </a:lnTo>
                  <a:lnTo>
                    <a:pt x="338" y="109"/>
                  </a:lnTo>
                  <a:lnTo>
                    <a:pt x="334" y="111"/>
                  </a:lnTo>
                  <a:lnTo>
                    <a:pt x="336" y="115"/>
                  </a:lnTo>
                  <a:lnTo>
                    <a:pt x="336" y="119"/>
                  </a:lnTo>
                  <a:lnTo>
                    <a:pt x="330" y="128"/>
                  </a:lnTo>
                  <a:lnTo>
                    <a:pt x="328" y="134"/>
                  </a:lnTo>
                  <a:lnTo>
                    <a:pt x="328" y="140"/>
                  </a:lnTo>
                  <a:lnTo>
                    <a:pt x="323" y="147"/>
                  </a:lnTo>
                  <a:lnTo>
                    <a:pt x="325" y="151"/>
                  </a:lnTo>
                  <a:lnTo>
                    <a:pt x="323" y="159"/>
                  </a:lnTo>
                  <a:lnTo>
                    <a:pt x="325" y="170"/>
                  </a:lnTo>
                  <a:lnTo>
                    <a:pt x="328" y="176"/>
                  </a:lnTo>
                  <a:lnTo>
                    <a:pt x="332" y="182"/>
                  </a:lnTo>
                  <a:lnTo>
                    <a:pt x="332" y="190"/>
                  </a:lnTo>
                  <a:lnTo>
                    <a:pt x="330" y="197"/>
                  </a:lnTo>
                  <a:lnTo>
                    <a:pt x="334" y="201"/>
                  </a:lnTo>
                  <a:lnTo>
                    <a:pt x="340" y="203"/>
                  </a:lnTo>
                  <a:lnTo>
                    <a:pt x="340" y="211"/>
                  </a:lnTo>
                  <a:lnTo>
                    <a:pt x="342" y="216"/>
                  </a:lnTo>
                  <a:lnTo>
                    <a:pt x="342" y="224"/>
                  </a:lnTo>
                  <a:lnTo>
                    <a:pt x="342" y="230"/>
                  </a:lnTo>
                  <a:lnTo>
                    <a:pt x="346" y="236"/>
                  </a:lnTo>
                  <a:lnTo>
                    <a:pt x="355" y="239"/>
                  </a:lnTo>
                  <a:lnTo>
                    <a:pt x="363" y="241"/>
                  </a:lnTo>
                  <a:lnTo>
                    <a:pt x="373" y="247"/>
                  </a:lnTo>
                  <a:lnTo>
                    <a:pt x="375" y="251"/>
                  </a:lnTo>
                  <a:lnTo>
                    <a:pt x="378" y="259"/>
                  </a:lnTo>
                  <a:lnTo>
                    <a:pt x="382" y="262"/>
                  </a:lnTo>
                  <a:lnTo>
                    <a:pt x="386" y="266"/>
                  </a:lnTo>
                  <a:lnTo>
                    <a:pt x="392" y="27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/>
            </a:p>
          </p:txBody>
        </p:sp>
        <p:sp>
          <p:nvSpPr>
            <p:cNvPr id="132" name="Freeform 17"/>
            <p:cNvSpPr>
              <a:spLocks/>
            </p:cNvSpPr>
            <p:nvPr/>
          </p:nvSpPr>
          <p:spPr bwMode="auto">
            <a:xfrm>
              <a:off x="6030749" y="481970"/>
              <a:ext cx="677310" cy="795571"/>
            </a:xfrm>
            <a:custGeom>
              <a:avLst/>
              <a:gdLst>
                <a:gd name="T0" fmla="*/ 200 w 347"/>
                <a:gd name="T1" fmla="*/ 404 h 408"/>
                <a:gd name="T2" fmla="*/ 177 w 347"/>
                <a:gd name="T3" fmla="*/ 387 h 408"/>
                <a:gd name="T4" fmla="*/ 159 w 347"/>
                <a:gd name="T5" fmla="*/ 366 h 408"/>
                <a:gd name="T6" fmla="*/ 152 w 347"/>
                <a:gd name="T7" fmla="*/ 349 h 408"/>
                <a:gd name="T8" fmla="*/ 136 w 347"/>
                <a:gd name="T9" fmla="*/ 335 h 408"/>
                <a:gd name="T10" fmla="*/ 129 w 347"/>
                <a:gd name="T11" fmla="*/ 305 h 408"/>
                <a:gd name="T12" fmla="*/ 119 w 347"/>
                <a:gd name="T13" fmla="*/ 280 h 408"/>
                <a:gd name="T14" fmla="*/ 113 w 347"/>
                <a:gd name="T15" fmla="*/ 262 h 408"/>
                <a:gd name="T16" fmla="*/ 96 w 347"/>
                <a:gd name="T17" fmla="*/ 249 h 408"/>
                <a:gd name="T18" fmla="*/ 75 w 347"/>
                <a:gd name="T19" fmla="*/ 224 h 408"/>
                <a:gd name="T20" fmla="*/ 54 w 347"/>
                <a:gd name="T21" fmla="*/ 218 h 408"/>
                <a:gd name="T22" fmla="*/ 35 w 347"/>
                <a:gd name="T23" fmla="*/ 203 h 408"/>
                <a:gd name="T24" fmla="*/ 12 w 347"/>
                <a:gd name="T25" fmla="*/ 197 h 408"/>
                <a:gd name="T26" fmla="*/ 8 w 347"/>
                <a:gd name="T27" fmla="*/ 176 h 408"/>
                <a:gd name="T28" fmla="*/ 6 w 347"/>
                <a:gd name="T29" fmla="*/ 153 h 408"/>
                <a:gd name="T30" fmla="*/ 0 w 347"/>
                <a:gd name="T31" fmla="*/ 140 h 408"/>
                <a:gd name="T32" fmla="*/ 21 w 347"/>
                <a:gd name="T33" fmla="*/ 144 h 408"/>
                <a:gd name="T34" fmla="*/ 40 w 347"/>
                <a:gd name="T35" fmla="*/ 157 h 408"/>
                <a:gd name="T36" fmla="*/ 59 w 347"/>
                <a:gd name="T37" fmla="*/ 170 h 408"/>
                <a:gd name="T38" fmla="*/ 81 w 347"/>
                <a:gd name="T39" fmla="*/ 168 h 408"/>
                <a:gd name="T40" fmla="*/ 98 w 347"/>
                <a:gd name="T41" fmla="*/ 163 h 408"/>
                <a:gd name="T42" fmla="*/ 113 w 347"/>
                <a:gd name="T43" fmla="*/ 176 h 408"/>
                <a:gd name="T44" fmla="*/ 130 w 347"/>
                <a:gd name="T45" fmla="*/ 182 h 408"/>
                <a:gd name="T46" fmla="*/ 140 w 347"/>
                <a:gd name="T47" fmla="*/ 167 h 408"/>
                <a:gd name="T48" fmla="*/ 155 w 347"/>
                <a:gd name="T49" fmla="*/ 159 h 408"/>
                <a:gd name="T50" fmla="*/ 163 w 347"/>
                <a:gd name="T51" fmla="*/ 138 h 408"/>
                <a:gd name="T52" fmla="*/ 173 w 347"/>
                <a:gd name="T53" fmla="*/ 122 h 408"/>
                <a:gd name="T54" fmla="*/ 184 w 347"/>
                <a:gd name="T55" fmla="*/ 103 h 408"/>
                <a:gd name="T56" fmla="*/ 190 w 347"/>
                <a:gd name="T57" fmla="*/ 92 h 408"/>
                <a:gd name="T58" fmla="*/ 194 w 347"/>
                <a:gd name="T59" fmla="*/ 67 h 408"/>
                <a:gd name="T60" fmla="*/ 205 w 347"/>
                <a:gd name="T61" fmla="*/ 44 h 408"/>
                <a:gd name="T62" fmla="*/ 215 w 347"/>
                <a:gd name="T63" fmla="*/ 30 h 408"/>
                <a:gd name="T64" fmla="*/ 223 w 347"/>
                <a:gd name="T65" fmla="*/ 11 h 408"/>
                <a:gd name="T66" fmla="*/ 230 w 347"/>
                <a:gd name="T67" fmla="*/ 0 h 408"/>
                <a:gd name="T68" fmla="*/ 246 w 347"/>
                <a:gd name="T69" fmla="*/ 7 h 408"/>
                <a:gd name="T70" fmla="*/ 255 w 347"/>
                <a:gd name="T71" fmla="*/ 21 h 408"/>
                <a:gd name="T72" fmla="*/ 261 w 347"/>
                <a:gd name="T73" fmla="*/ 36 h 408"/>
                <a:gd name="T74" fmla="*/ 271 w 347"/>
                <a:gd name="T75" fmla="*/ 48 h 408"/>
                <a:gd name="T76" fmla="*/ 271 w 347"/>
                <a:gd name="T77" fmla="*/ 69 h 408"/>
                <a:gd name="T78" fmla="*/ 272 w 347"/>
                <a:gd name="T79" fmla="*/ 82 h 408"/>
                <a:gd name="T80" fmla="*/ 276 w 347"/>
                <a:gd name="T81" fmla="*/ 94 h 408"/>
                <a:gd name="T82" fmla="*/ 274 w 347"/>
                <a:gd name="T83" fmla="*/ 105 h 408"/>
                <a:gd name="T84" fmla="*/ 282 w 347"/>
                <a:gd name="T85" fmla="*/ 124 h 408"/>
                <a:gd name="T86" fmla="*/ 294 w 347"/>
                <a:gd name="T87" fmla="*/ 138 h 408"/>
                <a:gd name="T88" fmla="*/ 294 w 347"/>
                <a:gd name="T89" fmla="*/ 155 h 408"/>
                <a:gd name="T90" fmla="*/ 297 w 347"/>
                <a:gd name="T91" fmla="*/ 176 h 408"/>
                <a:gd name="T92" fmla="*/ 313 w 347"/>
                <a:gd name="T93" fmla="*/ 190 h 408"/>
                <a:gd name="T94" fmla="*/ 336 w 347"/>
                <a:gd name="T95" fmla="*/ 195 h 408"/>
                <a:gd name="T96" fmla="*/ 345 w 347"/>
                <a:gd name="T97" fmla="*/ 205 h 408"/>
                <a:gd name="T98" fmla="*/ 345 w 347"/>
                <a:gd name="T99" fmla="*/ 230 h 408"/>
                <a:gd name="T100" fmla="*/ 332 w 347"/>
                <a:gd name="T101" fmla="*/ 255 h 408"/>
                <a:gd name="T102" fmla="*/ 317 w 347"/>
                <a:gd name="T103" fmla="*/ 274 h 408"/>
                <a:gd name="T104" fmla="*/ 301 w 347"/>
                <a:gd name="T105" fmla="*/ 282 h 408"/>
                <a:gd name="T106" fmla="*/ 296 w 347"/>
                <a:gd name="T107" fmla="*/ 293 h 408"/>
                <a:gd name="T108" fmla="*/ 278 w 347"/>
                <a:gd name="T109" fmla="*/ 307 h 408"/>
                <a:gd name="T110" fmla="*/ 255 w 347"/>
                <a:gd name="T111" fmla="*/ 324 h 408"/>
                <a:gd name="T112" fmla="*/ 238 w 347"/>
                <a:gd name="T113" fmla="*/ 335 h 408"/>
                <a:gd name="T114" fmla="*/ 228 w 347"/>
                <a:gd name="T115" fmla="*/ 351 h 408"/>
                <a:gd name="T116" fmla="*/ 223 w 347"/>
                <a:gd name="T117" fmla="*/ 362 h 408"/>
                <a:gd name="T118" fmla="*/ 226 w 347"/>
                <a:gd name="T119" fmla="*/ 378 h 408"/>
                <a:gd name="T120" fmla="*/ 217 w 347"/>
                <a:gd name="T121" fmla="*/ 391 h 408"/>
                <a:gd name="T122" fmla="*/ 213 w 347"/>
                <a:gd name="T123" fmla="*/ 408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47" h="408">
                  <a:moveTo>
                    <a:pt x="213" y="408"/>
                  </a:moveTo>
                  <a:lnTo>
                    <a:pt x="200" y="404"/>
                  </a:lnTo>
                  <a:lnTo>
                    <a:pt x="186" y="401"/>
                  </a:lnTo>
                  <a:lnTo>
                    <a:pt x="177" y="387"/>
                  </a:lnTo>
                  <a:lnTo>
                    <a:pt x="163" y="379"/>
                  </a:lnTo>
                  <a:lnTo>
                    <a:pt x="159" y="366"/>
                  </a:lnTo>
                  <a:lnTo>
                    <a:pt x="159" y="356"/>
                  </a:lnTo>
                  <a:lnTo>
                    <a:pt x="152" y="349"/>
                  </a:lnTo>
                  <a:lnTo>
                    <a:pt x="144" y="343"/>
                  </a:lnTo>
                  <a:lnTo>
                    <a:pt x="136" y="335"/>
                  </a:lnTo>
                  <a:lnTo>
                    <a:pt x="127" y="318"/>
                  </a:lnTo>
                  <a:lnTo>
                    <a:pt x="129" y="305"/>
                  </a:lnTo>
                  <a:lnTo>
                    <a:pt x="119" y="291"/>
                  </a:lnTo>
                  <a:lnTo>
                    <a:pt x="119" y="280"/>
                  </a:lnTo>
                  <a:lnTo>
                    <a:pt x="123" y="268"/>
                  </a:lnTo>
                  <a:lnTo>
                    <a:pt x="113" y="262"/>
                  </a:lnTo>
                  <a:lnTo>
                    <a:pt x="107" y="257"/>
                  </a:lnTo>
                  <a:lnTo>
                    <a:pt x="96" y="249"/>
                  </a:lnTo>
                  <a:lnTo>
                    <a:pt x="88" y="236"/>
                  </a:lnTo>
                  <a:lnTo>
                    <a:pt x="75" y="224"/>
                  </a:lnTo>
                  <a:lnTo>
                    <a:pt x="65" y="216"/>
                  </a:lnTo>
                  <a:lnTo>
                    <a:pt x="54" y="218"/>
                  </a:lnTo>
                  <a:lnTo>
                    <a:pt x="44" y="211"/>
                  </a:lnTo>
                  <a:lnTo>
                    <a:pt x="35" y="203"/>
                  </a:lnTo>
                  <a:lnTo>
                    <a:pt x="23" y="199"/>
                  </a:lnTo>
                  <a:lnTo>
                    <a:pt x="12" y="197"/>
                  </a:lnTo>
                  <a:lnTo>
                    <a:pt x="8" y="188"/>
                  </a:lnTo>
                  <a:lnTo>
                    <a:pt x="8" y="176"/>
                  </a:lnTo>
                  <a:lnTo>
                    <a:pt x="6" y="163"/>
                  </a:lnTo>
                  <a:lnTo>
                    <a:pt x="6" y="153"/>
                  </a:lnTo>
                  <a:lnTo>
                    <a:pt x="4" y="145"/>
                  </a:lnTo>
                  <a:lnTo>
                    <a:pt x="0" y="140"/>
                  </a:lnTo>
                  <a:lnTo>
                    <a:pt x="12" y="142"/>
                  </a:lnTo>
                  <a:lnTo>
                    <a:pt x="21" y="144"/>
                  </a:lnTo>
                  <a:lnTo>
                    <a:pt x="35" y="151"/>
                  </a:lnTo>
                  <a:lnTo>
                    <a:pt x="40" y="157"/>
                  </a:lnTo>
                  <a:lnTo>
                    <a:pt x="54" y="165"/>
                  </a:lnTo>
                  <a:lnTo>
                    <a:pt x="59" y="170"/>
                  </a:lnTo>
                  <a:lnTo>
                    <a:pt x="69" y="170"/>
                  </a:lnTo>
                  <a:lnTo>
                    <a:pt x="81" y="168"/>
                  </a:lnTo>
                  <a:lnTo>
                    <a:pt x="90" y="165"/>
                  </a:lnTo>
                  <a:lnTo>
                    <a:pt x="98" y="163"/>
                  </a:lnTo>
                  <a:lnTo>
                    <a:pt x="106" y="170"/>
                  </a:lnTo>
                  <a:lnTo>
                    <a:pt x="113" y="176"/>
                  </a:lnTo>
                  <a:lnTo>
                    <a:pt x="123" y="184"/>
                  </a:lnTo>
                  <a:lnTo>
                    <a:pt x="130" y="182"/>
                  </a:lnTo>
                  <a:lnTo>
                    <a:pt x="138" y="174"/>
                  </a:lnTo>
                  <a:lnTo>
                    <a:pt x="140" y="167"/>
                  </a:lnTo>
                  <a:lnTo>
                    <a:pt x="148" y="163"/>
                  </a:lnTo>
                  <a:lnTo>
                    <a:pt x="155" y="159"/>
                  </a:lnTo>
                  <a:lnTo>
                    <a:pt x="161" y="147"/>
                  </a:lnTo>
                  <a:lnTo>
                    <a:pt x="163" y="138"/>
                  </a:lnTo>
                  <a:lnTo>
                    <a:pt x="169" y="130"/>
                  </a:lnTo>
                  <a:lnTo>
                    <a:pt x="173" y="122"/>
                  </a:lnTo>
                  <a:lnTo>
                    <a:pt x="177" y="111"/>
                  </a:lnTo>
                  <a:lnTo>
                    <a:pt x="184" y="103"/>
                  </a:lnTo>
                  <a:lnTo>
                    <a:pt x="190" y="97"/>
                  </a:lnTo>
                  <a:lnTo>
                    <a:pt x="190" y="92"/>
                  </a:lnTo>
                  <a:lnTo>
                    <a:pt x="194" y="78"/>
                  </a:lnTo>
                  <a:lnTo>
                    <a:pt x="194" y="67"/>
                  </a:lnTo>
                  <a:lnTo>
                    <a:pt x="201" y="57"/>
                  </a:lnTo>
                  <a:lnTo>
                    <a:pt x="205" y="44"/>
                  </a:lnTo>
                  <a:lnTo>
                    <a:pt x="213" y="36"/>
                  </a:lnTo>
                  <a:lnTo>
                    <a:pt x="215" y="30"/>
                  </a:lnTo>
                  <a:lnTo>
                    <a:pt x="217" y="21"/>
                  </a:lnTo>
                  <a:lnTo>
                    <a:pt x="223" y="11"/>
                  </a:lnTo>
                  <a:lnTo>
                    <a:pt x="225" y="3"/>
                  </a:lnTo>
                  <a:lnTo>
                    <a:pt x="230" y="0"/>
                  </a:lnTo>
                  <a:lnTo>
                    <a:pt x="238" y="3"/>
                  </a:lnTo>
                  <a:lnTo>
                    <a:pt x="246" y="7"/>
                  </a:lnTo>
                  <a:lnTo>
                    <a:pt x="251" y="15"/>
                  </a:lnTo>
                  <a:lnTo>
                    <a:pt x="255" y="21"/>
                  </a:lnTo>
                  <a:lnTo>
                    <a:pt x="255" y="28"/>
                  </a:lnTo>
                  <a:lnTo>
                    <a:pt x="261" y="36"/>
                  </a:lnTo>
                  <a:lnTo>
                    <a:pt x="269" y="42"/>
                  </a:lnTo>
                  <a:lnTo>
                    <a:pt x="271" y="48"/>
                  </a:lnTo>
                  <a:lnTo>
                    <a:pt x="271" y="61"/>
                  </a:lnTo>
                  <a:lnTo>
                    <a:pt x="271" y="69"/>
                  </a:lnTo>
                  <a:lnTo>
                    <a:pt x="269" y="74"/>
                  </a:lnTo>
                  <a:lnTo>
                    <a:pt x="272" y="82"/>
                  </a:lnTo>
                  <a:lnTo>
                    <a:pt x="276" y="88"/>
                  </a:lnTo>
                  <a:lnTo>
                    <a:pt x="276" y="94"/>
                  </a:lnTo>
                  <a:lnTo>
                    <a:pt x="274" y="99"/>
                  </a:lnTo>
                  <a:lnTo>
                    <a:pt x="274" y="105"/>
                  </a:lnTo>
                  <a:lnTo>
                    <a:pt x="276" y="117"/>
                  </a:lnTo>
                  <a:lnTo>
                    <a:pt x="282" y="124"/>
                  </a:lnTo>
                  <a:lnTo>
                    <a:pt x="290" y="130"/>
                  </a:lnTo>
                  <a:lnTo>
                    <a:pt x="294" y="138"/>
                  </a:lnTo>
                  <a:lnTo>
                    <a:pt x="294" y="147"/>
                  </a:lnTo>
                  <a:lnTo>
                    <a:pt x="294" y="155"/>
                  </a:lnTo>
                  <a:lnTo>
                    <a:pt x="297" y="163"/>
                  </a:lnTo>
                  <a:lnTo>
                    <a:pt x="297" y="176"/>
                  </a:lnTo>
                  <a:lnTo>
                    <a:pt x="305" y="184"/>
                  </a:lnTo>
                  <a:lnTo>
                    <a:pt x="313" y="190"/>
                  </a:lnTo>
                  <a:lnTo>
                    <a:pt x="322" y="190"/>
                  </a:lnTo>
                  <a:lnTo>
                    <a:pt x="336" y="195"/>
                  </a:lnTo>
                  <a:lnTo>
                    <a:pt x="343" y="197"/>
                  </a:lnTo>
                  <a:lnTo>
                    <a:pt x="345" y="205"/>
                  </a:lnTo>
                  <a:lnTo>
                    <a:pt x="347" y="216"/>
                  </a:lnTo>
                  <a:lnTo>
                    <a:pt x="345" y="230"/>
                  </a:lnTo>
                  <a:lnTo>
                    <a:pt x="342" y="243"/>
                  </a:lnTo>
                  <a:lnTo>
                    <a:pt x="332" y="255"/>
                  </a:lnTo>
                  <a:lnTo>
                    <a:pt x="324" y="266"/>
                  </a:lnTo>
                  <a:lnTo>
                    <a:pt x="317" y="274"/>
                  </a:lnTo>
                  <a:lnTo>
                    <a:pt x="311" y="276"/>
                  </a:lnTo>
                  <a:lnTo>
                    <a:pt x="301" y="282"/>
                  </a:lnTo>
                  <a:lnTo>
                    <a:pt x="299" y="289"/>
                  </a:lnTo>
                  <a:lnTo>
                    <a:pt x="296" y="293"/>
                  </a:lnTo>
                  <a:lnTo>
                    <a:pt x="288" y="299"/>
                  </a:lnTo>
                  <a:lnTo>
                    <a:pt x="278" y="307"/>
                  </a:lnTo>
                  <a:lnTo>
                    <a:pt x="265" y="314"/>
                  </a:lnTo>
                  <a:lnTo>
                    <a:pt x="255" y="324"/>
                  </a:lnTo>
                  <a:lnTo>
                    <a:pt x="248" y="326"/>
                  </a:lnTo>
                  <a:lnTo>
                    <a:pt x="238" y="335"/>
                  </a:lnTo>
                  <a:lnTo>
                    <a:pt x="232" y="343"/>
                  </a:lnTo>
                  <a:lnTo>
                    <a:pt x="228" y="351"/>
                  </a:lnTo>
                  <a:lnTo>
                    <a:pt x="225" y="353"/>
                  </a:lnTo>
                  <a:lnTo>
                    <a:pt x="223" y="362"/>
                  </a:lnTo>
                  <a:lnTo>
                    <a:pt x="226" y="370"/>
                  </a:lnTo>
                  <a:lnTo>
                    <a:pt x="226" y="378"/>
                  </a:lnTo>
                  <a:lnTo>
                    <a:pt x="219" y="381"/>
                  </a:lnTo>
                  <a:lnTo>
                    <a:pt x="217" y="391"/>
                  </a:lnTo>
                  <a:lnTo>
                    <a:pt x="217" y="397"/>
                  </a:lnTo>
                  <a:lnTo>
                    <a:pt x="213" y="40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/>
            </a:p>
          </p:txBody>
        </p:sp>
        <p:sp>
          <p:nvSpPr>
            <p:cNvPr id="233" name="Freeform 119"/>
            <p:cNvSpPr>
              <a:spLocks/>
            </p:cNvSpPr>
            <p:nvPr/>
          </p:nvSpPr>
          <p:spPr bwMode="auto">
            <a:xfrm>
              <a:off x="6619902" y="776546"/>
              <a:ext cx="55904" cy="53755"/>
            </a:xfrm>
            <a:custGeom>
              <a:avLst/>
              <a:gdLst>
                <a:gd name="T0" fmla="*/ 27 w 29"/>
                <a:gd name="T1" fmla="*/ 19 h 27"/>
                <a:gd name="T2" fmla="*/ 29 w 29"/>
                <a:gd name="T3" fmla="*/ 16 h 27"/>
                <a:gd name="T4" fmla="*/ 27 w 29"/>
                <a:gd name="T5" fmla="*/ 12 h 27"/>
                <a:gd name="T6" fmla="*/ 23 w 29"/>
                <a:gd name="T7" fmla="*/ 10 h 27"/>
                <a:gd name="T8" fmla="*/ 21 w 29"/>
                <a:gd name="T9" fmla="*/ 6 h 27"/>
                <a:gd name="T10" fmla="*/ 16 w 29"/>
                <a:gd name="T11" fmla="*/ 4 h 27"/>
                <a:gd name="T12" fmla="*/ 12 w 29"/>
                <a:gd name="T13" fmla="*/ 2 h 27"/>
                <a:gd name="T14" fmla="*/ 8 w 29"/>
                <a:gd name="T15" fmla="*/ 0 h 27"/>
                <a:gd name="T16" fmla="*/ 6 w 29"/>
                <a:gd name="T17" fmla="*/ 0 h 27"/>
                <a:gd name="T18" fmla="*/ 2 w 29"/>
                <a:gd name="T19" fmla="*/ 4 h 27"/>
                <a:gd name="T20" fmla="*/ 0 w 29"/>
                <a:gd name="T21" fmla="*/ 12 h 27"/>
                <a:gd name="T22" fmla="*/ 4 w 29"/>
                <a:gd name="T23" fmla="*/ 19 h 27"/>
                <a:gd name="T24" fmla="*/ 8 w 29"/>
                <a:gd name="T25" fmla="*/ 25 h 27"/>
                <a:gd name="T26" fmla="*/ 16 w 29"/>
                <a:gd name="T27" fmla="*/ 27 h 27"/>
                <a:gd name="T28" fmla="*/ 19 w 29"/>
                <a:gd name="T29" fmla="*/ 25 h 27"/>
                <a:gd name="T30" fmla="*/ 25 w 29"/>
                <a:gd name="T31" fmla="*/ 25 h 27"/>
                <a:gd name="T32" fmla="*/ 27 w 29"/>
                <a:gd name="T33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" h="27">
                  <a:moveTo>
                    <a:pt x="27" y="19"/>
                  </a:moveTo>
                  <a:lnTo>
                    <a:pt x="29" y="16"/>
                  </a:lnTo>
                  <a:lnTo>
                    <a:pt x="27" y="12"/>
                  </a:lnTo>
                  <a:lnTo>
                    <a:pt x="23" y="10"/>
                  </a:lnTo>
                  <a:lnTo>
                    <a:pt x="21" y="6"/>
                  </a:lnTo>
                  <a:lnTo>
                    <a:pt x="16" y="4"/>
                  </a:lnTo>
                  <a:lnTo>
                    <a:pt x="12" y="2"/>
                  </a:lnTo>
                  <a:lnTo>
                    <a:pt x="8" y="0"/>
                  </a:lnTo>
                  <a:lnTo>
                    <a:pt x="6" y="0"/>
                  </a:lnTo>
                  <a:lnTo>
                    <a:pt x="2" y="4"/>
                  </a:lnTo>
                  <a:lnTo>
                    <a:pt x="0" y="12"/>
                  </a:lnTo>
                  <a:lnTo>
                    <a:pt x="4" y="19"/>
                  </a:lnTo>
                  <a:lnTo>
                    <a:pt x="8" y="25"/>
                  </a:lnTo>
                  <a:lnTo>
                    <a:pt x="16" y="27"/>
                  </a:lnTo>
                  <a:lnTo>
                    <a:pt x="19" y="25"/>
                  </a:lnTo>
                  <a:lnTo>
                    <a:pt x="25" y="25"/>
                  </a:lnTo>
                  <a:lnTo>
                    <a:pt x="27" y="1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/>
            </a:p>
          </p:txBody>
        </p:sp>
        <p:grpSp>
          <p:nvGrpSpPr>
            <p:cNvPr id="234" name="Group 120"/>
            <p:cNvGrpSpPr>
              <a:grpSpLocks/>
            </p:cNvGrpSpPr>
            <p:nvPr/>
          </p:nvGrpSpPr>
          <p:grpSpPr bwMode="auto">
            <a:xfrm>
              <a:off x="6484440" y="1021668"/>
              <a:ext cx="468742" cy="307477"/>
              <a:chOff x="3465" y="1401"/>
              <a:chExt cx="261" cy="171"/>
            </a:xfrm>
            <a:grpFill/>
          </p:grpSpPr>
          <p:sp>
            <p:nvSpPr>
              <p:cNvPr id="251" name="Freeform 121"/>
              <p:cNvSpPr>
                <a:spLocks/>
              </p:cNvSpPr>
              <p:nvPr/>
            </p:nvSpPr>
            <p:spPr bwMode="auto">
              <a:xfrm>
                <a:off x="3625" y="1425"/>
                <a:ext cx="20" cy="18"/>
              </a:xfrm>
              <a:custGeom>
                <a:avLst/>
                <a:gdLst>
                  <a:gd name="T0" fmla="*/ 12 w 18"/>
                  <a:gd name="T1" fmla="*/ 16 h 16"/>
                  <a:gd name="T2" fmla="*/ 14 w 18"/>
                  <a:gd name="T3" fmla="*/ 16 h 16"/>
                  <a:gd name="T4" fmla="*/ 16 w 18"/>
                  <a:gd name="T5" fmla="*/ 14 h 16"/>
                  <a:gd name="T6" fmla="*/ 16 w 18"/>
                  <a:gd name="T7" fmla="*/ 12 h 16"/>
                  <a:gd name="T8" fmla="*/ 18 w 18"/>
                  <a:gd name="T9" fmla="*/ 10 h 16"/>
                  <a:gd name="T10" fmla="*/ 18 w 18"/>
                  <a:gd name="T11" fmla="*/ 6 h 16"/>
                  <a:gd name="T12" fmla="*/ 18 w 18"/>
                  <a:gd name="T13" fmla="*/ 4 h 16"/>
                  <a:gd name="T14" fmla="*/ 18 w 18"/>
                  <a:gd name="T15" fmla="*/ 2 h 16"/>
                  <a:gd name="T16" fmla="*/ 16 w 18"/>
                  <a:gd name="T17" fmla="*/ 0 h 16"/>
                  <a:gd name="T18" fmla="*/ 12 w 18"/>
                  <a:gd name="T19" fmla="*/ 0 h 16"/>
                  <a:gd name="T20" fmla="*/ 6 w 18"/>
                  <a:gd name="T21" fmla="*/ 2 h 16"/>
                  <a:gd name="T22" fmla="*/ 2 w 18"/>
                  <a:gd name="T23" fmla="*/ 4 h 16"/>
                  <a:gd name="T24" fmla="*/ 0 w 18"/>
                  <a:gd name="T25" fmla="*/ 8 h 16"/>
                  <a:gd name="T26" fmla="*/ 2 w 18"/>
                  <a:gd name="T27" fmla="*/ 12 h 16"/>
                  <a:gd name="T28" fmla="*/ 4 w 18"/>
                  <a:gd name="T29" fmla="*/ 14 h 16"/>
                  <a:gd name="T30" fmla="*/ 6 w 18"/>
                  <a:gd name="T31" fmla="*/ 16 h 16"/>
                  <a:gd name="T32" fmla="*/ 12 w 18"/>
                  <a:gd name="T33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" h="16">
                    <a:moveTo>
                      <a:pt x="12" y="16"/>
                    </a:moveTo>
                    <a:lnTo>
                      <a:pt x="14" y="16"/>
                    </a:lnTo>
                    <a:lnTo>
                      <a:pt x="16" y="14"/>
                    </a:lnTo>
                    <a:lnTo>
                      <a:pt x="16" y="12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4"/>
                    </a:lnTo>
                    <a:lnTo>
                      <a:pt x="18" y="2"/>
                    </a:lnTo>
                    <a:lnTo>
                      <a:pt x="16" y="0"/>
                    </a:lnTo>
                    <a:lnTo>
                      <a:pt x="12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12" y="1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252" name="Freeform 122"/>
              <p:cNvSpPr>
                <a:spLocks/>
              </p:cNvSpPr>
              <p:nvPr/>
            </p:nvSpPr>
            <p:spPr bwMode="auto">
              <a:xfrm>
                <a:off x="3548" y="1475"/>
                <a:ext cx="14" cy="14"/>
              </a:xfrm>
              <a:custGeom>
                <a:avLst/>
                <a:gdLst>
                  <a:gd name="T0" fmla="*/ 4 w 12"/>
                  <a:gd name="T1" fmla="*/ 13 h 13"/>
                  <a:gd name="T2" fmla="*/ 2 w 12"/>
                  <a:gd name="T3" fmla="*/ 11 h 13"/>
                  <a:gd name="T4" fmla="*/ 0 w 12"/>
                  <a:gd name="T5" fmla="*/ 11 h 13"/>
                  <a:gd name="T6" fmla="*/ 0 w 12"/>
                  <a:gd name="T7" fmla="*/ 7 h 13"/>
                  <a:gd name="T8" fmla="*/ 0 w 12"/>
                  <a:gd name="T9" fmla="*/ 7 h 13"/>
                  <a:gd name="T10" fmla="*/ 0 w 12"/>
                  <a:gd name="T11" fmla="*/ 3 h 13"/>
                  <a:gd name="T12" fmla="*/ 2 w 12"/>
                  <a:gd name="T13" fmla="*/ 1 h 13"/>
                  <a:gd name="T14" fmla="*/ 2 w 12"/>
                  <a:gd name="T15" fmla="*/ 0 h 13"/>
                  <a:gd name="T16" fmla="*/ 2 w 12"/>
                  <a:gd name="T17" fmla="*/ 0 h 13"/>
                  <a:gd name="T18" fmla="*/ 6 w 12"/>
                  <a:gd name="T19" fmla="*/ 0 h 13"/>
                  <a:gd name="T20" fmla="*/ 10 w 12"/>
                  <a:gd name="T21" fmla="*/ 1 h 13"/>
                  <a:gd name="T22" fmla="*/ 10 w 12"/>
                  <a:gd name="T23" fmla="*/ 3 h 13"/>
                  <a:gd name="T24" fmla="*/ 12 w 12"/>
                  <a:gd name="T25" fmla="*/ 7 h 13"/>
                  <a:gd name="T26" fmla="*/ 10 w 12"/>
                  <a:gd name="T27" fmla="*/ 11 h 13"/>
                  <a:gd name="T28" fmla="*/ 8 w 12"/>
                  <a:gd name="T29" fmla="*/ 11 h 13"/>
                  <a:gd name="T30" fmla="*/ 6 w 12"/>
                  <a:gd name="T31" fmla="*/ 13 h 13"/>
                  <a:gd name="T32" fmla="*/ 4 w 12"/>
                  <a:gd name="T33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" h="13">
                    <a:moveTo>
                      <a:pt x="4" y="13"/>
                    </a:moveTo>
                    <a:lnTo>
                      <a:pt x="2" y="11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3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10" y="1"/>
                    </a:lnTo>
                    <a:lnTo>
                      <a:pt x="10" y="3"/>
                    </a:lnTo>
                    <a:lnTo>
                      <a:pt x="12" y="7"/>
                    </a:lnTo>
                    <a:lnTo>
                      <a:pt x="10" y="11"/>
                    </a:lnTo>
                    <a:lnTo>
                      <a:pt x="8" y="11"/>
                    </a:lnTo>
                    <a:lnTo>
                      <a:pt x="6" y="13"/>
                    </a:lnTo>
                    <a:lnTo>
                      <a:pt x="4" y="1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253" name="Freeform 123"/>
              <p:cNvSpPr>
                <a:spLocks/>
              </p:cNvSpPr>
              <p:nvPr/>
            </p:nvSpPr>
            <p:spPr bwMode="auto">
              <a:xfrm>
                <a:off x="3528" y="1518"/>
                <a:ext cx="18" cy="14"/>
              </a:xfrm>
              <a:custGeom>
                <a:avLst/>
                <a:gdLst>
                  <a:gd name="T0" fmla="*/ 12 w 17"/>
                  <a:gd name="T1" fmla="*/ 13 h 13"/>
                  <a:gd name="T2" fmla="*/ 10 w 17"/>
                  <a:gd name="T3" fmla="*/ 13 h 13"/>
                  <a:gd name="T4" fmla="*/ 8 w 17"/>
                  <a:gd name="T5" fmla="*/ 13 h 13"/>
                  <a:gd name="T6" fmla="*/ 6 w 17"/>
                  <a:gd name="T7" fmla="*/ 11 h 13"/>
                  <a:gd name="T8" fmla="*/ 4 w 17"/>
                  <a:gd name="T9" fmla="*/ 9 h 13"/>
                  <a:gd name="T10" fmla="*/ 2 w 17"/>
                  <a:gd name="T11" fmla="*/ 8 h 13"/>
                  <a:gd name="T12" fmla="*/ 2 w 17"/>
                  <a:gd name="T13" fmla="*/ 6 h 13"/>
                  <a:gd name="T14" fmla="*/ 0 w 17"/>
                  <a:gd name="T15" fmla="*/ 4 h 13"/>
                  <a:gd name="T16" fmla="*/ 0 w 17"/>
                  <a:gd name="T17" fmla="*/ 2 h 13"/>
                  <a:gd name="T18" fmla="*/ 4 w 17"/>
                  <a:gd name="T19" fmla="*/ 0 h 13"/>
                  <a:gd name="T20" fmla="*/ 8 w 17"/>
                  <a:gd name="T21" fmla="*/ 0 h 13"/>
                  <a:gd name="T22" fmla="*/ 12 w 17"/>
                  <a:gd name="T23" fmla="*/ 0 h 13"/>
                  <a:gd name="T24" fmla="*/ 15 w 17"/>
                  <a:gd name="T25" fmla="*/ 2 h 13"/>
                  <a:gd name="T26" fmla="*/ 17 w 17"/>
                  <a:gd name="T27" fmla="*/ 6 h 13"/>
                  <a:gd name="T28" fmla="*/ 15 w 17"/>
                  <a:gd name="T29" fmla="*/ 9 h 13"/>
                  <a:gd name="T30" fmla="*/ 15 w 17"/>
                  <a:gd name="T31" fmla="*/ 11 h 13"/>
                  <a:gd name="T32" fmla="*/ 12 w 17"/>
                  <a:gd name="T33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" h="13">
                    <a:moveTo>
                      <a:pt x="12" y="13"/>
                    </a:moveTo>
                    <a:lnTo>
                      <a:pt x="10" y="13"/>
                    </a:lnTo>
                    <a:lnTo>
                      <a:pt x="8" y="13"/>
                    </a:lnTo>
                    <a:lnTo>
                      <a:pt x="6" y="11"/>
                    </a:lnTo>
                    <a:lnTo>
                      <a:pt x="4" y="9"/>
                    </a:lnTo>
                    <a:lnTo>
                      <a:pt x="2" y="8"/>
                    </a:lnTo>
                    <a:lnTo>
                      <a:pt x="2" y="6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5" y="2"/>
                    </a:lnTo>
                    <a:lnTo>
                      <a:pt x="17" y="6"/>
                    </a:lnTo>
                    <a:lnTo>
                      <a:pt x="15" y="9"/>
                    </a:lnTo>
                    <a:lnTo>
                      <a:pt x="15" y="11"/>
                    </a:lnTo>
                    <a:lnTo>
                      <a:pt x="12" y="1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254" name="Freeform 124"/>
              <p:cNvSpPr>
                <a:spLocks/>
              </p:cNvSpPr>
              <p:nvPr/>
            </p:nvSpPr>
            <p:spPr bwMode="auto">
              <a:xfrm>
                <a:off x="3498" y="1466"/>
                <a:ext cx="13" cy="11"/>
              </a:xfrm>
              <a:custGeom>
                <a:avLst/>
                <a:gdLst>
                  <a:gd name="T0" fmla="*/ 0 w 12"/>
                  <a:gd name="T1" fmla="*/ 6 h 11"/>
                  <a:gd name="T2" fmla="*/ 0 w 12"/>
                  <a:gd name="T3" fmla="*/ 4 h 11"/>
                  <a:gd name="T4" fmla="*/ 0 w 12"/>
                  <a:gd name="T5" fmla="*/ 2 h 11"/>
                  <a:gd name="T6" fmla="*/ 2 w 12"/>
                  <a:gd name="T7" fmla="*/ 2 h 11"/>
                  <a:gd name="T8" fmla="*/ 4 w 12"/>
                  <a:gd name="T9" fmla="*/ 2 h 11"/>
                  <a:gd name="T10" fmla="*/ 6 w 12"/>
                  <a:gd name="T11" fmla="*/ 0 h 11"/>
                  <a:gd name="T12" fmla="*/ 8 w 12"/>
                  <a:gd name="T13" fmla="*/ 0 h 11"/>
                  <a:gd name="T14" fmla="*/ 10 w 12"/>
                  <a:gd name="T15" fmla="*/ 0 h 11"/>
                  <a:gd name="T16" fmla="*/ 10 w 12"/>
                  <a:gd name="T17" fmla="*/ 2 h 11"/>
                  <a:gd name="T18" fmla="*/ 12 w 12"/>
                  <a:gd name="T19" fmla="*/ 4 h 11"/>
                  <a:gd name="T20" fmla="*/ 12 w 12"/>
                  <a:gd name="T21" fmla="*/ 8 h 11"/>
                  <a:gd name="T22" fmla="*/ 10 w 12"/>
                  <a:gd name="T23" fmla="*/ 9 h 11"/>
                  <a:gd name="T24" fmla="*/ 6 w 12"/>
                  <a:gd name="T25" fmla="*/ 11 h 11"/>
                  <a:gd name="T26" fmla="*/ 4 w 12"/>
                  <a:gd name="T27" fmla="*/ 11 h 11"/>
                  <a:gd name="T28" fmla="*/ 2 w 12"/>
                  <a:gd name="T29" fmla="*/ 9 h 11"/>
                  <a:gd name="T30" fmla="*/ 0 w 12"/>
                  <a:gd name="T31" fmla="*/ 9 h 11"/>
                  <a:gd name="T32" fmla="*/ 0 w 12"/>
                  <a:gd name="T33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" h="11">
                    <a:moveTo>
                      <a:pt x="0" y="6"/>
                    </a:moveTo>
                    <a:lnTo>
                      <a:pt x="0" y="4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2"/>
                    </a:lnTo>
                    <a:lnTo>
                      <a:pt x="12" y="4"/>
                    </a:lnTo>
                    <a:lnTo>
                      <a:pt x="12" y="8"/>
                    </a:lnTo>
                    <a:lnTo>
                      <a:pt x="10" y="9"/>
                    </a:lnTo>
                    <a:lnTo>
                      <a:pt x="6" y="11"/>
                    </a:lnTo>
                    <a:lnTo>
                      <a:pt x="4" y="11"/>
                    </a:lnTo>
                    <a:lnTo>
                      <a:pt x="2" y="9"/>
                    </a:lnTo>
                    <a:lnTo>
                      <a:pt x="0" y="9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255" name="Freeform 125"/>
              <p:cNvSpPr>
                <a:spLocks/>
              </p:cNvSpPr>
              <p:nvPr/>
            </p:nvSpPr>
            <p:spPr bwMode="auto">
              <a:xfrm>
                <a:off x="3509" y="1453"/>
                <a:ext cx="14" cy="13"/>
              </a:xfrm>
              <a:custGeom>
                <a:avLst/>
                <a:gdLst>
                  <a:gd name="T0" fmla="*/ 0 w 13"/>
                  <a:gd name="T1" fmla="*/ 6 h 12"/>
                  <a:gd name="T2" fmla="*/ 0 w 13"/>
                  <a:gd name="T3" fmla="*/ 4 h 12"/>
                  <a:gd name="T4" fmla="*/ 2 w 13"/>
                  <a:gd name="T5" fmla="*/ 2 h 12"/>
                  <a:gd name="T6" fmla="*/ 4 w 13"/>
                  <a:gd name="T7" fmla="*/ 2 h 12"/>
                  <a:gd name="T8" fmla="*/ 6 w 13"/>
                  <a:gd name="T9" fmla="*/ 0 h 12"/>
                  <a:gd name="T10" fmla="*/ 7 w 13"/>
                  <a:gd name="T11" fmla="*/ 0 h 12"/>
                  <a:gd name="T12" fmla="*/ 9 w 13"/>
                  <a:gd name="T13" fmla="*/ 0 h 12"/>
                  <a:gd name="T14" fmla="*/ 11 w 13"/>
                  <a:gd name="T15" fmla="*/ 0 h 12"/>
                  <a:gd name="T16" fmla="*/ 11 w 13"/>
                  <a:gd name="T17" fmla="*/ 0 h 12"/>
                  <a:gd name="T18" fmla="*/ 13 w 13"/>
                  <a:gd name="T19" fmla="*/ 4 h 12"/>
                  <a:gd name="T20" fmla="*/ 11 w 13"/>
                  <a:gd name="T21" fmla="*/ 6 h 12"/>
                  <a:gd name="T22" fmla="*/ 9 w 13"/>
                  <a:gd name="T23" fmla="*/ 10 h 12"/>
                  <a:gd name="T24" fmla="*/ 7 w 13"/>
                  <a:gd name="T25" fmla="*/ 12 h 12"/>
                  <a:gd name="T26" fmla="*/ 4 w 13"/>
                  <a:gd name="T27" fmla="*/ 12 h 12"/>
                  <a:gd name="T28" fmla="*/ 2 w 13"/>
                  <a:gd name="T29" fmla="*/ 10 h 12"/>
                  <a:gd name="T30" fmla="*/ 2 w 13"/>
                  <a:gd name="T31" fmla="*/ 8 h 12"/>
                  <a:gd name="T32" fmla="*/ 0 w 13"/>
                  <a:gd name="T33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" h="12">
                    <a:moveTo>
                      <a:pt x="0" y="6"/>
                    </a:moveTo>
                    <a:lnTo>
                      <a:pt x="0" y="4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7" y="0"/>
                    </a:lnTo>
                    <a:lnTo>
                      <a:pt x="9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13" y="4"/>
                    </a:lnTo>
                    <a:lnTo>
                      <a:pt x="11" y="6"/>
                    </a:lnTo>
                    <a:lnTo>
                      <a:pt x="9" y="10"/>
                    </a:lnTo>
                    <a:lnTo>
                      <a:pt x="7" y="12"/>
                    </a:lnTo>
                    <a:lnTo>
                      <a:pt x="4" y="12"/>
                    </a:lnTo>
                    <a:lnTo>
                      <a:pt x="2" y="10"/>
                    </a:lnTo>
                    <a:lnTo>
                      <a:pt x="2" y="8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256" name="Freeform 126"/>
              <p:cNvSpPr>
                <a:spLocks/>
              </p:cNvSpPr>
              <p:nvPr/>
            </p:nvSpPr>
            <p:spPr bwMode="auto">
              <a:xfrm>
                <a:off x="3538" y="1432"/>
                <a:ext cx="12" cy="11"/>
              </a:xfrm>
              <a:custGeom>
                <a:avLst/>
                <a:gdLst>
                  <a:gd name="T0" fmla="*/ 0 w 11"/>
                  <a:gd name="T1" fmla="*/ 4 h 10"/>
                  <a:gd name="T2" fmla="*/ 0 w 11"/>
                  <a:gd name="T3" fmla="*/ 2 h 10"/>
                  <a:gd name="T4" fmla="*/ 2 w 11"/>
                  <a:gd name="T5" fmla="*/ 0 h 10"/>
                  <a:gd name="T6" fmla="*/ 4 w 11"/>
                  <a:gd name="T7" fmla="*/ 0 h 10"/>
                  <a:gd name="T8" fmla="*/ 5 w 11"/>
                  <a:gd name="T9" fmla="*/ 0 h 10"/>
                  <a:gd name="T10" fmla="*/ 7 w 11"/>
                  <a:gd name="T11" fmla="*/ 0 h 10"/>
                  <a:gd name="T12" fmla="*/ 9 w 11"/>
                  <a:gd name="T13" fmla="*/ 0 h 10"/>
                  <a:gd name="T14" fmla="*/ 11 w 11"/>
                  <a:gd name="T15" fmla="*/ 0 h 10"/>
                  <a:gd name="T16" fmla="*/ 11 w 11"/>
                  <a:gd name="T17" fmla="*/ 2 h 10"/>
                  <a:gd name="T18" fmla="*/ 11 w 11"/>
                  <a:gd name="T19" fmla="*/ 4 h 10"/>
                  <a:gd name="T20" fmla="*/ 9 w 11"/>
                  <a:gd name="T21" fmla="*/ 8 h 10"/>
                  <a:gd name="T22" fmla="*/ 7 w 11"/>
                  <a:gd name="T23" fmla="*/ 10 h 10"/>
                  <a:gd name="T24" fmla="*/ 4 w 11"/>
                  <a:gd name="T25" fmla="*/ 10 h 10"/>
                  <a:gd name="T26" fmla="*/ 2 w 11"/>
                  <a:gd name="T27" fmla="*/ 10 h 10"/>
                  <a:gd name="T28" fmla="*/ 0 w 11"/>
                  <a:gd name="T29" fmla="*/ 8 h 10"/>
                  <a:gd name="T30" fmla="*/ 0 w 11"/>
                  <a:gd name="T31" fmla="*/ 6 h 10"/>
                  <a:gd name="T32" fmla="*/ 0 w 11"/>
                  <a:gd name="T33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" h="10">
                    <a:moveTo>
                      <a:pt x="0" y="4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5" y="0"/>
                    </a:lnTo>
                    <a:lnTo>
                      <a:pt x="7" y="0"/>
                    </a:lnTo>
                    <a:lnTo>
                      <a:pt x="9" y="0"/>
                    </a:lnTo>
                    <a:lnTo>
                      <a:pt x="11" y="0"/>
                    </a:lnTo>
                    <a:lnTo>
                      <a:pt x="11" y="2"/>
                    </a:lnTo>
                    <a:lnTo>
                      <a:pt x="11" y="4"/>
                    </a:lnTo>
                    <a:lnTo>
                      <a:pt x="9" y="8"/>
                    </a:lnTo>
                    <a:lnTo>
                      <a:pt x="7" y="10"/>
                    </a:lnTo>
                    <a:lnTo>
                      <a:pt x="4" y="10"/>
                    </a:lnTo>
                    <a:lnTo>
                      <a:pt x="2" y="10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257" name="Freeform 127"/>
              <p:cNvSpPr>
                <a:spLocks/>
              </p:cNvSpPr>
              <p:nvPr/>
            </p:nvSpPr>
            <p:spPr bwMode="auto">
              <a:xfrm>
                <a:off x="3557" y="1425"/>
                <a:ext cx="14" cy="18"/>
              </a:xfrm>
              <a:custGeom>
                <a:avLst/>
                <a:gdLst>
                  <a:gd name="T0" fmla="*/ 0 w 13"/>
                  <a:gd name="T1" fmla="*/ 8 h 16"/>
                  <a:gd name="T2" fmla="*/ 0 w 13"/>
                  <a:gd name="T3" fmla="*/ 4 h 16"/>
                  <a:gd name="T4" fmla="*/ 0 w 13"/>
                  <a:gd name="T5" fmla="*/ 2 h 16"/>
                  <a:gd name="T6" fmla="*/ 2 w 13"/>
                  <a:gd name="T7" fmla="*/ 0 h 16"/>
                  <a:gd name="T8" fmla="*/ 4 w 13"/>
                  <a:gd name="T9" fmla="*/ 0 h 16"/>
                  <a:gd name="T10" fmla="*/ 6 w 13"/>
                  <a:gd name="T11" fmla="*/ 0 h 16"/>
                  <a:gd name="T12" fmla="*/ 8 w 13"/>
                  <a:gd name="T13" fmla="*/ 0 h 16"/>
                  <a:gd name="T14" fmla="*/ 10 w 13"/>
                  <a:gd name="T15" fmla="*/ 0 h 16"/>
                  <a:gd name="T16" fmla="*/ 11 w 13"/>
                  <a:gd name="T17" fmla="*/ 0 h 16"/>
                  <a:gd name="T18" fmla="*/ 11 w 13"/>
                  <a:gd name="T19" fmla="*/ 4 h 16"/>
                  <a:gd name="T20" fmla="*/ 13 w 13"/>
                  <a:gd name="T21" fmla="*/ 10 h 16"/>
                  <a:gd name="T22" fmla="*/ 11 w 13"/>
                  <a:gd name="T23" fmla="*/ 14 h 16"/>
                  <a:gd name="T24" fmla="*/ 10 w 13"/>
                  <a:gd name="T25" fmla="*/ 16 h 16"/>
                  <a:gd name="T26" fmla="*/ 6 w 13"/>
                  <a:gd name="T27" fmla="*/ 16 h 16"/>
                  <a:gd name="T28" fmla="*/ 4 w 13"/>
                  <a:gd name="T29" fmla="*/ 14 h 16"/>
                  <a:gd name="T30" fmla="*/ 2 w 13"/>
                  <a:gd name="T31" fmla="*/ 12 h 16"/>
                  <a:gd name="T32" fmla="*/ 0 w 13"/>
                  <a:gd name="T33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" h="16">
                    <a:moveTo>
                      <a:pt x="0" y="8"/>
                    </a:moveTo>
                    <a:lnTo>
                      <a:pt x="0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1" y="0"/>
                    </a:lnTo>
                    <a:lnTo>
                      <a:pt x="11" y="4"/>
                    </a:lnTo>
                    <a:lnTo>
                      <a:pt x="13" y="10"/>
                    </a:lnTo>
                    <a:lnTo>
                      <a:pt x="11" y="14"/>
                    </a:lnTo>
                    <a:lnTo>
                      <a:pt x="10" y="16"/>
                    </a:lnTo>
                    <a:lnTo>
                      <a:pt x="6" y="16"/>
                    </a:lnTo>
                    <a:lnTo>
                      <a:pt x="4" y="14"/>
                    </a:lnTo>
                    <a:lnTo>
                      <a:pt x="2" y="12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258" name="Freeform 128"/>
              <p:cNvSpPr>
                <a:spLocks/>
              </p:cNvSpPr>
              <p:nvPr/>
            </p:nvSpPr>
            <p:spPr bwMode="auto">
              <a:xfrm>
                <a:off x="3521" y="1440"/>
                <a:ext cx="13" cy="13"/>
              </a:xfrm>
              <a:custGeom>
                <a:avLst/>
                <a:gdLst>
                  <a:gd name="T0" fmla="*/ 0 w 12"/>
                  <a:gd name="T1" fmla="*/ 6 h 11"/>
                  <a:gd name="T2" fmla="*/ 0 w 12"/>
                  <a:gd name="T3" fmla="*/ 4 h 11"/>
                  <a:gd name="T4" fmla="*/ 2 w 12"/>
                  <a:gd name="T5" fmla="*/ 2 h 11"/>
                  <a:gd name="T6" fmla="*/ 4 w 12"/>
                  <a:gd name="T7" fmla="*/ 2 h 11"/>
                  <a:gd name="T8" fmla="*/ 4 w 12"/>
                  <a:gd name="T9" fmla="*/ 0 h 11"/>
                  <a:gd name="T10" fmla="*/ 6 w 12"/>
                  <a:gd name="T11" fmla="*/ 0 h 11"/>
                  <a:gd name="T12" fmla="*/ 10 w 12"/>
                  <a:gd name="T13" fmla="*/ 0 h 11"/>
                  <a:gd name="T14" fmla="*/ 10 w 12"/>
                  <a:gd name="T15" fmla="*/ 0 h 11"/>
                  <a:gd name="T16" fmla="*/ 12 w 12"/>
                  <a:gd name="T17" fmla="*/ 0 h 11"/>
                  <a:gd name="T18" fmla="*/ 12 w 12"/>
                  <a:gd name="T19" fmla="*/ 4 h 11"/>
                  <a:gd name="T20" fmla="*/ 12 w 12"/>
                  <a:gd name="T21" fmla="*/ 6 h 11"/>
                  <a:gd name="T22" fmla="*/ 10 w 12"/>
                  <a:gd name="T23" fmla="*/ 9 h 11"/>
                  <a:gd name="T24" fmla="*/ 8 w 12"/>
                  <a:gd name="T25" fmla="*/ 11 h 11"/>
                  <a:gd name="T26" fmla="*/ 4 w 12"/>
                  <a:gd name="T27" fmla="*/ 11 h 11"/>
                  <a:gd name="T28" fmla="*/ 2 w 12"/>
                  <a:gd name="T29" fmla="*/ 9 h 11"/>
                  <a:gd name="T30" fmla="*/ 0 w 12"/>
                  <a:gd name="T31" fmla="*/ 8 h 11"/>
                  <a:gd name="T32" fmla="*/ 0 w 12"/>
                  <a:gd name="T33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" h="11">
                    <a:moveTo>
                      <a:pt x="0" y="6"/>
                    </a:moveTo>
                    <a:lnTo>
                      <a:pt x="0" y="4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2" y="0"/>
                    </a:lnTo>
                    <a:lnTo>
                      <a:pt x="12" y="4"/>
                    </a:lnTo>
                    <a:lnTo>
                      <a:pt x="12" y="6"/>
                    </a:lnTo>
                    <a:lnTo>
                      <a:pt x="10" y="9"/>
                    </a:lnTo>
                    <a:lnTo>
                      <a:pt x="8" y="11"/>
                    </a:lnTo>
                    <a:lnTo>
                      <a:pt x="4" y="11"/>
                    </a:lnTo>
                    <a:lnTo>
                      <a:pt x="2" y="9"/>
                    </a:lnTo>
                    <a:lnTo>
                      <a:pt x="0" y="8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259" name="Freeform 129"/>
              <p:cNvSpPr>
                <a:spLocks/>
              </p:cNvSpPr>
              <p:nvPr/>
            </p:nvSpPr>
            <p:spPr bwMode="auto">
              <a:xfrm>
                <a:off x="3552" y="1440"/>
                <a:ext cx="174" cy="132"/>
              </a:xfrm>
              <a:custGeom>
                <a:avLst/>
                <a:gdLst>
                  <a:gd name="T0" fmla="*/ 159 w 159"/>
                  <a:gd name="T1" fmla="*/ 11 h 121"/>
                  <a:gd name="T2" fmla="*/ 148 w 159"/>
                  <a:gd name="T3" fmla="*/ 4 h 121"/>
                  <a:gd name="T4" fmla="*/ 134 w 159"/>
                  <a:gd name="T5" fmla="*/ 9 h 121"/>
                  <a:gd name="T6" fmla="*/ 119 w 159"/>
                  <a:gd name="T7" fmla="*/ 2 h 121"/>
                  <a:gd name="T8" fmla="*/ 102 w 159"/>
                  <a:gd name="T9" fmla="*/ 0 h 121"/>
                  <a:gd name="T10" fmla="*/ 88 w 159"/>
                  <a:gd name="T11" fmla="*/ 6 h 121"/>
                  <a:gd name="T12" fmla="*/ 75 w 159"/>
                  <a:gd name="T13" fmla="*/ 8 h 121"/>
                  <a:gd name="T14" fmla="*/ 62 w 159"/>
                  <a:gd name="T15" fmla="*/ 15 h 121"/>
                  <a:gd name="T16" fmla="*/ 50 w 159"/>
                  <a:gd name="T17" fmla="*/ 11 h 121"/>
                  <a:gd name="T18" fmla="*/ 38 w 159"/>
                  <a:gd name="T19" fmla="*/ 9 h 121"/>
                  <a:gd name="T20" fmla="*/ 27 w 159"/>
                  <a:gd name="T21" fmla="*/ 15 h 121"/>
                  <a:gd name="T22" fmla="*/ 14 w 159"/>
                  <a:gd name="T23" fmla="*/ 15 h 121"/>
                  <a:gd name="T24" fmla="*/ 12 w 159"/>
                  <a:gd name="T25" fmla="*/ 29 h 121"/>
                  <a:gd name="T26" fmla="*/ 14 w 159"/>
                  <a:gd name="T27" fmla="*/ 40 h 121"/>
                  <a:gd name="T28" fmla="*/ 10 w 159"/>
                  <a:gd name="T29" fmla="*/ 52 h 121"/>
                  <a:gd name="T30" fmla="*/ 0 w 159"/>
                  <a:gd name="T31" fmla="*/ 63 h 121"/>
                  <a:gd name="T32" fmla="*/ 4 w 159"/>
                  <a:gd name="T33" fmla="*/ 73 h 121"/>
                  <a:gd name="T34" fmla="*/ 2 w 159"/>
                  <a:gd name="T35" fmla="*/ 82 h 121"/>
                  <a:gd name="T36" fmla="*/ 0 w 159"/>
                  <a:gd name="T37" fmla="*/ 100 h 121"/>
                  <a:gd name="T38" fmla="*/ 6 w 159"/>
                  <a:gd name="T39" fmla="*/ 111 h 121"/>
                  <a:gd name="T40" fmla="*/ 17 w 159"/>
                  <a:gd name="T41" fmla="*/ 121 h 121"/>
                  <a:gd name="T42" fmla="*/ 31 w 159"/>
                  <a:gd name="T43" fmla="*/ 121 h 121"/>
                  <a:gd name="T44" fmla="*/ 44 w 159"/>
                  <a:gd name="T45" fmla="*/ 117 h 121"/>
                  <a:gd name="T46" fmla="*/ 60 w 159"/>
                  <a:gd name="T47" fmla="*/ 119 h 121"/>
                  <a:gd name="T48" fmla="*/ 71 w 159"/>
                  <a:gd name="T49" fmla="*/ 115 h 121"/>
                  <a:gd name="T50" fmla="*/ 85 w 159"/>
                  <a:gd name="T51" fmla="*/ 113 h 121"/>
                  <a:gd name="T52" fmla="*/ 98 w 159"/>
                  <a:gd name="T53" fmla="*/ 111 h 121"/>
                  <a:gd name="T54" fmla="*/ 109 w 159"/>
                  <a:gd name="T55" fmla="*/ 102 h 121"/>
                  <a:gd name="T56" fmla="*/ 121 w 159"/>
                  <a:gd name="T57" fmla="*/ 94 h 121"/>
                  <a:gd name="T58" fmla="*/ 127 w 159"/>
                  <a:gd name="T59" fmla="*/ 84 h 121"/>
                  <a:gd name="T60" fmla="*/ 133 w 159"/>
                  <a:gd name="T61" fmla="*/ 75 h 121"/>
                  <a:gd name="T62" fmla="*/ 142 w 159"/>
                  <a:gd name="T63" fmla="*/ 69 h 121"/>
                  <a:gd name="T64" fmla="*/ 144 w 159"/>
                  <a:gd name="T65" fmla="*/ 59 h 121"/>
                  <a:gd name="T66" fmla="*/ 140 w 159"/>
                  <a:gd name="T67" fmla="*/ 46 h 121"/>
                  <a:gd name="T68" fmla="*/ 150 w 159"/>
                  <a:gd name="T69" fmla="*/ 38 h 121"/>
                  <a:gd name="T70" fmla="*/ 156 w 159"/>
                  <a:gd name="T71" fmla="*/ 23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9" h="121">
                    <a:moveTo>
                      <a:pt x="156" y="23"/>
                    </a:moveTo>
                    <a:lnTo>
                      <a:pt x="159" y="11"/>
                    </a:lnTo>
                    <a:lnTo>
                      <a:pt x="157" y="6"/>
                    </a:lnTo>
                    <a:lnTo>
                      <a:pt x="148" y="4"/>
                    </a:lnTo>
                    <a:lnTo>
                      <a:pt x="140" y="8"/>
                    </a:lnTo>
                    <a:lnTo>
                      <a:pt x="134" y="9"/>
                    </a:lnTo>
                    <a:lnTo>
                      <a:pt x="129" y="8"/>
                    </a:lnTo>
                    <a:lnTo>
                      <a:pt x="119" y="2"/>
                    </a:lnTo>
                    <a:lnTo>
                      <a:pt x="109" y="0"/>
                    </a:lnTo>
                    <a:lnTo>
                      <a:pt x="102" y="0"/>
                    </a:lnTo>
                    <a:lnTo>
                      <a:pt x="94" y="2"/>
                    </a:lnTo>
                    <a:lnTo>
                      <a:pt x="88" y="6"/>
                    </a:lnTo>
                    <a:lnTo>
                      <a:pt x="81" y="8"/>
                    </a:lnTo>
                    <a:lnTo>
                      <a:pt x="75" y="8"/>
                    </a:lnTo>
                    <a:lnTo>
                      <a:pt x="69" y="11"/>
                    </a:lnTo>
                    <a:lnTo>
                      <a:pt x="62" y="15"/>
                    </a:lnTo>
                    <a:lnTo>
                      <a:pt x="58" y="13"/>
                    </a:lnTo>
                    <a:lnTo>
                      <a:pt x="50" y="11"/>
                    </a:lnTo>
                    <a:lnTo>
                      <a:pt x="44" y="11"/>
                    </a:lnTo>
                    <a:lnTo>
                      <a:pt x="38" y="9"/>
                    </a:lnTo>
                    <a:lnTo>
                      <a:pt x="31" y="11"/>
                    </a:lnTo>
                    <a:lnTo>
                      <a:pt x="27" y="15"/>
                    </a:lnTo>
                    <a:lnTo>
                      <a:pt x="19" y="13"/>
                    </a:lnTo>
                    <a:lnTo>
                      <a:pt x="14" y="15"/>
                    </a:lnTo>
                    <a:lnTo>
                      <a:pt x="10" y="19"/>
                    </a:lnTo>
                    <a:lnTo>
                      <a:pt x="12" y="29"/>
                    </a:lnTo>
                    <a:lnTo>
                      <a:pt x="15" y="34"/>
                    </a:lnTo>
                    <a:lnTo>
                      <a:pt x="14" y="40"/>
                    </a:lnTo>
                    <a:lnTo>
                      <a:pt x="14" y="48"/>
                    </a:lnTo>
                    <a:lnTo>
                      <a:pt x="10" y="52"/>
                    </a:lnTo>
                    <a:lnTo>
                      <a:pt x="6" y="57"/>
                    </a:lnTo>
                    <a:lnTo>
                      <a:pt x="0" y="63"/>
                    </a:lnTo>
                    <a:lnTo>
                      <a:pt x="0" y="67"/>
                    </a:lnTo>
                    <a:lnTo>
                      <a:pt x="4" y="73"/>
                    </a:lnTo>
                    <a:lnTo>
                      <a:pt x="2" y="77"/>
                    </a:lnTo>
                    <a:lnTo>
                      <a:pt x="2" y="82"/>
                    </a:lnTo>
                    <a:lnTo>
                      <a:pt x="0" y="88"/>
                    </a:lnTo>
                    <a:lnTo>
                      <a:pt x="0" y="100"/>
                    </a:lnTo>
                    <a:lnTo>
                      <a:pt x="2" y="105"/>
                    </a:lnTo>
                    <a:lnTo>
                      <a:pt x="6" y="111"/>
                    </a:lnTo>
                    <a:lnTo>
                      <a:pt x="10" y="113"/>
                    </a:lnTo>
                    <a:lnTo>
                      <a:pt x="17" y="121"/>
                    </a:lnTo>
                    <a:lnTo>
                      <a:pt x="23" y="121"/>
                    </a:lnTo>
                    <a:lnTo>
                      <a:pt x="31" y="121"/>
                    </a:lnTo>
                    <a:lnTo>
                      <a:pt x="40" y="121"/>
                    </a:lnTo>
                    <a:lnTo>
                      <a:pt x="44" y="117"/>
                    </a:lnTo>
                    <a:lnTo>
                      <a:pt x="50" y="115"/>
                    </a:lnTo>
                    <a:lnTo>
                      <a:pt x="60" y="119"/>
                    </a:lnTo>
                    <a:lnTo>
                      <a:pt x="67" y="117"/>
                    </a:lnTo>
                    <a:lnTo>
                      <a:pt x="71" y="115"/>
                    </a:lnTo>
                    <a:lnTo>
                      <a:pt x="79" y="113"/>
                    </a:lnTo>
                    <a:lnTo>
                      <a:pt x="85" y="113"/>
                    </a:lnTo>
                    <a:lnTo>
                      <a:pt x="92" y="113"/>
                    </a:lnTo>
                    <a:lnTo>
                      <a:pt x="98" y="111"/>
                    </a:lnTo>
                    <a:lnTo>
                      <a:pt x="106" y="105"/>
                    </a:lnTo>
                    <a:lnTo>
                      <a:pt x="109" y="102"/>
                    </a:lnTo>
                    <a:lnTo>
                      <a:pt x="113" y="96"/>
                    </a:lnTo>
                    <a:lnTo>
                      <a:pt x="121" y="94"/>
                    </a:lnTo>
                    <a:lnTo>
                      <a:pt x="125" y="90"/>
                    </a:lnTo>
                    <a:lnTo>
                      <a:pt x="127" y="84"/>
                    </a:lnTo>
                    <a:lnTo>
                      <a:pt x="129" y="80"/>
                    </a:lnTo>
                    <a:lnTo>
                      <a:pt x="133" y="75"/>
                    </a:lnTo>
                    <a:lnTo>
                      <a:pt x="136" y="73"/>
                    </a:lnTo>
                    <a:lnTo>
                      <a:pt x="142" y="69"/>
                    </a:lnTo>
                    <a:lnTo>
                      <a:pt x="142" y="65"/>
                    </a:lnTo>
                    <a:lnTo>
                      <a:pt x="144" y="59"/>
                    </a:lnTo>
                    <a:lnTo>
                      <a:pt x="142" y="52"/>
                    </a:lnTo>
                    <a:lnTo>
                      <a:pt x="140" y="46"/>
                    </a:lnTo>
                    <a:lnTo>
                      <a:pt x="144" y="42"/>
                    </a:lnTo>
                    <a:lnTo>
                      <a:pt x="150" y="38"/>
                    </a:lnTo>
                    <a:lnTo>
                      <a:pt x="154" y="32"/>
                    </a:lnTo>
                    <a:lnTo>
                      <a:pt x="156" y="2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260" name="Freeform 130"/>
              <p:cNvSpPr>
                <a:spLocks/>
              </p:cNvSpPr>
              <p:nvPr/>
            </p:nvSpPr>
            <p:spPr bwMode="auto">
              <a:xfrm>
                <a:off x="3465" y="1477"/>
                <a:ext cx="33" cy="45"/>
              </a:xfrm>
              <a:custGeom>
                <a:avLst/>
                <a:gdLst>
                  <a:gd name="T0" fmla="*/ 15 w 30"/>
                  <a:gd name="T1" fmla="*/ 33 h 41"/>
                  <a:gd name="T2" fmla="*/ 15 w 30"/>
                  <a:gd name="T3" fmla="*/ 37 h 41"/>
                  <a:gd name="T4" fmla="*/ 13 w 30"/>
                  <a:gd name="T5" fmla="*/ 39 h 41"/>
                  <a:gd name="T6" fmla="*/ 9 w 30"/>
                  <a:gd name="T7" fmla="*/ 41 h 41"/>
                  <a:gd name="T8" fmla="*/ 7 w 30"/>
                  <a:gd name="T9" fmla="*/ 41 h 41"/>
                  <a:gd name="T10" fmla="*/ 3 w 30"/>
                  <a:gd name="T11" fmla="*/ 41 h 41"/>
                  <a:gd name="T12" fmla="*/ 1 w 30"/>
                  <a:gd name="T13" fmla="*/ 39 h 41"/>
                  <a:gd name="T14" fmla="*/ 0 w 30"/>
                  <a:gd name="T15" fmla="*/ 37 h 41"/>
                  <a:gd name="T16" fmla="*/ 1 w 30"/>
                  <a:gd name="T17" fmla="*/ 31 h 41"/>
                  <a:gd name="T18" fmla="*/ 3 w 30"/>
                  <a:gd name="T19" fmla="*/ 27 h 41"/>
                  <a:gd name="T20" fmla="*/ 7 w 30"/>
                  <a:gd name="T21" fmla="*/ 21 h 41"/>
                  <a:gd name="T22" fmla="*/ 9 w 30"/>
                  <a:gd name="T23" fmla="*/ 18 h 41"/>
                  <a:gd name="T24" fmla="*/ 11 w 30"/>
                  <a:gd name="T25" fmla="*/ 12 h 41"/>
                  <a:gd name="T26" fmla="*/ 13 w 30"/>
                  <a:gd name="T27" fmla="*/ 8 h 41"/>
                  <a:gd name="T28" fmla="*/ 15 w 30"/>
                  <a:gd name="T29" fmla="*/ 4 h 41"/>
                  <a:gd name="T30" fmla="*/ 19 w 30"/>
                  <a:gd name="T31" fmla="*/ 2 h 41"/>
                  <a:gd name="T32" fmla="*/ 23 w 30"/>
                  <a:gd name="T33" fmla="*/ 0 h 41"/>
                  <a:gd name="T34" fmla="*/ 26 w 30"/>
                  <a:gd name="T35" fmla="*/ 2 h 41"/>
                  <a:gd name="T36" fmla="*/ 30 w 30"/>
                  <a:gd name="T37" fmla="*/ 6 h 41"/>
                  <a:gd name="T38" fmla="*/ 30 w 30"/>
                  <a:gd name="T39" fmla="*/ 10 h 41"/>
                  <a:gd name="T40" fmla="*/ 28 w 30"/>
                  <a:gd name="T41" fmla="*/ 14 h 41"/>
                  <a:gd name="T42" fmla="*/ 26 w 30"/>
                  <a:gd name="T43" fmla="*/ 16 h 41"/>
                  <a:gd name="T44" fmla="*/ 24 w 30"/>
                  <a:gd name="T45" fmla="*/ 18 h 41"/>
                  <a:gd name="T46" fmla="*/ 23 w 30"/>
                  <a:gd name="T47" fmla="*/ 21 h 41"/>
                  <a:gd name="T48" fmla="*/ 23 w 30"/>
                  <a:gd name="T49" fmla="*/ 25 h 41"/>
                  <a:gd name="T50" fmla="*/ 21 w 30"/>
                  <a:gd name="T51" fmla="*/ 25 h 41"/>
                  <a:gd name="T52" fmla="*/ 21 w 30"/>
                  <a:gd name="T53" fmla="*/ 27 h 41"/>
                  <a:gd name="T54" fmla="*/ 19 w 30"/>
                  <a:gd name="T55" fmla="*/ 29 h 41"/>
                  <a:gd name="T56" fmla="*/ 15 w 30"/>
                  <a:gd name="T57" fmla="*/ 33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0" h="41">
                    <a:moveTo>
                      <a:pt x="15" y="33"/>
                    </a:moveTo>
                    <a:lnTo>
                      <a:pt x="15" y="37"/>
                    </a:lnTo>
                    <a:lnTo>
                      <a:pt x="13" y="39"/>
                    </a:lnTo>
                    <a:lnTo>
                      <a:pt x="9" y="41"/>
                    </a:lnTo>
                    <a:lnTo>
                      <a:pt x="7" y="41"/>
                    </a:lnTo>
                    <a:lnTo>
                      <a:pt x="3" y="41"/>
                    </a:lnTo>
                    <a:lnTo>
                      <a:pt x="1" y="39"/>
                    </a:lnTo>
                    <a:lnTo>
                      <a:pt x="0" y="37"/>
                    </a:lnTo>
                    <a:lnTo>
                      <a:pt x="1" y="31"/>
                    </a:lnTo>
                    <a:lnTo>
                      <a:pt x="3" y="27"/>
                    </a:lnTo>
                    <a:lnTo>
                      <a:pt x="7" y="21"/>
                    </a:lnTo>
                    <a:lnTo>
                      <a:pt x="9" y="18"/>
                    </a:lnTo>
                    <a:lnTo>
                      <a:pt x="11" y="12"/>
                    </a:lnTo>
                    <a:lnTo>
                      <a:pt x="13" y="8"/>
                    </a:lnTo>
                    <a:lnTo>
                      <a:pt x="15" y="4"/>
                    </a:lnTo>
                    <a:lnTo>
                      <a:pt x="19" y="2"/>
                    </a:lnTo>
                    <a:lnTo>
                      <a:pt x="23" y="0"/>
                    </a:lnTo>
                    <a:lnTo>
                      <a:pt x="26" y="2"/>
                    </a:lnTo>
                    <a:lnTo>
                      <a:pt x="30" y="6"/>
                    </a:lnTo>
                    <a:lnTo>
                      <a:pt x="30" y="10"/>
                    </a:lnTo>
                    <a:lnTo>
                      <a:pt x="28" y="14"/>
                    </a:lnTo>
                    <a:lnTo>
                      <a:pt x="26" y="16"/>
                    </a:lnTo>
                    <a:lnTo>
                      <a:pt x="24" y="18"/>
                    </a:lnTo>
                    <a:lnTo>
                      <a:pt x="23" y="21"/>
                    </a:lnTo>
                    <a:lnTo>
                      <a:pt x="23" y="25"/>
                    </a:lnTo>
                    <a:lnTo>
                      <a:pt x="21" y="25"/>
                    </a:lnTo>
                    <a:lnTo>
                      <a:pt x="21" y="27"/>
                    </a:lnTo>
                    <a:lnTo>
                      <a:pt x="19" y="29"/>
                    </a:lnTo>
                    <a:lnTo>
                      <a:pt x="15" y="3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261" name="Freeform 131"/>
              <p:cNvSpPr>
                <a:spLocks/>
              </p:cNvSpPr>
              <p:nvPr/>
            </p:nvSpPr>
            <p:spPr bwMode="auto">
              <a:xfrm>
                <a:off x="3502" y="1484"/>
                <a:ext cx="46" cy="28"/>
              </a:xfrm>
              <a:custGeom>
                <a:avLst/>
                <a:gdLst>
                  <a:gd name="T0" fmla="*/ 13 w 42"/>
                  <a:gd name="T1" fmla="*/ 25 h 25"/>
                  <a:gd name="T2" fmla="*/ 12 w 42"/>
                  <a:gd name="T3" fmla="*/ 25 h 25"/>
                  <a:gd name="T4" fmla="*/ 8 w 42"/>
                  <a:gd name="T5" fmla="*/ 25 h 25"/>
                  <a:gd name="T6" fmla="*/ 6 w 42"/>
                  <a:gd name="T7" fmla="*/ 25 h 25"/>
                  <a:gd name="T8" fmla="*/ 4 w 42"/>
                  <a:gd name="T9" fmla="*/ 25 h 25"/>
                  <a:gd name="T10" fmla="*/ 2 w 42"/>
                  <a:gd name="T11" fmla="*/ 23 h 25"/>
                  <a:gd name="T12" fmla="*/ 0 w 42"/>
                  <a:gd name="T13" fmla="*/ 21 h 25"/>
                  <a:gd name="T14" fmla="*/ 0 w 42"/>
                  <a:gd name="T15" fmla="*/ 19 h 25"/>
                  <a:gd name="T16" fmla="*/ 0 w 42"/>
                  <a:gd name="T17" fmla="*/ 17 h 25"/>
                  <a:gd name="T18" fmla="*/ 2 w 42"/>
                  <a:gd name="T19" fmla="*/ 15 h 25"/>
                  <a:gd name="T20" fmla="*/ 4 w 42"/>
                  <a:gd name="T21" fmla="*/ 14 h 25"/>
                  <a:gd name="T22" fmla="*/ 8 w 42"/>
                  <a:gd name="T23" fmla="*/ 12 h 25"/>
                  <a:gd name="T24" fmla="*/ 13 w 42"/>
                  <a:gd name="T25" fmla="*/ 12 h 25"/>
                  <a:gd name="T26" fmla="*/ 19 w 42"/>
                  <a:gd name="T27" fmla="*/ 8 h 25"/>
                  <a:gd name="T28" fmla="*/ 23 w 42"/>
                  <a:gd name="T29" fmla="*/ 4 h 25"/>
                  <a:gd name="T30" fmla="*/ 27 w 42"/>
                  <a:gd name="T31" fmla="*/ 2 h 25"/>
                  <a:gd name="T32" fmla="*/ 31 w 42"/>
                  <a:gd name="T33" fmla="*/ 0 h 25"/>
                  <a:gd name="T34" fmla="*/ 33 w 42"/>
                  <a:gd name="T35" fmla="*/ 0 h 25"/>
                  <a:gd name="T36" fmla="*/ 37 w 42"/>
                  <a:gd name="T37" fmla="*/ 0 h 25"/>
                  <a:gd name="T38" fmla="*/ 38 w 42"/>
                  <a:gd name="T39" fmla="*/ 2 h 25"/>
                  <a:gd name="T40" fmla="*/ 40 w 42"/>
                  <a:gd name="T41" fmla="*/ 2 h 25"/>
                  <a:gd name="T42" fmla="*/ 40 w 42"/>
                  <a:gd name="T43" fmla="*/ 4 h 25"/>
                  <a:gd name="T44" fmla="*/ 40 w 42"/>
                  <a:gd name="T45" fmla="*/ 6 h 25"/>
                  <a:gd name="T46" fmla="*/ 42 w 42"/>
                  <a:gd name="T47" fmla="*/ 8 h 25"/>
                  <a:gd name="T48" fmla="*/ 42 w 42"/>
                  <a:gd name="T49" fmla="*/ 10 h 25"/>
                  <a:gd name="T50" fmla="*/ 42 w 42"/>
                  <a:gd name="T51" fmla="*/ 12 h 25"/>
                  <a:gd name="T52" fmla="*/ 42 w 42"/>
                  <a:gd name="T53" fmla="*/ 14 h 25"/>
                  <a:gd name="T54" fmla="*/ 42 w 42"/>
                  <a:gd name="T55" fmla="*/ 15 h 25"/>
                  <a:gd name="T56" fmla="*/ 42 w 42"/>
                  <a:gd name="T57" fmla="*/ 15 h 25"/>
                  <a:gd name="T58" fmla="*/ 42 w 42"/>
                  <a:gd name="T59" fmla="*/ 17 h 25"/>
                  <a:gd name="T60" fmla="*/ 40 w 42"/>
                  <a:gd name="T61" fmla="*/ 19 h 25"/>
                  <a:gd name="T62" fmla="*/ 40 w 42"/>
                  <a:gd name="T63" fmla="*/ 21 h 25"/>
                  <a:gd name="T64" fmla="*/ 38 w 42"/>
                  <a:gd name="T65" fmla="*/ 21 h 25"/>
                  <a:gd name="T66" fmla="*/ 35 w 42"/>
                  <a:gd name="T67" fmla="*/ 21 h 25"/>
                  <a:gd name="T68" fmla="*/ 33 w 42"/>
                  <a:gd name="T69" fmla="*/ 23 h 25"/>
                  <a:gd name="T70" fmla="*/ 31 w 42"/>
                  <a:gd name="T71" fmla="*/ 23 h 25"/>
                  <a:gd name="T72" fmla="*/ 29 w 42"/>
                  <a:gd name="T73" fmla="*/ 23 h 25"/>
                  <a:gd name="T74" fmla="*/ 27 w 42"/>
                  <a:gd name="T75" fmla="*/ 23 h 25"/>
                  <a:gd name="T76" fmla="*/ 25 w 42"/>
                  <a:gd name="T77" fmla="*/ 23 h 25"/>
                  <a:gd name="T78" fmla="*/ 25 w 42"/>
                  <a:gd name="T79" fmla="*/ 23 h 25"/>
                  <a:gd name="T80" fmla="*/ 23 w 42"/>
                  <a:gd name="T81" fmla="*/ 23 h 25"/>
                  <a:gd name="T82" fmla="*/ 21 w 42"/>
                  <a:gd name="T83" fmla="*/ 23 h 25"/>
                  <a:gd name="T84" fmla="*/ 17 w 42"/>
                  <a:gd name="T85" fmla="*/ 23 h 25"/>
                  <a:gd name="T86" fmla="*/ 13 w 42"/>
                  <a:gd name="T87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42" h="25">
                    <a:moveTo>
                      <a:pt x="13" y="25"/>
                    </a:moveTo>
                    <a:lnTo>
                      <a:pt x="12" y="25"/>
                    </a:lnTo>
                    <a:lnTo>
                      <a:pt x="8" y="25"/>
                    </a:lnTo>
                    <a:lnTo>
                      <a:pt x="6" y="25"/>
                    </a:lnTo>
                    <a:lnTo>
                      <a:pt x="4" y="25"/>
                    </a:lnTo>
                    <a:lnTo>
                      <a:pt x="2" y="23"/>
                    </a:lnTo>
                    <a:lnTo>
                      <a:pt x="0" y="21"/>
                    </a:lnTo>
                    <a:lnTo>
                      <a:pt x="0" y="19"/>
                    </a:lnTo>
                    <a:lnTo>
                      <a:pt x="0" y="17"/>
                    </a:lnTo>
                    <a:lnTo>
                      <a:pt x="2" y="15"/>
                    </a:lnTo>
                    <a:lnTo>
                      <a:pt x="4" y="14"/>
                    </a:lnTo>
                    <a:lnTo>
                      <a:pt x="8" y="12"/>
                    </a:lnTo>
                    <a:lnTo>
                      <a:pt x="13" y="12"/>
                    </a:lnTo>
                    <a:lnTo>
                      <a:pt x="19" y="8"/>
                    </a:lnTo>
                    <a:lnTo>
                      <a:pt x="23" y="4"/>
                    </a:lnTo>
                    <a:lnTo>
                      <a:pt x="27" y="2"/>
                    </a:lnTo>
                    <a:lnTo>
                      <a:pt x="31" y="0"/>
                    </a:lnTo>
                    <a:lnTo>
                      <a:pt x="33" y="0"/>
                    </a:lnTo>
                    <a:lnTo>
                      <a:pt x="37" y="0"/>
                    </a:lnTo>
                    <a:lnTo>
                      <a:pt x="38" y="2"/>
                    </a:lnTo>
                    <a:lnTo>
                      <a:pt x="40" y="2"/>
                    </a:lnTo>
                    <a:lnTo>
                      <a:pt x="40" y="4"/>
                    </a:lnTo>
                    <a:lnTo>
                      <a:pt x="40" y="6"/>
                    </a:lnTo>
                    <a:lnTo>
                      <a:pt x="42" y="8"/>
                    </a:lnTo>
                    <a:lnTo>
                      <a:pt x="42" y="10"/>
                    </a:lnTo>
                    <a:lnTo>
                      <a:pt x="42" y="12"/>
                    </a:lnTo>
                    <a:lnTo>
                      <a:pt x="42" y="14"/>
                    </a:lnTo>
                    <a:lnTo>
                      <a:pt x="42" y="15"/>
                    </a:lnTo>
                    <a:lnTo>
                      <a:pt x="42" y="15"/>
                    </a:lnTo>
                    <a:lnTo>
                      <a:pt x="42" y="17"/>
                    </a:lnTo>
                    <a:lnTo>
                      <a:pt x="40" y="19"/>
                    </a:lnTo>
                    <a:lnTo>
                      <a:pt x="40" y="21"/>
                    </a:lnTo>
                    <a:lnTo>
                      <a:pt x="38" y="21"/>
                    </a:lnTo>
                    <a:lnTo>
                      <a:pt x="35" y="21"/>
                    </a:lnTo>
                    <a:lnTo>
                      <a:pt x="33" y="23"/>
                    </a:lnTo>
                    <a:lnTo>
                      <a:pt x="31" y="23"/>
                    </a:lnTo>
                    <a:lnTo>
                      <a:pt x="29" y="23"/>
                    </a:lnTo>
                    <a:lnTo>
                      <a:pt x="27" y="23"/>
                    </a:lnTo>
                    <a:lnTo>
                      <a:pt x="25" y="23"/>
                    </a:lnTo>
                    <a:lnTo>
                      <a:pt x="25" y="23"/>
                    </a:lnTo>
                    <a:lnTo>
                      <a:pt x="23" y="23"/>
                    </a:lnTo>
                    <a:lnTo>
                      <a:pt x="21" y="23"/>
                    </a:lnTo>
                    <a:lnTo>
                      <a:pt x="17" y="23"/>
                    </a:lnTo>
                    <a:lnTo>
                      <a:pt x="13" y="2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262" name="Freeform 132"/>
              <p:cNvSpPr>
                <a:spLocks/>
              </p:cNvSpPr>
              <p:nvPr/>
            </p:nvSpPr>
            <p:spPr bwMode="auto">
              <a:xfrm>
                <a:off x="3569" y="1401"/>
                <a:ext cx="55" cy="39"/>
              </a:xfrm>
              <a:custGeom>
                <a:avLst/>
                <a:gdLst>
                  <a:gd name="T0" fmla="*/ 50 w 50"/>
                  <a:gd name="T1" fmla="*/ 22 h 37"/>
                  <a:gd name="T2" fmla="*/ 48 w 50"/>
                  <a:gd name="T3" fmla="*/ 16 h 37"/>
                  <a:gd name="T4" fmla="*/ 43 w 50"/>
                  <a:gd name="T5" fmla="*/ 14 h 37"/>
                  <a:gd name="T6" fmla="*/ 37 w 50"/>
                  <a:gd name="T7" fmla="*/ 10 h 37"/>
                  <a:gd name="T8" fmla="*/ 29 w 50"/>
                  <a:gd name="T9" fmla="*/ 6 h 37"/>
                  <a:gd name="T10" fmla="*/ 22 w 50"/>
                  <a:gd name="T11" fmla="*/ 2 h 37"/>
                  <a:gd name="T12" fmla="*/ 16 w 50"/>
                  <a:gd name="T13" fmla="*/ 0 h 37"/>
                  <a:gd name="T14" fmla="*/ 10 w 50"/>
                  <a:gd name="T15" fmla="*/ 2 h 37"/>
                  <a:gd name="T16" fmla="*/ 4 w 50"/>
                  <a:gd name="T17" fmla="*/ 6 h 37"/>
                  <a:gd name="T18" fmla="*/ 0 w 50"/>
                  <a:gd name="T19" fmla="*/ 10 h 37"/>
                  <a:gd name="T20" fmla="*/ 0 w 50"/>
                  <a:gd name="T21" fmla="*/ 14 h 37"/>
                  <a:gd name="T22" fmla="*/ 2 w 50"/>
                  <a:gd name="T23" fmla="*/ 22 h 37"/>
                  <a:gd name="T24" fmla="*/ 8 w 50"/>
                  <a:gd name="T25" fmla="*/ 23 h 37"/>
                  <a:gd name="T26" fmla="*/ 14 w 50"/>
                  <a:gd name="T27" fmla="*/ 23 h 37"/>
                  <a:gd name="T28" fmla="*/ 16 w 50"/>
                  <a:gd name="T29" fmla="*/ 25 h 37"/>
                  <a:gd name="T30" fmla="*/ 22 w 50"/>
                  <a:gd name="T31" fmla="*/ 29 h 37"/>
                  <a:gd name="T32" fmla="*/ 23 w 50"/>
                  <a:gd name="T33" fmla="*/ 33 h 37"/>
                  <a:gd name="T34" fmla="*/ 25 w 50"/>
                  <a:gd name="T35" fmla="*/ 35 h 37"/>
                  <a:gd name="T36" fmla="*/ 29 w 50"/>
                  <a:gd name="T37" fmla="*/ 37 h 37"/>
                  <a:gd name="T38" fmla="*/ 35 w 50"/>
                  <a:gd name="T39" fmla="*/ 37 h 37"/>
                  <a:gd name="T40" fmla="*/ 39 w 50"/>
                  <a:gd name="T41" fmla="*/ 35 h 37"/>
                  <a:gd name="T42" fmla="*/ 41 w 50"/>
                  <a:gd name="T43" fmla="*/ 35 h 37"/>
                  <a:gd name="T44" fmla="*/ 43 w 50"/>
                  <a:gd name="T45" fmla="*/ 35 h 37"/>
                  <a:gd name="T46" fmla="*/ 43 w 50"/>
                  <a:gd name="T47" fmla="*/ 35 h 37"/>
                  <a:gd name="T48" fmla="*/ 43 w 50"/>
                  <a:gd name="T49" fmla="*/ 35 h 37"/>
                  <a:gd name="T50" fmla="*/ 43 w 50"/>
                  <a:gd name="T51" fmla="*/ 33 h 37"/>
                  <a:gd name="T52" fmla="*/ 43 w 50"/>
                  <a:gd name="T53" fmla="*/ 33 h 37"/>
                  <a:gd name="T54" fmla="*/ 43 w 50"/>
                  <a:gd name="T55" fmla="*/ 33 h 37"/>
                  <a:gd name="T56" fmla="*/ 45 w 50"/>
                  <a:gd name="T57" fmla="*/ 33 h 37"/>
                  <a:gd name="T58" fmla="*/ 45 w 50"/>
                  <a:gd name="T59" fmla="*/ 35 h 37"/>
                  <a:gd name="T60" fmla="*/ 47 w 50"/>
                  <a:gd name="T61" fmla="*/ 33 h 37"/>
                  <a:gd name="T62" fmla="*/ 48 w 50"/>
                  <a:gd name="T63" fmla="*/ 31 h 37"/>
                  <a:gd name="T64" fmla="*/ 50 w 50"/>
                  <a:gd name="T65" fmla="*/ 25 h 37"/>
                  <a:gd name="T66" fmla="*/ 50 w 50"/>
                  <a:gd name="T67" fmla="*/ 22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50" h="37">
                    <a:moveTo>
                      <a:pt x="50" y="22"/>
                    </a:moveTo>
                    <a:lnTo>
                      <a:pt x="48" y="16"/>
                    </a:lnTo>
                    <a:lnTo>
                      <a:pt x="43" y="14"/>
                    </a:lnTo>
                    <a:lnTo>
                      <a:pt x="37" y="10"/>
                    </a:lnTo>
                    <a:lnTo>
                      <a:pt x="29" y="6"/>
                    </a:lnTo>
                    <a:lnTo>
                      <a:pt x="22" y="2"/>
                    </a:lnTo>
                    <a:lnTo>
                      <a:pt x="16" y="0"/>
                    </a:lnTo>
                    <a:lnTo>
                      <a:pt x="10" y="2"/>
                    </a:lnTo>
                    <a:lnTo>
                      <a:pt x="4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2" y="22"/>
                    </a:lnTo>
                    <a:lnTo>
                      <a:pt x="8" y="23"/>
                    </a:lnTo>
                    <a:lnTo>
                      <a:pt x="14" y="23"/>
                    </a:lnTo>
                    <a:lnTo>
                      <a:pt x="16" y="25"/>
                    </a:lnTo>
                    <a:lnTo>
                      <a:pt x="22" y="29"/>
                    </a:lnTo>
                    <a:lnTo>
                      <a:pt x="23" y="33"/>
                    </a:lnTo>
                    <a:lnTo>
                      <a:pt x="25" y="35"/>
                    </a:lnTo>
                    <a:lnTo>
                      <a:pt x="29" y="37"/>
                    </a:lnTo>
                    <a:lnTo>
                      <a:pt x="35" y="37"/>
                    </a:lnTo>
                    <a:lnTo>
                      <a:pt x="39" y="35"/>
                    </a:lnTo>
                    <a:lnTo>
                      <a:pt x="41" y="35"/>
                    </a:lnTo>
                    <a:lnTo>
                      <a:pt x="43" y="35"/>
                    </a:lnTo>
                    <a:lnTo>
                      <a:pt x="43" y="35"/>
                    </a:lnTo>
                    <a:lnTo>
                      <a:pt x="43" y="35"/>
                    </a:lnTo>
                    <a:lnTo>
                      <a:pt x="43" y="33"/>
                    </a:lnTo>
                    <a:lnTo>
                      <a:pt x="43" y="33"/>
                    </a:lnTo>
                    <a:lnTo>
                      <a:pt x="43" y="33"/>
                    </a:lnTo>
                    <a:lnTo>
                      <a:pt x="45" y="33"/>
                    </a:lnTo>
                    <a:lnTo>
                      <a:pt x="45" y="35"/>
                    </a:lnTo>
                    <a:lnTo>
                      <a:pt x="47" y="33"/>
                    </a:lnTo>
                    <a:lnTo>
                      <a:pt x="48" y="31"/>
                    </a:lnTo>
                    <a:lnTo>
                      <a:pt x="50" y="25"/>
                    </a:lnTo>
                    <a:lnTo>
                      <a:pt x="50" y="2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</p:grpSp>
      </p:grpSp>
      <p:grpSp>
        <p:nvGrpSpPr>
          <p:cNvPr id="16" name="Agrupar 15">
            <a:extLst>
              <a:ext uri="{FF2B5EF4-FFF2-40B4-BE49-F238E27FC236}">
                <a16:creationId xmlns:a16="http://schemas.microsoft.com/office/drawing/2014/main" id="{6CC6EFA1-5010-4F28-8C47-5835EEB354C6}"/>
              </a:ext>
            </a:extLst>
          </p:cNvPr>
          <p:cNvGrpSpPr/>
          <p:nvPr/>
        </p:nvGrpSpPr>
        <p:grpSpPr>
          <a:xfrm>
            <a:off x="5774876" y="4253406"/>
            <a:ext cx="1169704" cy="1563190"/>
            <a:chOff x="5774876" y="4253406"/>
            <a:chExt cx="1169704" cy="1563190"/>
          </a:xfrm>
          <a:solidFill>
            <a:schemeClr val="bg2"/>
          </a:solidFill>
        </p:grpSpPr>
        <p:sp>
          <p:nvSpPr>
            <p:cNvPr id="121" name="Freeform 6"/>
            <p:cNvSpPr>
              <a:spLocks/>
            </p:cNvSpPr>
            <p:nvPr/>
          </p:nvSpPr>
          <p:spPr bwMode="auto">
            <a:xfrm>
              <a:off x="5774876" y="4892014"/>
              <a:ext cx="952535" cy="924582"/>
            </a:xfrm>
            <a:custGeom>
              <a:avLst/>
              <a:gdLst>
                <a:gd name="T0" fmla="*/ 378 w 487"/>
                <a:gd name="T1" fmla="*/ 351 h 475"/>
                <a:gd name="T2" fmla="*/ 412 w 487"/>
                <a:gd name="T3" fmla="*/ 324 h 475"/>
                <a:gd name="T4" fmla="*/ 427 w 487"/>
                <a:gd name="T5" fmla="*/ 285 h 475"/>
                <a:gd name="T6" fmla="*/ 441 w 487"/>
                <a:gd name="T7" fmla="*/ 262 h 475"/>
                <a:gd name="T8" fmla="*/ 460 w 487"/>
                <a:gd name="T9" fmla="*/ 224 h 475"/>
                <a:gd name="T10" fmla="*/ 479 w 487"/>
                <a:gd name="T11" fmla="*/ 186 h 475"/>
                <a:gd name="T12" fmla="*/ 473 w 487"/>
                <a:gd name="T13" fmla="*/ 161 h 475"/>
                <a:gd name="T14" fmla="*/ 470 w 487"/>
                <a:gd name="T15" fmla="*/ 136 h 475"/>
                <a:gd name="T16" fmla="*/ 479 w 487"/>
                <a:gd name="T17" fmla="*/ 105 h 475"/>
                <a:gd name="T18" fmla="*/ 452 w 487"/>
                <a:gd name="T19" fmla="*/ 92 h 475"/>
                <a:gd name="T20" fmla="*/ 420 w 487"/>
                <a:gd name="T21" fmla="*/ 74 h 475"/>
                <a:gd name="T22" fmla="*/ 397 w 487"/>
                <a:gd name="T23" fmla="*/ 50 h 475"/>
                <a:gd name="T24" fmla="*/ 370 w 487"/>
                <a:gd name="T25" fmla="*/ 30 h 475"/>
                <a:gd name="T26" fmla="*/ 331 w 487"/>
                <a:gd name="T27" fmla="*/ 17 h 475"/>
                <a:gd name="T28" fmla="*/ 310 w 487"/>
                <a:gd name="T29" fmla="*/ 11 h 475"/>
                <a:gd name="T30" fmla="*/ 293 w 487"/>
                <a:gd name="T31" fmla="*/ 11 h 475"/>
                <a:gd name="T32" fmla="*/ 272 w 487"/>
                <a:gd name="T33" fmla="*/ 7 h 475"/>
                <a:gd name="T34" fmla="*/ 249 w 487"/>
                <a:gd name="T35" fmla="*/ 0 h 475"/>
                <a:gd name="T36" fmla="*/ 220 w 487"/>
                <a:gd name="T37" fmla="*/ 5 h 475"/>
                <a:gd name="T38" fmla="*/ 186 w 487"/>
                <a:gd name="T39" fmla="*/ 26 h 475"/>
                <a:gd name="T40" fmla="*/ 157 w 487"/>
                <a:gd name="T41" fmla="*/ 51 h 475"/>
                <a:gd name="T42" fmla="*/ 126 w 487"/>
                <a:gd name="T43" fmla="*/ 73 h 475"/>
                <a:gd name="T44" fmla="*/ 97 w 487"/>
                <a:gd name="T45" fmla="*/ 101 h 475"/>
                <a:gd name="T46" fmla="*/ 71 w 487"/>
                <a:gd name="T47" fmla="*/ 132 h 475"/>
                <a:gd name="T48" fmla="*/ 49 w 487"/>
                <a:gd name="T49" fmla="*/ 168 h 475"/>
                <a:gd name="T50" fmla="*/ 26 w 487"/>
                <a:gd name="T51" fmla="*/ 205 h 475"/>
                <a:gd name="T52" fmla="*/ 0 w 487"/>
                <a:gd name="T53" fmla="*/ 245 h 475"/>
                <a:gd name="T54" fmla="*/ 40 w 487"/>
                <a:gd name="T55" fmla="*/ 239 h 475"/>
                <a:gd name="T56" fmla="*/ 76 w 487"/>
                <a:gd name="T57" fmla="*/ 261 h 475"/>
                <a:gd name="T58" fmla="*/ 118 w 487"/>
                <a:gd name="T59" fmla="*/ 284 h 475"/>
                <a:gd name="T60" fmla="*/ 159 w 487"/>
                <a:gd name="T61" fmla="*/ 320 h 475"/>
                <a:gd name="T62" fmla="*/ 193 w 487"/>
                <a:gd name="T63" fmla="*/ 339 h 475"/>
                <a:gd name="T64" fmla="*/ 234 w 487"/>
                <a:gd name="T65" fmla="*/ 368 h 475"/>
                <a:gd name="T66" fmla="*/ 259 w 487"/>
                <a:gd name="T67" fmla="*/ 395 h 475"/>
                <a:gd name="T68" fmla="*/ 282 w 487"/>
                <a:gd name="T69" fmla="*/ 406 h 475"/>
                <a:gd name="T70" fmla="*/ 303 w 487"/>
                <a:gd name="T71" fmla="*/ 389 h 475"/>
                <a:gd name="T72" fmla="*/ 299 w 487"/>
                <a:gd name="T73" fmla="*/ 416 h 475"/>
                <a:gd name="T74" fmla="*/ 270 w 487"/>
                <a:gd name="T75" fmla="*/ 437 h 475"/>
                <a:gd name="T76" fmla="*/ 264 w 487"/>
                <a:gd name="T77" fmla="*/ 470 h 475"/>
                <a:gd name="T78" fmla="*/ 287 w 487"/>
                <a:gd name="T79" fmla="*/ 462 h 475"/>
                <a:gd name="T80" fmla="*/ 307 w 487"/>
                <a:gd name="T81" fmla="*/ 435 h 475"/>
                <a:gd name="T82" fmla="*/ 295 w 487"/>
                <a:gd name="T83" fmla="*/ 472 h 475"/>
                <a:gd name="T84" fmla="*/ 318 w 487"/>
                <a:gd name="T85" fmla="*/ 427 h 475"/>
                <a:gd name="T86" fmla="*/ 335 w 487"/>
                <a:gd name="T87" fmla="*/ 385 h 475"/>
                <a:gd name="T88" fmla="*/ 331 w 487"/>
                <a:gd name="T89" fmla="*/ 366 h 475"/>
                <a:gd name="T90" fmla="*/ 333 w 487"/>
                <a:gd name="T91" fmla="*/ 337 h 475"/>
                <a:gd name="T92" fmla="*/ 358 w 487"/>
                <a:gd name="T93" fmla="*/ 310 h 475"/>
                <a:gd name="T94" fmla="*/ 383 w 487"/>
                <a:gd name="T95" fmla="*/ 278 h 475"/>
                <a:gd name="T96" fmla="*/ 397 w 487"/>
                <a:gd name="T97" fmla="*/ 247 h 475"/>
                <a:gd name="T98" fmla="*/ 420 w 487"/>
                <a:gd name="T99" fmla="*/ 243 h 475"/>
                <a:gd name="T100" fmla="*/ 416 w 487"/>
                <a:gd name="T101" fmla="*/ 259 h 475"/>
                <a:gd name="T102" fmla="*/ 412 w 487"/>
                <a:gd name="T103" fmla="*/ 284 h 475"/>
                <a:gd name="T104" fmla="*/ 391 w 487"/>
                <a:gd name="T105" fmla="*/ 305 h 475"/>
                <a:gd name="T106" fmla="*/ 379 w 487"/>
                <a:gd name="T107" fmla="*/ 326 h 475"/>
                <a:gd name="T108" fmla="*/ 356 w 487"/>
                <a:gd name="T109" fmla="*/ 341 h 475"/>
                <a:gd name="T110" fmla="*/ 341 w 487"/>
                <a:gd name="T111" fmla="*/ 356 h 475"/>
                <a:gd name="T112" fmla="*/ 347 w 487"/>
                <a:gd name="T113" fmla="*/ 366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87" h="475">
                  <a:moveTo>
                    <a:pt x="353" y="368"/>
                  </a:moveTo>
                  <a:lnTo>
                    <a:pt x="358" y="362"/>
                  </a:lnTo>
                  <a:lnTo>
                    <a:pt x="364" y="358"/>
                  </a:lnTo>
                  <a:lnTo>
                    <a:pt x="372" y="353"/>
                  </a:lnTo>
                  <a:lnTo>
                    <a:pt x="378" y="351"/>
                  </a:lnTo>
                  <a:lnTo>
                    <a:pt x="379" y="345"/>
                  </a:lnTo>
                  <a:lnTo>
                    <a:pt x="387" y="339"/>
                  </a:lnTo>
                  <a:lnTo>
                    <a:pt x="397" y="335"/>
                  </a:lnTo>
                  <a:lnTo>
                    <a:pt x="402" y="328"/>
                  </a:lnTo>
                  <a:lnTo>
                    <a:pt x="412" y="324"/>
                  </a:lnTo>
                  <a:lnTo>
                    <a:pt x="414" y="314"/>
                  </a:lnTo>
                  <a:lnTo>
                    <a:pt x="418" y="303"/>
                  </a:lnTo>
                  <a:lnTo>
                    <a:pt x="426" y="299"/>
                  </a:lnTo>
                  <a:lnTo>
                    <a:pt x="429" y="293"/>
                  </a:lnTo>
                  <a:lnTo>
                    <a:pt x="427" y="285"/>
                  </a:lnTo>
                  <a:lnTo>
                    <a:pt x="429" y="280"/>
                  </a:lnTo>
                  <a:lnTo>
                    <a:pt x="435" y="276"/>
                  </a:lnTo>
                  <a:lnTo>
                    <a:pt x="435" y="272"/>
                  </a:lnTo>
                  <a:lnTo>
                    <a:pt x="437" y="266"/>
                  </a:lnTo>
                  <a:lnTo>
                    <a:pt x="441" y="262"/>
                  </a:lnTo>
                  <a:lnTo>
                    <a:pt x="447" y="255"/>
                  </a:lnTo>
                  <a:lnTo>
                    <a:pt x="452" y="247"/>
                  </a:lnTo>
                  <a:lnTo>
                    <a:pt x="454" y="238"/>
                  </a:lnTo>
                  <a:lnTo>
                    <a:pt x="458" y="232"/>
                  </a:lnTo>
                  <a:lnTo>
                    <a:pt x="460" y="224"/>
                  </a:lnTo>
                  <a:lnTo>
                    <a:pt x="464" y="220"/>
                  </a:lnTo>
                  <a:lnTo>
                    <a:pt x="468" y="213"/>
                  </a:lnTo>
                  <a:lnTo>
                    <a:pt x="472" y="199"/>
                  </a:lnTo>
                  <a:lnTo>
                    <a:pt x="477" y="191"/>
                  </a:lnTo>
                  <a:lnTo>
                    <a:pt x="479" y="186"/>
                  </a:lnTo>
                  <a:lnTo>
                    <a:pt x="483" y="176"/>
                  </a:lnTo>
                  <a:lnTo>
                    <a:pt x="487" y="170"/>
                  </a:lnTo>
                  <a:lnTo>
                    <a:pt x="485" y="167"/>
                  </a:lnTo>
                  <a:lnTo>
                    <a:pt x="479" y="165"/>
                  </a:lnTo>
                  <a:lnTo>
                    <a:pt x="473" y="161"/>
                  </a:lnTo>
                  <a:lnTo>
                    <a:pt x="470" y="161"/>
                  </a:lnTo>
                  <a:lnTo>
                    <a:pt x="462" y="155"/>
                  </a:lnTo>
                  <a:lnTo>
                    <a:pt x="458" y="149"/>
                  </a:lnTo>
                  <a:lnTo>
                    <a:pt x="464" y="144"/>
                  </a:lnTo>
                  <a:lnTo>
                    <a:pt x="470" y="136"/>
                  </a:lnTo>
                  <a:lnTo>
                    <a:pt x="472" y="130"/>
                  </a:lnTo>
                  <a:lnTo>
                    <a:pt x="473" y="124"/>
                  </a:lnTo>
                  <a:lnTo>
                    <a:pt x="475" y="117"/>
                  </a:lnTo>
                  <a:lnTo>
                    <a:pt x="477" y="111"/>
                  </a:lnTo>
                  <a:lnTo>
                    <a:pt x="479" y="105"/>
                  </a:lnTo>
                  <a:lnTo>
                    <a:pt x="477" y="99"/>
                  </a:lnTo>
                  <a:lnTo>
                    <a:pt x="473" y="97"/>
                  </a:lnTo>
                  <a:lnTo>
                    <a:pt x="466" y="97"/>
                  </a:lnTo>
                  <a:lnTo>
                    <a:pt x="456" y="97"/>
                  </a:lnTo>
                  <a:lnTo>
                    <a:pt x="452" y="92"/>
                  </a:lnTo>
                  <a:lnTo>
                    <a:pt x="445" y="90"/>
                  </a:lnTo>
                  <a:lnTo>
                    <a:pt x="437" y="88"/>
                  </a:lnTo>
                  <a:lnTo>
                    <a:pt x="431" y="84"/>
                  </a:lnTo>
                  <a:lnTo>
                    <a:pt x="424" y="80"/>
                  </a:lnTo>
                  <a:lnTo>
                    <a:pt x="420" y="74"/>
                  </a:lnTo>
                  <a:lnTo>
                    <a:pt x="418" y="67"/>
                  </a:lnTo>
                  <a:lnTo>
                    <a:pt x="414" y="59"/>
                  </a:lnTo>
                  <a:lnTo>
                    <a:pt x="408" y="57"/>
                  </a:lnTo>
                  <a:lnTo>
                    <a:pt x="399" y="53"/>
                  </a:lnTo>
                  <a:lnTo>
                    <a:pt x="397" y="50"/>
                  </a:lnTo>
                  <a:lnTo>
                    <a:pt x="393" y="44"/>
                  </a:lnTo>
                  <a:lnTo>
                    <a:pt x="389" y="42"/>
                  </a:lnTo>
                  <a:lnTo>
                    <a:pt x="385" y="38"/>
                  </a:lnTo>
                  <a:lnTo>
                    <a:pt x="376" y="34"/>
                  </a:lnTo>
                  <a:lnTo>
                    <a:pt x="370" y="30"/>
                  </a:lnTo>
                  <a:lnTo>
                    <a:pt x="362" y="30"/>
                  </a:lnTo>
                  <a:lnTo>
                    <a:pt x="355" y="26"/>
                  </a:lnTo>
                  <a:lnTo>
                    <a:pt x="349" y="23"/>
                  </a:lnTo>
                  <a:lnTo>
                    <a:pt x="341" y="17"/>
                  </a:lnTo>
                  <a:lnTo>
                    <a:pt x="331" y="17"/>
                  </a:lnTo>
                  <a:lnTo>
                    <a:pt x="330" y="15"/>
                  </a:lnTo>
                  <a:lnTo>
                    <a:pt x="326" y="13"/>
                  </a:lnTo>
                  <a:lnTo>
                    <a:pt x="320" y="11"/>
                  </a:lnTo>
                  <a:lnTo>
                    <a:pt x="314" y="11"/>
                  </a:lnTo>
                  <a:lnTo>
                    <a:pt x="310" y="11"/>
                  </a:lnTo>
                  <a:lnTo>
                    <a:pt x="307" y="7"/>
                  </a:lnTo>
                  <a:lnTo>
                    <a:pt x="303" y="7"/>
                  </a:lnTo>
                  <a:lnTo>
                    <a:pt x="301" y="9"/>
                  </a:lnTo>
                  <a:lnTo>
                    <a:pt x="297" y="11"/>
                  </a:lnTo>
                  <a:lnTo>
                    <a:pt x="293" y="11"/>
                  </a:lnTo>
                  <a:lnTo>
                    <a:pt x="289" y="7"/>
                  </a:lnTo>
                  <a:lnTo>
                    <a:pt x="284" y="3"/>
                  </a:lnTo>
                  <a:lnTo>
                    <a:pt x="278" y="3"/>
                  </a:lnTo>
                  <a:lnTo>
                    <a:pt x="274" y="3"/>
                  </a:lnTo>
                  <a:lnTo>
                    <a:pt x="272" y="7"/>
                  </a:lnTo>
                  <a:lnTo>
                    <a:pt x="266" y="7"/>
                  </a:lnTo>
                  <a:lnTo>
                    <a:pt x="264" y="5"/>
                  </a:lnTo>
                  <a:lnTo>
                    <a:pt x="260" y="3"/>
                  </a:lnTo>
                  <a:lnTo>
                    <a:pt x="257" y="2"/>
                  </a:lnTo>
                  <a:lnTo>
                    <a:pt x="249" y="0"/>
                  </a:lnTo>
                  <a:lnTo>
                    <a:pt x="243" y="2"/>
                  </a:lnTo>
                  <a:lnTo>
                    <a:pt x="237" y="3"/>
                  </a:lnTo>
                  <a:lnTo>
                    <a:pt x="232" y="0"/>
                  </a:lnTo>
                  <a:lnTo>
                    <a:pt x="226" y="0"/>
                  </a:lnTo>
                  <a:lnTo>
                    <a:pt x="220" y="5"/>
                  </a:lnTo>
                  <a:lnTo>
                    <a:pt x="216" y="11"/>
                  </a:lnTo>
                  <a:lnTo>
                    <a:pt x="209" y="13"/>
                  </a:lnTo>
                  <a:lnTo>
                    <a:pt x="203" y="17"/>
                  </a:lnTo>
                  <a:lnTo>
                    <a:pt x="195" y="25"/>
                  </a:lnTo>
                  <a:lnTo>
                    <a:pt x="186" y="26"/>
                  </a:lnTo>
                  <a:lnTo>
                    <a:pt x="180" y="30"/>
                  </a:lnTo>
                  <a:lnTo>
                    <a:pt x="174" y="38"/>
                  </a:lnTo>
                  <a:lnTo>
                    <a:pt x="166" y="40"/>
                  </a:lnTo>
                  <a:lnTo>
                    <a:pt x="161" y="44"/>
                  </a:lnTo>
                  <a:lnTo>
                    <a:pt x="157" y="51"/>
                  </a:lnTo>
                  <a:lnTo>
                    <a:pt x="153" y="55"/>
                  </a:lnTo>
                  <a:lnTo>
                    <a:pt x="149" y="59"/>
                  </a:lnTo>
                  <a:lnTo>
                    <a:pt x="142" y="61"/>
                  </a:lnTo>
                  <a:lnTo>
                    <a:pt x="136" y="65"/>
                  </a:lnTo>
                  <a:lnTo>
                    <a:pt x="126" y="73"/>
                  </a:lnTo>
                  <a:lnTo>
                    <a:pt x="115" y="80"/>
                  </a:lnTo>
                  <a:lnTo>
                    <a:pt x="107" y="80"/>
                  </a:lnTo>
                  <a:lnTo>
                    <a:pt x="105" y="82"/>
                  </a:lnTo>
                  <a:lnTo>
                    <a:pt x="101" y="92"/>
                  </a:lnTo>
                  <a:lnTo>
                    <a:pt x="97" y="101"/>
                  </a:lnTo>
                  <a:lnTo>
                    <a:pt x="92" y="109"/>
                  </a:lnTo>
                  <a:lnTo>
                    <a:pt x="84" y="117"/>
                  </a:lnTo>
                  <a:lnTo>
                    <a:pt x="80" y="126"/>
                  </a:lnTo>
                  <a:lnTo>
                    <a:pt x="74" y="130"/>
                  </a:lnTo>
                  <a:lnTo>
                    <a:pt x="71" y="132"/>
                  </a:lnTo>
                  <a:lnTo>
                    <a:pt x="69" y="144"/>
                  </a:lnTo>
                  <a:lnTo>
                    <a:pt x="67" y="151"/>
                  </a:lnTo>
                  <a:lnTo>
                    <a:pt x="65" y="159"/>
                  </a:lnTo>
                  <a:lnTo>
                    <a:pt x="57" y="165"/>
                  </a:lnTo>
                  <a:lnTo>
                    <a:pt x="49" y="168"/>
                  </a:lnTo>
                  <a:lnTo>
                    <a:pt x="47" y="174"/>
                  </a:lnTo>
                  <a:lnTo>
                    <a:pt x="44" y="182"/>
                  </a:lnTo>
                  <a:lnTo>
                    <a:pt x="36" y="188"/>
                  </a:lnTo>
                  <a:lnTo>
                    <a:pt x="32" y="197"/>
                  </a:lnTo>
                  <a:lnTo>
                    <a:pt x="26" y="205"/>
                  </a:lnTo>
                  <a:lnTo>
                    <a:pt x="17" y="211"/>
                  </a:lnTo>
                  <a:lnTo>
                    <a:pt x="9" y="214"/>
                  </a:lnTo>
                  <a:lnTo>
                    <a:pt x="5" y="224"/>
                  </a:lnTo>
                  <a:lnTo>
                    <a:pt x="3" y="234"/>
                  </a:lnTo>
                  <a:lnTo>
                    <a:pt x="0" y="245"/>
                  </a:lnTo>
                  <a:lnTo>
                    <a:pt x="7" y="251"/>
                  </a:lnTo>
                  <a:lnTo>
                    <a:pt x="15" y="251"/>
                  </a:lnTo>
                  <a:lnTo>
                    <a:pt x="21" y="245"/>
                  </a:lnTo>
                  <a:lnTo>
                    <a:pt x="30" y="243"/>
                  </a:lnTo>
                  <a:lnTo>
                    <a:pt x="40" y="239"/>
                  </a:lnTo>
                  <a:lnTo>
                    <a:pt x="49" y="238"/>
                  </a:lnTo>
                  <a:lnTo>
                    <a:pt x="57" y="241"/>
                  </a:lnTo>
                  <a:lnTo>
                    <a:pt x="63" y="247"/>
                  </a:lnTo>
                  <a:lnTo>
                    <a:pt x="72" y="249"/>
                  </a:lnTo>
                  <a:lnTo>
                    <a:pt x="76" y="261"/>
                  </a:lnTo>
                  <a:lnTo>
                    <a:pt x="82" y="270"/>
                  </a:lnTo>
                  <a:lnTo>
                    <a:pt x="88" y="274"/>
                  </a:lnTo>
                  <a:lnTo>
                    <a:pt x="97" y="274"/>
                  </a:lnTo>
                  <a:lnTo>
                    <a:pt x="111" y="282"/>
                  </a:lnTo>
                  <a:lnTo>
                    <a:pt x="118" y="284"/>
                  </a:lnTo>
                  <a:lnTo>
                    <a:pt x="128" y="287"/>
                  </a:lnTo>
                  <a:lnTo>
                    <a:pt x="136" y="301"/>
                  </a:lnTo>
                  <a:lnTo>
                    <a:pt x="143" y="303"/>
                  </a:lnTo>
                  <a:lnTo>
                    <a:pt x="149" y="312"/>
                  </a:lnTo>
                  <a:lnTo>
                    <a:pt x="159" y="320"/>
                  </a:lnTo>
                  <a:lnTo>
                    <a:pt x="166" y="320"/>
                  </a:lnTo>
                  <a:lnTo>
                    <a:pt x="176" y="324"/>
                  </a:lnTo>
                  <a:lnTo>
                    <a:pt x="182" y="330"/>
                  </a:lnTo>
                  <a:lnTo>
                    <a:pt x="188" y="335"/>
                  </a:lnTo>
                  <a:lnTo>
                    <a:pt x="193" y="339"/>
                  </a:lnTo>
                  <a:lnTo>
                    <a:pt x="205" y="345"/>
                  </a:lnTo>
                  <a:lnTo>
                    <a:pt x="211" y="349"/>
                  </a:lnTo>
                  <a:lnTo>
                    <a:pt x="220" y="356"/>
                  </a:lnTo>
                  <a:lnTo>
                    <a:pt x="230" y="358"/>
                  </a:lnTo>
                  <a:lnTo>
                    <a:pt x="234" y="368"/>
                  </a:lnTo>
                  <a:lnTo>
                    <a:pt x="234" y="372"/>
                  </a:lnTo>
                  <a:lnTo>
                    <a:pt x="241" y="376"/>
                  </a:lnTo>
                  <a:lnTo>
                    <a:pt x="249" y="379"/>
                  </a:lnTo>
                  <a:lnTo>
                    <a:pt x="255" y="385"/>
                  </a:lnTo>
                  <a:lnTo>
                    <a:pt x="259" y="395"/>
                  </a:lnTo>
                  <a:lnTo>
                    <a:pt x="264" y="401"/>
                  </a:lnTo>
                  <a:lnTo>
                    <a:pt x="268" y="404"/>
                  </a:lnTo>
                  <a:lnTo>
                    <a:pt x="272" y="408"/>
                  </a:lnTo>
                  <a:lnTo>
                    <a:pt x="276" y="406"/>
                  </a:lnTo>
                  <a:lnTo>
                    <a:pt x="282" y="406"/>
                  </a:lnTo>
                  <a:lnTo>
                    <a:pt x="287" y="401"/>
                  </a:lnTo>
                  <a:lnTo>
                    <a:pt x="291" y="393"/>
                  </a:lnTo>
                  <a:lnTo>
                    <a:pt x="293" y="391"/>
                  </a:lnTo>
                  <a:lnTo>
                    <a:pt x="297" y="387"/>
                  </a:lnTo>
                  <a:lnTo>
                    <a:pt x="303" y="389"/>
                  </a:lnTo>
                  <a:lnTo>
                    <a:pt x="303" y="395"/>
                  </a:lnTo>
                  <a:lnTo>
                    <a:pt x="299" y="401"/>
                  </a:lnTo>
                  <a:lnTo>
                    <a:pt x="299" y="404"/>
                  </a:lnTo>
                  <a:lnTo>
                    <a:pt x="301" y="410"/>
                  </a:lnTo>
                  <a:lnTo>
                    <a:pt x="299" y="416"/>
                  </a:lnTo>
                  <a:lnTo>
                    <a:pt x="293" y="420"/>
                  </a:lnTo>
                  <a:lnTo>
                    <a:pt x="284" y="422"/>
                  </a:lnTo>
                  <a:lnTo>
                    <a:pt x="278" y="424"/>
                  </a:lnTo>
                  <a:lnTo>
                    <a:pt x="274" y="431"/>
                  </a:lnTo>
                  <a:lnTo>
                    <a:pt x="270" y="437"/>
                  </a:lnTo>
                  <a:lnTo>
                    <a:pt x="268" y="447"/>
                  </a:lnTo>
                  <a:lnTo>
                    <a:pt x="264" y="452"/>
                  </a:lnTo>
                  <a:lnTo>
                    <a:pt x="262" y="458"/>
                  </a:lnTo>
                  <a:lnTo>
                    <a:pt x="262" y="464"/>
                  </a:lnTo>
                  <a:lnTo>
                    <a:pt x="264" y="470"/>
                  </a:lnTo>
                  <a:lnTo>
                    <a:pt x="266" y="475"/>
                  </a:lnTo>
                  <a:lnTo>
                    <a:pt x="270" y="475"/>
                  </a:lnTo>
                  <a:lnTo>
                    <a:pt x="276" y="473"/>
                  </a:lnTo>
                  <a:lnTo>
                    <a:pt x="282" y="468"/>
                  </a:lnTo>
                  <a:lnTo>
                    <a:pt x="287" y="462"/>
                  </a:lnTo>
                  <a:lnTo>
                    <a:pt x="289" y="452"/>
                  </a:lnTo>
                  <a:lnTo>
                    <a:pt x="295" y="441"/>
                  </a:lnTo>
                  <a:lnTo>
                    <a:pt x="301" y="431"/>
                  </a:lnTo>
                  <a:lnTo>
                    <a:pt x="305" y="433"/>
                  </a:lnTo>
                  <a:lnTo>
                    <a:pt x="307" y="435"/>
                  </a:lnTo>
                  <a:lnTo>
                    <a:pt x="303" y="447"/>
                  </a:lnTo>
                  <a:lnTo>
                    <a:pt x="299" y="454"/>
                  </a:lnTo>
                  <a:lnTo>
                    <a:pt x="297" y="462"/>
                  </a:lnTo>
                  <a:lnTo>
                    <a:pt x="287" y="470"/>
                  </a:lnTo>
                  <a:lnTo>
                    <a:pt x="295" y="472"/>
                  </a:lnTo>
                  <a:lnTo>
                    <a:pt x="305" y="468"/>
                  </a:lnTo>
                  <a:lnTo>
                    <a:pt x="310" y="454"/>
                  </a:lnTo>
                  <a:lnTo>
                    <a:pt x="314" y="447"/>
                  </a:lnTo>
                  <a:lnTo>
                    <a:pt x="318" y="437"/>
                  </a:lnTo>
                  <a:lnTo>
                    <a:pt x="318" y="427"/>
                  </a:lnTo>
                  <a:lnTo>
                    <a:pt x="324" y="418"/>
                  </a:lnTo>
                  <a:lnTo>
                    <a:pt x="326" y="406"/>
                  </a:lnTo>
                  <a:lnTo>
                    <a:pt x="330" y="401"/>
                  </a:lnTo>
                  <a:lnTo>
                    <a:pt x="333" y="391"/>
                  </a:lnTo>
                  <a:lnTo>
                    <a:pt x="335" y="385"/>
                  </a:lnTo>
                  <a:lnTo>
                    <a:pt x="343" y="376"/>
                  </a:lnTo>
                  <a:lnTo>
                    <a:pt x="341" y="370"/>
                  </a:lnTo>
                  <a:lnTo>
                    <a:pt x="339" y="366"/>
                  </a:lnTo>
                  <a:lnTo>
                    <a:pt x="335" y="368"/>
                  </a:lnTo>
                  <a:lnTo>
                    <a:pt x="331" y="366"/>
                  </a:lnTo>
                  <a:lnTo>
                    <a:pt x="333" y="364"/>
                  </a:lnTo>
                  <a:lnTo>
                    <a:pt x="335" y="360"/>
                  </a:lnTo>
                  <a:lnTo>
                    <a:pt x="333" y="353"/>
                  </a:lnTo>
                  <a:lnTo>
                    <a:pt x="331" y="345"/>
                  </a:lnTo>
                  <a:lnTo>
                    <a:pt x="333" y="337"/>
                  </a:lnTo>
                  <a:lnTo>
                    <a:pt x="337" y="333"/>
                  </a:lnTo>
                  <a:lnTo>
                    <a:pt x="343" y="330"/>
                  </a:lnTo>
                  <a:lnTo>
                    <a:pt x="347" y="324"/>
                  </a:lnTo>
                  <a:lnTo>
                    <a:pt x="353" y="318"/>
                  </a:lnTo>
                  <a:lnTo>
                    <a:pt x="358" y="310"/>
                  </a:lnTo>
                  <a:lnTo>
                    <a:pt x="366" y="303"/>
                  </a:lnTo>
                  <a:lnTo>
                    <a:pt x="370" y="297"/>
                  </a:lnTo>
                  <a:lnTo>
                    <a:pt x="376" y="291"/>
                  </a:lnTo>
                  <a:lnTo>
                    <a:pt x="379" y="284"/>
                  </a:lnTo>
                  <a:lnTo>
                    <a:pt x="383" y="278"/>
                  </a:lnTo>
                  <a:lnTo>
                    <a:pt x="387" y="270"/>
                  </a:lnTo>
                  <a:lnTo>
                    <a:pt x="389" y="262"/>
                  </a:lnTo>
                  <a:lnTo>
                    <a:pt x="391" y="257"/>
                  </a:lnTo>
                  <a:lnTo>
                    <a:pt x="395" y="251"/>
                  </a:lnTo>
                  <a:lnTo>
                    <a:pt x="397" y="247"/>
                  </a:lnTo>
                  <a:lnTo>
                    <a:pt x="404" y="243"/>
                  </a:lnTo>
                  <a:lnTo>
                    <a:pt x="408" y="245"/>
                  </a:lnTo>
                  <a:lnTo>
                    <a:pt x="412" y="247"/>
                  </a:lnTo>
                  <a:lnTo>
                    <a:pt x="416" y="241"/>
                  </a:lnTo>
                  <a:lnTo>
                    <a:pt x="420" y="243"/>
                  </a:lnTo>
                  <a:lnTo>
                    <a:pt x="427" y="243"/>
                  </a:lnTo>
                  <a:lnTo>
                    <a:pt x="429" y="247"/>
                  </a:lnTo>
                  <a:lnTo>
                    <a:pt x="426" y="251"/>
                  </a:lnTo>
                  <a:lnTo>
                    <a:pt x="420" y="255"/>
                  </a:lnTo>
                  <a:lnTo>
                    <a:pt x="416" y="259"/>
                  </a:lnTo>
                  <a:lnTo>
                    <a:pt x="418" y="264"/>
                  </a:lnTo>
                  <a:lnTo>
                    <a:pt x="418" y="270"/>
                  </a:lnTo>
                  <a:lnTo>
                    <a:pt x="414" y="276"/>
                  </a:lnTo>
                  <a:lnTo>
                    <a:pt x="414" y="280"/>
                  </a:lnTo>
                  <a:lnTo>
                    <a:pt x="412" y="284"/>
                  </a:lnTo>
                  <a:lnTo>
                    <a:pt x="408" y="287"/>
                  </a:lnTo>
                  <a:lnTo>
                    <a:pt x="402" y="293"/>
                  </a:lnTo>
                  <a:lnTo>
                    <a:pt x="395" y="293"/>
                  </a:lnTo>
                  <a:lnTo>
                    <a:pt x="393" y="297"/>
                  </a:lnTo>
                  <a:lnTo>
                    <a:pt x="391" y="305"/>
                  </a:lnTo>
                  <a:lnTo>
                    <a:pt x="391" y="310"/>
                  </a:lnTo>
                  <a:lnTo>
                    <a:pt x="389" y="314"/>
                  </a:lnTo>
                  <a:lnTo>
                    <a:pt x="387" y="320"/>
                  </a:lnTo>
                  <a:lnTo>
                    <a:pt x="383" y="322"/>
                  </a:lnTo>
                  <a:lnTo>
                    <a:pt x="379" y="326"/>
                  </a:lnTo>
                  <a:lnTo>
                    <a:pt x="376" y="326"/>
                  </a:lnTo>
                  <a:lnTo>
                    <a:pt x="370" y="330"/>
                  </a:lnTo>
                  <a:lnTo>
                    <a:pt x="368" y="335"/>
                  </a:lnTo>
                  <a:lnTo>
                    <a:pt x="364" y="337"/>
                  </a:lnTo>
                  <a:lnTo>
                    <a:pt x="356" y="341"/>
                  </a:lnTo>
                  <a:lnTo>
                    <a:pt x="353" y="343"/>
                  </a:lnTo>
                  <a:lnTo>
                    <a:pt x="349" y="347"/>
                  </a:lnTo>
                  <a:lnTo>
                    <a:pt x="347" y="351"/>
                  </a:lnTo>
                  <a:lnTo>
                    <a:pt x="343" y="355"/>
                  </a:lnTo>
                  <a:lnTo>
                    <a:pt x="341" y="356"/>
                  </a:lnTo>
                  <a:lnTo>
                    <a:pt x="341" y="358"/>
                  </a:lnTo>
                  <a:lnTo>
                    <a:pt x="341" y="362"/>
                  </a:lnTo>
                  <a:lnTo>
                    <a:pt x="345" y="362"/>
                  </a:lnTo>
                  <a:lnTo>
                    <a:pt x="347" y="364"/>
                  </a:lnTo>
                  <a:lnTo>
                    <a:pt x="347" y="366"/>
                  </a:lnTo>
                  <a:lnTo>
                    <a:pt x="353" y="36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/>
            </a:p>
          </p:txBody>
        </p:sp>
        <p:sp>
          <p:nvSpPr>
            <p:cNvPr id="122" name="Freeform 7"/>
            <p:cNvSpPr>
              <a:spLocks/>
            </p:cNvSpPr>
            <p:nvPr/>
          </p:nvSpPr>
          <p:spPr bwMode="auto">
            <a:xfrm>
              <a:off x="6213516" y="4730749"/>
              <a:ext cx="675160" cy="490243"/>
            </a:xfrm>
            <a:custGeom>
              <a:avLst/>
              <a:gdLst>
                <a:gd name="T0" fmla="*/ 255 w 345"/>
                <a:gd name="T1" fmla="*/ 246 h 251"/>
                <a:gd name="T2" fmla="*/ 238 w 345"/>
                <a:gd name="T3" fmla="*/ 236 h 251"/>
                <a:gd name="T4" fmla="*/ 246 w 345"/>
                <a:gd name="T5" fmla="*/ 217 h 251"/>
                <a:gd name="T6" fmla="*/ 251 w 345"/>
                <a:gd name="T7" fmla="*/ 198 h 251"/>
                <a:gd name="T8" fmla="*/ 253 w 345"/>
                <a:gd name="T9" fmla="*/ 180 h 251"/>
                <a:gd name="T10" fmla="*/ 232 w 345"/>
                <a:gd name="T11" fmla="*/ 178 h 251"/>
                <a:gd name="T12" fmla="*/ 213 w 345"/>
                <a:gd name="T13" fmla="*/ 169 h 251"/>
                <a:gd name="T14" fmla="*/ 196 w 345"/>
                <a:gd name="T15" fmla="*/ 155 h 251"/>
                <a:gd name="T16" fmla="*/ 184 w 345"/>
                <a:gd name="T17" fmla="*/ 138 h 251"/>
                <a:gd name="T18" fmla="*/ 169 w 345"/>
                <a:gd name="T19" fmla="*/ 125 h 251"/>
                <a:gd name="T20" fmla="*/ 152 w 345"/>
                <a:gd name="T21" fmla="*/ 115 h 251"/>
                <a:gd name="T22" fmla="*/ 131 w 345"/>
                <a:gd name="T23" fmla="*/ 107 h 251"/>
                <a:gd name="T24" fmla="*/ 107 w 345"/>
                <a:gd name="T25" fmla="*/ 98 h 251"/>
                <a:gd name="T26" fmla="*/ 96 w 345"/>
                <a:gd name="T27" fmla="*/ 92 h 251"/>
                <a:gd name="T28" fmla="*/ 83 w 345"/>
                <a:gd name="T29" fmla="*/ 88 h 251"/>
                <a:gd name="T30" fmla="*/ 73 w 345"/>
                <a:gd name="T31" fmla="*/ 92 h 251"/>
                <a:gd name="T32" fmla="*/ 60 w 345"/>
                <a:gd name="T33" fmla="*/ 84 h 251"/>
                <a:gd name="T34" fmla="*/ 48 w 345"/>
                <a:gd name="T35" fmla="*/ 88 h 251"/>
                <a:gd name="T36" fmla="*/ 36 w 345"/>
                <a:gd name="T37" fmla="*/ 84 h 251"/>
                <a:gd name="T38" fmla="*/ 19 w 345"/>
                <a:gd name="T39" fmla="*/ 83 h 251"/>
                <a:gd name="T40" fmla="*/ 2 w 345"/>
                <a:gd name="T41" fmla="*/ 81 h 251"/>
                <a:gd name="T42" fmla="*/ 6 w 345"/>
                <a:gd name="T43" fmla="*/ 56 h 251"/>
                <a:gd name="T44" fmla="*/ 8 w 345"/>
                <a:gd name="T45" fmla="*/ 31 h 251"/>
                <a:gd name="T46" fmla="*/ 8 w 345"/>
                <a:gd name="T47" fmla="*/ 15 h 251"/>
                <a:gd name="T48" fmla="*/ 21 w 345"/>
                <a:gd name="T49" fmla="*/ 31 h 251"/>
                <a:gd name="T50" fmla="*/ 40 w 345"/>
                <a:gd name="T51" fmla="*/ 29 h 251"/>
                <a:gd name="T52" fmla="*/ 54 w 345"/>
                <a:gd name="T53" fmla="*/ 38 h 251"/>
                <a:gd name="T54" fmla="*/ 71 w 345"/>
                <a:gd name="T55" fmla="*/ 31 h 251"/>
                <a:gd name="T56" fmla="*/ 92 w 345"/>
                <a:gd name="T57" fmla="*/ 27 h 251"/>
                <a:gd name="T58" fmla="*/ 111 w 345"/>
                <a:gd name="T59" fmla="*/ 38 h 251"/>
                <a:gd name="T60" fmla="*/ 134 w 345"/>
                <a:gd name="T61" fmla="*/ 46 h 251"/>
                <a:gd name="T62" fmla="*/ 161 w 345"/>
                <a:gd name="T63" fmla="*/ 60 h 251"/>
                <a:gd name="T64" fmla="*/ 173 w 345"/>
                <a:gd name="T65" fmla="*/ 48 h 251"/>
                <a:gd name="T66" fmla="*/ 175 w 345"/>
                <a:gd name="T67" fmla="*/ 31 h 251"/>
                <a:gd name="T68" fmla="*/ 186 w 345"/>
                <a:gd name="T69" fmla="*/ 19 h 251"/>
                <a:gd name="T70" fmla="*/ 205 w 345"/>
                <a:gd name="T71" fmla="*/ 15 h 251"/>
                <a:gd name="T72" fmla="*/ 219 w 345"/>
                <a:gd name="T73" fmla="*/ 6 h 251"/>
                <a:gd name="T74" fmla="*/ 232 w 345"/>
                <a:gd name="T75" fmla="*/ 17 h 251"/>
                <a:gd name="T76" fmla="*/ 249 w 345"/>
                <a:gd name="T77" fmla="*/ 13 h 251"/>
                <a:gd name="T78" fmla="*/ 269 w 345"/>
                <a:gd name="T79" fmla="*/ 19 h 251"/>
                <a:gd name="T80" fmla="*/ 288 w 345"/>
                <a:gd name="T81" fmla="*/ 12 h 251"/>
                <a:gd name="T82" fmla="*/ 309 w 345"/>
                <a:gd name="T83" fmla="*/ 0 h 251"/>
                <a:gd name="T84" fmla="*/ 338 w 345"/>
                <a:gd name="T85" fmla="*/ 0 h 251"/>
                <a:gd name="T86" fmla="*/ 340 w 345"/>
                <a:gd name="T87" fmla="*/ 19 h 251"/>
                <a:gd name="T88" fmla="*/ 340 w 345"/>
                <a:gd name="T89" fmla="*/ 38 h 251"/>
                <a:gd name="T90" fmla="*/ 334 w 345"/>
                <a:gd name="T91" fmla="*/ 54 h 251"/>
                <a:gd name="T92" fmla="*/ 334 w 345"/>
                <a:gd name="T93" fmla="*/ 71 h 251"/>
                <a:gd name="T94" fmla="*/ 332 w 345"/>
                <a:gd name="T95" fmla="*/ 88 h 251"/>
                <a:gd name="T96" fmla="*/ 342 w 345"/>
                <a:gd name="T97" fmla="*/ 100 h 251"/>
                <a:gd name="T98" fmla="*/ 342 w 345"/>
                <a:gd name="T99" fmla="*/ 115 h 251"/>
                <a:gd name="T100" fmla="*/ 340 w 345"/>
                <a:gd name="T101" fmla="*/ 134 h 251"/>
                <a:gd name="T102" fmla="*/ 336 w 345"/>
                <a:gd name="T103" fmla="*/ 154 h 251"/>
                <a:gd name="T104" fmla="*/ 330 w 345"/>
                <a:gd name="T105" fmla="*/ 173 h 251"/>
                <a:gd name="T106" fmla="*/ 320 w 345"/>
                <a:gd name="T107" fmla="*/ 194 h 251"/>
                <a:gd name="T108" fmla="*/ 303 w 345"/>
                <a:gd name="T109" fmla="*/ 203 h 251"/>
                <a:gd name="T110" fmla="*/ 288 w 345"/>
                <a:gd name="T111" fmla="*/ 223 h 251"/>
                <a:gd name="T112" fmla="*/ 273 w 345"/>
                <a:gd name="T113" fmla="*/ 24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45" h="251">
                  <a:moveTo>
                    <a:pt x="263" y="251"/>
                  </a:moveTo>
                  <a:lnTo>
                    <a:pt x="261" y="246"/>
                  </a:lnTo>
                  <a:lnTo>
                    <a:pt x="255" y="246"/>
                  </a:lnTo>
                  <a:lnTo>
                    <a:pt x="249" y="242"/>
                  </a:lnTo>
                  <a:lnTo>
                    <a:pt x="246" y="242"/>
                  </a:lnTo>
                  <a:lnTo>
                    <a:pt x="238" y="236"/>
                  </a:lnTo>
                  <a:lnTo>
                    <a:pt x="234" y="230"/>
                  </a:lnTo>
                  <a:lnTo>
                    <a:pt x="240" y="225"/>
                  </a:lnTo>
                  <a:lnTo>
                    <a:pt x="246" y="217"/>
                  </a:lnTo>
                  <a:lnTo>
                    <a:pt x="248" y="211"/>
                  </a:lnTo>
                  <a:lnTo>
                    <a:pt x="249" y="205"/>
                  </a:lnTo>
                  <a:lnTo>
                    <a:pt x="251" y="198"/>
                  </a:lnTo>
                  <a:lnTo>
                    <a:pt x="253" y="192"/>
                  </a:lnTo>
                  <a:lnTo>
                    <a:pt x="255" y="186"/>
                  </a:lnTo>
                  <a:lnTo>
                    <a:pt x="253" y="180"/>
                  </a:lnTo>
                  <a:lnTo>
                    <a:pt x="249" y="178"/>
                  </a:lnTo>
                  <a:lnTo>
                    <a:pt x="242" y="178"/>
                  </a:lnTo>
                  <a:lnTo>
                    <a:pt x="232" y="178"/>
                  </a:lnTo>
                  <a:lnTo>
                    <a:pt x="228" y="173"/>
                  </a:lnTo>
                  <a:lnTo>
                    <a:pt x="221" y="171"/>
                  </a:lnTo>
                  <a:lnTo>
                    <a:pt x="213" y="169"/>
                  </a:lnTo>
                  <a:lnTo>
                    <a:pt x="207" y="165"/>
                  </a:lnTo>
                  <a:lnTo>
                    <a:pt x="200" y="161"/>
                  </a:lnTo>
                  <a:lnTo>
                    <a:pt x="196" y="155"/>
                  </a:lnTo>
                  <a:lnTo>
                    <a:pt x="194" y="148"/>
                  </a:lnTo>
                  <a:lnTo>
                    <a:pt x="190" y="140"/>
                  </a:lnTo>
                  <a:lnTo>
                    <a:pt x="184" y="138"/>
                  </a:lnTo>
                  <a:lnTo>
                    <a:pt x="175" y="134"/>
                  </a:lnTo>
                  <a:lnTo>
                    <a:pt x="173" y="131"/>
                  </a:lnTo>
                  <a:lnTo>
                    <a:pt x="169" y="125"/>
                  </a:lnTo>
                  <a:lnTo>
                    <a:pt x="165" y="123"/>
                  </a:lnTo>
                  <a:lnTo>
                    <a:pt x="161" y="119"/>
                  </a:lnTo>
                  <a:lnTo>
                    <a:pt x="152" y="115"/>
                  </a:lnTo>
                  <a:lnTo>
                    <a:pt x="146" y="111"/>
                  </a:lnTo>
                  <a:lnTo>
                    <a:pt x="138" y="111"/>
                  </a:lnTo>
                  <a:lnTo>
                    <a:pt x="131" y="107"/>
                  </a:lnTo>
                  <a:lnTo>
                    <a:pt x="125" y="104"/>
                  </a:lnTo>
                  <a:lnTo>
                    <a:pt x="117" y="98"/>
                  </a:lnTo>
                  <a:lnTo>
                    <a:pt x="107" y="98"/>
                  </a:lnTo>
                  <a:lnTo>
                    <a:pt x="106" y="96"/>
                  </a:lnTo>
                  <a:lnTo>
                    <a:pt x="102" y="94"/>
                  </a:lnTo>
                  <a:lnTo>
                    <a:pt x="96" y="92"/>
                  </a:lnTo>
                  <a:lnTo>
                    <a:pt x="90" y="92"/>
                  </a:lnTo>
                  <a:lnTo>
                    <a:pt x="86" y="92"/>
                  </a:lnTo>
                  <a:lnTo>
                    <a:pt x="83" y="88"/>
                  </a:lnTo>
                  <a:lnTo>
                    <a:pt x="79" y="88"/>
                  </a:lnTo>
                  <a:lnTo>
                    <a:pt x="77" y="90"/>
                  </a:lnTo>
                  <a:lnTo>
                    <a:pt x="73" y="92"/>
                  </a:lnTo>
                  <a:lnTo>
                    <a:pt x="69" y="92"/>
                  </a:lnTo>
                  <a:lnTo>
                    <a:pt x="65" y="88"/>
                  </a:lnTo>
                  <a:lnTo>
                    <a:pt x="60" y="84"/>
                  </a:lnTo>
                  <a:lnTo>
                    <a:pt x="54" y="84"/>
                  </a:lnTo>
                  <a:lnTo>
                    <a:pt x="50" y="84"/>
                  </a:lnTo>
                  <a:lnTo>
                    <a:pt x="48" y="88"/>
                  </a:lnTo>
                  <a:lnTo>
                    <a:pt x="42" y="88"/>
                  </a:lnTo>
                  <a:lnTo>
                    <a:pt x="40" y="86"/>
                  </a:lnTo>
                  <a:lnTo>
                    <a:pt x="36" y="84"/>
                  </a:lnTo>
                  <a:lnTo>
                    <a:pt x="33" y="83"/>
                  </a:lnTo>
                  <a:lnTo>
                    <a:pt x="25" y="81"/>
                  </a:lnTo>
                  <a:lnTo>
                    <a:pt x="19" y="83"/>
                  </a:lnTo>
                  <a:lnTo>
                    <a:pt x="13" y="84"/>
                  </a:lnTo>
                  <a:lnTo>
                    <a:pt x="8" y="81"/>
                  </a:lnTo>
                  <a:lnTo>
                    <a:pt x="2" y="81"/>
                  </a:lnTo>
                  <a:lnTo>
                    <a:pt x="6" y="75"/>
                  </a:lnTo>
                  <a:lnTo>
                    <a:pt x="8" y="67"/>
                  </a:lnTo>
                  <a:lnTo>
                    <a:pt x="6" y="56"/>
                  </a:lnTo>
                  <a:lnTo>
                    <a:pt x="12" y="46"/>
                  </a:lnTo>
                  <a:lnTo>
                    <a:pt x="10" y="38"/>
                  </a:lnTo>
                  <a:lnTo>
                    <a:pt x="8" y="31"/>
                  </a:lnTo>
                  <a:lnTo>
                    <a:pt x="4" y="23"/>
                  </a:lnTo>
                  <a:lnTo>
                    <a:pt x="0" y="15"/>
                  </a:lnTo>
                  <a:lnTo>
                    <a:pt x="8" y="15"/>
                  </a:lnTo>
                  <a:lnTo>
                    <a:pt x="12" y="19"/>
                  </a:lnTo>
                  <a:lnTo>
                    <a:pt x="15" y="27"/>
                  </a:lnTo>
                  <a:lnTo>
                    <a:pt x="21" y="31"/>
                  </a:lnTo>
                  <a:lnTo>
                    <a:pt x="29" y="31"/>
                  </a:lnTo>
                  <a:lnTo>
                    <a:pt x="33" y="35"/>
                  </a:lnTo>
                  <a:lnTo>
                    <a:pt x="40" y="29"/>
                  </a:lnTo>
                  <a:lnTo>
                    <a:pt x="44" y="31"/>
                  </a:lnTo>
                  <a:lnTo>
                    <a:pt x="48" y="35"/>
                  </a:lnTo>
                  <a:lnTo>
                    <a:pt x="54" y="38"/>
                  </a:lnTo>
                  <a:lnTo>
                    <a:pt x="60" y="35"/>
                  </a:lnTo>
                  <a:lnTo>
                    <a:pt x="65" y="33"/>
                  </a:lnTo>
                  <a:lnTo>
                    <a:pt x="71" y="31"/>
                  </a:lnTo>
                  <a:lnTo>
                    <a:pt x="77" y="29"/>
                  </a:lnTo>
                  <a:lnTo>
                    <a:pt x="84" y="25"/>
                  </a:lnTo>
                  <a:lnTo>
                    <a:pt x="92" y="27"/>
                  </a:lnTo>
                  <a:lnTo>
                    <a:pt x="100" y="29"/>
                  </a:lnTo>
                  <a:lnTo>
                    <a:pt x="107" y="35"/>
                  </a:lnTo>
                  <a:lnTo>
                    <a:pt x="111" y="38"/>
                  </a:lnTo>
                  <a:lnTo>
                    <a:pt x="119" y="42"/>
                  </a:lnTo>
                  <a:lnTo>
                    <a:pt x="123" y="42"/>
                  </a:lnTo>
                  <a:lnTo>
                    <a:pt x="134" y="46"/>
                  </a:lnTo>
                  <a:lnTo>
                    <a:pt x="144" y="52"/>
                  </a:lnTo>
                  <a:lnTo>
                    <a:pt x="154" y="58"/>
                  </a:lnTo>
                  <a:lnTo>
                    <a:pt x="161" y="60"/>
                  </a:lnTo>
                  <a:lnTo>
                    <a:pt x="171" y="60"/>
                  </a:lnTo>
                  <a:lnTo>
                    <a:pt x="173" y="54"/>
                  </a:lnTo>
                  <a:lnTo>
                    <a:pt x="173" y="48"/>
                  </a:lnTo>
                  <a:lnTo>
                    <a:pt x="177" y="44"/>
                  </a:lnTo>
                  <a:lnTo>
                    <a:pt x="177" y="36"/>
                  </a:lnTo>
                  <a:lnTo>
                    <a:pt x="175" y="31"/>
                  </a:lnTo>
                  <a:lnTo>
                    <a:pt x="175" y="23"/>
                  </a:lnTo>
                  <a:lnTo>
                    <a:pt x="177" y="19"/>
                  </a:lnTo>
                  <a:lnTo>
                    <a:pt x="186" y="19"/>
                  </a:lnTo>
                  <a:lnTo>
                    <a:pt x="190" y="19"/>
                  </a:lnTo>
                  <a:lnTo>
                    <a:pt x="200" y="17"/>
                  </a:lnTo>
                  <a:lnTo>
                    <a:pt x="205" y="15"/>
                  </a:lnTo>
                  <a:lnTo>
                    <a:pt x="209" y="10"/>
                  </a:lnTo>
                  <a:lnTo>
                    <a:pt x="211" y="4"/>
                  </a:lnTo>
                  <a:lnTo>
                    <a:pt x="219" y="6"/>
                  </a:lnTo>
                  <a:lnTo>
                    <a:pt x="223" y="10"/>
                  </a:lnTo>
                  <a:lnTo>
                    <a:pt x="226" y="15"/>
                  </a:lnTo>
                  <a:lnTo>
                    <a:pt x="232" y="17"/>
                  </a:lnTo>
                  <a:lnTo>
                    <a:pt x="240" y="17"/>
                  </a:lnTo>
                  <a:lnTo>
                    <a:pt x="244" y="15"/>
                  </a:lnTo>
                  <a:lnTo>
                    <a:pt x="249" y="13"/>
                  </a:lnTo>
                  <a:lnTo>
                    <a:pt x="255" y="13"/>
                  </a:lnTo>
                  <a:lnTo>
                    <a:pt x="261" y="17"/>
                  </a:lnTo>
                  <a:lnTo>
                    <a:pt x="269" y="19"/>
                  </a:lnTo>
                  <a:lnTo>
                    <a:pt x="276" y="19"/>
                  </a:lnTo>
                  <a:lnTo>
                    <a:pt x="282" y="13"/>
                  </a:lnTo>
                  <a:lnTo>
                    <a:pt x="288" y="12"/>
                  </a:lnTo>
                  <a:lnTo>
                    <a:pt x="294" y="6"/>
                  </a:lnTo>
                  <a:lnTo>
                    <a:pt x="303" y="2"/>
                  </a:lnTo>
                  <a:lnTo>
                    <a:pt x="309" y="0"/>
                  </a:lnTo>
                  <a:lnTo>
                    <a:pt x="317" y="2"/>
                  </a:lnTo>
                  <a:lnTo>
                    <a:pt x="330" y="2"/>
                  </a:lnTo>
                  <a:lnTo>
                    <a:pt x="338" y="0"/>
                  </a:lnTo>
                  <a:lnTo>
                    <a:pt x="336" y="8"/>
                  </a:lnTo>
                  <a:lnTo>
                    <a:pt x="338" y="13"/>
                  </a:lnTo>
                  <a:lnTo>
                    <a:pt x="340" y="19"/>
                  </a:lnTo>
                  <a:lnTo>
                    <a:pt x="340" y="25"/>
                  </a:lnTo>
                  <a:lnTo>
                    <a:pt x="342" y="33"/>
                  </a:lnTo>
                  <a:lnTo>
                    <a:pt x="340" y="38"/>
                  </a:lnTo>
                  <a:lnTo>
                    <a:pt x="336" y="44"/>
                  </a:lnTo>
                  <a:lnTo>
                    <a:pt x="338" y="50"/>
                  </a:lnTo>
                  <a:lnTo>
                    <a:pt x="334" y="54"/>
                  </a:lnTo>
                  <a:lnTo>
                    <a:pt x="330" y="61"/>
                  </a:lnTo>
                  <a:lnTo>
                    <a:pt x="332" y="65"/>
                  </a:lnTo>
                  <a:lnTo>
                    <a:pt x="334" y="71"/>
                  </a:lnTo>
                  <a:lnTo>
                    <a:pt x="334" y="77"/>
                  </a:lnTo>
                  <a:lnTo>
                    <a:pt x="336" y="84"/>
                  </a:lnTo>
                  <a:lnTo>
                    <a:pt x="332" y="88"/>
                  </a:lnTo>
                  <a:lnTo>
                    <a:pt x="338" y="92"/>
                  </a:lnTo>
                  <a:lnTo>
                    <a:pt x="342" y="94"/>
                  </a:lnTo>
                  <a:lnTo>
                    <a:pt x="342" y="100"/>
                  </a:lnTo>
                  <a:lnTo>
                    <a:pt x="340" y="107"/>
                  </a:lnTo>
                  <a:lnTo>
                    <a:pt x="340" y="111"/>
                  </a:lnTo>
                  <a:lnTo>
                    <a:pt x="342" y="115"/>
                  </a:lnTo>
                  <a:lnTo>
                    <a:pt x="345" y="123"/>
                  </a:lnTo>
                  <a:lnTo>
                    <a:pt x="344" y="131"/>
                  </a:lnTo>
                  <a:lnTo>
                    <a:pt x="340" y="134"/>
                  </a:lnTo>
                  <a:lnTo>
                    <a:pt x="336" y="140"/>
                  </a:lnTo>
                  <a:lnTo>
                    <a:pt x="332" y="144"/>
                  </a:lnTo>
                  <a:lnTo>
                    <a:pt x="336" y="154"/>
                  </a:lnTo>
                  <a:lnTo>
                    <a:pt x="332" y="161"/>
                  </a:lnTo>
                  <a:lnTo>
                    <a:pt x="332" y="167"/>
                  </a:lnTo>
                  <a:lnTo>
                    <a:pt x="330" y="173"/>
                  </a:lnTo>
                  <a:lnTo>
                    <a:pt x="326" y="178"/>
                  </a:lnTo>
                  <a:lnTo>
                    <a:pt x="320" y="184"/>
                  </a:lnTo>
                  <a:lnTo>
                    <a:pt x="320" y="194"/>
                  </a:lnTo>
                  <a:lnTo>
                    <a:pt x="317" y="200"/>
                  </a:lnTo>
                  <a:lnTo>
                    <a:pt x="309" y="203"/>
                  </a:lnTo>
                  <a:lnTo>
                    <a:pt x="303" y="203"/>
                  </a:lnTo>
                  <a:lnTo>
                    <a:pt x="297" y="207"/>
                  </a:lnTo>
                  <a:lnTo>
                    <a:pt x="292" y="215"/>
                  </a:lnTo>
                  <a:lnTo>
                    <a:pt x="288" y="223"/>
                  </a:lnTo>
                  <a:lnTo>
                    <a:pt x="282" y="226"/>
                  </a:lnTo>
                  <a:lnTo>
                    <a:pt x="278" y="234"/>
                  </a:lnTo>
                  <a:lnTo>
                    <a:pt x="273" y="240"/>
                  </a:lnTo>
                  <a:lnTo>
                    <a:pt x="269" y="244"/>
                  </a:lnTo>
                  <a:lnTo>
                    <a:pt x="263" y="25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/>
            </a:p>
          </p:txBody>
        </p:sp>
        <p:sp>
          <p:nvSpPr>
            <p:cNvPr id="124" name="Freeform 9"/>
            <p:cNvSpPr>
              <a:spLocks/>
            </p:cNvSpPr>
            <p:nvPr/>
          </p:nvSpPr>
          <p:spPr bwMode="auto">
            <a:xfrm>
              <a:off x="6121057" y="4253406"/>
              <a:ext cx="823523" cy="595603"/>
            </a:xfrm>
            <a:custGeom>
              <a:avLst/>
              <a:gdLst>
                <a:gd name="T0" fmla="*/ 415 w 422"/>
                <a:gd name="T1" fmla="*/ 208 h 306"/>
                <a:gd name="T2" fmla="*/ 403 w 422"/>
                <a:gd name="T3" fmla="*/ 223 h 306"/>
                <a:gd name="T4" fmla="*/ 392 w 422"/>
                <a:gd name="T5" fmla="*/ 238 h 306"/>
                <a:gd name="T6" fmla="*/ 365 w 422"/>
                <a:gd name="T7" fmla="*/ 248 h 306"/>
                <a:gd name="T8" fmla="*/ 342 w 422"/>
                <a:gd name="T9" fmla="*/ 252 h 306"/>
                <a:gd name="T10" fmla="*/ 324 w 422"/>
                <a:gd name="T11" fmla="*/ 265 h 306"/>
                <a:gd name="T12" fmla="*/ 303 w 422"/>
                <a:gd name="T13" fmla="*/ 259 h 306"/>
                <a:gd name="T14" fmla="*/ 288 w 422"/>
                <a:gd name="T15" fmla="*/ 263 h 306"/>
                <a:gd name="T16" fmla="*/ 271 w 422"/>
                <a:gd name="T17" fmla="*/ 256 h 306"/>
                <a:gd name="T18" fmla="*/ 257 w 422"/>
                <a:gd name="T19" fmla="*/ 256 h 306"/>
                <a:gd name="T20" fmla="*/ 238 w 422"/>
                <a:gd name="T21" fmla="*/ 265 h 306"/>
                <a:gd name="T22" fmla="*/ 223 w 422"/>
                <a:gd name="T23" fmla="*/ 269 h 306"/>
                <a:gd name="T24" fmla="*/ 225 w 422"/>
                <a:gd name="T25" fmla="*/ 290 h 306"/>
                <a:gd name="T26" fmla="*/ 219 w 422"/>
                <a:gd name="T27" fmla="*/ 306 h 306"/>
                <a:gd name="T28" fmla="*/ 192 w 422"/>
                <a:gd name="T29" fmla="*/ 298 h 306"/>
                <a:gd name="T30" fmla="*/ 167 w 422"/>
                <a:gd name="T31" fmla="*/ 288 h 306"/>
                <a:gd name="T32" fmla="*/ 148 w 422"/>
                <a:gd name="T33" fmla="*/ 275 h 306"/>
                <a:gd name="T34" fmla="*/ 125 w 422"/>
                <a:gd name="T35" fmla="*/ 275 h 306"/>
                <a:gd name="T36" fmla="*/ 108 w 422"/>
                <a:gd name="T37" fmla="*/ 281 h 306"/>
                <a:gd name="T38" fmla="*/ 92 w 422"/>
                <a:gd name="T39" fmla="*/ 277 h 306"/>
                <a:gd name="T40" fmla="*/ 77 w 422"/>
                <a:gd name="T41" fmla="*/ 277 h 306"/>
                <a:gd name="T42" fmla="*/ 60 w 422"/>
                <a:gd name="T43" fmla="*/ 265 h 306"/>
                <a:gd name="T44" fmla="*/ 48 w 422"/>
                <a:gd name="T45" fmla="*/ 256 h 306"/>
                <a:gd name="T46" fmla="*/ 48 w 422"/>
                <a:gd name="T47" fmla="*/ 229 h 306"/>
                <a:gd name="T48" fmla="*/ 21 w 422"/>
                <a:gd name="T49" fmla="*/ 219 h 306"/>
                <a:gd name="T50" fmla="*/ 0 w 422"/>
                <a:gd name="T51" fmla="*/ 223 h 306"/>
                <a:gd name="T52" fmla="*/ 6 w 422"/>
                <a:gd name="T53" fmla="*/ 185 h 306"/>
                <a:gd name="T54" fmla="*/ 15 w 422"/>
                <a:gd name="T55" fmla="*/ 144 h 306"/>
                <a:gd name="T56" fmla="*/ 15 w 422"/>
                <a:gd name="T57" fmla="*/ 110 h 306"/>
                <a:gd name="T58" fmla="*/ 37 w 422"/>
                <a:gd name="T59" fmla="*/ 79 h 306"/>
                <a:gd name="T60" fmla="*/ 56 w 422"/>
                <a:gd name="T61" fmla="*/ 43 h 306"/>
                <a:gd name="T62" fmla="*/ 69 w 422"/>
                <a:gd name="T63" fmla="*/ 20 h 306"/>
                <a:gd name="T64" fmla="*/ 106 w 422"/>
                <a:gd name="T65" fmla="*/ 2 h 306"/>
                <a:gd name="T66" fmla="*/ 132 w 422"/>
                <a:gd name="T67" fmla="*/ 2 h 306"/>
                <a:gd name="T68" fmla="*/ 155 w 422"/>
                <a:gd name="T69" fmla="*/ 0 h 306"/>
                <a:gd name="T70" fmla="*/ 186 w 422"/>
                <a:gd name="T71" fmla="*/ 4 h 306"/>
                <a:gd name="T72" fmla="*/ 211 w 422"/>
                <a:gd name="T73" fmla="*/ 12 h 306"/>
                <a:gd name="T74" fmla="*/ 225 w 422"/>
                <a:gd name="T75" fmla="*/ 16 h 306"/>
                <a:gd name="T76" fmla="*/ 242 w 422"/>
                <a:gd name="T77" fmla="*/ 23 h 306"/>
                <a:gd name="T78" fmla="*/ 261 w 422"/>
                <a:gd name="T79" fmla="*/ 25 h 306"/>
                <a:gd name="T80" fmla="*/ 292 w 422"/>
                <a:gd name="T81" fmla="*/ 25 h 306"/>
                <a:gd name="T82" fmla="*/ 305 w 422"/>
                <a:gd name="T83" fmla="*/ 27 h 306"/>
                <a:gd name="T84" fmla="*/ 309 w 422"/>
                <a:gd name="T85" fmla="*/ 41 h 306"/>
                <a:gd name="T86" fmla="*/ 322 w 422"/>
                <a:gd name="T87" fmla="*/ 54 h 306"/>
                <a:gd name="T88" fmla="*/ 330 w 422"/>
                <a:gd name="T89" fmla="*/ 79 h 306"/>
                <a:gd name="T90" fmla="*/ 334 w 422"/>
                <a:gd name="T91" fmla="*/ 100 h 306"/>
                <a:gd name="T92" fmla="*/ 345 w 422"/>
                <a:gd name="T93" fmla="*/ 123 h 306"/>
                <a:gd name="T94" fmla="*/ 347 w 422"/>
                <a:gd name="T95" fmla="*/ 146 h 306"/>
                <a:gd name="T96" fmla="*/ 368 w 422"/>
                <a:gd name="T97" fmla="*/ 146 h 306"/>
                <a:gd name="T98" fmla="*/ 392 w 422"/>
                <a:gd name="T99" fmla="*/ 156 h 306"/>
                <a:gd name="T100" fmla="*/ 395 w 422"/>
                <a:gd name="T101" fmla="*/ 185 h 306"/>
                <a:gd name="T102" fmla="*/ 418 w 422"/>
                <a:gd name="T103" fmla="*/ 185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22" h="306">
                  <a:moveTo>
                    <a:pt x="422" y="192"/>
                  </a:moveTo>
                  <a:lnTo>
                    <a:pt x="418" y="198"/>
                  </a:lnTo>
                  <a:lnTo>
                    <a:pt x="415" y="208"/>
                  </a:lnTo>
                  <a:lnTo>
                    <a:pt x="409" y="213"/>
                  </a:lnTo>
                  <a:lnTo>
                    <a:pt x="407" y="219"/>
                  </a:lnTo>
                  <a:lnTo>
                    <a:pt x="403" y="223"/>
                  </a:lnTo>
                  <a:lnTo>
                    <a:pt x="395" y="225"/>
                  </a:lnTo>
                  <a:lnTo>
                    <a:pt x="393" y="233"/>
                  </a:lnTo>
                  <a:lnTo>
                    <a:pt x="392" y="238"/>
                  </a:lnTo>
                  <a:lnTo>
                    <a:pt x="386" y="246"/>
                  </a:lnTo>
                  <a:lnTo>
                    <a:pt x="378" y="248"/>
                  </a:lnTo>
                  <a:lnTo>
                    <a:pt x="365" y="248"/>
                  </a:lnTo>
                  <a:lnTo>
                    <a:pt x="357" y="246"/>
                  </a:lnTo>
                  <a:lnTo>
                    <a:pt x="351" y="248"/>
                  </a:lnTo>
                  <a:lnTo>
                    <a:pt x="342" y="252"/>
                  </a:lnTo>
                  <a:lnTo>
                    <a:pt x="336" y="258"/>
                  </a:lnTo>
                  <a:lnTo>
                    <a:pt x="330" y="259"/>
                  </a:lnTo>
                  <a:lnTo>
                    <a:pt x="324" y="265"/>
                  </a:lnTo>
                  <a:lnTo>
                    <a:pt x="317" y="265"/>
                  </a:lnTo>
                  <a:lnTo>
                    <a:pt x="309" y="263"/>
                  </a:lnTo>
                  <a:lnTo>
                    <a:pt x="303" y="259"/>
                  </a:lnTo>
                  <a:lnTo>
                    <a:pt x="297" y="259"/>
                  </a:lnTo>
                  <a:lnTo>
                    <a:pt x="292" y="261"/>
                  </a:lnTo>
                  <a:lnTo>
                    <a:pt x="288" y="263"/>
                  </a:lnTo>
                  <a:lnTo>
                    <a:pt x="280" y="263"/>
                  </a:lnTo>
                  <a:lnTo>
                    <a:pt x="274" y="261"/>
                  </a:lnTo>
                  <a:lnTo>
                    <a:pt x="271" y="256"/>
                  </a:lnTo>
                  <a:lnTo>
                    <a:pt x="267" y="252"/>
                  </a:lnTo>
                  <a:lnTo>
                    <a:pt x="259" y="250"/>
                  </a:lnTo>
                  <a:lnTo>
                    <a:pt x="257" y="256"/>
                  </a:lnTo>
                  <a:lnTo>
                    <a:pt x="253" y="261"/>
                  </a:lnTo>
                  <a:lnTo>
                    <a:pt x="248" y="263"/>
                  </a:lnTo>
                  <a:lnTo>
                    <a:pt x="238" y="265"/>
                  </a:lnTo>
                  <a:lnTo>
                    <a:pt x="234" y="265"/>
                  </a:lnTo>
                  <a:lnTo>
                    <a:pt x="225" y="265"/>
                  </a:lnTo>
                  <a:lnTo>
                    <a:pt x="223" y="269"/>
                  </a:lnTo>
                  <a:lnTo>
                    <a:pt x="223" y="277"/>
                  </a:lnTo>
                  <a:lnTo>
                    <a:pt x="225" y="282"/>
                  </a:lnTo>
                  <a:lnTo>
                    <a:pt x="225" y="290"/>
                  </a:lnTo>
                  <a:lnTo>
                    <a:pt x="221" y="294"/>
                  </a:lnTo>
                  <a:lnTo>
                    <a:pt x="221" y="300"/>
                  </a:lnTo>
                  <a:lnTo>
                    <a:pt x="219" y="306"/>
                  </a:lnTo>
                  <a:lnTo>
                    <a:pt x="209" y="306"/>
                  </a:lnTo>
                  <a:lnTo>
                    <a:pt x="202" y="304"/>
                  </a:lnTo>
                  <a:lnTo>
                    <a:pt x="192" y="298"/>
                  </a:lnTo>
                  <a:lnTo>
                    <a:pt x="182" y="292"/>
                  </a:lnTo>
                  <a:lnTo>
                    <a:pt x="171" y="288"/>
                  </a:lnTo>
                  <a:lnTo>
                    <a:pt x="167" y="288"/>
                  </a:lnTo>
                  <a:lnTo>
                    <a:pt x="159" y="284"/>
                  </a:lnTo>
                  <a:lnTo>
                    <a:pt x="155" y="281"/>
                  </a:lnTo>
                  <a:lnTo>
                    <a:pt x="148" y="275"/>
                  </a:lnTo>
                  <a:lnTo>
                    <a:pt x="140" y="273"/>
                  </a:lnTo>
                  <a:lnTo>
                    <a:pt x="132" y="271"/>
                  </a:lnTo>
                  <a:lnTo>
                    <a:pt x="125" y="275"/>
                  </a:lnTo>
                  <a:lnTo>
                    <a:pt x="119" y="277"/>
                  </a:lnTo>
                  <a:lnTo>
                    <a:pt x="113" y="279"/>
                  </a:lnTo>
                  <a:lnTo>
                    <a:pt x="108" y="281"/>
                  </a:lnTo>
                  <a:lnTo>
                    <a:pt x="102" y="284"/>
                  </a:lnTo>
                  <a:lnTo>
                    <a:pt x="96" y="281"/>
                  </a:lnTo>
                  <a:lnTo>
                    <a:pt x="92" y="277"/>
                  </a:lnTo>
                  <a:lnTo>
                    <a:pt x="88" y="275"/>
                  </a:lnTo>
                  <a:lnTo>
                    <a:pt x="81" y="281"/>
                  </a:lnTo>
                  <a:lnTo>
                    <a:pt x="77" y="277"/>
                  </a:lnTo>
                  <a:lnTo>
                    <a:pt x="69" y="277"/>
                  </a:lnTo>
                  <a:lnTo>
                    <a:pt x="63" y="273"/>
                  </a:lnTo>
                  <a:lnTo>
                    <a:pt x="60" y="265"/>
                  </a:lnTo>
                  <a:lnTo>
                    <a:pt x="56" y="261"/>
                  </a:lnTo>
                  <a:lnTo>
                    <a:pt x="48" y="261"/>
                  </a:lnTo>
                  <a:lnTo>
                    <a:pt x="48" y="256"/>
                  </a:lnTo>
                  <a:lnTo>
                    <a:pt x="50" y="246"/>
                  </a:lnTo>
                  <a:lnTo>
                    <a:pt x="50" y="238"/>
                  </a:lnTo>
                  <a:lnTo>
                    <a:pt x="48" y="229"/>
                  </a:lnTo>
                  <a:lnTo>
                    <a:pt x="40" y="223"/>
                  </a:lnTo>
                  <a:lnTo>
                    <a:pt x="27" y="219"/>
                  </a:lnTo>
                  <a:lnTo>
                    <a:pt x="21" y="219"/>
                  </a:lnTo>
                  <a:lnTo>
                    <a:pt x="12" y="223"/>
                  </a:lnTo>
                  <a:lnTo>
                    <a:pt x="6" y="225"/>
                  </a:lnTo>
                  <a:lnTo>
                    <a:pt x="0" y="223"/>
                  </a:lnTo>
                  <a:lnTo>
                    <a:pt x="2" y="213"/>
                  </a:lnTo>
                  <a:lnTo>
                    <a:pt x="6" y="196"/>
                  </a:lnTo>
                  <a:lnTo>
                    <a:pt x="6" y="185"/>
                  </a:lnTo>
                  <a:lnTo>
                    <a:pt x="12" y="175"/>
                  </a:lnTo>
                  <a:lnTo>
                    <a:pt x="13" y="160"/>
                  </a:lnTo>
                  <a:lnTo>
                    <a:pt x="15" y="144"/>
                  </a:lnTo>
                  <a:lnTo>
                    <a:pt x="15" y="127"/>
                  </a:lnTo>
                  <a:lnTo>
                    <a:pt x="15" y="116"/>
                  </a:lnTo>
                  <a:lnTo>
                    <a:pt x="15" y="110"/>
                  </a:lnTo>
                  <a:lnTo>
                    <a:pt x="25" y="100"/>
                  </a:lnTo>
                  <a:lnTo>
                    <a:pt x="33" y="89"/>
                  </a:lnTo>
                  <a:lnTo>
                    <a:pt x="37" y="79"/>
                  </a:lnTo>
                  <a:lnTo>
                    <a:pt x="42" y="64"/>
                  </a:lnTo>
                  <a:lnTo>
                    <a:pt x="48" y="54"/>
                  </a:lnTo>
                  <a:lnTo>
                    <a:pt x="56" y="43"/>
                  </a:lnTo>
                  <a:lnTo>
                    <a:pt x="54" y="31"/>
                  </a:lnTo>
                  <a:lnTo>
                    <a:pt x="58" y="25"/>
                  </a:lnTo>
                  <a:lnTo>
                    <a:pt x="69" y="20"/>
                  </a:lnTo>
                  <a:lnTo>
                    <a:pt x="83" y="16"/>
                  </a:lnTo>
                  <a:lnTo>
                    <a:pt x="90" y="4"/>
                  </a:lnTo>
                  <a:lnTo>
                    <a:pt x="106" y="2"/>
                  </a:lnTo>
                  <a:lnTo>
                    <a:pt x="117" y="4"/>
                  </a:lnTo>
                  <a:lnTo>
                    <a:pt x="125" y="6"/>
                  </a:lnTo>
                  <a:lnTo>
                    <a:pt x="132" y="2"/>
                  </a:lnTo>
                  <a:lnTo>
                    <a:pt x="136" y="2"/>
                  </a:lnTo>
                  <a:lnTo>
                    <a:pt x="148" y="4"/>
                  </a:lnTo>
                  <a:lnTo>
                    <a:pt x="155" y="0"/>
                  </a:lnTo>
                  <a:lnTo>
                    <a:pt x="165" y="0"/>
                  </a:lnTo>
                  <a:lnTo>
                    <a:pt x="177" y="4"/>
                  </a:lnTo>
                  <a:lnTo>
                    <a:pt x="186" y="4"/>
                  </a:lnTo>
                  <a:lnTo>
                    <a:pt x="198" y="8"/>
                  </a:lnTo>
                  <a:lnTo>
                    <a:pt x="205" y="8"/>
                  </a:lnTo>
                  <a:lnTo>
                    <a:pt x="211" y="12"/>
                  </a:lnTo>
                  <a:lnTo>
                    <a:pt x="219" y="8"/>
                  </a:lnTo>
                  <a:lnTo>
                    <a:pt x="223" y="10"/>
                  </a:lnTo>
                  <a:lnTo>
                    <a:pt x="225" y="16"/>
                  </a:lnTo>
                  <a:lnTo>
                    <a:pt x="232" y="22"/>
                  </a:lnTo>
                  <a:lnTo>
                    <a:pt x="238" y="25"/>
                  </a:lnTo>
                  <a:lnTo>
                    <a:pt x="242" y="23"/>
                  </a:lnTo>
                  <a:lnTo>
                    <a:pt x="250" y="27"/>
                  </a:lnTo>
                  <a:lnTo>
                    <a:pt x="255" y="33"/>
                  </a:lnTo>
                  <a:lnTo>
                    <a:pt x="261" y="25"/>
                  </a:lnTo>
                  <a:lnTo>
                    <a:pt x="271" y="23"/>
                  </a:lnTo>
                  <a:lnTo>
                    <a:pt x="282" y="23"/>
                  </a:lnTo>
                  <a:lnTo>
                    <a:pt x="292" y="25"/>
                  </a:lnTo>
                  <a:lnTo>
                    <a:pt x="297" y="27"/>
                  </a:lnTo>
                  <a:lnTo>
                    <a:pt x="301" y="25"/>
                  </a:lnTo>
                  <a:lnTo>
                    <a:pt x="305" y="27"/>
                  </a:lnTo>
                  <a:lnTo>
                    <a:pt x="307" y="31"/>
                  </a:lnTo>
                  <a:lnTo>
                    <a:pt x="307" y="37"/>
                  </a:lnTo>
                  <a:lnTo>
                    <a:pt x="309" y="41"/>
                  </a:lnTo>
                  <a:lnTo>
                    <a:pt x="319" y="41"/>
                  </a:lnTo>
                  <a:lnTo>
                    <a:pt x="322" y="47"/>
                  </a:lnTo>
                  <a:lnTo>
                    <a:pt x="322" y="54"/>
                  </a:lnTo>
                  <a:lnTo>
                    <a:pt x="324" y="62"/>
                  </a:lnTo>
                  <a:lnTo>
                    <a:pt x="328" y="70"/>
                  </a:lnTo>
                  <a:lnTo>
                    <a:pt x="330" y="79"/>
                  </a:lnTo>
                  <a:lnTo>
                    <a:pt x="328" y="87"/>
                  </a:lnTo>
                  <a:lnTo>
                    <a:pt x="328" y="94"/>
                  </a:lnTo>
                  <a:lnTo>
                    <a:pt x="334" y="100"/>
                  </a:lnTo>
                  <a:lnTo>
                    <a:pt x="340" y="108"/>
                  </a:lnTo>
                  <a:lnTo>
                    <a:pt x="342" y="118"/>
                  </a:lnTo>
                  <a:lnTo>
                    <a:pt x="345" y="123"/>
                  </a:lnTo>
                  <a:lnTo>
                    <a:pt x="345" y="133"/>
                  </a:lnTo>
                  <a:lnTo>
                    <a:pt x="344" y="141"/>
                  </a:lnTo>
                  <a:lnTo>
                    <a:pt x="347" y="146"/>
                  </a:lnTo>
                  <a:lnTo>
                    <a:pt x="353" y="152"/>
                  </a:lnTo>
                  <a:lnTo>
                    <a:pt x="361" y="150"/>
                  </a:lnTo>
                  <a:lnTo>
                    <a:pt x="368" y="146"/>
                  </a:lnTo>
                  <a:lnTo>
                    <a:pt x="378" y="152"/>
                  </a:lnTo>
                  <a:lnTo>
                    <a:pt x="386" y="154"/>
                  </a:lnTo>
                  <a:lnTo>
                    <a:pt x="392" y="156"/>
                  </a:lnTo>
                  <a:lnTo>
                    <a:pt x="392" y="165"/>
                  </a:lnTo>
                  <a:lnTo>
                    <a:pt x="392" y="177"/>
                  </a:lnTo>
                  <a:lnTo>
                    <a:pt x="395" y="185"/>
                  </a:lnTo>
                  <a:lnTo>
                    <a:pt x="403" y="185"/>
                  </a:lnTo>
                  <a:lnTo>
                    <a:pt x="409" y="183"/>
                  </a:lnTo>
                  <a:lnTo>
                    <a:pt x="418" y="185"/>
                  </a:lnTo>
                  <a:lnTo>
                    <a:pt x="422" y="19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/>
            </a:p>
          </p:txBody>
        </p:sp>
      </p:grpSp>
      <p:grpSp>
        <p:nvGrpSpPr>
          <p:cNvPr id="14" name="Agrupar 13">
            <a:extLst>
              <a:ext uri="{FF2B5EF4-FFF2-40B4-BE49-F238E27FC236}">
                <a16:creationId xmlns:a16="http://schemas.microsoft.com/office/drawing/2014/main" id="{FD5C1B23-5476-4850-B161-62B42440ED42}"/>
              </a:ext>
            </a:extLst>
          </p:cNvPr>
          <p:cNvGrpSpPr/>
          <p:nvPr/>
        </p:nvGrpSpPr>
        <p:grpSpPr>
          <a:xfrm>
            <a:off x="5144870" y="2075262"/>
            <a:ext cx="2083537" cy="2395314"/>
            <a:chOff x="5144870" y="2075262"/>
            <a:chExt cx="2083537" cy="2395314"/>
          </a:xfrm>
          <a:solidFill>
            <a:schemeClr val="bg2"/>
          </a:solidFill>
        </p:grpSpPr>
        <p:sp>
          <p:nvSpPr>
            <p:cNvPr id="119" name="Freeform 4"/>
            <p:cNvSpPr>
              <a:spLocks noEditPoints="1"/>
            </p:cNvSpPr>
            <p:nvPr/>
          </p:nvSpPr>
          <p:spPr bwMode="auto">
            <a:xfrm>
              <a:off x="6271571" y="2836430"/>
              <a:ext cx="956836" cy="991239"/>
            </a:xfrm>
            <a:custGeom>
              <a:avLst/>
              <a:gdLst>
                <a:gd name="T0" fmla="*/ 155 w 491"/>
                <a:gd name="T1" fmla="*/ 507 h 509"/>
                <a:gd name="T2" fmla="*/ 167 w 491"/>
                <a:gd name="T3" fmla="*/ 490 h 509"/>
                <a:gd name="T4" fmla="*/ 186 w 491"/>
                <a:gd name="T5" fmla="*/ 474 h 509"/>
                <a:gd name="T6" fmla="*/ 199 w 491"/>
                <a:gd name="T7" fmla="*/ 453 h 509"/>
                <a:gd name="T8" fmla="*/ 220 w 491"/>
                <a:gd name="T9" fmla="*/ 445 h 509"/>
                <a:gd name="T10" fmla="*/ 244 w 491"/>
                <a:gd name="T11" fmla="*/ 442 h 509"/>
                <a:gd name="T12" fmla="*/ 270 w 491"/>
                <a:gd name="T13" fmla="*/ 436 h 509"/>
                <a:gd name="T14" fmla="*/ 297 w 491"/>
                <a:gd name="T15" fmla="*/ 424 h 509"/>
                <a:gd name="T16" fmla="*/ 318 w 491"/>
                <a:gd name="T17" fmla="*/ 426 h 509"/>
                <a:gd name="T18" fmla="*/ 343 w 491"/>
                <a:gd name="T19" fmla="*/ 428 h 509"/>
                <a:gd name="T20" fmla="*/ 370 w 491"/>
                <a:gd name="T21" fmla="*/ 424 h 509"/>
                <a:gd name="T22" fmla="*/ 376 w 491"/>
                <a:gd name="T23" fmla="*/ 392 h 509"/>
                <a:gd name="T24" fmla="*/ 386 w 491"/>
                <a:gd name="T25" fmla="*/ 359 h 509"/>
                <a:gd name="T26" fmla="*/ 397 w 491"/>
                <a:gd name="T27" fmla="*/ 332 h 509"/>
                <a:gd name="T28" fmla="*/ 399 w 491"/>
                <a:gd name="T29" fmla="*/ 300 h 509"/>
                <a:gd name="T30" fmla="*/ 403 w 491"/>
                <a:gd name="T31" fmla="*/ 250 h 509"/>
                <a:gd name="T32" fmla="*/ 418 w 491"/>
                <a:gd name="T33" fmla="*/ 209 h 509"/>
                <a:gd name="T34" fmla="*/ 453 w 491"/>
                <a:gd name="T35" fmla="*/ 183 h 509"/>
                <a:gd name="T36" fmla="*/ 483 w 491"/>
                <a:gd name="T37" fmla="*/ 183 h 509"/>
                <a:gd name="T38" fmla="*/ 491 w 491"/>
                <a:gd name="T39" fmla="*/ 158 h 509"/>
                <a:gd name="T40" fmla="*/ 483 w 491"/>
                <a:gd name="T41" fmla="*/ 119 h 509"/>
                <a:gd name="T42" fmla="*/ 485 w 491"/>
                <a:gd name="T43" fmla="*/ 81 h 509"/>
                <a:gd name="T44" fmla="*/ 474 w 491"/>
                <a:gd name="T45" fmla="*/ 52 h 509"/>
                <a:gd name="T46" fmla="*/ 470 w 491"/>
                <a:gd name="T47" fmla="*/ 23 h 509"/>
                <a:gd name="T48" fmla="*/ 447 w 491"/>
                <a:gd name="T49" fmla="*/ 21 h 509"/>
                <a:gd name="T50" fmla="*/ 424 w 491"/>
                <a:gd name="T51" fmla="*/ 43 h 509"/>
                <a:gd name="T52" fmla="*/ 389 w 491"/>
                <a:gd name="T53" fmla="*/ 43 h 509"/>
                <a:gd name="T54" fmla="*/ 387 w 491"/>
                <a:gd name="T55" fmla="*/ 68 h 509"/>
                <a:gd name="T56" fmla="*/ 357 w 491"/>
                <a:gd name="T57" fmla="*/ 64 h 509"/>
                <a:gd name="T58" fmla="*/ 339 w 491"/>
                <a:gd name="T59" fmla="*/ 64 h 509"/>
                <a:gd name="T60" fmla="*/ 320 w 491"/>
                <a:gd name="T61" fmla="*/ 41 h 509"/>
                <a:gd name="T62" fmla="*/ 286 w 491"/>
                <a:gd name="T63" fmla="*/ 33 h 509"/>
                <a:gd name="T64" fmla="*/ 259 w 491"/>
                <a:gd name="T65" fmla="*/ 58 h 509"/>
                <a:gd name="T66" fmla="*/ 226 w 491"/>
                <a:gd name="T67" fmla="*/ 46 h 509"/>
                <a:gd name="T68" fmla="*/ 207 w 491"/>
                <a:gd name="T69" fmla="*/ 23 h 509"/>
                <a:gd name="T70" fmla="*/ 196 w 491"/>
                <a:gd name="T71" fmla="*/ 0 h 509"/>
                <a:gd name="T72" fmla="*/ 173 w 491"/>
                <a:gd name="T73" fmla="*/ 18 h 509"/>
                <a:gd name="T74" fmla="*/ 186 w 491"/>
                <a:gd name="T75" fmla="*/ 31 h 509"/>
                <a:gd name="T76" fmla="*/ 171 w 491"/>
                <a:gd name="T77" fmla="*/ 73 h 509"/>
                <a:gd name="T78" fmla="*/ 159 w 491"/>
                <a:gd name="T79" fmla="*/ 123 h 509"/>
                <a:gd name="T80" fmla="*/ 138 w 491"/>
                <a:gd name="T81" fmla="*/ 175 h 509"/>
                <a:gd name="T82" fmla="*/ 111 w 491"/>
                <a:gd name="T83" fmla="*/ 202 h 509"/>
                <a:gd name="T84" fmla="*/ 90 w 491"/>
                <a:gd name="T85" fmla="*/ 240 h 509"/>
                <a:gd name="T86" fmla="*/ 57 w 491"/>
                <a:gd name="T87" fmla="*/ 259 h 509"/>
                <a:gd name="T88" fmla="*/ 38 w 491"/>
                <a:gd name="T89" fmla="*/ 296 h 509"/>
                <a:gd name="T90" fmla="*/ 6 w 491"/>
                <a:gd name="T91" fmla="*/ 313 h 509"/>
                <a:gd name="T92" fmla="*/ 4 w 491"/>
                <a:gd name="T93" fmla="*/ 357 h 509"/>
                <a:gd name="T94" fmla="*/ 17 w 491"/>
                <a:gd name="T95" fmla="*/ 417 h 509"/>
                <a:gd name="T96" fmla="*/ 32 w 491"/>
                <a:gd name="T97" fmla="*/ 440 h 509"/>
                <a:gd name="T98" fmla="*/ 55 w 491"/>
                <a:gd name="T99" fmla="*/ 457 h 509"/>
                <a:gd name="T100" fmla="*/ 77 w 491"/>
                <a:gd name="T101" fmla="*/ 467 h 509"/>
                <a:gd name="T102" fmla="*/ 102 w 491"/>
                <a:gd name="T103" fmla="*/ 474 h 509"/>
                <a:gd name="T104" fmla="*/ 117 w 491"/>
                <a:gd name="T105" fmla="*/ 480 h 509"/>
                <a:gd name="T106" fmla="*/ 134 w 491"/>
                <a:gd name="T107" fmla="*/ 486 h 509"/>
                <a:gd name="T108" fmla="*/ 148 w 491"/>
                <a:gd name="T109" fmla="*/ 501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91" h="509">
                  <a:moveTo>
                    <a:pt x="151" y="507"/>
                  </a:moveTo>
                  <a:lnTo>
                    <a:pt x="151" y="509"/>
                  </a:lnTo>
                  <a:lnTo>
                    <a:pt x="151" y="507"/>
                  </a:lnTo>
                  <a:close/>
                  <a:moveTo>
                    <a:pt x="151" y="507"/>
                  </a:moveTo>
                  <a:lnTo>
                    <a:pt x="155" y="507"/>
                  </a:lnTo>
                  <a:lnTo>
                    <a:pt x="159" y="505"/>
                  </a:lnTo>
                  <a:lnTo>
                    <a:pt x="161" y="501"/>
                  </a:lnTo>
                  <a:lnTo>
                    <a:pt x="161" y="497"/>
                  </a:lnTo>
                  <a:lnTo>
                    <a:pt x="163" y="493"/>
                  </a:lnTo>
                  <a:lnTo>
                    <a:pt x="167" y="490"/>
                  </a:lnTo>
                  <a:lnTo>
                    <a:pt x="171" y="486"/>
                  </a:lnTo>
                  <a:lnTo>
                    <a:pt x="176" y="486"/>
                  </a:lnTo>
                  <a:lnTo>
                    <a:pt x="178" y="480"/>
                  </a:lnTo>
                  <a:lnTo>
                    <a:pt x="184" y="480"/>
                  </a:lnTo>
                  <a:lnTo>
                    <a:pt x="186" y="474"/>
                  </a:lnTo>
                  <a:lnTo>
                    <a:pt x="186" y="468"/>
                  </a:lnTo>
                  <a:lnTo>
                    <a:pt x="188" y="465"/>
                  </a:lnTo>
                  <a:lnTo>
                    <a:pt x="192" y="461"/>
                  </a:lnTo>
                  <a:lnTo>
                    <a:pt x="194" y="457"/>
                  </a:lnTo>
                  <a:lnTo>
                    <a:pt x="199" y="453"/>
                  </a:lnTo>
                  <a:lnTo>
                    <a:pt x="203" y="449"/>
                  </a:lnTo>
                  <a:lnTo>
                    <a:pt x="205" y="447"/>
                  </a:lnTo>
                  <a:lnTo>
                    <a:pt x="211" y="445"/>
                  </a:lnTo>
                  <a:lnTo>
                    <a:pt x="217" y="445"/>
                  </a:lnTo>
                  <a:lnTo>
                    <a:pt x="220" y="445"/>
                  </a:lnTo>
                  <a:lnTo>
                    <a:pt x="224" y="447"/>
                  </a:lnTo>
                  <a:lnTo>
                    <a:pt x="226" y="445"/>
                  </a:lnTo>
                  <a:lnTo>
                    <a:pt x="230" y="442"/>
                  </a:lnTo>
                  <a:lnTo>
                    <a:pt x="238" y="442"/>
                  </a:lnTo>
                  <a:lnTo>
                    <a:pt x="244" y="442"/>
                  </a:lnTo>
                  <a:lnTo>
                    <a:pt x="249" y="445"/>
                  </a:lnTo>
                  <a:lnTo>
                    <a:pt x="253" y="445"/>
                  </a:lnTo>
                  <a:lnTo>
                    <a:pt x="259" y="442"/>
                  </a:lnTo>
                  <a:lnTo>
                    <a:pt x="265" y="440"/>
                  </a:lnTo>
                  <a:lnTo>
                    <a:pt x="270" y="436"/>
                  </a:lnTo>
                  <a:lnTo>
                    <a:pt x="274" y="432"/>
                  </a:lnTo>
                  <a:lnTo>
                    <a:pt x="280" y="428"/>
                  </a:lnTo>
                  <a:lnTo>
                    <a:pt x="284" y="424"/>
                  </a:lnTo>
                  <a:lnTo>
                    <a:pt x="290" y="426"/>
                  </a:lnTo>
                  <a:lnTo>
                    <a:pt x="297" y="424"/>
                  </a:lnTo>
                  <a:lnTo>
                    <a:pt x="301" y="422"/>
                  </a:lnTo>
                  <a:lnTo>
                    <a:pt x="305" y="422"/>
                  </a:lnTo>
                  <a:lnTo>
                    <a:pt x="309" y="424"/>
                  </a:lnTo>
                  <a:lnTo>
                    <a:pt x="313" y="426"/>
                  </a:lnTo>
                  <a:lnTo>
                    <a:pt x="318" y="426"/>
                  </a:lnTo>
                  <a:lnTo>
                    <a:pt x="324" y="422"/>
                  </a:lnTo>
                  <a:lnTo>
                    <a:pt x="328" y="422"/>
                  </a:lnTo>
                  <a:lnTo>
                    <a:pt x="334" y="424"/>
                  </a:lnTo>
                  <a:lnTo>
                    <a:pt x="338" y="426"/>
                  </a:lnTo>
                  <a:lnTo>
                    <a:pt x="343" y="428"/>
                  </a:lnTo>
                  <a:lnTo>
                    <a:pt x="347" y="430"/>
                  </a:lnTo>
                  <a:lnTo>
                    <a:pt x="353" y="430"/>
                  </a:lnTo>
                  <a:lnTo>
                    <a:pt x="359" y="428"/>
                  </a:lnTo>
                  <a:lnTo>
                    <a:pt x="364" y="426"/>
                  </a:lnTo>
                  <a:lnTo>
                    <a:pt x="370" y="424"/>
                  </a:lnTo>
                  <a:lnTo>
                    <a:pt x="374" y="421"/>
                  </a:lnTo>
                  <a:lnTo>
                    <a:pt x="376" y="413"/>
                  </a:lnTo>
                  <a:lnTo>
                    <a:pt x="376" y="403"/>
                  </a:lnTo>
                  <a:lnTo>
                    <a:pt x="378" y="397"/>
                  </a:lnTo>
                  <a:lnTo>
                    <a:pt x="376" y="392"/>
                  </a:lnTo>
                  <a:lnTo>
                    <a:pt x="380" y="386"/>
                  </a:lnTo>
                  <a:lnTo>
                    <a:pt x="380" y="378"/>
                  </a:lnTo>
                  <a:lnTo>
                    <a:pt x="376" y="371"/>
                  </a:lnTo>
                  <a:lnTo>
                    <a:pt x="382" y="363"/>
                  </a:lnTo>
                  <a:lnTo>
                    <a:pt x="386" y="359"/>
                  </a:lnTo>
                  <a:lnTo>
                    <a:pt x="393" y="353"/>
                  </a:lnTo>
                  <a:lnTo>
                    <a:pt x="399" y="350"/>
                  </a:lnTo>
                  <a:lnTo>
                    <a:pt x="401" y="344"/>
                  </a:lnTo>
                  <a:lnTo>
                    <a:pt x="395" y="340"/>
                  </a:lnTo>
                  <a:lnTo>
                    <a:pt x="397" y="332"/>
                  </a:lnTo>
                  <a:lnTo>
                    <a:pt x="403" y="330"/>
                  </a:lnTo>
                  <a:lnTo>
                    <a:pt x="405" y="325"/>
                  </a:lnTo>
                  <a:lnTo>
                    <a:pt x="407" y="317"/>
                  </a:lnTo>
                  <a:lnTo>
                    <a:pt x="403" y="307"/>
                  </a:lnTo>
                  <a:lnTo>
                    <a:pt x="399" y="300"/>
                  </a:lnTo>
                  <a:lnTo>
                    <a:pt x="399" y="286"/>
                  </a:lnTo>
                  <a:lnTo>
                    <a:pt x="397" y="279"/>
                  </a:lnTo>
                  <a:lnTo>
                    <a:pt x="397" y="267"/>
                  </a:lnTo>
                  <a:lnTo>
                    <a:pt x="399" y="257"/>
                  </a:lnTo>
                  <a:lnTo>
                    <a:pt x="403" y="250"/>
                  </a:lnTo>
                  <a:lnTo>
                    <a:pt x="407" y="240"/>
                  </a:lnTo>
                  <a:lnTo>
                    <a:pt x="407" y="229"/>
                  </a:lnTo>
                  <a:lnTo>
                    <a:pt x="409" y="221"/>
                  </a:lnTo>
                  <a:lnTo>
                    <a:pt x="412" y="215"/>
                  </a:lnTo>
                  <a:lnTo>
                    <a:pt x="418" y="209"/>
                  </a:lnTo>
                  <a:lnTo>
                    <a:pt x="430" y="208"/>
                  </a:lnTo>
                  <a:lnTo>
                    <a:pt x="439" y="206"/>
                  </a:lnTo>
                  <a:lnTo>
                    <a:pt x="443" y="202"/>
                  </a:lnTo>
                  <a:lnTo>
                    <a:pt x="445" y="192"/>
                  </a:lnTo>
                  <a:lnTo>
                    <a:pt x="453" y="183"/>
                  </a:lnTo>
                  <a:lnTo>
                    <a:pt x="457" y="179"/>
                  </a:lnTo>
                  <a:lnTo>
                    <a:pt x="464" y="177"/>
                  </a:lnTo>
                  <a:lnTo>
                    <a:pt x="468" y="175"/>
                  </a:lnTo>
                  <a:lnTo>
                    <a:pt x="478" y="175"/>
                  </a:lnTo>
                  <a:lnTo>
                    <a:pt x="483" y="183"/>
                  </a:lnTo>
                  <a:lnTo>
                    <a:pt x="487" y="190"/>
                  </a:lnTo>
                  <a:lnTo>
                    <a:pt x="489" y="185"/>
                  </a:lnTo>
                  <a:lnTo>
                    <a:pt x="489" y="175"/>
                  </a:lnTo>
                  <a:lnTo>
                    <a:pt x="489" y="165"/>
                  </a:lnTo>
                  <a:lnTo>
                    <a:pt x="491" y="158"/>
                  </a:lnTo>
                  <a:lnTo>
                    <a:pt x="489" y="150"/>
                  </a:lnTo>
                  <a:lnTo>
                    <a:pt x="491" y="142"/>
                  </a:lnTo>
                  <a:lnTo>
                    <a:pt x="487" y="135"/>
                  </a:lnTo>
                  <a:lnTo>
                    <a:pt x="483" y="125"/>
                  </a:lnTo>
                  <a:lnTo>
                    <a:pt x="483" y="119"/>
                  </a:lnTo>
                  <a:lnTo>
                    <a:pt x="481" y="108"/>
                  </a:lnTo>
                  <a:lnTo>
                    <a:pt x="478" y="102"/>
                  </a:lnTo>
                  <a:lnTo>
                    <a:pt x="478" y="94"/>
                  </a:lnTo>
                  <a:lnTo>
                    <a:pt x="480" y="85"/>
                  </a:lnTo>
                  <a:lnTo>
                    <a:pt x="485" y="81"/>
                  </a:lnTo>
                  <a:lnTo>
                    <a:pt x="483" y="73"/>
                  </a:lnTo>
                  <a:lnTo>
                    <a:pt x="481" y="68"/>
                  </a:lnTo>
                  <a:lnTo>
                    <a:pt x="476" y="62"/>
                  </a:lnTo>
                  <a:lnTo>
                    <a:pt x="476" y="56"/>
                  </a:lnTo>
                  <a:lnTo>
                    <a:pt x="474" y="52"/>
                  </a:lnTo>
                  <a:lnTo>
                    <a:pt x="474" y="44"/>
                  </a:lnTo>
                  <a:lnTo>
                    <a:pt x="478" y="39"/>
                  </a:lnTo>
                  <a:lnTo>
                    <a:pt x="478" y="31"/>
                  </a:lnTo>
                  <a:lnTo>
                    <a:pt x="474" y="27"/>
                  </a:lnTo>
                  <a:lnTo>
                    <a:pt x="470" y="23"/>
                  </a:lnTo>
                  <a:lnTo>
                    <a:pt x="466" y="25"/>
                  </a:lnTo>
                  <a:lnTo>
                    <a:pt x="462" y="27"/>
                  </a:lnTo>
                  <a:lnTo>
                    <a:pt x="458" y="23"/>
                  </a:lnTo>
                  <a:lnTo>
                    <a:pt x="453" y="20"/>
                  </a:lnTo>
                  <a:lnTo>
                    <a:pt x="447" y="21"/>
                  </a:lnTo>
                  <a:lnTo>
                    <a:pt x="445" y="27"/>
                  </a:lnTo>
                  <a:lnTo>
                    <a:pt x="443" y="35"/>
                  </a:lnTo>
                  <a:lnTo>
                    <a:pt x="437" y="39"/>
                  </a:lnTo>
                  <a:lnTo>
                    <a:pt x="432" y="41"/>
                  </a:lnTo>
                  <a:lnTo>
                    <a:pt x="424" y="43"/>
                  </a:lnTo>
                  <a:lnTo>
                    <a:pt x="422" y="48"/>
                  </a:lnTo>
                  <a:lnTo>
                    <a:pt x="414" y="50"/>
                  </a:lnTo>
                  <a:lnTo>
                    <a:pt x="407" y="46"/>
                  </a:lnTo>
                  <a:lnTo>
                    <a:pt x="395" y="44"/>
                  </a:lnTo>
                  <a:lnTo>
                    <a:pt x="389" y="43"/>
                  </a:lnTo>
                  <a:lnTo>
                    <a:pt x="386" y="44"/>
                  </a:lnTo>
                  <a:lnTo>
                    <a:pt x="382" y="50"/>
                  </a:lnTo>
                  <a:lnTo>
                    <a:pt x="386" y="56"/>
                  </a:lnTo>
                  <a:lnTo>
                    <a:pt x="387" y="62"/>
                  </a:lnTo>
                  <a:lnTo>
                    <a:pt x="387" y="68"/>
                  </a:lnTo>
                  <a:lnTo>
                    <a:pt x="384" y="71"/>
                  </a:lnTo>
                  <a:lnTo>
                    <a:pt x="374" y="69"/>
                  </a:lnTo>
                  <a:lnTo>
                    <a:pt x="370" y="66"/>
                  </a:lnTo>
                  <a:lnTo>
                    <a:pt x="366" y="66"/>
                  </a:lnTo>
                  <a:lnTo>
                    <a:pt x="357" y="64"/>
                  </a:lnTo>
                  <a:lnTo>
                    <a:pt x="355" y="60"/>
                  </a:lnTo>
                  <a:lnTo>
                    <a:pt x="351" y="56"/>
                  </a:lnTo>
                  <a:lnTo>
                    <a:pt x="345" y="58"/>
                  </a:lnTo>
                  <a:lnTo>
                    <a:pt x="341" y="62"/>
                  </a:lnTo>
                  <a:lnTo>
                    <a:pt x="339" y="64"/>
                  </a:lnTo>
                  <a:lnTo>
                    <a:pt x="334" y="64"/>
                  </a:lnTo>
                  <a:lnTo>
                    <a:pt x="328" y="58"/>
                  </a:lnTo>
                  <a:lnTo>
                    <a:pt x="326" y="54"/>
                  </a:lnTo>
                  <a:lnTo>
                    <a:pt x="320" y="48"/>
                  </a:lnTo>
                  <a:lnTo>
                    <a:pt x="320" y="41"/>
                  </a:lnTo>
                  <a:lnTo>
                    <a:pt x="316" y="35"/>
                  </a:lnTo>
                  <a:lnTo>
                    <a:pt x="305" y="33"/>
                  </a:lnTo>
                  <a:lnTo>
                    <a:pt x="299" y="35"/>
                  </a:lnTo>
                  <a:lnTo>
                    <a:pt x="293" y="31"/>
                  </a:lnTo>
                  <a:lnTo>
                    <a:pt x="286" y="33"/>
                  </a:lnTo>
                  <a:lnTo>
                    <a:pt x="280" y="43"/>
                  </a:lnTo>
                  <a:lnTo>
                    <a:pt x="276" y="48"/>
                  </a:lnTo>
                  <a:lnTo>
                    <a:pt x="272" y="56"/>
                  </a:lnTo>
                  <a:lnTo>
                    <a:pt x="267" y="58"/>
                  </a:lnTo>
                  <a:lnTo>
                    <a:pt x="259" y="58"/>
                  </a:lnTo>
                  <a:lnTo>
                    <a:pt x="255" y="58"/>
                  </a:lnTo>
                  <a:lnTo>
                    <a:pt x="245" y="54"/>
                  </a:lnTo>
                  <a:lnTo>
                    <a:pt x="240" y="44"/>
                  </a:lnTo>
                  <a:lnTo>
                    <a:pt x="230" y="43"/>
                  </a:lnTo>
                  <a:lnTo>
                    <a:pt x="226" y="46"/>
                  </a:lnTo>
                  <a:lnTo>
                    <a:pt x="215" y="48"/>
                  </a:lnTo>
                  <a:lnTo>
                    <a:pt x="209" y="43"/>
                  </a:lnTo>
                  <a:lnTo>
                    <a:pt x="207" y="35"/>
                  </a:lnTo>
                  <a:lnTo>
                    <a:pt x="209" y="31"/>
                  </a:lnTo>
                  <a:lnTo>
                    <a:pt x="207" y="23"/>
                  </a:lnTo>
                  <a:lnTo>
                    <a:pt x="203" y="20"/>
                  </a:lnTo>
                  <a:lnTo>
                    <a:pt x="203" y="12"/>
                  </a:lnTo>
                  <a:lnTo>
                    <a:pt x="207" y="6"/>
                  </a:lnTo>
                  <a:lnTo>
                    <a:pt x="203" y="2"/>
                  </a:lnTo>
                  <a:lnTo>
                    <a:pt x="196" y="0"/>
                  </a:lnTo>
                  <a:lnTo>
                    <a:pt x="190" y="4"/>
                  </a:lnTo>
                  <a:lnTo>
                    <a:pt x="188" y="10"/>
                  </a:lnTo>
                  <a:lnTo>
                    <a:pt x="186" y="16"/>
                  </a:lnTo>
                  <a:lnTo>
                    <a:pt x="180" y="18"/>
                  </a:lnTo>
                  <a:lnTo>
                    <a:pt x="173" y="18"/>
                  </a:lnTo>
                  <a:lnTo>
                    <a:pt x="173" y="23"/>
                  </a:lnTo>
                  <a:lnTo>
                    <a:pt x="174" y="29"/>
                  </a:lnTo>
                  <a:lnTo>
                    <a:pt x="180" y="31"/>
                  </a:lnTo>
                  <a:lnTo>
                    <a:pt x="184" y="29"/>
                  </a:lnTo>
                  <a:lnTo>
                    <a:pt x="186" y="31"/>
                  </a:lnTo>
                  <a:lnTo>
                    <a:pt x="182" y="41"/>
                  </a:lnTo>
                  <a:lnTo>
                    <a:pt x="180" y="48"/>
                  </a:lnTo>
                  <a:lnTo>
                    <a:pt x="180" y="54"/>
                  </a:lnTo>
                  <a:lnTo>
                    <a:pt x="174" y="64"/>
                  </a:lnTo>
                  <a:lnTo>
                    <a:pt x="171" y="73"/>
                  </a:lnTo>
                  <a:lnTo>
                    <a:pt x="165" y="79"/>
                  </a:lnTo>
                  <a:lnTo>
                    <a:pt x="159" y="87"/>
                  </a:lnTo>
                  <a:lnTo>
                    <a:pt x="159" y="98"/>
                  </a:lnTo>
                  <a:lnTo>
                    <a:pt x="159" y="110"/>
                  </a:lnTo>
                  <a:lnTo>
                    <a:pt x="159" y="123"/>
                  </a:lnTo>
                  <a:lnTo>
                    <a:pt x="151" y="133"/>
                  </a:lnTo>
                  <a:lnTo>
                    <a:pt x="149" y="146"/>
                  </a:lnTo>
                  <a:lnTo>
                    <a:pt x="146" y="158"/>
                  </a:lnTo>
                  <a:lnTo>
                    <a:pt x="144" y="169"/>
                  </a:lnTo>
                  <a:lnTo>
                    <a:pt x="138" y="175"/>
                  </a:lnTo>
                  <a:lnTo>
                    <a:pt x="128" y="181"/>
                  </a:lnTo>
                  <a:lnTo>
                    <a:pt x="121" y="183"/>
                  </a:lnTo>
                  <a:lnTo>
                    <a:pt x="117" y="186"/>
                  </a:lnTo>
                  <a:lnTo>
                    <a:pt x="113" y="192"/>
                  </a:lnTo>
                  <a:lnTo>
                    <a:pt x="111" y="202"/>
                  </a:lnTo>
                  <a:lnTo>
                    <a:pt x="105" y="211"/>
                  </a:lnTo>
                  <a:lnTo>
                    <a:pt x="103" y="217"/>
                  </a:lnTo>
                  <a:lnTo>
                    <a:pt x="98" y="227"/>
                  </a:lnTo>
                  <a:lnTo>
                    <a:pt x="92" y="233"/>
                  </a:lnTo>
                  <a:lnTo>
                    <a:pt x="90" y="240"/>
                  </a:lnTo>
                  <a:lnTo>
                    <a:pt x="82" y="244"/>
                  </a:lnTo>
                  <a:lnTo>
                    <a:pt x="67" y="246"/>
                  </a:lnTo>
                  <a:lnTo>
                    <a:pt x="61" y="246"/>
                  </a:lnTo>
                  <a:lnTo>
                    <a:pt x="61" y="256"/>
                  </a:lnTo>
                  <a:lnTo>
                    <a:pt x="57" y="259"/>
                  </a:lnTo>
                  <a:lnTo>
                    <a:pt x="52" y="267"/>
                  </a:lnTo>
                  <a:lnTo>
                    <a:pt x="50" y="275"/>
                  </a:lnTo>
                  <a:lnTo>
                    <a:pt x="46" y="284"/>
                  </a:lnTo>
                  <a:lnTo>
                    <a:pt x="42" y="292"/>
                  </a:lnTo>
                  <a:lnTo>
                    <a:pt x="38" y="296"/>
                  </a:lnTo>
                  <a:lnTo>
                    <a:pt x="32" y="302"/>
                  </a:lnTo>
                  <a:lnTo>
                    <a:pt x="27" y="309"/>
                  </a:lnTo>
                  <a:lnTo>
                    <a:pt x="21" y="313"/>
                  </a:lnTo>
                  <a:lnTo>
                    <a:pt x="13" y="313"/>
                  </a:lnTo>
                  <a:lnTo>
                    <a:pt x="6" y="313"/>
                  </a:lnTo>
                  <a:lnTo>
                    <a:pt x="6" y="321"/>
                  </a:lnTo>
                  <a:lnTo>
                    <a:pt x="6" y="334"/>
                  </a:lnTo>
                  <a:lnTo>
                    <a:pt x="4" y="344"/>
                  </a:lnTo>
                  <a:lnTo>
                    <a:pt x="0" y="350"/>
                  </a:lnTo>
                  <a:lnTo>
                    <a:pt x="4" y="357"/>
                  </a:lnTo>
                  <a:lnTo>
                    <a:pt x="4" y="373"/>
                  </a:lnTo>
                  <a:lnTo>
                    <a:pt x="7" y="378"/>
                  </a:lnTo>
                  <a:lnTo>
                    <a:pt x="11" y="396"/>
                  </a:lnTo>
                  <a:lnTo>
                    <a:pt x="13" y="407"/>
                  </a:lnTo>
                  <a:lnTo>
                    <a:pt x="17" y="417"/>
                  </a:lnTo>
                  <a:lnTo>
                    <a:pt x="21" y="426"/>
                  </a:lnTo>
                  <a:lnTo>
                    <a:pt x="25" y="430"/>
                  </a:lnTo>
                  <a:lnTo>
                    <a:pt x="27" y="434"/>
                  </a:lnTo>
                  <a:lnTo>
                    <a:pt x="29" y="436"/>
                  </a:lnTo>
                  <a:lnTo>
                    <a:pt x="32" y="440"/>
                  </a:lnTo>
                  <a:lnTo>
                    <a:pt x="36" y="445"/>
                  </a:lnTo>
                  <a:lnTo>
                    <a:pt x="42" y="447"/>
                  </a:lnTo>
                  <a:lnTo>
                    <a:pt x="46" y="451"/>
                  </a:lnTo>
                  <a:lnTo>
                    <a:pt x="50" y="455"/>
                  </a:lnTo>
                  <a:lnTo>
                    <a:pt x="55" y="457"/>
                  </a:lnTo>
                  <a:lnTo>
                    <a:pt x="59" y="457"/>
                  </a:lnTo>
                  <a:lnTo>
                    <a:pt x="63" y="461"/>
                  </a:lnTo>
                  <a:lnTo>
                    <a:pt x="69" y="465"/>
                  </a:lnTo>
                  <a:lnTo>
                    <a:pt x="73" y="467"/>
                  </a:lnTo>
                  <a:lnTo>
                    <a:pt x="77" y="467"/>
                  </a:lnTo>
                  <a:lnTo>
                    <a:pt x="80" y="470"/>
                  </a:lnTo>
                  <a:lnTo>
                    <a:pt x="86" y="474"/>
                  </a:lnTo>
                  <a:lnTo>
                    <a:pt x="90" y="474"/>
                  </a:lnTo>
                  <a:lnTo>
                    <a:pt x="94" y="474"/>
                  </a:lnTo>
                  <a:lnTo>
                    <a:pt x="102" y="474"/>
                  </a:lnTo>
                  <a:lnTo>
                    <a:pt x="107" y="474"/>
                  </a:lnTo>
                  <a:lnTo>
                    <a:pt x="111" y="474"/>
                  </a:lnTo>
                  <a:lnTo>
                    <a:pt x="113" y="474"/>
                  </a:lnTo>
                  <a:lnTo>
                    <a:pt x="115" y="478"/>
                  </a:lnTo>
                  <a:lnTo>
                    <a:pt x="117" y="480"/>
                  </a:lnTo>
                  <a:lnTo>
                    <a:pt x="119" y="484"/>
                  </a:lnTo>
                  <a:lnTo>
                    <a:pt x="123" y="486"/>
                  </a:lnTo>
                  <a:lnTo>
                    <a:pt x="126" y="486"/>
                  </a:lnTo>
                  <a:lnTo>
                    <a:pt x="130" y="486"/>
                  </a:lnTo>
                  <a:lnTo>
                    <a:pt x="134" y="486"/>
                  </a:lnTo>
                  <a:lnTo>
                    <a:pt x="138" y="488"/>
                  </a:lnTo>
                  <a:lnTo>
                    <a:pt x="140" y="490"/>
                  </a:lnTo>
                  <a:lnTo>
                    <a:pt x="144" y="493"/>
                  </a:lnTo>
                  <a:lnTo>
                    <a:pt x="146" y="497"/>
                  </a:lnTo>
                  <a:lnTo>
                    <a:pt x="148" y="501"/>
                  </a:lnTo>
                  <a:lnTo>
                    <a:pt x="151" y="50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/>
            </a:p>
          </p:txBody>
        </p:sp>
        <p:sp>
          <p:nvSpPr>
            <p:cNvPr id="120" name="Freeform 5"/>
            <p:cNvSpPr>
              <a:spLocks/>
            </p:cNvSpPr>
            <p:nvPr/>
          </p:nvSpPr>
          <p:spPr bwMode="auto">
            <a:xfrm>
              <a:off x="5144870" y="2075262"/>
              <a:ext cx="1513735" cy="1584691"/>
            </a:xfrm>
            <a:custGeom>
              <a:avLst/>
              <a:gdLst>
                <a:gd name="T0" fmla="*/ 578 w 775"/>
                <a:gd name="T1" fmla="*/ 804 h 815"/>
                <a:gd name="T2" fmla="*/ 557 w 775"/>
                <a:gd name="T3" fmla="*/ 777 h 815"/>
                <a:gd name="T4" fmla="*/ 530 w 775"/>
                <a:gd name="T5" fmla="*/ 760 h 815"/>
                <a:gd name="T6" fmla="*/ 509 w 775"/>
                <a:gd name="T7" fmla="*/ 754 h 815"/>
                <a:gd name="T8" fmla="*/ 482 w 775"/>
                <a:gd name="T9" fmla="*/ 760 h 815"/>
                <a:gd name="T10" fmla="*/ 455 w 775"/>
                <a:gd name="T11" fmla="*/ 758 h 815"/>
                <a:gd name="T12" fmla="*/ 424 w 775"/>
                <a:gd name="T13" fmla="*/ 754 h 815"/>
                <a:gd name="T14" fmla="*/ 390 w 775"/>
                <a:gd name="T15" fmla="*/ 742 h 815"/>
                <a:gd name="T16" fmla="*/ 361 w 775"/>
                <a:gd name="T17" fmla="*/ 740 h 815"/>
                <a:gd name="T18" fmla="*/ 336 w 775"/>
                <a:gd name="T19" fmla="*/ 754 h 815"/>
                <a:gd name="T20" fmla="*/ 315 w 775"/>
                <a:gd name="T21" fmla="*/ 769 h 815"/>
                <a:gd name="T22" fmla="*/ 280 w 775"/>
                <a:gd name="T23" fmla="*/ 773 h 815"/>
                <a:gd name="T24" fmla="*/ 259 w 775"/>
                <a:gd name="T25" fmla="*/ 777 h 815"/>
                <a:gd name="T26" fmla="*/ 238 w 775"/>
                <a:gd name="T27" fmla="*/ 754 h 815"/>
                <a:gd name="T28" fmla="*/ 221 w 775"/>
                <a:gd name="T29" fmla="*/ 727 h 815"/>
                <a:gd name="T30" fmla="*/ 219 w 775"/>
                <a:gd name="T31" fmla="*/ 692 h 815"/>
                <a:gd name="T32" fmla="*/ 213 w 775"/>
                <a:gd name="T33" fmla="*/ 675 h 815"/>
                <a:gd name="T34" fmla="*/ 181 w 775"/>
                <a:gd name="T35" fmla="*/ 679 h 815"/>
                <a:gd name="T36" fmla="*/ 134 w 775"/>
                <a:gd name="T37" fmla="*/ 677 h 815"/>
                <a:gd name="T38" fmla="*/ 100 w 775"/>
                <a:gd name="T39" fmla="*/ 679 h 815"/>
                <a:gd name="T40" fmla="*/ 83 w 775"/>
                <a:gd name="T41" fmla="*/ 646 h 815"/>
                <a:gd name="T42" fmla="*/ 65 w 775"/>
                <a:gd name="T43" fmla="*/ 608 h 815"/>
                <a:gd name="T44" fmla="*/ 79 w 775"/>
                <a:gd name="T45" fmla="*/ 566 h 815"/>
                <a:gd name="T46" fmla="*/ 69 w 775"/>
                <a:gd name="T47" fmla="*/ 524 h 815"/>
                <a:gd name="T48" fmla="*/ 46 w 775"/>
                <a:gd name="T49" fmla="*/ 489 h 815"/>
                <a:gd name="T50" fmla="*/ 65 w 775"/>
                <a:gd name="T51" fmla="*/ 457 h 815"/>
                <a:gd name="T52" fmla="*/ 96 w 775"/>
                <a:gd name="T53" fmla="*/ 426 h 815"/>
                <a:gd name="T54" fmla="*/ 110 w 775"/>
                <a:gd name="T55" fmla="*/ 382 h 815"/>
                <a:gd name="T56" fmla="*/ 102 w 775"/>
                <a:gd name="T57" fmla="*/ 338 h 815"/>
                <a:gd name="T58" fmla="*/ 65 w 775"/>
                <a:gd name="T59" fmla="*/ 301 h 815"/>
                <a:gd name="T60" fmla="*/ 25 w 775"/>
                <a:gd name="T61" fmla="*/ 272 h 815"/>
                <a:gd name="T62" fmla="*/ 8 w 775"/>
                <a:gd name="T63" fmla="*/ 224 h 815"/>
                <a:gd name="T64" fmla="*/ 2 w 775"/>
                <a:gd name="T65" fmla="*/ 161 h 815"/>
                <a:gd name="T66" fmla="*/ 50 w 775"/>
                <a:gd name="T67" fmla="*/ 136 h 815"/>
                <a:gd name="T68" fmla="*/ 159 w 775"/>
                <a:gd name="T69" fmla="*/ 134 h 815"/>
                <a:gd name="T70" fmla="*/ 230 w 775"/>
                <a:gd name="T71" fmla="*/ 117 h 815"/>
                <a:gd name="T72" fmla="*/ 242 w 775"/>
                <a:gd name="T73" fmla="*/ 52 h 815"/>
                <a:gd name="T74" fmla="*/ 257 w 775"/>
                <a:gd name="T75" fmla="*/ 2 h 815"/>
                <a:gd name="T76" fmla="*/ 286 w 775"/>
                <a:gd name="T77" fmla="*/ 52 h 815"/>
                <a:gd name="T78" fmla="*/ 282 w 775"/>
                <a:gd name="T79" fmla="*/ 111 h 815"/>
                <a:gd name="T80" fmla="*/ 326 w 775"/>
                <a:gd name="T81" fmla="*/ 169 h 815"/>
                <a:gd name="T82" fmla="*/ 438 w 775"/>
                <a:gd name="T83" fmla="*/ 180 h 815"/>
                <a:gd name="T84" fmla="*/ 583 w 775"/>
                <a:gd name="T85" fmla="*/ 188 h 815"/>
                <a:gd name="T86" fmla="*/ 722 w 775"/>
                <a:gd name="T87" fmla="*/ 198 h 815"/>
                <a:gd name="T88" fmla="*/ 770 w 775"/>
                <a:gd name="T89" fmla="*/ 224 h 815"/>
                <a:gd name="T90" fmla="*/ 749 w 775"/>
                <a:gd name="T91" fmla="*/ 282 h 815"/>
                <a:gd name="T92" fmla="*/ 749 w 775"/>
                <a:gd name="T93" fmla="*/ 332 h 815"/>
                <a:gd name="T94" fmla="*/ 749 w 775"/>
                <a:gd name="T95" fmla="*/ 399 h 815"/>
                <a:gd name="T96" fmla="*/ 758 w 775"/>
                <a:gd name="T97" fmla="*/ 430 h 815"/>
                <a:gd name="T98" fmla="*/ 735 w 775"/>
                <a:gd name="T99" fmla="*/ 476 h 815"/>
                <a:gd name="T100" fmla="*/ 722 w 775"/>
                <a:gd name="T101" fmla="*/ 547 h 815"/>
                <a:gd name="T102" fmla="*/ 689 w 775"/>
                <a:gd name="T103" fmla="*/ 581 h 815"/>
                <a:gd name="T104" fmla="*/ 666 w 775"/>
                <a:gd name="T105" fmla="*/ 629 h 815"/>
                <a:gd name="T106" fmla="*/ 628 w 775"/>
                <a:gd name="T107" fmla="*/ 656 h 815"/>
                <a:gd name="T108" fmla="*/ 603 w 775"/>
                <a:gd name="T109" fmla="*/ 698 h 815"/>
                <a:gd name="T110" fmla="*/ 580 w 775"/>
                <a:gd name="T111" fmla="*/ 733 h 815"/>
                <a:gd name="T112" fmla="*/ 589 w 775"/>
                <a:gd name="T113" fmla="*/ 796 h 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75" h="815">
                  <a:moveTo>
                    <a:pt x="597" y="815"/>
                  </a:moveTo>
                  <a:lnTo>
                    <a:pt x="593" y="813"/>
                  </a:lnTo>
                  <a:lnTo>
                    <a:pt x="589" y="811"/>
                  </a:lnTo>
                  <a:lnTo>
                    <a:pt x="587" y="811"/>
                  </a:lnTo>
                  <a:lnTo>
                    <a:pt x="582" y="808"/>
                  </a:lnTo>
                  <a:lnTo>
                    <a:pt x="578" y="804"/>
                  </a:lnTo>
                  <a:lnTo>
                    <a:pt x="574" y="798"/>
                  </a:lnTo>
                  <a:lnTo>
                    <a:pt x="570" y="794"/>
                  </a:lnTo>
                  <a:lnTo>
                    <a:pt x="566" y="790"/>
                  </a:lnTo>
                  <a:lnTo>
                    <a:pt x="564" y="785"/>
                  </a:lnTo>
                  <a:lnTo>
                    <a:pt x="560" y="781"/>
                  </a:lnTo>
                  <a:lnTo>
                    <a:pt x="557" y="777"/>
                  </a:lnTo>
                  <a:lnTo>
                    <a:pt x="551" y="775"/>
                  </a:lnTo>
                  <a:lnTo>
                    <a:pt x="547" y="771"/>
                  </a:lnTo>
                  <a:lnTo>
                    <a:pt x="543" y="767"/>
                  </a:lnTo>
                  <a:lnTo>
                    <a:pt x="539" y="763"/>
                  </a:lnTo>
                  <a:lnTo>
                    <a:pt x="534" y="760"/>
                  </a:lnTo>
                  <a:lnTo>
                    <a:pt x="530" y="760"/>
                  </a:lnTo>
                  <a:lnTo>
                    <a:pt x="528" y="760"/>
                  </a:lnTo>
                  <a:lnTo>
                    <a:pt x="524" y="762"/>
                  </a:lnTo>
                  <a:lnTo>
                    <a:pt x="520" y="760"/>
                  </a:lnTo>
                  <a:lnTo>
                    <a:pt x="516" y="758"/>
                  </a:lnTo>
                  <a:lnTo>
                    <a:pt x="512" y="754"/>
                  </a:lnTo>
                  <a:lnTo>
                    <a:pt x="509" y="754"/>
                  </a:lnTo>
                  <a:lnTo>
                    <a:pt x="501" y="754"/>
                  </a:lnTo>
                  <a:lnTo>
                    <a:pt x="497" y="754"/>
                  </a:lnTo>
                  <a:lnTo>
                    <a:pt x="493" y="756"/>
                  </a:lnTo>
                  <a:lnTo>
                    <a:pt x="491" y="760"/>
                  </a:lnTo>
                  <a:lnTo>
                    <a:pt x="488" y="762"/>
                  </a:lnTo>
                  <a:lnTo>
                    <a:pt x="482" y="760"/>
                  </a:lnTo>
                  <a:lnTo>
                    <a:pt x="480" y="758"/>
                  </a:lnTo>
                  <a:lnTo>
                    <a:pt x="476" y="756"/>
                  </a:lnTo>
                  <a:lnTo>
                    <a:pt x="474" y="756"/>
                  </a:lnTo>
                  <a:lnTo>
                    <a:pt x="466" y="758"/>
                  </a:lnTo>
                  <a:lnTo>
                    <a:pt x="461" y="756"/>
                  </a:lnTo>
                  <a:lnTo>
                    <a:pt x="455" y="758"/>
                  </a:lnTo>
                  <a:lnTo>
                    <a:pt x="449" y="758"/>
                  </a:lnTo>
                  <a:lnTo>
                    <a:pt x="445" y="760"/>
                  </a:lnTo>
                  <a:lnTo>
                    <a:pt x="440" y="760"/>
                  </a:lnTo>
                  <a:lnTo>
                    <a:pt x="434" y="758"/>
                  </a:lnTo>
                  <a:lnTo>
                    <a:pt x="430" y="756"/>
                  </a:lnTo>
                  <a:lnTo>
                    <a:pt x="424" y="754"/>
                  </a:lnTo>
                  <a:lnTo>
                    <a:pt x="418" y="752"/>
                  </a:lnTo>
                  <a:lnTo>
                    <a:pt x="413" y="750"/>
                  </a:lnTo>
                  <a:lnTo>
                    <a:pt x="405" y="746"/>
                  </a:lnTo>
                  <a:lnTo>
                    <a:pt x="399" y="746"/>
                  </a:lnTo>
                  <a:lnTo>
                    <a:pt x="395" y="744"/>
                  </a:lnTo>
                  <a:lnTo>
                    <a:pt x="390" y="742"/>
                  </a:lnTo>
                  <a:lnTo>
                    <a:pt x="386" y="740"/>
                  </a:lnTo>
                  <a:lnTo>
                    <a:pt x="380" y="739"/>
                  </a:lnTo>
                  <a:lnTo>
                    <a:pt x="376" y="739"/>
                  </a:lnTo>
                  <a:lnTo>
                    <a:pt x="370" y="739"/>
                  </a:lnTo>
                  <a:lnTo>
                    <a:pt x="367" y="739"/>
                  </a:lnTo>
                  <a:lnTo>
                    <a:pt x="361" y="740"/>
                  </a:lnTo>
                  <a:lnTo>
                    <a:pt x="357" y="742"/>
                  </a:lnTo>
                  <a:lnTo>
                    <a:pt x="351" y="744"/>
                  </a:lnTo>
                  <a:lnTo>
                    <a:pt x="349" y="746"/>
                  </a:lnTo>
                  <a:lnTo>
                    <a:pt x="344" y="746"/>
                  </a:lnTo>
                  <a:lnTo>
                    <a:pt x="340" y="750"/>
                  </a:lnTo>
                  <a:lnTo>
                    <a:pt x="336" y="754"/>
                  </a:lnTo>
                  <a:lnTo>
                    <a:pt x="334" y="756"/>
                  </a:lnTo>
                  <a:lnTo>
                    <a:pt x="328" y="760"/>
                  </a:lnTo>
                  <a:lnTo>
                    <a:pt x="324" y="763"/>
                  </a:lnTo>
                  <a:lnTo>
                    <a:pt x="321" y="767"/>
                  </a:lnTo>
                  <a:lnTo>
                    <a:pt x="319" y="769"/>
                  </a:lnTo>
                  <a:lnTo>
                    <a:pt x="315" y="769"/>
                  </a:lnTo>
                  <a:lnTo>
                    <a:pt x="311" y="771"/>
                  </a:lnTo>
                  <a:lnTo>
                    <a:pt x="303" y="775"/>
                  </a:lnTo>
                  <a:lnTo>
                    <a:pt x="299" y="777"/>
                  </a:lnTo>
                  <a:lnTo>
                    <a:pt x="292" y="775"/>
                  </a:lnTo>
                  <a:lnTo>
                    <a:pt x="288" y="775"/>
                  </a:lnTo>
                  <a:lnTo>
                    <a:pt x="280" y="773"/>
                  </a:lnTo>
                  <a:lnTo>
                    <a:pt x="276" y="769"/>
                  </a:lnTo>
                  <a:lnTo>
                    <a:pt x="273" y="769"/>
                  </a:lnTo>
                  <a:lnTo>
                    <a:pt x="269" y="769"/>
                  </a:lnTo>
                  <a:lnTo>
                    <a:pt x="263" y="771"/>
                  </a:lnTo>
                  <a:lnTo>
                    <a:pt x="261" y="775"/>
                  </a:lnTo>
                  <a:lnTo>
                    <a:pt x="259" y="777"/>
                  </a:lnTo>
                  <a:lnTo>
                    <a:pt x="259" y="771"/>
                  </a:lnTo>
                  <a:lnTo>
                    <a:pt x="257" y="765"/>
                  </a:lnTo>
                  <a:lnTo>
                    <a:pt x="253" y="762"/>
                  </a:lnTo>
                  <a:lnTo>
                    <a:pt x="250" y="756"/>
                  </a:lnTo>
                  <a:lnTo>
                    <a:pt x="244" y="754"/>
                  </a:lnTo>
                  <a:lnTo>
                    <a:pt x="238" y="754"/>
                  </a:lnTo>
                  <a:lnTo>
                    <a:pt x="232" y="750"/>
                  </a:lnTo>
                  <a:lnTo>
                    <a:pt x="232" y="744"/>
                  </a:lnTo>
                  <a:lnTo>
                    <a:pt x="228" y="742"/>
                  </a:lnTo>
                  <a:lnTo>
                    <a:pt x="225" y="737"/>
                  </a:lnTo>
                  <a:lnTo>
                    <a:pt x="221" y="731"/>
                  </a:lnTo>
                  <a:lnTo>
                    <a:pt x="221" y="727"/>
                  </a:lnTo>
                  <a:lnTo>
                    <a:pt x="221" y="721"/>
                  </a:lnTo>
                  <a:lnTo>
                    <a:pt x="225" y="717"/>
                  </a:lnTo>
                  <a:lnTo>
                    <a:pt x="221" y="712"/>
                  </a:lnTo>
                  <a:lnTo>
                    <a:pt x="223" y="702"/>
                  </a:lnTo>
                  <a:lnTo>
                    <a:pt x="221" y="696"/>
                  </a:lnTo>
                  <a:lnTo>
                    <a:pt x="219" y="692"/>
                  </a:lnTo>
                  <a:lnTo>
                    <a:pt x="219" y="689"/>
                  </a:lnTo>
                  <a:lnTo>
                    <a:pt x="221" y="685"/>
                  </a:lnTo>
                  <a:lnTo>
                    <a:pt x="227" y="681"/>
                  </a:lnTo>
                  <a:lnTo>
                    <a:pt x="225" y="677"/>
                  </a:lnTo>
                  <a:lnTo>
                    <a:pt x="219" y="673"/>
                  </a:lnTo>
                  <a:lnTo>
                    <a:pt x="213" y="675"/>
                  </a:lnTo>
                  <a:lnTo>
                    <a:pt x="209" y="675"/>
                  </a:lnTo>
                  <a:lnTo>
                    <a:pt x="202" y="677"/>
                  </a:lnTo>
                  <a:lnTo>
                    <a:pt x="196" y="675"/>
                  </a:lnTo>
                  <a:lnTo>
                    <a:pt x="194" y="679"/>
                  </a:lnTo>
                  <a:lnTo>
                    <a:pt x="188" y="677"/>
                  </a:lnTo>
                  <a:lnTo>
                    <a:pt x="181" y="679"/>
                  </a:lnTo>
                  <a:lnTo>
                    <a:pt x="173" y="679"/>
                  </a:lnTo>
                  <a:lnTo>
                    <a:pt x="167" y="679"/>
                  </a:lnTo>
                  <a:lnTo>
                    <a:pt x="157" y="677"/>
                  </a:lnTo>
                  <a:lnTo>
                    <a:pt x="150" y="677"/>
                  </a:lnTo>
                  <a:lnTo>
                    <a:pt x="140" y="677"/>
                  </a:lnTo>
                  <a:lnTo>
                    <a:pt x="134" y="677"/>
                  </a:lnTo>
                  <a:lnTo>
                    <a:pt x="129" y="677"/>
                  </a:lnTo>
                  <a:lnTo>
                    <a:pt x="121" y="675"/>
                  </a:lnTo>
                  <a:lnTo>
                    <a:pt x="115" y="677"/>
                  </a:lnTo>
                  <a:lnTo>
                    <a:pt x="113" y="681"/>
                  </a:lnTo>
                  <a:lnTo>
                    <a:pt x="106" y="681"/>
                  </a:lnTo>
                  <a:lnTo>
                    <a:pt x="100" y="679"/>
                  </a:lnTo>
                  <a:lnTo>
                    <a:pt x="94" y="677"/>
                  </a:lnTo>
                  <a:lnTo>
                    <a:pt x="94" y="668"/>
                  </a:lnTo>
                  <a:lnTo>
                    <a:pt x="90" y="662"/>
                  </a:lnTo>
                  <a:lnTo>
                    <a:pt x="90" y="658"/>
                  </a:lnTo>
                  <a:lnTo>
                    <a:pt x="88" y="652"/>
                  </a:lnTo>
                  <a:lnTo>
                    <a:pt x="83" y="646"/>
                  </a:lnTo>
                  <a:lnTo>
                    <a:pt x="81" y="641"/>
                  </a:lnTo>
                  <a:lnTo>
                    <a:pt x="79" y="633"/>
                  </a:lnTo>
                  <a:lnTo>
                    <a:pt x="77" y="625"/>
                  </a:lnTo>
                  <a:lnTo>
                    <a:pt x="73" y="620"/>
                  </a:lnTo>
                  <a:lnTo>
                    <a:pt x="71" y="614"/>
                  </a:lnTo>
                  <a:lnTo>
                    <a:pt x="65" y="608"/>
                  </a:lnTo>
                  <a:lnTo>
                    <a:pt x="65" y="600"/>
                  </a:lnTo>
                  <a:lnTo>
                    <a:pt x="67" y="589"/>
                  </a:lnTo>
                  <a:lnTo>
                    <a:pt x="65" y="583"/>
                  </a:lnTo>
                  <a:lnTo>
                    <a:pt x="71" y="579"/>
                  </a:lnTo>
                  <a:lnTo>
                    <a:pt x="79" y="574"/>
                  </a:lnTo>
                  <a:lnTo>
                    <a:pt x="79" y="566"/>
                  </a:lnTo>
                  <a:lnTo>
                    <a:pt x="83" y="558"/>
                  </a:lnTo>
                  <a:lnTo>
                    <a:pt x="79" y="552"/>
                  </a:lnTo>
                  <a:lnTo>
                    <a:pt x="77" y="545"/>
                  </a:lnTo>
                  <a:lnTo>
                    <a:pt x="75" y="539"/>
                  </a:lnTo>
                  <a:lnTo>
                    <a:pt x="73" y="529"/>
                  </a:lnTo>
                  <a:lnTo>
                    <a:pt x="69" y="524"/>
                  </a:lnTo>
                  <a:lnTo>
                    <a:pt x="65" y="518"/>
                  </a:lnTo>
                  <a:lnTo>
                    <a:pt x="65" y="508"/>
                  </a:lnTo>
                  <a:lnTo>
                    <a:pt x="63" y="503"/>
                  </a:lnTo>
                  <a:lnTo>
                    <a:pt x="60" y="497"/>
                  </a:lnTo>
                  <a:lnTo>
                    <a:pt x="54" y="491"/>
                  </a:lnTo>
                  <a:lnTo>
                    <a:pt x="46" y="489"/>
                  </a:lnTo>
                  <a:lnTo>
                    <a:pt x="48" y="481"/>
                  </a:lnTo>
                  <a:lnTo>
                    <a:pt x="52" y="480"/>
                  </a:lnTo>
                  <a:lnTo>
                    <a:pt x="58" y="472"/>
                  </a:lnTo>
                  <a:lnTo>
                    <a:pt x="63" y="468"/>
                  </a:lnTo>
                  <a:lnTo>
                    <a:pt x="65" y="462"/>
                  </a:lnTo>
                  <a:lnTo>
                    <a:pt x="65" y="457"/>
                  </a:lnTo>
                  <a:lnTo>
                    <a:pt x="69" y="453"/>
                  </a:lnTo>
                  <a:lnTo>
                    <a:pt x="73" y="445"/>
                  </a:lnTo>
                  <a:lnTo>
                    <a:pt x="75" y="439"/>
                  </a:lnTo>
                  <a:lnTo>
                    <a:pt x="81" y="435"/>
                  </a:lnTo>
                  <a:lnTo>
                    <a:pt x="88" y="432"/>
                  </a:lnTo>
                  <a:lnTo>
                    <a:pt x="96" y="426"/>
                  </a:lnTo>
                  <a:lnTo>
                    <a:pt x="100" y="418"/>
                  </a:lnTo>
                  <a:lnTo>
                    <a:pt x="104" y="410"/>
                  </a:lnTo>
                  <a:lnTo>
                    <a:pt x="104" y="403"/>
                  </a:lnTo>
                  <a:lnTo>
                    <a:pt x="106" y="397"/>
                  </a:lnTo>
                  <a:lnTo>
                    <a:pt x="110" y="389"/>
                  </a:lnTo>
                  <a:lnTo>
                    <a:pt x="110" y="382"/>
                  </a:lnTo>
                  <a:lnTo>
                    <a:pt x="108" y="374"/>
                  </a:lnTo>
                  <a:lnTo>
                    <a:pt x="108" y="364"/>
                  </a:lnTo>
                  <a:lnTo>
                    <a:pt x="108" y="361"/>
                  </a:lnTo>
                  <a:lnTo>
                    <a:pt x="108" y="355"/>
                  </a:lnTo>
                  <a:lnTo>
                    <a:pt x="106" y="345"/>
                  </a:lnTo>
                  <a:lnTo>
                    <a:pt x="102" y="338"/>
                  </a:lnTo>
                  <a:lnTo>
                    <a:pt x="102" y="326"/>
                  </a:lnTo>
                  <a:lnTo>
                    <a:pt x="100" y="315"/>
                  </a:lnTo>
                  <a:lnTo>
                    <a:pt x="92" y="309"/>
                  </a:lnTo>
                  <a:lnTo>
                    <a:pt x="79" y="305"/>
                  </a:lnTo>
                  <a:lnTo>
                    <a:pt x="71" y="303"/>
                  </a:lnTo>
                  <a:lnTo>
                    <a:pt x="65" y="301"/>
                  </a:lnTo>
                  <a:lnTo>
                    <a:pt x="58" y="293"/>
                  </a:lnTo>
                  <a:lnTo>
                    <a:pt x="52" y="292"/>
                  </a:lnTo>
                  <a:lnTo>
                    <a:pt x="44" y="292"/>
                  </a:lnTo>
                  <a:lnTo>
                    <a:pt x="35" y="288"/>
                  </a:lnTo>
                  <a:lnTo>
                    <a:pt x="31" y="282"/>
                  </a:lnTo>
                  <a:lnTo>
                    <a:pt x="25" y="272"/>
                  </a:lnTo>
                  <a:lnTo>
                    <a:pt x="23" y="267"/>
                  </a:lnTo>
                  <a:lnTo>
                    <a:pt x="15" y="261"/>
                  </a:lnTo>
                  <a:lnTo>
                    <a:pt x="12" y="251"/>
                  </a:lnTo>
                  <a:lnTo>
                    <a:pt x="12" y="242"/>
                  </a:lnTo>
                  <a:lnTo>
                    <a:pt x="10" y="232"/>
                  </a:lnTo>
                  <a:lnTo>
                    <a:pt x="8" y="224"/>
                  </a:lnTo>
                  <a:lnTo>
                    <a:pt x="6" y="217"/>
                  </a:lnTo>
                  <a:lnTo>
                    <a:pt x="2" y="207"/>
                  </a:lnTo>
                  <a:lnTo>
                    <a:pt x="2" y="194"/>
                  </a:lnTo>
                  <a:lnTo>
                    <a:pt x="2" y="180"/>
                  </a:lnTo>
                  <a:lnTo>
                    <a:pt x="2" y="169"/>
                  </a:lnTo>
                  <a:lnTo>
                    <a:pt x="2" y="161"/>
                  </a:lnTo>
                  <a:lnTo>
                    <a:pt x="2" y="150"/>
                  </a:lnTo>
                  <a:lnTo>
                    <a:pt x="0" y="136"/>
                  </a:lnTo>
                  <a:lnTo>
                    <a:pt x="15" y="136"/>
                  </a:lnTo>
                  <a:lnTo>
                    <a:pt x="25" y="134"/>
                  </a:lnTo>
                  <a:lnTo>
                    <a:pt x="37" y="134"/>
                  </a:lnTo>
                  <a:lnTo>
                    <a:pt x="50" y="136"/>
                  </a:lnTo>
                  <a:lnTo>
                    <a:pt x="69" y="134"/>
                  </a:lnTo>
                  <a:lnTo>
                    <a:pt x="85" y="134"/>
                  </a:lnTo>
                  <a:lnTo>
                    <a:pt x="102" y="136"/>
                  </a:lnTo>
                  <a:lnTo>
                    <a:pt x="123" y="136"/>
                  </a:lnTo>
                  <a:lnTo>
                    <a:pt x="142" y="136"/>
                  </a:lnTo>
                  <a:lnTo>
                    <a:pt x="159" y="134"/>
                  </a:lnTo>
                  <a:lnTo>
                    <a:pt x="179" y="136"/>
                  </a:lnTo>
                  <a:lnTo>
                    <a:pt x="198" y="134"/>
                  </a:lnTo>
                  <a:lnTo>
                    <a:pt x="213" y="130"/>
                  </a:lnTo>
                  <a:lnTo>
                    <a:pt x="223" y="128"/>
                  </a:lnTo>
                  <a:lnTo>
                    <a:pt x="228" y="127"/>
                  </a:lnTo>
                  <a:lnTo>
                    <a:pt x="230" y="117"/>
                  </a:lnTo>
                  <a:lnTo>
                    <a:pt x="228" y="105"/>
                  </a:lnTo>
                  <a:lnTo>
                    <a:pt x="238" y="96"/>
                  </a:lnTo>
                  <a:lnTo>
                    <a:pt x="238" y="88"/>
                  </a:lnTo>
                  <a:lnTo>
                    <a:pt x="240" y="73"/>
                  </a:lnTo>
                  <a:lnTo>
                    <a:pt x="240" y="61"/>
                  </a:lnTo>
                  <a:lnTo>
                    <a:pt x="242" y="52"/>
                  </a:lnTo>
                  <a:lnTo>
                    <a:pt x="244" y="38"/>
                  </a:lnTo>
                  <a:lnTo>
                    <a:pt x="242" y="27"/>
                  </a:lnTo>
                  <a:lnTo>
                    <a:pt x="246" y="13"/>
                  </a:lnTo>
                  <a:lnTo>
                    <a:pt x="253" y="4"/>
                  </a:lnTo>
                  <a:lnTo>
                    <a:pt x="255" y="0"/>
                  </a:lnTo>
                  <a:lnTo>
                    <a:pt x="257" y="2"/>
                  </a:lnTo>
                  <a:lnTo>
                    <a:pt x="263" y="10"/>
                  </a:lnTo>
                  <a:lnTo>
                    <a:pt x="265" y="23"/>
                  </a:lnTo>
                  <a:lnTo>
                    <a:pt x="273" y="31"/>
                  </a:lnTo>
                  <a:lnTo>
                    <a:pt x="276" y="40"/>
                  </a:lnTo>
                  <a:lnTo>
                    <a:pt x="282" y="44"/>
                  </a:lnTo>
                  <a:lnTo>
                    <a:pt x="286" y="52"/>
                  </a:lnTo>
                  <a:lnTo>
                    <a:pt x="288" y="61"/>
                  </a:lnTo>
                  <a:lnTo>
                    <a:pt x="286" y="73"/>
                  </a:lnTo>
                  <a:lnTo>
                    <a:pt x="286" y="82"/>
                  </a:lnTo>
                  <a:lnTo>
                    <a:pt x="290" y="94"/>
                  </a:lnTo>
                  <a:lnTo>
                    <a:pt x="286" y="105"/>
                  </a:lnTo>
                  <a:lnTo>
                    <a:pt x="282" y="111"/>
                  </a:lnTo>
                  <a:lnTo>
                    <a:pt x="282" y="123"/>
                  </a:lnTo>
                  <a:lnTo>
                    <a:pt x="288" y="136"/>
                  </a:lnTo>
                  <a:lnTo>
                    <a:pt x="299" y="142"/>
                  </a:lnTo>
                  <a:lnTo>
                    <a:pt x="311" y="151"/>
                  </a:lnTo>
                  <a:lnTo>
                    <a:pt x="321" y="159"/>
                  </a:lnTo>
                  <a:lnTo>
                    <a:pt x="326" y="169"/>
                  </a:lnTo>
                  <a:lnTo>
                    <a:pt x="338" y="180"/>
                  </a:lnTo>
                  <a:lnTo>
                    <a:pt x="353" y="178"/>
                  </a:lnTo>
                  <a:lnTo>
                    <a:pt x="376" y="178"/>
                  </a:lnTo>
                  <a:lnTo>
                    <a:pt x="397" y="178"/>
                  </a:lnTo>
                  <a:lnTo>
                    <a:pt x="417" y="178"/>
                  </a:lnTo>
                  <a:lnTo>
                    <a:pt x="438" y="180"/>
                  </a:lnTo>
                  <a:lnTo>
                    <a:pt x="463" y="184"/>
                  </a:lnTo>
                  <a:lnTo>
                    <a:pt x="486" y="184"/>
                  </a:lnTo>
                  <a:lnTo>
                    <a:pt x="511" y="184"/>
                  </a:lnTo>
                  <a:lnTo>
                    <a:pt x="537" y="184"/>
                  </a:lnTo>
                  <a:lnTo>
                    <a:pt x="557" y="186"/>
                  </a:lnTo>
                  <a:lnTo>
                    <a:pt x="583" y="188"/>
                  </a:lnTo>
                  <a:lnTo>
                    <a:pt x="603" y="190"/>
                  </a:lnTo>
                  <a:lnTo>
                    <a:pt x="624" y="190"/>
                  </a:lnTo>
                  <a:lnTo>
                    <a:pt x="658" y="194"/>
                  </a:lnTo>
                  <a:lnTo>
                    <a:pt x="678" y="194"/>
                  </a:lnTo>
                  <a:lnTo>
                    <a:pt x="699" y="194"/>
                  </a:lnTo>
                  <a:lnTo>
                    <a:pt x="722" y="198"/>
                  </a:lnTo>
                  <a:lnTo>
                    <a:pt x="741" y="198"/>
                  </a:lnTo>
                  <a:lnTo>
                    <a:pt x="756" y="201"/>
                  </a:lnTo>
                  <a:lnTo>
                    <a:pt x="775" y="201"/>
                  </a:lnTo>
                  <a:lnTo>
                    <a:pt x="775" y="209"/>
                  </a:lnTo>
                  <a:lnTo>
                    <a:pt x="773" y="215"/>
                  </a:lnTo>
                  <a:lnTo>
                    <a:pt x="770" y="224"/>
                  </a:lnTo>
                  <a:lnTo>
                    <a:pt x="764" y="232"/>
                  </a:lnTo>
                  <a:lnTo>
                    <a:pt x="758" y="242"/>
                  </a:lnTo>
                  <a:lnTo>
                    <a:pt x="756" y="253"/>
                  </a:lnTo>
                  <a:lnTo>
                    <a:pt x="752" y="263"/>
                  </a:lnTo>
                  <a:lnTo>
                    <a:pt x="754" y="274"/>
                  </a:lnTo>
                  <a:lnTo>
                    <a:pt x="749" y="282"/>
                  </a:lnTo>
                  <a:lnTo>
                    <a:pt x="750" y="293"/>
                  </a:lnTo>
                  <a:lnTo>
                    <a:pt x="756" y="299"/>
                  </a:lnTo>
                  <a:lnTo>
                    <a:pt x="756" y="307"/>
                  </a:lnTo>
                  <a:lnTo>
                    <a:pt x="752" y="315"/>
                  </a:lnTo>
                  <a:lnTo>
                    <a:pt x="750" y="322"/>
                  </a:lnTo>
                  <a:lnTo>
                    <a:pt x="749" y="332"/>
                  </a:lnTo>
                  <a:lnTo>
                    <a:pt x="752" y="341"/>
                  </a:lnTo>
                  <a:lnTo>
                    <a:pt x="752" y="353"/>
                  </a:lnTo>
                  <a:lnTo>
                    <a:pt x="750" y="364"/>
                  </a:lnTo>
                  <a:lnTo>
                    <a:pt x="752" y="378"/>
                  </a:lnTo>
                  <a:lnTo>
                    <a:pt x="750" y="387"/>
                  </a:lnTo>
                  <a:lnTo>
                    <a:pt x="749" y="399"/>
                  </a:lnTo>
                  <a:lnTo>
                    <a:pt x="749" y="412"/>
                  </a:lnTo>
                  <a:lnTo>
                    <a:pt x="750" y="418"/>
                  </a:lnTo>
                  <a:lnTo>
                    <a:pt x="756" y="420"/>
                  </a:lnTo>
                  <a:lnTo>
                    <a:pt x="760" y="418"/>
                  </a:lnTo>
                  <a:lnTo>
                    <a:pt x="762" y="420"/>
                  </a:lnTo>
                  <a:lnTo>
                    <a:pt x="758" y="430"/>
                  </a:lnTo>
                  <a:lnTo>
                    <a:pt x="756" y="437"/>
                  </a:lnTo>
                  <a:lnTo>
                    <a:pt x="756" y="443"/>
                  </a:lnTo>
                  <a:lnTo>
                    <a:pt x="750" y="453"/>
                  </a:lnTo>
                  <a:lnTo>
                    <a:pt x="747" y="462"/>
                  </a:lnTo>
                  <a:lnTo>
                    <a:pt x="741" y="468"/>
                  </a:lnTo>
                  <a:lnTo>
                    <a:pt x="735" y="476"/>
                  </a:lnTo>
                  <a:lnTo>
                    <a:pt x="735" y="487"/>
                  </a:lnTo>
                  <a:lnTo>
                    <a:pt x="735" y="499"/>
                  </a:lnTo>
                  <a:lnTo>
                    <a:pt x="735" y="512"/>
                  </a:lnTo>
                  <a:lnTo>
                    <a:pt x="727" y="522"/>
                  </a:lnTo>
                  <a:lnTo>
                    <a:pt x="725" y="535"/>
                  </a:lnTo>
                  <a:lnTo>
                    <a:pt x="722" y="547"/>
                  </a:lnTo>
                  <a:lnTo>
                    <a:pt x="720" y="558"/>
                  </a:lnTo>
                  <a:lnTo>
                    <a:pt x="714" y="564"/>
                  </a:lnTo>
                  <a:lnTo>
                    <a:pt x="704" y="570"/>
                  </a:lnTo>
                  <a:lnTo>
                    <a:pt x="697" y="572"/>
                  </a:lnTo>
                  <a:lnTo>
                    <a:pt x="693" y="575"/>
                  </a:lnTo>
                  <a:lnTo>
                    <a:pt x="689" y="581"/>
                  </a:lnTo>
                  <a:lnTo>
                    <a:pt x="687" y="591"/>
                  </a:lnTo>
                  <a:lnTo>
                    <a:pt x="681" y="600"/>
                  </a:lnTo>
                  <a:lnTo>
                    <a:pt x="679" y="606"/>
                  </a:lnTo>
                  <a:lnTo>
                    <a:pt x="674" y="616"/>
                  </a:lnTo>
                  <a:lnTo>
                    <a:pt x="668" y="622"/>
                  </a:lnTo>
                  <a:lnTo>
                    <a:pt x="666" y="629"/>
                  </a:lnTo>
                  <a:lnTo>
                    <a:pt x="658" y="633"/>
                  </a:lnTo>
                  <a:lnTo>
                    <a:pt x="643" y="635"/>
                  </a:lnTo>
                  <a:lnTo>
                    <a:pt x="637" y="635"/>
                  </a:lnTo>
                  <a:lnTo>
                    <a:pt x="637" y="645"/>
                  </a:lnTo>
                  <a:lnTo>
                    <a:pt x="633" y="648"/>
                  </a:lnTo>
                  <a:lnTo>
                    <a:pt x="628" y="656"/>
                  </a:lnTo>
                  <a:lnTo>
                    <a:pt x="626" y="664"/>
                  </a:lnTo>
                  <a:lnTo>
                    <a:pt x="622" y="673"/>
                  </a:lnTo>
                  <a:lnTo>
                    <a:pt x="618" y="681"/>
                  </a:lnTo>
                  <a:lnTo>
                    <a:pt x="614" y="685"/>
                  </a:lnTo>
                  <a:lnTo>
                    <a:pt x="608" y="691"/>
                  </a:lnTo>
                  <a:lnTo>
                    <a:pt x="603" y="698"/>
                  </a:lnTo>
                  <a:lnTo>
                    <a:pt x="597" y="702"/>
                  </a:lnTo>
                  <a:lnTo>
                    <a:pt x="589" y="702"/>
                  </a:lnTo>
                  <a:lnTo>
                    <a:pt x="582" y="702"/>
                  </a:lnTo>
                  <a:lnTo>
                    <a:pt x="582" y="710"/>
                  </a:lnTo>
                  <a:lnTo>
                    <a:pt x="582" y="723"/>
                  </a:lnTo>
                  <a:lnTo>
                    <a:pt x="580" y="733"/>
                  </a:lnTo>
                  <a:lnTo>
                    <a:pt x="576" y="739"/>
                  </a:lnTo>
                  <a:lnTo>
                    <a:pt x="580" y="746"/>
                  </a:lnTo>
                  <a:lnTo>
                    <a:pt x="580" y="762"/>
                  </a:lnTo>
                  <a:lnTo>
                    <a:pt x="583" y="767"/>
                  </a:lnTo>
                  <a:lnTo>
                    <a:pt x="587" y="785"/>
                  </a:lnTo>
                  <a:lnTo>
                    <a:pt x="589" y="796"/>
                  </a:lnTo>
                  <a:lnTo>
                    <a:pt x="593" y="806"/>
                  </a:lnTo>
                  <a:lnTo>
                    <a:pt x="597" y="81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/>
            </a:p>
          </p:txBody>
        </p:sp>
        <p:sp>
          <p:nvSpPr>
            <p:cNvPr id="125" name="Freeform 10"/>
            <p:cNvSpPr>
              <a:spLocks/>
            </p:cNvSpPr>
            <p:nvPr/>
          </p:nvSpPr>
          <p:spPr bwMode="auto">
            <a:xfrm>
              <a:off x="5626513" y="3518041"/>
              <a:ext cx="939634" cy="952535"/>
            </a:xfrm>
            <a:custGeom>
              <a:avLst/>
              <a:gdLst>
                <a:gd name="T0" fmla="*/ 460 w 481"/>
                <a:gd name="T1" fmla="*/ 222 h 489"/>
                <a:gd name="T2" fmla="*/ 439 w 481"/>
                <a:gd name="T3" fmla="*/ 259 h 489"/>
                <a:gd name="T4" fmla="*/ 420 w 481"/>
                <a:gd name="T5" fmla="*/ 303 h 489"/>
                <a:gd name="T6" fmla="*/ 393 w 481"/>
                <a:gd name="T7" fmla="*/ 349 h 489"/>
                <a:gd name="T8" fmla="*/ 349 w 481"/>
                <a:gd name="T9" fmla="*/ 376 h 489"/>
                <a:gd name="T10" fmla="*/ 307 w 481"/>
                <a:gd name="T11" fmla="*/ 408 h 489"/>
                <a:gd name="T12" fmla="*/ 286 w 481"/>
                <a:gd name="T13" fmla="*/ 466 h 489"/>
                <a:gd name="T14" fmla="*/ 255 w 481"/>
                <a:gd name="T15" fmla="*/ 477 h 489"/>
                <a:gd name="T16" fmla="*/ 215 w 481"/>
                <a:gd name="T17" fmla="*/ 473 h 489"/>
                <a:gd name="T18" fmla="*/ 184 w 481"/>
                <a:gd name="T19" fmla="*/ 470 h 489"/>
                <a:gd name="T20" fmla="*/ 178 w 481"/>
                <a:gd name="T21" fmla="*/ 431 h 489"/>
                <a:gd name="T22" fmla="*/ 169 w 481"/>
                <a:gd name="T23" fmla="*/ 391 h 489"/>
                <a:gd name="T24" fmla="*/ 169 w 481"/>
                <a:gd name="T25" fmla="*/ 362 h 489"/>
                <a:gd name="T26" fmla="*/ 136 w 481"/>
                <a:gd name="T27" fmla="*/ 356 h 489"/>
                <a:gd name="T28" fmla="*/ 124 w 481"/>
                <a:gd name="T29" fmla="*/ 353 h 489"/>
                <a:gd name="T30" fmla="*/ 100 w 481"/>
                <a:gd name="T31" fmla="*/ 360 h 489"/>
                <a:gd name="T32" fmla="*/ 53 w 481"/>
                <a:gd name="T33" fmla="*/ 351 h 489"/>
                <a:gd name="T34" fmla="*/ 23 w 481"/>
                <a:gd name="T35" fmla="*/ 345 h 489"/>
                <a:gd name="T36" fmla="*/ 23 w 481"/>
                <a:gd name="T37" fmla="*/ 308 h 489"/>
                <a:gd name="T38" fmla="*/ 21 w 481"/>
                <a:gd name="T39" fmla="*/ 270 h 489"/>
                <a:gd name="T40" fmla="*/ 13 w 481"/>
                <a:gd name="T41" fmla="*/ 236 h 489"/>
                <a:gd name="T42" fmla="*/ 2 w 481"/>
                <a:gd name="T43" fmla="*/ 212 h 489"/>
                <a:gd name="T44" fmla="*/ 13 w 481"/>
                <a:gd name="T45" fmla="*/ 191 h 489"/>
                <a:gd name="T46" fmla="*/ 9 w 481"/>
                <a:gd name="T47" fmla="*/ 168 h 489"/>
                <a:gd name="T48" fmla="*/ 17 w 481"/>
                <a:gd name="T49" fmla="*/ 145 h 489"/>
                <a:gd name="T50" fmla="*/ 25 w 481"/>
                <a:gd name="T51" fmla="*/ 113 h 489"/>
                <a:gd name="T52" fmla="*/ 29 w 481"/>
                <a:gd name="T53" fmla="*/ 86 h 489"/>
                <a:gd name="T54" fmla="*/ 29 w 481"/>
                <a:gd name="T55" fmla="*/ 63 h 489"/>
                <a:gd name="T56" fmla="*/ 17 w 481"/>
                <a:gd name="T57" fmla="*/ 49 h 489"/>
                <a:gd name="T58" fmla="*/ 17 w 481"/>
                <a:gd name="T59" fmla="*/ 32 h 489"/>
                <a:gd name="T60" fmla="*/ 42 w 481"/>
                <a:gd name="T61" fmla="*/ 36 h 489"/>
                <a:gd name="T62" fmla="*/ 69 w 481"/>
                <a:gd name="T63" fmla="*/ 30 h 489"/>
                <a:gd name="T64" fmla="*/ 88 w 481"/>
                <a:gd name="T65" fmla="*/ 17 h 489"/>
                <a:gd name="T66" fmla="*/ 105 w 481"/>
                <a:gd name="T67" fmla="*/ 5 h 489"/>
                <a:gd name="T68" fmla="*/ 130 w 481"/>
                <a:gd name="T69" fmla="*/ 0 h 489"/>
                <a:gd name="T70" fmla="*/ 153 w 481"/>
                <a:gd name="T71" fmla="*/ 7 h 489"/>
                <a:gd name="T72" fmla="*/ 184 w 481"/>
                <a:gd name="T73" fmla="*/ 17 h 489"/>
                <a:gd name="T74" fmla="*/ 209 w 481"/>
                <a:gd name="T75" fmla="*/ 19 h 489"/>
                <a:gd name="T76" fmla="*/ 234 w 481"/>
                <a:gd name="T77" fmla="*/ 19 h 489"/>
                <a:gd name="T78" fmla="*/ 251 w 481"/>
                <a:gd name="T79" fmla="*/ 15 h 489"/>
                <a:gd name="T80" fmla="*/ 274 w 481"/>
                <a:gd name="T81" fmla="*/ 21 h 489"/>
                <a:gd name="T82" fmla="*/ 293 w 481"/>
                <a:gd name="T83" fmla="*/ 24 h 489"/>
                <a:gd name="T84" fmla="*/ 314 w 481"/>
                <a:gd name="T85" fmla="*/ 42 h 489"/>
                <a:gd name="T86" fmla="*/ 332 w 481"/>
                <a:gd name="T87" fmla="*/ 65 h 489"/>
                <a:gd name="T88" fmla="*/ 351 w 481"/>
                <a:gd name="T89" fmla="*/ 76 h 489"/>
                <a:gd name="T90" fmla="*/ 366 w 481"/>
                <a:gd name="T91" fmla="*/ 95 h 489"/>
                <a:gd name="T92" fmla="*/ 389 w 481"/>
                <a:gd name="T93" fmla="*/ 107 h 489"/>
                <a:gd name="T94" fmla="*/ 410 w 481"/>
                <a:gd name="T95" fmla="*/ 120 h 489"/>
                <a:gd name="T96" fmla="*/ 437 w 481"/>
                <a:gd name="T97" fmla="*/ 124 h 489"/>
                <a:gd name="T98" fmla="*/ 449 w 481"/>
                <a:gd name="T99" fmla="*/ 134 h 489"/>
                <a:gd name="T100" fmla="*/ 468 w 481"/>
                <a:gd name="T101" fmla="*/ 138 h 489"/>
                <a:gd name="T102" fmla="*/ 481 w 481"/>
                <a:gd name="T103" fmla="*/ 157 h 489"/>
                <a:gd name="T104" fmla="*/ 476 w 481"/>
                <a:gd name="T105" fmla="*/ 174 h 489"/>
                <a:gd name="T106" fmla="*/ 481 w 481"/>
                <a:gd name="T107" fmla="*/ 195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81" h="489">
                  <a:moveTo>
                    <a:pt x="476" y="207"/>
                  </a:moveTo>
                  <a:lnTo>
                    <a:pt x="474" y="212"/>
                  </a:lnTo>
                  <a:lnTo>
                    <a:pt x="470" y="218"/>
                  </a:lnTo>
                  <a:lnTo>
                    <a:pt x="464" y="220"/>
                  </a:lnTo>
                  <a:lnTo>
                    <a:pt x="460" y="222"/>
                  </a:lnTo>
                  <a:lnTo>
                    <a:pt x="455" y="228"/>
                  </a:lnTo>
                  <a:lnTo>
                    <a:pt x="449" y="236"/>
                  </a:lnTo>
                  <a:lnTo>
                    <a:pt x="445" y="241"/>
                  </a:lnTo>
                  <a:lnTo>
                    <a:pt x="441" y="251"/>
                  </a:lnTo>
                  <a:lnTo>
                    <a:pt x="439" y="259"/>
                  </a:lnTo>
                  <a:lnTo>
                    <a:pt x="435" y="268"/>
                  </a:lnTo>
                  <a:lnTo>
                    <a:pt x="430" y="278"/>
                  </a:lnTo>
                  <a:lnTo>
                    <a:pt x="424" y="285"/>
                  </a:lnTo>
                  <a:lnTo>
                    <a:pt x="424" y="295"/>
                  </a:lnTo>
                  <a:lnTo>
                    <a:pt x="420" y="303"/>
                  </a:lnTo>
                  <a:lnTo>
                    <a:pt x="412" y="310"/>
                  </a:lnTo>
                  <a:lnTo>
                    <a:pt x="408" y="320"/>
                  </a:lnTo>
                  <a:lnTo>
                    <a:pt x="405" y="330"/>
                  </a:lnTo>
                  <a:lnTo>
                    <a:pt x="399" y="339"/>
                  </a:lnTo>
                  <a:lnTo>
                    <a:pt x="393" y="349"/>
                  </a:lnTo>
                  <a:lnTo>
                    <a:pt x="385" y="356"/>
                  </a:lnTo>
                  <a:lnTo>
                    <a:pt x="376" y="362"/>
                  </a:lnTo>
                  <a:lnTo>
                    <a:pt x="364" y="364"/>
                  </a:lnTo>
                  <a:lnTo>
                    <a:pt x="357" y="368"/>
                  </a:lnTo>
                  <a:lnTo>
                    <a:pt x="349" y="376"/>
                  </a:lnTo>
                  <a:lnTo>
                    <a:pt x="343" y="381"/>
                  </a:lnTo>
                  <a:lnTo>
                    <a:pt x="336" y="393"/>
                  </a:lnTo>
                  <a:lnTo>
                    <a:pt x="322" y="397"/>
                  </a:lnTo>
                  <a:lnTo>
                    <a:pt x="311" y="402"/>
                  </a:lnTo>
                  <a:lnTo>
                    <a:pt x="307" y="408"/>
                  </a:lnTo>
                  <a:lnTo>
                    <a:pt x="309" y="420"/>
                  </a:lnTo>
                  <a:lnTo>
                    <a:pt x="301" y="431"/>
                  </a:lnTo>
                  <a:lnTo>
                    <a:pt x="295" y="441"/>
                  </a:lnTo>
                  <a:lnTo>
                    <a:pt x="290" y="456"/>
                  </a:lnTo>
                  <a:lnTo>
                    <a:pt x="286" y="466"/>
                  </a:lnTo>
                  <a:lnTo>
                    <a:pt x="278" y="477"/>
                  </a:lnTo>
                  <a:lnTo>
                    <a:pt x="268" y="487"/>
                  </a:lnTo>
                  <a:lnTo>
                    <a:pt x="268" y="489"/>
                  </a:lnTo>
                  <a:lnTo>
                    <a:pt x="263" y="481"/>
                  </a:lnTo>
                  <a:lnTo>
                    <a:pt x="255" y="477"/>
                  </a:lnTo>
                  <a:lnTo>
                    <a:pt x="243" y="473"/>
                  </a:lnTo>
                  <a:lnTo>
                    <a:pt x="236" y="470"/>
                  </a:lnTo>
                  <a:lnTo>
                    <a:pt x="228" y="473"/>
                  </a:lnTo>
                  <a:lnTo>
                    <a:pt x="219" y="471"/>
                  </a:lnTo>
                  <a:lnTo>
                    <a:pt x="215" y="473"/>
                  </a:lnTo>
                  <a:lnTo>
                    <a:pt x="209" y="475"/>
                  </a:lnTo>
                  <a:lnTo>
                    <a:pt x="205" y="479"/>
                  </a:lnTo>
                  <a:lnTo>
                    <a:pt x="197" y="479"/>
                  </a:lnTo>
                  <a:lnTo>
                    <a:pt x="190" y="475"/>
                  </a:lnTo>
                  <a:lnTo>
                    <a:pt x="184" y="470"/>
                  </a:lnTo>
                  <a:lnTo>
                    <a:pt x="182" y="466"/>
                  </a:lnTo>
                  <a:lnTo>
                    <a:pt x="184" y="456"/>
                  </a:lnTo>
                  <a:lnTo>
                    <a:pt x="186" y="447"/>
                  </a:lnTo>
                  <a:lnTo>
                    <a:pt x="184" y="439"/>
                  </a:lnTo>
                  <a:lnTo>
                    <a:pt x="178" y="431"/>
                  </a:lnTo>
                  <a:lnTo>
                    <a:pt x="176" y="422"/>
                  </a:lnTo>
                  <a:lnTo>
                    <a:pt x="174" y="414"/>
                  </a:lnTo>
                  <a:lnTo>
                    <a:pt x="172" y="406"/>
                  </a:lnTo>
                  <a:lnTo>
                    <a:pt x="171" y="399"/>
                  </a:lnTo>
                  <a:lnTo>
                    <a:pt x="169" y="391"/>
                  </a:lnTo>
                  <a:lnTo>
                    <a:pt x="172" y="389"/>
                  </a:lnTo>
                  <a:lnTo>
                    <a:pt x="180" y="387"/>
                  </a:lnTo>
                  <a:lnTo>
                    <a:pt x="174" y="379"/>
                  </a:lnTo>
                  <a:lnTo>
                    <a:pt x="172" y="370"/>
                  </a:lnTo>
                  <a:lnTo>
                    <a:pt x="169" y="362"/>
                  </a:lnTo>
                  <a:lnTo>
                    <a:pt x="161" y="358"/>
                  </a:lnTo>
                  <a:lnTo>
                    <a:pt x="153" y="358"/>
                  </a:lnTo>
                  <a:lnTo>
                    <a:pt x="149" y="362"/>
                  </a:lnTo>
                  <a:lnTo>
                    <a:pt x="140" y="362"/>
                  </a:lnTo>
                  <a:lnTo>
                    <a:pt x="136" y="356"/>
                  </a:lnTo>
                  <a:lnTo>
                    <a:pt x="134" y="351"/>
                  </a:lnTo>
                  <a:lnTo>
                    <a:pt x="132" y="347"/>
                  </a:lnTo>
                  <a:lnTo>
                    <a:pt x="128" y="347"/>
                  </a:lnTo>
                  <a:lnTo>
                    <a:pt x="124" y="349"/>
                  </a:lnTo>
                  <a:lnTo>
                    <a:pt x="124" y="353"/>
                  </a:lnTo>
                  <a:lnTo>
                    <a:pt x="123" y="354"/>
                  </a:lnTo>
                  <a:lnTo>
                    <a:pt x="121" y="360"/>
                  </a:lnTo>
                  <a:lnTo>
                    <a:pt x="113" y="364"/>
                  </a:lnTo>
                  <a:lnTo>
                    <a:pt x="107" y="362"/>
                  </a:lnTo>
                  <a:lnTo>
                    <a:pt x="100" y="360"/>
                  </a:lnTo>
                  <a:lnTo>
                    <a:pt x="86" y="356"/>
                  </a:lnTo>
                  <a:lnTo>
                    <a:pt x="80" y="353"/>
                  </a:lnTo>
                  <a:lnTo>
                    <a:pt x="75" y="353"/>
                  </a:lnTo>
                  <a:lnTo>
                    <a:pt x="63" y="353"/>
                  </a:lnTo>
                  <a:lnTo>
                    <a:pt x="53" y="351"/>
                  </a:lnTo>
                  <a:lnTo>
                    <a:pt x="44" y="351"/>
                  </a:lnTo>
                  <a:lnTo>
                    <a:pt x="32" y="353"/>
                  </a:lnTo>
                  <a:lnTo>
                    <a:pt x="27" y="353"/>
                  </a:lnTo>
                  <a:lnTo>
                    <a:pt x="23" y="351"/>
                  </a:lnTo>
                  <a:lnTo>
                    <a:pt x="23" y="345"/>
                  </a:lnTo>
                  <a:lnTo>
                    <a:pt x="25" y="337"/>
                  </a:lnTo>
                  <a:lnTo>
                    <a:pt x="29" y="330"/>
                  </a:lnTo>
                  <a:lnTo>
                    <a:pt x="23" y="326"/>
                  </a:lnTo>
                  <a:lnTo>
                    <a:pt x="21" y="316"/>
                  </a:lnTo>
                  <a:lnTo>
                    <a:pt x="23" y="308"/>
                  </a:lnTo>
                  <a:lnTo>
                    <a:pt x="25" y="299"/>
                  </a:lnTo>
                  <a:lnTo>
                    <a:pt x="27" y="291"/>
                  </a:lnTo>
                  <a:lnTo>
                    <a:pt x="23" y="285"/>
                  </a:lnTo>
                  <a:lnTo>
                    <a:pt x="21" y="280"/>
                  </a:lnTo>
                  <a:lnTo>
                    <a:pt x="21" y="270"/>
                  </a:lnTo>
                  <a:lnTo>
                    <a:pt x="19" y="260"/>
                  </a:lnTo>
                  <a:lnTo>
                    <a:pt x="23" y="255"/>
                  </a:lnTo>
                  <a:lnTo>
                    <a:pt x="19" y="249"/>
                  </a:lnTo>
                  <a:lnTo>
                    <a:pt x="17" y="241"/>
                  </a:lnTo>
                  <a:lnTo>
                    <a:pt x="13" y="236"/>
                  </a:lnTo>
                  <a:lnTo>
                    <a:pt x="9" y="232"/>
                  </a:lnTo>
                  <a:lnTo>
                    <a:pt x="6" y="226"/>
                  </a:lnTo>
                  <a:lnTo>
                    <a:pt x="9" y="220"/>
                  </a:lnTo>
                  <a:lnTo>
                    <a:pt x="9" y="216"/>
                  </a:lnTo>
                  <a:lnTo>
                    <a:pt x="2" y="212"/>
                  </a:lnTo>
                  <a:lnTo>
                    <a:pt x="0" y="207"/>
                  </a:lnTo>
                  <a:lnTo>
                    <a:pt x="2" y="203"/>
                  </a:lnTo>
                  <a:lnTo>
                    <a:pt x="11" y="201"/>
                  </a:lnTo>
                  <a:lnTo>
                    <a:pt x="13" y="197"/>
                  </a:lnTo>
                  <a:lnTo>
                    <a:pt x="13" y="191"/>
                  </a:lnTo>
                  <a:lnTo>
                    <a:pt x="13" y="184"/>
                  </a:lnTo>
                  <a:lnTo>
                    <a:pt x="11" y="180"/>
                  </a:lnTo>
                  <a:lnTo>
                    <a:pt x="7" y="176"/>
                  </a:lnTo>
                  <a:lnTo>
                    <a:pt x="7" y="170"/>
                  </a:lnTo>
                  <a:lnTo>
                    <a:pt x="9" y="168"/>
                  </a:lnTo>
                  <a:lnTo>
                    <a:pt x="13" y="166"/>
                  </a:lnTo>
                  <a:lnTo>
                    <a:pt x="15" y="161"/>
                  </a:lnTo>
                  <a:lnTo>
                    <a:pt x="15" y="153"/>
                  </a:lnTo>
                  <a:lnTo>
                    <a:pt x="15" y="149"/>
                  </a:lnTo>
                  <a:lnTo>
                    <a:pt x="17" y="145"/>
                  </a:lnTo>
                  <a:lnTo>
                    <a:pt x="21" y="140"/>
                  </a:lnTo>
                  <a:lnTo>
                    <a:pt x="23" y="136"/>
                  </a:lnTo>
                  <a:lnTo>
                    <a:pt x="25" y="126"/>
                  </a:lnTo>
                  <a:lnTo>
                    <a:pt x="25" y="120"/>
                  </a:lnTo>
                  <a:lnTo>
                    <a:pt x="25" y="113"/>
                  </a:lnTo>
                  <a:lnTo>
                    <a:pt x="27" y="107"/>
                  </a:lnTo>
                  <a:lnTo>
                    <a:pt x="27" y="101"/>
                  </a:lnTo>
                  <a:lnTo>
                    <a:pt x="27" y="97"/>
                  </a:lnTo>
                  <a:lnTo>
                    <a:pt x="29" y="90"/>
                  </a:lnTo>
                  <a:lnTo>
                    <a:pt x="29" y="86"/>
                  </a:lnTo>
                  <a:lnTo>
                    <a:pt x="30" y="80"/>
                  </a:lnTo>
                  <a:lnTo>
                    <a:pt x="32" y="76"/>
                  </a:lnTo>
                  <a:lnTo>
                    <a:pt x="32" y="72"/>
                  </a:lnTo>
                  <a:lnTo>
                    <a:pt x="30" y="67"/>
                  </a:lnTo>
                  <a:lnTo>
                    <a:pt x="29" y="63"/>
                  </a:lnTo>
                  <a:lnTo>
                    <a:pt x="27" y="61"/>
                  </a:lnTo>
                  <a:lnTo>
                    <a:pt x="25" y="57"/>
                  </a:lnTo>
                  <a:lnTo>
                    <a:pt x="25" y="53"/>
                  </a:lnTo>
                  <a:lnTo>
                    <a:pt x="21" y="51"/>
                  </a:lnTo>
                  <a:lnTo>
                    <a:pt x="17" y="49"/>
                  </a:lnTo>
                  <a:lnTo>
                    <a:pt x="15" y="46"/>
                  </a:lnTo>
                  <a:lnTo>
                    <a:pt x="15" y="44"/>
                  </a:lnTo>
                  <a:lnTo>
                    <a:pt x="13" y="38"/>
                  </a:lnTo>
                  <a:lnTo>
                    <a:pt x="15" y="36"/>
                  </a:lnTo>
                  <a:lnTo>
                    <a:pt x="17" y="32"/>
                  </a:lnTo>
                  <a:lnTo>
                    <a:pt x="23" y="30"/>
                  </a:lnTo>
                  <a:lnTo>
                    <a:pt x="27" y="30"/>
                  </a:lnTo>
                  <a:lnTo>
                    <a:pt x="30" y="30"/>
                  </a:lnTo>
                  <a:lnTo>
                    <a:pt x="34" y="34"/>
                  </a:lnTo>
                  <a:lnTo>
                    <a:pt x="42" y="36"/>
                  </a:lnTo>
                  <a:lnTo>
                    <a:pt x="46" y="36"/>
                  </a:lnTo>
                  <a:lnTo>
                    <a:pt x="53" y="38"/>
                  </a:lnTo>
                  <a:lnTo>
                    <a:pt x="57" y="36"/>
                  </a:lnTo>
                  <a:lnTo>
                    <a:pt x="65" y="32"/>
                  </a:lnTo>
                  <a:lnTo>
                    <a:pt x="69" y="30"/>
                  </a:lnTo>
                  <a:lnTo>
                    <a:pt x="73" y="30"/>
                  </a:lnTo>
                  <a:lnTo>
                    <a:pt x="75" y="28"/>
                  </a:lnTo>
                  <a:lnTo>
                    <a:pt x="78" y="24"/>
                  </a:lnTo>
                  <a:lnTo>
                    <a:pt x="82" y="21"/>
                  </a:lnTo>
                  <a:lnTo>
                    <a:pt x="88" y="17"/>
                  </a:lnTo>
                  <a:lnTo>
                    <a:pt x="90" y="15"/>
                  </a:lnTo>
                  <a:lnTo>
                    <a:pt x="94" y="11"/>
                  </a:lnTo>
                  <a:lnTo>
                    <a:pt x="98" y="7"/>
                  </a:lnTo>
                  <a:lnTo>
                    <a:pt x="103" y="7"/>
                  </a:lnTo>
                  <a:lnTo>
                    <a:pt x="105" y="5"/>
                  </a:lnTo>
                  <a:lnTo>
                    <a:pt x="111" y="3"/>
                  </a:lnTo>
                  <a:lnTo>
                    <a:pt x="115" y="1"/>
                  </a:lnTo>
                  <a:lnTo>
                    <a:pt x="121" y="0"/>
                  </a:lnTo>
                  <a:lnTo>
                    <a:pt x="124" y="0"/>
                  </a:lnTo>
                  <a:lnTo>
                    <a:pt x="130" y="0"/>
                  </a:lnTo>
                  <a:lnTo>
                    <a:pt x="134" y="0"/>
                  </a:lnTo>
                  <a:lnTo>
                    <a:pt x="140" y="1"/>
                  </a:lnTo>
                  <a:lnTo>
                    <a:pt x="144" y="3"/>
                  </a:lnTo>
                  <a:lnTo>
                    <a:pt x="149" y="5"/>
                  </a:lnTo>
                  <a:lnTo>
                    <a:pt x="153" y="7"/>
                  </a:lnTo>
                  <a:lnTo>
                    <a:pt x="159" y="7"/>
                  </a:lnTo>
                  <a:lnTo>
                    <a:pt x="167" y="11"/>
                  </a:lnTo>
                  <a:lnTo>
                    <a:pt x="172" y="13"/>
                  </a:lnTo>
                  <a:lnTo>
                    <a:pt x="178" y="15"/>
                  </a:lnTo>
                  <a:lnTo>
                    <a:pt x="184" y="17"/>
                  </a:lnTo>
                  <a:lnTo>
                    <a:pt x="188" y="19"/>
                  </a:lnTo>
                  <a:lnTo>
                    <a:pt x="194" y="21"/>
                  </a:lnTo>
                  <a:lnTo>
                    <a:pt x="199" y="21"/>
                  </a:lnTo>
                  <a:lnTo>
                    <a:pt x="203" y="19"/>
                  </a:lnTo>
                  <a:lnTo>
                    <a:pt x="209" y="19"/>
                  </a:lnTo>
                  <a:lnTo>
                    <a:pt x="215" y="17"/>
                  </a:lnTo>
                  <a:lnTo>
                    <a:pt x="220" y="19"/>
                  </a:lnTo>
                  <a:lnTo>
                    <a:pt x="228" y="17"/>
                  </a:lnTo>
                  <a:lnTo>
                    <a:pt x="230" y="17"/>
                  </a:lnTo>
                  <a:lnTo>
                    <a:pt x="234" y="19"/>
                  </a:lnTo>
                  <a:lnTo>
                    <a:pt x="236" y="21"/>
                  </a:lnTo>
                  <a:lnTo>
                    <a:pt x="242" y="23"/>
                  </a:lnTo>
                  <a:lnTo>
                    <a:pt x="245" y="21"/>
                  </a:lnTo>
                  <a:lnTo>
                    <a:pt x="247" y="17"/>
                  </a:lnTo>
                  <a:lnTo>
                    <a:pt x="251" y="15"/>
                  </a:lnTo>
                  <a:lnTo>
                    <a:pt x="255" y="15"/>
                  </a:lnTo>
                  <a:lnTo>
                    <a:pt x="263" y="15"/>
                  </a:lnTo>
                  <a:lnTo>
                    <a:pt x="266" y="15"/>
                  </a:lnTo>
                  <a:lnTo>
                    <a:pt x="270" y="19"/>
                  </a:lnTo>
                  <a:lnTo>
                    <a:pt x="274" y="21"/>
                  </a:lnTo>
                  <a:lnTo>
                    <a:pt x="278" y="23"/>
                  </a:lnTo>
                  <a:lnTo>
                    <a:pt x="282" y="21"/>
                  </a:lnTo>
                  <a:lnTo>
                    <a:pt x="284" y="21"/>
                  </a:lnTo>
                  <a:lnTo>
                    <a:pt x="288" y="21"/>
                  </a:lnTo>
                  <a:lnTo>
                    <a:pt x="293" y="24"/>
                  </a:lnTo>
                  <a:lnTo>
                    <a:pt x="297" y="28"/>
                  </a:lnTo>
                  <a:lnTo>
                    <a:pt x="301" y="32"/>
                  </a:lnTo>
                  <a:lnTo>
                    <a:pt x="305" y="36"/>
                  </a:lnTo>
                  <a:lnTo>
                    <a:pt x="311" y="38"/>
                  </a:lnTo>
                  <a:lnTo>
                    <a:pt x="314" y="42"/>
                  </a:lnTo>
                  <a:lnTo>
                    <a:pt x="318" y="46"/>
                  </a:lnTo>
                  <a:lnTo>
                    <a:pt x="320" y="51"/>
                  </a:lnTo>
                  <a:lnTo>
                    <a:pt x="324" y="55"/>
                  </a:lnTo>
                  <a:lnTo>
                    <a:pt x="328" y="59"/>
                  </a:lnTo>
                  <a:lnTo>
                    <a:pt x="332" y="65"/>
                  </a:lnTo>
                  <a:lnTo>
                    <a:pt x="336" y="69"/>
                  </a:lnTo>
                  <a:lnTo>
                    <a:pt x="341" y="72"/>
                  </a:lnTo>
                  <a:lnTo>
                    <a:pt x="343" y="72"/>
                  </a:lnTo>
                  <a:lnTo>
                    <a:pt x="347" y="74"/>
                  </a:lnTo>
                  <a:lnTo>
                    <a:pt x="351" y="76"/>
                  </a:lnTo>
                  <a:lnTo>
                    <a:pt x="355" y="80"/>
                  </a:lnTo>
                  <a:lnTo>
                    <a:pt x="357" y="84"/>
                  </a:lnTo>
                  <a:lnTo>
                    <a:pt x="359" y="86"/>
                  </a:lnTo>
                  <a:lnTo>
                    <a:pt x="362" y="90"/>
                  </a:lnTo>
                  <a:lnTo>
                    <a:pt x="366" y="95"/>
                  </a:lnTo>
                  <a:lnTo>
                    <a:pt x="372" y="97"/>
                  </a:lnTo>
                  <a:lnTo>
                    <a:pt x="376" y="101"/>
                  </a:lnTo>
                  <a:lnTo>
                    <a:pt x="380" y="105"/>
                  </a:lnTo>
                  <a:lnTo>
                    <a:pt x="385" y="107"/>
                  </a:lnTo>
                  <a:lnTo>
                    <a:pt x="389" y="107"/>
                  </a:lnTo>
                  <a:lnTo>
                    <a:pt x="393" y="111"/>
                  </a:lnTo>
                  <a:lnTo>
                    <a:pt x="399" y="115"/>
                  </a:lnTo>
                  <a:lnTo>
                    <a:pt x="403" y="117"/>
                  </a:lnTo>
                  <a:lnTo>
                    <a:pt x="407" y="117"/>
                  </a:lnTo>
                  <a:lnTo>
                    <a:pt x="410" y="120"/>
                  </a:lnTo>
                  <a:lnTo>
                    <a:pt x="416" y="124"/>
                  </a:lnTo>
                  <a:lnTo>
                    <a:pt x="420" y="124"/>
                  </a:lnTo>
                  <a:lnTo>
                    <a:pt x="424" y="124"/>
                  </a:lnTo>
                  <a:lnTo>
                    <a:pt x="432" y="124"/>
                  </a:lnTo>
                  <a:lnTo>
                    <a:pt x="437" y="124"/>
                  </a:lnTo>
                  <a:lnTo>
                    <a:pt x="441" y="124"/>
                  </a:lnTo>
                  <a:lnTo>
                    <a:pt x="443" y="124"/>
                  </a:lnTo>
                  <a:lnTo>
                    <a:pt x="445" y="128"/>
                  </a:lnTo>
                  <a:lnTo>
                    <a:pt x="447" y="130"/>
                  </a:lnTo>
                  <a:lnTo>
                    <a:pt x="449" y="134"/>
                  </a:lnTo>
                  <a:lnTo>
                    <a:pt x="453" y="136"/>
                  </a:lnTo>
                  <a:lnTo>
                    <a:pt x="456" y="136"/>
                  </a:lnTo>
                  <a:lnTo>
                    <a:pt x="460" y="136"/>
                  </a:lnTo>
                  <a:lnTo>
                    <a:pt x="464" y="136"/>
                  </a:lnTo>
                  <a:lnTo>
                    <a:pt x="468" y="138"/>
                  </a:lnTo>
                  <a:lnTo>
                    <a:pt x="470" y="140"/>
                  </a:lnTo>
                  <a:lnTo>
                    <a:pt x="474" y="143"/>
                  </a:lnTo>
                  <a:lnTo>
                    <a:pt x="476" y="147"/>
                  </a:lnTo>
                  <a:lnTo>
                    <a:pt x="478" y="151"/>
                  </a:lnTo>
                  <a:lnTo>
                    <a:pt x="481" y="157"/>
                  </a:lnTo>
                  <a:lnTo>
                    <a:pt x="479" y="161"/>
                  </a:lnTo>
                  <a:lnTo>
                    <a:pt x="476" y="165"/>
                  </a:lnTo>
                  <a:lnTo>
                    <a:pt x="476" y="166"/>
                  </a:lnTo>
                  <a:lnTo>
                    <a:pt x="476" y="170"/>
                  </a:lnTo>
                  <a:lnTo>
                    <a:pt x="476" y="174"/>
                  </a:lnTo>
                  <a:lnTo>
                    <a:pt x="476" y="178"/>
                  </a:lnTo>
                  <a:lnTo>
                    <a:pt x="478" y="182"/>
                  </a:lnTo>
                  <a:lnTo>
                    <a:pt x="481" y="186"/>
                  </a:lnTo>
                  <a:lnTo>
                    <a:pt x="481" y="191"/>
                  </a:lnTo>
                  <a:lnTo>
                    <a:pt x="481" y="195"/>
                  </a:lnTo>
                  <a:lnTo>
                    <a:pt x="481" y="199"/>
                  </a:lnTo>
                  <a:lnTo>
                    <a:pt x="479" y="201"/>
                  </a:lnTo>
                  <a:lnTo>
                    <a:pt x="476" y="20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146" name="Freeform 31"/>
          <p:cNvSpPr>
            <a:spLocks/>
          </p:cNvSpPr>
          <p:nvPr/>
        </p:nvSpPr>
        <p:spPr bwMode="auto">
          <a:xfrm>
            <a:off x="6897276" y="1271090"/>
            <a:ext cx="1182605" cy="2425416"/>
          </a:xfrm>
          <a:custGeom>
            <a:avLst/>
            <a:gdLst>
              <a:gd name="T0" fmla="*/ 580 w 605"/>
              <a:gd name="T1" fmla="*/ 1232 h 1249"/>
              <a:gd name="T2" fmla="*/ 555 w 605"/>
              <a:gd name="T3" fmla="*/ 1220 h 1249"/>
              <a:gd name="T4" fmla="*/ 561 w 605"/>
              <a:gd name="T5" fmla="*/ 1199 h 1249"/>
              <a:gd name="T6" fmla="*/ 557 w 605"/>
              <a:gd name="T7" fmla="*/ 1167 h 1249"/>
              <a:gd name="T8" fmla="*/ 575 w 605"/>
              <a:gd name="T9" fmla="*/ 1142 h 1249"/>
              <a:gd name="T10" fmla="*/ 582 w 605"/>
              <a:gd name="T11" fmla="*/ 1105 h 1249"/>
              <a:gd name="T12" fmla="*/ 579 w 605"/>
              <a:gd name="T13" fmla="*/ 1073 h 1249"/>
              <a:gd name="T14" fmla="*/ 555 w 605"/>
              <a:gd name="T15" fmla="*/ 1057 h 1249"/>
              <a:gd name="T16" fmla="*/ 519 w 605"/>
              <a:gd name="T17" fmla="*/ 1050 h 1249"/>
              <a:gd name="T18" fmla="*/ 482 w 605"/>
              <a:gd name="T19" fmla="*/ 1046 h 1249"/>
              <a:gd name="T20" fmla="*/ 463 w 605"/>
              <a:gd name="T21" fmla="*/ 1019 h 1249"/>
              <a:gd name="T22" fmla="*/ 438 w 605"/>
              <a:gd name="T23" fmla="*/ 1013 h 1249"/>
              <a:gd name="T24" fmla="*/ 408 w 605"/>
              <a:gd name="T25" fmla="*/ 1004 h 1249"/>
              <a:gd name="T26" fmla="*/ 386 w 605"/>
              <a:gd name="T27" fmla="*/ 981 h 1249"/>
              <a:gd name="T28" fmla="*/ 367 w 605"/>
              <a:gd name="T29" fmla="*/ 975 h 1249"/>
              <a:gd name="T30" fmla="*/ 333 w 605"/>
              <a:gd name="T31" fmla="*/ 971 h 1249"/>
              <a:gd name="T32" fmla="*/ 319 w 605"/>
              <a:gd name="T33" fmla="*/ 952 h 1249"/>
              <a:gd name="T34" fmla="*/ 310 w 605"/>
              <a:gd name="T35" fmla="*/ 940 h 1249"/>
              <a:gd name="T36" fmla="*/ 277 w 605"/>
              <a:gd name="T37" fmla="*/ 948 h 1249"/>
              <a:gd name="T38" fmla="*/ 237 w 605"/>
              <a:gd name="T39" fmla="*/ 967 h 1249"/>
              <a:gd name="T40" fmla="*/ 198 w 605"/>
              <a:gd name="T41" fmla="*/ 986 h 1249"/>
              <a:gd name="T42" fmla="*/ 166 w 605"/>
              <a:gd name="T43" fmla="*/ 996 h 1249"/>
              <a:gd name="T44" fmla="*/ 169 w 605"/>
              <a:gd name="T45" fmla="*/ 963 h 1249"/>
              <a:gd name="T46" fmla="*/ 162 w 605"/>
              <a:gd name="T47" fmla="*/ 931 h 1249"/>
              <a:gd name="T48" fmla="*/ 156 w 605"/>
              <a:gd name="T49" fmla="*/ 900 h 1249"/>
              <a:gd name="T50" fmla="*/ 160 w 605"/>
              <a:gd name="T51" fmla="*/ 873 h 1249"/>
              <a:gd name="T52" fmla="*/ 152 w 605"/>
              <a:gd name="T53" fmla="*/ 850 h 1249"/>
              <a:gd name="T54" fmla="*/ 154 w 605"/>
              <a:gd name="T55" fmla="*/ 819 h 1249"/>
              <a:gd name="T56" fmla="*/ 150 w 605"/>
              <a:gd name="T57" fmla="*/ 781 h 1249"/>
              <a:gd name="T58" fmla="*/ 156 w 605"/>
              <a:gd name="T59" fmla="*/ 754 h 1249"/>
              <a:gd name="T60" fmla="*/ 144 w 605"/>
              <a:gd name="T61" fmla="*/ 735 h 1249"/>
              <a:gd name="T62" fmla="*/ 143 w 605"/>
              <a:gd name="T63" fmla="*/ 708 h 1249"/>
              <a:gd name="T64" fmla="*/ 158 w 605"/>
              <a:gd name="T65" fmla="*/ 691 h 1249"/>
              <a:gd name="T66" fmla="*/ 179 w 605"/>
              <a:gd name="T67" fmla="*/ 679 h 1249"/>
              <a:gd name="T68" fmla="*/ 194 w 605"/>
              <a:gd name="T69" fmla="*/ 670 h 1249"/>
              <a:gd name="T70" fmla="*/ 169 w 605"/>
              <a:gd name="T71" fmla="*/ 668 h 1249"/>
              <a:gd name="T72" fmla="*/ 143 w 605"/>
              <a:gd name="T73" fmla="*/ 645 h 1249"/>
              <a:gd name="T74" fmla="*/ 131 w 605"/>
              <a:gd name="T75" fmla="*/ 602 h 1249"/>
              <a:gd name="T76" fmla="*/ 119 w 605"/>
              <a:gd name="T77" fmla="*/ 564 h 1249"/>
              <a:gd name="T78" fmla="*/ 102 w 605"/>
              <a:gd name="T79" fmla="*/ 535 h 1249"/>
              <a:gd name="T80" fmla="*/ 95 w 605"/>
              <a:gd name="T81" fmla="*/ 512 h 1249"/>
              <a:gd name="T82" fmla="*/ 102 w 605"/>
              <a:gd name="T83" fmla="*/ 491 h 1249"/>
              <a:gd name="T84" fmla="*/ 102 w 605"/>
              <a:gd name="T85" fmla="*/ 468 h 1249"/>
              <a:gd name="T86" fmla="*/ 73 w 605"/>
              <a:gd name="T87" fmla="*/ 449 h 1249"/>
              <a:gd name="T88" fmla="*/ 60 w 605"/>
              <a:gd name="T89" fmla="*/ 422 h 1249"/>
              <a:gd name="T90" fmla="*/ 79 w 605"/>
              <a:gd name="T91" fmla="*/ 389 h 1249"/>
              <a:gd name="T92" fmla="*/ 89 w 605"/>
              <a:gd name="T93" fmla="*/ 355 h 1249"/>
              <a:gd name="T94" fmla="*/ 81 w 605"/>
              <a:gd name="T95" fmla="*/ 322 h 1249"/>
              <a:gd name="T96" fmla="*/ 54 w 605"/>
              <a:gd name="T97" fmla="*/ 295 h 1249"/>
              <a:gd name="T98" fmla="*/ 14 w 605"/>
              <a:gd name="T99" fmla="*/ 288 h 1249"/>
              <a:gd name="T100" fmla="*/ 18 w 605"/>
              <a:gd name="T101" fmla="*/ 266 h 1249"/>
              <a:gd name="T102" fmla="*/ 47 w 605"/>
              <a:gd name="T103" fmla="*/ 240 h 1249"/>
              <a:gd name="T104" fmla="*/ 83 w 605"/>
              <a:gd name="T105" fmla="*/ 234 h 1249"/>
              <a:gd name="T106" fmla="*/ 98 w 605"/>
              <a:gd name="T107" fmla="*/ 188 h 1249"/>
              <a:gd name="T108" fmla="*/ 125 w 605"/>
              <a:gd name="T109" fmla="*/ 145 h 1249"/>
              <a:gd name="T110" fmla="*/ 139 w 605"/>
              <a:gd name="T111" fmla="*/ 111 h 1249"/>
              <a:gd name="T112" fmla="*/ 156 w 605"/>
              <a:gd name="T113" fmla="*/ 82 h 1249"/>
              <a:gd name="T114" fmla="*/ 169 w 605"/>
              <a:gd name="T115" fmla="*/ 53 h 1249"/>
              <a:gd name="T116" fmla="*/ 181 w 605"/>
              <a:gd name="T117" fmla="*/ 17 h 1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05" h="1249">
                <a:moveTo>
                  <a:pt x="605" y="1249"/>
                </a:moveTo>
                <a:lnTo>
                  <a:pt x="596" y="1240"/>
                </a:lnTo>
                <a:lnTo>
                  <a:pt x="592" y="1236"/>
                </a:lnTo>
                <a:lnTo>
                  <a:pt x="580" y="1232"/>
                </a:lnTo>
                <a:lnTo>
                  <a:pt x="575" y="1226"/>
                </a:lnTo>
                <a:lnTo>
                  <a:pt x="569" y="1222"/>
                </a:lnTo>
                <a:lnTo>
                  <a:pt x="559" y="1222"/>
                </a:lnTo>
                <a:lnTo>
                  <a:pt x="555" y="1220"/>
                </a:lnTo>
                <a:lnTo>
                  <a:pt x="546" y="1211"/>
                </a:lnTo>
                <a:lnTo>
                  <a:pt x="552" y="1209"/>
                </a:lnTo>
                <a:lnTo>
                  <a:pt x="559" y="1207"/>
                </a:lnTo>
                <a:lnTo>
                  <a:pt x="561" y="1199"/>
                </a:lnTo>
                <a:lnTo>
                  <a:pt x="565" y="1196"/>
                </a:lnTo>
                <a:lnTo>
                  <a:pt x="563" y="1188"/>
                </a:lnTo>
                <a:lnTo>
                  <a:pt x="559" y="1176"/>
                </a:lnTo>
                <a:lnTo>
                  <a:pt x="557" y="1167"/>
                </a:lnTo>
                <a:lnTo>
                  <a:pt x="561" y="1161"/>
                </a:lnTo>
                <a:lnTo>
                  <a:pt x="571" y="1159"/>
                </a:lnTo>
                <a:lnTo>
                  <a:pt x="577" y="1151"/>
                </a:lnTo>
                <a:lnTo>
                  <a:pt x="575" y="1142"/>
                </a:lnTo>
                <a:lnTo>
                  <a:pt x="577" y="1132"/>
                </a:lnTo>
                <a:lnTo>
                  <a:pt x="577" y="1124"/>
                </a:lnTo>
                <a:lnTo>
                  <a:pt x="579" y="1115"/>
                </a:lnTo>
                <a:lnTo>
                  <a:pt x="582" y="1105"/>
                </a:lnTo>
                <a:lnTo>
                  <a:pt x="582" y="1098"/>
                </a:lnTo>
                <a:lnTo>
                  <a:pt x="582" y="1088"/>
                </a:lnTo>
                <a:lnTo>
                  <a:pt x="584" y="1080"/>
                </a:lnTo>
                <a:lnTo>
                  <a:pt x="579" y="1073"/>
                </a:lnTo>
                <a:lnTo>
                  <a:pt x="573" y="1065"/>
                </a:lnTo>
                <a:lnTo>
                  <a:pt x="569" y="1061"/>
                </a:lnTo>
                <a:lnTo>
                  <a:pt x="561" y="1055"/>
                </a:lnTo>
                <a:lnTo>
                  <a:pt x="555" y="1057"/>
                </a:lnTo>
                <a:lnTo>
                  <a:pt x="546" y="1061"/>
                </a:lnTo>
                <a:lnTo>
                  <a:pt x="532" y="1061"/>
                </a:lnTo>
                <a:lnTo>
                  <a:pt x="527" y="1053"/>
                </a:lnTo>
                <a:lnTo>
                  <a:pt x="519" y="1050"/>
                </a:lnTo>
                <a:lnTo>
                  <a:pt x="509" y="1050"/>
                </a:lnTo>
                <a:lnTo>
                  <a:pt x="498" y="1053"/>
                </a:lnTo>
                <a:lnTo>
                  <a:pt x="490" y="1052"/>
                </a:lnTo>
                <a:lnTo>
                  <a:pt x="482" y="1046"/>
                </a:lnTo>
                <a:lnTo>
                  <a:pt x="477" y="1038"/>
                </a:lnTo>
                <a:lnTo>
                  <a:pt x="473" y="1029"/>
                </a:lnTo>
                <a:lnTo>
                  <a:pt x="469" y="1021"/>
                </a:lnTo>
                <a:lnTo>
                  <a:pt x="463" y="1019"/>
                </a:lnTo>
                <a:lnTo>
                  <a:pt x="458" y="1013"/>
                </a:lnTo>
                <a:lnTo>
                  <a:pt x="450" y="1009"/>
                </a:lnTo>
                <a:lnTo>
                  <a:pt x="444" y="1009"/>
                </a:lnTo>
                <a:lnTo>
                  <a:pt x="438" y="1013"/>
                </a:lnTo>
                <a:lnTo>
                  <a:pt x="431" y="1015"/>
                </a:lnTo>
                <a:lnTo>
                  <a:pt x="421" y="1013"/>
                </a:lnTo>
                <a:lnTo>
                  <a:pt x="415" y="1009"/>
                </a:lnTo>
                <a:lnTo>
                  <a:pt x="408" y="1004"/>
                </a:lnTo>
                <a:lnTo>
                  <a:pt x="402" y="1000"/>
                </a:lnTo>
                <a:lnTo>
                  <a:pt x="398" y="994"/>
                </a:lnTo>
                <a:lnTo>
                  <a:pt x="392" y="988"/>
                </a:lnTo>
                <a:lnTo>
                  <a:pt x="386" y="981"/>
                </a:lnTo>
                <a:lnTo>
                  <a:pt x="381" y="981"/>
                </a:lnTo>
                <a:lnTo>
                  <a:pt x="373" y="979"/>
                </a:lnTo>
                <a:lnTo>
                  <a:pt x="371" y="973"/>
                </a:lnTo>
                <a:lnTo>
                  <a:pt x="367" y="975"/>
                </a:lnTo>
                <a:lnTo>
                  <a:pt x="360" y="971"/>
                </a:lnTo>
                <a:lnTo>
                  <a:pt x="350" y="969"/>
                </a:lnTo>
                <a:lnTo>
                  <a:pt x="342" y="967"/>
                </a:lnTo>
                <a:lnTo>
                  <a:pt x="333" y="971"/>
                </a:lnTo>
                <a:lnTo>
                  <a:pt x="327" y="971"/>
                </a:lnTo>
                <a:lnTo>
                  <a:pt x="323" y="963"/>
                </a:lnTo>
                <a:lnTo>
                  <a:pt x="321" y="957"/>
                </a:lnTo>
                <a:lnTo>
                  <a:pt x="319" y="952"/>
                </a:lnTo>
                <a:lnTo>
                  <a:pt x="325" y="950"/>
                </a:lnTo>
                <a:lnTo>
                  <a:pt x="319" y="944"/>
                </a:lnTo>
                <a:lnTo>
                  <a:pt x="313" y="940"/>
                </a:lnTo>
                <a:lnTo>
                  <a:pt x="310" y="940"/>
                </a:lnTo>
                <a:lnTo>
                  <a:pt x="302" y="942"/>
                </a:lnTo>
                <a:lnTo>
                  <a:pt x="294" y="940"/>
                </a:lnTo>
                <a:lnTo>
                  <a:pt x="287" y="944"/>
                </a:lnTo>
                <a:lnTo>
                  <a:pt x="277" y="948"/>
                </a:lnTo>
                <a:lnTo>
                  <a:pt x="265" y="952"/>
                </a:lnTo>
                <a:lnTo>
                  <a:pt x="256" y="956"/>
                </a:lnTo>
                <a:lnTo>
                  <a:pt x="248" y="963"/>
                </a:lnTo>
                <a:lnTo>
                  <a:pt x="237" y="967"/>
                </a:lnTo>
                <a:lnTo>
                  <a:pt x="227" y="971"/>
                </a:lnTo>
                <a:lnTo>
                  <a:pt x="221" y="977"/>
                </a:lnTo>
                <a:lnTo>
                  <a:pt x="212" y="981"/>
                </a:lnTo>
                <a:lnTo>
                  <a:pt x="198" y="986"/>
                </a:lnTo>
                <a:lnTo>
                  <a:pt x="192" y="990"/>
                </a:lnTo>
                <a:lnTo>
                  <a:pt x="187" y="994"/>
                </a:lnTo>
                <a:lnTo>
                  <a:pt x="175" y="996"/>
                </a:lnTo>
                <a:lnTo>
                  <a:pt x="166" y="996"/>
                </a:lnTo>
                <a:lnTo>
                  <a:pt x="168" y="988"/>
                </a:lnTo>
                <a:lnTo>
                  <a:pt x="166" y="981"/>
                </a:lnTo>
                <a:lnTo>
                  <a:pt x="168" y="971"/>
                </a:lnTo>
                <a:lnTo>
                  <a:pt x="169" y="963"/>
                </a:lnTo>
                <a:lnTo>
                  <a:pt x="168" y="954"/>
                </a:lnTo>
                <a:lnTo>
                  <a:pt x="169" y="946"/>
                </a:lnTo>
                <a:lnTo>
                  <a:pt x="166" y="938"/>
                </a:lnTo>
                <a:lnTo>
                  <a:pt x="162" y="931"/>
                </a:lnTo>
                <a:lnTo>
                  <a:pt x="162" y="925"/>
                </a:lnTo>
                <a:lnTo>
                  <a:pt x="160" y="913"/>
                </a:lnTo>
                <a:lnTo>
                  <a:pt x="156" y="908"/>
                </a:lnTo>
                <a:lnTo>
                  <a:pt x="156" y="900"/>
                </a:lnTo>
                <a:lnTo>
                  <a:pt x="158" y="890"/>
                </a:lnTo>
                <a:lnTo>
                  <a:pt x="162" y="886"/>
                </a:lnTo>
                <a:lnTo>
                  <a:pt x="162" y="879"/>
                </a:lnTo>
                <a:lnTo>
                  <a:pt x="160" y="873"/>
                </a:lnTo>
                <a:lnTo>
                  <a:pt x="154" y="867"/>
                </a:lnTo>
                <a:lnTo>
                  <a:pt x="154" y="862"/>
                </a:lnTo>
                <a:lnTo>
                  <a:pt x="152" y="858"/>
                </a:lnTo>
                <a:lnTo>
                  <a:pt x="152" y="850"/>
                </a:lnTo>
                <a:lnTo>
                  <a:pt x="156" y="844"/>
                </a:lnTo>
                <a:lnTo>
                  <a:pt x="156" y="837"/>
                </a:lnTo>
                <a:lnTo>
                  <a:pt x="152" y="831"/>
                </a:lnTo>
                <a:lnTo>
                  <a:pt x="154" y="819"/>
                </a:lnTo>
                <a:lnTo>
                  <a:pt x="148" y="812"/>
                </a:lnTo>
                <a:lnTo>
                  <a:pt x="146" y="800"/>
                </a:lnTo>
                <a:lnTo>
                  <a:pt x="154" y="790"/>
                </a:lnTo>
                <a:lnTo>
                  <a:pt x="150" y="781"/>
                </a:lnTo>
                <a:lnTo>
                  <a:pt x="148" y="771"/>
                </a:lnTo>
                <a:lnTo>
                  <a:pt x="154" y="767"/>
                </a:lnTo>
                <a:lnTo>
                  <a:pt x="154" y="762"/>
                </a:lnTo>
                <a:lnTo>
                  <a:pt x="156" y="754"/>
                </a:lnTo>
                <a:lnTo>
                  <a:pt x="156" y="748"/>
                </a:lnTo>
                <a:lnTo>
                  <a:pt x="148" y="746"/>
                </a:lnTo>
                <a:lnTo>
                  <a:pt x="144" y="741"/>
                </a:lnTo>
                <a:lnTo>
                  <a:pt x="144" y="735"/>
                </a:lnTo>
                <a:lnTo>
                  <a:pt x="141" y="729"/>
                </a:lnTo>
                <a:lnTo>
                  <a:pt x="141" y="719"/>
                </a:lnTo>
                <a:lnTo>
                  <a:pt x="144" y="714"/>
                </a:lnTo>
                <a:lnTo>
                  <a:pt x="143" y="708"/>
                </a:lnTo>
                <a:lnTo>
                  <a:pt x="148" y="704"/>
                </a:lnTo>
                <a:lnTo>
                  <a:pt x="150" y="698"/>
                </a:lnTo>
                <a:lnTo>
                  <a:pt x="156" y="694"/>
                </a:lnTo>
                <a:lnTo>
                  <a:pt x="158" y="691"/>
                </a:lnTo>
                <a:lnTo>
                  <a:pt x="160" y="685"/>
                </a:lnTo>
                <a:lnTo>
                  <a:pt x="168" y="685"/>
                </a:lnTo>
                <a:lnTo>
                  <a:pt x="171" y="685"/>
                </a:lnTo>
                <a:lnTo>
                  <a:pt x="179" y="679"/>
                </a:lnTo>
                <a:lnTo>
                  <a:pt x="189" y="675"/>
                </a:lnTo>
                <a:lnTo>
                  <a:pt x="192" y="673"/>
                </a:lnTo>
                <a:lnTo>
                  <a:pt x="196" y="670"/>
                </a:lnTo>
                <a:lnTo>
                  <a:pt x="194" y="670"/>
                </a:lnTo>
                <a:lnTo>
                  <a:pt x="191" y="666"/>
                </a:lnTo>
                <a:lnTo>
                  <a:pt x="183" y="670"/>
                </a:lnTo>
                <a:lnTo>
                  <a:pt x="177" y="671"/>
                </a:lnTo>
                <a:lnTo>
                  <a:pt x="169" y="668"/>
                </a:lnTo>
                <a:lnTo>
                  <a:pt x="162" y="668"/>
                </a:lnTo>
                <a:lnTo>
                  <a:pt x="152" y="660"/>
                </a:lnTo>
                <a:lnTo>
                  <a:pt x="150" y="652"/>
                </a:lnTo>
                <a:lnTo>
                  <a:pt x="143" y="645"/>
                </a:lnTo>
                <a:lnTo>
                  <a:pt x="139" y="633"/>
                </a:lnTo>
                <a:lnTo>
                  <a:pt x="137" y="623"/>
                </a:lnTo>
                <a:lnTo>
                  <a:pt x="135" y="612"/>
                </a:lnTo>
                <a:lnTo>
                  <a:pt x="131" y="602"/>
                </a:lnTo>
                <a:lnTo>
                  <a:pt x="129" y="593"/>
                </a:lnTo>
                <a:lnTo>
                  <a:pt x="123" y="579"/>
                </a:lnTo>
                <a:lnTo>
                  <a:pt x="123" y="572"/>
                </a:lnTo>
                <a:lnTo>
                  <a:pt x="119" y="564"/>
                </a:lnTo>
                <a:lnTo>
                  <a:pt x="112" y="558"/>
                </a:lnTo>
                <a:lnTo>
                  <a:pt x="104" y="551"/>
                </a:lnTo>
                <a:lnTo>
                  <a:pt x="102" y="541"/>
                </a:lnTo>
                <a:lnTo>
                  <a:pt x="102" y="535"/>
                </a:lnTo>
                <a:lnTo>
                  <a:pt x="95" y="527"/>
                </a:lnTo>
                <a:lnTo>
                  <a:pt x="93" y="522"/>
                </a:lnTo>
                <a:lnTo>
                  <a:pt x="98" y="516"/>
                </a:lnTo>
                <a:lnTo>
                  <a:pt x="95" y="512"/>
                </a:lnTo>
                <a:lnTo>
                  <a:pt x="93" y="508"/>
                </a:lnTo>
                <a:lnTo>
                  <a:pt x="100" y="506"/>
                </a:lnTo>
                <a:lnTo>
                  <a:pt x="104" y="499"/>
                </a:lnTo>
                <a:lnTo>
                  <a:pt x="102" y="491"/>
                </a:lnTo>
                <a:lnTo>
                  <a:pt x="98" y="485"/>
                </a:lnTo>
                <a:lnTo>
                  <a:pt x="95" y="478"/>
                </a:lnTo>
                <a:lnTo>
                  <a:pt x="98" y="474"/>
                </a:lnTo>
                <a:lnTo>
                  <a:pt x="102" y="468"/>
                </a:lnTo>
                <a:lnTo>
                  <a:pt x="98" y="462"/>
                </a:lnTo>
                <a:lnTo>
                  <a:pt x="91" y="456"/>
                </a:lnTo>
                <a:lnTo>
                  <a:pt x="81" y="453"/>
                </a:lnTo>
                <a:lnTo>
                  <a:pt x="73" y="449"/>
                </a:lnTo>
                <a:lnTo>
                  <a:pt x="73" y="439"/>
                </a:lnTo>
                <a:lnTo>
                  <a:pt x="70" y="435"/>
                </a:lnTo>
                <a:lnTo>
                  <a:pt x="62" y="432"/>
                </a:lnTo>
                <a:lnTo>
                  <a:pt x="60" y="422"/>
                </a:lnTo>
                <a:lnTo>
                  <a:pt x="70" y="416"/>
                </a:lnTo>
                <a:lnTo>
                  <a:pt x="75" y="408"/>
                </a:lnTo>
                <a:lnTo>
                  <a:pt x="79" y="397"/>
                </a:lnTo>
                <a:lnTo>
                  <a:pt x="79" y="389"/>
                </a:lnTo>
                <a:lnTo>
                  <a:pt x="81" y="380"/>
                </a:lnTo>
                <a:lnTo>
                  <a:pt x="83" y="372"/>
                </a:lnTo>
                <a:lnTo>
                  <a:pt x="87" y="362"/>
                </a:lnTo>
                <a:lnTo>
                  <a:pt x="89" y="355"/>
                </a:lnTo>
                <a:lnTo>
                  <a:pt x="87" y="347"/>
                </a:lnTo>
                <a:lnTo>
                  <a:pt x="83" y="341"/>
                </a:lnTo>
                <a:lnTo>
                  <a:pt x="81" y="332"/>
                </a:lnTo>
                <a:lnTo>
                  <a:pt x="81" y="322"/>
                </a:lnTo>
                <a:lnTo>
                  <a:pt x="79" y="312"/>
                </a:lnTo>
                <a:lnTo>
                  <a:pt x="73" y="303"/>
                </a:lnTo>
                <a:lnTo>
                  <a:pt x="64" y="299"/>
                </a:lnTo>
                <a:lnTo>
                  <a:pt x="54" y="295"/>
                </a:lnTo>
                <a:lnTo>
                  <a:pt x="48" y="291"/>
                </a:lnTo>
                <a:lnTo>
                  <a:pt x="37" y="289"/>
                </a:lnTo>
                <a:lnTo>
                  <a:pt x="27" y="288"/>
                </a:lnTo>
                <a:lnTo>
                  <a:pt x="14" y="288"/>
                </a:lnTo>
                <a:lnTo>
                  <a:pt x="0" y="289"/>
                </a:lnTo>
                <a:lnTo>
                  <a:pt x="10" y="280"/>
                </a:lnTo>
                <a:lnTo>
                  <a:pt x="16" y="274"/>
                </a:lnTo>
                <a:lnTo>
                  <a:pt x="18" y="266"/>
                </a:lnTo>
                <a:lnTo>
                  <a:pt x="27" y="261"/>
                </a:lnTo>
                <a:lnTo>
                  <a:pt x="35" y="253"/>
                </a:lnTo>
                <a:lnTo>
                  <a:pt x="41" y="249"/>
                </a:lnTo>
                <a:lnTo>
                  <a:pt x="47" y="240"/>
                </a:lnTo>
                <a:lnTo>
                  <a:pt x="52" y="241"/>
                </a:lnTo>
                <a:lnTo>
                  <a:pt x="66" y="245"/>
                </a:lnTo>
                <a:lnTo>
                  <a:pt x="75" y="240"/>
                </a:lnTo>
                <a:lnTo>
                  <a:pt x="83" y="234"/>
                </a:lnTo>
                <a:lnTo>
                  <a:pt x="87" y="220"/>
                </a:lnTo>
                <a:lnTo>
                  <a:pt x="89" y="213"/>
                </a:lnTo>
                <a:lnTo>
                  <a:pt x="91" y="201"/>
                </a:lnTo>
                <a:lnTo>
                  <a:pt x="98" y="188"/>
                </a:lnTo>
                <a:lnTo>
                  <a:pt x="106" y="172"/>
                </a:lnTo>
                <a:lnTo>
                  <a:pt x="114" y="165"/>
                </a:lnTo>
                <a:lnTo>
                  <a:pt x="121" y="155"/>
                </a:lnTo>
                <a:lnTo>
                  <a:pt x="125" y="145"/>
                </a:lnTo>
                <a:lnTo>
                  <a:pt x="129" y="136"/>
                </a:lnTo>
                <a:lnTo>
                  <a:pt x="139" y="126"/>
                </a:lnTo>
                <a:lnTo>
                  <a:pt x="139" y="119"/>
                </a:lnTo>
                <a:lnTo>
                  <a:pt x="139" y="111"/>
                </a:lnTo>
                <a:lnTo>
                  <a:pt x="143" y="101"/>
                </a:lnTo>
                <a:lnTo>
                  <a:pt x="150" y="96"/>
                </a:lnTo>
                <a:lnTo>
                  <a:pt x="156" y="88"/>
                </a:lnTo>
                <a:lnTo>
                  <a:pt x="156" y="82"/>
                </a:lnTo>
                <a:lnTo>
                  <a:pt x="164" y="82"/>
                </a:lnTo>
                <a:lnTo>
                  <a:pt x="168" y="74"/>
                </a:lnTo>
                <a:lnTo>
                  <a:pt x="169" y="63"/>
                </a:lnTo>
                <a:lnTo>
                  <a:pt x="169" y="53"/>
                </a:lnTo>
                <a:lnTo>
                  <a:pt x="168" y="46"/>
                </a:lnTo>
                <a:lnTo>
                  <a:pt x="177" y="34"/>
                </a:lnTo>
                <a:lnTo>
                  <a:pt x="183" y="26"/>
                </a:lnTo>
                <a:lnTo>
                  <a:pt x="181" y="17"/>
                </a:lnTo>
                <a:lnTo>
                  <a:pt x="185" y="7"/>
                </a:lnTo>
                <a:lnTo>
                  <a:pt x="192" y="0"/>
                </a:lnTo>
              </a:path>
            </a:pathLst>
          </a:custGeom>
          <a:solidFill>
            <a:schemeClr val="bg2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67302271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Freeform 3"/>
          <p:cNvSpPr>
            <a:spLocks/>
          </p:cNvSpPr>
          <p:nvPr/>
        </p:nvSpPr>
        <p:spPr bwMode="auto">
          <a:xfrm>
            <a:off x="4006000" y="2387650"/>
            <a:ext cx="385443" cy="205571"/>
          </a:xfrm>
          <a:custGeom>
            <a:avLst/>
            <a:gdLst>
              <a:gd name="T0" fmla="*/ 6 w 360"/>
              <a:gd name="T1" fmla="*/ 162 h 192"/>
              <a:gd name="T2" fmla="*/ 12 w 360"/>
              <a:gd name="T3" fmla="*/ 156 h 192"/>
              <a:gd name="T4" fmla="*/ 24 w 360"/>
              <a:gd name="T5" fmla="*/ 144 h 192"/>
              <a:gd name="T6" fmla="*/ 30 w 360"/>
              <a:gd name="T7" fmla="*/ 138 h 192"/>
              <a:gd name="T8" fmla="*/ 36 w 360"/>
              <a:gd name="T9" fmla="*/ 138 h 192"/>
              <a:gd name="T10" fmla="*/ 48 w 360"/>
              <a:gd name="T11" fmla="*/ 126 h 192"/>
              <a:gd name="T12" fmla="*/ 54 w 360"/>
              <a:gd name="T13" fmla="*/ 120 h 192"/>
              <a:gd name="T14" fmla="*/ 60 w 360"/>
              <a:gd name="T15" fmla="*/ 114 h 192"/>
              <a:gd name="T16" fmla="*/ 84 w 360"/>
              <a:gd name="T17" fmla="*/ 96 h 192"/>
              <a:gd name="T18" fmla="*/ 96 w 360"/>
              <a:gd name="T19" fmla="*/ 90 h 192"/>
              <a:gd name="T20" fmla="*/ 96 w 360"/>
              <a:gd name="T21" fmla="*/ 78 h 192"/>
              <a:gd name="T22" fmla="*/ 96 w 360"/>
              <a:gd name="T23" fmla="*/ 60 h 192"/>
              <a:gd name="T24" fmla="*/ 102 w 360"/>
              <a:gd name="T25" fmla="*/ 48 h 192"/>
              <a:gd name="T26" fmla="*/ 102 w 360"/>
              <a:gd name="T27" fmla="*/ 36 h 192"/>
              <a:gd name="T28" fmla="*/ 114 w 360"/>
              <a:gd name="T29" fmla="*/ 24 h 192"/>
              <a:gd name="T30" fmla="*/ 132 w 360"/>
              <a:gd name="T31" fmla="*/ 12 h 192"/>
              <a:gd name="T32" fmla="*/ 150 w 360"/>
              <a:gd name="T33" fmla="*/ 6 h 192"/>
              <a:gd name="T34" fmla="*/ 192 w 360"/>
              <a:gd name="T35" fmla="*/ 18 h 192"/>
              <a:gd name="T36" fmla="*/ 360 w 360"/>
              <a:gd name="T37" fmla="*/ 90 h 192"/>
              <a:gd name="T38" fmla="*/ 360 w 360"/>
              <a:gd name="T39" fmla="*/ 90 h 192"/>
              <a:gd name="T40" fmla="*/ 354 w 360"/>
              <a:gd name="T41" fmla="*/ 96 h 192"/>
              <a:gd name="T42" fmla="*/ 348 w 360"/>
              <a:gd name="T43" fmla="*/ 102 h 192"/>
              <a:gd name="T44" fmla="*/ 348 w 360"/>
              <a:gd name="T45" fmla="*/ 102 h 192"/>
              <a:gd name="T46" fmla="*/ 342 w 360"/>
              <a:gd name="T47" fmla="*/ 108 h 192"/>
              <a:gd name="T48" fmla="*/ 336 w 360"/>
              <a:gd name="T49" fmla="*/ 114 h 192"/>
              <a:gd name="T50" fmla="*/ 330 w 360"/>
              <a:gd name="T51" fmla="*/ 114 h 192"/>
              <a:gd name="T52" fmla="*/ 324 w 360"/>
              <a:gd name="T53" fmla="*/ 120 h 192"/>
              <a:gd name="T54" fmla="*/ 324 w 360"/>
              <a:gd name="T55" fmla="*/ 120 h 192"/>
              <a:gd name="T56" fmla="*/ 318 w 360"/>
              <a:gd name="T57" fmla="*/ 126 h 192"/>
              <a:gd name="T58" fmla="*/ 312 w 360"/>
              <a:gd name="T59" fmla="*/ 126 h 192"/>
              <a:gd name="T60" fmla="*/ 312 w 360"/>
              <a:gd name="T61" fmla="*/ 132 h 192"/>
              <a:gd name="T62" fmla="*/ 306 w 360"/>
              <a:gd name="T63" fmla="*/ 138 h 192"/>
              <a:gd name="T64" fmla="*/ 300 w 360"/>
              <a:gd name="T65" fmla="*/ 138 h 192"/>
              <a:gd name="T66" fmla="*/ 294 w 360"/>
              <a:gd name="T67" fmla="*/ 144 h 192"/>
              <a:gd name="T68" fmla="*/ 294 w 360"/>
              <a:gd name="T69" fmla="*/ 144 h 192"/>
              <a:gd name="T70" fmla="*/ 276 w 360"/>
              <a:gd name="T71" fmla="*/ 144 h 192"/>
              <a:gd name="T72" fmla="*/ 270 w 360"/>
              <a:gd name="T73" fmla="*/ 144 h 192"/>
              <a:gd name="T74" fmla="*/ 270 w 360"/>
              <a:gd name="T75" fmla="*/ 150 h 192"/>
              <a:gd name="T76" fmla="*/ 264 w 360"/>
              <a:gd name="T77" fmla="*/ 150 h 192"/>
              <a:gd name="T78" fmla="*/ 258 w 360"/>
              <a:gd name="T79" fmla="*/ 162 h 192"/>
              <a:gd name="T80" fmla="*/ 246 w 360"/>
              <a:gd name="T81" fmla="*/ 168 h 192"/>
              <a:gd name="T82" fmla="*/ 228 w 360"/>
              <a:gd name="T83" fmla="*/ 180 h 192"/>
              <a:gd name="T84" fmla="*/ 216 w 360"/>
              <a:gd name="T85" fmla="*/ 192 h 192"/>
              <a:gd name="T86" fmla="*/ 210 w 360"/>
              <a:gd name="T87" fmla="*/ 192 h 192"/>
              <a:gd name="T88" fmla="*/ 210 w 360"/>
              <a:gd name="T89" fmla="*/ 186 h 192"/>
              <a:gd name="T90" fmla="*/ 204 w 360"/>
              <a:gd name="T91" fmla="*/ 186 h 192"/>
              <a:gd name="T92" fmla="*/ 198 w 360"/>
              <a:gd name="T93" fmla="*/ 186 h 192"/>
              <a:gd name="T94" fmla="*/ 186 w 360"/>
              <a:gd name="T95" fmla="*/ 186 h 192"/>
              <a:gd name="T96" fmla="*/ 186 w 360"/>
              <a:gd name="T97" fmla="*/ 180 h 192"/>
              <a:gd name="T98" fmla="*/ 180 w 360"/>
              <a:gd name="T99" fmla="*/ 168 h 192"/>
              <a:gd name="T100" fmla="*/ 174 w 360"/>
              <a:gd name="T101" fmla="*/ 156 h 192"/>
              <a:gd name="T102" fmla="*/ 180 w 360"/>
              <a:gd name="T103" fmla="*/ 150 h 192"/>
              <a:gd name="T104" fmla="*/ 162 w 360"/>
              <a:gd name="T105" fmla="*/ 144 h 192"/>
              <a:gd name="T106" fmla="*/ 150 w 360"/>
              <a:gd name="T107" fmla="*/ 144 h 192"/>
              <a:gd name="T108" fmla="*/ 132 w 360"/>
              <a:gd name="T109" fmla="*/ 156 h 192"/>
              <a:gd name="T110" fmla="*/ 120 w 360"/>
              <a:gd name="T111" fmla="*/ 126 h 192"/>
              <a:gd name="T112" fmla="*/ 114 w 360"/>
              <a:gd name="T113" fmla="*/ 132 h 192"/>
              <a:gd name="T114" fmla="*/ 102 w 360"/>
              <a:gd name="T115" fmla="*/ 138 h 192"/>
              <a:gd name="T116" fmla="*/ 90 w 360"/>
              <a:gd name="T117" fmla="*/ 144 h 192"/>
              <a:gd name="T118" fmla="*/ 84 w 360"/>
              <a:gd name="T119" fmla="*/ 156 h 192"/>
              <a:gd name="T120" fmla="*/ 18 w 360"/>
              <a:gd name="T121" fmla="*/ 162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60" h="192">
                <a:moveTo>
                  <a:pt x="0" y="168"/>
                </a:moveTo>
                <a:lnTo>
                  <a:pt x="0" y="162"/>
                </a:lnTo>
                <a:lnTo>
                  <a:pt x="6" y="162"/>
                </a:lnTo>
                <a:lnTo>
                  <a:pt x="6" y="162"/>
                </a:lnTo>
                <a:lnTo>
                  <a:pt x="6" y="162"/>
                </a:lnTo>
                <a:lnTo>
                  <a:pt x="6" y="162"/>
                </a:lnTo>
                <a:lnTo>
                  <a:pt x="12" y="162"/>
                </a:lnTo>
                <a:lnTo>
                  <a:pt x="6" y="162"/>
                </a:lnTo>
                <a:lnTo>
                  <a:pt x="12" y="162"/>
                </a:lnTo>
                <a:lnTo>
                  <a:pt x="12" y="156"/>
                </a:lnTo>
                <a:lnTo>
                  <a:pt x="12" y="156"/>
                </a:lnTo>
                <a:lnTo>
                  <a:pt x="12" y="156"/>
                </a:lnTo>
                <a:lnTo>
                  <a:pt x="12" y="156"/>
                </a:lnTo>
                <a:lnTo>
                  <a:pt x="12" y="156"/>
                </a:lnTo>
                <a:lnTo>
                  <a:pt x="12" y="156"/>
                </a:lnTo>
                <a:lnTo>
                  <a:pt x="12" y="156"/>
                </a:lnTo>
                <a:lnTo>
                  <a:pt x="12" y="156"/>
                </a:lnTo>
                <a:lnTo>
                  <a:pt x="12" y="156"/>
                </a:lnTo>
                <a:lnTo>
                  <a:pt x="18" y="150"/>
                </a:lnTo>
                <a:lnTo>
                  <a:pt x="18" y="150"/>
                </a:lnTo>
                <a:lnTo>
                  <a:pt x="18" y="150"/>
                </a:lnTo>
                <a:lnTo>
                  <a:pt x="18" y="150"/>
                </a:lnTo>
                <a:lnTo>
                  <a:pt x="24" y="150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38"/>
                </a:lnTo>
                <a:lnTo>
                  <a:pt x="30" y="138"/>
                </a:lnTo>
                <a:lnTo>
                  <a:pt x="30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42" y="138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8" y="132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54" y="120"/>
                </a:lnTo>
                <a:lnTo>
                  <a:pt x="54" y="120"/>
                </a:lnTo>
                <a:lnTo>
                  <a:pt x="54" y="120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6" y="108"/>
                </a:lnTo>
                <a:lnTo>
                  <a:pt x="66" y="108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8" y="102"/>
                </a:lnTo>
                <a:lnTo>
                  <a:pt x="78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84"/>
                </a:lnTo>
                <a:lnTo>
                  <a:pt x="96" y="84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54"/>
                </a:lnTo>
                <a:lnTo>
                  <a:pt x="96" y="54"/>
                </a:lnTo>
                <a:lnTo>
                  <a:pt x="96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36"/>
                </a:lnTo>
                <a:lnTo>
                  <a:pt x="102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0"/>
                </a:lnTo>
                <a:lnTo>
                  <a:pt x="108" y="30"/>
                </a:lnTo>
                <a:lnTo>
                  <a:pt x="114" y="30"/>
                </a:lnTo>
                <a:lnTo>
                  <a:pt x="114" y="30"/>
                </a:lnTo>
                <a:lnTo>
                  <a:pt x="108" y="30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20" y="18"/>
                </a:lnTo>
                <a:lnTo>
                  <a:pt x="126" y="18"/>
                </a:lnTo>
                <a:lnTo>
                  <a:pt x="126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44" y="12"/>
                </a:lnTo>
                <a:lnTo>
                  <a:pt x="144" y="6"/>
                </a:lnTo>
                <a:lnTo>
                  <a:pt x="144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6" y="6"/>
                </a:lnTo>
                <a:lnTo>
                  <a:pt x="156" y="0"/>
                </a:lnTo>
                <a:lnTo>
                  <a:pt x="156" y="0"/>
                </a:lnTo>
                <a:lnTo>
                  <a:pt x="156" y="0"/>
                </a:lnTo>
                <a:lnTo>
                  <a:pt x="162" y="0"/>
                </a:lnTo>
                <a:lnTo>
                  <a:pt x="192" y="18"/>
                </a:lnTo>
                <a:lnTo>
                  <a:pt x="270" y="48"/>
                </a:lnTo>
                <a:lnTo>
                  <a:pt x="294" y="60"/>
                </a:lnTo>
                <a:lnTo>
                  <a:pt x="294" y="60"/>
                </a:lnTo>
                <a:lnTo>
                  <a:pt x="300" y="60"/>
                </a:lnTo>
                <a:lnTo>
                  <a:pt x="306" y="66"/>
                </a:lnTo>
                <a:lnTo>
                  <a:pt x="336" y="78"/>
                </a:lnTo>
                <a:lnTo>
                  <a:pt x="360" y="90"/>
                </a:lnTo>
                <a:lnTo>
                  <a:pt x="360" y="90"/>
                </a:lnTo>
                <a:lnTo>
                  <a:pt x="360" y="90"/>
                </a:lnTo>
                <a:lnTo>
                  <a:pt x="360" y="90"/>
                </a:lnTo>
                <a:lnTo>
                  <a:pt x="360" y="90"/>
                </a:lnTo>
                <a:lnTo>
                  <a:pt x="360" y="90"/>
                </a:lnTo>
                <a:lnTo>
                  <a:pt x="360" y="90"/>
                </a:lnTo>
                <a:lnTo>
                  <a:pt x="360" y="90"/>
                </a:lnTo>
                <a:lnTo>
                  <a:pt x="360" y="90"/>
                </a:lnTo>
                <a:lnTo>
                  <a:pt x="360" y="90"/>
                </a:lnTo>
                <a:lnTo>
                  <a:pt x="360" y="96"/>
                </a:lnTo>
                <a:lnTo>
                  <a:pt x="360" y="96"/>
                </a:lnTo>
                <a:lnTo>
                  <a:pt x="360" y="96"/>
                </a:lnTo>
                <a:lnTo>
                  <a:pt x="360" y="96"/>
                </a:lnTo>
                <a:lnTo>
                  <a:pt x="360" y="96"/>
                </a:lnTo>
                <a:lnTo>
                  <a:pt x="360" y="96"/>
                </a:lnTo>
                <a:lnTo>
                  <a:pt x="360" y="96"/>
                </a:lnTo>
                <a:lnTo>
                  <a:pt x="354" y="96"/>
                </a:lnTo>
                <a:lnTo>
                  <a:pt x="354" y="96"/>
                </a:lnTo>
                <a:lnTo>
                  <a:pt x="360" y="96"/>
                </a:lnTo>
                <a:lnTo>
                  <a:pt x="354" y="96"/>
                </a:lnTo>
                <a:lnTo>
                  <a:pt x="354" y="96"/>
                </a:lnTo>
                <a:lnTo>
                  <a:pt x="354" y="96"/>
                </a:lnTo>
                <a:lnTo>
                  <a:pt x="354" y="96"/>
                </a:lnTo>
                <a:lnTo>
                  <a:pt x="354" y="96"/>
                </a:lnTo>
                <a:lnTo>
                  <a:pt x="348" y="102"/>
                </a:lnTo>
                <a:lnTo>
                  <a:pt x="348" y="96"/>
                </a:lnTo>
                <a:lnTo>
                  <a:pt x="348" y="102"/>
                </a:lnTo>
                <a:lnTo>
                  <a:pt x="348" y="102"/>
                </a:lnTo>
                <a:lnTo>
                  <a:pt x="348" y="102"/>
                </a:lnTo>
                <a:lnTo>
                  <a:pt x="348" y="102"/>
                </a:lnTo>
                <a:lnTo>
                  <a:pt x="348" y="102"/>
                </a:lnTo>
                <a:lnTo>
                  <a:pt x="348" y="102"/>
                </a:lnTo>
                <a:lnTo>
                  <a:pt x="348" y="102"/>
                </a:lnTo>
                <a:lnTo>
                  <a:pt x="348" y="102"/>
                </a:lnTo>
                <a:lnTo>
                  <a:pt x="342" y="102"/>
                </a:lnTo>
                <a:lnTo>
                  <a:pt x="342" y="102"/>
                </a:lnTo>
                <a:lnTo>
                  <a:pt x="342" y="102"/>
                </a:lnTo>
                <a:lnTo>
                  <a:pt x="342" y="102"/>
                </a:lnTo>
                <a:lnTo>
                  <a:pt x="342" y="102"/>
                </a:lnTo>
                <a:lnTo>
                  <a:pt x="342" y="102"/>
                </a:lnTo>
                <a:lnTo>
                  <a:pt x="342" y="108"/>
                </a:lnTo>
                <a:lnTo>
                  <a:pt x="336" y="108"/>
                </a:lnTo>
                <a:lnTo>
                  <a:pt x="342" y="108"/>
                </a:lnTo>
                <a:lnTo>
                  <a:pt x="336" y="108"/>
                </a:lnTo>
                <a:lnTo>
                  <a:pt x="336" y="108"/>
                </a:lnTo>
                <a:lnTo>
                  <a:pt x="336" y="108"/>
                </a:lnTo>
                <a:lnTo>
                  <a:pt x="336" y="108"/>
                </a:lnTo>
                <a:lnTo>
                  <a:pt x="336" y="108"/>
                </a:lnTo>
                <a:lnTo>
                  <a:pt x="336" y="114"/>
                </a:lnTo>
                <a:lnTo>
                  <a:pt x="336" y="114"/>
                </a:lnTo>
                <a:lnTo>
                  <a:pt x="330" y="114"/>
                </a:lnTo>
                <a:lnTo>
                  <a:pt x="330" y="114"/>
                </a:lnTo>
                <a:lnTo>
                  <a:pt x="330" y="114"/>
                </a:lnTo>
                <a:lnTo>
                  <a:pt x="330" y="114"/>
                </a:lnTo>
                <a:lnTo>
                  <a:pt x="330" y="114"/>
                </a:lnTo>
                <a:lnTo>
                  <a:pt x="330" y="114"/>
                </a:lnTo>
                <a:lnTo>
                  <a:pt x="330" y="114"/>
                </a:lnTo>
                <a:lnTo>
                  <a:pt x="330" y="114"/>
                </a:lnTo>
                <a:lnTo>
                  <a:pt x="330" y="114"/>
                </a:lnTo>
                <a:lnTo>
                  <a:pt x="330" y="114"/>
                </a:lnTo>
                <a:lnTo>
                  <a:pt x="330" y="114"/>
                </a:lnTo>
                <a:lnTo>
                  <a:pt x="324" y="114"/>
                </a:lnTo>
                <a:lnTo>
                  <a:pt x="324" y="114"/>
                </a:lnTo>
                <a:lnTo>
                  <a:pt x="324" y="120"/>
                </a:lnTo>
                <a:lnTo>
                  <a:pt x="324" y="120"/>
                </a:lnTo>
                <a:lnTo>
                  <a:pt x="324" y="120"/>
                </a:lnTo>
                <a:lnTo>
                  <a:pt x="324" y="120"/>
                </a:lnTo>
                <a:lnTo>
                  <a:pt x="324" y="120"/>
                </a:lnTo>
                <a:lnTo>
                  <a:pt x="324" y="120"/>
                </a:lnTo>
                <a:lnTo>
                  <a:pt x="324" y="120"/>
                </a:lnTo>
                <a:lnTo>
                  <a:pt x="324" y="120"/>
                </a:lnTo>
                <a:lnTo>
                  <a:pt x="324" y="120"/>
                </a:lnTo>
                <a:lnTo>
                  <a:pt x="324" y="120"/>
                </a:lnTo>
                <a:lnTo>
                  <a:pt x="324" y="120"/>
                </a:lnTo>
                <a:lnTo>
                  <a:pt x="324" y="120"/>
                </a:lnTo>
                <a:lnTo>
                  <a:pt x="324" y="120"/>
                </a:lnTo>
                <a:lnTo>
                  <a:pt x="318" y="120"/>
                </a:lnTo>
                <a:lnTo>
                  <a:pt x="318" y="126"/>
                </a:lnTo>
                <a:lnTo>
                  <a:pt x="318" y="126"/>
                </a:lnTo>
                <a:lnTo>
                  <a:pt x="318" y="126"/>
                </a:lnTo>
                <a:lnTo>
                  <a:pt x="318" y="126"/>
                </a:lnTo>
                <a:lnTo>
                  <a:pt x="318" y="126"/>
                </a:lnTo>
                <a:lnTo>
                  <a:pt x="318" y="126"/>
                </a:lnTo>
                <a:lnTo>
                  <a:pt x="318" y="126"/>
                </a:lnTo>
                <a:lnTo>
                  <a:pt x="318" y="126"/>
                </a:lnTo>
                <a:lnTo>
                  <a:pt x="318" y="126"/>
                </a:lnTo>
                <a:lnTo>
                  <a:pt x="318" y="126"/>
                </a:lnTo>
                <a:lnTo>
                  <a:pt x="312" y="126"/>
                </a:lnTo>
                <a:lnTo>
                  <a:pt x="312" y="126"/>
                </a:lnTo>
                <a:lnTo>
                  <a:pt x="312" y="126"/>
                </a:lnTo>
                <a:lnTo>
                  <a:pt x="312" y="132"/>
                </a:lnTo>
                <a:lnTo>
                  <a:pt x="312" y="132"/>
                </a:lnTo>
                <a:lnTo>
                  <a:pt x="312" y="132"/>
                </a:lnTo>
                <a:lnTo>
                  <a:pt x="312" y="132"/>
                </a:lnTo>
                <a:lnTo>
                  <a:pt x="312" y="132"/>
                </a:lnTo>
                <a:lnTo>
                  <a:pt x="312" y="132"/>
                </a:lnTo>
                <a:lnTo>
                  <a:pt x="312" y="132"/>
                </a:lnTo>
                <a:lnTo>
                  <a:pt x="312" y="132"/>
                </a:lnTo>
                <a:lnTo>
                  <a:pt x="312" y="132"/>
                </a:lnTo>
                <a:lnTo>
                  <a:pt x="312" y="132"/>
                </a:lnTo>
                <a:lnTo>
                  <a:pt x="312" y="138"/>
                </a:lnTo>
                <a:lnTo>
                  <a:pt x="312" y="138"/>
                </a:lnTo>
                <a:lnTo>
                  <a:pt x="312" y="138"/>
                </a:lnTo>
                <a:lnTo>
                  <a:pt x="312" y="138"/>
                </a:lnTo>
                <a:lnTo>
                  <a:pt x="306" y="138"/>
                </a:lnTo>
                <a:lnTo>
                  <a:pt x="306" y="138"/>
                </a:lnTo>
                <a:lnTo>
                  <a:pt x="306" y="138"/>
                </a:lnTo>
                <a:lnTo>
                  <a:pt x="306" y="138"/>
                </a:lnTo>
                <a:lnTo>
                  <a:pt x="306" y="138"/>
                </a:lnTo>
                <a:lnTo>
                  <a:pt x="306" y="138"/>
                </a:lnTo>
                <a:lnTo>
                  <a:pt x="306" y="138"/>
                </a:lnTo>
                <a:lnTo>
                  <a:pt x="300" y="138"/>
                </a:lnTo>
                <a:lnTo>
                  <a:pt x="300" y="138"/>
                </a:lnTo>
                <a:lnTo>
                  <a:pt x="300" y="138"/>
                </a:lnTo>
                <a:lnTo>
                  <a:pt x="300" y="138"/>
                </a:lnTo>
                <a:lnTo>
                  <a:pt x="300" y="138"/>
                </a:lnTo>
                <a:lnTo>
                  <a:pt x="300" y="138"/>
                </a:lnTo>
                <a:lnTo>
                  <a:pt x="300" y="138"/>
                </a:lnTo>
                <a:lnTo>
                  <a:pt x="294" y="138"/>
                </a:lnTo>
                <a:lnTo>
                  <a:pt x="294" y="138"/>
                </a:lnTo>
                <a:lnTo>
                  <a:pt x="294" y="144"/>
                </a:lnTo>
                <a:lnTo>
                  <a:pt x="294" y="144"/>
                </a:lnTo>
                <a:lnTo>
                  <a:pt x="294" y="144"/>
                </a:lnTo>
                <a:lnTo>
                  <a:pt x="294" y="144"/>
                </a:lnTo>
                <a:lnTo>
                  <a:pt x="294" y="144"/>
                </a:lnTo>
                <a:lnTo>
                  <a:pt x="294" y="144"/>
                </a:lnTo>
                <a:lnTo>
                  <a:pt x="294" y="144"/>
                </a:lnTo>
                <a:lnTo>
                  <a:pt x="294" y="144"/>
                </a:lnTo>
                <a:lnTo>
                  <a:pt x="294" y="144"/>
                </a:lnTo>
                <a:lnTo>
                  <a:pt x="288" y="144"/>
                </a:lnTo>
                <a:lnTo>
                  <a:pt x="288" y="144"/>
                </a:lnTo>
                <a:lnTo>
                  <a:pt x="288" y="144"/>
                </a:lnTo>
                <a:lnTo>
                  <a:pt x="282" y="144"/>
                </a:lnTo>
                <a:lnTo>
                  <a:pt x="282" y="144"/>
                </a:lnTo>
                <a:lnTo>
                  <a:pt x="282" y="144"/>
                </a:lnTo>
                <a:lnTo>
                  <a:pt x="282" y="144"/>
                </a:lnTo>
                <a:lnTo>
                  <a:pt x="276" y="144"/>
                </a:lnTo>
                <a:lnTo>
                  <a:pt x="276" y="144"/>
                </a:lnTo>
                <a:lnTo>
                  <a:pt x="276" y="144"/>
                </a:lnTo>
                <a:lnTo>
                  <a:pt x="276" y="144"/>
                </a:lnTo>
                <a:lnTo>
                  <a:pt x="276" y="144"/>
                </a:lnTo>
                <a:lnTo>
                  <a:pt x="276" y="144"/>
                </a:lnTo>
                <a:lnTo>
                  <a:pt x="270" y="144"/>
                </a:lnTo>
                <a:lnTo>
                  <a:pt x="270" y="144"/>
                </a:lnTo>
                <a:lnTo>
                  <a:pt x="270" y="144"/>
                </a:lnTo>
                <a:lnTo>
                  <a:pt x="270" y="150"/>
                </a:lnTo>
                <a:lnTo>
                  <a:pt x="270" y="150"/>
                </a:lnTo>
                <a:lnTo>
                  <a:pt x="270" y="150"/>
                </a:lnTo>
                <a:lnTo>
                  <a:pt x="270" y="150"/>
                </a:lnTo>
                <a:lnTo>
                  <a:pt x="270" y="150"/>
                </a:lnTo>
                <a:lnTo>
                  <a:pt x="270" y="150"/>
                </a:lnTo>
                <a:lnTo>
                  <a:pt x="270" y="150"/>
                </a:lnTo>
                <a:lnTo>
                  <a:pt x="270" y="150"/>
                </a:lnTo>
                <a:lnTo>
                  <a:pt x="270" y="150"/>
                </a:lnTo>
                <a:lnTo>
                  <a:pt x="270" y="150"/>
                </a:lnTo>
                <a:lnTo>
                  <a:pt x="264" y="156"/>
                </a:lnTo>
                <a:lnTo>
                  <a:pt x="264" y="150"/>
                </a:lnTo>
                <a:lnTo>
                  <a:pt x="264" y="150"/>
                </a:lnTo>
                <a:lnTo>
                  <a:pt x="264" y="150"/>
                </a:lnTo>
                <a:lnTo>
                  <a:pt x="264" y="150"/>
                </a:lnTo>
                <a:lnTo>
                  <a:pt x="264" y="150"/>
                </a:lnTo>
                <a:lnTo>
                  <a:pt x="258" y="150"/>
                </a:lnTo>
                <a:lnTo>
                  <a:pt x="258" y="156"/>
                </a:lnTo>
                <a:lnTo>
                  <a:pt x="258" y="156"/>
                </a:lnTo>
                <a:lnTo>
                  <a:pt x="258" y="156"/>
                </a:lnTo>
                <a:lnTo>
                  <a:pt x="258" y="156"/>
                </a:lnTo>
                <a:lnTo>
                  <a:pt x="258" y="156"/>
                </a:lnTo>
                <a:lnTo>
                  <a:pt x="258" y="162"/>
                </a:lnTo>
                <a:lnTo>
                  <a:pt x="258" y="162"/>
                </a:lnTo>
                <a:lnTo>
                  <a:pt x="258" y="162"/>
                </a:lnTo>
                <a:lnTo>
                  <a:pt x="252" y="162"/>
                </a:lnTo>
                <a:lnTo>
                  <a:pt x="252" y="162"/>
                </a:lnTo>
                <a:lnTo>
                  <a:pt x="252" y="162"/>
                </a:lnTo>
                <a:lnTo>
                  <a:pt x="246" y="162"/>
                </a:lnTo>
                <a:lnTo>
                  <a:pt x="246" y="162"/>
                </a:lnTo>
                <a:lnTo>
                  <a:pt x="246" y="168"/>
                </a:lnTo>
                <a:lnTo>
                  <a:pt x="246" y="168"/>
                </a:lnTo>
                <a:lnTo>
                  <a:pt x="240" y="168"/>
                </a:lnTo>
                <a:lnTo>
                  <a:pt x="240" y="168"/>
                </a:lnTo>
                <a:lnTo>
                  <a:pt x="240" y="168"/>
                </a:lnTo>
                <a:lnTo>
                  <a:pt x="234" y="168"/>
                </a:lnTo>
                <a:lnTo>
                  <a:pt x="234" y="174"/>
                </a:lnTo>
                <a:lnTo>
                  <a:pt x="234" y="174"/>
                </a:lnTo>
                <a:lnTo>
                  <a:pt x="228" y="180"/>
                </a:lnTo>
                <a:lnTo>
                  <a:pt x="228" y="180"/>
                </a:lnTo>
                <a:lnTo>
                  <a:pt x="228" y="180"/>
                </a:lnTo>
                <a:lnTo>
                  <a:pt x="228" y="180"/>
                </a:lnTo>
                <a:lnTo>
                  <a:pt x="222" y="192"/>
                </a:lnTo>
                <a:lnTo>
                  <a:pt x="222" y="192"/>
                </a:lnTo>
                <a:lnTo>
                  <a:pt x="222" y="192"/>
                </a:lnTo>
                <a:lnTo>
                  <a:pt x="216" y="192"/>
                </a:lnTo>
                <a:lnTo>
                  <a:pt x="216" y="192"/>
                </a:lnTo>
                <a:lnTo>
                  <a:pt x="216" y="192"/>
                </a:lnTo>
                <a:lnTo>
                  <a:pt x="216" y="192"/>
                </a:lnTo>
                <a:lnTo>
                  <a:pt x="216" y="192"/>
                </a:lnTo>
                <a:lnTo>
                  <a:pt x="216" y="192"/>
                </a:lnTo>
                <a:lnTo>
                  <a:pt x="216" y="192"/>
                </a:lnTo>
                <a:lnTo>
                  <a:pt x="216" y="192"/>
                </a:lnTo>
                <a:lnTo>
                  <a:pt x="216" y="192"/>
                </a:lnTo>
                <a:lnTo>
                  <a:pt x="216" y="192"/>
                </a:lnTo>
                <a:lnTo>
                  <a:pt x="210" y="192"/>
                </a:lnTo>
                <a:lnTo>
                  <a:pt x="210" y="192"/>
                </a:lnTo>
                <a:lnTo>
                  <a:pt x="210" y="192"/>
                </a:lnTo>
                <a:lnTo>
                  <a:pt x="210" y="192"/>
                </a:lnTo>
                <a:lnTo>
                  <a:pt x="210" y="192"/>
                </a:lnTo>
                <a:lnTo>
                  <a:pt x="210" y="192"/>
                </a:lnTo>
                <a:lnTo>
                  <a:pt x="210" y="186"/>
                </a:lnTo>
                <a:lnTo>
                  <a:pt x="210" y="186"/>
                </a:lnTo>
                <a:lnTo>
                  <a:pt x="210" y="186"/>
                </a:lnTo>
                <a:lnTo>
                  <a:pt x="204" y="186"/>
                </a:lnTo>
                <a:lnTo>
                  <a:pt x="204" y="186"/>
                </a:lnTo>
                <a:lnTo>
                  <a:pt x="204" y="186"/>
                </a:lnTo>
                <a:lnTo>
                  <a:pt x="204" y="186"/>
                </a:lnTo>
                <a:lnTo>
                  <a:pt x="204" y="186"/>
                </a:lnTo>
                <a:lnTo>
                  <a:pt x="204" y="186"/>
                </a:lnTo>
                <a:lnTo>
                  <a:pt x="204" y="186"/>
                </a:lnTo>
                <a:lnTo>
                  <a:pt x="204" y="186"/>
                </a:lnTo>
                <a:lnTo>
                  <a:pt x="198" y="186"/>
                </a:lnTo>
                <a:lnTo>
                  <a:pt x="198" y="186"/>
                </a:lnTo>
                <a:lnTo>
                  <a:pt x="198" y="186"/>
                </a:lnTo>
                <a:lnTo>
                  <a:pt x="198" y="186"/>
                </a:lnTo>
                <a:lnTo>
                  <a:pt x="198" y="186"/>
                </a:lnTo>
                <a:lnTo>
                  <a:pt x="198" y="186"/>
                </a:lnTo>
                <a:lnTo>
                  <a:pt x="198" y="186"/>
                </a:lnTo>
                <a:lnTo>
                  <a:pt x="198" y="186"/>
                </a:lnTo>
                <a:lnTo>
                  <a:pt x="192" y="186"/>
                </a:lnTo>
                <a:lnTo>
                  <a:pt x="192" y="186"/>
                </a:lnTo>
                <a:lnTo>
                  <a:pt x="192" y="186"/>
                </a:lnTo>
                <a:lnTo>
                  <a:pt x="192" y="186"/>
                </a:lnTo>
                <a:lnTo>
                  <a:pt x="192" y="186"/>
                </a:lnTo>
                <a:lnTo>
                  <a:pt x="192" y="186"/>
                </a:lnTo>
                <a:lnTo>
                  <a:pt x="192" y="186"/>
                </a:lnTo>
                <a:lnTo>
                  <a:pt x="186" y="186"/>
                </a:lnTo>
                <a:lnTo>
                  <a:pt x="186" y="186"/>
                </a:lnTo>
                <a:lnTo>
                  <a:pt x="186" y="186"/>
                </a:lnTo>
                <a:lnTo>
                  <a:pt x="186" y="186"/>
                </a:lnTo>
                <a:lnTo>
                  <a:pt x="180" y="186"/>
                </a:lnTo>
                <a:lnTo>
                  <a:pt x="180" y="186"/>
                </a:lnTo>
                <a:lnTo>
                  <a:pt x="180" y="186"/>
                </a:lnTo>
                <a:lnTo>
                  <a:pt x="180" y="180"/>
                </a:lnTo>
                <a:lnTo>
                  <a:pt x="186" y="180"/>
                </a:lnTo>
                <a:lnTo>
                  <a:pt x="186" y="180"/>
                </a:lnTo>
                <a:lnTo>
                  <a:pt x="180" y="180"/>
                </a:lnTo>
                <a:lnTo>
                  <a:pt x="180" y="174"/>
                </a:lnTo>
                <a:lnTo>
                  <a:pt x="180" y="174"/>
                </a:lnTo>
                <a:lnTo>
                  <a:pt x="180" y="174"/>
                </a:lnTo>
                <a:lnTo>
                  <a:pt x="180" y="168"/>
                </a:lnTo>
                <a:lnTo>
                  <a:pt x="180" y="168"/>
                </a:lnTo>
                <a:lnTo>
                  <a:pt x="180" y="168"/>
                </a:lnTo>
                <a:lnTo>
                  <a:pt x="180" y="162"/>
                </a:lnTo>
                <a:lnTo>
                  <a:pt x="174" y="162"/>
                </a:lnTo>
                <a:lnTo>
                  <a:pt x="174" y="162"/>
                </a:lnTo>
                <a:lnTo>
                  <a:pt x="174" y="156"/>
                </a:lnTo>
                <a:lnTo>
                  <a:pt x="174" y="156"/>
                </a:lnTo>
                <a:lnTo>
                  <a:pt x="174" y="156"/>
                </a:lnTo>
                <a:lnTo>
                  <a:pt x="174" y="156"/>
                </a:lnTo>
                <a:lnTo>
                  <a:pt x="174" y="156"/>
                </a:lnTo>
                <a:lnTo>
                  <a:pt x="174" y="156"/>
                </a:lnTo>
                <a:lnTo>
                  <a:pt x="174" y="156"/>
                </a:lnTo>
                <a:lnTo>
                  <a:pt x="180" y="156"/>
                </a:lnTo>
                <a:lnTo>
                  <a:pt x="180" y="150"/>
                </a:lnTo>
                <a:lnTo>
                  <a:pt x="180" y="150"/>
                </a:lnTo>
                <a:lnTo>
                  <a:pt x="180" y="150"/>
                </a:lnTo>
                <a:lnTo>
                  <a:pt x="180" y="150"/>
                </a:lnTo>
                <a:lnTo>
                  <a:pt x="180" y="150"/>
                </a:lnTo>
                <a:lnTo>
                  <a:pt x="174" y="144"/>
                </a:lnTo>
                <a:lnTo>
                  <a:pt x="174" y="144"/>
                </a:lnTo>
                <a:lnTo>
                  <a:pt x="174" y="144"/>
                </a:lnTo>
                <a:lnTo>
                  <a:pt x="168" y="144"/>
                </a:lnTo>
                <a:lnTo>
                  <a:pt x="168" y="144"/>
                </a:lnTo>
                <a:lnTo>
                  <a:pt x="168" y="144"/>
                </a:lnTo>
                <a:lnTo>
                  <a:pt x="168" y="144"/>
                </a:lnTo>
                <a:lnTo>
                  <a:pt x="162" y="144"/>
                </a:lnTo>
                <a:lnTo>
                  <a:pt x="162" y="144"/>
                </a:lnTo>
                <a:lnTo>
                  <a:pt x="156" y="144"/>
                </a:lnTo>
                <a:lnTo>
                  <a:pt x="156" y="144"/>
                </a:lnTo>
                <a:lnTo>
                  <a:pt x="150" y="144"/>
                </a:lnTo>
                <a:lnTo>
                  <a:pt x="150" y="144"/>
                </a:lnTo>
                <a:lnTo>
                  <a:pt x="150" y="144"/>
                </a:lnTo>
                <a:lnTo>
                  <a:pt x="150" y="144"/>
                </a:lnTo>
                <a:lnTo>
                  <a:pt x="150" y="144"/>
                </a:lnTo>
                <a:lnTo>
                  <a:pt x="144" y="144"/>
                </a:lnTo>
                <a:lnTo>
                  <a:pt x="144" y="150"/>
                </a:lnTo>
                <a:lnTo>
                  <a:pt x="144" y="150"/>
                </a:lnTo>
                <a:lnTo>
                  <a:pt x="138" y="150"/>
                </a:lnTo>
                <a:lnTo>
                  <a:pt x="138" y="156"/>
                </a:lnTo>
                <a:lnTo>
                  <a:pt x="132" y="156"/>
                </a:lnTo>
                <a:lnTo>
                  <a:pt x="132" y="156"/>
                </a:lnTo>
                <a:lnTo>
                  <a:pt x="132" y="156"/>
                </a:lnTo>
                <a:lnTo>
                  <a:pt x="132" y="156"/>
                </a:lnTo>
                <a:lnTo>
                  <a:pt x="126" y="120"/>
                </a:lnTo>
                <a:lnTo>
                  <a:pt x="126" y="126"/>
                </a:lnTo>
                <a:lnTo>
                  <a:pt x="126" y="126"/>
                </a:lnTo>
                <a:lnTo>
                  <a:pt x="126" y="120"/>
                </a:lnTo>
                <a:lnTo>
                  <a:pt x="126" y="120"/>
                </a:lnTo>
                <a:lnTo>
                  <a:pt x="120" y="120"/>
                </a:lnTo>
                <a:lnTo>
                  <a:pt x="120" y="126"/>
                </a:lnTo>
                <a:lnTo>
                  <a:pt x="120" y="126"/>
                </a:lnTo>
                <a:lnTo>
                  <a:pt x="120" y="126"/>
                </a:lnTo>
                <a:lnTo>
                  <a:pt x="120" y="132"/>
                </a:lnTo>
                <a:lnTo>
                  <a:pt x="120" y="132"/>
                </a:lnTo>
                <a:lnTo>
                  <a:pt x="114" y="132"/>
                </a:lnTo>
                <a:lnTo>
                  <a:pt x="114" y="132"/>
                </a:lnTo>
                <a:lnTo>
                  <a:pt x="114" y="132"/>
                </a:lnTo>
                <a:lnTo>
                  <a:pt x="114" y="132"/>
                </a:lnTo>
                <a:lnTo>
                  <a:pt x="114" y="132"/>
                </a:lnTo>
                <a:lnTo>
                  <a:pt x="114" y="132"/>
                </a:lnTo>
                <a:lnTo>
                  <a:pt x="108" y="132"/>
                </a:lnTo>
                <a:lnTo>
                  <a:pt x="108" y="132"/>
                </a:lnTo>
                <a:lnTo>
                  <a:pt x="108" y="132"/>
                </a:lnTo>
                <a:lnTo>
                  <a:pt x="108" y="132"/>
                </a:lnTo>
                <a:lnTo>
                  <a:pt x="102" y="138"/>
                </a:lnTo>
                <a:lnTo>
                  <a:pt x="102" y="138"/>
                </a:lnTo>
                <a:lnTo>
                  <a:pt x="102" y="138"/>
                </a:lnTo>
                <a:lnTo>
                  <a:pt x="102" y="138"/>
                </a:lnTo>
                <a:lnTo>
                  <a:pt x="96" y="138"/>
                </a:lnTo>
                <a:lnTo>
                  <a:pt x="96" y="138"/>
                </a:lnTo>
                <a:lnTo>
                  <a:pt x="96" y="138"/>
                </a:lnTo>
                <a:lnTo>
                  <a:pt x="96" y="144"/>
                </a:lnTo>
                <a:lnTo>
                  <a:pt x="96" y="144"/>
                </a:lnTo>
                <a:lnTo>
                  <a:pt x="90" y="144"/>
                </a:lnTo>
                <a:lnTo>
                  <a:pt x="90" y="144"/>
                </a:lnTo>
                <a:lnTo>
                  <a:pt x="90" y="144"/>
                </a:lnTo>
                <a:lnTo>
                  <a:pt x="90" y="144"/>
                </a:lnTo>
                <a:lnTo>
                  <a:pt x="84" y="144"/>
                </a:lnTo>
                <a:lnTo>
                  <a:pt x="84" y="150"/>
                </a:lnTo>
                <a:lnTo>
                  <a:pt x="84" y="150"/>
                </a:lnTo>
                <a:lnTo>
                  <a:pt x="84" y="150"/>
                </a:lnTo>
                <a:lnTo>
                  <a:pt x="84" y="156"/>
                </a:lnTo>
                <a:lnTo>
                  <a:pt x="78" y="156"/>
                </a:lnTo>
                <a:lnTo>
                  <a:pt x="42" y="156"/>
                </a:lnTo>
                <a:lnTo>
                  <a:pt x="24" y="156"/>
                </a:lnTo>
                <a:lnTo>
                  <a:pt x="18" y="156"/>
                </a:lnTo>
                <a:lnTo>
                  <a:pt x="18" y="162"/>
                </a:lnTo>
                <a:lnTo>
                  <a:pt x="18" y="162"/>
                </a:lnTo>
                <a:lnTo>
                  <a:pt x="18" y="162"/>
                </a:lnTo>
                <a:lnTo>
                  <a:pt x="18" y="162"/>
                </a:lnTo>
                <a:lnTo>
                  <a:pt x="12" y="162"/>
                </a:lnTo>
                <a:lnTo>
                  <a:pt x="6" y="168"/>
                </a:lnTo>
                <a:lnTo>
                  <a:pt x="0" y="16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271" name="Freeform 4"/>
          <p:cNvSpPr>
            <a:spLocks/>
          </p:cNvSpPr>
          <p:nvPr/>
        </p:nvSpPr>
        <p:spPr bwMode="auto">
          <a:xfrm>
            <a:off x="3838975" y="2516132"/>
            <a:ext cx="366171" cy="141330"/>
          </a:xfrm>
          <a:custGeom>
            <a:avLst/>
            <a:gdLst>
              <a:gd name="T0" fmla="*/ 6 w 342"/>
              <a:gd name="T1" fmla="*/ 72 h 132"/>
              <a:gd name="T2" fmla="*/ 12 w 342"/>
              <a:gd name="T3" fmla="*/ 72 h 132"/>
              <a:gd name="T4" fmla="*/ 18 w 342"/>
              <a:gd name="T5" fmla="*/ 78 h 132"/>
              <a:gd name="T6" fmla="*/ 18 w 342"/>
              <a:gd name="T7" fmla="*/ 72 h 132"/>
              <a:gd name="T8" fmla="*/ 24 w 342"/>
              <a:gd name="T9" fmla="*/ 78 h 132"/>
              <a:gd name="T10" fmla="*/ 36 w 342"/>
              <a:gd name="T11" fmla="*/ 78 h 132"/>
              <a:gd name="T12" fmla="*/ 42 w 342"/>
              <a:gd name="T13" fmla="*/ 72 h 132"/>
              <a:gd name="T14" fmla="*/ 48 w 342"/>
              <a:gd name="T15" fmla="*/ 72 h 132"/>
              <a:gd name="T16" fmla="*/ 48 w 342"/>
              <a:gd name="T17" fmla="*/ 72 h 132"/>
              <a:gd name="T18" fmla="*/ 54 w 342"/>
              <a:gd name="T19" fmla="*/ 72 h 132"/>
              <a:gd name="T20" fmla="*/ 54 w 342"/>
              <a:gd name="T21" fmla="*/ 84 h 132"/>
              <a:gd name="T22" fmla="*/ 126 w 342"/>
              <a:gd name="T23" fmla="*/ 72 h 132"/>
              <a:gd name="T24" fmla="*/ 138 w 342"/>
              <a:gd name="T25" fmla="*/ 54 h 132"/>
              <a:gd name="T26" fmla="*/ 150 w 342"/>
              <a:gd name="T27" fmla="*/ 48 h 132"/>
              <a:gd name="T28" fmla="*/ 174 w 342"/>
              <a:gd name="T29" fmla="*/ 36 h 132"/>
              <a:gd name="T30" fmla="*/ 246 w 342"/>
              <a:gd name="T31" fmla="*/ 24 h 132"/>
              <a:gd name="T32" fmla="*/ 258 w 342"/>
              <a:gd name="T33" fmla="*/ 18 h 132"/>
              <a:gd name="T34" fmla="*/ 270 w 342"/>
              <a:gd name="T35" fmla="*/ 12 h 132"/>
              <a:gd name="T36" fmla="*/ 282 w 342"/>
              <a:gd name="T37" fmla="*/ 6 h 132"/>
              <a:gd name="T38" fmla="*/ 300 w 342"/>
              <a:gd name="T39" fmla="*/ 30 h 132"/>
              <a:gd name="T40" fmla="*/ 318 w 342"/>
              <a:gd name="T41" fmla="*/ 24 h 132"/>
              <a:gd name="T42" fmla="*/ 336 w 342"/>
              <a:gd name="T43" fmla="*/ 30 h 132"/>
              <a:gd name="T44" fmla="*/ 330 w 342"/>
              <a:gd name="T45" fmla="*/ 36 h 132"/>
              <a:gd name="T46" fmla="*/ 336 w 342"/>
              <a:gd name="T47" fmla="*/ 60 h 132"/>
              <a:gd name="T48" fmla="*/ 336 w 342"/>
              <a:gd name="T49" fmla="*/ 66 h 132"/>
              <a:gd name="T50" fmla="*/ 330 w 342"/>
              <a:gd name="T51" fmla="*/ 72 h 132"/>
              <a:gd name="T52" fmla="*/ 324 w 342"/>
              <a:gd name="T53" fmla="*/ 78 h 132"/>
              <a:gd name="T54" fmla="*/ 324 w 342"/>
              <a:gd name="T55" fmla="*/ 84 h 132"/>
              <a:gd name="T56" fmla="*/ 312 w 342"/>
              <a:gd name="T57" fmla="*/ 96 h 132"/>
              <a:gd name="T58" fmla="*/ 306 w 342"/>
              <a:gd name="T59" fmla="*/ 108 h 132"/>
              <a:gd name="T60" fmla="*/ 288 w 342"/>
              <a:gd name="T61" fmla="*/ 114 h 132"/>
              <a:gd name="T62" fmla="*/ 282 w 342"/>
              <a:gd name="T63" fmla="*/ 120 h 132"/>
              <a:gd name="T64" fmla="*/ 246 w 342"/>
              <a:gd name="T65" fmla="*/ 126 h 132"/>
              <a:gd name="T66" fmla="*/ 240 w 342"/>
              <a:gd name="T67" fmla="*/ 120 h 132"/>
              <a:gd name="T68" fmla="*/ 240 w 342"/>
              <a:gd name="T69" fmla="*/ 114 h 132"/>
              <a:gd name="T70" fmla="*/ 234 w 342"/>
              <a:gd name="T71" fmla="*/ 108 h 132"/>
              <a:gd name="T72" fmla="*/ 228 w 342"/>
              <a:gd name="T73" fmla="*/ 114 h 132"/>
              <a:gd name="T74" fmla="*/ 222 w 342"/>
              <a:gd name="T75" fmla="*/ 114 h 132"/>
              <a:gd name="T76" fmla="*/ 222 w 342"/>
              <a:gd name="T77" fmla="*/ 114 h 132"/>
              <a:gd name="T78" fmla="*/ 210 w 342"/>
              <a:gd name="T79" fmla="*/ 114 h 132"/>
              <a:gd name="T80" fmla="*/ 204 w 342"/>
              <a:gd name="T81" fmla="*/ 108 h 132"/>
              <a:gd name="T82" fmla="*/ 192 w 342"/>
              <a:gd name="T83" fmla="*/ 108 h 132"/>
              <a:gd name="T84" fmla="*/ 186 w 342"/>
              <a:gd name="T85" fmla="*/ 108 h 132"/>
              <a:gd name="T86" fmla="*/ 174 w 342"/>
              <a:gd name="T87" fmla="*/ 108 h 132"/>
              <a:gd name="T88" fmla="*/ 168 w 342"/>
              <a:gd name="T89" fmla="*/ 108 h 132"/>
              <a:gd name="T90" fmla="*/ 162 w 342"/>
              <a:gd name="T91" fmla="*/ 102 h 132"/>
              <a:gd name="T92" fmla="*/ 156 w 342"/>
              <a:gd name="T93" fmla="*/ 102 h 132"/>
              <a:gd name="T94" fmla="*/ 150 w 342"/>
              <a:gd name="T95" fmla="*/ 108 h 132"/>
              <a:gd name="T96" fmla="*/ 144 w 342"/>
              <a:gd name="T97" fmla="*/ 102 h 132"/>
              <a:gd name="T98" fmla="*/ 132 w 342"/>
              <a:gd name="T99" fmla="*/ 102 h 132"/>
              <a:gd name="T100" fmla="*/ 120 w 342"/>
              <a:gd name="T101" fmla="*/ 108 h 132"/>
              <a:gd name="T102" fmla="*/ 108 w 342"/>
              <a:gd name="T103" fmla="*/ 102 h 132"/>
              <a:gd name="T104" fmla="*/ 102 w 342"/>
              <a:gd name="T105" fmla="*/ 102 h 132"/>
              <a:gd name="T106" fmla="*/ 90 w 342"/>
              <a:gd name="T107" fmla="*/ 102 h 132"/>
              <a:gd name="T108" fmla="*/ 84 w 342"/>
              <a:gd name="T109" fmla="*/ 108 h 132"/>
              <a:gd name="T110" fmla="*/ 72 w 342"/>
              <a:gd name="T111" fmla="*/ 108 h 132"/>
              <a:gd name="T112" fmla="*/ 66 w 342"/>
              <a:gd name="T113" fmla="*/ 108 h 132"/>
              <a:gd name="T114" fmla="*/ 66 w 342"/>
              <a:gd name="T115" fmla="*/ 114 h 132"/>
              <a:gd name="T116" fmla="*/ 60 w 342"/>
              <a:gd name="T117" fmla="*/ 120 h 132"/>
              <a:gd name="T118" fmla="*/ 48 w 342"/>
              <a:gd name="T119" fmla="*/ 120 h 132"/>
              <a:gd name="T120" fmla="*/ 36 w 342"/>
              <a:gd name="T121" fmla="*/ 120 h 132"/>
              <a:gd name="T122" fmla="*/ 24 w 342"/>
              <a:gd name="T123" fmla="*/ 120 h 132"/>
              <a:gd name="T124" fmla="*/ 18 w 342"/>
              <a:gd name="T125" fmla="*/ 108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42" h="132">
                <a:moveTo>
                  <a:pt x="0" y="72"/>
                </a:move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6" y="72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2"/>
                </a:lnTo>
                <a:lnTo>
                  <a:pt x="12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2"/>
                </a:lnTo>
                <a:lnTo>
                  <a:pt x="18" y="78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8"/>
                </a:lnTo>
                <a:lnTo>
                  <a:pt x="24" y="78"/>
                </a:lnTo>
                <a:lnTo>
                  <a:pt x="24" y="72"/>
                </a:lnTo>
                <a:lnTo>
                  <a:pt x="24" y="78"/>
                </a:lnTo>
                <a:lnTo>
                  <a:pt x="24" y="78"/>
                </a:lnTo>
                <a:lnTo>
                  <a:pt x="24" y="72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2"/>
                </a:lnTo>
                <a:lnTo>
                  <a:pt x="30" y="72"/>
                </a:lnTo>
                <a:lnTo>
                  <a:pt x="36" y="78"/>
                </a:lnTo>
                <a:lnTo>
                  <a:pt x="36" y="78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8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90"/>
                </a:lnTo>
                <a:lnTo>
                  <a:pt x="54" y="90"/>
                </a:lnTo>
                <a:lnTo>
                  <a:pt x="48" y="96"/>
                </a:lnTo>
                <a:lnTo>
                  <a:pt x="114" y="78"/>
                </a:lnTo>
                <a:lnTo>
                  <a:pt x="120" y="78"/>
                </a:lnTo>
                <a:lnTo>
                  <a:pt x="120" y="78"/>
                </a:lnTo>
                <a:lnTo>
                  <a:pt x="126" y="78"/>
                </a:lnTo>
                <a:lnTo>
                  <a:pt x="126" y="72"/>
                </a:lnTo>
                <a:lnTo>
                  <a:pt x="126" y="72"/>
                </a:lnTo>
                <a:lnTo>
                  <a:pt x="126" y="72"/>
                </a:lnTo>
                <a:lnTo>
                  <a:pt x="126" y="72"/>
                </a:lnTo>
                <a:lnTo>
                  <a:pt x="126" y="66"/>
                </a:lnTo>
                <a:lnTo>
                  <a:pt x="132" y="66"/>
                </a:lnTo>
                <a:lnTo>
                  <a:pt x="132" y="66"/>
                </a:lnTo>
                <a:lnTo>
                  <a:pt x="132" y="66"/>
                </a:lnTo>
                <a:lnTo>
                  <a:pt x="138" y="60"/>
                </a:lnTo>
                <a:lnTo>
                  <a:pt x="138" y="60"/>
                </a:lnTo>
                <a:lnTo>
                  <a:pt x="138" y="60"/>
                </a:lnTo>
                <a:lnTo>
                  <a:pt x="138" y="60"/>
                </a:lnTo>
                <a:lnTo>
                  <a:pt x="138" y="54"/>
                </a:lnTo>
                <a:lnTo>
                  <a:pt x="138" y="54"/>
                </a:lnTo>
                <a:lnTo>
                  <a:pt x="138" y="54"/>
                </a:lnTo>
                <a:lnTo>
                  <a:pt x="144" y="54"/>
                </a:lnTo>
                <a:lnTo>
                  <a:pt x="144" y="54"/>
                </a:lnTo>
                <a:lnTo>
                  <a:pt x="144" y="48"/>
                </a:lnTo>
                <a:lnTo>
                  <a:pt x="144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62" y="48"/>
                </a:lnTo>
                <a:lnTo>
                  <a:pt x="168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36"/>
                </a:lnTo>
                <a:lnTo>
                  <a:pt x="180" y="36"/>
                </a:lnTo>
                <a:lnTo>
                  <a:pt x="198" y="36"/>
                </a:lnTo>
                <a:lnTo>
                  <a:pt x="234" y="36"/>
                </a:lnTo>
                <a:lnTo>
                  <a:pt x="240" y="36"/>
                </a:lnTo>
                <a:lnTo>
                  <a:pt x="240" y="30"/>
                </a:lnTo>
                <a:lnTo>
                  <a:pt x="240" y="30"/>
                </a:lnTo>
                <a:lnTo>
                  <a:pt x="240" y="30"/>
                </a:lnTo>
                <a:lnTo>
                  <a:pt x="240" y="24"/>
                </a:lnTo>
                <a:lnTo>
                  <a:pt x="246" y="24"/>
                </a:lnTo>
                <a:lnTo>
                  <a:pt x="246" y="24"/>
                </a:lnTo>
                <a:lnTo>
                  <a:pt x="246" y="24"/>
                </a:lnTo>
                <a:lnTo>
                  <a:pt x="246" y="24"/>
                </a:lnTo>
                <a:lnTo>
                  <a:pt x="252" y="24"/>
                </a:lnTo>
                <a:lnTo>
                  <a:pt x="252" y="24"/>
                </a:lnTo>
                <a:lnTo>
                  <a:pt x="252" y="18"/>
                </a:lnTo>
                <a:lnTo>
                  <a:pt x="252" y="18"/>
                </a:lnTo>
                <a:lnTo>
                  <a:pt x="252" y="18"/>
                </a:lnTo>
                <a:lnTo>
                  <a:pt x="258" y="18"/>
                </a:lnTo>
                <a:lnTo>
                  <a:pt x="258" y="18"/>
                </a:lnTo>
                <a:lnTo>
                  <a:pt x="258" y="18"/>
                </a:lnTo>
                <a:lnTo>
                  <a:pt x="258" y="18"/>
                </a:lnTo>
                <a:lnTo>
                  <a:pt x="264" y="12"/>
                </a:lnTo>
                <a:lnTo>
                  <a:pt x="264" y="12"/>
                </a:lnTo>
                <a:lnTo>
                  <a:pt x="264" y="12"/>
                </a:lnTo>
                <a:lnTo>
                  <a:pt x="264" y="12"/>
                </a:lnTo>
                <a:lnTo>
                  <a:pt x="270" y="12"/>
                </a:lnTo>
                <a:lnTo>
                  <a:pt x="270" y="12"/>
                </a:lnTo>
                <a:lnTo>
                  <a:pt x="270" y="12"/>
                </a:lnTo>
                <a:lnTo>
                  <a:pt x="270" y="12"/>
                </a:lnTo>
                <a:lnTo>
                  <a:pt x="270" y="12"/>
                </a:lnTo>
                <a:lnTo>
                  <a:pt x="270" y="12"/>
                </a:lnTo>
                <a:lnTo>
                  <a:pt x="276" y="12"/>
                </a:lnTo>
                <a:lnTo>
                  <a:pt x="276" y="12"/>
                </a:lnTo>
                <a:lnTo>
                  <a:pt x="276" y="6"/>
                </a:lnTo>
                <a:lnTo>
                  <a:pt x="276" y="6"/>
                </a:lnTo>
                <a:lnTo>
                  <a:pt x="276" y="6"/>
                </a:lnTo>
                <a:lnTo>
                  <a:pt x="276" y="0"/>
                </a:lnTo>
                <a:lnTo>
                  <a:pt x="282" y="0"/>
                </a:lnTo>
                <a:lnTo>
                  <a:pt x="282" y="0"/>
                </a:lnTo>
                <a:lnTo>
                  <a:pt x="282" y="6"/>
                </a:lnTo>
                <a:lnTo>
                  <a:pt x="282" y="6"/>
                </a:lnTo>
                <a:lnTo>
                  <a:pt x="282" y="0"/>
                </a:lnTo>
                <a:lnTo>
                  <a:pt x="288" y="36"/>
                </a:lnTo>
                <a:lnTo>
                  <a:pt x="288" y="36"/>
                </a:lnTo>
                <a:lnTo>
                  <a:pt x="288" y="36"/>
                </a:lnTo>
                <a:lnTo>
                  <a:pt x="288" y="36"/>
                </a:lnTo>
                <a:lnTo>
                  <a:pt x="294" y="36"/>
                </a:lnTo>
                <a:lnTo>
                  <a:pt x="294" y="30"/>
                </a:lnTo>
                <a:lnTo>
                  <a:pt x="300" y="30"/>
                </a:lnTo>
                <a:lnTo>
                  <a:pt x="300" y="30"/>
                </a:lnTo>
                <a:lnTo>
                  <a:pt x="300" y="24"/>
                </a:lnTo>
                <a:lnTo>
                  <a:pt x="306" y="24"/>
                </a:lnTo>
                <a:lnTo>
                  <a:pt x="306" y="24"/>
                </a:lnTo>
                <a:lnTo>
                  <a:pt x="306" y="24"/>
                </a:lnTo>
                <a:lnTo>
                  <a:pt x="306" y="24"/>
                </a:lnTo>
                <a:lnTo>
                  <a:pt x="306" y="24"/>
                </a:lnTo>
                <a:lnTo>
                  <a:pt x="312" y="24"/>
                </a:lnTo>
                <a:lnTo>
                  <a:pt x="312" y="24"/>
                </a:lnTo>
                <a:lnTo>
                  <a:pt x="318" y="24"/>
                </a:lnTo>
                <a:lnTo>
                  <a:pt x="318" y="24"/>
                </a:lnTo>
                <a:lnTo>
                  <a:pt x="324" y="24"/>
                </a:lnTo>
                <a:lnTo>
                  <a:pt x="324" y="24"/>
                </a:lnTo>
                <a:lnTo>
                  <a:pt x="324" y="24"/>
                </a:lnTo>
                <a:lnTo>
                  <a:pt x="324" y="24"/>
                </a:lnTo>
                <a:lnTo>
                  <a:pt x="330" y="24"/>
                </a:lnTo>
                <a:lnTo>
                  <a:pt x="330" y="24"/>
                </a:lnTo>
                <a:lnTo>
                  <a:pt x="330" y="24"/>
                </a:lnTo>
                <a:lnTo>
                  <a:pt x="336" y="30"/>
                </a:lnTo>
                <a:lnTo>
                  <a:pt x="336" y="30"/>
                </a:lnTo>
                <a:lnTo>
                  <a:pt x="336" y="30"/>
                </a:lnTo>
                <a:lnTo>
                  <a:pt x="336" y="30"/>
                </a:lnTo>
                <a:lnTo>
                  <a:pt x="336" y="30"/>
                </a:lnTo>
                <a:lnTo>
                  <a:pt x="336" y="36"/>
                </a:lnTo>
                <a:lnTo>
                  <a:pt x="330" y="36"/>
                </a:lnTo>
                <a:lnTo>
                  <a:pt x="330" y="36"/>
                </a:lnTo>
                <a:lnTo>
                  <a:pt x="330" y="36"/>
                </a:lnTo>
                <a:lnTo>
                  <a:pt x="330" y="36"/>
                </a:lnTo>
                <a:lnTo>
                  <a:pt x="330" y="36"/>
                </a:lnTo>
                <a:lnTo>
                  <a:pt x="330" y="36"/>
                </a:lnTo>
                <a:lnTo>
                  <a:pt x="330" y="36"/>
                </a:lnTo>
                <a:lnTo>
                  <a:pt x="330" y="42"/>
                </a:lnTo>
                <a:lnTo>
                  <a:pt x="330" y="42"/>
                </a:lnTo>
                <a:lnTo>
                  <a:pt x="336" y="42"/>
                </a:lnTo>
                <a:lnTo>
                  <a:pt x="336" y="48"/>
                </a:lnTo>
                <a:lnTo>
                  <a:pt x="336" y="48"/>
                </a:lnTo>
                <a:lnTo>
                  <a:pt x="336" y="48"/>
                </a:lnTo>
                <a:lnTo>
                  <a:pt x="336" y="54"/>
                </a:lnTo>
                <a:lnTo>
                  <a:pt x="336" y="54"/>
                </a:lnTo>
                <a:lnTo>
                  <a:pt x="336" y="54"/>
                </a:lnTo>
                <a:lnTo>
                  <a:pt x="336" y="60"/>
                </a:lnTo>
                <a:lnTo>
                  <a:pt x="342" y="60"/>
                </a:lnTo>
                <a:lnTo>
                  <a:pt x="342" y="60"/>
                </a:lnTo>
                <a:lnTo>
                  <a:pt x="336" y="60"/>
                </a:lnTo>
                <a:lnTo>
                  <a:pt x="336" y="66"/>
                </a:lnTo>
                <a:lnTo>
                  <a:pt x="336" y="66"/>
                </a:lnTo>
                <a:lnTo>
                  <a:pt x="336" y="66"/>
                </a:lnTo>
                <a:lnTo>
                  <a:pt x="336" y="66"/>
                </a:lnTo>
                <a:lnTo>
                  <a:pt x="336" y="66"/>
                </a:lnTo>
                <a:lnTo>
                  <a:pt x="336" y="66"/>
                </a:lnTo>
                <a:lnTo>
                  <a:pt x="336" y="66"/>
                </a:lnTo>
                <a:lnTo>
                  <a:pt x="336" y="66"/>
                </a:lnTo>
                <a:lnTo>
                  <a:pt x="336" y="66"/>
                </a:lnTo>
                <a:lnTo>
                  <a:pt x="336" y="66"/>
                </a:lnTo>
                <a:lnTo>
                  <a:pt x="336" y="66"/>
                </a:lnTo>
                <a:lnTo>
                  <a:pt x="336" y="72"/>
                </a:lnTo>
                <a:lnTo>
                  <a:pt x="330" y="72"/>
                </a:lnTo>
                <a:lnTo>
                  <a:pt x="330" y="72"/>
                </a:lnTo>
                <a:lnTo>
                  <a:pt x="330" y="72"/>
                </a:lnTo>
                <a:lnTo>
                  <a:pt x="330" y="72"/>
                </a:lnTo>
                <a:lnTo>
                  <a:pt x="330" y="72"/>
                </a:lnTo>
                <a:lnTo>
                  <a:pt x="330" y="72"/>
                </a:lnTo>
                <a:lnTo>
                  <a:pt x="330" y="72"/>
                </a:lnTo>
                <a:lnTo>
                  <a:pt x="324" y="72"/>
                </a:lnTo>
                <a:lnTo>
                  <a:pt x="324" y="72"/>
                </a:lnTo>
                <a:lnTo>
                  <a:pt x="324" y="72"/>
                </a:lnTo>
                <a:lnTo>
                  <a:pt x="324" y="78"/>
                </a:lnTo>
                <a:lnTo>
                  <a:pt x="324" y="78"/>
                </a:lnTo>
                <a:lnTo>
                  <a:pt x="324" y="78"/>
                </a:lnTo>
                <a:lnTo>
                  <a:pt x="324" y="78"/>
                </a:lnTo>
                <a:lnTo>
                  <a:pt x="324" y="78"/>
                </a:lnTo>
                <a:lnTo>
                  <a:pt x="324" y="78"/>
                </a:lnTo>
                <a:lnTo>
                  <a:pt x="324" y="78"/>
                </a:lnTo>
                <a:lnTo>
                  <a:pt x="324" y="78"/>
                </a:lnTo>
                <a:lnTo>
                  <a:pt x="324" y="78"/>
                </a:lnTo>
                <a:lnTo>
                  <a:pt x="324" y="78"/>
                </a:lnTo>
                <a:lnTo>
                  <a:pt x="324" y="84"/>
                </a:lnTo>
                <a:lnTo>
                  <a:pt x="324" y="84"/>
                </a:lnTo>
                <a:lnTo>
                  <a:pt x="324" y="84"/>
                </a:lnTo>
                <a:lnTo>
                  <a:pt x="324" y="84"/>
                </a:lnTo>
                <a:lnTo>
                  <a:pt x="324" y="84"/>
                </a:lnTo>
                <a:lnTo>
                  <a:pt x="318" y="90"/>
                </a:lnTo>
                <a:lnTo>
                  <a:pt x="318" y="90"/>
                </a:lnTo>
                <a:lnTo>
                  <a:pt x="318" y="90"/>
                </a:lnTo>
                <a:lnTo>
                  <a:pt x="318" y="90"/>
                </a:lnTo>
                <a:lnTo>
                  <a:pt x="318" y="90"/>
                </a:lnTo>
                <a:lnTo>
                  <a:pt x="318" y="96"/>
                </a:lnTo>
                <a:lnTo>
                  <a:pt x="312" y="96"/>
                </a:lnTo>
                <a:lnTo>
                  <a:pt x="312" y="96"/>
                </a:lnTo>
                <a:lnTo>
                  <a:pt x="312" y="96"/>
                </a:lnTo>
                <a:lnTo>
                  <a:pt x="312" y="96"/>
                </a:lnTo>
                <a:lnTo>
                  <a:pt x="312" y="102"/>
                </a:lnTo>
                <a:lnTo>
                  <a:pt x="312" y="102"/>
                </a:lnTo>
                <a:lnTo>
                  <a:pt x="312" y="102"/>
                </a:lnTo>
                <a:lnTo>
                  <a:pt x="312" y="102"/>
                </a:lnTo>
                <a:lnTo>
                  <a:pt x="306" y="102"/>
                </a:lnTo>
                <a:lnTo>
                  <a:pt x="306" y="102"/>
                </a:lnTo>
                <a:lnTo>
                  <a:pt x="306" y="108"/>
                </a:lnTo>
                <a:lnTo>
                  <a:pt x="306" y="108"/>
                </a:lnTo>
                <a:lnTo>
                  <a:pt x="306" y="108"/>
                </a:lnTo>
                <a:lnTo>
                  <a:pt x="306" y="108"/>
                </a:lnTo>
                <a:lnTo>
                  <a:pt x="300" y="108"/>
                </a:lnTo>
                <a:lnTo>
                  <a:pt x="300" y="108"/>
                </a:lnTo>
                <a:lnTo>
                  <a:pt x="300" y="108"/>
                </a:lnTo>
                <a:lnTo>
                  <a:pt x="300" y="114"/>
                </a:lnTo>
                <a:lnTo>
                  <a:pt x="300" y="114"/>
                </a:lnTo>
                <a:lnTo>
                  <a:pt x="294" y="114"/>
                </a:lnTo>
                <a:lnTo>
                  <a:pt x="294" y="114"/>
                </a:lnTo>
                <a:lnTo>
                  <a:pt x="294" y="114"/>
                </a:lnTo>
                <a:lnTo>
                  <a:pt x="294" y="114"/>
                </a:lnTo>
                <a:lnTo>
                  <a:pt x="288" y="114"/>
                </a:lnTo>
                <a:lnTo>
                  <a:pt x="288" y="114"/>
                </a:lnTo>
                <a:lnTo>
                  <a:pt x="288" y="114"/>
                </a:lnTo>
                <a:lnTo>
                  <a:pt x="288" y="120"/>
                </a:lnTo>
                <a:lnTo>
                  <a:pt x="288" y="120"/>
                </a:lnTo>
                <a:lnTo>
                  <a:pt x="288" y="120"/>
                </a:lnTo>
                <a:lnTo>
                  <a:pt x="288" y="120"/>
                </a:lnTo>
                <a:lnTo>
                  <a:pt x="282" y="120"/>
                </a:lnTo>
                <a:lnTo>
                  <a:pt x="282" y="120"/>
                </a:lnTo>
                <a:lnTo>
                  <a:pt x="282" y="114"/>
                </a:lnTo>
                <a:lnTo>
                  <a:pt x="282" y="120"/>
                </a:lnTo>
                <a:lnTo>
                  <a:pt x="276" y="120"/>
                </a:lnTo>
                <a:lnTo>
                  <a:pt x="276" y="120"/>
                </a:lnTo>
                <a:lnTo>
                  <a:pt x="270" y="120"/>
                </a:lnTo>
                <a:lnTo>
                  <a:pt x="270" y="126"/>
                </a:lnTo>
                <a:lnTo>
                  <a:pt x="270" y="126"/>
                </a:lnTo>
                <a:lnTo>
                  <a:pt x="270" y="126"/>
                </a:lnTo>
                <a:lnTo>
                  <a:pt x="258" y="126"/>
                </a:lnTo>
                <a:lnTo>
                  <a:pt x="246" y="132"/>
                </a:lnTo>
                <a:lnTo>
                  <a:pt x="246" y="126"/>
                </a:lnTo>
                <a:lnTo>
                  <a:pt x="246" y="126"/>
                </a:lnTo>
                <a:lnTo>
                  <a:pt x="246" y="126"/>
                </a:lnTo>
                <a:lnTo>
                  <a:pt x="246" y="126"/>
                </a:lnTo>
                <a:lnTo>
                  <a:pt x="240" y="126"/>
                </a:lnTo>
                <a:lnTo>
                  <a:pt x="240" y="126"/>
                </a:lnTo>
                <a:lnTo>
                  <a:pt x="240" y="126"/>
                </a:lnTo>
                <a:lnTo>
                  <a:pt x="240" y="126"/>
                </a:lnTo>
                <a:lnTo>
                  <a:pt x="240" y="120"/>
                </a:lnTo>
                <a:lnTo>
                  <a:pt x="240" y="120"/>
                </a:lnTo>
                <a:lnTo>
                  <a:pt x="240" y="120"/>
                </a:lnTo>
                <a:lnTo>
                  <a:pt x="240" y="120"/>
                </a:lnTo>
                <a:lnTo>
                  <a:pt x="240" y="120"/>
                </a:lnTo>
                <a:lnTo>
                  <a:pt x="240" y="114"/>
                </a:lnTo>
                <a:lnTo>
                  <a:pt x="240" y="114"/>
                </a:lnTo>
                <a:lnTo>
                  <a:pt x="240" y="114"/>
                </a:lnTo>
                <a:lnTo>
                  <a:pt x="240" y="114"/>
                </a:lnTo>
                <a:lnTo>
                  <a:pt x="240" y="114"/>
                </a:lnTo>
                <a:lnTo>
                  <a:pt x="240" y="114"/>
                </a:lnTo>
                <a:lnTo>
                  <a:pt x="240" y="114"/>
                </a:lnTo>
                <a:lnTo>
                  <a:pt x="240" y="114"/>
                </a:lnTo>
                <a:lnTo>
                  <a:pt x="240" y="114"/>
                </a:lnTo>
                <a:lnTo>
                  <a:pt x="240" y="114"/>
                </a:lnTo>
                <a:lnTo>
                  <a:pt x="240" y="114"/>
                </a:lnTo>
                <a:lnTo>
                  <a:pt x="240" y="114"/>
                </a:lnTo>
                <a:lnTo>
                  <a:pt x="240" y="114"/>
                </a:lnTo>
                <a:lnTo>
                  <a:pt x="234" y="114"/>
                </a:lnTo>
                <a:lnTo>
                  <a:pt x="234" y="114"/>
                </a:lnTo>
                <a:lnTo>
                  <a:pt x="234" y="114"/>
                </a:lnTo>
                <a:lnTo>
                  <a:pt x="234" y="114"/>
                </a:lnTo>
                <a:lnTo>
                  <a:pt x="234" y="108"/>
                </a:lnTo>
                <a:lnTo>
                  <a:pt x="234" y="108"/>
                </a:lnTo>
                <a:lnTo>
                  <a:pt x="234" y="114"/>
                </a:lnTo>
                <a:lnTo>
                  <a:pt x="234" y="114"/>
                </a:lnTo>
                <a:lnTo>
                  <a:pt x="234" y="114"/>
                </a:lnTo>
                <a:lnTo>
                  <a:pt x="234" y="114"/>
                </a:lnTo>
                <a:lnTo>
                  <a:pt x="234" y="114"/>
                </a:lnTo>
                <a:lnTo>
                  <a:pt x="234" y="114"/>
                </a:lnTo>
                <a:lnTo>
                  <a:pt x="234" y="114"/>
                </a:lnTo>
                <a:lnTo>
                  <a:pt x="228" y="114"/>
                </a:lnTo>
                <a:lnTo>
                  <a:pt x="234" y="114"/>
                </a:lnTo>
                <a:lnTo>
                  <a:pt x="228" y="114"/>
                </a:lnTo>
                <a:lnTo>
                  <a:pt x="228" y="114"/>
                </a:lnTo>
                <a:lnTo>
                  <a:pt x="228" y="114"/>
                </a:lnTo>
                <a:lnTo>
                  <a:pt x="228" y="114"/>
                </a:lnTo>
                <a:lnTo>
                  <a:pt x="228" y="114"/>
                </a:lnTo>
                <a:lnTo>
                  <a:pt x="228" y="114"/>
                </a:lnTo>
                <a:lnTo>
                  <a:pt x="228" y="114"/>
                </a:lnTo>
                <a:lnTo>
                  <a:pt x="228" y="114"/>
                </a:lnTo>
                <a:lnTo>
                  <a:pt x="228" y="114"/>
                </a:lnTo>
                <a:lnTo>
                  <a:pt x="228" y="114"/>
                </a:lnTo>
                <a:lnTo>
                  <a:pt x="222" y="114"/>
                </a:lnTo>
                <a:lnTo>
                  <a:pt x="222" y="114"/>
                </a:lnTo>
                <a:lnTo>
                  <a:pt x="222" y="114"/>
                </a:lnTo>
                <a:lnTo>
                  <a:pt x="222" y="114"/>
                </a:lnTo>
                <a:lnTo>
                  <a:pt x="222" y="114"/>
                </a:lnTo>
                <a:lnTo>
                  <a:pt x="222" y="114"/>
                </a:lnTo>
                <a:lnTo>
                  <a:pt x="222" y="114"/>
                </a:lnTo>
                <a:lnTo>
                  <a:pt x="222" y="114"/>
                </a:lnTo>
                <a:lnTo>
                  <a:pt x="222" y="114"/>
                </a:lnTo>
                <a:lnTo>
                  <a:pt x="222" y="114"/>
                </a:lnTo>
                <a:lnTo>
                  <a:pt x="222" y="114"/>
                </a:lnTo>
                <a:lnTo>
                  <a:pt x="216" y="114"/>
                </a:lnTo>
                <a:lnTo>
                  <a:pt x="216" y="114"/>
                </a:lnTo>
                <a:lnTo>
                  <a:pt x="216" y="114"/>
                </a:lnTo>
                <a:lnTo>
                  <a:pt x="216" y="114"/>
                </a:lnTo>
                <a:lnTo>
                  <a:pt x="216" y="114"/>
                </a:lnTo>
                <a:lnTo>
                  <a:pt x="216" y="108"/>
                </a:lnTo>
                <a:lnTo>
                  <a:pt x="216" y="114"/>
                </a:lnTo>
                <a:lnTo>
                  <a:pt x="210" y="108"/>
                </a:lnTo>
                <a:lnTo>
                  <a:pt x="210" y="114"/>
                </a:lnTo>
                <a:lnTo>
                  <a:pt x="210" y="114"/>
                </a:lnTo>
                <a:lnTo>
                  <a:pt x="210" y="114"/>
                </a:lnTo>
                <a:lnTo>
                  <a:pt x="210" y="114"/>
                </a:lnTo>
                <a:lnTo>
                  <a:pt x="210" y="114"/>
                </a:lnTo>
                <a:lnTo>
                  <a:pt x="210" y="114"/>
                </a:lnTo>
                <a:lnTo>
                  <a:pt x="210" y="114"/>
                </a:lnTo>
                <a:lnTo>
                  <a:pt x="204" y="114"/>
                </a:lnTo>
                <a:lnTo>
                  <a:pt x="210" y="114"/>
                </a:lnTo>
                <a:lnTo>
                  <a:pt x="210" y="108"/>
                </a:lnTo>
                <a:lnTo>
                  <a:pt x="204" y="108"/>
                </a:lnTo>
                <a:lnTo>
                  <a:pt x="204" y="108"/>
                </a:lnTo>
                <a:lnTo>
                  <a:pt x="204" y="108"/>
                </a:lnTo>
                <a:lnTo>
                  <a:pt x="204" y="108"/>
                </a:lnTo>
                <a:lnTo>
                  <a:pt x="204" y="108"/>
                </a:lnTo>
                <a:lnTo>
                  <a:pt x="204" y="108"/>
                </a:lnTo>
                <a:lnTo>
                  <a:pt x="198" y="108"/>
                </a:lnTo>
                <a:lnTo>
                  <a:pt x="198" y="108"/>
                </a:lnTo>
                <a:lnTo>
                  <a:pt x="198" y="108"/>
                </a:lnTo>
                <a:lnTo>
                  <a:pt x="198" y="108"/>
                </a:lnTo>
                <a:lnTo>
                  <a:pt x="198" y="108"/>
                </a:lnTo>
                <a:lnTo>
                  <a:pt x="192" y="108"/>
                </a:lnTo>
                <a:lnTo>
                  <a:pt x="192" y="108"/>
                </a:lnTo>
                <a:lnTo>
                  <a:pt x="192" y="108"/>
                </a:lnTo>
                <a:lnTo>
                  <a:pt x="192" y="108"/>
                </a:lnTo>
                <a:lnTo>
                  <a:pt x="192" y="108"/>
                </a:lnTo>
                <a:lnTo>
                  <a:pt x="192" y="108"/>
                </a:lnTo>
                <a:lnTo>
                  <a:pt x="192" y="108"/>
                </a:lnTo>
                <a:lnTo>
                  <a:pt x="192" y="108"/>
                </a:lnTo>
                <a:lnTo>
                  <a:pt x="192" y="108"/>
                </a:lnTo>
                <a:lnTo>
                  <a:pt x="186" y="108"/>
                </a:lnTo>
                <a:lnTo>
                  <a:pt x="186" y="108"/>
                </a:lnTo>
                <a:lnTo>
                  <a:pt x="186" y="108"/>
                </a:lnTo>
                <a:lnTo>
                  <a:pt x="186" y="108"/>
                </a:lnTo>
                <a:lnTo>
                  <a:pt x="186" y="108"/>
                </a:lnTo>
                <a:lnTo>
                  <a:pt x="180" y="108"/>
                </a:lnTo>
                <a:lnTo>
                  <a:pt x="180" y="108"/>
                </a:lnTo>
                <a:lnTo>
                  <a:pt x="180" y="108"/>
                </a:lnTo>
                <a:lnTo>
                  <a:pt x="180" y="102"/>
                </a:lnTo>
                <a:lnTo>
                  <a:pt x="180" y="108"/>
                </a:lnTo>
                <a:lnTo>
                  <a:pt x="180" y="108"/>
                </a:lnTo>
                <a:lnTo>
                  <a:pt x="174" y="108"/>
                </a:lnTo>
                <a:lnTo>
                  <a:pt x="174" y="102"/>
                </a:lnTo>
                <a:lnTo>
                  <a:pt x="174" y="102"/>
                </a:lnTo>
                <a:lnTo>
                  <a:pt x="174" y="102"/>
                </a:lnTo>
                <a:lnTo>
                  <a:pt x="174" y="108"/>
                </a:lnTo>
                <a:lnTo>
                  <a:pt x="174" y="108"/>
                </a:lnTo>
                <a:lnTo>
                  <a:pt x="174" y="108"/>
                </a:lnTo>
                <a:lnTo>
                  <a:pt x="174" y="102"/>
                </a:lnTo>
                <a:lnTo>
                  <a:pt x="174" y="102"/>
                </a:lnTo>
                <a:lnTo>
                  <a:pt x="174" y="108"/>
                </a:lnTo>
                <a:lnTo>
                  <a:pt x="168" y="108"/>
                </a:lnTo>
                <a:lnTo>
                  <a:pt x="168" y="108"/>
                </a:lnTo>
                <a:lnTo>
                  <a:pt x="168" y="102"/>
                </a:lnTo>
                <a:lnTo>
                  <a:pt x="168" y="102"/>
                </a:lnTo>
                <a:lnTo>
                  <a:pt x="168" y="108"/>
                </a:lnTo>
                <a:lnTo>
                  <a:pt x="168" y="108"/>
                </a:lnTo>
                <a:lnTo>
                  <a:pt x="162" y="102"/>
                </a:lnTo>
                <a:lnTo>
                  <a:pt x="162" y="108"/>
                </a:lnTo>
                <a:lnTo>
                  <a:pt x="162" y="108"/>
                </a:lnTo>
                <a:lnTo>
                  <a:pt x="162" y="102"/>
                </a:lnTo>
                <a:lnTo>
                  <a:pt x="162" y="102"/>
                </a:lnTo>
                <a:lnTo>
                  <a:pt x="162" y="102"/>
                </a:lnTo>
                <a:lnTo>
                  <a:pt x="162" y="102"/>
                </a:lnTo>
                <a:lnTo>
                  <a:pt x="162" y="108"/>
                </a:lnTo>
                <a:lnTo>
                  <a:pt x="162" y="108"/>
                </a:lnTo>
                <a:lnTo>
                  <a:pt x="162" y="102"/>
                </a:lnTo>
                <a:lnTo>
                  <a:pt x="156" y="102"/>
                </a:lnTo>
                <a:lnTo>
                  <a:pt x="156" y="102"/>
                </a:lnTo>
                <a:lnTo>
                  <a:pt x="156" y="102"/>
                </a:lnTo>
                <a:lnTo>
                  <a:pt x="156" y="102"/>
                </a:lnTo>
                <a:lnTo>
                  <a:pt x="156" y="102"/>
                </a:lnTo>
                <a:lnTo>
                  <a:pt x="156" y="102"/>
                </a:lnTo>
                <a:lnTo>
                  <a:pt x="156" y="102"/>
                </a:lnTo>
                <a:lnTo>
                  <a:pt x="156" y="102"/>
                </a:lnTo>
                <a:lnTo>
                  <a:pt x="156" y="102"/>
                </a:lnTo>
                <a:lnTo>
                  <a:pt x="156" y="102"/>
                </a:lnTo>
                <a:lnTo>
                  <a:pt x="156" y="102"/>
                </a:lnTo>
                <a:lnTo>
                  <a:pt x="150" y="102"/>
                </a:lnTo>
                <a:lnTo>
                  <a:pt x="150" y="108"/>
                </a:lnTo>
                <a:lnTo>
                  <a:pt x="150" y="102"/>
                </a:lnTo>
                <a:lnTo>
                  <a:pt x="150" y="108"/>
                </a:lnTo>
                <a:lnTo>
                  <a:pt x="150" y="108"/>
                </a:lnTo>
                <a:lnTo>
                  <a:pt x="144" y="102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8"/>
                </a:lnTo>
                <a:lnTo>
                  <a:pt x="138" y="108"/>
                </a:lnTo>
                <a:lnTo>
                  <a:pt x="138" y="108"/>
                </a:lnTo>
                <a:lnTo>
                  <a:pt x="138" y="102"/>
                </a:lnTo>
                <a:lnTo>
                  <a:pt x="132" y="102"/>
                </a:lnTo>
                <a:lnTo>
                  <a:pt x="132" y="108"/>
                </a:lnTo>
                <a:lnTo>
                  <a:pt x="132" y="108"/>
                </a:lnTo>
                <a:lnTo>
                  <a:pt x="132" y="102"/>
                </a:lnTo>
                <a:lnTo>
                  <a:pt x="132" y="108"/>
                </a:lnTo>
                <a:lnTo>
                  <a:pt x="132" y="108"/>
                </a:lnTo>
                <a:lnTo>
                  <a:pt x="126" y="108"/>
                </a:lnTo>
                <a:lnTo>
                  <a:pt x="126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0" y="102"/>
                </a:lnTo>
                <a:lnTo>
                  <a:pt x="90" y="102"/>
                </a:lnTo>
                <a:lnTo>
                  <a:pt x="90" y="102"/>
                </a:lnTo>
                <a:lnTo>
                  <a:pt x="90" y="102"/>
                </a:lnTo>
                <a:lnTo>
                  <a:pt x="90" y="102"/>
                </a:lnTo>
                <a:lnTo>
                  <a:pt x="90" y="102"/>
                </a:lnTo>
                <a:lnTo>
                  <a:pt x="84" y="102"/>
                </a:lnTo>
                <a:lnTo>
                  <a:pt x="84" y="102"/>
                </a:lnTo>
                <a:lnTo>
                  <a:pt x="84" y="102"/>
                </a:lnTo>
                <a:lnTo>
                  <a:pt x="84" y="102"/>
                </a:lnTo>
                <a:lnTo>
                  <a:pt x="84" y="102"/>
                </a:lnTo>
                <a:lnTo>
                  <a:pt x="84" y="108"/>
                </a:lnTo>
                <a:lnTo>
                  <a:pt x="78" y="102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14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20"/>
                </a:lnTo>
                <a:lnTo>
                  <a:pt x="60" y="120"/>
                </a:lnTo>
                <a:lnTo>
                  <a:pt x="54" y="120"/>
                </a:lnTo>
                <a:lnTo>
                  <a:pt x="54" y="120"/>
                </a:lnTo>
                <a:lnTo>
                  <a:pt x="54" y="120"/>
                </a:lnTo>
                <a:lnTo>
                  <a:pt x="54" y="120"/>
                </a:lnTo>
                <a:lnTo>
                  <a:pt x="54" y="120"/>
                </a:lnTo>
                <a:lnTo>
                  <a:pt x="54" y="120"/>
                </a:lnTo>
                <a:lnTo>
                  <a:pt x="54" y="120"/>
                </a:lnTo>
                <a:lnTo>
                  <a:pt x="54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20"/>
                </a:lnTo>
                <a:lnTo>
                  <a:pt x="42" y="120"/>
                </a:lnTo>
                <a:lnTo>
                  <a:pt x="42" y="120"/>
                </a:lnTo>
                <a:lnTo>
                  <a:pt x="42" y="120"/>
                </a:lnTo>
                <a:lnTo>
                  <a:pt x="42" y="120"/>
                </a:lnTo>
                <a:lnTo>
                  <a:pt x="42" y="120"/>
                </a:lnTo>
                <a:lnTo>
                  <a:pt x="42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14"/>
                </a:lnTo>
                <a:lnTo>
                  <a:pt x="24" y="114"/>
                </a:lnTo>
                <a:lnTo>
                  <a:pt x="18" y="114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2"/>
                </a:lnTo>
                <a:lnTo>
                  <a:pt x="12" y="102"/>
                </a:lnTo>
                <a:lnTo>
                  <a:pt x="0" y="114"/>
                </a:lnTo>
                <a:lnTo>
                  <a:pt x="0" y="7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272" name="Freeform 5"/>
          <p:cNvSpPr>
            <a:spLocks/>
          </p:cNvSpPr>
          <p:nvPr/>
        </p:nvSpPr>
        <p:spPr bwMode="auto">
          <a:xfrm>
            <a:off x="3363595" y="2092142"/>
            <a:ext cx="276234" cy="340477"/>
          </a:xfrm>
          <a:custGeom>
            <a:avLst/>
            <a:gdLst>
              <a:gd name="T0" fmla="*/ 240 w 258"/>
              <a:gd name="T1" fmla="*/ 78 h 318"/>
              <a:gd name="T2" fmla="*/ 240 w 258"/>
              <a:gd name="T3" fmla="*/ 96 h 318"/>
              <a:gd name="T4" fmla="*/ 234 w 258"/>
              <a:gd name="T5" fmla="*/ 114 h 318"/>
              <a:gd name="T6" fmla="*/ 228 w 258"/>
              <a:gd name="T7" fmla="*/ 126 h 318"/>
              <a:gd name="T8" fmla="*/ 234 w 258"/>
              <a:gd name="T9" fmla="*/ 144 h 318"/>
              <a:gd name="T10" fmla="*/ 234 w 258"/>
              <a:gd name="T11" fmla="*/ 192 h 318"/>
              <a:gd name="T12" fmla="*/ 234 w 258"/>
              <a:gd name="T13" fmla="*/ 204 h 318"/>
              <a:gd name="T14" fmla="*/ 246 w 258"/>
              <a:gd name="T15" fmla="*/ 216 h 318"/>
              <a:gd name="T16" fmla="*/ 246 w 258"/>
              <a:gd name="T17" fmla="*/ 228 h 318"/>
              <a:gd name="T18" fmla="*/ 252 w 258"/>
              <a:gd name="T19" fmla="*/ 240 h 318"/>
              <a:gd name="T20" fmla="*/ 258 w 258"/>
              <a:gd name="T21" fmla="*/ 258 h 318"/>
              <a:gd name="T22" fmla="*/ 252 w 258"/>
              <a:gd name="T23" fmla="*/ 282 h 318"/>
              <a:gd name="T24" fmla="*/ 240 w 258"/>
              <a:gd name="T25" fmla="*/ 300 h 318"/>
              <a:gd name="T26" fmla="*/ 216 w 258"/>
              <a:gd name="T27" fmla="*/ 312 h 318"/>
              <a:gd name="T28" fmla="*/ 216 w 258"/>
              <a:gd name="T29" fmla="*/ 318 h 318"/>
              <a:gd name="T30" fmla="*/ 216 w 258"/>
              <a:gd name="T31" fmla="*/ 312 h 318"/>
              <a:gd name="T32" fmla="*/ 210 w 258"/>
              <a:gd name="T33" fmla="*/ 312 h 318"/>
              <a:gd name="T34" fmla="*/ 204 w 258"/>
              <a:gd name="T35" fmla="*/ 312 h 318"/>
              <a:gd name="T36" fmla="*/ 204 w 258"/>
              <a:gd name="T37" fmla="*/ 312 h 318"/>
              <a:gd name="T38" fmla="*/ 198 w 258"/>
              <a:gd name="T39" fmla="*/ 312 h 318"/>
              <a:gd name="T40" fmla="*/ 192 w 258"/>
              <a:gd name="T41" fmla="*/ 312 h 318"/>
              <a:gd name="T42" fmla="*/ 186 w 258"/>
              <a:gd name="T43" fmla="*/ 306 h 318"/>
              <a:gd name="T44" fmla="*/ 186 w 258"/>
              <a:gd name="T45" fmla="*/ 312 h 318"/>
              <a:gd name="T46" fmla="*/ 180 w 258"/>
              <a:gd name="T47" fmla="*/ 306 h 318"/>
              <a:gd name="T48" fmla="*/ 174 w 258"/>
              <a:gd name="T49" fmla="*/ 306 h 318"/>
              <a:gd name="T50" fmla="*/ 174 w 258"/>
              <a:gd name="T51" fmla="*/ 306 h 318"/>
              <a:gd name="T52" fmla="*/ 168 w 258"/>
              <a:gd name="T53" fmla="*/ 306 h 318"/>
              <a:gd name="T54" fmla="*/ 168 w 258"/>
              <a:gd name="T55" fmla="*/ 306 h 318"/>
              <a:gd name="T56" fmla="*/ 102 w 258"/>
              <a:gd name="T57" fmla="*/ 300 h 318"/>
              <a:gd name="T58" fmla="*/ 114 w 258"/>
              <a:gd name="T59" fmla="*/ 294 h 318"/>
              <a:gd name="T60" fmla="*/ 120 w 258"/>
              <a:gd name="T61" fmla="*/ 282 h 318"/>
              <a:gd name="T62" fmla="*/ 132 w 258"/>
              <a:gd name="T63" fmla="*/ 276 h 318"/>
              <a:gd name="T64" fmla="*/ 132 w 258"/>
              <a:gd name="T65" fmla="*/ 270 h 318"/>
              <a:gd name="T66" fmla="*/ 138 w 258"/>
              <a:gd name="T67" fmla="*/ 252 h 318"/>
              <a:gd name="T68" fmla="*/ 126 w 258"/>
              <a:gd name="T69" fmla="*/ 234 h 318"/>
              <a:gd name="T70" fmla="*/ 126 w 258"/>
              <a:gd name="T71" fmla="*/ 228 h 318"/>
              <a:gd name="T72" fmla="*/ 114 w 258"/>
              <a:gd name="T73" fmla="*/ 210 h 318"/>
              <a:gd name="T74" fmla="*/ 102 w 258"/>
              <a:gd name="T75" fmla="*/ 204 h 318"/>
              <a:gd name="T76" fmla="*/ 96 w 258"/>
              <a:gd name="T77" fmla="*/ 198 h 318"/>
              <a:gd name="T78" fmla="*/ 96 w 258"/>
              <a:gd name="T79" fmla="*/ 186 h 318"/>
              <a:gd name="T80" fmla="*/ 84 w 258"/>
              <a:gd name="T81" fmla="*/ 180 h 318"/>
              <a:gd name="T82" fmla="*/ 72 w 258"/>
              <a:gd name="T83" fmla="*/ 168 h 318"/>
              <a:gd name="T84" fmla="*/ 60 w 258"/>
              <a:gd name="T85" fmla="*/ 162 h 318"/>
              <a:gd name="T86" fmla="*/ 60 w 258"/>
              <a:gd name="T87" fmla="*/ 150 h 318"/>
              <a:gd name="T88" fmla="*/ 54 w 258"/>
              <a:gd name="T89" fmla="*/ 132 h 318"/>
              <a:gd name="T90" fmla="*/ 48 w 258"/>
              <a:gd name="T91" fmla="*/ 120 h 318"/>
              <a:gd name="T92" fmla="*/ 36 w 258"/>
              <a:gd name="T93" fmla="*/ 114 h 318"/>
              <a:gd name="T94" fmla="*/ 36 w 258"/>
              <a:gd name="T95" fmla="*/ 102 h 318"/>
              <a:gd name="T96" fmla="*/ 42 w 258"/>
              <a:gd name="T97" fmla="*/ 96 h 318"/>
              <a:gd name="T98" fmla="*/ 36 w 258"/>
              <a:gd name="T99" fmla="*/ 84 h 318"/>
              <a:gd name="T100" fmla="*/ 18 w 258"/>
              <a:gd name="T101" fmla="*/ 72 h 318"/>
              <a:gd name="T102" fmla="*/ 6 w 258"/>
              <a:gd name="T103" fmla="*/ 54 h 318"/>
              <a:gd name="T104" fmla="*/ 12 w 258"/>
              <a:gd name="T105" fmla="*/ 42 h 318"/>
              <a:gd name="T106" fmla="*/ 12 w 258"/>
              <a:gd name="T107" fmla="*/ 36 h 318"/>
              <a:gd name="T108" fmla="*/ 24 w 258"/>
              <a:gd name="T109" fmla="*/ 30 h 318"/>
              <a:gd name="T110" fmla="*/ 36 w 258"/>
              <a:gd name="T111" fmla="*/ 30 h 318"/>
              <a:gd name="T112" fmla="*/ 36 w 258"/>
              <a:gd name="T113" fmla="*/ 12 h 3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58" h="318">
                <a:moveTo>
                  <a:pt x="30" y="0"/>
                </a:moveTo>
                <a:lnTo>
                  <a:pt x="36" y="6"/>
                </a:lnTo>
                <a:lnTo>
                  <a:pt x="90" y="30"/>
                </a:lnTo>
                <a:lnTo>
                  <a:pt x="150" y="54"/>
                </a:lnTo>
                <a:lnTo>
                  <a:pt x="174" y="66"/>
                </a:lnTo>
                <a:lnTo>
                  <a:pt x="174" y="66"/>
                </a:lnTo>
                <a:lnTo>
                  <a:pt x="240" y="78"/>
                </a:lnTo>
                <a:lnTo>
                  <a:pt x="240" y="84"/>
                </a:lnTo>
                <a:lnTo>
                  <a:pt x="240" y="90"/>
                </a:lnTo>
                <a:lnTo>
                  <a:pt x="240" y="90"/>
                </a:lnTo>
                <a:lnTo>
                  <a:pt x="240" y="90"/>
                </a:lnTo>
                <a:lnTo>
                  <a:pt x="234" y="90"/>
                </a:lnTo>
                <a:lnTo>
                  <a:pt x="234" y="96"/>
                </a:lnTo>
                <a:lnTo>
                  <a:pt x="240" y="96"/>
                </a:lnTo>
                <a:lnTo>
                  <a:pt x="240" y="102"/>
                </a:lnTo>
                <a:lnTo>
                  <a:pt x="234" y="102"/>
                </a:lnTo>
                <a:lnTo>
                  <a:pt x="234" y="102"/>
                </a:lnTo>
                <a:lnTo>
                  <a:pt x="234" y="102"/>
                </a:lnTo>
                <a:lnTo>
                  <a:pt x="234" y="108"/>
                </a:lnTo>
                <a:lnTo>
                  <a:pt x="234" y="114"/>
                </a:lnTo>
                <a:lnTo>
                  <a:pt x="234" y="114"/>
                </a:lnTo>
                <a:lnTo>
                  <a:pt x="228" y="114"/>
                </a:lnTo>
                <a:lnTo>
                  <a:pt x="228" y="120"/>
                </a:lnTo>
                <a:lnTo>
                  <a:pt x="228" y="120"/>
                </a:lnTo>
                <a:lnTo>
                  <a:pt x="228" y="126"/>
                </a:lnTo>
                <a:lnTo>
                  <a:pt x="228" y="126"/>
                </a:lnTo>
                <a:lnTo>
                  <a:pt x="228" y="126"/>
                </a:lnTo>
                <a:lnTo>
                  <a:pt x="228" y="126"/>
                </a:lnTo>
                <a:lnTo>
                  <a:pt x="228" y="132"/>
                </a:lnTo>
                <a:lnTo>
                  <a:pt x="234" y="132"/>
                </a:lnTo>
                <a:lnTo>
                  <a:pt x="234" y="132"/>
                </a:lnTo>
                <a:lnTo>
                  <a:pt x="234" y="132"/>
                </a:lnTo>
                <a:lnTo>
                  <a:pt x="234" y="138"/>
                </a:lnTo>
                <a:lnTo>
                  <a:pt x="234" y="144"/>
                </a:lnTo>
                <a:lnTo>
                  <a:pt x="234" y="144"/>
                </a:lnTo>
                <a:lnTo>
                  <a:pt x="234" y="150"/>
                </a:lnTo>
                <a:lnTo>
                  <a:pt x="234" y="156"/>
                </a:lnTo>
                <a:lnTo>
                  <a:pt x="228" y="168"/>
                </a:lnTo>
                <a:lnTo>
                  <a:pt x="228" y="174"/>
                </a:lnTo>
                <a:lnTo>
                  <a:pt x="228" y="174"/>
                </a:lnTo>
                <a:lnTo>
                  <a:pt x="234" y="186"/>
                </a:lnTo>
                <a:lnTo>
                  <a:pt x="234" y="192"/>
                </a:lnTo>
                <a:lnTo>
                  <a:pt x="234" y="192"/>
                </a:lnTo>
                <a:lnTo>
                  <a:pt x="234" y="198"/>
                </a:lnTo>
                <a:lnTo>
                  <a:pt x="234" y="198"/>
                </a:lnTo>
                <a:lnTo>
                  <a:pt x="234" y="204"/>
                </a:lnTo>
                <a:lnTo>
                  <a:pt x="234" y="204"/>
                </a:lnTo>
                <a:lnTo>
                  <a:pt x="234" y="204"/>
                </a:lnTo>
                <a:lnTo>
                  <a:pt x="234" y="204"/>
                </a:lnTo>
                <a:lnTo>
                  <a:pt x="240" y="210"/>
                </a:lnTo>
                <a:lnTo>
                  <a:pt x="240" y="210"/>
                </a:lnTo>
                <a:lnTo>
                  <a:pt x="240" y="210"/>
                </a:lnTo>
                <a:lnTo>
                  <a:pt x="246" y="210"/>
                </a:lnTo>
                <a:lnTo>
                  <a:pt x="246" y="210"/>
                </a:lnTo>
                <a:lnTo>
                  <a:pt x="246" y="216"/>
                </a:lnTo>
                <a:lnTo>
                  <a:pt x="246" y="216"/>
                </a:lnTo>
                <a:lnTo>
                  <a:pt x="246" y="216"/>
                </a:lnTo>
                <a:lnTo>
                  <a:pt x="246" y="216"/>
                </a:lnTo>
                <a:lnTo>
                  <a:pt x="252" y="222"/>
                </a:lnTo>
                <a:lnTo>
                  <a:pt x="252" y="222"/>
                </a:lnTo>
                <a:lnTo>
                  <a:pt x="252" y="228"/>
                </a:lnTo>
                <a:lnTo>
                  <a:pt x="252" y="228"/>
                </a:lnTo>
                <a:lnTo>
                  <a:pt x="246" y="228"/>
                </a:lnTo>
                <a:lnTo>
                  <a:pt x="240" y="234"/>
                </a:lnTo>
                <a:lnTo>
                  <a:pt x="240" y="234"/>
                </a:lnTo>
                <a:lnTo>
                  <a:pt x="240" y="240"/>
                </a:lnTo>
                <a:lnTo>
                  <a:pt x="240" y="240"/>
                </a:lnTo>
                <a:lnTo>
                  <a:pt x="246" y="240"/>
                </a:lnTo>
                <a:lnTo>
                  <a:pt x="252" y="240"/>
                </a:lnTo>
                <a:lnTo>
                  <a:pt x="252" y="240"/>
                </a:lnTo>
                <a:lnTo>
                  <a:pt x="252" y="240"/>
                </a:lnTo>
                <a:lnTo>
                  <a:pt x="252" y="246"/>
                </a:lnTo>
                <a:lnTo>
                  <a:pt x="252" y="246"/>
                </a:lnTo>
                <a:lnTo>
                  <a:pt x="252" y="246"/>
                </a:lnTo>
                <a:lnTo>
                  <a:pt x="258" y="252"/>
                </a:lnTo>
                <a:lnTo>
                  <a:pt x="258" y="258"/>
                </a:lnTo>
                <a:lnTo>
                  <a:pt x="258" y="258"/>
                </a:lnTo>
                <a:lnTo>
                  <a:pt x="258" y="258"/>
                </a:lnTo>
                <a:lnTo>
                  <a:pt x="258" y="264"/>
                </a:lnTo>
                <a:lnTo>
                  <a:pt x="252" y="264"/>
                </a:lnTo>
                <a:lnTo>
                  <a:pt x="252" y="270"/>
                </a:lnTo>
                <a:lnTo>
                  <a:pt x="252" y="276"/>
                </a:lnTo>
                <a:lnTo>
                  <a:pt x="252" y="282"/>
                </a:lnTo>
                <a:lnTo>
                  <a:pt x="252" y="282"/>
                </a:lnTo>
                <a:lnTo>
                  <a:pt x="246" y="288"/>
                </a:lnTo>
                <a:lnTo>
                  <a:pt x="246" y="294"/>
                </a:lnTo>
                <a:lnTo>
                  <a:pt x="246" y="294"/>
                </a:lnTo>
                <a:lnTo>
                  <a:pt x="240" y="294"/>
                </a:lnTo>
                <a:lnTo>
                  <a:pt x="240" y="294"/>
                </a:lnTo>
                <a:lnTo>
                  <a:pt x="240" y="300"/>
                </a:lnTo>
                <a:lnTo>
                  <a:pt x="240" y="300"/>
                </a:lnTo>
                <a:lnTo>
                  <a:pt x="234" y="300"/>
                </a:lnTo>
                <a:lnTo>
                  <a:pt x="228" y="306"/>
                </a:lnTo>
                <a:lnTo>
                  <a:pt x="228" y="306"/>
                </a:lnTo>
                <a:lnTo>
                  <a:pt x="222" y="306"/>
                </a:lnTo>
                <a:lnTo>
                  <a:pt x="222" y="312"/>
                </a:lnTo>
                <a:lnTo>
                  <a:pt x="216" y="312"/>
                </a:lnTo>
                <a:lnTo>
                  <a:pt x="216" y="312"/>
                </a:lnTo>
                <a:lnTo>
                  <a:pt x="216" y="312"/>
                </a:lnTo>
                <a:lnTo>
                  <a:pt x="216" y="312"/>
                </a:lnTo>
                <a:lnTo>
                  <a:pt x="216" y="312"/>
                </a:lnTo>
                <a:lnTo>
                  <a:pt x="216" y="318"/>
                </a:lnTo>
                <a:lnTo>
                  <a:pt x="216" y="318"/>
                </a:lnTo>
                <a:lnTo>
                  <a:pt x="222" y="318"/>
                </a:lnTo>
                <a:lnTo>
                  <a:pt x="216" y="318"/>
                </a:lnTo>
                <a:lnTo>
                  <a:pt x="216" y="318"/>
                </a:lnTo>
                <a:lnTo>
                  <a:pt x="216" y="318"/>
                </a:lnTo>
                <a:lnTo>
                  <a:pt x="216" y="318"/>
                </a:lnTo>
                <a:lnTo>
                  <a:pt x="216" y="318"/>
                </a:lnTo>
                <a:lnTo>
                  <a:pt x="216" y="318"/>
                </a:lnTo>
                <a:lnTo>
                  <a:pt x="216" y="318"/>
                </a:lnTo>
                <a:lnTo>
                  <a:pt x="216" y="312"/>
                </a:lnTo>
                <a:lnTo>
                  <a:pt x="216" y="312"/>
                </a:lnTo>
                <a:lnTo>
                  <a:pt x="216" y="312"/>
                </a:lnTo>
                <a:lnTo>
                  <a:pt x="210" y="312"/>
                </a:lnTo>
                <a:lnTo>
                  <a:pt x="210" y="312"/>
                </a:lnTo>
                <a:lnTo>
                  <a:pt x="210" y="312"/>
                </a:lnTo>
                <a:lnTo>
                  <a:pt x="210" y="312"/>
                </a:lnTo>
                <a:lnTo>
                  <a:pt x="210" y="312"/>
                </a:lnTo>
                <a:lnTo>
                  <a:pt x="210" y="312"/>
                </a:lnTo>
                <a:lnTo>
                  <a:pt x="210" y="312"/>
                </a:lnTo>
                <a:lnTo>
                  <a:pt x="210" y="312"/>
                </a:lnTo>
                <a:lnTo>
                  <a:pt x="210" y="312"/>
                </a:lnTo>
                <a:lnTo>
                  <a:pt x="210" y="312"/>
                </a:lnTo>
                <a:lnTo>
                  <a:pt x="204" y="312"/>
                </a:lnTo>
                <a:lnTo>
                  <a:pt x="204" y="312"/>
                </a:lnTo>
                <a:lnTo>
                  <a:pt x="204" y="312"/>
                </a:lnTo>
                <a:lnTo>
                  <a:pt x="204" y="312"/>
                </a:lnTo>
                <a:lnTo>
                  <a:pt x="204" y="312"/>
                </a:lnTo>
                <a:lnTo>
                  <a:pt x="204" y="312"/>
                </a:lnTo>
                <a:lnTo>
                  <a:pt x="204" y="312"/>
                </a:lnTo>
                <a:lnTo>
                  <a:pt x="204" y="312"/>
                </a:lnTo>
                <a:lnTo>
                  <a:pt x="204" y="312"/>
                </a:lnTo>
                <a:lnTo>
                  <a:pt x="198" y="312"/>
                </a:lnTo>
                <a:lnTo>
                  <a:pt x="198" y="312"/>
                </a:lnTo>
                <a:lnTo>
                  <a:pt x="198" y="312"/>
                </a:lnTo>
                <a:lnTo>
                  <a:pt x="198" y="312"/>
                </a:lnTo>
                <a:lnTo>
                  <a:pt x="198" y="312"/>
                </a:lnTo>
                <a:lnTo>
                  <a:pt x="198" y="312"/>
                </a:lnTo>
                <a:lnTo>
                  <a:pt x="198" y="312"/>
                </a:lnTo>
                <a:lnTo>
                  <a:pt x="198" y="312"/>
                </a:lnTo>
                <a:lnTo>
                  <a:pt x="198" y="312"/>
                </a:lnTo>
                <a:lnTo>
                  <a:pt x="192" y="312"/>
                </a:lnTo>
                <a:lnTo>
                  <a:pt x="192" y="312"/>
                </a:lnTo>
                <a:lnTo>
                  <a:pt x="192" y="312"/>
                </a:lnTo>
                <a:lnTo>
                  <a:pt x="192" y="312"/>
                </a:lnTo>
                <a:lnTo>
                  <a:pt x="192" y="312"/>
                </a:lnTo>
                <a:lnTo>
                  <a:pt x="192" y="312"/>
                </a:lnTo>
                <a:lnTo>
                  <a:pt x="192" y="312"/>
                </a:lnTo>
                <a:lnTo>
                  <a:pt x="192" y="312"/>
                </a:lnTo>
                <a:lnTo>
                  <a:pt x="192" y="312"/>
                </a:lnTo>
                <a:lnTo>
                  <a:pt x="192" y="312"/>
                </a:lnTo>
                <a:lnTo>
                  <a:pt x="186" y="312"/>
                </a:lnTo>
                <a:lnTo>
                  <a:pt x="186" y="306"/>
                </a:lnTo>
                <a:lnTo>
                  <a:pt x="186" y="312"/>
                </a:lnTo>
                <a:lnTo>
                  <a:pt x="186" y="306"/>
                </a:lnTo>
                <a:lnTo>
                  <a:pt x="186" y="306"/>
                </a:lnTo>
                <a:lnTo>
                  <a:pt x="186" y="306"/>
                </a:lnTo>
                <a:lnTo>
                  <a:pt x="186" y="306"/>
                </a:lnTo>
                <a:lnTo>
                  <a:pt x="186" y="306"/>
                </a:lnTo>
                <a:lnTo>
                  <a:pt x="186" y="312"/>
                </a:lnTo>
                <a:lnTo>
                  <a:pt x="186" y="306"/>
                </a:lnTo>
                <a:lnTo>
                  <a:pt x="186" y="306"/>
                </a:lnTo>
                <a:lnTo>
                  <a:pt x="186" y="306"/>
                </a:lnTo>
                <a:lnTo>
                  <a:pt x="186" y="306"/>
                </a:lnTo>
                <a:lnTo>
                  <a:pt x="186" y="306"/>
                </a:lnTo>
                <a:lnTo>
                  <a:pt x="180" y="306"/>
                </a:lnTo>
                <a:lnTo>
                  <a:pt x="180" y="306"/>
                </a:lnTo>
                <a:lnTo>
                  <a:pt x="180" y="306"/>
                </a:lnTo>
                <a:lnTo>
                  <a:pt x="180" y="306"/>
                </a:lnTo>
                <a:lnTo>
                  <a:pt x="180" y="306"/>
                </a:lnTo>
                <a:lnTo>
                  <a:pt x="180" y="306"/>
                </a:lnTo>
                <a:lnTo>
                  <a:pt x="180" y="306"/>
                </a:lnTo>
                <a:lnTo>
                  <a:pt x="174" y="306"/>
                </a:lnTo>
                <a:lnTo>
                  <a:pt x="174" y="306"/>
                </a:lnTo>
                <a:lnTo>
                  <a:pt x="174" y="306"/>
                </a:lnTo>
                <a:lnTo>
                  <a:pt x="174" y="306"/>
                </a:lnTo>
                <a:lnTo>
                  <a:pt x="174" y="306"/>
                </a:lnTo>
                <a:lnTo>
                  <a:pt x="174" y="306"/>
                </a:lnTo>
                <a:lnTo>
                  <a:pt x="174" y="306"/>
                </a:lnTo>
                <a:lnTo>
                  <a:pt x="174" y="306"/>
                </a:lnTo>
                <a:lnTo>
                  <a:pt x="174" y="306"/>
                </a:lnTo>
                <a:lnTo>
                  <a:pt x="174" y="306"/>
                </a:lnTo>
                <a:lnTo>
                  <a:pt x="174" y="306"/>
                </a:lnTo>
                <a:lnTo>
                  <a:pt x="174" y="306"/>
                </a:lnTo>
                <a:lnTo>
                  <a:pt x="174" y="306"/>
                </a:lnTo>
                <a:lnTo>
                  <a:pt x="168" y="306"/>
                </a:lnTo>
                <a:lnTo>
                  <a:pt x="168" y="306"/>
                </a:lnTo>
                <a:lnTo>
                  <a:pt x="168" y="306"/>
                </a:lnTo>
                <a:lnTo>
                  <a:pt x="168" y="306"/>
                </a:lnTo>
                <a:lnTo>
                  <a:pt x="168" y="306"/>
                </a:lnTo>
                <a:lnTo>
                  <a:pt x="168" y="306"/>
                </a:lnTo>
                <a:lnTo>
                  <a:pt x="168" y="306"/>
                </a:lnTo>
                <a:lnTo>
                  <a:pt x="168" y="306"/>
                </a:lnTo>
                <a:lnTo>
                  <a:pt x="168" y="306"/>
                </a:lnTo>
                <a:lnTo>
                  <a:pt x="168" y="306"/>
                </a:lnTo>
                <a:lnTo>
                  <a:pt x="168" y="306"/>
                </a:lnTo>
                <a:lnTo>
                  <a:pt x="162" y="300"/>
                </a:lnTo>
                <a:lnTo>
                  <a:pt x="168" y="300"/>
                </a:lnTo>
                <a:lnTo>
                  <a:pt x="162" y="300"/>
                </a:lnTo>
                <a:lnTo>
                  <a:pt x="162" y="300"/>
                </a:lnTo>
                <a:lnTo>
                  <a:pt x="156" y="300"/>
                </a:lnTo>
                <a:lnTo>
                  <a:pt x="102" y="300"/>
                </a:lnTo>
                <a:lnTo>
                  <a:pt x="102" y="300"/>
                </a:lnTo>
                <a:lnTo>
                  <a:pt x="108" y="300"/>
                </a:lnTo>
                <a:lnTo>
                  <a:pt x="108" y="294"/>
                </a:lnTo>
                <a:lnTo>
                  <a:pt x="108" y="294"/>
                </a:lnTo>
                <a:lnTo>
                  <a:pt x="108" y="294"/>
                </a:lnTo>
                <a:lnTo>
                  <a:pt x="114" y="294"/>
                </a:lnTo>
                <a:lnTo>
                  <a:pt x="114" y="294"/>
                </a:lnTo>
                <a:lnTo>
                  <a:pt x="114" y="288"/>
                </a:lnTo>
                <a:lnTo>
                  <a:pt x="114" y="288"/>
                </a:lnTo>
                <a:lnTo>
                  <a:pt x="120" y="288"/>
                </a:lnTo>
                <a:lnTo>
                  <a:pt x="120" y="288"/>
                </a:lnTo>
                <a:lnTo>
                  <a:pt x="120" y="288"/>
                </a:lnTo>
                <a:lnTo>
                  <a:pt x="114" y="282"/>
                </a:lnTo>
                <a:lnTo>
                  <a:pt x="120" y="282"/>
                </a:lnTo>
                <a:lnTo>
                  <a:pt x="120" y="276"/>
                </a:lnTo>
                <a:lnTo>
                  <a:pt x="126" y="276"/>
                </a:lnTo>
                <a:lnTo>
                  <a:pt x="126" y="276"/>
                </a:lnTo>
                <a:lnTo>
                  <a:pt x="126" y="276"/>
                </a:lnTo>
                <a:lnTo>
                  <a:pt x="126" y="276"/>
                </a:lnTo>
                <a:lnTo>
                  <a:pt x="126" y="276"/>
                </a:lnTo>
                <a:lnTo>
                  <a:pt x="132" y="276"/>
                </a:lnTo>
                <a:lnTo>
                  <a:pt x="132" y="276"/>
                </a:lnTo>
                <a:lnTo>
                  <a:pt x="132" y="276"/>
                </a:lnTo>
                <a:lnTo>
                  <a:pt x="132" y="270"/>
                </a:lnTo>
                <a:lnTo>
                  <a:pt x="132" y="270"/>
                </a:lnTo>
                <a:lnTo>
                  <a:pt x="132" y="270"/>
                </a:lnTo>
                <a:lnTo>
                  <a:pt x="132" y="270"/>
                </a:lnTo>
                <a:lnTo>
                  <a:pt x="132" y="270"/>
                </a:lnTo>
                <a:lnTo>
                  <a:pt x="138" y="264"/>
                </a:lnTo>
                <a:lnTo>
                  <a:pt x="138" y="264"/>
                </a:lnTo>
                <a:lnTo>
                  <a:pt x="138" y="258"/>
                </a:lnTo>
                <a:lnTo>
                  <a:pt x="138" y="258"/>
                </a:lnTo>
                <a:lnTo>
                  <a:pt x="138" y="252"/>
                </a:lnTo>
                <a:lnTo>
                  <a:pt x="138" y="252"/>
                </a:lnTo>
                <a:lnTo>
                  <a:pt x="138" y="252"/>
                </a:lnTo>
                <a:lnTo>
                  <a:pt x="138" y="246"/>
                </a:lnTo>
                <a:lnTo>
                  <a:pt x="138" y="246"/>
                </a:lnTo>
                <a:lnTo>
                  <a:pt x="138" y="246"/>
                </a:lnTo>
                <a:lnTo>
                  <a:pt x="138" y="246"/>
                </a:lnTo>
                <a:lnTo>
                  <a:pt x="132" y="240"/>
                </a:lnTo>
                <a:lnTo>
                  <a:pt x="132" y="234"/>
                </a:lnTo>
                <a:lnTo>
                  <a:pt x="126" y="234"/>
                </a:lnTo>
                <a:lnTo>
                  <a:pt x="126" y="234"/>
                </a:lnTo>
                <a:lnTo>
                  <a:pt x="126" y="234"/>
                </a:lnTo>
                <a:lnTo>
                  <a:pt x="126" y="234"/>
                </a:lnTo>
                <a:lnTo>
                  <a:pt x="126" y="234"/>
                </a:lnTo>
                <a:lnTo>
                  <a:pt x="126" y="234"/>
                </a:lnTo>
                <a:lnTo>
                  <a:pt x="126" y="228"/>
                </a:lnTo>
                <a:lnTo>
                  <a:pt x="126" y="228"/>
                </a:lnTo>
                <a:lnTo>
                  <a:pt x="126" y="228"/>
                </a:lnTo>
                <a:lnTo>
                  <a:pt x="120" y="228"/>
                </a:lnTo>
                <a:lnTo>
                  <a:pt x="120" y="222"/>
                </a:lnTo>
                <a:lnTo>
                  <a:pt x="120" y="222"/>
                </a:lnTo>
                <a:lnTo>
                  <a:pt x="120" y="216"/>
                </a:lnTo>
                <a:lnTo>
                  <a:pt x="114" y="210"/>
                </a:lnTo>
                <a:lnTo>
                  <a:pt x="114" y="210"/>
                </a:lnTo>
                <a:lnTo>
                  <a:pt x="114" y="210"/>
                </a:lnTo>
                <a:lnTo>
                  <a:pt x="114" y="204"/>
                </a:lnTo>
                <a:lnTo>
                  <a:pt x="108" y="210"/>
                </a:lnTo>
                <a:lnTo>
                  <a:pt x="108" y="204"/>
                </a:lnTo>
                <a:lnTo>
                  <a:pt x="108" y="204"/>
                </a:lnTo>
                <a:lnTo>
                  <a:pt x="102" y="204"/>
                </a:lnTo>
                <a:lnTo>
                  <a:pt x="102" y="204"/>
                </a:lnTo>
                <a:lnTo>
                  <a:pt x="102" y="204"/>
                </a:lnTo>
                <a:lnTo>
                  <a:pt x="102" y="204"/>
                </a:lnTo>
                <a:lnTo>
                  <a:pt x="102" y="204"/>
                </a:lnTo>
                <a:lnTo>
                  <a:pt x="96" y="204"/>
                </a:lnTo>
                <a:lnTo>
                  <a:pt x="96" y="198"/>
                </a:lnTo>
                <a:lnTo>
                  <a:pt x="96" y="198"/>
                </a:lnTo>
                <a:lnTo>
                  <a:pt x="96" y="198"/>
                </a:lnTo>
                <a:lnTo>
                  <a:pt x="96" y="198"/>
                </a:lnTo>
                <a:lnTo>
                  <a:pt x="96" y="198"/>
                </a:lnTo>
                <a:lnTo>
                  <a:pt x="96" y="198"/>
                </a:lnTo>
                <a:lnTo>
                  <a:pt x="96" y="198"/>
                </a:lnTo>
                <a:lnTo>
                  <a:pt x="96" y="192"/>
                </a:lnTo>
                <a:lnTo>
                  <a:pt x="96" y="192"/>
                </a:lnTo>
                <a:lnTo>
                  <a:pt x="96" y="186"/>
                </a:lnTo>
                <a:lnTo>
                  <a:pt x="90" y="180"/>
                </a:lnTo>
                <a:lnTo>
                  <a:pt x="90" y="180"/>
                </a:lnTo>
                <a:lnTo>
                  <a:pt x="90" y="180"/>
                </a:lnTo>
                <a:lnTo>
                  <a:pt x="84" y="180"/>
                </a:lnTo>
                <a:lnTo>
                  <a:pt x="84" y="180"/>
                </a:lnTo>
                <a:lnTo>
                  <a:pt x="84" y="180"/>
                </a:lnTo>
                <a:lnTo>
                  <a:pt x="84" y="180"/>
                </a:lnTo>
                <a:lnTo>
                  <a:pt x="84" y="180"/>
                </a:lnTo>
                <a:lnTo>
                  <a:pt x="78" y="174"/>
                </a:lnTo>
                <a:lnTo>
                  <a:pt x="78" y="174"/>
                </a:lnTo>
                <a:lnTo>
                  <a:pt x="78" y="168"/>
                </a:lnTo>
                <a:lnTo>
                  <a:pt x="78" y="168"/>
                </a:lnTo>
                <a:lnTo>
                  <a:pt x="78" y="168"/>
                </a:lnTo>
                <a:lnTo>
                  <a:pt x="72" y="168"/>
                </a:lnTo>
                <a:lnTo>
                  <a:pt x="72" y="168"/>
                </a:lnTo>
                <a:lnTo>
                  <a:pt x="66" y="168"/>
                </a:lnTo>
                <a:lnTo>
                  <a:pt x="66" y="168"/>
                </a:lnTo>
                <a:lnTo>
                  <a:pt x="66" y="168"/>
                </a:lnTo>
                <a:lnTo>
                  <a:pt x="66" y="168"/>
                </a:lnTo>
                <a:lnTo>
                  <a:pt x="66" y="168"/>
                </a:lnTo>
                <a:lnTo>
                  <a:pt x="60" y="162"/>
                </a:lnTo>
                <a:lnTo>
                  <a:pt x="60" y="156"/>
                </a:lnTo>
                <a:lnTo>
                  <a:pt x="60" y="156"/>
                </a:lnTo>
                <a:lnTo>
                  <a:pt x="60" y="150"/>
                </a:lnTo>
                <a:lnTo>
                  <a:pt x="60" y="150"/>
                </a:lnTo>
                <a:lnTo>
                  <a:pt x="60" y="150"/>
                </a:lnTo>
                <a:lnTo>
                  <a:pt x="60" y="150"/>
                </a:lnTo>
                <a:lnTo>
                  <a:pt x="60" y="150"/>
                </a:lnTo>
                <a:lnTo>
                  <a:pt x="54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38"/>
                </a:lnTo>
                <a:lnTo>
                  <a:pt x="54" y="138"/>
                </a:lnTo>
                <a:lnTo>
                  <a:pt x="54" y="132"/>
                </a:lnTo>
                <a:lnTo>
                  <a:pt x="54" y="132"/>
                </a:lnTo>
                <a:lnTo>
                  <a:pt x="54" y="126"/>
                </a:lnTo>
                <a:lnTo>
                  <a:pt x="54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20"/>
                </a:lnTo>
                <a:lnTo>
                  <a:pt x="42" y="120"/>
                </a:lnTo>
                <a:lnTo>
                  <a:pt x="42" y="114"/>
                </a:lnTo>
                <a:lnTo>
                  <a:pt x="42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08"/>
                </a:lnTo>
                <a:lnTo>
                  <a:pt x="36" y="108"/>
                </a:lnTo>
                <a:lnTo>
                  <a:pt x="30" y="102"/>
                </a:lnTo>
                <a:lnTo>
                  <a:pt x="30" y="102"/>
                </a:lnTo>
                <a:lnTo>
                  <a:pt x="36" y="102"/>
                </a:lnTo>
                <a:lnTo>
                  <a:pt x="30" y="102"/>
                </a:lnTo>
                <a:lnTo>
                  <a:pt x="30" y="96"/>
                </a:lnTo>
                <a:lnTo>
                  <a:pt x="36" y="96"/>
                </a:lnTo>
                <a:lnTo>
                  <a:pt x="36" y="102"/>
                </a:lnTo>
                <a:lnTo>
                  <a:pt x="36" y="102"/>
                </a:lnTo>
                <a:lnTo>
                  <a:pt x="42" y="102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0"/>
                </a:lnTo>
                <a:lnTo>
                  <a:pt x="42" y="90"/>
                </a:lnTo>
                <a:lnTo>
                  <a:pt x="42" y="84"/>
                </a:lnTo>
                <a:lnTo>
                  <a:pt x="36" y="84"/>
                </a:lnTo>
                <a:lnTo>
                  <a:pt x="36" y="84"/>
                </a:lnTo>
                <a:lnTo>
                  <a:pt x="30" y="84"/>
                </a:lnTo>
                <a:lnTo>
                  <a:pt x="24" y="84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18" y="78"/>
                </a:lnTo>
                <a:lnTo>
                  <a:pt x="18" y="72"/>
                </a:lnTo>
                <a:lnTo>
                  <a:pt x="18" y="72"/>
                </a:lnTo>
                <a:lnTo>
                  <a:pt x="12" y="66"/>
                </a:lnTo>
                <a:lnTo>
                  <a:pt x="12" y="66"/>
                </a:lnTo>
                <a:lnTo>
                  <a:pt x="6" y="60"/>
                </a:lnTo>
                <a:lnTo>
                  <a:pt x="6" y="60"/>
                </a:lnTo>
                <a:lnTo>
                  <a:pt x="0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12" y="54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6" y="42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8" y="36"/>
                </a:lnTo>
                <a:lnTo>
                  <a:pt x="18" y="36"/>
                </a:lnTo>
                <a:lnTo>
                  <a:pt x="18" y="30"/>
                </a:lnTo>
                <a:lnTo>
                  <a:pt x="24" y="30"/>
                </a:lnTo>
                <a:lnTo>
                  <a:pt x="24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6" y="30"/>
                </a:lnTo>
                <a:lnTo>
                  <a:pt x="36" y="30"/>
                </a:lnTo>
                <a:lnTo>
                  <a:pt x="42" y="24"/>
                </a:lnTo>
                <a:lnTo>
                  <a:pt x="42" y="24"/>
                </a:lnTo>
                <a:lnTo>
                  <a:pt x="36" y="24"/>
                </a:lnTo>
                <a:lnTo>
                  <a:pt x="36" y="18"/>
                </a:lnTo>
                <a:lnTo>
                  <a:pt x="36" y="18"/>
                </a:lnTo>
                <a:lnTo>
                  <a:pt x="36" y="12"/>
                </a:lnTo>
                <a:lnTo>
                  <a:pt x="36" y="12"/>
                </a:lnTo>
                <a:lnTo>
                  <a:pt x="30" y="12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273" name="Freeform 6"/>
          <p:cNvSpPr>
            <a:spLocks/>
          </p:cNvSpPr>
          <p:nvPr/>
        </p:nvSpPr>
        <p:spPr bwMode="auto">
          <a:xfrm>
            <a:off x="3594861" y="2175655"/>
            <a:ext cx="391867" cy="321205"/>
          </a:xfrm>
          <a:custGeom>
            <a:avLst/>
            <a:gdLst>
              <a:gd name="T0" fmla="*/ 0 w 366"/>
              <a:gd name="T1" fmla="*/ 234 h 300"/>
              <a:gd name="T2" fmla="*/ 6 w 366"/>
              <a:gd name="T3" fmla="*/ 228 h 300"/>
              <a:gd name="T4" fmla="*/ 24 w 366"/>
              <a:gd name="T5" fmla="*/ 222 h 300"/>
              <a:gd name="T6" fmla="*/ 30 w 366"/>
              <a:gd name="T7" fmla="*/ 210 h 300"/>
              <a:gd name="T8" fmla="*/ 36 w 366"/>
              <a:gd name="T9" fmla="*/ 186 h 300"/>
              <a:gd name="T10" fmla="*/ 42 w 366"/>
              <a:gd name="T11" fmla="*/ 174 h 300"/>
              <a:gd name="T12" fmla="*/ 36 w 366"/>
              <a:gd name="T13" fmla="*/ 162 h 300"/>
              <a:gd name="T14" fmla="*/ 24 w 366"/>
              <a:gd name="T15" fmla="*/ 156 h 300"/>
              <a:gd name="T16" fmla="*/ 36 w 366"/>
              <a:gd name="T17" fmla="*/ 144 h 300"/>
              <a:gd name="T18" fmla="*/ 30 w 366"/>
              <a:gd name="T19" fmla="*/ 138 h 300"/>
              <a:gd name="T20" fmla="*/ 24 w 366"/>
              <a:gd name="T21" fmla="*/ 132 h 300"/>
              <a:gd name="T22" fmla="*/ 18 w 366"/>
              <a:gd name="T23" fmla="*/ 120 h 300"/>
              <a:gd name="T24" fmla="*/ 12 w 366"/>
              <a:gd name="T25" fmla="*/ 96 h 300"/>
              <a:gd name="T26" fmla="*/ 18 w 366"/>
              <a:gd name="T27" fmla="*/ 66 h 300"/>
              <a:gd name="T28" fmla="*/ 18 w 366"/>
              <a:gd name="T29" fmla="*/ 54 h 300"/>
              <a:gd name="T30" fmla="*/ 12 w 366"/>
              <a:gd name="T31" fmla="*/ 48 h 300"/>
              <a:gd name="T32" fmla="*/ 18 w 366"/>
              <a:gd name="T33" fmla="*/ 36 h 300"/>
              <a:gd name="T34" fmla="*/ 24 w 366"/>
              <a:gd name="T35" fmla="*/ 24 h 300"/>
              <a:gd name="T36" fmla="*/ 24 w 366"/>
              <a:gd name="T37" fmla="*/ 12 h 300"/>
              <a:gd name="T38" fmla="*/ 42 w 366"/>
              <a:gd name="T39" fmla="*/ 12 h 300"/>
              <a:gd name="T40" fmla="*/ 144 w 366"/>
              <a:gd name="T41" fmla="*/ 30 h 300"/>
              <a:gd name="T42" fmla="*/ 270 w 366"/>
              <a:gd name="T43" fmla="*/ 66 h 300"/>
              <a:gd name="T44" fmla="*/ 360 w 366"/>
              <a:gd name="T45" fmla="*/ 126 h 300"/>
              <a:gd name="T46" fmla="*/ 354 w 366"/>
              <a:gd name="T47" fmla="*/ 126 h 300"/>
              <a:gd name="T48" fmla="*/ 348 w 366"/>
              <a:gd name="T49" fmla="*/ 126 h 300"/>
              <a:gd name="T50" fmla="*/ 342 w 366"/>
              <a:gd name="T51" fmla="*/ 138 h 300"/>
              <a:gd name="T52" fmla="*/ 336 w 366"/>
              <a:gd name="T53" fmla="*/ 150 h 300"/>
              <a:gd name="T54" fmla="*/ 330 w 366"/>
              <a:gd name="T55" fmla="*/ 156 h 300"/>
              <a:gd name="T56" fmla="*/ 330 w 366"/>
              <a:gd name="T57" fmla="*/ 174 h 300"/>
              <a:gd name="T58" fmla="*/ 300 w 366"/>
              <a:gd name="T59" fmla="*/ 162 h 300"/>
              <a:gd name="T60" fmla="*/ 288 w 366"/>
              <a:gd name="T61" fmla="*/ 168 h 300"/>
              <a:gd name="T62" fmla="*/ 282 w 366"/>
              <a:gd name="T63" fmla="*/ 168 h 300"/>
              <a:gd name="T64" fmla="*/ 282 w 366"/>
              <a:gd name="T65" fmla="*/ 174 h 300"/>
              <a:gd name="T66" fmla="*/ 270 w 366"/>
              <a:gd name="T67" fmla="*/ 168 h 300"/>
              <a:gd name="T68" fmla="*/ 258 w 366"/>
              <a:gd name="T69" fmla="*/ 168 h 300"/>
              <a:gd name="T70" fmla="*/ 258 w 366"/>
              <a:gd name="T71" fmla="*/ 168 h 300"/>
              <a:gd name="T72" fmla="*/ 252 w 366"/>
              <a:gd name="T73" fmla="*/ 174 h 300"/>
              <a:gd name="T74" fmla="*/ 240 w 366"/>
              <a:gd name="T75" fmla="*/ 186 h 300"/>
              <a:gd name="T76" fmla="*/ 222 w 366"/>
              <a:gd name="T77" fmla="*/ 204 h 300"/>
              <a:gd name="T78" fmla="*/ 222 w 366"/>
              <a:gd name="T79" fmla="*/ 216 h 300"/>
              <a:gd name="T80" fmla="*/ 216 w 366"/>
              <a:gd name="T81" fmla="*/ 216 h 300"/>
              <a:gd name="T82" fmla="*/ 198 w 366"/>
              <a:gd name="T83" fmla="*/ 228 h 300"/>
              <a:gd name="T84" fmla="*/ 192 w 366"/>
              <a:gd name="T85" fmla="*/ 234 h 300"/>
              <a:gd name="T86" fmla="*/ 186 w 366"/>
              <a:gd name="T87" fmla="*/ 234 h 300"/>
              <a:gd name="T88" fmla="*/ 180 w 366"/>
              <a:gd name="T89" fmla="*/ 246 h 300"/>
              <a:gd name="T90" fmla="*/ 174 w 366"/>
              <a:gd name="T91" fmla="*/ 252 h 300"/>
              <a:gd name="T92" fmla="*/ 168 w 366"/>
              <a:gd name="T93" fmla="*/ 258 h 300"/>
              <a:gd name="T94" fmla="*/ 168 w 366"/>
              <a:gd name="T95" fmla="*/ 264 h 300"/>
              <a:gd name="T96" fmla="*/ 162 w 366"/>
              <a:gd name="T97" fmla="*/ 270 h 300"/>
              <a:gd name="T98" fmla="*/ 156 w 366"/>
              <a:gd name="T99" fmla="*/ 282 h 300"/>
              <a:gd name="T100" fmla="*/ 150 w 366"/>
              <a:gd name="T101" fmla="*/ 294 h 300"/>
              <a:gd name="T102" fmla="*/ 144 w 366"/>
              <a:gd name="T103" fmla="*/ 294 h 300"/>
              <a:gd name="T104" fmla="*/ 132 w 366"/>
              <a:gd name="T105" fmla="*/ 294 h 300"/>
              <a:gd name="T106" fmla="*/ 126 w 366"/>
              <a:gd name="T107" fmla="*/ 300 h 300"/>
              <a:gd name="T108" fmla="*/ 24 w 366"/>
              <a:gd name="T109" fmla="*/ 300 h 300"/>
              <a:gd name="T110" fmla="*/ 24 w 366"/>
              <a:gd name="T111" fmla="*/ 288 h 300"/>
              <a:gd name="T112" fmla="*/ 24 w 366"/>
              <a:gd name="T113" fmla="*/ 282 h 300"/>
              <a:gd name="T114" fmla="*/ 24 w 366"/>
              <a:gd name="T115" fmla="*/ 276 h 300"/>
              <a:gd name="T116" fmla="*/ 18 w 366"/>
              <a:gd name="T117" fmla="*/ 270 h 300"/>
              <a:gd name="T118" fmla="*/ 12 w 366"/>
              <a:gd name="T119" fmla="*/ 270 h 300"/>
              <a:gd name="T120" fmla="*/ 12 w 366"/>
              <a:gd name="T121" fmla="*/ 258 h 300"/>
              <a:gd name="T122" fmla="*/ 12 w 366"/>
              <a:gd name="T123" fmla="*/ 252 h 300"/>
              <a:gd name="T124" fmla="*/ 6 w 366"/>
              <a:gd name="T125" fmla="*/ 240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66" h="300">
                <a:moveTo>
                  <a:pt x="6" y="240"/>
                </a:moveTo>
                <a:lnTo>
                  <a:pt x="0" y="240"/>
                </a:lnTo>
                <a:lnTo>
                  <a:pt x="0" y="240"/>
                </a:lnTo>
                <a:lnTo>
                  <a:pt x="0" y="234"/>
                </a:lnTo>
                <a:lnTo>
                  <a:pt x="0" y="234"/>
                </a:lnTo>
                <a:lnTo>
                  <a:pt x="0" y="234"/>
                </a:lnTo>
                <a:lnTo>
                  <a:pt x="0" y="234"/>
                </a:lnTo>
                <a:lnTo>
                  <a:pt x="0" y="234"/>
                </a:lnTo>
                <a:lnTo>
                  <a:pt x="6" y="234"/>
                </a:lnTo>
                <a:lnTo>
                  <a:pt x="6" y="228"/>
                </a:lnTo>
                <a:lnTo>
                  <a:pt x="12" y="228"/>
                </a:lnTo>
                <a:lnTo>
                  <a:pt x="12" y="228"/>
                </a:lnTo>
                <a:lnTo>
                  <a:pt x="18" y="222"/>
                </a:lnTo>
                <a:lnTo>
                  <a:pt x="24" y="222"/>
                </a:lnTo>
                <a:lnTo>
                  <a:pt x="24" y="222"/>
                </a:lnTo>
                <a:lnTo>
                  <a:pt x="24" y="216"/>
                </a:lnTo>
                <a:lnTo>
                  <a:pt x="24" y="216"/>
                </a:lnTo>
                <a:lnTo>
                  <a:pt x="30" y="216"/>
                </a:lnTo>
                <a:lnTo>
                  <a:pt x="30" y="216"/>
                </a:lnTo>
                <a:lnTo>
                  <a:pt x="30" y="210"/>
                </a:lnTo>
                <a:lnTo>
                  <a:pt x="36" y="204"/>
                </a:lnTo>
                <a:lnTo>
                  <a:pt x="36" y="204"/>
                </a:lnTo>
                <a:lnTo>
                  <a:pt x="36" y="198"/>
                </a:lnTo>
                <a:lnTo>
                  <a:pt x="36" y="192"/>
                </a:lnTo>
                <a:lnTo>
                  <a:pt x="36" y="186"/>
                </a:lnTo>
                <a:lnTo>
                  <a:pt x="42" y="186"/>
                </a:lnTo>
                <a:lnTo>
                  <a:pt x="42" y="180"/>
                </a:lnTo>
                <a:lnTo>
                  <a:pt x="42" y="180"/>
                </a:lnTo>
                <a:lnTo>
                  <a:pt x="42" y="180"/>
                </a:lnTo>
                <a:lnTo>
                  <a:pt x="42" y="174"/>
                </a:lnTo>
                <a:lnTo>
                  <a:pt x="36" y="168"/>
                </a:lnTo>
                <a:lnTo>
                  <a:pt x="36" y="168"/>
                </a:lnTo>
                <a:lnTo>
                  <a:pt x="36" y="168"/>
                </a:lnTo>
                <a:lnTo>
                  <a:pt x="36" y="162"/>
                </a:lnTo>
                <a:lnTo>
                  <a:pt x="36" y="162"/>
                </a:lnTo>
                <a:lnTo>
                  <a:pt x="36" y="162"/>
                </a:lnTo>
                <a:lnTo>
                  <a:pt x="30" y="162"/>
                </a:lnTo>
                <a:lnTo>
                  <a:pt x="24" y="162"/>
                </a:lnTo>
                <a:lnTo>
                  <a:pt x="24" y="162"/>
                </a:lnTo>
                <a:lnTo>
                  <a:pt x="24" y="156"/>
                </a:lnTo>
                <a:lnTo>
                  <a:pt x="24" y="156"/>
                </a:lnTo>
                <a:lnTo>
                  <a:pt x="30" y="150"/>
                </a:lnTo>
                <a:lnTo>
                  <a:pt x="36" y="150"/>
                </a:lnTo>
                <a:lnTo>
                  <a:pt x="36" y="150"/>
                </a:lnTo>
                <a:lnTo>
                  <a:pt x="36" y="144"/>
                </a:lnTo>
                <a:lnTo>
                  <a:pt x="36" y="144"/>
                </a:lnTo>
                <a:lnTo>
                  <a:pt x="30" y="138"/>
                </a:lnTo>
                <a:lnTo>
                  <a:pt x="30" y="138"/>
                </a:lnTo>
                <a:lnTo>
                  <a:pt x="30" y="138"/>
                </a:lnTo>
                <a:lnTo>
                  <a:pt x="30" y="138"/>
                </a:lnTo>
                <a:lnTo>
                  <a:pt x="30" y="132"/>
                </a:lnTo>
                <a:lnTo>
                  <a:pt x="30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0"/>
                </a:lnTo>
                <a:lnTo>
                  <a:pt x="18" y="120"/>
                </a:lnTo>
                <a:lnTo>
                  <a:pt x="18" y="114"/>
                </a:lnTo>
                <a:lnTo>
                  <a:pt x="18" y="114"/>
                </a:lnTo>
                <a:lnTo>
                  <a:pt x="18" y="108"/>
                </a:lnTo>
                <a:lnTo>
                  <a:pt x="12" y="96"/>
                </a:lnTo>
                <a:lnTo>
                  <a:pt x="12" y="96"/>
                </a:lnTo>
                <a:lnTo>
                  <a:pt x="12" y="90"/>
                </a:lnTo>
                <a:lnTo>
                  <a:pt x="18" y="78"/>
                </a:lnTo>
                <a:lnTo>
                  <a:pt x="18" y="72"/>
                </a:lnTo>
                <a:lnTo>
                  <a:pt x="18" y="66"/>
                </a:lnTo>
                <a:lnTo>
                  <a:pt x="18" y="66"/>
                </a:lnTo>
                <a:lnTo>
                  <a:pt x="18" y="60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2" y="54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18" y="36"/>
                </a:lnTo>
                <a:lnTo>
                  <a:pt x="18" y="36"/>
                </a:lnTo>
                <a:lnTo>
                  <a:pt x="18" y="30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24" y="24"/>
                </a:lnTo>
                <a:lnTo>
                  <a:pt x="24" y="18"/>
                </a:lnTo>
                <a:lnTo>
                  <a:pt x="18" y="18"/>
                </a:lnTo>
                <a:lnTo>
                  <a:pt x="18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6"/>
                </a:lnTo>
                <a:lnTo>
                  <a:pt x="24" y="0"/>
                </a:lnTo>
                <a:lnTo>
                  <a:pt x="24" y="6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102" y="24"/>
                </a:lnTo>
                <a:lnTo>
                  <a:pt x="108" y="24"/>
                </a:lnTo>
                <a:lnTo>
                  <a:pt x="144" y="30"/>
                </a:lnTo>
                <a:lnTo>
                  <a:pt x="186" y="42"/>
                </a:lnTo>
                <a:lnTo>
                  <a:pt x="234" y="54"/>
                </a:lnTo>
                <a:lnTo>
                  <a:pt x="246" y="54"/>
                </a:lnTo>
                <a:lnTo>
                  <a:pt x="258" y="60"/>
                </a:lnTo>
                <a:lnTo>
                  <a:pt x="270" y="66"/>
                </a:lnTo>
                <a:lnTo>
                  <a:pt x="288" y="72"/>
                </a:lnTo>
                <a:lnTo>
                  <a:pt x="336" y="102"/>
                </a:lnTo>
                <a:lnTo>
                  <a:pt x="366" y="114"/>
                </a:lnTo>
                <a:lnTo>
                  <a:pt x="360" y="120"/>
                </a:lnTo>
                <a:lnTo>
                  <a:pt x="360" y="126"/>
                </a:lnTo>
                <a:lnTo>
                  <a:pt x="360" y="126"/>
                </a:lnTo>
                <a:lnTo>
                  <a:pt x="360" y="126"/>
                </a:lnTo>
                <a:lnTo>
                  <a:pt x="360" y="126"/>
                </a:lnTo>
                <a:lnTo>
                  <a:pt x="360" y="126"/>
                </a:lnTo>
                <a:lnTo>
                  <a:pt x="354" y="126"/>
                </a:lnTo>
                <a:lnTo>
                  <a:pt x="354" y="132"/>
                </a:lnTo>
                <a:lnTo>
                  <a:pt x="354" y="132"/>
                </a:lnTo>
                <a:lnTo>
                  <a:pt x="354" y="132"/>
                </a:lnTo>
                <a:lnTo>
                  <a:pt x="354" y="132"/>
                </a:lnTo>
                <a:lnTo>
                  <a:pt x="348" y="126"/>
                </a:lnTo>
                <a:lnTo>
                  <a:pt x="348" y="132"/>
                </a:lnTo>
                <a:lnTo>
                  <a:pt x="348" y="132"/>
                </a:lnTo>
                <a:lnTo>
                  <a:pt x="342" y="138"/>
                </a:lnTo>
                <a:lnTo>
                  <a:pt x="342" y="138"/>
                </a:lnTo>
                <a:lnTo>
                  <a:pt x="342" y="138"/>
                </a:lnTo>
                <a:lnTo>
                  <a:pt x="342" y="138"/>
                </a:lnTo>
                <a:lnTo>
                  <a:pt x="336" y="144"/>
                </a:lnTo>
                <a:lnTo>
                  <a:pt x="336" y="144"/>
                </a:lnTo>
                <a:lnTo>
                  <a:pt x="336" y="150"/>
                </a:lnTo>
                <a:lnTo>
                  <a:pt x="336" y="150"/>
                </a:lnTo>
                <a:lnTo>
                  <a:pt x="336" y="150"/>
                </a:lnTo>
                <a:lnTo>
                  <a:pt x="336" y="150"/>
                </a:lnTo>
                <a:lnTo>
                  <a:pt x="330" y="150"/>
                </a:lnTo>
                <a:lnTo>
                  <a:pt x="330" y="156"/>
                </a:lnTo>
                <a:lnTo>
                  <a:pt x="330" y="156"/>
                </a:lnTo>
                <a:lnTo>
                  <a:pt x="330" y="162"/>
                </a:lnTo>
                <a:lnTo>
                  <a:pt x="324" y="168"/>
                </a:lnTo>
                <a:lnTo>
                  <a:pt x="324" y="174"/>
                </a:lnTo>
                <a:lnTo>
                  <a:pt x="324" y="174"/>
                </a:lnTo>
                <a:lnTo>
                  <a:pt x="330" y="174"/>
                </a:lnTo>
                <a:lnTo>
                  <a:pt x="330" y="174"/>
                </a:lnTo>
                <a:lnTo>
                  <a:pt x="324" y="174"/>
                </a:lnTo>
                <a:lnTo>
                  <a:pt x="324" y="174"/>
                </a:lnTo>
                <a:lnTo>
                  <a:pt x="306" y="162"/>
                </a:lnTo>
                <a:lnTo>
                  <a:pt x="300" y="162"/>
                </a:lnTo>
                <a:lnTo>
                  <a:pt x="300" y="168"/>
                </a:lnTo>
                <a:lnTo>
                  <a:pt x="294" y="168"/>
                </a:lnTo>
                <a:lnTo>
                  <a:pt x="294" y="168"/>
                </a:lnTo>
                <a:lnTo>
                  <a:pt x="288" y="168"/>
                </a:lnTo>
                <a:lnTo>
                  <a:pt x="288" y="168"/>
                </a:lnTo>
                <a:lnTo>
                  <a:pt x="288" y="168"/>
                </a:lnTo>
                <a:lnTo>
                  <a:pt x="282" y="168"/>
                </a:lnTo>
                <a:lnTo>
                  <a:pt x="282" y="168"/>
                </a:lnTo>
                <a:lnTo>
                  <a:pt x="282" y="168"/>
                </a:lnTo>
                <a:lnTo>
                  <a:pt x="282" y="168"/>
                </a:lnTo>
                <a:lnTo>
                  <a:pt x="282" y="174"/>
                </a:lnTo>
                <a:lnTo>
                  <a:pt x="282" y="174"/>
                </a:lnTo>
                <a:lnTo>
                  <a:pt x="282" y="174"/>
                </a:lnTo>
                <a:lnTo>
                  <a:pt x="282" y="174"/>
                </a:lnTo>
                <a:lnTo>
                  <a:pt x="282" y="174"/>
                </a:lnTo>
                <a:lnTo>
                  <a:pt x="276" y="174"/>
                </a:lnTo>
                <a:lnTo>
                  <a:pt x="276" y="174"/>
                </a:lnTo>
                <a:lnTo>
                  <a:pt x="276" y="174"/>
                </a:lnTo>
                <a:lnTo>
                  <a:pt x="270" y="168"/>
                </a:lnTo>
                <a:lnTo>
                  <a:pt x="270" y="168"/>
                </a:lnTo>
                <a:lnTo>
                  <a:pt x="270" y="168"/>
                </a:lnTo>
                <a:lnTo>
                  <a:pt x="264" y="168"/>
                </a:lnTo>
                <a:lnTo>
                  <a:pt x="264" y="168"/>
                </a:lnTo>
                <a:lnTo>
                  <a:pt x="264" y="168"/>
                </a:lnTo>
                <a:lnTo>
                  <a:pt x="258" y="168"/>
                </a:lnTo>
                <a:lnTo>
                  <a:pt x="258" y="168"/>
                </a:lnTo>
                <a:lnTo>
                  <a:pt x="258" y="168"/>
                </a:lnTo>
                <a:lnTo>
                  <a:pt x="258" y="168"/>
                </a:lnTo>
                <a:lnTo>
                  <a:pt x="258" y="168"/>
                </a:lnTo>
                <a:lnTo>
                  <a:pt x="258" y="168"/>
                </a:lnTo>
                <a:lnTo>
                  <a:pt x="252" y="174"/>
                </a:lnTo>
                <a:lnTo>
                  <a:pt x="252" y="174"/>
                </a:lnTo>
                <a:lnTo>
                  <a:pt x="252" y="174"/>
                </a:lnTo>
                <a:lnTo>
                  <a:pt x="252" y="174"/>
                </a:lnTo>
                <a:lnTo>
                  <a:pt x="252" y="174"/>
                </a:lnTo>
                <a:lnTo>
                  <a:pt x="252" y="180"/>
                </a:lnTo>
                <a:lnTo>
                  <a:pt x="246" y="180"/>
                </a:lnTo>
                <a:lnTo>
                  <a:pt x="246" y="186"/>
                </a:lnTo>
                <a:lnTo>
                  <a:pt x="240" y="186"/>
                </a:lnTo>
                <a:lnTo>
                  <a:pt x="240" y="186"/>
                </a:lnTo>
                <a:lnTo>
                  <a:pt x="234" y="192"/>
                </a:lnTo>
                <a:lnTo>
                  <a:pt x="234" y="192"/>
                </a:lnTo>
                <a:lnTo>
                  <a:pt x="228" y="198"/>
                </a:lnTo>
                <a:lnTo>
                  <a:pt x="228" y="204"/>
                </a:lnTo>
                <a:lnTo>
                  <a:pt x="222" y="204"/>
                </a:lnTo>
                <a:lnTo>
                  <a:pt x="222" y="204"/>
                </a:lnTo>
                <a:lnTo>
                  <a:pt x="222" y="210"/>
                </a:lnTo>
                <a:lnTo>
                  <a:pt x="222" y="216"/>
                </a:lnTo>
                <a:lnTo>
                  <a:pt x="222" y="216"/>
                </a:lnTo>
                <a:lnTo>
                  <a:pt x="222" y="216"/>
                </a:lnTo>
                <a:lnTo>
                  <a:pt x="222" y="216"/>
                </a:lnTo>
                <a:lnTo>
                  <a:pt x="222" y="216"/>
                </a:lnTo>
                <a:lnTo>
                  <a:pt x="216" y="216"/>
                </a:lnTo>
                <a:lnTo>
                  <a:pt x="216" y="216"/>
                </a:lnTo>
                <a:lnTo>
                  <a:pt x="216" y="216"/>
                </a:lnTo>
                <a:lnTo>
                  <a:pt x="210" y="222"/>
                </a:lnTo>
                <a:lnTo>
                  <a:pt x="210" y="222"/>
                </a:lnTo>
                <a:lnTo>
                  <a:pt x="204" y="222"/>
                </a:lnTo>
                <a:lnTo>
                  <a:pt x="204" y="228"/>
                </a:lnTo>
                <a:lnTo>
                  <a:pt x="198" y="228"/>
                </a:lnTo>
                <a:lnTo>
                  <a:pt x="198" y="228"/>
                </a:lnTo>
                <a:lnTo>
                  <a:pt x="198" y="228"/>
                </a:lnTo>
                <a:lnTo>
                  <a:pt x="198" y="228"/>
                </a:lnTo>
                <a:lnTo>
                  <a:pt x="192" y="228"/>
                </a:lnTo>
                <a:lnTo>
                  <a:pt x="192" y="234"/>
                </a:lnTo>
                <a:lnTo>
                  <a:pt x="192" y="234"/>
                </a:lnTo>
                <a:lnTo>
                  <a:pt x="192" y="234"/>
                </a:lnTo>
                <a:lnTo>
                  <a:pt x="192" y="234"/>
                </a:lnTo>
                <a:lnTo>
                  <a:pt x="192" y="234"/>
                </a:lnTo>
                <a:lnTo>
                  <a:pt x="186" y="234"/>
                </a:lnTo>
                <a:lnTo>
                  <a:pt x="186" y="234"/>
                </a:lnTo>
                <a:lnTo>
                  <a:pt x="186" y="240"/>
                </a:lnTo>
                <a:lnTo>
                  <a:pt x="180" y="240"/>
                </a:lnTo>
                <a:lnTo>
                  <a:pt x="180" y="240"/>
                </a:lnTo>
                <a:lnTo>
                  <a:pt x="180" y="246"/>
                </a:lnTo>
                <a:lnTo>
                  <a:pt x="180" y="246"/>
                </a:lnTo>
                <a:lnTo>
                  <a:pt x="180" y="246"/>
                </a:lnTo>
                <a:lnTo>
                  <a:pt x="180" y="246"/>
                </a:lnTo>
                <a:lnTo>
                  <a:pt x="180" y="246"/>
                </a:lnTo>
                <a:lnTo>
                  <a:pt x="174" y="252"/>
                </a:lnTo>
                <a:lnTo>
                  <a:pt x="174" y="252"/>
                </a:lnTo>
                <a:lnTo>
                  <a:pt x="174" y="252"/>
                </a:lnTo>
                <a:lnTo>
                  <a:pt x="174" y="252"/>
                </a:lnTo>
                <a:lnTo>
                  <a:pt x="174" y="252"/>
                </a:lnTo>
                <a:lnTo>
                  <a:pt x="168" y="258"/>
                </a:lnTo>
                <a:lnTo>
                  <a:pt x="168" y="258"/>
                </a:lnTo>
                <a:lnTo>
                  <a:pt x="168" y="258"/>
                </a:lnTo>
                <a:lnTo>
                  <a:pt x="168" y="264"/>
                </a:lnTo>
                <a:lnTo>
                  <a:pt x="168" y="264"/>
                </a:lnTo>
                <a:lnTo>
                  <a:pt x="168" y="264"/>
                </a:lnTo>
                <a:lnTo>
                  <a:pt x="168" y="264"/>
                </a:lnTo>
                <a:lnTo>
                  <a:pt x="162" y="264"/>
                </a:lnTo>
                <a:lnTo>
                  <a:pt x="162" y="270"/>
                </a:lnTo>
                <a:lnTo>
                  <a:pt x="162" y="270"/>
                </a:lnTo>
                <a:lnTo>
                  <a:pt x="162" y="270"/>
                </a:lnTo>
                <a:lnTo>
                  <a:pt x="162" y="276"/>
                </a:lnTo>
                <a:lnTo>
                  <a:pt x="162" y="276"/>
                </a:lnTo>
                <a:lnTo>
                  <a:pt x="162" y="282"/>
                </a:lnTo>
                <a:lnTo>
                  <a:pt x="156" y="282"/>
                </a:lnTo>
                <a:lnTo>
                  <a:pt x="156" y="282"/>
                </a:lnTo>
                <a:lnTo>
                  <a:pt x="156" y="282"/>
                </a:lnTo>
                <a:lnTo>
                  <a:pt x="156" y="288"/>
                </a:lnTo>
                <a:lnTo>
                  <a:pt x="150" y="288"/>
                </a:lnTo>
                <a:lnTo>
                  <a:pt x="150" y="288"/>
                </a:lnTo>
                <a:lnTo>
                  <a:pt x="150" y="294"/>
                </a:lnTo>
                <a:lnTo>
                  <a:pt x="150" y="294"/>
                </a:lnTo>
                <a:lnTo>
                  <a:pt x="150" y="294"/>
                </a:lnTo>
                <a:lnTo>
                  <a:pt x="144" y="294"/>
                </a:lnTo>
                <a:lnTo>
                  <a:pt x="144" y="294"/>
                </a:lnTo>
                <a:lnTo>
                  <a:pt x="144" y="294"/>
                </a:lnTo>
                <a:lnTo>
                  <a:pt x="144" y="300"/>
                </a:lnTo>
                <a:lnTo>
                  <a:pt x="138" y="300"/>
                </a:lnTo>
                <a:lnTo>
                  <a:pt x="138" y="300"/>
                </a:lnTo>
                <a:lnTo>
                  <a:pt x="132" y="300"/>
                </a:lnTo>
                <a:lnTo>
                  <a:pt x="132" y="294"/>
                </a:lnTo>
                <a:lnTo>
                  <a:pt x="132" y="294"/>
                </a:lnTo>
                <a:lnTo>
                  <a:pt x="132" y="294"/>
                </a:lnTo>
                <a:lnTo>
                  <a:pt x="132" y="300"/>
                </a:lnTo>
                <a:lnTo>
                  <a:pt x="132" y="300"/>
                </a:lnTo>
                <a:lnTo>
                  <a:pt x="126" y="300"/>
                </a:lnTo>
                <a:lnTo>
                  <a:pt x="126" y="300"/>
                </a:lnTo>
                <a:lnTo>
                  <a:pt x="90" y="300"/>
                </a:lnTo>
                <a:lnTo>
                  <a:pt x="18" y="300"/>
                </a:lnTo>
                <a:lnTo>
                  <a:pt x="18" y="300"/>
                </a:lnTo>
                <a:lnTo>
                  <a:pt x="24" y="300"/>
                </a:lnTo>
                <a:lnTo>
                  <a:pt x="24" y="294"/>
                </a:lnTo>
                <a:lnTo>
                  <a:pt x="24" y="294"/>
                </a:lnTo>
                <a:lnTo>
                  <a:pt x="24" y="294"/>
                </a:lnTo>
                <a:lnTo>
                  <a:pt x="24" y="294"/>
                </a:lnTo>
                <a:lnTo>
                  <a:pt x="24" y="288"/>
                </a:lnTo>
                <a:lnTo>
                  <a:pt x="24" y="288"/>
                </a:lnTo>
                <a:lnTo>
                  <a:pt x="24" y="288"/>
                </a:lnTo>
                <a:lnTo>
                  <a:pt x="24" y="288"/>
                </a:lnTo>
                <a:lnTo>
                  <a:pt x="24" y="282"/>
                </a:lnTo>
                <a:lnTo>
                  <a:pt x="24" y="282"/>
                </a:lnTo>
                <a:lnTo>
                  <a:pt x="24" y="282"/>
                </a:lnTo>
                <a:lnTo>
                  <a:pt x="24" y="276"/>
                </a:lnTo>
                <a:lnTo>
                  <a:pt x="24" y="276"/>
                </a:lnTo>
                <a:lnTo>
                  <a:pt x="24" y="276"/>
                </a:lnTo>
                <a:lnTo>
                  <a:pt x="24" y="276"/>
                </a:lnTo>
                <a:lnTo>
                  <a:pt x="24" y="276"/>
                </a:lnTo>
                <a:lnTo>
                  <a:pt x="24" y="276"/>
                </a:lnTo>
                <a:lnTo>
                  <a:pt x="24" y="270"/>
                </a:lnTo>
                <a:lnTo>
                  <a:pt x="18" y="270"/>
                </a:lnTo>
                <a:lnTo>
                  <a:pt x="18" y="270"/>
                </a:lnTo>
                <a:lnTo>
                  <a:pt x="18" y="270"/>
                </a:lnTo>
                <a:lnTo>
                  <a:pt x="18" y="270"/>
                </a:lnTo>
                <a:lnTo>
                  <a:pt x="12" y="270"/>
                </a:lnTo>
                <a:lnTo>
                  <a:pt x="12" y="270"/>
                </a:lnTo>
                <a:lnTo>
                  <a:pt x="12" y="270"/>
                </a:lnTo>
                <a:lnTo>
                  <a:pt x="12" y="264"/>
                </a:lnTo>
                <a:lnTo>
                  <a:pt x="12" y="264"/>
                </a:lnTo>
                <a:lnTo>
                  <a:pt x="12" y="264"/>
                </a:lnTo>
                <a:lnTo>
                  <a:pt x="12" y="258"/>
                </a:lnTo>
                <a:lnTo>
                  <a:pt x="12" y="258"/>
                </a:lnTo>
                <a:lnTo>
                  <a:pt x="12" y="258"/>
                </a:lnTo>
                <a:lnTo>
                  <a:pt x="12" y="252"/>
                </a:lnTo>
                <a:lnTo>
                  <a:pt x="12" y="252"/>
                </a:lnTo>
                <a:lnTo>
                  <a:pt x="12" y="252"/>
                </a:lnTo>
                <a:lnTo>
                  <a:pt x="12" y="252"/>
                </a:lnTo>
                <a:lnTo>
                  <a:pt x="6" y="246"/>
                </a:lnTo>
                <a:lnTo>
                  <a:pt x="12" y="240"/>
                </a:lnTo>
                <a:lnTo>
                  <a:pt x="6" y="240"/>
                </a:lnTo>
                <a:lnTo>
                  <a:pt x="6" y="240"/>
                </a:lnTo>
                <a:lnTo>
                  <a:pt x="6" y="24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274" name="Freeform 7"/>
          <p:cNvSpPr>
            <a:spLocks/>
          </p:cNvSpPr>
          <p:nvPr/>
        </p:nvSpPr>
        <p:spPr bwMode="auto">
          <a:xfrm>
            <a:off x="3768310" y="2297713"/>
            <a:ext cx="411139" cy="321205"/>
          </a:xfrm>
          <a:custGeom>
            <a:avLst/>
            <a:gdLst>
              <a:gd name="T0" fmla="*/ 6 w 384"/>
              <a:gd name="T1" fmla="*/ 150 h 300"/>
              <a:gd name="T2" fmla="*/ 18 w 384"/>
              <a:gd name="T3" fmla="*/ 132 h 300"/>
              <a:gd name="T4" fmla="*/ 30 w 384"/>
              <a:gd name="T5" fmla="*/ 120 h 300"/>
              <a:gd name="T6" fmla="*/ 42 w 384"/>
              <a:gd name="T7" fmla="*/ 114 h 300"/>
              <a:gd name="T8" fmla="*/ 60 w 384"/>
              <a:gd name="T9" fmla="*/ 102 h 300"/>
              <a:gd name="T10" fmla="*/ 78 w 384"/>
              <a:gd name="T11" fmla="*/ 72 h 300"/>
              <a:gd name="T12" fmla="*/ 96 w 384"/>
              <a:gd name="T13" fmla="*/ 54 h 300"/>
              <a:gd name="T14" fmla="*/ 108 w 384"/>
              <a:gd name="T15" fmla="*/ 54 h 300"/>
              <a:gd name="T16" fmla="*/ 120 w 384"/>
              <a:gd name="T17" fmla="*/ 54 h 300"/>
              <a:gd name="T18" fmla="*/ 144 w 384"/>
              <a:gd name="T19" fmla="*/ 48 h 300"/>
              <a:gd name="T20" fmla="*/ 168 w 384"/>
              <a:gd name="T21" fmla="*/ 42 h 300"/>
              <a:gd name="T22" fmla="*/ 180 w 384"/>
              <a:gd name="T23" fmla="*/ 24 h 300"/>
              <a:gd name="T24" fmla="*/ 198 w 384"/>
              <a:gd name="T25" fmla="*/ 12 h 300"/>
              <a:gd name="T26" fmla="*/ 300 w 384"/>
              <a:gd name="T27" fmla="*/ 54 h 300"/>
              <a:gd name="T28" fmla="*/ 372 w 384"/>
              <a:gd name="T29" fmla="*/ 90 h 300"/>
              <a:gd name="T30" fmla="*/ 354 w 384"/>
              <a:gd name="T31" fmla="*/ 102 h 300"/>
              <a:gd name="T32" fmla="*/ 336 w 384"/>
              <a:gd name="T33" fmla="*/ 114 h 300"/>
              <a:gd name="T34" fmla="*/ 324 w 384"/>
              <a:gd name="T35" fmla="*/ 126 h 300"/>
              <a:gd name="T36" fmla="*/ 318 w 384"/>
              <a:gd name="T37" fmla="*/ 144 h 300"/>
              <a:gd name="T38" fmla="*/ 318 w 384"/>
              <a:gd name="T39" fmla="*/ 162 h 300"/>
              <a:gd name="T40" fmla="*/ 312 w 384"/>
              <a:gd name="T41" fmla="*/ 174 h 300"/>
              <a:gd name="T42" fmla="*/ 294 w 384"/>
              <a:gd name="T43" fmla="*/ 186 h 300"/>
              <a:gd name="T44" fmla="*/ 276 w 384"/>
              <a:gd name="T45" fmla="*/ 198 h 300"/>
              <a:gd name="T46" fmla="*/ 270 w 384"/>
              <a:gd name="T47" fmla="*/ 210 h 300"/>
              <a:gd name="T48" fmla="*/ 258 w 384"/>
              <a:gd name="T49" fmla="*/ 222 h 300"/>
              <a:gd name="T50" fmla="*/ 246 w 384"/>
              <a:gd name="T51" fmla="*/ 228 h 300"/>
              <a:gd name="T52" fmla="*/ 234 w 384"/>
              <a:gd name="T53" fmla="*/ 240 h 300"/>
              <a:gd name="T54" fmla="*/ 234 w 384"/>
              <a:gd name="T55" fmla="*/ 246 h 300"/>
              <a:gd name="T56" fmla="*/ 216 w 384"/>
              <a:gd name="T57" fmla="*/ 252 h 300"/>
              <a:gd name="T58" fmla="*/ 204 w 384"/>
              <a:gd name="T59" fmla="*/ 264 h 300"/>
              <a:gd name="T60" fmla="*/ 192 w 384"/>
              <a:gd name="T61" fmla="*/ 276 h 300"/>
              <a:gd name="T62" fmla="*/ 120 w 384"/>
              <a:gd name="T63" fmla="*/ 288 h 300"/>
              <a:gd name="T64" fmla="*/ 120 w 384"/>
              <a:gd name="T65" fmla="*/ 276 h 300"/>
              <a:gd name="T66" fmla="*/ 114 w 384"/>
              <a:gd name="T67" fmla="*/ 276 h 300"/>
              <a:gd name="T68" fmla="*/ 114 w 384"/>
              <a:gd name="T69" fmla="*/ 276 h 300"/>
              <a:gd name="T70" fmla="*/ 102 w 384"/>
              <a:gd name="T71" fmla="*/ 276 h 300"/>
              <a:gd name="T72" fmla="*/ 96 w 384"/>
              <a:gd name="T73" fmla="*/ 276 h 300"/>
              <a:gd name="T74" fmla="*/ 90 w 384"/>
              <a:gd name="T75" fmla="*/ 282 h 300"/>
              <a:gd name="T76" fmla="*/ 84 w 384"/>
              <a:gd name="T77" fmla="*/ 276 h 300"/>
              <a:gd name="T78" fmla="*/ 78 w 384"/>
              <a:gd name="T79" fmla="*/ 282 h 300"/>
              <a:gd name="T80" fmla="*/ 78 w 384"/>
              <a:gd name="T81" fmla="*/ 276 h 300"/>
              <a:gd name="T82" fmla="*/ 72 w 384"/>
              <a:gd name="T83" fmla="*/ 276 h 300"/>
              <a:gd name="T84" fmla="*/ 66 w 384"/>
              <a:gd name="T85" fmla="*/ 234 h 300"/>
              <a:gd name="T86" fmla="*/ 72 w 384"/>
              <a:gd name="T87" fmla="*/ 156 h 300"/>
              <a:gd name="T88" fmla="*/ 72 w 384"/>
              <a:gd name="T89" fmla="*/ 144 h 300"/>
              <a:gd name="T90" fmla="*/ 66 w 384"/>
              <a:gd name="T91" fmla="*/ 132 h 300"/>
              <a:gd name="T92" fmla="*/ 72 w 384"/>
              <a:gd name="T93" fmla="*/ 126 h 300"/>
              <a:gd name="T94" fmla="*/ 72 w 384"/>
              <a:gd name="T95" fmla="*/ 126 h 300"/>
              <a:gd name="T96" fmla="*/ 78 w 384"/>
              <a:gd name="T97" fmla="*/ 120 h 300"/>
              <a:gd name="T98" fmla="*/ 78 w 384"/>
              <a:gd name="T99" fmla="*/ 114 h 300"/>
              <a:gd name="T100" fmla="*/ 72 w 384"/>
              <a:gd name="T101" fmla="*/ 114 h 300"/>
              <a:gd name="T102" fmla="*/ 66 w 384"/>
              <a:gd name="T103" fmla="*/ 114 h 300"/>
              <a:gd name="T104" fmla="*/ 66 w 384"/>
              <a:gd name="T105" fmla="*/ 114 h 300"/>
              <a:gd name="T106" fmla="*/ 60 w 384"/>
              <a:gd name="T107" fmla="*/ 120 h 300"/>
              <a:gd name="T108" fmla="*/ 54 w 384"/>
              <a:gd name="T109" fmla="*/ 126 h 300"/>
              <a:gd name="T110" fmla="*/ 48 w 384"/>
              <a:gd name="T111" fmla="*/ 132 h 300"/>
              <a:gd name="T112" fmla="*/ 48 w 384"/>
              <a:gd name="T113" fmla="*/ 132 h 300"/>
              <a:gd name="T114" fmla="*/ 42 w 384"/>
              <a:gd name="T115" fmla="*/ 138 h 300"/>
              <a:gd name="T116" fmla="*/ 36 w 384"/>
              <a:gd name="T117" fmla="*/ 138 h 300"/>
              <a:gd name="T118" fmla="*/ 30 w 384"/>
              <a:gd name="T119" fmla="*/ 150 h 300"/>
              <a:gd name="T120" fmla="*/ 18 w 384"/>
              <a:gd name="T121" fmla="*/ 156 h 300"/>
              <a:gd name="T122" fmla="*/ 12 w 384"/>
              <a:gd name="T123" fmla="*/ 162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84" h="300">
                <a:moveTo>
                  <a:pt x="0" y="168"/>
                </a:moveTo>
                <a:lnTo>
                  <a:pt x="0" y="162"/>
                </a:lnTo>
                <a:lnTo>
                  <a:pt x="0" y="162"/>
                </a:lnTo>
                <a:lnTo>
                  <a:pt x="0" y="156"/>
                </a:lnTo>
                <a:lnTo>
                  <a:pt x="0" y="156"/>
                </a:lnTo>
                <a:lnTo>
                  <a:pt x="0" y="156"/>
                </a:lnTo>
                <a:lnTo>
                  <a:pt x="0" y="150"/>
                </a:lnTo>
                <a:lnTo>
                  <a:pt x="6" y="150"/>
                </a:lnTo>
                <a:lnTo>
                  <a:pt x="6" y="150"/>
                </a:lnTo>
                <a:lnTo>
                  <a:pt x="6" y="150"/>
                </a:lnTo>
                <a:lnTo>
                  <a:pt x="6" y="150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26"/>
                </a:lnTo>
                <a:lnTo>
                  <a:pt x="18" y="126"/>
                </a:lnTo>
                <a:lnTo>
                  <a:pt x="24" y="126"/>
                </a:lnTo>
                <a:lnTo>
                  <a:pt x="24" y="120"/>
                </a:lnTo>
                <a:lnTo>
                  <a:pt x="24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42" y="114"/>
                </a:lnTo>
                <a:lnTo>
                  <a:pt x="42" y="108"/>
                </a:lnTo>
                <a:lnTo>
                  <a:pt x="48" y="108"/>
                </a:lnTo>
                <a:lnTo>
                  <a:pt x="48" y="108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96"/>
                </a:lnTo>
                <a:lnTo>
                  <a:pt x="60" y="90"/>
                </a:lnTo>
                <a:lnTo>
                  <a:pt x="60" y="90"/>
                </a:lnTo>
                <a:lnTo>
                  <a:pt x="66" y="90"/>
                </a:lnTo>
                <a:lnTo>
                  <a:pt x="66" y="84"/>
                </a:lnTo>
                <a:lnTo>
                  <a:pt x="72" y="78"/>
                </a:lnTo>
                <a:lnTo>
                  <a:pt x="72" y="78"/>
                </a:lnTo>
                <a:lnTo>
                  <a:pt x="78" y="72"/>
                </a:lnTo>
                <a:lnTo>
                  <a:pt x="78" y="72"/>
                </a:lnTo>
                <a:lnTo>
                  <a:pt x="84" y="72"/>
                </a:lnTo>
                <a:lnTo>
                  <a:pt x="84" y="66"/>
                </a:lnTo>
                <a:lnTo>
                  <a:pt x="90" y="66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32" y="54"/>
                </a:lnTo>
                <a:lnTo>
                  <a:pt x="132" y="54"/>
                </a:lnTo>
                <a:lnTo>
                  <a:pt x="138" y="54"/>
                </a:lnTo>
                <a:lnTo>
                  <a:pt x="138" y="48"/>
                </a:lnTo>
                <a:lnTo>
                  <a:pt x="144" y="48"/>
                </a:lnTo>
                <a:lnTo>
                  <a:pt x="162" y="60"/>
                </a:lnTo>
                <a:lnTo>
                  <a:pt x="162" y="60"/>
                </a:lnTo>
                <a:lnTo>
                  <a:pt x="168" y="60"/>
                </a:lnTo>
                <a:lnTo>
                  <a:pt x="168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54"/>
                </a:lnTo>
                <a:lnTo>
                  <a:pt x="168" y="48"/>
                </a:lnTo>
                <a:lnTo>
                  <a:pt x="168" y="42"/>
                </a:lnTo>
                <a:lnTo>
                  <a:pt x="168" y="42"/>
                </a:lnTo>
                <a:lnTo>
                  <a:pt x="168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0"/>
                </a:lnTo>
                <a:lnTo>
                  <a:pt x="174" y="30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6" y="18"/>
                </a:lnTo>
                <a:lnTo>
                  <a:pt x="186" y="18"/>
                </a:lnTo>
                <a:lnTo>
                  <a:pt x="186" y="12"/>
                </a:lnTo>
                <a:lnTo>
                  <a:pt x="192" y="18"/>
                </a:lnTo>
                <a:lnTo>
                  <a:pt x="192" y="18"/>
                </a:lnTo>
                <a:lnTo>
                  <a:pt x="192" y="18"/>
                </a:lnTo>
                <a:lnTo>
                  <a:pt x="192" y="18"/>
                </a:lnTo>
                <a:lnTo>
                  <a:pt x="192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6"/>
                </a:lnTo>
                <a:lnTo>
                  <a:pt x="204" y="0"/>
                </a:lnTo>
                <a:lnTo>
                  <a:pt x="216" y="6"/>
                </a:lnTo>
                <a:lnTo>
                  <a:pt x="252" y="24"/>
                </a:lnTo>
                <a:lnTo>
                  <a:pt x="276" y="36"/>
                </a:lnTo>
                <a:lnTo>
                  <a:pt x="300" y="54"/>
                </a:lnTo>
                <a:lnTo>
                  <a:pt x="306" y="54"/>
                </a:lnTo>
                <a:lnTo>
                  <a:pt x="312" y="54"/>
                </a:lnTo>
                <a:lnTo>
                  <a:pt x="324" y="60"/>
                </a:lnTo>
                <a:lnTo>
                  <a:pt x="384" y="84"/>
                </a:lnTo>
                <a:lnTo>
                  <a:pt x="378" y="84"/>
                </a:lnTo>
                <a:lnTo>
                  <a:pt x="378" y="84"/>
                </a:lnTo>
                <a:lnTo>
                  <a:pt x="378" y="84"/>
                </a:lnTo>
                <a:lnTo>
                  <a:pt x="378" y="90"/>
                </a:lnTo>
                <a:lnTo>
                  <a:pt x="372" y="90"/>
                </a:lnTo>
                <a:lnTo>
                  <a:pt x="372" y="90"/>
                </a:lnTo>
                <a:lnTo>
                  <a:pt x="372" y="90"/>
                </a:lnTo>
                <a:lnTo>
                  <a:pt x="372" y="90"/>
                </a:lnTo>
                <a:lnTo>
                  <a:pt x="366" y="90"/>
                </a:lnTo>
                <a:lnTo>
                  <a:pt x="366" y="90"/>
                </a:lnTo>
                <a:lnTo>
                  <a:pt x="366" y="96"/>
                </a:lnTo>
                <a:lnTo>
                  <a:pt x="360" y="96"/>
                </a:lnTo>
                <a:lnTo>
                  <a:pt x="360" y="96"/>
                </a:lnTo>
                <a:lnTo>
                  <a:pt x="360" y="96"/>
                </a:lnTo>
                <a:lnTo>
                  <a:pt x="354" y="96"/>
                </a:lnTo>
                <a:lnTo>
                  <a:pt x="354" y="102"/>
                </a:lnTo>
                <a:lnTo>
                  <a:pt x="354" y="102"/>
                </a:lnTo>
                <a:lnTo>
                  <a:pt x="348" y="102"/>
                </a:lnTo>
                <a:lnTo>
                  <a:pt x="348" y="102"/>
                </a:lnTo>
                <a:lnTo>
                  <a:pt x="342" y="102"/>
                </a:lnTo>
                <a:lnTo>
                  <a:pt x="336" y="108"/>
                </a:lnTo>
                <a:lnTo>
                  <a:pt x="336" y="108"/>
                </a:lnTo>
                <a:lnTo>
                  <a:pt x="336" y="108"/>
                </a:lnTo>
                <a:lnTo>
                  <a:pt x="330" y="114"/>
                </a:lnTo>
                <a:lnTo>
                  <a:pt x="336" y="114"/>
                </a:lnTo>
                <a:lnTo>
                  <a:pt x="336" y="114"/>
                </a:lnTo>
                <a:lnTo>
                  <a:pt x="330" y="114"/>
                </a:lnTo>
                <a:lnTo>
                  <a:pt x="330" y="114"/>
                </a:lnTo>
                <a:lnTo>
                  <a:pt x="330" y="120"/>
                </a:lnTo>
                <a:lnTo>
                  <a:pt x="330" y="120"/>
                </a:lnTo>
                <a:lnTo>
                  <a:pt x="324" y="120"/>
                </a:lnTo>
                <a:lnTo>
                  <a:pt x="324" y="120"/>
                </a:lnTo>
                <a:lnTo>
                  <a:pt x="324" y="126"/>
                </a:lnTo>
                <a:lnTo>
                  <a:pt x="324" y="126"/>
                </a:lnTo>
                <a:lnTo>
                  <a:pt x="324" y="126"/>
                </a:lnTo>
                <a:lnTo>
                  <a:pt x="324" y="126"/>
                </a:lnTo>
                <a:lnTo>
                  <a:pt x="324" y="132"/>
                </a:lnTo>
                <a:lnTo>
                  <a:pt x="324" y="132"/>
                </a:lnTo>
                <a:lnTo>
                  <a:pt x="324" y="132"/>
                </a:lnTo>
                <a:lnTo>
                  <a:pt x="324" y="132"/>
                </a:lnTo>
                <a:lnTo>
                  <a:pt x="318" y="132"/>
                </a:lnTo>
                <a:lnTo>
                  <a:pt x="318" y="138"/>
                </a:lnTo>
                <a:lnTo>
                  <a:pt x="318" y="138"/>
                </a:lnTo>
                <a:lnTo>
                  <a:pt x="318" y="144"/>
                </a:lnTo>
                <a:lnTo>
                  <a:pt x="318" y="144"/>
                </a:lnTo>
                <a:lnTo>
                  <a:pt x="318" y="144"/>
                </a:lnTo>
                <a:lnTo>
                  <a:pt x="318" y="144"/>
                </a:lnTo>
                <a:lnTo>
                  <a:pt x="318" y="150"/>
                </a:lnTo>
                <a:lnTo>
                  <a:pt x="318" y="150"/>
                </a:lnTo>
                <a:lnTo>
                  <a:pt x="318" y="150"/>
                </a:lnTo>
                <a:lnTo>
                  <a:pt x="318" y="156"/>
                </a:lnTo>
                <a:lnTo>
                  <a:pt x="318" y="156"/>
                </a:lnTo>
                <a:lnTo>
                  <a:pt x="318" y="156"/>
                </a:lnTo>
                <a:lnTo>
                  <a:pt x="318" y="162"/>
                </a:lnTo>
                <a:lnTo>
                  <a:pt x="318" y="162"/>
                </a:lnTo>
                <a:lnTo>
                  <a:pt x="318" y="162"/>
                </a:lnTo>
                <a:lnTo>
                  <a:pt x="318" y="162"/>
                </a:lnTo>
                <a:lnTo>
                  <a:pt x="318" y="168"/>
                </a:lnTo>
                <a:lnTo>
                  <a:pt x="318" y="168"/>
                </a:lnTo>
                <a:lnTo>
                  <a:pt x="318" y="174"/>
                </a:lnTo>
                <a:lnTo>
                  <a:pt x="318" y="174"/>
                </a:lnTo>
                <a:lnTo>
                  <a:pt x="318" y="174"/>
                </a:lnTo>
                <a:lnTo>
                  <a:pt x="318" y="174"/>
                </a:lnTo>
                <a:lnTo>
                  <a:pt x="312" y="174"/>
                </a:lnTo>
                <a:lnTo>
                  <a:pt x="312" y="174"/>
                </a:lnTo>
                <a:lnTo>
                  <a:pt x="312" y="174"/>
                </a:lnTo>
                <a:lnTo>
                  <a:pt x="312" y="174"/>
                </a:lnTo>
                <a:lnTo>
                  <a:pt x="306" y="174"/>
                </a:lnTo>
                <a:lnTo>
                  <a:pt x="306" y="180"/>
                </a:lnTo>
                <a:lnTo>
                  <a:pt x="306" y="180"/>
                </a:lnTo>
                <a:lnTo>
                  <a:pt x="306" y="180"/>
                </a:lnTo>
                <a:lnTo>
                  <a:pt x="300" y="180"/>
                </a:lnTo>
                <a:lnTo>
                  <a:pt x="300" y="186"/>
                </a:lnTo>
                <a:lnTo>
                  <a:pt x="294" y="186"/>
                </a:lnTo>
                <a:lnTo>
                  <a:pt x="294" y="186"/>
                </a:lnTo>
                <a:lnTo>
                  <a:pt x="294" y="186"/>
                </a:lnTo>
                <a:lnTo>
                  <a:pt x="288" y="192"/>
                </a:lnTo>
                <a:lnTo>
                  <a:pt x="288" y="192"/>
                </a:lnTo>
                <a:lnTo>
                  <a:pt x="282" y="198"/>
                </a:lnTo>
                <a:lnTo>
                  <a:pt x="282" y="198"/>
                </a:lnTo>
                <a:lnTo>
                  <a:pt x="282" y="198"/>
                </a:lnTo>
                <a:lnTo>
                  <a:pt x="282" y="198"/>
                </a:lnTo>
                <a:lnTo>
                  <a:pt x="276" y="198"/>
                </a:lnTo>
                <a:lnTo>
                  <a:pt x="276" y="198"/>
                </a:lnTo>
                <a:lnTo>
                  <a:pt x="276" y="198"/>
                </a:lnTo>
                <a:lnTo>
                  <a:pt x="276" y="198"/>
                </a:lnTo>
                <a:lnTo>
                  <a:pt x="276" y="204"/>
                </a:lnTo>
                <a:lnTo>
                  <a:pt x="276" y="204"/>
                </a:lnTo>
                <a:lnTo>
                  <a:pt x="276" y="204"/>
                </a:lnTo>
                <a:lnTo>
                  <a:pt x="270" y="210"/>
                </a:lnTo>
                <a:lnTo>
                  <a:pt x="270" y="210"/>
                </a:lnTo>
                <a:lnTo>
                  <a:pt x="270" y="210"/>
                </a:lnTo>
                <a:lnTo>
                  <a:pt x="270" y="210"/>
                </a:lnTo>
                <a:lnTo>
                  <a:pt x="270" y="210"/>
                </a:lnTo>
                <a:lnTo>
                  <a:pt x="270" y="210"/>
                </a:lnTo>
                <a:lnTo>
                  <a:pt x="270" y="210"/>
                </a:lnTo>
                <a:lnTo>
                  <a:pt x="270" y="210"/>
                </a:lnTo>
                <a:lnTo>
                  <a:pt x="270" y="216"/>
                </a:lnTo>
                <a:lnTo>
                  <a:pt x="264" y="216"/>
                </a:lnTo>
                <a:lnTo>
                  <a:pt x="264" y="216"/>
                </a:lnTo>
                <a:lnTo>
                  <a:pt x="264" y="216"/>
                </a:lnTo>
                <a:lnTo>
                  <a:pt x="264" y="222"/>
                </a:lnTo>
                <a:lnTo>
                  <a:pt x="258" y="222"/>
                </a:lnTo>
                <a:lnTo>
                  <a:pt x="258" y="222"/>
                </a:lnTo>
                <a:lnTo>
                  <a:pt x="258" y="222"/>
                </a:lnTo>
                <a:lnTo>
                  <a:pt x="258" y="222"/>
                </a:lnTo>
                <a:lnTo>
                  <a:pt x="258" y="222"/>
                </a:lnTo>
                <a:lnTo>
                  <a:pt x="258" y="222"/>
                </a:lnTo>
                <a:lnTo>
                  <a:pt x="258" y="222"/>
                </a:lnTo>
                <a:lnTo>
                  <a:pt x="252" y="222"/>
                </a:lnTo>
                <a:lnTo>
                  <a:pt x="252" y="222"/>
                </a:lnTo>
                <a:lnTo>
                  <a:pt x="252" y="222"/>
                </a:lnTo>
                <a:lnTo>
                  <a:pt x="252" y="228"/>
                </a:lnTo>
                <a:lnTo>
                  <a:pt x="252" y="228"/>
                </a:lnTo>
                <a:lnTo>
                  <a:pt x="252" y="228"/>
                </a:lnTo>
                <a:lnTo>
                  <a:pt x="246" y="228"/>
                </a:lnTo>
                <a:lnTo>
                  <a:pt x="246" y="228"/>
                </a:lnTo>
                <a:lnTo>
                  <a:pt x="246" y="228"/>
                </a:lnTo>
                <a:lnTo>
                  <a:pt x="246" y="228"/>
                </a:lnTo>
                <a:lnTo>
                  <a:pt x="246" y="234"/>
                </a:lnTo>
                <a:lnTo>
                  <a:pt x="240" y="234"/>
                </a:lnTo>
                <a:lnTo>
                  <a:pt x="240" y="234"/>
                </a:lnTo>
                <a:lnTo>
                  <a:pt x="240" y="234"/>
                </a:lnTo>
                <a:lnTo>
                  <a:pt x="240" y="234"/>
                </a:lnTo>
                <a:lnTo>
                  <a:pt x="234" y="240"/>
                </a:lnTo>
                <a:lnTo>
                  <a:pt x="234" y="240"/>
                </a:lnTo>
                <a:lnTo>
                  <a:pt x="234" y="240"/>
                </a:lnTo>
                <a:lnTo>
                  <a:pt x="234" y="240"/>
                </a:lnTo>
                <a:lnTo>
                  <a:pt x="234" y="240"/>
                </a:lnTo>
                <a:lnTo>
                  <a:pt x="234" y="240"/>
                </a:lnTo>
                <a:lnTo>
                  <a:pt x="234" y="240"/>
                </a:lnTo>
                <a:lnTo>
                  <a:pt x="234" y="240"/>
                </a:lnTo>
                <a:lnTo>
                  <a:pt x="234" y="240"/>
                </a:lnTo>
                <a:lnTo>
                  <a:pt x="234" y="246"/>
                </a:lnTo>
                <a:lnTo>
                  <a:pt x="228" y="246"/>
                </a:lnTo>
                <a:lnTo>
                  <a:pt x="234" y="246"/>
                </a:lnTo>
                <a:lnTo>
                  <a:pt x="228" y="246"/>
                </a:lnTo>
                <a:lnTo>
                  <a:pt x="228" y="246"/>
                </a:lnTo>
                <a:lnTo>
                  <a:pt x="228" y="246"/>
                </a:lnTo>
                <a:lnTo>
                  <a:pt x="228" y="246"/>
                </a:lnTo>
                <a:lnTo>
                  <a:pt x="222" y="246"/>
                </a:lnTo>
                <a:lnTo>
                  <a:pt x="222" y="252"/>
                </a:lnTo>
                <a:lnTo>
                  <a:pt x="222" y="252"/>
                </a:lnTo>
                <a:lnTo>
                  <a:pt x="222" y="252"/>
                </a:lnTo>
                <a:lnTo>
                  <a:pt x="216" y="252"/>
                </a:lnTo>
                <a:lnTo>
                  <a:pt x="216" y="252"/>
                </a:lnTo>
                <a:lnTo>
                  <a:pt x="216" y="252"/>
                </a:lnTo>
                <a:lnTo>
                  <a:pt x="216" y="252"/>
                </a:lnTo>
                <a:lnTo>
                  <a:pt x="210" y="252"/>
                </a:lnTo>
                <a:lnTo>
                  <a:pt x="210" y="252"/>
                </a:lnTo>
                <a:lnTo>
                  <a:pt x="210" y="258"/>
                </a:lnTo>
                <a:lnTo>
                  <a:pt x="210" y="258"/>
                </a:lnTo>
                <a:lnTo>
                  <a:pt x="204" y="258"/>
                </a:lnTo>
                <a:lnTo>
                  <a:pt x="204" y="258"/>
                </a:lnTo>
                <a:lnTo>
                  <a:pt x="204" y="258"/>
                </a:lnTo>
                <a:lnTo>
                  <a:pt x="204" y="264"/>
                </a:lnTo>
                <a:lnTo>
                  <a:pt x="204" y="264"/>
                </a:lnTo>
                <a:lnTo>
                  <a:pt x="204" y="264"/>
                </a:lnTo>
                <a:lnTo>
                  <a:pt x="204" y="264"/>
                </a:lnTo>
                <a:lnTo>
                  <a:pt x="198" y="270"/>
                </a:lnTo>
                <a:lnTo>
                  <a:pt x="198" y="270"/>
                </a:lnTo>
                <a:lnTo>
                  <a:pt x="198" y="270"/>
                </a:lnTo>
                <a:lnTo>
                  <a:pt x="192" y="270"/>
                </a:lnTo>
                <a:lnTo>
                  <a:pt x="192" y="276"/>
                </a:lnTo>
                <a:lnTo>
                  <a:pt x="192" y="276"/>
                </a:lnTo>
                <a:lnTo>
                  <a:pt x="192" y="276"/>
                </a:lnTo>
                <a:lnTo>
                  <a:pt x="192" y="276"/>
                </a:lnTo>
                <a:lnTo>
                  <a:pt x="192" y="282"/>
                </a:lnTo>
                <a:lnTo>
                  <a:pt x="186" y="282"/>
                </a:lnTo>
                <a:lnTo>
                  <a:pt x="186" y="282"/>
                </a:lnTo>
                <a:lnTo>
                  <a:pt x="180" y="282"/>
                </a:lnTo>
                <a:lnTo>
                  <a:pt x="114" y="300"/>
                </a:lnTo>
                <a:lnTo>
                  <a:pt x="120" y="294"/>
                </a:lnTo>
                <a:lnTo>
                  <a:pt x="120" y="294"/>
                </a:lnTo>
                <a:lnTo>
                  <a:pt x="120" y="288"/>
                </a:lnTo>
                <a:lnTo>
                  <a:pt x="120" y="288"/>
                </a:lnTo>
                <a:lnTo>
                  <a:pt x="120" y="288"/>
                </a:lnTo>
                <a:lnTo>
                  <a:pt x="120" y="282"/>
                </a:lnTo>
                <a:lnTo>
                  <a:pt x="120" y="282"/>
                </a:lnTo>
                <a:lnTo>
                  <a:pt x="120" y="282"/>
                </a:lnTo>
                <a:lnTo>
                  <a:pt x="120" y="276"/>
                </a:lnTo>
                <a:lnTo>
                  <a:pt x="120" y="276"/>
                </a:lnTo>
                <a:lnTo>
                  <a:pt x="120" y="276"/>
                </a:lnTo>
                <a:lnTo>
                  <a:pt x="120" y="276"/>
                </a:lnTo>
                <a:lnTo>
                  <a:pt x="120" y="276"/>
                </a:lnTo>
                <a:lnTo>
                  <a:pt x="120" y="276"/>
                </a:lnTo>
                <a:lnTo>
                  <a:pt x="120" y="276"/>
                </a:lnTo>
                <a:lnTo>
                  <a:pt x="120" y="276"/>
                </a:lnTo>
                <a:lnTo>
                  <a:pt x="120" y="276"/>
                </a:lnTo>
                <a:lnTo>
                  <a:pt x="120" y="276"/>
                </a:lnTo>
                <a:lnTo>
                  <a:pt x="120" y="276"/>
                </a:lnTo>
                <a:lnTo>
                  <a:pt x="114" y="276"/>
                </a:lnTo>
                <a:lnTo>
                  <a:pt x="114" y="276"/>
                </a:lnTo>
                <a:lnTo>
                  <a:pt x="114" y="276"/>
                </a:lnTo>
                <a:lnTo>
                  <a:pt x="114" y="276"/>
                </a:lnTo>
                <a:lnTo>
                  <a:pt x="114" y="276"/>
                </a:lnTo>
                <a:lnTo>
                  <a:pt x="114" y="276"/>
                </a:lnTo>
                <a:lnTo>
                  <a:pt x="114" y="276"/>
                </a:lnTo>
                <a:lnTo>
                  <a:pt x="114" y="276"/>
                </a:lnTo>
                <a:lnTo>
                  <a:pt x="114" y="276"/>
                </a:lnTo>
                <a:lnTo>
                  <a:pt x="114" y="276"/>
                </a:lnTo>
                <a:lnTo>
                  <a:pt x="114" y="276"/>
                </a:lnTo>
                <a:lnTo>
                  <a:pt x="114" y="276"/>
                </a:lnTo>
                <a:lnTo>
                  <a:pt x="114" y="276"/>
                </a:lnTo>
                <a:lnTo>
                  <a:pt x="114" y="276"/>
                </a:lnTo>
                <a:lnTo>
                  <a:pt x="114" y="276"/>
                </a:lnTo>
                <a:lnTo>
                  <a:pt x="108" y="276"/>
                </a:lnTo>
                <a:lnTo>
                  <a:pt x="108" y="276"/>
                </a:lnTo>
                <a:lnTo>
                  <a:pt x="108" y="276"/>
                </a:lnTo>
                <a:lnTo>
                  <a:pt x="108" y="276"/>
                </a:lnTo>
                <a:lnTo>
                  <a:pt x="108" y="276"/>
                </a:lnTo>
                <a:lnTo>
                  <a:pt x="108" y="276"/>
                </a:lnTo>
                <a:lnTo>
                  <a:pt x="108" y="276"/>
                </a:lnTo>
                <a:lnTo>
                  <a:pt x="108" y="276"/>
                </a:lnTo>
                <a:lnTo>
                  <a:pt x="108" y="276"/>
                </a:lnTo>
                <a:lnTo>
                  <a:pt x="102" y="276"/>
                </a:lnTo>
                <a:lnTo>
                  <a:pt x="102" y="276"/>
                </a:lnTo>
                <a:lnTo>
                  <a:pt x="102" y="276"/>
                </a:lnTo>
                <a:lnTo>
                  <a:pt x="102" y="276"/>
                </a:lnTo>
                <a:lnTo>
                  <a:pt x="102" y="282"/>
                </a:lnTo>
                <a:lnTo>
                  <a:pt x="102" y="276"/>
                </a:lnTo>
                <a:lnTo>
                  <a:pt x="102" y="276"/>
                </a:lnTo>
                <a:lnTo>
                  <a:pt x="102" y="276"/>
                </a:lnTo>
                <a:lnTo>
                  <a:pt x="102" y="282"/>
                </a:lnTo>
                <a:lnTo>
                  <a:pt x="102" y="282"/>
                </a:lnTo>
                <a:lnTo>
                  <a:pt x="96" y="276"/>
                </a:lnTo>
                <a:lnTo>
                  <a:pt x="96" y="276"/>
                </a:lnTo>
                <a:lnTo>
                  <a:pt x="96" y="282"/>
                </a:lnTo>
                <a:lnTo>
                  <a:pt x="96" y="282"/>
                </a:lnTo>
                <a:lnTo>
                  <a:pt x="96" y="282"/>
                </a:lnTo>
                <a:lnTo>
                  <a:pt x="96" y="282"/>
                </a:lnTo>
                <a:lnTo>
                  <a:pt x="96" y="282"/>
                </a:lnTo>
                <a:lnTo>
                  <a:pt x="90" y="282"/>
                </a:lnTo>
                <a:lnTo>
                  <a:pt x="90" y="282"/>
                </a:lnTo>
                <a:lnTo>
                  <a:pt x="90" y="282"/>
                </a:lnTo>
                <a:lnTo>
                  <a:pt x="90" y="282"/>
                </a:lnTo>
                <a:lnTo>
                  <a:pt x="90" y="276"/>
                </a:lnTo>
                <a:lnTo>
                  <a:pt x="90" y="282"/>
                </a:lnTo>
                <a:lnTo>
                  <a:pt x="90" y="282"/>
                </a:lnTo>
                <a:lnTo>
                  <a:pt x="90" y="276"/>
                </a:lnTo>
                <a:lnTo>
                  <a:pt x="90" y="282"/>
                </a:lnTo>
                <a:lnTo>
                  <a:pt x="84" y="282"/>
                </a:lnTo>
                <a:lnTo>
                  <a:pt x="84" y="276"/>
                </a:lnTo>
                <a:lnTo>
                  <a:pt x="84" y="276"/>
                </a:lnTo>
                <a:lnTo>
                  <a:pt x="84" y="276"/>
                </a:lnTo>
                <a:lnTo>
                  <a:pt x="84" y="276"/>
                </a:lnTo>
                <a:lnTo>
                  <a:pt x="84" y="276"/>
                </a:lnTo>
                <a:lnTo>
                  <a:pt x="84" y="276"/>
                </a:lnTo>
                <a:lnTo>
                  <a:pt x="84" y="276"/>
                </a:lnTo>
                <a:lnTo>
                  <a:pt x="84" y="282"/>
                </a:lnTo>
                <a:lnTo>
                  <a:pt x="84" y="276"/>
                </a:lnTo>
                <a:lnTo>
                  <a:pt x="84" y="282"/>
                </a:lnTo>
                <a:lnTo>
                  <a:pt x="84" y="282"/>
                </a:lnTo>
                <a:lnTo>
                  <a:pt x="84" y="282"/>
                </a:lnTo>
                <a:lnTo>
                  <a:pt x="84" y="282"/>
                </a:lnTo>
                <a:lnTo>
                  <a:pt x="78" y="282"/>
                </a:lnTo>
                <a:lnTo>
                  <a:pt x="78" y="276"/>
                </a:lnTo>
                <a:lnTo>
                  <a:pt x="78" y="282"/>
                </a:lnTo>
                <a:lnTo>
                  <a:pt x="78" y="282"/>
                </a:lnTo>
                <a:lnTo>
                  <a:pt x="78" y="282"/>
                </a:lnTo>
                <a:lnTo>
                  <a:pt x="78" y="282"/>
                </a:lnTo>
                <a:lnTo>
                  <a:pt x="78" y="282"/>
                </a:lnTo>
                <a:lnTo>
                  <a:pt x="78" y="282"/>
                </a:lnTo>
                <a:lnTo>
                  <a:pt x="72" y="276"/>
                </a:lnTo>
                <a:lnTo>
                  <a:pt x="78" y="276"/>
                </a:lnTo>
                <a:lnTo>
                  <a:pt x="78" y="276"/>
                </a:lnTo>
                <a:lnTo>
                  <a:pt x="78" y="276"/>
                </a:lnTo>
                <a:lnTo>
                  <a:pt x="78" y="276"/>
                </a:lnTo>
                <a:lnTo>
                  <a:pt x="78" y="276"/>
                </a:lnTo>
                <a:lnTo>
                  <a:pt x="72" y="276"/>
                </a:lnTo>
                <a:lnTo>
                  <a:pt x="72" y="276"/>
                </a:lnTo>
                <a:lnTo>
                  <a:pt x="72" y="276"/>
                </a:lnTo>
                <a:lnTo>
                  <a:pt x="72" y="276"/>
                </a:lnTo>
                <a:lnTo>
                  <a:pt x="72" y="276"/>
                </a:lnTo>
                <a:lnTo>
                  <a:pt x="72" y="276"/>
                </a:lnTo>
                <a:lnTo>
                  <a:pt x="72" y="276"/>
                </a:lnTo>
                <a:lnTo>
                  <a:pt x="72" y="276"/>
                </a:lnTo>
                <a:lnTo>
                  <a:pt x="66" y="276"/>
                </a:lnTo>
                <a:lnTo>
                  <a:pt x="66" y="276"/>
                </a:lnTo>
                <a:lnTo>
                  <a:pt x="66" y="276"/>
                </a:lnTo>
                <a:lnTo>
                  <a:pt x="66" y="276"/>
                </a:lnTo>
                <a:lnTo>
                  <a:pt x="66" y="276"/>
                </a:lnTo>
                <a:lnTo>
                  <a:pt x="66" y="276"/>
                </a:lnTo>
                <a:lnTo>
                  <a:pt x="66" y="276"/>
                </a:lnTo>
                <a:lnTo>
                  <a:pt x="66" y="246"/>
                </a:lnTo>
                <a:lnTo>
                  <a:pt x="66" y="234"/>
                </a:lnTo>
                <a:lnTo>
                  <a:pt x="66" y="198"/>
                </a:lnTo>
                <a:lnTo>
                  <a:pt x="66" y="180"/>
                </a:lnTo>
                <a:lnTo>
                  <a:pt x="66" y="162"/>
                </a:lnTo>
                <a:lnTo>
                  <a:pt x="66" y="162"/>
                </a:lnTo>
                <a:lnTo>
                  <a:pt x="66" y="162"/>
                </a:lnTo>
                <a:lnTo>
                  <a:pt x="66" y="162"/>
                </a:lnTo>
                <a:lnTo>
                  <a:pt x="66" y="162"/>
                </a:lnTo>
                <a:lnTo>
                  <a:pt x="66" y="156"/>
                </a:lnTo>
                <a:lnTo>
                  <a:pt x="72" y="156"/>
                </a:lnTo>
                <a:lnTo>
                  <a:pt x="72" y="156"/>
                </a:lnTo>
                <a:lnTo>
                  <a:pt x="72" y="156"/>
                </a:lnTo>
                <a:lnTo>
                  <a:pt x="72" y="156"/>
                </a:lnTo>
                <a:lnTo>
                  <a:pt x="72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2" y="144"/>
                </a:lnTo>
                <a:lnTo>
                  <a:pt x="72" y="144"/>
                </a:lnTo>
                <a:lnTo>
                  <a:pt x="72" y="144"/>
                </a:lnTo>
                <a:lnTo>
                  <a:pt x="72" y="144"/>
                </a:lnTo>
                <a:lnTo>
                  <a:pt x="72" y="138"/>
                </a:lnTo>
                <a:lnTo>
                  <a:pt x="72" y="138"/>
                </a:lnTo>
                <a:lnTo>
                  <a:pt x="66" y="138"/>
                </a:lnTo>
                <a:lnTo>
                  <a:pt x="66" y="132"/>
                </a:lnTo>
                <a:lnTo>
                  <a:pt x="66" y="132"/>
                </a:lnTo>
                <a:lnTo>
                  <a:pt x="66" y="132"/>
                </a:lnTo>
                <a:lnTo>
                  <a:pt x="66" y="132"/>
                </a:lnTo>
                <a:lnTo>
                  <a:pt x="66" y="132"/>
                </a:lnTo>
                <a:lnTo>
                  <a:pt x="66" y="132"/>
                </a:lnTo>
                <a:lnTo>
                  <a:pt x="66" y="132"/>
                </a:lnTo>
                <a:lnTo>
                  <a:pt x="66" y="126"/>
                </a:lnTo>
                <a:lnTo>
                  <a:pt x="66" y="126"/>
                </a:lnTo>
                <a:lnTo>
                  <a:pt x="66" y="126"/>
                </a:lnTo>
                <a:lnTo>
                  <a:pt x="66" y="126"/>
                </a:lnTo>
                <a:lnTo>
                  <a:pt x="66" y="132"/>
                </a:lnTo>
                <a:lnTo>
                  <a:pt x="66" y="132"/>
                </a:lnTo>
                <a:lnTo>
                  <a:pt x="72" y="126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08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20"/>
                </a:lnTo>
                <a:lnTo>
                  <a:pt x="66" y="114"/>
                </a:lnTo>
                <a:lnTo>
                  <a:pt x="66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6"/>
                </a:lnTo>
                <a:lnTo>
                  <a:pt x="60" y="126"/>
                </a:lnTo>
                <a:lnTo>
                  <a:pt x="54" y="126"/>
                </a:lnTo>
                <a:lnTo>
                  <a:pt x="54" y="126"/>
                </a:lnTo>
                <a:lnTo>
                  <a:pt x="54" y="126"/>
                </a:lnTo>
                <a:lnTo>
                  <a:pt x="54" y="126"/>
                </a:lnTo>
                <a:lnTo>
                  <a:pt x="54" y="126"/>
                </a:lnTo>
                <a:lnTo>
                  <a:pt x="54" y="126"/>
                </a:lnTo>
                <a:lnTo>
                  <a:pt x="54" y="126"/>
                </a:lnTo>
                <a:lnTo>
                  <a:pt x="54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32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44"/>
                </a:lnTo>
                <a:lnTo>
                  <a:pt x="36" y="138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50"/>
                </a:lnTo>
                <a:lnTo>
                  <a:pt x="24" y="150"/>
                </a:lnTo>
                <a:lnTo>
                  <a:pt x="24" y="150"/>
                </a:lnTo>
                <a:lnTo>
                  <a:pt x="24" y="150"/>
                </a:lnTo>
                <a:lnTo>
                  <a:pt x="24" y="150"/>
                </a:lnTo>
                <a:lnTo>
                  <a:pt x="18" y="150"/>
                </a:lnTo>
                <a:lnTo>
                  <a:pt x="18" y="150"/>
                </a:lnTo>
                <a:lnTo>
                  <a:pt x="18" y="150"/>
                </a:lnTo>
                <a:lnTo>
                  <a:pt x="18" y="156"/>
                </a:lnTo>
                <a:lnTo>
                  <a:pt x="18" y="150"/>
                </a:lnTo>
                <a:lnTo>
                  <a:pt x="18" y="156"/>
                </a:lnTo>
                <a:lnTo>
                  <a:pt x="18" y="156"/>
                </a:lnTo>
                <a:lnTo>
                  <a:pt x="18" y="156"/>
                </a:lnTo>
                <a:lnTo>
                  <a:pt x="18" y="156"/>
                </a:lnTo>
                <a:lnTo>
                  <a:pt x="18" y="162"/>
                </a:lnTo>
                <a:lnTo>
                  <a:pt x="18" y="162"/>
                </a:lnTo>
                <a:lnTo>
                  <a:pt x="12" y="162"/>
                </a:lnTo>
                <a:lnTo>
                  <a:pt x="12" y="162"/>
                </a:lnTo>
                <a:lnTo>
                  <a:pt x="12" y="162"/>
                </a:lnTo>
                <a:lnTo>
                  <a:pt x="12" y="162"/>
                </a:lnTo>
                <a:lnTo>
                  <a:pt x="12" y="162"/>
                </a:lnTo>
                <a:lnTo>
                  <a:pt x="6" y="162"/>
                </a:lnTo>
                <a:lnTo>
                  <a:pt x="6" y="162"/>
                </a:lnTo>
                <a:lnTo>
                  <a:pt x="6" y="162"/>
                </a:lnTo>
                <a:lnTo>
                  <a:pt x="6" y="162"/>
                </a:lnTo>
                <a:lnTo>
                  <a:pt x="0" y="16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275" name="Freeform 8"/>
          <p:cNvSpPr>
            <a:spLocks/>
          </p:cNvSpPr>
          <p:nvPr/>
        </p:nvSpPr>
        <p:spPr bwMode="auto">
          <a:xfrm>
            <a:off x="5085240" y="2631766"/>
            <a:ext cx="263386" cy="321205"/>
          </a:xfrm>
          <a:custGeom>
            <a:avLst/>
            <a:gdLst>
              <a:gd name="T0" fmla="*/ 12 w 246"/>
              <a:gd name="T1" fmla="*/ 114 h 300"/>
              <a:gd name="T2" fmla="*/ 18 w 246"/>
              <a:gd name="T3" fmla="*/ 102 h 300"/>
              <a:gd name="T4" fmla="*/ 12 w 246"/>
              <a:gd name="T5" fmla="*/ 96 h 300"/>
              <a:gd name="T6" fmla="*/ 42 w 246"/>
              <a:gd name="T7" fmla="*/ 78 h 300"/>
              <a:gd name="T8" fmla="*/ 42 w 246"/>
              <a:gd name="T9" fmla="*/ 72 h 300"/>
              <a:gd name="T10" fmla="*/ 48 w 246"/>
              <a:gd name="T11" fmla="*/ 72 h 300"/>
              <a:gd name="T12" fmla="*/ 60 w 246"/>
              <a:gd name="T13" fmla="*/ 72 h 300"/>
              <a:gd name="T14" fmla="*/ 102 w 246"/>
              <a:gd name="T15" fmla="*/ 96 h 300"/>
              <a:gd name="T16" fmla="*/ 108 w 246"/>
              <a:gd name="T17" fmla="*/ 96 h 300"/>
              <a:gd name="T18" fmla="*/ 126 w 246"/>
              <a:gd name="T19" fmla="*/ 96 h 300"/>
              <a:gd name="T20" fmla="*/ 132 w 246"/>
              <a:gd name="T21" fmla="*/ 90 h 300"/>
              <a:gd name="T22" fmla="*/ 150 w 246"/>
              <a:gd name="T23" fmla="*/ 72 h 300"/>
              <a:gd name="T24" fmla="*/ 162 w 246"/>
              <a:gd name="T25" fmla="*/ 60 h 300"/>
              <a:gd name="T26" fmla="*/ 156 w 246"/>
              <a:gd name="T27" fmla="*/ 54 h 300"/>
              <a:gd name="T28" fmla="*/ 156 w 246"/>
              <a:gd name="T29" fmla="*/ 42 h 300"/>
              <a:gd name="T30" fmla="*/ 150 w 246"/>
              <a:gd name="T31" fmla="*/ 30 h 300"/>
              <a:gd name="T32" fmla="*/ 150 w 246"/>
              <a:gd name="T33" fmla="*/ 18 h 300"/>
              <a:gd name="T34" fmla="*/ 162 w 246"/>
              <a:gd name="T35" fmla="*/ 6 h 300"/>
              <a:gd name="T36" fmla="*/ 168 w 246"/>
              <a:gd name="T37" fmla="*/ 18 h 300"/>
              <a:gd name="T38" fmla="*/ 174 w 246"/>
              <a:gd name="T39" fmla="*/ 12 h 300"/>
              <a:gd name="T40" fmla="*/ 186 w 246"/>
              <a:gd name="T41" fmla="*/ 18 h 300"/>
              <a:gd name="T42" fmla="*/ 204 w 246"/>
              <a:gd name="T43" fmla="*/ 18 h 300"/>
              <a:gd name="T44" fmla="*/ 216 w 246"/>
              <a:gd name="T45" fmla="*/ 18 h 300"/>
              <a:gd name="T46" fmla="*/ 216 w 246"/>
              <a:gd name="T47" fmla="*/ 24 h 300"/>
              <a:gd name="T48" fmla="*/ 222 w 246"/>
              <a:gd name="T49" fmla="*/ 30 h 300"/>
              <a:gd name="T50" fmla="*/ 228 w 246"/>
              <a:gd name="T51" fmla="*/ 48 h 300"/>
              <a:gd name="T52" fmla="*/ 216 w 246"/>
              <a:gd name="T53" fmla="*/ 66 h 300"/>
              <a:gd name="T54" fmla="*/ 204 w 246"/>
              <a:gd name="T55" fmla="*/ 78 h 300"/>
              <a:gd name="T56" fmla="*/ 204 w 246"/>
              <a:gd name="T57" fmla="*/ 78 h 300"/>
              <a:gd name="T58" fmla="*/ 204 w 246"/>
              <a:gd name="T59" fmla="*/ 90 h 300"/>
              <a:gd name="T60" fmla="*/ 204 w 246"/>
              <a:gd name="T61" fmla="*/ 102 h 300"/>
              <a:gd name="T62" fmla="*/ 204 w 246"/>
              <a:gd name="T63" fmla="*/ 108 h 300"/>
              <a:gd name="T64" fmla="*/ 204 w 246"/>
              <a:gd name="T65" fmla="*/ 114 h 300"/>
              <a:gd name="T66" fmla="*/ 204 w 246"/>
              <a:gd name="T67" fmla="*/ 120 h 300"/>
              <a:gd name="T68" fmla="*/ 216 w 246"/>
              <a:gd name="T69" fmla="*/ 120 h 300"/>
              <a:gd name="T70" fmla="*/ 222 w 246"/>
              <a:gd name="T71" fmla="*/ 132 h 300"/>
              <a:gd name="T72" fmla="*/ 222 w 246"/>
              <a:gd name="T73" fmla="*/ 144 h 300"/>
              <a:gd name="T74" fmla="*/ 228 w 246"/>
              <a:gd name="T75" fmla="*/ 162 h 300"/>
              <a:gd name="T76" fmla="*/ 240 w 246"/>
              <a:gd name="T77" fmla="*/ 186 h 300"/>
              <a:gd name="T78" fmla="*/ 228 w 246"/>
              <a:gd name="T79" fmla="*/ 198 h 300"/>
              <a:gd name="T80" fmla="*/ 216 w 246"/>
              <a:gd name="T81" fmla="*/ 204 h 300"/>
              <a:gd name="T82" fmla="*/ 204 w 246"/>
              <a:gd name="T83" fmla="*/ 228 h 300"/>
              <a:gd name="T84" fmla="*/ 198 w 246"/>
              <a:gd name="T85" fmla="*/ 258 h 300"/>
              <a:gd name="T86" fmla="*/ 186 w 246"/>
              <a:gd name="T87" fmla="*/ 270 h 300"/>
              <a:gd name="T88" fmla="*/ 180 w 246"/>
              <a:gd name="T89" fmla="*/ 282 h 300"/>
              <a:gd name="T90" fmla="*/ 174 w 246"/>
              <a:gd name="T91" fmla="*/ 300 h 300"/>
              <a:gd name="T92" fmla="*/ 168 w 246"/>
              <a:gd name="T93" fmla="*/ 288 h 300"/>
              <a:gd name="T94" fmla="*/ 168 w 246"/>
              <a:gd name="T95" fmla="*/ 276 h 300"/>
              <a:gd name="T96" fmla="*/ 162 w 246"/>
              <a:gd name="T97" fmla="*/ 270 h 300"/>
              <a:gd name="T98" fmla="*/ 150 w 246"/>
              <a:gd name="T99" fmla="*/ 258 h 300"/>
              <a:gd name="T100" fmla="*/ 138 w 246"/>
              <a:gd name="T101" fmla="*/ 258 h 300"/>
              <a:gd name="T102" fmla="*/ 126 w 246"/>
              <a:gd name="T103" fmla="*/ 240 h 300"/>
              <a:gd name="T104" fmla="*/ 108 w 246"/>
              <a:gd name="T105" fmla="*/ 240 h 300"/>
              <a:gd name="T106" fmla="*/ 96 w 246"/>
              <a:gd name="T107" fmla="*/ 252 h 300"/>
              <a:gd name="T108" fmla="*/ 90 w 246"/>
              <a:gd name="T109" fmla="*/ 240 h 300"/>
              <a:gd name="T110" fmla="*/ 84 w 246"/>
              <a:gd name="T111" fmla="*/ 234 h 300"/>
              <a:gd name="T112" fmla="*/ 66 w 246"/>
              <a:gd name="T113" fmla="*/ 228 h 300"/>
              <a:gd name="T114" fmla="*/ 54 w 246"/>
              <a:gd name="T115" fmla="*/ 228 h 300"/>
              <a:gd name="T116" fmla="*/ 42 w 246"/>
              <a:gd name="T117" fmla="*/ 222 h 300"/>
              <a:gd name="T118" fmla="*/ 42 w 246"/>
              <a:gd name="T119" fmla="*/ 210 h 300"/>
              <a:gd name="T120" fmla="*/ 24 w 246"/>
              <a:gd name="T121" fmla="*/ 198 h 300"/>
              <a:gd name="T122" fmla="*/ 6 w 246"/>
              <a:gd name="T123" fmla="*/ 192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46" h="300">
                <a:moveTo>
                  <a:pt x="0" y="192"/>
                </a:moveTo>
                <a:lnTo>
                  <a:pt x="0" y="156"/>
                </a:lnTo>
                <a:lnTo>
                  <a:pt x="0" y="144"/>
                </a:lnTo>
                <a:lnTo>
                  <a:pt x="18" y="144"/>
                </a:lnTo>
                <a:lnTo>
                  <a:pt x="18" y="132"/>
                </a:lnTo>
                <a:lnTo>
                  <a:pt x="18" y="120"/>
                </a:lnTo>
                <a:lnTo>
                  <a:pt x="18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2" y="96"/>
                </a:lnTo>
                <a:lnTo>
                  <a:pt x="12" y="96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84"/>
                </a:lnTo>
                <a:lnTo>
                  <a:pt x="18" y="84"/>
                </a:lnTo>
                <a:lnTo>
                  <a:pt x="30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78"/>
                </a:lnTo>
                <a:lnTo>
                  <a:pt x="36" y="78"/>
                </a:lnTo>
                <a:lnTo>
                  <a:pt x="42" y="78"/>
                </a:lnTo>
                <a:lnTo>
                  <a:pt x="42" y="78"/>
                </a:lnTo>
                <a:lnTo>
                  <a:pt x="36" y="78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66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78" y="84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96"/>
                </a:lnTo>
                <a:lnTo>
                  <a:pt x="96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102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102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14" y="96"/>
                </a:lnTo>
                <a:lnTo>
                  <a:pt x="114" y="96"/>
                </a:lnTo>
                <a:lnTo>
                  <a:pt x="114" y="96"/>
                </a:lnTo>
                <a:lnTo>
                  <a:pt x="114" y="96"/>
                </a:lnTo>
                <a:lnTo>
                  <a:pt x="120" y="96"/>
                </a:lnTo>
                <a:lnTo>
                  <a:pt x="120" y="96"/>
                </a:lnTo>
                <a:lnTo>
                  <a:pt x="126" y="96"/>
                </a:lnTo>
                <a:lnTo>
                  <a:pt x="126" y="96"/>
                </a:lnTo>
                <a:lnTo>
                  <a:pt x="126" y="96"/>
                </a:lnTo>
                <a:lnTo>
                  <a:pt x="126" y="96"/>
                </a:lnTo>
                <a:lnTo>
                  <a:pt x="126" y="96"/>
                </a:lnTo>
                <a:lnTo>
                  <a:pt x="126" y="96"/>
                </a:lnTo>
                <a:lnTo>
                  <a:pt x="132" y="96"/>
                </a:lnTo>
                <a:lnTo>
                  <a:pt x="132" y="96"/>
                </a:lnTo>
                <a:lnTo>
                  <a:pt x="132" y="96"/>
                </a:lnTo>
                <a:lnTo>
                  <a:pt x="132" y="90"/>
                </a:lnTo>
                <a:lnTo>
                  <a:pt x="132" y="90"/>
                </a:lnTo>
                <a:lnTo>
                  <a:pt x="132" y="90"/>
                </a:lnTo>
                <a:lnTo>
                  <a:pt x="132" y="90"/>
                </a:lnTo>
                <a:lnTo>
                  <a:pt x="132" y="90"/>
                </a:lnTo>
                <a:lnTo>
                  <a:pt x="132" y="90"/>
                </a:lnTo>
                <a:lnTo>
                  <a:pt x="132" y="90"/>
                </a:lnTo>
                <a:lnTo>
                  <a:pt x="132" y="90"/>
                </a:lnTo>
                <a:lnTo>
                  <a:pt x="138" y="84"/>
                </a:lnTo>
                <a:lnTo>
                  <a:pt x="138" y="84"/>
                </a:lnTo>
                <a:lnTo>
                  <a:pt x="138" y="78"/>
                </a:lnTo>
                <a:lnTo>
                  <a:pt x="144" y="78"/>
                </a:lnTo>
                <a:lnTo>
                  <a:pt x="144" y="78"/>
                </a:lnTo>
                <a:lnTo>
                  <a:pt x="144" y="78"/>
                </a:lnTo>
                <a:lnTo>
                  <a:pt x="144" y="72"/>
                </a:lnTo>
                <a:lnTo>
                  <a:pt x="150" y="72"/>
                </a:lnTo>
                <a:lnTo>
                  <a:pt x="150" y="72"/>
                </a:lnTo>
                <a:lnTo>
                  <a:pt x="150" y="72"/>
                </a:lnTo>
                <a:lnTo>
                  <a:pt x="150" y="72"/>
                </a:lnTo>
                <a:lnTo>
                  <a:pt x="150" y="66"/>
                </a:lnTo>
                <a:lnTo>
                  <a:pt x="150" y="66"/>
                </a:lnTo>
                <a:lnTo>
                  <a:pt x="150" y="66"/>
                </a:lnTo>
                <a:lnTo>
                  <a:pt x="150" y="66"/>
                </a:lnTo>
                <a:lnTo>
                  <a:pt x="156" y="66"/>
                </a:lnTo>
                <a:lnTo>
                  <a:pt x="156" y="66"/>
                </a:lnTo>
                <a:lnTo>
                  <a:pt x="156" y="66"/>
                </a:lnTo>
                <a:lnTo>
                  <a:pt x="156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56" y="60"/>
                </a:lnTo>
                <a:lnTo>
                  <a:pt x="162" y="60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48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6" y="42"/>
                </a:lnTo>
                <a:lnTo>
                  <a:pt x="150" y="42"/>
                </a:lnTo>
                <a:lnTo>
                  <a:pt x="156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0"/>
                </a:lnTo>
                <a:lnTo>
                  <a:pt x="144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6" y="12"/>
                </a:lnTo>
                <a:lnTo>
                  <a:pt x="156" y="6"/>
                </a:lnTo>
                <a:lnTo>
                  <a:pt x="156" y="6"/>
                </a:lnTo>
                <a:lnTo>
                  <a:pt x="156" y="0"/>
                </a:lnTo>
                <a:lnTo>
                  <a:pt x="156" y="6"/>
                </a:lnTo>
                <a:lnTo>
                  <a:pt x="156" y="6"/>
                </a:lnTo>
                <a:lnTo>
                  <a:pt x="162" y="6"/>
                </a:lnTo>
                <a:lnTo>
                  <a:pt x="162" y="6"/>
                </a:lnTo>
                <a:lnTo>
                  <a:pt x="156" y="12"/>
                </a:lnTo>
                <a:lnTo>
                  <a:pt x="162" y="12"/>
                </a:lnTo>
                <a:lnTo>
                  <a:pt x="162" y="6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8" y="12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74" y="18"/>
                </a:lnTo>
                <a:lnTo>
                  <a:pt x="174" y="18"/>
                </a:lnTo>
                <a:lnTo>
                  <a:pt x="174" y="18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80" y="12"/>
                </a:lnTo>
                <a:lnTo>
                  <a:pt x="180" y="12"/>
                </a:lnTo>
                <a:lnTo>
                  <a:pt x="180" y="12"/>
                </a:lnTo>
                <a:lnTo>
                  <a:pt x="180" y="12"/>
                </a:lnTo>
                <a:lnTo>
                  <a:pt x="180" y="12"/>
                </a:lnTo>
                <a:lnTo>
                  <a:pt x="180" y="12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92" y="18"/>
                </a:lnTo>
                <a:lnTo>
                  <a:pt x="192" y="18"/>
                </a:lnTo>
                <a:lnTo>
                  <a:pt x="192" y="18"/>
                </a:lnTo>
                <a:lnTo>
                  <a:pt x="192" y="18"/>
                </a:lnTo>
                <a:lnTo>
                  <a:pt x="192" y="18"/>
                </a:lnTo>
                <a:lnTo>
                  <a:pt x="198" y="18"/>
                </a:lnTo>
                <a:lnTo>
                  <a:pt x="198" y="18"/>
                </a:lnTo>
                <a:lnTo>
                  <a:pt x="198" y="18"/>
                </a:lnTo>
                <a:lnTo>
                  <a:pt x="198" y="18"/>
                </a:lnTo>
                <a:lnTo>
                  <a:pt x="198" y="18"/>
                </a:lnTo>
                <a:lnTo>
                  <a:pt x="204" y="18"/>
                </a:lnTo>
                <a:lnTo>
                  <a:pt x="204" y="18"/>
                </a:lnTo>
                <a:lnTo>
                  <a:pt x="204" y="18"/>
                </a:lnTo>
                <a:lnTo>
                  <a:pt x="204" y="18"/>
                </a:lnTo>
                <a:lnTo>
                  <a:pt x="204" y="18"/>
                </a:lnTo>
                <a:lnTo>
                  <a:pt x="204" y="18"/>
                </a:lnTo>
                <a:lnTo>
                  <a:pt x="204" y="18"/>
                </a:lnTo>
                <a:lnTo>
                  <a:pt x="210" y="18"/>
                </a:lnTo>
                <a:lnTo>
                  <a:pt x="210" y="18"/>
                </a:lnTo>
                <a:lnTo>
                  <a:pt x="210" y="18"/>
                </a:lnTo>
                <a:lnTo>
                  <a:pt x="210" y="18"/>
                </a:lnTo>
                <a:lnTo>
                  <a:pt x="210" y="18"/>
                </a:lnTo>
                <a:lnTo>
                  <a:pt x="216" y="24"/>
                </a:lnTo>
                <a:lnTo>
                  <a:pt x="216" y="18"/>
                </a:lnTo>
                <a:lnTo>
                  <a:pt x="216" y="18"/>
                </a:lnTo>
                <a:lnTo>
                  <a:pt x="216" y="18"/>
                </a:lnTo>
                <a:lnTo>
                  <a:pt x="216" y="18"/>
                </a:lnTo>
                <a:lnTo>
                  <a:pt x="216" y="18"/>
                </a:lnTo>
                <a:lnTo>
                  <a:pt x="216" y="18"/>
                </a:lnTo>
                <a:lnTo>
                  <a:pt x="222" y="18"/>
                </a:lnTo>
                <a:lnTo>
                  <a:pt x="222" y="24"/>
                </a:lnTo>
                <a:lnTo>
                  <a:pt x="216" y="24"/>
                </a:lnTo>
                <a:lnTo>
                  <a:pt x="216" y="24"/>
                </a:lnTo>
                <a:lnTo>
                  <a:pt x="216" y="24"/>
                </a:lnTo>
                <a:lnTo>
                  <a:pt x="216" y="24"/>
                </a:lnTo>
                <a:lnTo>
                  <a:pt x="216" y="24"/>
                </a:lnTo>
                <a:lnTo>
                  <a:pt x="216" y="24"/>
                </a:lnTo>
                <a:lnTo>
                  <a:pt x="216" y="24"/>
                </a:lnTo>
                <a:lnTo>
                  <a:pt x="222" y="30"/>
                </a:lnTo>
                <a:lnTo>
                  <a:pt x="222" y="30"/>
                </a:lnTo>
                <a:lnTo>
                  <a:pt x="222" y="30"/>
                </a:lnTo>
                <a:lnTo>
                  <a:pt x="222" y="30"/>
                </a:lnTo>
                <a:lnTo>
                  <a:pt x="222" y="30"/>
                </a:lnTo>
                <a:lnTo>
                  <a:pt x="222" y="30"/>
                </a:lnTo>
                <a:lnTo>
                  <a:pt x="222" y="30"/>
                </a:lnTo>
                <a:lnTo>
                  <a:pt x="222" y="30"/>
                </a:lnTo>
                <a:lnTo>
                  <a:pt x="222" y="30"/>
                </a:lnTo>
                <a:lnTo>
                  <a:pt x="222" y="30"/>
                </a:lnTo>
                <a:lnTo>
                  <a:pt x="216" y="30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8" y="42"/>
                </a:lnTo>
                <a:lnTo>
                  <a:pt x="228" y="48"/>
                </a:lnTo>
                <a:lnTo>
                  <a:pt x="228" y="48"/>
                </a:lnTo>
                <a:lnTo>
                  <a:pt x="228" y="48"/>
                </a:lnTo>
                <a:lnTo>
                  <a:pt x="228" y="48"/>
                </a:lnTo>
                <a:lnTo>
                  <a:pt x="228" y="54"/>
                </a:lnTo>
                <a:lnTo>
                  <a:pt x="228" y="54"/>
                </a:lnTo>
                <a:lnTo>
                  <a:pt x="228" y="54"/>
                </a:lnTo>
                <a:lnTo>
                  <a:pt x="228" y="54"/>
                </a:lnTo>
                <a:lnTo>
                  <a:pt x="228" y="60"/>
                </a:lnTo>
                <a:lnTo>
                  <a:pt x="228" y="60"/>
                </a:lnTo>
                <a:lnTo>
                  <a:pt x="228" y="60"/>
                </a:lnTo>
                <a:lnTo>
                  <a:pt x="222" y="60"/>
                </a:lnTo>
                <a:lnTo>
                  <a:pt x="222" y="60"/>
                </a:lnTo>
                <a:lnTo>
                  <a:pt x="222" y="60"/>
                </a:lnTo>
                <a:lnTo>
                  <a:pt x="222" y="60"/>
                </a:lnTo>
                <a:lnTo>
                  <a:pt x="216" y="66"/>
                </a:lnTo>
                <a:lnTo>
                  <a:pt x="216" y="66"/>
                </a:lnTo>
                <a:lnTo>
                  <a:pt x="216" y="66"/>
                </a:lnTo>
                <a:lnTo>
                  <a:pt x="216" y="66"/>
                </a:lnTo>
                <a:lnTo>
                  <a:pt x="216" y="66"/>
                </a:lnTo>
                <a:lnTo>
                  <a:pt x="210" y="66"/>
                </a:lnTo>
                <a:lnTo>
                  <a:pt x="210" y="66"/>
                </a:lnTo>
                <a:lnTo>
                  <a:pt x="216" y="72"/>
                </a:lnTo>
                <a:lnTo>
                  <a:pt x="210" y="72"/>
                </a:lnTo>
                <a:lnTo>
                  <a:pt x="210" y="72"/>
                </a:lnTo>
                <a:lnTo>
                  <a:pt x="210" y="72"/>
                </a:lnTo>
                <a:lnTo>
                  <a:pt x="204" y="78"/>
                </a:lnTo>
                <a:lnTo>
                  <a:pt x="204" y="78"/>
                </a:lnTo>
                <a:lnTo>
                  <a:pt x="204" y="78"/>
                </a:lnTo>
                <a:lnTo>
                  <a:pt x="204" y="78"/>
                </a:lnTo>
                <a:lnTo>
                  <a:pt x="204" y="78"/>
                </a:lnTo>
                <a:lnTo>
                  <a:pt x="204" y="78"/>
                </a:lnTo>
                <a:lnTo>
                  <a:pt x="204" y="78"/>
                </a:lnTo>
                <a:lnTo>
                  <a:pt x="204" y="78"/>
                </a:lnTo>
                <a:lnTo>
                  <a:pt x="204" y="78"/>
                </a:lnTo>
                <a:lnTo>
                  <a:pt x="204" y="78"/>
                </a:lnTo>
                <a:lnTo>
                  <a:pt x="204" y="78"/>
                </a:lnTo>
                <a:lnTo>
                  <a:pt x="204" y="78"/>
                </a:lnTo>
                <a:lnTo>
                  <a:pt x="204" y="78"/>
                </a:lnTo>
                <a:lnTo>
                  <a:pt x="204" y="78"/>
                </a:lnTo>
                <a:lnTo>
                  <a:pt x="204" y="78"/>
                </a:lnTo>
                <a:lnTo>
                  <a:pt x="204" y="84"/>
                </a:lnTo>
                <a:lnTo>
                  <a:pt x="204" y="84"/>
                </a:lnTo>
                <a:lnTo>
                  <a:pt x="204" y="84"/>
                </a:lnTo>
                <a:lnTo>
                  <a:pt x="204" y="84"/>
                </a:lnTo>
                <a:lnTo>
                  <a:pt x="204" y="84"/>
                </a:lnTo>
                <a:lnTo>
                  <a:pt x="204" y="84"/>
                </a:lnTo>
                <a:lnTo>
                  <a:pt x="204" y="84"/>
                </a:lnTo>
                <a:lnTo>
                  <a:pt x="204" y="90"/>
                </a:lnTo>
                <a:lnTo>
                  <a:pt x="204" y="90"/>
                </a:lnTo>
                <a:lnTo>
                  <a:pt x="204" y="90"/>
                </a:lnTo>
                <a:lnTo>
                  <a:pt x="204" y="90"/>
                </a:lnTo>
                <a:lnTo>
                  <a:pt x="204" y="90"/>
                </a:lnTo>
                <a:lnTo>
                  <a:pt x="204" y="90"/>
                </a:lnTo>
                <a:lnTo>
                  <a:pt x="198" y="90"/>
                </a:lnTo>
                <a:lnTo>
                  <a:pt x="204" y="96"/>
                </a:lnTo>
                <a:lnTo>
                  <a:pt x="204" y="96"/>
                </a:lnTo>
                <a:lnTo>
                  <a:pt x="204" y="96"/>
                </a:lnTo>
                <a:lnTo>
                  <a:pt x="204" y="96"/>
                </a:lnTo>
                <a:lnTo>
                  <a:pt x="204" y="96"/>
                </a:lnTo>
                <a:lnTo>
                  <a:pt x="204" y="102"/>
                </a:lnTo>
                <a:lnTo>
                  <a:pt x="204" y="102"/>
                </a:lnTo>
                <a:lnTo>
                  <a:pt x="204" y="102"/>
                </a:lnTo>
                <a:lnTo>
                  <a:pt x="204" y="102"/>
                </a:lnTo>
                <a:lnTo>
                  <a:pt x="204" y="102"/>
                </a:lnTo>
                <a:lnTo>
                  <a:pt x="204" y="102"/>
                </a:lnTo>
                <a:lnTo>
                  <a:pt x="204" y="102"/>
                </a:lnTo>
                <a:lnTo>
                  <a:pt x="204" y="102"/>
                </a:lnTo>
                <a:lnTo>
                  <a:pt x="204" y="108"/>
                </a:lnTo>
                <a:lnTo>
                  <a:pt x="204" y="108"/>
                </a:lnTo>
                <a:lnTo>
                  <a:pt x="204" y="108"/>
                </a:lnTo>
                <a:lnTo>
                  <a:pt x="204" y="108"/>
                </a:lnTo>
                <a:lnTo>
                  <a:pt x="204" y="108"/>
                </a:lnTo>
                <a:lnTo>
                  <a:pt x="204" y="108"/>
                </a:lnTo>
                <a:lnTo>
                  <a:pt x="204" y="108"/>
                </a:lnTo>
                <a:lnTo>
                  <a:pt x="204" y="108"/>
                </a:lnTo>
                <a:lnTo>
                  <a:pt x="204" y="108"/>
                </a:lnTo>
                <a:lnTo>
                  <a:pt x="204" y="108"/>
                </a:lnTo>
                <a:lnTo>
                  <a:pt x="204" y="108"/>
                </a:lnTo>
                <a:lnTo>
                  <a:pt x="204" y="108"/>
                </a:lnTo>
                <a:lnTo>
                  <a:pt x="204" y="108"/>
                </a:lnTo>
                <a:lnTo>
                  <a:pt x="204" y="108"/>
                </a:lnTo>
                <a:lnTo>
                  <a:pt x="204" y="108"/>
                </a:lnTo>
                <a:lnTo>
                  <a:pt x="204" y="108"/>
                </a:lnTo>
                <a:lnTo>
                  <a:pt x="204" y="108"/>
                </a:lnTo>
                <a:lnTo>
                  <a:pt x="204" y="114"/>
                </a:lnTo>
                <a:lnTo>
                  <a:pt x="204" y="114"/>
                </a:lnTo>
                <a:lnTo>
                  <a:pt x="204" y="114"/>
                </a:lnTo>
                <a:lnTo>
                  <a:pt x="204" y="114"/>
                </a:lnTo>
                <a:lnTo>
                  <a:pt x="204" y="114"/>
                </a:lnTo>
                <a:lnTo>
                  <a:pt x="204" y="114"/>
                </a:lnTo>
                <a:lnTo>
                  <a:pt x="204" y="114"/>
                </a:lnTo>
                <a:lnTo>
                  <a:pt x="204" y="114"/>
                </a:lnTo>
                <a:lnTo>
                  <a:pt x="204" y="114"/>
                </a:lnTo>
                <a:lnTo>
                  <a:pt x="204" y="114"/>
                </a:lnTo>
                <a:lnTo>
                  <a:pt x="204" y="114"/>
                </a:lnTo>
                <a:lnTo>
                  <a:pt x="204" y="114"/>
                </a:lnTo>
                <a:lnTo>
                  <a:pt x="204" y="114"/>
                </a:lnTo>
                <a:lnTo>
                  <a:pt x="204" y="114"/>
                </a:lnTo>
                <a:lnTo>
                  <a:pt x="204" y="120"/>
                </a:lnTo>
                <a:lnTo>
                  <a:pt x="204" y="120"/>
                </a:lnTo>
                <a:lnTo>
                  <a:pt x="210" y="120"/>
                </a:lnTo>
                <a:lnTo>
                  <a:pt x="204" y="120"/>
                </a:lnTo>
                <a:lnTo>
                  <a:pt x="210" y="120"/>
                </a:lnTo>
                <a:lnTo>
                  <a:pt x="210" y="120"/>
                </a:lnTo>
                <a:lnTo>
                  <a:pt x="210" y="120"/>
                </a:lnTo>
                <a:lnTo>
                  <a:pt x="210" y="120"/>
                </a:lnTo>
                <a:lnTo>
                  <a:pt x="210" y="120"/>
                </a:lnTo>
                <a:lnTo>
                  <a:pt x="216" y="120"/>
                </a:lnTo>
                <a:lnTo>
                  <a:pt x="216" y="120"/>
                </a:lnTo>
                <a:lnTo>
                  <a:pt x="216" y="120"/>
                </a:lnTo>
                <a:lnTo>
                  <a:pt x="216" y="120"/>
                </a:lnTo>
                <a:lnTo>
                  <a:pt x="216" y="120"/>
                </a:lnTo>
                <a:lnTo>
                  <a:pt x="216" y="126"/>
                </a:lnTo>
                <a:lnTo>
                  <a:pt x="222" y="126"/>
                </a:lnTo>
                <a:lnTo>
                  <a:pt x="216" y="126"/>
                </a:lnTo>
                <a:lnTo>
                  <a:pt x="222" y="126"/>
                </a:lnTo>
                <a:lnTo>
                  <a:pt x="222" y="126"/>
                </a:lnTo>
                <a:lnTo>
                  <a:pt x="222" y="126"/>
                </a:lnTo>
                <a:lnTo>
                  <a:pt x="222" y="126"/>
                </a:lnTo>
                <a:lnTo>
                  <a:pt x="216" y="132"/>
                </a:lnTo>
                <a:lnTo>
                  <a:pt x="222" y="132"/>
                </a:lnTo>
                <a:lnTo>
                  <a:pt x="222" y="132"/>
                </a:lnTo>
                <a:lnTo>
                  <a:pt x="222" y="132"/>
                </a:lnTo>
                <a:lnTo>
                  <a:pt x="222" y="132"/>
                </a:lnTo>
                <a:lnTo>
                  <a:pt x="222" y="132"/>
                </a:lnTo>
                <a:lnTo>
                  <a:pt x="222" y="132"/>
                </a:lnTo>
                <a:lnTo>
                  <a:pt x="222" y="132"/>
                </a:lnTo>
                <a:lnTo>
                  <a:pt x="222" y="138"/>
                </a:lnTo>
                <a:lnTo>
                  <a:pt x="222" y="138"/>
                </a:lnTo>
                <a:lnTo>
                  <a:pt x="222" y="138"/>
                </a:lnTo>
                <a:lnTo>
                  <a:pt x="222" y="138"/>
                </a:lnTo>
                <a:lnTo>
                  <a:pt x="222" y="138"/>
                </a:lnTo>
                <a:lnTo>
                  <a:pt x="222" y="138"/>
                </a:lnTo>
                <a:lnTo>
                  <a:pt x="222" y="144"/>
                </a:lnTo>
                <a:lnTo>
                  <a:pt x="222" y="144"/>
                </a:lnTo>
                <a:lnTo>
                  <a:pt x="222" y="144"/>
                </a:lnTo>
                <a:lnTo>
                  <a:pt x="222" y="144"/>
                </a:lnTo>
                <a:lnTo>
                  <a:pt x="228" y="144"/>
                </a:lnTo>
                <a:lnTo>
                  <a:pt x="228" y="144"/>
                </a:lnTo>
                <a:lnTo>
                  <a:pt x="228" y="150"/>
                </a:lnTo>
                <a:lnTo>
                  <a:pt x="228" y="150"/>
                </a:lnTo>
                <a:lnTo>
                  <a:pt x="228" y="156"/>
                </a:lnTo>
                <a:lnTo>
                  <a:pt x="228" y="156"/>
                </a:lnTo>
                <a:lnTo>
                  <a:pt x="228" y="156"/>
                </a:lnTo>
                <a:lnTo>
                  <a:pt x="228" y="156"/>
                </a:lnTo>
                <a:lnTo>
                  <a:pt x="228" y="162"/>
                </a:lnTo>
                <a:lnTo>
                  <a:pt x="228" y="162"/>
                </a:lnTo>
                <a:lnTo>
                  <a:pt x="228" y="162"/>
                </a:lnTo>
                <a:lnTo>
                  <a:pt x="228" y="162"/>
                </a:lnTo>
                <a:lnTo>
                  <a:pt x="228" y="168"/>
                </a:lnTo>
                <a:lnTo>
                  <a:pt x="228" y="168"/>
                </a:lnTo>
                <a:lnTo>
                  <a:pt x="234" y="168"/>
                </a:lnTo>
                <a:lnTo>
                  <a:pt x="246" y="180"/>
                </a:lnTo>
                <a:lnTo>
                  <a:pt x="246" y="180"/>
                </a:lnTo>
                <a:lnTo>
                  <a:pt x="240" y="180"/>
                </a:lnTo>
                <a:lnTo>
                  <a:pt x="240" y="180"/>
                </a:lnTo>
                <a:lnTo>
                  <a:pt x="240" y="186"/>
                </a:lnTo>
                <a:lnTo>
                  <a:pt x="240" y="186"/>
                </a:lnTo>
                <a:lnTo>
                  <a:pt x="240" y="186"/>
                </a:lnTo>
                <a:lnTo>
                  <a:pt x="240" y="186"/>
                </a:lnTo>
                <a:lnTo>
                  <a:pt x="240" y="186"/>
                </a:lnTo>
                <a:lnTo>
                  <a:pt x="240" y="192"/>
                </a:lnTo>
                <a:lnTo>
                  <a:pt x="240" y="192"/>
                </a:lnTo>
                <a:lnTo>
                  <a:pt x="234" y="198"/>
                </a:lnTo>
                <a:lnTo>
                  <a:pt x="234" y="198"/>
                </a:lnTo>
                <a:lnTo>
                  <a:pt x="234" y="198"/>
                </a:lnTo>
                <a:lnTo>
                  <a:pt x="234" y="198"/>
                </a:lnTo>
                <a:lnTo>
                  <a:pt x="234" y="198"/>
                </a:lnTo>
                <a:lnTo>
                  <a:pt x="228" y="198"/>
                </a:lnTo>
                <a:lnTo>
                  <a:pt x="228" y="198"/>
                </a:lnTo>
                <a:lnTo>
                  <a:pt x="228" y="198"/>
                </a:lnTo>
                <a:lnTo>
                  <a:pt x="228" y="198"/>
                </a:lnTo>
                <a:lnTo>
                  <a:pt x="228" y="198"/>
                </a:lnTo>
                <a:lnTo>
                  <a:pt x="228" y="198"/>
                </a:lnTo>
                <a:lnTo>
                  <a:pt x="228" y="198"/>
                </a:lnTo>
                <a:lnTo>
                  <a:pt x="228" y="198"/>
                </a:lnTo>
                <a:lnTo>
                  <a:pt x="228" y="198"/>
                </a:lnTo>
                <a:lnTo>
                  <a:pt x="228" y="198"/>
                </a:lnTo>
                <a:lnTo>
                  <a:pt x="222" y="198"/>
                </a:lnTo>
                <a:lnTo>
                  <a:pt x="222" y="204"/>
                </a:lnTo>
                <a:lnTo>
                  <a:pt x="216" y="204"/>
                </a:lnTo>
                <a:lnTo>
                  <a:pt x="216" y="204"/>
                </a:lnTo>
                <a:lnTo>
                  <a:pt x="216" y="204"/>
                </a:lnTo>
                <a:lnTo>
                  <a:pt x="216" y="210"/>
                </a:lnTo>
                <a:lnTo>
                  <a:pt x="216" y="210"/>
                </a:lnTo>
                <a:lnTo>
                  <a:pt x="210" y="210"/>
                </a:lnTo>
                <a:lnTo>
                  <a:pt x="210" y="210"/>
                </a:lnTo>
                <a:lnTo>
                  <a:pt x="210" y="210"/>
                </a:lnTo>
                <a:lnTo>
                  <a:pt x="210" y="216"/>
                </a:lnTo>
                <a:lnTo>
                  <a:pt x="210" y="216"/>
                </a:lnTo>
                <a:lnTo>
                  <a:pt x="210" y="216"/>
                </a:lnTo>
                <a:lnTo>
                  <a:pt x="204" y="222"/>
                </a:lnTo>
                <a:lnTo>
                  <a:pt x="210" y="222"/>
                </a:lnTo>
                <a:lnTo>
                  <a:pt x="204" y="228"/>
                </a:lnTo>
                <a:lnTo>
                  <a:pt x="204" y="228"/>
                </a:lnTo>
                <a:lnTo>
                  <a:pt x="204" y="228"/>
                </a:lnTo>
                <a:lnTo>
                  <a:pt x="210" y="234"/>
                </a:lnTo>
                <a:lnTo>
                  <a:pt x="204" y="240"/>
                </a:lnTo>
                <a:lnTo>
                  <a:pt x="204" y="246"/>
                </a:lnTo>
                <a:lnTo>
                  <a:pt x="204" y="252"/>
                </a:lnTo>
                <a:lnTo>
                  <a:pt x="204" y="252"/>
                </a:lnTo>
                <a:lnTo>
                  <a:pt x="204" y="252"/>
                </a:lnTo>
                <a:lnTo>
                  <a:pt x="204" y="258"/>
                </a:lnTo>
                <a:lnTo>
                  <a:pt x="198" y="258"/>
                </a:lnTo>
                <a:lnTo>
                  <a:pt x="198" y="258"/>
                </a:lnTo>
                <a:lnTo>
                  <a:pt x="198" y="258"/>
                </a:lnTo>
                <a:lnTo>
                  <a:pt x="198" y="258"/>
                </a:lnTo>
                <a:lnTo>
                  <a:pt x="198" y="258"/>
                </a:lnTo>
                <a:lnTo>
                  <a:pt x="198" y="258"/>
                </a:lnTo>
                <a:lnTo>
                  <a:pt x="192" y="258"/>
                </a:lnTo>
                <a:lnTo>
                  <a:pt x="192" y="258"/>
                </a:lnTo>
                <a:lnTo>
                  <a:pt x="192" y="264"/>
                </a:lnTo>
                <a:lnTo>
                  <a:pt x="192" y="264"/>
                </a:lnTo>
                <a:lnTo>
                  <a:pt x="192" y="264"/>
                </a:lnTo>
                <a:lnTo>
                  <a:pt x="192" y="264"/>
                </a:lnTo>
                <a:lnTo>
                  <a:pt x="186" y="270"/>
                </a:lnTo>
                <a:lnTo>
                  <a:pt x="186" y="270"/>
                </a:lnTo>
                <a:lnTo>
                  <a:pt x="186" y="270"/>
                </a:lnTo>
                <a:lnTo>
                  <a:pt x="186" y="270"/>
                </a:lnTo>
                <a:lnTo>
                  <a:pt x="186" y="270"/>
                </a:lnTo>
                <a:lnTo>
                  <a:pt x="186" y="270"/>
                </a:lnTo>
                <a:lnTo>
                  <a:pt x="186" y="270"/>
                </a:lnTo>
                <a:lnTo>
                  <a:pt x="180" y="276"/>
                </a:lnTo>
                <a:lnTo>
                  <a:pt x="180" y="276"/>
                </a:lnTo>
                <a:lnTo>
                  <a:pt x="180" y="276"/>
                </a:lnTo>
                <a:lnTo>
                  <a:pt x="180" y="276"/>
                </a:lnTo>
                <a:lnTo>
                  <a:pt x="180" y="276"/>
                </a:lnTo>
                <a:lnTo>
                  <a:pt x="180" y="276"/>
                </a:lnTo>
                <a:lnTo>
                  <a:pt x="180" y="282"/>
                </a:lnTo>
                <a:lnTo>
                  <a:pt x="180" y="282"/>
                </a:lnTo>
                <a:lnTo>
                  <a:pt x="180" y="282"/>
                </a:lnTo>
                <a:lnTo>
                  <a:pt x="180" y="282"/>
                </a:lnTo>
                <a:lnTo>
                  <a:pt x="180" y="282"/>
                </a:lnTo>
                <a:lnTo>
                  <a:pt x="180" y="288"/>
                </a:lnTo>
                <a:lnTo>
                  <a:pt x="180" y="288"/>
                </a:lnTo>
                <a:lnTo>
                  <a:pt x="180" y="288"/>
                </a:lnTo>
                <a:lnTo>
                  <a:pt x="174" y="288"/>
                </a:lnTo>
                <a:lnTo>
                  <a:pt x="174" y="288"/>
                </a:lnTo>
                <a:lnTo>
                  <a:pt x="174" y="294"/>
                </a:lnTo>
                <a:lnTo>
                  <a:pt x="174" y="294"/>
                </a:lnTo>
                <a:lnTo>
                  <a:pt x="174" y="294"/>
                </a:lnTo>
                <a:lnTo>
                  <a:pt x="174" y="300"/>
                </a:lnTo>
                <a:lnTo>
                  <a:pt x="174" y="300"/>
                </a:lnTo>
                <a:lnTo>
                  <a:pt x="174" y="300"/>
                </a:lnTo>
                <a:lnTo>
                  <a:pt x="174" y="300"/>
                </a:lnTo>
                <a:lnTo>
                  <a:pt x="174" y="300"/>
                </a:lnTo>
                <a:lnTo>
                  <a:pt x="174" y="300"/>
                </a:lnTo>
                <a:lnTo>
                  <a:pt x="174" y="300"/>
                </a:lnTo>
                <a:lnTo>
                  <a:pt x="174" y="294"/>
                </a:lnTo>
                <a:lnTo>
                  <a:pt x="174" y="294"/>
                </a:lnTo>
                <a:lnTo>
                  <a:pt x="174" y="294"/>
                </a:lnTo>
                <a:lnTo>
                  <a:pt x="174" y="294"/>
                </a:lnTo>
                <a:lnTo>
                  <a:pt x="168" y="294"/>
                </a:lnTo>
                <a:lnTo>
                  <a:pt x="168" y="294"/>
                </a:lnTo>
                <a:lnTo>
                  <a:pt x="168" y="288"/>
                </a:lnTo>
                <a:lnTo>
                  <a:pt x="168" y="288"/>
                </a:lnTo>
                <a:lnTo>
                  <a:pt x="168" y="288"/>
                </a:lnTo>
                <a:lnTo>
                  <a:pt x="168" y="288"/>
                </a:lnTo>
                <a:lnTo>
                  <a:pt x="168" y="288"/>
                </a:lnTo>
                <a:lnTo>
                  <a:pt x="174" y="282"/>
                </a:lnTo>
                <a:lnTo>
                  <a:pt x="174" y="282"/>
                </a:lnTo>
                <a:lnTo>
                  <a:pt x="174" y="282"/>
                </a:lnTo>
                <a:lnTo>
                  <a:pt x="174" y="282"/>
                </a:lnTo>
                <a:lnTo>
                  <a:pt x="168" y="276"/>
                </a:lnTo>
                <a:lnTo>
                  <a:pt x="168" y="282"/>
                </a:lnTo>
                <a:lnTo>
                  <a:pt x="168" y="276"/>
                </a:lnTo>
                <a:lnTo>
                  <a:pt x="168" y="276"/>
                </a:lnTo>
                <a:lnTo>
                  <a:pt x="168" y="276"/>
                </a:lnTo>
                <a:lnTo>
                  <a:pt x="168" y="276"/>
                </a:lnTo>
                <a:lnTo>
                  <a:pt x="168" y="276"/>
                </a:lnTo>
                <a:lnTo>
                  <a:pt x="168" y="276"/>
                </a:lnTo>
                <a:lnTo>
                  <a:pt x="168" y="276"/>
                </a:lnTo>
                <a:lnTo>
                  <a:pt x="162" y="276"/>
                </a:lnTo>
                <a:lnTo>
                  <a:pt x="162" y="276"/>
                </a:lnTo>
                <a:lnTo>
                  <a:pt x="162" y="270"/>
                </a:lnTo>
                <a:lnTo>
                  <a:pt x="162" y="270"/>
                </a:lnTo>
                <a:lnTo>
                  <a:pt x="162" y="270"/>
                </a:lnTo>
                <a:lnTo>
                  <a:pt x="162" y="270"/>
                </a:lnTo>
                <a:lnTo>
                  <a:pt x="162" y="270"/>
                </a:lnTo>
                <a:lnTo>
                  <a:pt x="162" y="270"/>
                </a:lnTo>
                <a:lnTo>
                  <a:pt x="162" y="270"/>
                </a:lnTo>
                <a:lnTo>
                  <a:pt x="162" y="264"/>
                </a:lnTo>
                <a:lnTo>
                  <a:pt x="162" y="264"/>
                </a:lnTo>
                <a:lnTo>
                  <a:pt x="156" y="264"/>
                </a:lnTo>
                <a:lnTo>
                  <a:pt x="156" y="264"/>
                </a:lnTo>
                <a:lnTo>
                  <a:pt x="156" y="264"/>
                </a:lnTo>
                <a:lnTo>
                  <a:pt x="156" y="264"/>
                </a:lnTo>
                <a:lnTo>
                  <a:pt x="156" y="264"/>
                </a:lnTo>
                <a:lnTo>
                  <a:pt x="150" y="264"/>
                </a:lnTo>
                <a:lnTo>
                  <a:pt x="150" y="258"/>
                </a:lnTo>
                <a:lnTo>
                  <a:pt x="150" y="258"/>
                </a:lnTo>
                <a:lnTo>
                  <a:pt x="150" y="258"/>
                </a:lnTo>
                <a:lnTo>
                  <a:pt x="150" y="258"/>
                </a:lnTo>
                <a:lnTo>
                  <a:pt x="144" y="258"/>
                </a:lnTo>
                <a:lnTo>
                  <a:pt x="144" y="258"/>
                </a:lnTo>
                <a:lnTo>
                  <a:pt x="144" y="264"/>
                </a:lnTo>
                <a:lnTo>
                  <a:pt x="144" y="258"/>
                </a:lnTo>
                <a:lnTo>
                  <a:pt x="138" y="258"/>
                </a:lnTo>
                <a:lnTo>
                  <a:pt x="138" y="264"/>
                </a:lnTo>
                <a:lnTo>
                  <a:pt x="138" y="264"/>
                </a:lnTo>
                <a:lnTo>
                  <a:pt x="138" y="264"/>
                </a:lnTo>
                <a:lnTo>
                  <a:pt x="138" y="264"/>
                </a:lnTo>
                <a:lnTo>
                  <a:pt x="138" y="258"/>
                </a:lnTo>
                <a:lnTo>
                  <a:pt x="132" y="264"/>
                </a:lnTo>
                <a:lnTo>
                  <a:pt x="132" y="264"/>
                </a:lnTo>
                <a:lnTo>
                  <a:pt x="132" y="258"/>
                </a:lnTo>
                <a:lnTo>
                  <a:pt x="132" y="258"/>
                </a:lnTo>
                <a:lnTo>
                  <a:pt x="132" y="258"/>
                </a:lnTo>
                <a:lnTo>
                  <a:pt x="132" y="252"/>
                </a:lnTo>
                <a:lnTo>
                  <a:pt x="132" y="246"/>
                </a:lnTo>
                <a:lnTo>
                  <a:pt x="132" y="246"/>
                </a:lnTo>
                <a:lnTo>
                  <a:pt x="132" y="246"/>
                </a:lnTo>
                <a:lnTo>
                  <a:pt x="132" y="246"/>
                </a:lnTo>
                <a:lnTo>
                  <a:pt x="126" y="240"/>
                </a:lnTo>
                <a:lnTo>
                  <a:pt x="126" y="240"/>
                </a:lnTo>
                <a:lnTo>
                  <a:pt x="126" y="240"/>
                </a:lnTo>
                <a:lnTo>
                  <a:pt x="120" y="240"/>
                </a:lnTo>
                <a:lnTo>
                  <a:pt x="120" y="240"/>
                </a:lnTo>
                <a:lnTo>
                  <a:pt x="120" y="240"/>
                </a:lnTo>
                <a:lnTo>
                  <a:pt x="120" y="240"/>
                </a:lnTo>
                <a:lnTo>
                  <a:pt x="114" y="246"/>
                </a:lnTo>
                <a:lnTo>
                  <a:pt x="114" y="246"/>
                </a:lnTo>
                <a:lnTo>
                  <a:pt x="114" y="246"/>
                </a:lnTo>
                <a:lnTo>
                  <a:pt x="114" y="246"/>
                </a:lnTo>
                <a:lnTo>
                  <a:pt x="114" y="240"/>
                </a:lnTo>
                <a:lnTo>
                  <a:pt x="114" y="240"/>
                </a:lnTo>
                <a:lnTo>
                  <a:pt x="108" y="240"/>
                </a:lnTo>
                <a:lnTo>
                  <a:pt x="108" y="240"/>
                </a:lnTo>
                <a:lnTo>
                  <a:pt x="108" y="240"/>
                </a:lnTo>
                <a:lnTo>
                  <a:pt x="108" y="240"/>
                </a:lnTo>
                <a:lnTo>
                  <a:pt x="102" y="240"/>
                </a:lnTo>
                <a:lnTo>
                  <a:pt x="102" y="246"/>
                </a:lnTo>
                <a:lnTo>
                  <a:pt x="102" y="246"/>
                </a:lnTo>
                <a:lnTo>
                  <a:pt x="102" y="246"/>
                </a:lnTo>
                <a:lnTo>
                  <a:pt x="96" y="246"/>
                </a:lnTo>
                <a:lnTo>
                  <a:pt x="96" y="246"/>
                </a:lnTo>
                <a:lnTo>
                  <a:pt x="96" y="246"/>
                </a:lnTo>
                <a:lnTo>
                  <a:pt x="96" y="252"/>
                </a:lnTo>
                <a:lnTo>
                  <a:pt x="96" y="252"/>
                </a:lnTo>
                <a:lnTo>
                  <a:pt x="90" y="258"/>
                </a:lnTo>
                <a:lnTo>
                  <a:pt x="90" y="258"/>
                </a:lnTo>
                <a:lnTo>
                  <a:pt x="90" y="258"/>
                </a:lnTo>
                <a:lnTo>
                  <a:pt x="90" y="252"/>
                </a:lnTo>
                <a:lnTo>
                  <a:pt x="90" y="252"/>
                </a:lnTo>
                <a:lnTo>
                  <a:pt x="90" y="252"/>
                </a:lnTo>
                <a:lnTo>
                  <a:pt x="90" y="252"/>
                </a:lnTo>
                <a:lnTo>
                  <a:pt x="90" y="246"/>
                </a:lnTo>
                <a:lnTo>
                  <a:pt x="90" y="246"/>
                </a:lnTo>
                <a:lnTo>
                  <a:pt x="90" y="246"/>
                </a:lnTo>
                <a:lnTo>
                  <a:pt x="90" y="240"/>
                </a:lnTo>
                <a:lnTo>
                  <a:pt x="90" y="240"/>
                </a:lnTo>
                <a:lnTo>
                  <a:pt x="90" y="240"/>
                </a:lnTo>
                <a:lnTo>
                  <a:pt x="90" y="240"/>
                </a:lnTo>
                <a:lnTo>
                  <a:pt x="90" y="234"/>
                </a:lnTo>
                <a:lnTo>
                  <a:pt x="90" y="234"/>
                </a:lnTo>
                <a:lnTo>
                  <a:pt x="90" y="234"/>
                </a:lnTo>
                <a:lnTo>
                  <a:pt x="90" y="234"/>
                </a:lnTo>
                <a:lnTo>
                  <a:pt x="90" y="234"/>
                </a:lnTo>
                <a:lnTo>
                  <a:pt x="84" y="234"/>
                </a:lnTo>
                <a:lnTo>
                  <a:pt x="84" y="234"/>
                </a:lnTo>
                <a:lnTo>
                  <a:pt x="84" y="234"/>
                </a:lnTo>
                <a:lnTo>
                  <a:pt x="84" y="234"/>
                </a:lnTo>
                <a:lnTo>
                  <a:pt x="84" y="234"/>
                </a:lnTo>
                <a:lnTo>
                  <a:pt x="78" y="234"/>
                </a:lnTo>
                <a:lnTo>
                  <a:pt x="78" y="228"/>
                </a:lnTo>
                <a:lnTo>
                  <a:pt x="78" y="228"/>
                </a:lnTo>
                <a:lnTo>
                  <a:pt x="78" y="228"/>
                </a:lnTo>
                <a:lnTo>
                  <a:pt x="78" y="228"/>
                </a:lnTo>
                <a:lnTo>
                  <a:pt x="78" y="228"/>
                </a:lnTo>
                <a:lnTo>
                  <a:pt x="78" y="228"/>
                </a:lnTo>
                <a:lnTo>
                  <a:pt x="72" y="228"/>
                </a:lnTo>
                <a:lnTo>
                  <a:pt x="72" y="228"/>
                </a:lnTo>
                <a:lnTo>
                  <a:pt x="72" y="228"/>
                </a:lnTo>
                <a:lnTo>
                  <a:pt x="72" y="228"/>
                </a:lnTo>
                <a:lnTo>
                  <a:pt x="66" y="228"/>
                </a:lnTo>
                <a:lnTo>
                  <a:pt x="66" y="228"/>
                </a:lnTo>
                <a:lnTo>
                  <a:pt x="66" y="234"/>
                </a:lnTo>
                <a:lnTo>
                  <a:pt x="66" y="234"/>
                </a:lnTo>
                <a:lnTo>
                  <a:pt x="60" y="240"/>
                </a:lnTo>
                <a:lnTo>
                  <a:pt x="60" y="234"/>
                </a:lnTo>
                <a:lnTo>
                  <a:pt x="60" y="234"/>
                </a:lnTo>
                <a:lnTo>
                  <a:pt x="60" y="234"/>
                </a:lnTo>
                <a:lnTo>
                  <a:pt x="60" y="234"/>
                </a:lnTo>
                <a:lnTo>
                  <a:pt x="60" y="234"/>
                </a:lnTo>
                <a:lnTo>
                  <a:pt x="54" y="234"/>
                </a:lnTo>
                <a:lnTo>
                  <a:pt x="54" y="228"/>
                </a:lnTo>
                <a:lnTo>
                  <a:pt x="54" y="228"/>
                </a:lnTo>
                <a:lnTo>
                  <a:pt x="54" y="228"/>
                </a:lnTo>
                <a:lnTo>
                  <a:pt x="54" y="228"/>
                </a:lnTo>
                <a:lnTo>
                  <a:pt x="48" y="228"/>
                </a:lnTo>
                <a:lnTo>
                  <a:pt x="48" y="228"/>
                </a:lnTo>
                <a:lnTo>
                  <a:pt x="48" y="228"/>
                </a:lnTo>
                <a:lnTo>
                  <a:pt x="48" y="228"/>
                </a:lnTo>
                <a:lnTo>
                  <a:pt x="48" y="228"/>
                </a:lnTo>
                <a:lnTo>
                  <a:pt x="42" y="228"/>
                </a:lnTo>
                <a:lnTo>
                  <a:pt x="42" y="228"/>
                </a:lnTo>
                <a:lnTo>
                  <a:pt x="42" y="222"/>
                </a:lnTo>
                <a:lnTo>
                  <a:pt x="42" y="222"/>
                </a:lnTo>
                <a:lnTo>
                  <a:pt x="42" y="222"/>
                </a:lnTo>
                <a:lnTo>
                  <a:pt x="42" y="222"/>
                </a:lnTo>
                <a:lnTo>
                  <a:pt x="42" y="222"/>
                </a:lnTo>
                <a:lnTo>
                  <a:pt x="42" y="222"/>
                </a:lnTo>
                <a:lnTo>
                  <a:pt x="42" y="222"/>
                </a:lnTo>
                <a:lnTo>
                  <a:pt x="42" y="216"/>
                </a:lnTo>
                <a:lnTo>
                  <a:pt x="42" y="216"/>
                </a:lnTo>
                <a:lnTo>
                  <a:pt x="42" y="216"/>
                </a:lnTo>
                <a:lnTo>
                  <a:pt x="42" y="216"/>
                </a:lnTo>
                <a:lnTo>
                  <a:pt x="42" y="216"/>
                </a:lnTo>
                <a:lnTo>
                  <a:pt x="42" y="210"/>
                </a:lnTo>
                <a:lnTo>
                  <a:pt x="42" y="210"/>
                </a:lnTo>
                <a:lnTo>
                  <a:pt x="42" y="210"/>
                </a:lnTo>
                <a:lnTo>
                  <a:pt x="36" y="210"/>
                </a:lnTo>
                <a:lnTo>
                  <a:pt x="36" y="204"/>
                </a:lnTo>
                <a:lnTo>
                  <a:pt x="36" y="204"/>
                </a:lnTo>
                <a:lnTo>
                  <a:pt x="36" y="204"/>
                </a:lnTo>
                <a:lnTo>
                  <a:pt x="36" y="198"/>
                </a:lnTo>
                <a:lnTo>
                  <a:pt x="36" y="198"/>
                </a:lnTo>
                <a:lnTo>
                  <a:pt x="36" y="198"/>
                </a:lnTo>
                <a:lnTo>
                  <a:pt x="30" y="198"/>
                </a:lnTo>
                <a:lnTo>
                  <a:pt x="30" y="198"/>
                </a:lnTo>
                <a:lnTo>
                  <a:pt x="30" y="198"/>
                </a:lnTo>
                <a:lnTo>
                  <a:pt x="30" y="198"/>
                </a:lnTo>
                <a:lnTo>
                  <a:pt x="24" y="198"/>
                </a:lnTo>
                <a:lnTo>
                  <a:pt x="24" y="192"/>
                </a:lnTo>
                <a:lnTo>
                  <a:pt x="18" y="192"/>
                </a:lnTo>
                <a:lnTo>
                  <a:pt x="18" y="198"/>
                </a:lnTo>
                <a:lnTo>
                  <a:pt x="12" y="192"/>
                </a:lnTo>
                <a:lnTo>
                  <a:pt x="12" y="192"/>
                </a:lnTo>
                <a:lnTo>
                  <a:pt x="12" y="198"/>
                </a:lnTo>
                <a:lnTo>
                  <a:pt x="12" y="198"/>
                </a:lnTo>
                <a:lnTo>
                  <a:pt x="12" y="198"/>
                </a:lnTo>
                <a:lnTo>
                  <a:pt x="12" y="198"/>
                </a:lnTo>
                <a:lnTo>
                  <a:pt x="6" y="198"/>
                </a:lnTo>
                <a:lnTo>
                  <a:pt x="6" y="192"/>
                </a:lnTo>
                <a:lnTo>
                  <a:pt x="6" y="192"/>
                </a:lnTo>
                <a:lnTo>
                  <a:pt x="6" y="192"/>
                </a:lnTo>
                <a:lnTo>
                  <a:pt x="6" y="192"/>
                </a:lnTo>
                <a:lnTo>
                  <a:pt x="6" y="192"/>
                </a:lnTo>
                <a:lnTo>
                  <a:pt x="0" y="192"/>
                </a:lnTo>
                <a:lnTo>
                  <a:pt x="0" y="192"/>
                </a:lnTo>
                <a:lnTo>
                  <a:pt x="0" y="19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276" name="Freeform 9"/>
          <p:cNvSpPr>
            <a:spLocks/>
          </p:cNvSpPr>
          <p:nvPr/>
        </p:nvSpPr>
        <p:spPr bwMode="auto">
          <a:xfrm>
            <a:off x="4558468" y="2554677"/>
            <a:ext cx="443259" cy="353325"/>
          </a:xfrm>
          <a:custGeom>
            <a:avLst/>
            <a:gdLst>
              <a:gd name="T0" fmla="*/ 18 w 414"/>
              <a:gd name="T1" fmla="*/ 12 h 330"/>
              <a:gd name="T2" fmla="*/ 30 w 414"/>
              <a:gd name="T3" fmla="*/ 18 h 330"/>
              <a:gd name="T4" fmla="*/ 60 w 414"/>
              <a:gd name="T5" fmla="*/ 12 h 330"/>
              <a:gd name="T6" fmla="*/ 90 w 414"/>
              <a:gd name="T7" fmla="*/ 6 h 330"/>
              <a:gd name="T8" fmla="*/ 114 w 414"/>
              <a:gd name="T9" fmla="*/ 48 h 330"/>
              <a:gd name="T10" fmla="*/ 126 w 414"/>
              <a:gd name="T11" fmla="*/ 54 h 330"/>
              <a:gd name="T12" fmla="*/ 138 w 414"/>
              <a:gd name="T13" fmla="*/ 48 h 330"/>
              <a:gd name="T14" fmla="*/ 156 w 414"/>
              <a:gd name="T15" fmla="*/ 42 h 330"/>
              <a:gd name="T16" fmla="*/ 174 w 414"/>
              <a:gd name="T17" fmla="*/ 60 h 330"/>
              <a:gd name="T18" fmla="*/ 192 w 414"/>
              <a:gd name="T19" fmla="*/ 54 h 330"/>
              <a:gd name="T20" fmla="*/ 246 w 414"/>
              <a:gd name="T21" fmla="*/ 54 h 330"/>
              <a:gd name="T22" fmla="*/ 240 w 414"/>
              <a:gd name="T23" fmla="*/ 72 h 330"/>
              <a:gd name="T24" fmla="*/ 240 w 414"/>
              <a:gd name="T25" fmla="*/ 90 h 330"/>
              <a:gd name="T26" fmla="*/ 240 w 414"/>
              <a:gd name="T27" fmla="*/ 108 h 330"/>
              <a:gd name="T28" fmla="*/ 246 w 414"/>
              <a:gd name="T29" fmla="*/ 126 h 330"/>
              <a:gd name="T30" fmla="*/ 240 w 414"/>
              <a:gd name="T31" fmla="*/ 132 h 330"/>
              <a:gd name="T32" fmla="*/ 240 w 414"/>
              <a:gd name="T33" fmla="*/ 144 h 330"/>
              <a:gd name="T34" fmla="*/ 246 w 414"/>
              <a:gd name="T35" fmla="*/ 156 h 330"/>
              <a:gd name="T36" fmla="*/ 264 w 414"/>
              <a:gd name="T37" fmla="*/ 150 h 330"/>
              <a:gd name="T38" fmla="*/ 288 w 414"/>
              <a:gd name="T39" fmla="*/ 138 h 330"/>
              <a:gd name="T40" fmla="*/ 294 w 414"/>
              <a:gd name="T41" fmla="*/ 150 h 330"/>
              <a:gd name="T42" fmla="*/ 282 w 414"/>
              <a:gd name="T43" fmla="*/ 174 h 330"/>
              <a:gd name="T44" fmla="*/ 282 w 414"/>
              <a:gd name="T45" fmla="*/ 204 h 330"/>
              <a:gd name="T46" fmla="*/ 282 w 414"/>
              <a:gd name="T47" fmla="*/ 222 h 330"/>
              <a:gd name="T48" fmla="*/ 276 w 414"/>
              <a:gd name="T49" fmla="*/ 246 h 330"/>
              <a:gd name="T50" fmla="*/ 282 w 414"/>
              <a:gd name="T51" fmla="*/ 246 h 330"/>
              <a:gd name="T52" fmla="*/ 294 w 414"/>
              <a:gd name="T53" fmla="*/ 234 h 330"/>
              <a:gd name="T54" fmla="*/ 300 w 414"/>
              <a:gd name="T55" fmla="*/ 234 h 330"/>
              <a:gd name="T56" fmla="*/ 342 w 414"/>
              <a:gd name="T57" fmla="*/ 234 h 330"/>
              <a:gd name="T58" fmla="*/ 372 w 414"/>
              <a:gd name="T59" fmla="*/ 240 h 330"/>
              <a:gd name="T60" fmla="*/ 390 w 414"/>
              <a:gd name="T61" fmla="*/ 246 h 330"/>
              <a:gd name="T62" fmla="*/ 408 w 414"/>
              <a:gd name="T63" fmla="*/ 246 h 330"/>
              <a:gd name="T64" fmla="*/ 414 w 414"/>
              <a:gd name="T65" fmla="*/ 270 h 330"/>
              <a:gd name="T66" fmla="*/ 396 w 414"/>
              <a:gd name="T67" fmla="*/ 294 h 330"/>
              <a:gd name="T68" fmla="*/ 372 w 414"/>
              <a:gd name="T69" fmla="*/ 312 h 330"/>
              <a:gd name="T70" fmla="*/ 354 w 414"/>
              <a:gd name="T71" fmla="*/ 324 h 330"/>
              <a:gd name="T72" fmla="*/ 348 w 414"/>
              <a:gd name="T73" fmla="*/ 318 h 330"/>
              <a:gd name="T74" fmla="*/ 336 w 414"/>
              <a:gd name="T75" fmla="*/ 318 h 330"/>
              <a:gd name="T76" fmla="*/ 318 w 414"/>
              <a:gd name="T77" fmla="*/ 318 h 330"/>
              <a:gd name="T78" fmla="*/ 306 w 414"/>
              <a:gd name="T79" fmla="*/ 294 h 330"/>
              <a:gd name="T80" fmla="*/ 294 w 414"/>
              <a:gd name="T81" fmla="*/ 288 h 330"/>
              <a:gd name="T82" fmla="*/ 288 w 414"/>
              <a:gd name="T83" fmla="*/ 294 h 330"/>
              <a:gd name="T84" fmla="*/ 258 w 414"/>
              <a:gd name="T85" fmla="*/ 282 h 330"/>
              <a:gd name="T86" fmla="*/ 222 w 414"/>
              <a:gd name="T87" fmla="*/ 264 h 330"/>
              <a:gd name="T88" fmla="*/ 198 w 414"/>
              <a:gd name="T89" fmla="*/ 270 h 330"/>
              <a:gd name="T90" fmla="*/ 180 w 414"/>
              <a:gd name="T91" fmla="*/ 270 h 330"/>
              <a:gd name="T92" fmla="*/ 168 w 414"/>
              <a:gd name="T93" fmla="*/ 270 h 330"/>
              <a:gd name="T94" fmla="*/ 150 w 414"/>
              <a:gd name="T95" fmla="*/ 270 h 330"/>
              <a:gd name="T96" fmla="*/ 120 w 414"/>
              <a:gd name="T97" fmla="*/ 252 h 330"/>
              <a:gd name="T98" fmla="*/ 96 w 414"/>
              <a:gd name="T99" fmla="*/ 228 h 330"/>
              <a:gd name="T100" fmla="*/ 90 w 414"/>
              <a:gd name="T101" fmla="*/ 222 h 330"/>
              <a:gd name="T102" fmla="*/ 78 w 414"/>
              <a:gd name="T103" fmla="*/ 210 h 330"/>
              <a:gd name="T104" fmla="*/ 54 w 414"/>
              <a:gd name="T105" fmla="*/ 204 h 330"/>
              <a:gd name="T106" fmla="*/ 48 w 414"/>
              <a:gd name="T107" fmla="*/ 174 h 330"/>
              <a:gd name="T108" fmla="*/ 30 w 414"/>
              <a:gd name="T109" fmla="*/ 162 h 330"/>
              <a:gd name="T110" fmla="*/ 18 w 414"/>
              <a:gd name="T111" fmla="*/ 138 h 330"/>
              <a:gd name="T112" fmla="*/ 18 w 414"/>
              <a:gd name="T113" fmla="*/ 102 h 330"/>
              <a:gd name="T114" fmla="*/ 24 w 414"/>
              <a:gd name="T115" fmla="*/ 72 h 330"/>
              <a:gd name="T116" fmla="*/ 12 w 414"/>
              <a:gd name="T117" fmla="*/ 42 h 330"/>
              <a:gd name="T118" fmla="*/ 6 w 414"/>
              <a:gd name="T119" fmla="*/ 24 h 3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14" h="330">
                <a:moveTo>
                  <a:pt x="6" y="0"/>
                </a:moveTo>
                <a:lnTo>
                  <a:pt x="12" y="0"/>
                </a:lnTo>
                <a:lnTo>
                  <a:pt x="12" y="0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8" y="6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6" y="18"/>
                </a:lnTo>
                <a:lnTo>
                  <a:pt x="42" y="18"/>
                </a:lnTo>
                <a:lnTo>
                  <a:pt x="42" y="12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6" y="12"/>
                </a:lnTo>
                <a:lnTo>
                  <a:pt x="66" y="12"/>
                </a:lnTo>
                <a:lnTo>
                  <a:pt x="66" y="18"/>
                </a:lnTo>
                <a:lnTo>
                  <a:pt x="72" y="18"/>
                </a:lnTo>
                <a:lnTo>
                  <a:pt x="72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84" y="12"/>
                </a:lnTo>
                <a:lnTo>
                  <a:pt x="84" y="12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90" y="6"/>
                </a:lnTo>
                <a:lnTo>
                  <a:pt x="90" y="6"/>
                </a:lnTo>
                <a:lnTo>
                  <a:pt x="96" y="12"/>
                </a:lnTo>
                <a:lnTo>
                  <a:pt x="96" y="30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54"/>
                </a:lnTo>
                <a:lnTo>
                  <a:pt x="114" y="48"/>
                </a:lnTo>
                <a:lnTo>
                  <a:pt x="114" y="54"/>
                </a:lnTo>
                <a:lnTo>
                  <a:pt x="114" y="48"/>
                </a:lnTo>
                <a:lnTo>
                  <a:pt x="114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32" y="54"/>
                </a:lnTo>
                <a:lnTo>
                  <a:pt x="132" y="54"/>
                </a:lnTo>
                <a:lnTo>
                  <a:pt x="132" y="54"/>
                </a:lnTo>
                <a:lnTo>
                  <a:pt x="132" y="54"/>
                </a:lnTo>
                <a:lnTo>
                  <a:pt x="132" y="54"/>
                </a:lnTo>
                <a:lnTo>
                  <a:pt x="132" y="54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8" y="48"/>
                </a:lnTo>
                <a:lnTo>
                  <a:pt x="138" y="48"/>
                </a:lnTo>
                <a:lnTo>
                  <a:pt x="138" y="48"/>
                </a:lnTo>
                <a:lnTo>
                  <a:pt x="138" y="48"/>
                </a:lnTo>
                <a:lnTo>
                  <a:pt x="138" y="48"/>
                </a:lnTo>
                <a:lnTo>
                  <a:pt x="138" y="48"/>
                </a:lnTo>
                <a:lnTo>
                  <a:pt x="138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48"/>
                </a:lnTo>
                <a:lnTo>
                  <a:pt x="162" y="42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54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68" y="60"/>
                </a:lnTo>
                <a:lnTo>
                  <a:pt x="174" y="60"/>
                </a:lnTo>
                <a:lnTo>
                  <a:pt x="174" y="60"/>
                </a:lnTo>
                <a:lnTo>
                  <a:pt x="174" y="60"/>
                </a:lnTo>
                <a:lnTo>
                  <a:pt x="174" y="60"/>
                </a:lnTo>
                <a:lnTo>
                  <a:pt x="174" y="60"/>
                </a:lnTo>
                <a:lnTo>
                  <a:pt x="180" y="60"/>
                </a:lnTo>
                <a:lnTo>
                  <a:pt x="180" y="60"/>
                </a:lnTo>
                <a:lnTo>
                  <a:pt x="180" y="60"/>
                </a:lnTo>
                <a:lnTo>
                  <a:pt x="180" y="60"/>
                </a:lnTo>
                <a:lnTo>
                  <a:pt x="186" y="60"/>
                </a:lnTo>
                <a:lnTo>
                  <a:pt x="186" y="60"/>
                </a:lnTo>
                <a:lnTo>
                  <a:pt x="186" y="54"/>
                </a:lnTo>
                <a:lnTo>
                  <a:pt x="186" y="54"/>
                </a:lnTo>
                <a:lnTo>
                  <a:pt x="186" y="54"/>
                </a:lnTo>
                <a:lnTo>
                  <a:pt x="192" y="54"/>
                </a:lnTo>
                <a:lnTo>
                  <a:pt x="192" y="54"/>
                </a:lnTo>
                <a:lnTo>
                  <a:pt x="192" y="54"/>
                </a:lnTo>
                <a:lnTo>
                  <a:pt x="192" y="54"/>
                </a:lnTo>
                <a:lnTo>
                  <a:pt x="192" y="60"/>
                </a:lnTo>
                <a:lnTo>
                  <a:pt x="192" y="60"/>
                </a:lnTo>
                <a:lnTo>
                  <a:pt x="192" y="60"/>
                </a:lnTo>
                <a:lnTo>
                  <a:pt x="198" y="60"/>
                </a:lnTo>
                <a:lnTo>
                  <a:pt x="198" y="60"/>
                </a:lnTo>
                <a:lnTo>
                  <a:pt x="198" y="60"/>
                </a:lnTo>
                <a:lnTo>
                  <a:pt x="228" y="54"/>
                </a:lnTo>
                <a:lnTo>
                  <a:pt x="228" y="54"/>
                </a:lnTo>
                <a:lnTo>
                  <a:pt x="234" y="54"/>
                </a:lnTo>
                <a:lnTo>
                  <a:pt x="240" y="54"/>
                </a:lnTo>
                <a:lnTo>
                  <a:pt x="240" y="54"/>
                </a:lnTo>
                <a:lnTo>
                  <a:pt x="240" y="54"/>
                </a:lnTo>
                <a:lnTo>
                  <a:pt x="246" y="54"/>
                </a:lnTo>
                <a:lnTo>
                  <a:pt x="246" y="54"/>
                </a:lnTo>
                <a:lnTo>
                  <a:pt x="246" y="60"/>
                </a:lnTo>
                <a:lnTo>
                  <a:pt x="240" y="60"/>
                </a:lnTo>
                <a:lnTo>
                  <a:pt x="240" y="60"/>
                </a:lnTo>
                <a:lnTo>
                  <a:pt x="240" y="66"/>
                </a:lnTo>
                <a:lnTo>
                  <a:pt x="240" y="66"/>
                </a:lnTo>
                <a:lnTo>
                  <a:pt x="240" y="66"/>
                </a:lnTo>
                <a:lnTo>
                  <a:pt x="240" y="66"/>
                </a:lnTo>
                <a:lnTo>
                  <a:pt x="240" y="66"/>
                </a:lnTo>
                <a:lnTo>
                  <a:pt x="240" y="72"/>
                </a:lnTo>
                <a:lnTo>
                  <a:pt x="240" y="72"/>
                </a:lnTo>
                <a:lnTo>
                  <a:pt x="240" y="72"/>
                </a:lnTo>
                <a:lnTo>
                  <a:pt x="240" y="72"/>
                </a:lnTo>
                <a:lnTo>
                  <a:pt x="240" y="72"/>
                </a:lnTo>
                <a:lnTo>
                  <a:pt x="240" y="72"/>
                </a:lnTo>
                <a:lnTo>
                  <a:pt x="246" y="78"/>
                </a:lnTo>
                <a:lnTo>
                  <a:pt x="240" y="78"/>
                </a:lnTo>
                <a:lnTo>
                  <a:pt x="240" y="78"/>
                </a:lnTo>
                <a:lnTo>
                  <a:pt x="234" y="78"/>
                </a:lnTo>
                <a:lnTo>
                  <a:pt x="234" y="78"/>
                </a:lnTo>
                <a:lnTo>
                  <a:pt x="234" y="78"/>
                </a:lnTo>
                <a:lnTo>
                  <a:pt x="240" y="78"/>
                </a:lnTo>
                <a:lnTo>
                  <a:pt x="240" y="78"/>
                </a:lnTo>
                <a:lnTo>
                  <a:pt x="240" y="78"/>
                </a:lnTo>
                <a:lnTo>
                  <a:pt x="240" y="84"/>
                </a:lnTo>
                <a:lnTo>
                  <a:pt x="240" y="84"/>
                </a:lnTo>
                <a:lnTo>
                  <a:pt x="240" y="84"/>
                </a:lnTo>
                <a:lnTo>
                  <a:pt x="240" y="84"/>
                </a:lnTo>
                <a:lnTo>
                  <a:pt x="240" y="84"/>
                </a:lnTo>
                <a:lnTo>
                  <a:pt x="240" y="90"/>
                </a:lnTo>
                <a:lnTo>
                  <a:pt x="240" y="96"/>
                </a:lnTo>
                <a:lnTo>
                  <a:pt x="240" y="96"/>
                </a:lnTo>
                <a:lnTo>
                  <a:pt x="240" y="96"/>
                </a:lnTo>
                <a:lnTo>
                  <a:pt x="240" y="102"/>
                </a:lnTo>
                <a:lnTo>
                  <a:pt x="240" y="102"/>
                </a:lnTo>
                <a:lnTo>
                  <a:pt x="240" y="102"/>
                </a:lnTo>
                <a:lnTo>
                  <a:pt x="246" y="108"/>
                </a:lnTo>
                <a:lnTo>
                  <a:pt x="240" y="108"/>
                </a:lnTo>
                <a:lnTo>
                  <a:pt x="240" y="108"/>
                </a:lnTo>
                <a:lnTo>
                  <a:pt x="240" y="108"/>
                </a:lnTo>
                <a:lnTo>
                  <a:pt x="240" y="108"/>
                </a:lnTo>
                <a:lnTo>
                  <a:pt x="240" y="108"/>
                </a:lnTo>
                <a:lnTo>
                  <a:pt x="240" y="108"/>
                </a:lnTo>
                <a:lnTo>
                  <a:pt x="240" y="108"/>
                </a:lnTo>
                <a:lnTo>
                  <a:pt x="240" y="108"/>
                </a:lnTo>
                <a:lnTo>
                  <a:pt x="240" y="114"/>
                </a:lnTo>
                <a:lnTo>
                  <a:pt x="240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20"/>
                </a:lnTo>
                <a:lnTo>
                  <a:pt x="246" y="120"/>
                </a:lnTo>
                <a:lnTo>
                  <a:pt x="252" y="120"/>
                </a:lnTo>
                <a:lnTo>
                  <a:pt x="252" y="120"/>
                </a:lnTo>
                <a:lnTo>
                  <a:pt x="252" y="126"/>
                </a:lnTo>
                <a:lnTo>
                  <a:pt x="252" y="126"/>
                </a:lnTo>
                <a:lnTo>
                  <a:pt x="246" y="126"/>
                </a:lnTo>
                <a:lnTo>
                  <a:pt x="246" y="126"/>
                </a:lnTo>
                <a:lnTo>
                  <a:pt x="246" y="126"/>
                </a:lnTo>
                <a:lnTo>
                  <a:pt x="246" y="126"/>
                </a:lnTo>
                <a:lnTo>
                  <a:pt x="246" y="126"/>
                </a:lnTo>
                <a:lnTo>
                  <a:pt x="246" y="126"/>
                </a:lnTo>
                <a:lnTo>
                  <a:pt x="246" y="126"/>
                </a:lnTo>
                <a:lnTo>
                  <a:pt x="246" y="132"/>
                </a:lnTo>
                <a:lnTo>
                  <a:pt x="246" y="132"/>
                </a:lnTo>
                <a:lnTo>
                  <a:pt x="246" y="132"/>
                </a:lnTo>
                <a:lnTo>
                  <a:pt x="246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8"/>
                </a:lnTo>
                <a:lnTo>
                  <a:pt x="240" y="138"/>
                </a:lnTo>
                <a:lnTo>
                  <a:pt x="240" y="138"/>
                </a:lnTo>
                <a:lnTo>
                  <a:pt x="240" y="138"/>
                </a:lnTo>
                <a:lnTo>
                  <a:pt x="240" y="138"/>
                </a:lnTo>
                <a:lnTo>
                  <a:pt x="240" y="138"/>
                </a:lnTo>
                <a:lnTo>
                  <a:pt x="240" y="138"/>
                </a:lnTo>
                <a:lnTo>
                  <a:pt x="240" y="144"/>
                </a:lnTo>
                <a:lnTo>
                  <a:pt x="240" y="144"/>
                </a:lnTo>
                <a:lnTo>
                  <a:pt x="240" y="144"/>
                </a:lnTo>
                <a:lnTo>
                  <a:pt x="240" y="144"/>
                </a:lnTo>
                <a:lnTo>
                  <a:pt x="240" y="144"/>
                </a:lnTo>
                <a:lnTo>
                  <a:pt x="240" y="144"/>
                </a:lnTo>
                <a:lnTo>
                  <a:pt x="240" y="144"/>
                </a:lnTo>
                <a:lnTo>
                  <a:pt x="240" y="144"/>
                </a:lnTo>
                <a:lnTo>
                  <a:pt x="240" y="144"/>
                </a:lnTo>
                <a:lnTo>
                  <a:pt x="240" y="150"/>
                </a:lnTo>
                <a:lnTo>
                  <a:pt x="240" y="150"/>
                </a:lnTo>
                <a:lnTo>
                  <a:pt x="240" y="150"/>
                </a:lnTo>
                <a:lnTo>
                  <a:pt x="240" y="150"/>
                </a:lnTo>
                <a:lnTo>
                  <a:pt x="240" y="150"/>
                </a:lnTo>
                <a:lnTo>
                  <a:pt x="240" y="150"/>
                </a:lnTo>
                <a:lnTo>
                  <a:pt x="240" y="156"/>
                </a:lnTo>
                <a:lnTo>
                  <a:pt x="240" y="156"/>
                </a:lnTo>
                <a:lnTo>
                  <a:pt x="240" y="156"/>
                </a:lnTo>
                <a:lnTo>
                  <a:pt x="240" y="156"/>
                </a:lnTo>
                <a:lnTo>
                  <a:pt x="246" y="156"/>
                </a:lnTo>
                <a:lnTo>
                  <a:pt x="246" y="156"/>
                </a:lnTo>
                <a:lnTo>
                  <a:pt x="246" y="156"/>
                </a:lnTo>
                <a:lnTo>
                  <a:pt x="246" y="156"/>
                </a:lnTo>
                <a:lnTo>
                  <a:pt x="246" y="156"/>
                </a:lnTo>
                <a:lnTo>
                  <a:pt x="246" y="156"/>
                </a:lnTo>
                <a:lnTo>
                  <a:pt x="246" y="156"/>
                </a:lnTo>
                <a:lnTo>
                  <a:pt x="246" y="150"/>
                </a:lnTo>
                <a:lnTo>
                  <a:pt x="252" y="150"/>
                </a:lnTo>
                <a:lnTo>
                  <a:pt x="252" y="150"/>
                </a:lnTo>
                <a:lnTo>
                  <a:pt x="252" y="150"/>
                </a:lnTo>
                <a:lnTo>
                  <a:pt x="252" y="150"/>
                </a:lnTo>
                <a:lnTo>
                  <a:pt x="252" y="144"/>
                </a:lnTo>
                <a:lnTo>
                  <a:pt x="252" y="144"/>
                </a:lnTo>
                <a:lnTo>
                  <a:pt x="258" y="144"/>
                </a:lnTo>
                <a:lnTo>
                  <a:pt x="258" y="150"/>
                </a:lnTo>
                <a:lnTo>
                  <a:pt x="264" y="150"/>
                </a:lnTo>
                <a:lnTo>
                  <a:pt x="264" y="150"/>
                </a:lnTo>
                <a:lnTo>
                  <a:pt x="264" y="150"/>
                </a:lnTo>
                <a:lnTo>
                  <a:pt x="264" y="150"/>
                </a:lnTo>
                <a:lnTo>
                  <a:pt x="264" y="150"/>
                </a:lnTo>
                <a:lnTo>
                  <a:pt x="264" y="144"/>
                </a:lnTo>
                <a:lnTo>
                  <a:pt x="264" y="144"/>
                </a:lnTo>
                <a:lnTo>
                  <a:pt x="270" y="144"/>
                </a:lnTo>
                <a:lnTo>
                  <a:pt x="270" y="144"/>
                </a:lnTo>
                <a:lnTo>
                  <a:pt x="270" y="144"/>
                </a:lnTo>
                <a:lnTo>
                  <a:pt x="276" y="144"/>
                </a:lnTo>
                <a:lnTo>
                  <a:pt x="276" y="144"/>
                </a:lnTo>
                <a:lnTo>
                  <a:pt x="282" y="144"/>
                </a:lnTo>
                <a:lnTo>
                  <a:pt x="282" y="144"/>
                </a:lnTo>
                <a:lnTo>
                  <a:pt x="282" y="138"/>
                </a:lnTo>
                <a:lnTo>
                  <a:pt x="288" y="138"/>
                </a:lnTo>
                <a:lnTo>
                  <a:pt x="288" y="138"/>
                </a:lnTo>
                <a:lnTo>
                  <a:pt x="288" y="138"/>
                </a:lnTo>
                <a:lnTo>
                  <a:pt x="294" y="138"/>
                </a:lnTo>
                <a:lnTo>
                  <a:pt x="294" y="138"/>
                </a:lnTo>
                <a:lnTo>
                  <a:pt x="294" y="138"/>
                </a:lnTo>
                <a:lnTo>
                  <a:pt x="294" y="138"/>
                </a:lnTo>
                <a:lnTo>
                  <a:pt x="294" y="138"/>
                </a:lnTo>
                <a:lnTo>
                  <a:pt x="294" y="138"/>
                </a:lnTo>
                <a:lnTo>
                  <a:pt x="294" y="138"/>
                </a:lnTo>
                <a:lnTo>
                  <a:pt x="294" y="144"/>
                </a:lnTo>
                <a:lnTo>
                  <a:pt x="294" y="144"/>
                </a:lnTo>
                <a:lnTo>
                  <a:pt x="294" y="144"/>
                </a:lnTo>
                <a:lnTo>
                  <a:pt x="294" y="144"/>
                </a:lnTo>
                <a:lnTo>
                  <a:pt x="294" y="144"/>
                </a:lnTo>
                <a:lnTo>
                  <a:pt x="294" y="150"/>
                </a:lnTo>
                <a:lnTo>
                  <a:pt x="294" y="150"/>
                </a:lnTo>
                <a:lnTo>
                  <a:pt x="294" y="156"/>
                </a:lnTo>
                <a:lnTo>
                  <a:pt x="294" y="156"/>
                </a:lnTo>
                <a:lnTo>
                  <a:pt x="294" y="156"/>
                </a:lnTo>
                <a:lnTo>
                  <a:pt x="294" y="162"/>
                </a:lnTo>
                <a:lnTo>
                  <a:pt x="294" y="162"/>
                </a:lnTo>
                <a:lnTo>
                  <a:pt x="294" y="162"/>
                </a:lnTo>
                <a:lnTo>
                  <a:pt x="288" y="168"/>
                </a:lnTo>
                <a:lnTo>
                  <a:pt x="288" y="168"/>
                </a:lnTo>
                <a:lnTo>
                  <a:pt x="288" y="168"/>
                </a:lnTo>
                <a:lnTo>
                  <a:pt x="288" y="168"/>
                </a:lnTo>
                <a:lnTo>
                  <a:pt x="282" y="174"/>
                </a:lnTo>
                <a:lnTo>
                  <a:pt x="282" y="174"/>
                </a:lnTo>
                <a:lnTo>
                  <a:pt x="282" y="174"/>
                </a:lnTo>
                <a:lnTo>
                  <a:pt x="282" y="174"/>
                </a:lnTo>
                <a:lnTo>
                  <a:pt x="282" y="180"/>
                </a:lnTo>
                <a:lnTo>
                  <a:pt x="282" y="180"/>
                </a:lnTo>
                <a:lnTo>
                  <a:pt x="282" y="180"/>
                </a:lnTo>
                <a:lnTo>
                  <a:pt x="282" y="186"/>
                </a:lnTo>
                <a:lnTo>
                  <a:pt x="282" y="186"/>
                </a:lnTo>
                <a:lnTo>
                  <a:pt x="282" y="192"/>
                </a:lnTo>
                <a:lnTo>
                  <a:pt x="288" y="192"/>
                </a:lnTo>
                <a:lnTo>
                  <a:pt x="288" y="192"/>
                </a:lnTo>
                <a:lnTo>
                  <a:pt x="288" y="198"/>
                </a:lnTo>
                <a:lnTo>
                  <a:pt x="282" y="198"/>
                </a:lnTo>
                <a:lnTo>
                  <a:pt x="282" y="204"/>
                </a:lnTo>
                <a:lnTo>
                  <a:pt x="282" y="204"/>
                </a:lnTo>
                <a:lnTo>
                  <a:pt x="282" y="204"/>
                </a:lnTo>
                <a:lnTo>
                  <a:pt x="282" y="204"/>
                </a:lnTo>
                <a:lnTo>
                  <a:pt x="282" y="204"/>
                </a:lnTo>
                <a:lnTo>
                  <a:pt x="282" y="204"/>
                </a:lnTo>
                <a:lnTo>
                  <a:pt x="282" y="204"/>
                </a:lnTo>
                <a:lnTo>
                  <a:pt x="282" y="210"/>
                </a:lnTo>
                <a:lnTo>
                  <a:pt x="282" y="210"/>
                </a:lnTo>
                <a:lnTo>
                  <a:pt x="282" y="210"/>
                </a:lnTo>
                <a:lnTo>
                  <a:pt x="288" y="210"/>
                </a:lnTo>
                <a:lnTo>
                  <a:pt x="282" y="210"/>
                </a:lnTo>
                <a:lnTo>
                  <a:pt x="282" y="210"/>
                </a:lnTo>
                <a:lnTo>
                  <a:pt x="282" y="216"/>
                </a:lnTo>
                <a:lnTo>
                  <a:pt x="282" y="216"/>
                </a:lnTo>
                <a:lnTo>
                  <a:pt x="282" y="216"/>
                </a:lnTo>
                <a:lnTo>
                  <a:pt x="282" y="216"/>
                </a:lnTo>
                <a:lnTo>
                  <a:pt x="282" y="216"/>
                </a:lnTo>
                <a:lnTo>
                  <a:pt x="282" y="222"/>
                </a:lnTo>
                <a:lnTo>
                  <a:pt x="282" y="222"/>
                </a:lnTo>
                <a:lnTo>
                  <a:pt x="276" y="228"/>
                </a:lnTo>
                <a:lnTo>
                  <a:pt x="276" y="228"/>
                </a:lnTo>
                <a:lnTo>
                  <a:pt x="276" y="228"/>
                </a:lnTo>
                <a:lnTo>
                  <a:pt x="276" y="228"/>
                </a:lnTo>
                <a:lnTo>
                  <a:pt x="276" y="228"/>
                </a:lnTo>
                <a:lnTo>
                  <a:pt x="276" y="228"/>
                </a:lnTo>
                <a:lnTo>
                  <a:pt x="276" y="234"/>
                </a:lnTo>
                <a:lnTo>
                  <a:pt x="276" y="234"/>
                </a:lnTo>
                <a:lnTo>
                  <a:pt x="276" y="234"/>
                </a:lnTo>
                <a:lnTo>
                  <a:pt x="276" y="240"/>
                </a:lnTo>
                <a:lnTo>
                  <a:pt x="276" y="240"/>
                </a:lnTo>
                <a:lnTo>
                  <a:pt x="276" y="246"/>
                </a:lnTo>
                <a:lnTo>
                  <a:pt x="276" y="246"/>
                </a:lnTo>
                <a:lnTo>
                  <a:pt x="276" y="246"/>
                </a:lnTo>
                <a:lnTo>
                  <a:pt x="276" y="246"/>
                </a:lnTo>
                <a:lnTo>
                  <a:pt x="276" y="246"/>
                </a:lnTo>
                <a:lnTo>
                  <a:pt x="276" y="246"/>
                </a:lnTo>
                <a:lnTo>
                  <a:pt x="276" y="246"/>
                </a:lnTo>
                <a:lnTo>
                  <a:pt x="276" y="246"/>
                </a:lnTo>
                <a:lnTo>
                  <a:pt x="276" y="246"/>
                </a:lnTo>
                <a:lnTo>
                  <a:pt x="276" y="246"/>
                </a:lnTo>
                <a:lnTo>
                  <a:pt x="282" y="246"/>
                </a:lnTo>
                <a:lnTo>
                  <a:pt x="282" y="246"/>
                </a:lnTo>
                <a:lnTo>
                  <a:pt x="282" y="246"/>
                </a:lnTo>
                <a:lnTo>
                  <a:pt x="282" y="246"/>
                </a:lnTo>
                <a:lnTo>
                  <a:pt x="282" y="240"/>
                </a:lnTo>
                <a:lnTo>
                  <a:pt x="282" y="246"/>
                </a:lnTo>
                <a:lnTo>
                  <a:pt x="282" y="246"/>
                </a:lnTo>
                <a:lnTo>
                  <a:pt x="282" y="246"/>
                </a:lnTo>
                <a:lnTo>
                  <a:pt x="282" y="246"/>
                </a:lnTo>
                <a:lnTo>
                  <a:pt x="288" y="246"/>
                </a:lnTo>
                <a:lnTo>
                  <a:pt x="288" y="246"/>
                </a:lnTo>
                <a:lnTo>
                  <a:pt x="288" y="246"/>
                </a:lnTo>
                <a:lnTo>
                  <a:pt x="288" y="246"/>
                </a:lnTo>
                <a:lnTo>
                  <a:pt x="288" y="246"/>
                </a:lnTo>
                <a:lnTo>
                  <a:pt x="288" y="240"/>
                </a:lnTo>
                <a:lnTo>
                  <a:pt x="288" y="240"/>
                </a:lnTo>
                <a:lnTo>
                  <a:pt x="288" y="240"/>
                </a:lnTo>
                <a:lnTo>
                  <a:pt x="288" y="240"/>
                </a:lnTo>
                <a:lnTo>
                  <a:pt x="288" y="240"/>
                </a:lnTo>
                <a:lnTo>
                  <a:pt x="288" y="240"/>
                </a:lnTo>
                <a:lnTo>
                  <a:pt x="288" y="240"/>
                </a:lnTo>
                <a:lnTo>
                  <a:pt x="288" y="240"/>
                </a:lnTo>
                <a:lnTo>
                  <a:pt x="294" y="234"/>
                </a:lnTo>
                <a:lnTo>
                  <a:pt x="294" y="234"/>
                </a:lnTo>
                <a:lnTo>
                  <a:pt x="294" y="240"/>
                </a:lnTo>
                <a:lnTo>
                  <a:pt x="294" y="234"/>
                </a:lnTo>
                <a:lnTo>
                  <a:pt x="294" y="240"/>
                </a:lnTo>
                <a:lnTo>
                  <a:pt x="294" y="234"/>
                </a:lnTo>
                <a:lnTo>
                  <a:pt x="294" y="240"/>
                </a:lnTo>
                <a:lnTo>
                  <a:pt x="294" y="240"/>
                </a:lnTo>
                <a:lnTo>
                  <a:pt x="294" y="234"/>
                </a:lnTo>
                <a:lnTo>
                  <a:pt x="300" y="234"/>
                </a:lnTo>
                <a:lnTo>
                  <a:pt x="300" y="240"/>
                </a:lnTo>
                <a:lnTo>
                  <a:pt x="300" y="234"/>
                </a:lnTo>
                <a:lnTo>
                  <a:pt x="300" y="234"/>
                </a:lnTo>
                <a:lnTo>
                  <a:pt x="300" y="234"/>
                </a:lnTo>
                <a:lnTo>
                  <a:pt x="300" y="234"/>
                </a:lnTo>
                <a:lnTo>
                  <a:pt x="300" y="234"/>
                </a:lnTo>
                <a:lnTo>
                  <a:pt x="300" y="234"/>
                </a:lnTo>
                <a:lnTo>
                  <a:pt x="300" y="234"/>
                </a:lnTo>
                <a:lnTo>
                  <a:pt x="300" y="234"/>
                </a:lnTo>
                <a:lnTo>
                  <a:pt x="300" y="234"/>
                </a:lnTo>
                <a:lnTo>
                  <a:pt x="306" y="234"/>
                </a:lnTo>
                <a:lnTo>
                  <a:pt x="306" y="234"/>
                </a:lnTo>
                <a:lnTo>
                  <a:pt x="312" y="234"/>
                </a:lnTo>
                <a:lnTo>
                  <a:pt x="312" y="234"/>
                </a:lnTo>
                <a:lnTo>
                  <a:pt x="318" y="234"/>
                </a:lnTo>
                <a:lnTo>
                  <a:pt x="324" y="234"/>
                </a:lnTo>
                <a:lnTo>
                  <a:pt x="324" y="234"/>
                </a:lnTo>
                <a:lnTo>
                  <a:pt x="330" y="234"/>
                </a:lnTo>
                <a:lnTo>
                  <a:pt x="330" y="234"/>
                </a:lnTo>
                <a:lnTo>
                  <a:pt x="336" y="234"/>
                </a:lnTo>
                <a:lnTo>
                  <a:pt x="336" y="234"/>
                </a:lnTo>
                <a:lnTo>
                  <a:pt x="342" y="234"/>
                </a:lnTo>
                <a:lnTo>
                  <a:pt x="342" y="234"/>
                </a:lnTo>
                <a:lnTo>
                  <a:pt x="342" y="228"/>
                </a:lnTo>
                <a:lnTo>
                  <a:pt x="348" y="228"/>
                </a:lnTo>
                <a:lnTo>
                  <a:pt x="348" y="228"/>
                </a:lnTo>
                <a:lnTo>
                  <a:pt x="348" y="222"/>
                </a:lnTo>
                <a:lnTo>
                  <a:pt x="354" y="222"/>
                </a:lnTo>
                <a:lnTo>
                  <a:pt x="354" y="222"/>
                </a:lnTo>
                <a:lnTo>
                  <a:pt x="354" y="222"/>
                </a:lnTo>
                <a:lnTo>
                  <a:pt x="366" y="234"/>
                </a:lnTo>
                <a:lnTo>
                  <a:pt x="366" y="240"/>
                </a:lnTo>
                <a:lnTo>
                  <a:pt x="366" y="240"/>
                </a:lnTo>
                <a:lnTo>
                  <a:pt x="372" y="240"/>
                </a:lnTo>
                <a:lnTo>
                  <a:pt x="372" y="240"/>
                </a:lnTo>
                <a:lnTo>
                  <a:pt x="372" y="240"/>
                </a:lnTo>
                <a:lnTo>
                  <a:pt x="372" y="240"/>
                </a:lnTo>
                <a:lnTo>
                  <a:pt x="372" y="240"/>
                </a:lnTo>
                <a:lnTo>
                  <a:pt x="372" y="240"/>
                </a:lnTo>
                <a:lnTo>
                  <a:pt x="372" y="240"/>
                </a:lnTo>
                <a:lnTo>
                  <a:pt x="372" y="240"/>
                </a:lnTo>
                <a:lnTo>
                  <a:pt x="378" y="240"/>
                </a:lnTo>
                <a:lnTo>
                  <a:pt x="378" y="240"/>
                </a:lnTo>
                <a:lnTo>
                  <a:pt x="378" y="246"/>
                </a:lnTo>
                <a:lnTo>
                  <a:pt x="378" y="246"/>
                </a:lnTo>
                <a:lnTo>
                  <a:pt x="384" y="246"/>
                </a:lnTo>
                <a:lnTo>
                  <a:pt x="384" y="246"/>
                </a:lnTo>
                <a:lnTo>
                  <a:pt x="384" y="246"/>
                </a:lnTo>
                <a:lnTo>
                  <a:pt x="384" y="246"/>
                </a:lnTo>
                <a:lnTo>
                  <a:pt x="384" y="246"/>
                </a:lnTo>
                <a:lnTo>
                  <a:pt x="384" y="246"/>
                </a:lnTo>
                <a:lnTo>
                  <a:pt x="390" y="246"/>
                </a:lnTo>
                <a:lnTo>
                  <a:pt x="390" y="246"/>
                </a:lnTo>
                <a:lnTo>
                  <a:pt x="390" y="246"/>
                </a:lnTo>
                <a:lnTo>
                  <a:pt x="390" y="246"/>
                </a:lnTo>
                <a:lnTo>
                  <a:pt x="396" y="246"/>
                </a:lnTo>
                <a:lnTo>
                  <a:pt x="396" y="252"/>
                </a:lnTo>
                <a:lnTo>
                  <a:pt x="396" y="252"/>
                </a:lnTo>
                <a:lnTo>
                  <a:pt x="396" y="252"/>
                </a:lnTo>
                <a:lnTo>
                  <a:pt x="396" y="252"/>
                </a:lnTo>
                <a:lnTo>
                  <a:pt x="402" y="252"/>
                </a:lnTo>
                <a:lnTo>
                  <a:pt x="402" y="252"/>
                </a:lnTo>
                <a:lnTo>
                  <a:pt x="402" y="252"/>
                </a:lnTo>
                <a:lnTo>
                  <a:pt x="402" y="252"/>
                </a:lnTo>
                <a:lnTo>
                  <a:pt x="408" y="246"/>
                </a:lnTo>
                <a:lnTo>
                  <a:pt x="408" y="246"/>
                </a:lnTo>
                <a:lnTo>
                  <a:pt x="408" y="246"/>
                </a:lnTo>
                <a:lnTo>
                  <a:pt x="408" y="246"/>
                </a:lnTo>
                <a:lnTo>
                  <a:pt x="414" y="258"/>
                </a:lnTo>
                <a:lnTo>
                  <a:pt x="414" y="258"/>
                </a:lnTo>
                <a:lnTo>
                  <a:pt x="414" y="258"/>
                </a:lnTo>
                <a:lnTo>
                  <a:pt x="414" y="258"/>
                </a:lnTo>
                <a:lnTo>
                  <a:pt x="414" y="264"/>
                </a:lnTo>
                <a:lnTo>
                  <a:pt x="414" y="264"/>
                </a:lnTo>
                <a:lnTo>
                  <a:pt x="414" y="264"/>
                </a:lnTo>
                <a:lnTo>
                  <a:pt x="414" y="264"/>
                </a:lnTo>
                <a:lnTo>
                  <a:pt x="414" y="264"/>
                </a:lnTo>
                <a:lnTo>
                  <a:pt x="414" y="264"/>
                </a:lnTo>
                <a:lnTo>
                  <a:pt x="414" y="270"/>
                </a:lnTo>
                <a:lnTo>
                  <a:pt x="414" y="270"/>
                </a:lnTo>
                <a:lnTo>
                  <a:pt x="414" y="270"/>
                </a:lnTo>
                <a:lnTo>
                  <a:pt x="414" y="270"/>
                </a:lnTo>
                <a:lnTo>
                  <a:pt x="414" y="270"/>
                </a:lnTo>
                <a:lnTo>
                  <a:pt x="414" y="276"/>
                </a:lnTo>
                <a:lnTo>
                  <a:pt x="408" y="276"/>
                </a:lnTo>
                <a:lnTo>
                  <a:pt x="408" y="276"/>
                </a:lnTo>
                <a:lnTo>
                  <a:pt x="408" y="276"/>
                </a:lnTo>
                <a:lnTo>
                  <a:pt x="408" y="282"/>
                </a:lnTo>
                <a:lnTo>
                  <a:pt x="402" y="282"/>
                </a:lnTo>
                <a:lnTo>
                  <a:pt x="402" y="282"/>
                </a:lnTo>
                <a:lnTo>
                  <a:pt x="402" y="282"/>
                </a:lnTo>
                <a:lnTo>
                  <a:pt x="402" y="288"/>
                </a:lnTo>
                <a:lnTo>
                  <a:pt x="402" y="288"/>
                </a:lnTo>
                <a:lnTo>
                  <a:pt x="396" y="288"/>
                </a:lnTo>
                <a:lnTo>
                  <a:pt x="396" y="294"/>
                </a:lnTo>
                <a:lnTo>
                  <a:pt x="396" y="294"/>
                </a:lnTo>
                <a:lnTo>
                  <a:pt x="396" y="294"/>
                </a:lnTo>
                <a:lnTo>
                  <a:pt x="396" y="294"/>
                </a:lnTo>
                <a:lnTo>
                  <a:pt x="396" y="294"/>
                </a:lnTo>
                <a:lnTo>
                  <a:pt x="396" y="300"/>
                </a:lnTo>
                <a:lnTo>
                  <a:pt x="390" y="300"/>
                </a:lnTo>
                <a:lnTo>
                  <a:pt x="390" y="306"/>
                </a:lnTo>
                <a:lnTo>
                  <a:pt x="384" y="306"/>
                </a:lnTo>
                <a:lnTo>
                  <a:pt x="384" y="306"/>
                </a:lnTo>
                <a:lnTo>
                  <a:pt x="384" y="306"/>
                </a:lnTo>
                <a:lnTo>
                  <a:pt x="384" y="306"/>
                </a:lnTo>
                <a:lnTo>
                  <a:pt x="378" y="312"/>
                </a:lnTo>
                <a:lnTo>
                  <a:pt x="378" y="312"/>
                </a:lnTo>
                <a:lnTo>
                  <a:pt x="378" y="312"/>
                </a:lnTo>
                <a:lnTo>
                  <a:pt x="378" y="312"/>
                </a:lnTo>
                <a:lnTo>
                  <a:pt x="372" y="312"/>
                </a:lnTo>
                <a:lnTo>
                  <a:pt x="372" y="312"/>
                </a:lnTo>
                <a:lnTo>
                  <a:pt x="372" y="318"/>
                </a:lnTo>
                <a:lnTo>
                  <a:pt x="366" y="318"/>
                </a:lnTo>
                <a:lnTo>
                  <a:pt x="366" y="318"/>
                </a:lnTo>
                <a:lnTo>
                  <a:pt x="366" y="318"/>
                </a:lnTo>
                <a:lnTo>
                  <a:pt x="366" y="318"/>
                </a:lnTo>
                <a:lnTo>
                  <a:pt x="366" y="324"/>
                </a:lnTo>
                <a:lnTo>
                  <a:pt x="366" y="324"/>
                </a:lnTo>
                <a:lnTo>
                  <a:pt x="366" y="324"/>
                </a:lnTo>
                <a:lnTo>
                  <a:pt x="360" y="324"/>
                </a:lnTo>
                <a:lnTo>
                  <a:pt x="360" y="324"/>
                </a:lnTo>
                <a:lnTo>
                  <a:pt x="354" y="324"/>
                </a:lnTo>
                <a:lnTo>
                  <a:pt x="354" y="324"/>
                </a:lnTo>
                <a:lnTo>
                  <a:pt x="354" y="330"/>
                </a:lnTo>
                <a:lnTo>
                  <a:pt x="354" y="330"/>
                </a:lnTo>
                <a:lnTo>
                  <a:pt x="354" y="324"/>
                </a:lnTo>
                <a:lnTo>
                  <a:pt x="354" y="324"/>
                </a:lnTo>
                <a:lnTo>
                  <a:pt x="354" y="324"/>
                </a:lnTo>
                <a:lnTo>
                  <a:pt x="354" y="324"/>
                </a:lnTo>
                <a:lnTo>
                  <a:pt x="354" y="324"/>
                </a:lnTo>
                <a:lnTo>
                  <a:pt x="354" y="324"/>
                </a:lnTo>
                <a:lnTo>
                  <a:pt x="354" y="324"/>
                </a:lnTo>
                <a:lnTo>
                  <a:pt x="354" y="324"/>
                </a:lnTo>
                <a:lnTo>
                  <a:pt x="348" y="324"/>
                </a:lnTo>
                <a:lnTo>
                  <a:pt x="348" y="324"/>
                </a:lnTo>
                <a:lnTo>
                  <a:pt x="348" y="324"/>
                </a:lnTo>
                <a:lnTo>
                  <a:pt x="348" y="318"/>
                </a:lnTo>
                <a:lnTo>
                  <a:pt x="348" y="318"/>
                </a:lnTo>
                <a:lnTo>
                  <a:pt x="348" y="318"/>
                </a:lnTo>
                <a:lnTo>
                  <a:pt x="348" y="318"/>
                </a:lnTo>
                <a:lnTo>
                  <a:pt x="348" y="318"/>
                </a:lnTo>
                <a:lnTo>
                  <a:pt x="348" y="324"/>
                </a:lnTo>
                <a:lnTo>
                  <a:pt x="348" y="324"/>
                </a:lnTo>
                <a:lnTo>
                  <a:pt x="348" y="318"/>
                </a:lnTo>
                <a:lnTo>
                  <a:pt x="348" y="318"/>
                </a:lnTo>
                <a:lnTo>
                  <a:pt x="348" y="318"/>
                </a:lnTo>
                <a:lnTo>
                  <a:pt x="342" y="318"/>
                </a:lnTo>
                <a:lnTo>
                  <a:pt x="342" y="318"/>
                </a:lnTo>
                <a:lnTo>
                  <a:pt x="342" y="318"/>
                </a:lnTo>
                <a:lnTo>
                  <a:pt x="342" y="318"/>
                </a:lnTo>
                <a:lnTo>
                  <a:pt x="336" y="318"/>
                </a:lnTo>
                <a:lnTo>
                  <a:pt x="336" y="318"/>
                </a:lnTo>
                <a:lnTo>
                  <a:pt x="336" y="318"/>
                </a:lnTo>
                <a:lnTo>
                  <a:pt x="336" y="318"/>
                </a:lnTo>
                <a:lnTo>
                  <a:pt x="336" y="318"/>
                </a:lnTo>
                <a:lnTo>
                  <a:pt x="336" y="318"/>
                </a:lnTo>
                <a:lnTo>
                  <a:pt x="336" y="318"/>
                </a:lnTo>
                <a:lnTo>
                  <a:pt x="330" y="318"/>
                </a:lnTo>
                <a:lnTo>
                  <a:pt x="330" y="318"/>
                </a:lnTo>
                <a:lnTo>
                  <a:pt x="330" y="318"/>
                </a:lnTo>
                <a:lnTo>
                  <a:pt x="330" y="318"/>
                </a:lnTo>
                <a:lnTo>
                  <a:pt x="324" y="318"/>
                </a:lnTo>
                <a:lnTo>
                  <a:pt x="324" y="318"/>
                </a:lnTo>
                <a:lnTo>
                  <a:pt x="324" y="318"/>
                </a:lnTo>
                <a:lnTo>
                  <a:pt x="324" y="318"/>
                </a:lnTo>
                <a:lnTo>
                  <a:pt x="324" y="318"/>
                </a:lnTo>
                <a:lnTo>
                  <a:pt x="324" y="318"/>
                </a:lnTo>
                <a:lnTo>
                  <a:pt x="324" y="318"/>
                </a:lnTo>
                <a:lnTo>
                  <a:pt x="324" y="318"/>
                </a:lnTo>
                <a:lnTo>
                  <a:pt x="318" y="318"/>
                </a:lnTo>
                <a:lnTo>
                  <a:pt x="318" y="318"/>
                </a:lnTo>
                <a:lnTo>
                  <a:pt x="318" y="318"/>
                </a:lnTo>
                <a:lnTo>
                  <a:pt x="318" y="312"/>
                </a:lnTo>
                <a:lnTo>
                  <a:pt x="318" y="312"/>
                </a:lnTo>
                <a:lnTo>
                  <a:pt x="318" y="312"/>
                </a:lnTo>
                <a:lnTo>
                  <a:pt x="318" y="312"/>
                </a:lnTo>
                <a:lnTo>
                  <a:pt x="312" y="306"/>
                </a:lnTo>
                <a:lnTo>
                  <a:pt x="312" y="300"/>
                </a:lnTo>
                <a:lnTo>
                  <a:pt x="312" y="300"/>
                </a:lnTo>
                <a:lnTo>
                  <a:pt x="306" y="300"/>
                </a:lnTo>
                <a:lnTo>
                  <a:pt x="306" y="300"/>
                </a:lnTo>
                <a:lnTo>
                  <a:pt x="306" y="300"/>
                </a:lnTo>
                <a:lnTo>
                  <a:pt x="312" y="294"/>
                </a:lnTo>
                <a:lnTo>
                  <a:pt x="312" y="294"/>
                </a:lnTo>
                <a:lnTo>
                  <a:pt x="312" y="294"/>
                </a:lnTo>
                <a:lnTo>
                  <a:pt x="306" y="294"/>
                </a:lnTo>
                <a:lnTo>
                  <a:pt x="306" y="294"/>
                </a:lnTo>
                <a:lnTo>
                  <a:pt x="306" y="294"/>
                </a:lnTo>
                <a:lnTo>
                  <a:pt x="306" y="294"/>
                </a:lnTo>
                <a:lnTo>
                  <a:pt x="306" y="294"/>
                </a:lnTo>
                <a:lnTo>
                  <a:pt x="306" y="294"/>
                </a:lnTo>
                <a:lnTo>
                  <a:pt x="306" y="294"/>
                </a:lnTo>
                <a:lnTo>
                  <a:pt x="300" y="294"/>
                </a:lnTo>
                <a:lnTo>
                  <a:pt x="300" y="288"/>
                </a:lnTo>
                <a:lnTo>
                  <a:pt x="300" y="288"/>
                </a:lnTo>
                <a:lnTo>
                  <a:pt x="300" y="288"/>
                </a:lnTo>
                <a:lnTo>
                  <a:pt x="300" y="288"/>
                </a:lnTo>
                <a:lnTo>
                  <a:pt x="300" y="288"/>
                </a:lnTo>
                <a:lnTo>
                  <a:pt x="300" y="288"/>
                </a:lnTo>
                <a:lnTo>
                  <a:pt x="300" y="288"/>
                </a:lnTo>
                <a:lnTo>
                  <a:pt x="294" y="288"/>
                </a:lnTo>
                <a:lnTo>
                  <a:pt x="300" y="288"/>
                </a:lnTo>
                <a:lnTo>
                  <a:pt x="294" y="288"/>
                </a:lnTo>
                <a:lnTo>
                  <a:pt x="294" y="288"/>
                </a:lnTo>
                <a:lnTo>
                  <a:pt x="294" y="288"/>
                </a:lnTo>
                <a:lnTo>
                  <a:pt x="294" y="288"/>
                </a:lnTo>
                <a:lnTo>
                  <a:pt x="294" y="288"/>
                </a:lnTo>
                <a:lnTo>
                  <a:pt x="294" y="294"/>
                </a:lnTo>
                <a:lnTo>
                  <a:pt x="294" y="294"/>
                </a:lnTo>
                <a:lnTo>
                  <a:pt x="288" y="294"/>
                </a:lnTo>
                <a:lnTo>
                  <a:pt x="288" y="294"/>
                </a:lnTo>
                <a:lnTo>
                  <a:pt x="288" y="294"/>
                </a:lnTo>
                <a:lnTo>
                  <a:pt x="288" y="294"/>
                </a:lnTo>
                <a:lnTo>
                  <a:pt x="288" y="294"/>
                </a:lnTo>
                <a:lnTo>
                  <a:pt x="288" y="294"/>
                </a:lnTo>
                <a:lnTo>
                  <a:pt x="288" y="294"/>
                </a:lnTo>
                <a:lnTo>
                  <a:pt x="288" y="294"/>
                </a:lnTo>
                <a:lnTo>
                  <a:pt x="288" y="294"/>
                </a:lnTo>
                <a:lnTo>
                  <a:pt x="282" y="294"/>
                </a:lnTo>
                <a:lnTo>
                  <a:pt x="282" y="294"/>
                </a:lnTo>
                <a:lnTo>
                  <a:pt x="282" y="294"/>
                </a:lnTo>
                <a:lnTo>
                  <a:pt x="276" y="294"/>
                </a:lnTo>
                <a:lnTo>
                  <a:pt x="270" y="294"/>
                </a:lnTo>
                <a:lnTo>
                  <a:pt x="270" y="294"/>
                </a:lnTo>
                <a:lnTo>
                  <a:pt x="270" y="294"/>
                </a:lnTo>
                <a:lnTo>
                  <a:pt x="264" y="288"/>
                </a:lnTo>
                <a:lnTo>
                  <a:pt x="264" y="288"/>
                </a:lnTo>
                <a:lnTo>
                  <a:pt x="264" y="288"/>
                </a:lnTo>
                <a:lnTo>
                  <a:pt x="264" y="288"/>
                </a:lnTo>
                <a:lnTo>
                  <a:pt x="258" y="288"/>
                </a:lnTo>
                <a:lnTo>
                  <a:pt x="258" y="282"/>
                </a:lnTo>
                <a:lnTo>
                  <a:pt x="264" y="282"/>
                </a:lnTo>
                <a:lnTo>
                  <a:pt x="264" y="282"/>
                </a:lnTo>
                <a:lnTo>
                  <a:pt x="264" y="282"/>
                </a:lnTo>
                <a:lnTo>
                  <a:pt x="258" y="282"/>
                </a:lnTo>
                <a:lnTo>
                  <a:pt x="252" y="282"/>
                </a:lnTo>
                <a:lnTo>
                  <a:pt x="252" y="276"/>
                </a:lnTo>
                <a:lnTo>
                  <a:pt x="246" y="270"/>
                </a:lnTo>
                <a:lnTo>
                  <a:pt x="246" y="270"/>
                </a:lnTo>
                <a:lnTo>
                  <a:pt x="240" y="270"/>
                </a:lnTo>
                <a:lnTo>
                  <a:pt x="240" y="270"/>
                </a:lnTo>
                <a:lnTo>
                  <a:pt x="240" y="270"/>
                </a:lnTo>
                <a:lnTo>
                  <a:pt x="234" y="264"/>
                </a:lnTo>
                <a:lnTo>
                  <a:pt x="228" y="264"/>
                </a:lnTo>
                <a:lnTo>
                  <a:pt x="228" y="264"/>
                </a:lnTo>
                <a:lnTo>
                  <a:pt x="222" y="264"/>
                </a:lnTo>
                <a:lnTo>
                  <a:pt x="216" y="264"/>
                </a:lnTo>
                <a:lnTo>
                  <a:pt x="216" y="264"/>
                </a:lnTo>
                <a:lnTo>
                  <a:pt x="216" y="264"/>
                </a:lnTo>
                <a:lnTo>
                  <a:pt x="216" y="264"/>
                </a:lnTo>
                <a:lnTo>
                  <a:pt x="210" y="264"/>
                </a:lnTo>
                <a:lnTo>
                  <a:pt x="210" y="264"/>
                </a:lnTo>
                <a:lnTo>
                  <a:pt x="210" y="264"/>
                </a:lnTo>
                <a:lnTo>
                  <a:pt x="210" y="264"/>
                </a:lnTo>
                <a:lnTo>
                  <a:pt x="204" y="264"/>
                </a:lnTo>
                <a:lnTo>
                  <a:pt x="204" y="264"/>
                </a:lnTo>
                <a:lnTo>
                  <a:pt x="204" y="264"/>
                </a:lnTo>
                <a:lnTo>
                  <a:pt x="204" y="264"/>
                </a:lnTo>
                <a:lnTo>
                  <a:pt x="198" y="270"/>
                </a:lnTo>
                <a:lnTo>
                  <a:pt x="204" y="270"/>
                </a:lnTo>
                <a:lnTo>
                  <a:pt x="198" y="270"/>
                </a:lnTo>
                <a:lnTo>
                  <a:pt x="198" y="270"/>
                </a:lnTo>
                <a:lnTo>
                  <a:pt x="198" y="270"/>
                </a:lnTo>
                <a:lnTo>
                  <a:pt x="198" y="276"/>
                </a:lnTo>
                <a:lnTo>
                  <a:pt x="192" y="276"/>
                </a:lnTo>
                <a:lnTo>
                  <a:pt x="192" y="276"/>
                </a:lnTo>
                <a:lnTo>
                  <a:pt x="186" y="270"/>
                </a:lnTo>
                <a:lnTo>
                  <a:pt x="186" y="270"/>
                </a:lnTo>
                <a:lnTo>
                  <a:pt x="186" y="276"/>
                </a:lnTo>
                <a:lnTo>
                  <a:pt x="186" y="276"/>
                </a:lnTo>
                <a:lnTo>
                  <a:pt x="186" y="270"/>
                </a:lnTo>
                <a:lnTo>
                  <a:pt x="186" y="276"/>
                </a:lnTo>
                <a:lnTo>
                  <a:pt x="180" y="276"/>
                </a:lnTo>
                <a:lnTo>
                  <a:pt x="180" y="270"/>
                </a:lnTo>
                <a:lnTo>
                  <a:pt x="180" y="270"/>
                </a:lnTo>
                <a:lnTo>
                  <a:pt x="180" y="270"/>
                </a:lnTo>
                <a:lnTo>
                  <a:pt x="180" y="270"/>
                </a:lnTo>
                <a:lnTo>
                  <a:pt x="180" y="270"/>
                </a:lnTo>
                <a:lnTo>
                  <a:pt x="174" y="270"/>
                </a:lnTo>
                <a:lnTo>
                  <a:pt x="174" y="270"/>
                </a:lnTo>
                <a:lnTo>
                  <a:pt x="174" y="270"/>
                </a:lnTo>
                <a:lnTo>
                  <a:pt x="174" y="270"/>
                </a:lnTo>
                <a:lnTo>
                  <a:pt x="174" y="270"/>
                </a:lnTo>
                <a:lnTo>
                  <a:pt x="174" y="270"/>
                </a:lnTo>
                <a:lnTo>
                  <a:pt x="174" y="270"/>
                </a:lnTo>
                <a:lnTo>
                  <a:pt x="174" y="270"/>
                </a:lnTo>
                <a:lnTo>
                  <a:pt x="174" y="270"/>
                </a:lnTo>
                <a:lnTo>
                  <a:pt x="168" y="270"/>
                </a:lnTo>
                <a:lnTo>
                  <a:pt x="168" y="270"/>
                </a:lnTo>
                <a:lnTo>
                  <a:pt x="168" y="270"/>
                </a:lnTo>
                <a:lnTo>
                  <a:pt x="168" y="270"/>
                </a:lnTo>
                <a:lnTo>
                  <a:pt x="168" y="276"/>
                </a:lnTo>
                <a:lnTo>
                  <a:pt x="168" y="276"/>
                </a:lnTo>
                <a:lnTo>
                  <a:pt x="168" y="270"/>
                </a:lnTo>
                <a:lnTo>
                  <a:pt x="168" y="270"/>
                </a:lnTo>
                <a:lnTo>
                  <a:pt x="168" y="270"/>
                </a:lnTo>
                <a:lnTo>
                  <a:pt x="168" y="270"/>
                </a:lnTo>
                <a:lnTo>
                  <a:pt x="162" y="264"/>
                </a:lnTo>
                <a:lnTo>
                  <a:pt x="162" y="270"/>
                </a:lnTo>
                <a:lnTo>
                  <a:pt x="162" y="270"/>
                </a:lnTo>
                <a:lnTo>
                  <a:pt x="162" y="264"/>
                </a:lnTo>
                <a:lnTo>
                  <a:pt x="162" y="264"/>
                </a:lnTo>
                <a:lnTo>
                  <a:pt x="156" y="264"/>
                </a:lnTo>
                <a:lnTo>
                  <a:pt x="156" y="270"/>
                </a:lnTo>
                <a:lnTo>
                  <a:pt x="150" y="270"/>
                </a:lnTo>
                <a:lnTo>
                  <a:pt x="150" y="270"/>
                </a:lnTo>
                <a:lnTo>
                  <a:pt x="150" y="270"/>
                </a:lnTo>
                <a:lnTo>
                  <a:pt x="150" y="270"/>
                </a:lnTo>
                <a:lnTo>
                  <a:pt x="150" y="270"/>
                </a:lnTo>
                <a:lnTo>
                  <a:pt x="150" y="270"/>
                </a:lnTo>
                <a:lnTo>
                  <a:pt x="150" y="264"/>
                </a:lnTo>
                <a:lnTo>
                  <a:pt x="144" y="264"/>
                </a:lnTo>
                <a:lnTo>
                  <a:pt x="144" y="264"/>
                </a:lnTo>
                <a:lnTo>
                  <a:pt x="138" y="264"/>
                </a:lnTo>
                <a:lnTo>
                  <a:pt x="132" y="264"/>
                </a:lnTo>
                <a:lnTo>
                  <a:pt x="132" y="264"/>
                </a:lnTo>
                <a:lnTo>
                  <a:pt x="132" y="258"/>
                </a:lnTo>
                <a:lnTo>
                  <a:pt x="126" y="258"/>
                </a:lnTo>
                <a:lnTo>
                  <a:pt x="126" y="258"/>
                </a:lnTo>
                <a:lnTo>
                  <a:pt x="120" y="252"/>
                </a:lnTo>
                <a:lnTo>
                  <a:pt x="120" y="252"/>
                </a:lnTo>
                <a:lnTo>
                  <a:pt x="120" y="252"/>
                </a:lnTo>
                <a:lnTo>
                  <a:pt x="120" y="252"/>
                </a:lnTo>
                <a:lnTo>
                  <a:pt x="126" y="246"/>
                </a:lnTo>
                <a:lnTo>
                  <a:pt x="126" y="240"/>
                </a:lnTo>
                <a:lnTo>
                  <a:pt x="120" y="234"/>
                </a:lnTo>
                <a:lnTo>
                  <a:pt x="120" y="234"/>
                </a:lnTo>
                <a:lnTo>
                  <a:pt x="120" y="234"/>
                </a:lnTo>
                <a:lnTo>
                  <a:pt x="114" y="240"/>
                </a:lnTo>
                <a:lnTo>
                  <a:pt x="114" y="240"/>
                </a:lnTo>
                <a:lnTo>
                  <a:pt x="114" y="234"/>
                </a:lnTo>
                <a:lnTo>
                  <a:pt x="114" y="234"/>
                </a:lnTo>
                <a:lnTo>
                  <a:pt x="108" y="234"/>
                </a:lnTo>
                <a:lnTo>
                  <a:pt x="108" y="234"/>
                </a:lnTo>
                <a:lnTo>
                  <a:pt x="102" y="234"/>
                </a:lnTo>
                <a:lnTo>
                  <a:pt x="96" y="228"/>
                </a:lnTo>
                <a:lnTo>
                  <a:pt x="96" y="228"/>
                </a:lnTo>
                <a:lnTo>
                  <a:pt x="96" y="222"/>
                </a:lnTo>
                <a:lnTo>
                  <a:pt x="96" y="222"/>
                </a:lnTo>
                <a:lnTo>
                  <a:pt x="96" y="222"/>
                </a:lnTo>
                <a:lnTo>
                  <a:pt x="96" y="216"/>
                </a:lnTo>
                <a:lnTo>
                  <a:pt x="96" y="216"/>
                </a:lnTo>
                <a:lnTo>
                  <a:pt x="96" y="216"/>
                </a:lnTo>
                <a:lnTo>
                  <a:pt x="90" y="222"/>
                </a:lnTo>
                <a:lnTo>
                  <a:pt x="90" y="222"/>
                </a:lnTo>
                <a:lnTo>
                  <a:pt x="90" y="222"/>
                </a:lnTo>
                <a:lnTo>
                  <a:pt x="90" y="228"/>
                </a:lnTo>
                <a:lnTo>
                  <a:pt x="90" y="228"/>
                </a:lnTo>
                <a:lnTo>
                  <a:pt x="90" y="228"/>
                </a:lnTo>
                <a:lnTo>
                  <a:pt x="90" y="222"/>
                </a:lnTo>
                <a:lnTo>
                  <a:pt x="90" y="222"/>
                </a:lnTo>
                <a:lnTo>
                  <a:pt x="90" y="222"/>
                </a:lnTo>
                <a:lnTo>
                  <a:pt x="90" y="216"/>
                </a:lnTo>
                <a:lnTo>
                  <a:pt x="84" y="216"/>
                </a:lnTo>
                <a:lnTo>
                  <a:pt x="84" y="216"/>
                </a:lnTo>
                <a:lnTo>
                  <a:pt x="84" y="216"/>
                </a:lnTo>
                <a:lnTo>
                  <a:pt x="78" y="222"/>
                </a:lnTo>
                <a:lnTo>
                  <a:pt x="78" y="222"/>
                </a:lnTo>
                <a:lnTo>
                  <a:pt x="78" y="222"/>
                </a:lnTo>
                <a:lnTo>
                  <a:pt x="78" y="216"/>
                </a:lnTo>
                <a:lnTo>
                  <a:pt x="78" y="216"/>
                </a:lnTo>
                <a:lnTo>
                  <a:pt x="84" y="216"/>
                </a:lnTo>
                <a:lnTo>
                  <a:pt x="84" y="216"/>
                </a:lnTo>
                <a:lnTo>
                  <a:pt x="84" y="210"/>
                </a:lnTo>
                <a:lnTo>
                  <a:pt x="78" y="210"/>
                </a:lnTo>
                <a:lnTo>
                  <a:pt x="78" y="210"/>
                </a:lnTo>
                <a:lnTo>
                  <a:pt x="78" y="210"/>
                </a:lnTo>
                <a:lnTo>
                  <a:pt x="78" y="210"/>
                </a:lnTo>
                <a:lnTo>
                  <a:pt x="72" y="210"/>
                </a:lnTo>
                <a:lnTo>
                  <a:pt x="66" y="210"/>
                </a:lnTo>
                <a:lnTo>
                  <a:pt x="66" y="210"/>
                </a:lnTo>
                <a:lnTo>
                  <a:pt x="66" y="204"/>
                </a:lnTo>
                <a:lnTo>
                  <a:pt x="66" y="204"/>
                </a:lnTo>
                <a:lnTo>
                  <a:pt x="60" y="204"/>
                </a:lnTo>
                <a:lnTo>
                  <a:pt x="60" y="210"/>
                </a:lnTo>
                <a:lnTo>
                  <a:pt x="60" y="210"/>
                </a:lnTo>
                <a:lnTo>
                  <a:pt x="60" y="210"/>
                </a:lnTo>
                <a:lnTo>
                  <a:pt x="60" y="204"/>
                </a:lnTo>
                <a:lnTo>
                  <a:pt x="54" y="204"/>
                </a:lnTo>
                <a:lnTo>
                  <a:pt x="54" y="204"/>
                </a:lnTo>
                <a:lnTo>
                  <a:pt x="54" y="204"/>
                </a:lnTo>
                <a:lnTo>
                  <a:pt x="54" y="204"/>
                </a:lnTo>
                <a:lnTo>
                  <a:pt x="54" y="204"/>
                </a:lnTo>
                <a:lnTo>
                  <a:pt x="54" y="204"/>
                </a:lnTo>
                <a:lnTo>
                  <a:pt x="54" y="204"/>
                </a:lnTo>
                <a:lnTo>
                  <a:pt x="54" y="204"/>
                </a:lnTo>
                <a:lnTo>
                  <a:pt x="54" y="198"/>
                </a:lnTo>
                <a:lnTo>
                  <a:pt x="54" y="192"/>
                </a:lnTo>
                <a:lnTo>
                  <a:pt x="54" y="192"/>
                </a:lnTo>
                <a:lnTo>
                  <a:pt x="54" y="192"/>
                </a:lnTo>
                <a:lnTo>
                  <a:pt x="48" y="192"/>
                </a:lnTo>
                <a:lnTo>
                  <a:pt x="48" y="192"/>
                </a:lnTo>
                <a:lnTo>
                  <a:pt x="48" y="186"/>
                </a:lnTo>
                <a:lnTo>
                  <a:pt x="48" y="186"/>
                </a:lnTo>
                <a:lnTo>
                  <a:pt x="48" y="180"/>
                </a:lnTo>
                <a:lnTo>
                  <a:pt x="48" y="174"/>
                </a:lnTo>
                <a:lnTo>
                  <a:pt x="48" y="168"/>
                </a:lnTo>
                <a:lnTo>
                  <a:pt x="48" y="168"/>
                </a:lnTo>
                <a:lnTo>
                  <a:pt x="42" y="168"/>
                </a:lnTo>
                <a:lnTo>
                  <a:pt x="42" y="168"/>
                </a:lnTo>
                <a:lnTo>
                  <a:pt x="36" y="168"/>
                </a:lnTo>
                <a:lnTo>
                  <a:pt x="36" y="168"/>
                </a:lnTo>
                <a:lnTo>
                  <a:pt x="36" y="174"/>
                </a:lnTo>
                <a:lnTo>
                  <a:pt x="36" y="174"/>
                </a:lnTo>
                <a:lnTo>
                  <a:pt x="36" y="174"/>
                </a:lnTo>
                <a:lnTo>
                  <a:pt x="36" y="174"/>
                </a:lnTo>
                <a:lnTo>
                  <a:pt x="30" y="174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30" y="162"/>
                </a:lnTo>
                <a:lnTo>
                  <a:pt x="30" y="162"/>
                </a:lnTo>
                <a:lnTo>
                  <a:pt x="30" y="162"/>
                </a:lnTo>
                <a:lnTo>
                  <a:pt x="30" y="156"/>
                </a:lnTo>
                <a:lnTo>
                  <a:pt x="30" y="156"/>
                </a:lnTo>
                <a:lnTo>
                  <a:pt x="30" y="156"/>
                </a:lnTo>
                <a:lnTo>
                  <a:pt x="30" y="150"/>
                </a:lnTo>
                <a:lnTo>
                  <a:pt x="30" y="150"/>
                </a:lnTo>
                <a:lnTo>
                  <a:pt x="30" y="150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24" y="144"/>
                </a:lnTo>
                <a:lnTo>
                  <a:pt x="18" y="144"/>
                </a:lnTo>
                <a:lnTo>
                  <a:pt x="18" y="144"/>
                </a:lnTo>
                <a:lnTo>
                  <a:pt x="18" y="138"/>
                </a:lnTo>
                <a:lnTo>
                  <a:pt x="18" y="132"/>
                </a:lnTo>
                <a:lnTo>
                  <a:pt x="18" y="126"/>
                </a:lnTo>
                <a:lnTo>
                  <a:pt x="12" y="120"/>
                </a:lnTo>
                <a:lnTo>
                  <a:pt x="12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2" y="114"/>
                </a:lnTo>
                <a:lnTo>
                  <a:pt x="12" y="114"/>
                </a:lnTo>
                <a:lnTo>
                  <a:pt x="12" y="108"/>
                </a:lnTo>
                <a:lnTo>
                  <a:pt x="12" y="108"/>
                </a:lnTo>
                <a:lnTo>
                  <a:pt x="12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96"/>
                </a:lnTo>
                <a:lnTo>
                  <a:pt x="12" y="96"/>
                </a:lnTo>
                <a:lnTo>
                  <a:pt x="12" y="90"/>
                </a:lnTo>
                <a:lnTo>
                  <a:pt x="18" y="90"/>
                </a:lnTo>
                <a:lnTo>
                  <a:pt x="18" y="90"/>
                </a:lnTo>
                <a:lnTo>
                  <a:pt x="24" y="84"/>
                </a:lnTo>
                <a:lnTo>
                  <a:pt x="24" y="84"/>
                </a:lnTo>
                <a:lnTo>
                  <a:pt x="18" y="84"/>
                </a:lnTo>
                <a:lnTo>
                  <a:pt x="18" y="78"/>
                </a:lnTo>
                <a:lnTo>
                  <a:pt x="24" y="78"/>
                </a:lnTo>
                <a:lnTo>
                  <a:pt x="24" y="78"/>
                </a:lnTo>
                <a:lnTo>
                  <a:pt x="24" y="72"/>
                </a:lnTo>
                <a:lnTo>
                  <a:pt x="24" y="72"/>
                </a:lnTo>
                <a:lnTo>
                  <a:pt x="24" y="66"/>
                </a:lnTo>
                <a:lnTo>
                  <a:pt x="18" y="66"/>
                </a:lnTo>
                <a:lnTo>
                  <a:pt x="18" y="66"/>
                </a:lnTo>
                <a:lnTo>
                  <a:pt x="24" y="66"/>
                </a:lnTo>
                <a:lnTo>
                  <a:pt x="24" y="60"/>
                </a:lnTo>
                <a:lnTo>
                  <a:pt x="18" y="54"/>
                </a:lnTo>
                <a:lnTo>
                  <a:pt x="12" y="54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0"/>
                </a:lnTo>
                <a:lnTo>
                  <a:pt x="12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6" y="12"/>
                </a:lnTo>
                <a:lnTo>
                  <a:pt x="0" y="12"/>
                </a:lnTo>
                <a:lnTo>
                  <a:pt x="0" y="6"/>
                </a:lnTo>
                <a:lnTo>
                  <a:pt x="0" y="6"/>
                </a:lnTo>
                <a:lnTo>
                  <a:pt x="6" y="6"/>
                </a:lnTo>
                <a:lnTo>
                  <a:pt x="6" y="6"/>
                </a:lnTo>
                <a:lnTo>
                  <a:pt x="6" y="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277" name="Freeform 10"/>
          <p:cNvSpPr>
            <a:spLocks/>
          </p:cNvSpPr>
          <p:nvPr/>
        </p:nvSpPr>
        <p:spPr bwMode="auto">
          <a:xfrm>
            <a:off x="4809006" y="2451891"/>
            <a:ext cx="301930" cy="237692"/>
          </a:xfrm>
          <a:custGeom>
            <a:avLst/>
            <a:gdLst>
              <a:gd name="T0" fmla="*/ 6 w 282"/>
              <a:gd name="T1" fmla="*/ 168 h 222"/>
              <a:gd name="T2" fmla="*/ 12 w 282"/>
              <a:gd name="T3" fmla="*/ 150 h 222"/>
              <a:gd name="T4" fmla="*/ 12 w 282"/>
              <a:gd name="T5" fmla="*/ 138 h 222"/>
              <a:gd name="T6" fmla="*/ 12 w 282"/>
              <a:gd name="T7" fmla="*/ 126 h 222"/>
              <a:gd name="T8" fmla="*/ 12 w 282"/>
              <a:gd name="T9" fmla="*/ 114 h 222"/>
              <a:gd name="T10" fmla="*/ 84 w 282"/>
              <a:gd name="T11" fmla="*/ 108 h 222"/>
              <a:gd name="T12" fmla="*/ 138 w 282"/>
              <a:gd name="T13" fmla="*/ 60 h 222"/>
              <a:gd name="T14" fmla="*/ 144 w 282"/>
              <a:gd name="T15" fmla="*/ 48 h 222"/>
              <a:gd name="T16" fmla="*/ 156 w 282"/>
              <a:gd name="T17" fmla="*/ 30 h 222"/>
              <a:gd name="T18" fmla="*/ 162 w 282"/>
              <a:gd name="T19" fmla="*/ 18 h 222"/>
              <a:gd name="T20" fmla="*/ 162 w 282"/>
              <a:gd name="T21" fmla="*/ 30 h 222"/>
              <a:gd name="T22" fmla="*/ 180 w 282"/>
              <a:gd name="T23" fmla="*/ 36 h 222"/>
              <a:gd name="T24" fmla="*/ 192 w 282"/>
              <a:gd name="T25" fmla="*/ 48 h 222"/>
              <a:gd name="T26" fmla="*/ 204 w 282"/>
              <a:gd name="T27" fmla="*/ 42 h 222"/>
              <a:gd name="T28" fmla="*/ 210 w 282"/>
              <a:gd name="T29" fmla="*/ 36 h 222"/>
              <a:gd name="T30" fmla="*/ 228 w 282"/>
              <a:gd name="T31" fmla="*/ 42 h 222"/>
              <a:gd name="T32" fmla="*/ 234 w 282"/>
              <a:gd name="T33" fmla="*/ 18 h 222"/>
              <a:gd name="T34" fmla="*/ 246 w 282"/>
              <a:gd name="T35" fmla="*/ 6 h 222"/>
              <a:gd name="T36" fmla="*/ 264 w 282"/>
              <a:gd name="T37" fmla="*/ 0 h 222"/>
              <a:gd name="T38" fmla="*/ 276 w 282"/>
              <a:gd name="T39" fmla="*/ 18 h 222"/>
              <a:gd name="T40" fmla="*/ 276 w 282"/>
              <a:gd name="T41" fmla="*/ 30 h 222"/>
              <a:gd name="T42" fmla="*/ 276 w 282"/>
              <a:gd name="T43" fmla="*/ 42 h 222"/>
              <a:gd name="T44" fmla="*/ 264 w 282"/>
              <a:gd name="T45" fmla="*/ 60 h 222"/>
              <a:gd name="T46" fmla="*/ 270 w 282"/>
              <a:gd name="T47" fmla="*/ 72 h 222"/>
              <a:gd name="T48" fmla="*/ 276 w 282"/>
              <a:gd name="T49" fmla="*/ 84 h 222"/>
              <a:gd name="T50" fmla="*/ 282 w 282"/>
              <a:gd name="T51" fmla="*/ 96 h 222"/>
              <a:gd name="T52" fmla="*/ 282 w 282"/>
              <a:gd name="T53" fmla="*/ 114 h 222"/>
              <a:gd name="T54" fmla="*/ 282 w 282"/>
              <a:gd name="T55" fmla="*/ 126 h 222"/>
              <a:gd name="T56" fmla="*/ 282 w 282"/>
              <a:gd name="T57" fmla="*/ 138 h 222"/>
              <a:gd name="T58" fmla="*/ 276 w 282"/>
              <a:gd name="T59" fmla="*/ 144 h 222"/>
              <a:gd name="T60" fmla="*/ 276 w 282"/>
              <a:gd name="T61" fmla="*/ 156 h 222"/>
              <a:gd name="T62" fmla="*/ 276 w 282"/>
              <a:gd name="T63" fmla="*/ 168 h 222"/>
              <a:gd name="T64" fmla="*/ 258 w 282"/>
              <a:gd name="T65" fmla="*/ 204 h 222"/>
              <a:gd name="T66" fmla="*/ 252 w 282"/>
              <a:gd name="T67" fmla="*/ 210 h 222"/>
              <a:gd name="T68" fmla="*/ 246 w 282"/>
              <a:gd name="T69" fmla="*/ 222 h 222"/>
              <a:gd name="T70" fmla="*/ 234 w 282"/>
              <a:gd name="T71" fmla="*/ 222 h 222"/>
              <a:gd name="T72" fmla="*/ 222 w 282"/>
              <a:gd name="T73" fmla="*/ 210 h 222"/>
              <a:gd name="T74" fmla="*/ 210 w 282"/>
              <a:gd name="T75" fmla="*/ 210 h 222"/>
              <a:gd name="T76" fmla="*/ 204 w 282"/>
              <a:gd name="T77" fmla="*/ 210 h 222"/>
              <a:gd name="T78" fmla="*/ 192 w 282"/>
              <a:gd name="T79" fmla="*/ 210 h 222"/>
              <a:gd name="T80" fmla="*/ 198 w 282"/>
              <a:gd name="T81" fmla="*/ 198 h 222"/>
              <a:gd name="T82" fmla="*/ 192 w 282"/>
              <a:gd name="T83" fmla="*/ 186 h 222"/>
              <a:gd name="T84" fmla="*/ 192 w 282"/>
              <a:gd name="T85" fmla="*/ 180 h 222"/>
              <a:gd name="T86" fmla="*/ 186 w 282"/>
              <a:gd name="T87" fmla="*/ 180 h 222"/>
              <a:gd name="T88" fmla="*/ 180 w 282"/>
              <a:gd name="T89" fmla="*/ 186 h 222"/>
              <a:gd name="T90" fmla="*/ 126 w 282"/>
              <a:gd name="T91" fmla="*/ 186 h 222"/>
              <a:gd name="T92" fmla="*/ 120 w 282"/>
              <a:gd name="T93" fmla="*/ 192 h 222"/>
              <a:gd name="T94" fmla="*/ 120 w 282"/>
              <a:gd name="T95" fmla="*/ 198 h 222"/>
              <a:gd name="T96" fmla="*/ 114 w 282"/>
              <a:gd name="T97" fmla="*/ 198 h 222"/>
              <a:gd name="T98" fmla="*/ 102 w 282"/>
              <a:gd name="T99" fmla="*/ 198 h 222"/>
              <a:gd name="T100" fmla="*/ 96 w 282"/>
              <a:gd name="T101" fmla="*/ 198 h 222"/>
              <a:gd name="T102" fmla="*/ 84 w 282"/>
              <a:gd name="T103" fmla="*/ 198 h 222"/>
              <a:gd name="T104" fmla="*/ 72 w 282"/>
              <a:gd name="T105" fmla="*/ 198 h 222"/>
              <a:gd name="T106" fmla="*/ 60 w 282"/>
              <a:gd name="T107" fmla="*/ 180 h 222"/>
              <a:gd name="T108" fmla="*/ 54 w 282"/>
              <a:gd name="T109" fmla="*/ 192 h 222"/>
              <a:gd name="T110" fmla="*/ 42 w 282"/>
              <a:gd name="T111" fmla="*/ 180 h 222"/>
              <a:gd name="T112" fmla="*/ 30 w 282"/>
              <a:gd name="T113" fmla="*/ 174 h 222"/>
              <a:gd name="T114" fmla="*/ 6 w 282"/>
              <a:gd name="T115" fmla="*/ 174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82" h="222">
                <a:moveTo>
                  <a:pt x="0" y="174"/>
                </a:moveTo>
                <a:lnTo>
                  <a:pt x="6" y="174"/>
                </a:lnTo>
                <a:lnTo>
                  <a:pt x="6" y="174"/>
                </a:lnTo>
                <a:lnTo>
                  <a:pt x="12" y="174"/>
                </a:lnTo>
                <a:lnTo>
                  <a:pt x="6" y="168"/>
                </a:lnTo>
                <a:lnTo>
                  <a:pt x="6" y="168"/>
                </a:lnTo>
                <a:lnTo>
                  <a:pt x="6" y="168"/>
                </a:lnTo>
                <a:lnTo>
                  <a:pt x="6" y="168"/>
                </a:lnTo>
                <a:lnTo>
                  <a:pt x="6" y="168"/>
                </a:lnTo>
                <a:lnTo>
                  <a:pt x="6" y="168"/>
                </a:lnTo>
                <a:lnTo>
                  <a:pt x="6" y="162"/>
                </a:lnTo>
                <a:lnTo>
                  <a:pt x="6" y="162"/>
                </a:lnTo>
                <a:lnTo>
                  <a:pt x="6" y="162"/>
                </a:lnTo>
                <a:lnTo>
                  <a:pt x="6" y="162"/>
                </a:lnTo>
                <a:lnTo>
                  <a:pt x="6" y="162"/>
                </a:lnTo>
                <a:lnTo>
                  <a:pt x="6" y="156"/>
                </a:lnTo>
                <a:lnTo>
                  <a:pt x="6" y="156"/>
                </a:lnTo>
                <a:lnTo>
                  <a:pt x="12" y="156"/>
                </a:lnTo>
                <a:lnTo>
                  <a:pt x="12" y="150"/>
                </a:lnTo>
                <a:lnTo>
                  <a:pt x="12" y="150"/>
                </a:lnTo>
                <a:lnTo>
                  <a:pt x="12" y="150"/>
                </a:lnTo>
                <a:lnTo>
                  <a:pt x="12" y="144"/>
                </a:lnTo>
                <a:lnTo>
                  <a:pt x="12" y="144"/>
                </a:lnTo>
                <a:lnTo>
                  <a:pt x="12" y="144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8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08"/>
                </a:lnTo>
                <a:lnTo>
                  <a:pt x="12" y="108"/>
                </a:lnTo>
                <a:lnTo>
                  <a:pt x="18" y="108"/>
                </a:lnTo>
                <a:lnTo>
                  <a:pt x="24" y="108"/>
                </a:lnTo>
                <a:lnTo>
                  <a:pt x="48" y="108"/>
                </a:lnTo>
                <a:lnTo>
                  <a:pt x="54" y="108"/>
                </a:lnTo>
                <a:lnTo>
                  <a:pt x="60" y="108"/>
                </a:lnTo>
                <a:lnTo>
                  <a:pt x="84" y="108"/>
                </a:lnTo>
                <a:lnTo>
                  <a:pt x="114" y="108"/>
                </a:lnTo>
                <a:lnTo>
                  <a:pt x="126" y="78"/>
                </a:lnTo>
                <a:lnTo>
                  <a:pt x="126" y="78"/>
                </a:lnTo>
                <a:lnTo>
                  <a:pt x="132" y="72"/>
                </a:lnTo>
                <a:lnTo>
                  <a:pt x="132" y="66"/>
                </a:lnTo>
                <a:lnTo>
                  <a:pt x="132" y="66"/>
                </a:lnTo>
                <a:lnTo>
                  <a:pt x="138" y="66"/>
                </a:lnTo>
                <a:lnTo>
                  <a:pt x="138" y="66"/>
                </a:lnTo>
                <a:lnTo>
                  <a:pt x="138" y="66"/>
                </a:lnTo>
                <a:lnTo>
                  <a:pt x="138" y="60"/>
                </a:lnTo>
                <a:lnTo>
                  <a:pt x="138" y="60"/>
                </a:lnTo>
                <a:lnTo>
                  <a:pt x="138" y="60"/>
                </a:lnTo>
                <a:lnTo>
                  <a:pt x="138" y="54"/>
                </a:lnTo>
                <a:lnTo>
                  <a:pt x="138" y="54"/>
                </a:lnTo>
                <a:lnTo>
                  <a:pt x="138" y="54"/>
                </a:lnTo>
                <a:lnTo>
                  <a:pt x="138" y="54"/>
                </a:lnTo>
                <a:lnTo>
                  <a:pt x="138" y="54"/>
                </a:lnTo>
                <a:lnTo>
                  <a:pt x="138" y="48"/>
                </a:lnTo>
                <a:lnTo>
                  <a:pt x="138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2"/>
                </a:lnTo>
                <a:lnTo>
                  <a:pt x="150" y="42"/>
                </a:lnTo>
                <a:lnTo>
                  <a:pt x="150" y="36"/>
                </a:lnTo>
                <a:lnTo>
                  <a:pt x="150" y="36"/>
                </a:lnTo>
                <a:lnTo>
                  <a:pt x="156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24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62" y="18"/>
                </a:lnTo>
                <a:lnTo>
                  <a:pt x="156" y="18"/>
                </a:lnTo>
                <a:lnTo>
                  <a:pt x="162" y="18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30"/>
                </a:lnTo>
                <a:lnTo>
                  <a:pt x="162" y="30"/>
                </a:lnTo>
                <a:lnTo>
                  <a:pt x="162" y="30"/>
                </a:lnTo>
                <a:lnTo>
                  <a:pt x="162" y="30"/>
                </a:lnTo>
                <a:lnTo>
                  <a:pt x="168" y="30"/>
                </a:lnTo>
                <a:lnTo>
                  <a:pt x="168" y="30"/>
                </a:lnTo>
                <a:lnTo>
                  <a:pt x="168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42"/>
                </a:lnTo>
                <a:lnTo>
                  <a:pt x="186" y="42"/>
                </a:lnTo>
                <a:lnTo>
                  <a:pt x="186" y="42"/>
                </a:lnTo>
                <a:lnTo>
                  <a:pt x="186" y="48"/>
                </a:lnTo>
                <a:lnTo>
                  <a:pt x="186" y="48"/>
                </a:lnTo>
                <a:lnTo>
                  <a:pt x="192" y="48"/>
                </a:lnTo>
                <a:lnTo>
                  <a:pt x="192" y="48"/>
                </a:lnTo>
                <a:lnTo>
                  <a:pt x="192" y="48"/>
                </a:lnTo>
                <a:lnTo>
                  <a:pt x="192" y="48"/>
                </a:lnTo>
                <a:lnTo>
                  <a:pt x="198" y="48"/>
                </a:lnTo>
                <a:lnTo>
                  <a:pt x="198" y="48"/>
                </a:lnTo>
                <a:lnTo>
                  <a:pt x="198" y="48"/>
                </a:lnTo>
                <a:lnTo>
                  <a:pt x="198" y="48"/>
                </a:lnTo>
                <a:lnTo>
                  <a:pt x="204" y="48"/>
                </a:lnTo>
                <a:lnTo>
                  <a:pt x="204" y="48"/>
                </a:lnTo>
                <a:lnTo>
                  <a:pt x="204" y="48"/>
                </a:lnTo>
                <a:lnTo>
                  <a:pt x="204" y="48"/>
                </a:lnTo>
                <a:lnTo>
                  <a:pt x="204" y="42"/>
                </a:lnTo>
                <a:lnTo>
                  <a:pt x="204" y="42"/>
                </a:lnTo>
                <a:lnTo>
                  <a:pt x="204" y="42"/>
                </a:lnTo>
                <a:lnTo>
                  <a:pt x="204" y="42"/>
                </a:lnTo>
                <a:lnTo>
                  <a:pt x="204" y="42"/>
                </a:lnTo>
                <a:lnTo>
                  <a:pt x="204" y="42"/>
                </a:lnTo>
                <a:lnTo>
                  <a:pt x="204" y="42"/>
                </a:lnTo>
                <a:lnTo>
                  <a:pt x="210" y="42"/>
                </a:lnTo>
                <a:lnTo>
                  <a:pt x="210" y="36"/>
                </a:lnTo>
                <a:lnTo>
                  <a:pt x="210" y="36"/>
                </a:lnTo>
                <a:lnTo>
                  <a:pt x="210" y="36"/>
                </a:lnTo>
                <a:lnTo>
                  <a:pt x="210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8" y="42"/>
                </a:lnTo>
                <a:lnTo>
                  <a:pt x="228" y="42"/>
                </a:lnTo>
                <a:lnTo>
                  <a:pt x="228" y="36"/>
                </a:lnTo>
                <a:lnTo>
                  <a:pt x="228" y="42"/>
                </a:lnTo>
                <a:lnTo>
                  <a:pt x="234" y="42"/>
                </a:lnTo>
                <a:lnTo>
                  <a:pt x="234" y="42"/>
                </a:lnTo>
                <a:lnTo>
                  <a:pt x="234" y="36"/>
                </a:lnTo>
                <a:lnTo>
                  <a:pt x="234" y="36"/>
                </a:lnTo>
                <a:lnTo>
                  <a:pt x="228" y="30"/>
                </a:lnTo>
                <a:lnTo>
                  <a:pt x="234" y="24"/>
                </a:lnTo>
                <a:lnTo>
                  <a:pt x="234" y="24"/>
                </a:lnTo>
                <a:lnTo>
                  <a:pt x="234" y="24"/>
                </a:lnTo>
                <a:lnTo>
                  <a:pt x="234" y="24"/>
                </a:lnTo>
                <a:lnTo>
                  <a:pt x="234" y="18"/>
                </a:lnTo>
                <a:lnTo>
                  <a:pt x="234" y="18"/>
                </a:lnTo>
                <a:lnTo>
                  <a:pt x="234" y="18"/>
                </a:lnTo>
                <a:lnTo>
                  <a:pt x="240" y="18"/>
                </a:lnTo>
                <a:lnTo>
                  <a:pt x="240" y="12"/>
                </a:lnTo>
                <a:lnTo>
                  <a:pt x="240" y="12"/>
                </a:lnTo>
                <a:lnTo>
                  <a:pt x="240" y="12"/>
                </a:lnTo>
                <a:lnTo>
                  <a:pt x="240" y="6"/>
                </a:lnTo>
                <a:lnTo>
                  <a:pt x="240" y="6"/>
                </a:lnTo>
                <a:lnTo>
                  <a:pt x="240" y="6"/>
                </a:lnTo>
                <a:lnTo>
                  <a:pt x="246" y="6"/>
                </a:lnTo>
                <a:lnTo>
                  <a:pt x="246" y="6"/>
                </a:lnTo>
                <a:lnTo>
                  <a:pt x="252" y="6"/>
                </a:lnTo>
                <a:lnTo>
                  <a:pt x="252" y="6"/>
                </a:lnTo>
                <a:lnTo>
                  <a:pt x="252" y="6"/>
                </a:lnTo>
                <a:lnTo>
                  <a:pt x="258" y="6"/>
                </a:lnTo>
                <a:lnTo>
                  <a:pt x="258" y="6"/>
                </a:lnTo>
                <a:lnTo>
                  <a:pt x="258" y="6"/>
                </a:lnTo>
                <a:lnTo>
                  <a:pt x="258" y="6"/>
                </a:lnTo>
                <a:lnTo>
                  <a:pt x="264" y="0"/>
                </a:lnTo>
                <a:lnTo>
                  <a:pt x="264" y="0"/>
                </a:lnTo>
                <a:lnTo>
                  <a:pt x="264" y="0"/>
                </a:lnTo>
                <a:lnTo>
                  <a:pt x="264" y="0"/>
                </a:lnTo>
                <a:lnTo>
                  <a:pt x="270" y="6"/>
                </a:lnTo>
                <a:lnTo>
                  <a:pt x="270" y="6"/>
                </a:lnTo>
                <a:lnTo>
                  <a:pt x="270" y="6"/>
                </a:lnTo>
                <a:lnTo>
                  <a:pt x="276" y="6"/>
                </a:lnTo>
                <a:lnTo>
                  <a:pt x="276" y="12"/>
                </a:lnTo>
                <a:lnTo>
                  <a:pt x="276" y="12"/>
                </a:lnTo>
                <a:lnTo>
                  <a:pt x="276" y="12"/>
                </a:lnTo>
                <a:lnTo>
                  <a:pt x="276" y="18"/>
                </a:lnTo>
                <a:lnTo>
                  <a:pt x="276" y="18"/>
                </a:lnTo>
                <a:lnTo>
                  <a:pt x="276" y="18"/>
                </a:lnTo>
                <a:lnTo>
                  <a:pt x="276" y="18"/>
                </a:lnTo>
                <a:lnTo>
                  <a:pt x="276" y="24"/>
                </a:lnTo>
                <a:lnTo>
                  <a:pt x="276" y="24"/>
                </a:lnTo>
                <a:lnTo>
                  <a:pt x="276" y="24"/>
                </a:lnTo>
                <a:lnTo>
                  <a:pt x="276" y="24"/>
                </a:lnTo>
                <a:lnTo>
                  <a:pt x="276" y="30"/>
                </a:lnTo>
                <a:lnTo>
                  <a:pt x="276" y="30"/>
                </a:lnTo>
                <a:lnTo>
                  <a:pt x="276" y="30"/>
                </a:lnTo>
                <a:lnTo>
                  <a:pt x="276" y="36"/>
                </a:lnTo>
                <a:lnTo>
                  <a:pt x="276" y="36"/>
                </a:lnTo>
                <a:lnTo>
                  <a:pt x="276" y="36"/>
                </a:lnTo>
                <a:lnTo>
                  <a:pt x="276" y="36"/>
                </a:lnTo>
                <a:lnTo>
                  <a:pt x="276" y="36"/>
                </a:lnTo>
                <a:lnTo>
                  <a:pt x="276" y="36"/>
                </a:lnTo>
                <a:lnTo>
                  <a:pt x="276" y="42"/>
                </a:lnTo>
                <a:lnTo>
                  <a:pt x="276" y="42"/>
                </a:lnTo>
                <a:lnTo>
                  <a:pt x="276" y="42"/>
                </a:lnTo>
                <a:lnTo>
                  <a:pt x="276" y="42"/>
                </a:lnTo>
                <a:lnTo>
                  <a:pt x="270" y="48"/>
                </a:lnTo>
                <a:lnTo>
                  <a:pt x="270" y="48"/>
                </a:lnTo>
                <a:lnTo>
                  <a:pt x="270" y="48"/>
                </a:lnTo>
                <a:lnTo>
                  <a:pt x="270" y="48"/>
                </a:lnTo>
                <a:lnTo>
                  <a:pt x="270" y="54"/>
                </a:lnTo>
                <a:lnTo>
                  <a:pt x="270" y="54"/>
                </a:lnTo>
                <a:lnTo>
                  <a:pt x="270" y="54"/>
                </a:lnTo>
                <a:lnTo>
                  <a:pt x="270" y="54"/>
                </a:lnTo>
                <a:lnTo>
                  <a:pt x="270" y="60"/>
                </a:lnTo>
                <a:lnTo>
                  <a:pt x="264" y="60"/>
                </a:lnTo>
                <a:lnTo>
                  <a:pt x="264" y="60"/>
                </a:lnTo>
                <a:lnTo>
                  <a:pt x="264" y="60"/>
                </a:lnTo>
                <a:lnTo>
                  <a:pt x="270" y="60"/>
                </a:lnTo>
                <a:lnTo>
                  <a:pt x="270" y="66"/>
                </a:lnTo>
                <a:lnTo>
                  <a:pt x="270" y="66"/>
                </a:lnTo>
                <a:lnTo>
                  <a:pt x="270" y="66"/>
                </a:lnTo>
                <a:lnTo>
                  <a:pt x="270" y="66"/>
                </a:lnTo>
                <a:lnTo>
                  <a:pt x="270" y="66"/>
                </a:lnTo>
                <a:lnTo>
                  <a:pt x="270" y="66"/>
                </a:lnTo>
                <a:lnTo>
                  <a:pt x="270" y="72"/>
                </a:lnTo>
                <a:lnTo>
                  <a:pt x="270" y="72"/>
                </a:lnTo>
                <a:lnTo>
                  <a:pt x="270" y="72"/>
                </a:lnTo>
                <a:lnTo>
                  <a:pt x="270" y="72"/>
                </a:lnTo>
                <a:lnTo>
                  <a:pt x="270" y="78"/>
                </a:lnTo>
                <a:lnTo>
                  <a:pt x="270" y="78"/>
                </a:lnTo>
                <a:lnTo>
                  <a:pt x="276" y="84"/>
                </a:lnTo>
                <a:lnTo>
                  <a:pt x="270" y="84"/>
                </a:lnTo>
                <a:lnTo>
                  <a:pt x="276" y="84"/>
                </a:lnTo>
                <a:lnTo>
                  <a:pt x="276" y="84"/>
                </a:lnTo>
                <a:lnTo>
                  <a:pt x="276" y="84"/>
                </a:lnTo>
                <a:lnTo>
                  <a:pt x="276" y="84"/>
                </a:lnTo>
                <a:lnTo>
                  <a:pt x="276" y="84"/>
                </a:lnTo>
                <a:lnTo>
                  <a:pt x="276" y="90"/>
                </a:lnTo>
                <a:lnTo>
                  <a:pt x="282" y="90"/>
                </a:lnTo>
                <a:lnTo>
                  <a:pt x="282" y="90"/>
                </a:lnTo>
                <a:lnTo>
                  <a:pt x="282" y="90"/>
                </a:lnTo>
                <a:lnTo>
                  <a:pt x="282" y="90"/>
                </a:lnTo>
                <a:lnTo>
                  <a:pt x="282" y="96"/>
                </a:lnTo>
                <a:lnTo>
                  <a:pt x="282" y="96"/>
                </a:lnTo>
                <a:lnTo>
                  <a:pt x="282" y="96"/>
                </a:lnTo>
                <a:lnTo>
                  <a:pt x="282" y="96"/>
                </a:lnTo>
                <a:lnTo>
                  <a:pt x="282" y="96"/>
                </a:lnTo>
                <a:lnTo>
                  <a:pt x="282" y="96"/>
                </a:lnTo>
                <a:lnTo>
                  <a:pt x="282" y="96"/>
                </a:lnTo>
                <a:lnTo>
                  <a:pt x="282" y="102"/>
                </a:lnTo>
                <a:lnTo>
                  <a:pt x="282" y="102"/>
                </a:lnTo>
                <a:lnTo>
                  <a:pt x="282" y="102"/>
                </a:lnTo>
                <a:lnTo>
                  <a:pt x="282" y="108"/>
                </a:lnTo>
                <a:lnTo>
                  <a:pt x="282" y="108"/>
                </a:lnTo>
                <a:lnTo>
                  <a:pt x="282" y="114"/>
                </a:lnTo>
                <a:lnTo>
                  <a:pt x="282" y="114"/>
                </a:lnTo>
                <a:lnTo>
                  <a:pt x="282" y="114"/>
                </a:lnTo>
                <a:lnTo>
                  <a:pt x="282" y="120"/>
                </a:lnTo>
                <a:lnTo>
                  <a:pt x="282" y="120"/>
                </a:lnTo>
                <a:lnTo>
                  <a:pt x="282" y="120"/>
                </a:lnTo>
                <a:lnTo>
                  <a:pt x="282" y="126"/>
                </a:lnTo>
                <a:lnTo>
                  <a:pt x="282" y="126"/>
                </a:lnTo>
                <a:lnTo>
                  <a:pt x="282" y="126"/>
                </a:lnTo>
                <a:lnTo>
                  <a:pt x="282" y="126"/>
                </a:lnTo>
                <a:lnTo>
                  <a:pt x="282" y="126"/>
                </a:lnTo>
                <a:lnTo>
                  <a:pt x="282" y="132"/>
                </a:lnTo>
                <a:lnTo>
                  <a:pt x="282" y="132"/>
                </a:lnTo>
                <a:lnTo>
                  <a:pt x="282" y="132"/>
                </a:lnTo>
                <a:lnTo>
                  <a:pt x="282" y="132"/>
                </a:lnTo>
                <a:lnTo>
                  <a:pt x="282" y="132"/>
                </a:lnTo>
                <a:lnTo>
                  <a:pt x="282" y="132"/>
                </a:lnTo>
                <a:lnTo>
                  <a:pt x="282" y="132"/>
                </a:lnTo>
                <a:lnTo>
                  <a:pt x="282" y="138"/>
                </a:lnTo>
                <a:lnTo>
                  <a:pt x="282" y="138"/>
                </a:lnTo>
                <a:lnTo>
                  <a:pt x="282" y="138"/>
                </a:lnTo>
                <a:lnTo>
                  <a:pt x="282" y="138"/>
                </a:lnTo>
                <a:lnTo>
                  <a:pt x="282" y="138"/>
                </a:lnTo>
                <a:lnTo>
                  <a:pt x="282" y="144"/>
                </a:lnTo>
                <a:lnTo>
                  <a:pt x="282" y="144"/>
                </a:lnTo>
                <a:lnTo>
                  <a:pt x="282" y="144"/>
                </a:lnTo>
                <a:lnTo>
                  <a:pt x="282" y="144"/>
                </a:lnTo>
                <a:lnTo>
                  <a:pt x="282" y="144"/>
                </a:lnTo>
                <a:lnTo>
                  <a:pt x="282" y="144"/>
                </a:lnTo>
                <a:lnTo>
                  <a:pt x="282" y="144"/>
                </a:lnTo>
                <a:lnTo>
                  <a:pt x="276" y="144"/>
                </a:lnTo>
                <a:lnTo>
                  <a:pt x="276" y="144"/>
                </a:lnTo>
                <a:lnTo>
                  <a:pt x="276" y="144"/>
                </a:lnTo>
                <a:lnTo>
                  <a:pt x="282" y="150"/>
                </a:lnTo>
                <a:lnTo>
                  <a:pt x="276" y="150"/>
                </a:lnTo>
                <a:lnTo>
                  <a:pt x="276" y="150"/>
                </a:lnTo>
                <a:lnTo>
                  <a:pt x="276" y="150"/>
                </a:lnTo>
                <a:lnTo>
                  <a:pt x="276" y="156"/>
                </a:lnTo>
                <a:lnTo>
                  <a:pt x="276" y="156"/>
                </a:lnTo>
                <a:lnTo>
                  <a:pt x="276" y="156"/>
                </a:lnTo>
                <a:lnTo>
                  <a:pt x="276" y="156"/>
                </a:lnTo>
                <a:lnTo>
                  <a:pt x="276" y="162"/>
                </a:lnTo>
                <a:lnTo>
                  <a:pt x="276" y="162"/>
                </a:lnTo>
                <a:lnTo>
                  <a:pt x="276" y="162"/>
                </a:lnTo>
                <a:lnTo>
                  <a:pt x="276" y="162"/>
                </a:lnTo>
                <a:lnTo>
                  <a:pt x="276" y="162"/>
                </a:lnTo>
                <a:lnTo>
                  <a:pt x="276" y="168"/>
                </a:lnTo>
                <a:lnTo>
                  <a:pt x="276" y="168"/>
                </a:lnTo>
                <a:lnTo>
                  <a:pt x="276" y="168"/>
                </a:lnTo>
                <a:lnTo>
                  <a:pt x="276" y="168"/>
                </a:lnTo>
                <a:lnTo>
                  <a:pt x="276" y="168"/>
                </a:lnTo>
                <a:lnTo>
                  <a:pt x="270" y="168"/>
                </a:lnTo>
                <a:lnTo>
                  <a:pt x="276" y="168"/>
                </a:lnTo>
                <a:lnTo>
                  <a:pt x="264" y="168"/>
                </a:lnTo>
                <a:lnTo>
                  <a:pt x="264" y="180"/>
                </a:lnTo>
                <a:lnTo>
                  <a:pt x="264" y="180"/>
                </a:lnTo>
                <a:lnTo>
                  <a:pt x="264" y="186"/>
                </a:lnTo>
                <a:lnTo>
                  <a:pt x="264" y="186"/>
                </a:lnTo>
                <a:lnTo>
                  <a:pt x="258" y="186"/>
                </a:lnTo>
                <a:lnTo>
                  <a:pt x="258" y="204"/>
                </a:lnTo>
                <a:lnTo>
                  <a:pt x="258" y="204"/>
                </a:lnTo>
                <a:lnTo>
                  <a:pt x="258" y="204"/>
                </a:lnTo>
                <a:lnTo>
                  <a:pt x="252" y="204"/>
                </a:lnTo>
                <a:lnTo>
                  <a:pt x="252" y="210"/>
                </a:lnTo>
                <a:lnTo>
                  <a:pt x="252" y="210"/>
                </a:lnTo>
                <a:lnTo>
                  <a:pt x="252" y="210"/>
                </a:lnTo>
                <a:lnTo>
                  <a:pt x="252" y="210"/>
                </a:lnTo>
                <a:lnTo>
                  <a:pt x="252" y="210"/>
                </a:lnTo>
                <a:lnTo>
                  <a:pt x="252" y="210"/>
                </a:lnTo>
                <a:lnTo>
                  <a:pt x="252" y="210"/>
                </a:lnTo>
                <a:lnTo>
                  <a:pt x="252" y="210"/>
                </a:lnTo>
                <a:lnTo>
                  <a:pt x="252" y="210"/>
                </a:lnTo>
                <a:lnTo>
                  <a:pt x="246" y="216"/>
                </a:lnTo>
                <a:lnTo>
                  <a:pt x="246" y="216"/>
                </a:lnTo>
                <a:lnTo>
                  <a:pt x="246" y="216"/>
                </a:lnTo>
                <a:lnTo>
                  <a:pt x="246" y="216"/>
                </a:lnTo>
                <a:lnTo>
                  <a:pt x="246" y="216"/>
                </a:lnTo>
                <a:lnTo>
                  <a:pt x="246" y="216"/>
                </a:lnTo>
                <a:lnTo>
                  <a:pt x="246" y="216"/>
                </a:lnTo>
                <a:lnTo>
                  <a:pt x="246" y="222"/>
                </a:lnTo>
                <a:lnTo>
                  <a:pt x="246" y="222"/>
                </a:lnTo>
                <a:lnTo>
                  <a:pt x="246" y="222"/>
                </a:lnTo>
                <a:lnTo>
                  <a:pt x="246" y="222"/>
                </a:lnTo>
                <a:lnTo>
                  <a:pt x="240" y="222"/>
                </a:lnTo>
                <a:lnTo>
                  <a:pt x="240" y="222"/>
                </a:lnTo>
                <a:lnTo>
                  <a:pt x="240" y="222"/>
                </a:lnTo>
                <a:lnTo>
                  <a:pt x="240" y="222"/>
                </a:lnTo>
                <a:lnTo>
                  <a:pt x="240" y="222"/>
                </a:lnTo>
                <a:lnTo>
                  <a:pt x="240" y="222"/>
                </a:lnTo>
                <a:lnTo>
                  <a:pt x="234" y="222"/>
                </a:lnTo>
                <a:lnTo>
                  <a:pt x="234" y="222"/>
                </a:lnTo>
                <a:lnTo>
                  <a:pt x="228" y="216"/>
                </a:lnTo>
                <a:lnTo>
                  <a:pt x="228" y="216"/>
                </a:lnTo>
                <a:lnTo>
                  <a:pt x="228" y="216"/>
                </a:lnTo>
                <a:lnTo>
                  <a:pt x="228" y="210"/>
                </a:lnTo>
                <a:lnTo>
                  <a:pt x="222" y="210"/>
                </a:lnTo>
                <a:lnTo>
                  <a:pt x="222" y="210"/>
                </a:lnTo>
                <a:lnTo>
                  <a:pt x="222" y="210"/>
                </a:lnTo>
                <a:lnTo>
                  <a:pt x="222" y="210"/>
                </a:lnTo>
                <a:lnTo>
                  <a:pt x="222" y="210"/>
                </a:lnTo>
                <a:lnTo>
                  <a:pt x="222" y="210"/>
                </a:lnTo>
                <a:lnTo>
                  <a:pt x="222" y="210"/>
                </a:lnTo>
                <a:lnTo>
                  <a:pt x="216" y="210"/>
                </a:lnTo>
                <a:lnTo>
                  <a:pt x="216" y="210"/>
                </a:lnTo>
                <a:lnTo>
                  <a:pt x="216" y="210"/>
                </a:lnTo>
                <a:lnTo>
                  <a:pt x="216" y="210"/>
                </a:lnTo>
                <a:lnTo>
                  <a:pt x="216" y="210"/>
                </a:lnTo>
                <a:lnTo>
                  <a:pt x="216" y="210"/>
                </a:lnTo>
                <a:lnTo>
                  <a:pt x="210" y="210"/>
                </a:lnTo>
                <a:lnTo>
                  <a:pt x="210" y="210"/>
                </a:lnTo>
                <a:lnTo>
                  <a:pt x="210" y="210"/>
                </a:lnTo>
                <a:lnTo>
                  <a:pt x="210" y="210"/>
                </a:lnTo>
                <a:lnTo>
                  <a:pt x="210" y="210"/>
                </a:lnTo>
                <a:lnTo>
                  <a:pt x="204" y="210"/>
                </a:lnTo>
                <a:lnTo>
                  <a:pt x="204" y="210"/>
                </a:lnTo>
                <a:lnTo>
                  <a:pt x="204" y="210"/>
                </a:lnTo>
                <a:lnTo>
                  <a:pt x="204" y="210"/>
                </a:lnTo>
                <a:lnTo>
                  <a:pt x="204" y="210"/>
                </a:lnTo>
                <a:lnTo>
                  <a:pt x="204" y="210"/>
                </a:lnTo>
                <a:lnTo>
                  <a:pt x="204" y="210"/>
                </a:lnTo>
                <a:lnTo>
                  <a:pt x="204" y="210"/>
                </a:lnTo>
                <a:lnTo>
                  <a:pt x="198" y="210"/>
                </a:lnTo>
                <a:lnTo>
                  <a:pt x="198" y="210"/>
                </a:lnTo>
                <a:lnTo>
                  <a:pt x="198" y="210"/>
                </a:lnTo>
                <a:lnTo>
                  <a:pt x="198" y="210"/>
                </a:lnTo>
                <a:lnTo>
                  <a:pt x="198" y="210"/>
                </a:lnTo>
                <a:lnTo>
                  <a:pt x="192" y="210"/>
                </a:lnTo>
                <a:lnTo>
                  <a:pt x="192" y="210"/>
                </a:lnTo>
                <a:lnTo>
                  <a:pt x="192" y="210"/>
                </a:lnTo>
                <a:lnTo>
                  <a:pt x="192" y="210"/>
                </a:lnTo>
                <a:lnTo>
                  <a:pt x="192" y="210"/>
                </a:lnTo>
                <a:lnTo>
                  <a:pt x="192" y="210"/>
                </a:lnTo>
                <a:lnTo>
                  <a:pt x="192" y="204"/>
                </a:lnTo>
                <a:lnTo>
                  <a:pt x="192" y="204"/>
                </a:lnTo>
                <a:lnTo>
                  <a:pt x="192" y="204"/>
                </a:lnTo>
                <a:lnTo>
                  <a:pt x="192" y="204"/>
                </a:lnTo>
                <a:lnTo>
                  <a:pt x="192" y="204"/>
                </a:lnTo>
                <a:lnTo>
                  <a:pt x="198" y="198"/>
                </a:lnTo>
                <a:lnTo>
                  <a:pt x="198" y="198"/>
                </a:lnTo>
                <a:lnTo>
                  <a:pt x="198" y="198"/>
                </a:lnTo>
                <a:lnTo>
                  <a:pt x="198" y="198"/>
                </a:lnTo>
                <a:lnTo>
                  <a:pt x="198" y="198"/>
                </a:lnTo>
                <a:lnTo>
                  <a:pt x="198" y="198"/>
                </a:lnTo>
                <a:lnTo>
                  <a:pt x="198" y="192"/>
                </a:lnTo>
                <a:lnTo>
                  <a:pt x="198" y="192"/>
                </a:lnTo>
                <a:lnTo>
                  <a:pt x="192" y="192"/>
                </a:lnTo>
                <a:lnTo>
                  <a:pt x="198" y="186"/>
                </a:lnTo>
                <a:lnTo>
                  <a:pt x="198" y="186"/>
                </a:lnTo>
                <a:lnTo>
                  <a:pt x="192" y="186"/>
                </a:lnTo>
                <a:lnTo>
                  <a:pt x="192" y="186"/>
                </a:lnTo>
                <a:lnTo>
                  <a:pt x="192" y="186"/>
                </a:lnTo>
                <a:lnTo>
                  <a:pt x="192" y="186"/>
                </a:lnTo>
                <a:lnTo>
                  <a:pt x="192" y="186"/>
                </a:lnTo>
                <a:lnTo>
                  <a:pt x="192" y="180"/>
                </a:lnTo>
                <a:lnTo>
                  <a:pt x="192" y="180"/>
                </a:lnTo>
                <a:lnTo>
                  <a:pt x="192" y="180"/>
                </a:lnTo>
                <a:lnTo>
                  <a:pt x="192" y="180"/>
                </a:lnTo>
                <a:lnTo>
                  <a:pt x="192" y="180"/>
                </a:lnTo>
                <a:lnTo>
                  <a:pt x="192" y="180"/>
                </a:lnTo>
                <a:lnTo>
                  <a:pt x="192" y="180"/>
                </a:lnTo>
                <a:lnTo>
                  <a:pt x="192" y="180"/>
                </a:lnTo>
                <a:lnTo>
                  <a:pt x="192" y="180"/>
                </a:lnTo>
                <a:lnTo>
                  <a:pt x="192" y="180"/>
                </a:lnTo>
                <a:lnTo>
                  <a:pt x="192" y="180"/>
                </a:lnTo>
                <a:lnTo>
                  <a:pt x="192" y="180"/>
                </a:lnTo>
                <a:lnTo>
                  <a:pt x="192" y="180"/>
                </a:lnTo>
                <a:lnTo>
                  <a:pt x="186" y="180"/>
                </a:lnTo>
                <a:lnTo>
                  <a:pt x="186" y="180"/>
                </a:lnTo>
                <a:lnTo>
                  <a:pt x="186" y="180"/>
                </a:lnTo>
                <a:lnTo>
                  <a:pt x="186" y="180"/>
                </a:lnTo>
                <a:lnTo>
                  <a:pt x="186" y="180"/>
                </a:lnTo>
                <a:lnTo>
                  <a:pt x="186" y="180"/>
                </a:lnTo>
                <a:lnTo>
                  <a:pt x="186" y="180"/>
                </a:lnTo>
                <a:lnTo>
                  <a:pt x="186" y="186"/>
                </a:lnTo>
                <a:lnTo>
                  <a:pt x="186" y="186"/>
                </a:lnTo>
                <a:lnTo>
                  <a:pt x="186" y="186"/>
                </a:lnTo>
                <a:lnTo>
                  <a:pt x="186" y="186"/>
                </a:lnTo>
                <a:lnTo>
                  <a:pt x="186" y="186"/>
                </a:lnTo>
                <a:lnTo>
                  <a:pt x="186" y="186"/>
                </a:lnTo>
                <a:lnTo>
                  <a:pt x="186" y="186"/>
                </a:lnTo>
                <a:lnTo>
                  <a:pt x="180" y="186"/>
                </a:lnTo>
                <a:lnTo>
                  <a:pt x="180" y="192"/>
                </a:lnTo>
                <a:lnTo>
                  <a:pt x="180" y="192"/>
                </a:lnTo>
                <a:lnTo>
                  <a:pt x="180" y="192"/>
                </a:lnTo>
                <a:lnTo>
                  <a:pt x="180" y="192"/>
                </a:lnTo>
                <a:lnTo>
                  <a:pt x="180" y="192"/>
                </a:lnTo>
                <a:lnTo>
                  <a:pt x="180" y="192"/>
                </a:lnTo>
                <a:lnTo>
                  <a:pt x="162" y="192"/>
                </a:lnTo>
                <a:lnTo>
                  <a:pt x="156" y="198"/>
                </a:lnTo>
                <a:lnTo>
                  <a:pt x="138" y="204"/>
                </a:lnTo>
                <a:lnTo>
                  <a:pt x="126" y="186"/>
                </a:lnTo>
                <a:lnTo>
                  <a:pt x="126" y="186"/>
                </a:lnTo>
                <a:lnTo>
                  <a:pt x="126" y="186"/>
                </a:lnTo>
                <a:lnTo>
                  <a:pt x="126" y="192"/>
                </a:lnTo>
                <a:lnTo>
                  <a:pt x="120" y="192"/>
                </a:lnTo>
                <a:lnTo>
                  <a:pt x="120" y="192"/>
                </a:lnTo>
                <a:lnTo>
                  <a:pt x="120" y="192"/>
                </a:lnTo>
                <a:lnTo>
                  <a:pt x="120" y="192"/>
                </a:lnTo>
                <a:lnTo>
                  <a:pt x="120" y="192"/>
                </a:lnTo>
                <a:lnTo>
                  <a:pt x="120" y="192"/>
                </a:lnTo>
                <a:lnTo>
                  <a:pt x="120" y="192"/>
                </a:lnTo>
                <a:lnTo>
                  <a:pt x="120" y="192"/>
                </a:lnTo>
                <a:lnTo>
                  <a:pt x="120" y="192"/>
                </a:lnTo>
                <a:lnTo>
                  <a:pt x="120" y="192"/>
                </a:lnTo>
                <a:lnTo>
                  <a:pt x="120" y="192"/>
                </a:lnTo>
                <a:lnTo>
                  <a:pt x="120" y="192"/>
                </a:lnTo>
                <a:lnTo>
                  <a:pt x="120" y="192"/>
                </a:lnTo>
                <a:lnTo>
                  <a:pt x="120" y="192"/>
                </a:lnTo>
                <a:lnTo>
                  <a:pt x="120" y="198"/>
                </a:lnTo>
                <a:lnTo>
                  <a:pt x="120" y="198"/>
                </a:lnTo>
                <a:lnTo>
                  <a:pt x="120" y="198"/>
                </a:lnTo>
                <a:lnTo>
                  <a:pt x="120" y="198"/>
                </a:lnTo>
                <a:lnTo>
                  <a:pt x="120" y="198"/>
                </a:lnTo>
                <a:lnTo>
                  <a:pt x="114" y="198"/>
                </a:lnTo>
                <a:lnTo>
                  <a:pt x="114" y="198"/>
                </a:lnTo>
                <a:lnTo>
                  <a:pt x="114" y="198"/>
                </a:lnTo>
                <a:lnTo>
                  <a:pt x="114" y="198"/>
                </a:lnTo>
                <a:lnTo>
                  <a:pt x="114" y="198"/>
                </a:lnTo>
                <a:lnTo>
                  <a:pt x="114" y="198"/>
                </a:lnTo>
                <a:lnTo>
                  <a:pt x="114" y="198"/>
                </a:lnTo>
                <a:lnTo>
                  <a:pt x="114" y="198"/>
                </a:lnTo>
                <a:lnTo>
                  <a:pt x="108" y="198"/>
                </a:lnTo>
                <a:lnTo>
                  <a:pt x="108" y="198"/>
                </a:lnTo>
                <a:lnTo>
                  <a:pt x="108" y="198"/>
                </a:lnTo>
                <a:lnTo>
                  <a:pt x="108" y="198"/>
                </a:lnTo>
                <a:lnTo>
                  <a:pt x="108" y="198"/>
                </a:lnTo>
                <a:lnTo>
                  <a:pt x="108" y="198"/>
                </a:lnTo>
                <a:lnTo>
                  <a:pt x="108" y="198"/>
                </a:lnTo>
                <a:lnTo>
                  <a:pt x="108" y="198"/>
                </a:lnTo>
                <a:lnTo>
                  <a:pt x="102" y="198"/>
                </a:lnTo>
                <a:lnTo>
                  <a:pt x="102" y="198"/>
                </a:lnTo>
                <a:lnTo>
                  <a:pt x="102" y="198"/>
                </a:lnTo>
                <a:lnTo>
                  <a:pt x="102" y="198"/>
                </a:lnTo>
                <a:lnTo>
                  <a:pt x="102" y="198"/>
                </a:lnTo>
                <a:lnTo>
                  <a:pt x="102" y="198"/>
                </a:lnTo>
                <a:lnTo>
                  <a:pt x="102" y="198"/>
                </a:lnTo>
                <a:lnTo>
                  <a:pt x="102" y="198"/>
                </a:lnTo>
                <a:lnTo>
                  <a:pt x="102" y="198"/>
                </a:lnTo>
                <a:lnTo>
                  <a:pt x="102" y="198"/>
                </a:lnTo>
                <a:lnTo>
                  <a:pt x="102" y="198"/>
                </a:lnTo>
                <a:lnTo>
                  <a:pt x="96" y="198"/>
                </a:lnTo>
                <a:lnTo>
                  <a:pt x="96" y="198"/>
                </a:lnTo>
                <a:lnTo>
                  <a:pt x="96" y="198"/>
                </a:lnTo>
                <a:lnTo>
                  <a:pt x="96" y="198"/>
                </a:lnTo>
                <a:lnTo>
                  <a:pt x="96" y="198"/>
                </a:lnTo>
                <a:lnTo>
                  <a:pt x="96" y="198"/>
                </a:lnTo>
                <a:lnTo>
                  <a:pt x="90" y="198"/>
                </a:lnTo>
                <a:lnTo>
                  <a:pt x="90" y="198"/>
                </a:lnTo>
                <a:lnTo>
                  <a:pt x="90" y="198"/>
                </a:lnTo>
                <a:lnTo>
                  <a:pt x="90" y="198"/>
                </a:lnTo>
                <a:lnTo>
                  <a:pt x="84" y="198"/>
                </a:lnTo>
                <a:lnTo>
                  <a:pt x="84" y="198"/>
                </a:lnTo>
                <a:lnTo>
                  <a:pt x="84" y="198"/>
                </a:lnTo>
                <a:lnTo>
                  <a:pt x="84" y="198"/>
                </a:lnTo>
                <a:lnTo>
                  <a:pt x="84" y="198"/>
                </a:lnTo>
                <a:lnTo>
                  <a:pt x="78" y="198"/>
                </a:lnTo>
                <a:lnTo>
                  <a:pt x="78" y="198"/>
                </a:lnTo>
                <a:lnTo>
                  <a:pt x="78" y="198"/>
                </a:lnTo>
                <a:lnTo>
                  <a:pt x="72" y="198"/>
                </a:lnTo>
                <a:lnTo>
                  <a:pt x="72" y="198"/>
                </a:lnTo>
                <a:lnTo>
                  <a:pt x="72" y="198"/>
                </a:lnTo>
                <a:lnTo>
                  <a:pt x="72" y="198"/>
                </a:lnTo>
                <a:lnTo>
                  <a:pt x="72" y="192"/>
                </a:lnTo>
                <a:lnTo>
                  <a:pt x="72" y="192"/>
                </a:lnTo>
                <a:lnTo>
                  <a:pt x="66" y="192"/>
                </a:lnTo>
                <a:lnTo>
                  <a:pt x="66" y="186"/>
                </a:lnTo>
                <a:lnTo>
                  <a:pt x="66" y="186"/>
                </a:lnTo>
                <a:lnTo>
                  <a:pt x="66" y="186"/>
                </a:lnTo>
                <a:lnTo>
                  <a:pt x="60" y="180"/>
                </a:lnTo>
                <a:lnTo>
                  <a:pt x="60" y="180"/>
                </a:lnTo>
                <a:lnTo>
                  <a:pt x="60" y="180"/>
                </a:lnTo>
                <a:lnTo>
                  <a:pt x="60" y="180"/>
                </a:lnTo>
                <a:lnTo>
                  <a:pt x="60" y="186"/>
                </a:lnTo>
                <a:lnTo>
                  <a:pt x="60" y="186"/>
                </a:lnTo>
                <a:lnTo>
                  <a:pt x="60" y="186"/>
                </a:lnTo>
                <a:lnTo>
                  <a:pt x="60" y="186"/>
                </a:lnTo>
                <a:lnTo>
                  <a:pt x="54" y="186"/>
                </a:lnTo>
                <a:lnTo>
                  <a:pt x="54" y="186"/>
                </a:lnTo>
                <a:lnTo>
                  <a:pt x="54" y="192"/>
                </a:lnTo>
                <a:lnTo>
                  <a:pt x="54" y="192"/>
                </a:lnTo>
                <a:lnTo>
                  <a:pt x="54" y="192"/>
                </a:lnTo>
                <a:lnTo>
                  <a:pt x="54" y="192"/>
                </a:lnTo>
                <a:lnTo>
                  <a:pt x="48" y="192"/>
                </a:lnTo>
                <a:lnTo>
                  <a:pt x="42" y="192"/>
                </a:lnTo>
                <a:lnTo>
                  <a:pt x="42" y="192"/>
                </a:lnTo>
                <a:lnTo>
                  <a:pt x="42" y="186"/>
                </a:lnTo>
                <a:lnTo>
                  <a:pt x="42" y="186"/>
                </a:lnTo>
                <a:lnTo>
                  <a:pt x="42" y="186"/>
                </a:lnTo>
                <a:lnTo>
                  <a:pt x="42" y="186"/>
                </a:lnTo>
                <a:lnTo>
                  <a:pt x="42" y="186"/>
                </a:lnTo>
                <a:lnTo>
                  <a:pt x="42" y="180"/>
                </a:lnTo>
                <a:lnTo>
                  <a:pt x="42" y="180"/>
                </a:lnTo>
                <a:lnTo>
                  <a:pt x="36" y="180"/>
                </a:lnTo>
                <a:lnTo>
                  <a:pt x="36" y="180"/>
                </a:lnTo>
                <a:lnTo>
                  <a:pt x="36" y="180"/>
                </a:lnTo>
                <a:lnTo>
                  <a:pt x="36" y="180"/>
                </a:lnTo>
                <a:lnTo>
                  <a:pt x="36" y="180"/>
                </a:lnTo>
                <a:lnTo>
                  <a:pt x="30" y="180"/>
                </a:lnTo>
                <a:lnTo>
                  <a:pt x="30" y="180"/>
                </a:lnTo>
                <a:lnTo>
                  <a:pt x="30" y="180"/>
                </a:lnTo>
                <a:lnTo>
                  <a:pt x="30" y="174"/>
                </a:lnTo>
                <a:lnTo>
                  <a:pt x="24" y="174"/>
                </a:lnTo>
                <a:lnTo>
                  <a:pt x="24" y="174"/>
                </a:lnTo>
                <a:lnTo>
                  <a:pt x="18" y="180"/>
                </a:lnTo>
                <a:lnTo>
                  <a:pt x="18" y="180"/>
                </a:lnTo>
                <a:lnTo>
                  <a:pt x="12" y="174"/>
                </a:lnTo>
                <a:lnTo>
                  <a:pt x="12" y="180"/>
                </a:lnTo>
                <a:lnTo>
                  <a:pt x="12" y="174"/>
                </a:lnTo>
                <a:lnTo>
                  <a:pt x="12" y="174"/>
                </a:lnTo>
                <a:lnTo>
                  <a:pt x="12" y="174"/>
                </a:lnTo>
                <a:lnTo>
                  <a:pt x="6" y="174"/>
                </a:lnTo>
                <a:lnTo>
                  <a:pt x="0" y="17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278" name="Freeform 11"/>
          <p:cNvSpPr>
            <a:spLocks/>
          </p:cNvSpPr>
          <p:nvPr/>
        </p:nvSpPr>
        <p:spPr bwMode="auto">
          <a:xfrm>
            <a:off x="4346475" y="1417612"/>
            <a:ext cx="404715" cy="462535"/>
          </a:xfrm>
          <a:custGeom>
            <a:avLst/>
            <a:gdLst>
              <a:gd name="T0" fmla="*/ 6 w 378"/>
              <a:gd name="T1" fmla="*/ 396 h 432"/>
              <a:gd name="T2" fmla="*/ 12 w 378"/>
              <a:gd name="T3" fmla="*/ 384 h 432"/>
              <a:gd name="T4" fmla="*/ 24 w 378"/>
              <a:gd name="T5" fmla="*/ 378 h 432"/>
              <a:gd name="T6" fmla="*/ 42 w 378"/>
              <a:gd name="T7" fmla="*/ 366 h 432"/>
              <a:gd name="T8" fmla="*/ 54 w 378"/>
              <a:gd name="T9" fmla="*/ 354 h 432"/>
              <a:gd name="T10" fmla="*/ 78 w 378"/>
              <a:gd name="T11" fmla="*/ 336 h 432"/>
              <a:gd name="T12" fmla="*/ 96 w 378"/>
              <a:gd name="T13" fmla="*/ 318 h 432"/>
              <a:gd name="T14" fmla="*/ 102 w 378"/>
              <a:gd name="T15" fmla="*/ 294 h 432"/>
              <a:gd name="T16" fmla="*/ 108 w 378"/>
              <a:gd name="T17" fmla="*/ 282 h 432"/>
              <a:gd name="T18" fmla="*/ 138 w 378"/>
              <a:gd name="T19" fmla="*/ 264 h 432"/>
              <a:gd name="T20" fmla="*/ 144 w 378"/>
              <a:gd name="T21" fmla="*/ 246 h 432"/>
              <a:gd name="T22" fmla="*/ 132 w 378"/>
              <a:gd name="T23" fmla="*/ 222 h 432"/>
              <a:gd name="T24" fmla="*/ 132 w 378"/>
              <a:gd name="T25" fmla="*/ 192 h 432"/>
              <a:gd name="T26" fmla="*/ 126 w 378"/>
              <a:gd name="T27" fmla="*/ 168 h 432"/>
              <a:gd name="T28" fmla="*/ 138 w 378"/>
              <a:gd name="T29" fmla="*/ 144 h 432"/>
              <a:gd name="T30" fmla="*/ 150 w 378"/>
              <a:gd name="T31" fmla="*/ 120 h 432"/>
              <a:gd name="T32" fmla="*/ 162 w 378"/>
              <a:gd name="T33" fmla="*/ 102 h 432"/>
              <a:gd name="T34" fmla="*/ 180 w 378"/>
              <a:gd name="T35" fmla="*/ 84 h 432"/>
              <a:gd name="T36" fmla="*/ 192 w 378"/>
              <a:gd name="T37" fmla="*/ 78 h 432"/>
              <a:gd name="T38" fmla="*/ 210 w 378"/>
              <a:gd name="T39" fmla="*/ 78 h 432"/>
              <a:gd name="T40" fmla="*/ 204 w 378"/>
              <a:gd name="T41" fmla="*/ 60 h 432"/>
              <a:gd name="T42" fmla="*/ 222 w 378"/>
              <a:gd name="T43" fmla="*/ 48 h 432"/>
              <a:gd name="T44" fmla="*/ 216 w 378"/>
              <a:gd name="T45" fmla="*/ 24 h 432"/>
              <a:gd name="T46" fmla="*/ 210 w 378"/>
              <a:gd name="T47" fmla="*/ 12 h 432"/>
              <a:gd name="T48" fmla="*/ 228 w 378"/>
              <a:gd name="T49" fmla="*/ 18 h 432"/>
              <a:gd name="T50" fmla="*/ 234 w 378"/>
              <a:gd name="T51" fmla="*/ 6 h 432"/>
              <a:gd name="T52" fmla="*/ 258 w 378"/>
              <a:gd name="T53" fmla="*/ 42 h 432"/>
              <a:gd name="T54" fmla="*/ 270 w 378"/>
              <a:gd name="T55" fmla="*/ 60 h 432"/>
              <a:gd name="T56" fmla="*/ 270 w 378"/>
              <a:gd name="T57" fmla="*/ 78 h 432"/>
              <a:gd name="T58" fmla="*/ 282 w 378"/>
              <a:gd name="T59" fmla="*/ 96 h 432"/>
              <a:gd name="T60" fmla="*/ 288 w 378"/>
              <a:gd name="T61" fmla="*/ 114 h 432"/>
              <a:gd name="T62" fmla="*/ 306 w 378"/>
              <a:gd name="T63" fmla="*/ 132 h 432"/>
              <a:gd name="T64" fmla="*/ 336 w 378"/>
              <a:gd name="T65" fmla="*/ 162 h 432"/>
              <a:gd name="T66" fmla="*/ 378 w 378"/>
              <a:gd name="T67" fmla="*/ 186 h 432"/>
              <a:gd name="T68" fmla="*/ 366 w 378"/>
              <a:gd name="T69" fmla="*/ 204 h 432"/>
              <a:gd name="T70" fmla="*/ 348 w 378"/>
              <a:gd name="T71" fmla="*/ 216 h 432"/>
              <a:gd name="T72" fmla="*/ 330 w 378"/>
              <a:gd name="T73" fmla="*/ 222 h 432"/>
              <a:gd name="T74" fmla="*/ 312 w 378"/>
              <a:gd name="T75" fmla="*/ 228 h 432"/>
              <a:gd name="T76" fmla="*/ 300 w 378"/>
              <a:gd name="T77" fmla="*/ 240 h 432"/>
              <a:gd name="T78" fmla="*/ 282 w 378"/>
              <a:gd name="T79" fmla="*/ 252 h 432"/>
              <a:gd name="T80" fmla="*/ 264 w 378"/>
              <a:gd name="T81" fmla="*/ 264 h 432"/>
              <a:gd name="T82" fmla="*/ 252 w 378"/>
              <a:gd name="T83" fmla="*/ 276 h 432"/>
              <a:gd name="T84" fmla="*/ 240 w 378"/>
              <a:gd name="T85" fmla="*/ 294 h 432"/>
              <a:gd name="T86" fmla="*/ 210 w 378"/>
              <a:gd name="T87" fmla="*/ 306 h 432"/>
              <a:gd name="T88" fmla="*/ 198 w 378"/>
              <a:gd name="T89" fmla="*/ 318 h 432"/>
              <a:gd name="T90" fmla="*/ 180 w 378"/>
              <a:gd name="T91" fmla="*/ 348 h 432"/>
              <a:gd name="T92" fmla="*/ 168 w 378"/>
              <a:gd name="T93" fmla="*/ 372 h 432"/>
              <a:gd name="T94" fmla="*/ 162 w 378"/>
              <a:gd name="T95" fmla="*/ 384 h 432"/>
              <a:gd name="T96" fmla="*/ 162 w 378"/>
              <a:gd name="T97" fmla="*/ 396 h 432"/>
              <a:gd name="T98" fmla="*/ 138 w 378"/>
              <a:gd name="T99" fmla="*/ 402 h 432"/>
              <a:gd name="T100" fmla="*/ 126 w 378"/>
              <a:gd name="T101" fmla="*/ 408 h 432"/>
              <a:gd name="T102" fmla="*/ 108 w 378"/>
              <a:gd name="T103" fmla="*/ 402 h 432"/>
              <a:gd name="T104" fmla="*/ 96 w 378"/>
              <a:gd name="T105" fmla="*/ 402 h 432"/>
              <a:gd name="T106" fmla="*/ 72 w 378"/>
              <a:gd name="T107" fmla="*/ 408 h 432"/>
              <a:gd name="T108" fmla="*/ 54 w 378"/>
              <a:gd name="T109" fmla="*/ 414 h 432"/>
              <a:gd name="T110" fmla="*/ 48 w 378"/>
              <a:gd name="T111" fmla="*/ 408 h 432"/>
              <a:gd name="T112" fmla="*/ 42 w 378"/>
              <a:gd name="T113" fmla="*/ 426 h 432"/>
              <a:gd name="T114" fmla="*/ 30 w 378"/>
              <a:gd name="T115" fmla="*/ 426 h 432"/>
              <a:gd name="T116" fmla="*/ 24 w 378"/>
              <a:gd name="T117" fmla="*/ 426 h 432"/>
              <a:gd name="T118" fmla="*/ 12 w 378"/>
              <a:gd name="T119" fmla="*/ 420 h 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78" h="432">
                <a:moveTo>
                  <a:pt x="0" y="414"/>
                </a:moveTo>
                <a:lnTo>
                  <a:pt x="0" y="408"/>
                </a:lnTo>
                <a:lnTo>
                  <a:pt x="0" y="408"/>
                </a:lnTo>
                <a:lnTo>
                  <a:pt x="0" y="408"/>
                </a:lnTo>
                <a:lnTo>
                  <a:pt x="0" y="402"/>
                </a:lnTo>
                <a:lnTo>
                  <a:pt x="0" y="402"/>
                </a:lnTo>
                <a:lnTo>
                  <a:pt x="0" y="402"/>
                </a:lnTo>
                <a:lnTo>
                  <a:pt x="6" y="396"/>
                </a:lnTo>
                <a:lnTo>
                  <a:pt x="6" y="396"/>
                </a:lnTo>
                <a:lnTo>
                  <a:pt x="6" y="390"/>
                </a:lnTo>
                <a:lnTo>
                  <a:pt x="6" y="390"/>
                </a:lnTo>
                <a:lnTo>
                  <a:pt x="6" y="390"/>
                </a:lnTo>
                <a:lnTo>
                  <a:pt x="6" y="390"/>
                </a:lnTo>
                <a:lnTo>
                  <a:pt x="6" y="390"/>
                </a:lnTo>
                <a:lnTo>
                  <a:pt x="6" y="390"/>
                </a:lnTo>
                <a:lnTo>
                  <a:pt x="12" y="384"/>
                </a:lnTo>
                <a:lnTo>
                  <a:pt x="12" y="384"/>
                </a:lnTo>
                <a:lnTo>
                  <a:pt x="12" y="384"/>
                </a:lnTo>
                <a:lnTo>
                  <a:pt x="12" y="384"/>
                </a:lnTo>
                <a:lnTo>
                  <a:pt x="18" y="384"/>
                </a:lnTo>
                <a:lnTo>
                  <a:pt x="18" y="378"/>
                </a:lnTo>
                <a:lnTo>
                  <a:pt x="18" y="378"/>
                </a:lnTo>
                <a:lnTo>
                  <a:pt x="18" y="378"/>
                </a:lnTo>
                <a:lnTo>
                  <a:pt x="24" y="378"/>
                </a:lnTo>
                <a:lnTo>
                  <a:pt x="24" y="378"/>
                </a:lnTo>
                <a:lnTo>
                  <a:pt x="24" y="372"/>
                </a:lnTo>
                <a:lnTo>
                  <a:pt x="24" y="372"/>
                </a:lnTo>
                <a:lnTo>
                  <a:pt x="24" y="366"/>
                </a:lnTo>
                <a:lnTo>
                  <a:pt x="24" y="366"/>
                </a:lnTo>
                <a:lnTo>
                  <a:pt x="30" y="366"/>
                </a:lnTo>
                <a:lnTo>
                  <a:pt x="36" y="366"/>
                </a:lnTo>
                <a:lnTo>
                  <a:pt x="42" y="366"/>
                </a:lnTo>
                <a:lnTo>
                  <a:pt x="42" y="366"/>
                </a:lnTo>
                <a:lnTo>
                  <a:pt x="42" y="366"/>
                </a:lnTo>
                <a:lnTo>
                  <a:pt x="48" y="366"/>
                </a:lnTo>
                <a:lnTo>
                  <a:pt x="48" y="366"/>
                </a:lnTo>
                <a:lnTo>
                  <a:pt x="48" y="360"/>
                </a:lnTo>
                <a:lnTo>
                  <a:pt x="54" y="360"/>
                </a:lnTo>
                <a:lnTo>
                  <a:pt x="54" y="360"/>
                </a:lnTo>
                <a:lnTo>
                  <a:pt x="54" y="354"/>
                </a:lnTo>
                <a:lnTo>
                  <a:pt x="54" y="354"/>
                </a:lnTo>
                <a:lnTo>
                  <a:pt x="54" y="354"/>
                </a:lnTo>
                <a:lnTo>
                  <a:pt x="60" y="348"/>
                </a:lnTo>
                <a:lnTo>
                  <a:pt x="60" y="348"/>
                </a:lnTo>
                <a:lnTo>
                  <a:pt x="66" y="348"/>
                </a:lnTo>
                <a:lnTo>
                  <a:pt x="66" y="342"/>
                </a:lnTo>
                <a:lnTo>
                  <a:pt x="72" y="336"/>
                </a:lnTo>
                <a:lnTo>
                  <a:pt x="78" y="336"/>
                </a:lnTo>
                <a:lnTo>
                  <a:pt x="78" y="336"/>
                </a:lnTo>
                <a:lnTo>
                  <a:pt x="78" y="336"/>
                </a:lnTo>
                <a:lnTo>
                  <a:pt x="84" y="330"/>
                </a:lnTo>
                <a:lnTo>
                  <a:pt x="84" y="330"/>
                </a:lnTo>
                <a:lnTo>
                  <a:pt x="84" y="330"/>
                </a:lnTo>
                <a:lnTo>
                  <a:pt x="90" y="330"/>
                </a:lnTo>
                <a:lnTo>
                  <a:pt x="90" y="324"/>
                </a:lnTo>
                <a:lnTo>
                  <a:pt x="96" y="318"/>
                </a:lnTo>
                <a:lnTo>
                  <a:pt x="96" y="318"/>
                </a:lnTo>
                <a:lnTo>
                  <a:pt x="96" y="312"/>
                </a:lnTo>
                <a:lnTo>
                  <a:pt x="96" y="312"/>
                </a:lnTo>
                <a:lnTo>
                  <a:pt x="96" y="312"/>
                </a:lnTo>
                <a:lnTo>
                  <a:pt x="102" y="312"/>
                </a:lnTo>
                <a:lnTo>
                  <a:pt x="102" y="306"/>
                </a:lnTo>
                <a:lnTo>
                  <a:pt x="96" y="300"/>
                </a:lnTo>
                <a:lnTo>
                  <a:pt x="102" y="294"/>
                </a:lnTo>
                <a:lnTo>
                  <a:pt x="96" y="294"/>
                </a:lnTo>
                <a:lnTo>
                  <a:pt x="96" y="288"/>
                </a:lnTo>
                <a:lnTo>
                  <a:pt x="102" y="288"/>
                </a:lnTo>
                <a:lnTo>
                  <a:pt x="102" y="288"/>
                </a:lnTo>
                <a:lnTo>
                  <a:pt x="102" y="288"/>
                </a:lnTo>
                <a:lnTo>
                  <a:pt x="108" y="282"/>
                </a:lnTo>
                <a:lnTo>
                  <a:pt x="108" y="282"/>
                </a:lnTo>
                <a:lnTo>
                  <a:pt x="108" y="282"/>
                </a:lnTo>
                <a:lnTo>
                  <a:pt x="108" y="282"/>
                </a:lnTo>
                <a:lnTo>
                  <a:pt x="114" y="276"/>
                </a:lnTo>
                <a:lnTo>
                  <a:pt x="114" y="276"/>
                </a:lnTo>
                <a:lnTo>
                  <a:pt x="120" y="276"/>
                </a:lnTo>
                <a:lnTo>
                  <a:pt x="132" y="264"/>
                </a:lnTo>
                <a:lnTo>
                  <a:pt x="132" y="264"/>
                </a:lnTo>
                <a:lnTo>
                  <a:pt x="138" y="264"/>
                </a:lnTo>
                <a:lnTo>
                  <a:pt x="138" y="264"/>
                </a:lnTo>
                <a:lnTo>
                  <a:pt x="138" y="264"/>
                </a:lnTo>
                <a:lnTo>
                  <a:pt x="138" y="264"/>
                </a:lnTo>
                <a:lnTo>
                  <a:pt x="138" y="258"/>
                </a:lnTo>
                <a:lnTo>
                  <a:pt x="138" y="252"/>
                </a:lnTo>
                <a:lnTo>
                  <a:pt x="138" y="252"/>
                </a:lnTo>
                <a:lnTo>
                  <a:pt x="144" y="252"/>
                </a:lnTo>
                <a:lnTo>
                  <a:pt x="144" y="246"/>
                </a:lnTo>
                <a:lnTo>
                  <a:pt x="144" y="246"/>
                </a:lnTo>
                <a:lnTo>
                  <a:pt x="144" y="246"/>
                </a:lnTo>
                <a:lnTo>
                  <a:pt x="144" y="240"/>
                </a:lnTo>
                <a:lnTo>
                  <a:pt x="138" y="240"/>
                </a:lnTo>
                <a:lnTo>
                  <a:pt x="138" y="234"/>
                </a:lnTo>
                <a:lnTo>
                  <a:pt x="138" y="228"/>
                </a:lnTo>
                <a:lnTo>
                  <a:pt x="132" y="228"/>
                </a:lnTo>
                <a:lnTo>
                  <a:pt x="132" y="228"/>
                </a:lnTo>
                <a:lnTo>
                  <a:pt x="132" y="222"/>
                </a:lnTo>
                <a:lnTo>
                  <a:pt x="132" y="222"/>
                </a:lnTo>
                <a:lnTo>
                  <a:pt x="132" y="216"/>
                </a:lnTo>
                <a:lnTo>
                  <a:pt x="126" y="216"/>
                </a:lnTo>
                <a:lnTo>
                  <a:pt x="126" y="210"/>
                </a:lnTo>
                <a:lnTo>
                  <a:pt x="126" y="198"/>
                </a:lnTo>
                <a:lnTo>
                  <a:pt x="126" y="198"/>
                </a:lnTo>
                <a:lnTo>
                  <a:pt x="132" y="198"/>
                </a:lnTo>
                <a:lnTo>
                  <a:pt x="132" y="192"/>
                </a:lnTo>
                <a:lnTo>
                  <a:pt x="132" y="192"/>
                </a:lnTo>
                <a:lnTo>
                  <a:pt x="132" y="192"/>
                </a:lnTo>
                <a:lnTo>
                  <a:pt x="126" y="192"/>
                </a:lnTo>
                <a:lnTo>
                  <a:pt x="126" y="192"/>
                </a:lnTo>
                <a:lnTo>
                  <a:pt x="126" y="186"/>
                </a:lnTo>
                <a:lnTo>
                  <a:pt x="126" y="180"/>
                </a:lnTo>
                <a:lnTo>
                  <a:pt x="126" y="174"/>
                </a:lnTo>
                <a:lnTo>
                  <a:pt x="126" y="168"/>
                </a:lnTo>
                <a:lnTo>
                  <a:pt x="126" y="162"/>
                </a:lnTo>
                <a:lnTo>
                  <a:pt x="126" y="162"/>
                </a:lnTo>
                <a:lnTo>
                  <a:pt x="126" y="162"/>
                </a:lnTo>
                <a:lnTo>
                  <a:pt x="132" y="156"/>
                </a:lnTo>
                <a:lnTo>
                  <a:pt x="132" y="156"/>
                </a:lnTo>
                <a:lnTo>
                  <a:pt x="132" y="156"/>
                </a:lnTo>
                <a:lnTo>
                  <a:pt x="138" y="150"/>
                </a:lnTo>
                <a:lnTo>
                  <a:pt x="138" y="144"/>
                </a:lnTo>
                <a:lnTo>
                  <a:pt x="138" y="144"/>
                </a:lnTo>
                <a:lnTo>
                  <a:pt x="144" y="144"/>
                </a:lnTo>
                <a:lnTo>
                  <a:pt x="144" y="138"/>
                </a:lnTo>
                <a:lnTo>
                  <a:pt x="144" y="138"/>
                </a:lnTo>
                <a:lnTo>
                  <a:pt x="144" y="132"/>
                </a:lnTo>
                <a:lnTo>
                  <a:pt x="144" y="132"/>
                </a:lnTo>
                <a:lnTo>
                  <a:pt x="150" y="126"/>
                </a:lnTo>
                <a:lnTo>
                  <a:pt x="150" y="120"/>
                </a:lnTo>
                <a:lnTo>
                  <a:pt x="156" y="120"/>
                </a:lnTo>
                <a:lnTo>
                  <a:pt x="156" y="120"/>
                </a:lnTo>
                <a:lnTo>
                  <a:pt x="156" y="114"/>
                </a:lnTo>
                <a:lnTo>
                  <a:pt x="162" y="114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2"/>
                </a:lnTo>
                <a:lnTo>
                  <a:pt x="162" y="102"/>
                </a:lnTo>
                <a:lnTo>
                  <a:pt x="168" y="96"/>
                </a:lnTo>
                <a:lnTo>
                  <a:pt x="168" y="90"/>
                </a:lnTo>
                <a:lnTo>
                  <a:pt x="174" y="90"/>
                </a:lnTo>
                <a:lnTo>
                  <a:pt x="174" y="90"/>
                </a:lnTo>
                <a:lnTo>
                  <a:pt x="174" y="84"/>
                </a:lnTo>
                <a:lnTo>
                  <a:pt x="174" y="84"/>
                </a:lnTo>
                <a:lnTo>
                  <a:pt x="180" y="84"/>
                </a:lnTo>
                <a:lnTo>
                  <a:pt x="180" y="84"/>
                </a:lnTo>
                <a:lnTo>
                  <a:pt x="180" y="78"/>
                </a:lnTo>
                <a:lnTo>
                  <a:pt x="180" y="78"/>
                </a:lnTo>
                <a:lnTo>
                  <a:pt x="180" y="84"/>
                </a:lnTo>
                <a:lnTo>
                  <a:pt x="186" y="84"/>
                </a:lnTo>
                <a:lnTo>
                  <a:pt x="186" y="84"/>
                </a:lnTo>
                <a:lnTo>
                  <a:pt x="186" y="78"/>
                </a:lnTo>
                <a:lnTo>
                  <a:pt x="192" y="78"/>
                </a:lnTo>
                <a:lnTo>
                  <a:pt x="192" y="78"/>
                </a:lnTo>
                <a:lnTo>
                  <a:pt x="192" y="78"/>
                </a:lnTo>
                <a:lnTo>
                  <a:pt x="198" y="78"/>
                </a:lnTo>
                <a:lnTo>
                  <a:pt x="198" y="78"/>
                </a:lnTo>
                <a:lnTo>
                  <a:pt x="198" y="78"/>
                </a:lnTo>
                <a:lnTo>
                  <a:pt x="198" y="78"/>
                </a:lnTo>
                <a:lnTo>
                  <a:pt x="204" y="78"/>
                </a:lnTo>
                <a:lnTo>
                  <a:pt x="210" y="78"/>
                </a:lnTo>
                <a:lnTo>
                  <a:pt x="210" y="72"/>
                </a:lnTo>
                <a:lnTo>
                  <a:pt x="210" y="72"/>
                </a:lnTo>
                <a:lnTo>
                  <a:pt x="210" y="72"/>
                </a:lnTo>
                <a:lnTo>
                  <a:pt x="210" y="66"/>
                </a:lnTo>
                <a:lnTo>
                  <a:pt x="210" y="66"/>
                </a:lnTo>
                <a:lnTo>
                  <a:pt x="210" y="66"/>
                </a:lnTo>
                <a:lnTo>
                  <a:pt x="210" y="66"/>
                </a:lnTo>
                <a:lnTo>
                  <a:pt x="204" y="60"/>
                </a:lnTo>
                <a:lnTo>
                  <a:pt x="204" y="60"/>
                </a:lnTo>
                <a:lnTo>
                  <a:pt x="204" y="54"/>
                </a:lnTo>
                <a:lnTo>
                  <a:pt x="204" y="54"/>
                </a:lnTo>
                <a:lnTo>
                  <a:pt x="210" y="48"/>
                </a:lnTo>
                <a:lnTo>
                  <a:pt x="216" y="48"/>
                </a:lnTo>
                <a:lnTo>
                  <a:pt x="216" y="48"/>
                </a:lnTo>
                <a:lnTo>
                  <a:pt x="222" y="48"/>
                </a:lnTo>
                <a:lnTo>
                  <a:pt x="222" y="48"/>
                </a:lnTo>
                <a:lnTo>
                  <a:pt x="222" y="42"/>
                </a:lnTo>
                <a:lnTo>
                  <a:pt x="222" y="42"/>
                </a:lnTo>
                <a:lnTo>
                  <a:pt x="222" y="36"/>
                </a:lnTo>
                <a:lnTo>
                  <a:pt x="222" y="36"/>
                </a:lnTo>
                <a:lnTo>
                  <a:pt x="216" y="30"/>
                </a:lnTo>
                <a:lnTo>
                  <a:pt x="210" y="30"/>
                </a:lnTo>
                <a:lnTo>
                  <a:pt x="216" y="24"/>
                </a:lnTo>
                <a:lnTo>
                  <a:pt x="216" y="24"/>
                </a:lnTo>
                <a:lnTo>
                  <a:pt x="216" y="18"/>
                </a:lnTo>
                <a:lnTo>
                  <a:pt x="216" y="18"/>
                </a:lnTo>
                <a:lnTo>
                  <a:pt x="210" y="18"/>
                </a:lnTo>
                <a:lnTo>
                  <a:pt x="204" y="18"/>
                </a:lnTo>
                <a:lnTo>
                  <a:pt x="204" y="18"/>
                </a:lnTo>
                <a:lnTo>
                  <a:pt x="204" y="18"/>
                </a:lnTo>
                <a:lnTo>
                  <a:pt x="204" y="18"/>
                </a:lnTo>
                <a:lnTo>
                  <a:pt x="210" y="12"/>
                </a:lnTo>
                <a:lnTo>
                  <a:pt x="210" y="12"/>
                </a:lnTo>
                <a:lnTo>
                  <a:pt x="216" y="12"/>
                </a:lnTo>
                <a:lnTo>
                  <a:pt x="222" y="18"/>
                </a:lnTo>
                <a:lnTo>
                  <a:pt x="222" y="18"/>
                </a:lnTo>
                <a:lnTo>
                  <a:pt x="222" y="18"/>
                </a:lnTo>
                <a:lnTo>
                  <a:pt x="222" y="18"/>
                </a:lnTo>
                <a:lnTo>
                  <a:pt x="228" y="18"/>
                </a:lnTo>
                <a:lnTo>
                  <a:pt x="228" y="18"/>
                </a:lnTo>
                <a:lnTo>
                  <a:pt x="228" y="12"/>
                </a:lnTo>
                <a:lnTo>
                  <a:pt x="228" y="12"/>
                </a:lnTo>
                <a:lnTo>
                  <a:pt x="228" y="6"/>
                </a:lnTo>
                <a:lnTo>
                  <a:pt x="228" y="6"/>
                </a:lnTo>
                <a:lnTo>
                  <a:pt x="228" y="6"/>
                </a:lnTo>
                <a:lnTo>
                  <a:pt x="228" y="0"/>
                </a:lnTo>
                <a:lnTo>
                  <a:pt x="234" y="6"/>
                </a:lnTo>
                <a:lnTo>
                  <a:pt x="234" y="6"/>
                </a:lnTo>
                <a:lnTo>
                  <a:pt x="234" y="6"/>
                </a:lnTo>
                <a:lnTo>
                  <a:pt x="234" y="6"/>
                </a:lnTo>
                <a:lnTo>
                  <a:pt x="240" y="12"/>
                </a:lnTo>
                <a:lnTo>
                  <a:pt x="240" y="18"/>
                </a:lnTo>
                <a:lnTo>
                  <a:pt x="246" y="24"/>
                </a:lnTo>
                <a:lnTo>
                  <a:pt x="246" y="30"/>
                </a:lnTo>
                <a:lnTo>
                  <a:pt x="252" y="36"/>
                </a:lnTo>
                <a:lnTo>
                  <a:pt x="258" y="42"/>
                </a:lnTo>
                <a:lnTo>
                  <a:pt x="258" y="42"/>
                </a:lnTo>
                <a:lnTo>
                  <a:pt x="258" y="42"/>
                </a:lnTo>
                <a:lnTo>
                  <a:pt x="258" y="48"/>
                </a:lnTo>
                <a:lnTo>
                  <a:pt x="258" y="54"/>
                </a:lnTo>
                <a:lnTo>
                  <a:pt x="258" y="54"/>
                </a:lnTo>
                <a:lnTo>
                  <a:pt x="258" y="60"/>
                </a:lnTo>
                <a:lnTo>
                  <a:pt x="258" y="60"/>
                </a:lnTo>
                <a:lnTo>
                  <a:pt x="270" y="60"/>
                </a:lnTo>
                <a:lnTo>
                  <a:pt x="270" y="60"/>
                </a:lnTo>
                <a:lnTo>
                  <a:pt x="270" y="60"/>
                </a:lnTo>
                <a:lnTo>
                  <a:pt x="270" y="60"/>
                </a:lnTo>
                <a:lnTo>
                  <a:pt x="270" y="66"/>
                </a:lnTo>
                <a:lnTo>
                  <a:pt x="270" y="72"/>
                </a:lnTo>
                <a:lnTo>
                  <a:pt x="270" y="72"/>
                </a:lnTo>
                <a:lnTo>
                  <a:pt x="270" y="78"/>
                </a:lnTo>
                <a:lnTo>
                  <a:pt x="270" y="78"/>
                </a:lnTo>
                <a:lnTo>
                  <a:pt x="270" y="78"/>
                </a:lnTo>
                <a:lnTo>
                  <a:pt x="270" y="78"/>
                </a:lnTo>
                <a:lnTo>
                  <a:pt x="270" y="84"/>
                </a:lnTo>
                <a:lnTo>
                  <a:pt x="276" y="84"/>
                </a:lnTo>
                <a:lnTo>
                  <a:pt x="276" y="90"/>
                </a:lnTo>
                <a:lnTo>
                  <a:pt x="282" y="90"/>
                </a:lnTo>
                <a:lnTo>
                  <a:pt x="282" y="90"/>
                </a:lnTo>
                <a:lnTo>
                  <a:pt x="282" y="96"/>
                </a:lnTo>
                <a:lnTo>
                  <a:pt x="282" y="96"/>
                </a:lnTo>
                <a:lnTo>
                  <a:pt x="282" y="102"/>
                </a:lnTo>
                <a:lnTo>
                  <a:pt x="288" y="108"/>
                </a:lnTo>
                <a:lnTo>
                  <a:pt x="294" y="108"/>
                </a:lnTo>
                <a:lnTo>
                  <a:pt x="294" y="114"/>
                </a:lnTo>
                <a:lnTo>
                  <a:pt x="294" y="114"/>
                </a:lnTo>
                <a:lnTo>
                  <a:pt x="288" y="114"/>
                </a:lnTo>
                <a:lnTo>
                  <a:pt x="288" y="114"/>
                </a:lnTo>
                <a:lnTo>
                  <a:pt x="282" y="114"/>
                </a:lnTo>
                <a:lnTo>
                  <a:pt x="282" y="114"/>
                </a:lnTo>
                <a:lnTo>
                  <a:pt x="282" y="114"/>
                </a:lnTo>
                <a:lnTo>
                  <a:pt x="288" y="120"/>
                </a:lnTo>
                <a:lnTo>
                  <a:pt x="294" y="126"/>
                </a:lnTo>
                <a:lnTo>
                  <a:pt x="300" y="132"/>
                </a:lnTo>
                <a:lnTo>
                  <a:pt x="300" y="132"/>
                </a:lnTo>
                <a:lnTo>
                  <a:pt x="306" y="132"/>
                </a:lnTo>
                <a:lnTo>
                  <a:pt x="306" y="132"/>
                </a:lnTo>
                <a:lnTo>
                  <a:pt x="306" y="138"/>
                </a:lnTo>
                <a:lnTo>
                  <a:pt x="312" y="138"/>
                </a:lnTo>
                <a:lnTo>
                  <a:pt x="318" y="138"/>
                </a:lnTo>
                <a:lnTo>
                  <a:pt x="324" y="150"/>
                </a:lnTo>
                <a:lnTo>
                  <a:pt x="324" y="150"/>
                </a:lnTo>
                <a:lnTo>
                  <a:pt x="330" y="156"/>
                </a:lnTo>
                <a:lnTo>
                  <a:pt x="336" y="162"/>
                </a:lnTo>
                <a:lnTo>
                  <a:pt x="342" y="168"/>
                </a:lnTo>
                <a:lnTo>
                  <a:pt x="348" y="168"/>
                </a:lnTo>
                <a:lnTo>
                  <a:pt x="348" y="174"/>
                </a:lnTo>
                <a:lnTo>
                  <a:pt x="360" y="180"/>
                </a:lnTo>
                <a:lnTo>
                  <a:pt x="360" y="180"/>
                </a:lnTo>
                <a:lnTo>
                  <a:pt x="372" y="186"/>
                </a:lnTo>
                <a:lnTo>
                  <a:pt x="372" y="186"/>
                </a:lnTo>
                <a:lnTo>
                  <a:pt x="378" y="186"/>
                </a:lnTo>
                <a:lnTo>
                  <a:pt x="378" y="186"/>
                </a:lnTo>
                <a:lnTo>
                  <a:pt x="378" y="198"/>
                </a:lnTo>
                <a:lnTo>
                  <a:pt x="378" y="198"/>
                </a:lnTo>
                <a:lnTo>
                  <a:pt x="372" y="192"/>
                </a:lnTo>
                <a:lnTo>
                  <a:pt x="372" y="192"/>
                </a:lnTo>
                <a:lnTo>
                  <a:pt x="372" y="198"/>
                </a:lnTo>
                <a:lnTo>
                  <a:pt x="366" y="198"/>
                </a:lnTo>
                <a:lnTo>
                  <a:pt x="366" y="204"/>
                </a:lnTo>
                <a:lnTo>
                  <a:pt x="366" y="204"/>
                </a:lnTo>
                <a:lnTo>
                  <a:pt x="366" y="210"/>
                </a:lnTo>
                <a:lnTo>
                  <a:pt x="360" y="210"/>
                </a:lnTo>
                <a:lnTo>
                  <a:pt x="360" y="210"/>
                </a:lnTo>
                <a:lnTo>
                  <a:pt x="354" y="210"/>
                </a:lnTo>
                <a:lnTo>
                  <a:pt x="354" y="216"/>
                </a:lnTo>
                <a:lnTo>
                  <a:pt x="354" y="216"/>
                </a:lnTo>
                <a:lnTo>
                  <a:pt x="348" y="216"/>
                </a:lnTo>
                <a:lnTo>
                  <a:pt x="348" y="222"/>
                </a:lnTo>
                <a:lnTo>
                  <a:pt x="348" y="222"/>
                </a:lnTo>
                <a:lnTo>
                  <a:pt x="348" y="222"/>
                </a:lnTo>
                <a:lnTo>
                  <a:pt x="342" y="222"/>
                </a:lnTo>
                <a:lnTo>
                  <a:pt x="342" y="222"/>
                </a:lnTo>
                <a:lnTo>
                  <a:pt x="336" y="222"/>
                </a:lnTo>
                <a:lnTo>
                  <a:pt x="330" y="222"/>
                </a:lnTo>
                <a:lnTo>
                  <a:pt x="330" y="222"/>
                </a:lnTo>
                <a:lnTo>
                  <a:pt x="330" y="222"/>
                </a:lnTo>
                <a:lnTo>
                  <a:pt x="324" y="222"/>
                </a:lnTo>
                <a:lnTo>
                  <a:pt x="324" y="222"/>
                </a:lnTo>
                <a:lnTo>
                  <a:pt x="318" y="222"/>
                </a:lnTo>
                <a:lnTo>
                  <a:pt x="312" y="222"/>
                </a:lnTo>
                <a:lnTo>
                  <a:pt x="312" y="228"/>
                </a:lnTo>
                <a:lnTo>
                  <a:pt x="312" y="228"/>
                </a:lnTo>
                <a:lnTo>
                  <a:pt x="312" y="228"/>
                </a:lnTo>
                <a:lnTo>
                  <a:pt x="312" y="228"/>
                </a:lnTo>
                <a:lnTo>
                  <a:pt x="312" y="228"/>
                </a:lnTo>
                <a:lnTo>
                  <a:pt x="312" y="234"/>
                </a:lnTo>
                <a:lnTo>
                  <a:pt x="312" y="234"/>
                </a:lnTo>
                <a:lnTo>
                  <a:pt x="306" y="234"/>
                </a:lnTo>
                <a:lnTo>
                  <a:pt x="306" y="234"/>
                </a:lnTo>
                <a:lnTo>
                  <a:pt x="306" y="240"/>
                </a:lnTo>
                <a:lnTo>
                  <a:pt x="300" y="240"/>
                </a:lnTo>
                <a:lnTo>
                  <a:pt x="300" y="246"/>
                </a:lnTo>
                <a:lnTo>
                  <a:pt x="294" y="240"/>
                </a:lnTo>
                <a:lnTo>
                  <a:pt x="294" y="240"/>
                </a:lnTo>
                <a:lnTo>
                  <a:pt x="294" y="246"/>
                </a:lnTo>
                <a:lnTo>
                  <a:pt x="294" y="252"/>
                </a:lnTo>
                <a:lnTo>
                  <a:pt x="294" y="252"/>
                </a:lnTo>
                <a:lnTo>
                  <a:pt x="288" y="252"/>
                </a:lnTo>
                <a:lnTo>
                  <a:pt x="282" y="252"/>
                </a:lnTo>
                <a:lnTo>
                  <a:pt x="282" y="258"/>
                </a:lnTo>
                <a:lnTo>
                  <a:pt x="282" y="264"/>
                </a:lnTo>
                <a:lnTo>
                  <a:pt x="276" y="264"/>
                </a:lnTo>
                <a:lnTo>
                  <a:pt x="276" y="264"/>
                </a:lnTo>
                <a:lnTo>
                  <a:pt x="270" y="264"/>
                </a:lnTo>
                <a:lnTo>
                  <a:pt x="270" y="264"/>
                </a:lnTo>
                <a:lnTo>
                  <a:pt x="264" y="264"/>
                </a:lnTo>
                <a:lnTo>
                  <a:pt x="264" y="264"/>
                </a:lnTo>
                <a:lnTo>
                  <a:pt x="264" y="264"/>
                </a:lnTo>
                <a:lnTo>
                  <a:pt x="264" y="264"/>
                </a:lnTo>
                <a:lnTo>
                  <a:pt x="258" y="264"/>
                </a:lnTo>
                <a:lnTo>
                  <a:pt x="258" y="264"/>
                </a:lnTo>
                <a:lnTo>
                  <a:pt x="258" y="264"/>
                </a:lnTo>
                <a:lnTo>
                  <a:pt x="258" y="264"/>
                </a:lnTo>
                <a:lnTo>
                  <a:pt x="252" y="270"/>
                </a:lnTo>
                <a:lnTo>
                  <a:pt x="252" y="276"/>
                </a:lnTo>
                <a:lnTo>
                  <a:pt x="252" y="282"/>
                </a:lnTo>
                <a:lnTo>
                  <a:pt x="252" y="282"/>
                </a:lnTo>
                <a:lnTo>
                  <a:pt x="252" y="282"/>
                </a:lnTo>
                <a:lnTo>
                  <a:pt x="246" y="288"/>
                </a:lnTo>
                <a:lnTo>
                  <a:pt x="240" y="288"/>
                </a:lnTo>
                <a:lnTo>
                  <a:pt x="240" y="288"/>
                </a:lnTo>
                <a:lnTo>
                  <a:pt x="240" y="294"/>
                </a:lnTo>
                <a:lnTo>
                  <a:pt x="240" y="294"/>
                </a:lnTo>
                <a:lnTo>
                  <a:pt x="234" y="300"/>
                </a:lnTo>
                <a:lnTo>
                  <a:pt x="228" y="300"/>
                </a:lnTo>
                <a:lnTo>
                  <a:pt x="222" y="306"/>
                </a:lnTo>
                <a:lnTo>
                  <a:pt x="222" y="306"/>
                </a:lnTo>
                <a:lnTo>
                  <a:pt x="216" y="306"/>
                </a:lnTo>
                <a:lnTo>
                  <a:pt x="216" y="306"/>
                </a:lnTo>
                <a:lnTo>
                  <a:pt x="216" y="306"/>
                </a:lnTo>
                <a:lnTo>
                  <a:pt x="210" y="306"/>
                </a:lnTo>
                <a:lnTo>
                  <a:pt x="210" y="306"/>
                </a:lnTo>
                <a:lnTo>
                  <a:pt x="210" y="306"/>
                </a:lnTo>
                <a:lnTo>
                  <a:pt x="210" y="306"/>
                </a:lnTo>
                <a:lnTo>
                  <a:pt x="204" y="312"/>
                </a:lnTo>
                <a:lnTo>
                  <a:pt x="204" y="312"/>
                </a:lnTo>
                <a:lnTo>
                  <a:pt x="198" y="312"/>
                </a:lnTo>
                <a:lnTo>
                  <a:pt x="198" y="312"/>
                </a:lnTo>
                <a:lnTo>
                  <a:pt x="198" y="318"/>
                </a:lnTo>
                <a:lnTo>
                  <a:pt x="198" y="324"/>
                </a:lnTo>
                <a:lnTo>
                  <a:pt x="192" y="324"/>
                </a:lnTo>
                <a:lnTo>
                  <a:pt x="192" y="330"/>
                </a:lnTo>
                <a:lnTo>
                  <a:pt x="186" y="330"/>
                </a:lnTo>
                <a:lnTo>
                  <a:pt x="186" y="336"/>
                </a:lnTo>
                <a:lnTo>
                  <a:pt x="180" y="342"/>
                </a:lnTo>
                <a:lnTo>
                  <a:pt x="180" y="342"/>
                </a:lnTo>
                <a:lnTo>
                  <a:pt x="180" y="348"/>
                </a:lnTo>
                <a:lnTo>
                  <a:pt x="180" y="354"/>
                </a:lnTo>
                <a:lnTo>
                  <a:pt x="180" y="354"/>
                </a:lnTo>
                <a:lnTo>
                  <a:pt x="174" y="360"/>
                </a:lnTo>
                <a:lnTo>
                  <a:pt x="168" y="360"/>
                </a:lnTo>
                <a:lnTo>
                  <a:pt x="168" y="366"/>
                </a:lnTo>
                <a:lnTo>
                  <a:pt x="168" y="366"/>
                </a:lnTo>
                <a:lnTo>
                  <a:pt x="162" y="372"/>
                </a:lnTo>
                <a:lnTo>
                  <a:pt x="168" y="372"/>
                </a:lnTo>
                <a:lnTo>
                  <a:pt x="168" y="372"/>
                </a:lnTo>
                <a:lnTo>
                  <a:pt x="168" y="372"/>
                </a:lnTo>
                <a:lnTo>
                  <a:pt x="168" y="372"/>
                </a:lnTo>
                <a:lnTo>
                  <a:pt x="174" y="372"/>
                </a:lnTo>
                <a:lnTo>
                  <a:pt x="174" y="372"/>
                </a:lnTo>
                <a:lnTo>
                  <a:pt x="168" y="378"/>
                </a:lnTo>
                <a:lnTo>
                  <a:pt x="162" y="384"/>
                </a:lnTo>
                <a:lnTo>
                  <a:pt x="162" y="384"/>
                </a:lnTo>
                <a:lnTo>
                  <a:pt x="168" y="390"/>
                </a:lnTo>
                <a:lnTo>
                  <a:pt x="168" y="390"/>
                </a:lnTo>
                <a:lnTo>
                  <a:pt x="168" y="396"/>
                </a:lnTo>
                <a:lnTo>
                  <a:pt x="168" y="396"/>
                </a:lnTo>
                <a:lnTo>
                  <a:pt x="168" y="396"/>
                </a:lnTo>
                <a:lnTo>
                  <a:pt x="168" y="396"/>
                </a:lnTo>
                <a:lnTo>
                  <a:pt x="162" y="396"/>
                </a:lnTo>
                <a:lnTo>
                  <a:pt x="162" y="396"/>
                </a:lnTo>
                <a:lnTo>
                  <a:pt x="162" y="396"/>
                </a:lnTo>
                <a:lnTo>
                  <a:pt x="156" y="396"/>
                </a:lnTo>
                <a:lnTo>
                  <a:pt x="156" y="396"/>
                </a:lnTo>
                <a:lnTo>
                  <a:pt x="150" y="396"/>
                </a:lnTo>
                <a:lnTo>
                  <a:pt x="150" y="396"/>
                </a:lnTo>
                <a:lnTo>
                  <a:pt x="144" y="396"/>
                </a:lnTo>
                <a:lnTo>
                  <a:pt x="144" y="402"/>
                </a:lnTo>
                <a:lnTo>
                  <a:pt x="138" y="402"/>
                </a:lnTo>
                <a:lnTo>
                  <a:pt x="138" y="408"/>
                </a:lnTo>
                <a:lnTo>
                  <a:pt x="138" y="414"/>
                </a:lnTo>
                <a:lnTo>
                  <a:pt x="138" y="414"/>
                </a:lnTo>
                <a:lnTo>
                  <a:pt x="138" y="414"/>
                </a:lnTo>
                <a:lnTo>
                  <a:pt x="132" y="408"/>
                </a:lnTo>
                <a:lnTo>
                  <a:pt x="132" y="408"/>
                </a:lnTo>
                <a:lnTo>
                  <a:pt x="132" y="408"/>
                </a:lnTo>
                <a:lnTo>
                  <a:pt x="126" y="408"/>
                </a:lnTo>
                <a:lnTo>
                  <a:pt x="126" y="414"/>
                </a:lnTo>
                <a:lnTo>
                  <a:pt x="120" y="414"/>
                </a:lnTo>
                <a:lnTo>
                  <a:pt x="120" y="414"/>
                </a:lnTo>
                <a:lnTo>
                  <a:pt x="114" y="408"/>
                </a:lnTo>
                <a:lnTo>
                  <a:pt x="114" y="408"/>
                </a:lnTo>
                <a:lnTo>
                  <a:pt x="114" y="408"/>
                </a:lnTo>
                <a:lnTo>
                  <a:pt x="114" y="408"/>
                </a:lnTo>
                <a:lnTo>
                  <a:pt x="108" y="402"/>
                </a:lnTo>
                <a:lnTo>
                  <a:pt x="108" y="408"/>
                </a:lnTo>
                <a:lnTo>
                  <a:pt x="108" y="408"/>
                </a:lnTo>
                <a:lnTo>
                  <a:pt x="108" y="408"/>
                </a:lnTo>
                <a:lnTo>
                  <a:pt x="108" y="402"/>
                </a:lnTo>
                <a:lnTo>
                  <a:pt x="102" y="402"/>
                </a:lnTo>
                <a:lnTo>
                  <a:pt x="102" y="402"/>
                </a:lnTo>
                <a:lnTo>
                  <a:pt x="96" y="402"/>
                </a:lnTo>
                <a:lnTo>
                  <a:pt x="96" y="402"/>
                </a:lnTo>
                <a:lnTo>
                  <a:pt x="90" y="402"/>
                </a:lnTo>
                <a:lnTo>
                  <a:pt x="90" y="402"/>
                </a:lnTo>
                <a:lnTo>
                  <a:pt x="84" y="408"/>
                </a:lnTo>
                <a:lnTo>
                  <a:pt x="84" y="408"/>
                </a:lnTo>
                <a:lnTo>
                  <a:pt x="78" y="408"/>
                </a:lnTo>
                <a:lnTo>
                  <a:pt x="78" y="408"/>
                </a:lnTo>
                <a:lnTo>
                  <a:pt x="78" y="408"/>
                </a:lnTo>
                <a:lnTo>
                  <a:pt x="72" y="408"/>
                </a:lnTo>
                <a:lnTo>
                  <a:pt x="72" y="414"/>
                </a:lnTo>
                <a:lnTo>
                  <a:pt x="66" y="414"/>
                </a:lnTo>
                <a:lnTo>
                  <a:pt x="66" y="414"/>
                </a:lnTo>
                <a:lnTo>
                  <a:pt x="60" y="414"/>
                </a:lnTo>
                <a:lnTo>
                  <a:pt x="60" y="414"/>
                </a:lnTo>
                <a:lnTo>
                  <a:pt x="60" y="414"/>
                </a:lnTo>
                <a:lnTo>
                  <a:pt x="60" y="414"/>
                </a:lnTo>
                <a:lnTo>
                  <a:pt x="54" y="414"/>
                </a:lnTo>
                <a:lnTo>
                  <a:pt x="54" y="414"/>
                </a:lnTo>
                <a:lnTo>
                  <a:pt x="54" y="408"/>
                </a:lnTo>
                <a:lnTo>
                  <a:pt x="54" y="408"/>
                </a:lnTo>
                <a:lnTo>
                  <a:pt x="54" y="408"/>
                </a:lnTo>
                <a:lnTo>
                  <a:pt x="54" y="402"/>
                </a:lnTo>
                <a:lnTo>
                  <a:pt x="54" y="402"/>
                </a:lnTo>
                <a:lnTo>
                  <a:pt x="48" y="408"/>
                </a:lnTo>
                <a:lnTo>
                  <a:pt x="48" y="408"/>
                </a:lnTo>
                <a:lnTo>
                  <a:pt x="54" y="408"/>
                </a:lnTo>
                <a:lnTo>
                  <a:pt x="54" y="408"/>
                </a:lnTo>
                <a:lnTo>
                  <a:pt x="48" y="414"/>
                </a:lnTo>
                <a:lnTo>
                  <a:pt x="48" y="414"/>
                </a:lnTo>
                <a:lnTo>
                  <a:pt x="48" y="420"/>
                </a:lnTo>
                <a:lnTo>
                  <a:pt x="42" y="420"/>
                </a:lnTo>
                <a:lnTo>
                  <a:pt x="42" y="420"/>
                </a:lnTo>
                <a:lnTo>
                  <a:pt x="42" y="426"/>
                </a:lnTo>
                <a:lnTo>
                  <a:pt x="42" y="426"/>
                </a:lnTo>
                <a:lnTo>
                  <a:pt x="42" y="426"/>
                </a:lnTo>
                <a:lnTo>
                  <a:pt x="42" y="426"/>
                </a:lnTo>
                <a:lnTo>
                  <a:pt x="36" y="426"/>
                </a:lnTo>
                <a:lnTo>
                  <a:pt x="36" y="426"/>
                </a:lnTo>
                <a:lnTo>
                  <a:pt x="36" y="432"/>
                </a:lnTo>
                <a:lnTo>
                  <a:pt x="36" y="432"/>
                </a:lnTo>
                <a:lnTo>
                  <a:pt x="30" y="426"/>
                </a:lnTo>
                <a:lnTo>
                  <a:pt x="30" y="426"/>
                </a:lnTo>
                <a:lnTo>
                  <a:pt x="30" y="426"/>
                </a:lnTo>
                <a:lnTo>
                  <a:pt x="24" y="426"/>
                </a:lnTo>
                <a:lnTo>
                  <a:pt x="24" y="426"/>
                </a:lnTo>
                <a:lnTo>
                  <a:pt x="24" y="426"/>
                </a:lnTo>
                <a:lnTo>
                  <a:pt x="24" y="426"/>
                </a:lnTo>
                <a:lnTo>
                  <a:pt x="24" y="426"/>
                </a:lnTo>
                <a:lnTo>
                  <a:pt x="24" y="426"/>
                </a:lnTo>
                <a:lnTo>
                  <a:pt x="24" y="426"/>
                </a:lnTo>
                <a:lnTo>
                  <a:pt x="18" y="426"/>
                </a:lnTo>
                <a:lnTo>
                  <a:pt x="18" y="426"/>
                </a:lnTo>
                <a:lnTo>
                  <a:pt x="12" y="426"/>
                </a:lnTo>
                <a:lnTo>
                  <a:pt x="12" y="426"/>
                </a:lnTo>
                <a:lnTo>
                  <a:pt x="12" y="426"/>
                </a:lnTo>
                <a:lnTo>
                  <a:pt x="12" y="420"/>
                </a:lnTo>
                <a:lnTo>
                  <a:pt x="12" y="420"/>
                </a:lnTo>
                <a:lnTo>
                  <a:pt x="12" y="420"/>
                </a:lnTo>
                <a:lnTo>
                  <a:pt x="6" y="420"/>
                </a:lnTo>
                <a:lnTo>
                  <a:pt x="6" y="414"/>
                </a:lnTo>
                <a:lnTo>
                  <a:pt x="6" y="414"/>
                </a:lnTo>
                <a:lnTo>
                  <a:pt x="6" y="414"/>
                </a:lnTo>
                <a:lnTo>
                  <a:pt x="0" y="414"/>
                </a:lnTo>
                <a:lnTo>
                  <a:pt x="0" y="41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279" name="Freeform 12"/>
          <p:cNvSpPr>
            <a:spLocks/>
          </p:cNvSpPr>
          <p:nvPr/>
        </p:nvSpPr>
        <p:spPr bwMode="auto">
          <a:xfrm>
            <a:off x="4365747" y="2214199"/>
            <a:ext cx="642405" cy="404718"/>
          </a:xfrm>
          <a:custGeom>
            <a:avLst/>
            <a:gdLst>
              <a:gd name="T0" fmla="*/ 42 w 600"/>
              <a:gd name="T1" fmla="*/ 216 h 378"/>
              <a:gd name="T2" fmla="*/ 66 w 600"/>
              <a:gd name="T3" fmla="*/ 192 h 378"/>
              <a:gd name="T4" fmla="*/ 102 w 600"/>
              <a:gd name="T5" fmla="*/ 186 h 378"/>
              <a:gd name="T6" fmla="*/ 132 w 600"/>
              <a:gd name="T7" fmla="*/ 204 h 378"/>
              <a:gd name="T8" fmla="*/ 156 w 600"/>
              <a:gd name="T9" fmla="*/ 192 h 378"/>
              <a:gd name="T10" fmla="*/ 180 w 600"/>
              <a:gd name="T11" fmla="*/ 186 h 378"/>
              <a:gd name="T12" fmla="*/ 210 w 600"/>
              <a:gd name="T13" fmla="*/ 168 h 378"/>
              <a:gd name="T14" fmla="*/ 228 w 600"/>
              <a:gd name="T15" fmla="*/ 186 h 378"/>
              <a:gd name="T16" fmla="*/ 246 w 600"/>
              <a:gd name="T17" fmla="*/ 168 h 378"/>
              <a:gd name="T18" fmla="*/ 252 w 600"/>
              <a:gd name="T19" fmla="*/ 138 h 378"/>
              <a:gd name="T20" fmla="*/ 288 w 600"/>
              <a:gd name="T21" fmla="*/ 138 h 378"/>
              <a:gd name="T22" fmla="*/ 330 w 600"/>
              <a:gd name="T23" fmla="*/ 126 h 378"/>
              <a:gd name="T24" fmla="*/ 348 w 600"/>
              <a:gd name="T25" fmla="*/ 102 h 378"/>
              <a:gd name="T26" fmla="*/ 372 w 600"/>
              <a:gd name="T27" fmla="*/ 78 h 378"/>
              <a:gd name="T28" fmla="*/ 378 w 600"/>
              <a:gd name="T29" fmla="*/ 48 h 378"/>
              <a:gd name="T30" fmla="*/ 402 w 600"/>
              <a:gd name="T31" fmla="*/ 30 h 378"/>
              <a:gd name="T32" fmla="*/ 516 w 600"/>
              <a:gd name="T33" fmla="*/ 0 h 378"/>
              <a:gd name="T34" fmla="*/ 540 w 600"/>
              <a:gd name="T35" fmla="*/ 30 h 378"/>
              <a:gd name="T36" fmla="*/ 558 w 600"/>
              <a:gd name="T37" fmla="*/ 48 h 378"/>
              <a:gd name="T38" fmla="*/ 582 w 600"/>
              <a:gd name="T39" fmla="*/ 54 h 378"/>
              <a:gd name="T40" fmla="*/ 588 w 600"/>
              <a:gd name="T41" fmla="*/ 78 h 378"/>
              <a:gd name="T42" fmla="*/ 582 w 600"/>
              <a:gd name="T43" fmla="*/ 96 h 378"/>
              <a:gd name="T44" fmla="*/ 582 w 600"/>
              <a:gd name="T45" fmla="*/ 108 h 378"/>
              <a:gd name="T46" fmla="*/ 588 w 600"/>
              <a:gd name="T47" fmla="*/ 120 h 378"/>
              <a:gd name="T48" fmla="*/ 588 w 600"/>
              <a:gd name="T49" fmla="*/ 156 h 378"/>
              <a:gd name="T50" fmla="*/ 576 w 600"/>
              <a:gd name="T51" fmla="*/ 180 h 378"/>
              <a:gd name="T52" fmla="*/ 486 w 600"/>
              <a:gd name="T53" fmla="*/ 192 h 378"/>
              <a:gd name="T54" fmla="*/ 408 w 600"/>
              <a:gd name="T55" fmla="*/ 192 h 378"/>
              <a:gd name="T56" fmla="*/ 420 w 600"/>
              <a:gd name="T57" fmla="*/ 186 h 378"/>
              <a:gd name="T58" fmla="*/ 426 w 600"/>
              <a:gd name="T59" fmla="*/ 192 h 378"/>
              <a:gd name="T60" fmla="*/ 426 w 600"/>
              <a:gd name="T61" fmla="*/ 204 h 378"/>
              <a:gd name="T62" fmla="*/ 420 w 600"/>
              <a:gd name="T63" fmla="*/ 216 h 378"/>
              <a:gd name="T64" fmla="*/ 408 w 600"/>
              <a:gd name="T65" fmla="*/ 240 h 378"/>
              <a:gd name="T66" fmla="*/ 402 w 600"/>
              <a:gd name="T67" fmla="*/ 258 h 378"/>
              <a:gd name="T68" fmla="*/ 420 w 600"/>
              <a:gd name="T69" fmla="*/ 282 h 378"/>
              <a:gd name="T70" fmla="*/ 438 w 600"/>
              <a:gd name="T71" fmla="*/ 306 h 378"/>
              <a:gd name="T72" fmla="*/ 432 w 600"/>
              <a:gd name="T73" fmla="*/ 318 h 378"/>
              <a:gd name="T74" fmla="*/ 426 w 600"/>
              <a:gd name="T75" fmla="*/ 336 h 378"/>
              <a:gd name="T76" fmla="*/ 426 w 600"/>
              <a:gd name="T77" fmla="*/ 360 h 378"/>
              <a:gd name="T78" fmla="*/ 378 w 600"/>
              <a:gd name="T79" fmla="*/ 378 h 378"/>
              <a:gd name="T80" fmla="*/ 354 w 600"/>
              <a:gd name="T81" fmla="*/ 378 h 378"/>
              <a:gd name="T82" fmla="*/ 336 w 600"/>
              <a:gd name="T83" fmla="*/ 360 h 378"/>
              <a:gd name="T84" fmla="*/ 312 w 600"/>
              <a:gd name="T85" fmla="*/ 366 h 378"/>
              <a:gd name="T86" fmla="*/ 300 w 600"/>
              <a:gd name="T87" fmla="*/ 366 h 378"/>
              <a:gd name="T88" fmla="*/ 270 w 600"/>
              <a:gd name="T89" fmla="*/ 324 h 378"/>
              <a:gd name="T90" fmla="*/ 234 w 600"/>
              <a:gd name="T91" fmla="*/ 330 h 378"/>
              <a:gd name="T92" fmla="*/ 198 w 600"/>
              <a:gd name="T93" fmla="*/ 336 h 378"/>
              <a:gd name="T94" fmla="*/ 192 w 600"/>
              <a:gd name="T95" fmla="*/ 324 h 378"/>
              <a:gd name="T96" fmla="*/ 198 w 600"/>
              <a:gd name="T97" fmla="*/ 276 h 378"/>
              <a:gd name="T98" fmla="*/ 180 w 600"/>
              <a:gd name="T99" fmla="*/ 222 h 378"/>
              <a:gd name="T100" fmla="*/ 162 w 600"/>
              <a:gd name="T101" fmla="*/ 240 h 378"/>
              <a:gd name="T102" fmla="*/ 156 w 600"/>
              <a:gd name="T103" fmla="*/ 234 h 378"/>
              <a:gd name="T104" fmla="*/ 144 w 600"/>
              <a:gd name="T105" fmla="*/ 234 h 378"/>
              <a:gd name="T106" fmla="*/ 132 w 600"/>
              <a:gd name="T107" fmla="*/ 234 h 378"/>
              <a:gd name="T108" fmla="*/ 120 w 600"/>
              <a:gd name="T109" fmla="*/ 234 h 378"/>
              <a:gd name="T110" fmla="*/ 108 w 600"/>
              <a:gd name="T111" fmla="*/ 240 h 378"/>
              <a:gd name="T112" fmla="*/ 90 w 600"/>
              <a:gd name="T113" fmla="*/ 234 h 378"/>
              <a:gd name="T114" fmla="*/ 72 w 600"/>
              <a:gd name="T115" fmla="*/ 240 h 378"/>
              <a:gd name="T116" fmla="*/ 54 w 600"/>
              <a:gd name="T117" fmla="*/ 246 h 378"/>
              <a:gd name="T118" fmla="*/ 42 w 600"/>
              <a:gd name="T119" fmla="*/ 246 h 3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00" h="378">
                <a:moveTo>
                  <a:pt x="0" y="240"/>
                </a:moveTo>
                <a:lnTo>
                  <a:pt x="6" y="234"/>
                </a:lnTo>
                <a:lnTo>
                  <a:pt x="6" y="234"/>
                </a:lnTo>
                <a:lnTo>
                  <a:pt x="6" y="234"/>
                </a:lnTo>
                <a:lnTo>
                  <a:pt x="6" y="234"/>
                </a:lnTo>
                <a:lnTo>
                  <a:pt x="6" y="234"/>
                </a:lnTo>
                <a:lnTo>
                  <a:pt x="12" y="234"/>
                </a:lnTo>
                <a:lnTo>
                  <a:pt x="12" y="234"/>
                </a:lnTo>
                <a:lnTo>
                  <a:pt x="18" y="228"/>
                </a:lnTo>
                <a:lnTo>
                  <a:pt x="18" y="228"/>
                </a:lnTo>
                <a:lnTo>
                  <a:pt x="18" y="228"/>
                </a:lnTo>
                <a:lnTo>
                  <a:pt x="24" y="222"/>
                </a:lnTo>
                <a:lnTo>
                  <a:pt x="30" y="222"/>
                </a:lnTo>
                <a:lnTo>
                  <a:pt x="30" y="222"/>
                </a:lnTo>
                <a:lnTo>
                  <a:pt x="30" y="222"/>
                </a:lnTo>
                <a:lnTo>
                  <a:pt x="36" y="222"/>
                </a:lnTo>
                <a:lnTo>
                  <a:pt x="36" y="216"/>
                </a:lnTo>
                <a:lnTo>
                  <a:pt x="42" y="216"/>
                </a:lnTo>
                <a:lnTo>
                  <a:pt x="42" y="216"/>
                </a:lnTo>
                <a:lnTo>
                  <a:pt x="42" y="216"/>
                </a:lnTo>
                <a:lnTo>
                  <a:pt x="42" y="210"/>
                </a:lnTo>
                <a:lnTo>
                  <a:pt x="48" y="210"/>
                </a:lnTo>
                <a:lnTo>
                  <a:pt x="48" y="204"/>
                </a:lnTo>
                <a:lnTo>
                  <a:pt x="54" y="204"/>
                </a:lnTo>
                <a:lnTo>
                  <a:pt x="54" y="198"/>
                </a:lnTo>
                <a:lnTo>
                  <a:pt x="54" y="192"/>
                </a:lnTo>
                <a:lnTo>
                  <a:pt x="54" y="192"/>
                </a:lnTo>
                <a:lnTo>
                  <a:pt x="54" y="186"/>
                </a:lnTo>
                <a:lnTo>
                  <a:pt x="54" y="186"/>
                </a:lnTo>
                <a:lnTo>
                  <a:pt x="54" y="186"/>
                </a:lnTo>
                <a:lnTo>
                  <a:pt x="60" y="192"/>
                </a:lnTo>
                <a:lnTo>
                  <a:pt x="60" y="186"/>
                </a:lnTo>
                <a:lnTo>
                  <a:pt x="60" y="186"/>
                </a:lnTo>
                <a:lnTo>
                  <a:pt x="66" y="192"/>
                </a:lnTo>
                <a:lnTo>
                  <a:pt x="66" y="186"/>
                </a:lnTo>
                <a:lnTo>
                  <a:pt x="66" y="192"/>
                </a:lnTo>
                <a:lnTo>
                  <a:pt x="66" y="192"/>
                </a:lnTo>
                <a:lnTo>
                  <a:pt x="66" y="192"/>
                </a:lnTo>
                <a:lnTo>
                  <a:pt x="72" y="192"/>
                </a:lnTo>
                <a:lnTo>
                  <a:pt x="72" y="192"/>
                </a:lnTo>
                <a:lnTo>
                  <a:pt x="72" y="186"/>
                </a:lnTo>
                <a:lnTo>
                  <a:pt x="72" y="186"/>
                </a:lnTo>
                <a:lnTo>
                  <a:pt x="72" y="186"/>
                </a:lnTo>
                <a:lnTo>
                  <a:pt x="78" y="192"/>
                </a:lnTo>
                <a:lnTo>
                  <a:pt x="78" y="192"/>
                </a:lnTo>
                <a:lnTo>
                  <a:pt x="78" y="186"/>
                </a:lnTo>
                <a:lnTo>
                  <a:pt x="78" y="192"/>
                </a:lnTo>
                <a:lnTo>
                  <a:pt x="84" y="192"/>
                </a:lnTo>
                <a:lnTo>
                  <a:pt x="84" y="192"/>
                </a:lnTo>
                <a:lnTo>
                  <a:pt x="90" y="186"/>
                </a:lnTo>
                <a:lnTo>
                  <a:pt x="90" y="186"/>
                </a:lnTo>
                <a:lnTo>
                  <a:pt x="90" y="186"/>
                </a:lnTo>
                <a:lnTo>
                  <a:pt x="90" y="186"/>
                </a:lnTo>
                <a:lnTo>
                  <a:pt x="96" y="186"/>
                </a:lnTo>
                <a:lnTo>
                  <a:pt x="102" y="186"/>
                </a:lnTo>
                <a:lnTo>
                  <a:pt x="102" y="186"/>
                </a:lnTo>
                <a:lnTo>
                  <a:pt x="102" y="186"/>
                </a:lnTo>
                <a:lnTo>
                  <a:pt x="102" y="186"/>
                </a:lnTo>
                <a:lnTo>
                  <a:pt x="108" y="186"/>
                </a:lnTo>
                <a:lnTo>
                  <a:pt x="108" y="186"/>
                </a:lnTo>
                <a:lnTo>
                  <a:pt x="114" y="186"/>
                </a:lnTo>
                <a:lnTo>
                  <a:pt x="114" y="186"/>
                </a:lnTo>
                <a:lnTo>
                  <a:pt x="114" y="192"/>
                </a:lnTo>
                <a:lnTo>
                  <a:pt x="114" y="192"/>
                </a:lnTo>
                <a:lnTo>
                  <a:pt x="114" y="192"/>
                </a:lnTo>
                <a:lnTo>
                  <a:pt x="120" y="192"/>
                </a:lnTo>
                <a:lnTo>
                  <a:pt x="120" y="198"/>
                </a:lnTo>
                <a:lnTo>
                  <a:pt x="120" y="198"/>
                </a:lnTo>
                <a:lnTo>
                  <a:pt x="126" y="198"/>
                </a:lnTo>
                <a:lnTo>
                  <a:pt x="126" y="198"/>
                </a:lnTo>
                <a:lnTo>
                  <a:pt x="126" y="198"/>
                </a:lnTo>
                <a:lnTo>
                  <a:pt x="126" y="198"/>
                </a:lnTo>
                <a:lnTo>
                  <a:pt x="126" y="204"/>
                </a:lnTo>
                <a:lnTo>
                  <a:pt x="126" y="204"/>
                </a:lnTo>
                <a:lnTo>
                  <a:pt x="132" y="204"/>
                </a:lnTo>
                <a:lnTo>
                  <a:pt x="132" y="204"/>
                </a:lnTo>
                <a:lnTo>
                  <a:pt x="132" y="210"/>
                </a:lnTo>
                <a:lnTo>
                  <a:pt x="132" y="210"/>
                </a:lnTo>
                <a:lnTo>
                  <a:pt x="132" y="210"/>
                </a:lnTo>
                <a:lnTo>
                  <a:pt x="132" y="210"/>
                </a:lnTo>
                <a:lnTo>
                  <a:pt x="138" y="210"/>
                </a:lnTo>
                <a:lnTo>
                  <a:pt x="138" y="210"/>
                </a:lnTo>
                <a:lnTo>
                  <a:pt x="138" y="210"/>
                </a:lnTo>
                <a:lnTo>
                  <a:pt x="138" y="204"/>
                </a:lnTo>
                <a:lnTo>
                  <a:pt x="144" y="204"/>
                </a:lnTo>
                <a:lnTo>
                  <a:pt x="144" y="204"/>
                </a:lnTo>
                <a:lnTo>
                  <a:pt x="144" y="204"/>
                </a:lnTo>
                <a:lnTo>
                  <a:pt x="150" y="198"/>
                </a:lnTo>
                <a:lnTo>
                  <a:pt x="150" y="198"/>
                </a:lnTo>
                <a:lnTo>
                  <a:pt x="150" y="192"/>
                </a:lnTo>
                <a:lnTo>
                  <a:pt x="150" y="192"/>
                </a:lnTo>
                <a:lnTo>
                  <a:pt x="150" y="192"/>
                </a:lnTo>
                <a:lnTo>
                  <a:pt x="156" y="192"/>
                </a:lnTo>
                <a:lnTo>
                  <a:pt x="156" y="192"/>
                </a:lnTo>
                <a:lnTo>
                  <a:pt x="156" y="192"/>
                </a:lnTo>
                <a:lnTo>
                  <a:pt x="156" y="192"/>
                </a:lnTo>
                <a:lnTo>
                  <a:pt x="162" y="186"/>
                </a:lnTo>
                <a:lnTo>
                  <a:pt x="162" y="186"/>
                </a:lnTo>
                <a:lnTo>
                  <a:pt x="162" y="186"/>
                </a:lnTo>
                <a:lnTo>
                  <a:pt x="168" y="186"/>
                </a:lnTo>
                <a:lnTo>
                  <a:pt x="168" y="192"/>
                </a:lnTo>
                <a:lnTo>
                  <a:pt x="168" y="192"/>
                </a:lnTo>
                <a:lnTo>
                  <a:pt x="174" y="192"/>
                </a:lnTo>
                <a:lnTo>
                  <a:pt x="174" y="192"/>
                </a:lnTo>
                <a:lnTo>
                  <a:pt x="174" y="192"/>
                </a:lnTo>
                <a:lnTo>
                  <a:pt x="174" y="198"/>
                </a:lnTo>
                <a:lnTo>
                  <a:pt x="174" y="198"/>
                </a:lnTo>
                <a:lnTo>
                  <a:pt x="174" y="192"/>
                </a:lnTo>
                <a:lnTo>
                  <a:pt x="180" y="192"/>
                </a:lnTo>
                <a:lnTo>
                  <a:pt x="180" y="192"/>
                </a:lnTo>
                <a:lnTo>
                  <a:pt x="180" y="192"/>
                </a:lnTo>
                <a:lnTo>
                  <a:pt x="180" y="192"/>
                </a:lnTo>
                <a:lnTo>
                  <a:pt x="180" y="186"/>
                </a:lnTo>
                <a:lnTo>
                  <a:pt x="180" y="186"/>
                </a:lnTo>
                <a:lnTo>
                  <a:pt x="180" y="186"/>
                </a:lnTo>
                <a:lnTo>
                  <a:pt x="180" y="180"/>
                </a:lnTo>
                <a:lnTo>
                  <a:pt x="180" y="180"/>
                </a:lnTo>
                <a:lnTo>
                  <a:pt x="180" y="174"/>
                </a:lnTo>
                <a:lnTo>
                  <a:pt x="180" y="174"/>
                </a:lnTo>
                <a:lnTo>
                  <a:pt x="180" y="174"/>
                </a:lnTo>
                <a:lnTo>
                  <a:pt x="180" y="174"/>
                </a:lnTo>
                <a:lnTo>
                  <a:pt x="186" y="174"/>
                </a:lnTo>
                <a:lnTo>
                  <a:pt x="186" y="180"/>
                </a:lnTo>
                <a:lnTo>
                  <a:pt x="186" y="180"/>
                </a:lnTo>
                <a:lnTo>
                  <a:pt x="186" y="174"/>
                </a:lnTo>
                <a:lnTo>
                  <a:pt x="186" y="174"/>
                </a:lnTo>
                <a:lnTo>
                  <a:pt x="192" y="174"/>
                </a:lnTo>
                <a:lnTo>
                  <a:pt x="192" y="174"/>
                </a:lnTo>
                <a:lnTo>
                  <a:pt x="198" y="168"/>
                </a:lnTo>
                <a:lnTo>
                  <a:pt x="198" y="168"/>
                </a:lnTo>
                <a:lnTo>
                  <a:pt x="204" y="168"/>
                </a:lnTo>
                <a:lnTo>
                  <a:pt x="204" y="168"/>
                </a:lnTo>
                <a:lnTo>
                  <a:pt x="210" y="168"/>
                </a:lnTo>
                <a:lnTo>
                  <a:pt x="210" y="168"/>
                </a:lnTo>
                <a:lnTo>
                  <a:pt x="210" y="174"/>
                </a:lnTo>
                <a:lnTo>
                  <a:pt x="210" y="174"/>
                </a:lnTo>
                <a:lnTo>
                  <a:pt x="210" y="174"/>
                </a:lnTo>
                <a:lnTo>
                  <a:pt x="216" y="180"/>
                </a:lnTo>
                <a:lnTo>
                  <a:pt x="210" y="180"/>
                </a:lnTo>
                <a:lnTo>
                  <a:pt x="210" y="180"/>
                </a:lnTo>
                <a:lnTo>
                  <a:pt x="216" y="186"/>
                </a:lnTo>
                <a:lnTo>
                  <a:pt x="216" y="186"/>
                </a:lnTo>
                <a:lnTo>
                  <a:pt x="216" y="186"/>
                </a:lnTo>
                <a:lnTo>
                  <a:pt x="216" y="192"/>
                </a:lnTo>
                <a:lnTo>
                  <a:pt x="216" y="192"/>
                </a:lnTo>
                <a:lnTo>
                  <a:pt x="216" y="192"/>
                </a:lnTo>
                <a:lnTo>
                  <a:pt x="216" y="192"/>
                </a:lnTo>
                <a:lnTo>
                  <a:pt x="222" y="192"/>
                </a:lnTo>
                <a:lnTo>
                  <a:pt x="222" y="192"/>
                </a:lnTo>
                <a:lnTo>
                  <a:pt x="228" y="192"/>
                </a:lnTo>
                <a:lnTo>
                  <a:pt x="228" y="186"/>
                </a:lnTo>
                <a:lnTo>
                  <a:pt x="228" y="186"/>
                </a:lnTo>
                <a:lnTo>
                  <a:pt x="228" y="186"/>
                </a:lnTo>
                <a:lnTo>
                  <a:pt x="228" y="186"/>
                </a:lnTo>
                <a:lnTo>
                  <a:pt x="228" y="186"/>
                </a:lnTo>
                <a:lnTo>
                  <a:pt x="228" y="186"/>
                </a:lnTo>
                <a:lnTo>
                  <a:pt x="234" y="186"/>
                </a:lnTo>
                <a:lnTo>
                  <a:pt x="234" y="186"/>
                </a:lnTo>
                <a:lnTo>
                  <a:pt x="234" y="180"/>
                </a:lnTo>
                <a:lnTo>
                  <a:pt x="234" y="180"/>
                </a:lnTo>
                <a:lnTo>
                  <a:pt x="234" y="180"/>
                </a:lnTo>
                <a:lnTo>
                  <a:pt x="234" y="180"/>
                </a:lnTo>
                <a:lnTo>
                  <a:pt x="234" y="180"/>
                </a:lnTo>
                <a:lnTo>
                  <a:pt x="234" y="180"/>
                </a:lnTo>
                <a:lnTo>
                  <a:pt x="240" y="180"/>
                </a:lnTo>
                <a:lnTo>
                  <a:pt x="234" y="174"/>
                </a:lnTo>
                <a:lnTo>
                  <a:pt x="240" y="174"/>
                </a:lnTo>
                <a:lnTo>
                  <a:pt x="240" y="174"/>
                </a:lnTo>
                <a:lnTo>
                  <a:pt x="240" y="174"/>
                </a:lnTo>
                <a:lnTo>
                  <a:pt x="240" y="174"/>
                </a:lnTo>
                <a:lnTo>
                  <a:pt x="246" y="168"/>
                </a:lnTo>
                <a:lnTo>
                  <a:pt x="246" y="168"/>
                </a:lnTo>
                <a:lnTo>
                  <a:pt x="246" y="168"/>
                </a:lnTo>
                <a:lnTo>
                  <a:pt x="246" y="168"/>
                </a:lnTo>
                <a:lnTo>
                  <a:pt x="246" y="162"/>
                </a:lnTo>
                <a:lnTo>
                  <a:pt x="246" y="162"/>
                </a:lnTo>
                <a:lnTo>
                  <a:pt x="246" y="162"/>
                </a:lnTo>
                <a:lnTo>
                  <a:pt x="246" y="162"/>
                </a:lnTo>
                <a:lnTo>
                  <a:pt x="246" y="162"/>
                </a:lnTo>
                <a:lnTo>
                  <a:pt x="246" y="156"/>
                </a:lnTo>
                <a:lnTo>
                  <a:pt x="246" y="156"/>
                </a:lnTo>
                <a:lnTo>
                  <a:pt x="246" y="156"/>
                </a:lnTo>
                <a:lnTo>
                  <a:pt x="246" y="150"/>
                </a:lnTo>
                <a:lnTo>
                  <a:pt x="246" y="150"/>
                </a:lnTo>
                <a:lnTo>
                  <a:pt x="246" y="150"/>
                </a:lnTo>
                <a:lnTo>
                  <a:pt x="246" y="150"/>
                </a:lnTo>
                <a:lnTo>
                  <a:pt x="246" y="144"/>
                </a:lnTo>
                <a:lnTo>
                  <a:pt x="246" y="138"/>
                </a:lnTo>
                <a:lnTo>
                  <a:pt x="246" y="138"/>
                </a:lnTo>
                <a:lnTo>
                  <a:pt x="252" y="138"/>
                </a:lnTo>
                <a:lnTo>
                  <a:pt x="252" y="138"/>
                </a:lnTo>
                <a:lnTo>
                  <a:pt x="252" y="138"/>
                </a:lnTo>
                <a:lnTo>
                  <a:pt x="252" y="138"/>
                </a:lnTo>
                <a:lnTo>
                  <a:pt x="258" y="132"/>
                </a:lnTo>
                <a:lnTo>
                  <a:pt x="264" y="132"/>
                </a:lnTo>
                <a:lnTo>
                  <a:pt x="264" y="132"/>
                </a:lnTo>
                <a:lnTo>
                  <a:pt x="264" y="132"/>
                </a:lnTo>
                <a:lnTo>
                  <a:pt x="264" y="132"/>
                </a:lnTo>
                <a:lnTo>
                  <a:pt x="270" y="138"/>
                </a:lnTo>
                <a:lnTo>
                  <a:pt x="270" y="138"/>
                </a:lnTo>
                <a:lnTo>
                  <a:pt x="270" y="138"/>
                </a:lnTo>
                <a:lnTo>
                  <a:pt x="276" y="132"/>
                </a:lnTo>
                <a:lnTo>
                  <a:pt x="276" y="132"/>
                </a:lnTo>
                <a:lnTo>
                  <a:pt x="276" y="132"/>
                </a:lnTo>
                <a:lnTo>
                  <a:pt x="282" y="132"/>
                </a:lnTo>
                <a:lnTo>
                  <a:pt x="282" y="138"/>
                </a:lnTo>
                <a:lnTo>
                  <a:pt x="282" y="132"/>
                </a:lnTo>
                <a:lnTo>
                  <a:pt x="282" y="132"/>
                </a:lnTo>
                <a:lnTo>
                  <a:pt x="288" y="138"/>
                </a:lnTo>
                <a:lnTo>
                  <a:pt x="288" y="138"/>
                </a:lnTo>
                <a:lnTo>
                  <a:pt x="294" y="132"/>
                </a:lnTo>
                <a:lnTo>
                  <a:pt x="294" y="132"/>
                </a:lnTo>
                <a:lnTo>
                  <a:pt x="294" y="132"/>
                </a:lnTo>
                <a:lnTo>
                  <a:pt x="294" y="132"/>
                </a:lnTo>
                <a:lnTo>
                  <a:pt x="294" y="132"/>
                </a:lnTo>
                <a:lnTo>
                  <a:pt x="294" y="132"/>
                </a:lnTo>
                <a:lnTo>
                  <a:pt x="300" y="132"/>
                </a:lnTo>
                <a:lnTo>
                  <a:pt x="306" y="132"/>
                </a:lnTo>
                <a:lnTo>
                  <a:pt x="306" y="132"/>
                </a:lnTo>
                <a:lnTo>
                  <a:pt x="306" y="132"/>
                </a:lnTo>
                <a:lnTo>
                  <a:pt x="312" y="132"/>
                </a:lnTo>
                <a:lnTo>
                  <a:pt x="312" y="132"/>
                </a:lnTo>
                <a:lnTo>
                  <a:pt x="312" y="126"/>
                </a:lnTo>
                <a:lnTo>
                  <a:pt x="318" y="126"/>
                </a:lnTo>
                <a:lnTo>
                  <a:pt x="324" y="126"/>
                </a:lnTo>
                <a:lnTo>
                  <a:pt x="324" y="126"/>
                </a:lnTo>
                <a:lnTo>
                  <a:pt x="330" y="126"/>
                </a:lnTo>
                <a:lnTo>
                  <a:pt x="330" y="126"/>
                </a:lnTo>
                <a:lnTo>
                  <a:pt x="330" y="126"/>
                </a:lnTo>
                <a:lnTo>
                  <a:pt x="324" y="132"/>
                </a:lnTo>
                <a:lnTo>
                  <a:pt x="324" y="132"/>
                </a:lnTo>
                <a:lnTo>
                  <a:pt x="330" y="132"/>
                </a:lnTo>
                <a:lnTo>
                  <a:pt x="330" y="132"/>
                </a:lnTo>
                <a:lnTo>
                  <a:pt x="336" y="132"/>
                </a:lnTo>
                <a:lnTo>
                  <a:pt x="336" y="132"/>
                </a:lnTo>
                <a:lnTo>
                  <a:pt x="348" y="126"/>
                </a:lnTo>
                <a:lnTo>
                  <a:pt x="348" y="126"/>
                </a:lnTo>
                <a:lnTo>
                  <a:pt x="348" y="126"/>
                </a:lnTo>
                <a:lnTo>
                  <a:pt x="348" y="126"/>
                </a:lnTo>
                <a:lnTo>
                  <a:pt x="348" y="120"/>
                </a:lnTo>
                <a:lnTo>
                  <a:pt x="348" y="120"/>
                </a:lnTo>
                <a:lnTo>
                  <a:pt x="348" y="114"/>
                </a:lnTo>
                <a:lnTo>
                  <a:pt x="348" y="114"/>
                </a:lnTo>
                <a:lnTo>
                  <a:pt x="348" y="114"/>
                </a:lnTo>
                <a:lnTo>
                  <a:pt x="348" y="108"/>
                </a:lnTo>
                <a:lnTo>
                  <a:pt x="354" y="108"/>
                </a:lnTo>
                <a:lnTo>
                  <a:pt x="348" y="102"/>
                </a:lnTo>
                <a:lnTo>
                  <a:pt x="348" y="102"/>
                </a:lnTo>
                <a:lnTo>
                  <a:pt x="348" y="96"/>
                </a:lnTo>
                <a:lnTo>
                  <a:pt x="354" y="96"/>
                </a:lnTo>
                <a:lnTo>
                  <a:pt x="354" y="96"/>
                </a:lnTo>
                <a:lnTo>
                  <a:pt x="354" y="96"/>
                </a:lnTo>
                <a:lnTo>
                  <a:pt x="360" y="96"/>
                </a:lnTo>
                <a:lnTo>
                  <a:pt x="360" y="96"/>
                </a:lnTo>
                <a:lnTo>
                  <a:pt x="366" y="96"/>
                </a:lnTo>
                <a:lnTo>
                  <a:pt x="366" y="96"/>
                </a:lnTo>
                <a:lnTo>
                  <a:pt x="366" y="90"/>
                </a:lnTo>
                <a:lnTo>
                  <a:pt x="366" y="90"/>
                </a:lnTo>
                <a:lnTo>
                  <a:pt x="366" y="90"/>
                </a:lnTo>
                <a:lnTo>
                  <a:pt x="366" y="84"/>
                </a:lnTo>
                <a:lnTo>
                  <a:pt x="366" y="84"/>
                </a:lnTo>
                <a:lnTo>
                  <a:pt x="366" y="84"/>
                </a:lnTo>
                <a:lnTo>
                  <a:pt x="372" y="84"/>
                </a:lnTo>
                <a:lnTo>
                  <a:pt x="372" y="78"/>
                </a:lnTo>
                <a:lnTo>
                  <a:pt x="372" y="78"/>
                </a:lnTo>
                <a:lnTo>
                  <a:pt x="372" y="78"/>
                </a:lnTo>
                <a:lnTo>
                  <a:pt x="372" y="78"/>
                </a:lnTo>
                <a:lnTo>
                  <a:pt x="372" y="78"/>
                </a:lnTo>
                <a:lnTo>
                  <a:pt x="372" y="84"/>
                </a:lnTo>
                <a:lnTo>
                  <a:pt x="378" y="84"/>
                </a:lnTo>
                <a:lnTo>
                  <a:pt x="378" y="78"/>
                </a:lnTo>
                <a:lnTo>
                  <a:pt x="378" y="78"/>
                </a:lnTo>
                <a:lnTo>
                  <a:pt x="378" y="78"/>
                </a:lnTo>
                <a:lnTo>
                  <a:pt x="378" y="78"/>
                </a:lnTo>
                <a:lnTo>
                  <a:pt x="378" y="72"/>
                </a:lnTo>
                <a:lnTo>
                  <a:pt x="372" y="72"/>
                </a:lnTo>
                <a:lnTo>
                  <a:pt x="372" y="66"/>
                </a:lnTo>
                <a:lnTo>
                  <a:pt x="372" y="66"/>
                </a:lnTo>
                <a:lnTo>
                  <a:pt x="378" y="60"/>
                </a:lnTo>
                <a:lnTo>
                  <a:pt x="378" y="60"/>
                </a:lnTo>
                <a:lnTo>
                  <a:pt x="372" y="60"/>
                </a:lnTo>
                <a:lnTo>
                  <a:pt x="372" y="60"/>
                </a:lnTo>
                <a:lnTo>
                  <a:pt x="372" y="54"/>
                </a:lnTo>
                <a:lnTo>
                  <a:pt x="378" y="54"/>
                </a:lnTo>
                <a:lnTo>
                  <a:pt x="378" y="48"/>
                </a:lnTo>
                <a:lnTo>
                  <a:pt x="378" y="48"/>
                </a:lnTo>
                <a:lnTo>
                  <a:pt x="378" y="48"/>
                </a:lnTo>
                <a:lnTo>
                  <a:pt x="378" y="48"/>
                </a:lnTo>
                <a:lnTo>
                  <a:pt x="384" y="42"/>
                </a:lnTo>
                <a:lnTo>
                  <a:pt x="384" y="42"/>
                </a:lnTo>
                <a:lnTo>
                  <a:pt x="384" y="42"/>
                </a:lnTo>
                <a:lnTo>
                  <a:pt x="384" y="42"/>
                </a:lnTo>
                <a:lnTo>
                  <a:pt x="384" y="42"/>
                </a:lnTo>
                <a:lnTo>
                  <a:pt x="390" y="42"/>
                </a:lnTo>
                <a:lnTo>
                  <a:pt x="390" y="42"/>
                </a:lnTo>
                <a:lnTo>
                  <a:pt x="396" y="48"/>
                </a:lnTo>
                <a:lnTo>
                  <a:pt x="396" y="48"/>
                </a:lnTo>
                <a:lnTo>
                  <a:pt x="396" y="48"/>
                </a:lnTo>
                <a:lnTo>
                  <a:pt x="396" y="42"/>
                </a:lnTo>
                <a:lnTo>
                  <a:pt x="402" y="42"/>
                </a:lnTo>
                <a:lnTo>
                  <a:pt x="402" y="36"/>
                </a:lnTo>
                <a:lnTo>
                  <a:pt x="402" y="36"/>
                </a:lnTo>
                <a:lnTo>
                  <a:pt x="402" y="30"/>
                </a:lnTo>
                <a:lnTo>
                  <a:pt x="402" y="30"/>
                </a:lnTo>
                <a:lnTo>
                  <a:pt x="402" y="24"/>
                </a:lnTo>
                <a:lnTo>
                  <a:pt x="408" y="24"/>
                </a:lnTo>
                <a:lnTo>
                  <a:pt x="408" y="18"/>
                </a:lnTo>
                <a:lnTo>
                  <a:pt x="408" y="18"/>
                </a:lnTo>
                <a:lnTo>
                  <a:pt x="414" y="18"/>
                </a:lnTo>
                <a:lnTo>
                  <a:pt x="414" y="18"/>
                </a:lnTo>
                <a:lnTo>
                  <a:pt x="414" y="12"/>
                </a:lnTo>
                <a:lnTo>
                  <a:pt x="414" y="12"/>
                </a:lnTo>
                <a:lnTo>
                  <a:pt x="414" y="12"/>
                </a:lnTo>
                <a:lnTo>
                  <a:pt x="414" y="6"/>
                </a:lnTo>
                <a:lnTo>
                  <a:pt x="420" y="6"/>
                </a:lnTo>
                <a:lnTo>
                  <a:pt x="414" y="6"/>
                </a:lnTo>
                <a:lnTo>
                  <a:pt x="420" y="0"/>
                </a:lnTo>
                <a:lnTo>
                  <a:pt x="426" y="0"/>
                </a:lnTo>
                <a:lnTo>
                  <a:pt x="432" y="0"/>
                </a:lnTo>
                <a:lnTo>
                  <a:pt x="456" y="0"/>
                </a:lnTo>
                <a:lnTo>
                  <a:pt x="516" y="0"/>
                </a:lnTo>
                <a:lnTo>
                  <a:pt x="516" y="0"/>
                </a:lnTo>
                <a:lnTo>
                  <a:pt x="516" y="0"/>
                </a:lnTo>
                <a:lnTo>
                  <a:pt x="516" y="0"/>
                </a:lnTo>
                <a:lnTo>
                  <a:pt x="522" y="0"/>
                </a:lnTo>
                <a:lnTo>
                  <a:pt x="522" y="6"/>
                </a:lnTo>
                <a:lnTo>
                  <a:pt x="522" y="6"/>
                </a:lnTo>
                <a:lnTo>
                  <a:pt x="528" y="6"/>
                </a:lnTo>
                <a:lnTo>
                  <a:pt x="534" y="12"/>
                </a:lnTo>
                <a:lnTo>
                  <a:pt x="534" y="12"/>
                </a:lnTo>
                <a:lnTo>
                  <a:pt x="534" y="12"/>
                </a:lnTo>
                <a:lnTo>
                  <a:pt x="540" y="18"/>
                </a:lnTo>
                <a:lnTo>
                  <a:pt x="540" y="18"/>
                </a:lnTo>
                <a:lnTo>
                  <a:pt x="540" y="18"/>
                </a:lnTo>
                <a:lnTo>
                  <a:pt x="540" y="18"/>
                </a:lnTo>
                <a:lnTo>
                  <a:pt x="540" y="24"/>
                </a:lnTo>
                <a:lnTo>
                  <a:pt x="540" y="24"/>
                </a:lnTo>
                <a:lnTo>
                  <a:pt x="540" y="24"/>
                </a:lnTo>
                <a:lnTo>
                  <a:pt x="540" y="24"/>
                </a:lnTo>
                <a:lnTo>
                  <a:pt x="540" y="24"/>
                </a:lnTo>
                <a:lnTo>
                  <a:pt x="540" y="24"/>
                </a:lnTo>
                <a:lnTo>
                  <a:pt x="540" y="30"/>
                </a:lnTo>
                <a:lnTo>
                  <a:pt x="540" y="30"/>
                </a:lnTo>
                <a:lnTo>
                  <a:pt x="546" y="30"/>
                </a:lnTo>
                <a:lnTo>
                  <a:pt x="546" y="36"/>
                </a:lnTo>
                <a:lnTo>
                  <a:pt x="546" y="36"/>
                </a:lnTo>
                <a:lnTo>
                  <a:pt x="546" y="36"/>
                </a:lnTo>
                <a:lnTo>
                  <a:pt x="552" y="36"/>
                </a:lnTo>
                <a:lnTo>
                  <a:pt x="552" y="42"/>
                </a:lnTo>
                <a:lnTo>
                  <a:pt x="552" y="36"/>
                </a:lnTo>
                <a:lnTo>
                  <a:pt x="552" y="42"/>
                </a:lnTo>
                <a:lnTo>
                  <a:pt x="552" y="42"/>
                </a:lnTo>
                <a:lnTo>
                  <a:pt x="552" y="42"/>
                </a:lnTo>
                <a:lnTo>
                  <a:pt x="558" y="42"/>
                </a:lnTo>
                <a:lnTo>
                  <a:pt x="558" y="42"/>
                </a:lnTo>
                <a:lnTo>
                  <a:pt x="558" y="42"/>
                </a:lnTo>
                <a:lnTo>
                  <a:pt x="558" y="42"/>
                </a:lnTo>
                <a:lnTo>
                  <a:pt x="558" y="48"/>
                </a:lnTo>
                <a:lnTo>
                  <a:pt x="558" y="48"/>
                </a:lnTo>
                <a:lnTo>
                  <a:pt x="558" y="48"/>
                </a:lnTo>
                <a:lnTo>
                  <a:pt x="558" y="48"/>
                </a:lnTo>
                <a:lnTo>
                  <a:pt x="558" y="54"/>
                </a:lnTo>
                <a:lnTo>
                  <a:pt x="558" y="54"/>
                </a:lnTo>
                <a:lnTo>
                  <a:pt x="558" y="54"/>
                </a:lnTo>
                <a:lnTo>
                  <a:pt x="558" y="54"/>
                </a:lnTo>
                <a:lnTo>
                  <a:pt x="564" y="54"/>
                </a:lnTo>
                <a:lnTo>
                  <a:pt x="564" y="48"/>
                </a:lnTo>
                <a:lnTo>
                  <a:pt x="564" y="48"/>
                </a:lnTo>
                <a:lnTo>
                  <a:pt x="564" y="48"/>
                </a:lnTo>
                <a:lnTo>
                  <a:pt x="570" y="48"/>
                </a:lnTo>
                <a:lnTo>
                  <a:pt x="570" y="48"/>
                </a:lnTo>
                <a:lnTo>
                  <a:pt x="570" y="48"/>
                </a:lnTo>
                <a:lnTo>
                  <a:pt x="570" y="54"/>
                </a:lnTo>
                <a:lnTo>
                  <a:pt x="576" y="54"/>
                </a:lnTo>
                <a:lnTo>
                  <a:pt x="576" y="54"/>
                </a:lnTo>
                <a:lnTo>
                  <a:pt x="576" y="54"/>
                </a:lnTo>
                <a:lnTo>
                  <a:pt x="582" y="54"/>
                </a:lnTo>
                <a:lnTo>
                  <a:pt x="582" y="54"/>
                </a:lnTo>
                <a:lnTo>
                  <a:pt x="582" y="54"/>
                </a:lnTo>
                <a:lnTo>
                  <a:pt x="582" y="54"/>
                </a:lnTo>
                <a:lnTo>
                  <a:pt x="582" y="60"/>
                </a:lnTo>
                <a:lnTo>
                  <a:pt x="582" y="60"/>
                </a:lnTo>
                <a:lnTo>
                  <a:pt x="582" y="66"/>
                </a:lnTo>
                <a:lnTo>
                  <a:pt x="582" y="66"/>
                </a:lnTo>
                <a:lnTo>
                  <a:pt x="582" y="72"/>
                </a:lnTo>
                <a:lnTo>
                  <a:pt x="582" y="72"/>
                </a:lnTo>
                <a:lnTo>
                  <a:pt x="582" y="72"/>
                </a:lnTo>
                <a:lnTo>
                  <a:pt x="588" y="72"/>
                </a:lnTo>
                <a:lnTo>
                  <a:pt x="582" y="72"/>
                </a:lnTo>
                <a:lnTo>
                  <a:pt x="588" y="78"/>
                </a:lnTo>
                <a:lnTo>
                  <a:pt x="588" y="78"/>
                </a:lnTo>
                <a:lnTo>
                  <a:pt x="582" y="78"/>
                </a:lnTo>
                <a:lnTo>
                  <a:pt x="582" y="84"/>
                </a:lnTo>
                <a:lnTo>
                  <a:pt x="582" y="84"/>
                </a:lnTo>
                <a:lnTo>
                  <a:pt x="588" y="84"/>
                </a:lnTo>
                <a:lnTo>
                  <a:pt x="594" y="84"/>
                </a:lnTo>
                <a:lnTo>
                  <a:pt x="594" y="84"/>
                </a:lnTo>
                <a:lnTo>
                  <a:pt x="588" y="84"/>
                </a:lnTo>
                <a:lnTo>
                  <a:pt x="588" y="78"/>
                </a:lnTo>
                <a:lnTo>
                  <a:pt x="588" y="78"/>
                </a:lnTo>
                <a:lnTo>
                  <a:pt x="594" y="78"/>
                </a:lnTo>
                <a:lnTo>
                  <a:pt x="594" y="78"/>
                </a:lnTo>
                <a:lnTo>
                  <a:pt x="594" y="78"/>
                </a:lnTo>
                <a:lnTo>
                  <a:pt x="594" y="78"/>
                </a:lnTo>
                <a:lnTo>
                  <a:pt x="600" y="84"/>
                </a:lnTo>
                <a:lnTo>
                  <a:pt x="594" y="84"/>
                </a:lnTo>
                <a:lnTo>
                  <a:pt x="600" y="84"/>
                </a:lnTo>
                <a:lnTo>
                  <a:pt x="594" y="84"/>
                </a:lnTo>
                <a:lnTo>
                  <a:pt x="600" y="84"/>
                </a:lnTo>
                <a:lnTo>
                  <a:pt x="594" y="90"/>
                </a:lnTo>
                <a:lnTo>
                  <a:pt x="600" y="90"/>
                </a:lnTo>
                <a:lnTo>
                  <a:pt x="594" y="90"/>
                </a:lnTo>
                <a:lnTo>
                  <a:pt x="594" y="96"/>
                </a:lnTo>
                <a:lnTo>
                  <a:pt x="594" y="96"/>
                </a:lnTo>
                <a:lnTo>
                  <a:pt x="594" y="96"/>
                </a:lnTo>
                <a:lnTo>
                  <a:pt x="588" y="96"/>
                </a:lnTo>
                <a:lnTo>
                  <a:pt x="588" y="96"/>
                </a:lnTo>
                <a:lnTo>
                  <a:pt x="582" y="96"/>
                </a:lnTo>
                <a:lnTo>
                  <a:pt x="582" y="90"/>
                </a:lnTo>
                <a:lnTo>
                  <a:pt x="582" y="90"/>
                </a:lnTo>
                <a:lnTo>
                  <a:pt x="582" y="90"/>
                </a:lnTo>
                <a:lnTo>
                  <a:pt x="582" y="90"/>
                </a:lnTo>
                <a:lnTo>
                  <a:pt x="582" y="96"/>
                </a:lnTo>
                <a:lnTo>
                  <a:pt x="582" y="96"/>
                </a:lnTo>
                <a:lnTo>
                  <a:pt x="582" y="96"/>
                </a:lnTo>
                <a:lnTo>
                  <a:pt x="582" y="96"/>
                </a:lnTo>
                <a:lnTo>
                  <a:pt x="582" y="96"/>
                </a:lnTo>
                <a:lnTo>
                  <a:pt x="582" y="96"/>
                </a:lnTo>
                <a:lnTo>
                  <a:pt x="582" y="96"/>
                </a:lnTo>
                <a:lnTo>
                  <a:pt x="582" y="102"/>
                </a:lnTo>
                <a:lnTo>
                  <a:pt x="582" y="102"/>
                </a:lnTo>
                <a:lnTo>
                  <a:pt x="582" y="102"/>
                </a:lnTo>
                <a:lnTo>
                  <a:pt x="582" y="102"/>
                </a:lnTo>
                <a:lnTo>
                  <a:pt x="582" y="102"/>
                </a:lnTo>
                <a:lnTo>
                  <a:pt x="582" y="102"/>
                </a:lnTo>
                <a:lnTo>
                  <a:pt x="582" y="102"/>
                </a:lnTo>
                <a:lnTo>
                  <a:pt x="582" y="108"/>
                </a:lnTo>
                <a:lnTo>
                  <a:pt x="582" y="108"/>
                </a:lnTo>
                <a:lnTo>
                  <a:pt x="582" y="108"/>
                </a:lnTo>
                <a:lnTo>
                  <a:pt x="588" y="108"/>
                </a:lnTo>
                <a:lnTo>
                  <a:pt x="588" y="108"/>
                </a:lnTo>
                <a:lnTo>
                  <a:pt x="588" y="108"/>
                </a:lnTo>
                <a:lnTo>
                  <a:pt x="588" y="108"/>
                </a:lnTo>
                <a:lnTo>
                  <a:pt x="588" y="114"/>
                </a:lnTo>
                <a:lnTo>
                  <a:pt x="588" y="114"/>
                </a:lnTo>
                <a:lnTo>
                  <a:pt x="588" y="114"/>
                </a:lnTo>
                <a:lnTo>
                  <a:pt x="588" y="114"/>
                </a:lnTo>
                <a:lnTo>
                  <a:pt x="588" y="114"/>
                </a:lnTo>
                <a:lnTo>
                  <a:pt x="588" y="114"/>
                </a:lnTo>
                <a:lnTo>
                  <a:pt x="588" y="114"/>
                </a:lnTo>
                <a:lnTo>
                  <a:pt x="588" y="114"/>
                </a:lnTo>
                <a:lnTo>
                  <a:pt x="588" y="114"/>
                </a:lnTo>
                <a:lnTo>
                  <a:pt x="588" y="120"/>
                </a:lnTo>
                <a:lnTo>
                  <a:pt x="588" y="120"/>
                </a:lnTo>
                <a:lnTo>
                  <a:pt x="588" y="120"/>
                </a:lnTo>
                <a:lnTo>
                  <a:pt x="588" y="120"/>
                </a:lnTo>
                <a:lnTo>
                  <a:pt x="588" y="120"/>
                </a:lnTo>
                <a:lnTo>
                  <a:pt x="582" y="126"/>
                </a:lnTo>
                <a:lnTo>
                  <a:pt x="582" y="126"/>
                </a:lnTo>
                <a:lnTo>
                  <a:pt x="588" y="126"/>
                </a:lnTo>
                <a:lnTo>
                  <a:pt x="588" y="126"/>
                </a:lnTo>
                <a:lnTo>
                  <a:pt x="588" y="132"/>
                </a:lnTo>
                <a:lnTo>
                  <a:pt x="582" y="132"/>
                </a:lnTo>
                <a:lnTo>
                  <a:pt x="582" y="132"/>
                </a:lnTo>
                <a:lnTo>
                  <a:pt x="582" y="132"/>
                </a:lnTo>
                <a:lnTo>
                  <a:pt x="582" y="138"/>
                </a:lnTo>
                <a:lnTo>
                  <a:pt x="582" y="132"/>
                </a:lnTo>
                <a:lnTo>
                  <a:pt x="582" y="138"/>
                </a:lnTo>
                <a:lnTo>
                  <a:pt x="582" y="138"/>
                </a:lnTo>
                <a:lnTo>
                  <a:pt x="588" y="138"/>
                </a:lnTo>
                <a:lnTo>
                  <a:pt x="588" y="138"/>
                </a:lnTo>
                <a:lnTo>
                  <a:pt x="582" y="144"/>
                </a:lnTo>
                <a:lnTo>
                  <a:pt x="588" y="150"/>
                </a:lnTo>
                <a:lnTo>
                  <a:pt x="588" y="156"/>
                </a:lnTo>
                <a:lnTo>
                  <a:pt x="588" y="156"/>
                </a:lnTo>
                <a:lnTo>
                  <a:pt x="588" y="162"/>
                </a:lnTo>
                <a:lnTo>
                  <a:pt x="582" y="162"/>
                </a:lnTo>
                <a:lnTo>
                  <a:pt x="582" y="162"/>
                </a:lnTo>
                <a:lnTo>
                  <a:pt x="588" y="168"/>
                </a:lnTo>
                <a:lnTo>
                  <a:pt x="588" y="174"/>
                </a:lnTo>
                <a:lnTo>
                  <a:pt x="588" y="174"/>
                </a:lnTo>
                <a:lnTo>
                  <a:pt x="588" y="174"/>
                </a:lnTo>
                <a:lnTo>
                  <a:pt x="588" y="174"/>
                </a:lnTo>
                <a:lnTo>
                  <a:pt x="588" y="174"/>
                </a:lnTo>
                <a:lnTo>
                  <a:pt x="588" y="180"/>
                </a:lnTo>
                <a:lnTo>
                  <a:pt x="582" y="180"/>
                </a:lnTo>
                <a:lnTo>
                  <a:pt x="582" y="180"/>
                </a:lnTo>
                <a:lnTo>
                  <a:pt x="582" y="180"/>
                </a:lnTo>
                <a:lnTo>
                  <a:pt x="582" y="180"/>
                </a:lnTo>
                <a:lnTo>
                  <a:pt x="582" y="180"/>
                </a:lnTo>
                <a:lnTo>
                  <a:pt x="582" y="180"/>
                </a:lnTo>
                <a:lnTo>
                  <a:pt x="582" y="180"/>
                </a:lnTo>
                <a:lnTo>
                  <a:pt x="582" y="180"/>
                </a:lnTo>
                <a:lnTo>
                  <a:pt x="576" y="180"/>
                </a:lnTo>
                <a:lnTo>
                  <a:pt x="576" y="186"/>
                </a:lnTo>
                <a:lnTo>
                  <a:pt x="576" y="186"/>
                </a:lnTo>
                <a:lnTo>
                  <a:pt x="576" y="186"/>
                </a:lnTo>
                <a:lnTo>
                  <a:pt x="576" y="186"/>
                </a:lnTo>
                <a:lnTo>
                  <a:pt x="576" y="186"/>
                </a:lnTo>
                <a:lnTo>
                  <a:pt x="576" y="192"/>
                </a:lnTo>
                <a:lnTo>
                  <a:pt x="576" y="198"/>
                </a:lnTo>
                <a:lnTo>
                  <a:pt x="576" y="198"/>
                </a:lnTo>
                <a:lnTo>
                  <a:pt x="570" y="198"/>
                </a:lnTo>
                <a:lnTo>
                  <a:pt x="576" y="198"/>
                </a:lnTo>
                <a:lnTo>
                  <a:pt x="570" y="198"/>
                </a:lnTo>
                <a:lnTo>
                  <a:pt x="576" y="204"/>
                </a:lnTo>
                <a:lnTo>
                  <a:pt x="564" y="204"/>
                </a:lnTo>
                <a:lnTo>
                  <a:pt x="528" y="204"/>
                </a:lnTo>
                <a:lnTo>
                  <a:pt x="486" y="204"/>
                </a:lnTo>
                <a:lnTo>
                  <a:pt x="486" y="198"/>
                </a:lnTo>
                <a:lnTo>
                  <a:pt x="486" y="198"/>
                </a:lnTo>
                <a:lnTo>
                  <a:pt x="486" y="198"/>
                </a:lnTo>
                <a:lnTo>
                  <a:pt x="486" y="192"/>
                </a:lnTo>
                <a:lnTo>
                  <a:pt x="456" y="192"/>
                </a:lnTo>
                <a:lnTo>
                  <a:pt x="456" y="192"/>
                </a:lnTo>
                <a:lnTo>
                  <a:pt x="432" y="186"/>
                </a:lnTo>
                <a:lnTo>
                  <a:pt x="402" y="186"/>
                </a:lnTo>
                <a:lnTo>
                  <a:pt x="402" y="186"/>
                </a:lnTo>
                <a:lnTo>
                  <a:pt x="402" y="186"/>
                </a:lnTo>
                <a:lnTo>
                  <a:pt x="402" y="186"/>
                </a:lnTo>
                <a:lnTo>
                  <a:pt x="402" y="186"/>
                </a:lnTo>
                <a:lnTo>
                  <a:pt x="402" y="186"/>
                </a:lnTo>
                <a:lnTo>
                  <a:pt x="402" y="186"/>
                </a:lnTo>
                <a:lnTo>
                  <a:pt x="402" y="192"/>
                </a:lnTo>
                <a:lnTo>
                  <a:pt x="402" y="192"/>
                </a:lnTo>
                <a:lnTo>
                  <a:pt x="402" y="192"/>
                </a:lnTo>
                <a:lnTo>
                  <a:pt x="402" y="192"/>
                </a:lnTo>
                <a:lnTo>
                  <a:pt x="408" y="192"/>
                </a:lnTo>
                <a:lnTo>
                  <a:pt x="408" y="192"/>
                </a:lnTo>
                <a:lnTo>
                  <a:pt x="408" y="192"/>
                </a:lnTo>
                <a:lnTo>
                  <a:pt x="408" y="192"/>
                </a:lnTo>
                <a:lnTo>
                  <a:pt x="408" y="192"/>
                </a:lnTo>
                <a:lnTo>
                  <a:pt x="408" y="192"/>
                </a:lnTo>
                <a:lnTo>
                  <a:pt x="408" y="186"/>
                </a:lnTo>
                <a:lnTo>
                  <a:pt x="408" y="186"/>
                </a:lnTo>
                <a:lnTo>
                  <a:pt x="408" y="186"/>
                </a:lnTo>
                <a:lnTo>
                  <a:pt x="414" y="192"/>
                </a:lnTo>
                <a:lnTo>
                  <a:pt x="408" y="192"/>
                </a:lnTo>
                <a:lnTo>
                  <a:pt x="408" y="192"/>
                </a:lnTo>
                <a:lnTo>
                  <a:pt x="408" y="192"/>
                </a:lnTo>
                <a:lnTo>
                  <a:pt x="414" y="192"/>
                </a:lnTo>
                <a:lnTo>
                  <a:pt x="414" y="192"/>
                </a:lnTo>
                <a:lnTo>
                  <a:pt x="414" y="192"/>
                </a:lnTo>
                <a:lnTo>
                  <a:pt x="414" y="192"/>
                </a:lnTo>
                <a:lnTo>
                  <a:pt x="414" y="192"/>
                </a:lnTo>
                <a:lnTo>
                  <a:pt x="414" y="186"/>
                </a:lnTo>
                <a:lnTo>
                  <a:pt x="414" y="192"/>
                </a:lnTo>
                <a:lnTo>
                  <a:pt x="420" y="192"/>
                </a:lnTo>
                <a:lnTo>
                  <a:pt x="420" y="192"/>
                </a:lnTo>
                <a:lnTo>
                  <a:pt x="414" y="192"/>
                </a:lnTo>
                <a:lnTo>
                  <a:pt x="420" y="186"/>
                </a:lnTo>
                <a:lnTo>
                  <a:pt x="420" y="186"/>
                </a:lnTo>
                <a:lnTo>
                  <a:pt x="420" y="186"/>
                </a:lnTo>
                <a:lnTo>
                  <a:pt x="420" y="186"/>
                </a:lnTo>
                <a:lnTo>
                  <a:pt x="420" y="192"/>
                </a:lnTo>
                <a:lnTo>
                  <a:pt x="420" y="186"/>
                </a:lnTo>
                <a:lnTo>
                  <a:pt x="420" y="186"/>
                </a:lnTo>
                <a:lnTo>
                  <a:pt x="420" y="186"/>
                </a:lnTo>
                <a:lnTo>
                  <a:pt x="426" y="192"/>
                </a:lnTo>
                <a:lnTo>
                  <a:pt x="426" y="192"/>
                </a:lnTo>
                <a:lnTo>
                  <a:pt x="420" y="192"/>
                </a:lnTo>
                <a:lnTo>
                  <a:pt x="420" y="192"/>
                </a:lnTo>
                <a:lnTo>
                  <a:pt x="426" y="192"/>
                </a:lnTo>
                <a:lnTo>
                  <a:pt x="426" y="192"/>
                </a:lnTo>
                <a:lnTo>
                  <a:pt x="426" y="192"/>
                </a:lnTo>
                <a:lnTo>
                  <a:pt x="426" y="192"/>
                </a:lnTo>
                <a:lnTo>
                  <a:pt x="426" y="192"/>
                </a:lnTo>
                <a:lnTo>
                  <a:pt x="426" y="192"/>
                </a:lnTo>
                <a:lnTo>
                  <a:pt x="426" y="192"/>
                </a:lnTo>
                <a:lnTo>
                  <a:pt x="426" y="192"/>
                </a:lnTo>
                <a:lnTo>
                  <a:pt x="426" y="192"/>
                </a:lnTo>
                <a:lnTo>
                  <a:pt x="426" y="198"/>
                </a:lnTo>
                <a:lnTo>
                  <a:pt x="426" y="198"/>
                </a:lnTo>
                <a:lnTo>
                  <a:pt x="426" y="198"/>
                </a:lnTo>
                <a:lnTo>
                  <a:pt x="426" y="198"/>
                </a:lnTo>
                <a:lnTo>
                  <a:pt x="426" y="198"/>
                </a:lnTo>
                <a:lnTo>
                  <a:pt x="426" y="198"/>
                </a:lnTo>
                <a:lnTo>
                  <a:pt x="426" y="198"/>
                </a:lnTo>
                <a:lnTo>
                  <a:pt x="426" y="198"/>
                </a:lnTo>
                <a:lnTo>
                  <a:pt x="426" y="198"/>
                </a:lnTo>
                <a:lnTo>
                  <a:pt x="426" y="198"/>
                </a:lnTo>
                <a:lnTo>
                  <a:pt x="426" y="198"/>
                </a:lnTo>
                <a:lnTo>
                  <a:pt x="426" y="204"/>
                </a:lnTo>
                <a:lnTo>
                  <a:pt x="426" y="204"/>
                </a:lnTo>
                <a:lnTo>
                  <a:pt x="426" y="204"/>
                </a:lnTo>
                <a:lnTo>
                  <a:pt x="426" y="204"/>
                </a:lnTo>
                <a:lnTo>
                  <a:pt x="426" y="204"/>
                </a:lnTo>
                <a:lnTo>
                  <a:pt x="426" y="204"/>
                </a:lnTo>
                <a:lnTo>
                  <a:pt x="426" y="204"/>
                </a:lnTo>
                <a:lnTo>
                  <a:pt x="426" y="204"/>
                </a:lnTo>
                <a:lnTo>
                  <a:pt x="426" y="210"/>
                </a:lnTo>
                <a:lnTo>
                  <a:pt x="426" y="210"/>
                </a:lnTo>
                <a:lnTo>
                  <a:pt x="426" y="210"/>
                </a:lnTo>
                <a:lnTo>
                  <a:pt x="426" y="210"/>
                </a:lnTo>
                <a:lnTo>
                  <a:pt x="426" y="210"/>
                </a:lnTo>
                <a:lnTo>
                  <a:pt x="420" y="210"/>
                </a:lnTo>
                <a:lnTo>
                  <a:pt x="420" y="210"/>
                </a:lnTo>
                <a:lnTo>
                  <a:pt x="420" y="210"/>
                </a:lnTo>
                <a:lnTo>
                  <a:pt x="420" y="210"/>
                </a:lnTo>
                <a:lnTo>
                  <a:pt x="420" y="216"/>
                </a:lnTo>
                <a:lnTo>
                  <a:pt x="420" y="216"/>
                </a:lnTo>
                <a:lnTo>
                  <a:pt x="420" y="216"/>
                </a:lnTo>
                <a:lnTo>
                  <a:pt x="414" y="216"/>
                </a:lnTo>
                <a:lnTo>
                  <a:pt x="420" y="216"/>
                </a:lnTo>
                <a:lnTo>
                  <a:pt x="420" y="216"/>
                </a:lnTo>
                <a:lnTo>
                  <a:pt x="414" y="216"/>
                </a:lnTo>
                <a:lnTo>
                  <a:pt x="414" y="216"/>
                </a:lnTo>
                <a:lnTo>
                  <a:pt x="420" y="216"/>
                </a:lnTo>
                <a:lnTo>
                  <a:pt x="420" y="216"/>
                </a:lnTo>
                <a:lnTo>
                  <a:pt x="414" y="222"/>
                </a:lnTo>
                <a:lnTo>
                  <a:pt x="414" y="222"/>
                </a:lnTo>
                <a:lnTo>
                  <a:pt x="414" y="222"/>
                </a:lnTo>
                <a:lnTo>
                  <a:pt x="414" y="228"/>
                </a:lnTo>
                <a:lnTo>
                  <a:pt x="414" y="228"/>
                </a:lnTo>
                <a:lnTo>
                  <a:pt x="414" y="228"/>
                </a:lnTo>
                <a:lnTo>
                  <a:pt x="414" y="228"/>
                </a:lnTo>
                <a:lnTo>
                  <a:pt x="408" y="228"/>
                </a:lnTo>
                <a:lnTo>
                  <a:pt x="414" y="234"/>
                </a:lnTo>
                <a:lnTo>
                  <a:pt x="414" y="234"/>
                </a:lnTo>
                <a:lnTo>
                  <a:pt x="408" y="234"/>
                </a:lnTo>
                <a:lnTo>
                  <a:pt x="408" y="234"/>
                </a:lnTo>
                <a:lnTo>
                  <a:pt x="408" y="234"/>
                </a:lnTo>
                <a:lnTo>
                  <a:pt x="408" y="234"/>
                </a:lnTo>
                <a:lnTo>
                  <a:pt x="408" y="240"/>
                </a:lnTo>
                <a:lnTo>
                  <a:pt x="408" y="240"/>
                </a:lnTo>
                <a:lnTo>
                  <a:pt x="408" y="240"/>
                </a:lnTo>
                <a:lnTo>
                  <a:pt x="408" y="240"/>
                </a:lnTo>
                <a:lnTo>
                  <a:pt x="408" y="240"/>
                </a:lnTo>
                <a:lnTo>
                  <a:pt x="408" y="240"/>
                </a:lnTo>
                <a:lnTo>
                  <a:pt x="408" y="246"/>
                </a:lnTo>
                <a:lnTo>
                  <a:pt x="408" y="246"/>
                </a:lnTo>
                <a:lnTo>
                  <a:pt x="408" y="246"/>
                </a:lnTo>
                <a:lnTo>
                  <a:pt x="408" y="246"/>
                </a:lnTo>
                <a:lnTo>
                  <a:pt x="408" y="246"/>
                </a:lnTo>
                <a:lnTo>
                  <a:pt x="408" y="246"/>
                </a:lnTo>
                <a:lnTo>
                  <a:pt x="408" y="246"/>
                </a:lnTo>
                <a:lnTo>
                  <a:pt x="402" y="252"/>
                </a:lnTo>
                <a:lnTo>
                  <a:pt x="402" y="252"/>
                </a:lnTo>
                <a:lnTo>
                  <a:pt x="402" y="252"/>
                </a:lnTo>
                <a:lnTo>
                  <a:pt x="402" y="252"/>
                </a:lnTo>
                <a:lnTo>
                  <a:pt x="402" y="252"/>
                </a:lnTo>
                <a:lnTo>
                  <a:pt x="402" y="258"/>
                </a:lnTo>
                <a:lnTo>
                  <a:pt x="402" y="258"/>
                </a:lnTo>
                <a:lnTo>
                  <a:pt x="402" y="258"/>
                </a:lnTo>
                <a:lnTo>
                  <a:pt x="402" y="258"/>
                </a:lnTo>
                <a:lnTo>
                  <a:pt x="402" y="258"/>
                </a:lnTo>
                <a:lnTo>
                  <a:pt x="402" y="258"/>
                </a:lnTo>
                <a:lnTo>
                  <a:pt x="402" y="258"/>
                </a:lnTo>
                <a:lnTo>
                  <a:pt x="402" y="264"/>
                </a:lnTo>
                <a:lnTo>
                  <a:pt x="402" y="264"/>
                </a:lnTo>
                <a:lnTo>
                  <a:pt x="396" y="264"/>
                </a:lnTo>
                <a:lnTo>
                  <a:pt x="396" y="264"/>
                </a:lnTo>
                <a:lnTo>
                  <a:pt x="402" y="264"/>
                </a:lnTo>
                <a:lnTo>
                  <a:pt x="396" y="264"/>
                </a:lnTo>
                <a:lnTo>
                  <a:pt x="420" y="264"/>
                </a:lnTo>
                <a:lnTo>
                  <a:pt x="420" y="270"/>
                </a:lnTo>
                <a:lnTo>
                  <a:pt x="420" y="270"/>
                </a:lnTo>
                <a:lnTo>
                  <a:pt x="420" y="270"/>
                </a:lnTo>
                <a:lnTo>
                  <a:pt x="420" y="270"/>
                </a:lnTo>
                <a:lnTo>
                  <a:pt x="420" y="276"/>
                </a:lnTo>
                <a:lnTo>
                  <a:pt x="420" y="276"/>
                </a:lnTo>
                <a:lnTo>
                  <a:pt x="426" y="276"/>
                </a:lnTo>
                <a:lnTo>
                  <a:pt x="420" y="282"/>
                </a:lnTo>
                <a:lnTo>
                  <a:pt x="420" y="282"/>
                </a:lnTo>
                <a:lnTo>
                  <a:pt x="420" y="282"/>
                </a:lnTo>
                <a:lnTo>
                  <a:pt x="420" y="288"/>
                </a:lnTo>
                <a:lnTo>
                  <a:pt x="420" y="288"/>
                </a:lnTo>
                <a:lnTo>
                  <a:pt x="420" y="288"/>
                </a:lnTo>
                <a:lnTo>
                  <a:pt x="420" y="294"/>
                </a:lnTo>
                <a:lnTo>
                  <a:pt x="426" y="294"/>
                </a:lnTo>
                <a:lnTo>
                  <a:pt x="426" y="294"/>
                </a:lnTo>
                <a:lnTo>
                  <a:pt x="426" y="294"/>
                </a:lnTo>
                <a:lnTo>
                  <a:pt x="426" y="294"/>
                </a:lnTo>
                <a:lnTo>
                  <a:pt x="432" y="294"/>
                </a:lnTo>
                <a:lnTo>
                  <a:pt x="432" y="300"/>
                </a:lnTo>
                <a:lnTo>
                  <a:pt x="432" y="300"/>
                </a:lnTo>
                <a:lnTo>
                  <a:pt x="432" y="300"/>
                </a:lnTo>
                <a:lnTo>
                  <a:pt x="438" y="300"/>
                </a:lnTo>
                <a:lnTo>
                  <a:pt x="438" y="300"/>
                </a:lnTo>
                <a:lnTo>
                  <a:pt x="438" y="300"/>
                </a:lnTo>
                <a:lnTo>
                  <a:pt x="438" y="300"/>
                </a:lnTo>
                <a:lnTo>
                  <a:pt x="438" y="306"/>
                </a:lnTo>
                <a:lnTo>
                  <a:pt x="438" y="306"/>
                </a:lnTo>
                <a:lnTo>
                  <a:pt x="438" y="306"/>
                </a:lnTo>
                <a:lnTo>
                  <a:pt x="438" y="306"/>
                </a:lnTo>
                <a:lnTo>
                  <a:pt x="438" y="306"/>
                </a:lnTo>
                <a:lnTo>
                  <a:pt x="438" y="306"/>
                </a:lnTo>
                <a:lnTo>
                  <a:pt x="438" y="312"/>
                </a:lnTo>
                <a:lnTo>
                  <a:pt x="438" y="312"/>
                </a:lnTo>
                <a:lnTo>
                  <a:pt x="438" y="312"/>
                </a:lnTo>
                <a:lnTo>
                  <a:pt x="438" y="312"/>
                </a:lnTo>
                <a:lnTo>
                  <a:pt x="438" y="312"/>
                </a:lnTo>
                <a:lnTo>
                  <a:pt x="438" y="312"/>
                </a:lnTo>
                <a:lnTo>
                  <a:pt x="438" y="318"/>
                </a:lnTo>
                <a:lnTo>
                  <a:pt x="438" y="318"/>
                </a:lnTo>
                <a:lnTo>
                  <a:pt x="438" y="318"/>
                </a:lnTo>
                <a:lnTo>
                  <a:pt x="438" y="318"/>
                </a:lnTo>
                <a:lnTo>
                  <a:pt x="438" y="318"/>
                </a:lnTo>
                <a:lnTo>
                  <a:pt x="432" y="318"/>
                </a:lnTo>
                <a:lnTo>
                  <a:pt x="432" y="318"/>
                </a:lnTo>
                <a:lnTo>
                  <a:pt x="432" y="318"/>
                </a:lnTo>
                <a:lnTo>
                  <a:pt x="432" y="318"/>
                </a:lnTo>
                <a:lnTo>
                  <a:pt x="432" y="318"/>
                </a:lnTo>
                <a:lnTo>
                  <a:pt x="432" y="318"/>
                </a:lnTo>
                <a:lnTo>
                  <a:pt x="432" y="324"/>
                </a:lnTo>
                <a:lnTo>
                  <a:pt x="432" y="324"/>
                </a:lnTo>
                <a:lnTo>
                  <a:pt x="432" y="324"/>
                </a:lnTo>
                <a:lnTo>
                  <a:pt x="432" y="324"/>
                </a:lnTo>
                <a:lnTo>
                  <a:pt x="432" y="324"/>
                </a:lnTo>
                <a:lnTo>
                  <a:pt x="432" y="324"/>
                </a:lnTo>
                <a:lnTo>
                  <a:pt x="432" y="324"/>
                </a:lnTo>
                <a:lnTo>
                  <a:pt x="432" y="324"/>
                </a:lnTo>
                <a:lnTo>
                  <a:pt x="432" y="324"/>
                </a:lnTo>
                <a:lnTo>
                  <a:pt x="426" y="324"/>
                </a:lnTo>
                <a:lnTo>
                  <a:pt x="432" y="324"/>
                </a:lnTo>
                <a:lnTo>
                  <a:pt x="432" y="330"/>
                </a:lnTo>
                <a:lnTo>
                  <a:pt x="426" y="330"/>
                </a:lnTo>
                <a:lnTo>
                  <a:pt x="426" y="330"/>
                </a:lnTo>
                <a:lnTo>
                  <a:pt x="426" y="336"/>
                </a:lnTo>
                <a:lnTo>
                  <a:pt x="426" y="336"/>
                </a:lnTo>
                <a:lnTo>
                  <a:pt x="426" y="336"/>
                </a:lnTo>
                <a:lnTo>
                  <a:pt x="426" y="336"/>
                </a:lnTo>
                <a:lnTo>
                  <a:pt x="426" y="336"/>
                </a:lnTo>
                <a:lnTo>
                  <a:pt x="426" y="342"/>
                </a:lnTo>
                <a:lnTo>
                  <a:pt x="426" y="342"/>
                </a:lnTo>
                <a:lnTo>
                  <a:pt x="432" y="342"/>
                </a:lnTo>
                <a:lnTo>
                  <a:pt x="426" y="342"/>
                </a:lnTo>
                <a:lnTo>
                  <a:pt x="426" y="342"/>
                </a:lnTo>
                <a:lnTo>
                  <a:pt x="426" y="342"/>
                </a:lnTo>
                <a:lnTo>
                  <a:pt x="426" y="348"/>
                </a:lnTo>
                <a:lnTo>
                  <a:pt x="426" y="348"/>
                </a:lnTo>
                <a:lnTo>
                  <a:pt x="426" y="348"/>
                </a:lnTo>
                <a:lnTo>
                  <a:pt x="426" y="348"/>
                </a:lnTo>
                <a:lnTo>
                  <a:pt x="426" y="354"/>
                </a:lnTo>
                <a:lnTo>
                  <a:pt x="426" y="354"/>
                </a:lnTo>
                <a:lnTo>
                  <a:pt x="426" y="354"/>
                </a:lnTo>
                <a:lnTo>
                  <a:pt x="426" y="354"/>
                </a:lnTo>
                <a:lnTo>
                  <a:pt x="426" y="354"/>
                </a:lnTo>
                <a:lnTo>
                  <a:pt x="426" y="360"/>
                </a:lnTo>
                <a:lnTo>
                  <a:pt x="426" y="360"/>
                </a:lnTo>
                <a:lnTo>
                  <a:pt x="426" y="360"/>
                </a:lnTo>
                <a:lnTo>
                  <a:pt x="426" y="360"/>
                </a:lnTo>
                <a:lnTo>
                  <a:pt x="420" y="360"/>
                </a:lnTo>
                <a:lnTo>
                  <a:pt x="420" y="366"/>
                </a:lnTo>
                <a:lnTo>
                  <a:pt x="420" y="366"/>
                </a:lnTo>
                <a:lnTo>
                  <a:pt x="420" y="366"/>
                </a:lnTo>
                <a:lnTo>
                  <a:pt x="426" y="366"/>
                </a:lnTo>
                <a:lnTo>
                  <a:pt x="426" y="366"/>
                </a:lnTo>
                <a:lnTo>
                  <a:pt x="426" y="366"/>
                </a:lnTo>
                <a:lnTo>
                  <a:pt x="426" y="372"/>
                </a:lnTo>
                <a:lnTo>
                  <a:pt x="426" y="372"/>
                </a:lnTo>
                <a:lnTo>
                  <a:pt x="420" y="372"/>
                </a:lnTo>
                <a:lnTo>
                  <a:pt x="420" y="372"/>
                </a:lnTo>
                <a:lnTo>
                  <a:pt x="420" y="372"/>
                </a:lnTo>
                <a:lnTo>
                  <a:pt x="414" y="372"/>
                </a:lnTo>
                <a:lnTo>
                  <a:pt x="408" y="372"/>
                </a:lnTo>
                <a:lnTo>
                  <a:pt x="408" y="372"/>
                </a:lnTo>
                <a:lnTo>
                  <a:pt x="378" y="378"/>
                </a:lnTo>
                <a:lnTo>
                  <a:pt x="378" y="378"/>
                </a:lnTo>
                <a:lnTo>
                  <a:pt x="378" y="378"/>
                </a:lnTo>
                <a:lnTo>
                  <a:pt x="372" y="378"/>
                </a:lnTo>
                <a:lnTo>
                  <a:pt x="372" y="378"/>
                </a:lnTo>
                <a:lnTo>
                  <a:pt x="372" y="378"/>
                </a:lnTo>
                <a:lnTo>
                  <a:pt x="372" y="372"/>
                </a:lnTo>
                <a:lnTo>
                  <a:pt x="372" y="372"/>
                </a:lnTo>
                <a:lnTo>
                  <a:pt x="372" y="372"/>
                </a:lnTo>
                <a:lnTo>
                  <a:pt x="372" y="372"/>
                </a:lnTo>
                <a:lnTo>
                  <a:pt x="366" y="372"/>
                </a:lnTo>
                <a:lnTo>
                  <a:pt x="366" y="372"/>
                </a:lnTo>
                <a:lnTo>
                  <a:pt x="366" y="372"/>
                </a:lnTo>
                <a:lnTo>
                  <a:pt x="366" y="378"/>
                </a:lnTo>
                <a:lnTo>
                  <a:pt x="366" y="378"/>
                </a:lnTo>
                <a:lnTo>
                  <a:pt x="360" y="378"/>
                </a:lnTo>
                <a:lnTo>
                  <a:pt x="360" y="378"/>
                </a:lnTo>
                <a:lnTo>
                  <a:pt x="360" y="378"/>
                </a:lnTo>
                <a:lnTo>
                  <a:pt x="360" y="378"/>
                </a:lnTo>
                <a:lnTo>
                  <a:pt x="354" y="378"/>
                </a:lnTo>
                <a:lnTo>
                  <a:pt x="354" y="378"/>
                </a:lnTo>
                <a:lnTo>
                  <a:pt x="354" y="378"/>
                </a:lnTo>
                <a:lnTo>
                  <a:pt x="354" y="378"/>
                </a:lnTo>
                <a:lnTo>
                  <a:pt x="354" y="378"/>
                </a:lnTo>
                <a:lnTo>
                  <a:pt x="348" y="378"/>
                </a:lnTo>
                <a:lnTo>
                  <a:pt x="348" y="372"/>
                </a:lnTo>
                <a:lnTo>
                  <a:pt x="348" y="372"/>
                </a:lnTo>
                <a:lnTo>
                  <a:pt x="348" y="372"/>
                </a:lnTo>
                <a:lnTo>
                  <a:pt x="348" y="372"/>
                </a:lnTo>
                <a:lnTo>
                  <a:pt x="342" y="372"/>
                </a:lnTo>
                <a:lnTo>
                  <a:pt x="342" y="366"/>
                </a:lnTo>
                <a:lnTo>
                  <a:pt x="342" y="366"/>
                </a:lnTo>
                <a:lnTo>
                  <a:pt x="342" y="366"/>
                </a:lnTo>
                <a:lnTo>
                  <a:pt x="342" y="366"/>
                </a:lnTo>
                <a:lnTo>
                  <a:pt x="342" y="366"/>
                </a:lnTo>
                <a:lnTo>
                  <a:pt x="342" y="366"/>
                </a:lnTo>
                <a:lnTo>
                  <a:pt x="342" y="360"/>
                </a:lnTo>
                <a:lnTo>
                  <a:pt x="336" y="366"/>
                </a:lnTo>
                <a:lnTo>
                  <a:pt x="336" y="360"/>
                </a:lnTo>
                <a:lnTo>
                  <a:pt x="336" y="360"/>
                </a:lnTo>
                <a:lnTo>
                  <a:pt x="336" y="360"/>
                </a:lnTo>
                <a:lnTo>
                  <a:pt x="336" y="360"/>
                </a:lnTo>
                <a:lnTo>
                  <a:pt x="330" y="360"/>
                </a:lnTo>
                <a:lnTo>
                  <a:pt x="330" y="360"/>
                </a:lnTo>
                <a:lnTo>
                  <a:pt x="330" y="360"/>
                </a:lnTo>
                <a:lnTo>
                  <a:pt x="324" y="360"/>
                </a:lnTo>
                <a:lnTo>
                  <a:pt x="324" y="360"/>
                </a:lnTo>
                <a:lnTo>
                  <a:pt x="324" y="360"/>
                </a:lnTo>
                <a:lnTo>
                  <a:pt x="324" y="366"/>
                </a:lnTo>
                <a:lnTo>
                  <a:pt x="324" y="366"/>
                </a:lnTo>
                <a:lnTo>
                  <a:pt x="318" y="366"/>
                </a:lnTo>
                <a:lnTo>
                  <a:pt x="318" y="366"/>
                </a:lnTo>
                <a:lnTo>
                  <a:pt x="318" y="366"/>
                </a:lnTo>
                <a:lnTo>
                  <a:pt x="318" y="366"/>
                </a:lnTo>
                <a:lnTo>
                  <a:pt x="318" y="366"/>
                </a:lnTo>
                <a:lnTo>
                  <a:pt x="318" y="366"/>
                </a:lnTo>
                <a:lnTo>
                  <a:pt x="318" y="366"/>
                </a:lnTo>
                <a:lnTo>
                  <a:pt x="312" y="366"/>
                </a:lnTo>
                <a:lnTo>
                  <a:pt x="312" y="366"/>
                </a:lnTo>
                <a:lnTo>
                  <a:pt x="312" y="366"/>
                </a:lnTo>
                <a:lnTo>
                  <a:pt x="312" y="372"/>
                </a:lnTo>
                <a:lnTo>
                  <a:pt x="312" y="372"/>
                </a:lnTo>
                <a:lnTo>
                  <a:pt x="312" y="372"/>
                </a:lnTo>
                <a:lnTo>
                  <a:pt x="312" y="372"/>
                </a:lnTo>
                <a:lnTo>
                  <a:pt x="312" y="372"/>
                </a:lnTo>
                <a:lnTo>
                  <a:pt x="312" y="372"/>
                </a:lnTo>
                <a:lnTo>
                  <a:pt x="306" y="372"/>
                </a:lnTo>
                <a:lnTo>
                  <a:pt x="306" y="372"/>
                </a:lnTo>
                <a:lnTo>
                  <a:pt x="306" y="372"/>
                </a:lnTo>
                <a:lnTo>
                  <a:pt x="306" y="372"/>
                </a:lnTo>
                <a:lnTo>
                  <a:pt x="306" y="372"/>
                </a:lnTo>
                <a:lnTo>
                  <a:pt x="306" y="372"/>
                </a:lnTo>
                <a:lnTo>
                  <a:pt x="306" y="372"/>
                </a:lnTo>
                <a:lnTo>
                  <a:pt x="300" y="372"/>
                </a:lnTo>
                <a:lnTo>
                  <a:pt x="300" y="372"/>
                </a:lnTo>
                <a:lnTo>
                  <a:pt x="300" y="372"/>
                </a:lnTo>
                <a:lnTo>
                  <a:pt x="300" y="372"/>
                </a:lnTo>
                <a:lnTo>
                  <a:pt x="300" y="366"/>
                </a:lnTo>
                <a:lnTo>
                  <a:pt x="300" y="366"/>
                </a:lnTo>
                <a:lnTo>
                  <a:pt x="300" y="366"/>
                </a:lnTo>
                <a:lnTo>
                  <a:pt x="294" y="366"/>
                </a:lnTo>
                <a:lnTo>
                  <a:pt x="294" y="366"/>
                </a:lnTo>
                <a:lnTo>
                  <a:pt x="294" y="372"/>
                </a:lnTo>
                <a:lnTo>
                  <a:pt x="294" y="366"/>
                </a:lnTo>
                <a:lnTo>
                  <a:pt x="288" y="372"/>
                </a:lnTo>
                <a:lnTo>
                  <a:pt x="288" y="366"/>
                </a:lnTo>
                <a:lnTo>
                  <a:pt x="288" y="366"/>
                </a:lnTo>
                <a:lnTo>
                  <a:pt x="288" y="366"/>
                </a:lnTo>
                <a:lnTo>
                  <a:pt x="288" y="366"/>
                </a:lnTo>
                <a:lnTo>
                  <a:pt x="288" y="366"/>
                </a:lnTo>
                <a:lnTo>
                  <a:pt x="288" y="366"/>
                </a:lnTo>
                <a:lnTo>
                  <a:pt x="288" y="366"/>
                </a:lnTo>
                <a:lnTo>
                  <a:pt x="282" y="366"/>
                </a:lnTo>
                <a:lnTo>
                  <a:pt x="282" y="366"/>
                </a:lnTo>
                <a:lnTo>
                  <a:pt x="282" y="366"/>
                </a:lnTo>
                <a:lnTo>
                  <a:pt x="276" y="348"/>
                </a:lnTo>
                <a:lnTo>
                  <a:pt x="276" y="330"/>
                </a:lnTo>
                <a:lnTo>
                  <a:pt x="270" y="324"/>
                </a:lnTo>
                <a:lnTo>
                  <a:pt x="270" y="324"/>
                </a:lnTo>
                <a:lnTo>
                  <a:pt x="264" y="324"/>
                </a:lnTo>
                <a:lnTo>
                  <a:pt x="264" y="324"/>
                </a:lnTo>
                <a:lnTo>
                  <a:pt x="264" y="324"/>
                </a:lnTo>
                <a:lnTo>
                  <a:pt x="264" y="330"/>
                </a:lnTo>
                <a:lnTo>
                  <a:pt x="264" y="330"/>
                </a:lnTo>
                <a:lnTo>
                  <a:pt x="258" y="330"/>
                </a:lnTo>
                <a:lnTo>
                  <a:pt x="258" y="330"/>
                </a:lnTo>
                <a:lnTo>
                  <a:pt x="258" y="330"/>
                </a:lnTo>
                <a:lnTo>
                  <a:pt x="258" y="330"/>
                </a:lnTo>
                <a:lnTo>
                  <a:pt x="252" y="330"/>
                </a:lnTo>
                <a:lnTo>
                  <a:pt x="252" y="336"/>
                </a:lnTo>
                <a:lnTo>
                  <a:pt x="246" y="336"/>
                </a:lnTo>
                <a:lnTo>
                  <a:pt x="246" y="330"/>
                </a:lnTo>
                <a:lnTo>
                  <a:pt x="246" y="330"/>
                </a:lnTo>
                <a:lnTo>
                  <a:pt x="240" y="330"/>
                </a:lnTo>
                <a:lnTo>
                  <a:pt x="240" y="330"/>
                </a:lnTo>
                <a:lnTo>
                  <a:pt x="240" y="330"/>
                </a:lnTo>
                <a:lnTo>
                  <a:pt x="234" y="330"/>
                </a:lnTo>
                <a:lnTo>
                  <a:pt x="228" y="330"/>
                </a:lnTo>
                <a:lnTo>
                  <a:pt x="228" y="330"/>
                </a:lnTo>
                <a:lnTo>
                  <a:pt x="228" y="330"/>
                </a:lnTo>
                <a:lnTo>
                  <a:pt x="222" y="330"/>
                </a:lnTo>
                <a:lnTo>
                  <a:pt x="222" y="330"/>
                </a:lnTo>
                <a:lnTo>
                  <a:pt x="222" y="336"/>
                </a:lnTo>
                <a:lnTo>
                  <a:pt x="216" y="336"/>
                </a:lnTo>
                <a:lnTo>
                  <a:pt x="210" y="336"/>
                </a:lnTo>
                <a:lnTo>
                  <a:pt x="210" y="336"/>
                </a:lnTo>
                <a:lnTo>
                  <a:pt x="210" y="336"/>
                </a:lnTo>
                <a:lnTo>
                  <a:pt x="210" y="336"/>
                </a:lnTo>
                <a:lnTo>
                  <a:pt x="210" y="336"/>
                </a:lnTo>
                <a:lnTo>
                  <a:pt x="210" y="336"/>
                </a:lnTo>
                <a:lnTo>
                  <a:pt x="204" y="336"/>
                </a:lnTo>
                <a:lnTo>
                  <a:pt x="204" y="336"/>
                </a:lnTo>
                <a:lnTo>
                  <a:pt x="204" y="336"/>
                </a:lnTo>
                <a:lnTo>
                  <a:pt x="198" y="336"/>
                </a:lnTo>
                <a:lnTo>
                  <a:pt x="198" y="336"/>
                </a:lnTo>
                <a:lnTo>
                  <a:pt x="198" y="336"/>
                </a:lnTo>
                <a:lnTo>
                  <a:pt x="198" y="336"/>
                </a:lnTo>
                <a:lnTo>
                  <a:pt x="198" y="336"/>
                </a:lnTo>
                <a:lnTo>
                  <a:pt x="198" y="336"/>
                </a:lnTo>
                <a:lnTo>
                  <a:pt x="198" y="336"/>
                </a:lnTo>
                <a:lnTo>
                  <a:pt x="198" y="336"/>
                </a:lnTo>
                <a:lnTo>
                  <a:pt x="198" y="330"/>
                </a:lnTo>
                <a:lnTo>
                  <a:pt x="198" y="330"/>
                </a:lnTo>
                <a:lnTo>
                  <a:pt x="198" y="330"/>
                </a:lnTo>
                <a:lnTo>
                  <a:pt x="198" y="330"/>
                </a:lnTo>
                <a:lnTo>
                  <a:pt x="198" y="330"/>
                </a:lnTo>
                <a:lnTo>
                  <a:pt x="198" y="330"/>
                </a:lnTo>
                <a:lnTo>
                  <a:pt x="198" y="330"/>
                </a:lnTo>
                <a:lnTo>
                  <a:pt x="198" y="330"/>
                </a:lnTo>
                <a:lnTo>
                  <a:pt x="198" y="324"/>
                </a:lnTo>
                <a:lnTo>
                  <a:pt x="192" y="324"/>
                </a:lnTo>
                <a:lnTo>
                  <a:pt x="192" y="324"/>
                </a:lnTo>
                <a:lnTo>
                  <a:pt x="192" y="324"/>
                </a:lnTo>
                <a:lnTo>
                  <a:pt x="192" y="324"/>
                </a:lnTo>
                <a:lnTo>
                  <a:pt x="192" y="324"/>
                </a:lnTo>
                <a:lnTo>
                  <a:pt x="192" y="318"/>
                </a:lnTo>
                <a:lnTo>
                  <a:pt x="192" y="318"/>
                </a:lnTo>
                <a:lnTo>
                  <a:pt x="186" y="318"/>
                </a:lnTo>
                <a:lnTo>
                  <a:pt x="186" y="318"/>
                </a:lnTo>
                <a:lnTo>
                  <a:pt x="186" y="312"/>
                </a:lnTo>
                <a:lnTo>
                  <a:pt x="186" y="312"/>
                </a:lnTo>
                <a:lnTo>
                  <a:pt x="192" y="306"/>
                </a:lnTo>
                <a:lnTo>
                  <a:pt x="192" y="306"/>
                </a:lnTo>
                <a:lnTo>
                  <a:pt x="198" y="306"/>
                </a:lnTo>
                <a:lnTo>
                  <a:pt x="198" y="300"/>
                </a:lnTo>
                <a:lnTo>
                  <a:pt x="198" y="294"/>
                </a:lnTo>
                <a:lnTo>
                  <a:pt x="198" y="294"/>
                </a:lnTo>
                <a:lnTo>
                  <a:pt x="198" y="294"/>
                </a:lnTo>
                <a:lnTo>
                  <a:pt x="198" y="294"/>
                </a:lnTo>
                <a:lnTo>
                  <a:pt x="198" y="294"/>
                </a:lnTo>
                <a:lnTo>
                  <a:pt x="198" y="288"/>
                </a:lnTo>
                <a:lnTo>
                  <a:pt x="198" y="288"/>
                </a:lnTo>
                <a:lnTo>
                  <a:pt x="198" y="282"/>
                </a:lnTo>
                <a:lnTo>
                  <a:pt x="198" y="276"/>
                </a:lnTo>
                <a:lnTo>
                  <a:pt x="198" y="276"/>
                </a:lnTo>
                <a:lnTo>
                  <a:pt x="198" y="270"/>
                </a:lnTo>
                <a:lnTo>
                  <a:pt x="192" y="270"/>
                </a:lnTo>
                <a:lnTo>
                  <a:pt x="198" y="264"/>
                </a:lnTo>
                <a:lnTo>
                  <a:pt x="198" y="258"/>
                </a:lnTo>
                <a:lnTo>
                  <a:pt x="192" y="258"/>
                </a:lnTo>
                <a:lnTo>
                  <a:pt x="192" y="258"/>
                </a:lnTo>
                <a:lnTo>
                  <a:pt x="192" y="252"/>
                </a:lnTo>
                <a:lnTo>
                  <a:pt x="198" y="252"/>
                </a:lnTo>
                <a:lnTo>
                  <a:pt x="198" y="246"/>
                </a:lnTo>
                <a:lnTo>
                  <a:pt x="198" y="246"/>
                </a:lnTo>
                <a:lnTo>
                  <a:pt x="198" y="240"/>
                </a:lnTo>
                <a:lnTo>
                  <a:pt x="198" y="240"/>
                </a:lnTo>
                <a:lnTo>
                  <a:pt x="198" y="234"/>
                </a:lnTo>
                <a:lnTo>
                  <a:pt x="192" y="234"/>
                </a:lnTo>
                <a:lnTo>
                  <a:pt x="192" y="228"/>
                </a:lnTo>
                <a:lnTo>
                  <a:pt x="192" y="228"/>
                </a:lnTo>
                <a:lnTo>
                  <a:pt x="186" y="222"/>
                </a:lnTo>
                <a:lnTo>
                  <a:pt x="180" y="222"/>
                </a:lnTo>
                <a:lnTo>
                  <a:pt x="180" y="222"/>
                </a:lnTo>
                <a:lnTo>
                  <a:pt x="180" y="222"/>
                </a:lnTo>
                <a:lnTo>
                  <a:pt x="180" y="222"/>
                </a:lnTo>
                <a:lnTo>
                  <a:pt x="180" y="222"/>
                </a:lnTo>
                <a:lnTo>
                  <a:pt x="180" y="222"/>
                </a:lnTo>
                <a:lnTo>
                  <a:pt x="174" y="228"/>
                </a:lnTo>
                <a:lnTo>
                  <a:pt x="174" y="228"/>
                </a:lnTo>
                <a:lnTo>
                  <a:pt x="174" y="228"/>
                </a:lnTo>
                <a:lnTo>
                  <a:pt x="174" y="228"/>
                </a:lnTo>
                <a:lnTo>
                  <a:pt x="174" y="228"/>
                </a:lnTo>
                <a:lnTo>
                  <a:pt x="174" y="228"/>
                </a:lnTo>
                <a:lnTo>
                  <a:pt x="174" y="234"/>
                </a:lnTo>
                <a:lnTo>
                  <a:pt x="174" y="234"/>
                </a:lnTo>
                <a:lnTo>
                  <a:pt x="174" y="234"/>
                </a:lnTo>
                <a:lnTo>
                  <a:pt x="168" y="234"/>
                </a:lnTo>
                <a:lnTo>
                  <a:pt x="168" y="234"/>
                </a:lnTo>
                <a:lnTo>
                  <a:pt x="168" y="240"/>
                </a:lnTo>
                <a:lnTo>
                  <a:pt x="168" y="240"/>
                </a:lnTo>
                <a:lnTo>
                  <a:pt x="162" y="240"/>
                </a:lnTo>
                <a:lnTo>
                  <a:pt x="162" y="240"/>
                </a:lnTo>
                <a:lnTo>
                  <a:pt x="162" y="240"/>
                </a:lnTo>
                <a:lnTo>
                  <a:pt x="168" y="240"/>
                </a:lnTo>
                <a:lnTo>
                  <a:pt x="168" y="246"/>
                </a:lnTo>
                <a:lnTo>
                  <a:pt x="162" y="246"/>
                </a:lnTo>
                <a:lnTo>
                  <a:pt x="162" y="240"/>
                </a:lnTo>
                <a:lnTo>
                  <a:pt x="162" y="246"/>
                </a:lnTo>
                <a:lnTo>
                  <a:pt x="162" y="240"/>
                </a:lnTo>
                <a:lnTo>
                  <a:pt x="162" y="240"/>
                </a:lnTo>
                <a:lnTo>
                  <a:pt x="156" y="240"/>
                </a:lnTo>
                <a:lnTo>
                  <a:pt x="156" y="240"/>
                </a:lnTo>
                <a:lnTo>
                  <a:pt x="156" y="240"/>
                </a:lnTo>
                <a:lnTo>
                  <a:pt x="156" y="240"/>
                </a:lnTo>
                <a:lnTo>
                  <a:pt x="156" y="240"/>
                </a:lnTo>
                <a:lnTo>
                  <a:pt x="156" y="240"/>
                </a:lnTo>
                <a:lnTo>
                  <a:pt x="156" y="240"/>
                </a:lnTo>
                <a:lnTo>
                  <a:pt x="150" y="240"/>
                </a:lnTo>
                <a:lnTo>
                  <a:pt x="156" y="240"/>
                </a:lnTo>
                <a:lnTo>
                  <a:pt x="156" y="234"/>
                </a:lnTo>
                <a:lnTo>
                  <a:pt x="150" y="234"/>
                </a:lnTo>
                <a:lnTo>
                  <a:pt x="150" y="234"/>
                </a:lnTo>
                <a:lnTo>
                  <a:pt x="150" y="240"/>
                </a:lnTo>
                <a:lnTo>
                  <a:pt x="150" y="240"/>
                </a:lnTo>
                <a:lnTo>
                  <a:pt x="144" y="240"/>
                </a:lnTo>
                <a:lnTo>
                  <a:pt x="144" y="234"/>
                </a:lnTo>
                <a:lnTo>
                  <a:pt x="144" y="234"/>
                </a:lnTo>
                <a:lnTo>
                  <a:pt x="144" y="234"/>
                </a:lnTo>
                <a:lnTo>
                  <a:pt x="144" y="234"/>
                </a:lnTo>
                <a:lnTo>
                  <a:pt x="150" y="234"/>
                </a:lnTo>
                <a:lnTo>
                  <a:pt x="150" y="234"/>
                </a:lnTo>
                <a:lnTo>
                  <a:pt x="150" y="234"/>
                </a:lnTo>
                <a:lnTo>
                  <a:pt x="150" y="234"/>
                </a:lnTo>
                <a:lnTo>
                  <a:pt x="150" y="234"/>
                </a:lnTo>
                <a:lnTo>
                  <a:pt x="150" y="234"/>
                </a:lnTo>
                <a:lnTo>
                  <a:pt x="144" y="234"/>
                </a:lnTo>
                <a:lnTo>
                  <a:pt x="144" y="234"/>
                </a:lnTo>
                <a:lnTo>
                  <a:pt x="144" y="234"/>
                </a:lnTo>
                <a:lnTo>
                  <a:pt x="144" y="234"/>
                </a:lnTo>
                <a:lnTo>
                  <a:pt x="144" y="234"/>
                </a:lnTo>
                <a:lnTo>
                  <a:pt x="138" y="234"/>
                </a:lnTo>
                <a:lnTo>
                  <a:pt x="138" y="234"/>
                </a:lnTo>
                <a:lnTo>
                  <a:pt x="138" y="234"/>
                </a:lnTo>
                <a:lnTo>
                  <a:pt x="138" y="228"/>
                </a:lnTo>
                <a:lnTo>
                  <a:pt x="138" y="228"/>
                </a:lnTo>
                <a:lnTo>
                  <a:pt x="138" y="228"/>
                </a:lnTo>
                <a:lnTo>
                  <a:pt x="138" y="234"/>
                </a:lnTo>
                <a:lnTo>
                  <a:pt x="138" y="234"/>
                </a:lnTo>
                <a:lnTo>
                  <a:pt x="138" y="234"/>
                </a:lnTo>
                <a:lnTo>
                  <a:pt x="138" y="234"/>
                </a:lnTo>
                <a:lnTo>
                  <a:pt x="132" y="234"/>
                </a:lnTo>
                <a:lnTo>
                  <a:pt x="132" y="234"/>
                </a:lnTo>
                <a:lnTo>
                  <a:pt x="132" y="234"/>
                </a:lnTo>
                <a:lnTo>
                  <a:pt x="132" y="234"/>
                </a:lnTo>
                <a:lnTo>
                  <a:pt x="132" y="234"/>
                </a:lnTo>
                <a:lnTo>
                  <a:pt x="132" y="234"/>
                </a:lnTo>
                <a:lnTo>
                  <a:pt x="132" y="234"/>
                </a:lnTo>
                <a:lnTo>
                  <a:pt x="132" y="234"/>
                </a:lnTo>
                <a:lnTo>
                  <a:pt x="132" y="234"/>
                </a:lnTo>
                <a:lnTo>
                  <a:pt x="132" y="234"/>
                </a:lnTo>
                <a:lnTo>
                  <a:pt x="132" y="234"/>
                </a:lnTo>
                <a:lnTo>
                  <a:pt x="132" y="234"/>
                </a:lnTo>
                <a:lnTo>
                  <a:pt x="132" y="234"/>
                </a:lnTo>
                <a:lnTo>
                  <a:pt x="126" y="234"/>
                </a:lnTo>
                <a:lnTo>
                  <a:pt x="126" y="234"/>
                </a:lnTo>
                <a:lnTo>
                  <a:pt x="126" y="240"/>
                </a:lnTo>
                <a:lnTo>
                  <a:pt x="126" y="234"/>
                </a:lnTo>
                <a:lnTo>
                  <a:pt x="126" y="234"/>
                </a:lnTo>
                <a:lnTo>
                  <a:pt x="126" y="234"/>
                </a:lnTo>
                <a:lnTo>
                  <a:pt x="126" y="234"/>
                </a:lnTo>
                <a:lnTo>
                  <a:pt x="126" y="234"/>
                </a:lnTo>
                <a:lnTo>
                  <a:pt x="126" y="234"/>
                </a:lnTo>
                <a:lnTo>
                  <a:pt x="120" y="234"/>
                </a:lnTo>
                <a:lnTo>
                  <a:pt x="120" y="234"/>
                </a:lnTo>
                <a:lnTo>
                  <a:pt x="120" y="234"/>
                </a:lnTo>
                <a:lnTo>
                  <a:pt x="120" y="234"/>
                </a:lnTo>
                <a:lnTo>
                  <a:pt x="120" y="234"/>
                </a:lnTo>
                <a:lnTo>
                  <a:pt x="120" y="234"/>
                </a:lnTo>
                <a:lnTo>
                  <a:pt x="120" y="234"/>
                </a:lnTo>
                <a:lnTo>
                  <a:pt x="120" y="234"/>
                </a:lnTo>
                <a:lnTo>
                  <a:pt x="120" y="234"/>
                </a:lnTo>
                <a:lnTo>
                  <a:pt x="114" y="234"/>
                </a:lnTo>
                <a:lnTo>
                  <a:pt x="114" y="234"/>
                </a:lnTo>
                <a:lnTo>
                  <a:pt x="114" y="234"/>
                </a:lnTo>
                <a:lnTo>
                  <a:pt x="114" y="234"/>
                </a:lnTo>
                <a:lnTo>
                  <a:pt x="114" y="234"/>
                </a:lnTo>
                <a:lnTo>
                  <a:pt x="114" y="234"/>
                </a:lnTo>
                <a:lnTo>
                  <a:pt x="114" y="234"/>
                </a:lnTo>
                <a:lnTo>
                  <a:pt x="108" y="240"/>
                </a:lnTo>
                <a:lnTo>
                  <a:pt x="114" y="240"/>
                </a:lnTo>
                <a:lnTo>
                  <a:pt x="114" y="240"/>
                </a:lnTo>
                <a:lnTo>
                  <a:pt x="108" y="240"/>
                </a:lnTo>
                <a:lnTo>
                  <a:pt x="108" y="240"/>
                </a:lnTo>
                <a:lnTo>
                  <a:pt x="108" y="240"/>
                </a:lnTo>
                <a:lnTo>
                  <a:pt x="108" y="240"/>
                </a:lnTo>
                <a:lnTo>
                  <a:pt x="108" y="240"/>
                </a:lnTo>
                <a:lnTo>
                  <a:pt x="108" y="240"/>
                </a:lnTo>
                <a:lnTo>
                  <a:pt x="102" y="240"/>
                </a:lnTo>
                <a:lnTo>
                  <a:pt x="102" y="234"/>
                </a:lnTo>
                <a:lnTo>
                  <a:pt x="96" y="234"/>
                </a:lnTo>
                <a:lnTo>
                  <a:pt x="96" y="234"/>
                </a:lnTo>
                <a:lnTo>
                  <a:pt x="96" y="240"/>
                </a:lnTo>
                <a:lnTo>
                  <a:pt x="96" y="240"/>
                </a:lnTo>
                <a:lnTo>
                  <a:pt x="96" y="240"/>
                </a:lnTo>
                <a:lnTo>
                  <a:pt x="96" y="240"/>
                </a:lnTo>
                <a:lnTo>
                  <a:pt x="96" y="234"/>
                </a:lnTo>
                <a:lnTo>
                  <a:pt x="96" y="234"/>
                </a:lnTo>
                <a:lnTo>
                  <a:pt x="96" y="234"/>
                </a:lnTo>
                <a:lnTo>
                  <a:pt x="96" y="234"/>
                </a:lnTo>
                <a:lnTo>
                  <a:pt x="96" y="234"/>
                </a:lnTo>
                <a:lnTo>
                  <a:pt x="90" y="234"/>
                </a:lnTo>
                <a:lnTo>
                  <a:pt x="90" y="234"/>
                </a:lnTo>
                <a:lnTo>
                  <a:pt x="90" y="234"/>
                </a:lnTo>
                <a:lnTo>
                  <a:pt x="90" y="234"/>
                </a:lnTo>
                <a:lnTo>
                  <a:pt x="90" y="234"/>
                </a:lnTo>
                <a:lnTo>
                  <a:pt x="90" y="234"/>
                </a:lnTo>
                <a:lnTo>
                  <a:pt x="84" y="234"/>
                </a:lnTo>
                <a:lnTo>
                  <a:pt x="84" y="240"/>
                </a:lnTo>
                <a:lnTo>
                  <a:pt x="84" y="240"/>
                </a:lnTo>
                <a:lnTo>
                  <a:pt x="84" y="240"/>
                </a:lnTo>
                <a:lnTo>
                  <a:pt x="84" y="240"/>
                </a:lnTo>
                <a:lnTo>
                  <a:pt x="84" y="240"/>
                </a:lnTo>
                <a:lnTo>
                  <a:pt x="84" y="240"/>
                </a:lnTo>
                <a:lnTo>
                  <a:pt x="84" y="240"/>
                </a:lnTo>
                <a:lnTo>
                  <a:pt x="84" y="240"/>
                </a:lnTo>
                <a:lnTo>
                  <a:pt x="84" y="240"/>
                </a:lnTo>
                <a:lnTo>
                  <a:pt x="78" y="240"/>
                </a:lnTo>
                <a:lnTo>
                  <a:pt x="78" y="240"/>
                </a:lnTo>
                <a:lnTo>
                  <a:pt x="78" y="240"/>
                </a:lnTo>
                <a:lnTo>
                  <a:pt x="78" y="240"/>
                </a:lnTo>
                <a:lnTo>
                  <a:pt x="78" y="240"/>
                </a:lnTo>
                <a:lnTo>
                  <a:pt x="78" y="240"/>
                </a:lnTo>
                <a:lnTo>
                  <a:pt x="72" y="240"/>
                </a:lnTo>
                <a:lnTo>
                  <a:pt x="72" y="240"/>
                </a:lnTo>
                <a:lnTo>
                  <a:pt x="72" y="240"/>
                </a:lnTo>
                <a:lnTo>
                  <a:pt x="72" y="240"/>
                </a:lnTo>
                <a:lnTo>
                  <a:pt x="72" y="240"/>
                </a:lnTo>
                <a:lnTo>
                  <a:pt x="72" y="240"/>
                </a:lnTo>
                <a:lnTo>
                  <a:pt x="72" y="246"/>
                </a:lnTo>
                <a:lnTo>
                  <a:pt x="72" y="246"/>
                </a:lnTo>
                <a:lnTo>
                  <a:pt x="66" y="240"/>
                </a:lnTo>
                <a:lnTo>
                  <a:pt x="66" y="246"/>
                </a:lnTo>
                <a:lnTo>
                  <a:pt x="66" y="240"/>
                </a:lnTo>
                <a:lnTo>
                  <a:pt x="66" y="240"/>
                </a:lnTo>
                <a:lnTo>
                  <a:pt x="60" y="246"/>
                </a:lnTo>
                <a:lnTo>
                  <a:pt x="60" y="246"/>
                </a:lnTo>
                <a:lnTo>
                  <a:pt x="60" y="246"/>
                </a:lnTo>
                <a:lnTo>
                  <a:pt x="60" y="246"/>
                </a:lnTo>
                <a:lnTo>
                  <a:pt x="60" y="246"/>
                </a:lnTo>
                <a:lnTo>
                  <a:pt x="54" y="246"/>
                </a:lnTo>
                <a:lnTo>
                  <a:pt x="54" y="246"/>
                </a:lnTo>
                <a:lnTo>
                  <a:pt x="54" y="246"/>
                </a:lnTo>
                <a:lnTo>
                  <a:pt x="54" y="246"/>
                </a:lnTo>
                <a:lnTo>
                  <a:pt x="54" y="246"/>
                </a:lnTo>
                <a:lnTo>
                  <a:pt x="54" y="252"/>
                </a:lnTo>
                <a:lnTo>
                  <a:pt x="54" y="252"/>
                </a:lnTo>
                <a:lnTo>
                  <a:pt x="54" y="252"/>
                </a:lnTo>
                <a:lnTo>
                  <a:pt x="54" y="252"/>
                </a:lnTo>
                <a:lnTo>
                  <a:pt x="54" y="252"/>
                </a:lnTo>
                <a:lnTo>
                  <a:pt x="54" y="246"/>
                </a:lnTo>
                <a:lnTo>
                  <a:pt x="48" y="246"/>
                </a:lnTo>
                <a:lnTo>
                  <a:pt x="48" y="246"/>
                </a:lnTo>
                <a:lnTo>
                  <a:pt x="48" y="246"/>
                </a:lnTo>
                <a:lnTo>
                  <a:pt x="48" y="246"/>
                </a:lnTo>
                <a:lnTo>
                  <a:pt x="48" y="246"/>
                </a:lnTo>
                <a:lnTo>
                  <a:pt x="48" y="246"/>
                </a:lnTo>
                <a:lnTo>
                  <a:pt x="42" y="246"/>
                </a:lnTo>
                <a:lnTo>
                  <a:pt x="42" y="246"/>
                </a:lnTo>
                <a:lnTo>
                  <a:pt x="42" y="246"/>
                </a:lnTo>
                <a:lnTo>
                  <a:pt x="42" y="246"/>
                </a:lnTo>
                <a:lnTo>
                  <a:pt x="42" y="246"/>
                </a:lnTo>
                <a:lnTo>
                  <a:pt x="42" y="246"/>
                </a:lnTo>
                <a:lnTo>
                  <a:pt x="42" y="246"/>
                </a:lnTo>
                <a:lnTo>
                  <a:pt x="42" y="246"/>
                </a:lnTo>
                <a:lnTo>
                  <a:pt x="36" y="252"/>
                </a:lnTo>
                <a:lnTo>
                  <a:pt x="36" y="246"/>
                </a:lnTo>
                <a:lnTo>
                  <a:pt x="36" y="252"/>
                </a:lnTo>
                <a:lnTo>
                  <a:pt x="36" y="246"/>
                </a:lnTo>
                <a:lnTo>
                  <a:pt x="36" y="246"/>
                </a:lnTo>
                <a:lnTo>
                  <a:pt x="36" y="252"/>
                </a:lnTo>
                <a:lnTo>
                  <a:pt x="36" y="252"/>
                </a:lnTo>
                <a:lnTo>
                  <a:pt x="36" y="252"/>
                </a:lnTo>
                <a:lnTo>
                  <a:pt x="30" y="252"/>
                </a:lnTo>
                <a:lnTo>
                  <a:pt x="30" y="252"/>
                </a:lnTo>
                <a:lnTo>
                  <a:pt x="30" y="252"/>
                </a:lnTo>
                <a:lnTo>
                  <a:pt x="30" y="252"/>
                </a:lnTo>
                <a:lnTo>
                  <a:pt x="24" y="252"/>
                </a:lnTo>
                <a:lnTo>
                  <a:pt x="0" y="24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280" name="Freeform 13"/>
          <p:cNvSpPr>
            <a:spLocks/>
          </p:cNvSpPr>
          <p:nvPr/>
        </p:nvSpPr>
        <p:spPr bwMode="auto">
          <a:xfrm>
            <a:off x="3395715" y="1372643"/>
            <a:ext cx="1188449" cy="738771"/>
          </a:xfrm>
          <a:custGeom>
            <a:avLst/>
            <a:gdLst>
              <a:gd name="T0" fmla="*/ 36 w 1110"/>
              <a:gd name="T1" fmla="*/ 618 h 690"/>
              <a:gd name="T2" fmla="*/ 78 w 1110"/>
              <a:gd name="T3" fmla="*/ 600 h 690"/>
              <a:gd name="T4" fmla="*/ 78 w 1110"/>
              <a:gd name="T5" fmla="*/ 564 h 690"/>
              <a:gd name="T6" fmla="*/ 78 w 1110"/>
              <a:gd name="T7" fmla="*/ 516 h 690"/>
              <a:gd name="T8" fmla="*/ 102 w 1110"/>
              <a:gd name="T9" fmla="*/ 486 h 690"/>
              <a:gd name="T10" fmla="*/ 114 w 1110"/>
              <a:gd name="T11" fmla="*/ 450 h 690"/>
              <a:gd name="T12" fmla="*/ 126 w 1110"/>
              <a:gd name="T13" fmla="*/ 420 h 690"/>
              <a:gd name="T14" fmla="*/ 156 w 1110"/>
              <a:gd name="T15" fmla="*/ 402 h 690"/>
              <a:gd name="T16" fmla="*/ 174 w 1110"/>
              <a:gd name="T17" fmla="*/ 384 h 690"/>
              <a:gd name="T18" fmla="*/ 204 w 1110"/>
              <a:gd name="T19" fmla="*/ 366 h 690"/>
              <a:gd name="T20" fmla="*/ 240 w 1110"/>
              <a:gd name="T21" fmla="*/ 348 h 690"/>
              <a:gd name="T22" fmla="*/ 264 w 1110"/>
              <a:gd name="T23" fmla="*/ 330 h 690"/>
              <a:gd name="T24" fmla="*/ 294 w 1110"/>
              <a:gd name="T25" fmla="*/ 330 h 690"/>
              <a:gd name="T26" fmla="*/ 324 w 1110"/>
              <a:gd name="T27" fmla="*/ 330 h 690"/>
              <a:gd name="T28" fmla="*/ 342 w 1110"/>
              <a:gd name="T29" fmla="*/ 318 h 690"/>
              <a:gd name="T30" fmla="*/ 372 w 1110"/>
              <a:gd name="T31" fmla="*/ 318 h 690"/>
              <a:gd name="T32" fmla="*/ 402 w 1110"/>
              <a:gd name="T33" fmla="*/ 294 h 690"/>
              <a:gd name="T34" fmla="*/ 426 w 1110"/>
              <a:gd name="T35" fmla="*/ 294 h 690"/>
              <a:gd name="T36" fmla="*/ 456 w 1110"/>
              <a:gd name="T37" fmla="*/ 306 h 690"/>
              <a:gd name="T38" fmla="*/ 480 w 1110"/>
              <a:gd name="T39" fmla="*/ 300 h 690"/>
              <a:gd name="T40" fmla="*/ 564 w 1110"/>
              <a:gd name="T41" fmla="*/ 72 h 690"/>
              <a:gd name="T42" fmla="*/ 618 w 1110"/>
              <a:gd name="T43" fmla="*/ 120 h 690"/>
              <a:gd name="T44" fmla="*/ 672 w 1110"/>
              <a:gd name="T45" fmla="*/ 90 h 690"/>
              <a:gd name="T46" fmla="*/ 726 w 1110"/>
              <a:gd name="T47" fmla="*/ 84 h 690"/>
              <a:gd name="T48" fmla="*/ 780 w 1110"/>
              <a:gd name="T49" fmla="*/ 102 h 690"/>
              <a:gd name="T50" fmla="*/ 816 w 1110"/>
              <a:gd name="T51" fmla="*/ 54 h 690"/>
              <a:gd name="T52" fmla="*/ 870 w 1110"/>
              <a:gd name="T53" fmla="*/ 42 h 690"/>
              <a:gd name="T54" fmla="*/ 954 w 1110"/>
              <a:gd name="T55" fmla="*/ 0 h 690"/>
              <a:gd name="T56" fmla="*/ 996 w 1110"/>
              <a:gd name="T57" fmla="*/ 18 h 690"/>
              <a:gd name="T58" fmla="*/ 1038 w 1110"/>
              <a:gd name="T59" fmla="*/ 42 h 690"/>
              <a:gd name="T60" fmla="*/ 1074 w 1110"/>
              <a:gd name="T61" fmla="*/ 54 h 690"/>
              <a:gd name="T62" fmla="*/ 1098 w 1110"/>
              <a:gd name="T63" fmla="*/ 54 h 690"/>
              <a:gd name="T64" fmla="*/ 1086 w 1110"/>
              <a:gd name="T65" fmla="*/ 72 h 690"/>
              <a:gd name="T66" fmla="*/ 1038 w 1110"/>
              <a:gd name="T67" fmla="*/ 84 h 690"/>
              <a:gd name="T68" fmla="*/ 1014 w 1110"/>
              <a:gd name="T69" fmla="*/ 96 h 690"/>
              <a:gd name="T70" fmla="*/ 990 w 1110"/>
              <a:gd name="T71" fmla="*/ 132 h 690"/>
              <a:gd name="T72" fmla="*/ 960 w 1110"/>
              <a:gd name="T73" fmla="*/ 156 h 690"/>
              <a:gd name="T74" fmla="*/ 924 w 1110"/>
              <a:gd name="T75" fmla="*/ 156 h 690"/>
              <a:gd name="T76" fmla="*/ 876 w 1110"/>
              <a:gd name="T77" fmla="*/ 204 h 690"/>
              <a:gd name="T78" fmla="*/ 882 w 1110"/>
              <a:gd name="T79" fmla="*/ 264 h 690"/>
              <a:gd name="T80" fmla="*/ 876 w 1110"/>
              <a:gd name="T81" fmla="*/ 282 h 690"/>
              <a:gd name="T82" fmla="*/ 894 w 1110"/>
              <a:gd name="T83" fmla="*/ 330 h 690"/>
              <a:gd name="T84" fmla="*/ 840 w 1110"/>
              <a:gd name="T85" fmla="*/ 336 h 690"/>
              <a:gd name="T86" fmla="*/ 774 w 1110"/>
              <a:gd name="T87" fmla="*/ 366 h 690"/>
              <a:gd name="T88" fmla="*/ 744 w 1110"/>
              <a:gd name="T89" fmla="*/ 396 h 690"/>
              <a:gd name="T90" fmla="*/ 726 w 1110"/>
              <a:gd name="T91" fmla="*/ 462 h 690"/>
              <a:gd name="T92" fmla="*/ 726 w 1110"/>
              <a:gd name="T93" fmla="*/ 522 h 690"/>
              <a:gd name="T94" fmla="*/ 684 w 1110"/>
              <a:gd name="T95" fmla="*/ 552 h 690"/>
              <a:gd name="T96" fmla="*/ 654 w 1110"/>
              <a:gd name="T97" fmla="*/ 582 h 690"/>
              <a:gd name="T98" fmla="*/ 618 w 1110"/>
              <a:gd name="T99" fmla="*/ 582 h 690"/>
              <a:gd name="T100" fmla="*/ 570 w 1110"/>
              <a:gd name="T101" fmla="*/ 576 h 690"/>
              <a:gd name="T102" fmla="*/ 510 w 1110"/>
              <a:gd name="T103" fmla="*/ 600 h 690"/>
              <a:gd name="T104" fmla="*/ 462 w 1110"/>
              <a:gd name="T105" fmla="*/ 606 h 690"/>
              <a:gd name="T106" fmla="*/ 414 w 1110"/>
              <a:gd name="T107" fmla="*/ 606 h 690"/>
              <a:gd name="T108" fmla="*/ 354 w 1110"/>
              <a:gd name="T109" fmla="*/ 612 h 690"/>
              <a:gd name="T110" fmla="*/ 300 w 1110"/>
              <a:gd name="T111" fmla="*/ 642 h 690"/>
              <a:gd name="T112" fmla="*/ 270 w 1110"/>
              <a:gd name="T113" fmla="*/ 642 h 690"/>
              <a:gd name="T114" fmla="*/ 234 w 1110"/>
              <a:gd name="T115" fmla="*/ 666 h 690"/>
              <a:gd name="T116" fmla="*/ 180 w 1110"/>
              <a:gd name="T117" fmla="*/ 684 h 690"/>
              <a:gd name="T118" fmla="*/ 138 w 1110"/>
              <a:gd name="T119" fmla="*/ 648 h 690"/>
              <a:gd name="T120" fmla="*/ 54 w 1110"/>
              <a:gd name="T121" fmla="*/ 654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110" h="690">
                <a:moveTo>
                  <a:pt x="0" y="672"/>
                </a:moveTo>
                <a:lnTo>
                  <a:pt x="0" y="672"/>
                </a:lnTo>
                <a:lnTo>
                  <a:pt x="0" y="672"/>
                </a:lnTo>
                <a:lnTo>
                  <a:pt x="6" y="666"/>
                </a:lnTo>
                <a:lnTo>
                  <a:pt x="6" y="660"/>
                </a:lnTo>
                <a:lnTo>
                  <a:pt x="6" y="660"/>
                </a:lnTo>
                <a:lnTo>
                  <a:pt x="6" y="660"/>
                </a:lnTo>
                <a:lnTo>
                  <a:pt x="6" y="654"/>
                </a:lnTo>
                <a:lnTo>
                  <a:pt x="6" y="654"/>
                </a:lnTo>
                <a:lnTo>
                  <a:pt x="6" y="654"/>
                </a:lnTo>
                <a:lnTo>
                  <a:pt x="6" y="648"/>
                </a:lnTo>
                <a:lnTo>
                  <a:pt x="6" y="648"/>
                </a:lnTo>
                <a:lnTo>
                  <a:pt x="6" y="642"/>
                </a:lnTo>
                <a:lnTo>
                  <a:pt x="6" y="642"/>
                </a:lnTo>
                <a:lnTo>
                  <a:pt x="12" y="642"/>
                </a:lnTo>
                <a:lnTo>
                  <a:pt x="12" y="636"/>
                </a:lnTo>
                <a:lnTo>
                  <a:pt x="12" y="636"/>
                </a:lnTo>
                <a:lnTo>
                  <a:pt x="12" y="636"/>
                </a:lnTo>
                <a:lnTo>
                  <a:pt x="12" y="636"/>
                </a:lnTo>
                <a:lnTo>
                  <a:pt x="12" y="636"/>
                </a:lnTo>
                <a:lnTo>
                  <a:pt x="18" y="630"/>
                </a:lnTo>
                <a:lnTo>
                  <a:pt x="18" y="630"/>
                </a:lnTo>
                <a:lnTo>
                  <a:pt x="24" y="624"/>
                </a:lnTo>
                <a:lnTo>
                  <a:pt x="24" y="624"/>
                </a:lnTo>
                <a:lnTo>
                  <a:pt x="24" y="624"/>
                </a:lnTo>
                <a:lnTo>
                  <a:pt x="24" y="624"/>
                </a:lnTo>
                <a:lnTo>
                  <a:pt x="30" y="624"/>
                </a:lnTo>
                <a:lnTo>
                  <a:pt x="30" y="618"/>
                </a:lnTo>
                <a:lnTo>
                  <a:pt x="36" y="618"/>
                </a:lnTo>
                <a:lnTo>
                  <a:pt x="36" y="618"/>
                </a:lnTo>
                <a:lnTo>
                  <a:pt x="36" y="618"/>
                </a:lnTo>
                <a:lnTo>
                  <a:pt x="42" y="618"/>
                </a:lnTo>
                <a:lnTo>
                  <a:pt x="42" y="618"/>
                </a:lnTo>
                <a:lnTo>
                  <a:pt x="42" y="612"/>
                </a:lnTo>
                <a:lnTo>
                  <a:pt x="48" y="612"/>
                </a:lnTo>
                <a:lnTo>
                  <a:pt x="48" y="612"/>
                </a:lnTo>
                <a:lnTo>
                  <a:pt x="48" y="612"/>
                </a:lnTo>
                <a:lnTo>
                  <a:pt x="54" y="612"/>
                </a:lnTo>
                <a:lnTo>
                  <a:pt x="54" y="612"/>
                </a:lnTo>
                <a:lnTo>
                  <a:pt x="54" y="606"/>
                </a:lnTo>
                <a:lnTo>
                  <a:pt x="54" y="606"/>
                </a:lnTo>
                <a:lnTo>
                  <a:pt x="54" y="606"/>
                </a:lnTo>
                <a:lnTo>
                  <a:pt x="60" y="606"/>
                </a:lnTo>
                <a:lnTo>
                  <a:pt x="60" y="606"/>
                </a:lnTo>
                <a:lnTo>
                  <a:pt x="60" y="606"/>
                </a:lnTo>
                <a:lnTo>
                  <a:pt x="60" y="606"/>
                </a:lnTo>
                <a:lnTo>
                  <a:pt x="60" y="606"/>
                </a:lnTo>
                <a:lnTo>
                  <a:pt x="66" y="606"/>
                </a:lnTo>
                <a:lnTo>
                  <a:pt x="72" y="606"/>
                </a:lnTo>
                <a:lnTo>
                  <a:pt x="72" y="606"/>
                </a:lnTo>
                <a:lnTo>
                  <a:pt x="72" y="606"/>
                </a:lnTo>
                <a:lnTo>
                  <a:pt x="72" y="600"/>
                </a:lnTo>
                <a:lnTo>
                  <a:pt x="72" y="606"/>
                </a:lnTo>
                <a:lnTo>
                  <a:pt x="72" y="606"/>
                </a:lnTo>
                <a:lnTo>
                  <a:pt x="78" y="600"/>
                </a:lnTo>
                <a:lnTo>
                  <a:pt x="78" y="600"/>
                </a:lnTo>
                <a:lnTo>
                  <a:pt x="78" y="600"/>
                </a:lnTo>
                <a:lnTo>
                  <a:pt x="78" y="600"/>
                </a:lnTo>
                <a:lnTo>
                  <a:pt x="78" y="600"/>
                </a:lnTo>
                <a:lnTo>
                  <a:pt x="78" y="600"/>
                </a:lnTo>
                <a:lnTo>
                  <a:pt x="78" y="600"/>
                </a:lnTo>
                <a:lnTo>
                  <a:pt x="78" y="594"/>
                </a:lnTo>
                <a:lnTo>
                  <a:pt x="78" y="600"/>
                </a:lnTo>
                <a:lnTo>
                  <a:pt x="84" y="600"/>
                </a:lnTo>
                <a:lnTo>
                  <a:pt x="84" y="594"/>
                </a:lnTo>
                <a:lnTo>
                  <a:pt x="84" y="594"/>
                </a:lnTo>
                <a:lnTo>
                  <a:pt x="84" y="594"/>
                </a:lnTo>
                <a:lnTo>
                  <a:pt x="84" y="594"/>
                </a:lnTo>
                <a:lnTo>
                  <a:pt x="84" y="588"/>
                </a:lnTo>
                <a:lnTo>
                  <a:pt x="84" y="588"/>
                </a:lnTo>
                <a:lnTo>
                  <a:pt x="84" y="588"/>
                </a:lnTo>
                <a:lnTo>
                  <a:pt x="84" y="588"/>
                </a:lnTo>
                <a:lnTo>
                  <a:pt x="84" y="582"/>
                </a:lnTo>
                <a:lnTo>
                  <a:pt x="84" y="582"/>
                </a:lnTo>
                <a:lnTo>
                  <a:pt x="90" y="582"/>
                </a:lnTo>
                <a:lnTo>
                  <a:pt x="90" y="582"/>
                </a:lnTo>
                <a:lnTo>
                  <a:pt x="84" y="582"/>
                </a:lnTo>
                <a:lnTo>
                  <a:pt x="84" y="582"/>
                </a:lnTo>
                <a:lnTo>
                  <a:pt x="84" y="576"/>
                </a:lnTo>
                <a:lnTo>
                  <a:pt x="84" y="576"/>
                </a:lnTo>
                <a:lnTo>
                  <a:pt x="84" y="570"/>
                </a:lnTo>
                <a:lnTo>
                  <a:pt x="84" y="570"/>
                </a:lnTo>
                <a:lnTo>
                  <a:pt x="78" y="570"/>
                </a:lnTo>
                <a:lnTo>
                  <a:pt x="78" y="570"/>
                </a:lnTo>
                <a:lnTo>
                  <a:pt x="78" y="564"/>
                </a:lnTo>
                <a:lnTo>
                  <a:pt x="78" y="564"/>
                </a:lnTo>
                <a:lnTo>
                  <a:pt x="78" y="564"/>
                </a:lnTo>
                <a:lnTo>
                  <a:pt x="78" y="564"/>
                </a:lnTo>
                <a:lnTo>
                  <a:pt x="78" y="564"/>
                </a:lnTo>
                <a:lnTo>
                  <a:pt x="78" y="558"/>
                </a:lnTo>
                <a:lnTo>
                  <a:pt x="72" y="558"/>
                </a:lnTo>
                <a:lnTo>
                  <a:pt x="72" y="558"/>
                </a:lnTo>
                <a:lnTo>
                  <a:pt x="72" y="558"/>
                </a:lnTo>
                <a:lnTo>
                  <a:pt x="72" y="558"/>
                </a:lnTo>
                <a:lnTo>
                  <a:pt x="72" y="552"/>
                </a:lnTo>
                <a:lnTo>
                  <a:pt x="72" y="546"/>
                </a:lnTo>
                <a:lnTo>
                  <a:pt x="66" y="546"/>
                </a:lnTo>
                <a:lnTo>
                  <a:pt x="72" y="540"/>
                </a:lnTo>
                <a:lnTo>
                  <a:pt x="72" y="540"/>
                </a:lnTo>
                <a:lnTo>
                  <a:pt x="72" y="540"/>
                </a:lnTo>
                <a:lnTo>
                  <a:pt x="72" y="540"/>
                </a:lnTo>
                <a:lnTo>
                  <a:pt x="72" y="534"/>
                </a:lnTo>
                <a:lnTo>
                  <a:pt x="72" y="534"/>
                </a:lnTo>
                <a:lnTo>
                  <a:pt x="72" y="534"/>
                </a:lnTo>
                <a:lnTo>
                  <a:pt x="72" y="528"/>
                </a:lnTo>
                <a:lnTo>
                  <a:pt x="72" y="528"/>
                </a:lnTo>
                <a:lnTo>
                  <a:pt x="78" y="528"/>
                </a:lnTo>
                <a:lnTo>
                  <a:pt x="78" y="528"/>
                </a:lnTo>
                <a:lnTo>
                  <a:pt x="78" y="528"/>
                </a:lnTo>
                <a:lnTo>
                  <a:pt x="78" y="522"/>
                </a:lnTo>
                <a:lnTo>
                  <a:pt x="78" y="522"/>
                </a:lnTo>
                <a:lnTo>
                  <a:pt x="78" y="522"/>
                </a:lnTo>
                <a:lnTo>
                  <a:pt x="78" y="522"/>
                </a:lnTo>
                <a:lnTo>
                  <a:pt x="78" y="516"/>
                </a:lnTo>
                <a:lnTo>
                  <a:pt x="78" y="516"/>
                </a:lnTo>
                <a:lnTo>
                  <a:pt x="78" y="516"/>
                </a:lnTo>
                <a:lnTo>
                  <a:pt x="78" y="516"/>
                </a:lnTo>
                <a:lnTo>
                  <a:pt x="78" y="516"/>
                </a:lnTo>
                <a:lnTo>
                  <a:pt x="84" y="516"/>
                </a:lnTo>
                <a:lnTo>
                  <a:pt x="78" y="510"/>
                </a:lnTo>
                <a:lnTo>
                  <a:pt x="84" y="510"/>
                </a:lnTo>
                <a:lnTo>
                  <a:pt x="84" y="510"/>
                </a:lnTo>
                <a:lnTo>
                  <a:pt x="84" y="510"/>
                </a:lnTo>
                <a:lnTo>
                  <a:pt x="84" y="510"/>
                </a:lnTo>
                <a:lnTo>
                  <a:pt x="84" y="510"/>
                </a:lnTo>
                <a:lnTo>
                  <a:pt x="84" y="504"/>
                </a:lnTo>
                <a:lnTo>
                  <a:pt x="90" y="504"/>
                </a:lnTo>
                <a:lnTo>
                  <a:pt x="90" y="504"/>
                </a:lnTo>
                <a:lnTo>
                  <a:pt x="90" y="504"/>
                </a:lnTo>
                <a:lnTo>
                  <a:pt x="90" y="504"/>
                </a:lnTo>
                <a:lnTo>
                  <a:pt x="96" y="504"/>
                </a:lnTo>
                <a:lnTo>
                  <a:pt x="96" y="504"/>
                </a:lnTo>
                <a:lnTo>
                  <a:pt x="96" y="498"/>
                </a:lnTo>
                <a:lnTo>
                  <a:pt x="96" y="498"/>
                </a:lnTo>
                <a:lnTo>
                  <a:pt x="96" y="498"/>
                </a:lnTo>
                <a:lnTo>
                  <a:pt x="96" y="498"/>
                </a:lnTo>
                <a:lnTo>
                  <a:pt x="102" y="492"/>
                </a:lnTo>
                <a:lnTo>
                  <a:pt x="102" y="492"/>
                </a:lnTo>
                <a:lnTo>
                  <a:pt x="102" y="492"/>
                </a:lnTo>
                <a:lnTo>
                  <a:pt x="102" y="492"/>
                </a:lnTo>
                <a:lnTo>
                  <a:pt x="102" y="492"/>
                </a:lnTo>
                <a:lnTo>
                  <a:pt x="102" y="492"/>
                </a:lnTo>
                <a:lnTo>
                  <a:pt x="102" y="492"/>
                </a:lnTo>
                <a:lnTo>
                  <a:pt x="102" y="492"/>
                </a:lnTo>
                <a:lnTo>
                  <a:pt x="102" y="486"/>
                </a:lnTo>
                <a:lnTo>
                  <a:pt x="102" y="486"/>
                </a:lnTo>
                <a:lnTo>
                  <a:pt x="102" y="486"/>
                </a:lnTo>
                <a:lnTo>
                  <a:pt x="102" y="486"/>
                </a:lnTo>
                <a:lnTo>
                  <a:pt x="108" y="486"/>
                </a:lnTo>
                <a:lnTo>
                  <a:pt x="108" y="486"/>
                </a:lnTo>
                <a:lnTo>
                  <a:pt x="108" y="486"/>
                </a:lnTo>
                <a:lnTo>
                  <a:pt x="108" y="480"/>
                </a:lnTo>
                <a:lnTo>
                  <a:pt x="108" y="480"/>
                </a:lnTo>
                <a:lnTo>
                  <a:pt x="108" y="480"/>
                </a:lnTo>
                <a:lnTo>
                  <a:pt x="108" y="480"/>
                </a:lnTo>
                <a:lnTo>
                  <a:pt x="108" y="474"/>
                </a:lnTo>
                <a:lnTo>
                  <a:pt x="108" y="474"/>
                </a:lnTo>
                <a:lnTo>
                  <a:pt x="108" y="474"/>
                </a:lnTo>
                <a:lnTo>
                  <a:pt x="108" y="474"/>
                </a:lnTo>
                <a:lnTo>
                  <a:pt x="108" y="474"/>
                </a:lnTo>
                <a:lnTo>
                  <a:pt x="108" y="468"/>
                </a:lnTo>
                <a:lnTo>
                  <a:pt x="108" y="468"/>
                </a:lnTo>
                <a:lnTo>
                  <a:pt x="108" y="462"/>
                </a:lnTo>
                <a:lnTo>
                  <a:pt x="108" y="462"/>
                </a:lnTo>
                <a:lnTo>
                  <a:pt x="108" y="462"/>
                </a:lnTo>
                <a:lnTo>
                  <a:pt x="108" y="456"/>
                </a:lnTo>
                <a:lnTo>
                  <a:pt x="108" y="456"/>
                </a:lnTo>
                <a:lnTo>
                  <a:pt x="108" y="456"/>
                </a:lnTo>
                <a:lnTo>
                  <a:pt x="108" y="456"/>
                </a:lnTo>
                <a:lnTo>
                  <a:pt x="114" y="450"/>
                </a:lnTo>
                <a:lnTo>
                  <a:pt x="114" y="450"/>
                </a:lnTo>
                <a:lnTo>
                  <a:pt x="114" y="450"/>
                </a:lnTo>
                <a:lnTo>
                  <a:pt x="114" y="450"/>
                </a:lnTo>
                <a:lnTo>
                  <a:pt x="114" y="450"/>
                </a:lnTo>
                <a:lnTo>
                  <a:pt x="114" y="444"/>
                </a:lnTo>
                <a:lnTo>
                  <a:pt x="114" y="444"/>
                </a:lnTo>
                <a:lnTo>
                  <a:pt x="114" y="444"/>
                </a:lnTo>
                <a:lnTo>
                  <a:pt x="114" y="438"/>
                </a:lnTo>
                <a:lnTo>
                  <a:pt x="114" y="438"/>
                </a:lnTo>
                <a:lnTo>
                  <a:pt x="120" y="438"/>
                </a:lnTo>
                <a:lnTo>
                  <a:pt x="120" y="438"/>
                </a:lnTo>
                <a:lnTo>
                  <a:pt x="120" y="438"/>
                </a:lnTo>
                <a:lnTo>
                  <a:pt x="120" y="438"/>
                </a:lnTo>
                <a:lnTo>
                  <a:pt x="120" y="432"/>
                </a:lnTo>
                <a:lnTo>
                  <a:pt x="120" y="432"/>
                </a:lnTo>
                <a:lnTo>
                  <a:pt x="120" y="432"/>
                </a:lnTo>
                <a:lnTo>
                  <a:pt x="120" y="432"/>
                </a:lnTo>
                <a:lnTo>
                  <a:pt x="120" y="426"/>
                </a:lnTo>
                <a:lnTo>
                  <a:pt x="120" y="426"/>
                </a:lnTo>
                <a:lnTo>
                  <a:pt x="120" y="426"/>
                </a:lnTo>
                <a:lnTo>
                  <a:pt x="120" y="426"/>
                </a:lnTo>
                <a:lnTo>
                  <a:pt x="120" y="426"/>
                </a:lnTo>
                <a:lnTo>
                  <a:pt x="120" y="420"/>
                </a:lnTo>
                <a:lnTo>
                  <a:pt x="120" y="420"/>
                </a:lnTo>
                <a:lnTo>
                  <a:pt x="114" y="420"/>
                </a:lnTo>
                <a:lnTo>
                  <a:pt x="114" y="420"/>
                </a:lnTo>
                <a:lnTo>
                  <a:pt x="120" y="420"/>
                </a:lnTo>
                <a:lnTo>
                  <a:pt x="120" y="420"/>
                </a:lnTo>
                <a:lnTo>
                  <a:pt x="120" y="420"/>
                </a:lnTo>
                <a:lnTo>
                  <a:pt x="120" y="420"/>
                </a:lnTo>
                <a:lnTo>
                  <a:pt x="120" y="420"/>
                </a:lnTo>
                <a:lnTo>
                  <a:pt x="120" y="420"/>
                </a:lnTo>
                <a:lnTo>
                  <a:pt x="126" y="420"/>
                </a:lnTo>
                <a:lnTo>
                  <a:pt x="126" y="414"/>
                </a:lnTo>
                <a:lnTo>
                  <a:pt x="126" y="414"/>
                </a:lnTo>
                <a:lnTo>
                  <a:pt x="126" y="414"/>
                </a:lnTo>
                <a:lnTo>
                  <a:pt x="132" y="414"/>
                </a:lnTo>
                <a:lnTo>
                  <a:pt x="132" y="414"/>
                </a:lnTo>
                <a:lnTo>
                  <a:pt x="132" y="414"/>
                </a:lnTo>
                <a:lnTo>
                  <a:pt x="132" y="414"/>
                </a:lnTo>
                <a:lnTo>
                  <a:pt x="132" y="414"/>
                </a:lnTo>
                <a:lnTo>
                  <a:pt x="132" y="408"/>
                </a:lnTo>
                <a:lnTo>
                  <a:pt x="138" y="408"/>
                </a:lnTo>
                <a:lnTo>
                  <a:pt x="138" y="408"/>
                </a:lnTo>
                <a:lnTo>
                  <a:pt x="138" y="408"/>
                </a:lnTo>
                <a:lnTo>
                  <a:pt x="138" y="408"/>
                </a:lnTo>
                <a:lnTo>
                  <a:pt x="138" y="408"/>
                </a:lnTo>
                <a:lnTo>
                  <a:pt x="138" y="408"/>
                </a:lnTo>
                <a:lnTo>
                  <a:pt x="138" y="408"/>
                </a:lnTo>
                <a:lnTo>
                  <a:pt x="138" y="408"/>
                </a:lnTo>
                <a:lnTo>
                  <a:pt x="138" y="408"/>
                </a:lnTo>
                <a:lnTo>
                  <a:pt x="144" y="408"/>
                </a:lnTo>
                <a:lnTo>
                  <a:pt x="144" y="408"/>
                </a:lnTo>
                <a:lnTo>
                  <a:pt x="144" y="408"/>
                </a:lnTo>
                <a:lnTo>
                  <a:pt x="150" y="408"/>
                </a:lnTo>
                <a:lnTo>
                  <a:pt x="150" y="408"/>
                </a:lnTo>
                <a:lnTo>
                  <a:pt x="150" y="408"/>
                </a:lnTo>
                <a:lnTo>
                  <a:pt x="150" y="408"/>
                </a:lnTo>
                <a:lnTo>
                  <a:pt x="150" y="408"/>
                </a:lnTo>
                <a:lnTo>
                  <a:pt x="150" y="402"/>
                </a:lnTo>
                <a:lnTo>
                  <a:pt x="150" y="402"/>
                </a:lnTo>
                <a:lnTo>
                  <a:pt x="156" y="402"/>
                </a:lnTo>
                <a:lnTo>
                  <a:pt x="156" y="402"/>
                </a:lnTo>
                <a:lnTo>
                  <a:pt x="156" y="396"/>
                </a:lnTo>
                <a:lnTo>
                  <a:pt x="156" y="396"/>
                </a:lnTo>
                <a:lnTo>
                  <a:pt x="156" y="396"/>
                </a:lnTo>
                <a:lnTo>
                  <a:pt x="156" y="396"/>
                </a:lnTo>
                <a:lnTo>
                  <a:pt x="156" y="396"/>
                </a:lnTo>
                <a:lnTo>
                  <a:pt x="162" y="396"/>
                </a:lnTo>
                <a:lnTo>
                  <a:pt x="162" y="396"/>
                </a:lnTo>
                <a:lnTo>
                  <a:pt x="162" y="396"/>
                </a:lnTo>
                <a:lnTo>
                  <a:pt x="162" y="390"/>
                </a:lnTo>
                <a:lnTo>
                  <a:pt x="168" y="390"/>
                </a:lnTo>
                <a:lnTo>
                  <a:pt x="168" y="390"/>
                </a:lnTo>
                <a:lnTo>
                  <a:pt x="168" y="390"/>
                </a:lnTo>
                <a:lnTo>
                  <a:pt x="168" y="390"/>
                </a:lnTo>
                <a:lnTo>
                  <a:pt x="168" y="390"/>
                </a:lnTo>
                <a:lnTo>
                  <a:pt x="168" y="390"/>
                </a:lnTo>
                <a:lnTo>
                  <a:pt x="168" y="390"/>
                </a:lnTo>
                <a:lnTo>
                  <a:pt x="168" y="390"/>
                </a:lnTo>
                <a:lnTo>
                  <a:pt x="168" y="390"/>
                </a:lnTo>
                <a:lnTo>
                  <a:pt x="174" y="390"/>
                </a:lnTo>
                <a:lnTo>
                  <a:pt x="174" y="390"/>
                </a:lnTo>
                <a:lnTo>
                  <a:pt x="174" y="384"/>
                </a:lnTo>
                <a:lnTo>
                  <a:pt x="174" y="384"/>
                </a:lnTo>
                <a:lnTo>
                  <a:pt x="174" y="384"/>
                </a:lnTo>
                <a:lnTo>
                  <a:pt x="174" y="384"/>
                </a:lnTo>
                <a:lnTo>
                  <a:pt x="174" y="384"/>
                </a:lnTo>
                <a:lnTo>
                  <a:pt x="174" y="384"/>
                </a:lnTo>
                <a:lnTo>
                  <a:pt x="174" y="390"/>
                </a:lnTo>
                <a:lnTo>
                  <a:pt x="174" y="384"/>
                </a:lnTo>
                <a:lnTo>
                  <a:pt x="180" y="384"/>
                </a:lnTo>
                <a:lnTo>
                  <a:pt x="180" y="384"/>
                </a:lnTo>
                <a:lnTo>
                  <a:pt x="174" y="384"/>
                </a:lnTo>
                <a:lnTo>
                  <a:pt x="180" y="384"/>
                </a:lnTo>
                <a:lnTo>
                  <a:pt x="180" y="384"/>
                </a:lnTo>
                <a:lnTo>
                  <a:pt x="180" y="384"/>
                </a:lnTo>
                <a:lnTo>
                  <a:pt x="180" y="384"/>
                </a:lnTo>
                <a:lnTo>
                  <a:pt x="180" y="378"/>
                </a:lnTo>
                <a:lnTo>
                  <a:pt x="180" y="378"/>
                </a:lnTo>
                <a:lnTo>
                  <a:pt x="180" y="378"/>
                </a:lnTo>
                <a:lnTo>
                  <a:pt x="186" y="378"/>
                </a:lnTo>
                <a:lnTo>
                  <a:pt x="186" y="372"/>
                </a:lnTo>
                <a:lnTo>
                  <a:pt x="186" y="372"/>
                </a:lnTo>
                <a:lnTo>
                  <a:pt x="186" y="372"/>
                </a:lnTo>
                <a:lnTo>
                  <a:pt x="192" y="372"/>
                </a:lnTo>
                <a:lnTo>
                  <a:pt x="192" y="372"/>
                </a:lnTo>
                <a:lnTo>
                  <a:pt x="192" y="372"/>
                </a:lnTo>
                <a:lnTo>
                  <a:pt x="192" y="372"/>
                </a:lnTo>
                <a:lnTo>
                  <a:pt x="192" y="372"/>
                </a:lnTo>
                <a:lnTo>
                  <a:pt x="192" y="372"/>
                </a:lnTo>
                <a:lnTo>
                  <a:pt x="198" y="372"/>
                </a:lnTo>
                <a:lnTo>
                  <a:pt x="198" y="372"/>
                </a:lnTo>
                <a:lnTo>
                  <a:pt x="198" y="372"/>
                </a:lnTo>
                <a:lnTo>
                  <a:pt x="198" y="372"/>
                </a:lnTo>
                <a:lnTo>
                  <a:pt x="198" y="366"/>
                </a:lnTo>
                <a:lnTo>
                  <a:pt x="198" y="372"/>
                </a:lnTo>
                <a:lnTo>
                  <a:pt x="204" y="372"/>
                </a:lnTo>
                <a:lnTo>
                  <a:pt x="204" y="366"/>
                </a:lnTo>
                <a:lnTo>
                  <a:pt x="204" y="366"/>
                </a:lnTo>
                <a:lnTo>
                  <a:pt x="204" y="366"/>
                </a:lnTo>
                <a:lnTo>
                  <a:pt x="210" y="366"/>
                </a:lnTo>
                <a:lnTo>
                  <a:pt x="210" y="366"/>
                </a:lnTo>
                <a:lnTo>
                  <a:pt x="204" y="366"/>
                </a:lnTo>
                <a:lnTo>
                  <a:pt x="210" y="366"/>
                </a:lnTo>
                <a:lnTo>
                  <a:pt x="210" y="366"/>
                </a:lnTo>
                <a:lnTo>
                  <a:pt x="210" y="366"/>
                </a:lnTo>
                <a:lnTo>
                  <a:pt x="216" y="360"/>
                </a:lnTo>
                <a:lnTo>
                  <a:pt x="216" y="360"/>
                </a:lnTo>
                <a:lnTo>
                  <a:pt x="216" y="360"/>
                </a:lnTo>
                <a:lnTo>
                  <a:pt x="222" y="360"/>
                </a:lnTo>
                <a:lnTo>
                  <a:pt x="222" y="360"/>
                </a:lnTo>
                <a:lnTo>
                  <a:pt x="222" y="354"/>
                </a:lnTo>
                <a:lnTo>
                  <a:pt x="222" y="354"/>
                </a:lnTo>
                <a:lnTo>
                  <a:pt x="222" y="354"/>
                </a:lnTo>
                <a:lnTo>
                  <a:pt x="228" y="354"/>
                </a:lnTo>
                <a:lnTo>
                  <a:pt x="228" y="354"/>
                </a:lnTo>
                <a:lnTo>
                  <a:pt x="228" y="348"/>
                </a:lnTo>
                <a:lnTo>
                  <a:pt x="228" y="348"/>
                </a:lnTo>
                <a:lnTo>
                  <a:pt x="228" y="354"/>
                </a:lnTo>
                <a:lnTo>
                  <a:pt x="234" y="354"/>
                </a:lnTo>
                <a:lnTo>
                  <a:pt x="234" y="348"/>
                </a:lnTo>
                <a:lnTo>
                  <a:pt x="234" y="348"/>
                </a:lnTo>
                <a:lnTo>
                  <a:pt x="234" y="348"/>
                </a:lnTo>
                <a:lnTo>
                  <a:pt x="234" y="348"/>
                </a:lnTo>
                <a:lnTo>
                  <a:pt x="234" y="348"/>
                </a:lnTo>
                <a:lnTo>
                  <a:pt x="240" y="348"/>
                </a:lnTo>
                <a:lnTo>
                  <a:pt x="240" y="348"/>
                </a:lnTo>
                <a:lnTo>
                  <a:pt x="240" y="348"/>
                </a:lnTo>
                <a:lnTo>
                  <a:pt x="240" y="348"/>
                </a:lnTo>
                <a:lnTo>
                  <a:pt x="240" y="342"/>
                </a:lnTo>
                <a:lnTo>
                  <a:pt x="240" y="342"/>
                </a:lnTo>
                <a:lnTo>
                  <a:pt x="240" y="342"/>
                </a:lnTo>
                <a:lnTo>
                  <a:pt x="240" y="342"/>
                </a:lnTo>
                <a:lnTo>
                  <a:pt x="240" y="342"/>
                </a:lnTo>
                <a:lnTo>
                  <a:pt x="240" y="342"/>
                </a:lnTo>
                <a:lnTo>
                  <a:pt x="240" y="342"/>
                </a:lnTo>
                <a:lnTo>
                  <a:pt x="240" y="342"/>
                </a:lnTo>
                <a:lnTo>
                  <a:pt x="246" y="336"/>
                </a:lnTo>
                <a:lnTo>
                  <a:pt x="246" y="342"/>
                </a:lnTo>
                <a:lnTo>
                  <a:pt x="246" y="342"/>
                </a:lnTo>
                <a:lnTo>
                  <a:pt x="246" y="336"/>
                </a:lnTo>
                <a:lnTo>
                  <a:pt x="246" y="336"/>
                </a:lnTo>
                <a:lnTo>
                  <a:pt x="246" y="336"/>
                </a:lnTo>
                <a:lnTo>
                  <a:pt x="246" y="336"/>
                </a:lnTo>
                <a:lnTo>
                  <a:pt x="246" y="336"/>
                </a:lnTo>
                <a:lnTo>
                  <a:pt x="252" y="336"/>
                </a:lnTo>
                <a:lnTo>
                  <a:pt x="252" y="336"/>
                </a:lnTo>
                <a:lnTo>
                  <a:pt x="252" y="336"/>
                </a:lnTo>
                <a:lnTo>
                  <a:pt x="258" y="336"/>
                </a:lnTo>
                <a:lnTo>
                  <a:pt x="258" y="330"/>
                </a:lnTo>
                <a:lnTo>
                  <a:pt x="258" y="330"/>
                </a:lnTo>
                <a:lnTo>
                  <a:pt x="264" y="330"/>
                </a:lnTo>
                <a:lnTo>
                  <a:pt x="264" y="330"/>
                </a:lnTo>
                <a:lnTo>
                  <a:pt x="264" y="336"/>
                </a:lnTo>
                <a:lnTo>
                  <a:pt x="264" y="336"/>
                </a:lnTo>
                <a:lnTo>
                  <a:pt x="264" y="330"/>
                </a:lnTo>
                <a:lnTo>
                  <a:pt x="264" y="330"/>
                </a:lnTo>
                <a:lnTo>
                  <a:pt x="264" y="330"/>
                </a:lnTo>
                <a:lnTo>
                  <a:pt x="264" y="330"/>
                </a:lnTo>
                <a:lnTo>
                  <a:pt x="264" y="330"/>
                </a:lnTo>
                <a:lnTo>
                  <a:pt x="264" y="336"/>
                </a:lnTo>
                <a:lnTo>
                  <a:pt x="270" y="336"/>
                </a:lnTo>
                <a:lnTo>
                  <a:pt x="270" y="336"/>
                </a:lnTo>
                <a:lnTo>
                  <a:pt x="270" y="336"/>
                </a:lnTo>
                <a:lnTo>
                  <a:pt x="270" y="336"/>
                </a:lnTo>
                <a:lnTo>
                  <a:pt x="276" y="336"/>
                </a:lnTo>
                <a:lnTo>
                  <a:pt x="276" y="330"/>
                </a:lnTo>
                <a:lnTo>
                  <a:pt x="276" y="336"/>
                </a:lnTo>
                <a:lnTo>
                  <a:pt x="282" y="330"/>
                </a:lnTo>
                <a:lnTo>
                  <a:pt x="282" y="330"/>
                </a:lnTo>
                <a:lnTo>
                  <a:pt x="282" y="330"/>
                </a:lnTo>
                <a:lnTo>
                  <a:pt x="282" y="330"/>
                </a:lnTo>
                <a:lnTo>
                  <a:pt x="282" y="330"/>
                </a:lnTo>
                <a:lnTo>
                  <a:pt x="282" y="330"/>
                </a:lnTo>
                <a:lnTo>
                  <a:pt x="282" y="336"/>
                </a:lnTo>
                <a:lnTo>
                  <a:pt x="282" y="336"/>
                </a:lnTo>
                <a:lnTo>
                  <a:pt x="282" y="336"/>
                </a:lnTo>
                <a:lnTo>
                  <a:pt x="282" y="336"/>
                </a:lnTo>
                <a:lnTo>
                  <a:pt x="282" y="336"/>
                </a:lnTo>
                <a:lnTo>
                  <a:pt x="282" y="336"/>
                </a:lnTo>
                <a:lnTo>
                  <a:pt x="288" y="336"/>
                </a:lnTo>
                <a:lnTo>
                  <a:pt x="288" y="336"/>
                </a:lnTo>
                <a:lnTo>
                  <a:pt x="288" y="330"/>
                </a:lnTo>
                <a:lnTo>
                  <a:pt x="294" y="330"/>
                </a:lnTo>
                <a:lnTo>
                  <a:pt x="294" y="330"/>
                </a:lnTo>
                <a:lnTo>
                  <a:pt x="294" y="330"/>
                </a:lnTo>
                <a:lnTo>
                  <a:pt x="294" y="330"/>
                </a:lnTo>
                <a:lnTo>
                  <a:pt x="294" y="330"/>
                </a:lnTo>
                <a:lnTo>
                  <a:pt x="300" y="330"/>
                </a:lnTo>
                <a:lnTo>
                  <a:pt x="300" y="330"/>
                </a:lnTo>
                <a:lnTo>
                  <a:pt x="294" y="330"/>
                </a:lnTo>
                <a:lnTo>
                  <a:pt x="294" y="324"/>
                </a:lnTo>
                <a:lnTo>
                  <a:pt x="300" y="324"/>
                </a:lnTo>
                <a:lnTo>
                  <a:pt x="300" y="330"/>
                </a:lnTo>
                <a:lnTo>
                  <a:pt x="300" y="330"/>
                </a:lnTo>
                <a:lnTo>
                  <a:pt x="300" y="324"/>
                </a:lnTo>
                <a:lnTo>
                  <a:pt x="300" y="324"/>
                </a:lnTo>
                <a:lnTo>
                  <a:pt x="300" y="324"/>
                </a:lnTo>
                <a:lnTo>
                  <a:pt x="306" y="330"/>
                </a:lnTo>
                <a:lnTo>
                  <a:pt x="306" y="330"/>
                </a:lnTo>
                <a:lnTo>
                  <a:pt x="306" y="330"/>
                </a:lnTo>
                <a:lnTo>
                  <a:pt x="306" y="330"/>
                </a:lnTo>
                <a:lnTo>
                  <a:pt x="306" y="330"/>
                </a:lnTo>
                <a:lnTo>
                  <a:pt x="312" y="324"/>
                </a:lnTo>
                <a:lnTo>
                  <a:pt x="312" y="324"/>
                </a:lnTo>
                <a:lnTo>
                  <a:pt x="312" y="324"/>
                </a:lnTo>
                <a:lnTo>
                  <a:pt x="318" y="324"/>
                </a:lnTo>
                <a:lnTo>
                  <a:pt x="318" y="324"/>
                </a:lnTo>
                <a:lnTo>
                  <a:pt x="318" y="324"/>
                </a:lnTo>
                <a:lnTo>
                  <a:pt x="318" y="324"/>
                </a:lnTo>
                <a:lnTo>
                  <a:pt x="318" y="324"/>
                </a:lnTo>
                <a:lnTo>
                  <a:pt x="318" y="324"/>
                </a:lnTo>
                <a:lnTo>
                  <a:pt x="324" y="324"/>
                </a:lnTo>
                <a:lnTo>
                  <a:pt x="324" y="330"/>
                </a:lnTo>
                <a:lnTo>
                  <a:pt x="324" y="330"/>
                </a:lnTo>
                <a:lnTo>
                  <a:pt x="324" y="324"/>
                </a:lnTo>
                <a:lnTo>
                  <a:pt x="318" y="324"/>
                </a:lnTo>
                <a:lnTo>
                  <a:pt x="318" y="324"/>
                </a:lnTo>
                <a:lnTo>
                  <a:pt x="324" y="324"/>
                </a:lnTo>
                <a:lnTo>
                  <a:pt x="324" y="324"/>
                </a:lnTo>
                <a:lnTo>
                  <a:pt x="324" y="324"/>
                </a:lnTo>
                <a:lnTo>
                  <a:pt x="324" y="324"/>
                </a:lnTo>
                <a:lnTo>
                  <a:pt x="330" y="324"/>
                </a:lnTo>
                <a:lnTo>
                  <a:pt x="324" y="318"/>
                </a:lnTo>
                <a:lnTo>
                  <a:pt x="324" y="318"/>
                </a:lnTo>
                <a:lnTo>
                  <a:pt x="330" y="318"/>
                </a:lnTo>
                <a:lnTo>
                  <a:pt x="330" y="318"/>
                </a:lnTo>
                <a:lnTo>
                  <a:pt x="330" y="318"/>
                </a:lnTo>
                <a:lnTo>
                  <a:pt x="330" y="318"/>
                </a:lnTo>
                <a:lnTo>
                  <a:pt x="330" y="324"/>
                </a:lnTo>
                <a:lnTo>
                  <a:pt x="336" y="324"/>
                </a:lnTo>
                <a:lnTo>
                  <a:pt x="336" y="318"/>
                </a:lnTo>
                <a:lnTo>
                  <a:pt x="336" y="318"/>
                </a:lnTo>
                <a:lnTo>
                  <a:pt x="336" y="318"/>
                </a:lnTo>
                <a:lnTo>
                  <a:pt x="336" y="318"/>
                </a:lnTo>
                <a:lnTo>
                  <a:pt x="336" y="324"/>
                </a:lnTo>
                <a:lnTo>
                  <a:pt x="336" y="324"/>
                </a:lnTo>
                <a:lnTo>
                  <a:pt x="336" y="318"/>
                </a:lnTo>
                <a:lnTo>
                  <a:pt x="336" y="318"/>
                </a:lnTo>
                <a:lnTo>
                  <a:pt x="342" y="318"/>
                </a:lnTo>
                <a:lnTo>
                  <a:pt x="342" y="318"/>
                </a:lnTo>
                <a:lnTo>
                  <a:pt x="342" y="318"/>
                </a:lnTo>
                <a:lnTo>
                  <a:pt x="342" y="324"/>
                </a:lnTo>
                <a:lnTo>
                  <a:pt x="342" y="318"/>
                </a:lnTo>
                <a:lnTo>
                  <a:pt x="342" y="318"/>
                </a:lnTo>
                <a:lnTo>
                  <a:pt x="342" y="318"/>
                </a:lnTo>
                <a:lnTo>
                  <a:pt x="348" y="324"/>
                </a:lnTo>
                <a:lnTo>
                  <a:pt x="348" y="318"/>
                </a:lnTo>
                <a:lnTo>
                  <a:pt x="348" y="318"/>
                </a:lnTo>
                <a:lnTo>
                  <a:pt x="348" y="318"/>
                </a:lnTo>
                <a:lnTo>
                  <a:pt x="348" y="318"/>
                </a:lnTo>
                <a:lnTo>
                  <a:pt x="354" y="318"/>
                </a:lnTo>
                <a:lnTo>
                  <a:pt x="354" y="318"/>
                </a:lnTo>
                <a:lnTo>
                  <a:pt x="354" y="318"/>
                </a:lnTo>
                <a:lnTo>
                  <a:pt x="354" y="318"/>
                </a:lnTo>
                <a:lnTo>
                  <a:pt x="354" y="318"/>
                </a:lnTo>
                <a:lnTo>
                  <a:pt x="354" y="318"/>
                </a:lnTo>
                <a:lnTo>
                  <a:pt x="354" y="318"/>
                </a:lnTo>
                <a:lnTo>
                  <a:pt x="354" y="318"/>
                </a:lnTo>
                <a:lnTo>
                  <a:pt x="360" y="318"/>
                </a:lnTo>
                <a:lnTo>
                  <a:pt x="360" y="318"/>
                </a:lnTo>
                <a:lnTo>
                  <a:pt x="360" y="318"/>
                </a:lnTo>
                <a:lnTo>
                  <a:pt x="360" y="318"/>
                </a:lnTo>
                <a:lnTo>
                  <a:pt x="360" y="318"/>
                </a:lnTo>
                <a:lnTo>
                  <a:pt x="366" y="318"/>
                </a:lnTo>
                <a:lnTo>
                  <a:pt x="366" y="318"/>
                </a:lnTo>
                <a:lnTo>
                  <a:pt x="360" y="312"/>
                </a:lnTo>
                <a:lnTo>
                  <a:pt x="360" y="312"/>
                </a:lnTo>
                <a:lnTo>
                  <a:pt x="366" y="312"/>
                </a:lnTo>
                <a:lnTo>
                  <a:pt x="366" y="318"/>
                </a:lnTo>
                <a:lnTo>
                  <a:pt x="366" y="318"/>
                </a:lnTo>
                <a:lnTo>
                  <a:pt x="366" y="318"/>
                </a:lnTo>
                <a:lnTo>
                  <a:pt x="372" y="318"/>
                </a:lnTo>
                <a:lnTo>
                  <a:pt x="372" y="318"/>
                </a:lnTo>
                <a:lnTo>
                  <a:pt x="372" y="318"/>
                </a:lnTo>
                <a:lnTo>
                  <a:pt x="372" y="312"/>
                </a:lnTo>
                <a:lnTo>
                  <a:pt x="372" y="318"/>
                </a:lnTo>
                <a:lnTo>
                  <a:pt x="372" y="312"/>
                </a:lnTo>
                <a:lnTo>
                  <a:pt x="372" y="312"/>
                </a:lnTo>
                <a:lnTo>
                  <a:pt x="378" y="312"/>
                </a:lnTo>
                <a:lnTo>
                  <a:pt x="378" y="312"/>
                </a:lnTo>
                <a:lnTo>
                  <a:pt x="378" y="306"/>
                </a:lnTo>
                <a:lnTo>
                  <a:pt x="378" y="306"/>
                </a:lnTo>
                <a:lnTo>
                  <a:pt x="384" y="306"/>
                </a:lnTo>
                <a:lnTo>
                  <a:pt x="378" y="300"/>
                </a:lnTo>
                <a:lnTo>
                  <a:pt x="378" y="300"/>
                </a:lnTo>
                <a:lnTo>
                  <a:pt x="384" y="300"/>
                </a:lnTo>
                <a:lnTo>
                  <a:pt x="384" y="300"/>
                </a:lnTo>
                <a:lnTo>
                  <a:pt x="384" y="300"/>
                </a:lnTo>
                <a:lnTo>
                  <a:pt x="384" y="300"/>
                </a:lnTo>
                <a:lnTo>
                  <a:pt x="384" y="300"/>
                </a:lnTo>
                <a:lnTo>
                  <a:pt x="384" y="294"/>
                </a:lnTo>
                <a:lnTo>
                  <a:pt x="384" y="294"/>
                </a:lnTo>
                <a:lnTo>
                  <a:pt x="384" y="294"/>
                </a:lnTo>
                <a:lnTo>
                  <a:pt x="390" y="294"/>
                </a:lnTo>
                <a:lnTo>
                  <a:pt x="390" y="294"/>
                </a:lnTo>
                <a:lnTo>
                  <a:pt x="390" y="288"/>
                </a:lnTo>
                <a:lnTo>
                  <a:pt x="390" y="288"/>
                </a:lnTo>
                <a:lnTo>
                  <a:pt x="396" y="288"/>
                </a:lnTo>
                <a:lnTo>
                  <a:pt x="396" y="288"/>
                </a:lnTo>
                <a:lnTo>
                  <a:pt x="396" y="294"/>
                </a:lnTo>
                <a:lnTo>
                  <a:pt x="402" y="294"/>
                </a:lnTo>
                <a:lnTo>
                  <a:pt x="402" y="294"/>
                </a:lnTo>
                <a:lnTo>
                  <a:pt x="402" y="294"/>
                </a:lnTo>
                <a:lnTo>
                  <a:pt x="402" y="294"/>
                </a:lnTo>
                <a:lnTo>
                  <a:pt x="402" y="294"/>
                </a:lnTo>
                <a:lnTo>
                  <a:pt x="402" y="288"/>
                </a:lnTo>
                <a:lnTo>
                  <a:pt x="402" y="288"/>
                </a:lnTo>
                <a:lnTo>
                  <a:pt x="408" y="288"/>
                </a:lnTo>
                <a:lnTo>
                  <a:pt x="408" y="288"/>
                </a:lnTo>
                <a:lnTo>
                  <a:pt x="408" y="288"/>
                </a:lnTo>
                <a:lnTo>
                  <a:pt x="408" y="288"/>
                </a:lnTo>
                <a:lnTo>
                  <a:pt x="408" y="282"/>
                </a:lnTo>
                <a:lnTo>
                  <a:pt x="414" y="288"/>
                </a:lnTo>
                <a:lnTo>
                  <a:pt x="414" y="288"/>
                </a:lnTo>
                <a:lnTo>
                  <a:pt x="408" y="288"/>
                </a:lnTo>
                <a:lnTo>
                  <a:pt x="408" y="294"/>
                </a:lnTo>
                <a:lnTo>
                  <a:pt x="408" y="294"/>
                </a:lnTo>
                <a:lnTo>
                  <a:pt x="414" y="294"/>
                </a:lnTo>
                <a:lnTo>
                  <a:pt x="414" y="294"/>
                </a:lnTo>
                <a:lnTo>
                  <a:pt x="414" y="294"/>
                </a:lnTo>
                <a:lnTo>
                  <a:pt x="414" y="294"/>
                </a:lnTo>
                <a:lnTo>
                  <a:pt x="420" y="288"/>
                </a:lnTo>
                <a:lnTo>
                  <a:pt x="420" y="288"/>
                </a:lnTo>
                <a:lnTo>
                  <a:pt x="420" y="288"/>
                </a:lnTo>
                <a:lnTo>
                  <a:pt x="420" y="288"/>
                </a:lnTo>
                <a:lnTo>
                  <a:pt x="426" y="288"/>
                </a:lnTo>
                <a:lnTo>
                  <a:pt x="426" y="288"/>
                </a:lnTo>
                <a:lnTo>
                  <a:pt x="426" y="294"/>
                </a:lnTo>
                <a:lnTo>
                  <a:pt x="426" y="294"/>
                </a:lnTo>
                <a:lnTo>
                  <a:pt x="426" y="294"/>
                </a:lnTo>
                <a:lnTo>
                  <a:pt x="426" y="288"/>
                </a:lnTo>
                <a:lnTo>
                  <a:pt x="432" y="288"/>
                </a:lnTo>
                <a:lnTo>
                  <a:pt x="432" y="294"/>
                </a:lnTo>
                <a:lnTo>
                  <a:pt x="432" y="288"/>
                </a:lnTo>
                <a:lnTo>
                  <a:pt x="432" y="288"/>
                </a:lnTo>
                <a:lnTo>
                  <a:pt x="432" y="288"/>
                </a:lnTo>
                <a:lnTo>
                  <a:pt x="438" y="288"/>
                </a:lnTo>
                <a:lnTo>
                  <a:pt x="432" y="288"/>
                </a:lnTo>
                <a:lnTo>
                  <a:pt x="438" y="288"/>
                </a:lnTo>
                <a:lnTo>
                  <a:pt x="438" y="288"/>
                </a:lnTo>
                <a:lnTo>
                  <a:pt x="438" y="288"/>
                </a:lnTo>
                <a:lnTo>
                  <a:pt x="444" y="288"/>
                </a:lnTo>
                <a:lnTo>
                  <a:pt x="444" y="288"/>
                </a:lnTo>
                <a:lnTo>
                  <a:pt x="444" y="288"/>
                </a:lnTo>
                <a:lnTo>
                  <a:pt x="444" y="294"/>
                </a:lnTo>
                <a:lnTo>
                  <a:pt x="450" y="294"/>
                </a:lnTo>
                <a:lnTo>
                  <a:pt x="450" y="294"/>
                </a:lnTo>
                <a:lnTo>
                  <a:pt x="450" y="288"/>
                </a:lnTo>
                <a:lnTo>
                  <a:pt x="450" y="288"/>
                </a:lnTo>
                <a:lnTo>
                  <a:pt x="450" y="288"/>
                </a:lnTo>
                <a:lnTo>
                  <a:pt x="450" y="288"/>
                </a:lnTo>
                <a:lnTo>
                  <a:pt x="456" y="288"/>
                </a:lnTo>
                <a:lnTo>
                  <a:pt x="456" y="294"/>
                </a:lnTo>
                <a:lnTo>
                  <a:pt x="456" y="294"/>
                </a:lnTo>
                <a:lnTo>
                  <a:pt x="456" y="300"/>
                </a:lnTo>
                <a:lnTo>
                  <a:pt x="456" y="300"/>
                </a:lnTo>
                <a:lnTo>
                  <a:pt x="450" y="300"/>
                </a:lnTo>
                <a:lnTo>
                  <a:pt x="450" y="300"/>
                </a:lnTo>
                <a:lnTo>
                  <a:pt x="456" y="306"/>
                </a:lnTo>
                <a:lnTo>
                  <a:pt x="456" y="306"/>
                </a:lnTo>
                <a:lnTo>
                  <a:pt x="456" y="306"/>
                </a:lnTo>
                <a:lnTo>
                  <a:pt x="462" y="306"/>
                </a:lnTo>
                <a:lnTo>
                  <a:pt x="462" y="306"/>
                </a:lnTo>
                <a:lnTo>
                  <a:pt x="462" y="306"/>
                </a:lnTo>
                <a:lnTo>
                  <a:pt x="456" y="306"/>
                </a:lnTo>
                <a:lnTo>
                  <a:pt x="456" y="312"/>
                </a:lnTo>
                <a:lnTo>
                  <a:pt x="462" y="312"/>
                </a:lnTo>
                <a:lnTo>
                  <a:pt x="462" y="312"/>
                </a:lnTo>
                <a:lnTo>
                  <a:pt x="462" y="312"/>
                </a:lnTo>
                <a:lnTo>
                  <a:pt x="462" y="312"/>
                </a:lnTo>
                <a:lnTo>
                  <a:pt x="468" y="312"/>
                </a:lnTo>
                <a:lnTo>
                  <a:pt x="468" y="318"/>
                </a:lnTo>
                <a:lnTo>
                  <a:pt x="468" y="318"/>
                </a:lnTo>
                <a:lnTo>
                  <a:pt x="468" y="318"/>
                </a:lnTo>
                <a:lnTo>
                  <a:pt x="468" y="318"/>
                </a:lnTo>
                <a:lnTo>
                  <a:pt x="468" y="312"/>
                </a:lnTo>
                <a:lnTo>
                  <a:pt x="468" y="312"/>
                </a:lnTo>
                <a:lnTo>
                  <a:pt x="474" y="312"/>
                </a:lnTo>
                <a:lnTo>
                  <a:pt x="474" y="312"/>
                </a:lnTo>
                <a:lnTo>
                  <a:pt x="468" y="312"/>
                </a:lnTo>
                <a:lnTo>
                  <a:pt x="474" y="306"/>
                </a:lnTo>
                <a:lnTo>
                  <a:pt x="474" y="306"/>
                </a:lnTo>
                <a:lnTo>
                  <a:pt x="474" y="306"/>
                </a:lnTo>
                <a:lnTo>
                  <a:pt x="474" y="306"/>
                </a:lnTo>
                <a:lnTo>
                  <a:pt x="480" y="306"/>
                </a:lnTo>
                <a:lnTo>
                  <a:pt x="480" y="306"/>
                </a:lnTo>
                <a:lnTo>
                  <a:pt x="480" y="306"/>
                </a:lnTo>
                <a:lnTo>
                  <a:pt x="480" y="300"/>
                </a:lnTo>
                <a:lnTo>
                  <a:pt x="480" y="306"/>
                </a:lnTo>
                <a:lnTo>
                  <a:pt x="480" y="306"/>
                </a:lnTo>
                <a:lnTo>
                  <a:pt x="480" y="306"/>
                </a:lnTo>
                <a:lnTo>
                  <a:pt x="486" y="306"/>
                </a:lnTo>
                <a:lnTo>
                  <a:pt x="480" y="306"/>
                </a:lnTo>
                <a:lnTo>
                  <a:pt x="480" y="312"/>
                </a:lnTo>
                <a:lnTo>
                  <a:pt x="486" y="312"/>
                </a:lnTo>
                <a:lnTo>
                  <a:pt x="486" y="312"/>
                </a:lnTo>
                <a:lnTo>
                  <a:pt x="486" y="312"/>
                </a:lnTo>
                <a:lnTo>
                  <a:pt x="486" y="312"/>
                </a:lnTo>
                <a:lnTo>
                  <a:pt x="486" y="312"/>
                </a:lnTo>
                <a:lnTo>
                  <a:pt x="492" y="312"/>
                </a:lnTo>
                <a:lnTo>
                  <a:pt x="498" y="312"/>
                </a:lnTo>
                <a:lnTo>
                  <a:pt x="498" y="306"/>
                </a:lnTo>
                <a:lnTo>
                  <a:pt x="498" y="306"/>
                </a:lnTo>
                <a:lnTo>
                  <a:pt x="498" y="300"/>
                </a:lnTo>
                <a:lnTo>
                  <a:pt x="498" y="294"/>
                </a:lnTo>
                <a:lnTo>
                  <a:pt x="504" y="294"/>
                </a:lnTo>
                <a:lnTo>
                  <a:pt x="510" y="258"/>
                </a:lnTo>
                <a:lnTo>
                  <a:pt x="516" y="228"/>
                </a:lnTo>
                <a:lnTo>
                  <a:pt x="534" y="120"/>
                </a:lnTo>
                <a:lnTo>
                  <a:pt x="540" y="66"/>
                </a:lnTo>
                <a:lnTo>
                  <a:pt x="546" y="66"/>
                </a:lnTo>
                <a:lnTo>
                  <a:pt x="558" y="66"/>
                </a:lnTo>
                <a:lnTo>
                  <a:pt x="558" y="66"/>
                </a:lnTo>
                <a:lnTo>
                  <a:pt x="564" y="72"/>
                </a:lnTo>
                <a:lnTo>
                  <a:pt x="564" y="72"/>
                </a:lnTo>
                <a:lnTo>
                  <a:pt x="564" y="72"/>
                </a:lnTo>
                <a:lnTo>
                  <a:pt x="564" y="72"/>
                </a:lnTo>
                <a:lnTo>
                  <a:pt x="564" y="72"/>
                </a:lnTo>
                <a:lnTo>
                  <a:pt x="564" y="78"/>
                </a:lnTo>
                <a:lnTo>
                  <a:pt x="564" y="78"/>
                </a:lnTo>
                <a:lnTo>
                  <a:pt x="570" y="78"/>
                </a:lnTo>
                <a:lnTo>
                  <a:pt x="570" y="78"/>
                </a:lnTo>
                <a:lnTo>
                  <a:pt x="576" y="78"/>
                </a:lnTo>
                <a:lnTo>
                  <a:pt x="576" y="78"/>
                </a:lnTo>
                <a:lnTo>
                  <a:pt x="582" y="84"/>
                </a:lnTo>
                <a:lnTo>
                  <a:pt x="582" y="84"/>
                </a:lnTo>
                <a:lnTo>
                  <a:pt x="582" y="90"/>
                </a:lnTo>
                <a:lnTo>
                  <a:pt x="588" y="84"/>
                </a:lnTo>
                <a:lnTo>
                  <a:pt x="594" y="84"/>
                </a:lnTo>
                <a:lnTo>
                  <a:pt x="594" y="84"/>
                </a:lnTo>
                <a:lnTo>
                  <a:pt x="594" y="84"/>
                </a:lnTo>
                <a:lnTo>
                  <a:pt x="594" y="90"/>
                </a:lnTo>
                <a:lnTo>
                  <a:pt x="600" y="90"/>
                </a:lnTo>
                <a:lnTo>
                  <a:pt x="600" y="96"/>
                </a:lnTo>
                <a:lnTo>
                  <a:pt x="600" y="102"/>
                </a:lnTo>
                <a:lnTo>
                  <a:pt x="600" y="102"/>
                </a:lnTo>
                <a:lnTo>
                  <a:pt x="600" y="102"/>
                </a:lnTo>
                <a:lnTo>
                  <a:pt x="606" y="102"/>
                </a:lnTo>
                <a:lnTo>
                  <a:pt x="606" y="102"/>
                </a:lnTo>
                <a:lnTo>
                  <a:pt x="606" y="108"/>
                </a:lnTo>
                <a:lnTo>
                  <a:pt x="606" y="108"/>
                </a:lnTo>
                <a:lnTo>
                  <a:pt x="612" y="108"/>
                </a:lnTo>
                <a:lnTo>
                  <a:pt x="612" y="114"/>
                </a:lnTo>
                <a:lnTo>
                  <a:pt x="612" y="114"/>
                </a:lnTo>
                <a:lnTo>
                  <a:pt x="612" y="120"/>
                </a:lnTo>
                <a:lnTo>
                  <a:pt x="618" y="120"/>
                </a:lnTo>
                <a:lnTo>
                  <a:pt x="618" y="114"/>
                </a:lnTo>
                <a:lnTo>
                  <a:pt x="618" y="114"/>
                </a:lnTo>
                <a:lnTo>
                  <a:pt x="618" y="114"/>
                </a:lnTo>
                <a:lnTo>
                  <a:pt x="624" y="108"/>
                </a:lnTo>
                <a:lnTo>
                  <a:pt x="624" y="108"/>
                </a:lnTo>
                <a:lnTo>
                  <a:pt x="624" y="108"/>
                </a:lnTo>
                <a:lnTo>
                  <a:pt x="624" y="114"/>
                </a:lnTo>
                <a:lnTo>
                  <a:pt x="630" y="114"/>
                </a:lnTo>
                <a:lnTo>
                  <a:pt x="630" y="114"/>
                </a:lnTo>
                <a:lnTo>
                  <a:pt x="630" y="114"/>
                </a:lnTo>
                <a:lnTo>
                  <a:pt x="636" y="114"/>
                </a:lnTo>
                <a:lnTo>
                  <a:pt x="636" y="114"/>
                </a:lnTo>
                <a:lnTo>
                  <a:pt x="642" y="114"/>
                </a:lnTo>
                <a:lnTo>
                  <a:pt x="642" y="114"/>
                </a:lnTo>
                <a:lnTo>
                  <a:pt x="642" y="114"/>
                </a:lnTo>
                <a:lnTo>
                  <a:pt x="642" y="114"/>
                </a:lnTo>
                <a:lnTo>
                  <a:pt x="648" y="108"/>
                </a:lnTo>
                <a:lnTo>
                  <a:pt x="648" y="108"/>
                </a:lnTo>
                <a:lnTo>
                  <a:pt x="648" y="108"/>
                </a:lnTo>
                <a:lnTo>
                  <a:pt x="654" y="108"/>
                </a:lnTo>
                <a:lnTo>
                  <a:pt x="654" y="108"/>
                </a:lnTo>
                <a:lnTo>
                  <a:pt x="654" y="108"/>
                </a:lnTo>
                <a:lnTo>
                  <a:pt x="660" y="108"/>
                </a:lnTo>
                <a:lnTo>
                  <a:pt x="660" y="102"/>
                </a:lnTo>
                <a:lnTo>
                  <a:pt x="660" y="102"/>
                </a:lnTo>
                <a:lnTo>
                  <a:pt x="666" y="102"/>
                </a:lnTo>
                <a:lnTo>
                  <a:pt x="666" y="102"/>
                </a:lnTo>
                <a:lnTo>
                  <a:pt x="672" y="96"/>
                </a:lnTo>
                <a:lnTo>
                  <a:pt x="672" y="90"/>
                </a:lnTo>
                <a:lnTo>
                  <a:pt x="678" y="96"/>
                </a:lnTo>
                <a:lnTo>
                  <a:pt x="678" y="96"/>
                </a:lnTo>
                <a:lnTo>
                  <a:pt x="678" y="96"/>
                </a:lnTo>
                <a:lnTo>
                  <a:pt x="684" y="90"/>
                </a:lnTo>
                <a:lnTo>
                  <a:pt x="684" y="84"/>
                </a:lnTo>
                <a:lnTo>
                  <a:pt x="684" y="84"/>
                </a:lnTo>
                <a:lnTo>
                  <a:pt x="684" y="84"/>
                </a:lnTo>
                <a:lnTo>
                  <a:pt x="690" y="84"/>
                </a:lnTo>
                <a:lnTo>
                  <a:pt x="690" y="84"/>
                </a:lnTo>
                <a:lnTo>
                  <a:pt x="690" y="84"/>
                </a:lnTo>
                <a:lnTo>
                  <a:pt x="690" y="84"/>
                </a:lnTo>
                <a:lnTo>
                  <a:pt x="690" y="84"/>
                </a:lnTo>
                <a:lnTo>
                  <a:pt x="696" y="90"/>
                </a:lnTo>
                <a:lnTo>
                  <a:pt x="696" y="90"/>
                </a:lnTo>
                <a:lnTo>
                  <a:pt x="696" y="90"/>
                </a:lnTo>
                <a:lnTo>
                  <a:pt x="702" y="90"/>
                </a:lnTo>
                <a:lnTo>
                  <a:pt x="702" y="90"/>
                </a:lnTo>
                <a:lnTo>
                  <a:pt x="708" y="90"/>
                </a:lnTo>
                <a:lnTo>
                  <a:pt x="708" y="84"/>
                </a:lnTo>
                <a:lnTo>
                  <a:pt x="708" y="84"/>
                </a:lnTo>
                <a:lnTo>
                  <a:pt x="708" y="84"/>
                </a:lnTo>
                <a:lnTo>
                  <a:pt x="708" y="78"/>
                </a:lnTo>
                <a:lnTo>
                  <a:pt x="714" y="78"/>
                </a:lnTo>
                <a:lnTo>
                  <a:pt x="714" y="78"/>
                </a:lnTo>
                <a:lnTo>
                  <a:pt x="720" y="78"/>
                </a:lnTo>
                <a:lnTo>
                  <a:pt x="720" y="78"/>
                </a:lnTo>
                <a:lnTo>
                  <a:pt x="720" y="78"/>
                </a:lnTo>
                <a:lnTo>
                  <a:pt x="726" y="84"/>
                </a:lnTo>
                <a:lnTo>
                  <a:pt x="726" y="84"/>
                </a:lnTo>
                <a:lnTo>
                  <a:pt x="732" y="84"/>
                </a:lnTo>
                <a:lnTo>
                  <a:pt x="732" y="78"/>
                </a:lnTo>
                <a:lnTo>
                  <a:pt x="732" y="78"/>
                </a:lnTo>
                <a:lnTo>
                  <a:pt x="732" y="78"/>
                </a:lnTo>
                <a:lnTo>
                  <a:pt x="738" y="78"/>
                </a:lnTo>
                <a:lnTo>
                  <a:pt x="738" y="78"/>
                </a:lnTo>
                <a:lnTo>
                  <a:pt x="744" y="84"/>
                </a:lnTo>
                <a:lnTo>
                  <a:pt x="744" y="78"/>
                </a:lnTo>
                <a:lnTo>
                  <a:pt x="744" y="78"/>
                </a:lnTo>
                <a:lnTo>
                  <a:pt x="744" y="84"/>
                </a:lnTo>
                <a:lnTo>
                  <a:pt x="744" y="84"/>
                </a:lnTo>
                <a:lnTo>
                  <a:pt x="744" y="90"/>
                </a:lnTo>
                <a:lnTo>
                  <a:pt x="750" y="90"/>
                </a:lnTo>
                <a:lnTo>
                  <a:pt x="750" y="96"/>
                </a:lnTo>
                <a:lnTo>
                  <a:pt x="750" y="96"/>
                </a:lnTo>
                <a:lnTo>
                  <a:pt x="756" y="96"/>
                </a:lnTo>
                <a:lnTo>
                  <a:pt x="756" y="96"/>
                </a:lnTo>
                <a:lnTo>
                  <a:pt x="756" y="96"/>
                </a:lnTo>
                <a:lnTo>
                  <a:pt x="762" y="96"/>
                </a:lnTo>
                <a:lnTo>
                  <a:pt x="762" y="96"/>
                </a:lnTo>
                <a:lnTo>
                  <a:pt x="762" y="96"/>
                </a:lnTo>
                <a:lnTo>
                  <a:pt x="762" y="96"/>
                </a:lnTo>
                <a:lnTo>
                  <a:pt x="768" y="96"/>
                </a:lnTo>
                <a:lnTo>
                  <a:pt x="768" y="102"/>
                </a:lnTo>
                <a:lnTo>
                  <a:pt x="774" y="102"/>
                </a:lnTo>
                <a:lnTo>
                  <a:pt x="774" y="102"/>
                </a:lnTo>
                <a:lnTo>
                  <a:pt x="774" y="102"/>
                </a:lnTo>
                <a:lnTo>
                  <a:pt x="774" y="102"/>
                </a:lnTo>
                <a:lnTo>
                  <a:pt x="780" y="102"/>
                </a:lnTo>
                <a:lnTo>
                  <a:pt x="780" y="102"/>
                </a:lnTo>
                <a:lnTo>
                  <a:pt x="786" y="102"/>
                </a:lnTo>
                <a:lnTo>
                  <a:pt x="786" y="102"/>
                </a:lnTo>
                <a:lnTo>
                  <a:pt x="786" y="96"/>
                </a:lnTo>
                <a:lnTo>
                  <a:pt x="786" y="96"/>
                </a:lnTo>
                <a:lnTo>
                  <a:pt x="786" y="96"/>
                </a:lnTo>
                <a:lnTo>
                  <a:pt x="786" y="96"/>
                </a:lnTo>
                <a:lnTo>
                  <a:pt x="786" y="90"/>
                </a:lnTo>
                <a:lnTo>
                  <a:pt x="786" y="90"/>
                </a:lnTo>
                <a:lnTo>
                  <a:pt x="792" y="84"/>
                </a:lnTo>
                <a:lnTo>
                  <a:pt x="792" y="84"/>
                </a:lnTo>
                <a:lnTo>
                  <a:pt x="798" y="84"/>
                </a:lnTo>
                <a:lnTo>
                  <a:pt x="798" y="84"/>
                </a:lnTo>
                <a:lnTo>
                  <a:pt x="798" y="84"/>
                </a:lnTo>
                <a:lnTo>
                  <a:pt x="798" y="78"/>
                </a:lnTo>
                <a:lnTo>
                  <a:pt x="804" y="72"/>
                </a:lnTo>
                <a:lnTo>
                  <a:pt x="804" y="72"/>
                </a:lnTo>
                <a:lnTo>
                  <a:pt x="804" y="72"/>
                </a:lnTo>
                <a:lnTo>
                  <a:pt x="804" y="72"/>
                </a:lnTo>
                <a:lnTo>
                  <a:pt x="804" y="72"/>
                </a:lnTo>
                <a:lnTo>
                  <a:pt x="810" y="72"/>
                </a:lnTo>
                <a:lnTo>
                  <a:pt x="810" y="72"/>
                </a:lnTo>
                <a:lnTo>
                  <a:pt x="810" y="66"/>
                </a:lnTo>
                <a:lnTo>
                  <a:pt x="810" y="66"/>
                </a:lnTo>
                <a:lnTo>
                  <a:pt x="810" y="60"/>
                </a:lnTo>
                <a:lnTo>
                  <a:pt x="810" y="60"/>
                </a:lnTo>
                <a:lnTo>
                  <a:pt x="810" y="60"/>
                </a:lnTo>
                <a:lnTo>
                  <a:pt x="810" y="54"/>
                </a:lnTo>
                <a:lnTo>
                  <a:pt x="816" y="54"/>
                </a:lnTo>
                <a:lnTo>
                  <a:pt x="822" y="54"/>
                </a:lnTo>
                <a:lnTo>
                  <a:pt x="822" y="54"/>
                </a:lnTo>
                <a:lnTo>
                  <a:pt x="822" y="54"/>
                </a:lnTo>
                <a:lnTo>
                  <a:pt x="822" y="48"/>
                </a:lnTo>
                <a:lnTo>
                  <a:pt x="828" y="48"/>
                </a:lnTo>
                <a:lnTo>
                  <a:pt x="828" y="48"/>
                </a:lnTo>
                <a:lnTo>
                  <a:pt x="828" y="48"/>
                </a:lnTo>
                <a:lnTo>
                  <a:pt x="834" y="48"/>
                </a:lnTo>
                <a:lnTo>
                  <a:pt x="834" y="42"/>
                </a:lnTo>
                <a:lnTo>
                  <a:pt x="840" y="42"/>
                </a:lnTo>
                <a:lnTo>
                  <a:pt x="840" y="42"/>
                </a:lnTo>
                <a:lnTo>
                  <a:pt x="840" y="42"/>
                </a:lnTo>
                <a:lnTo>
                  <a:pt x="840" y="36"/>
                </a:lnTo>
                <a:lnTo>
                  <a:pt x="840" y="36"/>
                </a:lnTo>
                <a:lnTo>
                  <a:pt x="840" y="36"/>
                </a:lnTo>
                <a:lnTo>
                  <a:pt x="846" y="30"/>
                </a:lnTo>
                <a:lnTo>
                  <a:pt x="846" y="30"/>
                </a:lnTo>
                <a:lnTo>
                  <a:pt x="846" y="30"/>
                </a:lnTo>
                <a:lnTo>
                  <a:pt x="846" y="36"/>
                </a:lnTo>
                <a:lnTo>
                  <a:pt x="852" y="36"/>
                </a:lnTo>
                <a:lnTo>
                  <a:pt x="858" y="36"/>
                </a:lnTo>
                <a:lnTo>
                  <a:pt x="858" y="36"/>
                </a:lnTo>
                <a:lnTo>
                  <a:pt x="858" y="42"/>
                </a:lnTo>
                <a:lnTo>
                  <a:pt x="858" y="42"/>
                </a:lnTo>
                <a:lnTo>
                  <a:pt x="858" y="42"/>
                </a:lnTo>
                <a:lnTo>
                  <a:pt x="864" y="42"/>
                </a:lnTo>
                <a:lnTo>
                  <a:pt x="870" y="42"/>
                </a:lnTo>
                <a:lnTo>
                  <a:pt x="870" y="42"/>
                </a:lnTo>
                <a:lnTo>
                  <a:pt x="870" y="42"/>
                </a:lnTo>
                <a:lnTo>
                  <a:pt x="870" y="42"/>
                </a:lnTo>
                <a:lnTo>
                  <a:pt x="876" y="42"/>
                </a:lnTo>
                <a:lnTo>
                  <a:pt x="882" y="42"/>
                </a:lnTo>
                <a:lnTo>
                  <a:pt x="888" y="42"/>
                </a:lnTo>
                <a:lnTo>
                  <a:pt x="888" y="42"/>
                </a:lnTo>
                <a:lnTo>
                  <a:pt x="894" y="36"/>
                </a:lnTo>
                <a:lnTo>
                  <a:pt x="894" y="36"/>
                </a:lnTo>
                <a:lnTo>
                  <a:pt x="906" y="36"/>
                </a:lnTo>
                <a:lnTo>
                  <a:pt x="906" y="36"/>
                </a:lnTo>
                <a:lnTo>
                  <a:pt x="912" y="36"/>
                </a:lnTo>
                <a:lnTo>
                  <a:pt x="912" y="36"/>
                </a:lnTo>
                <a:lnTo>
                  <a:pt x="912" y="30"/>
                </a:lnTo>
                <a:lnTo>
                  <a:pt x="912" y="30"/>
                </a:lnTo>
                <a:lnTo>
                  <a:pt x="918" y="30"/>
                </a:lnTo>
                <a:lnTo>
                  <a:pt x="918" y="30"/>
                </a:lnTo>
                <a:lnTo>
                  <a:pt x="924" y="30"/>
                </a:lnTo>
                <a:lnTo>
                  <a:pt x="930" y="30"/>
                </a:lnTo>
                <a:lnTo>
                  <a:pt x="930" y="30"/>
                </a:lnTo>
                <a:lnTo>
                  <a:pt x="936" y="30"/>
                </a:lnTo>
                <a:lnTo>
                  <a:pt x="936" y="24"/>
                </a:lnTo>
                <a:lnTo>
                  <a:pt x="936" y="24"/>
                </a:lnTo>
                <a:lnTo>
                  <a:pt x="942" y="24"/>
                </a:lnTo>
                <a:lnTo>
                  <a:pt x="942" y="18"/>
                </a:lnTo>
                <a:lnTo>
                  <a:pt x="942" y="18"/>
                </a:lnTo>
                <a:lnTo>
                  <a:pt x="942" y="18"/>
                </a:lnTo>
                <a:lnTo>
                  <a:pt x="942" y="12"/>
                </a:lnTo>
                <a:lnTo>
                  <a:pt x="942" y="6"/>
                </a:lnTo>
                <a:lnTo>
                  <a:pt x="948" y="6"/>
                </a:lnTo>
                <a:lnTo>
                  <a:pt x="954" y="0"/>
                </a:lnTo>
                <a:lnTo>
                  <a:pt x="954" y="0"/>
                </a:lnTo>
                <a:lnTo>
                  <a:pt x="960" y="0"/>
                </a:lnTo>
                <a:lnTo>
                  <a:pt x="960" y="0"/>
                </a:lnTo>
                <a:lnTo>
                  <a:pt x="960" y="0"/>
                </a:lnTo>
                <a:lnTo>
                  <a:pt x="960" y="6"/>
                </a:lnTo>
                <a:lnTo>
                  <a:pt x="960" y="6"/>
                </a:lnTo>
                <a:lnTo>
                  <a:pt x="966" y="12"/>
                </a:lnTo>
                <a:lnTo>
                  <a:pt x="972" y="12"/>
                </a:lnTo>
                <a:lnTo>
                  <a:pt x="972" y="18"/>
                </a:lnTo>
                <a:lnTo>
                  <a:pt x="966" y="18"/>
                </a:lnTo>
                <a:lnTo>
                  <a:pt x="966" y="18"/>
                </a:lnTo>
                <a:lnTo>
                  <a:pt x="972" y="18"/>
                </a:lnTo>
                <a:lnTo>
                  <a:pt x="972" y="18"/>
                </a:lnTo>
                <a:lnTo>
                  <a:pt x="972" y="18"/>
                </a:lnTo>
                <a:lnTo>
                  <a:pt x="972" y="12"/>
                </a:lnTo>
                <a:lnTo>
                  <a:pt x="972" y="12"/>
                </a:lnTo>
                <a:lnTo>
                  <a:pt x="978" y="12"/>
                </a:lnTo>
                <a:lnTo>
                  <a:pt x="978" y="12"/>
                </a:lnTo>
                <a:lnTo>
                  <a:pt x="978" y="12"/>
                </a:lnTo>
                <a:lnTo>
                  <a:pt x="978" y="12"/>
                </a:lnTo>
                <a:lnTo>
                  <a:pt x="984" y="12"/>
                </a:lnTo>
                <a:lnTo>
                  <a:pt x="984" y="12"/>
                </a:lnTo>
                <a:lnTo>
                  <a:pt x="990" y="6"/>
                </a:lnTo>
                <a:lnTo>
                  <a:pt x="990" y="6"/>
                </a:lnTo>
                <a:lnTo>
                  <a:pt x="996" y="12"/>
                </a:lnTo>
                <a:lnTo>
                  <a:pt x="990" y="12"/>
                </a:lnTo>
                <a:lnTo>
                  <a:pt x="990" y="12"/>
                </a:lnTo>
                <a:lnTo>
                  <a:pt x="990" y="18"/>
                </a:lnTo>
                <a:lnTo>
                  <a:pt x="996" y="18"/>
                </a:lnTo>
                <a:lnTo>
                  <a:pt x="996" y="18"/>
                </a:lnTo>
                <a:lnTo>
                  <a:pt x="996" y="18"/>
                </a:lnTo>
                <a:lnTo>
                  <a:pt x="996" y="18"/>
                </a:lnTo>
                <a:lnTo>
                  <a:pt x="996" y="18"/>
                </a:lnTo>
                <a:lnTo>
                  <a:pt x="996" y="18"/>
                </a:lnTo>
                <a:lnTo>
                  <a:pt x="1002" y="18"/>
                </a:lnTo>
                <a:lnTo>
                  <a:pt x="1002" y="18"/>
                </a:lnTo>
                <a:lnTo>
                  <a:pt x="1002" y="18"/>
                </a:lnTo>
                <a:lnTo>
                  <a:pt x="1008" y="18"/>
                </a:lnTo>
                <a:lnTo>
                  <a:pt x="1008" y="18"/>
                </a:lnTo>
                <a:lnTo>
                  <a:pt x="1008" y="24"/>
                </a:lnTo>
                <a:lnTo>
                  <a:pt x="1014" y="24"/>
                </a:lnTo>
                <a:lnTo>
                  <a:pt x="1014" y="24"/>
                </a:lnTo>
                <a:lnTo>
                  <a:pt x="1014" y="24"/>
                </a:lnTo>
                <a:lnTo>
                  <a:pt x="1014" y="30"/>
                </a:lnTo>
                <a:lnTo>
                  <a:pt x="1020" y="30"/>
                </a:lnTo>
                <a:lnTo>
                  <a:pt x="1020" y="30"/>
                </a:lnTo>
                <a:lnTo>
                  <a:pt x="1020" y="42"/>
                </a:lnTo>
                <a:lnTo>
                  <a:pt x="1020" y="42"/>
                </a:lnTo>
                <a:lnTo>
                  <a:pt x="1026" y="42"/>
                </a:lnTo>
                <a:lnTo>
                  <a:pt x="1026" y="42"/>
                </a:lnTo>
                <a:lnTo>
                  <a:pt x="1026" y="48"/>
                </a:lnTo>
                <a:lnTo>
                  <a:pt x="1026" y="48"/>
                </a:lnTo>
                <a:lnTo>
                  <a:pt x="1032" y="48"/>
                </a:lnTo>
                <a:lnTo>
                  <a:pt x="1032" y="48"/>
                </a:lnTo>
                <a:lnTo>
                  <a:pt x="1032" y="42"/>
                </a:lnTo>
                <a:lnTo>
                  <a:pt x="1032" y="42"/>
                </a:lnTo>
                <a:lnTo>
                  <a:pt x="1032" y="42"/>
                </a:lnTo>
                <a:lnTo>
                  <a:pt x="1038" y="42"/>
                </a:lnTo>
                <a:lnTo>
                  <a:pt x="1038" y="42"/>
                </a:lnTo>
                <a:lnTo>
                  <a:pt x="1038" y="42"/>
                </a:lnTo>
                <a:lnTo>
                  <a:pt x="1038" y="42"/>
                </a:lnTo>
                <a:lnTo>
                  <a:pt x="1044" y="42"/>
                </a:lnTo>
                <a:lnTo>
                  <a:pt x="1050" y="42"/>
                </a:lnTo>
                <a:lnTo>
                  <a:pt x="1056" y="42"/>
                </a:lnTo>
                <a:lnTo>
                  <a:pt x="1056" y="42"/>
                </a:lnTo>
                <a:lnTo>
                  <a:pt x="1056" y="42"/>
                </a:lnTo>
                <a:lnTo>
                  <a:pt x="1056" y="42"/>
                </a:lnTo>
                <a:lnTo>
                  <a:pt x="1062" y="42"/>
                </a:lnTo>
                <a:lnTo>
                  <a:pt x="1062" y="42"/>
                </a:lnTo>
                <a:lnTo>
                  <a:pt x="1062" y="42"/>
                </a:lnTo>
                <a:lnTo>
                  <a:pt x="1068" y="42"/>
                </a:lnTo>
                <a:lnTo>
                  <a:pt x="1068" y="42"/>
                </a:lnTo>
                <a:lnTo>
                  <a:pt x="1068" y="42"/>
                </a:lnTo>
                <a:lnTo>
                  <a:pt x="1062" y="48"/>
                </a:lnTo>
                <a:lnTo>
                  <a:pt x="1062" y="48"/>
                </a:lnTo>
                <a:lnTo>
                  <a:pt x="1062" y="48"/>
                </a:lnTo>
                <a:lnTo>
                  <a:pt x="1068" y="48"/>
                </a:lnTo>
                <a:lnTo>
                  <a:pt x="1068" y="48"/>
                </a:lnTo>
                <a:lnTo>
                  <a:pt x="1062" y="54"/>
                </a:lnTo>
                <a:lnTo>
                  <a:pt x="1062" y="60"/>
                </a:lnTo>
                <a:lnTo>
                  <a:pt x="1062" y="60"/>
                </a:lnTo>
                <a:lnTo>
                  <a:pt x="1068" y="60"/>
                </a:lnTo>
                <a:lnTo>
                  <a:pt x="1068" y="60"/>
                </a:lnTo>
                <a:lnTo>
                  <a:pt x="1068" y="54"/>
                </a:lnTo>
                <a:lnTo>
                  <a:pt x="1068" y="54"/>
                </a:lnTo>
                <a:lnTo>
                  <a:pt x="1074" y="54"/>
                </a:lnTo>
                <a:lnTo>
                  <a:pt x="1074" y="54"/>
                </a:lnTo>
                <a:lnTo>
                  <a:pt x="1074" y="60"/>
                </a:lnTo>
                <a:lnTo>
                  <a:pt x="1080" y="60"/>
                </a:lnTo>
                <a:lnTo>
                  <a:pt x="1080" y="60"/>
                </a:lnTo>
                <a:lnTo>
                  <a:pt x="1080" y="54"/>
                </a:lnTo>
                <a:lnTo>
                  <a:pt x="1080" y="54"/>
                </a:lnTo>
                <a:lnTo>
                  <a:pt x="1080" y="54"/>
                </a:lnTo>
                <a:lnTo>
                  <a:pt x="1074" y="54"/>
                </a:lnTo>
                <a:lnTo>
                  <a:pt x="1074" y="54"/>
                </a:lnTo>
                <a:lnTo>
                  <a:pt x="1074" y="48"/>
                </a:lnTo>
                <a:lnTo>
                  <a:pt x="1080" y="48"/>
                </a:lnTo>
                <a:lnTo>
                  <a:pt x="1086" y="54"/>
                </a:lnTo>
                <a:lnTo>
                  <a:pt x="1086" y="54"/>
                </a:lnTo>
                <a:lnTo>
                  <a:pt x="1086" y="54"/>
                </a:lnTo>
                <a:lnTo>
                  <a:pt x="1080" y="54"/>
                </a:lnTo>
                <a:lnTo>
                  <a:pt x="1080" y="54"/>
                </a:lnTo>
                <a:lnTo>
                  <a:pt x="1080" y="60"/>
                </a:lnTo>
                <a:lnTo>
                  <a:pt x="1080" y="60"/>
                </a:lnTo>
                <a:lnTo>
                  <a:pt x="1086" y="60"/>
                </a:lnTo>
                <a:lnTo>
                  <a:pt x="1086" y="60"/>
                </a:lnTo>
                <a:lnTo>
                  <a:pt x="1086" y="54"/>
                </a:lnTo>
                <a:lnTo>
                  <a:pt x="1086" y="54"/>
                </a:lnTo>
                <a:lnTo>
                  <a:pt x="1092" y="54"/>
                </a:lnTo>
                <a:lnTo>
                  <a:pt x="1092" y="54"/>
                </a:lnTo>
                <a:lnTo>
                  <a:pt x="1098" y="54"/>
                </a:lnTo>
                <a:lnTo>
                  <a:pt x="1098" y="54"/>
                </a:lnTo>
                <a:lnTo>
                  <a:pt x="1098" y="54"/>
                </a:lnTo>
                <a:lnTo>
                  <a:pt x="1098" y="54"/>
                </a:lnTo>
                <a:lnTo>
                  <a:pt x="1098" y="54"/>
                </a:lnTo>
                <a:lnTo>
                  <a:pt x="1098" y="54"/>
                </a:lnTo>
                <a:lnTo>
                  <a:pt x="1104" y="54"/>
                </a:lnTo>
                <a:lnTo>
                  <a:pt x="1104" y="54"/>
                </a:lnTo>
                <a:lnTo>
                  <a:pt x="1104" y="48"/>
                </a:lnTo>
                <a:lnTo>
                  <a:pt x="1104" y="48"/>
                </a:lnTo>
                <a:lnTo>
                  <a:pt x="1104" y="48"/>
                </a:lnTo>
                <a:lnTo>
                  <a:pt x="1110" y="48"/>
                </a:lnTo>
                <a:lnTo>
                  <a:pt x="1110" y="54"/>
                </a:lnTo>
                <a:lnTo>
                  <a:pt x="1110" y="60"/>
                </a:lnTo>
                <a:lnTo>
                  <a:pt x="1110" y="60"/>
                </a:lnTo>
                <a:lnTo>
                  <a:pt x="1104" y="54"/>
                </a:lnTo>
                <a:lnTo>
                  <a:pt x="1098" y="54"/>
                </a:lnTo>
                <a:lnTo>
                  <a:pt x="1098" y="54"/>
                </a:lnTo>
                <a:lnTo>
                  <a:pt x="1092" y="60"/>
                </a:lnTo>
                <a:lnTo>
                  <a:pt x="1092" y="60"/>
                </a:lnTo>
                <a:lnTo>
                  <a:pt x="1092" y="60"/>
                </a:lnTo>
                <a:lnTo>
                  <a:pt x="1092" y="60"/>
                </a:lnTo>
                <a:lnTo>
                  <a:pt x="1098" y="60"/>
                </a:lnTo>
                <a:lnTo>
                  <a:pt x="1104" y="60"/>
                </a:lnTo>
                <a:lnTo>
                  <a:pt x="1104" y="60"/>
                </a:lnTo>
                <a:lnTo>
                  <a:pt x="1104" y="66"/>
                </a:lnTo>
                <a:lnTo>
                  <a:pt x="1104" y="66"/>
                </a:lnTo>
                <a:lnTo>
                  <a:pt x="1098" y="72"/>
                </a:lnTo>
                <a:lnTo>
                  <a:pt x="1098" y="66"/>
                </a:lnTo>
                <a:lnTo>
                  <a:pt x="1092" y="66"/>
                </a:lnTo>
                <a:lnTo>
                  <a:pt x="1092" y="66"/>
                </a:lnTo>
                <a:lnTo>
                  <a:pt x="1092" y="66"/>
                </a:lnTo>
                <a:lnTo>
                  <a:pt x="1092" y="72"/>
                </a:lnTo>
                <a:lnTo>
                  <a:pt x="1086" y="72"/>
                </a:lnTo>
                <a:lnTo>
                  <a:pt x="1086" y="72"/>
                </a:lnTo>
                <a:lnTo>
                  <a:pt x="1080" y="78"/>
                </a:lnTo>
                <a:lnTo>
                  <a:pt x="1080" y="84"/>
                </a:lnTo>
                <a:lnTo>
                  <a:pt x="1074" y="84"/>
                </a:lnTo>
                <a:lnTo>
                  <a:pt x="1074" y="84"/>
                </a:lnTo>
                <a:lnTo>
                  <a:pt x="1074" y="90"/>
                </a:lnTo>
                <a:lnTo>
                  <a:pt x="1068" y="96"/>
                </a:lnTo>
                <a:lnTo>
                  <a:pt x="1062" y="96"/>
                </a:lnTo>
                <a:lnTo>
                  <a:pt x="1056" y="96"/>
                </a:lnTo>
                <a:lnTo>
                  <a:pt x="1056" y="90"/>
                </a:lnTo>
                <a:lnTo>
                  <a:pt x="1050" y="90"/>
                </a:lnTo>
                <a:lnTo>
                  <a:pt x="1050" y="84"/>
                </a:lnTo>
                <a:lnTo>
                  <a:pt x="1050" y="78"/>
                </a:lnTo>
                <a:lnTo>
                  <a:pt x="1050" y="78"/>
                </a:lnTo>
                <a:lnTo>
                  <a:pt x="1050" y="72"/>
                </a:lnTo>
                <a:lnTo>
                  <a:pt x="1044" y="72"/>
                </a:lnTo>
                <a:lnTo>
                  <a:pt x="1044" y="72"/>
                </a:lnTo>
                <a:lnTo>
                  <a:pt x="1038" y="72"/>
                </a:lnTo>
                <a:lnTo>
                  <a:pt x="1038" y="78"/>
                </a:lnTo>
                <a:lnTo>
                  <a:pt x="1038" y="84"/>
                </a:lnTo>
                <a:lnTo>
                  <a:pt x="1044" y="84"/>
                </a:lnTo>
                <a:lnTo>
                  <a:pt x="1044" y="84"/>
                </a:lnTo>
                <a:lnTo>
                  <a:pt x="1044" y="90"/>
                </a:lnTo>
                <a:lnTo>
                  <a:pt x="1044" y="90"/>
                </a:lnTo>
                <a:lnTo>
                  <a:pt x="1044" y="90"/>
                </a:lnTo>
                <a:lnTo>
                  <a:pt x="1038" y="90"/>
                </a:lnTo>
                <a:lnTo>
                  <a:pt x="1038" y="90"/>
                </a:lnTo>
                <a:lnTo>
                  <a:pt x="1038" y="84"/>
                </a:lnTo>
                <a:lnTo>
                  <a:pt x="1038" y="84"/>
                </a:lnTo>
                <a:lnTo>
                  <a:pt x="1038" y="84"/>
                </a:lnTo>
                <a:lnTo>
                  <a:pt x="1032" y="84"/>
                </a:lnTo>
                <a:lnTo>
                  <a:pt x="1032" y="90"/>
                </a:lnTo>
                <a:lnTo>
                  <a:pt x="1032" y="90"/>
                </a:lnTo>
                <a:lnTo>
                  <a:pt x="1026" y="90"/>
                </a:lnTo>
                <a:lnTo>
                  <a:pt x="1032" y="84"/>
                </a:lnTo>
                <a:lnTo>
                  <a:pt x="1032" y="84"/>
                </a:lnTo>
                <a:lnTo>
                  <a:pt x="1026" y="84"/>
                </a:lnTo>
                <a:lnTo>
                  <a:pt x="1026" y="90"/>
                </a:lnTo>
                <a:lnTo>
                  <a:pt x="1026" y="90"/>
                </a:lnTo>
                <a:lnTo>
                  <a:pt x="1026" y="84"/>
                </a:lnTo>
                <a:lnTo>
                  <a:pt x="1026" y="90"/>
                </a:lnTo>
                <a:lnTo>
                  <a:pt x="1026" y="84"/>
                </a:lnTo>
                <a:lnTo>
                  <a:pt x="1020" y="90"/>
                </a:lnTo>
                <a:lnTo>
                  <a:pt x="1020" y="90"/>
                </a:lnTo>
                <a:lnTo>
                  <a:pt x="1020" y="90"/>
                </a:lnTo>
                <a:lnTo>
                  <a:pt x="1020" y="90"/>
                </a:lnTo>
                <a:lnTo>
                  <a:pt x="1020" y="90"/>
                </a:lnTo>
                <a:lnTo>
                  <a:pt x="1020" y="90"/>
                </a:lnTo>
                <a:lnTo>
                  <a:pt x="1020" y="90"/>
                </a:lnTo>
                <a:lnTo>
                  <a:pt x="1020" y="90"/>
                </a:lnTo>
                <a:lnTo>
                  <a:pt x="1020" y="90"/>
                </a:lnTo>
                <a:lnTo>
                  <a:pt x="1014" y="90"/>
                </a:lnTo>
                <a:lnTo>
                  <a:pt x="1014" y="96"/>
                </a:lnTo>
                <a:lnTo>
                  <a:pt x="1014" y="96"/>
                </a:lnTo>
                <a:lnTo>
                  <a:pt x="1014" y="96"/>
                </a:lnTo>
                <a:lnTo>
                  <a:pt x="1014" y="102"/>
                </a:lnTo>
                <a:lnTo>
                  <a:pt x="1014" y="102"/>
                </a:lnTo>
                <a:lnTo>
                  <a:pt x="1014" y="96"/>
                </a:lnTo>
                <a:lnTo>
                  <a:pt x="1014" y="96"/>
                </a:lnTo>
                <a:lnTo>
                  <a:pt x="1014" y="102"/>
                </a:lnTo>
                <a:lnTo>
                  <a:pt x="1008" y="102"/>
                </a:lnTo>
                <a:lnTo>
                  <a:pt x="1008" y="102"/>
                </a:lnTo>
                <a:lnTo>
                  <a:pt x="1008" y="102"/>
                </a:lnTo>
                <a:lnTo>
                  <a:pt x="1008" y="102"/>
                </a:lnTo>
                <a:lnTo>
                  <a:pt x="1008" y="102"/>
                </a:lnTo>
                <a:lnTo>
                  <a:pt x="1002" y="108"/>
                </a:lnTo>
                <a:lnTo>
                  <a:pt x="1002" y="108"/>
                </a:lnTo>
                <a:lnTo>
                  <a:pt x="1008" y="108"/>
                </a:lnTo>
                <a:lnTo>
                  <a:pt x="1002" y="108"/>
                </a:lnTo>
                <a:lnTo>
                  <a:pt x="1002" y="108"/>
                </a:lnTo>
                <a:lnTo>
                  <a:pt x="1002" y="114"/>
                </a:lnTo>
                <a:lnTo>
                  <a:pt x="1002" y="114"/>
                </a:lnTo>
                <a:lnTo>
                  <a:pt x="1002" y="114"/>
                </a:lnTo>
                <a:lnTo>
                  <a:pt x="1002" y="114"/>
                </a:lnTo>
                <a:lnTo>
                  <a:pt x="1002" y="120"/>
                </a:lnTo>
                <a:lnTo>
                  <a:pt x="996" y="120"/>
                </a:lnTo>
                <a:lnTo>
                  <a:pt x="1002" y="120"/>
                </a:lnTo>
                <a:lnTo>
                  <a:pt x="1002" y="120"/>
                </a:lnTo>
                <a:lnTo>
                  <a:pt x="996" y="126"/>
                </a:lnTo>
                <a:lnTo>
                  <a:pt x="996" y="126"/>
                </a:lnTo>
                <a:lnTo>
                  <a:pt x="996" y="126"/>
                </a:lnTo>
                <a:lnTo>
                  <a:pt x="990" y="126"/>
                </a:lnTo>
                <a:lnTo>
                  <a:pt x="990" y="126"/>
                </a:lnTo>
                <a:lnTo>
                  <a:pt x="990" y="132"/>
                </a:lnTo>
                <a:lnTo>
                  <a:pt x="990" y="132"/>
                </a:lnTo>
                <a:lnTo>
                  <a:pt x="990" y="132"/>
                </a:lnTo>
                <a:lnTo>
                  <a:pt x="990" y="132"/>
                </a:lnTo>
                <a:lnTo>
                  <a:pt x="990" y="132"/>
                </a:lnTo>
                <a:lnTo>
                  <a:pt x="990" y="138"/>
                </a:lnTo>
                <a:lnTo>
                  <a:pt x="990" y="138"/>
                </a:lnTo>
                <a:lnTo>
                  <a:pt x="984" y="138"/>
                </a:lnTo>
                <a:lnTo>
                  <a:pt x="990" y="138"/>
                </a:lnTo>
                <a:lnTo>
                  <a:pt x="990" y="138"/>
                </a:lnTo>
                <a:lnTo>
                  <a:pt x="984" y="144"/>
                </a:lnTo>
                <a:lnTo>
                  <a:pt x="984" y="144"/>
                </a:lnTo>
                <a:lnTo>
                  <a:pt x="984" y="144"/>
                </a:lnTo>
                <a:lnTo>
                  <a:pt x="984" y="144"/>
                </a:lnTo>
                <a:lnTo>
                  <a:pt x="984" y="150"/>
                </a:lnTo>
                <a:lnTo>
                  <a:pt x="984" y="150"/>
                </a:lnTo>
                <a:lnTo>
                  <a:pt x="984" y="150"/>
                </a:lnTo>
                <a:lnTo>
                  <a:pt x="984" y="150"/>
                </a:lnTo>
                <a:lnTo>
                  <a:pt x="984" y="156"/>
                </a:lnTo>
                <a:lnTo>
                  <a:pt x="984" y="156"/>
                </a:lnTo>
                <a:lnTo>
                  <a:pt x="978" y="156"/>
                </a:lnTo>
                <a:lnTo>
                  <a:pt x="978" y="156"/>
                </a:lnTo>
                <a:lnTo>
                  <a:pt x="978" y="156"/>
                </a:lnTo>
                <a:lnTo>
                  <a:pt x="978" y="156"/>
                </a:lnTo>
                <a:lnTo>
                  <a:pt x="972" y="156"/>
                </a:lnTo>
                <a:lnTo>
                  <a:pt x="972" y="156"/>
                </a:lnTo>
                <a:lnTo>
                  <a:pt x="972" y="156"/>
                </a:lnTo>
                <a:lnTo>
                  <a:pt x="972" y="162"/>
                </a:lnTo>
                <a:lnTo>
                  <a:pt x="972" y="156"/>
                </a:lnTo>
                <a:lnTo>
                  <a:pt x="966" y="156"/>
                </a:lnTo>
                <a:lnTo>
                  <a:pt x="966" y="156"/>
                </a:lnTo>
                <a:lnTo>
                  <a:pt x="966" y="156"/>
                </a:lnTo>
                <a:lnTo>
                  <a:pt x="960" y="156"/>
                </a:lnTo>
                <a:lnTo>
                  <a:pt x="960" y="156"/>
                </a:lnTo>
                <a:lnTo>
                  <a:pt x="960" y="156"/>
                </a:lnTo>
                <a:lnTo>
                  <a:pt x="960" y="156"/>
                </a:lnTo>
                <a:lnTo>
                  <a:pt x="960" y="156"/>
                </a:lnTo>
                <a:lnTo>
                  <a:pt x="954" y="156"/>
                </a:lnTo>
                <a:lnTo>
                  <a:pt x="954" y="156"/>
                </a:lnTo>
                <a:lnTo>
                  <a:pt x="954" y="156"/>
                </a:lnTo>
                <a:lnTo>
                  <a:pt x="954" y="156"/>
                </a:lnTo>
                <a:lnTo>
                  <a:pt x="954" y="156"/>
                </a:lnTo>
                <a:lnTo>
                  <a:pt x="948" y="156"/>
                </a:lnTo>
                <a:lnTo>
                  <a:pt x="948" y="156"/>
                </a:lnTo>
                <a:lnTo>
                  <a:pt x="948" y="156"/>
                </a:lnTo>
                <a:lnTo>
                  <a:pt x="942" y="156"/>
                </a:lnTo>
                <a:lnTo>
                  <a:pt x="942" y="156"/>
                </a:lnTo>
                <a:lnTo>
                  <a:pt x="942" y="156"/>
                </a:lnTo>
                <a:lnTo>
                  <a:pt x="942" y="156"/>
                </a:lnTo>
                <a:lnTo>
                  <a:pt x="936" y="156"/>
                </a:lnTo>
                <a:lnTo>
                  <a:pt x="936" y="156"/>
                </a:lnTo>
                <a:lnTo>
                  <a:pt x="936" y="156"/>
                </a:lnTo>
                <a:lnTo>
                  <a:pt x="930" y="156"/>
                </a:lnTo>
                <a:lnTo>
                  <a:pt x="930" y="156"/>
                </a:lnTo>
                <a:lnTo>
                  <a:pt x="930" y="156"/>
                </a:lnTo>
                <a:lnTo>
                  <a:pt x="930" y="156"/>
                </a:lnTo>
                <a:lnTo>
                  <a:pt x="930" y="156"/>
                </a:lnTo>
                <a:lnTo>
                  <a:pt x="930" y="156"/>
                </a:lnTo>
                <a:lnTo>
                  <a:pt x="924" y="156"/>
                </a:lnTo>
                <a:lnTo>
                  <a:pt x="924" y="156"/>
                </a:lnTo>
                <a:lnTo>
                  <a:pt x="924" y="162"/>
                </a:lnTo>
                <a:lnTo>
                  <a:pt x="924" y="162"/>
                </a:lnTo>
                <a:lnTo>
                  <a:pt x="924" y="156"/>
                </a:lnTo>
                <a:lnTo>
                  <a:pt x="918" y="162"/>
                </a:lnTo>
                <a:lnTo>
                  <a:pt x="918" y="156"/>
                </a:lnTo>
                <a:lnTo>
                  <a:pt x="918" y="162"/>
                </a:lnTo>
                <a:lnTo>
                  <a:pt x="918" y="162"/>
                </a:lnTo>
                <a:lnTo>
                  <a:pt x="912" y="162"/>
                </a:lnTo>
                <a:lnTo>
                  <a:pt x="912" y="162"/>
                </a:lnTo>
                <a:lnTo>
                  <a:pt x="912" y="156"/>
                </a:lnTo>
                <a:lnTo>
                  <a:pt x="906" y="156"/>
                </a:lnTo>
                <a:lnTo>
                  <a:pt x="906" y="156"/>
                </a:lnTo>
                <a:lnTo>
                  <a:pt x="906" y="156"/>
                </a:lnTo>
                <a:lnTo>
                  <a:pt x="900" y="156"/>
                </a:lnTo>
                <a:lnTo>
                  <a:pt x="894" y="162"/>
                </a:lnTo>
                <a:lnTo>
                  <a:pt x="894" y="162"/>
                </a:lnTo>
                <a:lnTo>
                  <a:pt x="894" y="168"/>
                </a:lnTo>
                <a:lnTo>
                  <a:pt x="894" y="168"/>
                </a:lnTo>
                <a:lnTo>
                  <a:pt x="894" y="168"/>
                </a:lnTo>
                <a:lnTo>
                  <a:pt x="894" y="174"/>
                </a:lnTo>
                <a:lnTo>
                  <a:pt x="894" y="174"/>
                </a:lnTo>
                <a:lnTo>
                  <a:pt x="888" y="180"/>
                </a:lnTo>
                <a:lnTo>
                  <a:pt x="888" y="180"/>
                </a:lnTo>
                <a:lnTo>
                  <a:pt x="888" y="180"/>
                </a:lnTo>
                <a:lnTo>
                  <a:pt x="882" y="180"/>
                </a:lnTo>
                <a:lnTo>
                  <a:pt x="882" y="180"/>
                </a:lnTo>
                <a:lnTo>
                  <a:pt x="882" y="186"/>
                </a:lnTo>
                <a:lnTo>
                  <a:pt x="882" y="186"/>
                </a:lnTo>
                <a:lnTo>
                  <a:pt x="882" y="192"/>
                </a:lnTo>
                <a:lnTo>
                  <a:pt x="876" y="192"/>
                </a:lnTo>
                <a:lnTo>
                  <a:pt x="882" y="204"/>
                </a:lnTo>
                <a:lnTo>
                  <a:pt x="876" y="204"/>
                </a:lnTo>
                <a:lnTo>
                  <a:pt x="882" y="210"/>
                </a:lnTo>
                <a:lnTo>
                  <a:pt x="882" y="210"/>
                </a:lnTo>
                <a:lnTo>
                  <a:pt x="882" y="210"/>
                </a:lnTo>
                <a:lnTo>
                  <a:pt x="888" y="210"/>
                </a:lnTo>
                <a:lnTo>
                  <a:pt x="894" y="210"/>
                </a:lnTo>
                <a:lnTo>
                  <a:pt x="894" y="210"/>
                </a:lnTo>
                <a:lnTo>
                  <a:pt x="894" y="216"/>
                </a:lnTo>
                <a:lnTo>
                  <a:pt x="894" y="222"/>
                </a:lnTo>
                <a:lnTo>
                  <a:pt x="894" y="222"/>
                </a:lnTo>
                <a:lnTo>
                  <a:pt x="888" y="222"/>
                </a:lnTo>
                <a:lnTo>
                  <a:pt x="888" y="228"/>
                </a:lnTo>
                <a:lnTo>
                  <a:pt x="882" y="228"/>
                </a:lnTo>
                <a:lnTo>
                  <a:pt x="882" y="234"/>
                </a:lnTo>
                <a:lnTo>
                  <a:pt x="888" y="234"/>
                </a:lnTo>
                <a:lnTo>
                  <a:pt x="888" y="240"/>
                </a:lnTo>
                <a:lnTo>
                  <a:pt x="888" y="240"/>
                </a:lnTo>
                <a:lnTo>
                  <a:pt x="888" y="252"/>
                </a:lnTo>
                <a:lnTo>
                  <a:pt x="888" y="252"/>
                </a:lnTo>
                <a:lnTo>
                  <a:pt x="882" y="252"/>
                </a:lnTo>
                <a:lnTo>
                  <a:pt x="882" y="252"/>
                </a:lnTo>
                <a:lnTo>
                  <a:pt x="882" y="252"/>
                </a:lnTo>
                <a:lnTo>
                  <a:pt x="882" y="252"/>
                </a:lnTo>
                <a:lnTo>
                  <a:pt x="882" y="252"/>
                </a:lnTo>
                <a:lnTo>
                  <a:pt x="882" y="258"/>
                </a:lnTo>
                <a:lnTo>
                  <a:pt x="888" y="264"/>
                </a:lnTo>
                <a:lnTo>
                  <a:pt x="888" y="264"/>
                </a:lnTo>
                <a:lnTo>
                  <a:pt x="888" y="264"/>
                </a:lnTo>
                <a:lnTo>
                  <a:pt x="888" y="264"/>
                </a:lnTo>
                <a:lnTo>
                  <a:pt x="882" y="264"/>
                </a:lnTo>
                <a:lnTo>
                  <a:pt x="882" y="264"/>
                </a:lnTo>
                <a:lnTo>
                  <a:pt x="876" y="264"/>
                </a:lnTo>
                <a:lnTo>
                  <a:pt x="876" y="264"/>
                </a:lnTo>
                <a:lnTo>
                  <a:pt x="876" y="264"/>
                </a:lnTo>
                <a:lnTo>
                  <a:pt x="870" y="264"/>
                </a:lnTo>
                <a:lnTo>
                  <a:pt x="864" y="258"/>
                </a:lnTo>
                <a:lnTo>
                  <a:pt x="858" y="252"/>
                </a:lnTo>
                <a:lnTo>
                  <a:pt x="858" y="252"/>
                </a:lnTo>
                <a:lnTo>
                  <a:pt x="858" y="252"/>
                </a:lnTo>
                <a:lnTo>
                  <a:pt x="858" y="252"/>
                </a:lnTo>
                <a:lnTo>
                  <a:pt x="858" y="258"/>
                </a:lnTo>
                <a:lnTo>
                  <a:pt x="858" y="258"/>
                </a:lnTo>
                <a:lnTo>
                  <a:pt x="858" y="258"/>
                </a:lnTo>
                <a:lnTo>
                  <a:pt x="858" y="258"/>
                </a:lnTo>
                <a:lnTo>
                  <a:pt x="858" y="264"/>
                </a:lnTo>
                <a:lnTo>
                  <a:pt x="858" y="264"/>
                </a:lnTo>
                <a:lnTo>
                  <a:pt x="858" y="264"/>
                </a:lnTo>
                <a:lnTo>
                  <a:pt x="864" y="264"/>
                </a:lnTo>
                <a:lnTo>
                  <a:pt x="864" y="270"/>
                </a:lnTo>
                <a:lnTo>
                  <a:pt x="864" y="270"/>
                </a:lnTo>
                <a:lnTo>
                  <a:pt x="864" y="270"/>
                </a:lnTo>
                <a:lnTo>
                  <a:pt x="864" y="270"/>
                </a:lnTo>
                <a:lnTo>
                  <a:pt x="870" y="276"/>
                </a:lnTo>
                <a:lnTo>
                  <a:pt x="870" y="276"/>
                </a:lnTo>
                <a:lnTo>
                  <a:pt x="870" y="276"/>
                </a:lnTo>
                <a:lnTo>
                  <a:pt x="870" y="276"/>
                </a:lnTo>
                <a:lnTo>
                  <a:pt x="876" y="276"/>
                </a:lnTo>
                <a:lnTo>
                  <a:pt x="876" y="276"/>
                </a:lnTo>
                <a:lnTo>
                  <a:pt x="876" y="282"/>
                </a:lnTo>
                <a:lnTo>
                  <a:pt x="876" y="282"/>
                </a:lnTo>
                <a:lnTo>
                  <a:pt x="876" y="282"/>
                </a:lnTo>
                <a:lnTo>
                  <a:pt x="876" y="282"/>
                </a:lnTo>
                <a:lnTo>
                  <a:pt x="876" y="282"/>
                </a:lnTo>
                <a:lnTo>
                  <a:pt x="876" y="288"/>
                </a:lnTo>
                <a:lnTo>
                  <a:pt x="876" y="288"/>
                </a:lnTo>
                <a:lnTo>
                  <a:pt x="876" y="288"/>
                </a:lnTo>
                <a:lnTo>
                  <a:pt x="876" y="288"/>
                </a:lnTo>
                <a:lnTo>
                  <a:pt x="882" y="294"/>
                </a:lnTo>
                <a:lnTo>
                  <a:pt x="888" y="294"/>
                </a:lnTo>
                <a:lnTo>
                  <a:pt x="888" y="294"/>
                </a:lnTo>
                <a:lnTo>
                  <a:pt x="894" y="294"/>
                </a:lnTo>
                <a:lnTo>
                  <a:pt x="894" y="300"/>
                </a:lnTo>
                <a:lnTo>
                  <a:pt x="894" y="300"/>
                </a:lnTo>
                <a:lnTo>
                  <a:pt x="894" y="306"/>
                </a:lnTo>
                <a:lnTo>
                  <a:pt x="894" y="312"/>
                </a:lnTo>
                <a:lnTo>
                  <a:pt x="894" y="312"/>
                </a:lnTo>
                <a:lnTo>
                  <a:pt x="894" y="312"/>
                </a:lnTo>
                <a:lnTo>
                  <a:pt x="894" y="312"/>
                </a:lnTo>
                <a:lnTo>
                  <a:pt x="894" y="312"/>
                </a:lnTo>
                <a:lnTo>
                  <a:pt x="894" y="312"/>
                </a:lnTo>
                <a:lnTo>
                  <a:pt x="900" y="318"/>
                </a:lnTo>
                <a:lnTo>
                  <a:pt x="900" y="318"/>
                </a:lnTo>
                <a:lnTo>
                  <a:pt x="900" y="318"/>
                </a:lnTo>
                <a:lnTo>
                  <a:pt x="900" y="324"/>
                </a:lnTo>
                <a:lnTo>
                  <a:pt x="900" y="324"/>
                </a:lnTo>
                <a:lnTo>
                  <a:pt x="900" y="324"/>
                </a:lnTo>
                <a:lnTo>
                  <a:pt x="894" y="330"/>
                </a:lnTo>
                <a:lnTo>
                  <a:pt x="894" y="330"/>
                </a:lnTo>
                <a:lnTo>
                  <a:pt x="888" y="330"/>
                </a:lnTo>
                <a:lnTo>
                  <a:pt x="876" y="336"/>
                </a:lnTo>
                <a:lnTo>
                  <a:pt x="876" y="336"/>
                </a:lnTo>
                <a:lnTo>
                  <a:pt x="876" y="330"/>
                </a:lnTo>
                <a:lnTo>
                  <a:pt x="876" y="330"/>
                </a:lnTo>
                <a:lnTo>
                  <a:pt x="876" y="330"/>
                </a:lnTo>
                <a:lnTo>
                  <a:pt x="870" y="330"/>
                </a:lnTo>
                <a:lnTo>
                  <a:pt x="870" y="330"/>
                </a:lnTo>
                <a:lnTo>
                  <a:pt x="870" y="330"/>
                </a:lnTo>
                <a:lnTo>
                  <a:pt x="870" y="330"/>
                </a:lnTo>
                <a:lnTo>
                  <a:pt x="864" y="330"/>
                </a:lnTo>
                <a:lnTo>
                  <a:pt x="864" y="330"/>
                </a:lnTo>
                <a:lnTo>
                  <a:pt x="864" y="330"/>
                </a:lnTo>
                <a:lnTo>
                  <a:pt x="864" y="330"/>
                </a:lnTo>
                <a:lnTo>
                  <a:pt x="858" y="330"/>
                </a:lnTo>
                <a:lnTo>
                  <a:pt x="858" y="330"/>
                </a:lnTo>
                <a:lnTo>
                  <a:pt x="858" y="330"/>
                </a:lnTo>
                <a:lnTo>
                  <a:pt x="858" y="330"/>
                </a:lnTo>
                <a:lnTo>
                  <a:pt x="852" y="330"/>
                </a:lnTo>
                <a:lnTo>
                  <a:pt x="852" y="330"/>
                </a:lnTo>
                <a:lnTo>
                  <a:pt x="852" y="330"/>
                </a:lnTo>
                <a:lnTo>
                  <a:pt x="846" y="330"/>
                </a:lnTo>
                <a:lnTo>
                  <a:pt x="846" y="330"/>
                </a:lnTo>
                <a:lnTo>
                  <a:pt x="846" y="330"/>
                </a:lnTo>
                <a:lnTo>
                  <a:pt x="846" y="330"/>
                </a:lnTo>
                <a:lnTo>
                  <a:pt x="846" y="336"/>
                </a:lnTo>
                <a:lnTo>
                  <a:pt x="846" y="336"/>
                </a:lnTo>
                <a:lnTo>
                  <a:pt x="840" y="336"/>
                </a:lnTo>
                <a:lnTo>
                  <a:pt x="840" y="336"/>
                </a:lnTo>
                <a:lnTo>
                  <a:pt x="840" y="336"/>
                </a:lnTo>
                <a:lnTo>
                  <a:pt x="840" y="336"/>
                </a:lnTo>
                <a:lnTo>
                  <a:pt x="834" y="336"/>
                </a:lnTo>
                <a:lnTo>
                  <a:pt x="834" y="342"/>
                </a:lnTo>
                <a:lnTo>
                  <a:pt x="834" y="342"/>
                </a:lnTo>
                <a:lnTo>
                  <a:pt x="834" y="342"/>
                </a:lnTo>
                <a:lnTo>
                  <a:pt x="834" y="342"/>
                </a:lnTo>
                <a:lnTo>
                  <a:pt x="828" y="336"/>
                </a:lnTo>
                <a:lnTo>
                  <a:pt x="828" y="336"/>
                </a:lnTo>
                <a:lnTo>
                  <a:pt x="822" y="336"/>
                </a:lnTo>
                <a:lnTo>
                  <a:pt x="822" y="336"/>
                </a:lnTo>
                <a:lnTo>
                  <a:pt x="816" y="336"/>
                </a:lnTo>
                <a:lnTo>
                  <a:pt x="810" y="336"/>
                </a:lnTo>
                <a:lnTo>
                  <a:pt x="810" y="342"/>
                </a:lnTo>
                <a:lnTo>
                  <a:pt x="810" y="342"/>
                </a:lnTo>
                <a:lnTo>
                  <a:pt x="804" y="348"/>
                </a:lnTo>
                <a:lnTo>
                  <a:pt x="804" y="348"/>
                </a:lnTo>
                <a:lnTo>
                  <a:pt x="804" y="348"/>
                </a:lnTo>
                <a:lnTo>
                  <a:pt x="798" y="342"/>
                </a:lnTo>
                <a:lnTo>
                  <a:pt x="798" y="342"/>
                </a:lnTo>
                <a:lnTo>
                  <a:pt x="792" y="342"/>
                </a:lnTo>
                <a:lnTo>
                  <a:pt x="792" y="348"/>
                </a:lnTo>
                <a:lnTo>
                  <a:pt x="786" y="354"/>
                </a:lnTo>
                <a:lnTo>
                  <a:pt x="786" y="354"/>
                </a:lnTo>
                <a:lnTo>
                  <a:pt x="780" y="354"/>
                </a:lnTo>
                <a:lnTo>
                  <a:pt x="780" y="354"/>
                </a:lnTo>
                <a:lnTo>
                  <a:pt x="774" y="360"/>
                </a:lnTo>
                <a:lnTo>
                  <a:pt x="774" y="360"/>
                </a:lnTo>
                <a:lnTo>
                  <a:pt x="774" y="366"/>
                </a:lnTo>
                <a:lnTo>
                  <a:pt x="774" y="366"/>
                </a:lnTo>
                <a:lnTo>
                  <a:pt x="768" y="372"/>
                </a:lnTo>
                <a:lnTo>
                  <a:pt x="768" y="372"/>
                </a:lnTo>
                <a:lnTo>
                  <a:pt x="768" y="372"/>
                </a:lnTo>
                <a:lnTo>
                  <a:pt x="762" y="372"/>
                </a:lnTo>
                <a:lnTo>
                  <a:pt x="762" y="372"/>
                </a:lnTo>
                <a:lnTo>
                  <a:pt x="762" y="372"/>
                </a:lnTo>
                <a:lnTo>
                  <a:pt x="762" y="372"/>
                </a:lnTo>
                <a:lnTo>
                  <a:pt x="762" y="372"/>
                </a:lnTo>
                <a:lnTo>
                  <a:pt x="762" y="372"/>
                </a:lnTo>
                <a:lnTo>
                  <a:pt x="762" y="372"/>
                </a:lnTo>
                <a:lnTo>
                  <a:pt x="756" y="366"/>
                </a:lnTo>
                <a:lnTo>
                  <a:pt x="756" y="366"/>
                </a:lnTo>
                <a:lnTo>
                  <a:pt x="756" y="366"/>
                </a:lnTo>
                <a:lnTo>
                  <a:pt x="756" y="366"/>
                </a:lnTo>
                <a:lnTo>
                  <a:pt x="756" y="372"/>
                </a:lnTo>
                <a:lnTo>
                  <a:pt x="756" y="372"/>
                </a:lnTo>
                <a:lnTo>
                  <a:pt x="756" y="378"/>
                </a:lnTo>
                <a:lnTo>
                  <a:pt x="750" y="378"/>
                </a:lnTo>
                <a:lnTo>
                  <a:pt x="750" y="384"/>
                </a:lnTo>
                <a:lnTo>
                  <a:pt x="756" y="384"/>
                </a:lnTo>
                <a:lnTo>
                  <a:pt x="756" y="384"/>
                </a:lnTo>
                <a:lnTo>
                  <a:pt x="750" y="390"/>
                </a:lnTo>
                <a:lnTo>
                  <a:pt x="750" y="390"/>
                </a:lnTo>
                <a:lnTo>
                  <a:pt x="756" y="390"/>
                </a:lnTo>
                <a:lnTo>
                  <a:pt x="756" y="390"/>
                </a:lnTo>
                <a:lnTo>
                  <a:pt x="750" y="396"/>
                </a:lnTo>
                <a:lnTo>
                  <a:pt x="750" y="396"/>
                </a:lnTo>
                <a:lnTo>
                  <a:pt x="744" y="396"/>
                </a:lnTo>
                <a:lnTo>
                  <a:pt x="750" y="402"/>
                </a:lnTo>
                <a:lnTo>
                  <a:pt x="750" y="402"/>
                </a:lnTo>
                <a:lnTo>
                  <a:pt x="744" y="408"/>
                </a:lnTo>
                <a:lnTo>
                  <a:pt x="744" y="408"/>
                </a:lnTo>
                <a:lnTo>
                  <a:pt x="744" y="402"/>
                </a:lnTo>
                <a:lnTo>
                  <a:pt x="744" y="402"/>
                </a:lnTo>
                <a:lnTo>
                  <a:pt x="744" y="402"/>
                </a:lnTo>
                <a:lnTo>
                  <a:pt x="738" y="408"/>
                </a:lnTo>
                <a:lnTo>
                  <a:pt x="738" y="408"/>
                </a:lnTo>
                <a:lnTo>
                  <a:pt x="738" y="414"/>
                </a:lnTo>
                <a:lnTo>
                  <a:pt x="732" y="414"/>
                </a:lnTo>
                <a:lnTo>
                  <a:pt x="732" y="420"/>
                </a:lnTo>
                <a:lnTo>
                  <a:pt x="732" y="420"/>
                </a:lnTo>
                <a:lnTo>
                  <a:pt x="726" y="426"/>
                </a:lnTo>
                <a:lnTo>
                  <a:pt x="726" y="426"/>
                </a:lnTo>
                <a:lnTo>
                  <a:pt x="726" y="426"/>
                </a:lnTo>
                <a:lnTo>
                  <a:pt x="726" y="438"/>
                </a:lnTo>
                <a:lnTo>
                  <a:pt x="726" y="438"/>
                </a:lnTo>
                <a:lnTo>
                  <a:pt x="726" y="444"/>
                </a:lnTo>
                <a:lnTo>
                  <a:pt x="726" y="450"/>
                </a:lnTo>
                <a:lnTo>
                  <a:pt x="726" y="450"/>
                </a:lnTo>
                <a:lnTo>
                  <a:pt x="726" y="450"/>
                </a:lnTo>
                <a:lnTo>
                  <a:pt x="726" y="450"/>
                </a:lnTo>
                <a:lnTo>
                  <a:pt x="726" y="456"/>
                </a:lnTo>
                <a:lnTo>
                  <a:pt x="726" y="456"/>
                </a:lnTo>
                <a:lnTo>
                  <a:pt x="726" y="456"/>
                </a:lnTo>
                <a:lnTo>
                  <a:pt x="726" y="456"/>
                </a:lnTo>
                <a:lnTo>
                  <a:pt x="726" y="462"/>
                </a:lnTo>
                <a:lnTo>
                  <a:pt x="726" y="462"/>
                </a:lnTo>
                <a:lnTo>
                  <a:pt x="720" y="462"/>
                </a:lnTo>
                <a:lnTo>
                  <a:pt x="720" y="462"/>
                </a:lnTo>
                <a:lnTo>
                  <a:pt x="720" y="462"/>
                </a:lnTo>
                <a:lnTo>
                  <a:pt x="720" y="462"/>
                </a:lnTo>
                <a:lnTo>
                  <a:pt x="720" y="468"/>
                </a:lnTo>
                <a:lnTo>
                  <a:pt x="720" y="468"/>
                </a:lnTo>
                <a:lnTo>
                  <a:pt x="720" y="474"/>
                </a:lnTo>
                <a:lnTo>
                  <a:pt x="720" y="474"/>
                </a:lnTo>
                <a:lnTo>
                  <a:pt x="720" y="474"/>
                </a:lnTo>
                <a:lnTo>
                  <a:pt x="720" y="474"/>
                </a:lnTo>
                <a:lnTo>
                  <a:pt x="720" y="474"/>
                </a:lnTo>
                <a:lnTo>
                  <a:pt x="720" y="480"/>
                </a:lnTo>
                <a:lnTo>
                  <a:pt x="720" y="480"/>
                </a:lnTo>
                <a:lnTo>
                  <a:pt x="714" y="480"/>
                </a:lnTo>
                <a:lnTo>
                  <a:pt x="714" y="486"/>
                </a:lnTo>
                <a:lnTo>
                  <a:pt x="720" y="486"/>
                </a:lnTo>
                <a:lnTo>
                  <a:pt x="726" y="492"/>
                </a:lnTo>
                <a:lnTo>
                  <a:pt x="726" y="492"/>
                </a:lnTo>
                <a:lnTo>
                  <a:pt x="726" y="492"/>
                </a:lnTo>
                <a:lnTo>
                  <a:pt x="720" y="492"/>
                </a:lnTo>
                <a:lnTo>
                  <a:pt x="720" y="498"/>
                </a:lnTo>
                <a:lnTo>
                  <a:pt x="720" y="498"/>
                </a:lnTo>
                <a:lnTo>
                  <a:pt x="726" y="504"/>
                </a:lnTo>
                <a:lnTo>
                  <a:pt x="726" y="504"/>
                </a:lnTo>
                <a:lnTo>
                  <a:pt x="726" y="510"/>
                </a:lnTo>
                <a:lnTo>
                  <a:pt x="726" y="516"/>
                </a:lnTo>
                <a:lnTo>
                  <a:pt x="726" y="516"/>
                </a:lnTo>
                <a:lnTo>
                  <a:pt x="726" y="516"/>
                </a:lnTo>
                <a:lnTo>
                  <a:pt x="726" y="522"/>
                </a:lnTo>
                <a:lnTo>
                  <a:pt x="726" y="522"/>
                </a:lnTo>
                <a:lnTo>
                  <a:pt x="720" y="522"/>
                </a:lnTo>
                <a:lnTo>
                  <a:pt x="720" y="516"/>
                </a:lnTo>
                <a:lnTo>
                  <a:pt x="714" y="516"/>
                </a:lnTo>
                <a:lnTo>
                  <a:pt x="714" y="522"/>
                </a:lnTo>
                <a:lnTo>
                  <a:pt x="714" y="522"/>
                </a:lnTo>
                <a:lnTo>
                  <a:pt x="714" y="522"/>
                </a:lnTo>
                <a:lnTo>
                  <a:pt x="714" y="528"/>
                </a:lnTo>
                <a:lnTo>
                  <a:pt x="714" y="528"/>
                </a:lnTo>
                <a:lnTo>
                  <a:pt x="714" y="534"/>
                </a:lnTo>
                <a:lnTo>
                  <a:pt x="714" y="534"/>
                </a:lnTo>
                <a:lnTo>
                  <a:pt x="714" y="534"/>
                </a:lnTo>
                <a:lnTo>
                  <a:pt x="714" y="540"/>
                </a:lnTo>
                <a:lnTo>
                  <a:pt x="714" y="540"/>
                </a:lnTo>
                <a:lnTo>
                  <a:pt x="708" y="540"/>
                </a:lnTo>
                <a:lnTo>
                  <a:pt x="708" y="540"/>
                </a:lnTo>
                <a:lnTo>
                  <a:pt x="702" y="540"/>
                </a:lnTo>
                <a:lnTo>
                  <a:pt x="708" y="540"/>
                </a:lnTo>
                <a:lnTo>
                  <a:pt x="702" y="546"/>
                </a:lnTo>
                <a:lnTo>
                  <a:pt x="702" y="546"/>
                </a:lnTo>
                <a:lnTo>
                  <a:pt x="702" y="546"/>
                </a:lnTo>
                <a:lnTo>
                  <a:pt x="696" y="546"/>
                </a:lnTo>
                <a:lnTo>
                  <a:pt x="696" y="552"/>
                </a:lnTo>
                <a:lnTo>
                  <a:pt x="696" y="552"/>
                </a:lnTo>
                <a:lnTo>
                  <a:pt x="690" y="552"/>
                </a:lnTo>
                <a:lnTo>
                  <a:pt x="690" y="552"/>
                </a:lnTo>
                <a:lnTo>
                  <a:pt x="690" y="552"/>
                </a:lnTo>
                <a:lnTo>
                  <a:pt x="690" y="552"/>
                </a:lnTo>
                <a:lnTo>
                  <a:pt x="684" y="552"/>
                </a:lnTo>
                <a:lnTo>
                  <a:pt x="684" y="552"/>
                </a:lnTo>
                <a:lnTo>
                  <a:pt x="684" y="552"/>
                </a:lnTo>
                <a:lnTo>
                  <a:pt x="678" y="558"/>
                </a:lnTo>
                <a:lnTo>
                  <a:pt x="678" y="558"/>
                </a:lnTo>
                <a:lnTo>
                  <a:pt x="678" y="558"/>
                </a:lnTo>
                <a:lnTo>
                  <a:pt x="678" y="558"/>
                </a:lnTo>
                <a:lnTo>
                  <a:pt x="672" y="558"/>
                </a:lnTo>
                <a:lnTo>
                  <a:pt x="672" y="564"/>
                </a:lnTo>
                <a:lnTo>
                  <a:pt x="672" y="564"/>
                </a:lnTo>
                <a:lnTo>
                  <a:pt x="672" y="564"/>
                </a:lnTo>
                <a:lnTo>
                  <a:pt x="672" y="564"/>
                </a:lnTo>
                <a:lnTo>
                  <a:pt x="666" y="564"/>
                </a:lnTo>
                <a:lnTo>
                  <a:pt x="666" y="564"/>
                </a:lnTo>
                <a:lnTo>
                  <a:pt x="666" y="570"/>
                </a:lnTo>
                <a:lnTo>
                  <a:pt x="666" y="570"/>
                </a:lnTo>
                <a:lnTo>
                  <a:pt x="666" y="570"/>
                </a:lnTo>
                <a:lnTo>
                  <a:pt x="666" y="570"/>
                </a:lnTo>
                <a:lnTo>
                  <a:pt x="666" y="570"/>
                </a:lnTo>
                <a:lnTo>
                  <a:pt x="666" y="576"/>
                </a:lnTo>
                <a:lnTo>
                  <a:pt x="666" y="576"/>
                </a:lnTo>
                <a:lnTo>
                  <a:pt x="666" y="576"/>
                </a:lnTo>
                <a:lnTo>
                  <a:pt x="666" y="582"/>
                </a:lnTo>
                <a:lnTo>
                  <a:pt x="666" y="582"/>
                </a:lnTo>
                <a:lnTo>
                  <a:pt x="666" y="582"/>
                </a:lnTo>
                <a:lnTo>
                  <a:pt x="660" y="582"/>
                </a:lnTo>
                <a:lnTo>
                  <a:pt x="660" y="582"/>
                </a:lnTo>
                <a:lnTo>
                  <a:pt x="660" y="582"/>
                </a:lnTo>
                <a:lnTo>
                  <a:pt x="654" y="582"/>
                </a:lnTo>
                <a:lnTo>
                  <a:pt x="654" y="582"/>
                </a:lnTo>
                <a:lnTo>
                  <a:pt x="654" y="582"/>
                </a:lnTo>
                <a:lnTo>
                  <a:pt x="654" y="582"/>
                </a:lnTo>
                <a:lnTo>
                  <a:pt x="654" y="582"/>
                </a:lnTo>
                <a:lnTo>
                  <a:pt x="654" y="582"/>
                </a:lnTo>
                <a:lnTo>
                  <a:pt x="654" y="582"/>
                </a:lnTo>
                <a:lnTo>
                  <a:pt x="648" y="582"/>
                </a:lnTo>
                <a:lnTo>
                  <a:pt x="648" y="582"/>
                </a:lnTo>
                <a:lnTo>
                  <a:pt x="648" y="582"/>
                </a:lnTo>
                <a:lnTo>
                  <a:pt x="648" y="582"/>
                </a:lnTo>
                <a:lnTo>
                  <a:pt x="642" y="582"/>
                </a:lnTo>
                <a:lnTo>
                  <a:pt x="642" y="582"/>
                </a:lnTo>
                <a:lnTo>
                  <a:pt x="642" y="582"/>
                </a:lnTo>
                <a:lnTo>
                  <a:pt x="636" y="582"/>
                </a:lnTo>
                <a:lnTo>
                  <a:pt x="642" y="582"/>
                </a:lnTo>
                <a:lnTo>
                  <a:pt x="636" y="582"/>
                </a:lnTo>
                <a:lnTo>
                  <a:pt x="636" y="576"/>
                </a:lnTo>
                <a:lnTo>
                  <a:pt x="636" y="576"/>
                </a:lnTo>
                <a:lnTo>
                  <a:pt x="636" y="576"/>
                </a:lnTo>
                <a:lnTo>
                  <a:pt x="636" y="576"/>
                </a:lnTo>
                <a:lnTo>
                  <a:pt x="636" y="576"/>
                </a:lnTo>
                <a:lnTo>
                  <a:pt x="630" y="576"/>
                </a:lnTo>
                <a:lnTo>
                  <a:pt x="630" y="576"/>
                </a:lnTo>
                <a:lnTo>
                  <a:pt x="630" y="576"/>
                </a:lnTo>
                <a:lnTo>
                  <a:pt x="630" y="576"/>
                </a:lnTo>
                <a:lnTo>
                  <a:pt x="630" y="576"/>
                </a:lnTo>
                <a:lnTo>
                  <a:pt x="630" y="576"/>
                </a:lnTo>
                <a:lnTo>
                  <a:pt x="624" y="576"/>
                </a:lnTo>
                <a:lnTo>
                  <a:pt x="624" y="576"/>
                </a:lnTo>
                <a:lnTo>
                  <a:pt x="618" y="582"/>
                </a:lnTo>
                <a:lnTo>
                  <a:pt x="618" y="582"/>
                </a:lnTo>
                <a:lnTo>
                  <a:pt x="618" y="582"/>
                </a:lnTo>
                <a:lnTo>
                  <a:pt x="612" y="576"/>
                </a:lnTo>
                <a:lnTo>
                  <a:pt x="612" y="576"/>
                </a:lnTo>
                <a:lnTo>
                  <a:pt x="612" y="576"/>
                </a:lnTo>
                <a:lnTo>
                  <a:pt x="606" y="576"/>
                </a:lnTo>
                <a:lnTo>
                  <a:pt x="606" y="582"/>
                </a:lnTo>
                <a:lnTo>
                  <a:pt x="606" y="582"/>
                </a:lnTo>
                <a:lnTo>
                  <a:pt x="606" y="582"/>
                </a:lnTo>
                <a:lnTo>
                  <a:pt x="600" y="582"/>
                </a:lnTo>
                <a:lnTo>
                  <a:pt x="600" y="582"/>
                </a:lnTo>
                <a:lnTo>
                  <a:pt x="594" y="582"/>
                </a:lnTo>
                <a:lnTo>
                  <a:pt x="594" y="588"/>
                </a:lnTo>
                <a:lnTo>
                  <a:pt x="594" y="588"/>
                </a:lnTo>
                <a:lnTo>
                  <a:pt x="594" y="582"/>
                </a:lnTo>
                <a:lnTo>
                  <a:pt x="594" y="582"/>
                </a:lnTo>
                <a:lnTo>
                  <a:pt x="594" y="576"/>
                </a:lnTo>
                <a:lnTo>
                  <a:pt x="594" y="576"/>
                </a:lnTo>
                <a:lnTo>
                  <a:pt x="594" y="570"/>
                </a:lnTo>
                <a:lnTo>
                  <a:pt x="588" y="564"/>
                </a:lnTo>
                <a:lnTo>
                  <a:pt x="588" y="564"/>
                </a:lnTo>
                <a:lnTo>
                  <a:pt x="588" y="564"/>
                </a:lnTo>
                <a:lnTo>
                  <a:pt x="582" y="570"/>
                </a:lnTo>
                <a:lnTo>
                  <a:pt x="582" y="570"/>
                </a:lnTo>
                <a:lnTo>
                  <a:pt x="582" y="576"/>
                </a:lnTo>
                <a:lnTo>
                  <a:pt x="582" y="576"/>
                </a:lnTo>
                <a:lnTo>
                  <a:pt x="576" y="576"/>
                </a:lnTo>
                <a:lnTo>
                  <a:pt x="570" y="576"/>
                </a:lnTo>
                <a:lnTo>
                  <a:pt x="570" y="576"/>
                </a:lnTo>
                <a:lnTo>
                  <a:pt x="558" y="582"/>
                </a:lnTo>
                <a:lnTo>
                  <a:pt x="558" y="582"/>
                </a:lnTo>
                <a:lnTo>
                  <a:pt x="558" y="582"/>
                </a:lnTo>
                <a:lnTo>
                  <a:pt x="552" y="588"/>
                </a:lnTo>
                <a:lnTo>
                  <a:pt x="552" y="588"/>
                </a:lnTo>
                <a:lnTo>
                  <a:pt x="552" y="588"/>
                </a:lnTo>
                <a:lnTo>
                  <a:pt x="546" y="588"/>
                </a:lnTo>
                <a:lnTo>
                  <a:pt x="546" y="588"/>
                </a:lnTo>
                <a:lnTo>
                  <a:pt x="546" y="588"/>
                </a:lnTo>
                <a:lnTo>
                  <a:pt x="540" y="582"/>
                </a:lnTo>
                <a:lnTo>
                  <a:pt x="534" y="582"/>
                </a:lnTo>
                <a:lnTo>
                  <a:pt x="534" y="588"/>
                </a:lnTo>
                <a:lnTo>
                  <a:pt x="534" y="582"/>
                </a:lnTo>
                <a:lnTo>
                  <a:pt x="528" y="582"/>
                </a:lnTo>
                <a:lnTo>
                  <a:pt x="522" y="588"/>
                </a:lnTo>
                <a:lnTo>
                  <a:pt x="522" y="588"/>
                </a:lnTo>
                <a:lnTo>
                  <a:pt x="522" y="588"/>
                </a:lnTo>
                <a:lnTo>
                  <a:pt x="522" y="588"/>
                </a:lnTo>
                <a:lnTo>
                  <a:pt x="522" y="588"/>
                </a:lnTo>
                <a:lnTo>
                  <a:pt x="522" y="600"/>
                </a:lnTo>
                <a:lnTo>
                  <a:pt x="516" y="600"/>
                </a:lnTo>
                <a:lnTo>
                  <a:pt x="516" y="600"/>
                </a:lnTo>
                <a:lnTo>
                  <a:pt x="516" y="606"/>
                </a:lnTo>
                <a:lnTo>
                  <a:pt x="516" y="606"/>
                </a:lnTo>
                <a:lnTo>
                  <a:pt x="516" y="600"/>
                </a:lnTo>
                <a:lnTo>
                  <a:pt x="510" y="600"/>
                </a:lnTo>
                <a:lnTo>
                  <a:pt x="510" y="600"/>
                </a:lnTo>
                <a:lnTo>
                  <a:pt x="510" y="600"/>
                </a:lnTo>
                <a:lnTo>
                  <a:pt x="510" y="600"/>
                </a:lnTo>
                <a:lnTo>
                  <a:pt x="504" y="600"/>
                </a:lnTo>
                <a:lnTo>
                  <a:pt x="504" y="600"/>
                </a:lnTo>
                <a:lnTo>
                  <a:pt x="504" y="600"/>
                </a:lnTo>
                <a:lnTo>
                  <a:pt x="504" y="606"/>
                </a:lnTo>
                <a:lnTo>
                  <a:pt x="498" y="606"/>
                </a:lnTo>
                <a:lnTo>
                  <a:pt x="492" y="600"/>
                </a:lnTo>
                <a:lnTo>
                  <a:pt x="492" y="600"/>
                </a:lnTo>
                <a:lnTo>
                  <a:pt x="492" y="606"/>
                </a:lnTo>
                <a:lnTo>
                  <a:pt x="492" y="606"/>
                </a:lnTo>
                <a:lnTo>
                  <a:pt x="492" y="606"/>
                </a:lnTo>
                <a:lnTo>
                  <a:pt x="492" y="606"/>
                </a:lnTo>
                <a:lnTo>
                  <a:pt x="486" y="600"/>
                </a:lnTo>
                <a:lnTo>
                  <a:pt x="486" y="600"/>
                </a:lnTo>
                <a:lnTo>
                  <a:pt x="486" y="606"/>
                </a:lnTo>
                <a:lnTo>
                  <a:pt x="486" y="606"/>
                </a:lnTo>
                <a:lnTo>
                  <a:pt x="486" y="606"/>
                </a:lnTo>
                <a:lnTo>
                  <a:pt x="480" y="606"/>
                </a:lnTo>
                <a:lnTo>
                  <a:pt x="480" y="606"/>
                </a:lnTo>
                <a:lnTo>
                  <a:pt x="480" y="612"/>
                </a:lnTo>
                <a:lnTo>
                  <a:pt x="480" y="612"/>
                </a:lnTo>
                <a:lnTo>
                  <a:pt x="480" y="612"/>
                </a:lnTo>
                <a:lnTo>
                  <a:pt x="474" y="612"/>
                </a:lnTo>
                <a:lnTo>
                  <a:pt x="474" y="606"/>
                </a:lnTo>
                <a:lnTo>
                  <a:pt x="474" y="606"/>
                </a:lnTo>
                <a:lnTo>
                  <a:pt x="468" y="606"/>
                </a:lnTo>
                <a:lnTo>
                  <a:pt x="468" y="606"/>
                </a:lnTo>
                <a:lnTo>
                  <a:pt x="468" y="606"/>
                </a:lnTo>
                <a:lnTo>
                  <a:pt x="468" y="606"/>
                </a:lnTo>
                <a:lnTo>
                  <a:pt x="462" y="606"/>
                </a:lnTo>
                <a:lnTo>
                  <a:pt x="462" y="606"/>
                </a:lnTo>
                <a:lnTo>
                  <a:pt x="462" y="606"/>
                </a:lnTo>
                <a:lnTo>
                  <a:pt x="462" y="612"/>
                </a:lnTo>
                <a:lnTo>
                  <a:pt x="456" y="612"/>
                </a:lnTo>
                <a:lnTo>
                  <a:pt x="456" y="612"/>
                </a:lnTo>
                <a:lnTo>
                  <a:pt x="456" y="612"/>
                </a:lnTo>
                <a:lnTo>
                  <a:pt x="456" y="606"/>
                </a:lnTo>
                <a:lnTo>
                  <a:pt x="456" y="606"/>
                </a:lnTo>
                <a:lnTo>
                  <a:pt x="456" y="612"/>
                </a:lnTo>
                <a:lnTo>
                  <a:pt x="450" y="612"/>
                </a:lnTo>
                <a:lnTo>
                  <a:pt x="450" y="612"/>
                </a:lnTo>
                <a:lnTo>
                  <a:pt x="450" y="612"/>
                </a:lnTo>
                <a:lnTo>
                  <a:pt x="444" y="612"/>
                </a:lnTo>
                <a:lnTo>
                  <a:pt x="444" y="612"/>
                </a:lnTo>
                <a:lnTo>
                  <a:pt x="444" y="612"/>
                </a:lnTo>
                <a:lnTo>
                  <a:pt x="444" y="612"/>
                </a:lnTo>
                <a:lnTo>
                  <a:pt x="444" y="606"/>
                </a:lnTo>
                <a:lnTo>
                  <a:pt x="438" y="606"/>
                </a:lnTo>
                <a:lnTo>
                  <a:pt x="438" y="606"/>
                </a:lnTo>
                <a:lnTo>
                  <a:pt x="438" y="600"/>
                </a:lnTo>
                <a:lnTo>
                  <a:pt x="432" y="600"/>
                </a:lnTo>
                <a:lnTo>
                  <a:pt x="426" y="606"/>
                </a:lnTo>
                <a:lnTo>
                  <a:pt x="426" y="606"/>
                </a:lnTo>
                <a:lnTo>
                  <a:pt x="420" y="600"/>
                </a:lnTo>
                <a:lnTo>
                  <a:pt x="420" y="600"/>
                </a:lnTo>
                <a:lnTo>
                  <a:pt x="420" y="600"/>
                </a:lnTo>
                <a:lnTo>
                  <a:pt x="414" y="600"/>
                </a:lnTo>
                <a:lnTo>
                  <a:pt x="414" y="606"/>
                </a:lnTo>
                <a:lnTo>
                  <a:pt x="414" y="606"/>
                </a:lnTo>
                <a:lnTo>
                  <a:pt x="414" y="606"/>
                </a:lnTo>
                <a:lnTo>
                  <a:pt x="408" y="606"/>
                </a:lnTo>
                <a:lnTo>
                  <a:pt x="402" y="606"/>
                </a:lnTo>
                <a:lnTo>
                  <a:pt x="402" y="612"/>
                </a:lnTo>
                <a:lnTo>
                  <a:pt x="402" y="612"/>
                </a:lnTo>
                <a:lnTo>
                  <a:pt x="396" y="612"/>
                </a:lnTo>
                <a:lnTo>
                  <a:pt x="396" y="612"/>
                </a:lnTo>
                <a:lnTo>
                  <a:pt x="390" y="612"/>
                </a:lnTo>
                <a:lnTo>
                  <a:pt x="390" y="618"/>
                </a:lnTo>
                <a:lnTo>
                  <a:pt x="390" y="618"/>
                </a:lnTo>
                <a:lnTo>
                  <a:pt x="390" y="618"/>
                </a:lnTo>
                <a:lnTo>
                  <a:pt x="384" y="624"/>
                </a:lnTo>
                <a:lnTo>
                  <a:pt x="384" y="624"/>
                </a:lnTo>
                <a:lnTo>
                  <a:pt x="384" y="624"/>
                </a:lnTo>
                <a:lnTo>
                  <a:pt x="378" y="624"/>
                </a:lnTo>
                <a:lnTo>
                  <a:pt x="378" y="624"/>
                </a:lnTo>
                <a:lnTo>
                  <a:pt x="378" y="618"/>
                </a:lnTo>
                <a:lnTo>
                  <a:pt x="372" y="624"/>
                </a:lnTo>
                <a:lnTo>
                  <a:pt x="372" y="624"/>
                </a:lnTo>
                <a:lnTo>
                  <a:pt x="372" y="618"/>
                </a:lnTo>
                <a:lnTo>
                  <a:pt x="372" y="618"/>
                </a:lnTo>
                <a:lnTo>
                  <a:pt x="366" y="618"/>
                </a:lnTo>
                <a:lnTo>
                  <a:pt x="366" y="618"/>
                </a:lnTo>
                <a:lnTo>
                  <a:pt x="366" y="612"/>
                </a:lnTo>
                <a:lnTo>
                  <a:pt x="366" y="612"/>
                </a:lnTo>
                <a:lnTo>
                  <a:pt x="360" y="612"/>
                </a:lnTo>
                <a:lnTo>
                  <a:pt x="360" y="612"/>
                </a:lnTo>
                <a:lnTo>
                  <a:pt x="354" y="612"/>
                </a:lnTo>
                <a:lnTo>
                  <a:pt x="354" y="612"/>
                </a:lnTo>
                <a:lnTo>
                  <a:pt x="348" y="612"/>
                </a:lnTo>
                <a:lnTo>
                  <a:pt x="348" y="618"/>
                </a:lnTo>
                <a:lnTo>
                  <a:pt x="348" y="618"/>
                </a:lnTo>
                <a:lnTo>
                  <a:pt x="348" y="624"/>
                </a:lnTo>
                <a:lnTo>
                  <a:pt x="348" y="618"/>
                </a:lnTo>
                <a:lnTo>
                  <a:pt x="342" y="618"/>
                </a:lnTo>
                <a:lnTo>
                  <a:pt x="342" y="618"/>
                </a:lnTo>
                <a:lnTo>
                  <a:pt x="342" y="618"/>
                </a:lnTo>
                <a:lnTo>
                  <a:pt x="336" y="624"/>
                </a:lnTo>
                <a:lnTo>
                  <a:pt x="336" y="624"/>
                </a:lnTo>
                <a:lnTo>
                  <a:pt x="330" y="624"/>
                </a:lnTo>
                <a:lnTo>
                  <a:pt x="330" y="624"/>
                </a:lnTo>
                <a:lnTo>
                  <a:pt x="330" y="624"/>
                </a:lnTo>
                <a:lnTo>
                  <a:pt x="330" y="624"/>
                </a:lnTo>
                <a:lnTo>
                  <a:pt x="324" y="624"/>
                </a:lnTo>
                <a:lnTo>
                  <a:pt x="324" y="618"/>
                </a:lnTo>
                <a:lnTo>
                  <a:pt x="324" y="618"/>
                </a:lnTo>
                <a:lnTo>
                  <a:pt x="318" y="618"/>
                </a:lnTo>
                <a:lnTo>
                  <a:pt x="318" y="618"/>
                </a:lnTo>
                <a:lnTo>
                  <a:pt x="318" y="618"/>
                </a:lnTo>
                <a:lnTo>
                  <a:pt x="312" y="624"/>
                </a:lnTo>
                <a:lnTo>
                  <a:pt x="312" y="624"/>
                </a:lnTo>
                <a:lnTo>
                  <a:pt x="312" y="630"/>
                </a:lnTo>
                <a:lnTo>
                  <a:pt x="312" y="630"/>
                </a:lnTo>
                <a:lnTo>
                  <a:pt x="306" y="630"/>
                </a:lnTo>
                <a:lnTo>
                  <a:pt x="306" y="636"/>
                </a:lnTo>
                <a:lnTo>
                  <a:pt x="306" y="636"/>
                </a:lnTo>
                <a:lnTo>
                  <a:pt x="306" y="636"/>
                </a:lnTo>
                <a:lnTo>
                  <a:pt x="300" y="642"/>
                </a:lnTo>
                <a:lnTo>
                  <a:pt x="300" y="642"/>
                </a:lnTo>
                <a:lnTo>
                  <a:pt x="300" y="642"/>
                </a:lnTo>
                <a:lnTo>
                  <a:pt x="300" y="642"/>
                </a:lnTo>
                <a:lnTo>
                  <a:pt x="294" y="642"/>
                </a:lnTo>
                <a:lnTo>
                  <a:pt x="294" y="642"/>
                </a:lnTo>
                <a:lnTo>
                  <a:pt x="294" y="642"/>
                </a:lnTo>
                <a:lnTo>
                  <a:pt x="294" y="642"/>
                </a:lnTo>
                <a:lnTo>
                  <a:pt x="294" y="648"/>
                </a:lnTo>
                <a:lnTo>
                  <a:pt x="294" y="648"/>
                </a:lnTo>
                <a:lnTo>
                  <a:pt x="288" y="654"/>
                </a:lnTo>
                <a:lnTo>
                  <a:pt x="288" y="654"/>
                </a:lnTo>
                <a:lnTo>
                  <a:pt x="288" y="654"/>
                </a:lnTo>
                <a:lnTo>
                  <a:pt x="288" y="648"/>
                </a:lnTo>
                <a:lnTo>
                  <a:pt x="288" y="648"/>
                </a:lnTo>
                <a:lnTo>
                  <a:pt x="282" y="648"/>
                </a:lnTo>
                <a:lnTo>
                  <a:pt x="282" y="654"/>
                </a:lnTo>
                <a:lnTo>
                  <a:pt x="282" y="654"/>
                </a:lnTo>
                <a:lnTo>
                  <a:pt x="282" y="654"/>
                </a:lnTo>
                <a:lnTo>
                  <a:pt x="282" y="654"/>
                </a:lnTo>
                <a:lnTo>
                  <a:pt x="282" y="654"/>
                </a:lnTo>
                <a:lnTo>
                  <a:pt x="282" y="654"/>
                </a:lnTo>
                <a:lnTo>
                  <a:pt x="276" y="654"/>
                </a:lnTo>
                <a:lnTo>
                  <a:pt x="276" y="654"/>
                </a:lnTo>
                <a:lnTo>
                  <a:pt x="276" y="654"/>
                </a:lnTo>
                <a:lnTo>
                  <a:pt x="282" y="648"/>
                </a:lnTo>
                <a:lnTo>
                  <a:pt x="282" y="648"/>
                </a:lnTo>
                <a:lnTo>
                  <a:pt x="276" y="648"/>
                </a:lnTo>
                <a:lnTo>
                  <a:pt x="276" y="642"/>
                </a:lnTo>
                <a:lnTo>
                  <a:pt x="270" y="642"/>
                </a:lnTo>
                <a:lnTo>
                  <a:pt x="270" y="642"/>
                </a:lnTo>
                <a:lnTo>
                  <a:pt x="270" y="648"/>
                </a:lnTo>
                <a:lnTo>
                  <a:pt x="270" y="648"/>
                </a:lnTo>
                <a:lnTo>
                  <a:pt x="264" y="648"/>
                </a:lnTo>
                <a:lnTo>
                  <a:pt x="264" y="648"/>
                </a:lnTo>
                <a:lnTo>
                  <a:pt x="264" y="648"/>
                </a:lnTo>
                <a:lnTo>
                  <a:pt x="264" y="648"/>
                </a:lnTo>
                <a:lnTo>
                  <a:pt x="264" y="648"/>
                </a:lnTo>
                <a:lnTo>
                  <a:pt x="264" y="648"/>
                </a:lnTo>
                <a:lnTo>
                  <a:pt x="258" y="648"/>
                </a:lnTo>
                <a:lnTo>
                  <a:pt x="258" y="648"/>
                </a:lnTo>
                <a:lnTo>
                  <a:pt x="258" y="648"/>
                </a:lnTo>
                <a:lnTo>
                  <a:pt x="258" y="648"/>
                </a:lnTo>
                <a:lnTo>
                  <a:pt x="258" y="648"/>
                </a:lnTo>
                <a:lnTo>
                  <a:pt x="258" y="654"/>
                </a:lnTo>
                <a:lnTo>
                  <a:pt x="258" y="654"/>
                </a:lnTo>
                <a:lnTo>
                  <a:pt x="258" y="660"/>
                </a:lnTo>
                <a:lnTo>
                  <a:pt x="252" y="660"/>
                </a:lnTo>
                <a:lnTo>
                  <a:pt x="246" y="660"/>
                </a:lnTo>
                <a:lnTo>
                  <a:pt x="246" y="660"/>
                </a:lnTo>
                <a:lnTo>
                  <a:pt x="240" y="660"/>
                </a:lnTo>
                <a:lnTo>
                  <a:pt x="240" y="660"/>
                </a:lnTo>
                <a:lnTo>
                  <a:pt x="240" y="660"/>
                </a:lnTo>
                <a:lnTo>
                  <a:pt x="240" y="660"/>
                </a:lnTo>
                <a:lnTo>
                  <a:pt x="234" y="660"/>
                </a:lnTo>
                <a:lnTo>
                  <a:pt x="234" y="660"/>
                </a:lnTo>
                <a:lnTo>
                  <a:pt x="234" y="666"/>
                </a:lnTo>
                <a:lnTo>
                  <a:pt x="234" y="666"/>
                </a:lnTo>
                <a:lnTo>
                  <a:pt x="234" y="666"/>
                </a:lnTo>
                <a:lnTo>
                  <a:pt x="234" y="666"/>
                </a:lnTo>
                <a:lnTo>
                  <a:pt x="234" y="672"/>
                </a:lnTo>
                <a:lnTo>
                  <a:pt x="234" y="672"/>
                </a:lnTo>
                <a:lnTo>
                  <a:pt x="234" y="672"/>
                </a:lnTo>
                <a:lnTo>
                  <a:pt x="234" y="672"/>
                </a:lnTo>
                <a:lnTo>
                  <a:pt x="228" y="672"/>
                </a:lnTo>
                <a:lnTo>
                  <a:pt x="228" y="672"/>
                </a:lnTo>
                <a:lnTo>
                  <a:pt x="228" y="672"/>
                </a:lnTo>
                <a:lnTo>
                  <a:pt x="228" y="672"/>
                </a:lnTo>
                <a:lnTo>
                  <a:pt x="228" y="672"/>
                </a:lnTo>
                <a:lnTo>
                  <a:pt x="222" y="672"/>
                </a:lnTo>
                <a:lnTo>
                  <a:pt x="222" y="678"/>
                </a:lnTo>
                <a:lnTo>
                  <a:pt x="216" y="678"/>
                </a:lnTo>
                <a:lnTo>
                  <a:pt x="210" y="678"/>
                </a:lnTo>
                <a:lnTo>
                  <a:pt x="210" y="678"/>
                </a:lnTo>
                <a:lnTo>
                  <a:pt x="204" y="678"/>
                </a:lnTo>
                <a:lnTo>
                  <a:pt x="204" y="684"/>
                </a:lnTo>
                <a:lnTo>
                  <a:pt x="198" y="684"/>
                </a:lnTo>
                <a:lnTo>
                  <a:pt x="198" y="684"/>
                </a:lnTo>
                <a:lnTo>
                  <a:pt x="198" y="684"/>
                </a:lnTo>
                <a:lnTo>
                  <a:pt x="192" y="684"/>
                </a:lnTo>
                <a:lnTo>
                  <a:pt x="192" y="684"/>
                </a:lnTo>
                <a:lnTo>
                  <a:pt x="192" y="684"/>
                </a:lnTo>
                <a:lnTo>
                  <a:pt x="186" y="684"/>
                </a:lnTo>
                <a:lnTo>
                  <a:pt x="186" y="684"/>
                </a:lnTo>
                <a:lnTo>
                  <a:pt x="186" y="684"/>
                </a:lnTo>
                <a:lnTo>
                  <a:pt x="180" y="690"/>
                </a:lnTo>
                <a:lnTo>
                  <a:pt x="180" y="684"/>
                </a:lnTo>
                <a:lnTo>
                  <a:pt x="180" y="684"/>
                </a:lnTo>
                <a:lnTo>
                  <a:pt x="186" y="684"/>
                </a:lnTo>
                <a:lnTo>
                  <a:pt x="180" y="684"/>
                </a:lnTo>
                <a:lnTo>
                  <a:pt x="180" y="678"/>
                </a:lnTo>
                <a:lnTo>
                  <a:pt x="180" y="678"/>
                </a:lnTo>
                <a:lnTo>
                  <a:pt x="180" y="678"/>
                </a:lnTo>
                <a:lnTo>
                  <a:pt x="174" y="672"/>
                </a:lnTo>
                <a:lnTo>
                  <a:pt x="168" y="672"/>
                </a:lnTo>
                <a:lnTo>
                  <a:pt x="168" y="678"/>
                </a:lnTo>
                <a:lnTo>
                  <a:pt x="162" y="678"/>
                </a:lnTo>
                <a:lnTo>
                  <a:pt x="162" y="678"/>
                </a:lnTo>
                <a:lnTo>
                  <a:pt x="156" y="672"/>
                </a:lnTo>
                <a:lnTo>
                  <a:pt x="156" y="672"/>
                </a:lnTo>
                <a:lnTo>
                  <a:pt x="156" y="672"/>
                </a:lnTo>
                <a:lnTo>
                  <a:pt x="156" y="672"/>
                </a:lnTo>
                <a:lnTo>
                  <a:pt x="150" y="672"/>
                </a:lnTo>
                <a:lnTo>
                  <a:pt x="150" y="672"/>
                </a:lnTo>
                <a:lnTo>
                  <a:pt x="150" y="672"/>
                </a:lnTo>
                <a:lnTo>
                  <a:pt x="150" y="666"/>
                </a:lnTo>
                <a:lnTo>
                  <a:pt x="144" y="666"/>
                </a:lnTo>
                <a:lnTo>
                  <a:pt x="144" y="660"/>
                </a:lnTo>
                <a:lnTo>
                  <a:pt x="144" y="660"/>
                </a:lnTo>
                <a:lnTo>
                  <a:pt x="138" y="654"/>
                </a:lnTo>
                <a:lnTo>
                  <a:pt x="144" y="654"/>
                </a:lnTo>
                <a:lnTo>
                  <a:pt x="144" y="654"/>
                </a:lnTo>
                <a:lnTo>
                  <a:pt x="144" y="654"/>
                </a:lnTo>
                <a:lnTo>
                  <a:pt x="144" y="648"/>
                </a:lnTo>
                <a:lnTo>
                  <a:pt x="144" y="648"/>
                </a:lnTo>
                <a:lnTo>
                  <a:pt x="144" y="648"/>
                </a:lnTo>
                <a:lnTo>
                  <a:pt x="138" y="648"/>
                </a:lnTo>
                <a:lnTo>
                  <a:pt x="138" y="648"/>
                </a:lnTo>
                <a:lnTo>
                  <a:pt x="138" y="648"/>
                </a:lnTo>
                <a:lnTo>
                  <a:pt x="132" y="654"/>
                </a:lnTo>
                <a:lnTo>
                  <a:pt x="132" y="654"/>
                </a:lnTo>
                <a:lnTo>
                  <a:pt x="132" y="654"/>
                </a:lnTo>
                <a:lnTo>
                  <a:pt x="126" y="654"/>
                </a:lnTo>
                <a:lnTo>
                  <a:pt x="120" y="660"/>
                </a:lnTo>
                <a:lnTo>
                  <a:pt x="120" y="660"/>
                </a:lnTo>
                <a:lnTo>
                  <a:pt x="120" y="660"/>
                </a:lnTo>
                <a:lnTo>
                  <a:pt x="114" y="660"/>
                </a:lnTo>
                <a:lnTo>
                  <a:pt x="114" y="660"/>
                </a:lnTo>
                <a:lnTo>
                  <a:pt x="108" y="660"/>
                </a:lnTo>
                <a:lnTo>
                  <a:pt x="108" y="660"/>
                </a:lnTo>
                <a:lnTo>
                  <a:pt x="102" y="660"/>
                </a:lnTo>
                <a:lnTo>
                  <a:pt x="96" y="660"/>
                </a:lnTo>
                <a:lnTo>
                  <a:pt x="96" y="660"/>
                </a:lnTo>
                <a:lnTo>
                  <a:pt x="90" y="660"/>
                </a:lnTo>
                <a:lnTo>
                  <a:pt x="90" y="654"/>
                </a:lnTo>
                <a:lnTo>
                  <a:pt x="84" y="654"/>
                </a:lnTo>
                <a:lnTo>
                  <a:pt x="84" y="654"/>
                </a:lnTo>
                <a:lnTo>
                  <a:pt x="84" y="654"/>
                </a:lnTo>
                <a:lnTo>
                  <a:pt x="78" y="648"/>
                </a:lnTo>
                <a:lnTo>
                  <a:pt x="78" y="648"/>
                </a:lnTo>
                <a:lnTo>
                  <a:pt x="72" y="648"/>
                </a:lnTo>
                <a:lnTo>
                  <a:pt x="66" y="648"/>
                </a:lnTo>
                <a:lnTo>
                  <a:pt x="66" y="648"/>
                </a:lnTo>
                <a:lnTo>
                  <a:pt x="60" y="654"/>
                </a:lnTo>
                <a:lnTo>
                  <a:pt x="60" y="654"/>
                </a:lnTo>
                <a:lnTo>
                  <a:pt x="54" y="654"/>
                </a:lnTo>
                <a:lnTo>
                  <a:pt x="54" y="654"/>
                </a:lnTo>
                <a:lnTo>
                  <a:pt x="48" y="654"/>
                </a:lnTo>
                <a:lnTo>
                  <a:pt x="48" y="654"/>
                </a:lnTo>
                <a:lnTo>
                  <a:pt x="48" y="654"/>
                </a:lnTo>
                <a:lnTo>
                  <a:pt x="42" y="654"/>
                </a:lnTo>
                <a:lnTo>
                  <a:pt x="42" y="654"/>
                </a:lnTo>
                <a:lnTo>
                  <a:pt x="42" y="648"/>
                </a:lnTo>
                <a:lnTo>
                  <a:pt x="36" y="648"/>
                </a:lnTo>
                <a:lnTo>
                  <a:pt x="36" y="648"/>
                </a:lnTo>
                <a:lnTo>
                  <a:pt x="36" y="648"/>
                </a:lnTo>
                <a:lnTo>
                  <a:pt x="36" y="648"/>
                </a:lnTo>
                <a:lnTo>
                  <a:pt x="30" y="654"/>
                </a:lnTo>
                <a:lnTo>
                  <a:pt x="30" y="648"/>
                </a:lnTo>
                <a:lnTo>
                  <a:pt x="24" y="654"/>
                </a:lnTo>
                <a:lnTo>
                  <a:pt x="18" y="648"/>
                </a:lnTo>
                <a:lnTo>
                  <a:pt x="18" y="654"/>
                </a:lnTo>
                <a:lnTo>
                  <a:pt x="12" y="654"/>
                </a:lnTo>
                <a:lnTo>
                  <a:pt x="12" y="654"/>
                </a:lnTo>
                <a:lnTo>
                  <a:pt x="12" y="654"/>
                </a:lnTo>
                <a:lnTo>
                  <a:pt x="12" y="654"/>
                </a:lnTo>
                <a:lnTo>
                  <a:pt x="18" y="660"/>
                </a:lnTo>
                <a:lnTo>
                  <a:pt x="12" y="666"/>
                </a:lnTo>
                <a:lnTo>
                  <a:pt x="6" y="678"/>
                </a:lnTo>
                <a:lnTo>
                  <a:pt x="0" y="67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281" name="Freeform 14"/>
          <p:cNvSpPr>
            <a:spLocks/>
          </p:cNvSpPr>
          <p:nvPr/>
        </p:nvSpPr>
        <p:spPr bwMode="auto">
          <a:xfrm>
            <a:off x="4789734" y="2297713"/>
            <a:ext cx="321202" cy="269812"/>
          </a:xfrm>
          <a:custGeom>
            <a:avLst/>
            <a:gdLst>
              <a:gd name="T0" fmla="*/ 132 w 300"/>
              <a:gd name="T1" fmla="*/ 126 h 252"/>
              <a:gd name="T2" fmla="*/ 180 w 300"/>
              <a:gd name="T3" fmla="*/ 108 h 252"/>
              <a:gd name="T4" fmla="*/ 186 w 300"/>
              <a:gd name="T5" fmla="*/ 102 h 252"/>
              <a:gd name="T6" fmla="*/ 186 w 300"/>
              <a:gd name="T7" fmla="*/ 84 h 252"/>
              <a:gd name="T8" fmla="*/ 186 w 300"/>
              <a:gd name="T9" fmla="*/ 60 h 252"/>
              <a:gd name="T10" fmla="*/ 186 w 300"/>
              <a:gd name="T11" fmla="*/ 48 h 252"/>
              <a:gd name="T12" fmla="*/ 192 w 300"/>
              <a:gd name="T13" fmla="*/ 36 h 252"/>
              <a:gd name="T14" fmla="*/ 186 w 300"/>
              <a:gd name="T15" fmla="*/ 30 h 252"/>
              <a:gd name="T16" fmla="*/ 186 w 300"/>
              <a:gd name="T17" fmla="*/ 18 h 252"/>
              <a:gd name="T18" fmla="*/ 186 w 300"/>
              <a:gd name="T19" fmla="*/ 18 h 252"/>
              <a:gd name="T20" fmla="*/ 198 w 300"/>
              <a:gd name="T21" fmla="*/ 6 h 252"/>
              <a:gd name="T22" fmla="*/ 210 w 300"/>
              <a:gd name="T23" fmla="*/ 0 h 252"/>
              <a:gd name="T24" fmla="*/ 210 w 300"/>
              <a:gd name="T25" fmla="*/ 18 h 252"/>
              <a:gd name="T26" fmla="*/ 234 w 300"/>
              <a:gd name="T27" fmla="*/ 36 h 252"/>
              <a:gd name="T28" fmla="*/ 252 w 300"/>
              <a:gd name="T29" fmla="*/ 36 h 252"/>
              <a:gd name="T30" fmla="*/ 252 w 300"/>
              <a:gd name="T31" fmla="*/ 18 h 252"/>
              <a:gd name="T32" fmla="*/ 264 w 300"/>
              <a:gd name="T33" fmla="*/ 18 h 252"/>
              <a:gd name="T34" fmla="*/ 282 w 300"/>
              <a:gd name="T35" fmla="*/ 24 h 252"/>
              <a:gd name="T36" fmla="*/ 294 w 300"/>
              <a:gd name="T37" fmla="*/ 30 h 252"/>
              <a:gd name="T38" fmla="*/ 294 w 300"/>
              <a:gd name="T39" fmla="*/ 54 h 252"/>
              <a:gd name="T40" fmla="*/ 288 w 300"/>
              <a:gd name="T41" fmla="*/ 72 h 252"/>
              <a:gd name="T42" fmla="*/ 294 w 300"/>
              <a:gd name="T43" fmla="*/ 90 h 252"/>
              <a:gd name="T44" fmla="*/ 282 w 300"/>
              <a:gd name="T45" fmla="*/ 90 h 252"/>
              <a:gd name="T46" fmla="*/ 282 w 300"/>
              <a:gd name="T47" fmla="*/ 102 h 252"/>
              <a:gd name="T48" fmla="*/ 288 w 300"/>
              <a:gd name="T49" fmla="*/ 114 h 252"/>
              <a:gd name="T50" fmla="*/ 294 w 300"/>
              <a:gd name="T51" fmla="*/ 126 h 252"/>
              <a:gd name="T52" fmla="*/ 300 w 300"/>
              <a:gd name="T53" fmla="*/ 138 h 252"/>
              <a:gd name="T54" fmla="*/ 294 w 300"/>
              <a:gd name="T55" fmla="*/ 144 h 252"/>
              <a:gd name="T56" fmla="*/ 276 w 300"/>
              <a:gd name="T57" fmla="*/ 150 h 252"/>
              <a:gd name="T58" fmla="*/ 258 w 300"/>
              <a:gd name="T59" fmla="*/ 150 h 252"/>
              <a:gd name="T60" fmla="*/ 252 w 300"/>
              <a:gd name="T61" fmla="*/ 168 h 252"/>
              <a:gd name="T62" fmla="*/ 246 w 300"/>
              <a:gd name="T63" fmla="*/ 186 h 252"/>
              <a:gd name="T64" fmla="*/ 228 w 300"/>
              <a:gd name="T65" fmla="*/ 180 h 252"/>
              <a:gd name="T66" fmla="*/ 222 w 300"/>
              <a:gd name="T67" fmla="*/ 192 h 252"/>
              <a:gd name="T68" fmla="*/ 210 w 300"/>
              <a:gd name="T69" fmla="*/ 192 h 252"/>
              <a:gd name="T70" fmla="*/ 192 w 300"/>
              <a:gd name="T71" fmla="*/ 174 h 252"/>
              <a:gd name="T72" fmla="*/ 180 w 300"/>
              <a:gd name="T73" fmla="*/ 174 h 252"/>
              <a:gd name="T74" fmla="*/ 174 w 300"/>
              <a:gd name="T75" fmla="*/ 162 h 252"/>
              <a:gd name="T76" fmla="*/ 168 w 300"/>
              <a:gd name="T77" fmla="*/ 186 h 252"/>
              <a:gd name="T78" fmla="*/ 156 w 300"/>
              <a:gd name="T79" fmla="*/ 198 h 252"/>
              <a:gd name="T80" fmla="*/ 156 w 300"/>
              <a:gd name="T81" fmla="*/ 210 h 252"/>
              <a:gd name="T82" fmla="*/ 66 w 300"/>
              <a:gd name="T83" fmla="*/ 252 h 252"/>
              <a:gd name="T84" fmla="*/ 36 w 300"/>
              <a:gd name="T85" fmla="*/ 246 h 252"/>
              <a:gd name="T86" fmla="*/ 42 w 300"/>
              <a:gd name="T87" fmla="*/ 240 h 252"/>
              <a:gd name="T88" fmla="*/ 42 w 300"/>
              <a:gd name="T89" fmla="*/ 234 h 252"/>
              <a:gd name="T90" fmla="*/ 42 w 300"/>
              <a:gd name="T91" fmla="*/ 222 h 252"/>
              <a:gd name="T92" fmla="*/ 24 w 300"/>
              <a:gd name="T93" fmla="*/ 210 h 252"/>
              <a:gd name="T94" fmla="*/ 24 w 300"/>
              <a:gd name="T95" fmla="*/ 192 h 252"/>
              <a:gd name="T96" fmla="*/ 6 w 300"/>
              <a:gd name="T97" fmla="*/ 180 h 252"/>
              <a:gd name="T98" fmla="*/ 6 w 300"/>
              <a:gd name="T99" fmla="*/ 174 h 252"/>
              <a:gd name="T100" fmla="*/ 12 w 300"/>
              <a:gd name="T101" fmla="*/ 162 h 252"/>
              <a:gd name="T102" fmla="*/ 18 w 300"/>
              <a:gd name="T103" fmla="*/ 156 h 252"/>
              <a:gd name="T104" fmla="*/ 24 w 300"/>
              <a:gd name="T105" fmla="*/ 138 h 252"/>
              <a:gd name="T106" fmla="*/ 24 w 300"/>
              <a:gd name="T107" fmla="*/ 132 h 252"/>
              <a:gd name="T108" fmla="*/ 30 w 300"/>
              <a:gd name="T109" fmla="*/ 126 h 252"/>
              <a:gd name="T110" fmla="*/ 30 w 300"/>
              <a:gd name="T111" fmla="*/ 120 h 252"/>
              <a:gd name="T112" fmla="*/ 30 w 300"/>
              <a:gd name="T113" fmla="*/ 114 h 252"/>
              <a:gd name="T114" fmla="*/ 24 w 300"/>
              <a:gd name="T115" fmla="*/ 108 h 252"/>
              <a:gd name="T116" fmla="*/ 24 w 300"/>
              <a:gd name="T117" fmla="*/ 114 h 252"/>
              <a:gd name="T118" fmla="*/ 12 w 300"/>
              <a:gd name="T119" fmla="*/ 114 h 252"/>
              <a:gd name="T120" fmla="*/ 12 w 300"/>
              <a:gd name="T121" fmla="*/ 114 h 252"/>
              <a:gd name="T122" fmla="*/ 6 w 300"/>
              <a:gd name="T123" fmla="*/ 108 h 2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00" h="252">
                <a:moveTo>
                  <a:pt x="6" y="108"/>
                </a:moveTo>
                <a:lnTo>
                  <a:pt x="36" y="108"/>
                </a:lnTo>
                <a:lnTo>
                  <a:pt x="60" y="114"/>
                </a:lnTo>
                <a:lnTo>
                  <a:pt x="60" y="114"/>
                </a:lnTo>
                <a:lnTo>
                  <a:pt x="90" y="114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6"/>
                </a:lnTo>
                <a:lnTo>
                  <a:pt x="132" y="126"/>
                </a:lnTo>
                <a:lnTo>
                  <a:pt x="168" y="126"/>
                </a:lnTo>
                <a:lnTo>
                  <a:pt x="180" y="126"/>
                </a:lnTo>
                <a:lnTo>
                  <a:pt x="174" y="120"/>
                </a:lnTo>
                <a:lnTo>
                  <a:pt x="180" y="120"/>
                </a:lnTo>
                <a:lnTo>
                  <a:pt x="174" y="120"/>
                </a:lnTo>
                <a:lnTo>
                  <a:pt x="180" y="120"/>
                </a:lnTo>
                <a:lnTo>
                  <a:pt x="180" y="120"/>
                </a:lnTo>
                <a:lnTo>
                  <a:pt x="180" y="114"/>
                </a:lnTo>
                <a:lnTo>
                  <a:pt x="180" y="108"/>
                </a:lnTo>
                <a:lnTo>
                  <a:pt x="180" y="108"/>
                </a:lnTo>
                <a:lnTo>
                  <a:pt x="180" y="108"/>
                </a:lnTo>
                <a:lnTo>
                  <a:pt x="180" y="108"/>
                </a:lnTo>
                <a:lnTo>
                  <a:pt x="180" y="108"/>
                </a:lnTo>
                <a:lnTo>
                  <a:pt x="180" y="102"/>
                </a:lnTo>
                <a:lnTo>
                  <a:pt x="186" y="102"/>
                </a:lnTo>
                <a:lnTo>
                  <a:pt x="186" y="102"/>
                </a:lnTo>
                <a:lnTo>
                  <a:pt x="186" y="102"/>
                </a:lnTo>
                <a:lnTo>
                  <a:pt x="186" y="102"/>
                </a:lnTo>
                <a:lnTo>
                  <a:pt x="186" y="102"/>
                </a:lnTo>
                <a:lnTo>
                  <a:pt x="186" y="102"/>
                </a:lnTo>
                <a:lnTo>
                  <a:pt x="186" y="102"/>
                </a:lnTo>
                <a:lnTo>
                  <a:pt x="186" y="102"/>
                </a:lnTo>
                <a:lnTo>
                  <a:pt x="192" y="102"/>
                </a:lnTo>
                <a:lnTo>
                  <a:pt x="192" y="96"/>
                </a:lnTo>
                <a:lnTo>
                  <a:pt x="192" y="96"/>
                </a:lnTo>
                <a:lnTo>
                  <a:pt x="192" y="96"/>
                </a:lnTo>
                <a:lnTo>
                  <a:pt x="192" y="96"/>
                </a:lnTo>
                <a:lnTo>
                  <a:pt x="192" y="96"/>
                </a:lnTo>
                <a:lnTo>
                  <a:pt x="192" y="90"/>
                </a:lnTo>
                <a:lnTo>
                  <a:pt x="186" y="84"/>
                </a:lnTo>
                <a:lnTo>
                  <a:pt x="186" y="84"/>
                </a:lnTo>
                <a:lnTo>
                  <a:pt x="192" y="84"/>
                </a:lnTo>
                <a:lnTo>
                  <a:pt x="192" y="78"/>
                </a:lnTo>
                <a:lnTo>
                  <a:pt x="192" y="78"/>
                </a:lnTo>
                <a:lnTo>
                  <a:pt x="192" y="72"/>
                </a:lnTo>
                <a:lnTo>
                  <a:pt x="186" y="66"/>
                </a:lnTo>
                <a:lnTo>
                  <a:pt x="192" y="60"/>
                </a:lnTo>
                <a:lnTo>
                  <a:pt x="192" y="60"/>
                </a:lnTo>
                <a:lnTo>
                  <a:pt x="186" y="60"/>
                </a:lnTo>
                <a:lnTo>
                  <a:pt x="186" y="60"/>
                </a:lnTo>
                <a:lnTo>
                  <a:pt x="186" y="54"/>
                </a:lnTo>
                <a:lnTo>
                  <a:pt x="186" y="60"/>
                </a:lnTo>
                <a:lnTo>
                  <a:pt x="186" y="54"/>
                </a:lnTo>
                <a:lnTo>
                  <a:pt x="186" y="54"/>
                </a:lnTo>
                <a:lnTo>
                  <a:pt x="186" y="54"/>
                </a:lnTo>
                <a:lnTo>
                  <a:pt x="192" y="54"/>
                </a:lnTo>
                <a:lnTo>
                  <a:pt x="192" y="48"/>
                </a:lnTo>
                <a:lnTo>
                  <a:pt x="192" y="48"/>
                </a:lnTo>
                <a:lnTo>
                  <a:pt x="186" y="48"/>
                </a:lnTo>
                <a:lnTo>
                  <a:pt x="186" y="48"/>
                </a:lnTo>
                <a:lnTo>
                  <a:pt x="192" y="42"/>
                </a:lnTo>
                <a:lnTo>
                  <a:pt x="192" y="42"/>
                </a:lnTo>
                <a:lnTo>
                  <a:pt x="192" y="42"/>
                </a:lnTo>
                <a:lnTo>
                  <a:pt x="192" y="42"/>
                </a:lnTo>
                <a:lnTo>
                  <a:pt x="192" y="42"/>
                </a:lnTo>
                <a:lnTo>
                  <a:pt x="192" y="36"/>
                </a:lnTo>
                <a:lnTo>
                  <a:pt x="192" y="36"/>
                </a:lnTo>
                <a:lnTo>
                  <a:pt x="192" y="36"/>
                </a:lnTo>
                <a:lnTo>
                  <a:pt x="192" y="36"/>
                </a:lnTo>
                <a:lnTo>
                  <a:pt x="192" y="36"/>
                </a:lnTo>
                <a:lnTo>
                  <a:pt x="192" y="36"/>
                </a:lnTo>
                <a:lnTo>
                  <a:pt x="192" y="36"/>
                </a:lnTo>
                <a:lnTo>
                  <a:pt x="192" y="36"/>
                </a:lnTo>
                <a:lnTo>
                  <a:pt x="192" y="36"/>
                </a:lnTo>
                <a:lnTo>
                  <a:pt x="192" y="30"/>
                </a:lnTo>
                <a:lnTo>
                  <a:pt x="192" y="30"/>
                </a:lnTo>
                <a:lnTo>
                  <a:pt x="192" y="30"/>
                </a:lnTo>
                <a:lnTo>
                  <a:pt x="192" y="30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86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18"/>
                </a:lnTo>
                <a:lnTo>
                  <a:pt x="192" y="18"/>
                </a:lnTo>
                <a:lnTo>
                  <a:pt x="192" y="18"/>
                </a:lnTo>
                <a:lnTo>
                  <a:pt x="198" y="18"/>
                </a:lnTo>
                <a:lnTo>
                  <a:pt x="198" y="18"/>
                </a:lnTo>
                <a:lnTo>
                  <a:pt x="198" y="18"/>
                </a:lnTo>
                <a:lnTo>
                  <a:pt x="198" y="12"/>
                </a:lnTo>
                <a:lnTo>
                  <a:pt x="204" y="12"/>
                </a:lnTo>
                <a:lnTo>
                  <a:pt x="198" y="12"/>
                </a:lnTo>
                <a:lnTo>
                  <a:pt x="204" y="6"/>
                </a:lnTo>
                <a:lnTo>
                  <a:pt x="198" y="6"/>
                </a:lnTo>
                <a:lnTo>
                  <a:pt x="204" y="6"/>
                </a:lnTo>
                <a:lnTo>
                  <a:pt x="198" y="6"/>
                </a:lnTo>
                <a:lnTo>
                  <a:pt x="204" y="6"/>
                </a:lnTo>
                <a:lnTo>
                  <a:pt x="198" y="0"/>
                </a:lnTo>
                <a:lnTo>
                  <a:pt x="198" y="0"/>
                </a:lnTo>
                <a:lnTo>
                  <a:pt x="198" y="0"/>
                </a:lnTo>
                <a:lnTo>
                  <a:pt x="198" y="0"/>
                </a:lnTo>
                <a:lnTo>
                  <a:pt x="204" y="0"/>
                </a:lnTo>
                <a:lnTo>
                  <a:pt x="204" y="0"/>
                </a:lnTo>
                <a:lnTo>
                  <a:pt x="210" y="0"/>
                </a:lnTo>
                <a:lnTo>
                  <a:pt x="210" y="6"/>
                </a:lnTo>
                <a:lnTo>
                  <a:pt x="210" y="6"/>
                </a:lnTo>
                <a:lnTo>
                  <a:pt x="210" y="6"/>
                </a:lnTo>
                <a:lnTo>
                  <a:pt x="204" y="6"/>
                </a:lnTo>
                <a:lnTo>
                  <a:pt x="204" y="12"/>
                </a:lnTo>
                <a:lnTo>
                  <a:pt x="210" y="12"/>
                </a:lnTo>
                <a:lnTo>
                  <a:pt x="210" y="12"/>
                </a:lnTo>
                <a:lnTo>
                  <a:pt x="210" y="18"/>
                </a:lnTo>
                <a:lnTo>
                  <a:pt x="210" y="18"/>
                </a:lnTo>
                <a:lnTo>
                  <a:pt x="210" y="18"/>
                </a:lnTo>
                <a:lnTo>
                  <a:pt x="216" y="18"/>
                </a:lnTo>
                <a:lnTo>
                  <a:pt x="210" y="18"/>
                </a:lnTo>
                <a:lnTo>
                  <a:pt x="210" y="24"/>
                </a:lnTo>
                <a:lnTo>
                  <a:pt x="216" y="30"/>
                </a:lnTo>
                <a:lnTo>
                  <a:pt x="222" y="30"/>
                </a:lnTo>
                <a:lnTo>
                  <a:pt x="222" y="30"/>
                </a:lnTo>
                <a:lnTo>
                  <a:pt x="228" y="30"/>
                </a:lnTo>
                <a:lnTo>
                  <a:pt x="228" y="30"/>
                </a:lnTo>
                <a:lnTo>
                  <a:pt x="228" y="30"/>
                </a:lnTo>
                <a:lnTo>
                  <a:pt x="234" y="36"/>
                </a:lnTo>
                <a:lnTo>
                  <a:pt x="234" y="36"/>
                </a:lnTo>
                <a:lnTo>
                  <a:pt x="234" y="42"/>
                </a:lnTo>
                <a:lnTo>
                  <a:pt x="234" y="42"/>
                </a:lnTo>
                <a:lnTo>
                  <a:pt x="234" y="42"/>
                </a:lnTo>
                <a:lnTo>
                  <a:pt x="240" y="42"/>
                </a:lnTo>
                <a:lnTo>
                  <a:pt x="240" y="42"/>
                </a:lnTo>
                <a:lnTo>
                  <a:pt x="246" y="42"/>
                </a:lnTo>
                <a:lnTo>
                  <a:pt x="246" y="36"/>
                </a:lnTo>
                <a:lnTo>
                  <a:pt x="246" y="36"/>
                </a:lnTo>
                <a:lnTo>
                  <a:pt x="252" y="36"/>
                </a:lnTo>
                <a:lnTo>
                  <a:pt x="252" y="36"/>
                </a:lnTo>
                <a:lnTo>
                  <a:pt x="252" y="36"/>
                </a:lnTo>
                <a:lnTo>
                  <a:pt x="252" y="30"/>
                </a:lnTo>
                <a:lnTo>
                  <a:pt x="252" y="30"/>
                </a:lnTo>
                <a:lnTo>
                  <a:pt x="252" y="30"/>
                </a:lnTo>
                <a:lnTo>
                  <a:pt x="252" y="30"/>
                </a:lnTo>
                <a:lnTo>
                  <a:pt x="252" y="24"/>
                </a:lnTo>
                <a:lnTo>
                  <a:pt x="252" y="24"/>
                </a:lnTo>
                <a:lnTo>
                  <a:pt x="252" y="18"/>
                </a:lnTo>
                <a:lnTo>
                  <a:pt x="252" y="18"/>
                </a:lnTo>
                <a:lnTo>
                  <a:pt x="258" y="24"/>
                </a:lnTo>
                <a:lnTo>
                  <a:pt x="258" y="24"/>
                </a:lnTo>
                <a:lnTo>
                  <a:pt x="264" y="24"/>
                </a:lnTo>
                <a:lnTo>
                  <a:pt x="264" y="24"/>
                </a:lnTo>
                <a:lnTo>
                  <a:pt x="264" y="18"/>
                </a:lnTo>
                <a:lnTo>
                  <a:pt x="264" y="18"/>
                </a:lnTo>
                <a:lnTo>
                  <a:pt x="264" y="18"/>
                </a:lnTo>
                <a:lnTo>
                  <a:pt x="264" y="18"/>
                </a:lnTo>
                <a:lnTo>
                  <a:pt x="264" y="18"/>
                </a:lnTo>
                <a:lnTo>
                  <a:pt x="264" y="18"/>
                </a:lnTo>
                <a:lnTo>
                  <a:pt x="270" y="18"/>
                </a:lnTo>
                <a:lnTo>
                  <a:pt x="270" y="12"/>
                </a:lnTo>
                <a:lnTo>
                  <a:pt x="270" y="18"/>
                </a:lnTo>
                <a:lnTo>
                  <a:pt x="270" y="18"/>
                </a:lnTo>
                <a:lnTo>
                  <a:pt x="276" y="18"/>
                </a:lnTo>
                <a:lnTo>
                  <a:pt x="276" y="18"/>
                </a:lnTo>
                <a:lnTo>
                  <a:pt x="276" y="18"/>
                </a:lnTo>
                <a:lnTo>
                  <a:pt x="282" y="18"/>
                </a:lnTo>
                <a:lnTo>
                  <a:pt x="282" y="18"/>
                </a:lnTo>
                <a:lnTo>
                  <a:pt x="282" y="24"/>
                </a:lnTo>
                <a:lnTo>
                  <a:pt x="282" y="24"/>
                </a:lnTo>
                <a:lnTo>
                  <a:pt x="282" y="30"/>
                </a:lnTo>
                <a:lnTo>
                  <a:pt x="288" y="30"/>
                </a:lnTo>
                <a:lnTo>
                  <a:pt x="288" y="30"/>
                </a:lnTo>
                <a:lnTo>
                  <a:pt x="288" y="30"/>
                </a:lnTo>
                <a:lnTo>
                  <a:pt x="288" y="30"/>
                </a:lnTo>
                <a:lnTo>
                  <a:pt x="288" y="30"/>
                </a:lnTo>
                <a:lnTo>
                  <a:pt x="294" y="30"/>
                </a:lnTo>
                <a:lnTo>
                  <a:pt x="294" y="30"/>
                </a:lnTo>
                <a:lnTo>
                  <a:pt x="294" y="30"/>
                </a:lnTo>
                <a:lnTo>
                  <a:pt x="294" y="30"/>
                </a:lnTo>
                <a:lnTo>
                  <a:pt x="294" y="36"/>
                </a:lnTo>
                <a:lnTo>
                  <a:pt x="294" y="36"/>
                </a:lnTo>
                <a:lnTo>
                  <a:pt x="294" y="36"/>
                </a:lnTo>
                <a:lnTo>
                  <a:pt x="300" y="42"/>
                </a:lnTo>
                <a:lnTo>
                  <a:pt x="300" y="42"/>
                </a:lnTo>
                <a:lnTo>
                  <a:pt x="300" y="42"/>
                </a:lnTo>
                <a:lnTo>
                  <a:pt x="300" y="48"/>
                </a:lnTo>
                <a:lnTo>
                  <a:pt x="300" y="48"/>
                </a:lnTo>
                <a:lnTo>
                  <a:pt x="294" y="54"/>
                </a:lnTo>
                <a:lnTo>
                  <a:pt x="294" y="60"/>
                </a:lnTo>
                <a:lnTo>
                  <a:pt x="294" y="60"/>
                </a:lnTo>
                <a:lnTo>
                  <a:pt x="294" y="60"/>
                </a:lnTo>
                <a:lnTo>
                  <a:pt x="294" y="66"/>
                </a:lnTo>
                <a:lnTo>
                  <a:pt x="294" y="66"/>
                </a:lnTo>
                <a:lnTo>
                  <a:pt x="288" y="66"/>
                </a:lnTo>
                <a:lnTo>
                  <a:pt x="288" y="66"/>
                </a:lnTo>
                <a:lnTo>
                  <a:pt x="288" y="66"/>
                </a:lnTo>
                <a:lnTo>
                  <a:pt x="288" y="72"/>
                </a:lnTo>
                <a:lnTo>
                  <a:pt x="288" y="72"/>
                </a:lnTo>
                <a:lnTo>
                  <a:pt x="294" y="72"/>
                </a:lnTo>
                <a:lnTo>
                  <a:pt x="294" y="78"/>
                </a:lnTo>
                <a:lnTo>
                  <a:pt x="294" y="78"/>
                </a:lnTo>
                <a:lnTo>
                  <a:pt x="294" y="78"/>
                </a:lnTo>
                <a:lnTo>
                  <a:pt x="294" y="78"/>
                </a:lnTo>
                <a:lnTo>
                  <a:pt x="294" y="78"/>
                </a:lnTo>
                <a:lnTo>
                  <a:pt x="294" y="84"/>
                </a:lnTo>
                <a:lnTo>
                  <a:pt x="294" y="84"/>
                </a:lnTo>
                <a:lnTo>
                  <a:pt x="294" y="90"/>
                </a:lnTo>
                <a:lnTo>
                  <a:pt x="294" y="90"/>
                </a:lnTo>
                <a:lnTo>
                  <a:pt x="294" y="90"/>
                </a:lnTo>
                <a:lnTo>
                  <a:pt x="288" y="90"/>
                </a:lnTo>
                <a:lnTo>
                  <a:pt x="288" y="84"/>
                </a:lnTo>
                <a:lnTo>
                  <a:pt x="288" y="84"/>
                </a:lnTo>
                <a:lnTo>
                  <a:pt x="288" y="90"/>
                </a:lnTo>
                <a:lnTo>
                  <a:pt x="282" y="90"/>
                </a:lnTo>
                <a:lnTo>
                  <a:pt x="282" y="90"/>
                </a:lnTo>
                <a:lnTo>
                  <a:pt x="282" y="90"/>
                </a:lnTo>
                <a:lnTo>
                  <a:pt x="282" y="90"/>
                </a:lnTo>
                <a:lnTo>
                  <a:pt x="282" y="90"/>
                </a:lnTo>
                <a:lnTo>
                  <a:pt x="282" y="90"/>
                </a:lnTo>
                <a:lnTo>
                  <a:pt x="282" y="90"/>
                </a:lnTo>
                <a:lnTo>
                  <a:pt x="282" y="90"/>
                </a:lnTo>
                <a:lnTo>
                  <a:pt x="282" y="96"/>
                </a:lnTo>
                <a:lnTo>
                  <a:pt x="282" y="96"/>
                </a:lnTo>
                <a:lnTo>
                  <a:pt x="282" y="96"/>
                </a:lnTo>
                <a:lnTo>
                  <a:pt x="282" y="102"/>
                </a:lnTo>
                <a:lnTo>
                  <a:pt x="282" y="102"/>
                </a:lnTo>
                <a:lnTo>
                  <a:pt x="282" y="102"/>
                </a:lnTo>
                <a:lnTo>
                  <a:pt x="282" y="102"/>
                </a:lnTo>
                <a:lnTo>
                  <a:pt x="282" y="102"/>
                </a:lnTo>
                <a:lnTo>
                  <a:pt x="288" y="102"/>
                </a:lnTo>
                <a:lnTo>
                  <a:pt x="288" y="102"/>
                </a:lnTo>
                <a:lnTo>
                  <a:pt x="288" y="108"/>
                </a:lnTo>
                <a:lnTo>
                  <a:pt x="288" y="108"/>
                </a:lnTo>
                <a:lnTo>
                  <a:pt x="288" y="108"/>
                </a:lnTo>
                <a:lnTo>
                  <a:pt x="288" y="108"/>
                </a:lnTo>
                <a:lnTo>
                  <a:pt x="288" y="108"/>
                </a:lnTo>
                <a:lnTo>
                  <a:pt x="288" y="108"/>
                </a:lnTo>
                <a:lnTo>
                  <a:pt x="288" y="114"/>
                </a:lnTo>
                <a:lnTo>
                  <a:pt x="288" y="114"/>
                </a:lnTo>
                <a:lnTo>
                  <a:pt x="288" y="114"/>
                </a:lnTo>
                <a:lnTo>
                  <a:pt x="288" y="114"/>
                </a:lnTo>
                <a:lnTo>
                  <a:pt x="288" y="120"/>
                </a:lnTo>
                <a:lnTo>
                  <a:pt x="288" y="120"/>
                </a:lnTo>
                <a:lnTo>
                  <a:pt x="288" y="120"/>
                </a:lnTo>
                <a:lnTo>
                  <a:pt x="294" y="120"/>
                </a:lnTo>
                <a:lnTo>
                  <a:pt x="294" y="120"/>
                </a:lnTo>
                <a:lnTo>
                  <a:pt x="294" y="120"/>
                </a:lnTo>
                <a:lnTo>
                  <a:pt x="294" y="126"/>
                </a:lnTo>
                <a:lnTo>
                  <a:pt x="294" y="126"/>
                </a:lnTo>
                <a:lnTo>
                  <a:pt x="294" y="126"/>
                </a:lnTo>
                <a:lnTo>
                  <a:pt x="294" y="126"/>
                </a:lnTo>
                <a:lnTo>
                  <a:pt x="294" y="132"/>
                </a:lnTo>
                <a:lnTo>
                  <a:pt x="294" y="132"/>
                </a:lnTo>
                <a:lnTo>
                  <a:pt x="300" y="132"/>
                </a:lnTo>
                <a:lnTo>
                  <a:pt x="300" y="132"/>
                </a:lnTo>
                <a:lnTo>
                  <a:pt x="300" y="132"/>
                </a:lnTo>
                <a:lnTo>
                  <a:pt x="300" y="138"/>
                </a:lnTo>
                <a:lnTo>
                  <a:pt x="300" y="138"/>
                </a:lnTo>
                <a:lnTo>
                  <a:pt x="300" y="138"/>
                </a:lnTo>
                <a:lnTo>
                  <a:pt x="300" y="138"/>
                </a:lnTo>
                <a:lnTo>
                  <a:pt x="300" y="138"/>
                </a:lnTo>
                <a:lnTo>
                  <a:pt x="300" y="138"/>
                </a:lnTo>
                <a:lnTo>
                  <a:pt x="300" y="138"/>
                </a:lnTo>
                <a:lnTo>
                  <a:pt x="300" y="144"/>
                </a:lnTo>
                <a:lnTo>
                  <a:pt x="294" y="144"/>
                </a:lnTo>
                <a:lnTo>
                  <a:pt x="300" y="144"/>
                </a:lnTo>
                <a:lnTo>
                  <a:pt x="294" y="144"/>
                </a:lnTo>
                <a:lnTo>
                  <a:pt x="294" y="144"/>
                </a:lnTo>
                <a:lnTo>
                  <a:pt x="294" y="150"/>
                </a:lnTo>
                <a:lnTo>
                  <a:pt x="294" y="150"/>
                </a:lnTo>
                <a:lnTo>
                  <a:pt x="288" y="150"/>
                </a:lnTo>
                <a:lnTo>
                  <a:pt x="288" y="150"/>
                </a:lnTo>
                <a:lnTo>
                  <a:pt x="282" y="144"/>
                </a:lnTo>
                <a:lnTo>
                  <a:pt x="282" y="144"/>
                </a:lnTo>
                <a:lnTo>
                  <a:pt x="282" y="144"/>
                </a:lnTo>
                <a:lnTo>
                  <a:pt x="282" y="144"/>
                </a:lnTo>
                <a:lnTo>
                  <a:pt x="276" y="150"/>
                </a:lnTo>
                <a:lnTo>
                  <a:pt x="276" y="150"/>
                </a:lnTo>
                <a:lnTo>
                  <a:pt x="276" y="150"/>
                </a:lnTo>
                <a:lnTo>
                  <a:pt x="276" y="150"/>
                </a:lnTo>
                <a:lnTo>
                  <a:pt x="270" y="150"/>
                </a:lnTo>
                <a:lnTo>
                  <a:pt x="270" y="150"/>
                </a:lnTo>
                <a:lnTo>
                  <a:pt x="270" y="150"/>
                </a:lnTo>
                <a:lnTo>
                  <a:pt x="264" y="150"/>
                </a:lnTo>
                <a:lnTo>
                  <a:pt x="264" y="150"/>
                </a:lnTo>
                <a:lnTo>
                  <a:pt x="258" y="150"/>
                </a:lnTo>
                <a:lnTo>
                  <a:pt x="258" y="150"/>
                </a:lnTo>
                <a:lnTo>
                  <a:pt x="258" y="150"/>
                </a:lnTo>
                <a:lnTo>
                  <a:pt x="258" y="156"/>
                </a:lnTo>
                <a:lnTo>
                  <a:pt x="258" y="156"/>
                </a:lnTo>
                <a:lnTo>
                  <a:pt x="258" y="156"/>
                </a:lnTo>
                <a:lnTo>
                  <a:pt x="258" y="162"/>
                </a:lnTo>
                <a:lnTo>
                  <a:pt x="252" y="162"/>
                </a:lnTo>
                <a:lnTo>
                  <a:pt x="252" y="162"/>
                </a:lnTo>
                <a:lnTo>
                  <a:pt x="252" y="162"/>
                </a:lnTo>
                <a:lnTo>
                  <a:pt x="252" y="168"/>
                </a:lnTo>
                <a:lnTo>
                  <a:pt x="252" y="168"/>
                </a:lnTo>
                <a:lnTo>
                  <a:pt x="252" y="168"/>
                </a:lnTo>
                <a:lnTo>
                  <a:pt x="252" y="168"/>
                </a:lnTo>
                <a:lnTo>
                  <a:pt x="246" y="174"/>
                </a:lnTo>
                <a:lnTo>
                  <a:pt x="252" y="180"/>
                </a:lnTo>
                <a:lnTo>
                  <a:pt x="252" y="180"/>
                </a:lnTo>
                <a:lnTo>
                  <a:pt x="252" y="186"/>
                </a:lnTo>
                <a:lnTo>
                  <a:pt x="252" y="186"/>
                </a:lnTo>
                <a:lnTo>
                  <a:pt x="246" y="186"/>
                </a:lnTo>
                <a:lnTo>
                  <a:pt x="246" y="180"/>
                </a:lnTo>
                <a:lnTo>
                  <a:pt x="246" y="186"/>
                </a:lnTo>
                <a:lnTo>
                  <a:pt x="246" y="186"/>
                </a:lnTo>
                <a:lnTo>
                  <a:pt x="240" y="180"/>
                </a:lnTo>
                <a:lnTo>
                  <a:pt x="240" y="180"/>
                </a:lnTo>
                <a:lnTo>
                  <a:pt x="240" y="180"/>
                </a:lnTo>
                <a:lnTo>
                  <a:pt x="240" y="180"/>
                </a:lnTo>
                <a:lnTo>
                  <a:pt x="240" y="180"/>
                </a:lnTo>
                <a:lnTo>
                  <a:pt x="240" y="180"/>
                </a:lnTo>
                <a:lnTo>
                  <a:pt x="228" y="180"/>
                </a:lnTo>
                <a:lnTo>
                  <a:pt x="228" y="180"/>
                </a:lnTo>
                <a:lnTo>
                  <a:pt x="228" y="180"/>
                </a:lnTo>
                <a:lnTo>
                  <a:pt x="228" y="180"/>
                </a:lnTo>
                <a:lnTo>
                  <a:pt x="228" y="186"/>
                </a:lnTo>
                <a:lnTo>
                  <a:pt x="222" y="186"/>
                </a:lnTo>
                <a:lnTo>
                  <a:pt x="222" y="186"/>
                </a:lnTo>
                <a:lnTo>
                  <a:pt x="222" y="186"/>
                </a:lnTo>
                <a:lnTo>
                  <a:pt x="222" y="186"/>
                </a:lnTo>
                <a:lnTo>
                  <a:pt x="222" y="186"/>
                </a:lnTo>
                <a:lnTo>
                  <a:pt x="222" y="186"/>
                </a:lnTo>
                <a:lnTo>
                  <a:pt x="222" y="186"/>
                </a:lnTo>
                <a:lnTo>
                  <a:pt x="222" y="192"/>
                </a:lnTo>
                <a:lnTo>
                  <a:pt x="222" y="192"/>
                </a:lnTo>
                <a:lnTo>
                  <a:pt x="222" y="192"/>
                </a:lnTo>
                <a:lnTo>
                  <a:pt x="222" y="192"/>
                </a:lnTo>
                <a:lnTo>
                  <a:pt x="216" y="192"/>
                </a:lnTo>
                <a:lnTo>
                  <a:pt x="216" y="192"/>
                </a:lnTo>
                <a:lnTo>
                  <a:pt x="216" y="192"/>
                </a:lnTo>
                <a:lnTo>
                  <a:pt x="216" y="192"/>
                </a:lnTo>
                <a:lnTo>
                  <a:pt x="210" y="192"/>
                </a:lnTo>
                <a:lnTo>
                  <a:pt x="210" y="192"/>
                </a:lnTo>
                <a:lnTo>
                  <a:pt x="210" y="192"/>
                </a:lnTo>
                <a:lnTo>
                  <a:pt x="210" y="192"/>
                </a:lnTo>
                <a:lnTo>
                  <a:pt x="204" y="192"/>
                </a:lnTo>
                <a:lnTo>
                  <a:pt x="204" y="192"/>
                </a:lnTo>
                <a:lnTo>
                  <a:pt x="204" y="186"/>
                </a:lnTo>
                <a:lnTo>
                  <a:pt x="204" y="186"/>
                </a:lnTo>
                <a:lnTo>
                  <a:pt x="198" y="186"/>
                </a:lnTo>
                <a:lnTo>
                  <a:pt x="198" y="180"/>
                </a:lnTo>
                <a:lnTo>
                  <a:pt x="198" y="180"/>
                </a:lnTo>
                <a:lnTo>
                  <a:pt x="198" y="180"/>
                </a:lnTo>
                <a:lnTo>
                  <a:pt x="192" y="180"/>
                </a:lnTo>
                <a:lnTo>
                  <a:pt x="192" y="174"/>
                </a:lnTo>
                <a:lnTo>
                  <a:pt x="192" y="174"/>
                </a:lnTo>
                <a:lnTo>
                  <a:pt x="192" y="174"/>
                </a:lnTo>
                <a:lnTo>
                  <a:pt x="192" y="174"/>
                </a:lnTo>
                <a:lnTo>
                  <a:pt x="186" y="174"/>
                </a:lnTo>
                <a:lnTo>
                  <a:pt x="186" y="174"/>
                </a:lnTo>
                <a:lnTo>
                  <a:pt x="186" y="174"/>
                </a:lnTo>
                <a:lnTo>
                  <a:pt x="180" y="174"/>
                </a:lnTo>
                <a:lnTo>
                  <a:pt x="180" y="174"/>
                </a:lnTo>
                <a:lnTo>
                  <a:pt x="180" y="174"/>
                </a:lnTo>
                <a:lnTo>
                  <a:pt x="180" y="174"/>
                </a:lnTo>
                <a:lnTo>
                  <a:pt x="180" y="168"/>
                </a:lnTo>
                <a:lnTo>
                  <a:pt x="180" y="168"/>
                </a:lnTo>
                <a:lnTo>
                  <a:pt x="180" y="168"/>
                </a:lnTo>
                <a:lnTo>
                  <a:pt x="180" y="168"/>
                </a:lnTo>
                <a:lnTo>
                  <a:pt x="180" y="162"/>
                </a:lnTo>
                <a:lnTo>
                  <a:pt x="174" y="162"/>
                </a:lnTo>
                <a:lnTo>
                  <a:pt x="180" y="162"/>
                </a:lnTo>
                <a:lnTo>
                  <a:pt x="174" y="162"/>
                </a:lnTo>
                <a:lnTo>
                  <a:pt x="174" y="162"/>
                </a:lnTo>
                <a:lnTo>
                  <a:pt x="174" y="162"/>
                </a:lnTo>
                <a:lnTo>
                  <a:pt x="174" y="162"/>
                </a:lnTo>
                <a:lnTo>
                  <a:pt x="174" y="168"/>
                </a:lnTo>
                <a:lnTo>
                  <a:pt x="174" y="174"/>
                </a:lnTo>
                <a:lnTo>
                  <a:pt x="174" y="174"/>
                </a:lnTo>
                <a:lnTo>
                  <a:pt x="174" y="174"/>
                </a:lnTo>
                <a:lnTo>
                  <a:pt x="174" y="174"/>
                </a:lnTo>
                <a:lnTo>
                  <a:pt x="174" y="174"/>
                </a:lnTo>
                <a:lnTo>
                  <a:pt x="168" y="180"/>
                </a:lnTo>
                <a:lnTo>
                  <a:pt x="168" y="180"/>
                </a:lnTo>
                <a:lnTo>
                  <a:pt x="168" y="186"/>
                </a:lnTo>
                <a:lnTo>
                  <a:pt x="162" y="186"/>
                </a:lnTo>
                <a:lnTo>
                  <a:pt x="162" y="192"/>
                </a:lnTo>
                <a:lnTo>
                  <a:pt x="162" y="192"/>
                </a:lnTo>
                <a:lnTo>
                  <a:pt x="162" y="192"/>
                </a:lnTo>
                <a:lnTo>
                  <a:pt x="162" y="192"/>
                </a:lnTo>
                <a:lnTo>
                  <a:pt x="162" y="192"/>
                </a:lnTo>
                <a:lnTo>
                  <a:pt x="162" y="192"/>
                </a:lnTo>
                <a:lnTo>
                  <a:pt x="156" y="192"/>
                </a:lnTo>
                <a:lnTo>
                  <a:pt x="156" y="192"/>
                </a:lnTo>
                <a:lnTo>
                  <a:pt x="156" y="198"/>
                </a:lnTo>
                <a:lnTo>
                  <a:pt x="156" y="198"/>
                </a:lnTo>
                <a:lnTo>
                  <a:pt x="156" y="198"/>
                </a:lnTo>
                <a:lnTo>
                  <a:pt x="156" y="198"/>
                </a:lnTo>
                <a:lnTo>
                  <a:pt x="156" y="198"/>
                </a:lnTo>
                <a:lnTo>
                  <a:pt x="156" y="204"/>
                </a:lnTo>
                <a:lnTo>
                  <a:pt x="156" y="204"/>
                </a:lnTo>
                <a:lnTo>
                  <a:pt x="156" y="204"/>
                </a:lnTo>
                <a:lnTo>
                  <a:pt x="156" y="210"/>
                </a:lnTo>
                <a:lnTo>
                  <a:pt x="156" y="210"/>
                </a:lnTo>
                <a:lnTo>
                  <a:pt x="156" y="210"/>
                </a:lnTo>
                <a:lnTo>
                  <a:pt x="150" y="210"/>
                </a:lnTo>
                <a:lnTo>
                  <a:pt x="150" y="210"/>
                </a:lnTo>
                <a:lnTo>
                  <a:pt x="150" y="216"/>
                </a:lnTo>
                <a:lnTo>
                  <a:pt x="144" y="222"/>
                </a:lnTo>
                <a:lnTo>
                  <a:pt x="144" y="222"/>
                </a:lnTo>
                <a:lnTo>
                  <a:pt x="132" y="252"/>
                </a:lnTo>
                <a:lnTo>
                  <a:pt x="102" y="252"/>
                </a:lnTo>
                <a:lnTo>
                  <a:pt x="78" y="252"/>
                </a:lnTo>
                <a:lnTo>
                  <a:pt x="72" y="252"/>
                </a:lnTo>
                <a:lnTo>
                  <a:pt x="66" y="252"/>
                </a:lnTo>
                <a:lnTo>
                  <a:pt x="42" y="252"/>
                </a:lnTo>
                <a:lnTo>
                  <a:pt x="36" y="252"/>
                </a:lnTo>
                <a:lnTo>
                  <a:pt x="36" y="246"/>
                </a:lnTo>
                <a:lnTo>
                  <a:pt x="30" y="246"/>
                </a:lnTo>
                <a:lnTo>
                  <a:pt x="36" y="246"/>
                </a:lnTo>
                <a:lnTo>
                  <a:pt x="36" y="246"/>
                </a:lnTo>
                <a:lnTo>
                  <a:pt x="36" y="246"/>
                </a:lnTo>
                <a:lnTo>
                  <a:pt x="36" y="246"/>
                </a:lnTo>
                <a:lnTo>
                  <a:pt x="36" y="246"/>
                </a:lnTo>
                <a:lnTo>
                  <a:pt x="36" y="246"/>
                </a:lnTo>
                <a:lnTo>
                  <a:pt x="36" y="246"/>
                </a:lnTo>
                <a:lnTo>
                  <a:pt x="36" y="246"/>
                </a:lnTo>
                <a:lnTo>
                  <a:pt x="36" y="246"/>
                </a:lnTo>
                <a:lnTo>
                  <a:pt x="36" y="240"/>
                </a:lnTo>
                <a:lnTo>
                  <a:pt x="36" y="240"/>
                </a:lnTo>
                <a:lnTo>
                  <a:pt x="36" y="240"/>
                </a:lnTo>
                <a:lnTo>
                  <a:pt x="36" y="240"/>
                </a:lnTo>
                <a:lnTo>
                  <a:pt x="36" y="240"/>
                </a:lnTo>
                <a:lnTo>
                  <a:pt x="36" y="240"/>
                </a:lnTo>
                <a:lnTo>
                  <a:pt x="42" y="240"/>
                </a:lnTo>
                <a:lnTo>
                  <a:pt x="42" y="240"/>
                </a:lnTo>
                <a:lnTo>
                  <a:pt x="42" y="240"/>
                </a:lnTo>
                <a:lnTo>
                  <a:pt x="42" y="240"/>
                </a:lnTo>
                <a:lnTo>
                  <a:pt x="42" y="240"/>
                </a:lnTo>
                <a:lnTo>
                  <a:pt x="42" y="234"/>
                </a:lnTo>
                <a:lnTo>
                  <a:pt x="42" y="234"/>
                </a:lnTo>
                <a:lnTo>
                  <a:pt x="42" y="234"/>
                </a:lnTo>
                <a:lnTo>
                  <a:pt x="42" y="234"/>
                </a:lnTo>
                <a:lnTo>
                  <a:pt x="42" y="234"/>
                </a:lnTo>
                <a:lnTo>
                  <a:pt x="42" y="234"/>
                </a:lnTo>
                <a:lnTo>
                  <a:pt x="42" y="228"/>
                </a:lnTo>
                <a:lnTo>
                  <a:pt x="42" y="228"/>
                </a:lnTo>
                <a:lnTo>
                  <a:pt x="42" y="228"/>
                </a:lnTo>
                <a:lnTo>
                  <a:pt x="42" y="228"/>
                </a:lnTo>
                <a:lnTo>
                  <a:pt x="42" y="228"/>
                </a:lnTo>
                <a:lnTo>
                  <a:pt x="42" y="228"/>
                </a:lnTo>
                <a:lnTo>
                  <a:pt x="42" y="222"/>
                </a:lnTo>
                <a:lnTo>
                  <a:pt x="42" y="222"/>
                </a:lnTo>
                <a:lnTo>
                  <a:pt x="42" y="222"/>
                </a:lnTo>
                <a:lnTo>
                  <a:pt x="42" y="222"/>
                </a:lnTo>
                <a:lnTo>
                  <a:pt x="36" y="222"/>
                </a:lnTo>
                <a:lnTo>
                  <a:pt x="36" y="222"/>
                </a:lnTo>
                <a:lnTo>
                  <a:pt x="36" y="222"/>
                </a:lnTo>
                <a:lnTo>
                  <a:pt x="36" y="216"/>
                </a:lnTo>
                <a:lnTo>
                  <a:pt x="30" y="216"/>
                </a:lnTo>
                <a:lnTo>
                  <a:pt x="30" y="216"/>
                </a:lnTo>
                <a:lnTo>
                  <a:pt x="30" y="216"/>
                </a:lnTo>
                <a:lnTo>
                  <a:pt x="30" y="216"/>
                </a:lnTo>
                <a:lnTo>
                  <a:pt x="24" y="216"/>
                </a:lnTo>
                <a:lnTo>
                  <a:pt x="24" y="210"/>
                </a:lnTo>
                <a:lnTo>
                  <a:pt x="24" y="210"/>
                </a:lnTo>
                <a:lnTo>
                  <a:pt x="24" y="210"/>
                </a:lnTo>
                <a:lnTo>
                  <a:pt x="24" y="204"/>
                </a:lnTo>
                <a:lnTo>
                  <a:pt x="24" y="204"/>
                </a:lnTo>
                <a:lnTo>
                  <a:pt x="24" y="204"/>
                </a:lnTo>
                <a:lnTo>
                  <a:pt x="30" y="198"/>
                </a:lnTo>
                <a:lnTo>
                  <a:pt x="24" y="198"/>
                </a:lnTo>
                <a:lnTo>
                  <a:pt x="24" y="198"/>
                </a:lnTo>
                <a:lnTo>
                  <a:pt x="24" y="192"/>
                </a:lnTo>
                <a:lnTo>
                  <a:pt x="24" y="192"/>
                </a:lnTo>
                <a:lnTo>
                  <a:pt x="24" y="192"/>
                </a:lnTo>
                <a:lnTo>
                  <a:pt x="24" y="192"/>
                </a:lnTo>
                <a:lnTo>
                  <a:pt x="24" y="186"/>
                </a:lnTo>
                <a:lnTo>
                  <a:pt x="0" y="186"/>
                </a:lnTo>
                <a:lnTo>
                  <a:pt x="6" y="186"/>
                </a:lnTo>
                <a:lnTo>
                  <a:pt x="0" y="186"/>
                </a:lnTo>
                <a:lnTo>
                  <a:pt x="0" y="186"/>
                </a:lnTo>
                <a:lnTo>
                  <a:pt x="6" y="186"/>
                </a:lnTo>
                <a:lnTo>
                  <a:pt x="6" y="186"/>
                </a:lnTo>
                <a:lnTo>
                  <a:pt x="6" y="180"/>
                </a:lnTo>
                <a:lnTo>
                  <a:pt x="6" y="180"/>
                </a:lnTo>
                <a:lnTo>
                  <a:pt x="6" y="180"/>
                </a:lnTo>
                <a:lnTo>
                  <a:pt x="6" y="180"/>
                </a:lnTo>
                <a:lnTo>
                  <a:pt x="6" y="180"/>
                </a:lnTo>
                <a:lnTo>
                  <a:pt x="6" y="180"/>
                </a:lnTo>
                <a:lnTo>
                  <a:pt x="6" y="180"/>
                </a:lnTo>
                <a:lnTo>
                  <a:pt x="6" y="174"/>
                </a:lnTo>
                <a:lnTo>
                  <a:pt x="6" y="174"/>
                </a:lnTo>
                <a:lnTo>
                  <a:pt x="6" y="174"/>
                </a:lnTo>
                <a:lnTo>
                  <a:pt x="6" y="174"/>
                </a:lnTo>
                <a:lnTo>
                  <a:pt x="6" y="174"/>
                </a:lnTo>
                <a:lnTo>
                  <a:pt x="12" y="168"/>
                </a:lnTo>
                <a:lnTo>
                  <a:pt x="12" y="168"/>
                </a:lnTo>
                <a:lnTo>
                  <a:pt x="12" y="168"/>
                </a:lnTo>
                <a:lnTo>
                  <a:pt x="12" y="168"/>
                </a:lnTo>
                <a:lnTo>
                  <a:pt x="12" y="168"/>
                </a:lnTo>
                <a:lnTo>
                  <a:pt x="12" y="168"/>
                </a:lnTo>
                <a:lnTo>
                  <a:pt x="12" y="168"/>
                </a:lnTo>
                <a:lnTo>
                  <a:pt x="12" y="162"/>
                </a:lnTo>
                <a:lnTo>
                  <a:pt x="12" y="162"/>
                </a:lnTo>
                <a:lnTo>
                  <a:pt x="12" y="162"/>
                </a:lnTo>
                <a:lnTo>
                  <a:pt x="12" y="162"/>
                </a:lnTo>
                <a:lnTo>
                  <a:pt x="12" y="162"/>
                </a:lnTo>
                <a:lnTo>
                  <a:pt x="12" y="162"/>
                </a:lnTo>
                <a:lnTo>
                  <a:pt x="12" y="156"/>
                </a:lnTo>
                <a:lnTo>
                  <a:pt x="12" y="156"/>
                </a:lnTo>
                <a:lnTo>
                  <a:pt x="12" y="156"/>
                </a:lnTo>
                <a:lnTo>
                  <a:pt x="12" y="156"/>
                </a:lnTo>
                <a:lnTo>
                  <a:pt x="18" y="156"/>
                </a:lnTo>
                <a:lnTo>
                  <a:pt x="18" y="156"/>
                </a:lnTo>
                <a:lnTo>
                  <a:pt x="12" y="150"/>
                </a:lnTo>
                <a:lnTo>
                  <a:pt x="18" y="150"/>
                </a:lnTo>
                <a:lnTo>
                  <a:pt x="18" y="150"/>
                </a:lnTo>
                <a:lnTo>
                  <a:pt x="18" y="150"/>
                </a:lnTo>
                <a:lnTo>
                  <a:pt x="18" y="150"/>
                </a:lnTo>
                <a:lnTo>
                  <a:pt x="18" y="144"/>
                </a:lnTo>
                <a:lnTo>
                  <a:pt x="18" y="144"/>
                </a:lnTo>
                <a:lnTo>
                  <a:pt x="18" y="144"/>
                </a:lnTo>
                <a:lnTo>
                  <a:pt x="24" y="138"/>
                </a:lnTo>
                <a:lnTo>
                  <a:pt x="24" y="138"/>
                </a:lnTo>
                <a:lnTo>
                  <a:pt x="18" y="138"/>
                </a:lnTo>
                <a:lnTo>
                  <a:pt x="18" y="138"/>
                </a:lnTo>
                <a:lnTo>
                  <a:pt x="24" y="138"/>
                </a:lnTo>
                <a:lnTo>
                  <a:pt x="24" y="138"/>
                </a:lnTo>
                <a:lnTo>
                  <a:pt x="18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24" y="114"/>
                </a:lnTo>
                <a:lnTo>
                  <a:pt x="24" y="114"/>
                </a:lnTo>
                <a:lnTo>
                  <a:pt x="30" y="114"/>
                </a:lnTo>
                <a:lnTo>
                  <a:pt x="30" y="114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14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18" y="114"/>
                </a:lnTo>
                <a:lnTo>
                  <a:pt x="24" y="114"/>
                </a:lnTo>
                <a:lnTo>
                  <a:pt x="24" y="114"/>
                </a:lnTo>
                <a:lnTo>
                  <a:pt x="18" y="114"/>
                </a:lnTo>
                <a:lnTo>
                  <a:pt x="18" y="108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8" y="114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282" name="Freeform 15"/>
          <p:cNvSpPr>
            <a:spLocks/>
          </p:cNvSpPr>
          <p:nvPr/>
        </p:nvSpPr>
        <p:spPr bwMode="auto">
          <a:xfrm>
            <a:off x="4494228" y="1398339"/>
            <a:ext cx="713070" cy="513928"/>
          </a:xfrm>
          <a:custGeom>
            <a:avLst/>
            <a:gdLst>
              <a:gd name="T0" fmla="*/ 30 w 666"/>
              <a:gd name="T1" fmla="*/ 414 h 480"/>
              <a:gd name="T2" fmla="*/ 24 w 666"/>
              <a:gd name="T3" fmla="*/ 390 h 480"/>
              <a:gd name="T4" fmla="*/ 60 w 666"/>
              <a:gd name="T5" fmla="*/ 342 h 480"/>
              <a:gd name="T6" fmla="*/ 84 w 666"/>
              <a:gd name="T7" fmla="*/ 324 h 480"/>
              <a:gd name="T8" fmla="*/ 120 w 666"/>
              <a:gd name="T9" fmla="*/ 282 h 480"/>
              <a:gd name="T10" fmla="*/ 150 w 666"/>
              <a:gd name="T11" fmla="*/ 270 h 480"/>
              <a:gd name="T12" fmla="*/ 174 w 666"/>
              <a:gd name="T13" fmla="*/ 246 h 480"/>
              <a:gd name="T14" fmla="*/ 210 w 666"/>
              <a:gd name="T15" fmla="*/ 240 h 480"/>
              <a:gd name="T16" fmla="*/ 234 w 666"/>
              <a:gd name="T17" fmla="*/ 210 h 480"/>
              <a:gd name="T18" fmla="*/ 264 w 666"/>
              <a:gd name="T19" fmla="*/ 222 h 480"/>
              <a:gd name="T20" fmla="*/ 258 w 666"/>
              <a:gd name="T21" fmla="*/ 204 h 480"/>
              <a:gd name="T22" fmla="*/ 252 w 666"/>
              <a:gd name="T23" fmla="*/ 192 h 480"/>
              <a:gd name="T24" fmla="*/ 234 w 666"/>
              <a:gd name="T25" fmla="*/ 186 h 480"/>
              <a:gd name="T26" fmla="*/ 234 w 666"/>
              <a:gd name="T27" fmla="*/ 156 h 480"/>
              <a:gd name="T28" fmla="*/ 228 w 666"/>
              <a:gd name="T29" fmla="*/ 150 h 480"/>
              <a:gd name="T30" fmla="*/ 210 w 666"/>
              <a:gd name="T31" fmla="*/ 138 h 480"/>
              <a:gd name="T32" fmla="*/ 216 w 666"/>
              <a:gd name="T33" fmla="*/ 126 h 480"/>
              <a:gd name="T34" fmla="*/ 198 w 666"/>
              <a:gd name="T35" fmla="*/ 114 h 480"/>
              <a:gd name="T36" fmla="*/ 192 w 666"/>
              <a:gd name="T37" fmla="*/ 96 h 480"/>
              <a:gd name="T38" fmla="*/ 192 w 666"/>
              <a:gd name="T39" fmla="*/ 84 h 480"/>
              <a:gd name="T40" fmla="*/ 192 w 666"/>
              <a:gd name="T41" fmla="*/ 66 h 480"/>
              <a:gd name="T42" fmla="*/ 180 w 666"/>
              <a:gd name="T43" fmla="*/ 30 h 480"/>
              <a:gd name="T44" fmla="*/ 210 w 666"/>
              <a:gd name="T45" fmla="*/ 18 h 480"/>
              <a:gd name="T46" fmla="*/ 228 w 666"/>
              <a:gd name="T47" fmla="*/ 6 h 480"/>
              <a:gd name="T48" fmla="*/ 246 w 666"/>
              <a:gd name="T49" fmla="*/ 18 h 480"/>
              <a:gd name="T50" fmla="*/ 258 w 666"/>
              <a:gd name="T51" fmla="*/ 60 h 480"/>
              <a:gd name="T52" fmla="*/ 282 w 666"/>
              <a:gd name="T53" fmla="*/ 90 h 480"/>
              <a:gd name="T54" fmla="*/ 324 w 666"/>
              <a:gd name="T55" fmla="*/ 78 h 480"/>
              <a:gd name="T56" fmla="*/ 372 w 666"/>
              <a:gd name="T57" fmla="*/ 90 h 480"/>
              <a:gd name="T58" fmla="*/ 396 w 666"/>
              <a:gd name="T59" fmla="*/ 114 h 480"/>
              <a:gd name="T60" fmla="*/ 444 w 666"/>
              <a:gd name="T61" fmla="*/ 96 h 480"/>
              <a:gd name="T62" fmla="*/ 486 w 666"/>
              <a:gd name="T63" fmla="*/ 78 h 480"/>
              <a:gd name="T64" fmla="*/ 534 w 666"/>
              <a:gd name="T65" fmla="*/ 66 h 480"/>
              <a:gd name="T66" fmla="*/ 552 w 666"/>
              <a:gd name="T67" fmla="*/ 96 h 480"/>
              <a:gd name="T68" fmla="*/ 576 w 666"/>
              <a:gd name="T69" fmla="*/ 84 h 480"/>
              <a:gd name="T70" fmla="*/ 588 w 666"/>
              <a:gd name="T71" fmla="*/ 102 h 480"/>
              <a:gd name="T72" fmla="*/ 600 w 666"/>
              <a:gd name="T73" fmla="*/ 144 h 480"/>
              <a:gd name="T74" fmla="*/ 624 w 666"/>
              <a:gd name="T75" fmla="*/ 156 h 480"/>
              <a:gd name="T76" fmla="*/ 612 w 666"/>
              <a:gd name="T77" fmla="*/ 180 h 480"/>
              <a:gd name="T78" fmla="*/ 594 w 666"/>
              <a:gd name="T79" fmla="*/ 204 h 480"/>
              <a:gd name="T80" fmla="*/ 624 w 666"/>
              <a:gd name="T81" fmla="*/ 216 h 480"/>
              <a:gd name="T82" fmla="*/ 618 w 666"/>
              <a:gd name="T83" fmla="*/ 240 h 480"/>
              <a:gd name="T84" fmla="*/ 636 w 666"/>
              <a:gd name="T85" fmla="*/ 258 h 480"/>
              <a:gd name="T86" fmla="*/ 654 w 666"/>
              <a:gd name="T87" fmla="*/ 264 h 480"/>
              <a:gd name="T88" fmla="*/ 600 w 666"/>
              <a:gd name="T89" fmla="*/ 336 h 480"/>
              <a:gd name="T90" fmla="*/ 510 w 666"/>
              <a:gd name="T91" fmla="*/ 414 h 480"/>
              <a:gd name="T92" fmla="*/ 414 w 666"/>
              <a:gd name="T93" fmla="*/ 372 h 480"/>
              <a:gd name="T94" fmla="*/ 402 w 666"/>
              <a:gd name="T95" fmla="*/ 348 h 480"/>
              <a:gd name="T96" fmla="*/ 396 w 666"/>
              <a:gd name="T97" fmla="*/ 324 h 480"/>
              <a:gd name="T98" fmla="*/ 372 w 666"/>
              <a:gd name="T99" fmla="*/ 312 h 480"/>
              <a:gd name="T100" fmla="*/ 348 w 666"/>
              <a:gd name="T101" fmla="*/ 354 h 480"/>
              <a:gd name="T102" fmla="*/ 318 w 666"/>
              <a:gd name="T103" fmla="*/ 396 h 480"/>
              <a:gd name="T104" fmla="*/ 270 w 666"/>
              <a:gd name="T105" fmla="*/ 396 h 480"/>
              <a:gd name="T106" fmla="*/ 234 w 666"/>
              <a:gd name="T107" fmla="*/ 432 h 480"/>
              <a:gd name="T108" fmla="*/ 186 w 666"/>
              <a:gd name="T109" fmla="*/ 456 h 480"/>
              <a:gd name="T110" fmla="*/ 162 w 666"/>
              <a:gd name="T111" fmla="*/ 474 h 480"/>
              <a:gd name="T112" fmla="*/ 102 w 666"/>
              <a:gd name="T113" fmla="*/ 468 h 480"/>
              <a:gd name="T114" fmla="*/ 60 w 666"/>
              <a:gd name="T115" fmla="*/ 462 h 480"/>
              <a:gd name="T116" fmla="*/ 24 w 666"/>
              <a:gd name="T117" fmla="*/ 444 h 4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66" h="480">
                <a:moveTo>
                  <a:pt x="0" y="432"/>
                </a:moveTo>
                <a:lnTo>
                  <a:pt x="0" y="426"/>
                </a:lnTo>
                <a:lnTo>
                  <a:pt x="0" y="420"/>
                </a:lnTo>
                <a:lnTo>
                  <a:pt x="6" y="420"/>
                </a:lnTo>
                <a:lnTo>
                  <a:pt x="6" y="414"/>
                </a:lnTo>
                <a:lnTo>
                  <a:pt x="12" y="414"/>
                </a:lnTo>
                <a:lnTo>
                  <a:pt x="12" y="414"/>
                </a:lnTo>
                <a:lnTo>
                  <a:pt x="18" y="414"/>
                </a:lnTo>
                <a:lnTo>
                  <a:pt x="18" y="414"/>
                </a:lnTo>
                <a:lnTo>
                  <a:pt x="24" y="414"/>
                </a:lnTo>
                <a:lnTo>
                  <a:pt x="24" y="414"/>
                </a:lnTo>
                <a:lnTo>
                  <a:pt x="24" y="414"/>
                </a:lnTo>
                <a:lnTo>
                  <a:pt x="30" y="414"/>
                </a:lnTo>
                <a:lnTo>
                  <a:pt x="30" y="414"/>
                </a:lnTo>
                <a:lnTo>
                  <a:pt x="30" y="414"/>
                </a:lnTo>
                <a:lnTo>
                  <a:pt x="30" y="414"/>
                </a:lnTo>
                <a:lnTo>
                  <a:pt x="30" y="408"/>
                </a:lnTo>
                <a:lnTo>
                  <a:pt x="30" y="408"/>
                </a:lnTo>
                <a:lnTo>
                  <a:pt x="24" y="402"/>
                </a:lnTo>
                <a:lnTo>
                  <a:pt x="24" y="402"/>
                </a:lnTo>
                <a:lnTo>
                  <a:pt x="30" y="396"/>
                </a:lnTo>
                <a:lnTo>
                  <a:pt x="36" y="390"/>
                </a:lnTo>
                <a:lnTo>
                  <a:pt x="36" y="390"/>
                </a:lnTo>
                <a:lnTo>
                  <a:pt x="30" y="390"/>
                </a:lnTo>
                <a:lnTo>
                  <a:pt x="30" y="390"/>
                </a:lnTo>
                <a:lnTo>
                  <a:pt x="30" y="390"/>
                </a:lnTo>
                <a:lnTo>
                  <a:pt x="30" y="390"/>
                </a:lnTo>
                <a:lnTo>
                  <a:pt x="24" y="390"/>
                </a:lnTo>
                <a:lnTo>
                  <a:pt x="30" y="384"/>
                </a:lnTo>
                <a:lnTo>
                  <a:pt x="30" y="384"/>
                </a:lnTo>
                <a:lnTo>
                  <a:pt x="30" y="378"/>
                </a:lnTo>
                <a:lnTo>
                  <a:pt x="36" y="378"/>
                </a:lnTo>
                <a:lnTo>
                  <a:pt x="42" y="372"/>
                </a:lnTo>
                <a:lnTo>
                  <a:pt x="42" y="372"/>
                </a:lnTo>
                <a:lnTo>
                  <a:pt x="42" y="366"/>
                </a:lnTo>
                <a:lnTo>
                  <a:pt x="42" y="360"/>
                </a:lnTo>
                <a:lnTo>
                  <a:pt x="42" y="360"/>
                </a:lnTo>
                <a:lnTo>
                  <a:pt x="48" y="354"/>
                </a:lnTo>
                <a:lnTo>
                  <a:pt x="48" y="348"/>
                </a:lnTo>
                <a:lnTo>
                  <a:pt x="54" y="348"/>
                </a:lnTo>
                <a:lnTo>
                  <a:pt x="54" y="342"/>
                </a:lnTo>
                <a:lnTo>
                  <a:pt x="60" y="342"/>
                </a:lnTo>
                <a:lnTo>
                  <a:pt x="60" y="336"/>
                </a:lnTo>
                <a:lnTo>
                  <a:pt x="60" y="330"/>
                </a:lnTo>
                <a:lnTo>
                  <a:pt x="60" y="330"/>
                </a:lnTo>
                <a:lnTo>
                  <a:pt x="66" y="330"/>
                </a:lnTo>
                <a:lnTo>
                  <a:pt x="66" y="330"/>
                </a:lnTo>
                <a:lnTo>
                  <a:pt x="72" y="324"/>
                </a:lnTo>
                <a:lnTo>
                  <a:pt x="72" y="324"/>
                </a:lnTo>
                <a:lnTo>
                  <a:pt x="72" y="324"/>
                </a:lnTo>
                <a:lnTo>
                  <a:pt x="72" y="324"/>
                </a:lnTo>
                <a:lnTo>
                  <a:pt x="78" y="324"/>
                </a:lnTo>
                <a:lnTo>
                  <a:pt x="78" y="324"/>
                </a:lnTo>
                <a:lnTo>
                  <a:pt x="78" y="324"/>
                </a:lnTo>
                <a:lnTo>
                  <a:pt x="84" y="324"/>
                </a:lnTo>
                <a:lnTo>
                  <a:pt x="84" y="324"/>
                </a:lnTo>
                <a:lnTo>
                  <a:pt x="90" y="318"/>
                </a:lnTo>
                <a:lnTo>
                  <a:pt x="96" y="318"/>
                </a:lnTo>
                <a:lnTo>
                  <a:pt x="102" y="312"/>
                </a:lnTo>
                <a:lnTo>
                  <a:pt x="102" y="312"/>
                </a:lnTo>
                <a:lnTo>
                  <a:pt x="102" y="306"/>
                </a:lnTo>
                <a:lnTo>
                  <a:pt x="102" y="306"/>
                </a:lnTo>
                <a:lnTo>
                  <a:pt x="108" y="306"/>
                </a:lnTo>
                <a:lnTo>
                  <a:pt x="114" y="300"/>
                </a:lnTo>
                <a:lnTo>
                  <a:pt x="114" y="300"/>
                </a:lnTo>
                <a:lnTo>
                  <a:pt x="114" y="300"/>
                </a:lnTo>
                <a:lnTo>
                  <a:pt x="114" y="294"/>
                </a:lnTo>
                <a:lnTo>
                  <a:pt x="114" y="288"/>
                </a:lnTo>
                <a:lnTo>
                  <a:pt x="120" y="282"/>
                </a:lnTo>
                <a:lnTo>
                  <a:pt x="120" y="282"/>
                </a:lnTo>
                <a:lnTo>
                  <a:pt x="120" y="282"/>
                </a:lnTo>
                <a:lnTo>
                  <a:pt x="120" y="282"/>
                </a:lnTo>
                <a:lnTo>
                  <a:pt x="126" y="282"/>
                </a:lnTo>
                <a:lnTo>
                  <a:pt x="126" y="282"/>
                </a:lnTo>
                <a:lnTo>
                  <a:pt x="126" y="282"/>
                </a:lnTo>
                <a:lnTo>
                  <a:pt x="126" y="282"/>
                </a:lnTo>
                <a:lnTo>
                  <a:pt x="132" y="282"/>
                </a:lnTo>
                <a:lnTo>
                  <a:pt x="132" y="282"/>
                </a:lnTo>
                <a:lnTo>
                  <a:pt x="138" y="282"/>
                </a:lnTo>
                <a:lnTo>
                  <a:pt x="138" y="282"/>
                </a:lnTo>
                <a:lnTo>
                  <a:pt x="144" y="282"/>
                </a:lnTo>
                <a:lnTo>
                  <a:pt x="144" y="276"/>
                </a:lnTo>
                <a:lnTo>
                  <a:pt x="144" y="270"/>
                </a:lnTo>
                <a:lnTo>
                  <a:pt x="150" y="270"/>
                </a:lnTo>
                <a:lnTo>
                  <a:pt x="156" y="270"/>
                </a:lnTo>
                <a:lnTo>
                  <a:pt x="156" y="270"/>
                </a:lnTo>
                <a:lnTo>
                  <a:pt x="156" y="264"/>
                </a:lnTo>
                <a:lnTo>
                  <a:pt x="156" y="258"/>
                </a:lnTo>
                <a:lnTo>
                  <a:pt x="156" y="258"/>
                </a:lnTo>
                <a:lnTo>
                  <a:pt x="162" y="264"/>
                </a:lnTo>
                <a:lnTo>
                  <a:pt x="162" y="258"/>
                </a:lnTo>
                <a:lnTo>
                  <a:pt x="168" y="258"/>
                </a:lnTo>
                <a:lnTo>
                  <a:pt x="168" y="252"/>
                </a:lnTo>
                <a:lnTo>
                  <a:pt x="168" y="252"/>
                </a:lnTo>
                <a:lnTo>
                  <a:pt x="174" y="252"/>
                </a:lnTo>
                <a:lnTo>
                  <a:pt x="174" y="252"/>
                </a:lnTo>
                <a:lnTo>
                  <a:pt x="174" y="246"/>
                </a:lnTo>
                <a:lnTo>
                  <a:pt x="174" y="246"/>
                </a:lnTo>
                <a:lnTo>
                  <a:pt x="174" y="246"/>
                </a:lnTo>
                <a:lnTo>
                  <a:pt x="174" y="246"/>
                </a:lnTo>
                <a:lnTo>
                  <a:pt x="174" y="246"/>
                </a:lnTo>
                <a:lnTo>
                  <a:pt x="174" y="240"/>
                </a:lnTo>
                <a:lnTo>
                  <a:pt x="180" y="240"/>
                </a:lnTo>
                <a:lnTo>
                  <a:pt x="186" y="240"/>
                </a:lnTo>
                <a:lnTo>
                  <a:pt x="186" y="240"/>
                </a:lnTo>
                <a:lnTo>
                  <a:pt x="192" y="240"/>
                </a:lnTo>
                <a:lnTo>
                  <a:pt x="192" y="240"/>
                </a:lnTo>
                <a:lnTo>
                  <a:pt x="192" y="240"/>
                </a:lnTo>
                <a:lnTo>
                  <a:pt x="198" y="240"/>
                </a:lnTo>
                <a:lnTo>
                  <a:pt x="204" y="240"/>
                </a:lnTo>
                <a:lnTo>
                  <a:pt x="204" y="240"/>
                </a:lnTo>
                <a:lnTo>
                  <a:pt x="210" y="240"/>
                </a:lnTo>
                <a:lnTo>
                  <a:pt x="210" y="240"/>
                </a:lnTo>
                <a:lnTo>
                  <a:pt x="210" y="240"/>
                </a:lnTo>
                <a:lnTo>
                  <a:pt x="210" y="234"/>
                </a:lnTo>
                <a:lnTo>
                  <a:pt x="216" y="234"/>
                </a:lnTo>
                <a:lnTo>
                  <a:pt x="216" y="234"/>
                </a:lnTo>
                <a:lnTo>
                  <a:pt x="216" y="228"/>
                </a:lnTo>
                <a:lnTo>
                  <a:pt x="222" y="228"/>
                </a:lnTo>
                <a:lnTo>
                  <a:pt x="222" y="228"/>
                </a:lnTo>
                <a:lnTo>
                  <a:pt x="228" y="228"/>
                </a:lnTo>
                <a:lnTo>
                  <a:pt x="228" y="222"/>
                </a:lnTo>
                <a:lnTo>
                  <a:pt x="228" y="222"/>
                </a:lnTo>
                <a:lnTo>
                  <a:pt x="228" y="216"/>
                </a:lnTo>
                <a:lnTo>
                  <a:pt x="234" y="216"/>
                </a:lnTo>
                <a:lnTo>
                  <a:pt x="234" y="210"/>
                </a:lnTo>
                <a:lnTo>
                  <a:pt x="234" y="210"/>
                </a:lnTo>
                <a:lnTo>
                  <a:pt x="240" y="216"/>
                </a:lnTo>
                <a:lnTo>
                  <a:pt x="240" y="216"/>
                </a:lnTo>
                <a:lnTo>
                  <a:pt x="240" y="204"/>
                </a:lnTo>
                <a:lnTo>
                  <a:pt x="246" y="204"/>
                </a:lnTo>
                <a:lnTo>
                  <a:pt x="246" y="204"/>
                </a:lnTo>
                <a:lnTo>
                  <a:pt x="246" y="204"/>
                </a:lnTo>
                <a:lnTo>
                  <a:pt x="252" y="204"/>
                </a:lnTo>
                <a:lnTo>
                  <a:pt x="252" y="210"/>
                </a:lnTo>
                <a:lnTo>
                  <a:pt x="252" y="210"/>
                </a:lnTo>
                <a:lnTo>
                  <a:pt x="252" y="216"/>
                </a:lnTo>
                <a:lnTo>
                  <a:pt x="252" y="216"/>
                </a:lnTo>
                <a:lnTo>
                  <a:pt x="258" y="222"/>
                </a:lnTo>
                <a:lnTo>
                  <a:pt x="264" y="222"/>
                </a:lnTo>
                <a:lnTo>
                  <a:pt x="282" y="216"/>
                </a:lnTo>
                <a:lnTo>
                  <a:pt x="282" y="216"/>
                </a:lnTo>
                <a:lnTo>
                  <a:pt x="276" y="216"/>
                </a:lnTo>
                <a:lnTo>
                  <a:pt x="276" y="216"/>
                </a:lnTo>
                <a:lnTo>
                  <a:pt x="270" y="216"/>
                </a:lnTo>
                <a:lnTo>
                  <a:pt x="270" y="216"/>
                </a:lnTo>
                <a:lnTo>
                  <a:pt x="264" y="216"/>
                </a:lnTo>
                <a:lnTo>
                  <a:pt x="264" y="216"/>
                </a:lnTo>
                <a:lnTo>
                  <a:pt x="264" y="216"/>
                </a:lnTo>
                <a:lnTo>
                  <a:pt x="264" y="216"/>
                </a:lnTo>
                <a:lnTo>
                  <a:pt x="258" y="216"/>
                </a:lnTo>
                <a:lnTo>
                  <a:pt x="258" y="210"/>
                </a:lnTo>
                <a:lnTo>
                  <a:pt x="258" y="204"/>
                </a:lnTo>
                <a:lnTo>
                  <a:pt x="258" y="204"/>
                </a:lnTo>
                <a:lnTo>
                  <a:pt x="258" y="198"/>
                </a:lnTo>
                <a:lnTo>
                  <a:pt x="258" y="204"/>
                </a:lnTo>
                <a:lnTo>
                  <a:pt x="258" y="198"/>
                </a:lnTo>
                <a:lnTo>
                  <a:pt x="258" y="198"/>
                </a:lnTo>
                <a:lnTo>
                  <a:pt x="258" y="198"/>
                </a:lnTo>
                <a:lnTo>
                  <a:pt x="258" y="198"/>
                </a:lnTo>
                <a:lnTo>
                  <a:pt x="258" y="192"/>
                </a:lnTo>
                <a:lnTo>
                  <a:pt x="258" y="192"/>
                </a:lnTo>
                <a:lnTo>
                  <a:pt x="252" y="192"/>
                </a:lnTo>
                <a:lnTo>
                  <a:pt x="252" y="198"/>
                </a:lnTo>
                <a:lnTo>
                  <a:pt x="252" y="198"/>
                </a:lnTo>
                <a:lnTo>
                  <a:pt x="252" y="198"/>
                </a:lnTo>
                <a:lnTo>
                  <a:pt x="252" y="192"/>
                </a:lnTo>
                <a:lnTo>
                  <a:pt x="252" y="192"/>
                </a:lnTo>
                <a:lnTo>
                  <a:pt x="246" y="198"/>
                </a:lnTo>
                <a:lnTo>
                  <a:pt x="246" y="198"/>
                </a:lnTo>
                <a:lnTo>
                  <a:pt x="246" y="192"/>
                </a:lnTo>
                <a:lnTo>
                  <a:pt x="246" y="192"/>
                </a:lnTo>
                <a:lnTo>
                  <a:pt x="240" y="192"/>
                </a:lnTo>
                <a:lnTo>
                  <a:pt x="240" y="192"/>
                </a:lnTo>
                <a:lnTo>
                  <a:pt x="240" y="192"/>
                </a:lnTo>
                <a:lnTo>
                  <a:pt x="240" y="186"/>
                </a:lnTo>
                <a:lnTo>
                  <a:pt x="240" y="186"/>
                </a:lnTo>
                <a:lnTo>
                  <a:pt x="240" y="186"/>
                </a:lnTo>
                <a:lnTo>
                  <a:pt x="240" y="186"/>
                </a:lnTo>
                <a:lnTo>
                  <a:pt x="234" y="186"/>
                </a:lnTo>
                <a:lnTo>
                  <a:pt x="234" y="186"/>
                </a:lnTo>
                <a:lnTo>
                  <a:pt x="234" y="186"/>
                </a:lnTo>
                <a:lnTo>
                  <a:pt x="228" y="180"/>
                </a:lnTo>
                <a:lnTo>
                  <a:pt x="228" y="180"/>
                </a:lnTo>
                <a:lnTo>
                  <a:pt x="228" y="180"/>
                </a:lnTo>
                <a:lnTo>
                  <a:pt x="228" y="174"/>
                </a:lnTo>
                <a:lnTo>
                  <a:pt x="228" y="174"/>
                </a:lnTo>
                <a:lnTo>
                  <a:pt x="228" y="174"/>
                </a:lnTo>
                <a:lnTo>
                  <a:pt x="228" y="168"/>
                </a:lnTo>
                <a:lnTo>
                  <a:pt x="234" y="168"/>
                </a:lnTo>
                <a:lnTo>
                  <a:pt x="234" y="162"/>
                </a:lnTo>
                <a:lnTo>
                  <a:pt x="234" y="162"/>
                </a:lnTo>
                <a:lnTo>
                  <a:pt x="234" y="162"/>
                </a:lnTo>
                <a:lnTo>
                  <a:pt x="240" y="162"/>
                </a:lnTo>
                <a:lnTo>
                  <a:pt x="240" y="156"/>
                </a:lnTo>
                <a:lnTo>
                  <a:pt x="234" y="156"/>
                </a:lnTo>
                <a:lnTo>
                  <a:pt x="234" y="156"/>
                </a:lnTo>
                <a:lnTo>
                  <a:pt x="234" y="156"/>
                </a:lnTo>
                <a:lnTo>
                  <a:pt x="234" y="156"/>
                </a:lnTo>
                <a:lnTo>
                  <a:pt x="234" y="150"/>
                </a:lnTo>
                <a:lnTo>
                  <a:pt x="234" y="150"/>
                </a:lnTo>
                <a:lnTo>
                  <a:pt x="234" y="150"/>
                </a:lnTo>
                <a:lnTo>
                  <a:pt x="228" y="150"/>
                </a:lnTo>
                <a:lnTo>
                  <a:pt x="228" y="156"/>
                </a:lnTo>
                <a:lnTo>
                  <a:pt x="228" y="150"/>
                </a:lnTo>
                <a:lnTo>
                  <a:pt x="228" y="150"/>
                </a:lnTo>
                <a:lnTo>
                  <a:pt x="228" y="150"/>
                </a:lnTo>
                <a:lnTo>
                  <a:pt x="228" y="150"/>
                </a:lnTo>
                <a:lnTo>
                  <a:pt x="228" y="150"/>
                </a:lnTo>
                <a:lnTo>
                  <a:pt x="228" y="150"/>
                </a:lnTo>
                <a:lnTo>
                  <a:pt x="228" y="144"/>
                </a:lnTo>
                <a:lnTo>
                  <a:pt x="228" y="150"/>
                </a:lnTo>
                <a:lnTo>
                  <a:pt x="222" y="144"/>
                </a:lnTo>
                <a:lnTo>
                  <a:pt x="222" y="150"/>
                </a:lnTo>
                <a:lnTo>
                  <a:pt x="222" y="144"/>
                </a:lnTo>
                <a:lnTo>
                  <a:pt x="222" y="144"/>
                </a:lnTo>
                <a:lnTo>
                  <a:pt x="222" y="144"/>
                </a:lnTo>
                <a:lnTo>
                  <a:pt x="222" y="144"/>
                </a:lnTo>
                <a:lnTo>
                  <a:pt x="216" y="144"/>
                </a:lnTo>
                <a:lnTo>
                  <a:pt x="216" y="138"/>
                </a:lnTo>
                <a:lnTo>
                  <a:pt x="216" y="138"/>
                </a:lnTo>
                <a:lnTo>
                  <a:pt x="216" y="138"/>
                </a:lnTo>
                <a:lnTo>
                  <a:pt x="216" y="138"/>
                </a:lnTo>
                <a:lnTo>
                  <a:pt x="210" y="138"/>
                </a:lnTo>
                <a:lnTo>
                  <a:pt x="210" y="132"/>
                </a:lnTo>
                <a:lnTo>
                  <a:pt x="210" y="132"/>
                </a:lnTo>
                <a:lnTo>
                  <a:pt x="210" y="132"/>
                </a:lnTo>
                <a:lnTo>
                  <a:pt x="216" y="132"/>
                </a:lnTo>
                <a:lnTo>
                  <a:pt x="216" y="132"/>
                </a:lnTo>
                <a:lnTo>
                  <a:pt x="216" y="132"/>
                </a:lnTo>
                <a:lnTo>
                  <a:pt x="216" y="126"/>
                </a:lnTo>
                <a:lnTo>
                  <a:pt x="216" y="132"/>
                </a:lnTo>
                <a:lnTo>
                  <a:pt x="216" y="126"/>
                </a:lnTo>
                <a:lnTo>
                  <a:pt x="216" y="126"/>
                </a:lnTo>
                <a:lnTo>
                  <a:pt x="216" y="126"/>
                </a:lnTo>
                <a:lnTo>
                  <a:pt x="210" y="126"/>
                </a:lnTo>
                <a:lnTo>
                  <a:pt x="210" y="126"/>
                </a:lnTo>
                <a:lnTo>
                  <a:pt x="216" y="126"/>
                </a:lnTo>
                <a:lnTo>
                  <a:pt x="210" y="126"/>
                </a:lnTo>
                <a:lnTo>
                  <a:pt x="210" y="126"/>
                </a:lnTo>
                <a:lnTo>
                  <a:pt x="210" y="126"/>
                </a:lnTo>
                <a:lnTo>
                  <a:pt x="210" y="126"/>
                </a:lnTo>
                <a:lnTo>
                  <a:pt x="204" y="126"/>
                </a:lnTo>
                <a:lnTo>
                  <a:pt x="204" y="126"/>
                </a:lnTo>
                <a:lnTo>
                  <a:pt x="204" y="126"/>
                </a:lnTo>
                <a:lnTo>
                  <a:pt x="204" y="126"/>
                </a:lnTo>
                <a:lnTo>
                  <a:pt x="204" y="120"/>
                </a:lnTo>
                <a:lnTo>
                  <a:pt x="204" y="120"/>
                </a:lnTo>
                <a:lnTo>
                  <a:pt x="204" y="120"/>
                </a:lnTo>
                <a:lnTo>
                  <a:pt x="204" y="120"/>
                </a:lnTo>
                <a:lnTo>
                  <a:pt x="204" y="114"/>
                </a:lnTo>
                <a:lnTo>
                  <a:pt x="198" y="114"/>
                </a:lnTo>
                <a:lnTo>
                  <a:pt x="198" y="114"/>
                </a:lnTo>
                <a:lnTo>
                  <a:pt x="198" y="114"/>
                </a:lnTo>
                <a:lnTo>
                  <a:pt x="198" y="114"/>
                </a:lnTo>
                <a:lnTo>
                  <a:pt x="198" y="114"/>
                </a:lnTo>
                <a:lnTo>
                  <a:pt x="198" y="114"/>
                </a:lnTo>
                <a:lnTo>
                  <a:pt x="198" y="108"/>
                </a:lnTo>
                <a:lnTo>
                  <a:pt x="192" y="108"/>
                </a:lnTo>
                <a:lnTo>
                  <a:pt x="192" y="108"/>
                </a:lnTo>
                <a:lnTo>
                  <a:pt x="192" y="102"/>
                </a:lnTo>
                <a:lnTo>
                  <a:pt x="192" y="102"/>
                </a:lnTo>
                <a:lnTo>
                  <a:pt x="192" y="102"/>
                </a:lnTo>
                <a:lnTo>
                  <a:pt x="192" y="96"/>
                </a:lnTo>
                <a:lnTo>
                  <a:pt x="192" y="96"/>
                </a:lnTo>
                <a:lnTo>
                  <a:pt x="192" y="96"/>
                </a:lnTo>
                <a:lnTo>
                  <a:pt x="186" y="90"/>
                </a:lnTo>
                <a:lnTo>
                  <a:pt x="186" y="90"/>
                </a:lnTo>
                <a:lnTo>
                  <a:pt x="186" y="90"/>
                </a:lnTo>
                <a:lnTo>
                  <a:pt x="186" y="90"/>
                </a:lnTo>
                <a:lnTo>
                  <a:pt x="186" y="90"/>
                </a:lnTo>
                <a:lnTo>
                  <a:pt x="186" y="84"/>
                </a:lnTo>
                <a:lnTo>
                  <a:pt x="186" y="84"/>
                </a:lnTo>
                <a:lnTo>
                  <a:pt x="180" y="84"/>
                </a:lnTo>
                <a:lnTo>
                  <a:pt x="180" y="84"/>
                </a:lnTo>
                <a:lnTo>
                  <a:pt x="186" y="84"/>
                </a:lnTo>
                <a:lnTo>
                  <a:pt x="186" y="84"/>
                </a:lnTo>
                <a:lnTo>
                  <a:pt x="186" y="84"/>
                </a:lnTo>
                <a:lnTo>
                  <a:pt x="192" y="84"/>
                </a:lnTo>
                <a:lnTo>
                  <a:pt x="192" y="84"/>
                </a:lnTo>
                <a:lnTo>
                  <a:pt x="192" y="78"/>
                </a:lnTo>
                <a:lnTo>
                  <a:pt x="198" y="78"/>
                </a:lnTo>
                <a:lnTo>
                  <a:pt x="198" y="78"/>
                </a:lnTo>
                <a:lnTo>
                  <a:pt x="198" y="78"/>
                </a:lnTo>
                <a:lnTo>
                  <a:pt x="204" y="78"/>
                </a:lnTo>
                <a:lnTo>
                  <a:pt x="204" y="78"/>
                </a:lnTo>
                <a:lnTo>
                  <a:pt x="204" y="78"/>
                </a:lnTo>
                <a:lnTo>
                  <a:pt x="204" y="78"/>
                </a:lnTo>
                <a:lnTo>
                  <a:pt x="204" y="72"/>
                </a:lnTo>
                <a:lnTo>
                  <a:pt x="204" y="72"/>
                </a:lnTo>
                <a:lnTo>
                  <a:pt x="198" y="66"/>
                </a:lnTo>
                <a:lnTo>
                  <a:pt x="192" y="66"/>
                </a:lnTo>
                <a:lnTo>
                  <a:pt x="192" y="66"/>
                </a:lnTo>
                <a:lnTo>
                  <a:pt x="192" y="66"/>
                </a:lnTo>
                <a:lnTo>
                  <a:pt x="192" y="60"/>
                </a:lnTo>
                <a:lnTo>
                  <a:pt x="192" y="54"/>
                </a:lnTo>
                <a:lnTo>
                  <a:pt x="192" y="54"/>
                </a:lnTo>
                <a:lnTo>
                  <a:pt x="186" y="54"/>
                </a:lnTo>
                <a:lnTo>
                  <a:pt x="186" y="54"/>
                </a:lnTo>
                <a:lnTo>
                  <a:pt x="186" y="48"/>
                </a:lnTo>
                <a:lnTo>
                  <a:pt x="186" y="48"/>
                </a:lnTo>
                <a:lnTo>
                  <a:pt x="186" y="48"/>
                </a:lnTo>
                <a:lnTo>
                  <a:pt x="186" y="48"/>
                </a:lnTo>
                <a:lnTo>
                  <a:pt x="186" y="42"/>
                </a:lnTo>
                <a:lnTo>
                  <a:pt x="186" y="42"/>
                </a:lnTo>
                <a:lnTo>
                  <a:pt x="186" y="42"/>
                </a:lnTo>
                <a:lnTo>
                  <a:pt x="180" y="36"/>
                </a:lnTo>
                <a:lnTo>
                  <a:pt x="180" y="30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6" y="24"/>
                </a:lnTo>
                <a:lnTo>
                  <a:pt x="192" y="24"/>
                </a:lnTo>
                <a:lnTo>
                  <a:pt x="192" y="18"/>
                </a:lnTo>
                <a:lnTo>
                  <a:pt x="192" y="18"/>
                </a:lnTo>
                <a:lnTo>
                  <a:pt x="192" y="24"/>
                </a:lnTo>
                <a:lnTo>
                  <a:pt x="192" y="24"/>
                </a:lnTo>
                <a:lnTo>
                  <a:pt x="198" y="18"/>
                </a:lnTo>
                <a:lnTo>
                  <a:pt x="198" y="18"/>
                </a:lnTo>
                <a:lnTo>
                  <a:pt x="204" y="18"/>
                </a:lnTo>
                <a:lnTo>
                  <a:pt x="210" y="18"/>
                </a:lnTo>
                <a:lnTo>
                  <a:pt x="210" y="18"/>
                </a:lnTo>
                <a:lnTo>
                  <a:pt x="210" y="18"/>
                </a:lnTo>
                <a:lnTo>
                  <a:pt x="210" y="12"/>
                </a:lnTo>
                <a:lnTo>
                  <a:pt x="210" y="12"/>
                </a:lnTo>
                <a:lnTo>
                  <a:pt x="216" y="12"/>
                </a:lnTo>
                <a:lnTo>
                  <a:pt x="216" y="12"/>
                </a:lnTo>
                <a:lnTo>
                  <a:pt x="216" y="6"/>
                </a:lnTo>
                <a:lnTo>
                  <a:pt x="216" y="0"/>
                </a:lnTo>
                <a:lnTo>
                  <a:pt x="216" y="0"/>
                </a:lnTo>
                <a:lnTo>
                  <a:pt x="216" y="0"/>
                </a:lnTo>
                <a:lnTo>
                  <a:pt x="222" y="0"/>
                </a:lnTo>
                <a:lnTo>
                  <a:pt x="222" y="0"/>
                </a:lnTo>
                <a:lnTo>
                  <a:pt x="222" y="0"/>
                </a:lnTo>
                <a:lnTo>
                  <a:pt x="228" y="0"/>
                </a:lnTo>
                <a:lnTo>
                  <a:pt x="228" y="6"/>
                </a:lnTo>
                <a:lnTo>
                  <a:pt x="228" y="6"/>
                </a:lnTo>
                <a:lnTo>
                  <a:pt x="228" y="6"/>
                </a:lnTo>
                <a:lnTo>
                  <a:pt x="234" y="6"/>
                </a:lnTo>
                <a:lnTo>
                  <a:pt x="234" y="6"/>
                </a:lnTo>
                <a:lnTo>
                  <a:pt x="240" y="6"/>
                </a:lnTo>
                <a:lnTo>
                  <a:pt x="246" y="6"/>
                </a:lnTo>
                <a:lnTo>
                  <a:pt x="246" y="6"/>
                </a:lnTo>
                <a:lnTo>
                  <a:pt x="246" y="6"/>
                </a:lnTo>
                <a:lnTo>
                  <a:pt x="246" y="6"/>
                </a:lnTo>
                <a:lnTo>
                  <a:pt x="246" y="6"/>
                </a:lnTo>
                <a:lnTo>
                  <a:pt x="246" y="12"/>
                </a:lnTo>
                <a:lnTo>
                  <a:pt x="246" y="12"/>
                </a:lnTo>
                <a:lnTo>
                  <a:pt x="246" y="18"/>
                </a:lnTo>
                <a:lnTo>
                  <a:pt x="246" y="18"/>
                </a:lnTo>
                <a:lnTo>
                  <a:pt x="246" y="24"/>
                </a:lnTo>
                <a:lnTo>
                  <a:pt x="246" y="24"/>
                </a:lnTo>
                <a:lnTo>
                  <a:pt x="252" y="30"/>
                </a:lnTo>
                <a:lnTo>
                  <a:pt x="252" y="36"/>
                </a:lnTo>
                <a:lnTo>
                  <a:pt x="252" y="42"/>
                </a:lnTo>
                <a:lnTo>
                  <a:pt x="252" y="42"/>
                </a:lnTo>
                <a:lnTo>
                  <a:pt x="252" y="42"/>
                </a:lnTo>
                <a:lnTo>
                  <a:pt x="252" y="48"/>
                </a:lnTo>
                <a:lnTo>
                  <a:pt x="252" y="54"/>
                </a:lnTo>
                <a:lnTo>
                  <a:pt x="252" y="54"/>
                </a:lnTo>
                <a:lnTo>
                  <a:pt x="252" y="60"/>
                </a:lnTo>
                <a:lnTo>
                  <a:pt x="252" y="60"/>
                </a:lnTo>
                <a:lnTo>
                  <a:pt x="258" y="60"/>
                </a:lnTo>
                <a:lnTo>
                  <a:pt x="258" y="60"/>
                </a:lnTo>
                <a:lnTo>
                  <a:pt x="264" y="60"/>
                </a:lnTo>
                <a:lnTo>
                  <a:pt x="270" y="60"/>
                </a:lnTo>
                <a:lnTo>
                  <a:pt x="270" y="54"/>
                </a:lnTo>
                <a:lnTo>
                  <a:pt x="270" y="54"/>
                </a:lnTo>
                <a:lnTo>
                  <a:pt x="270" y="54"/>
                </a:lnTo>
                <a:lnTo>
                  <a:pt x="276" y="54"/>
                </a:lnTo>
                <a:lnTo>
                  <a:pt x="276" y="54"/>
                </a:lnTo>
                <a:lnTo>
                  <a:pt x="276" y="60"/>
                </a:lnTo>
                <a:lnTo>
                  <a:pt x="282" y="66"/>
                </a:lnTo>
                <a:lnTo>
                  <a:pt x="282" y="72"/>
                </a:lnTo>
                <a:lnTo>
                  <a:pt x="282" y="78"/>
                </a:lnTo>
                <a:lnTo>
                  <a:pt x="288" y="84"/>
                </a:lnTo>
                <a:lnTo>
                  <a:pt x="282" y="84"/>
                </a:lnTo>
                <a:lnTo>
                  <a:pt x="282" y="90"/>
                </a:lnTo>
                <a:lnTo>
                  <a:pt x="282" y="90"/>
                </a:lnTo>
                <a:lnTo>
                  <a:pt x="282" y="90"/>
                </a:lnTo>
                <a:lnTo>
                  <a:pt x="288" y="90"/>
                </a:lnTo>
                <a:lnTo>
                  <a:pt x="288" y="90"/>
                </a:lnTo>
                <a:lnTo>
                  <a:pt x="294" y="90"/>
                </a:lnTo>
                <a:lnTo>
                  <a:pt x="294" y="90"/>
                </a:lnTo>
                <a:lnTo>
                  <a:pt x="300" y="84"/>
                </a:lnTo>
                <a:lnTo>
                  <a:pt x="300" y="84"/>
                </a:lnTo>
                <a:lnTo>
                  <a:pt x="306" y="84"/>
                </a:lnTo>
                <a:lnTo>
                  <a:pt x="312" y="84"/>
                </a:lnTo>
                <a:lnTo>
                  <a:pt x="312" y="78"/>
                </a:lnTo>
                <a:lnTo>
                  <a:pt x="318" y="78"/>
                </a:lnTo>
                <a:lnTo>
                  <a:pt x="318" y="78"/>
                </a:lnTo>
                <a:lnTo>
                  <a:pt x="324" y="78"/>
                </a:lnTo>
                <a:lnTo>
                  <a:pt x="330" y="78"/>
                </a:lnTo>
                <a:lnTo>
                  <a:pt x="336" y="78"/>
                </a:lnTo>
                <a:lnTo>
                  <a:pt x="336" y="78"/>
                </a:lnTo>
                <a:lnTo>
                  <a:pt x="342" y="78"/>
                </a:lnTo>
                <a:lnTo>
                  <a:pt x="342" y="78"/>
                </a:lnTo>
                <a:lnTo>
                  <a:pt x="342" y="84"/>
                </a:lnTo>
                <a:lnTo>
                  <a:pt x="348" y="84"/>
                </a:lnTo>
                <a:lnTo>
                  <a:pt x="348" y="90"/>
                </a:lnTo>
                <a:lnTo>
                  <a:pt x="348" y="90"/>
                </a:lnTo>
                <a:lnTo>
                  <a:pt x="354" y="96"/>
                </a:lnTo>
                <a:lnTo>
                  <a:pt x="354" y="96"/>
                </a:lnTo>
                <a:lnTo>
                  <a:pt x="360" y="90"/>
                </a:lnTo>
                <a:lnTo>
                  <a:pt x="366" y="90"/>
                </a:lnTo>
                <a:lnTo>
                  <a:pt x="372" y="90"/>
                </a:lnTo>
                <a:lnTo>
                  <a:pt x="372" y="90"/>
                </a:lnTo>
                <a:lnTo>
                  <a:pt x="378" y="96"/>
                </a:lnTo>
                <a:lnTo>
                  <a:pt x="378" y="96"/>
                </a:lnTo>
                <a:lnTo>
                  <a:pt x="384" y="96"/>
                </a:lnTo>
                <a:lnTo>
                  <a:pt x="390" y="96"/>
                </a:lnTo>
                <a:lnTo>
                  <a:pt x="390" y="96"/>
                </a:lnTo>
                <a:lnTo>
                  <a:pt x="390" y="96"/>
                </a:lnTo>
                <a:lnTo>
                  <a:pt x="390" y="102"/>
                </a:lnTo>
                <a:lnTo>
                  <a:pt x="390" y="108"/>
                </a:lnTo>
                <a:lnTo>
                  <a:pt x="384" y="114"/>
                </a:lnTo>
                <a:lnTo>
                  <a:pt x="384" y="114"/>
                </a:lnTo>
                <a:lnTo>
                  <a:pt x="390" y="114"/>
                </a:lnTo>
                <a:lnTo>
                  <a:pt x="390" y="114"/>
                </a:lnTo>
                <a:lnTo>
                  <a:pt x="396" y="114"/>
                </a:lnTo>
                <a:lnTo>
                  <a:pt x="402" y="114"/>
                </a:lnTo>
                <a:lnTo>
                  <a:pt x="402" y="114"/>
                </a:lnTo>
                <a:lnTo>
                  <a:pt x="408" y="114"/>
                </a:lnTo>
                <a:lnTo>
                  <a:pt x="408" y="120"/>
                </a:lnTo>
                <a:lnTo>
                  <a:pt x="414" y="120"/>
                </a:lnTo>
                <a:lnTo>
                  <a:pt x="414" y="126"/>
                </a:lnTo>
                <a:lnTo>
                  <a:pt x="420" y="126"/>
                </a:lnTo>
                <a:lnTo>
                  <a:pt x="426" y="126"/>
                </a:lnTo>
                <a:lnTo>
                  <a:pt x="426" y="126"/>
                </a:lnTo>
                <a:lnTo>
                  <a:pt x="432" y="126"/>
                </a:lnTo>
                <a:lnTo>
                  <a:pt x="438" y="126"/>
                </a:lnTo>
                <a:lnTo>
                  <a:pt x="438" y="120"/>
                </a:lnTo>
                <a:lnTo>
                  <a:pt x="444" y="114"/>
                </a:lnTo>
                <a:lnTo>
                  <a:pt x="444" y="96"/>
                </a:lnTo>
                <a:lnTo>
                  <a:pt x="444" y="96"/>
                </a:lnTo>
                <a:lnTo>
                  <a:pt x="450" y="90"/>
                </a:lnTo>
                <a:lnTo>
                  <a:pt x="450" y="90"/>
                </a:lnTo>
                <a:lnTo>
                  <a:pt x="456" y="90"/>
                </a:lnTo>
                <a:lnTo>
                  <a:pt x="462" y="84"/>
                </a:lnTo>
                <a:lnTo>
                  <a:pt x="462" y="84"/>
                </a:lnTo>
                <a:lnTo>
                  <a:pt x="462" y="84"/>
                </a:lnTo>
                <a:lnTo>
                  <a:pt x="462" y="84"/>
                </a:lnTo>
                <a:lnTo>
                  <a:pt x="468" y="84"/>
                </a:lnTo>
                <a:lnTo>
                  <a:pt x="468" y="84"/>
                </a:lnTo>
                <a:lnTo>
                  <a:pt x="474" y="84"/>
                </a:lnTo>
                <a:lnTo>
                  <a:pt x="474" y="84"/>
                </a:lnTo>
                <a:lnTo>
                  <a:pt x="486" y="78"/>
                </a:lnTo>
                <a:lnTo>
                  <a:pt x="486" y="78"/>
                </a:lnTo>
                <a:lnTo>
                  <a:pt x="492" y="78"/>
                </a:lnTo>
                <a:lnTo>
                  <a:pt x="498" y="78"/>
                </a:lnTo>
                <a:lnTo>
                  <a:pt x="498" y="72"/>
                </a:lnTo>
                <a:lnTo>
                  <a:pt x="504" y="72"/>
                </a:lnTo>
                <a:lnTo>
                  <a:pt x="504" y="66"/>
                </a:lnTo>
                <a:lnTo>
                  <a:pt x="510" y="66"/>
                </a:lnTo>
                <a:lnTo>
                  <a:pt x="516" y="66"/>
                </a:lnTo>
                <a:lnTo>
                  <a:pt x="516" y="66"/>
                </a:lnTo>
                <a:lnTo>
                  <a:pt x="522" y="66"/>
                </a:lnTo>
                <a:lnTo>
                  <a:pt x="522" y="66"/>
                </a:lnTo>
                <a:lnTo>
                  <a:pt x="528" y="66"/>
                </a:lnTo>
                <a:lnTo>
                  <a:pt x="534" y="66"/>
                </a:lnTo>
                <a:lnTo>
                  <a:pt x="534" y="66"/>
                </a:lnTo>
                <a:lnTo>
                  <a:pt x="534" y="66"/>
                </a:lnTo>
                <a:lnTo>
                  <a:pt x="540" y="66"/>
                </a:lnTo>
                <a:lnTo>
                  <a:pt x="540" y="66"/>
                </a:lnTo>
                <a:lnTo>
                  <a:pt x="540" y="72"/>
                </a:lnTo>
                <a:lnTo>
                  <a:pt x="540" y="78"/>
                </a:lnTo>
                <a:lnTo>
                  <a:pt x="546" y="78"/>
                </a:lnTo>
                <a:lnTo>
                  <a:pt x="546" y="84"/>
                </a:lnTo>
                <a:lnTo>
                  <a:pt x="546" y="84"/>
                </a:lnTo>
                <a:lnTo>
                  <a:pt x="546" y="90"/>
                </a:lnTo>
                <a:lnTo>
                  <a:pt x="546" y="90"/>
                </a:lnTo>
                <a:lnTo>
                  <a:pt x="546" y="90"/>
                </a:lnTo>
                <a:lnTo>
                  <a:pt x="546" y="96"/>
                </a:lnTo>
                <a:lnTo>
                  <a:pt x="552" y="96"/>
                </a:lnTo>
                <a:lnTo>
                  <a:pt x="552" y="96"/>
                </a:lnTo>
                <a:lnTo>
                  <a:pt x="552" y="96"/>
                </a:lnTo>
                <a:lnTo>
                  <a:pt x="552" y="96"/>
                </a:lnTo>
                <a:lnTo>
                  <a:pt x="552" y="96"/>
                </a:lnTo>
                <a:lnTo>
                  <a:pt x="552" y="96"/>
                </a:lnTo>
                <a:lnTo>
                  <a:pt x="552" y="90"/>
                </a:lnTo>
                <a:lnTo>
                  <a:pt x="558" y="90"/>
                </a:lnTo>
                <a:lnTo>
                  <a:pt x="558" y="90"/>
                </a:lnTo>
                <a:lnTo>
                  <a:pt x="558" y="90"/>
                </a:lnTo>
                <a:lnTo>
                  <a:pt x="558" y="90"/>
                </a:lnTo>
                <a:lnTo>
                  <a:pt x="564" y="90"/>
                </a:lnTo>
                <a:lnTo>
                  <a:pt x="564" y="90"/>
                </a:lnTo>
                <a:lnTo>
                  <a:pt x="570" y="90"/>
                </a:lnTo>
                <a:lnTo>
                  <a:pt x="570" y="90"/>
                </a:lnTo>
                <a:lnTo>
                  <a:pt x="570" y="90"/>
                </a:lnTo>
                <a:lnTo>
                  <a:pt x="576" y="84"/>
                </a:lnTo>
                <a:lnTo>
                  <a:pt x="576" y="84"/>
                </a:lnTo>
                <a:lnTo>
                  <a:pt x="576" y="90"/>
                </a:lnTo>
                <a:lnTo>
                  <a:pt x="576" y="90"/>
                </a:lnTo>
                <a:lnTo>
                  <a:pt x="576" y="90"/>
                </a:lnTo>
                <a:lnTo>
                  <a:pt x="576" y="90"/>
                </a:lnTo>
                <a:lnTo>
                  <a:pt x="582" y="90"/>
                </a:lnTo>
                <a:lnTo>
                  <a:pt x="582" y="90"/>
                </a:lnTo>
                <a:lnTo>
                  <a:pt x="582" y="96"/>
                </a:lnTo>
                <a:lnTo>
                  <a:pt x="582" y="96"/>
                </a:lnTo>
                <a:lnTo>
                  <a:pt x="582" y="96"/>
                </a:lnTo>
                <a:lnTo>
                  <a:pt x="582" y="96"/>
                </a:lnTo>
                <a:lnTo>
                  <a:pt x="582" y="96"/>
                </a:lnTo>
                <a:lnTo>
                  <a:pt x="582" y="96"/>
                </a:lnTo>
                <a:lnTo>
                  <a:pt x="588" y="102"/>
                </a:lnTo>
                <a:lnTo>
                  <a:pt x="588" y="102"/>
                </a:lnTo>
                <a:lnTo>
                  <a:pt x="588" y="108"/>
                </a:lnTo>
                <a:lnTo>
                  <a:pt x="588" y="114"/>
                </a:lnTo>
                <a:lnTo>
                  <a:pt x="594" y="114"/>
                </a:lnTo>
                <a:lnTo>
                  <a:pt x="594" y="114"/>
                </a:lnTo>
                <a:lnTo>
                  <a:pt x="594" y="120"/>
                </a:lnTo>
                <a:lnTo>
                  <a:pt x="594" y="126"/>
                </a:lnTo>
                <a:lnTo>
                  <a:pt x="594" y="126"/>
                </a:lnTo>
                <a:lnTo>
                  <a:pt x="594" y="132"/>
                </a:lnTo>
                <a:lnTo>
                  <a:pt x="600" y="138"/>
                </a:lnTo>
                <a:lnTo>
                  <a:pt x="600" y="138"/>
                </a:lnTo>
                <a:lnTo>
                  <a:pt x="600" y="144"/>
                </a:lnTo>
                <a:lnTo>
                  <a:pt x="600" y="138"/>
                </a:lnTo>
                <a:lnTo>
                  <a:pt x="600" y="144"/>
                </a:lnTo>
                <a:lnTo>
                  <a:pt x="606" y="144"/>
                </a:lnTo>
                <a:lnTo>
                  <a:pt x="612" y="144"/>
                </a:lnTo>
                <a:lnTo>
                  <a:pt x="612" y="144"/>
                </a:lnTo>
                <a:lnTo>
                  <a:pt x="618" y="144"/>
                </a:lnTo>
                <a:lnTo>
                  <a:pt x="618" y="150"/>
                </a:lnTo>
                <a:lnTo>
                  <a:pt x="624" y="150"/>
                </a:lnTo>
                <a:lnTo>
                  <a:pt x="624" y="150"/>
                </a:lnTo>
                <a:lnTo>
                  <a:pt x="624" y="150"/>
                </a:lnTo>
                <a:lnTo>
                  <a:pt x="624" y="150"/>
                </a:lnTo>
                <a:lnTo>
                  <a:pt x="624" y="150"/>
                </a:lnTo>
                <a:lnTo>
                  <a:pt x="624" y="156"/>
                </a:lnTo>
                <a:lnTo>
                  <a:pt x="624" y="156"/>
                </a:lnTo>
                <a:lnTo>
                  <a:pt x="624" y="156"/>
                </a:lnTo>
                <a:lnTo>
                  <a:pt x="624" y="156"/>
                </a:lnTo>
                <a:lnTo>
                  <a:pt x="624" y="162"/>
                </a:lnTo>
                <a:lnTo>
                  <a:pt x="630" y="162"/>
                </a:lnTo>
                <a:lnTo>
                  <a:pt x="630" y="168"/>
                </a:lnTo>
                <a:lnTo>
                  <a:pt x="630" y="168"/>
                </a:lnTo>
                <a:lnTo>
                  <a:pt x="630" y="174"/>
                </a:lnTo>
                <a:lnTo>
                  <a:pt x="630" y="174"/>
                </a:lnTo>
                <a:lnTo>
                  <a:pt x="624" y="174"/>
                </a:lnTo>
                <a:lnTo>
                  <a:pt x="624" y="168"/>
                </a:lnTo>
                <a:lnTo>
                  <a:pt x="624" y="168"/>
                </a:lnTo>
                <a:lnTo>
                  <a:pt x="618" y="168"/>
                </a:lnTo>
                <a:lnTo>
                  <a:pt x="612" y="174"/>
                </a:lnTo>
                <a:lnTo>
                  <a:pt x="612" y="174"/>
                </a:lnTo>
                <a:lnTo>
                  <a:pt x="612" y="174"/>
                </a:lnTo>
                <a:lnTo>
                  <a:pt x="612" y="180"/>
                </a:lnTo>
                <a:lnTo>
                  <a:pt x="600" y="180"/>
                </a:lnTo>
                <a:lnTo>
                  <a:pt x="600" y="180"/>
                </a:lnTo>
                <a:lnTo>
                  <a:pt x="600" y="186"/>
                </a:lnTo>
                <a:lnTo>
                  <a:pt x="600" y="186"/>
                </a:lnTo>
                <a:lnTo>
                  <a:pt x="600" y="186"/>
                </a:lnTo>
                <a:lnTo>
                  <a:pt x="600" y="186"/>
                </a:lnTo>
                <a:lnTo>
                  <a:pt x="600" y="192"/>
                </a:lnTo>
                <a:lnTo>
                  <a:pt x="600" y="192"/>
                </a:lnTo>
                <a:lnTo>
                  <a:pt x="594" y="192"/>
                </a:lnTo>
                <a:lnTo>
                  <a:pt x="588" y="192"/>
                </a:lnTo>
                <a:lnTo>
                  <a:pt x="588" y="192"/>
                </a:lnTo>
                <a:lnTo>
                  <a:pt x="588" y="198"/>
                </a:lnTo>
                <a:lnTo>
                  <a:pt x="588" y="198"/>
                </a:lnTo>
                <a:lnTo>
                  <a:pt x="594" y="204"/>
                </a:lnTo>
                <a:lnTo>
                  <a:pt x="618" y="204"/>
                </a:lnTo>
                <a:lnTo>
                  <a:pt x="618" y="204"/>
                </a:lnTo>
                <a:lnTo>
                  <a:pt x="618" y="210"/>
                </a:lnTo>
                <a:lnTo>
                  <a:pt x="618" y="210"/>
                </a:lnTo>
                <a:lnTo>
                  <a:pt x="618" y="210"/>
                </a:lnTo>
                <a:lnTo>
                  <a:pt x="618" y="210"/>
                </a:lnTo>
                <a:lnTo>
                  <a:pt x="618" y="210"/>
                </a:lnTo>
                <a:lnTo>
                  <a:pt x="618" y="216"/>
                </a:lnTo>
                <a:lnTo>
                  <a:pt x="618" y="216"/>
                </a:lnTo>
                <a:lnTo>
                  <a:pt x="618" y="216"/>
                </a:lnTo>
                <a:lnTo>
                  <a:pt x="618" y="216"/>
                </a:lnTo>
                <a:lnTo>
                  <a:pt x="618" y="216"/>
                </a:lnTo>
                <a:lnTo>
                  <a:pt x="624" y="216"/>
                </a:lnTo>
                <a:lnTo>
                  <a:pt x="624" y="216"/>
                </a:lnTo>
                <a:lnTo>
                  <a:pt x="624" y="216"/>
                </a:lnTo>
                <a:lnTo>
                  <a:pt x="630" y="216"/>
                </a:lnTo>
                <a:lnTo>
                  <a:pt x="630" y="216"/>
                </a:lnTo>
                <a:lnTo>
                  <a:pt x="630" y="222"/>
                </a:lnTo>
                <a:lnTo>
                  <a:pt x="630" y="222"/>
                </a:lnTo>
                <a:lnTo>
                  <a:pt x="630" y="222"/>
                </a:lnTo>
                <a:lnTo>
                  <a:pt x="630" y="222"/>
                </a:lnTo>
                <a:lnTo>
                  <a:pt x="630" y="222"/>
                </a:lnTo>
                <a:lnTo>
                  <a:pt x="630" y="228"/>
                </a:lnTo>
                <a:lnTo>
                  <a:pt x="630" y="228"/>
                </a:lnTo>
                <a:lnTo>
                  <a:pt x="630" y="234"/>
                </a:lnTo>
                <a:lnTo>
                  <a:pt x="624" y="234"/>
                </a:lnTo>
                <a:lnTo>
                  <a:pt x="624" y="234"/>
                </a:lnTo>
                <a:lnTo>
                  <a:pt x="618" y="240"/>
                </a:lnTo>
                <a:lnTo>
                  <a:pt x="618" y="240"/>
                </a:lnTo>
                <a:lnTo>
                  <a:pt x="618" y="246"/>
                </a:lnTo>
                <a:lnTo>
                  <a:pt x="618" y="264"/>
                </a:lnTo>
                <a:lnTo>
                  <a:pt x="618" y="264"/>
                </a:lnTo>
                <a:lnTo>
                  <a:pt x="618" y="258"/>
                </a:lnTo>
                <a:lnTo>
                  <a:pt x="624" y="264"/>
                </a:lnTo>
                <a:lnTo>
                  <a:pt x="630" y="258"/>
                </a:lnTo>
                <a:lnTo>
                  <a:pt x="630" y="258"/>
                </a:lnTo>
                <a:lnTo>
                  <a:pt x="630" y="264"/>
                </a:lnTo>
                <a:lnTo>
                  <a:pt x="630" y="258"/>
                </a:lnTo>
                <a:lnTo>
                  <a:pt x="636" y="258"/>
                </a:lnTo>
                <a:lnTo>
                  <a:pt x="636" y="252"/>
                </a:lnTo>
                <a:lnTo>
                  <a:pt x="636" y="258"/>
                </a:lnTo>
                <a:lnTo>
                  <a:pt x="636" y="258"/>
                </a:lnTo>
                <a:lnTo>
                  <a:pt x="642" y="258"/>
                </a:lnTo>
                <a:lnTo>
                  <a:pt x="642" y="258"/>
                </a:lnTo>
                <a:lnTo>
                  <a:pt x="642" y="258"/>
                </a:lnTo>
                <a:lnTo>
                  <a:pt x="642" y="258"/>
                </a:lnTo>
                <a:lnTo>
                  <a:pt x="642" y="264"/>
                </a:lnTo>
                <a:lnTo>
                  <a:pt x="642" y="264"/>
                </a:lnTo>
                <a:lnTo>
                  <a:pt x="648" y="264"/>
                </a:lnTo>
                <a:lnTo>
                  <a:pt x="648" y="258"/>
                </a:lnTo>
                <a:lnTo>
                  <a:pt x="648" y="264"/>
                </a:lnTo>
                <a:lnTo>
                  <a:pt x="648" y="264"/>
                </a:lnTo>
                <a:lnTo>
                  <a:pt x="654" y="264"/>
                </a:lnTo>
                <a:lnTo>
                  <a:pt x="654" y="264"/>
                </a:lnTo>
                <a:lnTo>
                  <a:pt x="654" y="264"/>
                </a:lnTo>
                <a:lnTo>
                  <a:pt x="654" y="264"/>
                </a:lnTo>
                <a:lnTo>
                  <a:pt x="654" y="264"/>
                </a:lnTo>
                <a:lnTo>
                  <a:pt x="660" y="264"/>
                </a:lnTo>
                <a:lnTo>
                  <a:pt x="660" y="264"/>
                </a:lnTo>
                <a:lnTo>
                  <a:pt x="660" y="264"/>
                </a:lnTo>
                <a:lnTo>
                  <a:pt x="660" y="264"/>
                </a:lnTo>
                <a:lnTo>
                  <a:pt x="666" y="264"/>
                </a:lnTo>
                <a:lnTo>
                  <a:pt x="666" y="270"/>
                </a:lnTo>
                <a:lnTo>
                  <a:pt x="660" y="276"/>
                </a:lnTo>
                <a:lnTo>
                  <a:pt x="660" y="282"/>
                </a:lnTo>
                <a:lnTo>
                  <a:pt x="636" y="300"/>
                </a:lnTo>
                <a:lnTo>
                  <a:pt x="618" y="318"/>
                </a:lnTo>
                <a:lnTo>
                  <a:pt x="606" y="324"/>
                </a:lnTo>
                <a:lnTo>
                  <a:pt x="606" y="330"/>
                </a:lnTo>
                <a:lnTo>
                  <a:pt x="600" y="336"/>
                </a:lnTo>
                <a:lnTo>
                  <a:pt x="600" y="342"/>
                </a:lnTo>
                <a:lnTo>
                  <a:pt x="600" y="342"/>
                </a:lnTo>
                <a:lnTo>
                  <a:pt x="582" y="354"/>
                </a:lnTo>
                <a:lnTo>
                  <a:pt x="582" y="360"/>
                </a:lnTo>
                <a:lnTo>
                  <a:pt x="576" y="366"/>
                </a:lnTo>
                <a:lnTo>
                  <a:pt x="570" y="366"/>
                </a:lnTo>
                <a:lnTo>
                  <a:pt x="558" y="378"/>
                </a:lnTo>
                <a:lnTo>
                  <a:pt x="552" y="384"/>
                </a:lnTo>
                <a:lnTo>
                  <a:pt x="546" y="390"/>
                </a:lnTo>
                <a:lnTo>
                  <a:pt x="540" y="396"/>
                </a:lnTo>
                <a:lnTo>
                  <a:pt x="528" y="402"/>
                </a:lnTo>
                <a:lnTo>
                  <a:pt x="516" y="414"/>
                </a:lnTo>
                <a:lnTo>
                  <a:pt x="516" y="414"/>
                </a:lnTo>
                <a:lnTo>
                  <a:pt x="510" y="414"/>
                </a:lnTo>
                <a:lnTo>
                  <a:pt x="504" y="420"/>
                </a:lnTo>
                <a:lnTo>
                  <a:pt x="498" y="432"/>
                </a:lnTo>
                <a:lnTo>
                  <a:pt x="498" y="432"/>
                </a:lnTo>
                <a:lnTo>
                  <a:pt x="468" y="408"/>
                </a:lnTo>
                <a:lnTo>
                  <a:pt x="432" y="372"/>
                </a:lnTo>
                <a:lnTo>
                  <a:pt x="426" y="360"/>
                </a:lnTo>
                <a:lnTo>
                  <a:pt x="420" y="360"/>
                </a:lnTo>
                <a:lnTo>
                  <a:pt x="420" y="360"/>
                </a:lnTo>
                <a:lnTo>
                  <a:pt x="420" y="366"/>
                </a:lnTo>
                <a:lnTo>
                  <a:pt x="420" y="366"/>
                </a:lnTo>
                <a:lnTo>
                  <a:pt x="420" y="372"/>
                </a:lnTo>
                <a:lnTo>
                  <a:pt x="414" y="372"/>
                </a:lnTo>
                <a:lnTo>
                  <a:pt x="414" y="372"/>
                </a:lnTo>
                <a:lnTo>
                  <a:pt x="414" y="372"/>
                </a:lnTo>
                <a:lnTo>
                  <a:pt x="414" y="372"/>
                </a:lnTo>
                <a:lnTo>
                  <a:pt x="414" y="366"/>
                </a:lnTo>
                <a:lnTo>
                  <a:pt x="414" y="366"/>
                </a:lnTo>
                <a:lnTo>
                  <a:pt x="420" y="366"/>
                </a:lnTo>
                <a:lnTo>
                  <a:pt x="420" y="360"/>
                </a:lnTo>
                <a:lnTo>
                  <a:pt x="420" y="360"/>
                </a:lnTo>
                <a:lnTo>
                  <a:pt x="420" y="360"/>
                </a:lnTo>
                <a:lnTo>
                  <a:pt x="414" y="354"/>
                </a:lnTo>
                <a:lnTo>
                  <a:pt x="414" y="354"/>
                </a:lnTo>
                <a:lnTo>
                  <a:pt x="414" y="354"/>
                </a:lnTo>
                <a:lnTo>
                  <a:pt x="414" y="354"/>
                </a:lnTo>
                <a:lnTo>
                  <a:pt x="408" y="354"/>
                </a:lnTo>
                <a:lnTo>
                  <a:pt x="408" y="354"/>
                </a:lnTo>
                <a:lnTo>
                  <a:pt x="402" y="348"/>
                </a:lnTo>
                <a:lnTo>
                  <a:pt x="402" y="348"/>
                </a:lnTo>
                <a:lnTo>
                  <a:pt x="402" y="348"/>
                </a:lnTo>
                <a:lnTo>
                  <a:pt x="402" y="348"/>
                </a:lnTo>
                <a:lnTo>
                  <a:pt x="402" y="342"/>
                </a:lnTo>
                <a:lnTo>
                  <a:pt x="402" y="342"/>
                </a:lnTo>
                <a:lnTo>
                  <a:pt x="402" y="342"/>
                </a:lnTo>
                <a:lnTo>
                  <a:pt x="402" y="342"/>
                </a:lnTo>
                <a:lnTo>
                  <a:pt x="402" y="336"/>
                </a:lnTo>
                <a:lnTo>
                  <a:pt x="402" y="336"/>
                </a:lnTo>
                <a:lnTo>
                  <a:pt x="402" y="330"/>
                </a:lnTo>
                <a:lnTo>
                  <a:pt x="402" y="330"/>
                </a:lnTo>
                <a:lnTo>
                  <a:pt x="402" y="330"/>
                </a:lnTo>
                <a:lnTo>
                  <a:pt x="402" y="330"/>
                </a:lnTo>
                <a:lnTo>
                  <a:pt x="396" y="324"/>
                </a:lnTo>
                <a:lnTo>
                  <a:pt x="396" y="324"/>
                </a:lnTo>
                <a:lnTo>
                  <a:pt x="396" y="324"/>
                </a:lnTo>
                <a:lnTo>
                  <a:pt x="390" y="324"/>
                </a:lnTo>
                <a:lnTo>
                  <a:pt x="390" y="324"/>
                </a:lnTo>
                <a:lnTo>
                  <a:pt x="384" y="324"/>
                </a:lnTo>
                <a:lnTo>
                  <a:pt x="384" y="318"/>
                </a:lnTo>
                <a:lnTo>
                  <a:pt x="384" y="318"/>
                </a:lnTo>
                <a:lnTo>
                  <a:pt x="378" y="318"/>
                </a:lnTo>
                <a:lnTo>
                  <a:pt x="378" y="318"/>
                </a:lnTo>
                <a:lnTo>
                  <a:pt x="378" y="312"/>
                </a:lnTo>
                <a:lnTo>
                  <a:pt x="378" y="312"/>
                </a:lnTo>
                <a:lnTo>
                  <a:pt x="378" y="312"/>
                </a:lnTo>
                <a:lnTo>
                  <a:pt x="378" y="312"/>
                </a:lnTo>
                <a:lnTo>
                  <a:pt x="372" y="312"/>
                </a:lnTo>
                <a:lnTo>
                  <a:pt x="372" y="312"/>
                </a:lnTo>
                <a:lnTo>
                  <a:pt x="372" y="318"/>
                </a:lnTo>
                <a:lnTo>
                  <a:pt x="378" y="318"/>
                </a:lnTo>
                <a:lnTo>
                  <a:pt x="378" y="324"/>
                </a:lnTo>
                <a:lnTo>
                  <a:pt x="378" y="330"/>
                </a:lnTo>
                <a:lnTo>
                  <a:pt x="378" y="330"/>
                </a:lnTo>
                <a:lnTo>
                  <a:pt x="378" y="336"/>
                </a:lnTo>
                <a:lnTo>
                  <a:pt x="372" y="342"/>
                </a:lnTo>
                <a:lnTo>
                  <a:pt x="366" y="342"/>
                </a:lnTo>
                <a:lnTo>
                  <a:pt x="360" y="342"/>
                </a:lnTo>
                <a:lnTo>
                  <a:pt x="354" y="342"/>
                </a:lnTo>
                <a:lnTo>
                  <a:pt x="354" y="348"/>
                </a:lnTo>
                <a:lnTo>
                  <a:pt x="354" y="348"/>
                </a:lnTo>
                <a:lnTo>
                  <a:pt x="348" y="354"/>
                </a:lnTo>
                <a:lnTo>
                  <a:pt x="348" y="360"/>
                </a:lnTo>
                <a:lnTo>
                  <a:pt x="348" y="360"/>
                </a:lnTo>
                <a:lnTo>
                  <a:pt x="342" y="366"/>
                </a:lnTo>
                <a:lnTo>
                  <a:pt x="336" y="372"/>
                </a:lnTo>
                <a:lnTo>
                  <a:pt x="336" y="372"/>
                </a:lnTo>
                <a:lnTo>
                  <a:pt x="336" y="372"/>
                </a:lnTo>
                <a:lnTo>
                  <a:pt x="336" y="384"/>
                </a:lnTo>
                <a:lnTo>
                  <a:pt x="330" y="384"/>
                </a:lnTo>
                <a:lnTo>
                  <a:pt x="330" y="384"/>
                </a:lnTo>
                <a:lnTo>
                  <a:pt x="330" y="390"/>
                </a:lnTo>
                <a:lnTo>
                  <a:pt x="330" y="390"/>
                </a:lnTo>
                <a:lnTo>
                  <a:pt x="324" y="390"/>
                </a:lnTo>
                <a:lnTo>
                  <a:pt x="324" y="396"/>
                </a:lnTo>
                <a:lnTo>
                  <a:pt x="318" y="396"/>
                </a:lnTo>
                <a:lnTo>
                  <a:pt x="306" y="396"/>
                </a:lnTo>
                <a:lnTo>
                  <a:pt x="306" y="396"/>
                </a:lnTo>
                <a:lnTo>
                  <a:pt x="300" y="390"/>
                </a:lnTo>
                <a:lnTo>
                  <a:pt x="300" y="390"/>
                </a:lnTo>
                <a:lnTo>
                  <a:pt x="294" y="396"/>
                </a:lnTo>
                <a:lnTo>
                  <a:pt x="294" y="390"/>
                </a:lnTo>
                <a:lnTo>
                  <a:pt x="288" y="390"/>
                </a:lnTo>
                <a:lnTo>
                  <a:pt x="288" y="390"/>
                </a:lnTo>
                <a:lnTo>
                  <a:pt x="288" y="390"/>
                </a:lnTo>
                <a:lnTo>
                  <a:pt x="282" y="390"/>
                </a:lnTo>
                <a:lnTo>
                  <a:pt x="282" y="390"/>
                </a:lnTo>
                <a:lnTo>
                  <a:pt x="276" y="390"/>
                </a:lnTo>
                <a:lnTo>
                  <a:pt x="276" y="396"/>
                </a:lnTo>
                <a:lnTo>
                  <a:pt x="270" y="396"/>
                </a:lnTo>
                <a:lnTo>
                  <a:pt x="264" y="396"/>
                </a:lnTo>
                <a:lnTo>
                  <a:pt x="264" y="402"/>
                </a:lnTo>
                <a:lnTo>
                  <a:pt x="258" y="402"/>
                </a:lnTo>
                <a:lnTo>
                  <a:pt x="258" y="408"/>
                </a:lnTo>
                <a:lnTo>
                  <a:pt x="246" y="408"/>
                </a:lnTo>
                <a:lnTo>
                  <a:pt x="246" y="414"/>
                </a:lnTo>
                <a:lnTo>
                  <a:pt x="240" y="420"/>
                </a:lnTo>
                <a:lnTo>
                  <a:pt x="240" y="420"/>
                </a:lnTo>
                <a:lnTo>
                  <a:pt x="240" y="420"/>
                </a:lnTo>
                <a:lnTo>
                  <a:pt x="234" y="426"/>
                </a:lnTo>
                <a:lnTo>
                  <a:pt x="234" y="426"/>
                </a:lnTo>
                <a:lnTo>
                  <a:pt x="234" y="426"/>
                </a:lnTo>
                <a:lnTo>
                  <a:pt x="234" y="432"/>
                </a:lnTo>
                <a:lnTo>
                  <a:pt x="234" y="432"/>
                </a:lnTo>
                <a:lnTo>
                  <a:pt x="228" y="432"/>
                </a:lnTo>
                <a:lnTo>
                  <a:pt x="222" y="432"/>
                </a:lnTo>
                <a:lnTo>
                  <a:pt x="222" y="432"/>
                </a:lnTo>
                <a:lnTo>
                  <a:pt x="216" y="438"/>
                </a:lnTo>
                <a:lnTo>
                  <a:pt x="216" y="438"/>
                </a:lnTo>
                <a:lnTo>
                  <a:pt x="210" y="438"/>
                </a:lnTo>
                <a:lnTo>
                  <a:pt x="204" y="438"/>
                </a:lnTo>
                <a:lnTo>
                  <a:pt x="198" y="444"/>
                </a:lnTo>
                <a:lnTo>
                  <a:pt x="198" y="444"/>
                </a:lnTo>
                <a:lnTo>
                  <a:pt x="192" y="450"/>
                </a:lnTo>
                <a:lnTo>
                  <a:pt x="192" y="450"/>
                </a:lnTo>
                <a:lnTo>
                  <a:pt x="192" y="450"/>
                </a:lnTo>
                <a:lnTo>
                  <a:pt x="186" y="456"/>
                </a:lnTo>
                <a:lnTo>
                  <a:pt x="186" y="456"/>
                </a:lnTo>
                <a:lnTo>
                  <a:pt x="186" y="462"/>
                </a:lnTo>
                <a:lnTo>
                  <a:pt x="186" y="462"/>
                </a:lnTo>
                <a:lnTo>
                  <a:pt x="186" y="462"/>
                </a:lnTo>
                <a:lnTo>
                  <a:pt x="180" y="468"/>
                </a:lnTo>
                <a:lnTo>
                  <a:pt x="180" y="468"/>
                </a:lnTo>
                <a:lnTo>
                  <a:pt x="180" y="462"/>
                </a:lnTo>
                <a:lnTo>
                  <a:pt x="174" y="462"/>
                </a:lnTo>
                <a:lnTo>
                  <a:pt x="168" y="468"/>
                </a:lnTo>
                <a:lnTo>
                  <a:pt x="168" y="468"/>
                </a:lnTo>
                <a:lnTo>
                  <a:pt x="168" y="468"/>
                </a:lnTo>
                <a:lnTo>
                  <a:pt x="168" y="468"/>
                </a:lnTo>
                <a:lnTo>
                  <a:pt x="162" y="474"/>
                </a:lnTo>
                <a:lnTo>
                  <a:pt x="162" y="474"/>
                </a:lnTo>
                <a:lnTo>
                  <a:pt x="162" y="474"/>
                </a:lnTo>
                <a:lnTo>
                  <a:pt x="156" y="474"/>
                </a:lnTo>
                <a:lnTo>
                  <a:pt x="156" y="480"/>
                </a:lnTo>
                <a:lnTo>
                  <a:pt x="150" y="480"/>
                </a:lnTo>
                <a:lnTo>
                  <a:pt x="150" y="480"/>
                </a:lnTo>
                <a:lnTo>
                  <a:pt x="144" y="480"/>
                </a:lnTo>
                <a:lnTo>
                  <a:pt x="138" y="474"/>
                </a:lnTo>
                <a:lnTo>
                  <a:pt x="132" y="474"/>
                </a:lnTo>
                <a:lnTo>
                  <a:pt x="126" y="474"/>
                </a:lnTo>
                <a:lnTo>
                  <a:pt x="120" y="474"/>
                </a:lnTo>
                <a:lnTo>
                  <a:pt x="108" y="474"/>
                </a:lnTo>
                <a:lnTo>
                  <a:pt x="108" y="474"/>
                </a:lnTo>
                <a:lnTo>
                  <a:pt x="108" y="468"/>
                </a:lnTo>
                <a:lnTo>
                  <a:pt x="102" y="468"/>
                </a:lnTo>
                <a:lnTo>
                  <a:pt x="102" y="468"/>
                </a:lnTo>
                <a:lnTo>
                  <a:pt x="96" y="468"/>
                </a:lnTo>
                <a:lnTo>
                  <a:pt x="90" y="468"/>
                </a:lnTo>
                <a:lnTo>
                  <a:pt x="90" y="474"/>
                </a:lnTo>
                <a:lnTo>
                  <a:pt x="90" y="474"/>
                </a:lnTo>
                <a:lnTo>
                  <a:pt x="84" y="474"/>
                </a:lnTo>
                <a:lnTo>
                  <a:pt x="84" y="468"/>
                </a:lnTo>
                <a:lnTo>
                  <a:pt x="84" y="468"/>
                </a:lnTo>
                <a:lnTo>
                  <a:pt x="78" y="462"/>
                </a:lnTo>
                <a:lnTo>
                  <a:pt x="78" y="462"/>
                </a:lnTo>
                <a:lnTo>
                  <a:pt x="72" y="462"/>
                </a:lnTo>
                <a:lnTo>
                  <a:pt x="72" y="456"/>
                </a:lnTo>
                <a:lnTo>
                  <a:pt x="72" y="456"/>
                </a:lnTo>
                <a:lnTo>
                  <a:pt x="66" y="456"/>
                </a:lnTo>
                <a:lnTo>
                  <a:pt x="60" y="462"/>
                </a:lnTo>
                <a:lnTo>
                  <a:pt x="60" y="462"/>
                </a:lnTo>
                <a:lnTo>
                  <a:pt x="54" y="462"/>
                </a:lnTo>
                <a:lnTo>
                  <a:pt x="54" y="462"/>
                </a:lnTo>
                <a:lnTo>
                  <a:pt x="48" y="456"/>
                </a:lnTo>
                <a:lnTo>
                  <a:pt x="42" y="456"/>
                </a:lnTo>
                <a:lnTo>
                  <a:pt x="42" y="450"/>
                </a:lnTo>
                <a:lnTo>
                  <a:pt x="36" y="450"/>
                </a:lnTo>
                <a:lnTo>
                  <a:pt x="36" y="444"/>
                </a:lnTo>
                <a:lnTo>
                  <a:pt x="36" y="444"/>
                </a:lnTo>
                <a:lnTo>
                  <a:pt x="36" y="444"/>
                </a:lnTo>
                <a:lnTo>
                  <a:pt x="30" y="444"/>
                </a:lnTo>
                <a:lnTo>
                  <a:pt x="30" y="444"/>
                </a:lnTo>
                <a:lnTo>
                  <a:pt x="30" y="444"/>
                </a:lnTo>
                <a:lnTo>
                  <a:pt x="24" y="444"/>
                </a:lnTo>
                <a:lnTo>
                  <a:pt x="24" y="432"/>
                </a:lnTo>
                <a:lnTo>
                  <a:pt x="24" y="432"/>
                </a:lnTo>
                <a:lnTo>
                  <a:pt x="18" y="432"/>
                </a:lnTo>
                <a:lnTo>
                  <a:pt x="18" y="438"/>
                </a:lnTo>
                <a:lnTo>
                  <a:pt x="18" y="438"/>
                </a:lnTo>
                <a:lnTo>
                  <a:pt x="12" y="438"/>
                </a:lnTo>
                <a:lnTo>
                  <a:pt x="6" y="438"/>
                </a:lnTo>
                <a:lnTo>
                  <a:pt x="6" y="432"/>
                </a:lnTo>
                <a:lnTo>
                  <a:pt x="0" y="43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283" name="Freeform 16"/>
          <p:cNvSpPr>
            <a:spLocks/>
          </p:cNvSpPr>
          <p:nvPr/>
        </p:nvSpPr>
        <p:spPr bwMode="auto">
          <a:xfrm>
            <a:off x="4809006" y="2638190"/>
            <a:ext cx="237690" cy="179875"/>
          </a:xfrm>
          <a:custGeom>
            <a:avLst/>
            <a:gdLst>
              <a:gd name="T0" fmla="*/ 24 w 222"/>
              <a:gd name="T1" fmla="*/ 0 h 168"/>
              <a:gd name="T2" fmla="*/ 36 w 222"/>
              <a:gd name="T3" fmla="*/ 6 h 168"/>
              <a:gd name="T4" fmla="*/ 48 w 222"/>
              <a:gd name="T5" fmla="*/ 18 h 168"/>
              <a:gd name="T6" fmla="*/ 60 w 222"/>
              <a:gd name="T7" fmla="*/ 12 h 168"/>
              <a:gd name="T8" fmla="*/ 72 w 222"/>
              <a:gd name="T9" fmla="*/ 18 h 168"/>
              <a:gd name="T10" fmla="*/ 84 w 222"/>
              <a:gd name="T11" fmla="*/ 24 h 168"/>
              <a:gd name="T12" fmla="*/ 96 w 222"/>
              <a:gd name="T13" fmla="*/ 24 h 168"/>
              <a:gd name="T14" fmla="*/ 102 w 222"/>
              <a:gd name="T15" fmla="*/ 24 h 168"/>
              <a:gd name="T16" fmla="*/ 108 w 222"/>
              <a:gd name="T17" fmla="*/ 24 h 168"/>
              <a:gd name="T18" fmla="*/ 120 w 222"/>
              <a:gd name="T19" fmla="*/ 24 h 168"/>
              <a:gd name="T20" fmla="*/ 120 w 222"/>
              <a:gd name="T21" fmla="*/ 18 h 168"/>
              <a:gd name="T22" fmla="*/ 126 w 222"/>
              <a:gd name="T23" fmla="*/ 12 h 168"/>
              <a:gd name="T24" fmla="*/ 180 w 222"/>
              <a:gd name="T25" fmla="*/ 18 h 168"/>
              <a:gd name="T26" fmla="*/ 186 w 222"/>
              <a:gd name="T27" fmla="*/ 6 h 168"/>
              <a:gd name="T28" fmla="*/ 192 w 222"/>
              <a:gd name="T29" fmla="*/ 6 h 168"/>
              <a:gd name="T30" fmla="*/ 192 w 222"/>
              <a:gd name="T31" fmla="*/ 12 h 168"/>
              <a:gd name="T32" fmla="*/ 198 w 222"/>
              <a:gd name="T33" fmla="*/ 24 h 168"/>
              <a:gd name="T34" fmla="*/ 192 w 222"/>
              <a:gd name="T35" fmla="*/ 30 h 168"/>
              <a:gd name="T36" fmla="*/ 198 w 222"/>
              <a:gd name="T37" fmla="*/ 36 h 168"/>
              <a:gd name="T38" fmla="*/ 210 w 222"/>
              <a:gd name="T39" fmla="*/ 36 h 168"/>
              <a:gd name="T40" fmla="*/ 216 w 222"/>
              <a:gd name="T41" fmla="*/ 36 h 168"/>
              <a:gd name="T42" fmla="*/ 216 w 222"/>
              <a:gd name="T43" fmla="*/ 42 h 168"/>
              <a:gd name="T44" fmla="*/ 210 w 222"/>
              <a:gd name="T45" fmla="*/ 48 h 168"/>
              <a:gd name="T46" fmla="*/ 204 w 222"/>
              <a:gd name="T47" fmla="*/ 60 h 168"/>
              <a:gd name="T48" fmla="*/ 198 w 222"/>
              <a:gd name="T49" fmla="*/ 66 h 168"/>
              <a:gd name="T50" fmla="*/ 192 w 222"/>
              <a:gd name="T51" fmla="*/ 84 h 168"/>
              <a:gd name="T52" fmla="*/ 186 w 222"/>
              <a:gd name="T53" fmla="*/ 90 h 168"/>
              <a:gd name="T54" fmla="*/ 186 w 222"/>
              <a:gd name="T55" fmla="*/ 114 h 168"/>
              <a:gd name="T56" fmla="*/ 180 w 222"/>
              <a:gd name="T57" fmla="*/ 114 h 168"/>
              <a:gd name="T58" fmla="*/ 174 w 222"/>
              <a:gd name="T59" fmla="*/ 114 h 168"/>
              <a:gd name="T60" fmla="*/ 168 w 222"/>
              <a:gd name="T61" fmla="*/ 114 h 168"/>
              <a:gd name="T62" fmla="*/ 156 w 222"/>
              <a:gd name="T63" fmla="*/ 126 h 168"/>
              <a:gd name="T64" fmla="*/ 144 w 222"/>
              <a:gd name="T65" fmla="*/ 132 h 168"/>
              <a:gd name="T66" fmla="*/ 138 w 222"/>
              <a:gd name="T67" fmla="*/ 138 h 168"/>
              <a:gd name="T68" fmla="*/ 138 w 222"/>
              <a:gd name="T69" fmla="*/ 144 h 168"/>
              <a:gd name="T70" fmla="*/ 132 w 222"/>
              <a:gd name="T71" fmla="*/ 156 h 168"/>
              <a:gd name="T72" fmla="*/ 114 w 222"/>
              <a:gd name="T73" fmla="*/ 150 h 168"/>
              <a:gd name="T74" fmla="*/ 90 w 222"/>
              <a:gd name="T75" fmla="*/ 156 h 168"/>
              <a:gd name="T76" fmla="*/ 66 w 222"/>
              <a:gd name="T77" fmla="*/ 156 h 168"/>
              <a:gd name="T78" fmla="*/ 60 w 222"/>
              <a:gd name="T79" fmla="*/ 156 h 168"/>
              <a:gd name="T80" fmla="*/ 54 w 222"/>
              <a:gd name="T81" fmla="*/ 162 h 168"/>
              <a:gd name="T82" fmla="*/ 48 w 222"/>
              <a:gd name="T83" fmla="*/ 168 h 168"/>
              <a:gd name="T84" fmla="*/ 42 w 222"/>
              <a:gd name="T85" fmla="*/ 168 h 168"/>
              <a:gd name="T86" fmla="*/ 42 w 222"/>
              <a:gd name="T87" fmla="*/ 156 h 168"/>
              <a:gd name="T88" fmla="*/ 48 w 222"/>
              <a:gd name="T89" fmla="*/ 144 h 168"/>
              <a:gd name="T90" fmla="*/ 48 w 222"/>
              <a:gd name="T91" fmla="*/ 132 h 168"/>
              <a:gd name="T92" fmla="*/ 54 w 222"/>
              <a:gd name="T93" fmla="*/ 120 h 168"/>
              <a:gd name="T94" fmla="*/ 48 w 222"/>
              <a:gd name="T95" fmla="*/ 96 h 168"/>
              <a:gd name="T96" fmla="*/ 60 w 222"/>
              <a:gd name="T97" fmla="*/ 78 h 168"/>
              <a:gd name="T98" fmla="*/ 60 w 222"/>
              <a:gd name="T99" fmla="*/ 60 h 168"/>
              <a:gd name="T100" fmla="*/ 48 w 222"/>
              <a:gd name="T101" fmla="*/ 60 h 168"/>
              <a:gd name="T102" fmla="*/ 30 w 222"/>
              <a:gd name="T103" fmla="*/ 72 h 168"/>
              <a:gd name="T104" fmla="*/ 18 w 222"/>
              <a:gd name="T105" fmla="*/ 72 h 168"/>
              <a:gd name="T106" fmla="*/ 12 w 222"/>
              <a:gd name="T107" fmla="*/ 78 h 168"/>
              <a:gd name="T108" fmla="*/ 6 w 222"/>
              <a:gd name="T109" fmla="*/ 72 h 168"/>
              <a:gd name="T110" fmla="*/ 6 w 222"/>
              <a:gd name="T111" fmla="*/ 60 h 168"/>
              <a:gd name="T112" fmla="*/ 6 w 222"/>
              <a:gd name="T113" fmla="*/ 54 h 168"/>
              <a:gd name="T114" fmla="*/ 12 w 222"/>
              <a:gd name="T115" fmla="*/ 48 h 168"/>
              <a:gd name="T116" fmla="*/ 18 w 222"/>
              <a:gd name="T117" fmla="*/ 42 h 168"/>
              <a:gd name="T118" fmla="*/ 6 w 222"/>
              <a:gd name="T119" fmla="*/ 30 h 168"/>
              <a:gd name="T120" fmla="*/ 6 w 222"/>
              <a:gd name="T121" fmla="*/ 24 h 168"/>
              <a:gd name="T122" fmla="*/ 6 w 222"/>
              <a:gd name="T123" fmla="*/ 0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22" h="168">
                <a:moveTo>
                  <a:pt x="0" y="0"/>
                </a:moveTo>
                <a:lnTo>
                  <a:pt x="6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2" y="6"/>
                </a:lnTo>
                <a:lnTo>
                  <a:pt x="12" y="0"/>
                </a:lnTo>
                <a:lnTo>
                  <a:pt x="18" y="6"/>
                </a:lnTo>
                <a:lnTo>
                  <a:pt x="18" y="6"/>
                </a:lnTo>
                <a:lnTo>
                  <a:pt x="24" y="0"/>
                </a:lnTo>
                <a:lnTo>
                  <a:pt x="24" y="0"/>
                </a:lnTo>
                <a:lnTo>
                  <a:pt x="30" y="0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8"/>
                </a:lnTo>
                <a:lnTo>
                  <a:pt x="42" y="18"/>
                </a:lnTo>
                <a:lnTo>
                  <a:pt x="48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2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8"/>
                </a:lnTo>
                <a:lnTo>
                  <a:pt x="72" y="18"/>
                </a:lnTo>
                <a:lnTo>
                  <a:pt x="72" y="18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6" y="18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38" y="30"/>
                </a:lnTo>
                <a:lnTo>
                  <a:pt x="156" y="24"/>
                </a:lnTo>
                <a:lnTo>
                  <a:pt x="162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6"/>
                </a:lnTo>
                <a:lnTo>
                  <a:pt x="186" y="6"/>
                </a:lnTo>
                <a:lnTo>
                  <a:pt x="186" y="6"/>
                </a:lnTo>
                <a:lnTo>
                  <a:pt x="186" y="6"/>
                </a:lnTo>
                <a:lnTo>
                  <a:pt x="186" y="6"/>
                </a:lnTo>
                <a:lnTo>
                  <a:pt x="186" y="6"/>
                </a:lnTo>
                <a:lnTo>
                  <a:pt x="186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12"/>
                </a:lnTo>
                <a:lnTo>
                  <a:pt x="192" y="12"/>
                </a:lnTo>
                <a:lnTo>
                  <a:pt x="192" y="12"/>
                </a:lnTo>
                <a:lnTo>
                  <a:pt x="192" y="12"/>
                </a:lnTo>
                <a:lnTo>
                  <a:pt x="192" y="12"/>
                </a:lnTo>
                <a:lnTo>
                  <a:pt x="198" y="12"/>
                </a:lnTo>
                <a:lnTo>
                  <a:pt x="198" y="12"/>
                </a:lnTo>
                <a:lnTo>
                  <a:pt x="192" y="18"/>
                </a:lnTo>
                <a:lnTo>
                  <a:pt x="198" y="18"/>
                </a:lnTo>
                <a:lnTo>
                  <a:pt x="198" y="18"/>
                </a:lnTo>
                <a:lnTo>
                  <a:pt x="198" y="24"/>
                </a:lnTo>
                <a:lnTo>
                  <a:pt x="198" y="24"/>
                </a:lnTo>
                <a:lnTo>
                  <a:pt x="198" y="24"/>
                </a:lnTo>
                <a:lnTo>
                  <a:pt x="198" y="24"/>
                </a:lnTo>
                <a:lnTo>
                  <a:pt x="198" y="24"/>
                </a:lnTo>
                <a:lnTo>
                  <a:pt x="198" y="24"/>
                </a:lnTo>
                <a:lnTo>
                  <a:pt x="192" y="30"/>
                </a:lnTo>
                <a:lnTo>
                  <a:pt x="192" y="30"/>
                </a:lnTo>
                <a:lnTo>
                  <a:pt x="192" y="30"/>
                </a:lnTo>
                <a:lnTo>
                  <a:pt x="192" y="30"/>
                </a:lnTo>
                <a:lnTo>
                  <a:pt x="192" y="30"/>
                </a:lnTo>
                <a:lnTo>
                  <a:pt x="192" y="36"/>
                </a:lnTo>
                <a:lnTo>
                  <a:pt x="192" y="36"/>
                </a:lnTo>
                <a:lnTo>
                  <a:pt x="192" y="36"/>
                </a:lnTo>
                <a:lnTo>
                  <a:pt x="192" y="36"/>
                </a:lnTo>
                <a:lnTo>
                  <a:pt x="192" y="36"/>
                </a:lnTo>
                <a:lnTo>
                  <a:pt x="192" y="36"/>
                </a:lnTo>
                <a:lnTo>
                  <a:pt x="198" y="36"/>
                </a:lnTo>
                <a:lnTo>
                  <a:pt x="198" y="36"/>
                </a:lnTo>
                <a:lnTo>
                  <a:pt x="198" y="36"/>
                </a:lnTo>
                <a:lnTo>
                  <a:pt x="198" y="36"/>
                </a:lnTo>
                <a:lnTo>
                  <a:pt x="198" y="36"/>
                </a:lnTo>
                <a:lnTo>
                  <a:pt x="204" y="36"/>
                </a:lnTo>
                <a:lnTo>
                  <a:pt x="204" y="36"/>
                </a:lnTo>
                <a:lnTo>
                  <a:pt x="204" y="36"/>
                </a:lnTo>
                <a:lnTo>
                  <a:pt x="204" y="36"/>
                </a:lnTo>
                <a:lnTo>
                  <a:pt x="204" y="36"/>
                </a:lnTo>
                <a:lnTo>
                  <a:pt x="204" y="36"/>
                </a:lnTo>
                <a:lnTo>
                  <a:pt x="204" y="36"/>
                </a:lnTo>
                <a:lnTo>
                  <a:pt x="204" y="36"/>
                </a:lnTo>
                <a:lnTo>
                  <a:pt x="210" y="36"/>
                </a:lnTo>
                <a:lnTo>
                  <a:pt x="210" y="36"/>
                </a:lnTo>
                <a:lnTo>
                  <a:pt x="210" y="36"/>
                </a:lnTo>
                <a:lnTo>
                  <a:pt x="210" y="36"/>
                </a:lnTo>
                <a:lnTo>
                  <a:pt x="210" y="36"/>
                </a:lnTo>
                <a:lnTo>
                  <a:pt x="216" y="36"/>
                </a:lnTo>
                <a:lnTo>
                  <a:pt x="216" y="36"/>
                </a:lnTo>
                <a:lnTo>
                  <a:pt x="216" y="36"/>
                </a:lnTo>
                <a:lnTo>
                  <a:pt x="216" y="36"/>
                </a:lnTo>
                <a:lnTo>
                  <a:pt x="216" y="36"/>
                </a:lnTo>
                <a:lnTo>
                  <a:pt x="216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16" y="36"/>
                </a:lnTo>
                <a:lnTo>
                  <a:pt x="216" y="42"/>
                </a:lnTo>
                <a:lnTo>
                  <a:pt x="216" y="42"/>
                </a:lnTo>
                <a:lnTo>
                  <a:pt x="216" y="42"/>
                </a:lnTo>
                <a:lnTo>
                  <a:pt x="216" y="42"/>
                </a:lnTo>
                <a:lnTo>
                  <a:pt x="216" y="42"/>
                </a:lnTo>
                <a:lnTo>
                  <a:pt x="216" y="42"/>
                </a:lnTo>
                <a:lnTo>
                  <a:pt x="216" y="48"/>
                </a:lnTo>
                <a:lnTo>
                  <a:pt x="210" y="48"/>
                </a:lnTo>
                <a:lnTo>
                  <a:pt x="210" y="48"/>
                </a:lnTo>
                <a:lnTo>
                  <a:pt x="210" y="48"/>
                </a:lnTo>
                <a:lnTo>
                  <a:pt x="210" y="48"/>
                </a:lnTo>
                <a:lnTo>
                  <a:pt x="210" y="48"/>
                </a:lnTo>
                <a:lnTo>
                  <a:pt x="210" y="48"/>
                </a:lnTo>
                <a:lnTo>
                  <a:pt x="210" y="54"/>
                </a:lnTo>
                <a:lnTo>
                  <a:pt x="210" y="54"/>
                </a:lnTo>
                <a:lnTo>
                  <a:pt x="210" y="54"/>
                </a:lnTo>
                <a:lnTo>
                  <a:pt x="210" y="54"/>
                </a:lnTo>
                <a:lnTo>
                  <a:pt x="204" y="54"/>
                </a:lnTo>
                <a:lnTo>
                  <a:pt x="204" y="54"/>
                </a:lnTo>
                <a:lnTo>
                  <a:pt x="204" y="60"/>
                </a:lnTo>
                <a:lnTo>
                  <a:pt x="204" y="60"/>
                </a:lnTo>
                <a:lnTo>
                  <a:pt x="204" y="60"/>
                </a:lnTo>
                <a:lnTo>
                  <a:pt x="204" y="60"/>
                </a:lnTo>
                <a:lnTo>
                  <a:pt x="204" y="66"/>
                </a:lnTo>
                <a:lnTo>
                  <a:pt x="204" y="66"/>
                </a:lnTo>
                <a:lnTo>
                  <a:pt x="204" y="66"/>
                </a:lnTo>
                <a:lnTo>
                  <a:pt x="204" y="66"/>
                </a:lnTo>
                <a:lnTo>
                  <a:pt x="198" y="66"/>
                </a:lnTo>
                <a:lnTo>
                  <a:pt x="198" y="66"/>
                </a:lnTo>
                <a:lnTo>
                  <a:pt x="198" y="66"/>
                </a:lnTo>
                <a:lnTo>
                  <a:pt x="198" y="66"/>
                </a:lnTo>
                <a:lnTo>
                  <a:pt x="198" y="66"/>
                </a:lnTo>
                <a:lnTo>
                  <a:pt x="198" y="66"/>
                </a:lnTo>
                <a:lnTo>
                  <a:pt x="192" y="66"/>
                </a:lnTo>
                <a:lnTo>
                  <a:pt x="192" y="66"/>
                </a:lnTo>
                <a:lnTo>
                  <a:pt x="192" y="72"/>
                </a:lnTo>
                <a:lnTo>
                  <a:pt x="192" y="72"/>
                </a:lnTo>
                <a:lnTo>
                  <a:pt x="192" y="72"/>
                </a:lnTo>
                <a:lnTo>
                  <a:pt x="192" y="72"/>
                </a:lnTo>
                <a:lnTo>
                  <a:pt x="192" y="78"/>
                </a:lnTo>
                <a:lnTo>
                  <a:pt x="192" y="78"/>
                </a:lnTo>
                <a:lnTo>
                  <a:pt x="192" y="84"/>
                </a:lnTo>
                <a:lnTo>
                  <a:pt x="186" y="84"/>
                </a:lnTo>
                <a:lnTo>
                  <a:pt x="186" y="84"/>
                </a:lnTo>
                <a:lnTo>
                  <a:pt x="186" y="84"/>
                </a:lnTo>
                <a:lnTo>
                  <a:pt x="192" y="84"/>
                </a:lnTo>
                <a:lnTo>
                  <a:pt x="192" y="90"/>
                </a:lnTo>
                <a:lnTo>
                  <a:pt x="186" y="90"/>
                </a:lnTo>
                <a:lnTo>
                  <a:pt x="186" y="90"/>
                </a:lnTo>
                <a:lnTo>
                  <a:pt x="186" y="90"/>
                </a:lnTo>
                <a:lnTo>
                  <a:pt x="186" y="90"/>
                </a:lnTo>
                <a:lnTo>
                  <a:pt x="186" y="90"/>
                </a:lnTo>
                <a:lnTo>
                  <a:pt x="186" y="96"/>
                </a:lnTo>
                <a:lnTo>
                  <a:pt x="186" y="96"/>
                </a:lnTo>
                <a:lnTo>
                  <a:pt x="192" y="96"/>
                </a:lnTo>
                <a:lnTo>
                  <a:pt x="192" y="102"/>
                </a:lnTo>
                <a:lnTo>
                  <a:pt x="186" y="102"/>
                </a:lnTo>
                <a:lnTo>
                  <a:pt x="192" y="102"/>
                </a:lnTo>
                <a:lnTo>
                  <a:pt x="192" y="102"/>
                </a:lnTo>
                <a:lnTo>
                  <a:pt x="186" y="108"/>
                </a:lnTo>
                <a:lnTo>
                  <a:pt x="186" y="114"/>
                </a:lnTo>
                <a:lnTo>
                  <a:pt x="186" y="114"/>
                </a:lnTo>
                <a:lnTo>
                  <a:pt x="186" y="114"/>
                </a:lnTo>
                <a:lnTo>
                  <a:pt x="180" y="114"/>
                </a:lnTo>
                <a:lnTo>
                  <a:pt x="186" y="114"/>
                </a:lnTo>
                <a:lnTo>
                  <a:pt x="180" y="114"/>
                </a:lnTo>
                <a:lnTo>
                  <a:pt x="180" y="114"/>
                </a:lnTo>
                <a:lnTo>
                  <a:pt x="180" y="114"/>
                </a:lnTo>
                <a:lnTo>
                  <a:pt x="180" y="114"/>
                </a:lnTo>
                <a:lnTo>
                  <a:pt x="180" y="114"/>
                </a:lnTo>
                <a:lnTo>
                  <a:pt x="180" y="114"/>
                </a:lnTo>
                <a:lnTo>
                  <a:pt x="180" y="114"/>
                </a:lnTo>
                <a:lnTo>
                  <a:pt x="174" y="114"/>
                </a:lnTo>
                <a:lnTo>
                  <a:pt x="174" y="114"/>
                </a:lnTo>
                <a:lnTo>
                  <a:pt x="174" y="114"/>
                </a:lnTo>
                <a:lnTo>
                  <a:pt x="174" y="114"/>
                </a:lnTo>
                <a:lnTo>
                  <a:pt x="174" y="114"/>
                </a:lnTo>
                <a:lnTo>
                  <a:pt x="174" y="114"/>
                </a:lnTo>
                <a:lnTo>
                  <a:pt x="174" y="114"/>
                </a:lnTo>
                <a:lnTo>
                  <a:pt x="174" y="114"/>
                </a:lnTo>
                <a:lnTo>
                  <a:pt x="174" y="114"/>
                </a:lnTo>
                <a:lnTo>
                  <a:pt x="174" y="114"/>
                </a:lnTo>
                <a:lnTo>
                  <a:pt x="174" y="114"/>
                </a:lnTo>
                <a:lnTo>
                  <a:pt x="174" y="114"/>
                </a:lnTo>
                <a:lnTo>
                  <a:pt x="174" y="114"/>
                </a:lnTo>
                <a:lnTo>
                  <a:pt x="168" y="114"/>
                </a:lnTo>
                <a:lnTo>
                  <a:pt x="168" y="114"/>
                </a:lnTo>
                <a:lnTo>
                  <a:pt x="168" y="114"/>
                </a:lnTo>
                <a:lnTo>
                  <a:pt x="168" y="114"/>
                </a:lnTo>
                <a:lnTo>
                  <a:pt x="168" y="114"/>
                </a:lnTo>
                <a:lnTo>
                  <a:pt x="168" y="114"/>
                </a:lnTo>
                <a:lnTo>
                  <a:pt x="168" y="114"/>
                </a:lnTo>
                <a:lnTo>
                  <a:pt x="162" y="114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56" y="120"/>
                </a:lnTo>
                <a:lnTo>
                  <a:pt x="156" y="120"/>
                </a:lnTo>
                <a:lnTo>
                  <a:pt x="156" y="120"/>
                </a:lnTo>
                <a:lnTo>
                  <a:pt x="156" y="120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32"/>
                </a:lnTo>
                <a:lnTo>
                  <a:pt x="144" y="132"/>
                </a:lnTo>
                <a:lnTo>
                  <a:pt x="144" y="132"/>
                </a:lnTo>
                <a:lnTo>
                  <a:pt x="144" y="132"/>
                </a:lnTo>
                <a:lnTo>
                  <a:pt x="144" y="132"/>
                </a:lnTo>
                <a:lnTo>
                  <a:pt x="144" y="132"/>
                </a:lnTo>
                <a:lnTo>
                  <a:pt x="144" y="132"/>
                </a:lnTo>
                <a:lnTo>
                  <a:pt x="138" y="138"/>
                </a:lnTo>
                <a:lnTo>
                  <a:pt x="138" y="138"/>
                </a:lnTo>
                <a:lnTo>
                  <a:pt x="138" y="138"/>
                </a:lnTo>
                <a:lnTo>
                  <a:pt x="138" y="138"/>
                </a:lnTo>
                <a:lnTo>
                  <a:pt x="138" y="138"/>
                </a:lnTo>
                <a:lnTo>
                  <a:pt x="132" y="138"/>
                </a:lnTo>
                <a:lnTo>
                  <a:pt x="138" y="138"/>
                </a:lnTo>
                <a:lnTo>
                  <a:pt x="138" y="138"/>
                </a:lnTo>
                <a:lnTo>
                  <a:pt x="138" y="138"/>
                </a:lnTo>
                <a:lnTo>
                  <a:pt x="138" y="138"/>
                </a:lnTo>
                <a:lnTo>
                  <a:pt x="138" y="138"/>
                </a:lnTo>
                <a:lnTo>
                  <a:pt x="138" y="144"/>
                </a:lnTo>
                <a:lnTo>
                  <a:pt x="138" y="144"/>
                </a:lnTo>
                <a:lnTo>
                  <a:pt x="138" y="144"/>
                </a:lnTo>
                <a:lnTo>
                  <a:pt x="138" y="144"/>
                </a:lnTo>
                <a:lnTo>
                  <a:pt x="132" y="144"/>
                </a:lnTo>
                <a:lnTo>
                  <a:pt x="138" y="144"/>
                </a:lnTo>
                <a:lnTo>
                  <a:pt x="138" y="144"/>
                </a:lnTo>
                <a:lnTo>
                  <a:pt x="138" y="150"/>
                </a:lnTo>
                <a:lnTo>
                  <a:pt x="138" y="150"/>
                </a:lnTo>
                <a:lnTo>
                  <a:pt x="132" y="150"/>
                </a:lnTo>
                <a:lnTo>
                  <a:pt x="132" y="150"/>
                </a:lnTo>
                <a:lnTo>
                  <a:pt x="132" y="150"/>
                </a:lnTo>
                <a:lnTo>
                  <a:pt x="132" y="156"/>
                </a:lnTo>
                <a:lnTo>
                  <a:pt x="132" y="156"/>
                </a:lnTo>
                <a:lnTo>
                  <a:pt x="132" y="156"/>
                </a:lnTo>
                <a:lnTo>
                  <a:pt x="132" y="156"/>
                </a:lnTo>
                <a:lnTo>
                  <a:pt x="132" y="156"/>
                </a:lnTo>
                <a:lnTo>
                  <a:pt x="132" y="162"/>
                </a:lnTo>
                <a:lnTo>
                  <a:pt x="132" y="156"/>
                </a:lnTo>
                <a:lnTo>
                  <a:pt x="120" y="144"/>
                </a:lnTo>
                <a:lnTo>
                  <a:pt x="120" y="144"/>
                </a:lnTo>
                <a:lnTo>
                  <a:pt x="120" y="144"/>
                </a:lnTo>
                <a:lnTo>
                  <a:pt x="114" y="144"/>
                </a:lnTo>
                <a:lnTo>
                  <a:pt x="114" y="150"/>
                </a:lnTo>
                <a:lnTo>
                  <a:pt x="114" y="150"/>
                </a:lnTo>
                <a:lnTo>
                  <a:pt x="108" y="150"/>
                </a:lnTo>
                <a:lnTo>
                  <a:pt x="108" y="156"/>
                </a:lnTo>
                <a:lnTo>
                  <a:pt x="108" y="156"/>
                </a:lnTo>
                <a:lnTo>
                  <a:pt x="102" y="156"/>
                </a:lnTo>
                <a:lnTo>
                  <a:pt x="102" y="156"/>
                </a:lnTo>
                <a:lnTo>
                  <a:pt x="96" y="156"/>
                </a:lnTo>
                <a:lnTo>
                  <a:pt x="96" y="156"/>
                </a:lnTo>
                <a:lnTo>
                  <a:pt x="90" y="156"/>
                </a:lnTo>
                <a:lnTo>
                  <a:pt x="90" y="156"/>
                </a:lnTo>
                <a:lnTo>
                  <a:pt x="84" y="156"/>
                </a:lnTo>
                <a:lnTo>
                  <a:pt x="78" y="156"/>
                </a:lnTo>
                <a:lnTo>
                  <a:pt x="78" y="156"/>
                </a:lnTo>
                <a:lnTo>
                  <a:pt x="72" y="156"/>
                </a:lnTo>
                <a:lnTo>
                  <a:pt x="72" y="156"/>
                </a:lnTo>
                <a:lnTo>
                  <a:pt x="66" y="156"/>
                </a:lnTo>
                <a:lnTo>
                  <a:pt x="66" y="156"/>
                </a:lnTo>
                <a:lnTo>
                  <a:pt x="66" y="156"/>
                </a:lnTo>
                <a:lnTo>
                  <a:pt x="66" y="156"/>
                </a:lnTo>
                <a:lnTo>
                  <a:pt x="66" y="156"/>
                </a:lnTo>
                <a:lnTo>
                  <a:pt x="66" y="156"/>
                </a:lnTo>
                <a:lnTo>
                  <a:pt x="66" y="156"/>
                </a:lnTo>
                <a:lnTo>
                  <a:pt x="66" y="156"/>
                </a:lnTo>
                <a:lnTo>
                  <a:pt x="66" y="156"/>
                </a:lnTo>
                <a:lnTo>
                  <a:pt x="66" y="162"/>
                </a:lnTo>
                <a:lnTo>
                  <a:pt x="66" y="156"/>
                </a:lnTo>
                <a:lnTo>
                  <a:pt x="60" y="156"/>
                </a:lnTo>
                <a:lnTo>
                  <a:pt x="60" y="162"/>
                </a:lnTo>
                <a:lnTo>
                  <a:pt x="60" y="162"/>
                </a:lnTo>
                <a:lnTo>
                  <a:pt x="60" y="156"/>
                </a:lnTo>
                <a:lnTo>
                  <a:pt x="60" y="162"/>
                </a:lnTo>
                <a:lnTo>
                  <a:pt x="60" y="156"/>
                </a:lnTo>
                <a:lnTo>
                  <a:pt x="60" y="162"/>
                </a:lnTo>
                <a:lnTo>
                  <a:pt x="60" y="156"/>
                </a:lnTo>
                <a:lnTo>
                  <a:pt x="60" y="156"/>
                </a:lnTo>
                <a:lnTo>
                  <a:pt x="54" y="162"/>
                </a:lnTo>
                <a:lnTo>
                  <a:pt x="54" y="162"/>
                </a:lnTo>
                <a:lnTo>
                  <a:pt x="54" y="162"/>
                </a:lnTo>
                <a:lnTo>
                  <a:pt x="54" y="162"/>
                </a:lnTo>
                <a:lnTo>
                  <a:pt x="54" y="162"/>
                </a:lnTo>
                <a:lnTo>
                  <a:pt x="54" y="162"/>
                </a:lnTo>
                <a:lnTo>
                  <a:pt x="54" y="162"/>
                </a:lnTo>
                <a:lnTo>
                  <a:pt x="54" y="162"/>
                </a:lnTo>
                <a:lnTo>
                  <a:pt x="54" y="168"/>
                </a:lnTo>
                <a:lnTo>
                  <a:pt x="54" y="168"/>
                </a:lnTo>
                <a:lnTo>
                  <a:pt x="54" y="168"/>
                </a:lnTo>
                <a:lnTo>
                  <a:pt x="54" y="168"/>
                </a:lnTo>
                <a:lnTo>
                  <a:pt x="54" y="168"/>
                </a:lnTo>
                <a:lnTo>
                  <a:pt x="48" y="168"/>
                </a:lnTo>
                <a:lnTo>
                  <a:pt x="48" y="168"/>
                </a:lnTo>
                <a:lnTo>
                  <a:pt x="48" y="168"/>
                </a:lnTo>
                <a:lnTo>
                  <a:pt x="48" y="168"/>
                </a:lnTo>
                <a:lnTo>
                  <a:pt x="48" y="162"/>
                </a:lnTo>
                <a:lnTo>
                  <a:pt x="48" y="168"/>
                </a:lnTo>
                <a:lnTo>
                  <a:pt x="48" y="168"/>
                </a:lnTo>
                <a:lnTo>
                  <a:pt x="48" y="168"/>
                </a:lnTo>
                <a:lnTo>
                  <a:pt x="48" y="168"/>
                </a:lnTo>
                <a:lnTo>
                  <a:pt x="42" y="168"/>
                </a:lnTo>
                <a:lnTo>
                  <a:pt x="42" y="168"/>
                </a:lnTo>
                <a:lnTo>
                  <a:pt x="42" y="168"/>
                </a:lnTo>
                <a:lnTo>
                  <a:pt x="42" y="168"/>
                </a:lnTo>
                <a:lnTo>
                  <a:pt x="42" y="168"/>
                </a:lnTo>
                <a:lnTo>
                  <a:pt x="42" y="168"/>
                </a:lnTo>
                <a:lnTo>
                  <a:pt x="42" y="168"/>
                </a:lnTo>
                <a:lnTo>
                  <a:pt x="42" y="168"/>
                </a:lnTo>
                <a:lnTo>
                  <a:pt x="42" y="168"/>
                </a:lnTo>
                <a:lnTo>
                  <a:pt x="42" y="168"/>
                </a:lnTo>
                <a:lnTo>
                  <a:pt x="42" y="162"/>
                </a:lnTo>
                <a:lnTo>
                  <a:pt x="42" y="162"/>
                </a:lnTo>
                <a:lnTo>
                  <a:pt x="42" y="156"/>
                </a:lnTo>
                <a:lnTo>
                  <a:pt x="42" y="156"/>
                </a:lnTo>
                <a:lnTo>
                  <a:pt x="42" y="156"/>
                </a:lnTo>
                <a:lnTo>
                  <a:pt x="42" y="150"/>
                </a:lnTo>
                <a:lnTo>
                  <a:pt x="42" y="150"/>
                </a:lnTo>
                <a:lnTo>
                  <a:pt x="42" y="150"/>
                </a:lnTo>
                <a:lnTo>
                  <a:pt x="42" y="150"/>
                </a:lnTo>
                <a:lnTo>
                  <a:pt x="42" y="150"/>
                </a:lnTo>
                <a:lnTo>
                  <a:pt x="42" y="150"/>
                </a:lnTo>
                <a:lnTo>
                  <a:pt x="48" y="144"/>
                </a:lnTo>
                <a:lnTo>
                  <a:pt x="48" y="144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2"/>
                </a:lnTo>
                <a:lnTo>
                  <a:pt x="48" y="132"/>
                </a:lnTo>
                <a:lnTo>
                  <a:pt x="54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0"/>
                </a:lnTo>
                <a:lnTo>
                  <a:pt x="54" y="120"/>
                </a:lnTo>
                <a:lnTo>
                  <a:pt x="54" y="114"/>
                </a:lnTo>
                <a:lnTo>
                  <a:pt x="54" y="114"/>
                </a:lnTo>
                <a:lnTo>
                  <a:pt x="48" y="114"/>
                </a:lnTo>
                <a:lnTo>
                  <a:pt x="48" y="108"/>
                </a:lnTo>
                <a:lnTo>
                  <a:pt x="48" y="108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2"/>
                </a:lnTo>
                <a:lnTo>
                  <a:pt x="60" y="72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48" y="60"/>
                </a:lnTo>
                <a:lnTo>
                  <a:pt x="48" y="66"/>
                </a:lnTo>
                <a:lnTo>
                  <a:pt x="48" y="66"/>
                </a:lnTo>
                <a:lnTo>
                  <a:pt x="42" y="66"/>
                </a:lnTo>
                <a:lnTo>
                  <a:pt x="42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0" y="66"/>
                </a:lnTo>
                <a:lnTo>
                  <a:pt x="30" y="66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24" y="72"/>
                </a:lnTo>
                <a:lnTo>
                  <a:pt x="24" y="66"/>
                </a:lnTo>
                <a:lnTo>
                  <a:pt x="18" y="66"/>
                </a:lnTo>
                <a:lnTo>
                  <a:pt x="18" y="66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2" y="72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8" y="48"/>
                </a:lnTo>
                <a:lnTo>
                  <a:pt x="18" y="48"/>
                </a:lnTo>
                <a:lnTo>
                  <a:pt x="18" y="42"/>
                </a:lnTo>
                <a:lnTo>
                  <a:pt x="18" y="42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12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2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284" name="Freeform 17"/>
          <p:cNvSpPr>
            <a:spLocks/>
          </p:cNvSpPr>
          <p:nvPr/>
        </p:nvSpPr>
        <p:spPr bwMode="auto">
          <a:xfrm>
            <a:off x="4809006" y="1642455"/>
            <a:ext cx="770886" cy="700226"/>
          </a:xfrm>
          <a:custGeom>
            <a:avLst/>
            <a:gdLst>
              <a:gd name="T0" fmla="*/ 18 w 720"/>
              <a:gd name="T1" fmla="*/ 510 h 654"/>
              <a:gd name="T2" fmla="*/ 30 w 720"/>
              <a:gd name="T3" fmla="*/ 492 h 654"/>
              <a:gd name="T4" fmla="*/ 42 w 720"/>
              <a:gd name="T5" fmla="*/ 474 h 654"/>
              <a:gd name="T6" fmla="*/ 48 w 720"/>
              <a:gd name="T7" fmla="*/ 462 h 654"/>
              <a:gd name="T8" fmla="*/ 42 w 720"/>
              <a:gd name="T9" fmla="*/ 444 h 654"/>
              <a:gd name="T10" fmla="*/ 42 w 720"/>
              <a:gd name="T11" fmla="*/ 426 h 654"/>
              <a:gd name="T12" fmla="*/ 60 w 720"/>
              <a:gd name="T13" fmla="*/ 414 h 654"/>
              <a:gd name="T14" fmla="*/ 66 w 720"/>
              <a:gd name="T15" fmla="*/ 396 h 654"/>
              <a:gd name="T16" fmla="*/ 96 w 720"/>
              <a:gd name="T17" fmla="*/ 342 h 654"/>
              <a:gd name="T18" fmla="*/ 198 w 720"/>
              <a:gd name="T19" fmla="*/ 210 h 654"/>
              <a:gd name="T20" fmla="*/ 288 w 720"/>
              <a:gd name="T21" fmla="*/ 126 h 654"/>
              <a:gd name="T22" fmla="*/ 378 w 720"/>
              <a:gd name="T23" fmla="*/ 42 h 654"/>
              <a:gd name="T24" fmla="*/ 396 w 720"/>
              <a:gd name="T25" fmla="*/ 42 h 654"/>
              <a:gd name="T26" fmla="*/ 420 w 720"/>
              <a:gd name="T27" fmla="*/ 36 h 654"/>
              <a:gd name="T28" fmla="*/ 438 w 720"/>
              <a:gd name="T29" fmla="*/ 42 h 654"/>
              <a:gd name="T30" fmla="*/ 456 w 720"/>
              <a:gd name="T31" fmla="*/ 60 h 654"/>
              <a:gd name="T32" fmla="*/ 468 w 720"/>
              <a:gd name="T33" fmla="*/ 66 h 654"/>
              <a:gd name="T34" fmla="*/ 480 w 720"/>
              <a:gd name="T35" fmla="*/ 54 h 654"/>
              <a:gd name="T36" fmla="*/ 522 w 720"/>
              <a:gd name="T37" fmla="*/ 42 h 654"/>
              <a:gd name="T38" fmla="*/ 576 w 720"/>
              <a:gd name="T39" fmla="*/ 6 h 654"/>
              <a:gd name="T40" fmla="*/ 600 w 720"/>
              <a:gd name="T41" fmla="*/ 12 h 654"/>
              <a:gd name="T42" fmla="*/ 624 w 720"/>
              <a:gd name="T43" fmla="*/ 0 h 654"/>
              <a:gd name="T44" fmla="*/ 636 w 720"/>
              <a:gd name="T45" fmla="*/ 30 h 654"/>
              <a:gd name="T46" fmla="*/ 654 w 720"/>
              <a:gd name="T47" fmla="*/ 66 h 654"/>
              <a:gd name="T48" fmla="*/ 672 w 720"/>
              <a:gd name="T49" fmla="*/ 78 h 654"/>
              <a:gd name="T50" fmla="*/ 690 w 720"/>
              <a:gd name="T51" fmla="*/ 78 h 654"/>
              <a:gd name="T52" fmla="*/ 714 w 720"/>
              <a:gd name="T53" fmla="*/ 66 h 654"/>
              <a:gd name="T54" fmla="*/ 714 w 720"/>
              <a:gd name="T55" fmla="*/ 78 h 654"/>
              <a:gd name="T56" fmla="*/ 708 w 720"/>
              <a:gd name="T57" fmla="*/ 96 h 654"/>
              <a:gd name="T58" fmla="*/ 696 w 720"/>
              <a:gd name="T59" fmla="*/ 120 h 654"/>
              <a:gd name="T60" fmla="*/ 690 w 720"/>
              <a:gd name="T61" fmla="*/ 138 h 654"/>
              <a:gd name="T62" fmla="*/ 678 w 720"/>
              <a:gd name="T63" fmla="*/ 150 h 654"/>
              <a:gd name="T64" fmla="*/ 666 w 720"/>
              <a:gd name="T65" fmla="*/ 168 h 654"/>
              <a:gd name="T66" fmla="*/ 648 w 720"/>
              <a:gd name="T67" fmla="*/ 174 h 654"/>
              <a:gd name="T68" fmla="*/ 636 w 720"/>
              <a:gd name="T69" fmla="*/ 186 h 654"/>
              <a:gd name="T70" fmla="*/ 630 w 720"/>
              <a:gd name="T71" fmla="*/ 198 h 654"/>
              <a:gd name="T72" fmla="*/ 624 w 720"/>
              <a:gd name="T73" fmla="*/ 222 h 654"/>
              <a:gd name="T74" fmla="*/ 630 w 720"/>
              <a:gd name="T75" fmla="*/ 252 h 654"/>
              <a:gd name="T76" fmla="*/ 624 w 720"/>
              <a:gd name="T77" fmla="*/ 276 h 654"/>
              <a:gd name="T78" fmla="*/ 624 w 720"/>
              <a:gd name="T79" fmla="*/ 306 h 654"/>
              <a:gd name="T80" fmla="*/ 624 w 720"/>
              <a:gd name="T81" fmla="*/ 330 h 654"/>
              <a:gd name="T82" fmla="*/ 624 w 720"/>
              <a:gd name="T83" fmla="*/ 366 h 654"/>
              <a:gd name="T84" fmla="*/ 648 w 720"/>
              <a:gd name="T85" fmla="*/ 396 h 654"/>
              <a:gd name="T86" fmla="*/ 666 w 720"/>
              <a:gd name="T87" fmla="*/ 414 h 654"/>
              <a:gd name="T88" fmla="*/ 666 w 720"/>
              <a:gd name="T89" fmla="*/ 438 h 654"/>
              <a:gd name="T90" fmla="*/ 720 w 720"/>
              <a:gd name="T91" fmla="*/ 456 h 654"/>
              <a:gd name="T92" fmla="*/ 696 w 720"/>
              <a:gd name="T93" fmla="*/ 504 h 654"/>
              <a:gd name="T94" fmla="*/ 696 w 720"/>
              <a:gd name="T95" fmla="*/ 546 h 654"/>
              <a:gd name="T96" fmla="*/ 690 w 720"/>
              <a:gd name="T97" fmla="*/ 582 h 654"/>
              <a:gd name="T98" fmla="*/ 684 w 720"/>
              <a:gd name="T99" fmla="*/ 612 h 654"/>
              <a:gd name="T100" fmla="*/ 690 w 720"/>
              <a:gd name="T101" fmla="*/ 630 h 654"/>
              <a:gd name="T102" fmla="*/ 420 w 720"/>
              <a:gd name="T103" fmla="*/ 642 h 654"/>
              <a:gd name="T104" fmla="*/ 252 w 720"/>
              <a:gd name="T105" fmla="*/ 630 h 654"/>
              <a:gd name="T106" fmla="*/ 234 w 720"/>
              <a:gd name="T107" fmla="*/ 630 h 654"/>
              <a:gd name="T108" fmla="*/ 216 w 720"/>
              <a:gd name="T109" fmla="*/ 654 h 654"/>
              <a:gd name="T110" fmla="*/ 192 w 720"/>
              <a:gd name="T111" fmla="*/ 630 h 654"/>
              <a:gd name="T112" fmla="*/ 174 w 720"/>
              <a:gd name="T113" fmla="*/ 612 h 654"/>
              <a:gd name="T114" fmla="*/ 168 w 720"/>
              <a:gd name="T115" fmla="*/ 606 h 654"/>
              <a:gd name="T116" fmla="*/ 156 w 720"/>
              <a:gd name="T117" fmla="*/ 582 h 654"/>
              <a:gd name="T118" fmla="*/ 144 w 720"/>
              <a:gd name="T119" fmla="*/ 576 h 654"/>
              <a:gd name="T120" fmla="*/ 126 w 720"/>
              <a:gd name="T121" fmla="*/ 558 h 654"/>
              <a:gd name="T122" fmla="*/ 108 w 720"/>
              <a:gd name="T123" fmla="*/ 534 h 6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0" h="654">
                <a:moveTo>
                  <a:pt x="6" y="534"/>
                </a:moveTo>
                <a:lnTo>
                  <a:pt x="0" y="528"/>
                </a:lnTo>
                <a:lnTo>
                  <a:pt x="6" y="522"/>
                </a:lnTo>
                <a:lnTo>
                  <a:pt x="0" y="522"/>
                </a:lnTo>
                <a:lnTo>
                  <a:pt x="0" y="522"/>
                </a:lnTo>
                <a:lnTo>
                  <a:pt x="6" y="516"/>
                </a:lnTo>
                <a:lnTo>
                  <a:pt x="6" y="516"/>
                </a:lnTo>
                <a:lnTo>
                  <a:pt x="6" y="516"/>
                </a:lnTo>
                <a:lnTo>
                  <a:pt x="6" y="516"/>
                </a:lnTo>
                <a:lnTo>
                  <a:pt x="12" y="516"/>
                </a:lnTo>
                <a:lnTo>
                  <a:pt x="12" y="516"/>
                </a:lnTo>
                <a:lnTo>
                  <a:pt x="12" y="516"/>
                </a:lnTo>
                <a:lnTo>
                  <a:pt x="12" y="516"/>
                </a:lnTo>
                <a:lnTo>
                  <a:pt x="12" y="510"/>
                </a:lnTo>
                <a:lnTo>
                  <a:pt x="18" y="510"/>
                </a:lnTo>
                <a:lnTo>
                  <a:pt x="18" y="510"/>
                </a:lnTo>
                <a:lnTo>
                  <a:pt x="18" y="510"/>
                </a:lnTo>
                <a:lnTo>
                  <a:pt x="24" y="504"/>
                </a:lnTo>
                <a:lnTo>
                  <a:pt x="24" y="504"/>
                </a:lnTo>
                <a:lnTo>
                  <a:pt x="24" y="504"/>
                </a:lnTo>
                <a:lnTo>
                  <a:pt x="30" y="504"/>
                </a:lnTo>
                <a:lnTo>
                  <a:pt x="30" y="504"/>
                </a:lnTo>
                <a:lnTo>
                  <a:pt x="30" y="504"/>
                </a:lnTo>
                <a:lnTo>
                  <a:pt x="30" y="504"/>
                </a:lnTo>
                <a:lnTo>
                  <a:pt x="30" y="504"/>
                </a:lnTo>
                <a:lnTo>
                  <a:pt x="36" y="498"/>
                </a:lnTo>
                <a:lnTo>
                  <a:pt x="36" y="492"/>
                </a:lnTo>
                <a:lnTo>
                  <a:pt x="30" y="492"/>
                </a:lnTo>
                <a:lnTo>
                  <a:pt x="30" y="492"/>
                </a:lnTo>
                <a:lnTo>
                  <a:pt x="30" y="492"/>
                </a:lnTo>
                <a:lnTo>
                  <a:pt x="30" y="492"/>
                </a:lnTo>
                <a:lnTo>
                  <a:pt x="30" y="486"/>
                </a:lnTo>
                <a:lnTo>
                  <a:pt x="30" y="486"/>
                </a:lnTo>
                <a:lnTo>
                  <a:pt x="30" y="486"/>
                </a:lnTo>
                <a:lnTo>
                  <a:pt x="30" y="486"/>
                </a:lnTo>
                <a:lnTo>
                  <a:pt x="30" y="486"/>
                </a:lnTo>
                <a:lnTo>
                  <a:pt x="30" y="480"/>
                </a:lnTo>
                <a:lnTo>
                  <a:pt x="30" y="480"/>
                </a:lnTo>
                <a:lnTo>
                  <a:pt x="36" y="480"/>
                </a:lnTo>
                <a:lnTo>
                  <a:pt x="36" y="474"/>
                </a:lnTo>
                <a:lnTo>
                  <a:pt x="36" y="474"/>
                </a:lnTo>
                <a:lnTo>
                  <a:pt x="42" y="474"/>
                </a:lnTo>
                <a:lnTo>
                  <a:pt x="42" y="474"/>
                </a:lnTo>
                <a:lnTo>
                  <a:pt x="42" y="468"/>
                </a:lnTo>
                <a:lnTo>
                  <a:pt x="42" y="474"/>
                </a:lnTo>
                <a:lnTo>
                  <a:pt x="42" y="474"/>
                </a:lnTo>
                <a:lnTo>
                  <a:pt x="42" y="468"/>
                </a:lnTo>
                <a:lnTo>
                  <a:pt x="42" y="468"/>
                </a:lnTo>
                <a:lnTo>
                  <a:pt x="42" y="468"/>
                </a:lnTo>
                <a:lnTo>
                  <a:pt x="42" y="462"/>
                </a:lnTo>
                <a:lnTo>
                  <a:pt x="42" y="462"/>
                </a:lnTo>
                <a:lnTo>
                  <a:pt x="42" y="462"/>
                </a:lnTo>
                <a:lnTo>
                  <a:pt x="42" y="462"/>
                </a:lnTo>
                <a:lnTo>
                  <a:pt x="42" y="462"/>
                </a:lnTo>
                <a:lnTo>
                  <a:pt x="42" y="462"/>
                </a:lnTo>
                <a:lnTo>
                  <a:pt x="42" y="462"/>
                </a:lnTo>
                <a:lnTo>
                  <a:pt x="42" y="462"/>
                </a:lnTo>
                <a:lnTo>
                  <a:pt x="48" y="462"/>
                </a:lnTo>
                <a:lnTo>
                  <a:pt x="48" y="462"/>
                </a:lnTo>
                <a:lnTo>
                  <a:pt x="48" y="462"/>
                </a:lnTo>
                <a:lnTo>
                  <a:pt x="48" y="462"/>
                </a:lnTo>
                <a:lnTo>
                  <a:pt x="48" y="462"/>
                </a:lnTo>
                <a:lnTo>
                  <a:pt x="54" y="456"/>
                </a:lnTo>
                <a:lnTo>
                  <a:pt x="54" y="456"/>
                </a:lnTo>
                <a:lnTo>
                  <a:pt x="54" y="456"/>
                </a:lnTo>
                <a:lnTo>
                  <a:pt x="54" y="456"/>
                </a:lnTo>
                <a:lnTo>
                  <a:pt x="54" y="456"/>
                </a:lnTo>
                <a:lnTo>
                  <a:pt x="48" y="456"/>
                </a:lnTo>
                <a:lnTo>
                  <a:pt x="48" y="450"/>
                </a:lnTo>
                <a:lnTo>
                  <a:pt x="48" y="450"/>
                </a:lnTo>
                <a:lnTo>
                  <a:pt x="42" y="450"/>
                </a:lnTo>
                <a:lnTo>
                  <a:pt x="48" y="450"/>
                </a:lnTo>
                <a:lnTo>
                  <a:pt x="48" y="450"/>
                </a:lnTo>
                <a:lnTo>
                  <a:pt x="48" y="444"/>
                </a:lnTo>
                <a:lnTo>
                  <a:pt x="42" y="444"/>
                </a:lnTo>
                <a:lnTo>
                  <a:pt x="42" y="444"/>
                </a:lnTo>
                <a:lnTo>
                  <a:pt x="48" y="444"/>
                </a:lnTo>
                <a:lnTo>
                  <a:pt x="48" y="438"/>
                </a:lnTo>
                <a:lnTo>
                  <a:pt x="48" y="438"/>
                </a:lnTo>
                <a:lnTo>
                  <a:pt x="48" y="438"/>
                </a:lnTo>
                <a:lnTo>
                  <a:pt x="48" y="438"/>
                </a:lnTo>
                <a:lnTo>
                  <a:pt x="48" y="432"/>
                </a:lnTo>
                <a:lnTo>
                  <a:pt x="42" y="432"/>
                </a:lnTo>
                <a:lnTo>
                  <a:pt x="42" y="432"/>
                </a:lnTo>
                <a:lnTo>
                  <a:pt x="42" y="432"/>
                </a:lnTo>
                <a:lnTo>
                  <a:pt x="42" y="432"/>
                </a:lnTo>
                <a:lnTo>
                  <a:pt x="42" y="426"/>
                </a:lnTo>
                <a:lnTo>
                  <a:pt x="42" y="426"/>
                </a:lnTo>
                <a:lnTo>
                  <a:pt x="42" y="426"/>
                </a:lnTo>
                <a:lnTo>
                  <a:pt x="42" y="426"/>
                </a:lnTo>
                <a:lnTo>
                  <a:pt x="42" y="426"/>
                </a:lnTo>
                <a:lnTo>
                  <a:pt x="42" y="426"/>
                </a:lnTo>
                <a:lnTo>
                  <a:pt x="42" y="420"/>
                </a:lnTo>
                <a:lnTo>
                  <a:pt x="42" y="420"/>
                </a:lnTo>
                <a:lnTo>
                  <a:pt x="42" y="420"/>
                </a:lnTo>
                <a:lnTo>
                  <a:pt x="48" y="420"/>
                </a:lnTo>
                <a:lnTo>
                  <a:pt x="48" y="420"/>
                </a:lnTo>
                <a:lnTo>
                  <a:pt x="54" y="420"/>
                </a:lnTo>
                <a:lnTo>
                  <a:pt x="54" y="420"/>
                </a:lnTo>
                <a:lnTo>
                  <a:pt x="54" y="420"/>
                </a:lnTo>
                <a:lnTo>
                  <a:pt x="54" y="414"/>
                </a:lnTo>
                <a:lnTo>
                  <a:pt x="54" y="414"/>
                </a:lnTo>
                <a:lnTo>
                  <a:pt x="54" y="414"/>
                </a:lnTo>
                <a:lnTo>
                  <a:pt x="60" y="414"/>
                </a:lnTo>
                <a:lnTo>
                  <a:pt x="60" y="414"/>
                </a:lnTo>
                <a:lnTo>
                  <a:pt x="54" y="408"/>
                </a:lnTo>
                <a:lnTo>
                  <a:pt x="60" y="408"/>
                </a:lnTo>
                <a:lnTo>
                  <a:pt x="60" y="408"/>
                </a:lnTo>
                <a:lnTo>
                  <a:pt x="60" y="408"/>
                </a:lnTo>
                <a:lnTo>
                  <a:pt x="60" y="408"/>
                </a:lnTo>
                <a:lnTo>
                  <a:pt x="60" y="408"/>
                </a:lnTo>
                <a:lnTo>
                  <a:pt x="66" y="408"/>
                </a:lnTo>
                <a:lnTo>
                  <a:pt x="66" y="408"/>
                </a:lnTo>
                <a:lnTo>
                  <a:pt x="66" y="402"/>
                </a:lnTo>
                <a:lnTo>
                  <a:pt x="66" y="402"/>
                </a:lnTo>
                <a:lnTo>
                  <a:pt x="66" y="402"/>
                </a:lnTo>
                <a:lnTo>
                  <a:pt x="66" y="396"/>
                </a:lnTo>
                <a:lnTo>
                  <a:pt x="66" y="396"/>
                </a:lnTo>
                <a:lnTo>
                  <a:pt x="66" y="396"/>
                </a:lnTo>
                <a:lnTo>
                  <a:pt x="66" y="396"/>
                </a:lnTo>
                <a:lnTo>
                  <a:pt x="66" y="390"/>
                </a:lnTo>
                <a:lnTo>
                  <a:pt x="66" y="390"/>
                </a:lnTo>
                <a:lnTo>
                  <a:pt x="66" y="390"/>
                </a:lnTo>
                <a:lnTo>
                  <a:pt x="60" y="390"/>
                </a:lnTo>
                <a:lnTo>
                  <a:pt x="60" y="390"/>
                </a:lnTo>
                <a:lnTo>
                  <a:pt x="60" y="390"/>
                </a:lnTo>
                <a:lnTo>
                  <a:pt x="60" y="390"/>
                </a:lnTo>
                <a:lnTo>
                  <a:pt x="78" y="384"/>
                </a:lnTo>
                <a:lnTo>
                  <a:pt x="84" y="378"/>
                </a:lnTo>
                <a:lnTo>
                  <a:pt x="90" y="366"/>
                </a:lnTo>
                <a:lnTo>
                  <a:pt x="90" y="366"/>
                </a:lnTo>
                <a:lnTo>
                  <a:pt x="90" y="348"/>
                </a:lnTo>
                <a:lnTo>
                  <a:pt x="96" y="348"/>
                </a:lnTo>
                <a:lnTo>
                  <a:pt x="96" y="342"/>
                </a:lnTo>
                <a:lnTo>
                  <a:pt x="96" y="342"/>
                </a:lnTo>
                <a:lnTo>
                  <a:pt x="102" y="336"/>
                </a:lnTo>
                <a:lnTo>
                  <a:pt x="102" y="336"/>
                </a:lnTo>
                <a:lnTo>
                  <a:pt x="102" y="330"/>
                </a:lnTo>
                <a:lnTo>
                  <a:pt x="108" y="324"/>
                </a:lnTo>
                <a:lnTo>
                  <a:pt x="114" y="324"/>
                </a:lnTo>
                <a:lnTo>
                  <a:pt x="120" y="312"/>
                </a:lnTo>
                <a:lnTo>
                  <a:pt x="132" y="306"/>
                </a:lnTo>
                <a:lnTo>
                  <a:pt x="138" y="294"/>
                </a:lnTo>
                <a:lnTo>
                  <a:pt x="138" y="288"/>
                </a:lnTo>
                <a:lnTo>
                  <a:pt x="150" y="270"/>
                </a:lnTo>
                <a:lnTo>
                  <a:pt x="156" y="270"/>
                </a:lnTo>
                <a:lnTo>
                  <a:pt x="174" y="252"/>
                </a:lnTo>
                <a:lnTo>
                  <a:pt x="180" y="240"/>
                </a:lnTo>
                <a:lnTo>
                  <a:pt x="192" y="216"/>
                </a:lnTo>
                <a:lnTo>
                  <a:pt x="198" y="210"/>
                </a:lnTo>
                <a:lnTo>
                  <a:pt x="204" y="204"/>
                </a:lnTo>
                <a:lnTo>
                  <a:pt x="204" y="204"/>
                </a:lnTo>
                <a:lnTo>
                  <a:pt x="210" y="192"/>
                </a:lnTo>
                <a:lnTo>
                  <a:pt x="216" y="186"/>
                </a:lnTo>
                <a:lnTo>
                  <a:pt x="222" y="186"/>
                </a:lnTo>
                <a:lnTo>
                  <a:pt x="222" y="186"/>
                </a:lnTo>
                <a:lnTo>
                  <a:pt x="234" y="174"/>
                </a:lnTo>
                <a:lnTo>
                  <a:pt x="246" y="168"/>
                </a:lnTo>
                <a:lnTo>
                  <a:pt x="252" y="162"/>
                </a:lnTo>
                <a:lnTo>
                  <a:pt x="258" y="156"/>
                </a:lnTo>
                <a:lnTo>
                  <a:pt x="264" y="150"/>
                </a:lnTo>
                <a:lnTo>
                  <a:pt x="276" y="138"/>
                </a:lnTo>
                <a:lnTo>
                  <a:pt x="282" y="138"/>
                </a:lnTo>
                <a:lnTo>
                  <a:pt x="288" y="132"/>
                </a:lnTo>
                <a:lnTo>
                  <a:pt x="288" y="126"/>
                </a:lnTo>
                <a:lnTo>
                  <a:pt x="306" y="114"/>
                </a:lnTo>
                <a:lnTo>
                  <a:pt x="306" y="114"/>
                </a:lnTo>
                <a:lnTo>
                  <a:pt x="306" y="108"/>
                </a:lnTo>
                <a:lnTo>
                  <a:pt x="312" y="102"/>
                </a:lnTo>
                <a:lnTo>
                  <a:pt x="312" y="96"/>
                </a:lnTo>
                <a:lnTo>
                  <a:pt x="324" y="90"/>
                </a:lnTo>
                <a:lnTo>
                  <a:pt x="342" y="72"/>
                </a:lnTo>
                <a:lnTo>
                  <a:pt x="366" y="54"/>
                </a:lnTo>
                <a:lnTo>
                  <a:pt x="366" y="48"/>
                </a:lnTo>
                <a:lnTo>
                  <a:pt x="372" y="42"/>
                </a:lnTo>
                <a:lnTo>
                  <a:pt x="372" y="42"/>
                </a:lnTo>
                <a:lnTo>
                  <a:pt x="372" y="42"/>
                </a:lnTo>
                <a:lnTo>
                  <a:pt x="378" y="42"/>
                </a:lnTo>
                <a:lnTo>
                  <a:pt x="378" y="42"/>
                </a:lnTo>
                <a:lnTo>
                  <a:pt x="378" y="42"/>
                </a:lnTo>
                <a:lnTo>
                  <a:pt x="384" y="42"/>
                </a:lnTo>
                <a:lnTo>
                  <a:pt x="384" y="42"/>
                </a:lnTo>
                <a:lnTo>
                  <a:pt x="384" y="42"/>
                </a:lnTo>
                <a:lnTo>
                  <a:pt x="384" y="48"/>
                </a:lnTo>
                <a:lnTo>
                  <a:pt x="384" y="42"/>
                </a:lnTo>
                <a:lnTo>
                  <a:pt x="384" y="42"/>
                </a:lnTo>
                <a:lnTo>
                  <a:pt x="390" y="42"/>
                </a:lnTo>
                <a:lnTo>
                  <a:pt x="390" y="42"/>
                </a:lnTo>
                <a:lnTo>
                  <a:pt x="390" y="42"/>
                </a:lnTo>
                <a:lnTo>
                  <a:pt x="390" y="42"/>
                </a:lnTo>
                <a:lnTo>
                  <a:pt x="390" y="42"/>
                </a:lnTo>
                <a:lnTo>
                  <a:pt x="396" y="42"/>
                </a:lnTo>
                <a:lnTo>
                  <a:pt x="396" y="42"/>
                </a:lnTo>
                <a:lnTo>
                  <a:pt x="396" y="42"/>
                </a:lnTo>
                <a:lnTo>
                  <a:pt x="396" y="42"/>
                </a:lnTo>
                <a:lnTo>
                  <a:pt x="402" y="42"/>
                </a:lnTo>
                <a:lnTo>
                  <a:pt x="402" y="36"/>
                </a:lnTo>
                <a:lnTo>
                  <a:pt x="402" y="36"/>
                </a:lnTo>
                <a:lnTo>
                  <a:pt x="402" y="36"/>
                </a:lnTo>
                <a:lnTo>
                  <a:pt x="408" y="36"/>
                </a:lnTo>
                <a:lnTo>
                  <a:pt x="408" y="36"/>
                </a:lnTo>
                <a:lnTo>
                  <a:pt x="408" y="36"/>
                </a:lnTo>
                <a:lnTo>
                  <a:pt x="408" y="36"/>
                </a:lnTo>
                <a:lnTo>
                  <a:pt x="408" y="36"/>
                </a:lnTo>
                <a:lnTo>
                  <a:pt x="414" y="36"/>
                </a:lnTo>
                <a:lnTo>
                  <a:pt x="414" y="36"/>
                </a:lnTo>
                <a:lnTo>
                  <a:pt x="414" y="36"/>
                </a:lnTo>
                <a:lnTo>
                  <a:pt x="414" y="36"/>
                </a:lnTo>
                <a:lnTo>
                  <a:pt x="420" y="36"/>
                </a:lnTo>
                <a:lnTo>
                  <a:pt x="420" y="36"/>
                </a:lnTo>
                <a:lnTo>
                  <a:pt x="420" y="42"/>
                </a:lnTo>
                <a:lnTo>
                  <a:pt x="426" y="36"/>
                </a:lnTo>
                <a:lnTo>
                  <a:pt x="426" y="36"/>
                </a:lnTo>
                <a:lnTo>
                  <a:pt x="426" y="42"/>
                </a:lnTo>
                <a:lnTo>
                  <a:pt x="426" y="42"/>
                </a:lnTo>
                <a:lnTo>
                  <a:pt x="432" y="42"/>
                </a:lnTo>
                <a:lnTo>
                  <a:pt x="432" y="42"/>
                </a:lnTo>
                <a:lnTo>
                  <a:pt x="438" y="42"/>
                </a:lnTo>
                <a:lnTo>
                  <a:pt x="438" y="42"/>
                </a:lnTo>
                <a:lnTo>
                  <a:pt x="438" y="36"/>
                </a:lnTo>
                <a:lnTo>
                  <a:pt x="438" y="36"/>
                </a:lnTo>
                <a:lnTo>
                  <a:pt x="438" y="36"/>
                </a:lnTo>
                <a:lnTo>
                  <a:pt x="438" y="36"/>
                </a:lnTo>
                <a:lnTo>
                  <a:pt x="438" y="42"/>
                </a:lnTo>
                <a:lnTo>
                  <a:pt x="438" y="42"/>
                </a:lnTo>
                <a:lnTo>
                  <a:pt x="438" y="42"/>
                </a:lnTo>
                <a:lnTo>
                  <a:pt x="438" y="48"/>
                </a:lnTo>
                <a:lnTo>
                  <a:pt x="438" y="48"/>
                </a:lnTo>
                <a:lnTo>
                  <a:pt x="438" y="48"/>
                </a:lnTo>
                <a:lnTo>
                  <a:pt x="438" y="48"/>
                </a:lnTo>
                <a:lnTo>
                  <a:pt x="444" y="48"/>
                </a:lnTo>
                <a:lnTo>
                  <a:pt x="444" y="48"/>
                </a:lnTo>
                <a:lnTo>
                  <a:pt x="444" y="48"/>
                </a:lnTo>
                <a:lnTo>
                  <a:pt x="444" y="54"/>
                </a:lnTo>
                <a:lnTo>
                  <a:pt x="444" y="54"/>
                </a:lnTo>
                <a:lnTo>
                  <a:pt x="444" y="54"/>
                </a:lnTo>
                <a:lnTo>
                  <a:pt x="450" y="54"/>
                </a:lnTo>
                <a:lnTo>
                  <a:pt x="450" y="54"/>
                </a:lnTo>
                <a:lnTo>
                  <a:pt x="450" y="60"/>
                </a:lnTo>
                <a:lnTo>
                  <a:pt x="456" y="60"/>
                </a:lnTo>
                <a:lnTo>
                  <a:pt x="456" y="60"/>
                </a:lnTo>
                <a:lnTo>
                  <a:pt x="456" y="60"/>
                </a:lnTo>
                <a:lnTo>
                  <a:pt x="456" y="60"/>
                </a:lnTo>
                <a:lnTo>
                  <a:pt x="456" y="60"/>
                </a:lnTo>
                <a:lnTo>
                  <a:pt x="456" y="66"/>
                </a:lnTo>
                <a:lnTo>
                  <a:pt x="456" y="66"/>
                </a:lnTo>
                <a:lnTo>
                  <a:pt x="456" y="66"/>
                </a:lnTo>
                <a:lnTo>
                  <a:pt x="456" y="66"/>
                </a:lnTo>
                <a:lnTo>
                  <a:pt x="462" y="66"/>
                </a:lnTo>
                <a:lnTo>
                  <a:pt x="462" y="72"/>
                </a:lnTo>
                <a:lnTo>
                  <a:pt x="462" y="72"/>
                </a:lnTo>
                <a:lnTo>
                  <a:pt x="462" y="72"/>
                </a:lnTo>
                <a:lnTo>
                  <a:pt x="462" y="66"/>
                </a:lnTo>
                <a:lnTo>
                  <a:pt x="468" y="66"/>
                </a:lnTo>
                <a:lnTo>
                  <a:pt x="468" y="66"/>
                </a:lnTo>
                <a:lnTo>
                  <a:pt x="468" y="66"/>
                </a:lnTo>
                <a:lnTo>
                  <a:pt x="468" y="66"/>
                </a:lnTo>
                <a:lnTo>
                  <a:pt x="468" y="66"/>
                </a:lnTo>
                <a:lnTo>
                  <a:pt x="468" y="72"/>
                </a:lnTo>
                <a:lnTo>
                  <a:pt x="468" y="72"/>
                </a:lnTo>
                <a:lnTo>
                  <a:pt x="474" y="72"/>
                </a:lnTo>
                <a:lnTo>
                  <a:pt x="474" y="72"/>
                </a:lnTo>
                <a:lnTo>
                  <a:pt x="474" y="66"/>
                </a:lnTo>
                <a:lnTo>
                  <a:pt x="480" y="66"/>
                </a:lnTo>
                <a:lnTo>
                  <a:pt x="480" y="66"/>
                </a:lnTo>
                <a:lnTo>
                  <a:pt x="480" y="66"/>
                </a:lnTo>
                <a:lnTo>
                  <a:pt x="480" y="66"/>
                </a:lnTo>
                <a:lnTo>
                  <a:pt x="480" y="60"/>
                </a:lnTo>
                <a:lnTo>
                  <a:pt x="480" y="60"/>
                </a:lnTo>
                <a:lnTo>
                  <a:pt x="480" y="54"/>
                </a:lnTo>
                <a:lnTo>
                  <a:pt x="480" y="54"/>
                </a:lnTo>
                <a:lnTo>
                  <a:pt x="480" y="54"/>
                </a:lnTo>
                <a:lnTo>
                  <a:pt x="474" y="48"/>
                </a:lnTo>
                <a:lnTo>
                  <a:pt x="480" y="48"/>
                </a:lnTo>
                <a:lnTo>
                  <a:pt x="480" y="48"/>
                </a:lnTo>
                <a:lnTo>
                  <a:pt x="480" y="48"/>
                </a:lnTo>
                <a:lnTo>
                  <a:pt x="480" y="48"/>
                </a:lnTo>
                <a:lnTo>
                  <a:pt x="480" y="48"/>
                </a:lnTo>
                <a:lnTo>
                  <a:pt x="480" y="48"/>
                </a:lnTo>
                <a:lnTo>
                  <a:pt x="486" y="42"/>
                </a:lnTo>
                <a:lnTo>
                  <a:pt x="504" y="42"/>
                </a:lnTo>
                <a:lnTo>
                  <a:pt x="516" y="42"/>
                </a:lnTo>
                <a:lnTo>
                  <a:pt x="516" y="42"/>
                </a:lnTo>
                <a:lnTo>
                  <a:pt x="522" y="42"/>
                </a:lnTo>
                <a:lnTo>
                  <a:pt x="522" y="42"/>
                </a:lnTo>
                <a:lnTo>
                  <a:pt x="528" y="36"/>
                </a:lnTo>
                <a:lnTo>
                  <a:pt x="528" y="30"/>
                </a:lnTo>
                <a:lnTo>
                  <a:pt x="528" y="24"/>
                </a:lnTo>
                <a:lnTo>
                  <a:pt x="528" y="24"/>
                </a:lnTo>
                <a:lnTo>
                  <a:pt x="534" y="18"/>
                </a:lnTo>
                <a:lnTo>
                  <a:pt x="534" y="18"/>
                </a:lnTo>
                <a:lnTo>
                  <a:pt x="534" y="12"/>
                </a:lnTo>
                <a:lnTo>
                  <a:pt x="534" y="12"/>
                </a:lnTo>
                <a:lnTo>
                  <a:pt x="534" y="12"/>
                </a:lnTo>
                <a:lnTo>
                  <a:pt x="534" y="12"/>
                </a:lnTo>
                <a:lnTo>
                  <a:pt x="534" y="6"/>
                </a:lnTo>
                <a:lnTo>
                  <a:pt x="534" y="6"/>
                </a:lnTo>
                <a:lnTo>
                  <a:pt x="540" y="6"/>
                </a:lnTo>
                <a:lnTo>
                  <a:pt x="540" y="6"/>
                </a:lnTo>
                <a:lnTo>
                  <a:pt x="576" y="6"/>
                </a:lnTo>
                <a:lnTo>
                  <a:pt x="582" y="6"/>
                </a:lnTo>
                <a:lnTo>
                  <a:pt x="582" y="6"/>
                </a:lnTo>
                <a:lnTo>
                  <a:pt x="582" y="12"/>
                </a:lnTo>
                <a:lnTo>
                  <a:pt x="582" y="12"/>
                </a:lnTo>
                <a:lnTo>
                  <a:pt x="582" y="12"/>
                </a:lnTo>
                <a:lnTo>
                  <a:pt x="582" y="12"/>
                </a:lnTo>
                <a:lnTo>
                  <a:pt x="582" y="12"/>
                </a:lnTo>
                <a:lnTo>
                  <a:pt x="588" y="12"/>
                </a:lnTo>
                <a:lnTo>
                  <a:pt x="588" y="12"/>
                </a:lnTo>
                <a:lnTo>
                  <a:pt x="594" y="12"/>
                </a:lnTo>
                <a:lnTo>
                  <a:pt x="594" y="18"/>
                </a:lnTo>
                <a:lnTo>
                  <a:pt x="594" y="12"/>
                </a:lnTo>
                <a:lnTo>
                  <a:pt x="594" y="12"/>
                </a:lnTo>
                <a:lnTo>
                  <a:pt x="600" y="12"/>
                </a:lnTo>
                <a:lnTo>
                  <a:pt x="600" y="12"/>
                </a:lnTo>
                <a:lnTo>
                  <a:pt x="600" y="6"/>
                </a:lnTo>
                <a:lnTo>
                  <a:pt x="606" y="6"/>
                </a:lnTo>
                <a:lnTo>
                  <a:pt x="606" y="6"/>
                </a:lnTo>
                <a:lnTo>
                  <a:pt x="606" y="6"/>
                </a:lnTo>
                <a:lnTo>
                  <a:pt x="606" y="6"/>
                </a:lnTo>
                <a:lnTo>
                  <a:pt x="606" y="6"/>
                </a:lnTo>
                <a:lnTo>
                  <a:pt x="606" y="0"/>
                </a:lnTo>
                <a:lnTo>
                  <a:pt x="612" y="0"/>
                </a:lnTo>
                <a:lnTo>
                  <a:pt x="612" y="0"/>
                </a:lnTo>
                <a:lnTo>
                  <a:pt x="618" y="6"/>
                </a:lnTo>
                <a:lnTo>
                  <a:pt x="618" y="6"/>
                </a:lnTo>
                <a:lnTo>
                  <a:pt x="618" y="0"/>
                </a:lnTo>
                <a:lnTo>
                  <a:pt x="618" y="0"/>
                </a:lnTo>
                <a:lnTo>
                  <a:pt x="624" y="0"/>
                </a:lnTo>
                <a:lnTo>
                  <a:pt x="624" y="0"/>
                </a:lnTo>
                <a:lnTo>
                  <a:pt x="624" y="0"/>
                </a:lnTo>
                <a:lnTo>
                  <a:pt x="624" y="0"/>
                </a:lnTo>
                <a:lnTo>
                  <a:pt x="630" y="0"/>
                </a:lnTo>
                <a:lnTo>
                  <a:pt x="630" y="6"/>
                </a:lnTo>
                <a:lnTo>
                  <a:pt x="630" y="6"/>
                </a:lnTo>
                <a:lnTo>
                  <a:pt x="636" y="6"/>
                </a:lnTo>
                <a:lnTo>
                  <a:pt x="636" y="6"/>
                </a:lnTo>
                <a:lnTo>
                  <a:pt x="630" y="6"/>
                </a:lnTo>
                <a:lnTo>
                  <a:pt x="630" y="12"/>
                </a:lnTo>
                <a:lnTo>
                  <a:pt x="630" y="12"/>
                </a:lnTo>
                <a:lnTo>
                  <a:pt x="630" y="18"/>
                </a:lnTo>
                <a:lnTo>
                  <a:pt x="636" y="24"/>
                </a:lnTo>
                <a:lnTo>
                  <a:pt x="636" y="24"/>
                </a:lnTo>
                <a:lnTo>
                  <a:pt x="636" y="24"/>
                </a:lnTo>
                <a:lnTo>
                  <a:pt x="636" y="30"/>
                </a:lnTo>
                <a:lnTo>
                  <a:pt x="642" y="30"/>
                </a:lnTo>
                <a:lnTo>
                  <a:pt x="648" y="36"/>
                </a:lnTo>
                <a:lnTo>
                  <a:pt x="648" y="36"/>
                </a:lnTo>
                <a:lnTo>
                  <a:pt x="648" y="42"/>
                </a:lnTo>
                <a:lnTo>
                  <a:pt x="648" y="42"/>
                </a:lnTo>
                <a:lnTo>
                  <a:pt x="648" y="48"/>
                </a:lnTo>
                <a:lnTo>
                  <a:pt x="648" y="48"/>
                </a:lnTo>
                <a:lnTo>
                  <a:pt x="648" y="48"/>
                </a:lnTo>
                <a:lnTo>
                  <a:pt x="654" y="54"/>
                </a:lnTo>
                <a:lnTo>
                  <a:pt x="654" y="48"/>
                </a:lnTo>
                <a:lnTo>
                  <a:pt x="654" y="54"/>
                </a:lnTo>
                <a:lnTo>
                  <a:pt x="654" y="54"/>
                </a:lnTo>
                <a:lnTo>
                  <a:pt x="654" y="60"/>
                </a:lnTo>
                <a:lnTo>
                  <a:pt x="648" y="60"/>
                </a:lnTo>
                <a:lnTo>
                  <a:pt x="654" y="66"/>
                </a:lnTo>
                <a:lnTo>
                  <a:pt x="648" y="66"/>
                </a:lnTo>
                <a:lnTo>
                  <a:pt x="654" y="66"/>
                </a:lnTo>
                <a:lnTo>
                  <a:pt x="654" y="72"/>
                </a:lnTo>
                <a:lnTo>
                  <a:pt x="654" y="72"/>
                </a:lnTo>
                <a:lnTo>
                  <a:pt x="654" y="78"/>
                </a:lnTo>
                <a:lnTo>
                  <a:pt x="654" y="78"/>
                </a:lnTo>
                <a:lnTo>
                  <a:pt x="654" y="78"/>
                </a:lnTo>
                <a:lnTo>
                  <a:pt x="654" y="78"/>
                </a:lnTo>
                <a:lnTo>
                  <a:pt x="654" y="78"/>
                </a:lnTo>
                <a:lnTo>
                  <a:pt x="660" y="78"/>
                </a:lnTo>
                <a:lnTo>
                  <a:pt x="660" y="78"/>
                </a:lnTo>
                <a:lnTo>
                  <a:pt x="660" y="78"/>
                </a:lnTo>
                <a:lnTo>
                  <a:pt x="666" y="84"/>
                </a:lnTo>
                <a:lnTo>
                  <a:pt x="672" y="78"/>
                </a:lnTo>
                <a:lnTo>
                  <a:pt x="672" y="78"/>
                </a:lnTo>
                <a:lnTo>
                  <a:pt x="672" y="78"/>
                </a:lnTo>
                <a:lnTo>
                  <a:pt x="672" y="78"/>
                </a:lnTo>
                <a:lnTo>
                  <a:pt x="672" y="78"/>
                </a:lnTo>
                <a:lnTo>
                  <a:pt x="678" y="84"/>
                </a:lnTo>
                <a:lnTo>
                  <a:pt x="678" y="78"/>
                </a:lnTo>
                <a:lnTo>
                  <a:pt x="684" y="84"/>
                </a:lnTo>
                <a:lnTo>
                  <a:pt x="684" y="84"/>
                </a:lnTo>
                <a:lnTo>
                  <a:pt x="684" y="84"/>
                </a:lnTo>
                <a:lnTo>
                  <a:pt x="684" y="78"/>
                </a:lnTo>
                <a:lnTo>
                  <a:pt x="684" y="78"/>
                </a:lnTo>
                <a:lnTo>
                  <a:pt x="684" y="78"/>
                </a:lnTo>
                <a:lnTo>
                  <a:pt x="684" y="78"/>
                </a:lnTo>
                <a:lnTo>
                  <a:pt x="690" y="78"/>
                </a:lnTo>
                <a:lnTo>
                  <a:pt x="690" y="78"/>
                </a:lnTo>
                <a:lnTo>
                  <a:pt x="690" y="78"/>
                </a:lnTo>
                <a:lnTo>
                  <a:pt x="690" y="72"/>
                </a:lnTo>
                <a:lnTo>
                  <a:pt x="696" y="72"/>
                </a:lnTo>
                <a:lnTo>
                  <a:pt x="696" y="72"/>
                </a:lnTo>
                <a:lnTo>
                  <a:pt x="696" y="72"/>
                </a:lnTo>
                <a:lnTo>
                  <a:pt x="696" y="72"/>
                </a:lnTo>
                <a:lnTo>
                  <a:pt x="702" y="66"/>
                </a:lnTo>
                <a:lnTo>
                  <a:pt x="702" y="66"/>
                </a:lnTo>
                <a:lnTo>
                  <a:pt x="702" y="66"/>
                </a:lnTo>
                <a:lnTo>
                  <a:pt x="702" y="66"/>
                </a:lnTo>
                <a:lnTo>
                  <a:pt x="708" y="66"/>
                </a:lnTo>
                <a:lnTo>
                  <a:pt x="708" y="66"/>
                </a:lnTo>
                <a:lnTo>
                  <a:pt x="708" y="66"/>
                </a:lnTo>
                <a:lnTo>
                  <a:pt x="708" y="60"/>
                </a:lnTo>
                <a:lnTo>
                  <a:pt x="708" y="60"/>
                </a:lnTo>
                <a:lnTo>
                  <a:pt x="714" y="66"/>
                </a:lnTo>
                <a:lnTo>
                  <a:pt x="714" y="66"/>
                </a:lnTo>
                <a:lnTo>
                  <a:pt x="714" y="66"/>
                </a:lnTo>
                <a:lnTo>
                  <a:pt x="720" y="66"/>
                </a:lnTo>
                <a:lnTo>
                  <a:pt x="720" y="66"/>
                </a:lnTo>
                <a:lnTo>
                  <a:pt x="720" y="66"/>
                </a:lnTo>
                <a:lnTo>
                  <a:pt x="720" y="72"/>
                </a:lnTo>
                <a:lnTo>
                  <a:pt x="720" y="72"/>
                </a:lnTo>
                <a:lnTo>
                  <a:pt x="720" y="72"/>
                </a:lnTo>
                <a:lnTo>
                  <a:pt x="720" y="72"/>
                </a:lnTo>
                <a:lnTo>
                  <a:pt x="714" y="72"/>
                </a:lnTo>
                <a:lnTo>
                  <a:pt x="714" y="72"/>
                </a:lnTo>
                <a:lnTo>
                  <a:pt x="714" y="78"/>
                </a:lnTo>
                <a:lnTo>
                  <a:pt x="714" y="78"/>
                </a:lnTo>
                <a:lnTo>
                  <a:pt x="714" y="78"/>
                </a:lnTo>
                <a:lnTo>
                  <a:pt x="714" y="78"/>
                </a:lnTo>
                <a:lnTo>
                  <a:pt x="714" y="84"/>
                </a:lnTo>
                <a:lnTo>
                  <a:pt x="708" y="84"/>
                </a:lnTo>
                <a:lnTo>
                  <a:pt x="708" y="84"/>
                </a:lnTo>
                <a:lnTo>
                  <a:pt x="708" y="84"/>
                </a:lnTo>
                <a:lnTo>
                  <a:pt x="708" y="84"/>
                </a:lnTo>
                <a:lnTo>
                  <a:pt x="708" y="84"/>
                </a:lnTo>
                <a:lnTo>
                  <a:pt x="708" y="90"/>
                </a:lnTo>
                <a:lnTo>
                  <a:pt x="708" y="90"/>
                </a:lnTo>
                <a:lnTo>
                  <a:pt x="708" y="90"/>
                </a:lnTo>
                <a:lnTo>
                  <a:pt x="708" y="90"/>
                </a:lnTo>
                <a:lnTo>
                  <a:pt x="708" y="90"/>
                </a:lnTo>
                <a:lnTo>
                  <a:pt x="708" y="90"/>
                </a:lnTo>
                <a:lnTo>
                  <a:pt x="708" y="96"/>
                </a:lnTo>
                <a:lnTo>
                  <a:pt x="708" y="96"/>
                </a:lnTo>
                <a:lnTo>
                  <a:pt x="708" y="96"/>
                </a:lnTo>
                <a:lnTo>
                  <a:pt x="702" y="96"/>
                </a:lnTo>
                <a:lnTo>
                  <a:pt x="702" y="96"/>
                </a:lnTo>
                <a:lnTo>
                  <a:pt x="702" y="102"/>
                </a:lnTo>
                <a:lnTo>
                  <a:pt x="702" y="102"/>
                </a:lnTo>
                <a:lnTo>
                  <a:pt x="702" y="102"/>
                </a:lnTo>
                <a:lnTo>
                  <a:pt x="702" y="108"/>
                </a:lnTo>
                <a:lnTo>
                  <a:pt x="696" y="108"/>
                </a:lnTo>
                <a:lnTo>
                  <a:pt x="696" y="108"/>
                </a:lnTo>
                <a:lnTo>
                  <a:pt x="702" y="108"/>
                </a:lnTo>
                <a:lnTo>
                  <a:pt x="702" y="114"/>
                </a:lnTo>
                <a:lnTo>
                  <a:pt x="696" y="114"/>
                </a:lnTo>
                <a:lnTo>
                  <a:pt x="696" y="114"/>
                </a:lnTo>
                <a:lnTo>
                  <a:pt x="696" y="120"/>
                </a:lnTo>
                <a:lnTo>
                  <a:pt x="696" y="120"/>
                </a:lnTo>
                <a:lnTo>
                  <a:pt x="696" y="120"/>
                </a:lnTo>
                <a:lnTo>
                  <a:pt x="696" y="126"/>
                </a:lnTo>
                <a:lnTo>
                  <a:pt x="696" y="120"/>
                </a:lnTo>
                <a:lnTo>
                  <a:pt x="690" y="120"/>
                </a:lnTo>
                <a:lnTo>
                  <a:pt x="690" y="126"/>
                </a:lnTo>
                <a:lnTo>
                  <a:pt x="690" y="126"/>
                </a:lnTo>
                <a:lnTo>
                  <a:pt x="690" y="126"/>
                </a:lnTo>
                <a:lnTo>
                  <a:pt x="690" y="126"/>
                </a:lnTo>
                <a:lnTo>
                  <a:pt x="690" y="126"/>
                </a:lnTo>
                <a:lnTo>
                  <a:pt x="690" y="132"/>
                </a:lnTo>
                <a:lnTo>
                  <a:pt x="690" y="132"/>
                </a:lnTo>
                <a:lnTo>
                  <a:pt x="690" y="132"/>
                </a:lnTo>
                <a:lnTo>
                  <a:pt x="690" y="132"/>
                </a:lnTo>
                <a:lnTo>
                  <a:pt x="690" y="132"/>
                </a:lnTo>
                <a:lnTo>
                  <a:pt x="690" y="132"/>
                </a:lnTo>
                <a:lnTo>
                  <a:pt x="690" y="138"/>
                </a:lnTo>
                <a:lnTo>
                  <a:pt x="684" y="138"/>
                </a:lnTo>
                <a:lnTo>
                  <a:pt x="684" y="138"/>
                </a:lnTo>
                <a:lnTo>
                  <a:pt x="684" y="138"/>
                </a:lnTo>
                <a:lnTo>
                  <a:pt x="684" y="138"/>
                </a:lnTo>
                <a:lnTo>
                  <a:pt x="684" y="138"/>
                </a:lnTo>
                <a:lnTo>
                  <a:pt x="684" y="144"/>
                </a:lnTo>
                <a:lnTo>
                  <a:pt x="684" y="144"/>
                </a:lnTo>
                <a:lnTo>
                  <a:pt x="684" y="144"/>
                </a:lnTo>
                <a:lnTo>
                  <a:pt x="684" y="144"/>
                </a:lnTo>
                <a:lnTo>
                  <a:pt x="684" y="144"/>
                </a:lnTo>
                <a:lnTo>
                  <a:pt x="684" y="150"/>
                </a:lnTo>
                <a:lnTo>
                  <a:pt x="678" y="150"/>
                </a:lnTo>
                <a:lnTo>
                  <a:pt x="678" y="150"/>
                </a:lnTo>
                <a:lnTo>
                  <a:pt x="678" y="150"/>
                </a:lnTo>
                <a:lnTo>
                  <a:pt x="678" y="150"/>
                </a:lnTo>
                <a:lnTo>
                  <a:pt x="678" y="150"/>
                </a:lnTo>
                <a:lnTo>
                  <a:pt x="678" y="156"/>
                </a:lnTo>
                <a:lnTo>
                  <a:pt x="672" y="156"/>
                </a:lnTo>
                <a:lnTo>
                  <a:pt x="672" y="156"/>
                </a:lnTo>
                <a:lnTo>
                  <a:pt x="672" y="156"/>
                </a:lnTo>
                <a:lnTo>
                  <a:pt x="672" y="156"/>
                </a:lnTo>
                <a:lnTo>
                  <a:pt x="672" y="156"/>
                </a:lnTo>
                <a:lnTo>
                  <a:pt x="672" y="162"/>
                </a:lnTo>
                <a:lnTo>
                  <a:pt x="666" y="162"/>
                </a:lnTo>
                <a:lnTo>
                  <a:pt x="666" y="162"/>
                </a:lnTo>
                <a:lnTo>
                  <a:pt x="672" y="162"/>
                </a:lnTo>
                <a:lnTo>
                  <a:pt x="666" y="162"/>
                </a:lnTo>
                <a:lnTo>
                  <a:pt x="666" y="162"/>
                </a:lnTo>
                <a:lnTo>
                  <a:pt x="666" y="162"/>
                </a:lnTo>
                <a:lnTo>
                  <a:pt x="666" y="168"/>
                </a:lnTo>
                <a:lnTo>
                  <a:pt x="666" y="162"/>
                </a:lnTo>
                <a:lnTo>
                  <a:pt x="666" y="162"/>
                </a:lnTo>
                <a:lnTo>
                  <a:pt x="660" y="162"/>
                </a:lnTo>
                <a:lnTo>
                  <a:pt x="660" y="168"/>
                </a:lnTo>
                <a:lnTo>
                  <a:pt x="660" y="168"/>
                </a:lnTo>
                <a:lnTo>
                  <a:pt x="660" y="168"/>
                </a:lnTo>
                <a:lnTo>
                  <a:pt x="660" y="168"/>
                </a:lnTo>
                <a:lnTo>
                  <a:pt x="660" y="168"/>
                </a:lnTo>
                <a:lnTo>
                  <a:pt x="660" y="168"/>
                </a:lnTo>
                <a:lnTo>
                  <a:pt x="654" y="168"/>
                </a:lnTo>
                <a:lnTo>
                  <a:pt x="654" y="168"/>
                </a:lnTo>
                <a:lnTo>
                  <a:pt x="654" y="174"/>
                </a:lnTo>
                <a:lnTo>
                  <a:pt x="654" y="174"/>
                </a:lnTo>
                <a:lnTo>
                  <a:pt x="654" y="174"/>
                </a:lnTo>
                <a:lnTo>
                  <a:pt x="648" y="174"/>
                </a:lnTo>
                <a:lnTo>
                  <a:pt x="648" y="174"/>
                </a:lnTo>
                <a:lnTo>
                  <a:pt x="648" y="174"/>
                </a:lnTo>
                <a:lnTo>
                  <a:pt x="648" y="174"/>
                </a:lnTo>
                <a:lnTo>
                  <a:pt x="648" y="174"/>
                </a:lnTo>
                <a:lnTo>
                  <a:pt x="642" y="180"/>
                </a:lnTo>
                <a:lnTo>
                  <a:pt x="642" y="180"/>
                </a:lnTo>
                <a:lnTo>
                  <a:pt x="642" y="180"/>
                </a:lnTo>
                <a:lnTo>
                  <a:pt x="642" y="180"/>
                </a:lnTo>
                <a:lnTo>
                  <a:pt x="642" y="180"/>
                </a:lnTo>
                <a:lnTo>
                  <a:pt x="642" y="180"/>
                </a:lnTo>
                <a:lnTo>
                  <a:pt x="642" y="180"/>
                </a:lnTo>
                <a:lnTo>
                  <a:pt x="642" y="186"/>
                </a:lnTo>
                <a:lnTo>
                  <a:pt x="642" y="186"/>
                </a:lnTo>
                <a:lnTo>
                  <a:pt x="642" y="186"/>
                </a:lnTo>
                <a:lnTo>
                  <a:pt x="636" y="186"/>
                </a:lnTo>
                <a:lnTo>
                  <a:pt x="636" y="186"/>
                </a:lnTo>
                <a:lnTo>
                  <a:pt x="642" y="186"/>
                </a:lnTo>
                <a:lnTo>
                  <a:pt x="642" y="186"/>
                </a:lnTo>
                <a:lnTo>
                  <a:pt x="642" y="186"/>
                </a:lnTo>
                <a:lnTo>
                  <a:pt x="642" y="192"/>
                </a:lnTo>
                <a:lnTo>
                  <a:pt x="636" y="192"/>
                </a:lnTo>
                <a:lnTo>
                  <a:pt x="636" y="192"/>
                </a:lnTo>
                <a:lnTo>
                  <a:pt x="636" y="192"/>
                </a:lnTo>
                <a:lnTo>
                  <a:pt x="630" y="192"/>
                </a:lnTo>
                <a:lnTo>
                  <a:pt x="630" y="192"/>
                </a:lnTo>
                <a:lnTo>
                  <a:pt x="630" y="192"/>
                </a:lnTo>
                <a:lnTo>
                  <a:pt x="630" y="198"/>
                </a:lnTo>
                <a:lnTo>
                  <a:pt x="630" y="198"/>
                </a:lnTo>
                <a:lnTo>
                  <a:pt x="630" y="198"/>
                </a:lnTo>
                <a:lnTo>
                  <a:pt x="630" y="198"/>
                </a:lnTo>
                <a:lnTo>
                  <a:pt x="630" y="198"/>
                </a:lnTo>
                <a:lnTo>
                  <a:pt x="630" y="198"/>
                </a:lnTo>
                <a:lnTo>
                  <a:pt x="624" y="204"/>
                </a:lnTo>
                <a:lnTo>
                  <a:pt x="630" y="210"/>
                </a:lnTo>
                <a:lnTo>
                  <a:pt x="624" y="210"/>
                </a:lnTo>
                <a:lnTo>
                  <a:pt x="624" y="210"/>
                </a:lnTo>
                <a:lnTo>
                  <a:pt x="624" y="210"/>
                </a:lnTo>
                <a:lnTo>
                  <a:pt x="624" y="210"/>
                </a:lnTo>
                <a:lnTo>
                  <a:pt x="624" y="216"/>
                </a:lnTo>
                <a:lnTo>
                  <a:pt x="624" y="216"/>
                </a:lnTo>
                <a:lnTo>
                  <a:pt x="624" y="216"/>
                </a:lnTo>
                <a:lnTo>
                  <a:pt x="624" y="222"/>
                </a:lnTo>
                <a:lnTo>
                  <a:pt x="624" y="222"/>
                </a:lnTo>
                <a:lnTo>
                  <a:pt x="624" y="222"/>
                </a:lnTo>
                <a:lnTo>
                  <a:pt x="624" y="222"/>
                </a:lnTo>
                <a:lnTo>
                  <a:pt x="630" y="222"/>
                </a:lnTo>
                <a:lnTo>
                  <a:pt x="630" y="222"/>
                </a:lnTo>
                <a:lnTo>
                  <a:pt x="630" y="228"/>
                </a:lnTo>
                <a:lnTo>
                  <a:pt x="630" y="228"/>
                </a:lnTo>
                <a:lnTo>
                  <a:pt x="630" y="228"/>
                </a:lnTo>
                <a:lnTo>
                  <a:pt x="624" y="234"/>
                </a:lnTo>
                <a:lnTo>
                  <a:pt x="624" y="234"/>
                </a:lnTo>
                <a:lnTo>
                  <a:pt x="624" y="234"/>
                </a:lnTo>
                <a:lnTo>
                  <a:pt x="624" y="240"/>
                </a:lnTo>
                <a:lnTo>
                  <a:pt x="624" y="240"/>
                </a:lnTo>
                <a:lnTo>
                  <a:pt x="630" y="240"/>
                </a:lnTo>
                <a:lnTo>
                  <a:pt x="630" y="240"/>
                </a:lnTo>
                <a:lnTo>
                  <a:pt x="630" y="246"/>
                </a:lnTo>
                <a:lnTo>
                  <a:pt x="630" y="246"/>
                </a:lnTo>
                <a:lnTo>
                  <a:pt x="630" y="252"/>
                </a:lnTo>
                <a:lnTo>
                  <a:pt x="624" y="252"/>
                </a:lnTo>
                <a:lnTo>
                  <a:pt x="630" y="252"/>
                </a:lnTo>
                <a:lnTo>
                  <a:pt x="630" y="252"/>
                </a:lnTo>
                <a:lnTo>
                  <a:pt x="630" y="258"/>
                </a:lnTo>
                <a:lnTo>
                  <a:pt x="630" y="258"/>
                </a:lnTo>
                <a:lnTo>
                  <a:pt x="630" y="264"/>
                </a:lnTo>
                <a:lnTo>
                  <a:pt x="630" y="264"/>
                </a:lnTo>
                <a:lnTo>
                  <a:pt x="630" y="264"/>
                </a:lnTo>
                <a:lnTo>
                  <a:pt x="630" y="270"/>
                </a:lnTo>
                <a:lnTo>
                  <a:pt x="630" y="270"/>
                </a:lnTo>
                <a:lnTo>
                  <a:pt x="630" y="270"/>
                </a:lnTo>
                <a:lnTo>
                  <a:pt x="630" y="276"/>
                </a:lnTo>
                <a:lnTo>
                  <a:pt x="630" y="276"/>
                </a:lnTo>
                <a:lnTo>
                  <a:pt x="630" y="276"/>
                </a:lnTo>
                <a:lnTo>
                  <a:pt x="624" y="276"/>
                </a:lnTo>
                <a:lnTo>
                  <a:pt x="630" y="282"/>
                </a:lnTo>
                <a:lnTo>
                  <a:pt x="630" y="282"/>
                </a:lnTo>
                <a:lnTo>
                  <a:pt x="630" y="282"/>
                </a:lnTo>
                <a:lnTo>
                  <a:pt x="630" y="282"/>
                </a:lnTo>
                <a:lnTo>
                  <a:pt x="630" y="288"/>
                </a:lnTo>
                <a:lnTo>
                  <a:pt x="630" y="288"/>
                </a:lnTo>
                <a:lnTo>
                  <a:pt x="630" y="288"/>
                </a:lnTo>
                <a:lnTo>
                  <a:pt x="630" y="288"/>
                </a:lnTo>
                <a:lnTo>
                  <a:pt x="630" y="294"/>
                </a:lnTo>
                <a:lnTo>
                  <a:pt x="630" y="294"/>
                </a:lnTo>
                <a:lnTo>
                  <a:pt x="630" y="294"/>
                </a:lnTo>
                <a:lnTo>
                  <a:pt x="630" y="294"/>
                </a:lnTo>
                <a:lnTo>
                  <a:pt x="624" y="300"/>
                </a:lnTo>
                <a:lnTo>
                  <a:pt x="624" y="306"/>
                </a:lnTo>
                <a:lnTo>
                  <a:pt x="624" y="306"/>
                </a:lnTo>
                <a:lnTo>
                  <a:pt x="624" y="306"/>
                </a:lnTo>
                <a:lnTo>
                  <a:pt x="618" y="306"/>
                </a:lnTo>
                <a:lnTo>
                  <a:pt x="618" y="312"/>
                </a:lnTo>
                <a:lnTo>
                  <a:pt x="618" y="312"/>
                </a:lnTo>
                <a:lnTo>
                  <a:pt x="618" y="312"/>
                </a:lnTo>
                <a:lnTo>
                  <a:pt x="618" y="312"/>
                </a:lnTo>
                <a:lnTo>
                  <a:pt x="618" y="318"/>
                </a:lnTo>
                <a:lnTo>
                  <a:pt x="618" y="318"/>
                </a:lnTo>
                <a:lnTo>
                  <a:pt x="618" y="324"/>
                </a:lnTo>
                <a:lnTo>
                  <a:pt x="624" y="324"/>
                </a:lnTo>
                <a:lnTo>
                  <a:pt x="624" y="324"/>
                </a:lnTo>
                <a:lnTo>
                  <a:pt x="624" y="324"/>
                </a:lnTo>
                <a:lnTo>
                  <a:pt x="624" y="324"/>
                </a:lnTo>
                <a:lnTo>
                  <a:pt x="624" y="330"/>
                </a:lnTo>
                <a:lnTo>
                  <a:pt x="624" y="330"/>
                </a:lnTo>
                <a:lnTo>
                  <a:pt x="624" y="330"/>
                </a:lnTo>
                <a:lnTo>
                  <a:pt x="624" y="336"/>
                </a:lnTo>
                <a:lnTo>
                  <a:pt x="624" y="336"/>
                </a:lnTo>
                <a:lnTo>
                  <a:pt x="624" y="342"/>
                </a:lnTo>
                <a:lnTo>
                  <a:pt x="624" y="342"/>
                </a:lnTo>
                <a:lnTo>
                  <a:pt x="624" y="348"/>
                </a:lnTo>
                <a:lnTo>
                  <a:pt x="624" y="348"/>
                </a:lnTo>
                <a:lnTo>
                  <a:pt x="624" y="348"/>
                </a:lnTo>
                <a:lnTo>
                  <a:pt x="624" y="354"/>
                </a:lnTo>
                <a:lnTo>
                  <a:pt x="624" y="354"/>
                </a:lnTo>
                <a:lnTo>
                  <a:pt x="624" y="354"/>
                </a:lnTo>
                <a:lnTo>
                  <a:pt x="624" y="360"/>
                </a:lnTo>
                <a:lnTo>
                  <a:pt x="624" y="366"/>
                </a:lnTo>
                <a:lnTo>
                  <a:pt x="624" y="366"/>
                </a:lnTo>
                <a:lnTo>
                  <a:pt x="624" y="366"/>
                </a:lnTo>
                <a:lnTo>
                  <a:pt x="624" y="372"/>
                </a:lnTo>
                <a:lnTo>
                  <a:pt x="624" y="372"/>
                </a:lnTo>
                <a:lnTo>
                  <a:pt x="630" y="378"/>
                </a:lnTo>
                <a:lnTo>
                  <a:pt x="630" y="378"/>
                </a:lnTo>
                <a:lnTo>
                  <a:pt x="630" y="378"/>
                </a:lnTo>
                <a:lnTo>
                  <a:pt x="636" y="384"/>
                </a:lnTo>
                <a:lnTo>
                  <a:pt x="636" y="390"/>
                </a:lnTo>
                <a:lnTo>
                  <a:pt x="636" y="390"/>
                </a:lnTo>
                <a:lnTo>
                  <a:pt x="636" y="390"/>
                </a:lnTo>
                <a:lnTo>
                  <a:pt x="636" y="390"/>
                </a:lnTo>
                <a:lnTo>
                  <a:pt x="642" y="390"/>
                </a:lnTo>
                <a:lnTo>
                  <a:pt x="642" y="396"/>
                </a:lnTo>
                <a:lnTo>
                  <a:pt x="642" y="396"/>
                </a:lnTo>
                <a:lnTo>
                  <a:pt x="648" y="396"/>
                </a:lnTo>
                <a:lnTo>
                  <a:pt x="648" y="396"/>
                </a:lnTo>
                <a:lnTo>
                  <a:pt x="648" y="402"/>
                </a:lnTo>
                <a:lnTo>
                  <a:pt x="648" y="402"/>
                </a:lnTo>
                <a:lnTo>
                  <a:pt x="654" y="408"/>
                </a:lnTo>
                <a:lnTo>
                  <a:pt x="654" y="408"/>
                </a:lnTo>
                <a:lnTo>
                  <a:pt x="654" y="408"/>
                </a:lnTo>
                <a:lnTo>
                  <a:pt x="660" y="414"/>
                </a:lnTo>
                <a:lnTo>
                  <a:pt x="660" y="414"/>
                </a:lnTo>
                <a:lnTo>
                  <a:pt x="660" y="414"/>
                </a:lnTo>
                <a:lnTo>
                  <a:pt x="660" y="414"/>
                </a:lnTo>
                <a:lnTo>
                  <a:pt x="660" y="414"/>
                </a:lnTo>
                <a:lnTo>
                  <a:pt x="660" y="414"/>
                </a:lnTo>
                <a:lnTo>
                  <a:pt x="660" y="414"/>
                </a:lnTo>
                <a:lnTo>
                  <a:pt x="666" y="414"/>
                </a:lnTo>
                <a:lnTo>
                  <a:pt x="666" y="414"/>
                </a:lnTo>
                <a:lnTo>
                  <a:pt x="666" y="414"/>
                </a:lnTo>
                <a:lnTo>
                  <a:pt x="666" y="414"/>
                </a:lnTo>
                <a:lnTo>
                  <a:pt x="666" y="414"/>
                </a:lnTo>
                <a:lnTo>
                  <a:pt x="666" y="414"/>
                </a:lnTo>
                <a:lnTo>
                  <a:pt x="672" y="414"/>
                </a:lnTo>
                <a:lnTo>
                  <a:pt x="672" y="414"/>
                </a:lnTo>
                <a:lnTo>
                  <a:pt x="672" y="414"/>
                </a:lnTo>
                <a:lnTo>
                  <a:pt x="672" y="420"/>
                </a:lnTo>
                <a:lnTo>
                  <a:pt x="666" y="426"/>
                </a:lnTo>
                <a:lnTo>
                  <a:pt x="666" y="426"/>
                </a:lnTo>
                <a:lnTo>
                  <a:pt x="666" y="426"/>
                </a:lnTo>
                <a:lnTo>
                  <a:pt x="666" y="426"/>
                </a:lnTo>
                <a:lnTo>
                  <a:pt x="666" y="432"/>
                </a:lnTo>
                <a:lnTo>
                  <a:pt x="666" y="432"/>
                </a:lnTo>
                <a:lnTo>
                  <a:pt x="660" y="432"/>
                </a:lnTo>
                <a:lnTo>
                  <a:pt x="666" y="438"/>
                </a:lnTo>
                <a:lnTo>
                  <a:pt x="666" y="438"/>
                </a:lnTo>
                <a:lnTo>
                  <a:pt x="666" y="438"/>
                </a:lnTo>
                <a:lnTo>
                  <a:pt x="666" y="438"/>
                </a:lnTo>
                <a:lnTo>
                  <a:pt x="666" y="438"/>
                </a:lnTo>
                <a:lnTo>
                  <a:pt x="660" y="444"/>
                </a:lnTo>
                <a:lnTo>
                  <a:pt x="660" y="444"/>
                </a:lnTo>
                <a:lnTo>
                  <a:pt x="660" y="444"/>
                </a:lnTo>
                <a:lnTo>
                  <a:pt x="660" y="444"/>
                </a:lnTo>
                <a:lnTo>
                  <a:pt x="660" y="450"/>
                </a:lnTo>
                <a:lnTo>
                  <a:pt x="666" y="450"/>
                </a:lnTo>
                <a:lnTo>
                  <a:pt x="666" y="450"/>
                </a:lnTo>
                <a:lnTo>
                  <a:pt x="672" y="450"/>
                </a:lnTo>
                <a:lnTo>
                  <a:pt x="714" y="450"/>
                </a:lnTo>
                <a:lnTo>
                  <a:pt x="720" y="456"/>
                </a:lnTo>
                <a:lnTo>
                  <a:pt x="720" y="456"/>
                </a:lnTo>
                <a:lnTo>
                  <a:pt x="714" y="456"/>
                </a:lnTo>
                <a:lnTo>
                  <a:pt x="708" y="468"/>
                </a:lnTo>
                <a:lnTo>
                  <a:pt x="708" y="474"/>
                </a:lnTo>
                <a:lnTo>
                  <a:pt x="708" y="474"/>
                </a:lnTo>
                <a:lnTo>
                  <a:pt x="708" y="480"/>
                </a:lnTo>
                <a:lnTo>
                  <a:pt x="708" y="486"/>
                </a:lnTo>
                <a:lnTo>
                  <a:pt x="708" y="486"/>
                </a:lnTo>
                <a:lnTo>
                  <a:pt x="708" y="486"/>
                </a:lnTo>
                <a:lnTo>
                  <a:pt x="702" y="492"/>
                </a:lnTo>
                <a:lnTo>
                  <a:pt x="702" y="498"/>
                </a:lnTo>
                <a:lnTo>
                  <a:pt x="702" y="498"/>
                </a:lnTo>
                <a:lnTo>
                  <a:pt x="702" y="498"/>
                </a:lnTo>
                <a:lnTo>
                  <a:pt x="696" y="498"/>
                </a:lnTo>
                <a:lnTo>
                  <a:pt x="696" y="504"/>
                </a:lnTo>
                <a:lnTo>
                  <a:pt x="696" y="504"/>
                </a:lnTo>
                <a:lnTo>
                  <a:pt x="696" y="510"/>
                </a:lnTo>
                <a:lnTo>
                  <a:pt x="690" y="510"/>
                </a:lnTo>
                <a:lnTo>
                  <a:pt x="684" y="516"/>
                </a:lnTo>
                <a:lnTo>
                  <a:pt x="684" y="516"/>
                </a:lnTo>
                <a:lnTo>
                  <a:pt x="684" y="516"/>
                </a:lnTo>
                <a:lnTo>
                  <a:pt x="684" y="516"/>
                </a:lnTo>
                <a:lnTo>
                  <a:pt x="684" y="522"/>
                </a:lnTo>
                <a:lnTo>
                  <a:pt x="684" y="528"/>
                </a:lnTo>
                <a:lnTo>
                  <a:pt x="690" y="528"/>
                </a:lnTo>
                <a:lnTo>
                  <a:pt x="690" y="534"/>
                </a:lnTo>
                <a:lnTo>
                  <a:pt x="696" y="534"/>
                </a:lnTo>
                <a:lnTo>
                  <a:pt x="690" y="540"/>
                </a:lnTo>
                <a:lnTo>
                  <a:pt x="696" y="540"/>
                </a:lnTo>
                <a:lnTo>
                  <a:pt x="696" y="546"/>
                </a:lnTo>
                <a:lnTo>
                  <a:pt x="696" y="546"/>
                </a:lnTo>
                <a:lnTo>
                  <a:pt x="696" y="546"/>
                </a:lnTo>
                <a:lnTo>
                  <a:pt x="696" y="552"/>
                </a:lnTo>
                <a:lnTo>
                  <a:pt x="696" y="552"/>
                </a:lnTo>
                <a:lnTo>
                  <a:pt x="696" y="558"/>
                </a:lnTo>
                <a:lnTo>
                  <a:pt x="696" y="558"/>
                </a:lnTo>
                <a:lnTo>
                  <a:pt x="696" y="558"/>
                </a:lnTo>
                <a:lnTo>
                  <a:pt x="696" y="564"/>
                </a:lnTo>
                <a:lnTo>
                  <a:pt x="696" y="570"/>
                </a:lnTo>
                <a:lnTo>
                  <a:pt x="696" y="570"/>
                </a:lnTo>
                <a:lnTo>
                  <a:pt x="690" y="576"/>
                </a:lnTo>
                <a:lnTo>
                  <a:pt x="690" y="576"/>
                </a:lnTo>
                <a:lnTo>
                  <a:pt x="696" y="576"/>
                </a:lnTo>
                <a:lnTo>
                  <a:pt x="696" y="582"/>
                </a:lnTo>
                <a:lnTo>
                  <a:pt x="696" y="582"/>
                </a:lnTo>
                <a:lnTo>
                  <a:pt x="690" y="582"/>
                </a:lnTo>
                <a:lnTo>
                  <a:pt x="690" y="582"/>
                </a:lnTo>
                <a:lnTo>
                  <a:pt x="690" y="588"/>
                </a:lnTo>
                <a:lnTo>
                  <a:pt x="690" y="588"/>
                </a:lnTo>
                <a:lnTo>
                  <a:pt x="690" y="588"/>
                </a:lnTo>
                <a:lnTo>
                  <a:pt x="684" y="594"/>
                </a:lnTo>
                <a:lnTo>
                  <a:pt x="684" y="594"/>
                </a:lnTo>
                <a:lnTo>
                  <a:pt x="684" y="600"/>
                </a:lnTo>
                <a:lnTo>
                  <a:pt x="684" y="600"/>
                </a:lnTo>
                <a:lnTo>
                  <a:pt x="684" y="600"/>
                </a:lnTo>
                <a:lnTo>
                  <a:pt x="684" y="600"/>
                </a:lnTo>
                <a:lnTo>
                  <a:pt x="684" y="606"/>
                </a:lnTo>
                <a:lnTo>
                  <a:pt x="684" y="606"/>
                </a:lnTo>
                <a:lnTo>
                  <a:pt x="684" y="606"/>
                </a:lnTo>
                <a:lnTo>
                  <a:pt x="684" y="606"/>
                </a:lnTo>
                <a:lnTo>
                  <a:pt x="684" y="612"/>
                </a:lnTo>
                <a:lnTo>
                  <a:pt x="684" y="612"/>
                </a:lnTo>
                <a:lnTo>
                  <a:pt x="684" y="612"/>
                </a:lnTo>
                <a:lnTo>
                  <a:pt x="684" y="618"/>
                </a:lnTo>
                <a:lnTo>
                  <a:pt x="684" y="618"/>
                </a:lnTo>
                <a:lnTo>
                  <a:pt x="684" y="618"/>
                </a:lnTo>
                <a:lnTo>
                  <a:pt x="684" y="624"/>
                </a:lnTo>
                <a:lnTo>
                  <a:pt x="678" y="630"/>
                </a:lnTo>
                <a:lnTo>
                  <a:pt x="678" y="630"/>
                </a:lnTo>
                <a:lnTo>
                  <a:pt x="684" y="630"/>
                </a:lnTo>
                <a:lnTo>
                  <a:pt x="684" y="630"/>
                </a:lnTo>
                <a:lnTo>
                  <a:pt x="684" y="630"/>
                </a:lnTo>
                <a:lnTo>
                  <a:pt x="684" y="630"/>
                </a:lnTo>
                <a:lnTo>
                  <a:pt x="690" y="630"/>
                </a:lnTo>
                <a:lnTo>
                  <a:pt x="690" y="630"/>
                </a:lnTo>
                <a:lnTo>
                  <a:pt x="690" y="630"/>
                </a:lnTo>
                <a:lnTo>
                  <a:pt x="690" y="630"/>
                </a:lnTo>
                <a:lnTo>
                  <a:pt x="690" y="636"/>
                </a:lnTo>
                <a:lnTo>
                  <a:pt x="684" y="636"/>
                </a:lnTo>
                <a:lnTo>
                  <a:pt x="684" y="636"/>
                </a:lnTo>
                <a:lnTo>
                  <a:pt x="684" y="642"/>
                </a:lnTo>
                <a:lnTo>
                  <a:pt x="684" y="642"/>
                </a:lnTo>
                <a:lnTo>
                  <a:pt x="678" y="642"/>
                </a:lnTo>
                <a:lnTo>
                  <a:pt x="678" y="642"/>
                </a:lnTo>
                <a:lnTo>
                  <a:pt x="678" y="642"/>
                </a:lnTo>
                <a:lnTo>
                  <a:pt x="672" y="642"/>
                </a:lnTo>
                <a:lnTo>
                  <a:pt x="594" y="642"/>
                </a:lnTo>
                <a:lnTo>
                  <a:pt x="588" y="642"/>
                </a:lnTo>
                <a:lnTo>
                  <a:pt x="492" y="642"/>
                </a:lnTo>
                <a:lnTo>
                  <a:pt x="420" y="642"/>
                </a:lnTo>
                <a:lnTo>
                  <a:pt x="420" y="642"/>
                </a:lnTo>
                <a:lnTo>
                  <a:pt x="378" y="642"/>
                </a:lnTo>
                <a:lnTo>
                  <a:pt x="366" y="642"/>
                </a:lnTo>
                <a:lnTo>
                  <a:pt x="366" y="642"/>
                </a:lnTo>
                <a:lnTo>
                  <a:pt x="270" y="642"/>
                </a:lnTo>
                <a:lnTo>
                  <a:pt x="270" y="642"/>
                </a:lnTo>
                <a:lnTo>
                  <a:pt x="270" y="642"/>
                </a:lnTo>
                <a:lnTo>
                  <a:pt x="264" y="642"/>
                </a:lnTo>
                <a:lnTo>
                  <a:pt x="264" y="636"/>
                </a:lnTo>
                <a:lnTo>
                  <a:pt x="264" y="636"/>
                </a:lnTo>
                <a:lnTo>
                  <a:pt x="264" y="630"/>
                </a:lnTo>
                <a:lnTo>
                  <a:pt x="264" y="630"/>
                </a:lnTo>
                <a:lnTo>
                  <a:pt x="258" y="630"/>
                </a:lnTo>
                <a:lnTo>
                  <a:pt x="258" y="630"/>
                </a:lnTo>
                <a:lnTo>
                  <a:pt x="258" y="630"/>
                </a:lnTo>
                <a:lnTo>
                  <a:pt x="252" y="630"/>
                </a:lnTo>
                <a:lnTo>
                  <a:pt x="252" y="630"/>
                </a:lnTo>
                <a:lnTo>
                  <a:pt x="252" y="624"/>
                </a:lnTo>
                <a:lnTo>
                  <a:pt x="252" y="630"/>
                </a:lnTo>
                <a:lnTo>
                  <a:pt x="246" y="630"/>
                </a:lnTo>
                <a:lnTo>
                  <a:pt x="246" y="630"/>
                </a:lnTo>
                <a:lnTo>
                  <a:pt x="246" y="630"/>
                </a:lnTo>
                <a:lnTo>
                  <a:pt x="246" y="630"/>
                </a:lnTo>
                <a:lnTo>
                  <a:pt x="246" y="630"/>
                </a:lnTo>
                <a:lnTo>
                  <a:pt x="246" y="630"/>
                </a:lnTo>
                <a:lnTo>
                  <a:pt x="246" y="636"/>
                </a:lnTo>
                <a:lnTo>
                  <a:pt x="246" y="636"/>
                </a:lnTo>
                <a:lnTo>
                  <a:pt x="240" y="636"/>
                </a:lnTo>
                <a:lnTo>
                  <a:pt x="240" y="636"/>
                </a:lnTo>
                <a:lnTo>
                  <a:pt x="234" y="630"/>
                </a:lnTo>
                <a:lnTo>
                  <a:pt x="234" y="630"/>
                </a:lnTo>
                <a:lnTo>
                  <a:pt x="234" y="636"/>
                </a:lnTo>
                <a:lnTo>
                  <a:pt x="234" y="636"/>
                </a:lnTo>
                <a:lnTo>
                  <a:pt x="234" y="642"/>
                </a:lnTo>
                <a:lnTo>
                  <a:pt x="234" y="642"/>
                </a:lnTo>
                <a:lnTo>
                  <a:pt x="234" y="642"/>
                </a:lnTo>
                <a:lnTo>
                  <a:pt x="234" y="642"/>
                </a:lnTo>
                <a:lnTo>
                  <a:pt x="234" y="648"/>
                </a:lnTo>
                <a:lnTo>
                  <a:pt x="234" y="648"/>
                </a:lnTo>
                <a:lnTo>
                  <a:pt x="234" y="648"/>
                </a:lnTo>
                <a:lnTo>
                  <a:pt x="228" y="648"/>
                </a:lnTo>
                <a:lnTo>
                  <a:pt x="228" y="648"/>
                </a:lnTo>
                <a:lnTo>
                  <a:pt x="228" y="654"/>
                </a:lnTo>
                <a:lnTo>
                  <a:pt x="222" y="654"/>
                </a:lnTo>
                <a:lnTo>
                  <a:pt x="222" y="654"/>
                </a:lnTo>
                <a:lnTo>
                  <a:pt x="216" y="654"/>
                </a:lnTo>
                <a:lnTo>
                  <a:pt x="216" y="654"/>
                </a:lnTo>
                <a:lnTo>
                  <a:pt x="216" y="654"/>
                </a:lnTo>
                <a:lnTo>
                  <a:pt x="216" y="648"/>
                </a:lnTo>
                <a:lnTo>
                  <a:pt x="216" y="648"/>
                </a:lnTo>
                <a:lnTo>
                  <a:pt x="210" y="642"/>
                </a:lnTo>
                <a:lnTo>
                  <a:pt x="210" y="642"/>
                </a:lnTo>
                <a:lnTo>
                  <a:pt x="210" y="642"/>
                </a:lnTo>
                <a:lnTo>
                  <a:pt x="204" y="642"/>
                </a:lnTo>
                <a:lnTo>
                  <a:pt x="204" y="642"/>
                </a:lnTo>
                <a:lnTo>
                  <a:pt x="198" y="642"/>
                </a:lnTo>
                <a:lnTo>
                  <a:pt x="192" y="636"/>
                </a:lnTo>
                <a:lnTo>
                  <a:pt x="192" y="630"/>
                </a:lnTo>
                <a:lnTo>
                  <a:pt x="198" y="630"/>
                </a:lnTo>
                <a:lnTo>
                  <a:pt x="192" y="630"/>
                </a:lnTo>
                <a:lnTo>
                  <a:pt x="192" y="630"/>
                </a:lnTo>
                <a:lnTo>
                  <a:pt x="192" y="630"/>
                </a:lnTo>
                <a:lnTo>
                  <a:pt x="192" y="624"/>
                </a:lnTo>
                <a:lnTo>
                  <a:pt x="192" y="624"/>
                </a:lnTo>
                <a:lnTo>
                  <a:pt x="186" y="624"/>
                </a:lnTo>
                <a:lnTo>
                  <a:pt x="186" y="618"/>
                </a:lnTo>
                <a:lnTo>
                  <a:pt x="192" y="618"/>
                </a:lnTo>
                <a:lnTo>
                  <a:pt x="192" y="618"/>
                </a:lnTo>
                <a:lnTo>
                  <a:pt x="192" y="618"/>
                </a:lnTo>
                <a:lnTo>
                  <a:pt x="192" y="612"/>
                </a:lnTo>
                <a:lnTo>
                  <a:pt x="186" y="612"/>
                </a:lnTo>
                <a:lnTo>
                  <a:pt x="186" y="612"/>
                </a:lnTo>
                <a:lnTo>
                  <a:pt x="180" y="612"/>
                </a:lnTo>
                <a:lnTo>
                  <a:pt x="180" y="612"/>
                </a:lnTo>
                <a:lnTo>
                  <a:pt x="180" y="612"/>
                </a:lnTo>
                <a:lnTo>
                  <a:pt x="174" y="612"/>
                </a:lnTo>
                <a:lnTo>
                  <a:pt x="174" y="612"/>
                </a:lnTo>
                <a:lnTo>
                  <a:pt x="174" y="618"/>
                </a:lnTo>
                <a:lnTo>
                  <a:pt x="180" y="618"/>
                </a:lnTo>
                <a:lnTo>
                  <a:pt x="180" y="618"/>
                </a:lnTo>
                <a:lnTo>
                  <a:pt x="174" y="618"/>
                </a:lnTo>
                <a:lnTo>
                  <a:pt x="168" y="618"/>
                </a:lnTo>
                <a:lnTo>
                  <a:pt x="168" y="618"/>
                </a:lnTo>
                <a:lnTo>
                  <a:pt x="168" y="612"/>
                </a:lnTo>
                <a:lnTo>
                  <a:pt x="174" y="612"/>
                </a:lnTo>
                <a:lnTo>
                  <a:pt x="174" y="612"/>
                </a:lnTo>
                <a:lnTo>
                  <a:pt x="168" y="606"/>
                </a:lnTo>
                <a:lnTo>
                  <a:pt x="174" y="606"/>
                </a:lnTo>
                <a:lnTo>
                  <a:pt x="168" y="606"/>
                </a:lnTo>
                <a:lnTo>
                  <a:pt x="168" y="606"/>
                </a:lnTo>
                <a:lnTo>
                  <a:pt x="168" y="606"/>
                </a:lnTo>
                <a:lnTo>
                  <a:pt x="168" y="600"/>
                </a:lnTo>
                <a:lnTo>
                  <a:pt x="168" y="600"/>
                </a:lnTo>
                <a:lnTo>
                  <a:pt x="168" y="594"/>
                </a:lnTo>
                <a:lnTo>
                  <a:pt x="168" y="594"/>
                </a:lnTo>
                <a:lnTo>
                  <a:pt x="168" y="588"/>
                </a:lnTo>
                <a:lnTo>
                  <a:pt x="168" y="588"/>
                </a:lnTo>
                <a:lnTo>
                  <a:pt x="168" y="588"/>
                </a:lnTo>
                <a:lnTo>
                  <a:pt x="168" y="588"/>
                </a:lnTo>
                <a:lnTo>
                  <a:pt x="162" y="588"/>
                </a:lnTo>
                <a:lnTo>
                  <a:pt x="162" y="588"/>
                </a:lnTo>
                <a:lnTo>
                  <a:pt x="162" y="588"/>
                </a:lnTo>
                <a:lnTo>
                  <a:pt x="156" y="588"/>
                </a:lnTo>
                <a:lnTo>
                  <a:pt x="156" y="582"/>
                </a:lnTo>
                <a:lnTo>
                  <a:pt x="156" y="582"/>
                </a:lnTo>
                <a:lnTo>
                  <a:pt x="156" y="582"/>
                </a:lnTo>
                <a:lnTo>
                  <a:pt x="150" y="582"/>
                </a:lnTo>
                <a:lnTo>
                  <a:pt x="150" y="582"/>
                </a:lnTo>
                <a:lnTo>
                  <a:pt x="150" y="582"/>
                </a:lnTo>
                <a:lnTo>
                  <a:pt x="150" y="588"/>
                </a:lnTo>
                <a:lnTo>
                  <a:pt x="144" y="588"/>
                </a:lnTo>
                <a:lnTo>
                  <a:pt x="144" y="588"/>
                </a:lnTo>
                <a:lnTo>
                  <a:pt x="144" y="588"/>
                </a:lnTo>
                <a:lnTo>
                  <a:pt x="144" y="588"/>
                </a:lnTo>
                <a:lnTo>
                  <a:pt x="144" y="582"/>
                </a:lnTo>
                <a:lnTo>
                  <a:pt x="144" y="582"/>
                </a:lnTo>
                <a:lnTo>
                  <a:pt x="144" y="582"/>
                </a:lnTo>
                <a:lnTo>
                  <a:pt x="144" y="582"/>
                </a:lnTo>
                <a:lnTo>
                  <a:pt x="144" y="576"/>
                </a:lnTo>
                <a:lnTo>
                  <a:pt x="144" y="576"/>
                </a:lnTo>
                <a:lnTo>
                  <a:pt x="144" y="576"/>
                </a:lnTo>
                <a:lnTo>
                  <a:pt x="144" y="576"/>
                </a:lnTo>
                <a:lnTo>
                  <a:pt x="138" y="576"/>
                </a:lnTo>
                <a:lnTo>
                  <a:pt x="138" y="576"/>
                </a:lnTo>
                <a:lnTo>
                  <a:pt x="138" y="576"/>
                </a:lnTo>
                <a:lnTo>
                  <a:pt x="138" y="570"/>
                </a:lnTo>
                <a:lnTo>
                  <a:pt x="138" y="576"/>
                </a:lnTo>
                <a:lnTo>
                  <a:pt x="138" y="570"/>
                </a:lnTo>
                <a:lnTo>
                  <a:pt x="132" y="570"/>
                </a:lnTo>
                <a:lnTo>
                  <a:pt x="132" y="570"/>
                </a:lnTo>
                <a:lnTo>
                  <a:pt x="132" y="570"/>
                </a:lnTo>
                <a:lnTo>
                  <a:pt x="132" y="564"/>
                </a:lnTo>
                <a:lnTo>
                  <a:pt x="126" y="564"/>
                </a:lnTo>
                <a:lnTo>
                  <a:pt x="126" y="564"/>
                </a:lnTo>
                <a:lnTo>
                  <a:pt x="126" y="558"/>
                </a:lnTo>
                <a:lnTo>
                  <a:pt x="126" y="558"/>
                </a:lnTo>
                <a:lnTo>
                  <a:pt x="126" y="558"/>
                </a:lnTo>
                <a:lnTo>
                  <a:pt x="126" y="558"/>
                </a:lnTo>
                <a:lnTo>
                  <a:pt x="126" y="558"/>
                </a:lnTo>
                <a:lnTo>
                  <a:pt x="126" y="558"/>
                </a:lnTo>
                <a:lnTo>
                  <a:pt x="126" y="552"/>
                </a:lnTo>
                <a:lnTo>
                  <a:pt x="126" y="552"/>
                </a:lnTo>
                <a:lnTo>
                  <a:pt x="126" y="552"/>
                </a:lnTo>
                <a:lnTo>
                  <a:pt x="126" y="552"/>
                </a:lnTo>
                <a:lnTo>
                  <a:pt x="120" y="546"/>
                </a:lnTo>
                <a:lnTo>
                  <a:pt x="120" y="546"/>
                </a:lnTo>
                <a:lnTo>
                  <a:pt x="120" y="546"/>
                </a:lnTo>
                <a:lnTo>
                  <a:pt x="114" y="540"/>
                </a:lnTo>
                <a:lnTo>
                  <a:pt x="108" y="540"/>
                </a:lnTo>
                <a:lnTo>
                  <a:pt x="108" y="540"/>
                </a:lnTo>
                <a:lnTo>
                  <a:pt x="108" y="534"/>
                </a:lnTo>
                <a:lnTo>
                  <a:pt x="102" y="534"/>
                </a:lnTo>
                <a:lnTo>
                  <a:pt x="102" y="534"/>
                </a:lnTo>
                <a:lnTo>
                  <a:pt x="102" y="534"/>
                </a:lnTo>
                <a:lnTo>
                  <a:pt x="102" y="534"/>
                </a:lnTo>
                <a:lnTo>
                  <a:pt x="42" y="534"/>
                </a:lnTo>
                <a:lnTo>
                  <a:pt x="18" y="534"/>
                </a:lnTo>
                <a:lnTo>
                  <a:pt x="12" y="534"/>
                </a:lnTo>
                <a:lnTo>
                  <a:pt x="6" y="53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285" name="Freeform 18"/>
          <p:cNvSpPr>
            <a:spLocks/>
          </p:cNvSpPr>
          <p:nvPr/>
        </p:nvSpPr>
        <p:spPr bwMode="auto">
          <a:xfrm>
            <a:off x="4911791" y="2631766"/>
            <a:ext cx="346899" cy="308357"/>
          </a:xfrm>
          <a:custGeom>
            <a:avLst/>
            <a:gdLst>
              <a:gd name="T0" fmla="*/ 12 w 324"/>
              <a:gd name="T1" fmla="*/ 246 h 288"/>
              <a:gd name="T2" fmla="*/ 18 w 324"/>
              <a:gd name="T3" fmla="*/ 252 h 288"/>
              <a:gd name="T4" fmla="*/ 24 w 324"/>
              <a:gd name="T5" fmla="*/ 252 h 288"/>
              <a:gd name="T6" fmla="*/ 42 w 324"/>
              <a:gd name="T7" fmla="*/ 240 h 288"/>
              <a:gd name="T8" fmla="*/ 66 w 324"/>
              <a:gd name="T9" fmla="*/ 228 h 288"/>
              <a:gd name="T10" fmla="*/ 78 w 324"/>
              <a:gd name="T11" fmla="*/ 210 h 288"/>
              <a:gd name="T12" fmla="*/ 84 w 324"/>
              <a:gd name="T13" fmla="*/ 192 h 288"/>
              <a:gd name="T14" fmla="*/ 72 w 324"/>
              <a:gd name="T15" fmla="*/ 180 h 288"/>
              <a:gd name="T16" fmla="*/ 60 w 324"/>
              <a:gd name="T17" fmla="*/ 174 h 288"/>
              <a:gd name="T18" fmla="*/ 42 w 324"/>
              <a:gd name="T19" fmla="*/ 168 h 288"/>
              <a:gd name="T20" fmla="*/ 36 w 324"/>
              <a:gd name="T21" fmla="*/ 162 h 288"/>
              <a:gd name="T22" fmla="*/ 42 w 324"/>
              <a:gd name="T23" fmla="*/ 150 h 288"/>
              <a:gd name="T24" fmla="*/ 42 w 324"/>
              <a:gd name="T25" fmla="*/ 144 h 288"/>
              <a:gd name="T26" fmla="*/ 54 w 324"/>
              <a:gd name="T27" fmla="*/ 132 h 288"/>
              <a:gd name="T28" fmla="*/ 66 w 324"/>
              <a:gd name="T29" fmla="*/ 126 h 288"/>
              <a:gd name="T30" fmla="*/ 78 w 324"/>
              <a:gd name="T31" fmla="*/ 120 h 288"/>
              <a:gd name="T32" fmla="*/ 84 w 324"/>
              <a:gd name="T33" fmla="*/ 120 h 288"/>
              <a:gd name="T34" fmla="*/ 96 w 324"/>
              <a:gd name="T35" fmla="*/ 108 h 288"/>
              <a:gd name="T36" fmla="*/ 96 w 324"/>
              <a:gd name="T37" fmla="*/ 90 h 288"/>
              <a:gd name="T38" fmla="*/ 96 w 324"/>
              <a:gd name="T39" fmla="*/ 72 h 288"/>
              <a:gd name="T40" fmla="*/ 108 w 324"/>
              <a:gd name="T41" fmla="*/ 66 h 288"/>
              <a:gd name="T42" fmla="*/ 114 w 324"/>
              <a:gd name="T43" fmla="*/ 54 h 288"/>
              <a:gd name="T44" fmla="*/ 126 w 324"/>
              <a:gd name="T45" fmla="*/ 42 h 288"/>
              <a:gd name="T46" fmla="*/ 144 w 324"/>
              <a:gd name="T47" fmla="*/ 54 h 288"/>
              <a:gd name="T48" fmla="*/ 150 w 324"/>
              <a:gd name="T49" fmla="*/ 48 h 288"/>
              <a:gd name="T50" fmla="*/ 156 w 324"/>
              <a:gd name="T51" fmla="*/ 42 h 288"/>
              <a:gd name="T52" fmla="*/ 180 w 324"/>
              <a:gd name="T53" fmla="*/ 0 h 288"/>
              <a:gd name="T54" fmla="*/ 312 w 324"/>
              <a:gd name="T55" fmla="*/ 18 h 288"/>
              <a:gd name="T56" fmla="*/ 312 w 324"/>
              <a:gd name="T57" fmla="*/ 30 h 288"/>
              <a:gd name="T58" fmla="*/ 312 w 324"/>
              <a:gd name="T59" fmla="*/ 42 h 288"/>
              <a:gd name="T60" fmla="*/ 318 w 324"/>
              <a:gd name="T61" fmla="*/ 48 h 288"/>
              <a:gd name="T62" fmla="*/ 324 w 324"/>
              <a:gd name="T63" fmla="*/ 60 h 288"/>
              <a:gd name="T64" fmla="*/ 312 w 324"/>
              <a:gd name="T65" fmla="*/ 72 h 288"/>
              <a:gd name="T66" fmla="*/ 294 w 324"/>
              <a:gd name="T67" fmla="*/ 90 h 288"/>
              <a:gd name="T68" fmla="*/ 288 w 324"/>
              <a:gd name="T69" fmla="*/ 96 h 288"/>
              <a:gd name="T70" fmla="*/ 270 w 324"/>
              <a:gd name="T71" fmla="*/ 96 h 288"/>
              <a:gd name="T72" fmla="*/ 264 w 324"/>
              <a:gd name="T73" fmla="*/ 102 h 288"/>
              <a:gd name="T74" fmla="*/ 222 w 324"/>
              <a:gd name="T75" fmla="*/ 72 h 288"/>
              <a:gd name="T76" fmla="*/ 210 w 324"/>
              <a:gd name="T77" fmla="*/ 72 h 288"/>
              <a:gd name="T78" fmla="*/ 204 w 324"/>
              <a:gd name="T79" fmla="*/ 72 h 288"/>
              <a:gd name="T80" fmla="*/ 198 w 324"/>
              <a:gd name="T81" fmla="*/ 78 h 288"/>
              <a:gd name="T82" fmla="*/ 174 w 324"/>
              <a:gd name="T83" fmla="*/ 90 h 288"/>
              <a:gd name="T84" fmla="*/ 180 w 324"/>
              <a:gd name="T85" fmla="*/ 102 h 288"/>
              <a:gd name="T86" fmla="*/ 180 w 324"/>
              <a:gd name="T87" fmla="*/ 108 h 288"/>
              <a:gd name="T88" fmla="*/ 162 w 324"/>
              <a:gd name="T89" fmla="*/ 192 h 288"/>
              <a:gd name="T90" fmla="*/ 174 w 324"/>
              <a:gd name="T91" fmla="*/ 198 h 288"/>
              <a:gd name="T92" fmla="*/ 180 w 324"/>
              <a:gd name="T93" fmla="*/ 216 h 288"/>
              <a:gd name="T94" fmla="*/ 156 w 324"/>
              <a:gd name="T95" fmla="*/ 234 h 288"/>
              <a:gd name="T96" fmla="*/ 132 w 324"/>
              <a:gd name="T97" fmla="*/ 246 h 288"/>
              <a:gd name="T98" fmla="*/ 114 w 324"/>
              <a:gd name="T99" fmla="*/ 276 h 288"/>
              <a:gd name="T100" fmla="*/ 102 w 324"/>
              <a:gd name="T101" fmla="*/ 282 h 288"/>
              <a:gd name="T102" fmla="*/ 96 w 324"/>
              <a:gd name="T103" fmla="*/ 282 h 288"/>
              <a:gd name="T104" fmla="*/ 84 w 324"/>
              <a:gd name="T105" fmla="*/ 282 h 288"/>
              <a:gd name="T106" fmla="*/ 78 w 324"/>
              <a:gd name="T107" fmla="*/ 282 h 288"/>
              <a:gd name="T108" fmla="*/ 66 w 324"/>
              <a:gd name="T109" fmla="*/ 282 h 288"/>
              <a:gd name="T110" fmla="*/ 60 w 324"/>
              <a:gd name="T111" fmla="*/ 270 h 288"/>
              <a:gd name="T112" fmla="*/ 48 w 324"/>
              <a:gd name="T113" fmla="*/ 276 h 288"/>
              <a:gd name="T114" fmla="*/ 36 w 324"/>
              <a:gd name="T115" fmla="*/ 264 h 288"/>
              <a:gd name="T116" fmla="*/ 24 w 324"/>
              <a:gd name="T117" fmla="*/ 264 h 288"/>
              <a:gd name="T118" fmla="*/ 12 w 324"/>
              <a:gd name="T119" fmla="*/ 258 h 288"/>
              <a:gd name="T120" fmla="*/ 0 w 324"/>
              <a:gd name="T121" fmla="*/ 246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24" h="288">
                <a:moveTo>
                  <a:pt x="0" y="246"/>
                </a:moveTo>
                <a:lnTo>
                  <a:pt x="6" y="246"/>
                </a:lnTo>
                <a:lnTo>
                  <a:pt x="6" y="246"/>
                </a:lnTo>
                <a:lnTo>
                  <a:pt x="6" y="246"/>
                </a:lnTo>
                <a:lnTo>
                  <a:pt x="6" y="246"/>
                </a:lnTo>
                <a:lnTo>
                  <a:pt x="6" y="246"/>
                </a:lnTo>
                <a:lnTo>
                  <a:pt x="6" y="246"/>
                </a:lnTo>
                <a:lnTo>
                  <a:pt x="6" y="246"/>
                </a:lnTo>
                <a:lnTo>
                  <a:pt x="12" y="246"/>
                </a:lnTo>
                <a:lnTo>
                  <a:pt x="12" y="246"/>
                </a:lnTo>
                <a:lnTo>
                  <a:pt x="12" y="246"/>
                </a:lnTo>
                <a:lnTo>
                  <a:pt x="12" y="246"/>
                </a:lnTo>
                <a:lnTo>
                  <a:pt x="18" y="246"/>
                </a:lnTo>
                <a:lnTo>
                  <a:pt x="18" y="246"/>
                </a:lnTo>
                <a:lnTo>
                  <a:pt x="18" y="246"/>
                </a:lnTo>
                <a:lnTo>
                  <a:pt x="18" y="252"/>
                </a:lnTo>
                <a:lnTo>
                  <a:pt x="18" y="252"/>
                </a:lnTo>
                <a:lnTo>
                  <a:pt x="18" y="246"/>
                </a:lnTo>
                <a:lnTo>
                  <a:pt x="18" y="246"/>
                </a:lnTo>
                <a:lnTo>
                  <a:pt x="18" y="246"/>
                </a:lnTo>
                <a:lnTo>
                  <a:pt x="18" y="246"/>
                </a:lnTo>
                <a:lnTo>
                  <a:pt x="18" y="246"/>
                </a:lnTo>
                <a:lnTo>
                  <a:pt x="18" y="252"/>
                </a:lnTo>
                <a:lnTo>
                  <a:pt x="18" y="252"/>
                </a:lnTo>
                <a:lnTo>
                  <a:pt x="18" y="252"/>
                </a:lnTo>
                <a:lnTo>
                  <a:pt x="24" y="252"/>
                </a:lnTo>
                <a:lnTo>
                  <a:pt x="24" y="252"/>
                </a:lnTo>
                <a:lnTo>
                  <a:pt x="24" y="252"/>
                </a:lnTo>
                <a:lnTo>
                  <a:pt x="24" y="252"/>
                </a:lnTo>
                <a:lnTo>
                  <a:pt x="24" y="252"/>
                </a:lnTo>
                <a:lnTo>
                  <a:pt x="24" y="252"/>
                </a:lnTo>
                <a:lnTo>
                  <a:pt x="24" y="252"/>
                </a:lnTo>
                <a:lnTo>
                  <a:pt x="24" y="252"/>
                </a:lnTo>
                <a:lnTo>
                  <a:pt x="24" y="258"/>
                </a:lnTo>
                <a:lnTo>
                  <a:pt x="24" y="258"/>
                </a:lnTo>
                <a:lnTo>
                  <a:pt x="24" y="252"/>
                </a:lnTo>
                <a:lnTo>
                  <a:pt x="24" y="252"/>
                </a:lnTo>
                <a:lnTo>
                  <a:pt x="30" y="252"/>
                </a:lnTo>
                <a:lnTo>
                  <a:pt x="30" y="252"/>
                </a:lnTo>
                <a:lnTo>
                  <a:pt x="36" y="252"/>
                </a:lnTo>
                <a:lnTo>
                  <a:pt x="36" y="252"/>
                </a:lnTo>
                <a:lnTo>
                  <a:pt x="36" y="252"/>
                </a:lnTo>
                <a:lnTo>
                  <a:pt x="36" y="246"/>
                </a:lnTo>
                <a:lnTo>
                  <a:pt x="36" y="246"/>
                </a:lnTo>
                <a:lnTo>
                  <a:pt x="36" y="246"/>
                </a:lnTo>
                <a:lnTo>
                  <a:pt x="36" y="246"/>
                </a:lnTo>
                <a:lnTo>
                  <a:pt x="42" y="246"/>
                </a:lnTo>
                <a:lnTo>
                  <a:pt x="42" y="240"/>
                </a:lnTo>
                <a:lnTo>
                  <a:pt x="42" y="240"/>
                </a:lnTo>
                <a:lnTo>
                  <a:pt x="48" y="240"/>
                </a:lnTo>
                <a:lnTo>
                  <a:pt x="48" y="240"/>
                </a:lnTo>
                <a:lnTo>
                  <a:pt x="48" y="240"/>
                </a:lnTo>
                <a:lnTo>
                  <a:pt x="48" y="240"/>
                </a:lnTo>
                <a:lnTo>
                  <a:pt x="54" y="234"/>
                </a:lnTo>
                <a:lnTo>
                  <a:pt x="54" y="234"/>
                </a:lnTo>
                <a:lnTo>
                  <a:pt x="54" y="234"/>
                </a:lnTo>
                <a:lnTo>
                  <a:pt x="54" y="234"/>
                </a:lnTo>
                <a:lnTo>
                  <a:pt x="60" y="234"/>
                </a:lnTo>
                <a:lnTo>
                  <a:pt x="60" y="228"/>
                </a:lnTo>
                <a:lnTo>
                  <a:pt x="66" y="228"/>
                </a:lnTo>
                <a:lnTo>
                  <a:pt x="66" y="222"/>
                </a:lnTo>
                <a:lnTo>
                  <a:pt x="66" y="222"/>
                </a:lnTo>
                <a:lnTo>
                  <a:pt x="66" y="222"/>
                </a:lnTo>
                <a:lnTo>
                  <a:pt x="66" y="222"/>
                </a:lnTo>
                <a:lnTo>
                  <a:pt x="66" y="222"/>
                </a:lnTo>
                <a:lnTo>
                  <a:pt x="66" y="216"/>
                </a:lnTo>
                <a:lnTo>
                  <a:pt x="72" y="216"/>
                </a:lnTo>
                <a:lnTo>
                  <a:pt x="72" y="216"/>
                </a:lnTo>
                <a:lnTo>
                  <a:pt x="72" y="210"/>
                </a:lnTo>
                <a:lnTo>
                  <a:pt x="72" y="210"/>
                </a:lnTo>
                <a:lnTo>
                  <a:pt x="72" y="210"/>
                </a:lnTo>
                <a:lnTo>
                  <a:pt x="78" y="210"/>
                </a:lnTo>
                <a:lnTo>
                  <a:pt x="78" y="204"/>
                </a:lnTo>
                <a:lnTo>
                  <a:pt x="78" y="204"/>
                </a:lnTo>
                <a:lnTo>
                  <a:pt x="78" y="204"/>
                </a:lnTo>
                <a:lnTo>
                  <a:pt x="84" y="204"/>
                </a:lnTo>
                <a:lnTo>
                  <a:pt x="84" y="198"/>
                </a:lnTo>
                <a:lnTo>
                  <a:pt x="84" y="198"/>
                </a:lnTo>
                <a:lnTo>
                  <a:pt x="84" y="198"/>
                </a:lnTo>
                <a:lnTo>
                  <a:pt x="84" y="198"/>
                </a:lnTo>
                <a:lnTo>
                  <a:pt x="84" y="198"/>
                </a:lnTo>
                <a:lnTo>
                  <a:pt x="84" y="192"/>
                </a:lnTo>
                <a:lnTo>
                  <a:pt x="84" y="192"/>
                </a:lnTo>
                <a:lnTo>
                  <a:pt x="84" y="192"/>
                </a:lnTo>
                <a:lnTo>
                  <a:pt x="84" y="192"/>
                </a:lnTo>
                <a:lnTo>
                  <a:pt x="84" y="192"/>
                </a:lnTo>
                <a:lnTo>
                  <a:pt x="84" y="192"/>
                </a:lnTo>
                <a:lnTo>
                  <a:pt x="84" y="186"/>
                </a:lnTo>
                <a:lnTo>
                  <a:pt x="84" y="186"/>
                </a:lnTo>
                <a:lnTo>
                  <a:pt x="84" y="186"/>
                </a:lnTo>
                <a:lnTo>
                  <a:pt x="84" y="186"/>
                </a:lnTo>
                <a:lnTo>
                  <a:pt x="78" y="174"/>
                </a:lnTo>
                <a:lnTo>
                  <a:pt x="78" y="174"/>
                </a:lnTo>
                <a:lnTo>
                  <a:pt x="78" y="174"/>
                </a:lnTo>
                <a:lnTo>
                  <a:pt x="78" y="174"/>
                </a:lnTo>
                <a:lnTo>
                  <a:pt x="72" y="180"/>
                </a:lnTo>
                <a:lnTo>
                  <a:pt x="72" y="180"/>
                </a:lnTo>
                <a:lnTo>
                  <a:pt x="72" y="180"/>
                </a:lnTo>
                <a:lnTo>
                  <a:pt x="72" y="180"/>
                </a:lnTo>
                <a:lnTo>
                  <a:pt x="66" y="180"/>
                </a:lnTo>
                <a:lnTo>
                  <a:pt x="66" y="180"/>
                </a:lnTo>
                <a:lnTo>
                  <a:pt x="66" y="180"/>
                </a:lnTo>
                <a:lnTo>
                  <a:pt x="66" y="180"/>
                </a:lnTo>
                <a:lnTo>
                  <a:pt x="66" y="174"/>
                </a:lnTo>
                <a:lnTo>
                  <a:pt x="60" y="174"/>
                </a:lnTo>
                <a:lnTo>
                  <a:pt x="60" y="174"/>
                </a:lnTo>
                <a:lnTo>
                  <a:pt x="60" y="174"/>
                </a:lnTo>
                <a:lnTo>
                  <a:pt x="60" y="174"/>
                </a:lnTo>
                <a:lnTo>
                  <a:pt x="54" y="174"/>
                </a:lnTo>
                <a:lnTo>
                  <a:pt x="54" y="174"/>
                </a:lnTo>
                <a:lnTo>
                  <a:pt x="54" y="174"/>
                </a:lnTo>
                <a:lnTo>
                  <a:pt x="54" y="174"/>
                </a:lnTo>
                <a:lnTo>
                  <a:pt x="54" y="174"/>
                </a:lnTo>
                <a:lnTo>
                  <a:pt x="54" y="174"/>
                </a:lnTo>
                <a:lnTo>
                  <a:pt x="48" y="174"/>
                </a:lnTo>
                <a:lnTo>
                  <a:pt x="48" y="174"/>
                </a:lnTo>
                <a:lnTo>
                  <a:pt x="48" y="168"/>
                </a:lnTo>
                <a:lnTo>
                  <a:pt x="48" y="168"/>
                </a:lnTo>
                <a:lnTo>
                  <a:pt x="42" y="168"/>
                </a:lnTo>
                <a:lnTo>
                  <a:pt x="42" y="168"/>
                </a:lnTo>
                <a:lnTo>
                  <a:pt x="42" y="168"/>
                </a:lnTo>
                <a:lnTo>
                  <a:pt x="42" y="168"/>
                </a:lnTo>
                <a:lnTo>
                  <a:pt x="42" y="168"/>
                </a:lnTo>
                <a:lnTo>
                  <a:pt x="42" y="168"/>
                </a:lnTo>
                <a:lnTo>
                  <a:pt x="42" y="168"/>
                </a:lnTo>
                <a:lnTo>
                  <a:pt x="42" y="168"/>
                </a:lnTo>
                <a:lnTo>
                  <a:pt x="36" y="168"/>
                </a:lnTo>
                <a:lnTo>
                  <a:pt x="36" y="168"/>
                </a:lnTo>
                <a:lnTo>
                  <a:pt x="36" y="162"/>
                </a:lnTo>
                <a:lnTo>
                  <a:pt x="36" y="162"/>
                </a:lnTo>
                <a:lnTo>
                  <a:pt x="36" y="162"/>
                </a:lnTo>
                <a:lnTo>
                  <a:pt x="36" y="162"/>
                </a:lnTo>
                <a:lnTo>
                  <a:pt x="36" y="162"/>
                </a:lnTo>
                <a:lnTo>
                  <a:pt x="36" y="156"/>
                </a:lnTo>
                <a:lnTo>
                  <a:pt x="36" y="156"/>
                </a:lnTo>
                <a:lnTo>
                  <a:pt x="36" y="156"/>
                </a:lnTo>
                <a:lnTo>
                  <a:pt x="42" y="156"/>
                </a:lnTo>
                <a:lnTo>
                  <a:pt x="42" y="156"/>
                </a:lnTo>
                <a:lnTo>
                  <a:pt x="42" y="150"/>
                </a:lnTo>
                <a:lnTo>
                  <a:pt x="42" y="150"/>
                </a:lnTo>
                <a:lnTo>
                  <a:pt x="36" y="150"/>
                </a:lnTo>
                <a:lnTo>
                  <a:pt x="42" y="150"/>
                </a:lnTo>
                <a:lnTo>
                  <a:pt x="42" y="150"/>
                </a:lnTo>
                <a:lnTo>
                  <a:pt x="42" y="150"/>
                </a:lnTo>
                <a:lnTo>
                  <a:pt x="42" y="150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36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54" y="138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60" y="132"/>
                </a:lnTo>
                <a:lnTo>
                  <a:pt x="60" y="132"/>
                </a:lnTo>
                <a:lnTo>
                  <a:pt x="60" y="132"/>
                </a:lnTo>
                <a:lnTo>
                  <a:pt x="60" y="132"/>
                </a:lnTo>
                <a:lnTo>
                  <a:pt x="60" y="132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66" y="126"/>
                </a:lnTo>
                <a:lnTo>
                  <a:pt x="66" y="126"/>
                </a:lnTo>
                <a:lnTo>
                  <a:pt x="66" y="126"/>
                </a:lnTo>
                <a:lnTo>
                  <a:pt x="66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90" y="120"/>
                </a:lnTo>
                <a:lnTo>
                  <a:pt x="84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14"/>
                </a:lnTo>
                <a:lnTo>
                  <a:pt x="96" y="108"/>
                </a:lnTo>
                <a:lnTo>
                  <a:pt x="96" y="108"/>
                </a:lnTo>
                <a:lnTo>
                  <a:pt x="90" y="108"/>
                </a:lnTo>
                <a:lnTo>
                  <a:pt x="96" y="108"/>
                </a:lnTo>
                <a:lnTo>
                  <a:pt x="96" y="102"/>
                </a:lnTo>
                <a:lnTo>
                  <a:pt x="90" y="102"/>
                </a:lnTo>
                <a:lnTo>
                  <a:pt x="90" y="102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96" y="96"/>
                </a:lnTo>
                <a:lnTo>
                  <a:pt x="96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6" y="90"/>
                </a:lnTo>
                <a:lnTo>
                  <a:pt x="96" y="84"/>
                </a:lnTo>
                <a:lnTo>
                  <a:pt x="96" y="84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2"/>
                </a:lnTo>
                <a:lnTo>
                  <a:pt x="96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0"/>
                </a:lnTo>
                <a:lnTo>
                  <a:pt x="108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20" y="54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32" y="42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8" y="54"/>
                </a:lnTo>
                <a:lnTo>
                  <a:pt x="138" y="54"/>
                </a:lnTo>
                <a:lnTo>
                  <a:pt x="144" y="54"/>
                </a:lnTo>
                <a:lnTo>
                  <a:pt x="144" y="54"/>
                </a:lnTo>
                <a:lnTo>
                  <a:pt x="144" y="54"/>
                </a:lnTo>
                <a:lnTo>
                  <a:pt x="144" y="54"/>
                </a:lnTo>
                <a:lnTo>
                  <a:pt x="144" y="54"/>
                </a:lnTo>
                <a:lnTo>
                  <a:pt x="144" y="54"/>
                </a:lnTo>
                <a:lnTo>
                  <a:pt x="150" y="54"/>
                </a:lnTo>
                <a:lnTo>
                  <a:pt x="150" y="54"/>
                </a:lnTo>
                <a:lnTo>
                  <a:pt x="150" y="54"/>
                </a:lnTo>
                <a:lnTo>
                  <a:pt x="150" y="54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6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2"/>
                </a:lnTo>
                <a:lnTo>
                  <a:pt x="168" y="12"/>
                </a:lnTo>
                <a:lnTo>
                  <a:pt x="168" y="0"/>
                </a:lnTo>
                <a:lnTo>
                  <a:pt x="180" y="0"/>
                </a:lnTo>
                <a:lnTo>
                  <a:pt x="192" y="0"/>
                </a:lnTo>
                <a:lnTo>
                  <a:pt x="246" y="6"/>
                </a:lnTo>
                <a:lnTo>
                  <a:pt x="246" y="0"/>
                </a:lnTo>
                <a:lnTo>
                  <a:pt x="318" y="0"/>
                </a:lnTo>
                <a:lnTo>
                  <a:pt x="318" y="6"/>
                </a:lnTo>
                <a:lnTo>
                  <a:pt x="318" y="6"/>
                </a:lnTo>
                <a:lnTo>
                  <a:pt x="318" y="12"/>
                </a:lnTo>
                <a:lnTo>
                  <a:pt x="312" y="12"/>
                </a:lnTo>
                <a:lnTo>
                  <a:pt x="312" y="12"/>
                </a:lnTo>
                <a:lnTo>
                  <a:pt x="312" y="12"/>
                </a:lnTo>
                <a:lnTo>
                  <a:pt x="312" y="12"/>
                </a:lnTo>
                <a:lnTo>
                  <a:pt x="312" y="18"/>
                </a:lnTo>
                <a:lnTo>
                  <a:pt x="312" y="18"/>
                </a:lnTo>
                <a:lnTo>
                  <a:pt x="312" y="18"/>
                </a:lnTo>
                <a:lnTo>
                  <a:pt x="312" y="18"/>
                </a:lnTo>
                <a:lnTo>
                  <a:pt x="312" y="18"/>
                </a:lnTo>
                <a:lnTo>
                  <a:pt x="312" y="24"/>
                </a:lnTo>
                <a:lnTo>
                  <a:pt x="312" y="24"/>
                </a:lnTo>
                <a:lnTo>
                  <a:pt x="312" y="24"/>
                </a:lnTo>
                <a:lnTo>
                  <a:pt x="312" y="24"/>
                </a:lnTo>
                <a:lnTo>
                  <a:pt x="312" y="24"/>
                </a:lnTo>
                <a:lnTo>
                  <a:pt x="312" y="24"/>
                </a:lnTo>
                <a:lnTo>
                  <a:pt x="312" y="24"/>
                </a:lnTo>
                <a:lnTo>
                  <a:pt x="312" y="30"/>
                </a:lnTo>
                <a:lnTo>
                  <a:pt x="312" y="30"/>
                </a:lnTo>
                <a:lnTo>
                  <a:pt x="312" y="30"/>
                </a:lnTo>
                <a:lnTo>
                  <a:pt x="306" y="30"/>
                </a:lnTo>
                <a:lnTo>
                  <a:pt x="312" y="30"/>
                </a:lnTo>
                <a:lnTo>
                  <a:pt x="312" y="36"/>
                </a:lnTo>
                <a:lnTo>
                  <a:pt x="312" y="36"/>
                </a:lnTo>
                <a:lnTo>
                  <a:pt x="312" y="36"/>
                </a:lnTo>
                <a:lnTo>
                  <a:pt x="312" y="36"/>
                </a:lnTo>
                <a:lnTo>
                  <a:pt x="312" y="36"/>
                </a:lnTo>
                <a:lnTo>
                  <a:pt x="312" y="42"/>
                </a:lnTo>
                <a:lnTo>
                  <a:pt x="312" y="42"/>
                </a:lnTo>
                <a:lnTo>
                  <a:pt x="312" y="42"/>
                </a:lnTo>
                <a:lnTo>
                  <a:pt x="318" y="42"/>
                </a:lnTo>
                <a:lnTo>
                  <a:pt x="312" y="42"/>
                </a:lnTo>
                <a:lnTo>
                  <a:pt x="318" y="42"/>
                </a:lnTo>
                <a:lnTo>
                  <a:pt x="312" y="48"/>
                </a:lnTo>
                <a:lnTo>
                  <a:pt x="312" y="48"/>
                </a:lnTo>
                <a:lnTo>
                  <a:pt x="312" y="48"/>
                </a:lnTo>
                <a:lnTo>
                  <a:pt x="312" y="48"/>
                </a:lnTo>
                <a:lnTo>
                  <a:pt x="318" y="48"/>
                </a:lnTo>
                <a:lnTo>
                  <a:pt x="318" y="54"/>
                </a:lnTo>
                <a:lnTo>
                  <a:pt x="318" y="54"/>
                </a:lnTo>
                <a:lnTo>
                  <a:pt x="318" y="54"/>
                </a:lnTo>
                <a:lnTo>
                  <a:pt x="318" y="48"/>
                </a:lnTo>
                <a:lnTo>
                  <a:pt x="318" y="54"/>
                </a:lnTo>
                <a:lnTo>
                  <a:pt x="318" y="54"/>
                </a:lnTo>
                <a:lnTo>
                  <a:pt x="318" y="54"/>
                </a:lnTo>
                <a:lnTo>
                  <a:pt x="318" y="54"/>
                </a:lnTo>
                <a:lnTo>
                  <a:pt x="318" y="54"/>
                </a:lnTo>
                <a:lnTo>
                  <a:pt x="324" y="60"/>
                </a:lnTo>
                <a:lnTo>
                  <a:pt x="318" y="60"/>
                </a:lnTo>
                <a:lnTo>
                  <a:pt x="324" y="60"/>
                </a:lnTo>
                <a:lnTo>
                  <a:pt x="324" y="60"/>
                </a:lnTo>
                <a:lnTo>
                  <a:pt x="324" y="60"/>
                </a:lnTo>
                <a:lnTo>
                  <a:pt x="324" y="60"/>
                </a:lnTo>
                <a:lnTo>
                  <a:pt x="324" y="60"/>
                </a:lnTo>
                <a:lnTo>
                  <a:pt x="324" y="60"/>
                </a:lnTo>
                <a:lnTo>
                  <a:pt x="318" y="60"/>
                </a:lnTo>
                <a:lnTo>
                  <a:pt x="318" y="66"/>
                </a:lnTo>
                <a:lnTo>
                  <a:pt x="318" y="66"/>
                </a:lnTo>
                <a:lnTo>
                  <a:pt x="318" y="66"/>
                </a:lnTo>
                <a:lnTo>
                  <a:pt x="312" y="66"/>
                </a:lnTo>
                <a:lnTo>
                  <a:pt x="312" y="66"/>
                </a:lnTo>
                <a:lnTo>
                  <a:pt x="312" y="66"/>
                </a:lnTo>
                <a:lnTo>
                  <a:pt x="312" y="66"/>
                </a:lnTo>
                <a:lnTo>
                  <a:pt x="312" y="72"/>
                </a:lnTo>
                <a:lnTo>
                  <a:pt x="312" y="72"/>
                </a:lnTo>
                <a:lnTo>
                  <a:pt x="312" y="72"/>
                </a:lnTo>
                <a:lnTo>
                  <a:pt x="312" y="72"/>
                </a:lnTo>
                <a:lnTo>
                  <a:pt x="306" y="72"/>
                </a:lnTo>
                <a:lnTo>
                  <a:pt x="306" y="78"/>
                </a:lnTo>
                <a:lnTo>
                  <a:pt x="306" y="78"/>
                </a:lnTo>
                <a:lnTo>
                  <a:pt x="306" y="78"/>
                </a:lnTo>
                <a:lnTo>
                  <a:pt x="300" y="78"/>
                </a:lnTo>
                <a:lnTo>
                  <a:pt x="300" y="84"/>
                </a:lnTo>
                <a:lnTo>
                  <a:pt x="300" y="84"/>
                </a:lnTo>
                <a:lnTo>
                  <a:pt x="294" y="90"/>
                </a:lnTo>
                <a:lnTo>
                  <a:pt x="294" y="90"/>
                </a:lnTo>
                <a:lnTo>
                  <a:pt x="294" y="90"/>
                </a:lnTo>
                <a:lnTo>
                  <a:pt x="294" y="90"/>
                </a:lnTo>
                <a:lnTo>
                  <a:pt x="294" y="90"/>
                </a:lnTo>
                <a:lnTo>
                  <a:pt x="294" y="90"/>
                </a:lnTo>
                <a:lnTo>
                  <a:pt x="294" y="90"/>
                </a:lnTo>
                <a:lnTo>
                  <a:pt x="294" y="90"/>
                </a:lnTo>
                <a:lnTo>
                  <a:pt x="294" y="96"/>
                </a:lnTo>
                <a:lnTo>
                  <a:pt x="294" y="96"/>
                </a:lnTo>
                <a:lnTo>
                  <a:pt x="294" y="96"/>
                </a:lnTo>
                <a:lnTo>
                  <a:pt x="288" y="96"/>
                </a:lnTo>
                <a:lnTo>
                  <a:pt x="288" y="96"/>
                </a:lnTo>
                <a:lnTo>
                  <a:pt x="288" y="96"/>
                </a:lnTo>
                <a:lnTo>
                  <a:pt x="288" y="96"/>
                </a:lnTo>
                <a:lnTo>
                  <a:pt x="288" y="96"/>
                </a:lnTo>
                <a:lnTo>
                  <a:pt x="288" y="96"/>
                </a:lnTo>
                <a:lnTo>
                  <a:pt x="282" y="96"/>
                </a:lnTo>
                <a:lnTo>
                  <a:pt x="282" y="96"/>
                </a:lnTo>
                <a:lnTo>
                  <a:pt x="276" y="96"/>
                </a:lnTo>
                <a:lnTo>
                  <a:pt x="276" y="96"/>
                </a:lnTo>
                <a:lnTo>
                  <a:pt x="276" y="96"/>
                </a:lnTo>
                <a:lnTo>
                  <a:pt x="276" y="96"/>
                </a:lnTo>
                <a:lnTo>
                  <a:pt x="270" y="96"/>
                </a:lnTo>
                <a:lnTo>
                  <a:pt x="270" y="96"/>
                </a:lnTo>
                <a:lnTo>
                  <a:pt x="270" y="96"/>
                </a:lnTo>
                <a:lnTo>
                  <a:pt x="270" y="96"/>
                </a:lnTo>
                <a:lnTo>
                  <a:pt x="270" y="96"/>
                </a:lnTo>
                <a:lnTo>
                  <a:pt x="270" y="96"/>
                </a:lnTo>
                <a:lnTo>
                  <a:pt x="270" y="96"/>
                </a:lnTo>
                <a:lnTo>
                  <a:pt x="270" y="96"/>
                </a:lnTo>
                <a:lnTo>
                  <a:pt x="270" y="102"/>
                </a:lnTo>
                <a:lnTo>
                  <a:pt x="270" y="96"/>
                </a:lnTo>
                <a:lnTo>
                  <a:pt x="270" y="96"/>
                </a:lnTo>
                <a:lnTo>
                  <a:pt x="264" y="96"/>
                </a:lnTo>
                <a:lnTo>
                  <a:pt x="264" y="96"/>
                </a:lnTo>
                <a:lnTo>
                  <a:pt x="264" y="96"/>
                </a:lnTo>
                <a:lnTo>
                  <a:pt x="264" y="96"/>
                </a:lnTo>
                <a:lnTo>
                  <a:pt x="264" y="96"/>
                </a:lnTo>
                <a:lnTo>
                  <a:pt x="264" y="102"/>
                </a:lnTo>
                <a:lnTo>
                  <a:pt x="264" y="96"/>
                </a:lnTo>
                <a:lnTo>
                  <a:pt x="264" y="96"/>
                </a:lnTo>
                <a:lnTo>
                  <a:pt x="258" y="96"/>
                </a:lnTo>
                <a:lnTo>
                  <a:pt x="258" y="96"/>
                </a:lnTo>
                <a:lnTo>
                  <a:pt x="258" y="102"/>
                </a:lnTo>
                <a:lnTo>
                  <a:pt x="258" y="102"/>
                </a:lnTo>
                <a:lnTo>
                  <a:pt x="258" y="102"/>
                </a:lnTo>
                <a:lnTo>
                  <a:pt x="258" y="102"/>
                </a:lnTo>
                <a:lnTo>
                  <a:pt x="258" y="102"/>
                </a:lnTo>
                <a:lnTo>
                  <a:pt x="258" y="102"/>
                </a:lnTo>
                <a:lnTo>
                  <a:pt x="240" y="84"/>
                </a:lnTo>
                <a:lnTo>
                  <a:pt x="222" y="72"/>
                </a:lnTo>
                <a:lnTo>
                  <a:pt x="222" y="72"/>
                </a:lnTo>
                <a:lnTo>
                  <a:pt x="222" y="72"/>
                </a:lnTo>
                <a:lnTo>
                  <a:pt x="216" y="72"/>
                </a:lnTo>
                <a:lnTo>
                  <a:pt x="216" y="72"/>
                </a:lnTo>
                <a:lnTo>
                  <a:pt x="216" y="72"/>
                </a:lnTo>
                <a:lnTo>
                  <a:pt x="216" y="72"/>
                </a:lnTo>
                <a:lnTo>
                  <a:pt x="216" y="72"/>
                </a:lnTo>
                <a:lnTo>
                  <a:pt x="216" y="72"/>
                </a:lnTo>
                <a:lnTo>
                  <a:pt x="216" y="72"/>
                </a:lnTo>
                <a:lnTo>
                  <a:pt x="210" y="72"/>
                </a:lnTo>
                <a:lnTo>
                  <a:pt x="210" y="72"/>
                </a:lnTo>
                <a:lnTo>
                  <a:pt x="210" y="72"/>
                </a:lnTo>
                <a:lnTo>
                  <a:pt x="210" y="72"/>
                </a:lnTo>
                <a:lnTo>
                  <a:pt x="210" y="72"/>
                </a:lnTo>
                <a:lnTo>
                  <a:pt x="210" y="66"/>
                </a:lnTo>
                <a:lnTo>
                  <a:pt x="210" y="72"/>
                </a:lnTo>
                <a:lnTo>
                  <a:pt x="210" y="72"/>
                </a:lnTo>
                <a:lnTo>
                  <a:pt x="210" y="72"/>
                </a:lnTo>
                <a:lnTo>
                  <a:pt x="210" y="72"/>
                </a:lnTo>
                <a:lnTo>
                  <a:pt x="204" y="72"/>
                </a:lnTo>
                <a:lnTo>
                  <a:pt x="204" y="72"/>
                </a:lnTo>
                <a:lnTo>
                  <a:pt x="204" y="72"/>
                </a:lnTo>
                <a:lnTo>
                  <a:pt x="204" y="72"/>
                </a:lnTo>
                <a:lnTo>
                  <a:pt x="204" y="72"/>
                </a:lnTo>
                <a:lnTo>
                  <a:pt x="204" y="72"/>
                </a:lnTo>
                <a:lnTo>
                  <a:pt x="204" y="72"/>
                </a:lnTo>
                <a:lnTo>
                  <a:pt x="204" y="72"/>
                </a:lnTo>
                <a:lnTo>
                  <a:pt x="204" y="72"/>
                </a:lnTo>
                <a:lnTo>
                  <a:pt x="198" y="72"/>
                </a:lnTo>
                <a:lnTo>
                  <a:pt x="198" y="72"/>
                </a:lnTo>
                <a:lnTo>
                  <a:pt x="198" y="72"/>
                </a:lnTo>
                <a:lnTo>
                  <a:pt x="198" y="72"/>
                </a:lnTo>
                <a:lnTo>
                  <a:pt x="198" y="78"/>
                </a:lnTo>
                <a:lnTo>
                  <a:pt x="204" y="78"/>
                </a:lnTo>
                <a:lnTo>
                  <a:pt x="204" y="78"/>
                </a:lnTo>
                <a:lnTo>
                  <a:pt x="198" y="78"/>
                </a:lnTo>
                <a:lnTo>
                  <a:pt x="204" y="78"/>
                </a:lnTo>
                <a:lnTo>
                  <a:pt x="204" y="84"/>
                </a:lnTo>
                <a:lnTo>
                  <a:pt x="204" y="84"/>
                </a:lnTo>
                <a:lnTo>
                  <a:pt x="204" y="84"/>
                </a:lnTo>
                <a:lnTo>
                  <a:pt x="192" y="84"/>
                </a:lnTo>
                <a:lnTo>
                  <a:pt x="180" y="84"/>
                </a:lnTo>
                <a:lnTo>
                  <a:pt x="174" y="84"/>
                </a:lnTo>
                <a:lnTo>
                  <a:pt x="174" y="90"/>
                </a:lnTo>
                <a:lnTo>
                  <a:pt x="174" y="90"/>
                </a:lnTo>
                <a:lnTo>
                  <a:pt x="174" y="90"/>
                </a:lnTo>
                <a:lnTo>
                  <a:pt x="174" y="90"/>
                </a:lnTo>
                <a:lnTo>
                  <a:pt x="174" y="90"/>
                </a:lnTo>
                <a:lnTo>
                  <a:pt x="174" y="96"/>
                </a:lnTo>
                <a:lnTo>
                  <a:pt x="174" y="96"/>
                </a:lnTo>
                <a:lnTo>
                  <a:pt x="180" y="96"/>
                </a:lnTo>
                <a:lnTo>
                  <a:pt x="180" y="96"/>
                </a:lnTo>
                <a:lnTo>
                  <a:pt x="180" y="96"/>
                </a:lnTo>
                <a:lnTo>
                  <a:pt x="180" y="96"/>
                </a:lnTo>
                <a:lnTo>
                  <a:pt x="180" y="96"/>
                </a:lnTo>
                <a:lnTo>
                  <a:pt x="180" y="96"/>
                </a:lnTo>
                <a:lnTo>
                  <a:pt x="180" y="102"/>
                </a:lnTo>
                <a:lnTo>
                  <a:pt x="180" y="102"/>
                </a:lnTo>
                <a:lnTo>
                  <a:pt x="180" y="102"/>
                </a:lnTo>
                <a:lnTo>
                  <a:pt x="180" y="102"/>
                </a:lnTo>
                <a:lnTo>
                  <a:pt x="180" y="102"/>
                </a:lnTo>
                <a:lnTo>
                  <a:pt x="180" y="102"/>
                </a:lnTo>
                <a:lnTo>
                  <a:pt x="180" y="102"/>
                </a:lnTo>
                <a:lnTo>
                  <a:pt x="180" y="102"/>
                </a:lnTo>
                <a:lnTo>
                  <a:pt x="180" y="102"/>
                </a:lnTo>
                <a:lnTo>
                  <a:pt x="180" y="102"/>
                </a:lnTo>
                <a:lnTo>
                  <a:pt x="180" y="108"/>
                </a:lnTo>
                <a:lnTo>
                  <a:pt x="180" y="108"/>
                </a:lnTo>
                <a:lnTo>
                  <a:pt x="180" y="108"/>
                </a:lnTo>
                <a:lnTo>
                  <a:pt x="180" y="108"/>
                </a:lnTo>
                <a:lnTo>
                  <a:pt x="180" y="108"/>
                </a:lnTo>
                <a:lnTo>
                  <a:pt x="180" y="108"/>
                </a:lnTo>
                <a:lnTo>
                  <a:pt x="174" y="114"/>
                </a:lnTo>
                <a:lnTo>
                  <a:pt x="174" y="114"/>
                </a:lnTo>
                <a:lnTo>
                  <a:pt x="174" y="114"/>
                </a:lnTo>
                <a:lnTo>
                  <a:pt x="174" y="114"/>
                </a:lnTo>
                <a:lnTo>
                  <a:pt x="174" y="114"/>
                </a:lnTo>
                <a:lnTo>
                  <a:pt x="180" y="114"/>
                </a:lnTo>
                <a:lnTo>
                  <a:pt x="180" y="120"/>
                </a:lnTo>
                <a:lnTo>
                  <a:pt x="180" y="132"/>
                </a:lnTo>
                <a:lnTo>
                  <a:pt x="180" y="144"/>
                </a:lnTo>
                <a:lnTo>
                  <a:pt x="162" y="144"/>
                </a:lnTo>
                <a:lnTo>
                  <a:pt x="162" y="156"/>
                </a:lnTo>
                <a:lnTo>
                  <a:pt x="162" y="192"/>
                </a:lnTo>
                <a:lnTo>
                  <a:pt x="162" y="192"/>
                </a:lnTo>
                <a:lnTo>
                  <a:pt x="162" y="192"/>
                </a:lnTo>
                <a:lnTo>
                  <a:pt x="168" y="192"/>
                </a:lnTo>
                <a:lnTo>
                  <a:pt x="168" y="192"/>
                </a:lnTo>
                <a:lnTo>
                  <a:pt x="168" y="192"/>
                </a:lnTo>
                <a:lnTo>
                  <a:pt x="168" y="192"/>
                </a:lnTo>
                <a:lnTo>
                  <a:pt x="168" y="192"/>
                </a:lnTo>
                <a:lnTo>
                  <a:pt x="168" y="198"/>
                </a:lnTo>
                <a:lnTo>
                  <a:pt x="174" y="198"/>
                </a:lnTo>
                <a:lnTo>
                  <a:pt x="174" y="198"/>
                </a:lnTo>
                <a:lnTo>
                  <a:pt x="174" y="198"/>
                </a:lnTo>
                <a:lnTo>
                  <a:pt x="174" y="198"/>
                </a:lnTo>
                <a:lnTo>
                  <a:pt x="174" y="198"/>
                </a:lnTo>
                <a:lnTo>
                  <a:pt x="174" y="198"/>
                </a:lnTo>
                <a:lnTo>
                  <a:pt x="180" y="198"/>
                </a:lnTo>
                <a:lnTo>
                  <a:pt x="180" y="204"/>
                </a:lnTo>
                <a:lnTo>
                  <a:pt x="180" y="204"/>
                </a:lnTo>
                <a:lnTo>
                  <a:pt x="180" y="204"/>
                </a:lnTo>
                <a:lnTo>
                  <a:pt x="180" y="210"/>
                </a:lnTo>
                <a:lnTo>
                  <a:pt x="180" y="210"/>
                </a:lnTo>
                <a:lnTo>
                  <a:pt x="180" y="210"/>
                </a:lnTo>
                <a:lnTo>
                  <a:pt x="180" y="210"/>
                </a:lnTo>
                <a:lnTo>
                  <a:pt x="180" y="216"/>
                </a:lnTo>
                <a:lnTo>
                  <a:pt x="180" y="216"/>
                </a:lnTo>
                <a:lnTo>
                  <a:pt x="180" y="216"/>
                </a:lnTo>
                <a:lnTo>
                  <a:pt x="180" y="216"/>
                </a:lnTo>
                <a:lnTo>
                  <a:pt x="180" y="222"/>
                </a:lnTo>
                <a:lnTo>
                  <a:pt x="174" y="222"/>
                </a:lnTo>
                <a:lnTo>
                  <a:pt x="174" y="222"/>
                </a:lnTo>
                <a:lnTo>
                  <a:pt x="174" y="228"/>
                </a:lnTo>
                <a:lnTo>
                  <a:pt x="168" y="228"/>
                </a:lnTo>
                <a:lnTo>
                  <a:pt x="168" y="228"/>
                </a:lnTo>
                <a:lnTo>
                  <a:pt x="162" y="228"/>
                </a:lnTo>
                <a:lnTo>
                  <a:pt x="162" y="234"/>
                </a:lnTo>
                <a:lnTo>
                  <a:pt x="162" y="234"/>
                </a:lnTo>
                <a:lnTo>
                  <a:pt x="156" y="234"/>
                </a:lnTo>
                <a:lnTo>
                  <a:pt x="156" y="234"/>
                </a:lnTo>
                <a:lnTo>
                  <a:pt x="156" y="234"/>
                </a:lnTo>
                <a:lnTo>
                  <a:pt x="150" y="240"/>
                </a:lnTo>
                <a:lnTo>
                  <a:pt x="150" y="240"/>
                </a:lnTo>
                <a:lnTo>
                  <a:pt x="144" y="240"/>
                </a:lnTo>
                <a:lnTo>
                  <a:pt x="144" y="240"/>
                </a:lnTo>
                <a:lnTo>
                  <a:pt x="138" y="246"/>
                </a:lnTo>
                <a:lnTo>
                  <a:pt x="138" y="246"/>
                </a:lnTo>
                <a:lnTo>
                  <a:pt x="138" y="246"/>
                </a:lnTo>
                <a:lnTo>
                  <a:pt x="138" y="246"/>
                </a:lnTo>
                <a:lnTo>
                  <a:pt x="132" y="246"/>
                </a:lnTo>
                <a:lnTo>
                  <a:pt x="132" y="246"/>
                </a:lnTo>
                <a:lnTo>
                  <a:pt x="132" y="252"/>
                </a:lnTo>
                <a:lnTo>
                  <a:pt x="132" y="252"/>
                </a:lnTo>
                <a:lnTo>
                  <a:pt x="132" y="252"/>
                </a:lnTo>
                <a:lnTo>
                  <a:pt x="132" y="258"/>
                </a:lnTo>
                <a:lnTo>
                  <a:pt x="132" y="258"/>
                </a:lnTo>
                <a:lnTo>
                  <a:pt x="132" y="258"/>
                </a:lnTo>
                <a:lnTo>
                  <a:pt x="132" y="258"/>
                </a:lnTo>
                <a:lnTo>
                  <a:pt x="126" y="264"/>
                </a:lnTo>
                <a:lnTo>
                  <a:pt x="126" y="264"/>
                </a:lnTo>
                <a:lnTo>
                  <a:pt x="126" y="264"/>
                </a:lnTo>
                <a:lnTo>
                  <a:pt x="120" y="264"/>
                </a:lnTo>
                <a:lnTo>
                  <a:pt x="114" y="276"/>
                </a:lnTo>
                <a:lnTo>
                  <a:pt x="114" y="276"/>
                </a:lnTo>
                <a:lnTo>
                  <a:pt x="114" y="282"/>
                </a:lnTo>
                <a:lnTo>
                  <a:pt x="114" y="282"/>
                </a:lnTo>
                <a:lnTo>
                  <a:pt x="114" y="282"/>
                </a:lnTo>
                <a:lnTo>
                  <a:pt x="114" y="282"/>
                </a:lnTo>
                <a:lnTo>
                  <a:pt x="108" y="282"/>
                </a:lnTo>
                <a:lnTo>
                  <a:pt x="108" y="282"/>
                </a:lnTo>
                <a:lnTo>
                  <a:pt x="108" y="282"/>
                </a:lnTo>
                <a:lnTo>
                  <a:pt x="108" y="288"/>
                </a:lnTo>
                <a:lnTo>
                  <a:pt x="102" y="288"/>
                </a:lnTo>
                <a:lnTo>
                  <a:pt x="102" y="288"/>
                </a:lnTo>
                <a:lnTo>
                  <a:pt x="102" y="282"/>
                </a:lnTo>
                <a:lnTo>
                  <a:pt x="102" y="282"/>
                </a:lnTo>
                <a:lnTo>
                  <a:pt x="102" y="282"/>
                </a:lnTo>
                <a:lnTo>
                  <a:pt x="102" y="288"/>
                </a:lnTo>
                <a:lnTo>
                  <a:pt x="96" y="288"/>
                </a:lnTo>
                <a:lnTo>
                  <a:pt x="96" y="282"/>
                </a:lnTo>
                <a:lnTo>
                  <a:pt x="96" y="282"/>
                </a:lnTo>
                <a:lnTo>
                  <a:pt x="96" y="282"/>
                </a:lnTo>
                <a:lnTo>
                  <a:pt x="96" y="282"/>
                </a:lnTo>
                <a:lnTo>
                  <a:pt x="96" y="282"/>
                </a:lnTo>
                <a:lnTo>
                  <a:pt x="96" y="282"/>
                </a:lnTo>
                <a:lnTo>
                  <a:pt x="96" y="282"/>
                </a:lnTo>
                <a:lnTo>
                  <a:pt x="96" y="282"/>
                </a:lnTo>
                <a:lnTo>
                  <a:pt x="96" y="282"/>
                </a:lnTo>
                <a:lnTo>
                  <a:pt x="96" y="282"/>
                </a:lnTo>
                <a:lnTo>
                  <a:pt x="90" y="282"/>
                </a:lnTo>
                <a:lnTo>
                  <a:pt x="90" y="282"/>
                </a:lnTo>
                <a:lnTo>
                  <a:pt x="90" y="282"/>
                </a:lnTo>
                <a:lnTo>
                  <a:pt x="90" y="282"/>
                </a:lnTo>
                <a:lnTo>
                  <a:pt x="90" y="282"/>
                </a:lnTo>
                <a:lnTo>
                  <a:pt x="90" y="282"/>
                </a:lnTo>
                <a:lnTo>
                  <a:pt x="84" y="282"/>
                </a:lnTo>
                <a:lnTo>
                  <a:pt x="84" y="282"/>
                </a:lnTo>
                <a:lnTo>
                  <a:pt x="84" y="282"/>
                </a:lnTo>
                <a:lnTo>
                  <a:pt x="84" y="282"/>
                </a:lnTo>
                <a:lnTo>
                  <a:pt x="84" y="282"/>
                </a:lnTo>
                <a:lnTo>
                  <a:pt x="84" y="282"/>
                </a:lnTo>
                <a:lnTo>
                  <a:pt x="84" y="282"/>
                </a:lnTo>
                <a:lnTo>
                  <a:pt x="84" y="282"/>
                </a:lnTo>
                <a:lnTo>
                  <a:pt x="84" y="282"/>
                </a:lnTo>
                <a:lnTo>
                  <a:pt x="84" y="282"/>
                </a:lnTo>
                <a:lnTo>
                  <a:pt x="78" y="282"/>
                </a:lnTo>
                <a:lnTo>
                  <a:pt x="78" y="282"/>
                </a:lnTo>
                <a:lnTo>
                  <a:pt x="78" y="282"/>
                </a:lnTo>
                <a:lnTo>
                  <a:pt x="78" y="282"/>
                </a:lnTo>
                <a:lnTo>
                  <a:pt x="78" y="282"/>
                </a:lnTo>
                <a:lnTo>
                  <a:pt x="78" y="282"/>
                </a:lnTo>
                <a:lnTo>
                  <a:pt x="78" y="282"/>
                </a:lnTo>
                <a:lnTo>
                  <a:pt x="72" y="282"/>
                </a:lnTo>
                <a:lnTo>
                  <a:pt x="72" y="282"/>
                </a:lnTo>
                <a:lnTo>
                  <a:pt x="72" y="282"/>
                </a:lnTo>
                <a:lnTo>
                  <a:pt x="72" y="282"/>
                </a:lnTo>
                <a:lnTo>
                  <a:pt x="72" y="282"/>
                </a:lnTo>
                <a:lnTo>
                  <a:pt x="72" y="282"/>
                </a:lnTo>
                <a:lnTo>
                  <a:pt x="72" y="282"/>
                </a:lnTo>
                <a:lnTo>
                  <a:pt x="66" y="282"/>
                </a:lnTo>
                <a:lnTo>
                  <a:pt x="66" y="282"/>
                </a:lnTo>
                <a:lnTo>
                  <a:pt x="66" y="282"/>
                </a:lnTo>
                <a:lnTo>
                  <a:pt x="66" y="282"/>
                </a:lnTo>
                <a:lnTo>
                  <a:pt x="66" y="282"/>
                </a:lnTo>
                <a:lnTo>
                  <a:pt x="66" y="282"/>
                </a:lnTo>
                <a:lnTo>
                  <a:pt x="66" y="282"/>
                </a:lnTo>
                <a:lnTo>
                  <a:pt x="60" y="276"/>
                </a:lnTo>
                <a:lnTo>
                  <a:pt x="60" y="276"/>
                </a:lnTo>
                <a:lnTo>
                  <a:pt x="60" y="276"/>
                </a:lnTo>
                <a:lnTo>
                  <a:pt x="60" y="276"/>
                </a:lnTo>
                <a:lnTo>
                  <a:pt x="60" y="276"/>
                </a:lnTo>
                <a:lnTo>
                  <a:pt x="60" y="276"/>
                </a:lnTo>
                <a:lnTo>
                  <a:pt x="60" y="276"/>
                </a:lnTo>
                <a:lnTo>
                  <a:pt x="60" y="276"/>
                </a:lnTo>
                <a:lnTo>
                  <a:pt x="60" y="270"/>
                </a:lnTo>
                <a:lnTo>
                  <a:pt x="60" y="276"/>
                </a:lnTo>
                <a:lnTo>
                  <a:pt x="60" y="276"/>
                </a:lnTo>
                <a:lnTo>
                  <a:pt x="54" y="276"/>
                </a:lnTo>
                <a:lnTo>
                  <a:pt x="54" y="270"/>
                </a:lnTo>
                <a:lnTo>
                  <a:pt x="54" y="270"/>
                </a:lnTo>
                <a:lnTo>
                  <a:pt x="54" y="270"/>
                </a:lnTo>
                <a:lnTo>
                  <a:pt x="54" y="276"/>
                </a:lnTo>
                <a:lnTo>
                  <a:pt x="54" y="276"/>
                </a:lnTo>
                <a:lnTo>
                  <a:pt x="48" y="276"/>
                </a:lnTo>
                <a:lnTo>
                  <a:pt x="48" y="276"/>
                </a:lnTo>
                <a:lnTo>
                  <a:pt x="48" y="276"/>
                </a:lnTo>
                <a:lnTo>
                  <a:pt x="48" y="276"/>
                </a:lnTo>
                <a:lnTo>
                  <a:pt x="36" y="270"/>
                </a:lnTo>
                <a:lnTo>
                  <a:pt x="36" y="270"/>
                </a:lnTo>
                <a:lnTo>
                  <a:pt x="42" y="264"/>
                </a:lnTo>
                <a:lnTo>
                  <a:pt x="42" y="264"/>
                </a:lnTo>
                <a:lnTo>
                  <a:pt x="36" y="264"/>
                </a:lnTo>
                <a:lnTo>
                  <a:pt x="36" y="264"/>
                </a:lnTo>
                <a:lnTo>
                  <a:pt x="36" y="264"/>
                </a:lnTo>
                <a:lnTo>
                  <a:pt x="36" y="264"/>
                </a:lnTo>
                <a:lnTo>
                  <a:pt x="36" y="264"/>
                </a:lnTo>
                <a:lnTo>
                  <a:pt x="36" y="264"/>
                </a:lnTo>
                <a:lnTo>
                  <a:pt x="36" y="264"/>
                </a:lnTo>
                <a:lnTo>
                  <a:pt x="36" y="264"/>
                </a:lnTo>
                <a:lnTo>
                  <a:pt x="36" y="264"/>
                </a:lnTo>
                <a:lnTo>
                  <a:pt x="36" y="258"/>
                </a:lnTo>
                <a:lnTo>
                  <a:pt x="36" y="258"/>
                </a:lnTo>
                <a:lnTo>
                  <a:pt x="30" y="258"/>
                </a:lnTo>
                <a:lnTo>
                  <a:pt x="30" y="264"/>
                </a:lnTo>
                <a:lnTo>
                  <a:pt x="30" y="264"/>
                </a:lnTo>
                <a:lnTo>
                  <a:pt x="30" y="264"/>
                </a:lnTo>
                <a:lnTo>
                  <a:pt x="30" y="264"/>
                </a:lnTo>
                <a:lnTo>
                  <a:pt x="24" y="264"/>
                </a:lnTo>
                <a:lnTo>
                  <a:pt x="24" y="264"/>
                </a:lnTo>
                <a:lnTo>
                  <a:pt x="24" y="264"/>
                </a:lnTo>
                <a:lnTo>
                  <a:pt x="24" y="264"/>
                </a:lnTo>
                <a:lnTo>
                  <a:pt x="24" y="270"/>
                </a:lnTo>
                <a:lnTo>
                  <a:pt x="24" y="270"/>
                </a:lnTo>
                <a:lnTo>
                  <a:pt x="24" y="264"/>
                </a:lnTo>
                <a:lnTo>
                  <a:pt x="24" y="264"/>
                </a:lnTo>
                <a:lnTo>
                  <a:pt x="24" y="264"/>
                </a:lnTo>
                <a:lnTo>
                  <a:pt x="18" y="264"/>
                </a:lnTo>
                <a:lnTo>
                  <a:pt x="18" y="264"/>
                </a:lnTo>
                <a:lnTo>
                  <a:pt x="18" y="264"/>
                </a:lnTo>
                <a:lnTo>
                  <a:pt x="18" y="264"/>
                </a:lnTo>
                <a:lnTo>
                  <a:pt x="12" y="258"/>
                </a:lnTo>
                <a:lnTo>
                  <a:pt x="12" y="258"/>
                </a:lnTo>
                <a:lnTo>
                  <a:pt x="12" y="258"/>
                </a:lnTo>
                <a:lnTo>
                  <a:pt x="12" y="258"/>
                </a:lnTo>
                <a:lnTo>
                  <a:pt x="12" y="258"/>
                </a:lnTo>
                <a:lnTo>
                  <a:pt x="12" y="258"/>
                </a:lnTo>
                <a:lnTo>
                  <a:pt x="12" y="258"/>
                </a:lnTo>
                <a:lnTo>
                  <a:pt x="6" y="258"/>
                </a:lnTo>
                <a:lnTo>
                  <a:pt x="6" y="258"/>
                </a:lnTo>
                <a:lnTo>
                  <a:pt x="6" y="258"/>
                </a:lnTo>
                <a:lnTo>
                  <a:pt x="6" y="252"/>
                </a:lnTo>
                <a:lnTo>
                  <a:pt x="6" y="252"/>
                </a:lnTo>
                <a:lnTo>
                  <a:pt x="6" y="252"/>
                </a:lnTo>
                <a:lnTo>
                  <a:pt x="0" y="246"/>
                </a:lnTo>
                <a:lnTo>
                  <a:pt x="0" y="24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286" name="Freeform 19"/>
          <p:cNvSpPr>
            <a:spLocks/>
          </p:cNvSpPr>
          <p:nvPr/>
        </p:nvSpPr>
        <p:spPr bwMode="auto">
          <a:xfrm>
            <a:off x="5021000" y="2837337"/>
            <a:ext cx="250538" cy="173451"/>
          </a:xfrm>
          <a:custGeom>
            <a:avLst/>
            <a:gdLst>
              <a:gd name="T0" fmla="*/ 12 w 234"/>
              <a:gd name="T1" fmla="*/ 90 h 162"/>
              <a:gd name="T2" fmla="*/ 30 w 234"/>
              <a:gd name="T3" fmla="*/ 66 h 162"/>
              <a:gd name="T4" fmla="*/ 36 w 234"/>
              <a:gd name="T5" fmla="*/ 54 h 162"/>
              <a:gd name="T6" fmla="*/ 54 w 234"/>
              <a:gd name="T7" fmla="*/ 42 h 162"/>
              <a:gd name="T8" fmla="*/ 78 w 234"/>
              <a:gd name="T9" fmla="*/ 30 h 162"/>
              <a:gd name="T10" fmla="*/ 78 w 234"/>
              <a:gd name="T11" fmla="*/ 12 h 162"/>
              <a:gd name="T12" fmla="*/ 78 w 234"/>
              <a:gd name="T13" fmla="*/ 6 h 162"/>
              <a:gd name="T14" fmla="*/ 96 w 234"/>
              <a:gd name="T15" fmla="*/ 6 h 162"/>
              <a:gd name="T16" fmla="*/ 102 w 234"/>
              <a:gd name="T17" fmla="*/ 24 h 162"/>
              <a:gd name="T18" fmla="*/ 102 w 234"/>
              <a:gd name="T19" fmla="*/ 30 h 162"/>
              <a:gd name="T20" fmla="*/ 108 w 234"/>
              <a:gd name="T21" fmla="*/ 36 h 162"/>
              <a:gd name="T22" fmla="*/ 120 w 234"/>
              <a:gd name="T23" fmla="*/ 42 h 162"/>
              <a:gd name="T24" fmla="*/ 132 w 234"/>
              <a:gd name="T25" fmla="*/ 36 h 162"/>
              <a:gd name="T26" fmla="*/ 144 w 234"/>
              <a:gd name="T27" fmla="*/ 42 h 162"/>
              <a:gd name="T28" fmla="*/ 150 w 234"/>
              <a:gd name="T29" fmla="*/ 42 h 162"/>
              <a:gd name="T30" fmla="*/ 150 w 234"/>
              <a:gd name="T31" fmla="*/ 60 h 162"/>
              <a:gd name="T32" fmla="*/ 156 w 234"/>
              <a:gd name="T33" fmla="*/ 54 h 162"/>
              <a:gd name="T34" fmla="*/ 168 w 234"/>
              <a:gd name="T35" fmla="*/ 48 h 162"/>
              <a:gd name="T36" fmla="*/ 180 w 234"/>
              <a:gd name="T37" fmla="*/ 48 h 162"/>
              <a:gd name="T38" fmla="*/ 192 w 234"/>
              <a:gd name="T39" fmla="*/ 60 h 162"/>
              <a:gd name="T40" fmla="*/ 198 w 234"/>
              <a:gd name="T41" fmla="*/ 72 h 162"/>
              <a:gd name="T42" fmla="*/ 210 w 234"/>
              <a:gd name="T43" fmla="*/ 66 h 162"/>
              <a:gd name="T44" fmla="*/ 222 w 234"/>
              <a:gd name="T45" fmla="*/ 72 h 162"/>
              <a:gd name="T46" fmla="*/ 222 w 234"/>
              <a:gd name="T47" fmla="*/ 84 h 162"/>
              <a:gd name="T48" fmla="*/ 228 w 234"/>
              <a:gd name="T49" fmla="*/ 84 h 162"/>
              <a:gd name="T50" fmla="*/ 228 w 234"/>
              <a:gd name="T51" fmla="*/ 96 h 162"/>
              <a:gd name="T52" fmla="*/ 234 w 234"/>
              <a:gd name="T53" fmla="*/ 108 h 162"/>
              <a:gd name="T54" fmla="*/ 228 w 234"/>
              <a:gd name="T55" fmla="*/ 114 h 162"/>
              <a:gd name="T56" fmla="*/ 228 w 234"/>
              <a:gd name="T57" fmla="*/ 120 h 162"/>
              <a:gd name="T58" fmla="*/ 228 w 234"/>
              <a:gd name="T59" fmla="*/ 132 h 162"/>
              <a:gd name="T60" fmla="*/ 216 w 234"/>
              <a:gd name="T61" fmla="*/ 138 h 162"/>
              <a:gd name="T62" fmla="*/ 204 w 234"/>
              <a:gd name="T63" fmla="*/ 144 h 162"/>
              <a:gd name="T64" fmla="*/ 192 w 234"/>
              <a:gd name="T65" fmla="*/ 150 h 162"/>
              <a:gd name="T66" fmla="*/ 192 w 234"/>
              <a:gd name="T67" fmla="*/ 150 h 162"/>
              <a:gd name="T68" fmla="*/ 186 w 234"/>
              <a:gd name="T69" fmla="*/ 156 h 162"/>
              <a:gd name="T70" fmla="*/ 186 w 234"/>
              <a:gd name="T71" fmla="*/ 162 h 162"/>
              <a:gd name="T72" fmla="*/ 174 w 234"/>
              <a:gd name="T73" fmla="*/ 156 h 162"/>
              <a:gd name="T74" fmla="*/ 156 w 234"/>
              <a:gd name="T75" fmla="*/ 144 h 162"/>
              <a:gd name="T76" fmla="*/ 150 w 234"/>
              <a:gd name="T77" fmla="*/ 144 h 162"/>
              <a:gd name="T78" fmla="*/ 144 w 234"/>
              <a:gd name="T79" fmla="*/ 138 h 162"/>
              <a:gd name="T80" fmla="*/ 138 w 234"/>
              <a:gd name="T81" fmla="*/ 138 h 162"/>
              <a:gd name="T82" fmla="*/ 132 w 234"/>
              <a:gd name="T83" fmla="*/ 138 h 162"/>
              <a:gd name="T84" fmla="*/ 126 w 234"/>
              <a:gd name="T85" fmla="*/ 138 h 162"/>
              <a:gd name="T86" fmla="*/ 120 w 234"/>
              <a:gd name="T87" fmla="*/ 138 h 162"/>
              <a:gd name="T88" fmla="*/ 114 w 234"/>
              <a:gd name="T89" fmla="*/ 138 h 162"/>
              <a:gd name="T90" fmla="*/ 108 w 234"/>
              <a:gd name="T91" fmla="*/ 138 h 162"/>
              <a:gd name="T92" fmla="*/ 90 w 234"/>
              <a:gd name="T93" fmla="*/ 144 h 162"/>
              <a:gd name="T94" fmla="*/ 72 w 234"/>
              <a:gd name="T95" fmla="*/ 138 h 162"/>
              <a:gd name="T96" fmla="*/ 66 w 234"/>
              <a:gd name="T97" fmla="*/ 138 h 162"/>
              <a:gd name="T98" fmla="*/ 60 w 234"/>
              <a:gd name="T99" fmla="*/ 138 h 162"/>
              <a:gd name="T100" fmla="*/ 54 w 234"/>
              <a:gd name="T101" fmla="*/ 138 h 162"/>
              <a:gd name="T102" fmla="*/ 48 w 234"/>
              <a:gd name="T103" fmla="*/ 138 h 162"/>
              <a:gd name="T104" fmla="*/ 36 w 234"/>
              <a:gd name="T105" fmla="*/ 144 h 162"/>
              <a:gd name="T106" fmla="*/ 30 w 234"/>
              <a:gd name="T107" fmla="*/ 138 h 162"/>
              <a:gd name="T108" fmla="*/ 24 w 234"/>
              <a:gd name="T109" fmla="*/ 126 h 162"/>
              <a:gd name="T110" fmla="*/ 18 w 234"/>
              <a:gd name="T111" fmla="*/ 120 h 162"/>
              <a:gd name="T112" fmla="*/ 12 w 234"/>
              <a:gd name="T113" fmla="*/ 114 h 162"/>
              <a:gd name="T114" fmla="*/ 6 w 234"/>
              <a:gd name="T115" fmla="*/ 108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34" h="162">
                <a:moveTo>
                  <a:pt x="0" y="96"/>
                </a:moveTo>
                <a:lnTo>
                  <a:pt x="0" y="96"/>
                </a:lnTo>
                <a:lnTo>
                  <a:pt x="6" y="96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84"/>
                </a:lnTo>
                <a:lnTo>
                  <a:pt x="12" y="84"/>
                </a:lnTo>
                <a:lnTo>
                  <a:pt x="18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54"/>
                </a:lnTo>
                <a:lnTo>
                  <a:pt x="30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42" y="48"/>
                </a:lnTo>
                <a:lnTo>
                  <a:pt x="42" y="48"/>
                </a:lnTo>
                <a:lnTo>
                  <a:pt x="48" y="48"/>
                </a:lnTo>
                <a:lnTo>
                  <a:pt x="48" y="48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60" y="42"/>
                </a:lnTo>
                <a:lnTo>
                  <a:pt x="60" y="42"/>
                </a:lnTo>
                <a:lnTo>
                  <a:pt x="60" y="36"/>
                </a:lnTo>
                <a:lnTo>
                  <a:pt x="66" y="36"/>
                </a:lnTo>
                <a:lnTo>
                  <a:pt x="66" y="36"/>
                </a:lnTo>
                <a:lnTo>
                  <a:pt x="72" y="36"/>
                </a:lnTo>
                <a:lnTo>
                  <a:pt x="72" y="30"/>
                </a:lnTo>
                <a:lnTo>
                  <a:pt x="72" y="30"/>
                </a:lnTo>
                <a:lnTo>
                  <a:pt x="78" y="30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0"/>
                </a:lnTo>
                <a:lnTo>
                  <a:pt x="72" y="0"/>
                </a:lnTo>
                <a:lnTo>
                  <a:pt x="78" y="6"/>
                </a:lnTo>
                <a:lnTo>
                  <a:pt x="78" y="0"/>
                </a:lnTo>
                <a:lnTo>
                  <a:pt x="84" y="0"/>
                </a:lnTo>
                <a:lnTo>
                  <a:pt x="84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6"/>
                </a:lnTo>
                <a:lnTo>
                  <a:pt x="102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8"/>
                </a:lnTo>
                <a:lnTo>
                  <a:pt x="126" y="42"/>
                </a:lnTo>
                <a:lnTo>
                  <a:pt x="126" y="42"/>
                </a:lnTo>
                <a:lnTo>
                  <a:pt x="126" y="36"/>
                </a:lnTo>
                <a:lnTo>
                  <a:pt x="126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42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54"/>
                </a:lnTo>
                <a:lnTo>
                  <a:pt x="150" y="54"/>
                </a:lnTo>
                <a:lnTo>
                  <a:pt x="150" y="54"/>
                </a:lnTo>
                <a:lnTo>
                  <a:pt x="150" y="60"/>
                </a:lnTo>
                <a:lnTo>
                  <a:pt x="150" y="60"/>
                </a:lnTo>
                <a:lnTo>
                  <a:pt x="150" y="60"/>
                </a:lnTo>
                <a:lnTo>
                  <a:pt x="150" y="60"/>
                </a:lnTo>
                <a:lnTo>
                  <a:pt x="150" y="66"/>
                </a:lnTo>
                <a:lnTo>
                  <a:pt x="150" y="66"/>
                </a:lnTo>
                <a:lnTo>
                  <a:pt x="150" y="66"/>
                </a:lnTo>
                <a:lnTo>
                  <a:pt x="156" y="60"/>
                </a:lnTo>
                <a:lnTo>
                  <a:pt x="156" y="60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62" y="54"/>
                </a:lnTo>
                <a:lnTo>
                  <a:pt x="162" y="54"/>
                </a:lnTo>
                <a:lnTo>
                  <a:pt x="162" y="54"/>
                </a:lnTo>
                <a:lnTo>
                  <a:pt x="162" y="48"/>
                </a:lnTo>
                <a:lnTo>
                  <a:pt x="168" y="48"/>
                </a:lnTo>
                <a:lnTo>
                  <a:pt x="168" y="48"/>
                </a:lnTo>
                <a:lnTo>
                  <a:pt x="168" y="48"/>
                </a:lnTo>
                <a:lnTo>
                  <a:pt x="168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54"/>
                </a:lnTo>
                <a:lnTo>
                  <a:pt x="174" y="54"/>
                </a:lnTo>
                <a:lnTo>
                  <a:pt x="174" y="54"/>
                </a:lnTo>
                <a:lnTo>
                  <a:pt x="174" y="54"/>
                </a:lnTo>
                <a:lnTo>
                  <a:pt x="180" y="48"/>
                </a:lnTo>
                <a:lnTo>
                  <a:pt x="180" y="48"/>
                </a:lnTo>
                <a:lnTo>
                  <a:pt x="180" y="48"/>
                </a:lnTo>
                <a:lnTo>
                  <a:pt x="180" y="48"/>
                </a:lnTo>
                <a:lnTo>
                  <a:pt x="186" y="48"/>
                </a:lnTo>
                <a:lnTo>
                  <a:pt x="186" y="48"/>
                </a:lnTo>
                <a:lnTo>
                  <a:pt x="186" y="48"/>
                </a:lnTo>
                <a:lnTo>
                  <a:pt x="192" y="54"/>
                </a:lnTo>
                <a:lnTo>
                  <a:pt x="192" y="54"/>
                </a:lnTo>
                <a:lnTo>
                  <a:pt x="192" y="54"/>
                </a:lnTo>
                <a:lnTo>
                  <a:pt x="192" y="54"/>
                </a:lnTo>
                <a:lnTo>
                  <a:pt x="192" y="60"/>
                </a:lnTo>
                <a:lnTo>
                  <a:pt x="192" y="66"/>
                </a:lnTo>
                <a:lnTo>
                  <a:pt x="192" y="66"/>
                </a:lnTo>
                <a:lnTo>
                  <a:pt x="192" y="66"/>
                </a:lnTo>
                <a:lnTo>
                  <a:pt x="192" y="72"/>
                </a:lnTo>
                <a:lnTo>
                  <a:pt x="192" y="72"/>
                </a:lnTo>
                <a:lnTo>
                  <a:pt x="198" y="66"/>
                </a:lnTo>
                <a:lnTo>
                  <a:pt x="198" y="72"/>
                </a:lnTo>
                <a:lnTo>
                  <a:pt x="198" y="72"/>
                </a:lnTo>
                <a:lnTo>
                  <a:pt x="198" y="72"/>
                </a:lnTo>
                <a:lnTo>
                  <a:pt x="198" y="72"/>
                </a:lnTo>
                <a:lnTo>
                  <a:pt x="198" y="66"/>
                </a:lnTo>
                <a:lnTo>
                  <a:pt x="204" y="66"/>
                </a:lnTo>
                <a:lnTo>
                  <a:pt x="204" y="72"/>
                </a:lnTo>
                <a:lnTo>
                  <a:pt x="204" y="66"/>
                </a:lnTo>
                <a:lnTo>
                  <a:pt x="204" y="66"/>
                </a:lnTo>
                <a:lnTo>
                  <a:pt x="210" y="66"/>
                </a:lnTo>
                <a:lnTo>
                  <a:pt x="210" y="66"/>
                </a:lnTo>
                <a:lnTo>
                  <a:pt x="210" y="66"/>
                </a:lnTo>
                <a:lnTo>
                  <a:pt x="210" y="66"/>
                </a:lnTo>
                <a:lnTo>
                  <a:pt x="210" y="72"/>
                </a:lnTo>
                <a:lnTo>
                  <a:pt x="216" y="72"/>
                </a:lnTo>
                <a:lnTo>
                  <a:pt x="216" y="72"/>
                </a:lnTo>
                <a:lnTo>
                  <a:pt x="216" y="72"/>
                </a:lnTo>
                <a:lnTo>
                  <a:pt x="216" y="72"/>
                </a:lnTo>
                <a:lnTo>
                  <a:pt x="216" y="72"/>
                </a:lnTo>
                <a:lnTo>
                  <a:pt x="222" y="72"/>
                </a:lnTo>
                <a:lnTo>
                  <a:pt x="222" y="72"/>
                </a:lnTo>
                <a:lnTo>
                  <a:pt x="222" y="78"/>
                </a:lnTo>
                <a:lnTo>
                  <a:pt x="222" y="78"/>
                </a:lnTo>
                <a:lnTo>
                  <a:pt x="222" y="78"/>
                </a:lnTo>
                <a:lnTo>
                  <a:pt x="222" y="78"/>
                </a:lnTo>
                <a:lnTo>
                  <a:pt x="222" y="78"/>
                </a:lnTo>
                <a:lnTo>
                  <a:pt x="222" y="78"/>
                </a:lnTo>
                <a:lnTo>
                  <a:pt x="222" y="78"/>
                </a:lnTo>
                <a:lnTo>
                  <a:pt x="222" y="84"/>
                </a:lnTo>
                <a:lnTo>
                  <a:pt x="222" y="84"/>
                </a:lnTo>
                <a:lnTo>
                  <a:pt x="228" y="84"/>
                </a:lnTo>
                <a:lnTo>
                  <a:pt x="228" y="84"/>
                </a:lnTo>
                <a:lnTo>
                  <a:pt x="228" y="84"/>
                </a:lnTo>
                <a:lnTo>
                  <a:pt x="228" y="84"/>
                </a:lnTo>
                <a:lnTo>
                  <a:pt x="228" y="84"/>
                </a:lnTo>
                <a:lnTo>
                  <a:pt x="228" y="84"/>
                </a:lnTo>
                <a:lnTo>
                  <a:pt x="228" y="84"/>
                </a:lnTo>
                <a:lnTo>
                  <a:pt x="228" y="90"/>
                </a:lnTo>
                <a:lnTo>
                  <a:pt x="228" y="84"/>
                </a:lnTo>
                <a:lnTo>
                  <a:pt x="234" y="90"/>
                </a:lnTo>
                <a:lnTo>
                  <a:pt x="234" y="90"/>
                </a:lnTo>
                <a:lnTo>
                  <a:pt x="234" y="90"/>
                </a:lnTo>
                <a:lnTo>
                  <a:pt x="234" y="90"/>
                </a:lnTo>
                <a:lnTo>
                  <a:pt x="228" y="96"/>
                </a:lnTo>
                <a:lnTo>
                  <a:pt x="228" y="96"/>
                </a:lnTo>
                <a:lnTo>
                  <a:pt x="228" y="96"/>
                </a:lnTo>
                <a:lnTo>
                  <a:pt x="228" y="96"/>
                </a:lnTo>
                <a:lnTo>
                  <a:pt x="228" y="96"/>
                </a:lnTo>
                <a:lnTo>
                  <a:pt x="228" y="102"/>
                </a:lnTo>
                <a:lnTo>
                  <a:pt x="228" y="102"/>
                </a:lnTo>
                <a:lnTo>
                  <a:pt x="234" y="102"/>
                </a:lnTo>
                <a:lnTo>
                  <a:pt x="234" y="102"/>
                </a:lnTo>
                <a:lnTo>
                  <a:pt x="234" y="102"/>
                </a:lnTo>
                <a:lnTo>
                  <a:pt x="234" y="102"/>
                </a:lnTo>
                <a:lnTo>
                  <a:pt x="234" y="108"/>
                </a:lnTo>
                <a:lnTo>
                  <a:pt x="234" y="108"/>
                </a:lnTo>
                <a:lnTo>
                  <a:pt x="234" y="108"/>
                </a:lnTo>
                <a:lnTo>
                  <a:pt x="234" y="108"/>
                </a:lnTo>
                <a:lnTo>
                  <a:pt x="234" y="108"/>
                </a:lnTo>
                <a:lnTo>
                  <a:pt x="234" y="108"/>
                </a:lnTo>
                <a:lnTo>
                  <a:pt x="234" y="108"/>
                </a:lnTo>
                <a:lnTo>
                  <a:pt x="228" y="108"/>
                </a:lnTo>
                <a:lnTo>
                  <a:pt x="228" y="114"/>
                </a:lnTo>
                <a:lnTo>
                  <a:pt x="228" y="114"/>
                </a:lnTo>
                <a:lnTo>
                  <a:pt x="228" y="114"/>
                </a:lnTo>
                <a:lnTo>
                  <a:pt x="228" y="114"/>
                </a:lnTo>
                <a:lnTo>
                  <a:pt x="228" y="114"/>
                </a:lnTo>
                <a:lnTo>
                  <a:pt x="228" y="114"/>
                </a:lnTo>
                <a:lnTo>
                  <a:pt x="228" y="114"/>
                </a:lnTo>
                <a:lnTo>
                  <a:pt x="228" y="114"/>
                </a:lnTo>
                <a:lnTo>
                  <a:pt x="228" y="114"/>
                </a:lnTo>
                <a:lnTo>
                  <a:pt x="228" y="114"/>
                </a:lnTo>
                <a:lnTo>
                  <a:pt x="228" y="120"/>
                </a:lnTo>
                <a:lnTo>
                  <a:pt x="228" y="120"/>
                </a:lnTo>
                <a:lnTo>
                  <a:pt x="228" y="120"/>
                </a:lnTo>
                <a:lnTo>
                  <a:pt x="228" y="120"/>
                </a:lnTo>
                <a:lnTo>
                  <a:pt x="228" y="120"/>
                </a:lnTo>
                <a:lnTo>
                  <a:pt x="228" y="120"/>
                </a:lnTo>
                <a:lnTo>
                  <a:pt x="228" y="126"/>
                </a:lnTo>
                <a:lnTo>
                  <a:pt x="228" y="126"/>
                </a:lnTo>
                <a:lnTo>
                  <a:pt x="228" y="126"/>
                </a:lnTo>
                <a:lnTo>
                  <a:pt x="228" y="126"/>
                </a:lnTo>
                <a:lnTo>
                  <a:pt x="228" y="132"/>
                </a:lnTo>
                <a:lnTo>
                  <a:pt x="228" y="132"/>
                </a:lnTo>
                <a:lnTo>
                  <a:pt x="228" y="132"/>
                </a:lnTo>
                <a:lnTo>
                  <a:pt x="222" y="132"/>
                </a:lnTo>
                <a:lnTo>
                  <a:pt x="222" y="132"/>
                </a:lnTo>
                <a:lnTo>
                  <a:pt x="222" y="132"/>
                </a:lnTo>
                <a:lnTo>
                  <a:pt x="222" y="138"/>
                </a:lnTo>
                <a:lnTo>
                  <a:pt x="222" y="138"/>
                </a:lnTo>
                <a:lnTo>
                  <a:pt x="216" y="138"/>
                </a:lnTo>
                <a:lnTo>
                  <a:pt x="216" y="138"/>
                </a:lnTo>
                <a:lnTo>
                  <a:pt x="216" y="138"/>
                </a:lnTo>
                <a:lnTo>
                  <a:pt x="216" y="138"/>
                </a:lnTo>
                <a:lnTo>
                  <a:pt x="216" y="138"/>
                </a:lnTo>
                <a:lnTo>
                  <a:pt x="210" y="138"/>
                </a:lnTo>
                <a:lnTo>
                  <a:pt x="210" y="138"/>
                </a:lnTo>
                <a:lnTo>
                  <a:pt x="210" y="144"/>
                </a:lnTo>
                <a:lnTo>
                  <a:pt x="204" y="144"/>
                </a:lnTo>
                <a:lnTo>
                  <a:pt x="204" y="144"/>
                </a:lnTo>
                <a:lnTo>
                  <a:pt x="204" y="144"/>
                </a:lnTo>
                <a:lnTo>
                  <a:pt x="204" y="144"/>
                </a:lnTo>
                <a:lnTo>
                  <a:pt x="204" y="144"/>
                </a:lnTo>
                <a:lnTo>
                  <a:pt x="198" y="144"/>
                </a:lnTo>
                <a:lnTo>
                  <a:pt x="198" y="144"/>
                </a:lnTo>
                <a:lnTo>
                  <a:pt x="198" y="150"/>
                </a:lnTo>
                <a:lnTo>
                  <a:pt x="198" y="144"/>
                </a:lnTo>
                <a:lnTo>
                  <a:pt x="192" y="144"/>
                </a:lnTo>
                <a:lnTo>
                  <a:pt x="192" y="150"/>
                </a:lnTo>
                <a:lnTo>
                  <a:pt x="192" y="150"/>
                </a:lnTo>
                <a:lnTo>
                  <a:pt x="192" y="150"/>
                </a:lnTo>
                <a:lnTo>
                  <a:pt x="192" y="150"/>
                </a:lnTo>
                <a:lnTo>
                  <a:pt x="192" y="150"/>
                </a:lnTo>
                <a:lnTo>
                  <a:pt x="192" y="150"/>
                </a:lnTo>
                <a:lnTo>
                  <a:pt x="192" y="150"/>
                </a:lnTo>
                <a:lnTo>
                  <a:pt x="192" y="150"/>
                </a:lnTo>
                <a:lnTo>
                  <a:pt x="192" y="150"/>
                </a:lnTo>
                <a:lnTo>
                  <a:pt x="192" y="150"/>
                </a:lnTo>
                <a:lnTo>
                  <a:pt x="192" y="150"/>
                </a:lnTo>
                <a:lnTo>
                  <a:pt x="192" y="150"/>
                </a:lnTo>
                <a:lnTo>
                  <a:pt x="192" y="150"/>
                </a:lnTo>
                <a:lnTo>
                  <a:pt x="186" y="156"/>
                </a:lnTo>
                <a:lnTo>
                  <a:pt x="186" y="156"/>
                </a:lnTo>
                <a:lnTo>
                  <a:pt x="186" y="156"/>
                </a:lnTo>
                <a:lnTo>
                  <a:pt x="186" y="156"/>
                </a:lnTo>
                <a:lnTo>
                  <a:pt x="186" y="156"/>
                </a:lnTo>
                <a:lnTo>
                  <a:pt x="186" y="156"/>
                </a:lnTo>
                <a:lnTo>
                  <a:pt x="186" y="156"/>
                </a:lnTo>
                <a:lnTo>
                  <a:pt x="186" y="156"/>
                </a:lnTo>
                <a:lnTo>
                  <a:pt x="186" y="156"/>
                </a:lnTo>
                <a:lnTo>
                  <a:pt x="186" y="162"/>
                </a:lnTo>
                <a:lnTo>
                  <a:pt x="186" y="162"/>
                </a:lnTo>
                <a:lnTo>
                  <a:pt x="186" y="162"/>
                </a:lnTo>
                <a:lnTo>
                  <a:pt x="186" y="162"/>
                </a:lnTo>
                <a:lnTo>
                  <a:pt x="186" y="162"/>
                </a:lnTo>
                <a:lnTo>
                  <a:pt x="186" y="162"/>
                </a:lnTo>
                <a:lnTo>
                  <a:pt x="186" y="162"/>
                </a:lnTo>
                <a:lnTo>
                  <a:pt x="186" y="162"/>
                </a:lnTo>
                <a:lnTo>
                  <a:pt x="186" y="162"/>
                </a:lnTo>
                <a:lnTo>
                  <a:pt x="186" y="162"/>
                </a:lnTo>
                <a:lnTo>
                  <a:pt x="186" y="162"/>
                </a:lnTo>
                <a:lnTo>
                  <a:pt x="180" y="162"/>
                </a:lnTo>
                <a:lnTo>
                  <a:pt x="180" y="162"/>
                </a:lnTo>
                <a:lnTo>
                  <a:pt x="174" y="162"/>
                </a:lnTo>
                <a:lnTo>
                  <a:pt x="174" y="162"/>
                </a:lnTo>
                <a:lnTo>
                  <a:pt x="174" y="156"/>
                </a:lnTo>
                <a:lnTo>
                  <a:pt x="174" y="156"/>
                </a:lnTo>
                <a:lnTo>
                  <a:pt x="174" y="156"/>
                </a:lnTo>
                <a:lnTo>
                  <a:pt x="168" y="156"/>
                </a:lnTo>
                <a:lnTo>
                  <a:pt x="168" y="156"/>
                </a:lnTo>
                <a:lnTo>
                  <a:pt x="168" y="156"/>
                </a:lnTo>
                <a:lnTo>
                  <a:pt x="168" y="156"/>
                </a:lnTo>
                <a:lnTo>
                  <a:pt x="162" y="150"/>
                </a:lnTo>
                <a:lnTo>
                  <a:pt x="162" y="150"/>
                </a:lnTo>
                <a:lnTo>
                  <a:pt x="156" y="150"/>
                </a:lnTo>
                <a:lnTo>
                  <a:pt x="156" y="144"/>
                </a:lnTo>
                <a:lnTo>
                  <a:pt x="156" y="144"/>
                </a:lnTo>
                <a:lnTo>
                  <a:pt x="156" y="144"/>
                </a:lnTo>
                <a:lnTo>
                  <a:pt x="156" y="144"/>
                </a:lnTo>
                <a:lnTo>
                  <a:pt x="156" y="144"/>
                </a:lnTo>
                <a:lnTo>
                  <a:pt x="156" y="144"/>
                </a:lnTo>
                <a:lnTo>
                  <a:pt x="156" y="144"/>
                </a:lnTo>
                <a:lnTo>
                  <a:pt x="150" y="144"/>
                </a:lnTo>
                <a:lnTo>
                  <a:pt x="150" y="144"/>
                </a:lnTo>
                <a:lnTo>
                  <a:pt x="150" y="144"/>
                </a:lnTo>
                <a:lnTo>
                  <a:pt x="150" y="144"/>
                </a:lnTo>
                <a:lnTo>
                  <a:pt x="150" y="144"/>
                </a:lnTo>
                <a:lnTo>
                  <a:pt x="150" y="144"/>
                </a:lnTo>
                <a:lnTo>
                  <a:pt x="144" y="144"/>
                </a:lnTo>
                <a:lnTo>
                  <a:pt x="144" y="144"/>
                </a:lnTo>
                <a:lnTo>
                  <a:pt x="144" y="138"/>
                </a:lnTo>
                <a:lnTo>
                  <a:pt x="144" y="144"/>
                </a:lnTo>
                <a:lnTo>
                  <a:pt x="144" y="144"/>
                </a:lnTo>
                <a:lnTo>
                  <a:pt x="144" y="138"/>
                </a:lnTo>
                <a:lnTo>
                  <a:pt x="144" y="138"/>
                </a:lnTo>
                <a:lnTo>
                  <a:pt x="144" y="138"/>
                </a:lnTo>
                <a:lnTo>
                  <a:pt x="150" y="138"/>
                </a:lnTo>
                <a:lnTo>
                  <a:pt x="150" y="138"/>
                </a:lnTo>
                <a:lnTo>
                  <a:pt x="144" y="138"/>
                </a:lnTo>
                <a:lnTo>
                  <a:pt x="144" y="138"/>
                </a:lnTo>
                <a:lnTo>
                  <a:pt x="144" y="138"/>
                </a:lnTo>
                <a:lnTo>
                  <a:pt x="138" y="138"/>
                </a:lnTo>
                <a:lnTo>
                  <a:pt x="138" y="138"/>
                </a:lnTo>
                <a:lnTo>
                  <a:pt x="138" y="138"/>
                </a:lnTo>
                <a:lnTo>
                  <a:pt x="144" y="138"/>
                </a:lnTo>
                <a:lnTo>
                  <a:pt x="144" y="138"/>
                </a:lnTo>
                <a:lnTo>
                  <a:pt x="144" y="138"/>
                </a:lnTo>
                <a:lnTo>
                  <a:pt x="138" y="138"/>
                </a:lnTo>
                <a:lnTo>
                  <a:pt x="138" y="138"/>
                </a:lnTo>
                <a:lnTo>
                  <a:pt x="138" y="138"/>
                </a:lnTo>
                <a:lnTo>
                  <a:pt x="138" y="138"/>
                </a:lnTo>
                <a:lnTo>
                  <a:pt x="132" y="138"/>
                </a:lnTo>
                <a:lnTo>
                  <a:pt x="132" y="138"/>
                </a:lnTo>
                <a:lnTo>
                  <a:pt x="132" y="138"/>
                </a:lnTo>
                <a:lnTo>
                  <a:pt x="132" y="138"/>
                </a:lnTo>
                <a:lnTo>
                  <a:pt x="132" y="144"/>
                </a:lnTo>
                <a:lnTo>
                  <a:pt x="132" y="144"/>
                </a:lnTo>
                <a:lnTo>
                  <a:pt x="132" y="138"/>
                </a:lnTo>
                <a:lnTo>
                  <a:pt x="126" y="144"/>
                </a:lnTo>
                <a:lnTo>
                  <a:pt x="126" y="138"/>
                </a:lnTo>
                <a:lnTo>
                  <a:pt x="126" y="138"/>
                </a:lnTo>
                <a:lnTo>
                  <a:pt x="126" y="138"/>
                </a:lnTo>
                <a:lnTo>
                  <a:pt x="126" y="144"/>
                </a:lnTo>
                <a:lnTo>
                  <a:pt x="126" y="144"/>
                </a:lnTo>
                <a:lnTo>
                  <a:pt x="126" y="144"/>
                </a:lnTo>
                <a:lnTo>
                  <a:pt x="126" y="138"/>
                </a:lnTo>
                <a:lnTo>
                  <a:pt x="126" y="138"/>
                </a:lnTo>
                <a:lnTo>
                  <a:pt x="120" y="138"/>
                </a:lnTo>
                <a:lnTo>
                  <a:pt x="126" y="138"/>
                </a:lnTo>
                <a:lnTo>
                  <a:pt x="120" y="138"/>
                </a:lnTo>
                <a:lnTo>
                  <a:pt x="120" y="138"/>
                </a:lnTo>
                <a:lnTo>
                  <a:pt x="120" y="144"/>
                </a:lnTo>
                <a:lnTo>
                  <a:pt x="120" y="144"/>
                </a:lnTo>
                <a:lnTo>
                  <a:pt x="120" y="138"/>
                </a:lnTo>
                <a:lnTo>
                  <a:pt x="120" y="144"/>
                </a:lnTo>
                <a:lnTo>
                  <a:pt x="114" y="138"/>
                </a:lnTo>
                <a:lnTo>
                  <a:pt x="114" y="138"/>
                </a:lnTo>
                <a:lnTo>
                  <a:pt x="114" y="138"/>
                </a:lnTo>
                <a:lnTo>
                  <a:pt x="114" y="138"/>
                </a:lnTo>
                <a:lnTo>
                  <a:pt x="114" y="138"/>
                </a:lnTo>
                <a:lnTo>
                  <a:pt x="114" y="138"/>
                </a:lnTo>
                <a:lnTo>
                  <a:pt x="108" y="138"/>
                </a:lnTo>
                <a:lnTo>
                  <a:pt x="108" y="138"/>
                </a:lnTo>
                <a:lnTo>
                  <a:pt x="108" y="138"/>
                </a:lnTo>
                <a:lnTo>
                  <a:pt x="108" y="138"/>
                </a:lnTo>
                <a:lnTo>
                  <a:pt x="108" y="132"/>
                </a:lnTo>
                <a:lnTo>
                  <a:pt x="108" y="138"/>
                </a:lnTo>
                <a:lnTo>
                  <a:pt x="108" y="138"/>
                </a:lnTo>
                <a:lnTo>
                  <a:pt x="108" y="138"/>
                </a:lnTo>
                <a:lnTo>
                  <a:pt x="102" y="138"/>
                </a:lnTo>
                <a:lnTo>
                  <a:pt x="102" y="138"/>
                </a:lnTo>
                <a:lnTo>
                  <a:pt x="102" y="138"/>
                </a:lnTo>
                <a:lnTo>
                  <a:pt x="96" y="138"/>
                </a:lnTo>
                <a:lnTo>
                  <a:pt x="96" y="144"/>
                </a:lnTo>
                <a:lnTo>
                  <a:pt x="96" y="144"/>
                </a:lnTo>
                <a:lnTo>
                  <a:pt x="96" y="144"/>
                </a:lnTo>
                <a:lnTo>
                  <a:pt x="90" y="144"/>
                </a:lnTo>
                <a:lnTo>
                  <a:pt x="90" y="144"/>
                </a:lnTo>
                <a:lnTo>
                  <a:pt x="84" y="144"/>
                </a:lnTo>
                <a:lnTo>
                  <a:pt x="84" y="144"/>
                </a:lnTo>
                <a:lnTo>
                  <a:pt x="78" y="144"/>
                </a:lnTo>
                <a:lnTo>
                  <a:pt x="78" y="144"/>
                </a:lnTo>
                <a:lnTo>
                  <a:pt x="78" y="144"/>
                </a:lnTo>
                <a:lnTo>
                  <a:pt x="78" y="144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66" y="138"/>
                </a:lnTo>
                <a:lnTo>
                  <a:pt x="66" y="138"/>
                </a:lnTo>
                <a:lnTo>
                  <a:pt x="66" y="138"/>
                </a:lnTo>
                <a:lnTo>
                  <a:pt x="66" y="138"/>
                </a:lnTo>
                <a:lnTo>
                  <a:pt x="66" y="138"/>
                </a:lnTo>
                <a:lnTo>
                  <a:pt x="66" y="138"/>
                </a:lnTo>
                <a:lnTo>
                  <a:pt x="66" y="138"/>
                </a:lnTo>
                <a:lnTo>
                  <a:pt x="66" y="138"/>
                </a:lnTo>
                <a:lnTo>
                  <a:pt x="60" y="138"/>
                </a:lnTo>
                <a:lnTo>
                  <a:pt x="60" y="138"/>
                </a:lnTo>
                <a:lnTo>
                  <a:pt x="60" y="138"/>
                </a:lnTo>
                <a:lnTo>
                  <a:pt x="60" y="138"/>
                </a:lnTo>
                <a:lnTo>
                  <a:pt x="60" y="138"/>
                </a:lnTo>
                <a:lnTo>
                  <a:pt x="60" y="138"/>
                </a:lnTo>
                <a:lnTo>
                  <a:pt x="60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44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38"/>
                </a:lnTo>
                <a:lnTo>
                  <a:pt x="48" y="138"/>
                </a:lnTo>
                <a:lnTo>
                  <a:pt x="48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36" y="144"/>
                </a:lnTo>
                <a:lnTo>
                  <a:pt x="36" y="144"/>
                </a:lnTo>
                <a:lnTo>
                  <a:pt x="36" y="144"/>
                </a:lnTo>
                <a:lnTo>
                  <a:pt x="36" y="144"/>
                </a:lnTo>
                <a:lnTo>
                  <a:pt x="36" y="144"/>
                </a:lnTo>
                <a:lnTo>
                  <a:pt x="36" y="144"/>
                </a:lnTo>
                <a:lnTo>
                  <a:pt x="36" y="144"/>
                </a:lnTo>
                <a:lnTo>
                  <a:pt x="36" y="144"/>
                </a:lnTo>
                <a:lnTo>
                  <a:pt x="36" y="138"/>
                </a:lnTo>
                <a:lnTo>
                  <a:pt x="30" y="138"/>
                </a:lnTo>
                <a:lnTo>
                  <a:pt x="30" y="132"/>
                </a:lnTo>
                <a:lnTo>
                  <a:pt x="30" y="132"/>
                </a:lnTo>
                <a:lnTo>
                  <a:pt x="30" y="126"/>
                </a:lnTo>
                <a:lnTo>
                  <a:pt x="30" y="126"/>
                </a:lnTo>
                <a:lnTo>
                  <a:pt x="30" y="132"/>
                </a:lnTo>
                <a:lnTo>
                  <a:pt x="30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18" y="126"/>
                </a:lnTo>
                <a:lnTo>
                  <a:pt x="24" y="126"/>
                </a:lnTo>
                <a:lnTo>
                  <a:pt x="18" y="120"/>
                </a:lnTo>
                <a:lnTo>
                  <a:pt x="18" y="126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2" y="120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08"/>
                </a:lnTo>
                <a:lnTo>
                  <a:pt x="6" y="114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96"/>
                </a:lnTo>
                <a:lnTo>
                  <a:pt x="0" y="9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287" name="Freeform 20"/>
          <p:cNvSpPr>
            <a:spLocks/>
          </p:cNvSpPr>
          <p:nvPr/>
        </p:nvSpPr>
        <p:spPr bwMode="auto">
          <a:xfrm>
            <a:off x="5110937" y="1372643"/>
            <a:ext cx="372595" cy="346901"/>
          </a:xfrm>
          <a:custGeom>
            <a:avLst/>
            <a:gdLst>
              <a:gd name="T0" fmla="*/ 12 w 348"/>
              <a:gd name="T1" fmla="*/ 102 h 324"/>
              <a:gd name="T2" fmla="*/ 30 w 348"/>
              <a:gd name="T3" fmla="*/ 108 h 324"/>
              <a:gd name="T4" fmla="*/ 60 w 348"/>
              <a:gd name="T5" fmla="*/ 114 h 324"/>
              <a:gd name="T6" fmla="*/ 66 w 348"/>
              <a:gd name="T7" fmla="*/ 120 h 324"/>
              <a:gd name="T8" fmla="*/ 96 w 348"/>
              <a:gd name="T9" fmla="*/ 114 h 324"/>
              <a:gd name="T10" fmla="*/ 96 w 348"/>
              <a:gd name="T11" fmla="*/ 66 h 324"/>
              <a:gd name="T12" fmla="*/ 102 w 348"/>
              <a:gd name="T13" fmla="*/ 54 h 324"/>
              <a:gd name="T14" fmla="*/ 102 w 348"/>
              <a:gd name="T15" fmla="*/ 42 h 324"/>
              <a:gd name="T16" fmla="*/ 96 w 348"/>
              <a:gd name="T17" fmla="*/ 36 h 324"/>
              <a:gd name="T18" fmla="*/ 108 w 348"/>
              <a:gd name="T19" fmla="*/ 24 h 324"/>
              <a:gd name="T20" fmla="*/ 108 w 348"/>
              <a:gd name="T21" fmla="*/ 18 h 324"/>
              <a:gd name="T22" fmla="*/ 126 w 348"/>
              <a:gd name="T23" fmla="*/ 12 h 324"/>
              <a:gd name="T24" fmla="*/ 150 w 348"/>
              <a:gd name="T25" fmla="*/ 0 h 324"/>
              <a:gd name="T26" fmla="*/ 174 w 348"/>
              <a:gd name="T27" fmla="*/ 12 h 324"/>
              <a:gd name="T28" fmla="*/ 186 w 348"/>
              <a:gd name="T29" fmla="*/ 18 h 324"/>
              <a:gd name="T30" fmla="*/ 192 w 348"/>
              <a:gd name="T31" fmla="*/ 24 h 324"/>
              <a:gd name="T32" fmla="*/ 186 w 348"/>
              <a:gd name="T33" fmla="*/ 78 h 324"/>
              <a:gd name="T34" fmla="*/ 198 w 348"/>
              <a:gd name="T35" fmla="*/ 84 h 324"/>
              <a:gd name="T36" fmla="*/ 204 w 348"/>
              <a:gd name="T37" fmla="*/ 96 h 324"/>
              <a:gd name="T38" fmla="*/ 216 w 348"/>
              <a:gd name="T39" fmla="*/ 102 h 324"/>
              <a:gd name="T40" fmla="*/ 228 w 348"/>
              <a:gd name="T41" fmla="*/ 114 h 324"/>
              <a:gd name="T42" fmla="*/ 240 w 348"/>
              <a:gd name="T43" fmla="*/ 132 h 324"/>
              <a:gd name="T44" fmla="*/ 258 w 348"/>
              <a:gd name="T45" fmla="*/ 132 h 324"/>
              <a:gd name="T46" fmla="*/ 276 w 348"/>
              <a:gd name="T47" fmla="*/ 150 h 324"/>
              <a:gd name="T48" fmla="*/ 294 w 348"/>
              <a:gd name="T49" fmla="*/ 162 h 324"/>
              <a:gd name="T50" fmla="*/ 294 w 348"/>
              <a:gd name="T51" fmla="*/ 168 h 324"/>
              <a:gd name="T52" fmla="*/ 330 w 348"/>
              <a:gd name="T53" fmla="*/ 174 h 324"/>
              <a:gd name="T54" fmla="*/ 348 w 348"/>
              <a:gd name="T55" fmla="*/ 198 h 324"/>
              <a:gd name="T56" fmla="*/ 330 w 348"/>
              <a:gd name="T57" fmla="*/ 210 h 324"/>
              <a:gd name="T58" fmla="*/ 312 w 348"/>
              <a:gd name="T59" fmla="*/ 234 h 324"/>
              <a:gd name="T60" fmla="*/ 300 w 348"/>
              <a:gd name="T61" fmla="*/ 252 h 324"/>
              <a:gd name="T62" fmla="*/ 252 w 348"/>
              <a:gd name="T63" fmla="*/ 264 h 324"/>
              <a:gd name="T64" fmla="*/ 240 w 348"/>
              <a:gd name="T65" fmla="*/ 294 h 324"/>
              <a:gd name="T66" fmla="*/ 198 w 348"/>
              <a:gd name="T67" fmla="*/ 300 h 324"/>
              <a:gd name="T68" fmla="*/ 198 w 348"/>
              <a:gd name="T69" fmla="*/ 318 h 324"/>
              <a:gd name="T70" fmla="*/ 186 w 348"/>
              <a:gd name="T71" fmla="*/ 318 h 324"/>
              <a:gd name="T72" fmla="*/ 174 w 348"/>
              <a:gd name="T73" fmla="*/ 318 h 324"/>
              <a:gd name="T74" fmla="*/ 168 w 348"/>
              <a:gd name="T75" fmla="*/ 312 h 324"/>
              <a:gd name="T76" fmla="*/ 156 w 348"/>
              <a:gd name="T77" fmla="*/ 300 h 324"/>
              <a:gd name="T78" fmla="*/ 156 w 348"/>
              <a:gd name="T79" fmla="*/ 288 h 324"/>
              <a:gd name="T80" fmla="*/ 144 w 348"/>
              <a:gd name="T81" fmla="*/ 288 h 324"/>
              <a:gd name="T82" fmla="*/ 126 w 348"/>
              <a:gd name="T83" fmla="*/ 288 h 324"/>
              <a:gd name="T84" fmla="*/ 114 w 348"/>
              <a:gd name="T85" fmla="*/ 294 h 324"/>
              <a:gd name="T86" fmla="*/ 102 w 348"/>
              <a:gd name="T87" fmla="*/ 294 h 324"/>
              <a:gd name="T88" fmla="*/ 90 w 348"/>
              <a:gd name="T89" fmla="*/ 294 h 324"/>
              <a:gd name="T90" fmla="*/ 78 w 348"/>
              <a:gd name="T91" fmla="*/ 288 h 324"/>
              <a:gd name="T92" fmla="*/ 66 w 348"/>
              <a:gd name="T93" fmla="*/ 282 h 324"/>
              <a:gd name="T94" fmla="*/ 54 w 348"/>
              <a:gd name="T95" fmla="*/ 288 h 324"/>
              <a:gd name="T96" fmla="*/ 42 w 348"/>
              <a:gd name="T97" fmla="*/ 264 h 324"/>
              <a:gd name="T98" fmla="*/ 54 w 348"/>
              <a:gd name="T99" fmla="*/ 246 h 324"/>
              <a:gd name="T100" fmla="*/ 42 w 348"/>
              <a:gd name="T101" fmla="*/ 240 h 324"/>
              <a:gd name="T102" fmla="*/ 42 w 348"/>
              <a:gd name="T103" fmla="*/ 228 h 324"/>
              <a:gd name="T104" fmla="*/ 24 w 348"/>
              <a:gd name="T105" fmla="*/ 210 h 324"/>
              <a:gd name="T106" fmla="*/ 36 w 348"/>
              <a:gd name="T107" fmla="*/ 198 h 324"/>
              <a:gd name="T108" fmla="*/ 54 w 348"/>
              <a:gd name="T109" fmla="*/ 186 h 324"/>
              <a:gd name="T110" fmla="*/ 48 w 348"/>
              <a:gd name="T111" fmla="*/ 174 h 324"/>
              <a:gd name="T112" fmla="*/ 24 w 348"/>
              <a:gd name="T113" fmla="*/ 168 h 324"/>
              <a:gd name="T114" fmla="*/ 12 w 348"/>
              <a:gd name="T115" fmla="*/ 138 h 324"/>
              <a:gd name="T116" fmla="*/ 6 w 348"/>
              <a:gd name="T117" fmla="*/ 120 h 3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48" h="324">
                <a:moveTo>
                  <a:pt x="0" y="108"/>
                </a:moveTo>
                <a:lnTo>
                  <a:pt x="0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12" y="108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8"/>
                </a:lnTo>
                <a:lnTo>
                  <a:pt x="18" y="108"/>
                </a:lnTo>
                <a:lnTo>
                  <a:pt x="24" y="102"/>
                </a:lnTo>
                <a:lnTo>
                  <a:pt x="24" y="102"/>
                </a:lnTo>
                <a:lnTo>
                  <a:pt x="30" y="102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6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14"/>
                </a:lnTo>
                <a:lnTo>
                  <a:pt x="42" y="114"/>
                </a:lnTo>
                <a:lnTo>
                  <a:pt x="48" y="114"/>
                </a:lnTo>
                <a:lnTo>
                  <a:pt x="54" y="114"/>
                </a:lnTo>
                <a:lnTo>
                  <a:pt x="54" y="114"/>
                </a:lnTo>
                <a:lnTo>
                  <a:pt x="60" y="114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6"/>
                </a:lnTo>
                <a:lnTo>
                  <a:pt x="66" y="126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72" y="120"/>
                </a:lnTo>
                <a:lnTo>
                  <a:pt x="72" y="114"/>
                </a:lnTo>
                <a:lnTo>
                  <a:pt x="72" y="114"/>
                </a:lnTo>
                <a:lnTo>
                  <a:pt x="78" y="114"/>
                </a:lnTo>
                <a:lnTo>
                  <a:pt x="78" y="120"/>
                </a:lnTo>
                <a:lnTo>
                  <a:pt x="84" y="120"/>
                </a:lnTo>
                <a:lnTo>
                  <a:pt x="90" y="114"/>
                </a:lnTo>
                <a:lnTo>
                  <a:pt x="90" y="114"/>
                </a:lnTo>
                <a:lnTo>
                  <a:pt x="96" y="114"/>
                </a:lnTo>
                <a:lnTo>
                  <a:pt x="90" y="78"/>
                </a:lnTo>
                <a:lnTo>
                  <a:pt x="90" y="78"/>
                </a:lnTo>
                <a:lnTo>
                  <a:pt x="90" y="72"/>
                </a:lnTo>
                <a:lnTo>
                  <a:pt x="90" y="72"/>
                </a:lnTo>
                <a:lnTo>
                  <a:pt x="90" y="66"/>
                </a:lnTo>
                <a:lnTo>
                  <a:pt x="90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0"/>
                </a:lnTo>
                <a:lnTo>
                  <a:pt x="90" y="60"/>
                </a:lnTo>
                <a:lnTo>
                  <a:pt x="90" y="60"/>
                </a:lnTo>
                <a:lnTo>
                  <a:pt x="96" y="60"/>
                </a:lnTo>
                <a:lnTo>
                  <a:pt x="96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24"/>
                </a:lnTo>
                <a:lnTo>
                  <a:pt x="108" y="24"/>
                </a:lnTo>
                <a:lnTo>
                  <a:pt x="102" y="24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6" y="12"/>
                </a:lnTo>
                <a:lnTo>
                  <a:pt x="132" y="12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0"/>
                </a:lnTo>
                <a:lnTo>
                  <a:pt x="150" y="0"/>
                </a:lnTo>
                <a:lnTo>
                  <a:pt x="156" y="0"/>
                </a:lnTo>
                <a:lnTo>
                  <a:pt x="156" y="0"/>
                </a:lnTo>
                <a:lnTo>
                  <a:pt x="156" y="0"/>
                </a:lnTo>
                <a:lnTo>
                  <a:pt x="156" y="0"/>
                </a:lnTo>
                <a:lnTo>
                  <a:pt x="156" y="6"/>
                </a:lnTo>
                <a:lnTo>
                  <a:pt x="162" y="6"/>
                </a:lnTo>
                <a:lnTo>
                  <a:pt x="162" y="6"/>
                </a:lnTo>
                <a:lnTo>
                  <a:pt x="168" y="6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86" y="24"/>
                </a:lnTo>
                <a:lnTo>
                  <a:pt x="186" y="18"/>
                </a:lnTo>
                <a:lnTo>
                  <a:pt x="192" y="18"/>
                </a:lnTo>
                <a:lnTo>
                  <a:pt x="192" y="24"/>
                </a:lnTo>
                <a:lnTo>
                  <a:pt x="192" y="24"/>
                </a:lnTo>
                <a:lnTo>
                  <a:pt x="192" y="24"/>
                </a:lnTo>
                <a:lnTo>
                  <a:pt x="192" y="24"/>
                </a:lnTo>
                <a:lnTo>
                  <a:pt x="192" y="24"/>
                </a:lnTo>
                <a:lnTo>
                  <a:pt x="192" y="42"/>
                </a:lnTo>
                <a:lnTo>
                  <a:pt x="186" y="42"/>
                </a:lnTo>
                <a:lnTo>
                  <a:pt x="186" y="48"/>
                </a:lnTo>
                <a:lnTo>
                  <a:pt x="192" y="66"/>
                </a:lnTo>
                <a:lnTo>
                  <a:pt x="192" y="66"/>
                </a:lnTo>
                <a:lnTo>
                  <a:pt x="186" y="72"/>
                </a:lnTo>
                <a:lnTo>
                  <a:pt x="186" y="78"/>
                </a:lnTo>
                <a:lnTo>
                  <a:pt x="186" y="78"/>
                </a:lnTo>
                <a:lnTo>
                  <a:pt x="192" y="78"/>
                </a:lnTo>
                <a:lnTo>
                  <a:pt x="192" y="78"/>
                </a:lnTo>
                <a:lnTo>
                  <a:pt x="192" y="78"/>
                </a:lnTo>
                <a:lnTo>
                  <a:pt x="192" y="84"/>
                </a:lnTo>
                <a:lnTo>
                  <a:pt x="192" y="84"/>
                </a:lnTo>
                <a:lnTo>
                  <a:pt x="198" y="78"/>
                </a:lnTo>
                <a:lnTo>
                  <a:pt x="198" y="84"/>
                </a:lnTo>
                <a:lnTo>
                  <a:pt x="198" y="84"/>
                </a:lnTo>
                <a:lnTo>
                  <a:pt x="198" y="84"/>
                </a:lnTo>
                <a:lnTo>
                  <a:pt x="198" y="84"/>
                </a:lnTo>
                <a:lnTo>
                  <a:pt x="198" y="84"/>
                </a:lnTo>
                <a:lnTo>
                  <a:pt x="198" y="84"/>
                </a:lnTo>
                <a:lnTo>
                  <a:pt x="198" y="84"/>
                </a:lnTo>
                <a:lnTo>
                  <a:pt x="198" y="90"/>
                </a:lnTo>
                <a:lnTo>
                  <a:pt x="198" y="90"/>
                </a:lnTo>
                <a:lnTo>
                  <a:pt x="204" y="90"/>
                </a:lnTo>
                <a:lnTo>
                  <a:pt x="204" y="90"/>
                </a:lnTo>
                <a:lnTo>
                  <a:pt x="204" y="96"/>
                </a:lnTo>
                <a:lnTo>
                  <a:pt x="204" y="96"/>
                </a:lnTo>
                <a:lnTo>
                  <a:pt x="210" y="96"/>
                </a:lnTo>
                <a:lnTo>
                  <a:pt x="210" y="96"/>
                </a:lnTo>
                <a:lnTo>
                  <a:pt x="210" y="102"/>
                </a:lnTo>
                <a:lnTo>
                  <a:pt x="210" y="102"/>
                </a:lnTo>
                <a:lnTo>
                  <a:pt x="210" y="102"/>
                </a:lnTo>
                <a:lnTo>
                  <a:pt x="210" y="102"/>
                </a:lnTo>
                <a:lnTo>
                  <a:pt x="216" y="102"/>
                </a:lnTo>
                <a:lnTo>
                  <a:pt x="216" y="102"/>
                </a:lnTo>
                <a:lnTo>
                  <a:pt x="216" y="108"/>
                </a:lnTo>
                <a:lnTo>
                  <a:pt x="216" y="108"/>
                </a:lnTo>
                <a:lnTo>
                  <a:pt x="216" y="114"/>
                </a:lnTo>
                <a:lnTo>
                  <a:pt x="216" y="114"/>
                </a:lnTo>
                <a:lnTo>
                  <a:pt x="216" y="114"/>
                </a:lnTo>
                <a:lnTo>
                  <a:pt x="216" y="114"/>
                </a:lnTo>
                <a:lnTo>
                  <a:pt x="222" y="114"/>
                </a:lnTo>
                <a:lnTo>
                  <a:pt x="222" y="114"/>
                </a:lnTo>
                <a:lnTo>
                  <a:pt x="228" y="114"/>
                </a:lnTo>
                <a:lnTo>
                  <a:pt x="228" y="120"/>
                </a:lnTo>
                <a:lnTo>
                  <a:pt x="228" y="120"/>
                </a:lnTo>
                <a:lnTo>
                  <a:pt x="228" y="120"/>
                </a:lnTo>
                <a:lnTo>
                  <a:pt x="228" y="120"/>
                </a:lnTo>
                <a:lnTo>
                  <a:pt x="228" y="126"/>
                </a:lnTo>
                <a:lnTo>
                  <a:pt x="228" y="126"/>
                </a:lnTo>
                <a:lnTo>
                  <a:pt x="228" y="132"/>
                </a:lnTo>
                <a:lnTo>
                  <a:pt x="234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46" y="132"/>
                </a:lnTo>
                <a:lnTo>
                  <a:pt x="246" y="132"/>
                </a:lnTo>
                <a:lnTo>
                  <a:pt x="252" y="132"/>
                </a:lnTo>
                <a:lnTo>
                  <a:pt x="252" y="132"/>
                </a:lnTo>
                <a:lnTo>
                  <a:pt x="252" y="132"/>
                </a:lnTo>
                <a:lnTo>
                  <a:pt x="258" y="132"/>
                </a:lnTo>
                <a:lnTo>
                  <a:pt x="258" y="132"/>
                </a:lnTo>
                <a:lnTo>
                  <a:pt x="258" y="132"/>
                </a:lnTo>
                <a:lnTo>
                  <a:pt x="258" y="138"/>
                </a:lnTo>
                <a:lnTo>
                  <a:pt x="258" y="138"/>
                </a:lnTo>
                <a:lnTo>
                  <a:pt x="264" y="144"/>
                </a:lnTo>
                <a:lnTo>
                  <a:pt x="264" y="144"/>
                </a:lnTo>
                <a:lnTo>
                  <a:pt x="270" y="144"/>
                </a:lnTo>
                <a:lnTo>
                  <a:pt x="276" y="150"/>
                </a:lnTo>
                <a:lnTo>
                  <a:pt x="276" y="150"/>
                </a:lnTo>
                <a:lnTo>
                  <a:pt x="276" y="150"/>
                </a:lnTo>
                <a:lnTo>
                  <a:pt x="282" y="156"/>
                </a:lnTo>
                <a:lnTo>
                  <a:pt x="282" y="156"/>
                </a:lnTo>
                <a:lnTo>
                  <a:pt x="288" y="156"/>
                </a:lnTo>
                <a:lnTo>
                  <a:pt x="288" y="156"/>
                </a:lnTo>
                <a:lnTo>
                  <a:pt x="300" y="162"/>
                </a:lnTo>
                <a:lnTo>
                  <a:pt x="300" y="162"/>
                </a:lnTo>
                <a:lnTo>
                  <a:pt x="300" y="162"/>
                </a:lnTo>
                <a:lnTo>
                  <a:pt x="300" y="162"/>
                </a:lnTo>
                <a:lnTo>
                  <a:pt x="294" y="162"/>
                </a:lnTo>
                <a:lnTo>
                  <a:pt x="294" y="162"/>
                </a:lnTo>
                <a:lnTo>
                  <a:pt x="294" y="162"/>
                </a:lnTo>
                <a:lnTo>
                  <a:pt x="288" y="156"/>
                </a:lnTo>
                <a:lnTo>
                  <a:pt x="276" y="156"/>
                </a:lnTo>
                <a:lnTo>
                  <a:pt x="276" y="156"/>
                </a:lnTo>
                <a:lnTo>
                  <a:pt x="276" y="162"/>
                </a:lnTo>
                <a:lnTo>
                  <a:pt x="276" y="162"/>
                </a:lnTo>
                <a:lnTo>
                  <a:pt x="282" y="168"/>
                </a:lnTo>
                <a:lnTo>
                  <a:pt x="294" y="168"/>
                </a:lnTo>
                <a:lnTo>
                  <a:pt x="294" y="168"/>
                </a:lnTo>
                <a:lnTo>
                  <a:pt x="306" y="174"/>
                </a:lnTo>
                <a:lnTo>
                  <a:pt x="306" y="174"/>
                </a:lnTo>
                <a:lnTo>
                  <a:pt x="312" y="174"/>
                </a:lnTo>
                <a:lnTo>
                  <a:pt x="318" y="174"/>
                </a:lnTo>
                <a:lnTo>
                  <a:pt x="318" y="168"/>
                </a:lnTo>
                <a:lnTo>
                  <a:pt x="324" y="168"/>
                </a:lnTo>
                <a:lnTo>
                  <a:pt x="324" y="168"/>
                </a:lnTo>
                <a:lnTo>
                  <a:pt x="330" y="174"/>
                </a:lnTo>
                <a:lnTo>
                  <a:pt x="330" y="180"/>
                </a:lnTo>
                <a:lnTo>
                  <a:pt x="336" y="186"/>
                </a:lnTo>
                <a:lnTo>
                  <a:pt x="342" y="192"/>
                </a:lnTo>
                <a:lnTo>
                  <a:pt x="342" y="192"/>
                </a:lnTo>
                <a:lnTo>
                  <a:pt x="348" y="192"/>
                </a:lnTo>
                <a:lnTo>
                  <a:pt x="348" y="186"/>
                </a:lnTo>
                <a:lnTo>
                  <a:pt x="348" y="186"/>
                </a:lnTo>
                <a:lnTo>
                  <a:pt x="348" y="192"/>
                </a:lnTo>
                <a:lnTo>
                  <a:pt x="348" y="198"/>
                </a:lnTo>
                <a:lnTo>
                  <a:pt x="348" y="198"/>
                </a:lnTo>
                <a:lnTo>
                  <a:pt x="348" y="198"/>
                </a:lnTo>
                <a:lnTo>
                  <a:pt x="348" y="198"/>
                </a:lnTo>
                <a:lnTo>
                  <a:pt x="342" y="198"/>
                </a:lnTo>
                <a:lnTo>
                  <a:pt x="342" y="198"/>
                </a:lnTo>
                <a:lnTo>
                  <a:pt x="342" y="198"/>
                </a:lnTo>
                <a:lnTo>
                  <a:pt x="336" y="204"/>
                </a:lnTo>
                <a:lnTo>
                  <a:pt x="336" y="210"/>
                </a:lnTo>
                <a:lnTo>
                  <a:pt x="330" y="210"/>
                </a:lnTo>
                <a:lnTo>
                  <a:pt x="330" y="216"/>
                </a:lnTo>
                <a:lnTo>
                  <a:pt x="324" y="216"/>
                </a:lnTo>
                <a:lnTo>
                  <a:pt x="324" y="216"/>
                </a:lnTo>
                <a:lnTo>
                  <a:pt x="324" y="216"/>
                </a:lnTo>
                <a:lnTo>
                  <a:pt x="312" y="222"/>
                </a:lnTo>
                <a:lnTo>
                  <a:pt x="312" y="228"/>
                </a:lnTo>
                <a:lnTo>
                  <a:pt x="312" y="228"/>
                </a:lnTo>
                <a:lnTo>
                  <a:pt x="306" y="228"/>
                </a:lnTo>
                <a:lnTo>
                  <a:pt x="312" y="234"/>
                </a:lnTo>
                <a:lnTo>
                  <a:pt x="318" y="240"/>
                </a:lnTo>
                <a:lnTo>
                  <a:pt x="318" y="240"/>
                </a:lnTo>
                <a:lnTo>
                  <a:pt x="318" y="240"/>
                </a:lnTo>
                <a:lnTo>
                  <a:pt x="312" y="246"/>
                </a:lnTo>
                <a:lnTo>
                  <a:pt x="312" y="252"/>
                </a:lnTo>
                <a:lnTo>
                  <a:pt x="306" y="252"/>
                </a:lnTo>
                <a:lnTo>
                  <a:pt x="306" y="252"/>
                </a:lnTo>
                <a:lnTo>
                  <a:pt x="300" y="252"/>
                </a:lnTo>
                <a:lnTo>
                  <a:pt x="300" y="252"/>
                </a:lnTo>
                <a:lnTo>
                  <a:pt x="300" y="258"/>
                </a:lnTo>
                <a:lnTo>
                  <a:pt x="294" y="258"/>
                </a:lnTo>
                <a:lnTo>
                  <a:pt x="258" y="258"/>
                </a:lnTo>
                <a:lnTo>
                  <a:pt x="258" y="258"/>
                </a:lnTo>
                <a:lnTo>
                  <a:pt x="252" y="258"/>
                </a:lnTo>
                <a:lnTo>
                  <a:pt x="252" y="258"/>
                </a:lnTo>
                <a:lnTo>
                  <a:pt x="252" y="264"/>
                </a:lnTo>
                <a:lnTo>
                  <a:pt x="252" y="264"/>
                </a:lnTo>
                <a:lnTo>
                  <a:pt x="252" y="264"/>
                </a:lnTo>
                <a:lnTo>
                  <a:pt x="252" y="264"/>
                </a:lnTo>
                <a:lnTo>
                  <a:pt x="252" y="270"/>
                </a:lnTo>
                <a:lnTo>
                  <a:pt x="252" y="270"/>
                </a:lnTo>
                <a:lnTo>
                  <a:pt x="246" y="276"/>
                </a:lnTo>
                <a:lnTo>
                  <a:pt x="246" y="276"/>
                </a:lnTo>
                <a:lnTo>
                  <a:pt x="246" y="282"/>
                </a:lnTo>
                <a:lnTo>
                  <a:pt x="246" y="288"/>
                </a:lnTo>
                <a:lnTo>
                  <a:pt x="240" y="294"/>
                </a:lnTo>
                <a:lnTo>
                  <a:pt x="240" y="294"/>
                </a:lnTo>
                <a:lnTo>
                  <a:pt x="234" y="294"/>
                </a:lnTo>
                <a:lnTo>
                  <a:pt x="234" y="294"/>
                </a:lnTo>
                <a:lnTo>
                  <a:pt x="222" y="294"/>
                </a:lnTo>
                <a:lnTo>
                  <a:pt x="204" y="294"/>
                </a:lnTo>
                <a:lnTo>
                  <a:pt x="198" y="300"/>
                </a:lnTo>
                <a:lnTo>
                  <a:pt x="198" y="300"/>
                </a:lnTo>
                <a:lnTo>
                  <a:pt x="198" y="300"/>
                </a:lnTo>
                <a:lnTo>
                  <a:pt x="198" y="300"/>
                </a:lnTo>
                <a:lnTo>
                  <a:pt x="198" y="300"/>
                </a:lnTo>
                <a:lnTo>
                  <a:pt x="198" y="300"/>
                </a:lnTo>
                <a:lnTo>
                  <a:pt x="192" y="300"/>
                </a:lnTo>
                <a:lnTo>
                  <a:pt x="198" y="306"/>
                </a:lnTo>
                <a:lnTo>
                  <a:pt x="198" y="306"/>
                </a:lnTo>
                <a:lnTo>
                  <a:pt x="198" y="306"/>
                </a:lnTo>
                <a:lnTo>
                  <a:pt x="198" y="312"/>
                </a:lnTo>
                <a:lnTo>
                  <a:pt x="198" y="312"/>
                </a:lnTo>
                <a:lnTo>
                  <a:pt x="198" y="318"/>
                </a:lnTo>
                <a:lnTo>
                  <a:pt x="198" y="318"/>
                </a:lnTo>
                <a:lnTo>
                  <a:pt x="198" y="318"/>
                </a:lnTo>
                <a:lnTo>
                  <a:pt x="198" y="318"/>
                </a:lnTo>
                <a:lnTo>
                  <a:pt x="192" y="318"/>
                </a:lnTo>
                <a:lnTo>
                  <a:pt x="192" y="324"/>
                </a:lnTo>
                <a:lnTo>
                  <a:pt x="192" y="324"/>
                </a:lnTo>
                <a:lnTo>
                  <a:pt x="186" y="324"/>
                </a:lnTo>
                <a:lnTo>
                  <a:pt x="186" y="324"/>
                </a:lnTo>
                <a:lnTo>
                  <a:pt x="186" y="318"/>
                </a:lnTo>
                <a:lnTo>
                  <a:pt x="186" y="318"/>
                </a:lnTo>
                <a:lnTo>
                  <a:pt x="186" y="318"/>
                </a:lnTo>
                <a:lnTo>
                  <a:pt x="186" y="318"/>
                </a:lnTo>
                <a:lnTo>
                  <a:pt x="186" y="318"/>
                </a:lnTo>
                <a:lnTo>
                  <a:pt x="180" y="318"/>
                </a:lnTo>
                <a:lnTo>
                  <a:pt x="180" y="324"/>
                </a:lnTo>
                <a:lnTo>
                  <a:pt x="180" y="324"/>
                </a:lnTo>
                <a:lnTo>
                  <a:pt x="180" y="324"/>
                </a:lnTo>
                <a:lnTo>
                  <a:pt x="180" y="318"/>
                </a:lnTo>
                <a:lnTo>
                  <a:pt x="174" y="318"/>
                </a:lnTo>
                <a:lnTo>
                  <a:pt x="174" y="318"/>
                </a:lnTo>
                <a:lnTo>
                  <a:pt x="174" y="318"/>
                </a:lnTo>
                <a:lnTo>
                  <a:pt x="174" y="318"/>
                </a:lnTo>
                <a:lnTo>
                  <a:pt x="174" y="312"/>
                </a:lnTo>
                <a:lnTo>
                  <a:pt x="174" y="312"/>
                </a:lnTo>
                <a:lnTo>
                  <a:pt x="174" y="312"/>
                </a:lnTo>
                <a:lnTo>
                  <a:pt x="174" y="312"/>
                </a:lnTo>
                <a:lnTo>
                  <a:pt x="174" y="312"/>
                </a:lnTo>
                <a:lnTo>
                  <a:pt x="168" y="312"/>
                </a:lnTo>
                <a:lnTo>
                  <a:pt x="168" y="306"/>
                </a:lnTo>
                <a:lnTo>
                  <a:pt x="168" y="306"/>
                </a:lnTo>
                <a:lnTo>
                  <a:pt x="162" y="306"/>
                </a:lnTo>
                <a:lnTo>
                  <a:pt x="162" y="306"/>
                </a:lnTo>
                <a:lnTo>
                  <a:pt x="162" y="306"/>
                </a:lnTo>
                <a:lnTo>
                  <a:pt x="162" y="300"/>
                </a:lnTo>
                <a:lnTo>
                  <a:pt x="162" y="300"/>
                </a:lnTo>
                <a:lnTo>
                  <a:pt x="162" y="300"/>
                </a:lnTo>
                <a:lnTo>
                  <a:pt x="156" y="300"/>
                </a:lnTo>
                <a:lnTo>
                  <a:pt x="156" y="300"/>
                </a:lnTo>
                <a:lnTo>
                  <a:pt x="156" y="300"/>
                </a:lnTo>
                <a:lnTo>
                  <a:pt x="156" y="300"/>
                </a:lnTo>
                <a:lnTo>
                  <a:pt x="156" y="294"/>
                </a:lnTo>
                <a:lnTo>
                  <a:pt x="156" y="294"/>
                </a:lnTo>
                <a:lnTo>
                  <a:pt x="156" y="294"/>
                </a:lnTo>
                <a:lnTo>
                  <a:pt x="156" y="288"/>
                </a:lnTo>
                <a:lnTo>
                  <a:pt x="156" y="288"/>
                </a:lnTo>
                <a:lnTo>
                  <a:pt x="156" y="288"/>
                </a:lnTo>
                <a:lnTo>
                  <a:pt x="156" y="288"/>
                </a:lnTo>
                <a:lnTo>
                  <a:pt x="156" y="294"/>
                </a:lnTo>
                <a:lnTo>
                  <a:pt x="156" y="294"/>
                </a:lnTo>
                <a:lnTo>
                  <a:pt x="150" y="294"/>
                </a:lnTo>
                <a:lnTo>
                  <a:pt x="150" y="294"/>
                </a:lnTo>
                <a:lnTo>
                  <a:pt x="144" y="294"/>
                </a:lnTo>
                <a:lnTo>
                  <a:pt x="144" y="294"/>
                </a:lnTo>
                <a:lnTo>
                  <a:pt x="144" y="288"/>
                </a:lnTo>
                <a:lnTo>
                  <a:pt x="144" y="288"/>
                </a:lnTo>
                <a:lnTo>
                  <a:pt x="138" y="294"/>
                </a:lnTo>
                <a:lnTo>
                  <a:pt x="138" y="288"/>
                </a:lnTo>
                <a:lnTo>
                  <a:pt x="138" y="288"/>
                </a:lnTo>
                <a:lnTo>
                  <a:pt x="132" y="288"/>
                </a:lnTo>
                <a:lnTo>
                  <a:pt x="132" y="288"/>
                </a:lnTo>
                <a:lnTo>
                  <a:pt x="132" y="288"/>
                </a:lnTo>
                <a:lnTo>
                  <a:pt x="132" y="288"/>
                </a:lnTo>
                <a:lnTo>
                  <a:pt x="126" y="288"/>
                </a:lnTo>
                <a:lnTo>
                  <a:pt x="126" y="288"/>
                </a:lnTo>
                <a:lnTo>
                  <a:pt x="126" y="288"/>
                </a:lnTo>
                <a:lnTo>
                  <a:pt x="126" y="288"/>
                </a:lnTo>
                <a:lnTo>
                  <a:pt x="126" y="288"/>
                </a:lnTo>
                <a:lnTo>
                  <a:pt x="120" y="288"/>
                </a:lnTo>
                <a:lnTo>
                  <a:pt x="120" y="288"/>
                </a:lnTo>
                <a:lnTo>
                  <a:pt x="120" y="288"/>
                </a:lnTo>
                <a:lnTo>
                  <a:pt x="120" y="294"/>
                </a:lnTo>
                <a:lnTo>
                  <a:pt x="114" y="294"/>
                </a:lnTo>
                <a:lnTo>
                  <a:pt x="114" y="294"/>
                </a:lnTo>
                <a:lnTo>
                  <a:pt x="114" y="294"/>
                </a:lnTo>
                <a:lnTo>
                  <a:pt x="114" y="294"/>
                </a:lnTo>
                <a:lnTo>
                  <a:pt x="108" y="294"/>
                </a:lnTo>
                <a:lnTo>
                  <a:pt x="108" y="294"/>
                </a:lnTo>
                <a:lnTo>
                  <a:pt x="108" y="294"/>
                </a:lnTo>
                <a:lnTo>
                  <a:pt x="108" y="294"/>
                </a:lnTo>
                <a:lnTo>
                  <a:pt x="108" y="294"/>
                </a:lnTo>
                <a:lnTo>
                  <a:pt x="102" y="294"/>
                </a:lnTo>
                <a:lnTo>
                  <a:pt x="102" y="294"/>
                </a:lnTo>
                <a:lnTo>
                  <a:pt x="102" y="300"/>
                </a:lnTo>
                <a:lnTo>
                  <a:pt x="102" y="294"/>
                </a:lnTo>
                <a:lnTo>
                  <a:pt x="102" y="294"/>
                </a:lnTo>
                <a:lnTo>
                  <a:pt x="102" y="294"/>
                </a:lnTo>
                <a:lnTo>
                  <a:pt x="96" y="294"/>
                </a:lnTo>
                <a:lnTo>
                  <a:pt x="96" y="294"/>
                </a:lnTo>
                <a:lnTo>
                  <a:pt x="96" y="294"/>
                </a:lnTo>
                <a:lnTo>
                  <a:pt x="90" y="294"/>
                </a:lnTo>
                <a:lnTo>
                  <a:pt x="90" y="294"/>
                </a:lnTo>
                <a:lnTo>
                  <a:pt x="90" y="294"/>
                </a:lnTo>
                <a:lnTo>
                  <a:pt x="90" y="288"/>
                </a:lnTo>
                <a:lnTo>
                  <a:pt x="84" y="288"/>
                </a:lnTo>
                <a:lnTo>
                  <a:pt x="84" y="288"/>
                </a:lnTo>
                <a:lnTo>
                  <a:pt x="84" y="288"/>
                </a:lnTo>
                <a:lnTo>
                  <a:pt x="84" y="288"/>
                </a:lnTo>
                <a:lnTo>
                  <a:pt x="78" y="288"/>
                </a:lnTo>
                <a:lnTo>
                  <a:pt x="78" y="288"/>
                </a:lnTo>
                <a:lnTo>
                  <a:pt x="78" y="288"/>
                </a:lnTo>
                <a:lnTo>
                  <a:pt x="78" y="288"/>
                </a:lnTo>
                <a:lnTo>
                  <a:pt x="78" y="288"/>
                </a:lnTo>
                <a:lnTo>
                  <a:pt x="72" y="288"/>
                </a:lnTo>
                <a:lnTo>
                  <a:pt x="72" y="288"/>
                </a:lnTo>
                <a:lnTo>
                  <a:pt x="72" y="282"/>
                </a:lnTo>
                <a:lnTo>
                  <a:pt x="72" y="288"/>
                </a:lnTo>
                <a:lnTo>
                  <a:pt x="66" y="288"/>
                </a:lnTo>
                <a:lnTo>
                  <a:pt x="66" y="288"/>
                </a:lnTo>
                <a:lnTo>
                  <a:pt x="66" y="282"/>
                </a:lnTo>
                <a:lnTo>
                  <a:pt x="66" y="282"/>
                </a:lnTo>
                <a:lnTo>
                  <a:pt x="66" y="282"/>
                </a:lnTo>
                <a:lnTo>
                  <a:pt x="66" y="282"/>
                </a:lnTo>
                <a:lnTo>
                  <a:pt x="60" y="282"/>
                </a:lnTo>
                <a:lnTo>
                  <a:pt x="60" y="282"/>
                </a:lnTo>
                <a:lnTo>
                  <a:pt x="60" y="276"/>
                </a:lnTo>
                <a:lnTo>
                  <a:pt x="60" y="282"/>
                </a:lnTo>
                <a:lnTo>
                  <a:pt x="54" y="282"/>
                </a:lnTo>
                <a:lnTo>
                  <a:pt x="54" y="288"/>
                </a:lnTo>
                <a:lnTo>
                  <a:pt x="54" y="282"/>
                </a:lnTo>
                <a:lnTo>
                  <a:pt x="54" y="282"/>
                </a:lnTo>
                <a:lnTo>
                  <a:pt x="48" y="288"/>
                </a:lnTo>
                <a:lnTo>
                  <a:pt x="42" y="282"/>
                </a:lnTo>
                <a:lnTo>
                  <a:pt x="42" y="288"/>
                </a:lnTo>
                <a:lnTo>
                  <a:pt x="42" y="288"/>
                </a:lnTo>
                <a:lnTo>
                  <a:pt x="42" y="270"/>
                </a:lnTo>
                <a:lnTo>
                  <a:pt x="42" y="264"/>
                </a:lnTo>
                <a:lnTo>
                  <a:pt x="42" y="264"/>
                </a:lnTo>
                <a:lnTo>
                  <a:pt x="48" y="258"/>
                </a:lnTo>
                <a:lnTo>
                  <a:pt x="48" y="258"/>
                </a:lnTo>
                <a:lnTo>
                  <a:pt x="54" y="258"/>
                </a:lnTo>
                <a:lnTo>
                  <a:pt x="54" y="252"/>
                </a:lnTo>
                <a:lnTo>
                  <a:pt x="54" y="252"/>
                </a:lnTo>
                <a:lnTo>
                  <a:pt x="54" y="246"/>
                </a:lnTo>
                <a:lnTo>
                  <a:pt x="54" y="246"/>
                </a:lnTo>
                <a:lnTo>
                  <a:pt x="54" y="246"/>
                </a:lnTo>
                <a:lnTo>
                  <a:pt x="54" y="246"/>
                </a:lnTo>
                <a:lnTo>
                  <a:pt x="54" y="246"/>
                </a:lnTo>
                <a:lnTo>
                  <a:pt x="54" y="240"/>
                </a:lnTo>
                <a:lnTo>
                  <a:pt x="54" y="240"/>
                </a:lnTo>
                <a:lnTo>
                  <a:pt x="48" y="240"/>
                </a:lnTo>
                <a:lnTo>
                  <a:pt x="48" y="240"/>
                </a:lnTo>
                <a:lnTo>
                  <a:pt x="48" y="240"/>
                </a:lnTo>
                <a:lnTo>
                  <a:pt x="42" y="240"/>
                </a:lnTo>
                <a:lnTo>
                  <a:pt x="42" y="240"/>
                </a:lnTo>
                <a:lnTo>
                  <a:pt x="42" y="240"/>
                </a:lnTo>
                <a:lnTo>
                  <a:pt x="42" y="240"/>
                </a:lnTo>
                <a:lnTo>
                  <a:pt x="42" y="240"/>
                </a:lnTo>
                <a:lnTo>
                  <a:pt x="42" y="234"/>
                </a:lnTo>
                <a:lnTo>
                  <a:pt x="42" y="234"/>
                </a:lnTo>
                <a:lnTo>
                  <a:pt x="42" y="234"/>
                </a:lnTo>
                <a:lnTo>
                  <a:pt x="42" y="234"/>
                </a:lnTo>
                <a:lnTo>
                  <a:pt x="42" y="234"/>
                </a:lnTo>
                <a:lnTo>
                  <a:pt x="42" y="228"/>
                </a:lnTo>
                <a:lnTo>
                  <a:pt x="42" y="228"/>
                </a:lnTo>
                <a:lnTo>
                  <a:pt x="18" y="228"/>
                </a:lnTo>
                <a:lnTo>
                  <a:pt x="12" y="222"/>
                </a:lnTo>
                <a:lnTo>
                  <a:pt x="12" y="222"/>
                </a:lnTo>
                <a:lnTo>
                  <a:pt x="12" y="216"/>
                </a:lnTo>
                <a:lnTo>
                  <a:pt x="12" y="216"/>
                </a:lnTo>
                <a:lnTo>
                  <a:pt x="18" y="216"/>
                </a:lnTo>
                <a:lnTo>
                  <a:pt x="24" y="216"/>
                </a:lnTo>
                <a:lnTo>
                  <a:pt x="24" y="216"/>
                </a:lnTo>
                <a:lnTo>
                  <a:pt x="24" y="210"/>
                </a:lnTo>
                <a:lnTo>
                  <a:pt x="24" y="210"/>
                </a:lnTo>
                <a:lnTo>
                  <a:pt x="24" y="210"/>
                </a:lnTo>
                <a:lnTo>
                  <a:pt x="24" y="210"/>
                </a:lnTo>
                <a:lnTo>
                  <a:pt x="24" y="204"/>
                </a:lnTo>
                <a:lnTo>
                  <a:pt x="24" y="204"/>
                </a:lnTo>
                <a:lnTo>
                  <a:pt x="36" y="204"/>
                </a:lnTo>
                <a:lnTo>
                  <a:pt x="36" y="198"/>
                </a:lnTo>
                <a:lnTo>
                  <a:pt x="36" y="198"/>
                </a:lnTo>
                <a:lnTo>
                  <a:pt x="36" y="198"/>
                </a:lnTo>
                <a:lnTo>
                  <a:pt x="42" y="192"/>
                </a:lnTo>
                <a:lnTo>
                  <a:pt x="48" y="192"/>
                </a:lnTo>
                <a:lnTo>
                  <a:pt x="48" y="192"/>
                </a:lnTo>
                <a:lnTo>
                  <a:pt x="48" y="198"/>
                </a:lnTo>
                <a:lnTo>
                  <a:pt x="54" y="198"/>
                </a:lnTo>
                <a:lnTo>
                  <a:pt x="54" y="198"/>
                </a:lnTo>
                <a:lnTo>
                  <a:pt x="54" y="192"/>
                </a:lnTo>
                <a:lnTo>
                  <a:pt x="54" y="192"/>
                </a:lnTo>
                <a:lnTo>
                  <a:pt x="54" y="186"/>
                </a:lnTo>
                <a:lnTo>
                  <a:pt x="48" y="186"/>
                </a:lnTo>
                <a:lnTo>
                  <a:pt x="48" y="180"/>
                </a:lnTo>
                <a:lnTo>
                  <a:pt x="48" y="180"/>
                </a:lnTo>
                <a:lnTo>
                  <a:pt x="48" y="180"/>
                </a:lnTo>
                <a:lnTo>
                  <a:pt x="48" y="180"/>
                </a:lnTo>
                <a:lnTo>
                  <a:pt x="48" y="174"/>
                </a:lnTo>
                <a:lnTo>
                  <a:pt x="48" y="174"/>
                </a:lnTo>
                <a:lnTo>
                  <a:pt x="48" y="174"/>
                </a:lnTo>
                <a:lnTo>
                  <a:pt x="48" y="174"/>
                </a:lnTo>
                <a:lnTo>
                  <a:pt x="48" y="174"/>
                </a:lnTo>
                <a:lnTo>
                  <a:pt x="42" y="174"/>
                </a:lnTo>
                <a:lnTo>
                  <a:pt x="42" y="168"/>
                </a:lnTo>
                <a:lnTo>
                  <a:pt x="36" y="168"/>
                </a:lnTo>
                <a:lnTo>
                  <a:pt x="36" y="168"/>
                </a:lnTo>
                <a:lnTo>
                  <a:pt x="30" y="168"/>
                </a:lnTo>
                <a:lnTo>
                  <a:pt x="24" y="168"/>
                </a:lnTo>
                <a:lnTo>
                  <a:pt x="24" y="162"/>
                </a:lnTo>
                <a:lnTo>
                  <a:pt x="24" y="168"/>
                </a:lnTo>
                <a:lnTo>
                  <a:pt x="24" y="162"/>
                </a:lnTo>
                <a:lnTo>
                  <a:pt x="24" y="162"/>
                </a:lnTo>
                <a:lnTo>
                  <a:pt x="18" y="156"/>
                </a:lnTo>
                <a:lnTo>
                  <a:pt x="18" y="150"/>
                </a:lnTo>
                <a:lnTo>
                  <a:pt x="18" y="150"/>
                </a:lnTo>
                <a:lnTo>
                  <a:pt x="18" y="144"/>
                </a:lnTo>
                <a:lnTo>
                  <a:pt x="18" y="138"/>
                </a:lnTo>
                <a:lnTo>
                  <a:pt x="18" y="138"/>
                </a:lnTo>
                <a:lnTo>
                  <a:pt x="12" y="138"/>
                </a:lnTo>
                <a:lnTo>
                  <a:pt x="12" y="132"/>
                </a:lnTo>
                <a:lnTo>
                  <a:pt x="12" y="126"/>
                </a:lnTo>
                <a:lnTo>
                  <a:pt x="12" y="126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14"/>
                </a:lnTo>
                <a:lnTo>
                  <a:pt x="6" y="114"/>
                </a:lnTo>
                <a:lnTo>
                  <a:pt x="0" y="114"/>
                </a:lnTo>
                <a:lnTo>
                  <a:pt x="0" y="114"/>
                </a:lnTo>
                <a:lnTo>
                  <a:pt x="0" y="114"/>
                </a:lnTo>
                <a:lnTo>
                  <a:pt x="0" y="114"/>
                </a:lnTo>
                <a:lnTo>
                  <a:pt x="0" y="10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288" name="Freeform 21"/>
          <p:cNvSpPr>
            <a:spLocks/>
          </p:cNvSpPr>
          <p:nvPr/>
        </p:nvSpPr>
        <p:spPr bwMode="auto">
          <a:xfrm>
            <a:off x="3916063" y="788050"/>
            <a:ext cx="1349050" cy="745195"/>
          </a:xfrm>
          <a:custGeom>
            <a:avLst/>
            <a:gdLst>
              <a:gd name="T0" fmla="*/ 36 w 1260"/>
              <a:gd name="T1" fmla="*/ 216 h 696"/>
              <a:gd name="T2" fmla="*/ 78 w 1260"/>
              <a:gd name="T3" fmla="*/ 198 h 696"/>
              <a:gd name="T4" fmla="*/ 114 w 1260"/>
              <a:gd name="T5" fmla="*/ 210 h 696"/>
              <a:gd name="T6" fmla="*/ 114 w 1260"/>
              <a:gd name="T7" fmla="*/ 174 h 696"/>
              <a:gd name="T8" fmla="*/ 66 w 1260"/>
              <a:gd name="T9" fmla="*/ 150 h 696"/>
              <a:gd name="T10" fmla="*/ 36 w 1260"/>
              <a:gd name="T11" fmla="*/ 72 h 696"/>
              <a:gd name="T12" fmla="*/ 84 w 1260"/>
              <a:gd name="T13" fmla="*/ 66 h 696"/>
              <a:gd name="T14" fmla="*/ 252 w 1260"/>
              <a:gd name="T15" fmla="*/ 36 h 696"/>
              <a:gd name="T16" fmla="*/ 318 w 1260"/>
              <a:gd name="T17" fmla="*/ 24 h 696"/>
              <a:gd name="T18" fmla="*/ 390 w 1260"/>
              <a:gd name="T19" fmla="*/ 96 h 696"/>
              <a:gd name="T20" fmla="*/ 528 w 1260"/>
              <a:gd name="T21" fmla="*/ 186 h 696"/>
              <a:gd name="T22" fmla="*/ 564 w 1260"/>
              <a:gd name="T23" fmla="*/ 162 h 696"/>
              <a:gd name="T24" fmla="*/ 594 w 1260"/>
              <a:gd name="T25" fmla="*/ 180 h 696"/>
              <a:gd name="T26" fmla="*/ 600 w 1260"/>
              <a:gd name="T27" fmla="*/ 204 h 696"/>
              <a:gd name="T28" fmla="*/ 624 w 1260"/>
              <a:gd name="T29" fmla="*/ 174 h 696"/>
              <a:gd name="T30" fmla="*/ 654 w 1260"/>
              <a:gd name="T31" fmla="*/ 150 h 696"/>
              <a:gd name="T32" fmla="*/ 684 w 1260"/>
              <a:gd name="T33" fmla="*/ 126 h 696"/>
              <a:gd name="T34" fmla="*/ 720 w 1260"/>
              <a:gd name="T35" fmla="*/ 108 h 696"/>
              <a:gd name="T36" fmla="*/ 744 w 1260"/>
              <a:gd name="T37" fmla="*/ 114 h 696"/>
              <a:gd name="T38" fmla="*/ 774 w 1260"/>
              <a:gd name="T39" fmla="*/ 84 h 696"/>
              <a:gd name="T40" fmla="*/ 786 w 1260"/>
              <a:gd name="T41" fmla="*/ 36 h 696"/>
              <a:gd name="T42" fmla="*/ 828 w 1260"/>
              <a:gd name="T43" fmla="*/ 30 h 696"/>
              <a:gd name="T44" fmla="*/ 864 w 1260"/>
              <a:gd name="T45" fmla="*/ 18 h 696"/>
              <a:gd name="T46" fmla="*/ 942 w 1260"/>
              <a:gd name="T47" fmla="*/ 30 h 696"/>
              <a:gd name="T48" fmla="*/ 966 w 1260"/>
              <a:gd name="T49" fmla="*/ 108 h 696"/>
              <a:gd name="T50" fmla="*/ 990 w 1260"/>
              <a:gd name="T51" fmla="*/ 186 h 696"/>
              <a:gd name="T52" fmla="*/ 996 w 1260"/>
              <a:gd name="T53" fmla="*/ 282 h 696"/>
              <a:gd name="T54" fmla="*/ 1014 w 1260"/>
              <a:gd name="T55" fmla="*/ 330 h 696"/>
              <a:gd name="T56" fmla="*/ 1008 w 1260"/>
              <a:gd name="T57" fmla="*/ 366 h 696"/>
              <a:gd name="T58" fmla="*/ 996 w 1260"/>
              <a:gd name="T59" fmla="*/ 384 h 696"/>
              <a:gd name="T60" fmla="*/ 1002 w 1260"/>
              <a:gd name="T61" fmla="*/ 402 h 696"/>
              <a:gd name="T62" fmla="*/ 1032 w 1260"/>
              <a:gd name="T63" fmla="*/ 438 h 696"/>
              <a:gd name="T64" fmla="*/ 1104 w 1260"/>
              <a:gd name="T65" fmla="*/ 486 h 696"/>
              <a:gd name="T66" fmla="*/ 1104 w 1260"/>
              <a:gd name="T67" fmla="*/ 450 h 696"/>
              <a:gd name="T68" fmla="*/ 1110 w 1260"/>
              <a:gd name="T69" fmla="*/ 402 h 696"/>
              <a:gd name="T70" fmla="*/ 1152 w 1260"/>
              <a:gd name="T71" fmla="*/ 360 h 696"/>
              <a:gd name="T72" fmla="*/ 1194 w 1260"/>
              <a:gd name="T73" fmla="*/ 378 h 696"/>
              <a:gd name="T74" fmla="*/ 1206 w 1260"/>
              <a:gd name="T75" fmla="*/ 414 h 696"/>
              <a:gd name="T76" fmla="*/ 1200 w 1260"/>
              <a:gd name="T77" fmla="*/ 450 h 696"/>
              <a:gd name="T78" fmla="*/ 1200 w 1260"/>
              <a:gd name="T79" fmla="*/ 480 h 696"/>
              <a:gd name="T80" fmla="*/ 1230 w 1260"/>
              <a:gd name="T81" fmla="*/ 504 h 696"/>
              <a:gd name="T82" fmla="*/ 1236 w 1260"/>
              <a:gd name="T83" fmla="*/ 552 h 696"/>
              <a:gd name="T84" fmla="*/ 1218 w 1260"/>
              <a:gd name="T85" fmla="*/ 588 h 696"/>
              <a:gd name="T86" fmla="*/ 1212 w 1260"/>
              <a:gd name="T87" fmla="*/ 660 h 696"/>
              <a:gd name="T88" fmla="*/ 1146 w 1260"/>
              <a:gd name="T89" fmla="*/ 648 h 696"/>
              <a:gd name="T90" fmla="*/ 1092 w 1260"/>
              <a:gd name="T91" fmla="*/ 666 h 696"/>
              <a:gd name="T92" fmla="*/ 1014 w 1260"/>
              <a:gd name="T93" fmla="*/ 654 h 696"/>
              <a:gd name="T94" fmla="*/ 930 w 1260"/>
              <a:gd name="T95" fmla="*/ 678 h 696"/>
              <a:gd name="T96" fmla="*/ 840 w 1260"/>
              <a:gd name="T97" fmla="*/ 654 h 696"/>
              <a:gd name="T98" fmla="*/ 792 w 1260"/>
              <a:gd name="T99" fmla="*/ 612 h 696"/>
              <a:gd name="T100" fmla="*/ 750 w 1260"/>
              <a:gd name="T101" fmla="*/ 582 h 696"/>
              <a:gd name="T102" fmla="*/ 696 w 1260"/>
              <a:gd name="T103" fmla="*/ 564 h 696"/>
              <a:gd name="T104" fmla="*/ 648 w 1260"/>
              <a:gd name="T105" fmla="*/ 552 h 696"/>
              <a:gd name="T106" fmla="*/ 582 w 1260"/>
              <a:gd name="T107" fmla="*/ 510 h 696"/>
              <a:gd name="T108" fmla="*/ 486 w 1260"/>
              <a:gd name="T109" fmla="*/ 498 h 696"/>
              <a:gd name="T110" fmla="*/ 390 w 1260"/>
              <a:gd name="T111" fmla="*/ 498 h 696"/>
              <a:gd name="T112" fmla="*/ 294 w 1260"/>
              <a:gd name="T113" fmla="*/ 486 h 696"/>
              <a:gd name="T114" fmla="*/ 228 w 1260"/>
              <a:gd name="T115" fmla="*/ 384 h 696"/>
              <a:gd name="T116" fmla="*/ 186 w 1260"/>
              <a:gd name="T117" fmla="*/ 378 h 696"/>
              <a:gd name="T118" fmla="*/ 102 w 1260"/>
              <a:gd name="T119" fmla="*/ 360 h 696"/>
              <a:gd name="T120" fmla="*/ 36 w 1260"/>
              <a:gd name="T121" fmla="*/ 312 h 6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260" h="696">
                <a:moveTo>
                  <a:pt x="0" y="282"/>
                </a:moveTo>
                <a:lnTo>
                  <a:pt x="0" y="264"/>
                </a:lnTo>
                <a:lnTo>
                  <a:pt x="0" y="228"/>
                </a:lnTo>
                <a:lnTo>
                  <a:pt x="0" y="222"/>
                </a:lnTo>
                <a:lnTo>
                  <a:pt x="0" y="222"/>
                </a:lnTo>
                <a:lnTo>
                  <a:pt x="6" y="222"/>
                </a:lnTo>
                <a:lnTo>
                  <a:pt x="6" y="222"/>
                </a:lnTo>
                <a:lnTo>
                  <a:pt x="6" y="222"/>
                </a:lnTo>
                <a:lnTo>
                  <a:pt x="6" y="222"/>
                </a:lnTo>
                <a:lnTo>
                  <a:pt x="6" y="222"/>
                </a:lnTo>
                <a:lnTo>
                  <a:pt x="6" y="222"/>
                </a:lnTo>
                <a:lnTo>
                  <a:pt x="6" y="222"/>
                </a:lnTo>
                <a:lnTo>
                  <a:pt x="12" y="222"/>
                </a:lnTo>
                <a:lnTo>
                  <a:pt x="12" y="222"/>
                </a:lnTo>
                <a:lnTo>
                  <a:pt x="12" y="222"/>
                </a:lnTo>
                <a:lnTo>
                  <a:pt x="18" y="222"/>
                </a:lnTo>
                <a:lnTo>
                  <a:pt x="18" y="216"/>
                </a:lnTo>
                <a:lnTo>
                  <a:pt x="18" y="216"/>
                </a:lnTo>
                <a:lnTo>
                  <a:pt x="18" y="216"/>
                </a:lnTo>
                <a:lnTo>
                  <a:pt x="24" y="216"/>
                </a:lnTo>
                <a:lnTo>
                  <a:pt x="24" y="216"/>
                </a:lnTo>
                <a:lnTo>
                  <a:pt x="24" y="216"/>
                </a:lnTo>
                <a:lnTo>
                  <a:pt x="30" y="216"/>
                </a:lnTo>
                <a:lnTo>
                  <a:pt x="30" y="216"/>
                </a:lnTo>
                <a:lnTo>
                  <a:pt x="30" y="216"/>
                </a:lnTo>
                <a:lnTo>
                  <a:pt x="30" y="216"/>
                </a:lnTo>
                <a:lnTo>
                  <a:pt x="30" y="222"/>
                </a:lnTo>
                <a:lnTo>
                  <a:pt x="36" y="216"/>
                </a:lnTo>
                <a:lnTo>
                  <a:pt x="36" y="216"/>
                </a:lnTo>
                <a:lnTo>
                  <a:pt x="36" y="216"/>
                </a:lnTo>
                <a:lnTo>
                  <a:pt x="42" y="210"/>
                </a:lnTo>
                <a:lnTo>
                  <a:pt x="42" y="216"/>
                </a:lnTo>
                <a:lnTo>
                  <a:pt x="42" y="216"/>
                </a:lnTo>
                <a:lnTo>
                  <a:pt x="42" y="210"/>
                </a:lnTo>
                <a:lnTo>
                  <a:pt x="48" y="210"/>
                </a:lnTo>
                <a:lnTo>
                  <a:pt x="48" y="210"/>
                </a:lnTo>
                <a:lnTo>
                  <a:pt x="48" y="204"/>
                </a:lnTo>
                <a:lnTo>
                  <a:pt x="48" y="204"/>
                </a:lnTo>
                <a:lnTo>
                  <a:pt x="54" y="204"/>
                </a:lnTo>
                <a:lnTo>
                  <a:pt x="54" y="210"/>
                </a:lnTo>
                <a:lnTo>
                  <a:pt x="54" y="210"/>
                </a:lnTo>
                <a:lnTo>
                  <a:pt x="54" y="210"/>
                </a:lnTo>
                <a:lnTo>
                  <a:pt x="54" y="210"/>
                </a:lnTo>
                <a:lnTo>
                  <a:pt x="60" y="210"/>
                </a:lnTo>
                <a:lnTo>
                  <a:pt x="60" y="210"/>
                </a:lnTo>
                <a:lnTo>
                  <a:pt x="60" y="210"/>
                </a:lnTo>
                <a:lnTo>
                  <a:pt x="60" y="210"/>
                </a:lnTo>
                <a:lnTo>
                  <a:pt x="66" y="204"/>
                </a:lnTo>
                <a:lnTo>
                  <a:pt x="66" y="204"/>
                </a:lnTo>
                <a:lnTo>
                  <a:pt x="66" y="204"/>
                </a:lnTo>
                <a:lnTo>
                  <a:pt x="66" y="204"/>
                </a:lnTo>
                <a:lnTo>
                  <a:pt x="66" y="204"/>
                </a:lnTo>
                <a:lnTo>
                  <a:pt x="66" y="204"/>
                </a:lnTo>
                <a:lnTo>
                  <a:pt x="72" y="198"/>
                </a:lnTo>
                <a:lnTo>
                  <a:pt x="72" y="198"/>
                </a:lnTo>
                <a:lnTo>
                  <a:pt x="72" y="198"/>
                </a:lnTo>
                <a:lnTo>
                  <a:pt x="72" y="198"/>
                </a:lnTo>
                <a:lnTo>
                  <a:pt x="72" y="198"/>
                </a:lnTo>
                <a:lnTo>
                  <a:pt x="78" y="198"/>
                </a:lnTo>
                <a:lnTo>
                  <a:pt x="78" y="198"/>
                </a:lnTo>
                <a:lnTo>
                  <a:pt x="78" y="198"/>
                </a:lnTo>
                <a:lnTo>
                  <a:pt x="78" y="198"/>
                </a:lnTo>
                <a:lnTo>
                  <a:pt x="78" y="204"/>
                </a:lnTo>
                <a:lnTo>
                  <a:pt x="78" y="204"/>
                </a:lnTo>
                <a:lnTo>
                  <a:pt x="78" y="204"/>
                </a:lnTo>
                <a:lnTo>
                  <a:pt x="84" y="204"/>
                </a:lnTo>
                <a:lnTo>
                  <a:pt x="84" y="210"/>
                </a:lnTo>
                <a:lnTo>
                  <a:pt x="90" y="210"/>
                </a:lnTo>
                <a:lnTo>
                  <a:pt x="90" y="216"/>
                </a:lnTo>
                <a:lnTo>
                  <a:pt x="90" y="216"/>
                </a:lnTo>
                <a:lnTo>
                  <a:pt x="90" y="210"/>
                </a:lnTo>
                <a:lnTo>
                  <a:pt x="90" y="210"/>
                </a:lnTo>
                <a:lnTo>
                  <a:pt x="96" y="210"/>
                </a:lnTo>
                <a:lnTo>
                  <a:pt x="96" y="210"/>
                </a:lnTo>
                <a:lnTo>
                  <a:pt x="96" y="210"/>
                </a:lnTo>
                <a:lnTo>
                  <a:pt x="102" y="210"/>
                </a:lnTo>
                <a:lnTo>
                  <a:pt x="96" y="210"/>
                </a:lnTo>
                <a:lnTo>
                  <a:pt x="102" y="210"/>
                </a:lnTo>
                <a:lnTo>
                  <a:pt x="96" y="216"/>
                </a:lnTo>
                <a:lnTo>
                  <a:pt x="102" y="216"/>
                </a:lnTo>
                <a:lnTo>
                  <a:pt x="102" y="216"/>
                </a:lnTo>
                <a:lnTo>
                  <a:pt x="102" y="216"/>
                </a:lnTo>
                <a:lnTo>
                  <a:pt x="108" y="216"/>
                </a:lnTo>
                <a:lnTo>
                  <a:pt x="108" y="216"/>
                </a:lnTo>
                <a:lnTo>
                  <a:pt x="108" y="216"/>
                </a:lnTo>
                <a:lnTo>
                  <a:pt x="108" y="216"/>
                </a:lnTo>
                <a:lnTo>
                  <a:pt x="108" y="216"/>
                </a:lnTo>
                <a:lnTo>
                  <a:pt x="108" y="210"/>
                </a:lnTo>
                <a:lnTo>
                  <a:pt x="114" y="210"/>
                </a:lnTo>
                <a:lnTo>
                  <a:pt x="114" y="210"/>
                </a:lnTo>
                <a:lnTo>
                  <a:pt x="114" y="210"/>
                </a:lnTo>
                <a:lnTo>
                  <a:pt x="114" y="210"/>
                </a:lnTo>
                <a:lnTo>
                  <a:pt x="114" y="210"/>
                </a:lnTo>
                <a:lnTo>
                  <a:pt x="120" y="210"/>
                </a:lnTo>
                <a:lnTo>
                  <a:pt x="120" y="210"/>
                </a:lnTo>
                <a:lnTo>
                  <a:pt x="120" y="210"/>
                </a:lnTo>
                <a:lnTo>
                  <a:pt x="120" y="210"/>
                </a:lnTo>
                <a:lnTo>
                  <a:pt x="120" y="210"/>
                </a:lnTo>
                <a:lnTo>
                  <a:pt x="120" y="204"/>
                </a:lnTo>
                <a:lnTo>
                  <a:pt x="114" y="198"/>
                </a:lnTo>
                <a:lnTo>
                  <a:pt x="114" y="198"/>
                </a:lnTo>
                <a:lnTo>
                  <a:pt x="114" y="198"/>
                </a:lnTo>
                <a:lnTo>
                  <a:pt x="114" y="198"/>
                </a:lnTo>
                <a:lnTo>
                  <a:pt x="114" y="192"/>
                </a:lnTo>
                <a:lnTo>
                  <a:pt x="114" y="192"/>
                </a:lnTo>
                <a:lnTo>
                  <a:pt x="114" y="192"/>
                </a:lnTo>
                <a:lnTo>
                  <a:pt x="120" y="192"/>
                </a:lnTo>
                <a:lnTo>
                  <a:pt x="120" y="186"/>
                </a:lnTo>
                <a:lnTo>
                  <a:pt x="114" y="186"/>
                </a:lnTo>
                <a:lnTo>
                  <a:pt x="114" y="186"/>
                </a:lnTo>
                <a:lnTo>
                  <a:pt x="114" y="180"/>
                </a:lnTo>
                <a:lnTo>
                  <a:pt x="114" y="180"/>
                </a:lnTo>
                <a:lnTo>
                  <a:pt x="120" y="180"/>
                </a:lnTo>
                <a:lnTo>
                  <a:pt x="120" y="180"/>
                </a:lnTo>
                <a:lnTo>
                  <a:pt x="120" y="180"/>
                </a:lnTo>
                <a:lnTo>
                  <a:pt x="120" y="180"/>
                </a:lnTo>
                <a:lnTo>
                  <a:pt x="114" y="180"/>
                </a:lnTo>
                <a:lnTo>
                  <a:pt x="114" y="174"/>
                </a:lnTo>
                <a:lnTo>
                  <a:pt x="114" y="174"/>
                </a:lnTo>
                <a:lnTo>
                  <a:pt x="114" y="174"/>
                </a:lnTo>
                <a:lnTo>
                  <a:pt x="114" y="174"/>
                </a:lnTo>
                <a:lnTo>
                  <a:pt x="114" y="174"/>
                </a:lnTo>
                <a:lnTo>
                  <a:pt x="114" y="174"/>
                </a:lnTo>
                <a:lnTo>
                  <a:pt x="114" y="168"/>
                </a:lnTo>
                <a:lnTo>
                  <a:pt x="114" y="168"/>
                </a:lnTo>
                <a:lnTo>
                  <a:pt x="108" y="168"/>
                </a:lnTo>
                <a:lnTo>
                  <a:pt x="108" y="168"/>
                </a:lnTo>
                <a:lnTo>
                  <a:pt x="108" y="162"/>
                </a:lnTo>
                <a:lnTo>
                  <a:pt x="108" y="162"/>
                </a:lnTo>
                <a:lnTo>
                  <a:pt x="108" y="162"/>
                </a:lnTo>
                <a:lnTo>
                  <a:pt x="102" y="156"/>
                </a:lnTo>
                <a:lnTo>
                  <a:pt x="102" y="156"/>
                </a:lnTo>
                <a:lnTo>
                  <a:pt x="102" y="156"/>
                </a:lnTo>
                <a:lnTo>
                  <a:pt x="96" y="156"/>
                </a:lnTo>
                <a:lnTo>
                  <a:pt x="96" y="156"/>
                </a:lnTo>
                <a:lnTo>
                  <a:pt x="96" y="156"/>
                </a:lnTo>
                <a:lnTo>
                  <a:pt x="96" y="150"/>
                </a:lnTo>
                <a:lnTo>
                  <a:pt x="90" y="150"/>
                </a:lnTo>
                <a:lnTo>
                  <a:pt x="90" y="150"/>
                </a:lnTo>
                <a:lnTo>
                  <a:pt x="90" y="150"/>
                </a:lnTo>
                <a:lnTo>
                  <a:pt x="84" y="150"/>
                </a:lnTo>
                <a:lnTo>
                  <a:pt x="84" y="156"/>
                </a:lnTo>
                <a:lnTo>
                  <a:pt x="78" y="156"/>
                </a:lnTo>
                <a:lnTo>
                  <a:pt x="78" y="156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2" y="150"/>
                </a:lnTo>
                <a:lnTo>
                  <a:pt x="66" y="150"/>
                </a:lnTo>
                <a:lnTo>
                  <a:pt x="66" y="150"/>
                </a:lnTo>
                <a:lnTo>
                  <a:pt x="60" y="150"/>
                </a:lnTo>
                <a:lnTo>
                  <a:pt x="60" y="150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48" y="150"/>
                </a:lnTo>
                <a:lnTo>
                  <a:pt x="48" y="156"/>
                </a:lnTo>
                <a:lnTo>
                  <a:pt x="48" y="150"/>
                </a:lnTo>
                <a:lnTo>
                  <a:pt x="42" y="150"/>
                </a:lnTo>
                <a:lnTo>
                  <a:pt x="42" y="150"/>
                </a:lnTo>
                <a:lnTo>
                  <a:pt x="42" y="150"/>
                </a:lnTo>
                <a:lnTo>
                  <a:pt x="42" y="144"/>
                </a:lnTo>
                <a:lnTo>
                  <a:pt x="42" y="150"/>
                </a:lnTo>
                <a:lnTo>
                  <a:pt x="42" y="150"/>
                </a:lnTo>
                <a:lnTo>
                  <a:pt x="36" y="150"/>
                </a:lnTo>
                <a:lnTo>
                  <a:pt x="36" y="150"/>
                </a:lnTo>
                <a:lnTo>
                  <a:pt x="36" y="150"/>
                </a:lnTo>
                <a:lnTo>
                  <a:pt x="30" y="156"/>
                </a:lnTo>
                <a:lnTo>
                  <a:pt x="30" y="156"/>
                </a:lnTo>
                <a:lnTo>
                  <a:pt x="30" y="156"/>
                </a:lnTo>
                <a:lnTo>
                  <a:pt x="24" y="150"/>
                </a:lnTo>
                <a:lnTo>
                  <a:pt x="24" y="126"/>
                </a:lnTo>
                <a:lnTo>
                  <a:pt x="24" y="90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60" y="66"/>
                </a:lnTo>
                <a:lnTo>
                  <a:pt x="60" y="60"/>
                </a:lnTo>
                <a:lnTo>
                  <a:pt x="66" y="60"/>
                </a:lnTo>
                <a:lnTo>
                  <a:pt x="72" y="66"/>
                </a:lnTo>
                <a:lnTo>
                  <a:pt x="72" y="60"/>
                </a:lnTo>
                <a:lnTo>
                  <a:pt x="72" y="66"/>
                </a:lnTo>
                <a:lnTo>
                  <a:pt x="72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84" y="66"/>
                </a:lnTo>
                <a:lnTo>
                  <a:pt x="84" y="66"/>
                </a:lnTo>
                <a:lnTo>
                  <a:pt x="84" y="72"/>
                </a:lnTo>
                <a:lnTo>
                  <a:pt x="84" y="66"/>
                </a:lnTo>
                <a:lnTo>
                  <a:pt x="114" y="66"/>
                </a:lnTo>
                <a:lnTo>
                  <a:pt x="174" y="66"/>
                </a:lnTo>
                <a:lnTo>
                  <a:pt x="246" y="66"/>
                </a:lnTo>
                <a:lnTo>
                  <a:pt x="246" y="66"/>
                </a:lnTo>
                <a:lnTo>
                  <a:pt x="246" y="66"/>
                </a:lnTo>
                <a:lnTo>
                  <a:pt x="246" y="66"/>
                </a:lnTo>
                <a:lnTo>
                  <a:pt x="246" y="66"/>
                </a:lnTo>
                <a:lnTo>
                  <a:pt x="246" y="60"/>
                </a:lnTo>
                <a:lnTo>
                  <a:pt x="240" y="60"/>
                </a:lnTo>
                <a:lnTo>
                  <a:pt x="240" y="60"/>
                </a:lnTo>
                <a:lnTo>
                  <a:pt x="240" y="60"/>
                </a:lnTo>
                <a:lnTo>
                  <a:pt x="240" y="60"/>
                </a:lnTo>
                <a:lnTo>
                  <a:pt x="234" y="60"/>
                </a:lnTo>
                <a:lnTo>
                  <a:pt x="234" y="60"/>
                </a:lnTo>
                <a:lnTo>
                  <a:pt x="234" y="54"/>
                </a:lnTo>
                <a:lnTo>
                  <a:pt x="234" y="54"/>
                </a:lnTo>
                <a:lnTo>
                  <a:pt x="234" y="54"/>
                </a:lnTo>
                <a:lnTo>
                  <a:pt x="234" y="54"/>
                </a:lnTo>
                <a:lnTo>
                  <a:pt x="234" y="54"/>
                </a:lnTo>
                <a:lnTo>
                  <a:pt x="234" y="48"/>
                </a:lnTo>
                <a:lnTo>
                  <a:pt x="234" y="42"/>
                </a:lnTo>
                <a:lnTo>
                  <a:pt x="234" y="42"/>
                </a:lnTo>
                <a:lnTo>
                  <a:pt x="240" y="42"/>
                </a:lnTo>
                <a:lnTo>
                  <a:pt x="240" y="36"/>
                </a:lnTo>
                <a:lnTo>
                  <a:pt x="240" y="36"/>
                </a:lnTo>
                <a:lnTo>
                  <a:pt x="246" y="36"/>
                </a:lnTo>
                <a:lnTo>
                  <a:pt x="246" y="36"/>
                </a:lnTo>
                <a:lnTo>
                  <a:pt x="246" y="36"/>
                </a:lnTo>
                <a:lnTo>
                  <a:pt x="246" y="36"/>
                </a:lnTo>
                <a:lnTo>
                  <a:pt x="252" y="36"/>
                </a:lnTo>
                <a:lnTo>
                  <a:pt x="252" y="36"/>
                </a:lnTo>
                <a:lnTo>
                  <a:pt x="252" y="42"/>
                </a:lnTo>
                <a:lnTo>
                  <a:pt x="252" y="42"/>
                </a:lnTo>
                <a:lnTo>
                  <a:pt x="252" y="42"/>
                </a:lnTo>
                <a:lnTo>
                  <a:pt x="258" y="48"/>
                </a:lnTo>
                <a:lnTo>
                  <a:pt x="258" y="48"/>
                </a:lnTo>
                <a:lnTo>
                  <a:pt x="258" y="48"/>
                </a:lnTo>
                <a:lnTo>
                  <a:pt x="264" y="48"/>
                </a:lnTo>
                <a:lnTo>
                  <a:pt x="264" y="48"/>
                </a:lnTo>
                <a:lnTo>
                  <a:pt x="264" y="54"/>
                </a:lnTo>
                <a:lnTo>
                  <a:pt x="270" y="54"/>
                </a:lnTo>
                <a:lnTo>
                  <a:pt x="276" y="54"/>
                </a:lnTo>
                <a:lnTo>
                  <a:pt x="276" y="54"/>
                </a:lnTo>
                <a:lnTo>
                  <a:pt x="276" y="54"/>
                </a:lnTo>
                <a:lnTo>
                  <a:pt x="276" y="54"/>
                </a:lnTo>
                <a:lnTo>
                  <a:pt x="282" y="48"/>
                </a:lnTo>
                <a:lnTo>
                  <a:pt x="276" y="48"/>
                </a:lnTo>
                <a:lnTo>
                  <a:pt x="282" y="48"/>
                </a:lnTo>
                <a:lnTo>
                  <a:pt x="288" y="42"/>
                </a:lnTo>
                <a:lnTo>
                  <a:pt x="288" y="42"/>
                </a:lnTo>
                <a:lnTo>
                  <a:pt x="288" y="36"/>
                </a:lnTo>
                <a:lnTo>
                  <a:pt x="288" y="36"/>
                </a:lnTo>
                <a:lnTo>
                  <a:pt x="294" y="30"/>
                </a:lnTo>
                <a:lnTo>
                  <a:pt x="300" y="30"/>
                </a:lnTo>
                <a:lnTo>
                  <a:pt x="300" y="30"/>
                </a:lnTo>
                <a:lnTo>
                  <a:pt x="306" y="30"/>
                </a:lnTo>
                <a:lnTo>
                  <a:pt x="312" y="30"/>
                </a:lnTo>
                <a:lnTo>
                  <a:pt x="318" y="30"/>
                </a:lnTo>
                <a:lnTo>
                  <a:pt x="318" y="30"/>
                </a:lnTo>
                <a:lnTo>
                  <a:pt x="318" y="24"/>
                </a:lnTo>
                <a:lnTo>
                  <a:pt x="324" y="18"/>
                </a:lnTo>
                <a:lnTo>
                  <a:pt x="324" y="12"/>
                </a:lnTo>
                <a:lnTo>
                  <a:pt x="324" y="12"/>
                </a:lnTo>
                <a:lnTo>
                  <a:pt x="330" y="12"/>
                </a:lnTo>
                <a:lnTo>
                  <a:pt x="336" y="6"/>
                </a:lnTo>
                <a:lnTo>
                  <a:pt x="342" y="0"/>
                </a:lnTo>
                <a:lnTo>
                  <a:pt x="342" y="0"/>
                </a:lnTo>
                <a:lnTo>
                  <a:pt x="342" y="0"/>
                </a:lnTo>
                <a:lnTo>
                  <a:pt x="348" y="0"/>
                </a:lnTo>
                <a:lnTo>
                  <a:pt x="348" y="6"/>
                </a:lnTo>
                <a:lnTo>
                  <a:pt x="354" y="6"/>
                </a:lnTo>
                <a:lnTo>
                  <a:pt x="354" y="18"/>
                </a:lnTo>
                <a:lnTo>
                  <a:pt x="354" y="24"/>
                </a:lnTo>
                <a:lnTo>
                  <a:pt x="354" y="30"/>
                </a:lnTo>
                <a:lnTo>
                  <a:pt x="360" y="42"/>
                </a:lnTo>
                <a:lnTo>
                  <a:pt x="360" y="48"/>
                </a:lnTo>
                <a:lnTo>
                  <a:pt x="360" y="48"/>
                </a:lnTo>
                <a:lnTo>
                  <a:pt x="366" y="54"/>
                </a:lnTo>
                <a:lnTo>
                  <a:pt x="366" y="54"/>
                </a:lnTo>
                <a:lnTo>
                  <a:pt x="372" y="54"/>
                </a:lnTo>
                <a:lnTo>
                  <a:pt x="378" y="54"/>
                </a:lnTo>
                <a:lnTo>
                  <a:pt x="378" y="54"/>
                </a:lnTo>
                <a:lnTo>
                  <a:pt x="384" y="60"/>
                </a:lnTo>
                <a:lnTo>
                  <a:pt x="384" y="66"/>
                </a:lnTo>
                <a:lnTo>
                  <a:pt x="384" y="66"/>
                </a:lnTo>
                <a:lnTo>
                  <a:pt x="384" y="72"/>
                </a:lnTo>
                <a:lnTo>
                  <a:pt x="384" y="72"/>
                </a:lnTo>
                <a:lnTo>
                  <a:pt x="384" y="78"/>
                </a:lnTo>
                <a:lnTo>
                  <a:pt x="384" y="78"/>
                </a:lnTo>
                <a:lnTo>
                  <a:pt x="390" y="96"/>
                </a:lnTo>
                <a:lnTo>
                  <a:pt x="390" y="102"/>
                </a:lnTo>
                <a:lnTo>
                  <a:pt x="390" y="108"/>
                </a:lnTo>
                <a:lnTo>
                  <a:pt x="384" y="114"/>
                </a:lnTo>
                <a:lnTo>
                  <a:pt x="384" y="120"/>
                </a:lnTo>
                <a:lnTo>
                  <a:pt x="384" y="132"/>
                </a:lnTo>
                <a:lnTo>
                  <a:pt x="384" y="138"/>
                </a:lnTo>
                <a:lnTo>
                  <a:pt x="384" y="144"/>
                </a:lnTo>
                <a:lnTo>
                  <a:pt x="414" y="132"/>
                </a:lnTo>
                <a:lnTo>
                  <a:pt x="450" y="162"/>
                </a:lnTo>
                <a:lnTo>
                  <a:pt x="486" y="198"/>
                </a:lnTo>
                <a:lnTo>
                  <a:pt x="498" y="192"/>
                </a:lnTo>
                <a:lnTo>
                  <a:pt x="504" y="192"/>
                </a:lnTo>
                <a:lnTo>
                  <a:pt x="504" y="192"/>
                </a:lnTo>
                <a:lnTo>
                  <a:pt x="504" y="198"/>
                </a:lnTo>
                <a:lnTo>
                  <a:pt x="504" y="198"/>
                </a:lnTo>
                <a:lnTo>
                  <a:pt x="510" y="198"/>
                </a:lnTo>
                <a:lnTo>
                  <a:pt x="510" y="198"/>
                </a:lnTo>
                <a:lnTo>
                  <a:pt x="510" y="192"/>
                </a:lnTo>
                <a:lnTo>
                  <a:pt x="516" y="192"/>
                </a:lnTo>
                <a:lnTo>
                  <a:pt x="516" y="192"/>
                </a:lnTo>
                <a:lnTo>
                  <a:pt x="516" y="192"/>
                </a:lnTo>
                <a:lnTo>
                  <a:pt x="516" y="192"/>
                </a:lnTo>
                <a:lnTo>
                  <a:pt x="516" y="192"/>
                </a:lnTo>
                <a:lnTo>
                  <a:pt x="516" y="186"/>
                </a:lnTo>
                <a:lnTo>
                  <a:pt x="522" y="192"/>
                </a:lnTo>
                <a:lnTo>
                  <a:pt x="522" y="186"/>
                </a:lnTo>
                <a:lnTo>
                  <a:pt x="528" y="192"/>
                </a:lnTo>
                <a:lnTo>
                  <a:pt x="528" y="192"/>
                </a:lnTo>
                <a:lnTo>
                  <a:pt x="528" y="186"/>
                </a:lnTo>
                <a:lnTo>
                  <a:pt x="528" y="186"/>
                </a:lnTo>
                <a:lnTo>
                  <a:pt x="528" y="186"/>
                </a:lnTo>
                <a:lnTo>
                  <a:pt x="534" y="186"/>
                </a:lnTo>
                <a:lnTo>
                  <a:pt x="534" y="186"/>
                </a:lnTo>
                <a:lnTo>
                  <a:pt x="534" y="186"/>
                </a:lnTo>
                <a:lnTo>
                  <a:pt x="534" y="186"/>
                </a:lnTo>
                <a:lnTo>
                  <a:pt x="534" y="180"/>
                </a:lnTo>
                <a:lnTo>
                  <a:pt x="534" y="180"/>
                </a:lnTo>
                <a:lnTo>
                  <a:pt x="534" y="180"/>
                </a:lnTo>
                <a:lnTo>
                  <a:pt x="540" y="180"/>
                </a:lnTo>
                <a:lnTo>
                  <a:pt x="540" y="180"/>
                </a:lnTo>
                <a:lnTo>
                  <a:pt x="540" y="180"/>
                </a:lnTo>
                <a:lnTo>
                  <a:pt x="540" y="180"/>
                </a:lnTo>
                <a:lnTo>
                  <a:pt x="540" y="174"/>
                </a:lnTo>
                <a:lnTo>
                  <a:pt x="546" y="174"/>
                </a:lnTo>
                <a:lnTo>
                  <a:pt x="546" y="174"/>
                </a:lnTo>
                <a:lnTo>
                  <a:pt x="546" y="174"/>
                </a:lnTo>
                <a:lnTo>
                  <a:pt x="552" y="174"/>
                </a:lnTo>
                <a:lnTo>
                  <a:pt x="552" y="168"/>
                </a:lnTo>
                <a:lnTo>
                  <a:pt x="552" y="168"/>
                </a:lnTo>
                <a:lnTo>
                  <a:pt x="552" y="168"/>
                </a:lnTo>
                <a:lnTo>
                  <a:pt x="558" y="168"/>
                </a:lnTo>
                <a:lnTo>
                  <a:pt x="558" y="168"/>
                </a:lnTo>
                <a:lnTo>
                  <a:pt x="558" y="168"/>
                </a:lnTo>
                <a:lnTo>
                  <a:pt x="558" y="168"/>
                </a:lnTo>
                <a:lnTo>
                  <a:pt x="558" y="168"/>
                </a:lnTo>
                <a:lnTo>
                  <a:pt x="558" y="168"/>
                </a:lnTo>
                <a:lnTo>
                  <a:pt x="564" y="162"/>
                </a:lnTo>
                <a:lnTo>
                  <a:pt x="564" y="162"/>
                </a:lnTo>
                <a:lnTo>
                  <a:pt x="564" y="162"/>
                </a:lnTo>
                <a:lnTo>
                  <a:pt x="564" y="162"/>
                </a:lnTo>
                <a:lnTo>
                  <a:pt x="570" y="162"/>
                </a:lnTo>
                <a:lnTo>
                  <a:pt x="570" y="162"/>
                </a:lnTo>
                <a:lnTo>
                  <a:pt x="570" y="162"/>
                </a:lnTo>
                <a:lnTo>
                  <a:pt x="570" y="162"/>
                </a:lnTo>
                <a:lnTo>
                  <a:pt x="570" y="162"/>
                </a:lnTo>
                <a:lnTo>
                  <a:pt x="570" y="162"/>
                </a:lnTo>
                <a:lnTo>
                  <a:pt x="576" y="162"/>
                </a:lnTo>
                <a:lnTo>
                  <a:pt x="576" y="162"/>
                </a:lnTo>
                <a:lnTo>
                  <a:pt x="576" y="162"/>
                </a:lnTo>
                <a:lnTo>
                  <a:pt x="576" y="162"/>
                </a:lnTo>
                <a:lnTo>
                  <a:pt x="576" y="162"/>
                </a:lnTo>
                <a:lnTo>
                  <a:pt x="582" y="162"/>
                </a:lnTo>
                <a:lnTo>
                  <a:pt x="582" y="162"/>
                </a:lnTo>
                <a:lnTo>
                  <a:pt x="582" y="168"/>
                </a:lnTo>
                <a:lnTo>
                  <a:pt x="582" y="162"/>
                </a:lnTo>
                <a:lnTo>
                  <a:pt x="588" y="162"/>
                </a:lnTo>
                <a:lnTo>
                  <a:pt x="582" y="168"/>
                </a:lnTo>
                <a:lnTo>
                  <a:pt x="588" y="168"/>
                </a:lnTo>
                <a:lnTo>
                  <a:pt x="588" y="168"/>
                </a:lnTo>
                <a:lnTo>
                  <a:pt x="588" y="168"/>
                </a:lnTo>
                <a:lnTo>
                  <a:pt x="588" y="168"/>
                </a:lnTo>
                <a:lnTo>
                  <a:pt x="588" y="168"/>
                </a:lnTo>
                <a:lnTo>
                  <a:pt x="588" y="174"/>
                </a:lnTo>
                <a:lnTo>
                  <a:pt x="588" y="174"/>
                </a:lnTo>
                <a:lnTo>
                  <a:pt x="594" y="174"/>
                </a:lnTo>
                <a:lnTo>
                  <a:pt x="588" y="174"/>
                </a:lnTo>
                <a:lnTo>
                  <a:pt x="594" y="180"/>
                </a:lnTo>
                <a:lnTo>
                  <a:pt x="594" y="180"/>
                </a:lnTo>
                <a:lnTo>
                  <a:pt x="594" y="180"/>
                </a:lnTo>
                <a:lnTo>
                  <a:pt x="594" y="180"/>
                </a:lnTo>
                <a:lnTo>
                  <a:pt x="594" y="186"/>
                </a:lnTo>
                <a:lnTo>
                  <a:pt x="594" y="186"/>
                </a:lnTo>
                <a:lnTo>
                  <a:pt x="588" y="186"/>
                </a:lnTo>
                <a:lnTo>
                  <a:pt x="588" y="186"/>
                </a:lnTo>
                <a:lnTo>
                  <a:pt x="588" y="186"/>
                </a:lnTo>
                <a:lnTo>
                  <a:pt x="588" y="186"/>
                </a:lnTo>
                <a:lnTo>
                  <a:pt x="588" y="186"/>
                </a:lnTo>
                <a:lnTo>
                  <a:pt x="588" y="186"/>
                </a:lnTo>
                <a:lnTo>
                  <a:pt x="588" y="192"/>
                </a:lnTo>
                <a:lnTo>
                  <a:pt x="588" y="192"/>
                </a:lnTo>
                <a:lnTo>
                  <a:pt x="588" y="192"/>
                </a:lnTo>
                <a:lnTo>
                  <a:pt x="582" y="192"/>
                </a:lnTo>
                <a:lnTo>
                  <a:pt x="582" y="198"/>
                </a:lnTo>
                <a:lnTo>
                  <a:pt x="582" y="198"/>
                </a:lnTo>
                <a:lnTo>
                  <a:pt x="582" y="198"/>
                </a:lnTo>
                <a:lnTo>
                  <a:pt x="582" y="198"/>
                </a:lnTo>
                <a:lnTo>
                  <a:pt x="582" y="204"/>
                </a:lnTo>
                <a:lnTo>
                  <a:pt x="588" y="204"/>
                </a:lnTo>
                <a:lnTo>
                  <a:pt x="588" y="210"/>
                </a:lnTo>
                <a:lnTo>
                  <a:pt x="588" y="210"/>
                </a:lnTo>
                <a:lnTo>
                  <a:pt x="588" y="210"/>
                </a:lnTo>
                <a:lnTo>
                  <a:pt x="588" y="204"/>
                </a:lnTo>
                <a:lnTo>
                  <a:pt x="594" y="204"/>
                </a:lnTo>
                <a:lnTo>
                  <a:pt x="594" y="204"/>
                </a:lnTo>
                <a:lnTo>
                  <a:pt x="594" y="204"/>
                </a:lnTo>
                <a:lnTo>
                  <a:pt x="594" y="204"/>
                </a:lnTo>
                <a:lnTo>
                  <a:pt x="594" y="204"/>
                </a:lnTo>
                <a:lnTo>
                  <a:pt x="600" y="204"/>
                </a:lnTo>
                <a:lnTo>
                  <a:pt x="600" y="204"/>
                </a:lnTo>
                <a:lnTo>
                  <a:pt x="600" y="204"/>
                </a:lnTo>
                <a:lnTo>
                  <a:pt x="600" y="204"/>
                </a:lnTo>
                <a:lnTo>
                  <a:pt x="600" y="198"/>
                </a:lnTo>
                <a:lnTo>
                  <a:pt x="606" y="198"/>
                </a:lnTo>
                <a:lnTo>
                  <a:pt x="606" y="198"/>
                </a:lnTo>
                <a:lnTo>
                  <a:pt x="606" y="198"/>
                </a:lnTo>
                <a:lnTo>
                  <a:pt x="606" y="198"/>
                </a:lnTo>
                <a:lnTo>
                  <a:pt x="606" y="192"/>
                </a:lnTo>
                <a:lnTo>
                  <a:pt x="606" y="192"/>
                </a:lnTo>
                <a:lnTo>
                  <a:pt x="606" y="192"/>
                </a:lnTo>
                <a:lnTo>
                  <a:pt x="606" y="192"/>
                </a:lnTo>
                <a:lnTo>
                  <a:pt x="606" y="192"/>
                </a:lnTo>
                <a:lnTo>
                  <a:pt x="606" y="186"/>
                </a:lnTo>
                <a:lnTo>
                  <a:pt x="606" y="186"/>
                </a:lnTo>
                <a:lnTo>
                  <a:pt x="606" y="186"/>
                </a:lnTo>
                <a:lnTo>
                  <a:pt x="606" y="180"/>
                </a:lnTo>
                <a:lnTo>
                  <a:pt x="606" y="180"/>
                </a:lnTo>
                <a:lnTo>
                  <a:pt x="612" y="180"/>
                </a:lnTo>
                <a:lnTo>
                  <a:pt x="612" y="180"/>
                </a:lnTo>
                <a:lnTo>
                  <a:pt x="612" y="180"/>
                </a:lnTo>
                <a:lnTo>
                  <a:pt x="612" y="180"/>
                </a:lnTo>
                <a:lnTo>
                  <a:pt x="612" y="174"/>
                </a:lnTo>
                <a:lnTo>
                  <a:pt x="618" y="174"/>
                </a:lnTo>
                <a:lnTo>
                  <a:pt x="618" y="168"/>
                </a:lnTo>
                <a:lnTo>
                  <a:pt x="624" y="174"/>
                </a:lnTo>
                <a:lnTo>
                  <a:pt x="624" y="168"/>
                </a:lnTo>
                <a:lnTo>
                  <a:pt x="624" y="174"/>
                </a:lnTo>
                <a:lnTo>
                  <a:pt x="624" y="174"/>
                </a:lnTo>
                <a:lnTo>
                  <a:pt x="624" y="174"/>
                </a:lnTo>
                <a:lnTo>
                  <a:pt x="624" y="174"/>
                </a:lnTo>
                <a:lnTo>
                  <a:pt x="624" y="174"/>
                </a:lnTo>
                <a:lnTo>
                  <a:pt x="630" y="174"/>
                </a:lnTo>
                <a:lnTo>
                  <a:pt x="630" y="174"/>
                </a:lnTo>
                <a:lnTo>
                  <a:pt x="630" y="174"/>
                </a:lnTo>
                <a:lnTo>
                  <a:pt x="630" y="174"/>
                </a:lnTo>
                <a:lnTo>
                  <a:pt x="630" y="174"/>
                </a:lnTo>
                <a:lnTo>
                  <a:pt x="636" y="174"/>
                </a:lnTo>
                <a:lnTo>
                  <a:pt x="636" y="168"/>
                </a:lnTo>
                <a:lnTo>
                  <a:pt x="636" y="168"/>
                </a:lnTo>
                <a:lnTo>
                  <a:pt x="636" y="168"/>
                </a:lnTo>
                <a:lnTo>
                  <a:pt x="636" y="162"/>
                </a:lnTo>
                <a:lnTo>
                  <a:pt x="636" y="162"/>
                </a:lnTo>
                <a:lnTo>
                  <a:pt x="636" y="162"/>
                </a:lnTo>
                <a:lnTo>
                  <a:pt x="636" y="162"/>
                </a:lnTo>
                <a:lnTo>
                  <a:pt x="636" y="156"/>
                </a:lnTo>
                <a:lnTo>
                  <a:pt x="636" y="156"/>
                </a:lnTo>
                <a:lnTo>
                  <a:pt x="636" y="150"/>
                </a:lnTo>
                <a:lnTo>
                  <a:pt x="636" y="150"/>
                </a:lnTo>
                <a:lnTo>
                  <a:pt x="636" y="150"/>
                </a:lnTo>
                <a:lnTo>
                  <a:pt x="642" y="144"/>
                </a:lnTo>
                <a:lnTo>
                  <a:pt x="642" y="144"/>
                </a:lnTo>
                <a:lnTo>
                  <a:pt x="642" y="144"/>
                </a:lnTo>
                <a:lnTo>
                  <a:pt x="642" y="144"/>
                </a:lnTo>
                <a:lnTo>
                  <a:pt x="648" y="144"/>
                </a:lnTo>
                <a:lnTo>
                  <a:pt x="648" y="144"/>
                </a:lnTo>
                <a:lnTo>
                  <a:pt x="648" y="144"/>
                </a:lnTo>
                <a:lnTo>
                  <a:pt x="648" y="144"/>
                </a:lnTo>
                <a:lnTo>
                  <a:pt x="648" y="150"/>
                </a:lnTo>
                <a:lnTo>
                  <a:pt x="648" y="150"/>
                </a:lnTo>
                <a:lnTo>
                  <a:pt x="654" y="150"/>
                </a:lnTo>
                <a:lnTo>
                  <a:pt x="654" y="150"/>
                </a:lnTo>
                <a:lnTo>
                  <a:pt x="654" y="150"/>
                </a:lnTo>
                <a:lnTo>
                  <a:pt x="654" y="144"/>
                </a:lnTo>
                <a:lnTo>
                  <a:pt x="660" y="144"/>
                </a:lnTo>
                <a:lnTo>
                  <a:pt x="660" y="138"/>
                </a:lnTo>
                <a:lnTo>
                  <a:pt x="660" y="138"/>
                </a:lnTo>
                <a:lnTo>
                  <a:pt x="660" y="138"/>
                </a:lnTo>
                <a:lnTo>
                  <a:pt x="660" y="138"/>
                </a:lnTo>
                <a:lnTo>
                  <a:pt x="660" y="132"/>
                </a:lnTo>
                <a:lnTo>
                  <a:pt x="666" y="132"/>
                </a:lnTo>
                <a:lnTo>
                  <a:pt x="666" y="132"/>
                </a:lnTo>
                <a:lnTo>
                  <a:pt x="666" y="138"/>
                </a:lnTo>
                <a:lnTo>
                  <a:pt x="666" y="138"/>
                </a:lnTo>
                <a:lnTo>
                  <a:pt x="666" y="138"/>
                </a:lnTo>
                <a:lnTo>
                  <a:pt x="666" y="132"/>
                </a:lnTo>
                <a:lnTo>
                  <a:pt x="672" y="132"/>
                </a:lnTo>
                <a:lnTo>
                  <a:pt x="672" y="132"/>
                </a:lnTo>
                <a:lnTo>
                  <a:pt x="672" y="132"/>
                </a:lnTo>
                <a:lnTo>
                  <a:pt x="672" y="132"/>
                </a:lnTo>
                <a:lnTo>
                  <a:pt x="672" y="132"/>
                </a:lnTo>
                <a:lnTo>
                  <a:pt x="672" y="132"/>
                </a:lnTo>
                <a:lnTo>
                  <a:pt x="672" y="132"/>
                </a:lnTo>
                <a:lnTo>
                  <a:pt x="672" y="132"/>
                </a:lnTo>
                <a:lnTo>
                  <a:pt x="678" y="126"/>
                </a:lnTo>
                <a:lnTo>
                  <a:pt x="678" y="126"/>
                </a:lnTo>
                <a:lnTo>
                  <a:pt x="678" y="126"/>
                </a:lnTo>
                <a:lnTo>
                  <a:pt x="684" y="120"/>
                </a:lnTo>
                <a:lnTo>
                  <a:pt x="684" y="120"/>
                </a:lnTo>
                <a:lnTo>
                  <a:pt x="684" y="126"/>
                </a:lnTo>
                <a:lnTo>
                  <a:pt x="684" y="126"/>
                </a:lnTo>
                <a:lnTo>
                  <a:pt x="684" y="126"/>
                </a:lnTo>
                <a:lnTo>
                  <a:pt x="684" y="132"/>
                </a:lnTo>
                <a:lnTo>
                  <a:pt x="690" y="132"/>
                </a:lnTo>
                <a:lnTo>
                  <a:pt x="690" y="132"/>
                </a:lnTo>
                <a:lnTo>
                  <a:pt x="690" y="132"/>
                </a:lnTo>
                <a:lnTo>
                  <a:pt x="696" y="132"/>
                </a:lnTo>
                <a:lnTo>
                  <a:pt x="696" y="132"/>
                </a:lnTo>
                <a:lnTo>
                  <a:pt x="696" y="132"/>
                </a:lnTo>
                <a:lnTo>
                  <a:pt x="696" y="126"/>
                </a:lnTo>
                <a:lnTo>
                  <a:pt x="696" y="126"/>
                </a:lnTo>
                <a:lnTo>
                  <a:pt x="696" y="126"/>
                </a:lnTo>
                <a:lnTo>
                  <a:pt x="696" y="126"/>
                </a:lnTo>
                <a:lnTo>
                  <a:pt x="696" y="126"/>
                </a:lnTo>
                <a:lnTo>
                  <a:pt x="702" y="126"/>
                </a:lnTo>
                <a:lnTo>
                  <a:pt x="702" y="126"/>
                </a:lnTo>
                <a:lnTo>
                  <a:pt x="702" y="126"/>
                </a:lnTo>
                <a:lnTo>
                  <a:pt x="702" y="126"/>
                </a:lnTo>
                <a:lnTo>
                  <a:pt x="708" y="120"/>
                </a:lnTo>
                <a:lnTo>
                  <a:pt x="708" y="120"/>
                </a:lnTo>
                <a:lnTo>
                  <a:pt x="708" y="120"/>
                </a:lnTo>
                <a:lnTo>
                  <a:pt x="714" y="120"/>
                </a:lnTo>
                <a:lnTo>
                  <a:pt x="714" y="120"/>
                </a:lnTo>
                <a:lnTo>
                  <a:pt x="714" y="114"/>
                </a:lnTo>
                <a:lnTo>
                  <a:pt x="714" y="114"/>
                </a:lnTo>
                <a:lnTo>
                  <a:pt x="714" y="114"/>
                </a:lnTo>
                <a:lnTo>
                  <a:pt x="714" y="114"/>
                </a:lnTo>
                <a:lnTo>
                  <a:pt x="714" y="108"/>
                </a:lnTo>
                <a:lnTo>
                  <a:pt x="720" y="108"/>
                </a:lnTo>
                <a:lnTo>
                  <a:pt x="720" y="108"/>
                </a:lnTo>
                <a:lnTo>
                  <a:pt x="720" y="108"/>
                </a:lnTo>
                <a:lnTo>
                  <a:pt x="720" y="108"/>
                </a:lnTo>
                <a:lnTo>
                  <a:pt x="720" y="108"/>
                </a:lnTo>
                <a:lnTo>
                  <a:pt x="726" y="102"/>
                </a:lnTo>
                <a:lnTo>
                  <a:pt x="726" y="102"/>
                </a:lnTo>
                <a:lnTo>
                  <a:pt x="726" y="102"/>
                </a:lnTo>
                <a:lnTo>
                  <a:pt x="732" y="102"/>
                </a:lnTo>
                <a:lnTo>
                  <a:pt x="732" y="102"/>
                </a:lnTo>
                <a:lnTo>
                  <a:pt x="732" y="102"/>
                </a:lnTo>
                <a:lnTo>
                  <a:pt x="732" y="102"/>
                </a:lnTo>
                <a:lnTo>
                  <a:pt x="732" y="96"/>
                </a:lnTo>
                <a:lnTo>
                  <a:pt x="732" y="96"/>
                </a:lnTo>
                <a:lnTo>
                  <a:pt x="738" y="96"/>
                </a:lnTo>
                <a:lnTo>
                  <a:pt x="738" y="96"/>
                </a:lnTo>
                <a:lnTo>
                  <a:pt x="738" y="96"/>
                </a:lnTo>
                <a:lnTo>
                  <a:pt x="744" y="96"/>
                </a:lnTo>
                <a:lnTo>
                  <a:pt x="744" y="96"/>
                </a:lnTo>
                <a:lnTo>
                  <a:pt x="744" y="102"/>
                </a:lnTo>
                <a:lnTo>
                  <a:pt x="738" y="102"/>
                </a:lnTo>
                <a:lnTo>
                  <a:pt x="738" y="102"/>
                </a:lnTo>
                <a:lnTo>
                  <a:pt x="738" y="102"/>
                </a:lnTo>
                <a:lnTo>
                  <a:pt x="738" y="108"/>
                </a:lnTo>
                <a:lnTo>
                  <a:pt x="738" y="108"/>
                </a:lnTo>
                <a:lnTo>
                  <a:pt x="738" y="114"/>
                </a:lnTo>
                <a:lnTo>
                  <a:pt x="738" y="114"/>
                </a:lnTo>
                <a:lnTo>
                  <a:pt x="738" y="114"/>
                </a:lnTo>
                <a:lnTo>
                  <a:pt x="744" y="114"/>
                </a:lnTo>
                <a:lnTo>
                  <a:pt x="744" y="114"/>
                </a:lnTo>
                <a:lnTo>
                  <a:pt x="744" y="114"/>
                </a:lnTo>
                <a:lnTo>
                  <a:pt x="744" y="114"/>
                </a:lnTo>
                <a:lnTo>
                  <a:pt x="744" y="114"/>
                </a:lnTo>
                <a:lnTo>
                  <a:pt x="744" y="114"/>
                </a:lnTo>
                <a:lnTo>
                  <a:pt x="744" y="114"/>
                </a:lnTo>
                <a:lnTo>
                  <a:pt x="744" y="114"/>
                </a:lnTo>
                <a:lnTo>
                  <a:pt x="744" y="114"/>
                </a:lnTo>
                <a:lnTo>
                  <a:pt x="744" y="108"/>
                </a:lnTo>
                <a:lnTo>
                  <a:pt x="744" y="108"/>
                </a:lnTo>
                <a:lnTo>
                  <a:pt x="744" y="108"/>
                </a:lnTo>
                <a:lnTo>
                  <a:pt x="744" y="108"/>
                </a:lnTo>
                <a:lnTo>
                  <a:pt x="744" y="108"/>
                </a:lnTo>
                <a:lnTo>
                  <a:pt x="750" y="102"/>
                </a:lnTo>
                <a:lnTo>
                  <a:pt x="750" y="102"/>
                </a:lnTo>
                <a:lnTo>
                  <a:pt x="750" y="102"/>
                </a:lnTo>
                <a:lnTo>
                  <a:pt x="750" y="102"/>
                </a:lnTo>
                <a:lnTo>
                  <a:pt x="750" y="102"/>
                </a:lnTo>
                <a:lnTo>
                  <a:pt x="750" y="102"/>
                </a:lnTo>
                <a:lnTo>
                  <a:pt x="756" y="102"/>
                </a:lnTo>
                <a:lnTo>
                  <a:pt x="756" y="96"/>
                </a:lnTo>
                <a:lnTo>
                  <a:pt x="756" y="96"/>
                </a:lnTo>
                <a:lnTo>
                  <a:pt x="756" y="96"/>
                </a:lnTo>
                <a:lnTo>
                  <a:pt x="756" y="96"/>
                </a:lnTo>
                <a:lnTo>
                  <a:pt x="762" y="96"/>
                </a:lnTo>
                <a:lnTo>
                  <a:pt x="762" y="96"/>
                </a:lnTo>
                <a:lnTo>
                  <a:pt x="762" y="90"/>
                </a:lnTo>
                <a:lnTo>
                  <a:pt x="768" y="90"/>
                </a:lnTo>
                <a:lnTo>
                  <a:pt x="768" y="90"/>
                </a:lnTo>
                <a:lnTo>
                  <a:pt x="768" y="90"/>
                </a:lnTo>
                <a:lnTo>
                  <a:pt x="768" y="90"/>
                </a:lnTo>
                <a:lnTo>
                  <a:pt x="768" y="90"/>
                </a:lnTo>
                <a:lnTo>
                  <a:pt x="768" y="90"/>
                </a:lnTo>
                <a:lnTo>
                  <a:pt x="774" y="90"/>
                </a:lnTo>
                <a:lnTo>
                  <a:pt x="774" y="84"/>
                </a:lnTo>
                <a:lnTo>
                  <a:pt x="774" y="84"/>
                </a:lnTo>
                <a:lnTo>
                  <a:pt x="774" y="84"/>
                </a:lnTo>
                <a:lnTo>
                  <a:pt x="774" y="78"/>
                </a:lnTo>
                <a:lnTo>
                  <a:pt x="780" y="78"/>
                </a:lnTo>
                <a:lnTo>
                  <a:pt x="780" y="78"/>
                </a:lnTo>
                <a:lnTo>
                  <a:pt x="780" y="72"/>
                </a:lnTo>
                <a:lnTo>
                  <a:pt x="780" y="72"/>
                </a:lnTo>
                <a:lnTo>
                  <a:pt x="780" y="72"/>
                </a:lnTo>
                <a:lnTo>
                  <a:pt x="780" y="66"/>
                </a:lnTo>
                <a:lnTo>
                  <a:pt x="780" y="66"/>
                </a:lnTo>
                <a:lnTo>
                  <a:pt x="780" y="66"/>
                </a:lnTo>
                <a:lnTo>
                  <a:pt x="780" y="66"/>
                </a:lnTo>
                <a:lnTo>
                  <a:pt x="780" y="66"/>
                </a:lnTo>
                <a:lnTo>
                  <a:pt x="780" y="66"/>
                </a:lnTo>
                <a:lnTo>
                  <a:pt x="780" y="60"/>
                </a:lnTo>
                <a:lnTo>
                  <a:pt x="780" y="60"/>
                </a:lnTo>
                <a:lnTo>
                  <a:pt x="780" y="60"/>
                </a:lnTo>
                <a:lnTo>
                  <a:pt x="780" y="54"/>
                </a:lnTo>
                <a:lnTo>
                  <a:pt x="780" y="54"/>
                </a:lnTo>
                <a:lnTo>
                  <a:pt x="780" y="54"/>
                </a:lnTo>
                <a:lnTo>
                  <a:pt x="780" y="54"/>
                </a:lnTo>
                <a:lnTo>
                  <a:pt x="780" y="54"/>
                </a:lnTo>
                <a:lnTo>
                  <a:pt x="780" y="48"/>
                </a:lnTo>
                <a:lnTo>
                  <a:pt x="780" y="48"/>
                </a:lnTo>
                <a:lnTo>
                  <a:pt x="780" y="42"/>
                </a:lnTo>
                <a:lnTo>
                  <a:pt x="780" y="42"/>
                </a:lnTo>
                <a:lnTo>
                  <a:pt x="780" y="42"/>
                </a:lnTo>
                <a:lnTo>
                  <a:pt x="780" y="42"/>
                </a:lnTo>
                <a:lnTo>
                  <a:pt x="786" y="42"/>
                </a:lnTo>
                <a:lnTo>
                  <a:pt x="786" y="36"/>
                </a:lnTo>
                <a:lnTo>
                  <a:pt x="786" y="36"/>
                </a:lnTo>
                <a:lnTo>
                  <a:pt x="786" y="36"/>
                </a:lnTo>
                <a:lnTo>
                  <a:pt x="786" y="36"/>
                </a:lnTo>
                <a:lnTo>
                  <a:pt x="792" y="36"/>
                </a:lnTo>
                <a:lnTo>
                  <a:pt x="792" y="36"/>
                </a:lnTo>
                <a:lnTo>
                  <a:pt x="792" y="36"/>
                </a:lnTo>
                <a:lnTo>
                  <a:pt x="792" y="36"/>
                </a:lnTo>
                <a:lnTo>
                  <a:pt x="792" y="36"/>
                </a:lnTo>
                <a:lnTo>
                  <a:pt x="798" y="36"/>
                </a:lnTo>
                <a:lnTo>
                  <a:pt x="798" y="36"/>
                </a:lnTo>
                <a:lnTo>
                  <a:pt x="798" y="36"/>
                </a:lnTo>
                <a:lnTo>
                  <a:pt x="804" y="36"/>
                </a:lnTo>
                <a:lnTo>
                  <a:pt x="804" y="36"/>
                </a:lnTo>
                <a:lnTo>
                  <a:pt x="804" y="36"/>
                </a:lnTo>
                <a:lnTo>
                  <a:pt x="810" y="36"/>
                </a:lnTo>
                <a:lnTo>
                  <a:pt x="810" y="36"/>
                </a:lnTo>
                <a:lnTo>
                  <a:pt x="810" y="36"/>
                </a:lnTo>
                <a:lnTo>
                  <a:pt x="810" y="36"/>
                </a:lnTo>
                <a:lnTo>
                  <a:pt x="816" y="36"/>
                </a:lnTo>
                <a:lnTo>
                  <a:pt x="816" y="36"/>
                </a:lnTo>
                <a:lnTo>
                  <a:pt x="816" y="36"/>
                </a:lnTo>
                <a:lnTo>
                  <a:pt x="816" y="36"/>
                </a:lnTo>
                <a:lnTo>
                  <a:pt x="822" y="30"/>
                </a:lnTo>
                <a:lnTo>
                  <a:pt x="822" y="36"/>
                </a:lnTo>
                <a:lnTo>
                  <a:pt x="822" y="36"/>
                </a:lnTo>
                <a:lnTo>
                  <a:pt x="822" y="30"/>
                </a:lnTo>
                <a:lnTo>
                  <a:pt x="822" y="30"/>
                </a:lnTo>
                <a:lnTo>
                  <a:pt x="822" y="30"/>
                </a:lnTo>
                <a:lnTo>
                  <a:pt x="822" y="30"/>
                </a:lnTo>
                <a:lnTo>
                  <a:pt x="828" y="30"/>
                </a:lnTo>
                <a:lnTo>
                  <a:pt x="828" y="30"/>
                </a:lnTo>
                <a:lnTo>
                  <a:pt x="828" y="30"/>
                </a:lnTo>
                <a:lnTo>
                  <a:pt x="828" y="30"/>
                </a:lnTo>
                <a:lnTo>
                  <a:pt x="828" y="30"/>
                </a:lnTo>
                <a:lnTo>
                  <a:pt x="834" y="30"/>
                </a:lnTo>
                <a:lnTo>
                  <a:pt x="834" y="30"/>
                </a:lnTo>
                <a:lnTo>
                  <a:pt x="834" y="30"/>
                </a:lnTo>
                <a:lnTo>
                  <a:pt x="834" y="24"/>
                </a:lnTo>
                <a:lnTo>
                  <a:pt x="834" y="24"/>
                </a:lnTo>
                <a:lnTo>
                  <a:pt x="834" y="24"/>
                </a:lnTo>
                <a:lnTo>
                  <a:pt x="834" y="24"/>
                </a:lnTo>
                <a:lnTo>
                  <a:pt x="834" y="24"/>
                </a:lnTo>
                <a:lnTo>
                  <a:pt x="834" y="24"/>
                </a:lnTo>
                <a:lnTo>
                  <a:pt x="840" y="24"/>
                </a:lnTo>
                <a:lnTo>
                  <a:pt x="840" y="18"/>
                </a:lnTo>
                <a:lnTo>
                  <a:pt x="840" y="18"/>
                </a:lnTo>
                <a:lnTo>
                  <a:pt x="840" y="18"/>
                </a:lnTo>
                <a:lnTo>
                  <a:pt x="840" y="18"/>
                </a:lnTo>
                <a:lnTo>
                  <a:pt x="840" y="18"/>
                </a:lnTo>
                <a:lnTo>
                  <a:pt x="846" y="18"/>
                </a:lnTo>
                <a:lnTo>
                  <a:pt x="846" y="18"/>
                </a:lnTo>
                <a:lnTo>
                  <a:pt x="846" y="18"/>
                </a:lnTo>
                <a:lnTo>
                  <a:pt x="852" y="18"/>
                </a:lnTo>
                <a:lnTo>
                  <a:pt x="852" y="18"/>
                </a:lnTo>
                <a:lnTo>
                  <a:pt x="852" y="18"/>
                </a:lnTo>
                <a:lnTo>
                  <a:pt x="858" y="18"/>
                </a:lnTo>
                <a:lnTo>
                  <a:pt x="858" y="18"/>
                </a:lnTo>
                <a:lnTo>
                  <a:pt x="858" y="12"/>
                </a:lnTo>
                <a:lnTo>
                  <a:pt x="858" y="18"/>
                </a:lnTo>
                <a:lnTo>
                  <a:pt x="864" y="18"/>
                </a:lnTo>
                <a:lnTo>
                  <a:pt x="864" y="18"/>
                </a:lnTo>
                <a:lnTo>
                  <a:pt x="864" y="18"/>
                </a:lnTo>
                <a:lnTo>
                  <a:pt x="864" y="12"/>
                </a:lnTo>
                <a:lnTo>
                  <a:pt x="864" y="12"/>
                </a:lnTo>
                <a:lnTo>
                  <a:pt x="864" y="12"/>
                </a:lnTo>
                <a:lnTo>
                  <a:pt x="864" y="12"/>
                </a:lnTo>
                <a:lnTo>
                  <a:pt x="870" y="12"/>
                </a:lnTo>
                <a:lnTo>
                  <a:pt x="864" y="6"/>
                </a:lnTo>
                <a:lnTo>
                  <a:pt x="864" y="6"/>
                </a:lnTo>
                <a:lnTo>
                  <a:pt x="870" y="6"/>
                </a:lnTo>
                <a:lnTo>
                  <a:pt x="870" y="6"/>
                </a:lnTo>
                <a:lnTo>
                  <a:pt x="876" y="12"/>
                </a:lnTo>
                <a:lnTo>
                  <a:pt x="882" y="12"/>
                </a:lnTo>
                <a:lnTo>
                  <a:pt x="882" y="12"/>
                </a:lnTo>
                <a:lnTo>
                  <a:pt x="894" y="12"/>
                </a:lnTo>
                <a:lnTo>
                  <a:pt x="894" y="12"/>
                </a:lnTo>
                <a:lnTo>
                  <a:pt x="900" y="12"/>
                </a:lnTo>
                <a:lnTo>
                  <a:pt x="900" y="12"/>
                </a:lnTo>
                <a:lnTo>
                  <a:pt x="900" y="12"/>
                </a:lnTo>
                <a:lnTo>
                  <a:pt x="900" y="12"/>
                </a:lnTo>
                <a:lnTo>
                  <a:pt x="900" y="18"/>
                </a:lnTo>
                <a:lnTo>
                  <a:pt x="900" y="18"/>
                </a:lnTo>
                <a:lnTo>
                  <a:pt x="906" y="24"/>
                </a:lnTo>
                <a:lnTo>
                  <a:pt x="906" y="24"/>
                </a:lnTo>
                <a:lnTo>
                  <a:pt x="912" y="30"/>
                </a:lnTo>
                <a:lnTo>
                  <a:pt x="918" y="30"/>
                </a:lnTo>
                <a:lnTo>
                  <a:pt x="918" y="30"/>
                </a:lnTo>
                <a:lnTo>
                  <a:pt x="924" y="30"/>
                </a:lnTo>
                <a:lnTo>
                  <a:pt x="930" y="30"/>
                </a:lnTo>
                <a:lnTo>
                  <a:pt x="942" y="30"/>
                </a:lnTo>
                <a:lnTo>
                  <a:pt x="942" y="30"/>
                </a:lnTo>
                <a:lnTo>
                  <a:pt x="942" y="36"/>
                </a:lnTo>
                <a:lnTo>
                  <a:pt x="942" y="36"/>
                </a:lnTo>
                <a:lnTo>
                  <a:pt x="954" y="36"/>
                </a:lnTo>
                <a:lnTo>
                  <a:pt x="954" y="36"/>
                </a:lnTo>
                <a:lnTo>
                  <a:pt x="954" y="36"/>
                </a:lnTo>
                <a:lnTo>
                  <a:pt x="954" y="42"/>
                </a:lnTo>
                <a:lnTo>
                  <a:pt x="960" y="42"/>
                </a:lnTo>
                <a:lnTo>
                  <a:pt x="954" y="48"/>
                </a:lnTo>
                <a:lnTo>
                  <a:pt x="954" y="54"/>
                </a:lnTo>
                <a:lnTo>
                  <a:pt x="954" y="72"/>
                </a:lnTo>
                <a:lnTo>
                  <a:pt x="954" y="72"/>
                </a:lnTo>
                <a:lnTo>
                  <a:pt x="954" y="72"/>
                </a:lnTo>
                <a:lnTo>
                  <a:pt x="954" y="72"/>
                </a:lnTo>
                <a:lnTo>
                  <a:pt x="948" y="78"/>
                </a:lnTo>
                <a:lnTo>
                  <a:pt x="948" y="78"/>
                </a:lnTo>
                <a:lnTo>
                  <a:pt x="948" y="78"/>
                </a:lnTo>
                <a:lnTo>
                  <a:pt x="942" y="84"/>
                </a:lnTo>
                <a:lnTo>
                  <a:pt x="942" y="84"/>
                </a:lnTo>
                <a:lnTo>
                  <a:pt x="942" y="84"/>
                </a:lnTo>
                <a:lnTo>
                  <a:pt x="942" y="84"/>
                </a:lnTo>
                <a:lnTo>
                  <a:pt x="948" y="90"/>
                </a:lnTo>
                <a:lnTo>
                  <a:pt x="948" y="90"/>
                </a:lnTo>
                <a:lnTo>
                  <a:pt x="948" y="96"/>
                </a:lnTo>
                <a:lnTo>
                  <a:pt x="954" y="96"/>
                </a:lnTo>
                <a:lnTo>
                  <a:pt x="954" y="96"/>
                </a:lnTo>
                <a:lnTo>
                  <a:pt x="954" y="102"/>
                </a:lnTo>
                <a:lnTo>
                  <a:pt x="960" y="102"/>
                </a:lnTo>
                <a:lnTo>
                  <a:pt x="960" y="102"/>
                </a:lnTo>
                <a:lnTo>
                  <a:pt x="966" y="108"/>
                </a:lnTo>
                <a:lnTo>
                  <a:pt x="966" y="108"/>
                </a:lnTo>
                <a:lnTo>
                  <a:pt x="966" y="108"/>
                </a:lnTo>
                <a:lnTo>
                  <a:pt x="966" y="108"/>
                </a:lnTo>
                <a:lnTo>
                  <a:pt x="966" y="114"/>
                </a:lnTo>
                <a:lnTo>
                  <a:pt x="966" y="114"/>
                </a:lnTo>
                <a:lnTo>
                  <a:pt x="966" y="114"/>
                </a:lnTo>
                <a:lnTo>
                  <a:pt x="966" y="120"/>
                </a:lnTo>
                <a:lnTo>
                  <a:pt x="972" y="132"/>
                </a:lnTo>
                <a:lnTo>
                  <a:pt x="978" y="138"/>
                </a:lnTo>
                <a:lnTo>
                  <a:pt x="978" y="150"/>
                </a:lnTo>
                <a:lnTo>
                  <a:pt x="978" y="150"/>
                </a:lnTo>
                <a:lnTo>
                  <a:pt x="978" y="150"/>
                </a:lnTo>
                <a:lnTo>
                  <a:pt x="984" y="150"/>
                </a:lnTo>
                <a:lnTo>
                  <a:pt x="984" y="150"/>
                </a:lnTo>
                <a:lnTo>
                  <a:pt x="990" y="150"/>
                </a:lnTo>
                <a:lnTo>
                  <a:pt x="990" y="156"/>
                </a:lnTo>
                <a:lnTo>
                  <a:pt x="984" y="156"/>
                </a:lnTo>
                <a:lnTo>
                  <a:pt x="984" y="156"/>
                </a:lnTo>
                <a:lnTo>
                  <a:pt x="984" y="156"/>
                </a:lnTo>
                <a:lnTo>
                  <a:pt x="984" y="162"/>
                </a:lnTo>
                <a:lnTo>
                  <a:pt x="984" y="162"/>
                </a:lnTo>
                <a:lnTo>
                  <a:pt x="990" y="162"/>
                </a:lnTo>
                <a:lnTo>
                  <a:pt x="990" y="168"/>
                </a:lnTo>
                <a:lnTo>
                  <a:pt x="990" y="168"/>
                </a:lnTo>
                <a:lnTo>
                  <a:pt x="990" y="174"/>
                </a:lnTo>
                <a:lnTo>
                  <a:pt x="990" y="174"/>
                </a:lnTo>
                <a:lnTo>
                  <a:pt x="984" y="180"/>
                </a:lnTo>
                <a:lnTo>
                  <a:pt x="984" y="186"/>
                </a:lnTo>
                <a:lnTo>
                  <a:pt x="990" y="186"/>
                </a:lnTo>
                <a:lnTo>
                  <a:pt x="990" y="186"/>
                </a:lnTo>
                <a:lnTo>
                  <a:pt x="990" y="192"/>
                </a:lnTo>
                <a:lnTo>
                  <a:pt x="990" y="192"/>
                </a:lnTo>
                <a:lnTo>
                  <a:pt x="984" y="198"/>
                </a:lnTo>
                <a:lnTo>
                  <a:pt x="978" y="204"/>
                </a:lnTo>
                <a:lnTo>
                  <a:pt x="978" y="204"/>
                </a:lnTo>
                <a:lnTo>
                  <a:pt x="978" y="204"/>
                </a:lnTo>
                <a:lnTo>
                  <a:pt x="978" y="216"/>
                </a:lnTo>
                <a:lnTo>
                  <a:pt x="978" y="222"/>
                </a:lnTo>
                <a:lnTo>
                  <a:pt x="978" y="228"/>
                </a:lnTo>
                <a:lnTo>
                  <a:pt x="978" y="228"/>
                </a:lnTo>
                <a:lnTo>
                  <a:pt x="978" y="234"/>
                </a:lnTo>
                <a:lnTo>
                  <a:pt x="984" y="234"/>
                </a:lnTo>
                <a:lnTo>
                  <a:pt x="984" y="234"/>
                </a:lnTo>
                <a:lnTo>
                  <a:pt x="990" y="240"/>
                </a:lnTo>
                <a:lnTo>
                  <a:pt x="990" y="240"/>
                </a:lnTo>
                <a:lnTo>
                  <a:pt x="990" y="240"/>
                </a:lnTo>
                <a:lnTo>
                  <a:pt x="990" y="246"/>
                </a:lnTo>
                <a:lnTo>
                  <a:pt x="990" y="246"/>
                </a:lnTo>
                <a:lnTo>
                  <a:pt x="990" y="246"/>
                </a:lnTo>
                <a:lnTo>
                  <a:pt x="990" y="246"/>
                </a:lnTo>
                <a:lnTo>
                  <a:pt x="990" y="252"/>
                </a:lnTo>
                <a:lnTo>
                  <a:pt x="990" y="252"/>
                </a:lnTo>
                <a:lnTo>
                  <a:pt x="990" y="258"/>
                </a:lnTo>
                <a:lnTo>
                  <a:pt x="990" y="264"/>
                </a:lnTo>
                <a:lnTo>
                  <a:pt x="990" y="264"/>
                </a:lnTo>
                <a:lnTo>
                  <a:pt x="990" y="270"/>
                </a:lnTo>
                <a:lnTo>
                  <a:pt x="990" y="270"/>
                </a:lnTo>
                <a:lnTo>
                  <a:pt x="996" y="276"/>
                </a:lnTo>
                <a:lnTo>
                  <a:pt x="990" y="276"/>
                </a:lnTo>
                <a:lnTo>
                  <a:pt x="996" y="282"/>
                </a:lnTo>
                <a:lnTo>
                  <a:pt x="996" y="282"/>
                </a:lnTo>
                <a:lnTo>
                  <a:pt x="996" y="288"/>
                </a:lnTo>
                <a:lnTo>
                  <a:pt x="1002" y="288"/>
                </a:lnTo>
                <a:lnTo>
                  <a:pt x="1002" y="288"/>
                </a:lnTo>
                <a:lnTo>
                  <a:pt x="1002" y="288"/>
                </a:lnTo>
                <a:lnTo>
                  <a:pt x="1008" y="294"/>
                </a:lnTo>
                <a:lnTo>
                  <a:pt x="1008" y="300"/>
                </a:lnTo>
                <a:lnTo>
                  <a:pt x="1008" y="300"/>
                </a:lnTo>
                <a:lnTo>
                  <a:pt x="1008" y="300"/>
                </a:lnTo>
                <a:lnTo>
                  <a:pt x="1008" y="300"/>
                </a:lnTo>
                <a:lnTo>
                  <a:pt x="1008" y="300"/>
                </a:lnTo>
                <a:lnTo>
                  <a:pt x="1008" y="300"/>
                </a:lnTo>
                <a:lnTo>
                  <a:pt x="1008" y="306"/>
                </a:lnTo>
                <a:lnTo>
                  <a:pt x="1008" y="306"/>
                </a:lnTo>
                <a:lnTo>
                  <a:pt x="1008" y="312"/>
                </a:lnTo>
                <a:lnTo>
                  <a:pt x="1008" y="312"/>
                </a:lnTo>
                <a:lnTo>
                  <a:pt x="1014" y="312"/>
                </a:lnTo>
                <a:lnTo>
                  <a:pt x="1014" y="312"/>
                </a:lnTo>
                <a:lnTo>
                  <a:pt x="1014" y="318"/>
                </a:lnTo>
                <a:lnTo>
                  <a:pt x="1014" y="318"/>
                </a:lnTo>
                <a:lnTo>
                  <a:pt x="1014" y="318"/>
                </a:lnTo>
                <a:lnTo>
                  <a:pt x="1014" y="318"/>
                </a:lnTo>
                <a:lnTo>
                  <a:pt x="1014" y="324"/>
                </a:lnTo>
                <a:lnTo>
                  <a:pt x="1014" y="324"/>
                </a:lnTo>
                <a:lnTo>
                  <a:pt x="1014" y="324"/>
                </a:lnTo>
                <a:lnTo>
                  <a:pt x="1014" y="324"/>
                </a:lnTo>
                <a:lnTo>
                  <a:pt x="1020" y="324"/>
                </a:lnTo>
                <a:lnTo>
                  <a:pt x="1014" y="330"/>
                </a:lnTo>
                <a:lnTo>
                  <a:pt x="1014" y="330"/>
                </a:lnTo>
                <a:lnTo>
                  <a:pt x="1014" y="330"/>
                </a:lnTo>
                <a:lnTo>
                  <a:pt x="1014" y="330"/>
                </a:lnTo>
                <a:lnTo>
                  <a:pt x="1014" y="330"/>
                </a:lnTo>
                <a:lnTo>
                  <a:pt x="1020" y="336"/>
                </a:lnTo>
                <a:lnTo>
                  <a:pt x="1020" y="336"/>
                </a:lnTo>
                <a:lnTo>
                  <a:pt x="1020" y="336"/>
                </a:lnTo>
                <a:lnTo>
                  <a:pt x="1020" y="336"/>
                </a:lnTo>
                <a:lnTo>
                  <a:pt x="1026" y="336"/>
                </a:lnTo>
                <a:lnTo>
                  <a:pt x="1026" y="336"/>
                </a:lnTo>
                <a:lnTo>
                  <a:pt x="1026" y="342"/>
                </a:lnTo>
                <a:lnTo>
                  <a:pt x="1020" y="342"/>
                </a:lnTo>
                <a:lnTo>
                  <a:pt x="1020" y="342"/>
                </a:lnTo>
                <a:lnTo>
                  <a:pt x="1020" y="342"/>
                </a:lnTo>
                <a:lnTo>
                  <a:pt x="1020" y="348"/>
                </a:lnTo>
                <a:lnTo>
                  <a:pt x="1020" y="348"/>
                </a:lnTo>
                <a:lnTo>
                  <a:pt x="1020" y="348"/>
                </a:lnTo>
                <a:lnTo>
                  <a:pt x="1020" y="348"/>
                </a:lnTo>
                <a:lnTo>
                  <a:pt x="1014" y="348"/>
                </a:lnTo>
                <a:lnTo>
                  <a:pt x="1014" y="348"/>
                </a:lnTo>
                <a:lnTo>
                  <a:pt x="1014" y="354"/>
                </a:lnTo>
                <a:lnTo>
                  <a:pt x="1014" y="354"/>
                </a:lnTo>
                <a:lnTo>
                  <a:pt x="1014" y="354"/>
                </a:lnTo>
                <a:lnTo>
                  <a:pt x="1014" y="354"/>
                </a:lnTo>
                <a:lnTo>
                  <a:pt x="1014" y="354"/>
                </a:lnTo>
                <a:lnTo>
                  <a:pt x="1008" y="354"/>
                </a:lnTo>
                <a:lnTo>
                  <a:pt x="1014" y="360"/>
                </a:lnTo>
                <a:lnTo>
                  <a:pt x="1008" y="360"/>
                </a:lnTo>
                <a:lnTo>
                  <a:pt x="1008" y="360"/>
                </a:lnTo>
                <a:lnTo>
                  <a:pt x="1008" y="360"/>
                </a:lnTo>
                <a:lnTo>
                  <a:pt x="1008" y="366"/>
                </a:lnTo>
                <a:lnTo>
                  <a:pt x="1008" y="366"/>
                </a:lnTo>
                <a:lnTo>
                  <a:pt x="1008" y="366"/>
                </a:lnTo>
                <a:lnTo>
                  <a:pt x="1008" y="366"/>
                </a:lnTo>
                <a:lnTo>
                  <a:pt x="1008" y="366"/>
                </a:lnTo>
                <a:lnTo>
                  <a:pt x="1008" y="372"/>
                </a:lnTo>
                <a:lnTo>
                  <a:pt x="1008" y="372"/>
                </a:lnTo>
                <a:lnTo>
                  <a:pt x="1008" y="372"/>
                </a:lnTo>
                <a:lnTo>
                  <a:pt x="1008" y="372"/>
                </a:lnTo>
                <a:lnTo>
                  <a:pt x="1008" y="372"/>
                </a:lnTo>
                <a:lnTo>
                  <a:pt x="1008" y="372"/>
                </a:lnTo>
                <a:lnTo>
                  <a:pt x="1008" y="372"/>
                </a:lnTo>
                <a:lnTo>
                  <a:pt x="1014" y="378"/>
                </a:lnTo>
                <a:lnTo>
                  <a:pt x="1008" y="378"/>
                </a:lnTo>
                <a:lnTo>
                  <a:pt x="1008" y="378"/>
                </a:lnTo>
                <a:lnTo>
                  <a:pt x="1008" y="378"/>
                </a:lnTo>
                <a:lnTo>
                  <a:pt x="1008" y="378"/>
                </a:lnTo>
                <a:lnTo>
                  <a:pt x="1008" y="378"/>
                </a:lnTo>
                <a:lnTo>
                  <a:pt x="1008" y="378"/>
                </a:lnTo>
                <a:lnTo>
                  <a:pt x="1008" y="378"/>
                </a:lnTo>
                <a:lnTo>
                  <a:pt x="1008" y="378"/>
                </a:lnTo>
                <a:lnTo>
                  <a:pt x="1002" y="384"/>
                </a:lnTo>
                <a:lnTo>
                  <a:pt x="1002" y="378"/>
                </a:lnTo>
                <a:lnTo>
                  <a:pt x="1002" y="384"/>
                </a:lnTo>
                <a:lnTo>
                  <a:pt x="1002" y="384"/>
                </a:lnTo>
                <a:lnTo>
                  <a:pt x="1002" y="384"/>
                </a:lnTo>
                <a:lnTo>
                  <a:pt x="1002" y="384"/>
                </a:lnTo>
                <a:lnTo>
                  <a:pt x="1002" y="384"/>
                </a:lnTo>
                <a:lnTo>
                  <a:pt x="1002" y="384"/>
                </a:lnTo>
                <a:lnTo>
                  <a:pt x="1002" y="384"/>
                </a:lnTo>
                <a:lnTo>
                  <a:pt x="996" y="384"/>
                </a:lnTo>
                <a:lnTo>
                  <a:pt x="996" y="384"/>
                </a:lnTo>
                <a:lnTo>
                  <a:pt x="996" y="390"/>
                </a:lnTo>
                <a:lnTo>
                  <a:pt x="996" y="390"/>
                </a:lnTo>
                <a:lnTo>
                  <a:pt x="996" y="384"/>
                </a:lnTo>
                <a:lnTo>
                  <a:pt x="996" y="384"/>
                </a:lnTo>
                <a:lnTo>
                  <a:pt x="996" y="384"/>
                </a:lnTo>
                <a:lnTo>
                  <a:pt x="990" y="384"/>
                </a:lnTo>
                <a:lnTo>
                  <a:pt x="990" y="384"/>
                </a:lnTo>
                <a:lnTo>
                  <a:pt x="990" y="384"/>
                </a:lnTo>
                <a:lnTo>
                  <a:pt x="990" y="384"/>
                </a:lnTo>
                <a:lnTo>
                  <a:pt x="984" y="384"/>
                </a:lnTo>
                <a:lnTo>
                  <a:pt x="984" y="384"/>
                </a:lnTo>
                <a:lnTo>
                  <a:pt x="984" y="384"/>
                </a:lnTo>
                <a:lnTo>
                  <a:pt x="984" y="384"/>
                </a:lnTo>
                <a:lnTo>
                  <a:pt x="984" y="390"/>
                </a:lnTo>
                <a:lnTo>
                  <a:pt x="984" y="390"/>
                </a:lnTo>
                <a:lnTo>
                  <a:pt x="984" y="390"/>
                </a:lnTo>
                <a:lnTo>
                  <a:pt x="984" y="390"/>
                </a:lnTo>
                <a:lnTo>
                  <a:pt x="984" y="396"/>
                </a:lnTo>
                <a:lnTo>
                  <a:pt x="984" y="396"/>
                </a:lnTo>
                <a:lnTo>
                  <a:pt x="984" y="396"/>
                </a:lnTo>
                <a:lnTo>
                  <a:pt x="990" y="396"/>
                </a:lnTo>
                <a:lnTo>
                  <a:pt x="990" y="396"/>
                </a:lnTo>
                <a:lnTo>
                  <a:pt x="990" y="396"/>
                </a:lnTo>
                <a:lnTo>
                  <a:pt x="990" y="402"/>
                </a:lnTo>
                <a:lnTo>
                  <a:pt x="990" y="396"/>
                </a:lnTo>
                <a:lnTo>
                  <a:pt x="990" y="396"/>
                </a:lnTo>
                <a:lnTo>
                  <a:pt x="990" y="402"/>
                </a:lnTo>
                <a:lnTo>
                  <a:pt x="996" y="402"/>
                </a:lnTo>
                <a:lnTo>
                  <a:pt x="996" y="402"/>
                </a:lnTo>
                <a:lnTo>
                  <a:pt x="1002" y="402"/>
                </a:lnTo>
                <a:lnTo>
                  <a:pt x="996" y="402"/>
                </a:lnTo>
                <a:lnTo>
                  <a:pt x="1002" y="402"/>
                </a:lnTo>
                <a:lnTo>
                  <a:pt x="1002" y="408"/>
                </a:lnTo>
                <a:lnTo>
                  <a:pt x="1002" y="408"/>
                </a:lnTo>
                <a:lnTo>
                  <a:pt x="1002" y="408"/>
                </a:lnTo>
                <a:lnTo>
                  <a:pt x="1002" y="408"/>
                </a:lnTo>
                <a:lnTo>
                  <a:pt x="1002" y="408"/>
                </a:lnTo>
                <a:lnTo>
                  <a:pt x="1002" y="414"/>
                </a:lnTo>
                <a:lnTo>
                  <a:pt x="1008" y="414"/>
                </a:lnTo>
                <a:lnTo>
                  <a:pt x="1008" y="414"/>
                </a:lnTo>
                <a:lnTo>
                  <a:pt x="1008" y="414"/>
                </a:lnTo>
                <a:lnTo>
                  <a:pt x="1008" y="414"/>
                </a:lnTo>
                <a:lnTo>
                  <a:pt x="1008" y="420"/>
                </a:lnTo>
                <a:lnTo>
                  <a:pt x="1014" y="414"/>
                </a:lnTo>
                <a:lnTo>
                  <a:pt x="1014" y="420"/>
                </a:lnTo>
                <a:lnTo>
                  <a:pt x="1014" y="420"/>
                </a:lnTo>
                <a:lnTo>
                  <a:pt x="1020" y="420"/>
                </a:lnTo>
                <a:lnTo>
                  <a:pt x="1020" y="420"/>
                </a:lnTo>
                <a:lnTo>
                  <a:pt x="1020" y="420"/>
                </a:lnTo>
                <a:lnTo>
                  <a:pt x="1020" y="426"/>
                </a:lnTo>
                <a:lnTo>
                  <a:pt x="1026" y="426"/>
                </a:lnTo>
                <a:lnTo>
                  <a:pt x="1026" y="426"/>
                </a:lnTo>
                <a:lnTo>
                  <a:pt x="1026" y="426"/>
                </a:lnTo>
                <a:lnTo>
                  <a:pt x="1032" y="426"/>
                </a:lnTo>
                <a:lnTo>
                  <a:pt x="1032" y="426"/>
                </a:lnTo>
                <a:lnTo>
                  <a:pt x="1032" y="426"/>
                </a:lnTo>
                <a:lnTo>
                  <a:pt x="1032" y="432"/>
                </a:lnTo>
                <a:lnTo>
                  <a:pt x="1032" y="432"/>
                </a:lnTo>
                <a:lnTo>
                  <a:pt x="1032" y="432"/>
                </a:lnTo>
                <a:lnTo>
                  <a:pt x="1032" y="438"/>
                </a:lnTo>
                <a:lnTo>
                  <a:pt x="1038" y="438"/>
                </a:lnTo>
                <a:lnTo>
                  <a:pt x="1038" y="438"/>
                </a:lnTo>
                <a:lnTo>
                  <a:pt x="1038" y="438"/>
                </a:lnTo>
                <a:lnTo>
                  <a:pt x="1038" y="438"/>
                </a:lnTo>
                <a:lnTo>
                  <a:pt x="1044" y="438"/>
                </a:lnTo>
                <a:lnTo>
                  <a:pt x="1044" y="444"/>
                </a:lnTo>
                <a:lnTo>
                  <a:pt x="1044" y="444"/>
                </a:lnTo>
                <a:lnTo>
                  <a:pt x="1050" y="450"/>
                </a:lnTo>
                <a:lnTo>
                  <a:pt x="1050" y="450"/>
                </a:lnTo>
                <a:lnTo>
                  <a:pt x="1050" y="456"/>
                </a:lnTo>
                <a:lnTo>
                  <a:pt x="1056" y="456"/>
                </a:lnTo>
                <a:lnTo>
                  <a:pt x="1056" y="462"/>
                </a:lnTo>
                <a:lnTo>
                  <a:pt x="1056" y="468"/>
                </a:lnTo>
                <a:lnTo>
                  <a:pt x="1062" y="468"/>
                </a:lnTo>
                <a:lnTo>
                  <a:pt x="1062" y="474"/>
                </a:lnTo>
                <a:lnTo>
                  <a:pt x="1062" y="474"/>
                </a:lnTo>
                <a:lnTo>
                  <a:pt x="1068" y="474"/>
                </a:lnTo>
                <a:lnTo>
                  <a:pt x="1068" y="474"/>
                </a:lnTo>
                <a:lnTo>
                  <a:pt x="1074" y="474"/>
                </a:lnTo>
                <a:lnTo>
                  <a:pt x="1074" y="474"/>
                </a:lnTo>
                <a:lnTo>
                  <a:pt x="1074" y="474"/>
                </a:lnTo>
                <a:lnTo>
                  <a:pt x="1074" y="474"/>
                </a:lnTo>
                <a:lnTo>
                  <a:pt x="1080" y="474"/>
                </a:lnTo>
                <a:lnTo>
                  <a:pt x="1080" y="474"/>
                </a:lnTo>
                <a:lnTo>
                  <a:pt x="1086" y="480"/>
                </a:lnTo>
                <a:lnTo>
                  <a:pt x="1092" y="480"/>
                </a:lnTo>
                <a:lnTo>
                  <a:pt x="1098" y="480"/>
                </a:lnTo>
                <a:lnTo>
                  <a:pt x="1098" y="480"/>
                </a:lnTo>
                <a:lnTo>
                  <a:pt x="1104" y="486"/>
                </a:lnTo>
                <a:lnTo>
                  <a:pt x="1104" y="486"/>
                </a:lnTo>
                <a:lnTo>
                  <a:pt x="1110" y="492"/>
                </a:lnTo>
                <a:lnTo>
                  <a:pt x="1116" y="498"/>
                </a:lnTo>
                <a:lnTo>
                  <a:pt x="1116" y="498"/>
                </a:lnTo>
                <a:lnTo>
                  <a:pt x="1116" y="498"/>
                </a:lnTo>
                <a:lnTo>
                  <a:pt x="1116" y="498"/>
                </a:lnTo>
                <a:lnTo>
                  <a:pt x="1116" y="492"/>
                </a:lnTo>
                <a:lnTo>
                  <a:pt x="1116" y="492"/>
                </a:lnTo>
                <a:lnTo>
                  <a:pt x="1116" y="492"/>
                </a:lnTo>
                <a:lnTo>
                  <a:pt x="1116" y="492"/>
                </a:lnTo>
                <a:lnTo>
                  <a:pt x="1110" y="492"/>
                </a:lnTo>
                <a:lnTo>
                  <a:pt x="1110" y="486"/>
                </a:lnTo>
                <a:lnTo>
                  <a:pt x="1110" y="480"/>
                </a:lnTo>
                <a:lnTo>
                  <a:pt x="1110" y="480"/>
                </a:lnTo>
                <a:lnTo>
                  <a:pt x="1110" y="480"/>
                </a:lnTo>
                <a:lnTo>
                  <a:pt x="1104" y="480"/>
                </a:lnTo>
                <a:lnTo>
                  <a:pt x="1104" y="480"/>
                </a:lnTo>
                <a:lnTo>
                  <a:pt x="1098" y="474"/>
                </a:lnTo>
                <a:lnTo>
                  <a:pt x="1098" y="474"/>
                </a:lnTo>
                <a:lnTo>
                  <a:pt x="1098" y="474"/>
                </a:lnTo>
                <a:lnTo>
                  <a:pt x="1098" y="474"/>
                </a:lnTo>
                <a:lnTo>
                  <a:pt x="1104" y="468"/>
                </a:lnTo>
                <a:lnTo>
                  <a:pt x="1104" y="468"/>
                </a:lnTo>
                <a:lnTo>
                  <a:pt x="1104" y="468"/>
                </a:lnTo>
                <a:lnTo>
                  <a:pt x="1098" y="462"/>
                </a:lnTo>
                <a:lnTo>
                  <a:pt x="1098" y="462"/>
                </a:lnTo>
                <a:lnTo>
                  <a:pt x="1098" y="462"/>
                </a:lnTo>
                <a:lnTo>
                  <a:pt x="1098" y="462"/>
                </a:lnTo>
                <a:lnTo>
                  <a:pt x="1098" y="456"/>
                </a:lnTo>
                <a:lnTo>
                  <a:pt x="1104" y="450"/>
                </a:lnTo>
                <a:lnTo>
                  <a:pt x="1104" y="450"/>
                </a:lnTo>
                <a:lnTo>
                  <a:pt x="1104" y="450"/>
                </a:lnTo>
                <a:lnTo>
                  <a:pt x="1104" y="450"/>
                </a:lnTo>
                <a:lnTo>
                  <a:pt x="1104" y="444"/>
                </a:lnTo>
                <a:lnTo>
                  <a:pt x="1104" y="444"/>
                </a:lnTo>
                <a:lnTo>
                  <a:pt x="1104" y="444"/>
                </a:lnTo>
                <a:lnTo>
                  <a:pt x="1104" y="444"/>
                </a:lnTo>
                <a:lnTo>
                  <a:pt x="1104" y="438"/>
                </a:lnTo>
                <a:lnTo>
                  <a:pt x="1104" y="438"/>
                </a:lnTo>
                <a:lnTo>
                  <a:pt x="1104" y="438"/>
                </a:lnTo>
                <a:lnTo>
                  <a:pt x="1104" y="438"/>
                </a:lnTo>
                <a:lnTo>
                  <a:pt x="1104" y="438"/>
                </a:lnTo>
                <a:lnTo>
                  <a:pt x="1104" y="432"/>
                </a:lnTo>
                <a:lnTo>
                  <a:pt x="1104" y="432"/>
                </a:lnTo>
                <a:lnTo>
                  <a:pt x="1110" y="432"/>
                </a:lnTo>
                <a:lnTo>
                  <a:pt x="1110" y="432"/>
                </a:lnTo>
                <a:lnTo>
                  <a:pt x="1110" y="426"/>
                </a:lnTo>
                <a:lnTo>
                  <a:pt x="1110" y="426"/>
                </a:lnTo>
                <a:lnTo>
                  <a:pt x="1104" y="426"/>
                </a:lnTo>
                <a:lnTo>
                  <a:pt x="1104" y="426"/>
                </a:lnTo>
                <a:lnTo>
                  <a:pt x="1104" y="420"/>
                </a:lnTo>
                <a:lnTo>
                  <a:pt x="1104" y="420"/>
                </a:lnTo>
                <a:lnTo>
                  <a:pt x="1104" y="420"/>
                </a:lnTo>
                <a:lnTo>
                  <a:pt x="1104" y="420"/>
                </a:lnTo>
                <a:lnTo>
                  <a:pt x="1104" y="414"/>
                </a:lnTo>
                <a:lnTo>
                  <a:pt x="1104" y="414"/>
                </a:lnTo>
                <a:lnTo>
                  <a:pt x="1104" y="414"/>
                </a:lnTo>
                <a:lnTo>
                  <a:pt x="1104" y="408"/>
                </a:lnTo>
                <a:lnTo>
                  <a:pt x="1104" y="408"/>
                </a:lnTo>
                <a:lnTo>
                  <a:pt x="1110" y="402"/>
                </a:lnTo>
                <a:lnTo>
                  <a:pt x="1110" y="402"/>
                </a:lnTo>
                <a:lnTo>
                  <a:pt x="1110" y="402"/>
                </a:lnTo>
                <a:lnTo>
                  <a:pt x="1104" y="402"/>
                </a:lnTo>
                <a:lnTo>
                  <a:pt x="1110" y="396"/>
                </a:lnTo>
                <a:lnTo>
                  <a:pt x="1110" y="390"/>
                </a:lnTo>
                <a:lnTo>
                  <a:pt x="1110" y="390"/>
                </a:lnTo>
                <a:lnTo>
                  <a:pt x="1116" y="384"/>
                </a:lnTo>
                <a:lnTo>
                  <a:pt x="1116" y="384"/>
                </a:lnTo>
                <a:lnTo>
                  <a:pt x="1116" y="384"/>
                </a:lnTo>
                <a:lnTo>
                  <a:pt x="1116" y="378"/>
                </a:lnTo>
                <a:lnTo>
                  <a:pt x="1122" y="378"/>
                </a:lnTo>
                <a:lnTo>
                  <a:pt x="1122" y="378"/>
                </a:lnTo>
                <a:lnTo>
                  <a:pt x="1122" y="378"/>
                </a:lnTo>
                <a:lnTo>
                  <a:pt x="1122" y="378"/>
                </a:lnTo>
                <a:lnTo>
                  <a:pt x="1122" y="378"/>
                </a:lnTo>
                <a:lnTo>
                  <a:pt x="1128" y="378"/>
                </a:lnTo>
                <a:lnTo>
                  <a:pt x="1128" y="372"/>
                </a:lnTo>
                <a:lnTo>
                  <a:pt x="1128" y="372"/>
                </a:lnTo>
                <a:lnTo>
                  <a:pt x="1134" y="372"/>
                </a:lnTo>
                <a:lnTo>
                  <a:pt x="1134" y="372"/>
                </a:lnTo>
                <a:lnTo>
                  <a:pt x="1134" y="372"/>
                </a:lnTo>
                <a:lnTo>
                  <a:pt x="1140" y="366"/>
                </a:lnTo>
                <a:lnTo>
                  <a:pt x="1140" y="366"/>
                </a:lnTo>
                <a:lnTo>
                  <a:pt x="1140" y="366"/>
                </a:lnTo>
                <a:lnTo>
                  <a:pt x="1146" y="366"/>
                </a:lnTo>
                <a:lnTo>
                  <a:pt x="1152" y="366"/>
                </a:lnTo>
                <a:lnTo>
                  <a:pt x="1152" y="366"/>
                </a:lnTo>
                <a:lnTo>
                  <a:pt x="1152" y="360"/>
                </a:lnTo>
                <a:lnTo>
                  <a:pt x="1152" y="360"/>
                </a:lnTo>
                <a:lnTo>
                  <a:pt x="1152" y="360"/>
                </a:lnTo>
                <a:lnTo>
                  <a:pt x="1152" y="360"/>
                </a:lnTo>
                <a:lnTo>
                  <a:pt x="1152" y="360"/>
                </a:lnTo>
                <a:lnTo>
                  <a:pt x="1152" y="360"/>
                </a:lnTo>
                <a:lnTo>
                  <a:pt x="1158" y="360"/>
                </a:lnTo>
                <a:lnTo>
                  <a:pt x="1158" y="360"/>
                </a:lnTo>
                <a:lnTo>
                  <a:pt x="1158" y="360"/>
                </a:lnTo>
                <a:lnTo>
                  <a:pt x="1158" y="360"/>
                </a:lnTo>
                <a:lnTo>
                  <a:pt x="1164" y="360"/>
                </a:lnTo>
                <a:lnTo>
                  <a:pt x="1164" y="360"/>
                </a:lnTo>
                <a:lnTo>
                  <a:pt x="1164" y="360"/>
                </a:lnTo>
                <a:lnTo>
                  <a:pt x="1164" y="360"/>
                </a:lnTo>
                <a:lnTo>
                  <a:pt x="1170" y="360"/>
                </a:lnTo>
                <a:lnTo>
                  <a:pt x="1170" y="360"/>
                </a:lnTo>
                <a:lnTo>
                  <a:pt x="1170" y="366"/>
                </a:lnTo>
                <a:lnTo>
                  <a:pt x="1170" y="366"/>
                </a:lnTo>
                <a:lnTo>
                  <a:pt x="1176" y="366"/>
                </a:lnTo>
                <a:lnTo>
                  <a:pt x="1176" y="366"/>
                </a:lnTo>
                <a:lnTo>
                  <a:pt x="1176" y="366"/>
                </a:lnTo>
                <a:lnTo>
                  <a:pt x="1182" y="366"/>
                </a:lnTo>
                <a:lnTo>
                  <a:pt x="1182" y="366"/>
                </a:lnTo>
                <a:lnTo>
                  <a:pt x="1182" y="366"/>
                </a:lnTo>
                <a:lnTo>
                  <a:pt x="1188" y="366"/>
                </a:lnTo>
                <a:lnTo>
                  <a:pt x="1188" y="366"/>
                </a:lnTo>
                <a:lnTo>
                  <a:pt x="1188" y="366"/>
                </a:lnTo>
                <a:lnTo>
                  <a:pt x="1188" y="366"/>
                </a:lnTo>
                <a:lnTo>
                  <a:pt x="1188" y="372"/>
                </a:lnTo>
                <a:lnTo>
                  <a:pt x="1188" y="372"/>
                </a:lnTo>
                <a:lnTo>
                  <a:pt x="1188" y="372"/>
                </a:lnTo>
                <a:lnTo>
                  <a:pt x="1188" y="372"/>
                </a:lnTo>
                <a:lnTo>
                  <a:pt x="1188" y="372"/>
                </a:lnTo>
                <a:lnTo>
                  <a:pt x="1194" y="378"/>
                </a:lnTo>
                <a:lnTo>
                  <a:pt x="1194" y="378"/>
                </a:lnTo>
                <a:lnTo>
                  <a:pt x="1200" y="378"/>
                </a:lnTo>
                <a:lnTo>
                  <a:pt x="1200" y="378"/>
                </a:lnTo>
                <a:lnTo>
                  <a:pt x="1200" y="378"/>
                </a:lnTo>
                <a:lnTo>
                  <a:pt x="1200" y="384"/>
                </a:lnTo>
                <a:lnTo>
                  <a:pt x="1200" y="384"/>
                </a:lnTo>
                <a:lnTo>
                  <a:pt x="1206" y="384"/>
                </a:lnTo>
                <a:lnTo>
                  <a:pt x="1206" y="384"/>
                </a:lnTo>
                <a:lnTo>
                  <a:pt x="1206" y="390"/>
                </a:lnTo>
                <a:lnTo>
                  <a:pt x="1206" y="390"/>
                </a:lnTo>
                <a:lnTo>
                  <a:pt x="1206" y="390"/>
                </a:lnTo>
                <a:lnTo>
                  <a:pt x="1206" y="390"/>
                </a:lnTo>
                <a:lnTo>
                  <a:pt x="1206" y="390"/>
                </a:lnTo>
                <a:lnTo>
                  <a:pt x="1206" y="390"/>
                </a:lnTo>
                <a:lnTo>
                  <a:pt x="1206" y="390"/>
                </a:lnTo>
                <a:lnTo>
                  <a:pt x="1212" y="390"/>
                </a:lnTo>
                <a:lnTo>
                  <a:pt x="1212" y="396"/>
                </a:lnTo>
                <a:lnTo>
                  <a:pt x="1206" y="396"/>
                </a:lnTo>
                <a:lnTo>
                  <a:pt x="1206" y="396"/>
                </a:lnTo>
                <a:lnTo>
                  <a:pt x="1212" y="396"/>
                </a:lnTo>
                <a:lnTo>
                  <a:pt x="1212" y="396"/>
                </a:lnTo>
                <a:lnTo>
                  <a:pt x="1212" y="402"/>
                </a:lnTo>
                <a:lnTo>
                  <a:pt x="1212" y="402"/>
                </a:lnTo>
                <a:lnTo>
                  <a:pt x="1212" y="402"/>
                </a:lnTo>
                <a:lnTo>
                  <a:pt x="1212" y="402"/>
                </a:lnTo>
                <a:lnTo>
                  <a:pt x="1206" y="408"/>
                </a:lnTo>
                <a:lnTo>
                  <a:pt x="1206" y="408"/>
                </a:lnTo>
                <a:lnTo>
                  <a:pt x="1206" y="408"/>
                </a:lnTo>
                <a:lnTo>
                  <a:pt x="1206" y="414"/>
                </a:lnTo>
                <a:lnTo>
                  <a:pt x="1206" y="414"/>
                </a:lnTo>
                <a:lnTo>
                  <a:pt x="1206" y="420"/>
                </a:lnTo>
                <a:lnTo>
                  <a:pt x="1206" y="420"/>
                </a:lnTo>
                <a:lnTo>
                  <a:pt x="1206" y="420"/>
                </a:lnTo>
                <a:lnTo>
                  <a:pt x="1206" y="420"/>
                </a:lnTo>
                <a:lnTo>
                  <a:pt x="1206" y="420"/>
                </a:lnTo>
                <a:lnTo>
                  <a:pt x="1206" y="426"/>
                </a:lnTo>
                <a:lnTo>
                  <a:pt x="1206" y="426"/>
                </a:lnTo>
                <a:lnTo>
                  <a:pt x="1206" y="432"/>
                </a:lnTo>
                <a:lnTo>
                  <a:pt x="1212" y="432"/>
                </a:lnTo>
                <a:lnTo>
                  <a:pt x="1212" y="432"/>
                </a:lnTo>
                <a:lnTo>
                  <a:pt x="1206" y="432"/>
                </a:lnTo>
                <a:lnTo>
                  <a:pt x="1206" y="438"/>
                </a:lnTo>
                <a:lnTo>
                  <a:pt x="1206" y="438"/>
                </a:lnTo>
                <a:lnTo>
                  <a:pt x="1206" y="438"/>
                </a:lnTo>
                <a:lnTo>
                  <a:pt x="1200" y="432"/>
                </a:lnTo>
                <a:lnTo>
                  <a:pt x="1200" y="438"/>
                </a:lnTo>
                <a:lnTo>
                  <a:pt x="1200" y="438"/>
                </a:lnTo>
                <a:lnTo>
                  <a:pt x="1200" y="438"/>
                </a:lnTo>
                <a:lnTo>
                  <a:pt x="1200" y="444"/>
                </a:lnTo>
                <a:lnTo>
                  <a:pt x="1200" y="444"/>
                </a:lnTo>
                <a:lnTo>
                  <a:pt x="1200" y="444"/>
                </a:lnTo>
                <a:lnTo>
                  <a:pt x="1194" y="444"/>
                </a:lnTo>
                <a:lnTo>
                  <a:pt x="1200" y="444"/>
                </a:lnTo>
                <a:lnTo>
                  <a:pt x="1200" y="444"/>
                </a:lnTo>
                <a:lnTo>
                  <a:pt x="1200" y="444"/>
                </a:lnTo>
                <a:lnTo>
                  <a:pt x="1200" y="444"/>
                </a:lnTo>
                <a:lnTo>
                  <a:pt x="1200" y="450"/>
                </a:lnTo>
                <a:lnTo>
                  <a:pt x="1200" y="450"/>
                </a:lnTo>
                <a:lnTo>
                  <a:pt x="1200" y="450"/>
                </a:lnTo>
                <a:lnTo>
                  <a:pt x="1200" y="450"/>
                </a:lnTo>
                <a:lnTo>
                  <a:pt x="1200" y="456"/>
                </a:lnTo>
                <a:lnTo>
                  <a:pt x="1200" y="456"/>
                </a:lnTo>
                <a:lnTo>
                  <a:pt x="1200" y="456"/>
                </a:lnTo>
                <a:lnTo>
                  <a:pt x="1200" y="456"/>
                </a:lnTo>
                <a:lnTo>
                  <a:pt x="1194" y="456"/>
                </a:lnTo>
                <a:lnTo>
                  <a:pt x="1194" y="456"/>
                </a:lnTo>
                <a:lnTo>
                  <a:pt x="1194" y="456"/>
                </a:lnTo>
                <a:lnTo>
                  <a:pt x="1188" y="456"/>
                </a:lnTo>
                <a:lnTo>
                  <a:pt x="1188" y="456"/>
                </a:lnTo>
                <a:lnTo>
                  <a:pt x="1188" y="456"/>
                </a:lnTo>
                <a:lnTo>
                  <a:pt x="1188" y="462"/>
                </a:lnTo>
                <a:lnTo>
                  <a:pt x="1188" y="462"/>
                </a:lnTo>
                <a:lnTo>
                  <a:pt x="1182" y="462"/>
                </a:lnTo>
                <a:lnTo>
                  <a:pt x="1182" y="462"/>
                </a:lnTo>
                <a:lnTo>
                  <a:pt x="1182" y="462"/>
                </a:lnTo>
                <a:lnTo>
                  <a:pt x="1182" y="468"/>
                </a:lnTo>
                <a:lnTo>
                  <a:pt x="1188" y="462"/>
                </a:lnTo>
                <a:lnTo>
                  <a:pt x="1188" y="462"/>
                </a:lnTo>
                <a:lnTo>
                  <a:pt x="1188" y="462"/>
                </a:lnTo>
                <a:lnTo>
                  <a:pt x="1194" y="462"/>
                </a:lnTo>
                <a:lnTo>
                  <a:pt x="1194" y="468"/>
                </a:lnTo>
                <a:lnTo>
                  <a:pt x="1194" y="468"/>
                </a:lnTo>
                <a:lnTo>
                  <a:pt x="1194" y="468"/>
                </a:lnTo>
                <a:lnTo>
                  <a:pt x="1200" y="468"/>
                </a:lnTo>
                <a:lnTo>
                  <a:pt x="1200" y="474"/>
                </a:lnTo>
                <a:lnTo>
                  <a:pt x="1200" y="480"/>
                </a:lnTo>
                <a:lnTo>
                  <a:pt x="1194" y="480"/>
                </a:lnTo>
                <a:lnTo>
                  <a:pt x="1200" y="480"/>
                </a:lnTo>
                <a:lnTo>
                  <a:pt x="1200" y="480"/>
                </a:lnTo>
                <a:lnTo>
                  <a:pt x="1200" y="480"/>
                </a:lnTo>
                <a:lnTo>
                  <a:pt x="1200" y="486"/>
                </a:lnTo>
                <a:lnTo>
                  <a:pt x="1200" y="486"/>
                </a:lnTo>
                <a:lnTo>
                  <a:pt x="1200" y="486"/>
                </a:lnTo>
                <a:lnTo>
                  <a:pt x="1200" y="486"/>
                </a:lnTo>
                <a:lnTo>
                  <a:pt x="1200" y="486"/>
                </a:lnTo>
                <a:lnTo>
                  <a:pt x="1206" y="480"/>
                </a:lnTo>
                <a:lnTo>
                  <a:pt x="1206" y="480"/>
                </a:lnTo>
                <a:lnTo>
                  <a:pt x="1206" y="480"/>
                </a:lnTo>
                <a:lnTo>
                  <a:pt x="1212" y="480"/>
                </a:lnTo>
                <a:lnTo>
                  <a:pt x="1212" y="486"/>
                </a:lnTo>
                <a:lnTo>
                  <a:pt x="1212" y="486"/>
                </a:lnTo>
                <a:lnTo>
                  <a:pt x="1218" y="486"/>
                </a:lnTo>
                <a:lnTo>
                  <a:pt x="1224" y="486"/>
                </a:lnTo>
                <a:lnTo>
                  <a:pt x="1224" y="486"/>
                </a:lnTo>
                <a:lnTo>
                  <a:pt x="1224" y="486"/>
                </a:lnTo>
                <a:lnTo>
                  <a:pt x="1224" y="492"/>
                </a:lnTo>
                <a:lnTo>
                  <a:pt x="1224" y="492"/>
                </a:lnTo>
                <a:lnTo>
                  <a:pt x="1230" y="492"/>
                </a:lnTo>
                <a:lnTo>
                  <a:pt x="1230" y="492"/>
                </a:lnTo>
                <a:lnTo>
                  <a:pt x="1230" y="492"/>
                </a:lnTo>
                <a:lnTo>
                  <a:pt x="1230" y="492"/>
                </a:lnTo>
                <a:lnTo>
                  <a:pt x="1230" y="498"/>
                </a:lnTo>
                <a:lnTo>
                  <a:pt x="1230" y="498"/>
                </a:lnTo>
                <a:lnTo>
                  <a:pt x="1230" y="498"/>
                </a:lnTo>
                <a:lnTo>
                  <a:pt x="1236" y="498"/>
                </a:lnTo>
                <a:lnTo>
                  <a:pt x="1230" y="504"/>
                </a:lnTo>
                <a:lnTo>
                  <a:pt x="1236" y="504"/>
                </a:lnTo>
                <a:lnTo>
                  <a:pt x="1230" y="504"/>
                </a:lnTo>
                <a:lnTo>
                  <a:pt x="1230" y="504"/>
                </a:lnTo>
                <a:lnTo>
                  <a:pt x="1230" y="504"/>
                </a:lnTo>
                <a:lnTo>
                  <a:pt x="1230" y="510"/>
                </a:lnTo>
                <a:lnTo>
                  <a:pt x="1230" y="516"/>
                </a:lnTo>
                <a:lnTo>
                  <a:pt x="1230" y="516"/>
                </a:lnTo>
                <a:lnTo>
                  <a:pt x="1230" y="522"/>
                </a:lnTo>
                <a:lnTo>
                  <a:pt x="1230" y="528"/>
                </a:lnTo>
                <a:lnTo>
                  <a:pt x="1230" y="528"/>
                </a:lnTo>
                <a:lnTo>
                  <a:pt x="1230" y="534"/>
                </a:lnTo>
                <a:lnTo>
                  <a:pt x="1230" y="534"/>
                </a:lnTo>
                <a:lnTo>
                  <a:pt x="1230" y="534"/>
                </a:lnTo>
                <a:lnTo>
                  <a:pt x="1230" y="534"/>
                </a:lnTo>
                <a:lnTo>
                  <a:pt x="1230" y="540"/>
                </a:lnTo>
                <a:lnTo>
                  <a:pt x="1230" y="540"/>
                </a:lnTo>
                <a:lnTo>
                  <a:pt x="1236" y="540"/>
                </a:lnTo>
                <a:lnTo>
                  <a:pt x="1236" y="546"/>
                </a:lnTo>
                <a:lnTo>
                  <a:pt x="1236" y="546"/>
                </a:lnTo>
                <a:lnTo>
                  <a:pt x="1248" y="546"/>
                </a:lnTo>
                <a:lnTo>
                  <a:pt x="1248" y="546"/>
                </a:lnTo>
                <a:lnTo>
                  <a:pt x="1254" y="546"/>
                </a:lnTo>
                <a:lnTo>
                  <a:pt x="1260" y="546"/>
                </a:lnTo>
                <a:lnTo>
                  <a:pt x="1260" y="552"/>
                </a:lnTo>
                <a:lnTo>
                  <a:pt x="1260" y="552"/>
                </a:lnTo>
                <a:lnTo>
                  <a:pt x="1260" y="552"/>
                </a:lnTo>
                <a:lnTo>
                  <a:pt x="1254" y="552"/>
                </a:lnTo>
                <a:lnTo>
                  <a:pt x="1254" y="552"/>
                </a:lnTo>
                <a:lnTo>
                  <a:pt x="1254" y="552"/>
                </a:lnTo>
                <a:lnTo>
                  <a:pt x="1248" y="558"/>
                </a:lnTo>
                <a:lnTo>
                  <a:pt x="1242" y="558"/>
                </a:lnTo>
                <a:lnTo>
                  <a:pt x="1236" y="552"/>
                </a:lnTo>
                <a:lnTo>
                  <a:pt x="1236" y="552"/>
                </a:lnTo>
                <a:lnTo>
                  <a:pt x="1236" y="552"/>
                </a:lnTo>
                <a:lnTo>
                  <a:pt x="1230" y="552"/>
                </a:lnTo>
                <a:lnTo>
                  <a:pt x="1230" y="558"/>
                </a:lnTo>
                <a:lnTo>
                  <a:pt x="1230" y="558"/>
                </a:lnTo>
                <a:lnTo>
                  <a:pt x="1230" y="558"/>
                </a:lnTo>
                <a:lnTo>
                  <a:pt x="1224" y="564"/>
                </a:lnTo>
                <a:lnTo>
                  <a:pt x="1224" y="564"/>
                </a:lnTo>
                <a:lnTo>
                  <a:pt x="1224" y="564"/>
                </a:lnTo>
                <a:lnTo>
                  <a:pt x="1224" y="564"/>
                </a:lnTo>
                <a:lnTo>
                  <a:pt x="1224" y="564"/>
                </a:lnTo>
                <a:lnTo>
                  <a:pt x="1224" y="564"/>
                </a:lnTo>
                <a:lnTo>
                  <a:pt x="1224" y="564"/>
                </a:lnTo>
                <a:lnTo>
                  <a:pt x="1224" y="564"/>
                </a:lnTo>
                <a:lnTo>
                  <a:pt x="1224" y="564"/>
                </a:lnTo>
                <a:lnTo>
                  <a:pt x="1218" y="570"/>
                </a:lnTo>
                <a:lnTo>
                  <a:pt x="1224" y="570"/>
                </a:lnTo>
                <a:lnTo>
                  <a:pt x="1218" y="570"/>
                </a:lnTo>
                <a:lnTo>
                  <a:pt x="1218" y="576"/>
                </a:lnTo>
                <a:lnTo>
                  <a:pt x="1218" y="576"/>
                </a:lnTo>
                <a:lnTo>
                  <a:pt x="1218" y="576"/>
                </a:lnTo>
                <a:lnTo>
                  <a:pt x="1218" y="576"/>
                </a:lnTo>
                <a:lnTo>
                  <a:pt x="1212" y="576"/>
                </a:lnTo>
                <a:lnTo>
                  <a:pt x="1212" y="576"/>
                </a:lnTo>
                <a:lnTo>
                  <a:pt x="1212" y="576"/>
                </a:lnTo>
                <a:lnTo>
                  <a:pt x="1212" y="582"/>
                </a:lnTo>
                <a:lnTo>
                  <a:pt x="1212" y="582"/>
                </a:lnTo>
                <a:lnTo>
                  <a:pt x="1212" y="582"/>
                </a:lnTo>
                <a:lnTo>
                  <a:pt x="1218" y="582"/>
                </a:lnTo>
                <a:lnTo>
                  <a:pt x="1218" y="582"/>
                </a:lnTo>
                <a:lnTo>
                  <a:pt x="1218" y="582"/>
                </a:lnTo>
                <a:lnTo>
                  <a:pt x="1218" y="588"/>
                </a:lnTo>
                <a:lnTo>
                  <a:pt x="1218" y="588"/>
                </a:lnTo>
                <a:lnTo>
                  <a:pt x="1218" y="588"/>
                </a:lnTo>
                <a:lnTo>
                  <a:pt x="1218" y="588"/>
                </a:lnTo>
                <a:lnTo>
                  <a:pt x="1218" y="588"/>
                </a:lnTo>
                <a:lnTo>
                  <a:pt x="1218" y="588"/>
                </a:lnTo>
                <a:lnTo>
                  <a:pt x="1218" y="588"/>
                </a:lnTo>
                <a:lnTo>
                  <a:pt x="1218" y="594"/>
                </a:lnTo>
                <a:lnTo>
                  <a:pt x="1218" y="594"/>
                </a:lnTo>
                <a:lnTo>
                  <a:pt x="1218" y="594"/>
                </a:lnTo>
                <a:lnTo>
                  <a:pt x="1218" y="594"/>
                </a:lnTo>
                <a:lnTo>
                  <a:pt x="1218" y="600"/>
                </a:lnTo>
                <a:lnTo>
                  <a:pt x="1218" y="600"/>
                </a:lnTo>
                <a:lnTo>
                  <a:pt x="1218" y="600"/>
                </a:lnTo>
                <a:lnTo>
                  <a:pt x="1218" y="600"/>
                </a:lnTo>
                <a:lnTo>
                  <a:pt x="1218" y="600"/>
                </a:lnTo>
                <a:lnTo>
                  <a:pt x="1212" y="600"/>
                </a:lnTo>
                <a:lnTo>
                  <a:pt x="1212" y="606"/>
                </a:lnTo>
                <a:lnTo>
                  <a:pt x="1206" y="606"/>
                </a:lnTo>
                <a:lnTo>
                  <a:pt x="1206" y="606"/>
                </a:lnTo>
                <a:lnTo>
                  <a:pt x="1212" y="606"/>
                </a:lnTo>
                <a:lnTo>
                  <a:pt x="1212" y="612"/>
                </a:lnTo>
                <a:lnTo>
                  <a:pt x="1212" y="612"/>
                </a:lnTo>
                <a:lnTo>
                  <a:pt x="1212" y="612"/>
                </a:lnTo>
                <a:lnTo>
                  <a:pt x="1206" y="612"/>
                </a:lnTo>
                <a:lnTo>
                  <a:pt x="1206" y="612"/>
                </a:lnTo>
                <a:lnTo>
                  <a:pt x="1206" y="618"/>
                </a:lnTo>
                <a:lnTo>
                  <a:pt x="1206" y="618"/>
                </a:lnTo>
                <a:lnTo>
                  <a:pt x="1206" y="624"/>
                </a:lnTo>
                <a:lnTo>
                  <a:pt x="1206" y="624"/>
                </a:lnTo>
                <a:lnTo>
                  <a:pt x="1212" y="660"/>
                </a:lnTo>
                <a:lnTo>
                  <a:pt x="1206" y="660"/>
                </a:lnTo>
                <a:lnTo>
                  <a:pt x="1206" y="660"/>
                </a:lnTo>
                <a:lnTo>
                  <a:pt x="1200" y="666"/>
                </a:lnTo>
                <a:lnTo>
                  <a:pt x="1194" y="666"/>
                </a:lnTo>
                <a:lnTo>
                  <a:pt x="1194" y="660"/>
                </a:lnTo>
                <a:lnTo>
                  <a:pt x="1188" y="660"/>
                </a:lnTo>
                <a:lnTo>
                  <a:pt x="1188" y="660"/>
                </a:lnTo>
                <a:lnTo>
                  <a:pt x="1188" y="666"/>
                </a:lnTo>
                <a:lnTo>
                  <a:pt x="1182" y="666"/>
                </a:lnTo>
                <a:lnTo>
                  <a:pt x="1182" y="666"/>
                </a:lnTo>
                <a:lnTo>
                  <a:pt x="1182" y="666"/>
                </a:lnTo>
                <a:lnTo>
                  <a:pt x="1182" y="672"/>
                </a:lnTo>
                <a:lnTo>
                  <a:pt x="1176" y="672"/>
                </a:lnTo>
                <a:lnTo>
                  <a:pt x="1176" y="666"/>
                </a:lnTo>
                <a:lnTo>
                  <a:pt x="1176" y="666"/>
                </a:lnTo>
                <a:lnTo>
                  <a:pt x="1176" y="666"/>
                </a:lnTo>
                <a:lnTo>
                  <a:pt x="1176" y="666"/>
                </a:lnTo>
                <a:lnTo>
                  <a:pt x="1176" y="660"/>
                </a:lnTo>
                <a:lnTo>
                  <a:pt x="1170" y="660"/>
                </a:lnTo>
                <a:lnTo>
                  <a:pt x="1170" y="660"/>
                </a:lnTo>
                <a:lnTo>
                  <a:pt x="1164" y="660"/>
                </a:lnTo>
                <a:lnTo>
                  <a:pt x="1158" y="660"/>
                </a:lnTo>
                <a:lnTo>
                  <a:pt x="1158" y="660"/>
                </a:lnTo>
                <a:lnTo>
                  <a:pt x="1158" y="654"/>
                </a:lnTo>
                <a:lnTo>
                  <a:pt x="1158" y="654"/>
                </a:lnTo>
                <a:lnTo>
                  <a:pt x="1152" y="654"/>
                </a:lnTo>
                <a:lnTo>
                  <a:pt x="1146" y="654"/>
                </a:lnTo>
                <a:lnTo>
                  <a:pt x="1146" y="654"/>
                </a:lnTo>
                <a:lnTo>
                  <a:pt x="1146" y="654"/>
                </a:lnTo>
                <a:lnTo>
                  <a:pt x="1146" y="648"/>
                </a:lnTo>
                <a:lnTo>
                  <a:pt x="1140" y="648"/>
                </a:lnTo>
                <a:lnTo>
                  <a:pt x="1140" y="648"/>
                </a:lnTo>
                <a:lnTo>
                  <a:pt x="1134" y="654"/>
                </a:lnTo>
                <a:lnTo>
                  <a:pt x="1128" y="654"/>
                </a:lnTo>
                <a:lnTo>
                  <a:pt x="1128" y="648"/>
                </a:lnTo>
                <a:lnTo>
                  <a:pt x="1128" y="648"/>
                </a:lnTo>
                <a:lnTo>
                  <a:pt x="1128" y="648"/>
                </a:lnTo>
                <a:lnTo>
                  <a:pt x="1128" y="648"/>
                </a:lnTo>
                <a:lnTo>
                  <a:pt x="1128" y="654"/>
                </a:lnTo>
                <a:lnTo>
                  <a:pt x="1122" y="654"/>
                </a:lnTo>
                <a:lnTo>
                  <a:pt x="1122" y="654"/>
                </a:lnTo>
                <a:lnTo>
                  <a:pt x="1122" y="654"/>
                </a:lnTo>
                <a:lnTo>
                  <a:pt x="1116" y="654"/>
                </a:lnTo>
                <a:lnTo>
                  <a:pt x="1116" y="654"/>
                </a:lnTo>
                <a:lnTo>
                  <a:pt x="1116" y="654"/>
                </a:lnTo>
                <a:lnTo>
                  <a:pt x="1110" y="660"/>
                </a:lnTo>
                <a:lnTo>
                  <a:pt x="1110" y="660"/>
                </a:lnTo>
                <a:lnTo>
                  <a:pt x="1110" y="660"/>
                </a:lnTo>
                <a:lnTo>
                  <a:pt x="1104" y="660"/>
                </a:lnTo>
                <a:lnTo>
                  <a:pt x="1104" y="660"/>
                </a:lnTo>
                <a:lnTo>
                  <a:pt x="1098" y="660"/>
                </a:lnTo>
                <a:lnTo>
                  <a:pt x="1098" y="660"/>
                </a:lnTo>
                <a:lnTo>
                  <a:pt x="1098" y="660"/>
                </a:lnTo>
                <a:lnTo>
                  <a:pt x="1098" y="660"/>
                </a:lnTo>
                <a:lnTo>
                  <a:pt x="1092" y="660"/>
                </a:lnTo>
                <a:lnTo>
                  <a:pt x="1092" y="666"/>
                </a:lnTo>
                <a:lnTo>
                  <a:pt x="1092" y="666"/>
                </a:lnTo>
                <a:lnTo>
                  <a:pt x="1092" y="666"/>
                </a:lnTo>
                <a:lnTo>
                  <a:pt x="1092" y="666"/>
                </a:lnTo>
                <a:lnTo>
                  <a:pt x="1092" y="666"/>
                </a:lnTo>
                <a:lnTo>
                  <a:pt x="1092" y="666"/>
                </a:lnTo>
                <a:lnTo>
                  <a:pt x="1086" y="666"/>
                </a:lnTo>
                <a:lnTo>
                  <a:pt x="1086" y="660"/>
                </a:lnTo>
                <a:lnTo>
                  <a:pt x="1086" y="660"/>
                </a:lnTo>
                <a:lnTo>
                  <a:pt x="1086" y="660"/>
                </a:lnTo>
                <a:lnTo>
                  <a:pt x="1086" y="654"/>
                </a:lnTo>
                <a:lnTo>
                  <a:pt x="1086" y="654"/>
                </a:lnTo>
                <a:lnTo>
                  <a:pt x="1086" y="648"/>
                </a:lnTo>
                <a:lnTo>
                  <a:pt x="1080" y="648"/>
                </a:lnTo>
                <a:lnTo>
                  <a:pt x="1080" y="642"/>
                </a:lnTo>
                <a:lnTo>
                  <a:pt x="1080" y="636"/>
                </a:lnTo>
                <a:lnTo>
                  <a:pt x="1080" y="636"/>
                </a:lnTo>
                <a:lnTo>
                  <a:pt x="1074" y="636"/>
                </a:lnTo>
                <a:lnTo>
                  <a:pt x="1074" y="636"/>
                </a:lnTo>
                <a:lnTo>
                  <a:pt x="1074" y="636"/>
                </a:lnTo>
                <a:lnTo>
                  <a:pt x="1068" y="636"/>
                </a:lnTo>
                <a:lnTo>
                  <a:pt x="1062" y="636"/>
                </a:lnTo>
                <a:lnTo>
                  <a:pt x="1062" y="636"/>
                </a:lnTo>
                <a:lnTo>
                  <a:pt x="1056" y="636"/>
                </a:lnTo>
                <a:lnTo>
                  <a:pt x="1056" y="636"/>
                </a:lnTo>
                <a:lnTo>
                  <a:pt x="1050" y="636"/>
                </a:lnTo>
                <a:lnTo>
                  <a:pt x="1044" y="636"/>
                </a:lnTo>
                <a:lnTo>
                  <a:pt x="1044" y="642"/>
                </a:lnTo>
                <a:lnTo>
                  <a:pt x="1038" y="642"/>
                </a:lnTo>
                <a:lnTo>
                  <a:pt x="1038" y="648"/>
                </a:lnTo>
                <a:lnTo>
                  <a:pt x="1032" y="648"/>
                </a:lnTo>
                <a:lnTo>
                  <a:pt x="1026" y="648"/>
                </a:lnTo>
                <a:lnTo>
                  <a:pt x="1026" y="648"/>
                </a:lnTo>
                <a:lnTo>
                  <a:pt x="1014" y="654"/>
                </a:lnTo>
                <a:lnTo>
                  <a:pt x="1014" y="654"/>
                </a:lnTo>
                <a:lnTo>
                  <a:pt x="1008" y="654"/>
                </a:lnTo>
                <a:lnTo>
                  <a:pt x="1008" y="654"/>
                </a:lnTo>
                <a:lnTo>
                  <a:pt x="1002" y="654"/>
                </a:lnTo>
                <a:lnTo>
                  <a:pt x="1002" y="654"/>
                </a:lnTo>
                <a:lnTo>
                  <a:pt x="1002" y="654"/>
                </a:lnTo>
                <a:lnTo>
                  <a:pt x="1002" y="654"/>
                </a:lnTo>
                <a:lnTo>
                  <a:pt x="996" y="660"/>
                </a:lnTo>
                <a:lnTo>
                  <a:pt x="990" y="660"/>
                </a:lnTo>
                <a:lnTo>
                  <a:pt x="990" y="660"/>
                </a:lnTo>
                <a:lnTo>
                  <a:pt x="984" y="666"/>
                </a:lnTo>
                <a:lnTo>
                  <a:pt x="984" y="666"/>
                </a:lnTo>
                <a:lnTo>
                  <a:pt x="984" y="684"/>
                </a:lnTo>
                <a:lnTo>
                  <a:pt x="978" y="690"/>
                </a:lnTo>
                <a:lnTo>
                  <a:pt x="978" y="696"/>
                </a:lnTo>
                <a:lnTo>
                  <a:pt x="972" y="696"/>
                </a:lnTo>
                <a:lnTo>
                  <a:pt x="966" y="696"/>
                </a:lnTo>
                <a:lnTo>
                  <a:pt x="966" y="696"/>
                </a:lnTo>
                <a:lnTo>
                  <a:pt x="960" y="696"/>
                </a:lnTo>
                <a:lnTo>
                  <a:pt x="954" y="696"/>
                </a:lnTo>
                <a:lnTo>
                  <a:pt x="954" y="690"/>
                </a:lnTo>
                <a:lnTo>
                  <a:pt x="948" y="690"/>
                </a:lnTo>
                <a:lnTo>
                  <a:pt x="948" y="684"/>
                </a:lnTo>
                <a:lnTo>
                  <a:pt x="942" y="684"/>
                </a:lnTo>
                <a:lnTo>
                  <a:pt x="942" y="684"/>
                </a:lnTo>
                <a:lnTo>
                  <a:pt x="936" y="684"/>
                </a:lnTo>
                <a:lnTo>
                  <a:pt x="930" y="684"/>
                </a:lnTo>
                <a:lnTo>
                  <a:pt x="930" y="684"/>
                </a:lnTo>
                <a:lnTo>
                  <a:pt x="924" y="684"/>
                </a:lnTo>
                <a:lnTo>
                  <a:pt x="924" y="684"/>
                </a:lnTo>
                <a:lnTo>
                  <a:pt x="930" y="678"/>
                </a:lnTo>
                <a:lnTo>
                  <a:pt x="930" y="672"/>
                </a:lnTo>
                <a:lnTo>
                  <a:pt x="930" y="666"/>
                </a:lnTo>
                <a:lnTo>
                  <a:pt x="930" y="666"/>
                </a:lnTo>
                <a:lnTo>
                  <a:pt x="930" y="666"/>
                </a:lnTo>
                <a:lnTo>
                  <a:pt x="924" y="666"/>
                </a:lnTo>
                <a:lnTo>
                  <a:pt x="918" y="666"/>
                </a:lnTo>
                <a:lnTo>
                  <a:pt x="918" y="666"/>
                </a:lnTo>
                <a:lnTo>
                  <a:pt x="912" y="660"/>
                </a:lnTo>
                <a:lnTo>
                  <a:pt x="912" y="660"/>
                </a:lnTo>
                <a:lnTo>
                  <a:pt x="906" y="660"/>
                </a:lnTo>
                <a:lnTo>
                  <a:pt x="900" y="660"/>
                </a:lnTo>
                <a:lnTo>
                  <a:pt x="894" y="666"/>
                </a:lnTo>
                <a:lnTo>
                  <a:pt x="894" y="666"/>
                </a:lnTo>
                <a:lnTo>
                  <a:pt x="888" y="660"/>
                </a:lnTo>
                <a:lnTo>
                  <a:pt x="888" y="660"/>
                </a:lnTo>
                <a:lnTo>
                  <a:pt x="888" y="654"/>
                </a:lnTo>
                <a:lnTo>
                  <a:pt x="882" y="654"/>
                </a:lnTo>
                <a:lnTo>
                  <a:pt x="882" y="648"/>
                </a:lnTo>
                <a:lnTo>
                  <a:pt x="882" y="648"/>
                </a:lnTo>
                <a:lnTo>
                  <a:pt x="876" y="648"/>
                </a:lnTo>
                <a:lnTo>
                  <a:pt x="876" y="648"/>
                </a:lnTo>
                <a:lnTo>
                  <a:pt x="870" y="648"/>
                </a:lnTo>
                <a:lnTo>
                  <a:pt x="864" y="648"/>
                </a:lnTo>
                <a:lnTo>
                  <a:pt x="858" y="648"/>
                </a:lnTo>
                <a:lnTo>
                  <a:pt x="858" y="648"/>
                </a:lnTo>
                <a:lnTo>
                  <a:pt x="852" y="648"/>
                </a:lnTo>
                <a:lnTo>
                  <a:pt x="852" y="654"/>
                </a:lnTo>
                <a:lnTo>
                  <a:pt x="846" y="654"/>
                </a:lnTo>
                <a:lnTo>
                  <a:pt x="840" y="654"/>
                </a:lnTo>
                <a:lnTo>
                  <a:pt x="840" y="654"/>
                </a:lnTo>
                <a:lnTo>
                  <a:pt x="834" y="660"/>
                </a:lnTo>
                <a:lnTo>
                  <a:pt x="834" y="660"/>
                </a:lnTo>
                <a:lnTo>
                  <a:pt x="828" y="660"/>
                </a:lnTo>
                <a:lnTo>
                  <a:pt x="828" y="660"/>
                </a:lnTo>
                <a:lnTo>
                  <a:pt x="822" y="660"/>
                </a:lnTo>
                <a:lnTo>
                  <a:pt x="822" y="660"/>
                </a:lnTo>
                <a:lnTo>
                  <a:pt x="822" y="660"/>
                </a:lnTo>
                <a:lnTo>
                  <a:pt x="822" y="654"/>
                </a:lnTo>
                <a:lnTo>
                  <a:pt x="828" y="654"/>
                </a:lnTo>
                <a:lnTo>
                  <a:pt x="822" y="648"/>
                </a:lnTo>
                <a:lnTo>
                  <a:pt x="822" y="642"/>
                </a:lnTo>
                <a:lnTo>
                  <a:pt x="822" y="636"/>
                </a:lnTo>
                <a:lnTo>
                  <a:pt x="816" y="630"/>
                </a:lnTo>
                <a:lnTo>
                  <a:pt x="816" y="624"/>
                </a:lnTo>
                <a:lnTo>
                  <a:pt x="816" y="624"/>
                </a:lnTo>
                <a:lnTo>
                  <a:pt x="810" y="624"/>
                </a:lnTo>
                <a:lnTo>
                  <a:pt x="810" y="624"/>
                </a:lnTo>
                <a:lnTo>
                  <a:pt x="810" y="624"/>
                </a:lnTo>
                <a:lnTo>
                  <a:pt x="810" y="630"/>
                </a:lnTo>
                <a:lnTo>
                  <a:pt x="804" y="630"/>
                </a:lnTo>
                <a:lnTo>
                  <a:pt x="798" y="630"/>
                </a:lnTo>
                <a:lnTo>
                  <a:pt x="798" y="630"/>
                </a:lnTo>
                <a:lnTo>
                  <a:pt x="792" y="630"/>
                </a:lnTo>
                <a:lnTo>
                  <a:pt x="792" y="630"/>
                </a:lnTo>
                <a:lnTo>
                  <a:pt x="792" y="624"/>
                </a:lnTo>
                <a:lnTo>
                  <a:pt x="792" y="624"/>
                </a:lnTo>
                <a:lnTo>
                  <a:pt x="792" y="618"/>
                </a:lnTo>
                <a:lnTo>
                  <a:pt x="792" y="612"/>
                </a:lnTo>
                <a:lnTo>
                  <a:pt x="792" y="612"/>
                </a:lnTo>
                <a:lnTo>
                  <a:pt x="792" y="612"/>
                </a:lnTo>
                <a:lnTo>
                  <a:pt x="792" y="606"/>
                </a:lnTo>
                <a:lnTo>
                  <a:pt x="792" y="600"/>
                </a:lnTo>
                <a:lnTo>
                  <a:pt x="786" y="594"/>
                </a:lnTo>
                <a:lnTo>
                  <a:pt x="786" y="594"/>
                </a:lnTo>
                <a:lnTo>
                  <a:pt x="786" y="588"/>
                </a:lnTo>
                <a:lnTo>
                  <a:pt x="786" y="588"/>
                </a:lnTo>
                <a:lnTo>
                  <a:pt x="786" y="582"/>
                </a:lnTo>
                <a:lnTo>
                  <a:pt x="786" y="582"/>
                </a:lnTo>
                <a:lnTo>
                  <a:pt x="786" y="576"/>
                </a:lnTo>
                <a:lnTo>
                  <a:pt x="786" y="576"/>
                </a:lnTo>
                <a:lnTo>
                  <a:pt x="786" y="576"/>
                </a:lnTo>
                <a:lnTo>
                  <a:pt x="786" y="576"/>
                </a:lnTo>
                <a:lnTo>
                  <a:pt x="786" y="576"/>
                </a:lnTo>
                <a:lnTo>
                  <a:pt x="780" y="576"/>
                </a:lnTo>
                <a:lnTo>
                  <a:pt x="774" y="576"/>
                </a:lnTo>
                <a:lnTo>
                  <a:pt x="774" y="576"/>
                </a:lnTo>
                <a:lnTo>
                  <a:pt x="768" y="576"/>
                </a:lnTo>
                <a:lnTo>
                  <a:pt x="768" y="576"/>
                </a:lnTo>
                <a:lnTo>
                  <a:pt x="768" y="576"/>
                </a:lnTo>
                <a:lnTo>
                  <a:pt x="768" y="570"/>
                </a:lnTo>
                <a:lnTo>
                  <a:pt x="762" y="570"/>
                </a:lnTo>
                <a:lnTo>
                  <a:pt x="762" y="570"/>
                </a:lnTo>
                <a:lnTo>
                  <a:pt x="762" y="570"/>
                </a:lnTo>
                <a:lnTo>
                  <a:pt x="756" y="570"/>
                </a:lnTo>
                <a:lnTo>
                  <a:pt x="756" y="570"/>
                </a:lnTo>
                <a:lnTo>
                  <a:pt x="756" y="570"/>
                </a:lnTo>
                <a:lnTo>
                  <a:pt x="756" y="576"/>
                </a:lnTo>
                <a:lnTo>
                  <a:pt x="756" y="582"/>
                </a:lnTo>
                <a:lnTo>
                  <a:pt x="756" y="582"/>
                </a:lnTo>
                <a:lnTo>
                  <a:pt x="750" y="582"/>
                </a:lnTo>
                <a:lnTo>
                  <a:pt x="750" y="582"/>
                </a:lnTo>
                <a:lnTo>
                  <a:pt x="750" y="588"/>
                </a:lnTo>
                <a:lnTo>
                  <a:pt x="750" y="588"/>
                </a:lnTo>
                <a:lnTo>
                  <a:pt x="750" y="588"/>
                </a:lnTo>
                <a:lnTo>
                  <a:pt x="744" y="588"/>
                </a:lnTo>
                <a:lnTo>
                  <a:pt x="738" y="588"/>
                </a:lnTo>
                <a:lnTo>
                  <a:pt x="738" y="588"/>
                </a:lnTo>
                <a:lnTo>
                  <a:pt x="732" y="582"/>
                </a:lnTo>
                <a:lnTo>
                  <a:pt x="732" y="582"/>
                </a:lnTo>
                <a:lnTo>
                  <a:pt x="726" y="576"/>
                </a:lnTo>
                <a:lnTo>
                  <a:pt x="726" y="576"/>
                </a:lnTo>
                <a:lnTo>
                  <a:pt x="726" y="576"/>
                </a:lnTo>
                <a:lnTo>
                  <a:pt x="720" y="576"/>
                </a:lnTo>
                <a:lnTo>
                  <a:pt x="720" y="582"/>
                </a:lnTo>
                <a:lnTo>
                  <a:pt x="720" y="588"/>
                </a:lnTo>
                <a:lnTo>
                  <a:pt x="720" y="588"/>
                </a:lnTo>
                <a:lnTo>
                  <a:pt x="714" y="588"/>
                </a:lnTo>
                <a:lnTo>
                  <a:pt x="708" y="582"/>
                </a:lnTo>
                <a:lnTo>
                  <a:pt x="708" y="582"/>
                </a:lnTo>
                <a:lnTo>
                  <a:pt x="708" y="588"/>
                </a:lnTo>
                <a:lnTo>
                  <a:pt x="708" y="588"/>
                </a:lnTo>
                <a:lnTo>
                  <a:pt x="708" y="582"/>
                </a:lnTo>
                <a:lnTo>
                  <a:pt x="708" y="582"/>
                </a:lnTo>
                <a:lnTo>
                  <a:pt x="702" y="582"/>
                </a:lnTo>
                <a:lnTo>
                  <a:pt x="702" y="582"/>
                </a:lnTo>
                <a:lnTo>
                  <a:pt x="702" y="582"/>
                </a:lnTo>
                <a:lnTo>
                  <a:pt x="696" y="576"/>
                </a:lnTo>
                <a:lnTo>
                  <a:pt x="696" y="570"/>
                </a:lnTo>
                <a:lnTo>
                  <a:pt x="696" y="570"/>
                </a:lnTo>
                <a:lnTo>
                  <a:pt x="696" y="564"/>
                </a:lnTo>
                <a:lnTo>
                  <a:pt x="696" y="564"/>
                </a:lnTo>
                <a:lnTo>
                  <a:pt x="696" y="558"/>
                </a:lnTo>
                <a:lnTo>
                  <a:pt x="696" y="558"/>
                </a:lnTo>
                <a:lnTo>
                  <a:pt x="696" y="558"/>
                </a:lnTo>
                <a:lnTo>
                  <a:pt x="690" y="558"/>
                </a:lnTo>
                <a:lnTo>
                  <a:pt x="684" y="558"/>
                </a:lnTo>
                <a:lnTo>
                  <a:pt x="684" y="564"/>
                </a:lnTo>
                <a:lnTo>
                  <a:pt x="684" y="564"/>
                </a:lnTo>
                <a:lnTo>
                  <a:pt x="678" y="564"/>
                </a:lnTo>
                <a:lnTo>
                  <a:pt x="678" y="564"/>
                </a:lnTo>
                <a:lnTo>
                  <a:pt x="672" y="564"/>
                </a:lnTo>
                <a:lnTo>
                  <a:pt x="672" y="570"/>
                </a:lnTo>
                <a:lnTo>
                  <a:pt x="672" y="570"/>
                </a:lnTo>
                <a:lnTo>
                  <a:pt x="666" y="570"/>
                </a:lnTo>
                <a:lnTo>
                  <a:pt x="666" y="570"/>
                </a:lnTo>
                <a:lnTo>
                  <a:pt x="666" y="570"/>
                </a:lnTo>
                <a:lnTo>
                  <a:pt x="666" y="558"/>
                </a:lnTo>
                <a:lnTo>
                  <a:pt x="666" y="552"/>
                </a:lnTo>
                <a:lnTo>
                  <a:pt x="666" y="552"/>
                </a:lnTo>
                <a:lnTo>
                  <a:pt x="666" y="540"/>
                </a:lnTo>
                <a:lnTo>
                  <a:pt x="666" y="540"/>
                </a:lnTo>
                <a:lnTo>
                  <a:pt x="666" y="540"/>
                </a:lnTo>
                <a:lnTo>
                  <a:pt x="660" y="540"/>
                </a:lnTo>
                <a:lnTo>
                  <a:pt x="660" y="540"/>
                </a:lnTo>
                <a:lnTo>
                  <a:pt x="654" y="540"/>
                </a:lnTo>
                <a:lnTo>
                  <a:pt x="654" y="546"/>
                </a:lnTo>
                <a:lnTo>
                  <a:pt x="654" y="546"/>
                </a:lnTo>
                <a:lnTo>
                  <a:pt x="654" y="552"/>
                </a:lnTo>
                <a:lnTo>
                  <a:pt x="648" y="552"/>
                </a:lnTo>
                <a:lnTo>
                  <a:pt x="648" y="552"/>
                </a:lnTo>
                <a:lnTo>
                  <a:pt x="648" y="552"/>
                </a:lnTo>
                <a:lnTo>
                  <a:pt x="642" y="552"/>
                </a:lnTo>
                <a:lnTo>
                  <a:pt x="642" y="552"/>
                </a:lnTo>
                <a:lnTo>
                  <a:pt x="636" y="546"/>
                </a:lnTo>
                <a:lnTo>
                  <a:pt x="636" y="546"/>
                </a:lnTo>
                <a:lnTo>
                  <a:pt x="636" y="546"/>
                </a:lnTo>
                <a:lnTo>
                  <a:pt x="636" y="534"/>
                </a:lnTo>
                <a:lnTo>
                  <a:pt x="636" y="528"/>
                </a:lnTo>
                <a:lnTo>
                  <a:pt x="630" y="528"/>
                </a:lnTo>
                <a:lnTo>
                  <a:pt x="630" y="528"/>
                </a:lnTo>
                <a:lnTo>
                  <a:pt x="630" y="522"/>
                </a:lnTo>
                <a:lnTo>
                  <a:pt x="624" y="528"/>
                </a:lnTo>
                <a:lnTo>
                  <a:pt x="618" y="528"/>
                </a:lnTo>
                <a:lnTo>
                  <a:pt x="618" y="528"/>
                </a:lnTo>
                <a:lnTo>
                  <a:pt x="612" y="522"/>
                </a:lnTo>
                <a:lnTo>
                  <a:pt x="612" y="522"/>
                </a:lnTo>
                <a:lnTo>
                  <a:pt x="606" y="522"/>
                </a:lnTo>
                <a:lnTo>
                  <a:pt x="606" y="522"/>
                </a:lnTo>
                <a:lnTo>
                  <a:pt x="600" y="522"/>
                </a:lnTo>
                <a:lnTo>
                  <a:pt x="594" y="522"/>
                </a:lnTo>
                <a:lnTo>
                  <a:pt x="594" y="522"/>
                </a:lnTo>
                <a:lnTo>
                  <a:pt x="594" y="528"/>
                </a:lnTo>
                <a:lnTo>
                  <a:pt x="594" y="528"/>
                </a:lnTo>
                <a:lnTo>
                  <a:pt x="594" y="528"/>
                </a:lnTo>
                <a:lnTo>
                  <a:pt x="588" y="528"/>
                </a:lnTo>
                <a:lnTo>
                  <a:pt x="588" y="522"/>
                </a:lnTo>
                <a:lnTo>
                  <a:pt x="588" y="522"/>
                </a:lnTo>
                <a:lnTo>
                  <a:pt x="588" y="516"/>
                </a:lnTo>
                <a:lnTo>
                  <a:pt x="588" y="510"/>
                </a:lnTo>
                <a:lnTo>
                  <a:pt x="582" y="510"/>
                </a:lnTo>
                <a:lnTo>
                  <a:pt x="582" y="510"/>
                </a:lnTo>
                <a:lnTo>
                  <a:pt x="576" y="510"/>
                </a:lnTo>
                <a:lnTo>
                  <a:pt x="576" y="504"/>
                </a:lnTo>
                <a:lnTo>
                  <a:pt x="576" y="504"/>
                </a:lnTo>
                <a:lnTo>
                  <a:pt x="576" y="504"/>
                </a:lnTo>
                <a:lnTo>
                  <a:pt x="576" y="498"/>
                </a:lnTo>
                <a:lnTo>
                  <a:pt x="576" y="492"/>
                </a:lnTo>
                <a:lnTo>
                  <a:pt x="576" y="492"/>
                </a:lnTo>
                <a:lnTo>
                  <a:pt x="570" y="492"/>
                </a:lnTo>
                <a:lnTo>
                  <a:pt x="570" y="492"/>
                </a:lnTo>
                <a:lnTo>
                  <a:pt x="564" y="486"/>
                </a:lnTo>
                <a:lnTo>
                  <a:pt x="558" y="492"/>
                </a:lnTo>
                <a:lnTo>
                  <a:pt x="558" y="486"/>
                </a:lnTo>
                <a:lnTo>
                  <a:pt x="552" y="486"/>
                </a:lnTo>
                <a:lnTo>
                  <a:pt x="546" y="486"/>
                </a:lnTo>
                <a:lnTo>
                  <a:pt x="546" y="486"/>
                </a:lnTo>
                <a:lnTo>
                  <a:pt x="540" y="480"/>
                </a:lnTo>
                <a:lnTo>
                  <a:pt x="540" y="480"/>
                </a:lnTo>
                <a:lnTo>
                  <a:pt x="534" y="480"/>
                </a:lnTo>
                <a:lnTo>
                  <a:pt x="528" y="480"/>
                </a:lnTo>
                <a:lnTo>
                  <a:pt x="528" y="480"/>
                </a:lnTo>
                <a:lnTo>
                  <a:pt x="516" y="480"/>
                </a:lnTo>
                <a:lnTo>
                  <a:pt x="510" y="480"/>
                </a:lnTo>
                <a:lnTo>
                  <a:pt x="510" y="480"/>
                </a:lnTo>
                <a:lnTo>
                  <a:pt x="504" y="486"/>
                </a:lnTo>
                <a:lnTo>
                  <a:pt x="498" y="486"/>
                </a:lnTo>
                <a:lnTo>
                  <a:pt x="492" y="492"/>
                </a:lnTo>
                <a:lnTo>
                  <a:pt x="492" y="498"/>
                </a:lnTo>
                <a:lnTo>
                  <a:pt x="486" y="498"/>
                </a:lnTo>
                <a:lnTo>
                  <a:pt x="486" y="498"/>
                </a:lnTo>
                <a:lnTo>
                  <a:pt x="486" y="498"/>
                </a:lnTo>
                <a:lnTo>
                  <a:pt x="480" y="498"/>
                </a:lnTo>
                <a:lnTo>
                  <a:pt x="480" y="492"/>
                </a:lnTo>
                <a:lnTo>
                  <a:pt x="480" y="492"/>
                </a:lnTo>
                <a:lnTo>
                  <a:pt x="480" y="492"/>
                </a:lnTo>
                <a:lnTo>
                  <a:pt x="480" y="486"/>
                </a:lnTo>
                <a:lnTo>
                  <a:pt x="480" y="486"/>
                </a:lnTo>
                <a:lnTo>
                  <a:pt x="480" y="486"/>
                </a:lnTo>
                <a:lnTo>
                  <a:pt x="474" y="486"/>
                </a:lnTo>
                <a:lnTo>
                  <a:pt x="474" y="486"/>
                </a:lnTo>
                <a:lnTo>
                  <a:pt x="468" y="486"/>
                </a:lnTo>
                <a:lnTo>
                  <a:pt x="468" y="486"/>
                </a:lnTo>
                <a:lnTo>
                  <a:pt x="462" y="492"/>
                </a:lnTo>
                <a:lnTo>
                  <a:pt x="462" y="492"/>
                </a:lnTo>
                <a:lnTo>
                  <a:pt x="456" y="492"/>
                </a:lnTo>
                <a:lnTo>
                  <a:pt x="444" y="498"/>
                </a:lnTo>
                <a:lnTo>
                  <a:pt x="444" y="504"/>
                </a:lnTo>
                <a:lnTo>
                  <a:pt x="438" y="504"/>
                </a:lnTo>
                <a:lnTo>
                  <a:pt x="432" y="504"/>
                </a:lnTo>
                <a:lnTo>
                  <a:pt x="432" y="504"/>
                </a:lnTo>
                <a:lnTo>
                  <a:pt x="426" y="504"/>
                </a:lnTo>
                <a:lnTo>
                  <a:pt x="420" y="504"/>
                </a:lnTo>
                <a:lnTo>
                  <a:pt x="414" y="504"/>
                </a:lnTo>
                <a:lnTo>
                  <a:pt x="414" y="504"/>
                </a:lnTo>
                <a:lnTo>
                  <a:pt x="408" y="504"/>
                </a:lnTo>
                <a:lnTo>
                  <a:pt x="402" y="498"/>
                </a:lnTo>
                <a:lnTo>
                  <a:pt x="402" y="498"/>
                </a:lnTo>
                <a:lnTo>
                  <a:pt x="396" y="504"/>
                </a:lnTo>
                <a:lnTo>
                  <a:pt x="390" y="498"/>
                </a:lnTo>
                <a:lnTo>
                  <a:pt x="390" y="498"/>
                </a:lnTo>
                <a:lnTo>
                  <a:pt x="384" y="498"/>
                </a:lnTo>
                <a:lnTo>
                  <a:pt x="378" y="498"/>
                </a:lnTo>
                <a:lnTo>
                  <a:pt x="378" y="504"/>
                </a:lnTo>
                <a:lnTo>
                  <a:pt x="378" y="504"/>
                </a:lnTo>
                <a:lnTo>
                  <a:pt x="372" y="504"/>
                </a:lnTo>
                <a:lnTo>
                  <a:pt x="372" y="504"/>
                </a:lnTo>
                <a:lnTo>
                  <a:pt x="366" y="504"/>
                </a:lnTo>
                <a:lnTo>
                  <a:pt x="360" y="504"/>
                </a:lnTo>
                <a:lnTo>
                  <a:pt x="354" y="504"/>
                </a:lnTo>
                <a:lnTo>
                  <a:pt x="354" y="504"/>
                </a:lnTo>
                <a:lnTo>
                  <a:pt x="354" y="504"/>
                </a:lnTo>
                <a:lnTo>
                  <a:pt x="348" y="504"/>
                </a:lnTo>
                <a:lnTo>
                  <a:pt x="348" y="510"/>
                </a:lnTo>
                <a:lnTo>
                  <a:pt x="348" y="510"/>
                </a:lnTo>
                <a:lnTo>
                  <a:pt x="342" y="510"/>
                </a:lnTo>
                <a:lnTo>
                  <a:pt x="342" y="510"/>
                </a:lnTo>
                <a:lnTo>
                  <a:pt x="336" y="510"/>
                </a:lnTo>
                <a:lnTo>
                  <a:pt x="330" y="510"/>
                </a:lnTo>
                <a:lnTo>
                  <a:pt x="324" y="510"/>
                </a:lnTo>
                <a:lnTo>
                  <a:pt x="324" y="504"/>
                </a:lnTo>
                <a:lnTo>
                  <a:pt x="318" y="504"/>
                </a:lnTo>
                <a:lnTo>
                  <a:pt x="318" y="504"/>
                </a:lnTo>
                <a:lnTo>
                  <a:pt x="318" y="504"/>
                </a:lnTo>
                <a:lnTo>
                  <a:pt x="318" y="504"/>
                </a:lnTo>
                <a:lnTo>
                  <a:pt x="318" y="498"/>
                </a:lnTo>
                <a:lnTo>
                  <a:pt x="312" y="492"/>
                </a:lnTo>
                <a:lnTo>
                  <a:pt x="306" y="492"/>
                </a:lnTo>
                <a:lnTo>
                  <a:pt x="306" y="492"/>
                </a:lnTo>
                <a:lnTo>
                  <a:pt x="300" y="492"/>
                </a:lnTo>
                <a:lnTo>
                  <a:pt x="294" y="486"/>
                </a:lnTo>
                <a:lnTo>
                  <a:pt x="288" y="486"/>
                </a:lnTo>
                <a:lnTo>
                  <a:pt x="288" y="486"/>
                </a:lnTo>
                <a:lnTo>
                  <a:pt x="282" y="492"/>
                </a:lnTo>
                <a:lnTo>
                  <a:pt x="282" y="492"/>
                </a:lnTo>
                <a:lnTo>
                  <a:pt x="276" y="492"/>
                </a:lnTo>
                <a:lnTo>
                  <a:pt x="276" y="492"/>
                </a:lnTo>
                <a:lnTo>
                  <a:pt x="270" y="486"/>
                </a:lnTo>
                <a:lnTo>
                  <a:pt x="270" y="486"/>
                </a:lnTo>
                <a:lnTo>
                  <a:pt x="264" y="486"/>
                </a:lnTo>
                <a:lnTo>
                  <a:pt x="258" y="486"/>
                </a:lnTo>
                <a:lnTo>
                  <a:pt x="258" y="486"/>
                </a:lnTo>
                <a:lnTo>
                  <a:pt x="252" y="486"/>
                </a:lnTo>
                <a:lnTo>
                  <a:pt x="246" y="486"/>
                </a:lnTo>
                <a:lnTo>
                  <a:pt x="246" y="486"/>
                </a:lnTo>
                <a:lnTo>
                  <a:pt x="246" y="486"/>
                </a:lnTo>
                <a:lnTo>
                  <a:pt x="246" y="486"/>
                </a:lnTo>
                <a:lnTo>
                  <a:pt x="246" y="384"/>
                </a:lnTo>
                <a:lnTo>
                  <a:pt x="246" y="378"/>
                </a:lnTo>
                <a:lnTo>
                  <a:pt x="240" y="384"/>
                </a:lnTo>
                <a:lnTo>
                  <a:pt x="240" y="378"/>
                </a:lnTo>
                <a:lnTo>
                  <a:pt x="234" y="384"/>
                </a:lnTo>
                <a:lnTo>
                  <a:pt x="234" y="384"/>
                </a:lnTo>
                <a:lnTo>
                  <a:pt x="234" y="384"/>
                </a:lnTo>
                <a:lnTo>
                  <a:pt x="234" y="384"/>
                </a:lnTo>
                <a:lnTo>
                  <a:pt x="234" y="384"/>
                </a:lnTo>
                <a:lnTo>
                  <a:pt x="234" y="384"/>
                </a:lnTo>
                <a:lnTo>
                  <a:pt x="234" y="384"/>
                </a:lnTo>
                <a:lnTo>
                  <a:pt x="228" y="384"/>
                </a:lnTo>
                <a:lnTo>
                  <a:pt x="228" y="384"/>
                </a:lnTo>
                <a:lnTo>
                  <a:pt x="228" y="384"/>
                </a:lnTo>
                <a:lnTo>
                  <a:pt x="228" y="384"/>
                </a:lnTo>
                <a:lnTo>
                  <a:pt x="228" y="384"/>
                </a:lnTo>
                <a:lnTo>
                  <a:pt x="222" y="390"/>
                </a:lnTo>
                <a:lnTo>
                  <a:pt x="222" y="390"/>
                </a:lnTo>
                <a:lnTo>
                  <a:pt x="222" y="390"/>
                </a:lnTo>
                <a:lnTo>
                  <a:pt x="222" y="390"/>
                </a:lnTo>
                <a:lnTo>
                  <a:pt x="216" y="390"/>
                </a:lnTo>
                <a:lnTo>
                  <a:pt x="216" y="390"/>
                </a:lnTo>
                <a:lnTo>
                  <a:pt x="210" y="390"/>
                </a:lnTo>
                <a:lnTo>
                  <a:pt x="210" y="396"/>
                </a:lnTo>
                <a:lnTo>
                  <a:pt x="210" y="390"/>
                </a:lnTo>
                <a:lnTo>
                  <a:pt x="204" y="390"/>
                </a:lnTo>
                <a:lnTo>
                  <a:pt x="204" y="390"/>
                </a:lnTo>
                <a:lnTo>
                  <a:pt x="204" y="390"/>
                </a:lnTo>
                <a:lnTo>
                  <a:pt x="198" y="390"/>
                </a:lnTo>
                <a:lnTo>
                  <a:pt x="198" y="390"/>
                </a:lnTo>
                <a:lnTo>
                  <a:pt x="198" y="390"/>
                </a:lnTo>
                <a:lnTo>
                  <a:pt x="198" y="390"/>
                </a:lnTo>
                <a:lnTo>
                  <a:pt x="192" y="390"/>
                </a:lnTo>
                <a:lnTo>
                  <a:pt x="192" y="390"/>
                </a:lnTo>
                <a:lnTo>
                  <a:pt x="192" y="390"/>
                </a:lnTo>
                <a:lnTo>
                  <a:pt x="192" y="390"/>
                </a:lnTo>
                <a:lnTo>
                  <a:pt x="192" y="390"/>
                </a:lnTo>
                <a:lnTo>
                  <a:pt x="192" y="390"/>
                </a:lnTo>
                <a:lnTo>
                  <a:pt x="186" y="384"/>
                </a:lnTo>
                <a:lnTo>
                  <a:pt x="186" y="384"/>
                </a:lnTo>
                <a:lnTo>
                  <a:pt x="186" y="384"/>
                </a:lnTo>
                <a:lnTo>
                  <a:pt x="186" y="378"/>
                </a:lnTo>
                <a:lnTo>
                  <a:pt x="186" y="378"/>
                </a:lnTo>
                <a:lnTo>
                  <a:pt x="186" y="378"/>
                </a:lnTo>
                <a:lnTo>
                  <a:pt x="180" y="372"/>
                </a:lnTo>
                <a:lnTo>
                  <a:pt x="180" y="372"/>
                </a:lnTo>
                <a:lnTo>
                  <a:pt x="180" y="372"/>
                </a:lnTo>
                <a:lnTo>
                  <a:pt x="174" y="366"/>
                </a:lnTo>
                <a:lnTo>
                  <a:pt x="168" y="366"/>
                </a:lnTo>
                <a:lnTo>
                  <a:pt x="168" y="366"/>
                </a:lnTo>
                <a:lnTo>
                  <a:pt x="162" y="366"/>
                </a:lnTo>
                <a:lnTo>
                  <a:pt x="156" y="360"/>
                </a:lnTo>
                <a:lnTo>
                  <a:pt x="156" y="360"/>
                </a:lnTo>
                <a:lnTo>
                  <a:pt x="150" y="360"/>
                </a:lnTo>
                <a:lnTo>
                  <a:pt x="144" y="360"/>
                </a:lnTo>
                <a:lnTo>
                  <a:pt x="144" y="354"/>
                </a:lnTo>
                <a:lnTo>
                  <a:pt x="138" y="360"/>
                </a:lnTo>
                <a:lnTo>
                  <a:pt x="138" y="354"/>
                </a:lnTo>
                <a:lnTo>
                  <a:pt x="132" y="360"/>
                </a:lnTo>
                <a:lnTo>
                  <a:pt x="132" y="360"/>
                </a:lnTo>
                <a:lnTo>
                  <a:pt x="132" y="360"/>
                </a:lnTo>
                <a:lnTo>
                  <a:pt x="132" y="360"/>
                </a:lnTo>
                <a:lnTo>
                  <a:pt x="126" y="360"/>
                </a:lnTo>
                <a:lnTo>
                  <a:pt x="126" y="360"/>
                </a:lnTo>
                <a:lnTo>
                  <a:pt x="126" y="360"/>
                </a:lnTo>
                <a:lnTo>
                  <a:pt x="120" y="366"/>
                </a:lnTo>
                <a:lnTo>
                  <a:pt x="120" y="360"/>
                </a:lnTo>
                <a:lnTo>
                  <a:pt x="114" y="366"/>
                </a:lnTo>
                <a:lnTo>
                  <a:pt x="114" y="360"/>
                </a:lnTo>
                <a:lnTo>
                  <a:pt x="108" y="360"/>
                </a:lnTo>
                <a:lnTo>
                  <a:pt x="108" y="360"/>
                </a:lnTo>
                <a:lnTo>
                  <a:pt x="102" y="360"/>
                </a:lnTo>
                <a:lnTo>
                  <a:pt x="102" y="360"/>
                </a:lnTo>
                <a:lnTo>
                  <a:pt x="102" y="360"/>
                </a:lnTo>
                <a:lnTo>
                  <a:pt x="96" y="360"/>
                </a:lnTo>
                <a:lnTo>
                  <a:pt x="96" y="360"/>
                </a:lnTo>
                <a:lnTo>
                  <a:pt x="96" y="360"/>
                </a:lnTo>
                <a:lnTo>
                  <a:pt x="90" y="354"/>
                </a:lnTo>
                <a:lnTo>
                  <a:pt x="90" y="354"/>
                </a:lnTo>
                <a:lnTo>
                  <a:pt x="90" y="348"/>
                </a:lnTo>
                <a:lnTo>
                  <a:pt x="84" y="348"/>
                </a:lnTo>
                <a:lnTo>
                  <a:pt x="84" y="348"/>
                </a:lnTo>
                <a:lnTo>
                  <a:pt x="84" y="348"/>
                </a:lnTo>
                <a:lnTo>
                  <a:pt x="78" y="348"/>
                </a:lnTo>
                <a:lnTo>
                  <a:pt x="78" y="348"/>
                </a:lnTo>
                <a:lnTo>
                  <a:pt x="72" y="348"/>
                </a:lnTo>
                <a:lnTo>
                  <a:pt x="72" y="348"/>
                </a:lnTo>
                <a:lnTo>
                  <a:pt x="72" y="342"/>
                </a:lnTo>
                <a:lnTo>
                  <a:pt x="72" y="342"/>
                </a:lnTo>
                <a:lnTo>
                  <a:pt x="72" y="342"/>
                </a:lnTo>
                <a:lnTo>
                  <a:pt x="66" y="336"/>
                </a:lnTo>
                <a:lnTo>
                  <a:pt x="60" y="336"/>
                </a:lnTo>
                <a:lnTo>
                  <a:pt x="60" y="336"/>
                </a:lnTo>
                <a:lnTo>
                  <a:pt x="60" y="336"/>
                </a:lnTo>
                <a:lnTo>
                  <a:pt x="60" y="330"/>
                </a:lnTo>
                <a:lnTo>
                  <a:pt x="60" y="324"/>
                </a:lnTo>
                <a:lnTo>
                  <a:pt x="54" y="318"/>
                </a:lnTo>
                <a:lnTo>
                  <a:pt x="54" y="318"/>
                </a:lnTo>
                <a:lnTo>
                  <a:pt x="48" y="318"/>
                </a:lnTo>
                <a:lnTo>
                  <a:pt x="48" y="318"/>
                </a:lnTo>
                <a:lnTo>
                  <a:pt x="42" y="318"/>
                </a:lnTo>
                <a:lnTo>
                  <a:pt x="42" y="318"/>
                </a:lnTo>
                <a:lnTo>
                  <a:pt x="42" y="312"/>
                </a:lnTo>
                <a:lnTo>
                  <a:pt x="36" y="312"/>
                </a:lnTo>
                <a:lnTo>
                  <a:pt x="36" y="312"/>
                </a:lnTo>
                <a:lnTo>
                  <a:pt x="36" y="306"/>
                </a:lnTo>
                <a:lnTo>
                  <a:pt x="36" y="306"/>
                </a:lnTo>
                <a:lnTo>
                  <a:pt x="36" y="306"/>
                </a:lnTo>
                <a:lnTo>
                  <a:pt x="36" y="306"/>
                </a:lnTo>
                <a:lnTo>
                  <a:pt x="30" y="306"/>
                </a:lnTo>
                <a:lnTo>
                  <a:pt x="30" y="306"/>
                </a:lnTo>
                <a:lnTo>
                  <a:pt x="30" y="306"/>
                </a:lnTo>
                <a:lnTo>
                  <a:pt x="24" y="312"/>
                </a:lnTo>
                <a:lnTo>
                  <a:pt x="24" y="312"/>
                </a:lnTo>
                <a:lnTo>
                  <a:pt x="24" y="312"/>
                </a:lnTo>
                <a:lnTo>
                  <a:pt x="18" y="312"/>
                </a:lnTo>
                <a:lnTo>
                  <a:pt x="18" y="306"/>
                </a:lnTo>
                <a:lnTo>
                  <a:pt x="18" y="306"/>
                </a:lnTo>
                <a:lnTo>
                  <a:pt x="18" y="306"/>
                </a:lnTo>
                <a:lnTo>
                  <a:pt x="12" y="306"/>
                </a:lnTo>
                <a:lnTo>
                  <a:pt x="12" y="306"/>
                </a:lnTo>
                <a:lnTo>
                  <a:pt x="12" y="300"/>
                </a:lnTo>
                <a:lnTo>
                  <a:pt x="12" y="294"/>
                </a:lnTo>
                <a:lnTo>
                  <a:pt x="12" y="294"/>
                </a:lnTo>
                <a:lnTo>
                  <a:pt x="6" y="294"/>
                </a:lnTo>
                <a:lnTo>
                  <a:pt x="6" y="294"/>
                </a:lnTo>
                <a:lnTo>
                  <a:pt x="6" y="288"/>
                </a:lnTo>
                <a:lnTo>
                  <a:pt x="6" y="288"/>
                </a:lnTo>
                <a:lnTo>
                  <a:pt x="6" y="288"/>
                </a:lnTo>
                <a:lnTo>
                  <a:pt x="0" y="28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289" name="Freeform 22"/>
          <p:cNvSpPr>
            <a:spLocks/>
          </p:cNvSpPr>
          <p:nvPr/>
        </p:nvSpPr>
        <p:spPr bwMode="auto">
          <a:xfrm>
            <a:off x="5284386" y="1064286"/>
            <a:ext cx="578164" cy="1059976"/>
          </a:xfrm>
          <a:custGeom>
            <a:avLst/>
            <a:gdLst>
              <a:gd name="T0" fmla="*/ 18 w 540"/>
              <a:gd name="T1" fmla="*/ 18 h 990"/>
              <a:gd name="T2" fmla="*/ 180 w 540"/>
              <a:gd name="T3" fmla="*/ 72 h 990"/>
              <a:gd name="T4" fmla="*/ 198 w 540"/>
              <a:gd name="T5" fmla="*/ 102 h 990"/>
              <a:gd name="T6" fmla="*/ 210 w 540"/>
              <a:gd name="T7" fmla="*/ 132 h 990"/>
              <a:gd name="T8" fmla="*/ 234 w 540"/>
              <a:gd name="T9" fmla="*/ 150 h 990"/>
              <a:gd name="T10" fmla="*/ 246 w 540"/>
              <a:gd name="T11" fmla="*/ 180 h 990"/>
              <a:gd name="T12" fmla="*/ 282 w 540"/>
              <a:gd name="T13" fmla="*/ 186 h 990"/>
              <a:gd name="T14" fmla="*/ 294 w 540"/>
              <a:gd name="T15" fmla="*/ 210 h 990"/>
              <a:gd name="T16" fmla="*/ 318 w 540"/>
              <a:gd name="T17" fmla="*/ 228 h 990"/>
              <a:gd name="T18" fmla="*/ 342 w 540"/>
              <a:gd name="T19" fmla="*/ 240 h 990"/>
              <a:gd name="T20" fmla="*/ 366 w 540"/>
              <a:gd name="T21" fmla="*/ 258 h 990"/>
              <a:gd name="T22" fmla="*/ 390 w 540"/>
              <a:gd name="T23" fmla="*/ 258 h 990"/>
              <a:gd name="T24" fmla="*/ 408 w 540"/>
              <a:gd name="T25" fmla="*/ 264 h 990"/>
              <a:gd name="T26" fmla="*/ 438 w 540"/>
              <a:gd name="T27" fmla="*/ 300 h 990"/>
              <a:gd name="T28" fmla="*/ 468 w 540"/>
              <a:gd name="T29" fmla="*/ 324 h 990"/>
              <a:gd name="T30" fmla="*/ 498 w 540"/>
              <a:gd name="T31" fmla="*/ 318 h 990"/>
              <a:gd name="T32" fmla="*/ 540 w 540"/>
              <a:gd name="T33" fmla="*/ 300 h 990"/>
              <a:gd name="T34" fmla="*/ 498 w 540"/>
              <a:gd name="T35" fmla="*/ 354 h 990"/>
              <a:gd name="T36" fmla="*/ 252 w 540"/>
              <a:gd name="T37" fmla="*/ 882 h 990"/>
              <a:gd name="T38" fmla="*/ 240 w 540"/>
              <a:gd name="T39" fmla="*/ 942 h 990"/>
              <a:gd name="T40" fmla="*/ 216 w 540"/>
              <a:gd name="T41" fmla="*/ 990 h 990"/>
              <a:gd name="T42" fmla="*/ 222 w 540"/>
              <a:gd name="T43" fmla="*/ 954 h 990"/>
              <a:gd name="T44" fmla="*/ 198 w 540"/>
              <a:gd name="T45" fmla="*/ 936 h 990"/>
              <a:gd name="T46" fmla="*/ 180 w 540"/>
              <a:gd name="T47" fmla="*/ 888 h 990"/>
              <a:gd name="T48" fmla="*/ 180 w 540"/>
              <a:gd name="T49" fmla="*/ 846 h 990"/>
              <a:gd name="T50" fmla="*/ 186 w 540"/>
              <a:gd name="T51" fmla="*/ 810 h 990"/>
              <a:gd name="T52" fmla="*/ 186 w 540"/>
              <a:gd name="T53" fmla="*/ 768 h 990"/>
              <a:gd name="T54" fmla="*/ 186 w 540"/>
              <a:gd name="T55" fmla="*/ 738 h 990"/>
              <a:gd name="T56" fmla="*/ 198 w 540"/>
              <a:gd name="T57" fmla="*/ 720 h 990"/>
              <a:gd name="T58" fmla="*/ 222 w 540"/>
              <a:gd name="T59" fmla="*/ 708 h 990"/>
              <a:gd name="T60" fmla="*/ 240 w 540"/>
              <a:gd name="T61" fmla="*/ 684 h 990"/>
              <a:gd name="T62" fmla="*/ 246 w 540"/>
              <a:gd name="T63" fmla="*/ 660 h 990"/>
              <a:gd name="T64" fmla="*/ 264 w 540"/>
              <a:gd name="T65" fmla="*/ 630 h 990"/>
              <a:gd name="T66" fmla="*/ 276 w 540"/>
              <a:gd name="T67" fmla="*/ 612 h 990"/>
              <a:gd name="T68" fmla="*/ 252 w 540"/>
              <a:gd name="T69" fmla="*/ 570 h 990"/>
              <a:gd name="T70" fmla="*/ 234 w 540"/>
              <a:gd name="T71" fmla="*/ 546 h 990"/>
              <a:gd name="T72" fmla="*/ 252 w 540"/>
              <a:gd name="T73" fmla="*/ 522 h 990"/>
              <a:gd name="T74" fmla="*/ 240 w 540"/>
              <a:gd name="T75" fmla="*/ 498 h 990"/>
              <a:gd name="T76" fmla="*/ 276 w 540"/>
              <a:gd name="T77" fmla="*/ 474 h 990"/>
              <a:gd name="T78" fmla="*/ 312 w 540"/>
              <a:gd name="T79" fmla="*/ 420 h 990"/>
              <a:gd name="T80" fmla="*/ 348 w 540"/>
              <a:gd name="T81" fmla="*/ 402 h 990"/>
              <a:gd name="T82" fmla="*/ 366 w 540"/>
              <a:gd name="T83" fmla="*/ 378 h 990"/>
              <a:gd name="T84" fmla="*/ 300 w 540"/>
              <a:gd name="T85" fmla="*/ 396 h 990"/>
              <a:gd name="T86" fmla="*/ 294 w 540"/>
              <a:gd name="T87" fmla="*/ 372 h 990"/>
              <a:gd name="T88" fmla="*/ 258 w 540"/>
              <a:gd name="T89" fmla="*/ 360 h 990"/>
              <a:gd name="T90" fmla="*/ 234 w 540"/>
              <a:gd name="T91" fmla="*/ 336 h 990"/>
              <a:gd name="T92" fmla="*/ 192 w 540"/>
              <a:gd name="T93" fmla="*/ 336 h 990"/>
              <a:gd name="T94" fmla="*/ 168 w 540"/>
              <a:gd name="T95" fmla="*/ 336 h 990"/>
              <a:gd name="T96" fmla="*/ 144 w 540"/>
              <a:gd name="T97" fmla="*/ 324 h 990"/>
              <a:gd name="T98" fmla="*/ 144 w 540"/>
              <a:gd name="T99" fmla="*/ 300 h 990"/>
              <a:gd name="T100" fmla="*/ 132 w 540"/>
              <a:gd name="T101" fmla="*/ 270 h 990"/>
              <a:gd name="T102" fmla="*/ 144 w 540"/>
              <a:gd name="T103" fmla="*/ 240 h 990"/>
              <a:gd name="T104" fmla="*/ 120 w 540"/>
              <a:gd name="T105" fmla="*/ 228 h 990"/>
              <a:gd name="T106" fmla="*/ 102 w 540"/>
              <a:gd name="T107" fmla="*/ 210 h 990"/>
              <a:gd name="T108" fmla="*/ 114 w 540"/>
              <a:gd name="T109" fmla="*/ 186 h 990"/>
              <a:gd name="T110" fmla="*/ 54 w 540"/>
              <a:gd name="T111" fmla="*/ 168 h 990"/>
              <a:gd name="T112" fmla="*/ 24 w 540"/>
              <a:gd name="T113" fmla="*/ 132 h 990"/>
              <a:gd name="T114" fmla="*/ 36 w 540"/>
              <a:gd name="T115" fmla="*/ 102 h 990"/>
              <a:gd name="T116" fmla="*/ 48 w 540"/>
              <a:gd name="T117" fmla="*/ 78 h 990"/>
              <a:gd name="T118" fmla="*/ 48 w 540"/>
              <a:gd name="T119" fmla="*/ 48 h 990"/>
              <a:gd name="T120" fmla="*/ 36 w 540"/>
              <a:gd name="T121" fmla="*/ 42 h 9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0" h="990">
                <a:moveTo>
                  <a:pt x="0" y="54"/>
                </a:move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12" y="36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24" y="18"/>
                </a:lnTo>
                <a:lnTo>
                  <a:pt x="24" y="12"/>
                </a:lnTo>
                <a:lnTo>
                  <a:pt x="24" y="6"/>
                </a:lnTo>
                <a:lnTo>
                  <a:pt x="24" y="0"/>
                </a:lnTo>
                <a:lnTo>
                  <a:pt x="102" y="0"/>
                </a:lnTo>
                <a:lnTo>
                  <a:pt x="138" y="0"/>
                </a:lnTo>
                <a:lnTo>
                  <a:pt x="174" y="0"/>
                </a:lnTo>
                <a:lnTo>
                  <a:pt x="174" y="36"/>
                </a:lnTo>
                <a:lnTo>
                  <a:pt x="174" y="36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80" y="42"/>
                </a:lnTo>
                <a:lnTo>
                  <a:pt x="180" y="48"/>
                </a:lnTo>
                <a:lnTo>
                  <a:pt x="180" y="54"/>
                </a:lnTo>
                <a:lnTo>
                  <a:pt x="180" y="54"/>
                </a:lnTo>
                <a:lnTo>
                  <a:pt x="180" y="54"/>
                </a:lnTo>
                <a:lnTo>
                  <a:pt x="174" y="60"/>
                </a:lnTo>
                <a:lnTo>
                  <a:pt x="174" y="66"/>
                </a:lnTo>
                <a:lnTo>
                  <a:pt x="180" y="72"/>
                </a:lnTo>
                <a:lnTo>
                  <a:pt x="180" y="72"/>
                </a:lnTo>
                <a:lnTo>
                  <a:pt x="180" y="72"/>
                </a:lnTo>
                <a:lnTo>
                  <a:pt x="180" y="72"/>
                </a:lnTo>
                <a:lnTo>
                  <a:pt x="180" y="72"/>
                </a:lnTo>
                <a:lnTo>
                  <a:pt x="180" y="78"/>
                </a:lnTo>
                <a:lnTo>
                  <a:pt x="180" y="84"/>
                </a:lnTo>
                <a:lnTo>
                  <a:pt x="186" y="84"/>
                </a:lnTo>
                <a:lnTo>
                  <a:pt x="186" y="84"/>
                </a:lnTo>
                <a:lnTo>
                  <a:pt x="186" y="84"/>
                </a:lnTo>
                <a:lnTo>
                  <a:pt x="186" y="84"/>
                </a:lnTo>
                <a:lnTo>
                  <a:pt x="186" y="84"/>
                </a:lnTo>
                <a:lnTo>
                  <a:pt x="192" y="84"/>
                </a:lnTo>
                <a:lnTo>
                  <a:pt x="192" y="90"/>
                </a:lnTo>
                <a:lnTo>
                  <a:pt x="192" y="90"/>
                </a:lnTo>
                <a:lnTo>
                  <a:pt x="198" y="90"/>
                </a:lnTo>
                <a:lnTo>
                  <a:pt x="198" y="90"/>
                </a:lnTo>
                <a:lnTo>
                  <a:pt x="198" y="96"/>
                </a:lnTo>
                <a:lnTo>
                  <a:pt x="198" y="96"/>
                </a:lnTo>
                <a:lnTo>
                  <a:pt x="198" y="102"/>
                </a:lnTo>
                <a:lnTo>
                  <a:pt x="198" y="102"/>
                </a:lnTo>
                <a:lnTo>
                  <a:pt x="198" y="102"/>
                </a:lnTo>
                <a:lnTo>
                  <a:pt x="198" y="108"/>
                </a:lnTo>
                <a:lnTo>
                  <a:pt x="198" y="108"/>
                </a:lnTo>
                <a:lnTo>
                  <a:pt x="198" y="108"/>
                </a:lnTo>
                <a:lnTo>
                  <a:pt x="198" y="108"/>
                </a:lnTo>
                <a:lnTo>
                  <a:pt x="198" y="108"/>
                </a:lnTo>
                <a:lnTo>
                  <a:pt x="198" y="114"/>
                </a:lnTo>
                <a:lnTo>
                  <a:pt x="198" y="114"/>
                </a:lnTo>
                <a:lnTo>
                  <a:pt x="198" y="114"/>
                </a:lnTo>
                <a:lnTo>
                  <a:pt x="198" y="120"/>
                </a:lnTo>
                <a:lnTo>
                  <a:pt x="198" y="120"/>
                </a:lnTo>
                <a:lnTo>
                  <a:pt x="198" y="120"/>
                </a:lnTo>
                <a:lnTo>
                  <a:pt x="198" y="120"/>
                </a:lnTo>
                <a:lnTo>
                  <a:pt x="198" y="120"/>
                </a:lnTo>
                <a:lnTo>
                  <a:pt x="198" y="126"/>
                </a:lnTo>
                <a:lnTo>
                  <a:pt x="204" y="126"/>
                </a:lnTo>
                <a:lnTo>
                  <a:pt x="204" y="126"/>
                </a:lnTo>
                <a:lnTo>
                  <a:pt x="204" y="126"/>
                </a:lnTo>
                <a:lnTo>
                  <a:pt x="204" y="126"/>
                </a:lnTo>
                <a:lnTo>
                  <a:pt x="204" y="126"/>
                </a:lnTo>
                <a:lnTo>
                  <a:pt x="210" y="132"/>
                </a:lnTo>
                <a:lnTo>
                  <a:pt x="210" y="132"/>
                </a:lnTo>
                <a:lnTo>
                  <a:pt x="216" y="138"/>
                </a:lnTo>
                <a:lnTo>
                  <a:pt x="216" y="138"/>
                </a:lnTo>
                <a:lnTo>
                  <a:pt x="216" y="138"/>
                </a:lnTo>
                <a:lnTo>
                  <a:pt x="216" y="138"/>
                </a:lnTo>
                <a:lnTo>
                  <a:pt x="216" y="138"/>
                </a:lnTo>
                <a:lnTo>
                  <a:pt x="216" y="138"/>
                </a:lnTo>
                <a:lnTo>
                  <a:pt x="216" y="138"/>
                </a:lnTo>
                <a:lnTo>
                  <a:pt x="216" y="138"/>
                </a:lnTo>
                <a:lnTo>
                  <a:pt x="222" y="144"/>
                </a:lnTo>
                <a:lnTo>
                  <a:pt x="222" y="144"/>
                </a:lnTo>
                <a:lnTo>
                  <a:pt x="222" y="144"/>
                </a:lnTo>
                <a:lnTo>
                  <a:pt x="228" y="144"/>
                </a:lnTo>
                <a:lnTo>
                  <a:pt x="228" y="144"/>
                </a:lnTo>
                <a:lnTo>
                  <a:pt x="228" y="144"/>
                </a:lnTo>
                <a:lnTo>
                  <a:pt x="228" y="144"/>
                </a:lnTo>
                <a:lnTo>
                  <a:pt x="228" y="150"/>
                </a:lnTo>
                <a:lnTo>
                  <a:pt x="228" y="150"/>
                </a:lnTo>
                <a:lnTo>
                  <a:pt x="228" y="150"/>
                </a:lnTo>
                <a:lnTo>
                  <a:pt x="228" y="150"/>
                </a:lnTo>
                <a:lnTo>
                  <a:pt x="228" y="150"/>
                </a:lnTo>
                <a:lnTo>
                  <a:pt x="234" y="150"/>
                </a:lnTo>
                <a:lnTo>
                  <a:pt x="234" y="150"/>
                </a:lnTo>
                <a:lnTo>
                  <a:pt x="234" y="150"/>
                </a:lnTo>
                <a:lnTo>
                  <a:pt x="234" y="150"/>
                </a:lnTo>
                <a:lnTo>
                  <a:pt x="234" y="156"/>
                </a:lnTo>
                <a:lnTo>
                  <a:pt x="234" y="156"/>
                </a:lnTo>
                <a:lnTo>
                  <a:pt x="234" y="162"/>
                </a:lnTo>
                <a:lnTo>
                  <a:pt x="234" y="162"/>
                </a:lnTo>
                <a:lnTo>
                  <a:pt x="240" y="162"/>
                </a:lnTo>
                <a:lnTo>
                  <a:pt x="240" y="162"/>
                </a:lnTo>
                <a:lnTo>
                  <a:pt x="240" y="162"/>
                </a:lnTo>
                <a:lnTo>
                  <a:pt x="234" y="162"/>
                </a:lnTo>
                <a:lnTo>
                  <a:pt x="234" y="168"/>
                </a:lnTo>
                <a:lnTo>
                  <a:pt x="234" y="168"/>
                </a:lnTo>
                <a:lnTo>
                  <a:pt x="234" y="168"/>
                </a:lnTo>
                <a:lnTo>
                  <a:pt x="240" y="174"/>
                </a:lnTo>
                <a:lnTo>
                  <a:pt x="240" y="168"/>
                </a:lnTo>
                <a:lnTo>
                  <a:pt x="240" y="174"/>
                </a:lnTo>
                <a:lnTo>
                  <a:pt x="240" y="168"/>
                </a:lnTo>
                <a:lnTo>
                  <a:pt x="240" y="174"/>
                </a:lnTo>
                <a:lnTo>
                  <a:pt x="246" y="174"/>
                </a:lnTo>
                <a:lnTo>
                  <a:pt x="246" y="180"/>
                </a:lnTo>
                <a:lnTo>
                  <a:pt x="246" y="180"/>
                </a:lnTo>
                <a:lnTo>
                  <a:pt x="246" y="180"/>
                </a:lnTo>
                <a:lnTo>
                  <a:pt x="246" y="180"/>
                </a:lnTo>
                <a:lnTo>
                  <a:pt x="246" y="180"/>
                </a:lnTo>
                <a:lnTo>
                  <a:pt x="246" y="180"/>
                </a:lnTo>
                <a:lnTo>
                  <a:pt x="252" y="186"/>
                </a:lnTo>
                <a:lnTo>
                  <a:pt x="252" y="186"/>
                </a:lnTo>
                <a:lnTo>
                  <a:pt x="258" y="186"/>
                </a:lnTo>
                <a:lnTo>
                  <a:pt x="258" y="180"/>
                </a:lnTo>
                <a:lnTo>
                  <a:pt x="258" y="186"/>
                </a:lnTo>
                <a:lnTo>
                  <a:pt x="258" y="186"/>
                </a:lnTo>
                <a:lnTo>
                  <a:pt x="264" y="186"/>
                </a:lnTo>
                <a:lnTo>
                  <a:pt x="264" y="192"/>
                </a:lnTo>
                <a:lnTo>
                  <a:pt x="270" y="192"/>
                </a:lnTo>
                <a:lnTo>
                  <a:pt x="270" y="198"/>
                </a:lnTo>
                <a:lnTo>
                  <a:pt x="270" y="198"/>
                </a:lnTo>
                <a:lnTo>
                  <a:pt x="276" y="192"/>
                </a:lnTo>
                <a:lnTo>
                  <a:pt x="276" y="192"/>
                </a:lnTo>
                <a:lnTo>
                  <a:pt x="276" y="186"/>
                </a:lnTo>
                <a:lnTo>
                  <a:pt x="282" y="186"/>
                </a:lnTo>
                <a:lnTo>
                  <a:pt x="282" y="186"/>
                </a:lnTo>
                <a:lnTo>
                  <a:pt x="282" y="186"/>
                </a:lnTo>
                <a:lnTo>
                  <a:pt x="282" y="180"/>
                </a:lnTo>
                <a:lnTo>
                  <a:pt x="288" y="180"/>
                </a:lnTo>
                <a:lnTo>
                  <a:pt x="288" y="180"/>
                </a:lnTo>
                <a:lnTo>
                  <a:pt x="288" y="180"/>
                </a:lnTo>
                <a:lnTo>
                  <a:pt x="288" y="180"/>
                </a:lnTo>
                <a:lnTo>
                  <a:pt x="288" y="180"/>
                </a:lnTo>
                <a:lnTo>
                  <a:pt x="288" y="186"/>
                </a:lnTo>
                <a:lnTo>
                  <a:pt x="294" y="186"/>
                </a:lnTo>
                <a:lnTo>
                  <a:pt x="294" y="186"/>
                </a:lnTo>
                <a:lnTo>
                  <a:pt x="294" y="186"/>
                </a:lnTo>
                <a:lnTo>
                  <a:pt x="294" y="192"/>
                </a:lnTo>
                <a:lnTo>
                  <a:pt x="294" y="192"/>
                </a:lnTo>
                <a:lnTo>
                  <a:pt x="294" y="192"/>
                </a:lnTo>
                <a:lnTo>
                  <a:pt x="294" y="198"/>
                </a:lnTo>
                <a:lnTo>
                  <a:pt x="294" y="204"/>
                </a:lnTo>
                <a:lnTo>
                  <a:pt x="294" y="204"/>
                </a:lnTo>
                <a:lnTo>
                  <a:pt x="294" y="210"/>
                </a:lnTo>
                <a:lnTo>
                  <a:pt x="294" y="210"/>
                </a:lnTo>
                <a:lnTo>
                  <a:pt x="294" y="210"/>
                </a:lnTo>
                <a:lnTo>
                  <a:pt x="294" y="210"/>
                </a:lnTo>
                <a:lnTo>
                  <a:pt x="294" y="210"/>
                </a:lnTo>
                <a:lnTo>
                  <a:pt x="294" y="216"/>
                </a:lnTo>
                <a:lnTo>
                  <a:pt x="294" y="216"/>
                </a:lnTo>
                <a:lnTo>
                  <a:pt x="300" y="216"/>
                </a:lnTo>
                <a:lnTo>
                  <a:pt x="294" y="216"/>
                </a:lnTo>
                <a:lnTo>
                  <a:pt x="300" y="216"/>
                </a:lnTo>
                <a:lnTo>
                  <a:pt x="300" y="216"/>
                </a:lnTo>
                <a:lnTo>
                  <a:pt x="300" y="216"/>
                </a:lnTo>
                <a:lnTo>
                  <a:pt x="306" y="222"/>
                </a:lnTo>
                <a:lnTo>
                  <a:pt x="300" y="222"/>
                </a:lnTo>
                <a:lnTo>
                  <a:pt x="300" y="222"/>
                </a:lnTo>
                <a:lnTo>
                  <a:pt x="306" y="222"/>
                </a:lnTo>
                <a:lnTo>
                  <a:pt x="306" y="222"/>
                </a:lnTo>
                <a:lnTo>
                  <a:pt x="306" y="222"/>
                </a:lnTo>
                <a:lnTo>
                  <a:pt x="312" y="222"/>
                </a:lnTo>
                <a:lnTo>
                  <a:pt x="312" y="222"/>
                </a:lnTo>
                <a:lnTo>
                  <a:pt x="312" y="222"/>
                </a:lnTo>
                <a:lnTo>
                  <a:pt x="312" y="222"/>
                </a:lnTo>
                <a:lnTo>
                  <a:pt x="312" y="222"/>
                </a:lnTo>
                <a:lnTo>
                  <a:pt x="318" y="222"/>
                </a:lnTo>
                <a:lnTo>
                  <a:pt x="318" y="228"/>
                </a:lnTo>
                <a:lnTo>
                  <a:pt x="318" y="228"/>
                </a:lnTo>
                <a:lnTo>
                  <a:pt x="318" y="228"/>
                </a:lnTo>
                <a:lnTo>
                  <a:pt x="318" y="228"/>
                </a:lnTo>
                <a:lnTo>
                  <a:pt x="318" y="228"/>
                </a:lnTo>
                <a:lnTo>
                  <a:pt x="318" y="228"/>
                </a:lnTo>
                <a:lnTo>
                  <a:pt x="318" y="234"/>
                </a:lnTo>
                <a:lnTo>
                  <a:pt x="318" y="234"/>
                </a:lnTo>
                <a:lnTo>
                  <a:pt x="324" y="234"/>
                </a:lnTo>
                <a:lnTo>
                  <a:pt x="324" y="234"/>
                </a:lnTo>
                <a:lnTo>
                  <a:pt x="324" y="234"/>
                </a:lnTo>
                <a:lnTo>
                  <a:pt x="324" y="234"/>
                </a:lnTo>
                <a:lnTo>
                  <a:pt x="330" y="234"/>
                </a:lnTo>
                <a:lnTo>
                  <a:pt x="330" y="234"/>
                </a:lnTo>
                <a:lnTo>
                  <a:pt x="330" y="234"/>
                </a:lnTo>
                <a:lnTo>
                  <a:pt x="330" y="240"/>
                </a:lnTo>
                <a:lnTo>
                  <a:pt x="330" y="240"/>
                </a:lnTo>
                <a:lnTo>
                  <a:pt x="330" y="240"/>
                </a:lnTo>
                <a:lnTo>
                  <a:pt x="336" y="246"/>
                </a:lnTo>
                <a:lnTo>
                  <a:pt x="336" y="240"/>
                </a:lnTo>
                <a:lnTo>
                  <a:pt x="336" y="240"/>
                </a:lnTo>
                <a:lnTo>
                  <a:pt x="342" y="240"/>
                </a:lnTo>
                <a:lnTo>
                  <a:pt x="342" y="240"/>
                </a:lnTo>
                <a:lnTo>
                  <a:pt x="342" y="240"/>
                </a:lnTo>
                <a:lnTo>
                  <a:pt x="342" y="240"/>
                </a:lnTo>
                <a:lnTo>
                  <a:pt x="342" y="240"/>
                </a:lnTo>
                <a:lnTo>
                  <a:pt x="342" y="246"/>
                </a:lnTo>
                <a:lnTo>
                  <a:pt x="348" y="246"/>
                </a:lnTo>
                <a:lnTo>
                  <a:pt x="348" y="246"/>
                </a:lnTo>
                <a:lnTo>
                  <a:pt x="348" y="246"/>
                </a:lnTo>
                <a:lnTo>
                  <a:pt x="348" y="246"/>
                </a:lnTo>
                <a:lnTo>
                  <a:pt x="354" y="246"/>
                </a:lnTo>
                <a:lnTo>
                  <a:pt x="354" y="246"/>
                </a:lnTo>
                <a:lnTo>
                  <a:pt x="354" y="252"/>
                </a:lnTo>
                <a:lnTo>
                  <a:pt x="354" y="252"/>
                </a:lnTo>
                <a:lnTo>
                  <a:pt x="354" y="252"/>
                </a:lnTo>
                <a:lnTo>
                  <a:pt x="360" y="252"/>
                </a:lnTo>
                <a:lnTo>
                  <a:pt x="360" y="252"/>
                </a:lnTo>
                <a:lnTo>
                  <a:pt x="360" y="252"/>
                </a:lnTo>
                <a:lnTo>
                  <a:pt x="360" y="252"/>
                </a:lnTo>
                <a:lnTo>
                  <a:pt x="366" y="252"/>
                </a:lnTo>
                <a:lnTo>
                  <a:pt x="366" y="252"/>
                </a:lnTo>
                <a:lnTo>
                  <a:pt x="366" y="258"/>
                </a:lnTo>
                <a:lnTo>
                  <a:pt x="366" y="258"/>
                </a:lnTo>
                <a:lnTo>
                  <a:pt x="366" y="252"/>
                </a:lnTo>
                <a:lnTo>
                  <a:pt x="372" y="252"/>
                </a:lnTo>
                <a:lnTo>
                  <a:pt x="366" y="252"/>
                </a:lnTo>
                <a:lnTo>
                  <a:pt x="372" y="258"/>
                </a:lnTo>
                <a:lnTo>
                  <a:pt x="372" y="258"/>
                </a:lnTo>
                <a:lnTo>
                  <a:pt x="372" y="258"/>
                </a:lnTo>
                <a:lnTo>
                  <a:pt x="372" y="258"/>
                </a:lnTo>
                <a:lnTo>
                  <a:pt x="372" y="258"/>
                </a:lnTo>
                <a:lnTo>
                  <a:pt x="372" y="258"/>
                </a:lnTo>
                <a:lnTo>
                  <a:pt x="378" y="264"/>
                </a:lnTo>
                <a:lnTo>
                  <a:pt x="378" y="258"/>
                </a:lnTo>
                <a:lnTo>
                  <a:pt x="378" y="258"/>
                </a:lnTo>
                <a:lnTo>
                  <a:pt x="378" y="258"/>
                </a:lnTo>
                <a:lnTo>
                  <a:pt x="384" y="258"/>
                </a:lnTo>
                <a:lnTo>
                  <a:pt x="384" y="258"/>
                </a:lnTo>
                <a:lnTo>
                  <a:pt x="384" y="258"/>
                </a:lnTo>
                <a:lnTo>
                  <a:pt x="384" y="258"/>
                </a:lnTo>
                <a:lnTo>
                  <a:pt x="390" y="258"/>
                </a:lnTo>
                <a:lnTo>
                  <a:pt x="390" y="258"/>
                </a:lnTo>
                <a:lnTo>
                  <a:pt x="390" y="258"/>
                </a:lnTo>
                <a:lnTo>
                  <a:pt x="390" y="258"/>
                </a:lnTo>
                <a:lnTo>
                  <a:pt x="390" y="258"/>
                </a:lnTo>
                <a:lnTo>
                  <a:pt x="390" y="258"/>
                </a:lnTo>
                <a:lnTo>
                  <a:pt x="390" y="258"/>
                </a:lnTo>
                <a:lnTo>
                  <a:pt x="390" y="258"/>
                </a:lnTo>
                <a:lnTo>
                  <a:pt x="390" y="258"/>
                </a:lnTo>
                <a:lnTo>
                  <a:pt x="396" y="258"/>
                </a:lnTo>
                <a:lnTo>
                  <a:pt x="396" y="258"/>
                </a:lnTo>
                <a:lnTo>
                  <a:pt x="396" y="258"/>
                </a:lnTo>
                <a:lnTo>
                  <a:pt x="396" y="258"/>
                </a:lnTo>
                <a:lnTo>
                  <a:pt x="396" y="258"/>
                </a:lnTo>
                <a:lnTo>
                  <a:pt x="396" y="258"/>
                </a:lnTo>
                <a:lnTo>
                  <a:pt x="402" y="258"/>
                </a:lnTo>
                <a:lnTo>
                  <a:pt x="402" y="258"/>
                </a:lnTo>
                <a:lnTo>
                  <a:pt x="402" y="264"/>
                </a:lnTo>
                <a:lnTo>
                  <a:pt x="402" y="264"/>
                </a:lnTo>
                <a:lnTo>
                  <a:pt x="402" y="264"/>
                </a:lnTo>
                <a:lnTo>
                  <a:pt x="402" y="264"/>
                </a:lnTo>
                <a:lnTo>
                  <a:pt x="402" y="264"/>
                </a:lnTo>
                <a:lnTo>
                  <a:pt x="408" y="270"/>
                </a:lnTo>
                <a:lnTo>
                  <a:pt x="408" y="264"/>
                </a:lnTo>
                <a:lnTo>
                  <a:pt x="408" y="270"/>
                </a:lnTo>
                <a:lnTo>
                  <a:pt x="408" y="270"/>
                </a:lnTo>
                <a:lnTo>
                  <a:pt x="414" y="270"/>
                </a:lnTo>
                <a:lnTo>
                  <a:pt x="414" y="270"/>
                </a:lnTo>
                <a:lnTo>
                  <a:pt x="414" y="270"/>
                </a:lnTo>
                <a:lnTo>
                  <a:pt x="414" y="270"/>
                </a:lnTo>
                <a:lnTo>
                  <a:pt x="414" y="276"/>
                </a:lnTo>
                <a:lnTo>
                  <a:pt x="414" y="276"/>
                </a:lnTo>
                <a:lnTo>
                  <a:pt x="414" y="276"/>
                </a:lnTo>
                <a:lnTo>
                  <a:pt x="414" y="282"/>
                </a:lnTo>
                <a:lnTo>
                  <a:pt x="420" y="282"/>
                </a:lnTo>
                <a:lnTo>
                  <a:pt x="426" y="282"/>
                </a:lnTo>
                <a:lnTo>
                  <a:pt x="426" y="288"/>
                </a:lnTo>
                <a:lnTo>
                  <a:pt x="426" y="288"/>
                </a:lnTo>
                <a:lnTo>
                  <a:pt x="426" y="288"/>
                </a:lnTo>
                <a:lnTo>
                  <a:pt x="426" y="288"/>
                </a:lnTo>
                <a:lnTo>
                  <a:pt x="432" y="294"/>
                </a:lnTo>
                <a:lnTo>
                  <a:pt x="432" y="294"/>
                </a:lnTo>
                <a:lnTo>
                  <a:pt x="432" y="294"/>
                </a:lnTo>
                <a:lnTo>
                  <a:pt x="438" y="294"/>
                </a:lnTo>
                <a:lnTo>
                  <a:pt x="438" y="300"/>
                </a:lnTo>
                <a:lnTo>
                  <a:pt x="444" y="300"/>
                </a:lnTo>
                <a:lnTo>
                  <a:pt x="444" y="300"/>
                </a:lnTo>
                <a:lnTo>
                  <a:pt x="450" y="300"/>
                </a:lnTo>
                <a:lnTo>
                  <a:pt x="450" y="300"/>
                </a:lnTo>
                <a:lnTo>
                  <a:pt x="456" y="300"/>
                </a:lnTo>
                <a:lnTo>
                  <a:pt x="456" y="300"/>
                </a:lnTo>
                <a:lnTo>
                  <a:pt x="456" y="300"/>
                </a:lnTo>
                <a:lnTo>
                  <a:pt x="456" y="300"/>
                </a:lnTo>
                <a:lnTo>
                  <a:pt x="456" y="306"/>
                </a:lnTo>
                <a:lnTo>
                  <a:pt x="456" y="306"/>
                </a:lnTo>
                <a:lnTo>
                  <a:pt x="456" y="306"/>
                </a:lnTo>
                <a:lnTo>
                  <a:pt x="456" y="312"/>
                </a:lnTo>
                <a:lnTo>
                  <a:pt x="450" y="312"/>
                </a:lnTo>
                <a:lnTo>
                  <a:pt x="450" y="318"/>
                </a:lnTo>
                <a:lnTo>
                  <a:pt x="450" y="318"/>
                </a:lnTo>
                <a:lnTo>
                  <a:pt x="456" y="318"/>
                </a:lnTo>
                <a:lnTo>
                  <a:pt x="456" y="318"/>
                </a:lnTo>
                <a:lnTo>
                  <a:pt x="462" y="318"/>
                </a:lnTo>
                <a:lnTo>
                  <a:pt x="462" y="324"/>
                </a:lnTo>
                <a:lnTo>
                  <a:pt x="462" y="324"/>
                </a:lnTo>
                <a:lnTo>
                  <a:pt x="468" y="324"/>
                </a:lnTo>
                <a:lnTo>
                  <a:pt x="468" y="324"/>
                </a:lnTo>
                <a:lnTo>
                  <a:pt x="468" y="324"/>
                </a:lnTo>
                <a:lnTo>
                  <a:pt x="474" y="324"/>
                </a:lnTo>
                <a:lnTo>
                  <a:pt x="474" y="324"/>
                </a:lnTo>
                <a:lnTo>
                  <a:pt x="474" y="318"/>
                </a:lnTo>
                <a:lnTo>
                  <a:pt x="474" y="318"/>
                </a:lnTo>
                <a:lnTo>
                  <a:pt x="474" y="318"/>
                </a:lnTo>
                <a:lnTo>
                  <a:pt x="474" y="318"/>
                </a:lnTo>
                <a:lnTo>
                  <a:pt x="480" y="318"/>
                </a:lnTo>
                <a:lnTo>
                  <a:pt x="480" y="318"/>
                </a:lnTo>
                <a:lnTo>
                  <a:pt x="480" y="318"/>
                </a:lnTo>
                <a:lnTo>
                  <a:pt x="486" y="312"/>
                </a:lnTo>
                <a:lnTo>
                  <a:pt x="486" y="312"/>
                </a:lnTo>
                <a:lnTo>
                  <a:pt x="486" y="312"/>
                </a:lnTo>
                <a:lnTo>
                  <a:pt x="492" y="318"/>
                </a:lnTo>
                <a:lnTo>
                  <a:pt x="492" y="318"/>
                </a:lnTo>
                <a:lnTo>
                  <a:pt x="492" y="318"/>
                </a:lnTo>
                <a:lnTo>
                  <a:pt x="492" y="318"/>
                </a:lnTo>
                <a:lnTo>
                  <a:pt x="492" y="318"/>
                </a:lnTo>
                <a:lnTo>
                  <a:pt x="498" y="318"/>
                </a:lnTo>
                <a:lnTo>
                  <a:pt x="498" y="318"/>
                </a:lnTo>
                <a:lnTo>
                  <a:pt x="498" y="318"/>
                </a:lnTo>
                <a:lnTo>
                  <a:pt x="504" y="312"/>
                </a:lnTo>
                <a:lnTo>
                  <a:pt x="504" y="312"/>
                </a:lnTo>
                <a:lnTo>
                  <a:pt x="504" y="318"/>
                </a:lnTo>
                <a:lnTo>
                  <a:pt x="510" y="312"/>
                </a:lnTo>
                <a:lnTo>
                  <a:pt x="510" y="312"/>
                </a:lnTo>
                <a:lnTo>
                  <a:pt x="510" y="312"/>
                </a:lnTo>
                <a:lnTo>
                  <a:pt x="510" y="312"/>
                </a:lnTo>
                <a:lnTo>
                  <a:pt x="510" y="312"/>
                </a:lnTo>
                <a:lnTo>
                  <a:pt x="516" y="312"/>
                </a:lnTo>
                <a:lnTo>
                  <a:pt x="516" y="306"/>
                </a:lnTo>
                <a:lnTo>
                  <a:pt x="516" y="306"/>
                </a:lnTo>
                <a:lnTo>
                  <a:pt x="522" y="306"/>
                </a:lnTo>
                <a:lnTo>
                  <a:pt x="522" y="306"/>
                </a:lnTo>
                <a:lnTo>
                  <a:pt x="528" y="306"/>
                </a:lnTo>
                <a:lnTo>
                  <a:pt x="528" y="300"/>
                </a:lnTo>
                <a:lnTo>
                  <a:pt x="528" y="300"/>
                </a:lnTo>
                <a:lnTo>
                  <a:pt x="528" y="300"/>
                </a:lnTo>
                <a:lnTo>
                  <a:pt x="528" y="300"/>
                </a:lnTo>
                <a:lnTo>
                  <a:pt x="534" y="300"/>
                </a:lnTo>
                <a:lnTo>
                  <a:pt x="540" y="300"/>
                </a:lnTo>
                <a:lnTo>
                  <a:pt x="540" y="300"/>
                </a:lnTo>
                <a:lnTo>
                  <a:pt x="540" y="300"/>
                </a:lnTo>
                <a:lnTo>
                  <a:pt x="534" y="312"/>
                </a:lnTo>
                <a:lnTo>
                  <a:pt x="528" y="312"/>
                </a:lnTo>
                <a:lnTo>
                  <a:pt x="528" y="318"/>
                </a:lnTo>
                <a:lnTo>
                  <a:pt x="522" y="324"/>
                </a:lnTo>
                <a:lnTo>
                  <a:pt x="516" y="324"/>
                </a:lnTo>
                <a:lnTo>
                  <a:pt x="510" y="330"/>
                </a:lnTo>
                <a:lnTo>
                  <a:pt x="504" y="330"/>
                </a:lnTo>
                <a:lnTo>
                  <a:pt x="504" y="330"/>
                </a:lnTo>
                <a:lnTo>
                  <a:pt x="504" y="330"/>
                </a:lnTo>
                <a:lnTo>
                  <a:pt x="498" y="336"/>
                </a:lnTo>
                <a:lnTo>
                  <a:pt x="498" y="342"/>
                </a:lnTo>
                <a:lnTo>
                  <a:pt x="498" y="342"/>
                </a:lnTo>
                <a:lnTo>
                  <a:pt x="498" y="342"/>
                </a:lnTo>
                <a:lnTo>
                  <a:pt x="492" y="354"/>
                </a:lnTo>
                <a:lnTo>
                  <a:pt x="492" y="354"/>
                </a:lnTo>
                <a:lnTo>
                  <a:pt x="492" y="354"/>
                </a:lnTo>
                <a:lnTo>
                  <a:pt x="492" y="354"/>
                </a:lnTo>
                <a:lnTo>
                  <a:pt x="498" y="354"/>
                </a:lnTo>
                <a:lnTo>
                  <a:pt x="498" y="354"/>
                </a:lnTo>
                <a:lnTo>
                  <a:pt x="498" y="354"/>
                </a:lnTo>
                <a:lnTo>
                  <a:pt x="498" y="366"/>
                </a:lnTo>
                <a:lnTo>
                  <a:pt x="486" y="378"/>
                </a:lnTo>
                <a:lnTo>
                  <a:pt x="480" y="390"/>
                </a:lnTo>
                <a:lnTo>
                  <a:pt x="474" y="402"/>
                </a:lnTo>
                <a:lnTo>
                  <a:pt x="468" y="426"/>
                </a:lnTo>
                <a:lnTo>
                  <a:pt x="450" y="456"/>
                </a:lnTo>
                <a:lnTo>
                  <a:pt x="450" y="456"/>
                </a:lnTo>
                <a:lnTo>
                  <a:pt x="444" y="468"/>
                </a:lnTo>
                <a:lnTo>
                  <a:pt x="438" y="492"/>
                </a:lnTo>
                <a:lnTo>
                  <a:pt x="432" y="498"/>
                </a:lnTo>
                <a:lnTo>
                  <a:pt x="426" y="510"/>
                </a:lnTo>
                <a:lnTo>
                  <a:pt x="420" y="528"/>
                </a:lnTo>
                <a:lnTo>
                  <a:pt x="390" y="594"/>
                </a:lnTo>
                <a:lnTo>
                  <a:pt x="348" y="678"/>
                </a:lnTo>
                <a:lnTo>
                  <a:pt x="342" y="696"/>
                </a:lnTo>
                <a:lnTo>
                  <a:pt x="330" y="720"/>
                </a:lnTo>
                <a:lnTo>
                  <a:pt x="312" y="762"/>
                </a:lnTo>
                <a:lnTo>
                  <a:pt x="258" y="876"/>
                </a:lnTo>
                <a:lnTo>
                  <a:pt x="258" y="882"/>
                </a:lnTo>
                <a:lnTo>
                  <a:pt x="252" y="882"/>
                </a:lnTo>
                <a:lnTo>
                  <a:pt x="252" y="882"/>
                </a:lnTo>
                <a:lnTo>
                  <a:pt x="252" y="882"/>
                </a:lnTo>
                <a:lnTo>
                  <a:pt x="252" y="882"/>
                </a:lnTo>
                <a:lnTo>
                  <a:pt x="252" y="882"/>
                </a:lnTo>
                <a:lnTo>
                  <a:pt x="246" y="882"/>
                </a:lnTo>
                <a:lnTo>
                  <a:pt x="246" y="888"/>
                </a:lnTo>
                <a:lnTo>
                  <a:pt x="246" y="888"/>
                </a:lnTo>
                <a:lnTo>
                  <a:pt x="246" y="888"/>
                </a:lnTo>
                <a:lnTo>
                  <a:pt x="246" y="894"/>
                </a:lnTo>
                <a:lnTo>
                  <a:pt x="234" y="900"/>
                </a:lnTo>
                <a:lnTo>
                  <a:pt x="234" y="900"/>
                </a:lnTo>
                <a:lnTo>
                  <a:pt x="228" y="906"/>
                </a:lnTo>
                <a:lnTo>
                  <a:pt x="228" y="906"/>
                </a:lnTo>
                <a:lnTo>
                  <a:pt x="228" y="918"/>
                </a:lnTo>
                <a:lnTo>
                  <a:pt x="228" y="924"/>
                </a:lnTo>
                <a:lnTo>
                  <a:pt x="234" y="924"/>
                </a:lnTo>
                <a:lnTo>
                  <a:pt x="234" y="936"/>
                </a:lnTo>
                <a:lnTo>
                  <a:pt x="240" y="942"/>
                </a:lnTo>
                <a:lnTo>
                  <a:pt x="240" y="942"/>
                </a:lnTo>
                <a:lnTo>
                  <a:pt x="240" y="942"/>
                </a:lnTo>
                <a:lnTo>
                  <a:pt x="240" y="942"/>
                </a:lnTo>
                <a:lnTo>
                  <a:pt x="246" y="942"/>
                </a:lnTo>
                <a:lnTo>
                  <a:pt x="246" y="948"/>
                </a:lnTo>
                <a:lnTo>
                  <a:pt x="246" y="948"/>
                </a:lnTo>
                <a:lnTo>
                  <a:pt x="252" y="954"/>
                </a:lnTo>
                <a:lnTo>
                  <a:pt x="258" y="960"/>
                </a:lnTo>
                <a:lnTo>
                  <a:pt x="258" y="960"/>
                </a:lnTo>
                <a:lnTo>
                  <a:pt x="258" y="960"/>
                </a:lnTo>
                <a:lnTo>
                  <a:pt x="264" y="960"/>
                </a:lnTo>
                <a:lnTo>
                  <a:pt x="264" y="966"/>
                </a:lnTo>
                <a:lnTo>
                  <a:pt x="264" y="966"/>
                </a:lnTo>
                <a:lnTo>
                  <a:pt x="264" y="966"/>
                </a:lnTo>
                <a:lnTo>
                  <a:pt x="270" y="972"/>
                </a:lnTo>
                <a:lnTo>
                  <a:pt x="270" y="978"/>
                </a:lnTo>
                <a:lnTo>
                  <a:pt x="270" y="984"/>
                </a:lnTo>
                <a:lnTo>
                  <a:pt x="270" y="984"/>
                </a:lnTo>
                <a:lnTo>
                  <a:pt x="270" y="990"/>
                </a:lnTo>
                <a:lnTo>
                  <a:pt x="270" y="990"/>
                </a:lnTo>
                <a:lnTo>
                  <a:pt x="228" y="990"/>
                </a:lnTo>
                <a:lnTo>
                  <a:pt x="222" y="990"/>
                </a:lnTo>
                <a:lnTo>
                  <a:pt x="222" y="990"/>
                </a:lnTo>
                <a:lnTo>
                  <a:pt x="216" y="990"/>
                </a:lnTo>
                <a:lnTo>
                  <a:pt x="216" y="984"/>
                </a:lnTo>
                <a:lnTo>
                  <a:pt x="216" y="984"/>
                </a:lnTo>
                <a:lnTo>
                  <a:pt x="216" y="984"/>
                </a:lnTo>
                <a:lnTo>
                  <a:pt x="216" y="984"/>
                </a:lnTo>
                <a:lnTo>
                  <a:pt x="222" y="978"/>
                </a:lnTo>
                <a:lnTo>
                  <a:pt x="222" y="978"/>
                </a:lnTo>
                <a:lnTo>
                  <a:pt x="222" y="978"/>
                </a:lnTo>
                <a:lnTo>
                  <a:pt x="222" y="978"/>
                </a:lnTo>
                <a:lnTo>
                  <a:pt x="222" y="978"/>
                </a:lnTo>
                <a:lnTo>
                  <a:pt x="216" y="972"/>
                </a:lnTo>
                <a:lnTo>
                  <a:pt x="222" y="972"/>
                </a:lnTo>
                <a:lnTo>
                  <a:pt x="222" y="972"/>
                </a:lnTo>
                <a:lnTo>
                  <a:pt x="222" y="966"/>
                </a:lnTo>
                <a:lnTo>
                  <a:pt x="222" y="966"/>
                </a:lnTo>
                <a:lnTo>
                  <a:pt x="222" y="966"/>
                </a:lnTo>
                <a:lnTo>
                  <a:pt x="222" y="966"/>
                </a:lnTo>
                <a:lnTo>
                  <a:pt x="228" y="960"/>
                </a:lnTo>
                <a:lnTo>
                  <a:pt x="228" y="954"/>
                </a:lnTo>
                <a:lnTo>
                  <a:pt x="228" y="954"/>
                </a:lnTo>
                <a:lnTo>
                  <a:pt x="228" y="954"/>
                </a:lnTo>
                <a:lnTo>
                  <a:pt x="222" y="954"/>
                </a:lnTo>
                <a:lnTo>
                  <a:pt x="222" y="954"/>
                </a:lnTo>
                <a:lnTo>
                  <a:pt x="222" y="954"/>
                </a:lnTo>
                <a:lnTo>
                  <a:pt x="222" y="954"/>
                </a:lnTo>
                <a:lnTo>
                  <a:pt x="222" y="954"/>
                </a:lnTo>
                <a:lnTo>
                  <a:pt x="222" y="954"/>
                </a:lnTo>
                <a:lnTo>
                  <a:pt x="216" y="954"/>
                </a:lnTo>
                <a:lnTo>
                  <a:pt x="216" y="954"/>
                </a:lnTo>
                <a:lnTo>
                  <a:pt x="216" y="954"/>
                </a:lnTo>
                <a:lnTo>
                  <a:pt x="216" y="954"/>
                </a:lnTo>
                <a:lnTo>
                  <a:pt x="216" y="954"/>
                </a:lnTo>
                <a:lnTo>
                  <a:pt x="216" y="954"/>
                </a:lnTo>
                <a:lnTo>
                  <a:pt x="216" y="954"/>
                </a:lnTo>
                <a:lnTo>
                  <a:pt x="210" y="948"/>
                </a:lnTo>
                <a:lnTo>
                  <a:pt x="210" y="948"/>
                </a:lnTo>
                <a:lnTo>
                  <a:pt x="210" y="948"/>
                </a:lnTo>
                <a:lnTo>
                  <a:pt x="204" y="942"/>
                </a:lnTo>
                <a:lnTo>
                  <a:pt x="204" y="942"/>
                </a:lnTo>
                <a:lnTo>
                  <a:pt x="204" y="936"/>
                </a:lnTo>
                <a:lnTo>
                  <a:pt x="204" y="936"/>
                </a:lnTo>
                <a:lnTo>
                  <a:pt x="198" y="936"/>
                </a:lnTo>
                <a:lnTo>
                  <a:pt x="198" y="936"/>
                </a:lnTo>
                <a:lnTo>
                  <a:pt x="198" y="930"/>
                </a:lnTo>
                <a:lnTo>
                  <a:pt x="192" y="930"/>
                </a:lnTo>
                <a:lnTo>
                  <a:pt x="192" y="930"/>
                </a:lnTo>
                <a:lnTo>
                  <a:pt x="192" y="930"/>
                </a:lnTo>
                <a:lnTo>
                  <a:pt x="192" y="930"/>
                </a:lnTo>
                <a:lnTo>
                  <a:pt x="192" y="924"/>
                </a:lnTo>
                <a:lnTo>
                  <a:pt x="186" y="918"/>
                </a:lnTo>
                <a:lnTo>
                  <a:pt x="186" y="918"/>
                </a:lnTo>
                <a:lnTo>
                  <a:pt x="186" y="918"/>
                </a:lnTo>
                <a:lnTo>
                  <a:pt x="180" y="912"/>
                </a:lnTo>
                <a:lnTo>
                  <a:pt x="180" y="912"/>
                </a:lnTo>
                <a:lnTo>
                  <a:pt x="180" y="906"/>
                </a:lnTo>
                <a:lnTo>
                  <a:pt x="180" y="906"/>
                </a:lnTo>
                <a:lnTo>
                  <a:pt x="180" y="906"/>
                </a:lnTo>
                <a:lnTo>
                  <a:pt x="180" y="900"/>
                </a:lnTo>
                <a:lnTo>
                  <a:pt x="180" y="894"/>
                </a:lnTo>
                <a:lnTo>
                  <a:pt x="180" y="894"/>
                </a:lnTo>
                <a:lnTo>
                  <a:pt x="180" y="894"/>
                </a:lnTo>
                <a:lnTo>
                  <a:pt x="180" y="888"/>
                </a:lnTo>
                <a:lnTo>
                  <a:pt x="180" y="888"/>
                </a:lnTo>
                <a:lnTo>
                  <a:pt x="180" y="888"/>
                </a:lnTo>
                <a:lnTo>
                  <a:pt x="180" y="882"/>
                </a:lnTo>
                <a:lnTo>
                  <a:pt x="180" y="882"/>
                </a:lnTo>
                <a:lnTo>
                  <a:pt x="180" y="876"/>
                </a:lnTo>
                <a:lnTo>
                  <a:pt x="180" y="876"/>
                </a:lnTo>
                <a:lnTo>
                  <a:pt x="180" y="870"/>
                </a:lnTo>
                <a:lnTo>
                  <a:pt x="180" y="870"/>
                </a:lnTo>
                <a:lnTo>
                  <a:pt x="180" y="870"/>
                </a:lnTo>
                <a:lnTo>
                  <a:pt x="180" y="864"/>
                </a:lnTo>
                <a:lnTo>
                  <a:pt x="180" y="864"/>
                </a:lnTo>
                <a:lnTo>
                  <a:pt x="180" y="864"/>
                </a:lnTo>
                <a:lnTo>
                  <a:pt x="180" y="864"/>
                </a:lnTo>
                <a:lnTo>
                  <a:pt x="174" y="864"/>
                </a:lnTo>
                <a:lnTo>
                  <a:pt x="174" y="858"/>
                </a:lnTo>
                <a:lnTo>
                  <a:pt x="174" y="858"/>
                </a:lnTo>
                <a:lnTo>
                  <a:pt x="174" y="852"/>
                </a:lnTo>
                <a:lnTo>
                  <a:pt x="174" y="852"/>
                </a:lnTo>
                <a:lnTo>
                  <a:pt x="174" y="852"/>
                </a:lnTo>
                <a:lnTo>
                  <a:pt x="174" y="852"/>
                </a:lnTo>
                <a:lnTo>
                  <a:pt x="174" y="846"/>
                </a:lnTo>
                <a:lnTo>
                  <a:pt x="180" y="846"/>
                </a:lnTo>
                <a:lnTo>
                  <a:pt x="180" y="846"/>
                </a:lnTo>
                <a:lnTo>
                  <a:pt x="180" y="846"/>
                </a:lnTo>
                <a:lnTo>
                  <a:pt x="180" y="840"/>
                </a:lnTo>
                <a:lnTo>
                  <a:pt x="186" y="834"/>
                </a:lnTo>
                <a:lnTo>
                  <a:pt x="186" y="834"/>
                </a:lnTo>
                <a:lnTo>
                  <a:pt x="186" y="834"/>
                </a:lnTo>
                <a:lnTo>
                  <a:pt x="186" y="834"/>
                </a:lnTo>
                <a:lnTo>
                  <a:pt x="186" y="828"/>
                </a:lnTo>
                <a:lnTo>
                  <a:pt x="186" y="828"/>
                </a:lnTo>
                <a:lnTo>
                  <a:pt x="186" y="828"/>
                </a:lnTo>
                <a:lnTo>
                  <a:pt x="186" y="828"/>
                </a:lnTo>
                <a:lnTo>
                  <a:pt x="186" y="822"/>
                </a:lnTo>
                <a:lnTo>
                  <a:pt x="186" y="822"/>
                </a:lnTo>
                <a:lnTo>
                  <a:pt x="186" y="822"/>
                </a:lnTo>
                <a:lnTo>
                  <a:pt x="186" y="822"/>
                </a:lnTo>
                <a:lnTo>
                  <a:pt x="180" y="816"/>
                </a:lnTo>
                <a:lnTo>
                  <a:pt x="186" y="816"/>
                </a:lnTo>
                <a:lnTo>
                  <a:pt x="186" y="816"/>
                </a:lnTo>
                <a:lnTo>
                  <a:pt x="186" y="816"/>
                </a:lnTo>
                <a:lnTo>
                  <a:pt x="186" y="810"/>
                </a:lnTo>
                <a:lnTo>
                  <a:pt x="186" y="810"/>
                </a:lnTo>
                <a:lnTo>
                  <a:pt x="186" y="810"/>
                </a:lnTo>
                <a:lnTo>
                  <a:pt x="186" y="804"/>
                </a:lnTo>
                <a:lnTo>
                  <a:pt x="186" y="804"/>
                </a:lnTo>
                <a:lnTo>
                  <a:pt x="186" y="804"/>
                </a:lnTo>
                <a:lnTo>
                  <a:pt x="186" y="798"/>
                </a:lnTo>
                <a:lnTo>
                  <a:pt x="186" y="798"/>
                </a:lnTo>
                <a:lnTo>
                  <a:pt x="186" y="792"/>
                </a:lnTo>
                <a:lnTo>
                  <a:pt x="186" y="792"/>
                </a:lnTo>
                <a:lnTo>
                  <a:pt x="180" y="792"/>
                </a:lnTo>
                <a:lnTo>
                  <a:pt x="186" y="792"/>
                </a:lnTo>
                <a:lnTo>
                  <a:pt x="186" y="786"/>
                </a:lnTo>
                <a:lnTo>
                  <a:pt x="186" y="786"/>
                </a:lnTo>
                <a:lnTo>
                  <a:pt x="186" y="780"/>
                </a:lnTo>
                <a:lnTo>
                  <a:pt x="186" y="780"/>
                </a:lnTo>
                <a:lnTo>
                  <a:pt x="180" y="780"/>
                </a:lnTo>
                <a:lnTo>
                  <a:pt x="180" y="780"/>
                </a:lnTo>
                <a:lnTo>
                  <a:pt x="180" y="774"/>
                </a:lnTo>
                <a:lnTo>
                  <a:pt x="180" y="774"/>
                </a:lnTo>
                <a:lnTo>
                  <a:pt x="180" y="774"/>
                </a:lnTo>
                <a:lnTo>
                  <a:pt x="186" y="768"/>
                </a:lnTo>
                <a:lnTo>
                  <a:pt x="186" y="768"/>
                </a:lnTo>
                <a:lnTo>
                  <a:pt x="186" y="768"/>
                </a:lnTo>
                <a:lnTo>
                  <a:pt x="186" y="762"/>
                </a:lnTo>
                <a:lnTo>
                  <a:pt x="186" y="762"/>
                </a:lnTo>
                <a:lnTo>
                  <a:pt x="180" y="762"/>
                </a:lnTo>
                <a:lnTo>
                  <a:pt x="180" y="762"/>
                </a:lnTo>
                <a:lnTo>
                  <a:pt x="180" y="762"/>
                </a:lnTo>
                <a:lnTo>
                  <a:pt x="180" y="762"/>
                </a:lnTo>
                <a:lnTo>
                  <a:pt x="180" y="756"/>
                </a:lnTo>
                <a:lnTo>
                  <a:pt x="180" y="756"/>
                </a:lnTo>
                <a:lnTo>
                  <a:pt x="180" y="756"/>
                </a:lnTo>
                <a:lnTo>
                  <a:pt x="180" y="750"/>
                </a:lnTo>
                <a:lnTo>
                  <a:pt x="180" y="750"/>
                </a:lnTo>
                <a:lnTo>
                  <a:pt x="180" y="750"/>
                </a:lnTo>
                <a:lnTo>
                  <a:pt x="180" y="750"/>
                </a:lnTo>
                <a:lnTo>
                  <a:pt x="186" y="750"/>
                </a:lnTo>
                <a:lnTo>
                  <a:pt x="180" y="744"/>
                </a:lnTo>
                <a:lnTo>
                  <a:pt x="186" y="738"/>
                </a:lnTo>
                <a:lnTo>
                  <a:pt x="186" y="738"/>
                </a:lnTo>
                <a:lnTo>
                  <a:pt x="186" y="738"/>
                </a:lnTo>
                <a:lnTo>
                  <a:pt x="186" y="738"/>
                </a:lnTo>
                <a:lnTo>
                  <a:pt x="186" y="738"/>
                </a:lnTo>
                <a:lnTo>
                  <a:pt x="186" y="738"/>
                </a:lnTo>
                <a:lnTo>
                  <a:pt x="186" y="732"/>
                </a:lnTo>
                <a:lnTo>
                  <a:pt x="186" y="732"/>
                </a:lnTo>
                <a:lnTo>
                  <a:pt x="186" y="732"/>
                </a:lnTo>
                <a:lnTo>
                  <a:pt x="192" y="732"/>
                </a:lnTo>
                <a:lnTo>
                  <a:pt x="192" y="732"/>
                </a:lnTo>
                <a:lnTo>
                  <a:pt x="192" y="732"/>
                </a:lnTo>
                <a:lnTo>
                  <a:pt x="198" y="732"/>
                </a:lnTo>
                <a:lnTo>
                  <a:pt x="198" y="726"/>
                </a:lnTo>
                <a:lnTo>
                  <a:pt x="198" y="726"/>
                </a:lnTo>
                <a:lnTo>
                  <a:pt x="198" y="726"/>
                </a:lnTo>
                <a:lnTo>
                  <a:pt x="192" y="726"/>
                </a:lnTo>
                <a:lnTo>
                  <a:pt x="192" y="726"/>
                </a:lnTo>
                <a:lnTo>
                  <a:pt x="198" y="726"/>
                </a:lnTo>
                <a:lnTo>
                  <a:pt x="198" y="726"/>
                </a:lnTo>
                <a:lnTo>
                  <a:pt x="198" y="726"/>
                </a:lnTo>
                <a:lnTo>
                  <a:pt x="198" y="720"/>
                </a:lnTo>
                <a:lnTo>
                  <a:pt x="198" y="720"/>
                </a:lnTo>
                <a:lnTo>
                  <a:pt x="198" y="720"/>
                </a:lnTo>
                <a:lnTo>
                  <a:pt x="198" y="720"/>
                </a:lnTo>
                <a:lnTo>
                  <a:pt x="198" y="720"/>
                </a:lnTo>
                <a:lnTo>
                  <a:pt x="198" y="720"/>
                </a:lnTo>
                <a:lnTo>
                  <a:pt x="198" y="720"/>
                </a:lnTo>
                <a:lnTo>
                  <a:pt x="204" y="714"/>
                </a:lnTo>
                <a:lnTo>
                  <a:pt x="204" y="714"/>
                </a:lnTo>
                <a:lnTo>
                  <a:pt x="204" y="714"/>
                </a:lnTo>
                <a:lnTo>
                  <a:pt x="204" y="714"/>
                </a:lnTo>
                <a:lnTo>
                  <a:pt x="204" y="714"/>
                </a:lnTo>
                <a:lnTo>
                  <a:pt x="210" y="714"/>
                </a:lnTo>
                <a:lnTo>
                  <a:pt x="210" y="714"/>
                </a:lnTo>
                <a:lnTo>
                  <a:pt x="210" y="714"/>
                </a:lnTo>
                <a:lnTo>
                  <a:pt x="210" y="708"/>
                </a:lnTo>
                <a:lnTo>
                  <a:pt x="210" y="708"/>
                </a:lnTo>
                <a:lnTo>
                  <a:pt x="216" y="708"/>
                </a:lnTo>
                <a:lnTo>
                  <a:pt x="216" y="708"/>
                </a:lnTo>
                <a:lnTo>
                  <a:pt x="216" y="708"/>
                </a:lnTo>
                <a:lnTo>
                  <a:pt x="216" y="708"/>
                </a:lnTo>
                <a:lnTo>
                  <a:pt x="216" y="708"/>
                </a:lnTo>
                <a:lnTo>
                  <a:pt x="216" y="708"/>
                </a:lnTo>
                <a:lnTo>
                  <a:pt x="216" y="702"/>
                </a:lnTo>
                <a:lnTo>
                  <a:pt x="222" y="702"/>
                </a:lnTo>
                <a:lnTo>
                  <a:pt x="222" y="702"/>
                </a:lnTo>
                <a:lnTo>
                  <a:pt x="222" y="708"/>
                </a:lnTo>
                <a:lnTo>
                  <a:pt x="222" y="702"/>
                </a:lnTo>
                <a:lnTo>
                  <a:pt x="222" y="702"/>
                </a:lnTo>
                <a:lnTo>
                  <a:pt x="222" y="702"/>
                </a:lnTo>
                <a:lnTo>
                  <a:pt x="228" y="702"/>
                </a:lnTo>
                <a:lnTo>
                  <a:pt x="222" y="702"/>
                </a:lnTo>
                <a:lnTo>
                  <a:pt x="222" y="702"/>
                </a:lnTo>
                <a:lnTo>
                  <a:pt x="228" y="702"/>
                </a:lnTo>
                <a:lnTo>
                  <a:pt x="228" y="696"/>
                </a:lnTo>
                <a:lnTo>
                  <a:pt x="228" y="696"/>
                </a:lnTo>
                <a:lnTo>
                  <a:pt x="228" y="696"/>
                </a:lnTo>
                <a:lnTo>
                  <a:pt x="228" y="696"/>
                </a:lnTo>
                <a:lnTo>
                  <a:pt x="228" y="696"/>
                </a:lnTo>
                <a:lnTo>
                  <a:pt x="234" y="696"/>
                </a:lnTo>
                <a:lnTo>
                  <a:pt x="234" y="690"/>
                </a:lnTo>
                <a:lnTo>
                  <a:pt x="234" y="690"/>
                </a:lnTo>
                <a:lnTo>
                  <a:pt x="234" y="690"/>
                </a:lnTo>
                <a:lnTo>
                  <a:pt x="234" y="690"/>
                </a:lnTo>
                <a:lnTo>
                  <a:pt x="234" y="690"/>
                </a:lnTo>
                <a:lnTo>
                  <a:pt x="240" y="690"/>
                </a:lnTo>
                <a:lnTo>
                  <a:pt x="240" y="684"/>
                </a:lnTo>
                <a:lnTo>
                  <a:pt x="240" y="684"/>
                </a:lnTo>
                <a:lnTo>
                  <a:pt x="240" y="684"/>
                </a:lnTo>
                <a:lnTo>
                  <a:pt x="240" y="684"/>
                </a:lnTo>
                <a:lnTo>
                  <a:pt x="240" y="684"/>
                </a:lnTo>
                <a:lnTo>
                  <a:pt x="240" y="678"/>
                </a:lnTo>
                <a:lnTo>
                  <a:pt x="240" y="678"/>
                </a:lnTo>
                <a:lnTo>
                  <a:pt x="240" y="678"/>
                </a:lnTo>
                <a:lnTo>
                  <a:pt x="240" y="678"/>
                </a:lnTo>
                <a:lnTo>
                  <a:pt x="240" y="678"/>
                </a:lnTo>
                <a:lnTo>
                  <a:pt x="246" y="678"/>
                </a:lnTo>
                <a:lnTo>
                  <a:pt x="246" y="672"/>
                </a:lnTo>
                <a:lnTo>
                  <a:pt x="246" y="672"/>
                </a:lnTo>
                <a:lnTo>
                  <a:pt x="246" y="672"/>
                </a:lnTo>
                <a:lnTo>
                  <a:pt x="246" y="672"/>
                </a:lnTo>
                <a:lnTo>
                  <a:pt x="246" y="672"/>
                </a:lnTo>
                <a:lnTo>
                  <a:pt x="246" y="672"/>
                </a:lnTo>
                <a:lnTo>
                  <a:pt x="246" y="666"/>
                </a:lnTo>
                <a:lnTo>
                  <a:pt x="246" y="666"/>
                </a:lnTo>
                <a:lnTo>
                  <a:pt x="246" y="666"/>
                </a:lnTo>
                <a:lnTo>
                  <a:pt x="246" y="666"/>
                </a:lnTo>
                <a:lnTo>
                  <a:pt x="246" y="666"/>
                </a:lnTo>
                <a:lnTo>
                  <a:pt x="246" y="660"/>
                </a:lnTo>
                <a:lnTo>
                  <a:pt x="252" y="660"/>
                </a:lnTo>
                <a:lnTo>
                  <a:pt x="252" y="666"/>
                </a:lnTo>
                <a:lnTo>
                  <a:pt x="252" y="660"/>
                </a:lnTo>
                <a:lnTo>
                  <a:pt x="252" y="660"/>
                </a:lnTo>
                <a:lnTo>
                  <a:pt x="252" y="660"/>
                </a:lnTo>
                <a:lnTo>
                  <a:pt x="252" y="654"/>
                </a:lnTo>
                <a:lnTo>
                  <a:pt x="252" y="654"/>
                </a:lnTo>
                <a:lnTo>
                  <a:pt x="258" y="654"/>
                </a:lnTo>
                <a:lnTo>
                  <a:pt x="258" y="648"/>
                </a:lnTo>
                <a:lnTo>
                  <a:pt x="252" y="648"/>
                </a:lnTo>
                <a:lnTo>
                  <a:pt x="252" y="648"/>
                </a:lnTo>
                <a:lnTo>
                  <a:pt x="258" y="648"/>
                </a:lnTo>
                <a:lnTo>
                  <a:pt x="258" y="642"/>
                </a:lnTo>
                <a:lnTo>
                  <a:pt x="258" y="642"/>
                </a:lnTo>
                <a:lnTo>
                  <a:pt x="258" y="642"/>
                </a:lnTo>
                <a:lnTo>
                  <a:pt x="258" y="636"/>
                </a:lnTo>
                <a:lnTo>
                  <a:pt x="258" y="636"/>
                </a:lnTo>
                <a:lnTo>
                  <a:pt x="264" y="636"/>
                </a:lnTo>
                <a:lnTo>
                  <a:pt x="264" y="636"/>
                </a:lnTo>
                <a:lnTo>
                  <a:pt x="264" y="636"/>
                </a:lnTo>
                <a:lnTo>
                  <a:pt x="264" y="630"/>
                </a:lnTo>
                <a:lnTo>
                  <a:pt x="264" y="630"/>
                </a:lnTo>
                <a:lnTo>
                  <a:pt x="264" y="630"/>
                </a:lnTo>
                <a:lnTo>
                  <a:pt x="264" y="630"/>
                </a:lnTo>
                <a:lnTo>
                  <a:pt x="264" y="630"/>
                </a:lnTo>
                <a:lnTo>
                  <a:pt x="264" y="630"/>
                </a:lnTo>
                <a:lnTo>
                  <a:pt x="264" y="624"/>
                </a:lnTo>
                <a:lnTo>
                  <a:pt x="264" y="624"/>
                </a:lnTo>
                <a:lnTo>
                  <a:pt x="264" y="624"/>
                </a:lnTo>
                <a:lnTo>
                  <a:pt x="264" y="624"/>
                </a:lnTo>
                <a:lnTo>
                  <a:pt x="264" y="624"/>
                </a:lnTo>
                <a:lnTo>
                  <a:pt x="270" y="624"/>
                </a:lnTo>
                <a:lnTo>
                  <a:pt x="270" y="618"/>
                </a:lnTo>
                <a:lnTo>
                  <a:pt x="270" y="618"/>
                </a:lnTo>
                <a:lnTo>
                  <a:pt x="270" y="618"/>
                </a:lnTo>
                <a:lnTo>
                  <a:pt x="270" y="618"/>
                </a:lnTo>
                <a:lnTo>
                  <a:pt x="270" y="612"/>
                </a:lnTo>
                <a:lnTo>
                  <a:pt x="270" y="612"/>
                </a:lnTo>
                <a:lnTo>
                  <a:pt x="276" y="612"/>
                </a:lnTo>
                <a:lnTo>
                  <a:pt x="276" y="612"/>
                </a:lnTo>
                <a:lnTo>
                  <a:pt x="276" y="612"/>
                </a:lnTo>
                <a:lnTo>
                  <a:pt x="276" y="612"/>
                </a:lnTo>
                <a:lnTo>
                  <a:pt x="276" y="606"/>
                </a:lnTo>
                <a:lnTo>
                  <a:pt x="276" y="606"/>
                </a:lnTo>
                <a:lnTo>
                  <a:pt x="270" y="588"/>
                </a:lnTo>
                <a:lnTo>
                  <a:pt x="270" y="588"/>
                </a:lnTo>
                <a:lnTo>
                  <a:pt x="270" y="582"/>
                </a:lnTo>
                <a:lnTo>
                  <a:pt x="264" y="588"/>
                </a:lnTo>
                <a:lnTo>
                  <a:pt x="264" y="582"/>
                </a:lnTo>
                <a:lnTo>
                  <a:pt x="264" y="588"/>
                </a:lnTo>
                <a:lnTo>
                  <a:pt x="264" y="588"/>
                </a:lnTo>
                <a:lnTo>
                  <a:pt x="258" y="588"/>
                </a:lnTo>
                <a:lnTo>
                  <a:pt x="258" y="588"/>
                </a:lnTo>
                <a:lnTo>
                  <a:pt x="258" y="582"/>
                </a:lnTo>
                <a:lnTo>
                  <a:pt x="258" y="582"/>
                </a:lnTo>
                <a:lnTo>
                  <a:pt x="258" y="582"/>
                </a:lnTo>
                <a:lnTo>
                  <a:pt x="258" y="582"/>
                </a:lnTo>
                <a:lnTo>
                  <a:pt x="252" y="576"/>
                </a:lnTo>
                <a:lnTo>
                  <a:pt x="252" y="576"/>
                </a:lnTo>
                <a:lnTo>
                  <a:pt x="252" y="576"/>
                </a:lnTo>
                <a:lnTo>
                  <a:pt x="252" y="576"/>
                </a:lnTo>
                <a:lnTo>
                  <a:pt x="252" y="576"/>
                </a:lnTo>
                <a:lnTo>
                  <a:pt x="252" y="570"/>
                </a:lnTo>
                <a:lnTo>
                  <a:pt x="252" y="570"/>
                </a:lnTo>
                <a:lnTo>
                  <a:pt x="252" y="570"/>
                </a:lnTo>
                <a:lnTo>
                  <a:pt x="246" y="570"/>
                </a:lnTo>
                <a:lnTo>
                  <a:pt x="246" y="564"/>
                </a:lnTo>
                <a:lnTo>
                  <a:pt x="246" y="564"/>
                </a:lnTo>
                <a:lnTo>
                  <a:pt x="246" y="564"/>
                </a:lnTo>
                <a:lnTo>
                  <a:pt x="246" y="564"/>
                </a:lnTo>
                <a:lnTo>
                  <a:pt x="240" y="558"/>
                </a:lnTo>
                <a:lnTo>
                  <a:pt x="240" y="558"/>
                </a:lnTo>
                <a:lnTo>
                  <a:pt x="234" y="558"/>
                </a:lnTo>
                <a:lnTo>
                  <a:pt x="240" y="558"/>
                </a:lnTo>
                <a:lnTo>
                  <a:pt x="234" y="552"/>
                </a:lnTo>
                <a:lnTo>
                  <a:pt x="234" y="558"/>
                </a:lnTo>
                <a:lnTo>
                  <a:pt x="234" y="552"/>
                </a:lnTo>
                <a:lnTo>
                  <a:pt x="234" y="552"/>
                </a:lnTo>
                <a:lnTo>
                  <a:pt x="234" y="552"/>
                </a:lnTo>
                <a:lnTo>
                  <a:pt x="234" y="552"/>
                </a:lnTo>
                <a:lnTo>
                  <a:pt x="228" y="552"/>
                </a:lnTo>
                <a:lnTo>
                  <a:pt x="234" y="546"/>
                </a:lnTo>
                <a:lnTo>
                  <a:pt x="228" y="546"/>
                </a:lnTo>
                <a:lnTo>
                  <a:pt x="234" y="546"/>
                </a:lnTo>
                <a:lnTo>
                  <a:pt x="234" y="546"/>
                </a:lnTo>
                <a:lnTo>
                  <a:pt x="234" y="546"/>
                </a:lnTo>
                <a:lnTo>
                  <a:pt x="240" y="546"/>
                </a:lnTo>
                <a:lnTo>
                  <a:pt x="240" y="540"/>
                </a:lnTo>
                <a:lnTo>
                  <a:pt x="240" y="540"/>
                </a:lnTo>
                <a:lnTo>
                  <a:pt x="246" y="540"/>
                </a:lnTo>
                <a:lnTo>
                  <a:pt x="246" y="540"/>
                </a:lnTo>
                <a:lnTo>
                  <a:pt x="246" y="540"/>
                </a:lnTo>
                <a:lnTo>
                  <a:pt x="246" y="540"/>
                </a:lnTo>
                <a:lnTo>
                  <a:pt x="252" y="540"/>
                </a:lnTo>
                <a:lnTo>
                  <a:pt x="252" y="540"/>
                </a:lnTo>
                <a:lnTo>
                  <a:pt x="252" y="534"/>
                </a:lnTo>
                <a:lnTo>
                  <a:pt x="252" y="534"/>
                </a:lnTo>
                <a:lnTo>
                  <a:pt x="252" y="534"/>
                </a:lnTo>
                <a:lnTo>
                  <a:pt x="252" y="534"/>
                </a:lnTo>
                <a:lnTo>
                  <a:pt x="252" y="534"/>
                </a:lnTo>
                <a:lnTo>
                  <a:pt x="252" y="528"/>
                </a:lnTo>
                <a:lnTo>
                  <a:pt x="252" y="528"/>
                </a:lnTo>
                <a:lnTo>
                  <a:pt x="252" y="528"/>
                </a:lnTo>
                <a:lnTo>
                  <a:pt x="252" y="528"/>
                </a:lnTo>
                <a:lnTo>
                  <a:pt x="252" y="522"/>
                </a:lnTo>
                <a:lnTo>
                  <a:pt x="252" y="522"/>
                </a:lnTo>
                <a:lnTo>
                  <a:pt x="252" y="516"/>
                </a:lnTo>
                <a:lnTo>
                  <a:pt x="258" y="516"/>
                </a:lnTo>
                <a:lnTo>
                  <a:pt x="264" y="516"/>
                </a:lnTo>
                <a:lnTo>
                  <a:pt x="264" y="516"/>
                </a:lnTo>
                <a:lnTo>
                  <a:pt x="264" y="516"/>
                </a:lnTo>
                <a:lnTo>
                  <a:pt x="264" y="516"/>
                </a:lnTo>
                <a:lnTo>
                  <a:pt x="264" y="510"/>
                </a:lnTo>
                <a:lnTo>
                  <a:pt x="264" y="510"/>
                </a:lnTo>
                <a:lnTo>
                  <a:pt x="264" y="504"/>
                </a:lnTo>
                <a:lnTo>
                  <a:pt x="258" y="504"/>
                </a:lnTo>
                <a:lnTo>
                  <a:pt x="258" y="504"/>
                </a:lnTo>
                <a:lnTo>
                  <a:pt x="258" y="504"/>
                </a:lnTo>
                <a:lnTo>
                  <a:pt x="258" y="504"/>
                </a:lnTo>
                <a:lnTo>
                  <a:pt x="252" y="504"/>
                </a:lnTo>
                <a:lnTo>
                  <a:pt x="252" y="504"/>
                </a:lnTo>
                <a:lnTo>
                  <a:pt x="246" y="504"/>
                </a:lnTo>
                <a:lnTo>
                  <a:pt x="246" y="504"/>
                </a:lnTo>
                <a:lnTo>
                  <a:pt x="246" y="504"/>
                </a:lnTo>
                <a:lnTo>
                  <a:pt x="246" y="504"/>
                </a:lnTo>
                <a:lnTo>
                  <a:pt x="240" y="498"/>
                </a:lnTo>
                <a:lnTo>
                  <a:pt x="240" y="498"/>
                </a:lnTo>
                <a:lnTo>
                  <a:pt x="240" y="498"/>
                </a:lnTo>
                <a:lnTo>
                  <a:pt x="240" y="492"/>
                </a:lnTo>
                <a:lnTo>
                  <a:pt x="246" y="492"/>
                </a:lnTo>
                <a:lnTo>
                  <a:pt x="246" y="492"/>
                </a:lnTo>
                <a:lnTo>
                  <a:pt x="246" y="492"/>
                </a:lnTo>
                <a:lnTo>
                  <a:pt x="270" y="492"/>
                </a:lnTo>
                <a:lnTo>
                  <a:pt x="270" y="486"/>
                </a:lnTo>
                <a:lnTo>
                  <a:pt x="270" y="486"/>
                </a:lnTo>
                <a:lnTo>
                  <a:pt x="270" y="486"/>
                </a:lnTo>
                <a:lnTo>
                  <a:pt x="270" y="480"/>
                </a:lnTo>
                <a:lnTo>
                  <a:pt x="270" y="474"/>
                </a:lnTo>
                <a:lnTo>
                  <a:pt x="270" y="474"/>
                </a:lnTo>
                <a:lnTo>
                  <a:pt x="270" y="474"/>
                </a:lnTo>
                <a:lnTo>
                  <a:pt x="270" y="474"/>
                </a:lnTo>
                <a:lnTo>
                  <a:pt x="270" y="474"/>
                </a:lnTo>
                <a:lnTo>
                  <a:pt x="270" y="474"/>
                </a:lnTo>
                <a:lnTo>
                  <a:pt x="270" y="474"/>
                </a:lnTo>
                <a:lnTo>
                  <a:pt x="276" y="468"/>
                </a:lnTo>
                <a:lnTo>
                  <a:pt x="276" y="474"/>
                </a:lnTo>
                <a:lnTo>
                  <a:pt x="276" y="474"/>
                </a:lnTo>
                <a:lnTo>
                  <a:pt x="276" y="468"/>
                </a:lnTo>
                <a:lnTo>
                  <a:pt x="282" y="468"/>
                </a:lnTo>
                <a:lnTo>
                  <a:pt x="282" y="468"/>
                </a:lnTo>
                <a:lnTo>
                  <a:pt x="282" y="468"/>
                </a:lnTo>
                <a:lnTo>
                  <a:pt x="282" y="468"/>
                </a:lnTo>
                <a:lnTo>
                  <a:pt x="282" y="468"/>
                </a:lnTo>
                <a:lnTo>
                  <a:pt x="282" y="462"/>
                </a:lnTo>
                <a:lnTo>
                  <a:pt x="282" y="462"/>
                </a:lnTo>
                <a:lnTo>
                  <a:pt x="282" y="462"/>
                </a:lnTo>
                <a:lnTo>
                  <a:pt x="282" y="456"/>
                </a:lnTo>
                <a:lnTo>
                  <a:pt x="288" y="456"/>
                </a:lnTo>
                <a:lnTo>
                  <a:pt x="288" y="450"/>
                </a:lnTo>
                <a:lnTo>
                  <a:pt x="288" y="450"/>
                </a:lnTo>
                <a:lnTo>
                  <a:pt x="288" y="444"/>
                </a:lnTo>
                <a:lnTo>
                  <a:pt x="294" y="444"/>
                </a:lnTo>
                <a:lnTo>
                  <a:pt x="300" y="432"/>
                </a:lnTo>
                <a:lnTo>
                  <a:pt x="306" y="420"/>
                </a:lnTo>
                <a:lnTo>
                  <a:pt x="306" y="420"/>
                </a:lnTo>
                <a:lnTo>
                  <a:pt x="306" y="420"/>
                </a:lnTo>
                <a:lnTo>
                  <a:pt x="306" y="420"/>
                </a:lnTo>
                <a:lnTo>
                  <a:pt x="312" y="420"/>
                </a:lnTo>
                <a:lnTo>
                  <a:pt x="312" y="420"/>
                </a:lnTo>
                <a:lnTo>
                  <a:pt x="318" y="420"/>
                </a:lnTo>
                <a:lnTo>
                  <a:pt x="318" y="426"/>
                </a:lnTo>
                <a:lnTo>
                  <a:pt x="318" y="426"/>
                </a:lnTo>
                <a:lnTo>
                  <a:pt x="324" y="426"/>
                </a:lnTo>
                <a:lnTo>
                  <a:pt x="324" y="426"/>
                </a:lnTo>
                <a:lnTo>
                  <a:pt x="324" y="426"/>
                </a:lnTo>
                <a:lnTo>
                  <a:pt x="324" y="420"/>
                </a:lnTo>
                <a:lnTo>
                  <a:pt x="324" y="420"/>
                </a:lnTo>
                <a:lnTo>
                  <a:pt x="324" y="420"/>
                </a:lnTo>
                <a:lnTo>
                  <a:pt x="330" y="420"/>
                </a:lnTo>
                <a:lnTo>
                  <a:pt x="330" y="420"/>
                </a:lnTo>
                <a:lnTo>
                  <a:pt x="336" y="420"/>
                </a:lnTo>
                <a:lnTo>
                  <a:pt x="336" y="420"/>
                </a:lnTo>
                <a:lnTo>
                  <a:pt x="342" y="414"/>
                </a:lnTo>
                <a:lnTo>
                  <a:pt x="342" y="414"/>
                </a:lnTo>
                <a:lnTo>
                  <a:pt x="342" y="414"/>
                </a:lnTo>
                <a:lnTo>
                  <a:pt x="342" y="408"/>
                </a:lnTo>
                <a:lnTo>
                  <a:pt x="348" y="408"/>
                </a:lnTo>
                <a:lnTo>
                  <a:pt x="348" y="402"/>
                </a:lnTo>
                <a:lnTo>
                  <a:pt x="348" y="402"/>
                </a:lnTo>
                <a:lnTo>
                  <a:pt x="348" y="402"/>
                </a:lnTo>
                <a:lnTo>
                  <a:pt x="354" y="402"/>
                </a:lnTo>
                <a:lnTo>
                  <a:pt x="354" y="402"/>
                </a:lnTo>
                <a:lnTo>
                  <a:pt x="354" y="402"/>
                </a:lnTo>
                <a:lnTo>
                  <a:pt x="354" y="402"/>
                </a:lnTo>
                <a:lnTo>
                  <a:pt x="360" y="402"/>
                </a:lnTo>
                <a:lnTo>
                  <a:pt x="360" y="396"/>
                </a:lnTo>
                <a:lnTo>
                  <a:pt x="360" y="396"/>
                </a:lnTo>
                <a:lnTo>
                  <a:pt x="360" y="396"/>
                </a:lnTo>
                <a:lnTo>
                  <a:pt x="366" y="390"/>
                </a:lnTo>
                <a:lnTo>
                  <a:pt x="366" y="390"/>
                </a:lnTo>
                <a:lnTo>
                  <a:pt x="366" y="390"/>
                </a:lnTo>
                <a:lnTo>
                  <a:pt x="366" y="390"/>
                </a:lnTo>
                <a:lnTo>
                  <a:pt x="366" y="384"/>
                </a:lnTo>
                <a:lnTo>
                  <a:pt x="366" y="384"/>
                </a:lnTo>
                <a:lnTo>
                  <a:pt x="360" y="384"/>
                </a:lnTo>
                <a:lnTo>
                  <a:pt x="360" y="384"/>
                </a:lnTo>
                <a:lnTo>
                  <a:pt x="360" y="384"/>
                </a:lnTo>
                <a:lnTo>
                  <a:pt x="366" y="384"/>
                </a:lnTo>
                <a:lnTo>
                  <a:pt x="366" y="378"/>
                </a:lnTo>
                <a:lnTo>
                  <a:pt x="366" y="378"/>
                </a:lnTo>
                <a:lnTo>
                  <a:pt x="366" y="378"/>
                </a:lnTo>
                <a:lnTo>
                  <a:pt x="366" y="372"/>
                </a:lnTo>
                <a:lnTo>
                  <a:pt x="366" y="372"/>
                </a:lnTo>
                <a:lnTo>
                  <a:pt x="378" y="360"/>
                </a:lnTo>
                <a:lnTo>
                  <a:pt x="384" y="360"/>
                </a:lnTo>
                <a:lnTo>
                  <a:pt x="378" y="354"/>
                </a:lnTo>
                <a:lnTo>
                  <a:pt x="342" y="354"/>
                </a:lnTo>
                <a:lnTo>
                  <a:pt x="342" y="360"/>
                </a:lnTo>
                <a:lnTo>
                  <a:pt x="342" y="360"/>
                </a:lnTo>
                <a:lnTo>
                  <a:pt x="342" y="366"/>
                </a:lnTo>
                <a:lnTo>
                  <a:pt x="336" y="372"/>
                </a:lnTo>
                <a:lnTo>
                  <a:pt x="330" y="378"/>
                </a:lnTo>
                <a:lnTo>
                  <a:pt x="330" y="378"/>
                </a:lnTo>
                <a:lnTo>
                  <a:pt x="330" y="384"/>
                </a:lnTo>
                <a:lnTo>
                  <a:pt x="318" y="390"/>
                </a:lnTo>
                <a:lnTo>
                  <a:pt x="318" y="390"/>
                </a:lnTo>
                <a:lnTo>
                  <a:pt x="312" y="396"/>
                </a:lnTo>
                <a:lnTo>
                  <a:pt x="306" y="396"/>
                </a:lnTo>
                <a:lnTo>
                  <a:pt x="300" y="396"/>
                </a:lnTo>
                <a:lnTo>
                  <a:pt x="300" y="396"/>
                </a:lnTo>
                <a:lnTo>
                  <a:pt x="300" y="396"/>
                </a:lnTo>
                <a:lnTo>
                  <a:pt x="300" y="390"/>
                </a:lnTo>
                <a:lnTo>
                  <a:pt x="300" y="390"/>
                </a:lnTo>
                <a:lnTo>
                  <a:pt x="300" y="390"/>
                </a:lnTo>
                <a:lnTo>
                  <a:pt x="300" y="384"/>
                </a:lnTo>
                <a:lnTo>
                  <a:pt x="300" y="384"/>
                </a:lnTo>
                <a:lnTo>
                  <a:pt x="300" y="384"/>
                </a:lnTo>
                <a:lnTo>
                  <a:pt x="300" y="384"/>
                </a:lnTo>
                <a:lnTo>
                  <a:pt x="294" y="384"/>
                </a:lnTo>
                <a:lnTo>
                  <a:pt x="294" y="384"/>
                </a:lnTo>
                <a:lnTo>
                  <a:pt x="300" y="378"/>
                </a:lnTo>
                <a:lnTo>
                  <a:pt x="306" y="372"/>
                </a:lnTo>
                <a:lnTo>
                  <a:pt x="306" y="372"/>
                </a:lnTo>
                <a:lnTo>
                  <a:pt x="306" y="372"/>
                </a:lnTo>
                <a:lnTo>
                  <a:pt x="306" y="372"/>
                </a:lnTo>
                <a:lnTo>
                  <a:pt x="300" y="372"/>
                </a:lnTo>
                <a:lnTo>
                  <a:pt x="300" y="372"/>
                </a:lnTo>
                <a:lnTo>
                  <a:pt x="300" y="378"/>
                </a:lnTo>
                <a:lnTo>
                  <a:pt x="300" y="378"/>
                </a:lnTo>
                <a:lnTo>
                  <a:pt x="294" y="378"/>
                </a:lnTo>
                <a:lnTo>
                  <a:pt x="294" y="372"/>
                </a:lnTo>
                <a:lnTo>
                  <a:pt x="294" y="372"/>
                </a:lnTo>
                <a:lnTo>
                  <a:pt x="294" y="378"/>
                </a:lnTo>
                <a:lnTo>
                  <a:pt x="294" y="378"/>
                </a:lnTo>
                <a:lnTo>
                  <a:pt x="294" y="378"/>
                </a:lnTo>
                <a:lnTo>
                  <a:pt x="288" y="378"/>
                </a:lnTo>
                <a:lnTo>
                  <a:pt x="288" y="384"/>
                </a:lnTo>
                <a:lnTo>
                  <a:pt x="288" y="378"/>
                </a:lnTo>
                <a:lnTo>
                  <a:pt x="282" y="378"/>
                </a:lnTo>
                <a:lnTo>
                  <a:pt x="282" y="378"/>
                </a:lnTo>
                <a:lnTo>
                  <a:pt x="276" y="378"/>
                </a:lnTo>
                <a:lnTo>
                  <a:pt x="276" y="372"/>
                </a:lnTo>
                <a:lnTo>
                  <a:pt x="270" y="372"/>
                </a:lnTo>
                <a:lnTo>
                  <a:pt x="270" y="372"/>
                </a:lnTo>
                <a:lnTo>
                  <a:pt x="270" y="372"/>
                </a:lnTo>
                <a:lnTo>
                  <a:pt x="270" y="372"/>
                </a:lnTo>
                <a:lnTo>
                  <a:pt x="264" y="366"/>
                </a:lnTo>
                <a:lnTo>
                  <a:pt x="264" y="366"/>
                </a:lnTo>
                <a:lnTo>
                  <a:pt x="264" y="366"/>
                </a:lnTo>
                <a:lnTo>
                  <a:pt x="258" y="360"/>
                </a:lnTo>
                <a:lnTo>
                  <a:pt x="258" y="360"/>
                </a:lnTo>
                <a:lnTo>
                  <a:pt x="258" y="360"/>
                </a:lnTo>
                <a:lnTo>
                  <a:pt x="258" y="360"/>
                </a:lnTo>
                <a:lnTo>
                  <a:pt x="252" y="360"/>
                </a:lnTo>
                <a:lnTo>
                  <a:pt x="252" y="354"/>
                </a:lnTo>
                <a:lnTo>
                  <a:pt x="258" y="354"/>
                </a:lnTo>
                <a:lnTo>
                  <a:pt x="258" y="354"/>
                </a:lnTo>
                <a:lnTo>
                  <a:pt x="258" y="348"/>
                </a:lnTo>
                <a:lnTo>
                  <a:pt x="258" y="348"/>
                </a:lnTo>
                <a:lnTo>
                  <a:pt x="258" y="348"/>
                </a:lnTo>
                <a:lnTo>
                  <a:pt x="252" y="348"/>
                </a:lnTo>
                <a:lnTo>
                  <a:pt x="252" y="348"/>
                </a:lnTo>
                <a:lnTo>
                  <a:pt x="252" y="348"/>
                </a:lnTo>
                <a:lnTo>
                  <a:pt x="246" y="348"/>
                </a:lnTo>
                <a:lnTo>
                  <a:pt x="246" y="348"/>
                </a:lnTo>
                <a:lnTo>
                  <a:pt x="246" y="348"/>
                </a:lnTo>
                <a:lnTo>
                  <a:pt x="246" y="342"/>
                </a:lnTo>
                <a:lnTo>
                  <a:pt x="240" y="342"/>
                </a:lnTo>
                <a:lnTo>
                  <a:pt x="240" y="342"/>
                </a:lnTo>
                <a:lnTo>
                  <a:pt x="240" y="342"/>
                </a:lnTo>
                <a:lnTo>
                  <a:pt x="240" y="336"/>
                </a:lnTo>
                <a:lnTo>
                  <a:pt x="240" y="336"/>
                </a:lnTo>
                <a:lnTo>
                  <a:pt x="240" y="336"/>
                </a:lnTo>
                <a:lnTo>
                  <a:pt x="234" y="336"/>
                </a:lnTo>
                <a:lnTo>
                  <a:pt x="234" y="336"/>
                </a:lnTo>
                <a:lnTo>
                  <a:pt x="234" y="336"/>
                </a:lnTo>
                <a:lnTo>
                  <a:pt x="228" y="336"/>
                </a:lnTo>
                <a:lnTo>
                  <a:pt x="228" y="336"/>
                </a:lnTo>
                <a:lnTo>
                  <a:pt x="222" y="336"/>
                </a:lnTo>
                <a:lnTo>
                  <a:pt x="222" y="336"/>
                </a:lnTo>
                <a:lnTo>
                  <a:pt x="222" y="336"/>
                </a:lnTo>
                <a:lnTo>
                  <a:pt x="216" y="336"/>
                </a:lnTo>
                <a:lnTo>
                  <a:pt x="210" y="336"/>
                </a:lnTo>
                <a:lnTo>
                  <a:pt x="210" y="336"/>
                </a:lnTo>
                <a:lnTo>
                  <a:pt x="204" y="336"/>
                </a:lnTo>
                <a:lnTo>
                  <a:pt x="204" y="342"/>
                </a:lnTo>
                <a:lnTo>
                  <a:pt x="204" y="342"/>
                </a:lnTo>
                <a:lnTo>
                  <a:pt x="198" y="342"/>
                </a:lnTo>
                <a:lnTo>
                  <a:pt x="192" y="342"/>
                </a:lnTo>
                <a:lnTo>
                  <a:pt x="192" y="336"/>
                </a:lnTo>
                <a:lnTo>
                  <a:pt x="198" y="336"/>
                </a:lnTo>
                <a:lnTo>
                  <a:pt x="198" y="336"/>
                </a:lnTo>
                <a:lnTo>
                  <a:pt x="198" y="336"/>
                </a:lnTo>
                <a:lnTo>
                  <a:pt x="198" y="330"/>
                </a:lnTo>
                <a:lnTo>
                  <a:pt x="192" y="336"/>
                </a:lnTo>
                <a:lnTo>
                  <a:pt x="192" y="330"/>
                </a:lnTo>
                <a:lnTo>
                  <a:pt x="192" y="330"/>
                </a:lnTo>
                <a:lnTo>
                  <a:pt x="192" y="330"/>
                </a:lnTo>
                <a:lnTo>
                  <a:pt x="186" y="330"/>
                </a:lnTo>
                <a:lnTo>
                  <a:pt x="186" y="330"/>
                </a:lnTo>
                <a:lnTo>
                  <a:pt x="186" y="330"/>
                </a:lnTo>
                <a:lnTo>
                  <a:pt x="180" y="330"/>
                </a:lnTo>
                <a:lnTo>
                  <a:pt x="180" y="330"/>
                </a:lnTo>
                <a:lnTo>
                  <a:pt x="180" y="330"/>
                </a:lnTo>
                <a:lnTo>
                  <a:pt x="180" y="330"/>
                </a:lnTo>
                <a:lnTo>
                  <a:pt x="174" y="324"/>
                </a:lnTo>
                <a:lnTo>
                  <a:pt x="174" y="324"/>
                </a:lnTo>
                <a:lnTo>
                  <a:pt x="174" y="330"/>
                </a:lnTo>
                <a:lnTo>
                  <a:pt x="174" y="330"/>
                </a:lnTo>
                <a:lnTo>
                  <a:pt x="174" y="330"/>
                </a:lnTo>
                <a:lnTo>
                  <a:pt x="174" y="330"/>
                </a:lnTo>
                <a:lnTo>
                  <a:pt x="168" y="330"/>
                </a:lnTo>
                <a:lnTo>
                  <a:pt x="168" y="330"/>
                </a:lnTo>
                <a:lnTo>
                  <a:pt x="168" y="330"/>
                </a:lnTo>
                <a:lnTo>
                  <a:pt x="168" y="330"/>
                </a:lnTo>
                <a:lnTo>
                  <a:pt x="168" y="336"/>
                </a:lnTo>
                <a:lnTo>
                  <a:pt x="168" y="330"/>
                </a:lnTo>
                <a:lnTo>
                  <a:pt x="168" y="330"/>
                </a:lnTo>
                <a:lnTo>
                  <a:pt x="162" y="330"/>
                </a:lnTo>
                <a:lnTo>
                  <a:pt x="156" y="330"/>
                </a:lnTo>
                <a:lnTo>
                  <a:pt x="156" y="330"/>
                </a:lnTo>
                <a:lnTo>
                  <a:pt x="156" y="330"/>
                </a:lnTo>
                <a:lnTo>
                  <a:pt x="156" y="330"/>
                </a:lnTo>
                <a:lnTo>
                  <a:pt x="156" y="330"/>
                </a:lnTo>
                <a:lnTo>
                  <a:pt x="156" y="330"/>
                </a:lnTo>
                <a:lnTo>
                  <a:pt x="156" y="324"/>
                </a:lnTo>
                <a:lnTo>
                  <a:pt x="150" y="324"/>
                </a:lnTo>
                <a:lnTo>
                  <a:pt x="150" y="330"/>
                </a:lnTo>
                <a:lnTo>
                  <a:pt x="150" y="330"/>
                </a:lnTo>
                <a:lnTo>
                  <a:pt x="150" y="330"/>
                </a:lnTo>
                <a:lnTo>
                  <a:pt x="150" y="330"/>
                </a:lnTo>
                <a:lnTo>
                  <a:pt x="150" y="330"/>
                </a:lnTo>
                <a:lnTo>
                  <a:pt x="150" y="330"/>
                </a:lnTo>
                <a:lnTo>
                  <a:pt x="150" y="330"/>
                </a:lnTo>
                <a:lnTo>
                  <a:pt x="144" y="324"/>
                </a:lnTo>
                <a:lnTo>
                  <a:pt x="144" y="324"/>
                </a:lnTo>
                <a:lnTo>
                  <a:pt x="144" y="324"/>
                </a:lnTo>
                <a:lnTo>
                  <a:pt x="144" y="330"/>
                </a:lnTo>
                <a:lnTo>
                  <a:pt x="144" y="330"/>
                </a:lnTo>
                <a:lnTo>
                  <a:pt x="138" y="324"/>
                </a:lnTo>
                <a:lnTo>
                  <a:pt x="144" y="324"/>
                </a:lnTo>
                <a:lnTo>
                  <a:pt x="144" y="324"/>
                </a:lnTo>
                <a:lnTo>
                  <a:pt x="138" y="324"/>
                </a:lnTo>
                <a:lnTo>
                  <a:pt x="138" y="324"/>
                </a:lnTo>
                <a:lnTo>
                  <a:pt x="138" y="324"/>
                </a:lnTo>
                <a:lnTo>
                  <a:pt x="138" y="318"/>
                </a:lnTo>
                <a:lnTo>
                  <a:pt x="138" y="318"/>
                </a:lnTo>
                <a:lnTo>
                  <a:pt x="138" y="318"/>
                </a:lnTo>
                <a:lnTo>
                  <a:pt x="144" y="318"/>
                </a:lnTo>
                <a:lnTo>
                  <a:pt x="144" y="318"/>
                </a:lnTo>
                <a:lnTo>
                  <a:pt x="144" y="318"/>
                </a:lnTo>
                <a:lnTo>
                  <a:pt x="144" y="318"/>
                </a:lnTo>
                <a:lnTo>
                  <a:pt x="144" y="312"/>
                </a:lnTo>
                <a:lnTo>
                  <a:pt x="144" y="306"/>
                </a:lnTo>
                <a:lnTo>
                  <a:pt x="144" y="306"/>
                </a:lnTo>
                <a:lnTo>
                  <a:pt x="144" y="306"/>
                </a:lnTo>
                <a:lnTo>
                  <a:pt x="144" y="300"/>
                </a:lnTo>
                <a:lnTo>
                  <a:pt x="144" y="300"/>
                </a:lnTo>
                <a:lnTo>
                  <a:pt x="144" y="294"/>
                </a:lnTo>
                <a:lnTo>
                  <a:pt x="138" y="294"/>
                </a:lnTo>
                <a:lnTo>
                  <a:pt x="138" y="294"/>
                </a:lnTo>
                <a:lnTo>
                  <a:pt x="138" y="288"/>
                </a:lnTo>
                <a:lnTo>
                  <a:pt x="138" y="288"/>
                </a:lnTo>
                <a:lnTo>
                  <a:pt x="138" y="288"/>
                </a:lnTo>
                <a:lnTo>
                  <a:pt x="132" y="288"/>
                </a:lnTo>
                <a:lnTo>
                  <a:pt x="132" y="288"/>
                </a:lnTo>
                <a:lnTo>
                  <a:pt x="132" y="288"/>
                </a:lnTo>
                <a:lnTo>
                  <a:pt x="132" y="282"/>
                </a:lnTo>
                <a:lnTo>
                  <a:pt x="132" y="282"/>
                </a:lnTo>
                <a:lnTo>
                  <a:pt x="132" y="282"/>
                </a:lnTo>
                <a:lnTo>
                  <a:pt x="132" y="282"/>
                </a:lnTo>
                <a:lnTo>
                  <a:pt x="132" y="276"/>
                </a:lnTo>
                <a:lnTo>
                  <a:pt x="132" y="276"/>
                </a:lnTo>
                <a:lnTo>
                  <a:pt x="132" y="276"/>
                </a:lnTo>
                <a:lnTo>
                  <a:pt x="126" y="276"/>
                </a:lnTo>
                <a:lnTo>
                  <a:pt x="126" y="276"/>
                </a:lnTo>
                <a:lnTo>
                  <a:pt x="132" y="276"/>
                </a:lnTo>
                <a:lnTo>
                  <a:pt x="132" y="276"/>
                </a:lnTo>
                <a:lnTo>
                  <a:pt x="132" y="270"/>
                </a:lnTo>
                <a:lnTo>
                  <a:pt x="132" y="270"/>
                </a:lnTo>
                <a:lnTo>
                  <a:pt x="132" y="270"/>
                </a:lnTo>
                <a:lnTo>
                  <a:pt x="138" y="258"/>
                </a:lnTo>
                <a:lnTo>
                  <a:pt x="138" y="258"/>
                </a:lnTo>
                <a:lnTo>
                  <a:pt x="138" y="258"/>
                </a:lnTo>
                <a:lnTo>
                  <a:pt x="138" y="258"/>
                </a:lnTo>
                <a:lnTo>
                  <a:pt x="138" y="258"/>
                </a:lnTo>
                <a:lnTo>
                  <a:pt x="138" y="252"/>
                </a:lnTo>
                <a:lnTo>
                  <a:pt x="138" y="252"/>
                </a:lnTo>
                <a:lnTo>
                  <a:pt x="138" y="252"/>
                </a:lnTo>
                <a:lnTo>
                  <a:pt x="138" y="252"/>
                </a:lnTo>
                <a:lnTo>
                  <a:pt x="144" y="252"/>
                </a:lnTo>
                <a:lnTo>
                  <a:pt x="144" y="246"/>
                </a:lnTo>
                <a:lnTo>
                  <a:pt x="144" y="246"/>
                </a:lnTo>
                <a:lnTo>
                  <a:pt x="144" y="246"/>
                </a:lnTo>
                <a:lnTo>
                  <a:pt x="144" y="246"/>
                </a:lnTo>
                <a:lnTo>
                  <a:pt x="144" y="240"/>
                </a:lnTo>
                <a:lnTo>
                  <a:pt x="144" y="240"/>
                </a:lnTo>
                <a:lnTo>
                  <a:pt x="144" y="240"/>
                </a:lnTo>
                <a:lnTo>
                  <a:pt x="144" y="240"/>
                </a:lnTo>
                <a:lnTo>
                  <a:pt x="144" y="240"/>
                </a:lnTo>
                <a:lnTo>
                  <a:pt x="144" y="240"/>
                </a:lnTo>
                <a:lnTo>
                  <a:pt x="138" y="234"/>
                </a:lnTo>
                <a:lnTo>
                  <a:pt x="144" y="234"/>
                </a:lnTo>
                <a:lnTo>
                  <a:pt x="144" y="234"/>
                </a:lnTo>
                <a:lnTo>
                  <a:pt x="138" y="228"/>
                </a:lnTo>
                <a:lnTo>
                  <a:pt x="138" y="228"/>
                </a:lnTo>
                <a:lnTo>
                  <a:pt x="138" y="228"/>
                </a:lnTo>
                <a:lnTo>
                  <a:pt x="138" y="222"/>
                </a:lnTo>
                <a:lnTo>
                  <a:pt x="138" y="222"/>
                </a:lnTo>
                <a:lnTo>
                  <a:pt x="132" y="222"/>
                </a:lnTo>
                <a:lnTo>
                  <a:pt x="132" y="222"/>
                </a:lnTo>
                <a:lnTo>
                  <a:pt x="132" y="222"/>
                </a:lnTo>
                <a:lnTo>
                  <a:pt x="126" y="222"/>
                </a:lnTo>
                <a:lnTo>
                  <a:pt x="126" y="222"/>
                </a:lnTo>
                <a:lnTo>
                  <a:pt x="120" y="222"/>
                </a:lnTo>
                <a:lnTo>
                  <a:pt x="120" y="228"/>
                </a:lnTo>
                <a:lnTo>
                  <a:pt x="120" y="228"/>
                </a:lnTo>
                <a:lnTo>
                  <a:pt x="120" y="228"/>
                </a:lnTo>
                <a:lnTo>
                  <a:pt x="120" y="228"/>
                </a:lnTo>
                <a:lnTo>
                  <a:pt x="120" y="228"/>
                </a:lnTo>
                <a:lnTo>
                  <a:pt x="120" y="228"/>
                </a:lnTo>
                <a:lnTo>
                  <a:pt x="114" y="228"/>
                </a:lnTo>
                <a:lnTo>
                  <a:pt x="114" y="222"/>
                </a:lnTo>
                <a:lnTo>
                  <a:pt x="108" y="222"/>
                </a:lnTo>
                <a:lnTo>
                  <a:pt x="108" y="222"/>
                </a:lnTo>
                <a:lnTo>
                  <a:pt x="108" y="222"/>
                </a:lnTo>
                <a:lnTo>
                  <a:pt x="108" y="222"/>
                </a:lnTo>
                <a:lnTo>
                  <a:pt x="102" y="222"/>
                </a:lnTo>
                <a:lnTo>
                  <a:pt x="102" y="222"/>
                </a:lnTo>
                <a:lnTo>
                  <a:pt x="102" y="222"/>
                </a:lnTo>
                <a:lnTo>
                  <a:pt x="96" y="222"/>
                </a:lnTo>
                <a:lnTo>
                  <a:pt x="96" y="222"/>
                </a:lnTo>
                <a:lnTo>
                  <a:pt x="96" y="222"/>
                </a:lnTo>
                <a:lnTo>
                  <a:pt x="96" y="222"/>
                </a:lnTo>
                <a:lnTo>
                  <a:pt x="96" y="222"/>
                </a:lnTo>
                <a:lnTo>
                  <a:pt x="96" y="222"/>
                </a:lnTo>
                <a:lnTo>
                  <a:pt x="96" y="216"/>
                </a:lnTo>
                <a:lnTo>
                  <a:pt x="96" y="216"/>
                </a:lnTo>
                <a:lnTo>
                  <a:pt x="96" y="216"/>
                </a:lnTo>
                <a:lnTo>
                  <a:pt x="96" y="216"/>
                </a:lnTo>
                <a:lnTo>
                  <a:pt x="96" y="210"/>
                </a:lnTo>
                <a:lnTo>
                  <a:pt x="102" y="210"/>
                </a:lnTo>
                <a:lnTo>
                  <a:pt x="102" y="210"/>
                </a:lnTo>
                <a:lnTo>
                  <a:pt x="102" y="210"/>
                </a:lnTo>
                <a:lnTo>
                  <a:pt x="102" y="210"/>
                </a:lnTo>
                <a:lnTo>
                  <a:pt x="102" y="204"/>
                </a:lnTo>
                <a:lnTo>
                  <a:pt x="102" y="204"/>
                </a:lnTo>
                <a:lnTo>
                  <a:pt x="108" y="204"/>
                </a:lnTo>
                <a:lnTo>
                  <a:pt x="108" y="198"/>
                </a:lnTo>
                <a:lnTo>
                  <a:pt x="108" y="198"/>
                </a:lnTo>
                <a:lnTo>
                  <a:pt x="108" y="198"/>
                </a:lnTo>
                <a:lnTo>
                  <a:pt x="114" y="198"/>
                </a:lnTo>
                <a:lnTo>
                  <a:pt x="114" y="198"/>
                </a:lnTo>
                <a:lnTo>
                  <a:pt x="114" y="198"/>
                </a:lnTo>
                <a:lnTo>
                  <a:pt x="114" y="198"/>
                </a:lnTo>
                <a:lnTo>
                  <a:pt x="114" y="198"/>
                </a:lnTo>
                <a:lnTo>
                  <a:pt x="114" y="198"/>
                </a:lnTo>
                <a:lnTo>
                  <a:pt x="114" y="192"/>
                </a:lnTo>
                <a:lnTo>
                  <a:pt x="114" y="192"/>
                </a:lnTo>
                <a:lnTo>
                  <a:pt x="114" y="186"/>
                </a:lnTo>
                <a:lnTo>
                  <a:pt x="114" y="186"/>
                </a:lnTo>
                <a:lnTo>
                  <a:pt x="114" y="186"/>
                </a:lnTo>
                <a:lnTo>
                  <a:pt x="114" y="186"/>
                </a:lnTo>
                <a:lnTo>
                  <a:pt x="114" y="180"/>
                </a:lnTo>
                <a:lnTo>
                  <a:pt x="84" y="180"/>
                </a:lnTo>
                <a:lnTo>
                  <a:pt x="78" y="180"/>
                </a:lnTo>
                <a:lnTo>
                  <a:pt x="78" y="180"/>
                </a:lnTo>
                <a:lnTo>
                  <a:pt x="78" y="174"/>
                </a:lnTo>
                <a:lnTo>
                  <a:pt x="78" y="174"/>
                </a:lnTo>
                <a:lnTo>
                  <a:pt x="72" y="174"/>
                </a:lnTo>
                <a:lnTo>
                  <a:pt x="72" y="180"/>
                </a:lnTo>
                <a:lnTo>
                  <a:pt x="72" y="180"/>
                </a:lnTo>
                <a:lnTo>
                  <a:pt x="72" y="180"/>
                </a:lnTo>
                <a:lnTo>
                  <a:pt x="66" y="180"/>
                </a:lnTo>
                <a:lnTo>
                  <a:pt x="66" y="180"/>
                </a:lnTo>
                <a:lnTo>
                  <a:pt x="66" y="174"/>
                </a:lnTo>
                <a:lnTo>
                  <a:pt x="66" y="174"/>
                </a:lnTo>
                <a:lnTo>
                  <a:pt x="66" y="174"/>
                </a:lnTo>
                <a:lnTo>
                  <a:pt x="66" y="174"/>
                </a:lnTo>
                <a:lnTo>
                  <a:pt x="66" y="174"/>
                </a:lnTo>
                <a:lnTo>
                  <a:pt x="60" y="174"/>
                </a:lnTo>
                <a:lnTo>
                  <a:pt x="60" y="174"/>
                </a:lnTo>
                <a:lnTo>
                  <a:pt x="54" y="168"/>
                </a:lnTo>
                <a:lnTo>
                  <a:pt x="54" y="168"/>
                </a:lnTo>
                <a:lnTo>
                  <a:pt x="54" y="162"/>
                </a:lnTo>
                <a:lnTo>
                  <a:pt x="54" y="162"/>
                </a:lnTo>
                <a:lnTo>
                  <a:pt x="54" y="156"/>
                </a:lnTo>
                <a:lnTo>
                  <a:pt x="48" y="156"/>
                </a:lnTo>
                <a:lnTo>
                  <a:pt x="48" y="150"/>
                </a:lnTo>
                <a:lnTo>
                  <a:pt x="48" y="150"/>
                </a:lnTo>
                <a:lnTo>
                  <a:pt x="42" y="150"/>
                </a:lnTo>
                <a:lnTo>
                  <a:pt x="42" y="150"/>
                </a:lnTo>
                <a:lnTo>
                  <a:pt x="42" y="150"/>
                </a:lnTo>
                <a:lnTo>
                  <a:pt x="42" y="144"/>
                </a:lnTo>
                <a:lnTo>
                  <a:pt x="36" y="144"/>
                </a:lnTo>
                <a:lnTo>
                  <a:pt x="36" y="144"/>
                </a:lnTo>
                <a:lnTo>
                  <a:pt x="36" y="144"/>
                </a:lnTo>
                <a:lnTo>
                  <a:pt x="36" y="144"/>
                </a:lnTo>
                <a:lnTo>
                  <a:pt x="30" y="138"/>
                </a:lnTo>
                <a:lnTo>
                  <a:pt x="30" y="138"/>
                </a:lnTo>
                <a:lnTo>
                  <a:pt x="30" y="138"/>
                </a:lnTo>
                <a:lnTo>
                  <a:pt x="30" y="138"/>
                </a:lnTo>
                <a:lnTo>
                  <a:pt x="30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30" y="120"/>
                </a:lnTo>
                <a:lnTo>
                  <a:pt x="24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14"/>
                </a:lnTo>
                <a:lnTo>
                  <a:pt x="24" y="114"/>
                </a:lnTo>
                <a:lnTo>
                  <a:pt x="24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08"/>
                </a:lnTo>
                <a:lnTo>
                  <a:pt x="30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42" y="102"/>
                </a:lnTo>
                <a:lnTo>
                  <a:pt x="42" y="96"/>
                </a:lnTo>
                <a:lnTo>
                  <a:pt x="42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54" y="78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0"/>
                </a:lnTo>
                <a:lnTo>
                  <a:pt x="48" y="60"/>
                </a:lnTo>
                <a:lnTo>
                  <a:pt x="48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36"/>
                </a:lnTo>
                <a:lnTo>
                  <a:pt x="42" y="36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6"/>
                </a:lnTo>
                <a:lnTo>
                  <a:pt x="42" y="36"/>
                </a:lnTo>
                <a:lnTo>
                  <a:pt x="42" y="36"/>
                </a:lnTo>
                <a:lnTo>
                  <a:pt x="42" y="42"/>
                </a:lnTo>
                <a:lnTo>
                  <a:pt x="42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24" y="42"/>
                </a:lnTo>
                <a:lnTo>
                  <a:pt x="24" y="42"/>
                </a:lnTo>
                <a:lnTo>
                  <a:pt x="18" y="42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6" y="48"/>
                </a:lnTo>
                <a:lnTo>
                  <a:pt x="6" y="48"/>
                </a:lnTo>
                <a:lnTo>
                  <a:pt x="0" y="48"/>
                </a:lnTo>
                <a:lnTo>
                  <a:pt x="0" y="5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290" name="Freeform 23"/>
          <p:cNvSpPr>
            <a:spLocks/>
          </p:cNvSpPr>
          <p:nvPr/>
        </p:nvSpPr>
        <p:spPr bwMode="auto">
          <a:xfrm>
            <a:off x="3948184" y="2072869"/>
            <a:ext cx="481804" cy="366173"/>
          </a:xfrm>
          <a:custGeom>
            <a:avLst/>
            <a:gdLst>
              <a:gd name="T0" fmla="*/ 12 w 450"/>
              <a:gd name="T1" fmla="*/ 168 h 342"/>
              <a:gd name="T2" fmla="*/ 6 w 450"/>
              <a:gd name="T3" fmla="*/ 156 h 342"/>
              <a:gd name="T4" fmla="*/ 0 w 450"/>
              <a:gd name="T5" fmla="*/ 132 h 342"/>
              <a:gd name="T6" fmla="*/ 12 w 450"/>
              <a:gd name="T7" fmla="*/ 114 h 342"/>
              <a:gd name="T8" fmla="*/ 24 w 450"/>
              <a:gd name="T9" fmla="*/ 108 h 342"/>
              <a:gd name="T10" fmla="*/ 30 w 450"/>
              <a:gd name="T11" fmla="*/ 96 h 342"/>
              <a:gd name="T12" fmla="*/ 36 w 450"/>
              <a:gd name="T13" fmla="*/ 78 h 342"/>
              <a:gd name="T14" fmla="*/ 42 w 450"/>
              <a:gd name="T15" fmla="*/ 60 h 342"/>
              <a:gd name="T16" fmla="*/ 42 w 450"/>
              <a:gd name="T17" fmla="*/ 42 h 342"/>
              <a:gd name="T18" fmla="*/ 48 w 450"/>
              <a:gd name="T19" fmla="*/ 24 h 342"/>
              <a:gd name="T20" fmla="*/ 54 w 450"/>
              <a:gd name="T21" fmla="*/ 12 h 342"/>
              <a:gd name="T22" fmla="*/ 66 w 450"/>
              <a:gd name="T23" fmla="*/ 6 h 342"/>
              <a:gd name="T24" fmla="*/ 84 w 450"/>
              <a:gd name="T25" fmla="*/ 0 h 342"/>
              <a:gd name="T26" fmla="*/ 96 w 450"/>
              <a:gd name="T27" fmla="*/ 12 h 342"/>
              <a:gd name="T28" fmla="*/ 102 w 450"/>
              <a:gd name="T29" fmla="*/ 12 h 342"/>
              <a:gd name="T30" fmla="*/ 114 w 450"/>
              <a:gd name="T31" fmla="*/ 12 h 342"/>
              <a:gd name="T32" fmla="*/ 126 w 450"/>
              <a:gd name="T33" fmla="*/ 18 h 342"/>
              <a:gd name="T34" fmla="*/ 144 w 450"/>
              <a:gd name="T35" fmla="*/ 18 h 342"/>
              <a:gd name="T36" fmla="*/ 168 w 450"/>
              <a:gd name="T37" fmla="*/ 36 h 342"/>
              <a:gd name="T38" fmla="*/ 174 w 450"/>
              <a:gd name="T39" fmla="*/ 24 h 342"/>
              <a:gd name="T40" fmla="*/ 186 w 450"/>
              <a:gd name="T41" fmla="*/ 30 h 342"/>
              <a:gd name="T42" fmla="*/ 204 w 450"/>
              <a:gd name="T43" fmla="*/ 24 h 342"/>
              <a:gd name="T44" fmla="*/ 222 w 450"/>
              <a:gd name="T45" fmla="*/ 24 h 342"/>
              <a:gd name="T46" fmla="*/ 240 w 450"/>
              <a:gd name="T47" fmla="*/ 24 h 342"/>
              <a:gd name="T48" fmla="*/ 252 w 450"/>
              <a:gd name="T49" fmla="*/ 30 h 342"/>
              <a:gd name="T50" fmla="*/ 258 w 450"/>
              <a:gd name="T51" fmla="*/ 36 h 342"/>
              <a:gd name="T52" fmla="*/ 270 w 450"/>
              <a:gd name="T53" fmla="*/ 42 h 342"/>
              <a:gd name="T54" fmla="*/ 282 w 450"/>
              <a:gd name="T55" fmla="*/ 54 h 342"/>
              <a:gd name="T56" fmla="*/ 300 w 450"/>
              <a:gd name="T57" fmla="*/ 48 h 342"/>
              <a:gd name="T58" fmla="*/ 312 w 450"/>
              <a:gd name="T59" fmla="*/ 42 h 342"/>
              <a:gd name="T60" fmla="*/ 324 w 450"/>
              <a:gd name="T61" fmla="*/ 24 h 342"/>
              <a:gd name="T62" fmla="*/ 336 w 450"/>
              <a:gd name="T63" fmla="*/ 12 h 342"/>
              <a:gd name="T64" fmla="*/ 354 w 450"/>
              <a:gd name="T65" fmla="*/ 6 h 342"/>
              <a:gd name="T66" fmla="*/ 360 w 450"/>
              <a:gd name="T67" fmla="*/ 12 h 342"/>
              <a:gd name="T68" fmla="*/ 372 w 450"/>
              <a:gd name="T69" fmla="*/ 30 h 342"/>
              <a:gd name="T70" fmla="*/ 378 w 450"/>
              <a:gd name="T71" fmla="*/ 42 h 342"/>
              <a:gd name="T72" fmla="*/ 396 w 450"/>
              <a:gd name="T73" fmla="*/ 48 h 342"/>
              <a:gd name="T74" fmla="*/ 408 w 450"/>
              <a:gd name="T75" fmla="*/ 66 h 342"/>
              <a:gd name="T76" fmla="*/ 420 w 450"/>
              <a:gd name="T77" fmla="*/ 66 h 342"/>
              <a:gd name="T78" fmla="*/ 438 w 450"/>
              <a:gd name="T79" fmla="*/ 72 h 342"/>
              <a:gd name="T80" fmla="*/ 450 w 450"/>
              <a:gd name="T81" fmla="*/ 72 h 342"/>
              <a:gd name="T82" fmla="*/ 432 w 450"/>
              <a:gd name="T83" fmla="*/ 84 h 342"/>
              <a:gd name="T84" fmla="*/ 426 w 450"/>
              <a:gd name="T85" fmla="*/ 84 h 342"/>
              <a:gd name="T86" fmla="*/ 420 w 450"/>
              <a:gd name="T87" fmla="*/ 90 h 342"/>
              <a:gd name="T88" fmla="*/ 408 w 450"/>
              <a:gd name="T89" fmla="*/ 96 h 342"/>
              <a:gd name="T90" fmla="*/ 402 w 450"/>
              <a:gd name="T91" fmla="*/ 102 h 342"/>
              <a:gd name="T92" fmla="*/ 390 w 450"/>
              <a:gd name="T93" fmla="*/ 114 h 342"/>
              <a:gd name="T94" fmla="*/ 384 w 450"/>
              <a:gd name="T95" fmla="*/ 126 h 342"/>
              <a:gd name="T96" fmla="*/ 384 w 450"/>
              <a:gd name="T97" fmla="*/ 150 h 342"/>
              <a:gd name="T98" fmla="*/ 378 w 450"/>
              <a:gd name="T99" fmla="*/ 168 h 342"/>
              <a:gd name="T100" fmla="*/ 378 w 450"/>
              <a:gd name="T101" fmla="*/ 192 h 342"/>
              <a:gd name="T102" fmla="*/ 354 w 450"/>
              <a:gd name="T103" fmla="*/ 216 h 342"/>
              <a:gd name="T104" fmla="*/ 348 w 450"/>
              <a:gd name="T105" fmla="*/ 234 h 342"/>
              <a:gd name="T106" fmla="*/ 354 w 450"/>
              <a:gd name="T107" fmla="*/ 252 h 342"/>
              <a:gd name="T108" fmla="*/ 342 w 450"/>
              <a:gd name="T109" fmla="*/ 264 h 342"/>
              <a:gd name="T110" fmla="*/ 342 w 450"/>
              <a:gd name="T111" fmla="*/ 276 h 342"/>
              <a:gd name="T112" fmla="*/ 330 w 450"/>
              <a:gd name="T113" fmla="*/ 288 h 342"/>
              <a:gd name="T114" fmla="*/ 330 w 450"/>
              <a:gd name="T115" fmla="*/ 306 h 342"/>
              <a:gd name="T116" fmla="*/ 330 w 450"/>
              <a:gd name="T117" fmla="*/ 330 h 342"/>
              <a:gd name="T118" fmla="*/ 108 w 450"/>
              <a:gd name="T119" fmla="*/ 246 h 3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50" h="342">
                <a:moveTo>
                  <a:pt x="6" y="198"/>
                </a:moveTo>
                <a:lnTo>
                  <a:pt x="12" y="192"/>
                </a:lnTo>
                <a:lnTo>
                  <a:pt x="12" y="192"/>
                </a:lnTo>
                <a:lnTo>
                  <a:pt x="12" y="186"/>
                </a:lnTo>
                <a:lnTo>
                  <a:pt x="12" y="186"/>
                </a:lnTo>
                <a:lnTo>
                  <a:pt x="6" y="186"/>
                </a:lnTo>
                <a:lnTo>
                  <a:pt x="12" y="174"/>
                </a:lnTo>
                <a:lnTo>
                  <a:pt x="12" y="174"/>
                </a:lnTo>
                <a:lnTo>
                  <a:pt x="6" y="174"/>
                </a:lnTo>
                <a:lnTo>
                  <a:pt x="12" y="168"/>
                </a:lnTo>
                <a:lnTo>
                  <a:pt x="6" y="168"/>
                </a:lnTo>
                <a:lnTo>
                  <a:pt x="6" y="156"/>
                </a:lnTo>
                <a:lnTo>
                  <a:pt x="6" y="156"/>
                </a:lnTo>
                <a:lnTo>
                  <a:pt x="6" y="156"/>
                </a:lnTo>
                <a:lnTo>
                  <a:pt x="0" y="156"/>
                </a:lnTo>
                <a:lnTo>
                  <a:pt x="0" y="156"/>
                </a:lnTo>
                <a:lnTo>
                  <a:pt x="6" y="156"/>
                </a:lnTo>
                <a:lnTo>
                  <a:pt x="6" y="156"/>
                </a:lnTo>
                <a:lnTo>
                  <a:pt x="6" y="156"/>
                </a:lnTo>
                <a:lnTo>
                  <a:pt x="6" y="156"/>
                </a:lnTo>
                <a:lnTo>
                  <a:pt x="6" y="150"/>
                </a:lnTo>
                <a:lnTo>
                  <a:pt x="6" y="150"/>
                </a:lnTo>
                <a:lnTo>
                  <a:pt x="6" y="150"/>
                </a:lnTo>
                <a:lnTo>
                  <a:pt x="6" y="150"/>
                </a:lnTo>
                <a:lnTo>
                  <a:pt x="6" y="144"/>
                </a:lnTo>
                <a:lnTo>
                  <a:pt x="6" y="144"/>
                </a:lnTo>
                <a:lnTo>
                  <a:pt x="0" y="144"/>
                </a:lnTo>
                <a:lnTo>
                  <a:pt x="0" y="138"/>
                </a:lnTo>
                <a:lnTo>
                  <a:pt x="6" y="138"/>
                </a:lnTo>
                <a:lnTo>
                  <a:pt x="0" y="132"/>
                </a:lnTo>
                <a:lnTo>
                  <a:pt x="0" y="132"/>
                </a:lnTo>
                <a:lnTo>
                  <a:pt x="6" y="126"/>
                </a:lnTo>
                <a:lnTo>
                  <a:pt x="6" y="126"/>
                </a:lnTo>
                <a:lnTo>
                  <a:pt x="6" y="120"/>
                </a:lnTo>
                <a:lnTo>
                  <a:pt x="0" y="120"/>
                </a:lnTo>
                <a:lnTo>
                  <a:pt x="0" y="120"/>
                </a:lnTo>
                <a:lnTo>
                  <a:pt x="6" y="120"/>
                </a:lnTo>
                <a:lnTo>
                  <a:pt x="6" y="120"/>
                </a:lnTo>
                <a:lnTo>
                  <a:pt x="6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30" y="102"/>
                </a:lnTo>
                <a:lnTo>
                  <a:pt x="24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6" y="90"/>
                </a:lnTo>
                <a:lnTo>
                  <a:pt x="36" y="90"/>
                </a:lnTo>
                <a:lnTo>
                  <a:pt x="30" y="90"/>
                </a:lnTo>
                <a:lnTo>
                  <a:pt x="30" y="90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66"/>
                </a:lnTo>
                <a:lnTo>
                  <a:pt x="36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36" y="60"/>
                </a:lnTo>
                <a:lnTo>
                  <a:pt x="36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8" y="36"/>
                </a:lnTo>
                <a:lnTo>
                  <a:pt x="42" y="36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8" y="30"/>
                </a:lnTo>
                <a:lnTo>
                  <a:pt x="48" y="30"/>
                </a:lnTo>
                <a:lnTo>
                  <a:pt x="48" y="24"/>
                </a:lnTo>
                <a:lnTo>
                  <a:pt x="48" y="24"/>
                </a:lnTo>
                <a:lnTo>
                  <a:pt x="42" y="24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54" y="18"/>
                </a:lnTo>
                <a:lnTo>
                  <a:pt x="54" y="18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8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90" y="0"/>
                </a:lnTo>
                <a:lnTo>
                  <a:pt x="90" y="0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6" y="6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102" y="12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8" y="12"/>
                </a:lnTo>
                <a:lnTo>
                  <a:pt x="108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8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8"/>
                </a:lnTo>
                <a:lnTo>
                  <a:pt x="114" y="18"/>
                </a:lnTo>
                <a:lnTo>
                  <a:pt x="114" y="12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32" y="18"/>
                </a:lnTo>
                <a:lnTo>
                  <a:pt x="132" y="18"/>
                </a:lnTo>
                <a:lnTo>
                  <a:pt x="138" y="18"/>
                </a:lnTo>
                <a:lnTo>
                  <a:pt x="138" y="18"/>
                </a:lnTo>
                <a:lnTo>
                  <a:pt x="144" y="24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50" y="18"/>
                </a:lnTo>
                <a:lnTo>
                  <a:pt x="156" y="24"/>
                </a:lnTo>
                <a:lnTo>
                  <a:pt x="162" y="24"/>
                </a:lnTo>
                <a:lnTo>
                  <a:pt x="162" y="30"/>
                </a:lnTo>
                <a:lnTo>
                  <a:pt x="162" y="30"/>
                </a:lnTo>
                <a:lnTo>
                  <a:pt x="162" y="30"/>
                </a:lnTo>
                <a:lnTo>
                  <a:pt x="162" y="30"/>
                </a:lnTo>
                <a:lnTo>
                  <a:pt x="162" y="30"/>
                </a:lnTo>
                <a:lnTo>
                  <a:pt x="162" y="36"/>
                </a:lnTo>
                <a:lnTo>
                  <a:pt x="168" y="36"/>
                </a:lnTo>
                <a:lnTo>
                  <a:pt x="168" y="36"/>
                </a:lnTo>
                <a:lnTo>
                  <a:pt x="168" y="36"/>
                </a:lnTo>
                <a:lnTo>
                  <a:pt x="168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0"/>
                </a:lnTo>
                <a:lnTo>
                  <a:pt x="174" y="30"/>
                </a:lnTo>
                <a:lnTo>
                  <a:pt x="174" y="24"/>
                </a:lnTo>
                <a:lnTo>
                  <a:pt x="174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30"/>
                </a:lnTo>
                <a:lnTo>
                  <a:pt x="180" y="24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92" y="30"/>
                </a:lnTo>
                <a:lnTo>
                  <a:pt x="192" y="30"/>
                </a:lnTo>
                <a:lnTo>
                  <a:pt x="192" y="24"/>
                </a:lnTo>
                <a:lnTo>
                  <a:pt x="192" y="24"/>
                </a:lnTo>
                <a:lnTo>
                  <a:pt x="198" y="24"/>
                </a:lnTo>
                <a:lnTo>
                  <a:pt x="204" y="30"/>
                </a:lnTo>
                <a:lnTo>
                  <a:pt x="204" y="30"/>
                </a:lnTo>
                <a:lnTo>
                  <a:pt x="204" y="24"/>
                </a:lnTo>
                <a:lnTo>
                  <a:pt x="204" y="24"/>
                </a:lnTo>
                <a:lnTo>
                  <a:pt x="204" y="24"/>
                </a:lnTo>
                <a:lnTo>
                  <a:pt x="210" y="24"/>
                </a:lnTo>
                <a:lnTo>
                  <a:pt x="210" y="24"/>
                </a:lnTo>
                <a:lnTo>
                  <a:pt x="216" y="24"/>
                </a:lnTo>
                <a:lnTo>
                  <a:pt x="216" y="24"/>
                </a:lnTo>
                <a:lnTo>
                  <a:pt x="216" y="24"/>
                </a:lnTo>
                <a:lnTo>
                  <a:pt x="216" y="30"/>
                </a:lnTo>
                <a:lnTo>
                  <a:pt x="216" y="24"/>
                </a:lnTo>
                <a:lnTo>
                  <a:pt x="216" y="24"/>
                </a:lnTo>
                <a:lnTo>
                  <a:pt x="222" y="24"/>
                </a:lnTo>
                <a:lnTo>
                  <a:pt x="222" y="24"/>
                </a:lnTo>
                <a:lnTo>
                  <a:pt x="222" y="24"/>
                </a:lnTo>
                <a:lnTo>
                  <a:pt x="228" y="24"/>
                </a:lnTo>
                <a:lnTo>
                  <a:pt x="228" y="24"/>
                </a:lnTo>
                <a:lnTo>
                  <a:pt x="228" y="24"/>
                </a:lnTo>
                <a:lnTo>
                  <a:pt x="228" y="24"/>
                </a:lnTo>
                <a:lnTo>
                  <a:pt x="234" y="18"/>
                </a:lnTo>
                <a:lnTo>
                  <a:pt x="234" y="24"/>
                </a:lnTo>
                <a:lnTo>
                  <a:pt x="234" y="24"/>
                </a:lnTo>
                <a:lnTo>
                  <a:pt x="234" y="24"/>
                </a:lnTo>
                <a:lnTo>
                  <a:pt x="240" y="24"/>
                </a:lnTo>
                <a:lnTo>
                  <a:pt x="240" y="24"/>
                </a:lnTo>
                <a:lnTo>
                  <a:pt x="240" y="24"/>
                </a:lnTo>
                <a:lnTo>
                  <a:pt x="240" y="24"/>
                </a:lnTo>
                <a:lnTo>
                  <a:pt x="246" y="24"/>
                </a:lnTo>
                <a:lnTo>
                  <a:pt x="246" y="24"/>
                </a:lnTo>
                <a:lnTo>
                  <a:pt x="246" y="24"/>
                </a:lnTo>
                <a:lnTo>
                  <a:pt x="246" y="24"/>
                </a:lnTo>
                <a:lnTo>
                  <a:pt x="252" y="24"/>
                </a:lnTo>
                <a:lnTo>
                  <a:pt x="252" y="30"/>
                </a:lnTo>
                <a:lnTo>
                  <a:pt x="252" y="30"/>
                </a:lnTo>
                <a:lnTo>
                  <a:pt x="252" y="30"/>
                </a:lnTo>
                <a:lnTo>
                  <a:pt x="252" y="30"/>
                </a:lnTo>
                <a:lnTo>
                  <a:pt x="252" y="30"/>
                </a:lnTo>
                <a:lnTo>
                  <a:pt x="252" y="36"/>
                </a:lnTo>
                <a:lnTo>
                  <a:pt x="252" y="36"/>
                </a:lnTo>
                <a:lnTo>
                  <a:pt x="252" y="42"/>
                </a:lnTo>
                <a:lnTo>
                  <a:pt x="252" y="42"/>
                </a:lnTo>
                <a:lnTo>
                  <a:pt x="252" y="36"/>
                </a:lnTo>
                <a:lnTo>
                  <a:pt x="252" y="42"/>
                </a:lnTo>
                <a:lnTo>
                  <a:pt x="258" y="36"/>
                </a:lnTo>
                <a:lnTo>
                  <a:pt x="258" y="36"/>
                </a:lnTo>
                <a:lnTo>
                  <a:pt x="264" y="36"/>
                </a:lnTo>
                <a:lnTo>
                  <a:pt x="264" y="36"/>
                </a:lnTo>
                <a:lnTo>
                  <a:pt x="264" y="36"/>
                </a:lnTo>
                <a:lnTo>
                  <a:pt x="264" y="36"/>
                </a:lnTo>
                <a:lnTo>
                  <a:pt x="270" y="42"/>
                </a:lnTo>
                <a:lnTo>
                  <a:pt x="270" y="42"/>
                </a:lnTo>
                <a:lnTo>
                  <a:pt x="270" y="42"/>
                </a:lnTo>
                <a:lnTo>
                  <a:pt x="270" y="36"/>
                </a:lnTo>
                <a:lnTo>
                  <a:pt x="270" y="42"/>
                </a:lnTo>
                <a:lnTo>
                  <a:pt x="276" y="42"/>
                </a:lnTo>
                <a:lnTo>
                  <a:pt x="276" y="42"/>
                </a:lnTo>
                <a:lnTo>
                  <a:pt x="276" y="48"/>
                </a:lnTo>
                <a:lnTo>
                  <a:pt x="276" y="48"/>
                </a:lnTo>
                <a:lnTo>
                  <a:pt x="276" y="48"/>
                </a:lnTo>
                <a:lnTo>
                  <a:pt x="282" y="48"/>
                </a:lnTo>
                <a:lnTo>
                  <a:pt x="282" y="48"/>
                </a:lnTo>
                <a:lnTo>
                  <a:pt x="282" y="48"/>
                </a:lnTo>
                <a:lnTo>
                  <a:pt x="282" y="54"/>
                </a:lnTo>
                <a:lnTo>
                  <a:pt x="282" y="54"/>
                </a:lnTo>
                <a:lnTo>
                  <a:pt x="282" y="54"/>
                </a:lnTo>
                <a:lnTo>
                  <a:pt x="282" y="54"/>
                </a:lnTo>
                <a:lnTo>
                  <a:pt x="282" y="60"/>
                </a:lnTo>
                <a:lnTo>
                  <a:pt x="288" y="60"/>
                </a:lnTo>
                <a:lnTo>
                  <a:pt x="288" y="60"/>
                </a:lnTo>
                <a:lnTo>
                  <a:pt x="288" y="60"/>
                </a:lnTo>
                <a:lnTo>
                  <a:pt x="294" y="54"/>
                </a:lnTo>
                <a:lnTo>
                  <a:pt x="294" y="54"/>
                </a:lnTo>
                <a:lnTo>
                  <a:pt x="294" y="48"/>
                </a:lnTo>
                <a:lnTo>
                  <a:pt x="300" y="48"/>
                </a:lnTo>
                <a:lnTo>
                  <a:pt x="300" y="48"/>
                </a:lnTo>
                <a:lnTo>
                  <a:pt x="300" y="42"/>
                </a:lnTo>
                <a:lnTo>
                  <a:pt x="300" y="42"/>
                </a:lnTo>
                <a:lnTo>
                  <a:pt x="300" y="42"/>
                </a:lnTo>
                <a:lnTo>
                  <a:pt x="300" y="36"/>
                </a:lnTo>
                <a:lnTo>
                  <a:pt x="306" y="42"/>
                </a:lnTo>
                <a:lnTo>
                  <a:pt x="306" y="42"/>
                </a:lnTo>
                <a:lnTo>
                  <a:pt x="312" y="42"/>
                </a:lnTo>
                <a:lnTo>
                  <a:pt x="312" y="42"/>
                </a:lnTo>
                <a:lnTo>
                  <a:pt x="312" y="42"/>
                </a:lnTo>
                <a:lnTo>
                  <a:pt x="324" y="42"/>
                </a:lnTo>
                <a:lnTo>
                  <a:pt x="324" y="42"/>
                </a:lnTo>
                <a:lnTo>
                  <a:pt x="324" y="36"/>
                </a:lnTo>
                <a:lnTo>
                  <a:pt x="324" y="36"/>
                </a:lnTo>
                <a:lnTo>
                  <a:pt x="324" y="30"/>
                </a:lnTo>
                <a:lnTo>
                  <a:pt x="324" y="30"/>
                </a:lnTo>
                <a:lnTo>
                  <a:pt x="324" y="30"/>
                </a:lnTo>
                <a:lnTo>
                  <a:pt x="324" y="24"/>
                </a:lnTo>
                <a:lnTo>
                  <a:pt x="324" y="24"/>
                </a:lnTo>
                <a:lnTo>
                  <a:pt x="324" y="24"/>
                </a:lnTo>
                <a:lnTo>
                  <a:pt x="330" y="24"/>
                </a:lnTo>
                <a:lnTo>
                  <a:pt x="330" y="18"/>
                </a:lnTo>
                <a:lnTo>
                  <a:pt x="330" y="18"/>
                </a:lnTo>
                <a:lnTo>
                  <a:pt x="330" y="18"/>
                </a:lnTo>
                <a:lnTo>
                  <a:pt x="330" y="18"/>
                </a:lnTo>
                <a:lnTo>
                  <a:pt x="330" y="18"/>
                </a:lnTo>
                <a:lnTo>
                  <a:pt x="330" y="18"/>
                </a:lnTo>
                <a:lnTo>
                  <a:pt x="336" y="12"/>
                </a:lnTo>
                <a:lnTo>
                  <a:pt x="336" y="12"/>
                </a:lnTo>
                <a:lnTo>
                  <a:pt x="336" y="12"/>
                </a:lnTo>
                <a:lnTo>
                  <a:pt x="336" y="12"/>
                </a:lnTo>
                <a:lnTo>
                  <a:pt x="342" y="12"/>
                </a:lnTo>
                <a:lnTo>
                  <a:pt x="342" y="12"/>
                </a:lnTo>
                <a:lnTo>
                  <a:pt x="348" y="12"/>
                </a:lnTo>
                <a:lnTo>
                  <a:pt x="348" y="12"/>
                </a:lnTo>
                <a:lnTo>
                  <a:pt x="348" y="12"/>
                </a:lnTo>
                <a:lnTo>
                  <a:pt x="348" y="12"/>
                </a:lnTo>
                <a:lnTo>
                  <a:pt x="348" y="12"/>
                </a:lnTo>
                <a:lnTo>
                  <a:pt x="348" y="6"/>
                </a:lnTo>
                <a:lnTo>
                  <a:pt x="354" y="6"/>
                </a:lnTo>
                <a:lnTo>
                  <a:pt x="354" y="6"/>
                </a:lnTo>
                <a:lnTo>
                  <a:pt x="354" y="6"/>
                </a:lnTo>
                <a:lnTo>
                  <a:pt x="354" y="6"/>
                </a:lnTo>
                <a:lnTo>
                  <a:pt x="360" y="6"/>
                </a:lnTo>
                <a:lnTo>
                  <a:pt x="360" y="6"/>
                </a:lnTo>
                <a:lnTo>
                  <a:pt x="360" y="6"/>
                </a:lnTo>
                <a:lnTo>
                  <a:pt x="360" y="12"/>
                </a:lnTo>
                <a:lnTo>
                  <a:pt x="360" y="12"/>
                </a:lnTo>
                <a:lnTo>
                  <a:pt x="360" y="12"/>
                </a:lnTo>
                <a:lnTo>
                  <a:pt x="360" y="12"/>
                </a:lnTo>
                <a:lnTo>
                  <a:pt x="366" y="18"/>
                </a:lnTo>
                <a:lnTo>
                  <a:pt x="366" y="18"/>
                </a:lnTo>
                <a:lnTo>
                  <a:pt x="366" y="18"/>
                </a:lnTo>
                <a:lnTo>
                  <a:pt x="366" y="18"/>
                </a:lnTo>
                <a:lnTo>
                  <a:pt x="372" y="24"/>
                </a:lnTo>
                <a:lnTo>
                  <a:pt x="372" y="24"/>
                </a:lnTo>
                <a:lnTo>
                  <a:pt x="372" y="24"/>
                </a:lnTo>
                <a:lnTo>
                  <a:pt x="372" y="30"/>
                </a:lnTo>
                <a:lnTo>
                  <a:pt x="372" y="30"/>
                </a:lnTo>
                <a:lnTo>
                  <a:pt x="372" y="30"/>
                </a:lnTo>
                <a:lnTo>
                  <a:pt x="372" y="36"/>
                </a:lnTo>
                <a:lnTo>
                  <a:pt x="372" y="36"/>
                </a:lnTo>
                <a:lnTo>
                  <a:pt x="372" y="36"/>
                </a:lnTo>
                <a:lnTo>
                  <a:pt x="372" y="36"/>
                </a:lnTo>
                <a:lnTo>
                  <a:pt x="378" y="36"/>
                </a:lnTo>
                <a:lnTo>
                  <a:pt x="378" y="36"/>
                </a:lnTo>
                <a:lnTo>
                  <a:pt x="378" y="36"/>
                </a:lnTo>
                <a:lnTo>
                  <a:pt x="378" y="36"/>
                </a:lnTo>
                <a:lnTo>
                  <a:pt x="378" y="36"/>
                </a:lnTo>
                <a:lnTo>
                  <a:pt x="378" y="42"/>
                </a:lnTo>
                <a:lnTo>
                  <a:pt x="378" y="42"/>
                </a:lnTo>
                <a:lnTo>
                  <a:pt x="384" y="42"/>
                </a:lnTo>
                <a:lnTo>
                  <a:pt x="384" y="42"/>
                </a:lnTo>
                <a:lnTo>
                  <a:pt x="384" y="42"/>
                </a:lnTo>
                <a:lnTo>
                  <a:pt x="384" y="42"/>
                </a:lnTo>
                <a:lnTo>
                  <a:pt x="390" y="48"/>
                </a:lnTo>
                <a:lnTo>
                  <a:pt x="390" y="48"/>
                </a:lnTo>
                <a:lnTo>
                  <a:pt x="390" y="48"/>
                </a:lnTo>
                <a:lnTo>
                  <a:pt x="396" y="48"/>
                </a:lnTo>
                <a:lnTo>
                  <a:pt x="396" y="48"/>
                </a:lnTo>
                <a:lnTo>
                  <a:pt x="396" y="48"/>
                </a:lnTo>
                <a:lnTo>
                  <a:pt x="396" y="48"/>
                </a:lnTo>
                <a:lnTo>
                  <a:pt x="396" y="48"/>
                </a:lnTo>
                <a:lnTo>
                  <a:pt x="402" y="48"/>
                </a:lnTo>
                <a:lnTo>
                  <a:pt x="402" y="54"/>
                </a:lnTo>
                <a:lnTo>
                  <a:pt x="402" y="54"/>
                </a:lnTo>
                <a:lnTo>
                  <a:pt x="402" y="54"/>
                </a:lnTo>
                <a:lnTo>
                  <a:pt x="408" y="60"/>
                </a:lnTo>
                <a:lnTo>
                  <a:pt x="408" y="60"/>
                </a:lnTo>
                <a:lnTo>
                  <a:pt x="408" y="66"/>
                </a:lnTo>
                <a:lnTo>
                  <a:pt x="408" y="66"/>
                </a:lnTo>
                <a:lnTo>
                  <a:pt x="414" y="66"/>
                </a:lnTo>
                <a:lnTo>
                  <a:pt x="414" y="66"/>
                </a:lnTo>
                <a:lnTo>
                  <a:pt x="414" y="66"/>
                </a:lnTo>
                <a:lnTo>
                  <a:pt x="414" y="66"/>
                </a:lnTo>
                <a:lnTo>
                  <a:pt x="414" y="66"/>
                </a:lnTo>
                <a:lnTo>
                  <a:pt x="420" y="66"/>
                </a:lnTo>
                <a:lnTo>
                  <a:pt x="420" y="66"/>
                </a:lnTo>
                <a:lnTo>
                  <a:pt x="420" y="66"/>
                </a:lnTo>
                <a:lnTo>
                  <a:pt x="420" y="66"/>
                </a:lnTo>
                <a:lnTo>
                  <a:pt x="420" y="72"/>
                </a:lnTo>
                <a:lnTo>
                  <a:pt x="426" y="72"/>
                </a:lnTo>
                <a:lnTo>
                  <a:pt x="426" y="66"/>
                </a:lnTo>
                <a:lnTo>
                  <a:pt x="426" y="66"/>
                </a:lnTo>
                <a:lnTo>
                  <a:pt x="426" y="72"/>
                </a:lnTo>
                <a:lnTo>
                  <a:pt x="432" y="72"/>
                </a:lnTo>
                <a:lnTo>
                  <a:pt x="432" y="72"/>
                </a:lnTo>
                <a:lnTo>
                  <a:pt x="438" y="72"/>
                </a:lnTo>
                <a:lnTo>
                  <a:pt x="438" y="72"/>
                </a:lnTo>
                <a:lnTo>
                  <a:pt x="438" y="72"/>
                </a:lnTo>
                <a:lnTo>
                  <a:pt x="438" y="72"/>
                </a:lnTo>
                <a:lnTo>
                  <a:pt x="444" y="72"/>
                </a:lnTo>
                <a:lnTo>
                  <a:pt x="444" y="66"/>
                </a:lnTo>
                <a:lnTo>
                  <a:pt x="444" y="66"/>
                </a:lnTo>
                <a:lnTo>
                  <a:pt x="444" y="66"/>
                </a:lnTo>
                <a:lnTo>
                  <a:pt x="444" y="72"/>
                </a:lnTo>
                <a:lnTo>
                  <a:pt x="450" y="66"/>
                </a:lnTo>
                <a:lnTo>
                  <a:pt x="450" y="66"/>
                </a:lnTo>
                <a:lnTo>
                  <a:pt x="450" y="72"/>
                </a:lnTo>
                <a:lnTo>
                  <a:pt x="450" y="72"/>
                </a:lnTo>
                <a:lnTo>
                  <a:pt x="450" y="72"/>
                </a:lnTo>
                <a:lnTo>
                  <a:pt x="450" y="78"/>
                </a:lnTo>
                <a:lnTo>
                  <a:pt x="450" y="78"/>
                </a:lnTo>
                <a:lnTo>
                  <a:pt x="444" y="78"/>
                </a:lnTo>
                <a:lnTo>
                  <a:pt x="438" y="78"/>
                </a:lnTo>
                <a:lnTo>
                  <a:pt x="438" y="78"/>
                </a:lnTo>
                <a:lnTo>
                  <a:pt x="438" y="78"/>
                </a:lnTo>
                <a:lnTo>
                  <a:pt x="432" y="84"/>
                </a:lnTo>
                <a:lnTo>
                  <a:pt x="432" y="84"/>
                </a:lnTo>
                <a:lnTo>
                  <a:pt x="432" y="84"/>
                </a:lnTo>
                <a:lnTo>
                  <a:pt x="432" y="90"/>
                </a:lnTo>
                <a:lnTo>
                  <a:pt x="432" y="90"/>
                </a:lnTo>
                <a:lnTo>
                  <a:pt x="432" y="90"/>
                </a:lnTo>
                <a:lnTo>
                  <a:pt x="432" y="90"/>
                </a:lnTo>
                <a:lnTo>
                  <a:pt x="432" y="90"/>
                </a:lnTo>
                <a:lnTo>
                  <a:pt x="432" y="90"/>
                </a:lnTo>
                <a:lnTo>
                  <a:pt x="426" y="84"/>
                </a:lnTo>
                <a:lnTo>
                  <a:pt x="426" y="84"/>
                </a:lnTo>
                <a:lnTo>
                  <a:pt x="426" y="84"/>
                </a:lnTo>
                <a:lnTo>
                  <a:pt x="426" y="84"/>
                </a:lnTo>
                <a:lnTo>
                  <a:pt x="426" y="84"/>
                </a:lnTo>
                <a:lnTo>
                  <a:pt x="426" y="84"/>
                </a:lnTo>
                <a:lnTo>
                  <a:pt x="426" y="84"/>
                </a:lnTo>
                <a:lnTo>
                  <a:pt x="426" y="90"/>
                </a:lnTo>
                <a:lnTo>
                  <a:pt x="420" y="90"/>
                </a:lnTo>
                <a:lnTo>
                  <a:pt x="420" y="90"/>
                </a:lnTo>
                <a:lnTo>
                  <a:pt x="420" y="84"/>
                </a:lnTo>
                <a:lnTo>
                  <a:pt x="420" y="84"/>
                </a:lnTo>
                <a:lnTo>
                  <a:pt x="414" y="84"/>
                </a:lnTo>
                <a:lnTo>
                  <a:pt x="420" y="90"/>
                </a:lnTo>
                <a:lnTo>
                  <a:pt x="420" y="90"/>
                </a:lnTo>
                <a:lnTo>
                  <a:pt x="414" y="90"/>
                </a:lnTo>
                <a:lnTo>
                  <a:pt x="414" y="90"/>
                </a:lnTo>
                <a:lnTo>
                  <a:pt x="420" y="90"/>
                </a:lnTo>
                <a:lnTo>
                  <a:pt x="420" y="96"/>
                </a:lnTo>
                <a:lnTo>
                  <a:pt x="420" y="96"/>
                </a:lnTo>
                <a:lnTo>
                  <a:pt x="414" y="96"/>
                </a:lnTo>
                <a:lnTo>
                  <a:pt x="414" y="96"/>
                </a:lnTo>
                <a:lnTo>
                  <a:pt x="408" y="96"/>
                </a:lnTo>
                <a:lnTo>
                  <a:pt x="408" y="96"/>
                </a:lnTo>
                <a:lnTo>
                  <a:pt x="408" y="96"/>
                </a:lnTo>
                <a:lnTo>
                  <a:pt x="408" y="96"/>
                </a:lnTo>
                <a:lnTo>
                  <a:pt x="402" y="102"/>
                </a:lnTo>
                <a:lnTo>
                  <a:pt x="408" y="102"/>
                </a:lnTo>
                <a:lnTo>
                  <a:pt x="402" y="102"/>
                </a:lnTo>
                <a:lnTo>
                  <a:pt x="402" y="102"/>
                </a:lnTo>
                <a:lnTo>
                  <a:pt x="402" y="102"/>
                </a:lnTo>
                <a:lnTo>
                  <a:pt x="402" y="102"/>
                </a:lnTo>
                <a:lnTo>
                  <a:pt x="402" y="102"/>
                </a:lnTo>
                <a:lnTo>
                  <a:pt x="402" y="102"/>
                </a:lnTo>
                <a:lnTo>
                  <a:pt x="402" y="102"/>
                </a:lnTo>
                <a:lnTo>
                  <a:pt x="396" y="108"/>
                </a:lnTo>
                <a:lnTo>
                  <a:pt x="396" y="108"/>
                </a:lnTo>
                <a:lnTo>
                  <a:pt x="396" y="108"/>
                </a:lnTo>
                <a:lnTo>
                  <a:pt x="396" y="108"/>
                </a:lnTo>
                <a:lnTo>
                  <a:pt x="396" y="108"/>
                </a:lnTo>
                <a:lnTo>
                  <a:pt x="390" y="108"/>
                </a:lnTo>
                <a:lnTo>
                  <a:pt x="390" y="114"/>
                </a:lnTo>
                <a:lnTo>
                  <a:pt x="390" y="114"/>
                </a:lnTo>
                <a:lnTo>
                  <a:pt x="390" y="114"/>
                </a:lnTo>
                <a:lnTo>
                  <a:pt x="390" y="114"/>
                </a:lnTo>
                <a:lnTo>
                  <a:pt x="390" y="120"/>
                </a:lnTo>
                <a:lnTo>
                  <a:pt x="390" y="120"/>
                </a:lnTo>
                <a:lnTo>
                  <a:pt x="390" y="120"/>
                </a:lnTo>
                <a:lnTo>
                  <a:pt x="390" y="120"/>
                </a:lnTo>
                <a:lnTo>
                  <a:pt x="390" y="120"/>
                </a:lnTo>
                <a:lnTo>
                  <a:pt x="384" y="126"/>
                </a:lnTo>
                <a:lnTo>
                  <a:pt x="384" y="126"/>
                </a:lnTo>
                <a:lnTo>
                  <a:pt x="384" y="126"/>
                </a:lnTo>
                <a:lnTo>
                  <a:pt x="384" y="126"/>
                </a:lnTo>
                <a:lnTo>
                  <a:pt x="384" y="132"/>
                </a:lnTo>
                <a:lnTo>
                  <a:pt x="384" y="132"/>
                </a:lnTo>
                <a:lnTo>
                  <a:pt x="384" y="138"/>
                </a:lnTo>
                <a:lnTo>
                  <a:pt x="384" y="138"/>
                </a:lnTo>
                <a:lnTo>
                  <a:pt x="384" y="138"/>
                </a:lnTo>
                <a:lnTo>
                  <a:pt x="384" y="144"/>
                </a:lnTo>
                <a:lnTo>
                  <a:pt x="384" y="144"/>
                </a:lnTo>
                <a:lnTo>
                  <a:pt x="384" y="144"/>
                </a:lnTo>
                <a:lnTo>
                  <a:pt x="384" y="150"/>
                </a:lnTo>
                <a:lnTo>
                  <a:pt x="384" y="150"/>
                </a:lnTo>
                <a:lnTo>
                  <a:pt x="384" y="150"/>
                </a:lnTo>
                <a:lnTo>
                  <a:pt x="384" y="156"/>
                </a:lnTo>
                <a:lnTo>
                  <a:pt x="384" y="156"/>
                </a:lnTo>
                <a:lnTo>
                  <a:pt x="384" y="162"/>
                </a:lnTo>
                <a:lnTo>
                  <a:pt x="384" y="162"/>
                </a:lnTo>
                <a:lnTo>
                  <a:pt x="384" y="162"/>
                </a:lnTo>
                <a:lnTo>
                  <a:pt x="384" y="162"/>
                </a:lnTo>
                <a:lnTo>
                  <a:pt x="378" y="168"/>
                </a:lnTo>
                <a:lnTo>
                  <a:pt x="378" y="168"/>
                </a:lnTo>
                <a:lnTo>
                  <a:pt x="378" y="168"/>
                </a:lnTo>
                <a:lnTo>
                  <a:pt x="378" y="174"/>
                </a:lnTo>
                <a:lnTo>
                  <a:pt x="378" y="180"/>
                </a:lnTo>
                <a:lnTo>
                  <a:pt x="378" y="180"/>
                </a:lnTo>
                <a:lnTo>
                  <a:pt x="378" y="180"/>
                </a:lnTo>
                <a:lnTo>
                  <a:pt x="378" y="186"/>
                </a:lnTo>
                <a:lnTo>
                  <a:pt x="378" y="186"/>
                </a:lnTo>
                <a:lnTo>
                  <a:pt x="378" y="192"/>
                </a:lnTo>
                <a:lnTo>
                  <a:pt x="378" y="192"/>
                </a:lnTo>
                <a:lnTo>
                  <a:pt x="378" y="192"/>
                </a:lnTo>
                <a:lnTo>
                  <a:pt x="378" y="192"/>
                </a:lnTo>
                <a:lnTo>
                  <a:pt x="372" y="198"/>
                </a:lnTo>
                <a:lnTo>
                  <a:pt x="372" y="198"/>
                </a:lnTo>
                <a:lnTo>
                  <a:pt x="366" y="198"/>
                </a:lnTo>
                <a:lnTo>
                  <a:pt x="360" y="204"/>
                </a:lnTo>
                <a:lnTo>
                  <a:pt x="360" y="204"/>
                </a:lnTo>
                <a:lnTo>
                  <a:pt x="360" y="210"/>
                </a:lnTo>
                <a:lnTo>
                  <a:pt x="354" y="210"/>
                </a:lnTo>
                <a:lnTo>
                  <a:pt x="354" y="210"/>
                </a:lnTo>
                <a:lnTo>
                  <a:pt x="354" y="216"/>
                </a:lnTo>
                <a:lnTo>
                  <a:pt x="354" y="216"/>
                </a:lnTo>
                <a:lnTo>
                  <a:pt x="354" y="216"/>
                </a:lnTo>
                <a:lnTo>
                  <a:pt x="354" y="222"/>
                </a:lnTo>
                <a:lnTo>
                  <a:pt x="354" y="222"/>
                </a:lnTo>
                <a:lnTo>
                  <a:pt x="354" y="222"/>
                </a:lnTo>
                <a:lnTo>
                  <a:pt x="354" y="222"/>
                </a:lnTo>
                <a:lnTo>
                  <a:pt x="348" y="228"/>
                </a:lnTo>
                <a:lnTo>
                  <a:pt x="348" y="228"/>
                </a:lnTo>
                <a:lnTo>
                  <a:pt x="348" y="228"/>
                </a:lnTo>
                <a:lnTo>
                  <a:pt x="348" y="234"/>
                </a:lnTo>
                <a:lnTo>
                  <a:pt x="348" y="234"/>
                </a:lnTo>
                <a:lnTo>
                  <a:pt x="354" y="234"/>
                </a:lnTo>
                <a:lnTo>
                  <a:pt x="354" y="240"/>
                </a:lnTo>
                <a:lnTo>
                  <a:pt x="354" y="240"/>
                </a:lnTo>
                <a:lnTo>
                  <a:pt x="354" y="240"/>
                </a:lnTo>
                <a:lnTo>
                  <a:pt x="354" y="246"/>
                </a:lnTo>
                <a:lnTo>
                  <a:pt x="354" y="246"/>
                </a:lnTo>
                <a:lnTo>
                  <a:pt x="354" y="246"/>
                </a:lnTo>
                <a:lnTo>
                  <a:pt x="354" y="246"/>
                </a:lnTo>
                <a:lnTo>
                  <a:pt x="354" y="252"/>
                </a:lnTo>
                <a:lnTo>
                  <a:pt x="354" y="252"/>
                </a:lnTo>
                <a:lnTo>
                  <a:pt x="354" y="258"/>
                </a:lnTo>
                <a:lnTo>
                  <a:pt x="354" y="258"/>
                </a:lnTo>
                <a:lnTo>
                  <a:pt x="354" y="258"/>
                </a:lnTo>
                <a:lnTo>
                  <a:pt x="354" y="258"/>
                </a:lnTo>
                <a:lnTo>
                  <a:pt x="354" y="258"/>
                </a:lnTo>
                <a:lnTo>
                  <a:pt x="348" y="258"/>
                </a:lnTo>
                <a:lnTo>
                  <a:pt x="348" y="264"/>
                </a:lnTo>
                <a:lnTo>
                  <a:pt x="348" y="258"/>
                </a:lnTo>
                <a:lnTo>
                  <a:pt x="348" y="264"/>
                </a:lnTo>
                <a:lnTo>
                  <a:pt x="342" y="264"/>
                </a:lnTo>
                <a:lnTo>
                  <a:pt x="342" y="264"/>
                </a:lnTo>
                <a:lnTo>
                  <a:pt x="342" y="264"/>
                </a:lnTo>
                <a:lnTo>
                  <a:pt x="342" y="264"/>
                </a:lnTo>
                <a:lnTo>
                  <a:pt x="342" y="264"/>
                </a:lnTo>
                <a:lnTo>
                  <a:pt x="342" y="264"/>
                </a:lnTo>
                <a:lnTo>
                  <a:pt x="348" y="270"/>
                </a:lnTo>
                <a:lnTo>
                  <a:pt x="342" y="270"/>
                </a:lnTo>
                <a:lnTo>
                  <a:pt x="342" y="270"/>
                </a:lnTo>
                <a:lnTo>
                  <a:pt x="342" y="270"/>
                </a:lnTo>
                <a:lnTo>
                  <a:pt x="342" y="276"/>
                </a:lnTo>
                <a:lnTo>
                  <a:pt x="336" y="276"/>
                </a:lnTo>
                <a:lnTo>
                  <a:pt x="336" y="276"/>
                </a:lnTo>
                <a:lnTo>
                  <a:pt x="336" y="276"/>
                </a:lnTo>
                <a:lnTo>
                  <a:pt x="336" y="282"/>
                </a:lnTo>
                <a:lnTo>
                  <a:pt x="336" y="282"/>
                </a:lnTo>
                <a:lnTo>
                  <a:pt x="330" y="282"/>
                </a:lnTo>
                <a:lnTo>
                  <a:pt x="330" y="282"/>
                </a:lnTo>
                <a:lnTo>
                  <a:pt x="330" y="288"/>
                </a:lnTo>
                <a:lnTo>
                  <a:pt x="330" y="288"/>
                </a:lnTo>
                <a:lnTo>
                  <a:pt x="330" y="288"/>
                </a:lnTo>
                <a:lnTo>
                  <a:pt x="330" y="294"/>
                </a:lnTo>
                <a:lnTo>
                  <a:pt x="330" y="294"/>
                </a:lnTo>
                <a:lnTo>
                  <a:pt x="330" y="294"/>
                </a:lnTo>
                <a:lnTo>
                  <a:pt x="330" y="300"/>
                </a:lnTo>
                <a:lnTo>
                  <a:pt x="330" y="300"/>
                </a:lnTo>
                <a:lnTo>
                  <a:pt x="330" y="300"/>
                </a:lnTo>
                <a:lnTo>
                  <a:pt x="330" y="306"/>
                </a:lnTo>
                <a:lnTo>
                  <a:pt x="324" y="306"/>
                </a:lnTo>
                <a:lnTo>
                  <a:pt x="324" y="306"/>
                </a:lnTo>
                <a:lnTo>
                  <a:pt x="330" y="306"/>
                </a:lnTo>
                <a:lnTo>
                  <a:pt x="330" y="312"/>
                </a:lnTo>
                <a:lnTo>
                  <a:pt x="330" y="312"/>
                </a:lnTo>
                <a:lnTo>
                  <a:pt x="330" y="312"/>
                </a:lnTo>
                <a:lnTo>
                  <a:pt x="330" y="312"/>
                </a:lnTo>
                <a:lnTo>
                  <a:pt x="330" y="318"/>
                </a:lnTo>
                <a:lnTo>
                  <a:pt x="330" y="318"/>
                </a:lnTo>
                <a:lnTo>
                  <a:pt x="330" y="324"/>
                </a:lnTo>
                <a:lnTo>
                  <a:pt x="330" y="324"/>
                </a:lnTo>
                <a:lnTo>
                  <a:pt x="330" y="330"/>
                </a:lnTo>
                <a:lnTo>
                  <a:pt x="330" y="330"/>
                </a:lnTo>
                <a:lnTo>
                  <a:pt x="330" y="336"/>
                </a:lnTo>
                <a:lnTo>
                  <a:pt x="330" y="342"/>
                </a:lnTo>
                <a:lnTo>
                  <a:pt x="324" y="342"/>
                </a:lnTo>
                <a:lnTo>
                  <a:pt x="246" y="312"/>
                </a:lnTo>
                <a:lnTo>
                  <a:pt x="216" y="294"/>
                </a:lnTo>
                <a:lnTo>
                  <a:pt x="156" y="270"/>
                </a:lnTo>
                <a:lnTo>
                  <a:pt x="144" y="264"/>
                </a:lnTo>
                <a:lnTo>
                  <a:pt x="138" y="264"/>
                </a:lnTo>
                <a:lnTo>
                  <a:pt x="132" y="264"/>
                </a:lnTo>
                <a:lnTo>
                  <a:pt x="108" y="246"/>
                </a:lnTo>
                <a:lnTo>
                  <a:pt x="84" y="234"/>
                </a:lnTo>
                <a:lnTo>
                  <a:pt x="48" y="216"/>
                </a:lnTo>
                <a:lnTo>
                  <a:pt x="36" y="210"/>
                </a:lnTo>
                <a:lnTo>
                  <a:pt x="6" y="19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291" name="Freeform 24"/>
          <p:cNvSpPr>
            <a:spLocks/>
          </p:cNvSpPr>
          <p:nvPr/>
        </p:nvSpPr>
        <p:spPr bwMode="auto">
          <a:xfrm>
            <a:off x="4230842" y="1732392"/>
            <a:ext cx="796582" cy="738771"/>
          </a:xfrm>
          <a:custGeom>
            <a:avLst/>
            <a:gdLst>
              <a:gd name="T0" fmla="*/ 36 w 744"/>
              <a:gd name="T1" fmla="*/ 180 h 690"/>
              <a:gd name="T2" fmla="*/ 66 w 744"/>
              <a:gd name="T3" fmla="*/ 168 h 690"/>
              <a:gd name="T4" fmla="*/ 108 w 744"/>
              <a:gd name="T5" fmla="*/ 126 h 690"/>
              <a:gd name="T6" fmla="*/ 132 w 744"/>
              <a:gd name="T7" fmla="*/ 132 h 690"/>
              <a:gd name="T8" fmla="*/ 162 w 744"/>
              <a:gd name="T9" fmla="*/ 108 h 690"/>
              <a:gd name="T10" fmla="*/ 204 w 744"/>
              <a:gd name="T11" fmla="*/ 108 h 690"/>
              <a:gd name="T12" fmla="*/ 246 w 744"/>
              <a:gd name="T13" fmla="*/ 120 h 690"/>
              <a:gd name="T14" fmla="*/ 306 w 744"/>
              <a:gd name="T15" fmla="*/ 150 h 690"/>
              <a:gd name="T16" fmla="*/ 378 w 744"/>
              <a:gd name="T17" fmla="*/ 162 h 690"/>
              <a:gd name="T18" fmla="*/ 432 w 744"/>
              <a:gd name="T19" fmla="*/ 144 h 690"/>
              <a:gd name="T20" fmla="*/ 492 w 744"/>
              <a:gd name="T21" fmla="*/ 96 h 690"/>
              <a:gd name="T22" fmla="*/ 576 w 744"/>
              <a:gd name="T23" fmla="*/ 78 h 690"/>
              <a:gd name="T24" fmla="*/ 624 w 744"/>
              <a:gd name="T25" fmla="*/ 6 h 690"/>
              <a:gd name="T26" fmla="*/ 648 w 744"/>
              <a:gd name="T27" fmla="*/ 24 h 690"/>
              <a:gd name="T28" fmla="*/ 660 w 744"/>
              <a:gd name="T29" fmla="*/ 60 h 690"/>
              <a:gd name="T30" fmla="*/ 660 w 744"/>
              <a:gd name="T31" fmla="*/ 228 h 690"/>
              <a:gd name="T32" fmla="*/ 606 w 744"/>
              <a:gd name="T33" fmla="*/ 312 h 690"/>
              <a:gd name="T34" fmla="*/ 588 w 744"/>
              <a:gd name="T35" fmla="*/ 336 h 690"/>
              <a:gd name="T36" fmla="*/ 582 w 744"/>
              <a:gd name="T37" fmla="*/ 360 h 690"/>
              <a:gd name="T38" fmla="*/ 582 w 744"/>
              <a:gd name="T39" fmla="*/ 378 h 690"/>
              <a:gd name="T40" fmla="*/ 570 w 744"/>
              <a:gd name="T41" fmla="*/ 408 h 690"/>
              <a:gd name="T42" fmla="*/ 546 w 744"/>
              <a:gd name="T43" fmla="*/ 432 h 690"/>
              <a:gd name="T44" fmla="*/ 528 w 744"/>
              <a:gd name="T45" fmla="*/ 480 h 690"/>
              <a:gd name="T46" fmla="*/ 498 w 744"/>
              <a:gd name="T47" fmla="*/ 510 h 690"/>
              <a:gd name="T48" fmla="*/ 492 w 744"/>
              <a:gd name="T49" fmla="*/ 540 h 690"/>
              <a:gd name="T50" fmla="*/ 474 w 744"/>
              <a:gd name="T51" fmla="*/ 576 h 690"/>
              <a:gd name="T52" fmla="*/ 420 w 744"/>
              <a:gd name="T53" fmla="*/ 582 h 690"/>
              <a:gd name="T54" fmla="*/ 378 w 744"/>
              <a:gd name="T55" fmla="*/ 588 h 690"/>
              <a:gd name="T56" fmla="*/ 372 w 744"/>
              <a:gd name="T57" fmla="*/ 618 h 690"/>
              <a:gd name="T58" fmla="*/ 348 w 744"/>
              <a:gd name="T59" fmla="*/ 642 h 690"/>
              <a:gd name="T60" fmla="*/ 318 w 744"/>
              <a:gd name="T61" fmla="*/ 624 h 690"/>
              <a:gd name="T62" fmla="*/ 300 w 744"/>
              <a:gd name="T63" fmla="*/ 642 h 690"/>
              <a:gd name="T64" fmla="*/ 264 w 744"/>
              <a:gd name="T65" fmla="*/ 660 h 690"/>
              <a:gd name="T66" fmla="*/ 240 w 744"/>
              <a:gd name="T67" fmla="*/ 636 h 690"/>
              <a:gd name="T68" fmla="*/ 198 w 744"/>
              <a:gd name="T69" fmla="*/ 642 h 690"/>
              <a:gd name="T70" fmla="*/ 162 w 744"/>
              <a:gd name="T71" fmla="*/ 666 h 690"/>
              <a:gd name="T72" fmla="*/ 66 w 744"/>
              <a:gd name="T73" fmla="*/ 660 h 690"/>
              <a:gd name="T74" fmla="*/ 66 w 744"/>
              <a:gd name="T75" fmla="*/ 606 h 690"/>
              <a:gd name="T76" fmla="*/ 84 w 744"/>
              <a:gd name="T77" fmla="*/ 576 h 690"/>
              <a:gd name="T78" fmla="*/ 84 w 744"/>
              <a:gd name="T79" fmla="*/ 546 h 690"/>
              <a:gd name="T80" fmla="*/ 114 w 744"/>
              <a:gd name="T81" fmla="*/ 498 h 690"/>
              <a:gd name="T82" fmla="*/ 120 w 744"/>
              <a:gd name="T83" fmla="*/ 450 h 690"/>
              <a:gd name="T84" fmla="*/ 138 w 744"/>
              <a:gd name="T85" fmla="*/ 420 h 690"/>
              <a:gd name="T86" fmla="*/ 156 w 744"/>
              <a:gd name="T87" fmla="*/ 402 h 690"/>
              <a:gd name="T88" fmla="*/ 174 w 744"/>
              <a:gd name="T89" fmla="*/ 396 h 690"/>
              <a:gd name="T90" fmla="*/ 162 w 744"/>
              <a:gd name="T91" fmla="*/ 384 h 690"/>
              <a:gd name="T92" fmla="*/ 132 w 744"/>
              <a:gd name="T93" fmla="*/ 366 h 690"/>
              <a:gd name="T94" fmla="*/ 108 w 744"/>
              <a:gd name="T95" fmla="*/ 348 h 690"/>
              <a:gd name="T96" fmla="*/ 84 w 744"/>
              <a:gd name="T97" fmla="*/ 330 h 690"/>
              <a:gd name="T98" fmla="*/ 60 w 744"/>
              <a:gd name="T99" fmla="*/ 348 h 690"/>
              <a:gd name="T100" fmla="*/ 54 w 744"/>
              <a:gd name="T101" fmla="*/ 306 h 690"/>
              <a:gd name="T102" fmla="*/ 72 w 744"/>
              <a:gd name="T103" fmla="*/ 300 h 690"/>
              <a:gd name="T104" fmla="*/ 90 w 744"/>
              <a:gd name="T105" fmla="*/ 294 h 690"/>
              <a:gd name="T106" fmla="*/ 120 w 744"/>
              <a:gd name="T107" fmla="*/ 294 h 690"/>
              <a:gd name="T108" fmla="*/ 150 w 744"/>
              <a:gd name="T109" fmla="*/ 294 h 690"/>
              <a:gd name="T110" fmla="*/ 180 w 744"/>
              <a:gd name="T111" fmla="*/ 288 h 690"/>
              <a:gd name="T112" fmla="*/ 180 w 744"/>
              <a:gd name="T113" fmla="*/ 276 h 690"/>
              <a:gd name="T114" fmla="*/ 150 w 744"/>
              <a:gd name="T115" fmla="*/ 264 h 690"/>
              <a:gd name="T116" fmla="*/ 120 w 744"/>
              <a:gd name="T117" fmla="*/ 246 h 690"/>
              <a:gd name="T118" fmla="*/ 84 w 744"/>
              <a:gd name="T119" fmla="*/ 234 h 690"/>
              <a:gd name="T120" fmla="*/ 48 w 744"/>
              <a:gd name="T121" fmla="*/ 258 h 690"/>
              <a:gd name="T122" fmla="*/ 6 w 744"/>
              <a:gd name="T123" fmla="*/ 258 h 690"/>
              <a:gd name="T124" fmla="*/ 12 w 744"/>
              <a:gd name="T125" fmla="*/ 210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44" h="690">
                <a:moveTo>
                  <a:pt x="18" y="198"/>
                </a:moveTo>
                <a:lnTo>
                  <a:pt x="18" y="198"/>
                </a:lnTo>
                <a:lnTo>
                  <a:pt x="18" y="198"/>
                </a:lnTo>
                <a:lnTo>
                  <a:pt x="12" y="198"/>
                </a:lnTo>
                <a:lnTo>
                  <a:pt x="12" y="198"/>
                </a:lnTo>
                <a:lnTo>
                  <a:pt x="12" y="192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8" y="186"/>
                </a:lnTo>
                <a:lnTo>
                  <a:pt x="18" y="186"/>
                </a:lnTo>
                <a:lnTo>
                  <a:pt x="18" y="186"/>
                </a:lnTo>
                <a:lnTo>
                  <a:pt x="24" y="186"/>
                </a:lnTo>
                <a:lnTo>
                  <a:pt x="24" y="192"/>
                </a:lnTo>
                <a:lnTo>
                  <a:pt x="24" y="192"/>
                </a:lnTo>
                <a:lnTo>
                  <a:pt x="24" y="192"/>
                </a:lnTo>
                <a:lnTo>
                  <a:pt x="30" y="192"/>
                </a:lnTo>
                <a:lnTo>
                  <a:pt x="30" y="192"/>
                </a:lnTo>
                <a:lnTo>
                  <a:pt x="30" y="192"/>
                </a:lnTo>
                <a:lnTo>
                  <a:pt x="30" y="186"/>
                </a:lnTo>
                <a:lnTo>
                  <a:pt x="30" y="180"/>
                </a:lnTo>
                <a:lnTo>
                  <a:pt x="36" y="180"/>
                </a:lnTo>
                <a:lnTo>
                  <a:pt x="36" y="180"/>
                </a:lnTo>
                <a:lnTo>
                  <a:pt x="42" y="180"/>
                </a:lnTo>
                <a:lnTo>
                  <a:pt x="48" y="180"/>
                </a:lnTo>
                <a:lnTo>
                  <a:pt x="48" y="180"/>
                </a:lnTo>
                <a:lnTo>
                  <a:pt x="48" y="180"/>
                </a:lnTo>
                <a:lnTo>
                  <a:pt x="48" y="180"/>
                </a:lnTo>
                <a:lnTo>
                  <a:pt x="54" y="180"/>
                </a:lnTo>
                <a:lnTo>
                  <a:pt x="54" y="180"/>
                </a:lnTo>
                <a:lnTo>
                  <a:pt x="54" y="180"/>
                </a:lnTo>
                <a:lnTo>
                  <a:pt x="54" y="174"/>
                </a:lnTo>
                <a:lnTo>
                  <a:pt x="54" y="174"/>
                </a:lnTo>
                <a:lnTo>
                  <a:pt x="54" y="174"/>
                </a:lnTo>
                <a:lnTo>
                  <a:pt x="54" y="168"/>
                </a:lnTo>
                <a:lnTo>
                  <a:pt x="54" y="168"/>
                </a:lnTo>
                <a:lnTo>
                  <a:pt x="60" y="168"/>
                </a:lnTo>
                <a:lnTo>
                  <a:pt x="60" y="168"/>
                </a:lnTo>
                <a:lnTo>
                  <a:pt x="60" y="168"/>
                </a:lnTo>
                <a:lnTo>
                  <a:pt x="66" y="174"/>
                </a:lnTo>
                <a:lnTo>
                  <a:pt x="66" y="174"/>
                </a:lnTo>
                <a:lnTo>
                  <a:pt x="66" y="174"/>
                </a:lnTo>
                <a:lnTo>
                  <a:pt x="66" y="174"/>
                </a:lnTo>
                <a:lnTo>
                  <a:pt x="66" y="168"/>
                </a:lnTo>
                <a:lnTo>
                  <a:pt x="72" y="162"/>
                </a:lnTo>
                <a:lnTo>
                  <a:pt x="78" y="156"/>
                </a:lnTo>
                <a:lnTo>
                  <a:pt x="78" y="156"/>
                </a:lnTo>
                <a:lnTo>
                  <a:pt x="78" y="156"/>
                </a:lnTo>
                <a:lnTo>
                  <a:pt x="78" y="156"/>
                </a:lnTo>
                <a:lnTo>
                  <a:pt x="78" y="150"/>
                </a:lnTo>
                <a:lnTo>
                  <a:pt x="78" y="150"/>
                </a:lnTo>
                <a:lnTo>
                  <a:pt x="78" y="144"/>
                </a:lnTo>
                <a:lnTo>
                  <a:pt x="78" y="144"/>
                </a:lnTo>
                <a:lnTo>
                  <a:pt x="84" y="144"/>
                </a:lnTo>
                <a:lnTo>
                  <a:pt x="84" y="144"/>
                </a:lnTo>
                <a:lnTo>
                  <a:pt x="84" y="144"/>
                </a:lnTo>
                <a:lnTo>
                  <a:pt x="90" y="144"/>
                </a:lnTo>
                <a:lnTo>
                  <a:pt x="90" y="138"/>
                </a:lnTo>
                <a:lnTo>
                  <a:pt x="90" y="138"/>
                </a:lnTo>
                <a:lnTo>
                  <a:pt x="90" y="138"/>
                </a:lnTo>
                <a:lnTo>
                  <a:pt x="96" y="132"/>
                </a:lnTo>
                <a:lnTo>
                  <a:pt x="102" y="126"/>
                </a:lnTo>
                <a:lnTo>
                  <a:pt x="102" y="126"/>
                </a:lnTo>
                <a:lnTo>
                  <a:pt x="102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14" y="120"/>
                </a:lnTo>
                <a:lnTo>
                  <a:pt x="114" y="120"/>
                </a:lnTo>
                <a:lnTo>
                  <a:pt x="114" y="120"/>
                </a:lnTo>
                <a:lnTo>
                  <a:pt x="114" y="126"/>
                </a:lnTo>
                <a:lnTo>
                  <a:pt x="120" y="126"/>
                </a:lnTo>
                <a:lnTo>
                  <a:pt x="120" y="126"/>
                </a:lnTo>
                <a:lnTo>
                  <a:pt x="120" y="126"/>
                </a:lnTo>
                <a:lnTo>
                  <a:pt x="120" y="132"/>
                </a:lnTo>
                <a:lnTo>
                  <a:pt x="120" y="132"/>
                </a:lnTo>
                <a:lnTo>
                  <a:pt x="120" y="132"/>
                </a:lnTo>
                <a:lnTo>
                  <a:pt x="126" y="132"/>
                </a:lnTo>
                <a:lnTo>
                  <a:pt x="126" y="132"/>
                </a:lnTo>
                <a:lnTo>
                  <a:pt x="132" y="132"/>
                </a:lnTo>
                <a:lnTo>
                  <a:pt x="132" y="132"/>
                </a:lnTo>
                <a:lnTo>
                  <a:pt x="132" y="132"/>
                </a:lnTo>
                <a:lnTo>
                  <a:pt x="132" y="132"/>
                </a:lnTo>
                <a:lnTo>
                  <a:pt x="132" y="132"/>
                </a:lnTo>
                <a:lnTo>
                  <a:pt x="132" y="132"/>
                </a:lnTo>
                <a:lnTo>
                  <a:pt x="132" y="132"/>
                </a:lnTo>
                <a:lnTo>
                  <a:pt x="138" y="132"/>
                </a:lnTo>
                <a:lnTo>
                  <a:pt x="138" y="132"/>
                </a:lnTo>
                <a:lnTo>
                  <a:pt x="138" y="132"/>
                </a:lnTo>
                <a:lnTo>
                  <a:pt x="144" y="138"/>
                </a:lnTo>
                <a:lnTo>
                  <a:pt x="144" y="138"/>
                </a:lnTo>
                <a:lnTo>
                  <a:pt x="144" y="132"/>
                </a:lnTo>
                <a:lnTo>
                  <a:pt x="144" y="132"/>
                </a:lnTo>
                <a:lnTo>
                  <a:pt x="150" y="132"/>
                </a:lnTo>
                <a:lnTo>
                  <a:pt x="150" y="132"/>
                </a:lnTo>
                <a:lnTo>
                  <a:pt x="150" y="132"/>
                </a:lnTo>
                <a:lnTo>
                  <a:pt x="150" y="132"/>
                </a:lnTo>
                <a:lnTo>
                  <a:pt x="150" y="126"/>
                </a:lnTo>
                <a:lnTo>
                  <a:pt x="150" y="126"/>
                </a:lnTo>
                <a:lnTo>
                  <a:pt x="156" y="126"/>
                </a:lnTo>
                <a:lnTo>
                  <a:pt x="156" y="120"/>
                </a:lnTo>
                <a:lnTo>
                  <a:pt x="156" y="120"/>
                </a:lnTo>
                <a:lnTo>
                  <a:pt x="162" y="114"/>
                </a:lnTo>
                <a:lnTo>
                  <a:pt x="162" y="114"/>
                </a:lnTo>
                <a:lnTo>
                  <a:pt x="156" y="114"/>
                </a:lnTo>
                <a:lnTo>
                  <a:pt x="156" y="114"/>
                </a:lnTo>
                <a:lnTo>
                  <a:pt x="162" y="108"/>
                </a:lnTo>
                <a:lnTo>
                  <a:pt x="162" y="108"/>
                </a:lnTo>
                <a:lnTo>
                  <a:pt x="162" y="114"/>
                </a:lnTo>
                <a:lnTo>
                  <a:pt x="162" y="114"/>
                </a:lnTo>
                <a:lnTo>
                  <a:pt x="162" y="114"/>
                </a:lnTo>
                <a:lnTo>
                  <a:pt x="162" y="120"/>
                </a:lnTo>
                <a:lnTo>
                  <a:pt x="162" y="120"/>
                </a:lnTo>
                <a:lnTo>
                  <a:pt x="168" y="120"/>
                </a:lnTo>
                <a:lnTo>
                  <a:pt x="168" y="120"/>
                </a:lnTo>
                <a:lnTo>
                  <a:pt x="168" y="120"/>
                </a:lnTo>
                <a:lnTo>
                  <a:pt x="168" y="120"/>
                </a:lnTo>
                <a:lnTo>
                  <a:pt x="174" y="120"/>
                </a:lnTo>
                <a:lnTo>
                  <a:pt x="174" y="120"/>
                </a:lnTo>
                <a:lnTo>
                  <a:pt x="180" y="120"/>
                </a:lnTo>
                <a:lnTo>
                  <a:pt x="180" y="114"/>
                </a:lnTo>
                <a:lnTo>
                  <a:pt x="186" y="114"/>
                </a:lnTo>
                <a:lnTo>
                  <a:pt x="186" y="114"/>
                </a:lnTo>
                <a:lnTo>
                  <a:pt x="186" y="114"/>
                </a:lnTo>
                <a:lnTo>
                  <a:pt x="192" y="114"/>
                </a:lnTo>
                <a:lnTo>
                  <a:pt x="192" y="114"/>
                </a:lnTo>
                <a:lnTo>
                  <a:pt x="198" y="108"/>
                </a:lnTo>
                <a:lnTo>
                  <a:pt x="198" y="108"/>
                </a:lnTo>
                <a:lnTo>
                  <a:pt x="204" y="108"/>
                </a:lnTo>
                <a:lnTo>
                  <a:pt x="204" y="108"/>
                </a:lnTo>
                <a:lnTo>
                  <a:pt x="210" y="108"/>
                </a:lnTo>
                <a:lnTo>
                  <a:pt x="210" y="108"/>
                </a:lnTo>
                <a:lnTo>
                  <a:pt x="216" y="108"/>
                </a:lnTo>
                <a:lnTo>
                  <a:pt x="216" y="114"/>
                </a:lnTo>
                <a:lnTo>
                  <a:pt x="216" y="114"/>
                </a:lnTo>
                <a:lnTo>
                  <a:pt x="216" y="114"/>
                </a:lnTo>
                <a:lnTo>
                  <a:pt x="216" y="108"/>
                </a:lnTo>
                <a:lnTo>
                  <a:pt x="222" y="114"/>
                </a:lnTo>
                <a:lnTo>
                  <a:pt x="222" y="114"/>
                </a:lnTo>
                <a:lnTo>
                  <a:pt x="222" y="114"/>
                </a:lnTo>
                <a:lnTo>
                  <a:pt x="222" y="114"/>
                </a:lnTo>
                <a:lnTo>
                  <a:pt x="228" y="120"/>
                </a:lnTo>
                <a:lnTo>
                  <a:pt x="228" y="120"/>
                </a:lnTo>
                <a:lnTo>
                  <a:pt x="234" y="120"/>
                </a:lnTo>
                <a:lnTo>
                  <a:pt x="234" y="114"/>
                </a:lnTo>
                <a:lnTo>
                  <a:pt x="240" y="114"/>
                </a:lnTo>
                <a:lnTo>
                  <a:pt x="240" y="114"/>
                </a:lnTo>
                <a:lnTo>
                  <a:pt x="240" y="114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52" y="120"/>
                </a:lnTo>
                <a:lnTo>
                  <a:pt x="252" y="126"/>
                </a:lnTo>
                <a:lnTo>
                  <a:pt x="258" y="126"/>
                </a:lnTo>
                <a:lnTo>
                  <a:pt x="264" y="126"/>
                </a:lnTo>
                <a:lnTo>
                  <a:pt x="264" y="126"/>
                </a:lnTo>
                <a:lnTo>
                  <a:pt x="264" y="120"/>
                </a:lnTo>
                <a:lnTo>
                  <a:pt x="270" y="120"/>
                </a:lnTo>
                <a:lnTo>
                  <a:pt x="270" y="120"/>
                </a:lnTo>
                <a:lnTo>
                  <a:pt x="270" y="132"/>
                </a:lnTo>
                <a:lnTo>
                  <a:pt x="276" y="132"/>
                </a:lnTo>
                <a:lnTo>
                  <a:pt x="276" y="132"/>
                </a:lnTo>
                <a:lnTo>
                  <a:pt x="276" y="132"/>
                </a:lnTo>
                <a:lnTo>
                  <a:pt x="282" y="132"/>
                </a:lnTo>
                <a:lnTo>
                  <a:pt x="282" y="132"/>
                </a:lnTo>
                <a:lnTo>
                  <a:pt x="282" y="132"/>
                </a:lnTo>
                <a:lnTo>
                  <a:pt x="282" y="138"/>
                </a:lnTo>
                <a:lnTo>
                  <a:pt x="288" y="138"/>
                </a:lnTo>
                <a:lnTo>
                  <a:pt x="288" y="144"/>
                </a:lnTo>
                <a:lnTo>
                  <a:pt x="294" y="144"/>
                </a:lnTo>
                <a:lnTo>
                  <a:pt x="300" y="150"/>
                </a:lnTo>
                <a:lnTo>
                  <a:pt x="300" y="150"/>
                </a:lnTo>
                <a:lnTo>
                  <a:pt x="306" y="150"/>
                </a:lnTo>
                <a:lnTo>
                  <a:pt x="306" y="150"/>
                </a:lnTo>
                <a:lnTo>
                  <a:pt x="312" y="144"/>
                </a:lnTo>
                <a:lnTo>
                  <a:pt x="318" y="144"/>
                </a:lnTo>
                <a:lnTo>
                  <a:pt x="318" y="144"/>
                </a:lnTo>
                <a:lnTo>
                  <a:pt x="318" y="150"/>
                </a:lnTo>
                <a:lnTo>
                  <a:pt x="324" y="150"/>
                </a:lnTo>
                <a:lnTo>
                  <a:pt x="324" y="150"/>
                </a:lnTo>
                <a:lnTo>
                  <a:pt x="330" y="156"/>
                </a:lnTo>
                <a:lnTo>
                  <a:pt x="330" y="156"/>
                </a:lnTo>
                <a:lnTo>
                  <a:pt x="330" y="162"/>
                </a:lnTo>
                <a:lnTo>
                  <a:pt x="336" y="162"/>
                </a:lnTo>
                <a:lnTo>
                  <a:pt x="336" y="162"/>
                </a:lnTo>
                <a:lnTo>
                  <a:pt x="336" y="156"/>
                </a:lnTo>
                <a:lnTo>
                  <a:pt x="342" y="156"/>
                </a:lnTo>
                <a:lnTo>
                  <a:pt x="348" y="156"/>
                </a:lnTo>
                <a:lnTo>
                  <a:pt x="348" y="156"/>
                </a:lnTo>
                <a:lnTo>
                  <a:pt x="354" y="156"/>
                </a:lnTo>
                <a:lnTo>
                  <a:pt x="354" y="162"/>
                </a:lnTo>
                <a:lnTo>
                  <a:pt x="354" y="162"/>
                </a:lnTo>
                <a:lnTo>
                  <a:pt x="366" y="162"/>
                </a:lnTo>
                <a:lnTo>
                  <a:pt x="372" y="162"/>
                </a:lnTo>
                <a:lnTo>
                  <a:pt x="378" y="162"/>
                </a:lnTo>
                <a:lnTo>
                  <a:pt x="384" y="162"/>
                </a:lnTo>
                <a:lnTo>
                  <a:pt x="390" y="168"/>
                </a:lnTo>
                <a:lnTo>
                  <a:pt x="396" y="168"/>
                </a:lnTo>
                <a:lnTo>
                  <a:pt x="396" y="168"/>
                </a:lnTo>
                <a:lnTo>
                  <a:pt x="402" y="168"/>
                </a:lnTo>
                <a:lnTo>
                  <a:pt x="402" y="162"/>
                </a:lnTo>
                <a:lnTo>
                  <a:pt x="408" y="162"/>
                </a:lnTo>
                <a:lnTo>
                  <a:pt x="408" y="162"/>
                </a:lnTo>
                <a:lnTo>
                  <a:pt x="408" y="162"/>
                </a:lnTo>
                <a:lnTo>
                  <a:pt x="414" y="156"/>
                </a:lnTo>
                <a:lnTo>
                  <a:pt x="414" y="156"/>
                </a:lnTo>
                <a:lnTo>
                  <a:pt x="414" y="156"/>
                </a:lnTo>
                <a:lnTo>
                  <a:pt x="414" y="156"/>
                </a:lnTo>
                <a:lnTo>
                  <a:pt x="420" y="150"/>
                </a:lnTo>
                <a:lnTo>
                  <a:pt x="426" y="150"/>
                </a:lnTo>
                <a:lnTo>
                  <a:pt x="426" y="156"/>
                </a:lnTo>
                <a:lnTo>
                  <a:pt x="426" y="156"/>
                </a:lnTo>
                <a:lnTo>
                  <a:pt x="432" y="150"/>
                </a:lnTo>
                <a:lnTo>
                  <a:pt x="432" y="150"/>
                </a:lnTo>
                <a:lnTo>
                  <a:pt x="432" y="150"/>
                </a:lnTo>
                <a:lnTo>
                  <a:pt x="432" y="144"/>
                </a:lnTo>
                <a:lnTo>
                  <a:pt x="432" y="144"/>
                </a:lnTo>
                <a:lnTo>
                  <a:pt x="438" y="138"/>
                </a:lnTo>
                <a:lnTo>
                  <a:pt x="438" y="138"/>
                </a:lnTo>
                <a:lnTo>
                  <a:pt x="438" y="138"/>
                </a:lnTo>
                <a:lnTo>
                  <a:pt x="444" y="132"/>
                </a:lnTo>
                <a:lnTo>
                  <a:pt x="444" y="132"/>
                </a:lnTo>
                <a:lnTo>
                  <a:pt x="450" y="126"/>
                </a:lnTo>
                <a:lnTo>
                  <a:pt x="456" y="126"/>
                </a:lnTo>
                <a:lnTo>
                  <a:pt x="462" y="126"/>
                </a:lnTo>
                <a:lnTo>
                  <a:pt x="462" y="126"/>
                </a:lnTo>
                <a:lnTo>
                  <a:pt x="468" y="120"/>
                </a:lnTo>
                <a:lnTo>
                  <a:pt x="468" y="120"/>
                </a:lnTo>
                <a:lnTo>
                  <a:pt x="474" y="120"/>
                </a:lnTo>
                <a:lnTo>
                  <a:pt x="480" y="120"/>
                </a:lnTo>
                <a:lnTo>
                  <a:pt x="480" y="120"/>
                </a:lnTo>
                <a:lnTo>
                  <a:pt x="480" y="114"/>
                </a:lnTo>
                <a:lnTo>
                  <a:pt x="480" y="114"/>
                </a:lnTo>
                <a:lnTo>
                  <a:pt x="480" y="114"/>
                </a:lnTo>
                <a:lnTo>
                  <a:pt x="486" y="108"/>
                </a:lnTo>
                <a:lnTo>
                  <a:pt x="486" y="108"/>
                </a:lnTo>
                <a:lnTo>
                  <a:pt x="486" y="108"/>
                </a:lnTo>
                <a:lnTo>
                  <a:pt x="492" y="102"/>
                </a:lnTo>
                <a:lnTo>
                  <a:pt x="492" y="96"/>
                </a:lnTo>
                <a:lnTo>
                  <a:pt x="504" y="96"/>
                </a:lnTo>
                <a:lnTo>
                  <a:pt x="504" y="90"/>
                </a:lnTo>
                <a:lnTo>
                  <a:pt x="510" y="90"/>
                </a:lnTo>
                <a:lnTo>
                  <a:pt x="510" y="84"/>
                </a:lnTo>
                <a:lnTo>
                  <a:pt x="516" y="84"/>
                </a:lnTo>
                <a:lnTo>
                  <a:pt x="522" y="84"/>
                </a:lnTo>
                <a:lnTo>
                  <a:pt x="522" y="78"/>
                </a:lnTo>
                <a:lnTo>
                  <a:pt x="528" y="78"/>
                </a:lnTo>
                <a:lnTo>
                  <a:pt x="528" y="78"/>
                </a:lnTo>
                <a:lnTo>
                  <a:pt x="534" y="78"/>
                </a:lnTo>
                <a:lnTo>
                  <a:pt x="534" y="78"/>
                </a:lnTo>
                <a:lnTo>
                  <a:pt x="534" y="78"/>
                </a:lnTo>
                <a:lnTo>
                  <a:pt x="540" y="78"/>
                </a:lnTo>
                <a:lnTo>
                  <a:pt x="540" y="84"/>
                </a:lnTo>
                <a:lnTo>
                  <a:pt x="546" y="78"/>
                </a:lnTo>
                <a:lnTo>
                  <a:pt x="546" y="78"/>
                </a:lnTo>
                <a:lnTo>
                  <a:pt x="552" y="84"/>
                </a:lnTo>
                <a:lnTo>
                  <a:pt x="552" y="84"/>
                </a:lnTo>
                <a:lnTo>
                  <a:pt x="564" y="84"/>
                </a:lnTo>
                <a:lnTo>
                  <a:pt x="570" y="84"/>
                </a:lnTo>
                <a:lnTo>
                  <a:pt x="570" y="78"/>
                </a:lnTo>
                <a:lnTo>
                  <a:pt x="576" y="78"/>
                </a:lnTo>
                <a:lnTo>
                  <a:pt x="576" y="78"/>
                </a:lnTo>
                <a:lnTo>
                  <a:pt x="576" y="72"/>
                </a:lnTo>
                <a:lnTo>
                  <a:pt x="576" y="72"/>
                </a:lnTo>
                <a:lnTo>
                  <a:pt x="582" y="72"/>
                </a:lnTo>
                <a:lnTo>
                  <a:pt x="582" y="60"/>
                </a:lnTo>
                <a:lnTo>
                  <a:pt x="582" y="60"/>
                </a:lnTo>
                <a:lnTo>
                  <a:pt x="582" y="60"/>
                </a:lnTo>
                <a:lnTo>
                  <a:pt x="588" y="54"/>
                </a:lnTo>
                <a:lnTo>
                  <a:pt x="594" y="48"/>
                </a:lnTo>
                <a:lnTo>
                  <a:pt x="594" y="48"/>
                </a:lnTo>
                <a:lnTo>
                  <a:pt x="594" y="42"/>
                </a:lnTo>
                <a:lnTo>
                  <a:pt x="600" y="36"/>
                </a:lnTo>
                <a:lnTo>
                  <a:pt x="600" y="36"/>
                </a:lnTo>
                <a:lnTo>
                  <a:pt x="600" y="30"/>
                </a:lnTo>
                <a:lnTo>
                  <a:pt x="606" y="30"/>
                </a:lnTo>
                <a:lnTo>
                  <a:pt x="612" y="30"/>
                </a:lnTo>
                <a:lnTo>
                  <a:pt x="618" y="30"/>
                </a:lnTo>
                <a:lnTo>
                  <a:pt x="624" y="24"/>
                </a:lnTo>
                <a:lnTo>
                  <a:pt x="624" y="18"/>
                </a:lnTo>
                <a:lnTo>
                  <a:pt x="624" y="18"/>
                </a:lnTo>
                <a:lnTo>
                  <a:pt x="624" y="12"/>
                </a:lnTo>
                <a:lnTo>
                  <a:pt x="624" y="6"/>
                </a:lnTo>
                <a:lnTo>
                  <a:pt x="618" y="6"/>
                </a:lnTo>
                <a:lnTo>
                  <a:pt x="618" y="0"/>
                </a:lnTo>
                <a:lnTo>
                  <a:pt x="618" y="0"/>
                </a:lnTo>
                <a:lnTo>
                  <a:pt x="624" y="0"/>
                </a:lnTo>
                <a:lnTo>
                  <a:pt x="624" y="0"/>
                </a:lnTo>
                <a:lnTo>
                  <a:pt x="624" y="0"/>
                </a:lnTo>
                <a:lnTo>
                  <a:pt x="624" y="0"/>
                </a:lnTo>
                <a:lnTo>
                  <a:pt x="624" y="6"/>
                </a:lnTo>
                <a:lnTo>
                  <a:pt x="624" y="6"/>
                </a:lnTo>
                <a:lnTo>
                  <a:pt x="630" y="6"/>
                </a:lnTo>
                <a:lnTo>
                  <a:pt x="630" y="6"/>
                </a:lnTo>
                <a:lnTo>
                  <a:pt x="630" y="12"/>
                </a:lnTo>
                <a:lnTo>
                  <a:pt x="636" y="12"/>
                </a:lnTo>
                <a:lnTo>
                  <a:pt x="636" y="12"/>
                </a:lnTo>
                <a:lnTo>
                  <a:pt x="642" y="12"/>
                </a:lnTo>
                <a:lnTo>
                  <a:pt x="642" y="12"/>
                </a:lnTo>
                <a:lnTo>
                  <a:pt x="642" y="12"/>
                </a:lnTo>
                <a:lnTo>
                  <a:pt x="648" y="18"/>
                </a:lnTo>
                <a:lnTo>
                  <a:pt x="648" y="18"/>
                </a:lnTo>
                <a:lnTo>
                  <a:pt x="648" y="18"/>
                </a:lnTo>
                <a:lnTo>
                  <a:pt x="648" y="18"/>
                </a:lnTo>
                <a:lnTo>
                  <a:pt x="648" y="24"/>
                </a:lnTo>
                <a:lnTo>
                  <a:pt x="648" y="24"/>
                </a:lnTo>
                <a:lnTo>
                  <a:pt x="648" y="30"/>
                </a:lnTo>
                <a:lnTo>
                  <a:pt x="648" y="30"/>
                </a:lnTo>
                <a:lnTo>
                  <a:pt x="648" y="30"/>
                </a:lnTo>
                <a:lnTo>
                  <a:pt x="648" y="30"/>
                </a:lnTo>
                <a:lnTo>
                  <a:pt x="648" y="36"/>
                </a:lnTo>
                <a:lnTo>
                  <a:pt x="648" y="36"/>
                </a:lnTo>
                <a:lnTo>
                  <a:pt x="648" y="36"/>
                </a:lnTo>
                <a:lnTo>
                  <a:pt x="648" y="36"/>
                </a:lnTo>
                <a:lnTo>
                  <a:pt x="654" y="42"/>
                </a:lnTo>
                <a:lnTo>
                  <a:pt x="654" y="42"/>
                </a:lnTo>
                <a:lnTo>
                  <a:pt x="660" y="42"/>
                </a:lnTo>
                <a:lnTo>
                  <a:pt x="660" y="42"/>
                </a:lnTo>
                <a:lnTo>
                  <a:pt x="660" y="42"/>
                </a:lnTo>
                <a:lnTo>
                  <a:pt x="660" y="42"/>
                </a:lnTo>
                <a:lnTo>
                  <a:pt x="666" y="48"/>
                </a:lnTo>
                <a:lnTo>
                  <a:pt x="666" y="48"/>
                </a:lnTo>
                <a:lnTo>
                  <a:pt x="666" y="48"/>
                </a:lnTo>
                <a:lnTo>
                  <a:pt x="666" y="54"/>
                </a:lnTo>
                <a:lnTo>
                  <a:pt x="660" y="54"/>
                </a:lnTo>
                <a:lnTo>
                  <a:pt x="660" y="54"/>
                </a:lnTo>
                <a:lnTo>
                  <a:pt x="660" y="60"/>
                </a:lnTo>
                <a:lnTo>
                  <a:pt x="660" y="60"/>
                </a:lnTo>
                <a:lnTo>
                  <a:pt x="660" y="60"/>
                </a:lnTo>
                <a:lnTo>
                  <a:pt x="660" y="60"/>
                </a:lnTo>
                <a:lnTo>
                  <a:pt x="666" y="60"/>
                </a:lnTo>
                <a:lnTo>
                  <a:pt x="666" y="54"/>
                </a:lnTo>
                <a:lnTo>
                  <a:pt x="666" y="54"/>
                </a:lnTo>
                <a:lnTo>
                  <a:pt x="666" y="48"/>
                </a:lnTo>
                <a:lnTo>
                  <a:pt x="666" y="48"/>
                </a:lnTo>
                <a:lnTo>
                  <a:pt x="672" y="48"/>
                </a:lnTo>
                <a:lnTo>
                  <a:pt x="678" y="60"/>
                </a:lnTo>
                <a:lnTo>
                  <a:pt x="714" y="96"/>
                </a:lnTo>
                <a:lnTo>
                  <a:pt x="744" y="120"/>
                </a:lnTo>
                <a:lnTo>
                  <a:pt x="738" y="126"/>
                </a:lnTo>
                <a:lnTo>
                  <a:pt x="732" y="132"/>
                </a:lnTo>
                <a:lnTo>
                  <a:pt x="720" y="156"/>
                </a:lnTo>
                <a:lnTo>
                  <a:pt x="714" y="168"/>
                </a:lnTo>
                <a:lnTo>
                  <a:pt x="696" y="186"/>
                </a:lnTo>
                <a:lnTo>
                  <a:pt x="690" y="186"/>
                </a:lnTo>
                <a:lnTo>
                  <a:pt x="678" y="204"/>
                </a:lnTo>
                <a:lnTo>
                  <a:pt x="678" y="210"/>
                </a:lnTo>
                <a:lnTo>
                  <a:pt x="672" y="222"/>
                </a:lnTo>
                <a:lnTo>
                  <a:pt x="660" y="228"/>
                </a:lnTo>
                <a:lnTo>
                  <a:pt x="654" y="240"/>
                </a:lnTo>
                <a:lnTo>
                  <a:pt x="648" y="240"/>
                </a:lnTo>
                <a:lnTo>
                  <a:pt x="642" y="246"/>
                </a:lnTo>
                <a:lnTo>
                  <a:pt x="642" y="252"/>
                </a:lnTo>
                <a:lnTo>
                  <a:pt x="642" y="252"/>
                </a:lnTo>
                <a:lnTo>
                  <a:pt x="636" y="258"/>
                </a:lnTo>
                <a:lnTo>
                  <a:pt x="636" y="258"/>
                </a:lnTo>
                <a:lnTo>
                  <a:pt x="636" y="264"/>
                </a:lnTo>
                <a:lnTo>
                  <a:pt x="630" y="264"/>
                </a:lnTo>
                <a:lnTo>
                  <a:pt x="630" y="282"/>
                </a:lnTo>
                <a:lnTo>
                  <a:pt x="630" y="282"/>
                </a:lnTo>
                <a:lnTo>
                  <a:pt x="624" y="294"/>
                </a:lnTo>
                <a:lnTo>
                  <a:pt x="618" y="300"/>
                </a:lnTo>
                <a:lnTo>
                  <a:pt x="600" y="306"/>
                </a:lnTo>
                <a:lnTo>
                  <a:pt x="600" y="306"/>
                </a:lnTo>
                <a:lnTo>
                  <a:pt x="600" y="306"/>
                </a:lnTo>
                <a:lnTo>
                  <a:pt x="600" y="306"/>
                </a:lnTo>
                <a:lnTo>
                  <a:pt x="606" y="306"/>
                </a:lnTo>
                <a:lnTo>
                  <a:pt x="606" y="306"/>
                </a:lnTo>
                <a:lnTo>
                  <a:pt x="606" y="306"/>
                </a:lnTo>
                <a:lnTo>
                  <a:pt x="606" y="312"/>
                </a:lnTo>
                <a:lnTo>
                  <a:pt x="606" y="312"/>
                </a:lnTo>
                <a:lnTo>
                  <a:pt x="606" y="312"/>
                </a:lnTo>
                <a:lnTo>
                  <a:pt x="606" y="312"/>
                </a:lnTo>
                <a:lnTo>
                  <a:pt x="606" y="318"/>
                </a:lnTo>
                <a:lnTo>
                  <a:pt x="606" y="318"/>
                </a:lnTo>
                <a:lnTo>
                  <a:pt x="606" y="318"/>
                </a:lnTo>
                <a:lnTo>
                  <a:pt x="606" y="324"/>
                </a:lnTo>
                <a:lnTo>
                  <a:pt x="606" y="324"/>
                </a:lnTo>
                <a:lnTo>
                  <a:pt x="600" y="324"/>
                </a:lnTo>
                <a:lnTo>
                  <a:pt x="600" y="324"/>
                </a:lnTo>
                <a:lnTo>
                  <a:pt x="600" y="324"/>
                </a:lnTo>
                <a:lnTo>
                  <a:pt x="600" y="324"/>
                </a:lnTo>
                <a:lnTo>
                  <a:pt x="600" y="324"/>
                </a:lnTo>
                <a:lnTo>
                  <a:pt x="594" y="324"/>
                </a:lnTo>
                <a:lnTo>
                  <a:pt x="600" y="330"/>
                </a:lnTo>
                <a:lnTo>
                  <a:pt x="600" y="330"/>
                </a:lnTo>
                <a:lnTo>
                  <a:pt x="594" y="330"/>
                </a:lnTo>
                <a:lnTo>
                  <a:pt x="594" y="330"/>
                </a:lnTo>
                <a:lnTo>
                  <a:pt x="594" y="330"/>
                </a:lnTo>
                <a:lnTo>
                  <a:pt x="594" y="336"/>
                </a:lnTo>
                <a:lnTo>
                  <a:pt x="594" y="336"/>
                </a:lnTo>
                <a:lnTo>
                  <a:pt x="594" y="336"/>
                </a:lnTo>
                <a:lnTo>
                  <a:pt x="588" y="336"/>
                </a:lnTo>
                <a:lnTo>
                  <a:pt x="588" y="336"/>
                </a:lnTo>
                <a:lnTo>
                  <a:pt x="582" y="336"/>
                </a:lnTo>
                <a:lnTo>
                  <a:pt x="582" y="336"/>
                </a:lnTo>
                <a:lnTo>
                  <a:pt x="582" y="336"/>
                </a:lnTo>
                <a:lnTo>
                  <a:pt x="582" y="342"/>
                </a:lnTo>
                <a:lnTo>
                  <a:pt x="582" y="342"/>
                </a:lnTo>
                <a:lnTo>
                  <a:pt x="582" y="342"/>
                </a:lnTo>
                <a:lnTo>
                  <a:pt x="582" y="342"/>
                </a:lnTo>
                <a:lnTo>
                  <a:pt x="582" y="342"/>
                </a:lnTo>
                <a:lnTo>
                  <a:pt x="582" y="342"/>
                </a:lnTo>
                <a:lnTo>
                  <a:pt x="582" y="348"/>
                </a:lnTo>
                <a:lnTo>
                  <a:pt x="582" y="348"/>
                </a:lnTo>
                <a:lnTo>
                  <a:pt x="582" y="348"/>
                </a:lnTo>
                <a:lnTo>
                  <a:pt x="582" y="348"/>
                </a:lnTo>
                <a:lnTo>
                  <a:pt x="588" y="348"/>
                </a:lnTo>
                <a:lnTo>
                  <a:pt x="588" y="354"/>
                </a:lnTo>
                <a:lnTo>
                  <a:pt x="588" y="354"/>
                </a:lnTo>
                <a:lnTo>
                  <a:pt x="588" y="354"/>
                </a:lnTo>
                <a:lnTo>
                  <a:pt x="588" y="354"/>
                </a:lnTo>
                <a:lnTo>
                  <a:pt x="588" y="360"/>
                </a:lnTo>
                <a:lnTo>
                  <a:pt x="582" y="360"/>
                </a:lnTo>
                <a:lnTo>
                  <a:pt x="582" y="360"/>
                </a:lnTo>
                <a:lnTo>
                  <a:pt x="588" y="360"/>
                </a:lnTo>
                <a:lnTo>
                  <a:pt x="588" y="366"/>
                </a:lnTo>
                <a:lnTo>
                  <a:pt x="588" y="366"/>
                </a:lnTo>
                <a:lnTo>
                  <a:pt x="582" y="366"/>
                </a:lnTo>
                <a:lnTo>
                  <a:pt x="588" y="366"/>
                </a:lnTo>
                <a:lnTo>
                  <a:pt x="588" y="366"/>
                </a:lnTo>
                <a:lnTo>
                  <a:pt x="588" y="372"/>
                </a:lnTo>
                <a:lnTo>
                  <a:pt x="594" y="372"/>
                </a:lnTo>
                <a:lnTo>
                  <a:pt x="594" y="372"/>
                </a:lnTo>
                <a:lnTo>
                  <a:pt x="594" y="372"/>
                </a:lnTo>
                <a:lnTo>
                  <a:pt x="594" y="372"/>
                </a:lnTo>
                <a:lnTo>
                  <a:pt x="594" y="372"/>
                </a:lnTo>
                <a:lnTo>
                  <a:pt x="588" y="378"/>
                </a:lnTo>
                <a:lnTo>
                  <a:pt x="588" y="378"/>
                </a:lnTo>
                <a:lnTo>
                  <a:pt x="588" y="378"/>
                </a:lnTo>
                <a:lnTo>
                  <a:pt x="588" y="378"/>
                </a:lnTo>
                <a:lnTo>
                  <a:pt x="588" y="378"/>
                </a:lnTo>
                <a:lnTo>
                  <a:pt x="582" y="378"/>
                </a:lnTo>
                <a:lnTo>
                  <a:pt x="582" y="378"/>
                </a:lnTo>
                <a:lnTo>
                  <a:pt x="582" y="378"/>
                </a:lnTo>
                <a:lnTo>
                  <a:pt x="582" y="378"/>
                </a:lnTo>
                <a:lnTo>
                  <a:pt x="582" y="378"/>
                </a:lnTo>
                <a:lnTo>
                  <a:pt x="582" y="378"/>
                </a:lnTo>
                <a:lnTo>
                  <a:pt x="582" y="378"/>
                </a:lnTo>
                <a:lnTo>
                  <a:pt x="582" y="378"/>
                </a:lnTo>
                <a:lnTo>
                  <a:pt x="582" y="384"/>
                </a:lnTo>
                <a:lnTo>
                  <a:pt x="582" y="384"/>
                </a:lnTo>
                <a:lnTo>
                  <a:pt x="582" y="384"/>
                </a:lnTo>
                <a:lnTo>
                  <a:pt x="582" y="390"/>
                </a:lnTo>
                <a:lnTo>
                  <a:pt x="582" y="390"/>
                </a:lnTo>
                <a:lnTo>
                  <a:pt x="582" y="384"/>
                </a:lnTo>
                <a:lnTo>
                  <a:pt x="582" y="390"/>
                </a:lnTo>
                <a:lnTo>
                  <a:pt x="582" y="390"/>
                </a:lnTo>
                <a:lnTo>
                  <a:pt x="576" y="390"/>
                </a:lnTo>
                <a:lnTo>
                  <a:pt x="576" y="390"/>
                </a:lnTo>
                <a:lnTo>
                  <a:pt x="576" y="396"/>
                </a:lnTo>
                <a:lnTo>
                  <a:pt x="570" y="396"/>
                </a:lnTo>
                <a:lnTo>
                  <a:pt x="570" y="396"/>
                </a:lnTo>
                <a:lnTo>
                  <a:pt x="570" y="402"/>
                </a:lnTo>
                <a:lnTo>
                  <a:pt x="570" y="402"/>
                </a:lnTo>
                <a:lnTo>
                  <a:pt x="570" y="402"/>
                </a:lnTo>
                <a:lnTo>
                  <a:pt x="570" y="402"/>
                </a:lnTo>
                <a:lnTo>
                  <a:pt x="570" y="402"/>
                </a:lnTo>
                <a:lnTo>
                  <a:pt x="570" y="408"/>
                </a:lnTo>
                <a:lnTo>
                  <a:pt x="570" y="408"/>
                </a:lnTo>
                <a:lnTo>
                  <a:pt x="570" y="408"/>
                </a:lnTo>
                <a:lnTo>
                  <a:pt x="570" y="408"/>
                </a:lnTo>
                <a:lnTo>
                  <a:pt x="576" y="408"/>
                </a:lnTo>
                <a:lnTo>
                  <a:pt x="576" y="414"/>
                </a:lnTo>
                <a:lnTo>
                  <a:pt x="570" y="420"/>
                </a:lnTo>
                <a:lnTo>
                  <a:pt x="570" y="420"/>
                </a:lnTo>
                <a:lnTo>
                  <a:pt x="570" y="420"/>
                </a:lnTo>
                <a:lnTo>
                  <a:pt x="570" y="420"/>
                </a:lnTo>
                <a:lnTo>
                  <a:pt x="570" y="420"/>
                </a:lnTo>
                <a:lnTo>
                  <a:pt x="564" y="420"/>
                </a:lnTo>
                <a:lnTo>
                  <a:pt x="564" y="420"/>
                </a:lnTo>
                <a:lnTo>
                  <a:pt x="564" y="420"/>
                </a:lnTo>
                <a:lnTo>
                  <a:pt x="558" y="426"/>
                </a:lnTo>
                <a:lnTo>
                  <a:pt x="558" y="426"/>
                </a:lnTo>
                <a:lnTo>
                  <a:pt x="558" y="426"/>
                </a:lnTo>
                <a:lnTo>
                  <a:pt x="552" y="426"/>
                </a:lnTo>
                <a:lnTo>
                  <a:pt x="552" y="432"/>
                </a:lnTo>
                <a:lnTo>
                  <a:pt x="552" y="432"/>
                </a:lnTo>
                <a:lnTo>
                  <a:pt x="552" y="432"/>
                </a:lnTo>
                <a:lnTo>
                  <a:pt x="552" y="432"/>
                </a:lnTo>
                <a:lnTo>
                  <a:pt x="546" y="432"/>
                </a:lnTo>
                <a:lnTo>
                  <a:pt x="546" y="432"/>
                </a:lnTo>
                <a:lnTo>
                  <a:pt x="546" y="432"/>
                </a:lnTo>
                <a:lnTo>
                  <a:pt x="546" y="432"/>
                </a:lnTo>
                <a:lnTo>
                  <a:pt x="540" y="438"/>
                </a:lnTo>
                <a:lnTo>
                  <a:pt x="540" y="438"/>
                </a:lnTo>
                <a:lnTo>
                  <a:pt x="546" y="438"/>
                </a:lnTo>
                <a:lnTo>
                  <a:pt x="540" y="444"/>
                </a:lnTo>
                <a:lnTo>
                  <a:pt x="546" y="450"/>
                </a:lnTo>
                <a:lnTo>
                  <a:pt x="540" y="456"/>
                </a:lnTo>
                <a:lnTo>
                  <a:pt x="546" y="456"/>
                </a:lnTo>
                <a:lnTo>
                  <a:pt x="540" y="456"/>
                </a:lnTo>
                <a:lnTo>
                  <a:pt x="540" y="462"/>
                </a:lnTo>
                <a:lnTo>
                  <a:pt x="540" y="462"/>
                </a:lnTo>
                <a:lnTo>
                  <a:pt x="540" y="462"/>
                </a:lnTo>
                <a:lnTo>
                  <a:pt x="540" y="468"/>
                </a:lnTo>
                <a:lnTo>
                  <a:pt x="540" y="468"/>
                </a:lnTo>
                <a:lnTo>
                  <a:pt x="534" y="468"/>
                </a:lnTo>
                <a:lnTo>
                  <a:pt x="534" y="468"/>
                </a:lnTo>
                <a:lnTo>
                  <a:pt x="534" y="474"/>
                </a:lnTo>
                <a:lnTo>
                  <a:pt x="528" y="474"/>
                </a:lnTo>
                <a:lnTo>
                  <a:pt x="528" y="480"/>
                </a:lnTo>
                <a:lnTo>
                  <a:pt x="528" y="480"/>
                </a:lnTo>
                <a:lnTo>
                  <a:pt x="528" y="486"/>
                </a:lnTo>
                <a:lnTo>
                  <a:pt x="528" y="486"/>
                </a:lnTo>
                <a:lnTo>
                  <a:pt x="528" y="492"/>
                </a:lnTo>
                <a:lnTo>
                  <a:pt x="522" y="492"/>
                </a:lnTo>
                <a:lnTo>
                  <a:pt x="522" y="498"/>
                </a:lnTo>
                <a:lnTo>
                  <a:pt x="522" y="498"/>
                </a:lnTo>
                <a:lnTo>
                  <a:pt x="522" y="498"/>
                </a:lnTo>
                <a:lnTo>
                  <a:pt x="516" y="492"/>
                </a:lnTo>
                <a:lnTo>
                  <a:pt x="516" y="492"/>
                </a:lnTo>
                <a:lnTo>
                  <a:pt x="510" y="492"/>
                </a:lnTo>
                <a:lnTo>
                  <a:pt x="510" y="492"/>
                </a:lnTo>
                <a:lnTo>
                  <a:pt x="510" y="492"/>
                </a:lnTo>
                <a:lnTo>
                  <a:pt x="510" y="492"/>
                </a:lnTo>
                <a:lnTo>
                  <a:pt x="510" y="492"/>
                </a:lnTo>
                <a:lnTo>
                  <a:pt x="504" y="498"/>
                </a:lnTo>
                <a:lnTo>
                  <a:pt x="504" y="498"/>
                </a:lnTo>
                <a:lnTo>
                  <a:pt x="504" y="498"/>
                </a:lnTo>
                <a:lnTo>
                  <a:pt x="504" y="498"/>
                </a:lnTo>
                <a:lnTo>
                  <a:pt x="504" y="504"/>
                </a:lnTo>
                <a:lnTo>
                  <a:pt x="498" y="504"/>
                </a:lnTo>
                <a:lnTo>
                  <a:pt x="498" y="510"/>
                </a:lnTo>
                <a:lnTo>
                  <a:pt x="498" y="510"/>
                </a:lnTo>
                <a:lnTo>
                  <a:pt x="504" y="510"/>
                </a:lnTo>
                <a:lnTo>
                  <a:pt x="504" y="510"/>
                </a:lnTo>
                <a:lnTo>
                  <a:pt x="498" y="516"/>
                </a:lnTo>
                <a:lnTo>
                  <a:pt x="498" y="516"/>
                </a:lnTo>
                <a:lnTo>
                  <a:pt x="498" y="522"/>
                </a:lnTo>
                <a:lnTo>
                  <a:pt x="504" y="522"/>
                </a:lnTo>
                <a:lnTo>
                  <a:pt x="504" y="528"/>
                </a:lnTo>
                <a:lnTo>
                  <a:pt x="504" y="528"/>
                </a:lnTo>
                <a:lnTo>
                  <a:pt x="504" y="528"/>
                </a:lnTo>
                <a:lnTo>
                  <a:pt x="504" y="528"/>
                </a:lnTo>
                <a:lnTo>
                  <a:pt x="504" y="534"/>
                </a:lnTo>
                <a:lnTo>
                  <a:pt x="498" y="534"/>
                </a:lnTo>
                <a:lnTo>
                  <a:pt x="498" y="528"/>
                </a:lnTo>
                <a:lnTo>
                  <a:pt x="498" y="528"/>
                </a:lnTo>
                <a:lnTo>
                  <a:pt x="498" y="528"/>
                </a:lnTo>
                <a:lnTo>
                  <a:pt x="498" y="528"/>
                </a:lnTo>
                <a:lnTo>
                  <a:pt x="498" y="528"/>
                </a:lnTo>
                <a:lnTo>
                  <a:pt x="498" y="534"/>
                </a:lnTo>
                <a:lnTo>
                  <a:pt x="492" y="534"/>
                </a:lnTo>
                <a:lnTo>
                  <a:pt x="492" y="534"/>
                </a:lnTo>
                <a:lnTo>
                  <a:pt x="492" y="534"/>
                </a:lnTo>
                <a:lnTo>
                  <a:pt x="492" y="540"/>
                </a:lnTo>
                <a:lnTo>
                  <a:pt x="492" y="540"/>
                </a:lnTo>
                <a:lnTo>
                  <a:pt x="492" y="540"/>
                </a:lnTo>
                <a:lnTo>
                  <a:pt x="492" y="546"/>
                </a:lnTo>
                <a:lnTo>
                  <a:pt x="492" y="546"/>
                </a:lnTo>
                <a:lnTo>
                  <a:pt x="486" y="546"/>
                </a:lnTo>
                <a:lnTo>
                  <a:pt x="486" y="546"/>
                </a:lnTo>
                <a:lnTo>
                  <a:pt x="480" y="546"/>
                </a:lnTo>
                <a:lnTo>
                  <a:pt x="480" y="546"/>
                </a:lnTo>
                <a:lnTo>
                  <a:pt x="480" y="546"/>
                </a:lnTo>
                <a:lnTo>
                  <a:pt x="474" y="546"/>
                </a:lnTo>
                <a:lnTo>
                  <a:pt x="474" y="552"/>
                </a:lnTo>
                <a:lnTo>
                  <a:pt x="474" y="552"/>
                </a:lnTo>
                <a:lnTo>
                  <a:pt x="480" y="558"/>
                </a:lnTo>
                <a:lnTo>
                  <a:pt x="474" y="558"/>
                </a:lnTo>
                <a:lnTo>
                  <a:pt x="474" y="564"/>
                </a:lnTo>
                <a:lnTo>
                  <a:pt x="474" y="564"/>
                </a:lnTo>
                <a:lnTo>
                  <a:pt x="474" y="564"/>
                </a:lnTo>
                <a:lnTo>
                  <a:pt x="474" y="570"/>
                </a:lnTo>
                <a:lnTo>
                  <a:pt x="474" y="570"/>
                </a:lnTo>
                <a:lnTo>
                  <a:pt x="474" y="576"/>
                </a:lnTo>
                <a:lnTo>
                  <a:pt x="474" y="576"/>
                </a:lnTo>
                <a:lnTo>
                  <a:pt x="474" y="576"/>
                </a:lnTo>
                <a:lnTo>
                  <a:pt x="474" y="576"/>
                </a:lnTo>
                <a:lnTo>
                  <a:pt x="462" y="582"/>
                </a:lnTo>
                <a:lnTo>
                  <a:pt x="462" y="582"/>
                </a:lnTo>
                <a:lnTo>
                  <a:pt x="456" y="582"/>
                </a:lnTo>
                <a:lnTo>
                  <a:pt x="456" y="582"/>
                </a:lnTo>
                <a:lnTo>
                  <a:pt x="450" y="582"/>
                </a:lnTo>
                <a:lnTo>
                  <a:pt x="450" y="582"/>
                </a:lnTo>
                <a:lnTo>
                  <a:pt x="456" y="576"/>
                </a:lnTo>
                <a:lnTo>
                  <a:pt x="456" y="576"/>
                </a:lnTo>
                <a:lnTo>
                  <a:pt x="456" y="576"/>
                </a:lnTo>
                <a:lnTo>
                  <a:pt x="450" y="576"/>
                </a:lnTo>
                <a:lnTo>
                  <a:pt x="450" y="576"/>
                </a:lnTo>
                <a:lnTo>
                  <a:pt x="444" y="576"/>
                </a:lnTo>
                <a:lnTo>
                  <a:pt x="438" y="576"/>
                </a:lnTo>
                <a:lnTo>
                  <a:pt x="438" y="582"/>
                </a:lnTo>
                <a:lnTo>
                  <a:pt x="438" y="582"/>
                </a:lnTo>
                <a:lnTo>
                  <a:pt x="432" y="582"/>
                </a:lnTo>
                <a:lnTo>
                  <a:pt x="432" y="582"/>
                </a:lnTo>
                <a:lnTo>
                  <a:pt x="432" y="582"/>
                </a:lnTo>
                <a:lnTo>
                  <a:pt x="426" y="582"/>
                </a:lnTo>
                <a:lnTo>
                  <a:pt x="420" y="582"/>
                </a:lnTo>
                <a:lnTo>
                  <a:pt x="420" y="582"/>
                </a:lnTo>
                <a:lnTo>
                  <a:pt x="420" y="582"/>
                </a:lnTo>
                <a:lnTo>
                  <a:pt x="420" y="582"/>
                </a:lnTo>
                <a:lnTo>
                  <a:pt x="420" y="582"/>
                </a:lnTo>
                <a:lnTo>
                  <a:pt x="420" y="582"/>
                </a:lnTo>
                <a:lnTo>
                  <a:pt x="414" y="588"/>
                </a:lnTo>
                <a:lnTo>
                  <a:pt x="414" y="588"/>
                </a:lnTo>
                <a:lnTo>
                  <a:pt x="408" y="582"/>
                </a:lnTo>
                <a:lnTo>
                  <a:pt x="408" y="582"/>
                </a:lnTo>
                <a:lnTo>
                  <a:pt x="408" y="588"/>
                </a:lnTo>
                <a:lnTo>
                  <a:pt x="408" y="582"/>
                </a:lnTo>
                <a:lnTo>
                  <a:pt x="402" y="582"/>
                </a:lnTo>
                <a:lnTo>
                  <a:pt x="402" y="582"/>
                </a:lnTo>
                <a:lnTo>
                  <a:pt x="402" y="582"/>
                </a:lnTo>
                <a:lnTo>
                  <a:pt x="396" y="588"/>
                </a:lnTo>
                <a:lnTo>
                  <a:pt x="396" y="588"/>
                </a:lnTo>
                <a:lnTo>
                  <a:pt x="396" y="588"/>
                </a:lnTo>
                <a:lnTo>
                  <a:pt x="390" y="582"/>
                </a:lnTo>
                <a:lnTo>
                  <a:pt x="390" y="582"/>
                </a:lnTo>
                <a:lnTo>
                  <a:pt x="390" y="582"/>
                </a:lnTo>
                <a:lnTo>
                  <a:pt x="390" y="582"/>
                </a:lnTo>
                <a:lnTo>
                  <a:pt x="384" y="582"/>
                </a:lnTo>
                <a:lnTo>
                  <a:pt x="378" y="588"/>
                </a:lnTo>
                <a:lnTo>
                  <a:pt x="378" y="588"/>
                </a:lnTo>
                <a:lnTo>
                  <a:pt x="378" y="588"/>
                </a:lnTo>
                <a:lnTo>
                  <a:pt x="378" y="588"/>
                </a:lnTo>
                <a:lnTo>
                  <a:pt x="372" y="588"/>
                </a:lnTo>
                <a:lnTo>
                  <a:pt x="372" y="588"/>
                </a:lnTo>
                <a:lnTo>
                  <a:pt x="372" y="594"/>
                </a:lnTo>
                <a:lnTo>
                  <a:pt x="372" y="600"/>
                </a:lnTo>
                <a:lnTo>
                  <a:pt x="372" y="600"/>
                </a:lnTo>
                <a:lnTo>
                  <a:pt x="372" y="600"/>
                </a:lnTo>
                <a:lnTo>
                  <a:pt x="372" y="600"/>
                </a:lnTo>
                <a:lnTo>
                  <a:pt x="372" y="606"/>
                </a:lnTo>
                <a:lnTo>
                  <a:pt x="372" y="606"/>
                </a:lnTo>
                <a:lnTo>
                  <a:pt x="372" y="606"/>
                </a:lnTo>
                <a:lnTo>
                  <a:pt x="372" y="612"/>
                </a:lnTo>
                <a:lnTo>
                  <a:pt x="372" y="612"/>
                </a:lnTo>
                <a:lnTo>
                  <a:pt x="372" y="612"/>
                </a:lnTo>
                <a:lnTo>
                  <a:pt x="372" y="612"/>
                </a:lnTo>
                <a:lnTo>
                  <a:pt x="372" y="612"/>
                </a:lnTo>
                <a:lnTo>
                  <a:pt x="372" y="618"/>
                </a:lnTo>
                <a:lnTo>
                  <a:pt x="372" y="618"/>
                </a:lnTo>
                <a:lnTo>
                  <a:pt x="372" y="618"/>
                </a:lnTo>
                <a:lnTo>
                  <a:pt x="372" y="618"/>
                </a:lnTo>
                <a:lnTo>
                  <a:pt x="366" y="624"/>
                </a:lnTo>
                <a:lnTo>
                  <a:pt x="366" y="624"/>
                </a:lnTo>
                <a:lnTo>
                  <a:pt x="366" y="624"/>
                </a:lnTo>
                <a:lnTo>
                  <a:pt x="366" y="624"/>
                </a:lnTo>
                <a:lnTo>
                  <a:pt x="360" y="624"/>
                </a:lnTo>
                <a:lnTo>
                  <a:pt x="366" y="630"/>
                </a:lnTo>
                <a:lnTo>
                  <a:pt x="360" y="630"/>
                </a:lnTo>
                <a:lnTo>
                  <a:pt x="360" y="630"/>
                </a:lnTo>
                <a:lnTo>
                  <a:pt x="360" y="630"/>
                </a:lnTo>
                <a:lnTo>
                  <a:pt x="360" y="630"/>
                </a:lnTo>
                <a:lnTo>
                  <a:pt x="360" y="630"/>
                </a:lnTo>
                <a:lnTo>
                  <a:pt x="360" y="630"/>
                </a:lnTo>
                <a:lnTo>
                  <a:pt x="360" y="636"/>
                </a:lnTo>
                <a:lnTo>
                  <a:pt x="360" y="636"/>
                </a:lnTo>
                <a:lnTo>
                  <a:pt x="354" y="636"/>
                </a:lnTo>
                <a:lnTo>
                  <a:pt x="354" y="636"/>
                </a:lnTo>
                <a:lnTo>
                  <a:pt x="354" y="636"/>
                </a:lnTo>
                <a:lnTo>
                  <a:pt x="354" y="636"/>
                </a:lnTo>
                <a:lnTo>
                  <a:pt x="354" y="636"/>
                </a:lnTo>
                <a:lnTo>
                  <a:pt x="354" y="636"/>
                </a:lnTo>
                <a:lnTo>
                  <a:pt x="354" y="642"/>
                </a:lnTo>
                <a:lnTo>
                  <a:pt x="348" y="642"/>
                </a:lnTo>
                <a:lnTo>
                  <a:pt x="348" y="642"/>
                </a:lnTo>
                <a:lnTo>
                  <a:pt x="342" y="642"/>
                </a:lnTo>
                <a:lnTo>
                  <a:pt x="342" y="642"/>
                </a:lnTo>
                <a:lnTo>
                  <a:pt x="342" y="642"/>
                </a:lnTo>
                <a:lnTo>
                  <a:pt x="342" y="642"/>
                </a:lnTo>
                <a:lnTo>
                  <a:pt x="342" y="636"/>
                </a:lnTo>
                <a:lnTo>
                  <a:pt x="342" y="636"/>
                </a:lnTo>
                <a:lnTo>
                  <a:pt x="342" y="636"/>
                </a:lnTo>
                <a:lnTo>
                  <a:pt x="336" y="630"/>
                </a:lnTo>
                <a:lnTo>
                  <a:pt x="336" y="630"/>
                </a:lnTo>
                <a:lnTo>
                  <a:pt x="342" y="630"/>
                </a:lnTo>
                <a:lnTo>
                  <a:pt x="336" y="624"/>
                </a:lnTo>
                <a:lnTo>
                  <a:pt x="336" y="624"/>
                </a:lnTo>
                <a:lnTo>
                  <a:pt x="336" y="624"/>
                </a:lnTo>
                <a:lnTo>
                  <a:pt x="336" y="618"/>
                </a:lnTo>
                <a:lnTo>
                  <a:pt x="336" y="618"/>
                </a:lnTo>
                <a:lnTo>
                  <a:pt x="330" y="618"/>
                </a:lnTo>
                <a:lnTo>
                  <a:pt x="330" y="618"/>
                </a:lnTo>
                <a:lnTo>
                  <a:pt x="324" y="618"/>
                </a:lnTo>
                <a:lnTo>
                  <a:pt x="324" y="618"/>
                </a:lnTo>
                <a:lnTo>
                  <a:pt x="318" y="624"/>
                </a:lnTo>
                <a:lnTo>
                  <a:pt x="318" y="624"/>
                </a:lnTo>
                <a:lnTo>
                  <a:pt x="312" y="624"/>
                </a:lnTo>
                <a:lnTo>
                  <a:pt x="312" y="624"/>
                </a:lnTo>
                <a:lnTo>
                  <a:pt x="312" y="630"/>
                </a:lnTo>
                <a:lnTo>
                  <a:pt x="312" y="630"/>
                </a:lnTo>
                <a:lnTo>
                  <a:pt x="312" y="624"/>
                </a:lnTo>
                <a:lnTo>
                  <a:pt x="306" y="624"/>
                </a:lnTo>
                <a:lnTo>
                  <a:pt x="306" y="624"/>
                </a:lnTo>
                <a:lnTo>
                  <a:pt x="306" y="624"/>
                </a:lnTo>
                <a:lnTo>
                  <a:pt x="306" y="624"/>
                </a:lnTo>
                <a:lnTo>
                  <a:pt x="306" y="630"/>
                </a:lnTo>
                <a:lnTo>
                  <a:pt x="306" y="630"/>
                </a:lnTo>
                <a:lnTo>
                  <a:pt x="306" y="636"/>
                </a:lnTo>
                <a:lnTo>
                  <a:pt x="306" y="636"/>
                </a:lnTo>
                <a:lnTo>
                  <a:pt x="306" y="636"/>
                </a:lnTo>
                <a:lnTo>
                  <a:pt x="306" y="642"/>
                </a:lnTo>
                <a:lnTo>
                  <a:pt x="306" y="642"/>
                </a:lnTo>
                <a:lnTo>
                  <a:pt x="306" y="642"/>
                </a:lnTo>
                <a:lnTo>
                  <a:pt x="306" y="642"/>
                </a:lnTo>
                <a:lnTo>
                  <a:pt x="300" y="642"/>
                </a:lnTo>
                <a:lnTo>
                  <a:pt x="300" y="648"/>
                </a:lnTo>
                <a:lnTo>
                  <a:pt x="300" y="648"/>
                </a:lnTo>
                <a:lnTo>
                  <a:pt x="300" y="642"/>
                </a:lnTo>
                <a:lnTo>
                  <a:pt x="300" y="642"/>
                </a:lnTo>
                <a:lnTo>
                  <a:pt x="300" y="642"/>
                </a:lnTo>
                <a:lnTo>
                  <a:pt x="294" y="642"/>
                </a:lnTo>
                <a:lnTo>
                  <a:pt x="294" y="642"/>
                </a:lnTo>
                <a:lnTo>
                  <a:pt x="294" y="636"/>
                </a:lnTo>
                <a:lnTo>
                  <a:pt x="288" y="636"/>
                </a:lnTo>
                <a:lnTo>
                  <a:pt x="288" y="636"/>
                </a:lnTo>
                <a:lnTo>
                  <a:pt x="288" y="636"/>
                </a:lnTo>
                <a:lnTo>
                  <a:pt x="282" y="642"/>
                </a:lnTo>
                <a:lnTo>
                  <a:pt x="282" y="642"/>
                </a:lnTo>
                <a:lnTo>
                  <a:pt x="282" y="642"/>
                </a:lnTo>
                <a:lnTo>
                  <a:pt x="282" y="642"/>
                </a:lnTo>
                <a:lnTo>
                  <a:pt x="276" y="642"/>
                </a:lnTo>
                <a:lnTo>
                  <a:pt x="276" y="642"/>
                </a:lnTo>
                <a:lnTo>
                  <a:pt x="276" y="642"/>
                </a:lnTo>
                <a:lnTo>
                  <a:pt x="276" y="648"/>
                </a:lnTo>
                <a:lnTo>
                  <a:pt x="276" y="648"/>
                </a:lnTo>
                <a:lnTo>
                  <a:pt x="270" y="654"/>
                </a:lnTo>
                <a:lnTo>
                  <a:pt x="270" y="654"/>
                </a:lnTo>
                <a:lnTo>
                  <a:pt x="270" y="654"/>
                </a:lnTo>
                <a:lnTo>
                  <a:pt x="264" y="654"/>
                </a:lnTo>
                <a:lnTo>
                  <a:pt x="264" y="660"/>
                </a:lnTo>
                <a:lnTo>
                  <a:pt x="264" y="660"/>
                </a:lnTo>
                <a:lnTo>
                  <a:pt x="264" y="660"/>
                </a:lnTo>
                <a:lnTo>
                  <a:pt x="258" y="660"/>
                </a:lnTo>
                <a:lnTo>
                  <a:pt x="258" y="660"/>
                </a:lnTo>
                <a:lnTo>
                  <a:pt x="258" y="660"/>
                </a:lnTo>
                <a:lnTo>
                  <a:pt x="258" y="660"/>
                </a:lnTo>
                <a:lnTo>
                  <a:pt x="258" y="654"/>
                </a:lnTo>
                <a:lnTo>
                  <a:pt x="258" y="654"/>
                </a:lnTo>
                <a:lnTo>
                  <a:pt x="252" y="654"/>
                </a:lnTo>
                <a:lnTo>
                  <a:pt x="252" y="654"/>
                </a:lnTo>
                <a:lnTo>
                  <a:pt x="252" y="648"/>
                </a:lnTo>
                <a:lnTo>
                  <a:pt x="252" y="648"/>
                </a:lnTo>
                <a:lnTo>
                  <a:pt x="252" y="648"/>
                </a:lnTo>
                <a:lnTo>
                  <a:pt x="252" y="648"/>
                </a:lnTo>
                <a:lnTo>
                  <a:pt x="246" y="648"/>
                </a:lnTo>
                <a:lnTo>
                  <a:pt x="246" y="648"/>
                </a:lnTo>
                <a:lnTo>
                  <a:pt x="246" y="642"/>
                </a:lnTo>
                <a:lnTo>
                  <a:pt x="240" y="642"/>
                </a:lnTo>
                <a:lnTo>
                  <a:pt x="240" y="642"/>
                </a:lnTo>
                <a:lnTo>
                  <a:pt x="240" y="642"/>
                </a:lnTo>
                <a:lnTo>
                  <a:pt x="240" y="636"/>
                </a:lnTo>
                <a:lnTo>
                  <a:pt x="240" y="636"/>
                </a:lnTo>
                <a:lnTo>
                  <a:pt x="234" y="636"/>
                </a:lnTo>
                <a:lnTo>
                  <a:pt x="234" y="636"/>
                </a:lnTo>
                <a:lnTo>
                  <a:pt x="228" y="636"/>
                </a:lnTo>
                <a:lnTo>
                  <a:pt x="228" y="636"/>
                </a:lnTo>
                <a:lnTo>
                  <a:pt x="228" y="636"/>
                </a:lnTo>
                <a:lnTo>
                  <a:pt x="228" y="636"/>
                </a:lnTo>
                <a:lnTo>
                  <a:pt x="222" y="636"/>
                </a:lnTo>
                <a:lnTo>
                  <a:pt x="216" y="636"/>
                </a:lnTo>
                <a:lnTo>
                  <a:pt x="216" y="636"/>
                </a:lnTo>
                <a:lnTo>
                  <a:pt x="216" y="636"/>
                </a:lnTo>
                <a:lnTo>
                  <a:pt x="216" y="636"/>
                </a:lnTo>
                <a:lnTo>
                  <a:pt x="210" y="642"/>
                </a:lnTo>
                <a:lnTo>
                  <a:pt x="210" y="642"/>
                </a:lnTo>
                <a:lnTo>
                  <a:pt x="204" y="642"/>
                </a:lnTo>
                <a:lnTo>
                  <a:pt x="204" y="636"/>
                </a:lnTo>
                <a:lnTo>
                  <a:pt x="204" y="642"/>
                </a:lnTo>
                <a:lnTo>
                  <a:pt x="204" y="642"/>
                </a:lnTo>
                <a:lnTo>
                  <a:pt x="198" y="636"/>
                </a:lnTo>
                <a:lnTo>
                  <a:pt x="198" y="636"/>
                </a:lnTo>
                <a:lnTo>
                  <a:pt x="198" y="636"/>
                </a:lnTo>
                <a:lnTo>
                  <a:pt x="198" y="642"/>
                </a:lnTo>
                <a:lnTo>
                  <a:pt x="198" y="642"/>
                </a:lnTo>
                <a:lnTo>
                  <a:pt x="192" y="642"/>
                </a:lnTo>
                <a:lnTo>
                  <a:pt x="192" y="642"/>
                </a:lnTo>
                <a:lnTo>
                  <a:pt x="192" y="642"/>
                </a:lnTo>
                <a:lnTo>
                  <a:pt x="192" y="636"/>
                </a:lnTo>
                <a:lnTo>
                  <a:pt x="192" y="642"/>
                </a:lnTo>
                <a:lnTo>
                  <a:pt x="186" y="636"/>
                </a:lnTo>
                <a:lnTo>
                  <a:pt x="186" y="636"/>
                </a:lnTo>
                <a:lnTo>
                  <a:pt x="186" y="642"/>
                </a:lnTo>
                <a:lnTo>
                  <a:pt x="180" y="636"/>
                </a:lnTo>
                <a:lnTo>
                  <a:pt x="180" y="636"/>
                </a:lnTo>
                <a:lnTo>
                  <a:pt x="180" y="636"/>
                </a:lnTo>
                <a:lnTo>
                  <a:pt x="180" y="642"/>
                </a:lnTo>
                <a:lnTo>
                  <a:pt x="180" y="642"/>
                </a:lnTo>
                <a:lnTo>
                  <a:pt x="180" y="648"/>
                </a:lnTo>
                <a:lnTo>
                  <a:pt x="180" y="654"/>
                </a:lnTo>
                <a:lnTo>
                  <a:pt x="174" y="654"/>
                </a:lnTo>
                <a:lnTo>
                  <a:pt x="174" y="660"/>
                </a:lnTo>
                <a:lnTo>
                  <a:pt x="168" y="660"/>
                </a:lnTo>
                <a:lnTo>
                  <a:pt x="168" y="666"/>
                </a:lnTo>
                <a:lnTo>
                  <a:pt x="168" y="666"/>
                </a:lnTo>
                <a:lnTo>
                  <a:pt x="168" y="666"/>
                </a:lnTo>
                <a:lnTo>
                  <a:pt x="162" y="666"/>
                </a:lnTo>
                <a:lnTo>
                  <a:pt x="162" y="672"/>
                </a:lnTo>
                <a:lnTo>
                  <a:pt x="156" y="672"/>
                </a:lnTo>
                <a:lnTo>
                  <a:pt x="156" y="672"/>
                </a:lnTo>
                <a:lnTo>
                  <a:pt x="156" y="672"/>
                </a:lnTo>
                <a:lnTo>
                  <a:pt x="150" y="672"/>
                </a:lnTo>
                <a:lnTo>
                  <a:pt x="144" y="678"/>
                </a:lnTo>
                <a:lnTo>
                  <a:pt x="144" y="678"/>
                </a:lnTo>
                <a:lnTo>
                  <a:pt x="144" y="678"/>
                </a:lnTo>
                <a:lnTo>
                  <a:pt x="138" y="684"/>
                </a:lnTo>
                <a:lnTo>
                  <a:pt x="138" y="684"/>
                </a:lnTo>
                <a:lnTo>
                  <a:pt x="132" y="684"/>
                </a:lnTo>
                <a:lnTo>
                  <a:pt x="132" y="684"/>
                </a:lnTo>
                <a:lnTo>
                  <a:pt x="132" y="684"/>
                </a:lnTo>
                <a:lnTo>
                  <a:pt x="132" y="684"/>
                </a:lnTo>
                <a:lnTo>
                  <a:pt x="132" y="684"/>
                </a:lnTo>
                <a:lnTo>
                  <a:pt x="126" y="690"/>
                </a:lnTo>
                <a:lnTo>
                  <a:pt x="96" y="678"/>
                </a:lnTo>
                <a:lnTo>
                  <a:pt x="90" y="672"/>
                </a:lnTo>
                <a:lnTo>
                  <a:pt x="84" y="672"/>
                </a:lnTo>
                <a:lnTo>
                  <a:pt x="84" y="672"/>
                </a:lnTo>
                <a:lnTo>
                  <a:pt x="60" y="660"/>
                </a:lnTo>
                <a:lnTo>
                  <a:pt x="66" y="660"/>
                </a:lnTo>
                <a:lnTo>
                  <a:pt x="66" y="654"/>
                </a:lnTo>
                <a:lnTo>
                  <a:pt x="66" y="648"/>
                </a:lnTo>
                <a:lnTo>
                  <a:pt x="66" y="648"/>
                </a:lnTo>
                <a:lnTo>
                  <a:pt x="66" y="642"/>
                </a:lnTo>
                <a:lnTo>
                  <a:pt x="66" y="642"/>
                </a:lnTo>
                <a:lnTo>
                  <a:pt x="66" y="636"/>
                </a:lnTo>
                <a:lnTo>
                  <a:pt x="66" y="636"/>
                </a:lnTo>
                <a:lnTo>
                  <a:pt x="66" y="630"/>
                </a:lnTo>
                <a:lnTo>
                  <a:pt x="66" y="630"/>
                </a:lnTo>
                <a:lnTo>
                  <a:pt x="66" y="630"/>
                </a:lnTo>
                <a:lnTo>
                  <a:pt x="66" y="630"/>
                </a:lnTo>
                <a:lnTo>
                  <a:pt x="66" y="624"/>
                </a:lnTo>
                <a:lnTo>
                  <a:pt x="60" y="624"/>
                </a:lnTo>
                <a:lnTo>
                  <a:pt x="60" y="624"/>
                </a:lnTo>
                <a:lnTo>
                  <a:pt x="66" y="624"/>
                </a:lnTo>
                <a:lnTo>
                  <a:pt x="66" y="618"/>
                </a:lnTo>
                <a:lnTo>
                  <a:pt x="66" y="618"/>
                </a:lnTo>
                <a:lnTo>
                  <a:pt x="66" y="618"/>
                </a:lnTo>
                <a:lnTo>
                  <a:pt x="66" y="612"/>
                </a:lnTo>
                <a:lnTo>
                  <a:pt x="66" y="612"/>
                </a:lnTo>
                <a:lnTo>
                  <a:pt x="66" y="612"/>
                </a:lnTo>
                <a:lnTo>
                  <a:pt x="66" y="606"/>
                </a:lnTo>
                <a:lnTo>
                  <a:pt x="66" y="606"/>
                </a:lnTo>
                <a:lnTo>
                  <a:pt x="66" y="606"/>
                </a:lnTo>
                <a:lnTo>
                  <a:pt x="66" y="600"/>
                </a:lnTo>
                <a:lnTo>
                  <a:pt x="66" y="600"/>
                </a:lnTo>
                <a:lnTo>
                  <a:pt x="72" y="600"/>
                </a:lnTo>
                <a:lnTo>
                  <a:pt x="72" y="600"/>
                </a:lnTo>
                <a:lnTo>
                  <a:pt x="72" y="594"/>
                </a:lnTo>
                <a:lnTo>
                  <a:pt x="72" y="594"/>
                </a:lnTo>
                <a:lnTo>
                  <a:pt x="72" y="594"/>
                </a:lnTo>
                <a:lnTo>
                  <a:pt x="78" y="594"/>
                </a:lnTo>
                <a:lnTo>
                  <a:pt x="78" y="588"/>
                </a:lnTo>
                <a:lnTo>
                  <a:pt x="78" y="588"/>
                </a:lnTo>
                <a:lnTo>
                  <a:pt x="78" y="588"/>
                </a:lnTo>
                <a:lnTo>
                  <a:pt x="84" y="588"/>
                </a:lnTo>
                <a:lnTo>
                  <a:pt x="78" y="582"/>
                </a:lnTo>
                <a:lnTo>
                  <a:pt x="78" y="582"/>
                </a:lnTo>
                <a:lnTo>
                  <a:pt x="78" y="582"/>
                </a:lnTo>
                <a:lnTo>
                  <a:pt x="78" y="582"/>
                </a:lnTo>
                <a:lnTo>
                  <a:pt x="78" y="582"/>
                </a:lnTo>
                <a:lnTo>
                  <a:pt x="78" y="582"/>
                </a:lnTo>
                <a:lnTo>
                  <a:pt x="84" y="582"/>
                </a:lnTo>
                <a:lnTo>
                  <a:pt x="84" y="576"/>
                </a:lnTo>
                <a:lnTo>
                  <a:pt x="84" y="582"/>
                </a:lnTo>
                <a:lnTo>
                  <a:pt x="84" y="576"/>
                </a:lnTo>
                <a:lnTo>
                  <a:pt x="90" y="576"/>
                </a:lnTo>
                <a:lnTo>
                  <a:pt x="90" y="576"/>
                </a:lnTo>
                <a:lnTo>
                  <a:pt x="90" y="576"/>
                </a:lnTo>
                <a:lnTo>
                  <a:pt x="90" y="576"/>
                </a:lnTo>
                <a:lnTo>
                  <a:pt x="90" y="576"/>
                </a:lnTo>
                <a:lnTo>
                  <a:pt x="90" y="570"/>
                </a:lnTo>
                <a:lnTo>
                  <a:pt x="90" y="570"/>
                </a:lnTo>
                <a:lnTo>
                  <a:pt x="90" y="564"/>
                </a:lnTo>
                <a:lnTo>
                  <a:pt x="90" y="564"/>
                </a:lnTo>
                <a:lnTo>
                  <a:pt x="90" y="564"/>
                </a:lnTo>
                <a:lnTo>
                  <a:pt x="90" y="564"/>
                </a:lnTo>
                <a:lnTo>
                  <a:pt x="90" y="558"/>
                </a:lnTo>
                <a:lnTo>
                  <a:pt x="90" y="558"/>
                </a:lnTo>
                <a:lnTo>
                  <a:pt x="90" y="558"/>
                </a:lnTo>
                <a:lnTo>
                  <a:pt x="90" y="552"/>
                </a:lnTo>
                <a:lnTo>
                  <a:pt x="84" y="552"/>
                </a:lnTo>
                <a:lnTo>
                  <a:pt x="84" y="552"/>
                </a:lnTo>
                <a:lnTo>
                  <a:pt x="84" y="546"/>
                </a:lnTo>
                <a:lnTo>
                  <a:pt x="84" y="546"/>
                </a:lnTo>
                <a:lnTo>
                  <a:pt x="84" y="546"/>
                </a:lnTo>
                <a:lnTo>
                  <a:pt x="90" y="540"/>
                </a:lnTo>
                <a:lnTo>
                  <a:pt x="90" y="540"/>
                </a:lnTo>
                <a:lnTo>
                  <a:pt x="90" y="540"/>
                </a:lnTo>
                <a:lnTo>
                  <a:pt x="90" y="540"/>
                </a:lnTo>
                <a:lnTo>
                  <a:pt x="90" y="534"/>
                </a:lnTo>
                <a:lnTo>
                  <a:pt x="90" y="534"/>
                </a:lnTo>
                <a:lnTo>
                  <a:pt x="90" y="534"/>
                </a:lnTo>
                <a:lnTo>
                  <a:pt x="90" y="528"/>
                </a:lnTo>
                <a:lnTo>
                  <a:pt x="90" y="528"/>
                </a:lnTo>
                <a:lnTo>
                  <a:pt x="96" y="528"/>
                </a:lnTo>
                <a:lnTo>
                  <a:pt x="96" y="522"/>
                </a:lnTo>
                <a:lnTo>
                  <a:pt x="96" y="522"/>
                </a:lnTo>
                <a:lnTo>
                  <a:pt x="102" y="516"/>
                </a:lnTo>
                <a:lnTo>
                  <a:pt x="108" y="516"/>
                </a:lnTo>
                <a:lnTo>
                  <a:pt x="108" y="516"/>
                </a:lnTo>
                <a:lnTo>
                  <a:pt x="114" y="510"/>
                </a:lnTo>
                <a:lnTo>
                  <a:pt x="114" y="510"/>
                </a:lnTo>
                <a:lnTo>
                  <a:pt x="114" y="510"/>
                </a:lnTo>
                <a:lnTo>
                  <a:pt x="114" y="510"/>
                </a:lnTo>
                <a:lnTo>
                  <a:pt x="114" y="504"/>
                </a:lnTo>
                <a:lnTo>
                  <a:pt x="114" y="504"/>
                </a:lnTo>
                <a:lnTo>
                  <a:pt x="114" y="498"/>
                </a:lnTo>
                <a:lnTo>
                  <a:pt x="114" y="498"/>
                </a:lnTo>
                <a:lnTo>
                  <a:pt x="114" y="498"/>
                </a:lnTo>
                <a:lnTo>
                  <a:pt x="114" y="492"/>
                </a:lnTo>
                <a:lnTo>
                  <a:pt x="114" y="486"/>
                </a:lnTo>
                <a:lnTo>
                  <a:pt x="114" y="486"/>
                </a:lnTo>
                <a:lnTo>
                  <a:pt x="114" y="486"/>
                </a:lnTo>
                <a:lnTo>
                  <a:pt x="120" y="480"/>
                </a:lnTo>
                <a:lnTo>
                  <a:pt x="120" y="480"/>
                </a:lnTo>
                <a:lnTo>
                  <a:pt x="120" y="480"/>
                </a:lnTo>
                <a:lnTo>
                  <a:pt x="120" y="480"/>
                </a:lnTo>
                <a:lnTo>
                  <a:pt x="120" y="474"/>
                </a:lnTo>
                <a:lnTo>
                  <a:pt x="120" y="474"/>
                </a:lnTo>
                <a:lnTo>
                  <a:pt x="120" y="468"/>
                </a:lnTo>
                <a:lnTo>
                  <a:pt x="120" y="468"/>
                </a:lnTo>
                <a:lnTo>
                  <a:pt x="120" y="468"/>
                </a:lnTo>
                <a:lnTo>
                  <a:pt x="120" y="462"/>
                </a:lnTo>
                <a:lnTo>
                  <a:pt x="120" y="462"/>
                </a:lnTo>
                <a:lnTo>
                  <a:pt x="120" y="462"/>
                </a:lnTo>
                <a:lnTo>
                  <a:pt x="120" y="456"/>
                </a:lnTo>
                <a:lnTo>
                  <a:pt x="120" y="456"/>
                </a:lnTo>
                <a:lnTo>
                  <a:pt x="120" y="456"/>
                </a:lnTo>
                <a:lnTo>
                  <a:pt x="120" y="450"/>
                </a:lnTo>
                <a:lnTo>
                  <a:pt x="120" y="450"/>
                </a:lnTo>
                <a:lnTo>
                  <a:pt x="120" y="444"/>
                </a:lnTo>
                <a:lnTo>
                  <a:pt x="120" y="444"/>
                </a:lnTo>
                <a:lnTo>
                  <a:pt x="120" y="444"/>
                </a:lnTo>
                <a:lnTo>
                  <a:pt x="120" y="444"/>
                </a:lnTo>
                <a:lnTo>
                  <a:pt x="126" y="438"/>
                </a:lnTo>
                <a:lnTo>
                  <a:pt x="126" y="438"/>
                </a:lnTo>
                <a:lnTo>
                  <a:pt x="126" y="438"/>
                </a:lnTo>
                <a:lnTo>
                  <a:pt x="126" y="438"/>
                </a:lnTo>
                <a:lnTo>
                  <a:pt x="126" y="438"/>
                </a:lnTo>
                <a:lnTo>
                  <a:pt x="126" y="432"/>
                </a:lnTo>
                <a:lnTo>
                  <a:pt x="126" y="432"/>
                </a:lnTo>
                <a:lnTo>
                  <a:pt x="126" y="432"/>
                </a:lnTo>
                <a:lnTo>
                  <a:pt x="126" y="432"/>
                </a:lnTo>
                <a:lnTo>
                  <a:pt x="126" y="426"/>
                </a:lnTo>
                <a:lnTo>
                  <a:pt x="132" y="426"/>
                </a:lnTo>
                <a:lnTo>
                  <a:pt x="132" y="426"/>
                </a:lnTo>
                <a:lnTo>
                  <a:pt x="132" y="426"/>
                </a:lnTo>
                <a:lnTo>
                  <a:pt x="132" y="426"/>
                </a:lnTo>
                <a:lnTo>
                  <a:pt x="132" y="426"/>
                </a:lnTo>
                <a:lnTo>
                  <a:pt x="138" y="420"/>
                </a:lnTo>
                <a:lnTo>
                  <a:pt x="138" y="420"/>
                </a:lnTo>
                <a:lnTo>
                  <a:pt x="138" y="420"/>
                </a:lnTo>
                <a:lnTo>
                  <a:pt x="138" y="420"/>
                </a:lnTo>
                <a:lnTo>
                  <a:pt x="138" y="420"/>
                </a:lnTo>
                <a:lnTo>
                  <a:pt x="138" y="420"/>
                </a:lnTo>
                <a:lnTo>
                  <a:pt x="138" y="420"/>
                </a:lnTo>
                <a:lnTo>
                  <a:pt x="144" y="420"/>
                </a:lnTo>
                <a:lnTo>
                  <a:pt x="138" y="420"/>
                </a:lnTo>
                <a:lnTo>
                  <a:pt x="144" y="414"/>
                </a:lnTo>
                <a:lnTo>
                  <a:pt x="144" y="414"/>
                </a:lnTo>
                <a:lnTo>
                  <a:pt x="144" y="414"/>
                </a:lnTo>
                <a:lnTo>
                  <a:pt x="144" y="414"/>
                </a:lnTo>
                <a:lnTo>
                  <a:pt x="150" y="414"/>
                </a:lnTo>
                <a:lnTo>
                  <a:pt x="150" y="414"/>
                </a:lnTo>
                <a:lnTo>
                  <a:pt x="156" y="414"/>
                </a:lnTo>
                <a:lnTo>
                  <a:pt x="156" y="414"/>
                </a:lnTo>
                <a:lnTo>
                  <a:pt x="156" y="408"/>
                </a:lnTo>
                <a:lnTo>
                  <a:pt x="150" y="408"/>
                </a:lnTo>
                <a:lnTo>
                  <a:pt x="150" y="408"/>
                </a:lnTo>
                <a:lnTo>
                  <a:pt x="156" y="408"/>
                </a:lnTo>
                <a:lnTo>
                  <a:pt x="156" y="408"/>
                </a:lnTo>
                <a:lnTo>
                  <a:pt x="150" y="402"/>
                </a:lnTo>
                <a:lnTo>
                  <a:pt x="156" y="402"/>
                </a:lnTo>
                <a:lnTo>
                  <a:pt x="156" y="402"/>
                </a:lnTo>
                <a:lnTo>
                  <a:pt x="156" y="408"/>
                </a:lnTo>
                <a:lnTo>
                  <a:pt x="156" y="408"/>
                </a:lnTo>
                <a:lnTo>
                  <a:pt x="162" y="408"/>
                </a:lnTo>
                <a:lnTo>
                  <a:pt x="162" y="402"/>
                </a:lnTo>
                <a:lnTo>
                  <a:pt x="162" y="402"/>
                </a:lnTo>
                <a:lnTo>
                  <a:pt x="162" y="402"/>
                </a:lnTo>
                <a:lnTo>
                  <a:pt x="162" y="402"/>
                </a:lnTo>
                <a:lnTo>
                  <a:pt x="162" y="402"/>
                </a:lnTo>
                <a:lnTo>
                  <a:pt x="162" y="402"/>
                </a:lnTo>
                <a:lnTo>
                  <a:pt x="162" y="402"/>
                </a:lnTo>
                <a:lnTo>
                  <a:pt x="168" y="408"/>
                </a:lnTo>
                <a:lnTo>
                  <a:pt x="168" y="408"/>
                </a:lnTo>
                <a:lnTo>
                  <a:pt x="168" y="408"/>
                </a:lnTo>
                <a:lnTo>
                  <a:pt x="168" y="408"/>
                </a:lnTo>
                <a:lnTo>
                  <a:pt x="168" y="408"/>
                </a:lnTo>
                <a:lnTo>
                  <a:pt x="168" y="408"/>
                </a:lnTo>
                <a:lnTo>
                  <a:pt x="168" y="402"/>
                </a:lnTo>
                <a:lnTo>
                  <a:pt x="168" y="402"/>
                </a:lnTo>
                <a:lnTo>
                  <a:pt x="168" y="402"/>
                </a:lnTo>
                <a:lnTo>
                  <a:pt x="174" y="396"/>
                </a:lnTo>
                <a:lnTo>
                  <a:pt x="174" y="396"/>
                </a:lnTo>
                <a:lnTo>
                  <a:pt x="174" y="396"/>
                </a:lnTo>
                <a:lnTo>
                  <a:pt x="180" y="396"/>
                </a:lnTo>
                <a:lnTo>
                  <a:pt x="186" y="396"/>
                </a:lnTo>
                <a:lnTo>
                  <a:pt x="186" y="396"/>
                </a:lnTo>
                <a:lnTo>
                  <a:pt x="186" y="390"/>
                </a:lnTo>
                <a:lnTo>
                  <a:pt x="186" y="390"/>
                </a:lnTo>
                <a:lnTo>
                  <a:pt x="186" y="390"/>
                </a:lnTo>
                <a:lnTo>
                  <a:pt x="186" y="384"/>
                </a:lnTo>
                <a:lnTo>
                  <a:pt x="186" y="384"/>
                </a:lnTo>
                <a:lnTo>
                  <a:pt x="180" y="390"/>
                </a:lnTo>
                <a:lnTo>
                  <a:pt x="180" y="384"/>
                </a:lnTo>
                <a:lnTo>
                  <a:pt x="180" y="384"/>
                </a:lnTo>
                <a:lnTo>
                  <a:pt x="180" y="384"/>
                </a:lnTo>
                <a:lnTo>
                  <a:pt x="180" y="390"/>
                </a:lnTo>
                <a:lnTo>
                  <a:pt x="174" y="390"/>
                </a:lnTo>
                <a:lnTo>
                  <a:pt x="174" y="390"/>
                </a:lnTo>
                <a:lnTo>
                  <a:pt x="174" y="390"/>
                </a:lnTo>
                <a:lnTo>
                  <a:pt x="174" y="390"/>
                </a:lnTo>
                <a:lnTo>
                  <a:pt x="168" y="390"/>
                </a:lnTo>
                <a:lnTo>
                  <a:pt x="168" y="390"/>
                </a:lnTo>
                <a:lnTo>
                  <a:pt x="162" y="390"/>
                </a:lnTo>
                <a:lnTo>
                  <a:pt x="162" y="384"/>
                </a:lnTo>
                <a:lnTo>
                  <a:pt x="162" y="384"/>
                </a:lnTo>
                <a:lnTo>
                  <a:pt x="162" y="390"/>
                </a:lnTo>
                <a:lnTo>
                  <a:pt x="156" y="390"/>
                </a:lnTo>
                <a:lnTo>
                  <a:pt x="156" y="384"/>
                </a:lnTo>
                <a:lnTo>
                  <a:pt x="156" y="384"/>
                </a:lnTo>
                <a:lnTo>
                  <a:pt x="156" y="384"/>
                </a:lnTo>
                <a:lnTo>
                  <a:pt x="156" y="384"/>
                </a:lnTo>
                <a:lnTo>
                  <a:pt x="150" y="384"/>
                </a:lnTo>
                <a:lnTo>
                  <a:pt x="150" y="384"/>
                </a:lnTo>
                <a:lnTo>
                  <a:pt x="150" y="384"/>
                </a:lnTo>
                <a:lnTo>
                  <a:pt x="150" y="384"/>
                </a:lnTo>
                <a:lnTo>
                  <a:pt x="150" y="384"/>
                </a:lnTo>
                <a:lnTo>
                  <a:pt x="144" y="384"/>
                </a:lnTo>
                <a:lnTo>
                  <a:pt x="144" y="384"/>
                </a:lnTo>
                <a:lnTo>
                  <a:pt x="144" y="378"/>
                </a:lnTo>
                <a:lnTo>
                  <a:pt x="144" y="378"/>
                </a:lnTo>
                <a:lnTo>
                  <a:pt x="138" y="372"/>
                </a:lnTo>
                <a:lnTo>
                  <a:pt x="138" y="372"/>
                </a:lnTo>
                <a:lnTo>
                  <a:pt x="138" y="372"/>
                </a:lnTo>
                <a:lnTo>
                  <a:pt x="138" y="366"/>
                </a:lnTo>
                <a:lnTo>
                  <a:pt x="132" y="366"/>
                </a:lnTo>
                <a:lnTo>
                  <a:pt x="132" y="366"/>
                </a:lnTo>
                <a:lnTo>
                  <a:pt x="132" y="366"/>
                </a:lnTo>
                <a:lnTo>
                  <a:pt x="132" y="366"/>
                </a:lnTo>
                <a:lnTo>
                  <a:pt x="132" y="366"/>
                </a:lnTo>
                <a:lnTo>
                  <a:pt x="126" y="366"/>
                </a:lnTo>
                <a:lnTo>
                  <a:pt x="126" y="366"/>
                </a:lnTo>
                <a:lnTo>
                  <a:pt x="126" y="366"/>
                </a:lnTo>
                <a:lnTo>
                  <a:pt x="120" y="360"/>
                </a:lnTo>
                <a:lnTo>
                  <a:pt x="120" y="360"/>
                </a:lnTo>
                <a:lnTo>
                  <a:pt x="120" y="360"/>
                </a:lnTo>
                <a:lnTo>
                  <a:pt x="120" y="360"/>
                </a:lnTo>
                <a:lnTo>
                  <a:pt x="114" y="360"/>
                </a:lnTo>
                <a:lnTo>
                  <a:pt x="114" y="360"/>
                </a:lnTo>
                <a:lnTo>
                  <a:pt x="114" y="354"/>
                </a:lnTo>
                <a:lnTo>
                  <a:pt x="114" y="354"/>
                </a:lnTo>
                <a:lnTo>
                  <a:pt x="114" y="354"/>
                </a:lnTo>
                <a:lnTo>
                  <a:pt x="114" y="354"/>
                </a:lnTo>
                <a:lnTo>
                  <a:pt x="114" y="354"/>
                </a:lnTo>
                <a:lnTo>
                  <a:pt x="108" y="354"/>
                </a:lnTo>
                <a:lnTo>
                  <a:pt x="108" y="354"/>
                </a:lnTo>
                <a:lnTo>
                  <a:pt x="108" y="354"/>
                </a:lnTo>
                <a:lnTo>
                  <a:pt x="108" y="354"/>
                </a:lnTo>
                <a:lnTo>
                  <a:pt x="108" y="348"/>
                </a:lnTo>
                <a:lnTo>
                  <a:pt x="108" y="348"/>
                </a:lnTo>
                <a:lnTo>
                  <a:pt x="108" y="348"/>
                </a:lnTo>
                <a:lnTo>
                  <a:pt x="108" y="342"/>
                </a:lnTo>
                <a:lnTo>
                  <a:pt x="108" y="342"/>
                </a:lnTo>
                <a:lnTo>
                  <a:pt x="108" y="342"/>
                </a:lnTo>
                <a:lnTo>
                  <a:pt x="102" y="336"/>
                </a:lnTo>
                <a:lnTo>
                  <a:pt x="102" y="336"/>
                </a:lnTo>
                <a:lnTo>
                  <a:pt x="102" y="336"/>
                </a:lnTo>
                <a:lnTo>
                  <a:pt x="102" y="336"/>
                </a:lnTo>
                <a:lnTo>
                  <a:pt x="96" y="330"/>
                </a:lnTo>
                <a:lnTo>
                  <a:pt x="96" y="330"/>
                </a:lnTo>
                <a:lnTo>
                  <a:pt x="96" y="330"/>
                </a:lnTo>
                <a:lnTo>
                  <a:pt x="96" y="330"/>
                </a:lnTo>
                <a:lnTo>
                  <a:pt x="96" y="324"/>
                </a:lnTo>
                <a:lnTo>
                  <a:pt x="96" y="324"/>
                </a:lnTo>
                <a:lnTo>
                  <a:pt x="96" y="324"/>
                </a:lnTo>
                <a:lnTo>
                  <a:pt x="90" y="324"/>
                </a:lnTo>
                <a:lnTo>
                  <a:pt x="90" y="324"/>
                </a:lnTo>
                <a:lnTo>
                  <a:pt x="90" y="324"/>
                </a:lnTo>
                <a:lnTo>
                  <a:pt x="90" y="324"/>
                </a:lnTo>
                <a:lnTo>
                  <a:pt x="84" y="324"/>
                </a:lnTo>
                <a:lnTo>
                  <a:pt x="84" y="330"/>
                </a:lnTo>
                <a:lnTo>
                  <a:pt x="84" y="330"/>
                </a:lnTo>
                <a:lnTo>
                  <a:pt x="84" y="330"/>
                </a:lnTo>
                <a:lnTo>
                  <a:pt x="84" y="330"/>
                </a:lnTo>
                <a:lnTo>
                  <a:pt x="84" y="330"/>
                </a:lnTo>
                <a:lnTo>
                  <a:pt x="78" y="330"/>
                </a:lnTo>
                <a:lnTo>
                  <a:pt x="78" y="330"/>
                </a:lnTo>
                <a:lnTo>
                  <a:pt x="72" y="330"/>
                </a:lnTo>
                <a:lnTo>
                  <a:pt x="72" y="330"/>
                </a:lnTo>
                <a:lnTo>
                  <a:pt x="72" y="330"/>
                </a:lnTo>
                <a:lnTo>
                  <a:pt x="72" y="330"/>
                </a:lnTo>
                <a:lnTo>
                  <a:pt x="66" y="336"/>
                </a:lnTo>
                <a:lnTo>
                  <a:pt x="66" y="336"/>
                </a:lnTo>
                <a:lnTo>
                  <a:pt x="66" y="336"/>
                </a:lnTo>
                <a:lnTo>
                  <a:pt x="66" y="336"/>
                </a:lnTo>
                <a:lnTo>
                  <a:pt x="66" y="336"/>
                </a:lnTo>
                <a:lnTo>
                  <a:pt x="66" y="336"/>
                </a:lnTo>
                <a:lnTo>
                  <a:pt x="66" y="342"/>
                </a:lnTo>
                <a:lnTo>
                  <a:pt x="60" y="342"/>
                </a:lnTo>
                <a:lnTo>
                  <a:pt x="60" y="342"/>
                </a:lnTo>
                <a:lnTo>
                  <a:pt x="60" y="342"/>
                </a:lnTo>
                <a:lnTo>
                  <a:pt x="60" y="348"/>
                </a:lnTo>
                <a:lnTo>
                  <a:pt x="60" y="348"/>
                </a:lnTo>
                <a:lnTo>
                  <a:pt x="60" y="348"/>
                </a:lnTo>
                <a:lnTo>
                  <a:pt x="60" y="354"/>
                </a:lnTo>
                <a:lnTo>
                  <a:pt x="60" y="354"/>
                </a:lnTo>
                <a:lnTo>
                  <a:pt x="60" y="360"/>
                </a:lnTo>
                <a:lnTo>
                  <a:pt x="60" y="360"/>
                </a:lnTo>
                <a:lnTo>
                  <a:pt x="48" y="360"/>
                </a:lnTo>
                <a:lnTo>
                  <a:pt x="48" y="360"/>
                </a:lnTo>
                <a:lnTo>
                  <a:pt x="48" y="360"/>
                </a:lnTo>
                <a:lnTo>
                  <a:pt x="42" y="360"/>
                </a:lnTo>
                <a:lnTo>
                  <a:pt x="42" y="360"/>
                </a:lnTo>
                <a:lnTo>
                  <a:pt x="36" y="354"/>
                </a:lnTo>
                <a:lnTo>
                  <a:pt x="36" y="348"/>
                </a:lnTo>
                <a:lnTo>
                  <a:pt x="42" y="348"/>
                </a:lnTo>
                <a:lnTo>
                  <a:pt x="48" y="312"/>
                </a:lnTo>
                <a:lnTo>
                  <a:pt x="48" y="312"/>
                </a:lnTo>
                <a:lnTo>
                  <a:pt x="48" y="312"/>
                </a:lnTo>
                <a:lnTo>
                  <a:pt x="48" y="306"/>
                </a:lnTo>
                <a:lnTo>
                  <a:pt x="48" y="306"/>
                </a:lnTo>
                <a:lnTo>
                  <a:pt x="48" y="306"/>
                </a:lnTo>
                <a:lnTo>
                  <a:pt x="54" y="306"/>
                </a:lnTo>
                <a:lnTo>
                  <a:pt x="54" y="306"/>
                </a:lnTo>
                <a:lnTo>
                  <a:pt x="54" y="306"/>
                </a:lnTo>
                <a:lnTo>
                  <a:pt x="54" y="300"/>
                </a:lnTo>
                <a:lnTo>
                  <a:pt x="54" y="300"/>
                </a:lnTo>
                <a:lnTo>
                  <a:pt x="54" y="300"/>
                </a:lnTo>
                <a:lnTo>
                  <a:pt x="54" y="300"/>
                </a:lnTo>
                <a:lnTo>
                  <a:pt x="54" y="300"/>
                </a:lnTo>
                <a:lnTo>
                  <a:pt x="54" y="300"/>
                </a:lnTo>
                <a:lnTo>
                  <a:pt x="60" y="300"/>
                </a:lnTo>
                <a:lnTo>
                  <a:pt x="60" y="300"/>
                </a:lnTo>
                <a:lnTo>
                  <a:pt x="60" y="300"/>
                </a:lnTo>
                <a:lnTo>
                  <a:pt x="60" y="300"/>
                </a:lnTo>
                <a:lnTo>
                  <a:pt x="60" y="300"/>
                </a:lnTo>
                <a:lnTo>
                  <a:pt x="60" y="300"/>
                </a:lnTo>
                <a:lnTo>
                  <a:pt x="60" y="300"/>
                </a:lnTo>
                <a:lnTo>
                  <a:pt x="66" y="300"/>
                </a:lnTo>
                <a:lnTo>
                  <a:pt x="66" y="300"/>
                </a:lnTo>
                <a:lnTo>
                  <a:pt x="66" y="300"/>
                </a:lnTo>
                <a:lnTo>
                  <a:pt x="66" y="300"/>
                </a:lnTo>
                <a:lnTo>
                  <a:pt x="66" y="300"/>
                </a:lnTo>
                <a:lnTo>
                  <a:pt x="72" y="300"/>
                </a:lnTo>
                <a:lnTo>
                  <a:pt x="72" y="300"/>
                </a:lnTo>
                <a:lnTo>
                  <a:pt x="72" y="300"/>
                </a:lnTo>
                <a:lnTo>
                  <a:pt x="72" y="300"/>
                </a:lnTo>
                <a:lnTo>
                  <a:pt x="78" y="300"/>
                </a:lnTo>
                <a:lnTo>
                  <a:pt x="78" y="300"/>
                </a:lnTo>
                <a:lnTo>
                  <a:pt x="78" y="300"/>
                </a:lnTo>
                <a:lnTo>
                  <a:pt x="78" y="300"/>
                </a:lnTo>
                <a:lnTo>
                  <a:pt x="78" y="300"/>
                </a:lnTo>
                <a:lnTo>
                  <a:pt x="78" y="300"/>
                </a:lnTo>
                <a:lnTo>
                  <a:pt x="78" y="300"/>
                </a:lnTo>
                <a:lnTo>
                  <a:pt x="78" y="300"/>
                </a:lnTo>
                <a:lnTo>
                  <a:pt x="84" y="300"/>
                </a:lnTo>
                <a:lnTo>
                  <a:pt x="78" y="300"/>
                </a:lnTo>
                <a:lnTo>
                  <a:pt x="84" y="300"/>
                </a:lnTo>
                <a:lnTo>
                  <a:pt x="78" y="294"/>
                </a:lnTo>
                <a:lnTo>
                  <a:pt x="84" y="294"/>
                </a:lnTo>
                <a:lnTo>
                  <a:pt x="84" y="294"/>
                </a:lnTo>
                <a:lnTo>
                  <a:pt x="84" y="294"/>
                </a:lnTo>
                <a:lnTo>
                  <a:pt x="84" y="294"/>
                </a:lnTo>
                <a:lnTo>
                  <a:pt x="84" y="294"/>
                </a:lnTo>
                <a:lnTo>
                  <a:pt x="84" y="294"/>
                </a:lnTo>
                <a:lnTo>
                  <a:pt x="90" y="294"/>
                </a:lnTo>
                <a:lnTo>
                  <a:pt x="90" y="294"/>
                </a:lnTo>
                <a:lnTo>
                  <a:pt x="90" y="294"/>
                </a:lnTo>
                <a:lnTo>
                  <a:pt x="90" y="294"/>
                </a:lnTo>
                <a:lnTo>
                  <a:pt x="96" y="294"/>
                </a:lnTo>
                <a:lnTo>
                  <a:pt x="96" y="294"/>
                </a:lnTo>
                <a:lnTo>
                  <a:pt x="96" y="294"/>
                </a:lnTo>
                <a:lnTo>
                  <a:pt x="96" y="294"/>
                </a:lnTo>
                <a:lnTo>
                  <a:pt x="96" y="294"/>
                </a:lnTo>
                <a:lnTo>
                  <a:pt x="96" y="294"/>
                </a:lnTo>
                <a:lnTo>
                  <a:pt x="102" y="294"/>
                </a:lnTo>
                <a:lnTo>
                  <a:pt x="102" y="288"/>
                </a:lnTo>
                <a:lnTo>
                  <a:pt x="102" y="294"/>
                </a:lnTo>
                <a:lnTo>
                  <a:pt x="102" y="294"/>
                </a:lnTo>
                <a:lnTo>
                  <a:pt x="102" y="294"/>
                </a:lnTo>
                <a:lnTo>
                  <a:pt x="108" y="294"/>
                </a:lnTo>
                <a:lnTo>
                  <a:pt x="108" y="294"/>
                </a:lnTo>
                <a:lnTo>
                  <a:pt x="108" y="294"/>
                </a:lnTo>
                <a:lnTo>
                  <a:pt x="108" y="294"/>
                </a:lnTo>
                <a:lnTo>
                  <a:pt x="108" y="294"/>
                </a:lnTo>
                <a:lnTo>
                  <a:pt x="114" y="294"/>
                </a:lnTo>
                <a:lnTo>
                  <a:pt x="114" y="300"/>
                </a:lnTo>
                <a:lnTo>
                  <a:pt x="114" y="300"/>
                </a:lnTo>
                <a:lnTo>
                  <a:pt x="114" y="294"/>
                </a:lnTo>
                <a:lnTo>
                  <a:pt x="120" y="300"/>
                </a:lnTo>
                <a:lnTo>
                  <a:pt x="120" y="294"/>
                </a:lnTo>
                <a:lnTo>
                  <a:pt x="120" y="300"/>
                </a:lnTo>
                <a:lnTo>
                  <a:pt x="126" y="300"/>
                </a:lnTo>
                <a:lnTo>
                  <a:pt x="126" y="300"/>
                </a:lnTo>
                <a:lnTo>
                  <a:pt x="126" y="300"/>
                </a:lnTo>
                <a:lnTo>
                  <a:pt x="126" y="300"/>
                </a:lnTo>
                <a:lnTo>
                  <a:pt x="126" y="300"/>
                </a:lnTo>
                <a:lnTo>
                  <a:pt x="126" y="300"/>
                </a:lnTo>
                <a:lnTo>
                  <a:pt x="132" y="300"/>
                </a:lnTo>
                <a:lnTo>
                  <a:pt x="132" y="300"/>
                </a:lnTo>
                <a:lnTo>
                  <a:pt x="132" y="300"/>
                </a:lnTo>
                <a:lnTo>
                  <a:pt x="132" y="300"/>
                </a:lnTo>
                <a:lnTo>
                  <a:pt x="132" y="294"/>
                </a:lnTo>
                <a:lnTo>
                  <a:pt x="138" y="294"/>
                </a:lnTo>
                <a:lnTo>
                  <a:pt x="138" y="300"/>
                </a:lnTo>
                <a:lnTo>
                  <a:pt x="138" y="294"/>
                </a:lnTo>
                <a:lnTo>
                  <a:pt x="144" y="294"/>
                </a:lnTo>
                <a:lnTo>
                  <a:pt x="144" y="294"/>
                </a:lnTo>
                <a:lnTo>
                  <a:pt x="144" y="294"/>
                </a:lnTo>
                <a:lnTo>
                  <a:pt x="144" y="294"/>
                </a:lnTo>
                <a:lnTo>
                  <a:pt x="150" y="294"/>
                </a:lnTo>
                <a:lnTo>
                  <a:pt x="150" y="294"/>
                </a:lnTo>
                <a:lnTo>
                  <a:pt x="150" y="294"/>
                </a:lnTo>
                <a:lnTo>
                  <a:pt x="150" y="294"/>
                </a:lnTo>
                <a:lnTo>
                  <a:pt x="150" y="294"/>
                </a:lnTo>
                <a:lnTo>
                  <a:pt x="150" y="294"/>
                </a:lnTo>
                <a:lnTo>
                  <a:pt x="156" y="294"/>
                </a:lnTo>
                <a:lnTo>
                  <a:pt x="156" y="288"/>
                </a:lnTo>
                <a:lnTo>
                  <a:pt x="156" y="288"/>
                </a:lnTo>
                <a:lnTo>
                  <a:pt x="156" y="288"/>
                </a:lnTo>
                <a:lnTo>
                  <a:pt x="156" y="288"/>
                </a:lnTo>
                <a:lnTo>
                  <a:pt x="162" y="288"/>
                </a:lnTo>
                <a:lnTo>
                  <a:pt x="162" y="288"/>
                </a:lnTo>
                <a:lnTo>
                  <a:pt x="162" y="288"/>
                </a:lnTo>
                <a:lnTo>
                  <a:pt x="168" y="288"/>
                </a:lnTo>
                <a:lnTo>
                  <a:pt x="168" y="288"/>
                </a:lnTo>
                <a:lnTo>
                  <a:pt x="168" y="288"/>
                </a:lnTo>
                <a:lnTo>
                  <a:pt x="168" y="288"/>
                </a:lnTo>
                <a:lnTo>
                  <a:pt x="168" y="288"/>
                </a:lnTo>
                <a:lnTo>
                  <a:pt x="168" y="288"/>
                </a:lnTo>
                <a:lnTo>
                  <a:pt x="168" y="288"/>
                </a:lnTo>
                <a:lnTo>
                  <a:pt x="174" y="288"/>
                </a:lnTo>
                <a:lnTo>
                  <a:pt x="174" y="288"/>
                </a:lnTo>
                <a:lnTo>
                  <a:pt x="174" y="288"/>
                </a:lnTo>
                <a:lnTo>
                  <a:pt x="180" y="288"/>
                </a:lnTo>
                <a:lnTo>
                  <a:pt x="180" y="282"/>
                </a:lnTo>
                <a:lnTo>
                  <a:pt x="180" y="282"/>
                </a:lnTo>
                <a:lnTo>
                  <a:pt x="180" y="282"/>
                </a:lnTo>
                <a:lnTo>
                  <a:pt x="180" y="282"/>
                </a:lnTo>
                <a:lnTo>
                  <a:pt x="180" y="282"/>
                </a:lnTo>
                <a:lnTo>
                  <a:pt x="180" y="282"/>
                </a:lnTo>
                <a:lnTo>
                  <a:pt x="180" y="276"/>
                </a:lnTo>
                <a:lnTo>
                  <a:pt x="186" y="276"/>
                </a:lnTo>
                <a:lnTo>
                  <a:pt x="186" y="276"/>
                </a:lnTo>
                <a:lnTo>
                  <a:pt x="186" y="276"/>
                </a:lnTo>
                <a:lnTo>
                  <a:pt x="186" y="276"/>
                </a:lnTo>
                <a:lnTo>
                  <a:pt x="186" y="276"/>
                </a:lnTo>
                <a:lnTo>
                  <a:pt x="186" y="276"/>
                </a:lnTo>
                <a:lnTo>
                  <a:pt x="186" y="276"/>
                </a:lnTo>
                <a:lnTo>
                  <a:pt x="186" y="276"/>
                </a:lnTo>
                <a:lnTo>
                  <a:pt x="186" y="276"/>
                </a:lnTo>
                <a:lnTo>
                  <a:pt x="186" y="276"/>
                </a:lnTo>
                <a:lnTo>
                  <a:pt x="180" y="276"/>
                </a:lnTo>
                <a:lnTo>
                  <a:pt x="180" y="276"/>
                </a:lnTo>
                <a:lnTo>
                  <a:pt x="180" y="276"/>
                </a:lnTo>
                <a:lnTo>
                  <a:pt x="180" y="276"/>
                </a:lnTo>
                <a:lnTo>
                  <a:pt x="180" y="276"/>
                </a:lnTo>
                <a:lnTo>
                  <a:pt x="180" y="276"/>
                </a:lnTo>
                <a:lnTo>
                  <a:pt x="180" y="270"/>
                </a:lnTo>
                <a:lnTo>
                  <a:pt x="174" y="270"/>
                </a:lnTo>
                <a:lnTo>
                  <a:pt x="174" y="270"/>
                </a:lnTo>
                <a:lnTo>
                  <a:pt x="174" y="270"/>
                </a:lnTo>
                <a:lnTo>
                  <a:pt x="174" y="270"/>
                </a:lnTo>
                <a:lnTo>
                  <a:pt x="174" y="270"/>
                </a:lnTo>
                <a:lnTo>
                  <a:pt x="174" y="270"/>
                </a:lnTo>
                <a:lnTo>
                  <a:pt x="168" y="264"/>
                </a:lnTo>
                <a:lnTo>
                  <a:pt x="168" y="270"/>
                </a:lnTo>
                <a:lnTo>
                  <a:pt x="162" y="270"/>
                </a:lnTo>
                <a:lnTo>
                  <a:pt x="162" y="264"/>
                </a:lnTo>
                <a:lnTo>
                  <a:pt x="162" y="264"/>
                </a:lnTo>
                <a:lnTo>
                  <a:pt x="162" y="264"/>
                </a:lnTo>
                <a:lnTo>
                  <a:pt x="162" y="264"/>
                </a:lnTo>
                <a:lnTo>
                  <a:pt x="156" y="264"/>
                </a:lnTo>
                <a:lnTo>
                  <a:pt x="156" y="264"/>
                </a:lnTo>
                <a:lnTo>
                  <a:pt x="156" y="264"/>
                </a:lnTo>
                <a:lnTo>
                  <a:pt x="156" y="264"/>
                </a:lnTo>
                <a:lnTo>
                  <a:pt x="156" y="264"/>
                </a:lnTo>
                <a:lnTo>
                  <a:pt x="156" y="264"/>
                </a:lnTo>
                <a:lnTo>
                  <a:pt x="150" y="264"/>
                </a:lnTo>
                <a:lnTo>
                  <a:pt x="150" y="264"/>
                </a:lnTo>
                <a:lnTo>
                  <a:pt x="150" y="264"/>
                </a:lnTo>
                <a:lnTo>
                  <a:pt x="150" y="264"/>
                </a:lnTo>
                <a:lnTo>
                  <a:pt x="144" y="258"/>
                </a:lnTo>
                <a:lnTo>
                  <a:pt x="144" y="264"/>
                </a:lnTo>
                <a:lnTo>
                  <a:pt x="144" y="264"/>
                </a:lnTo>
                <a:lnTo>
                  <a:pt x="144" y="258"/>
                </a:lnTo>
                <a:lnTo>
                  <a:pt x="138" y="258"/>
                </a:lnTo>
                <a:lnTo>
                  <a:pt x="138" y="258"/>
                </a:lnTo>
                <a:lnTo>
                  <a:pt x="138" y="258"/>
                </a:lnTo>
                <a:lnTo>
                  <a:pt x="138" y="258"/>
                </a:lnTo>
                <a:lnTo>
                  <a:pt x="132" y="258"/>
                </a:lnTo>
                <a:lnTo>
                  <a:pt x="132" y="258"/>
                </a:lnTo>
                <a:lnTo>
                  <a:pt x="132" y="258"/>
                </a:lnTo>
                <a:lnTo>
                  <a:pt x="132" y="252"/>
                </a:lnTo>
                <a:lnTo>
                  <a:pt x="126" y="252"/>
                </a:lnTo>
                <a:lnTo>
                  <a:pt x="126" y="252"/>
                </a:lnTo>
                <a:lnTo>
                  <a:pt x="126" y="246"/>
                </a:lnTo>
                <a:lnTo>
                  <a:pt x="126" y="246"/>
                </a:lnTo>
                <a:lnTo>
                  <a:pt x="126" y="246"/>
                </a:lnTo>
                <a:lnTo>
                  <a:pt x="120" y="246"/>
                </a:lnTo>
                <a:lnTo>
                  <a:pt x="120" y="246"/>
                </a:lnTo>
                <a:lnTo>
                  <a:pt x="114" y="246"/>
                </a:lnTo>
                <a:lnTo>
                  <a:pt x="114" y="246"/>
                </a:lnTo>
                <a:lnTo>
                  <a:pt x="114" y="246"/>
                </a:lnTo>
                <a:lnTo>
                  <a:pt x="114" y="246"/>
                </a:lnTo>
                <a:lnTo>
                  <a:pt x="108" y="246"/>
                </a:lnTo>
                <a:lnTo>
                  <a:pt x="108" y="246"/>
                </a:lnTo>
                <a:lnTo>
                  <a:pt x="108" y="246"/>
                </a:lnTo>
                <a:lnTo>
                  <a:pt x="108" y="246"/>
                </a:lnTo>
                <a:lnTo>
                  <a:pt x="108" y="240"/>
                </a:lnTo>
                <a:lnTo>
                  <a:pt x="108" y="240"/>
                </a:lnTo>
                <a:lnTo>
                  <a:pt x="102" y="240"/>
                </a:lnTo>
                <a:lnTo>
                  <a:pt x="102" y="246"/>
                </a:lnTo>
                <a:lnTo>
                  <a:pt x="96" y="246"/>
                </a:lnTo>
                <a:lnTo>
                  <a:pt x="96" y="240"/>
                </a:lnTo>
                <a:lnTo>
                  <a:pt x="96" y="240"/>
                </a:lnTo>
                <a:lnTo>
                  <a:pt x="90" y="234"/>
                </a:lnTo>
                <a:lnTo>
                  <a:pt x="90" y="234"/>
                </a:lnTo>
                <a:lnTo>
                  <a:pt x="90" y="234"/>
                </a:lnTo>
                <a:lnTo>
                  <a:pt x="90" y="240"/>
                </a:lnTo>
                <a:lnTo>
                  <a:pt x="84" y="234"/>
                </a:lnTo>
                <a:lnTo>
                  <a:pt x="84" y="240"/>
                </a:lnTo>
                <a:lnTo>
                  <a:pt x="84" y="234"/>
                </a:lnTo>
                <a:lnTo>
                  <a:pt x="84" y="234"/>
                </a:lnTo>
                <a:lnTo>
                  <a:pt x="84" y="240"/>
                </a:lnTo>
                <a:lnTo>
                  <a:pt x="78" y="234"/>
                </a:lnTo>
                <a:lnTo>
                  <a:pt x="78" y="240"/>
                </a:lnTo>
                <a:lnTo>
                  <a:pt x="72" y="240"/>
                </a:lnTo>
                <a:lnTo>
                  <a:pt x="72" y="246"/>
                </a:lnTo>
                <a:lnTo>
                  <a:pt x="72" y="246"/>
                </a:lnTo>
                <a:lnTo>
                  <a:pt x="72" y="246"/>
                </a:lnTo>
                <a:lnTo>
                  <a:pt x="66" y="246"/>
                </a:lnTo>
                <a:lnTo>
                  <a:pt x="66" y="246"/>
                </a:lnTo>
                <a:lnTo>
                  <a:pt x="66" y="246"/>
                </a:lnTo>
                <a:lnTo>
                  <a:pt x="60" y="252"/>
                </a:lnTo>
                <a:lnTo>
                  <a:pt x="60" y="252"/>
                </a:lnTo>
                <a:lnTo>
                  <a:pt x="60" y="252"/>
                </a:lnTo>
                <a:lnTo>
                  <a:pt x="54" y="258"/>
                </a:lnTo>
                <a:lnTo>
                  <a:pt x="54" y="258"/>
                </a:lnTo>
                <a:lnTo>
                  <a:pt x="48" y="258"/>
                </a:lnTo>
                <a:lnTo>
                  <a:pt x="48" y="258"/>
                </a:lnTo>
                <a:lnTo>
                  <a:pt x="48" y="258"/>
                </a:lnTo>
                <a:lnTo>
                  <a:pt x="48" y="258"/>
                </a:lnTo>
                <a:lnTo>
                  <a:pt x="48" y="258"/>
                </a:lnTo>
                <a:lnTo>
                  <a:pt x="48" y="258"/>
                </a:lnTo>
                <a:lnTo>
                  <a:pt x="42" y="258"/>
                </a:lnTo>
                <a:lnTo>
                  <a:pt x="42" y="258"/>
                </a:lnTo>
                <a:lnTo>
                  <a:pt x="42" y="258"/>
                </a:lnTo>
                <a:lnTo>
                  <a:pt x="42" y="258"/>
                </a:lnTo>
                <a:lnTo>
                  <a:pt x="42" y="264"/>
                </a:lnTo>
                <a:lnTo>
                  <a:pt x="36" y="264"/>
                </a:lnTo>
                <a:lnTo>
                  <a:pt x="36" y="264"/>
                </a:lnTo>
                <a:lnTo>
                  <a:pt x="36" y="264"/>
                </a:lnTo>
                <a:lnTo>
                  <a:pt x="30" y="264"/>
                </a:lnTo>
                <a:lnTo>
                  <a:pt x="30" y="264"/>
                </a:lnTo>
                <a:lnTo>
                  <a:pt x="30" y="264"/>
                </a:lnTo>
                <a:lnTo>
                  <a:pt x="30" y="264"/>
                </a:lnTo>
                <a:lnTo>
                  <a:pt x="24" y="264"/>
                </a:lnTo>
                <a:lnTo>
                  <a:pt x="24" y="264"/>
                </a:lnTo>
                <a:lnTo>
                  <a:pt x="24" y="264"/>
                </a:lnTo>
                <a:lnTo>
                  <a:pt x="18" y="270"/>
                </a:lnTo>
                <a:lnTo>
                  <a:pt x="18" y="264"/>
                </a:lnTo>
                <a:lnTo>
                  <a:pt x="18" y="264"/>
                </a:lnTo>
                <a:lnTo>
                  <a:pt x="12" y="264"/>
                </a:lnTo>
                <a:lnTo>
                  <a:pt x="12" y="264"/>
                </a:lnTo>
                <a:lnTo>
                  <a:pt x="12" y="264"/>
                </a:lnTo>
                <a:lnTo>
                  <a:pt x="6" y="258"/>
                </a:lnTo>
                <a:lnTo>
                  <a:pt x="6" y="258"/>
                </a:lnTo>
                <a:lnTo>
                  <a:pt x="6" y="258"/>
                </a:lnTo>
                <a:lnTo>
                  <a:pt x="0" y="258"/>
                </a:lnTo>
                <a:lnTo>
                  <a:pt x="0" y="258"/>
                </a:lnTo>
                <a:lnTo>
                  <a:pt x="0" y="258"/>
                </a:lnTo>
                <a:lnTo>
                  <a:pt x="0" y="258"/>
                </a:lnTo>
                <a:lnTo>
                  <a:pt x="0" y="252"/>
                </a:lnTo>
                <a:lnTo>
                  <a:pt x="0" y="252"/>
                </a:lnTo>
                <a:lnTo>
                  <a:pt x="0" y="252"/>
                </a:lnTo>
                <a:lnTo>
                  <a:pt x="6" y="240"/>
                </a:lnTo>
                <a:lnTo>
                  <a:pt x="6" y="240"/>
                </a:lnTo>
                <a:lnTo>
                  <a:pt x="12" y="234"/>
                </a:lnTo>
                <a:lnTo>
                  <a:pt x="12" y="234"/>
                </a:lnTo>
                <a:lnTo>
                  <a:pt x="12" y="234"/>
                </a:lnTo>
                <a:lnTo>
                  <a:pt x="18" y="228"/>
                </a:lnTo>
                <a:lnTo>
                  <a:pt x="18" y="228"/>
                </a:lnTo>
                <a:lnTo>
                  <a:pt x="18" y="222"/>
                </a:lnTo>
                <a:lnTo>
                  <a:pt x="24" y="228"/>
                </a:lnTo>
                <a:lnTo>
                  <a:pt x="24" y="222"/>
                </a:lnTo>
                <a:lnTo>
                  <a:pt x="18" y="216"/>
                </a:lnTo>
                <a:lnTo>
                  <a:pt x="18" y="216"/>
                </a:lnTo>
                <a:lnTo>
                  <a:pt x="12" y="210"/>
                </a:lnTo>
                <a:lnTo>
                  <a:pt x="18" y="204"/>
                </a:lnTo>
                <a:lnTo>
                  <a:pt x="18" y="204"/>
                </a:lnTo>
                <a:lnTo>
                  <a:pt x="18" y="19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292" name="Freeform 25"/>
          <p:cNvSpPr>
            <a:spLocks/>
          </p:cNvSpPr>
          <p:nvPr/>
        </p:nvSpPr>
        <p:spPr bwMode="auto">
          <a:xfrm>
            <a:off x="3402139" y="1443308"/>
            <a:ext cx="1182025" cy="841557"/>
          </a:xfrm>
          <a:custGeom>
            <a:avLst/>
            <a:gdLst>
              <a:gd name="T0" fmla="*/ 60 w 1104"/>
              <a:gd name="T1" fmla="*/ 582 h 786"/>
              <a:gd name="T2" fmla="*/ 138 w 1104"/>
              <a:gd name="T3" fmla="*/ 582 h 786"/>
              <a:gd name="T4" fmla="*/ 180 w 1104"/>
              <a:gd name="T5" fmla="*/ 618 h 786"/>
              <a:gd name="T6" fmla="*/ 228 w 1104"/>
              <a:gd name="T7" fmla="*/ 606 h 786"/>
              <a:gd name="T8" fmla="*/ 258 w 1104"/>
              <a:gd name="T9" fmla="*/ 582 h 786"/>
              <a:gd name="T10" fmla="*/ 288 w 1104"/>
              <a:gd name="T11" fmla="*/ 576 h 786"/>
              <a:gd name="T12" fmla="*/ 330 w 1104"/>
              <a:gd name="T13" fmla="*/ 558 h 786"/>
              <a:gd name="T14" fmla="*/ 384 w 1104"/>
              <a:gd name="T15" fmla="*/ 552 h 786"/>
              <a:gd name="T16" fmla="*/ 438 w 1104"/>
              <a:gd name="T17" fmla="*/ 546 h 786"/>
              <a:gd name="T18" fmla="*/ 480 w 1104"/>
              <a:gd name="T19" fmla="*/ 540 h 786"/>
              <a:gd name="T20" fmla="*/ 516 w 1104"/>
              <a:gd name="T21" fmla="*/ 522 h 786"/>
              <a:gd name="T22" fmla="*/ 588 w 1104"/>
              <a:gd name="T23" fmla="*/ 504 h 786"/>
              <a:gd name="T24" fmla="*/ 624 w 1104"/>
              <a:gd name="T25" fmla="*/ 510 h 786"/>
              <a:gd name="T26" fmla="*/ 660 w 1104"/>
              <a:gd name="T27" fmla="*/ 516 h 786"/>
              <a:gd name="T28" fmla="*/ 684 w 1104"/>
              <a:gd name="T29" fmla="*/ 486 h 786"/>
              <a:gd name="T30" fmla="*/ 720 w 1104"/>
              <a:gd name="T31" fmla="*/ 450 h 786"/>
              <a:gd name="T32" fmla="*/ 720 w 1104"/>
              <a:gd name="T33" fmla="*/ 396 h 786"/>
              <a:gd name="T34" fmla="*/ 744 w 1104"/>
              <a:gd name="T35" fmla="*/ 336 h 786"/>
              <a:gd name="T36" fmla="*/ 762 w 1104"/>
              <a:gd name="T37" fmla="*/ 306 h 786"/>
              <a:gd name="T38" fmla="*/ 828 w 1104"/>
              <a:gd name="T39" fmla="*/ 276 h 786"/>
              <a:gd name="T40" fmla="*/ 864 w 1104"/>
              <a:gd name="T41" fmla="*/ 264 h 786"/>
              <a:gd name="T42" fmla="*/ 882 w 1104"/>
              <a:gd name="T43" fmla="*/ 228 h 786"/>
              <a:gd name="T44" fmla="*/ 852 w 1104"/>
              <a:gd name="T45" fmla="*/ 192 h 786"/>
              <a:gd name="T46" fmla="*/ 882 w 1104"/>
              <a:gd name="T47" fmla="*/ 168 h 786"/>
              <a:gd name="T48" fmla="*/ 888 w 1104"/>
              <a:gd name="T49" fmla="*/ 102 h 786"/>
              <a:gd name="T50" fmla="*/ 930 w 1104"/>
              <a:gd name="T51" fmla="*/ 90 h 786"/>
              <a:gd name="T52" fmla="*/ 966 w 1104"/>
              <a:gd name="T53" fmla="*/ 90 h 786"/>
              <a:gd name="T54" fmla="*/ 990 w 1104"/>
              <a:gd name="T55" fmla="*/ 60 h 786"/>
              <a:gd name="T56" fmla="*/ 1008 w 1104"/>
              <a:gd name="T57" fmla="*/ 30 h 786"/>
              <a:gd name="T58" fmla="*/ 1032 w 1104"/>
              <a:gd name="T59" fmla="*/ 24 h 786"/>
              <a:gd name="T60" fmla="*/ 1080 w 1104"/>
              <a:gd name="T61" fmla="*/ 6 h 786"/>
              <a:gd name="T62" fmla="*/ 1092 w 1104"/>
              <a:gd name="T63" fmla="*/ 48 h 786"/>
              <a:gd name="T64" fmla="*/ 1044 w 1104"/>
              <a:gd name="T65" fmla="*/ 84 h 786"/>
              <a:gd name="T66" fmla="*/ 1008 w 1104"/>
              <a:gd name="T67" fmla="*/ 168 h 786"/>
              <a:gd name="T68" fmla="*/ 1020 w 1104"/>
              <a:gd name="T69" fmla="*/ 240 h 786"/>
              <a:gd name="T70" fmla="*/ 966 w 1104"/>
              <a:gd name="T71" fmla="*/ 306 h 786"/>
              <a:gd name="T72" fmla="*/ 906 w 1104"/>
              <a:gd name="T73" fmla="*/ 348 h 786"/>
              <a:gd name="T74" fmla="*/ 882 w 1104"/>
              <a:gd name="T75" fmla="*/ 390 h 786"/>
              <a:gd name="T76" fmla="*/ 840 w 1104"/>
              <a:gd name="T77" fmla="*/ 444 h 786"/>
              <a:gd name="T78" fmla="*/ 798 w 1104"/>
              <a:gd name="T79" fmla="*/ 456 h 786"/>
              <a:gd name="T80" fmla="*/ 780 w 1104"/>
              <a:gd name="T81" fmla="*/ 510 h 786"/>
              <a:gd name="T82" fmla="*/ 816 w 1104"/>
              <a:gd name="T83" fmla="*/ 534 h 786"/>
              <a:gd name="T84" fmla="*/ 858 w 1104"/>
              <a:gd name="T85" fmla="*/ 504 h 786"/>
              <a:gd name="T86" fmla="*/ 900 w 1104"/>
              <a:gd name="T87" fmla="*/ 522 h 786"/>
              <a:gd name="T88" fmla="*/ 936 w 1104"/>
              <a:gd name="T89" fmla="*/ 534 h 786"/>
              <a:gd name="T90" fmla="*/ 954 w 1104"/>
              <a:gd name="T91" fmla="*/ 546 h 786"/>
              <a:gd name="T92" fmla="*/ 924 w 1104"/>
              <a:gd name="T93" fmla="*/ 564 h 786"/>
              <a:gd name="T94" fmla="*/ 888 w 1104"/>
              <a:gd name="T95" fmla="*/ 570 h 786"/>
              <a:gd name="T96" fmla="*/ 858 w 1104"/>
              <a:gd name="T97" fmla="*/ 564 h 786"/>
              <a:gd name="T98" fmla="*/ 834 w 1104"/>
              <a:gd name="T99" fmla="*/ 570 h 786"/>
              <a:gd name="T100" fmla="*/ 804 w 1104"/>
              <a:gd name="T101" fmla="*/ 642 h 786"/>
              <a:gd name="T102" fmla="*/ 768 w 1104"/>
              <a:gd name="T103" fmla="*/ 624 h 786"/>
              <a:gd name="T104" fmla="*/ 738 w 1104"/>
              <a:gd name="T105" fmla="*/ 612 h 786"/>
              <a:gd name="T106" fmla="*/ 696 w 1104"/>
              <a:gd name="T107" fmla="*/ 618 h 786"/>
              <a:gd name="T108" fmla="*/ 654 w 1104"/>
              <a:gd name="T109" fmla="*/ 606 h 786"/>
              <a:gd name="T110" fmla="*/ 612 w 1104"/>
              <a:gd name="T111" fmla="*/ 606 h 786"/>
              <a:gd name="T112" fmla="*/ 582 w 1104"/>
              <a:gd name="T113" fmla="*/ 594 h 786"/>
              <a:gd name="T114" fmla="*/ 558 w 1104"/>
              <a:gd name="T115" fmla="*/ 612 h 786"/>
              <a:gd name="T116" fmla="*/ 546 w 1104"/>
              <a:gd name="T117" fmla="*/ 666 h 786"/>
              <a:gd name="T118" fmla="*/ 528 w 1104"/>
              <a:gd name="T119" fmla="*/ 696 h 786"/>
              <a:gd name="T120" fmla="*/ 516 w 1104"/>
              <a:gd name="T121" fmla="*/ 744 h 786"/>
              <a:gd name="T122" fmla="*/ 228 w 1104"/>
              <a:gd name="T123" fmla="*/ 696 h 7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104" h="786">
                <a:moveTo>
                  <a:pt x="0" y="612"/>
                </a:moveTo>
                <a:lnTo>
                  <a:pt x="6" y="600"/>
                </a:lnTo>
                <a:lnTo>
                  <a:pt x="12" y="594"/>
                </a:lnTo>
                <a:lnTo>
                  <a:pt x="6" y="588"/>
                </a:lnTo>
                <a:lnTo>
                  <a:pt x="6" y="588"/>
                </a:lnTo>
                <a:lnTo>
                  <a:pt x="6" y="588"/>
                </a:lnTo>
                <a:lnTo>
                  <a:pt x="6" y="588"/>
                </a:lnTo>
                <a:lnTo>
                  <a:pt x="12" y="588"/>
                </a:lnTo>
                <a:lnTo>
                  <a:pt x="12" y="582"/>
                </a:lnTo>
                <a:lnTo>
                  <a:pt x="18" y="588"/>
                </a:lnTo>
                <a:lnTo>
                  <a:pt x="24" y="582"/>
                </a:lnTo>
                <a:lnTo>
                  <a:pt x="24" y="588"/>
                </a:lnTo>
                <a:lnTo>
                  <a:pt x="30" y="582"/>
                </a:lnTo>
                <a:lnTo>
                  <a:pt x="30" y="582"/>
                </a:lnTo>
                <a:lnTo>
                  <a:pt x="30" y="582"/>
                </a:lnTo>
                <a:lnTo>
                  <a:pt x="30" y="582"/>
                </a:lnTo>
                <a:lnTo>
                  <a:pt x="36" y="582"/>
                </a:lnTo>
                <a:lnTo>
                  <a:pt x="36" y="588"/>
                </a:lnTo>
                <a:lnTo>
                  <a:pt x="36" y="588"/>
                </a:lnTo>
                <a:lnTo>
                  <a:pt x="42" y="588"/>
                </a:lnTo>
                <a:lnTo>
                  <a:pt x="42" y="588"/>
                </a:lnTo>
                <a:lnTo>
                  <a:pt x="42" y="588"/>
                </a:lnTo>
                <a:lnTo>
                  <a:pt x="48" y="588"/>
                </a:lnTo>
                <a:lnTo>
                  <a:pt x="48" y="588"/>
                </a:lnTo>
                <a:lnTo>
                  <a:pt x="54" y="588"/>
                </a:lnTo>
                <a:lnTo>
                  <a:pt x="54" y="588"/>
                </a:lnTo>
                <a:lnTo>
                  <a:pt x="60" y="582"/>
                </a:lnTo>
                <a:lnTo>
                  <a:pt x="60" y="582"/>
                </a:lnTo>
                <a:lnTo>
                  <a:pt x="66" y="582"/>
                </a:lnTo>
                <a:lnTo>
                  <a:pt x="72" y="582"/>
                </a:lnTo>
                <a:lnTo>
                  <a:pt x="72" y="582"/>
                </a:lnTo>
                <a:lnTo>
                  <a:pt x="78" y="588"/>
                </a:lnTo>
                <a:lnTo>
                  <a:pt x="78" y="588"/>
                </a:lnTo>
                <a:lnTo>
                  <a:pt x="78" y="588"/>
                </a:lnTo>
                <a:lnTo>
                  <a:pt x="84" y="588"/>
                </a:lnTo>
                <a:lnTo>
                  <a:pt x="84" y="594"/>
                </a:lnTo>
                <a:lnTo>
                  <a:pt x="90" y="594"/>
                </a:lnTo>
                <a:lnTo>
                  <a:pt x="90" y="594"/>
                </a:lnTo>
                <a:lnTo>
                  <a:pt x="96" y="594"/>
                </a:lnTo>
                <a:lnTo>
                  <a:pt x="102" y="594"/>
                </a:lnTo>
                <a:lnTo>
                  <a:pt x="102" y="594"/>
                </a:lnTo>
                <a:lnTo>
                  <a:pt x="108" y="594"/>
                </a:lnTo>
                <a:lnTo>
                  <a:pt x="108" y="594"/>
                </a:lnTo>
                <a:lnTo>
                  <a:pt x="114" y="594"/>
                </a:lnTo>
                <a:lnTo>
                  <a:pt x="114" y="594"/>
                </a:lnTo>
                <a:lnTo>
                  <a:pt x="114" y="594"/>
                </a:lnTo>
                <a:lnTo>
                  <a:pt x="120" y="588"/>
                </a:lnTo>
                <a:lnTo>
                  <a:pt x="126" y="588"/>
                </a:lnTo>
                <a:lnTo>
                  <a:pt x="126" y="588"/>
                </a:lnTo>
                <a:lnTo>
                  <a:pt x="126" y="588"/>
                </a:lnTo>
                <a:lnTo>
                  <a:pt x="132" y="582"/>
                </a:lnTo>
                <a:lnTo>
                  <a:pt x="132" y="582"/>
                </a:lnTo>
                <a:lnTo>
                  <a:pt x="132" y="582"/>
                </a:lnTo>
                <a:lnTo>
                  <a:pt x="138" y="582"/>
                </a:lnTo>
                <a:lnTo>
                  <a:pt x="138" y="582"/>
                </a:lnTo>
                <a:lnTo>
                  <a:pt x="138" y="582"/>
                </a:lnTo>
                <a:lnTo>
                  <a:pt x="138" y="588"/>
                </a:lnTo>
                <a:lnTo>
                  <a:pt x="138" y="588"/>
                </a:lnTo>
                <a:lnTo>
                  <a:pt x="138" y="588"/>
                </a:lnTo>
                <a:lnTo>
                  <a:pt x="132" y="588"/>
                </a:lnTo>
                <a:lnTo>
                  <a:pt x="138" y="594"/>
                </a:lnTo>
                <a:lnTo>
                  <a:pt x="138" y="594"/>
                </a:lnTo>
                <a:lnTo>
                  <a:pt x="138" y="600"/>
                </a:lnTo>
                <a:lnTo>
                  <a:pt x="144" y="600"/>
                </a:lnTo>
                <a:lnTo>
                  <a:pt x="144" y="606"/>
                </a:lnTo>
                <a:lnTo>
                  <a:pt x="144" y="606"/>
                </a:lnTo>
                <a:lnTo>
                  <a:pt x="144" y="606"/>
                </a:lnTo>
                <a:lnTo>
                  <a:pt x="150" y="606"/>
                </a:lnTo>
                <a:lnTo>
                  <a:pt x="150" y="606"/>
                </a:lnTo>
                <a:lnTo>
                  <a:pt x="150" y="606"/>
                </a:lnTo>
                <a:lnTo>
                  <a:pt x="150" y="606"/>
                </a:lnTo>
                <a:lnTo>
                  <a:pt x="156" y="612"/>
                </a:lnTo>
                <a:lnTo>
                  <a:pt x="156" y="612"/>
                </a:lnTo>
                <a:lnTo>
                  <a:pt x="162" y="612"/>
                </a:lnTo>
                <a:lnTo>
                  <a:pt x="162" y="606"/>
                </a:lnTo>
                <a:lnTo>
                  <a:pt x="168" y="606"/>
                </a:lnTo>
                <a:lnTo>
                  <a:pt x="174" y="612"/>
                </a:lnTo>
                <a:lnTo>
                  <a:pt x="174" y="612"/>
                </a:lnTo>
                <a:lnTo>
                  <a:pt x="174" y="612"/>
                </a:lnTo>
                <a:lnTo>
                  <a:pt x="174" y="618"/>
                </a:lnTo>
                <a:lnTo>
                  <a:pt x="180" y="618"/>
                </a:lnTo>
                <a:lnTo>
                  <a:pt x="174" y="618"/>
                </a:lnTo>
                <a:lnTo>
                  <a:pt x="174" y="618"/>
                </a:lnTo>
                <a:lnTo>
                  <a:pt x="174" y="624"/>
                </a:lnTo>
                <a:lnTo>
                  <a:pt x="180" y="618"/>
                </a:lnTo>
                <a:lnTo>
                  <a:pt x="180" y="618"/>
                </a:lnTo>
                <a:lnTo>
                  <a:pt x="180" y="618"/>
                </a:lnTo>
                <a:lnTo>
                  <a:pt x="186" y="618"/>
                </a:lnTo>
                <a:lnTo>
                  <a:pt x="186" y="618"/>
                </a:lnTo>
                <a:lnTo>
                  <a:pt x="186" y="618"/>
                </a:lnTo>
                <a:lnTo>
                  <a:pt x="192" y="618"/>
                </a:lnTo>
                <a:lnTo>
                  <a:pt x="192" y="618"/>
                </a:lnTo>
                <a:lnTo>
                  <a:pt x="192" y="618"/>
                </a:lnTo>
                <a:lnTo>
                  <a:pt x="198" y="618"/>
                </a:lnTo>
                <a:lnTo>
                  <a:pt x="198" y="612"/>
                </a:lnTo>
                <a:lnTo>
                  <a:pt x="204" y="612"/>
                </a:lnTo>
                <a:lnTo>
                  <a:pt x="204" y="612"/>
                </a:lnTo>
                <a:lnTo>
                  <a:pt x="210" y="612"/>
                </a:lnTo>
                <a:lnTo>
                  <a:pt x="216" y="612"/>
                </a:lnTo>
                <a:lnTo>
                  <a:pt x="216" y="606"/>
                </a:lnTo>
                <a:lnTo>
                  <a:pt x="222" y="606"/>
                </a:lnTo>
                <a:lnTo>
                  <a:pt x="222" y="606"/>
                </a:lnTo>
                <a:lnTo>
                  <a:pt x="222" y="606"/>
                </a:lnTo>
                <a:lnTo>
                  <a:pt x="222" y="606"/>
                </a:lnTo>
                <a:lnTo>
                  <a:pt x="222" y="606"/>
                </a:lnTo>
                <a:lnTo>
                  <a:pt x="228" y="606"/>
                </a:lnTo>
                <a:lnTo>
                  <a:pt x="228" y="606"/>
                </a:lnTo>
                <a:lnTo>
                  <a:pt x="228" y="606"/>
                </a:lnTo>
                <a:lnTo>
                  <a:pt x="228" y="606"/>
                </a:lnTo>
                <a:lnTo>
                  <a:pt x="228" y="600"/>
                </a:lnTo>
                <a:lnTo>
                  <a:pt x="228" y="600"/>
                </a:lnTo>
                <a:lnTo>
                  <a:pt x="228" y="600"/>
                </a:lnTo>
                <a:lnTo>
                  <a:pt x="228" y="600"/>
                </a:lnTo>
                <a:lnTo>
                  <a:pt x="228" y="594"/>
                </a:lnTo>
                <a:lnTo>
                  <a:pt x="228" y="594"/>
                </a:lnTo>
                <a:lnTo>
                  <a:pt x="234" y="594"/>
                </a:lnTo>
                <a:lnTo>
                  <a:pt x="234" y="594"/>
                </a:lnTo>
                <a:lnTo>
                  <a:pt x="234" y="594"/>
                </a:lnTo>
                <a:lnTo>
                  <a:pt x="234" y="594"/>
                </a:lnTo>
                <a:lnTo>
                  <a:pt x="240" y="594"/>
                </a:lnTo>
                <a:lnTo>
                  <a:pt x="240" y="594"/>
                </a:lnTo>
                <a:lnTo>
                  <a:pt x="246" y="594"/>
                </a:lnTo>
                <a:lnTo>
                  <a:pt x="252" y="594"/>
                </a:lnTo>
                <a:lnTo>
                  <a:pt x="252" y="588"/>
                </a:lnTo>
                <a:lnTo>
                  <a:pt x="252" y="588"/>
                </a:lnTo>
                <a:lnTo>
                  <a:pt x="252" y="582"/>
                </a:lnTo>
                <a:lnTo>
                  <a:pt x="252" y="582"/>
                </a:lnTo>
                <a:lnTo>
                  <a:pt x="252" y="582"/>
                </a:lnTo>
                <a:lnTo>
                  <a:pt x="252" y="582"/>
                </a:lnTo>
                <a:lnTo>
                  <a:pt x="252" y="582"/>
                </a:lnTo>
                <a:lnTo>
                  <a:pt x="258" y="582"/>
                </a:lnTo>
                <a:lnTo>
                  <a:pt x="258" y="582"/>
                </a:lnTo>
                <a:lnTo>
                  <a:pt x="258" y="582"/>
                </a:lnTo>
                <a:lnTo>
                  <a:pt x="258" y="582"/>
                </a:lnTo>
                <a:lnTo>
                  <a:pt x="258" y="582"/>
                </a:lnTo>
                <a:lnTo>
                  <a:pt x="258" y="582"/>
                </a:lnTo>
                <a:lnTo>
                  <a:pt x="264" y="582"/>
                </a:lnTo>
                <a:lnTo>
                  <a:pt x="264" y="582"/>
                </a:lnTo>
                <a:lnTo>
                  <a:pt x="264" y="576"/>
                </a:lnTo>
                <a:lnTo>
                  <a:pt x="264" y="576"/>
                </a:lnTo>
                <a:lnTo>
                  <a:pt x="270" y="576"/>
                </a:lnTo>
                <a:lnTo>
                  <a:pt x="270" y="582"/>
                </a:lnTo>
                <a:lnTo>
                  <a:pt x="276" y="582"/>
                </a:lnTo>
                <a:lnTo>
                  <a:pt x="276" y="582"/>
                </a:lnTo>
                <a:lnTo>
                  <a:pt x="270" y="588"/>
                </a:lnTo>
                <a:lnTo>
                  <a:pt x="270" y="588"/>
                </a:lnTo>
                <a:lnTo>
                  <a:pt x="270" y="588"/>
                </a:lnTo>
                <a:lnTo>
                  <a:pt x="276" y="588"/>
                </a:lnTo>
                <a:lnTo>
                  <a:pt x="276" y="588"/>
                </a:lnTo>
                <a:lnTo>
                  <a:pt x="276" y="588"/>
                </a:lnTo>
                <a:lnTo>
                  <a:pt x="276" y="588"/>
                </a:lnTo>
                <a:lnTo>
                  <a:pt x="276" y="588"/>
                </a:lnTo>
                <a:lnTo>
                  <a:pt x="276" y="588"/>
                </a:lnTo>
                <a:lnTo>
                  <a:pt x="276" y="582"/>
                </a:lnTo>
                <a:lnTo>
                  <a:pt x="282" y="582"/>
                </a:lnTo>
                <a:lnTo>
                  <a:pt x="282" y="582"/>
                </a:lnTo>
                <a:lnTo>
                  <a:pt x="282" y="588"/>
                </a:lnTo>
                <a:lnTo>
                  <a:pt x="282" y="588"/>
                </a:lnTo>
                <a:lnTo>
                  <a:pt x="282" y="588"/>
                </a:lnTo>
                <a:lnTo>
                  <a:pt x="288" y="582"/>
                </a:lnTo>
                <a:lnTo>
                  <a:pt x="288" y="582"/>
                </a:lnTo>
                <a:lnTo>
                  <a:pt x="288" y="576"/>
                </a:lnTo>
                <a:lnTo>
                  <a:pt x="288" y="576"/>
                </a:lnTo>
                <a:lnTo>
                  <a:pt x="288" y="576"/>
                </a:lnTo>
                <a:lnTo>
                  <a:pt x="288" y="576"/>
                </a:lnTo>
                <a:lnTo>
                  <a:pt x="294" y="576"/>
                </a:lnTo>
                <a:lnTo>
                  <a:pt x="294" y="576"/>
                </a:lnTo>
                <a:lnTo>
                  <a:pt x="294" y="576"/>
                </a:lnTo>
                <a:lnTo>
                  <a:pt x="294" y="576"/>
                </a:lnTo>
                <a:lnTo>
                  <a:pt x="300" y="570"/>
                </a:lnTo>
                <a:lnTo>
                  <a:pt x="300" y="570"/>
                </a:lnTo>
                <a:lnTo>
                  <a:pt x="300" y="570"/>
                </a:lnTo>
                <a:lnTo>
                  <a:pt x="300" y="564"/>
                </a:lnTo>
                <a:lnTo>
                  <a:pt x="306" y="564"/>
                </a:lnTo>
                <a:lnTo>
                  <a:pt x="306" y="564"/>
                </a:lnTo>
                <a:lnTo>
                  <a:pt x="306" y="558"/>
                </a:lnTo>
                <a:lnTo>
                  <a:pt x="306" y="558"/>
                </a:lnTo>
                <a:lnTo>
                  <a:pt x="312" y="552"/>
                </a:lnTo>
                <a:lnTo>
                  <a:pt x="312" y="552"/>
                </a:lnTo>
                <a:lnTo>
                  <a:pt x="312" y="552"/>
                </a:lnTo>
                <a:lnTo>
                  <a:pt x="318" y="552"/>
                </a:lnTo>
                <a:lnTo>
                  <a:pt x="318" y="552"/>
                </a:lnTo>
                <a:lnTo>
                  <a:pt x="318" y="558"/>
                </a:lnTo>
                <a:lnTo>
                  <a:pt x="324" y="558"/>
                </a:lnTo>
                <a:lnTo>
                  <a:pt x="324" y="558"/>
                </a:lnTo>
                <a:lnTo>
                  <a:pt x="324" y="558"/>
                </a:lnTo>
                <a:lnTo>
                  <a:pt x="324" y="558"/>
                </a:lnTo>
                <a:lnTo>
                  <a:pt x="330" y="558"/>
                </a:lnTo>
                <a:lnTo>
                  <a:pt x="330" y="558"/>
                </a:lnTo>
                <a:lnTo>
                  <a:pt x="336" y="552"/>
                </a:lnTo>
                <a:lnTo>
                  <a:pt x="336" y="552"/>
                </a:lnTo>
                <a:lnTo>
                  <a:pt x="336" y="552"/>
                </a:lnTo>
                <a:lnTo>
                  <a:pt x="342" y="552"/>
                </a:lnTo>
                <a:lnTo>
                  <a:pt x="342" y="558"/>
                </a:lnTo>
                <a:lnTo>
                  <a:pt x="342" y="552"/>
                </a:lnTo>
                <a:lnTo>
                  <a:pt x="342" y="552"/>
                </a:lnTo>
                <a:lnTo>
                  <a:pt x="342" y="546"/>
                </a:lnTo>
                <a:lnTo>
                  <a:pt x="348" y="546"/>
                </a:lnTo>
                <a:lnTo>
                  <a:pt x="348" y="546"/>
                </a:lnTo>
                <a:lnTo>
                  <a:pt x="354" y="546"/>
                </a:lnTo>
                <a:lnTo>
                  <a:pt x="354" y="546"/>
                </a:lnTo>
                <a:lnTo>
                  <a:pt x="360" y="546"/>
                </a:lnTo>
                <a:lnTo>
                  <a:pt x="360" y="546"/>
                </a:lnTo>
                <a:lnTo>
                  <a:pt x="360" y="552"/>
                </a:lnTo>
                <a:lnTo>
                  <a:pt x="360" y="552"/>
                </a:lnTo>
                <a:lnTo>
                  <a:pt x="366" y="552"/>
                </a:lnTo>
                <a:lnTo>
                  <a:pt x="366" y="552"/>
                </a:lnTo>
                <a:lnTo>
                  <a:pt x="366" y="558"/>
                </a:lnTo>
                <a:lnTo>
                  <a:pt x="366" y="558"/>
                </a:lnTo>
                <a:lnTo>
                  <a:pt x="372" y="552"/>
                </a:lnTo>
                <a:lnTo>
                  <a:pt x="372" y="558"/>
                </a:lnTo>
                <a:lnTo>
                  <a:pt x="372" y="558"/>
                </a:lnTo>
                <a:lnTo>
                  <a:pt x="378" y="558"/>
                </a:lnTo>
                <a:lnTo>
                  <a:pt x="378" y="558"/>
                </a:lnTo>
                <a:lnTo>
                  <a:pt x="378" y="558"/>
                </a:lnTo>
                <a:lnTo>
                  <a:pt x="384" y="552"/>
                </a:lnTo>
                <a:lnTo>
                  <a:pt x="384" y="552"/>
                </a:lnTo>
                <a:lnTo>
                  <a:pt x="384" y="552"/>
                </a:lnTo>
                <a:lnTo>
                  <a:pt x="384" y="546"/>
                </a:lnTo>
                <a:lnTo>
                  <a:pt x="390" y="546"/>
                </a:lnTo>
                <a:lnTo>
                  <a:pt x="390" y="546"/>
                </a:lnTo>
                <a:lnTo>
                  <a:pt x="396" y="546"/>
                </a:lnTo>
                <a:lnTo>
                  <a:pt x="396" y="546"/>
                </a:lnTo>
                <a:lnTo>
                  <a:pt x="396" y="540"/>
                </a:lnTo>
                <a:lnTo>
                  <a:pt x="402" y="540"/>
                </a:lnTo>
                <a:lnTo>
                  <a:pt x="408" y="540"/>
                </a:lnTo>
                <a:lnTo>
                  <a:pt x="408" y="540"/>
                </a:lnTo>
                <a:lnTo>
                  <a:pt x="408" y="540"/>
                </a:lnTo>
                <a:lnTo>
                  <a:pt x="408" y="534"/>
                </a:lnTo>
                <a:lnTo>
                  <a:pt x="414" y="534"/>
                </a:lnTo>
                <a:lnTo>
                  <a:pt x="414" y="534"/>
                </a:lnTo>
                <a:lnTo>
                  <a:pt x="414" y="534"/>
                </a:lnTo>
                <a:lnTo>
                  <a:pt x="420" y="540"/>
                </a:lnTo>
                <a:lnTo>
                  <a:pt x="420" y="540"/>
                </a:lnTo>
                <a:lnTo>
                  <a:pt x="426" y="534"/>
                </a:lnTo>
                <a:lnTo>
                  <a:pt x="432" y="534"/>
                </a:lnTo>
                <a:lnTo>
                  <a:pt x="432" y="540"/>
                </a:lnTo>
                <a:lnTo>
                  <a:pt x="432" y="540"/>
                </a:lnTo>
                <a:lnTo>
                  <a:pt x="438" y="540"/>
                </a:lnTo>
                <a:lnTo>
                  <a:pt x="438" y="546"/>
                </a:lnTo>
                <a:lnTo>
                  <a:pt x="438" y="546"/>
                </a:lnTo>
                <a:lnTo>
                  <a:pt x="438" y="546"/>
                </a:lnTo>
                <a:lnTo>
                  <a:pt x="438" y="546"/>
                </a:lnTo>
                <a:lnTo>
                  <a:pt x="444" y="546"/>
                </a:lnTo>
                <a:lnTo>
                  <a:pt x="444" y="546"/>
                </a:lnTo>
                <a:lnTo>
                  <a:pt x="444" y="546"/>
                </a:lnTo>
                <a:lnTo>
                  <a:pt x="450" y="546"/>
                </a:lnTo>
                <a:lnTo>
                  <a:pt x="450" y="540"/>
                </a:lnTo>
                <a:lnTo>
                  <a:pt x="450" y="540"/>
                </a:lnTo>
                <a:lnTo>
                  <a:pt x="450" y="546"/>
                </a:lnTo>
                <a:lnTo>
                  <a:pt x="450" y="546"/>
                </a:lnTo>
                <a:lnTo>
                  <a:pt x="450" y="546"/>
                </a:lnTo>
                <a:lnTo>
                  <a:pt x="456" y="546"/>
                </a:lnTo>
                <a:lnTo>
                  <a:pt x="456" y="540"/>
                </a:lnTo>
                <a:lnTo>
                  <a:pt x="456" y="540"/>
                </a:lnTo>
                <a:lnTo>
                  <a:pt x="456" y="540"/>
                </a:lnTo>
                <a:lnTo>
                  <a:pt x="462" y="540"/>
                </a:lnTo>
                <a:lnTo>
                  <a:pt x="462" y="540"/>
                </a:lnTo>
                <a:lnTo>
                  <a:pt x="462" y="540"/>
                </a:lnTo>
                <a:lnTo>
                  <a:pt x="462" y="540"/>
                </a:lnTo>
                <a:lnTo>
                  <a:pt x="468" y="540"/>
                </a:lnTo>
                <a:lnTo>
                  <a:pt x="468" y="540"/>
                </a:lnTo>
                <a:lnTo>
                  <a:pt x="468" y="546"/>
                </a:lnTo>
                <a:lnTo>
                  <a:pt x="474" y="546"/>
                </a:lnTo>
                <a:lnTo>
                  <a:pt x="474" y="546"/>
                </a:lnTo>
                <a:lnTo>
                  <a:pt x="474" y="546"/>
                </a:lnTo>
                <a:lnTo>
                  <a:pt x="474" y="540"/>
                </a:lnTo>
                <a:lnTo>
                  <a:pt x="474" y="540"/>
                </a:lnTo>
                <a:lnTo>
                  <a:pt x="480" y="540"/>
                </a:lnTo>
                <a:lnTo>
                  <a:pt x="480" y="540"/>
                </a:lnTo>
                <a:lnTo>
                  <a:pt x="480" y="540"/>
                </a:lnTo>
                <a:lnTo>
                  <a:pt x="480" y="534"/>
                </a:lnTo>
                <a:lnTo>
                  <a:pt x="480" y="534"/>
                </a:lnTo>
                <a:lnTo>
                  <a:pt x="486" y="540"/>
                </a:lnTo>
                <a:lnTo>
                  <a:pt x="486" y="540"/>
                </a:lnTo>
                <a:lnTo>
                  <a:pt x="486" y="540"/>
                </a:lnTo>
                <a:lnTo>
                  <a:pt x="486" y="540"/>
                </a:lnTo>
                <a:lnTo>
                  <a:pt x="486" y="534"/>
                </a:lnTo>
                <a:lnTo>
                  <a:pt x="486" y="534"/>
                </a:lnTo>
                <a:lnTo>
                  <a:pt x="492" y="540"/>
                </a:lnTo>
                <a:lnTo>
                  <a:pt x="498" y="540"/>
                </a:lnTo>
                <a:lnTo>
                  <a:pt x="498" y="534"/>
                </a:lnTo>
                <a:lnTo>
                  <a:pt x="498" y="534"/>
                </a:lnTo>
                <a:lnTo>
                  <a:pt x="498" y="534"/>
                </a:lnTo>
                <a:lnTo>
                  <a:pt x="504" y="534"/>
                </a:lnTo>
                <a:lnTo>
                  <a:pt x="504" y="534"/>
                </a:lnTo>
                <a:lnTo>
                  <a:pt x="504" y="534"/>
                </a:lnTo>
                <a:lnTo>
                  <a:pt x="504" y="534"/>
                </a:lnTo>
                <a:lnTo>
                  <a:pt x="510" y="534"/>
                </a:lnTo>
                <a:lnTo>
                  <a:pt x="510" y="540"/>
                </a:lnTo>
                <a:lnTo>
                  <a:pt x="510" y="540"/>
                </a:lnTo>
                <a:lnTo>
                  <a:pt x="510" y="534"/>
                </a:lnTo>
                <a:lnTo>
                  <a:pt x="510" y="534"/>
                </a:lnTo>
                <a:lnTo>
                  <a:pt x="516" y="534"/>
                </a:lnTo>
                <a:lnTo>
                  <a:pt x="516" y="522"/>
                </a:lnTo>
                <a:lnTo>
                  <a:pt x="516" y="522"/>
                </a:lnTo>
                <a:lnTo>
                  <a:pt x="516" y="522"/>
                </a:lnTo>
                <a:lnTo>
                  <a:pt x="516" y="522"/>
                </a:lnTo>
                <a:lnTo>
                  <a:pt x="516" y="522"/>
                </a:lnTo>
                <a:lnTo>
                  <a:pt x="522" y="516"/>
                </a:lnTo>
                <a:lnTo>
                  <a:pt x="528" y="516"/>
                </a:lnTo>
                <a:lnTo>
                  <a:pt x="528" y="522"/>
                </a:lnTo>
                <a:lnTo>
                  <a:pt x="528" y="516"/>
                </a:lnTo>
                <a:lnTo>
                  <a:pt x="534" y="516"/>
                </a:lnTo>
                <a:lnTo>
                  <a:pt x="540" y="522"/>
                </a:lnTo>
                <a:lnTo>
                  <a:pt x="540" y="522"/>
                </a:lnTo>
                <a:lnTo>
                  <a:pt x="540" y="522"/>
                </a:lnTo>
                <a:lnTo>
                  <a:pt x="546" y="522"/>
                </a:lnTo>
                <a:lnTo>
                  <a:pt x="546" y="522"/>
                </a:lnTo>
                <a:lnTo>
                  <a:pt x="546" y="522"/>
                </a:lnTo>
                <a:lnTo>
                  <a:pt x="552" y="516"/>
                </a:lnTo>
                <a:lnTo>
                  <a:pt x="552" y="516"/>
                </a:lnTo>
                <a:lnTo>
                  <a:pt x="552" y="516"/>
                </a:lnTo>
                <a:lnTo>
                  <a:pt x="564" y="510"/>
                </a:lnTo>
                <a:lnTo>
                  <a:pt x="564" y="510"/>
                </a:lnTo>
                <a:lnTo>
                  <a:pt x="570" y="510"/>
                </a:lnTo>
                <a:lnTo>
                  <a:pt x="576" y="510"/>
                </a:lnTo>
                <a:lnTo>
                  <a:pt x="576" y="510"/>
                </a:lnTo>
                <a:lnTo>
                  <a:pt x="576" y="504"/>
                </a:lnTo>
                <a:lnTo>
                  <a:pt x="576" y="504"/>
                </a:lnTo>
                <a:lnTo>
                  <a:pt x="582" y="498"/>
                </a:lnTo>
                <a:lnTo>
                  <a:pt x="582" y="498"/>
                </a:lnTo>
                <a:lnTo>
                  <a:pt x="582" y="498"/>
                </a:lnTo>
                <a:lnTo>
                  <a:pt x="588" y="504"/>
                </a:lnTo>
                <a:lnTo>
                  <a:pt x="588" y="510"/>
                </a:lnTo>
                <a:lnTo>
                  <a:pt x="588" y="510"/>
                </a:lnTo>
                <a:lnTo>
                  <a:pt x="588" y="516"/>
                </a:lnTo>
                <a:lnTo>
                  <a:pt x="588" y="516"/>
                </a:lnTo>
                <a:lnTo>
                  <a:pt x="588" y="522"/>
                </a:lnTo>
                <a:lnTo>
                  <a:pt x="588" y="522"/>
                </a:lnTo>
                <a:lnTo>
                  <a:pt x="588" y="516"/>
                </a:lnTo>
                <a:lnTo>
                  <a:pt x="594" y="516"/>
                </a:lnTo>
                <a:lnTo>
                  <a:pt x="594" y="516"/>
                </a:lnTo>
                <a:lnTo>
                  <a:pt x="600" y="516"/>
                </a:lnTo>
                <a:lnTo>
                  <a:pt x="600" y="516"/>
                </a:lnTo>
                <a:lnTo>
                  <a:pt x="600" y="516"/>
                </a:lnTo>
                <a:lnTo>
                  <a:pt x="600" y="510"/>
                </a:lnTo>
                <a:lnTo>
                  <a:pt x="606" y="510"/>
                </a:lnTo>
                <a:lnTo>
                  <a:pt x="606" y="510"/>
                </a:lnTo>
                <a:lnTo>
                  <a:pt x="606" y="510"/>
                </a:lnTo>
                <a:lnTo>
                  <a:pt x="612" y="516"/>
                </a:lnTo>
                <a:lnTo>
                  <a:pt x="612" y="516"/>
                </a:lnTo>
                <a:lnTo>
                  <a:pt x="612" y="516"/>
                </a:lnTo>
                <a:lnTo>
                  <a:pt x="618" y="510"/>
                </a:lnTo>
                <a:lnTo>
                  <a:pt x="618" y="510"/>
                </a:lnTo>
                <a:lnTo>
                  <a:pt x="624" y="510"/>
                </a:lnTo>
                <a:lnTo>
                  <a:pt x="624" y="510"/>
                </a:lnTo>
                <a:lnTo>
                  <a:pt x="624" y="510"/>
                </a:lnTo>
                <a:lnTo>
                  <a:pt x="624" y="510"/>
                </a:lnTo>
                <a:lnTo>
                  <a:pt x="624" y="510"/>
                </a:lnTo>
                <a:lnTo>
                  <a:pt x="624" y="510"/>
                </a:lnTo>
                <a:lnTo>
                  <a:pt x="630" y="510"/>
                </a:lnTo>
                <a:lnTo>
                  <a:pt x="630" y="510"/>
                </a:lnTo>
                <a:lnTo>
                  <a:pt x="630" y="510"/>
                </a:lnTo>
                <a:lnTo>
                  <a:pt x="630" y="510"/>
                </a:lnTo>
                <a:lnTo>
                  <a:pt x="630" y="510"/>
                </a:lnTo>
                <a:lnTo>
                  <a:pt x="630" y="516"/>
                </a:lnTo>
                <a:lnTo>
                  <a:pt x="636" y="516"/>
                </a:lnTo>
                <a:lnTo>
                  <a:pt x="630" y="516"/>
                </a:lnTo>
                <a:lnTo>
                  <a:pt x="636" y="516"/>
                </a:lnTo>
                <a:lnTo>
                  <a:pt x="636" y="516"/>
                </a:lnTo>
                <a:lnTo>
                  <a:pt x="636" y="516"/>
                </a:lnTo>
                <a:lnTo>
                  <a:pt x="642" y="516"/>
                </a:lnTo>
                <a:lnTo>
                  <a:pt x="642" y="516"/>
                </a:lnTo>
                <a:lnTo>
                  <a:pt x="642" y="516"/>
                </a:lnTo>
                <a:lnTo>
                  <a:pt x="642" y="516"/>
                </a:lnTo>
                <a:lnTo>
                  <a:pt x="648" y="516"/>
                </a:lnTo>
                <a:lnTo>
                  <a:pt x="648" y="516"/>
                </a:lnTo>
                <a:lnTo>
                  <a:pt x="648" y="516"/>
                </a:lnTo>
                <a:lnTo>
                  <a:pt x="648" y="516"/>
                </a:lnTo>
                <a:lnTo>
                  <a:pt x="648" y="516"/>
                </a:lnTo>
                <a:lnTo>
                  <a:pt x="648" y="516"/>
                </a:lnTo>
                <a:lnTo>
                  <a:pt x="648" y="516"/>
                </a:lnTo>
                <a:lnTo>
                  <a:pt x="654" y="516"/>
                </a:lnTo>
                <a:lnTo>
                  <a:pt x="654" y="516"/>
                </a:lnTo>
                <a:lnTo>
                  <a:pt x="654" y="516"/>
                </a:lnTo>
                <a:lnTo>
                  <a:pt x="660" y="516"/>
                </a:lnTo>
                <a:lnTo>
                  <a:pt x="660" y="516"/>
                </a:lnTo>
                <a:lnTo>
                  <a:pt x="660" y="516"/>
                </a:lnTo>
                <a:lnTo>
                  <a:pt x="660" y="510"/>
                </a:lnTo>
                <a:lnTo>
                  <a:pt x="660" y="510"/>
                </a:lnTo>
                <a:lnTo>
                  <a:pt x="660" y="510"/>
                </a:lnTo>
                <a:lnTo>
                  <a:pt x="660" y="504"/>
                </a:lnTo>
                <a:lnTo>
                  <a:pt x="660" y="504"/>
                </a:lnTo>
                <a:lnTo>
                  <a:pt x="660" y="504"/>
                </a:lnTo>
                <a:lnTo>
                  <a:pt x="660" y="504"/>
                </a:lnTo>
                <a:lnTo>
                  <a:pt x="660" y="504"/>
                </a:lnTo>
                <a:lnTo>
                  <a:pt x="660" y="498"/>
                </a:lnTo>
                <a:lnTo>
                  <a:pt x="660" y="498"/>
                </a:lnTo>
                <a:lnTo>
                  <a:pt x="666" y="498"/>
                </a:lnTo>
                <a:lnTo>
                  <a:pt x="666" y="498"/>
                </a:lnTo>
                <a:lnTo>
                  <a:pt x="666" y="498"/>
                </a:lnTo>
                <a:lnTo>
                  <a:pt x="666" y="498"/>
                </a:lnTo>
                <a:lnTo>
                  <a:pt x="666" y="492"/>
                </a:lnTo>
                <a:lnTo>
                  <a:pt x="672" y="492"/>
                </a:lnTo>
                <a:lnTo>
                  <a:pt x="672" y="492"/>
                </a:lnTo>
                <a:lnTo>
                  <a:pt x="672" y="492"/>
                </a:lnTo>
                <a:lnTo>
                  <a:pt x="672" y="492"/>
                </a:lnTo>
                <a:lnTo>
                  <a:pt x="678" y="486"/>
                </a:lnTo>
                <a:lnTo>
                  <a:pt x="678" y="486"/>
                </a:lnTo>
                <a:lnTo>
                  <a:pt x="678" y="486"/>
                </a:lnTo>
                <a:lnTo>
                  <a:pt x="684" y="486"/>
                </a:lnTo>
                <a:lnTo>
                  <a:pt x="684" y="486"/>
                </a:lnTo>
                <a:lnTo>
                  <a:pt x="684" y="486"/>
                </a:lnTo>
                <a:lnTo>
                  <a:pt x="684" y="486"/>
                </a:lnTo>
                <a:lnTo>
                  <a:pt x="690" y="486"/>
                </a:lnTo>
                <a:lnTo>
                  <a:pt x="690" y="486"/>
                </a:lnTo>
                <a:lnTo>
                  <a:pt x="690" y="480"/>
                </a:lnTo>
                <a:lnTo>
                  <a:pt x="696" y="480"/>
                </a:lnTo>
                <a:lnTo>
                  <a:pt x="696" y="480"/>
                </a:lnTo>
                <a:lnTo>
                  <a:pt x="696" y="480"/>
                </a:lnTo>
                <a:lnTo>
                  <a:pt x="702" y="474"/>
                </a:lnTo>
                <a:lnTo>
                  <a:pt x="696" y="474"/>
                </a:lnTo>
                <a:lnTo>
                  <a:pt x="702" y="474"/>
                </a:lnTo>
                <a:lnTo>
                  <a:pt x="702" y="474"/>
                </a:lnTo>
                <a:lnTo>
                  <a:pt x="708" y="474"/>
                </a:lnTo>
                <a:lnTo>
                  <a:pt x="708" y="474"/>
                </a:lnTo>
                <a:lnTo>
                  <a:pt x="708" y="468"/>
                </a:lnTo>
                <a:lnTo>
                  <a:pt x="708" y="468"/>
                </a:lnTo>
                <a:lnTo>
                  <a:pt x="708" y="468"/>
                </a:lnTo>
                <a:lnTo>
                  <a:pt x="708" y="462"/>
                </a:lnTo>
                <a:lnTo>
                  <a:pt x="708" y="462"/>
                </a:lnTo>
                <a:lnTo>
                  <a:pt x="708" y="456"/>
                </a:lnTo>
                <a:lnTo>
                  <a:pt x="708" y="456"/>
                </a:lnTo>
                <a:lnTo>
                  <a:pt x="708" y="456"/>
                </a:lnTo>
                <a:lnTo>
                  <a:pt x="708" y="450"/>
                </a:lnTo>
                <a:lnTo>
                  <a:pt x="714" y="450"/>
                </a:lnTo>
                <a:lnTo>
                  <a:pt x="714" y="456"/>
                </a:lnTo>
                <a:lnTo>
                  <a:pt x="720" y="456"/>
                </a:lnTo>
                <a:lnTo>
                  <a:pt x="720" y="456"/>
                </a:lnTo>
                <a:lnTo>
                  <a:pt x="720" y="450"/>
                </a:lnTo>
                <a:lnTo>
                  <a:pt x="720" y="450"/>
                </a:lnTo>
                <a:lnTo>
                  <a:pt x="720" y="450"/>
                </a:lnTo>
                <a:lnTo>
                  <a:pt x="720" y="444"/>
                </a:lnTo>
                <a:lnTo>
                  <a:pt x="720" y="438"/>
                </a:lnTo>
                <a:lnTo>
                  <a:pt x="720" y="438"/>
                </a:lnTo>
                <a:lnTo>
                  <a:pt x="714" y="432"/>
                </a:lnTo>
                <a:lnTo>
                  <a:pt x="714" y="432"/>
                </a:lnTo>
                <a:lnTo>
                  <a:pt x="714" y="426"/>
                </a:lnTo>
                <a:lnTo>
                  <a:pt x="720" y="426"/>
                </a:lnTo>
                <a:lnTo>
                  <a:pt x="720" y="426"/>
                </a:lnTo>
                <a:lnTo>
                  <a:pt x="720" y="426"/>
                </a:lnTo>
                <a:lnTo>
                  <a:pt x="714" y="420"/>
                </a:lnTo>
                <a:lnTo>
                  <a:pt x="708" y="420"/>
                </a:lnTo>
                <a:lnTo>
                  <a:pt x="708" y="414"/>
                </a:lnTo>
                <a:lnTo>
                  <a:pt x="714" y="414"/>
                </a:lnTo>
                <a:lnTo>
                  <a:pt x="714" y="414"/>
                </a:lnTo>
                <a:lnTo>
                  <a:pt x="714" y="408"/>
                </a:lnTo>
                <a:lnTo>
                  <a:pt x="714" y="408"/>
                </a:lnTo>
                <a:lnTo>
                  <a:pt x="714" y="408"/>
                </a:lnTo>
                <a:lnTo>
                  <a:pt x="714" y="408"/>
                </a:lnTo>
                <a:lnTo>
                  <a:pt x="714" y="408"/>
                </a:lnTo>
                <a:lnTo>
                  <a:pt x="714" y="402"/>
                </a:lnTo>
                <a:lnTo>
                  <a:pt x="714" y="402"/>
                </a:lnTo>
                <a:lnTo>
                  <a:pt x="714" y="396"/>
                </a:lnTo>
                <a:lnTo>
                  <a:pt x="714" y="396"/>
                </a:lnTo>
                <a:lnTo>
                  <a:pt x="714" y="396"/>
                </a:lnTo>
                <a:lnTo>
                  <a:pt x="714" y="396"/>
                </a:lnTo>
                <a:lnTo>
                  <a:pt x="720" y="396"/>
                </a:lnTo>
                <a:lnTo>
                  <a:pt x="720" y="396"/>
                </a:lnTo>
                <a:lnTo>
                  <a:pt x="720" y="390"/>
                </a:lnTo>
                <a:lnTo>
                  <a:pt x="720" y="390"/>
                </a:lnTo>
                <a:lnTo>
                  <a:pt x="720" y="390"/>
                </a:lnTo>
                <a:lnTo>
                  <a:pt x="720" y="390"/>
                </a:lnTo>
                <a:lnTo>
                  <a:pt x="720" y="384"/>
                </a:lnTo>
                <a:lnTo>
                  <a:pt x="720" y="384"/>
                </a:lnTo>
                <a:lnTo>
                  <a:pt x="720" y="384"/>
                </a:lnTo>
                <a:lnTo>
                  <a:pt x="720" y="384"/>
                </a:lnTo>
                <a:lnTo>
                  <a:pt x="720" y="378"/>
                </a:lnTo>
                <a:lnTo>
                  <a:pt x="720" y="372"/>
                </a:lnTo>
                <a:lnTo>
                  <a:pt x="720" y="372"/>
                </a:lnTo>
                <a:lnTo>
                  <a:pt x="720" y="360"/>
                </a:lnTo>
                <a:lnTo>
                  <a:pt x="720" y="360"/>
                </a:lnTo>
                <a:lnTo>
                  <a:pt x="720" y="360"/>
                </a:lnTo>
                <a:lnTo>
                  <a:pt x="726" y="354"/>
                </a:lnTo>
                <a:lnTo>
                  <a:pt x="726" y="354"/>
                </a:lnTo>
                <a:lnTo>
                  <a:pt x="726" y="348"/>
                </a:lnTo>
                <a:lnTo>
                  <a:pt x="732" y="348"/>
                </a:lnTo>
                <a:lnTo>
                  <a:pt x="732" y="342"/>
                </a:lnTo>
                <a:lnTo>
                  <a:pt x="732" y="342"/>
                </a:lnTo>
                <a:lnTo>
                  <a:pt x="738" y="336"/>
                </a:lnTo>
                <a:lnTo>
                  <a:pt x="738" y="336"/>
                </a:lnTo>
                <a:lnTo>
                  <a:pt x="738" y="336"/>
                </a:lnTo>
                <a:lnTo>
                  <a:pt x="738" y="342"/>
                </a:lnTo>
                <a:lnTo>
                  <a:pt x="738" y="342"/>
                </a:lnTo>
                <a:lnTo>
                  <a:pt x="744" y="336"/>
                </a:lnTo>
                <a:lnTo>
                  <a:pt x="744" y="336"/>
                </a:lnTo>
                <a:lnTo>
                  <a:pt x="738" y="330"/>
                </a:lnTo>
                <a:lnTo>
                  <a:pt x="744" y="330"/>
                </a:lnTo>
                <a:lnTo>
                  <a:pt x="744" y="330"/>
                </a:lnTo>
                <a:lnTo>
                  <a:pt x="750" y="324"/>
                </a:lnTo>
                <a:lnTo>
                  <a:pt x="750" y="324"/>
                </a:lnTo>
                <a:lnTo>
                  <a:pt x="744" y="324"/>
                </a:lnTo>
                <a:lnTo>
                  <a:pt x="744" y="324"/>
                </a:lnTo>
                <a:lnTo>
                  <a:pt x="750" y="318"/>
                </a:lnTo>
                <a:lnTo>
                  <a:pt x="750" y="318"/>
                </a:lnTo>
                <a:lnTo>
                  <a:pt x="744" y="318"/>
                </a:lnTo>
                <a:lnTo>
                  <a:pt x="744" y="312"/>
                </a:lnTo>
                <a:lnTo>
                  <a:pt x="750" y="312"/>
                </a:lnTo>
                <a:lnTo>
                  <a:pt x="750" y="306"/>
                </a:lnTo>
                <a:lnTo>
                  <a:pt x="750" y="306"/>
                </a:lnTo>
                <a:lnTo>
                  <a:pt x="750" y="300"/>
                </a:lnTo>
                <a:lnTo>
                  <a:pt x="750" y="300"/>
                </a:lnTo>
                <a:lnTo>
                  <a:pt x="750" y="300"/>
                </a:lnTo>
                <a:lnTo>
                  <a:pt x="750" y="300"/>
                </a:lnTo>
                <a:lnTo>
                  <a:pt x="756" y="306"/>
                </a:lnTo>
                <a:lnTo>
                  <a:pt x="756" y="306"/>
                </a:lnTo>
                <a:lnTo>
                  <a:pt x="756" y="306"/>
                </a:lnTo>
                <a:lnTo>
                  <a:pt x="756" y="306"/>
                </a:lnTo>
                <a:lnTo>
                  <a:pt x="756" y="306"/>
                </a:lnTo>
                <a:lnTo>
                  <a:pt x="756" y="306"/>
                </a:lnTo>
                <a:lnTo>
                  <a:pt x="756" y="306"/>
                </a:lnTo>
                <a:lnTo>
                  <a:pt x="762" y="306"/>
                </a:lnTo>
                <a:lnTo>
                  <a:pt x="762" y="306"/>
                </a:lnTo>
                <a:lnTo>
                  <a:pt x="762" y="306"/>
                </a:lnTo>
                <a:lnTo>
                  <a:pt x="768" y="300"/>
                </a:lnTo>
                <a:lnTo>
                  <a:pt x="768" y="300"/>
                </a:lnTo>
                <a:lnTo>
                  <a:pt x="768" y="294"/>
                </a:lnTo>
                <a:lnTo>
                  <a:pt x="768" y="294"/>
                </a:lnTo>
                <a:lnTo>
                  <a:pt x="774" y="288"/>
                </a:lnTo>
                <a:lnTo>
                  <a:pt x="774" y="288"/>
                </a:lnTo>
                <a:lnTo>
                  <a:pt x="780" y="288"/>
                </a:lnTo>
                <a:lnTo>
                  <a:pt x="780" y="288"/>
                </a:lnTo>
                <a:lnTo>
                  <a:pt x="786" y="282"/>
                </a:lnTo>
                <a:lnTo>
                  <a:pt x="786" y="276"/>
                </a:lnTo>
                <a:lnTo>
                  <a:pt x="792" y="276"/>
                </a:lnTo>
                <a:lnTo>
                  <a:pt x="792" y="276"/>
                </a:lnTo>
                <a:lnTo>
                  <a:pt x="798" y="282"/>
                </a:lnTo>
                <a:lnTo>
                  <a:pt x="798" y="282"/>
                </a:lnTo>
                <a:lnTo>
                  <a:pt x="798" y="282"/>
                </a:lnTo>
                <a:lnTo>
                  <a:pt x="804" y="276"/>
                </a:lnTo>
                <a:lnTo>
                  <a:pt x="804" y="276"/>
                </a:lnTo>
                <a:lnTo>
                  <a:pt x="804" y="270"/>
                </a:lnTo>
                <a:lnTo>
                  <a:pt x="810" y="270"/>
                </a:lnTo>
                <a:lnTo>
                  <a:pt x="816" y="270"/>
                </a:lnTo>
                <a:lnTo>
                  <a:pt x="816" y="270"/>
                </a:lnTo>
                <a:lnTo>
                  <a:pt x="822" y="270"/>
                </a:lnTo>
                <a:lnTo>
                  <a:pt x="822" y="270"/>
                </a:lnTo>
                <a:lnTo>
                  <a:pt x="828" y="276"/>
                </a:lnTo>
                <a:lnTo>
                  <a:pt x="828" y="276"/>
                </a:lnTo>
                <a:lnTo>
                  <a:pt x="828" y="276"/>
                </a:lnTo>
                <a:lnTo>
                  <a:pt x="828" y="276"/>
                </a:lnTo>
                <a:lnTo>
                  <a:pt x="828" y="270"/>
                </a:lnTo>
                <a:lnTo>
                  <a:pt x="834" y="270"/>
                </a:lnTo>
                <a:lnTo>
                  <a:pt x="834" y="270"/>
                </a:lnTo>
                <a:lnTo>
                  <a:pt x="834" y="270"/>
                </a:lnTo>
                <a:lnTo>
                  <a:pt x="834" y="270"/>
                </a:lnTo>
                <a:lnTo>
                  <a:pt x="840" y="270"/>
                </a:lnTo>
                <a:lnTo>
                  <a:pt x="840" y="270"/>
                </a:lnTo>
                <a:lnTo>
                  <a:pt x="840" y="264"/>
                </a:lnTo>
                <a:lnTo>
                  <a:pt x="840" y="264"/>
                </a:lnTo>
                <a:lnTo>
                  <a:pt x="840" y="264"/>
                </a:lnTo>
                <a:lnTo>
                  <a:pt x="840" y="264"/>
                </a:lnTo>
                <a:lnTo>
                  <a:pt x="846" y="264"/>
                </a:lnTo>
                <a:lnTo>
                  <a:pt x="846" y="264"/>
                </a:lnTo>
                <a:lnTo>
                  <a:pt x="846" y="264"/>
                </a:lnTo>
                <a:lnTo>
                  <a:pt x="852" y="264"/>
                </a:lnTo>
                <a:lnTo>
                  <a:pt x="852" y="264"/>
                </a:lnTo>
                <a:lnTo>
                  <a:pt x="852" y="264"/>
                </a:lnTo>
                <a:lnTo>
                  <a:pt x="852" y="264"/>
                </a:lnTo>
                <a:lnTo>
                  <a:pt x="858" y="264"/>
                </a:lnTo>
                <a:lnTo>
                  <a:pt x="858" y="264"/>
                </a:lnTo>
                <a:lnTo>
                  <a:pt x="858" y="264"/>
                </a:lnTo>
                <a:lnTo>
                  <a:pt x="858" y="264"/>
                </a:lnTo>
                <a:lnTo>
                  <a:pt x="864" y="264"/>
                </a:lnTo>
                <a:lnTo>
                  <a:pt x="864" y="264"/>
                </a:lnTo>
                <a:lnTo>
                  <a:pt x="864" y="264"/>
                </a:lnTo>
                <a:lnTo>
                  <a:pt x="864" y="264"/>
                </a:lnTo>
                <a:lnTo>
                  <a:pt x="870" y="264"/>
                </a:lnTo>
                <a:lnTo>
                  <a:pt x="870" y="264"/>
                </a:lnTo>
                <a:lnTo>
                  <a:pt x="870" y="264"/>
                </a:lnTo>
                <a:lnTo>
                  <a:pt x="870" y="270"/>
                </a:lnTo>
                <a:lnTo>
                  <a:pt x="870" y="270"/>
                </a:lnTo>
                <a:lnTo>
                  <a:pt x="882" y="264"/>
                </a:lnTo>
                <a:lnTo>
                  <a:pt x="888" y="264"/>
                </a:lnTo>
                <a:lnTo>
                  <a:pt x="888" y="264"/>
                </a:lnTo>
                <a:lnTo>
                  <a:pt x="894" y="258"/>
                </a:lnTo>
                <a:lnTo>
                  <a:pt x="894" y="258"/>
                </a:lnTo>
                <a:lnTo>
                  <a:pt x="894" y="258"/>
                </a:lnTo>
                <a:lnTo>
                  <a:pt x="894" y="252"/>
                </a:lnTo>
                <a:lnTo>
                  <a:pt x="894" y="252"/>
                </a:lnTo>
                <a:lnTo>
                  <a:pt x="894" y="252"/>
                </a:lnTo>
                <a:lnTo>
                  <a:pt x="888" y="246"/>
                </a:lnTo>
                <a:lnTo>
                  <a:pt x="888" y="246"/>
                </a:lnTo>
                <a:lnTo>
                  <a:pt x="888" y="246"/>
                </a:lnTo>
                <a:lnTo>
                  <a:pt x="888" y="246"/>
                </a:lnTo>
                <a:lnTo>
                  <a:pt x="888" y="246"/>
                </a:lnTo>
                <a:lnTo>
                  <a:pt x="888" y="246"/>
                </a:lnTo>
                <a:lnTo>
                  <a:pt x="888" y="240"/>
                </a:lnTo>
                <a:lnTo>
                  <a:pt x="888" y="234"/>
                </a:lnTo>
                <a:lnTo>
                  <a:pt x="888" y="234"/>
                </a:lnTo>
                <a:lnTo>
                  <a:pt x="888" y="228"/>
                </a:lnTo>
                <a:lnTo>
                  <a:pt x="882" y="228"/>
                </a:lnTo>
                <a:lnTo>
                  <a:pt x="882" y="228"/>
                </a:lnTo>
                <a:lnTo>
                  <a:pt x="876" y="228"/>
                </a:lnTo>
                <a:lnTo>
                  <a:pt x="870" y="222"/>
                </a:lnTo>
                <a:lnTo>
                  <a:pt x="870" y="222"/>
                </a:lnTo>
                <a:lnTo>
                  <a:pt x="870" y="222"/>
                </a:lnTo>
                <a:lnTo>
                  <a:pt x="870" y="222"/>
                </a:lnTo>
                <a:lnTo>
                  <a:pt x="870" y="216"/>
                </a:lnTo>
                <a:lnTo>
                  <a:pt x="870" y="216"/>
                </a:lnTo>
                <a:lnTo>
                  <a:pt x="870" y="216"/>
                </a:lnTo>
                <a:lnTo>
                  <a:pt x="870" y="216"/>
                </a:lnTo>
                <a:lnTo>
                  <a:pt x="870" y="216"/>
                </a:lnTo>
                <a:lnTo>
                  <a:pt x="870" y="210"/>
                </a:lnTo>
                <a:lnTo>
                  <a:pt x="870" y="210"/>
                </a:lnTo>
                <a:lnTo>
                  <a:pt x="864" y="210"/>
                </a:lnTo>
                <a:lnTo>
                  <a:pt x="864" y="210"/>
                </a:lnTo>
                <a:lnTo>
                  <a:pt x="864" y="210"/>
                </a:lnTo>
                <a:lnTo>
                  <a:pt x="864" y="210"/>
                </a:lnTo>
                <a:lnTo>
                  <a:pt x="858" y="204"/>
                </a:lnTo>
                <a:lnTo>
                  <a:pt x="858" y="204"/>
                </a:lnTo>
                <a:lnTo>
                  <a:pt x="858" y="204"/>
                </a:lnTo>
                <a:lnTo>
                  <a:pt x="858" y="204"/>
                </a:lnTo>
                <a:lnTo>
                  <a:pt x="858" y="198"/>
                </a:lnTo>
                <a:lnTo>
                  <a:pt x="852" y="198"/>
                </a:lnTo>
                <a:lnTo>
                  <a:pt x="852" y="198"/>
                </a:lnTo>
                <a:lnTo>
                  <a:pt x="852" y="198"/>
                </a:lnTo>
                <a:lnTo>
                  <a:pt x="852" y="192"/>
                </a:lnTo>
                <a:lnTo>
                  <a:pt x="852" y="192"/>
                </a:lnTo>
                <a:lnTo>
                  <a:pt x="852" y="192"/>
                </a:lnTo>
                <a:lnTo>
                  <a:pt x="852" y="192"/>
                </a:lnTo>
                <a:lnTo>
                  <a:pt x="852" y="186"/>
                </a:lnTo>
                <a:lnTo>
                  <a:pt x="852" y="186"/>
                </a:lnTo>
                <a:lnTo>
                  <a:pt x="852" y="186"/>
                </a:lnTo>
                <a:lnTo>
                  <a:pt x="852" y="186"/>
                </a:lnTo>
                <a:lnTo>
                  <a:pt x="858" y="192"/>
                </a:lnTo>
                <a:lnTo>
                  <a:pt x="864" y="198"/>
                </a:lnTo>
                <a:lnTo>
                  <a:pt x="870" y="198"/>
                </a:lnTo>
                <a:lnTo>
                  <a:pt x="870" y="198"/>
                </a:lnTo>
                <a:lnTo>
                  <a:pt x="870" y="198"/>
                </a:lnTo>
                <a:lnTo>
                  <a:pt x="876" y="198"/>
                </a:lnTo>
                <a:lnTo>
                  <a:pt x="876" y="198"/>
                </a:lnTo>
                <a:lnTo>
                  <a:pt x="882" y="198"/>
                </a:lnTo>
                <a:lnTo>
                  <a:pt x="882" y="198"/>
                </a:lnTo>
                <a:lnTo>
                  <a:pt x="882" y="198"/>
                </a:lnTo>
                <a:lnTo>
                  <a:pt x="882" y="198"/>
                </a:lnTo>
                <a:lnTo>
                  <a:pt x="876" y="192"/>
                </a:lnTo>
                <a:lnTo>
                  <a:pt x="876" y="186"/>
                </a:lnTo>
                <a:lnTo>
                  <a:pt x="876" y="186"/>
                </a:lnTo>
                <a:lnTo>
                  <a:pt x="876" y="186"/>
                </a:lnTo>
                <a:lnTo>
                  <a:pt x="876" y="186"/>
                </a:lnTo>
                <a:lnTo>
                  <a:pt x="876" y="186"/>
                </a:lnTo>
                <a:lnTo>
                  <a:pt x="882" y="186"/>
                </a:lnTo>
                <a:lnTo>
                  <a:pt x="882" y="186"/>
                </a:lnTo>
                <a:lnTo>
                  <a:pt x="882" y="174"/>
                </a:lnTo>
                <a:lnTo>
                  <a:pt x="882" y="174"/>
                </a:lnTo>
                <a:lnTo>
                  <a:pt x="882" y="168"/>
                </a:lnTo>
                <a:lnTo>
                  <a:pt x="876" y="168"/>
                </a:lnTo>
                <a:lnTo>
                  <a:pt x="876" y="162"/>
                </a:lnTo>
                <a:lnTo>
                  <a:pt x="882" y="162"/>
                </a:lnTo>
                <a:lnTo>
                  <a:pt x="882" y="156"/>
                </a:lnTo>
                <a:lnTo>
                  <a:pt x="888" y="156"/>
                </a:lnTo>
                <a:lnTo>
                  <a:pt x="888" y="156"/>
                </a:lnTo>
                <a:lnTo>
                  <a:pt x="888" y="150"/>
                </a:lnTo>
                <a:lnTo>
                  <a:pt x="888" y="144"/>
                </a:lnTo>
                <a:lnTo>
                  <a:pt x="888" y="144"/>
                </a:lnTo>
                <a:lnTo>
                  <a:pt x="882" y="144"/>
                </a:lnTo>
                <a:lnTo>
                  <a:pt x="876" y="144"/>
                </a:lnTo>
                <a:lnTo>
                  <a:pt x="876" y="144"/>
                </a:lnTo>
                <a:lnTo>
                  <a:pt x="876" y="144"/>
                </a:lnTo>
                <a:lnTo>
                  <a:pt x="870" y="138"/>
                </a:lnTo>
                <a:lnTo>
                  <a:pt x="876" y="138"/>
                </a:lnTo>
                <a:lnTo>
                  <a:pt x="870" y="126"/>
                </a:lnTo>
                <a:lnTo>
                  <a:pt x="876" y="126"/>
                </a:lnTo>
                <a:lnTo>
                  <a:pt x="876" y="120"/>
                </a:lnTo>
                <a:lnTo>
                  <a:pt x="876" y="120"/>
                </a:lnTo>
                <a:lnTo>
                  <a:pt x="876" y="114"/>
                </a:lnTo>
                <a:lnTo>
                  <a:pt x="876" y="114"/>
                </a:lnTo>
                <a:lnTo>
                  <a:pt x="882" y="114"/>
                </a:lnTo>
                <a:lnTo>
                  <a:pt x="882" y="114"/>
                </a:lnTo>
                <a:lnTo>
                  <a:pt x="882" y="114"/>
                </a:lnTo>
                <a:lnTo>
                  <a:pt x="888" y="108"/>
                </a:lnTo>
                <a:lnTo>
                  <a:pt x="888" y="108"/>
                </a:lnTo>
                <a:lnTo>
                  <a:pt x="888" y="102"/>
                </a:lnTo>
                <a:lnTo>
                  <a:pt x="888" y="102"/>
                </a:lnTo>
                <a:lnTo>
                  <a:pt x="888" y="102"/>
                </a:lnTo>
                <a:lnTo>
                  <a:pt x="888" y="96"/>
                </a:lnTo>
                <a:lnTo>
                  <a:pt x="888" y="96"/>
                </a:lnTo>
                <a:lnTo>
                  <a:pt x="894" y="90"/>
                </a:lnTo>
                <a:lnTo>
                  <a:pt x="900" y="90"/>
                </a:lnTo>
                <a:lnTo>
                  <a:pt x="900" y="90"/>
                </a:lnTo>
                <a:lnTo>
                  <a:pt x="900" y="90"/>
                </a:lnTo>
                <a:lnTo>
                  <a:pt x="906" y="90"/>
                </a:lnTo>
                <a:lnTo>
                  <a:pt x="906" y="96"/>
                </a:lnTo>
                <a:lnTo>
                  <a:pt x="906" y="96"/>
                </a:lnTo>
                <a:lnTo>
                  <a:pt x="912" y="96"/>
                </a:lnTo>
                <a:lnTo>
                  <a:pt x="912" y="96"/>
                </a:lnTo>
                <a:lnTo>
                  <a:pt x="912" y="90"/>
                </a:lnTo>
                <a:lnTo>
                  <a:pt x="912" y="96"/>
                </a:lnTo>
                <a:lnTo>
                  <a:pt x="918" y="90"/>
                </a:lnTo>
                <a:lnTo>
                  <a:pt x="918" y="96"/>
                </a:lnTo>
                <a:lnTo>
                  <a:pt x="918" y="96"/>
                </a:lnTo>
                <a:lnTo>
                  <a:pt x="918" y="90"/>
                </a:lnTo>
                <a:lnTo>
                  <a:pt x="918" y="90"/>
                </a:lnTo>
                <a:lnTo>
                  <a:pt x="924" y="90"/>
                </a:lnTo>
                <a:lnTo>
                  <a:pt x="924" y="90"/>
                </a:lnTo>
                <a:lnTo>
                  <a:pt x="924" y="90"/>
                </a:lnTo>
                <a:lnTo>
                  <a:pt x="924" y="90"/>
                </a:lnTo>
                <a:lnTo>
                  <a:pt x="924" y="90"/>
                </a:lnTo>
                <a:lnTo>
                  <a:pt x="924" y="90"/>
                </a:lnTo>
                <a:lnTo>
                  <a:pt x="930" y="90"/>
                </a:lnTo>
                <a:lnTo>
                  <a:pt x="930" y="90"/>
                </a:lnTo>
                <a:lnTo>
                  <a:pt x="930" y="90"/>
                </a:lnTo>
                <a:lnTo>
                  <a:pt x="936" y="90"/>
                </a:lnTo>
                <a:lnTo>
                  <a:pt x="936" y="90"/>
                </a:lnTo>
                <a:lnTo>
                  <a:pt x="936" y="90"/>
                </a:lnTo>
                <a:lnTo>
                  <a:pt x="936" y="90"/>
                </a:lnTo>
                <a:lnTo>
                  <a:pt x="942" y="90"/>
                </a:lnTo>
                <a:lnTo>
                  <a:pt x="942" y="90"/>
                </a:lnTo>
                <a:lnTo>
                  <a:pt x="942" y="90"/>
                </a:lnTo>
                <a:lnTo>
                  <a:pt x="948" y="90"/>
                </a:lnTo>
                <a:lnTo>
                  <a:pt x="948" y="90"/>
                </a:lnTo>
                <a:lnTo>
                  <a:pt x="948" y="90"/>
                </a:lnTo>
                <a:lnTo>
                  <a:pt x="948" y="90"/>
                </a:lnTo>
                <a:lnTo>
                  <a:pt x="948" y="90"/>
                </a:lnTo>
                <a:lnTo>
                  <a:pt x="954" y="90"/>
                </a:lnTo>
                <a:lnTo>
                  <a:pt x="954" y="90"/>
                </a:lnTo>
                <a:lnTo>
                  <a:pt x="954" y="90"/>
                </a:lnTo>
                <a:lnTo>
                  <a:pt x="954" y="90"/>
                </a:lnTo>
                <a:lnTo>
                  <a:pt x="954" y="90"/>
                </a:lnTo>
                <a:lnTo>
                  <a:pt x="960" y="90"/>
                </a:lnTo>
                <a:lnTo>
                  <a:pt x="960" y="90"/>
                </a:lnTo>
                <a:lnTo>
                  <a:pt x="960" y="90"/>
                </a:lnTo>
                <a:lnTo>
                  <a:pt x="966" y="90"/>
                </a:lnTo>
                <a:lnTo>
                  <a:pt x="966" y="96"/>
                </a:lnTo>
                <a:lnTo>
                  <a:pt x="966" y="90"/>
                </a:lnTo>
                <a:lnTo>
                  <a:pt x="966" y="90"/>
                </a:lnTo>
                <a:lnTo>
                  <a:pt x="966" y="90"/>
                </a:lnTo>
                <a:lnTo>
                  <a:pt x="972" y="90"/>
                </a:lnTo>
                <a:lnTo>
                  <a:pt x="972" y="90"/>
                </a:lnTo>
                <a:lnTo>
                  <a:pt x="972" y="90"/>
                </a:lnTo>
                <a:lnTo>
                  <a:pt x="972" y="90"/>
                </a:lnTo>
                <a:lnTo>
                  <a:pt x="978" y="90"/>
                </a:lnTo>
                <a:lnTo>
                  <a:pt x="978" y="90"/>
                </a:lnTo>
                <a:lnTo>
                  <a:pt x="978" y="84"/>
                </a:lnTo>
                <a:lnTo>
                  <a:pt x="978" y="84"/>
                </a:lnTo>
                <a:lnTo>
                  <a:pt x="978" y="84"/>
                </a:lnTo>
                <a:lnTo>
                  <a:pt x="978" y="84"/>
                </a:lnTo>
                <a:lnTo>
                  <a:pt x="978" y="78"/>
                </a:lnTo>
                <a:lnTo>
                  <a:pt x="978" y="78"/>
                </a:lnTo>
                <a:lnTo>
                  <a:pt x="978" y="78"/>
                </a:lnTo>
                <a:lnTo>
                  <a:pt x="978" y="78"/>
                </a:lnTo>
                <a:lnTo>
                  <a:pt x="984" y="72"/>
                </a:lnTo>
                <a:lnTo>
                  <a:pt x="984" y="72"/>
                </a:lnTo>
                <a:lnTo>
                  <a:pt x="978" y="72"/>
                </a:lnTo>
                <a:lnTo>
                  <a:pt x="984" y="72"/>
                </a:lnTo>
                <a:lnTo>
                  <a:pt x="984" y="72"/>
                </a:lnTo>
                <a:lnTo>
                  <a:pt x="984" y="66"/>
                </a:lnTo>
                <a:lnTo>
                  <a:pt x="984" y="66"/>
                </a:lnTo>
                <a:lnTo>
                  <a:pt x="984" y="66"/>
                </a:lnTo>
                <a:lnTo>
                  <a:pt x="984" y="66"/>
                </a:lnTo>
                <a:lnTo>
                  <a:pt x="984" y="66"/>
                </a:lnTo>
                <a:lnTo>
                  <a:pt x="984" y="60"/>
                </a:lnTo>
                <a:lnTo>
                  <a:pt x="984" y="60"/>
                </a:lnTo>
                <a:lnTo>
                  <a:pt x="990" y="60"/>
                </a:lnTo>
                <a:lnTo>
                  <a:pt x="990" y="60"/>
                </a:lnTo>
                <a:lnTo>
                  <a:pt x="990" y="60"/>
                </a:lnTo>
                <a:lnTo>
                  <a:pt x="996" y="54"/>
                </a:lnTo>
                <a:lnTo>
                  <a:pt x="996" y="54"/>
                </a:lnTo>
                <a:lnTo>
                  <a:pt x="990" y="54"/>
                </a:lnTo>
                <a:lnTo>
                  <a:pt x="996" y="54"/>
                </a:lnTo>
                <a:lnTo>
                  <a:pt x="996" y="48"/>
                </a:lnTo>
                <a:lnTo>
                  <a:pt x="996" y="48"/>
                </a:lnTo>
                <a:lnTo>
                  <a:pt x="996" y="48"/>
                </a:lnTo>
                <a:lnTo>
                  <a:pt x="996" y="48"/>
                </a:lnTo>
                <a:lnTo>
                  <a:pt x="996" y="42"/>
                </a:lnTo>
                <a:lnTo>
                  <a:pt x="996" y="42"/>
                </a:lnTo>
                <a:lnTo>
                  <a:pt x="1002" y="42"/>
                </a:lnTo>
                <a:lnTo>
                  <a:pt x="996" y="42"/>
                </a:lnTo>
                <a:lnTo>
                  <a:pt x="996" y="42"/>
                </a:lnTo>
                <a:lnTo>
                  <a:pt x="1002" y="36"/>
                </a:lnTo>
                <a:lnTo>
                  <a:pt x="1002" y="36"/>
                </a:lnTo>
                <a:lnTo>
                  <a:pt x="1002" y="36"/>
                </a:lnTo>
                <a:lnTo>
                  <a:pt x="1002" y="36"/>
                </a:lnTo>
                <a:lnTo>
                  <a:pt x="1002" y="36"/>
                </a:lnTo>
                <a:lnTo>
                  <a:pt x="1008" y="36"/>
                </a:lnTo>
                <a:lnTo>
                  <a:pt x="1008" y="30"/>
                </a:lnTo>
                <a:lnTo>
                  <a:pt x="1008" y="30"/>
                </a:lnTo>
                <a:lnTo>
                  <a:pt x="1008" y="36"/>
                </a:lnTo>
                <a:lnTo>
                  <a:pt x="1008" y="36"/>
                </a:lnTo>
                <a:lnTo>
                  <a:pt x="1008" y="30"/>
                </a:lnTo>
                <a:lnTo>
                  <a:pt x="1008" y="30"/>
                </a:lnTo>
                <a:lnTo>
                  <a:pt x="1008" y="30"/>
                </a:lnTo>
                <a:lnTo>
                  <a:pt x="1008" y="24"/>
                </a:lnTo>
                <a:lnTo>
                  <a:pt x="1014" y="24"/>
                </a:lnTo>
                <a:lnTo>
                  <a:pt x="1014" y="24"/>
                </a:lnTo>
                <a:lnTo>
                  <a:pt x="1014" y="24"/>
                </a:lnTo>
                <a:lnTo>
                  <a:pt x="1014" y="24"/>
                </a:lnTo>
                <a:lnTo>
                  <a:pt x="1014" y="24"/>
                </a:lnTo>
                <a:lnTo>
                  <a:pt x="1014" y="24"/>
                </a:lnTo>
                <a:lnTo>
                  <a:pt x="1014" y="24"/>
                </a:lnTo>
                <a:lnTo>
                  <a:pt x="1014" y="24"/>
                </a:lnTo>
                <a:lnTo>
                  <a:pt x="1014" y="24"/>
                </a:lnTo>
                <a:lnTo>
                  <a:pt x="1020" y="18"/>
                </a:lnTo>
                <a:lnTo>
                  <a:pt x="1020" y="24"/>
                </a:lnTo>
                <a:lnTo>
                  <a:pt x="1020" y="18"/>
                </a:lnTo>
                <a:lnTo>
                  <a:pt x="1020" y="24"/>
                </a:lnTo>
                <a:lnTo>
                  <a:pt x="1020" y="24"/>
                </a:lnTo>
                <a:lnTo>
                  <a:pt x="1020" y="18"/>
                </a:lnTo>
                <a:lnTo>
                  <a:pt x="1026" y="18"/>
                </a:lnTo>
                <a:lnTo>
                  <a:pt x="1026" y="18"/>
                </a:lnTo>
                <a:lnTo>
                  <a:pt x="1020" y="24"/>
                </a:lnTo>
                <a:lnTo>
                  <a:pt x="1026" y="24"/>
                </a:lnTo>
                <a:lnTo>
                  <a:pt x="1026" y="24"/>
                </a:lnTo>
                <a:lnTo>
                  <a:pt x="1026" y="18"/>
                </a:lnTo>
                <a:lnTo>
                  <a:pt x="1032" y="18"/>
                </a:lnTo>
                <a:lnTo>
                  <a:pt x="1032" y="18"/>
                </a:lnTo>
                <a:lnTo>
                  <a:pt x="1032" y="18"/>
                </a:lnTo>
                <a:lnTo>
                  <a:pt x="1032" y="24"/>
                </a:lnTo>
                <a:lnTo>
                  <a:pt x="1032" y="24"/>
                </a:lnTo>
                <a:lnTo>
                  <a:pt x="1038" y="24"/>
                </a:lnTo>
                <a:lnTo>
                  <a:pt x="1038" y="24"/>
                </a:lnTo>
                <a:lnTo>
                  <a:pt x="1038" y="24"/>
                </a:lnTo>
                <a:lnTo>
                  <a:pt x="1038" y="18"/>
                </a:lnTo>
                <a:lnTo>
                  <a:pt x="1038" y="18"/>
                </a:lnTo>
                <a:lnTo>
                  <a:pt x="1032" y="18"/>
                </a:lnTo>
                <a:lnTo>
                  <a:pt x="1032" y="12"/>
                </a:lnTo>
                <a:lnTo>
                  <a:pt x="1032" y="6"/>
                </a:lnTo>
                <a:lnTo>
                  <a:pt x="1038" y="6"/>
                </a:lnTo>
                <a:lnTo>
                  <a:pt x="1038" y="6"/>
                </a:lnTo>
                <a:lnTo>
                  <a:pt x="1044" y="6"/>
                </a:lnTo>
                <a:lnTo>
                  <a:pt x="1044" y="12"/>
                </a:lnTo>
                <a:lnTo>
                  <a:pt x="1044" y="12"/>
                </a:lnTo>
                <a:lnTo>
                  <a:pt x="1044" y="18"/>
                </a:lnTo>
                <a:lnTo>
                  <a:pt x="1044" y="24"/>
                </a:lnTo>
                <a:lnTo>
                  <a:pt x="1050" y="24"/>
                </a:lnTo>
                <a:lnTo>
                  <a:pt x="1050" y="30"/>
                </a:lnTo>
                <a:lnTo>
                  <a:pt x="1056" y="30"/>
                </a:lnTo>
                <a:lnTo>
                  <a:pt x="1062" y="30"/>
                </a:lnTo>
                <a:lnTo>
                  <a:pt x="1068" y="24"/>
                </a:lnTo>
                <a:lnTo>
                  <a:pt x="1068" y="18"/>
                </a:lnTo>
                <a:lnTo>
                  <a:pt x="1068" y="18"/>
                </a:lnTo>
                <a:lnTo>
                  <a:pt x="1074" y="18"/>
                </a:lnTo>
                <a:lnTo>
                  <a:pt x="1074" y="12"/>
                </a:lnTo>
                <a:lnTo>
                  <a:pt x="1080" y="6"/>
                </a:lnTo>
                <a:lnTo>
                  <a:pt x="1080" y="6"/>
                </a:lnTo>
                <a:lnTo>
                  <a:pt x="1086" y="6"/>
                </a:lnTo>
                <a:lnTo>
                  <a:pt x="1086" y="0"/>
                </a:lnTo>
                <a:lnTo>
                  <a:pt x="1086" y="0"/>
                </a:lnTo>
                <a:lnTo>
                  <a:pt x="1086" y="0"/>
                </a:lnTo>
                <a:lnTo>
                  <a:pt x="1092" y="0"/>
                </a:lnTo>
                <a:lnTo>
                  <a:pt x="1092" y="6"/>
                </a:lnTo>
                <a:lnTo>
                  <a:pt x="1098" y="6"/>
                </a:lnTo>
                <a:lnTo>
                  <a:pt x="1104" y="12"/>
                </a:lnTo>
                <a:lnTo>
                  <a:pt x="1104" y="12"/>
                </a:lnTo>
                <a:lnTo>
                  <a:pt x="1104" y="18"/>
                </a:lnTo>
                <a:lnTo>
                  <a:pt x="1104" y="18"/>
                </a:lnTo>
                <a:lnTo>
                  <a:pt x="1104" y="24"/>
                </a:lnTo>
                <a:lnTo>
                  <a:pt x="1104" y="24"/>
                </a:lnTo>
                <a:lnTo>
                  <a:pt x="1098" y="24"/>
                </a:lnTo>
                <a:lnTo>
                  <a:pt x="1098" y="24"/>
                </a:lnTo>
                <a:lnTo>
                  <a:pt x="1092" y="24"/>
                </a:lnTo>
                <a:lnTo>
                  <a:pt x="1086" y="30"/>
                </a:lnTo>
                <a:lnTo>
                  <a:pt x="1086" y="30"/>
                </a:lnTo>
                <a:lnTo>
                  <a:pt x="1086" y="36"/>
                </a:lnTo>
                <a:lnTo>
                  <a:pt x="1086" y="36"/>
                </a:lnTo>
                <a:lnTo>
                  <a:pt x="1092" y="42"/>
                </a:lnTo>
                <a:lnTo>
                  <a:pt x="1092" y="42"/>
                </a:lnTo>
                <a:lnTo>
                  <a:pt x="1092" y="42"/>
                </a:lnTo>
                <a:lnTo>
                  <a:pt x="1092" y="42"/>
                </a:lnTo>
                <a:lnTo>
                  <a:pt x="1092" y="48"/>
                </a:lnTo>
                <a:lnTo>
                  <a:pt x="1092" y="48"/>
                </a:lnTo>
                <a:lnTo>
                  <a:pt x="1092" y="48"/>
                </a:lnTo>
                <a:lnTo>
                  <a:pt x="1092" y="54"/>
                </a:lnTo>
                <a:lnTo>
                  <a:pt x="1086" y="54"/>
                </a:lnTo>
                <a:lnTo>
                  <a:pt x="1080" y="54"/>
                </a:lnTo>
                <a:lnTo>
                  <a:pt x="1080" y="54"/>
                </a:lnTo>
                <a:lnTo>
                  <a:pt x="1080" y="54"/>
                </a:lnTo>
                <a:lnTo>
                  <a:pt x="1080" y="54"/>
                </a:lnTo>
                <a:lnTo>
                  <a:pt x="1074" y="54"/>
                </a:lnTo>
                <a:lnTo>
                  <a:pt x="1074" y="54"/>
                </a:lnTo>
                <a:lnTo>
                  <a:pt x="1074" y="54"/>
                </a:lnTo>
                <a:lnTo>
                  <a:pt x="1068" y="54"/>
                </a:lnTo>
                <a:lnTo>
                  <a:pt x="1068" y="60"/>
                </a:lnTo>
                <a:lnTo>
                  <a:pt x="1068" y="60"/>
                </a:lnTo>
                <a:lnTo>
                  <a:pt x="1062" y="60"/>
                </a:lnTo>
                <a:lnTo>
                  <a:pt x="1062" y="54"/>
                </a:lnTo>
                <a:lnTo>
                  <a:pt x="1062" y="54"/>
                </a:lnTo>
                <a:lnTo>
                  <a:pt x="1062" y="60"/>
                </a:lnTo>
                <a:lnTo>
                  <a:pt x="1062" y="60"/>
                </a:lnTo>
                <a:lnTo>
                  <a:pt x="1056" y="60"/>
                </a:lnTo>
                <a:lnTo>
                  <a:pt x="1056" y="60"/>
                </a:lnTo>
                <a:lnTo>
                  <a:pt x="1056" y="66"/>
                </a:lnTo>
                <a:lnTo>
                  <a:pt x="1056" y="66"/>
                </a:lnTo>
                <a:lnTo>
                  <a:pt x="1050" y="66"/>
                </a:lnTo>
                <a:lnTo>
                  <a:pt x="1050" y="72"/>
                </a:lnTo>
                <a:lnTo>
                  <a:pt x="1044" y="78"/>
                </a:lnTo>
                <a:lnTo>
                  <a:pt x="1044" y="78"/>
                </a:lnTo>
                <a:lnTo>
                  <a:pt x="1044" y="84"/>
                </a:lnTo>
                <a:lnTo>
                  <a:pt x="1044" y="84"/>
                </a:lnTo>
                <a:lnTo>
                  <a:pt x="1044" y="84"/>
                </a:lnTo>
                <a:lnTo>
                  <a:pt x="1044" y="90"/>
                </a:lnTo>
                <a:lnTo>
                  <a:pt x="1038" y="90"/>
                </a:lnTo>
                <a:lnTo>
                  <a:pt x="1038" y="96"/>
                </a:lnTo>
                <a:lnTo>
                  <a:pt x="1038" y="96"/>
                </a:lnTo>
                <a:lnTo>
                  <a:pt x="1032" y="96"/>
                </a:lnTo>
                <a:lnTo>
                  <a:pt x="1032" y="102"/>
                </a:lnTo>
                <a:lnTo>
                  <a:pt x="1026" y="108"/>
                </a:lnTo>
                <a:lnTo>
                  <a:pt x="1026" y="108"/>
                </a:lnTo>
                <a:lnTo>
                  <a:pt x="1026" y="114"/>
                </a:lnTo>
                <a:lnTo>
                  <a:pt x="1026" y="114"/>
                </a:lnTo>
                <a:lnTo>
                  <a:pt x="1026" y="120"/>
                </a:lnTo>
                <a:lnTo>
                  <a:pt x="1020" y="120"/>
                </a:lnTo>
                <a:lnTo>
                  <a:pt x="1020" y="120"/>
                </a:lnTo>
                <a:lnTo>
                  <a:pt x="1020" y="126"/>
                </a:lnTo>
                <a:lnTo>
                  <a:pt x="1014" y="132"/>
                </a:lnTo>
                <a:lnTo>
                  <a:pt x="1014" y="132"/>
                </a:lnTo>
                <a:lnTo>
                  <a:pt x="1014" y="132"/>
                </a:lnTo>
                <a:lnTo>
                  <a:pt x="1008" y="138"/>
                </a:lnTo>
                <a:lnTo>
                  <a:pt x="1008" y="138"/>
                </a:lnTo>
                <a:lnTo>
                  <a:pt x="1008" y="138"/>
                </a:lnTo>
                <a:lnTo>
                  <a:pt x="1008" y="144"/>
                </a:lnTo>
                <a:lnTo>
                  <a:pt x="1008" y="150"/>
                </a:lnTo>
                <a:lnTo>
                  <a:pt x="1008" y="156"/>
                </a:lnTo>
                <a:lnTo>
                  <a:pt x="1008" y="162"/>
                </a:lnTo>
                <a:lnTo>
                  <a:pt x="1008" y="168"/>
                </a:lnTo>
                <a:lnTo>
                  <a:pt x="1008" y="168"/>
                </a:lnTo>
                <a:lnTo>
                  <a:pt x="1014" y="168"/>
                </a:lnTo>
                <a:lnTo>
                  <a:pt x="1014" y="168"/>
                </a:lnTo>
                <a:lnTo>
                  <a:pt x="1014" y="168"/>
                </a:lnTo>
                <a:lnTo>
                  <a:pt x="1014" y="174"/>
                </a:lnTo>
                <a:lnTo>
                  <a:pt x="1008" y="174"/>
                </a:lnTo>
                <a:lnTo>
                  <a:pt x="1008" y="174"/>
                </a:lnTo>
                <a:lnTo>
                  <a:pt x="1008" y="186"/>
                </a:lnTo>
                <a:lnTo>
                  <a:pt x="1008" y="192"/>
                </a:lnTo>
                <a:lnTo>
                  <a:pt x="1014" y="192"/>
                </a:lnTo>
                <a:lnTo>
                  <a:pt x="1014" y="198"/>
                </a:lnTo>
                <a:lnTo>
                  <a:pt x="1014" y="198"/>
                </a:lnTo>
                <a:lnTo>
                  <a:pt x="1014" y="204"/>
                </a:lnTo>
                <a:lnTo>
                  <a:pt x="1014" y="204"/>
                </a:lnTo>
                <a:lnTo>
                  <a:pt x="1020" y="204"/>
                </a:lnTo>
                <a:lnTo>
                  <a:pt x="1020" y="210"/>
                </a:lnTo>
                <a:lnTo>
                  <a:pt x="1020" y="216"/>
                </a:lnTo>
                <a:lnTo>
                  <a:pt x="1026" y="216"/>
                </a:lnTo>
                <a:lnTo>
                  <a:pt x="1026" y="222"/>
                </a:lnTo>
                <a:lnTo>
                  <a:pt x="1026" y="222"/>
                </a:lnTo>
                <a:lnTo>
                  <a:pt x="1026" y="222"/>
                </a:lnTo>
                <a:lnTo>
                  <a:pt x="1026" y="228"/>
                </a:lnTo>
                <a:lnTo>
                  <a:pt x="1020" y="228"/>
                </a:lnTo>
                <a:lnTo>
                  <a:pt x="1020" y="228"/>
                </a:lnTo>
                <a:lnTo>
                  <a:pt x="1020" y="234"/>
                </a:lnTo>
                <a:lnTo>
                  <a:pt x="1020" y="240"/>
                </a:lnTo>
                <a:lnTo>
                  <a:pt x="1020" y="240"/>
                </a:lnTo>
                <a:lnTo>
                  <a:pt x="1020" y="240"/>
                </a:lnTo>
                <a:lnTo>
                  <a:pt x="1020" y="240"/>
                </a:lnTo>
                <a:lnTo>
                  <a:pt x="1014" y="240"/>
                </a:lnTo>
                <a:lnTo>
                  <a:pt x="1014" y="240"/>
                </a:lnTo>
                <a:lnTo>
                  <a:pt x="1002" y="252"/>
                </a:lnTo>
                <a:lnTo>
                  <a:pt x="996" y="252"/>
                </a:lnTo>
                <a:lnTo>
                  <a:pt x="996" y="252"/>
                </a:lnTo>
                <a:lnTo>
                  <a:pt x="990" y="258"/>
                </a:lnTo>
                <a:lnTo>
                  <a:pt x="990" y="258"/>
                </a:lnTo>
                <a:lnTo>
                  <a:pt x="990" y="258"/>
                </a:lnTo>
                <a:lnTo>
                  <a:pt x="990" y="258"/>
                </a:lnTo>
                <a:lnTo>
                  <a:pt x="984" y="264"/>
                </a:lnTo>
                <a:lnTo>
                  <a:pt x="984" y="264"/>
                </a:lnTo>
                <a:lnTo>
                  <a:pt x="984" y="264"/>
                </a:lnTo>
                <a:lnTo>
                  <a:pt x="978" y="264"/>
                </a:lnTo>
                <a:lnTo>
                  <a:pt x="978" y="270"/>
                </a:lnTo>
                <a:lnTo>
                  <a:pt x="984" y="270"/>
                </a:lnTo>
                <a:lnTo>
                  <a:pt x="978" y="276"/>
                </a:lnTo>
                <a:lnTo>
                  <a:pt x="984" y="282"/>
                </a:lnTo>
                <a:lnTo>
                  <a:pt x="984" y="288"/>
                </a:lnTo>
                <a:lnTo>
                  <a:pt x="978" y="288"/>
                </a:lnTo>
                <a:lnTo>
                  <a:pt x="978" y="288"/>
                </a:lnTo>
                <a:lnTo>
                  <a:pt x="978" y="288"/>
                </a:lnTo>
                <a:lnTo>
                  <a:pt x="978" y="294"/>
                </a:lnTo>
                <a:lnTo>
                  <a:pt x="978" y="294"/>
                </a:lnTo>
                <a:lnTo>
                  <a:pt x="972" y="300"/>
                </a:lnTo>
                <a:lnTo>
                  <a:pt x="972" y="306"/>
                </a:lnTo>
                <a:lnTo>
                  <a:pt x="966" y="306"/>
                </a:lnTo>
                <a:lnTo>
                  <a:pt x="966" y="306"/>
                </a:lnTo>
                <a:lnTo>
                  <a:pt x="966" y="306"/>
                </a:lnTo>
                <a:lnTo>
                  <a:pt x="960" y="312"/>
                </a:lnTo>
                <a:lnTo>
                  <a:pt x="960" y="312"/>
                </a:lnTo>
                <a:lnTo>
                  <a:pt x="960" y="312"/>
                </a:lnTo>
                <a:lnTo>
                  <a:pt x="954" y="312"/>
                </a:lnTo>
                <a:lnTo>
                  <a:pt x="948" y="318"/>
                </a:lnTo>
                <a:lnTo>
                  <a:pt x="948" y="324"/>
                </a:lnTo>
                <a:lnTo>
                  <a:pt x="942" y="324"/>
                </a:lnTo>
                <a:lnTo>
                  <a:pt x="942" y="324"/>
                </a:lnTo>
                <a:lnTo>
                  <a:pt x="936" y="330"/>
                </a:lnTo>
                <a:lnTo>
                  <a:pt x="936" y="330"/>
                </a:lnTo>
                <a:lnTo>
                  <a:pt x="936" y="330"/>
                </a:lnTo>
                <a:lnTo>
                  <a:pt x="936" y="336"/>
                </a:lnTo>
                <a:lnTo>
                  <a:pt x="936" y="336"/>
                </a:lnTo>
                <a:lnTo>
                  <a:pt x="930" y="336"/>
                </a:lnTo>
                <a:lnTo>
                  <a:pt x="930" y="342"/>
                </a:lnTo>
                <a:lnTo>
                  <a:pt x="930" y="342"/>
                </a:lnTo>
                <a:lnTo>
                  <a:pt x="924" y="342"/>
                </a:lnTo>
                <a:lnTo>
                  <a:pt x="924" y="342"/>
                </a:lnTo>
                <a:lnTo>
                  <a:pt x="924" y="342"/>
                </a:lnTo>
                <a:lnTo>
                  <a:pt x="918" y="342"/>
                </a:lnTo>
                <a:lnTo>
                  <a:pt x="912" y="342"/>
                </a:lnTo>
                <a:lnTo>
                  <a:pt x="906" y="342"/>
                </a:lnTo>
                <a:lnTo>
                  <a:pt x="906" y="342"/>
                </a:lnTo>
                <a:lnTo>
                  <a:pt x="906" y="348"/>
                </a:lnTo>
                <a:lnTo>
                  <a:pt x="906" y="348"/>
                </a:lnTo>
                <a:lnTo>
                  <a:pt x="906" y="354"/>
                </a:lnTo>
                <a:lnTo>
                  <a:pt x="906" y="354"/>
                </a:lnTo>
                <a:lnTo>
                  <a:pt x="900" y="354"/>
                </a:lnTo>
                <a:lnTo>
                  <a:pt x="900" y="354"/>
                </a:lnTo>
                <a:lnTo>
                  <a:pt x="900" y="354"/>
                </a:lnTo>
                <a:lnTo>
                  <a:pt x="900" y="360"/>
                </a:lnTo>
                <a:lnTo>
                  <a:pt x="894" y="360"/>
                </a:lnTo>
                <a:lnTo>
                  <a:pt x="894" y="360"/>
                </a:lnTo>
                <a:lnTo>
                  <a:pt x="894" y="360"/>
                </a:lnTo>
                <a:lnTo>
                  <a:pt x="894" y="360"/>
                </a:lnTo>
                <a:lnTo>
                  <a:pt x="888" y="366"/>
                </a:lnTo>
                <a:lnTo>
                  <a:pt x="888" y="366"/>
                </a:lnTo>
                <a:lnTo>
                  <a:pt x="888" y="366"/>
                </a:lnTo>
                <a:lnTo>
                  <a:pt x="888" y="366"/>
                </a:lnTo>
                <a:lnTo>
                  <a:pt x="888" y="366"/>
                </a:lnTo>
                <a:lnTo>
                  <a:pt x="888" y="366"/>
                </a:lnTo>
                <a:lnTo>
                  <a:pt x="888" y="372"/>
                </a:lnTo>
                <a:lnTo>
                  <a:pt x="888" y="372"/>
                </a:lnTo>
                <a:lnTo>
                  <a:pt x="882" y="378"/>
                </a:lnTo>
                <a:lnTo>
                  <a:pt x="882" y="378"/>
                </a:lnTo>
                <a:lnTo>
                  <a:pt x="882" y="378"/>
                </a:lnTo>
                <a:lnTo>
                  <a:pt x="882" y="384"/>
                </a:lnTo>
                <a:lnTo>
                  <a:pt x="882" y="384"/>
                </a:lnTo>
                <a:lnTo>
                  <a:pt x="882" y="384"/>
                </a:lnTo>
                <a:lnTo>
                  <a:pt x="882" y="390"/>
                </a:lnTo>
                <a:lnTo>
                  <a:pt x="882" y="390"/>
                </a:lnTo>
                <a:lnTo>
                  <a:pt x="882" y="390"/>
                </a:lnTo>
                <a:lnTo>
                  <a:pt x="882" y="396"/>
                </a:lnTo>
                <a:lnTo>
                  <a:pt x="882" y="396"/>
                </a:lnTo>
                <a:lnTo>
                  <a:pt x="876" y="396"/>
                </a:lnTo>
                <a:lnTo>
                  <a:pt x="876" y="396"/>
                </a:lnTo>
                <a:lnTo>
                  <a:pt x="876" y="396"/>
                </a:lnTo>
                <a:lnTo>
                  <a:pt x="870" y="402"/>
                </a:lnTo>
                <a:lnTo>
                  <a:pt x="864" y="408"/>
                </a:lnTo>
                <a:lnTo>
                  <a:pt x="864" y="408"/>
                </a:lnTo>
                <a:lnTo>
                  <a:pt x="864" y="408"/>
                </a:lnTo>
                <a:lnTo>
                  <a:pt x="864" y="414"/>
                </a:lnTo>
                <a:lnTo>
                  <a:pt x="858" y="414"/>
                </a:lnTo>
                <a:lnTo>
                  <a:pt x="858" y="414"/>
                </a:lnTo>
                <a:lnTo>
                  <a:pt x="858" y="414"/>
                </a:lnTo>
                <a:lnTo>
                  <a:pt x="852" y="414"/>
                </a:lnTo>
                <a:lnTo>
                  <a:pt x="852" y="414"/>
                </a:lnTo>
                <a:lnTo>
                  <a:pt x="852" y="420"/>
                </a:lnTo>
                <a:lnTo>
                  <a:pt x="852" y="420"/>
                </a:lnTo>
                <a:lnTo>
                  <a:pt x="852" y="426"/>
                </a:lnTo>
                <a:lnTo>
                  <a:pt x="852" y="426"/>
                </a:lnTo>
                <a:lnTo>
                  <a:pt x="852" y="426"/>
                </a:lnTo>
                <a:lnTo>
                  <a:pt x="852" y="426"/>
                </a:lnTo>
                <a:lnTo>
                  <a:pt x="846" y="432"/>
                </a:lnTo>
                <a:lnTo>
                  <a:pt x="840" y="438"/>
                </a:lnTo>
                <a:lnTo>
                  <a:pt x="840" y="444"/>
                </a:lnTo>
                <a:lnTo>
                  <a:pt x="840" y="444"/>
                </a:lnTo>
                <a:lnTo>
                  <a:pt x="840" y="444"/>
                </a:lnTo>
                <a:lnTo>
                  <a:pt x="840" y="444"/>
                </a:lnTo>
                <a:lnTo>
                  <a:pt x="834" y="438"/>
                </a:lnTo>
                <a:lnTo>
                  <a:pt x="834" y="438"/>
                </a:lnTo>
                <a:lnTo>
                  <a:pt x="834" y="438"/>
                </a:lnTo>
                <a:lnTo>
                  <a:pt x="828" y="438"/>
                </a:lnTo>
                <a:lnTo>
                  <a:pt x="828" y="438"/>
                </a:lnTo>
                <a:lnTo>
                  <a:pt x="828" y="444"/>
                </a:lnTo>
                <a:lnTo>
                  <a:pt x="828" y="444"/>
                </a:lnTo>
                <a:lnTo>
                  <a:pt x="828" y="444"/>
                </a:lnTo>
                <a:lnTo>
                  <a:pt x="828" y="450"/>
                </a:lnTo>
                <a:lnTo>
                  <a:pt x="828" y="450"/>
                </a:lnTo>
                <a:lnTo>
                  <a:pt x="828" y="450"/>
                </a:lnTo>
                <a:lnTo>
                  <a:pt x="822" y="450"/>
                </a:lnTo>
                <a:lnTo>
                  <a:pt x="822" y="450"/>
                </a:lnTo>
                <a:lnTo>
                  <a:pt x="822" y="450"/>
                </a:lnTo>
                <a:lnTo>
                  <a:pt x="822" y="450"/>
                </a:lnTo>
                <a:lnTo>
                  <a:pt x="816" y="450"/>
                </a:lnTo>
                <a:lnTo>
                  <a:pt x="810" y="450"/>
                </a:lnTo>
                <a:lnTo>
                  <a:pt x="810" y="450"/>
                </a:lnTo>
                <a:lnTo>
                  <a:pt x="804" y="450"/>
                </a:lnTo>
                <a:lnTo>
                  <a:pt x="804" y="456"/>
                </a:lnTo>
                <a:lnTo>
                  <a:pt x="804" y="462"/>
                </a:lnTo>
                <a:lnTo>
                  <a:pt x="804" y="462"/>
                </a:lnTo>
                <a:lnTo>
                  <a:pt x="804" y="462"/>
                </a:lnTo>
                <a:lnTo>
                  <a:pt x="798" y="462"/>
                </a:lnTo>
                <a:lnTo>
                  <a:pt x="798" y="462"/>
                </a:lnTo>
                <a:lnTo>
                  <a:pt x="798" y="462"/>
                </a:lnTo>
                <a:lnTo>
                  <a:pt x="798" y="456"/>
                </a:lnTo>
                <a:lnTo>
                  <a:pt x="792" y="456"/>
                </a:lnTo>
                <a:lnTo>
                  <a:pt x="792" y="456"/>
                </a:lnTo>
                <a:lnTo>
                  <a:pt x="792" y="456"/>
                </a:lnTo>
                <a:lnTo>
                  <a:pt x="786" y="456"/>
                </a:lnTo>
                <a:lnTo>
                  <a:pt x="786" y="456"/>
                </a:lnTo>
                <a:lnTo>
                  <a:pt x="786" y="456"/>
                </a:lnTo>
                <a:lnTo>
                  <a:pt x="786" y="462"/>
                </a:lnTo>
                <a:lnTo>
                  <a:pt x="786" y="468"/>
                </a:lnTo>
                <a:lnTo>
                  <a:pt x="786" y="468"/>
                </a:lnTo>
                <a:lnTo>
                  <a:pt x="792" y="468"/>
                </a:lnTo>
                <a:lnTo>
                  <a:pt x="792" y="468"/>
                </a:lnTo>
                <a:lnTo>
                  <a:pt x="792" y="468"/>
                </a:lnTo>
                <a:lnTo>
                  <a:pt x="792" y="474"/>
                </a:lnTo>
                <a:lnTo>
                  <a:pt x="792" y="474"/>
                </a:lnTo>
                <a:lnTo>
                  <a:pt x="786" y="480"/>
                </a:lnTo>
                <a:lnTo>
                  <a:pt x="792" y="486"/>
                </a:lnTo>
                <a:lnTo>
                  <a:pt x="792" y="486"/>
                </a:lnTo>
                <a:lnTo>
                  <a:pt x="798" y="492"/>
                </a:lnTo>
                <a:lnTo>
                  <a:pt x="798" y="498"/>
                </a:lnTo>
                <a:lnTo>
                  <a:pt x="792" y="492"/>
                </a:lnTo>
                <a:lnTo>
                  <a:pt x="792" y="498"/>
                </a:lnTo>
                <a:lnTo>
                  <a:pt x="792" y="498"/>
                </a:lnTo>
                <a:lnTo>
                  <a:pt x="786" y="504"/>
                </a:lnTo>
                <a:lnTo>
                  <a:pt x="786" y="504"/>
                </a:lnTo>
                <a:lnTo>
                  <a:pt x="786" y="504"/>
                </a:lnTo>
                <a:lnTo>
                  <a:pt x="780" y="510"/>
                </a:lnTo>
                <a:lnTo>
                  <a:pt x="780" y="510"/>
                </a:lnTo>
                <a:lnTo>
                  <a:pt x="774" y="522"/>
                </a:lnTo>
                <a:lnTo>
                  <a:pt x="774" y="522"/>
                </a:lnTo>
                <a:lnTo>
                  <a:pt x="774" y="522"/>
                </a:lnTo>
                <a:lnTo>
                  <a:pt x="774" y="528"/>
                </a:lnTo>
                <a:lnTo>
                  <a:pt x="774" y="528"/>
                </a:lnTo>
                <a:lnTo>
                  <a:pt x="774" y="528"/>
                </a:lnTo>
                <a:lnTo>
                  <a:pt x="774" y="528"/>
                </a:lnTo>
                <a:lnTo>
                  <a:pt x="780" y="528"/>
                </a:lnTo>
                <a:lnTo>
                  <a:pt x="780" y="528"/>
                </a:lnTo>
                <a:lnTo>
                  <a:pt x="780" y="528"/>
                </a:lnTo>
                <a:lnTo>
                  <a:pt x="786" y="534"/>
                </a:lnTo>
                <a:lnTo>
                  <a:pt x="786" y="534"/>
                </a:lnTo>
                <a:lnTo>
                  <a:pt x="786" y="534"/>
                </a:lnTo>
                <a:lnTo>
                  <a:pt x="792" y="534"/>
                </a:lnTo>
                <a:lnTo>
                  <a:pt x="792" y="534"/>
                </a:lnTo>
                <a:lnTo>
                  <a:pt x="792" y="540"/>
                </a:lnTo>
                <a:lnTo>
                  <a:pt x="798" y="534"/>
                </a:lnTo>
                <a:lnTo>
                  <a:pt x="798" y="534"/>
                </a:lnTo>
                <a:lnTo>
                  <a:pt x="798" y="534"/>
                </a:lnTo>
                <a:lnTo>
                  <a:pt x="804" y="534"/>
                </a:lnTo>
                <a:lnTo>
                  <a:pt x="804" y="534"/>
                </a:lnTo>
                <a:lnTo>
                  <a:pt x="804" y="534"/>
                </a:lnTo>
                <a:lnTo>
                  <a:pt x="804" y="534"/>
                </a:lnTo>
                <a:lnTo>
                  <a:pt x="810" y="534"/>
                </a:lnTo>
                <a:lnTo>
                  <a:pt x="810" y="534"/>
                </a:lnTo>
                <a:lnTo>
                  <a:pt x="810" y="534"/>
                </a:lnTo>
                <a:lnTo>
                  <a:pt x="816" y="534"/>
                </a:lnTo>
                <a:lnTo>
                  <a:pt x="816" y="528"/>
                </a:lnTo>
                <a:lnTo>
                  <a:pt x="816" y="528"/>
                </a:lnTo>
                <a:lnTo>
                  <a:pt x="816" y="528"/>
                </a:lnTo>
                <a:lnTo>
                  <a:pt x="816" y="528"/>
                </a:lnTo>
                <a:lnTo>
                  <a:pt x="822" y="528"/>
                </a:lnTo>
                <a:lnTo>
                  <a:pt x="822" y="528"/>
                </a:lnTo>
                <a:lnTo>
                  <a:pt x="822" y="528"/>
                </a:lnTo>
                <a:lnTo>
                  <a:pt x="822" y="528"/>
                </a:lnTo>
                <a:lnTo>
                  <a:pt x="822" y="528"/>
                </a:lnTo>
                <a:lnTo>
                  <a:pt x="822" y="528"/>
                </a:lnTo>
                <a:lnTo>
                  <a:pt x="828" y="528"/>
                </a:lnTo>
                <a:lnTo>
                  <a:pt x="828" y="528"/>
                </a:lnTo>
                <a:lnTo>
                  <a:pt x="834" y="522"/>
                </a:lnTo>
                <a:lnTo>
                  <a:pt x="834" y="522"/>
                </a:lnTo>
                <a:lnTo>
                  <a:pt x="834" y="522"/>
                </a:lnTo>
                <a:lnTo>
                  <a:pt x="840" y="516"/>
                </a:lnTo>
                <a:lnTo>
                  <a:pt x="840" y="516"/>
                </a:lnTo>
                <a:lnTo>
                  <a:pt x="840" y="516"/>
                </a:lnTo>
                <a:lnTo>
                  <a:pt x="846" y="516"/>
                </a:lnTo>
                <a:lnTo>
                  <a:pt x="846" y="516"/>
                </a:lnTo>
                <a:lnTo>
                  <a:pt x="846" y="516"/>
                </a:lnTo>
                <a:lnTo>
                  <a:pt x="846" y="510"/>
                </a:lnTo>
                <a:lnTo>
                  <a:pt x="852" y="510"/>
                </a:lnTo>
                <a:lnTo>
                  <a:pt x="852" y="504"/>
                </a:lnTo>
                <a:lnTo>
                  <a:pt x="858" y="510"/>
                </a:lnTo>
                <a:lnTo>
                  <a:pt x="858" y="504"/>
                </a:lnTo>
                <a:lnTo>
                  <a:pt x="858" y="504"/>
                </a:lnTo>
                <a:lnTo>
                  <a:pt x="858" y="510"/>
                </a:lnTo>
                <a:lnTo>
                  <a:pt x="858" y="504"/>
                </a:lnTo>
                <a:lnTo>
                  <a:pt x="864" y="510"/>
                </a:lnTo>
                <a:lnTo>
                  <a:pt x="864" y="504"/>
                </a:lnTo>
                <a:lnTo>
                  <a:pt x="864" y="504"/>
                </a:lnTo>
                <a:lnTo>
                  <a:pt x="864" y="504"/>
                </a:lnTo>
                <a:lnTo>
                  <a:pt x="870" y="510"/>
                </a:lnTo>
                <a:lnTo>
                  <a:pt x="870" y="510"/>
                </a:lnTo>
                <a:lnTo>
                  <a:pt x="870" y="516"/>
                </a:lnTo>
                <a:lnTo>
                  <a:pt x="876" y="516"/>
                </a:lnTo>
                <a:lnTo>
                  <a:pt x="876" y="510"/>
                </a:lnTo>
                <a:lnTo>
                  <a:pt x="882" y="510"/>
                </a:lnTo>
                <a:lnTo>
                  <a:pt x="882" y="510"/>
                </a:lnTo>
                <a:lnTo>
                  <a:pt x="882" y="516"/>
                </a:lnTo>
                <a:lnTo>
                  <a:pt x="882" y="516"/>
                </a:lnTo>
                <a:lnTo>
                  <a:pt x="882" y="516"/>
                </a:lnTo>
                <a:lnTo>
                  <a:pt x="882" y="516"/>
                </a:lnTo>
                <a:lnTo>
                  <a:pt x="888" y="516"/>
                </a:lnTo>
                <a:lnTo>
                  <a:pt x="888" y="516"/>
                </a:lnTo>
                <a:lnTo>
                  <a:pt x="888" y="516"/>
                </a:lnTo>
                <a:lnTo>
                  <a:pt x="888" y="516"/>
                </a:lnTo>
                <a:lnTo>
                  <a:pt x="894" y="516"/>
                </a:lnTo>
                <a:lnTo>
                  <a:pt x="894" y="516"/>
                </a:lnTo>
                <a:lnTo>
                  <a:pt x="900" y="516"/>
                </a:lnTo>
                <a:lnTo>
                  <a:pt x="900" y="516"/>
                </a:lnTo>
                <a:lnTo>
                  <a:pt x="900" y="516"/>
                </a:lnTo>
                <a:lnTo>
                  <a:pt x="900" y="522"/>
                </a:lnTo>
                <a:lnTo>
                  <a:pt x="900" y="522"/>
                </a:lnTo>
                <a:lnTo>
                  <a:pt x="906" y="522"/>
                </a:lnTo>
                <a:lnTo>
                  <a:pt x="906" y="528"/>
                </a:lnTo>
                <a:lnTo>
                  <a:pt x="906" y="528"/>
                </a:lnTo>
                <a:lnTo>
                  <a:pt x="906" y="528"/>
                </a:lnTo>
                <a:lnTo>
                  <a:pt x="912" y="528"/>
                </a:lnTo>
                <a:lnTo>
                  <a:pt x="912" y="528"/>
                </a:lnTo>
                <a:lnTo>
                  <a:pt x="912" y="528"/>
                </a:lnTo>
                <a:lnTo>
                  <a:pt x="912" y="528"/>
                </a:lnTo>
                <a:lnTo>
                  <a:pt x="918" y="528"/>
                </a:lnTo>
                <a:lnTo>
                  <a:pt x="918" y="534"/>
                </a:lnTo>
                <a:lnTo>
                  <a:pt x="918" y="534"/>
                </a:lnTo>
                <a:lnTo>
                  <a:pt x="918" y="528"/>
                </a:lnTo>
                <a:lnTo>
                  <a:pt x="924" y="534"/>
                </a:lnTo>
                <a:lnTo>
                  <a:pt x="924" y="534"/>
                </a:lnTo>
                <a:lnTo>
                  <a:pt x="924" y="534"/>
                </a:lnTo>
                <a:lnTo>
                  <a:pt x="924" y="534"/>
                </a:lnTo>
                <a:lnTo>
                  <a:pt x="930" y="534"/>
                </a:lnTo>
                <a:lnTo>
                  <a:pt x="930" y="534"/>
                </a:lnTo>
                <a:lnTo>
                  <a:pt x="930" y="534"/>
                </a:lnTo>
                <a:lnTo>
                  <a:pt x="930" y="534"/>
                </a:lnTo>
                <a:lnTo>
                  <a:pt x="930" y="534"/>
                </a:lnTo>
                <a:lnTo>
                  <a:pt x="930" y="534"/>
                </a:lnTo>
                <a:lnTo>
                  <a:pt x="936" y="534"/>
                </a:lnTo>
                <a:lnTo>
                  <a:pt x="936" y="534"/>
                </a:lnTo>
                <a:lnTo>
                  <a:pt x="936" y="534"/>
                </a:lnTo>
                <a:lnTo>
                  <a:pt x="936" y="534"/>
                </a:lnTo>
                <a:lnTo>
                  <a:pt x="936" y="540"/>
                </a:lnTo>
                <a:lnTo>
                  <a:pt x="942" y="540"/>
                </a:lnTo>
                <a:lnTo>
                  <a:pt x="942" y="534"/>
                </a:lnTo>
                <a:lnTo>
                  <a:pt x="948" y="540"/>
                </a:lnTo>
                <a:lnTo>
                  <a:pt x="948" y="540"/>
                </a:lnTo>
                <a:lnTo>
                  <a:pt x="948" y="540"/>
                </a:lnTo>
                <a:lnTo>
                  <a:pt x="948" y="540"/>
                </a:lnTo>
                <a:lnTo>
                  <a:pt x="948" y="540"/>
                </a:lnTo>
                <a:lnTo>
                  <a:pt x="948" y="540"/>
                </a:lnTo>
                <a:lnTo>
                  <a:pt x="954" y="540"/>
                </a:lnTo>
                <a:lnTo>
                  <a:pt x="954" y="546"/>
                </a:lnTo>
                <a:lnTo>
                  <a:pt x="954" y="546"/>
                </a:lnTo>
                <a:lnTo>
                  <a:pt x="954" y="546"/>
                </a:lnTo>
                <a:lnTo>
                  <a:pt x="954" y="546"/>
                </a:lnTo>
                <a:lnTo>
                  <a:pt x="954" y="546"/>
                </a:lnTo>
                <a:lnTo>
                  <a:pt x="954" y="546"/>
                </a:lnTo>
                <a:lnTo>
                  <a:pt x="960" y="546"/>
                </a:lnTo>
                <a:lnTo>
                  <a:pt x="960" y="546"/>
                </a:lnTo>
                <a:lnTo>
                  <a:pt x="960" y="546"/>
                </a:lnTo>
                <a:lnTo>
                  <a:pt x="960" y="546"/>
                </a:lnTo>
                <a:lnTo>
                  <a:pt x="960" y="546"/>
                </a:lnTo>
                <a:lnTo>
                  <a:pt x="960" y="546"/>
                </a:lnTo>
                <a:lnTo>
                  <a:pt x="960" y="546"/>
                </a:lnTo>
                <a:lnTo>
                  <a:pt x="960" y="546"/>
                </a:lnTo>
                <a:lnTo>
                  <a:pt x="960" y="546"/>
                </a:lnTo>
                <a:lnTo>
                  <a:pt x="960" y="546"/>
                </a:lnTo>
                <a:lnTo>
                  <a:pt x="954" y="546"/>
                </a:lnTo>
                <a:lnTo>
                  <a:pt x="954" y="552"/>
                </a:lnTo>
                <a:lnTo>
                  <a:pt x="954" y="552"/>
                </a:lnTo>
                <a:lnTo>
                  <a:pt x="954" y="552"/>
                </a:lnTo>
                <a:lnTo>
                  <a:pt x="954" y="552"/>
                </a:lnTo>
                <a:lnTo>
                  <a:pt x="954" y="552"/>
                </a:lnTo>
                <a:lnTo>
                  <a:pt x="954" y="552"/>
                </a:lnTo>
                <a:lnTo>
                  <a:pt x="954" y="558"/>
                </a:lnTo>
                <a:lnTo>
                  <a:pt x="948" y="558"/>
                </a:lnTo>
                <a:lnTo>
                  <a:pt x="948" y="558"/>
                </a:lnTo>
                <a:lnTo>
                  <a:pt x="948" y="558"/>
                </a:lnTo>
                <a:lnTo>
                  <a:pt x="942" y="558"/>
                </a:lnTo>
                <a:lnTo>
                  <a:pt x="942" y="558"/>
                </a:lnTo>
                <a:lnTo>
                  <a:pt x="942" y="558"/>
                </a:lnTo>
                <a:lnTo>
                  <a:pt x="942" y="558"/>
                </a:lnTo>
                <a:lnTo>
                  <a:pt x="942" y="558"/>
                </a:lnTo>
                <a:lnTo>
                  <a:pt x="942" y="558"/>
                </a:lnTo>
                <a:lnTo>
                  <a:pt x="942" y="558"/>
                </a:lnTo>
                <a:lnTo>
                  <a:pt x="936" y="558"/>
                </a:lnTo>
                <a:lnTo>
                  <a:pt x="936" y="558"/>
                </a:lnTo>
                <a:lnTo>
                  <a:pt x="936" y="558"/>
                </a:lnTo>
                <a:lnTo>
                  <a:pt x="930" y="558"/>
                </a:lnTo>
                <a:lnTo>
                  <a:pt x="930" y="558"/>
                </a:lnTo>
                <a:lnTo>
                  <a:pt x="930" y="558"/>
                </a:lnTo>
                <a:lnTo>
                  <a:pt x="930" y="558"/>
                </a:lnTo>
                <a:lnTo>
                  <a:pt x="930" y="564"/>
                </a:lnTo>
                <a:lnTo>
                  <a:pt x="924" y="564"/>
                </a:lnTo>
                <a:lnTo>
                  <a:pt x="924" y="564"/>
                </a:lnTo>
                <a:lnTo>
                  <a:pt x="924" y="564"/>
                </a:lnTo>
                <a:lnTo>
                  <a:pt x="924" y="564"/>
                </a:lnTo>
                <a:lnTo>
                  <a:pt x="924" y="564"/>
                </a:lnTo>
                <a:lnTo>
                  <a:pt x="924" y="564"/>
                </a:lnTo>
                <a:lnTo>
                  <a:pt x="918" y="564"/>
                </a:lnTo>
                <a:lnTo>
                  <a:pt x="918" y="564"/>
                </a:lnTo>
                <a:lnTo>
                  <a:pt x="918" y="564"/>
                </a:lnTo>
                <a:lnTo>
                  <a:pt x="918" y="564"/>
                </a:lnTo>
                <a:lnTo>
                  <a:pt x="912" y="564"/>
                </a:lnTo>
                <a:lnTo>
                  <a:pt x="912" y="570"/>
                </a:lnTo>
                <a:lnTo>
                  <a:pt x="912" y="564"/>
                </a:lnTo>
                <a:lnTo>
                  <a:pt x="906" y="564"/>
                </a:lnTo>
                <a:lnTo>
                  <a:pt x="906" y="570"/>
                </a:lnTo>
                <a:lnTo>
                  <a:pt x="906" y="570"/>
                </a:lnTo>
                <a:lnTo>
                  <a:pt x="906" y="570"/>
                </a:lnTo>
                <a:lnTo>
                  <a:pt x="906" y="570"/>
                </a:lnTo>
                <a:lnTo>
                  <a:pt x="900" y="570"/>
                </a:lnTo>
                <a:lnTo>
                  <a:pt x="900" y="570"/>
                </a:lnTo>
                <a:lnTo>
                  <a:pt x="900" y="570"/>
                </a:lnTo>
                <a:lnTo>
                  <a:pt x="900" y="570"/>
                </a:lnTo>
                <a:lnTo>
                  <a:pt x="900" y="570"/>
                </a:lnTo>
                <a:lnTo>
                  <a:pt x="900" y="570"/>
                </a:lnTo>
                <a:lnTo>
                  <a:pt x="894" y="570"/>
                </a:lnTo>
                <a:lnTo>
                  <a:pt x="894" y="564"/>
                </a:lnTo>
                <a:lnTo>
                  <a:pt x="894" y="570"/>
                </a:lnTo>
                <a:lnTo>
                  <a:pt x="888" y="564"/>
                </a:lnTo>
                <a:lnTo>
                  <a:pt x="888" y="570"/>
                </a:lnTo>
                <a:lnTo>
                  <a:pt x="888" y="570"/>
                </a:lnTo>
                <a:lnTo>
                  <a:pt x="888" y="564"/>
                </a:lnTo>
                <a:lnTo>
                  <a:pt x="882" y="564"/>
                </a:lnTo>
                <a:lnTo>
                  <a:pt x="882" y="564"/>
                </a:lnTo>
                <a:lnTo>
                  <a:pt x="882" y="564"/>
                </a:lnTo>
                <a:lnTo>
                  <a:pt x="882" y="564"/>
                </a:lnTo>
                <a:lnTo>
                  <a:pt x="882" y="564"/>
                </a:lnTo>
                <a:lnTo>
                  <a:pt x="876" y="564"/>
                </a:lnTo>
                <a:lnTo>
                  <a:pt x="876" y="564"/>
                </a:lnTo>
                <a:lnTo>
                  <a:pt x="876" y="564"/>
                </a:lnTo>
                <a:lnTo>
                  <a:pt x="876" y="558"/>
                </a:lnTo>
                <a:lnTo>
                  <a:pt x="876" y="564"/>
                </a:lnTo>
                <a:lnTo>
                  <a:pt x="870" y="564"/>
                </a:lnTo>
                <a:lnTo>
                  <a:pt x="870" y="564"/>
                </a:lnTo>
                <a:lnTo>
                  <a:pt x="870" y="564"/>
                </a:lnTo>
                <a:lnTo>
                  <a:pt x="870" y="564"/>
                </a:lnTo>
                <a:lnTo>
                  <a:pt x="870" y="564"/>
                </a:lnTo>
                <a:lnTo>
                  <a:pt x="870" y="564"/>
                </a:lnTo>
                <a:lnTo>
                  <a:pt x="864" y="564"/>
                </a:lnTo>
                <a:lnTo>
                  <a:pt x="864" y="564"/>
                </a:lnTo>
                <a:lnTo>
                  <a:pt x="864" y="564"/>
                </a:lnTo>
                <a:lnTo>
                  <a:pt x="864" y="564"/>
                </a:lnTo>
                <a:lnTo>
                  <a:pt x="858" y="564"/>
                </a:lnTo>
                <a:lnTo>
                  <a:pt x="858" y="564"/>
                </a:lnTo>
                <a:lnTo>
                  <a:pt x="858" y="564"/>
                </a:lnTo>
                <a:lnTo>
                  <a:pt x="858" y="564"/>
                </a:lnTo>
                <a:lnTo>
                  <a:pt x="858" y="564"/>
                </a:lnTo>
                <a:lnTo>
                  <a:pt x="858" y="564"/>
                </a:lnTo>
                <a:lnTo>
                  <a:pt x="852" y="564"/>
                </a:lnTo>
                <a:lnTo>
                  <a:pt x="858" y="570"/>
                </a:lnTo>
                <a:lnTo>
                  <a:pt x="852" y="570"/>
                </a:lnTo>
                <a:lnTo>
                  <a:pt x="858" y="570"/>
                </a:lnTo>
                <a:lnTo>
                  <a:pt x="852" y="570"/>
                </a:lnTo>
                <a:lnTo>
                  <a:pt x="852" y="570"/>
                </a:lnTo>
                <a:lnTo>
                  <a:pt x="852" y="570"/>
                </a:lnTo>
                <a:lnTo>
                  <a:pt x="852" y="570"/>
                </a:lnTo>
                <a:lnTo>
                  <a:pt x="852" y="570"/>
                </a:lnTo>
                <a:lnTo>
                  <a:pt x="852" y="570"/>
                </a:lnTo>
                <a:lnTo>
                  <a:pt x="852" y="570"/>
                </a:lnTo>
                <a:lnTo>
                  <a:pt x="852" y="570"/>
                </a:lnTo>
                <a:lnTo>
                  <a:pt x="846" y="570"/>
                </a:lnTo>
                <a:lnTo>
                  <a:pt x="846" y="570"/>
                </a:lnTo>
                <a:lnTo>
                  <a:pt x="846" y="570"/>
                </a:lnTo>
                <a:lnTo>
                  <a:pt x="846" y="570"/>
                </a:lnTo>
                <a:lnTo>
                  <a:pt x="840" y="570"/>
                </a:lnTo>
                <a:lnTo>
                  <a:pt x="840" y="570"/>
                </a:lnTo>
                <a:lnTo>
                  <a:pt x="840" y="570"/>
                </a:lnTo>
                <a:lnTo>
                  <a:pt x="840" y="570"/>
                </a:lnTo>
                <a:lnTo>
                  <a:pt x="840" y="570"/>
                </a:lnTo>
                <a:lnTo>
                  <a:pt x="834" y="570"/>
                </a:lnTo>
                <a:lnTo>
                  <a:pt x="834" y="570"/>
                </a:lnTo>
                <a:lnTo>
                  <a:pt x="834" y="570"/>
                </a:lnTo>
                <a:lnTo>
                  <a:pt x="834" y="570"/>
                </a:lnTo>
                <a:lnTo>
                  <a:pt x="834" y="570"/>
                </a:lnTo>
                <a:lnTo>
                  <a:pt x="834" y="570"/>
                </a:lnTo>
                <a:lnTo>
                  <a:pt x="834" y="570"/>
                </a:lnTo>
                <a:lnTo>
                  <a:pt x="828" y="570"/>
                </a:lnTo>
                <a:lnTo>
                  <a:pt x="828" y="570"/>
                </a:lnTo>
                <a:lnTo>
                  <a:pt x="828" y="570"/>
                </a:lnTo>
                <a:lnTo>
                  <a:pt x="828" y="570"/>
                </a:lnTo>
                <a:lnTo>
                  <a:pt x="828" y="570"/>
                </a:lnTo>
                <a:lnTo>
                  <a:pt x="828" y="570"/>
                </a:lnTo>
                <a:lnTo>
                  <a:pt x="828" y="576"/>
                </a:lnTo>
                <a:lnTo>
                  <a:pt x="828" y="576"/>
                </a:lnTo>
                <a:lnTo>
                  <a:pt x="828" y="576"/>
                </a:lnTo>
                <a:lnTo>
                  <a:pt x="822" y="576"/>
                </a:lnTo>
                <a:lnTo>
                  <a:pt x="822" y="576"/>
                </a:lnTo>
                <a:lnTo>
                  <a:pt x="822" y="576"/>
                </a:lnTo>
                <a:lnTo>
                  <a:pt x="822" y="582"/>
                </a:lnTo>
                <a:lnTo>
                  <a:pt x="822" y="582"/>
                </a:lnTo>
                <a:lnTo>
                  <a:pt x="822" y="582"/>
                </a:lnTo>
                <a:lnTo>
                  <a:pt x="816" y="618"/>
                </a:lnTo>
                <a:lnTo>
                  <a:pt x="810" y="618"/>
                </a:lnTo>
                <a:lnTo>
                  <a:pt x="810" y="624"/>
                </a:lnTo>
                <a:lnTo>
                  <a:pt x="810" y="630"/>
                </a:lnTo>
                <a:lnTo>
                  <a:pt x="810" y="630"/>
                </a:lnTo>
                <a:lnTo>
                  <a:pt x="810" y="630"/>
                </a:lnTo>
                <a:lnTo>
                  <a:pt x="810" y="636"/>
                </a:lnTo>
                <a:lnTo>
                  <a:pt x="810" y="636"/>
                </a:lnTo>
                <a:lnTo>
                  <a:pt x="804" y="636"/>
                </a:lnTo>
                <a:lnTo>
                  <a:pt x="804" y="642"/>
                </a:lnTo>
                <a:lnTo>
                  <a:pt x="804" y="642"/>
                </a:lnTo>
                <a:lnTo>
                  <a:pt x="798" y="648"/>
                </a:lnTo>
                <a:lnTo>
                  <a:pt x="798" y="648"/>
                </a:lnTo>
                <a:lnTo>
                  <a:pt x="798" y="648"/>
                </a:lnTo>
                <a:lnTo>
                  <a:pt x="792" y="648"/>
                </a:lnTo>
                <a:lnTo>
                  <a:pt x="792" y="642"/>
                </a:lnTo>
                <a:lnTo>
                  <a:pt x="792" y="642"/>
                </a:lnTo>
                <a:lnTo>
                  <a:pt x="792" y="642"/>
                </a:lnTo>
                <a:lnTo>
                  <a:pt x="792" y="642"/>
                </a:lnTo>
                <a:lnTo>
                  <a:pt x="792" y="636"/>
                </a:lnTo>
                <a:lnTo>
                  <a:pt x="792" y="636"/>
                </a:lnTo>
                <a:lnTo>
                  <a:pt x="792" y="636"/>
                </a:lnTo>
                <a:lnTo>
                  <a:pt x="786" y="636"/>
                </a:lnTo>
                <a:lnTo>
                  <a:pt x="786" y="636"/>
                </a:lnTo>
                <a:lnTo>
                  <a:pt x="786" y="636"/>
                </a:lnTo>
                <a:lnTo>
                  <a:pt x="786" y="630"/>
                </a:lnTo>
                <a:lnTo>
                  <a:pt x="786" y="630"/>
                </a:lnTo>
                <a:lnTo>
                  <a:pt x="780" y="630"/>
                </a:lnTo>
                <a:lnTo>
                  <a:pt x="780" y="624"/>
                </a:lnTo>
                <a:lnTo>
                  <a:pt x="780" y="630"/>
                </a:lnTo>
                <a:lnTo>
                  <a:pt x="780" y="630"/>
                </a:lnTo>
                <a:lnTo>
                  <a:pt x="780" y="630"/>
                </a:lnTo>
                <a:lnTo>
                  <a:pt x="774" y="624"/>
                </a:lnTo>
                <a:lnTo>
                  <a:pt x="774" y="624"/>
                </a:lnTo>
                <a:lnTo>
                  <a:pt x="774" y="624"/>
                </a:lnTo>
                <a:lnTo>
                  <a:pt x="774" y="624"/>
                </a:lnTo>
                <a:lnTo>
                  <a:pt x="768" y="624"/>
                </a:lnTo>
                <a:lnTo>
                  <a:pt x="768" y="624"/>
                </a:lnTo>
                <a:lnTo>
                  <a:pt x="762" y="630"/>
                </a:lnTo>
                <a:lnTo>
                  <a:pt x="762" y="624"/>
                </a:lnTo>
                <a:lnTo>
                  <a:pt x="762" y="630"/>
                </a:lnTo>
                <a:lnTo>
                  <a:pt x="762" y="630"/>
                </a:lnTo>
                <a:lnTo>
                  <a:pt x="762" y="624"/>
                </a:lnTo>
                <a:lnTo>
                  <a:pt x="762" y="624"/>
                </a:lnTo>
                <a:lnTo>
                  <a:pt x="762" y="618"/>
                </a:lnTo>
                <a:lnTo>
                  <a:pt x="762" y="618"/>
                </a:lnTo>
                <a:lnTo>
                  <a:pt x="762" y="618"/>
                </a:lnTo>
                <a:lnTo>
                  <a:pt x="762" y="618"/>
                </a:lnTo>
                <a:lnTo>
                  <a:pt x="762" y="618"/>
                </a:lnTo>
                <a:lnTo>
                  <a:pt x="762" y="612"/>
                </a:lnTo>
                <a:lnTo>
                  <a:pt x="756" y="612"/>
                </a:lnTo>
                <a:lnTo>
                  <a:pt x="756" y="612"/>
                </a:lnTo>
                <a:lnTo>
                  <a:pt x="756" y="612"/>
                </a:lnTo>
                <a:lnTo>
                  <a:pt x="756" y="612"/>
                </a:lnTo>
                <a:lnTo>
                  <a:pt x="750" y="612"/>
                </a:lnTo>
                <a:lnTo>
                  <a:pt x="750" y="612"/>
                </a:lnTo>
                <a:lnTo>
                  <a:pt x="750" y="612"/>
                </a:lnTo>
                <a:lnTo>
                  <a:pt x="750" y="612"/>
                </a:lnTo>
                <a:lnTo>
                  <a:pt x="744" y="612"/>
                </a:lnTo>
                <a:lnTo>
                  <a:pt x="744" y="612"/>
                </a:lnTo>
                <a:lnTo>
                  <a:pt x="744" y="612"/>
                </a:lnTo>
                <a:lnTo>
                  <a:pt x="744" y="606"/>
                </a:lnTo>
                <a:lnTo>
                  <a:pt x="738" y="612"/>
                </a:lnTo>
                <a:lnTo>
                  <a:pt x="738" y="612"/>
                </a:lnTo>
                <a:lnTo>
                  <a:pt x="738" y="612"/>
                </a:lnTo>
                <a:lnTo>
                  <a:pt x="738" y="612"/>
                </a:lnTo>
                <a:lnTo>
                  <a:pt x="732" y="612"/>
                </a:lnTo>
                <a:lnTo>
                  <a:pt x="732" y="612"/>
                </a:lnTo>
                <a:lnTo>
                  <a:pt x="732" y="612"/>
                </a:lnTo>
                <a:lnTo>
                  <a:pt x="726" y="612"/>
                </a:lnTo>
                <a:lnTo>
                  <a:pt x="726" y="612"/>
                </a:lnTo>
                <a:lnTo>
                  <a:pt x="726" y="618"/>
                </a:lnTo>
                <a:lnTo>
                  <a:pt x="726" y="612"/>
                </a:lnTo>
                <a:lnTo>
                  <a:pt x="726" y="612"/>
                </a:lnTo>
                <a:lnTo>
                  <a:pt x="726" y="612"/>
                </a:lnTo>
                <a:lnTo>
                  <a:pt x="720" y="612"/>
                </a:lnTo>
                <a:lnTo>
                  <a:pt x="720" y="612"/>
                </a:lnTo>
                <a:lnTo>
                  <a:pt x="714" y="612"/>
                </a:lnTo>
                <a:lnTo>
                  <a:pt x="714" y="612"/>
                </a:lnTo>
                <a:lnTo>
                  <a:pt x="714" y="612"/>
                </a:lnTo>
                <a:lnTo>
                  <a:pt x="714" y="618"/>
                </a:lnTo>
                <a:lnTo>
                  <a:pt x="714" y="618"/>
                </a:lnTo>
                <a:lnTo>
                  <a:pt x="708" y="612"/>
                </a:lnTo>
                <a:lnTo>
                  <a:pt x="702" y="612"/>
                </a:lnTo>
                <a:lnTo>
                  <a:pt x="702" y="612"/>
                </a:lnTo>
                <a:lnTo>
                  <a:pt x="702" y="618"/>
                </a:lnTo>
                <a:lnTo>
                  <a:pt x="702" y="618"/>
                </a:lnTo>
                <a:lnTo>
                  <a:pt x="696" y="618"/>
                </a:lnTo>
                <a:lnTo>
                  <a:pt x="696" y="618"/>
                </a:lnTo>
                <a:lnTo>
                  <a:pt x="696" y="618"/>
                </a:lnTo>
                <a:lnTo>
                  <a:pt x="696" y="618"/>
                </a:lnTo>
                <a:lnTo>
                  <a:pt x="696" y="618"/>
                </a:lnTo>
                <a:lnTo>
                  <a:pt x="690" y="612"/>
                </a:lnTo>
                <a:lnTo>
                  <a:pt x="690" y="618"/>
                </a:lnTo>
                <a:lnTo>
                  <a:pt x="690" y="612"/>
                </a:lnTo>
                <a:lnTo>
                  <a:pt x="690" y="612"/>
                </a:lnTo>
                <a:lnTo>
                  <a:pt x="690" y="612"/>
                </a:lnTo>
                <a:lnTo>
                  <a:pt x="684" y="612"/>
                </a:lnTo>
                <a:lnTo>
                  <a:pt x="684" y="612"/>
                </a:lnTo>
                <a:lnTo>
                  <a:pt x="684" y="618"/>
                </a:lnTo>
                <a:lnTo>
                  <a:pt x="684" y="618"/>
                </a:lnTo>
                <a:lnTo>
                  <a:pt x="684" y="624"/>
                </a:lnTo>
                <a:lnTo>
                  <a:pt x="684" y="624"/>
                </a:lnTo>
                <a:lnTo>
                  <a:pt x="684" y="624"/>
                </a:lnTo>
                <a:lnTo>
                  <a:pt x="678" y="624"/>
                </a:lnTo>
                <a:lnTo>
                  <a:pt x="678" y="624"/>
                </a:lnTo>
                <a:lnTo>
                  <a:pt x="678" y="624"/>
                </a:lnTo>
                <a:lnTo>
                  <a:pt x="678" y="624"/>
                </a:lnTo>
                <a:lnTo>
                  <a:pt x="672" y="624"/>
                </a:lnTo>
                <a:lnTo>
                  <a:pt x="672" y="618"/>
                </a:lnTo>
                <a:lnTo>
                  <a:pt x="672" y="618"/>
                </a:lnTo>
                <a:lnTo>
                  <a:pt x="672" y="618"/>
                </a:lnTo>
                <a:lnTo>
                  <a:pt x="672" y="618"/>
                </a:lnTo>
                <a:lnTo>
                  <a:pt x="672" y="618"/>
                </a:lnTo>
                <a:lnTo>
                  <a:pt x="672" y="612"/>
                </a:lnTo>
                <a:lnTo>
                  <a:pt x="666" y="612"/>
                </a:lnTo>
                <a:lnTo>
                  <a:pt x="660" y="606"/>
                </a:lnTo>
                <a:lnTo>
                  <a:pt x="654" y="606"/>
                </a:lnTo>
                <a:lnTo>
                  <a:pt x="654" y="606"/>
                </a:lnTo>
                <a:lnTo>
                  <a:pt x="654" y="606"/>
                </a:lnTo>
                <a:lnTo>
                  <a:pt x="654" y="612"/>
                </a:lnTo>
                <a:lnTo>
                  <a:pt x="648" y="606"/>
                </a:lnTo>
                <a:lnTo>
                  <a:pt x="648" y="606"/>
                </a:lnTo>
                <a:lnTo>
                  <a:pt x="642" y="606"/>
                </a:lnTo>
                <a:lnTo>
                  <a:pt x="642" y="606"/>
                </a:lnTo>
                <a:lnTo>
                  <a:pt x="636" y="606"/>
                </a:lnTo>
                <a:lnTo>
                  <a:pt x="636" y="606"/>
                </a:lnTo>
                <a:lnTo>
                  <a:pt x="636" y="606"/>
                </a:lnTo>
                <a:lnTo>
                  <a:pt x="630" y="606"/>
                </a:lnTo>
                <a:lnTo>
                  <a:pt x="630" y="606"/>
                </a:lnTo>
                <a:lnTo>
                  <a:pt x="630" y="606"/>
                </a:lnTo>
                <a:lnTo>
                  <a:pt x="630" y="606"/>
                </a:lnTo>
                <a:lnTo>
                  <a:pt x="630" y="606"/>
                </a:lnTo>
                <a:lnTo>
                  <a:pt x="630" y="606"/>
                </a:lnTo>
                <a:lnTo>
                  <a:pt x="624" y="606"/>
                </a:lnTo>
                <a:lnTo>
                  <a:pt x="624" y="606"/>
                </a:lnTo>
                <a:lnTo>
                  <a:pt x="624" y="606"/>
                </a:lnTo>
                <a:lnTo>
                  <a:pt x="624" y="600"/>
                </a:lnTo>
                <a:lnTo>
                  <a:pt x="624" y="606"/>
                </a:lnTo>
                <a:lnTo>
                  <a:pt x="618" y="606"/>
                </a:lnTo>
                <a:lnTo>
                  <a:pt x="618" y="600"/>
                </a:lnTo>
                <a:lnTo>
                  <a:pt x="618" y="600"/>
                </a:lnTo>
                <a:lnTo>
                  <a:pt x="618" y="600"/>
                </a:lnTo>
                <a:lnTo>
                  <a:pt x="618" y="600"/>
                </a:lnTo>
                <a:lnTo>
                  <a:pt x="612" y="606"/>
                </a:lnTo>
                <a:lnTo>
                  <a:pt x="612" y="600"/>
                </a:lnTo>
                <a:lnTo>
                  <a:pt x="612" y="600"/>
                </a:lnTo>
                <a:lnTo>
                  <a:pt x="612" y="600"/>
                </a:lnTo>
                <a:lnTo>
                  <a:pt x="618" y="600"/>
                </a:lnTo>
                <a:lnTo>
                  <a:pt x="618" y="600"/>
                </a:lnTo>
                <a:lnTo>
                  <a:pt x="612" y="594"/>
                </a:lnTo>
                <a:lnTo>
                  <a:pt x="612" y="594"/>
                </a:lnTo>
                <a:lnTo>
                  <a:pt x="612" y="594"/>
                </a:lnTo>
                <a:lnTo>
                  <a:pt x="612" y="600"/>
                </a:lnTo>
                <a:lnTo>
                  <a:pt x="606" y="600"/>
                </a:lnTo>
                <a:lnTo>
                  <a:pt x="606" y="600"/>
                </a:lnTo>
                <a:lnTo>
                  <a:pt x="606" y="600"/>
                </a:lnTo>
                <a:lnTo>
                  <a:pt x="606" y="600"/>
                </a:lnTo>
                <a:lnTo>
                  <a:pt x="606" y="600"/>
                </a:lnTo>
                <a:lnTo>
                  <a:pt x="606" y="594"/>
                </a:lnTo>
                <a:lnTo>
                  <a:pt x="600" y="594"/>
                </a:lnTo>
                <a:lnTo>
                  <a:pt x="600" y="594"/>
                </a:lnTo>
                <a:lnTo>
                  <a:pt x="600" y="594"/>
                </a:lnTo>
                <a:lnTo>
                  <a:pt x="600" y="594"/>
                </a:lnTo>
                <a:lnTo>
                  <a:pt x="600" y="588"/>
                </a:lnTo>
                <a:lnTo>
                  <a:pt x="600" y="588"/>
                </a:lnTo>
                <a:lnTo>
                  <a:pt x="594" y="588"/>
                </a:lnTo>
                <a:lnTo>
                  <a:pt x="594" y="588"/>
                </a:lnTo>
                <a:lnTo>
                  <a:pt x="594" y="588"/>
                </a:lnTo>
                <a:lnTo>
                  <a:pt x="594" y="588"/>
                </a:lnTo>
                <a:lnTo>
                  <a:pt x="588" y="588"/>
                </a:lnTo>
                <a:lnTo>
                  <a:pt x="582" y="594"/>
                </a:lnTo>
                <a:lnTo>
                  <a:pt x="582" y="594"/>
                </a:lnTo>
                <a:lnTo>
                  <a:pt x="582" y="594"/>
                </a:lnTo>
                <a:lnTo>
                  <a:pt x="582" y="594"/>
                </a:lnTo>
                <a:lnTo>
                  <a:pt x="582" y="594"/>
                </a:lnTo>
                <a:lnTo>
                  <a:pt x="576" y="594"/>
                </a:lnTo>
                <a:lnTo>
                  <a:pt x="576" y="594"/>
                </a:lnTo>
                <a:lnTo>
                  <a:pt x="570" y="594"/>
                </a:lnTo>
                <a:lnTo>
                  <a:pt x="570" y="594"/>
                </a:lnTo>
                <a:lnTo>
                  <a:pt x="570" y="594"/>
                </a:lnTo>
                <a:lnTo>
                  <a:pt x="570" y="594"/>
                </a:lnTo>
                <a:lnTo>
                  <a:pt x="564" y="594"/>
                </a:lnTo>
                <a:lnTo>
                  <a:pt x="564" y="600"/>
                </a:lnTo>
                <a:lnTo>
                  <a:pt x="564" y="600"/>
                </a:lnTo>
                <a:lnTo>
                  <a:pt x="564" y="600"/>
                </a:lnTo>
                <a:lnTo>
                  <a:pt x="564" y="600"/>
                </a:lnTo>
                <a:lnTo>
                  <a:pt x="564" y="600"/>
                </a:lnTo>
                <a:lnTo>
                  <a:pt x="564" y="606"/>
                </a:lnTo>
                <a:lnTo>
                  <a:pt x="564" y="606"/>
                </a:lnTo>
                <a:lnTo>
                  <a:pt x="558" y="606"/>
                </a:lnTo>
                <a:lnTo>
                  <a:pt x="558" y="606"/>
                </a:lnTo>
                <a:lnTo>
                  <a:pt x="558" y="606"/>
                </a:lnTo>
                <a:lnTo>
                  <a:pt x="552" y="606"/>
                </a:lnTo>
                <a:lnTo>
                  <a:pt x="552" y="606"/>
                </a:lnTo>
                <a:lnTo>
                  <a:pt x="552" y="606"/>
                </a:lnTo>
                <a:lnTo>
                  <a:pt x="552" y="612"/>
                </a:lnTo>
                <a:lnTo>
                  <a:pt x="558" y="612"/>
                </a:lnTo>
                <a:lnTo>
                  <a:pt x="558" y="612"/>
                </a:lnTo>
                <a:lnTo>
                  <a:pt x="558" y="618"/>
                </a:lnTo>
                <a:lnTo>
                  <a:pt x="558" y="618"/>
                </a:lnTo>
                <a:lnTo>
                  <a:pt x="552" y="618"/>
                </a:lnTo>
                <a:lnTo>
                  <a:pt x="552" y="618"/>
                </a:lnTo>
                <a:lnTo>
                  <a:pt x="552" y="618"/>
                </a:lnTo>
                <a:lnTo>
                  <a:pt x="552" y="624"/>
                </a:lnTo>
                <a:lnTo>
                  <a:pt x="558" y="624"/>
                </a:lnTo>
                <a:lnTo>
                  <a:pt x="552" y="630"/>
                </a:lnTo>
                <a:lnTo>
                  <a:pt x="552" y="630"/>
                </a:lnTo>
                <a:lnTo>
                  <a:pt x="552" y="630"/>
                </a:lnTo>
                <a:lnTo>
                  <a:pt x="552" y="636"/>
                </a:lnTo>
                <a:lnTo>
                  <a:pt x="552" y="636"/>
                </a:lnTo>
                <a:lnTo>
                  <a:pt x="552" y="636"/>
                </a:lnTo>
                <a:lnTo>
                  <a:pt x="552" y="642"/>
                </a:lnTo>
                <a:lnTo>
                  <a:pt x="552" y="642"/>
                </a:lnTo>
                <a:lnTo>
                  <a:pt x="552" y="642"/>
                </a:lnTo>
                <a:lnTo>
                  <a:pt x="552" y="648"/>
                </a:lnTo>
                <a:lnTo>
                  <a:pt x="552" y="648"/>
                </a:lnTo>
                <a:lnTo>
                  <a:pt x="552" y="648"/>
                </a:lnTo>
                <a:lnTo>
                  <a:pt x="546" y="648"/>
                </a:lnTo>
                <a:lnTo>
                  <a:pt x="546" y="648"/>
                </a:lnTo>
                <a:lnTo>
                  <a:pt x="552" y="654"/>
                </a:lnTo>
                <a:lnTo>
                  <a:pt x="552" y="654"/>
                </a:lnTo>
                <a:lnTo>
                  <a:pt x="552" y="654"/>
                </a:lnTo>
                <a:lnTo>
                  <a:pt x="546" y="654"/>
                </a:lnTo>
                <a:lnTo>
                  <a:pt x="546" y="654"/>
                </a:lnTo>
                <a:lnTo>
                  <a:pt x="546" y="666"/>
                </a:lnTo>
                <a:lnTo>
                  <a:pt x="546" y="666"/>
                </a:lnTo>
                <a:lnTo>
                  <a:pt x="546" y="666"/>
                </a:lnTo>
                <a:lnTo>
                  <a:pt x="546" y="666"/>
                </a:lnTo>
                <a:lnTo>
                  <a:pt x="546" y="666"/>
                </a:lnTo>
                <a:lnTo>
                  <a:pt x="540" y="672"/>
                </a:lnTo>
                <a:lnTo>
                  <a:pt x="540" y="672"/>
                </a:lnTo>
                <a:lnTo>
                  <a:pt x="540" y="672"/>
                </a:lnTo>
                <a:lnTo>
                  <a:pt x="540" y="678"/>
                </a:lnTo>
                <a:lnTo>
                  <a:pt x="540" y="678"/>
                </a:lnTo>
                <a:lnTo>
                  <a:pt x="546" y="678"/>
                </a:lnTo>
                <a:lnTo>
                  <a:pt x="546" y="678"/>
                </a:lnTo>
                <a:lnTo>
                  <a:pt x="540" y="684"/>
                </a:lnTo>
                <a:lnTo>
                  <a:pt x="540" y="684"/>
                </a:lnTo>
                <a:lnTo>
                  <a:pt x="540" y="684"/>
                </a:lnTo>
                <a:lnTo>
                  <a:pt x="540" y="684"/>
                </a:lnTo>
                <a:lnTo>
                  <a:pt x="534" y="684"/>
                </a:lnTo>
                <a:lnTo>
                  <a:pt x="540" y="690"/>
                </a:lnTo>
                <a:lnTo>
                  <a:pt x="534" y="690"/>
                </a:lnTo>
                <a:lnTo>
                  <a:pt x="534" y="690"/>
                </a:lnTo>
                <a:lnTo>
                  <a:pt x="534" y="690"/>
                </a:lnTo>
                <a:lnTo>
                  <a:pt x="534" y="690"/>
                </a:lnTo>
                <a:lnTo>
                  <a:pt x="534" y="696"/>
                </a:lnTo>
                <a:lnTo>
                  <a:pt x="534" y="696"/>
                </a:lnTo>
                <a:lnTo>
                  <a:pt x="528" y="696"/>
                </a:lnTo>
                <a:lnTo>
                  <a:pt x="528" y="696"/>
                </a:lnTo>
                <a:lnTo>
                  <a:pt x="528" y="696"/>
                </a:lnTo>
                <a:lnTo>
                  <a:pt x="528" y="696"/>
                </a:lnTo>
                <a:lnTo>
                  <a:pt x="528" y="696"/>
                </a:lnTo>
                <a:lnTo>
                  <a:pt x="528" y="696"/>
                </a:lnTo>
                <a:lnTo>
                  <a:pt x="522" y="702"/>
                </a:lnTo>
                <a:lnTo>
                  <a:pt x="522" y="702"/>
                </a:lnTo>
                <a:lnTo>
                  <a:pt x="522" y="702"/>
                </a:lnTo>
                <a:lnTo>
                  <a:pt x="516" y="702"/>
                </a:lnTo>
                <a:lnTo>
                  <a:pt x="516" y="708"/>
                </a:lnTo>
                <a:lnTo>
                  <a:pt x="516" y="708"/>
                </a:lnTo>
                <a:lnTo>
                  <a:pt x="510" y="708"/>
                </a:lnTo>
                <a:lnTo>
                  <a:pt x="510" y="708"/>
                </a:lnTo>
                <a:lnTo>
                  <a:pt x="516" y="708"/>
                </a:lnTo>
                <a:lnTo>
                  <a:pt x="516" y="714"/>
                </a:lnTo>
                <a:lnTo>
                  <a:pt x="516" y="714"/>
                </a:lnTo>
                <a:lnTo>
                  <a:pt x="510" y="720"/>
                </a:lnTo>
                <a:lnTo>
                  <a:pt x="510" y="720"/>
                </a:lnTo>
                <a:lnTo>
                  <a:pt x="516" y="726"/>
                </a:lnTo>
                <a:lnTo>
                  <a:pt x="510" y="726"/>
                </a:lnTo>
                <a:lnTo>
                  <a:pt x="510" y="732"/>
                </a:lnTo>
                <a:lnTo>
                  <a:pt x="516" y="732"/>
                </a:lnTo>
                <a:lnTo>
                  <a:pt x="516" y="732"/>
                </a:lnTo>
                <a:lnTo>
                  <a:pt x="516" y="738"/>
                </a:lnTo>
                <a:lnTo>
                  <a:pt x="516" y="738"/>
                </a:lnTo>
                <a:lnTo>
                  <a:pt x="516" y="738"/>
                </a:lnTo>
                <a:lnTo>
                  <a:pt x="516" y="738"/>
                </a:lnTo>
                <a:lnTo>
                  <a:pt x="516" y="744"/>
                </a:lnTo>
                <a:lnTo>
                  <a:pt x="516" y="744"/>
                </a:lnTo>
                <a:lnTo>
                  <a:pt x="516" y="744"/>
                </a:lnTo>
                <a:lnTo>
                  <a:pt x="516" y="744"/>
                </a:lnTo>
                <a:lnTo>
                  <a:pt x="510" y="744"/>
                </a:lnTo>
                <a:lnTo>
                  <a:pt x="510" y="744"/>
                </a:lnTo>
                <a:lnTo>
                  <a:pt x="516" y="744"/>
                </a:lnTo>
                <a:lnTo>
                  <a:pt x="516" y="744"/>
                </a:lnTo>
                <a:lnTo>
                  <a:pt x="516" y="744"/>
                </a:lnTo>
                <a:lnTo>
                  <a:pt x="516" y="756"/>
                </a:lnTo>
                <a:lnTo>
                  <a:pt x="522" y="756"/>
                </a:lnTo>
                <a:lnTo>
                  <a:pt x="516" y="762"/>
                </a:lnTo>
                <a:lnTo>
                  <a:pt x="522" y="762"/>
                </a:lnTo>
                <a:lnTo>
                  <a:pt x="522" y="762"/>
                </a:lnTo>
                <a:lnTo>
                  <a:pt x="516" y="774"/>
                </a:lnTo>
                <a:lnTo>
                  <a:pt x="522" y="774"/>
                </a:lnTo>
                <a:lnTo>
                  <a:pt x="522" y="774"/>
                </a:lnTo>
                <a:lnTo>
                  <a:pt x="522" y="780"/>
                </a:lnTo>
                <a:lnTo>
                  <a:pt x="522" y="780"/>
                </a:lnTo>
                <a:lnTo>
                  <a:pt x="516" y="786"/>
                </a:lnTo>
                <a:lnTo>
                  <a:pt x="468" y="756"/>
                </a:lnTo>
                <a:lnTo>
                  <a:pt x="450" y="750"/>
                </a:lnTo>
                <a:lnTo>
                  <a:pt x="438" y="744"/>
                </a:lnTo>
                <a:lnTo>
                  <a:pt x="426" y="738"/>
                </a:lnTo>
                <a:lnTo>
                  <a:pt x="414" y="738"/>
                </a:lnTo>
                <a:lnTo>
                  <a:pt x="366" y="726"/>
                </a:lnTo>
                <a:lnTo>
                  <a:pt x="324" y="714"/>
                </a:lnTo>
                <a:lnTo>
                  <a:pt x="288" y="708"/>
                </a:lnTo>
                <a:lnTo>
                  <a:pt x="282" y="708"/>
                </a:lnTo>
                <a:lnTo>
                  <a:pt x="228" y="696"/>
                </a:lnTo>
                <a:lnTo>
                  <a:pt x="228" y="696"/>
                </a:lnTo>
                <a:lnTo>
                  <a:pt x="222" y="696"/>
                </a:lnTo>
                <a:lnTo>
                  <a:pt x="204" y="690"/>
                </a:lnTo>
                <a:lnTo>
                  <a:pt x="204" y="684"/>
                </a:lnTo>
                <a:lnTo>
                  <a:pt x="138" y="672"/>
                </a:lnTo>
                <a:lnTo>
                  <a:pt x="138" y="672"/>
                </a:lnTo>
                <a:lnTo>
                  <a:pt x="114" y="660"/>
                </a:lnTo>
                <a:lnTo>
                  <a:pt x="54" y="636"/>
                </a:lnTo>
                <a:lnTo>
                  <a:pt x="0" y="61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293" name="Freeform 26"/>
          <p:cNvSpPr>
            <a:spLocks/>
          </p:cNvSpPr>
          <p:nvPr/>
        </p:nvSpPr>
        <p:spPr bwMode="auto">
          <a:xfrm>
            <a:off x="5387171" y="1411188"/>
            <a:ext cx="308354" cy="321205"/>
          </a:xfrm>
          <a:custGeom>
            <a:avLst/>
            <a:gdLst>
              <a:gd name="T0" fmla="*/ 18 w 288"/>
              <a:gd name="T1" fmla="*/ 84 h 300"/>
              <a:gd name="T2" fmla="*/ 30 w 288"/>
              <a:gd name="T3" fmla="*/ 66 h 300"/>
              <a:gd name="T4" fmla="*/ 42 w 288"/>
              <a:gd name="T5" fmla="*/ 48 h 300"/>
              <a:gd name="T6" fmla="*/ 36 w 288"/>
              <a:gd name="T7" fmla="*/ 36 h 300"/>
              <a:gd name="T8" fmla="*/ 30 w 288"/>
              <a:gd name="T9" fmla="*/ 30 h 300"/>
              <a:gd name="T10" fmla="*/ 54 w 288"/>
              <a:gd name="T11" fmla="*/ 6 h 300"/>
              <a:gd name="T12" fmla="*/ 60 w 288"/>
              <a:gd name="T13" fmla="*/ 6 h 300"/>
              <a:gd name="T14" fmla="*/ 72 w 288"/>
              <a:gd name="T15" fmla="*/ 6 h 300"/>
              <a:gd name="T16" fmla="*/ 84 w 288"/>
              <a:gd name="T17" fmla="*/ 6 h 300"/>
              <a:gd name="T18" fmla="*/ 96 w 288"/>
              <a:gd name="T19" fmla="*/ 6 h 300"/>
              <a:gd name="T20" fmla="*/ 108 w 288"/>
              <a:gd name="T21" fmla="*/ 18 h 300"/>
              <a:gd name="T22" fmla="*/ 132 w 288"/>
              <a:gd name="T23" fmla="*/ 12 h 300"/>
              <a:gd name="T24" fmla="*/ 144 w 288"/>
              <a:gd name="T25" fmla="*/ 18 h 300"/>
              <a:gd name="T26" fmla="*/ 162 w 288"/>
              <a:gd name="T27" fmla="*/ 24 h 300"/>
              <a:gd name="T28" fmla="*/ 162 w 288"/>
              <a:gd name="T29" fmla="*/ 36 h 300"/>
              <a:gd name="T30" fmla="*/ 180 w 288"/>
              <a:gd name="T31" fmla="*/ 48 h 300"/>
              <a:gd name="T32" fmla="*/ 198 w 288"/>
              <a:gd name="T33" fmla="*/ 54 h 300"/>
              <a:gd name="T34" fmla="*/ 210 w 288"/>
              <a:gd name="T35" fmla="*/ 48 h 300"/>
              <a:gd name="T36" fmla="*/ 204 w 288"/>
              <a:gd name="T37" fmla="*/ 60 h 300"/>
              <a:gd name="T38" fmla="*/ 222 w 288"/>
              <a:gd name="T39" fmla="*/ 66 h 300"/>
              <a:gd name="T40" fmla="*/ 246 w 288"/>
              <a:gd name="T41" fmla="*/ 30 h 300"/>
              <a:gd name="T42" fmla="*/ 270 w 288"/>
              <a:gd name="T43" fmla="*/ 60 h 300"/>
              <a:gd name="T44" fmla="*/ 270 w 288"/>
              <a:gd name="T45" fmla="*/ 66 h 300"/>
              <a:gd name="T46" fmla="*/ 252 w 288"/>
              <a:gd name="T47" fmla="*/ 78 h 300"/>
              <a:gd name="T48" fmla="*/ 240 w 288"/>
              <a:gd name="T49" fmla="*/ 96 h 300"/>
              <a:gd name="T50" fmla="*/ 222 w 288"/>
              <a:gd name="T51" fmla="*/ 102 h 300"/>
              <a:gd name="T52" fmla="*/ 204 w 288"/>
              <a:gd name="T53" fmla="*/ 108 h 300"/>
              <a:gd name="T54" fmla="*/ 186 w 288"/>
              <a:gd name="T55" fmla="*/ 138 h 300"/>
              <a:gd name="T56" fmla="*/ 180 w 288"/>
              <a:gd name="T57" fmla="*/ 144 h 300"/>
              <a:gd name="T58" fmla="*/ 174 w 288"/>
              <a:gd name="T59" fmla="*/ 162 h 300"/>
              <a:gd name="T60" fmla="*/ 144 w 288"/>
              <a:gd name="T61" fmla="*/ 174 h 300"/>
              <a:gd name="T62" fmla="*/ 162 w 288"/>
              <a:gd name="T63" fmla="*/ 180 h 300"/>
              <a:gd name="T64" fmla="*/ 168 w 288"/>
              <a:gd name="T65" fmla="*/ 192 h 300"/>
              <a:gd name="T66" fmla="*/ 156 w 288"/>
              <a:gd name="T67" fmla="*/ 210 h 300"/>
              <a:gd name="T68" fmla="*/ 150 w 288"/>
              <a:gd name="T69" fmla="*/ 216 h 300"/>
              <a:gd name="T70" fmla="*/ 138 w 288"/>
              <a:gd name="T71" fmla="*/ 222 h 300"/>
              <a:gd name="T72" fmla="*/ 138 w 288"/>
              <a:gd name="T73" fmla="*/ 234 h 300"/>
              <a:gd name="T74" fmla="*/ 156 w 288"/>
              <a:gd name="T75" fmla="*/ 246 h 300"/>
              <a:gd name="T76" fmla="*/ 162 w 288"/>
              <a:gd name="T77" fmla="*/ 258 h 300"/>
              <a:gd name="T78" fmla="*/ 174 w 288"/>
              <a:gd name="T79" fmla="*/ 264 h 300"/>
              <a:gd name="T80" fmla="*/ 168 w 288"/>
              <a:gd name="T81" fmla="*/ 282 h 300"/>
              <a:gd name="T82" fmla="*/ 156 w 288"/>
              <a:gd name="T83" fmla="*/ 288 h 300"/>
              <a:gd name="T84" fmla="*/ 144 w 288"/>
              <a:gd name="T85" fmla="*/ 294 h 300"/>
              <a:gd name="T86" fmla="*/ 132 w 288"/>
              <a:gd name="T87" fmla="*/ 294 h 300"/>
              <a:gd name="T88" fmla="*/ 114 w 288"/>
              <a:gd name="T89" fmla="*/ 294 h 300"/>
              <a:gd name="T90" fmla="*/ 114 w 288"/>
              <a:gd name="T91" fmla="*/ 270 h 300"/>
              <a:gd name="T92" fmla="*/ 108 w 288"/>
              <a:gd name="T93" fmla="*/ 252 h 300"/>
              <a:gd name="T94" fmla="*/ 90 w 288"/>
              <a:gd name="T95" fmla="*/ 228 h 300"/>
              <a:gd name="T96" fmla="*/ 84 w 288"/>
              <a:gd name="T97" fmla="*/ 216 h 300"/>
              <a:gd name="T98" fmla="*/ 66 w 288"/>
              <a:gd name="T99" fmla="*/ 222 h 300"/>
              <a:gd name="T100" fmla="*/ 54 w 288"/>
              <a:gd name="T101" fmla="*/ 228 h 300"/>
              <a:gd name="T102" fmla="*/ 42 w 288"/>
              <a:gd name="T103" fmla="*/ 228 h 300"/>
              <a:gd name="T104" fmla="*/ 54 w 288"/>
              <a:gd name="T105" fmla="*/ 216 h 300"/>
              <a:gd name="T106" fmla="*/ 54 w 288"/>
              <a:gd name="T107" fmla="*/ 186 h 300"/>
              <a:gd name="T108" fmla="*/ 84 w 288"/>
              <a:gd name="T109" fmla="*/ 162 h 300"/>
              <a:gd name="T110" fmla="*/ 90 w 288"/>
              <a:gd name="T111" fmla="*/ 156 h 300"/>
              <a:gd name="T112" fmla="*/ 60 w 288"/>
              <a:gd name="T113" fmla="*/ 138 h 300"/>
              <a:gd name="T114" fmla="*/ 18 w 288"/>
              <a:gd name="T115" fmla="*/ 120 h 300"/>
              <a:gd name="T116" fmla="*/ 42 w 288"/>
              <a:gd name="T117" fmla="*/ 126 h 300"/>
              <a:gd name="T118" fmla="*/ 6 w 288"/>
              <a:gd name="T119" fmla="*/ 108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88" h="300">
                <a:moveTo>
                  <a:pt x="0" y="96"/>
                </a:moveTo>
                <a:lnTo>
                  <a:pt x="0" y="96"/>
                </a:lnTo>
                <a:lnTo>
                  <a:pt x="6" y="96"/>
                </a:lnTo>
                <a:lnTo>
                  <a:pt x="12" y="90"/>
                </a:lnTo>
                <a:lnTo>
                  <a:pt x="12" y="90"/>
                </a:lnTo>
                <a:lnTo>
                  <a:pt x="12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90"/>
                </a:lnTo>
                <a:lnTo>
                  <a:pt x="18" y="90"/>
                </a:lnTo>
                <a:lnTo>
                  <a:pt x="18" y="84"/>
                </a:lnTo>
                <a:lnTo>
                  <a:pt x="18" y="84"/>
                </a:lnTo>
                <a:lnTo>
                  <a:pt x="18" y="78"/>
                </a:lnTo>
                <a:lnTo>
                  <a:pt x="18" y="78"/>
                </a:lnTo>
                <a:lnTo>
                  <a:pt x="24" y="72"/>
                </a:lnTo>
                <a:lnTo>
                  <a:pt x="30" y="72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6" y="66"/>
                </a:lnTo>
                <a:lnTo>
                  <a:pt x="36" y="66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42" y="48"/>
                </a:lnTo>
                <a:lnTo>
                  <a:pt x="42" y="48"/>
                </a:lnTo>
                <a:lnTo>
                  <a:pt x="36" y="48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36" y="36"/>
                </a:lnTo>
                <a:lnTo>
                  <a:pt x="36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6" y="24"/>
                </a:lnTo>
                <a:lnTo>
                  <a:pt x="42" y="24"/>
                </a:lnTo>
                <a:lnTo>
                  <a:pt x="42" y="18"/>
                </a:lnTo>
                <a:lnTo>
                  <a:pt x="48" y="18"/>
                </a:lnTo>
                <a:lnTo>
                  <a:pt x="48" y="12"/>
                </a:lnTo>
                <a:lnTo>
                  <a:pt x="54" y="12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0"/>
                </a:lnTo>
                <a:lnTo>
                  <a:pt x="60" y="0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2" y="12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0"/>
                </a:lnTo>
                <a:lnTo>
                  <a:pt x="78" y="0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12"/>
                </a:lnTo>
                <a:lnTo>
                  <a:pt x="102" y="6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96" y="12"/>
                </a:lnTo>
                <a:lnTo>
                  <a:pt x="96" y="18"/>
                </a:lnTo>
                <a:lnTo>
                  <a:pt x="102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2"/>
                </a:lnTo>
                <a:lnTo>
                  <a:pt x="114" y="12"/>
                </a:lnTo>
                <a:lnTo>
                  <a:pt x="114" y="12"/>
                </a:lnTo>
                <a:lnTo>
                  <a:pt x="120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32" y="12"/>
                </a:lnTo>
                <a:lnTo>
                  <a:pt x="132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50" y="18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30"/>
                </a:lnTo>
                <a:lnTo>
                  <a:pt x="162" y="30"/>
                </a:lnTo>
                <a:lnTo>
                  <a:pt x="156" y="30"/>
                </a:lnTo>
                <a:lnTo>
                  <a:pt x="156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8" y="42"/>
                </a:lnTo>
                <a:lnTo>
                  <a:pt x="168" y="42"/>
                </a:lnTo>
                <a:lnTo>
                  <a:pt x="168" y="42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80" y="48"/>
                </a:lnTo>
                <a:lnTo>
                  <a:pt x="180" y="54"/>
                </a:lnTo>
                <a:lnTo>
                  <a:pt x="186" y="54"/>
                </a:lnTo>
                <a:lnTo>
                  <a:pt x="186" y="54"/>
                </a:lnTo>
                <a:lnTo>
                  <a:pt x="192" y="54"/>
                </a:lnTo>
                <a:lnTo>
                  <a:pt x="192" y="60"/>
                </a:lnTo>
                <a:lnTo>
                  <a:pt x="192" y="54"/>
                </a:lnTo>
                <a:lnTo>
                  <a:pt x="198" y="54"/>
                </a:lnTo>
                <a:lnTo>
                  <a:pt x="198" y="54"/>
                </a:lnTo>
                <a:lnTo>
                  <a:pt x="198" y="54"/>
                </a:lnTo>
                <a:lnTo>
                  <a:pt x="198" y="48"/>
                </a:lnTo>
                <a:lnTo>
                  <a:pt x="198" y="48"/>
                </a:lnTo>
                <a:lnTo>
                  <a:pt x="198" y="54"/>
                </a:lnTo>
                <a:lnTo>
                  <a:pt x="204" y="54"/>
                </a:lnTo>
                <a:lnTo>
                  <a:pt x="204" y="54"/>
                </a:lnTo>
                <a:lnTo>
                  <a:pt x="204" y="48"/>
                </a:lnTo>
                <a:lnTo>
                  <a:pt x="204" y="48"/>
                </a:lnTo>
                <a:lnTo>
                  <a:pt x="210" y="48"/>
                </a:lnTo>
                <a:lnTo>
                  <a:pt x="210" y="48"/>
                </a:lnTo>
                <a:lnTo>
                  <a:pt x="210" y="48"/>
                </a:lnTo>
                <a:lnTo>
                  <a:pt x="210" y="48"/>
                </a:lnTo>
                <a:lnTo>
                  <a:pt x="204" y="54"/>
                </a:lnTo>
                <a:lnTo>
                  <a:pt x="198" y="60"/>
                </a:lnTo>
                <a:lnTo>
                  <a:pt x="198" y="60"/>
                </a:lnTo>
                <a:lnTo>
                  <a:pt x="204" y="60"/>
                </a:lnTo>
                <a:lnTo>
                  <a:pt x="204" y="60"/>
                </a:lnTo>
                <a:lnTo>
                  <a:pt x="204" y="60"/>
                </a:lnTo>
                <a:lnTo>
                  <a:pt x="204" y="60"/>
                </a:lnTo>
                <a:lnTo>
                  <a:pt x="204" y="66"/>
                </a:lnTo>
                <a:lnTo>
                  <a:pt x="204" y="66"/>
                </a:lnTo>
                <a:lnTo>
                  <a:pt x="204" y="66"/>
                </a:lnTo>
                <a:lnTo>
                  <a:pt x="204" y="72"/>
                </a:lnTo>
                <a:lnTo>
                  <a:pt x="204" y="72"/>
                </a:lnTo>
                <a:lnTo>
                  <a:pt x="204" y="72"/>
                </a:lnTo>
                <a:lnTo>
                  <a:pt x="210" y="72"/>
                </a:lnTo>
                <a:lnTo>
                  <a:pt x="216" y="72"/>
                </a:lnTo>
                <a:lnTo>
                  <a:pt x="222" y="66"/>
                </a:lnTo>
                <a:lnTo>
                  <a:pt x="222" y="66"/>
                </a:lnTo>
                <a:lnTo>
                  <a:pt x="234" y="60"/>
                </a:lnTo>
                <a:lnTo>
                  <a:pt x="234" y="54"/>
                </a:lnTo>
                <a:lnTo>
                  <a:pt x="234" y="54"/>
                </a:lnTo>
                <a:lnTo>
                  <a:pt x="240" y="48"/>
                </a:lnTo>
                <a:lnTo>
                  <a:pt x="246" y="42"/>
                </a:lnTo>
                <a:lnTo>
                  <a:pt x="246" y="36"/>
                </a:lnTo>
                <a:lnTo>
                  <a:pt x="246" y="36"/>
                </a:lnTo>
                <a:lnTo>
                  <a:pt x="246" y="30"/>
                </a:lnTo>
                <a:lnTo>
                  <a:pt x="282" y="30"/>
                </a:lnTo>
                <a:lnTo>
                  <a:pt x="288" y="36"/>
                </a:lnTo>
                <a:lnTo>
                  <a:pt x="282" y="36"/>
                </a:lnTo>
                <a:lnTo>
                  <a:pt x="270" y="48"/>
                </a:lnTo>
                <a:lnTo>
                  <a:pt x="270" y="48"/>
                </a:lnTo>
                <a:lnTo>
                  <a:pt x="270" y="54"/>
                </a:lnTo>
                <a:lnTo>
                  <a:pt x="270" y="54"/>
                </a:lnTo>
                <a:lnTo>
                  <a:pt x="270" y="54"/>
                </a:lnTo>
                <a:lnTo>
                  <a:pt x="270" y="60"/>
                </a:lnTo>
                <a:lnTo>
                  <a:pt x="264" y="60"/>
                </a:lnTo>
                <a:lnTo>
                  <a:pt x="264" y="60"/>
                </a:lnTo>
                <a:lnTo>
                  <a:pt x="264" y="60"/>
                </a:lnTo>
                <a:lnTo>
                  <a:pt x="270" y="60"/>
                </a:lnTo>
                <a:lnTo>
                  <a:pt x="270" y="60"/>
                </a:lnTo>
                <a:lnTo>
                  <a:pt x="270" y="66"/>
                </a:lnTo>
                <a:lnTo>
                  <a:pt x="270" y="66"/>
                </a:lnTo>
                <a:lnTo>
                  <a:pt x="270" y="66"/>
                </a:lnTo>
                <a:lnTo>
                  <a:pt x="270" y="66"/>
                </a:lnTo>
                <a:lnTo>
                  <a:pt x="264" y="72"/>
                </a:lnTo>
                <a:lnTo>
                  <a:pt x="264" y="72"/>
                </a:lnTo>
                <a:lnTo>
                  <a:pt x="264" y="72"/>
                </a:lnTo>
                <a:lnTo>
                  <a:pt x="264" y="78"/>
                </a:lnTo>
                <a:lnTo>
                  <a:pt x="258" y="78"/>
                </a:lnTo>
                <a:lnTo>
                  <a:pt x="258" y="78"/>
                </a:lnTo>
                <a:lnTo>
                  <a:pt x="258" y="78"/>
                </a:lnTo>
                <a:lnTo>
                  <a:pt x="258" y="78"/>
                </a:lnTo>
                <a:lnTo>
                  <a:pt x="252" y="78"/>
                </a:lnTo>
                <a:lnTo>
                  <a:pt x="252" y="78"/>
                </a:lnTo>
                <a:lnTo>
                  <a:pt x="252" y="78"/>
                </a:lnTo>
                <a:lnTo>
                  <a:pt x="252" y="84"/>
                </a:lnTo>
                <a:lnTo>
                  <a:pt x="246" y="84"/>
                </a:lnTo>
                <a:lnTo>
                  <a:pt x="246" y="90"/>
                </a:lnTo>
                <a:lnTo>
                  <a:pt x="246" y="90"/>
                </a:lnTo>
                <a:lnTo>
                  <a:pt x="246" y="90"/>
                </a:lnTo>
                <a:lnTo>
                  <a:pt x="240" y="96"/>
                </a:lnTo>
                <a:lnTo>
                  <a:pt x="240" y="96"/>
                </a:lnTo>
                <a:lnTo>
                  <a:pt x="234" y="96"/>
                </a:lnTo>
                <a:lnTo>
                  <a:pt x="234" y="96"/>
                </a:lnTo>
                <a:lnTo>
                  <a:pt x="228" y="96"/>
                </a:lnTo>
                <a:lnTo>
                  <a:pt x="228" y="96"/>
                </a:lnTo>
                <a:lnTo>
                  <a:pt x="228" y="96"/>
                </a:lnTo>
                <a:lnTo>
                  <a:pt x="228" y="102"/>
                </a:lnTo>
                <a:lnTo>
                  <a:pt x="228" y="102"/>
                </a:lnTo>
                <a:lnTo>
                  <a:pt x="228" y="102"/>
                </a:lnTo>
                <a:lnTo>
                  <a:pt x="222" y="102"/>
                </a:lnTo>
                <a:lnTo>
                  <a:pt x="222" y="102"/>
                </a:lnTo>
                <a:lnTo>
                  <a:pt x="222" y="96"/>
                </a:lnTo>
                <a:lnTo>
                  <a:pt x="216" y="96"/>
                </a:lnTo>
                <a:lnTo>
                  <a:pt x="216" y="96"/>
                </a:lnTo>
                <a:lnTo>
                  <a:pt x="210" y="96"/>
                </a:lnTo>
                <a:lnTo>
                  <a:pt x="210" y="96"/>
                </a:lnTo>
                <a:lnTo>
                  <a:pt x="210" y="96"/>
                </a:lnTo>
                <a:lnTo>
                  <a:pt x="210" y="96"/>
                </a:lnTo>
                <a:lnTo>
                  <a:pt x="204" y="108"/>
                </a:lnTo>
                <a:lnTo>
                  <a:pt x="198" y="120"/>
                </a:lnTo>
                <a:lnTo>
                  <a:pt x="192" y="120"/>
                </a:lnTo>
                <a:lnTo>
                  <a:pt x="192" y="126"/>
                </a:lnTo>
                <a:lnTo>
                  <a:pt x="192" y="126"/>
                </a:lnTo>
                <a:lnTo>
                  <a:pt x="192" y="132"/>
                </a:lnTo>
                <a:lnTo>
                  <a:pt x="186" y="132"/>
                </a:lnTo>
                <a:lnTo>
                  <a:pt x="186" y="138"/>
                </a:lnTo>
                <a:lnTo>
                  <a:pt x="186" y="138"/>
                </a:lnTo>
                <a:lnTo>
                  <a:pt x="186" y="138"/>
                </a:lnTo>
                <a:lnTo>
                  <a:pt x="186" y="144"/>
                </a:lnTo>
                <a:lnTo>
                  <a:pt x="186" y="144"/>
                </a:lnTo>
                <a:lnTo>
                  <a:pt x="186" y="144"/>
                </a:lnTo>
                <a:lnTo>
                  <a:pt x="186" y="144"/>
                </a:lnTo>
                <a:lnTo>
                  <a:pt x="186" y="144"/>
                </a:lnTo>
                <a:lnTo>
                  <a:pt x="180" y="144"/>
                </a:lnTo>
                <a:lnTo>
                  <a:pt x="180" y="150"/>
                </a:lnTo>
                <a:lnTo>
                  <a:pt x="180" y="150"/>
                </a:lnTo>
                <a:lnTo>
                  <a:pt x="180" y="144"/>
                </a:lnTo>
                <a:lnTo>
                  <a:pt x="174" y="150"/>
                </a:lnTo>
                <a:lnTo>
                  <a:pt x="174" y="150"/>
                </a:lnTo>
                <a:lnTo>
                  <a:pt x="174" y="150"/>
                </a:lnTo>
                <a:lnTo>
                  <a:pt x="174" y="150"/>
                </a:lnTo>
                <a:lnTo>
                  <a:pt x="174" y="150"/>
                </a:lnTo>
                <a:lnTo>
                  <a:pt x="174" y="150"/>
                </a:lnTo>
                <a:lnTo>
                  <a:pt x="174" y="150"/>
                </a:lnTo>
                <a:lnTo>
                  <a:pt x="174" y="156"/>
                </a:lnTo>
                <a:lnTo>
                  <a:pt x="174" y="162"/>
                </a:lnTo>
                <a:lnTo>
                  <a:pt x="174" y="162"/>
                </a:lnTo>
                <a:lnTo>
                  <a:pt x="174" y="162"/>
                </a:lnTo>
                <a:lnTo>
                  <a:pt x="174" y="168"/>
                </a:lnTo>
                <a:lnTo>
                  <a:pt x="150" y="168"/>
                </a:lnTo>
                <a:lnTo>
                  <a:pt x="150" y="168"/>
                </a:lnTo>
                <a:lnTo>
                  <a:pt x="150" y="168"/>
                </a:lnTo>
                <a:lnTo>
                  <a:pt x="144" y="168"/>
                </a:lnTo>
                <a:lnTo>
                  <a:pt x="144" y="174"/>
                </a:lnTo>
                <a:lnTo>
                  <a:pt x="144" y="174"/>
                </a:lnTo>
                <a:lnTo>
                  <a:pt x="144" y="174"/>
                </a:lnTo>
                <a:lnTo>
                  <a:pt x="150" y="180"/>
                </a:lnTo>
                <a:lnTo>
                  <a:pt x="150" y="180"/>
                </a:lnTo>
                <a:lnTo>
                  <a:pt x="150" y="180"/>
                </a:lnTo>
                <a:lnTo>
                  <a:pt x="150" y="180"/>
                </a:lnTo>
                <a:lnTo>
                  <a:pt x="156" y="180"/>
                </a:lnTo>
                <a:lnTo>
                  <a:pt x="156" y="180"/>
                </a:lnTo>
                <a:lnTo>
                  <a:pt x="162" y="180"/>
                </a:lnTo>
                <a:lnTo>
                  <a:pt x="162" y="180"/>
                </a:lnTo>
                <a:lnTo>
                  <a:pt x="162" y="180"/>
                </a:lnTo>
                <a:lnTo>
                  <a:pt x="162" y="180"/>
                </a:lnTo>
                <a:lnTo>
                  <a:pt x="168" y="180"/>
                </a:lnTo>
                <a:lnTo>
                  <a:pt x="168" y="186"/>
                </a:lnTo>
                <a:lnTo>
                  <a:pt x="168" y="186"/>
                </a:lnTo>
                <a:lnTo>
                  <a:pt x="168" y="192"/>
                </a:lnTo>
                <a:lnTo>
                  <a:pt x="168" y="192"/>
                </a:lnTo>
                <a:lnTo>
                  <a:pt x="168" y="192"/>
                </a:lnTo>
                <a:lnTo>
                  <a:pt x="168" y="192"/>
                </a:lnTo>
                <a:lnTo>
                  <a:pt x="162" y="192"/>
                </a:lnTo>
                <a:lnTo>
                  <a:pt x="156" y="192"/>
                </a:lnTo>
                <a:lnTo>
                  <a:pt x="156" y="198"/>
                </a:lnTo>
                <a:lnTo>
                  <a:pt x="156" y="198"/>
                </a:lnTo>
                <a:lnTo>
                  <a:pt x="156" y="204"/>
                </a:lnTo>
                <a:lnTo>
                  <a:pt x="156" y="204"/>
                </a:lnTo>
                <a:lnTo>
                  <a:pt x="156" y="204"/>
                </a:lnTo>
                <a:lnTo>
                  <a:pt x="156" y="204"/>
                </a:lnTo>
                <a:lnTo>
                  <a:pt x="156" y="210"/>
                </a:lnTo>
                <a:lnTo>
                  <a:pt x="156" y="210"/>
                </a:lnTo>
                <a:lnTo>
                  <a:pt x="156" y="210"/>
                </a:lnTo>
                <a:lnTo>
                  <a:pt x="156" y="210"/>
                </a:lnTo>
                <a:lnTo>
                  <a:pt x="156" y="210"/>
                </a:lnTo>
                <a:lnTo>
                  <a:pt x="156" y="216"/>
                </a:lnTo>
                <a:lnTo>
                  <a:pt x="156" y="216"/>
                </a:lnTo>
                <a:lnTo>
                  <a:pt x="150" y="216"/>
                </a:lnTo>
                <a:lnTo>
                  <a:pt x="150" y="216"/>
                </a:lnTo>
                <a:lnTo>
                  <a:pt x="150" y="216"/>
                </a:lnTo>
                <a:lnTo>
                  <a:pt x="150" y="216"/>
                </a:lnTo>
                <a:lnTo>
                  <a:pt x="144" y="216"/>
                </a:lnTo>
                <a:lnTo>
                  <a:pt x="144" y="216"/>
                </a:lnTo>
                <a:lnTo>
                  <a:pt x="144" y="222"/>
                </a:lnTo>
                <a:lnTo>
                  <a:pt x="138" y="222"/>
                </a:lnTo>
                <a:lnTo>
                  <a:pt x="138" y="222"/>
                </a:lnTo>
                <a:lnTo>
                  <a:pt x="138" y="222"/>
                </a:lnTo>
                <a:lnTo>
                  <a:pt x="132" y="222"/>
                </a:lnTo>
                <a:lnTo>
                  <a:pt x="138" y="222"/>
                </a:lnTo>
                <a:lnTo>
                  <a:pt x="132" y="228"/>
                </a:lnTo>
                <a:lnTo>
                  <a:pt x="138" y="228"/>
                </a:lnTo>
                <a:lnTo>
                  <a:pt x="138" y="228"/>
                </a:lnTo>
                <a:lnTo>
                  <a:pt x="138" y="228"/>
                </a:lnTo>
                <a:lnTo>
                  <a:pt x="138" y="228"/>
                </a:lnTo>
                <a:lnTo>
                  <a:pt x="138" y="234"/>
                </a:lnTo>
                <a:lnTo>
                  <a:pt x="138" y="228"/>
                </a:lnTo>
                <a:lnTo>
                  <a:pt x="144" y="234"/>
                </a:lnTo>
                <a:lnTo>
                  <a:pt x="138" y="234"/>
                </a:lnTo>
                <a:lnTo>
                  <a:pt x="144" y="234"/>
                </a:lnTo>
                <a:lnTo>
                  <a:pt x="144" y="234"/>
                </a:lnTo>
                <a:lnTo>
                  <a:pt x="150" y="240"/>
                </a:lnTo>
                <a:lnTo>
                  <a:pt x="150" y="240"/>
                </a:lnTo>
                <a:lnTo>
                  <a:pt x="150" y="240"/>
                </a:lnTo>
                <a:lnTo>
                  <a:pt x="150" y="240"/>
                </a:lnTo>
                <a:lnTo>
                  <a:pt x="150" y="246"/>
                </a:lnTo>
                <a:lnTo>
                  <a:pt x="156" y="246"/>
                </a:lnTo>
                <a:lnTo>
                  <a:pt x="156" y="246"/>
                </a:lnTo>
                <a:lnTo>
                  <a:pt x="156" y="246"/>
                </a:lnTo>
                <a:lnTo>
                  <a:pt x="156" y="252"/>
                </a:lnTo>
                <a:lnTo>
                  <a:pt x="156" y="252"/>
                </a:lnTo>
                <a:lnTo>
                  <a:pt x="156" y="252"/>
                </a:lnTo>
                <a:lnTo>
                  <a:pt x="156" y="252"/>
                </a:lnTo>
                <a:lnTo>
                  <a:pt x="156" y="252"/>
                </a:lnTo>
                <a:lnTo>
                  <a:pt x="162" y="258"/>
                </a:lnTo>
                <a:lnTo>
                  <a:pt x="162" y="258"/>
                </a:lnTo>
                <a:lnTo>
                  <a:pt x="162" y="258"/>
                </a:lnTo>
                <a:lnTo>
                  <a:pt x="162" y="258"/>
                </a:lnTo>
                <a:lnTo>
                  <a:pt x="162" y="264"/>
                </a:lnTo>
                <a:lnTo>
                  <a:pt x="162" y="264"/>
                </a:lnTo>
                <a:lnTo>
                  <a:pt x="168" y="264"/>
                </a:lnTo>
                <a:lnTo>
                  <a:pt x="168" y="264"/>
                </a:lnTo>
                <a:lnTo>
                  <a:pt x="168" y="258"/>
                </a:lnTo>
                <a:lnTo>
                  <a:pt x="168" y="264"/>
                </a:lnTo>
                <a:lnTo>
                  <a:pt x="174" y="258"/>
                </a:lnTo>
                <a:lnTo>
                  <a:pt x="174" y="264"/>
                </a:lnTo>
                <a:lnTo>
                  <a:pt x="174" y="264"/>
                </a:lnTo>
                <a:lnTo>
                  <a:pt x="180" y="282"/>
                </a:lnTo>
                <a:lnTo>
                  <a:pt x="180" y="282"/>
                </a:lnTo>
                <a:lnTo>
                  <a:pt x="174" y="282"/>
                </a:lnTo>
                <a:lnTo>
                  <a:pt x="174" y="282"/>
                </a:lnTo>
                <a:lnTo>
                  <a:pt x="174" y="282"/>
                </a:lnTo>
                <a:lnTo>
                  <a:pt x="168" y="276"/>
                </a:lnTo>
                <a:lnTo>
                  <a:pt x="168" y="276"/>
                </a:lnTo>
                <a:lnTo>
                  <a:pt x="168" y="282"/>
                </a:lnTo>
                <a:lnTo>
                  <a:pt x="168" y="282"/>
                </a:lnTo>
                <a:lnTo>
                  <a:pt x="168" y="282"/>
                </a:lnTo>
                <a:lnTo>
                  <a:pt x="162" y="282"/>
                </a:lnTo>
                <a:lnTo>
                  <a:pt x="162" y="282"/>
                </a:lnTo>
                <a:lnTo>
                  <a:pt x="162" y="282"/>
                </a:lnTo>
                <a:lnTo>
                  <a:pt x="162" y="282"/>
                </a:lnTo>
                <a:lnTo>
                  <a:pt x="156" y="288"/>
                </a:lnTo>
                <a:lnTo>
                  <a:pt x="156" y="288"/>
                </a:lnTo>
                <a:lnTo>
                  <a:pt x="156" y="288"/>
                </a:lnTo>
                <a:lnTo>
                  <a:pt x="156" y="288"/>
                </a:lnTo>
                <a:lnTo>
                  <a:pt x="150" y="288"/>
                </a:lnTo>
                <a:lnTo>
                  <a:pt x="150" y="294"/>
                </a:lnTo>
                <a:lnTo>
                  <a:pt x="150" y="294"/>
                </a:lnTo>
                <a:lnTo>
                  <a:pt x="150" y="294"/>
                </a:lnTo>
                <a:lnTo>
                  <a:pt x="144" y="294"/>
                </a:lnTo>
                <a:lnTo>
                  <a:pt x="144" y="294"/>
                </a:lnTo>
                <a:lnTo>
                  <a:pt x="144" y="294"/>
                </a:lnTo>
                <a:lnTo>
                  <a:pt x="144" y="294"/>
                </a:lnTo>
                <a:lnTo>
                  <a:pt x="144" y="300"/>
                </a:lnTo>
                <a:lnTo>
                  <a:pt x="144" y="300"/>
                </a:lnTo>
                <a:lnTo>
                  <a:pt x="144" y="300"/>
                </a:lnTo>
                <a:lnTo>
                  <a:pt x="138" y="294"/>
                </a:lnTo>
                <a:lnTo>
                  <a:pt x="138" y="300"/>
                </a:lnTo>
                <a:lnTo>
                  <a:pt x="132" y="294"/>
                </a:lnTo>
                <a:lnTo>
                  <a:pt x="132" y="294"/>
                </a:lnTo>
                <a:lnTo>
                  <a:pt x="132" y="294"/>
                </a:lnTo>
                <a:lnTo>
                  <a:pt x="132" y="294"/>
                </a:lnTo>
                <a:lnTo>
                  <a:pt x="132" y="294"/>
                </a:lnTo>
                <a:lnTo>
                  <a:pt x="126" y="300"/>
                </a:lnTo>
                <a:lnTo>
                  <a:pt x="120" y="294"/>
                </a:lnTo>
                <a:lnTo>
                  <a:pt x="120" y="294"/>
                </a:lnTo>
                <a:lnTo>
                  <a:pt x="120" y="294"/>
                </a:lnTo>
                <a:lnTo>
                  <a:pt x="114" y="294"/>
                </a:lnTo>
                <a:lnTo>
                  <a:pt x="114" y="294"/>
                </a:lnTo>
                <a:lnTo>
                  <a:pt x="114" y="294"/>
                </a:lnTo>
                <a:lnTo>
                  <a:pt x="114" y="294"/>
                </a:lnTo>
                <a:lnTo>
                  <a:pt x="114" y="294"/>
                </a:lnTo>
                <a:lnTo>
                  <a:pt x="114" y="288"/>
                </a:lnTo>
                <a:lnTo>
                  <a:pt x="114" y="288"/>
                </a:lnTo>
                <a:lnTo>
                  <a:pt x="114" y="282"/>
                </a:lnTo>
                <a:lnTo>
                  <a:pt x="108" y="282"/>
                </a:lnTo>
                <a:lnTo>
                  <a:pt x="114" y="282"/>
                </a:lnTo>
                <a:lnTo>
                  <a:pt x="108" y="276"/>
                </a:lnTo>
                <a:lnTo>
                  <a:pt x="114" y="276"/>
                </a:lnTo>
                <a:lnTo>
                  <a:pt x="114" y="270"/>
                </a:lnTo>
                <a:lnTo>
                  <a:pt x="114" y="270"/>
                </a:lnTo>
                <a:lnTo>
                  <a:pt x="114" y="264"/>
                </a:lnTo>
                <a:lnTo>
                  <a:pt x="114" y="270"/>
                </a:lnTo>
                <a:lnTo>
                  <a:pt x="108" y="264"/>
                </a:lnTo>
                <a:lnTo>
                  <a:pt x="108" y="264"/>
                </a:lnTo>
                <a:lnTo>
                  <a:pt x="108" y="264"/>
                </a:lnTo>
                <a:lnTo>
                  <a:pt x="108" y="258"/>
                </a:lnTo>
                <a:lnTo>
                  <a:pt x="108" y="258"/>
                </a:lnTo>
                <a:lnTo>
                  <a:pt x="108" y="252"/>
                </a:lnTo>
                <a:lnTo>
                  <a:pt x="108" y="252"/>
                </a:lnTo>
                <a:lnTo>
                  <a:pt x="102" y="246"/>
                </a:lnTo>
                <a:lnTo>
                  <a:pt x="96" y="246"/>
                </a:lnTo>
                <a:lnTo>
                  <a:pt x="96" y="240"/>
                </a:lnTo>
                <a:lnTo>
                  <a:pt x="96" y="240"/>
                </a:lnTo>
                <a:lnTo>
                  <a:pt x="96" y="240"/>
                </a:lnTo>
                <a:lnTo>
                  <a:pt x="90" y="234"/>
                </a:lnTo>
                <a:lnTo>
                  <a:pt x="90" y="228"/>
                </a:lnTo>
                <a:lnTo>
                  <a:pt x="90" y="228"/>
                </a:lnTo>
                <a:lnTo>
                  <a:pt x="90" y="222"/>
                </a:lnTo>
                <a:lnTo>
                  <a:pt x="96" y="222"/>
                </a:lnTo>
                <a:lnTo>
                  <a:pt x="96" y="222"/>
                </a:lnTo>
                <a:lnTo>
                  <a:pt x="90" y="222"/>
                </a:lnTo>
                <a:lnTo>
                  <a:pt x="90" y="222"/>
                </a:lnTo>
                <a:lnTo>
                  <a:pt x="90" y="216"/>
                </a:lnTo>
                <a:lnTo>
                  <a:pt x="84" y="216"/>
                </a:lnTo>
                <a:lnTo>
                  <a:pt x="84" y="216"/>
                </a:lnTo>
                <a:lnTo>
                  <a:pt x="84" y="216"/>
                </a:lnTo>
                <a:lnTo>
                  <a:pt x="84" y="216"/>
                </a:lnTo>
                <a:lnTo>
                  <a:pt x="78" y="216"/>
                </a:lnTo>
                <a:lnTo>
                  <a:pt x="78" y="216"/>
                </a:lnTo>
                <a:lnTo>
                  <a:pt x="78" y="222"/>
                </a:lnTo>
                <a:lnTo>
                  <a:pt x="78" y="222"/>
                </a:lnTo>
                <a:lnTo>
                  <a:pt x="72" y="216"/>
                </a:lnTo>
                <a:lnTo>
                  <a:pt x="72" y="216"/>
                </a:lnTo>
                <a:lnTo>
                  <a:pt x="66" y="216"/>
                </a:lnTo>
                <a:lnTo>
                  <a:pt x="66" y="222"/>
                </a:lnTo>
                <a:lnTo>
                  <a:pt x="66" y="222"/>
                </a:lnTo>
                <a:lnTo>
                  <a:pt x="66" y="222"/>
                </a:lnTo>
                <a:lnTo>
                  <a:pt x="66" y="222"/>
                </a:lnTo>
                <a:lnTo>
                  <a:pt x="66" y="222"/>
                </a:lnTo>
                <a:lnTo>
                  <a:pt x="60" y="222"/>
                </a:lnTo>
                <a:lnTo>
                  <a:pt x="60" y="228"/>
                </a:lnTo>
                <a:lnTo>
                  <a:pt x="60" y="228"/>
                </a:lnTo>
                <a:lnTo>
                  <a:pt x="54" y="228"/>
                </a:lnTo>
                <a:lnTo>
                  <a:pt x="54" y="228"/>
                </a:lnTo>
                <a:lnTo>
                  <a:pt x="54" y="234"/>
                </a:lnTo>
                <a:lnTo>
                  <a:pt x="54" y="228"/>
                </a:lnTo>
                <a:lnTo>
                  <a:pt x="48" y="228"/>
                </a:lnTo>
                <a:lnTo>
                  <a:pt x="48" y="228"/>
                </a:lnTo>
                <a:lnTo>
                  <a:pt x="42" y="228"/>
                </a:lnTo>
                <a:lnTo>
                  <a:pt x="42" y="228"/>
                </a:lnTo>
                <a:lnTo>
                  <a:pt x="42" y="228"/>
                </a:lnTo>
                <a:lnTo>
                  <a:pt x="42" y="228"/>
                </a:lnTo>
                <a:lnTo>
                  <a:pt x="42" y="228"/>
                </a:lnTo>
                <a:lnTo>
                  <a:pt x="42" y="222"/>
                </a:lnTo>
                <a:lnTo>
                  <a:pt x="42" y="222"/>
                </a:lnTo>
                <a:lnTo>
                  <a:pt x="36" y="222"/>
                </a:lnTo>
                <a:lnTo>
                  <a:pt x="42" y="222"/>
                </a:lnTo>
                <a:lnTo>
                  <a:pt x="42" y="216"/>
                </a:lnTo>
                <a:lnTo>
                  <a:pt x="42" y="216"/>
                </a:lnTo>
                <a:lnTo>
                  <a:pt x="48" y="216"/>
                </a:lnTo>
                <a:lnTo>
                  <a:pt x="48" y="216"/>
                </a:lnTo>
                <a:lnTo>
                  <a:pt x="54" y="216"/>
                </a:lnTo>
                <a:lnTo>
                  <a:pt x="54" y="210"/>
                </a:lnTo>
                <a:lnTo>
                  <a:pt x="60" y="204"/>
                </a:lnTo>
                <a:lnTo>
                  <a:pt x="60" y="204"/>
                </a:lnTo>
                <a:lnTo>
                  <a:pt x="60" y="204"/>
                </a:lnTo>
                <a:lnTo>
                  <a:pt x="54" y="198"/>
                </a:lnTo>
                <a:lnTo>
                  <a:pt x="48" y="192"/>
                </a:lnTo>
                <a:lnTo>
                  <a:pt x="54" y="192"/>
                </a:lnTo>
                <a:lnTo>
                  <a:pt x="54" y="192"/>
                </a:lnTo>
                <a:lnTo>
                  <a:pt x="54" y="186"/>
                </a:lnTo>
                <a:lnTo>
                  <a:pt x="66" y="180"/>
                </a:lnTo>
                <a:lnTo>
                  <a:pt x="66" y="180"/>
                </a:lnTo>
                <a:lnTo>
                  <a:pt x="66" y="180"/>
                </a:lnTo>
                <a:lnTo>
                  <a:pt x="72" y="180"/>
                </a:lnTo>
                <a:lnTo>
                  <a:pt x="72" y="174"/>
                </a:lnTo>
                <a:lnTo>
                  <a:pt x="78" y="174"/>
                </a:lnTo>
                <a:lnTo>
                  <a:pt x="78" y="168"/>
                </a:lnTo>
                <a:lnTo>
                  <a:pt x="84" y="162"/>
                </a:lnTo>
                <a:lnTo>
                  <a:pt x="84" y="162"/>
                </a:lnTo>
                <a:lnTo>
                  <a:pt x="84" y="162"/>
                </a:lnTo>
                <a:lnTo>
                  <a:pt x="90" y="162"/>
                </a:lnTo>
                <a:lnTo>
                  <a:pt x="90" y="162"/>
                </a:lnTo>
                <a:lnTo>
                  <a:pt x="90" y="162"/>
                </a:lnTo>
                <a:lnTo>
                  <a:pt x="90" y="162"/>
                </a:lnTo>
                <a:lnTo>
                  <a:pt x="90" y="156"/>
                </a:lnTo>
                <a:lnTo>
                  <a:pt x="90" y="150"/>
                </a:lnTo>
                <a:lnTo>
                  <a:pt x="90" y="150"/>
                </a:lnTo>
                <a:lnTo>
                  <a:pt x="90" y="156"/>
                </a:lnTo>
                <a:lnTo>
                  <a:pt x="84" y="156"/>
                </a:lnTo>
                <a:lnTo>
                  <a:pt x="84" y="156"/>
                </a:lnTo>
                <a:lnTo>
                  <a:pt x="78" y="150"/>
                </a:lnTo>
                <a:lnTo>
                  <a:pt x="72" y="144"/>
                </a:lnTo>
                <a:lnTo>
                  <a:pt x="72" y="138"/>
                </a:lnTo>
                <a:lnTo>
                  <a:pt x="66" y="132"/>
                </a:lnTo>
                <a:lnTo>
                  <a:pt x="66" y="132"/>
                </a:lnTo>
                <a:lnTo>
                  <a:pt x="60" y="132"/>
                </a:lnTo>
                <a:lnTo>
                  <a:pt x="60" y="138"/>
                </a:lnTo>
                <a:lnTo>
                  <a:pt x="54" y="138"/>
                </a:lnTo>
                <a:lnTo>
                  <a:pt x="48" y="138"/>
                </a:lnTo>
                <a:lnTo>
                  <a:pt x="48" y="138"/>
                </a:lnTo>
                <a:lnTo>
                  <a:pt x="36" y="132"/>
                </a:lnTo>
                <a:lnTo>
                  <a:pt x="36" y="132"/>
                </a:lnTo>
                <a:lnTo>
                  <a:pt x="24" y="132"/>
                </a:lnTo>
                <a:lnTo>
                  <a:pt x="18" y="126"/>
                </a:lnTo>
                <a:lnTo>
                  <a:pt x="18" y="126"/>
                </a:lnTo>
                <a:lnTo>
                  <a:pt x="18" y="120"/>
                </a:lnTo>
                <a:lnTo>
                  <a:pt x="18" y="120"/>
                </a:lnTo>
                <a:lnTo>
                  <a:pt x="30" y="120"/>
                </a:lnTo>
                <a:lnTo>
                  <a:pt x="36" y="126"/>
                </a:lnTo>
                <a:lnTo>
                  <a:pt x="36" y="126"/>
                </a:lnTo>
                <a:lnTo>
                  <a:pt x="36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30" y="120"/>
                </a:lnTo>
                <a:lnTo>
                  <a:pt x="30" y="120"/>
                </a:lnTo>
                <a:lnTo>
                  <a:pt x="24" y="120"/>
                </a:lnTo>
                <a:lnTo>
                  <a:pt x="24" y="120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2" y="108"/>
                </a:lnTo>
                <a:lnTo>
                  <a:pt x="6" y="108"/>
                </a:lnTo>
                <a:lnTo>
                  <a:pt x="6" y="108"/>
                </a:lnTo>
                <a:lnTo>
                  <a:pt x="0" y="102"/>
                </a:lnTo>
                <a:lnTo>
                  <a:pt x="0" y="102"/>
                </a:lnTo>
                <a:lnTo>
                  <a:pt x="0" y="9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294" name="Freeform 27"/>
          <p:cNvSpPr>
            <a:spLocks/>
          </p:cNvSpPr>
          <p:nvPr/>
        </p:nvSpPr>
        <p:spPr bwMode="auto">
          <a:xfrm>
            <a:off x="3916063" y="1089983"/>
            <a:ext cx="880095" cy="546048"/>
          </a:xfrm>
          <a:custGeom>
            <a:avLst/>
            <a:gdLst>
              <a:gd name="T0" fmla="*/ 24 w 822"/>
              <a:gd name="T1" fmla="*/ 30 h 510"/>
              <a:gd name="T2" fmla="*/ 54 w 822"/>
              <a:gd name="T3" fmla="*/ 36 h 510"/>
              <a:gd name="T4" fmla="*/ 90 w 822"/>
              <a:gd name="T5" fmla="*/ 66 h 510"/>
              <a:gd name="T6" fmla="*/ 126 w 822"/>
              <a:gd name="T7" fmla="*/ 78 h 510"/>
              <a:gd name="T8" fmla="*/ 180 w 822"/>
              <a:gd name="T9" fmla="*/ 90 h 510"/>
              <a:gd name="T10" fmla="*/ 198 w 822"/>
              <a:gd name="T11" fmla="*/ 108 h 510"/>
              <a:gd name="T12" fmla="*/ 228 w 822"/>
              <a:gd name="T13" fmla="*/ 102 h 510"/>
              <a:gd name="T14" fmla="*/ 258 w 822"/>
              <a:gd name="T15" fmla="*/ 204 h 510"/>
              <a:gd name="T16" fmla="*/ 318 w 822"/>
              <a:gd name="T17" fmla="*/ 222 h 510"/>
              <a:gd name="T18" fmla="*/ 366 w 822"/>
              <a:gd name="T19" fmla="*/ 222 h 510"/>
              <a:gd name="T20" fmla="*/ 432 w 822"/>
              <a:gd name="T21" fmla="*/ 222 h 510"/>
              <a:gd name="T22" fmla="*/ 480 w 822"/>
              <a:gd name="T23" fmla="*/ 210 h 510"/>
              <a:gd name="T24" fmla="*/ 546 w 822"/>
              <a:gd name="T25" fmla="*/ 204 h 510"/>
              <a:gd name="T26" fmla="*/ 588 w 822"/>
              <a:gd name="T27" fmla="*/ 228 h 510"/>
              <a:gd name="T28" fmla="*/ 624 w 822"/>
              <a:gd name="T29" fmla="*/ 246 h 510"/>
              <a:gd name="T30" fmla="*/ 654 w 822"/>
              <a:gd name="T31" fmla="*/ 258 h 510"/>
              <a:gd name="T32" fmla="*/ 684 w 822"/>
              <a:gd name="T33" fmla="*/ 282 h 510"/>
              <a:gd name="T34" fmla="*/ 708 w 822"/>
              <a:gd name="T35" fmla="*/ 306 h 510"/>
              <a:gd name="T36" fmla="*/ 732 w 822"/>
              <a:gd name="T37" fmla="*/ 312 h 510"/>
              <a:gd name="T38" fmla="*/ 726 w 822"/>
              <a:gd name="T39" fmla="*/ 336 h 510"/>
              <a:gd name="T40" fmla="*/ 738 w 822"/>
              <a:gd name="T41" fmla="*/ 366 h 510"/>
              <a:gd name="T42" fmla="*/ 732 w 822"/>
              <a:gd name="T43" fmla="*/ 384 h 510"/>
              <a:gd name="T44" fmla="*/ 744 w 822"/>
              <a:gd name="T45" fmla="*/ 408 h 510"/>
              <a:gd name="T46" fmla="*/ 756 w 822"/>
              <a:gd name="T47" fmla="*/ 420 h 510"/>
              <a:gd name="T48" fmla="*/ 762 w 822"/>
              <a:gd name="T49" fmla="*/ 432 h 510"/>
              <a:gd name="T50" fmla="*/ 774 w 822"/>
              <a:gd name="T51" fmla="*/ 444 h 510"/>
              <a:gd name="T52" fmla="*/ 774 w 822"/>
              <a:gd name="T53" fmla="*/ 474 h 510"/>
              <a:gd name="T54" fmla="*/ 792 w 822"/>
              <a:gd name="T55" fmla="*/ 486 h 510"/>
              <a:gd name="T56" fmla="*/ 804 w 822"/>
              <a:gd name="T57" fmla="*/ 504 h 510"/>
              <a:gd name="T58" fmla="*/ 780 w 822"/>
              <a:gd name="T59" fmla="*/ 492 h 510"/>
              <a:gd name="T60" fmla="*/ 708 w 822"/>
              <a:gd name="T61" fmla="*/ 438 h 510"/>
              <a:gd name="T62" fmla="*/ 684 w 822"/>
              <a:gd name="T63" fmla="*/ 396 h 510"/>
              <a:gd name="T64" fmla="*/ 660 w 822"/>
              <a:gd name="T65" fmla="*/ 366 h 510"/>
              <a:gd name="T66" fmla="*/ 630 w 822"/>
              <a:gd name="T67" fmla="*/ 312 h 510"/>
              <a:gd name="T68" fmla="*/ 612 w 822"/>
              <a:gd name="T69" fmla="*/ 318 h 510"/>
              <a:gd name="T70" fmla="*/ 600 w 822"/>
              <a:gd name="T71" fmla="*/ 318 h 510"/>
              <a:gd name="T72" fmla="*/ 582 w 822"/>
              <a:gd name="T73" fmla="*/ 324 h 510"/>
              <a:gd name="T74" fmla="*/ 570 w 822"/>
              <a:gd name="T75" fmla="*/ 306 h 510"/>
              <a:gd name="T76" fmla="*/ 534 w 822"/>
              <a:gd name="T77" fmla="*/ 306 h 510"/>
              <a:gd name="T78" fmla="*/ 510 w 822"/>
              <a:gd name="T79" fmla="*/ 282 h 510"/>
              <a:gd name="T80" fmla="*/ 486 w 822"/>
              <a:gd name="T81" fmla="*/ 282 h 510"/>
              <a:gd name="T82" fmla="*/ 456 w 822"/>
              <a:gd name="T83" fmla="*/ 276 h 510"/>
              <a:gd name="T84" fmla="*/ 420 w 822"/>
              <a:gd name="T85" fmla="*/ 300 h 510"/>
              <a:gd name="T86" fmla="*/ 372 w 822"/>
              <a:gd name="T87" fmla="*/ 300 h 510"/>
              <a:gd name="T88" fmla="*/ 336 w 822"/>
              <a:gd name="T89" fmla="*/ 312 h 510"/>
              <a:gd name="T90" fmla="*/ 318 w 822"/>
              <a:gd name="T91" fmla="*/ 336 h 510"/>
              <a:gd name="T92" fmla="*/ 288 w 822"/>
              <a:gd name="T93" fmla="*/ 366 h 510"/>
              <a:gd name="T94" fmla="*/ 258 w 822"/>
              <a:gd name="T95" fmla="*/ 348 h 510"/>
              <a:gd name="T96" fmla="*/ 228 w 822"/>
              <a:gd name="T97" fmla="*/ 342 h 510"/>
              <a:gd name="T98" fmla="*/ 198 w 822"/>
              <a:gd name="T99" fmla="*/ 348 h 510"/>
              <a:gd name="T100" fmla="*/ 162 w 822"/>
              <a:gd name="T101" fmla="*/ 372 h 510"/>
              <a:gd name="T102" fmla="*/ 132 w 822"/>
              <a:gd name="T103" fmla="*/ 378 h 510"/>
              <a:gd name="T104" fmla="*/ 108 w 822"/>
              <a:gd name="T105" fmla="*/ 348 h 510"/>
              <a:gd name="T106" fmla="*/ 72 w 822"/>
              <a:gd name="T107" fmla="*/ 330 h 510"/>
              <a:gd name="T108" fmla="*/ 84 w 822"/>
              <a:gd name="T109" fmla="*/ 180 h 510"/>
              <a:gd name="T110" fmla="*/ 84 w 822"/>
              <a:gd name="T111" fmla="*/ 144 h 510"/>
              <a:gd name="T112" fmla="*/ 60 w 822"/>
              <a:gd name="T113" fmla="*/ 120 h 510"/>
              <a:gd name="T114" fmla="*/ 60 w 822"/>
              <a:gd name="T115" fmla="*/ 102 h 510"/>
              <a:gd name="T116" fmla="*/ 54 w 822"/>
              <a:gd name="T117" fmla="*/ 78 h 510"/>
              <a:gd name="T118" fmla="*/ 24 w 822"/>
              <a:gd name="T119" fmla="*/ 54 h 510"/>
              <a:gd name="T120" fmla="*/ 0 w 822"/>
              <a:gd name="T121" fmla="*/ 12 h 5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822" h="510">
                <a:moveTo>
                  <a:pt x="0" y="0"/>
                </a:move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12"/>
                </a:lnTo>
                <a:lnTo>
                  <a:pt x="6" y="12"/>
                </a:lnTo>
                <a:lnTo>
                  <a:pt x="12" y="12"/>
                </a:lnTo>
                <a:lnTo>
                  <a:pt x="12" y="12"/>
                </a:lnTo>
                <a:lnTo>
                  <a:pt x="12" y="18"/>
                </a:lnTo>
                <a:lnTo>
                  <a:pt x="12" y="24"/>
                </a:lnTo>
                <a:lnTo>
                  <a:pt x="12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30"/>
                </a:lnTo>
                <a:lnTo>
                  <a:pt x="36" y="30"/>
                </a:lnTo>
                <a:lnTo>
                  <a:pt x="42" y="30"/>
                </a:lnTo>
                <a:lnTo>
                  <a:pt x="42" y="36"/>
                </a:lnTo>
                <a:lnTo>
                  <a:pt x="42" y="36"/>
                </a:lnTo>
                <a:lnTo>
                  <a:pt x="48" y="36"/>
                </a:lnTo>
                <a:lnTo>
                  <a:pt x="48" y="36"/>
                </a:lnTo>
                <a:lnTo>
                  <a:pt x="54" y="36"/>
                </a:lnTo>
                <a:lnTo>
                  <a:pt x="54" y="36"/>
                </a:lnTo>
                <a:lnTo>
                  <a:pt x="60" y="42"/>
                </a:lnTo>
                <a:lnTo>
                  <a:pt x="60" y="48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6" y="54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6"/>
                </a:lnTo>
                <a:lnTo>
                  <a:pt x="72" y="66"/>
                </a:lnTo>
                <a:lnTo>
                  <a:pt x="78" y="66"/>
                </a:lnTo>
                <a:lnTo>
                  <a:pt x="78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90" y="66"/>
                </a:lnTo>
                <a:lnTo>
                  <a:pt x="90" y="72"/>
                </a:lnTo>
                <a:lnTo>
                  <a:pt x="90" y="72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8" y="78"/>
                </a:lnTo>
                <a:lnTo>
                  <a:pt x="108" y="78"/>
                </a:lnTo>
                <a:lnTo>
                  <a:pt x="114" y="78"/>
                </a:lnTo>
                <a:lnTo>
                  <a:pt x="114" y="84"/>
                </a:lnTo>
                <a:lnTo>
                  <a:pt x="120" y="78"/>
                </a:lnTo>
                <a:lnTo>
                  <a:pt x="120" y="84"/>
                </a:lnTo>
                <a:lnTo>
                  <a:pt x="126" y="78"/>
                </a:lnTo>
                <a:lnTo>
                  <a:pt x="126" y="78"/>
                </a:lnTo>
                <a:lnTo>
                  <a:pt x="126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38" y="72"/>
                </a:lnTo>
                <a:lnTo>
                  <a:pt x="138" y="78"/>
                </a:lnTo>
                <a:lnTo>
                  <a:pt x="144" y="72"/>
                </a:lnTo>
                <a:lnTo>
                  <a:pt x="144" y="78"/>
                </a:lnTo>
                <a:lnTo>
                  <a:pt x="150" y="78"/>
                </a:lnTo>
                <a:lnTo>
                  <a:pt x="156" y="78"/>
                </a:lnTo>
                <a:lnTo>
                  <a:pt x="156" y="78"/>
                </a:lnTo>
                <a:lnTo>
                  <a:pt x="162" y="84"/>
                </a:lnTo>
                <a:lnTo>
                  <a:pt x="168" y="84"/>
                </a:lnTo>
                <a:lnTo>
                  <a:pt x="168" y="84"/>
                </a:lnTo>
                <a:lnTo>
                  <a:pt x="174" y="84"/>
                </a:lnTo>
                <a:lnTo>
                  <a:pt x="180" y="90"/>
                </a:lnTo>
                <a:lnTo>
                  <a:pt x="180" y="90"/>
                </a:lnTo>
                <a:lnTo>
                  <a:pt x="180" y="90"/>
                </a:lnTo>
                <a:lnTo>
                  <a:pt x="186" y="96"/>
                </a:lnTo>
                <a:lnTo>
                  <a:pt x="186" y="96"/>
                </a:lnTo>
                <a:lnTo>
                  <a:pt x="186" y="96"/>
                </a:lnTo>
                <a:lnTo>
                  <a:pt x="186" y="102"/>
                </a:lnTo>
                <a:lnTo>
                  <a:pt x="186" y="102"/>
                </a:lnTo>
                <a:lnTo>
                  <a:pt x="186" y="102"/>
                </a:lnTo>
                <a:lnTo>
                  <a:pt x="192" y="108"/>
                </a:lnTo>
                <a:lnTo>
                  <a:pt x="192" y="108"/>
                </a:lnTo>
                <a:lnTo>
                  <a:pt x="192" y="108"/>
                </a:lnTo>
                <a:lnTo>
                  <a:pt x="192" y="108"/>
                </a:lnTo>
                <a:lnTo>
                  <a:pt x="192" y="108"/>
                </a:lnTo>
                <a:lnTo>
                  <a:pt x="192" y="108"/>
                </a:lnTo>
                <a:lnTo>
                  <a:pt x="198" y="108"/>
                </a:lnTo>
                <a:lnTo>
                  <a:pt x="198" y="108"/>
                </a:lnTo>
                <a:lnTo>
                  <a:pt x="198" y="108"/>
                </a:lnTo>
                <a:lnTo>
                  <a:pt x="198" y="108"/>
                </a:lnTo>
                <a:lnTo>
                  <a:pt x="204" y="108"/>
                </a:lnTo>
                <a:lnTo>
                  <a:pt x="204" y="108"/>
                </a:lnTo>
                <a:lnTo>
                  <a:pt x="204" y="108"/>
                </a:lnTo>
                <a:lnTo>
                  <a:pt x="210" y="108"/>
                </a:lnTo>
                <a:lnTo>
                  <a:pt x="210" y="114"/>
                </a:lnTo>
                <a:lnTo>
                  <a:pt x="210" y="108"/>
                </a:lnTo>
                <a:lnTo>
                  <a:pt x="216" y="108"/>
                </a:lnTo>
                <a:lnTo>
                  <a:pt x="216" y="108"/>
                </a:lnTo>
                <a:lnTo>
                  <a:pt x="222" y="108"/>
                </a:lnTo>
                <a:lnTo>
                  <a:pt x="222" y="108"/>
                </a:lnTo>
                <a:lnTo>
                  <a:pt x="222" y="108"/>
                </a:lnTo>
                <a:lnTo>
                  <a:pt x="222" y="108"/>
                </a:lnTo>
                <a:lnTo>
                  <a:pt x="228" y="102"/>
                </a:lnTo>
                <a:lnTo>
                  <a:pt x="228" y="102"/>
                </a:lnTo>
                <a:lnTo>
                  <a:pt x="228" y="102"/>
                </a:lnTo>
                <a:lnTo>
                  <a:pt x="228" y="102"/>
                </a:lnTo>
                <a:lnTo>
                  <a:pt x="228" y="102"/>
                </a:lnTo>
                <a:lnTo>
                  <a:pt x="234" y="102"/>
                </a:lnTo>
                <a:lnTo>
                  <a:pt x="234" y="102"/>
                </a:lnTo>
                <a:lnTo>
                  <a:pt x="234" y="102"/>
                </a:lnTo>
                <a:lnTo>
                  <a:pt x="234" y="102"/>
                </a:lnTo>
                <a:lnTo>
                  <a:pt x="234" y="102"/>
                </a:lnTo>
                <a:lnTo>
                  <a:pt x="234" y="102"/>
                </a:lnTo>
                <a:lnTo>
                  <a:pt x="234" y="102"/>
                </a:lnTo>
                <a:lnTo>
                  <a:pt x="240" y="96"/>
                </a:lnTo>
                <a:lnTo>
                  <a:pt x="240" y="102"/>
                </a:lnTo>
                <a:lnTo>
                  <a:pt x="246" y="96"/>
                </a:lnTo>
                <a:lnTo>
                  <a:pt x="246" y="102"/>
                </a:lnTo>
                <a:lnTo>
                  <a:pt x="246" y="204"/>
                </a:lnTo>
                <a:lnTo>
                  <a:pt x="246" y="204"/>
                </a:lnTo>
                <a:lnTo>
                  <a:pt x="246" y="204"/>
                </a:lnTo>
                <a:lnTo>
                  <a:pt x="246" y="204"/>
                </a:lnTo>
                <a:lnTo>
                  <a:pt x="252" y="204"/>
                </a:lnTo>
                <a:lnTo>
                  <a:pt x="258" y="204"/>
                </a:lnTo>
                <a:lnTo>
                  <a:pt x="258" y="204"/>
                </a:lnTo>
                <a:lnTo>
                  <a:pt x="264" y="204"/>
                </a:lnTo>
                <a:lnTo>
                  <a:pt x="270" y="204"/>
                </a:lnTo>
                <a:lnTo>
                  <a:pt x="270" y="204"/>
                </a:lnTo>
                <a:lnTo>
                  <a:pt x="276" y="210"/>
                </a:lnTo>
                <a:lnTo>
                  <a:pt x="276" y="210"/>
                </a:lnTo>
                <a:lnTo>
                  <a:pt x="282" y="210"/>
                </a:lnTo>
                <a:lnTo>
                  <a:pt x="282" y="210"/>
                </a:lnTo>
                <a:lnTo>
                  <a:pt x="288" y="204"/>
                </a:lnTo>
                <a:lnTo>
                  <a:pt x="288" y="204"/>
                </a:lnTo>
                <a:lnTo>
                  <a:pt x="294" y="204"/>
                </a:lnTo>
                <a:lnTo>
                  <a:pt x="300" y="210"/>
                </a:lnTo>
                <a:lnTo>
                  <a:pt x="306" y="210"/>
                </a:lnTo>
                <a:lnTo>
                  <a:pt x="306" y="210"/>
                </a:lnTo>
                <a:lnTo>
                  <a:pt x="312" y="210"/>
                </a:lnTo>
                <a:lnTo>
                  <a:pt x="318" y="216"/>
                </a:lnTo>
                <a:lnTo>
                  <a:pt x="318" y="222"/>
                </a:lnTo>
                <a:lnTo>
                  <a:pt x="318" y="222"/>
                </a:lnTo>
                <a:lnTo>
                  <a:pt x="318" y="222"/>
                </a:lnTo>
                <a:lnTo>
                  <a:pt x="318" y="222"/>
                </a:lnTo>
                <a:lnTo>
                  <a:pt x="324" y="222"/>
                </a:lnTo>
                <a:lnTo>
                  <a:pt x="324" y="228"/>
                </a:lnTo>
                <a:lnTo>
                  <a:pt x="330" y="228"/>
                </a:lnTo>
                <a:lnTo>
                  <a:pt x="336" y="228"/>
                </a:lnTo>
                <a:lnTo>
                  <a:pt x="342" y="228"/>
                </a:lnTo>
                <a:lnTo>
                  <a:pt x="342" y="228"/>
                </a:lnTo>
                <a:lnTo>
                  <a:pt x="348" y="228"/>
                </a:lnTo>
                <a:lnTo>
                  <a:pt x="348" y="228"/>
                </a:lnTo>
                <a:lnTo>
                  <a:pt x="348" y="222"/>
                </a:lnTo>
                <a:lnTo>
                  <a:pt x="354" y="222"/>
                </a:lnTo>
                <a:lnTo>
                  <a:pt x="354" y="222"/>
                </a:lnTo>
                <a:lnTo>
                  <a:pt x="354" y="222"/>
                </a:lnTo>
                <a:lnTo>
                  <a:pt x="360" y="222"/>
                </a:lnTo>
                <a:lnTo>
                  <a:pt x="366" y="222"/>
                </a:lnTo>
                <a:lnTo>
                  <a:pt x="372" y="222"/>
                </a:lnTo>
                <a:lnTo>
                  <a:pt x="372" y="222"/>
                </a:lnTo>
                <a:lnTo>
                  <a:pt x="378" y="222"/>
                </a:lnTo>
                <a:lnTo>
                  <a:pt x="378" y="222"/>
                </a:lnTo>
                <a:lnTo>
                  <a:pt x="378" y="216"/>
                </a:lnTo>
                <a:lnTo>
                  <a:pt x="384" y="216"/>
                </a:lnTo>
                <a:lnTo>
                  <a:pt x="390" y="216"/>
                </a:lnTo>
                <a:lnTo>
                  <a:pt x="390" y="216"/>
                </a:lnTo>
                <a:lnTo>
                  <a:pt x="396" y="222"/>
                </a:lnTo>
                <a:lnTo>
                  <a:pt x="402" y="216"/>
                </a:lnTo>
                <a:lnTo>
                  <a:pt x="402" y="216"/>
                </a:lnTo>
                <a:lnTo>
                  <a:pt x="408" y="222"/>
                </a:lnTo>
                <a:lnTo>
                  <a:pt x="414" y="222"/>
                </a:lnTo>
                <a:lnTo>
                  <a:pt x="414" y="222"/>
                </a:lnTo>
                <a:lnTo>
                  <a:pt x="420" y="222"/>
                </a:lnTo>
                <a:lnTo>
                  <a:pt x="426" y="222"/>
                </a:lnTo>
                <a:lnTo>
                  <a:pt x="432" y="222"/>
                </a:lnTo>
                <a:lnTo>
                  <a:pt x="432" y="222"/>
                </a:lnTo>
                <a:lnTo>
                  <a:pt x="438" y="222"/>
                </a:lnTo>
                <a:lnTo>
                  <a:pt x="444" y="222"/>
                </a:lnTo>
                <a:lnTo>
                  <a:pt x="444" y="216"/>
                </a:lnTo>
                <a:lnTo>
                  <a:pt x="456" y="210"/>
                </a:lnTo>
                <a:lnTo>
                  <a:pt x="462" y="210"/>
                </a:lnTo>
                <a:lnTo>
                  <a:pt x="462" y="210"/>
                </a:lnTo>
                <a:lnTo>
                  <a:pt x="468" y="204"/>
                </a:lnTo>
                <a:lnTo>
                  <a:pt x="468" y="204"/>
                </a:lnTo>
                <a:lnTo>
                  <a:pt x="474" y="204"/>
                </a:lnTo>
                <a:lnTo>
                  <a:pt x="474" y="204"/>
                </a:lnTo>
                <a:lnTo>
                  <a:pt x="480" y="204"/>
                </a:lnTo>
                <a:lnTo>
                  <a:pt x="480" y="204"/>
                </a:lnTo>
                <a:lnTo>
                  <a:pt x="480" y="204"/>
                </a:lnTo>
                <a:lnTo>
                  <a:pt x="480" y="210"/>
                </a:lnTo>
                <a:lnTo>
                  <a:pt x="480" y="210"/>
                </a:lnTo>
                <a:lnTo>
                  <a:pt x="480" y="210"/>
                </a:lnTo>
                <a:lnTo>
                  <a:pt x="480" y="216"/>
                </a:lnTo>
                <a:lnTo>
                  <a:pt x="486" y="216"/>
                </a:lnTo>
                <a:lnTo>
                  <a:pt x="486" y="216"/>
                </a:lnTo>
                <a:lnTo>
                  <a:pt x="486" y="216"/>
                </a:lnTo>
                <a:lnTo>
                  <a:pt x="492" y="216"/>
                </a:lnTo>
                <a:lnTo>
                  <a:pt x="492" y="210"/>
                </a:lnTo>
                <a:lnTo>
                  <a:pt x="498" y="204"/>
                </a:lnTo>
                <a:lnTo>
                  <a:pt x="504" y="204"/>
                </a:lnTo>
                <a:lnTo>
                  <a:pt x="510" y="198"/>
                </a:lnTo>
                <a:lnTo>
                  <a:pt x="510" y="198"/>
                </a:lnTo>
                <a:lnTo>
                  <a:pt x="516" y="198"/>
                </a:lnTo>
                <a:lnTo>
                  <a:pt x="528" y="198"/>
                </a:lnTo>
                <a:lnTo>
                  <a:pt x="528" y="198"/>
                </a:lnTo>
                <a:lnTo>
                  <a:pt x="534" y="198"/>
                </a:lnTo>
                <a:lnTo>
                  <a:pt x="540" y="198"/>
                </a:lnTo>
                <a:lnTo>
                  <a:pt x="540" y="198"/>
                </a:lnTo>
                <a:lnTo>
                  <a:pt x="546" y="204"/>
                </a:lnTo>
                <a:lnTo>
                  <a:pt x="546" y="204"/>
                </a:lnTo>
                <a:lnTo>
                  <a:pt x="552" y="204"/>
                </a:lnTo>
                <a:lnTo>
                  <a:pt x="558" y="204"/>
                </a:lnTo>
                <a:lnTo>
                  <a:pt x="558" y="210"/>
                </a:lnTo>
                <a:lnTo>
                  <a:pt x="564" y="204"/>
                </a:lnTo>
                <a:lnTo>
                  <a:pt x="570" y="210"/>
                </a:lnTo>
                <a:lnTo>
                  <a:pt x="570" y="210"/>
                </a:lnTo>
                <a:lnTo>
                  <a:pt x="576" y="210"/>
                </a:lnTo>
                <a:lnTo>
                  <a:pt x="576" y="210"/>
                </a:lnTo>
                <a:lnTo>
                  <a:pt x="576" y="216"/>
                </a:lnTo>
                <a:lnTo>
                  <a:pt x="576" y="222"/>
                </a:lnTo>
                <a:lnTo>
                  <a:pt x="576" y="222"/>
                </a:lnTo>
                <a:lnTo>
                  <a:pt x="576" y="222"/>
                </a:lnTo>
                <a:lnTo>
                  <a:pt x="576" y="228"/>
                </a:lnTo>
                <a:lnTo>
                  <a:pt x="582" y="228"/>
                </a:lnTo>
                <a:lnTo>
                  <a:pt x="582" y="228"/>
                </a:lnTo>
                <a:lnTo>
                  <a:pt x="588" y="228"/>
                </a:lnTo>
                <a:lnTo>
                  <a:pt x="588" y="234"/>
                </a:lnTo>
                <a:lnTo>
                  <a:pt x="588" y="240"/>
                </a:lnTo>
                <a:lnTo>
                  <a:pt x="588" y="240"/>
                </a:lnTo>
                <a:lnTo>
                  <a:pt x="588" y="246"/>
                </a:lnTo>
                <a:lnTo>
                  <a:pt x="594" y="246"/>
                </a:lnTo>
                <a:lnTo>
                  <a:pt x="594" y="246"/>
                </a:lnTo>
                <a:lnTo>
                  <a:pt x="594" y="246"/>
                </a:lnTo>
                <a:lnTo>
                  <a:pt x="594" y="240"/>
                </a:lnTo>
                <a:lnTo>
                  <a:pt x="594" y="240"/>
                </a:lnTo>
                <a:lnTo>
                  <a:pt x="600" y="240"/>
                </a:lnTo>
                <a:lnTo>
                  <a:pt x="606" y="240"/>
                </a:lnTo>
                <a:lnTo>
                  <a:pt x="606" y="240"/>
                </a:lnTo>
                <a:lnTo>
                  <a:pt x="612" y="240"/>
                </a:lnTo>
                <a:lnTo>
                  <a:pt x="612" y="240"/>
                </a:lnTo>
                <a:lnTo>
                  <a:pt x="618" y="246"/>
                </a:lnTo>
                <a:lnTo>
                  <a:pt x="618" y="246"/>
                </a:lnTo>
                <a:lnTo>
                  <a:pt x="624" y="246"/>
                </a:lnTo>
                <a:lnTo>
                  <a:pt x="630" y="240"/>
                </a:lnTo>
                <a:lnTo>
                  <a:pt x="630" y="246"/>
                </a:lnTo>
                <a:lnTo>
                  <a:pt x="630" y="246"/>
                </a:lnTo>
                <a:lnTo>
                  <a:pt x="636" y="246"/>
                </a:lnTo>
                <a:lnTo>
                  <a:pt x="636" y="252"/>
                </a:lnTo>
                <a:lnTo>
                  <a:pt x="636" y="264"/>
                </a:lnTo>
                <a:lnTo>
                  <a:pt x="636" y="264"/>
                </a:lnTo>
                <a:lnTo>
                  <a:pt x="636" y="264"/>
                </a:lnTo>
                <a:lnTo>
                  <a:pt x="642" y="270"/>
                </a:lnTo>
                <a:lnTo>
                  <a:pt x="642" y="270"/>
                </a:lnTo>
                <a:lnTo>
                  <a:pt x="648" y="270"/>
                </a:lnTo>
                <a:lnTo>
                  <a:pt x="648" y="270"/>
                </a:lnTo>
                <a:lnTo>
                  <a:pt x="648" y="270"/>
                </a:lnTo>
                <a:lnTo>
                  <a:pt x="654" y="270"/>
                </a:lnTo>
                <a:lnTo>
                  <a:pt x="654" y="264"/>
                </a:lnTo>
                <a:lnTo>
                  <a:pt x="654" y="264"/>
                </a:lnTo>
                <a:lnTo>
                  <a:pt x="654" y="258"/>
                </a:lnTo>
                <a:lnTo>
                  <a:pt x="660" y="258"/>
                </a:lnTo>
                <a:lnTo>
                  <a:pt x="660" y="258"/>
                </a:lnTo>
                <a:lnTo>
                  <a:pt x="666" y="258"/>
                </a:lnTo>
                <a:lnTo>
                  <a:pt x="666" y="258"/>
                </a:lnTo>
                <a:lnTo>
                  <a:pt x="666" y="258"/>
                </a:lnTo>
                <a:lnTo>
                  <a:pt x="666" y="270"/>
                </a:lnTo>
                <a:lnTo>
                  <a:pt x="666" y="270"/>
                </a:lnTo>
                <a:lnTo>
                  <a:pt x="666" y="276"/>
                </a:lnTo>
                <a:lnTo>
                  <a:pt x="666" y="288"/>
                </a:lnTo>
                <a:lnTo>
                  <a:pt x="666" y="288"/>
                </a:lnTo>
                <a:lnTo>
                  <a:pt x="666" y="288"/>
                </a:lnTo>
                <a:lnTo>
                  <a:pt x="672" y="288"/>
                </a:lnTo>
                <a:lnTo>
                  <a:pt x="672" y="288"/>
                </a:lnTo>
                <a:lnTo>
                  <a:pt x="672" y="282"/>
                </a:lnTo>
                <a:lnTo>
                  <a:pt x="678" y="282"/>
                </a:lnTo>
                <a:lnTo>
                  <a:pt x="678" y="282"/>
                </a:lnTo>
                <a:lnTo>
                  <a:pt x="684" y="282"/>
                </a:lnTo>
                <a:lnTo>
                  <a:pt x="684" y="282"/>
                </a:lnTo>
                <a:lnTo>
                  <a:pt x="684" y="276"/>
                </a:lnTo>
                <a:lnTo>
                  <a:pt x="690" y="276"/>
                </a:lnTo>
                <a:lnTo>
                  <a:pt x="696" y="276"/>
                </a:lnTo>
                <a:lnTo>
                  <a:pt x="696" y="276"/>
                </a:lnTo>
                <a:lnTo>
                  <a:pt x="696" y="276"/>
                </a:lnTo>
                <a:lnTo>
                  <a:pt x="696" y="282"/>
                </a:lnTo>
                <a:lnTo>
                  <a:pt x="696" y="282"/>
                </a:lnTo>
                <a:lnTo>
                  <a:pt x="696" y="288"/>
                </a:lnTo>
                <a:lnTo>
                  <a:pt x="696" y="288"/>
                </a:lnTo>
                <a:lnTo>
                  <a:pt x="696" y="294"/>
                </a:lnTo>
                <a:lnTo>
                  <a:pt x="702" y="300"/>
                </a:lnTo>
                <a:lnTo>
                  <a:pt x="702" y="300"/>
                </a:lnTo>
                <a:lnTo>
                  <a:pt x="702" y="300"/>
                </a:lnTo>
                <a:lnTo>
                  <a:pt x="708" y="300"/>
                </a:lnTo>
                <a:lnTo>
                  <a:pt x="708" y="300"/>
                </a:lnTo>
                <a:lnTo>
                  <a:pt x="708" y="306"/>
                </a:lnTo>
                <a:lnTo>
                  <a:pt x="708" y="306"/>
                </a:lnTo>
                <a:lnTo>
                  <a:pt x="708" y="300"/>
                </a:lnTo>
                <a:lnTo>
                  <a:pt x="708" y="300"/>
                </a:lnTo>
                <a:lnTo>
                  <a:pt x="714" y="306"/>
                </a:lnTo>
                <a:lnTo>
                  <a:pt x="720" y="306"/>
                </a:lnTo>
                <a:lnTo>
                  <a:pt x="720" y="306"/>
                </a:lnTo>
                <a:lnTo>
                  <a:pt x="720" y="300"/>
                </a:lnTo>
                <a:lnTo>
                  <a:pt x="720" y="294"/>
                </a:lnTo>
                <a:lnTo>
                  <a:pt x="726" y="294"/>
                </a:lnTo>
                <a:lnTo>
                  <a:pt x="726" y="294"/>
                </a:lnTo>
                <a:lnTo>
                  <a:pt x="726" y="294"/>
                </a:lnTo>
                <a:lnTo>
                  <a:pt x="732" y="300"/>
                </a:lnTo>
                <a:lnTo>
                  <a:pt x="732" y="300"/>
                </a:lnTo>
                <a:lnTo>
                  <a:pt x="738" y="306"/>
                </a:lnTo>
                <a:lnTo>
                  <a:pt x="738" y="306"/>
                </a:lnTo>
                <a:lnTo>
                  <a:pt x="738" y="306"/>
                </a:lnTo>
                <a:lnTo>
                  <a:pt x="732" y="312"/>
                </a:lnTo>
                <a:lnTo>
                  <a:pt x="732" y="312"/>
                </a:lnTo>
                <a:lnTo>
                  <a:pt x="732" y="306"/>
                </a:lnTo>
                <a:lnTo>
                  <a:pt x="732" y="306"/>
                </a:lnTo>
                <a:lnTo>
                  <a:pt x="732" y="312"/>
                </a:lnTo>
                <a:lnTo>
                  <a:pt x="726" y="312"/>
                </a:lnTo>
                <a:lnTo>
                  <a:pt x="720" y="312"/>
                </a:lnTo>
                <a:lnTo>
                  <a:pt x="720" y="312"/>
                </a:lnTo>
                <a:lnTo>
                  <a:pt x="720" y="312"/>
                </a:lnTo>
                <a:lnTo>
                  <a:pt x="720" y="318"/>
                </a:lnTo>
                <a:lnTo>
                  <a:pt x="720" y="324"/>
                </a:lnTo>
                <a:lnTo>
                  <a:pt x="726" y="330"/>
                </a:lnTo>
                <a:lnTo>
                  <a:pt x="726" y="330"/>
                </a:lnTo>
                <a:lnTo>
                  <a:pt x="726" y="330"/>
                </a:lnTo>
                <a:lnTo>
                  <a:pt x="726" y="336"/>
                </a:lnTo>
                <a:lnTo>
                  <a:pt x="726" y="336"/>
                </a:lnTo>
                <a:lnTo>
                  <a:pt x="726" y="336"/>
                </a:lnTo>
                <a:lnTo>
                  <a:pt x="726" y="336"/>
                </a:lnTo>
                <a:lnTo>
                  <a:pt x="726" y="342"/>
                </a:lnTo>
                <a:lnTo>
                  <a:pt x="726" y="342"/>
                </a:lnTo>
                <a:lnTo>
                  <a:pt x="732" y="342"/>
                </a:lnTo>
                <a:lnTo>
                  <a:pt x="732" y="342"/>
                </a:lnTo>
                <a:lnTo>
                  <a:pt x="732" y="348"/>
                </a:lnTo>
                <a:lnTo>
                  <a:pt x="732" y="354"/>
                </a:lnTo>
                <a:lnTo>
                  <a:pt x="732" y="354"/>
                </a:lnTo>
                <a:lnTo>
                  <a:pt x="732" y="354"/>
                </a:lnTo>
                <a:lnTo>
                  <a:pt x="738" y="354"/>
                </a:lnTo>
                <a:lnTo>
                  <a:pt x="744" y="360"/>
                </a:lnTo>
                <a:lnTo>
                  <a:pt x="744" y="360"/>
                </a:lnTo>
                <a:lnTo>
                  <a:pt x="744" y="366"/>
                </a:lnTo>
                <a:lnTo>
                  <a:pt x="744" y="366"/>
                </a:lnTo>
                <a:lnTo>
                  <a:pt x="744" y="366"/>
                </a:lnTo>
                <a:lnTo>
                  <a:pt x="744" y="366"/>
                </a:lnTo>
                <a:lnTo>
                  <a:pt x="738" y="366"/>
                </a:lnTo>
                <a:lnTo>
                  <a:pt x="738" y="366"/>
                </a:lnTo>
                <a:lnTo>
                  <a:pt x="738" y="366"/>
                </a:lnTo>
                <a:lnTo>
                  <a:pt x="732" y="366"/>
                </a:lnTo>
                <a:lnTo>
                  <a:pt x="732" y="372"/>
                </a:lnTo>
                <a:lnTo>
                  <a:pt x="732" y="372"/>
                </a:lnTo>
                <a:lnTo>
                  <a:pt x="726" y="372"/>
                </a:lnTo>
                <a:lnTo>
                  <a:pt x="726" y="372"/>
                </a:lnTo>
                <a:lnTo>
                  <a:pt x="726" y="372"/>
                </a:lnTo>
                <a:lnTo>
                  <a:pt x="720" y="372"/>
                </a:lnTo>
                <a:lnTo>
                  <a:pt x="720" y="372"/>
                </a:lnTo>
                <a:lnTo>
                  <a:pt x="726" y="372"/>
                </a:lnTo>
                <a:lnTo>
                  <a:pt x="726" y="372"/>
                </a:lnTo>
                <a:lnTo>
                  <a:pt x="726" y="378"/>
                </a:lnTo>
                <a:lnTo>
                  <a:pt x="726" y="378"/>
                </a:lnTo>
                <a:lnTo>
                  <a:pt x="726" y="378"/>
                </a:lnTo>
                <a:lnTo>
                  <a:pt x="726" y="378"/>
                </a:lnTo>
                <a:lnTo>
                  <a:pt x="726" y="378"/>
                </a:lnTo>
                <a:lnTo>
                  <a:pt x="732" y="384"/>
                </a:lnTo>
                <a:lnTo>
                  <a:pt x="732" y="384"/>
                </a:lnTo>
                <a:lnTo>
                  <a:pt x="732" y="384"/>
                </a:lnTo>
                <a:lnTo>
                  <a:pt x="732" y="390"/>
                </a:lnTo>
                <a:lnTo>
                  <a:pt x="732" y="390"/>
                </a:lnTo>
                <a:lnTo>
                  <a:pt x="732" y="390"/>
                </a:lnTo>
                <a:lnTo>
                  <a:pt x="732" y="396"/>
                </a:lnTo>
                <a:lnTo>
                  <a:pt x="732" y="396"/>
                </a:lnTo>
                <a:lnTo>
                  <a:pt x="738" y="396"/>
                </a:lnTo>
                <a:lnTo>
                  <a:pt x="738" y="402"/>
                </a:lnTo>
                <a:lnTo>
                  <a:pt x="738" y="402"/>
                </a:lnTo>
                <a:lnTo>
                  <a:pt x="738" y="402"/>
                </a:lnTo>
                <a:lnTo>
                  <a:pt x="738" y="402"/>
                </a:lnTo>
                <a:lnTo>
                  <a:pt x="738" y="402"/>
                </a:lnTo>
                <a:lnTo>
                  <a:pt x="738" y="402"/>
                </a:lnTo>
                <a:lnTo>
                  <a:pt x="744" y="402"/>
                </a:lnTo>
                <a:lnTo>
                  <a:pt x="744" y="408"/>
                </a:lnTo>
                <a:lnTo>
                  <a:pt x="744" y="408"/>
                </a:lnTo>
                <a:lnTo>
                  <a:pt x="744" y="408"/>
                </a:lnTo>
                <a:lnTo>
                  <a:pt x="744" y="408"/>
                </a:lnTo>
                <a:lnTo>
                  <a:pt x="744" y="414"/>
                </a:lnTo>
                <a:lnTo>
                  <a:pt x="744" y="414"/>
                </a:lnTo>
                <a:lnTo>
                  <a:pt x="744" y="414"/>
                </a:lnTo>
                <a:lnTo>
                  <a:pt x="744" y="414"/>
                </a:lnTo>
                <a:lnTo>
                  <a:pt x="750" y="414"/>
                </a:lnTo>
                <a:lnTo>
                  <a:pt x="750" y="414"/>
                </a:lnTo>
                <a:lnTo>
                  <a:pt x="750" y="414"/>
                </a:lnTo>
                <a:lnTo>
                  <a:pt x="750" y="414"/>
                </a:lnTo>
                <a:lnTo>
                  <a:pt x="756" y="414"/>
                </a:lnTo>
                <a:lnTo>
                  <a:pt x="750" y="414"/>
                </a:lnTo>
                <a:lnTo>
                  <a:pt x="750" y="414"/>
                </a:lnTo>
                <a:lnTo>
                  <a:pt x="756" y="414"/>
                </a:lnTo>
                <a:lnTo>
                  <a:pt x="756" y="414"/>
                </a:lnTo>
                <a:lnTo>
                  <a:pt x="756" y="414"/>
                </a:lnTo>
                <a:lnTo>
                  <a:pt x="756" y="420"/>
                </a:lnTo>
                <a:lnTo>
                  <a:pt x="756" y="414"/>
                </a:lnTo>
                <a:lnTo>
                  <a:pt x="756" y="420"/>
                </a:lnTo>
                <a:lnTo>
                  <a:pt x="756" y="420"/>
                </a:lnTo>
                <a:lnTo>
                  <a:pt x="756" y="420"/>
                </a:lnTo>
                <a:lnTo>
                  <a:pt x="750" y="420"/>
                </a:lnTo>
                <a:lnTo>
                  <a:pt x="750" y="420"/>
                </a:lnTo>
                <a:lnTo>
                  <a:pt x="750" y="420"/>
                </a:lnTo>
                <a:lnTo>
                  <a:pt x="750" y="426"/>
                </a:lnTo>
                <a:lnTo>
                  <a:pt x="756" y="426"/>
                </a:lnTo>
                <a:lnTo>
                  <a:pt x="756" y="426"/>
                </a:lnTo>
                <a:lnTo>
                  <a:pt x="756" y="426"/>
                </a:lnTo>
                <a:lnTo>
                  <a:pt x="756" y="426"/>
                </a:lnTo>
                <a:lnTo>
                  <a:pt x="756" y="432"/>
                </a:lnTo>
                <a:lnTo>
                  <a:pt x="762" y="432"/>
                </a:lnTo>
                <a:lnTo>
                  <a:pt x="762" y="432"/>
                </a:lnTo>
                <a:lnTo>
                  <a:pt x="762" y="432"/>
                </a:lnTo>
                <a:lnTo>
                  <a:pt x="762" y="432"/>
                </a:lnTo>
                <a:lnTo>
                  <a:pt x="762" y="438"/>
                </a:lnTo>
                <a:lnTo>
                  <a:pt x="762" y="432"/>
                </a:lnTo>
                <a:lnTo>
                  <a:pt x="768" y="438"/>
                </a:lnTo>
                <a:lnTo>
                  <a:pt x="768" y="432"/>
                </a:lnTo>
                <a:lnTo>
                  <a:pt x="768" y="438"/>
                </a:lnTo>
                <a:lnTo>
                  <a:pt x="768" y="438"/>
                </a:lnTo>
                <a:lnTo>
                  <a:pt x="768" y="438"/>
                </a:lnTo>
                <a:lnTo>
                  <a:pt x="768" y="438"/>
                </a:lnTo>
                <a:lnTo>
                  <a:pt x="768" y="438"/>
                </a:lnTo>
                <a:lnTo>
                  <a:pt x="768" y="438"/>
                </a:lnTo>
                <a:lnTo>
                  <a:pt x="768" y="444"/>
                </a:lnTo>
                <a:lnTo>
                  <a:pt x="768" y="438"/>
                </a:lnTo>
                <a:lnTo>
                  <a:pt x="774" y="438"/>
                </a:lnTo>
                <a:lnTo>
                  <a:pt x="774" y="438"/>
                </a:lnTo>
                <a:lnTo>
                  <a:pt x="774" y="438"/>
                </a:lnTo>
                <a:lnTo>
                  <a:pt x="774" y="444"/>
                </a:lnTo>
                <a:lnTo>
                  <a:pt x="774" y="444"/>
                </a:lnTo>
                <a:lnTo>
                  <a:pt x="774" y="444"/>
                </a:lnTo>
                <a:lnTo>
                  <a:pt x="774" y="444"/>
                </a:lnTo>
                <a:lnTo>
                  <a:pt x="780" y="444"/>
                </a:lnTo>
                <a:lnTo>
                  <a:pt x="780" y="450"/>
                </a:lnTo>
                <a:lnTo>
                  <a:pt x="774" y="450"/>
                </a:lnTo>
                <a:lnTo>
                  <a:pt x="774" y="450"/>
                </a:lnTo>
                <a:lnTo>
                  <a:pt x="774" y="450"/>
                </a:lnTo>
                <a:lnTo>
                  <a:pt x="774" y="456"/>
                </a:lnTo>
                <a:lnTo>
                  <a:pt x="768" y="456"/>
                </a:lnTo>
                <a:lnTo>
                  <a:pt x="768" y="462"/>
                </a:lnTo>
                <a:lnTo>
                  <a:pt x="768" y="462"/>
                </a:lnTo>
                <a:lnTo>
                  <a:pt x="768" y="462"/>
                </a:lnTo>
                <a:lnTo>
                  <a:pt x="768" y="468"/>
                </a:lnTo>
                <a:lnTo>
                  <a:pt x="768" y="468"/>
                </a:lnTo>
                <a:lnTo>
                  <a:pt x="768" y="468"/>
                </a:lnTo>
                <a:lnTo>
                  <a:pt x="774" y="474"/>
                </a:lnTo>
                <a:lnTo>
                  <a:pt x="774" y="474"/>
                </a:lnTo>
                <a:lnTo>
                  <a:pt x="774" y="474"/>
                </a:lnTo>
                <a:lnTo>
                  <a:pt x="780" y="474"/>
                </a:lnTo>
                <a:lnTo>
                  <a:pt x="780" y="474"/>
                </a:lnTo>
                <a:lnTo>
                  <a:pt x="780" y="474"/>
                </a:lnTo>
                <a:lnTo>
                  <a:pt x="780" y="474"/>
                </a:lnTo>
                <a:lnTo>
                  <a:pt x="780" y="480"/>
                </a:lnTo>
                <a:lnTo>
                  <a:pt x="780" y="480"/>
                </a:lnTo>
                <a:lnTo>
                  <a:pt x="780" y="480"/>
                </a:lnTo>
                <a:lnTo>
                  <a:pt x="786" y="480"/>
                </a:lnTo>
                <a:lnTo>
                  <a:pt x="786" y="480"/>
                </a:lnTo>
                <a:lnTo>
                  <a:pt x="786" y="486"/>
                </a:lnTo>
                <a:lnTo>
                  <a:pt x="786" y="486"/>
                </a:lnTo>
                <a:lnTo>
                  <a:pt x="792" y="480"/>
                </a:lnTo>
                <a:lnTo>
                  <a:pt x="792" y="480"/>
                </a:lnTo>
                <a:lnTo>
                  <a:pt x="792" y="486"/>
                </a:lnTo>
                <a:lnTo>
                  <a:pt x="792" y="486"/>
                </a:lnTo>
                <a:lnTo>
                  <a:pt x="792" y="486"/>
                </a:lnTo>
                <a:lnTo>
                  <a:pt x="792" y="480"/>
                </a:lnTo>
                <a:lnTo>
                  <a:pt x="798" y="480"/>
                </a:lnTo>
                <a:lnTo>
                  <a:pt x="798" y="480"/>
                </a:lnTo>
                <a:lnTo>
                  <a:pt x="798" y="486"/>
                </a:lnTo>
                <a:lnTo>
                  <a:pt x="798" y="486"/>
                </a:lnTo>
                <a:lnTo>
                  <a:pt x="798" y="486"/>
                </a:lnTo>
                <a:lnTo>
                  <a:pt x="798" y="486"/>
                </a:lnTo>
                <a:lnTo>
                  <a:pt x="798" y="492"/>
                </a:lnTo>
                <a:lnTo>
                  <a:pt x="798" y="486"/>
                </a:lnTo>
                <a:lnTo>
                  <a:pt x="798" y="492"/>
                </a:lnTo>
                <a:lnTo>
                  <a:pt x="798" y="492"/>
                </a:lnTo>
                <a:lnTo>
                  <a:pt x="798" y="498"/>
                </a:lnTo>
                <a:lnTo>
                  <a:pt x="798" y="504"/>
                </a:lnTo>
                <a:lnTo>
                  <a:pt x="804" y="504"/>
                </a:lnTo>
                <a:lnTo>
                  <a:pt x="804" y="504"/>
                </a:lnTo>
                <a:lnTo>
                  <a:pt x="804" y="504"/>
                </a:lnTo>
                <a:lnTo>
                  <a:pt x="804" y="504"/>
                </a:lnTo>
                <a:lnTo>
                  <a:pt x="810" y="504"/>
                </a:lnTo>
                <a:lnTo>
                  <a:pt x="810" y="504"/>
                </a:lnTo>
                <a:lnTo>
                  <a:pt x="816" y="504"/>
                </a:lnTo>
                <a:lnTo>
                  <a:pt x="816" y="504"/>
                </a:lnTo>
                <a:lnTo>
                  <a:pt x="822" y="504"/>
                </a:lnTo>
                <a:lnTo>
                  <a:pt x="822" y="504"/>
                </a:lnTo>
                <a:lnTo>
                  <a:pt x="804" y="510"/>
                </a:lnTo>
                <a:lnTo>
                  <a:pt x="798" y="510"/>
                </a:lnTo>
                <a:lnTo>
                  <a:pt x="792" y="504"/>
                </a:lnTo>
                <a:lnTo>
                  <a:pt x="792" y="504"/>
                </a:lnTo>
                <a:lnTo>
                  <a:pt x="792" y="498"/>
                </a:lnTo>
                <a:lnTo>
                  <a:pt x="792" y="498"/>
                </a:lnTo>
                <a:lnTo>
                  <a:pt x="792" y="492"/>
                </a:lnTo>
                <a:lnTo>
                  <a:pt x="786" y="492"/>
                </a:lnTo>
                <a:lnTo>
                  <a:pt x="786" y="492"/>
                </a:lnTo>
                <a:lnTo>
                  <a:pt x="786" y="492"/>
                </a:lnTo>
                <a:lnTo>
                  <a:pt x="780" y="492"/>
                </a:lnTo>
                <a:lnTo>
                  <a:pt x="780" y="492"/>
                </a:lnTo>
                <a:lnTo>
                  <a:pt x="774" y="492"/>
                </a:lnTo>
                <a:lnTo>
                  <a:pt x="774" y="492"/>
                </a:lnTo>
                <a:lnTo>
                  <a:pt x="762" y="486"/>
                </a:lnTo>
                <a:lnTo>
                  <a:pt x="762" y="486"/>
                </a:lnTo>
                <a:lnTo>
                  <a:pt x="750" y="480"/>
                </a:lnTo>
                <a:lnTo>
                  <a:pt x="750" y="474"/>
                </a:lnTo>
                <a:lnTo>
                  <a:pt x="744" y="474"/>
                </a:lnTo>
                <a:lnTo>
                  <a:pt x="738" y="468"/>
                </a:lnTo>
                <a:lnTo>
                  <a:pt x="732" y="462"/>
                </a:lnTo>
                <a:lnTo>
                  <a:pt x="726" y="456"/>
                </a:lnTo>
                <a:lnTo>
                  <a:pt x="726" y="456"/>
                </a:lnTo>
                <a:lnTo>
                  <a:pt x="720" y="444"/>
                </a:lnTo>
                <a:lnTo>
                  <a:pt x="714" y="444"/>
                </a:lnTo>
                <a:lnTo>
                  <a:pt x="708" y="444"/>
                </a:lnTo>
                <a:lnTo>
                  <a:pt x="708" y="438"/>
                </a:lnTo>
                <a:lnTo>
                  <a:pt x="708" y="438"/>
                </a:lnTo>
                <a:lnTo>
                  <a:pt x="702" y="438"/>
                </a:lnTo>
                <a:lnTo>
                  <a:pt x="702" y="438"/>
                </a:lnTo>
                <a:lnTo>
                  <a:pt x="696" y="432"/>
                </a:lnTo>
                <a:lnTo>
                  <a:pt x="690" y="426"/>
                </a:lnTo>
                <a:lnTo>
                  <a:pt x="684" y="420"/>
                </a:lnTo>
                <a:lnTo>
                  <a:pt x="684" y="420"/>
                </a:lnTo>
                <a:lnTo>
                  <a:pt x="684" y="420"/>
                </a:lnTo>
                <a:lnTo>
                  <a:pt x="690" y="420"/>
                </a:lnTo>
                <a:lnTo>
                  <a:pt x="690" y="420"/>
                </a:lnTo>
                <a:lnTo>
                  <a:pt x="696" y="420"/>
                </a:lnTo>
                <a:lnTo>
                  <a:pt x="696" y="420"/>
                </a:lnTo>
                <a:lnTo>
                  <a:pt x="696" y="414"/>
                </a:lnTo>
                <a:lnTo>
                  <a:pt x="690" y="414"/>
                </a:lnTo>
                <a:lnTo>
                  <a:pt x="684" y="408"/>
                </a:lnTo>
                <a:lnTo>
                  <a:pt x="684" y="402"/>
                </a:lnTo>
                <a:lnTo>
                  <a:pt x="684" y="402"/>
                </a:lnTo>
                <a:lnTo>
                  <a:pt x="684" y="396"/>
                </a:lnTo>
                <a:lnTo>
                  <a:pt x="684" y="396"/>
                </a:lnTo>
                <a:lnTo>
                  <a:pt x="678" y="396"/>
                </a:lnTo>
                <a:lnTo>
                  <a:pt x="678" y="390"/>
                </a:lnTo>
                <a:lnTo>
                  <a:pt x="672" y="390"/>
                </a:lnTo>
                <a:lnTo>
                  <a:pt x="672" y="384"/>
                </a:lnTo>
                <a:lnTo>
                  <a:pt x="672" y="384"/>
                </a:lnTo>
                <a:lnTo>
                  <a:pt x="672" y="384"/>
                </a:lnTo>
                <a:lnTo>
                  <a:pt x="672" y="384"/>
                </a:lnTo>
                <a:lnTo>
                  <a:pt x="672" y="378"/>
                </a:lnTo>
                <a:lnTo>
                  <a:pt x="672" y="378"/>
                </a:lnTo>
                <a:lnTo>
                  <a:pt x="672" y="372"/>
                </a:lnTo>
                <a:lnTo>
                  <a:pt x="672" y="366"/>
                </a:lnTo>
                <a:lnTo>
                  <a:pt x="672" y="366"/>
                </a:lnTo>
                <a:lnTo>
                  <a:pt x="672" y="366"/>
                </a:lnTo>
                <a:lnTo>
                  <a:pt x="672" y="366"/>
                </a:lnTo>
                <a:lnTo>
                  <a:pt x="660" y="366"/>
                </a:lnTo>
                <a:lnTo>
                  <a:pt x="660" y="366"/>
                </a:lnTo>
                <a:lnTo>
                  <a:pt x="660" y="360"/>
                </a:lnTo>
                <a:lnTo>
                  <a:pt x="660" y="360"/>
                </a:lnTo>
                <a:lnTo>
                  <a:pt x="660" y="354"/>
                </a:lnTo>
                <a:lnTo>
                  <a:pt x="660" y="348"/>
                </a:lnTo>
                <a:lnTo>
                  <a:pt x="660" y="348"/>
                </a:lnTo>
                <a:lnTo>
                  <a:pt x="660" y="348"/>
                </a:lnTo>
                <a:lnTo>
                  <a:pt x="654" y="342"/>
                </a:lnTo>
                <a:lnTo>
                  <a:pt x="648" y="336"/>
                </a:lnTo>
                <a:lnTo>
                  <a:pt x="648" y="330"/>
                </a:lnTo>
                <a:lnTo>
                  <a:pt x="642" y="324"/>
                </a:lnTo>
                <a:lnTo>
                  <a:pt x="642" y="318"/>
                </a:lnTo>
                <a:lnTo>
                  <a:pt x="636" y="312"/>
                </a:lnTo>
                <a:lnTo>
                  <a:pt x="636" y="312"/>
                </a:lnTo>
                <a:lnTo>
                  <a:pt x="636" y="312"/>
                </a:lnTo>
                <a:lnTo>
                  <a:pt x="636" y="312"/>
                </a:lnTo>
                <a:lnTo>
                  <a:pt x="630" y="306"/>
                </a:lnTo>
                <a:lnTo>
                  <a:pt x="630" y="312"/>
                </a:lnTo>
                <a:lnTo>
                  <a:pt x="630" y="312"/>
                </a:lnTo>
                <a:lnTo>
                  <a:pt x="630" y="312"/>
                </a:lnTo>
                <a:lnTo>
                  <a:pt x="630" y="318"/>
                </a:lnTo>
                <a:lnTo>
                  <a:pt x="630" y="318"/>
                </a:lnTo>
                <a:lnTo>
                  <a:pt x="630" y="324"/>
                </a:lnTo>
                <a:lnTo>
                  <a:pt x="630" y="324"/>
                </a:lnTo>
                <a:lnTo>
                  <a:pt x="624" y="324"/>
                </a:lnTo>
                <a:lnTo>
                  <a:pt x="624" y="324"/>
                </a:lnTo>
                <a:lnTo>
                  <a:pt x="624" y="324"/>
                </a:lnTo>
                <a:lnTo>
                  <a:pt x="624" y="318"/>
                </a:lnTo>
                <a:lnTo>
                  <a:pt x="624" y="312"/>
                </a:lnTo>
                <a:lnTo>
                  <a:pt x="618" y="312"/>
                </a:lnTo>
                <a:lnTo>
                  <a:pt x="618" y="312"/>
                </a:lnTo>
                <a:lnTo>
                  <a:pt x="618" y="312"/>
                </a:lnTo>
                <a:lnTo>
                  <a:pt x="618" y="318"/>
                </a:lnTo>
                <a:lnTo>
                  <a:pt x="618" y="318"/>
                </a:lnTo>
                <a:lnTo>
                  <a:pt x="612" y="318"/>
                </a:lnTo>
                <a:lnTo>
                  <a:pt x="612" y="318"/>
                </a:lnTo>
                <a:lnTo>
                  <a:pt x="612" y="318"/>
                </a:lnTo>
                <a:lnTo>
                  <a:pt x="612" y="318"/>
                </a:lnTo>
                <a:lnTo>
                  <a:pt x="612" y="318"/>
                </a:lnTo>
                <a:lnTo>
                  <a:pt x="612" y="318"/>
                </a:lnTo>
                <a:lnTo>
                  <a:pt x="606" y="318"/>
                </a:lnTo>
                <a:lnTo>
                  <a:pt x="606" y="318"/>
                </a:lnTo>
                <a:lnTo>
                  <a:pt x="600" y="318"/>
                </a:lnTo>
                <a:lnTo>
                  <a:pt x="600" y="318"/>
                </a:lnTo>
                <a:lnTo>
                  <a:pt x="600" y="324"/>
                </a:lnTo>
                <a:lnTo>
                  <a:pt x="600" y="324"/>
                </a:lnTo>
                <a:lnTo>
                  <a:pt x="594" y="324"/>
                </a:lnTo>
                <a:lnTo>
                  <a:pt x="594" y="324"/>
                </a:lnTo>
                <a:lnTo>
                  <a:pt x="594" y="318"/>
                </a:lnTo>
                <a:lnTo>
                  <a:pt x="594" y="318"/>
                </a:lnTo>
                <a:lnTo>
                  <a:pt x="600" y="318"/>
                </a:lnTo>
                <a:lnTo>
                  <a:pt x="600" y="318"/>
                </a:lnTo>
                <a:lnTo>
                  <a:pt x="600" y="318"/>
                </a:lnTo>
                <a:lnTo>
                  <a:pt x="594" y="312"/>
                </a:lnTo>
                <a:lnTo>
                  <a:pt x="588" y="312"/>
                </a:lnTo>
                <a:lnTo>
                  <a:pt x="588" y="318"/>
                </a:lnTo>
                <a:lnTo>
                  <a:pt x="588" y="318"/>
                </a:lnTo>
                <a:lnTo>
                  <a:pt x="594" y="318"/>
                </a:lnTo>
                <a:lnTo>
                  <a:pt x="594" y="318"/>
                </a:lnTo>
                <a:lnTo>
                  <a:pt x="594" y="318"/>
                </a:lnTo>
                <a:lnTo>
                  <a:pt x="594" y="324"/>
                </a:lnTo>
                <a:lnTo>
                  <a:pt x="594" y="324"/>
                </a:lnTo>
                <a:lnTo>
                  <a:pt x="588" y="324"/>
                </a:lnTo>
                <a:lnTo>
                  <a:pt x="588" y="318"/>
                </a:lnTo>
                <a:lnTo>
                  <a:pt x="588" y="318"/>
                </a:lnTo>
                <a:lnTo>
                  <a:pt x="582" y="318"/>
                </a:lnTo>
                <a:lnTo>
                  <a:pt x="582" y="318"/>
                </a:lnTo>
                <a:lnTo>
                  <a:pt x="582" y="324"/>
                </a:lnTo>
                <a:lnTo>
                  <a:pt x="582" y="324"/>
                </a:lnTo>
                <a:lnTo>
                  <a:pt x="576" y="324"/>
                </a:lnTo>
                <a:lnTo>
                  <a:pt x="576" y="324"/>
                </a:lnTo>
                <a:lnTo>
                  <a:pt x="576" y="318"/>
                </a:lnTo>
                <a:lnTo>
                  <a:pt x="582" y="312"/>
                </a:lnTo>
                <a:lnTo>
                  <a:pt x="582" y="312"/>
                </a:lnTo>
                <a:lnTo>
                  <a:pt x="576" y="312"/>
                </a:lnTo>
                <a:lnTo>
                  <a:pt x="576" y="312"/>
                </a:lnTo>
                <a:lnTo>
                  <a:pt x="576" y="312"/>
                </a:lnTo>
                <a:lnTo>
                  <a:pt x="582" y="306"/>
                </a:lnTo>
                <a:lnTo>
                  <a:pt x="582" y="306"/>
                </a:lnTo>
                <a:lnTo>
                  <a:pt x="582" y="306"/>
                </a:lnTo>
                <a:lnTo>
                  <a:pt x="576" y="306"/>
                </a:lnTo>
                <a:lnTo>
                  <a:pt x="576" y="306"/>
                </a:lnTo>
                <a:lnTo>
                  <a:pt x="576" y="306"/>
                </a:lnTo>
                <a:lnTo>
                  <a:pt x="570" y="306"/>
                </a:lnTo>
                <a:lnTo>
                  <a:pt x="570" y="306"/>
                </a:lnTo>
                <a:lnTo>
                  <a:pt x="570" y="306"/>
                </a:lnTo>
                <a:lnTo>
                  <a:pt x="570" y="306"/>
                </a:lnTo>
                <a:lnTo>
                  <a:pt x="564" y="306"/>
                </a:lnTo>
                <a:lnTo>
                  <a:pt x="558" y="306"/>
                </a:lnTo>
                <a:lnTo>
                  <a:pt x="552" y="306"/>
                </a:lnTo>
                <a:lnTo>
                  <a:pt x="552" y="306"/>
                </a:lnTo>
                <a:lnTo>
                  <a:pt x="552" y="306"/>
                </a:lnTo>
                <a:lnTo>
                  <a:pt x="552" y="306"/>
                </a:lnTo>
                <a:lnTo>
                  <a:pt x="546" y="306"/>
                </a:lnTo>
                <a:lnTo>
                  <a:pt x="546" y="306"/>
                </a:lnTo>
                <a:lnTo>
                  <a:pt x="546" y="306"/>
                </a:lnTo>
                <a:lnTo>
                  <a:pt x="546" y="312"/>
                </a:lnTo>
                <a:lnTo>
                  <a:pt x="546" y="312"/>
                </a:lnTo>
                <a:lnTo>
                  <a:pt x="540" y="312"/>
                </a:lnTo>
                <a:lnTo>
                  <a:pt x="540" y="312"/>
                </a:lnTo>
                <a:lnTo>
                  <a:pt x="540" y="306"/>
                </a:lnTo>
                <a:lnTo>
                  <a:pt x="540" y="306"/>
                </a:lnTo>
                <a:lnTo>
                  <a:pt x="534" y="306"/>
                </a:lnTo>
                <a:lnTo>
                  <a:pt x="534" y="306"/>
                </a:lnTo>
                <a:lnTo>
                  <a:pt x="534" y="294"/>
                </a:lnTo>
                <a:lnTo>
                  <a:pt x="534" y="294"/>
                </a:lnTo>
                <a:lnTo>
                  <a:pt x="528" y="294"/>
                </a:lnTo>
                <a:lnTo>
                  <a:pt x="528" y="288"/>
                </a:lnTo>
                <a:lnTo>
                  <a:pt x="528" y="288"/>
                </a:lnTo>
                <a:lnTo>
                  <a:pt x="528" y="288"/>
                </a:lnTo>
                <a:lnTo>
                  <a:pt x="522" y="288"/>
                </a:lnTo>
                <a:lnTo>
                  <a:pt x="522" y="282"/>
                </a:lnTo>
                <a:lnTo>
                  <a:pt x="522" y="282"/>
                </a:lnTo>
                <a:lnTo>
                  <a:pt x="516" y="282"/>
                </a:lnTo>
                <a:lnTo>
                  <a:pt x="516" y="282"/>
                </a:lnTo>
                <a:lnTo>
                  <a:pt x="516" y="282"/>
                </a:lnTo>
                <a:lnTo>
                  <a:pt x="510" y="282"/>
                </a:lnTo>
                <a:lnTo>
                  <a:pt x="510" y="282"/>
                </a:lnTo>
                <a:lnTo>
                  <a:pt x="510" y="282"/>
                </a:lnTo>
                <a:lnTo>
                  <a:pt x="510" y="282"/>
                </a:lnTo>
                <a:lnTo>
                  <a:pt x="510" y="282"/>
                </a:lnTo>
                <a:lnTo>
                  <a:pt x="510" y="282"/>
                </a:lnTo>
                <a:lnTo>
                  <a:pt x="504" y="282"/>
                </a:lnTo>
                <a:lnTo>
                  <a:pt x="504" y="276"/>
                </a:lnTo>
                <a:lnTo>
                  <a:pt x="504" y="276"/>
                </a:lnTo>
                <a:lnTo>
                  <a:pt x="510" y="276"/>
                </a:lnTo>
                <a:lnTo>
                  <a:pt x="504" y="270"/>
                </a:lnTo>
                <a:lnTo>
                  <a:pt x="504" y="270"/>
                </a:lnTo>
                <a:lnTo>
                  <a:pt x="498" y="276"/>
                </a:lnTo>
                <a:lnTo>
                  <a:pt x="498" y="276"/>
                </a:lnTo>
                <a:lnTo>
                  <a:pt x="492" y="276"/>
                </a:lnTo>
                <a:lnTo>
                  <a:pt x="492" y="276"/>
                </a:lnTo>
                <a:lnTo>
                  <a:pt x="492" y="276"/>
                </a:lnTo>
                <a:lnTo>
                  <a:pt x="492" y="276"/>
                </a:lnTo>
                <a:lnTo>
                  <a:pt x="486" y="276"/>
                </a:lnTo>
                <a:lnTo>
                  <a:pt x="486" y="276"/>
                </a:lnTo>
                <a:lnTo>
                  <a:pt x="486" y="282"/>
                </a:lnTo>
                <a:lnTo>
                  <a:pt x="486" y="282"/>
                </a:lnTo>
                <a:lnTo>
                  <a:pt x="486" y="282"/>
                </a:lnTo>
                <a:lnTo>
                  <a:pt x="480" y="282"/>
                </a:lnTo>
                <a:lnTo>
                  <a:pt x="480" y="282"/>
                </a:lnTo>
                <a:lnTo>
                  <a:pt x="486" y="282"/>
                </a:lnTo>
                <a:lnTo>
                  <a:pt x="486" y="276"/>
                </a:lnTo>
                <a:lnTo>
                  <a:pt x="480" y="276"/>
                </a:lnTo>
                <a:lnTo>
                  <a:pt x="474" y="270"/>
                </a:lnTo>
                <a:lnTo>
                  <a:pt x="474" y="270"/>
                </a:lnTo>
                <a:lnTo>
                  <a:pt x="474" y="264"/>
                </a:lnTo>
                <a:lnTo>
                  <a:pt x="474" y="264"/>
                </a:lnTo>
                <a:lnTo>
                  <a:pt x="474" y="264"/>
                </a:lnTo>
                <a:lnTo>
                  <a:pt x="468" y="264"/>
                </a:lnTo>
                <a:lnTo>
                  <a:pt x="468" y="264"/>
                </a:lnTo>
                <a:lnTo>
                  <a:pt x="462" y="270"/>
                </a:lnTo>
                <a:lnTo>
                  <a:pt x="456" y="270"/>
                </a:lnTo>
                <a:lnTo>
                  <a:pt x="456" y="276"/>
                </a:lnTo>
                <a:lnTo>
                  <a:pt x="456" y="282"/>
                </a:lnTo>
                <a:lnTo>
                  <a:pt x="456" y="282"/>
                </a:lnTo>
                <a:lnTo>
                  <a:pt x="456" y="282"/>
                </a:lnTo>
                <a:lnTo>
                  <a:pt x="456" y="288"/>
                </a:lnTo>
                <a:lnTo>
                  <a:pt x="450" y="288"/>
                </a:lnTo>
                <a:lnTo>
                  <a:pt x="450" y="288"/>
                </a:lnTo>
                <a:lnTo>
                  <a:pt x="450" y="294"/>
                </a:lnTo>
                <a:lnTo>
                  <a:pt x="444" y="294"/>
                </a:lnTo>
                <a:lnTo>
                  <a:pt x="444" y="294"/>
                </a:lnTo>
                <a:lnTo>
                  <a:pt x="438" y="294"/>
                </a:lnTo>
                <a:lnTo>
                  <a:pt x="432" y="294"/>
                </a:lnTo>
                <a:lnTo>
                  <a:pt x="432" y="294"/>
                </a:lnTo>
                <a:lnTo>
                  <a:pt x="426" y="294"/>
                </a:lnTo>
                <a:lnTo>
                  <a:pt x="426" y="294"/>
                </a:lnTo>
                <a:lnTo>
                  <a:pt x="426" y="300"/>
                </a:lnTo>
                <a:lnTo>
                  <a:pt x="426" y="300"/>
                </a:lnTo>
                <a:lnTo>
                  <a:pt x="420" y="300"/>
                </a:lnTo>
                <a:lnTo>
                  <a:pt x="420" y="300"/>
                </a:lnTo>
                <a:lnTo>
                  <a:pt x="408" y="300"/>
                </a:lnTo>
                <a:lnTo>
                  <a:pt x="408" y="300"/>
                </a:lnTo>
                <a:lnTo>
                  <a:pt x="402" y="306"/>
                </a:lnTo>
                <a:lnTo>
                  <a:pt x="402" y="306"/>
                </a:lnTo>
                <a:lnTo>
                  <a:pt x="396" y="306"/>
                </a:lnTo>
                <a:lnTo>
                  <a:pt x="390" y="306"/>
                </a:lnTo>
                <a:lnTo>
                  <a:pt x="384" y="306"/>
                </a:lnTo>
                <a:lnTo>
                  <a:pt x="384" y="306"/>
                </a:lnTo>
                <a:lnTo>
                  <a:pt x="384" y="306"/>
                </a:lnTo>
                <a:lnTo>
                  <a:pt x="384" y="306"/>
                </a:lnTo>
                <a:lnTo>
                  <a:pt x="378" y="306"/>
                </a:lnTo>
                <a:lnTo>
                  <a:pt x="372" y="306"/>
                </a:lnTo>
                <a:lnTo>
                  <a:pt x="372" y="306"/>
                </a:lnTo>
                <a:lnTo>
                  <a:pt x="372" y="306"/>
                </a:lnTo>
                <a:lnTo>
                  <a:pt x="372" y="300"/>
                </a:lnTo>
                <a:lnTo>
                  <a:pt x="372" y="300"/>
                </a:lnTo>
                <a:lnTo>
                  <a:pt x="366" y="300"/>
                </a:lnTo>
                <a:lnTo>
                  <a:pt x="360" y="300"/>
                </a:lnTo>
                <a:lnTo>
                  <a:pt x="360" y="294"/>
                </a:lnTo>
                <a:lnTo>
                  <a:pt x="360" y="294"/>
                </a:lnTo>
                <a:lnTo>
                  <a:pt x="360" y="294"/>
                </a:lnTo>
                <a:lnTo>
                  <a:pt x="354" y="300"/>
                </a:lnTo>
                <a:lnTo>
                  <a:pt x="354" y="300"/>
                </a:lnTo>
                <a:lnTo>
                  <a:pt x="354" y="300"/>
                </a:lnTo>
                <a:lnTo>
                  <a:pt x="354" y="306"/>
                </a:lnTo>
                <a:lnTo>
                  <a:pt x="354" y="306"/>
                </a:lnTo>
                <a:lnTo>
                  <a:pt x="354" y="306"/>
                </a:lnTo>
                <a:lnTo>
                  <a:pt x="348" y="306"/>
                </a:lnTo>
                <a:lnTo>
                  <a:pt x="348" y="312"/>
                </a:lnTo>
                <a:lnTo>
                  <a:pt x="342" y="312"/>
                </a:lnTo>
                <a:lnTo>
                  <a:pt x="342" y="312"/>
                </a:lnTo>
                <a:lnTo>
                  <a:pt x="342" y="312"/>
                </a:lnTo>
                <a:lnTo>
                  <a:pt x="336" y="312"/>
                </a:lnTo>
                <a:lnTo>
                  <a:pt x="336" y="318"/>
                </a:lnTo>
                <a:lnTo>
                  <a:pt x="336" y="318"/>
                </a:lnTo>
                <a:lnTo>
                  <a:pt x="336" y="318"/>
                </a:lnTo>
                <a:lnTo>
                  <a:pt x="330" y="318"/>
                </a:lnTo>
                <a:lnTo>
                  <a:pt x="324" y="318"/>
                </a:lnTo>
                <a:lnTo>
                  <a:pt x="324" y="324"/>
                </a:lnTo>
                <a:lnTo>
                  <a:pt x="324" y="324"/>
                </a:lnTo>
                <a:lnTo>
                  <a:pt x="324" y="324"/>
                </a:lnTo>
                <a:lnTo>
                  <a:pt x="324" y="330"/>
                </a:lnTo>
                <a:lnTo>
                  <a:pt x="324" y="330"/>
                </a:lnTo>
                <a:lnTo>
                  <a:pt x="324" y="336"/>
                </a:lnTo>
                <a:lnTo>
                  <a:pt x="324" y="336"/>
                </a:lnTo>
                <a:lnTo>
                  <a:pt x="318" y="336"/>
                </a:lnTo>
                <a:lnTo>
                  <a:pt x="318" y="336"/>
                </a:lnTo>
                <a:lnTo>
                  <a:pt x="318" y="336"/>
                </a:lnTo>
                <a:lnTo>
                  <a:pt x="318" y="336"/>
                </a:lnTo>
                <a:lnTo>
                  <a:pt x="318" y="336"/>
                </a:lnTo>
                <a:lnTo>
                  <a:pt x="312" y="342"/>
                </a:lnTo>
                <a:lnTo>
                  <a:pt x="312" y="348"/>
                </a:lnTo>
                <a:lnTo>
                  <a:pt x="312" y="348"/>
                </a:lnTo>
                <a:lnTo>
                  <a:pt x="312" y="348"/>
                </a:lnTo>
                <a:lnTo>
                  <a:pt x="306" y="348"/>
                </a:lnTo>
                <a:lnTo>
                  <a:pt x="306" y="348"/>
                </a:lnTo>
                <a:lnTo>
                  <a:pt x="300" y="354"/>
                </a:lnTo>
                <a:lnTo>
                  <a:pt x="300" y="354"/>
                </a:lnTo>
                <a:lnTo>
                  <a:pt x="300" y="360"/>
                </a:lnTo>
                <a:lnTo>
                  <a:pt x="300" y="360"/>
                </a:lnTo>
                <a:lnTo>
                  <a:pt x="300" y="360"/>
                </a:lnTo>
                <a:lnTo>
                  <a:pt x="300" y="360"/>
                </a:lnTo>
                <a:lnTo>
                  <a:pt x="300" y="366"/>
                </a:lnTo>
                <a:lnTo>
                  <a:pt x="300" y="366"/>
                </a:lnTo>
                <a:lnTo>
                  <a:pt x="294" y="366"/>
                </a:lnTo>
                <a:lnTo>
                  <a:pt x="294" y="366"/>
                </a:lnTo>
                <a:lnTo>
                  <a:pt x="288" y="366"/>
                </a:lnTo>
                <a:lnTo>
                  <a:pt x="288" y="366"/>
                </a:lnTo>
                <a:lnTo>
                  <a:pt x="288" y="366"/>
                </a:lnTo>
                <a:lnTo>
                  <a:pt x="288" y="366"/>
                </a:lnTo>
                <a:lnTo>
                  <a:pt x="282" y="366"/>
                </a:lnTo>
                <a:lnTo>
                  <a:pt x="282" y="360"/>
                </a:lnTo>
                <a:lnTo>
                  <a:pt x="276" y="360"/>
                </a:lnTo>
                <a:lnTo>
                  <a:pt x="276" y="360"/>
                </a:lnTo>
                <a:lnTo>
                  <a:pt x="276" y="360"/>
                </a:lnTo>
                <a:lnTo>
                  <a:pt x="276" y="360"/>
                </a:lnTo>
                <a:lnTo>
                  <a:pt x="270" y="360"/>
                </a:lnTo>
                <a:lnTo>
                  <a:pt x="270" y="360"/>
                </a:lnTo>
                <a:lnTo>
                  <a:pt x="270" y="360"/>
                </a:lnTo>
                <a:lnTo>
                  <a:pt x="264" y="360"/>
                </a:lnTo>
                <a:lnTo>
                  <a:pt x="264" y="360"/>
                </a:lnTo>
                <a:lnTo>
                  <a:pt x="264" y="354"/>
                </a:lnTo>
                <a:lnTo>
                  <a:pt x="258" y="354"/>
                </a:lnTo>
                <a:lnTo>
                  <a:pt x="258" y="348"/>
                </a:lnTo>
                <a:lnTo>
                  <a:pt x="258" y="348"/>
                </a:lnTo>
                <a:lnTo>
                  <a:pt x="258" y="342"/>
                </a:lnTo>
                <a:lnTo>
                  <a:pt x="258" y="342"/>
                </a:lnTo>
                <a:lnTo>
                  <a:pt x="258" y="348"/>
                </a:lnTo>
                <a:lnTo>
                  <a:pt x="252" y="342"/>
                </a:lnTo>
                <a:lnTo>
                  <a:pt x="252" y="342"/>
                </a:lnTo>
                <a:lnTo>
                  <a:pt x="246" y="342"/>
                </a:lnTo>
                <a:lnTo>
                  <a:pt x="246" y="342"/>
                </a:lnTo>
                <a:lnTo>
                  <a:pt x="246" y="342"/>
                </a:lnTo>
                <a:lnTo>
                  <a:pt x="246" y="348"/>
                </a:lnTo>
                <a:lnTo>
                  <a:pt x="240" y="348"/>
                </a:lnTo>
                <a:lnTo>
                  <a:pt x="240" y="348"/>
                </a:lnTo>
                <a:lnTo>
                  <a:pt x="234" y="342"/>
                </a:lnTo>
                <a:lnTo>
                  <a:pt x="234" y="342"/>
                </a:lnTo>
                <a:lnTo>
                  <a:pt x="234" y="342"/>
                </a:lnTo>
                <a:lnTo>
                  <a:pt x="228" y="342"/>
                </a:lnTo>
                <a:lnTo>
                  <a:pt x="228" y="342"/>
                </a:lnTo>
                <a:lnTo>
                  <a:pt x="222" y="342"/>
                </a:lnTo>
                <a:lnTo>
                  <a:pt x="222" y="348"/>
                </a:lnTo>
                <a:lnTo>
                  <a:pt x="222" y="348"/>
                </a:lnTo>
                <a:lnTo>
                  <a:pt x="222" y="348"/>
                </a:lnTo>
                <a:lnTo>
                  <a:pt x="222" y="354"/>
                </a:lnTo>
                <a:lnTo>
                  <a:pt x="216" y="354"/>
                </a:lnTo>
                <a:lnTo>
                  <a:pt x="216" y="354"/>
                </a:lnTo>
                <a:lnTo>
                  <a:pt x="210" y="354"/>
                </a:lnTo>
                <a:lnTo>
                  <a:pt x="210" y="354"/>
                </a:lnTo>
                <a:lnTo>
                  <a:pt x="210" y="354"/>
                </a:lnTo>
                <a:lnTo>
                  <a:pt x="204" y="348"/>
                </a:lnTo>
                <a:lnTo>
                  <a:pt x="204" y="348"/>
                </a:lnTo>
                <a:lnTo>
                  <a:pt x="204" y="348"/>
                </a:lnTo>
                <a:lnTo>
                  <a:pt x="204" y="348"/>
                </a:lnTo>
                <a:lnTo>
                  <a:pt x="204" y="348"/>
                </a:lnTo>
                <a:lnTo>
                  <a:pt x="198" y="348"/>
                </a:lnTo>
                <a:lnTo>
                  <a:pt x="198" y="348"/>
                </a:lnTo>
                <a:lnTo>
                  <a:pt x="198" y="348"/>
                </a:lnTo>
                <a:lnTo>
                  <a:pt x="198" y="354"/>
                </a:lnTo>
                <a:lnTo>
                  <a:pt x="192" y="360"/>
                </a:lnTo>
                <a:lnTo>
                  <a:pt x="192" y="360"/>
                </a:lnTo>
                <a:lnTo>
                  <a:pt x="192" y="360"/>
                </a:lnTo>
                <a:lnTo>
                  <a:pt x="186" y="354"/>
                </a:lnTo>
                <a:lnTo>
                  <a:pt x="186" y="360"/>
                </a:lnTo>
                <a:lnTo>
                  <a:pt x="180" y="366"/>
                </a:lnTo>
                <a:lnTo>
                  <a:pt x="180" y="366"/>
                </a:lnTo>
                <a:lnTo>
                  <a:pt x="174" y="366"/>
                </a:lnTo>
                <a:lnTo>
                  <a:pt x="174" y="366"/>
                </a:lnTo>
                <a:lnTo>
                  <a:pt x="174" y="372"/>
                </a:lnTo>
                <a:lnTo>
                  <a:pt x="168" y="372"/>
                </a:lnTo>
                <a:lnTo>
                  <a:pt x="168" y="372"/>
                </a:lnTo>
                <a:lnTo>
                  <a:pt x="168" y="372"/>
                </a:lnTo>
                <a:lnTo>
                  <a:pt x="162" y="372"/>
                </a:lnTo>
                <a:lnTo>
                  <a:pt x="162" y="372"/>
                </a:lnTo>
                <a:lnTo>
                  <a:pt x="162" y="372"/>
                </a:lnTo>
                <a:lnTo>
                  <a:pt x="156" y="378"/>
                </a:lnTo>
                <a:lnTo>
                  <a:pt x="156" y="378"/>
                </a:lnTo>
                <a:lnTo>
                  <a:pt x="156" y="378"/>
                </a:lnTo>
                <a:lnTo>
                  <a:pt x="156" y="378"/>
                </a:lnTo>
                <a:lnTo>
                  <a:pt x="150" y="378"/>
                </a:lnTo>
                <a:lnTo>
                  <a:pt x="150" y="378"/>
                </a:lnTo>
                <a:lnTo>
                  <a:pt x="144" y="378"/>
                </a:lnTo>
                <a:lnTo>
                  <a:pt x="144" y="378"/>
                </a:lnTo>
                <a:lnTo>
                  <a:pt x="144" y="378"/>
                </a:lnTo>
                <a:lnTo>
                  <a:pt x="138" y="378"/>
                </a:lnTo>
                <a:lnTo>
                  <a:pt x="138" y="372"/>
                </a:lnTo>
                <a:lnTo>
                  <a:pt x="138" y="372"/>
                </a:lnTo>
                <a:lnTo>
                  <a:pt x="138" y="372"/>
                </a:lnTo>
                <a:lnTo>
                  <a:pt x="132" y="378"/>
                </a:lnTo>
                <a:lnTo>
                  <a:pt x="132" y="378"/>
                </a:lnTo>
                <a:lnTo>
                  <a:pt x="132" y="378"/>
                </a:lnTo>
                <a:lnTo>
                  <a:pt x="132" y="384"/>
                </a:lnTo>
                <a:lnTo>
                  <a:pt x="126" y="384"/>
                </a:lnTo>
                <a:lnTo>
                  <a:pt x="126" y="378"/>
                </a:lnTo>
                <a:lnTo>
                  <a:pt x="126" y="378"/>
                </a:lnTo>
                <a:lnTo>
                  <a:pt x="126" y="372"/>
                </a:lnTo>
                <a:lnTo>
                  <a:pt x="120" y="372"/>
                </a:lnTo>
                <a:lnTo>
                  <a:pt x="120" y="372"/>
                </a:lnTo>
                <a:lnTo>
                  <a:pt x="120" y="366"/>
                </a:lnTo>
                <a:lnTo>
                  <a:pt x="120" y="366"/>
                </a:lnTo>
                <a:lnTo>
                  <a:pt x="114" y="366"/>
                </a:lnTo>
                <a:lnTo>
                  <a:pt x="114" y="366"/>
                </a:lnTo>
                <a:lnTo>
                  <a:pt x="114" y="366"/>
                </a:lnTo>
                <a:lnTo>
                  <a:pt x="114" y="360"/>
                </a:lnTo>
                <a:lnTo>
                  <a:pt x="114" y="354"/>
                </a:lnTo>
                <a:lnTo>
                  <a:pt x="108" y="354"/>
                </a:lnTo>
                <a:lnTo>
                  <a:pt x="108" y="348"/>
                </a:lnTo>
                <a:lnTo>
                  <a:pt x="108" y="348"/>
                </a:lnTo>
                <a:lnTo>
                  <a:pt x="108" y="348"/>
                </a:lnTo>
                <a:lnTo>
                  <a:pt x="102" y="348"/>
                </a:lnTo>
                <a:lnTo>
                  <a:pt x="96" y="354"/>
                </a:lnTo>
                <a:lnTo>
                  <a:pt x="96" y="348"/>
                </a:lnTo>
                <a:lnTo>
                  <a:pt x="96" y="348"/>
                </a:lnTo>
                <a:lnTo>
                  <a:pt x="90" y="342"/>
                </a:lnTo>
                <a:lnTo>
                  <a:pt x="90" y="342"/>
                </a:lnTo>
                <a:lnTo>
                  <a:pt x="84" y="342"/>
                </a:lnTo>
                <a:lnTo>
                  <a:pt x="84" y="342"/>
                </a:lnTo>
                <a:lnTo>
                  <a:pt x="78" y="342"/>
                </a:lnTo>
                <a:lnTo>
                  <a:pt x="78" y="342"/>
                </a:lnTo>
                <a:lnTo>
                  <a:pt x="78" y="336"/>
                </a:lnTo>
                <a:lnTo>
                  <a:pt x="78" y="336"/>
                </a:lnTo>
                <a:lnTo>
                  <a:pt x="78" y="336"/>
                </a:lnTo>
                <a:lnTo>
                  <a:pt x="78" y="336"/>
                </a:lnTo>
                <a:lnTo>
                  <a:pt x="78" y="336"/>
                </a:lnTo>
                <a:lnTo>
                  <a:pt x="72" y="330"/>
                </a:lnTo>
                <a:lnTo>
                  <a:pt x="72" y="330"/>
                </a:lnTo>
                <a:lnTo>
                  <a:pt x="60" y="330"/>
                </a:lnTo>
                <a:lnTo>
                  <a:pt x="54" y="330"/>
                </a:lnTo>
                <a:lnTo>
                  <a:pt x="72" y="258"/>
                </a:lnTo>
                <a:lnTo>
                  <a:pt x="78" y="210"/>
                </a:lnTo>
                <a:lnTo>
                  <a:pt x="78" y="204"/>
                </a:lnTo>
                <a:lnTo>
                  <a:pt x="78" y="204"/>
                </a:lnTo>
                <a:lnTo>
                  <a:pt x="78" y="204"/>
                </a:lnTo>
                <a:lnTo>
                  <a:pt x="78" y="204"/>
                </a:lnTo>
                <a:lnTo>
                  <a:pt x="78" y="198"/>
                </a:lnTo>
                <a:lnTo>
                  <a:pt x="78" y="192"/>
                </a:lnTo>
                <a:lnTo>
                  <a:pt x="78" y="192"/>
                </a:lnTo>
                <a:lnTo>
                  <a:pt x="84" y="192"/>
                </a:lnTo>
                <a:lnTo>
                  <a:pt x="84" y="192"/>
                </a:lnTo>
                <a:lnTo>
                  <a:pt x="84" y="186"/>
                </a:lnTo>
                <a:lnTo>
                  <a:pt x="84" y="186"/>
                </a:lnTo>
                <a:lnTo>
                  <a:pt x="84" y="180"/>
                </a:lnTo>
                <a:lnTo>
                  <a:pt x="84" y="180"/>
                </a:lnTo>
                <a:lnTo>
                  <a:pt x="84" y="174"/>
                </a:lnTo>
                <a:lnTo>
                  <a:pt x="78" y="174"/>
                </a:lnTo>
                <a:lnTo>
                  <a:pt x="84" y="168"/>
                </a:lnTo>
                <a:lnTo>
                  <a:pt x="84" y="168"/>
                </a:lnTo>
                <a:lnTo>
                  <a:pt x="84" y="162"/>
                </a:lnTo>
                <a:lnTo>
                  <a:pt x="84" y="162"/>
                </a:lnTo>
                <a:lnTo>
                  <a:pt x="84" y="162"/>
                </a:lnTo>
                <a:lnTo>
                  <a:pt x="84" y="156"/>
                </a:lnTo>
                <a:lnTo>
                  <a:pt x="84" y="150"/>
                </a:lnTo>
                <a:lnTo>
                  <a:pt x="84" y="150"/>
                </a:lnTo>
                <a:lnTo>
                  <a:pt x="84" y="150"/>
                </a:lnTo>
                <a:lnTo>
                  <a:pt x="78" y="144"/>
                </a:lnTo>
                <a:lnTo>
                  <a:pt x="78" y="144"/>
                </a:lnTo>
                <a:lnTo>
                  <a:pt x="78" y="144"/>
                </a:lnTo>
                <a:lnTo>
                  <a:pt x="78" y="144"/>
                </a:lnTo>
                <a:lnTo>
                  <a:pt x="84" y="144"/>
                </a:lnTo>
                <a:lnTo>
                  <a:pt x="84" y="144"/>
                </a:lnTo>
                <a:lnTo>
                  <a:pt x="84" y="144"/>
                </a:lnTo>
                <a:lnTo>
                  <a:pt x="78" y="144"/>
                </a:lnTo>
                <a:lnTo>
                  <a:pt x="78" y="144"/>
                </a:lnTo>
                <a:lnTo>
                  <a:pt x="78" y="138"/>
                </a:lnTo>
                <a:lnTo>
                  <a:pt x="78" y="138"/>
                </a:lnTo>
                <a:lnTo>
                  <a:pt x="72" y="138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66" y="132"/>
                </a:lnTo>
                <a:lnTo>
                  <a:pt x="66" y="132"/>
                </a:lnTo>
                <a:lnTo>
                  <a:pt x="66" y="126"/>
                </a:lnTo>
                <a:lnTo>
                  <a:pt x="66" y="126"/>
                </a:lnTo>
                <a:lnTo>
                  <a:pt x="66" y="126"/>
                </a:lnTo>
                <a:lnTo>
                  <a:pt x="66" y="126"/>
                </a:lnTo>
                <a:lnTo>
                  <a:pt x="60" y="120"/>
                </a:lnTo>
                <a:lnTo>
                  <a:pt x="66" y="120"/>
                </a:lnTo>
                <a:lnTo>
                  <a:pt x="66" y="120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96"/>
                </a:lnTo>
                <a:lnTo>
                  <a:pt x="60" y="96"/>
                </a:lnTo>
                <a:lnTo>
                  <a:pt x="66" y="96"/>
                </a:lnTo>
                <a:lnTo>
                  <a:pt x="60" y="96"/>
                </a:lnTo>
                <a:lnTo>
                  <a:pt x="60" y="96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84"/>
                </a:lnTo>
                <a:lnTo>
                  <a:pt x="60" y="84"/>
                </a:lnTo>
                <a:lnTo>
                  <a:pt x="54" y="84"/>
                </a:lnTo>
                <a:lnTo>
                  <a:pt x="60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2" y="72"/>
                </a:lnTo>
                <a:lnTo>
                  <a:pt x="42" y="72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0"/>
                </a:lnTo>
                <a:lnTo>
                  <a:pt x="30" y="60"/>
                </a:lnTo>
                <a:lnTo>
                  <a:pt x="30" y="60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18" y="60"/>
                </a:lnTo>
                <a:lnTo>
                  <a:pt x="18" y="54"/>
                </a:lnTo>
                <a:lnTo>
                  <a:pt x="18" y="54"/>
                </a:lnTo>
                <a:lnTo>
                  <a:pt x="12" y="54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6" y="42"/>
                </a:lnTo>
                <a:lnTo>
                  <a:pt x="6" y="42"/>
                </a:lnTo>
                <a:lnTo>
                  <a:pt x="0" y="36"/>
                </a:lnTo>
                <a:lnTo>
                  <a:pt x="0" y="36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12"/>
                </a:lnTo>
                <a:lnTo>
                  <a:pt x="0" y="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295" name="Freeform 28"/>
          <p:cNvSpPr>
            <a:spLocks/>
          </p:cNvSpPr>
          <p:nvPr/>
        </p:nvSpPr>
        <p:spPr bwMode="auto">
          <a:xfrm>
            <a:off x="5181601" y="1096407"/>
            <a:ext cx="263386" cy="417566"/>
          </a:xfrm>
          <a:custGeom>
            <a:avLst/>
            <a:gdLst>
              <a:gd name="T0" fmla="*/ 42 w 246"/>
              <a:gd name="T1" fmla="*/ 120 h 390"/>
              <a:gd name="T2" fmla="*/ 54 w 246"/>
              <a:gd name="T3" fmla="*/ 120 h 390"/>
              <a:gd name="T4" fmla="*/ 60 w 246"/>
              <a:gd name="T5" fmla="*/ 108 h 390"/>
              <a:gd name="T6" fmla="*/ 72 w 246"/>
              <a:gd name="T7" fmla="*/ 108 h 390"/>
              <a:gd name="T8" fmla="*/ 90 w 246"/>
              <a:gd name="T9" fmla="*/ 96 h 390"/>
              <a:gd name="T10" fmla="*/ 78 w 246"/>
              <a:gd name="T11" fmla="*/ 84 h 390"/>
              <a:gd name="T12" fmla="*/ 78 w 246"/>
              <a:gd name="T13" fmla="*/ 72 h 390"/>
              <a:gd name="T14" fmla="*/ 84 w 246"/>
              <a:gd name="T15" fmla="*/ 54 h 390"/>
              <a:gd name="T16" fmla="*/ 90 w 246"/>
              <a:gd name="T17" fmla="*/ 36 h 390"/>
              <a:gd name="T18" fmla="*/ 96 w 246"/>
              <a:gd name="T19" fmla="*/ 30 h 390"/>
              <a:gd name="T20" fmla="*/ 108 w 246"/>
              <a:gd name="T21" fmla="*/ 18 h 390"/>
              <a:gd name="T22" fmla="*/ 132 w 246"/>
              <a:gd name="T23" fmla="*/ 12 h 390"/>
              <a:gd name="T24" fmla="*/ 132 w 246"/>
              <a:gd name="T25" fmla="*/ 6 h 390"/>
              <a:gd name="T26" fmla="*/ 144 w 246"/>
              <a:gd name="T27" fmla="*/ 12 h 390"/>
              <a:gd name="T28" fmla="*/ 138 w 246"/>
              <a:gd name="T29" fmla="*/ 24 h 390"/>
              <a:gd name="T30" fmla="*/ 150 w 246"/>
              <a:gd name="T31" fmla="*/ 42 h 390"/>
              <a:gd name="T32" fmla="*/ 150 w 246"/>
              <a:gd name="T33" fmla="*/ 60 h 390"/>
              <a:gd name="T34" fmla="*/ 138 w 246"/>
              <a:gd name="T35" fmla="*/ 72 h 390"/>
              <a:gd name="T36" fmla="*/ 126 w 246"/>
              <a:gd name="T37" fmla="*/ 78 h 390"/>
              <a:gd name="T38" fmla="*/ 120 w 246"/>
              <a:gd name="T39" fmla="*/ 90 h 390"/>
              <a:gd name="T40" fmla="*/ 126 w 246"/>
              <a:gd name="T41" fmla="*/ 108 h 390"/>
              <a:gd name="T42" fmla="*/ 138 w 246"/>
              <a:gd name="T43" fmla="*/ 120 h 390"/>
              <a:gd name="T44" fmla="*/ 156 w 246"/>
              <a:gd name="T45" fmla="*/ 144 h 390"/>
              <a:gd name="T46" fmla="*/ 168 w 246"/>
              <a:gd name="T47" fmla="*/ 150 h 390"/>
              <a:gd name="T48" fmla="*/ 210 w 246"/>
              <a:gd name="T49" fmla="*/ 156 h 390"/>
              <a:gd name="T50" fmla="*/ 204 w 246"/>
              <a:gd name="T51" fmla="*/ 168 h 390"/>
              <a:gd name="T52" fmla="*/ 192 w 246"/>
              <a:gd name="T53" fmla="*/ 180 h 390"/>
              <a:gd name="T54" fmla="*/ 192 w 246"/>
              <a:gd name="T55" fmla="*/ 192 h 390"/>
              <a:gd name="T56" fmla="*/ 216 w 246"/>
              <a:gd name="T57" fmla="*/ 198 h 390"/>
              <a:gd name="T58" fmla="*/ 228 w 246"/>
              <a:gd name="T59" fmla="*/ 192 h 390"/>
              <a:gd name="T60" fmla="*/ 240 w 246"/>
              <a:gd name="T61" fmla="*/ 210 h 390"/>
              <a:gd name="T62" fmla="*/ 240 w 246"/>
              <a:gd name="T63" fmla="*/ 222 h 390"/>
              <a:gd name="T64" fmla="*/ 228 w 246"/>
              <a:gd name="T65" fmla="*/ 240 h 390"/>
              <a:gd name="T66" fmla="*/ 228 w 246"/>
              <a:gd name="T67" fmla="*/ 252 h 390"/>
              <a:gd name="T68" fmla="*/ 234 w 246"/>
              <a:gd name="T69" fmla="*/ 264 h 390"/>
              <a:gd name="T70" fmla="*/ 240 w 246"/>
              <a:gd name="T71" fmla="*/ 288 h 390"/>
              <a:gd name="T72" fmla="*/ 240 w 246"/>
              <a:gd name="T73" fmla="*/ 294 h 390"/>
              <a:gd name="T74" fmla="*/ 240 w 246"/>
              <a:gd name="T75" fmla="*/ 306 h 390"/>
              <a:gd name="T76" fmla="*/ 222 w 246"/>
              <a:gd name="T77" fmla="*/ 330 h 390"/>
              <a:gd name="T78" fmla="*/ 234 w 246"/>
              <a:gd name="T79" fmla="*/ 336 h 390"/>
              <a:gd name="T80" fmla="*/ 228 w 246"/>
              <a:gd name="T81" fmla="*/ 360 h 390"/>
              <a:gd name="T82" fmla="*/ 210 w 246"/>
              <a:gd name="T83" fmla="*/ 384 h 390"/>
              <a:gd name="T84" fmla="*/ 192 w 246"/>
              <a:gd name="T85" fmla="*/ 390 h 390"/>
              <a:gd name="T86" fmla="*/ 174 w 246"/>
              <a:gd name="T87" fmla="*/ 390 h 390"/>
              <a:gd name="T88" fmla="*/ 156 w 246"/>
              <a:gd name="T89" fmla="*/ 372 h 390"/>
              <a:gd name="T90" fmla="*/ 144 w 246"/>
              <a:gd name="T91" fmla="*/ 360 h 390"/>
              <a:gd name="T92" fmla="*/ 132 w 246"/>
              <a:gd name="T93" fmla="*/ 348 h 390"/>
              <a:gd name="T94" fmla="*/ 126 w 246"/>
              <a:gd name="T95" fmla="*/ 342 h 390"/>
              <a:gd name="T96" fmla="*/ 120 w 246"/>
              <a:gd name="T97" fmla="*/ 306 h 390"/>
              <a:gd name="T98" fmla="*/ 120 w 246"/>
              <a:gd name="T99" fmla="*/ 282 h 390"/>
              <a:gd name="T100" fmla="*/ 108 w 246"/>
              <a:gd name="T101" fmla="*/ 270 h 390"/>
              <a:gd name="T102" fmla="*/ 90 w 246"/>
              <a:gd name="T103" fmla="*/ 258 h 390"/>
              <a:gd name="T104" fmla="*/ 48 w 246"/>
              <a:gd name="T105" fmla="*/ 252 h 390"/>
              <a:gd name="T106" fmla="*/ 48 w 246"/>
              <a:gd name="T107" fmla="*/ 222 h 390"/>
              <a:gd name="T108" fmla="*/ 48 w 246"/>
              <a:gd name="T109" fmla="*/ 204 h 390"/>
              <a:gd name="T110" fmla="*/ 30 w 246"/>
              <a:gd name="T111" fmla="*/ 198 h 390"/>
              <a:gd name="T112" fmla="*/ 18 w 246"/>
              <a:gd name="T113" fmla="*/ 198 h 390"/>
              <a:gd name="T114" fmla="*/ 12 w 246"/>
              <a:gd name="T115" fmla="*/ 180 h 390"/>
              <a:gd name="T116" fmla="*/ 6 w 246"/>
              <a:gd name="T117" fmla="*/ 174 h 390"/>
              <a:gd name="T118" fmla="*/ 18 w 246"/>
              <a:gd name="T119" fmla="*/ 168 h 390"/>
              <a:gd name="T120" fmla="*/ 18 w 246"/>
              <a:gd name="T121" fmla="*/ 156 h 390"/>
              <a:gd name="T122" fmla="*/ 24 w 246"/>
              <a:gd name="T123" fmla="*/ 144 h 390"/>
              <a:gd name="T124" fmla="*/ 24 w 246"/>
              <a:gd name="T125" fmla="*/ 132 h 3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46" h="390">
                <a:moveTo>
                  <a:pt x="30" y="114"/>
                </a:moveTo>
                <a:lnTo>
                  <a:pt x="30" y="114"/>
                </a:lnTo>
                <a:lnTo>
                  <a:pt x="30" y="120"/>
                </a:lnTo>
                <a:lnTo>
                  <a:pt x="30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42" y="120"/>
                </a:lnTo>
                <a:lnTo>
                  <a:pt x="42" y="120"/>
                </a:lnTo>
                <a:lnTo>
                  <a:pt x="42" y="120"/>
                </a:lnTo>
                <a:lnTo>
                  <a:pt x="42" y="120"/>
                </a:lnTo>
                <a:lnTo>
                  <a:pt x="42" y="120"/>
                </a:lnTo>
                <a:lnTo>
                  <a:pt x="42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14"/>
                </a:lnTo>
                <a:lnTo>
                  <a:pt x="54" y="120"/>
                </a:lnTo>
                <a:lnTo>
                  <a:pt x="54" y="120"/>
                </a:lnTo>
                <a:lnTo>
                  <a:pt x="54" y="120"/>
                </a:lnTo>
                <a:lnTo>
                  <a:pt x="54" y="120"/>
                </a:lnTo>
                <a:lnTo>
                  <a:pt x="60" y="120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84" y="102"/>
                </a:lnTo>
                <a:lnTo>
                  <a:pt x="84" y="102"/>
                </a:lnTo>
                <a:lnTo>
                  <a:pt x="84" y="102"/>
                </a:lnTo>
                <a:lnTo>
                  <a:pt x="84" y="102"/>
                </a:lnTo>
                <a:lnTo>
                  <a:pt x="90" y="96"/>
                </a:lnTo>
                <a:lnTo>
                  <a:pt x="90" y="96"/>
                </a:lnTo>
                <a:lnTo>
                  <a:pt x="84" y="96"/>
                </a:lnTo>
                <a:lnTo>
                  <a:pt x="90" y="96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2" y="72"/>
                </a:lnTo>
                <a:lnTo>
                  <a:pt x="78" y="72"/>
                </a:lnTo>
                <a:lnTo>
                  <a:pt x="78" y="72"/>
                </a:lnTo>
                <a:lnTo>
                  <a:pt x="78" y="66"/>
                </a:lnTo>
                <a:lnTo>
                  <a:pt x="78" y="66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48"/>
                </a:lnTo>
                <a:lnTo>
                  <a:pt x="84" y="48"/>
                </a:lnTo>
                <a:lnTo>
                  <a:pt x="90" y="48"/>
                </a:lnTo>
                <a:lnTo>
                  <a:pt x="90" y="48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18"/>
                </a:lnTo>
                <a:lnTo>
                  <a:pt x="102" y="18"/>
                </a:lnTo>
                <a:lnTo>
                  <a:pt x="102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14" y="12"/>
                </a:lnTo>
                <a:lnTo>
                  <a:pt x="120" y="12"/>
                </a:lnTo>
                <a:lnTo>
                  <a:pt x="120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6"/>
                </a:lnTo>
                <a:lnTo>
                  <a:pt x="138" y="6"/>
                </a:lnTo>
                <a:lnTo>
                  <a:pt x="132" y="6"/>
                </a:lnTo>
                <a:lnTo>
                  <a:pt x="132" y="0"/>
                </a:lnTo>
                <a:lnTo>
                  <a:pt x="132" y="0"/>
                </a:lnTo>
                <a:lnTo>
                  <a:pt x="132" y="0"/>
                </a:lnTo>
                <a:lnTo>
                  <a:pt x="138" y="0"/>
                </a:lnTo>
                <a:lnTo>
                  <a:pt x="138" y="0"/>
                </a:lnTo>
                <a:lnTo>
                  <a:pt x="138" y="0"/>
                </a:lnTo>
                <a:lnTo>
                  <a:pt x="138" y="6"/>
                </a:lnTo>
                <a:lnTo>
                  <a:pt x="144" y="6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38" y="18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44" y="24"/>
                </a:lnTo>
                <a:lnTo>
                  <a:pt x="144" y="30"/>
                </a:lnTo>
                <a:lnTo>
                  <a:pt x="150" y="30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54"/>
                </a:lnTo>
                <a:lnTo>
                  <a:pt x="144" y="54"/>
                </a:lnTo>
                <a:lnTo>
                  <a:pt x="144" y="54"/>
                </a:lnTo>
                <a:lnTo>
                  <a:pt x="144" y="54"/>
                </a:lnTo>
                <a:lnTo>
                  <a:pt x="150" y="54"/>
                </a:lnTo>
                <a:lnTo>
                  <a:pt x="150" y="60"/>
                </a:lnTo>
                <a:lnTo>
                  <a:pt x="150" y="60"/>
                </a:lnTo>
                <a:lnTo>
                  <a:pt x="150" y="60"/>
                </a:lnTo>
                <a:lnTo>
                  <a:pt x="144" y="66"/>
                </a:lnTo>
                <a:lnTo>
                  <a:pt x="144" y="66"/>
                </a:lnTo>
                <a:lnTo>
                  <a:pt x="144" y="66"/>
                </a:lnTo>
                <a:lnTo>
                  <a:pt x="144" y="66"/>
                </a:lnTo>
                <a:lnTo>
                  <a:pt x="144" y="66"/>
                </a:lnTo>
                <a:lnTo>
                  <a:pt x="138" y="66"/>
                </a:lnTo>
                <a:lnTo>
                  <a:pt x="138" y="66"/>
                </a:lnTo>
                <a:lnTo>
                  <a:pt x="138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84"/>
                </a:lnTo>
                <a:lnTo>
                  <a:pt x="126" y="84"/>
                </a:lnTo>
                <a:lnTo>
                  <a:pt x="120" y="84"/>
                </a:lnTo>
                <a:lnTo>
                  <a:pt x="120" y="84"/>
                </a:lnTo>
                <a:lnTo>
                  <a:pt x="126" y="84"/>
                </a:lnTo>
                <a:lnTo>
                  <a:pt x="126" y="90"/>
                </a:lnTo>
                <a:lnTo>
                  <a:pt x="126" y="90"/>
                </a:lnTo>
                <a:lnTo>
                  <a:pt x="120" y="90"/>
                </a:lnTo>
                <a:lnTo>
                  <a:pt x="126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102"/>
                </a:lnTo>
                <a:lnTo>
                  <a:pt x="120" y="102"/>
                </a:lnTo>
                <a:lnTo>
                  <a:pt x="126" y="102"/>
                </a:lnTo>
                <a:lnTo>
                  <a:pt x="126" y="108"/>
                </a:lnTo>
                <a:lnTo>
                  <a:pt x="126" y="108"/>
                </a:lnTo>
                <a:lnTo>
                  <a:pt x="126" y="108"/>
                </a:lnTo>
                <a:lnTo>
                  <a:pt x="126" y="108"/>
                </a:lnTo>
                <a:lnTo>
                  <a:pt x="132" y="114"/>
                </a:lnTo>
                <a:lnTo>
                  <a:pt x="132" y="114"/>
                </a:lnTo>
                <a:lnTo>
                  <a:pt x="132" y="114"/>
                </a:lnTo>
                <a:lnTo>
                  <a:pt x="132" y="114"/>
                </a:lnTo>
                <a:lnTo>
                  <a:pt x="138" y="114"/>
                </a:lnTo>
                <a:lnTo>
                  <a:pt x="138" y="120"/>
                </a:lnTo>
                <a:lnTo>
                  <a:pt x="138" y="120"/>
                </a:lnTo>
                <a:lnTo>
                  <a:pt x="138" y="120"/>
                </a:lnTo>
                <a:lnTo>
                  <a:pt x="144" y="120"/>
                </a:lnTo>
                <a:lnTo>
                  <a:pt x="144" y="120"/>
                </a:lnTo>
                <a:lnTo>
                  <a:pt x="144" y="126"/>
                </a:lnTo>
                <a:lnTo>
                  <a:pt x="150" y="126"/>
                </a:lnTo>
                <a:lnTo>
                  <a:pt x="150" y="132"/>
                </a:lnTo>
                <a:lnTo>
                  <a:pt x="150" y="132"/>
                </a:lnTo>
                <a:lnTo>
                  <a:pt x="150" y="138"/>
                </a:lnTo>
                <a:lnTo>
                  <a:pt x="150" y="138"/>
                </a:lnTo>
                <a:lnTo>
                  <a:pt x="156" y="144"/>
                </a:lnTo>
                <a:lnTo>
                  <a:pt x="156" y="144"/>
                </a:lnTo>
                <a:lnTo>
                  <a:pt x="162" y="144"/>
                </a:lnTo>
                <a:lnTo>
                  <a:pt x="162" y="144"/>
                </a:lnTo>
                <a:lnTo>
                  <a:pt x="162" y="144"/>
                </a:lnTo>
                <a:lnTo>
                  <a:pt x="162" y="144"/>
                </a:lnTo>
                <a:lnTo>
                  <a:pt x="162" y="144"/>
                </a:lnTo>
                <a:lnTo>
                  <a:pt x="162" y="150"/>
                </a:lnTo>
                <a:lnTo>
                  <a:pt x="162" y="150"/>
                </a:lnTo>
                <a:lnTo>
                  <a:pt x="168" y="150"/>
                </a:lnTo>
                <a:lnTo>
                  <a:pt x="168" y="150"/>
                </a:lnTo>
                <a:lnTo>
                  <a:pt x="168" y="150"/>
                </a:lnTo>
                <a:lnTo>
                  <a:pt x="168" y="144"/>
                </a:lnTo>
                <a:lnTo>
                  <a:pt x="174" y="144"/>
                </a:lnTo>
                <a:lnTo>
                  <a:pt x="174" y="144"/>
                </a:lnTo>
                <a:lnTo>
                  <a:pt x="174" y="150"/>
                </a:lnTo>
                <a:lnTo>
                  <a:pt x="174" y="150"/>
                </a:lnTo>
                <a:lnTo>
                  <a:pt x="180" y="150"/>
                </a:lnTo>
                <a:lnTo>
                  <a:pt x="210" y="150"/>
                </a:lnTo>
                <a:lnTo>
                  <a:pt x="210" y="156"/>
                </a:lnTo>
                <a:lnTo>
                  <a:pt x="210" y="156"/>
                </a:lnTo>
                <a:lnTo>
                  <a:pt x="210" y="156"/>
                </a:lnTo>
                <a:lnTo>
                  <a:pt x="210" y="156"/>
                </a:lnTo>
                <a:lnTo>
                  <a:pt x="210" y="162"/>
                </a:lnTo>
                <a:lnTo>
                  <a:pt x="210" y="162"/>
                </a:lnTo>
                <a:lnTo>
                  <a:pt x="210" y="168"/>
                </a:lnTo>
                <a:lnTo>
                  <a:pt x="210" y="168"/>
                </a:lnTo>
                <a:lnTo>
                  <a:pt x="210" y="168"/>
                </a:lnTo>
                <a:lnTo>
                  <a:pt x="210" y="168"/>
                </a:lnTo>
                <a:lnTo>
                  <a:pt x="210" y="168"/>
                </a:lnTo>
                <a:lnTo>
                  <a:pt x="210" y="168"/>
                </a:lnTo>
                <a:lnTo>
                  <a:pt x="204" y="168"/>
                </a:lnTo>
                <a:lnTo>
                  <a:pt x="204" y="168"/>
                </a:lnTo>
                <a:lnTo>
                  <a:pt x="204" y="168"/>
                </a:lnTo>
                <a:lnTo>
                  <a:pt x="204" y="174"/>
                </a:lnTo>
                <a:lnTo>
                  <a:pt x="198" y="174"/>
                </a:lnTo>
                <a:lnTo>
                  <a:pt x="198" y="174"/>
                </a:lnTo>
                <a:lnTo>
                  <a:pt x="198" y="180"/>
                </a:lnTo>
                <a:lnTo>
                  <a:pt x="198" y="180"/>
                </a:lnTo>
                <a:lnTo>
                  <a:pt x="198" y="180"/>
                </a:lnTo>
                <a:lnTo>
                  <a:pt x="198" y="180"/>
                </a:lnTo>
                <a:lnTo>
                  <a:pt x="192" y="180"/>
                </a:lnTo>
                <a:lnTo>
                  <a:pt x="192" y="186"/>
                </a:lnTo>
                <a:lnTo>
                  <a:pt x="192" y="186"/>
                </a:lnTo>
                <a:lnTo>
                  <a:pt x="192" y="186"/>
                </a:lnTo>
                <a:lnTo>
                  <a:pt x="192" y="186"/>
                </a:lnTo>
                <a:lnTo>
                  <a:pt x="192" y="192"/>
                </a:lnTo>
                <a:lnTo>
                  <a:pt x="192" y="192"/>
                </a:lnTo>
                <a:lnTo>
                  <a:pt x="192" y="192"/>
                </a:lnTo>
                <a:lnTo>
                  <a:pt x="192" y="192"/>
                </a:lnTo>
                <a:lnTo>
                  <a:pt x="192" y="192"/>
                </a:lnTo>
                <a:lnTo>
                  <a:pt x="192" y="192"/>
                </a:lnTo>
                <a:lnTo>
                  <a:pt x="198" y="192"/>
                </a:lnTo>
                <a:lnTo>
                  <a:pt x="198" y="192"/>
                </a:lnTo>
                <a:lnTo>
                  <a:pt x="198" y="192"/>
                </a:lnTo>
                <a:lnTo>
                  <a:pt x="204" y="192"/>
                </a:lnTo>
                <a:lnTo>
                  <a:pt x="204" y="192"/>
                </a:lnTo>
                <a:lnTo>
                  <a:pt x="204" y="192"/>
                </a:lnTo>
                <a:lnTo>
                  <a:pt x="204" y="192"/>
                </a:lnTo>
                <a:lnTo>
                  <a:pt x="210" y="192"/>
                </a:lnTo>
                <a:lnTo>
                  <a:pt x="210" y="198"/>
                </a:lnTo>
                <a:lnTo>
                  <a:pt x="216" y="198"/>
                </a:lnTo>
                <a:lnTo>
                  <a:pt x="216" y="198"/>
                </a:lnTo>
                <a:lnTo>
                  <a:pt x="216" y="198"/>
                </a:lnTo>
                <a:lnTo>
                  <a:pt x="216" y="198"/>
                </a:lnTo>
                <a:lnTo>
                  <a:pt x="216" y="198"/>
                </a:lnTo>
                <a:lnTo>
                  <a:pt x="216" y="198"/>
                </a:lnTo>
                <a:lnTo>
                  <a:pt x="216" y="192"/>
                </a:lnTo>
                <a:lnTo>
                  <a:pt x="222" y="192"/>
                </a:lnTo>
                <a:lnTo>
                  <a:pt x="222" y="192"/>
                </a:lnTo>
                <a:lnTo>
                  <a:pt x="228" y="192"/>
                </a:lnTo>
                <a:lnTo>
                  <a:pt x="228" y="192"/>
                </a:lnTo>
                <a:lnTo>
                  <a:pt x="228" y="192"/>
                </a:lnTo>
                <a:lnTo>
                  <a:pt x="234" y="192"/>
                </a:lnTo>
                <a:lnTo>
                  <a:pt x="234" y="192"/>
                </a:lnTo>
                <a:lnTo>
                  <a:pt x="234" y="198"/>
                </a:lnTo>
                <a:lnTo>
                  <a:pt x="234" y="198"/>
                </a:lnTo>
                <a:lnTo>
                  <a:pt x="234" y="198"/>
                </a:lnTo>
                <a:lnTo>
                  <a:pt x="240" y="204"/>
                </a:lnTo>
                <a:lnTo>
                  <a:pt x="240" y="204"/>
                </a:lnTo>
                <a:lnTo>
                  <a:pt x="234" y="204"/>
                </a:lnTo>
                <a:lnTo>
                  <a:pt x="240" y="210"/>
                </a:lnTo>
                <a:lnTo>
                  <a:pt x="240" y="210"/>
                </a:lnTo>
                <a:lnTo>
                  <a:pt x="240" y="210"/>
                </a:lnTo>
                <a:lnTo>
                  <a:pt x="240" y="210"/>
                </a:lnTo>
                <a:lnTo>
                  <a:pt x="240" y="210"/>
                </a:lnTo>
                <a:lnTo>
                  <a:pt x="240" y="210"/>
                </a:lnTo>
                <a:lnTo>
                  <a:pt x="240" y="216"/>
                </a:lnTo>
                <a:lnTo>
                  <a:pt x="240" y="216"/>
                </a:lnTo>
                <a:lnTo>
                  <a:pt x="240" y="216"/>
                </a:lnTo>
                <a:lnTo>
                  <a:pt x="240" y="216"/>
                </a:lnTo>
                <a:lnTo>
                  <a:pt x="240" y="222"/>
                </a:lnTo>
                <a:lnTo>
                  <a:pt x="234" y="222"/>
                </a:lnTo>
                <a:lnTo>
                  <a:pt x="234" y="222"/>
                </a:lnTo>
                <a:lnTo>
                  <a:pt x="234" y="222"/>
                </a:lnTo>
                <a:lnTo>
                  <a:pt x="234" y="222"/>
                </a:lnTo>
                <a:lnTo>
                  <a:pt x="234" y="228"/>
                </a:lnTo>
                <a:lnTo>
                  <a:pt x="234" y="228"/>
                </a:lnTo>
                <a:lnTo>
                  <a:pt x="234" y="228"/>
                </a:lnTo>
                <a:lnTo>
                  <a:pt x="234" y="228"/>
                </a:lnTo>
                <a:lnTo>
                  <a:pt x="234" y="228"/>
                </a:lnTo>
                <a:lnTo>
                  <a:pt x="228" y="240"/>
                </a:lnTo>
                <a:lnTo>
                  <a:pt x="228" y="240"/>
                </a:lnTo>
                <a:lnTo>
                  <a:pt x="228" y="240"/>
                </a:lnTo>
                <a:lnTo>
                  <a:pt x="228" y="246"/>
                </a:lnTo>
                <a:lnTo>
                  <a:pt x="228" y="246"/>
                </a:lnTo>
                <a:lnTo>
                  <a:pt x="222" y="246"/>
                </a:lnTo>
                <a:lnTo>
                  <a:pt x="222" y="246"/>
                </a:lnTo>
                <a:lnTo>
                  <a:pt x="228" y="246"/>
                </a:lnTo>
                <a:lnTo>
                  <a:pt x="228" y="246"/>
                </a:lnTo>
                <a:lnTo>
                  <a:pt x="228" y="246"/>
                </a:lnTo>
                <a:lnTo>
                  <a:pt x="228" y="252"/>
                </a:lnTo>
                <a:lnTo>
                  <a:pt x="228" y="252"/>
                </a:lnTo>
                <a:lnTo>
                  <a:pt x="228" y="252"/>
                </a:lnTo>
                <a:lnTo>
                  <a:pt x="228" y="252"/>
                </a:lnTo>
                <a:lnTo>
                  <a:pt x="228" y="258"/>
                </a:lnTo>
                <a:lnTo>
                  <a:pt x="228" y="258"/>
                </a:lnTo>
                <a:lnTo>
                  <a:pt x="228" y="258"/>
                </a:lnTo>
                <a:lnTo>
                  <a:pt x="234" y="258"/>
                </a:lnTo>
                <a:lnTo>
                  <a:pt x="234" y="258"/>
                </a:lnTo>
                <a:lnTo>
                  <a:pt x="234" y="258"/>
                </a:lnTo>
                <a:lnTo>
                  <a:pt x="234" y="264"/>
                </a:lnTo>
                <a:lnTo>
                  <a:pt x="234" y="264"/>
                </a:lnTo>
                <a:lnTo>
                  <a:pt x="240" y="264"/>
                </a:lnTo>
                <a:lnTo>
                  <a:pt x="240" y="270"/>
                </a:lnTo>
                <a:lnTo>
                  <a:pt x="240" y="270"/>
                </a:lnTo>
                <a:lnTo>
                  <a:pt x="240" y="276"/>
                </a:lnTo>
                <a:lnTo>
                  <a:pt x="240" y="276"/>
                </a:lnTo>
                <a:lnTo>
                  <a:pt x="240" y="276"/>
                </a:lnTo>
                <a:lnTo>
                  <a:pt x="240" y="282"/>
                </a:lnTo>
                <a:lnTo>
                  <a:pt x="240" y="288"/>
                </a:lnTo>
                <a:lnTo>
                  <a:pt x="240" y="288"/>
                </a:lnTo>
                <a:lnTo>
                  <a:pt x="240" y="288"/>
                </a:lnTo>
                <a:lnTo>
                  <a:pt x="240" y="288"/>
                </a:lnTo>
                <a:lnTo>
                  <a:pt x="234" y="288"/>
                </a:lnTo>
                <a:lnTo>
                  <a:pt x="234" y="288"/>
                </a:lnTo>
                <a:lnTo>
                  <a:pt x="234" y="288"/>
                </a:lnTo>
                <a:lnTo>
                  <a:pt x="234" y="294"/>
                </a:lnTo>
                <a:lnTo>
                  <a:pt x="234" y="294"/>
                </a:lnTo>
                <a:lnTo>
                  <a:pt x="234" y="294"/>
                </a:lnTo>
                <a:lnTo>
                  <a:pt x="240" y="294"/>
                </a:lnTo>
                <a:lnTo>
                  <a:pt x="240" y="294"/>
                </a:lnTo>
                <a:lnTo>
                  <a:pt x="234" y="294"/>
                </a:lnTo>
                <a:lnTo>
                  <a:pt x="240" y="300"/>
                </a:lnTo>
                <a:lnTo>
                  <a:pt x="240" y="300"/>
                </a:lnTo>
                <a:lnTo>
                  <a:pt x="240" y="294"/>
                </a:lnTo>
                <a:lnTo>
                  <a:pt x="240" y="294"/>
                </a:lnTo>
                <a:lnTo>
                  <a:pt x="240" y="294"/>
                </a:lnTo>
                <a:lnTo>
                  <a:pt x="246" y="300"/>
                </a:lnTo>
                <a:lnTo>
                  <a:pt x="246" y="300"/>
                </a:lnTo>
                <a:lnTo>
                  <a:pt x="246" y="306"/>
                </a:lnTo>
                <a:lnTo>
                  <a:pt x="240" y="306"/>
                </a:lnTo>
                <a:lnTo>
                  <a:pt x="240" y="312"/>
                </a:lnTo>
                <a:lnTo>
                  <a:pt x="234" y="312"/>
                </a:lnTo>
                <a:lnTo>
                  <a:pt x="234" y="318"/>
                </a:lnTo>
                <a:lnTo>
                  <a:pt x="228" y="318"/>
                </a:lnTo>
                <a:lnTo>
                  <a:pt x="222" y="324"/>
                </a:lnTo>
                <a:lnTo>
                  <a:pt x="222" y="324"/>
                </a:lnTo>
                <a:lnTo>
                  <a:pt x="222" y="324"/>
                </a:lnTo>
                <a:lnTo>
                  <a:pt x="222" y="324"/>
                </a:lnTo>
                <a:lnTo>
                  <a:pt x="222" y="330"/>
                </a:lnTo>
                <a:lnTo>
                  <a:pt x="222" y="330"/>
                </a:lnTo>
                <a:lnTo>
                  <a:pt x="222" y="330"/>
                </a:lnTo>
                <a:lnTo>
                  <a:pt x="222" y="330"/>
                </a:lnTo>
                <a:lnTo>
                  <a:pt x="222" y="330"/>
                </a:lnTo>
                <a:lnTo>
                  <a:pt x="228" y="330"/>
                </a:lnTo>
                <a:lnTo>
                  <a:pt x="228" y="330"/>
                </a:lnTo>
                <a:lnTo>
                  <a:pt x="234" y="330"/>
                </a:lnTo>
                <a:lnTo>
                  <a:pt x="234" y="330"/>
                </a:lnTo>
                <a:lnTo>
                  <a:pt x="234" y="330"/>
                </a:lnTo>
                <a:lnTo>
                  <a:pt x="234" y="330"/>
                </a:lnTo>
                <a:lnTo>
                  <a:pt x="234" y="336"/>
                </a:lnTo>
                <a:lnTo>
                  <a:pt x="234" y="336"/>
                </a:lnTo>
                <a:lnTo>
                  <a:pt x="234" y="336"/>
                </a:lnTo>
                <a:lnTo>
                  <a:pt x="228" y="342"/>
                </a:lnTo>
                <a:lnTo>
                  <a:pt x="234" y="342"/>
                </a:lnTo>
                <a:lnTo>
                  <a:pt x="234" y="342"/>
                </a:lnTo>
                <a:lnTo>
                  <a:pt x="228" y="348"/>
                </a:lnTo>
                <a:lnTo>
                  <a:pt x="228" y="348"/>
                </a:lnTo>
                <a:lnTo>
                  <a:pt x="228" y="348"/>
                </a:lnTo>
                <a:lnTo>
                  <a:pt x="228" y="360"/>
                </a:lnTo>
                <a:lnTo>
                  <a:pt x="228" y="360"/>
                </a:lnTo>
                <a:lnTo>
                  <a:pt x="222" y="360"/>
                </a:lnTo>
                <a:lnTo>
                  <a:pt x="222" y="360"/>
                </a:lnTo>
                <a:lnTo>
                  <a:pt x="222" y="360"/>
                </a:lnTo>
                <a:lnTo>
                  <a:pt x="222" y="366"/>
                </a:lnTo>
                <a:lnTo>
                  <a:pt x="216" y="366"/>
                </a:lnTo>
                <a:lnTo>
                  <a:pt x="210" y="372"/>
                </a:lnTo>
                <a:lnTo>
                  <a:pt x="210" y="372"/>
                </a:lnTo>
                <a:lnTo>
                  <a:pt x="210" y="378"/>
                </a:lnTo>
                <a:lnTo>
                  <a:pt x="210" y="378"/>
                </a:lnTo>
                <a:lnTo>
                  <a:pt x="210" y="384"/>
                </a:lnTo>
                <a:lnTo>
                  <a:pt x="210" y="384"/>
                </a:lnTo>
                <a:lnTo>
                  <a:pt x="210" y="378"/>
                </a:lnTo>
                <a:lnTo>
                  <a:pt x="210" y="378"/>
                </a:lnTo>
                <a:lnTo>
                  <a:pt x="210" y="378"/>
                </a:lnTo>
                <a:lnTo>
                  <a:pt x="204" y="378"/>
                </a:lnTo>
                <a:lnTo>
                  <a:pt x="204" y="384"/>
                </a:lnTo>
                <a:lnTo>
                  <a:pt x="204" y="384"/>
                </a:lnTo>
                <a:lnTo>
                  <a:pt x="198" y="390"/>
                </a:lnTo>
                <a:lnTo>
                  <a:pt x="192" y="390"/>
                </a:lnTo>
                <a:lnTo>
                  <a:pt x="192" y="390"/>
                </a:lnTo>
                <a:lnTo>
                  <a:pt x="192" y="390"/>
                </a:lnTo>
                <a:lnTo>
                  <a:pt x="192" y="390"/>
                </a:lnTo>
                <a:lnTo>
                  <a:pt x="186" y="390"/>
                </a:lnTo>
                <a:lnTo>
                  <a:pt x="186" y="390"/>
                </a:lnTo>
                <a:lnTo>
                  <a:pt x="186" y="390"/>
                </a:lnTo>
                <a:lnTo>
                  <a:pt x="180" y="390"/>
                </a:lnTo>
                <a:lnTo>
                  <a:pt x="180" y="390"/>
                </a:lnTo>
                <a:lnTo>
                  <a:pt x="174" y="390"/>
                </a:lnTo>
                <a:lnTo>
                  <a:pt x="174" y="390"/>
                </a:lnTo>
                <a:lnTo>
                  <a:pt x="174" y="390"/>
                </a:lnTo>
                <a:lnTo>
                  <a:pt x="168" y="390"/>
                </a:lnTo>
                <a:lnTo>
                  <a:pt x="162" y="390"/>
                </a:lnTo>
                <a:lnTo>
                  <a:pt x="162" y="384"/>
                </a:lnTo>
                <a:lnTo>
                  <a:pt x="162" y="384"/>
                </a:lnTo>
                <a:lnTo>
                  <a:pt x="162" y="378"/>
                </a:lnTo>
                <a:lnTo>
                  <a:pt x="162" y="378"/>
                </a:lnTo>
                <a:lnTo>
                  <a:pt x="162" y="378"/>
                </a:lnTo>
                <a:lnTo>
                  <a:pt x="162" y="378"/>
                </a:lnTo>
                <a:lnTo>
                  <a:pt x="162" y="372"/>
                </a:lnTo>
                <a:lnTo>
                  <a:pt x="156" y="372"/>
                </a:lnTo>
                <a:lnTo>
                  <a:pt x="156" y="372"/>
                </a:lnTo>
                <a:lnTo>
                  <a:pt x="150" y="372"/>
                </a:lnTo>
                <a:lnTo>
                  <a:pt x="150" y="372"/>
                </a:lnTo>
                <a:lnTo>
                  <a:pt x="150" y="372"/>
                </a:lnTo>
                <a:lnTo>
                  <a:pt x="150" y="372"/>
                </a:lnTo>
                <a:lnTo>
                  <a:pt x="150" y="366"/>
                </a:lnTo>
                <a:lnTo>
                  <a:pt x="150" y="366"/>
                </a:lnTo>
                <a:lnTo>
                  <a:pt x="150" y="360"/>
                </a:lnTo>
                <a:lnTo>
                  <a:pt x="150" y="360"/>
                </a:lnTo>
                <a:lnTo>
                  <a:pt x="144" y="360"/>
                </a:lnTo>
                <a:lnTo>
                  <a:pt x="144" y="360"/>
                </a:lnTo>
                <a:lnTo>
                  <a:pt x="144" y="360"/>
                </a:lnTo>
                <a:lnTo>
                  <a:pt x="144" y="360"/>
                </a:lnTo>
                <a:lnTo>
                  <a:pt x="144" y="354"/>
                </a:lnTo>
                <a:lnTo>
                  <a:pt x="144" y="354"/>
                </a:lnTo>
                <a:lnTo>
                  <a:pt x="138" y="354"/>
                </a:lnTo>
                <a:lnTo>
                  <a:pt x="138" y="354"/>
                </a:lnTo>
                <a:lnTo>
                  <a:pt x="138" y="348"/>
                </a:lnTo>
                <a:lnTo>
                  <a:pt x="138" y="348"/>
                </a:lnTo>
                <a:lnTo>
                  <a:pt x="132" y="348"/>
                </a:lnTo>
                <a:lnTo>
                  <a:pt x="132" y="348"/>
                </a:lnTo>
                <a:lnTo>
                  <a:pt x="132" y="342"/>
                </a:lnTo>
                <a:lnTo>
                  <a:pt x="132" y="342"/>
                </a:lnTo>
                <a:lnTo>
                  <a:pt x="132" y="342"/>
                </a:lnTo>
                <a:lnTo>
                  <a:pt x="132" y="342"/>
                </a:lnTo>
                <a:lnTo>
                  <a:pt x="132" y="342"/>
                </a:lnTo>
                <a:lnTo>
                  <a:pt x="132" y="342"/>
                </a:lnTo>
                <a:lnTo>
                  <a:pt x="132" y="342"/>
                </a:lnTo>
                <a:lnTo>
                  <a:pt x="132" y="336"/>
                </a:lnTo>
                <a:lnTo>
                  <a:pt x="126" y="342"/>
                </a:lnTo>
                <a:lnTo>
                  <a:pt x="126" y="342"/>
                </a:lnTo>
                <a:lnTo>
                  <a:pt x="126" y="336"/>
                </a:lnTo>
                <a:lnTo>
                  <a:pt x="126" y="336"/>
                </a:lnTo>
                <a:lnTo>
                  <a:pt x="126" y="336"/>
                </a:lnTo>
                <a:lnTo>
                  <a:pt x="120" y="336"/>
                </a:lnTo>
                <a:lnTo>
                  <a:pt x="120" y="336"/>
                </a:lnTo>
                <a:lnTo>
                  <a:pt x="120" y="330"/>
                </a:lnTo>
                <a:lnTo>
                  <a:pt x="126" y="324"/>
                </a:lnTo>
                <a:lnTo>
                  <a:pt x="126" y="324"/>
                </a:lnTo>
                <a:lnTo>
                  <a:pt x="120" y="306"/>
                </a:lnTo>
                <a:lnTo>
                  <a:pt x="120" y="300"/>
                </a:lnTo>
                <a:lnTo>
                  <a:pt x="126" y="300"/>
                </a:lnTo>
                <a:lnTo>
                  <a:pt x="126" y="282"/>
                </a:lnTo>
                <a:lnTo>
                  <a:pt x="126" y="282"/>
                </a:lnTo>
                <a:lnTo>
                  <a:pt x="126" y="282"/>
                </a:lnTo>
                <a:lnTo>
                  <a:pt x="126" y="282"/>
                </a:lnTo>
                <a:lnTo>
                  <a:pt x="126" y="282"/>
                </a:lnTo>
                <a:lnTo>
                  <a:pt x="126" y="276"/>
                </a:lnTo>
                <a:lnTo>
                  <a:pt x="120" y="276"/>
                </a:lnTo>
                <a:lnTo>
                  <a:pt x="120" y="282"/>
                </a:lnTo>
                <a:lnTo>
                  <a:pt x="120" y="276"/>
                </a:lnTo>
                <a:lnTo>
                  <a:pt x="120" y="276"/>
                </a:lnTo>
                <a:lnTo>
                  <a:pt x="120" y="276"/>
                </a:lnTo>
                <a:lnTo>
                  <a:pt x="114" y="276"/>
                </a:lnTo>
                <a:lnTo>
                  <a:pt x="114" y="276"/>
                </a:lnTo>
                <a:lnTo>
                  <a:pt x="114" y="276"/>
                </a:lnTo>
                <a:lnTo>
                  <a:pt x="114" y="276"/>
                </a:lnTo>
                <a:lnTo>
                  <a:pt x="108" y="270"/>
                </a:lnTo>
                <a:lnTo>
                  <a:pt x="108" y="270"/>
                </a:lnTo>
                <a:lnTo>
                  <a:pt x="108" y="270"/>
                </a:lnTo>
                <a:lnTo>
                  <a:pt x="108" y="270"/>
                </a:lnTo>
                <a:lnTo>
                  <a:pt x="108" y="270"/>
                </a:lnTo>
                <a:lnTo>
                  <a:pt x="102" y="264"/>
                </a:lnTo>
                <a:lnTo>
                  <a:pt x="96" y="264"/>
                </a:lnTo>
                <a:lnTo>
                  <a:pt x="96" y="264"/>
                </a:lnTo>
                <a:lnTo>
                  <a:pt x="90" y="264"/>
                </a:lnTo>
                <a:lnTo>
                  <a:pt x="90" y="258"/>
                </a:lnTo>
                <a:lnTo>
                  <a:pt x="90" y="258"/>
                </a:lnTo>
                <a:lnTo>
                  <a:pt x="90" y="258"/>
                </a:lnTo>
                <a:lnTo>
                  <a:pt x="90" y="258"/>
                </a:lnTo>
                <a:lnTo>
                  <a:pt x="84" y="258"/>
                </a:lnTo>
                <a:lnTo>
                  <a:pt x="78" y="258"/>
                </a:lnTo>
                <a:lnTo>
                  <a:pt x="72" y="258"/>
                </a:lnTo>
                <a:lnTo>
                  <a:pt x="66" y="258"/>
                </a:lnTo>
                <a:lnTo>
                  <a:pt x="66" y="258"/>
                </a:lnTo>
                <a:lnTo>
                  <a:pt x="54" y="258"/>
                </a:lnTo>
                <a:lnTo>
                  <a:pt x="54" y="258"/>
                </a:lnTo>
                <a:lnTo>
                  <a:pt x="54" y="252"/>
                </a:lnTo>
                <a:lnTo>
                  <a:pt x="48" y="252"/>
                </a:lnTo>
                <a:lnTo>
                  <a:pt x="48" y="252"/>
                </a:lnTo>
                <a:lnTo>
                  <a:pt x="48" y="246"/>
                </a:lnTo>
                <a:lnTo>
                  <a:pt x="48" y="246"/>
                </a:lnTo>
                <a:lnTo>
                  <a:pt x="48" y="246"/>
                </a:lnTo>
                <a:lnTo>
                  <a:pt x="48" y="246"/>
                </a:lnTo>
                <a:lnTo>
                  <a:pt x="48" y="240"/>
                </a:lnTo>
                <a:lnTo>
                  <a:pt x="48" y="240"/>
                </a:lnTo>
                <a:lnTo>
                  <a:pt x="48" y="234"/>
                </a:lnTo>
                <a:lnTo>
                  <a:pt x="48" y="228"/>
                </a:lnTo>
                <a:lnTo>
                  <a:pt x="48" y="228"/>
                </a:lnTo>
                <a:lnTo>
                  <a:pt x="48" y="222"/>
                </a:lnTo>
                <a:lnTo>
                  <a:pt x="48" y="216"/>
                </a:lnTo>
                <a:lnTo>
                  <a:pt x="48" y="216"/>
                </a:lnTo>
                <a:lnTo>
                  <a:pt x="48" y="216"/>
                </a:lnTo>
                <a:lnTo>
                  <a:pt x="54" y="216"/>
                </a:lnTo>
                <a:lnTo>
                  <a:pt x="48" y="216"/>
                </a:lnTo>
                <a:lnTo>
                  <a:pt x="54" y="210"/>
                </a:lnTo>
                <a:lnTo>
                  <a:pt x="48" y="210"/>
                </a:lnTo>
                <a:lnTo>
                  <a:pt x="48" y="210"/>
                </a:lnTo>
                <a:lnTo>
                  <a:pt x="48" y="210"/>
                </a:lnTo>
                <a:lnTo>
                  <a:pt x="48" y="204"/>
                </a:lnTo>
                <a:lnTo>
                  <a:pt x="48" y="204"/>
                </a:lnTo>
                <a:lnTo>
                  <a:pt x="48" y="204"/>
                </a:lnTo>
                <a:lnTo>
                  <a:pt x="48" y="204"/>
                </a:lnTo>
                <a:lnTo>
                  <a:pt x="42" y="204"/>
                </a:lnTo>
                <a:lnTo>
                  <a:pt x="42" y="204"/>
                </a:lnTo>
                <a:lnTo>
                  <a:pt x="42" y="198"/>
                </a:lnTo>
                <a:lnTo>
                  <a:pt x="42" y="198"/>
                </a:lnTo>
                <a:lnTo>
                  <a:pt x="42" y="198"/>
                </a:lnTo>
                <a:lnTo>
                  <a:pt x="36" y="198"/>
                </a:lnTo>
                <a:lnTo>
                  <a:pt x="30" y="198"/>
                </a:lnTo>
                <a:lnTo>
                  <a:pt x="30" y="198"/>
                </a:lnTo>
                <a:lnTo>
                  <a:pt x="30" y="192"/>
                </a:lnTo>
                <a:lnTo>
                  <a:pt x="24" y="192"/>
                </a:lnTo>
                <a:lnTo>
                  <a:pt x="24" y="192"/>
                </a:lnTo>
                <a:lnTo>
                  <a:pt x="24" y="192"/>
                </a:lnTo>
                <a:lnTo>
                  <a:pt x="18" y="198"/>
                </a:lnTo>
                <a:lnTo>
                  <a:pt x="18" y="198"/>
                </a:lnTo>
                <a:lnTo>
                  <a:pt x="18" y="198"/>
                </a:lnTo>
                <a:lnTo>
                  <a:pt x="18" y="198"/>
                </a:lnTo>
                <a:lnTo>
                  <a:pt x="18" y="198"/>
                </a:lnTo>
                <a:lnTo>
                  <a:pt x="18" y="192"/>
                </a:lnTo>
                <a:lnTo>
                  <a:pt x="18" y="192"/>
                </a:lnTo>
                <a:lnTo>
                  <a:pt x="18" y="192"/>
                </a:lnTo>
                <a:lnTo>
                  <a:pt x="12" y="192"/>
                </a:lnTo>
                <a:lnTo>
                  <a:pt x="18" y="192"/>
                </a:lnTo>
                <a:lnTo>
                  <a:pt x="18" y="186"/>
                </a:lnTo>
                <a:lnTo>
                  <a:pt x="18" y="180"/>
                </a:lnTo>
                <a:lnTo>
                  <a:pt x="12" y="180"/>
                </a:lnTo>
                <a:lnTo>
                  <a:pt x="12" y="180"/>
                </a:lnTo>
                <a:lnTo>
                  <a:pt x="12" y="180"/>
                </a:lnTo>
                <a:lnTo>
                  <a:pt x="12" y="174"/>
                </a:lnTo>
                <a:lnTo>
                  <a:pt x="6" y="174"/>
                </a:lnTo>
                <a:lnTo>
                  <a:pt x="6" y="174"/>
                </a:lnTo>
                <a:lnTo>
                  <a:pt x="6" y="174"/>
                </a:lnTo>
                <a:lnTo>
                  <a:pt x="0" y="180"/>
                </a:lnTo>
                <a:lnTo>
                  <a:pt x="0" y="174"/>
                </a:lnTo>
                <a:lnTo>
                  <a:pt x="0" y="174"/>
                </a:lnTo>
                <a:lnTo>
                  <a:pt x="0" y="174"/>
                </a:lnTo>
                <a:lnTo>
                  <a:pt x="6" y="174"/>
                </a:lnTo>
                <a:lnTo>
                  <a:pt x="6" y="174"/>
                </a:lnTo>
                <a:lnTo>
                  <a:pt x="6" y="168"/>
                </a:lnTo>
                <a:lnTo>
                  <a:pt x="6" y="168"/>
                </a:lnTo>
                <a:lnTo>
                  <a:pt x="6" y="168"/>
                </a:lnTo>
                <a:lnTo>
                  <a:pt x="12" y="168"/>
                </a:lnTo>
                <a:lnTo>
                  <a:pt x="12" y="168"/>
                </a:lnTo>
                <a:lnTo>
                  <a:pt x="12" y="168"/>
                </a:lnTo>
                <a:lnTo>
                  <a:pt x="18" y="168"/>
                </a:lnTo>
                <a:lnTo>
                  <a:pt x="18" y="168"/>
                </a:lnTo>
                <a:lnTo>
                  <a:pt x="18" y="168"/>
                </a:lnTo>
                <a:lnTo>
                  <a:pt x="18" y="168"/>
                </a:lnTo>
                <a:lnTo>
                  <a:pt x="18" y="162"/>
                </a:lnTo>
                <a:lnTo>
                  <a:pt x="18" y="162"/>
                </a:lnTo>
                <a:lnTo>
                  <a:pt x="18" y="162"/>
                </a:lnTo>
                <a:lnTo>
                  <a:pt x="18" y="162"/>
                </a:lnTo>
                <a:lnTo>
                  <a:pt x="18" y="156"/>
                </a:lnTo>
                <a:lnTo>
                  <a:pt x="18" y="156"/>
                </a:lnTo>
                <a:lnTo>
                  <a:pt x="18" y="156"/>
                </a:lnTo>
                <a:lnTo>
                  <a:pt x="18" y="156"/>
                </a:lnTo>
                <a:lnTo>
                  <a:pt x="12" y="156"/>
                </a:lnTo>
                <a:lnTo>
                  <a:pt x="18" y="156"/>
                </a:lnTo>
                <a:lnTo>
                  <a:pt x="18" y="156"/>
                </a:lnTo>
                <a:lnTo>
                  <a:pt x="18" y="156"/>
                </a:lnTo>
                <a:lnTo>
                  <a:pt x="18" y="150"/>
                </a:lnTo>
                <a:lnTo>
                  <a:pt x="18" y="150"/>
                </a:lnTo>
                <a:lnTo>
                  <a:pt x="18" y="150"/>
                </a:lnTo>
                <a:lnTo>
                  <a:pt x="18" y="144"/>
                </a:lnTo>
                <a:lnTo>
                  <a:pt x="24" y="150"/>
                </a:lnTo>
                <a:lnTo>
                  <a:pt x="24" y="150"/>
                </a:lnTo>
                <a:lnTo>
                  <a:pt x="24" y="150"/>
                </a:lnTo>
                <a:lnTo>
                  <a:pt x="24" y="144"/>
                </a:lnTo>
                <a:lnTo>
                  <a:pt x="30" y="144"/>
                </a:lnTo>
                <a:lnTo>
                  <a:pt x="30" y="144"/>
                </a:lnTo>
                <a:lnTo>
                  <a:pt x="24" y="144"/>
                </a:lnTo>
                <a:lnTo>
                  <a:pt x="24" y="138"/>
                </a:lnTo>
                <a:lnTo>
                  <a:pt x="24" y="138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26"/>
                </a:lnTo>
                <a:lnTo>
                  <a:pt x="24" y="126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30" y="114"/>
                </a:lnTo>
                <a:lnTo>
                  <a:pt x="30" y="11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296" name="Freeform 29"/>
          <p:cNvSpPr>
            <a:spLocks/>
          </p:cNvSpPr>
          <p:nvPr/>
        </p:nvSpPr>
        <p:spPr bwMode="auto">
          <a:xfrm>
            <a:off x="4641981" y="421877"/>
            <a:ext cx="635981" cy="340477"/>
          </a:xfrm>
          <a:custGeom>
            <a:avLst/>
            <a:gdLst>
              <a:gd name="T0" fmla="*/ 42 w 594"/>
              <a:gd name="T1" fmla="*/ 138 h 318"/>
              <a:gd name="T2" fmla="*/ 0 w 594"/>
              <a:gd name="T3" fmla="*/ 90 h 318"/>
              <a:gd name="T4" fmla="*/ 72 w 594"/>
              <a:gd name="T5" fmla="*/ 96 h 318"/>
              <a:gd name="T6" fmla="*/ 102 w 594"/>
              <a:gd name="T7" fmla="*/ 120 h 318"/>
              <a:gd name="T8" fmla="*/ 126 w 594"/>
              <a:gd name="T9" fmla="*/ 126 h 318"/>
              <a:gd name="T10" fmla="*/ 150 w 594"/>
              <a:gd name="T11" fmla="*/ 126 h 318"/>
              <a:gd name="T12" fmla="*/ 150 w 594"/>
              <a:gd name="T13" fmla="*/ 114 h 318"/>
              <a:gd name="T14" fmla="*/ 168 w 594"/>
              <a:gd name="T15" fmla="*/ 132 h 318"/>
              <a:gd name="T16" fmla="*/ 186 w 594"/>
              <a:gd name="T17" fmla="*/ 126 h 318"/>
              <a:gd name="T18" fmla="*/ 198 w 594"/>
              <a:gd name="T19" fmla="*/ 114 h 318"/>
              <a:gd name="T20" fmla="*/ 222 w 594"/>
              <a:gd name="T21" fmla="*/ 138 h 318"/>
              <a:gd name="T22" fmla="*/ 240 w 594"/>
              <a:gd name="T23" fmla="*/ 168 h 318"/>
              <a:gd name="T24" fmla="*/ 270 w 594"/>
              <a:gd name="T25" fmla="*/ 156 h 318"/>
              <a:gd name="T26" fmla="*/ 270 w 594"/>
              <a:gd name="T27" fmla="*/ 132 h 318"/>
              <a:gd name="T28" fmla="*/ 270 w 594"/>
              <a:gd name="T29" fmla="*/ 108 h 318"/>
              <a:gd name="T30" fmla="*/ 300 w 594"/>
              <a:gd name="T31" fmla="*/ 108 h 318"/>
              <a:gd name="T32" fmla="*/ 306 w 594"/>
              <a:gd name="T33" fmla="*/ 96 h 318"/>
              <a:gd name="T34" fmla="*/ 318 w 594"/>
              <a:gd name="T35" fmla="*/ 90 h 318"/>
              <a:gd name="T36" fmla="*/ 336 w 594"/>
              <a:gd name="T37" fmla="*/ 96 h 318"/>
              <a:gd name="T38" fmla="*/ 354 w 594"/>
              <a:gd name="T39" fmla="*/ 102 h 318"/>
              <a:gd name="T40" fmla="*/ 366 w 594"/>
              <a:gd name="T41" fmla="*/ 96 h 318"/>
              <a:gd name="T42" fmla="*/ 378 w 594"/>
              <a:gd name="T43" fmla="*/ 96 h 318"/>
              <a:gd name="T44" fmla="*/ 396 w 594"/>
              <a:gd name="T45" fmla="*/ 84 h 318"/>
              <a:gd name="T46" fmla="*/ 414 w 594"/>
              <a:gd name="T47" fmla="*/ 84 h 318"/>
              <a:gd name="T48" fmla="*/ 432 w 594"/>
              <a:gd name="T49" fmla="*/ 78 h 318"/>
              <a:gd name="T50" fmla="*/ 444 w 594"/>
              <a:gd name="T51" fmla="*/ 60 h 318"/>
              <a:gd name="T52" fmla="*/ 462 w 594"/>
              <a:gd name="T53" fmla="*/ 54 h 318"/>
              <a:gd name="T54" fmla="*/ 468 w 594"/>
              <a:gd name="T55" fmla="*/ 42 h 318"/>
              <a:gd name="T56" fmla="*/ 492 w 594"/>
              <a:gd name="T57" fmla="*/ 48 h 318"/>
              <a:gd name="T58" fmla="*/ 510 w 594"/>
              <a:gd name="T59" fmla="*/ 36 h 318"/>
              <a:gd name="T60" fmla="*/ 528 w 594"/>
              <a:gd name="T61" fmla="*/ 18 h 318"/>
              <a:gd name="T62" fmla="*/ 546 w 594"/>
              <a:gd name="T63" fmla="*/ 6 h 318"/>
              <a:gd name="T64" fmla="*/ 546 w 594"/>
              <a:gd name="T65" fmla="*/ 18 h 318"/>
              <a:gd name="T66" fmla="*/ 546 w 594"/>
              <a:gd name="T67" fmla="*/ 48 h 318"/>
              <a:gd name="T68" fmla="*/ 558 w 594"/>
              <a:gd name="T69" fmla="*/ 72 h 318"/>
              <a:gd name="T70" fmla="*/ 558 w 594"/>
              <a:gd name="T71" fmla="*/ 90 h 318"/>
              <a:gd name="T72" fmla="*/ 570 w 594"/>
              <a:gd name="T73" fmla="*/ 108 h 318"/>
              <a:gd name="T74" fmla="*/ 570 w 594"/>
              <a:gd name="T75" fmla="*/ 132 h 318"/>
              <a:gd name="T76" fmla="*/ 564 w 594"/>
              <a:gd name="T77" fmla="*/ 150 h 318"/>
              <a:gd name="T78" fmla="*/ 576 w 594"/>
              <a:gd name="T79" fmla="*/ 162 h 318"/>
              <a:gd name="T80" fmla="*/ 588 w 594"/>
              <a:gd name="T81" fmla="*/ 180 h 318"/>
              <a:gd name="T82" fmla="*/ 576 w 594"/>
              <a:gd name="T83" fmla="*/ 210 h 318"/>
              <a:gd name="T84" fmla="*/ 546 w 594"/>
              <a:gd name="T85" fmla="*/ 264 h 318"/>
              <a:gd name="T86" fmla="*/ 516 w 594"/>
              <a:gd name="T87" fmla="*/ 312 h 318"/>
              <a:gd name="T88" fmla="*/ 504 w 594"/>
              <a:gd name="T89" fmla="*/ 294 h 318"/>
              <a:gd name="T90" fmla="*/ 486 w 594"/>
              <a:gd name="T91" fmla="*/ 282 h 318"/>
              <a:gd name="T92" fmla="*/ 462 w 594"/>
              <a:gd name="T93" fmla="*/ 282 h 318"/>
              <a:gd name="T94" fmla="*/ 444 w 594"/>
              <a:gd name="T95" fmla="*/ 264 h 318"/>
              <a:gd name="T96" fmla="*/ 426 w 594"/>
              <a:gd name="T97" fmla="*/ 252 h 318"/>
              <a:gd name="T98" fmla="*/ 402 w 594"/>
              <a:gd name="T99" fmla="*/ 276 h 318"/>
              <a:gd name="T100" fmla="*/ 384 w 594"/>
              <a:gd name="T101" fmla="*/ 282 h 318"/>
              <a:gd name="T102" fmla="*/ 360 w 594"/>
              <a:gd name="T103" fmla="*/ 276 h 318"/>
              <a:gd name="T104" fmla="*/ 318 w 594"/>
              <a:gd name="T105" fmla="*/ 276 h 318"/>
              <a:gd name="T106" fmla="*/ 288 w 594"/>
              <a:gd name="T107" fmla="*/ 282 h 318"/>
              <a:gd name="T108" fmla="*/ 258 w 594"/>
              <a:gd name="T109" fmla="*/ 270 h 318"/>
              <a:gd name="T110" fmla="*/ 234 w 594"/>
              <a:gd name="T111" fmla="*/ 270 h 318"/>
              <a:gd name="T112" fmla="*/ 192 w 594"/>
              <a:gd name="T113" fmla="*/ 276 h 318"/>
              <a:gd name="T114" fmla="*/ 168 w 594"/>
              <a:gd name="T115" fmla="*/ 300 h 318"/>
              <a:gd name="T116" fmla="*/ 108 w 594"/>
              <a:gd name="T117" fmla="*/ 312 h 318"/>
              <a:gd name="T118" fmla="*/ 114 w 594"/>
              <a:gd name="T119" fmla="*/ 288 h 318"/>
              <a:gd name="T120" fmla="*/ 102 w 594"/>
              <a:gd name="T121" fmla="*/ 264 h 318"/>
              <a:gd name="T122" fmla="*/ 78 w 594"/>
              <a:gd name="T123" fmla="*/ 192 h 3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94" h="318">
                <a:moveTo>
                  <a:pt x="84" y="180"/>
                </a:moveTo>
                <a:lnTo>
                  <a:pt x="84" y="180"/>
                </a:lnTo>
                <a:lnTo>
                  <a:pt x="84" y="174"/>
                </a:lnTo>
                <a:lnTo>
                  <a:pt x="84" y="174"/>
                </a:lnTo>
                <a:lnTo>
                  <a:pt x="84" y="168"/>
                </a:lnTo>
                <a:lnTo>
                  <a:pt x="78" y="162"/>
                </a:lnTo>
                <a:lnTo>
                  <a:pt x="78" y="162"/>
                </a:lnTo>
                <a:lnTo>
                  <a:pt x="72" y="156"/>
                </a:lnTo>
                <a:lnTo>
                  <a:pt x="72" y="156"/>
                </a:lnTo>
                <a:lnTo>
                  <a:pt x="72" y="156"/>
                </a:lnTo>
                <a:lnTo>
                  <a:pt x="66" y="150"/>
                </a:lnTo>
                <a:lnTo>
                  <a:pt x="66" y="150"/>
                </a:lnTo>
                <a:lnTo>
                  <a:pt x="60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44"/>
                </a:lnTo>
                <a:lnTo>
                  <a:pt x="48" y="144"/>
                </a:lnTo>
                <a:lnTo>
                  <a:pt x="48" y="144"/>
                </a:lnTo>
                <a:lnTo>
                  <a:pt x="42" y="138"/>
                </a:lnTo>
                <a:lnTo>
                  <a:pt x="42" y="138"/>
                </a:lnTo>
                <a:lnTo>
                  <a:pt x="36" y="132"/>
                </a:lnTo>
                <a:lnTo>
                  <a:pt x="36" y="132"/>
                </a:lnTo>
                <a:lnTo>
                  <a:pt x="36" y="126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18" y="108"/>
                </a:lnTo>
                <a:lnTo>
                  <a:pt x="18" y="108"/>
                </a:lnTo>
                <a:lnTo>
                  <a:pt x="18" y="102"/>
                </a:lnTo>
                <a:lnTo>
                  <a:pt x="12" y="96"/>
                </a:lnTo>
                <a:lnTo>
                  <a:pt x="12" y="96"/>
                </a:lnTo>
                <a:lnTo>
                  <a:pt x="6" y="96"/>
                </a:lnTo>
                <a:lnTo>
                  <a:pt x="6" y="90"/>
                </a:lnTo>
                <a:lnTo>
                  <a:pt x="0" y="90"/>
                </a:lnTo>
                <a:lnTo>
                  <a:pt x="0" y="84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18" y="84"/>
                </a:lnTo>
                <a:lnTo>
                  <a:pt x="24" y="90"/>
                </a:lnTo>
                <a:lnTo>
                  <a:pt x="30" y="96"/>
                </a:lnTo>
                <a:lnTo>
                  <a:pt x="30" y="102"/>
                </a:lnTo>
                <a:lnTo>
                  <a:pt x="36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8" y="96"/>
                </a:lnTo>
                <a:lnTo>
                  <a:pt x="54" y="96"/>
                </a:lnTo>
                <a:lnTo>
                  <a:pt x="60" y="96"/>
                </a:lnTo>
                <a:lnTo>
                  <a:pt x="60" y="96"/>
                </a:lnTo>
                <a:lnTo>
                  <a:pt x="66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84" y="102"/>
                </a:lnTo>
                <a:lnTo>
                  <a:pt x="84" y="102"/>
                </a:lnTo>
                <a:lnTo>
                  <a:pt x="90" y="96"/>
                </a:lnTo>
                <a:lnTo>
                  <a:pt x="90" y="96"/>
                </a:lnTo>
                <a:lnTo>
                  <a:pt x="90" y="102"/>
                </a:lnTo>
                <a:lnTo>
                  <a:pt x="90" y="102"/>
                </a:lnTo>
                <a:lnTo>
                  <a:pt x="96" y="102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14"/>
                </a:lnTo>
                <a:lnTo>
                  <a:pt x="102" y="114"/>
                </a:lnTo>
                <a:lnTo>
                  <a:pt x="102" y="120"/>
                </a:lnTo>
                <a:lnTo>
                  <a:pt x="108" y="120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14" y="126"/>
                </a:lnTo>
                <a:lnTo>
                  <a:pt x="114" y="126"/>
                </a:lnTo>
                <a:lnTo>
                  <a:pt x="114" y="132"/>
                </a:lnTo>
                <a:lnTo>
                  <a:pt x="114" y="132"/>
                </a:lnTo>
                <a:lnTo>
                  <a:pt x="114" y="132"/>
                </a:lnTo>
                <a:lnTo>
                  <a:pt x="114" y="132"/>
                </a:lnTo>
                <a:lnTo>
                  <a:pt x="114" y="132"/>
                </a:lnTo>
                <a:lnTo>
                  <a:pt x="114" y="126"/>
                </a:lnTo>
                <a:lnTo>
                  <a:pt x="120" y="126"/>
                </a:lnTo>
                <a:lnTo>
                  <a:pt x="120" y="126"/>
                </a:lnTo>
                <a:lnTo>
                  <a:pt x="120" y="126"/>
                </a:lnTo>
                <a:lnTo>
                  <a:pt x="120" y="126"/>
                </a:lnTo>
                <a:lnTo>
                  <a:pt x="120" y="126"/>
                </a:lnTo>
                <a:lnTo>
                  <a:pt x="120" y="126"/>
                </a:lnTo>
                <a:lnTo>
                  <a:pt x="126" y="126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32" y="120"/>
                </a:lnTo>
                <a:lnTo>
                  <a:pt x="132" y="120"/>
                </a:lnTo>
                <a:lnTo>
                  <a:pt x="132" y="120"/>
                </a:lnTo>
                <a:lnTo>
                  <a:pt x="132" y="120"/>
                </a:lnTo>
                <a:lnTo>
                  <a:pt x="132" y="120"/>
                </a:lnTo>
                <a:lnTo>
                  <a:pt x="138" y="126"/>
                </a:lnTo>
                <a:lnTo>
                  <a:pt x="138" y="120"/>
                </a:lnTo>
                <a:lnTo>
                  <a:pt x="138" y="126"/>
                </a:lnTo>
                <a:lnTo>
                  <a:pt x="144" y="120"/>
                </a:lnTo>
                <a:lnTo>
                  <a:pt x="144" y="126"/>
                </a:lnTo>
                <a:lnTo>
                  <a:pt x="144" y="126"/>
                </a:lnTo>
                <a:lnTo>
                  <a:pt x="144" y="126"/>
                </a:lnTo>
                <a:lnTo>
                  <a:pt x="144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56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0"/>
                </a:lnTo>
                <a:lnTo>
                  <a:pt x="150" y="120"/>
                </a:lnTo>
                <a:lnTo>
                  <a:pt x="150" y="120"/>
                </a:lnTo>
                <a:lnTo>
                  <a:pt x="150" y="120"/>
                </a:lnTo>
                <a:lnTo>
                  <a:pt x="150" y="120"/>
                </a:lnTo>
                <a:lnTo>
                  <a:pt x="150" y="120"/>
                </a:lnTo>
                <a:lnTo>
                  <a:pt x="150" y="114"/>
                </a:lnTo>
                <a:lnTo>
                  <a:pt x="150" y="114"/>
                </a:lnTo>
                <a:lnTo>
                  <a:pt x="150" y="114"/>
                </a:lnTo>
                <a:lnTo>
                  <a:pt x="150" y="114"/>
                </a:lnTo>
                <a:lnTo>
                  <a:pt x="150" y="114"/>
                </a:lnTo>
                <a:lnTo>
                  <a:pt x="150" y="114"/>
                </a:lnTo>
                <a:lnTo>
                  <a:pt x="150" y="114"/>
                </a:lnTo>
                <a:lnTo>
                  <a:pt x="156" y="114"/>
                </a:lnTo>
                <a:lnTo>
                  <a:pt x="156" y="114"/>
                </a:lnTo>
                <a:lnTo>
                  <a:pt x="156" y="120"/>
                </a:lnTo>
                <a:lnTo>
                  <a:pt x="156" y="120"/>
                </a:lnTo>
                <a:lnTo>
                  <a:pt x="162" y="120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32"/>
                </a:lnTo>
                <a:lnTo>
                  <a:pt x="162" y="132"/>
                </a:lnTo>
                <a:lnTo>
                  <a:pt x="168" y="132"/>
                </a:lnTo>
                <a:lnTo>
                  <a:pt x="168" y="126"/>
                </a:lnTo>
                <a:lnTo>
                  <a:pt x="168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32"/>
                </a:lnTo>
                <a:lnTo>
                  <a:pt x="174" y="132"/>
                </a:lnTo>
                <a:lnTo>
                  <a:pt x="174" y="132"/>
                </a:lnTo>
                <a:lnTo>
                  <a:pt x="174" y="132"/>
                </a:lnTo>
                <a:lnTo>
                  <a:pt x="174" y="138"/>
                </a:lnTo>
                <a:lnTo>
                  <a:pt x="174" y="132"/>
                </a:lnTo>
                <a:lnTo>
                  <a:pt x="174" y="132"/>
                </a:lnTo>
                <a:lnTo>
                  <a:pt x="174" y="132"/>
                </a:lnTo>
                <a:lnTo>
                  <a:pt x="174" y="132"/>
                </a:lnTo>
                <a:lnTo>
                  <a:pt x="174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6" y="132"/>
                </a:lnTo>
                <a:lnTo>
                  <a:pt x="186" y="132"/>
                </a:lnTo>
                <a:lnTo>
                  <a:pt x="186" y="132"/>
                </a:lnTo>
                <a:lnTo>
                  <a:pt x="186" y="126"/>
                </a:lnTo>
                <a:lnTo>
                  <a:pt x="186" y="126"/>
                </a:lnTo>
                <a:lnTo>
                  <a:pt x="186" y="126"/>
                </a:lnTo>
                <a:lnTo>
                  <a:pt x="186" y="126"/>
                </a:lnTo>
                <a:lnTo>
                  <a:pt x="186" y="126"/>
                </a:lnTo>
                <a:lnTo>
                  <a:pt x="186" y="126"/>
                </a:lnTo>
                <a:lnTo>
                  <a:pt x="180" y="120"/>
                </a:lnTo>
                <a:lnTo>
                  <a:pt x="180" y="120"/>
                </a:lnTo>
                <a:lnTo>
                  <a:pt x="186" y="120"/>
                </a:lnTo>
                <a:lnTo>
                  <a:pt x="180" y="120"/>
                </a:lnTo>
                <a:lnTo>
                  <a:pt x="180" y="120"/>
                </a:lnTo>
                <a:lnTo>
                  <a:pt x="186" y="120"/>
                </a:lnTo>
                <a:lnTo>
                  <a:pt x="186" y="120"/>
                </a:lnTo>
                <a:lnTo>
                  <a:pt x="192" y="120"/>
                </a:lnTo>
                <a:lnTo>
                  <a:pt x="192" y="120"/>
                </a:lnTo>
                <a:lnTo>
                  <a:pt x="198" y="120"/>
                </a:lnTo>
                <a:lnTo>
                  <a:pt x="198" y="120"/>
                </a:lnTo>
                <a:lnTo>
                  <a:pt x="198" y="120"/>
                </a:lnTo>
                <a:lnTo>
                  <a:pt x="198" y="120"/>
                </a:lnTo>
                <a:lnTo>
                  <a:pt x="198" y="114"/>
                </a:lnTo>
                <a:lnTo>
                  <a:pt x="204" y="120"/>
                </a:lnTo>
                <a:lnTo>
                  <a:pt x="204" y="120"/>
                </a:lnTo>
                <a:lnTo>
                  <a:pt x="204" y="120"/>
                </a:lnTo>
                <a:lnTo>
                  <a:pt x="204" y="120"/>
                </a:lnTo>
                <a:lnTo>
                  <a:pt x="210" y="120"/>
                </a:lnTo>
                <a:lnTo>
                  <a:pt x="210" y="120"/>
                </a:lnTo>
                <a:lnTo>
                  <a:pt x="210" y="120"/>
                </a:lnTo>
                <a:lnTo>
                  <a:pt x="216" y="120"/>
                </a:lnTo>
                <a:lnTo>
                  <a:pt x="210" y="126"/>
                </a:lnTo>
                <a:lnTo>
                  <a:pt x="210" y="132"/>
                </a:lnTo>
                <a:lnTo>
                  <a:pt x="210" y="132"/>
                </a:lnTo>
                <a:lnTo>
                  <a:pt x="210" y="132"/>
                </a:lnTo>
                <a:lnTo>
                  <a:pt x="210" y="138"/>
                </a:lnTo>
                <a:lnTo>
                  <a:pt x="216" y="138"/>
                </a:lnTo>
                <a:lnTo>
                  <a:pt x="216" y="138"/>
                </a:lnTo>
                <a:lnTo>
                  <a:pt x="216" y="138"/>
                </a:lnTo>
                <a:lnTo>
                  <a:pt x="216" y="138"/>
                </a:lnTo>
                <a:lnTo>
                  <a:pt x="222" y="138"/>
                </a:lnTo>
                <a:lnTo>
                  <a:pt x="222" y="138"/>
                </a:lnTo>
                <a:lnTo>
                  <a:pt x="222" y="138"/>
                </a:lnTo>
                <a:lnTo>
                  <a:pt x="228" y="144"/>
                </a:lnTo>
                <a:lnTo>
                  <a:pt x="228" y="144"/>
                </a:lnTo>
                <a:lnTo>
                  <a:pt x="228" y="144"/>
                </a:lnTo>
                <a:lnTo>
                  <a:pt x="234" y="144"/>
                </a:lnTo>
                <a:lnTo>
                  <a:pt x="234" y="144"/>
                </a:lnTo>
                <a:lnTo>
                  <a:pt x="234" y="150"/>
                </a:lnTo>
                <a:lnTo>
                  <a:pt x="234" y="150"/>
                </a:lnTo>
                <a:lnTo>
                  <a:pt x="234" y="150"/>
                </a:lnTo>
                <a:lnTo>
                  <a:pt x="234" y="156"/>
                </a:lnTo>
                <a:lnTo>
                  <a:pt x="234" y="156"/>
                </a:lnTo>
                <a:lnTo>
                  <a:pt x="228" y="156"/>
                </a:lnTo>
                <a:lnTo>
                  <a:pt x="228" y="156"/>
                </a:lnTo>
                <a:lnTo>
                  <a:pt x="234" y="156"/>
                </a:lnTo>
                <a:lnTo>
                  <a:pt x="234" y="162"/>
                </a:lnTo>
                <a:lnTo>
                  <a:pt x="240" y="162"/>
                </a:lnTo>
                <a:lnTo>
                  <a:pt x="240" y="162"/>
                </a:lnTo>
                <a:lnTo>
                  <a:pt x="240" y="168"/>
                </a:lnTo>
                <a:lnTo>
                  <a:pt x="240" y="168"/>
                </a:lnTo>
                <a:lnTo>
                  <a:pt x="246" y="168"/>
                </a:lnTo>
                <a:lnTo>
                  <a:pt x="246" y="168"/>
                </a:lnTo>
                <a:lnTo>
                  <a:pt x="246" y="168"/>
                </a:lnTo>
                <a:lnTo>
                  <a:pt x="252" y="162"/>
                </a:lnTo>
                <a:lnTo>
                  <a:pt x="252" y="162"/>
                </a:lnTo>
                <a:lnTo>
                  <a:pt x="252" y="156"/>
                </a:lnTo>
                <a:lnTo>
                  <a:pt x="252" y="156"/>
                </a:lnTo>
                <a:lnTo>
                  <a:pt x="252" y="156"/>
                </a:lnTo>
                <a:lnTo>
                  <a:pt x="258" y="156"/>
                </a:lnTo>
                <a:lnTo>
                  <a:pt x="258" y="150"/>
                </a:lnTo>
                <a:lnTo>
                  <a:pt x="264" y="150"/>
                </a:lnTo>
                <a:lnTo>
                  <a:pt x="264" y="150"/>
                </a:lnTo>
                <a:lnTo>
                  <a:pt x="264" y="150"/>
                </a:lnTo>
                <a:lnTo>
                  <a:pt x="264" y="150"/>
                </a:lnTo>
                <a:lnTo>
                  <a:pt x="264" y="150"/>
                </a:lnTo>
                <a:lnTo>
                  <a:pt x="270" y="150"/>
                </a:lnTo>
                <a:lnTo>
                  <a:pt x="270" y="156"/>
                </a:lnTo>
                <a:lnTo>
                  <a:pt x="270" y="156"/>
                </a:lnTo>
                <a:lnTo>
                  <a:pt x="270" y="156"/>
                </a:lnTo>
                <a:lnTo>
                  <a:pt x="270" y="156"/>
                </a:lnTo>
                <a:lnTo>
                  <a:pt x="276" y="156"/>
                </a:lnTo>
                <a:lnTo>
                  <a:pt x="276" y="156"/>
                </a:lnTo>
                <a:lnTo>
                  <a:pt x="276" y="156"/>
                </a:lnTo>
                <a:lnTo>
                  <a:pt x="276" y="156"/>
                </a:lnTo>
                <a:lnTo>
                  <a:pt x="276" y="156"/>
                </a:lnTo>
                <a:lnTo>
                  <a:pt x="276" y="150"/>
                </a:lnTo>
                <a:lnTo>
                  <a:pt x="276" y="150"/>
                </a:lnTo>
                <a:lnTo>
                  <a:pt x="276" y="150"/>
                </a:lnTo>
                <a:lnTo>
                  <a:pt x="276" y="144"/>
                </a:lnTo>
                <a:lnTo>
                  <a:pt x="276" y="144"/>
                </a:lnTo>
                <a:lnTo>
                  <a:pt x="276" y="144"/>
                </a:lnTo>
                <a:lnTo>
                  <a:pt x="276" y="144"/>
                </a:lnTo>
                <a:lnTo>
                  <a:pt x="276" y="138"/>
                </a:lnTo>
                <a:lnTo>
                  <a:pt x="276" y="138"/>
                </a:lnTo>
                <a:lnTo>
                  <a:pt x="270" y="138"/>
                </a:lnTo>
                <a:lnTo>
                  <a:pt x="270" y="138"/>
                </a:lnTo>
                <a:lnTo>
                  <a:pt x="270" y="138"/>
                </a:lnTo>
                <a:lnTo>
                  <a:pt x="270" y="132"/>
                </a:lnTo>
                <a:lnTo>
                  <a:pt x="270" y="132"/>
                </a:lnTo>
                <a:lnTo>
                  <a:pt x="270" y="132"/>
                </a:lnTo>
                <a:lnTo>
                  <a:pt x="270" y="132"/>
                </a:lnTo>
                <a:lnTo>
                  <a:pt x="270" y="132"/>
                </a:lnTo>
                <a:lnTo>
                  <a:pt x="270" y="132"/>
                </a:lnTo>
                <a:lnTo>
                  <a:pt x="270" y="126"/>
                </a:lnTo>
                <a:lnTo>
                  <a:pt x="270" y="126"/>
                </a:lnTo>
                <a:lnTo>
                  <a:pt x="270" y="126"/>
                </a:lnTo>
                <a:lnTo>
                  <a:pt x="270" y="126"/>
                </a:lnTo>
                <a:lnTo>
                  <a:pt x="270" y="126"/>
                </a:lnTo>
                <a:lnTo>
                  <a:pt x="270" y="126"/>
                </a:lnTo>
                <a:lnTo>
                  <a:pt x="270" y="120"/>
                </a:lnTo>
                <a:lnTo>
                  <a:pt x="270" y="120"/>
                </a:lnTo>
                <a:lnTo>
                  <a:pt x="276" y="120"/>
                </a:lnTo>
                <a:lnTo>
                  <a:pt x="270" y="114"/>
                </a:lnTo>
                <a:lnTo>
                  <a:pt x="270" y="114"/>
                </a:lnTo>
                <a:lnTo>
                  <a:pt x="270" y="114"/>
                </a:lnTo>
                <a:lnTo>
                  <a:pt x="270" y="114"/>
                </a:lnTo>
                <a:lnTo>
                  <a:pt x="270" y="108"/>
                </a:lnTo>
                <a:lnTo>
                  <a:pt x="270" y="108"/>
                </a:lnTo>
                <a:lnTo>
                  <a:pt x="276" y="108"/>
                </a:lnTo>
                <a:lnTo>
                  <a:pt x="282" y="108"/>
                </a:lnTo>
                <a:lnTo>
                  <a:pt x="282" y="108"/>
                </a:lnTo>
                <a:lnTo>
                  <a:pt x="282" y="108"/>
                </a:lnTo>
                <a:lnTo>
                  <a:pt x="282" y="108"/>
                </a:lnTo>
                <a:lnTo>
                  <a:pt x="282" y="108"/>
                </a:lnTo>
                <a:lnTo>
                  <a:pt x="288" y="108"/>
                </a:lnTo>
                <a:lnTo>
                  <a:pt x="288" y="108"/>
                </a:lnTo>
                <a:lnTo>
                  <a:pt x="294" y="108"/>
                </a:lnTo>
                <a:lnTo>
                  <a:pt x="294" y="108"/>
                </a:lnTo>
                <a:lnTo>
                  <a:pt x="294" y="108"/>
                </a:lnTo>
                <a:lnTo>
                  <a:pt x="294" y="114"/>
                </a:lnTo>
                <a:lnTo>
                  <a:pt x="294" y="114"/>
                </a:lnTo>
                <a:lnTo>
                  <a:pt x="294" y="114"/>
                </a:lnTo>
                <a:lnTo>
                  <a:pt x="300" y="114"/>
                </a:lnTo>
                <a:lnTo>
                  <a:pt x="300" y="114"/>
                </a:lnTo>
                <a:lnTo>
                  <a:pt x="300" y="108"/>
                </a:lnTo>
                <a:lnTo>
                  <a:pt x="300" y="108"/>
                </a:lnTo>
                <a:lnTo>
                  <a:pt x="300" y="108"/>
                </a:lnTo>
                <a:lnTo>
                  <a:pt x="300" y="108"/>
                </a:lnTo>
                <a:lnTo>
                  <a:pt x="300" y="108"/>
                </a:lnTo>
                <a:lnTo>
                  <a:pt x="300" y="108"/>
                </a:lnTo>
                <a:lnTo>
                  <a:pt x="300" y="102"/>
                </a:lnTo>
                <a:lnTo>
                  <a:pt x="300" y="102"/>
                </a:lnTo>
                <a:lnTo>
                  <a:pt x="300" y="102"/>
                </a:lnTo>
                <a:lnTo>
                  <a:pt x="300" y="102"/>
                </a:lnTo>
                <a:lnTo>
                  <a:pt x="300" y="102"/>
                </a:lnTo>
                <a:lnTo>
                  <a:pt x="300" y="102"/>
                </a:lnTo>
                <a:lnTo>
                  <a:pt x="300" y="102"/>
                </a:lnTo>
                <a:lnTo>
                  <a:pt x="300" y="102"/>
                </a:lnTo>
                <a:lnTo>
                  <a:pt x="300" y="102"/>
                </a:lnTo>
                <a:lnTo>
                  <a:pt x="300" y="96"/>
                </a:lnTo>
                <a:lnTo>
                  <a:pt x="300" y="96"/>
                </a:lnTo>
                <a:lnTo>
                  <a:pt x="300" y="96"/>
                </a:lnTo>
                <a:lnTo>
                  <a:pt x="306" y="96"/>
                </a:lnTo>
                <a:lnTo>
                  <a:pt x="306" y="96"/>
                </a:lnTo>
                <a:lnTo>
                  <a:pt x="306" y="96"/>
                </a:lnTo>
                <a:lnTo>
                  <a:pt x="306" y="96"/>
                </a:lnTo>
                <a:lnTo>
                  <a:pt x="306" y="96"/>
                </a:lnTo>
                <a:lnTo>
                  <a:pt x="306" y="96"/>
                </a:lnTo>
                <a:lnTo>
                  <a:pt x="306" y="96"/>
                </a:lnTo>
                <a:lnTo>
                  <a:pt x="312" y="96"/>
                </a:lnTo>
                <a:lnTo>
                  <a:pt x="312" y="96"/>
                </a:lnTo>
                <a:lnTo>
                  <a:pt x="312" y="96"/>
                </a:lnTo>
                <a:lnTo>
                  <a:pt x="312" y="96"/>
                </a:lnTo>
                <a:lnTo>
                  <a:pt x="312" y="96"/>
                </a:lnTo>
                <a:lnTo>
                  <a:pt x="312" y="96"/>
                </a:lnTo>
                <a:lnTo>
                  <a:pt x="312" y="96"/>
                </a:lnTo>
                <a:lnTo>
                  <a:pt x="312" y="90"/>
                </a:lnTo>
                <a:lnTo>
                  <a:pt x="312" y="90"/>
                </a:lnTo>
                <a:lnTo>
                  <a:pt x="312" y="90"/>
                </a:lnTo>
                <a:lnTo>
                  <a:pt x="312" y="90"/>
                </a:lnTo>
                <a:lnTo>
                  <a:pt x="312" y="90"/>
                </a:lnTo>
                <a:lnTo>
                  <a:pt x="312" y="90"/>
                </a:lnTo>
                <a:lnTo>
                  <a:pt x="312" y="90"/>
                </a:lnTo>
                <a:lnTo>
                  <a:pt x="318" y="90"/>
                </a:lnTo>
                <a:lnTo>
                  <a:pt x="318" y="90"/>
                </a:lnTo>
                <a:lnTo>
                  <a:pt x="318" y="90"/>
                </a:lnTo>
                <a:lnTo>
                  <a:pt x="318" y="90"/>
                </a:lnTo>
                <a:lnTo>
                  <a:pt x="318" y="90"/>
                </a:lnTo>
                <a:lnTo>
                  <a:pt x="318" y="90"/>
                </a:lnTo>
                <a:lnTo>
                  <a:pt x="318" y="90"/>
                </a:lnTo>
                <a:lnTo>
                  <a:pt x="324" y="96"/>
                </a:lnTo>
                <a:lnTo>
                  <a:pt x="324" y="96"/>
                </a:lnTo>
                <a:lnTo>
                  <a:pt x="324" y="90"/>
                </a:lnTo>
                <a:lnTo>
                  <a:pt x="324" y="96"/>
                </a:lnTo>
                <a:lnTo>
                  <a:pt x="324" y="96"/>
                </a:lnTo>
                <a:lnTo>
                  <a:pt x="324" y="96"/>
                </a:lnTo>
                <a:lnTo>
                  <a:pt x="330" y="96"/>
                </a:lnTo>
                <a:lnTo>
                  <a:pt x="330" y="96"/>
                </a:lnTo>
                <a:lnTo>
                  <a:pt x="330" y="96"/>
                </a:lnTo>
                <a:lnTo>
                  <a:pt x="330" y="96"/>
                </a:lnTo>
                <a:lnTo>
                  <a:pt x="330" y="96"/>
                </a:lnTo>
                <a:lnTo>
                  <a:pt x="330" y="96"/>
                </a:lnTo>
                <a:lnTo>
                  <a:pt x="336" y="96"/>
                </a:lnTo>
                <a:lnTo>
                  <a:pt x="336" y="96"/>
                </a:lnTo>
                <a:lnTo>
                  <a:pt x="336" y="102"/>
                </a:lnTo>
                <a:lnTo>
                  <a:pt x="342" y="102"/>
                </a:lnTo>
                <a:lnTo>
                  <a:pt x="342" y="102"/>
                </a:lnTo>
                <a:lnTo>
                  <a:pt x="342" y="102"/>
                </a:lnTo>
                <a:lnTo>
                  <a:pt x="342" y="102"/>
                </a:lnTo>
                <a:lnTo>
                  <a:pt x="348" y="102"/>
                </a:lnTo>
                <a:lnTo>
                  <a:pt x="348" y="102"/>
                </a:lnTo>
                <a:lnTo>
                  <a:pt x="348" y="102"/>
                </a:lnTo>
                <a:lnTo>
                  <a:pt x="348" y="102"/>
                </a:lnTo>
                <a:lnTo>
                  <a:pt x="348" y="102"/>
                </a:lnTo>
                <a:lnTo>
                  <a:pt x="354" y="102"/>
                </a:lnTo>
                <a:lnTo>
                  <a:pt x="354" y="102"/>
                </a:lnTo>
                <a:lnTo>
                  <a:pt x="354" y="102"/>
                </a:lnTo>
                <a:lnTo>
                  <a:pt x="354" y="102"/>
                </a:lnTo>
                <a:lnTo>
                  <a:pt x="354" y="102"/>
                </a:lnTo>
                <a:lnTo>
                  <a:pt x="354" y="102"/>
                </a:lnTo>
                <a:lnTo>
                  <a:pt x="354" y="102"/>
                </a:lnTo>
                <a:lnTo>
                  <a:pt x="354" y="102"/>
                </a:lnTo>
                <a:lnTo>
                  <a:pt x="354" y="102"/>
                </a:lnTo>
                <a:lnTo>
                  <a:pt x="354" y="102"/>
                </a:lnTo>
                <a:lnTo>
                  <a:pt x="354" y="102"/>
                </a:lnTo>
                <a:lnTo>
                  <a:pt x="360" y="102"/>
                </a:lnTo>
                <a:lnTo>
                  <a:pt x="360" y="96"/>
                </a:lnTo>
                <a:lnTo>
                  <a:pt x="360" y="96"/>
                </a:lnTo>
                <a:lnTo>
                  <a:pt x="360" y="96"/>
                </a:lnTo>
                <a:lnTo>
                  <a:pt x="360" y="96"/>
                </a:lnTo>
                <a:lnTo>
                  <a:pt x="360" y="102"/>
                </a:lnTo>
                <a:lnTo>
                  <a:pt x="360" y="96"/>
                </a:lnTo>
                <a:lnTo>
                  <a:pt x="360" y="96"/>
                </a:lnTo>
                <a:lnTo>
                  <a:pt x="360" y="96"/>
                </a:lnTo>
                <a:lnTo>
                  <a:pt x="360" y="96"/>
                </a:lnTo>
                <a:lnTo>
                  <a:pt x="360" y="96"/>
                </a:lnTo>
                <a:lnTo>
                  <a:pt x="360" y="96"/>
                </a:lnTo>
                <a:lnTo>
                  <a:pt x="366" y="96"/>
                </a:lnTo>
                <a:lnTo>
                  <a:pt x="366" y="96"/>
                </a:lnTo>
                <a:lnTo>
                  <a:pt x="366" y="96"/>
                </a:lnTo>
                <a:lnTo>
                  <a:pt x="366" y="96"/>
                </a:lnTo>
                <a:lnTo>
                  <a:pt x="366" y="96"/>
                </a:lnTo>
                <a:lnTo>
                  <a:pt x="366" y="96"/>
                </a:lnTo>
                <a:lnTo>
                  <a:pt x="366" y="96"/>
                </a:lnTo>
                <a:lnTo>
                  <a:pt x="372" y="96"/>
                </a:lnTo>
                <a:lnTo>
                  <a:pt x="372" y="96"/>
                </a:lnTo>
                <a:lnTo>
                  <a:pt x="372" y="90"/>
                </a:lnTo>
                <a:lnTo>
                  <a:pt x="372" y="90"/>
                </a:lnTo>
                <a:lnTo>
                  <a:pt x="372" y="90"/>
                </a:lnTo>
                <a:lnTo>
                  <a:pt x="372" y="90"/>
                </a:lnTo>
                <a:lnTo>
                  <a:pt x="372" y="96"/>
                </a:lnTo>
                <a:lnTo>
                  <a:pt x="372" y="96"/>
                </a:lnTo>
                <a:lnTo>
                  <a:pt x="378" y="96"/>
                </a:lnTo>
                <a:lnTo>
                  <a:pt x="378" y="102"/>
                </a:lnTo>
                <a:lnTo>
                  <a:pt x="378" y="102"/>
                </a:lnTo>
                <a:lnTo>
                  <a:pt x="378" y="102"/>
                </a:lnTo>
                <a:lnTo>
                  <a:pt x="378" y="102"/>
                </a:lnTo>
                <a:lnTo>
                  <a:pt x="378" y="96"/>
                </a:lnTo>
                <a:lnTo>
                  <a:pt x="378" y="96"/>
                </a:lnTo>
                <a:lnTo>
                  <a:pt x="378" y="96"/>
                </a:lnTo>
                <a:lnTo>
                  <a:pt x="384" y="96"/>
                </a:lnTo>
                <a:lnTo>
                  <a:pt x="384" y="96"/>
                </a:lnTo>
                <a:lnTo>
                  <a:pt x="384" y="96"/>
                </a:lnTo>
                <a:lnTo>
                  <a:pt x="384" y="96"/>
                </a:lnTo>
                <a:lnTo>
                  <a:pt x="384" y="96"/>
                </a:lnTo>
                <a:lnTo>
                  <a:pt x="390" y="96"/>
                </a:lnTo>
                <a:lnTo>
                  <a:pt x="384" y="90"/>
                </a:lnTo>
                <a:lnTo>
                  <a:pt x="390" y="90"/>
                </a:lnTo>
                <a:lnTo>
                  <a:pt x="390" y="90"/>
                </a:lnTo>
                <a:lnTo>
                  <a:pt x="390" y="90"/>
                </a:lnTo>
                <a:lnTo>
                  <a:pt x="390" y="96"/>
                </a:lnTo>
                <a:lnTo>
                  <a:pt x="390" y="96"/>
                </a:lnTo>
                <a:lnTo>
                  <a:pt x="396" y="96"/>
                </a:lnTo>
                <a:lnTo>
                  <a:pt x="396" y="90"/>
                </a:lnTo>
                <a:lnTo>
                  <a:pt x="396" y="90"/>
                </a:lnTo>
                <a:lnTo>
                  <a:pt x="396" y="90"/>
                </a:lnTo>
                <a:lnTo>
                  <a:pt x="396" y="90"/>
                </a:lnTo>
                <a:lnTo>
                  <a:pt x="396" y="84"/>
                </a:lnTo>
                <a:lnTo>
                  <a:pt x="396" y="84"/>
                </a:lnTo>
                <a:lnTo>
                  <a:pt x="396" y="84"/>
                </a:lnTo>
                <a:lnTo>
                  <a:pt x="396" y="84"/>
                </a:lnTo>
                <a:lnTo>
                  <a:pt x="396" y="84"/>
                </a:lnTo>
                <a:lnTo>
                  <a:pt x="396" y="84"/>
                </a:lnTo>
                <a:lnTo>
                  <a:pt x="402" y="84"/>
                </a:lnTo>
                <a:lnTo>
                  <a:pt x="402" y="84"/>
                </a:lnTo>
                <a:lnTo>
                  <a:pt x="402" y="84"/>
                </a:lnTo>
                <a:lnTo>
                  <a:pt x="402" y="84"/>
                </a:lnTo>
                <a:lnTo>
                  <a:pt x="402" y="84"/>
                </a:lnTo>
                <a:lnTo>
                  <a:pt x="402" y="84"/>
                </a:lnTo>
                <a:lnTo>
                  <a:pt x="402" y="78"/>
                </a:lnTo>
                <a:lnTo>
                  <a:pt x="408" y="78"/>
                </a:lnTo>
                <a:lnTo>
                  <a:pt x="408" y="78"/>
                </a:lnTo>
                <a:lnTo>
                  <a:pt x="408" y="84"/>
                </a:lnTo>
                <a:lnTo>
                  <a:pt x="408" y="84"/>
                </a:lnTo>
                <a:lnTo>
                  <a:pt x="408" y="84"/>
                </a:lnTo>
                <a:lnTo>
                  <a:pt x="408" y="84"/>
                </a:lnTo>
                <a:lnTo>
                  <a:pt x="414" y="84"/>
                </a:lnTo>
                <a:lnTo>
                  <a:pt x="414" y="84"/>
                </a:lnTo>
                <a:lnTo>
                  <a:pt x="414" y="78"/>
                </a:lnTo>
                <a:lnTo>
                  <a:pt x="414" y="78"/>
                </a:lnTo>
                <a:lnTo>
                  <a:pt x="414" y="78"/>
                </a:lnTo>
                <a:lnTo>
                  <a:pt x="414" y="84"/>
                </a:lnTo>
                <a:lnTo>
                  <a:pt x="414" y="84"/>
                </a:lnTo>
                <a:lnTo>
                  <a:pt x="420" y="84"/>
                </a:lnTo>
                <a:lnTo>
                  <a:pt x="420" y="84"/>
                </a:lnTo>
                <a:lnTo>
                  <a:pt x="420" y="84"/>
                </a:lnTo>
                <a:lnTo>
                  <a:pt x="420" y="84"/>
                </a:lnTo>
                <a:lnTo>
                  <a:pt x="420" y="84"/>
                </a:lnTo>
                <a:lnTo>
                  <a:pt x="420" y="78"/>
                </a:lnTo>
                <a:lnTo>
                  <a:pt x="420" y="84"/>
                </a:lnTo>
                <a:lnTo>
                  <a:pt x="426" y="84"/>
                </a:lnTo>
                <a:lnTo>
                  <a:pt x="426" y="84"/>
                </a:lnTo>
                <a:lnTo>
                  <a:pt x="426" y="84"/>
                </a:lnTo>
                <a:lnTo>
                  <a:pt x="426" y="84"/>
                </a:lnTo>
                <a:lnTo>
                  <a:pt x="426" y="78"/>
                </a:lnTo>
                <a:lnTo>
                  <a:pt x="432" y="78"/>
                </a:lnTo>
                <a:lnTo>
                  <a:pt x="432" y="78"/>
                </a:lnTo>
                <a:lnTo>
                  <a:pt x="432" y="78"/>
                </a:lnTo>
                <a:lnTo>
                  <a:pt x="432" y="78"/>
                </a:lnTo>
                <a:lnTo>
                  <a:pt x="432" y="72"/>
                </a:lnTo>
                <a:lnTo>
                  <a:pt x="432" y="72"/>
                </a:lnTo>
                <a:lnTo>
                  <a:pt x="432" y="72"/>
                </a:lnTo>
                <a:lnTo>
                  <a:pt x="432" y="72"/>
                </a:lnTo>
                <a:lnTo>
                  <a:pt x="432" y="72"/>
                </a:lnTo>
                <a:lnTo>
                  <a:pt x="432" y="72"/>
                </a:lnTo>
                <a:lnTo>
                  <a:pt x="432" y="72"/>
                </a:lnTo>
                <a:lnTo>
                  <a:pt x="432" y="66"/>
                </a:lnTo>
                <a:lnTo>
                  <a:pt x="432" y="66"/>
                </a:lnTo>
                <a:lnTo>
                  <a:pt x="432" y="66"/>
                </a:lnTo>
                <a:lnTo>
                  <a:pt x="432" y="60"/>
                </a:lnTo>
                <a:lnTo>
                  <a:pt x="432" y="60"/>
                </a:lnTo>
                <a:lnTo>
                  <a:pt x="438" y="60"/>
                </a:lnTo>
                <a:lnTo>
                  <a:pt x="438" y="60"/>
                </a:lnTo>
                <a:lnTo>
                  <a:pt x="438" y="60"/>
                </a:lnTo>
                <a:lnTo>
                  <a:pt x="438" y="60"/>
                </a:lnTo>
                <a:lnTo>
                  <a:pt x="444" y="60"/>
                </a:lnTo>
                <a:lnTo>
                  <a:pt x="444" y="60"/>
                </a:lnTo>
                <a:lnTo>
                  <a:pt x="444" y="60"/>
                </a:lnTo>
                <a:lnTo>
                  <a:pt x="444" y="60"/>
                </a:lnTo>
                <a:lnTo>
                  <a:pt x="444" y="60"/>
                </a:lnTo>
                <a:lnTo>
                  <a:pt x="444" y="60"/>
                </a:lnTo>
                <a:lnTo>
                  <a:pt x="444" y="60"/>
                </a:lnTo>
                <a:lnTo>
                  <a:pt x="444" y="60"/>
                </a:lnTo>
                <a:lnTo>
                  <a:pt x="444" y="60"/>
                </a:lnTo>
                <a:lnTo>
                  <a:pt x="450" y="60"/>
                </a:lnTo>
                <a:lnTo>
                  <a:pt x="450" y="60"/>
                </a:lnTo>
                <a:lnTo>
                  <a:pt x="450" y="60"/>
                </a:lnTo>
                <a:lnTo>
                  <a:pt x="456" y="60"/>
                </a:lnTo>
                <a:lnTo>
                  <a:pt x="456" y="60"/>
                </a:lnTo>
                <a:lnTo>
                  <a:pt x="456" y="60"/>
                </a:lnTo>
                <a:lnTo>
                  <a:pt x="462" y="60"/>
                </a:lnTo>
                <a:lnTo>
                  <a:pt x="456" y="60"/>
                </a:lnTo>
                <a:lnTo>
                  <a:pt x="462" y="54"/>
                </a:lnTo>
                <a:lnTo>
                  <a:pt x="462" y="54"/>
                </a:lnTo>
                <a:lnTo>
                  <a:pt x="462" y="54"/>
                </a:lnTo>
                <a:lnTo>
                  <a:pt x="462" y="54"/>
                </a:lnTo>
                <a:lnTo>
                  <a:pt x="462" y="54"/>
                </a:lnTo>
                <a:lnTo>
                  <a:pt x="462" y="54"/>
                </a:lnTo>
                <a:lnTo>
                  <a:pt x="462" y="54"/>
                </a:lnTo>
                <a:lnTo>
                  <a:pt x="462" y="48"/>
                </a:lnTo>
                <a:lnTo>
                  <a:pt x="462" y="48"/>
                </a:lnTo>
                <a:lnTo>
                  <a:pt x="462" y="48"/>
                </a:lnTo>
                <a:lnTo>
                  <a:pt x="456" y="48"/>
                </a:lnTo>
                <a:lnTo>
                  <a:pt x="456" y="48"/>
                </a:lnTo>
                <a:lnTo>
                  <a:pt x="456" y="48"/>
                </a:lnTo>
                <a:lnTo>
                  <a:pt x="456" y="42"/>
                </a:lnTo>
                <a:lnTo>
                  <a:pt x="462" y="42"/>
                </a:lnTo>
                <a:lnTo>
                  <a:pt x="462" y="42"/>
                </a:lnTo>
                <a:lnTo>
                  <a:pt x="462" y="42"/>
                </a:lnTo>
                <a:lnTo>
                  <a:pt x="462" y="42"/>
                </a:lnTo>
                <a:lnTo>
                  <a:pt x="462" y="48"/>
                </a:lnTo>
                <a:lnTo>
                  <a:pt x="468" y="48"/>
                </a:lnTo>
                <a:lnTo>
                  <a:pt x="468" y="42"/>
                </a:lnTo>
                <a:lnTo>
                  <a:pt x="468" y="42"/>
                </a:lnTo>
                <a:lnTo>
                  <a:pt x="468" y="48"/>
                </a:lnTo>
                <a:lnTo>
                  <a:pt x="468" y="48"/>
                </a:lnTo>
                <a:lnTo>
                  <a:pt x="474" y="48"/>
                </a:lnTo>
                <a:lnTo>
                  <a:pt x="474" y="42"/>
                </a:lnTo>
                <a:lnTo>
                  <a:pt x="474" y="48"/>
                </a:lnTo>
                <a:lnTo>
                  <a:pt x="474" y="48"/>
                </a:lnTo>
                <a:lnTo>
                  <a:pt x="474" y="48"/>
                </a:lnTo>
                <a:lnTo>
                  <a:pt x="480" y="48"/>
                </a:lnTo>
                <a:lnTo>
                  <a:pt x="480" y="48"/>
                </a:lnTo>
                <a:lnTo>
                  <a:pt x="480" y="48"/>
                </a:lnTo>
                <a:lnTo>
                  <a:pt x="480" y="48"/>
                </a:lnTo>
                <a:lnTo>
                  <a:pt x="480" y="48"/>
                </a:lnTo>
                <a:lnTo>
                  <a:pt x="480" y="54"/>
                </a:lnTo>
                <a:lnTo>
                  <a:pt x="486" y="48"/>
                </a:lnTo>
                <a:lnTo>
                  <a:pt x="486" y="48"/>
                </a:lnTo>
                <a:lnTo>
                  <a:pt x="486" y="48"/>
                </a:lnTo>
                <a:lnTo>
                  <a:pt x="486" y="48"/>
                </a:lnTo>
                <a:lnTo>
                  <a:pt x="486" y="48"/>
                </a:lnTo>
                <a:lnTo>
                  <a:pt x="492" y="48"/>
                </a:lnTo>
                <a:lnTo>
                  <a:pt x="492" y="48"/>
                </a:lnTo>
                <a:lnTo>
                  <a:pt x="492" y="48"/>
                </a:lnTo>
                <a:lnTo>
                  <a:pt x="492" y="48"/>
                </a:lnTo>
                <a:lnTo>
                  <a:pt x="498" y="48"/>
                </a:lnTo>
                <a:lnTo>
                  <a:pt x="498" y="48"/>
                </a:lnTo>
                <a:lnTo>
                  <a:pt x="498" y="48"/>
                </a:lnTo>
                <a:lnTo>
                  <a:pt x="504" y="48"/>
                </a:lnTo>
                <a:lnTo>
                  <a:pt x="504" y="48"/>
                </a:lnTo>
                <a:lnTo>
                  <a:pt x="504" y="48"/>
                </a:lnTo>
                <a:lnTo>
                  <a:pt x="504" y="42"/>
                </a:lnTo>
                <a:lnTo>
                  <a:pt x="504" y="42"/>
                </a:lnTo>
                <a:lnTo>
                  <a:pt x="504" y="42"/>
                </a:lnTo>
                <a:lnTo>
                  <a:pt x="504" y="42"/>
                </a:lnTo>
                <a:lnTo>
                  <a:pt x="504" y="36"/>
                </a:lnTo>
                <a:lnTo>
                  <a:pt x="510" y="42"/>
                </a:lnTo>
                <a:lnTo>
                  <a:pt x="510" y="36"/>
                </a:lnTo>
                <a:lnTo>
                  <a:pt x="510" y="36"/>
                </a:lnTo>
                <a:lnTo>
                  <a:pt x="510" y="36"/>
                </a:lnTo>
                <a:lnTo>
                  <a:pt x="510" y="36"/>
                </a:lnTo>
                <a:lnTo>
                  <a:pt x="510" y="36"/>
                </a:lnTo>
                <a:lnTo>
                  <a:pt x="510" y="30"/>
                </a:lnTo>
                <a:lnTo>
                  <a:pt x="504" y="30"/>
                </a:lnTo>
                <a:lnTo>
                  <a:pt x="510" y="30"/>
                </a:lnTo>
                <a:lnTo>
                  <a:pt x="510" y="30"/>
                </a:lnTo>
                <a:lnTo>
                  <a:pt x="510" y="30"/>
                </a:lnTo>
                <a:lnTo>
                  <a:pt x="510" y="30"/>
                </a:lnTo>
                <a:lnTo>
                  <a:pt x="510" y="30"/>
                </a:lnTo>
                <a:lnTo>
                  <a:pt x="510" y="24"/>
                </a:lnTo>
                <a:lnTo>
                  <a:pt x="510" y="24"/>
                </a:lnTo>
                <a:lnTo>
                  <a:pt x="516" y="24"/>
                </a:lnTo>
                <a:lnTo>
                  <a:pt x="516" y="24"/>
                </a:lnTo>
                <a:lnTo>
                  <a:pt x="516" y="24"/>
                </a:lnTo>
                <a:lnTo>
                  <a:pt x="522" y="24"/>
                </a:lnTo>
                <a:lnTo>
                  <a:pt x="522" y="18"/>
                </a:lnTo>
                <a:lnTo>
                  <a:pt x="522" y="18"/>
                </a:lnTo>
                <a:lnTo>
                  <a:pt x="528" y="18"/>
                </a:lnTo>
                <a:lnTo>
                  <a:pt x="522" y="18"/>
                </a:lnTo>
                <a:lnTo>
                  <a:pt x="528" y="18"/>
                </a:lnTo>
                <a:lnTo>
                  <a:pt x="528" y="18"/>
                </a:lnTo>
                <a:lnTo>
                  <a:pt x="528" y="18"/>
                </a:lnTo>
                <a:lnTo>
                  <a:pt x="534" y="18"/>
                </a:lnTo>
                <a:lnTo>
                  <a:pt x="534" y="18"/>
                </a:lnTo>
                <a:lnTo>
                  <a:pt x="534" y="18"/>
                </a:lnTo>
                <a:lnTo>
                  <a:pt x="534" y="12"/>
                </a:lnTo>
                <a:lnTo>
                  <a:pt x="534" y="12"/>
                </a:lnTo>
                <a:lnTo>
                  <a:pt x="540" y="12"/>
                </a:lnTo>
                <a:lnTo>
                  <a:pt x="534" y="12"/>
                </a:lnTo>
                <a:lnTo>
                  <a:pt x="534" y="12"/>
                </a:lnTo>
                <a:lnTo>
                  <a:pt x="534" y="12"/>
                </a:lnTo>
                <a:lnTo>
                  <a:pt x="540" y="12"/>
                </a:lnTo>
                <a:lnTo>
                  <a:pt x="540" y="12"/>
                </a:lnTo>
                <a:lnTo>
                  <a:pt x="540" y="12"/>
                </a:lnTo>
                <a:lnTo>
                  <a:pt x="540" y="6"/>
                </a:lnTo>
                <a:lnTo>
                  <a:pt x="540" y="6"/>
                </a:lnTo>
                <a:lnTo>
                  <a:pt x="540" y="6"/>
                </a:lnTo>
                <a:lnTo>
                  <a:pt x="546" y="6"/>
                </a:lnTo>
                <a:lnTo>
                  <a:pt x="546" y="6"/>
                </a:lnTo>
                <a:lnTo>
                  <a:pt x="546" y="0"/>
                </a:lnTo>
                <a:lnTo>
                  <a:pt x="546" y="0"/>
                </a:lnTo>
                <a:lnTo>
                  <a:pt x="546" y="0"/>
                </a:lnTo>
                <a:lnTo>
                  <a:pt x="546" y="0"/>
                </a:lnTo>
                <a:lnTo>
                  <a:pt x="546" y="0"/>
                </a:lnTo>
                <a:lnTo>
                  <a:pt x="546" y="0"/>
                </a:lnTo>
                <a:lnTo>
                  <a:pt x="546" y="0"/>
                </a:lnTo>
                <a:lnTo>
                  <a:pt x="552" y="0"/>
                </a:lnTo>
                <a:lnTo>
                  <a:pt x="552" y="6"/>
                </a:lnTo>
                <a:lnTo>
                  <a:pt x="552" y="6"/>
                </a:lnTo>
                <a:lnTo>
                  <a:pt x="552" y="6"/>
                </a:lnTo>
                <a:lnTo>
                  <a:pt x="552" y="6"/>
                </a:lnTo>
                <a:lnTo>
                  <a:pt x="546" y="12"/>
                </a:lnTo>
                <a:lnTo>
                  <a:pt x="546" y="12"/>
                </a:lnTo>
                <a:lnTo>
                  <a:pt x="546" y="12"/>
                </a:lnTo>
                <a:lnTo>
                  <a:pt x="546" y="18"/>
                </a:lnTo>
                <a:lnTo>
                  <a:pt x="546" y="18"/>
                </a:lnTo>
                <a:lnTo>
                  <a:pt x="546" y="18"/>
                </a:lnTo>
                <a:lnTo>
                  <a:pt x="546" y="18"/>
                </a:lnTo>
                <a:lnTo>
                  <a:pt x="546" y="18"/>
                </a:lnTo>
                <a:lnTo>
                  <a:pt x="546" y="18"/>
                </a:lnTo>
                <a:lnTo>
                  <a:pt x="546" y="18"/>
                </a:lnTo>
                <a:lnTo>
                  <a:pt x="546" y="24"/>
                </a:lnTo>
                <a:lnTo>
                  <a:pt x="546" y="24"/>
                </a:lnTo>
                <a:lnTo>
                  <a:pt x="546" y="24"/>
                </a:lnTo>
                <a:lnTo>
                  <a:pt x="546" y="24"/>
                </a:lnTo>
                <a:lnTo>
                  <a:pt x="546" y="30"/>
                </a:lnTo>
                <a:lnTo>
                  <a:pt x="552" y="30"/>
                </a:lnTo>
                <a:lnTo>
                  <a:pt x="546" y="30"/>
                </a:lnTo>
                <a:lnTo>
                  <a:pt x="552" y="30"/>
                </a:lnTo>
                <a:lnTo>
                  <a:pt x="546" y="30"/>
                </a:lnTo>
                <a:lnTo>
                  <a:pt x="552" y="30"/>
                </a:lnTo>
                <a:lnTo>
                  <a:pt x="552" y="36"/>
                </a:lnTo>
                <a:lnTo>
                  <a:pt x="546" y="36"/>
                </a:lnTo>
                <a:lnTo>
                  <a:pt x="552" y="42"/>
                </a:lnTo>
                <a:lnTo>
                  <a:pt x="552" y="48"/>
                </a:lnTo>
                <a:lnTo>
                  <a:pt x="546" y="48"/>
                </a:lnTo>
                <a:lnTo>
                  <a:pt x="546" y="48"/>
                </a:lnTo>
                <a:lnTo>
                  <a:pt x="546" y="54"/>
                </a:lnTo>
                <a:lnTo>
                  <a:pt x="546" y="54"/>
                </a:lnTo>
                <a:lnTo>
                  <a:pt x="546" y="54"/>
                </a:lnTo>
                <a:lnTo>
                  <a:pt x="546" y="54"/>
                </a:lnTo>
                <a:lnTo>
                  <a:pt x="546" y="54"/>
                </a:lnTo>
                <a:lnTo>
                  <a:pt x="546" y="60"/>
                </a:lnTo>
                <a:lnTo>
                  <a:pt x="546" y="60"/>
                </a:lnTo>
                <a:lnTo>
                  <a:pt x="546" y="60"/>
                </a:lnTo>
                <a:lnTo>
                  <a:pt x="546" y="60"/>
                </a:lnTo>
                <a:lnTo>
                  <a:pt x="546" y="60"/>
                </a:lnTo>
                <a:lnTo>
                  <a:pt x="546" y="60"/>
                </a:lnTo>
                <a:lnTo>
                  <a:pt x="546" y="66"/>
                </a:lnTo>
                <a:lnTo>
                  <a:pt x="552" y="66"/>
                </a:lnTo>
                <a:lnTo>
                  <a:pt x="552" y="66"/>
                </a:lnTo>
                <a:lnTo>
                  <a:pt x="552" y="66"/>
                </a:lnTo>
                <a:lnTo>
                  <a:pt x="558" y="66"/>
                </a:lnTo>
                <a:lnTo>
                  <a:pt x="558" y="66"/>
                </a:lnTo>
                <a:lnTo>
                  <a:pt x="558" y="72"/>
                </a:lnTo>
                <a:lnTo>
                  <a:pt x="558" y="72"/>
                </a:lnTo>
                <a:lnTo>
                  <a:pt x="558" y="72"/>
                </a:lnTo>
                <a:lnTo>
                  <a:pt x="558" y="72"/>
                </a:lnTo>
                <a:lnTo>
                  <a:pt x="558" y="72"/>
                </a:lnTo>
                <a:lnTo>
                  <a:pt x="558" y="72"/>
                </a:lnTo>
                <a:lnTo>
                  <a:pt x="558" y="72"/>
                </a:lnTo>
                <a:lnTo>
                  <a:pt x="558" y="78"/>
                </a:lnTo>
                <a:lnTo>
                  <a:pt x="558" y="78"/>
                </a:lnTo>
                <a:lnTo>
                  <a:pt x="558" y="78"/>
                </a:lnTo>
                <a:lnTo>
                  <a:pt x="558" y="78"/>
                </a:lnTo>
                <a:lnTo>
                  <a:pt x="558" y="78"/>
                </a:lnTo>
                <a:lnTo>
                  <a:pt x="564" y="84"/>
                </a:lnTo>
                <a:lnTo>
                  <a:pt x="564" y="84"/>
                </a:lnTo>
                <a:lnTo>
                  <a:pt x="564" y="84"/>
                </a:lnTo>
                <a:lnTo>
                  <a:pt x="564" y="84"/>
                </a:lnTo>
                <a:lnTo>
                  <a:pt x="564" y="84"/>
                </a:lnTo>
                <a:lnTo>
                  <a:pt x="564" y="84"/>
                </a:lnTo>
                <a:lnTo>
                  <a:pt x="564" y="84"/>
                </a:lnTo>
                <a:lnTo>
                  <a:pt x="558" y="90"/>
                </a:lnTo>
                <a:lnTo>
                  <a:pt x="558" y="90"/>
                </a:lnTo>
                <a:lnTo>
                  <a:pt x="564" y="90"/>
                </a:lnTo>
                <a:lnTo>
                  <a:pt x="558" y="90"/>
                </a:lnTo>
                <a:lnTo>
                  <a:pt x="564" y="90"/>
                </a:lnTo>
                <a:lnTo>
                  <a:pt x="564" y="90"/>
                </a:lnTo>
                <a:lnTo>
                  <a:pt x="564" y="90"/>
                </a:lnTo>
                <a:lnTo>
                  <a:pt x="564" y="96"/>
                </a:lnTo>
                <a:lnTo>
                  <a:pt x="564" y="96"/>
                </a:lnTo>
                <a:lnTo>
                  <a:pt x="564" y="96"/>
                </a:lnTo>
                <a:lnTo>
                  <a:pt x="564" y="96"/>
                </a:lnTo>
                <a:lnTo>
                  <a:pt x="564" y="96"/>
                </a:lnTo>
                <a:lnTo>
                  <a:pt x="570" y="96"/>
                </a:lnTo>
                <a:lnTo>
                  <a:pt x="570" y="96"/>
                </a:lnTo>
                <a:lnTo>
                  <a:pt x="570" y="96"/>
                </a:lnTo>
                <a:lnTo>
                  <a:pt x="570" y="102"/>
                </a:lnTo>
                <a:lnTo>
                  <a:pt x="570" y="102"/>
                </a:lnTo>
                <a:lnTo>
                  <a:pt x="570" y="102"/>
                </a:lnTo>
                <a:lnTo>
                  <a:pt x="570" y="102"/>
                </a:lnTo>
                <a:lnTo>
                  <a:pt x="570" y="102"/>
                </a:lnTo>
                <a:lnTo>
                  <a:pt x="570" y="108"/>
                </a:lnTo>
                <a:lnTo>
                  <a:pt x="570" y="108"/>
                </a:lnTo>
                <a:lnTo>
                  <a:pt x="576" y="108"/>
                </a:lnTo>
                <a:lnTo>
                  <a:pt x="576" y="108"/>
                </a:lnTo>
                <a:lnTo>
                  <a:pt x="576" y="114"/>
                </a:lnTo>
                <a:lnTo>
                  <a:pt x="570" y="114"/>
                </a:lnTo>
                <a:lnTo>
                  <a:pt x="570" y="114"/>
                </a:lnTo>
                <a:lnTo>
                  <a:pt x="570" y="114"/>
                </a:lnTo>
                <a:lnTo>
                  <a:pt x="570" y="120"/>
                </a:lnTo>
                <a:lnTo>
                  <a:pt x="570" y="120"/>
                </a:lnTo>
                <a:lnTo>
                  <a:pt x="570" y="120"/>
                </a:lnTo>
                <a:lnTo>
                  <a:pt x="570" y="120"/>
                </a:lnTo>
                <a:lnTo>
                  <a:pt x="570" y="120"/>
                </a:lnTo>
                <a:lnTo>
                  <a:pt x="570" y="120"/>
                </a:lnTo>
                <a:lnTo>
                  <a:pt x="564" y="120"/>
                </a:lnTo>
                <a:lnTo>
                  <a:pt x="570" y="126"/>
                </a:lnTo>
                <a:lnTo>
                  <a:pt x="564" y="126"/>
                </a:lnTo>
                <a:lnTo>
                  <a:pt x="570" y="126"/>
                </a:lnTo>
                <a:lnTo>
                  <a:pt x="564" y="126"/>
                </a:lnTo>
                <a:lnTo>
                  <a:pt x="570" y="132"/>
                </a:lnTo>
                <a:lnTo>
                  <a:pt x="564" y="132"/>
                </a:lnTo>
                <a:lnTo>
                  <a:pt x="564" y="132"/>
                </a:lnTo>
                <a:lnTo>
                  <a:pt x="570" y="132"/>
                </a:lnTo>
                <a:lnTo>
                  <a:pt x="570" y="132"/>
                </a:lnTo>
                <a:lnTo>
                  <a:pt x="570" y="138"/>
                </a:lnTo>
                <a:lnTo>
                  <a:pt x="570" y="138"/>
                </a:lnTo>
                <a:lnTo>
                  <a:pt x="570" y="138"/>
                </a:lnTo>
                <a:lnTo>
                  <a:pt x="570" y="138"/>
                </a:lnTo>
                <a:lnTo>
                  <a:pt x="570" y="138"/>
                </a:lnTo>
                <a:lnTo>
                  <a:pt x="570" y="138"/>
                </a:lnTo>
                <a:lnTo>
                  <a:pt x="564" y="138"/>
                </a:lnTo>
                <a:lnTo>
                  <a:pt x="570" y="144"/>
                </a:lnTo>
                <a:lnTo>
                  <a:pt x="570" y="144"/>
                </a:lnTo>
                <a:lnTo>
                  <a:pt x="570" y="144"/>
                </a:lnTo>
                <a:lnTo>
                  <a:pt x="570" y="144"/>
                </a:lnTo>
                <a:lnTo>
                  <a:pt x="564" y="144"/>
                </a:lnTo>
                <a:lnTo>
                  <a:pt x="570" y="144"/>
                </a:lnTo>
                <a:lnTo>
                  <a:pt x="570" y="150"/>
                </a:lnTo>
                <a:lnTo>
                  <a:pt x="564" y="150"/>
                </a:lnTo>
                <a:lnTo>
                  <a:pt x="564" y="150"/>
                </a:lnTo>
                <a:lnTo>
                  <a:pt x="570" y="150"/>
                </a:lnTo>
                <a:lnTo>
                  <a:pt x="570" y="150"/>
                </a:lnTo>
                <a:lnTo>
                  <a:pt x="570" y="150"/>
                </a:lnTo>
                <a:lnTo>
                  <a:pt x="570" y="150"/>
                </a:lnTo>
                <a:lnTo>
                  <a:pt x="570" y="150"/>
                </a:lnTo>
                <a:lnTo>
                  <a:pt x="570" y="156"/>
                </a:lnTo>
                <a:lnTo>
                  <a:pt x="570" y="156"/>
                </a:lnTo>
                <a:lnTo>
                  <a:pt x="570" y="156"/>
                </a:lnTo>
                <a:lnTo>
                  <a:pt x="570" y="156"/>
                </a:lnTo>
                <a:lnTo>
                  <a:pt x="570" y="156"/>
                </a:lnTo>
                <a:lnTo>
                  <a:pt x="570" y="156"/>
                </a:lnTo>
                <a:lnTo>
                  <a:pt x="570" y="156"/>
                </a:lnTo>
                <a:lnTo>
                  <a:pt x="570" y="156"/>
                </a:lnTo>
                <a:lnTo>
                  <a:pt x="576" y="156"/>
                </a:lnTo>
                <a:lnTo>
                  <a:pt x="576" y="162"/>
                </a:lnTo>
                <a:lnTo>
                  <a:pt x="576" y="162"/>
                </a:lnTo>
                <a:lnTo>
                  <a:pt x="576" y="162"/>
                </a:lnTo>
                <a:lnTo>
                  <a:pt x="576" y="162"/>
                </a:lnTo>
                <a:lnTo>
                  <a:pt x="576" y="168"/>
                </a:lnTo>
                <a:lnTo>
                  <a:pt x="576" y="168"/>
                </a:lnTo>
                <a:lnTo>
                  <a:pt x="576" y="168"/>
                </a:lnTo>
                <a:lnTo>
                  <a:pt x="576" y="168"/>
                </a:lnTo>
                <a:lnTo>
                  <a:pt x="576" y="168"/>
                </a:lnTo>
                <a:lnTo>
                  <a:pt x="576" y="168"/>
                </a:lnTo>
                <a:lnTo>
                  <a:pt x="582" y="168"/>
                </a:lnTo>
                <a:lnTo>
                  <a:pt x="582" y="174"/>
                </a:lnTo>
                <a:lnTo>
                  <a:pt x="582" y="174"/>
                </a:lnTo>
                <a:lnTo>
                  <a:pt x="582" y="174"/>
                </a:lnTo>
                <a:lnTo>
                  <a:pt x="582" y="174"/>
                </a:lnTo>
                <a:lnTo>
                  <a:pt x="582" y="174"/>
                </a:lnTo>
                <a:lnTo>
                  <a:pt x="582" y="174"/>
                </a:lnTo>
                <a:lnTo>
                  <a:pt x="588" y="174"/>
                </a:lnTo>
                <a:lnTo>
                  <a:pt x="588" y="174"/>
                </a:lnTo>
                <a:lnTo>
                  <a:pt x="588" y="180"/>
                </a:lnTo>
                <a:lnTo>
                  <a:pt x="588" y="180"/>
                </a:lnTo>
                <a:lnTo>
                  <a:pt x="588" y="180"/>
                </a:lnTo>
                <a:lnTo>
                  <a:pt x="588" y="180"/>
                </a:lnTo>
                <a:lnTo>
                  <a:pt x="588" y="180"/>
                </a:lnTo>
                <a:lnTo>
                  <a:pt x="588" y="180"/>
                </a:lnTo>
                <a:lnTo>
                  <a:pt x="594" y="180"/>
                </a:lnTo>
                <a:lnTo>
                  <a:pt x="594" y="180"/>
                </a:lnTo>
                <a:lnTo>
                  <a:pt x="594" y="186"/>
                </a:lnTo>
                <a:lnTo>
                  <a:pt x="594" y="186"/>
                </a:lnTo>
                <a:lnTo>
                  <a:pt x="594" y="186"/>
                </a:lnTo>
                <a:lnTo>
                  <a:pt x="594" y="192"/>
                </a:lnTo>
                <a:lnTo>
                  <a:pt x="588" y="192"/>
                </a:lnTo>
                <a:lnTo>
                  <a:pt x="588" y="192"/>
                </a:lnTo>
                <a:lnTo>
                  <a:pt x="588" y="198"/>
                </a:lnTo>
                <a:lnTo>
                  <a:pt x="588" y="198"/>
                </a:lnTo>
                <a:lnTo>
                  <a:pt x="588" y="204"/>
                </a:lnTo>
                <a:lnTo>
                  <a:pt x="588" y="204"/>
                </a:lnTo>
                <a:lnTo>
                  <a:pt x="588" y="204"/>
                </a:lnTo>
                <a:lnTo>
                  <a:pt x="582" y="204"/>
                </a:lnTo>
                <a:lnTo>
                  <a:pt x="576" y="210"/>
                </a:lnTo>
                <a:lnTo>
                  <a:pt x="576" y="210"/>
                </a:lnTo>
                <a:lnTo>
                  <a:pt x="576" y="210"/>
                </a:lnTo>
                <a:lnTo>
                  <a:pt x="582" y="216"/>
                </a:lnTo>
                <a:lnTo>
                  <a:pt x="582" y="222"/>
                </a:lnTo>
                <a:lnTo>
                  <a:pt x="582" y="222"/>
                </a:lnTo>
                <a:lnTo>
                  <a:pt x="582" y="222"/>
                </a:lnTo>
                <a:lnTo>
                  <a:pt x="582" y="228"/>
                </a:lnTo>
                <a:lnTo>
                  <a:pt x="576" y="234"/>
                </a:lnTo>
                <a:lnTo>
                  <a:pt x="576" y="234"/>
                </a:lnTo>
                <a:lnTo>
                  <a:pt x="570" y="240"/>
                </a:lnTo>
                <a:lnTo>
                  <a:pt x="570" y="240"/>
                </a:lnTo>
                <a:lnTo>
                  <a:pt x="570" y="240"/>
                </a:lnTo>
                <a:lnTo>
                  <a:pt x="564" y="246"/>
                </a:lnTo>
                <a:lnTo>
                  <a:pt x="564" y="246"/>
                </a:lnTo>
                <a:lnTo>
                  <a:pt x="564" y="252"/>
                </a:lnTo>
                <a:lnTo>
                  <a:pt x="558" y="258"/>
                </a:lnTo>
                <a:lnTo>
                  <a:pt x="558" y="258"/>
                </a:lnTo>
                <a:lnTo>
                  <a:pt x="558" y="258"/>
                </a:lnTo>
                <a:lnTo>
                  <a:pt x="552" y="264"/>
                </a:lnTo>
                <a:lnTo>
                  <a:pt x="546" y="264"/>
                </a:lnTo>
                <a:lnTo>
                  <a:pt x="546" y="264"/>
                </a:lnTo>
                <a:lnTo>
                  <a:pt x="546" y="270"/>
                </a:lnTo>
                <a:lnTo>
                  <a:pt x="546" y="270"/>
                </a:lnTo>
                <a:lnTo>
                  <a:pt x="546" y="276"/>
                </a:lnTo>
                <a:lnTo>
                  <a:pt x="540" y="276"/>
                </a:lnTo>
                <a:lnTo>
                  <a:pt x="540" y="282"/>
                </a:lnTo>
                <a:lnTo>
                  <a:pt x="540" y="282"/>
                </a:lnTo>
                <a:lnTo>
                  <a:pt x="534" y="288"/>
                </a:lnTo>
                <a:lnTo>
                  <a:pt x="528" y="294"/>
                </a:lnTo>
                <a:lnTo>
                  <a:pt x="522" y="306"/>
                </a:lnTo>
                <a:lnTo>
                  <a:pt x="522" y="306"/>
                </a:lnTo>
                <a:lnTo>
                  <a:pt x="522" y="306"/>
                </a:lnTo>
                <a:lnTo>
                  <a:pt x="522" y="318"/>
                </a:lnTo>
                <a:lnTo>
                  <a:pt x="522" y="318"/>
                </a:lnTo>
                <a:lnTo>
                  <a:pt x="522" y="318"/>
                </a:lnTo>
                <a:lnTo>
                  <a:pt x="516" y="318"/>
                </a:lnTo>
                <a:lnTo>
                  <a:pt x="522" y="318"/>
                </a:lnTo>
                <a:lnTo>
                  <a:pt x="522" y="318"/>
                </a:lnTo>
                <a:lnTo>
                  <a:pt x="516" y="312"/>
                </a:lnTo>
                <a:lnTo>
                  <a:pt x="516" y="312"/>
                </a:lnTo>
                <a:lnTo>
                  <a:pt x="516" y="312"/>
                </a:lnTo>
                <a:lnTo>
                  <a:pt x="510" y="312"/>
                </a:lnTo>
                <a:lnTo>
                  <a:pt x="510" y="312"/>
                </a:lnTo>
                <a:lnTo>
                  <a:pt x="510" y="312"/>
                </a:lnTo>
                <a:lnTo>
                  <a:pt x="516" y="312"/>
                </a:lnTo>
                <a:lnTo>
                  <a:pt x="516" y="312"/>
                </a:lnTo>
                <a:lnTo>
                  <a:pt x="516" y="306"/>
                </a:lnTo>
                <a:lnTo>
                  <a:pt x="510" y="306"/>
                </a:lnTo>
                <a:lnTo>
                  <a:pt x="510" y="306"/>
                </a:lnTo>
                <a:lnTo>
                  <a:pt x="510" y="306"/>
                </a:lnTo>
                <a:lnTo>
                  <a:pt x="510" y="300"/>
                </a:lnTo>
                <a:lnTo>
                  <a:pt x="510" y="300"/>
                </a:lnTo>
                <a:lnTo>
                  <a:pt x="510" y="300"/>
                </a:lnTo>
                <a:lnTo>
                  <a:pt x="510" y="300"/>
                </a:lnTo>
                <a:lnTo>
                  <a:pt x="510" y="300"/>
                </a:lnTo>
                <a:lnTo>
                  <a:pt x="510" y="294"/>
                </a:lnTo>
                <a:lnTo>
                  <a:pt x="510" y="288"/>
                </a:lnTo>
                <a:lnTo>
                  <a:pt x="510" y="288"/>
                </a:lnTo>
                <a:lnTo>
                  <a:pt x="504" y="294"/>
                </a:lnTo>
                <a:lnTo>
                  <a:pt x="504" y="288"/>
                </a:lnTo>
                <a:lnTo>
                  <a:pt x="504" y="288"/>
                </a:lnTo>
                <a:lnTo>
                  <a:pt x="504" y="288"/>
                </a:lnTo>
                <a:lnTo>
                  <a:pt x="504" y="288"/>
                </a:lnTo>
                <a:lnTo>
                  <a:pt x="498" y="288"/>
                </a:lnTo>
                <a:lnTo>
                  <a:pt x="498" y="288"/>
                </a:lnTo>
                <a:lnTo>
                  <a:pt x="498" y="282"/>
                </a:lnTo>
                <a:lnTo>
                  <a:pt x="498" y="288"/>
                </a:lnTo>
                <a:lnTo>
                  <a:pt x="498" y="288"/>
                </a:lnTo>
                <a:lnTo>
                  <a:pt x="492" y="288"/>
                </a:lnTo>
                <a:lnTo>
                  <a:pt x="492" y="288"/>
                </a:lnTo>
                <a:lnTo>
                  <a:pt x="492" y="288"/>
                </a:lnTo>
                <a:lnTo>
                  <a:pt x="492" y="282"/>
                </a:lnTo>
                <a:lnTo>
                  <a:pt x="486" y="282"/>
                </a:lnTo>
                <a:lnTo>
                  <a:pt x="486" y="282"/>
                </a:lnTo>
                <a:lnTo>
                  <a:pt x="486" y="282"/>
                </a:lnTo>
                <a:lnTo>
                  <a:pt x="486" y="282"/>
                </a:lnTo>
                <a:lnTo>
                  <a:pt x="486" y="282"/>
                </a:lnTo>
                <a:lnTo>
                  <a:pt x="486" y="282"/>
                </a:lnTo>
                <a:lnTo>
                  <a:pt x="480" y="282"/>
                </a:lnTo>
                <a:lnTo>
                  <a:pt x="474" y="288"/>
                </a:lnTo>
                <a:lnTo>
                  <a:pt x="474" y="288"/>
                </a:lnTo>
                <a:lnTo>
                  <a:pt x="474" y="288"/>
                </a:lnTo>
                <a:lnTo>
                  <a:pt x="474" y="288"/>
                </a:lnTo>
                <a:lnTo>
                  <a:pt x="474" y="288"/>
                </a:lnTo>
                <a:lnTo>
                  <a:pt x="474" y="288"/>
                </a:lnTo>
                <a:lnTo>
                  <a:pt x="468" y="288"/>
                </a:lnTo>
                <a:lnTo>
                  <a:pt x="468" y="288"/>
                </a:lnTo>
                <a:lnTo>
                  <a:pt x="468" y="288"/>
                </a:lnTo>
                <a:lnTo>
                  <a:pt x="468" y="288"/>
                </a:lnTo>
                <a:lnTo>
                  <a:pt x="462" y="288"/>
                </a:lnTo>
                <a:lnTo>
                  <a:pt x="462" y="288"/>
                </a:lnTo>
                <a:lnTo>
                  <a:pt x="462" y="288"/>
                </a:lnTo>
                <a:lnTo>
                  <a:pt x="462" y="288"/>
                </a:lnTo>
                <a:lnTo>
                  <a:pt x="462" y="282"/>
                </a:lnTo>
                <a:lnTo>
                  <a:pt x="462" y="282"/>
                </a:lnTo>
                <a:lnTo>
                  <a:pt x="462" y="282"/>
                </a:lnTo>
                <a:lnTo>
                  <a:pt x="462" y="282"/>
                </a:lnTo>
                <a:lnTo>
                  <a:pt x="462" y="282"/>
                </a:lnTo>
                <a:lnTo>
                  <a:pt x="456" y="282"/>
                </a:lnTo>
                <a:lnTo>
                  <a:pt x="456" y="276"/>
                </a:lnTo>
                <a:lnTo>
                  <a:pt x="456" y="276"/>
                </a:lnTo>
                <a:lnTo>
                  <a:pt x="456" y="276"/>
                </a:lnTo>
                <a:lnTo>
                  <a:pt x="456" y="276"/>
                </a:lnTo>
                <a:lnTo>
                  <a:pt x="456" y="276"/>
                </a:lnTo>
                <a:lnTo>
                  <a:pt x="456" y="276"/>
                </a:lnTo>
                <a:lnTo>
                  <a:pt x="456" y="276"/>
                </a:lnTo>
                <a:lnTo>
                  <a:pt x="456" y="270"/>
                </a:lnTo>
                <a:lnTo>
                  <a:pt x="450" y="270"/>
                </a:lnTo>
                <a:lnTo>
                  <a:pt x="450" y="270"/>
                </a:lnTo>
                <a:lnTo>
                  <a:pt x="450" y="270"/>
                </a:lnTo>
                <a:lnTo>
                  <a:pt x="450" y="264"/>
                </a:lnTo>
                <a:lnTo>
                  <a:pt x="450" y="264"/>
                </a:lnTo>
                <a:lnTo>
                  <a:pt x="450" y="264"/>
                </a:lnTo>
                <a:lnTo>
                  <a:pt x="444" y="264"/>
                </a:lnTo>
                <a:lnTo>
                  <a:pt x="444" y="264"/>
                </a:lnTo>
                <a:lnTo>
                  <a:pt x="444" y="264"/>
                </a:lnTo>
                <a:lnTo>
                  <a:pt x="444" y="258"/>
                </a:lnTo>
                <a:lnTo>
                  <a:pt x="444" y="258"/>
                </a:lnTo>
                <a:lnTo>
                  <a:pt x="444" y="258"/>
                </a:lnTo>
                <a:lnTo>
                  <a:pt x="444" y="258"/>
                </a:lnTo>
                <a:lnTo>
                  <a:pt x="438" y="258"/>
                </a:lnTo>
                <a:lnTo>
                  <a:pt x="438" y="258"/>
                </a:lnTo>
                <a:lnTo>
                  <a:pt x="438" y="258"/>
                </a:lnTo>
                <a:lnTo>
                  <a:pt x="438" y="258"/>
                </a:lnTo>
                <a:lnTo>
                  <a:pt x="432" y="258"/>
                </a:lnTo>
                <a:lnTo>
                  <a:pt x="432" y="258"/>
                </a:lnTo>
                <a:lnTo>
                  <a:pt x="432" y="258"/>
                </a:lnTo>
                <a:lnTo>
                  <a:pt x="432" y="258"/>
                </a:lnTo>
                <a:lnTo>
                  <a:pt x="432" y="258"/>
                </a:lnTo>
                <a:lnTo>
                  <a:pt x="432" y="252"/>
                </a:lnTo>
                <a:lnTo>
                  <a:pt x="426" y="252"/>
                </a:lnTo>
                <a:lnTo>
                  <a:pt x="426" y="252"/>
                </a:lnTo>
                <a:lnTo>
                  <a:pt x="426" y="252"/>
                </a:lnTo>
                <a:lnTo>
                  <a:pt x="426" y="252"/>
                </a:lnTo>
                <a:lnTo>
                  <a:pt x="426" y="252"/>
                </a:lnTo>
                <a:lnTo>
                  <a:pt x="420" y="252"/>
                </a:lnTo>
                <a:lnTo>
                  <a:pt x="420" y="252"/>
                </a:lnTo>
                <a:lnTo>
                  <a:pt x="420" y="252"/>
                </a:lnTo>
                <a:lnTo>
                  <a:pt x="414" y="258"/>
                </a:lnTo>
                <a:lnTo>
                  <a:pt x="414" y="258"/>
                </a:lnTo>
                <a:lnTo>
                  <a:pt x="408" y="264"/>
                </a:lnTo>
                <a:lnTo>
                  <a:pt x="408" y="264"/>
                </a:lnTo>
                <a:lnTo>
                  <a:pt x="408" y="264"/>
                </a:lnTo>
                <a:lnTo>
                  <a:pt x="408" y="270"/>
                </a:lnTo>
                <a:lnTo>
                  <a:pt x="408" y="270"/>
                </a:lnTo>
                <a:lnTo>
                  <a:pt x="408" y="270"/>
                </a:lnTo>
                <a:lnTo>
                  <a:pt x="408" y="270"/>
                </a:lnTo>
                <a:lnTo>
                  <a:pt x="408" y="270"/>
                </a:lnTo>
                <a:lnTo>
                  <a:pt x="408" y="276"/>
                </a:lnTo>
                <a:lnTo>
                  <a:pt x="402" y="276"/>
                </a:lnTo>
                <a:lnTo>
                  <a:pt x="402" y="276"/>
                </a:lnTo>
                <a:lnTo>
                  <a:pt x="402" y="276"/>
                </a:lnTo>
                <a:lnTo>
                  <a:pt x="402" y="282"/>
                </a:lnTo>
                <a:lnTo>
                  <a:pt x="402" y="276"/>
                </a:lnTo>
                <a:lnTo>
                  <a:pt x="402" y="276"/>
                </a:lnTo>
                <a:lnTo>
                  <a:pt x="408" y="282"/>
                </a:lnTo>
                <a:lnTo>
                  <a:pt x="408" y="282"/>
                </a:lnTo>
                <a:lnTo>
                  <a:pt x="402" y="282"/>
                </a:lnTo>
                <a:lnTo>
                  <a:pt x="402" y="282"/>
                </a:lnTo>
                <a:lnTo>
                  <a:pt x="402" y="282"/>
                </a:lnTo>
                <a:lnTo>
                  <a:pt x="402" y="282"/>
                </a:lnTo>
                <a:lnTo>
                  <a:pt x="396" y="282"/>
                </a:lnTo>
                <a:lnTo>
                  <a:pt x="396" y="282"/>
                </a:lnTo>
                <a:lnTo>
                  <a:pt x="396" y="282"/>
                </a:lnTo>
                <a:lnTo>
                  <a:pt x="396" y="288"/>
                </a:lnTo>
                <a:lnTo>
                  <a:pt x="390" y="282"/>
                </a:lnTo>
                <a:lnTo>
                  <a:pt x="390" y="288"/>
                </a:lnTo>
                <a:lnTo>
                  <a:pt x="390" y="288"/>
                </a:lnTo>
                <a:lnTo>
                  <a:pt x="390" y="288"/>
                </a:lnTo>
                <a:lnTo>
                  <a:pt x="384" y="282"/>
                </a:lnTo>
                <a:lnTo>
                  <a:pt x="384" y="282"/>
                </a:lnTo>
                <a:lnTo>
                  <a:pt x="384" y="288"/>
                </a:lnTo>
                <a:lnTo>
                  <a:pt x="384" y="282"/>
                </a:lnTo>
                <a:lnTo>
                  <a:pt x="384" y="288"/>
                </a:lnTo>
                <a:lnTo>
                  <a:pt x="378" y="282"/>
                </a:lnTo>
                <a:lnTo>
                  <a:pt x="378" y="282"/>
                </a:lnTo>
                <a:lnTo>
                  <a:pt x="378" y="282"/>
                </a:lnTo>
                <a:lnTo>
                  <a:pt x="378" y="288"/>
                </a:lnTo>
                <a:lnTo>
                  <a:pt x="378" y="288"/>
                </a:lnTo>
                <a:lnTo>
                  <a:pt x="372" y="288"/>
                </a:lnTo>
                <a:lnTo>
                  <a:pt x="372" y="282"/>
                </a:lnTo>
                <a:lnTo>
                  <a:pt x="372" y="282"/>
                </a:lnTo>
                <a:lnTo>
                  <a:pt x="372" y="282"/>
                </a:lnTo>
                <a:lnTo>
                  <a:pt x="372" y="282"/>
                </a:lnTo>
                <a:lnTo>
                  <a:pt x="372" y="282"/>
                </a:lnTo>
                <a:lnTo>
                  <a:pt x="372" y="282"/>
                </a:lnTo>
                <a:lnTo>
                  <a:pt x="366" y="282"/>
                </a:lnTo>
                <a:lnTo>
                  <a:pt x="366" y="282"/>
                </a:lnTo>
                <a:lnTo>
                  <a:pt x="360" y="282"/>
                </a:lnTo>
                <a:lnTo>
                  <a:pt x="360" y="276"/>
                </a:lnTo>
                <a:lnTo>
                  <a:pt x="360" y="276"/>
                </a:lnTo>
                <a:lnTo>
                  <a:pt x="360" y="276"/>
                </a:lnTo>
                <a:lnTo>
                  <a:pt x="360" y="276"/>
                </a:lnTo>
                <a:lnTo>
                  <a:pt x="354" y="276"/>
                </a:lnTo>
                <a:lnTo>
                  <a:pt x="354" y="276"/>
                </a:lnTo>
                <a:lnTo>
                  <a:pt x="348" y="276"/>
                </a:lnTo>
                <a:lnTo>
                  <a:pt x="342" y="276"/>
                </a:lnTo>
                <a:lnTo>
                  <a:pt x="342" y="276"/>
                </a:lnTo>
                <a:lnTo>
                  <a:pt x="342" y="276"/>
                </a:lnTo>
                <a:lnTo>
                  <a:pt x="342" y="276"/>
                </a:lnTo>
                <a:lnTo>
                  <a:pt x="342" y="276"/>
                </a:lnTo>
                <a:lnTo>
                  <a:pt x="342" y="276"/>
                </a:lnTo>
                <a:lnTo>
                  <a:pt x="336" y="276"/>
                </a:lnTo>
                <a:lnTo>
                  <a:pt x="336" y="276"/>
                </a:lnTo>
                <a:lnTo>
                  <a:pt x="330" y="276"/>
                </a:lnTo>
                <a:lnTo>
                  <a:pt x="330" y="276"/>
                </a:lnTo>
                <a:lnTo>
                  <a:pt x="324" y="276"/>
                </a:lnTo>
                <a:lnTo>
                  <a:pt x="324" y="276"/>
                </a:lnTo>
                <a:lnTo>
                  <a:pt x="324" y="276"/>
                </a:lnTo>
                <a:lnTo>
                  <a:pt x="318" y="276"/>
                </a:lnTo>
                <a:lnTo>
                  <a:pt x="318" y="276"/>
                </a:lnTo>
                <a:lnTo>
                  <a:pt x="318" y="276"/>
                </a:lnTo>
                <a:lnTo>
                  <a:pt x="312" y="276"/>
                </a:lnTo>
                <a:lnTo>
                  <a:pt x="312" y="276"/>
                </a:lnTo>
                <a:lnTo>
                  <a:pt x="312" y="276"/>
                </a:lnTo>
                <a:lnTo>
                  <a:pt x="312" y="276"/>
                </a:lnTo>
                <a:lnTo>
                  <a:pt x="312" y="276"/>
                </a:lnTo>
                <a:lnTo>
                  <a:pt x="312" y="276"/>
                </a:lnTo>
                <a:lnTo>
                  <a:pt x="306" y="276"/>
                </a:lnTo>
                <a:lnTo>
                  <a:pt x="306" y="276"/>
                </a:lnTo>
                <a:lnTo>
                  <a:pt x="306" y="276"/>
                </a:lnTo>
                <a:lnTo>
                  <a:pt x="300" y="276"/>
                </a:lnTo>
                <a:lnTo>
                  <a:pt x="294" y="282"/>
                </a:lnTo>
                <a:lnTo>
                  <a:pt x="294" y="276"/>
                </a:lnTo>
                <a:lnTo>
                  <a:pt x="294" y="276"/>
                </a:lnTo>
                <a:lnTo>
                  <a:pt x="294" y="282"/>
                </a:lnTo>
                <a:lnTo>
                  <a:pt x="288" y="276"/>
                </a:lnTo>
                <a:lnTo>
                  <a:pt x="288" y="282"/>
                </a:lnTo>
                <a:lnTo>
                  <a:pt x="288" y="282"/>
                </a:lnTo>
                <a:lnTo>
                  <a:pt x="288" y="282"/>
                </a:lnTo>
                <a:lnTo>
                  <a:pt x="288" y="282"/>
                </a:lnTo>
                <a:lnTo>
                  <a:pt x="288" y="282"/>
                </a:lnTo>
                <a:lnTo>
                  <a:pt x="288" y="282"/>
                </a:lnTo>
                <a:lnTo>
                  <a:pt x="282" y="282"/>
                </a:lnTo>
                <a:lnTo>
                  <a:pt x="282" y="282"/>
                </a:lnTo>
                <a:lnTo>
                  <a:pt x="282" y="282"/>
                </a:lnTo>
                <a:lnTo>
                  <a:pt x="282" y="282"/>
                </a:lnTo>
                <a:lnTo>
                  <a:pt x="276" y="282"/>
                </a:lnTo>
                <a:lnTo>
                  <a:pt x="276" y="282"/>
                </a:lnTo>
                <a:lnTo>
                  <a:pt x="270" y="282"/>
                </a:lnTo>
                <a:lnTo>
                  <a:pt x="270" y="282"/>
                </a:lnTo>
                <a:lnTo>
                  <a:pt x="264" y="282"/>
                </a:lnTo>
                <a:lnTo>
                  <a:pt x="264" y="282"/>
                </a:lnTo>
                <a:lnTo>
                  <a:pt x="264" y="276"/>
                </a:lnTo>
                <a:lnTo>
                  <a:pt x="264" y="276"/>
                </a:lnTo>
                <a:lnTo>
                  <a:pt x="264" y="276"/>
                </a:lnTo>
                <a:lnTo>
                  <a:pt x="258" y="276"/>
                </a:lnTo>
                <a:lnTo>
                  <a:pt x="258" y="270"/>
                </a:lnTo>
                <a:lnTo>
                  <a:pt x="258" y="270"/>
                </a:lnTo>
                <a:lnTo>
                  <a:pt x="258" y="276"/>
                </a:lnTo>
                <a:lnTo>
                  <a:pt x="258" y="276"/>
                </a:lnTo>
                <a:lnTo>
                  <a:pt x="258" y="276"/>
                </a:lnTo>
                <a:lnTo>
                  <a:pt x="258" y="276"/>
                </a:lnTo>
                <a:lnTo>
                  <a:pt x="258" y="276"/>
                </a:lnTo>
                <a:lnTo>
                  <a:pt x="252" y="276"/>
                </a:lnTo>
                <a:lnTo>
                  <a:pt x="252" y="276"/>
                </a:lnTo>
                <a:lnTo>
                  <a:pt x="252" y="276"/>
                </a:lnTo>
                <a:lnTo>
                  <a:pt x="252" y="276"/>
                </a:lnTo>
                <a:lnTo>
                  <a:pt x="252" y="276"/>
                </a:lnTo>
                <a:lnTo>
                  <a:pt x="252" y="276"/>
                </a:lnTo>
                <a:lnTo>
                  <a:pt x="246" y="276"/>
                </a:lnTo>
                <a:lnTo>
                  <a:pt x="246" y="276"/>
                </a:lnTo>
                <a:lnTo>
                  <a:pt x="246" y="276"/>
                </a:lnTo>
                <a:lnTo>
                  <a:pt x="246" y="270"/>
                </a:lnTo>
                <a:lnTo>
                  <a:pt x="246" y="270"/>
                </a:lnTo>
                <a:lnTo>
                  <a:pt x="246" y="270"/>
                </a:lnTo>
                <a:lnTo>
                  <a:pt x="240" y="270"/>
                </a:lnTo>
                <a:lnTo>
                  <a:pt x="234" y="270"/>
                </a:lnTo>
                <a:lnTo>
                  <a:pt x="234" y="270"/>
                </a:lnTo>
                <a:lnTo>
                  <a:pt x="234" y="270"/>
                </a:lnTo>
                <a:lnTo>
                  <a:pt x="228" y="270"/>
                </a:lnTo>
                <a:lnTo>
                  <a:pt x="228" y="270"/>
                </a:lnTo>
                <a:lnTo>
                  <a:pt x="222" y="270"/>
                </a:lnTo>
                <a:lnTo>
                  <a:pt x="222" y="270"/>
                </a:lnTo>
                <a:lnTo>
                  <a:pt x="216" y="270"/>
                </a:lnTo>
                <a:lnTo>
                  <a:pt x="216" y="270"/>
                </a:lnTo>
                <a:lnTo>
                  <a:pt x="210" y="270"/>
                </a:lnTo>
                <a:lnTo>
                  <a:pt x="210" y="270"/>
                </a:lnTo>
                <a:lnTo>
                  <a:pt x="210" y="270"/>
                </a:lnTo>
                <a:lnTo>
                  <a:pt x="204" y="270"/>
                </a:lnTo>
                <a:lnTo>
                  <a:pt x="204" y="270"/>
                </a:lnTo>
                <a:lnTo>
                  <a:pt x="204" y="270"/>
                </a:lnTo>
                <a:lnTo>
                  <a:pt x="198" y="270"/>
                </a:lnTo>
                <a:lnTo>
                  <a:pt x="198" y="270"/>
                </a:lnTo>
                <a:lnTo>
                  <a:pt x="192" y="270"/>
                </a:lnTo>
                <a:lnTo>
                  <a:pt x="192" y="270"/>
                </a:lnTo>
                <a:lnTo>
                  <a:pt x="192" y="276"/>
                </a:lnTo>
                <a:lnTo>
                  <a:pt x="192" y="276"/>
                </a:lnTo>
                <a:lnTo>
                  <a:pt x="186" y="276"/>
                </a:lnTo>
                <a:lnTo>
                  <a:pt x="186" y="276"/>
                </a:lnTo>
                <a:lnTo>
                  <a:pt x="186" y="276"/>
                </a:lnTo>
                <a:lnTo>
                  <a:pt x="186" y="276"/>
                </a:lnTo>
                <a:lnTo>
                  <a:pt x="186" y="270"/>
                </a:lnTo>
                <a:lnTo>
                  <a:pt x="180" y="270"/>
                </a:lnTo>
                <a:lnTo>
                  <a:pt x="180" y="270"/>
                </a:lnTo>
                <a:lnTo>
                  <a:pt x="174" y="276"/>
                </a:lnTo>
                <a:lnTo>
                  <a:pt x="174" y="276"/>
                </a:lnTo>
                <a:lnTo>
                  <a:pt x="174" y="276"/>
                </a:lnTo>
                <a:lnTo>
                  <a:pt x="174" y="282"/>
                </a:lnTo>
                <a:lnTo>
                  <a:pt x="174" y="282"/>
                </a:lnTo>
                <a:lnTo>
                  <a:pt x="174" y="288"/>
                </a:lnTo>
                <a:lnTo>
                  <a:pt x="174" y="288"/>
                </a:lnTo>
                <a:lnTo>
                  <a:pt x="174" y="288"/>
                </a:lnTo>
                <a:lnTo>
                  <a:pt x="174" y="294"/>
                </a:lnTo>
                <a:lnTo>
                  <a:pt x="168" y="300"/>
                </a:lnTo>
                <a:lnTo>
                  <a:pt x="168" y="300"/>
                </a:lnTo>
                <a:lnTo>
                  <a:pt x="162" y="294"/>
                </a:lnTo>
                <a:lnTo>
                  <a:pt x="156" y="294"/>
                </a:lnTo>
                <a:lnTo>
                  <a:pt x="156" y="300"/>
                </a:lnTo>
                <a:lnTo>
                  <a:pt x="156" y="300"/>
                </a:lnTo>
                <a:lnTo>
                  <a:pt x="132" y="306"/>
                </a:lnTo>
                <a:lnTo>
                  <a:pt x="132" y="306"/>
                </a:lnTo>
                <a:lnTo>
                  <a:pt x="126" y="312"/>
                </a:lnTo>
                <a:lnTo>
                  <a:pt x="120" y="312"/>
                </a:lnTo>
                <a:lnTo>
                  <a:pt x="114" y="312"/>
                </a:lnTo>
                <a:lnTo>
                  <a:pt x="114" y="312"/>
                </a:lnTo>
                <a:lnTo>
                  <a:pt x="114" y="312"/>
                </a:lnTo>
                <a:lnTo>
                  <a:pt x="114" y="312"/>
                </a:lnTo>
                <a:lnTo>
                  <a:pt x="108" y="312"/>
                </a:lnTo>
                <a:lnTo>
                  <a:pt x="108" y="312"/>
                </a:lnTo>
                <a:lnTo>
                  <a:pt x="108" y="312"/>
                </a:lnTo>
                <a:lnTo>
                  <a:pt x="108" y="312"/>
                </a:lnTo>
                <a:lnTo>
                  <a:pt x="108" y="312"/>
                </a:lnTo>
                <a:lnTo>
                  <a:pt x="108" y="312"/>
                </a:lnTo>
                <a:lnTo>
                  <a:pt x="108" y="312"/>
                </a:lnTo>
                <a:lnTo>
                  <a:pt x="108" y="312"/>
                </a:lnTo>
                <a:lnTo>
                  <a:pt x="102" y="312"/>
                </a:lnTo>
                <a:lnTo>
                  <a:pt x="102" y="312"/>
                </a:lnTo>
                <a:lnTo>
                  <a:pt x="102" y="312"/>
                </a:lnTo>
                <a:lnTo>
                  <a:pt x="102" y="306"/>
                </a:lnTo>
                <a:lnTo>
                  <a:pt x="102" y="306"/>
                </a:lnTo>
                <a:lnTo>
                  <a:pt x="102" y="306"/>
                </a:lnTo>
                <a:lnTo>
                  <a:pt x="102" y="300"/>
                </a:lnTo>
                <a:lnTo>
                  <a:pt x="102" y="300"/>
                </a:lnTo>
                <a:lnTo>
                  <a:pt x="102" y="300"/>
                </a:lnTo>
                <a:lnTo>
                  <a:pt x="108" y="300"/>
                </a:lnTo>
                <a:lnTo>
                  <a:pt x="108" y="300"/>
                </a:lnTo>
                <a:lnTo>
                  <a:pt x="108" y="300"/>
                </a:lnTo>
                <a:lnTo>
                  <a:pt x="108" y="294"/>
                </a:lnTo>
                <a:lnTo>
                  <a:pt x="108" y="294"/>
                </a:lnTo>
                <a:lnTo>
                  <a:pt x="114" y="294"/>
                </a:lnTo>
                <a:lnTo>
                  <a:pt x="114" y="288"/>
                </a:lnTo>
                <a:lnTo>
                  <a:pt x="114" y="288"/>
                </a:lnTo>
                <a:lnTo>
                  <a:pt x="114" y="288"/>
                </a:lnTo>
                <a:lnTo>
                  <a:pt x="114" y="288"/>
                </a:lnTo>
                <a:lnTo>
                  <a:pt x="114" y="288"/>
                </a:lnTo>
                <a:lnTo>
                  <a:pt x="108" y="282"/>
                </a:lnTo>
                <a:lnTo>
                  <a:pt x="108" y="282"/>
                </a:lnTo>
                <a:lnTo>
                  <a:pt x="114" y="282"/>
                </a:lnTo>
                <a:lnTo>
                  <a:pt x="114" y="282"/>
                </a:lnTo>
                <a:lnTo>
                  <a:pt x="114" y="282"/>
                </a:lnTo>
                <a:lnTo>
                  <a:pt x="108" y="276"/>
                </a:lnTo>
                <a:lnTo>
                  <a:pt x="108" y="276"/>
                </a:lnTo>
                <a:lnTo>
                  <a:pt x="108" y="276"/>
                </a:lnTo>
                <a:lnTo>
                  <a:pt x="108" y="276"/>
                </a:lnTo>
                <a:lnTo>
                  <a:pt x="108" y="276"/>
                </a:lnTo>
                <a:lnTo>
                  <a:pt x="108" y="276"/>
                </a:lnTo>
                <a:lnTo>
                  <a:pt x="108" y="270"/>
                </a:lnTo>
                <a:lnTo>
                  <a:pt x="108" y="270"/>
                </a:lnTo>
                <a:lnTo>
                  <a:pt x="108" y="270"/>
                </a:lnTo>
                <a:lnTo>
                  <a:pt x="108" y="270"/>
                </a:lnTo>
                <a:lnTo>
                  <a:pt x="108" y="270"/>
                </a:lnTo>
                <a:lnTo>
                  <a:pt x="102" y="264"/>
                </a:lnTo>
                <a:lnTo>
                  <a:pt x="102" y="264"/>
                </a:lnTo>
                <a:lnTo>
                  <a:pt x="102" y="258"/>
                </a:lnTo>
                <a:lnTo>
                  <a:pt x="102" y="252"/>
                </a:lnTo>
                <a:lnTo>
                  <a:pt x="96" y="252"/>
                </a:lnTo>
                <a:lnTo>
                  <a:pt x="96" y="252"/>
                </a:lnTo>
                <a:lnTo>
                  <a:pt x="96" y="246"/>
                </a:lnTo>
                <a:lnTo>
                  <a:pt x="96" y="246"/>
                </a:lnTo>
                <a:lnTo>
                  <a:pt x="90" y="240"/>
                </a:lnTo>
                <a:lnTo>
                  <a:pt x="84" y="234"/>
                </a:lnTo>
                <a:lnTo>
                  <a:pt x="84" y="234"/>
                </a:lnTo>
                <a:lnTo>
                  <a:pt x="78" y="228"/>
                </a:lnTo>
                <a:lnTo>
                  <a:pt x="78" y="228"/>
                </a:lnTo>
                <a:lnTo>
                  <a:pt x="84" y="222"/>
                </a:lnTo>
                <a:lnTo>
                  <a:pt x="84" y="222"/>
                </a:lnTo>
                <a:lnTo>
                  <a:pt x="84" y="222"/>
                </a:lnTo>
                <a:lnTo>
                  <a:pt x="84" y="216"/>
                </a:lnTo>
                <a:lnTo>
                  <a:pt x="84" y="210"/>
                </a:lnTo>
                <a:lnTo>
                  <a:pt x="78" y="204"/>
                </a:lnTo>
                <a:lnTo>
                  <a:pt x="78" y="192"/>
                </a:lnTo>
                <a:lnTo>
                  <a:pt x="78" y="192"/>
                </a:lnTo>
                <a:lnTo>
                  <a:pt x="78" y="192"/>
                </a:lnTo>
                <a:lnTo>
                  <a:pt x="78" y="192"/>
                </a:lnTo>
                <a:lnTo>
                  <a:pt x="78" y="186"/>
                </a:lnTo>
                <a:lnTo>
                  <a:pt x="84" y="180"/>
                </a:lnTo>
                <a:lnTo>
                  <a:pt x="84" y="180"/>
                </a:lnTo>
                <a:lnTo>
                  <a:pt x="84" y="18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297" name="Freeform 30"/>
          <p:cNvSpPr>
            <a:spLocks/>
          </p:cNvSpPr>
          <p:nvPr/>
        </p:nvSpPr>
        <p:spPr bwMode="auto">
          <a:xfrm>
            <a:off x="5168753" y="370484"/>
            <a:ext cx="218418" cy="494655"/>
          </a:xfrm>
          <a:custGeom>
            <a:avLst/>
            <a:gdLst>
              <a:gd name="T0" fmla="*/ 30 w 204"/>
              <a:gd name="T1" fmla="*/ 378 h 462"/>
              <a:gd name="T2" fmla="*/ 48 w 204"/>
              <a:gd name="T3" fmla="*/ 330 h 462"/>
              <a:gd name="T4" fmla="*/ 78 w 204"/>
              <a:gd name="T5" fmla="*/ 288 h 462"/>
              <a:gd name="T6" fmla="*/ 96 w 204"/>
              <a:gd name="T7" fmla="*/ 252 h 462"/>
              <a:gd name="T8" fmla="*/ 96 w 204"/>
              <a:gd name="T9" fmla="*/ 228 h 462"/>
              <a:gd name="T10" fmla="*/ 84 w 204"/>
              <a:gd name="T11" fmla="*/ 216 h 462"/>
              <a:gd name="T12" fmla="*/ 78 w 204"/>
              <a:gd name="T13" fmla="*/ 204 h 462"/>
              <a:gd name="T14" fmla="*/ 72 w 204"/>
              <a:gd name="T15" fmla="*/ 192 h 462"/>
              <a:gd name="T16" fmla="*/ 72 w 204"/>
              <a:gd name="T17" fmla="*/ 180 h 462"/>
              <a:gd name="T18" fmla="*/ 78 w 204"/>
              <a:gd name="T19" fmla="*/ 162 h 462"/>
              <a:gd name="T20" fmla="*/ 78 w 204"/>
              <a:gd name="T21" fmla="*/ 144 h 462"/>
              <a:gd name="T22" fmla="*/ 72 w 204"/>
              <a:gd name="T23" fmla="*/ 132 h 462"/>
              <a:gd name="T24" fmla="*/ 66 w 204"/>
              <a:gd name="T25" fmla="*/ 120 h 462"/>
              <a:gd name="T26" fmla="*/ 54 w 204"/>
              <a:gd name="T27" fmla="*/ 108 h 462"/>
              <a:gd name="T28" fmla="*/ 60 w 204"/>
              <a:gd name="T29" fmla="*/ 78 h 462"/>
              <a:gd name="T30" fmla="*/ 54 w 204"/>
              <a:gd name="T31" fmla="*/ 66 h 462"/>
              <a:gd name="T32" fmla="*/ 54 w 204"/>
              <a:gd name="T33" fmla="*/ 48 h 462"/>
              <a:gd name="T34" fmla="*/ 54 w 204"/>
              <a:gd name="T35" fmla="*/ 24 h 462"/>
              <a:gd name="T36" fmla="*/ 48 w 204"/>
              <a:gd name="T37" fmla="*/ 6 h 462"/>
              <a:gd name="T38" fmla="*/ 60 w 204"/>
              <a:gd name="T39" fmla="*/ 6 h 462"/>
              <a:gd name="T40" fmla="*/ 84 w 204"/>
              <a:gd name="T41" fmla="*/ 6 h 462"/>
              <a:gd name="T42" fmla="*/ 102 w 204"/>
              <a:gd name="T43" fmla="*/ 0 h 462"/>
              <a:gd name="T44" fmla="*/ 120 w 204"/>
              <a:gd name="T45" fmla="*/ 0 h 462"/>
              <a:gd name="T46" fmla="*/ 138 w 204"/>
              <a:gd name="T47" fmla="*/ 24 h 462"/>
              <a:gd name="T48" fmla="*/ 138 w 204"/>
              <a:gd name="T49" fmla="*/ 36 h 462"/>
              <a:gd name="T50" fmla="*/ 138 w 204"/>
              <a:gd name="T51" fmla="*/ 60 h 462"/>
              <a:gd name="T52" fmla="*/ 126 w 204"/>
              <a:gd name="T53" fmla="*/ 84 h 462"/>
              <a:gd name="T54" fmla="*/ 120 w 204"/>
              <a:gd name="T55" fmla="*/ 96 h 462"/>
              <a:gd name="T56" fmla="*/ 132 w 204"/>
              <a:gd name="T57" fmla="*/ 96 h 462"/>
              <a:gd name="T58" fmla="*/ 144 w 204"/>
              <a:gd name="T59" fmla="*/ 96 h 462"/>
              <a:gd name="T60" fmla="*/ 156 w 204"/>
              <a:gd name="T61" fmla="*/ 102 h 462"/>
              <a:gd name="T62" fmla="*/ 168 w 204"/>
              <a:gd name="T63" fmla="*/ 108 h 462"/>
              <a:gd name="T64" fmla="*/ 180 w 204"/>
              <a:gd name="T65" fmla="*/ 126 h 462"/>
              <a:gd name="T66" fmla="*/ 174 w 204"/>
              <a:gd name="T67" fmla="*/ 138 h 462"/>
              <a:gd name="T68" fmla="*/ 192 w 204"/>
              <a:gd name="T69" fmla="*/ 156 h 462"/>
              <a:gd name="T70" fmla="*/ 192 w 204"/>
              <a:gd name="T71" fmla="*/ 168 h 462"/>
              <a:gd name="T72" fmla="*/ 198 w 204"/>
              <a:gd name="T73" fmla="*/ 174 h 462"/>
              <a:gd name="T74" fmla="*/ 192 w 204"/>
              <a:gd name="T75" fmla="*/ 180 h 462"/>
              <a:gd name="T76" fmla="*/ 186 w 204"/>
              <a:gd name="T77" fmla="*/ 192 h 462"/>
              <a:gd name="T78" fmla="*/ 180 w 204"/>
              <a:gd name="T79" fmla="*/ 198 h 462"/>
              <a:gd name="T80" fmla="*/ 168 w 204"/>
              <a:gd name="T81" fmla="*/ 210 h 462"/>
              <a:gd name="T82" fmla="*/ 156 w 204"/>
              <a:gd name="T83" fmla="*/ 216 h 462"/>
              <a:gd name="T84" fmla="*/ 162 w 204"/>
              <a:gd name="T85" fmla="*/ 228 h 462"/>
              <a:gd name="T86" fmla="*/ 162 w 204"/>
              <a:gd name="T87" fmla="*/ 246 h 462"/>
              <a:gd name="T88" fmla="*/ 156 w 204"/>
              <a:gd name="T89" fmla="*/ 258 h 462"/>
              <a:gd name="T90" fmla="*/ 150 w 204"/>
              <a:gd name="T91" fmla="*/ 276 h 462"/>
              <a:gd name="T92" fmla="*/ 144 w 204"/>
              <a:gd name="T93" fmla="*/ 282 h 462"/>
              <a:gd name="T94" fmla="*/ 138 w 204"/>
              <a:gd name="T95" fmla="*/ 306 h 462"/>
              <a:gd name="T96" fmla="*/ 144 w 204"/>
              <a:gd name="T97" fmla="*/ 342 h 462"/>
              <a:gd name="T98" fmla="*/ 150 w 204"/>
              <a:gd name="T99" fmla="*/ 360 h 462"/>
              <a:gd name="T100" fmla="*/ 156 w 204"/>
              <a:gd name="T101" fmla="*/ 378 h 462"/>
              <a:gd name="T102" fmla="*/ 168 w 204"/>
              <a:gd name="T103" fmla="*/ 384 h 462"/>
              <a:gd name="T104" fmla="*/ 174 w 204"/>
              <a:gd name="T105" fmla="*/ 402 h 462"/>
              <a:gd name="T106" fmla="*/ 174 w 204"/>
              <a:gd name="T107" fmla="*/ 420 h 462"/>
              <a:gd name="T108" fmla="*/ 114 w 204"/>
              <a:gd name="T109" fmla="*/ 432 h 462"/>
              <a:gd name="T110" fmla="*/ 96 w 204"/>
              <a:gd name="T111" fmla="*/ 450 h 462"/>
              <a:gd name="T112" fmla="*/ 84 w 204"/>
              <a:gd name="T113" fmla="*/ 456 h 462"/>
              <a:gd name="T114" fmla="*/ 60 w 204"/>
              <a:gd name="T115" fmla="*/ 462 h 462"/>
              <a:gd name="T116" fmla="*/ 66 w 204"/>
              <a:gd name="T117" fmla="*/ 444 h 462"/>
              <a:gd name="T118" fmla="*/ 42 w 204"/>
              <a:gd name="T119" fmla="*/ 426 h 462"/>
              <a:gd name="T120" fmla="*/ 12 w 204"/>
              <a:gd name="T121" fmla="*/ 426 h 4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04" h="462">
                <a:moveTo>
                  <a:pt x="6" y="426"/>
                </a:moveTo>
                <a:lnTo>
                  <a:pt x="6" y="420"/>
                </a:lnTo>
                <a:lnTo>
                  <a:pt x="6" y="420"/>
                </a:lnTo>
                <a:lnTo>
                  <a:pt x="0" y="414"/>
                </a:lnTo>
                <a:lnTo>
                  <a:pt x="0" y="414"/>
                </a:lnTo>
                <a:lnTo>
                  <a:pt x="0" y="414"/>
                </a:lnTo>
                <a:lnTo>
                  <a:pt x="6" y="402"/>
                </a:lnTo>
                <a:lnTo>
                  <a:pt x="12" y="396"/>
                </a:lnTo>
                <a:lnTo>
                  <a:pt x="18" y="396"/>
                </a:lnTo>
                <a:lnTo>
                  <a:pt x="18" y="390"/>
                </a:lnTo>
                <a:lnTo>
                  <a:pt x="24" y="384"/>
                </a:lnTo>
                <a:lnTo>
                  <a:pt x="30" y="384"/>
                </a:lnTo>
                <a:lnTo>
                  <a:pt x="30" y="384"/>
                </a:lnTo>
                <a:lnTo>
                  <a:pt x="30" y="378"/>
                </a:lnTo>
                <a:lnTo>
                  <a:pt x="30" y="378"/>
                </a:lnTo>
                <a:lnTo>
                  <a:pt x="30" y="372"/>
                </a:lnTo>
                <a:lnTo>
                  <a:pt x="30" y="372"/>
                </a:lnTo>
                <a:lnTo>
                  <a:pt x="30" y="372"/>
                </a:lnTo>
                <a:lnTo>
                  <a:pt x="30" y="366"/>
                </a:lnTo>
                <a:lnTo>
                  <a:pt x="30" y="366"/>
                </a:lnTo>
                <a:lnTo>
                  <a:pt x="30" y="366"/>
                </a:lnTo>
                <a:lnTo>
                  <a:pt x="30" y="354"/>
                </a:lnTo>
                <a:lnTo>
                  <a:pt x="30" y="354"/>
                </a:lnTo>
                <a:lnTo>
                  <a:pt x="30" y="354"/>
                </a:lnTo>
                <a:lnTo>
                  <a:pt x="36" y="342"/>
                </a:lnTo>
                <a:lnTo>
                  <a:pt x="42" y="336"/>
                </a:lnTo>
                <a:lnTo>
                  <a:pt x="48" y="330"/>
                </a:lnTo>
                <a:lnTo>
                  <a:pt x="48" y="330"/>
                </a:lnTo>
                <a:lnTo>
                  <a:pt x="48" y="324"/>
                </a:lnTo>
                <a:lnTo>
                  <a:pt x="54" y="324"/>
                </a:lnTo>
                <a:lnTo>
                  <a:pt x="54" y="318"/>
                </a:lnTo>
                <a:lnTo>
                  <a:pt x="54" y="318"/>
                </a:lnTo>
                <a:lnTo>
                  <a:pt x="54" y="312"/>
                </a:lnTo>
                <a:lnTo>
                  <a:pt x="54" y="312"/>
                </a:lnTo>
                <a:lnTo>
                  <a:pt x="60" y="312"/>
                </a:lnTo>
                <a:lnTo>
                  <a:pt x="66" y="306"/>
                </a:lnTo>
                <a:lnTo>
                  <a:pt x="66" y="306"/>
                </a:lnTo>
                <a:lnTo>
                  <a:pt x="66" y="306"/>
                </a:lnTo>
                <a:lnTo>
                  <a:pt x="72" y="300"/>
                </a:lnTo>
                <a:lnTo>
                  <a:pt x="72" y="294"/>
                </a:lnTo>
                <a:lnTo>
                  <a:pt x="72" y="294"/>
                </a:lnTo>
                <a:lnTo>
                  <a:pt x="78" y="288"/>
                </a:lnTo>
                <a:lnTo>
                  <a:pt x="78" y="288"/>
                </a:lnTo>
                <a:lnTo>
                  <a:pt x="78" y="288"/>
                </a:lnTo>
                <a:lnTo>
                  <a:pt x="84" y="282"/>
                </a:lnTo>
                <a:lnTo>
                  <a:pt x="84" y="282"/>
                </a:lnTo>
                <a:lnTo>
                  <a:pt x="90" y="276"/>
                </a:lnTo>
                <a:lnTo>
                  <a:pt x="90" y="270"/>
                </a:lnTo>
                <a:lnTo>
                  <a:pt x="90" y="270"/>
                </a:lnTo>
                <a:lnTo>
                  <a:pt x="90" y="270"/>
                </a:lnTo>
                <a:lnTo>
                  <a:pt x="90" y="264"/>
                </a:lnTo>
                <a:lnTo>
                  <a:pt x="84" y="258"/>
                </a:lnTo>
                <a:lnTo>
                  <a:pt x="84" y="258"/>
                </a:lnTo>
                <a:lnTo>
                  <a:pt x="84" y="258"/>
                </a:lnTo>
                <a:lnTo>
                  <a:pt x="90" y="252"/>
                </a:lnTo>
                <a:lnTo>
                  <a:pt x="96" y="252"/>
                </a:lnTo>
                <a:lnTo>
                  <a:pt x="96" y="252"/>
                </a:lnTo>
                <a:lnTo>
                  <a:pt x="96" y="252"/>
                </a:lnTo>
                <a:lnTo>
                  <a:pt x="96" y="246"/>
                </a:lnTo>
                <a:lnTo>
                  <a:pt x="96" y="246"/>
                </a:lnTo>
                <a:lnTo>
                  <a:pt x="96" y="240"/>
                </a:lnTo>
                <a:lnTo>
                  <a:pt x="96" y="240"/>
                </a:lnTo>
                <a:lnTo>
                  <a:pt x="102" y="240"/>
                </a:lnTo>
                <a:lnTo>
                  <a:pt x="102" y="234"/>
                </a:lnTo>
                <a:lnTo>
                  <a:pt x="102" y="234"/>
                </a:lnTo>
                <a:lnTo>
                  <a:pt x="102" y="234"/>
                </a:lnTo>
                <a:lnTo>
                  <a:pt x="102" y="228"/>
                </a:lnTo>
                <a:lnTo>
                  <a:pt x="102" y="228"/>
                </a:lnTo>
                <a:lnTo>
                  <a:pt x="96" y="228"/>
                </a:lnTo>
                <a:lnTo>
                  <a:pt x="96" y="228"/>
                </a:lnTo>
                <a:lnTo>
                  <a:pt x="96" y="228"/>
                </a:lnTo>
                <a:lnTo>
                  <a:pt x="96" y="228"/>
                </a:lnTo>
                <a:lnTo>
                  <a:pt x="96" y="228"/>
                </a:lnTo>
                <a:lnTo>
                  <a:pt x="96" y="228"/>
                </a:lnTo>
                <a:lnTo>
                  <a:pt x="96" y="222"/>
                </a:lnTo>
                <a:lnTo>
                  <a:pt x="96" y="222"/>
                </a:lnTo>
                <a:lnTo>
                  <a:pt x="90" y="222"/>
                </a:lnTo>
                <a:lnTo>
                  <a:pt x="90" y="222"/>
                </a:lnTo>
                <a:lnTo>
                  <a:pt x="90" y="222"/>
                </a:lnTo>
                <a:lnTo>
                  <a:pt x="90" y="222"/>
                </a:lnTo>
                <a:lnTo>
                  <a:pt x="90" y="222"/>
                </a:lnTo>
                <a:lnTo>
                  <a:pt x="90" y="222"/>
                </a:lnTo>
                <a:lnTo>
                  <a:pt x="90" y="216"/>
                </a:lnTo>
                <a:lnTo>
                  <a:pt x="84" y="216"/>
                </a:lnTo>
                <a:lnTo>
                  <a:pt x="84" y="216"/>
                </a:lnTo>
                <a:lnTo>
                  <a:pt x="84" y="216"/>
                </a:lnTo>
                <a:lnTo>
                  <a:pt x="84" y="216"/>
                </a:lnTo>
                <a:lnTo>
                  <a:pt x="84" y="216"/>
                </a:lnTo>
                <a:lnTo>
                  <a:pt x="84" y="216"/>
                </a:lnTo>
                <a:lnTo>
                  <a:pt x="84" y="210"/>
                </a:lnTo>
                <a:lnTo>
                  <a:pt x="84" y="210"/>
                </a:lnTo>
                <a:lnTo>
                  <a:pt x="84" y="210"/>
                </a:lnTo>
                <a:lnTo>
                  <a:pt x="84" y="210"/>
                </a:lnTo>
                <a:lnTo>
                  <a:pt x="84" y="204"/>
                </a:lnTo>
                <a:lnTo>
                  <a:pt x="78" y="204"/>
                </a:lnTo>
                <a:lnTo>
                  <a:pt x="78" y="204"/>
                </a:lnTo>
                <a:lnTo>
                  <a:pt x="78" y="204"/>
                </a:lnTo>
                <a:lnTo>
                  <a:pt x="78" y="204"/>
                </a:lnTo>
                <a:lnTo>
                  <a:pt x="78" y="204"/>
                </a:lnTo>
                <a:lnTo>
                  <a:pt x="78" y="204"/>
                </a:lnTo>
                <a:lnTo>
                  <a:pt x="78" y="204"/>
                </a:lnTo>
                <a:lnTo>
                  <a:pt x="78" y="204"/>
                </a:lnTo>
                <a:lnTo>
                  <a:pt x="78" y="198"/>
                </a:lnTo>
                <a:lnTo>
                  <a:pt x="78" y="198"/>
                </a:lnTo>
                <a:lnTo>
                  <a:pt x="78" y="198"/>
                </a:lnTo>
                <a:lnTo>
                  <a:pt x="78" y="198"/>
                </a:lnTo>
                <a:lnTo>
                  <a:pt x="78" y="198"/>
                </a:lnTo>
                <a:lnTo>
                  <a:pt x="72" y="198"/>
                </a:lnTo>
                <a:lnTo>
                  <a:pt x="72" y="198"/>
                </a:lnTo>
                <a:lnTo>
                  <a:pt x="78" y="198"/>
                </a:lnTo>
                <a:lnTo>
                  <a:pt x="78" y="192"/>
                </a:lnTo>
                <a:lnTo>
                  <a:pt x="72" y="192"/>
                </a:lnTo>
                <a:lnTo>
                  <a:pt x="78" y="192"/>
                </a:lnTo>
                <a:lnTo>
                  <a:pt x="78" y="192"/>
                </a:lnTo>
                <a:lnTo>
                  <a:pt x="78" y="192"/>
                </a:lnTo>
                <a:lnTo>
                  <a:pt x="78" y="192"/>
                </a:lnTo>
                <a:lnTo>
                  <a:pt x="72" y="186"/>
                </a:lnTo>
                <a:lnTo>
                  <a:pt x="78" y="186"/>
                </a:lnTo>
                <a:lnTo>
                  <a:pt x="78" y="186"/>
                </a:lnTo>
                <a:lnTo>
                  <a:pt x="78" y="186"/>
                </a:lnTo>
                <a:lnTo>
                  <a:pt x="78" y="186"/>
                </a:lnTo>
                <a:lnTo>
                  <a:pt x="78" y="186"/>
                </a:lnTo>
                <a:lnTo>
                  <a:pt x="78" y="186"/>
                </a:lnTo>
                <a:lnTo>
                  <a:pt x="78" y="180"/>
                </a:lnTo>
                <a:lnTo>
                  <a:pt x="78" y="180"/>
                </a:lnTo>
                <a:lnTo>
                  <a:pt x="72" y="180"/>
                </a:lnTo>
                <a:lnTo>
                  <a:pt x="72" y="180"/>
                </a:lnTo>
                <a:lnTo>
                  <a:pt x="78" y="180"/>
                </a:lnTo>
                <a:lnTo>
                  <a:pt x="72" y="174"/>
                </a:lnTo>
                <a:lnTo>
                  <a:pt x="78" y="174"/>
                </a:lnTo>
                <a:lnTo>
                  <a:pt x="72" y="174"/>
                </a:lnTo>
                <a:lnTo>
                  <a:pt x="78" y="174"/>
                </a:lnTo>
                <a:lnTo>
                  <a:pt x="72" y="168"/>
                </a:lnTo>
                <a:lnTo>
                  <a:pt x="78" y="168"/>
                </a:lnTo>
                <a:lnTo>
                  <a:pt x="78" y="168"/>
                </a:lnTo>
                <a:lnTo>
                  <a:pt x="78" y="168"/>
                </a:lnTo>
                <a:lnTo>
                  <a:pt x="78" y="168"/>
                </a:lnTo>
                <a:lnTo>
                  <a:pt x="78" y="168"/>
                </a:lnTo>
                <a:lnTo>
                  <a:pt x="78" y="168"/>
                </a:lnTo>
                <a:lnTo>
                  <a:pt x="78" y="162"/>
                </a:lnTo>
                <a:lnTo>
                  <a:pt x="78" y="162"/>
                </a:lnTo>
                <a:lnTo>
                  <a:pt x="78" y="162"/>
                </a:lnTo>
                <a:lnTo>
                  <a:pt x="84" y="162"/>
                </a:lnTo>
                <a:lnTo>
                  <a:pt x="84" y="156"/>
                </a:lnTo>
                <a:lnTo>
                  <a:pt x="84" y="156"/>
                </a:lnTo>
                <a:lnTo>
                  <a:pt x="78" y="156"/>
                </a:lnTo>
                <a:lnTo>
                  <a:pt x="78" y="156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44"/>
                </a:lnTo>
                <a:lnTo>
                  <a:pt x="78" y="144"/>
                </a:lnTo>
                <a:lnTo>
                  <a:pt x="78" y="144"/>
                </a:lnTo>
                <a:lnTo>
                  <a:pt x="72" y="144"/>
                </a:lnTo>
                <a:lnTo>
                  <a:pt x="72" y="144"/>
                </a:lnTo>
                <a:lnTo>
                  <a:pt x="72" y="144"/>
                </a:lnTo>
                <a:lnTo>
                  <a:pt x="72" y="144"/>
                </a:lnTo>
                <a:lnTo>
                  <a:pt x="72" y="144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66" y="138"/>
                </a:lnTo>
                <a:lnTo>
                  <a:pt x="72" y="138"/>
                </a:lnTo>
                <a:lnTo>
                  <a:pt x="66" y="138"/>
                </a:lnTo>
                <a:lnTo>
                  <a:pt x="66" y="138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66" y="126"/>
                </a:lnTo>
                <a:lnTo>
                  <a:pt x="66" y="126"/>
                </a:lnTo>
                <a:lnTo>
                  <a:pt x="66" y="126"/>
                </a:lnTo>
                <a:lnTo>
                  <a:pt x="66" y="126"/>
                </a:lnTo>
                <a:lnTo>
                  <a:pt x="66" y="126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14"/>
                </a:lnTo>
                <a:lnTo>
                  <a:pt x="66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54" y="114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96"/>
                </a:lnTo>
                <a:lnTo>
                  <a:pt x="54" y="96"/>
                </a:lnTo>
                <a:lnTo>
                  <a:pt x="60" y="96"/>
                </a:lnTo>
                <a:lnTo>
                  <a:pt x="60" y="90"/>
                </a:lnTo>
                <a:lnTo>
                  <a:pt x="54" y="84"/>
                </a:lnTo>
                <a:lnTo>
                  <a:pt x="60" y="84"/>
                </a:lnTo>
                <a:lnTo>
                  <a:pt x="60" y="78"/>
                </a:lnTo>
                <a:lnTo>
                  <a:pt x="54" y="78"/>
                </a:lnTo>
                <a:lnTo>
                  <a:pt x="60" y="78"/>
                </a:lnTo>
                <a:lnTo>
                  <a:pt x="54" y="78"/>
                </a:lnTo>
                <a:lnTo>
                  <a:pt x="60" y="78"/>
                </a:lnTo>
                <a:lnTo>
                  <a:pt x="54" y="78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60" y="48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36"/>
                </a:lnTo>
                <a:lnTo>
                  <a:pt x="60" y="36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48" y="12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0"/>
                </a:lnTo>
                <a:lnTo>
                  <a:pt x="48" y="0"/>
                </a:lnTo>
                <a:lnTo>
                  <a:pt x="54" y="0"/>
                </a:lnTo>
                <a:lnTo>
                  <a:pt x="54" y="0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14" y="0"/>
                </a:lnTo>
                <a:lnTo>
                  <a:pt x="114" y="0"/>
                </a:lnTo>
                <a:lnTo>
                  <a:pt x="114" y="0"/>
                </a:lnTo>
                <a:lnTo>
                  <a:pt x="114" y="0"/>
                </a:lnTo>
                <a:lnTo>
                  <a:pt x="114" y="0"/>
                </a:lnTo>
                <a:lnTo>
                  <a:pt x="120" y="0"/>
                </a:lnTo>
                <a:lnTo>
                  <a:pt x="120" y="0"/>
                </a:lnTo>
                <a:lnTo>
                  <a:pt x="120" y="0"/>
                </a:lnTo>
                <a:lnTo>
                  <a:pt x="126" y="6"/>
                </a:lnTo>
                <a:lnTo>
                  <a:pt x="126" y="12"/>
                </a:lnTo>
                <a:lnTo>
                  <a:pt x="126" y="12"/>
                </a:lnTo>
                <a:lnTo>
                  <a:pt x="132" y="12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24"/>
                </a:lnTo>
                <a:lnTo>
                  <a:pt x="138" y="18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54"/>
                </a:lnTo>
                <a:lnTo>
                  <a:pt x="138" y="54"/>
                </a:lnTo>
                <a:lnTo>
                  <a:pt x="138" y="54"/>
                </a:lnTo>
                <a:lnTo>
                  <a:pt x="132" y="60"/>
                </a:lnTo>
                <a:lnTo>
                  <a:pt x="138" y="60"/>
                </a:lnTo>
                <a:lnTo>
                  <a:pt x="132" y="60"/>
                </a:lnTo>
                <a:lnTo>
                  <a:pt x="132" y="60"/>
                </a:lnTo>
                <a:lnTo>
                  <a:pt x="138" y="60"/>
                </a:lnTo>
                <a:lnTo>
                  <a:pt x="132" y="66"/>
                </a:lnTo>
                <a:lnTo>
                  <a:pt x="138" y="66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8"/>
                </a:lnTo>
                <a:lnTo>
                  <a:pt x="126" y="78"/>
                </a:lnTo>
                <a:lnTo>
                  <a:pt x="126" y="78"/>
                </a:lnTo>
                <a:lnTo>
                  <a:pt x="132" y="78"/>
                </a:lnTo>
                <a:lnTo>
                  <a:pt x="126" y="84"/>
                </a:lnTo>
                <a:lnTo>
                  <a:pt x="132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96"/>
                </a:lnTo>
                <a:lnTo>
                  <a:pt x="126" y="96"/>
                </a:lnTo>
                <a:lnTo>
                  <a:pt x="126" y="96"/>
                </a:lnTo>
                <a:lnTo>
                  <a:pt x="126" y="96"/>
                </a:lnTo>
                <a:lnTo>
                  <a:pt x="126" y="96"/>
                </a:lnTo>
                <a:lnTo>
                  <a:pt x="126" y="96"/>
                </a:lnTo>
                <a:lnTo>
                  <a:pt x="126" y="96"/>
                </a:lnTo>
                <a:lnTo>
                  <a:pt x="126" y="96"/>
                </a:lnTo>
                <a:lnTo>
                  <a:pt x="132" y="96"/>
                </a:lnTo>
                <a:lnTo>
                  <a:pt x="132" y="96"/>
                </a:lnTo>
                <a:lnTo>
                  <a:pt x="132" y="96"/>
                </a:lnTo>
                <a:lnTo>
                  <a:pt x="132" y="96"/>
                </a:lnTo>
                <a:lnTo>
                  <a:pt x="132" y="96"/>
                </a:lnTo>
                <a:lnTo>
                  <a:pt x="132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102"/>
                </a:lnTo>
                <a:lnTo>
                  <a:pt x="138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96"/>
                </a:lnTo>
                <a:lnTo>
                  <a:pt x="144" y="96"/>
                </a:lnTo>
                <a:lnTo>
                  <a:pt x="144" y="96"/>
                </a:lnTo>
                <a:lnTo>
                  <a:pt x="144" y="96"/>
                </a:lnTo>
                <a:lnTo>
                  <a:pt x="150" y="96"/>
                </a:lnTo>
                <a:lnTo>
                  <a:pt x="150" y="102"/>
                </a:lnTo>
                <a:lnTo>
                  <a:pt x="150" y="102"/>
                </a:lnTo>
                <a:lnTo>
                  <a:pt x="150" y="102"/>
                </a:lnTo>
                <a:lnTo>
                  <a:pt x="150" y="102"/>
                </a:lnTo>
                <a:lnTo>
                  <a:pt x="150" y="102"/>
                </a:lnTo>
                <a:lnTo>
                  <a:pt x="150" y="102"/>
                </a:lnTo>
                <a:lnTo>
                  <a:pt x="150" y="102"/>
                </a:lnTo>
                <a:lnTo>
                  <a:pt x="150" y="102"/>
                </a:lnTo>
                <a:lnTo>
                  <a:pt x="156" y="102"/>
                </a:lnTo>
                <a:lnTo>
                  <a:pt x="156" y="102"/>
                </a:lnTo>
                <a:lnTo>
                  <a:pt x="156" y="102"/>
                </a:lnTo>
                <a:lnTo>
                  <a:pt x="156" y="102"/>
                </a:lnTo>
                <a:lnTo>
                  <a:pt x="156" y="102"/>
                </a:lnTo>
                <a:lnTo>
                  <a:pt x="156" y="102"/>
                </a:lnTo>
                <a:lnTo>
                  <a:pt x="156" y="102"/>
                </a:lnTo>
                <a:lnTo>
                  <a:pt x="162" y="102"/>
                </a:lnTo>
                <a:lnTo>
                  <a:pt x="162" y="102"/>
                </a:lnTo>
                <a:lnTo>
                  <a:pt x="162" y="102"/>
                </a:lnTo>
                <a:lnTo>
                  <a:pt x="162" y="102"/>
                </a:lnTo>
                <a:lnTo>
                  <a:pt x="162" y="102"/>
                </a:lnTo>
                <a:lnTo>
                  <a:pt x="162" y="102"/>
                </a:lnTo>
                <a:lnTo>
                  <a:pt x="168" y="102"/>
                </a:lnTo>
                <a:lnTo>
                  <a:pt x="168" y="102"/>
                </a:lnTo>
                <a:lnTo>
                  <a:pt x="168" y="102"/>
                </a:lnTo>
                <a:lnTo>
                  <a:pt x="168" y="108"/>
                </a:lnTo>
                <a:lnTo>
                  <a:pt x="168" y="108"/>
                </a:lnTo>
                <a:lnTo>
                  <a:pt x="174" y="108"/>
                </a:lnTo>
                <a:lnTo>
                  <a:pt x="174" y="108"/>
                </a:lnTo>
                <a:lnTo>
                  <a:pt x="174" y="108"/>
                </a:lnTo>
                <a:lnTo>
                  <a:pt x="174" y="114"/>
                </a:lnTo>
                <a:lnTo>
                  <a:pt x="180" y="114"/>
                </a:lnTo>
                <a:lnTo>
                  <a:pt x="180" y="114"/>
                </a:lnTo>
                <a:lnTo>
                  <a:pt x="180" y="114"/>
                </a:lnTo>
                <a:lnTo>
                  <a:pt x="180" y="114"/>
                </a:lnTo>
                <a:lnTo>
                  <a:pt x="180" y="114"/>
                </a:lnTo>
                <a:lnTo>
                  <a:pt x="180" y="120"/>
                </a:lnTo>
                <a:lnTo>
                  <a:pt x="180" y="120"/>
                </a:lnTo>
                <a:lnTo>
                  <a:pt x="180" y="120"/>
                </a:lnTo>
                <a:lnTo>
                  <a:pt x="180" y="120"/>
                </a:lnTo>
                <a:lnTo>
                  <a:pt x="180" y="126"/>
                </a:lnTo>
                <a:lnTo>
                  <a:pt x="174" y="120"/>
                </a:lnTo>
                <a:lnTo>
                  <a:pt x="174" y="126"/>
                </a:lnTo>
                <a:lnTo>
                  <a:pt x="174" y="126"/>
                </a:lnTo>
                <a:lnTo>
                  <a:pt x="174" y="126"/>
                </a:lnTo>
                <a:lnTo>
                  <a:pt x="174" y="126"/>
                </a:lnTo>
                <a:lnTo>
                  <a:pt x="174" y="126"/>
                </a:lnTo>
                <a:lnTo>
                  <a:pt x="174" y="126"/>
                </a:lnTo>
                <a:lnTo>
                  <a:pt x="174" y="126"/>
                </a:lnTo>
                <a:lnTo>
                  <a:pt x="174" y="132"/>
                </a:lnTo>
                <a:lnTo>
                  <a:pt x="174" y="132"/>
                </a:lnTo>
                <a:lnTo>
                  <a:pt x="174" y="138"/>
                </a:lnTo>
                <a:lnTo>
                  <a:pt x="174" y="138"/>
                </a:lnTo>
                <a:lnTo>
                  <a:pt x="174" y="138"/>
                </a:lnTo>
                <a:lnTo>
                  <a:pt x="174" y="138"/>
                </a:lnTo>
                <a:lnTo>
                  <a:pt x="174" y="144"/>
                </a:lnTo>
                <a:lnTo>
                  <a:pt x="180" y="144"/>
                </a:lnTo>
                <a:lnTo>
                  <a:pt x="180" y="144"/>
                </a:lnTo>
                <a:lnTo>
                  <a:pt x="186" y="144"/>
                </a:lnTo>
                <a:lnTo>
                  <a:pt x="186" y="144"/>
                </a:lnTo>
                <a:lnTo>
                  <a:pt x="186" y="150"/>
                </a:lnTo>
                <a:lnTo>
                  <a:pt x="186" y="150"/>
                </a:lnTo>
                <a:lnTo>
                  <a:pt x="186" y="156"/>
                </a:lnTo>
                <a:lnTo>
                  <a:pt x="186" y="156"/>
                </a:lnTo>
                <a:lnTo>
                  <a:pt x="186" y="156"/>
                </a:lnTo>
                <a:lnTo>
                  <a:pt x="192" y="156"/>
                </a:lnTo>
                <a:lnTo>
                  <a:pt x="186" y="156"/>
                </a:lnTo>
                <a:lnTo>
                  <a:pt x="192" y="156"/>
                </a:lnTo>
                <a:lnTo>
                  <a:pt x="192" y="156"/>
                </a:lnTo>
                <a:lnTo>
                  <a:pt x="192" y="162"/>
                </a:lnTo>
                <a:lnTo>
                  <a:pt x="192" y="162"/>
                </a:lnTo>
                <a:lnTo>
                  <a:pt x="192" y="162"/>
                </a:lnTo>
                <a:lnTo>
                  <a:pt x="192" y="162"/>
                </a:lnTo>
                <a:lnTo>
                  <a:pt x="192" y="162"/>
                </a:lnTo>
                <a:lnTo>
                  <a:pt x="192" y="162"/>
                </a:lnTo>
                <a:lnTo>
                  <a:pt x="192" y="162"/>
                </a:lnTo>
                <a:lnTo>
                  <a:pt x="192" y="162"/>
                </a:lnTo>
                <a:lnTo>
                  <a:pt x="192" y="162"/>
                </a:lnTo>
                <a:lnTo>
                  <a:pt x="192" y="162"/>
                </a:lnTo>
                <a:lnTo>
                  <a:pt x="192" y="162"/>
                </a:lnTo>
                <a:lnTo>
                  <a:pt x="192" y="162"/>
                </a:lnTo>
                <a:lnTo>
                  <a:pt x="192" y="162"/>
                </a:lnTo>
                <a:lnTo>
                  <a:pt x="192" y="168"/>
                </a:lnTo>
                <a:lnTo>
                  <a:pt x="192" y="168"/>
                </a:lnTo>
                <a:lnTo>
                  <a:pt x="192" y="168"/>
                </a:lnTo>
                <a:lnTo>
                  <a:pt x="198" y="168"/>
                </a:lnTo>
                <a:lnTo>
                  <a:pt x="198" y="168"/>
                </a:lnTo>
                <a:lnTo>
                  <a:pt x="198" y="168"/>
                </a:lnTo>
                <a:lnTo>
                  <a:pt x="198" y="168"/>
                </a:lnTo>
                <a:lnTo>
                  <a:pt x="198" y="168"/>
                </a:lnTo>
                <a:lnTo>
                  <a:pt x="204" y="168"/>
                </a:lnTo>
                <a:lnTo>
                  <a:pt x="204" y="168"/>
                </a:lnTo>
                <a:lnTo>
                  <a:pt x="204" y="168"/>
                </a:lnTo>
                <a:lnTo>
                  <a:pt x="198" y="168"/>
                </a:lnTo>
                <a:lnTo>
                  <a:pt x="198" y="174"/>
                </a:lnTo>
                <a:lnTo>
                  <a:pt x="198" y="174"/>
                </a:lnTo>
                <a:lnTo>
                  <a:pt x="198" y="174"/>
                </a:lnTo>
                <a:lnTo>
                  <a:pt x="198" y="174"/>
                </a:lnTo>
                <a:lnTo>
                  <a:pt x="198" y="174"/>
                </a:lnTo>
                <a:lnTo>
                  <a:pt x="198" y="174"/>
                </a:lnTo>
                <a:lnTo>
                  <a:pt x="198" y="174"/>
                </a:lnTo>
                <a:lnTo>
                  <a:pt x="198" y="174"/>
                </a:lnTo>
                <a:lnTo>
                  <a:pt x="198" y="174"/>
                </a:lnTo>
                <a:lnTo>
                  <a:pt x="192" y="174"/>
                </a:lnTo>
                <a:lnTo>
                  <a:pt x="192" y="174"/>
                </a:lnTo>
                <a:lnTo>
                  <a:pt x="192" y="180"/>
                </a:lnTo>
                <a:lnTo>
                  <a:pt x="192" y="180"/>
                </a:lnTo>
                <a:lnTo>
                  <a:pt x="192" y="180"/>
                </a:lnTo>
                <a:lnTo>
                  <a:pt x="192" y="180"/>
                </a:lnTo>
                <a:lnTo>
                  <a:pt x="192" y="180"/>
                </a:lnTo>
                <a:lnTo>
                  <a:pt x="192" y="180"/>
                </a:lnTo>
                <a:lnTo>
                  <a:pt x="192" y="186"/>
                </a:lnTo>
                <a:lnTo>
                  <a:pt x="192" y="186"/>
                </a:lnTo>
                <a:lnTo>
                  <a:pt x="192" y="186"/>
                </a:lnTo>
                <a:lnTo>
                  <a:pt x="192" y="186"/>
                </a:lnTo>
                <a:lnTo>
                  <a:pt x="192" y="186"/>
                </a:lnTo>
                <a:lnTo>
                  <a:pt x="192" y="186"/>
                </a:lnTo>
                <a:lnTo>
                  <a:pt x="192" y="186"/>
                </a:lnTo>
                <a:lnTo>
                  <a:pt x="192" y="192"/>
                </a:lnTo>
                <a:lnTo>
                  <a:pt x="192" y="192"/>
                </a:lnTo>
                <a:lnTo>
                  <a:pt x="192" y="186"/>
                </a:lnTo>
                <a:lnTo>
                  <a:pt x="186" y="192"/>
                </a:lnTo>
                <a:lnTo>
                  <a:pt x="186" y="192"/>
                </a:lnTo>
                <a:lnTo>
                  <a:pt x="186" y="192"/>
                </a:lnTo>
                <a:lnTo>
                  <a:pt x="186" y="192"/>
                </a:lnTo>
                <a:lnTo>
                  <a:pt x="186" y="186"/>
                </a:lnTo>
                <a:lnTo>
                  <a:pt x="186" y="192"/>
                </a:lnTo>
                <a:lnTo>
                  <a:pt x="186" y="192"/>
                </a:lnTo>
                <a:lnTo>
                  <a:pt x="186" y="192"/>
                </a:lnTo>
                <a:lnTo>
                  <a:pt x="180" y="192"/>
                </a:lnTo>
                <a:lnTo>
                  <a:pt x="180" y="192"/>
                </a:lnTo>
                <a:lnTo>
                  <a:pt x="180" y="192"/>
                </a:lnTo>
                <a:lnTo>
                  <a:pt x="180" y="192"/>
                </a:lnTo>
                <a:lnTo>
                  <a:pt x="180" y="192"/>
                </a:lnTo>
                <a:lnTo>
                  <a:pt x="180" y="192"/>
                </a:lnTo>
                <a:lnTo>
                  <a:pt x="180" y="198"/>
                </a:lnTo>
                <a:lnTo>
                  <a:pt x="180" y="198"/>
                </a:lnTo>
                <a:lnTo>
                  <a:pt x="180" y="198"/>
                </a:lnTo>
                <a:lnTo>
                  <a:pt x="180" y="198"/>
                </a:lnTo>
                <a:lnTo>
                  <a:pt x="180" y="198"/>
                </a:lnTo>
                <a:lnTo>
                  <a:pt x="180" y="198"/>
                </a:lnTo>
                <a:lnTo>
                  <a:pt x="180" y="204"/>
                </a:lnTo>
                <a:lnTo>
                  <a:pt x="180" y="204"/>
                </a:lnTo>
                <a:lnTo>
                  <a:pt x="180" y="204"/>
                </a:lnTo>
                <a:lnTo>
                  <a:pt x="180" y="204"/>
                </a:lnTo>
                <a:lnTo>
                  <a:pt x="180" y="204"/>
                </a:lnTo>
                <a:lnTo>
                  <a:pt x="174" y="204"/>
                </a:lnTo>
                <a:lnTo>
                  <a:pt x="174" y="204"/>
                </a:lnTo>
                <a:lnTo>
                  <a:pt x="174" y="204"/>
                </a:lnTo>
                <a:lnTo>
                  <a:pt x="174" y="204"/>
                </a:lnTo>
                <a:lnTo>
                  <a:pt x="174" y="204"/>
                </a:lnTo>
                <a:lnTo>
                  <a:pt x="174" y="210"/>
                </a:lnTo>
                <a:lnTo>
                  <a:pt x="168" y="210"/>
                </a:lnTo>
                <a:lnTo>
                  <a:pt x="168" y="210"/>
                </a:lnTo>
                <a:lnTo>
                  <a:pt x="168" y="210"/>
                </a:lnTo>
                <a:lnTo>
                  <a:pt x="168" y="210"/>
                </a:lnTo>
                <a:lnTo>
                  <a:pt x="168" y="210"/>
                </a:lnTo>
                <a:lnTo>
                  <a:pt x="168" y="210"/>
                </a:lnTo>
                <a:lnTo>
                  <a:pt x="162" y="210"/>
                </a:lnTo>
                <a:lnTo>
                  <a:pt x="162" y="210"/>
                </a:lnTo>
                <a:lnTo>
                  <a:pt x="162" y="210"/>
                </a:lnTo>
                <a:lnTo>
                  <a:pt x="162" y="216"/>
                </a:lnTo>
                <a:lnTo>
                  <a:pt x="162" y="210"/>
                </a:lnTo>
                <a:lnTo>
                  <a:pt x="162" y="216"/>
                </a:lnTo>
                <a:lnTo>
                  <a:pt x="156" y="216"/>
                </a:lnTo>
                <a:lnTo>
                  <a:pt x="156" y="216"/>
                </a:lnTo>
                <a:lnTo>
                  <a:pt x="156" y="216"/>
                </a:lnTo>
                <a:lnTo>
                  <a:pt x="156" y="216"/>
                </a:lnTo>
                <a:lnTo>
                  <a:pt x="156" y="216"/>
                </a:lnTo>
                <a:lnTo>
                  <a:pt x="156" y="216"/>
                </a:lnTo>
                <a:lnTo>
                  <a:pt x="156" y="216"/>
                </a:lnTo>
                <a:lnTo>
                  <a:pt x="156" y="222"/>
                </a:lnTo>
                <a:lnTo>
                  <a:pt x="156" y="222"/>
                </a:lnTo>
                <a:lnTo>
                  <a:pt x="162" y="222"/>
                </a:lnTo>
                <a:lnTo>
                  <a:pt x="162" y="222"/>
                </a:lnTo>
                <a:lnTo>
                  <a:pt x="162" y="222"/>
                </a:lnTo>
                <a:lnTo>
                  <a:pt x="162" y="228"/>
                </a:lnTo>
                <a:lnTo>
                  <a:pt x="162" y="228"/>
                </a:lnTo>
                <a:lnTo>
                  <a:pt x="162" y="228"/>
                </a:lnTo>
                <a:lnTo>
                  <a:pt x="162" y="228"/>
                </a:lnTo>
                <a:lnTo>
                  <a:pt x="162" y="228"/>
                </a:lnTo>
                <a:lnTo>
                  <a:pt x="162" y="228"/>
                </a:lnTo>
                <a:lnTo>
                  <a:pt x="162" y="228"/>
                </a:lnTo>
                <a:lnTo>
                  <a:pt x="162" y="234"/>
                </a:lnTo>
                <a:lnTo>
                  <a:pt x="162" y="234"/>
                </a:lnTo>
                <a:lnTo>
                  <a:pt x="162" y="234"/>
                </a:lnTo>
                <a:lnTo>
                  <a:pt x="162" y="234"/>
                </a:lnTo>
                <a:lnTo>
                  <a:pt x="162" y="234"/>
                </a:lnTo>
                <a:lnTo>
                  <a:pt x="162" y="234"/>
                </a:lnTo>
                <a:lnTo>
                  <a:pt x="162" y="240"/>
                </a:lnTo>
                <a:lnTo>
                  <a:pt x="162" y="240"/>
                </a:lnTo>
                <a:lnTo>
                  <a:pt x="162" y="240"/>
                </a:lnTo>
                <a:lnTo>
                  <a:pt x="162" y="240"/>
                </a:lnTo>
                <a:lnTo>
                  <a:pt x="162" y="240"/>
                </a:lnTo>
                <a:lnTo>
                  <a:pt x="162" y="246"/>
                </a:lnTo>
                <a:lnTo>
                  <a:pt x="162" y="246"/>
                </a:lnTo>
                <a:lnTo>
                  <a:pt x="162" y="246"/>
                </a:lnTo>
                <a:lnTo>
                  <a:pt x="162" y="246"/>
                </a:lnTo>
                <a:lnTo>
                  <a:pt x="162" y="246"/>
                </a:lnTo>
                <a:lnTo>
                  <a:pt x="162" y="246"/>
                </a:lnTo>
                <a:lnTo>
                  <a:pt x="162" y="252"/>
                </a:lnTo>
                <a:lnTo>
                  <a:pt x="162" y="252"/>
                </a:lnTo>
                <a:lnTo>
                  <a:pt x="162" y="252"/>
                </a:lnTo>
                <a:lnTo>
                  <a:pt x="162" y="252"/>
                </a:lnTo>
                <a:lnTo>
                  <a:pt x="156" y="252"/>
                </a:lnTo>
                <a:lnTo>
                  <a:pt x="156" y="258"/>
                </a:lnTo>
                <a:lnTo>
                  <a:pt x="156" y="258"/>
                </a:lnTo>
                <a:lnTo>
                  <a:pt x="156" y="258"/>
                </a:lnTo>
                <a:lnTo>
                  <a:pt x="156" y="258"/>
                </a:lnTo>
                <a:lnTo>
                  <a:pt x="156" y="264"/>
                </a:lnTo>
                <a:lnTo>
                  <a:pt x="156" y="264"/>
                </a:lnTo>
                <a:lnTo>
                  <a:pt x="156" y="264"/>
                </a:lnTo>
                <a:lnTo>
                  <a:pt x="156" y="264"/>
                </a:lnTo>
                <a:lnTo>
                  <a:pt x="150" y="264"/>
                </a:lnTo>
                <a:lnTo>
                  <a:pt x="150" y="264"/>
                </a:lnTo>
                <a:lnTo>
                  <a:pt x="150" y="270"/>
                </a:lnTo>
                <a:lnTo>
                  <a:pt x="150" y="270"/>
                </a:lnTo>
                <a:lnTo>
                  <a:pt x="150" y="276"/>
                </a:lnTo>
                <a:lnTo>
                  <a:pt x="150" y="276"/>
                </a:lnTo>
                <a:lnTo>
                  <a:pt x="150" y="276"/>
                </a:lnTo>
                <a:lnTo>
                  <a:pt x="150" y="276"/>
                </a:lnTo>
                <a:lnTo>
                  <a:pt x="150" y="276"/>
                </a:lnTo>
                <a:lnTo>
                  <a:pt x="150" y="276"/>
                </a:lnTo>
                <a:lnTo>
                  <a:pt x="150" y="276"/>
                </a:lnTo>
                <a:lnTo>
                  <a:pt x="150" y="276"/>
                </a:lnTo>
                <a:lnTo>
                  <a:pt x="150" y="276"/>
                </a:lnTo>
                <a:lnTo>
                  <a:pt x="150" y="276"/>
                </a:lnTo>
                <a:lnTo>
                  <a:pt x="150" y="276"/>
                </a:lnTo>
                <a:lnTo>
                  <a:pt x="150" y="276"/>
                </a:lnTo>
                <a:lnTo>
                  <a:pt x="150" y="276"/>
                </a:lnTo>
                <a:lnTo>
                  <a:pt x="150" y="276"/>
                </a:lnTo>
                <a:lnTo>
                  <a:pt x="150" y="276"/>
                </a:lnTo>
                <a:lnTo>
                  <a:pt x="150" y="276"/>
                </a:lnTo>
                <a:lnTo>
                  <a:pt x="144" y="282"/>
                </a:lnTo>
                <a:lnTo>
                  <a:pt x="144" y="282"/>
                </a:lnTo>
                <a:lnTo>
                  <a:pt x="144" y="282"/>
                </a:lnTo>
                <a:lnTo>
                  <a:pt x="144" y="282"/>
                </a:lnTo>
                <a:lnTo>
                  <a:pt x="144" y="288"/>
                </a:lnTo>
                <a:lnTo>
                  <a:pt x="144" y="288"/>
                </a:lnTo>
                <a:lnTo>
                  <a:pt x="144" y="288"/>
                </a:lnTo>
                <a:lnTo>
                  <a:pt x="144" y="288"/>
                </a:lnTo>
                <a:lnTo>
                  <a:pt x="144" y="294"/>
                </a:lnTo>
                <a:lnTo>
                  <a:pt x="144" y="294"/>
                </a:lnTo>
                <a:lnTo>
                  <a:pt x="144" y="294"/>
                </a:lnTo>
                <a:lnTo>
                  <a:pt x="144" y="300"/>
                </a:lnTo>
                <a:lnTo>
                  <a:pt x="144" y="300"/>
                </a:lnTo>
                <a:lnTo>
                  <a:pt x="144" y="300"/>
                </a:lnTo>
                <a:lnTo>
                  <a:pt x="138" y="306"/>
                </a:lnTo>
                <a:lnTo>
                  <a:pt x="144" y="306"/>
                </a:lnTo>
                <a:lnTo>
                  <a:pt x="144" y="306"/>
                </a:lnTo>
                <a:lnTo>
                  <a:pt x="138" y="306"/>
                </a:lnTo>
                <a:lnTo>
                  <a:pt x="144" y="312"/>
                </a:lnTo>
                <a:lnTo>
                  <a:pt x="138" y="312"/>
                </a:lnTo>
                <a:lnTo>
                  <a:pt x="144" y="312"/>
                </a:lnTo>
                <a:lnTo>
                  <a:pt x="138" y="312"/>
                </a:lnTo>
                <a:lnTo>
                  <a:pt x="138" y="312"/>
                </a:lnTo>
                <a:lnTo>
                  <a:pt x="138" y="318"/>
                </a:lnTo>
                <a:lnTo>
                  <a:pt x="138" y="318"/>
                </a:lnTo>
                <a:lnTo>
                  <a:pt x="138" y="324"/>
                </a:lnTo>
                <a:lnTo>
                  <a:pt x="138" y="330"/>
                </a:lnTo>
                <a:lnTo>
                  <a:pt x="138" y="330"/>
                </a:lnTo>
                <a:lnTo>
                  <a:pt x="138" y="336"/>
                </a:lnTo>
                <a:lnTo>
                  <a:pt x="144" y="336"/>
                </a:lnTo>
                <a:lnTo>
                  <a:pt x="144" y="336"/>
                </a:lnTo>
                <a:lnTo>
                  <a:pt x="144" y="342"/>
                </a:lnTo>
                <a:lnTo>
                  <a:pt x="144" y="342"/>
                </a:lnTo>
                <a:lnTo>
                  <a:pt x="144" y="342"/>
                </a:lnTo>
                <a:lnTo>
                  <a:pt x="144" y="342"/>
                </a:lnTo>
                <a:lnTo>
                  <a:pt x="144" y="342"/>
                </a:lnTo>
                <a:lnTo>
                  <a:pt x="144" y="342"/>
                </a:lnTo>
                <a:lnTo>
                  <a:pt x="144" y="348"/>
                </a:lnTo>
                <a:lnTo>
                  <a:pt x="144" y="348"/>
                </a:lnTo>
                <a:lnTo>
                  <a:pt x="144" y="348"/>
                </a:lnTo>
                <a:lnTo>
                  <a:pt x="150" y="348"/>
                </a:lnTo>
                <a:lnTo>
                  <a:pt x="150" y="354"/>
                </a:lnTo>
                <a:lnTo>
                  <a:pt x="150" y="354"/>
                </a:lnTo>
                <a:lnTo>
                  <a:pt x="150" y="354"/>
                </a:lnTo>
                <a:lnTo>
                  <a:pt x="150" y="360"/>
                </a:lnTo>
                <a:lnTo>
                  <a:pt x="150" y="360"/>
                </a:lnTo>
                <a:lnTo>
                  <a:pt x="150" y="360"/>
                </a:lnTo>
                <a:lnTo>
                  <a:pt x="150" y="360"/>
                </a:lnTo>
                <a:lnTo>
                  <a:pt x="150" y="360"/>
                </a:lnTo>
                <a:lnTo>
                  <a:pt x="150" y="360"/>
                </a:lnTo>
                <a:lnTo>
                  <a:pt x="150" y="366"/>
                </a:lnTo>
                <a:lnTo>
                  <a:pt x="150" y="366"/>
                </a:lnTo>
                <a:lnTo>
                  <a:pt x="156" y="366"/>
                </a:lnTo>
                <a:lnTo>
                  <a:pt x="150" y="366"/>
                </a:lnTo>
                <a:lnTo>
                  <a:pt x="150" y="372"/>
                </a:lnTo>
                <a:lnTo>
                  <a:pt x="150" y="372"/>
                </a:lnTo>
                <a:lnTo>
                  <a:pt x="150" y="372"/>
                </a:lnTo>
                <a:lnTo>
                  <a:pt x="150" y="378"/>
                </a:lnTo>
                <a:lnTo>
                  <a:pt x="156" y="378"/>
                </a:lnTo>
                <a:lnTo>
                  <a:pt x="156" y="378"/>
                </a:lnTo>
                <a:lnTo>
                  <a:pt x="156" y="378"/>
                </a:lnTo>
                <a:lnTo>
                  <a:pt x="156" y="378"/>
                </a:lnTo>
                <a:lnTo>
                  <a:pt x="156" y="378"/>
                </a:lnTo>
                <a:lnTo>
                  <a:pt x="162" y="378"/>
                </a:lnTo>
                <a:lnTo>
                  <a:pt x="162" y="384"/>
                </a:lnTo>
                <a:lnTo>
                  <a:pt x="162" y="384"/>
                </a:lnTo>
                <a:lnTo>
                  <a:pt x="162" y="378"/>
                </a:lnTo>
                <a:lnTo>
                  <a:pt x="162" y="384"/>
                </a:lnTo>
                <a:lnTo>
                  <a:pt x="162" y="384"/>
                </a:lnTo>
                <a:lnTo>
                  <a:pt x="162" y="384"/>
                </a:lnTo>
                <a:lnTo>
                  <a:pt x="168" y="384"/>
                </a:lnTo>
                <a:lnTo>
                  <a:pt x="168" y="384"/>
                </a:lnTo>
                <a:lnTo>
                  <a:pt x="168" y="384"/>
                </a:lnTo>
                <a:lnTo>
                  <a:pt x="168" y="384"/>
                </a:lnTo>
                <a:lnTo>
                  <a:pt x="174" y="384"/>
                </a:lnTo>
                <a:lnTo>
                  <a:pt x="174" y="384"/>
                </a:lnTo>
                <a:lnTo>
                  <a:pt x="174" y="384"/>
                </a:lnTo>
                <a:lnTo>
                  <a:pt x="174" y="390"/>
                </a:lnTo>
                <a:lnTo>
                  <a:pt x="174" y="390"/>
                </a:lnTo>
                <a:lnTo>
                  <a:pt x="174" y="390"/>
                </a:lnTo>
                <a:lnTo>
                  <a:pt x="174" y="390"/>
                </a:lnTo>
                <a:lnTo>
                  <a:pt x="174" y="396"/>
                </a:lnTo>
                <a:lnTo>
                  <a:pt x="174" y="396"/>
                </a:lnTo>
                <a:lnTo>
                  <a:pt x="174" y="396"/>
                </a:lnTo>
                <a:lnTo>
                  <a:pt x="174" y="396"/>
                </a:lnTo>
                <a:lnTo>
                  <a:pt x="174" y="396"/>
                </a:lnTo>
                <a:lnTo>
                  <a:pt x="174" y="402"/>
                </a:lnTo>
                <a:lnTo>
                  <a:pt x="174" y="402"/>
                </a:lnTo>
                <a:lnTo>
                  <a:pt x="174" y="402"/>
                </a:lnTo>
                <a:lnTo>
                  <a:pt x="174" y="402"/>
                </a:lnTo>
                <a:lnTo>
                  <a:pt x="174" y="402"/>
                </a:lnTo>
                <a:lnTo>
                  <a:pt x="174" y="402"/>
                </a:lnTo>
                <a:lnTo>
                  <a:pt x="174" y="408"/>
                </a:lnTo>
                <a:lnTo>
                  <a:pt x="174" y="408"/>
                </a:lnTo>
                <a:lnTo>
                  <a:pt x="174" y="408"/>
                </a:lnTo>
                <a:lnTo>
                  <a:pt x="174" y="408"/>
                </a:lnTo>
                <a:lnTo>
                  <a:pt x="174" y="408"/>
                </a:lnTo>
                <a:lnTo>
                  <a:pt x="174" y="408"/>
                </a:lnTo>
                <a:lnTo>
                  <a:pt x="174" y="414"/>
                </a:lnTo>
                <a:lnTo>
                  <a:pt x="174" y="414"/>
                </a:lnTo>
                <a:lnTo>
                  <a:pt x="174" y="414"/>
                </a:lnTo>
                <a:lnTo>
                  <a:pt x="174" y="420"/>
                </a:lnTo>
                <a:lnTo>
                  <a:pt x="174" y="420"/>
                </a:lnTo>
                <a:lnTo>
                  <a:pt x="174" y="420"/>
                </a:lnTo>
                <a:lnTo>
                  <a:pt x="174" y="420"/>
                </a:lnTo>
                <a:lnTo>
                  <a:pt x="174" y="420"/>
                </a:lnTo>
                <a:lnTo>
                  <a:pt x="174" y="420"/>
                </a:lnTo>
                <a:lnTo>
                  <a:pt x="174" y="420"/>
                </a:lnTo>
                <a:lnTo>
                  <a:pt x="174" y="420"/>
                </a:lnTo>
                <a:lnTo>
                  <a:pt x="174" y="420"/>
                </a:lnTo>
                <a:lnTo>
                  <a:pt x="174" y="420"/>
                </a:lnTo>
                <a:lnTo>
                  <a:pt x="174" y="426"/>
                </a:lnTo>
                <a:lnTo>
                  <a:pt x="120" y="426"/>
                </a:lnTo>
                <a:lnTo>
                  <a:pt x="120" y="426"/>
                </a:lnTo>
                <a:lnTo>
                  <a:pt x="120" y="426"/>
                </a:lnTo>
                <a:lnTo>
                  <a:pt x="114" y="432"/>
                </a:lnTo>
                <a:lnTo>
                  <a:pt x="114" y="432"/>
                </a:lnTo>
                <a:lnTo>
                  <a:pt x="114" y="432"/>
                </a:lnTo>
                <a:lnTo>
                  <a:pt x="108" y="438"/>
                </a:lnTo>
                <a:lnTo>
                  <a:pt x="108" y="438"/>
                </a:lnTo>
                <a:lnTo>
                  <a:pt x="108" y="438"/>
                </a:lnTo>
                <a:lnTo>
                  <a:pt x="108" y="438"/>
                </a:lnTo>
                <a:lnTo>
                  <a:pt x="108" y="438"/>
                </a:lnTo>
                <a:lnTo>
                  <a:pt x="108" y="438"/>
                </a:lnTo>
                <a:lnTo>
                  <a:pt x="102" y="444"/>
                </a:lnTo>
                <a:lnTo>
                  <a:pt x="102" y="444"/>
                </a:lnTo>
                <a:lnTo>
                  <a:pt x="102" y="444"/>
                </a:lnTo>
                <a:lnTo>
                  <a:pt x="102" y="444"/>
                </a:lnTo>
                <a:lnTo>
                  <a:pt x="96" y="450"/>
                </a:lnTo>
                <a:lnTo>
                  <a:pt x="96" y="450"/>
                </a:lnTo>
                <a:lnTo>
                  <a:pt x="96" y="450"/>
                </a:lnTo>
                <a:lnTo>
                  <a:pt x="96" y="450"/>
                </a:lnTo>
                <a:lnTo>
                  <a:pt x="96" y="450"/>
                </a:lnTo>
                <a:lnTo>
                  <a:pt x="96" y="450"/>
                </a:lnTo>
                <a:lnTo>
                  <a:pt x="90" y="450"/>
                </a:lnTo>
                <a:lnTo>
                  <a:pt x="90" y="456"/>
                </a:lnTo>
                <a:lnTo>
                  <a:pt x="90" y="456"/>
                </a:lnTo>
                <a:lnTo>
                  <a:pt x="90" y="456"/>
                </a:lnTo>
                <a:lnTo>
                  <a:pt x="90" y="456"/>
                </a:lnTo>
                <a:lnTo>
                  <a:pt x="90" y="456"/>
                </a:lnTo>
                <a:lnTo>
                  <a:pt x="84" y="456"/>
                </a:lnTo>
                <a:lnTo>
                  <a:pt x="84" y="456"/>
                </a:lnTo>
                <a:lnTo>
                  <a:pt x="84" y="456"/>
                </a:lnTo>
                <a:lnTo>
                  <a:pt x="84" y="456"/>
                </a:lnTo>
                <a:lnTo>
                  <a:pt x="84" y="456"/>
                </a:lnTo>
                <a:lnTo>
                  <a:pt x="78" y="456"/>
                </a:lnTo>
                <a:lnTo>
                  <a:pt x="78" y="456"/>
                </a:lnTo>
                <a:lnTo>
                  <a:pt x="72" y="462"/>
                </a:lnTo>
                <a:lnTo>
                  <a:pt x="72" y="462"/>
                </a:lnTo>
                <a:lnTo>
                  <a:pt x="72" y="462"/>
                </a:lnTo>
                <a:lnTo>
                  <a:pt x="72" y="456"/>
                </a:lnTo>
                <a:lnTo>
                  <a:pt x="72" y="462"/>
                </a:lnTo>
                <a:lnTo>
                  <a:pt x="72" y="462"/>
                </a:lnTo>
                <a:lnTo>
                  <a:pt x="66" y="462"/>
                </a:lnTo>
                <a:lnTo>
                  <a:pt x="66" y="462"/>
                </a:lnTo>
                <a:lnTo>
                  <a:pt x="66" y="462"/>
                </a:lnTo>
                <a:lnTo>
                  <a:pt x="66" y="462"/>
                </a:lnTo>
                <a:lnTo>
                  <a:pt x="60" y="462"/>
                </a:lnTo>
                <a:lnTo>
                  <a:pt x="66" y="462"/>
                </a:lnTo>
                <a:lnTo>
                  <a:pt x="66" y="462"/>
                </a:lnTo>
                <a:lnTo>
                  <a:pt x="66" y="462"/>
                </a:lnTo>
                <a:lnTo>
                  <a:pt x="66" y="462"/>
                </a:lnTo>
                <a:lnTo>
                  <a:pt x="66" y="462"/>
                </a:lnTo>
                <a:lnTo>
                  <a:pt x="66" y="456"/>
                </a:lnTo>
                <a:lnTo>
                  <a:pt x="66" y="456"/>
                </a:lnTo>
                <a:lnTo>
                  <a:pt x="66" y="450"/>
                </a:lnTo>
                <a:lnTo>
                  <a:pt x="66" y="450"/>
                </a:lnTo>
                <a:lnTo>
                  <a:pt x="66" y="450"/>
                </a:lnTo>
                <a:lnTo>
                  <a:pt x="66" y="450"/>
                </a:lnTo>
                <a:lnTo>
                  <a:pt x="66" y="450"/>
                </a:lnTo>
                <a:lnTo>
                  <a:pt x="66" y="444"/>
                </a:lnTo>
                <a:lnTo>
                  <a:pt x="66" y="444"/>
                </a:lnTo>
                <a:lnTo>
                  <a:pt x="60" y="444"/>
                </a:lnTo>
                <a:lnTo>
                  <a:pt x="60" y="438"/>
                </a:lnTo>
                <a:lnTo>
                  <a:pt x="60" y="438"/>
                </a:lnTo>
                <a:lnTo>
                  <a:pt x="54" y="438"/>
                </a:lnTo>
                <a:lnTo>
                  <a:pt x="54" y="438"/>
                </a:lnTo>
                <a:lnTo>
                  <a:pt x="54" y="438"/>
                </a:lnTo>
                <a:lnTo>
                  <a:pt x="48" y="438"/>
                </a:lnTo>
                <a:lnTo>
                  <a:pt x="42" y="438"/>
                </a:lnTo>
                <a:lnTo>
                  <a:pt x="42" y="438"/>
                </a:lnTo>
                <a:lnTo>
                  <a:pt x="42" y="438"/>
                </a:lnTo>
                <a:lnTo>
                  <a:pt x="42" y="432"/>
                </a:lnTo>
                <a:lnTo>
                  <a:pt x="42" y="426"/>
                </a:lnTo>
                <a:lnTo>
                  <a:pt x="42" y="426"/>
                </a:lnTo>
                <a:lnTo>
                  <a:pt x="42" y="426"/>
                </a:lnTo>
                <a:lnTo>
                  <a:pt x="36" y="426"/>
                </a:lnTo>
                <a:lnTo>
                  <a:pt x="36" y="426"/>
                </a:lnTo>
                <a:lnTo>
                  <a:pt x="36" y="426"/>
                </a:lnTo>
                <a:lnTo>
                  <a:pt x="30" y="426"/>
                </a:lnTo>
                <a:lnTo>
                  <a:pt x="30" y="426"/>
                </a:lnTo>
                <a:lnTo>
                  <a:pt x="24" y="426"/>
                </a:lnTo>
                <a:lnTo>
                  <a:pt x="24" y="426"/>
                </a:lnTo>
                <a:lnTo>
                  <a:pt x="24" y="426"/>
                </a:lnTo>
                <a:lnTo>
                  <a:pt x="18" y="426"/>
                </a:lnTo>
                <a:lnTo>
                  <a:pt x="18" y="426"/>
                </a:lnTo>
                <a:lnTo>
                  <a:pt x="18" y="426"/>
                </a:lnTo>
                <a:lnTo>
                  <a:pt x="18" y="426"/>
                </a:lnTo>
                <a:lnTo>
                  <a:pt x="12" y="426"/>
                </a:lnTo>
                <a:lnTo>
                  <a:pt x="12" y="426"/>
                </a:lnTo>
                <a:lnTo>
                  <a:pt x="12" y="432"/>
                </a:lnTo>
                <a:lnTo>
                  <a:pt x="12" y="432"/>
                </a:lnTo>
                <a:lnTo>
                  <a:pt x="6" y="426"/>
                </a:lnTo>
                <a:lnTo>
                  <a:pt x="6" y="426"/>
                </a:lnTo>
                <a:lnTo>
                  <a:pt x="6" y="42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298" name="Freeform 31"/>
          <p:cNvSpPr>
            <a:spLocks/>
          </p:cNvSpPr>
          <p:nvPr/>
        </p:nvSpPr>
        <p:spPr bwMode="auto">
          <a:xfrm>
            <a:off x="4764038" y="691689"/>
            <a:ext cx="635981" cy="603865"/>
          </a:xfrm>
          <a:custGeom>
            <a:avLst/>
            <a:gdLst>
              <a:gd name="T0" fmla="*/ 60 w 594"/>
              <a:gd name="T1" fmla="*/ 30 h 564"/>
              <a:gd name="T2" fmla="*/ 90 w 594"/>
              <a:gd name="T3" fmla="*/ 18 h 564"/>
              <a:gd name="T4" fmla="*/ 132 w 594"/>
              <a:gd name="T5" fmla="*/ 24 h 564"/>
              <a:gd name="T6" fmla="*/ 150 w 594"/>
              <a:gd name="T7" fmla="*/ 30 h 564"/>
              <a:gd name="T8" fmla="*/ 180 w 594"/>
              <a:gd name="T9" fmla="*/ 30 h 564"/>
              <a:gd name="T10" fmla="*/ 222 w 594"/>
              <a:gd name="T11" fmla="*/ 24 h 564"/>
              <a:gd name="T12" fmla="*/ 258 w 594"/>
              <a:gd name="T13" fmla="*/ 30 h 564"/>
              <a:gd name="T14" fmla="*/ 276 w 594"/>
              <a:gd name="T15" fmla="*/ 30 h 564"/>
              <a:gd name="T16" fmla="*/ 294 w 594"/>
              <a:gd name="T17" fmla="*/ 18 h 564"/>
              <a:gd name="T18" fmla="*/ 318 w 594"/>
              <a:gd name="T19" fmla="*/ 6 h 564"/>
              <a:gd name="T20" fmla="*/ 336 w 594"/>
              <a:gd name="T21" fmla="*/ 18 h 564"/>
              <a:gd name="T22" fmla="*/ 348 w 594"/>
              <a:gd name="T23" fmla="*/ 36 h 564"/>
              <a:gd name="T24" fmla="*/ 378 w 594"/>
              <a:gd name="T25" fmla="*/ 36 h 564"/>
              <a:gd name="T26" fmla="*/ 396 w 594"/>
              <a:gd name="T27" fmla="*/ 48 h 564"/>
              <a:gd name="T28" fmla="*/ 408 w 594"/>
              <a:gd name="T29" fmla="*/ 66 h 564"/>
              <a:gd name="T30" fmla="*/ 384 w 594"/>
              <a:gd name="T31" fmla="*/ 126 h 564"/>
              <a:gd name="T32" fmla="*/ 420 w 594"/>
              <a:gd name="T33" fmla="*/ 126 h 564"/>
              <a:gd name="T34" fmla="*/ 444 w 594"/>
              <a:gd name="T35" fmla="*/ 150 h 564"/>
              <a:gd name="T36" fmla="*/ 456 w 594"/>
              <a:gd name="T37" fmla="*/ 156 h 564"/>
              <a:gd name="T38" fmla="*/ 480 w 594"/>
              <a:gd name="T39" fmla="*/ 144 h 564"/>
              <a:gd name="T40" fmla="*/ 552 w 594"/>
              <a:gd name="T41" fmla="*/ 126 h 564"/>
              <a:gd name="T42" fmla="*/ 558 w 594"/>
              <a:gd name="T43" fmla="*/ 144 h 564"/>
              <a:gd name="T44" fmla="*/ 558 w 594"/>
              <a:gd name="T45" fmla="*/ 156 h 564"/>
              <a:gd name="T46" fmla="*/ 582 w 594"/>
              <a:gd name="T47" fmla="*/ 168 h 564"/>
              <a:gd name="T48" fmla="*/ 582 w 594"/>
              <a:gd name="T49" fmla="*/ 174 h 564"/>
              <a:gd name="T50" fmla="*/ 552 w 594"/>
              <a:gd name="T51" fmla="*/ 174 h 564"/>
              <a:gd name="T52" fmla="*/ 540 w 594"/>
              <a:gd name="T53" fmla="*/ 192 h 564"/>
              <a:gd name="T54" fmla="*/ 546 w 594"/>
              <a:gd name="T55" fmla="*/ 210 h 564"/>
              <a:gd name="T56" fmla="*/ 546 w 594"/>
              <a:gd name="T57" fmla="*/ 216 h 564"/>
              <a:gd name="T58" fmla="*/ 528 w 594"/>
              <a:gd name="T59" fmla="*/ 228 h 564"/>
              <a:gd name="T60" fmla="*/ 510 w 594"/>
              <a:gd name="T61" fmla="*/ 240 h 564"/>
              <a:gd name="T62" fmla="*/ 480 w 594"/>
              <a:gd name="T63" fmla="*/ 234 h 564"/>
              <a:gd name="T64" fmla="*/ 462 w 594"/>
              <a:gd name="T65" fmla="*/ 240 h 564"/>
              <a:gd name="T66" fmla="*/ 444 w 594"/>
              <a:gd name="T67" fmla="*/ 258 h 564"/>
              <a:gd name="T68" fmla="*/ 438 w 594"/>
              <a:gd name="T69" fmla="*/ 264 h 564"/>
              <a:gd name="T70" fmla="*/ 426 w 594"/>
              <a:gd name="T71" fmla="*/ 270 h 564"/>
              <a:gd name="T72" fmla="*/ 414 w 594"/>
              <a:gd name="T73" fmla="*/ 258 h 564"/>
              <a:gd name="T74" fmla="*/ 396 w 594"/>
              <a:gd name="T75" fmla="*/ 240 h 564"/>
              <a:gd name="T76" fmla="*/ 384 w 594"/>
              <a:gd name="T77" fmla="*/ 246 h 564"/>
              <a:gd name="T78" fmla="*/ 372 w 594"/>
              <a:gd name="T79" fmla="*/ 258 h 564"/>
              <a:gd name="T80" fmla="*/ 360 w 594"/>
              <a:gd name="T81" fmla="*/ 258 h 564"/>
              <a:gd name="T82" fmla="*/ 330 w 594"/>
              <a:gd name="T83" fmla="*/ 276 h 564"/>
              <a:gd name="T84" fmla="*/ 288 w 594"/>
              <a:gd name="T85" fmla="*/ 378 h 564"/>
              <a:gd name="T86" fmla="*/ 276 w 594"/>
              <a:gd name="T87" fmla="*/ 438 h 564"/>
              <a:gd name="T88" fmla="*/ 270 w 594"/>
              <a:gd name="T89" fmla="*/ 498 h 564"/>
              <a:gd name="T90" fmla="*/ 270 w 594"/>
              <a:gd name="T91" fmla="*/ 564 h 564"/>
              <a:gd name="T92" fmla="*/ 240 w 594"/>
              <a:gd name="T93" fmla="*/ 522 h 564"/>
              <a:gd name="T94" fmla="*/ 210 w 594"/>
              <a:gd name="T95" fmla="*/ 504 h 564"/>
              <a:gd name="T96" fmla="*/ 192 w 594"/>
              <a:gd name="T97" fmla="*/ 486 h 564"/>
              <a:gd name="T98" fmla="*/ 204 w 594"/>
              <a:gd name="T99" fmla="*/ 474 h 564"/>
              <a:gd name="T100" fmla="*/ 222 w 594"/>
              <a:gd name="T101" fmla="*/ 468 h 564"/>
              <a:gd name="T102" fmla="*/ 222 w 594"/>
              <a:gd name="T103" fmla="*/ 444 h 564"/>
              <a:gd name="T104" fmla="*/ 228 w 594"/>
              <a:gd name="T105" fmla="*/ 426 h 564"/>
              <a:gd name="T106" fmla="*/ 216 w 594"/>
              <a:gd name="T107" fmla="*/ 396 h 564"/>
              <a:gd name="T108" fmla="*/ 198 w 594"/>
              <a:gd name="T109" fmla="*/ 354 h 564"/>
              <a:gd name="T110" fmla="*/ 186 w 594"/>
              <a:gd name="T111" fmla="*/ 294 h 564"/>
              <a:gd name="T112" fmla="*/ 192 w 594"/>
              <a:gd name="T113" fmla="*/ 246 h 564"/>
              <a:gd name="T114" fmla="*/ 168 w 594"/>
              <a:gd name="T115" fmla="*/ 192 h 564"/>
              <a:gd name="T116" fmla="*/ 162 w 594"/>
              <a:gd name="T117" fmla="*/ 138 h 564"/>
              <a:gd name="T118" fmla="*/ 108 w 594"/>
              <a:gd name="T119" fmla="*/ 102 h 564"/>
              <a:gd name="T120" fmla="*/ 72 w 594"/>
              <a:gd name="T121" fmla="*/ 66 h 5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94" h="564">
                <a:moveTo>
                  <a:pt x="0" y="60"/>
                </a:moveTo>
                <a:lnTo>
                  <a:pt x="0" y="60"/>
                </a:lnTo>
                <a:lnTo>
                  <a:pt x="0" y="60"/>
                </a:lnTo>
                <a:lnTo>
                  <a:pt x="6" y="60"/>
                </a:lnTo>
                <a:lnTo>
                  <a:pt x="12" y="60"/>
                </a:lnTo>
                <a:lnTo>
                  <a:pt x="18" y="54"/>
                </a:lnTo>
                <a:lnTo>
                  <a:pt x="18" y="54"/>
                </a:lnTo>
                <a:lnTo>
                  <a:pt x="42" y="48"/>
                </a:lnTo>
                <a:lnTo>
                  <a:pt x="42" y="48"/>
                </a:lnTo>
                <a:lnTo>
                  <a:pt x="42" y="42"/>
                </a:lnTo>
                <a:lnTo>
                  <a:pt x="48" y="42"/>
                </a:lnTo>
                <a:lnTo>
                  <a:pt x="54" y="48"/>
                </a:lnTo>
                <a:lnTo>
                  <a:pt x="54" y="48"/>
                </a:lnTo>
                <a:lnTo>
                  <a:pt x="60" y="42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0"/>
                </a:lnTo>
                <a:lnTo>
                  <a:pt x="60" y="30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6" y="18"/>
                </a:lnTo>
                <a:lnTo>
                  <a:pt x="66" y="18"/>
                </a:lnTo>
                <a:lnTo>
                  <a:pt x="72" y="18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8" y="24"/>
                </a:lnTo>
                <a:lnTo>
                  <a:pt x="78" y="24"/>
                </a:lnTo>
                <a:lnTo>
                  <a:pt x="78" y="18"/>
                </a:lnTo>
                <a:lnTo>
                  <a:pt x="78" y="18"/>
                </a:lnTo>
                <a:lnTo>
                  <a:pt x="84" y="18"/>
                </a:lnTo>
                <a:lnTo>
                  <a:pt x="84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102" y="18"/>
                </a:lnTo>
                <a:lnTo>
                  <a:pt x="102" y="18"/>
                </a:lnTo>
                <a:lnTo>
                  <a:pt x="108" y="18"/>
                </a:lnTo>
                <a:lnTo>
                  <a:pt x="108" y="18"/>
                </a:lnTo>
                <a:lnTo>
                  <a:pt x="114" y="18"/>
                </a:lnTo>
                <a:lnTo>
                  <a:pt x="114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6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18"/>
                </a:lnTo>
                <a:lnTo>
                  <a:pt x="144" y="18"/>
                </a:lnTo>
                <a:lnTo>
                  <a:pt x="144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30"/>
                </a:lnTo>
                <a:lnTo>
                  <a:pt x="150" y="30"/>
                </a:lnTo>
                <a:lnTo>
                  <a:pt x="156" y="30"/>
                </a:lnTo>
                <a:lnTo>
                  <a:pt x="156" y="30"/>
                </a:lnTo>
                <a:lnTo>
                  <a:pt x="162" y="30"/>
                </a:lnTo>
                <a:lnTo>
                  <a:pt x="162" y="30"/>
                </a:lnTo>
                <a:lnTo>
                  <a:pt x="168" y="30"/>
                </a:lnTo>
                <a:lnTo>
                  <a:pt x="168" y="30"/>
                </a:lnTo>
                <a:lnTo>
                  <a:pt x="168" y="30"/>
                </a:lnTo>
                <a:lnTo>
                  <a:pt x="168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24"/>
                </a:lnTo>
                <a:lnTo>
                  <a:pt x="180" y="30"/>
                </a:lnTo>
                <a:lnTo>
                  <a:pt x="180" y="24"/>
                </a:lnTo>
                <a:lnTo>
                  <a:pt x="180" y="24"/>
                </a:lnTo>
                <a:lnTo>
                  <a:pt x="180" y="30"/>
                </a:lnTo>
                <a:lnTo>
                  <a:pt x="186" y="24"/>
                </a:lnTo>
                <a:lnTo>
                  <a:pt x="192" y="24"/>
                </a:lnTo>
                <a:lnTo>
                  <a:pt x="192" y="24"/>
                </a:lnTo>
                <a:lnTo>
                  <a:pt x="192" y="24"/>
                </a:lnTo>
                <a:lnTo>
                  <a:pt x="198" y="24"/>
                </a:lnTo>
                <a:lnTo>
                  <a:pt x="198" y="24"/>
                </a:lnTo>
                <a:lnTo>
                  <a:pt x="198" y="24"/>
                </a:lnTo>
                <a:lnTo>
                  <a:pt x="198" y="24"/>
                </a:lnTo>
                <a:lnTo>
                  <a:pt x="198" y="24"/>
                </a:lnTo>
                <a:lnTo>
                  <a:pt x="198" y="24"/>
                </a:lnTo>
                <a:lnTo>
                  <a:pt x="204" y="24"/>
                </a:lnTo>
                <a:lnTo>
                  <a:pt x="204" y="24"/>
                </a:lnTo>
                <a:lnTo>
                  <a:pt x="204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6" y="24"/>
                </a:lnTo>
                <a:lnTo>
                  <a:pt x="216" y="24"/>
                </a:lnTo>
                <a:lnTo>
                  <a:pt x="222" y="24"/>
                </a:lnTo>
                <a:lnTo>
                  <a:pt x="222" y="24"/>
                </a:lnTo>
                <a:lnTo>
                  <a:pt x="228" y="24"/>
                </a:lnTo>
                <a:lnTo>
                  <a:pt x="228" y="24"/>
                </a:lnTo>
                <a:lnTo>
                  <a:pt x="228" y="24"/>
                </a:lnTo>
                <a:lnTo>
                  <a:pt x="228" y="24"/>
                </a:lnTo>
                <a:lnTo>
                  <a:pt x="228" y="24"/>
                </a:lnTo>
                <a:lnTo>
                  <a:pt x="228" y="24"/>
                </a:lnTo>
                <a:lnTo>
                  <a:pt x="234" y="24"/>
                </a:lnTo>
                <a:lnTo>
                  <a:pt x="240" y="24"/>
                </a:lnTo>
                <a:lnTo>
                  <a:pt x="240" y="24"/>
                </a:lnTo>
                <a:lnTo>
                  <a:pt x="246" y="24"/>
                </a:lnTo>
                <a:lnTo>
                  <a:pt x="246" y="24"/>
                </a:lnTo>
                <a:lnTo>
                  <a:pt x="246" y="24"/>
                </a:lnTo>
                <a:lnTo>
                  <a:pt x="246" y="24"/>
                </a:lnTo>
                <a:lnTo>
                  <a:pt x="246" y="30"/>
                </a:lnTo>
                <a:lnTo>
                  <a:pt x="252" y="30"/>
                </a:lnTo>
                <a:lnTo>
                  <a:pt x="252" y="30"/>
                </a:lnTo>
                <a:lnTo>
                  <a:pt x="258" y="30"/>
                </a:lnTo>
                <a:lnTo>
                  <a:pt x="258" y="30"/>
                </a:lnTo>
                <a:lnTo>
                  <a:pt x="258" y="30"/>
                </a:lnTo>
                <a:lnTo>
                  <a:pt x="258" y="30"/>
                </a:lnTo>
                <a:lnTo>
                  <a:pt x="258" y="30"/>
                </a:lnTo>
                <a:lnTo>
                  <a:pt x="258" y="30"/>
                </a:lnTo>
                <a:lnTo>
                  <a:pt x="258" y="36"/>
                </a:lnTo>
                <a:lnTo>
                  <a:pt x="264" y="36"/>
                </a:lnTo>
                <a:lnTo>
                  <a:pt x="264" y="36"/>
                </a:lnTo>
                <a:lnTo>
                  <a:pt x="264" y="30"/>
                </a:lnTo>
                <a:lnTo>
                  <a:pt x="264" y="30"/>
                </a:lnTo>
                <a:lnTo>
                  <a:pt x="264" y="30"/>
                </a:lnTo>
                <a:lnTo>
                  <a:pt x="270" y="36"/>
                </a:lnTo>
                <a:lnTo>
                  <a:pt x="270" y="30"/>
                </a:lnTo>
                <a:lnTo>
                  <a:pt x="270" y="36"/>
                </a:lnTo>
                <a:lnTo>
                  <a:pt x="270" y="30"/>
                </a:lnTo>
                <a:lnTo>
                  <a:pt x="270" y="30"/>
                </a:lnTo>
                <a:lnTo>
                  <a:pt x="276" y="36"/>
                </a:lnTo>
                <a:lnTo>
                  <a:pt x="276" y="36"/>
                </a:lnTo>
                <a:lnTo>
                  <a:pt x="276" y="36"/>
                </a:lnTo>
                <a:lnTo>
                  <a:pt x="276" y="30"/>
                </a:lnTo>
                <a:lnTo>
                  <a:pt x="282" y="36"/>
                </a:lnTo>
                <a:lnTo>
                  <a:pt x="282" y="30"/>
                </a:lnTo>
                <a:lnTo>
                  <a:pt x="282" y="30"/>
                </a:lnTo>
                <a:lnTo>
                  <a:pt x="282" y="30"/>
                </a:lnTo>
                <a:lnTo>
                  <a:pt x="288" y="30"/>
                </a:lnTo>
                <a:lnTo>
                  <a:pt x="288" y="30"/>
                </a:lnTo>
                <a:lnTo>
                  <a:pt x="288" y="30"/>
                </a:lnTo>
                <a:lnTo>
                  <a:pt x="288" y="30"/>
                </a:lnTo>
                <a:lnTo>
                  <a:pt x="294" y="30"/>
                </a:lnTo>
                <a:lnTo>
                  <a:pt x="294" y="30"/>
                </a:lnTo>
                <a:lnTo>
                  <a:pt x="288" y="24"/>
                </a:lnTo>
                <a:lnTo>
                  <a:pt x="288" y="24"/>
                </a:lnTo>
                <a:lnTo>
                  <a:pt x="288" y="30"/>
                </a:lnTo>
                <a:lnTo>
                  <a:pt x="288" y="24"/>
                </a:lnTo>
                <a:lnTo>
                  <a:pt x="288" y="24"/>
                </a:lnTo>
                <a:lnTo>
                  <a:pt x="288" y="24"/>
                </a:lnTo>
                <a:lnTo>
                  <a:pt x="294" y="24"/>
                </a:lnTo>
                <a:lnTo>
                  <a:pt x="294" y="18"/>
                </a:lnTo>
                <a:lnTo>
                  <a:pt x="294" y="18"/>
                </a:lnTo>
                <a:lnTo>
                  <a:pt x="294" y="18"/>
                </a:lnTo>
                <a:lnTo>
                  <a:pt x="294" y="18"/>
                </a:lnTo>
                <a:lnTo>
                  <a:pt x="294" y="18"/>
                </a:lnTo>
                <a:lnTo>
                  <a:pt x="294" y="12"/>
                </a:lnTo>
                <a:lnTo>
                  <a:pt x="294" y="12"/>
                </a:lnTo>
                <a:lnTo>
                  <a:pt x="294" y="12"/>
                </a:lnTo>
                <a:lnTo>
                  <a:pt x="300" y="6"/>
                </a:lnTo>
                <a:lnTo>
                  <a:pt x="300" y="6"/>
                </a:lnTo>
                <a:lnTo>
                  <a:pt x="306" y="0"/>
                </a:lnTo>
                <a:lnTo>
                  <a:pt x="306" y="0"/>
                </a:lnTo>
                <a:lnTo>
                  <a:pt x="306" y="0"/>
                </a:lnTo>
                <a:lnTo>
                  <a:pt x="312" y="0"/>
                </a:lnTo>
                <a:lnTo>
                  <a:pt x="312" y="0"/>
                </a:lnTo>
                <a:lnTo>
                  <a:pt x="312" y="0"/>
                </a:lnTo>
                <a:lnTo>
                  <a:pt x="312" y="0"/>
                </a:lnTo>
                <a:lnTo>
                  <a:pt x="312" y="0"/>
                </a:lnTo>
                <a:lnTo>
                  <a:pt x="318" y="0"/>
                </a:lnTo>
                <a:lnTo>
                  <a:pt x="318" y="6"/>
                </a:lnTo>
                <a:lnTo>
                  <a:pt x="318" y="6"/>
                </a:lnTo>
                <a:lnTo>
                  <a:pt x="318" y="6"/>
                </a:lnTo>
                <a:lnTo>
                  <a:pt x="318" y="6"/>
                </a:lnTo>
                <a:lnTo>
                  <a:pt x="318" y="6"/>
                </a:lnTo>
                <a:lnTo>
                  <a:pt x="324" y="6"/>
                </a:lnTo>
                <a:lnTo>
                  <a:pt x="324" y="6"/>
                </a:lnTo>
                <a:lnTo>
                  <a:pt x="324" y="6"/>
                </a:lnTo>
                <a:lnTo>
                  <a:pt x="324" y="6"/>
                </a:lnTo>
                <a:lnTo>
                  <a:pt x="330" y="6"/>
                </a:lnTo>
                <a:lnTo>
                  <a:pt x="330" y="6"/>
                </a:lnTo>
                <a:lnTo>
                  <a:pt x="330" y="6"/>
                </a:lnTo>
                <a:lnTo>
                  <a:pt x="330" y="6"/>
                </a:lnTo>
                <a:lnTo>
                  <a:pt x="330" y="12"/>
                </a:lnTo>
                <a:lnTo>
                  <a:pt x="330" y="12"/>
                </a:lnTo>
                <a:lnTo>
                  <a:pt x="330" y="12"/>
                </a:lnTo>
                <a:lnTo>
                  <a:pt x="336" y="12"/>
                </a:lnTo>
                <a:lnTo>
                  <a:pt x="336" y="12"/>
                </a:lnTo>
                <a:lnTo>
                  <a:pt x="336" y="12"/>
                </a:lnTo>
                <a:lnTo>
                  <a:pt x="336" y="18"/>
                </a:lnTo>
                <a:lnTo>
                  <a:pt x="336" y="18"/>
                </a:lnTo>
                <a:lnTo>
                  <a:pt x="336" y="18"/>
                </a:lnTo>
                <a:lnTo>
                  <a:pt x="342" y="18"/>
                </a:lnTo>
                <a:lnTo>
                  <a:pt x="342" y="24"/>
                </a:lnTo>
                <a:lnTo>
                  <a:pt x="342" y="24"/>
                </a:lnTo>
                <a:lnTo>
                  <a:pt x="342" y="24"/>
                </a:lnTo>
                <a:lnTo>
                  <a:pt x="342" y="24"/>
                </a:lnTo>
                <a:lnTo>
                  <a:pt x="342" y="24"/>
                </a:lnTo>
                <a:lnTo>
                  <a:pt x="342" y="24"/>
                </a:lnTo>
                <a:lnTo>
                  <a:pt x="342" y="24"/>
                </a:lnTo>
                <a:lnTo>
                  <a:pt x="342" y="30"/>
                </a:lnTo>
                <a:lnTo>
                  <a:pt x="348" y="30"/>
                </a:lnTo>
                <a:lnTo>
                  <a:pt x="348" y="30"/>
                </a:lnTo>
                <a:lnTo>
                  <a:pt x="348" y="30"/>
                </a:lnTo>
                <a:lnTo>
                  <a:pt x="348" y="30"/>
                </a:lnTo>
                <a:lnTo>
                  <a:pt x="348" y="30"/>
                </a:lnTo>
                <a:lnTo>
                  <a:pt x="348" y="36"/>
                </a:lnTo>
                <a:lnTo>
                  <a:pt x="348" y="36"/>
                </a:lnTo>
                <a:lnTo>
                  <a:pt x="348" y="36"/>
                </a:lnTo>
                <a:lnTo>
                  <a:pt x="348" y="36"/>
                </a:lnTo>
                <a:lnTo>
                  <a:pt x="354" y="36"/>
                </a:lnTo>
                <a:lnTo>
                  <a:pt x="354" y="36"/>
                </a:lnTo>
                <a:lnTo>
                  <a:pt x="354" y="36"/>
                </a:lnTo>
                <a:lnTo>
                  <a:pt x="354" y="36"/>
                </a:lnTo>
                <a:lnTo>
                  <a:pt x="360" y="36"/>
                </a:lnTo>
                <a:lnTo>
                  <a:pt x="360" y="36"/>
                </a:lnTo>
                <a:lnTo>
                  <a:pt x="360" y="36"/>
                </a:lnTo>
                <a:lnTo>
                  <a:pt x="360" y="36"/>
                </a:lnTo>
                <a:lnTo>
                  <a:pt x="360" y="36"/>
                </a:lnTo>
                <a:lnTo>
                  <a:pt x="360" y="36"/>
                </a:lnTo>
                <a:lnTo>
                  <a:pt x="366" y="30"/>
                </a:lnTo>
                <a:lnTo>
                  <a:pt x="372" y="30"/>
                </a:lnTo>
                <a:lnTo>
                  <a:pt x="372" y="30"/>
                </a:lnTo>
                <a:lnTo>
                  <a:pt x="372" y="30"/>
                </a:lnTo>
                <a:lnTo>
                  <a:pt x="372" y="30"/>
                </a:lnTo>
                <a:lnTo>
                  <a:pt x="372" y="30"/>
                </a:lnTo>
                <a:lnTo>
                  <a:pt x="372" y="30"/>
                </a:lnTo>
                <a:lnTo>
                  <a:pt x="378" y="30"/>
                </a:lnTo>
                <a:lnTo>
                  <a:pt x="378" y="36"/>
                </a:lnTo>
                <a:lnTo>
                  <a:pt x="378" y="36"/>
                </a:lnTo>
                <a:lnTo>
                  <a:pt x="378" y="36"/>
                </a:lnTo>
                <a:lnTo>
                  <a:pt x="384" y="36"/>
                </a:lnTo>
                <a:lnTo>
                  <a:pt x="384" y="36"/>
                </a:lnTo>
                <a:lnTo>
                  <a:pt x="384" y="30"/>
                </a:lnTo>
                <a:lnTo>
                  <a:pt x="384" y="36"/>
                </a:lnTo>
                <a:lnTo>
                  <a:pt x="384" y="36"/>
                </a:lnTo>
                <a:lnTo>
                  <a:pt x="390" y="36"/>
                </a:lnTo>
                <a:lnTo>
                  <a:pt x="390" y="36"/>
                </a:lnTo>
                <a:lnTo>
                  <a:pt x="390" y="36"/>
                </a:lnTo>
                <a:lnTo>
                  <a:pt x="390" y="36"/>
                </a:lnTo>
                <a:lnTo>
                  <a:pt x="390" y="42"/>
                </a:lnTo>
                <a:lnTo>
                  <a:pt x="396" y="36"/>
                </a:lnTo>
                <a:lnTo>
                  <a:pt x="396" y="36"/>
                </a:lnTo>
                <a:lnTo>
                  <a:pt x="396" y="42"/>
                </a:lnTo>
                <a:lnTo>
                  <a:pt x="396" y="48"/>
                </a:lnTo>
                <a:lnTo>
                  <a:pt x="396" y="48"/>
                </a:lnTo>
                <a:lnTo>
                  <a:pt x="396" y="48"/>
                </a:lnTo>
                <a:lnTo>
                  <a:pt x="396" y="48"/>
                </a:lnTo>
                <a:lnTo>
                  <a:pt x="396" y="48"/>
                </a:lnTo>
                <a:lnTo>
                  <a:pt x="396" y="54"/>
                </a:lnTo>
                <a:lnTo>
                  <a:pt x="396" y="54"/>
                </a:lnTo>
                <a:lnTo>
                  <a:pt x="396" y="54"/>
                </a:lnTo>
                <a:lnTo>
                  <a:pt x="402" y="54"/>
                </a:lnTo>
                <a:lnTo>
                  <a:pt x="402" y="60"/>
                </a:lnTo>
                <a:lnTo>
                  <a:pt x="402" y="60"/>
                </a:lnTo>
                <a:lnTo>
                  <a:pt x="396" y="60"/>
                </a:lnTo>
                <a:lnTo>
                  <a:pt x="396" y="60"/>
                </a:lnTo>
                <a:lnTo>
                  <a:pt x="396" y="60"/>
                </a:lnTo>
                <a:lnTo>
                  <a:pt x="402" y="60"/>
                </a:lnTo>
                <a:lnTo>
                  <a:pt x="402" y="60"/>
                </a:lnTo>
                <a:lnTo>
                  <a:pt x="402" y="60"/>
                </a:lnTo>
                <a:lnTo>
                  <a:pt x="408" y="66"/>
                </a:lnTo>
                <a:lnTo>
                  <a:pt x="408" y="66"/>
                </a:lnTo>
                <a:lnTo>
                  <a:pt x="402" y="66"/>
                </a:lnTo>
                <a:lnTo>
                  <a:pt x="408" y="66"/>
                </a:lnTo>
                <a:lnTo>
                  <a:pt x="408" y="66"/>
                </a:lnTo>
                <a:lnTo>
                  <a:pt x="408" y="66"/>
                </a:lnTo>
                <a:lnTo>
                  <a:pt x="408" y="72"/>
                </a:lnTo>
                <a:lnTo>
                  <a:pt x="408" y="72"/>
                </a:lnTo>
                <a:lnTo>
                  <a:pt x="408" y="72"/>
                </a:lnTo>
                <a:lnTo>
                  <a:pt x="408" y="78"/>
                </a:lnTo>
                <a:lnTo>
                  <a:pt x="408" y="78"/>
                </a:lnTo>
                <a:lnTo>
                  <a:pt x="408" y="84"/>
                </a:lnTo>
                <a:lnTo>
                  <a:pt x="408" y="84"/>
                </a:lnTo>
                <a:lnTo>
                  <a:pt x="402" y="84"/>
                </a:lnTo>
                <a:lnTo>
                  <a:pt x="396" y="90"/>
                </a:lnTo>
                <a:lnTo>
                  <a:pt x="396" y="96"/>
                </a:lnTo>
                <a:lnTo>
                  <a:pt x="390" y="96"/>
                </a:lnTo>
                <a:lnTo>
                  <a:pt x="384" y="102"/>
                </a:lnTo>
                <a:lnTo>
                  <a:pt x="378" y="114"/>
                </a:lnTo>
                <a:lnTo>
                  <a:pt x="378" y="114"/>
                </a:lnTo>
                <a:lnTo>
                  <a:pt x="378" y="114"/>
                </a:lnTo>
                <a:lnTo>
                  <a:pt x="384" y="120"/>
                </a:lnTo>
                <a:lnTo>
                  <a:pt x="384" y="120"/>
                </a:lnTo>
                <a:lnTo>
                  <a:pt x="384" y="126"/>
                </a:lnTo>
                <a:lnTo>
                  <a:pt x="384" y="126"/>
                </a:lnTo>
                <a:lnTo>
                  <a:pt x="384" y="126"/>
                </a:lnTo>
                <a:lnTo>
                  <a:pt x="390" y="132"/>
                </a:lnTo>
                <a:lnTo>
                  <a:pt x="390" y="132"/>
                </a:lnTo>
                <a:lnTo>
                  <a:pt x="390" y="126"/>
                </a:lnTo>
                <a:lnTo>
                  <a:pt x="390" y="126"/>
                </a:lnTo>
                <a:lnTo>
                  <a:pt x="396" y="126"/>
                </a:lnTo>
                <a:lnTo>
                  <a:pt x="396" y="126"/>
                </a:lnTo>
                <a:lnTo>
                  <a:pt x="396" y="126"/>
                </a:lnTo>
                <a:lnTo>
                  <a:pt x="396" y="126"/>
                </a:lnTo>
                <a:lnTo>
                  <a:pt x="402" y="126"/>
                </a:lnTo>
                <a:lnTo>
                  <a:pt x="402" y="126"/>
                </a:lnTo>
                <a:lnTo>
                  <a:pt x="402" y="126"/>
                </a:lnTo>
                <a:lnTo>
                  <a:pt x="408" y="126"/>
                </a:lnTo>
                <a:lnTo>
                  <a:pt x="408" y="126"/>
                </a:lnTo>
                <a:lnTo>
                  <a:pt x="414" y="126"/>
                </a:lnTo>
                <a:lnTo>
                  <a:pt x="414" y="126"/>
                </a:lnTo>
                <a:lnTo>
                  <a:pt x="414" y="126"/>
                </a:lnTo>
                <a:lnTo>
                  <a:pt x="420" y="126"/>
                </a:lnTo>
                <a:lnTo>
                  <a:pt x="420" y="126"/>
                </a:lnTo>
                <a:lnTo>
                  <a:pt x="420" y="126"/>
                </a:lnTo>
                <a:lnTo>
                  <a:pt x="420" y="132"/>
                </a:lnTo>
                <a:lnTo>
                  <a:pt x="420" y="138"/>
                </a:lnTo>
                <a:lnTo>
                  <a:pt x="420" y="138"/>
                </a:lnTo>
                <a:lnTo>
                  <a:pt x="420" y="138"/>
                </a:lnTo>
                <a:lnTo>
                  <a:pt x="426" y="138"/>
                </a:lnTo>
                <a:lnTo>
                  <a:pt x="432" y="138"/>
                </a:lnTo>
                <a:lnTo>
                  <a:pt x="432" y="138"/>
                </a:lnTo>
                <a:lnTo>
                  <a:pt x="432" y="138"/>
                </a:lnTo>
                <a:lnTo>
                  <a:pt x="438" y="138"/>
                </a:lnTo>
                <a:lnTo>
                  <a:pt x="438" y="138"/>
                </a:lnTo>
                <a:lnTo>
                  <a:pt x="438" y="144"/>
                </a:lnTo>
                <a:lnTo>
                  <a:pt x="444" y="144"/>
                </a:lnTo>
                <a:lnTo>
                  <a:pt x="444" y="144"/>
                </a:lnTo>
                <a:lnTo>
                  <a:pt x="444" y="150"/>
                </a:lnTo>
                <a:lnTo>
                  <a:pt x="444" y="150"/>
                </a:lnTo>
                <a:lnTo>
                  <a:pt x="444" y="150"/>
                </a:lnTo>
                <a:lnTo>
                  <a:pt x="444" y="150"/>
                </a:lnTo>
                <a:lnTo>
                  <a:pt x="444" y="150"/>
                </a:lnTo>
                <a:lnTo>
                  <a:pt x="444" y="156"/>
                </a:lnTo>
                <a:lnTo>
                  <a:pt x="444" y="156"/>
                </a:lnTo>
                <a:lnTo>
                  <a:pt x="444" y="162"/>
                </a:lnTo>
                <a:lnTo>
                  <a:pt x="444" y="162"/>
                </a:lnTo>
                <a:lnTo>
                  <a:pt x="444" y="162"/>
                </a:lnTo>
                <a:lnTo>
                  <a:pt x="444" y="162"/>
                </a:lnTo>
                <a:lnTo>
                  <a:pt x="444" y="162"/>
                </a:lnTo>
                <a:lnTo>
                  <a:pt x="438" y="162"/>
                </a:lnTo>
                <a:lnTo>
                  <a:pt x="444" y="162"/>
                </a:lnTo>
                <a:lnTo>
                  <a:pt x="444" y="162"/>
                </a:lnTo>
                <a:lnTo>
                  <a:pt x="444" y="162"/>
                </a:lnTo>
                <a:lnTo>
                  <a:pt x="444" y="162"/>
                </a:lnTo>
                <a:lnTo>
                  <a:pt x="450" y="162"/>
                </a:lnTo>
                <a:lnTo>
                  <a:pt x="450" y="162"/>
                </a:lnTo>
                <a:lnTo>
                  <a:pt x="450" y="156"/>
                </a:lnTo>
                <a:lnTo>
                  <a:pt x="450" y="162"/>
                </a:lnTo>
                <a:lnTo>
                  <a:pt x="450" y="162"/>
                </a:lnTo>
                <a:lnTo>
                  <a:pt x="450" y="162"/>
                </a:lnTo>
                <a:lnTo>
                  <a:pt x="456" y="156"/>
                </a:lnTo>
                <a:lnTo>
                  <a:pt x="456" y="156"/>
                </a:lnTo>
                <a:lnTo>
                  <a:pt x="462" y="156"/>
                </a:lnTo>
                <a:lnTo>
                  <a:pt x="462" y="156"/>
                </a:lnTo>
                <a:lnTo>
                  <a:pt x="462" y="156"/>
                </a:lnTo>
                <a:lnTo>
                  <a:pt x="462" y="156"/>
                </a:lnTo>
                <a:lnTo>
                  <a:pt x="462" y="156"/>
                </a:lnTo>
                <a:lnTo>
                  <a:pt x="468" y="156"/>
                </a:lnTo>
                <a:lnTo>
                  <a:pt x="468" y="156"/>
                </a:lnTo>
                <a:lnTo>
                  <a:pt x="468" y="156"/>
                </a:lnTo>
                <a:lnTo>
                  <a:pt x="468" y="156"/>
                </a:lnTo>
                <a:lnTo>
                  <a:pt x="468" y="156"/>
                </a:lnTo>
                <a:lnTo>
                  <a:pt x="468" y="150"/>
                </a:lnTo>
                <a:lnTo>
                  <a:pt x="474" y="150"/>
                </a:lnTo>
                <a:lnTo>
                  <a:pt x="474" y="150"/>
                </a:lnTo>
                <a:lnTo>
                  <a:pt x="474" y="150"/>
                </a:lnTo>
                <a:lnTo>
                  <a:pt x="474" y="150"/>
                </a:lnTo>
                <a:lnTo>
                  <a:pt x="474" y="150"/>
                </a:lnTo>
                <a:lnTo>
                  <a:pt x="474" y="150"/>
                </a:lnTo>
                <a:lnTo>
                  <a:pt x="480" y="144"/>
                </a:lnTo>
                <a:lnTo>
                  <a:pt x="480" y="144"/>
                </a:lnTo>
                <a:lnTo>
                  <a:pt x="480" y="144"/>
                </a:lnTo>
                <a:lnTo>
                  <a:pt x="480" y="144"/>
                </a:lnTo>
                <a:lnTo>
                  <a:pt x="486" y="138"/>
                </a:lnTo>
                <a:lnTo>
                  <a:pt x="486" y="138"/>
                </a:lnTo>
                <a:lnTo>
                  <a:pt x="486" y="138"/>
                </a:lnTo>
                <a:lnTo>
                  <a:pt x="486" y="138"/>
                </a:lnTo>
                <a:lnTo>
                  <a:pt x="486" y="138"/>
                </a:lnTo>
                <a:lnTo>
                  <a:pt x="486" y="138"/>
                </a:lnTo>
                <a:lnTo>
                  <a:pt x="492" y="132"/>
                </a:lnTo>
                <a:lnTo>
                  <a:pt x="492" y="132"/>
                </a:lnTo>
                <a:lnTo>
                  <a:pt x="492" y="132"/>
                </a:lnTo>
                <a:lnTo>
                  <a:pt x="498" y="126"/>
                </a:lnTo>
                <a:lnTo>
                  <a:pt x="498" y="126"/>
                </a:lnTo>
                <a:lnTo>
                  <a:pt x="498" y="126"/>
                </a:lnTo>
                <a:lnTo>
                  <a:pt x="552" y="126"/>
                </a:lnTo>
                <a:lnTo>
                  <a:pt x="552" y="126"/>
                </a:lnTo>
                <a:lnTo>
                  <a:pt x="552" y="126"/>
                </a:lnTo>
                <a:lnTo>
                  <a:pt x="552" y="126"/>
                </a:lnTo>
                <a:lnTo>
                  <a:pt x="552" y="126"/>
                </a:lnTo>
                <a:lnTo>
                  <a:pt x="552" y="132"/>
                </a:lnTo>
                <a:lnTo>
                  <a:pt x="552" y="132"/>
                </a:lnTo>
                <a:lnTo>
                  <a:pt x="546" y="132"/>
                </a:lnTo>
                <a:lnTo>
                  <a:pt x="546" y="132"/>
                </a:lnTo>
                <a:lnTo>
                  <a:pt x="546" y="138"/>
                </a:lnTo>
                <a:lnTo>
                  <a:pt x="552" y="138"/>
                </a:lnTo>
                <a:lnTo>
                  <a:pt x="552" y="138"/>
                </a:lnTo>
                <a:lnTo>
                  <a:pt x="552" y="144"/>
                </a:lnTo>
                <a:lnTo>
                  <a:pt x="552" y="144"/>
                </a:lnTo>
                <a:lnTo>
                  <a:pt x="552" y="144"/>
                </a:lnTo>
                <a:lnTo>
                  <a:pt x="552" y="144"/>
                </a:lnTo>
                <a:lnTo>
                  <a:pt x="552" y="144"/>
                </a:lnTo>
                <a:lnTo>
                  <a:pt x="552" y="144"/>
                </a:lnTo>
                <a:lnTo>
                  <a:pt x="558" y="144"/>
                </a:lnTo>
                <a:lnTo>
                  <a:pt x="558" y="144"/>
                </a:lnTo>
                <a:lnTo>
                  <a:pt x="558" y="144"/>
                </a:lnTo>
                <a:lnTo>
                  <a:pt x="558" y="144"/>
                </a:lnTo>
                <a:lnTo>
                  <a:pt x="558" y="144"/>
                </a:lnTo>
                <a:lnTo>
                  <a:pt x="558" y="138"/>
                </a:lnTo>
                <a:lnTo>
                  <a:pt x="558" y="138"/>
                </a:lnTo>
                <a:lnTo>
                  <a:pt x="564" y="144"/>
                </a:lnTo>
                <a:lnTo>
                  <a:pt x="564" y="144"/>
                </a:lnTo>
                <a:lnTo>
                  <a:pt x="564" y="144"/>
                </a:lnTo>
                <a:lnTo>
                  <a:pt x="564" y="150"/>
                </a:lnTo>
                <a:lnTo>
                  <a:pt x="558" y="150"/>
                </a:lnTo>
                <a:lnTo>
                  <a:pt x="558" y="150"/>
                </a:lnTo>
                <a:lnTo>
                  <a:pt x="558" y="150"/>
                </a:lnTo>
                <a:lnTo>
                  <a:pt x="558" y="150"/>
                </a:lnTo>
                <a:lnTo>
                  <a:pt x="558" y="150"/>
                </a:lnTo>
                <a:lnTo>
                  <a:pt x="558" y="150"/>
                </a:lnTo>
                <a:lnTo>
                  <a:pt x="558" y="150"/>
                </a:lnTo>
                <a:lnTo>
                  <a:pt x="558" y="150"/>
                </a:lnTo>
                <a:lnTo>
                  <a:pt x="558" y="156"/>
                </a:lnTo>
                <a:lnTo>
                  <a:pt x="558" y="156"/>
                </a:lnTo>
                <a:lnTo>
                  <a:pt x="558" y="156"/>
                </a:lnTo>
                <a:lnTo>
                  <a:pt x="558" y="156"/>
                </a:lnTo>
                <a:lnTo>
                  <a:pt x="558" y="156"/>
                </a:lnTo>
                <a:lnTo>
                  <a:pt x="564" y="156"/>
                </a:lnTo>
                <a:lnTo>
                  <a:pt x="564" y="156"/>
                </a:lnTo>
                <a:lnTo>
                  <a:pt x="564" y="156"/>
                </a:lnTo>
                <a:lnTo>
                  <a:pt x="564" y="162"/>
                </a:lnTo>
                <a:lnTo>
                  <a:pt x="570" y="162"/>
                </a:lnTo>
                <a:lnTo>
                  <a:pt x="570" y="156"/>
                </a:lnTo>
                <a:lnTo>
                  <a:pt x="570" y="156"/>
                </a:lnTo>
                <a:lnTo>
                  <a:pt x="576" y="156"/>
                </a:lnTo>
                <a:lnTo>
                  <a:pt x="576" y="162"/>
                </a:lnTo>
                <a:lnTo>
                  <a:pt x="576" y="156"/>
                </a:lnTo>
                <a:lnTo>
                  <a:pt x="576" y="162"/>
                </a:lnTo>
                <a:lnTo>
                  <a:pt x="576" y="162"/>
                </a:lnTo>
                <a:lnTo>
                  <a:pt x="576" y="162"/>
                </a:lnTo>
                <a:lnTo>
                  <a:pt x="576" y="162"/>
                </a:lnTo>
                <a:lnTo>
                  <a:pt x="576" y="162"/>
                </a:lnTo>
                <a:lnTo>
                  <a:pt x="576" y="162"/>
                </a:lnTo>
                <a:lnTo>
                  <a:pt x="582" y="162"/>
                </a:lnTo>
                <a:lnTo>
                  <a:pt x="582" y="168"/>
                </a:lnTo>
                <a:lnTo>
                  <a:pt x="582" y="168"/>
                </a:lnTo>
                <a:lnTo>
                  <a:pt x="582" y="168"/>
                </a:lnTo>
                <a:lnTo>
                  <a:pt x="582" y="168"/>
                </a:lnTo>
                <a:lnTo>
                  <a:pt x="582" y="168"/>
                </a:lnTo>
                <a:lnTo>
                  <a:pt x="582" y="168"/>
                </a:lnTo>
                <a:lnTo>
                  <a:pt x="582" y="168"/>
                </a:lnTo>
                <a:lnTo>
                  <a:pt x="582" y="174"/>
                </a:lnTo>
                <a:lnTo>
                  <a:pt x="588" y="174"/>
                </a:lnTo>
                <a:lnTo>
                  <a:pt x="588" y="174"/>
                </a:lnTo>
                <a:lnTo>
                  <a:pt x="588" y="174"/>
                </a:lnTo>
                <a:lnTo>
                  <a:pt x="594" y="174"/>
                </a:lnTo>
                <a:lnTo>
                  <a:pt x="594" y="180"/>
                </a:lnTo>
                <a:lnTo>
                  <a:pt x="594" y="180"/>
                </a:lnTo>
                <a:lnTo>
                  <a:pt x="594" y="180"/>
                </a:lnTo>
                <a:lnTo>
                  <a:pt x="588" y="180"/>
                </a:lnTo>
                <a:lnTo>
                  <a:pt x="588" y="180"/>
                </a:lnTo>
                <a:lnTo>
                  <a:pt x="588" y="180"/>
                </a:lnTo>
                <a:lnTo>
                  <a:pt x="588" y="180"/>
                </a:lnTo>
                <a:lnTo>
                  <a:pt x="588" y="180"/>
                </a:lnTo>
                <a:lnTo>
                  <a:pt x="582" y="174"/>
                </a:lnTo>
                <a:lnTo>
                  <a:pt x="582" y="174"/>
                </a:lnTo>
                <a:lnTo>
                  <a:pt x="576" y="174"/>
                </a:lnTo>
                <a:lnTo>
                  <a:pt x="576" y="174"/>
                </a:lnTo>
                <a:lnTo>
                  <a:pt x="570" y="174"/>
                </a:lnTo>
                <a:lnTo>
                  <a:pt x="570" y="174"/>
                </a:lnTo>
                <a:lnTo>
                  <a:pt x="570" y="174"/>
                </a:lnTo>
                <a:lnTo>
                  <a:pt x="570" y="174"/>
                </a:lnTo>
                <a:lnTo>
                  <a:pt x="570" y="174"/>
                </a:lnTo>
                <a:lnTo>
                  <a:pt x="564" y="174"/>
                </a:lnTo>
                <a:lnTo>
                  <a:pt x="564" y="174"/>
                </a:lnTo>
                <a:lnTo>
                  <a:pt x="564" y="174"/>
                </a:lnTo>
                <a:lnTo>
                  <a:pt x="564" y="174"/>
                </a:lnTo>
                <a:lnTo>
                  <a:pt x="564" y="174"/>
                </a:lnTo>
                <a:lnTo>
                  <a:pt x="558" y="174"/>
                </a:lnTo>
                <a:lnTo>
                  <a:pt x="564" y="174"/>
                </a:lnTo>
                <a:lnTo>
                  <a:pt x="558" y="174"/>
                </a:lnTo>
                <a:lnTo>
                  <a:pt x="558" y="174"/>
                </a:lnTo>
                <a:lnTo>
                  <a:pt x="558" y="174"/>
                </a:lnTo>
                <a:lnTo>
                  <a:pt x="552" y="174"/>
                </a:lnTo>
                <a:lnTo>
                  <a:pt x="552" y="174"/>
                </a:lnTo>
                <a:lnTo>
                  <a:pt x="546" y="174"/>
                </a:lnTo>
                <a:lnTo>
                  <a:pt x="546" y="174"/>
                </a:lnTo>
                <a:lnTo>
                  <a:pt x="546" y="180"/>
                </a:lnTo>
                <a:lnTo>
                  <a:pt x="546" y="180"/>
                </a:lnTo>
                <a:lnTo>
                  <a:pt x="546" y="180"/>
                </a:lnTo>
                <a:lnTo>
                  <a:pt x="546" y="180"/>
                </a:lnTo>
                <a:lnTo>
                  <a:pt x="546" y="180"/>
                </a:lnTo>
                <a:lnTo>
                  <a:pt x="546" y="180"/>
                </a:lnTo>
                <a:lnTo>
                  <a:pt x="546" y="180"/>
                </a:lnTo>
                <a:lnTo>
                  <a:pt x="546" y="186"/>
                </a:lnTo>
                <a:lnTo>
                  <a:pt x="540" y="186"/>
                </a:lnTo>
                <a:lnTo>
                  <a:pt x="540" y="186"/>
                </a:lnTo>
                <a:lnTo>
                  <a:pt x="540" y="186"/>
                </a:lnTo>
                <a:lnTo>
                  <a:pt x="540" y="186"/>
                </a:lnTo>
                <a:lnTo>
                  <a:pt x="540" y="186"/>
                </a:lnTo>
                <a:lnTo>
                  <a:pt x="540" y="192"/>
                </a:lnTo>
                <a:lnTo>
                  <a:pt x="540" y="192"/>
                </a:lnTo>
                <a:lnTo>
                  <a:pt x="540" y="192"/>
                </a:lnTo>
                <a:lnTo>
                  <a:pt x="540" y="192"/>
                </a:lnTo>
                <a:lnTo>
                  <a:pt x="540" y="192"/>
                </a:lnTo>
                <a:lnTo>
                  <a:pt x="540" y="198"/>
                </a:lnTo>
                <a:lnTo>
                  <a:pt x="546" y="198"/>
                </a:lnTo>
                <a:lnTo>
                  <a:pt x="546" y="198"/>
                </a:lnTo>
                <a:lnTo>
                  <a:pt x="546" y="198"/>
                </a:lnTo>
                <a:lnTo>
                  <a:pt x="546" y="198"/>
                </a:lnTo>
                <a:lnTo>
                  <a:pt x="546" y="198"/>
                </a:lnTo>
                <a:lnTo>
                  <a:pt x="546" y="198"/>
                </a:lnTo>
                <a:lnTo>
                  <a:pt x="546" y="204"/>
                </a:lnTo>
                <a:lnTo>
                  <a:pt x="546" y="204"/>
                </a:lnTo>
                <a:lnTo>
                  <a:pt x="546" y="204"/>
                </a:lnTo>
                <a:lnTo>
                  <a:pt x="546" y="204"/>
                </a:lnTo>
                <a:lnTo>
                  <a:pt x="546" y="204"/>
                </a:lnTo>
                <a:lnTo>
                  <a:pt x="546" y="204"/>
                </a:lnTo>
                <a:lnTo>
                  <a:pt x="546" y="204"/>
                </a:lnTo>
                <a:lnTo>
                  <a:pt x="546" y="204"/>
                </a:lnTo>
                <a:lnTo>
                  <a:pt x="546" y="204"/>
                </a:lnTo>
                <a:lnTo>
                  <a:pt x="546" y="210"/>
                </a:lnTo>
                <a:lnTo>
                  <a:pt x="546" y="210"/>
                </a:lnTo>
                <a:lnTo>
                  <a:pt x="546" y="210"/>
                </a:lnTo>
                <a:lnTo>
                  <a:pt x="546" y="210"/>
                </a:lnTo>
                <a:lnTo>
                  <a:pt x="546" y="210"/>
                </a:lnTo>
                <a:lnTo>
                  <a:pt x="546" y="210"/>
                </a:lnTo>
                <a:lnTo>
                  <a:pt x="546" y="210"/>
                </a:lnTo>
                <a:lnTo>
                  <a:pt x="546" y="210"/>
                </a:lnTo>
                <a:lnTo>
                  <a:pt x="546" y="210"/>
                </a:lnTo>
                <a:lnTo>
                  <a:pt x="546" y="210"/>
                </a:lnTo>
                <a:lnTo>
                  <a:pt x="546" y="210"/>
                </a:lnTo>
                <a:lnTo>
                  <a:pt x="546" y="210"/>
                </a:lnTo>
                <a:lnTo>
                  <a:pt x="546" y="210"/>
                </a:lnTo>
                <a:lnTo>
                  <a:pt x="546" y="216"/>
                </a:lnTo>
                <a:lnTo>
                  <a:pt x="546" y="216"/>
                </a:lnTo>
                <a:lnTo>
                  <a:pt x="546" y="216"/>
                </a:lnTo>
                <a:lnTo>
                  <a:pt x="546" y="216"/>
                </a:lnTo>
                <a:lnTo>
                  <a:pt x="546" y="216"/>
                </a:lnTo>
                <a:lnTo>
                  <a:pt x="546" y="216"/>
                </a:lnTo>
                <a:lnTo>
                  <a:pt x="546" y="216"/>
                </a:lnTo>
                <a:lnTo>
                  <a:pt x="546" y="216"/>
                </a:lnTo>
                <a:lnTo>
                  <a:pt x="540" y="222"/>
                </a:lnTo>
                <a:lnTo>
                  <a:pt x="540" y="222"/>
                </a:lnTo>
                <a:lnTo>
                  <a:pt x="540" y="222"/>
                </a:lnTo>
                <a:lnTo>
                  <a:pt x="540" y="222"/>
                </a:lnTo>
                <a:lnTo>
                  <a:pt x="540" y="222"/>
                </a:lnTo>
                <a:lnTo>
                  <a:pt x="540" y="222"/>
                </a:lnTo>
                <a:lnTo>
                  <a:pt x="540" y="228"/>
                </a:lnTo>
                <a:lnTo>
                  <a:pt x="540" y="228"/>
                </a:lnTo>
                <a:lnTo>
                  <a:pt x="540" y="228"/>
                </a:lnTo>
                <a:lnTo>
                  <a:pt x="534" y="228"/>
                </a:lnTo>
                <a:lnTo>
                  <a:pt x="534" y="228"/>
                </a:lnTo>
                <a:lnTo>
                  <a:pt x="534" y="228"/>
                </a:lnTo>
                <a:lnTo>
                  <a:pt x="534" y="228"/>
                </a:lnTo>
                <a:lnTo>
                  <a:pt x="534" y="228"/>
                </a:lnTo>
                <a:lnTo>
                  <a:pt x="534" y="228"/>
                </a:lnTo>
                <a:lnTo>
                  <a:pt x="528" y="228"/>
                </a:lnTo>
                <a:lnTo>
                  <a:pt x="528" y="228"/>
                </a:lnTo>
                <a:lnTo>
                  <a:pt x="528" y="228"/>
                </a:lnTo>
                <a:lnTo>
                  <a:pt x="528" y="228"/>
                </a:lnTo>
                <a:lnTo>
                  <a:pt x="528" y="228"/>
                </a:lnTo>
                <a:lnTo>
                  <a:pt x="522" y="228"/>
                </a:lnTo>
                <a:lnTo>
                  <a:pt x="522" y="228"/>
                </a:lnTo>
                <a:lnTo>
                  <a:pt x="522" y="228"/>
                </a:lnTo>
                <a:lnTo>
                  <a:pt x="522" y="228"/>
                </a:lnTo>
                <a:lnTo>
                  <a:pt x="522" y="228"/>
                </a:lnTo>
                <a:lnTo>
                  <a:pt x="522" y="234"/>
                </a:lnTo>
                <a:lnTo>
                  <a:pt x="522" y="234"/>
                </a:lnTo>
                <a:lnTo>
                  <a:pt x="522" y="234"/>
                </a:lnTo>
                <a:lnTo>
                  <a:pt x="522" y="234"/>
                </a:lnTo>
                <a:lnTo>
                  <a:pt x="516" y="234"/>
                </a:lnTo>
                <a:lnTo>
                  <a:pt x="516" y="240"/>
                </a:lnTo>
                <a:lnTo>
                  <a:pt x="516" y="240"/>
                </a:lnTo>
                <a:lnTo>
                  <a:pt x="516" y="240"/>
                </a:lnTo>
                <a:lnTo>
                  <a:pt x="516" y="240"/>
                </a:lnTo>
                <a:lnTo>
                  <a:pt x="516" y="240"/>
                </a:lnTo>
                <a:lnTo>
                  <a:pt x="516" y="240"/>
                </a:lnTo>
                <a:lnTo>
                  <a:pt x="510" y="240"/>
                </a:lnTo>
                <a:lnTo>
                  <a:pt x="510" y="240"/>
                </a:lnTo>
                <a:lnTo>
                  <a:pt x="510" y="240"/>
                </a:lnTo>
                <a:lnTo>
                  <a:pt x="504" y="240"/>
                </a:lnTo>
                <a:lnTo>
                  <a:pt x="504" y="240"/>
                </a:lnTo>
                <a:lnTo>
                  <a:pt x="498" y="240"/>
                </a:lnTo>
                <a:lnTo>
                  <a:pt x="498" y="240"/>
                </a:lnTo>
                <a:lnTo>
                  <a:pt x="486" y="234"/>
                </a:lnTo>
                <a:lnTo>
                  <a:pt x="486" y="234"/>
                </a:lnTo>
                <a:lnTo>
                  <a:pt x="486" y="240"/>
                </a:lnTo>
                <a:lnTo>
                  <a:pt x="486" y="240"/>
                </a:lnTo>
                <a:lnTo>
                  <a:pt x="486" y="240"/>
                </a:lnTo>
                <a:lnTo>
                  <a:pt x="480" y="234"/>
                </a:lnTo>
                <a:lnTo>
                  <a:pt x="480" y="234"/>
                </a:lnTo>
                <a:lnTo>
                  <a:pt x="480" y="234"/>
                </a:lnTo>
                <a:lnTo>
                  <a:pt x="480" y="240"/>
                </a:lnTo>
                <a:lnTo>
                  <a:pt x="480" y="240"/>
                </a:lnTo>
                <a:lnTo>
                  <a:pt x="480" y="240"/>
                </a:lnTo>
                <a:lnTo>
                  <a:pt x="480" y="240"/>
                </a:lnTo>
                <a:lnTo>
                  <a:pt x="480" y="234"/>
                </a:lnTo>
                <a:lnTo>
                  <a:pt x="480" y="234"/>
                </a:lnTo>
                <a:lnTo>
                  <a:pt x="474" y="234"/>
                </a:lnTo>
                <a:lnTo>
                  <a:pt x="474" y="234"/>
                </a:lnTo>
                <a:lnTo>
                  <a:pt x="474" y="234"/>
                </a:lnTo>
                <a:lnTo>
                  <a:pt x="474" y="234"/>
                </a:lnTo>
                <a:lnTo>
                  <a:pt x="474" y="234"/>
                </a:lnTo>
                <a:lnTo>
                  <a:pt x="474" y="234"/>
                </a:lnTo>
                <a:lnTo>
                  <a:pt x="474" y="234"/>
                </a:lnTo>
                <a:lnTo>
                  <a:pt x="474" y="234"/>
                </a:lnTo>
                <a:lnTo>
                  <a:pt x="474" y="234"/>
                </a:lnTo>
                <a:lnTo>
                  <a:pt x="468" y="234"/>
                </a:lnTo>
                <a:lnTo>
                  <a:pt x="474" y="234"/>
                </a:lnTo>
                <a:lnTo>
                  <a:pt x="468" y="234"/>
                </a:lnTo>
                <a:lnTo>
                  <a:pt x="468" y="234"/>
                </a:lnTo>
                <a:lnTo>
                  <a:pt x="468" y="234"/>
                </a:lnTo>
                <a:lnTo>
                  <a:pt x="468" y="234"/>
                </a:lnTo>
                <a:lnTo>
                  <a:pt x="462" y="234"/>
                </a:lnTo>
                <a:lnTo>
                  <a:pt x="462" y="240"/>
                </a:lnTo>
                <a:lnTo>
                  <a:pt x="462" y="240"/>
                </a:lnTo>
                <a:lnTo>
                  <a:pt x="462" y="240"/>
                </a:lnTo>
                <a:lnTo>
                  <a:pt x="462" y="240"/>
                </a:lnTo>
                <a:lnTo>
                  <a:pt x="462" y="240"/>
                </a:lnTo>
                <a:lnTo>
                  <a:pt x="462" y="240"/>
                </a:lnTo>
                <a:lnTo>
                  <a:pt x="462" y="240"/>
                </a:lnTo>
                <a:lnTo>
                  <a:pt x="456" y="240"/>
                </a:lnTo>
                <a:lnTo>
                  <a:pt x="456" y="240"/>
                </a:lnTo>
                <a:lnTo>
                  <a:pt x="456" y="240"/>
                </a:lnTo>
                <a:lnTo>
                  <a:pt x="456" y="240"/>
                </a:lnTo>
                <a:lnTo>
                  <a:pt x="456" y="246"/>
                </a:lnTo>
                <a:lnTo>
                  <a:pt x="456" y="246"/>
                </a:lnTo>
                <a:lnTo>
                  <a:pt x="456" y="246"/>
                </a:lnTo>
                <a:lnTo>
                  <a:pt x="450" y="246"/>
                </a:lnTo>
                <a:lnTo>
                  <a:pt x="450" y="252"/>
                </a:lnTo>
                <a:lnTo>
                  <a:pt x="450" y="252"/>
                </a:lnTo>
                <a:lnTo>
                  <a:pt x="450" y="258"/>
                </a:lnTo>
                <a:lnTo>
                  <a:pt x="450" y="252"/>
                </a:lnTo>
                <a:lnTo>
                  <a:pt x="444" y="252"/>
                </a:lnTo>
                <a:lnTo>
                  <a:pt x="444" y="258"/>
                </a:lnTo>
                <a:lnTo>
                  <a:pt x="444" y="258"/>
                </a:lnTo>
                <a:lnTo>
                  <a:pt x="444" y="258"/>
                </a:lnTo>
                <a:lnTo>
                  <a:pt x="444" y="258"/>
                </a:lnTo>
                <a:lnTo>
                  <a:pt x="444" y="258"/>
                </a:lnTo>
                <a:lnTo>
                  <a:pt x="444" y="258"/>
                </a:lnTo>
                <a:lnTo>
                  <a:pt x="444" y="258"/>
                </a:lnTo>
                <a:lnTo>
                  <a:pt x="444" y="258"/>
                </a:lnTo>
                <a:lnTo>
                  <a:pt x="444" y="264"/>
                </a:lnTo>
                <a:lnTo>
                  <a:pt x="444" y="258"/>
                </a:lnTo>
                <a:lnTo>
                  <a:pt x="444" y="258"/>
                </a:lnTo>
                <a:lnTo>
                  <a:pt x="444" y="264"/>
                </a:lnTo>
                <a:lnTo>
                  <a:pt x="438" y="264"/>
                </a:lnTo>
                <a:lnTo>
                  <a:pt x="438" y="264"/>
                </a:lnTo>
                <a:lnTo>
                  <a:pt x="438" y="264"/>
                </a:lnTo>
                <a:lnTo>
                  <a:pt x="438" y="264"/>
                </a:lnTo>
                <a:lnTo>
                  <a:pt x="438" y="264"/>
                </a:lnTo>
                <a:lnTo>
                  <a:pt x="438" y="264"/>
                </a:lnTo>
                <a:lnTo>
                  <a:pt x="438" y="264"/>
                </a:lnTo>
                <a:lnTo>
                  <a:pt x="438" y="264"/>
                </a:lnTo>
                <a:lnTo>
                  <a:pt x="438" y="264"/>
                </a:lnTo>
                <a:lnTo>
                  <a:pt x="432" y="264"/>
                </a:lnTo>
                <a:lnTo>
                  <a:pt x="432" y="264"/>
                </a:lnTo>
                <a:lnTo>
                  <a:pt x="432" y="264"/>
                </a:lnTo>
                <a:lnTo>
                  <a:pt x="432" y="270"/>
                </a:lnTo>
                <a:lnTo>
                  <a:pt x="432" y="270"/>
                </a:lnTo>
                <a:lnTo>
                  <a:pt x="432" y="270"/>
                </a:lnTo>
                <a:lnTo>
                  <a:pt x="426" y="270"/>
                </a:lnTo>
                <a:lnTo>
                  <a:pt x="426" y="270"/>
                </a:lnTo>
                <a:lnTo>
                  <a:pt x="426" y="270"/>
                </a:lnTo>
                <a:lnTo>
                  <a:pt x="426" y="270"/>
                </a:lnTo>
                <a:lnTo>
                  <a:pt x="426" y="270"/>
                </a:lnTo>
                <a:lnTo>
                  <a:pt x="426" y="270"/>
                </a:lnTo>
                <a:lnTo>
                  <a:pt x="426" y="270"/>
                </a:lnTo>
                <a:lnTo>
                  <a:pt x="426" y="270"/>
                </a:lnTo>
                <a:lnTo>
                  <a:pt x="426" y="270"/>
                </a:lnTo>
                <a:lnTo>
                  <a:pt x="426" y="270"/>
                </a:lnTo>
                <a:lnTo>
                  <a:pt x="426" y="270"/>
                </a:lnTo>
                <a:lnTo>
                  <a:pt x="426" y="270"/>
                </a:lnTo>
                <a:lnTo>
                  <a:pt x="426" y="270"/>
                </a:lnTo>
                <a:lnTo>
                  <a:pt x="420" y="270"/>
                </a:lnTo>
                <a:lnTo>
                  <a:pt x="420" y="270"/>
                </a:lnTo>
                <a:lnTo>
                  <a:pt x="420" y="264"/>
                </a:lnTo>
                <a:lnTo>
                  <a:pt x="420" y="264"/>
                </a:lnTo>
                <a:lnTo>
                  <a:pt x="420" y="264"/>
                </a:lnTo>
                <a:lnTo>
                  <a:pt x="420" y="264"/>
                </a:lnTo>
                <a:lnTo>
                  <a:pt x="420" y="264"/>
                </a:lnTo>
                <a:lnTo>
                  <a:pt x="420" y="264"/>
                </a:lnTo>
                <a:lnTo>
                  <a:pt x="420" y="264"/>
                </a:lnTo>
                <a:lnTo>
                  <a:pt x="420" y="264"/>
                </a:lnTo>
                <a:lnTo>
                  <a:pt x="420" y="264"/>
                </a:lnTo>
                <a:lnTo>
                  <a:pt x="414" y="264"/>
                </a:lnTo>
                <a:lnTo>
                  <a:pt x="414" y="258"/>
                </a:lnTo>
                <a:lnTo>
                  <a:pt x="414" y="258"/>
                </a:lnTo>
                <a:lnTo>
                  <a:pt x="414" y="258"/>
                </a:lnTo>
                <a:lnTo>
                  <a:pt x="414" y="258"/>
                </a:lnTo>
                <a:lnTo>
                  <a:pt x="414" y="258"/>
                </a:lnTo>
                <a:lnTo>
                  <a:pt x="414" y="258"/>
                </a:lnTo>
                <a:lnTo>
                  <a:pt x="414" y="258"/>
                </a:lnTo>
                <a:lnTo>
                  <a:pt x="408" y="252"/>
                </a:lnTo>
                <a:lnTo>
                  <a:pt x="408" y="252"/>
                </a:lnTo>
                <a:lnTo>
                  <a:pt x="408" y="252"/>
                </a:lnTo>
                <a:lnTo>
                  <a:pt x="408" y="246"/>
                </a:lnTo>
                <a:lnTo>
                  <a:pt x="408" y="246"/>
                </a:lnTo>
                <a:lnTo>
                  <a:pt x="408" y="246"/>
                </a:lnTo>
                <a:lnTo>
                  <a:pt x="408" y="246"/>
                </a:lnTo>
                <a:lnTo>
                  <a:pt x="408" y="246"/>
                </a:lnTo>
                <a:lnTo>
                  <a:pt x="408" y="246"/>
                </a:lnTo>
                <a:lnTo>
                  <a:pt x="408" y="246"/>
                </a:lnTo>
                <a:lnTo>
                  <a:pt x="408" y="240"/>
                </a:lnTo>
                <a:lnTo>
                  <a:pt x="402" y="240"/>
                </a:lnTo>
                <a:lnTo>
                  <a:pt x="402" y="234"/>
                </a:lnTo>
                <a:lnTo>
                  <a:pt x="402" y="234"/>
                </a:lnTo>
                <a:lnTo>
                  <a:pt x="402" y="240"/>
                </a:lnTo>
                <a:lnTo>
                  <a:pt x="396" y="240"/>
                </a:lnTo>
                <a:lnTo>
                  <a:pt x="396" y="240"/>
                </a:lnTo>
                <a:lnTo>
                  <a:pt x="396" y="240"/>
                </a:lnTo>
                <a:lnTo>
                  <a:pt x="396" y="240"/>
                </a:lnTo>
                <a:lnTo>
                  <a:pt x="396" y="240"/>
                </a:lnTo>
                <a:lnTo>
                  <a:pt x="396" y="246"/>
                </a:lnTo>
                <a:lnTo>
                  <a:pt x="396" y="246"/>
                </a:lnTo>
                <a:lnTo>
                  <a:pt x="396" y="240"/>
                </a:lnTo>
                <a:lnTo>
                  <a:pt x="390" y="240"/>
                </a:lnTo>
                <a:lnTo>
                  <a:pt x="390" y="240"/>
                </a:lnTo>
                <a:lnTo>
                  <a:pt x="390" y="240"/>
                </a:lnTo>
                <a:lnTo>
                  <a:pt x="390" y="240"/>
                </a:lnTo>
                <a:lnTo>
                  <a:pt x="384" y="240"/>
                </a:lnTo>
                <a:lnTo>
                  <a:pt x="384" y="240"/>
                </a:lnTo>
                <a:lnTo>
                  <a:pt x="384" y="240"/>
                </a:lnTo>
                <a:lnTo>
                  <a:pt x="384" y="240"/>
                </a:lnTo>
                <a:lnTo>
                  <a:pt x="384" y="240"/>
                </a:lnTo>
                <a:lnTo>
                  <a:pt x="384" y="240"/>
                </a:lnTo>
                <a:lnTo>
                  <a:pt x="384" y="240"/>
                </a:lnTo>
                <a:lnTo>
                  <a:pt x="384" y="240"/>
                </a:lnTo>
                <a:lnTo>
                  <a:pt x="378" y="240"/>
                </a:lnTo>
                <a:lnTo>
                  <a:pt x="384" y="246"/>
                </a:lnTo>
                <a:lnTo>
                  <a:pt x="378" y="246"/>
                </a:lnTo>
                <a:lnTo>
                  <a:pt x="378" y="246"/>
                </a:lnTo>
                <a:lnTo>
                  <a:pt x="378" y="246"/>
                </a:lnTo>
                <a:lnTo>
                  <a:pt x="378" y="252"/>
                </a:lnTo>
                <a:lnTo>
                  <a:pt x="378" y="252"/>
                </a:lnTo>
                <a:lnTo>
                  <a:pt x="378" y="252"/>
                </a:lnTo>
                <a:lnTo>
                  <a:pt x="378" y="252"/>
                </a:lnTo>
                <a:lnTo>
                  <a:pt x="378" y="252"/>
                </a:lnTo>
                <a:lnTo>
                  <a:pt x="378" y="252"/>
                </a:lnTo>
                <a:lnTo>
                  <a:pt x="378" y="252"/>
                </a:lnTo>
                <a:lnTo>
                  <a:pt x="372" y="252"/>
                </a:lnTo>
                <a:lnTo>
                  <a:pt x="378" y="252"/>
                </a:lnTo>
                <a:lnTo>
                  <a:pt x="378" y="252"/>
                </a:lnTo>
                <a:lnTo>
                  <a:pt x="372" y="252"/>
                </a:lnTo>
                <a:lnTo>
                  <a:pt x="372" y="258"/>
                </a:lnTo>
                <a:lnTo>
                  <a:pt x="372" y="252"/>
                </a:lnTo>
                <a:lnTo>
                  <a:pt x="372" y="258"/>
                </a:lnTo>
                <a:lnTo>
                  <a:pt x="372" y="258"/>
                </a:lnTo>
                <a:lnTo>
                  <a:pt x="372" y="258"/>
                </a:lnTo>
                <a:lnTo>
                  <a:pt x="372" y="258"/>
                </a:lnTo>
                <a:lnTo>
                  <a:pt x="372" y="258"/>
                </a:lnTo>
                <a:lnTo>
                  <a:pt x="372" y="258"/>
                </a:lnTo>
                <a:lnTo>
                  <a:pt x="372" y="258"/>
                </a:lnTo>
                <a:lnTo>
                  <a:pt x="372" y="258"/>
                </a:lnTo>
                <a:lnTo>
                  <a:pt x="366" y="258"/>
                </a:lnTo>
                <a:lnTo>
                  <a:pt x="366" y="264"/>
                </a:lnTo>
                <a:lnTo>
                  <a:pt x="366" y="264"/>
                </a:lnTo>
                <a:lnTo>
                  <a:pt x="366" y="264"/>
                </a:lnTo>
                <a:lnTo>
                  <a:pt x="366" y="258"/>
                </a:lnTo>
                <a:lnTo>
                  <a:pt x="366" y="258"/>
                </a:lnTo>
                <a:lnTo>
                  <a:pt x="366" y="258"/>
                </a:lnTo>
                <a:lnTo>
                  <a:pt x="366" y="258"/>
                </a:lnTo>
                <a:lnTo>
                  <a:pt x="366" y="258"/>
                </a:lnTo>
                <a:lnTo>
                  <a:pt x="366" y="258"/>
                </a:lnTo>
                <a:lnTo>
                  <a:pt x="360" y="258"/>
                </a:lnTo>
                <a:lnTo>
                  <a:pt x="360" y="258"/>
                </a:lnTo>
                <a:lnTo>
                  <a:pt x="360" y="258"/>
                </a:lnTo>
                <a:lnTo>
                  <a:pt x="360" y="258"/>
                </a:lnTo>
                <a:lnTo>
                  <a:pt x="360" y="252"/>
                </a:lnTo>
                <a:lnTo>
                  <a:pt x="360" y="252"/>
                </a:lnTo>
                <a:lnTo>
                  <a:pt x="354" y="252"/>
                </a:lnTo>
                <a:lnTo>
                  <a:pt x="354" y="252"/>
                </a:lnTo>
                <a:lnTo>
                  <a:pt x="354" y="258"/>
                </a:lnTo>
                <a:lnTo>
                  <a:pt x="354" y="258"/>
                </a:lnTo>
                <a:lnTo>
                  <a:pt x="354" y="258"/>
                </a:lnTo>
                <a:lnTo>
                  <a:pt x="354" y="258"/>
                </a:lnTo>
                <a:lnTo>
                  <a:pt x="348" y="258"/>
                </a:lnTo>
                <a:lnTo>
                  <a:pt x="348" y="258"/>
                </a:lnTo>
                <a:lnTo>
                  <a:pt x="348" y="258"/>
                </a:lnTo>
                <a:lnTo>
                  <a:pt x="348" y="252"/>
                </a:lnTo>
                <a:lnTo>
                  <a:pt x="342" y="258"/>
                </a:lnTo>
                <a:lnTo>
                  <a:pt x="342" y="258"/>
                </a:lnTo>
                <a:lnTo>
                  <a:pt x="342" y="258"/>
                </a:lnTo>
                <a:lnTo>
                  <a:pt x="336" y="264"/>
                </a:lnTo>
                <a:lnTo>
                  <a:pt x="336" y="264"/>
                </a:lnTo>
                <a:lnTo>
                  <a:pt x="330" y="270"/>
                </a:lnTo>
                <a:lnTo>
                  <a:pt x="330" y="276"/>
                </a:lnTo>
                <a:lnTo>
                  <a:pt x="330" y="282"/>
                </a:lnTo>
                <a:lnTo>
                  <a:pt x="324" y="288"/>
                </a:lnTo>
                <a:lnTo>
                  <a:pt x="318" y="294"/>
                </a:lnTo>
                <a:lnTo>
                  <a:pt x="312" y="294"/>
                </a:lnTo>
                <a:lnTo>
                  <a:pt x="312" y="294"/>
                </a:lnTo>
                <a:lnTo>
                  <a:pt x="312" y="300"/>
                </a:lnTo>
                <a:lnTo>
                  <a:pt x="306" y="306"/>
                </a:lnTo>
                <a:lnTo>
                  <a:pt x="306" y="312"/>
                </a:lnTo>
                <a:lnTo>
                  <a:pt x="300" y="318"/>
                </a:lnTo>
                <a:lnTo>
                  <a:pt x="300" y="318"/>
                </a:lnTo>
                <a:lnTo>
                  <a:pt x="300" y="318"/>
                </a:lnTo>
                <a:lnTo>
                  <a:pt x="294" y="324"/>
                </a:lnTo>
                <a:lnTo>
                  <a:pt x="294" y="336"/>
                </a:lnTo>
                <a:lnTo>
                  <a:pt x="288" y="342"/>
                </a:lnTo>
                <a:lnTo>
                  <a:pt x="288" y="342"/>
                </a:lnTo>
                <a:lnTo>
                  <a:pt x="288" y="354"/>
                </a:lnTo>
                <a:lnTo>
                  <a:pt x="288" y="360"/>
                </a:lnTo>
                <a:lnTo>
                  <a:pt x="288" y="372"/>
                </a:lnTo>
                <a:lnTo>
                  <a:pt x="288" y="378"/>
                </a:lnTo>
                <a:lnTo>
                  <a:pt x="282" y="378"/>
                </a:lnTo>
                <a:lnTo>
                  <a:pt x="282" y="384"/>
                </a:lnTo>
                <a:lnTo>
                  <a:pt x="282" y="384"/>
                </a:lnTo>
                <a:lnTo>
                  <a:pt x="282" y="390"/>
                </a:lnTo>
                <a:lnTo>
                  <a:pt x="282" y="390"/>
                </a:lnTo>
                <a:lnTo>
                  <a:pt x="282" y="396"/>
                </a:lnTo>
                <a:lnTo>
                  <a:pt x="282" y="396"/>
                </a:lnTo>
                <a:lnTo>
                  <a:pt x="282" y="402"/>
                </a:lnTo>
                <a:lnTo>
                  <a:pt x="282" y="402"/>
                </a:lnTo>
                <a:lnTo>
                  <a:pt x="282" y="408"/>
                </a:lnTo>
                <a:lnTo>
                  <a:pt x="282" y="408"/>
                </a:lnTo>
                <a:lnTo>
                  <a:pt x="276" y="414"/>
                </a:lnTo>
                <a:lnTo>
                  <a:pt x="276" y="420"/>
                </a:lnTo>
                <a:lnTo>
                  <a:pt x="276" y="420"/>
                </a:lnTo>
                <a:lnTo>
                  <a:pt x="276" y="426"/>
                </a:lnTo>
                <a:lnTo>
                  <a:pt x="276" y="432"/>
                </a:lnTo>
                <a:lnTo>
                  <a:pt x="276" y="432"/>
                </a:lnTo>
                <a:lnTo>
                  <a:pt x="276" y="432"/>
                </a:lnTo>
                <a:lnTo>
                  <a:pt x="276" y="438"/>
                </a:lnTo>
                <a:lnTo>
                  <a:pt x="276" y="438"/>
                </a:lnTo>
                <a:lnTo>
                  <a:pt x="282" y="444"/>
                </a:lnTo>
                <a:lnTo>
                  <a:pt x="282" y="444"/>
                </a:lnTo>
                <a:lnTo>
                  <a:pt x="282" y="444"/>
                </a:lnTo>
                <a:lnTo>
                  <a:pt x="282" y="450"/>
                </a:lnTo>
                <a:lnTo>
                  <a:pt x="282" y="450"/>
                </a:lnTo>
                <a:lnTo>
                  <a:pt x="282" y="456"/>
                </a:lnTo>
                <a:lnTo>
                  <a:pt x="282" y="456"/>
                </a:lnTo>
                <a:lnTo>
                  <a:pt x="282" y="462"/>
                </a:lnTo>
                <a:lnTo>
                  <a:pt x="276" y="468"/>
                </a:lnTo>
                <a:lnTo>
                  <a:pt x="276" y="474"/>
                </a:lnTo>
                <a:lnTo>
                  <a:pt x="276" y="480"/>
                </a:lnTo>
                <a:lnTo>
                  <a:pt x="276" y="486"/>
                </a:lnTo>
                <a:lnTo>
                  <a:pt x="276" y="486"/>
                </a:lnTo>
                <a:lnTo>
                  <a:pt x="276" y="492"/>
                </a:lnTo>
                <a:lnTo>
                  <a:pt x="276" y="492"/>
                </a:lnTo>
                <a:lnTo>
                  <a:pt x="270" y="498"/>
                </a:lnTo>
                <a:lnTo>
                  <a:pt x="270" y="498"/>
                </a:lnTo>
                <a:lnTo>
                  <a:pt x="270" y="498"/>
                </a:lnTo>
                <a:lnTo>
                  <a:pt x="276" y="504"/>
                </a:lnTo>
                <a:lnTo>
                  <a:pt x="276" y="504"/>
                </a:lnTo>
                <a:lnTo>
                  <a:pt x="270" y="516"/>
                </a:lnTo>
                <a:lnTo>
                  <a:pt x="276" y="522"/>
                </a:lnTo>
                <a:lnTo>
                  <a:pt x="276" y="522"/>
                </a:lnTo>
                <a:lnTo>
                  <a:pt x="270" y="528"/>
                </a:lnTo>
                <a:lnTo>
                  <a:pt x="270" y="528"/>
                </a:lnTo>
                <a:lnTo>
                  <a:pt x="270" y="534"/>
                </a:lnTo>
                <a:lnTo>
                  <a:pt x="276" y="534"/>
                </a:lnTo>
                <a:lnTo>
                  <a:pt x="276" y="540"/>
                </a:lnTo>
                <a:lnTo>
                  <a:pt x="276" y="546"/>
                </a:lnTo>
                <a:lnTo>
                  <a:pt x="276" y="546"/>
                </a:lnTo>
                <a:lnTo>
                  <a:pt x="276" y="546"/>
                </a:lnTo>
                <a:lnTo>
                  <a:pt x="276" y="558"/>
                </a:lnTo>
                <a:lnTo>
                  <a:pt x="276" y="564"/>
                </a:lnTo>
                <a:lnTo>
                  <a:pt x="276" y="564"/>
                </a:lnTo>
                <a:lnTo>
                  <a:pt x="276" y="564"/>
                </a:lnTo>
                <a:lnTo>
                  <a:pt x="276" y="564"/>
                </a:lnTo>
                <a:lnTo>
                  <a:pt x="270" y="564"/>
                </a:lnTo>
                <a:lnTo>
                  <a:pt x="270" y="564"/>
                </a:lnTo>
                <a:lnTo>
                  <a:pt x="270" y="558"/>
                </a:lnTo>
                <a:lnTo>
                  <a:pt x="264" y="558"/>
                </a:lnTo>
                <a:lnTo>
                  <a:pt x="264" y="552"/>
                </a:lnTo>
                <a:lnTo>
                  <a:pt x="264" y="546"/>
                </a:lnTo>
                <a:lnTo>
                  <a:pt x="258" y="546"/>
                </a:lnTo>
                <a:lnTo>
                  <a:pt x="258" y="540"/>
                </a:lnTo>
                <a:lnTo>
                  <a:pt x="258" y="540"/>
                </a:lnTo>
                <a:lnTo>
                  <a:pt x="252" y="534"/>
                </a:lnTo>
                <a:lnTo>
                  <a:pt x="252" y="534"/>
                </a:lnTo>
                <a:lnTo>
                  <a:pt x="252" y="528"/>
                </a:lnTo>
                <a:lnTo>
                  <a:pt x="246" y="528"/>
                </a:lnTo>
                <a:lnTo>
                  <a:pt x="246" y="528"/>
                </a:lnTo>
                <a:lnTo>
                  <a:pt x="246" y="528"/>
                </a:lnTo>
                <a:lnTo>
                  <a:pt x="246" y="528"/>
                </a:lnTo>
                <a:lnTo>
                  <a:pt x="240" y="528"/>
                </a:lnTo>
                <a:lnTo>
                  <a:pt x="240" y="522"/>
                </a:lnTo>
                <a:lnTo>
                  <a:pt x="240" y="522"/>
                </a:lnTo>
                <a:lnTo>
                  <a:pt x="240" y="522"/>
                </a:lnTo>
                <a:lnTo>
                  <a:pt x="240" y="516"/>
                </a:lnTo>
                <a:lnTo>
                  <a:pt x="240" y="516"/>
                </a:lnTo>
                <a:lnTo>
                  <a:pt x="240" y="516"/>
                </a:lnTo>
                <a:lnTo>
                  <a:pt x="234" y="516"/>
                </a:lnTo>
                <a:lnTo>
                  <a:pt x="234" y="516"/>
                </a:lnTo>
                <a:lnTo>
                  <a:pt x="234" y="516"/>
                </a:lnTo>
                <a:lnTo>
                  <a:pt x="228" y="516"/>
                </a:lnTo>
                <a:lnTo>
                  <a:pt x="228" y="510"/>
                </a:lnTo>
                <a:lnTo>
                  <a:pt x="228" y="510"/>
                </a:lnTo>
                <a:lnTo>
                  <a:pt x="228" y="510"/>
                </a:lnTo>
                <a:lnTo>
                  <a:pt x="222" y="510"/>
                </a:lnTo>
                <a:lnTo>
                  <a:pt x="222" y="510"/>
                </a:lnTo>
                <a:lnTo>
                  <a:pt x="222" y="504"/>
                </a:lnTo>
                <a:lnTo>
                  <a:pt x="216" y="510"/>
                </a:lnTo>
                <a:lnTo>
                  <a:pt x="216" y="504"/>
                </a:lnTo>
                <a:lnTo>
                  <a:pt x="216" y="504"/>
                </a:lnTo>
                <a:lnTo>
                  <a:pt x="216" y="504"/>
                </a:lnTo>
                <a:lnTo>
                  <a:pt x="216" y="504"/>
                </a:lnTo>
                <a:lnTo>
                  <a:pt x="210" y="504"/>
                </a:lnTo>
                <a:lnTo>
                  <a:pt x="210" y="498"/>
                </a:lnTo>
                <a:lnTo>
                  <a:pt x="210" y="498"/>
                </a:lnTo>
                <a:lnTo>
                  <a:pt x="210" y="498"/>
                </a:lnTo>
                <a:lnTo>
                  <a:pt x="210" y="498"/>
                </a:lnTo>
                <a:lnTo>
                  <a:pt x="210" y="498"/>
                </a:lnTo>
                <a:lnTo>
                  <a:pt x="210" y="492"/>
                </a:lnTo>
                <a:lnTo>
                  <a:pt x="204" y="492"/>
                </a:lnTo>
                <a:lnTo>
                  <a:pt x="210" y="492"/>
                </a:lnTo>
                <a:lnTo>
                  <a:pt x="204" y="492"/>
                </a:lnTo>
                <a:lnTo>
                  <a:pt x="204" y="492"/>
                </a:lnTo>
                <a:lnTo>
                  <a:pt x="198" y="492"/>
                </a:lnTo>
                <a:lnTo>
                  <a:pt x="198" y="486"/>
                </a:lnTo>
                <a:lnTo>
                  <a:pt x="198" y="486"/>
                </a:lnTo>
                <a:lnTo>
                  <a:pt x="198" y="492"/>
                </a:lnTo>
                <a:lnTo>
                  <a:pt x="198" y="486"/>
                </a:lnTo>
                <a:lnTo>
                  <a:pt x="198" y="486"/>
                </a:lnTo>
                <a:lnTo>
                  <a:pt x="198" y="486"/>
                </a:lnTo>
                <a:lnTo>
                  <a:pt x="192" y="486"/>
                </a:lnTo>
                <a:lnTo>
                  <a:pt x="192" y="486"/>
                </a:lnTo>
                <a:lnTo>
                  <a:pt x="192" y="486"/>
                </a:lnTo>
                <a:lnTo>
                  <a:pt x="192" y="480"/>
                </a:lnTo>
                <a:lnTo>
                  <a:pt x="192" y="480"/>
                </a:lnTo>
                <a:lnTo>
                  <a:pt x="192" y="480"/>
                </a:lnTo>
                <a:lnTo>
                  <a:pt x="192" y="480"/>
                </a:lnTo>
                <a:lnTo>
                  <a:pt x="192" y="474"/>
                </a:lnTo>
                <a:lnTo>
                  <a:pt x="192" y="474"/>
                </a:lnTo>
                <a:lnTo>
                  <a:pt x="192" y="474"/>
                </a:lnTo>
                <a:lnTo>
                  <a:pt x="192" y="474"/>
                </a:lnTo>
                <a:lnTo>
                  <a:pt x="198" y="474"/>
                </a:lnTo>
                <a:lnTo>
                  <a:pt x="198" y="474"/>
                </a:lnTo>
                <a:lnTo>
                  <a:pt x="198" y="474"/>
                </a:lnTo>
                <a:lnTo>
                  <a:pt x="198" y="474"/>
                </a:lnTo>
                <a:lnTo>
                  <a:pt x="204" y="474"/>
                </a:lnTo>
                <a:lnTo>
                  <a:pt x="204" y="474"/>
                </a:lnTo>
                <a:lnTo>
                  <a:pt x="204" y="474"/>
                </a:lnTo>
                <a:lnTo>
                  <a:pt x="204" y="480"/>
                </a:lnTo>
                <a:lnTo>
                  <a:pt x="204" y="480"/>
                </a:lnTo>
                <a:lnTo>
                  <a:pt x="204" y="474"/>
                </a:lnTo>
                <a:lnTo>
                  <a:pt x="204" y="474"/>
                </a:lnTo>
                <a:lnTo>
                  <a:pt x="210" y="474"/>
                </a:lnTo>
                <a:lnTo>
                  <a:pt x="210" y="474"/>
                </a:lnTo>
                <a:lnTo>
                  <a:pt x="210" y="474"/>
                </a:lnTo>
                <a:lnTo>
                  <a:pt x="210" y="474"/>
                </a:lnTo>
                <a:lnTo>
                  <a:pt x="210" y="474"/>
                </a:lnTo>
                <a:lnTo>
                  <a:pt x="210" y="474"/>
                </a:lnTo>
                <a:lnTo>
                  <a:pt x="210" y="474"/>
                </a:lnTo>
                <a:lnTo>
                  <a:pt x="210" y="468"/>
                </a:lnTo>
                <a:lnTo>
                  <a:pt x="210" y="474"/>
                </a:lnTo>
                <a:lnTo>
                  <a:pt x="216" y="468"/>
                </a:lnTo>
                <a:lnTo>
                  <a:pt x="216" y="468"/>
                </a:lnTo>
                <a:lnTo>
                  <a:pt x="216" y="468"/>
                </a:lnTo>
                <a:lnTo>
                  <a:pt x="216" y="468"/>
                </a:lnTo>
                <a:lnTo>
                  <a:pt x="216" y="468"/>
                </a:lnTo>
                <a:lnTo>
                  <a:pt x="216" y="468"/>
                </a:lnTo>
                <a:lnTo>
                  <a:pt x="216" y="468"/>
                </a:lnTo>
                <a:lnTo>
                  <a:pt x="216" y="468"/>
                </a:lnTo>
                <a:lnTo>
                  <a:pt x="222" y="468"/>
                </a:lnTo>
                <a:lnTo>
                  <a:pt x="216" y="462"/>
                </a:lnTo>
                <a:lnTo>
                  <a:pt x="216" y="462"/>
                </a:lnTo>
                <a:lnTo>
                  <a:pt x="216" y="462"/>
                </a:lnTo>
                <a:lnTo>
                  <a:pt x="216" y="462"/>
                </a:lnTo>
                <a:lnTo>
                  <a:pt x="216" y="462"/>
                </a:lnTo>
                <a:lnTo>
                  <a:pt x="216" y="462"/>
                </a:lnTo>
                <a:lnTo>
                  <a:pt x="216" y="462"/>
                </a:lnTo>
                <a:lnTo>
                  <a:pt x="216" y="456"/>
                </a:lnTo>
                <a:lnTo>
                  <a:pt x="216" y="456"/>
                </a:lnTo>
                <a:lnTo>
                  <a:pt x="216" y="456"/>
                </a:lnTo>
                <a:lnTo>
                  <a:pt x="216" y="456"/>
                </a:lnTo>
                <a:lnTo>
                  <a:pt x="216" y="456"/>
                </a:lnTo>
                <a:lnTo>
                  <a:pt x="216" y="450"/>
                </a:lnTo>
                <a:lnTo>
                  <a:pt x="216" y="450"/>
                </a:lnTo>
                <a:lnTo>
                  <a:pt x="216" y="450"/>
                </a:lnTo>
                <a:lnTo>
                  <a:pt x="222" y="450"/>
                </a:lnTo>
                <a:lnTo>
                  <a:pt x="216" y="444"/>
                </a:lnTo>
                <a:lnTo>
                  <a:pt x="222" y="444"/>
                </a:lnTo>
                <a:lnTo>
                  <a:pt x="222" y="444"/>
                </a:lnTo>
                <a:lnTo>
                  <a:pt x="222" y="444"/>
                </a:lnTo>
                <a:lnTo>
                  <a:pt x="222" y="444"/>
                </a:lnTo>
                <a:lnTo>
                  <a:pt x="222" y="444"/>
                </a:lnTo>
                <a:lnTo>
                  <a:pt x="222" y="438"/>
                </a:lnTo>
                <a:lnTo>
                  <a:pt x="222" y="438"/>
                </a:lnTo>
                <a:lnTo>
                  <a:pt x="228" y="438"/>
                </a:lnTo>
                <a:lnTo>
                  <a:pt x="228" y="438"/>
                </a:lnTo>
                <a:lnTo>
                  <a:pt x="228" y="438"/>
                </a:lnTo>
                <a:lnTo>
                  <a:pt x="228" y="438"/>
                </a:lnTo>
                <a:lnTo>
                  <a:pt x="228" y="432"/>
                </a:lnTo>
                <a:lnTo>
                  <a:pt x="228" y="432"/>
                </a:lnTo>
                <a:lnTo>
                  <a:pt x="228" y="432"/>
                </a:lnTo>
                <a:lnTo>
                  <a:pt x="234" y="432"/>
                </a:lnTo>
                <a:lnTo>
                  <a:pt x="234" y="426"/>
                </a:lnTo>
                <a:lnTo>
                  <a:pt x="234" y="426"/>
                </a:lnTo>
                <a:lnTo>
                  <a:pt x="228" y="426"/>
                </a:lnTo>
                <a:lnTo>
                  <a:pt x="228" y="426"/>
                </a:lnTo>
                <a:lnTo>
                  <a:pt x="228" y="426"/>
                </a:lnTo>
                <a:lnTo>
                  <a:pt x="228" y="426"/>
                </a:lnTo>
                <a:lnTo>
                  <a:pt x="222" y="420"/>
                </a:lnTo>
                <a:lnTo>
                  <a:pt x="222" y="420"/>
                </a:lnTo>
                <a:lnTo>
                  <a:pt x="222" y="420"/>
                </a:lnTo>
                <a:lnTo>
                  <a:pt x="222" y="420"/>
                </a:lnTo>
                <a:lnTo>
                  <a:pt x="222" y="420"/>
                </a:lnTo>
                <a:lnTo>
                  <a:pt x="228" y="414"/>
                </a:lnTo>
                <a:lnTo>
                  <a:pt x="222" y="414"/>
                </a:lnTo>
                <a:lnTo>
                  <a:pt x="222" y="414"/>
                </a:lnTo>
                <a:lnTo>
                  <a:pt x="222" y="414"/>
                </a:lnTo>
                <a:lnTo>
                  <a:pt x="222" y="414"/>
                </a:lnTo>
                <a:lnTo>
                  <a:pt x="222" y="408"/>
                </a:lnTo>
                <a:lnTo>
                  <a:pt x="222" y="408"/>
                </a:lnTo>
                <a:lnTo>
                  <a:pt x="222" y="408"/>
                </a:lnTo>
                <a:lnTo>
                  <a:pt x="222" y="408"/>
                </a:lnTo>
                <a:lnTo>
                  <a:pt x="222" y="402"/>
                </a:lnTo>
                <a:lnTo>
                  <a:pt x="222" y="402"/>
                </a:lnTo>
                <a:lnTo>
                  <a:pt x="216" y="402"/>
                </a:lnTo>
                <a:lnTo>
                  <a:pt x="216" y="402"/>
                </a:lnTo>
                <a:lnTo>
                  <a:pt x="216" y="396"/>
                </a:lnTo>
                <a:lnTo>
                  <a:pt x="216" y="396"/>
                </a:lnTo>
                <a:lnTo>
                  <a:pt x="216" y="390"/>
                </a:lnTo>
                <a:lnTo>
                  <a:pt x="216" y="390"/>
                </a:lnTo>
                <a:lnTo>
                  <a:pt x="216" y="390"/>
                </a:lnTo>
                <a:lnTo>
                  <a:pt x="216" y="390"/>
                </a:lnTo>
                <a:lnTo>
                  <a:pt x="216" y="390"/>
                </a:lnTo>
                <a:lnTo>
                  <a:pt x="216" y="390"/>
                </a:lnTo>
                <a:lnTo>
                  <a:pt x="216" y="384"/>
                </a:lnTo>
                <a:lnTo>
                  <a:pt x="210" y="378"/>
                </a:lnTo>
                <a:lnTo>
                  <a:pt x="210" y="378"/>
                </a:lnTo>
                <a:lnTo>
                  <a:pt x="210" y="378"/>
                </a:lnTo>
                <a:lnTo>
                  <a:pt x="204" y="378"/>
                </a:lnTo>
                <a:lnTo>
                  <a:pt x="204" y="372"/>
                </a:lnTo>
                <a:lnTo>
                  <a:pt x="204" y="372"/>
                </a:lnTo>
                <a:lnTo>
                  <a:pt x="198" y="366"/>
                </a:lnTo>
                <a:lnTo>
                  <a:pt x="204" y="366"/>
                </a:lnTo>
                <a:lnTo>
                  <a:pt x="198" y="360"/>
                </a:lnTo>
                <a:lnTo>
                  <a:pt x="198" y="360"/>
                </a:lnTo>
                <a:lnTo>
                  <a:pt x="198" y="354"/>
                </a:lnTo>
                <a:lnTo>
                  <a:pt x="198" y="354"/>
                </a:lnTo>
                <a:lnTo>
                  <a:pt x="198" y="348"/>
                </a:lnTo>
                <a:lnTo>
                  <a:pt x="198" y="342"/>
                </a:lnTo>
                <a:lnTo>
                  <a:pt x="198" y="342"/>
                </a:lnTo>
                <a:lnTo>
                  <a:pt x="198" y="336"/>
                </a:lnTo>
                <a:lnTo>
                  <a:pt x="198" y="336"/>
                </a:lnTo>
                <a:lnTo>
                  <a:pt x="198" y="336"/>
                </a:lnTo>
                <a:lnTo>
                  <a:pt x="198" y="336"/>
                </a:lnTo>
                <a:lnTo>
                  <a:pt x="198" y="330"/>
                </a:lnTo>
                <a:lnTo>
                  <a:pt x="198" y="330"/>
                </a:lnTo>
                <a:lnTo>
                  <a:pt x="198" y="330"/>
                </a:lnTo>
                <a:lnTo>
                  <a:pt x="192" y="324"/>
                </a:lnTo>
                <a:lnTo>
                  <a:pt x="192" y="324"/>
                </a:lnTo>
                <a:lnTo>
                  <a:pt x="186" y="324"/>
                </a:lnTo>
                <a:lnTo>
                  <a:pt x="186" y="318"/>
                </a:lnTo>
                <a:lnTo>
                  <a:pt x="186" y="318"/>
                </a:lnTo>
                <a:lnTo>
                  <a:pt x="186" y="312"/>
                </a:lnTo>
                <a:lnTo>
                  <a:pt x="186" y="306"/>
                </a:lnTo>
                <a:lnTo>
                  <a:pt x="186" y="294"/>
                </a:lnTo>
                <a:lnTo>
                  <a:pt x="186" y="294"/>
                </a:lnTo>
                <a:lnTo>
                  <a:pt x="186" y="294"/>
                </a:lnTo>
                <a:lnTo>
                  <a:pt x="192" y="288"/>
                </a:lnTo>
                <a:lnTo>
                  <a:pt x="198" y="282"/>
                </a:lnTo>
                <a:lnTo>
                  <a:pt x="198" y="282"/>
                </a:lnTo>
                <a:lnTo>
                  <a:pt x="198" y="276"/>
                </a:lnTo>
                <a:lnTo>
                  <a:pt x="198" y="276"/>
                </a:lnTo>
                <a:lnTo>
                  <a:pt x="192" y="276"/>
                </a:lnTo>
                <a:lnTo>
                  <a:pt x="192" y="270"/>
                </a:lnTo>
                <a:lnTo>
                  <a:pt x="198" y="264"/>
                </a:lnTo>
                <a:lnTo>
                  <a:pt x="198" y="264"/>
                </a:lnTo>
                <a:lnTo>
                  <a:pt x="198" y="258"/>
                </a:lnTo>
                <a:lnTo>
                  <a:pt x="198" y="258"/>
                </a:lnTo>
                <a:lnTo>
                  <a:pt x="198" y="252"/>
                </a:lnTo>
                <a:lnTo>
                  <a:pt x="192" y="252"/>
                </a:lnTo>
                <a:lnTo>
                  <a:pt x="192" y="252"/>
                </a:lnTo>
                <a:lnTo>
                  <a:pt x="192" y="246"/>
                </a:lnTo>
                <a:lnTo>
                  <a:pt x="192" y="246"/>
                </a:lnTo>
                <a:lnTo>
                  <a:pt x="192" y="246"/>
                </a:lnTo>
                <a:lnTo>
                  <a:pt x="198" y="246"/>
                </a:lnTo>
                <a:lnTo>
                  <a:pt x="198" y="240"/>
                </a:lnTo>
                <a:lnTo>
                  <a:pt x="192" y="240"/>
                </a:lnTo>
                <a:lnTo>
                  <a:pt x="192" y="240"/>
                </a:lnTo>
                <a:lnTo>
                  <a:pt x="186" y="240"/>
                </a:lnTo>
                <a:lnTo>
                  <a:pt x="186" y="240"/>
                </a:lnTo>
                <a:lnTo>
                  <a:pt x="186" y="240"/>
                </a:lnTo>
                <a:lnTo>
                  <a:pt x="186" y="228"/>
                </a:lnTo>
                <a:lnTo>
                  <a:pt x="180" y="222"/>
                </a:lnTo>
                <a:lnTo>
                  <a:pt x="174" y="210"/>
                </a:lnTo>
                <a:lnTo>
                  <a:pt x="174" y="204"/>
                </a:lnTo>
                <a:lnTo>
                  <a:pt x="174" y="204"/>
                </a:lnTo>
                <a:lnTo>
                  <a:pt x="174" y="204"/>
                </a:lnTo>
                <a:lnTo>
                  <a:pt x="174" y="198"/>
                </a:lnTo>
                <a:lnTo>
                  <a:pt x="174" y="198"/>
                </a:lnTo>
                <a:lnTo>
                  <a:pt x="174" y="198"/>
                </a:lnTo>
                <a:lnTo>
                  <a:pt x="174" y="198"/>
                </a:lnTo>
                <a:lnTo>
                  <a:pt x="168" y="192"/>
                </a:lnTo>
                <a:lnTo>
                  <a:pt x="168" y="192"/>
                </a:lnTo>
                <a:lnTo>
                  <a:pt x="162" y="192"/>
                </a:lnTo>
                <a:lnTo>
                  <a:pt x="162" y="186"/>
                </a:lnTo>
                <a:lnTo>
                  <a:pt x="162" y="186"/>
                </a:lnTo>
                <a:lnTo>
                  <a:pt x="156" y="186"/>
                </a:lnTo>
                <a:lnTo>
                  <a:pt x="156" y="180"/>
                </a:lnTo>
                <a:lnTo>
                  <a:pt x="156" y="180"/>
                </a:lnTo>
                <a:lnTo>
                  <a:pt x="150" y="174"/>
                </a:lnTo>
                <a:lnTo>
                  <a:pt x="150" y="174"/>
                </a:lnTo>
                <a:lnTo>
                  <a:pt x="150" y="174"/>
                </a:lnTo>
                <a:lnTo>
                  <a:pt x="150" y="174"/>
                </a:lnTo>
                <a:lnTo>
                  <a:pt x="156" y="168"/>
                </a:lnTo>
                <a:lnTo>
                  <a:pt x="156" y="168"/>
                </a:lnTo>
                <a:lnTo>
                  <a:pt x="156" y="168"/>
                </a:lnTo>
                <a:lnTo>
                  <a:pt x="162" y="162"/>
                </a:lnTo>
                <a:lnTo>
                  <a:pt x="162" y="162"/>
                </a:lnTo>
                <a:lnTo>
                  <a:pt x="162" y="162"/>
                </a:lnTo>
                <a:lnTo>
                  <a:pt x="162" y="162"/>
                </a:lnTo>
                <a:lnTo>
                  <a:pt x="162" y="144"/>
                </a:lnTo>
                <a:lnTo>
                  <a:pt x="162" y="138"/>
                </a:lnTo>
                <a:lnTo>
                  <a:pt x="168" y="132"/>
                </a:lnTo>
                <a:lnTo>
                  <a:pt x="162" y="132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0"/>
                </a:lnTo>
                <a:lnTo>
                  <a:pt x="150" y="120"/>
                </a:lnTo>
                <a:lnTo>
                  <a:pt x="138" y="120"/>
                </a:lnTo>
                <a:lnTo>
                  <a:pt x="132" y="120"/>
                </a:lnTo>
                <a:lnTo>
                  <a:pt x="126" y="120"/>
                </a:lnTo>
                <a:lnTo>
                  <a:pt x="126" y="120"/>
                </a:lnTo>
                <a:lnTo>
                  <a:pt x="120" y="120"/>
                </a:lnTo>
                <a:lnTo>
                  <a:pt x="114" y="114"/>
                </a:lnTo>
                <a:lnTo>
                  <a:pt x="114" y="114"/>
                </a:lnTo>
                <a:lnTo>
                  <a:pt x="108" y="108"/>
                </a:lnTo>
                <a:lnTo>
                  <a:pt x="108" y="108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2" y="102"/>
                </a:lnTo>
                <a:lnTo>
                  <a:pt x="102" y="102"/>
                </a:lnTo>
                <a:lnTo>
                  <a:pt x="90" y="102"/>
                </a:lnTo>
                <a:lnTo>
                  <a:pt x="90" y="102"/>
                </a:lnTo>
                <a:lnTo>
                  <a:pt x="84" y="102"/>
                </a:lnTo>
                <a:lnTo>
                  <a:pt x="78" y="96"/>
                </a:lnTo>
                <a:lnTo>
                  <a:pt x="78" y="96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84"/>
                </a:lnTo>
                <a:lnTo>
                  <a:pt x="72" y="78"/>
                </a:lnTo>
                <a:lnTo>
                  <a:pt x="72" y="72"/>
                </a:lnTo>
                <a:lnTo>
                  <a:pt x="72" y="72"/>
                </a:lnTo>
                <a:lnTo>
                  <a:pt x="72" y="66"/>
                </a:lnTo>
                <a:lnTo>
                  <a:pt x="72" y="66"/>
                </a:lnTo>
                <a:lnTo>
                  <a:pt x="66" y="66"/>
                </a:lnTo>
                <a:lnTo>
                  <a:pt x="60" y="66"/>
                </a:lnTo>
                <a:lnTo>
                  <a:pt x="48" y="72"/>
                </a:lnTo>
                <a:lnTo>
                  <a:pt x="42" y="72"/>
                </a:lnTo>
                <a:lnTo>
                  <a:pt x="36" y="72"/>
                </a:lnTo>
                <a:lnTo>
                  <a:pt x="30" y="72"/>
                </a:lnTo>
                <a:lnTo>
                  <a:pt x="24" y="72"/>
                </a:lnTo>
                <a:lnTo>
                  <a:pt x="18" y="72"/>
                </a:lnTo>
                <a:lnTo>
                  <a:pt x="12" y="66"/>
                </a:lnTo>
                <a:lnTo>
                  <a:pt x="12" y="66"/>
                </a:lnTo>
                <a:lnTo>
                  <a:pt x="0" y="66"/>
                </a:lnTo>
                <a:lnTo>
                  <a:pt x="0" y="6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299" name="Freeform 32"/>
          <p:cNvSpPr>
            <a:spLocks/>
          </p:cNvSpPr>
          <p:nvPr/>
        </p:nvSpPr>
        <p:spPr bwMode="auto">
          <a:xfrm>
            <a:off x="5053120" y="877988"/>
            <a:ext cx="417563" cy="443263"/>
          </a:xfrm>
          <a:custGeom>
            <a:avLst/>
            <a:gdLst>
              <a:gd name="T0" fmla="*/ 6 w 390"/>
              <a:gd name="T1" fmla="*/ 348 h 414"/>
              <a:gd name="T2" fmla="*/ 6 w 390"/>
              <a:gd name="T3" fmla="*/ 300 h 414"/>
              <a:gd name="T4" fmla="*/ 6 w 390"/>
              <a:gd name="T5" fmla="*/ 258 h 414"/>
              <a:gd name="T6" fmla="*/ 12 w 390"/>
              <a:gd name="T7" fmla="*/ 216 h 414"/>
              <a:gd name="T8" fmla="*/ 30 w 390"/>
              <a:gd name="T9" fmla="*/ 144 h 414"/>
              <a:gd name="T10" fmla="*/ 66 w 390"/>
              <a:gd name="T11" fmla="*/ 90 h 414"/>
              <a:gd name="T12" fmla="*/ 84 w 390"/>
              <a:gd name="T13" fmla="*/ 78 h 414"/>
              <a:gd name="T14" fmla="*/ 96 w 390"/>
              <a:gd name="T15" fmla="*/ 90 h 414"/>
              <a:gd name="T16" fmla="*/ 102 w 390"/>
              <a:gd name="T17" fmla="*/ 84 h 414"/>
              <a:gd name="T18" fmla="*/ 108 w 390"/>
              <a:gd name="T19" fmla="*/ 72 h 414"/>
              <a:gd name="T20" fmla="*/ 120 w 390"/>
              <a:gd name="T21" fmla="*/ 66 h 414"/>
              <a:gd name="T22" fmla="*/ 132 w 390"/>
              <a:gd name="T23" fmla="*/ 60 h 414"/>
              <a:gd name="T24" fmla="*/ 144 w 390"/>
              <a:gd name="T25" fmla="*/ 84 h 414"/>
              <a:gd name="T26" fmla="*/ 150 w 390"/>
              <a:gd name="T27" fmla="*/ 90 h 414"/>
              <a:gd name="T28" fmla="*/ 156 w 390"/>
              <a:gd name="T29" fmla="*/ 96 h 414"/>
              <a:gd name="T30" fmla="*/ 168 w 390"/>
              <a:gd name="T31" fmla="*/ 90 h 414"/>
              <a:gd name="T32" fmla="*/ 174 w 390"/>
              <a:gd name="T33" fmla="*/ 84 h 414"/>
              <a:gd name="T34" fmla="*/ 186 w 390"/>
              <a:gd name="T35" fmla="*/ 72 h 414"/>
              <a:gd name="T36" fmla="*/ 192 w 390"/>
              <a:gd name="T37" fmla="*/ 66 h 414"/>
              <a:gd name="T38" fmla="*/ 204 w 390"/>
              <a:gd name="T39" fmla="*/ 60 h 414"/>
              <a:gd name="T40" fmla="*/ 216 w 390"/>
              <a:gd name="T41" fmla="*/ 66 h 414"/>
              <a:gd name="T42" fmla="*/ 246 w 390"/>
              <a:gd name="T43" fmla="*/ 66 h 414"/>
              <a:gd name="T44" fmla="*/ 252 w 390"/>
              <a:gd name="T45" fmla="*/ 54 h 414"/>
              <a:gd name="T46" fmla="*/ 270 w 390"/>
              <a:gd name="T47" fmla="*/ 54 h 414"/>
              <a:gd name="T48" fmla="*/ 276 w 390"/>
              <a:gd name="T49" fmla="*/ 42 h 414"/>
              <a:gd name="T50" fmla="*/ 276 w 390"/>
              <a:gd name="T51" fmla="*/ 36 h 414"/>
              <a:gd name="T52" fmla="*/ 276 w 390"/>
              <a:gd name="T53" fmla="*/ 24 h 414"/>
              <a:gd name="T54" fmla="*/ 270 w 390"/>
              <a:gd name="T55" fmla="*/ 12 h 414"/>
              <a:gd name="T56" fmla="*/ 276 w 390"/>
              <a:gd name="T57" fmla="*/ 0 h 414"/>
              <a:gd name="T58" fmla="*/ 300 w 390"/>
              <a:gd name="T59" fmla="*/ 0 h 414"/>
              <a:gd name="T60" fmla="*/ 318 w 390"/>
              <a:gd name="T61" fmla="*/ 6 h 414"/>
              <a:gd name="T62" fmla="*/ 330 w 390"/>
              <a:gd name="T63" fmla="*/ 12 h 414"/>
              <a:gd name="T64" fmla="*/ 342 w 390"/>
              <a:gd name="T65" fmla="*/ 24 h 414"/>
              <a:gd name="T66" fmla="*/ 354 w 390"/>
              <a:gd name="T67" fmla="*/ 30 h 414"/>
              <a:gd name="T68" fmla="*/ 366 w 390"/>
              <a:gd name="T69" fmla="*/ 36 h 414"/>
              <a:gd name="T70" fmla="*/ 384 w 390"/>
              <a:gd name="T71" fmla="*/ 36 h 414"/>
              <a:gd name="T72" fmla="*/ 390 w 390"/>
              <a:gd name="T73" fmla="*/ 174 h 414"/>
              <a:gd name="T74" fmla="*/ 228 w 390"/>
              <a:gd name="T75" fmla="*/ 198 h 414"/>
              <a:gd name="T76" fmla="*/ 216 w 390"/>
              <a:gd name="T77" fmla="*/ 222 h 414"/>
              <a:gd name="T78" fmla="*/ 210 w 390"/>
              <a:gd name="T79" fmla="*/ 234 h 414"/>
              <a:gd name="T80" fmla="*/ 204 w 390"/>
              <a:gd name="T81" fmla="*/ 258 h 414"/>
              <a:gd name="T82" fmla="*/ 192 w 390"/>
              <a:gd name="T83" fmla="*/ 276 h 414"/>
              <a:gd name="T84" fmla="*/ 204 w 390"/>
              <a:gd name="T85" fmla="*/ 294 h 414"/>
              <a:gd name="T86" fmla="*/ 198 w 390"/>
              <a:gd name="T87" fmla="*/ 306 h 414"/>
              <a:gd name="T88" fmla="*/ 180 w 390"/>
              <a:gd name="T89" fmla="*/ 318 h 414"/>
              <a:gd name="T90" fmla="*/ 168 w 390"/>
              <a:gd name="T91" fmla="*/ 324 h 414"/>
              <a:gd name="T92" fmla="*/ 150 w 390"/>
              <a:gd name="T93" fmla="*/ 324 h 414"/>
              <a:gd name="T94" fmla="*/ 144 w 390"/>
              <a:gd name="T95" fmla="*/ 306 h 414"/>
              <a:gd name="T96" fmla="*/ 132 w 390"/>
              <a:gd name="T97" fmla="*/ 294 h 414"/>
              <a:gd name="T98" fmla="*/ 114 w 390"/>
              <a:gd name="T99" fmla="*/ 282 h 414"/>
              <a:gd name="T100" fmla="*/ 96 w 390"/>
              <a:gd name="T101" fmla="*/ 276 h 414"/>
              <a:gd name="T102" fmla="*/ 78 w 390"/>
              <a:gd name="T103" fmla="*/ 282 h 414"/>
              <a:gd name="T104" fmla="*/ 54 w 390"/>
              <a:gd name="T105" fmla="*/ 300 h 414"/>
              <a:gd name="T106" fmla="*/ 42 w 390"/>
              <a:gd name="T107" fmla="*/ 330 h 414"/>
              <a:gd name="T108" fmla="*/ 42 w 390"/>
              <a:gd name="T109" fmla="*/ 348 h 414"/>
              <a:gd name="T110" fmla="*/ 42 w 390"/>
              <a:gd name="T111" fmla="*/ 366 h 414"/>
              <a:gd name="T112" fmla="*/ 42 w 390"/>
              <a:gd name="T113" fmla="*/ 396 h 414"/>
              <a:gd name="T114" fmla="*/ 54 w 390"/>
              <a:gd name="T115" fmla="*/ 414 h 414"/>
              <a:gd name="T116" fmla="*/ 12 w 390"/>
              <a:gd name="T117" fmla="*/ 390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90" h="414">
                <a:moveTo>
                  <a:pt x="6" y="390"/>
                </a:moveTo>
                <a:lnTo>
                  <a:pt x="6" y="390"/>
                </a:lnTo>
                <a:lnTo>
                  <a:pt x="6" y="390"/>
                </a:lnTo>
                <a:lnTo>
                  <a:pt x="6" y="384"/>
                </a:lnTo>
                <a:lnTo>
                  <a:pt x="6" y="372"/>
                </a:lnTo>
                <a:lnTo>
                  <a:pt x="6" y="372"/>
                </a:lnTo>
                <a:lnTo>
                  <a:pt x="6" y="372"/>
                </a:lnTo>
                <a:lnTo>
                  <a:pt x="6" y="366"/>
                </a:lnTo>
                <a:lnTo>
                  <a:pt x="6" y="360"/>
                </a:lnTo>
                <a:lnTo>
                  <a:pt x="0" y="360"/>
                </a:lnTo>
                <a:lnTo>
                  <a:pt x="0" y="354"/>
                </a:lnTo>
                <a:lnTo>
                  <a:pt x="0" y="354"/>
                </a:lnTo>
                <a:lnTo>
                  <a:pt x="6" y="348"/>
                </a:lnTo>
                <a:lnTo>
                  <a:pt x="6" y="348"/>
                </a:lnTo>
                <a:lnTo>
                  <a:pt x="0" y="342"/>
                </a:lnTo>
                <a:lnTo>
                  <a:pt x="6" y="330"/>
                </a:lnTo>
                <a:lnTo>
                  <a:pt x="6" y="330"/>
                </a:lnTo>
                <a:lnTo>
                  <a:pt x="0" y="324"/>
                </a:lnTo>
                <a:lnTo>
                  <a:pt x="0" y="324"/>
                </a:lnTo>
                <a:lnTo>
                  <a:pt x="0" y="324"/>
                </a:lnTo>
                <a:lnTo>
                  <a:pt x="6" y="318"/>
                </a:lnTo>
                <a:lnTo>
                  <a:pt x="6" y="318"/>
                </a:lnTo>
                <a:lnTo>
                  <a:pt x="6" y="312"/>
                </a:lnTo>
                <a:lnTo>
                  <a:pt x="6" y="312"/>
                </a:lnTo>
                <a:lnTo>
                  <a:pt x="6" y="306"/>
                </a:lnTo>
                <a:lnTo>
                  <a:pt x="6" y="300"/>
                </a:lnTo>
                <a:lnTo>
                  <a:pt x="6" y="294"/>
                </a:lnTo>
                <a:lnTo>
                  <a:pt x="12" y="288"/>
                </a:lnTo>
                <a:lnTo>
                  <a:pt x="12" y="282"/>
                </a:lnTo>
                <a:lnTo>
                  <a:pt x="12" y="282"/>
                </a:lnTo>
                <a:lnTo>
                  <a:pt x="12" y="276"/>
                </a:lnTo>
                <a:lnTo>
                  <a:pt x="12" y="276"/>
                </a:lnTo>
                <a:lnTo>
                  <a:pt x="12" y="270"/>
                </a:lnTo>
                <a:lnTo>
                  <a:pt x="12" y="270"/>
                </a:lnTo>
                <a:lnTo>
                  <a:pt x="12" y="270"/>
                </a:lnTo>
                <a:lnTo>
                  <a:pt x="6" y="264"/>
                </a:lnTo>
                <a:lnTo>
                  <a:pt x="6" y="264"/>
                </a:lnTo>
                <a:lnTo>
                  <a:pt x="6" y="258"/>
                </a:lnTo>
                <a:lnTo>
                  <a:pt x="6" y="258"/>
                </a:lnTo>
                <a:lnTo>
                  <a:pt x="6" y="258"/>
                </a:lnTo>
                <a:lnTo>
                  <a:pt x="6" y="252"/>
                </a:lnTo>
                <a:lnTo>
                  <a:pt x="6" y="246"/>
                </a:lnTo>
                <a:lnTo>
                  <a:pt x="6" y="246"/>
                </a:lnTo>
                <a:lnTo>
                  <a:pt x="6" y="240"/>
                </a:lnTo>
                <a:lnTo>
                  <a:pt x="12" y="234"/>
                </a:lnTo>
                <a:lnTo>
                  <a:pt x="12" y="234"/>
                </a:lnTo>
                <a:lnTo>
                  <a:pt x="12" y="228"/>
                </a:lnTo>
                <a:lnTo>
                  <a:pt x="12" y="228"/>
                </a:lnTo>
                <a:lnTo>
                  <a:pt x="12" y="222"/>
                </a:lnTo>
                <a:lnTo>
                  <a:pt x="12" y="222"/>
                </a:lnTo>
                <a:lnTo>
                  <a:pt x="12" y="216"/>
                </a:lnTo>
                <a:lnTo>
                  <a:pt x="12" y="216"/>
                </a:lnTo>
                <a:lnTo>
                  <a:pt x="12" y="210"/>
                </a:lnTo>
                <a:lnTo>
                  <a:pt x="12" y="210"/>
                </a:lnTo>
                <a:lnTo>
                  <a:pt x="12" y="204"/>
                </a:lnTo>
                <a:lnTo>
                  <a:pt x="18" y="204"/>
                </a:lnTo>
                <a:lnTo>
                  <a:pt x="18" y="198"/>
                </a:lnTo>
                <a:lnTo>
                  <a:pt x="18" y="186"/>
                </a:lnTo>
                <a:lnTo>
                  <a:pt x="18" y="180"/>
                </a:lnTo>
                <a:lnTo>
                  <a:pt x="18" y="168"/>
                </a:lnTo>
                <a:lnTo>
                  <a:pt x="18" y="168"/>
                </a:lnTo>
                <a:lnTo>
                  <a:pt x="24" y="162"/>
                </a:lnTo>
                <a:lnTo>
                  <a:pt x="24" y="150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6" y="138"/>
                </a:lnTo>
                <a:lnTo>
                  <a:pt x="36" y="132"/>
                </a:lnTo>
                <a:lnTo>
                  <a:pt x="42" y="126"/>
                </a:lnTo>
                <a:lnTo>
                  <a:pt x="42" y="120"/>
                </a:lnTo>
                <a:lnTo>
                  <a:pt x="42" y="120"/>
                </a:lnTo>
                <a:lnTo>
                  <a:pt x="48" y="120"/>
                </a:lnTo>
                <a:lnTo>
                  <a:pt x="54" y="114"/>
                </a:lnTo>
                <a:lnTo>
                  <a:pt x="60" y="108"/>
                </a:lnTo>
                <a:lnTo>
                  <a:pt x="60" y="102"/>
                </a:lnTo>
                <a:lnTo>
                  <a:pt x="60" y="96"/>
                </a:lnTo>
                <a:lnTo>
                  <a:pt x="66" y="90"/>
                </a:lnTo>
                <a:lnTo>
                  <a:pt x="66" y="90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8" y="78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78"/>
                </a:lnTo>
                <a:lnTo>
                  <a:pt x="84" y="78"/>
                </a:lnTo>
                <a:lnTo>
                  <a:pt x="90" y="78"/>
                </a:lnTo>
                <a:lnTo>
                  <a:pt x="90" y="78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78"/>
                </a:lnTo>
                <a:lnTo>
                  <a:pt x="102" y="84"/>
                </a:lnTo>
                <a:lnTo>
                  <a:pt x="102" y="78"/>
                </a:lnTo>
                <a:lnTo>
                  <a:pt x="108" y="78"/>
                </a:lnTo>
                <a:lnTo>
                  <a:pt x="108" y="78"/>
                </a:lnTo>
                <a:lnTo>
                  <a:pt x="102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14" y="72"/>
                </a:lnTo>
                <a:lnTo>
                  <a:pt x="108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6" y="66"/>
                </a:lnTo>
                <a:lnTo>
                  <a:pt x="126" y="72"/>
                </a:lnTo>
                <a:lnTo>
                  <a:pt x="126" y="72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32" y="66"/>
                </a:lnTo>
                <a:lnTo>
                  <a:pt x="132" y="60"/>
                </a:lnTo>
                <a:lnTo>
                  <a:pt x="132" y="60"/>
                </a:lnTo>
                <a:lnTo>
                  <a:pt x="132" y="66"/>
                </a:lnTo>
                <a:lnTo>
                  <a:pt x="138" y="66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8"/>
                </a:lnTo>
                <a:lnTo>
                  <a:pt x="138" y="78"/>
                </a:lnTo>
                <a:lnTo>
                  <a:pt x="138" y="78"/>
                </a:lnTo>
                <a:lnTo>
                  <a:pt x="144" y="84"/>
                </a:lnTo>
                <a:lnTo>
                  <a:pt x="144" y="84"/>
                </a:lnTo>
                <a:lnTo>
                  <a:pt x="144" y="84"/>
                </a:lnTo>
                <a:lnTo>
                  <a:pt x="144" y="84"/>
                </a:lnTo>
                <a:lnTo>
                  <a:pt x="144" y="84"/>
                </a:lnTo>
                <a:lnTo>
                  <a:pt x="144" y="84"/>
                </a:lnTo>
                <a:lnTo>
                  <a:pt x="144" y="84"/>
                </a:lnTo>
                <a:lnTo>
                  <a:pt x="144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6"/>
                </a:lnTo>
                <a:lnTo>
                  <a:pt x="150" y="96"/>
                </a:lnTo>
                <a:lnTo>
                  <a:pt x="156" y="96"/>
                </a:lnTo>
                <a:lnTo>
                  <a:pt x="156" y="96"/>
                </a:lnTo>
                <a:lnTo>
                  <a:pt x="156" y="96"/>
                </a:lnTo>
                <a:lnTo>
                  <a:pt x="156" y="96"/>
                </a:lnTo>
                <a:lnTo>
                  <a:pt x="156" y="96"/>
                </a:lnTo>
                <a:lnTo>
                  <a:pt x="156" y="96"/>
                </a:lnTo>
                <a:lnTo>
                  <a:pt x="156" y="96"/>
                </a:lnTo>
                <a:lnTo>
                  <a:pt x="156" y="96"/>
                </a:lnTo>
                <a:lnTo>
                  <a:pt x="156" y="96"/>
                </a:lnTo>
                <a:lnTo>
                  <a:pt x="156" y="96"/>
                </a:lnTo>
                <a:lnTo>
                  <a:pt x="156" y="96"/>
                </a:lnTo>
                <a:lnTo>
                  <a:pt x="156" y="96"/>
                </a:lnTo>
                <a:lnTo>
                  <a:pt x="156" y="96"/>
                </a:lnTo>
                <a:lnTo>
                  <a:pt x="162" y="96"/>
                </a:lnTo>
                <a:lnTo>
                  <a:pt x="162" y="96"/>
                </a:lnTo>
                <a:lnTo>
                  <a:pt x="162" y="96"/>
                </a:lnTo>
                <a:lnTo>
                  <a:pt x="162" y="90"/>
                </a:lnTo>
                <a:lnTo>
                  <a:pt x="162" y="90"/>
                </a:lnTo>
                <a:lnTo>
                  <a:pt x="162" y="90"/>
                </a:lnTo>
                <a:lnTo>
                  <a:pt x="168" y="90"/>
                </a:lnTo>
                <a:lnTo>
                  <a:pt x="168" y="90"/>
                </a:lnTo>
                <a:lnTo>
                  <a:pt x="168" y="90"/>
                </a:lnTo>
                <a:lnTo>
                  <a:pt x="168" y="90"/>
                </a:lnTo>
                <a:lnTo>
                  <a:pt x="168" y="90"/>
                </a:lnTo>
                <a:lnTo>
                  <a:pt x="168" y="90"/>
                </a:lnTo>
                <a:lnTo>
                  <a:pt x="168" y="90"/>
                </a:lnTo>
                <a:lnTo>
                  <a:pt x="168" y="90"/>
                </a:lnTo>
                <a:lnTo>
                  <a:pt x="168" y="90"/>
                </a:lnTo>
                <a:lnTo>
                  <a:pt x="174" y="90"/>
                </a:lnTo>
                <a:lnTo>
                  <a:pt x="174" y="84"/>
                </a:lnTo>
                <a:lnTo>
                  <a:pt x="174" y="84"/>
                </a:lnTo>
                <a:lnTo>
                  <a:pt x="174" y="90"/>
                </a:lnTo>
                <a:lnTo>
                  <a:pt x="174" y="84"/>
                </a:lnTo>
                <a:lnTo>
                  <a:pt x="174" y="84"/>
                </a:lnTo>
                <a:lnTo>
                  <a:pt x="174" y="84"/>
                </a:lnTo>
                <a:lnTo>
                  <a:pt x="174" y="84"/>
                </a:lnTo>
                <a:lnTo>
                  <a:pt x="174" y="84"/>
                </a:lnTo>
                <a:lnTo>
                  <a:pt x="174" y="84"/>
                </a:lnTo>
                <a:lnTo>
                  <a:pt x="174" y="84"/>
                </a:lnTo>
                <a:lnTo>
                  <a:pt x="174" y="84"/>
                </a:lnTo>
                <a:lnTo>
                  <a:pt x="174" y="78"/>
                </a:lnTo>
                <a:lnTo>
                  <a:pt x="180" y="78"/>
                </a:lnTo>
                <a:lnTo>
                  <a:pt x="180" y="84"/>
                </a:lnTo>
                <a:lnTo>
                  <a:pt x="180" y="78"/>
                </a:lnTo>
                <a:lnTo>
                  <a:pt x="180" y="78"/>
                </a:lnTo>
                <a:lnTo>
                  <a:pt x="180" y="72"/>
                </a:lnTo>
                <a:lnTo>
                  <a:pt x="186" y="72"/>
                </a:lnTo>
                <a:lnTo>
                  <a:pt x="186" y="72"/>
                </a:lnTo>
                <a:lnTo>
                  <a:pt x="186" y="72"/>
                </a:lnTo>
                <a:lnTo>
                  <a:pt x="186" y="66"/>
                </a:lnTo>
                <a:lnTo>
                  <a:pt x="186" y="66"/>
                </a:lnTo>
                <a:lnTo>
                  <a:pt x="186" y="66"/>
                </a:lnTo>
                <a:lnTo>
                  <a:pt x="186" y="66"/>
                </a:lnTo>
                <a:lnTo>
                  <a:pt x="192" y="66"/>
                </a:lnTo>
                <a:lnTo>
                  <a:pt x="192" y="66"/>
                </a:lnTo>
                <a:lnTo>
                  <a:pt x="192" y="66"/>
                </a:lnTo>
                <a:lnTo>
                  <a:pt x="192" y="66"/>
                </a:lnTo>
                <a:lnTo>
                  <a:pt x="192" y="66"/>
                </a:lnTo>
                <a:lnTo>
                  <a:pt x="192" y="66"/>
                </a:lnTo>
                <a:lnTo>
                  <a:pt x="192" y="66"/>
                </a:lnTo>
                <a:lnTo>
                  <a:pt x="192" y="60"/>
                </a:lnTo>
                <a:lnTo>
                  <a:pt x="198" y="60"/>
                </a:lnTo>
                <a:lnTo>
                  <a:pt x="198" y="60"/>
                </a:lnTo>
                <a:lnTo>
                  <a:pt x="198" y="60"/>
                </a:lnTo>
                <a:lnTo>
                  <a:pt x="198" y="60"/>
                </a:lnTo>
                <a:lnTo>
                  <a:pt x="204" y="60"/>
                </a:lnTo>
                <a:lnTo>
                  <a:pt x="198" y="60"/>
                </a:lnTo>
                <a:lnTo>
                  <a:pt x="204" y="60"/>
                </a:lnTo>
                <a:lnTo>
                  <a:pt x="204" y="60"/>
                </a:lnTo>
                <a:lnTo>
                  <a:pt x="204" y="60"/>
                </a:lnTo>
                <a:lnTo>
                  <a:pt x="204" y="60"/>
                </a:lnTo>
                <a:lnTo>
                  <a:pt x="204" y="60"/>
                </a:lnTo>
                <a:lnTo>
                  <a:pt x="204" y="60"/>
                </a:lnTo>
                <a:lnTo>
                  <a:pt x="204" y="60"/>
                </a:lnTo>
                <a:lnTo>
                  <a:pt x="204" y="60"/>
                </a:lnTo>
                <a:lnTo>
                  <a:pt x="204" y="60"/>
                </a:lnTo>
                <a:lnTo>
                  <a:pt x="210" y="60"/>
                </a:lnTo>
                <a:lnTo>
                  <a:pt x="210" y="60"/>
                </a:lnTo>
                <a:lnTo>
                  <a:pt x="210" y="66"/>
                </a:lnTo>
                <a:lnTo>
                  <a:pt x="210" y="66"/>
                </a:lnTo>
                <a:lnTo>
                  <a:pt x="210" y="66"/>
                </a:lnTo>
                <a:lnTo>
                  <a:pt x="210" y="66"/>
                </a:lnTo>
                <a:lnTo>
                  <a:pt x="210" y="60"/>
                </a:lnTo>
                <a:lnTo>
                  <a:pt x="210" y="60"/>
                </a:lnTo>
                <a:lnTo>
                  <a:pt x="210" y="60"/>
                </a:lnTo>
                <a:lnTo>
                  <a:pt x="216" y="66"/>
                </a:lnTo>
                <a:lnTo>
                  <a:pt x="216" y="66"/>
                </a:lnTo>
                <a:lnTo>
                  <a:pt x="216" y="66"/>
                </a:lnTo>
                <a:lnTo>
                  <a:pt x="216" y="60"/>
                </a:lnTo>
                <a:lnTo>
                  <a:pt x="216" y="60"/>
                </a:lnTo>
                <a:lnTo>
                  <a:pt x="228" y="66"/>
                </a:lnTo>
                <a:lnTo>
                  <a:pt x="228" y="66"/>
                </a:lnTo>
                <a:lnTo>
                  <a:pt x="234" y="66"/>
                </a:lnTo>
                <a:lnTo>
                  <a:pt x="234" y="66"/>
                </a:lnTo>
                <a:lnTo>
                  <a:pt x="240" y="66"/>
                </a:lnTo>
                <a:lnTo>
                  <a:pt x="240" y="66"/>
                </a:lnTo>
                <a:lnTo>
                  <a:pt x="240" y="66"/>
                </a:lnTo>
                <a:lnTo>
                  <a:pt x="246" y="66"/>
                </a:lnTo>
                <a:lnTo>
                  <a:pt x="246" y="66"/>
                </a:lnTo>
                <a:lnTo>
                  <a:pt x="246" y="66"/>
                </a:lnTo>
                <a:lnTo>
                  <a:pt x="246" y="66"/>
                </a:lnTo>
                <a:lnTo>
                  <a:pt x="246" y="66"/>
                </a:lnTo>
                <a:lnTo>
                  <a:pt x="246" y="66"/>
                </a:lnTo>
                <a:lnTo>
                  <a:pt x="246" y="60"/>
                </a:lnTo>
                <a:lnTo>
                  <a:pt x="252" y="60"/>
                </a:lnTo>
                <a:lnTo>
                  <a:pt x="252" y="60"/>
                </a:lnTo>
                <a:lnTo>
                  <a:pt x="252" y="60"/>
                </a:lnTo>
                <a:lnTo>
                  <a:pt x="252" y="60"/>
                </a:lnTo>
                <a:lnTo>
                  <a:pt x="252" y="54"/>
                </a:lnTo>
                <a:lnTo>
                  <a:pt x="252" y="54"/>
                </a:lnTo>
                <a:lnTo>
                  <a:pt x="252" y="54"/>
                </a:lnTo>
                <a:lnTo>
                  <a:pt x="252" y="54"/>
                </a:lnTo>
                <a:lnTo>
                  <a:pt x="252" y="54"/>
                </a:lnTo>
                <a:lnTo>
                  <a:pt x="258" y="54"/>
                </a:lnTo>
                <a:lnTo>
                  <a:pt x="258" y="54"/>
                </a:lnTo>
                <a:lnTo>
                  <a:pt x="258" y="54"/>
                </a:lnTo>
                <a:lnTo>
                  <a:pt x="258" y="54"/>
                </a:lnTo>
                <a:lnTo>
                  <a:pt x="258" y="54"/>
                </a:lnTo>
                <a:lnTo>
                  <a:pt x="264" y="54"/>
                </a:lnTo>
                <a:lnTo>
                  <a:pt x="264" y="54"/>
                </a:lnTo>
                <a:lnTo>
                  <a:pt x="264" y="54"/>
                </a:lnTo>
                <a:lnTo>
                  <a:pt x="264" y="54"/>
                </a:lnTo>
                <a:lnTo>
                  <a:pt x="264" y="54"/>
                </a:lnTo>
                <a:lnTo>
                  <a:pt x="264" y="54"/>
                </a:lnTo>
                <a:lnTo>
                  <a:pt x="270" y="54"/>
                </a:lnTo>
                <a:lnTo>
                  <a:pt x="270" y="54"/>
                </a:lnTo>
                <a:lnTo>
                  <a:pt x="270" y="54"/>
                </a:lnTo>
                <a:lnTo>
                  <a:pt x="270" y="48"/>
                </a:lnTo>
                <a:lnTo>
                  <a:pt x="270" y="48"/>
                </a:lnTo>
                <a:lnTo>
                  <a:pt x="270" y="48"/>
                </a:lnTo>
                <a:lnTo>
                  <a:pt x="270" y="48"/>
                </a:lnTo>
                <a:lnTo>
                  <a:pt x="270" y="48"/>
                </a:lnTo>
                <a:lnTo>
                  <a:pt x="270" y="48"/>
                </a:lnTo>
                <a:lnTo>
                  <a:pt x="276" y="42"/>
                </a:lnTo>
                <a:lnTo>
                  <a:pt x="276" y="42"/>
                </a:lnTo>
                <a:lnTo>
                  <a:pt x="276" y="42"/>
                </a:lnTo>
                <a:lnTo>
                  <a:pt x="276" y="42"/>
                </a:lnTo>
                <a:lnTo>
                  <a:pt x="276" y="42"/>
                </a:lnTo>
                <a:lnTo>
                  <a:pt x="276" y="42"/>
                </a:lnTo>
                <a:lnTo>
                  <a:pt x="276" y="42"/>
                </a:lnTo>
                <a:lnTo>
                  <a:pt x="276" y="42"/>
                </a:lnTo>
                <a:lnTo>
                  <a:pt x="276" y="36"/>
                </a:lnTo>
                <a:lnTo>
                  <a:pt x="276" y="36"/>
                </a:lnTo>
                <a:lnTo>
                  <a:pt x="276" y="36"/>
                </a:lnTo>
                <a:lnTo>
                  <a:pt x="276" y="36"/>
                </a:lnTo>
                <a:lnTo>
                  <a:pt x="276" y="36"/>
                </a:lnTo>
                <a:lnTo>
                  <a:pt x="276" y="36"/>
                </a:lnTo>
                <a:lnTo>
                  <a:pt x="276" y="36"/>
                </a:lnTo>
                <a:lnTo>
                  <a:pt x="276" y="36"/>
                </a:lnTo>
                <a:lnTo>
                  <a:pt x="276" y="36"/>
                </a:lnTo>
                <a:lnTo>
                  <a:pt x="276" y="36"/>
                </a:lnTo>
                <a:lnTo>
                  <a:pt x="276" y="36"/>
                </a:lnTo>
                <a:lnTo>
                  <a:pt x="276" y="36"/>
                </a:lnTo>
                <a:lnTo>
                  <a:pt x="276" y="36"/>
                </a:lnTo>
                <a:lnTo>
                  <a:pt x="276" y="30"/>
                </a:lnTo>
                <a:lnTo>
                  <a:pt x="276" y="30"/>
                </a:lnTo>
                <a:lnTo>
                  <a:pt x="276" y="30"/>
                </a:lnTo>
                <a:lnTo>
                  <a:pt x="276" y="30"/>
                </a:lnTo>
                <a:lnTo>
                  <a:pt x="276" y="30"/>
                </a:lnTo>
                <a:lnTo>
                  <a:pt x="276" y="30"/>
                </a:lnTo>
                <a:lnTo>
                  <a:pt x="276" y="30"/>
                </a:lnTo>
                <a:lnTo>
                  <a:pt x="276" y="30"/>
                </a:lnTo>
                <a:lnTo>
                  <a:pt x="276" y="30"/>
                </a:lnTo>
                <a:lnTo>
                  <a:pt x="276" y="24"/>
                </a:lnTo>
                <a:lnTo>
                  <a:pt x="276" y="24"/>
                </a:lnTo>
                <a:lnTo>
                  <a:pt x="276" y="24"/>
                </a:lnTo>
                <a:lnTo>
                  <a:pt x="276" y="24"/>
                </a:lnTo>
                <a:lnTo>
                  <a:pt x="276" y="24"/>
                </a:lnTo>
                <a:lnTo>
                  <a:pt x="276" y="24"/>
                </a:lnTo>
                <a:lnTo>
                  <a:pt x="270" y="24"/>
                </a:lnTo>
                <a:lnTo>
                  <a:pt x="270" y="18"/>
                </a:lnTo>
                <a:lnTo>
                  <a:pt x="270" y="18"/>
                </a:lnTo>
                <a:lnTo>
                  <a:pt x="270" y="18"/>
                </a:lnTo>
                <a:lnTo>
                  <a:pt x="270" y="18"/>
                </a:lnTo>
                <a:lnTo>
                  <a:pt x="270" y="18"/>
                </a:lnTo>
                <a:lnTo>
                  <a:pt x="270" y="12"/>
                </a:lnTo>
                <a:lnTo>
                  <a:pt x="270" y="12"/>
                </a:lnTo>
                <a:lnTo>
                  <a:pt x="270" y="12"/>
                </a:lnTo>
                <a:lnTo>
                  <a:pt x="270" y="12"/>
                </a:lnTo>
                <a:lnTo>
                  <a:pt x="270" y="12"/>
                </a:lnTo>
                <a:lnTo>
                  <a:pt x="276" y="12"/>
                </a:lnTo>
                <a:lnTo>
                  <a:pt x="276" y="6"/>
                </a:lnTo>
                <a:lnTo>
                  <a:pt x="276" y="6"/>
                </a:lnTo>
                <a:lnTo>
                  <a:pt x="276" y="6"/>
                </a:lnTo>
                <a:lnTo>
                  <a:pt x="276" y="6"/>
                </a:lnTo>
                <a:lnTo>
                  <a:pt x="276" y="6"/>
                </a:lnTo>
                <a:lnTo>
                  <a:pt x="276" y="6"/>
                </a:lnTo>
                <a:lnTo>
                  <a:pt x="276" y="6"/>
                </a:lnTo>
                <a:lnTo>
                  <a:pt x="276" y="0"/>
                </a:lnTo>
                <a:lnTo>
                  <a:pt x="276" y="0"/>
                </a:lnTo>
                <a:lnTo>
                  <a:pt x="282" y="0"/>
                </a:lnTo>
                <a:lnTo>
                  <a:pt x="282" y="0"/>
                </a:lnTo>
                <a:lnTo>
                  <a:pt x="288" y="0"/>
                </a:lnTo>
                <a:lnTo>
                  <a:pt x="288" y="0"/>
                </a:lnTo>
                <a:lnTo>
                  <a:pt x="288" y="0"/>
                </a:lnTo>
                <a:lnTo>
                  <a:pt x="294" y="0"/>
                </a:lnTo>
                <a:lnTo>
                  <a:pt x="288" y="0"/>
                </a:lnTo>
                <a:lnTo>
                  <a:pt x="294" y="0"/>
                </a:lnTo>
                <a:lnTo>
                  <a:pt x="294" y="0"/>
                </a:lnTo>
                <a:lnTo>
                  <a:pt x="294" y="0"/>
                </a:lnTo>
                <a:lnTo>
                  <a:pt x="294" y="0"/>
                </a:lnTo>
                <a:lnTo>
                  <a:pt x="294" y="0"/>
                </a:lnTo>
                <a:lnTo>
                  <a:pt x="300" y="0"/>
                </a:lnTo>
                <a:lnTo>
                  <a:pt x="300" y="0"/>
                </a:lnTo>
                <a:lnTo>
                  <a:pt x="300" y="0"/>
                </a:lnTo>
                <a:lnTo>
                  <a:pt x="300" y="0"/>
                </a:lnTo>
                <a:lnTo>
                  <a:pt x="300" y="0"/>
                </a:lnTo>
                <a:lnTo>
                  <a:pt x="306" y="0"/>
                </a:lnTo>
                <a:lnTo>
                  <a:pt x="306" y="0"/>
                </a:lnTo>
                <a:lnTo>
                  <a:pt x="312" y="0"/>
                </a:lnTo>
                <a:lnTo>
                  <a:pt x="312" y="0"/>
                </a:lnTo>
                <a:lnTo>
                  <a:pt x="318" y="6"/>
                </a:lnTo>
                <a:lnTo>
                  <a:pt x="318" y="6"/>
                </a:lnTo>
                <a:lnTo>
                  <a:pt x="318" y="6"/>
                </a:lnTo>
                <a:lnTo>
                  <a:pt x="318" y="6"/>
                </a:lnTo>
                <a:lnTo>
                  <a:pt x="318" y="6"/>
                </a:lnTo>
                <a:lnTo>
                  <a:pt x="324" y="6"/>
                </a:lnTo>
                <a:lnTo>
                  <a:pt x="324" y="6"/>
                </a:lnTo>
                <a:lnTo>
                  <a:pt x="324" y="6"/>
                </a:lnTo>
                <a:lnTo>
                  <a:pt x="324" y="12"/>
                </a:lnTo>
                <a:lnTo>
                  <a:pt x="330" y="12"/>
                </a:lnTo>
                <a:lnTo>
                  <a:pt x="330" y="12"/>
                </a:lnTo>
                <a:lnTo>
                  <a:pt x="330" y="12"/>
                </a:lnTo>
                <a:lnTo>
                  <a:pt x="330" y="12"/>
                </a:lnTo>
                <a:lnTo>
                  <a:pt x="330" y="12"/>
                </a:lnTo>
                <a:lnTo>
                  <a:pt x="330" y="12"/>
                </a:lnTo>
                <a:lnTo>
                  <a:pt x="330" y="12"/>
                </a:lnTo>
                <a:lnTo>
                  <a:pt x="330" y="12"/>
                </a:lnTo>
                <a:lnTo>
                  <a:pt x="330" y="12"/>
                </a:lnTo>
                <a:lnTo>
                  <a:pt x="330" y="12"/>
                </a:lnTo>
                <a:lnTo>
                  <a:pt x="336" y="12"/>
                </a:lnTo>
                <a:lnTo>
                  <a:pt x="336" y="12"/>
                </a:lnTo>
                <a:lnTo>
                  <a:pt x="336" y="18"/>
                </a:lnTo>
                <a:lnTo>
                  <a:pt x="336" y="18"/>
                </a:lnTo>
                <a:lnTo>
                  <a:pt x="336" y="18"/>
                </a:lnTo>
                <a:lnTo>
                  <a:pt x="336" y="18"/>
                </a:lnTo>
                <a:lnTo>
                  <a:pt x="336" y="18"/>
                </a:lnTo>
                <a:lnTo>
                  <a:pt x="336" y="18"/>
                </a:lnTo>
                <a:lnTo>
                  <a:pt x="342" y="18"/>
                </a:lnTo>
                <a:lnTo>
                  <a:pt x="342" y="18"/>
                </a:lnTo>
                <a:lnTo>
                  <a:pt x="342" y="24"/>
                </a:lnTo>
                <a:lnTo>
                  <a:pt x="342" y="24"/>
                </a:lnTo>
                <a:lnTo>
                  <a:pt x="342" y="24"/>
                </a:lnTo>
                <a:lnTo>
                  <a:pt x="342" y="24"/>
                </a:lnTo>
                <a:lnTo>
                  <a:pt x="342" y="24"/>
                </a:lnTo>
                <a:lnTo>
                  <a:pt x="342" y="24"/>
                </a:lnTo>
                <a:lnTo>
                  <a:pt x="342" y="30"/>
                </a:lnTo>
                <a:lnTo>
                  <a:pt x="342" y="30"/>
                </a:lnTo>
                <a:lnTo>
                  <a:pt x="342" y="30"/>
                </a:lnTo>
                <a:lnTo>
                  <a:pt x="348" y="30"/>
                </a:lnTo>
                <a:lnTo>
                  <a:pt x="348" y="30"/>
                </a:lnTo>
                <a:lnTo>
                  <a:pt x="348" y="30"/>
                </a:lnTo>
                <a:lnTo>
                  <a:pt x="348" y="30"/>
                </a:lnTo>
                <a:lnTo>
                  <a:pt x="354" y="30"/>
                </a:lnTo>
                <a:lnTo>
                  <a:pt x="354" y="30"/>
                </a:lnTo>
                <a:lnTo>
                  <a:pt x="354" y="30"/>
                </a:lnTo>
                <a:lnTo>
                  <a:pt x="354" y="30"/>
                </a:lnTo>
                <a:lnTo>
                  <a:pt x="354" y="30"/>
                </a:lnTo>
                <a:lnTo>
                  <a:pt x="360" y="36"/>
                </a:lnTo>
                <a:lnTo>
                  <a:pt x="360" y="36"/>
                </a:lnTo>
                <a:lnTo>
                  <a:pt x="360" y="36"/>
                </a:lnTo>
                <a:lnTo>
                  <a:pt x="360" y="36"/>
                </a:lnTo>
                <a:lnTo>
                  <a:pt x="366" y="36"/>
                </a:lnTo>
                <a:lnTo>
                  <a:pt x="366" y="36"/>
                </a:lnTo>
                <a:lnTo>
                  <a:pt x="366" y="36"/>
                </a:lnTo>
                <a:lnTo>
                  <a:pt x="366" y="36"/>
                </a:lnTo>
                <a:lnTo>
                  <a:pt x="366" y="36"/>
                </a:lnTo>
                <a:lnTo>
                  <a:pt x="366" y="36"/>
                </a:lnTo>
                <a:lnTo>
                  <a:pt x="366" y="36"/>
                </a:lnTo>
                <a:lnTo>
                  <a:pt x="372" y="36"/>
                </a:lnTo>
                <a:lnTo>
                  <a:pt x="372" y="36"/>
                </a:lnTo>
                <a:lnTo>
                  <a:pt x="372" y="36"/>
                </a:lnTo>
                <a:lnTo>
                  <a:pt x="372" y="36"/>
                </a:lnTo>
                <a:lnTo>
                  <a:pt x="378" y="36"/>
                </a:lnTo>
                <a:lnTo>
                  <a:pt x="378" y="36"/>
                </a:lnTo>
                <a:lnTo>
                  <a:pt x="378" y="36"/>
                </a:lnTo>
                <a:lnTo>
                  <a:pt x="378" y="36"/>
                </a:lnTo>
                <a:lnTo>
                  <a:pt x="378" y="42"/>
                </a:lnTo>
                <a:lnTo>
                  <a:pt x="378" y="42"/>
                </a:lnTo>
                <a:lnTo>
                  <a:pt x="378" y="42"/>
                </a:lnTo>
                <a:lnTo>
                  <a:pt x="384" y="36"/>
                </a:lnTo>
                <a:lnTo>
                  <a:pt x="390" y="36"/>
                </a:lnTo>
                <a:lnTo>
                  <a:pt x="390" y="36"/>
                </a:lnTo>
                <a:lnTo>
                  <a:pt x="390" y="42"/>
                </a:lnTo>
                <a:lnTo>
                  <a:pt x="390" y="42"/>
                </a:lnTo>
                <a:lnTo>
                  <a:pt x="390" y="42"/>
                </a:lnTo>
                <a:lnTo>
                  <a:pt x="390" y="42"/>
                </a:lnTo>
                <a:lnTo>
                  <a:pt x="390" y="42"/>
                </a:lnTo>
                <a:lnTo>
                  <a:pt x="390" y="48"/>
                </a:lnTo>
                <a:lnTo>
                  <a:pt x="390" y="48"/>
                </a:lnTo>
                <a:lnTo>
                  <a:pt x="390" y="48"/>
                </a:lnTo>
                <a:lnTo>
                  <a:pt x="390" y="48"/>
                </a:lnTo>
                <a:lnTo>
                  <a:pt x="390" y="48"/>
                </a:lnTo>
                <a:lnTo>
                  <a:pt x="390" y="174"/>
                </a:lnTo>
                <a:lnTo>
                  <a:pt x="354" y="174"/>
                </a:lnTo>
                <a:lnTo>
                  <a:pt x="318" y="174"/>
                </a:lnTo>
                <a:lnTo>
                  <a:pt x="240" y="174"/>
                </a:lnTo>
                <a:lnTo>
                  <a:pt x="240" y="180"/>
                </a:lnTo>
                <a:lnTo>
                  <a:pt x="240" y="186"/>
                </a:lnTo>
                <a:lnTo>
                  <a:pt x="240" y="192"/>
                </a:lnTo>
                <a:lnTo>
                  <a:pt x="234" y="192"/>
                </a:lnTo>
                <a:lnTo>
                  <a:pt x="234" y="192"/>
                </a:lnTo>
                <a:lnTo>
                  <a:pt x="234" y="192"/>
                </a:lnTo>
                <a:lnTo>
                  <a:pt x="228" y="198"/>
                </a:lnTo>
                <a:lnTo>
                  <a:pt x="228" y="198"/>
                </a:lnTo>
                <a:lnTo>
                  <a:pt x="228" y="198"/>
                </a:lnTo>
                <a:lnTo>
                  <a:pt x="228" y="198"/>
                </a:lnTo>
                <a:lnTo>
                  <a:pt x="228" y="204"/>
                </a:lnTo>
                <a:lnTo>
                  <a:pt x="228" y="204"/>
                </a:lnTo>
                <a:lnTo>
                  <a:pt x="228" y="204"/>
                </a:lnTo>
                <a:lnTo>
                  <a:pt x="228" y="204"/>
                </a:lnTo>
                <a:lnTo>
                  <a:pt x="228" y="204"/>
                </a:lnTo>
                <a:lnTo>
                  <a:pt x="228" y="210"/>
                </a:lnTo>
                <a:lnTo>
                  <a:pt x="222" y="210"/>
                </a:lnTo>
                <a:lnTo>
                  <a:pt x="222" y="210"/>
                </a:lnTo>
                <a:lnTo>
                  <a:pt x="222" y="210"/>
                </a:lnTo>
                <a:lnTo>
                  <a:pt x="222" y="216"/>
                </a:lnTo>
                <a:lnTo>
                  <a:pt x="222" y="216"/>
                </a:lnTo>
                <a:lnTo>
                  <a:pt x="216" y="222"/>
                </a:lnTo>
                <a:lnTo>
                  <a:pt x="216" y="222"/>
                </a:lnTo>
                <a:lnTo>
                  <a:pt x="216" y="222"/>
                </a:lnTo>
                <a:lnTo>
                  <a:pt x="216" y="228"/>
                </a:lnTo>
                <a:lnTo>
                  <a:pt x="216" y="228"/>
                </a:lnTo>
                <a:lnTo>
                  <a:pt x="216" y="228"/>
                </a:lnTo>
                <a:lnTo>
                  <a:pt x="216" y="228"/>
                </a:lnTo>
                <a:lnTo>
                  <a:pt x="216" y="228"/>
                </a:lnTo>
                <a:lnTo>
                  <a:pt x="216" y="234"/>
                </a:lnTo>
                <a:lnTo>
                  <a:pt x="216" y="234"/>
                </a:lnTo>
                <a:lnTo>
                  <a:pt x="216" y="234"/>
                </a:lnTo>
                <a:lnTo>
                  <a:pt x="210" y="234"/>
                </a:lnTo>
                <a:lnTo>
                  <a:pt x="210" y="234"/>
                </a:lnTo>
                <a:lnTo>
                  <a:pt x="210" y="234"/>
                </a:lnTo>
                <a:lnTo>
                  <a:pt x="210" y="234"/>
                </a:lnTo>
                <a:lnTo>
                  <a:pt x="210" y="234"/>
                </a:lnTo>
                <a:lnTo>
                  <a:pt x="210" y="240"/>
                </a:lnTo>
                <a:lnTo>
                  <a:pt x="210" y="240"/>
                </a:lnTo>
                <a:lnTo>
                  <a:pt x="210" y="240"/>
                </a:lnTo>
                <a:lnTo>
                  <a:pt x="210" y="246"/>
                </a:lnTo>
                <a:lnTo>
                  <a:pt x="210" y="246"/>
                </a:lnTo>
                <a:lnTo>
                  <a:pt x="210" y="246"/>
                </a:lnTo>
                <a:lnTo>
                  <a:pt x="210" y="252"/>
                </a:lnTo>
                <a:lnTo>
                  <a:pt x="210" y="252"/>
                </a:lnTo>
                <a:lnTo>
                  <a:pt x="204" y="252"/>
                </a:lnTo>
                <a:lnTo>
                  <a:pt x="204" y="252"/>
                </a:lnTo>
                <a:lnTo>
                  <a:pt x="204" y="258"/>
                </a:lnTo>
                <a:lnTo>
                  <a:pt x="204" y="258"/>
                </a:lnTo>
                <a:lnTo>
                  <a:pt x="204" y="258"/>
                </a:lnTo>
                <a:lnTo>
                  <a:pt x="204" y="258"/>
                </a:lnTo>
                <a:lnTo>
                  <a:pt x="204" y="264"/>
                </a:lnTo>
                <a:lnTo>
                  <a:pt x="204" y="264"/>
                </a:lnTo>
                <a:lnTo>
                  <a:pt x="204" y="264"/>
                </a:lnTo>
                <a:lnTo>
                  <a:pt x="204" y="264"/>
                </a:lnTo>
                <a:lnTo>
                  <a:pt x="204" y="264"/>
                </a:lnTo>
                <a:lnTo>
                  <a:pt x="204" y="264"/>
                </a:lnTo>
                <a:lnTo>
                  <a:pt x="198" y="270"/>
                </a:lnTo>
                <a:lnTo>
                  <a:pt x="198" y="270"/>
                </a:lnTo>
                <a:lnTo>
                  <a:pt x="198" y="276"/>
                </a:lnTo>
                <a:lnTo>
                  <a:pt x="198" y="276"/>
                </a:lnTo>
                <a:lnTo>
                  <a:pt x="192" y="276"/>
                </a:lnTo>
                <a:lnTo>
                  <a:pt x="198" y="282"/>
                </a:lnTo>
                <a:lnTo>
                  <a:pt x="198" y="282"/>
                </a:lnTo>
                <a:lnTo>
                  <a:pt x="198" y="282"/>
                </a:lnTo>
                <a:lnTo>
                  <a:pt x="198" y="282"/>
                </a:lnTo>
                <a:lnTo>
                  <a:pt x="198" y="288"/>
                </a:lnTo>
                <a:lnTo>
                  <a:pt x="198" y="288"/>
                </a:lnTo>
                <a:lnTo>
                  <a:pt x="198" y="288"/>
                </a:lnTo>
                <a:lnTo>
                  <a:pt x="198" y="288"/>
                </a:lnTo>
                <a:lnTo>
                  <a:pt x="198" y="288"/>
                </a:lnTo>
                <a:lnTo>
                  <a:pt x="204" y="288"/>
                </a:lnTo>
                <a:lnTo>
                  <a:pt x="204" y="294"/>
                </a:lnTo>
                <a:lnTo>
                  <a:pt x="204" y="294"/>
                </a:lnTo>
                <a:lnTo>
                  <a:pt x="204" y="294"/>
                </a:lnTo>
                <a:lnTo>
                  <a:pt x="204" y="294"/>
                </a:lnTo>
                <a:lnTo>
                  <a:pt x="204" y="294"/>
                </a:lnTo>
                <a:lnTo>
                  <a:pt x="210" y="300"/>
                </a:lnTo>
                <a:lnTo>
                  <a:pt x="204" y="300"/>
                </a:lnTo>
                <a:lnTo>
                  <a:pt x="210" y="300"/>
                </a:lnTo>
                <a:lnTo>
                  <a:pt x="210" y="300"/>
                </a:lnTo>
                <a:lnTo>
                  <a:pt x="204" y="306"/>
                </a:lnTo>
                <a:lnTo>
                  <a:pt x="204" y="306"/>
                </a:lnTo>
                <a:lnTo>
                  <a:pt x="204" y="306"/>
                </a:lnTo>
                <a:lnTo>
                  <a:pt x="204" y="306"/>
                </a:lnTo>
                <a:lnTo>
                  <a:pt x="198" y="306"/>
                </a:lnTo>
                <a:lnTo>
                  <a:pt x="198" y="306"/>
                </a:lnTo>
                <a:lnTo>
                  <a:pt x="198" y="306"/>
                </a:lnTo>
                <a:lnTo>
                  <a:pt x="192" y="306"/>
                </a:lnTo>
                <a:lnTo>
                  <a:pt x="192" y="312"/>
                </a:lnTo>
                <a:lnTo>
                  <a:pt x="192" y="312"/>
                </a:lnTo>
                <a:lnTo>
                  <a:pt x="192" y="312"/>
                </a:lnTo>
                <a:lnTo>
                  <a:pt x="192" y="312"/>
                </a:lnTo>
                <a:lnTo>
                  <a:pt x="186" y="312"/>
                </a:lnTo>
                <a:lnTo>
                  <a:pt x="186" y="312"/>
                </a:lnTo>
                <a:lnTo>
                  <a:pt x="186" y="312"/>
                </a:lnTo>
                <a:lnTo>
                  <a:pt x="180" y="312"/>
                </a:lnTo>
                <a:lnTo>
                  <a:pt x="180" y="312"/>
                </a:lnTo>
                <a:lnTo>
                  <a:pt x="180" y="312"/>
                </a:lnTo>
                <a:lnTo>
                  <a:pt x="180" y="312"/>
                </a:lnTo>
                <a:lnTo>
                  <a:pt x="180" y="318"/>
                </a:lnTo>
                <a:lnTo>
                  <a:pt x="180" y="318"/>
                </a:lnTo>
                <a:lnTo>
                  <a:pt x="180" y="318"/>
                </a:lnTo>
                <a:lnTo>
                  <a:pt x="180" y="318"/>
                </a:lnTo>
                <a:lnTo>
                  <a:pt x="180" y="318"/>
                </a:lnTo>
                <a:lnTo>
                  <a:pt x="180" y="318"/>
                </a:lnTo>
                <a:lnTo>
                  <a:pt x="180" y="324"/>
                </a:lnTo>
                <a:lnTo>
                  <a:pt x="174" y="324"/>
                </a:lnTo>
                <a:lnTo>
                  <a:pt x="174" y="324"/>
                </a:lnTo>
                <a:lnTo>
                  <a:pt x="174" y="324"/>
                </a:lnTo>
                <a:lnTo>
                  <a:pt x="174" y="324"/>
                </a:lnTo>
                <a:lnTo>
                  <a:pt x="168" y="318"/>
                </a:lnTo>
                <a:lnTo>
                  <a:pt x="168" y="324"/>
                </a:lnTo>
                <a:lnTo>
                  <a:pt x="168" y="324"/>
                </a:lnTo>
                <a:lnTo>
                  <a:pt x="168" y="324"/>
                </a:lnTo>
                <a:lnTo>
                  <a:pt x="168" y="324"/>
                </a:lnTo>
                <a:lnTo>
                  <a:pt x="162" y="324"/>
                </a:lnTo>
                <a:lnTo>
                  <a:pt x="162" y="324"/>
                </a:lnTo>
                <a:lnTo>
                  <a:pt x="162" y="324"/>
                </a:lnTo>
                <a:lnTo>
                  <a:pt x="162" y="324"/>
                </a:lnTo>
                <a:lnTo>
                  <a:pt x="162" y="324"/>
                </a:lnTo>
                <a:lnTo>
                  <a:pt x="162" y="324"/>
                </a:lnTo>
                <a:lnTo>
                  <a:pt x="156" y="324"/>
                </a:lnTo>
                <a:lnTo>
                  <a:pt x="156" y="324"/>
                </a:lnTo>
                <a:lnTo>
                  <a:pt x="156" y="324"/>
                </a:lnTo>
                <a:lnTo>
                  <a:pt x="150" y="324"/>
                </a:lnTo>
                <a:lnTo>
                  <a:pt x="150" y="324"/>
                </a:lnTo>
                <a:lnTo>
                  <a:pt x="150" y="318"/>
                </a:lnTo>
                <a:lnTo>
                  <a:pt x="150" y="318"/>
                </a:lnTo>
                <a:lnTo>
                  <a:pt x="150" y="318"/>
                </a:lnTo>
                <a:lnTo>
                  <a:pt x="150" y="318"/>
                </a:lnTo>
                <a:lnTo>
                  <a:pt x="150" y="312"/>
                </a:lnTo>
                <a:lnTo>
                  <a:pt x="150" y="312"/>
                </a:lnTo>
                <a:lnTo>
                  <a:pt x="144" y="312"/>
                </a:lnTo>
                <a:lnTo>
                  <a:pt x="144" y="312"/>
                </a:lnTo>
                <a:lnTo>
                  <a:pt x="150" y="312"/>
                </a:lnTo>
                <a:lnTo>
                  <a:pt x="150" y="306"/>
                </a:lnTo>
                <a:lnTo>
                  <a:pt x="144" y="306"/>
                </a:lnTo>
                <a:lnTo>
                  <a:pt x="144" y="306"/>
                </a:lnTo>
                <a:lnTo>
                  <a:pt x="144" y="306"/>
                </a:lnTo>
                <a:lnTo>
                  <a:pt x="144" y="306"/>
                </a:lnTo>
                <a:lnTo>
                  <a:pt x="144" y="306"/>
                </a:lnTo>
                <a:lnTo>
                  <a:pt x="144" y="306"/>
                </a:lnTo>
                <a:lnTo>
                  <a:pt x="144" y="306"/>
                </a:lnTo>
                <a:lnTo>
                  <a:pt x="144" y="300"/>
                </a:lnTo>
                <a:lnTo>
                  <a:pt x="144" y="300"/>
                </a:lnTo>
                <a:lnTo>
                  <a:pt x="138" y="300"/>
                </a:lnTo>
                <a:lnTo>
                  <a:pt x="138" y="300"/>
                </a:lnTo>
                <a:lnTo>
                  <a:pt x="138" y="294"/>
                </a:lnTo>
                <a:lnTo>
                  <a:pt x="138" y="294"/>
                </a:lnTo>
                <a:lnTo>
                  <a:pt x="138" y="294"/>
                </a:lnTo>
                <a:lnTo>
                  <a:pt x="132" y="294"/>
                </a:lnTo>
                <a:lnTo>
                  <a:pt x="132" y="294"/>
                </a:lnTo>
                <a:lnTo>
                  <a:pt x="126" y="288"/>
                </a:lnTo>
                <a:lnTo>
                  <a:pt x="126" y="288"/>
                </a:lnTo>
                <a:lnTo>
                  <a:pt x="126" y="288"/>
                </a:lnTo>
                <a:lnTo>
                  <a:pt x="126" y="288"/>
                </a:lnTo>
                <a:lnTo>
                  <a:pt x="126" y="288"/>
                </a:lnTo>
                <a:lnTo>
                  <a:pt x="126" y="282"/>
                </a:lnTo>
                <a:lnTo>
                  <a:pt x="126" y="282"/>
                </a:lnTo>
                <a:lnTo>
                  <a:pt x="126" y="282"/>
                </a:lnTo>
                <a:lnTo>
                  <a:pt x="126" y="282"/>
                </a:lnTo>
                <a:lnTo>
                  <a:pt x="120" y="282"/>
                </a:lnTo>
                <a:lnTo>
                  <a:pt x="120" y="282"/>
                </a:lnTo>
                <a:lnTo>
                  <a:pt x="120" y="282"/>
                </a:lnTo>
                <a:lnTo>
                  <a:pt x="114" y="282"/>
                </a:lnTo>
                <a:lnTo>
                  <a:pt x="114" y="282"/>
                </a:lnTo>
                <a:lnTo>
                  <a:pt x="114" y="282"/>
                </a:lnTo>
                <a:lnTo>
                  <a:pt x="108" y="282"/>
                </a:lnTo>
                <a:lnTo>
                  <a:pt x="108" y="282"/>
                </a:lnTo>
                <a:lnTo>
                  <a:pt x="108" y="276"/>
                </a:lnTo>
                <a:lnTo>
                  <a:pt x="108" y="276"/>
                </a:lnTo>
                <a:lnTo>
                  <a:pt x="102" y="276"/>
                </a:lnTo>
                <a:lnTo>
                  <a:pt x="102" y="276"/>
                </a:lnTo>
                <a:lnTo>
                  <a:pt x="102" y="276"/>
                </a:lnTo>
                <a:lnTo>
                  <a:pt x="102" y="276"/>
                </a:lnTo>
                <a:lnTo>
                  <a:pt x="96" y="276"/>
                </a:lnTo>
                <a:lnTo>
                  <a:pt x="96" y="276"/>
                </a:lnTo>
                <a:lnTo>
                  <a:pt x="96" y="276"/>
                </a:lnTo>
                <a:lnTo>
                  <a:pt x="96" y="276"/>
                </a:lnTo>
                <a:lnTo>
                  <a:pt x="90" y="276"/>
                </a:lnTo>
                <a:lnTo>
                  <a:pt x="90" y="276"/>
                </a:lnTo>
                <a:lnTo>
                  <a:pt x="90" y="276"/>
                </a:lnTo>
                <a:lnTo>
                  <a:pt x="90" y="276"/>
                </a:lnTo>
                <a:lnTo>
                  <a:pt x="90" y="276"/>
                </a:lnTo>
                <a:lnTo>
                  <a:pt x="90" y="276"/>
                </a:lnTo>
                <a:lnTo>
                  <a:pt x="90" y="282"/>
                </a:lnTo>
                <a:lnTo>
                  <a:pt x="90" y="282"/>
                </a:lnTo>
                <a:lnTo>
                  <a:pt x="84" y="282"/>
                </a:lnTo>
                <a:lnTo>
                  <a:pt x="78" y="282"/>
                </a:lnTo>
                <a:lnTo>
                  <a:pt x="78" y="282"/>
                </a:lnTo>
                <a:lnTo>
                  <a:pt x="78" y="282"/>
                </a:lnTo>
                <a:lnTo>
                  <a:pt x="72" y="288"/>
                </a:lnTo>
                <a:lnTo>
                  <a:pt x="72" y="288"/>
                </a:lnTo>
                <a:lnTo>
                  <a:pt x="72" y="288"/>
                </a:lnTo>
                <a:lnTo>
                  <a:pt x="66" y="288"/>
                </a:lnTo>
                <a:lnTo>
                  <a:pt x="66" y="288"/>
                </a:lnTo>
                <a:lnTo>
                  <a:pt x="66" y="294"/>
                </a:lnTo>
                <a:lnTo>
                  <a:pt x="60" y="294"/>
                </a:lnTo>
                <a:lnTo>
                  <a:pt x="60" y="294"/>
                </a:lnTo>
                <a:lnTo>
                  <a:pt x="60" y="294"/>
                </a:lnTo>
                <a:lnTo>
                  <a:pt x="60" y="294"/>
                </a:lnTo>
                <a:lnTo>
                  <a:pt x="60" y="294"/>
                </a:lnTo>
                <a:lnTo>
                  <a:pt x="54" y="294"/>
                </a:lnTo>
                <a:lnTo>
                  <a:pt x="54" y="300"/>
                </a:lnTo>
                <a:lnTo>
                  <a:pt x="54" y="300"/>
                </a:lnTo>
                <a:lnTo>
                  <a:pt x="54" y="300"/>
                </a:lnTo>
                <a:lnTo>
                  <a:pt x="48" y="306"/>
                </a:lnTo>
                <a:lnTo>
                  <a:pt x="48" y="306"/>
                </a:lnTo>
                <a:lnTo>
                  <a:pt x="48" y="312"/>
                </a:lnTo>
                <a:lnTo>
                  <a:pt x="42" y="318"/>
                </a:lnTo>
                <a:lnTo>
                  <a:pt x="48" y="318"/>
                </a:lnTo>
                <a:lnTo>
                  <a:pt x="48" y="318"/>
                </a:lnTo>
                <a:lnTo>
                  <a:pt x="48" y="318"/>
                </a:lnTo>
                <a:lnTo>
                  <a:pt x="42" y="324"/>
                </a:lnTo>
                <a:lnTo>
                  <a:pt x="42" y="324"/>
                </a:lnTo>
                <a:lnTo>
                  <a:pt x="42" y="330"/>
                </a:lnTo>
                <a:lnTo>
                  <a:pt x="42" y="330"/>
                </a:lnTo>
                <a:lnTo>
                  <a:pt x="42" y="330"/>
                </a:lnTo>
                <a:lnTo>
                  <a:pt x="42" y="336"/>
                </a:lnTo>
                <a:lnTo>
                  <a:pt x="42" y="336"/>
                </a:lnTo>
                <a:lnTo>
                  <a:pt x="42" y="336"/>
                </a:lnTo>
                <a:lnTo>
                  <a:pt x="42" y="336"/>
                </a:lnTo>
                <a:lnTo>
                  <a:pt x="42" y="342"/>
                </a:lnTo>
                <a:lnTo>
                  <a:pt x="42" y="342"/>
                </a:lnTo>
                <a:lnTo>
                  <a:pt x="48" y="342"/>
                </a:lnTo>
                <a:lnTo>
                  <a:pt x="48" y="342"/>
                </a:lnTo>
                <a:lnTo>
                  <a:pt x="48" y="348"/>
                </a:lnTo>
                <a:lnTo>
                  <a:pt x="48" y="348"/>
                </a:lnTo>
                <a:lnTo>
                  <a:pt x="42" y="348"/>
                </a:lnTo>
                <a:lnTo>
                  <a:pt x="42" y="348"/>
                </a:lnTo>
                <a:lnTo>
                  <a:pt x="42" y="354"/>
                </a:lnTo>
                <a:lnTo>
                  <a:pt x="42" y="354"/>
                </a:lnTo>
                <a:lnTo>
                  <a:pt x="42" y="354"/>
                </a:lnTo>
                <a:lnTo>
                  <a:pt x="42" y="354"/>
                </a:lnTo>
                <a:lnTo>
                  <a:pt x="42" y="354"/>
                </a:lnTo>
                <a:lnTo>
                  <a:pt x="42" y="360"/>
                </a:lnTo>
                <a:lnTo>
                  <a:pt x="42" y="360"/>
                </a:lnTo>
                <a:lnTo>
                  <a:pt x="42" y="360"/>
                </a:lnTo>
                <a:lnTo>
                  <a:pt x="42" y="360"/>
                </a:lnTo>
                <a:lnTo>
                  <a:pt x="42" y="366"/>
                </a:lnTo>
                <a:lnTo>
                  <a:pt x="42" y="366"/>
                </a:lnTo>
                <a:lnTo>
                  <a:pt x="42" y="366"/>
                </a:lnTo>
                <a:lnTo>
                  <a:pt x="42" y="366"/>
                </a:lnTo>
                <a:lnTo>
                  <a:pt x="36" y="372"/>
                </a:lnTo>
                <a:lnTo>
                  <a:pt x="36" y="378"/>
                </a:lnTo>
                <a:lnTo>
                  <a:pt x="36" y="378"/>
                </a:lnTo>
                <a:lnTo>
                  <a:pt x="36" y="378"/>
                </a:lnTo>
                <a:lnTo>
                  <a:pt x="36" y="378"/>
                </a:lnTo>
                <a:lnTo>
                  <a:pt x="42" y="384"/>
                </a:lnTo>
                <a:lnTo>
                  <a:pt x="42" y="384"/>
                </a:lnTo>
                <a:lnTo>
                  <a:pt x="42" y="384"/>
                </a:lnTo>
                <a:lnTo>
                  <a:pt x="36" y="390"/>
                </a:lnTo>
                <a:lnTo>
                  <a:pt x="36" y="390"/>
                </a:lnTo>
                <a:lnTo>
                  <a:pt x="36" y="390"/>
                </a:lnTo>
                <a:lnTo>
                  <a:pt x="36" y="390"/>
                </a:lnTo>
                <a:lnTo>
                  <a:pt x="42" y="396"/>
                </a:lnTo>
                <a:lnTo>
                  <a:pt x="42" y="396"/>
                </a:lnTo>
                <a:lnTo>
                  <a:pt x="48" y="396"/>
                </a:lnTo>
                <a:lnTo>
                  <a:pt x="48" y="396"/>
                </a:lnTo>
                <a:lnTo>
                  <a:pt x="48" y="396"/>
                </a:lnTo>
                <a:lnTo>
                  <a:pt x="48" y="402"/>
                </a:lnTo>
                <a:lnTo>
                  <a:pt x="48" y="408"/>
                </a:lnTo>
                <a:lnTo>
                  <a:pt x="54" y="408"/>
                </a:lnTo>
                <a:lnTo>
                  <a:pt x="54" y="408"/>
                </a:lnTo>
                <a:lnTo>
                  <a:pt x="54" y="408"/>
                </a:lnTo>
                <a:lnTo>
                  <a:pt x="54" y="408"/>
                </a:lnTo>
                <a:lnTo>
                  <a:pt x="54" y="414"/>
                </a:lnTo>
                <a:lnTo>
                  <a:pt x="54" y="414"/>
                </a:lnTo>
                <a:lnTo>
                  <a:pt x="54" y="414"/>
                </a:lnTo>
                <a:lnTo>
                  <a:pt x="54" y="414"/>
                </a:lnTo>
                <a:lnTo>
                  <a:pt x="48" y="408"/>
                </a:lnTo>
                <a:lnTo>
                  <a:pt x="42" y="402"/>
                </a:lnTo>
                <a:lnTo>
                  <a:pt x="42" y="402"/>
                </a:lnTo>
                <a:lnTo>
                  <a:pt x="36" y="396"/>
                </a:lnTo>
                <a:lnTo>
                  <a:pt x="36" y="396"/>
                </a:lnTo>
                <a:lnTo>
                  <a:pt x="30" y="396"/>
                </a:lnTo>
                <a:lnTo>
                  <a:pt x="24" y="396"/>
                </a:lnTo>
                <a:lnTo>
                  <a:pt x="18" y="390"/>
                </a:lnTo>
                <a:lnTo>
                  <a:pt x="18" y="390"/>
                </a:lnTo>
                <a:lnTo>
                  <a:pt x="12" y="390"/>
                </a:lnTo>
                <a:lnTo>
                  <a:pt x="12" y="390"/>
                </a:lnTo>
                <a:lnTo>
                  <a:pt x="12" y="390"/>
                </a:lnTo>
                <a:lnTo>
                  <a:pt x="12" y="390"/>
                </a:lnTo>
                <a:lnTo>
                  <a:pt x="6" y="39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00" name="Freeform 33"/>
          <p:cNvSpPr>
            <a:spLocks/>
          </p:cNvSpPr>
          <p:nvPr/>
        </p:nvSpPr>
        <p:spPr bwMode="auto">
          <a:xfrm>
            <a:off x="6691253" y="1314826"/>
            <a:ext cx="224842" cy="301933"/>
          </a:xfrm>
          <a:custGeom>
            <a:avLst/>
            <a:gdLst>
              <a:gd name="T0" fmla="*/ 24 w 210"/>
              <a:gd name="T1" fmla="*/ 36 h 282"/>
              <a:gd name="T2" fmla="*/ 54 w 210"/>
              <a:gd name="T3" fmla="*/ 36 h 282"/>
              <a:gd name="T4" fmla="*/ 72 w 210"/>
              <a:gd name="T5" fmla="*/ 30 h 282"/>
              <a:gd name="T6" fmla="*/ 84 w 210"/>
              <a:gd name="T7" fmla="*/ 30 h 282"/>
              <a:gd name="T8" fmla="*/ 108 w 210"/>
              <a:gd name="T9" fmla="*/ 24 h 282"/>
              <a:gd name="T10" fmla="*/ 132 w 210"/>
              <a:gd name="T11" fmla="*/ 24 h 282"/>
              <a:gd name="T12" fmla="*/ 144 w 210"/>
              <a:gd name="T13" fmla="*/ 12 h 282"/>
              <a:gd name="T14" fmla="*/ 162 w 210"/>
              <a:gd name="T15" fmla="*/ 0 h 282"/>
              <a:gd name="T16" fmla="*/ 174 w 210"/>
              <a:gd name="T17" fmla="*/ 12 h 282"/>
              <a:gd name="T18" fmla="*/ 180 w 210"/>
              <a:gd name="T19" fmla="*/ 12 h 282"/>
              <a:gd name="T20" fmla="*/ 186 w 210"/>
              <a:gd name="T21" fmla="*/ 18 h 282"/>
              <a:gd name="T22" fmla="*/ 192 w 210"/>
              <a:gd name="T23" fmla="*/ 24 h 282"/>
              <a:gd name="T24" fmla="*/ 162 w 210"/>
              <a:gd name="T25" fmla="*/ 60 h 282"/>
              <a:gd name="T26" fmla="*/ 156 w 210"/>
              <a:gd name="T27" fmla="*/ 78 h 282"/>
              <a:gd name="T28" fmla="*/ 138 w 210"/>
              <a:gd name="T29" fmla="*/ 96 h 282"/>
              <a:gd name="T30" fmla="*/ 132 w 210"/>
              <a:gd name="T31" fmla="*/ 108 h 282"/>
              <a:gd name="T32" fmla="*/ 126 w 210"/>
              <a:gd name="T33" fmla="*/ 114 h 282"/>
              <a:gd name="T34" fmla="*/ 120 w 210"/>
              <a:gd name="T35" fmla="*/ 126 h 282"/>
              <a:gd name="T36" fmla="*/ 114 w 210"/>
              <a:gd name="T37" fmla="*/ 132 h 282"/>
              <a:gd name="T38" fmla="*/ 114 w 210"/>
              <a:gd name="T39" fmla="*/ 132 h 282"/>
              <a:gd name="T40" fmla="*/ 114 w 210"/>
              <a:gd name="T41" fmla="*/ 144 h 282"/>
              <a:gd name="T42" fmla="*/ 108 w 210"/>
              <a:gd name="T43" fmla="*/ 144 h 282"/>
              <a:gd name="T44" fmla="*/ 108 w 210"/>
              <a:gd name="T45" fmla="*/ 144 h 282"/>
              <a:gd name="T46" fmla="*/ 102 w 210"/>
              <a:gd name="T47" fmla="*/ 150 h 282"/>
              <a:gd name="T48" fmla="*/ 102 w 210"/>
              <a:gd name="T49" fmla="*/ 150 h 282"/>
              <a:gd name="T50" fmla="*/ 96 w 210"/>
              <a:gd name="T51" fmla="*/ 156 h 282"/>
              <a:gd name="T52" fmla="*/ 90 w 210"/>
              <a:gd name="T53" fmla="*/ 162 h 282"/>
              <a:gd name="T54" fmla="*/ 90 w 210"/>
              <a:gd name="T55" fmla="*/ 180 h 282"/>
              <a:gd name="T56" fmla="*/ 72 w 210"/>
              <a:gd name="T57" fmla="*/ 192 h 282"/>
              <a:gd name="T58" fmla="*/ 78 w 210"/>
              <a:gd name="T59" fmla="*/ 210 h 282"/>
              <a:gd name="T60" fmla="*/ 84 w 210"/>
              <a:gd name="T61" fmla="*/ 228 h 282"/>
              <a:gd name="T62" fmla="*/ 84 w 210"/>
              <a:gd name="T63" fmla="*/ 240 h 282"/>
              <a:gd name="T64" fmla="*/ 72 w 210"/>
              <a:gd name="T65" fmla="*/ 246 h 282"/>
              <a:gd name="T66" fmla="*/ 72 w 210"/>
              <a:gd name="T67" fmla="*/ 258 h 282"/>
              <a:gd name="T68" fmla="*/ 66 w 210"/>
              <a:gd name="T69" fmla="*/ 258 h 282"/>
              <a:gd name="T70" fmla="*/ 60 w 210"/>
              <a:gd name="T71" fmla="*/ 264 h 282"/>
              <a:gd name="T72" fmla="*/ 54 w 210"/>
              <a:gd name="T73" fmla="*/ 270 h 282"/>
              <a:gd name="T74" fmla="*/ 48 w 210"/>
              <a:gd name="T75" fmla="*/ 276 h 282"/>
              <a:gd name="T76" fmla="*/ 36 w 210"/>
              <a:gd name="T77" fmla="*/ 276 h 282"/>
              <a:gd name="T78" fmla="*/ 30 w 210"/>
              <a:gd name="T79" fmla="*/ 282 h 282"/>
              <a:gd name="T80" fmla="*/ 24 w 210"/>
              <a:gd name="T81" fmla="*/ 276 h 282"/>
              <a:gd name="T82" fmla="*/ 36 w 210"/>
              <a:gd name="T83" fmla="*/ 270 h 282"/>
              <a:gd name="T84" fmla="*/ 36 w 210"/>
              <a:gd name="T85" fmla="*/ 270 h 282"/>
              <a:gd name="T86" fmla="*/ 42 w 210"/>
              <a:gd name="T87" fmla="*/ 258 h 282"/>
              <a:gd name="T88" fmla="*/ 42 w 210"/>
              <a:gd name="T89" fmla="*/ 252 h 282"/>
              <a:gd name="T90" fmla="*/ 36 w 210"/>
              <a:gd name="T91" fmla="*/ 246 h 282"/>
              <a:gd name="T92" fmla="*/ 30 w 210"/>
              <a:gd name="T93" fmla="*/ 234 h 282"/>
              <a:gd name="T94" fmla="*/ 24 w 210"/>
              <a:gd name="T95" fmla="*/ 222 h 282"/>
              <a:gd name="T96" fmla="*/ 24 w 210"/>
              <a:gd name="T97" fmla="*/ 210 h 282"/>
              <a:gd name="T98" fmla="*/ 30 w 210"/>
              <a:gd name="T99" fmla="*/ 204 h 282"/>
              <a:gd name="T100" fmla="*/ 30 w 210"/>
              <a:gd name="T101" fmla="*/ 192 h 282"/>
              <a:gd name="T102" fmla="*/ 36 w 210"/>
              <a:gd name="T103" fmla="*/ 174 h 282"/>
              <a:gd name="T104" fmla="*/ 24 w 210"/>
              <a:gd name="T105" fmla="*/ 156 h 282"/>
              <a:gd name="T106" fmla="*/ 24 w 210"/>
              <a:gd name="T107" fmla="*/ 138 h 282"/>
              <a:gd name="T108" fmla="*/ 12 w 210"/>
              <a:gd name="T109" fmla="*/ 132 h 282"/>
              <a:gd name="T110" fmla="*/ 6 w 210"/>
              <a:gd name="T111" fmla="*/ 114 h 282"/>
              <a:gd name="T112" fmla="*/ 6 w 210"/>
              <a:gd name="T113" fmla="*/ 96 h 282"/>
              <a:gd name="T114" fmla="*/ 6 w 210"/>
              <a:gd name="T115" fmla="*/ 84 h 282"/>
              <a:gd name="T116" fmla="*/ 12 w 210"/>
              <a:gd name="T117" fmla="*/ 72 h 282"/>
              <a:gd name="T118" fmla="*/ 12 w 210"/>
              <a:gd name="T119" fmla="*/ 60 h 282"/>
              <a:gd name="T120" fmla="*/ 12 w 210"/>
              <a:gd name="T121" fmla="*/ 48 h 282"/>
              <a:gd name="T122" fmla="*/ 6 w 210"/>
              <a:gd name="T123" fmla="*/ 42 h 2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10" h="282">
                <a:moveTo>
                  <a:pt x="0" y="36"/>
                </a:moveTo>
                <a:lnTo>
                  <a:pt x="6" y="36"/>
                </a:lnTo>
                <a:lnTo>
                  <a:pt x="12" y="36"/>
                </a:lnTo>
                <a:lnTo>
                  <a:pt x="18" y="36"/>
                </a:lnTo>
                <a:lnTo>
                  <a:pt x="18" y="36"/>
                </a:lnTo>
                <a:lnTo>
                  <a:pt x="24" y="36"/>
                </a:lnTo>
                <a:lnTo>
                  <a:pt x="36" y="42"/>
                </a:lnTo>
                <a:lnTo>
                  <a:pt x="42" y="42"/>
                </a:lnTo>
                <a:lnTo>
                  <a:pt x="48" y="42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42"/>
                </a:lnTo>
                <a:lnTo>
                  <a:pt x="60" y="42"/>
                </a:lnTo>
                <a:lnTo>
                  <a:pt x="60" y="36"/>
                </a:lnTo>
                <a:lnTo>
                  <a:pt x="66" y="36"/>
                </a:lnTo>
                <a:lnTo>
                  <a:pt x="66" y="30"/>
                </a:lnTo>
                <a:lnTo>
                  <a:pt x="72" y="30"/>
                </a:lnTo>
                <a:lnTo>
                  <a:pt x="72" y="30"/>
                </a:lnTo>
                <a:lnTo>
                  <a:pt x="72" y="36"/>
                </a:lnTo>
                <a:lnTo>
                  <a:pt x="78" y="36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90" y="30"/>
                </a:lnTo>
                <a:lnTo>
                  <a:pt x="96" y="24"/>
                </a:lnTo>
                <a:lnTo>
                  <a:pt x="96" y="24"/>
                </a:lnTo>
                <a:lnTo>
                  <a:pt x="102" y="24"/>
                </a:lnTo>
                <a:lnTo>
                  <a:pt x="102" y="24"/>
                </a:lnTo>
                <a:lnTo>
                  <a:pt x="108" y="24"/>
                </a:lnTo>
                <a:lnTo>
                  <a:pt x="120" y="24"/>
                </a:lnTo>
                <a:lnTo>
                  <a:pt x="120" y="24"/>
                </a:lnTo>
                <a:lnTo>
                  <a:pt x="126" y="24"/>
                </a:lnTo>
                <a:lnTo>
                  <a:pt x="126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18"/>
                </a:lnTo>
                <a:lnTo>
                  <a:pt x="138" y="18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6"/>
                </a:lnTo>
                <a:lnTo>
                  <a:pt x="150" y="6"/>
                </a:lnTo>
                <a:lnTo>
                  <a:pt x="156" y="6"/>
                </a:lnTo>
                <a:lnTo>
                  <a:pt x="162" y="0"/>
                </a:lnTo>
                <a:lnTo>
                  <a:pt x="168" y="0"/>
                </a:lnTo>
                <a:lnTo>
                  <a:pt x="168" y="0"/>
                </a:lnTo>
                <a:lnTo>
                  <a:pt x="174" y="6"/>
                </a:lnTo>
                <a:lnTo>
                  <a:pt x="174" y="6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80" y="12"/>
                </a:lnTo>
                <a:lnTo>
                  <a:pt x="180" y="12"/>
                </a:lnTo>
                <a:lnTo>
                  <a:pt x="180" y="12"/>
                </a:lnTo>
                <a:lnTo>
                  <a:pt x="180" y="12"/>
                </a:lnTo>
                <a:lnTo>
                  <a:pt x="180" y="12"/>
                </a:lnTo>
                <a:lnTo>
                  <a:pt x="180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92" y="24"/>
                </a:lnTo>
                <a:lnTo>
                  <a:pt x="192" y="24"/>
                </a:lnTo>
                <a:lnTo>
                  <a:pt x="192" y="24"/>
                </a:lnTo>
                <a:lnTo>
                  <a:pt x="192" y="24"/>
                </a:lnTo>
                <a:lnTo>
                  <a:pt x="210" y="24"/>
                </a:lnTo>
                <a:lnTo>
                  <a:pt x="162" y="54"/>
                </a:lnTo>
                <a:lnTo>
                  <a:pt x="162" y="54"/>
                </a:lnTo>
                <a:lnTo>
                  <a:pt x="162" y="60"/>
                </a:lnTo>
                <a:lnTo>
                  <a:pt x="168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6"/>
                </a:lnTo>
                <a:lnTo>
                  <a:pt x="156" y="72"/>
                </a:lnTo>
                <a:lnTo>
                  <a:pt x="156" y="72"/>
                </a:lnTo>
                <a:lnTo>
                  <a:pt x="156" y="72"/>
                </a:lnTo>
                <a:lnTo>
                  <a:pt x="156" y="78"/>
                </a:lnTo>
                <a:lnTo>
                  <a:pt x="156" y="84"/>
                </a:lnTo>
                <a:lnTo>
                  <a:pt x="150" y="84"/>
                </a:lnTo>
                <a:lnTo>
                  <a:pt x="150" y="90"/>
                </a:lnTo>
                <a:lnTo>
                  <a:pt x="144" y="90"/>
                </a:lnTo>
                <a:lnTo>
                  <a:pt x="144" y="90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102"/>
                </a:lnTo>
                <a:lnTo>
                  <a:pt x="132" y="102"/>
                </a:lnTo>
                <a:lnTo>
                  <a:pt x="132" y="102"/>
                </a:lnTo>
                <a:lnTo>
                  <a:pt x="132" y="108"/>
                </a:lnTo>
                <a:lnTo>
                  <a:pt x="126" y="108"/>
                </a:lnTo>
                <a:lnTo>
                  <a:pt x="126" y="108"/>
                </a:lnTo>
                <a:lnTo>
                  <a:pt x="126" y="108"/>
                </a:lnTo>
                <a:lnTo>
                  <a:pt x="126" y="114"/>
                </a:lnTo>
                <a:lnTo>
                  <a:pt x="126" y="114"/>
                </a:lnTo>
                <a:lnTo>
                  <a:pt x="126" y="114"/>
                </a:lnTo>
                <a:lnTo>
                  <a:pt x="120" y="114"/>
                </a:lnTo>
                <a:lnTo>
                  <a:pt x="120" y="114"/>
                </a:lnTo>
                <a:lnTo>
                  <a:pt x="126" y="120"/>
                </a:lnTo>
                <a:lnTo>
                  <a:pt x="120" y="126"/>
                </a:lnTo>
                <a:lnTo>
                  <a:pt x="126" y="126"/>
                </a:lnTo>
                <a:lnTo>
                  <a:pt x="120" y="126"/>
                </a:lnTo>
                <a:lnTo>
                  <a:pt x="120" y="126"/>
                </a:lnTo>
                <a:lnTo>
                  <a:pt x="120" y="132"/>
                </a:lnTo>
                <a:lnTo>
                  <a:pt x="120" y="132"/>
                </a:lnTo>
                <a:lnTo>
                  <a:pt x="114" y="132"/>
                </a:lnTo>
                <a:lnTo>
                  <a:pt x="114" y="132"/>
                </a:lnTo>
                <a:lnTo>
                  <a:pt x="114" y="132"/>
                </a:lnTo>
                <a:lnTo>
                  <a:pt x="114" y="132"/>
                </a:lnTo>
                <a:lnTo>
                  <a:pt x="114" y="132"/>
                </a:lnTo>
                <a:lnTo>
                  <a:pt x="114" y="132"/>
                </a:lnTo>
                <a:lnTo>
                  <a:pt x="114" y="132"/>
                </a:lnTo>
                <a:lnTo>
                  <a:pt x="114" y="132"/>
                </a:lnTo>
                <a:lnTo>
                  <a:pt x="114" y="132"/>
                </a:lnTo>
                <a:lnTo>
                  <a:pt x="114" y="138"/>
                </a:lnTo>
                <a:lnTo>
                  <a:pt x="114" y="138"/>
                </a:lnTo>
                <a:lnTo>
                  <a:pt x="114" y="138"/>
                </a:lnTo>
                <a:lnTo>
                  <a:pt x="114" y="138"/>
                </a:lnTo>
                <a:lnTo>
                  <a:pt x="114" y="144"/>
                </a:lnTo>
                <a:lnTo>
                  <a:pt x="114" y="144"/>
                </a:lnTo>
                <a:lnTo>
                  <a:pt x="114" y="144"/>
                </a:lnTo>
                <a:lnTo>
                  <a:pt x="108" y="144"/>
                </a:lnTo>
                <a:lnTo>
                  <a:pt x="108" y="144"/>
                </a:lnTo>
                <a:lnTo>
                  <a:pt x="108" y="144"/>
                </a:lnTo>
                <a:lnTo>
                  <a:pt x="108" y="144"/>
                </a:lnTo>
                <a:lnTo>
                  <a:pt x="108" y="144"/>
                </a:lnTo>
                <a:lnTo>
                  <a:pt x="108" y="150"/>
                </a:lnTo>
                <a:lnTo>
                  <a:pt x="108" y="150"/>
                </a:lnTo>
                <a:lnTo>
                  <a:pt x="108" y="150"/>
                </a:lnTo>
                <a:lnTo>
                  <a:pt x="108" y="150"/>
                </a:lnTo>
                <a:lnTo>
                  <a:pt x="102" y="150"/>
                </a:lnTo>
                <a:lnTo>
                  <a:pt x="108" y="144"/>
                </a:lnTo>
                <a:lnTo>
                  <a:pt x="102" y="144"/>
                </a:lnTo>
                <a:lnTo>
                  <a:pt x="102" y="144"/>
                </a:lnTo>
                <a:lnTo>
                  <a:pt x="102" y="144"/>
                </a:lnTo>
                <a:lnTo>
                  <a:pt x="102" y="150"/>
                </a:lnTo>
                <a:lnTo>
                  <a:pt x="102" y="150"/>
                </a:lnTo>
                <a:lnTo>
                  <a:pt x="102" y="150"/>
                </a:lnTo>
                <a:lnTo>
                  <a:pt x="102" y="150"/>
                </a:lnTo>
                <a:lnTo>
                  <a:pt x="102" y="150"/>
                </a:lnTo>
                <a:lnTo>
                  <a:pt x="102" y="150"/>
                </a:lnTo>
                <a:lnTo>
                  <a:pt x="102" y="150"/>
                </a:lnTo>
                <a:lnTo>
                  <a:pt x="102" y="150"/>
                </a:lnTo>
                <a:lnTo>
                  <a:pt x="102" y="150"/>
                </a:lnTo>
                <a:lnTo>
                  <a:pt x="102" y="150"/>
                </a:lnTo>
                <a:lnTo>
                  <a:pt x="96" y="150"/>
                </a:lnTo>
                <a:lnTo>
                  <a:pt x="96" y="156"/>
                </a:lnTo>
                <a:lnTo>
                  <a:pt x="96" y="156"/>
                </a:lnTo>
                <a:lnTo>
                  <a:pt x="96" y="156"/>
                </a:lnTo>
                <a:lnTo>
                  <a:pt x="96" y="156"/>
                </a:lnTo>
                <a:lnTo>
                  <a:pt x="90" y="156"/>
                </a:lnTo>
                <a:lnTo>
                  <a:pt x="90" y="156"/>
                </a:lnTo>
                <a:lnTo>
                  <a:pt x="90" y="162"/>
                </a:lnTo>
                <a:lnTo>
                  <a:pt x="90" y="162"/>
                </a:lnTo>
                <a:lnTo>
                  <a:pt x="90" y="162"/>
                </a:lnTo>
                <a:lnTo>
                  <a:pt x="90" y="162"/>
                </a:lnTo>
                <a:lnTo>
                  <a:pt x="90" y="168"/>
                </a:lnTo>
                <a:lnTo>
                  <a:pt x="90" y="168"/>
                </a:lnTo>
                <a:lnTo>
                  <a:pt x="90" y="174"/>
                </a:lnTo>
                <a:lnTo>
                  <a:pt x="90" y="174"/>
                </a:lnTo>
                <a:lnTo>
                  <a:pt x="90" y="180"/>
                </a:lnTo>
                <a:lnTo>
                  <a:pt x="90" y="180"/>
                </a:lnTo>
                <a:lnTo>
                  <a:pt x="84" y="180"/>
                </a:lnTo>
                <a:lnTo>
                  <a:pt x="84" y="180"/>
                </a:lnTo>
                <a:lnTo>
                  <a:pt x="78" y="186"/>
                </a:lnTo>
                <a:lnTo>
                  <a:pt x="78" y="186"/>
                </a:lnTo>
                <a:lnTo>
                  <a:pt x="72" y="186"/>
                </a:lnTo>
                <a:lnTo>
                  <a:pt x="72" y="192"/>
                </a:lnTo>
                <a:lnTo>
                  <a:pt x="72" y="192"/>
                </a:lnTo>
                <a:lnTo>
                  <a:pt x="66" y="192"/>
                </a:lnTo>
                <a:lnTo>
                  <a:pt x="66" y="198"/>
                </a:lnTo>
                <a:lnTo>
                  <a:pt x="66" y="198"/>
                </a:lnTo>
                <a:lnTo>
                  <a:pt x="72" y="204"/>
                </a:lnTo>
                <a:lnTo>
                  <a:pt x="78" y="210"/>
                </a:lnTo>
                <a:lnTo>
                  <a:pt x="78" y="210"/>
                </a:lnTo>
                <a:lnTo>
                  <a:pt x="78" y="210"/>
                </a:lnTo>
                <a:lnTo>
                  <a:pt x="78" y="216"/>
                </a:lnTo>
                <a:lnTo>
                  <a:pt x="78" y="216"/>
                </a:lnTo>
                <a:lnTo>
                  <a:pt x="78" y="216"/>
                </a:lnTo>
                <a:lnTo>
                  <a:pt x="84" y="228"/>
                </a:lnTo>
                <a:lnTo>
                  <a:pt x="84" y="228"/>
                </a:lnTo>
                <a:lnTo>
                  <a:pt x="84" y="228"/>
                </a:lnTo>
                <a:lnTo>
                  <a:pt x="84" y="234"/>
                </a:lnTo>
                <a:lnTo>
                  <a:pt x="84" y="234"/>
                </a:lnTo>
                <a:lnTo>
                  <a:pt x="84" y="240"/>
                </a:lnTo>
                <a:lnTo>
                  <a:pt x="84" y="240"/>
                </a:lnTo>
                <a:lnTo>
                  <a:pt x="90" y="240"/>
                </a:lnTo>
                <a:lnTo>
                  <a:pt x="90" y="240"/>
                </a:lnTo>
                <a:lnTo>
                  <a:pt x="90" y="240"/>
                </a:lnTo>
                <a:lnTo>
                  <a:pt x="90" y="246"/>
                </a:lnTo>
                <a:lnTo>
                  <a:pt x="90" y="246"/>
                </a:lnTo>
                <a:lnTo>
                  <a:pt x="72" y="246"/>
                </a:lnTo>
                <a:lnTo>
                  <a:pt x="72" y="246"/>
                </a:lnTo>
                <a:lnTo>
                  <a:pt x="72" y="246"/>
                </a:lnTo>
                <a:lnTo>
                  <a:pt x="72" y="252"/>
                </a:lnTo>
                <a:lnTo>
                  <a:pt x="72" y="252"/>
                </a:lnTo>
                <a:lnTo>
                  <a:pt x="72" y="252"/>
                </a:lnTo>
                <a:lnTo>
                  <a:pt x="72" y="258"/>
                </a:lnTo>
                <a:lnTo>
                  <a:pt x="72" y="258"/>
                </a:lnTo>
                <a:lnTo>
                  <a:pt x="72" y="258"/>
                </a:lnTo>
                <a:lnTo>
                  <a:pt x="72" y="258"/>
                </a:lnTo>
                <a:lnTo>
                  <a:pt x="66" y="258"/>
                </a:lnTo>
                <a:lnTo>
                  <a:pt x="66" y="258"/>
                </a:lnTo>
                <a:lnTo>
                  <a:pt x="66" y="258"/>
                </a:lnTo>
                <a:lnTo>
                  <a:pt x="66" y="258"/>
                </a:lnTo>
                <a:lnTo>
                  <a:pt x="66" y="264"/>
                </a:lnTo>
                <a:lnTo>
                  <a:pt x="66" y="258"/>
                </a:lnTo>
                <a:lnTo>
                  <a:pt x="66" y="264"/>
                </a:lnTo>
                <a:lnTo>
                  <a:pt x="66" y="264"/>
                </a:lnTo>
                <a:lnTo>
                  <a:pt x="60" y="264"/>
                </a:lnTo>
                <a:lnTo>
                  <a:pt x="60" y="264"/>
                </a:lnTo>
                <a:lnTo>
                  <a:pt x="60" y="270"/>
                </a:lnTo>
                <a:lnTo>
                  <a:pt x="60" y="270"/>
                </a:lnTo>
                <a:lnTo>
                  <a:pt x="60" y="270"/>
                </a:lnTo>
                <a:lnTo>
                  <a:pt x="60" y="270"/>
                </a:lnTo>
                <a:lnTo>
                  <a:pt x="54" y="270"/>
                </a:lnTo>
                <a:lnTo>
                  <a:pt x="54" y="270"/>
                </a:lnTo>
                <a:lnTo>
                  <a:pt x="54" y="270"/>
                </a:lnTo>
                <a:lnTo>
                  <a:pt x="48" y="270"/>
                </a:lnTo>
                <a:lnTo>
                  <a:pt x="48" y="270"/>
                </a:lnTo>
                <a:lnTo>
                  <a:pt x="48" y="270"/>
                </a:lnTo>
                <a:lnTo>
                  <a:pt x="48" y="276"/>
                </a:lnTo>
                <a:lnTo>
                  <a:pt x="42" y="276"/>
                </a:lnTo>
                <a:lnTo>
                  <a:pt x="42" y="276"/>
                </a:lnTo>
                <a:lnTo>
                  <a:pt x="42" y="276"/>
                </a:lnTo>
                <a:lnTo>
                  <a:pt x="42" y="276"/>
                </a:lnTo>
                <a:lnTo>
                  <a:pt x="42" y="276"/>
                </a:lnTo>
                <a:lnTo>
                  <a:pt x="36" y="276"/>
                </a:lnTo>
                <a:lnTo>
                  <a:pt x="36" y="276"/>
                </a:lnTo>
                <a:lnTo>
                  <a:pt x="36" y="276"/>
                </a:lnTo>
                <a:lnTo>
                  <a:pt x="36" y="276"/>
                </a:lnTo>
                <a:lnTo>
                  <a:pt x="36" y="276"/>
                </a:lnTo>
                <a:lnTo>
                  <a:pt x="30" y="276"/>
                </a:lnTo>
                <a:lnTo>
                  <a:pt x="30" y="282"/>
                </a:lnTo>
                <a:lnTo>
                  <a:pt x="30" y="276"/>
                </a:lnTo>
                <a:lnTo>
                  <a:pt x="24" y="282"/>
                </a:lnTo>
                <a:lnTo>
                  <a:pt x="24" y="282"/>
                </a:lnTo>
                <a:lnTo>
                  <a:pt x="24" y="276"/>
                </a:lnTo>
                <a:lnTo>
                  <a:pt x="30" y="276"/>
                </a:lnTo>
                <a:lnTo>
                  <a:pt x="24" y="276"/>
                </a:lnTo>
                <a:lnTo>
                  <a:pt x="30" y="276"/>
                </a:lnTo>
                <a:lnTo>
                  <a:pt x="30" y="276"/>
                </a:lnTo>
                <a:lnTo>
                  <a:pt x="30" y="270"/>
                </a:lnTo>
                <a:lnTo>
                  <a:pt x="30" y="270"/>
                </a:lnTo>
                <a:lnTo>
                  <a:pt x="30" y="270"/>
                </a:lnTo>
                <a:lnTo>
                  <a:pt x="36" y="270"/>
                </a:lnTo>
                <a:lnTo>
                  <a:pt x="36" y="270"/>
                </a:lnTo>
                <a:lnTo>
                  <a:pt x="36" y="270"/>
                </a:lnTo>
                <a:lnTo>
                  <a:pt x="36" y="270"/>
                </a:lnTo>
                <a:lnTo>
                  <a:pt x="36" y="270"/>
                </a:lnTo>
                <a:lnTo>
                  <a:pt x="36" y="270"/>
                </a:lnTo>
                <a:lnTo>
                  <a:pt x="36" y="270"/>
                </a:lnTo>
                <a:lnTo>
                  <a:pt x="42" y="270"/>
                </a:lnTo>
                <a:lnTo>
                  <a:pt x="42" y="264"/>
                </a:lnTo>
                <a:lnTo>
                  <a:pt x="42" y="264"/>
                </a:lnTo>
                <a:lnTo>
                  <a:pt x="42" y="258"/>
                </a:lnTo>
                <a:lnTo>
                  <a:pt x="42" y="258"/>
                </a:lnTo>
                <a:lnTo>
                  <a:pt x="42" y="258"/>
                </a:lnTo>
                <a:lnTo>
                  <a:pt x="42" y="258"/>
                </a:lnTo>
                <a:lnTo>
                  <a:pt x="42" y="258"/>
                </a:lnTo>
                <a:lnTo>
                  <a:pt x="42" y="252"/>
                </a:lnTo>
                <a:lnTo>
                  <a:pt x="42" y="252"/>
                </a:lnTo>
                <a:lnTo>
                  <a:pt x="42" y="252"/>
                </a:lnTo>
                <a:lnTo>
                  <a:pt x="42" y="252"/>
                </a:lnTo>
                <a:lnTo>
                  <a:pt x="42" y="252"/>
                </a:lnTo>
                <a:lnTo>
                  <a:pt x="42" y="246"/>
                </a:lnTo>
                <a:lnTo>
                  <a:pt x="42" y="246"/>
                </a:lnTo>
                <a:lnTo>
                  <a:pt x="42" y="246"/>
                </a:lnTo>
                <a:lnTo>
                  <a:pt x="36" y="246"/>
                </a:lnTo>
                <a:lnTo>
                  <a:pt x="36" y="246"/>
                </a:lnTo>
                <a:lnTo>
                  <a:pt x="36" y="246"/>
                </a:lnTo>
                <a:lnTo>
                  <a:pt x="36" y="240"/>
                </a:lnTo>
                <a:lnTo>
                  <a:pt x="30" y="240"/>
                </a:lnTo>
                <a:lnTo>
                  <a:pt x="30" y="240"/>
                </a:lnTo>
                <a:lnTo>
                  <a:pt x="30" y="234"/>
                </a:lnTo>
                <a:lnTo>
                  <a:pt x="30" y="234"/>
                </a:lnTo>
                <a:lnTo>
                  <a:pt x="30" y="228"/>
                </a:lnTo>
                <a:lnTo>
                  <a:pt x="30" y="228"/>
                </a:lnTo>
                <a:lnTo>
                  <a:pt x="30" y="222"/>
                </a:lnTo>
                <a:lnTo>
                  <a:pt x="30" y="222"/>
                </a:lnTo>
                <a:lnTo>
                  <a:pt x="30" y="222"/>
                </a:lnTo>
                <a:lnTo>
                  <a:pt x="24" y="222"/>
                </a:lnTo>
                <a:lnTo>
                  <a:pt x="24" y="222"/>
                </a:lnTo>
                <a:lnTo>
                  <a:pt x="24" y="216"/>
                </a:lnTo>
                <a:lnTo>
                  <a:pt x="24" y="216"/>
                </a:lnTo>
                <a:lnTo>
                  <a:pt x="24" y="216"/>
                </a:lnTo>
                <a:lnTo>
                  <a:pt x="24" y="216"/>
                </a:lnTo>
                <a:lnTo>
                  <a:pt x="24" y="210"/>
                </a:lnTo>
                <a:lnTo>
                  <a:pt x="24" y="210"/>
                </a:lnTo>
                <a:lnTo>
                  <a:pt x="24" y="210"/>
                </a:lnTo>
                <a:lnTo>
                  <a:pt x="30" y="204"/>
                </a:lnTo>
                <a:lnTo>
                  <a:pt x="30" y="204"/>
                </a:lnTo>
                <a:lnTo>
                  <a:pt x="30" y="204"/>
                </a:lnTo>
                <a:lnTo>
                  <a:pt x="30" y="204"/>
                </a:lnTo>
                <a:lnTo>
                  <a:pt x="30" y="198"/>
                </a:lnTo>
                <a:lnTo>
                  <a:pt x="30" y="198"/>
                </a:lnTo>
                <a:lnTo>
                  <a:pt x="30" y="198"/>
                </a:lnTo>
                <a:lnTo>
                  <a:pt x="30" y="198"/>
                </a:lnTo>
                <a:lnTo>
                  <a:pt x="30" y="192"/>
                </a:lnTo>
                <a:lnTo>
                  <a:pt x="30" y="192"/>
                </a:lnTo>
                <a:lnTo>
                  <a:pt x="30" y="192"/>
                </a:lnTo>
                <a:lnTo>
                  <a:pt x="30" y="192"/>
                </a:lnTo>
                <a:lnTo>
                  <a:pt x="30" y="192"/>
                </a:lnTo>
                <a:lnTo>
                  <a:pt x="36" y="186"/>
                </a:lnTo>
                <a:lnTo>
                  <a:pt x="42" y="186"/>
                </a:lnTo>
                <a:lnTo>
                  <a:pt x="36" y="174"/>
                </a:lnTo>
                <a:lnTo>
                  <a:pt x="36" y="174"/>
                </a:lnTo>
                <a:lnTo>
                  <a:pt x="36" y="168"/>
                </a:lnTo>
                <a:lnTo>
                  <a:pt x="30" y="168"/>
                </a:lnTo>
                <a:lnTo>
                  <a:pt x="30" y="162"/>
                </a:lnTo>
                <a:lnTo>
                  <a:pt x="24" y="162"/>
                </a:lnTo>
                <a:lnTo>
                  <a:pt x="24" y="156"/>
                </a:lnTo>
                <a:lnTo>
                  <a:pt x="24" y="150"/>
                </a:lnTo>
                <a:lnTo>
                  <a:pt x="24" y="150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38"/>
                </a:lnTo>
                <a:lnTo>
                  <a:pt x="24" y="132"/>
                </a:lnTo>
                <a:lnTo>
                  <a:pt x="24" y="132"/>
                </a:lnTo>
                <a:lnTo>
                  <a:pt x="18" y="126"/>
                </a:lnTo>
                <a:lnTo>
                  <a:pt x="18" y="126"/>
                </a:lnTo>
                <a:lnTo>
                  <a:pt x="12" y="132"/>
                </a:lnTo>
                <a:lnTo>
                  <a:pt x="12" y="132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0"/>
                </a:lnTo>
                <a:lnTo>
                  <a:pt x="6" y="114"/>
                </a:lnTo>
                <a:lnTo>
                  <a:pt x="6" y="114"/>
                </a:lnTo>
                <a:lnTo>
                  <a:pt x="6" y="108"/>
                </a:lnTo>
                <a:lnTo>
                  <a:pt x="6" y="108"/>
                </a:lnTo>
                <a:lnTo>
                  <a:pt x="6" y="102"/>
                </a:lnTo>
                <a:lnTo>
                  <a:pt x="6" y="102"/>
                </a:lnTo>
                <a:lnTo>
                  <a:pt x="6" y="96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78"/>
                </a:lnTo>
                <a:lnTo>
                  <a:pt x="12" y="78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66"/>
                </a:lnTo>
                <a:lnTo>
                  <a:pt x="6" y="66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0" y="42"/>
                </a:lnTo>
                <a:lnTo>
                  <a:pt x="0" y="3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01" name="Freeform 34"/>
          <p:cNvSpPr>
            <a:spLocks/>
          </p:cNvSpPr>
          <p:nvPr/>
        </p:nvSpPr>
        <p:spPr bwMode="auto">
          <a:xfrm>
            <a:off x="6768341" y="1436884"/>
            <a:ext cx="443259" cy="411142"/>
          </a:xfrm>
          <a:custGeom>
            <a:avLst/>
            <a:gdLst>
              <a:gd name="T0" fmla="*/ 66 w 414"/>
              <a:gd name="T1" fmla="*/ 222 h 384"/>
              <a:gd name="T2" fmla="*/ 66 w 414"/>
              <a:gd name="T3" fmla="*/ 204 h 384"/>
              <a:gd name="T4" fmla="*/ 60 w 414"/>
              <a:gd name="T5" fmla="*/ 186 h 384"/>
              <a:gd name="T6" fmla="*/ 42 w 414"/>
              <a:gd name="T7" fmla="*/ 180 h 384"/>
              <a:gd name="T8" fmla="*/ 54 w 414"/>
              <a:gd name="T9" fmla="*/ 156 h 384"/>
              <a:gd name="T10" fmla="*/ 78 w 414"/>
              <a:gd name="T11" fmla="*/ 150 h 384"/>
              <a:gd name="T12" fmla="*/ 96 w 414"/>
              <a:gd name="T13" fmla="*/ 150 h 384"/>
              <a:gd name="T14" fmla="*/ 102 w 414"/>
              <a:gd name="T15" fmla="*/ 138 h 384"/>
              <a:gd name="T16" fmla="*/ 114 w 414"/>
              <a:gd name="T17" fmla="*/ 126 h 384"/>
              <a:gd name="T18" fmla="*/ 120 w 414"/>
              <a:gd name="T19" fmla="*/ 126 h 384"/>
              <a:gd name="T20" fmla="*/ 132 w 414"/>
              <a:gd name="T21" fmla="*/ 120 h 384"/>
              <a:gd name="T22" fmla="*/ 150 w 414"/>
              <a:gd name="T23" fmla="*/ 114 h 384"/>
              <a:gd name="T24" fmla="*/ 156 w 414"/>
              <a:gd name="T25" fmla="*/ 114 h 384"/>
              <a:gd name="T26" fmla="*/ 162 w 414"/>
              <a:gd name="T27" fmla="*/ 108 h 384"/>
              <a:gd name="T28" fmla="*/ 180 w 414"/>
              <a:gd name="T29" fmla="*/ 108 h 384"/>
              <a:gd name="T30" fmla="*/ 192 w 414"/>
              <a:gd name="T31" fmla="*/ 102 h 384"/>
              <a:gd name="T32" fmla="*/ 198 w 414"/>
              <a:gd name="T33" fmla="*/ 96 h 384"/>
              <a:gd name="T34" fmla="*/ 210 w 414"/>
              <a:gd name="T35" fmla="*/ 90 h 384"/>
              <a:gd name="T36" fmla="*/ 222 w 414"/>
              <a:gd name="T37" fmla="*/ 84 h 384"/>
              <a:gd name="T38" fmla="*/ 234 w 414"/>
              <a:gd name="T39" fmla="*/ 72 h 384"/>
              <a:gd name="T40" fmla="*/ 228 w 414"/>
              <a:gd name="T41" fmla="*/ 60 h 384"/>
              <a:gd name="T42" fmla="*/ 222 w 414"/>
              <a:gd name="T43" fmla="*/ 42 h 384"/>
              <a:gd name="T44" fmla="*/ 228 w 414"/>
              <a:gd name="T45" fmla="*/ 24 h 384"/>
              <a:gd name="T46" fmla="*/ 240 w 414"/>
              <a:gd name="T47" fmla="*/ 18 h 384"/>
              <a:gd name="T48" fmla="*/ 246 w 414"/>
              <a:gd name="T49" fmla="*/ 24 h 384"/>
              <a:gd name="T50" fmla="*/ 252 w 414"/>
              <a:gd name="T51" fmla="*/ 36 h 384"/>
              <a:gd name="T52" fmla="*/ 270 w 414"/>
              <a:gd name="T53" fmla="*/ 60 h 384"/>
              <a:gd name="T54" fmla="*/ 336 w 414"/>
              <a:gd name="T55" fmla="*/ 12 h 384"/>
              <a:gd name="T56" fmla="*/ 378 w 414"/>
              <a:gd name="T57" fmla="*/ 6 h 384"/>
              <a:gd name="T58" fmla="*/ 396 w 414"/>
              <a:gd name="T59" fmla="*/ 12 h 384"/>
              <a:gd name="T60" fmla="*/ 414 w 414"/>
              <a:gd name="T61" fmla="*/ 12 h 384"/>
              <a:gd name="T62" fmla="*/ 402 w 414"/>
              <a:gd name="T63" fmla="*/ 30 h 384"/>
              <a:gd name="T64" fmla="*/ 384 w 414"/>
              <a:gd name="T65" fmla="*/ 36 h 384"/>
              <a:gd name="T66" fmla="*/ 384 w 414"/>
              <a:gd name="T67" fmla="*/ 48 h 384"/>
              <a:gd name="T68" fmla="*/ 390 w 414"/>
              <a:gd name="T69" fmla="*/ 54 h 384"/>
              <a:gd name="T70" fmla="*/ 384 w 414"/>
              <a:gd name="T71" fmla="*/ 60 h 384"/>
              <a:gd name="T72" fmla="*/ 384 w 414"/>
              <a:gd name="T73" fmla="*/ 72 h 384"/>
              <a:gd name="T74" fmla="*/ 378 w 414"/>
              <a:gd name="T75" fmla="*/ 84 h 384"/>
              <a:gd name="T76" fmla="*/ 372 w 414"/>
              <a:gd name="T77" fmla="*/ 96 h 384"/>
              <a:gd name="T78" fmla="*/ 366 w 414"/>
              <a:gd name="T79" fmla="*/ 102 h 384"/>
              <a:gd name="T80" fmla="*/ 360 w 414"/>
              <a:gd name="T81" fmla="*/ 114 h 384"/>
              <a:gd name="T82" fmla="*/ 354 w 414"/>
              <a:gd name="T83" fmla="*/ 126 h 384"/>
              <a:gd name="T84" fmla="*/ 348 w 414"/>
              <a:gd name="T85" fmla="*/ 126 h 384"/>
              <a:gd name="T86" fmla="*/ 348 w 414"/>
              <a:gd name="T87" fmla="*/ 138 h 384"/>
              <a:gd name="T88" fmla="*/ 342 w 414"/>
              <a:gd name="T89" fmla="*/ 144 h 384"/>
              <a:gd name="T90" fmla="*/ 336 w 414"/>
              <a:gd name="T91" fmla="*/ 156 h 384"/>
              <a:gd name="T92" fmla="*/ 330 w 414"/>
              <a:gd name="T93" fmla="*/ 162 h 384"/>
              <a:gd name="T94" fmla="*/ 330 w 414"/>
              <a:gd name="T95" fmla="*/ 180 h 384"/>
              <a:gd name="T96" fmla="*/ 318 w 414"/>
              <a:gd name="T97" fmla="*/ 198 h 384"/>
              <a:gd name="T98" fmla="*/ 306 w 414"/>
              <a:gd name="T99" fmla="*/ 210 h 384"/>
              <a:gd name="T100" fmla="*/ 294 w 414"/>
              <a:gd name="T101" fmla="*/ 222 h 384"/>
              <a:gd name="T102" fmla="*/ 288 w 414"/>
              <a:gd name="T103" fmla="*/ 234 h 384"/>
              <a:gd name="T104" fmla="*/ 276 w 414"/>
              <a:gd name="T105" fmla="*/ 252 h 384"/>
              <a:gd name="T106" fmla="*/ 252 w 414"/>
              <a:gd name="T107" fmla="*/ 288 h 384"/>
              <a:gd name="T108" fmla="*/ 204 w 414"/>
              <a:gd name="T109" fmla="*/ 312 h 384"/>
              <a:gd name="T110" fmla="*/ 96 w 414"/>
              <a:gd name="T111" fmla="*/ 384 h 384"/>
              <a:gd name="T112" fmla="*/ 72 w 414"/>
              <a:gd name="T113" fmla="*/ 360 h 384"/>
              <a:gd name="T114" fmla="*/ 90 w 414"/>
              <a:gd name="T115" fmla="*/ 336 h 384"/>
              <a:gd name="T116" fmla="*/ 66 w 414"/>
              <a:gd name="T117" fmla="*/ 252 h 384"/>
              <a:gd name="T118" fmla="*/ 54 w 414"/>
              <a:gd name="T119" fmla="*/ 264 h 384"/>
              <a:gd name="T120" fmla="*/ 12 w 414"/>
              <a:gd name="T121" fmla="*/ 264 h 3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14" h="384">
                <a:moveTo>
                  <a:pt x="0" y="216"/>
                </a:moveTo>
                <a:lnTo>
                  <a:pt x="12" y="216"/>
                </a:lnTo>
                <a:lnTo>
                  <a:pt x="18" y="216"/>
                </a:lnTo>
                <a:lnTo>
                  <a:pt x="24" y="216"/>
                </a:lnTo>
                <a:lnTo>
                  <a:pt x="48" y="216"/>
                </a:lnTo>
                <a:lnTo>
                  <a:pt x="48" y="216"/>
                </a:lnTo>
                <a:lnTo>
                  <a:pt x="48" y="216"/>
                </a:lnTo>
                <a:lnTo>
                  <a:pt x="54" y="210"/>
                </a:lnTo>
                <a:lnTo>
                  <a:pt x="54" y="210"/>
                </a:lnTo>
                <a:lnTo>
                  <a:pt x="60" y="210"/>
                </a:lnTo>
                <a:lnTo>
                  <a:pt x="60" y="210"/>
                </a:lnTo>
                <a:lnTo>
                  <a:pt x="60" y="216"/>
                </a:lnTo>
                <a:lnTo>
                  <a:pt x="60" y="216"/>
                </a:lnTo>
                <a:lnTo>
                  <a:pt x="66" y="222"/>
                </a:lnTo>
                <a:lnTo>
                  <a:pt x="66" y="222"/>
                </a:lnTo>
                <a:lnTo>
                  <a:pt x="66" y="222"/>
                </a:lnTo>
                <a:lnTo>
                  <a:pt x="66" y="222"/>
                </a:lnTo>
                <a:lnTo>
                  <a:pt x="72" y="222"/>
                </a:lnTo>
                <a:lnTo>
                  <a:pt x="72" y="222"/>
                </a:lnTo>
                <a:lnTo>
                  <a:pt x="72" y="222"/>
                </a:lnTo>
                <a:lnTo>
                  <a:pt x="72" y="216"/>
                </a:lnTo>
                <a:lnTo>
                  <a:pt x="66" y="216"/>
                </a:lnTo>
                <a:lnTo>
                  <a:pt x="66" y="216"/>
                </a:lnTo>
                <a:lnTo>
                  <a:pt x="66" y="210"/>
                </a:lnTo>
                <a:lnTo>
                  <a:pt x="66" y="210"/>
                </a:lnTo>
                <a:lnTo>
                  <a:pt x="66" y="210"/>
                </a:lnTo>
                <a:lnTo>
                  <a:pt x="66" y="210"/>
                </a:lnTo>
                <a:lnTo>
                  <a:pt x="66" y="210"/>
                </a:lnTo>
                <a:lnTo>
                  <a:pt x="66" y="210"/>
                </a:lnTo>
                <a:lnTo>
                  <a:pt x="66" y="210"/>
                </a:lnTo>
                <a:lnTo>
                  <a:pt x="66" y="204"/>
                </a:lnTo>
                <a:lnTo>
                  <a:pt x="66" y="204"/>
                </a:lnTo>
                <a:lnTo>
                  <a:pt x="66" y="204"/>
                </a:lnTo>
                <a:lnTo>
                  <a:pt x="60" y="204"/>
                </a:lnTo>
                <a:lnTo>
                  <a:pt x="66" y="204"/>
                </a:lnTo>
                <a:lnTo>
                  <a:pt x="60" y="204"/>
                </a:lnTo>
                <a:lnTo>
                  <a:pt x="60" y="204"/>
                </a:lnTo>
                <a:lnTo>
                  <a:pt x="60" y="198"/>
                </a:lnTo>
                <a:lnTo>
                  <a:pt x="60" y="198"/>
                </a:lnTo>
                <a:lnTo>
                  <a:pt x="60" y="198"/>
                </a:lnTo>
                <a:lnTo>
                  <a:pt x="60" y="198"/>
                </a:lnTo>
                <a:lnTo>
                  <a:pt x="60" y="198"/>
                </a:lnTo>
                <a:lnTo>
                  <a:pt x="60" y="198"/>
                </a:lnTo>
                <a:lnTo>
                  <a:pt x="60" y="198"/>
                </a:lnTo>
                <a:lnTo>
                  <a:pt x="60" y="192"/>
                </a:lnTo>
                <a:lnTo>
                  <a:pt x="60" y="192"/>
                </a:lnTo>
                <a:lnTo>
                  <a:pt x="60" y="186"/>
                </a:lnTo>
                <a:lnTo>
                  <a:pt x="60" y="186"/>
                </a:lnTo>
                <a:lnTo>
                  <a:pt x="60" y="186"/>
                </a:lnTo>
                <a:lnTo>
                  <a:pt x="60" y="186"/>
                </a:lnTo>
                <a:lnTo>
                  <a:pt x="60" y="186"/>
                </a:lnTo>
                <a:lnTo>
                  <a:pt x="54" y="186"/>
                </a:lnTo>
                <a:lnTo>
                  <a:pt x="54" y="186"/>
                </a:lnTo>
                <a:lnTo>
                  <a:pt x="54" y="186"/>
                </a:lnTo>
                <a:lnTo>
                  <a:pt x="54" y="180"/>
                </a:lnTo>
                <a:lnTo>
                  <a:pt x="54" y="180"/>
                </a:lnTo>
                <a:lnTo>
                  <a:pt x="48" y="180"/>
                </a:lnTo>
                <a:lnTo>
                  <a:pt x="48" y="180"/>
                </a:lnTo>
                <a:lnTo>
                  <a:pt x="48" y="180"/>
                </a:lnTo>
                <a:lnTo>
                  <a:pt x="48" y="180"/>
                </a:lnTo>
                <a:lnTo>
                  <a:pt x="48" y="180"/>
                </a:lnTo>
                <a:lnTo>
                  <a:pt x="42" y="180"/>
                </a:lnTo>
                <a:lnTo>
                  <a:pt x="42" y="180"/>
                </a:lnTo>
                <a:lnTo>
                  <a:pt x="42" y="180"/>
                </a:lnTo>
                <a:lnTo>
                  <a:pt x="42" y="180"/>
                </a:lnTo>
                <a:lnTo>
                  <a:pt x="42" y="180"/>
                </a:lnTo>
                <a:lnTo>
                  <a:pt x="42" y="180"/>
                </a:lnTo>
                <a:lnTo>
                  <a:pt x="42" y="174"/>
                </a:lnTo>
                <a:lnTo>
                  <a:pt x="42" y="174"/>
                </a:lnTo>
                <a:lnTo>
                  <a:pt x="42" y="168"/>
                </a:lnTo>
                <a:lnTo>
                  <a:pt x="42" y="168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8" y="162"/>
                </a:lnTo>
                <a:lnTo>
                  <a:pt x="48" y="162"/>
                </a:lnTo>
                <a:lnTo>
                  <a:pt x="48" y="156"/>
                </a:lnTo>
                <a:lnTo>
                  <a:pt x="48" y="156"/>
                </a:lnTo>
                <a:lnTo>
                  <a:pt x="54" y="156"/>
                </a:lnTo>
                <a:lnTo>
                  <a:pt x="54" y="156"/>
                </a:lnTo>
                <a:lnTo>
                  <a:pt x="54" y="156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60" y="150"/>
                </a:lnTo>
                <a:lnTo>
                  <a:pt x="60" y="150"/>
                </a:lnTo>
                <a:lnTo>
                  <a:pt x="60" y="150"/>
                </a:lnTo>
                <a:lnTo>
                  <a:pt x="66" y="156"/>
                </a:lnTo>
                <a:lnTo>
                  <a:pt x="66" y="156"/>
                </a:lnTo>
                <a:lnTo>
                  <a:pt x="72" y="156"/>
                </a:lnTo>
                <a:lnTo>
                  <a:pt x="72" y="156"/>
                </a:lnTo>
                <a:lnTo>
                  <a:pt x="72" y="156"/>
                </a:lnTo>
                <a:lnTo>
                  <a:pt x="72" y="150"/>
                </a:lnTo>
                <a:lnTo>
                  <a:pt x="78" y="150"/>
                </a:lnTo>
                <a:lnTo>
                  <a:pt x="72" y="150"/>
                </a:lnTo>
                <a:lnTo>
                  <a:pt x="78" y="150"/>
                </a:lnTo>
                <a:lnTo>
                  <a:pt x="84" y="150"/>
                </a:lnTo>
                <a:lnTo>
                  <a:pt x="84" y="150"/>
                </a:lnTo>
                <a:lnTo>
                  <a:pt x="84" y="150"/>
                </a:lnTo>
                <a:lnTo>
                  <a:pt x="90" y="150"/>
                </a:lnTo>
                <a:lnTo>
                  <a:pt x="90" y="156"/>
                </a:lnTo>
                <a:lnTo>
                  <a:pt x="90" y="150"/>
                </a:lnTo>
                <a:lnTo>
                  <a:pt x="96" y="150"/>
                </a:lnTo>
                <a:lnTo>
                  <a:pt x="96" y="150"/>
                </a:lnTo>
                <a:lnTo>
                  <a:pt x="96" y="150"/>
                </a:lnTo>
                <a:lnTo>
                  <a:pt x="96" y="150"/>
                </a:lnTo>
                <a:lnTo>
                  <a:pt x="96" y="150"/>
                </a:lnTo>
                <a:lnTo>
                  <a:pt x="96" y="150"/>
                </a:lnTo>
                <a:lnTo>
                  <a:pt x="96" y="150"/>
                </a:lnTo>
                <a:lnTo>
                  <a:pt x="96" y="150"/>
                </a:lnTo>
                <a:lnTo>
                  <a:pt x="96" y="150"/>
                </a:lnTo>
                <a:lnTo>
                  <a:pt x="96" y="150"/>
                </a:lnTo>
                <a:lnTo>
                  <a:pt x="96" y="144"/>
                </a:lnTo>
                <a:lnTo>
                  <a:pt x="96" y="144"/>
                </a:lnTo>
                <a:lnTo>
                  <a:pt x="96" y="144"/>
                </a:lnTo>
                <a:lnTo>
                  <a:pt x="96" y="144"/>
                </a:lnTo>
                <a:lnTo>
                  <a:pt x="96" y="144"/>
                </a:lnTo>
                <a:lnTo>
                  <a:pt x="96" y="144"/>
                </a:lnTo>
                <a:lnTo>
                  <a:pt x="96" y="144"/>
                </a:lnTo>
                <a:lnTo>
                  <a:pt x="102" y="144"/>
                </a:lnTo>
                <a:lnTo>
                  <a:pt x="102" y="144"/>
                </a:lnTo>
                <a:lnTo>
                  <a:pt x="96" y="138"/>
                </a:lnTo>
                <a:lnTo>
                  <a:pt x="96" y="138"/>
                </a:lnTo>
                <a:lnTo>
                  <a:pt x="96" y="138"/>
                </a:lnTo>
                <a:lnTo>
                  <a:pt x="96" y="138"/>
                </a:lnTo>
                <a:lnTo>
                  <a:pt x="102" y="138"/>
                </a:lnTo>
                <a:lnTo>
                  <a:pt x="102" y="138"/>
                </a:lnTo>
                <a:lnTo>
                  <a:pt x="102" y="138"/>
                </a:lnTo>
                <a:lnTo>
                  <a:pt x="102" y="138"/>
                </a:lnTo>
                <a:lnTo>
                  <a:pt x="102" y="138"/>
                </a:lnTo>
                <a:lnTo>
                  <a:pt x="102" y="138"/>
                </a:lnTo>
                <a:lnTo>
                  <a:pt x="102" y="138"/>
                </a:lnTo>
                <a:lnTo>
                  <a:pt x="102" y="138"/>
                </a:lnTo>
                <a:lnTo>
                  <a:pt x="102" y="132"/>
                </a:lnTo>
                <a:lnTo>
                  <a:pt x="108" y="132"/>
                </a:lnTo>
                <a:lnTo>
                  <a:pt x="108" y="132"/>
                </a:lnTo>
                <a:lnTo>
                  <a:pt x="108" y="132"/>
                </a:lnTo>
                <a:lnTo>
                  <a:pt x="108" y="132"/>
                </a:lnTo>
                <a:lnTo>
                  <a:pt x="108" y="132"/>
                </a:lnTo>
                <a:lnTo>
                  <a:pt x="108" y="132"/>
                </a:lnTo>
                <a:lnTo>
                  <a:pt x="114" y="132"/>
                </a:lnTo>
                <a:lnTo>
                  <a:pt x="114" y="126"/>
                </a:lnTo>
                <a:lnTo>
                  <a:pt x="114" y="126"/>
                </a:lnTo>
                <a:lnTo>
                  <a:pt x="114" y="126"/>
                </a:lnTo>
                <a:lnTo>
                  <a:pt x="114" y="126"/>
                </a:lnTo>
                <a:lnTo>
                  <a:pt x="114" y="126"/>
                </a:lnTo>
                <a:lnTo>
                  <a:pt x="120" y="126"/>
                </a:lnTo>
                <a:lnTo>
                  <a:pt x="120" y="126"/>
                </a:lnTo>
                <a:lnTo>
                  <a:pt x="114" y="126"/>
                </a:lnTo>
                <a:lnTo>
                  <a:pt x="114" y="126"/>
                </a:lnTo>
                <a:lnTo>
                  <a:pt x="114" y="126"/>
                </a:lnTo>
                <a:lnTo>
                  <a:pt x="114" y="120"/>
                </a:lnTo>
                <a:lnTo>
                  <a:pt x="114" y="120"/>
                </a:lnTo>
                <a:lnTo>
                  <a:pt x="120" y="120"/>
                </a:lnTo>
                <a:lnTo>
                  <a:pt x="120" y="126"/>
                </a:lnTo>
                <a:lnTo>
                  <a:pt x="120" y="126"/>
                </a:lnTo>
                <a:lnTo>
                  <a:pt x="120" y="126"/>
                </a:lnTo>
                <a:lnTo>
                  <a:pt x="120" y="126"/>
                </a:lnTo>
                <a:lnTo>
                  <a:pt x="126" y="120"/>
                </a:lnTo>
                <a:lnTo>
                  <a:pt x="126" y="126"/>
                </a:lnTo>
                <a:lnTo>
                  <a:pt x="126" y="126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32" y="120"/>
                </a:lnTo>
                <a:lnTo>
                  <a:pt x="126" y="120"/>
                </a:lnTo>
                <a:lnTo>
                  <a:pt x="132" y="120"/>
                </a:lnTo>
                <a:lnTo>
                  <a:pt x="132" y="120"/>
                </a:lnTo>
                <a:lnTo>
                  <a:pt x="132" y="120"/>
                </a:lnTo>
                <a:lnTo>
                  <a:pt x="132" y="120"/>
                </a:lnTo>
                <a:lnTo>
                  <a:pt x="132" y="120"/>
                </a:lnTo>
                <a:lnTo>
                  <a:pt x="132" y="120"/>
                </a:lnTo>
                <a:lnTo>
                  <a:pt x="132" y="120"/>
                </a:lnTo>
                <a:lnTo>
                  <a:pt x="132" y="114"/>
                </a:lnTo>
                <a:lnTo>
                  <a:pt x="132" y="114"/>
                </a:lnTo>
                <a:lnTo>
                  <a:pt x="132" y="114"/>
                </a:lnTo>
                <a:lnTo>
                  <a:pt x="138" y="114"/>
                </a:lnTo>
                <a:lnTo>
                  <a:pt x="138" y="114"/>
                </a:lnTo>
                <a:lnTo>
                  <a:pt x="144" y="114"/>
                </a:lnTo>
                <a:lnTo>
                  <a:pt x="144" y="114"/>
                </a:lnTo>
                <a:lnTo>
                  <a:pt x="144" y="114"/>
                </a:lnTo>
                <a:lnTo>
                  <a:pt x="144" y="114"/>
                </a:lnTo>
                <a:lnTo>
                  <a:pt x="150" y="114"/>
                </a:lnTo>
                <a:lnTo>
                  <a:pt x="150" y="114"/>
                </a:lnTo>
                <a:lnTo>
                  <a:pt x="150" y="114"/>
                </a:lnTo>
                <a:lnTo>
                  <a:pt x="150" y="114"/>
                </a:lnTo>
                <a:lnTo>
                  <a:pt x="150" y="114"/>
                </a:lnTo>
                <a:lnTo>
                  <a:pt x="150" y="114"/>
                </a:lnTo>
                <a:lnTo>
                  <a:pt x="150" y="114"/>
                </a:lnTo>
                <a:lnTo>
                  <a:pt x="150" y="114"/>
                </a:lnTo>
                <a:lnTo>
                  <a:pt x="150" y="114"/>
                </a:lnTo>
                <a:lnTo>
                  <a:pt x="150" y="114"/>
                </a:lnTo>
                <a:lnTo>
                  <a:pt x="150" y="114"/>
                </a:lnTo>
                <a:lnTo>
                  <a:pt x="150" y="114"/>
                </a:lnTo>
                <a:lnTo>
                  <a:pt x="156" y="114"/>
                </a:lnTo>
                <a:lnTo>
                  <a:pt x="156" y="114"/>
                </a:lnTo>
                <a:lnTo>
                  <a:pt x="156" y="114"/>
                </a:lnTo>
                <a:lnTo>
                  <a:pt x="156" y="114"/>
                </a:lnTo>
                <a:lnTo>
                  <a:pt x="156" y="114"/>
                </a:lnTo>
                <a:lnTo>
                  <a:pt x="156" y="114"/>
                </a:lnTo>
                <a:lnTo>
                  <a:pt x="156" y="114"/>
                </a:lnTo>
                <a:lnTo>
                  <a:pt x="156" y="114"/>
                </a:lnTo>
                <a:lnTo>
                  <a:pt x="156" y="114"/>
                </a:lnTo>
                <a:lnTo>
                  <a:pt x="156" y="114"/>
                </a:lnTo>
                <a:lnTo>
                  <a:pt x="156" y="114"/>
                </a:lnTo>
                <a:lnTo>
                  <a:pt x="162" y="108"/>
                </a:lnTo>
                <a:lnTo>
                  <a:pt x="156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8" y="108"/>
                </a:lnTo>
                <a:lnTo>
                  <a:pt x="168" y="108"/>
                </a:lnTo>
                <a:lnTo>
                  <a:pt x="168" y="108"/>
                </a:lnTo>
                <a:lnTo>
                  <a:pt x="168" y="108"/>
                </a:lnTo>
                <a:lnTo>
                  <a:pt x="168" y="108"/>
                </a:lnTo>
                <a:lnTo>
                  <a:pt x="168" y="108"/>
                </a:lnTo>
                <a:lnTo>
                  <a:pt x="168" y="108"/>
                </a:lnTo>
                <a:lnTo>
                  <a:pt x="168" y="108"/>
                </a:lnTo>
                <a:lnTo>
                  <a:pt x="174" y="108"/>
                </a:lnTo>
                <a:lnTo>
                  <a:pt x="174" y="108"/>
                </a:lnTo>
                <a:lnTo>
                  <a:pt x="174" y="108"/>
                </a:lnTo>
                <a:lnTo>
                  <a:pt x="174" y="108"/>
                </a:lnTo>
                <a:lnTo>
                  <a:pt x="174" y="108"/>
                </a:lnTo>
                <a:lnTo>
                  <a:pt x="180" y="108"/>
                </a:lnTo>
                <a:lnTo>
                  <a:pt x="180" y="108"/>
                </a:lnTo>
                <a:lnTo>
                  <a:pt x="180" y="102"/>
                </a:lnTo>
                <a:lnTo>
                  <a:pt x="180" y="102"/>
                </a:lnTo>
                <a:lnTo>
                  <a:pt x="180" y="102"/>
                </a:lnTo>
                <a:lnTo>
                  <a:pt x="180" y="108"/>
                </a:lnTo>
                <a:lnTo>
                  <a:pt x="180" y="108"/>
                </a:lnTo>
                <a:lnTo>
                  <a:pt x="186" y="108"/>
                </a:lnTo>
                <a:lnTo>
                  <a:pt x="186" y="108"/>
                </a:lnTo>
                <a:lnTo>
                  <a:pt x="186" y="108"/>
                </a:lnTo>
                <a:lnTo>
                  <a:pt x="186" y="108"/>
                </a:lnTo>
                <a:lnTo>
                  <a:pt x="186" y="108"/>
                </a:lnTo>
                <a:lnTo>
                  <a:pt x="186" y="102"/>
                </a:lnTo>
                <a:lnTo>
                  <a:pt x="192" y="102"/>
                </a:lnTo>
                <a:lnTo>
                  <a:pt x="192" y="102"/>
                </a:lnTo>
                <a:lnTo>
                  <a:pt x="192" y="108"/>
                </a:lnTo>
                <a:lnTo>
                  <a:pt x="192" y="108"/>
                </a:lnTo>
                <a:lnTo>
                  <a:pt x="192" y="102"/>
                </a:lnTo>
                <a:lnTo>
                  <a:pt x="192" y="102"/>
                </a:lnTo>
                <a:lnTo>
                  <a:pt x="198" y="102"/>
                </a:lnTo>
                <a:lnTo>
                  <a:pt x="198" y="102"/>
                </a:lnTo>
                <a:lnTo>
                  <a:pt x="198" y="102"/>
                </a:lnTo>
                <a:lnTo>
                  <a:pt x="198" y="102"/>
                </a:lnTo>
                <a:lnTo>
                  <a:pt x="198" y="102"/>
                </a:lnTo>
                <a:lnTo>
                  <a:pt x="198" y="102"/>
                </a:lnTo>
                <a:lnTo>
                  <a:pt x="198" y="102"/>
                </a:lnTo>
                <a:lnTo>
                  <a:pt x="198" y="102"/>
                </a:lnTo>
                <a:lnTo>
                  <a:pt x="192" y="96"/>
                </a:lnTo>
                <a:lnTo>
                  <a:pt x="198" y="96"/>
                </a:lnTo>
                <a:lnTo>
                  <a:pt x="198" y="96"/>
                </a:lnTo>
                <a:lnTo>
                  <a:pt x="198" y="96"/>
                </a:lnTo>
                <a:lnTo>
                  <a:pt x="198" y="96"/>
                </a:lnTo>
                <a:lnTo>
                  <a:pt x="198" y="96"/>
                </a:lnTo>
                <a:lnTo>
                  <a:pt x="198" y="96"/>
                </a:lnTo>
                <a:lnTo>
                  <a:pt x="198" y="96"/>
                </a:lnTo>
                <a:lnTo>
                  <a:pt x="198" y="90"/>
                </a:lnTo>
                <a:lnTo>
                  <a:pt x="204" y="90"/>
                </a:lnTo>
                <a:lnTo>
                  <a:pt x="204" y="90"/>
                </a:lnTo>
                <a:lnTo>
                  <a:pt x="204" y="96"/>
                </a:lnTo>
                <a:lnTo>
                  <a:pt x="204" y="96"/>
                </a:lnTo>
                <a:lnTo>
                  <a:pt x="204" y="96"/>
                </a:lnTo>
                <a:lnTo>
                  <a:pt x="210" y="90"/>
                </a:lnTo>
                <a:lnTo>
                  <a:pt x="210" y="90"/>
                </a:lnTo>
                <a:lnTo>
                  <a:pt x="204" y="90"/>
                </a:lnTo>
                <a:lnTo>
                  <a:pt x="204" y="90"/>
                </a:lnTo>
                <a:lnTo>
                  <a:pt x="204" y="90"/>
                </a:lnTo>
                <a:lnTo>
                  <a:pt x="204" y="90"/>
                </a:lnTo>
                <a:lnTo>
                  <a:pt x="210" y="90"/>
                </a:lnTo>
                <a:lnTo>
                  <a:pt x="210" y="90"/>
                </a:lnTo>
                <a:lnTo>
                  <a:pt x="210" y="90"/>
                </a:lnTo>
                <a:lnTo>
                  <a:pt x="216" y="90"/>
                </a:lnTo>
                <a:lnTo>
                  <a:pt x="216" y="90"/>
                </a:lnTo>
                <a:lnTo>
                  <a:pt x="216" y="90"/>
                </a:lnTo>
                <a:lnTo>
                  <a:pt x="216" y="90"/>
                </a:lnTo>
                <a:lnTo>
                  <a:pt x="216" y="90"/>
                </a:lnTo>
                <a:lnTo>
                  <a:pt x="216" y="90"/>
                </a:lnTo>
                <a:lnTo>
                  <a:pt x="216" y="90"/>
                </a:lnTo>
                <a:lnTo>
                  <a:pt x="216" y="84"/>
                </a:lnTo>
                <a:lnTo>
                  <a:pt x="216" y="84"/>
                </a:lnTo>
                <a:lnTo>
                  <a:pt x="222" y="84"/>
                </a:lnTo>
                <a:lnTo>
                  <a:pt x="222" y="78"/>
                </a:lnTo>
                <a:lnTo>
                  <a:pt x="222" y="78"/>
                </a:lnTo>
                <a:lnTo>
                  <a:pt x="222" y="78"/>
                </a:lnTo>
                <a:lnTo>
                  <a:pt x="222" y="78"/>
                </a:lnTo>
                <a:lnTo>
                  <a:pt x="222" y="84"/>
                </a:lnTo>
                <a:lnTo>
                  <a:pt x="222" y="84"/>
                </a:lnTo>
                <a:lnTo>
                  <a:pt x="222" y="84"/>
                </a:lnTo>
                <a:lnTo>
                  <a:pt x="222" y="78"/>
                </a:lnTo>
                <a:lnTo>
                  <a:pt x="222" y="78"/>
                </a:lnTo>
                <a:lnTo>
                  <a:pt x="222" y="78"/>
                </a:lnTo>
                <a:lnTo>
                  <a:pt x="222" y="78"/>
                </a:lnTo>
                <a:lnTo>
                  <a:pt x="228" y="78"/>
                </a:lnTo>
                <a:lnTo>
                  <a:pt x="228" y="78"/>
                </a:lnTo>
                <a:lnTo>
                  <a:pt x="228" y="78"/>
                </a:lnTo>
                <a:lnTo>
                  <a:pt x="234" y="78"/>
                </a:lnTo>
                <a:lnTo>
                  <a:pt x="228" y="72"/>
                </a:lnTo>
                <a:lnTo>
                  <a:pt x="234" y="72"/>
                </a:lnTo>
                <a:lnTo>
                  <a:pt x="234" y="72"/>
                </a:lnTo>
                <a:lnTo>
                  <a:pt x="234" y="78"/>
                </a:lnTo>
                <a:lnTo>
                  <a:pt x="234" y="78"/>
                </a:lnTo>
                <a:lnTo>
                  <a:pt x="234" y="72"/>
                </a:lnTo>
                <a:lnTo>
                  <a:pt x="234" y="72"/>
                </a:lnTo>
                <a:lnTo>
                  <a:pt x="234" y="72"/>
                </a:lnTo>
                <a:lnTo>
                  <a:pt x="234" y="72"/>
                </a:lnTo>
                <a:lnTo>
                  <a:pt x="234" y="72"/>
                </a:lnTo>
                <a:lnTo>
                  <a:pt x="234" y="72"/>
                </a:lnTo>
                <a:lnTo>
                  <a:pt x="234" y="72"/>
                </a:lnTo>
                <a:lnTo>
                  <a:pt x="234" y="66"/>
                </a:lnTo>
                <a:lnTo>
                  <a:pt x="234" y="66"/>
                </a:lnTo>
                <a:lnTo>
                  <a:pt x="234" y="66"/>
                </a:lnTo>
                <a:lnTo>
                  <a:pt x="234" y="66"/>
                </a:lnTo>
                <a:lnTo>
                  <a:pt x="234" y="60"/>
                </a:lnTo>
                <a:lnTo>
                  <a:pt x="234" y="60"/>
                </a:lnTo>
                <a:lnTo>
                  <a:pt x="234" y="60"/>
                </a:lnTo>
                <a:lnTo>
                  <a:pt x="234" y="60"/>
                </a:lnTo>
                <a:lnTo>
                  <a:pt x="234" y="60"/>
                </a:lnTo>
                <a:lnTo>
                  <a:pt x="234" y="60"/>
                </a:lnTo>
                <a:lnTo>
                  <a:pt x="228" y="60"/>
                </a:lnTo>
                <a:lnTo>
                  <a:pt x="228" y="60"/>
                </a:lnTo>
                <a:lnTo>
                  <a:pt x="228" y="60"/>
                </a:lnTo>
                <a:lnTo>
                  <a:pt x="228" y="60"/>
                </a:lnTo>
                <a:lnTo>
                  <a:pt x="228" y="60"/>
                </a:lnTo>
                <a:lnTo>
                  <a:pt x="228" y="54"/>
                </a:lnTo>
                <a:lnTo>
                  <a:pt x="228" y="54"/>
                </a:lnTo>
                <a:lnTo>
                  <a:pt x="228" y="54"/>
                </a:lnTo>
                <a:lnTo>
                  <a:pt x="228" y="48"/>
                </a:lnTo>
                <a:lnTo>
                  <a:pt x="228" y="48"/>
                </a:lnTo>
                <a:lnTo>
                  <a:pt x="228" y="48"/>
                </a:lnTo>
                <a:lnTo>
                  <a:pt x="222" y="48"/>
                </a:lnTo>
                <a:lnTo>
                  <a:pt x="222" y="48"/>
                </a:lnTo>
                <a:lnTo>
                  <a:pt x="222" y="48"/>
                </a:lnTo>
                <a:lnTo>
                  <a:pt x="222" y="48"/>
                </a:lnTo>
                <a:lnTo>
                  <a:pt x="222" y="48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0"/>
                </a:lnTo>
                <a:lnTo>
                  <a:pt x="228" y="30"/>
                </a:lnTo>
                <a:lnTo>
                  <a:pt x="222" y="30"/>
                </a:lnTo>
                <a:lnTo>
                  <a:pt x="228" y="30"/>
                </a:lnTo>
                <a:lnTo>
                  <a:pt x="228" y="30"/>
                </a:lnTo>
                <a:lnTo>
                  <a:pt x="228" y="30"/>
                </a:lnTo>
                <a:lnTo>
                  <a:pt x="228" y="24"/>
                </a:lnTo>
                <a:lnTo>
                  <a:pt x="228" y="24"/>
                </a:lnTo>
                <a:lnTo>
                  <a:pt x="228" y="24"/>
                </a:lnTo>
                <a:lnTo>
                  <a:pt x="234" y="24"/>
                </a:lnTo>
                <a:lnTo>
                  <a:pt x="234" y="24"/>
                </a:lnTo>
                <a:lnTo>
                  <a:pt x="234" y="24"/>
                </a:lnTo>
                <a:lnTo>
                  <a:pt x="234" y="24"/>
                </a:lnTo>
                <a:lnTo>
                  <a:pt x="234" y="24"/>
                </a:lnTo>
                <a:lnTo>
                  <a:pt x="234" y="24"/>
                </a:lnTo>
                <a:lnTo>
                  <a:pt x="234" y="24"/>
                </a:lnTo>
                <a:lnTo>
                  <a:pt x="234" y="24"/>
                </a:lnTo>
                <a:lnTo>
                  <a:pt x="234" y="24"/>
                </a:lnTo>
                <a:lnTo>
                  <a:pt x="234" y="24"/>
                </a:lnTo>
                <a:lnTo>
                  <a:pt x="234" y="18"/>
                </a:lnTo>
                <a:lnTo>
                  <a:pt x="234" y="18"/>
                </a:lnTo>
                <a:lnTo>
                  <a:pt x="240" y="18"/>
                </a:lnTo>
                <a:lnTo>
                  <a:pt x="240" y="18"/>
                </a:lnTo>
                <a:lnTo>
                  <a:pt x="240" y="18"/>
                </a:lnTo>
                <a:lnTo>
                  <a:pt x="240" y="18"/>
                </a:lnTo>
                <a:lnTo>
                  <a:pt x="240" y="18"/>
                </a:lnTo>
                <a:lnTo>
                  <a:pt x="240" y="18"/>
                </a:lnTo>
                <a:lnTo>
                  <a:pt x="240" y="18"/>
                </a:lnTo>
                <a:lnTo>
                  <a:pt x="240" y="18"/>
                </a:lnTo>
                <a:lnTo>
                  <a:pt x="240" y="18"/>
                </a:lnTo>
                <a:lnTo>
                  <a:pt x="240" y="18"/>
                </a:lnTo>
                <a:lnTo>
                  <a:pt x="240" y="18"/>
                </a:lnTo>
                <a:lnTo>
                  <a:pt x="240" y="18"/>
                </a:lnTo>
                <a:lnTo>
                  <a:pt x="240" y="18"/>
                </a:lnTo>
                <a:lnTo>
                  <a:pt x="246" y="18"/>
                </a:lnTo>
                <a:lnTo>
                  <a:pt x="240" y="18"/>
                </a:lnTo>
                <a:lnTo>
                  <a:pt x="240" y="24"/>
                </a:lnTo>
                <a:lnTo>
                  <a:pt x="246" y="24"/>
                </a:lnTo>
                <a:lnTo>
                  <a:pt x="246" y="24"/>
                </a:lnTo>
                <a:lnTo>
                  <a:pt x="246" y="24"/>
                </a:lnTo>
                <a:lnTo>
                  <a:pt x="246" y="24"/>
                </a:lnTo>
                <a:lnTo>
                  <a:pt x="246" y="24"/>
                </a:lnTo>
                <a:lnTo>
                  <a:pt x="246" y="24"/>
                </a:lnTo>
                <a:lnTo>
                  <a:pt x="246" y="24"/>
                </a:lnTo>
                <a:lnTo>
                  <a:pt x="246" y="24"/>
                </a:lnTo>
                <a:lnTo>
                  <a:pt x="246" y="30"/>
                </a:lnTo>
                <a:lnTo>
                  <a:pt x="246" y="30"/>
                </a:lnTo>
                <a:lnTo>
                  <a:pt x="246" y="30"/>
                </a:lnTo>
                <a:lnTo>
                  <a:pt x="246" y="30"/>
                </a:lnTo>
                <a:lnTo>
                  <a:pt x="246" y="30"/>
                </a:lnTo>
                <a:lnTo>
                  <a:pt x="246" y="30"/>
                </a:lnTo>
                <a:lnTo>
                  <a:pt x="246" y="30"/>
                </a:lnTo>
                <a:lnTo>
                  <a:pt x="252" y="36"/>
                </a:lnTo>
                <a:lnTo>
                  <a:pt x="252" y="36"/>
                </a:lnTo>
                <a:lnTo>
                  <a:pt x="252" y="36"/>
                </a:lnTo>
                <a:lnTo>
                  <a:pt x="252" y="36"/>
                </a:lnTo>
                <a:lnTo>
                  <a:pt x="252" y="42"/>
                </a:lnTo>
                <a:lnTo>
                  <a:pt x="252" y="42"/>
                </a:lnTo>
                <a:lnTo>
                  <a:pt x="252" y="42"/>
                </a:lnTo>
                <a:lnTo>
                  <a:pt x="246" y="42"/>
                </a:lnTo>
                <a:lnTo>
                  <a:pt x="246" y="42"/>
                </a:lnTo>
                <a:lnTo>
                  <a:pt x="252" y="42"/>
                </a:lnTo>
                <a:lnTo>
                  <a:pt x="252" y="42"/>
                </a:lnTo>
                <a:lnTo>
                  <a:pt x="252" y="48"/>
                </a:lnTo>
                <a:lnTo>
                  <a:pt x="252" y="48"/>
                </a:lnTo>
                <a:lnTo>
                  <a:pt x="252" y="48"/>
                </a:lnTo>
                <a:lnTo>
                  <a:pt x="252" y="48"/>
                </a:lnTo>
                <a:lnTo>
                  <a:pt x="258" y="54"/>
                </a:lnTo>
                <a:lnTo>
                  <a:pt x="258" y="54"/>
                </a:lnTo>
                <a:lnTo>
                  <a:pt x="264" y="54"/>
                </a:lnTo>
                <a:lnTo>
                  <a:pt x="264" y="60"/>
                </a:lnTo>
                <a:lnTo>
                  <a:pt x="270" y="60"/>
                </a:lnTo>
                <a:lnTo>
                  <a:pt x="270" y="60"/>
                </a:lnTo>
                <a:lnTo>
                  <a:pt x="270" y="60"/>
                </a:lnTo>
                <a:lnTo>
                  <a:pt x="270" y="60"/>
                </a:lnTo>
                <a:lnTo>
                  <a:pt x="276" y="60"/>
                </a:lnTo>
                <a:lnTo>
                  <a:pt x="282" y="66"/>
                </a:lnTo>
                <a:lnTo>
                  <a:pt x="282" y="66"/>
                </a:lnTo>
                <a:lnTo>
                  <a:pt x="282" y="66"/>
                </a:lnTo>
                <a:lnTo>
                  <a:pt x="288" y="66"/>
                </a:lnTo>
                <a:lnTo>
                  <a:pt x="330" y="30"/>
                </a:lnTo>
                <a:lnTo>
                  <a:pt x="330" y="24"/>
                </a:lnTo>
                <a:lnTo>
                  <a:pt x="330" y="24"/>
                </a:lnTo>
                <a:lnTo>
                  <a:pt x="330" y="18"/>
                </a:lnTo>
                <a:lnTo>
                  <a:pt x="330" y="18"/>
                </a:lnTo>
                <a:lnTo>
                  <a:pt x="330" y="18"/>
                </a:lnTo>
                <a:lnTo>
                  <a:pt x="330" y="18"/>
                </a:lnTo>
                <a:lnTo>
                  <a:pt x="336" y="12"/>
                </a:lnTo>
                <a:lnTo>
                  <a:pt x="336" y="12"/>
                </a:lnTo>
                <a:lnTo>
                  <a:pt x="336" y="12"/>
                </a:lnTo>
                <a:lnTo>
                  <a:pt x="342" y="12"/>
                </a:lnTo>
                <a:lnTo>
                  <a:pt x="348" y="0"/>
                </a:lnTo>
                <a:lnTo>
                  <a:pt x="354" y="0"/>
                </a:lnTo>
                <a:lnTo>
                  <a:pt x="354" y="0"/>
                </a:lnTo>
                <a:lnTo>
                  <a:pt x="354" y="0"/>
                </a:lnTo>
                <a:lnTo>
                  <a:pt x="360" y="6"/>
                </a:lnTo>
                <a:lnTo>
                  <a:pt x="360" y="0"/>
                </a:lnTo>
                <a:lnTo>
                  <a:pt x="360" y="0"/>
                </a:lnTo>
                <a:lnTo>
                  <a:pt x="366" y="0"/>
                </a:lnTo>
                <a:lnTo>
                  <a:pt x="372" y="0"/>
                </a:lnTo>
                <a:lnTo>
                  <a:pt x="378" y="6"/>
                </a:lnTo>
                <a:lnTo>
                  <a:pt x="378" y="6"/>
                </a:lnTo>
                <a:lnTo>
                  <a:pt x="378" y="6"/>
                </a:lnTo>
                <a:lnTo>
                  <a:pt x="378" y="6"/>
                </a:lnTo>
                <a:lnTo>
                  <a:pt x="384" y="6"/>
                </a:lnTo>
                <a:lnTo>
                  <a:pt x="384" y="6"/>
                </a:lnTo>
                <a:lnTo>
                  <a:pt x="384" y="6"/>
                </a:lnTo>
                <a:lnTo>
                  <a:pt x="384" y="6"/>
                </a:lnTo>
                <a:lnTo>
                  <a:pt x="384" y="6"/>
                </a:lnTo>
                <a:lnTo>
                  <a:pt x="384" y="12"/>
                </a:lnTo>
                <a:lnTo>
                  <a:pt x="384" y="12"/>
                </a:lnTo>
                <a:lnTo>
                  <a:pt x="384" y="12"/>
                </a:lnTo>
                <a:lnTo>
                  <a:pt x="390" y="12"/>
                </a:lnTo>
                <a:lnTo>
                  <a:pt x="390" y="12"/>
                </a:lnTo>
                <a:lnTo>
                  <a:pt x="390" y="12"/>
                </a:lnTo>
                <a:lnTo>
                  <a:pt x="390" y="12"/>
                </a:lnTo>
                <a:lnTo>
                  <a:pt x="390" y="12"/>
                </a:lnTo>
                <a:lnTo>
                  <a:pt x="396" y="12"/>
                </a:lnTo>
                <a:lnTo>
                  <a:pt x="396" y="12"/>
                </a:lnTo>
                <a:lnTo>
                  <a:pt x="396" y="12"/>
                </a:lnTo>
                <a:lnTo>
                  <a:pt x="396" y="12"/>
                </a:lnTo>
                <a:lnTo>
                  <a:pt x="396" y="12"/>
                </a:lnTo>
                <a:lnTo>
                  <a:pt x="396" y="12"/>
                </a:lnTo>
                <a:lnTo>
                  <a:pt x="402" y="12"/>
                </a:lnTo>
                <a:lnTo>
                  <a:pt x="402" y="12"/>
                </a:lnTo>
                <a:lnTo>
                  <a:pt x="402" y="12"/>
                </a:lnTo>
                <a:lnTo>
                  <a:pt x="402" y="12"/>
                </a:lnTo>
                <a:lnTo>
                  <a:pt x="402" y="12"/>
                </a:lnTo>
                <a:lnTo>
                  <a:pt x="402" y="12"/>
                </a:lnTo>
                <a:lnTo>
                  <a:pt x="408" y="12"/>
                </a:lnTo>
                <a:lnTo>
                  <a:pt x="408" y="6"/>
                </a:lnTo>
                <a:lnTo>
                  <a:pt x="408" y="6"/>
                </a:lnTo>
                <a:lnTo>
                  <a:pt x="414" y="12"/>
                </a:lnTo>
                <a:lnTo>
                  <a:pt x="414" y="12"/>
                </a:lnTo>
                <a:lnTo>
                  <a:pt x="414" y="12"/>
                </a:lnTo>
                <a:lnTo>
                  <a:pt x="414" y="12"/>
                </a:lnTo>
                <a:lnTo>
                  <a:pt x="414" y="12"/>
                </a:lnTo>
                <a:lnTo>
                  <a:pt x="414" y="18"/>
                </a:lnTo>
                <a:lnTo>
                  <a:pt x="414" y="18"/>
                </a:lnTo>
                <a:lnTo>
                  <a:pt x="414" y="18"/>
                </a:lnTo>
                <a:lnTo>
                  <a:pt x="408" y="18"/>
                </a:lnTo>
                <a:lnTo>
                  <a:pt x="408" y="18"/>
                </a:lnTo>
                <a:lnTo>
                  <a:pt x="408" y="18"/>
                </a:lnTo>
                <a:lnTo>
                  <a:pt x="402" y="18"/>
                </a:lnTo>
                <a:lnTo>
                  <a:pt x="402" y="18"/>
                </a:lnTo>
                <a:lnTo>
                  <a:pt x="402" y="18"/>
                </a:lnTo>
                <a:lnTo>
                  <a:pt x="402" y="24"/>
                </a:lnTo>
                <a:lnTo>
                  <a:pt x="402" y="24"/>
                </a:lnTo>
                <a:lnTo>
                  <a:pt x="402" y="24"/>
                </a:lnTo>
                <a:lnTo>
                  <a:pt x="402" y="24"/>
                </a:lnTo>
                <a:lnTo>
                  <a:pt x="402" y="24"/>
                </a:lnTo>
                <a:lnTo>
                  <a:pt x="402" y="30"/>
                </a:lnTo>
                <a:lnTo>
                  <a:pt x="396" y="30"/>
                </a:lnTo>
                <a:lnTo>
                  <a:pt x="396" y="30"/>
                </a:lnTo>
                <a:lnTo>
                  <a:pt x="396" y="30"/>
                </a:lnTo>
                <a:lnTo>
                  <a:pt x="396" y="30"/>
                </a:lnTo>
                <a:lnTo>
                  <a:pt x="390" y="30"/>
                </a:lnTo>
                <a:lnTo>
                  <a:pt x="390" y="36"/>
                </a:lnTo>
                <a:lnTo>
                  <a:pt x="390" y="36"/>
                </a:lnTo>
                <a:lnTo>
                  <a:pt x="390" y="30"/>
                </a:lnTo>
                <a:lnTo>
                  <a:pt x="390" y="30"/>
                </a:lnTo>
                <a:lnTo>
                  <a:pt x="390" y="30"/>
                </a:lnTo>
                <a:lnTo>
                  <a:pt x="390" y="36"/>
                </a:lnTo>
                <a:lnTo>
                  <a:pt x="390" y="36"/>
                </a:lnTo>
                <a:lnTo>
                  <a:pt x="384" y="36"/>
                </a:lnTo>
                <a:lnTo>
                  <a:pt x="384" y="36"/>
                </a:lnTo>
                <a:lnTo>
                  <a:pt x="384" y="36"/>
                </a:lnTo>
                <a:lnTo>
                  <a:pt x="384" y="36"/>
                </a:lnTo>
                <a:lnTo>
                  <a:pt x="384" y="36"/>
                </a:lnTo>
                <a:lnTo>
                  <a:pt x="384" y="36"/>
                </a:lnTo>
                <a:lnTo>
                  <a:pt x="384" y="36"/>
                </a:lnTo>
                <a:lnTo>
                  <a:pt x="378" y="42"/>
                </a:lnTo>
                <a:lnTo>
                  <a:pt x="384" y="42"/>
                </a:lnTo>
                <a:lnTo>
                  <a:pt x="378" y="42"/>
                </a:lnTo>
                <a:lnTo>
                  <a:pt x="384" y="42"/>
                </a:lnTo>
                <a:lnTo>
                  <a:pt x="384" y="42"/>
                </a:lnTo>
                <a:lnTo>
                  <a:pt x="384" y="42"/>
                </a:lnTo>
                <a:lnTo>
                  <a:pt x="384" y="42"/>
                </a:lnTo>
                <a:lnTo>
                  <a:pt x="384" y="48"/>
                </a:lnTo>
                <a:lnTo>
                  <a:pt x="384" y="48"/>
                </a:lnTo>
                <a:lnTo>
                  <a:pt x="384" y="48"/>
                </a:lnTo>
                <a:lnTo>
                  <a:pt x="384" y="48"/>
                </a:lnTo>
                <a:lnTo>
                  <a:pt x="384" y="48"/>
                </a:lnTo>
                <a:lnTo>
                  <a:pt x="384" y="48"/>
                </a:lnTo>
                <a:lnTo>
                  <a:pt x="384" y="54"/>
                </a:lnTo>
                <a:lnTo>
                  <a:pt x="384" y="54"/>
                </a:lnTo>
                <a:lnTo>
                  <a:pt x="390" y="54"/>
                </a:lnTo>
                <a:lnTo>
                  <a:pt x="390" y="54"/>
                </a:lnTo>
                <a:lnTo>
                  <a:pt x="390" y="48"/>
                </a:lnTo>
                <a:lnTo>
                  <a:pt x="390" y="48"/>
                </a:lnTo>
                <a:lnTo>
                  <a:pt x="390" y="54"/>
                </a:lnTo>
                <a:lnTo>
                  <a:pt x="390" y="54"/>
                </a:lnTo>
                <a:lnTo>
                  <a:pt x="390" y="54"/>
                </a:lnTo>
                <a:lnTo>
                  <a:pt x="390" y="54"/>
                </a:lnTo>
                <a:lnTo>
                  <a:pt x="390" y="54"/>
                </a:lnTo>
                <a:lnTo>
                  <a:pt x="390" y="54"/>
                </a:lnTo>
                <a:lnTo>
                  <a:pt x="390" y="54"/>
                </a:lnTo>
                <a:lnTo>
                  <a:pt x="390" y="54"/>
                </a:lnTo>
                <a:lnTo>
                  <a:pt x="390" y="54"/>
                </a:lnTo>
                <a:lnTo>
                  <a:pt x="390" y="54"/>
                </a:lnTo>
                <a:lnTo>
                  <a:pt x="390" y="54"/>
                </a:lnTo>
                <a:lnTo>
                  <a:pt x="396" y="60"/>
                </a:lnTo>
                <a:lnTo>
                  <a:pt x="390" y="60"/>
                </a:lnTo>
                <a:lnTo>
                  <a:pt x="390" y="60"/>
                </a:lnTo>
                <a:lnTo>
                  <a:pt x="390" y="54"/>
                </a:lnTo>
                <a:lnTo>
                  <a:pt x="390" y="54"/>
                </a:lnTo>
                <a:lnTo>
                  <a:pt x="390" y="54"/>
                </a:lnTo>
                <a:lnTo>
                  <a:pt x="390" y="60"/>
                </a:lnTo>
                <a:lnTo>
                  <a:pt x="390" y="60"/>
                </a:lnTo>
                <a:lnTo>
                  <a:pt x="390" y="60"/>
                </a:lnTo>
                <a:lnTo>
                  <a:pt x="390" y="60"/>
                </a:lnTo>
                <a:lnTo>
                  <a:pt x="384" y="60"/>
                </a:lnTo>
                <a:lnTo>
                  <a:pt x="384" y="60"/>
                </a:lnTo>
                <a:lnTo>
                  <a:pt x="384" y="60"/>
                </a:lnTo>
                <a:lnTo>
                  <a:pt x="384" y="60"/>
                </a:lnTo>
                <a:lnTo>
                  <a:pt x="384" y="60"/>
                </a:lnTo>
                <a:lnTo>
                  <a:pt x="384" y="60"/>
                </a:lnTo>
                <a:lnTo>
                  <a:pt x="384" y="60"/>
                </a:lnTo>
                <a:lnTo>
                  <a:pt x="384" y="60"/>
                </a:lnTo>
                <a:lnTo>
                  <a:pt x="384" y="60"/>
                </a:lnTo>
                <a:lnTo>
                  <a:pt x="384" y="66"/>
                </a:lnTo>
                <a:lnTo>
                  <a:pt x="384" y="60"/>
                </a:lnTo>
                <a:lnTo>
                  <a:pt x="384" y="60"/>
                </a:lnTo>
                <a:lnTo>
                  <a:pt x="378" y="60"/>
                </a:lnTo>
                <a:lnTo>
                  <a:pt x="378" y="66"/>
                </a:lnTo>
                <a:lnTo>
                  <a:pt x="378" y="66"/>
                </a:lnTo>
                <a:lnTo>
                  <a:pt x="384" y="66"/>
                </a:lnTo>
                <a:lnTo>
                  <a:pt x="384" y="66"/>
                </a:lnTo>
                <a:lnTo>
                  <a:pt x="384" y="66"/>
                </a:lnTo>
                <a:lnTo>
                  <a:pt x="384" y="66"/>
                </a:lnTo>
                <a:lnTo>
                  <a:pt x="384" y="72"/>
                </a:lnTo>
                <a:lnTo>
                  <a:pt x="384" y="72"/>
                </a:lnTo>
                <a:lnTo>
                  <a:pt x="378" y="72"/>
                </a:lnTo>
                <a:lnTo>
                  <a:pt x="384" y="72"/>
                </a:lnTo>
                <a:lnTo>
                  <a:pt x="384" y="72"/>
                </a:lnTo>
                <a:lnTo>
                  <a:pt x="384" y="72"/>
                </a:lnTo>
                <a:lnTo>
                  <a:pt x="384" y="72"/>
                </a:lnTo>
                <a:lnTo>
                  <a:pt x="384" y="72"/>
                </a:lnTo>
                <a:lnTo>
                  <a:pt x="384" y="78"/>
                </a:lnTo>
                <a:lnTo>
                  <a:pt x="384" y="78"/>
                </a:lnTo>
                <a:lnTo>
                  <a:pt x="384" y="78"/>
                </a:lnTo>
                <a:lnTo>
                  <a:pt x="384" y="78"/>
                </a:lnTo>
                <a:lnTo>
                  <a:pt x="378" y="78"/>
                </a:lnTo>
                <a:lnTo>
                  <a:pt x="378" y="78"/>
                </a:lnTo>
                <a:lnTo>
                  <a:pt x="378" y="78"/>
                </a:lnTo>
                <a:lnTo>
                  <a:pt x="384" y="78"/>
                </a:lnTo>
                <a:lnTo>
                  <a:pt x="378" y="78"/>
                </a:lnTo>
                <a:lnTo>
                  <a:pt x="378" y="84"/>
                </a:lnTo>
                <a:lnTo>
                  <a:pt x="378" y="84"/>
                </a:lnTo>
                <a:lnTo>
                  <a:pt x="378" y="84"/>
                </a:lnTo>
                <a:lnTo>
                  <a:pt x="378" y="84"/>
                </a:lnTo>
                <a:lnTo>
                  <a:pt x="378" y="90"/>
                </a:lnTo>
                <a:lnTo>
                  <a:pt x="378" y="90"/>
                </a:lnTo>
                <a:lnTo>
                  <a:pt x="378" y="90"/>
                </a:lnTo>
                <a:lnTo>
                  <a:pt x="378" y="90"/>
                </a:lnTo>
                <a:lnTo>
                  <a:pt x="378" y="96"/>
                </a:lnTo>
                <a:lnTo>
                  <a:pt x="378" y="96"/>
                </a:lnTo>
                <a:lnTo>
                  <a:pt x="372" y="96"/>
                </a:lnTo>
                <a:lnTo>
                  <a:pt x="372" y="90"/>
                </a:lnTo>
                <a:lnTo>
                  <a:pt x="372" y="90"/>
                </a:lnTo>
                <a:lnTo>
                  <a:pt x="372" y="90"/>
                </a:lnTo>
                <a:lnTo>
                  <a:pt x="372" y="96"/>
                </a:lnTo>
                <a:lnTo>
                  <a:pt x="372" y="96"/>
                </a:lnTo>
                <a:lnTo>
                  <a:pt x="372" y="96"/>
                </a:lnTo>
                <a:lnTo>
                  <a:pt x="372" y="96"/>
                </a:lnTo>
                <a:lnTo>
                  <a:pt x="372" y="96"/>
                </a:lnTo>
                <a:lnTo>
                  <a:pt x="372" y="96"/>
                </a:lnTo>
                <a:lnTo>
                  <a:pt x="372" y="96"/>
                </a:lnTo>
                <a:lnTo>
                  <a:pt x="372" y="96"/>
                </a:lnTo>
                <a:lnTo>
                  <a:pt x="372" y="96"/>
                </a:lnTo>
                <a:lnTo>
                  <a:pt x="372" y="102"/>
                </a:lnTo>
                <a:lnTo>
                  <a:pt x="372" y="102"/>
                </a:lnTo>
                <a:lnTo>
                  <a:pt x="372" y="102"/>
                </a:lnTo>
                <a:lnTo>
                  <a:pt x="372" y="102"/>
                </a:lnTo>
                <a:lnTo>
                  <a:pt x="372" y="102"/>
                </a:lnTo>
                <a:lnTo>
                  <a:pt x="366" y="102"/>
                </a:lnTo>
                <a:lnTo>
                  <a:pt x="366" y="102"/>
                </a:lnTo>
                <a:lnTo>
                  <a:pt x="372" y="102"/>
                </a:lnTo>
                <a:lnTo>
                  <a:pt x="372" y="102"/>
                </a:lnTo>
                <a:lnTo>
                  <a:pt x="366" y="102"/>
                </a:lnTo>
                <a:lnTo>
                  <a:pt x="372" y="108"/>
                </a:lnTo>
                <a:lnTo>
                  <a:pt x="372" y="108"/>
                </a:lnTo>
                <a:lnTo>
                  <a:pt x="372" y="108"/>
                </a:lnTo>
                <a:lnTo>
                  <a:pt x="366" y="108"/>
                </a:lnTo>
                <a:lnTo>
                  <a:pt x="366" y="108"/>
                </a:lnTo>
                <a:lnTo>
                  <a:pt x="366" y="108"/>
                </a:lnTo>
                <a:lnTo>
                  <a:pt x="366" y="108"/>
                </a:lnTo>
                <a:lnTo>
                  <a:pt x="366" y="108"/>
                </a:lnTo>
                <a:lnTo>
                  <a:pt x="366" y="108"/>
                </a:lnTo>
                <a:lnTo>
                  <a:pt x="366" y="108"/>
                </a:lnTo>
                <a:lnTo>
                  <a:pt x="360" y="108"/>
                </a:lnTo>
                <a:lnTo>
                  <a:pt x="366" y="114"/>
                </a:lnTo>
                <a:lnTo>
                  <a:pt x="360" y="114"/>
                </a:lnTo>
                <a:lnTo>
                  <a:pt x="360" y="114"/>
                </a:lnTo>
                <a:lnTo>
                  <a:pt x="360" y="114"/>
                </a:lnTo>
                <a:lnTo>
                  <a:pt x="360" y="114"/>
                </a:lnTo>
                <a:lnTo>
                  <a:pt x="360" y="114"/>
                </a:lnTo>
                <a:lnTo>
                  <a:pt x="360" y="114"/>
                </a:lnTo>
                <a:lnTo>
                  <a:pt x="360" y="120"/>
                </a:lnTo>
                <a:lnTo>
                  <a:pt x="360" y="120"/>
                </a:lnTo>
                <a:lnTo>
                  <a:pt x="360" y="120"/>
                </a:lnTo>
                <a:lnTo>
                  <a:pt x="360" y="120"/>
                </a:lnTo>
                <a:lnTo>
                  <a:pt x="360" y="120"/>
                </a:lnTo>
                <a:lnTo>
                  <a:pt x="360" y="120"/>
                </a:lnTo>
                <a:lnTo>
                  <a:pt x="360" y="120"/>
                </a:lnTo>
                <a:lnTo>
                  <a:pt x="360" y="120"/>
                </a:lnTo>
                <a:lnTo>
                  <a:pt x="354" y="120"/>
                </a:lnTo>
                <a:lnTo>
                  <a:pt x="354" y="120"/>
                </a:lnTo>
                <a:lnTo>
                  <a:pt x="354" y="120"/>
                </a:lnTo>
                <a:lnTo>
                  <a:pt x="354" y="120"/>
                </a:lnTo>
                <a:lnTo>
                  <a:pt x="354" y="120"/>
                </a:lnTo>
                <a:lnTo>
                  <a:pt x="354" y="126"/>
                </a:lnTo>
                <a:lnTo>
                  <a:pt x="354" y="120"/>
                </a:lnTo>
                <a:lnTo>
                  <a:pt x="354" y="120"/>
                </a:lnTo>
                <a:lnTo>
                  <a:pt x="354" y="120"/>
                </a:lnTo>
                <a:lnTo>
                  <a:pt x="348" y="126"/>
                </a:lnTo>
                <a:lnTo>
                  <a:pt x="348" y="126"/>
                </a:lnTo>
                <a:lnTo>
                  <a:pt x="354" y="126"/>
                </a:lnTo>
                <a:lnTo>
                  <a:pt x="348" y="126"/>
                </a:lnTo>
                <a:lnTo>
                  <a:pt x="348" y="126"/>
                </a:lnTo>
                <a:lnTo>
                  <a:pt x="348" y="126"/>
                </a:lnTo>
                <a:lnTo>
                  <a:pt x="348" y="126"/>
                </a:lnTo>
                <a:lnTo>
                  <a:pt x="348" y="126"/>
                </a:lnTo>
                <a:lnTo>
                  <a:pt x="348" y="126"/>
                </a:lnTo>
                <a:lnTo>
                  <a:pt x="348" y="126"/>
                </a:lnTo>
                <a:lnTo>
                  <a:pt x="348" y="126"/>
                </a:lnTo>
                <a:lnTo>
                  <a:pt x="348" y="126"/>
                </a:lnTo>
                <a:lnTo>
                  <a:pt x="348" y="126"/>
                </a:lnTo>
                <a:lnTo>
                  <a:pt x="348" y="126"/>
                </a:lnTo>
                <a:lnTo>
                  <a:pt x="348" y="126"/>
                </a:lnTo>
                <a:lnTo>
                  <a:pt x="348" y="132"/>
                </a:lnTo>
                <a:lnTo>
                  <a:pt x="348" y="132"/>
                </a:lnTo>
                <a:lnTo>
                  <a:pt x="342" y="132"/>
                </a:lnTo>
                <a:lnTo>
                  <a:pt x="348" y="132"/>
                </a:lnTo>
                <a:lnTo>
                  <a:pt x="342" y="132"/>
                </a:lnTo>
                <a:lnTo>
                  <a:pt x="348" y="132"/>
                </a:lnTo>
                <a:lnTo>
                  <a:pt x="348" y="132"/>
                </a:lnTo>
                <a:lnTo>
                  <a:pt x="342" y="132"/>
                </a:lnTo>
                <a:lnTo>
                  <a:pt x="342" y="132"/>
                </a:lnTo>
                <a:lnTo>
                  <a:pt x="342" y="132"/>
                </a:lnTo>
                <a:lnTo>
                  <a:pt x="342" y="138"/>
                </a:lnTo>
                <a:lnTo>
                  <a:pt x="342" y="138"/>
                </a:lnTo>
                <a:lnTo>
                  <a:pt x="348" y="138"/>
                </a:lnTo>
                <a:lnTo>
                  <a:pt x="348" y="138"/>
                </a:lnTo>
                <a:lnTo>
                  <a:pt x="342" y="138"/>
                </a:lnTo>
                <a:lnTo>
                  <a:pt x="342" y="138"/>
                </a:lnTo>
                <a:lnTo>
                  <a:pt x="342" y="138"/>
                </a:lnTo>
                <a:lnTo>
                  <a:pt x="342" y="138"/>
                </a:lnTo>
                <a:lnTo>
                  <a:pt x="342" y="138"/>
                </a:lnTo>
                <a:lnTo>
                  <a:pt x="342" y="138"/>
                </a:lnTo>
                <a:lnTo>
                  <a:pt x="342" y="138"/>
                </a:lnTo>
                <a:lnTo>
                  <a:pt x="342" y="138"/>
                </a:lnTo>
                <a:lnTo>
                  <a:pt x="342" y="144"/>
                </a:lnTo>
                <a:lnTo>
                  <a:pt x="342" y="144"/>
                </a:lnTo>
                <a:lnTo>
                  <a:pt x="342" y="144"/>
                </a:lnTo>
                <a:lnTo>
                  <a:pt x="342" y="144"/>
                </a:lnTo>
                <a:lnTo>
                  <a:pt x="342" y="144"/>
                </a:lnTo>
                <a:lnTo>
                  <a:pt x="342" y="144"/>
                </a:lnTo>
                <a:lnTo>
                  <a:pt x="342" y="144"/>
                </a:lnTo>
                <a:lnTo>
                  <a:pt x="342" y="144"/>
                </a:lnTo>
                <a:lnTo>
                  <a:pt x="342" y="144"/>
                </a:lnTo>
                <a:lnTo>
                  <a:pt x="342" y="150"/>
                </a:lnTo>
                <a:lnTo>
                  <a:pt x="336" y="150"/>
                </a:lnTo>
                <a:lnTo>
                  <a:pt x="336" y="150"/>
                </a:lnTo>
                <a:lnTo>
                  <a:pt x="336" y="150"/>
                </a:lnTo>
                <a:lnTo>
                  <a:pt x="336" y="150"/>
                </a:lnTo>
                <a:lnTo>
                  <a:pt x="336" y="150"/>
                </a:lnTo>
                <a:lnTo>
                  <a:pt x="336" y="150"/>
                </a:lnTo>
                <a:lnTo>
                  <a:pt x="336" y="150"/>
                </a:lnTo>
                <a:lnTo>
                  <a:pt x="336" y="150"/>
                </a:lnTo>
                <a:lnTo>
                  <a:pt x="330" y="150"/>
                </a:lnTo>
                <a:lnTo>
                  <a:pt x="336" y="150"/>
                </a:lnTo>
                <a:lnTo>
                  <a:pt x="336" y="150"/>
                </a:lnTo>
                <a:lnTo>
                  <a:pt x="330" y="150"/>
                </a:lnTo>
                <a:lnTo>
                  <a:pt x="336" y="150"/>
                </a:lnTo>
                <a:lnTo>
                  <a:pt x="336" y="156"/>
                </a:lnTo>
                <a:lnTo>
                  <a:pt x="336" y="156"/>
                </a:lnTo>
                <a:lnTo>
                  <a:pt x="336" y="156"/>
                </a:lnTo>
                <a:lnTo>
                  <a:pt x="336" y="156"/>
                </a:lnTo>
                <a:lnTo>
                  <a:pt x="336" y="156"/>
                </a:lnTo>
                <a:lnTo>
                  <a:pt x="336" y="156"/>
                </a:lnTo>
                <a:lnTo>
                  <a:pt x="336" y="156"/>
                </a:lnTo>
                <a:lnTo>
                  <a:pt x="330" y="156"/>
                </a:lnTo>
                <a:lnTo>
                  <a:pt x="330" y="156"/>
                </a:lnTo>
                <a:lnTo>
                  <a:pt x="330" y="162"/>
                </a:lnTo>
                <a:lnTo>
                  <a:pt x="330" y="162"/>
                </a:lnTo>
                <a:lnTo>
                  <a:pt x="330" y="162"/>
                </a:lnTo>
                <a:lnTo>
                  <a:pt x="330" y="162"/>
                </a:lnTo>
                <a:lnTo>
                  <a:pt x="330" y="162"/>
                </a:lnTo>
                <a:lnTo>
                  <a:pt x="330" y="162"/>
                </a:lnTo>
                <a:lnTo>
                  <a:pt x="330" y="162"/>
                </a:lnTo>
                <a:lnTo>
                  <a:pt x="330" y="162"/>
                </a:lnTo>
                <a:lnTo>
                  <a:pt x="330" y="162"/>
                </a:lnTo>
                <a:lnTo>
                  <a:pt x="330" y="162"/>
                </a:lnTo>
                <a:lnTo>
                  <a:pt x="330" y="168"/>
                </a:lnTo>
                <a:lnTo>
                  <a:pt x="330" y="162"/>
                </a:lnTo>
                <a:lnTo>
                  <a:pt x="336" y="168"/>
                </a:lnTo>
                <a:lnTo>
                  <a:pt x="330" y="168"/>
                </a:lnTo>
                <a:lnTo>
                  <a:pt x="330" y="168"/>
                </a:lnTo>
                <a:lnTo>
                  <a:pt x="330" y="174"/>
                </a:lnTo>
                <a:lnTo>
                  <a:pt x="330" y="174"/>
                </a:lnTo>
                <a:lnTo>
                  <a:pt x="330" y="174"/>
                </a:lnTo>
                <a:lnTo>
                  <a:pt x="330" y="174"/>
                </a:lnTo>
                <a:lnTo>
                  <a:pt x="330" y="180"/>
                </a:lnTo>
                <a:lnTo>
                  <a:pt x="330" y="180"/>
                </a:lnTo>
                <a:lnTo>
                  <a:pt x="330" y="180"/>
                </a:lnTo>
                <a:lnTo>
                  <a:pt x="330" y="180"/>
                </a:lnTo>
                <a:lnTo>
                  <a:pt x="330" y="180"/>
                </a:lnTo>
                <a:lnTo>
                  <a:pt x="330" y="186"/>
                </a:lnTo>
                <a:lnTo>
                  <a:pt x="330" y="186"/>
                </a:lnTo>
                <a:lnTo>
                  <a:pt x="324" y="186"/>
                </a:lnTo>
                <a:lnTo>
                  <a:pt x="330" y="186"/>
                </a:lnTo>
                <a:lnTo>
                  <a:pt x="324" y="192"/>
                </a:lnTo>
                <a:lnTo>
                  <a:pt x="324" y="192"/>
                </a:lnTo>
                <a:lnTo>
                  <a:pt x="324" y="192"/>
                </a:lnTo>
                <a:lnTo>
                  <a:pt x="324" y="192"/>
                </a:lnTo>
                <a:lnTo>
                  <a:pt x="324" y="192"/>
                </a:lnTo>
                <a:lnTo>
                  <a:pt x="324" y="192"/>
                </a:lnTo>
                <a:lnTo>
                  <a:pt x="318" y="192"/>
                </a:lnTo>
                <a:lnTo>
                  <a:pt x="318" y="198"/>
                </a:lnTo>
                <a:lnTo>
                  <a:pt x="318" y="198"/>
                </a:lnTo>
                <a:lnTo>
                  <a:pt x="318" y="198"/>
                </a:lnTo>
                <a:lnTo>
                  <a:pt x="318" y="198"/>
                </a:lnTo>
                <a:lnTo>
                  <a:pt x="318" y="198"/>
                </a:lnTo>
                <a:lnTo>
                  <a:pt x="318" y="198"/>
                </a:lnTo>
                <a:lnTo>
                  <a:pt x="318" y="204"/>
                </a:lnTo>
                <a:lnTo>
                  <a:pt x="312" y="204"/>
                </a:lnTo>
                <a:lnTo>
                  <a:pt x="312" y="204"/>
                </a:lnTo>
                <a:lnTo>
                  <a:pt x="312" y="204"/>
                </a:lnTo>
                <a:lnTo>
                  <a:pt x="312" y="204"/>
                </a:lnTo>
                <a:lnTo>
                  <a:pt x="312" y="204"/>
                </a:lnTo>
                <a:lnTo>
                  <a:pt x="312" y="204"/>
                </a:lnTo>
                <a:lnTo>
                  <a:pt x="312" y="204"/>
                </a:lnTo>
                <a:lnTo>
                  <a:pt x="312" y="204"/>
                </a:lnTo>
                <a:lnTo>
                  <a:pt x="312" y="210"/>
                </a:lnTo>
                <a:lnTo>
                  <a:pt x="306" y="210"/>
                </a:lnTo>
                <a:lnTo>
                  <a:pt x="306" y="210"/>
                </a:lnTo>
                <a:lnTo>
                  <a:pt x="306" y="210"/>
                </a:lnTo>
                <a:lnTo>
                  <a:pt x="306" y="210"/>
                </a:lnTo>
                <a:lnTo>
                  <a:pt x="306" y="210"/>
                </a:lnTo>
                <a:lnTo>
                  <a:pt x="300" y="210"/>
                </a:lnTo>
                <a:lnTo>
                  <a:pt x="300" y="216"/>
                </a:lnTo>
                <a:lnTo>
                  <a:pt x="300" y="216"/>
                </a:lnTo>
                <a:lnTo>
                  <a:pt x="300" y="216"/>
                </a:lnTo>
                <a:lnTo>
                  <a:pt x="300" y="216"/>
                </a:lnTo>
                <a:lnTo>
                  <a:pt x="300" y="216"/>
                </a:lnTo>
                <a:lnTo>
                  <a:pt x="300" y="216"/>
                </a:lnTo>
                <a:lnTo>
                  <a:pt x="300" y="216"/>
                </a:lnTo>
                <a:lnTo>
                  <a:pt x="300" y="216"/>
                </a:lnTo>
                <a:lnTo>
                  <a:pt x="294" y="216"/>
                </a:lnTo>
                <a:lnTo>
                  <a:pt x="294" y="216"/>
                </a:lnTo>
                <a:lnTo>
                  <a:pt x="294" y="216"/>
                </a:lnTo>
                <a:lnTo>
                  <a:pt x="294" y="216"/>
                </a:lnTo>
                <a:lnTo>
                  <a:pt x="294" y="216"/>
                </a:lnTo>
                <a:lnTo>
                  <a:pt x="294" y="222"/>
                </a:lnTo>
                <a:lnTo>
                  <a:pt x="294" y="222"/>
                </a:lnTo>
                <a:lnTo>
                  <a:pt x="294" y="222"/>
                </a:lnTo>
                <a:lnTo>
                  <a:pt x="294" y="222"/>
                </a:lnTo>
                <a:lnTo>
                  <a:pt x="294" y="228"/>
                </a:lnTo>
                <a:lnTo>
                  <a:pt x="294" y="228"/>
                </a:lnTo>
                <a:lnTo>
                  <a:pt x="294" y="228"/>
                </a:lnTo>
                <a:lnTo>
                  <a:pt x="294" y="228"/>
                </a:lnTo>
                <a:lnTo>
                  <a:pt x="294" y="228"/>
                </a:lnTo>
                <a:lnTo>
                  <a:pt x="294" y="234"/>
                </a:lnTo>
                <a:lnTo>
                  <a:pt x="294" y="234"/>
                </a:lnTo>
                <a:lnTo>
                  <a:pt x="294" y="234"/>
                </a:lnTo>
                <a:lnTo>
                  <a:pt x="288" y="234"/>
                </a:lnTo>
                <a:lnTo>
                  <a:pt x="288" y="234"/>
                </a:lnTo>
                <a:lnTo>
                  <a:pt x="288" y="234"/>
                </a:lnTo>
                <a:lnTo>
                  <a:pt x="288" y="234"/>
                </a:lnTo>
                <a:lnTo>
                  <a:pt x="288" y="234"/>
                </a:lnTo>
                <a:lnTo>
                  <a:pt x="288" y="234"/>
                </a:lnTo>
                <a:lnTo>
                  <a:pt x="288" y="240"/>
                </a:lnTo>
                <a:lnTo>
                  <a:pt x="288" y="240"/>
                </a:lnTo>
                <a:lnTo>
                  <a:pt x="288" y="240"/>
                </a:lnTo>
                <a:lnTo>
                  <a:pt x="288" y="240"/>
                </a:lnTo>
                <a:lnTo>
                  <a:pt x="288" y="240"/>
                </a:lnTo>
                <a:lnTo>
                  <a:pt x="288" y="246"/>
                </a:lnTo>
                <a:lnTo>
                  <a:pt x="282" y="246"/>
                </a:lnTo>
                <a:lnTo>
                  <a:pt x="282" y="246"/>
                </a:lnTo>
                <a:lnTo>
                  <a:pt x="282" y="246"/>
                </a:lnTo>
                <a:lnTo>
                  <a:pt x="282" y="246"/>
                </a:lnTo>
                <a:lnTo>
                  <a:pt x="282" y="246"/>
                </a:lnTo>
                <a:lnTo>
                  <a:pt x="282" y="246"/>
                </a:lnTo>
                <a:lnTo>
                  <a:pt x="282" y="246"/>
                </a:lnTo>
                <a:lnTo>
                  <a:pt x="276" y="252"/>
                </a:lnTo>
                <a:lnTo>
                  <a:pt x="276" y="252"/>
                </a:lnTo>
                <a:lnTo>
                  <a:pt x="276" y="252"/>
                </a:lnTo>
                <a:lnTo>
                  <a:pt x="276" y="252"/>
                </a:lnTo>
                <a:lnTo>
                  <a:pt x="276" y="252"/>
                </a:lnTo>
                <a:lnTo>
                  <a:pt x="276" y="252"/>
                </a:lnTo>
                <a:lnTo>
                  <a:pt x="276" y="258"/>
                </a:lnTo>
                <a:lnTo>
                  <a:pt x="276" y="258"/>
                </a:lnTo>
                <a:lnTo>
                  <a:pt x="270" y="258"/>
                </a:lnTo>
                <a:lnTo>
                  <a:pt x="270" y="264"/>
                </a:lnTo>
                <a:lnTo>
                  <a:pt x="270" y="264"/>
                </a:lnTo>
                <a:lnTo>
                  <a:pt x="270" y="264"/>
                </a:lnTo>
                <a:lnTo>
                  <a:pt x="264" y="270"/>
                </a:lnTo>
                <a:lnTo>
                  <a:pt x="264" y="276"/>
                </a:lnTo>
                <a:lnTo>
                  <a:pt x="258" y="282"/>
                </a:lnTo>
                <a:lnTo>
                  <a:pt x="258" y="282"/>
                </a:lnTo>
                <a:lnTo>
                  <a:pt x="258" y="282"/>
                </a:lnTo>
                <a:lnTo>
                  <a:pt x="252" y="282"/>
                </a:lnTo>
                <a:lnTo>
                  <a:pt x="252" y="288"/>
                </a:lnTo>
                <a:lnTo>
                  <a:pt x="252" y="288"/>
                </a:lnTo>
                <a:lnTo>
                  <a:pt x="252" y="288"/>
                </a:lnTo>
                <a:lnTo>
                  <a:pt x="246" y="288"/>
                </a:lnTo>
                <a:lnTo>
                  <a:pt x="246" y="288"/>
                </a:lnTo>
                <a:lnTo>
                  <a:pt x="246" y="288"/>
                </a:lnTo>
                <a:lnTo>
                  <a:pt x="246" y="288"/>
                </a:lnTo>
                <a:lnTo>
                  <a:pt x="246" y="288"/>
                </a:lnTo>
                <a:lnTo>
                  <a:pt x="240" y="288"/>
                </a:lnTo>
                <a:lnTo>
                  <a:pt x="240" y="288"/>
                </a:lnTo>
                <a:lnTo>
                  <a:pt x="240" y="288"/>
                </a:lnTo>
                <a:lnTo>
                  <a:pt x="240" y="288"/>
                </a:lnTo>
                <a:lnTo>
                  <a:pt x="234" y="282"/>
                </a:lnTo>
                <a:lnTo>
                  <a:pt x="234" y="288"/>
                </a:lnTo>
                <a:lnTo>
                  <a:pt x="234" y="288"/>
                </a:lnTo>
                <a:lnTo>
                  <a:pt x="216" y="300"/>
                </a:lnTo>
                <a:lnTo>
                  <a:pt x="204" y="312"/>
                </a:lnTo>
                <a:lnTo>
                  <a:pt x="198" y="312"/>
                </a:lnTo>
                <a:lnTo>
                  <a:pt x="198" y="318"/>
                </a:lnTo>
                <a:lnTo>
                  <a:pt x="180" y="330"/>
                </a:lnTo>
                <a:lnTo>
                  <a:pt x="180" y="330"/>
                </a:lnTo>
                <a:lnTo>
                  <a:pt x="156" y="348"/>
                </a:lnTo>
                <a:lnTo>
                  <a:pt x="156" y="348"/>
                </a:lnTo>
                <a:lnTo>
                  <a:pt x="150" y="348"/>
                </a:lnTo>
                <a:lnTo>
                  <a:pt x="150" y="348"/>
                </a:lnTo>
                <a:lnTo>
                  <a:pt x="150" y="348"/>
                </a:lnTo>
                <a:lnTo>
                  <a:pt x="150" y="354"/>
                </a:lnTo>
                <a:lnTo>
                  <a:pt x="150" y="354"/>
                </a:lnTo>
                <a:lnTo>
                  <a:pt x="150" y="354"/>
                </a:lnTo>
                <a:lnTo>
                  <a:pt x="138" y="366"/>
                </a:lnTo>
                <a:lnTo>
                  <a:pt x="108" y="384"/>
                </a:lnTo>
                <a:lnTo>
                  <a:pt x="102" y="384"/>
                </a:lnTo>
                <a:lnTo>
                  <a:pt x="96" y="384"/>
                </a:lnTo>
                <a:lnTo>
                  <a:pt x="90" y="384"/>
                </a:lnTo>
                <a:lnTo>
                  <a:pt x="90" y="378"/>
                </a:lnTo>
                <a:lnTo>
                  <a:pt x="84" y="378"/>
                </a:lnTo>
                <a:lnTo>
                  <a:pt x="84" y="378"/>
                </a:lnTo>
                <a:lnTo>
                  <a:pt x="78" y="378"/>
                </a:lnTo>
                <a:lnTo>
                  <a:pt x="78" y="378"/>
                </a:lnTo>
                <a:lnTo>
                  <a:pt x="78" y="378"/>
                </a:lnTo>
                <a:lnTo>
                  <a:pt x="78" y="372"/>
                </a:lnTo>
                <a:lnTo>
                  <a:pt x="78" y="372"/>
                </a:lnTo>
                <a:lnTo>
                  <a:pt x="78" y="372"/>
                </a:lnTo>
                <a:lnTo>
                  <a:pt x="78" y="372"/>
                </a:lnTo>
                <a:lnTo>
                  <a:pt x="78" y="372"/>
                </a:lnTo>
                <a:lnTo>
                  <a:pt x="78" y="372"/>
                </a:lnTo>
                <a:lnTo>
                  <a:pt x="78" y="366"/>
                </a:lnTo>
                <a:lnTo>
                  <a:pt x="78" y="366"/>
                </a:lnTo>
                <a:lnTo>
                  <a:pt x="72" y="360"/>
                </a:lnTo>
                <a:lnTo>
                  <a:pt x="78" y="360"/>
                </a:lnTo>
                <a:lnTo>
                  <a:pt x="78" y="354"/>
                </a:lnTo>
                <a:lnTo>
                  <a:pt x="78" y="354"/>
                </a:lnTo>
                <a:lnTo>
                  <a:pt x="78" y="348"/>
                </a:lnTo>
                <a:lnTo>
                  <a:pt x="72" y="342"/>
                </a:lnTo>
                <a:lnTo>
                  <a:pt x="72" y="342"/>
                </a:lnTo>
                <a:lnTo>
                  <a:pt x="78" y="342"/>
                </a:lnTo>
                <a:lnTo>
                  <a:pt x="78" y="336"/>
                </a:lnTo>
                <a:lnTo>
                  <a:pt x="78" y="336"/>
                </a:lnTo>
                <a:lnTo>
                  <a:pt x="78" y="336"/>
                </a:lnTo>
                <a:lnTo>
                  <a:pt x="78" y="336"/>
                </a:lnTo>
                <a:lnTo>
                  <a:pt x="84" y="336"/>
                </a:lnTo>
                <a:lnTo>
                  <a:pt x="84" y="336"/>
                </a:lnTo>
                <a:lnTo>
                  <a:pt x="84" y="336"/>
                </a:lnTo>
                <a:lnTo>
                  <a:pt x="84" y="336"/>
                </a:lnTo>
                <a:lnTo>
                  <a:pt x="90" y="336"/>
                </a:lnTo>
                <a:lnTo>
                  <a:pt x="90" y="336"/>
                </a:lnTo>
                <a:lnTo>
                  <a:pt x="84" y="330"/>
                </a:lnTo>
                <a:lnTo>
                  <a:pt x="84" y="330"/>
                </a:lnTo>
                <a:lnTo>
                  <a:pt x="78" y="318"/>
                </a:lnTo>
                <a:lnTo>
                  <a:pt x="78" y="264"/>
                </a:lnTo>
                <a:lnTo>
                  <a:pt x="78" y="258"/>
                </a:lnTo>
                <a:lnTo>
                  <a:pt x="78" y="258"/>
                </a:lnTo>
                <a:lnTo>
                  <a:pt x="78" y="258"/>
                </a:lnTo>
                <a:lnTo>
                  <a:pt x="78" y="258"/>
                </a:lnTo>
                <a:lnTo>
                  <a:pt x="78" y="258"/>
                </a:lnTo>
                <a:lnTo>
                  <a:pt x="72" y="252"/>
                </a:lnTo>
                <a:lnTo>
                  <a:pt x="78" y="252"/>
                </a:lnTo>
                <a:lnTo>
                  <a:pt x="72" y="252"/>
                </a:lnTo>
                <a:lnTo>
                  <a:pt x="72" y="252"/>
                </a:lnTo>
                <a:lnTo>
                  <a:pt x="72" y="252"/>
                </a:lnTo>
                <a:lnTo>
                  <a:pt x="66" y="252"/>
                </a:lnTo>
                <a:lnTo>
                  <a:pt x="66" y="252"/>
                </a:lnTo>
                <a:lnTo>
                  <a:pt x="66" y="252"/>
                </a:lnTo>
                <a:lnTo>
                  <a:pt x="66" y="252"/>
                </a:lnTo>
                <a:lnTo>
                  <a:pt x="66" y="252"/>
                </a:lnTo>
                <a:lnTo>
                  <a:pt x="66" y="252"/>
                </a:lnTo>
                <a:lnTo>
                  <a:pt x="60" y="252"/>
                </a:lnTo>
                <a:lnTo>
                  <a:pt x="60" y="252"/>
                </a:lnTo>
                <a:lnTo>
                  <a:pt x="60" y="252"/>
                </a:lnTo>
                <a:lnTo>
                  <a:pt x="60" y="258"/>
                </a:lnTo>
                <a:lnTo>
                  <a:pt x="54" y="258"/>
                </a:lnTo>
                <a:lnTo>
                  <a:pt x="54" y="258"/>
                </a:lnTo>
                <a:lnTo>
                  <a:pt x="54" y="258"/>
                </a:lnTo>
                <a:lnTo>
                  <a:pt x="54" y="258"/>
                </a:lnTo>
                <a:lnTo>
                  <a:pt x="54" y="258"/>
                </a:lnTo>
                <a:lnTo>
                  <a:pt x="54" y="258"/>
                </a:lnTo>
                <a:lnTo>
                  <a:pt x="54" y="264"/>
                </a:lnTo>
                <a:lnTo>
                  <a:pt x="48" y="264"/>
                </a:lnTo>
                <a:lnTo>
                  <a:pt x="48" y="264"/>
                </a:lnTo>
                <a:lnTo>
                  <a:pt x="48" y="264"/>
                </a:lnTo>
                <a:lnTo>
                  <a:pt x="48" y="264"/>
                </a:lnTo>
                <a:lnTo>
                  <a:pt x="42" y="264"/>
                </a:lnTo>
                <a:lnTo>
                  <a:pt x="42" y="264"/>
                </a:lnTo>
                <a:lnTo>
                  <a:pt x="42" y="264"/>
                </a:lnTo>
                <a:lnTo>
                  <a:pt x="42" y="270"/>
                </a:lnTo>
                <a:lnTo>
                  <a:pt x="42" y="270"/>
                </a:lnTo>
                <a:lnTo>
                  <a:pt x="36" y="270"/>
                </a:lnTo>
                <a:lnTo>
                  <a:pt x="36" y="270"/>
                </a:lnTo>
                <a:lnTo>
                  <a:pt x="36" y="276"/>
                </a:lnTo>
                <a:lnTo>
                  <a:pt x="12" y="276"/>
                </a:lnTo>
                <a:lnTo>
                  <a:pt x="12" y="270"/>
                </a:lnTo>
                <a:lnTo>
                  <a:pt x="12" y="270"/>
                </a:lnTo>
                <a:lnTo>
                  <a:pt x="12" y="264"/>
                </a:lnTo>
                <a:lnTo>
                  <a:pt x="12" y="258"/>
                </a:lnTo>
                <a:lnTo>
                  <a:pt x="12" y="258"/>
                </a:lnTo>
                <a:lnTo>
                  <a:pt x="12" y="258"/>
                </a:lnTo>
                <a:lnTo>
                  <a:pt x="12" y="252"/>
                </a:lnTo>
                <a:lnTo>
                  <a:pt x="6" y="252"/>
                </a:lnTo>
                <a:lnTo>
                  <a:pt x="6" y="240"/>
                </a:lnTo>
                <a:lnTo>
                  <a:pt x="6" y="240"/>
                </a:lnTo>
                <a:lnTo>
                  <a:pt x="0" y="234"/>
                </a:lnTo>
                <a:lnTo>
                  <a:pt x="0" y="228"/>
                </a:lnTo>
                <a:lnTo>
                  <a:pt x="0" y="21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02" name="Freeform 35"/>
          <p:cNvSpPr>
            <a:spLocks/>
          </p:cNvSpPr>
          <p:nvPr/>
        </p:nvSpPr>
        <p:spPr bwMode="auto">
          <a:xfrm>
            <a:off x="6761917" y="1308402"/>
            <a:ext cx="244114" cy="269812"/>
          </a:xfrm>
          <a:custGeom>
            <a:avLst/>
            <a:gdLst>
              <a:gd name="T0" fmla="*/ 18 w 228"/>
              <a:gd name="T1" fmla="*/ 186 h 252"/>
              <a:gd name="T2" fmla="*/ 24 w 228"/>
              <a:gd name="T3" fmla="*/ 174 h 252"/>
              <a:gd name="T4" fmla="*/ 24 w 228"/>
              <a:gd name="T5" fmla="*/ 162 h 252"/>
              <a:gd name="T6" fmla="*/ 36 w 228"/>
              <a:gd name="T7" fmla="*/ 156 h 252"/>
              <a:gd name="T8" fmla="*/ 36 w 228"/>
              <a:gd name="T9" fmla="*/ 156 h 252"/>
              <a:gd name="T10" fmla="*/ 36 w 228"/>
              <a:gd name="T11" fmla="*/ 150 h 252"/>
              <a:gd name="T12" fmla="*/ 42 w 228"/>
              <a:gd name="T13" fmla="*/ 156 h 252"/>
              <a:gd name="T14" fmla="*/ 48 w 228"/>
              <a:gd name="T15" fmla="*/ 150 h 252"/>
              <a:gd name="T16" fmla="*/ 48 w 228"/>
              <a:gd name="T17" fmla="*/ 144 h 252"/>
              <a:gd name="T18" fmla="*/ 48 w 228"/>
              <a:gd name="T19" fmla="*/ 138 h 252"/>
              <a:gd name="T20" fmla="*/ 54 w 228"/>
              <a:gd name="T21" fmla="*/ 132 h 252"/>
              <a:gd name="T22" fmla="*/ 54 w 228"/>
              <a:gd name="T23" fmla="*/ 120 h 252"/>
              <a:gd name="T24" fmla="*/ 60 w 228"/>
              <a:gd name="T25" fmla="*/ 114 h 252"/>
              <a:gd name="T26" fmla="*/ 72 w 228"/>
              <a:gd name="T27" fmla="*/ 102 h 252"/>
              <a:gd name="T28" fmla="*/ 90 w 228"/>
              <a:gd name="T29" fmla="*/ 90 h 252"/>
              <a:gd name="T30" fmla="*/ 96 w 228"/>
              <a:gd name="T31" fmla="*/ 66 h 252"/>
              <a:gd name="T32" fmla="*/ 144 w 228"/>
              <a:gd name="T33" fmla="*/ 30 h 252"/>
              <a:gd name="T34" fmla="*/ 156 w 228"/>
              <a:gd name="T35" fmla="*/ 24 h 252"/>
              <a:gd name="T36" fmla="*/ 150 w 228"/>
              <a:gd name="T37" fmla="*/ 6 h 252"/>
              <a:gd name="T38" fmla="*/ 150 w 228"/>
              <a:gd name="T39" fmla="*/ 6 h 252"/>
              <a:gd name="T40" fmla="*/ 162 w 228"/>
              <a:gd name="T41" fmla="*/ 0 h 252"/>
              <a:gd name="T42" fmla="*/ 174 w 228"/>
              <a:gd name="T43" fmla="*/ 0 h 252"/>
              <a:gd name="T44" fmla="*/ 174 w 228"/>
              <a:gd name="T45" fmla="*/ 6 h 252"/>
              <a:gd name="T46" fmla="*/ 180 w 228"/>
              <a:gd name="T47" fmla="*/ 18 h 252"/>
              <a:gd name="T48" fmla="*/ 186 w 228"/>
              <a:gd name="T49" fmla="*/ 24 h 252"/>
              <a:gd name="T50" fmla="*/ 192 w 228"/>
              <a:gd name="T51" fmla="*/ 30 h 252"/>
              <a:gd name="T52" fmla="*/ 198 w 228"/>
              <a:gd name="T53" fmla="*/ 36 h 252"/>
              <a:gd name="T54" fmla="*/ 204 w 228"/>
              <a:gd name="T55" fmla="*/ 48 h 252"/>
              <a:gd name="T56" fmla="*/ 210 w 228"/>
              <a:gd name="T57" fmla="*/ 42 h 252"/>
              <a:gd name="T58" fmla="*/ 216 w 228"/>
              <a:gd name="T59" fmla="*/ 30 h 252"/>
              <a:gd name="T60" fmla="*/ 222 w 228"/>
              <a:gd name="T61" fmla="*/ 24 h 252"/>
              <a:gd name="T62" fmla="*/ 228 w 228"/>
              <a:gd name="T63" fmla="*/ 36 h 252"/>
              <a:gd name="T64" fmla="*/ 228 w 228"/>
              <a:gd name="T65" fmla="*/ 42 h 252"/>
              <a:gd name="T66" fmla="*/ 228 w 228"/>
              <a:gd name="T67" fmla="*/ 54 h 252"/>
              <a:gd name="T68" fmla="*/ 228 w 228"/>
              <a:gd name="T69" fmla="*/ 66 h 252"/>
              <a:gd name="T70" fmla="*/ 222 w 228"/>
              <a:gd name="T71" fmla="*/ 72 h 252"/>
              <a:gd name="T72" fmla="*/ 216 w 228"/>
              <a:gd name="T73" fmla="*/ 84 h 252"/>
              <a:gd name="T74" fmla="*/ 216 w 228"/>
              <a:gd name="T75" fmla="*/ 90 h 252"/>
              <a:gd name="T76" fmla="*/ 216 w 228"/>
              <a:gd name="T77" fmla="*/ 96 h 252"/>
              <a:gd name="T78" fmla="*/ 210 w 228"/>
              <a:gd name="T79" fmla="*/ 108 h 252"/>
              <a:gd name="T80" fmla="*/ 210 w 228"/>
              <a:gd name="T81" fmla="*/ 108 h 252"/>
              <a:gd name="T82" fmla="*/ 210 w 228"/>
              <a:gd name="T83" fmla="*/ 120 h 252"/>
              <a:gd name="T84" fmla="*/ 210 w 228"/>
              <a:gd name="T85" fmla="*/ 126 h 252"/>
              <a:gd name="T86" fmla="*/ 210 w 228"/>
              <a:gd name="T87" fmla="*/ 132 h 252"/>
              <a:gd name="T88" fmla="*/ 222 w 228"/>
              <a:gd name="T89" fmla="*/ 138 h 252"/>
              <a:gd name="T90" fmla="*/ 222 w 228"/>
              <a:gd name="T91" fmla="*/ 138 h 252"/>
              <a:gd name="T92" fmla="*/ 210 w 228"/>
              <a:gd name="T93" fmla="*/ 156 h 252"/>
              <a:gd name="T94" fmla="*/ 204 w 228"/>
              <a:gd name="T95" fmla="*/ 180 h 252"/>
              <a:gd name="T96" fmla="*/ 192 w 228"/>
              <a:gd name="T97" fmla="*/ 192 h 252"/>
              <a:gd name="T98" fmla="*/ 180 w 228"/>
              <a:gd name="T99" fmla="*/ 204 h 252"/>
              <a:gd name="T100" fmla="*/ 174 w 228"/>
              <a:gd name="T101" fmla="*/ 210 h 252"/>
              <a:gd name="T102" fmla="*/ 168 w 228"/>
              <a:gd name="T103" fmla="*/ 222 h 252"/>
              <a:gd name="T104" fmla="*/ 162 w 228"/>
              <a:gd name="T105" fmla="*/ 222 h 252"/>
              <a:gd name="T106" fmla="*/ 144 w 228"/>
              <a:gd name="T107" fmla="*/ 222 h 252"/>
              <a:gd name="T108" fmla="*/ 126 w 228"/>
              <a:gd name="T109" fmla="*/ 234 h 252"/>
              <a:gd name="T110" fmla="*/ 102 w 228"/>
              <a:gd name="T111" fmla="*/ 246 h 252"/>
              <a:gd name="T112" fmla="*/ 96 w 228"/>
              <a:gd name="T113" fmla="*/ 252 h 252"/>
              <a:gd name="T114" fmla="*/ 24 w 228"/>
              <a:gd name="T115" fmla="*/ 246 h 252"/>
              <a:gd name="T116" fmla="*/ 18 w 228"/>
              <a:gd name="T117" fmla="*/ 234 h 252"/>
              <a:gd name="T118" fmla="*/ 12 w 228"/>
              <a:gd name="T119" fmla="*/ 216 h 252"/>
              <a:gd name="T120" fmla="*/ 0 w 228"/>
              <a:gd name="T121" fmla="*/ 198 h 2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28" h="252">
                <a:moveTo>
                  <a:pt x="6" y="198"/>
                </a:moveTo>
                <a:lnTo>
                  <a:pt x="6" y="192"/>
                </a:lnTo>
                <a:lnTo>
                  <a:pt x="12" y="192"/>
                </a:lnTo>
                <a:lnTo>
                  <a:pt x="12" y="192"/>
                </a:lnTo>
                <a:lnTo>
                  <a:pt x="18" y="186"/>
                </a:lnTo>
                <a:lnTo>
                  <a:pt x="18" y="186"/>
                </a:lnTo>
                <a:lnTo>
                  <a:pt x="24" y="186"/>
                </a:lnTo>
                <a:lnTo>
                  <a:pt x="24" y="186"/>
                </a:lnTo>
                <a:lnTo>
                  <a:pt x="24" y="180"/>
                </a:lnTo>
                <a:lnTo>
                  <a:pt x="24" y="180"/>
                </a:lnTo>
                <a:lnTo>
                  <a:pt x="24" y="174"/>
                </a:lnTo>
                <a:lnTo>
                  <a:pt x="24" y="174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2"/>
                </a:lnTo>
                <a:lnTo>
                  <a:pt x="24" y="162"/>
                </a:lnTo>
                <a:lnTo>
                  <a:pt x="30" y="162"/>
                </a:lnTo>
                <a:lnTo>
                  <a:pt x="30" y="162"/>
                </a:lnTo>
                <a:lnTo>
                  <a:pt x="30" y="162"/>
                </a:lnTo>
                <a:lnTo>
                  <a:pt x="30" y="162"/>
                </a:lnTo>
                <a:lnTo>
                  <a:pt x="30" y="156"/>
                </a:lnTo>
                <a:lnTo>
                  <a:pt x="36" y="156"/>
                </a:lnTo>
                <a:lnTo>
                  <a:pt x="36" y="156"/>
                </a:lnTo>
                <a:lnTo>
                  <a:pt x="36" y="156"/>
                </a:lnTo>
                <a:lnTo>
                  <a:pt x="36" y="156"/>
                </a:lnTo>
                <a:lnTo>
                  <a:pt x="36" y="156"/>
                </a:lnTo>
                <a:lnTo>
                  <a:pt x="36" y="156"/>
                </a:lnTo>
                <a:lnTo>
                  <a:pt x="36" y="156"/>
                </a:lnTo>
                <a:lnTo>
                  <a:pt x="36" y="156"/>
                </a:lnTo>
                <a:lnTo>
                  <a:pt x="36" y="156"/>
                </a:lnTo>
                <a:lnTo>
                  <a:pt x="36" y="156"/>
                </a:lnTo>
                <a:lnTo>
                  <a:pt x="36" y="150"/>
                </a:lnTo>
                <a:lnTo>
                  <a:pt x="36" y="150"/>
                </a:lnTo>
                <a:lnTo>
                  <a:pt x="36" y="150"/>
                </a:lnTo>
                <a:lnTo>
                  <a:pt x="42" y="150"/>
                </a:lnTo>
                <a:lnTo>
                  <a:pt x="36" y="156"/>
                </a:lnTo>
                <a:lnTo>
                  <a:pt x="42" y="156"/>
                </a:lnTo>
                <a:lnTo>
                  <a:pt x="42" y="156"/>
                </a:lnTo>
                <a:lnTo>
                  <a:pt x="42" y="156"/>
                </a:lnTo>
                <a:lnTo>
                  <a:pt x="42" y="156"/>
                </a:lnTo>
                <a:lnTo>
                  <a:pt x="42" y="150"/>
                </a:lnTo>
                <a:lnTo>
                  <a:pt x="42" y="150"/>
                </a:lnTo>
                <a:lnTo>
                  <a:pt x="42" y="150"/>
                </a:lnTo>
                <a:lnTo>
                  <a:pt x="42" y="150"/>
                </a:lnTo>
                <a:lnTo>
                  <a:pt x="42" y="150"/>
                </a:lnTo>
                <a:lnTo>
                  <a:pt x="48" y="150"/>
                </a:lnTo>
                <a:lnTo>
                  <a:pt x="48" y="150"/>
                </a:lnTo>
                <a:lnTo>
                  <a:pt x="48" y="150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2"/>
                </a:lnTo>
                <a:lnTo>
                  <a:pt x="54" y="132"/>
                </a:lnTo>
                <a:lnTo>
                  <a:pt x="60" y="132"/>
                </a:lnTo>
                <a:lnTo>
                  <a:pt x="54" y="132"/>
                </a:lnTo>
                <a:lnTo>
                  <a:pt x="60" y="126"/>
                </a:lnTo>
                <a:lnTo>
                  <a:pt x="54" y="120"/>
                </a:lnTo>
                <a:lnTo>
                  <a:pt x="54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6" y="114"/>
                </a:lnTo>
                <a:lnTo>
                  <a:pt x="66" y="108"/>
                </a:lnTo>
                <a:lnTo>
                  <a:pt x="66" y="108"/>
                </a:lnTo>
                <a:lnTo>
                  <a:pt x="72" y="108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8" y="96"/>
                </a:lnTo>
                <a:lnTo>
                  <a:pt x="78" y="96"/>
                </a:lnTo>
                <a:lnTo>
                  <a:pt x="84" y="96"/>
                </a:lnTo>
                <a:lnTo>
                  <a:pt x="84" y="90"/>
                </a:lnTo>
                <a:lnTo>
                  <a:pt x="90" y="90"/>
                </a:lnTo>
                <a:lnTo>
                  <a:pt x="90" y="84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6" y="72"/>
                </a:lnTo>
                <a:lnTo>
                  <a:pt x="96" y="66"/>
                </a:lnTo>
                <a:lnTo>
                  <a:pt x="96" y="66"/>
                </a:lnTo>
                <a:lnTo>
                  <a:pt x="102" y="66"/>
                </a:lnTo>
                <a:lnTo>
                  <a:pt x="96" y="66"/>
                </a:lnTo>
                <a:lnTo>
                  <a:pt x="96" y="60"/>
                </a:lnTo>
                <a:lnTo>
                  <a:pt x="96" y="60"/>
                </a:lnTo>
                <a:lnTo>
                  <a:pt x="144" y="30"/>
                </a:lnTo>
                <a:lnTo>
                  <a:pt x="144" y="30"/>
                </a:lnTo>
                <a:lnTo>
                  <a:pt x="144" y="24"/>
                </a:lnTo>
                <a:lnTo>
                  <a:pt x="144" y="24"/>
                </a:lnTo>
                <a:lnTo>
                  <a:pt x="150" y="24"/>
                </a:lnTo>
                <a:lnTo>
                  <a:pt x="150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18"/>
                </a:lnTo>
                <a:lnTo>
                  <a:pt x="156" y="18"/>
                </a:lnTo>
                <a:lnTo>
                  <a:pt x="150" y="12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62" y="6"/>
                </a:lnTo>
                <a:lnTo>
                  <a:pt x="162" y="6"/>
                </a:lnTo>
                <a:lnTo>
                  <a:pt x="162" y="0"/>
                </a:lnTo>
                <a:lnTo>
                  <a:pt x="168" y="0"/>
                </a:lnTo>
                <a:lnTo>
                  <a:pt x="168" y="0"/>
                </a:lnTo>
                <a:lnTo>
                  <a:pt x="168" y="0"/>
                </a:lnTo>
                <a:lnTo>
                  <a:pt x="168" y="0"/>
                </a:lnTo>
                <a:lnTo>
                  <a:pt x="168" y="0"/>
                </a:lnTo>
                <a:lnTo>
                  <a:pt x="174" y="0"/>
                </a:lnTo>
                <a:lnTo>
                  <a:pt x="174" y="0"/>
                </a:lnTo>
                <a:lnTo>
                  <a:pt x="174" y="0"/>
                </a:lnTo>
                <a:lnTo>
                  <a:pt x="174" y="0"/>
                </a:lnTo>
                <a:lnTo>
                  <a:pt x="174" y="0"/>
                </a:lnTo>
                <a:lnTo>
                  <a:pt x="174" y="0"/>
                </a:lnTo>
                <a:lnTo>
                  <a:pt x="174" y="6"/>
                </a:lnTo>
                <a:lnTo>
                  <a:pt x="180" y="6"/>
                </a:lnTo>
                <a:lnTo>
                  <a:pt x="180" y="6"/>
                </a:lnTo>
                <a:lnTo>
                  <a:pt x="174" y="12"/>
                </a:lnTo>
                <a:lnTo>
                  <a:pt x="180" y="12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6" y="18"/>
                </a:lnTo>
                <a:lnTo>
                  <a:pt x="186" y="18"/>
                </a:lnTo>
                <a:lnTo>
                  <a:pt x="186" y="24"/>
                </a:lnTo>
                <a:lnTo>
                  <a:pt x="180" y="24"/>
                </a:lnTo>
                <a:lnTo>
                  <a:pt x="186" y="24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92" y="30"/>
                </a:lnTo>
                <a:lnTo>
                  <a:pt x="192" y="30"/>
                </a:lnTo>
                <a:lnTo>
                  <a:pt x="192" y="36"/>
                </a:lnTo>
                <a:lnTo>
                  <a:pt x="192" y="36"/>
                </a:lnTo>
                <a:lnTo>
                  <a:pt x="192" y="42"/>
                </a:lnTo>
                <a:lnTo>
                  <a:pt x="192" y="42"/>
                </a:lnTo>
                <a:lnTo>
                  <a:pt x="192" y="36"/>
                </a:lnTo>
                <a:lnTo>
                  <a:pt x="198" y="36"/>
                </a:lnTo>
                <a:lnTo>
                  <a:pt x="198" y="42"/>
                </a:lnTo>
                <a:lnTo>
                  <a:pt x="198" y="42"/>
                </a:lnTo>
                <a:lnTo>
                  <a:pt x="198" y="42"/>
                </a:lnTo>
                <a:lnTo>
                  <a:pt x="204" y="48"/>
                </a:lnTo>
                <a:lnTo>
                  <a:pt x="204" y="48"/>
                </a:lnTo>
                <a:lnTo>
                  <a:pt x="204" y="48"/>
                </a:lnTo>
                <a:lnTo>
                  <a:pt x="204" y="42"/>
                </a:lnTo>
                <a:lnTo>
                  <a:pt x="204" y="42"/>
                </a:lnTo>
                <a:lnTo>
                  <a:pt x="204" y="42"/>
                </a:lnTo>
                <a:lnTo>
                  <a:pt x="204" y="42"/>
                </a:lnTo>
                <a:lnTo>
                  <a:pt x="210" y="42"/>
                </a:lnTo>
                <a:lnTo>
                  <a:pt x="210" y="42"/>
                </a:lnTo>
                <a:lnTo>
                  <a:pt x="210" y="36"/>
                </a:lnTo>
                <a:lnTo>
                  <a:pt x="210" y="36"/>
                </a:lnTo>
                <a:lnTo>
                  <a:pt x="210" y="36"/>
                </a:lnTo>
                <a:lnTo>
                  <a:pt x="216" y="36"/>
                </a:lnTo>
                <a:lnTo>
                  <a:pt x="216" y="36"/>
                </a:lnTo>
                <a:lnTo>
                  <a:pt x="216" y="30"/>
                </a:lnTo>
                <a:lnTo>
                  <a:pt x="216" y="30"/>
                </a:lnTo>
                <a:lnTo>
                  <a:pt x="216" y="30"/>
                </a:lnTo>
                <a:lnTo>
                  <a:pt x="216" y="30"/>
                </a:lnTo>
                <a:lnTo>
                  <a:pt x="222" y="24"/>
                </a:lnTo>
                <a:lnTo>
                  <a:pt x="222" y="24"/>
                </a:lnTo>
                <a:lnTo>
                  <a:pt x="222" y="24"/>
                </a:lnTo>
                <a:lnTo>
                  <a:pt x="228" y="24"/>
                </a:lnTo>
                <a:lnTo>
                  <a:pt x="228" y="24"/>
                </a:lnTo>
                <a:lnTo>
                  <a:pt x="228" y="24"/>
                </a:lnTo>
                <a:lnTo>
                  <a:pt x="228" y="30"/>
                </a:lnTo>
                <a:lnTo>
                  <a:pt x="228" y="30"/>
                </a:lnTo>
                <a:lnTo>
                  <a:pt x="228" y="36"/>
                </a:lnTo>
                <a:lnTo>
                  <a:pt x="228" y="36"/>
                </a:lnTo>
                <a:lnTo>
                  <a:pt x="228" y="36"/>
                </a:lnTo>
                <a:lnTo>
                  <a:pt x="228" y="42"/>
                </a:lnTo>
                <a:lnTo>
                  <a:pt x="228" y="42"/>
                </a:lnTo>
                <a:lnTo>
                  <a:pt x="228" y="42"/>
                </a:lnTo>
                <a:lnTo>
                  <a:pt x="228" y="42"/>
                </a:lnTo>
                <a:lnTo>
                  <a:pt x="228" y="42"/>
                </a:lnTo>
                <a:lnTo>
                  <a:pt x="228" y="48"/>
                </a:lnTo>
                <a:lnTo>
                  <a:pt x="228" y="48"/>
                </a:lnTo>
                <a:lnTo>
                  <a:pt x="228" y="48"/>
                </a:lnTo>
                <a:lnTo>
                  <a:pt x="228" y="54"/>
                </a:lnTo>
                <a:lnTo>
                  <a:pt x="228" y="54"/>
                </a:lnTo>
                <a:lnTo>
                  <a:pt x="228" y="60"/>
                </a:lnTo>
                <a:lnTo>
                  <a:pt x="228" y="60"/>
                </a:lnTo>
                <a:lnTo>
                  <a:pt x="228" y="60"/>
                </a:lnTo>
                <a:lnTo>
                  <a:pt x="228" y="60"/>
                </a:lnTo>
                <a:lnTo>
                  <a:pt x="228" y="60"/>
                </a:lnTo>
                <a:lnTo>
                  <a:pt x="228" y="66"/>
                </a:lnTo>
                <a:lnTo>
                  <a:pt x="228" y="66"/>
                </a:lnTo>
                <a:lnTo>
                  <a:pt x="228" y="66"/>
                </a:lnTo>
                <a:lnTo>
                  <a:pt x="228" y="66"/>
                </a:lnTo>
                <a:lnTo>
                  <a:pt x="222" y="66"/>
                </a:lnTo>
                <a:lnTo>
                  <a:pt x="222" y="72"/>
                </a:lnTo>
                <a:lnTo>
                  <a:pt x="222" y="72"/>
                </a:lnTo>
                <a:lnTo>
                  <a:pt x="216" y="78"/>
                </a:lnTo>
                <a:lnTo>
                  <a:pt x="216" y="78"/>
                </a:lnTo>
                <a:lnTo>
                  <a:pt x="216" y="78"/>
                </a:lnTo>
                <a:lnTo>
                  <a:pt x="216" y="78"/>
                </a:lnTo>
                <a:lnTo>
                  <a:pt x="216" y="84"/>
                </a:lnTo>
                <a:lnTo>
                  <a:pt x="216" y="84"/>
                </a:lnTo>
                <a:lnTo>
                  <a:pt x="216" y="84"/>
                </a:lnTo>
                <a:lnTo>
                  <a:pt x="216" y="84"/>
                </a:lnTo>
                <a:lnTo>
                  <a:pt x="216" y="84"/>
                </a:lnTo>
                <a:lnTo>
                  <a:pt x="216" y="90"/>
                </a:lnTo>
                <a:lnTo>
                  <a:pt x="216" y="90"/>
                </a:lnTo>
                <a:lnTo>
                  <a:pt x="216" y="90"/>
                </a:lnTo>
                <a:lnTo>
                  <a:pt x="216" y="90"/>
                </a:lnTo>
                <a:lnTo>
                  <a:pt x="216" y="96"/>
                </a:lnTo>
                <a:lnTo>
                  <a:pt x="216" y="96"/>
                </a:lnTo>
                <a:lnTo>
                  <a:pt x="216" y="96"/>
                </a:lnTo>
                <a:lnTo>
                  <a:pt x="216" y="96"/>
                </a:lnTo>
                <a:lnTo>
                  <a:pt x="216" y="96"/>
                </a:lnTo>
                <a:lnTo>
                  <a:pt x="216" y="96"/>
                </a:lnTo>
                <a:lnTo>
                  <a:pt x="216" y="102"/>
                </a:lnTo>
                <a:lnTo>
                  <a:pt x="216" y="102"/>
                </a:lnTo>
                <a:lnTo>
                  <a:pt x="216" y="102"/>
                </a:lnTo>
                <a:lnTo>
                  <a:pt x="210" y="108"/>
                </a:lnTo>
                <a:lnTo>
                  <a:pt x="210" y="108"/>
                </a:lnTo>
                <a:lnTo>
                  <a:pt x="210" y="108"/>
                </a:lnTo>
                <a:lnTo>
                  <a:pt x="210" y="108"/>
                </a:lnTo>
                <a:lnTo>
                  <a:pt x="210" y="108"/>
                </a:lnTo>
                <a:lnTo>
                  <a:pt x="210" y="108"/>
                </a:lnTo>
                <a:lnTo>
                  <a:pt x="210" y="108"/>
                </a:lnTo>
                <a:lnTo>
                  <a:pt x="210" y="108"/>
                </a:lnTo>
                <a:lnTo>
                  <a:pt x="204" y="114"/>
                </a:lnTo>
                <a:lnTo>
                  <a:pt x="204" y="114"/>
                </a:lnTo>
                <a:lnTo>
                  <a:pt x="204" y="114"/>
                </a:lnTo>
                <a:lnTo>
                  <a:pt x="210" y="120"/>
                </a:lnTo>
                <a:lnTo>
                  <a:pt x="210" y="120"/>
                </a:lnTo>
                <a:lnTo>
                  <a:pt x="210" y="120"/>
                </a:lnTo>
                <a:lnTo>
                  <a:pt x="210" y="120"/>
                </a:lnTo>
                <a:lnTo>
                  <a:pt x="210" y="120"/>
                </a:lnTo>
                <a:lnTo>
                  <a:pt x="210" y="126"/>
                </a:lnTo>
                <a:lnTo>
                  <a:pt x="210" y="126"/>
                </a:lnTo>
                <a:lnTo>
                  <a:pt x="210" y="126"/>
                </a:lnTo>
                <a:lnTo>
                  <a:pt x="210" y="126"/>
                </a:lnTo>
                <a:lnTo>
                  <a:pt x="210" y="126"/>
                </a:lnTo>
                <a:lnTo>
                  <a:pt x="210" y="132"/>
                </a:lnTo>
                <a:lnTo>
                  <a:pt x="210" y="132"/>
                </a:lnTo>
                <a:lnTo>
                  <a:pt x="210" y="132"/>
                </a:lnTo>
                <a:lnTo>
                  <a:pt x="210" y="132"/>
                </a:lnTo>
                <a:lnTo>
                  <a:pt x="210" y="132"/>
                </a:lnTo>
                <a:lnTo>
                  <a:pt x="216" y="138"/>
                </a:lnTo>
                <a:lnTo>
                  <a:pt x="216" y="138"/>
                </a:lnTo>
                <a:lnTo>
                  <a:pt x="216" y="132"/>
                </a:lnTo>
                <a:lnTo>
                  <a:pt x="216" y="132"/>
                </a:lnTo>
                <a:lnTo>
                  <a:pt x="216" y="138"/>
                </a:lnTo>
                <a:lnTo>
                  <a:pt x="222" y="138"/>
                </a:lnTo>
                <a:lnTo>
                  <a:pt x="222" y="132"/>
                </a:lnTo>
                <a:lnTo>
                  <a:pt x="222" y="132"/>
                </a:lnTo>
                <a:lnTo>
                  <a:pt x="222" y="132"/>
                </a:lnTo>
                <a:lnTo>
                  <a:pt x="222" y="132"/>
                </a:lnTo>
                <a:lnTo>
                  <a:pt x="222" y="138"/>
                </a:lnTo>
                <a:lnTo>
                  <a:pt x="222" y="138"/>
                </a:lnTo>
                <a:lnTo>
                  <a:pt x="222" y="138"/>
                </a:lnTo>
                <a:lnTo>
                  <a:pt x="222" y="144"/>
                </a:lnTo>
                <a:lnTo>
                  <a:pt x="216" y="144"/>
                </a:lnTo>
                <a:lnTo>
                  <a:pt x="210" y="150"/>
                </a:lnTo>
                <a:lnTo>
                  <a:pt x="210" y="150"/>
                </a:lnTo>
                <a:lnTo>
                  <a:pt x="210" y="156"/>
                </a:lnTo>
                <a:lnTo>
                  <a:pt x="210" y="162"/>
                </a:lnTo>
                <a:lnTo>
                  <a:pt x="204" y="168"/>
                </a:lnTo>
                <a:lnTo>
                  <a:pt x="204" y="168"/>
                </a:lnTo>
                <a:lnTo>
                  <a:pt x="204" y="180"/>
                </a:lnTo>
                <a:lnTo>
                  <a:pt x="204" y="180"/>
                </a:lnTo>
                <a:lnTo>
                  <a:pt x="204" y="180"/>
                </a:lnTo>
                <a:lnTo>
                  <a:pt x="204" y="180"/>
                </a:lnTo>
                <a:lnTo>
                  <a:pt x="204" y="186"/>
                </a:lnTo>
                <a:lnTo>
                  <a:pt x="204" y="186"/>
                </a:lnTo>
                <a:lnTo>
                  <a:pt x="198" y="186"/>
                </a:lnTo>
                <a:lnTo>
                  <a:pt x="198" y="192"/>
                </a:lnTo>
                <a:lnTo>
                  <a:pt x="192" y="192"/>
                </a:lnTo>
                <a:lnTo>
                  <a:pt x="192" y="192"/>
                </a:lnTo>
                <a:lnTo>
                  <a:pt x="186" y="192"/>
                </a:lnTo>
                <a:lnTo>
                  <a:pt x="186" y="192"/>
                </a:lnTo>
                <a:lnTo>
                  <a:pt x="186" y="198"/>
                </a:lnTo>
                <a:lnTo>
                  <a:pt x="186" y="204"/>
                </a:lnTo>
                <a:lnTo>
                  <a:pt x="180" y="204"/>
                </a:lnTo>
                <a:lnTo>
                  <a:pt x="180" y="210"/>
                </a:lnTo>
                <a:lnTo>
                  <a:pt x="180" y="216"/>
                </a:lnTo>
                <a:lnTo>
                  <a:pt x="180" y="216"/>
                </a:lnTo>
                <a:lnTo>
                  <a:pt x="180" y="216"/>
                </a:lnTo>
                <a:lnTo>
                  <a:pt x="174" y="210"/>
                </a:lnTo>
                <a:lnTo>
                  <a:pt x="174" y="210"/>
                </a:lnTo>
                <a:lnTo>
                  <a:pt x="174" y="210"/>
                </a:lnTo>
                <a:lnTo>
                  <a:pt x="174" y="216"/>
                </a:lnTo>
                <a:lnTo>
                  <a:pt x="174" y="216"/>
                </a:lnTo>
                <a:lnTo>
                  <a:pt x="174" y="222"/>
                </a:lnTo>
                <a:lnTo>
                  <a:pt x="168" y="222"/>
                </a:lnTo>
                <a:lnTo>
                  <a:pt x="168" y="222"/>
                </a:lnTo>
                <a:lnTo>
                  <a:pt x="168" y="222"/>
                </a:lnTo>
                <a:lnTo>
                  <a:pt x="168" y="222"/>
                </a:lnTo>
                <a:lnTo>
                  <a:pt x="162" y="228"/>
                </a:lnTo>
                <a:lnTo>
                  <a:pt x="162" y="228"/>
                </a:lnTo>
                <a:lnTo>
                  <a:pt x="162" y="222"/>
                </a:lnTo>
                <a:lnTo>
                  <a:pt x="162" y="222"/>
                </a:lnTo>
                <a:lnTo>
                  <a:pt x="156" y="228"/>
                </a:lnTo>
                <a:lnTo>
                  <a:pt x="156" y="228"/>
                </a:lnTo>
                <a:lnTo>
                  <a:pt x="150" y="228"/>
                </a:lnTo>
                <a:lnTo>
                  <a:pt x="150" y="228"/>
                </a:lnTo>
                <a:lnTo>
                  <a:pt x="144" y="222"/>
                </a:lnTo>
                <a:lnTo>
                  <a:pt x="144" y="222"/>
                </a:lnTo>
                <a:lnTo>
                  <a:pt x="138" y="228"/>
                </a:lnTo>
                <a:lnTo>
                  <a:pt x="132" y="228"/>
                </a:lnTo>
                <a:lnTo>
                  <a:pt x="132" y="228"/>
                </a:lnTo>
                <a:lnTo>
                  <a:pt x="126" y="228"/>
                </a:lnTo>
                <a:lnTo>
                  <a:pt x="126" y="234"/>
                </a:lnTo>
                <a:lnTo>
                  <a:pt x="126" y="234"/>
                </a:lnTo>
                <a:lnTo>
                  <a:pt x="120" y="240"/>
                </a:lnTo>
                <a:lnTo>
                  <a:pt x="120" y="240"/>
                </a:lnTo>
                <a:lnTo>
                  <a:pt x="114" y="240"/>
                </a:lnTo>
                <a:lnTo>
                  <a:pt x="108" y="246"/>
                </a:lnTo>
                <a:lnTo>
                  <a:pt x="108" y="246"/>
                </a:lnTo>
                <a:lnTo>
                  <a:pt x="102" y="246"/>
                </a:lnTo>
                <a:lnTo>
                  <a:pt x="102" y="252"/>
                </a:lnTo>
                <a:lnTo>
                  <a:pt x="102" y="246"/>
                </a:lnTo>
                <a:lnTo>
                  <a:pt x="96" y="246"/>
                </a:lnTo>
                <a:lnTo>
                  <a:pt x="96" y="252"/>
                </a:lnTo>
                <a:lnTo>
                  <a:pt x="96" y="252"/>
                </a:lnTo>
                <a:lnTo>
                  <a:pt x="96" y="252"/>
                </a:lnTo>
                <a:lnTo>
                  <a:pt x="96" y="252"/>
                </a:lnTo>
                <a:lnTo>
                  <a:pt x="60" y="252"/>
                </a:lnTo>
                <a:lnTo>
                  <a:pt x="24" y="252"/>
                </a:lnTo>
                <a:lnTo>
                  <a:pt x="24" y="252"/>
                </a:lnTo>
                <a:lnTo>
                  <a:pt x="24" y="246"/>
                </a:lnTo>
                <a:lnTo>
                  <a:pt x="24" y="246"/>
                </a:lnTo>
                <a:lnTo>
                  <a:pt x="24" y="246"/>
                </a:lnTo>
                <a:lnTo>
                  <a:pt x="18" y="246"/>
                </a:lnTo>
                <a:lnTo>
                  <a:pt x="18" y="246"/>
                </a:lnTo>
                <a:lnTo>
                  <a:pt x="18" y="240"/>
                </a:lnTo>
                <a:lnTo>
                  <a:pt x="18" y="240"/>
                </a:lnTo>
                <a:lnTo>
                  <a:pt x="18" y="234"/>
                </a:lnTo>
                <a:lnTo>
                  <a:pt x="18" y="234"/>
                </a:lnTo>
                <a:lnTo>
                  <a:pt x="18" y="234"/>
                </a:lnTo>
                <a:lnTo>
                  <a:pt x="12" y="222"/>
                </a:lnTo>
                <a:lnTo>
                  <a:pt x="12" y="222"/>
                </a:lnTo>
                <a:lnTo>
                  <a:pt x="12" y="222"/>
                </a:lnTo>
                <a:lnTo>
                  <a:pt x="12" y="216"/>
                </a:lnTo>
                <a:lnTo>
                  <a:pt x="12" y="216"/>
                </a:lnTo>
                <a:lnTo>
                  <a:pt x="12" y="216"/>
                </a:lnTo>
                <a:lnTo>
                  <a:pt x="6" y="210"/>
                </a:lnTo>
                <a:lnTo>
                  <a:pt x="0" y="204"/>
                </a:lnTo>
                <a:lnTo>
                  <a:pt x="0" y="204"/>
                </a:lnTo>
                <a:lnTo>
                  <a:pt x="0" y="198"/>
                </a:lnTo>
                <a:lnTo>
                  <a:pt x="6" y="198"/>
                </a:lnTo>
                <a:lnTo>
                  <a:pt x="6" y="19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03" name="Freeform 36"/>
          <p:cNvSpPr>
            <a:spLocks/>
          </p:cNvSpPr>
          <p:nvPr/>
        </p:nvSpPr>
        <p:spPr bwMode="auto">
          <a:xfrm>
            <a:off x="6511379" y="1070710"/>
            <a:ext cx="282658" cy="289084"/>
          </a:xfrm>
          <a:custGeom>
            <a:avLst/>
            <a:gdLst>
              <a:gd name="T0" fmla="*/ 12 w 264"/>
              <a:gd name="T1" fmla="*/ 72 h 270"/>
              <a:gd name="T2" fmla="*/ 18 w 264"/>
              <a:gd name="T3" fmla="*/ 60 h 270"/>
              <a:gd name="T4" fmla="*/ 36 w 264"/>
              <a:gd name="T5" fmla="*/ 42 h 270"/>
              <a:gd name="T6" fmla="*/ 48 w 264"/>
              <a:gd name="T7" fmla="*/ 42 h 270"/>
              <a:gd name="T8" fmla="*/ 54 w 264"/>
              <a:gd name="T9" fmla="*/ 30 h 270"/>
              <a:gd name="T10" fmla="*/ 66 w 264"/>
              <a:gd name="T11" fmla="*/ 18 h 270"/>
              <a:gd name="T12" fmla="*/ 102 w 264"/>
              <a:gd name="T13" fmla="*/ 6 h 270"/>
              <a:gd name="T14" fmla="*/ 120 w 264"/>
              <a:gd name="T15" fmla="*/ 6 h 270"/>
              <a:gd name="T16" fmla="*/ 138 w 264"/>
              <a:gd name="T17" fmla="*/ 24 h 270"/>
              <a:gd name="T18" fmla="*/ 150 w 264"/>
              <a:gd name="T19" fmla="*/ 36 h 270"/>
              <a:gd name="T20" fmla="*/ 174 w 264"/>
              <a:gd name="T21" fmla="*/ 90 h 270"/>
              <a:gd name="T22" fmla="*/ 192 w 264"/>
              <a:gd name="T23" fmla="*/ 96 h 270"/>
              <a:gd name="T24" fmla="*/ 216 w 264"/>
              <a:gd name="T25" fmla="*/ 108 h 270"/>
              <a:gd name="T26" fmla="*/ 240 w 264"/>
              <a:gd name="T27" fmla="*/ 108 h 270"/>
              <a:gd name="T28" fmla="*/ 252 w 264"/>
              <a:gd name="T29" fmla="*/ 114 h 270"/>
              <a:gd name="T30" fmla="*/ 252 w 264"/>
              <a:gd name="T31" fmla="*/ 126 h 270"/>
              <a:gd name="T32" fmla="*/ 246 w 264"/>
              <a:gd name="T33" fmla="*/ 150 h 270"/>
              <a:gd name="T34" fmla="*/ 246 w 264"/>
              <a:gd name="T35" fmla="*/ 156 h 270"/>
              <a:gd name="T36" fmla="*/ 246 w 264"/>
              <a:gd name="T37" fmla="*/ 156 h 270"/>
              <a:gd name="T38" fmla="*/ 252 w 264"/>
              <a:gd name="T39" fmla="*/ 162 h 270"/>
              <a:gd name="T40" fmla="*/ 258 w 264"/>
              <a:gd name="T41" fmla="*/ 168 h 270"/>
              <a:gd name="T42" fmla="*/ 252 w 264"/>
              <a:gd name="T43" fmla="*/ 168 h 270"/>
              <a:gd name="T44" fmla="*/ 234 w 264"/>
              <a:gd name="T45" fmla="*/ 204 h 270"/>
              <a:gd name="T46" fmla="*/ 240 w 264"/>
              <a:gd name="T47" fmla="*/ 210 h 270"/>
              <a:gd name="T48" fmla="*/ 246 w 264"/>
              <a:gd name="T49" fmla="*/ 210 h 270"/>
              <a:gd name="T50" fmla="*/ 252 w 264"/>
              <a:gd name="T51" fmla="*/ 216 h 270"/>
              <a:gd name="T52" fmla="*/ 252 w 264"/>
              <a:gd name="T53" fmla="*/ 222 h 270"/>
              <a:gd name="T54" fmla="*/ 252 w 264"/>
              <a:gd name="T55" fmla="*/ 228 h 270"/>
              <a:gd name="T56" fmla="*/ 252 w 264"/>
              <a:gd name="T57" fmla="*/ 234 h 270"/>
              <a:gd name="T58" fmla="*/ 258 w 264"/>
              <a:gd name="T59" fmla="*/ 246 h 270"/>
              <a:gd name="T60" fmla="*/ 258 w 264"/>
              <a:gd name="T61" fmla="*/ 258 h 270"/>
              <a:gd name="T62" fmla="*/ 240 w 264"/>
              <a:gd name="T63" fmla="*/ 264 h 270"/>
              <a:gd name="T64" fmla="*/ 228 w 264"/>
              <a:gd name="T65" fmla="*/ 264 h 270"/>
              <a:gd name="T66" fmla="*/ 222 w 264"/>
              <a:gd name="T67" fmla="*/ 264 h 270"/>
              <a:gd name="T68" fmla="*/ 186 w 264"/>
              <a:gd name="T69" fmla="*/ 264 h 270"/>
              <a:gd name="T70" fmla="*/ 168 w 264"/>
              <a:gd name="T71" fmla="*/ 264 h 270"/>
              <a:gd name="T72" fmla="*/ 156 w 264"/>
              <a:gd name="T73" fmla="*/ 264 h 270"/>
              <a:gd name="T74" fmla="*/ 132 w 264"/>
              <a:gd name="T75" fmla="*/ 264 h 270"/>
              <a:gd name="T76" fmla="*/ 120 w 264"/>
              <a:gd name="T77" fmla="*/ 258 h 270"/>
              <a:gd name="T78" fmla="*/ 108 w 264"/>
              <a:gd name="T79" fmla="*/ 246 h 270"/>
              <a:gd name="T80" fmla="*/ 90 w 264"/>
              <a:gd name="T81" fmla="*/ 228 h 270"/>
              <a:gd name="T82" fmla="*/ 78 w 264"/>
              <a:gd name="T83" fmla="*/ 216 h 270"/>
              <a:gd name="T84" fmla="*/ 72 w 264"/>
              <a:gd name="T85" fmla="*/ 216 h 270"/>
              <a:gd name="T86" fmla="*/ 78 w 264"/>
              <a:gd name="T87" fmla="*/ 198 h 270"/>
              <a:gd name="T88" fmla="*/ 78 w 264"/>
              <a:gd name="T89" fmla="*/ 186 h 270"/>
              <a:gd name="T90" fmla="*/ 66 w 264"/>
              <a:gd name="T91" fmla="*/ 174 h 270"/>
              <a:gd name="T92" fmla="*/ 42 w 264"/>
              <a:gd name="T93" fmla="*/ 180 h 270"/>
              <a:gd name="T94" fmla="*/ 30 w 264"/>
              <a:gd name="T95" fmla="*/ 168 h 270"/>
              <a:gd name="T96" fmla="*/ 36 w 264"/>
              <a:gd name="T97" fmla="*/ 156 h 270"/>
              <a:gd name="T98" fmla="*/ 30 w 264"/>
              <a:gd name="T99" fmla="*/ 138 h 270"/>
              <a:gd name="T100" fmla="*/ 36 w 264"/>
              <a:gd name="T101" fmla="*/ 120 h 270"/>
              <a:gd name="T102" fmla="*/ 42 w 264"/>
              <a:gd name="T103" fmla="*/ 108 h 270"/>
              <a:gd name="T104" fmla="*/ 36 w 264"/>
              <a:gd name="T105" fmla="*/ 96 h 270"/>
              <a:gd name="T106" fmla="*/ 36 w 264"/>
              <a:gd name="T107" fmla="*/ 84 h 270"/>
              <a:gd name="T108" fmla="*/ 18 w 264"/>
              <a:gd name="T109" fmla="*/ 84 h 2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64" h="270">
                <a:moveTo>
                  <a:pt x="0" y="90"/>
                </a:moveTo>
                <a:lnTo>
                  <a:pt x="0" y="84"/>
                </a:lnTo>
                <a:lnTo>
                  <a:pt x="6" y="84"/>
                </a:lnTo>
                <a:lnTo>
                  <a:pt x="12" y="78"/>
                </a:lnTo>
                <a:lnTo>
                  <a:pt x="12" y="72"/>
                </a:lnTo>
                <a:lnTo>
                  <a:pt x="12" y="72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8" y="60"/>
                </a:lnTo>
                <a:lnTo>
                  <a:pt x="18" y="60"/>
                </a:lnTo>
                <a:lnTo>
                  <a:pt x="24" y="54"/>
                </a:lnTo>
                <a:lnTo>
                  <a:pt x="24" y="54"/>
                </a:lnTo>
                <a:lnTo>
                  <a:pt x="30" y="42"/>
                </a:lnTo>
                <a:lnTo>
                  <a:pt x="36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8" y="42"/>
                </a:lnTo>
                <a:lnTo>
                  <a:pt x="48" y="42"/>
                </a:lnTo>
                <a:lnTo>
                  <a:pt x="48" y="36"/>
                </a:lnTo>
                <a:lnTo>
                  <a:pt x="54" y="36"/>
                </a:lnTo>
                <a:lnTo>
                  <a:pt x="54" y="36"/>
                </a:lnTo>
                <a:lnTo>
                  <a:pt x="54" y="30"/>
                </a:lnTo>
                <a:lnTo>
                  <a:pt x="54" y="30"/>
                </a:lnTo>
                <a:lnTo>
                  <a:pt x="60" y="30"/>
                </a:lnTo>
                <a:lnTo>
                  <a:pt x="60" y="24"/>
                </a:lnTo>
                <a:lnTo>
                  <a:pt x="60" y="24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78" y="18"/>
                </a:lnTo>
                <a:lnTo>
                  <a:pt x="84" y="12"/>
                </a:lnTo>
                <a:lnTo>
                  <a:pt x="90" y="12"/>
                </a:lnTo>
                <a:lnTo>
                  <a:pt x="102" y="6"/>
                </a:lnTo>
                <a:lnTo>
                  <a:pt x="102" y="0"/>
                </a:lnTo>
                <a:lnTo>
                  <a:pt x="108" y="0"/>
                </a:lnTo>
                <a:lnTo>
                  <a:pt x="108" y="0"/>
                </a:lnTo>
                <a:lnTo>
                  <a:pt x="114" y="0"/>
                </a:lnTo>
                <a:lnTo>
                  <a:pt x="120" y="6"/>
                </a:lnTo>
                <a:lnTo>
                  <a:pt x="126" y="6"/>
                </a:lnTo>
                <a:lnTo>
                  <a:pt x="126" y="6"/>
                </a:lnTo>
                <a:lnTo>
                  <a:pt x="132" y="12"/>
                </a:lnTo>
                <a:lnTo>
                  <a:pt x="132" y="12"/>
                </a:lnTo>
                <a:lnTo>
                  <a:pt x="138" y="24"/>
                </a:lnTo>
                <a:lnTo>
                  <a:pt x="138" y="24"/>
                </a:lnTo>
                <a:lnTo>
                  <a:pt x="138" y="30"/>
                </a:lnTo>
                <a:lnTo>
                  <a:pt x="144" y="30"/>
                </a:lnTo>
                <a:lnTo>
                  <a:pt x="144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42"/>
                </a:lnTo>
                <a:lnTo>
                  <a:pt x="162" y="60"/>
                </a:lnTo>
                <a:lnTo>
                  <a:pt x="174" y="90"/>
                </a:lnTo>
                <a:lnTo>
                  <a:pt x="174" y="90"/>
                </a:lnTo>
                <a:lnTo>
                  <a:pt x="174" y="90"/>
                </a:lnTo>
                <a:lnTo>
                  <a:pt x="180" y="90"/>
                </a:lnTo>
                <a:lnTo>
                  <a:pt x="180" y="90"/>
                </a:lnTo>
                <a:lnTo>
                  <a:pt x="186" y="90"/>
                </a:lnTo>
                <a:lnTo>
                  <a:pt x="192" y="96"/>
                </a:lnTo>
                <a:lnTo>
                  <a:pt x="198" y="96"/>
                </a:lnTo>
                <a:lnTo>
                  <a:pt x="204" y="108"/>
                </a:lnTo>
                <a:lnTo>
                  <a:pt x="210" y="108"/>
                </a:lnTo>
                <a:lnTo>
                  <a:pt x="210" y="108"/>
                </a:lnTo>
                <a:lnTo>
                  <a:pt x="216" y="108"/>
                </a:lnTo>
                <a:lnTo>
                  <a:pt x="222" y="108"/>
                </a:lnTo>
                <a:lnTo>
                  <a:pt x="228" y="102"/>
                </a:lnTo>
                <a:lnTo>
                  <a:pt x="234" y="102"/>
                </a:lnTo>
                <a:lnTo>
                  <a:pt x="234" y="102"/>
                </a:lnTo>
                <a:lnTo>
                  <a:pt x="240" y="108"/>
                </a:lnTo>
                <a:lnTo>
                  <a:pt x="240" y="108"/>
                </a:lnTo>
                <a:lnTo>
                  <a:pt x="246" y="108"/>
                </a:lnTo>
                <a:lnTo>
                  <a:pt x="252" y="114"/>
                </a:lnTo>
                <a:lnTo>
                  <a:pt x="252" y="114"/>
                </a:lnTo>
                <a:lnTo>
                  <a:pt x="252" y="114"/>
                </a:lnTo>
                <a:lnTo>
                  <a:pt x="252" y="120"/>
                </a:lnTo>
                <a:lnTo>
                  <a:pt x="252" y="120"/>
                </a:lnTo>
                <a:lnTo>
                  <a:pt x="252" y="120"/>
                </a:lnTo>
                <a:lnTo>
                  <a:pt x="252" y="120"/>
                </a:lnTo>
                <a:lnTo>
                  <a:pt x="252" y="126"/>
                </a:lnTo>
                <a:lnTo>
                  <a:pt x="252" y="126"/>
                </a:lnTo>
                <a:lnTo>
                  <a:pt x="252" y="126"/>
                </a:lnTo>
                <a:lnTo>
                  <a:pt x="246" y="144"/>
                </a:lnTo>
                <a:lnTo>
                  <a:pt x="246" y="150"/>
                </a:lnTo>
                <a:lnTo>
                  <a:pt x="246" y="150"/>
                </a:lnTo>
                <a:lnTo>
                  <a:pt x="246" y="150"/>
                </a:lnTo>
                <a:lnTo>
                  <a:pt x="252" y="156"/>
                </a:lnTo>
                <a:lnTo>
                  <a:pt x="252" y="156"/>
                </a:lnTo>
                <a:lnTo>
                  <a:pt x="246" y="156"/>
                </a:lnTo>
                <a:lnTo>
                  <a:pt x="246" y="156"/>
                </a:lnTo>
                <a:lnTo>
                  <a:pt x="246" y="156"/>
                </a:lnTo>
                <a:lnTo>
                  <a:pt x="246" y="156"/>
                </a:lnTo>
                <a:lnTo>
                  <a:pt x="246" y="156"/>
                </a:lnTo>
                <a:lnTo>
                  <a:pt x="246" y="156"/>
                </a:lnTo>
                <a:lnTo>
                  <a:pt x="246" y="156"/>
                </a:lnTo>
                <a:lnTo>
                  <a:pt x="246" y="162"/>
                </a:lnTo>
                <a:lnTo>
                  <a:pt x="246" y="162"/>
                </a:lnTo>
                <a:lnTo>
                  <a:pt x="246" y="162"/>
                </a:lnTo>
                <a:lnTo>
                  <a:pt x="246" y="162"/>
                </a:lnTo>
                <a:lnTo>
                  <a:pt x="252" y="162"/>
                </a:lnTo>
                <a:lnTo>
                  <a:pt x="252" y="162"/>
                </a:lnTo>
                <a:lnTo>
                  <a:pt x="252" y="162"/>
                </a:lnTo>
                <a:lnTo>
                  <a:pt x="252" y="162"/>
                </a:lnTo>
                <a:lnTo>
                  <a:pt x="252" y="168"/>
                </a:lnTo>
                <a:lnTo>
                  <a:pt x="258" y="168"/>
                </a:lnTo>
                <a:lnTo>
                  <a:pt x="258" y="168"/>
                </a:lnTo>
                <a:lnTo>
                  <a:pt x="252" y="168"/>
                </a:lnTo>
                <a:lnTo>
                  <a:pt x="252" y="168"/>
                </a:lnTo>
                <a:lnTo>
                  <a:pt x="252" y="168"/>
                </a:lnTo>
                <a:lnTo>
                  <a:pt x="252" y="168"/>
                </a:lnTo>
                <a:lnTo>
                  <a:pt x="252" y="174"/>
                </a:lnTo>
                <a:lnTo>
                  <a:pt x="252" y="180"/>
                </a:lnTo>
                <a:lnTo>
                  <a:pt x="246" y="186"/>
                </a:lnTo>
                <a:lnTo>
                  <a:pt x="240" y="204"/>
                </a:lnTo>
                <a:lnTo>
                  <a:pt x="234" y="204"/>
                </a:lnTo>
                <a:lnTo>
                  <a:pt x="234" y="204"/>
                </a:lnTo>
                <a:lnTo>
                  <a:pt x="240" y="204"/>
                </a:lnTo>
                <a:lnTo>
                  <a:pt x="240" y="204"/>
                </a:lnTo>
                <a:lnTo>
                  <a:pt x="240" y="210"/>
                </a:lnTo>
                <a:lnTo>
                  <a:pt x="240" y="210"/>
                </a:lnTo>
                <a:lnTo>
                  <a:pt x="246" y="210"/>
                </a:lnTo>
                <a:lnTo>
                  <a:pt x="246" y="210"/>
                </a:lnTo>
                <a:lnTo>
                  <a:pt x="246" y="210"/>
                </a:lnTo>
                <a:lnTo>
                  <a:pt x="246" y="210"/>
                </a:lnTo>
                <a:lnTo>
                  <a:pt x="246" y="210"/>
                </a:lnTo>
                <a:lnTo>
                  <a:pt x="246" y="210"/>
                </a:lnTo>
                <a:lnTo>
                  <a:pt x="252" y="210"/>
                </a:lnTo>
                <a:lnTo>
                  <a:pt x="252" y="210"/>
                </a:lnTo>
                <a:lnTo>
                  <a:pt x="252" y="216"/>
                </a:lnTo>
                <a:lnTo>
                  <a:pt x="252" y="216"/>
                </a:lnTo>
                <a:lnTo>
                  <a:pt x="252" y="216"/>
                </a:lnTo>
                <a:lnTo>
                  <a:pt x="252" y="222"/>
                </a:lnTo>
                <a:lnTo>
                  <a:pt x="252" y="222"/>
                </a:lnTo>
                <a:lnTo>
                  <a:pt x="252" y="222"/>
                </a:lnTo>
                <a:lnTo>
                  <a:pt x="252" y="222"/>
                </a:lnTo>
                <a:lnTo>
                  <a:pt x="252" y="222"/>
                </a:lnTo>
                <a:lnTo>
                  <a:pt x="252" y="222"/>
                </a:lnTo>
                <a:lnTo>
                  <a:pt x="252" y="222"/>
                </a:lnTo>
                <a:lnTo>
                  <a:pt x="252" y="228"/>
                </a:lnTo>
                <a:lnTo>
                  <a:pt x="252" y="228"/>
                </a:lnTo>
                <a:lnTo>
                  <a:pt x="252" y="228"/>
                </a:lnTo>
                <a:lnTo>
                  <a:pt x="252" y="234"/>
                </a:lnTo>
                <a:lnTo>
                  <a:pt x="252" y="234"/>
                </a:lnTo>
                <a:lnTo>
                  <a:pt x="252" y="234"/>
                </a:lnTo>
                <a:lnTo>
                  <a:pt x="252" y="234"/>
                </a:lnTo>
                <a:lnTo>
                  <a:pt x="252" y="240"/>
                </a:lnTo>
                <a:lnTo>
                  <a:pt x="252" y="240"/>
                </a:lnTo>
                <a:lnTo>
                  <a:pt x="258" y="246"/>
                </a:lnTo>
                <a:lnTo>
                  <a:pt x="258" y="246"/>
                </a:lnTo>
                <a:lnTo>
                  <a:pt x="258" y="246"/>
                </a:lnTo>
                <a:lnTo>
                  <a:pt x="264" y="252"/>
                </a:lnTo>
                <a:lnTo>
                  <a:pt x="264" y="252"/>
                </a:lnTo>
                <a:lnTo>
                  <a:pt x="264" y="252"/>
                </a:lnTo>
                <a:lnTo>
                  <a:pt x="264" y="252"/>
                </a:lnTo>
                <a:lnTo>
                  <a:pt x="258" y="258"/>
                </a:lnTo>
                <a:lnTo>
                  <a:pt x="252" y="258"/>
                </a:lnTo>
                <a:lnTo>
                  <a:pt x="252" y="258"/>
                </a:lnTo>
                <a:lnTo>
                  <a:pt x="252" y="258"/>
                </a:lnTo>
                <a:lnTo>
                  <a:pt x="246" y="264"/>
                </a:lnTo>
                <a:lnTo>
                  <a:pt x="240" y="264"/>
                </a:lnTo>
                <a:lnTo>
                  <a:pt x="240" y="258"/>
                </a:lnTo>
                <a:lnTo>
                  <a:pt x="240" y="258"/>
                </a:lnTo>
                <a:lnTo>
                  <a:pt x="234" y="258"/>
                </a:lnTo>
                <a:lnTo>
                  <a:pt x="234" y="264"/>
                </a:lnTo>
                <a:lnTo>
                  <a:pt x="228" y="264"/>
                </a:lnTo>
                <a:lnTo>
                  <a:pt x="228" y="270"/>
                </a:lnTo>
                <a:lnTo>
                  <a:pt x="222" y="270"/>
                </a:lnTo>
                <a:lnTo>
                  <a:pt x="222" y="264"/>
                </a:lnTo>
                <a:lnTo>
                  <a:pt x="222" y="264"/>
                </a:lnTo>
                <a:lnTo>
                  <a:pt x="222" y="264"/>
                </a:lnTo>
                <a:lnTo>
                  <a:pt x="216" y="270"/>
                </a:lnTo>
                <a:lnTo>
                  <a:pt x="210" y="270"/>
                </a:lnTo>
                <a:lnTo>
                  <a:pt x="204" y="270"/>
                </a:lnTo>
                <a:lnTo>
                  <a:pt x="192" y="264"/>
                </a:lnTo>
                <a:lnTo>
                  <a:pt x="186" y="264"/>
                </a:lnTo>
                <a:lnTo>
                  <a:pt x="186" y="264"/>
                </a:lnTo>
                <a:lnTo>
                  <a:pt x="180" y="264"/>
                </a:lnTo>
                <a:lnTo>
                  <a:pt x="174" y="264"/>
                </a:lnTo>
                <a:lnTo>
                  <a:pt x="168" y="264"/>
                </a:lnTo>
                <a:lnTo>
                  <a:pt x="168" y="264"/>
                </a:lnTo>
                <a:lnTo>
                  <a:pt x="162" y="270"/>
                </a:lnTo>
                <a:lnTo>
                  <a:pt x="162" y="270"/>
                </a:lnTo>
                <a:lnTo>
                  <a:pt x="162" y="264"/>
                </a:lnTo>
                <a:lnTo>
                  <a:pt x="156" y="264"/>
                </a:lnTo>
                <a:lnTo>
                  <a:pt x="156" y="264"/>
                </a:lnTo>
                <a:lnTo>
                  <a:pt x="150" y="264"/>
                </a:lnTo>
                <a:lnTo>
                  <a:pt x="144" y="264"/>
                </a:lnTo>
                <a:lnTo>
                  <a:pt x="144" y="264"/>
                </a:lnTo>
                <a:lnTo>
                  <a:pt x="132" y="264"/>
                </a:lnTo>
                <a:lnTo>
                  <a:pt x="132" y="264"/>
                </a:lnTo>
                <a:lnTo>
                  <a:pt x="126" y="264"/>
                </a:lnTo>
                <a:lnTo>
                  <a:pt x="126" y="264"/>
                </a:lnTo>
                <a:lnTo>
                  <a:pt x="126" y="258"/>
                </a:lnTo>
                <a:lnTo>
                  <a:pt x="120" y="258"/>
                </a:lnTo>
                <a:lnTo>
                  <a:pt x="120" y="258"/>
                </a:lnTo>
                <a:lnTo>
                  <a:pt x="120" y="258"/>
                </a:lnTo>
                <a:lnTo>
                  <a:pt x="114" y="252"/>
                </a:lnTo>
                <a:lnTo>
                  <a:pt x="114" y="252"/>
                </a:lnTo>
                <a:lnTo>
                  <a:pt x="108" y="252"/>
                </a:lnTo>
                <a:lnTo>
                  <a:pt x="108" y="246"/>
                </a:lnTo>
                <a:lnTo>
                  <a:pt x="102" y="240"/>
                </a:lnTo>
                <a:lnTo>
                  <a:pt x="96" y="234"/>
                </a:lnTo>
                <a:lnTo>
                  <a:pt x="90" y="234"/>
                </a:lnTo>
                <a:lnTo>
                  <a:pt x="90" y="234"/>
                </a:lnTo>
                <a:lnTo>
                  <a:pt x="90" y="228"/>
                </a:lnTo>
                <a:lnTo>
                  <a:pt x="90" y="228"/>
                </a:lnTo>
                <a:lnTo>
                  <a:pt x="84" y="222"/>
                </a:lnTo>
                <a:lnTo>
                  <a:pt x="84" y="216"/>
                </a:lnTo>
                <a:lnTo>
                  <a:pt x="84" y="216"/>
                </a:lnTo>
                <a:lnTo>
                  <a:pt x="78" y="216"/>
                </a:lnTo>
                <a:lnTo>
                  <a:pt x="78" y="216"/>
                </a:lnTo>
                <a:lnTo>
                  <a:pt x="78" y="216"/>
                </a:lnTo>
                <a:lnTo>
                  <a:pt x="78" y="222"/>
                </a:lnTo>
                <a:lnTo>
                  <a:pt x="72" y="216"/>
                </a:lnTo>
                <a:lnTo>
                  <a:pt x="72" y="216"/>
                </a:lnTo>
                <a:lnTo>
                  <a:pt x="72" y="210"/>
                </a:lnTo>
                <a:lnTo>
                  <a:pt x="72" y="210"/>
                </a:lnTo>
                <a:lnTo>
                  <a:pt x="72" y="204"/>
                </a:lnTo>
                <a:lnTo>
                  <a:pt x="78" y="204"/>
                </a:lnTo>
                <a:lnTo>
                  <a:pt x="78" y="198"/>
                </a:lnTo>
                <a:lnTo>
                  <a:pt x="84" y="198"/>
                </a:lnTo>
                <a:lnTo>
                  <a:pt x="84" y="198"/>
                </a:lnTo>
                <a:lnTo>
                  <a:pt x="84" y="192"/>
                </a:lnTo>
                <a:lnTo>
                  <a:pt x="84" y="186"/>
                </a:lnTo>
                <a:lnTo>
                  <a:pt x="78" y="186"/>
                </a:lnTo>
                <a:lnTo>
                  <a:pt x="78" y="186"/>
                </a:lnTo>
                <a:lnTo>
                  <a:pt x="78" y="180"/>
                </a:lnTo>
                <a:lnTo>
                  <a:pt x="72" y="180"/>
                </a:lnTo>
                <a:lnTo>
                  <a:pt x="66" y="174"/>
                </a:lnTo>
                <a:lnTo>
                  <a:pt x="66" y="174"/>
                </a:lnTo>
                <a:lnTo>
                  <a:pt x="60" y="174"/>
                </a:lnTo>
                <a:lnTo>
                  <a:pt x="60" y="174"/>
                </a:lnTo>
                <a:lnTo>
                  <a:pt x="54" y="174"/>
                </a:lnTo>
                <a:lnTo>
                  <a:pt x="48" y="180"/>
                </a:lnTo>
                <a:lnTo>
                  <a:pt x="42" y="180"/>
                </a:lnTo>
                <a:lnTo>
                  <a:pt x="36" y="180"/>
                </a:lnTo>
                <a:lnTo>
                  <a:pt x="30" y="174"/>
                </a:lnTo>
                <a:lnTo>
                  <a:pt x="30" y="174"/>
                </a:lnTo>
                <a:lnTo>
                  <a:pt x="30" y="174"/>
                </a:lnTo>
                <a:lnTo>
                  <a:pt x="30" y="168"/>
                </a:lnTo>
                <a:lnTo>
                  <a:pt x="30" y="162"/>
                </a:lnTo>
                <a:lnTo>
                  <a:pt x="30" y="162"/>
                </a:lnTo>
                <a:lnTo>
                  <a:pt x="30" y="162"/>
                </a:lnTo>
                <a:lnTo>
                  <a:pt x="30" y="162"/>
                </a:lnTo>
                <a:lnTo>
                  <a:pt x="36" y="156"/>
                </a:lnTo>
                <a:lnTo>
                  <a:pt x="36" y="156"/>
                </a:lnTo>
                <a:lnTo>
                  <a:pt x="36" y="150"/>
                </a:lnTo>
                <a:lnTo>
                  <a:pt x="36" y="144"/>
                </a:lnTo>
                <a:lnTo>
                  <a:pt x="36" y="144"/>
                </a:lnTo>
                <a:lnTo>
                  <a:pt x="30" y="138"/>
                </a:lnTo>
                <a:lnTo>
                  <a:pt x="30" y="132"/>
                </a:lnTo>
                <a:lnTo>
                  <a:pt x="30" y="126"/>
                </a:lnTo>
                <a:lnTo>
                  <a:pt x="30" y="126"/>
                </a:lnTo>
                <a:lnTo>
                  <a:pt x="36" y="120"/>
                </a:lnTo>
                <a:lnTo>
                  <a:pt x="36" y="120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08"/>
                </a:lnTo>
                <a:lnTo>
                  <a:pt x="42" y="108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36" y="102"/>
                </a:lnTo>
                <a:lnTo>
                  <a:pt x="36" y="96"/>
                </a:lnTo>
                <a:lnTo>
                  <a:pt x="36" y="96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24" y="84"/>
                </a:lnTo>
                <a:lnTo>
                  <a:pt x="24" y="84"/>
                </a:lnTo>
                <a:lnTo>
                  <a:pt x="18" y="84"/>
                </a:lnTo>
                <a:lnTo>
                  <a:pt x="12" y="90"/>
                </a:lnTo>
                <a:lnTo>
                  <a:pt x="6" y="90"/>
                </a:lnTo>
                <a:lnTo>
                  <a:pt x="0" y="90"/>
                </a:lnTo>
                <a:lnTo>
                  <a:pt x="0" y="9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04" name="Freeform 37"/>
          <p:cNvSpPr>
            <a:spLocks/>
          </p:cNvSpPr>
          <p:nvPr/>
        </p:nvSpPr>
        <p:spPr bwMode="auto">
          <a:xfrm>
            <a:off x="6543500" y="1912267"/>
            <a:ext cx="327627" cy="199147"/>
          </a:xfrm>
          <a:custGeom>
            <a:avLst/>
            <a:gdLst>
              <a:gd name="T0" fmla="*/ 12 w 306"/>
              <a:gd name="T1" fmla="*/ 48 h 186"/>
              <a:gd name="T2" fmla="*/ 24 w 306"/>
              <a:gd name="T3" fmla="*/ 30 h 186"/>
              <a:gd name="T4" fmla="*/ 24 w 306"/>
              <a:gd name="T5" fmla="*/ 30 h 186"/>
              <a:gd name="T6" fmla="*/ 36 w 306"/>
              <a:gd name="T7" fmla="*/ 24 h 186"/>
              <a:gd name="T8" fmla="*/ 42 w 306"/>
              <a:gd name="T9" fmla="*/ 24 h 186"/>
              <a:gd name="T10" fmla="*/ 48 w 306"/>
              <a:gd name="T11" fmla="*/ 24 h 186"/>
              <a:gd name="T12" fmla="*/ 60 w 306"/>
              <a:gd name="T13" fmla="*/ 24 h 186"/>
              <a:gd name="T14" fmla="*/ 66 w 306"/>
              <a:gd name="T15" fmla="*/ 12 h 186"/>
              <a:gd name="T16" fmla="*/ 84 w 306"/>
              <a:gd name="T17" fmla="*/ 12 h 186"/>
              <a:gd name="T18" fmla="*/ 90 w 306"/>
              <a:gd name="T19" fmla="*/ 12 h 186"/>
              <a:gd name="T20" fmla="*/ 96 w 306"/>
              <a:gd name="T21" fmla="*/ 6 h 186"/>
              <a:gd name="T22" fmla="*/ 102 w 306"/>
              <a:gd name="T23" fmla="*/ 6 h 186"/>
              <a:gd name="T24" fmla="*/ 108 w 306"/>
              <a:gd name="T25" fmla="*/ 6 h 186"/>
              <a:gd name="T26" fmla="*/ 114 w 306"/>
              <a:gd name="T27" fmla="*/ 12 h 186"/>
              <a:gd name="T28" fmla="*/ 126 w 306"/>
              <a:gd name="T29" fmla="*/ 12 h 186"/>
              <a:gd name="T30" fmla="*/ 132 w 306"/>
              <a:gd name="T31" fmla="*/ 12 h 186"/>
              <a:gd name="T32" fmla="*/ 144 w 306"/>
              <a:gd name="T33" fmla="*/ 12 h 186"/>
              <a:gd name="T34" fmla="*/ 144 w 306"/>
              <a:gd name="T35" fmla="*/ 12 h 186"/>
              <a:gd name="T36" fmla="*/ 150 w 306"/>
              <a:gd name="T37" fmla="*/ 18 h 186"/>
              <a:gd name="T38" fmla="*/ 156 w 306"/>
              <a:gd name="T39" fmla="*/ 12 h 186"/>
              <a:gd name="T40" fmla="*/ 162 w 306"/>
              <a:gd name="T41" fmla="*/ 12 h 186"/>
              <a:gd name="T42" fmla="*/ 174 w 306"/>
              <a:gd name="T43" fmla="*/ 6 h 186"/>
              <a:gd name="T44" fmla="*/ 180 w 306"/>
              <a:gd name="T45" fmla="*/ 6 h 186"/>
              <a:gd name="T46" fmla="*/ 180 w 306"/>
              <a:gd name="T47" fmla="*/ 0 h 186"/>
              <a:gd name="T48" fmla="*/ 186 w 306"/>
              <a:gd name="T49" fmla="*/ 0 h 186"/>
              <a:gd name="T50" fmla="*/ 186 w 306"/>
              <a:gd name="T51" fmla="*/ 12 h 186"/>
              <a:gd name="T52" fmla="*/ 192 w 306"/>
              <a:gd name="T53" fmla="*/ 18 h 186"/>
              <a:gd name="T54" fmla="*/ 198 w 306"/>
              <a:gd name="T55" fmla="*/ 18 h 186"/>
              <a:gd name="T56" fmla="*/ 204 w 306"/>
              <a:gd name="T57" fmla="*/ 12 h 186"/>
              <a:gd name="T58" fmla="*/ 216 w 306"/>
              <a:gd name="T59" fmla="*/ 12 h 186"/>
              <a:gd name="T60" fmla="*/ 222 w 306"/>
              <a:gd name="T61" fmla="*/ 12 h 186"/>
              <a:gd name="T62" fmla="*/ 234 w 306"/>
              <a:gd name="T63" fmla="*/ 12 h 186"/>
              <a:gd name="T64" fmla="*/ 258 w 306"/>
              <a:gd name="T65" fmla="*/ 0 h 186"/>
              <a:gd name="T66" fmla="*/ 288 w 306"/>
              <a:gd name="T67" fmla="*/ 6 h 186"/>
              <a:gd name="T68" fmla="*/ 294 w 306"/>
              <a:gd name="T69" fmla="*/ 6 h 186"/>
              <a:gd name="T70" fmla="*/ 300 w 306"/>
              <a:gd name="T71" fmla="*/ 12 h 186"/>
              <a:gd name="T72" fmla="*/ 306 w 306"/>
              <a:gd name="T73" fmla="*/ 18 h 186"/>
              <a:gd name="T74" fmla="*/ 264 w 306"/>
              <a:gd name="T75" fmla="*/ 60 h 186"/>
              <a:gd name="T76" fmla="*/ 192 w 306"/>
              <a:gd name="T77" fmla="*/ 120 h 186"/>
              <a:gd name="T78" fmla="*/ 108 w 306"/>
              <a:gd name="T79" fmla="*/ 186 h 186"/>
              <a:gd name="T80" fmla="*/ 96 w 306"/>
              <a:gd name="T81" fmla="*/ 180 h 186"/>
              <a:gd name="T82" fmla="*/ 90 w 306"/>
              <a:gd name="T83" fmla="*/ 174 h 186"/>
              <a:gd name="T84" fmla="*/ 84 w 306"/>
              <a:gd name="T85" fmla="*/ 168 h 186"/>
              <a:gd name="T86" fmla="*/ 72 w 306"/>
              <a:gd name="T87" fmla="*/ 162 h 186"/>
              <a:gd name="T88" fmla="*/ 66 w 306"/>
              <a:gd name="T89" fmla="*/ 156 h 186"/>
              <a:gd name="T90" fmla="*/ 60 w 306"/>
              <a:gd name="T91" fmla="*/ 156 h 186"/>
              <a:gd name="T92" fmla="*/ 54 w 306"/>
              <a:gd name="T93" fmla="*/ 150 h 186"/>
              <a:gd name="T94" fmla="*/ 48 w 306"/>
              <a:gd name="T95" fmla="*/ 150 h 186"/>
              <a:gd name="T96" fmla="*/ 42 w 306"/>
              <a:gd name="T97" fmla="*/ 138 h 186"/>
              <a:gd name="T98" fmla="*/ 42 w 306"/>
              <a:gd name="T99" fmla="*/ 126 h 186"/>
              <a:gd name="T100" fmla="*/ 30 w 306"/>
              <a:gd name="T101" fmla="*/ 120 h 186"/>
              <a:gd name="T102" fmla="*/ 18 w 306"/>
              <a:gd name="T103" fmla="*/ 114 h 186"/>
              <a:gd name="T104" fmla="*/ 12 w 306"/>
              <a:gd name="T105" fmla="*/ 108 h 186"/>
              <a:gd name="T106" fmla="*/ 6 w 306"/>
              <a:gd name="T107" fmla="*/ 102 h 186"/>
              <a:gd name="T108" fmla="*/ 6 w 306"/>
              <a:gd name="T109" fmla="*/ 90 h 186"/>
              <a:gd name="T110" fmla="*/ 6 w 306"/>
              <a:gd name="T111" fmla="*/ 78 h 186"/>
              <a:gd name="T112" fmla="*/ 6 w 306"/>
              <a:gd name="T113" fmla="*/ 66 h 186"/>
              <a:gd name="T114" fmla="*/ 0 w 306"/>
              <a:gd name="T115" fmla="*/ 60 h 1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06" h="186">
                <a:moveTo>
                  <a:pt x="6" y="54"/>
                </a:moveTo>
                <a:lnTo>
                  <a:pt x="6" y="54"/>
                </a:lnTo>
                <a:lnTo>
                  <a:pt x="12" y="54"/>
                </a:lnTo>
                <a:lnTo>
                  <a:pt x="12" y="54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8" y="42"/>
                </a:lnTo>
                <a:lnTo>
                  <a:pt x="18" y="42"/>
                </a:lnTo>
                <a:lnTo>
                  <a:pt x="18" y="36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30" y="30"/>
                </a:lnTo>
                <a:lnTo>
                  <a:pt x="24" y="30"/>
                </a:lnTo>
                <a:lnTo>
                  <a:pt x="24" y="30"/>
                </a:lnTo>
                <a:lnTo>
                  <a:pt x="30" y="30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6" y="24"/>
                </a:lnTo>
                <a:lnTo>
                  <a:pt x="36" y="24"/>
                </a:lnTo>
                <a:lnTo>
                  <a:pt x="36" y="18"/>
                </a:lnTo>
                <a:lnTo>
                  <a:pt x="36" y="18"/>
                </a:lnTo>
                <a:lnTo>
                  <a:pt x="36" y="24"/>
                </a:lnTo>
                <a:lnTo>
                  <a:pt x="36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60" y="24"/>
                </a:lnTo>
                <a:lnTo>
                  <a:pt x="60" y="18"/>
                </a:lnTo>
                <a:lnTo>
                  <a:pt x="60" y="18"/>
                </a:lnTo>
                <a:lnTo>
                  <a:pt x="66" y="18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78" y="12"/>
                </a:lnTo>
                <a:lnTo>
                  <a:pt x="78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6"/>
                </a:lnTo>
                <a:lnTo>
                  <a:pt x="90" y="12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6"/>
                </a:lnTo>
                <a:lnTo>
                  <a:pt x="168" y="6"/>
                </a:lnTo>
                <a:lnTo>
                  <a:pt x="168" y="6"/>
                </a:lnTo>
                <a:lnTo>
                  <a:pt x="168" y="6"/>
                </a:lnTo>
                <a:lnTo>
                  <a:pt x="174" y="6"/>
                </a:lnTo>
                <a:lnTo>
                  <a:pt x="174" y="6"/>
                </a:lnTo>
                <a:lnTo>
                  <a:pt x="174" y="6"/>
                </a:lnTo>
                <a:lnTo>
                  <a:pt x="174" y="6"/>
                </a:lnTo>
                <a:lnTo>
                  <a:pt x="174" y="6"/>
                </a:lnTo>
                <a:lnTo>
                  <a:pt x="180" y="6"/>
                </a:lnTo>
                <a:lnTo>
                  <a:pt x="180" y="6"/>
                </a:lnTo>
                <a:lnTo>
                  <a:pt x="180" y="6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0" y="6"/>
                </a:lnTo>
                <a:lnTo>
                  <a:pt x="180" y="6"/>
                </a:lnTo>
                <a:lnTo>
                  <a:pt x="180" y="6"/>
                </a:lnTo>
                <a:lnTo>
                  <a:pt x="186" y="0"/>
                </a:lnTo>
                <a:lnTo>
                  <a:pt x="180" y="0"/>
                </a:lnTo>
                <a:lnTo>
                  <a:pt x="186" y="0"/>
                </a:lnTo>
                <a:lnTo>
                  <a:pt x="186" y="0"/>
                </a:lnTo>
                <a:lnTo>
                  <a:pt x="186" y="6"/>
                </a:lnTo>
                <a:lnTo>
                  <a:pt x="186" y="6"/>
                </a:lnTo>
                <a:lnTo>
                  <a:pt x="186" y="12"/>
                </a:lnTo>
                <a:lnTo>
                  <a:pt x="186" y="12"/>
                </a:lnTo>
                <a:lnTo>
                  <a:pt x="186" y="12"/>
                </a:lnTo>
                <a:lnTo>
                  <a:pt x="192" y="18"/>
                </a:lnTo>
                <a:lnTo>
                  <a:pt x="192" y="18"/>
                </a:lnTo>
                <a:lnTo>
                  <a:pt x="192" y="18"/>
                </a:lnTo>
                <a:lnTo>
                  <a:pt x="192" y="18"/>
                </a:lnTo>
                <a:lnTo>
                  <a:pt x="192" y="18"/>
                </a:lnTo>
                <a:lnTo>
                  <a:pt x="192" y="18"/>
                </a:lnTo>
                <a:lnTo>
                  <a:pt x="198" y="18"/>
                </a:lnTo>
                <a:lnTo>
                  <a:pt x="192" y="18"/>
                </a:lnTo>
                <a:lnTo>
                  <a:pt x="198" y="18"/>
                </a:lnTo>
                <a:lnTo>
                  <a:pt x="198" y="18"/>
                </a:lnTo>
                <a:lnTo>
                  <a:pt x="198" y="18"/>
                </a:lnTo>
                <a:lnTo>
                  <a:pt x="198" y="18"/>
                </a:lnTo>
                <a:lnTo>
                  <a:pt x="198" y="18"/>
                </a:lnTo>
                <a:lnTo>
                  <a:pt x="204" y="12"/>
                </a:lnTo>
                <a:lnTo>
                  <a:pt x="204" y="12"/>
                </a:lnTo>
                <a:lnTo>
                  <a:pt x="204" y="12"/>
                </a:lnTo>
                <a:lnTo>
                  <a:pt x="204" y="12"/>
                </a:lnTo>
                <a:lnTo>
                  <a:pt x="204" y="12"/>
                </a:lnTo>
                <a:lnTo>
                  <a:pt x="204" y="12"/>
                </a:lnTo>
                <a:lnTo>
                  <a:pt x="210" y="12"/>
                </a:lnTo>
                <a:lnTo>
                  <a:pt x="210" y="12"/>
                </a:lnTo>
                <a:lnTo>
                  <a:pt x="210" y="12"/>
                </a:lnTo>
                <a:lnTo>
                  <a:pt x="216" y="12"/>
                </a:lnTo>
                <a:lnTo>
                  <a:pt x="216" y="12"/>
                </a:lnTo>
                <a:lnTo>
                  <a:pt x="216" y="12"/>
                </a:lnTo>
                <a:lnTo>
                  <a:pt x="216" y="12"/>
                </a:lnTo>
                <a:lnTo>
                  <a:pt x="216" y="12"/>
                </a:lnTo>
                <a:lnTo>
                  <a:pt x="222" y="12"/>
                </a:lnTo>
                <a:lnTo>
                  <a:pt x="222" y="12"/>
                </a:lnTo>
                <a:lnTo>
                  <a:pt x="222" y="12"/>
                </a:lnTo>
                <a:lnTo>
                  <a:pt x="222" y="12"/>
                </a:lnTo>
                <a:lnTo>
                  <a:pt x="228" y="12"/>
                </a:lnTo>
                <a:lnTo>
                  <a:pt x="228" y="12"/>
                </a:lnTo>
                <a:lnTo>
                  <a:pt x="228" y="12"/>
                </a:lnTo>
                <a:lnTo>
                  <a:pt x="234" y="12"/>
                </a:lnTo>
                <a:lnTo>
                  <a:pt x="234" y="12"/>
                </a:lnTo>
                <a:lnTo>
                  <a:pt x="240" y="6"/>
                </a:lnTo>
                <a:lnTo>
                  <a:pt x="246" y="6"/>
                </a:lnTo>
                <a:lnTo>
                  <a:pt x="246" y="0"/>
                </a:lnTo>
                <a:lnTo>
                  <a:pt x="252" y="0"/>
                </a:lnTo>
                <a:lnTo>
                  <a:pt x="252" y="0"/>
                </a:lnTo>
                <a:lnTo>
                  <a:pt x="258" y="0"/>
                </a:lnTo>
                <a:lnTo>
                  <a:pt x="258" y="0"/>
                </a:lnTo>
                <a:lnTo>
                  <a:pt x="264" y="0"/>
                </a:lnTo>
                <a:lnTo>
                  <a:pt x="282" y="6"/>
                </a:lnTo>
                <a:lnTo>
                  <a:pt x="282" y="0"/>
                </a:lnTo>
                <a:lnTo>
                  <a:pt x="288" y="6"/>
                </a:lnTo>
                <a:lnTo>
                  <a:pt x="288" y="6"/>
                </a:lnTo>
                <a:lnTo>
                  <a:pt x="288" y="6"/>
                </a:lnTo>
                <a:lnTo>
                  <a:pt x="288" y="6"/>
                </a:lnTo>
                <a:lnTo>
                  <a:pt x="288" y="6"/>
                </a:lnTo>
                <a:lnTo>
                  <a:pt x="294" y="6"/>
                </a:lnTo>
                <a:lnTo>
                  <a:pt x="294" y="6"/>
                </a:lnTo>
                <a:lnTo>
                  <a:pt x="294" y="6"/>
                </a:lnTo>
                <a:lnTo>
                  <a:pt x="294" y="6"/>
                </a:lnTo>
                <a:lnTo>
                  <a:pt x="294" y="12"/>
                </a:lnTo>
                <a:lnTo>
                  <a:pt x="300" y="12"/>
                </a:lnTo>
                <a:lnTo>
                  <a:pt x="300" y="12"/>
                </a:lnTo>
                <a:lnTo>
                  <a:pt x="300" y="12"/>
                </a:lnTo>
                <a:lnTo>
                  <a:pt x="300" y="12"/>
                </a:lnTo>
                <a:lnTo>
                  <a:pt x="300" y="12"/>
                </a:lnTo>
                <a:lnTo>
                  <a:pt x="300" y="12"/>
                </a:lnTo>
                <a:lnTo>
                  <a:pt x="300" y="18"/>
                </a:lnTo>
                <a:lnTo>
                  <a:pt x="306" y="18"/>
                </a:lnTo>
                <a:lnTo>
                  <a:pt x="306" y="18"/>
                </a:lnTo>
                <a:lnTo>
                  <a:pt x="306" y="18"/>
                </a:lnTo>
                <a:lnTo>
                  <a:pt x="306" y="18"/>
                </a:lnTo>
                <a:lnTo>
                  <a:pt x="306" y="18"/>
                </a:lnTo>
                <a:lnTo>
                  <a:pt x="294" y="30"/>
                </a:lnTo>
                <a:lnTo>
                  <a:pt x="288" y="36"/>
                </a:lnTo>
                <a:lnTo>
                  <a:pt x="270" y="54"/>
                </a:lnTo>
                <a:lnTo>
                  <a:pt x="264" y="60"/>
                </a:lnTo>
                <a:lnTo>
                  <a:pt x="264" y="60"/>
                </a:lnTo>
                <a:lnTo>
                  <a:pt x="258" y="60"/>
                </a:lnTo>
                <a:lnTo>
                  <a:pt x="234" y="84"/>
                </a:lnTo>
                <a:lnTo>
                  <a:pt x="204" y="108"/>
                </a:lnTo>
                <a:lnTo>
                  <a:pt x="192" y="120"/>
                </a:lnTo>
                <a:lnTo>
                  <a:pt x="192" y="120"/>
                </a:lnTo>
                <a:lnTo>
                  <a:pt x="186" y="126"/>
                </a:lnTo>
                <a:lnTo>
                  <a:pt x="156" y="144"/>
                </a:lnTo>
                <a:lnTo>
                  <a:pt x="144" y="162"/>
                </a:lnTo>
                <a:lnTo>
                  <a:pt x="108" y="186"/>
                </a:lnTo>
                <a:lnTo>
                  <a:pt x="108" y="186"/>
                </a:lnTo>
                <a:lnTo>
                  <a:pt x="108" y="186"/>
                </a:lnTo>
                <a:lnTo>
                  <a:pt x="102" y="186"/>
                </a:lnTo>
                <a:lnTo>
                  <a:pt x="102" y="186"/>
                </a:lnTo>
                <a:lnTo>
                  <a:pt x="102" y="186"/>
                </a:lnTo>
                <a:lnTo>
                  <a:pt x="96" y="186"/>
                </a:lnTo>
                <a:lnTo>
                  <a:pt x="96" y="180"/>
                </a:lnTo>
                <a:lnTo>
                  <a:pt x="96" y="180"/>
                </a:lnTo>
                <a:lnTo>
                  <a:pt x="96" y="180"/>
                </a:lnTo>
                <a:lnTo>
                  <a:pt x="96" y="180"/>
                </a:lnTo>
                <a:lnTo>
                  <a:pt x="90" y="180"/>
                </a:lnTo>
                <a:lnTo>
                  <a:pt x="90" y="180"/>
                </a:lnTo>
                <a:lnTo>
                  <a:pt x="90" y="174"/>
                </a:lnTo>
                <a:lnTo>
                  <a:pt x="90" y="174"/>
                </a:lnTo>
                <a:lnTo>
                  <a:pt x="90" y="174"/>
                </a:lnTo>
                <a:lnTo>
                  <a:pt x="90" y="174"/>
                </a:lnTo>
                <a:lnTo>
                  <a:pt x="90" y="174"/>
                </a:lnTo>
                <a:lnTo>
                  <a:pt x="84" y="168"/>
                </a:lnTo>
                <a:lnTo>
                  <a:pt x="90" y="168"/>
                </a:lnTo>
                <a:lnTo>
                  <a:pt x="84" y="168"/>
                </a:lnTo>
                <a:lnTo>
                  <a:pt x="84" y="168"/>
                </a:lnTo>
                <a:lnTo>
                  <a:pt x="84" y="168"/>
                </a:lnTo>
                <a:lnTo>
                  <a:pt x="84" y="168"/>
                </a:lnTo>
                <a:lnTo>
                  <a:pt x="78" y="168"/>
                </a:lnTo>
                <a:lnTo>
                  <a:pt x="78" y="162"/>
                </a:lnTo>
                <a:lnTo>
                  <a:pt x="72" y="162"/>
                </a:lnTo>
                <a:lnTo>
                  <a:pt x="72" y="162"/>
                </a:lnTo>
                <a:lnTo>
                  <a:pt x="72" y="162"/>
                </a:lnTo>
                <a:lnTo>
                  <a:pt x="66" y="156"/>
                </a:lnTo>
                <a:lnTo>
                  <a:pt x="66" y="156"/>
                </a:lnTo>
                <a:lnTo>
                  <a:pt x="66" y="156"/>
                </a:lnTo>
                <a:lnTo>
                  <a:pt x="66" y="156"/>
                </a:lnTo>
                <a:lnTo>
                  <a:pt x="66" y="156"/>
                </a:lnTo>
                <a:lnTo>
                  <a:pt x="60" y="156"/>
                </a:lnTo>
                <a:lnTo>
                  <a:pt x="60" y="156"/>
                </a:lnTo>
                <a:lnTo>
                  <a:pt x="60" y="156"/>
                </a:lnTo>
                <a:lnTo>
                  <a:pt x="60" y="156"/>
                </a:lnTo>
                <a:lnTo>
                  <a:pt x="60" y="156"/>
                </a:lnTo>
                <a:lnTo>
                  <a:pt x="60" y="156"/>
                </a:lnTo>
                <a:lnTo>
                  <a:pt x="60" y="156"/>
                </a:lnTo>
                <a:lnTo>
                  <a:pt x="54" y="156"/>
                </a:lnTo>
                <a:lnTo>
                  <a:pt x="54" y="156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48" y="150"/>
                </a:lnTo>
                <a:lnTo>
                  <a:pt x="48" y="150"/>
                </a:lnTo>
                <a:lnTo>
                  <a:pt x="48" y="150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26"/>
                </a:lnTo>
                <a:lnTo>
                  <a:pt x="42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0"/>
                </a:lnTo>
                <a:lnTo>
                  <a:pt x="36" y="120"/>
                </a:lnTo>
                <a:lnTo>
                  <a:pt x="30" y="120"/>
                </a:lnTo>
                <a:lnTo>
                  <a:pt x="24" y="120"/>
                </a:lnTo>
                <a:lnTo>
                  <a:pt x="24" y="114"/>
                </a:lnTo>
                <a:lnTo>
                  <a:pt x="18" y="120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2"/>
                </a:lnTo>
                <a:lnTo>
                  <a:pt x="6" y="102"/>
                </a:lnTo>
                <a:lnTo>
                  <a:pt x="12" y="102"/>
                </a:lnTo>
                <a:lnTo>
                  <a:pt x="6" y="96"/>
                </a:lnTo>
                <a:lnTo>
                  <a:pt x="6" y="96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0" y="84"/>
                </a:lnTo>
                <a:lnTo>
                  <a:pt x="6" y="84"/>
                </a:lnTo>
                <a:lnTo>
                  <a:pt x="6" y="84"/>
                </a:lnTo>
                <a:lnTo>
                  <a:pt x="6" y="78"/>
                </a:ln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0" y="66"/>
                </a:lnTo>
                <a:lnTo>
                  <a:pt x="0" y="66"/>
                </a:lnTo>
                <a:lnTo>
                  <a:pt x="0" y="60"/>
                </a:lnTo>
                <a:lnTo>
                  <a:pt x="0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05" name="Freeform 38"/>
          <p:cNvSpPr>
            <a:spLocks/>
          </p:cNvSpPr>
          <p:nvPr/>
        </p:nvSpPr>
        <p:spPr bwMode="auto">
          <a:xfrm>
            <a:off x="5824006" y="884412"/>
            <a:ext cx="475380" cy="841557"/>
          </a:xfrm>
          <a:custGeom>
            <a:avLst/>
            <a:gdLst>
              <a:gd name="T0" fmla="*/ 84 w 444"/>
              <a:gd name="T1" fmla="*/ 498 h 786"/>
              <a:gd name="T2" fmla="*/ 102 w 444"/>
              <a:gd name="T3" fmla="*/ 486 h 786"/>
              <a:gd name="T4" fmla="*/ 132 w 444"/>
              <a:gd name="T5" fmla="*/ 486 h 786"/>
              <a:gd name="T6" fmla="*/ 168 w 444"/>
              <a:gd name="T7" fmla="*/ 492 h 786"/>
              <a:gd name="T8" fmla="*/ 156 w 444"/>
              <a:gd name="T9" fmla="*/ 462 h 786"/>
              <a:gd name="T10" fmla="*/ 126 w 444"/>
              <a:gd name="T11" fmla="*/ 384 h 786"/>
              <a:gd name="T12" fmla="*/ 132 w 444"/>
              <a:gd name="T13" fmla="*/ 12 h 786"/>
              <a:gd name="T14" fmla="*/ 144 w 444"/>
              <a:gd name="T15" fmla="*/ 36 h 786"/>
              <a:gd name="T16" fmla="*/ 168 w 444"/>
              <a:gd name="T17" fmla="*/ 72 h 786"/>
              <a:gd name="T18" fmla="*/ 174 w 444"/>
              <a:gd name="T19" fmla="*/ 102 h 786"/>
              <a:gd name="T20" fmla="*/ 180 w 444"/>
              <a:gd name="T21" fmla="*/ 138 h 786"/>
              <a:gd name="T22" fmla="*/ 198 w 444"/>
              <a:gd name="T23" fmla="*/ 156 h 786"/>
              <a:gd name="T24" fmla="*/ 228 w 444"/>
              <a:gd name="T25" fmla="*/ 186 h 786"/>
              <a:gd name="T26" fmla="*/ 258 w 444"/>
              <a:gd name="T27" fmla="*/ 204 h 786"/>
              <a:gd name="T28" fmla="*/ 258 w 444"/>
              <a:gd name="T29" fmla="*/ 222 h 786"/>
              <a:gd name="T30" fmla="*/ 264 w 444"/>
              <a:gd name="T31" fmla="*/ 246 h 786"/>
              <a:gd name="T32" fmla="*/ 282 w 444"/>
              <a:gd name="T33" fmla="*/ 270 h 786"/>
              <a:gd name="T34" fmla="*/ 300 w 444"/>
              <a:gd name="T35" fmla="*/ 282 h 786"/>
              <a:gd name="T36" fmla="*/ 294 w 444"/>
              <a:gd name="T37" fmla="*/ 312 h 786"/>
              <a:gd name="T38" fmla="*/ 330 w 444"/>
              <a:gd name="T39" fmla="*/ 330 h 786"/>
              <a:gd name="T40" fmla="*/ 354 w 444"/>
              <a:gd name="T41" fmla="*/ 354 h 786"/>
              <a:gd name="T42" fmla="*/ 378 w 444"/>
              <a:gd name="T43" fmla="*/ 390 h 786"/>
              <a:gd name="T44" fmla="*/ 390 w 444"/>
              <a:gd name="T45" fmla="*/ 432 h 786"/>
              <a:gd name="T46" fmla="*/ 438 w 444"/>
              <a:gd name="T47" fmla="*/ 432 h 786"/>
              <a:gd name="T48" fmla="*/ 414 w 444"/>
              <a:gd name="T49" fmla="*/ 462 h 786"/>
              <a:gd name="T50" fmla="*/ 390 w 444"/>
              <a:gd name="T51" fmla="*/ 468 h 786"/>
              <a:gd name="T52" fmla="*/ 408 w 444"/>
              <a:gd name="T53" fmla="*/ 486 h 786"/>
              <a:gd name="T54" fmla="*/ 396 w 444"/>
              <a:gd name="T55" fmla="*/ 522 h 786"/>
              <a:gd name="T56" fmla="*/ 432 w 444"/>
              <a:gd name="T57" fmla="*/ 552 h 786"/>
              <a:gd name="T58" fmla="*/ 420 w 444"/>
              <a:gd name="T59" fmla="*/ 552 h 786"/>
              <a:gd name="T60" fmla="*/ 408 w 444"/>
              <a:gd name="T61" fmla="*/ 564 h 786"/>
              <a:gd name="T62" fmla="*/ 390 w 444"/>
              <a:gd name="T63" fmla="*/ 558 h 786"/>
              <a:gd name="T64" fmla="*/ 360 w 444"/>
              <a:gd name="T65" fmla="*/ 570 h 786"/>
              <a:gd name="T66" fmla="*/ 300 w 444"/>
              <a:gd name="T67" fmla="*/ 606 h 786"/>
              <a:gd name="T68" fmla="*/ 276 w 444"/>
              <a:gd name="T69" fmla="*/ 630 h 786"/>
              <a:gd name="T70" fmla="*/ 270 w 444"/>
              <a:gd name="T71" fmla="*/ 654 h 786"/>
              <a:gd name="T72" fmla="*/ 276 w 444"/>
              <a:gd name="T73" fmla="*/ 672 h 786"/>
              <a:gd name="T74" fmla="*/ 276 w 444"/>
              <a:gd name="T75" fmla="*/ 690 h 786"/>
              <a:gd name="T76" fmla="*/ 288 w 444"/>
              <a:gd name="T77" fmla="*/ 702 h 786"/>
              <a:gd name="T78" fmla="*/ 294 w 444"/>
              <a:gd name="T79" fmla="*/ 714 h 786"/>
              <a:gd name="T80" fmla="*/ 300 w 444"/>
              <a:gd name="T81" fmla="*/ 738 h 786"/>
              <a:gd name="T82" fmla="*/ 294 w 444"/>
              <a:gd name="T83" fmla="*/ 756 h 786"/>
              <a:gd name="T84" fmla="*/ 282 w 444"/>
              <a:gd name="T85" fmla="*/ 750 h 786"/>
              <a:gd name="T86" fmla="*/ 276 w 444"/>
              <a:gd name="T87" fmla="*/ 762 h 786"/>
              <a:gd name="T88" fmla="*/ 258 w 444"/>
              <a:gd name="T89" fmla="*/ 762 h 786"/>
              <a:gd name="T90" fmla="*/ 240 w 444"/>
              <a:gd name="T91" fmla="*/ 762 h 786"/>
              <a:gd name="T92" fmla="*/ 240 w 444"/>
              <a:gd name="T93" fmla="*/ 774 h 786"/>
              <a:gd name="T94" fmla="*/ 222 w 444"/>
              <a:gd name="T95" fmla="*/ 768 h 786"/>
              <a:gd name="T96" fmla="*/ 210 w 444"/>
              <a:gd name="T97" fmla="*/ 774 h 786"/>
              <a:gd name="T98" fmla="*/ 204 w 444"/>
              <a:gd name="T99" fmla="*/ 780 h 786"/>
              <a:gd name="T100" fmla="*/ 198 w 444"/>
              <a:gd name="T101" fmla="*/ 756 h 786"/>
              <a:gd name="T102" fmla="*/ 210 w 444"/>
              <a:gd name="T103" fmla="*/ 738 h 786"/>
              <a:gd name="T104" fmla="*/ 210 w 444"/>
              <a:gd name="T105" fmla="*/ 726 h 786"/>
              <a:gd name="T106" fmla="*/ 210 w 444"/>
              <a:gd name="T107" fmla="*/ 708 h 786"/>
              <a:gd name="T108" fmla="*/ 216 w 444"/>
              <a:gd name="T109" fmla="*/ 696 h 786"/>
              <a:gd name="T110" fmla="*/ 192 w 444"/>
              <a:gd name="T111" fmla="*/ 690 h 786"/>
              <a:gd name="T112" fmla="*/ 180 w 444"/>
              <a:gd name="T113" fmla="*/ 702 h 786"/>
              <a:gd name="T114" fmla="*/ 174 w 444"/>
              <a:gd name="T115" fmla="*/ 720 h 786"/>
              <a:gd name="T116" fmla="*/ 168 w 444"/>
              <a:gd name="T117" fmla="*/ 714 h 786"/>
              <a:gd name="T118" fmla="*/ 156 w 444"/>
              <a:gd name="T119" fmla="*/ 702 h 786"/>
              <a:gd name="T120" fmla="*/ 162 w 444"/>
              <a:gd name="T121" fmla="*/ 678 h 786"/>
              <a:gd name="T122" fmla="*/ 162 w 444"/>
              <a:gd name="T123" fmla="*/ 654 h 786"/>
              <a:gd name="T124" fmla="*/ 162 w 444"/>
              <a:gd name="T125" fmla="*/ 624 h 7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44" h="786">
                <a:moveTo>
                  <a:pt x="0" y="630"/>
                </a:moveTo>
                <a:lnTo>
                  <a:pt x="54" y="540"/>
                </a:lnTo>
                <a:lnTo>
                  <a:pt x="66" y="522"/>
                </a:lnTo>
                <a:lnTo>
                  <a:pt x="72" y="516"/>
                </a:lnTo>
                <a:lnTo>
                  <a:pt x="72" y="516"/>
                </a:lnTo>
                <a:lnTo>
                  <a:pt x="72" y="510"/>
                </a:lnTo>
                <a:lnTo>
                  <a:pt x="72" y="510"/>
                </a:lnTo>
                <a:lnTo>
                  <a:pt x="72" y="504"/>
                </a:lnTo>
                <a:lnTo>
                  <a:pt x="72" y="504"/>
                </a:lnTo>
                <a:lnTo>
                  <a:pt x="78" y="504"/>
                </a:lnTo>
                <a:lnTo>
                  <a:pt x="78" y="504"/>
                </a:lnTo>
                <a:lnTo>
                  <a:pt x="78" y="504"/>
                </a:lnTo>
                <a:lnTo>
                  <a:pt x="78" y="504"/>
                </a:lnTo>
                <a:lnTo>
                  <a:pt x="84" y="498"/>
                </a:lnTo>
                <a:lnTo>
                  <a:pt x="84" y="498"/>
                </a:lnTo>
                <a:lnTo>
                  <a:pt x="84" y="498"/>
                </a:lnTo>
                <a:lnTo>
                  <a:pt x="84" y="498"/>
                </a:lnTo>
                <a:lnTo>
                  <a:pt x="90" y="498"/>
                </a:lnTo>
                <a:lnTo>
                  <a:pt x="90" y="498"/>
                </a:lnTo>
                <a:lnTo>
                  <a:pt x="90" y="492"/>
                </a:lnTo>
                <a:lnTo>
                  <a:pt x="90" y="492"/>
                </a:lnTo>
                <a:lnTo>
                  <a:pt x="90" y="492"/>
                </a:lnTo>
                <a:lnTo>
                  <a:pt x="96" y="492"/>
                </a:lnTo>
                <a:lnTo>
                  <a:pt x="96" y="492"/>
                </a:lnTo>
                <a:lnTo>
                  <a:pt x="96" y="486"/>
                </a:lnTo>
                <a:lnTo>
                  <a:pt x="96" y="486"/>
                </a:lnTo>
                <a:lnTo>
                  <a:pt x="96" y="486"/>
                </a:lnTo>
                <a:lnTo>
                  <a:pt x="102" y="486"/>
                </a:lnTo>
                <a:lnTo>
                  <a:pt x="102" y="486"/>
                </a:lnTo>
                <a:lnTo>
                  <a:pt x="102" y="486"/>
                </a:lnTo>
                <a:lnTo>
                  <a:pt x="102" y="486"/>
                </a:lnTo>
                <a:lnTo>
                  <a:pt x="102" y="486"/>
                </a:lnTo>
                <a:lnTo>
                  <a:pt x="102" y="486"/>
                </a:lnTo>
                <a:lnTo>
                  <a:pt x="108" y="486"/>
                </a:lnTo>
                <a:lnTo>
                  <a:pt x="108" y="486"/>
                </a:lnTo>
                <a:lnTo>
                  <a:pt x="114" y="480"/>
                </a:lnTo>
                <a:lnTo>
                  <a:pt x="120" y="480"/>
                </a:lnTo>
                <a:lnTo>
                  <a:pt x="126" y="480"/>
                </a:lnTo>
                <a:lnTo>
                  <a:pt x="126" y="480"/>
                </a:lnTo>
                <a:lnTo>
                  <a:pt x="132" y="480"/>
                </a:lnTo>
                <a:lnTo>
                  <a:pt x="132" y="486"/>
                </a:lnTo>
                <a:lnTo>
                  <a:pt x="132" y="486"/>
                </a:lnTo>
                <a:lnTo>
                  <a:pt x="138" y="492"/>
                </a:lnTo>
                <a:lnTo>
                  <a:pt x="138" y="492"/>
                </a:lnTo>
                <a:lnTo>
                  <a:pt x="138" y="492"/>
                </a:lnTo>
                <a:lnTo>
                  <a:pt x="144" y="492"/>
                </a:lnTo>
                <a:lnTo>
                  <a:pt x="150" y="492"/>
                </a:lnTo>
                <a:lnTo>
                  <a:pt x="156" y="492"/>
                </a:lnTo>
                <a:lnTo>
                  <a:pt x="156" y="498"/>
                </a:lnTo>
                <a:lnTo>
                  <a:pt x="156" y="498"/>
                </a:lnTo>
                <a:lnTo>
                  <a:pt x="162" y="498"/>
                </a:lnTo>
                <a:lnTo>
                  <a:pt x="162" y="498"/>
                </a:lnTo>
                <a:lnTo>
                  <a:pt x="168" y="498"/>
                </a:lnTo>
                <a:lnTo>
                  <a:pt x="168" y="498"/>
                </a:lnTo>
                <a:lnTo>
                  <a:pt x="168" y="492"/>
                </a:lnTo>
                <a:lnTo>
                  <a:pt x="168" y="492"/>
                </a:lnTo>
                <a:lnTo>
                  <a:pt x="168" y="486"/>
                </a:lnTo>
                <a:lnTo>
                  <a:pt x="168" y="486"/>
                </a:lnTo>
                <a:lnTo>
                  <a:pt x="162" y="486"/>
                </a:lnTo>
                <a:lnTo>
                  <a:pt x="156" y="486"/>
                </a:lnTo>
                <a:lnTo>
                  <a:pt x="144" y="480"/>
                </a:lnTo>
                <a:lnTo>
                  <a:pt x="144" y="480"/>
                </a:lnTo>
                <a:lnTo>
                  <a:pt x="150" y="480"/>
                </a:lnTo>
                <a:lnTo>
                  <a:pt x="150" y="474"/>
                </a:lnTo>
                <a:lnTo>
                  <a:pt x="156" y="468"/>
                </a:lnTo>
                <a:lnTo>
                  <a:pt x="156" y="468"/>
                </a:lnTo>
                <a:lnTo>
                  <a:pt x="156" y="462"/>
                </a:lnTo>
                <a:lnTo>
                  <a:pt x="156" y="462"/>
                </a:lnTo>
                <a:lnTo>
                  <a:pt x="156" y="462"/>
                </a:lnTo>
                <a:lnTo>
                  <a:pt x="156" y="462"/>
                </a:lnTo>
                <a:lnTo>
                  <a:pt x="156" y="462"/>
                </a:lnTo>
                <a:lnTo>
                  <a:pt x="156" y="456"/>
                </a:lnTo>
                <a:lnTo>
                  <a:pt x="156" y="456"/>
                </a:lnTo>
                <a:lnTo>
                  <a:pt x="156" y="456"/>
                </a:lnTo>
                <a:lnTo>
                  <a:pt x="156" y="456"/>
                </a:lnTo>
                <a:lnTo>
                  <a:pt x="156" y="456"/>
                </a:lnTo>
                <a:lnTo>
                  <a:pt x="156" y="456"/>
                </a:lnTo>
                <a:lnTo>
                  <a:pt x="156" y="456"/>
                </a:lnTo>
                <a:lnTo>
                  <a:pt x="156" y="456"/>
                </a:lnTo>
                <a:lnTo>
                  <a:pt x="156" y="426"/>
                </a:lnTo>
                <a:lnTo>
                  <a:pt x="156" y="420"/>
                </a:lnTo>
                <a:lnTo>
                  <a:pt x="144" y="408"/>
                </a:lnTo>
                <a:lnTo>
                  <a:pt x="126" y="384"/>
                </a:lnTo>
                <a:lnTo>
                  <a:pt x="126" y="384"/>
                </a:lnTo>
                <a:lnTo>
                  <a:pt x="126" y="324"/>
                </a:lnTo>
                <a:lnTo>
                  <a:pt x="126" y="102"/>
                </a:lnTo>
                <a:lnTo>
                  <a:pt x="126" y="72"/>
                </a:lnTo>
                <a:lnTo>
                  <a:pt x="126" y="0"/>
                </a:lnTo>
                <a:lnTo>
                  <a:pt x="126" y="0"/>
                </a:lnTo>
                <a:lnTo>
                  <a:pt x="132" y="0"/>
                </a:lnTo>
                <a:lnTo>
                  <a:pt x="132" y="0"/>
                </a:lnTo>
                <a:lnTo>
                  <a:pt x="132" y="6"/>
                </a:lnTo>
                <a:lnTo>
                  <a:pt x="132" y="6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8"/>
                </a:lnTo>
                <a:lnTo>
                  <a:pt x="132" y="18"/>
                </a:lnTo>
                <a:lnTo>
                  <a:pt x="138" y="18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6"/>
                </a:lnTo>
                <a:lnTo>
                  <a:pt x="144" y="36"/>
                </a:lnTo>
                <a:lnTo>
                  <a:pt x="144" y="36"/>
                </a:lnTo>
                <a:lnTo>
                  <a:pt x="144" y="36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50" y="48"/>
                </a:lnTo>
                <a:lnTo>
                  <a:pt x="150" y="48"/>
                </a:lnTo>
                <a:lnTo>
                  <a:pt x="150" y="54"/>
                </a:lnTo>
                <a:lnTo>
                  <a:pt x="150" y="60"/>
                </a:lnTo>
                <a:lnTo>
                  <a:pt x="150" y="66"/>
                </a:lnTo>
                <a:lnTo>
                  <a:pt x="150" y="66"/>
                </a:lnTo>
                <a:lnTo>
                  <a:pt x="156" y="66"/>
                </a:lnTo>
                <a:lnTo>
                  <a:pt x="162" y="66"/>
                </a:lnTo>
                <a:lnTo>
                  <a:pt x="162" y="66"/>
                </a:lnTo>
                <a:lnTo>
                  <a:pt x="162" y="66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8"/>
                </a:lnTo>
                <a:lnTo>
                  <a:pt x="168" y="78"/>
                </a:lnTo>
                <a:lnTo>
                  <a:pt x="168" y="84"/>
                </a:lnTo>
                <a:lnTo>
                  <a:pt x="168" y="84"/>
                </a:lnTo>
                <a:lnTo>
                  <a:pt x="174" y="84"/>
                </a:lnTo>
                <a:lnTo>
                  <a:pt x="174" y="90"/>
                </a:lnTo>
                <a:lnTo>
                  <a:pt x="174" y="90"/>
                </a:lnTo>
                <a:lnTo>
                  <a:pt x="174" y="90"/>
                </a:lnTo>
                <a:lnTo>
                  <a:pt x="174" y="96"/>
                </a:lnTo>
                <a:lnTo>
                  <a:pt x="174" y="96"/>
                </a:lnTo>
                <a:lnTo>
                  <a:pt x="174" y="102"/>
                </a:lnTo>
                <a:lnTo>
                  <a:pt x="174" y="102"/>
                </a:lnTo>
                <a:lnTo>
                  <a:pt x="174" y="108"/>
                </a:lnTo>
                <a:lnTo>
                  <a:pt x="168" y="108"/>
                </a:lnTo>
                <a:lnTo>
                  <a:pt x="168" y="108"/>
                </a:lnTo>
                <a:lnTo>
                  <a:pt x="168" y="114"/>
                </a:lnTo>
                <a:lnTo>
                  <a:pt x="174" y="114"/>
                </a:lnTo>
                <a:lnTo>
                  <a:pt x="168" y="120"/>
                </a:lnTo>
                <a:lnTo>
                  <a:pt x="168" y="120"/>
                </a:lnTo>
                <a:lnTo>
                  <a:pt x="174" y="126"/>
                </a:lnTo>
                <a:lnTo>
                  <a:pt x="180" y="126"/>
                </a:lnTo>
                <a:lnTo>
                  <a:pt x="180" y="126"/>
                </a:lnTo>
                <a:lnTo>
                  <a:pt x="180" y="126"/>
                </a:lnTo>
                <a:lnTo>
                  <a:pt x="180" y="138"/>
                </a:lnTo>
                <a:lnTo>
                  <a:pt x="174" y="138"/>
                </a:lnTo>
                <a:lnTo>
                  <a:pt x="180" y="138"/>
                </a:lnTo>
                <a:lnTo>
                  <a:pt x="180" y="138"/>
                </a:lnTo>
                <a:lnTo>
                  <a:pt x="186" y="138"/>
                </a:lnTo>
                <a:lnTo>
                  <a:pt x="192" y="138"/>
                </a:lnTo>
                <a:lnTo>
                  <a:pt x="192" y="138"/>
                </a:lnTo>
                <a:lnTo>
                  <a:pt x="198" y="138"/>
                </a:lnTo>
                <a:lnTo>
                  <a:pt x="198" y="144"/>
                </a:lnTo>
                <a:lnTo>
                  <a:pt x="198" y="150"/>
                </a:lnTo>
                <a:lnTo>
                  <a:pt x="198" y="150"/>
                </a:lnTo>
                <a:lnTo>
                  <a:pt x="198" y="156"/>
                </a:lnTo>
                <a:lnTo>
                  <a:pt x="198" y="156"/>
                </a:lnTo>
                <a:lnTo>
                  <a:pt x="198" y="156"/>
                </a:lnTo>
                <a:lnTo>
                  <a:pt x="198" y="156"/>
                </a:lnTo>
                <a:lnTo>
                  <a:pt x="198" y="156"/>
                </a:lnTo>
                <a:lnTo>
                  <a:pt x="198" y="156"/>
                </a:lnTo>
                <a:lnTo>
                  <a:pt x="204" y="156"/>
                </a:lnTo>
                <a:lnTo>
                  <a:pt x="204" y="156"/>
                </a:lnTo>
                <a:lnTo>
                  <a:pt x="204" y="162"/>
                </a:lnTo>
                <a:lnTo>
                  <a:pt x="204" y="162"/>
                </a:lnTo>
                <a:lnTo>
                  <a:pt x="210" y="162"/>
                </a:lnTo>
                <a:lnTo>
                  <a:pt x="216" y="168"/>
                </a:lnTo>
                <a:lnTo>
                  <a:pt x="216" y="168"/>
                </a:lnTo>
                <a:lnTo>
                  <a:pt x="222" y="174"/>
                </a:lnTo>
                <a:lnTo>
                  <a:pt x="222" y="174"/>
                </a:lnTo>
                <a:lnTo>
                  <a:pt x="222" y="180"/>
                </a:lnTo>
                <a:lnTo>
                  <a:pt x="222" y="180"/>
                </a:lnTo>
                <a:lnTo>
                  <a:pt x="222" y="186"/>
                </a:lnTo>
                <a:lnTo>
                  <a:pt x="228" y="186"/>
                </a:lnTo>
                <a:lnTo>
                  <a:pt x="228" y="186"/>
                </a:lnTo>
                <a:lnTo>
                  <a:pt x="228" y="186"/>
                </a:lnTo>
                <a:lnTo>
                  <a:pt x="234" y="192"/>
                </a:lnTo>
                <a:lnTo>
                  <a:pt x="234" y="192"/>
                </a:lnTo>
                <a:lnTo>
                  <a:pt x="234" y="192"/>
                </a:lnTo>
                <a:lnTo>
                  <a:pt x="240" y="192"/>
                </a:lnTo>
                <a:lnTo>
                  <a:pt x="240" y="192"/>
                </a:lnTo>
                <a:lnTo>
                  <a:pt x="246" y="192"/>
                </a:lnTo>
                <a:lnTo>
                  <a:pt x="252" y="192"/>
                </a:lnTo>
                <a:lnTo>
                  <a:pt x="252" y="192"/>
                </a:lnTo>
                <a:lnTo>
                  <a:pt x="252" y="198"/>
                </a:lnTo>
                <a:lnTo>
                  <a:pt x="252" y="198"/>
                </a:lnTo>
                <a:lnTo>
                  <a:pt x="252" y="198"/>
                </a:lnTo>
                <a:lnTo>
                  <a:pt x="258" y="198"/>
                </a:lnTo>
                <a:lnTo>
                  <a:pt x="258" y="204"/>
                </a:lnTo>
                <a:lnTo>
                  <a:pt x="258" y="204"/>
                </a:lnTo>
                <a:lnTo>
                  <a:pt x="258" y="210"/>
                </a:lnTo>
                <a:lnTo>
                  <a:pt x="258" y="210"/>
                </a:lnTo>
                <a:lnTo>
                  <a:pt x="252" y="216"/>
                </a:lnTo>
                <a:lnTo>
                  <a:pt x="252" y="216"/>
                </a:lnTo>
                <a:lnTo>
                  <a:pt x="252" y="210"/>
                </a:lnTo>
                <a:lnTo>
                  <a:pt x="252" y="210"/>
                </a:lnTo>
                <a:lnTo>
                  <a:pt x="252" y="216"/>
                </a:lnTo>
                <a:lnTo>
                  <a:pt x="252" y="216"/>
                </a:lnTo>
                <a:lnTo>
                  <a:pt x="252" y="216"/>
                </a:lnTo>
                <a:lnTo>
                  <a:pt x="252" y="216"/>
                </a:lnTo>
                <a:lnTo>
                  <a:pt x="252" y="222"/>
                </a:lnTo>
                <a:lnTo>
                  <a:pt x="252" y="222"/>
                </a:lnTo>
                <a:lnTo>
                  <a:pt x="258" y="222"/>
                </a:lnTo>
                <a:lnTo>
                  <a:pt x="258" y="228"/>
                </a:lnTo>
                <a:lnTo>
                  <a:pt x="258" y="228"/>
                </a:lnTo>
                <a:lnTo>
                  <a:pt x="258" y="228"/>
                </a:lnTo>
                <a:lnTo>
                  <a:pt x="258" y="228"/>
                </a:lnTo>
                <a:lnTo>
                  <a:pt x="258" y="234"/>
                </a:lnTo>
                <a:lnTo>
                  <a:pt x="258" y="234"/>
                </a:lnTo>
                <a:lnTo>
                  <a:pt x="258" y="234"/>
                </a:lnTo>
                <a:lnTo>
                  <a:pt x="258" y="240"/>
                </a:lnTo>
                <a:lnTo>
                  <a:pt x="258" y="240"/>
                </a:lnTo>
                <a:lnTo>
                  <a:pt x="264" y="240"/>
                </a:lnTo>
                <a:lnTo>
                  <a:pt x="264" y="240"/>
                </a:lnTo>
                <a:lnTo>
                  <a:pt x="264" y="246"/>
                </a:lnTo>
                <a:lnTo>
                  <a:pt x="264" y="246"/>
                </a:lnTo>
                <a:lnTo>
                  <a:pt x="264" y="246"/>
                </a:lnTo>
                <a:lnTo>
                  <a:pt x="264" y="252"/>
                </a:lnTo>
                <a:lnTo>
                  <a:pt x="264" y="258"/>
                </a:lnTo>
                <a:lnTo>
                  <a:pt x="264" y="258"/>
                </a:lnTo>
                <a:lnTo>
                  <a:pt x="264" y="258"/>
                </a:lnTo>
                <a:lnTo>
                  <a:pt x="264" y="258"/>
                </a:lnTo>
                <a:lnTo>
                  <a:pt x="264" y="258"/>
                </a:lnTo>
                <a:lnTo>
                  <a:pt x="264" y="264"/>
                </a:lnTo>
                <a:lnTo>
                  <a:pt x="264" y="264"/>
                </a:lnTo>
                <a:lnTo>
                  <a:pt x="264" y="264"/>
                </a:lnTo>
                <a:lnTo>
                  <a:pt x="264" y="264"/>
                </a:lnTo>
                <a:lnTo>
                  <a:pt x="270" y="270"/>
                </a:lnTo>
                <a:lnTo>
                  <a:pt x="276" y="264"/>
                </a:lnTo>
                <a:lnTo>
                  <a:pt x="282" y="270"/>
                </a:lnTo>
                <a:lnTo>
                  <a:pt x="282" y="270"/>
                </a:lnTo>
                <a:lnTo>
                  <a:pt x="282" y="276"/>
                </a:lnTo>
                <a:lnTo>
                  <a:pt x="288" y="276"/>
                </a:lnTo>
                <a:lnTo>
                  <a:pt x="282" y="282"/>
                </a:lnTo>
                <a:lnTo>
                  <a:pt x="288" y="282"/>
                </a:lnTo>
                <a:lnTo>
                  <a:pt x="288" y="282"/>
                </a:lnTo>
                <a:lnTo>
                  <a:pt x="288" y="282"/>
                </a:lnTo>
                <a:lnTo>
                  <a:pt x="294" y="282"/>
                </a:lnTo>
                <a:lnTo>
                  <a:pt x="294" y="282"/>
                </a:lnTo>
                <a:lnTo>
                  <a:pt x="288" y="282"/>
                </a:lnTo>
                <a:lnTo>
                  <a:pt x="294" y="282"/>
                </a:lnTo>
                <a:lnTo>
                  <a:pt x="294" y="282"/>
                </a:lnTo>
                <a:lnTo>
                  <a:pt x="300" y="282"/>
                </a:lnTo>
                <a:lnTo>
                  <a:pt x="300" y="288"/>
                </a:lnTo>
                <a:lnTo>
                  <a:pt x="300" y="282"/>
                </a:lnTo>
                <a:lnTo>
                  <a:pt x="306" y="288"/>
                </a:lnTo>
                <a:lnTo>
                  <a:pt x="306" y="288"/>
                </a:lnTo>
                <a:lnTo>
                  <a:pt x="306" y="288"/>
                </a:lnTo>
                <a:lnTo>
                  <a:pt x="306" y="294"/>
                </a:lnTo>
                <a:lnTo>
                  <a:pt x="300" y="294"/>
                </a:lnTo>
                <a:lnTo>
                  <a:pt x="300" y="300"/>
                </a:lnTo>
                <a:lnTo>
                  <a:pt x="300" y="300"/>
                </a:lnTo>
                <a:lnTo>
                  <a:pt x="300" y="300"/>
                </a:lnTo>
                <a:lnTo>
                  <a:pt x="300" y="306"/>
                </a:lnTo>
                <a:lnTo>
                  <a:pt x="294" y="306"/>
                </a:lnTo>
                <a:lnTo>
                  <a:pt x="294" y="306"/>
                </a:lnTo>
                <a:lnTo>
                  <a:pt x="294" y="312"/>
                </a:lnTo>
                <a:lnTo>
                  <a:pt x="294" y="312"/>
                </a:lnTo>
                <a:lnTo>
                  <a:pt x="294" y="312"/>
                </a:lnTo>
                <a:lnTo>
                  <a:pt x="294" y="318"/>
                </a:lnTo>
                <a:lnTo>
                  <a:pt x="294" y="318"/>
                </a:lnTo>
                <a:lnTo>
                  <a:pt x="300" y="318"/>
                </a:lnTo>
                <a:lnTo>
                  <a:pt x="300" y="318"/>
                </a:lnTo>
                <a:lnTo>
                  <a:pt x="300" y="318"/>
                </a:lnTo>
                <a:lnTo>
                  <a:pt x="300" y="318"/>
                </a:lnTo>
                <a:lnTo>
                  <a:pt x="306" y="318"/>
                </a:lnTo>
                <a:lnTo>
                  <a:pt x="306" y="324"/>
                </a:lnTo>
                <a:lnTo>
                  <a:pt x="306" y="324"/>
                </a:lnTo>
                <a:lnTo>
                  <a:pt x="312" y="330"/>
                </a:lnTo>
                <a:lnTo>
                  <a:pt x="312" y="336"/>
                </a:lnTo>
                <a:lnTo>
                  <a:pt x="318" y="336"/>
                </a:lnTo>
                <a:lnTo>
                  <a:pt x="324" y="330"/>
                </a:lnTo>
                <a:lnTo>
                  <a:pt x="330" y="330"/>
                </a:lnTo>
                <a:lnTo>
                  <a:pt x="336" y="330"/>
                </a:lnTo>
                <a:lnTo>
                  <a:pt x="336" y="330"/>
                </a:lnTo>
                <a:lnTo>
                  <a:pt x="336" y="330"/>
                </a:lnTo>
                <a:lnTo>
                  <a:pt x="342" y="330"/>
                </a:lnTo>
                <a:lnTo>
                  <a:pt x="342" y="330"/>
                </a:lnTo>
                <a:lnTo>
                  <a:pt x="348" y="330"/>
                </a:lnTo>
                <a:lnTo>
                  <a:pt x="348" y="336"/>
                </a:lnTo>
                <a:lnTo>
                  <a:pt x="348" y="336"/>
                </a:lnTo>
                <a:lnTo>
                  <a:pt x="348" y="336"/>
                </a:lnTo>
                <a:lnTo>
                  <a:pt x="348" y="342"/>
                </a:lnTo>
                <a:lnTo>
                  <a:pt x="348" y="348"/>
                </a:lnTo>
                <a:lnTo>
                  <a:pt x="354" y="348"/>
                </a:lnTo>
                <a:lnTo>
                  <a:pt x="354" y="354"/>
                </a:lnTo>
                <a:lnTo>
                  <a:pt x="354" y="354"/>
                </a:lnTo>
                <a:lnTo>
                  <a:pt x="354" y="354"/>
                </a:lnTo>
                <a:lnTo>
                  <a:pt x="354" y="360"/>
                </a:lnTo>
                <a:lnTo>
                  <a:pt x="360" y="360"/>
                </a:lnTo>
                <a:lnTo>
                  <a:pt x="360" y="360"/>
                </a:lnTo>
                <a:lnTo>
                  <a:pt x="366" y="360"/>
                </a:lnTo>
                <a:lnTo>
                  <a:pt x="366" y="366"/>
                </a:lnTo>
                <a:lnTo>
                  <a:pt x="372" y="372"/>
                </a:lnTo>
                <a:lnTo>
                  <a:pt x="372" y="372"/>
                </a:lnTo>
                <a:lnTo>
                  <a:pt x="372" y="378"/>
                </a:lnTo>
                <a:lnTo>
                  <a:pt x="372" y="378"/>
                </a:lnTo>
                <a:lnTo>
                  <a:pt x="372" y="384"/>
                </a:lnTo>
                <a:lnTo>
                  <a:pt x="378" y="384"/>
                </a:lnTo>
                <a:lnTo>
                  <a:pt x="378" y="390"/>
                </a:lnTo>
                <a:lnTo>
                  <a:pt x="378" y="390"/>
                </a:lnTo>
                <a:lnTo>
                  <a:pt x="378" y="390"/>
                </a:lnTo>
                <a:lnTo>
                  <a:pt x="378" y="390"/>
                </a:lnTo>
                <a:lnTo>
                  <a:pt x="378" y="396"/>
                </a:lnTo>
                <a:lnTo>
                  <a:pt x="378" y="396"/>
                </a:lnTo>
                <a:lnTo>
                  <a:pt x="378" y="402"/>
                </a:lnTo>
                <a:lnTo>
                  <a:pt x="384" y="402"/>
                </a:lnTo>
                <a:lnTo>
                  <a:pt x="384" y="402"/>
                </a:lnTo>
                <a:lnTo>
                  <a:pt x="390" y="420"/>
                </a:lnTo>
                <a:lnTo>
                  <a:pt x="390" y="420"/>
                </a:lnTo>
                <a:lnTo>
                  <a:pt x="390" y="426"/>
                </a:lnTo>
                <a:lnTo>
                  <a:pt x="390" y="426"/>
                </a:lnTo>
                <a:lnTo>
                  <a:pt x="390" y="432"/>
                </a:lnTo>
                <a:lnTo>
                  <a:pt x="390" y="432"/>
                </a:lnTo>
                <a:lnTo>
                  <a:pt x="390" y="432"/>
                </a:lnTo>
                <a:lnTo>
                  <a:pt x="396" y="432"/>
                </a:lnTo>
                <a:lnTo>
                  <a:pt x="396" y="432"/>
                </a:lnTo>
                <a:lnTo>
                  <a:pt x="396" y="432"/>
                </a:lnTo>
                <a:lnTo>
                  <a:pt x="396" y="432"/>
                </a:lnTo>
                <a:lnTo>
                  <a:pt x="402" y="432"/>
                </a:lnTo>
                <a:lnTo>
                  <a:pt x="408" y="432"/>
                </a:lnTo>
                <a:lnTo>
                  <a:pt x="408" y="432"/>
                </a:lnTo>
                <a:lnTo>
                  <a:pt x="420" y="432"/>
                </a:lnTo>
                <a:lnTo>
                  <a:pt x="420" y="432"/>
                </a:lnTo>
                <a:lnTo>
                  <a:pt x="426" y="438"/>
                </a:lnTo>
                <a:lnTo>
                  <a:pt x="432" y="432"/>
                </a:lnTo>
                <a:lnTo>
                  <a:pt x="438" y="432"/>
                </a:lnTo>
                <a:lnTo>
                  <a:pt x="438" y="432"/>
                </a:lnTo>
                <a:lnTo>
                  <a:pt x="438" y="432"/>
                </a:lnTo>
                <a:lnTo>
                  <a:pt x="438" y="432"/>
                </a:lnTo>
                <a:lnTo>
                  <a:pt x="438" y="438"/>
                </a:lnTo>
                <a:lnTo>
                  <a:pt x="432" y="438"/>
                </a:lnTo>
                <a:lnTo>
                  <a:pt x="432" y="438"/>
                </a:lnTo>
                <a:lnTo>
                  <a:pt x="432" y="444"/>
                </a:lnTo>
                <a:lnTo>
                  <a:pt x="432" y="444"/>
                </a:lnTo>
                <a:lnTo>
                  <a:pt x="432" y="450"/>
                </a:lnTo>
                <a:lnTo>
                  <a:pt x="426" y="450"/>
                </a:lnTo>
                <a:lnTo>
                  <a:pt x="426" y="456"/>
                </a:lnTo>
                <a:lnTo>
                  <a:pt x="420" y="456"/>
                </a:lnTo>
                <a:lnTo>
                  <a:pt x="420" y="456"/>
                </a:lnTo>
                <a:lnTo>
                  <a:pt x="420" y="462"/>
                </a:lnTo>
                <a:lnTo>
                  <a:pt x="414" y="462"/>
                </a:lnTo>
                <a:lnTo>
                  <a:pt x="414" y="462"/>
                </a:lnTo>
                <a:lnTo>
                  <a:pt x="414" y="462"/>
                </a:lnTo>
                <a:lnTo>
                  <a:pt x="408" y="462"/>
                </a:lnTo>
                <a:lnTo>
                  <a:pt x="408" y="462"/>
                </a:lnTo>
                <a:lnTo>
                  <a:pt x="408" y="462"/>
                </a:lnTo>
                <a:lnTo>
                  <a:pt x="402" y="462"/>
                </a:lnTo>
                <a:lnTo>
                  <a:pt x="402" y="462"/>
                </a:lnTo>
                <a:lnTo>
                  <a:pt x="402" y="462"/>
                </a:lnTo>
                <a:lnTo>
                  <a:pt x="402" y="462"/>
                </a:lnTo>
                <a:lnTo>
                  <a:pt x="396" y="462"/>
                </a:lnTo>
                <a:lnTo>
                  <a:pt x="396" y="462"/>
                </a:lnTo>
                <a:lnTo>
                  <a:pt x="396" y="468"/>
                </a:lnTo>
                <a:lnTo>
                  <a:pt x="396" y="468"/>
                </a:lnTo>
                <a:lnTo>
                  <a:pt x="396" y="468"/>
                </a:lnTo>
                <a:lnTo>
                  <a:pt x="390" y="468"/>
                </a:lnTo>
                <a:lnTo>
                  <a:pt x="390" y="468"/>
                </a:lnTo>
                <a:lnTo>
                  <a:pt x="390" y="468"/>
                </a:lnTo>
                <a:lnTo>
                  <a:pt x="396" y="468"/>
                </a:lnTo>
                <a:lnTo>
                  <a:pt x="396" y="468"/>
                </a:lnTo>
                <a:lnTo>
                  <a:pt x="396" y="474"/>
                </a:lnTo>
                <a:lnTo>
                  <a:pt x="396" y="468"/>
                </a:lnTo>
                <a:lnTo>
                  <a:pt x="396" y="474"/>
                </a:lnTo>
                <a:lnTo>
                  <a:pt x="396" y="474"/>
                </a:lnTo>
                <a:lnTo>
                  <a:pt x="396" y="474"/>
                </a:lnTo>
                <a:lnTo>
                  <a:pt x="402" y="474"/>
                </a:lnTo>
                <a:lnTo>
                  <a:pt x="402" y="474"/>
                </a:lnTo>
                <a:lnTo>
                  <a:pt x="402" y="480"/>
                </a:lnTo>
                <a:lnTo>
                  <a:pt x="402" y="480"/>
                </a:lnTo>
                <a:lnTo>
                  <a:pt x="408" y="486"/>
                </a:lnTo>
                <a:lnTo>
                  <a:pt x="408" y="492"/>
                </a:lnTo>
                <a:lnTo>
                  <a:pt x="408" y="492"/>
                </a:lnTo>
                <a:lnTo>
                  <a:pt x="408" y="498"/>
                </a:lnTo>
                <a:lnTo>
                  <a:pt x="408" y="498"/>
                </a:lnTo>
                <a:lnTo>
                  <a:pt x="408" y="504"/>
                </a:lnTo>
                <a:lnTo>
                  <a:pt x="408" y="510"/>
                </a:lnTo>
                <a:lnTo>
                  <a:pt x="408" y="510"/>
                </a:lnTo>
                <a:lnTo>
                  <a:pt x="408" y="516"/>
                </a:lnTo>
                <a:lnTo>
                  <a:pt x="402" y="516"/>
                </a:lnTo>
                <a:lnTo>
                  <a:pt x="402" y="516"/>
                </a:lnTo>
                <a:lnTo>
                  <a:pt x="402" y="522"/>
                </a:lnTo>
                <a:lnTo>
                  <a:pt x="402" y="522"/>
                </a:lnTo>
                <a:lnTo>
                  <a:pt x="396" y="522"/>
                </a:lnTo>
                <a:lnTo>
                  <a:pt x="396" y="522"/>
                </a:lnTo>
                <a:lnTo>
                  <a:pt x="396" y="522"/>
                </a:lnTo>
                <a:lnTo>
                  <a:pt x="390" y="528"/>
                </a:lnTo>
                <a:lnTo>
                  <a:pt x="390" y="528"/>
                </a:lnTo>
                <a:lnTo>
                  <a:pt x="390" y="528"/>
                </a:lnTo>
                <a:lnTo>
                  <a:pt x="390" y="528"/>
                </a:lnTo>
                <a:lnTo>
                  <a:pt x="444" y="552"/>
                </a:lnTo>
                <a:lnTo>
                  <a:pt x="444" y="552"/>
                </a:lnTo>
                <a:lnTo>
                  <a:pt x="438" y="552"/>
                </a:lnTo>
                <a:lnTo>
                  <a:pt x="438" y="552"/>
                </a:lnTo>
                <a:lnTo>
                  <a:pt x="438" y="552"/>
                </a:lnTo>
                <a:lnTo>
                  <a:pt x="438" y="552"/>
                </a:lnTo>
                <a:lnTo>
                  <a:pt x="438" y="552"/>
                </a:lnTo>
                <a:lnTo>
                  <a:pt x="432" y="552"/>
                </a:lnTo>
                <a:lnTo>
                  <a:pt x="432" y="552"/>
                </a:lnTo>
                <a:lnTo>
                  <a:pt x="432" y="552"/>
                </a:lnTo>
                <a:lnTo>
                  <a:pt x="432" y="552"/>
                </a:lnTo>
                <a:lnTo>
                  <a:pt x="432" y="552"/>
                </a:lnTo>
                <a:lnTo>
                  <a:pt x="432" y="552"/>
                </a:lnTo>
                <a:lnTo>
                  <a:pt x="432" y="552"/>
                </a:lnTo>
                <a:lnTo>
                  <a:pt x="426" y="552"/>
                </a:lnTo>
                <a:lnTo>
                  <a:pt x="426" y="552"/>
                </a:lnTo>
                <a:lnTo>
                  <a:pt x="426" y="552"/>
                </a:lnTo>
                <a:lnTo>
                  <a:pt x="426" y="552"/>
                </a:lnTo>
                <a:lnTo>
                  <a:pt x="426" y="552"/>
                </a:lnTo>
                <a:lnTo>
                  <a:pt x="426" y="552"/>
                </a:lnTo>
                <a:lnTo>
                  <a:pt x="420" y="552"/>
                </a:lnTo>
                <a:lnTo>
                  <a:pt x="420" y="552"/>
                </a:lnTo>
                <a:lnTo>
                  <a:pt x="420" y="552"/>
                </a:lnTo>
                <a:lnTo>
                  <a:pt x="414" y="552"/>
                </a:lnTo>
                <a:lnTo>
                  <a:pt x="414" y="552"/>
                </a:lnTo>
                <a:lnTo>
                  <a:pt x="414" y="552"/>
                </a:lnTo>
                <a:lnTo>
                  <a:pt x="414" y="558"/>
                </a:lnTo>
                <a:lnTo>
                  <a:pt x="414" y="558"/>
                </a:lnTo>
                <a:lnTo>
                  <a:pt x="414" y="558"/>
                </a:lnTo>
                <a:lnTo>
                  <a:pt x="414" y="558"/>
                </a:lnTo>
                <a:lnTo>
                  <a:pt x="408" y="558"/>
                </a:lnTo>
                <a:lnTo>
                  <a:pt x="408" y="564"/>
                </a:lnTo>
                <a:lnTo>
                  <a:pt x="408" y="564"/>
                </a:lnTo>
                <a:lnTo>
                  <a:pt x="408" y="564"/>
                </a:lnTo>
                <a:lnTo>
                  <a:pt x="408" y="564"/>
                </a:lnTo>
                <a:lnTo>
                  <a:pt x="408" y="564"/>
                </a:lnTo>
                <a:lnTo>
                  <a:pt x="408" y="564"/>
                </a:lnTo>
                <a:lnTo>
                  <a:pt x="408" y="564"/>
                </a:lnTo>
                <a:lnTo>
                  <a:pt x="402" y="564"/>
                </a:lnTo>
                <a:lnTo>
                  <a:pt x="402" y="564"/>
                </a:lnTo>
                <a:lnTo>
                  <a:pt x="402" y="564"/>
                </a:lnTo>
                <a:lnTo>
                  <a:pt x="402" y="564"/>
                </a:lnTo>
                <a:lnTo>
                  <a:pt x="402" y="564"/>
                </a:lnTo>
                <a:lnTo>
                  <a:pt x="396" y="558"/>
                </a:lnTo>
                <a:lnTo>
                  <a:pt x="396" y="558"/>
                </a:lnTo>
                <a:lnTo>
                  <a:pt x="396" y="558"/>
                </a:lnTo>
                <a:lnTo>
                  <a:pt x="390" y="558"/>
                </a:lnTo>
                <a:lnTo>
                  <a:pt x="390" y="558"/>
                </a:lnTo>
                <a:lnTo>
                  <a:pt x="390" y="558"/>
                </a:lnTo>
                <a:lnTo>
                  <a:pt x="390" y="558"/>
                </a:lnTo>
                <a:lnTo>
                  <a:pt x="390" y="558"/>
                </a:lnTo>
                <a:lnTo>
                  <a:pt x="384" y="564"/>
                </a:lnTo>
                <a:lnTo>
                  <a:pt x="384" y="564"/>
                </a:lnTo>
                <a:lnTo>
                  <a:pt x="384" y="564"/>
                </a:lnTo>
                <a:lnTo>
                  <a:pt x="384" y="564"/>
                </a:lnTo>
                <a:lnTo>
                  <a:pt x="378" y="564"/>
                </a:lnTo>
                <a:lnTo>
                  <a:pt x="378" y="564"/>
                </a:lnTo>
                <a:lnTo>
                  <a:pt x="378" y="564"/>
                </a:lnTo>
                <a:lnTo>
                  <a:pt x="372" y="564"/>
                </a:lnTo>
                <a:lnTo>
                  <a:pt x="372" y="564"/>
                </a:lnTo>
                <a:lnTo>
                  <a:pt x="372" y="564"/>
                </a:lnTo>
                <a:lnTo>
                  <a:pt x="372" y="564"/>
                </a:lnTo>
                <a:lnTo>
                  <a:pt x="366" y="570"/>
                </a:lnTo>
                <a:lnTo>
                  <a:pt x="366" y="570"/>
                </a:lnTo>
                <a:lnTo>
                  <a:pt x="360" y="570"/>
                </a:lnTo>
                <a:lnTo>
                  <a:pt x="360" y="570"/>
                </a:lnTo>
                <a:lnTo>
                  <a:pt x="360" y="576"/>
                </a:lnTo>
                <a:lnTo>
                  <a:pt x="360" y="576"/>
                </a:lnTo>
                <a:lnTo>
                  <a:pt x="360" y="576"/>
                </a:lnTo>
                <a:lnTo>
                  <a:pt x="330" y="582"/>
                </a:lnTo>
                <a:lnTo>
                  <a:pt x="294" y="582"/>
                </a:lnTo>
                <a:lnTo>
                  <a:pt x="294" y="582"/>
                </a:lnTo>
                <a:lnTo>
                  <a:pt x="294" y="588"/>
                </a:lnTo>
                <a:lnTo>
                  <a:pt x="300" y="588"/>
                </a:lnTo>
                <a:lnTo>
                  <a:pt x="300" y="594"/>
                </a:lnTo>
                <a:lnTo>
                  <a:pt x="300" y="594"/>
                </a:lnTo>
                <a:lnTo>
                  <a:pt x="300" y="600"/>
                </a:lnTo>
                <a:lnTo>
                  <a:pt x="300" y="606"/>
                </a:lnTo>
                <a:lnTo>
                  <a:pt x="300" y="606"/>
                </a:lnTo>
                <a:lnTo>
                  <a:pt x="300" y="612"/>
                </a:lnTo>
                <a:lnTo>
                  <a:pt x="294" y="612"/>
                </a:lnTo>
                <a:lnTo>
                  <a:pt x="294" y="612"/>
                </a:lnTo>
                <a:lnTo>
                  <a:pt x="294" y="618"/>
                </a:lnTo>
                <a:lnTo>
                  <a:pt x="294" y="618"/>
                </a:lnTo>
                <a:lnTo>
                  <a:pt x="288" y="618"/>
                </a:lnTo>
                <a:lnTo>
                  <a:pt x="282" y="618"/>
                </a:lnTo>
                <a:lnTo>
                  <a:pt x="282" y="618"/>
                </a:lnTo>
                <a:lnTo>
                  <a:pt x="282" y="624"/>
                </a:lnTo>
                <a:lnTo>
                  <a:pt x="282" y="624"/>
                </a:lnTo>
                <a:lnTo>
                  <a:pt x="276" y="630"/>
                </a:lnTo>
                <a:lnTo>
                  <a:pt x="276" y="630"/>
                </a:lnTo>
                <a:lnTo>
                  <a:pt x="276" y="630"/>
                </a:lnTo>
                <a:lnTo>
                  <a:pt x="276" y="630"/>
                </a:lnTo>
                <a:lnTo>
                  <a:pt x="276" y="636"/>
                </a:lnTo>
                <a:lnTo>
                  <a:pt x="276" y="636"/>
                </a:lnTo>
                <a:lnTo>
                  <a:pt x="276" y="642"/>
                </a:lnTo>
                <a:lnTo>
                  <a:pt x="270" y="642"/>
                </a:lnTo>
                <a:lnTo>
                  <a:pt x="270" y="648"/>
                </a:lnTo>
                <a:lnTo>
                  <a:pt x="270" y="648"/>
                </a:lnTo>
                <a:lnTo>
                  <a:pt x="270" y="648"/>
                </a:lnTo>
                <a:lnTo>
                  <a:pt x="270" y="648"/>
                </a:lnTo>
                <a:lnTo>
                  <a:pt x="270" y="648"/>
                </a:lnTo>
                <a:lnTo>
                  <a:pt x="270" y="654"/>
                </a:lnTo>
                <a:lnTo>
                  <a:pt x="276" y="654"/>
                </a:lnTo>
                <a:lnTo>
                  <a:pt x="276" y="654"/>
                </a:lnTo>
                <a:lnTo>
                  <a:pt x="276" y="654"/>
                </a:lnTo>
                <a:lnTo>
                  <a:pt x="270" y="654"/>
                </a:lnTo>
                <a:lnTo>
                  <a:pt x="270" y="654"/>
                </a:lnTo>
                <a:lnTo>
                  <a:pt x="270" y="654"/>
                </a:lnTo>
                <a:lnTo>
                  <a:pt x="276" y="654"/>
                </a:lnTo>
                <a:lnTo>
                  <a:pt x="276" y="660"/>
                </a:lnTo>
                <a:lnTo>
                  <a:pt x="276" y="660"/>
                </a:lnTo>
                <a:lnTo>
                  <a:pt x="276" y="660"/>
                </a:lnTo>
                <a:lnTo>
                  <a:pt x="276" y="660"/>
                </a:lnTo>
                <a:lnTo>
                  <a:pt x="276" y="660"/>
                </a:lnTo>
                <a:lnTo>
                  <a:pt x="276" y="666"/>
                </a:lnTo>
                <a:lnTo>
                  <a:pt x="270" y="666"/>
                </a:lnTo>
                <a:lnTo>
                  <a:pt x="270" y="666"/>
                </a:lnTo>
                <a:lnTo>
                  <a:pt x="276" y="666"/>
                </a:lnTo>
                <a:lnTo>
                  <a:pt x="276" y="672"/>
                </a:lnTo>
                <a:lnTo>
                  <a:pt x="276" y="672"/>
                </a:lnTo>
                <a:lnTo>
                  <a:pt x="276" y="672"/>
                </a:lnTo>
                <a:lnTo>
                  <a:pt x="276" y="672"/>
                </a:lnTo>
                <a:lnTo>
                  <a:pt x="282" y="678"/>
                </a:lnTo>
                <a:lnTo>
                  <a:pt x="282" y="678"/>
                </a:lnTo>
                <a:lnTo>
                  <a:pt x="276" y="678"/>
                </a:lnTo>
                <a:lnTo>
                  <a:pt x="276" y="678"/>
                </a:lnTo>
                <a:lnTo>
                  <a:pt x="276" y="678"/>
                </a:lnTo>
                <a:lnTo>
                  <a:pt x="276" y="678"/>
                </a:lnTo>
                <a:lnTo>
                  <a:pt x="276" y="678"/>
                </a:lnTo>
                <a:lnTo>
                  <a:pt x="276" y="684"/>
                </a:lnTo>
                <a:lnTo>
                  <a:pt x="276" y="684"/>
                </a:lnTo>
                <a:lnTo>
                  <a:pt x="276" y="684"/>
                </a:lnTo>
                <a:lnTo>
                  <a:pt x="276" y="684"/>
                </a:lnTo>
                <a:lnTo>
                  <a:pt x="276" y="690"/>
                </a:lnTo>
                <a:lnTo>
                  <a:pt x="282" y="690"/>
                </a:lnTo>
                <a:lnTo>
                  <a:pt x="282" y="690"/>
                </a:lnTo>
                <a:lnTo>
                  <a:pt x="282" y="690"/>
                </a:lnTo>
                <a:lnTo>
                  <a:pt x="282" y="690"/>
                </a:lnTo>
                <a:lnTo>
                  <a:pt x="282" y="696"/>
                </a:lnTo>
                <a:lnTo>
                  <a:pt x="288" y="696"/>
                </a:lnTo>
                <a:lnTo>
                  <a:pt x="288" y="696"/>
                </a:lnTo>
                <a:lnTo>
                  <a:pt x="288" y="696"/>
                </a:lnTo>
                <a:lnTo>
                  <a:pt x="288" y="702"/>
                </a:lnTo>
                <a:lnTo>
                  <a:pt x="288" y="702"/>
                </a:lnTo>
                <a:lnTo>
                  <a:pt x="288" y="702"/>
                </a:lnTo>
                <a:lnTo>
                  <a:pt x="288" y="702"/>
                </a:lnTo>
                <a:lnTo>
                  <a:pt x="288" y="702"/>
                </a:lnTo>
                <a:lnTo>
                  <a:pt x="288" y="702"/>
                </a:lnTo>
                <a:lnTo>
                  <a:pt x="294" y="702"/>
                </a:lnTo>
                <a:lnTo>
                  <a:pt x="294" y="702"/>
                </a:lnTo>
                <a:lnTo>
                  <a:pt x="294" y="702"/>
                </a:lnTo>
                <a:lnTo>
                  <a:pt x="294" y="702"/>
                </a:lnTo>
                <a:lnTo>
                  <a:pt x="294" y="702"/>
                </a:lnTo>
                <a:lnTo>
                  <a:pt x="294" y="708"/>
                </a:lnTo>
                <a:lnTo>
                  <a:pt x="294" y="708"/>
                </a:lnTo>
                <a:lnTo>
                  <a:pt x="294" y="708"/>
                </a:lnTo>
                <a:lnTo>
                  <a:pt x="294" y="708"/>
                </a:lnTo>
                <a:lnTo>
                  <a:pt x="294" y="714"/>
                </a:lnTo>
                <a:lnTo>
                  <a:pt x="294" y="714"/>
                </a:lnTo>
                <a:lnTo>
                  <a:pt x="294" y="714"/>
                </a:lnTo>
                <a:lnTo>
                  <a:pt x="294" y="714"/>
                </a:lnTo>
                <a:lnTo>
                  <a:pt x="294" y="714"/>
                </a:lnTo>
                <a:lnTo>
                  <a:pt x="294" y="720"/>
                </a:lnTo>
                <a:lnTo>
                  <a:pt x="294" y="720"/>
                </a:lnTo>
                <a:lnTo>
                  <a:pt x="288" y="720"/>
                </a:lnTo>
                <a:lnTo>
                  <a:pt x="288" y="726"/>
                </a:lnTo>
                <a:lnTo>
                  <a:pt x="288" y="726"/>
                </a:lnTo>
                <a:lnTo>
                  <a:pt x="288" y="726"/>
                </a:lnTo>
                <a:lnTo>
                  <a:pt x="288" y="726"/>
                </a:lnTo>
                <a:lnTo>
                  <a:pt x="288" y="726"/>
                </a:lnTo>
                <a:lnTo>
                  <a:pt x="288" y="732"/>
                </a:lnTo>
                <a:lnTo>
                  <a:pt x="294" y="732"/>
                </a:lnTo>
                <a:lnTo>
                  <a:pt x="294" y="732"/>
                </a:lnTo>
                <a:lnTo>
                  <a:pt x="300" y="732"/>
                </a:lnTo>
                <a:lnTo>
                  <a:pt x="300" y="738"/>
                </a:lnTo>
                <a:lnTo>
                  <a:pt x="300" y="738"/>
                </a:lnTo>
                <a:lnTo>
                  <a:pt x="294" y="738"/>
                </a:lnTo>
                <a:lnTo>
                  <a:pt x="294" y="744"/>
                </a:lnTo>
                <a:lnTo>
                  <a:pt x="300" y="744"/>
                </a:lnTo>
                <a:lnTo>
                  <a:pt x="300" y="744"/>
                </a:lnTo>
                <a:lnTo>
                  <a:pt x="294" y="744"/>
                </a:lnTo>
                <a:lnTo>
                  <a:pt x="294" y="744"/>
                </a:lnTo>
                <a:lnTo>
                  <a:pt x="300" y="750"/>
                </a:lnTo>
                <a:lnTo>
                  <a:pt x="300" y="750"/>
                </a:lnTo>
                <a:lnTo>
                  <a:pt x="294" y="750"/>
                </a:lnTo>
                <a:lnTo>
                  <a:pt x="294" y="750"/>
                </a:lnTo>
                <a:lnTo>
                  <a:pt x="294" y="750"/>
                </a:lnTo>
                <a:lnTo>
                  <a:pt x="294" y="756"/>
                </a:lnTo>
                <a:lnTo>
                  <a:pt x="294" y="756"/>
                </a:lnTo>
                <a:lnTo>
                  <a:pt x="294" y="756"/>
                </a:lnTo>
                <a:lnTo>
                  <a:pt x="294" y="756"/>
                </a:lnTo>
                <a:lnTo>
                  <a:pt x="294" y="756"/>
                </a:lnTo>
                <a:lnTo>
                  <a:pt x="294" y="756"/>
                </a:lnTo>
                <a:lnTo>
                  <a:pt x="288" y="756"/>
                </a:lnTo>
                <a:lnTo>
                  <a:pt x="288" y="750"/>
                </a:lnTo>
                <a:lnTo>
                  <a:pt x="294" y="750"/>
                </a:lnTo>
                <a:lnTo>
                  <a:pt x="288" y="750"/>
                </a:lnTo>
                <a:lnTo>
                  <a:pt x="288" y="750"/>
                </a:lnTo>
                <a:lnTo>
                  <a:pt x="288" y="750"/>
                </a:lnTo>
                <a:lnTo>
                  <a:pt x="288" y="750"/>
                </a:lnTo>
                <a:lnTo>
                  <a:pt x="282" y="750"/>
                </a:lnTo>
                <a:lnTo>
                  <a:pt x="282" y="744"/>
                </a:lnTo>
                <a:lnTo>
                  <a:pt x="282" y="750"/>
                </a:lnTo>
                <a:lnTo>
                  <a:pt x="282" y="750"/>
                </a:lnTo>
                <a:lnTo>
                  <a:pt x="282" y="750"/>
                </a:lnTo>
                <a:lnTo>
                  <a:pt x="282" y="750"/>
                </a:lnTo>
                <a:lnTo>
                  <a:pt x="282" y="750"/>
                </a:lnTo>
                <a:lnTo>
                  <a:pt x="282" y="756"/>
                </a:lnTo>
                <a:lnTo>
                  <a:pt x="282" y="756"/>
                </a:lnTo>
                <a:lnTo>
                  <a:pt x="282" y="756"/>
                </a:lnTo>
                <a:lnTo>
                  <a:pt x="282" y="756"/>
                </a:lnTo>
                <a:lnTo>
                  <a:pt x="282" y="756"/>
                </a:lnTo>
                <a:lnTo>
                  <a:pt x="282" y="756"/>
                </a:lnTo>
                <a:lnTo>
                  <a:pt x="276" y="762"/>
                </a:lnTo>
                <a:lnTo>
                  <a:pt x="276" y="762"/>
                </a:lnTo>
                <a:lnTo>
                  <a:pt x="276" y="762"/>
                </a:lnTo>
                <a:lnTo>
                  <a:pt x="276" y="768"/>
                </a:lnTo>
                <a:lnTo>
                  <a:pt x="276" y="762"/>
                </a:lnTo>
                <a:lnTo>
                  <a:pt x="276" y="762"/>
                </a:lnTo>
                <a:lnTo>
                  <a:pt x="276" y="762"/>
                </a:lnTo>
                <a:lnTo>
                  <a:pt x="270" y="768"/>
                </a:lnTo>
                <a:lnTo>
                  <a:pt x="270" y="768"/>
                </a:lnTo>
                <a:lnTo>
                  <a:pt x="270" y="762"/>
                </a:lnTo>
                <a:lnTo>
                  <a:pt x="264" y="762"/>
                </a:lnTo>
                <a:lnTo>
                  <a:pt x="264" y="762"/>
                </a:lnTo>
                <a:lnTo>
                  <a:pt x="264" y="762"/>
                </a:lnTo>
                <a:lnTo>
                  <a:pt x="264" y="756"/>
                </a:lnTo>
                <a:lnTo>
                  <a:pt x="258" y="762"/>
                </a:lnTo>
                <a:lnTo>
                  <a:pt x="258" y="762"/>
                </a:lnTo>
                <a:lnTo>
                  <a:pt x="258" y="762"/>
                </a:lnTo>
                <a:lnTo>
                  <a:pt x="258" y="762"/>
                </a:lnTo>
                <a:lnTo>
                  <a:pt x="258" y="762"/>
                </a:lnTo>
                <a:lnTo>
                  <a:pt x="252" y="762"/>
                </a:lnTo>
                <a:lnTo>
                  <a:pt x="252" y="762"/>
                </a:lnTo>
                <a:lnTo>
                  <a:pt x="252" y="756"/>
                </a:lnTo>
                <a:lnTo>
                  <a:pt x="252" y="756"/>
                </a:lnTo>
                <a:lnTo>
                  <a:pt x="252" y="762"/>
                </a:lnTo>
                <a:lnTo>
                  <a:pt x="252" y="762"/>
                </a:lnTo>
                <a:lnTo>
                  <a:pt x="252" y="756"/>
                </a:lnTo>
                <a:lnTo>
                  <a:pt x="246" y="756"/>
                </a:lnTo>
                <a:lnTo>
                  <a:pt x="246" y="756"/>
                </a:lnTo>
                <a:lnTo>
                  <a:pt x="246" y="756"/>
                </a:lnTo>
                <a:lnTo>
                  <a:pt x="246" y="756"/>
                </a:lnTo>
                <a:lnTo>
                  <a:pt x="246" y="756"/>
                </a:lnTo>
                <a:lnTo>
                  <a:pt x="240" y="762"/>
                </a:lnTo>
                <a:lnTo>
                  <a:pt x="240" y="762"/>
                </a:lnTo>
                <a:lnTo>
                  <a:pt x="240" y="762"/>
                </a:lnTo>
                <a:lnTo>
                  <a:pt x="240" y="762"/>
                </a:lnTo>
                <a:lnTo>
                  <a:pt x="240" y="768"/>
                </a:lnTo>
                <a:lnTo>
                  <a:pt x="240" y="768"/>
                </a:lnTo>
                <a:lnTo>
                  <a:pt x="240" y="768"/>
                </a:lnTo>
                <a:lnTo>
                  <a:pt x="240" y="768"/>
                </a:lnTo>
                <a:lnTo>
                  <a:pt x="246" y="768"/>
                </a:lnTo>
                <a:lnTo>
                  <a:pt x="246" y="768"/>
                </a:lnTo>
                <a:lnTo>
                  <a:pt x="240" y="768"/>
                </a:lnTo>
                <a:lnTo>
                  <a:pt x="240" y="774"/>
                </a:lnTo>
                <a:lnTo>
                  <a:pt x="240" y="774"/>
                </a:lnTo>
                <a:lnTo>
                  <a:pt x="240" y="774"/>
                </a:lnTo>
                <a:lnTo>
                  <a:pt x="240" y="774"/>
                </a:lnTo>
                <a:lnTo>
                  <a:pt x="240" y="774"/>
                </a:lnTo>
                <a:lnTo>
                  <a:pt x="234" y="774"/>
                </a:lnTo>
                <a:lnTo>
                  <a:pt x="234" y="774"/>
                </a:lnTo>
                <a:lnTo>
                  <a:pt x="234" y="774"/>
                </a:lnTo>
                <a:lnTo>
                  <a:pt x="234" y="774"/>
                </a:lnTo>
                <a:lnTo>
                  <a:pt x="234" y="774"/>
                </a:lnTo>
                <a:lnTo>
                  <a:pt x="234" y="774"/>
                </a:lnTo>
                <a:lnTo>
                  <a:pt x="234" y="774"/>
                </a:lnTo>
                <a:lnTo>
                  <a:pt x="234" y="774"/>
                </a:lnTo>
                <a:lnTo>
                  <a:pt x="228" y="774"/>
                </a:lnTo>
                <a:lnTo>
                  <a:pt x="228" y="774"/>
                </a:lnTo>
                <a:lnTo>
                  <a:pt x="228" y="768"/>
                </a:lnTo>
                <a:lnTo>
                  <a:pt x="228" y="768"/>
                </a:lnTo>
                <a:lnTo>
                  <a:pt x="228" y="768"/>
                </a:lnTo>
                <a:lnTo>
                  <a:pt x="222" y="768"/>
                </a:lnTo>
                <a:lnTo>
                  <a:pt x="222" y="768"/>
                </a:lnTo>
                <a:lnTo>
                  <a:pt x="216" y="768"/>
                </a:lnTo>
                <a:lnTo>
                  <a:pt x="222" y="768"/>
                </a:lnTo>
                <a:lnTo>
                  <a:pt x="222" y="768"/>
                </a:lnTo>
                <a:lnTo>
                  <a:pt x="216" y="768"/>
                </a:lnTo>
                <a:lnTo>
                  <a:pt x="216" y="774"/>
                </a:lnTo>
                <a:lnTo>
                  <a:pt x="216" y="774"/>
                </a:lnTo>
                <a:lnTo>
                  <a:pt x="216" y="774"/>
                </a:lnTo>
                <a:lnTo>
                  <a:pt x="210" y="774"/>
                </a:lnTo>
                <a:lnTo>
                  <a:pt x="210" y="774"/>
                </a:lnTo>
                <a:lnTo>
                  <a:pt x="210" y="774"/>
                </a:lnTo>
                <a:lnTo>
                  <a:pt x="210" y="774"/>
                </a:lnTo>
                <a:lnTo>
                  <a:pt x="210" y="774"/>
                </a:lnTo>
                <a:lnTo>
                  <a:pt x="210" y="774"/>
                </a:lnTo>
                <a:lnTo>
                  <a:pt x="210" y="780"/>
                </a:lnTo>
                <a:lnTo>
                  <a:pt x="210" y="780"/>
                </a:lnTo>
                <a:lnTo>
                  <a:pt x="216" y="780"/>
                </a:lnTo>
                <a:lnTo>
                  <a:pt x="210" y="780"/>
                </a:lnTo>
                <a:lnTo>
                  <a:pt x="210" y="780"/>
                </a:lnTo>
                <a:lnTo>
                  <a:pt x="210" y="786"/>
                </a:lnTo>
                <a:lnTo>
                  <a:pt x="210" y="786"/>
                </a:lnTo>
                <a:lnTo>
                  <a:pt x="210" y="786"/>
                </a:lnTo>
                <a:lnTo>
                  <a:pt x="210" y="786"/>
                </a:lnTo>
                <a:lnTo>
                  <a:pt x="210" y="786"/>
                </a:lnTo>
                <a:lnTo>
                  <a:pt x="210" y="786"/>
                </a:lnTo>
                <a:lnTo>
                  <a:pt x="204" y="786"/>
                </a:lnTo>
                <a:lnTo>
                  <a:pt x="204" y="786"/>
                </a:lnTo>
                <a:lnTo>
                  <a:pt x="204" y="780"/>
                </a:lnTo>
                <a:lnTo>
                  <a:pt x="204" y="780"/>
                </a:lnTo>
                <a:lnTo>
                  <a:pt x="198" y="780"/>
                </a:lnTo>
                <a:lnTo>
                  <a:pt x="198" y="780"/>
                </a:lnTo>
                <a:lnTo>
                  <a:pt x="198" y="774"/>
                </a:lnTo>
                <a:lnTo>
                  <a:pt x="198" y="774"/>
                </a:lnTo>
                <a:lnTo>
                  <a:pt x="198" y="774"/>
                </a:lnTo>
                <a:lnTo>
                  <a:pt x="198" y="774"/>
                </a:lnTo>
                <a:lnTo>
                  <a:pt x="192" y="768"/>
                </a:lnTo>
                <a:lnTo>
                  <a:pt x="198" y="768"/>
                </a:lnTo>
                <a:lnTo>
                  <a:pt x="198" y="762"/>
                </a:lnTo>
                <a:lnTo>
                  <a:pt x="198" y="762"/>
                </a:lnTo>
                <a:lnTo>
                  <a:pt x="198" y="762"/>
                </a:lnTo>
                <a:lnTo>
                  <a:pt x="198" y="756"/>
                </a:lnTo>
                <a:lnTo>
                  <a:pt x="198" y="756"/>
                </a:lnTo>
                <a:lnTo>
                  <a:pt x="204" y="756"/>
                </a:lnTo>
                <a:lnTo>
                  <a:pt x="204" y="756"/>
                </a:lnTo>
                <a:lnTo>
                  <a:pt x="204" y="756"/>
                </a:lnTo>
                <a:lnTo>
                  <a:pt x="204" y="750"/>
                </a:lnTo>
                <a:lnTo>
                  <a:pt x="204" y="750"/>
                </a:lnTo>
                <a:lnTo>
                  <a:pt x="204" y="750"/>
                </a:lnTo>
                <a:lnTo>
                  <a:pt x="204" y="750"/>
                </a:lnTo>
                <a:lnTo>
                  <a:pt x="204" y="750"/>
                </a:lnTo>
                <a:lnTo>
                  <a:pt x="204" y="744"/>
                </a:lnTo>
                <a:lnTo>
                  <a:pt x="204" y="744"/>
                </a:lnTo>
                <a:lnTo>
                  <a:pt x="204" y="744"/>
                </a:lnTo>
                <a:lnTo>
                  <a:pt x="204" y="744"/>
                </a:lnTo>
                <a:lnTo>
                  <a:pt x="204" y="738"/>
                </a:lnTo>
                <a:lnTo>
                  <a:pt x="210" y="738"/>
                </a:lnTo>
                <a:lnTo>
                  <a:pt x="204" y="738"/>
                </a:lnTo>
                <a:lnTo>
                  <a:pt x="210" y="738"/>
                </a:lnTo>
                <a:lnTo>
                  <a:pt x="210" y="738"/>
                </a:lnTo>
                <a:lnTo>
                  <a:pt x="204" y="738"/>
                </a:lnTo>
                <a:lnTo>
                  <a:pt x="204" y="732"/>
                </a:lnTo>
                <a:lnTo>
                  <a:pt x="204" y="732"/>
                </a:lnTo>
                <a:lnTo>
                  <a:pt x="204" y="732"/>
                </a:lnTo>
                <a:lnTo>
                  <a:pt x="204" y="732"/>
                </a:lnTo>
                <a:lnTo>
                  <a:pt x="204" y="732"/>
                </a:lnTo>
                <a:lnTo>
                  <a:pt x="204" y="732"/>
                </a:lnTo>
                <a:lnTo>
                  <a:pt x="204" y="732"/>
                </a:lnTo>
                <a:lnTo>
                  <a:pt x="210" y="732"/>
                </a:lnTo>
                <a:lnTo>
                  <a:pt x="210" y="732"/>
                </a:lnTo>
                <a:lnTo>
                  <a:pt x="210" y="726"/>
                </a:lnTo>
                <a:lnTo>
                  <a:pt x="210" y="726"/>
                </a:lnTo>
                <a:lnTo>
                  <a:pt x="210" y="720"/>
                </a:lnTo>
                <a:lnTo>
                  <a:pt x="210" y="720"/>
                </a:lnTo>
                <a:lnTo>
                  <a:pt x="210" y="720"/>
                </a:lnTo>
                <a:lnTo>
                  <a:pt x="210" y="720"/>
                </a:lnTo>
                <a:lnTo>
                  <a:pt x="210" y="720"/>
                </a:lnTo>
                <a:lnTo>
                  <a:pt x="210" y="714"/>
                </a:lnTo>
                <a:lnTo>
                  <a:pt x="204" y="714"/>
                </a:lnTo>
                <a:lnTo>
                  <a:pt x="204" y="714"/>
                </a:lnTo>
                <a:lnTo>
                  <a:pt x="204" y="714"/>
                </a:lnTo>
                <a:lnTo>
                  <a:pt x="210" y="714"/>
                </a:lnTo>
                <a:lnTo>
                  <a:pt x="210" y="714"/>
                </a:lnTo>
                <a:lnTo>
                  <a:pt x="210" y="714"/>
                </a:lnTo>
                <a:lnTo>
                  <a:pt x="210" y="708"/>
                </a:lnTo>
                <a:lnTo>
                  <a:pt x="210" y="708"/>
                </a:lnTo>
                <a:lnTo>
                  <a:pt x="210" y="708"/>
                </a:lnTo>
                <a:lnTo>
                  <a:pt x="210" y="708"/>
                </a:lnTo>
                <a:lnTo>
                  <a:pt x="210" y="708"/>
                </a:lnTo>
                <a:lnTo>
                  <a:pt x="210" y="702"/>
                </a:lnTo>
                <a:lnTo>
                  <a:pt x="216" y="702"/>
                </a:lnTo>
                <a:lnTo>
                  <a:pt x="216" y="702"/>
                </a:lnTo>
                <a:lnTo>
                  <a:pt x="216" y="702"/>
                </a:lnTo>
                <a:lnTo>
                  <a:pt x="216" y="702"/>
                </a:lnTo>
                <a:lnTo>
                  <a:pt x="216" y="702"/>
                </a:lnTo>
                <a:lnTo>
                  <a:pt x="216" y="702"/>
                </a:lnTo>
                <a:lnTo>
                  <a:pt x="216" y="702"/>
                </a:lnTo>
                <a:lnTo>
                  <a:pt x="216" y="696"/>
                </a:lnTo>
                <a:lnTo>
                  <a:pt x="216" y="696"/>
                </a:lnTo>
                <a:lnTo>
                  <a:pt x="216" y="696"/>
                </a:lnTo>
                <a:lnTo>
                  <a:pt x="216" y="696"/>
                </a:lnTo>
                <a:lnTo>
                  <a:pt x="210" y="696"/>
                </a:lnTo>
                <a:lnTo>
                  <a:pt x="210" y="696"/>
                </a:lnTo>
                <a:lnTo>
                  <a:pt x="204" y="696"/>
                </a:lnTo>
                <a:lnTo>
                  <a:pt x="204" y="696"/>
                </a:lnTo>
                <a:lnTo>
                  <a:pt x="204" y="696"/>
                </a:lnTo>
                <a:lnTo>
                  <a:pt x="198" y="696"/>
                </a:lnTo>
                <a:lnTo>
                  <a:pt x="198" y="690"/>
                </a:lnTo>
                <a:lnTo>
                  <a:pt x="198" y="690"/>
                </a:lnTo>
                <a:lnTo>
                  <a:pt x="198" y="690"/>
                </a:lnTo>
                <a:lnTo>
                  <a:pt x="192" y="690"/>
                </a:lnTo>
                <a:lnTo>
                  <a:pt x="192" y="690"/>
                </a:lnTo>
                <a:lnTo>
                  <a:pt x="192" y="690"/>
                </a:lnTo>
                <a:lnTo>
                  <a:pt x="192" y="690"/>
                </a:lnTo>
                <a:lnTo>
                  <a:pt x="192" y="690"/>
                </a:lnTo>
                <a:lnTo>
                  <a:pt x="192" y="690"/>
                </a:lnTo>
                <a:lnTo>
                  <a:pt x="186" y="690"/>
                </a:lnTo>
                <a:lnTo>
                  <a:pt x="192" y="690"/>
                </a:lnTo>
                <a:lnTo>
                  <a:pt x="192" y="690"/>
                </a:lnTo>
                <a:lnTo>
                  <a:pt x="192" y="696"/>
                </a:lnTo>
                <a:lnTo>
                  <a:pt x="192" y="696"/>
                </a:lnTo>
                <a:lnTo>
                  <a:pt x="186" y="696"/>
                </a:lnTo>
                <a:lnTo>
                  <a:pt x="186" y="696"/>
                </a:lnTo>
                <a:lnTo>
                  <a:pt x="186" y="702"/>
                </a:lnTo>
                <a:lnTo>
                  <a:pt x="186" y="702"/>
                </a:lnTo>
                <a:lnTo>
                  <a:pt x="180" y="702"/>
                </a:lnTo>
                <a:lnTo>
                  <a:pt x="180" y="702"/>
                </a:lnTo>
                <a:lnTo>
                  <a:pt x="180" y="702"/>
                </a:lnTo>
                <a:lnTo>
                  <a:pt x="180" y="702"/>
                </a:lnTo>
                <a:lnTo>
                  <a:pt x="180" y="702"/>
                </a:lnTo>
                <a:lnTo>
                  <a:pt x="180" y="708"/>
                </a:lnTo>
                <a:lnTo>
                  <a:pt x="174" y="708"/>
                </a:lnTo>
                <a:lnTo>
                  <a:pt x="174" y="708"/>
                </a:lnTo>
                <a:lnTo>
                  <a:pt x="174" y="708"/>
                </a:lnTo>
                <a:lnTo>
                  <a:pt x="180" y="708"/>
                </a:lnTo>
                <a:lnTo>
                  <a:pt x="180" y="708"/>
                </a:lnTo>
                <a:lnTo>
                  <a:pt x="174" y="714"/>
                </a:lnTo>
                <a:lnTo>
                  <a:pt x="174" y="714"/>
                </a:lnTo>
                <a:lnTo>
                  <a:pt x="174" y="714"/>
                </a:lnTo>
                <a:lnTo>
                  <a:pt x="174" y="720"/>
                </a:lnTo>
                <a:lnTo>
                  <a:pt x="174" y="720"/>
                </a:lnTo>
                <a:lnTo>
                  <a:pt x="174" y="714"/>
                </a:lnTo>
                <a:lnTo>
                  <a:pt x="174" y="714"/>
                </a:lnTo>
                <a:lnTo>
                  <a:pt x="174" y="714"/>
                </a:lnTo>
                <a:lnTo>
                  <a:pt x="174" y="714"/>
                </a:lnTo>
                <a:lnTo>
                  <a:pt x="174" y="714"/>
                </a:lnTo>
                <a:lnTo>
                  <a:pt x="168" y="714"/>
                </a:lnTo>
                <a:lnTo>
                  <a:pt x="168" y="714"/>
                </a:lnTo>
                <a:lnTo>
                  <a:pt x="168" y="714"/>
                </a:lnTo>
                <a:lnTo>
                  <a:pt x="168" y="714"/>
                </a:lnTo>
                <a:lnTo>
                  <a:pt x="168" y="714"/>
                </a:lnTo>
                <a:lnTo>
                  <a:pt x="168" y="714"/>
                </a:lnTo>
                <a:lnTo>
                  <a:pt x="168" y="714"/>
                </a:lnTo>
                <a:lnTo>
                  <a:pt x="168" y="714"/>
                </a:lnTo>
                <a:lnTo>
                  <a:pt x="168" y="714"/>
                </a:lnTo>
                <a:lnTo>
                  <a:pt x="168" y="708"/>
                </a:lnTo>
                <a:lnTo>
                  <a:pt x="168" y="708"/>
                </a:lnTo>
                <a:lnTo>
                  <a:pt x="168" y="708"/>
                </a:lnTo>
                <a:lnTo>
                  <a:pt x="162" y="708"/>
                </a:lnTo>
                <a:lnTo>
                  <a:pt x="162" y="708"/>
                </a:lnTo>
                <a:lnTo>
                  <a:pt x="162" y="708"/>
                </a:lnTo>
                <a:lnTo>
                  <a:pt x="162" y="708"/>
                </a:lnTo>
                <a:lnTo>
                  <a:pt x="156" y="708"/>
                </a:lnTo>
                <a:lnTo>
                  <a:pt x="156" y="708"/>
                </a:lnTo>
                <a:lnTo>
                  <a:pt x="162" y="702"/>
                </a:lnTo>
                <a:lnTo>
                  <a:pt x="162" y="702"/>
                </a:lnTo>
                <a:lnTo>
                  <a:pt x="156" y="708"/>
                </a:lnTo>
                <a:lnTo>
                  <a:pt x="156" y="702"/>
                </a:lnTo>
                <a:lnTo>
                  <a:pt x="156" y="702"/>
                </a:lnTo>
                <a:lnTo>
                  <a:pt x="156" y="702"/>
                </a:lnTo>
                <a:lnTo>
                  <a:pt x="162" y="696"/>
                </a:lnTo>
                <a:lnTo>
                  <a:pt x="162" y="690"/>
                </a:lnTo>
                <a:lnTo>
                  <a:pt x="162" y="690"/>
                </a:lnTo>
                <a:lnTo>
                  <a:pt x="162" y="690"/>
                </a:lnTo>
                <a:lnTo>
                  <a:pt x="156" y="690"/>
                </a:lnTo>
                <a:lnTo>
                  <a:pt x="156" y="684"/>
                </a:lnTo>
                <a:lnTo>
                  <a:pt x="156" y="684"/>
                </a:lnTo>
                <a:lnTo>
                  <a:pt x="156" y="684"/>
                </a:lnTo>
                <a:lnTo>
                  <a:pt x="156" y="678"/>
                </a:lnTo>
                <a:lnTo>
                  <a:pt x="156" y="678"/>
                </a:lnTo>
                <a:lnTo>
                  <a:pt x="156" y="678"/>
                </a:lnTo>
                <a:lnTo>
                  <a:pt x="156" y="678"/>
                </a:lnTo>
                <a:lnTo>
                  <a:pt x="162" y="678"/>
                </a:lnTo>
                <a:lnTo>
                  <a:pt x="162" y="672"/>
                </a:lnTo>
                <a:lnTo>
                  <a:pt x="162" y="672"/>
                </a:lnTo>
                <a:lnTo>
                  <a:pt x="162" y="666"/>
                </a:lnTo>
                <a:lnTo>
                  <a:pt x="162" y="666"/>
                </a:lnTo>
                <a:lnTo>
                  <a:pt x="162" y="666"/>
                </a:lnTo>
                <a:lnTo>
                  <a:pt x="168" y="666"/>
                </a:lnTo>
                <a:lnTo>
                  <a:pt x="162" y="660"/>
                </a:lnTo>
                <a:lnTo>
                  <a:pt x="168" y="660"/>
                </a:lnTo>
                <a:lnTo>
                  <a:pt x="168" y="660"/>
                </a:lnTo>
                <a:lnTo>
                  <a:pt x="162" y="660"/>
                </a:lnTo>
                <a:lnTo>
                  <a:pt x="162" y="660"/>
                </a:lnTo>
                <a:lnTo>
                  <a:pt x="162" y="660"/>
                </a:lnTo>
                <a:lnTo>
                  <a:pt x="162" y="654"/>
                </a:lnTo>
                <a:lnTo>
                  <a:pt x="162" y="654"/>
                </a:lnTo>
                <a:lnTo>
                  <a:pt x="162" y="654"/>
                </a:lnTo>
                <a:lnTo>
                  <a:pt x="162" y="648"/>
                </a:lnTo>
                <a:lnTo>
                  <a:pt x="168" y="648"/>
                </a:lnTo>
                <a:lnTo>
                  <a:pt x="168" y="642"/>
                </a:lnTo>
                <a:lnTo>
                  <a:pt x="168" y="642"/>
                </a:lnTo>
                <a:lnTo>
                  <a:pt x="168" y="642"/>
                </a:lnTo>
                <a:lnTo>
                  <a:pt x="168" y="636"/>
                </a:lnTo>
                <a:lnTo>
                  <a:pt x="168" y="636"/>
                </a:lnTo>
                <a:lnTo>
                  <a:pt x="168" y="636"/>
                </a:lnTo>
                <a:lnTo>
                  <a:pt x="174" y="630"/>
                </a:lnTo>
                <a:lnTo>
                  <a:pt x="174" y="630"/>
                </a:lnTo>
                <a:lnTo>
                  <a:pt x="174" y="624"/>
                </a:lnTo>
                <a:lnTo>
                  <a:pt x="168" y="624"/>
                </a:lnTo>
                <a:lnTo>
                  <a:pt x="162" y="624"/>
                </a:lnTo>
                <a:lnTo>
                  <a:pt x="156" y="624"/>
                </a:lnTo>
                <a:lnTo>
                  <a:pt x="150" y="624"/>
                </a:lnTo>
                <a:lnTo>
                  <a:pt x="138" y="624"/>
                </a:lnTo>
                <a:lnTo>
                  <a:pt x="138" y="624"/>
                </a:lnTo>
                <a:lnTo>
                  <a:pt x="138" y="624"/>
                </a:lnTo>
                <a:lnTo>
                  <a:pt x="132" y="624"/>
                </a:lnTo>
                <a:lnTo>
                  <a:pt x="132" y="624"/>
                </a:lnTo>
                <a:lnTo>
                  <a:pt x="132" y="624"/>
                </a:lnTo>
                <a:lnTo>
                  <a:pt x="114" y="624"/>
                </a:lnTo>
                <a:lnTo>
                  <a:pt x="0" y="63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06" name="Freeform 39"/>
          <p:cNvSpPr>
            <a:spLocks/>
          </p:cNvSpPr>
          <p:nvPr/>
        </p:nvSpPr>
        <p:spPr bwMode="auto">
          <a:xfrm>
            <a:off x="5913943" y="743082"/>
            <a:ext cx="552468" cy="751619"/>
          </a:xfrm>
          <a:custGeom>
            <a:avLst/>
            <a:gdLst>
              <a:gd name="T0" fmla="*/ 24 w 516"/>
              <a:gd name="T1" fmla="*/ 18 h 702"/>
              <a:gd name="T2" fmla="*/ 96 w 516"/>
              <a:gd name="T3" fmla="*/ 0 h 702"/>
              <a:gd name="T4" fmla="*/ 120 w 516"/>
              <a:gd name="T5" fmla="*/ 42 h 702"/>
              <a:gd name="T6" fmla="*/ 120 w 516"/>
              <a:gd name="T7" fmla="*/ 60 h 702"/>
              <a:gd name="T8" fmla="*/ 126 w 516"/>
              <a:gd name="T9" fmla="*/ 78 h 702"/>
              <a:gd name="T10" fmla="*/ 126 w 516"/>
              <a:gd name="T11" fmla="*/ 96 h 702"/>
              <a:gd name="T12" fmla="*/ 144 w 516"/>
              <a:gd name="T13" fmla="*/ 102 h 702"/>
              <a:gd name="T14" fmla="*/ 162 w 516"/>
              <a:gd name="T15" fmla="*/ 108 h 702"/>
              <a:gd name="T16" fmla="*/ 186 w 516"/>
              <a:gd name="T17" fmla="*/ 108 h 702"/>
              <a:gd name="T18" fmla="*/ 192 w 516"/>
              <a:gd name="T19" fmla="*/ 114 h 702"/>
              <a:gd name="T20" fmla="*/ 204 w 516"/>
              <a:gd name="T21" fmla="*/ 120 h 702"/>
              <a:gd name="T22" fmla="*/ 210 w 516"/>
              <a:gd name="T23" fmla="*/ 132 h 702"/>
              <a:gd name="T24" fmla="*/ 222 w 516"/>
              <a:gd name="T25" fmla="*/ 138 h 702"/>
              <a:gd name="T26" fmla="*/ 234 w 516"/>
              <a:gd name="T27" fmla="*/ 144 h 702"/>
              <a:gd name="T28" fmla="*/ 246 w 516"/>
              <a:gd name="T29" fmla="*/ 156 h 702"/>
              <a:gd name="T30" fmla="*/ 252 w 516"/>
              <a:gd name="T31" fmla="*/ 150 h 702"/>
              <a:gd name="T32" fmla="*/ 264 w 516"/>
              <a:gd name="T33" fmla="*/ 156 h 702"/>
              <a:gd name="T34" fmla="*/ 282 w 516"/>
              <a:gd name="T35" fmla="*/ 162 h 702"/>
              <a:gd name="T36" fmla="*/ 282 w 516"/>
              <a:gd name="T37" fmla="*/ 180 h 702"/>
              <a:gd name="T38" fmla="*/ 294 w 516"/>
              <a:gd name="T39" fmla="*/ 186 h 702"/>
              <a:gd name="T40" fmla="*/ 300 w 516"/>
              <a:gd name="T41" fmla="*/ 210 h 702"/>
              <a:gd name="T42" fmla="*/ 336 w 516"/>
              <a:gd name="T43" fmla="*/ 246 h 702"/>
              <a:gd name="T44" fmla="*/ 336 w 516"/>
              <a:gd name="T45" fmla="*/ 270 h 702"/>
              <a:gd name="T46" fmla="*/ 342 w 516"/>
              <a:gd name="T47" fmla="*/ 312 h 702"/>
              <a:gd name="T48" fmla="*/ 366 w 516"/>
              <a:gd name="T49" fmla="*/ 354 h 702"/>
              <a:gd name="T50" fmla="*/ 396 w 516"/>
              <a:gd name="T51" fmla="*/ 384 h 702"/>
              <a:gd name="T52" fmla="*/ 414 w 516"/>
              <a:gd name="T53" fmla="*/ 408 h 702"/>
              <a:gd name="T54" fmla="*/ 414 w 516"/>
              <a:gd name="T55" fmla="*/ 438 h 702"/>
              <a:gd name="T56" fmla="*/ 432 w 516"/>
              <a:gd name="T57" fmla="*/ 456 h 702"/>
              <a:gd name="T58" fmla="*/ 438 w 516"/>
              <a:gd name="T59" fmla="*/ 474 h 702"/>
              <a:gd name="T60" fmla="*/ 474 w 516"/>
              <a:gd name="T61" fmla="*/ 498 h 702"/>
              <a:gd name="T62" fmla="*/ 486 w 516"/>
              <a:gd name="T63" fmla="*/ 480 h 702"/>
              <a:gd name="T64" fmla="*/ 516 w 516"/>
              <a:gd name="T65" fmla="*/ 492 h 702"/>
              <a:gd name="T66" fmla="*/ 450 w 516"/>
              <a:gd name="T67" fmla="*/ 534 h 702"/>
              <a:gd name="T68" fmla="*/ 492 w 516"/>
              <a:gd name="T69" fmla="*/ 552 h 702"/>
              <a:gd name="T70" fmla="*/ 498 w 516"/>
              <a:gd name="T71" fmla="*/ 588 h 702"/>
              <a:gd name="T72" fmla="*/ 504 w 516"/>
              <a:gd name="T73" fmla="*/ 648 h 702"/>
              <a:gd name="T74" fmla="*/ 492 w 516"/>
              <a:gd name="T75" fmla="*/ 666 h 702"/>
              <a:gd name="T76" fmla="*/ 456 w 516"/>
              <a:gd name="T77" fmla="*/ 702 h 702"/>
              <a:gd name="T78" fmla="*/ 378 w 516"/>
              <a:gd name="T79" fmla="*/ 696 h 702"/>
              <a:gd name="T80" fmla="*/ 312 w 516"/>
              <a:gd name="T81" fmla="*/ 654 h 702"/>
              <a:gd name="T82" fmla="*/ 318 w 516"/>
              <a:gd name="T83" fmla="*/ 612 h 702"/>
              <a:gd name="T84" fmla="*/ 312 w 516"/>
              <a:gd name="T85" fmla="*/ 600 h 702"/>
              <a:gd name="T86" fmla="*/ 342 w 516"/>
              <a:gd name="T87" fmla="*/ 588 h 702"/>
              <a:gd name="T88" fmla="*/ 324 w 516"/>
              <a:gd name="T89" fmla="*/ 564 h 702"/>
              <a:gd name="T90" fmla="*/ 294 w 516"/>
              <a:gd name="T91" fmla="*/ 534 h 702"/>
              <a:gd name="T92" fmla="*/ 276 w 516"/>
              <a:gd name="T93" fmla="*/ 492 h 702"/>
              <a:gd name="T94" fmla="*/ 252 w 516"/>
              <a:gd name="T95" fmla="*/ 462 h 702"/>
              <a:gd name="T96" fmla="*/ 210 w 516"/>
              <a:gd name="T97" fmla="*/ 444 h 702"/>
              <a:gd name="T98" fmla="*/ 210 w 516"/>
              <a:gd name="T99" fmla="*/ 414 h 702"/>
              <a:gd name="T100" fmla="*/ 180 w 516"/>
              <a:gd name="T101" fmla="*/ 396 h 702"/>
              <a:gd name="T102" fmla="*/ 174 w 516"/>
              <a:gd name="T103" fmla="*/ 366 h 702"/>
              <a:gd name="T104" fmla="*/ 168 w 516"/>
              <a:gd name="T105" fmla="*/ 348 h 702"/>
              <a:gd name="T106" fmla="*/ 150 w 516"/>
              <a:gd name="T107" fmla="*/ 324 h 702"/>
              <a:gd name="T108" fmla="*/ 120 w 516"/>
              <a:gd name="T109" fmla="*/ 288 h 702"/>
              <a:gd name="T110" fmla="*/ 90 w 516"/>
              <a:gd name="T111" fmla="*/ 270 h 702"/>
              <a:gd name="T112" fmla="*/ 90 w 516"/>
              <a:gd name="T113" fmla="*/ 228 h 702"/>
              <a:gd name="T114" fmla="*/ 66 w 516"/>
              <a:gd name="T115" fmla="*/ 198 h 702"/>
              <a:gd name="T116" fmla="*/ 54 w 516"/>
              <a:gd name="T117" fmla="*/ 156 h 702"/>
              <a:gd name="T118" fmla="*/ 42 w 516"/>
              <a:gd name="T119" fmla="*/ 132 h 702"/>
              <a:gd name="T120" fmla="*/ 30 w 516"/>
              <a:gd name="T121" fmla="*/ 96 h 702"/>
              <a:gd name="T122" fmla="*/ 24 w 516"/>
              <a:gd name="T123" fmla="*/ 66 h 702"/>
              <a:gd name="T124" fmla="*/ 0 w 516"/>
              <a:gd name="T125" fmla="*/ 24 h 7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6" h="702">
                <a:moveTo>
                  <a:pt x="0" y="24"/>
                </a:moveTo>
                <a:lnTo>
                  <a:pt x="6" y="18"/>
                </a:lnTo>
                <a:lnTo>
                  <a:pt x="6" y="24"/>
                </a:lnTo>
                <a:lnTo>
                  <a:pt x="6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6" y="18"/>
                </a:lnTo>
                <a:lnTo>
                  <a:pt x="42" y="18"/>
                </a:lnTo>
                <a:lnTo>
                  <a:pt x="48" y="18"/>
                </a:lnTo>
                <a:lnTo>
                  <a:pt x="48" y="12"/>
                </a:lnTo>
                <a:lnTo>
                  <a:pt x="54" y="6"/>
                </a:lnTo>
                <a:lnTo>
                  <a:pt x="60" y="6"/>
                </a:lnTo>
                <a:lnTo>
                  <a:pt x="66" y="12"/>
                </a:lnTo>
                <a:lnTo>
                  <a:pt x="66" y="6"/>
                </a:lnTo>
                <a:lnTo>
                  <a:pt x="72" y="0"/>
                </a:lnTo>
                <a:lnTo>
                  <a:pt x="78" y="0"/>
                </a:lnTo>
                <a:lnTo>
                  <a:pt x="78" y="6"/>
                </a:lnTo>
                <a:lnTo>
                  <a:pt x="84" y="6"/>
                </a:lnTo>
                <a:lnTo>
                  <a:pt x="96" y="0"/>
                </a:lnTo>
                <a:lnTo>
                  <a:pt x="102" y="0"/>
                </a:lnTo>
                <a:lnTo>
                  <a:pt x="102" y="6"/>
                </a:lnTo>
                <a:lnTo>
                  <a:pt x="102" y="12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14" y="24"/>
                </a:lnTo>
                <a:lnTo>
                  <a:pt x="114" y="24"/>
                </a:lnTo>
                <a:lnTo>
                  <a:pt x="120" y="30"/>
                </a:lnTo>
                <a:lnTo>
                  <a:pt x="120" y="30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42"/>
                </a:lnTo>
                <a:lnTo>
                  <a:pt x="120" y="42"/>
                </a:lnTo>
                <a:lnTo>
                  <a:pt x="120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84"/>
                </a:lnTo>
                <a:lnTo>
                  <a:pt x="126" y="84"/>
                </a:lnTo>
                <a:lnTo>
                  <a:pt x="126" y="90"/>
                </a:lnTo>
                <a:lnTo>
                  <a:pt x="126" y="90"/>
                </a:lnTo>
                <a:lnTo>
                  <a:pt x="126" y="90"/>
                </a:lnTo>
                <a:lnTo>
                  <a:pt x="126" y="90"/>
                </a:lnTo>
                <a:lnTo>
                  <a:pt x="126" y="90"/>
                </a:lnTo>
                <a:lnTo>
                  <a:pt x="126" y="96"/>
                </a:lnTo>
                <a:lnTo>
                  <a:pt x="126" y="96"/>
                </a:lnTo>
                <a:lnTo>
                  <a:pt x="126" y="96"/>
                </a:lnTo>
                <a:lnTo>
                  <a:pt x="126" y="96"/>
                </a:lnTo>
                <a:lnTo>
                  <a:pt x="126" y="96"/>
                </a:lnTo>
                <a:lnTo>
                  <a:pt x="126" y="102"/>
                </a:lnTo>
                <a:lnTo>
                  <a:pt x="126" y="102"/>
                </a:lnTo>
                <a:lnTo>
                  <a:pt x="126" y="102"/>
                </a:lnTo>
                <a:lnTo>
                  <a:pt x="126" y="102"/>
                </a:lnTo>
                <a:lnTo>
                  <a:pt x="126" y="102"/>
                </a:lnTo>
                <a:lnTo>
                  <a:pt x="126" y="102"/>
                </a:lnTo>
                <a:lnTo>
                  <a:pt x="132" y="102"/>
                </a:lnTo>
                <a:lnTo>
                  <a:pt x="132" y="102"/>
                </a:lnTo>
                <a:lnTo>
                  <a:pt x="132" y="102"/>
                </a:lnTo>
                <a:lnTo>
                  <a:pt x="132" y="108"/>
                </a:lnTo>
                <a:lnTo>
                  <a:pt x="138" y="108"/>
                </a:lnTo>
                <a:lnTo>
                  <a:pt x="138" y="108"/>
                </a:lnTo>
                <a:lnTo>
                  <a:pt x="138" y="102"/>
                </a:lnTo>
                <a:lnTo>
                  <a:pt x="138" y="108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50" y="102"/>
                </a:lnTo>
                <a:lnTo>
                  <a:pt x="150" y="102"/>
                </a:lnTo>
                <a:lnTo>
                  <a:pt x="150" y="102"/>
                </a:lnTo>
                <a:lnTo>
                  <a:pt x="156" y="108"/>
                </a:lnTo>
                <a:lnTo>
                  <a:pt x="156" y="108"/>
                </a:lnTo>
                <a:lnTo>
                  <a:pt x="156" y="108"/>
                </a:lnTo>
                <a:lnTo>
                  <a:pt x="156" y="108"/>
                </a:lnTo>
                <a:lnTo>
                  <a:pt x="156" y="108"/>
                </a:lnTo>
                <a:lnTo>
                  <a:pt x="156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8" y="108"/>
                </a:lnTo>
                <a:lnTo>
                  <a:pt x="168" y="108"/>
                </a:lnTo>
                <a:lnTo>
                  <a:pt x="168" y="108"/>
                </a:lnTo>
                <a:lnTo>
                  <a:pt x="174" y="108"/>
                </a:lnTo>
                <a:lnTo>
                  <a:pt x="174" y="108"/>
                </a:lnTo>
                <a:lnTo>
                  <a:pt x="174" y="108"/>
                </a:lnTo>
                <a:lnTo>
                  <a:pt x="180" y="108"/>
                </a:lnTo>
                <a:lnTo>
                  <a:pt x="180" y="108"/>
                </a:lnTo>
                <a:lnTo>
                  <a:pt x="180" y="108"/>
                </a:lnTo>
                <a:lnTo>
                  <a:pt x="180" y="108"/>
                </a:lnTo>
                <a:lnTo>
                  <a:pt x="180" y="108"/>
                </a:lnTo>
                <a:lnTo>
                  <a:pt x="180" y="108"/>
                </a:lnTo>
                <a:lnTo>
                  <a:pt x="180" y="108"/>
                </a:lnTo>
                <a:lnTo>
                  <a:pt x="186" y="108"/>
                </a:lnTo>
                <a:lnTo>
                  <a:pt x="186" y="108"/>
                </a:lnTo>
                <a:lnTo>
                  <a:pt x="186" y="108"/>
                </a:lnTo>
                <a:lnTo>
                  <a:pt x="186" y="108"/>
                </a:lnTo>
                <a:lnTo>
                  <a:pt x="186" y="108"/>
                </a:lnTo>
                <a:lnTo>
                  <a:pt x="186" y="108"/>
                </a:lnTo>
                <a:lnTo>
                  <a:pt x="186" y="114"/>
                </a:lnTo>
                <a:lnTo>
                  <a:pt x="186" y="108"/>
                </a:lnTo>
                <a:lnTo>
                  <a:pt x="186" y="114"/>
                </a:lnTo>
                <a:lnTo>
                  <a:pt x="186" y="114"/>
                </a:lnTo>
                <a:lnTo>
                  <a:pt x="186" y="114"/>
                </a:lnTo>
                <a:lnTo>
                  <a:pt x="186" y="114"/>
                </a:lnTo>
                <a:lnTo>
                  <a:pt x="186" y="114"/>
                </a:lnTo>
                <a:lnTo>
                  <a:pt x="186" y="114"/>
                </a:lnTo>
                <a:lnTo>
                  <a:pt x="192" y="114"/>
                </a:lnTo>
                <a:lnTo>
                  <a:pt x="192" y="114"/>
                </a:lnTo>
                <a:lnTo>
                  <a:pt x="192" y="114"/>
                </a:lnTo>
                <a:lnTo>
                  <a:pt x="192" y="114"/>
                </a:lnTo>
                <a:lnTo>
                  <a:pt x="192" y="114"/>
                </a:lnTo>
                <a:lnTo>
                  <a:pt x="192" y="114"/>
                </a:lnTo>
                <a:lnTo>
                  <a:pt x="192" y="114"/>
                </a:lnTo>
                <a:lnTo>
                  <a:pt x="192" y="120"/>
                </a:lnTo>
                <a:lnTo>
                  <a:pt x="192" y="120"/>
                </a:lnTo>
                <a:lnTo>
                  <a:pt x="192" y="120"/>
                </a:lnTo>
                <a:lnTo>
                  <a:pt x="198" y="120"/>
                </a:lnTo>
                <a:lnTo>
                  <a:pt x="198" y="120"/>
                </a:lnTo>
                <a:lnTo>
                  <a:pt x="198" y="126"/>
                </a:lnTo>
                <a:lnTo>
                  <a:pt x="198" y="126"/>
                </a:lnTo>
                <a:lnTo>
                  <a:pt x="198" y="126"/>
                </a:lnTo>
                <a:lnTo>
                  <a:pt x="198" y="120"/>
                </a:lnTo>
                <a:lnTo>
                  <a:pt x="198" y="120"/>
                </a:lnTo>
                <a:lnTo>
                  <a:pt x="204" y="120"/>
                </a:lnTo>
                <a:lnTo>
                  <a:pt x="204" y="120"/>
                </a:lnTo>
                <a:lnTo>
                  <a:pt x="204" y="120"/>
                </a:lnTo>
                <a:lnTo>
                  <a:pt x="204" y="120"/>
                </a:lnTo>
                <a:lnTo>
                  <a:pt x="204" y="120"/>
                </a:lnTo>
                <a:lnTo>
                  <a:pt x="204" y="120"/>
                </a:lnTo>
                <a:lnTo>
                  <a:pt x="204" y="120"/>
                </a:lnTo>
                <a:lnTo>
                  <a:pt x="204" y="126"/>
                </a:lnTo>
                <a:lnTo>
                  <a:pt x="210" y="126"/>
                </a:lnTo>
                <a:lnTo>
                  <a:pt x="204" y="126"/>
                </a:lnTo>
                <a:lnTo>
                  <a:pt x="210" y="126"/>
                </a:lnTo>
                <a:lnTo>
                  <a:pt x="210" y="126"/>
                </a:lnTo>
                <a:lnTo>
                  <a:pt x="210" y="126"/>
                </a:lnTo>
                <a:lnTo>
                  <a:pt x="210" y="126"/>
                </a:lnTo>
                <a:lnTo>
                  <a:pt x="210" y="126"/>
                </a:lnTo>
                <a:lnTo>
                  <a:pt x="210" y="132"/>
                </a:lnTo>
                <a:lnTo>
                  <a:pt x="210" y="126"/>
                </a:lnTo>
                <a:lnTo>
                  <a:pt x="210" y="126"/>
                </a:lnTo>
                <a:lnTo>
                  <a:pt x="210" y="132"/>
                </a:lnTo>
                <a:lnTo>
                  <a:pt x="210" y="132"/>
                </a:lnTo>
                <a:lnTo>
                  <a:pt x="210" y="132"/>
                </a:lnTo>
                <a:lnTo>
                  <a:pt x="210" y="132"/>
                </a:lnTo>
                <a:lnTo>
                  <a:pt x="210" y="132"/>
                </a:lnTo>
                <a:lnTo>
                  <a:pt x="216" y="138"/>
                </a:lnTo>
                <a:lnTo>
                  <a:pt x="210" y="138"/>
                </a:lnTo>
                <a:lnTo>
                  <a:pt x="216" y="138"/>
                </a:lnTo>
                <a:lnTo>
                  <a:pt x="210" y="144"/>
                </a:lnTo>
                <a:lnTo>
                  <a:pt x="216" y="144"/>
                </a:lnTo>
                <a:lnTo>
                  <a:pt x="216" y="144"/>
                </a:lnTo>
                <a:lnTo>
                  <a:pt x="216" y="138"/>
                </a:lnTo>
                <a:lnTo>
                  <a:pt x="216" y="138"/>
                </a:lnTo>
                <a:lnTo>
                  <a:pt x="216" y="138"/>
                </a:lnTo>
                <a:lnTo>
                  <a:pt x="216" y="144"/>
                </a:lnTo>
                <a:lnTo>
                  <a:pt x="222" y="138"/>
                </a:lnTo>
                <a:lnTo>
                  <a:pt x="222" y="138"/>
                </a:lnTo>
                <a:lnTo>
                  <a:pt x="222" y="138"/>
                </a:lnTo>
                <a:lnTo>
                  <a:pt x="222" y="138"/>
                </a:lnTo>
                <a:lnTo>
                  <a:pt x="222" y="138"/>
                </a:lnTo>
                <a:lnTo>
                  <a:pt x="222" y="138"/>
                </a:lnTo>
                <a:lnTo>
                  <a:pt x="222" y="138"/>
                </a:lnTo>
                <a:lnTo>
                  <a:pt x="222" y="144"/>
                </a:lnTo>
                <a:lnTo>
                  <a:pt x="222" y="144"/>
                </a:lnTo>
                <a:lnTo>
                  <a:pt x="228" y="144"/>
                </a:lnTo>
                <a:lnTo>
                  <a:pt x="228" y="144"/>
                </a:lnTo>
                <a:lnTo>
                  <a:pt x="228" y="144"/>
                </a:lnTo>
                <a:lnTo>
                  <a:pt x="228" y="144"/>
                </a:lnTo>
                <a:lnTo>
                  <a:pt x="228" y="144"/>
                </a:lnTo>
                <a:lnTo>
                  <a:pt x="234" y="144"/>
                </a:lnTo>
                <a:lnTo>
                  <a:pt x="234" y="144"/>
                </a:lnTo>
                <a:lnTo>
                  <a:pt x="234" y="144"/>
                </a:lnTo>
                <a:lnTo>
                  <a:pt x="234" y="144"/>
                </a:lnTo>
                <a:lnTo>
                  <a:pt x="234" y="144"/>
                </a:lnTo>
                <a:lnTo>
                  <a:pt x="234" y="144"/>
                </a:lnTo>
                <a:lnTo>
                  <a:pt x="234" y="150"/>
                </a:lnTo>
                <a:lnTo>
                  <a:pt x="234" y="150"/>
                </a:lnTo>
                <a:lnTo>
                  <a:pt x="234" y="150"/>
                </a:lnTo>
                <a:lnTo>
                  <a:pt x="234" y="150"/>
                </a:lnTo>
                <a:lnTo>
                  <a:pt x="234" y="150"/>
                </a:lnTo>
                <a:lnTo>
                  <a:pt x="234" y="144"/>
                </a:lnTo>
                <a:lnTo>
                  <a:pt x="240" y="144"/>
                </a:lnTo>
                <a:lnTo>
                  <a:pt x="240" y="150"/>
                </a:lnTo>
                <a:lnTo>
                  <a:pt x="240" y="150"/>
                </a:lnTo>
                <a:lnTo>
                  <a:pt x="240" y="150"/>
                </a:lnTo>
                <a:lnTo>
                  <a:pt x="240" y="150"/>
                </a:lnTo>
                <a:lnTo>
                  <a:pt x="240" y="156"/>
                </a:lnTo>
                <a:lnTo>
                  <a:pt x="240" y="150"/>
                </a:lnTo>
                <a:lnTo>
                  <a:pt x="246" y="156"/>
                </a:lnTo>
                <a:lnTo>
                  <a:pt x="246" y="150"/>
                </a:lnTo>
                <a:lnTo>
                  <a:pt x="246" y="150"/>
                </a:lnTo>
                <a:lnTo>
                  <a:pt x="246" y="156"/>
                </a:lnTo>
                <a:lnTo>
                  <a:pt x="246" y="156"/>
                </a:lnTo>
                <a:lnTo>
                  <a:pt x="246" y="156"/>
                </a:lnTo>
                <a:lnTo>
                  <a:pt x="246" y="156"/>
                </a:lnTo>
                <a:lnTo>
                  <a:pt x="246" y="156"/>
                </a:lnTo>
                <a:lnTo>
                  <a:pt x="252" y="156"/>
                </a:lnTo>
                <a:lnTo>
                  <a:pt x="252" y="156"/>
                </a:lnTo>
                <a:lnTo>
                  <a:pt x="252" y="156"/>
                </a:lnTo>
                <a:lnTo>
                  <a:pt x="252" y="150"/>
                </a:lnTo>
                <a:lnTo>
                  <a:pt x="246" y="150"/>
                </a:lnTo>
                <a:lnTo>
                  <a:pt x="246" y="150"/>
                </a:lnTo>
                <a:lnTo>
                  <a:pt x="252" y="150"/>
                </a:lnTo>
                <a:lnTo>
                  <a:pt x="252" y="150"/>
                </a:lnTo>
                <a:lnTo>
                  <a:pt x="252" y="150"/>
                </a:lnTo>
                <a:lnTo>
                  <a:pt x="252" y="156"/>
                </a:lnTo>
                <a:lnTo>
                  <a:pt x="252" y="156"/>
                </a:lnTo>
                <a:lnTo>
                  <a:pt x="258" y="150"/>
                </a:lnTo>
                <a:lnTo>
                  <a:pt x="258" y="156"/>
                </a:lnTo>
                <a:lnTo>
                  <a:pt x="258" y="156"/>
                </a:lnTo>
                <a:lnTo>
                  <a:pt x="258" y="156"/>
                </a:lnTo>
                <a:lnTo>
                  <a:pt x="264" y="150"/>
                </a:lnTo>
                <a:lnTo>
                  <a:pt x="264" y="150"/>
                </a:lnTo>
                <a:lnTo>
                  <a:pt x="258" y="150"/>
                </a:lnTo>
                <a:lnTo>
                  <a:pt x="264" y="150"/>
                </a:lnTo>
                <a:lnTo>
                  <a:pt x="264" y="150"/>
                </a:lnTo>
                <a:lnTo>
                  <a:pt x="264" y="150"/>
                </a:lnTo>
                <a:lnTo>
                  <a:pt x="264" y="156"/>
                </a:lnTo>
                <a:lnTo>
                  <a:pt x="264" y="156"/>
                </a:lnTo>
                <a:lnTo>
                  <a:pt x="264" y="156"/>
                </a:lnTo>
                <a:lnTo>
                  <a:pt x="264" y="156"/>
                </a:lnTo>
                <a:lnTo>
                  <a:pt x="264" y="156"/>
                </a:lnTo>
                <a:lnTo>
                  <a:pt x="264" y="156"/>
                </a:lnTo>
                <a:lnTo>
                  <a:pt x="270" y="156"/>
                </a:lnTo>
                <a:lnTo>
                  <a:pt x="270" y="150"/>
                </a:lnTo>
                <a:lnTo>
                  <a:pt x="270" y="150"/>
                </a:lnTo>
                <a:lnTo>
                  <a:pt x="270" y="150"/>
                </a:lnTo>
                <a:lnTo>
                  <a:pt x="270" y="156"/>
                </a:lnTo>
                <a:lnTo>
                  <a:pt x="270" y="156"/>
                </a:lnTo>
                <a:lnTo>
                  <a:pt x="270" y="156"/>
                </a:lnTo>
                <a:lnTo>
                  <a:pt x="270" y="156"/>
                </a:lnTo>
                <a:lnTo>
                  <a:pt x="270" y="162"/>
                </a:lnTo>
                <a:lnTo>
                  <a:pt x="270" y="162"/>
                </a:lnTo>
                <a:lnTo>
                  <a:pt x="270" y="162"/>
                </a:lnTo>
                <a:lnTo>
                  <a:pt x="270" y="162"/>
                </a:lnTo>
                <a:lnTo>
                  <a:pt x="276" y="156"/>
                </a:lnTo>
                <a:lnTo>
                  <a:pt x="282" y="162"/>
                </a:lnTo>
                <a:lnTo>
                  <a:pt x="282" y="162"/>
                </a:lnTo>
                <a:lnTo>
                  <a:pt x="282" y="162"/>
                </a:lnTo>
                <a:lnTo>
                  <a:pt x="282" y="162"/>
                </a:lnTo>
                <a:lnTo>
                  <a:pt x="282" y="162"/>
                </a:lnTo>
                <a:lnTo>
                  <a:pt x="288" y="162"/>
                </a:lnTo>
                <a:lnTo>
                  <a:pt x="282" y="162"/>
                </a:lnTo>
                <a:lnTo>
                  <a:pt x="282" y="162"/>
                </a:lnTo>
                <a:lnTo>
                  <a:pt x="282" y="168"/>
                </a:lnTo>
                <a:lnTo>
                  <a:pt x="282" y="168"/>
                </a:lnTo>
                <a:lnTo>
                  <a:pt x="282" y="168"/>
                </a:lnTo>
                <a:lnTo>
                  <a:pt x="288" y="168"/>
                </a:lnTo>
                <a:lnTo>
                  <a:pt x="288" y="174"/>
                </a:lnTo>
                <a:lnTo>
                  <a:pt x="288" y="174"/>
                </a:lnTo>
                <a:lnTo>
                  <a:pt x="282" y="174"/>
                </a:lnTo>
                <a:lnTo>
                  <a:pt x="282" y="174"/>
                </a:lnTo>
                <a:lnTo>
                  <a:pt x="282" y="180"/>
                </a:lnTo>
                <a:lnTo>
                  <a:pt x="288" y="180"/>
                </a:lnTo>
                <a:lnTo>
                  <a:pt x="294" y="174"/>
                </a:lnTo>
                <a:lnTo>
                  <a:pt x="300" y="174"/>
                </a:lnTo>
                <a:lnTo>
                  <a:pt x="300" y="174"/>
                </a:lnTo>
                <a:lnTo>
                  <a:pt x="300" y="174"/>
                </a:lnTo>
                <a:lnTo>
                  <a:pt x="300" y="174"/>
                </a:lnTo>
                <a:lnTo>
                  <a:pt x="300" y="174"/>
                </a:lnTo>
                <a:lnTo>
                  <a:pt x="300" y="180"/>
                </a:lnTo>
                <a:lnTo>
                  <a:pt x="300" y="180"/>
                </a:lnTo>
                <a:lnTo>
                  <a:pt x="300" y="180"/>
                </a:lnTo>
                <a:lnTo>
                  <a:pt x="300" y="186"/>
                </a:lnTo>
                <a:lnTo>
                  <a:pt x="300" y="186"/>
                </a:lnTo>
                <a:lnTo>
                  <a:pt x="300" y="186"/>
                </a:lnTo>
                <a:lnTo>
                  <a:pt x="300" y="186"/>
                </a:lnTo>
                <a:lnTo>
                  <a:pt x="300" y="186"/>
                </a:lnTo>
                <a:lnTo>
                  <a:pt x="294" y="186"/>
                </a:lnTo>
                <a:lnTo>
                  <a:pt x="294" y="186"/>
                </a:lnTo>
                <a:lnTo>
                  <a:pt x="294" y="186"/>
                </a:lnTo>
                <a:lnTo>
                  <a:pt x="294" y="192"/>
                </a:lnTo>
                <a:lnTo>
                  <a:pt x="294" y="198"/>
                </a:lnTo>
                <a:lnTo>
                  <a:pt x="294" y="198"/>
                </a:lnTo>
                <a:lnTo>
                  <a:pt x="300" y="198"/>
                </a:lnTo>
                <a:lnTo>
                  <a:pt x="300" y="198"/>
                </a:lnTo>
                <a:lnTo>
                  <a:pt x="300" y="198"/>
                </a:lnTo>
                <a:lnTo>
                  <a:pt x="300" y="198"/>
                </a:lnTo>
                <a:lnTo>
                  <a:pt x="300" y="204"/>
                </a:lnTo>
                <a:lnTo>
                  <a:pt x="300" y="204"/>
                </a:lnTo>
                <a:lnTo>
                  <a:pt x="300" y="204"/>
                </a:lnTo>
                <a:lnTo>
                  <a:pt x="300" y="204"/>
                </a:lnTo>
                <a:lnTo>
                  <a:pt x="300" y="204"/>
                </a:lnTo>
                <a:lnTo>
                  <a:pt x="300" y="210"/>
                </a:lnTo>
                <a:lnTo>
                  <a:pt x="300" y="210"/>
                </a:lnTo>
                <a:lnTo>
                  <a:pt x="300" y="210"/>
                </a:lnTo>
                <a:lnTo>
                  <a:pt x="300" y="216"/>
                </a:lnTo>
                <a:lnTo>
                  <a:pt x="306" y="216"/>
                </a:lnTo>
                <a:lnTo>
                  <a:pt x="306" y="222"/>
                </a:lnTo>
                <a:lnTo>
                  <a:pt x="318" y="222"/>
                </a:lnTo>
                <a:lnTo>
                  <a:pt x="318" y="228"/>
                </a:lnTo>
                <a:lnTo>
                  <a:pt x="318" y="228"/>
                </a:lnTo>
                <a:lnTo>
                  <a:pt x="324" y="228"/>
                </a:lnTo>
                <a:lnTo>
                  <a:pt x="324" y="234"/>
                </a:lnTo>
                <a:lnTo>
                  <a:pt x="330" y="234"/>
                </a:lnTo>
                <a:lnTo>
                  <a:pt x="330" y="234"/>
                </a:lnTo>
                <a:lnTo>
                  <a:pt x="330" y="234"/>
                </a:lnTo>
                <a:lnTo>
                  <a:pt x="330" y="240"/>
                </a:lnTo>
                <a:lnTo>
                  <a:pt x="336" y="240"/>
                </a:lnTo>
                <a:lnTo>
                  <a:pt x="336" y="240"/>
                </a:lnTo>
                <a:lnTo>
                  <a:pt x="336" y="246"/>
                </a:lnTo>
                <a:lnTo>
                  <a:pt x="336" y="246"/>
                </a:lnTo>
                <a:lnTo>
                  <a:pt x="336" y="246"/>
                </a:lnTo>
                <a:lnTo>
                  <a:pt x="342" y="246"/>
                </a:lnTo>
                <a:lnTo>
                  <a:pt x="342" y="246"/>
                </a:lnTo>
                <a:lnTo>
                  <a:pt x="342" y="246"/>
                </a:lnTo>
                <a:lnTo>
                  <a:pt x="336" y="252"/>
                </a:lnTo>
                <a:lnTo>
                  <a:pt x="336" y="258"/>
                </a:lnTo>
                <a:lnTo>
                  <a:pt x="336" y="258"/>
                </a:lnTo>
                <a:lnTo>
                  <a:pt x="336" y="264"/>
                </a:lnTo>
                <a:lnTo>
                  <a:pt x="336" y="264"/>
                </a:lnTo>
                <a:lnTo>
                  <a:pt x="336" y="264"/>
                </a:lnTo>
                <a:lnTo>
                  <a:pt x="336" y="264"/>
                </a:lnTo>
                <a:lnTo>
                  <a:pt x="336" y="270"/>
                </a:lnTo>
                <a:lnTo>
                  <a:pt x="336" y="270"/>
                </a:lnTo>
                <a:lnTo>
                  <a:pt x="330" y="270"/>
                </a:lnTo>
                <a:lnTo>
                  <a:pt x="336" y="270"/>
                </a:lnTo>
                <a:lnTo>
                  <a:pt x="336" y="276"/>
                </a:lnTo>
                <a:lnTo>
                  <a:pt x="330" y="276"/>
                </a:lnTo>
                <a:lnTo>
                  <a:pt x="336" y="282"/>
                </a:lnTo>
                <a:lnTo>
                  <a:pt x="336" y="282"/>
                </a:lnTo>
                <a:lnTo>
                  <a:pt x="336" y="282"/>
                </a:lnTo>
                <a:lnTo>
                  <a:pt x="330" y="288"/>
                </a:lnTo>
                <a:lnTo>
                  <a:pt x="336" y="288"/>
                </a:lnTo>
                <a:lnTo>
                  <a:pt x="336" y="288"/>
                </a:lnTo>
                <a:lnTo>
                  <a:pt x="336" y="294"/>
                </a:lnTo>
                <a:lnTo>
                  <a:pt x="336" y="294"/>
                </a:lnTo>
                <a:lnTo>
                  <a:pt x="342" y="300"/>
                </a:lnTo>
                <a:lnTo>
                  <a:pt x="342" y="300"/>
                </a:lnTo>
                <a:lnTo>
                  <a:pt x="342" y="300"/>
                </a:lnTo>
                <a:lnTo>
                  <a:pt x="342" y="306"/>
                </a:lnTo>
                <a:lnTo>
                  <a:pt x="342" y="312"/>
                </a:lnTo>
                <a:lnTo>
                  <a:pt x="342" y="312"/>
                </a:lnTo>
                <a:lnTo>
                  <a:pt x="348" y="312"/>
                </a:lnTo>
                <a:lnTo>
                  <a:pt x="348" y="318"/>
                </a:lnTo>
                <a:lnTo>
                  <a:pt x="348" y="318"/>
                </a:lnTo>
                <a:lnTo>
                  <a:pt x="348" y="318"/>
                </a:lnTo>
                <a:lnTo>
                  <a:pt x="348" y="318"/>
                </a:lnTo>
                <a:lnTo>
                  <a:pt x="348" y="324"/>
                </a:lnTo>
                <a:lnTo>
                  <a:pt x="354" y="324"/>
                </a:lnTo>
                <a:lnTo>
                  <a:pt x="354" y="330"/>
                </a:lnTo>
                <a:lnTo>
                  <a:pt x="354" y="330"/>
                </a:lnTo>
                <a:lnTo>
                  <a:pt x="354" y="330"/>
                </a:lnTo>
                <a:lnTo>
                  <a:pt x="360" y="330"/>
                </a:lnTo>
                <a:lnTo>
                  <a:pt x="360" y="336"/>
                </a:lnTo>
                <a:lnTo>
                  <a:pt x="360" y="342"/>
                </a:lnTo>
                <a:lnTo>
                  <a:pt x="360" y="342"/>
                </a:lnTo>
                <a:lnTo>
                  <a:pt x="366" y="354"/>
                </a:lnTo>
                <a:lnTo>
                  <a:pt x="366" y="354"/>
                </a:lnTo>
                <a:lnTo>
                  <a:pt x="366" y="354"/>
                </a:lnTo>
                <a:lnTo>
                  <a:pt x="366" y="354"/>
                </a:lnTo>
                <a:lnTo>
                  <a:pt x="372" y="354"/>
                </a:lnTo>
                <a:lnTo>
                  <a:pt x="372" y="354"/>
                </a:lnTo>
                <a:lnTo>
                  <a:pt x="372" y="354"/>
                </a:lnTo>
                <a:lnTo>
                  <a:pt x="378" y="360"/>
                </a:lnTo>
                <a:lnTo>
                  <a:pt x="378" y="360"/>
                </a:lnTo>
                <a:lnTo>
                  <a:pt x="384" y="366"/>
                </a:lnTo>
                <a:lnTo>
                  <a:pt x="384" y="372"/>
                </a:lnTo>
                <a:lnTo>
                  <a:pt x="390" y="372"/>
                </a:lnTo>
                <a:lnTo>
                  <a:pt x="390" y="372"/>
                </a:lnTo>
                <a:lnTo>
                  <a:pt x="396" y="372"/>
                </a:lnTo>
                <a:lnTo>
                  <a:pt x="396" y="372"/>
                </a:lnTo>
                <a:lnTo>
                  <a:pt x="396" y="378"/>
                </a:lnTo>
                <a:lnTo>
                  <a:pt x="396" y="378"/>
                </a:lnTo>
                <a:lnTo>
                  <a:pt x="396" y="384"/>
                </a:lnTo>
                <a:lnTo>
                  <a:pt x="396" y="384"/>
                </a:lnTo>
                <a:lnTo>
                  <a:pt x="396" y="390"/>
                </a:lnTo>
                <a:lnTo>
                  <a:pt x="396" y="390"/>
                </a:lnTo>
                <a:lnTo>
                  <a:pt x="396" y="396"/>
                </a:lnTo>
                <a:lnTo>
                  <a:pt x="396" y="396"/>
                </a:lnTo>
                <a:lnTo>
                  <a:pt x="396" y="402"/>
                </a:lnTo>
                <a:lnTo>
                  <a:pt x="396" y="402"/>
                </a:lnTo>
                <a:lnTo>
                  <a:pt x="396" y="402"/>
                </a:lnTo>
                <a:lnTo>
                  <a:pt x="396" y="408"/>
                </a:lnTo>
                <a:lnTo>
                  <a:pt x="396" y="408"/>
                </a:lnTo>
                <a:lnTo>
                  <a:pt x="402" y="414"/>
                </a:lnTo>
                <a:lnTo>
                  <a:pt x="402" y="414"/>
                </a:lnTo>
                <a:lnTo>
                  <a:pt x="402" y="414"/>
                </a:lnTo>
                <a:lnTo>
                  <a:pt x="408" y="414"/>
                </a:lnTo>
                <a:lnTo>
                  <a:pt x="408" y="408"/>
                </a:lnTo>
                <a:lnTo>
                  <a:pt x="414" y="408"/>
                </a:lnTo>
                <a:lnTo>
                  <a:pt x="414" y="414"/>
                </a:lnTo>
                <a:lnTo>
                  <a:pt x="420" y="414"/>
                </a:lnTo>
                <a:lnTo>
                  <a:pt x="420" y="420"/>
                </a:lnTo>
                <a:lnTo>
                  <a:pt x="420" y="420"/>
                </a:lnTo>
                <a:lnTo>
                  <a:pt x="420" y="420"/>
                </a:lnTo>
                <a:lnTo>
                  <a:pt x="420" y="420"/>
                </a:lnTo>
                <a:lnTo>
                  <a:pt x="420" y="426"/>
                </a:lnTo>
                <a:lnTo>
                  <a:pt x="420" y="426"/>
                </a:lnTo>
                <a:lnTo>
                  <a:pt x="420" y="426"/>
                </a:lnTo>
                <a:lnTo>
                  <a:pt x="420" y="432"/>
                </a:lnTo>
                <a:lnTo>
                  <a:pt x="420" y="432"/>
                </a:lnTo>
                <a:lnTo>
                  <a:pt x="420" y="432"/>
                </a:lnTo>
                <a:lnTo>
                  <a:pt x="420" y="432"/>
                </a:lnTo>
                <a:lnTo>
                  <a:pt x="420" y="432"/>
                </a:lnTo>
                <a:lnTo>
                  <a:pt x="420" y="438"/>
                </a:lnTo>
                <a:lnTo>
                  <a:pt x="414" y="438"/>
                </a:lnTo>
                <a:lnTo>
                  <a:pt x="414" y="438"/>
                </a:lnTo>
                <a:lnTo>
                  <a:pt x="420" y="444"/>
                </a:lnTo>
                <a:lnTo>
                  <a:pt x="414" y="444"/>
                </a:lnTo>
                <a:lnTo>
                  <a:pt x="414" y="444"/>
                </a:lnTo>
                <a:lnTo>
                  <a:pt x="414" y="450"/>
                </a:lnTo>
                <a:lnTo>
                  <a:pt x="420" y="450"/>
                </a:lnTo>
                <a:lnTo>
                  <a:pt x="420" y="444"/>
                </a:lnTo>
                <a:lnTo>
                  <a:pt x="426" y="444"/>
                </a:lnTo>
                <a:lnTo>
                  <a:pt x="426" y="444"/>
                </a:lnTo>
                <a:lnTo>
                  <a:pt x="426" y="444"/>
                </a:lnTo>
                <a:lnTo>
                  <a:pt x="426" y="444"/>
                </a:lnTo>
                <a:lnTo>
                  <a:pt x="426" y="444"/>
                </a:lnTo>
                <a:lnTo>
                  <a:pt x="432" y="444"/>
                </a:lnTo>
                <a:lnTo>
                  <a:pt x="432" y="450"/>
                </a:lnTo>
                <a:lnTo>
                  <a:pt x="432" y="450"/>
                </a:lnTo>
                <a:lnTo>
                  <a:pt x="432" y="456"/>
                </a:lnTo>
                <a:lnTo>
                  <a:pt x="432" y="456"/>
                </a:lnTo>
                <a:lnTo>
                  <a:pt x="432" y="456"/>
                </a:lnTo>
                <a:lnTo>
                  <a:pt x="426" y="456"/>
                </a:lnTo>
                <a:lnTo>
                  <a:pt x="426" y="456"/>
                </a:lnTo>
                <a:lnTo>
                  <a:pt x="426" y="456"/>
                </a:lnTo>
                <a:lnTo>
                  <a:pt x="426" y="462"/>
                </a:lnTo>
                <a:lnTo>
                  <a:pt x="432" y="462"/>
                </a:lnTo>
                <a:lnTo>
                  <a:pt x="432" y="468"/>
                </a:lnTo>
                <a:lnTo>
                  <a:pt x="432" y="468"/>
                </a:lnTo>
                <a:lnTo>
                  <a:pt x="432" y="468"/>
                </a:lnTo>
                <a:lnTo>
                  <a:pt x="426" y="474"/>
                </a:lnTo>
                <a:lnTo>
                  <a:pt x="432" y="474"/>
                </a:lnTo>
                <a:lnTo>
                  <a:pt x="432" y="474"/>
                </a:lnTo>
                <a:lnTo>
                  <a:pt x="432" y="474"/>
                </a:lnTo>
                <a:lnTo>
                  <a:pt x="432" y="474"/>
                </a:lnTo>
                <a:lnTo>
                  <a:pt x="438" y="474"/>
                </a:lnTo>
                <a:lnTo>
                  <a:pt x="438" y="474"/>
                </a:lnTo>
                <a:lnTo>
                  <a:pt x="444" y="480"/>
                </a:lnTo>
                <a:lnTo>
                  <a:pt x="444" y="480"/>
                </a:lnTo>
                <a:lnTo>
                  <a:pt x="450" y="480"/>
                </a:lnTo>
                <a:lnTo>
                  <a:pt x="456" y="480"/>
                </a:lnTo>
                <a:lnTo>
                  <a:pt x="456" y="486"/>
                </a:lnTo>
                <a:lnTo>
                  <a:pt x="462" y="480"/>
                </a:lnTo>
                <a:lnTo>
                  <a:pt x="462" y="486"/>
                </a:lnTo>
                <a:lnTo>
                  <a:pt x="468" y="486"/>
                </a:lnTo>
                <a:lnTo>
                  <a:pt x="468" y="486"/>
                </a:lnTo>
                <a:lnTo>
                  <a:pt x="468" y="486"/>
                </a:lnTo>
                <a:lnTo>
                  <a:pt x="468" y="492"/>
                </a:lnTo>
                <a:lnTo>
                  <a:pt x="468" y="492"/>
                </a:lnTo>
                <a:lnTo>
                  <a:pt x="468" y="492"/>
                </a:lnTo>
                <a:lnTo>
                  <a:pt x="474" y="492"/>
                </a:lnTo>
                <a:lnTo>
                  <a:pt x="474" y="498"/>
                </a:lnTo>
                <a:lnTo>
                  <a:pt x="474" y="498"/>
                </a:lnTo>
                <a:lnTo>
                  <a:pt x="480" y="498"/>
                </a:lnTo>
                <a:lnTo>
                  <a:pt x="480" y="492"/>
                </a:lnTo>
                <a:lnTo>
                  <a:pt x="480" y="492"/>
                </a:lnTo>
                <a:lnTo>
                  <a:pt x="480" y="492"/>
                </a:lnTo>
                <a:lnTo>
                  <a:pt x="474" y="492"/>
                </a:lnTo>
                <a:lnTo>
                  <a:pt x="474" y="492"/>
                </a:lnTo>
                <a:lnTo>
                  <a:pt x="474" y="492"/>
                </a:lnTo>
                <a:lnTo>
                  <a:pt x="480" y="486"/>
                </a:lnTo>
                <a:lnTo>
                  <a:pt x="480" y="486"/>
                </a:lnTo>
                <a:lnTo>
                  <a:pt x="486" y="486"/>
                </a:lnTo>
                <a:lnTo>
                  <a:pt x="486" y="486"/>
                </a:lnTo>
                <a:lnTo>
                  <a:pt x="486" y="486"/>
                </a:lnTo>
                <a:lnTo>
                  <a:pt x="486" y="486"/>
                </a:lnTo>
                <a:lnTo>
                  <a:pt x="486" y="480"/>
                </a:lnTo>
                <a:lnTo>
                  <a:pt x="486" y="480"/>
                </a:lnTo>
                <a:lnTo>
                  <a:pt x="486" y="480"/>
                </a:lnTo>
                <a:lnTo>
                  <a:pt x="492" y="480"/>
                </a:lnTo>
                <a:lnTo>
                  <a:pt x="492" y="486"/>
                </a:lnTo>
                <a:lnTo>
                  <a:pt x="492" y="486"/>
                </a:lnTo>
                <a:lnTo>
                  <a:pt x="492" y="486"/>
                </a:lnTo>
                <a:lnTo>
                  <a:pt x="492" y="486"/>
                </a:lnTo>
                <a:lnTo>
                  <a:pt x="492" y="486"/>
                </a:lnTo>
                <a:lnTo>
                  <a:pt x="492" y="486"/>
                </a:lnTo>
                <a:lnTo>
                  <a:pt x="492" y="486"/>
                </a:lnTo>
                <a:lnTo>
                  <a:pt x="492" y="480"/>
                </a:lnTo>
                <a:lnTo>
                  <a:pt x="498" y="486"/>
                </a:lnTo>
                <a:lnTo>
                  <a:pt x="498" y="486"/>
                </a:lnTo>
                <a:lnTo>
                  <a:pt x="510" y="486"/>
                </a:lnTo>
                <a:lnTo>
                  <a:pt x="516" y="486"/>
                </a:lnTo>
                <a:lnTo>
                  <a:pt x="516" y="486"/>
                </a:lnTo>
                <a:lnTo>
                  <a:pt x="516" y="492"/>
                </a:lnTo>
                <a:lnTo>
                  <a:pt x="510" y="492"/>
                </a:lnTo>
                <a:lnTo>
                  <a:pt x="510" y="492"/>
                </a:lnTo>
                <a:lnTo>
                  <a:pt x="504" y="498"/>
                </a:lnTo>
                <a:lnTo>
                  <a:pt x="498" y="498"/>
                </a:lnTo>
                <a:lnTo>
                  <a:pt x="498" y="504"/>
                </a:lnTo>
                <a:lnTo>
                  <a:pt x="498" y="504"/>
                </a:lnTo>
                <a:lnTo>
                  <a:pt x="498" y="510"/>
                </a:lnTo>
                <a:lnTo>
                  <a:pt x="492" y="516"/>
                </a:lnTo>
                <a:lnTo>
                  <a:pt x="486" y="522"/>
                </a:lnTo>
                <a:lnTo>
                  <a:pt x="486" y="522"/>
                </a:lnTo>
                <a:lnTo>
                  <a:pt x="474" y="522"/>
                </a:lnTo>
                <a:lnTo>
                  <a:pt x="468" y="528"/>
                </a:lnTo>
                <a:lnTo>
                  <a:pt x="456" y="528"/>
                </a:lnTo>
                <a:lnTo>
                  <a:pt x="456" y="528"/>
                </a:lnTo>
                <a:lnTo>
                  <a:pt x="450" y="534"/>
                </a:lnTo>
                <a:lnTo>
                  <a:pt x="450" y="534"/>
                </a:lnTo>
                <a:lnTo>
                  <a:pt x="456" y="540"/>
                </a:lnTo>
                <a:lnTo>
                  <a:pt x="456" y="546"/>
                </a:lnTo>
                <a:lnTo>
                  <a:pt x="456" y="546"/>
                </a:lnTo>
                <a:lnTo>
                  <a:pt x="468" y="546"/>
                </a:lnTo>
                <a:lnTo>
                  <a:pt x="474" y="546"/>
                </a:lnTo>
                <a:lnTo>
                  <a:pt x="474" y="546"/>
                </a:lnTo>
                <a:lnTo>
                  <a:pt x="480" y="546"/>
                </a:lnTo>
                <a:lnTo>
                  <a:pt x="480" y="546"/>
                </a:lnTo>
                <a:lnTo>
                  <a:pt x="486" y="546"/>
                </a:lnTo>
                <a:lnTo>
                  <a:pt x="492" y="540"/>
                </a:lnTo>
                <a:lnTo>
                  <a:pt x="492" y="546"/>
                </a:lnTo>
                <a:lnTo>
                  <a:pt x="486" y="546"/>
                </a:lnTo>
                <a:lnTo>
                  <a:pt x="486" y="546"/>
                </a:lnTo>
                <a:lnTo>
                  <a:pt x="492" y="546"/>
                </a:lnTo>
                <a:lnTo>
                  <a:pt x="492" y="552"/>
                </a:lnTo>
                <a:lnTo>
                  <a:pt x="492" y="552"/>
                </a:lnTo>
                <a:lnTo>
                  <a:pt x="492" y="552"/>
                </a:lnTo>
                <a:lnTo>
                  <a:pt x="492" y="552"/>
                </a:lnTo>
                <a:lnTo>
                  <a:pt x="486" y="558"/>
                </a:lnTo>
                <a:lnTo>
                  <a:pt x="486" y="558"/>
                </a:lnTo>
                <a:lnTo>
                  <a:pt x="486" y="564"/>
                </a:lnTo>
                <a:lnTo>
                  <a:pt x="486" y="570"/>
                </a:lnTo>
                <a:lnTo>
                  <a:pt x="486" y="570"/>
                </a:lnTo>
                <a:lnTo>
                  <a:pt x="492" y="576"/>
                </a:lnTo>
                <a:lnTo>
                  <a:pt x="492" y="576"/>
                </a:lnTo>
                <a:lnTo>
                  <a:pt x="492" y="576"/>
                </a:lnTo>
                <a:lnTo>
                  <a:pt x="486" y="576"/>
                </a:lnTo>
                <a:lnTo>
                  <a:pt x="492" y="582"/>
                </a:lnTo>
                <a:lnTo>
                  <a:pt x="492" y="582"/>
                </a:lnTo>
                <a:lnTo>
                  <a:pt x="498" y="588"/>
                </a:lnTo>
                <a:lnTo>
                  <a:pt x="498" y="588"/>
                </a:lnTo>
                <a:lnTo>
                  <a:pt x="498" y="588"/>
                </a:lnTo>
                <a:lnTo>
                  <a:pt x="504" y="588"/>
                </a:lnTo>
                <a:lnTo>
                  <a:pt x="498" y="594"/>
                </a:lnTo>
                <a:lnTo>
                  <a:pt x="498" y="594"/>
                </a:lnTo>
                <a:lnTo>
                  <a:pt x="498" y="600"/>
                </a:lnTo>
                <a:lnTo>
                  <a:pt x="498" y="606"/>
                </a:lnTo>
                <a:lnTo>
                  <a:pt x="492" y="612"/>
                </a:lnTo>
                <a:lnTo>
                  <a:pt x="492" y="618"/>
                </a:lnTo>
                <a:lnTo>
                  <a:pt x="492" y="630"/>
                </a:lnTo>
                <a:lnTo>
                  <a:pt x="492" y="630"/>
                </a:lnTo>
                <a:lnTo>
                  <a:pt x="492" y="630"/>
                </a:lnTo>
                <a:lnTo>
                  <a:pt x="492" y="636"/>
                </a:lnTo>
                <a:lnTo>
                  <a:pt x="498" y="642"/>
                </a:lnTo>
                <a:lnTo>
                  <a:pt x="498" y="642"/>
                </a:lnTo>
                <a:lnTo>
                  <a:pt x="498" y="642"/>
                </a:lnTo>
                <a:lnTo>
                  <a:pt x="504" y="642"/>
                </a:lnTo>
                <a:lnTo>
                  <a:pt x="504" y="648"/>
                </a:lnTo>
                <a:lnTo>
                  <a:pt x="498" y="648"/>
                </a:lnTo>
                <a:lnTo>
                  <a:pt x="498" y="654"/>
                </a:lnTo>
                <a:lnTo>
                  <a:pt x="498" y="654"/>
                </a:lnTo>
                <a:lnTo>
                  <a:pt x="504" y="660"/>
                </a:lnTo>
                <a:lnTo>
                  <a:pt x="504" y="660"/>
                </a:lnTo>
                <a:lnTo>
                  <a:pt x="504" y="666"/>
                </a:lnTo>
                <a:lnTo>
                  <a:pt x="504" y="666"/>
                </a:lnTo>
                <a:lnTo>
                  <a:pt x="504" y="666"/>
                </a:lnTo>
                <a:lnTo>
                  <a:pt x="504" y="666"/>
                </a:lnTo>
                <a:lnTo>
                  <a:pt x="498" y="666"/>
                </a:lnTo>
                <a:lnTo>
                  <a:pt x="498" y="660"/>
                </a:lnTo>
                <a:lnTo>
                  <a:pt x="498" y="660"/>
                </a:lnTo>
                <a:lnTo>
                  <a:pt x="498" y="660"/>
                </a:lnTo>
                <a:lnTo>
                  <a:pt x="492" y="660"/>
                </a:lnTo>
                <a:lnTo>
                  <a:pt x="492" y="660"/>
                </a:lnTo>
                <a:lnTo>
                  <a:pt x="492" y="666"/>
                </a:lnTo>
                <a:lnTo>
                  <a:pt x="492" y="666"/>
                </a:lnTo>
                <a:lnTo>
                  <a:pt x="492" y="666"/>
                </a:lnTo>
                <a:lnTo>
                  <a:pt x="486" y="666"/>
                </a:lnTo>
                <a:lnTo>
                  <a:pt x="486" y="672"/>
                </a:lnTo>
                <a:lnTo>
                  <a:pt x="486" y="678"/>
                </a:lnTo>
                <a:lnTo>
                  <a:pt x="480" y="684"/>
                </a:lnTo>
                <a:lnTo>
                  <a:pt x="480" y="684"/>
                </a:lnTo>
                <a:lnTo>
                  <a:pt x="474" y="690"/>
                </a:lnTo>
                <a:lnTo>
                  <a:pt x="474" y="696"/>
                </a:lnTo>
                <a:lnTo>
                  <a:pt x="480" y="696"/>
                </a:lnTo>
                <a:lnTo>
                  <a:pt x="480" y="702"/>
                </a:lnTo>
                <a:lnTo>
                  <a:pt x="474" y="702"/>
                </a:lnTo>
                <a:lnTo>
                  <a:pt x="468" y="702"/>
                </a:lnTo>
                <a:lnTo>
                  <a:pt x="462" y="702"/>
                </a:lnTo>
                <a:lnTo>
                  <a:pt x="462" y="702"/>
                </a:lnTo>
                <a:lnTo>
                  <a:pt x="456" y="702"/>
                </a:lnTo>
                <a:lnTo>
                  <a:pt x="450" y="702"/>
                </a:lnTo>
                <a:lnTo>
                  <a:pt x="450" y="702"/>
                </a:lnTo>
                <a:lnTo>
                  <a:pt x="450" y="702"/>
                </a:lnTo>
                <a:lnTo>
                  <a:pt x="444" y="702"/>
                </a:lnTo>
                <a:lnTo>
                  <a:pt x="444" y="696"/>
                </a:lnTo>
                <a:lnTo>
                  <a:pt x="432" y="696"/>
                </a:lnTo>
                <a:lnTo>
                  <a:pt x="426" y="696"/>
                </a:lnTo>
                <a:lnTo>
                  <a:pt x="420" y="696"/>
                </a:lnTo>
                <a:lnTo>
                  <a:pt x="420" y="696"/>
                </a:lnTo>
                <a:lnTo>
                  <a:pt x="414" y="696"/>
                </a:lnTo>
                <a:lnTo>
                  <a:pt x="414" y="690"/>
                </a:lnTo>
                <a:lnTo>
                  <a:pt x="414" y="690"/>
                </a:lnTo>
                <a:lnTo>
                  <a:pt x="402" y="690"/>
                </a:lnTo>
                <a:lnTo>
                  <a:pt x="390" y="690"/>
                </a:lnTo>
                <a:lnTo>
                  <a:pt x="384" y="690"/>
                </a:lnTo>
                <a:lnTo>
                  <a:pt x="378" y="696"/>
                </a:lnTo>
                <a:lnTo>
                  <a:pt x="378" y="696"/>
                </a:lnTo>
                <a:lnTo>
                  <a:pt x="378" y="696"/>
                </a:lnTo>
                <a:lnTo>
                  <a:pt x="366" y="690"/>
                </a:lnTo>
                <a:lnTo>
                  <a:pt x="360" y="684"/>
                </a:lnTo>
                <a:lnTo>
                  <a:pt x="360" y="684"/>
                </a:lnTo>
                <a:lnTo>
                  <a:pt x="354" y="684"/>
                </a:lnTo>
                <a:lnTo>
                  <a:pt x="354" y="684"/>
                </a:lnTo>
                <a:lnTo>
                  <a:pt x="354" y="684"/>
                </a:lnTo>
                <a:lnTo>
                  <a:pt x="354" y="684"/>
                </a:lnTo>
                <a:lnTo>
                  <a:pt x="360" y="684"/>
                </a:lnTo>
                <a:lnTo>
                  <a:pt x="360" y="684"/>
                </a:lnTo>
                <a:lnTo>
                  <a:pt x="306" y="660"/>
                </a:lnTo>
                <a:lnTo>
                  <a:pt x="306" y="660"/>
                </a:lnTo>
                <a:lnTo>
                  <a:pt x="306" y="660"/>
                </a:lnTo>
                <a:lnTo>
                  <a:pt x="306" y="660"/>
                </a:lnTo>
                <a:lnTo>
                  <a:pt x="312" y="654"/>
                </a:lnTo>
                <a:lnTo>
                  <a:pt x="312" y="654"/>
                </a:lnTo>
                <a:lnTo>
                  <a:pt x="312" y="654"/>
                </a:lnTo>
                <a:lnTo>
                  <a:pt x="318" y="654"/>
                </a:lnTo>
                <a:lnTo>
                  <a:pt x="318" y="654"/>
                </a:lnTo>
                <a:lnTo>
                  <a:pt x="318" y="648"/>
                </a:lnTo>
                <a:lnTo>
                  <a:pt x="318" y="648"/>
                </a:lnTo>
                <a:lnTo>
                  <a:pt x="324" y="648"/>
                </a:lnTo>
                <a:lnTo>
                  <a:pt x="324" y="642"/>
                </a:lnTo>
                <a:lnTo>
                  <a:pt x="324" y="642"/>
                </a:lnTo>
                <a:lnTo>
                  <a:pt x="324" y="636"/>
                </a:lnTo>
                <a:lnTo>
                  <a:pt x="324" y="630"/>
                </a:lnTo>
                <a:lnTo>
                  <a:pt x="324" y="630"/>
                </a:lnTo>
                <a:lnTo>
                  <a:pt x="324" y="624"/>
                </a:lnTo>
                <a:lnTo>
                  <a:pt x="324" y="624"/>
                </a:lnTo>
                <a:lnTo>
                  <a:pt x="324" y="618"/>
                </a:lnTo>
                <a:lnTo>
                  <a:pt x="318" y="612"/>
                </a:lnTo>
                <a:lnTo>
                  <a:pt x="318" y="612"/>
                </a:lnTo>
                <a:lnTo>
                  <a:pt x="318" y="606"/>
                </a:lnTo>
                <a:lnTo>
                  <a:pt x="318" y="606"/>
                </a:lnTo>
                <a:lnTo>
                  <a:pt x="312" y="606"/>
                </a:lnTo>
                <a:lnTo>
                  <a:pt x="312" y="606"/>
                </a:lnTo>
                <a:lnTo>
                  <a:pt x="312" y="606"/>
                </a:lnTo>
                <a:lnTo>
                  <a:pt x="312" y="600"/>
                </a:lnTo>
                <a:lnTo>
                  <a:pt x="312" y="606"/>
                </a:lnTo>
                <a:lnTo>
                  <a:pt x="312" y="600"/>
                </a:lnTo>
                <a:lnTo>
                  <a:pt x="312" y="600"/>
                </a:lnTo>
                <a:lnTo>
                  <a:pt x="306" y="600"/>
                </a:lnTo>
                <a:lnTo>
                  <a:pt x="306" y="600"/>
                </a:lnTo>
                <a:lnTo>
                  <a:pt x="306" y="600"/>
                </a:lnTo>
                <a:lnTo>
                  <a:pt x="312" y="600"/>
                </a:lnTo>
                <a:lnTo>
                  <a:pt x="312" y="600"/>
                </a:lnTo>
                <a:lnTo>
                  <a:pt x="312" y="600"/>
                </a:lnTo>
                <a:lnTo>
                  <a:pt x="312" y="594"/>
                </a:lnTo>
                <a:lnTo>
                  <a:pt x="312" y="594"/>
                </a:lnTo>
                <a:lnTo>
                  <a:pt x="318" y="594"/>
                </a:lnTo>
                <a:lnTo>
                  <a:pt x="318" y="594"/>
                </a:lnTo>
                <a:lnTo>
                  <a:pt x="318" y="594"/>
                </a:lnTo>
                <a:lnTo>
                  <a:pt x="318" y="594"/>
                </a:lnTo>
                <a:lnTo>
                  <a:pt x="324" y="594"/>
                </a:lnTo>
                <a:lnTo>
                  <a:pt x="324" y="594"/>
                </a:lnTo>
                <a:lnTo>
                  <a:pt x="324" y="594"/>
                </a:lnTo>
                <a:lnTo>
                  <a:pt x="330" y="594"/>
                </a:lnTo>
                <a:lnTo>
                  <a:pt x="330" y="594"/>
                </a:lnTo>
                <a:lnTo>
                  <a:pt x="330" y="594"/>
                </a:lnTo>
                <a:lnTo>
                  <a:pt x="336" y="594"/>
                </a:lnTo>
                <a:lnTo>
                  <a:pt x="336" y="588"/>
                </a:lnTo>
                <a:lnTo>
                  <a:pt x="336" y="588"/>
                </a:lnTo>
                <a:lnTo>
                  <a:pt x="342" y="588"/>
                </a:lnTo>
                <a:lnTo>
                  <a:pt x="342" y="582"/>
                </a:lnTo>
                <a:lnTo>
                  <a:pt x="348" y="582"/>
                </a:lnTo>
                <a:lnTo>
                  <a:pt x="348" y="576"/>
                </a:lnTo>
                <a:lnTo>
                  <a:pt x="348" y="576"/>
                </a:lnTo>
                <a:lnTo>
                  <a:pt x="348" y="570"/>
                </a:lnTo>
                <a:lnTo>
                  <a:pt x="348" y="570"/>
                </a:lnTo>
                <a:lnTo>
                  <a:pt x="354" y="570"/>
                </a:lnTo>
                <a:lnTo>
                  <a:pt x="354" y="564"/>
                </a:lnTo>
                <a:lnTo>
                  <a:pt x="354" y="564"/>
                </a:lnTo>
                <a:lnTo>
                  <a:pt x="354" y="564"/>
                </a:lnTo>
                <a:lnTo>
                  <a:pt x="354" y="564"/>
                </a:lnTo>
                <a:lnTo>
                  <a:pt x="348" y="564"/>
                </a:lnTo>
                <a:lnTo>
                  <a:pt x="342" y="570"/>
                </a:lnTo>
                <a:lnTo>
                  <a:pt x="336" y="564"/>
                </a:lnTo>
                <a:lnTo>
                  <a:pt x="336" y="564"/>
                </a:lnTo>
                <a:lnTo>
                  <a:pt x="324" y="564"/>
                </a:lnTo>
                <a:lnTo>
                  <a:pt x="324" y="564"/>
                </a:lnTo>
                <a:lnTo>
                  <a:pt x="318" y="564"/>
                </a:lnTo>
                <a:lnTo>
                  <a:pt x="312" y="564"/>
                </a:lnTo>
                <a:lnTo>
                  <a:pt x="312" y="564"/>
                </a:lnTo>
                <a:lnTo>
                  <a:pt x="312" y="564"/>
                </a:lnTo>
                <a:lnTo>
                  <a:pt x="312" y="564"/>
                </a:lnTo>
                <a:lnTo>
                  <a:pt x="306" y="564"/>
                </a:lnTo>
                <a:lnTo>
                  <a:pt x="306" y="564"/>
                </a:lnTo>
                <a:lnTo>
                  <a:pt x="306" y="564"/>
                </a:lnTo>
                <a:lnTo>
                  <a:pt x="306" y="558"/>
                </a:lnTo>
                <a:lnTo>
                  <a:pt x="306" y="558"/>
                </a:lnTo>
                <a:lnTo>
                  <a:pt x="306" y="552"/>
                </a:lnTo>
                <a:lnTo>
                  <a:pt x="306" y="552"/>
                </a:lnTo>
                <a:lnTo>
                  <a:pt x="300" y="534"/>
                </a:lnTo>
                <a:lnTo>
                  <a:pt x="300" y="534"/>
                </a:lnTo>
                <a:lnTo>
                  <a:pt x="294" y="534"/>
                </a:lnTo>
                <a:lnTo>
                  <a:pt x="294" y="528"/>
                </a:lnTo>
                <a:lnTo>
                  <a:pt x="294" y="528"/>
                </a:lnTo>
                <a:lnTo>
                  <a:pt x="294" y="522"/>
                </a:lnTo>
                <a:lnTo>
                  <a:pt x="294" y="522"/>
                </a:lnTo>
                <a:lnTo>
                  <a:pt x="294" y="522"/>
                </a:lnTo>
                <a:lnTo>
                  <a:pt x="294" y="522"/>
                </a:lnTo>
                <a:lnTo>
                  <a:pt x="294" y="516"/>
                </a:lnTo>
                <a:lnTo>
                  <a:pt x="288" y="516"/>
                </a:lnTo>
                <a:lnTo>
                  <a:pt x="288" y="510"/>
                </a:lnTo>
                <a:lnTo>
                  <a:pt x="288" y="510"/>
                </a:lnTo>
                <a:lnTo>
                  <a:pt x="288" y="504"/>
                </a:lnTo>
                <a:lnTo>
                  <a:pt x="288" y="504"/>
                </a:lnTo>
                <a:lnTo>
                  <a:pt x="282" y="498"/>
                </a:lnTo>
                <a:lnTo>
                  <a:pt x="282" y="492"/>
                </a:lnTo>
                <a:lnTo>
                  <a:pt x="276" y="492"/>
                </a:lnTo>
                <a:lnTo>
                  <a:pt x="276" y="492"/>
                </a:lnTo>
                <a:lnTo>
                  <a:pt x="270" y="492"/>
                </a:lnTo>
                <a:lnTo>
                  <a:pt x="270" y="486"/>
                </a:lnTo>
                <a:lnTo>
                  <a:pt x="270" y="486"/>
                </a:lnTo>
                <a:lnTo>
                  <a:pt x="270" y="486"/>
                </a:lnTo>
                <a:lnTo>
                  <a:pt x="270" y="480"/>
                </a:lnTo>
                <a:lnTo>
                  <a:pt x="264" y="480"/>
                </a:lnTo>
                <a:lnTo>
                  <a:pt x="264" y="474"/>
                </a:lnTo>
                <a:lnTo>
                  <a:pt x="264" y="468"/>
                </a:lnTo>
                <a:lnTo>
                  <a:pt x="264" y="468"/>
                </a:lnTo>
                <a:lnTo>
                  <a:pt x="264" y="468"/>
                </a:lnTo>
                <a:lnTo>
                  <a:pt x="264" y="462"/>
                </a:lnTo>
                <a:lnTo>
                  <a:pt x="258" y="462"/>
                </a:lnTo>
                <a:lnTo>
                  <a:pt x="258" y="462"/>
                </a:lnTo>
                <a:lnTo>
                  <a:pt x="252" y="462"/>
                </a:lnTo>
                <a:lnTo>
                  <a:pt x="252" y="462"/>
                </a:lnTo>
                <a:lnTo>
                  <a:pt x="252" y="462"/>
                </a:lnTo>
                <a:lnTo>
                  <a:pt x="246" y="462"/>
                </a:lnTo>
                <a:lnTo>
                  <a:pt x="240" y="462"/>
                </a:lnTo>
                <a:lnTo>
                  <a:pt x="234" y="468"/>
                </a:lnTo>
                <a:lnTo>
                  <a:pt x="228" y="468"/>
                </a:lnTo>
                <a:lnTo>
                  <a:pt x="228" y="462"/>
                </a:lnTo>
                <a:lnTo>
                  <a:pt x="222" y="456"/>
                </a:lnTo>
                <a:lnTo>
                  <a:pt x="222" y="456"/>
                </a:lnTo>
                <a:lnTo>
                  <a:pt x="222" y="450"/>
                </a:lnTo>
                <a:lnTo>
                  <a:pt x="216" y="450"/>
                </a:lnTo>
                <a:lnTo>
                  <a:pt x="216" y="450"/>
                </a:lnTo>
                <a:lnTo>
                  <a:pt x="216" y="450"/>
                </a:lnTo>
                <a:lnTo>
                  <a:pt x="216" y="450"/>
                </a:lnTo>
                <a:lnTo>
                  <a:pt x="210" y="450"/>
                </a:lnTo>
                <a:lnTo>
                  <a:pt x="210" y="450"/>
                </a:lnTo>
                <a:lnTo>
                  <a:pt x="210" y="444"/>
                </a:lnTo>
                <a:lnTo>
                  <a:pt x="210" y="444"/>
                </a:lnTo>
                <a:lnTo>
                  <a:pt x="210" y="444"/>
                </a:lnTo>
                <a:lnTo>
                  <a:pt x="210" y="438"/>
                </a:lnTo>
                <a:lnTo>
                  <a:pt x="210" y="438"/>
                </a:lnTo>
                <a:lnTo>
                  <a:pt x="216" y="438"/>
                </a:lnTo>
                <a:lnTo>
                  <a:pt x="216" y="432"/>
                </a:lnTo>
                <a:lnTo>
                  <a:pt x="216" y="432"/>
                </a:lnTo>
                <a:lnTo>
                  <a:pt x="216" y="432"/>
                </a:lnTo>
                <a:lnTo>
                  <a:pt x="216" y="426"/>
                </a:lnTo>
                <a:lnTo>
                  <a:pt x="222" y="426"/>
                </a:lnTo>
                <a:lnTo>
                  <a:pt x="222" y="420"/>
                </a:lnTo>
                <a:lnTo>
                  <a:pt x="222" y="420"/>
                </a:lnTo>
                <a:lnTo>
                  <a:pt x="222" y="420"/>
                </a:lnTo>
                <a:lnTo>
                  <a:pt x="216" y="414"/>
                </a:lnTo>
                <a:lnTo>
                  <a:pt x="216" y="420"/>
                </a:lnTo>
                <a:lnTo>
                  <a:pt x="216" y="414"/>
                </a:lnTo>
                <a:lnTo>
                  <a:pt x="210" y="414"/>
                </a:lnTo>
                <a:lnTo>
                  <a:pt x="210" y="414"/>
                </a:lnTo>
                <a:lnTo>
                  <a:pt x="204" y="414"/>
                </a:lnTo>
                <a:lnTo>
                  <a:pt x="210" y="414"/>
                </a:lnTo>
                <a:lnTo>
                  <a:pt x="210" y="414"/>
                </a:lnTo>
                <a:lnTo>
                  <a:pt x="204" y="414"/>
                </a:lnTo>
                <a:lnTo>
                  <a:pt x="204" y="414"/>
                </a:lnTo>
                <a:lnTo>
                  <a:pt x="204" y="414"/>
                </a:lnTo>
                <a:lnTo>
                  <a:pt x="198" y="414"/>
                </a:lnTo>
                <a:lnTo>
                  <a:pt x="204" y="408"/>
                </a:lnTo>
                <a:lnTo>
                  <a:pt x="198" y="408"/>
                </a:lnTo>
                <a:lnTo>
                  <a:pt x="198" y="402"/>
                </a:lnTo>
                <a:lnTo>
                  <a:pt x="198" y="402"/>
                </a:lnTo>
                <a:lnTo>
                  <a:pt x="192" y="396"/>
                </a:lnTo>
                <a:lnTo>
                  <a:pt x="186" y="402"/>
                </a:lnTo>
                <a:lnTo>
                  <a:pt x="180" y="396"/>
                </a:lnTo>
                <a:lnTo>
                  <a:pt x="180" y="396"/>
                </a:lnTo>
                <a:lnTo>
                  <a:pt x="180" y="396"/>
                </a:lnTo>
                <a:lnTo>
                  <a:pt x="180" y="396"/>
                </a:lnTo>
                <a:lnTo>
                  <a:pt x="180" y="390"/>
                </a:lnTo>
                <a:lnTo>
                  <a:pt x="180" y="390"/>
                </a:lnTo>
                <a:lnTo>
                  <a:pt x="180" y="390"/>
                </a:lnTo>
                <a:lnTo>
                  <a:pt x="180" y="390"/>
                </a:lnTo>
                <a:lnTo>
                  <a:pt x="180" y="390"/>
                </a:lnTo>
                <a:lnTo>
                  <a:pt x="180" y="384"/>
                </a:lnTo>
                <a:lnTo>
                  <a:pt x="180" y="378"/>
                </a:lnTo>
                <a:lnTo>
                  <a:pt x="180" y="378"/>
                </a:lnTo>
                <a:lnTo>
                  <a:pt x="180" y="378"/>
                </a:lnTo>
                <a:lnTo>
                  <a:pt x="180" y="372"/>
                </a:lnTo>
                <a:lnTo>
                  <a:pt x="180" y="372"/>
                </a:lnTo>
                <a:lnTo>
                  <a:pt x="174" y="372"/>
                </a:lnTo>
                <a:lnTo>
                  <a:pt x="174" y="372"/>
                </a:lnTo>
                <a:lnTo>
                  <a:pt x="174" y="366"/>
                </a:lnTo>
                <a:lnTo>
                  <a:pt x="174" y="366"/>
                </a:lnTo>
                <a:lnTo>
                  <a:pt x="174" y="366"/>
                </a:lnTo>
                <a:lnTo>
                  <a:pt x="174" y="360"/>
                </a:lnTo>
                <a:lnTo>
                  <a:pt x="174" y="360"/>
                </a:lnTo>
                <a:lnTo>
                  <a:pt x="174" y="360"/>
                </a:lnTo>
                <a:lnTo>
                  <a:pt x="174" y="360"/>
                </a:lnTo>
                <a:lnTo>
                  <a:pt x="174" y="354"/>
                </a:lnTo>
                <a:lnTo>
                  <a:pt x="168" y="354"/>
                </a:lnTo>
                <a:lnTo>
                  <a:pt x="168" y="354"/>
                </a:lnTo>
                <a:lnTo>
                  <a:pt x="168" y="348"/>
                </a:lnTo>
                <a:lnTo>
                  <a:pt x="168" y="348"/>
                </a:lnTo>
                <a:lnTo>
                  <a:pt x="168" y="348"/>
                </a:lnTo>
                <a:lnTo>
                  <a:pt x="168" y="348"/>
                </a:lnTo>
                <a:lnTo>
                  <a:pt x="168" y="342"/>
                </a:lnTo>
                <a:lnTo>
                  <a:pt x="168" y="342"/>
                </a:lnTo>
                <a:lnTo>
                  <a:pt x="168" y="348"/>
                </a:lnTo>
                <a:lnTo>
                  <a:pt x="168" y="348"/>
                </a:lnTo>
                <a:lnTo>
                  <a:pt x="174" y="342"/>
                </a:lnTo>
                <a:lnTo>
                  <a:pt x="174" y="342"/>
                </a:lnTo>
                <a:lnTo>
                  <a:pt x="174" y="336"/>
                </a:lnTo>
                <a:lnTo>
                  <a:pt x="174" y="336"/>
                </a:lnTo>
                <a:lnTo>
                  <a:pt x="174" y="330"/>
                </a:lnTo>
                <a:lnTo>
                  <a:pt x="168" y="330"/>
                </a:lnTo>
                <a:lnTo>
                  <a:pt x="168" y="330"/>
                </a:lnTo>
                <a:lnTo>
                  <a:pt x="168" y="330"/>
                </a:lnTo>
                <a:lnTo>
                  <a:pt x="168" y="324"/>
                </a:lnTo>
                <a:lnTo>
                  <a:pt x="168" y="324"/>
                </a:lnTo>
                <a:lnTo>
                  <a:pt x="162" y="324"/>
                </a:lnTo>
                <a:lnTo>
                  <a:pt x="156" y="324"/>
                </a:lnTo>
                <a:lnTo>
                  <a:pt x="156" y="324"/>
                </a:lnTo>
                <a:lnTo>
                  <a:pt x="150" y="324"/>
                </a:lnTo>
                <a:lnTo>
                  <a:pt x="150" y="324"/>
                </a:lnTo>
                <a:lnTo>
                  <a:pt x="150" y="324"/>
                </a:lnTo>
                <a:lnTo>
                  <a:pt x="144" y="318"/>
                </a:lnTo>
                <a:lnTo>
                  <a:pt x="144" y="318"/>
                </a:lnTo>
                <a:lnTo>
                  <a:pt x="144" y="318"/>
                </a:lnTo>
                <a:lnTo>
                  <a:pt x="138" y="318"/>
                </a:lnTo>
                <a:lnTo>
                  <a:pt x="138" y="312"/>
                </a:lnTo>
                <a:lnTo>
                  <a:pt x="138" y="312"/>
                </a:lnTo>
                <a:lnTo>
                  <a:pt x="138" y="306"/>
                </a:lnTo>
                <a:lnTo>
                  <a:pt x="138" y="306"/>
                </a:lnTo>
                <a:lnTo>
                  <a:pt x="132" y="300"/>
                </a:lnTo>
                <a:lnTo>
                  <a:pt x="132" y="300"/>
                </a:lnTo>
                <a:lnTo>
                  <a:pt x="126" y="294"/>
                </a:lnTo>
                <a:lnTo>
                  <a:pt x="120" y="294"/>
                </a:lnTo>
                <a:lnTo>
                  <a:pt x="120" y="294"/>
                </a:lnTo>
                <a:lnTo>
                  <a:pt x="120" y="288"/>
                </a:lnTo>
                <a:lnTo>
                  <a:pt x="120" y="288"/>
                </a:lnTo>
                <a:lnTo>
                  <a:pt x="114" y="288"/>
                </a:lnTo>
                <a:lnTo>
                  <a:pt x="114" y="288"/>
                </a:lnTo>
                <a:lnTo>
                  <a:pt x="114" y="288"/>
                </a:lnTo>
                <a:lnTo>
                  <a:pt x="114" y="288"/>
                </a:lnTo>
                <a:lnTo>
                  <a:pt x="114" y="288"/>
                </a:lnTo>
                <a:lnTo>
                  <a:pt x="114" y="288"/>
                </a:lnTo>
                <a:lnTo>
                  <a:pt x="114" y="282"/>
                </a:lnTo>
                <a:lnTo>
                  <a:pt x="114" y="282"/>
                </a:lnTo>
                <a:lnTo>
                  <a:pt x="114" y="276"/>
                </a:lnTo>
                <a:lnTo>
                  <a:pt x="114" y="270"/>
                </a:lnTo>
                <a:lnTo>
                  <a:pt x="108" y="270"/>
                </a:lnTo>
                <a:lnTo>
                  <a:pt x="108" y="270"/>
                </a:lnTo>
                <a:lnTo>
                  <a:pt x="102" y="270"/>
                </a:lnTo>
                <a:lnTo>
                  <a:pt x="96" y="270"/>
                </a:lnTo>
                <a:lnTo>
                  <a:pt x="96" y="270"/>
                </a:lnTo>
                <a:lnTo>
                  <a:pt x="90" y="270"/>
                </a:lnTo>
                <a:lnTo>
                  <a:pt x="96" y="270"/>
                </a:lnTo>
                <a:lnTo>
                  <a:pt x="96" y="258"/>
                </a:lnTo>
                <a:lnTo>
                  <a:pt x="96" y="258"/>
                </a:lnTo>
                <a:lnTo>
                  <a:pt x="96" y="258"/>
                </a:lnTo>
                <a:lnTo>
                  <a:pt x="90" y="258"/>
                </a:lnTo>
                <a:lnTo>
                  <a:pt x="84" y="252"/>
                </a:lnTo>
                <a:lnTo>
                  <a:pt x="84" y="252"/>
                </a:lnTo>
                <a:lnTo>
                  <a:pt x="90" y="246"/>
                </a:lnTo>
                <a:lnTo>
                  <a:pt x="84" y="246"/>
                </a:lnTo>
                <a:lnTo>
                  <a:pt x="84" y="240"/>
                </a:lnTo>
                <a:lnTo>
                  <a:pt x="84" y="240"/>
                </a:lnTo>
                <a:lnTo>
                  <a:pt x="90" y="240"/>
                </a:lnTo>
                <a:lnTo>
                  <a:pt x="90" y="234"/>
                </a:lnTo>
                <a:lnTo>
                  <a:pt x="90" y="234"/>
                </a:lnTo>
                <a:lnTo>
                  <a:pt x="90" y="228"/>
                </a:lnTo>
                <a:lnTo>
                  <a:pt x="90" y="228"/>
                </a:lnTo>
                <a:lnTo>
                  <a:pt x="90" y="222"/>
                </a:lnTo>
                <a:lnTo>
                  <a:pt x="90" y="222"/>
                </a:lnTo>
                <a:lnTo>
                  <a:pt x="90" y="222"/>
                </a:lnTo>
                <a:lnTo>
                  <a:pt x="90" y="216"/>
                </a:lnTo>
                <a:lnTo>
                  <a:pt x="84" y="216"/>
                </a:lnTo>
                <a:lnTo>
                  <a:pt x="84" y="216"/>
                </a:lnTo>
                <a:lnTo>
                  <a:pt x="84" y="210"/>
                </a:lnTo>
                <a:lnTo>
                  <a:pt x="84" y="210"/>
                </a:lnTo>
                <a:lnTo>
                  <a:pt x="84" y="204"/>
                </a:lnTo>
                <a:lnTo>
                  <a:pt x="84" y="204"/>
                </a:lnTo>
                <a:lnTo>
                  <a:pt x="84" y="204"/>
                </a:lnTo>
                <a:lnTo>
                  <a:pt x="78" y="198"/>
                </a:lnTo>
                <a:lnTo>
                  <a:pt x="78" y="198"/>
                </a:lnTo>
                <a:lnTo>
                  <a:pt x="78" y="198"/>
                </a:lnTo>
                <a:lnTo>
                  <a:pt x="72" y="198"/>
                </a:lnTo>
                <a:lnTo>
                  <a:pt x="66" y="198"/>
                </a:lnTo>
                <a:lnTo>
                  <a:pt x="66" y="198"/>
                </a:lnTo>
                <a:lnTo>
                  <a:pt x="66" y="192"/>
                </a:lnTo>
                <a:lnTo>
                  <a:pt x="66" y="186"/>
                </a:lnTo>
                <a:lnTo>
                  <a:pt x="66" y="180"/>
                </a:lnTo>
                <a:lnTo>
                  <a:pt x="66" y="180"/>
                </a:lnTo>
                <a:lnTo>
                  <a:pt x="60" y="174"/>
                </a:lnTo>
                <a:lnTo>
                  <a:pt x="60" y="174"/>
                </a:lnTo>
                <a:lnTo>
                  <a:pt x="60" y="174"/>
                </a:lnTo>
                <a:lnTo>
                  <a:pt x="60" y="168"/>
                </a:lnTo>
                <a:lnTo>
                  <a:pt x="60" y="168"/>
                </a:lnTo>
                <a:lnTo>
                  <a:pt x="60" y="168"/>
                </a:lnTo>
                <a:lnTo>
                  <a:pt x="60" y="168"/>
                </a:lnTo>
                <a:lnTo>
                  <a:pt x="60" y="162"/>
                </a:lnTo>
                <a:lnTo>
                  <a:pt x="60" y="162"/>
                </a:lnTo>
                <a:lnTo>
                  <a:pt x="60" y="162"/>
                </a:lnTo>
                <a:lnTo>
                  <a:pt x="54" y="156"/>
                </a:lnTo>
                <a:lnTo>
                  <a:pt x="54" y="156"/>
                </a:lnTo>
                <a:lnTo>
                  <a:pt x="54" y="156"/>
                </a:lnTo>
                <a:lnTo>
                  <a:pt x="54" y="150"/>
                </a:lnTo>
                <a:lnTo>
                  <a:pt x="48" y="150"/>
                </a:lnTo>
                <a:lnTo>
                  <a:pt x="48" y="150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38"/>
                </a:lnTo>
                <a:lnTo>
                  <a:pt x="48" y="138"/>
                </a:lnTo>
                <a:lnTo>
                  <a:pt x="48" y="132"/>
                </a:lnTo>
                <a:lnTo>
                  <a:pt x="48" y="132"/>
                </a:lnTo>
                <a:lnTo>
                  <a:pt x="42" y="132"/>
                </a:lnTo>
                <a:lnTo>
                  <a:pt x="42" y="132"/>
                </a:lnTo>
                <a:lnTo>
                  <a:pt x="36" y="132"/>
                </a:lnTo>
                <a:lnTo>
                  <a:pt x="36" y="132"/>
                </a:lnTo>
                <a:lnTo>
                  <a:pt x="30" y="132"/>
                </a:lnTo>
                <a:lnTo>
                  <a:pt x="36" y="126"/>
                </a:lnTo>
                <a:lnTo>
                  <a:pt x="36" y="126"/>
                </a:lnTo>
                <a:lnTo>
                  <a:pt x="36" y="120"/>
                </a:lnTo>
                <a:lnTo>
                  <a:pt x="36" y="120"/>
                </a:lnTo>
                <a:lnTo>
                  <a:pt x="36" y="114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2"/>
                </a:lnTo>
                <a:lnTo>
                  <a:pt x="36" y="102"/>
                </a:lnTo>
                <a:lnTo>
                  <a:pt x="36" y="96"/>
                </a:lnTo>
                <a:lnTo>
                  <a:pt x="30" y="96"/>
                </a:lnTo>
                <a:lnTo>
                  <a:pt x="30" y="96"/>
                </a:lnTo>
                <a:lnTo>
                  <a:pt x="24" y="96"/>
                </a:lnTo>
                <a:lnTo>
                  <a:pt x="24" y="90"/>
                </a:lnTo>
                <a:lnTo>
                  <a:pt x="18" y="90"/>
                </a:lnTo>
                <a:lnTo>
                  <a:pt x="18" y="90"/>
                </a:lnTo>
                <a:lnTo>
                  <a:pt x="18" y="84"/>
                </a:lnTo>
                <a:lnTo>
                  <a:pt x="18" y="84"/>
                </a:lnTo>
                <a:lnTo>
                  <a:pt x="18" y="78"/>
                </a:lnTo>
                <a:lnTo>
                  <a:pt x="18" y="78"/>
                </a:lnTo>
                <a:lnTo>
                  <a:pt x="24" y="78"/>
                </a:lnTo>
                <a:lnTo>
                  <a:pt x="24" y="72"/>
                </a:lnTo>
                <a:lnTo>
                  <a:pt x="30" y="72"/>
                </a:lnTo>
                <a:lnTo>
                  <a:pt x="30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0"/>
                </a:lnTo>
                <a:lnTo>
                  <a:pt x="18" y="60"/>
                </a:lnTo>
                <a:lnTo>
                  <a:pt x="18" y="60"/>
                </a:lnTo>
                <a:lnTo>
                  <a:pt x="12" y="60"/>
                </a:lnTo>
                <a:lnTo>
                  <a:pt x="12" y="54"/>
                </a:lnTo>
                <a:lnTo>
                  <a:pt x="12" y="54"/>
                </a:lnTo>
                <a:lnTo>
                  <a:pt x="18" y="54"/>
                </a:lnTo>
                <a:lnTo>
                  <a:pt x="12" y="54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6" y="42"/>
                </a:lnTo>
                <a:lnTo>
                  <a:pt x="6" y="36"/>
                </a:lnTo>
                <a:lnTo>
                  <a:pt x="6" y="30"/>
                </a:lnTo>
                <a:lnTo>
                  <a:pt x="0" y="24"/>
                </a:lnTo>
                <a:lnTo>
                  <a:pt x="0" y="2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07" name="Freeform 40"/>
          <p:cNvSpPr>
            <a:spLocks/>
          </p:cNvSpPr>
          <p:nvPr/>
        </p:nvSpPr>
        <p:spPr bwMode="auto">
          <a:xfrm>
            <a:off x="5926791" y="1449732"/>
            <a:ext cx="809430" cy="995735"/>
          </a:xfrm>
          <a:custGeom>
            <a:avLst/>
            <a:gdLst>
              <a:gd name="T0" fmla="*/ 54 w 756"/>
              <a:gd name="T1" fmla="*/ 282 h 930"/>
              <a:gd name="T2" fmla="*/ 90 w 756"/>
              <a:gd name="T3" fmla="*/ 258 h 930"/>
              <a:gd name="T4" fmla="*/ 114 w 756"/>
              <a:gd name="T5" fmla="*/ 246 h 930"/>
              <a:gd name="T6" fmla="*/ 150 w 756"/>
              <a:gd name="T7" fmla="*/ 240 h 930"/>
              <a:gd name="T8" fmla="*/ 174 w 756"/>
              <a:gd name="T9" fmla="*/ 234 h 930"/>
              <a:gd name="T10" fmla="*/ 198 w 756"/>
              <a:gd name="T11" fmla="*/ 228 h 930"/>
              <a:gd name="T12" fmla="*/ 198 w 756"/>
              <a:gd name="T13" fmla="*/ 186 h 930"/>
              <a:gd name="T14" fmla="*/ 180 w 756"/>
              <a:gd name="T15" fmla="*/ 156 h 930"/>
              <a:gd name="T16" fmla="*/ 174 w 756"/>
              <a:gd name="T17" fmla="*/ 120 h 930"/>
              <a:gd name="T18" fmla="*/ 264 w 756"/>
              <a:gd name="T19" fmla="*/ 48 h 930"/>
              <a:gd name="T20" fmla="*/ 312 w 756"/>
              <a:gd name="T21" fmla="*/ 36 h 930"/>
              <a:gd name="T22" fmla="*/ 342 w 756"/>
              <a:gd name="T23" fmla="*/ 24 h 930"/>
              <a:gd name="T24" fmla="*/ 462 w 756"/>
              <a:gd name="T25" fmla="*/ 42 h 930"/>
              <a:gd name="T26" fmla="*/ 510 w 756"/>
              <a:gd name="T27" fmla="*/ 42 h 930"/>
              <a:gd name="T28" fmla="*/ 570 w 756"/>
              <a:gd name="T29" fmla="*/ 60 h 930"/>
              <a:gd name="T30" fmla="*/ 612 w 756"/>
              <a:gd name="T31" fmla="*/ 90 h 930"/>
              <a:gd name="T32" fmla="*/ 678 w 756"/>
              <a:gd name="T33" fmla="*/ 120 h 930"/>
              <a:gd name="T34" fmla="*/ 720 w 756"/>
              <a:gd name="T35" fmla="*/ 102 h 930"/>
              <a:gd name="T36" fmla="*/ 756 w 756"/>
              <a:gd name="T37" fmla="*/ 132 h 930"/>
              <a:gd name="T38" fmla="*/ 738 w 756"/>
              <a:gd name="T39" fmla="*/ 168 h 930"/>
              <a:gd name="T40" fmla="*/ 720 w 756"/>
              <a:gd name="T41" fmla="*/ 204 h 930"/>
              <a:gd name="T42" fmla="*/ 606 w 756"/>
              <a:gd name="T43" fmla="*/ 234 h 930"/>
              <a:gd name="T44" fmla="*/ 618 w 756"/>
              <a:gd name="T45" fmla="*/ 270 h 930"/>
              <a:gd name="T46" fmla="*/ 612 w 756"/>
              <a:gd name="T47" fmla="*/ 306 h 930"/>
              <a:gd name="T48" fmla="*/ 612 w 756"/>
              <a:gd name="T49" fmla="*/ 342 h 930"/>
              <a:gd name="T50" fmla="*/ 444 w 756"/>
              <a:gd name="T51" fmla="*/ 366 h 930"/>
              <a:gd name="T52" fmla="*/ 402 w 756"/>
              <a:gd name="T53" fmla="*/ 354 h 930"/>
              <a:gd name="T54" fmla="*/ 384 w 756"/>
              <a:gd name="T55" fmla="*/ 408 h 930"/>
              <a:gd name="T56" fmla="*/ 348 w 756"/>
              <a:gd name="T57" fmla="*/ 426 h 930"/>
              <a:gd name="T58" fmla="*/ 312 w 756"/>
              <a:gd name="T59" fmla="*/ 450 h 930"/>
              <a:gd name="T60" fmla="*/ 300 w 756"/>
              <a:gd name="T61" fmla="*/ 480 h 930"/>
              <a:gd name="T62" fmla="*/ 318 w 756"/>
              <a:gd name="T63" fmla="*/ 516 h 930"/>
              <a:gd name="T64" fmla="*/ 294 w 756"/>
              <a:gd name="T65" fmla="*/ 534 h 930"/>
              <a:gd name="T66" fmla="*/ 312 w 756"/>
              <a:gd name="T67" fmla="*/ 564 h 930"/>
              <a:gd name="T68" fmla="*/ 312 w 756"/>
              <a:gd name="T69" fmla="*/ 606 h 930"/>
              <a:gd name="T70" fmla="*/ 318 w 756"/>
              <a:gd name="T71" fmla="*/ 636 h 930"/>
              <a:gd name="T72" fmla="*/ 324 w 756"/>
              <a:gd name="T73" fmla="*/ 672 h 930"/>
              <a:gd name="T74" fmla="*/ 336 w 756"/>
              <a:gd name="T75" fmla="*/ 708 h 930"/>
              <a:gd name="T76" fmla="*/ 354 w 756"/>
              <a:gd name="T77" fmla="*/ 738 h 930"/>
              <a:gd name="T78" fmla="*/ 348 w 756"/>
              <a:gd name="T79" fmla="*/ 774 h 930"/>
              <a:gd name="T80" fmla="*/ 342 w 756"/>
              <a:gd name="T81" fmla="*/ 810 h 930"/>
              <a:gd name="T82" fmla="*/ 336 w 756"/>
              <a:gd name="T83" fmla="*/ 858 h 930"/>
              <a:gd name="T84" fmla="*/ 354 w 756"/>
              <a:gd name="T85" fmla="*/ 906 h 930"/>
              <a:gd name="T86" fmla="*/ 126 w 756"/>
              <a:gd name="T87" fmla="*/ 912 h 930"/>
              <a:gd name="T88" fmla="*/ 114 w 756"/>
              <a:gd name="T89" fmla="*/ 864 h 930"/>
              <a:gd name="T90" fmla="*/ 66 w 756"/>
              <a:gd name="T91" fmla="*/ 846 h 930"/>
              <a:gd name="T92" fmla="*/ 48 w 756"/>
              <a:gd name="T93" fmla="*/ 810 h 930"/>
              <a:gd name="T94" fmla="*/ 60 w 756"/>
              <a:gd name="T95" fmla="*/ 792 h 930"/>
              <a:gd name="T96" fmla="*/ 54 w 756"/>
              <a:gd name="T97" fmla="*/ 756 h 930"/>
              <a:gd name="T98" fmla="*/ 66 w 756"/>
              <a:gd name="T99" fmla="*/ 720 h 930"/>
              <a:gd name="T100" fmla="*/ 72 w 756"/>
              <a:gd name="T101" fmla="*/ 672 h 930"/>
              <a:gd name="T102" fmla="*/ 60 w 756"/>
              <a:gd name="T103" fmla="*/ 642 h 930"/>
              <a:gd name="T104" fmla="*/ 54 w 756"/>
              <a:gd name="T105" fmla="*/ 582 h 930"/>
              <a:gd name="T106" fmla="*/ 60 w 756"/>
              <a:gd name="T107" fmla="*/ 540 h 930"/>
              <a:gd name="T108" fmla="*/ 48 w 756"/>
              <a:gd name="T109" fmla="*/ 504 h 930"/>
              <a:gd name="T110" fmla="*/ 42 w 756"/>
              <a:gd name="T111" fmla="*/ 462 h 930"/>
              <a:gd name="T112" fmla="*/ 72 w 756"/>
              <a:gd name="T113" fmla="*/ 462 h 930"/>
              <a:gd name="T114" fmla="*/ 54 w 756"/>
              <a:gd name="T115" fmla="*/ 426 h 930"/>
              <a:gd name="T116" fmla="*/ 42 w 756"/>
              <a:gd name="T117" fmla="*/ 390 h 930"/>
              <a:gd name="T118" fmla="*/ 18 w 756"/>
              <a:gd name="T119" fmla="*/ 372 h 930"/>
              <a:gd name="T120" fmla="*/ 24 w 756"/>
              <a:gd name="T121" fmla="*/ 348 h 930"/>
              <a:gd name="T122" fmla="*/ 24 w 756"/>
              <a:gd name="T123" fmla="*/ 306 h 930"/>
              <a:gd name="T124" fmla="*/ 18 w 756"/>
              <a:gd name="T125" fmla="*/ 282 h 9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56" h="930">
                <a:moveTo>
                  <a:pt x="18" y="276"/>
                </a:moveTo>
                <a:lnTo>
                  <a:pt x="24" y="276"/>
                </a:lnTo>
                <a:lnTo>
                  <a:pt x="24" y="276"/>
                </a:lnTo>
                <a:lnTo>
                  <a:pt x="24" y="276"/>
                </a:lnTo>
                <a:lnTo>
                  <a:pt x="24" y="276"/>
                </a:lnTo>
                <a:lnTo>
                  <a:pt x="24" y="276"/>
                </a:lnTo>
                <a:lnTo>
                  <a:pt x="24" y="276"/>
                </a:lnTo>
                <a:lnTo>
                  <a:pt x="30" y="276"/>
                </a:lnTo>
                <a:lnTo>
                  <a:pt x="30" y="282"/>
                </a:lnTo>
                <a:lnTo>
                  <a:pt x="30" y="282"/>
                </a:lnTo>
                <a:lnTo>
                  <a:pt x="36" y="282"/>
                </a:lnTo>
                <a:lnTo>
                  <a:pt x="36" y="282"/>
                </a:lnTo>
                <a:lnTo>
                  <a:pt x="36" y="276"/>
                </a:lnTo>
                <a:lnTo>
                  <a:pt x="36" y="282"/>
                </a:lnTo>
                <a:lnTo>
                  <a:pt x="36" y="276"/>
                </a:lnTo>
                <a:lnTo>
                  <a:pt x="42" y="282"/>
                </a:lnTo>
                <a:lnTo>
                  <a:pt x="42" y="282"/>
                </a:lnTo>
                <a:lnTo>
                  <a:pt x="42" y="282"/>
                </a:lnTo>
                <a:lnTo>
                  <a:pt x="42" y="282"/>
                </a:lnTo>
                <a:lnTo>
                  <a:pt x="42" y="282"/>
                </a:lnTo>
                <a:lnTo>
                  <a:pt x="42" y="282"/>
                </a:lnTo>
                <a:lnTo>
                  <a:pt x="48" y="282"/>
                </a:lnTo>
                <a:lnTo>
                  <a:pt x="48" y="282"/>
                </a:lnTo>
                <a:lnTo>
                  <a:pt x="48" y="282"/>
                </a:lnTo>
                <a:lnTo>
                  <a:pt x="48" y="282"/>
                </a:lnTo>
                <a:lnTo>
                  <a:pt x="48" y="282"/>
                </a:lnTo>
                <a:lnTo>
                  <a:pt x="48" y="282"/>
                </a:lnTo>
                <a:lnTo>
                  <a:pt x="54" y="282"/>
                </a:lnTo>
                <a:lnTo>
                  <a:pt x="54" y="282"/>
                </a:lnTo>
                <a:lnTo>
                  <a:pt x="54" y="282"/>
                </a:lnTo>
                <a:lnTo>
                  <a:pt x="54" y="282"/>
                </a:lnTo>
                <a:lnTo>
                  <a:pt x="60" y="282"/>
                </a:lnTo>
                <a:lnTo>
                  <a:pt x="60" y="282"/>
                </a:lnTo>
                <a:lnTo>
                  <a:pt x="60" y="282"/>
                </a:lnTo>
                <a:lnTo>
                  <a:pt x="60" y="276"/>
                </a:lnTo>
                <a:lnTo>
                  <a:pt x="66" y="276"/>
                </a:lnTo>
                <a:lnTo>
                  <a:pt x="66" y="276"/>
                </a:lnTo>
                <a:lnTo>
                  <a:pt x="66" y="276"/>
                </a:lnTo>
                <a:lnTo>
                  <a:pt x="72" y="276"/>
                </a:lnTo>
                <a:lnTo>
                  <a:pt x="72" y="276"/>
                </a:lnTo>
                <a:lnTo>
                  <a:pt x="72" y="276"/>
                </a:lnTo>
                <a:lnTo>
                  <a:pt x="72" y="276"/>
                </a:lnTo>
                <a:lnTo>
                  <a:pt x="78" y="276"/>
                </a:lnTo>
                <a:lnTo>
                  <a:pt x="78" y="270"/>
                </a:lnTo>
                <a:lnTo>
                  <a:pt x="78" y="270"/>
                </a:lnTo>
                <a:lnTo>
                  <a:pt x="78" y="270"/>
                </a:lnTo>
                <a:lnTo>
                  <a:pt x="78" y="270"/>
                </a:lnTo>
                <a:lnTo>
                  <a:pt x="84" y="270"/>
                </a:lnTo>
                <a:lnTo>
                  <a:pt x="84" y="270"/>
                </a:lnTo>
                <a:lnTo>
                  <a:pt x="84" y="276"/>
                </a:lnTo>
                <a:lnTo>
                  <a:pt x="84" y="276"/>
                </a:lnTo>
                <a:lnTo>
                  <a:pt x="84" y="276"/>
                </a:lnTo>
                <a:lnTo>
                  <a:pt x="84" y="270"/>
                </a:lnTo>
                <a:lnTo>
                  <a:pt x="90" y="270"/>
                </a:lnTo>
                <a:lnTo>
                  <a:pt x="90" y="270"/>
                </a:lnTo>
                <a:lnTo>
                  <a:pt x="90" y="270"/>
                </a:lnTo>
                <a:lnTo>
                  <a:pt x="90" y="270"/>
                </a:lnTo>
                <a:lnTo>
                  <a:pt x="90" y="264"/>
                </a:lnTo>
                <a:lnTo>
                  <a:pt x="96" y="264"/>
                </a:lnTo>
                <a:lnTo>
                  <a:pt x="90" y="264"/>
                </a:lnTo>
                <a:lnTo>
                  <a:pt x="90" y="258"/>
                </a:lnTo>
                <a:lnTo>
                  <a:pt x="90" y="258"/>
                </a:lnTo>
                <a:lnTo>
                  <a:pt x="90" y="258"/>
                </a:lnTo>
                <a:lnTo>
                  <a:pt x="90" y="258"/>
                </a:lnTo>
                <a:lnTo>
                  <a:pt x="90" y="258"/>
                </a:lnTo>
                <a:lnTo>
                  <a:pt x="96" y="258"/>
                </a:lnTo>
                <a:lnTo>
                  <a:pt x="96" y="258"/>
                </a:lnTo>
                <a:lnTo>
                  <a:pt x="96" y="252"/>
                </a:lnTo>
                <a:lnTo>
                  <a:pt x="102" y="252"/>
                </a:lnTo>
                <a:lnTo>
                  <a:pt x="102" y="252"/>
                </a:lnTo>
                <a:lnTo>
                  <a:pt x="102" y="252"/>
                </a:lnTo>
                <a:lnTo>
                  <a:pt x="102" y="252"/>
                </a:lnTo>
                <a:lnTo>
                  <a:pt x="102" y="252"/>
                </a:lnTo>
                <a:lnTo>
                  <a:pt x="102" y="252"/>
                </a:lnTo>
                <a:lnTo>
                  <a:pt x="108" y="252"/>
                </a:lnTo>
                <a:lnTo>
                  <a:pt x="108" y="252"/>
                </a:lnTo>
                <a:lnTo>
                  <a:pt x="108" y="258"/>
                </a:lnTo>
                <a:lnTo>
                  <a:pt x="108" y="258"/>
                </a:lnTo>
                <a:lnTo>
                  <a:pt x="114" y="258"/>
                </a:lnTo>
                <a:lnTo>
                  <a:pt x="114" y="258"/>
                </a:lnTo>
                <a:lnTo>
                  <a:pt x="114" y="258"/>
                </a:lnTo>
                <a:lnTo>
                  <a:pt x="114" y="258"/>
                </a:lnTo>
                <a:lnTo>
                  <a:pt x="114" y="258"/>
                </a:lnTo>
                <a:lnTo>
                  <a:pt x="114" y="258"/>
                </a:lnTo>
                <a:lnTo>
                  <a:pt x="114" y="252"/>
                </a:lnTo>
                <a:lnTo>
                  <a:pt x="114" y="252"/>
                </a:lnTo>
                <a:lnTo>
                  <a:pt x="120" y="252"/>
                </a:lnTo>
                <a:lnTo>
                  <a:pt x="114" y="252"/>
                </a:lnTo>
                <a:lnTo>
                  <a:pt x="114" y="252"/>
                </a:lnTo>
                <a:lnTo>
                  <a:pt x="114" y="246"/>
                </a:lnTo>
                <a:lnTo>
                  <a:pt x="114" y="246"/>
                </a:lnTo>
                <a:lnTo>
                  <a:pt x="114" y="246"/>
                </a:lnTo>
                <a:lnTo>
                  <a:pt x="114" y="246"/>
                </a:lnTo>
                <a:lnTo>
                  <a:pt x="114" y="246"/>
                </a:lnTo>
                <a:lnTo>
                  <a:pt x="114" y="246"/>
                </a:lnTo>
                <a:lnTo>
                  <a:pt x="120" y="246"/>
                </a:lnTo>
                <a:lnTo>
                  <a:pt x="120" y="246"/>
                </a:lnTo>
                <a:lnTo>
                  <a:pt x="120" y="246"/>
                </a:lnTo>
                <a:lnTo>
                  <a:pt x="120" y="240"/>
                </a:lnTo>
                <a:lnTo>
                  <a:pt x="126" y="240"/>
                </a:lnTo>
                <a:lnTo>
                  <a:pt x="126" y="240"/>
                </a:lnTo>
                <a:lnTo>
                  <a:pt x="120" y="240"/>
                </a:lnTo>
                <a:lnTo>
                  <a:pt x="126" y="240"/>
                </a:lnTo>
                <a:lnTo>
                  <a:pt x="126" y="240"/>
                </a:lnTo>
                <a:lnTo>
                  <a:pt x="132" y="240"/>
                </a:lnTo>
                <a:lnTo>
                  <a:pt x="132" y="240"/>
                </a:lnTo>
                <a:lnTo>
                  <a:pt x="132" y="240"/>
                </a:lnTo>
                <a:lnTo>
                  <a:pt x="132" y="246"/>
                </a:lnTo>
                <a:lnTo>
                  <a:pt x="132" y="246"/>
                </a:lnTo>
                <a:lnTo>
                  <a:pt x="138" y="246"/>
                </a:lnTo>
                <a:lnTo>
                  <a:pt x="138" y="246"/>
                </a:lnTo>
                <a:lnTo>
                  <a:pt x="138" y="246"/>
                </a:lnTo>
                <a:lnTo>
                  <a:pt x="138" y="246"/>
                </a:lnTo>
                <a:lnTo>
                  <a:pt x="138" y="246"/>
                </a:lnTo>
                <a:lnTo>
                  <a:pt x="138" y="246"/>
                </a:lnTo>
                <a:lnTo>
                  <a:pt x="138" y="246"/>
                </a:lnTo>
                <a:lnTo>
                  <a:pt x="138" y="246"/>
                </a:lnTo>
                <a:lnTo>
                  <a:pt x="144" y="246"/>
                </a:lnTo>
                <a:lnTo>
                  <a:pt x="144" y="246"/>
                </a:lnTo>
                <a:lnTo>
                  <a:pt x="144" y="246"/>
                </a:lnTo>
                <a:lnTo>
                  <a:pt x="144" y="246"/>
                </a:lnTo>
                <a:lnTo>
                  <a:pt x="144" y="246"/>
                </a:lnTo>
                <a:lnTo>
                  <a:pt x="144" y="240"/>
                </a:lnTo>
                <a:lnTo>
                  <a:pt x="150" y="240"/>
                </a:lnTo>
                <a:lnTo>
                  <a:pt x="150" y="240"/>
                </a:lnTo>
                <a:lnTo>
                  <a:pt x="144" y="240"/>
                </a:lnTo>
                <a:lnTo>
                  <a:pt x="144" y="240"/>
                </a:lnTo>
                <a:lnTo>
                  <a:pt x="144" y="240"/>
                </a:lnTo>
                <a:lnTo>
                  <a:pt x="144" y="240"/>
                </a:lnTo>
                <a:lnTo>
                  <a:pt x="144" y="234"/>
                </a:lnTo>
                <a:lnTo>
                  <a:pt x="144" y="234"/>
                </a:lnTo>
                <a:lnTo>
                  <a:pt x="144" y="234"/>
                </a:lnTo>
                <a:lnTo>
                  <a:pt x="144" y="234"/>
                </a:lnTo>
                <a:lnTo>
                  <a:pt x="150" y="228"/>
                </a:lnTo>
                <a:lnTo>
                  <a:pt x="150" y="228"/>
                </a:lnTo>
                <a:lnTo>
                  <a:pt x="150" y="228"/>
                </a:lnTo>
                <a:lnTo>
                  <a:pt x="150" y="228"/>
                </a:lnTo>
                <a:lnTo>
                  <a:pt x="150" y="228"/>
                </a:lnTo>
                <a:lnTo>
                  <a:pt x="156" y="228"/>
                </a:lnTo>
                <a:lnTo>
                  <a:pt x="156" y="234"/>
                </a:lnTo>
                <a:lnTo>
                  <a:pt x="156" y="234"/>
                </a:lnTo>
                <a:lnTo>
                  <a:pt x="156" y="228"/>
                </a:lnTo>
                <a:lnTo>
                  <a:pt x="156" y="228"/>
                </a:lnTo>
                <a:lnTo>
                  <a:pt x="156" y="234"/>
                </a:lnTo>
                <a:lnTo>
                  <a:pt x="156" y="234"/>
                </a:lnTo>
                <a:lnTo>
                  <a:pt x="162" y="234"/>
                </a:lnTo>
                <a:lnTo>
                  <a:pt x="162" y="234"/>
                </a:lnTo>
                <a:lnTo>
                  <a:pt x="162" y="234"/>
                </a:lnTo>
                <a:lnTo>
                  <a:pt x="162" y="234"/>
                </a:lnTo>
                <a:lnTo>
                  <a:pt x="162" y="234"/>
                </a:lnTo>
                <a:lnTo>
                  <a:pt x="168" y="228"/>
                </a:lnTo>
                <a:lnTo>
                  <a:pt x="168" y="234"/>
                </a:lnTo>
                <a:lnTo>
                  <a:pt x="168" y="234"/>
                </a:lnTo>
                <a:lnTo>
                  <a:pt x="168" y="234"/>
                </a:lnTo>
                <a:lnTo>
                  <a:pt x="174" y="234"/>
                </a:lnTo>
                <a:lnTo>
                  <a:pt x="174" y="240"/>
                </a:lnTo>
                <a:lnTo>
                  <a:pt x="174" y="240"/>
                </a:lnTo>
                <a:lnTo>
                  <a:pt x="180" y="234"/>
                </a:lnTo>
                <a:lnTo>
                  <a:pt x="180" y="234"/>
                </a:lnTo>
                <a:lnTo>
                  <a:pt x="180" y="234"/>
                </a:lnTo>
                <a:lnTo>
                  <a:pt x="180" y="240"/>
                </a:lnTo>
                <a:lnTo>
                  <a:pt x="180" y="234"/>
                </a:lnTo>
                <a:lnTo>
                  <a:pt x="180" y="234"/>
                </a:lnTo>
                <a:lnTo>
                  <a:pt x="180" y="234"/>
                </a:lnTo>
                <a:lnTo>
                  <a:pt x="186" y="228"/>
                </a:lnTo>
                <a:lnTo>
                  <a:pt x="186" y="228"/>
                </a:lnTo>
                <a:lnTo>
                  <a:pt x="186" y="228"/>
                </a:lnTo>
                <a:lnTo>
                  <a:pt x="186" y="228"/>
                </a:lnTo>
                <a:lnTo>
                  <a:pt x="186" y="228"/>
                </a:lnTo>
                <a:lnTo>
                  <a:pt x="186" y="228"/>
                </a:lnTo>
                <a:lnTo>
                  <a:pt x="186" y="222"/>
                </a:lnTo>
                <a:lnTo>
                  <a:pt x="186" y="222"/>
                </a:lnTo>
                <a:lnTo>
                  <a:pt x="186" y="222"/>
                </a:lnTo>
                <a:lnTo>
                  <a:pt x="186" y="222"/>
                </a:lnTo>
                <a:lnTo>
                  <a:pt x="186" y="222"/>
                </a:lnTo>
                <a:lnTo>
                  <a:pt x="186" y="216"/>
                </a:lnTo>
                <a:lnTo>
                  <a:pt x="186" y="222"/>
                </a:lnTo>
                <a:lnTo>
                  <a:pt x="192" y="222"/>
                </a:lnTo>
                <a:lnTo>
                  <a:pt x="192" y="222"/>
                </a:lnTo>
                <a:lnTo>
                  <a:pt x="192" y="222"/>
                </a:lnTo>
                <a:lnTo>
                  <a:pt x="192" y="222"/>
                </a:lnTo>
                <a:lnTo>
                  <a:pt x="198" y="222"/>
                </a:lnTo>
                <a:lnTo>
                  <a:pt x="192" y="222"/>
                </a:lnTo>
                <a:lnTo>
                  <a:pt x="192" y="228"/>
                </a:lnTo>
                <a:lnTo>
                  <a:pt x="198" y="228"/>
                </a:lnTo>
                <a:lnTo>
                  <a:pt x="198" y="228"/>
                </a:lnTo>
                <a:lnTo>
                  <a:pt x="198" y="228"/>
                </a:lnTo>
                <a:lnTo>
                  <a:pt x="198" y="228"/>
                </a:lnTo>
                <a:lnTo>
                  <a:pt x="198" y="228"/>
                </a:lnTo>
                <a:lnTo>
                  <a:pt x="198" y="228"/>
                </a:lnTo>
                <a:lnTo>
                  <a:pt x="198" y="222"/>
                </a:lnTo>
                <a:lnTo>
                  <a:pt x="198" y="222"/>
                </a:lnTo>
                <a:lnTo>
                  <a:pt x="198" y="222"/>
                </a:lnTo>
                <a:lnTo>
                  <a:pt x="204" y="222"/>
                </a:lnTo>
                <a:lnTo>
                  <a:pt x="204" y="222"/>
                </a:lnTo>
                <a:lnTo>
                  <a:pt x="198" y="216"/>
                </a:lnTo>
                <a:lnTo>
                  <a:pt x="198" y="216"/>
                </a:lnTo>
                <a:lnTo>
                  <a:pt x="204" y="216"/>
                </a:lnTo>
                <a:lnTo>
                  <a:pt x="204" y="216"/>
                </a:lnTo>
                <a:lnTo>
                  <a:pt x="198" y="216"/>
                </a:lnTo>
                <a:lnTo>
                  <a:pt x="198" y="210"/>
                </a:lnTo>
                <a:lnTo>
                  <a:pt x="204" y="210"/>
                </a:lnTo>
                <a:lnTo>
                  <a:pt x="204" y="210"/>
                </a:lnTo>
                <a:lnTo>
                  <a:pt x="204" y="204"/>
                </a:lnTo>
                <a:lnTo>
                  <a:pt x="198" y="204"/>
                </a:lnTo>
                <a:lnTo>
                  <a:pt x="198" y="204"/>
                </a:lnTo>
                <a:lnTo>
                  <a:pt x="192" y="204"/>
                </a:lnTo>
                <a:lnTo>
                  <a:pt x="192" y="198"/>
                </a:lnTo>
                <a:lnTo>
                  <a:pt x="192" y="198"/>
                </a:lnTo>
                <a:lnTo>
                  <a:pt x="192" y="198"/>
                </a:lnTo>
                <a:lnTo>
                  <a:pt x="192" y="198"/>
                </a:lnTo>
                <a:lnTo>
                  <a:pt x="192" y="198"/>
                </a:lnTo>
                <a:lnTo>
                  <a:pt x="192" y="192"/>
                </a:lnTo>
                <a:lnTo>
                  <a:pt x="198" y="192"/>
                </a:lnTo>
                <a:lnTo>
                  <a:pt x="198" y="192"/>
                </a:lnTo>
                <a:lnTo>
                  <a:pt x="198" y="186"/>
                </a:lnTo>
                <a:lnTo>
                  <a:pt x="198" y="186"/>
                </a:lnTo>
                <a:lnTo>
                  <a:pt x="198" y="186"/>
                </a:lnTo>
                <a:lnTo>
                  <a:pt x="198" y="186"/>
                </a:lnTo>
                <a:lnTo>
                  <a:pt x="198" y="186"/>
                </a:lnTo>
                <a:lnTo>
                  <a:pt x="198" y="180"/>
                </a:lnTo>
                <a:lnTo>
                  <a:pt x="198" y="180"/>
                </a:lnTo>
                <a:lnTo>
                  <a:pt x="198" y="180"/>
                </a:lnTo>
                <a:lnTo>
                  <a:pt x="198" y="180"/>
                </a:lnTo>
                <a:lnTo>
                  <a:pt x="198" y="174"/>
                </a:lnTo>
                <a:lnTo>
                  <a:pt x="198" y="174"/>
                </a:lnTo>
                <a:lnTo>
                  <a:pt x="198" y="174"/>
                </a:lnTo>
                <a:lnTo>
                  <a:pt x="198" y="174"/>
                </a:lnTo>
                <a:lnTo>
                  <a:pt x="198" y="174"/>
                </a:lnTo>
                <a:lnTo>
                  <a:pt x="192" y="174"/>
                </a:lnTo>
                <a:lnTo>
                  <a:pt x="192" y="174"/>
                </a:lnTo>
                <a:lnTo>
                  <a:pt x="192" y="174"/>
                </a:lnTo>
                <a:lnTo>
                  <a:pt x="192" y="174"/>
                </a:lnTo>
                <a:lnTo>
                  <a:pt x="192" y="174"/>
                </a:lnTo>
                <a:lnTo>
                  <a:pt x="192" y="174"/>
                </a:lnTo>
                <a:lnTo>
                  <a:pt x="192" y="168"/>
                </a:lnTo>
                <a:lnTo>
                  <a:pt x="192" y="168"/>
                </a:lnTo>
                <a:lnTo>
                  <a:pt x="192" y="168"/>
                </a:lnTo>
                <a:lnTo>
                  <a:pt x="186" y="168"/>
                </a:lnTo>
                <a:lnTo>
                  <a:pt x="186" y="162"/>
                </a:lnTo>
                <a:lnTo>
                  <a:pt x="186" y="162"/>
                </a:lnTo>
                <a:lnTo>
                  <a:pt x="186" y="162"/>
                </a:lnTo>
                <a:lnTo>
                  <a:pt x="186" y="162"/>
                </a:lnTo>
                <a:lnTo>
                  <a:pt x="180" y="162"/>
                </a:lnTo>
                <a:lnTo>
                  <a:pt x="180" y="156"/>
                </a:lnTo>
                <a:lnTo>
                  <a:pt x="180" y="156"/>
                </a:lnTo>
                <a:lnTo>
                  <a:pt x="180" y="156"/>
                </a:lnTo>
                <a:lnTo>
                  <a:pt x="180" y="156"/>
                </a:lnTo>
                <a:lnTo>
                  <a:pt x="180" y="150"/>
                </a:lnTo>
                <a:lnTo>
                  <a:pt x="180" y="150"/>
                </a:lnTo>
                <a:lnTo>
                  <a:pt x="180" y="150"/>
                </a:lnTo>
                <a:lnTo>
                  <a:pt x="180" y="150"/>
                </a:lnTo>
                <a:lnTo>
                  <a:pt x="180" y="150"/>
                </a:lnTo>
                <a:lnTo>
                  <a:pt x="186" y="150"/>
                </a:lnTo>
                <a:lnTo>
                  <a:pt x="186" y="150"/>
                </a:lnTo>
                <a:lnTo>
                  <a:pt x="180" y="144"/>
                </a:lnTo>
                <a:lnTo>
                  <a:pt x="180" y="144"/>
                </a:lnTo>
                <a:lnTo>
                  <a:pt x="180" y="144"/>
                </a:lnTo>
                <a:lnTo>
                  <a:pt x="180" y="144"/>
                </a:lnTo>
                <a:lnTo>
                  <a:pt x="180" y="138"/>
                </a:lnTo>
                <a:lnTo>
                  <a:pt x="174" y="138"/>
                </a:lnTo>
                <a:lnTo>
                  <a:pt x="174" y="138"/>
                </a:lnTo>
                <a:lnTo>
                  <a:pt x="180" y="138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26"/>
                </a:lnTo>
                <a:lnTo>
                  <a:pt x="174" y="126"/>
                </a:lnTo>
                <a:lnTo>
                  <a:pt x="174" y="126"/>
                </a:lnTo>
                <a:lnTo>
                  <a:pt x="174" y="126"/>
                </a:lnTo>
                <a:lnTo>
                  <a:pt x="180" y="126"/>
                </a:lnTo>
                <a:lnTo>
                  <a:pt x="180" y="126"/>
                </a:lnTo>
                <a:lnTo>
                  <a:pt x="180" y="126"/>
                </a:lnTo>
                <a:lnTo>
                  <a:pt x="174" y="126"/>
                </a:lnTo>
                <a:lnTo>
                  <a:pt x="174" y="120"/>
                </a:lnTo>
                <a:lnTo>
                  <a:pt x="174" y="120"/>
                </a:lnTo>
                <a:lnTo>
                  <a:pt x="174" y="120"/>
                </a:lnTo>
                <a:lnTo>
                  <a:pt x="174" y="120"/>
                </a:lnTo>
                <a:lnTo>
                  <a:pt x="174" y="120"/>
                </a:lnTo>
                <a:lnTo>
                  <a:pt x="174" y="114"/>
                </a:lnTo>
                <a:lnTo>
                  <a:pt x="180" y="114"/>
                </a:lnTo>
                <a:lnTo>
                  <a:pt x="180" y="108"/>
                </a:lnTo>
                <a:lnTo>
                  <a:pt x="180" y="108"/>
                </a:lnTo>
                <a:lnTo>
                  <a:pt x="180" y="102"/>
                </a:lnTo>
                <a:lnTo>
                  <a:pt x="180" y="102"/>
                </a:lnTo>
                <a:lnTo>
                  <a:pt x="180" y="102"/>
                </a:lnTo>
                <a:lnTo>
                  <a:pt x="180" y="102"/>
                </a:lnTo>
                <a:lnTo>
                  <a:pt x="186" y="96"/>
                </a:lnTo>
                <a:lnTo>
                  <a:pt x="186" y="96"/>
                </a:lnTo>
                <a:lnTo>
                  <a:pt x="186" y="90"/>
                </a:lnTo>
                <a:lnTo>
                  <a:pt x="186" y="90"/>
                </a:lnTo>
                <a:lnTo>
                  <a:pt x="192" y="90"/>
                </a:lnTo>
                <a:lnTo>
                  <a:pt x="198" y="90"/>
                </a:lnTo>
                <a:lnTo>
                  <a:pt x="198" y="90"/>
                </a:lnTo>
                <a:lnTo>
                  <a:pt x="198" y="84"/>
                </a:lnTo>
                <a:lnTo>
                  <a:pt x="198" y="84"/>
                </a:lnTo>
                <a:lnTo>
                  <a:pt x="204" y="84"/>
                </a:lnTo>
                <a:lnTo>
                  <a:pt x="204" y="78"/>
                </a:lnTo>
                <a:lnTo>
                  <a:pt x="204" y="78"/>
                </a:lnTo>
                <a:lnTo>
                  <a:pt x="204" y="72"/>
                </a:lnTo>
                <a:lnTo>
                  <a:pt x="204" y="66"/>
                </a:lnTo>
                <a:lnTo>
                  <a:pt x="204" y="66"/>
                </a:lnTo>
                <a:lnTo>
                  <a:pt x="204" y="60"/>
                </a:lnTo>
                <a:lnTo>
                  <a:pt x="198" y="60"/>
                </a:lnTo>
                <a:lnTo>
                  <a:pt x="198" y="54"/>
                </a:lnTo>
                <a:lnTo>
                  <a:pt x="198" y="54"/>
                </a:lnTo>
                <a:lnTo>
                  <a:pt x="234" y="54"/>
                </a:lnTo>
                <a:lnTo>
                  <a:pt x="264" y="48"/>
                </a:lnTo>
                <a:lnTo>
                  <a:pt x="264" y="48"/>
                </a:lnTo>
                <a:lnTo>
                  <a:pt x="264" y="48"/>
                </a:lnTo>
                <a:lnTo>
                  <a:pt x="264" y="42"/>
                </a:lnTo>
                <a:lnTo>
                  <a:pt x="264" y="42"/>
                </a:lnTo>
                <a:lnTo>
                  <a:pt x="270" y="42"/>
                </a:lnTo>
                <a:lnTo>
                  <a:pt x="270" y="42"/>
                </a:lnTo>
                <a:lnTo>
                  <a:pt x="276" y="36"/>
                </a:lnTo>
                <a:lnTo>
                  <a:pt x="276" y="36"/>
                </a:lnTo>
                <a:lnTo>
                  <a:pt x="276" y="36"/>
                </a:lnTo>
                <a:lnTo>
                  <a:pt x="276" y="36"/>
                </a:lnTo>
                <a:lnTo>
                  <a:pt x="282" y="36"/>
                </a:lnTo>
                <a:lnTo>
                  <a:pt x="282" y="36"/>
                </a:lnTo>
                <a:lnTo>
                  <a:pt x="282" y="36"/>
                </a:lnTo>
                <a:lnTo>
                  <a:pt x="288" y="36"/>
                </a:lnTo>
                <a:lnTo>
                  <a:pt x="288" y="36"/>
                </a:lnTo>
                <a:lnTo>
                  <a:pt x="288" y="36"/>
                </a:lnTo>
                <a:lnTo>
                  <a:pt x="288" y="36"/>
                </a:lnTo>
                <a:lnTo>
                  <a:pt x="294" y="30"/>
                </a:lnTo>
                <a:lnTo>
                  <a:pt x="294" y="30"/>
                </a:lnTo>
                <a:lnTo>
                  <a:pt x="294" y="30"/>
                </a:lnTo>
                <a:lnTo>
                  <a:pt x="294" y="30"/>
                </a:lnTo>
                <a:lnTo>
                  <a:pt x="294" y="30"/>
                </a:lnTo>
                <a:lnTo>
                  <a:pt x="300" y="30"/>
                </a:lnTo>
                <a:lnTo>
                  <a:pt x="300" y="30"/>
                </a:lnTo>
                <a:lnTo>
                  <a:pt x="300" y="30"/>
                </a:lnTo>
                <a:lnTo>
                  <a:pt x="306" y="36"/>
                </a:lnTo>
                <a:lnTo>
                  <a:pt x="306" y="36"/>
                </a:lnTo>
                <a:lnTo>
                  <a:pt x="306" y="36"/>
                </a:lnTo>
                <a:lnTo>
                  <a:pt x="306" y="36"/>
                </a:lnTo>
                <a:lnTo>
                  <a:pt x="306" y="36"/>
                </a:lnTo>
                <a:lnTo>
                  <a:pt x="312" y="36"/>
                </a:lnTo>
                <a:lnTo>
                  <a:pt x="312" y="36"/>
                </a:lnTo>
                <a:lnTo>
                  <a:pt x="312" y="36"/>
                </a:lnTo>
                <a:lnTo>
                  <a:pt x="312" y="36"/>
                </a:lnTo>
                <a:lnTo>
                  <a:pt x="312" y="36"/>
                </a:lnTo>
                <a:lnTo>
                  <a:pt x="312" y="36"/>
                </a:lnTo>
                <a:lnTo>
                  <a:pt x="312" y="36"/>
                </a:lnTo>
                <a:lnTo>
                  <a:pt x="312" y="30"/>
                </a:lnTo>
                <a:lnTo>
                  <a:pt x="318" y="30"/>
                </a:lnTo>
                <a:lnTo>
                  <a:pt x="318" y="30"/>
                </a:lnTo>
                <a:lnTo>
                  <a:pt x="318" y="30"/>
                </a:lnTo>
                <a:lnTo>
                  <a:pt x="318" y="30"/>
                </a:lnTo>
                <a:lnTo>
                  <a:pt x="318" y="24"/>
                </a:lnTo>
                <a:lnTo>
                  <a:pt x="318" y="24"/>
                </a:lnTo>
                <a:lnTo>
                  <a:pt x="318" y="24"/>
                </a:lnTo>
                <a:lnTo>
                  <a:pt x="324" y="24"/>
                </a:lnTo>
                <a:lnTo>
                  <a:pt x="324" y="24"/>
                </a:lnTo>
                <a:lnTo>
                  <a:pt x="324" y="24"/>
                </a:lnTo>
                <a:lnTo>
                  <a:pt x="330" y="24"/>
                </a:lnTo>
                <a:lnTo>
                  <a:pt x="330" y="24"/>
                </a:lnTo>
                <a:lnTo>
                  <a:pt x="330" y="24"/>
                </a:lnTo>
                <a:lnTo>
                  <a:pt x="330" y="24"/>
                </a:lnTo>
                <a:lnTo>
                  <a:pt x="330" y="24"/>
                </a:lnTo>
                <a:lnTo>
                  <a:pt x="330" y="24"/>
                </a:lnTo>
                <a:lnTo>
                  <a:pt x="336" y="24"/>
                </a:lnTo>
                <a:lnTo>
                  <a:pt x="336" y="24"/>
                </a:lnTo>
                <a:lnTo>
                  <a:pt x="336" y="24"/>
                </a:lnTo>
                <a:lnTo>
                  <a:pt x="336" y="24"/>
                </a:lnTo>
                <a:lnTo>
                  <a:pt x="336" y="24"/>
                </a:lnTo>
                <a:lnTo>
                  <a:pt x="336" y="24"/>
                </a:lnTo>
                <a:lnTo>
                  <a:pt x="336" y="24"/>
                </a:lnTo>
                <a:lnTo>
                  <a:pt x="342" y="24"/>
                </a:lnTo>
                <a:lnTo>
                  <a:pt x="342" y="24"/>
                </a:lnTo>
                <a:lnTo>
                  <a:pt x="342" y="24"/>
                </a:lnTo>
                <a:lnTo>
                  <a:pt x="342" y="24"/>
                </a:lnTo>
                <a:lnTo>
                  <a:pt x="342" y="24"/>
                </a:lnTo>
                <a:lnTo>
                  <a:pt x="342" y="24"/>
                </a:lnTo>
                <a:lnTo>
                  <a:pt x="348" y="24"/>
                </a:lnTo>
                <a:lnTo>
                  <a:pt x="348" y="24"/>
                </a:lnTo>
                <a:lnTo>
                  <a:pt x="354" y="30"/>
                </a:lnTo>
                <a:lnTo>
                  <a:pt x="366" y="36"/>
                </a:lnTo>
                <a:lnTo>
                  <a:pt x="366" y="36"/>
                </a:lnTo>
                <a:lnTo>
                  <a:pt x="366" y="36"/>
                </a:lnTo>
                <a:lnTo>
                  <a:pt x="372" y="30"/>
                </a:lnTo>
                <a:lnTo>
                  <a:pt x="378" y="30"/>
                </a:lnTo>
                <a:lnTo>
                  <a:pt x="390" y="30"/>
                </a:lnTo>
                <a:lnTo>
                  <a:pt x="402" y="30"/>
                </a:lnTo>
                <a:lnTo>
                  <a:pt x="402" y="30"/>
                </a:lnTo>
                <a:lnTo>
                  <a:pt x="402" y="36"/>
                </a:lnTo>
                <a:lnTo>
                  <a:pt x="408" y="36"/>
                </a:lnTo>
                <a:lnTo>
                  <a:pt x="408" y="36"/>
                </a:lnTo>
                <a:lnTo>
                  <a:pt x="414" y="36"/>
                </a:lnTo>
                <a:lnTo>
                  <a:pt x="420" y="36"/>
                </a:lnTo>
                <a:lnTo>
                  <a:pt x="432" y="36"/>
                </a:lnTo>
                <a:lnTo>
                  <a:pt x="432" y="42"/>
                </a:lnTo>
                <a:lnTo>
                  <a:pt x="438" y="42"/>
                </a:lnTo>
                <a:lnTo>
                  <a:pt x="438" y="42"/>
                </a:lnTo>
                <a:lnTo>
                  <a:pt x="438" y="42"/>
                </a:lnTo>
                <a:lnTo>
                  <a:pt x="444" y="42"/>
                </a:lnTo>
                <a:lnTo>
                  <a:pt x="450" y="42"/>
                </a:lnTo>
                <a:lnTo>
                  <a:pt x="450" y="42"/>
                </a:lnTo>
                <a:lnTo>
                  <a:pt x="456" y="42"/>
                </a:lnTo>
                <a:lnTo>
                  <a:pt x="462" y="42"/>
                </a:lnTo>
                <a:lnTo>
                  <a:pt x="468" y="42"/>
                </a:lnTo>
                <a:lnTo>
                  <a:pt x="468" y="36"/>
                </a:lnTo>
                <a:lnTo>
                  <a:pt x="462" y="36"/>
                </a:lnTo>
                <a:lnTo>
                  <a:pt x="462" y="30"/>
                </a:lnTo>
                <a:lnTo>
                  <a:pt x="468" y="24"/>
                </a:lnTo>
                <a:lnTo>
                  <a:pt x="468" y="24"/>
                </a:lnTo>
                <a:lnTo>
                  <a:pt x="474" y="18"/>
                </a:lnTo>
                <a:lnTo>
                  <a:pt x="474" y="12"/>
                </a:lnTo>
                <a:lnTo>
                  <a:pt x="474" y="6"/>
                </a:lnTo>
                <a:lnTo>
                  <a:pt x="480" y="6"/>
                </a:lnTo>
                <a:lnTo>
                  <a:pt x="480" y="6"/>
                </a:lnTo>
                <a:lnTo>
                  <a:pt x="480" y="6"/>
                </a:lnTo>
                <a:lnTo>
                  <a:pt x="480" y="0"/>
                </a:lnTo>
                <a:lnTo>
                  <a:pt x="480" y="0"/>
                </a:lnTo>
                <a:lnTo>
                  <a:pt x="486" y="0"/>
                </a:lnTo>
                <a:lnTo>
                  <a:pt x="486" y="0"/>
                </a:lnTo>
                <a:lnTo>
                  <a:pt x="486" y="0"/>
                </a:lnTo>
                <a:lnTo>
                  <a:pt x="486" y="6"/>
                </a:lnTo>
                <a:lnTo>
                  <a:pt x="492" y="6"/>
                </a:lnTo>
                <a:lnTo>
                  <a:pt x="492" y="6"/>
                </a:lnTo>
                <a:lnTo>
                  <a:pt x="492" y="6"/>
                </a:lnTo>
                <a:lnTo>
                  <a:pt x="492" y="12"/>
                </a:lnTo>
                <a:lnTo>
                  <a:pt x="492" y="12"/>
                </a:lnTo>
                <a:lnTo>
                  <a:pt x="492" y="18"/>
                </a:lnTo>
                <a:lnTo>
                  <a:pt x="492" y="24"/>
                </a:lnTo>
                <a:lnTo>
                  <a:pt x="498" y="30"/>
                </a:lnTo>
                <a:lnTo>
                  <a:pt x="498" y="30"/>
                </a:lnTo>
                <a:lnTo>
                  <a:pt x="504" y="42"/>
                </a:lnTo>
                <a:lnTo>
                  <a:pt x="504" y="48"/>
                </a:lnTo>
                <a:lnTo>
                  <a:pt x="510" y="42"/>
                </a:lnTo>
                <a:lnTo>
                  <a:pt x="510" y="42"/>
                </a:lnTo>
                <a:lnTo>
                  <a:pt x="510" y="42"/>
                </a:lnTo>
                <a:lnTo>
                  <a:pt x="510" y="42"/>
                </a:lnTo>
                <a:lnTo>
                  <a:pt x="516" y="36"/>
                </a:lnTo>
                <a:lnTo>
                  <a:pt x="516" y="36"/>
                </a:lnTo>
                <a:lnTo>
                  <a:pt x="522" y="36"/>
                </a:lnTo>
                <a:lnTo>
                  <a:pt x="522" y="36"/>
                </a:lnTo>
                <a:lnTo>
                  <a:pt x="528" y="36"/>
                </a:lnTo>
                <a:lnTo>
                  <a:pt x="534" y="36"/>
                </a:lnTo>
                <a:lnTo>
                  <a:pt x="534" y="30"/>
                </a:lnTo>
                <a:lnTo>
                  <a:pt x="540" y="36"/>
                </a:lnTo>
                <a:lnTo>
                  <a:pt x="540" y="36"/>
                </a:lnTo>
                <a:lnTo>
                  <a:pt x="546" y="36"/>
                </a:lnTo>
                <a:lnTo>
                  <a:pt x="546" y="36"/>
                </a:lnTo>
                <a:lnTo>
                  <a:pt x="546" y="36"/>
                </a:lnTo>
                <a:lnTo>
                  <a:pt x="546" y="36"/>
                </a:lnTo>
                <a:lnTo>
                  <a:pt x="546" y="42"/>
                </a:lnTo>
                <a:lnTo>
                  <a:pt x="546" y="42"/>
                </a:lnTo>
                <a:lnTo>
                  <a:pt x="546" y="42"/>
                </a:lnTo>
                <a:lnTo>
                  <a:pt x="546" y="42"/>
                </a:lnTo>
                <a:lnTo>
                  <a:pt x="546" y="48"/>
                </a:lnTo>
                <a:lnTo>
                  <a:pt x="552" y="48"/>
                </a:lnTo>
                <a:lnTo>
                  <a:pt x="552" y="48"/>
                </a:lnTo>
                <a:lnTo>
                  <a:pt x="552" y="48"/>
                </a:lnTo>
                <a:lnTo>
                  <a:pt x="552" y="54"/>
                </a:lnTo>
                <a:lnTo>
                  <a:pt x="558" y="54"/>
                </a:lnTo>
                <a:lnTo>
                  <a:pt x="558" y="54"/>
                </a:lnTo>
                <a:lnTo>
                  <a:pt x="558" y="60"/>
                </a:lnTo>
                <a:lnTo>
                  <a:pt x="564" y="60"/>
                </a:lnTo>
                <a:lnTo>
                  <a:pt x="564" y="60"/>
                </a:lnTo>
                <a:lnTo>
                  <a:pt x="564" y="60"/>
                </a:lnTo>
                <a:lnTo>
                  <a:pt x="570" y="60"/>
                </a:lnTo>
                <a:lnTo>
                  <a:pt x="570" y="60"/>
                </a:lnTo>
                <a:lnTo>
                  <a:pt x="570" y="60"/>
                </a:lnTo>
                <a:lnTo>
                  <a:pt x="570" y="60"/>
                </a:lnTo>
                <a:lnTo>
                  <a:pt x="576" y="66"/>
                </a:lnTo>
                <a:lnTo>
                  <a:pt x="582" y="72"/>
                </a:lnTo>
                <a:lnTo>
                  <a:pt x="582" y="72"/>
                </a:lnTo>
                <a:lnTo>
                  <a:pt x="582" y="72"/>
                </a:lnTo>
                <a:lnTo>
                  <a:pt x="582" y="72"/>
                </a:lnTo>
                <a:lnTo>
                  <a:pt x="582" y="72"/>
                </a:lnTo>
                <a:lnTo>
                  <a:pt x="582" y="72"/>
                </a:lnTo>
                <a:lnTo>
                  <a:pt x="576" y="78"/>
                </a:lnTo>
                <a:lnTo>
                  <a:pt x="576" y="72"/>
                </a:lnTo>
                <a:lnTo>
                  <a:pt x="576" y="78"/>
                </a:lnTo>
                <a:lnTo>
                  <a:pt x="582" y="84"/>
                </a:lnTo>
                <a:lnTo>
                  <a:pt x="588" y="84"/>
                </a:lnTo>
                <a:lnTo>
                  <a:pt x="588" y="84"/>
                </a:lnTo>
                <a:lnTo>
                  <a:pt x="594" y="78"/>
                </a:lnTo>
                <a:lnTo>
                  <a:pt x="594" y="78"/>
                </a:lnTo>
                <a:lnTo>
                  <a:pt x="594" y="78"/>
                </a:lnTo>
                <a:lnTo>
                  <a:pt x="600" y="78"/>
                </a:lnTo>
                <a:lnTo>
                  <a:pt x="600" y="78"/>
                </a:lnTo>
                <a:lnTo>
                  <a:pt x="600" y="84"/>
                </a:lnTo>
                <a:lnTo>
                  <a:pt x="600" y="84"/>
                </a:lnTo>
                <a:lnTo>
                  <a:pt x="606" y="84"/>
                </a:lnTo>
                <a:lnTo>
                  <a:pt x="606" y="84"/>
                </a:lnTo>
                <a:lnTo>
                  <a:pt x="606" y="84"/>
                </a:lnTo>
                <a:lnTo>
                  <a:pt x="606" y="84"/>
                </a:lnTo>
                <a:lnTo>
                  <a:pt x="606" y="84"/>
                </a:lnTo>
                <a:lnTo>
                  <a:pt x="606" y="90"/>
                </a:lnTo>
                <a:lnTo>
                  <a:pt x="606" y="90"/>
                </a:lnTo>
                <a:lnTo>
                  <a:pt x="612" y="90"/>
                </a:lnTo>
                <a:lnTo>
                  <a:pt x="612" y="90"/>
                </a:lnTo>
                <a:lnTo>
                  <a:pt x="612" y="96"/>
                </a:lnTo>
                <a:lnTo>
                  <a:pt x="612" y="96"/>
                </a:lnTo>
                <a:lnTo>
                  <a:pt x="612" y="96"/>
                </a:lnTo>
                <a:lnTo>
                  <a:pt x="612" y="96"/>
                </a:lnTo>
                <a:lnTo>
                  <a:pt x="612" y="96"/>
                </a:lnTo>
                <a:lnTo>
                  <a:pt x="618" y="102"/>
                </a:lnTo>
                <a:lnTo>
                  <a:pt x="618" y="102"/>
                </a:lnTo>
                <a:lnTo>
                  <a:pt x="618" y="102"/>
                </a:lnTo>
                <a:lnTo>
                  <a:pt x="618" y="102"/>
                </a:lnTo>
                <a:lnTo>
                  <a:pt x="618" y="102"/>
                </a:lnTo>
                <a:lnTo>
                  <a:pt x="624" y="102"/>
                </a:lnTo>
                <a:lnTo>
                  <a:pt x="624" y="108"/>
                </a:lnTo>
                <a:lnTo>
                  <a:pt x="624" y="114"/>
                </a:lnTo>
                <a:lnTo>
                  <a:pt x="624" y="114"/>
                </a:lnTo>
                <a:lnTo>
                  <a:pt x="624" y="114"/>
                </a:lnTo>
                <a:lnTo>
                  <a:pt x="624" y="120"/>
                </a:lnTo>
                <a:lnTo>
                  <a:pt x="630" y="120"/>
                </a:lnTo>
                <a:lnTo>
                  <a:pt x="630" y="126"/>
                </a:lnTo>
                <a:lnTo>
                  <a:pt x="630" y="126"/>
                </a:lnTo>
                <a:lnTo>
                  <a:pt x="630" y="132"/>
                </a:lnTo>
                <a:lnTo>
                  <a:pt x="630" y="132"/>
                </a:lnTo>
                <a:lnTo>
                  <a:pt x="672" y="126"/>
                </a:lnTo>
                <a:lnTo>
                  <a:pt x="672" y="126"/>
                </a:lnTo>
                <a:lnTo>
                  <a:pt x="666" y="120"/>
                </a:lnTo>
                <a:lnTo>
                  <a:pt x="672" y="120"/>
                </a:lnTo>
                <a:lnTo>
                  <a:pt x="672" y="120"/>
                </a:lnTo>
                <a:lnTo>
                  <a:pt x="672" y="120"/>
                </a:lnTo>
                <a:lnTo>
                  <a:pt x="672" y="120"/>
                </a:lnTo>
                <a:lnTo>
                  <a:pt x="678" y="120"/>
                </a:lnTo>
                <a:lnTo>
                  <a:pt x="678" y="120"/>
                </a:lnTo>
                <a:lnTo>
                  <a:pt x="678" y="120"/>
                </a:lnTo>
                <a:lnTo>
                  <a:pt x="684" y="120"/>
                </a:lnTo>
                <a:lnTo>
                  <a:pt x="684" y="120"/>
                </a:lnTo>
                <a:lnTo>
                  <a:pt x="684" y="120"/>
                </a:lnTo>
                <a:lnTo>
                  <a:pt x="684" y="114"/>
                </a:lnTo>
                <a:lnTo>
                  <a:pt x="684" y="114"/>
                </a:lnTo>
                <a:lnTo>
                  <a:pt x="684" y="114"/>
                </a:lnTo>
                <a:lnTo>
                  <a:pt x="690" y="114"/>
                </a:lnTo>
                <a:lnTo>
                  <a:pt x="690" y="114"/>
                </a:lnTo>
                <a:lnTo>
                  <a:pt x="690" y="114"/>
                </a:lnTo>
                <a:lnTo>
                  <a:pt x="690" y="108"/>
                </a:lnTo>
                <a:lnTo>
                  <a:pt x="690" y="108"/>
                </a:lnTo>
                <a:lnTo>
                  <a:pt x="696" y="108"/>
                </a:lnTo>
                <a:lnTo>
                  <a:pt x="696" y="108"/>
                </a:lnTo>
                <a:lnTo>
                  <a:pt x="696" y="102"/>
                </a:lnTo>
                <a:lnTo>
                  <a:pt x="696" y="102"/>
                </a:lnTo>
                <a:lnTo>
                  <a:pt x="702" y="102"/>
                </a:lnTo>
                <a:lnTo>
                  <a:pt x="702" y="102"/>
                </a:lnTo>
                <a:lnTo>
                  <a:pt x="702" y="102"/>
                </a:lnTo>
                <a:lnTo>
                  <a:pt x="702" y="102"/>
                </a:lnTo>
                <a:lnTo>
                  <a:pt x="702" y="96"/>
                </a:lnTo>
                <a:lnTo>
                  <a:pt x="702" y="96"/>
                </a:lnTo>
                <a:lnTo>
                  <a:pt x="702" y="96"/>
                </a:lnTo>
                <a:lnTo>
                  <a:pt x="702" y="96"/>
                </a:lnTo>
                <a:lnTo>
                  <a:pt x="702" y="96"/>
                </a:lnTo>
                <a:lnTo>
                  <a:pt x="708" y="96"/>
                </a:lnTo>
                <a:lnTo>
                  <a:pt x="708" y="96"/>
                </a:lnTo>
                <a:lnTo>
                  <a:pt x="708" y="102"/>
                </a:lnTo>
                <a:lnTo>
                  <a:pt x="714" y="102"/>
                </a:lnTo>
                <a:lnTo>
                  <a:pt x="714" y="108"/>
                </a:lnTo>
                <a:lnTo>
                  <a:pt x="720" y="102"/>
                </a:lnTo>
                <a:lnTo>
                  <a:pt x="720" y="102"/>
                </a:lnTo>
                <a:lnTo>
                  <a:pt x="720" y="102"/>
                </a:lnTo>
                <a:lnTo>
                  <a:pt x="726" y="108"/>
                </a:lnTo>
                <a:lnTo>
                  <a:pt x="726" y="108"/>
                </a:lnTo>
                <a:lnTo>
                  <a:pt x="726" y="108"/>
                </a:lnTo>
                <a:lnTo>
                  <a:pt x="732" y="108"/>
                </a:lnTo>
                <a:lnTo>
                  <a:pt x="732" y="108"/>
                </a:lnTo>
                <a:lnTo>
                  <a:pt x="732" y="108"/>
                </a:lnTo>
                <a:lnTo>
                  <a:pt x="732" y="108"/>
                </a:lnTo>
                <a:lnTo>
                  <a:pt x="738" y="108"/>
                </a:lnTo>
                <a:lnTo>
                  <a:pt x="738" y="108"/>
                </a:lnTo>
                <a:lnTo>
                  <a:pt x="744" y="108"/>
                </a:lnTo>
                <a:lnTo>
                  <a:pt x="744" y="108"/>
                </a:lnTo>
                <a:lnTo>
                  <a:pt x="744" y="108"/>
                </a:lnTo>
                <a:lnTo>
                  <a:pt x="744" y="114"/>
                </a:lnTo>
                <a:lnTo>
                  <a:pt x="744" y="114"/>
                </a:lnTo>
                <a:lnTo>
                  <a:pt x="750" y="114"/>
                </a:lnTo>
                <a:lnTo>
                  <a:pt x="750" y="120"/>
                </a:lnTo>
                <a:lnTo>
                  <a:pt x="750" y="120"/>
                </a:lnTo>
                <a:lnTo>
                  <a:pt x="750" y="120"/>
                </a:lnTo>
                <a:lnTo>
                  <a:pt x="756" y="120"/>
                </a:lnTo>
                <a:lnTo>
                  <a:pt x="756" y="120"/>
                </a:lnTo>
                <a:lnTo>
                  <a:pt x="756" y="120"/>
                </a:lnTo>
                <a:lnTo>
                  <a:pt x="756" y="126"/>
                </a:lnTo>
                <a:lnTo>
                  <a:pt x="756" y="126"/>
                </a:lnTo>
                <a:lnTo>
                  <a:pt x="756" y="126"/>
                </a:lnTo>
                <a:lnTo>
                  <a:pt x="756" y="126"/>
                </a:lnTo>
                <a:lnTo>
                  <a:pt x="756" y="126"/>
                </a:lnTo>
                <a:lnTo>
                  <a:pt x="756" y="132"/>
                </a:lnTo>
                <a:lnTo>
                  <a:pt x="756" y="132"/>
                </a:lnTo>
                <a:lnTo>
                  <a:pt x="756" y="132"/>
                </a:lnTo>
                <a:lnTo>
                  <a:pt x="756" y="132"/>
                </a:lnTo>
                <a:lnTo>
                  <a:pt x="756" y="132"/>
                </a:lnTo>
                <a:lnTo>
                  <a:pt x="756" y="138"/>
                </a:lnTo>
                <a:lnTo>
                  <a:pt x="756" y="138"/>
                </a:lnTo>
                <a:lnTo>
                  <a:pt x="756" y="144"/>
                </a:lnTo>
                <a:lnTo>
                  <a:pt x="750" y="144"/>
                </a:lnTo>
                <a:lnTo>
                  <a:pt x="750" y="144"/>
                </a:lnTo>
                <a:lnTo>
                  <a:pt x="750" y="144"/>
                </a:lnTo>
                <a:lnTo>
                  <a:pt x="750" y="144"/>
                </a:lnTo>
                <a:lnTo>
                  <a:pt x="750" y="144"/>
                </a:lnTo>
                <a:lnTo>
                  <a:pt x="750" y="144"/>
                </a:lnTo>
                <a:lnTo>
                  <a:pt x="750" y="144"/>
                </a:lnTo>
                <a:lnTo>
                  <a:pt x="744" y="144"/>
                </a:lnTo>
                <a:lnTo>
                  <a:pt x="744" y="144"/>
                </a:lnTo>
                <a:lnTo>
                  <a:pt x="744" y="144"/>
                </a:lnTo>
                <a:lnTo>
                  <a:pt x="744" y="150"/>
                </a:lnTo>
                <a:lnTo>
                  <a:pt x="744" y="150"/>
                </a:lnTo>
                <a:lnTo>
                  <a:pt x="738" y="150"/>
                </a:lnTo>
                <a:lnTo>
                  <a:pt x="744" y="150"/>
                </a:lnTo>
                <a:lnTo>
                  <a:pt x="738" y="150"/>
                </a:lnTo>
                <a:lnTo>
                  <a:pt x="738" y="156"/>
                </a:lnTo>
                <a:lnTo>
                  <a:pt x="738" y="156"/>
                </a:lnTo>
                <a:lnTo>
                  <a:pt x="732" y="156"/>
                </a:lnTo>
                <a:lnTo>
                  <a:pt x="732" y="162"/>
                </a:lnTo>
                <a:lnTo>
                  <a:pt x="732" y="162"/>
                </a:lnTo>
                <a:lnTo>
                  <a:pt x="732" y="162"/>
                </a:lnTo>
                <a:lnTo>
                  <a:pt x="732" y="162"/>
                </a:lnTo>
                <a:lnTo>
                  <a:pt x="738" y="162"/>
                </a:lnTo>
                <a:lnTo>
                  <a:pt x="738" y="168"/>
                </a:lnTo>
                <a:lnTo>
                  <a:pt x="738" y="168"/>
                </a:lnTo>
                <a:lnTo>
                  <a:pt x="738" y="168"/>
                </a:lnTo>
                <a:lnTo>
                  <a:pt x="738" y="168"/>
                </a:lnTo>
                <a:lnTo>
                  <a:pt x="738" y="168"/>
                </a:lnTo>
                <a:lnTo>
                  <a:pt x="738" y="174"/>
                </a:lnTo>
                <a:lnTo>
                  <a:pt x="738" y="174"/>
                </a:lnTo>
                <a:lnTo>
                  <a:pt x="738" y="174"/>
                </a:lnTo>
                <a:lnTo>
                  <a:pt x="738" y="174"/>
                </a:lnTo>
                <a:lnTo>
                  <a:pt x="738" y="174"/>
                </a:lnTo>
                <a:lnTo>
                  <a:pt x="732" y="180"/>
                </a:lnTo>
                <a:lnTo>
                  <a:pt x="732" y="180"/>
                </a:lnTo>
                <a:lnTo>
                  <a:pt x="732" y="180"/>
                </a:lnTo>
                <a:lnTo>
                  <a:pt x="732" y="180"/>
                </a:lnTo>
                <a:lnTo>
                  <a:pt x="732" y="186"/>
                </a:lnTo>
                <a:lnTo>
                  <a:pt x="732" y="186"/>
                </a:lnTo>
                <a:lnTo>
                  <a:pt x="726" y="186"/>
                </a:lnTo>
                <a:lnTo>
                  <a:pt x="726" y="186"/>
                </a:lnTo>
                <a:lnTo>
                  <a:pt x="726" y="186"/>
                </a:lnTo>
                <a:lnTo>
                  <a:pt x="726" y="186"/>
                </a:lnTo>
                <a:lnTo>
                  <a:pt x="726" y="186"/>
                </a:lnTo>
                <a:lnTo>
                  <a:pt x="726" y="192"/>
                </a:lnTo>
                <a:lnTo>
                  <a:pt x="726" y="192"/>
                </a:lnTo>
                <a:lnTo>
                  <a:pt x="720" y="192"/>
                </a:lnTo>
                <a:lnTo>
                  <a:pt x="720" y="192"/>
                </a:lnTo>
                <a:lnTo>
                  <a:pt x="720" y="192"/>
                </a:lnTo>
                <a:lnTo>
                  <a:pt x="714" y="198"/>
                </a:lnTo>
                <a:lnTo>
                  <a:pt x="720" y="198"/>
                </a:lnTo>
                <a:lnTo>
                  <a:pt x="720" y="198"/>
                </a:lnTo>
                <a:lnTo>
                  <a:pt x="720" y="198"/>
                </a:lnTo>
                <a:lnTo>
                  <a:pt x="720" y="204"/>
                </a:lnTo>
                <a:lnTo>
                  <a:pt x="720" y="204"/>
                </a:lnTo>
                <a:lnTo>
                  <a:pt x="720" y="204"/>
                </a:lnTo>
                <a:lnTo>
                  <a:pt x="720" y="204"/>
                </a:lnTo>
                <a:lnTo>
                  <a:pt x="720" y="204"/>
                </a:lnTo>
                <a:lnTo>
                  <a:pt x="720" y="204"/>
                </a:lnTo>
                <a:lnTo>
                  <a:pt x="696" y="198"/>
                </a:lnTo>
                <a:lnTo>
                  <a:pt x="678" y="192"/>
                </a:lnTo>
                <a:lnTo>
                  <a:pt x="648" y="186"/>
                </a:lnTo>
                <a:lnTo>
                  <a:pt x="618" y="180"/>
                </a:lnTo>
                <a:lnTo>
                  <a:pt x="648" y="222"/>
                </a:lnTo>
                <a:lnTo>
                  <a:pt x="648" y="222"/>
                </a:lnTo>
                <a:lnTo>
                  <a:pt x="642" y="222"/>
                </a:lnTo>
                <a:lnTo>
                  <a:pt x="642" y="228"/>
                </a:lnTo>
                <a:lnTo>
                  <a:pt x="642" y="228"/>
                </a:lnTo>
                <a:lnTo>
                  <a:pt x="642" y="228"/>
                </a:lnTo>
                <a:lnTo>
                  <a:pt x="636" y="228"/>
                </a:lnTo>
                <a:lnTo>
                  <a:pt x="630" y="228"/>
                </a:lnTo>
                <a:lnTo>
                  <a:pt x="630" y="234"/>
                </a:lnTo>
                <a:lnTo>
                  <a:pt x="630" y="234"/>
                </a:lnTo>
                <a:lnTo>
                  <a:pt x="624" y="234"/>
                </a:lnTo>
                <a:lnTo>
                  <a:pt x="624" y="234"/>
                </a:lnTo>
                <a:lnTo>
                  <a:pt x="624" y="234"/>
                </a:lnTo>
                <a:lnTo>
                  <a:pt x="624" y="234"/>
                </a:lnTo>
                <a:lnTo>
                  <a:pt x="618" y="234"/>
                </a:lnTo>
                <a:lnTo>
                  <a:pt x="618" y="234"/>
                </a:lnTo>
                <a:lnTo>
                  <a:pt x="612" y="234"/>
                </a:lnTo>
                <a:lnTo>
                  <a:pt x="612" y="234"/>
                </a:lnTo>
                <a:lnTo>
                  <a:pt x="612" y="234"/>
                </a:lnTo>
                <a:lnTo>
                  <a:pt x="612" y="234"/>
                </a:lnTo>
                <a:lnTo>
                  <a:pt x="606" y="234"/>
                </a:lnTo>
                <a:lnTo>
                  <a:pt x="606" y="228"/>
                </a:lnTo>
                <a:lnTo>
                  <a:pt x="606" y="228"/>
                </a:lnTo>
                <a:lnTo>
                  <a:pt x="606" y="234"/>
                </a:lnTo>
                <a:lnTo>
                  <a:pt x="606" y="234"/>
                </a:lnTo>
                <a:lnTo>
                  <a:pt x="606" y="234"/>
                </a:lnTo>
                <a:lnTo>
                  <a:pt x="606" y="234"/>
                </a:lnTo>
                <a:lnTo>
                  <a:pt x="606" y="234"/>
                </a:lnTo>
                <a:lnTo>
                  <a:pt x="606" y="240"/>
                </a:lnTo>
                <a:lnTo>
                  <a:pt x="606" y="240"/>
                </a:lnTo>
                <a:lnTo>
                  <a:pt x="606" y="240"/>
                </a:lnTo>
                <a:lnTo>
                  <a:pt x="606" y="246"/>
                </a:lnTo>
                <a:lnTo>
                  <a:pt x="606" y="246"/>
                </a:lnTo>
                <a:lnTo>
                  <a:pt x="606" y="246"/>
                </a:lnTo>
                <a:lnTo>
                  <a:pt x="606" y="246"/>
                </a:lnTo>
                <a:lnTo>
                  <a:pt x="606" y="246"/>
                </a:lnTo>
                <a:lnTo>
                  <a:pt x="606" y="246"/>
                </a:lnTo>
                <a:lnTo>
                  <a:pt x="612" y="246"/>
                </a:lnTo>
                <a:lnTo>
                  <a:pt x="612" y="246"/>
                </a:lnTo>
                <a:lnTo>
                  <a:pt x="612" y="246"/>
                </a:lnTo>
                <a:lnTo>
                  <a:pt x="612" y="246"/>
                </a:lnTo>
                <a:lnTo>
                  <a:pt x="612" y="252"/>
                </a:lnTo>
                <a:lnTo>
                  <a:pt x="618" y="252"/>
                </a:lnTo>
                <a:lnTo>
                  <a:pt x="618" y="252"/>
                </a:lnTo>
                <a:lnTo>
                  <a:pt x="618" y="252"/>
                </a:lnTo>
                <a:lnTo>
                  <a:pt x="618" y="258"/>
                </a:lnTo>
                <a:lnTo>
                  <a:pt x="618" y="258"/>
                </a:lnTo>
                <a:lnTo>
                  <a:pt x="612" y="258"/>
                </a:lnTo>
                <a:lnTo>
                  <a:pt x="618" y="264"/>
                </a:lnTo>
                <a:lnTo>
                  <a:pt x="618" y="264"/>
                </a:lnTo>
                <a:lnTo>
                  <a:pt x="618" y="258"/>
                </a:lnTo>
                <a:lnTo>
                  <a:pt x="618" y="264"/>
                </a:lnTo>
                <a:lnTo>
                  <a:pt x="618" y="264"/>
                </a:lnTo>
                <a:lnTo>
                  <a:pt x="618" y="270"/>
                </a:lnTo>
                <a:lnTo>
                  <a:pt x="618" y="270"/>
                </a:lnTo>
                <a:lnTo>
                  <a:pt x="618" y="270"/>
                </a:lnTo>
                <a:lnTo>
                  <a:pt x="618" y="270"/>
                </a:lnTo>
                <a:lnTo>
                  <a:pt x="618" y="270"/>
                </a:lnTo>
                <a:lnTo>
                  <a:pt x="612" y="276"/>
                </a:lnTo>
                <a:lnTo>
                  <a:pt x="612" y="276"/>
                </a:lnTo>
                <a:lnTo>
                  <a:pt x="612" y="276"/>
                </a:lnTo>
                <a:lnTo>
                  <a:pt x="612" y="282"/>
                </a:lnTo>
                <a:lnTo>
                  <a:pt x="612" y="282"/>
                </a:lnTo>
                <a:lnTo>
                  <a:pt x="612" y="282"/>
                </a:lnTo>
                <a:lnTo>
                  <a:pt x="618" y="282"/>
                </a:lnTo>
                <a:lnTo>
                  <a:pt x="618" y="282"/>
                </a:lnTo>
                <a:lnTo>
                  <a:pt x="618" y="288"/>
                </a:lnTo>
                <a:lnTo>
                  <a:pt x="612" y="288"/>
                </a:lnTo>
                <a:lnTo>
                  <a:pt x="612" y="282"/>
                </a:lnTo>
                <a:lnTo>
                  <a:pt x="612" y="288"/>
                </a:lnTo>
                <a:lnTo>
                  <a:pt x="612" y="288"/>
                </a:lnTo>
                <a:lnTo>
                  <a:pt x="612" y="288"/>
                </a:lnTo>
                <a:lnTo>
                  <a:pt x="612" y="288"/>
                </a:lnTo>
                <a:lnTo>
                  <a:pt x="618" y="294"/>
                </a:lnTo>
                <a:lnTo>
                  <a:pt x="612" y="294"/>
                </a:lnTo>
                <a:lnTo>
                  <a:pt x="612" y="294"/>
                </a:lnTo>
                <a:lnTo>
                  <a:pt x="612" y="294"/>
                </a:lnTo>
                <a:lnTo>
                  <a:pt x="612" y="294"/>
                </a:lnTo>
                <a:lnTo>
                  <a:pt x="612" y="294"/>
                </a:lnTo>
                <a:lnTo>
                  <a:pt x="612" y="300"/>
                </a:lnTo>
                <a:lnTo>
                  <a:pt x="612" y="300"/>
                </a:lnTo>
                <a:lnTo>
                  <a:pt x="612" y="300"/>
                </a:lnTo>
                <a:lnTo>
                  <a:pt x="612" y="300"/>
                </a:lnTo>
                <a:lnTo>
                  <a:pt x="612" y="300"/>
                </a:lnTo>
                <a:lnTo>
                  <a:pt x="612" y="300"/>
                </a:lnTo>
                <a:lnTo>
                  <a:pt x="612" y="306"/>
                </a:lnTo>
                <a:lnTo>
                  <a:pt x="612" y="306"/>
                </a:lnTo>
                <a:lnTo>
                  <a:pt x="612" y="312"/>
                </a:lnTo>
                <a:lnTo>
                  <a:pt x="618" y="312"/>
                </a:lnTo>
                <a:lnTo>
                  <a:pt x="618" y="312"/>
                </a:lnTo>
                <a:lnTo>
                  <a:pt x="618" y="312"/>
                </a:lnTo>
                <a:lnTo>
                  <a:pt x="618" y="312"/>
                </a:lnTo>
                <a:lnTo>
                  <a:pt x="618" y="306"/>
                </a:lnTo>
                <a:lnTo>
                  <a:pt x="624" y="312"/>
                </a:lnTo>
                <a:lnTo>
                  <a:pt x="624" y="312"/>
                </a:lnTo>
                <a:lnTo>
                  <a:pt x="624" y="312"/>
                </a:lnTo>
                <a:lnTo>
                  <a:pt x="624" y="318"/>
                </a:lnTo>
                <a:lnTo>
                  <a:pt x="624" y="318"/>
                </a:lnTo>
                <a:lnTo>
                  <a:pt x="624" y="318"/>
                </a:lnTo>
                <a:lnTo>
                  <a:pt x="624" y="324"/>
                </a:lnTo>
                <a:lnTo>
                  <a:pt x="624" y="324"/>
                </a:lnTo>
                <a:lnTo>
                  <a:pt x="618" y="324"/>
                </a:lnTo>
                <a:lnTo>
                  <a:pt x="618" y="324"/>
                </a:lnTo>
                <a:lnTo>
                  <a:pt x="624" y="324"/>
                </a:lnTo>
                <a:lnTo>
                  <a:pt x="624" y="324"/>
                </a:lnTo>
                <a:lnTo>
                  <a:pt x="618" y="330"/>
                </a:lnTo>
                <a:lnTo>
                  <a:pt x="618" y="330"/>
                </a:lnTo>
                <a:lnTo>
                  <a:pt x="618" y="330"/>
                </a:lnTo>
                <a:lnTo>
                  <a:pt x="618" y="336"/>
                </a:lnTo>
                <a:lnTo>
                  <a:pt x="618" y="336"/>
                </a:lnTo>
                <a:lnTo>
                  <a:pt x="618" y="336"/>
                </a:lnTo>
                <a:lnTo>
                  <a:pt x="618" y="336"/>
                </a:lnTo>
                <a:lnTo>
                  <a:pt x="618" y="336"/>
                </a:lnTo>
                <a:lnTo>
                  <a:pt x="618" y="336"/>
                </a:lnTo>
                <a:lnTo>
                  <a:pt x="618" y="342"/>
                </a:lnTo>
                <a:lnTo>
                  <a:pt x="618" y="342"/>
                </a:lnTo>
                <a:lnTo>
                  <a:pt x="612" y="342"/>
                </a:lnTo>
                <a:lnTo>
                  <a:pt x="612" y="342"/>
                </a:lnTo>
                <a:lnTo>
                  <a:pt x="612" y="348"/>
                </a:lnTo>
                <a:lnTo>
                  <a:pt x="612" y="348"/>
                </a:lnTo>
                <a:lnTo>
                  <a:pt x="546" y="348"/>
                </a:lnTo>
                <a:lnTo>
                  <a:pt x="474" y="348"/>
                </a:lnTo>
                <a:lnTo>
                  <a:pt x="468" y="348"/>
                </a:lnTo>
                <a:lnTo>
                  <a:pt x="468" y="348"/>
                </a:lnTo>
                <a:lnTo>
                  <a:pt x="468" y="348"/>
                </a:lnTo>
                <a:lnTo>
                  <a:pt x="462" y="354"/>
                </a:lnTo>
                <a:lnTo>
                  <a:pt x="462" y="354"/>
                </a:lnTo>
                <a:lnTo>
                  <a:pt x="462" y="354"/>
                </a:lnTo>
                <a:lnTo>
                  <a:pt x="462" y="354"/>
                </a:lnTo>
                <a:lnTo>
                  <a:pt x="462" y="360"/>
                </a:lnTo>
                <a:lnTo>
                  <a:pt x="462" y="360"/>
                </a:lnTo>
                <a:lnTo>
                  <a:pt x="462" y="360"/>
                </a:lnTo>
                <a:lnTo>
                  <a:pt x="462" y="360"/>
                </a:lnTo>
                <a:lnTo>
                  <a:pt x="456" y="366"/>
                </a:lnTo>
                <a:lnTo>
                  <a:pt x="456" y="366"/>
                </a:lnTo>
                <a:lnTo>
                  <a:pt x="456" y="366"/>
                </a:lnTo>
                <a:lnTo>
                  <a:pt x="456" y="366"/>
                </a:lnTo>
                <a:lnTo>
                  <a:pt x="456" y="372"/>
                </a:lnTo>
                <a:lnTo>
                  <a:pt x="456" y="372"/>
                </a:lnTo>
                <a:lnTo>
                  <a:pt x="456" y="372"/>
                </a:lnTo>
                <a:lnTo>
                  <a:pt x="456" y="372"/>
                </a:lnTo>
                <a:lnTo>
                  <a:pt x="456" y="372"/>
                </a:lnTo>
                <a:lnTo>
                  <a:pt x="456" y="372"/>
                </a:lnTo>
                <a:lnTo>
                  <a:pt x="456" y="366"/>
                </a:lnTo>
                <a:lnTo>
                  <a:pt x="450" y="366"/>
                </a:lnTo>
                <a:lnTo>
                  <a:pt x="450" y="366"/>
                </a:lnTo>
                <a:lnTo>
                  <a:pt x="444" y="366"/>
                </a:lnTo>
                <a:lnTo>
                  <a:pt x="444" y="366"/>
                </a:lnTo>
                <a:lnTo>
                  <a:pt x="444" y="366"/>
                </a:lnTo>
                <a:lnTo>
                  <a:pt x="444" y="360"/>
                </a:lnTo>
                <a:lnTo>
                  <a:pt x="438" y="360"/>
                </a:lnTo>
                <a:lnTo>
                  <a:pt x="438" y="360"/>
                </a:lnTo>
                <a:lnTo>
                  <a:pt x="438" y="360"/>
                </a:lnTo>
                <a:lnTo>
                  <a:pt x="438" y="366"/>
                </a:lnTo>
                <a:lnTo>
                  <a:pt x="438" y="360"/>
                </a:lnTo>
                <a:lnTo>
                  <a:pt x="438" y="360"/>
                </a:lnTo>
                <a:lnTo>
                  <a:pt x="438" y="360"/>
                </a:lnTo>
                <a:lnTo>
                  <a:pt x="438" y="354"/>
                </a:lnTo>
                <a:lnTo>
                  <a:pt x="432" y="354"/>
                </a:lnTo>
                <a:lnTo>
                  <a:pt x="432" y="354"/>
                </a:lnTo>
                <a:lnTo>
                  <a:pt x="432" y="354"/>
                </a:lnTo>
                <a:lnTo>
                  <a:pt x="426" y="348"/>
                </a:lnTo>
                <a:lnTo>
                  <a:pt x="426" y="354"/>
                </a:lnTo>
                <a:lnTo>
                  <a:pt x="420" y="354"/>
                </a:lnTo>
                <a:lnTo>
                  <a:pt x="420" y="348"/>
                </a:lnTo>
                <a:lnTo>
                  <a:pt x="420" y="348"/>
                </a:lnTo>
                <a:lnTo>
                  <a:pt x="420" y="348"/>
                </a:lnTo>
                <a:lnTo>
                  <a:pt x="420" y="348"/>
                </a:lnTo>
                <a:lnTo>
                  <a:pt x="414" y="348"/>
                </a:lnTo>
                <a:lnTo>
                  <a:pt x="414" y="348"/>
                </a:lnTo>
                <a:lnTo>
                  <a:pt x="414" y="354"/>
                </a:lnTo>
                <a:lnTo>
                  <a:pt x="408" y="354"/>
                </a:lnTo>
                <a:lnTo>
                  <a:pt x="408" y="354"/>
                </a:lnTo>
                <a:lnTo>
                  <a:pt x="408" y="354"/>
                </a:lnTo>
                <a:lnTo>
                  <a:pt x="408" y="354"/>
                </a:lnTo>
                <a:lnTo>
                  <a:pt x="408" y="354"/>
                </a:lnTo>
                <a:lnTo>
                  <a:pt x="408" y="354"/>
                </a:lnTo>
                <a:lnTo>
                  <a:pt x="402" y="354"/>
                </a:lnTo>
                <a:lnTo>
                  <a:pt x="402" y="354"/>
                </a:lnTo>
                <a:lnTo>
                  <a:pt x="402" y="354"/>
                </a:lnTo>
                <a:lnTo>
                  <a:pt x="402" y="354"/>
                </a:lnTo>
                <a:lnTo>
                  <a:pt x="396" y="354"/>
                </a:lnTo>
                <a:lnTo>
                  <a:pt x="396" y="360"/>
                </a:lnTo>
                <a:lnTo>
                  <a:pt x="396" y="360"/>
                </a:lnTo>
                <a:lnTo>
                  <a:pt x="396" y="360"/>
                </a:lnTo>
                <a:lnTo>
                  <a:pt x="396" y="360"/>
                </a:lnTo>
                <a:lnTo>
                  <a:pt x="390" y="360"/>
                </a:lnTo>
                <a:lnTo>
                  <a:pt x="390" y="360"/>
                </a:lnTo>
                <a:lnTo>
                  <a:pt x="390" y="366"/>
                </a:lnTo>
                <a:lnTo>
                  <a:pt x="384" y="366"/>
                </a:lnTo>
                <a:lnTo>
                  <a:pt x="390" y="366"/>
                </a:lnTo>
                <a:lnTo>
                  <a:pt x="390" y="372"/>
                </a:lnTo>
                <a:lnTo>
                  <a:pt x="390" y="372"/>
                </a:lnTo>
                <a:lnTo>
                  <a:pt x="390" y="378"/>
                </a:lnTo>
                <a:lnTo>
                  <a:pt x="390" y="378"/>
                </a:lnTo>
                <a:lnTo>
                  <a:pt x="390" y="378"/>
                </a:lnTo>
                <a:lnTo>
                  <a:pt x="384" y="378"/>
                </a:lnTo>
                <a:lnTo>
                  <a:pt x="384" y="384"/>
                </a:lnTo>
                <a:lnTo>
                  <a:pt x="384" y="384"/>
                </a:lnTo>
                <a:lnTo>
                  <a:pt x="384" y="384"/>
                </a:lnTo>
                <a:lnTo>
                  <a:pt x="384" y="390"/>
                </a:lnTo>
                <a:lnTo>
                  <a:pt x="384" y="390"/>
                </a:lnTo>
                <a:lnTo>
                  <a:pt x="384" y="390"/>
                </a:lnTo>
                <a:lnTo>
                  <a:pt x="384" y="390"/>
                </a:lnTo>
                <a:lnTo>
                  <a:pt x="384" y="390"/>
                </a:lnTo>
                <a:lnTo>
                  <a:pt x="384" y="390"/>
                </a:lnTo>
                <a:lnTo>
                  <a:pt x="384" y="396"/>
                </a:lnTo>
                <a:lnTo>
                  <a:pt x="384" y="396"/>
                </a:lnTo>
                <a:lnTo>
                  <a:pt x="384" y="396"/>
                </a:lnTo>
                <a:lnTo>
                  <a:pt x="384" y="402"/>
                </a:lnTo>
                <a:lnTo>
                  <a:pt x="384" y="408"/>
                </a:lnTo>
                <a:lnTo>
                  <a:pt x="384" y="414"/>
                </a:lnTo>
                <a:lnTo>
                  <a:pt x="384" y="414"/>
                </a:lnTo>
                <a:lnTo>
                  <a:pt x="378" y="414"/>
                </a:lnTo>
                <a:lnTo>
                  <a:pt x="378" y="414"/>
                </a:lnTo>
                <a:lnTo>
                  <a:pt x="378" y="414"/>
                </a:lnTo>
                <a:lnTo>
                  <a:pt x="378" y="414"/>
                </a:lnTo>
                <a:lnTo>
                  <a:pt x="378" y="414"/>
                </a:lnTo>
                <a:lnTo>
                  <a:pt x="378" y="414"/>
                </a:lnTo>
                <a:lnTo>
                  <a:pt x="378" y="420"/>
                </a:lnTo>
                <a:lnTo>
                  <a:pt x="378" y="420"/>
                </a:lnTo>
                <a:lnTo>
                  <a:pt x="372" y="420"/>
                </a:lnTo>
                <a:lnTo>
                  <a:pt x="372" y="420"/>
                </a:lnTo>
                <a:lnTo>
                  <a:pt x="372" y="420"/>
                </a:lnTo>
                <a:lnTo>
                  <a:pt x="372" y="420"/>
                </a:lnTo>
                <a:lnTo>
                  <a:pt x="372" y="420"/>
                </a:lnTo>
                <a:lnTo>
                  <a:pt x="366" y="420"/>
                </a:lnTo>
                <a:lnTo>
                  <a:pt x="366" y="420"/>
                </a:lnTo>
                <a:lnTo>
                  <a:pt x="366" y="420"/>
                </a:lnTo>
                <a:lnTo>
                  <a:pt x="366" y="414"/>
                </a:lnTo>
                <a:lnTo>
                  <a:pt x="366" y="420"/>
                </a:lnTo>
                <a:lnTo>
                  <a:pt x="366" y="420"/>
                </a:lnTo>
                <a:lnTo>
                  <a:pt x="360" y="420"/>
                </a:lnTo>
                <a:lnTo>
                  <a:pt x="360" y="420"/>
                </a:lnTo>
                <a:lnTo>
                  <a:pt x="360" y="420"/>
                </a:lnTo>
                <a:lnTo>
                  <a:pt x="360" y="420"/>
                </a:lnTo>
                <a:lnTo>
                  <a:pt x="360" y="420"/>
                </a:lnTo>
                <a:lnTo>
                  <a:pt x="360" y="420"/>
                </a:lnTo>
                <a:lnTo>
                  <a:pt x="354" y="420"/>
                </a:lnTo>
                <a:lnTo>
                  <a:pt x="354" y="420"/>
                </a:lnTo>
                <a:lnTo>
                  <a:pt x="354" y="420"/>
                </a:lnTo>
                <a:lnTo>
                  <a:pt x="348" y="426"/>
                </a:lnTo>
                <a:lnTo>
                  <a:pt x="348" y="426"/>
                </a:lnTo>
                <a:lnTo>
                  <a:pt x="354" y="426"/>
                </a:lnTo>
                <a:lnTo>
                  <a:pt x="354" y="426"/>
                </a:lnTo>
                <a:lnTo>
                  <a:pt x="354" y="426"/>
                </a:lnTo>
                <a:lnTo>
                  <a:pt x="354" y="432"/>
                </a:lnTo>
                <a:lnTo>
                  <a:pt x="348" y="432"/>
                </a:lnTo>
                <a:lnTo>
                  <a:pt x="348" y="432"/>
                </a:lnTo>
                <a:lnTo>
                  <a:pt x="348" y="432"/>
                </a:lnTo>
                <a:lnTo>
                  <a:pt x="348" y="438"/>
                </a:lnTo>
                <a:lnTo>
                  <a:pt x="342" y="438"/>
                </a:lnTo>
                <a:lnTo>
                  <a:pt x="342" y="438"/>
                </a:lnTo>
                <a:lnTo>
                  <a:pt x="336" y="438"/>
                </a:lnTo>
                <a:lnTo>
                  <a:pt x="336" y="438"/>
                </a:lnTo>
                <a:lnTo>
                  <a:pt x="336" y="444"/>
                </a:lnTo>
                <a:lnTo>
                  <a:pt x="330" y="444"/>
                </a:lnTo>
                <a:lnTo>
                  <a:pt x="330" y="444"/>
                </a:lnTo>
                <a:lnTo>
                  <a:pt x="330" y="438"/>
                </a:lnTo>
                <a:lnTo>
                  <a:pt x="330" y="438"/>
                </a:lnTo>
                <a:lnTo>
                  <a:pt x="330" y="438"/>
                </a:lnTo>
                <a:lnTo>
                  <a:pt x="330" y="438"/>
                </a:lnTo>
                <a:lnTo>
                  <a:pt x="330" y="444"/>
                </a:lnTo>
                <a:lnTo>
                  <a:pt x="324" y="444"/>
                </a:lnTo>
                <a:lnTo>
                  <a:pt x="324" y="444"/>
                </a:lnTo>
                <a:lnTo>
                  <a:pt x="324" y="444"/>
                </a:lnTo>
                <a:lnTo>
                  <a:pt x="324" y="450"/>
                </a:lnTo>
                <a:lnTo>
                  <a:pt x="324" y="450"/>
                </a:lnTo>
                <a:lnTo>
                  <a:pt x="318" y="450"/>
                </a:lnTo>
                <a:lnTo>
                  <a:pt x="318" y="450"/>
                </a:lnTo>
                <a:lnTo>
                  <a:pt x="318" y="450"/>
                </a:lnTo>
                <a:lnTo>
                  <a:pt x="312" y="450"/>
                </a:lnTo>
                <a:lnTo>
                  <a:pt x="312" y="450"/>
                </a:lnTo>
                <a:lnTo>
                  <a:pt x="312" y="450"/>
                </a:lnTo>
                <a:lnTo>
                  <a:pt x="312" y="450"/>
                </a:lnTo>
                <a:lnTo>
                  <a:pt x="312" y="450"/>
                </a:lnTo>
                <a:lnTo>
                  <a:pt x="306" y="450"/>
                </a:lnTo>
                <a:lnTo>
                  <a:pt x="306" y="456"/>
                </a:lnTo>
                <a:lnTo>
                  <a:pt x="306" y="456"/>
                </a:lnTo>
                <a:lnTo>
                  <a:pt x="306" y="456"/>
                </a:lnTo>
                <a:lnTo>
                  <a:pt x="306" y="456"/>
                </a:lnTo>
                <a:lnTo>
                  <a:pt x="306" y="462"/>
                </a:lnTo>
                <a:lnTo>
                  <a:pt x="306" y="462"/>
                </a:lnTo>
                <a:lnTo>
                  <a:pt x="300" y="462"/>
                </a:lnTo>
                <a:lnTo>
                  <a:pt x="300" y="462"/>
                </a:lnTo>
                <a:lnTo>
                  <a:pt x="300" y="462"/>
                </a:lnTo>
                <a:lnTo>
                  <a:pt x="300" y="462"/>
                </a:lnTo>
                <a:lnTo>
                  <a:pt x="300" y="462"/>
                </a:lnTo>
                <a:lnTo>
                  <a:pt x="294" y="462"/>
                </a:lnTo>
                <a:lnTo>
                  <a:pt x="294" y="468"/>
                </a:lnTo>
                <a:lnTo>
                  <a:pt x="294" y="468"/>
                </a:lnTo>
                <a:lnTo>
                  <a:pt x="294" y="468"/>
                </a:lnTo>
                <a:lnTo>
                  <a:pt x="294" y="468"/>
                </a:lnTo>
                <a:lnTo>
                  <a:pt x="294" y="474"/>
                </a:lnTo>
                <a:lnTo>
                  <a:pt x="294" y="474"/>
                </a:lnTo>
                <a:lnTo>
                  <a:pt x="294" y="474"/>
                </a:lnTo>
                <a:lnTo>
                  <a:pt x="300" y="474"/>
                </a:lnTo>
                <a:lnTo>
                  <a:pt x="300" y="474"/>
                </a:lnTo>
                <a:lnTo>
                  <a:pt x="300" y="474"/>
                </a:lnTo>
                <a:lnTo>
                  <a:pt x="300" y="480"/>
                </a:lnTo>
                <a:lnTo>
                  <a:pt x="294" y="480"/>
                </a:lnTo>
                <a:lnTo>
                  <a:pt x="300" y="480"/>
                </a:lnTo>
                <a:lnTo>
                  <a:pt x="300" y="480"/>
                </a:lnTo>
                <a:lnTo>
                  <a:pt x="300" y="480"/>
                </a:lnTo>
                <a:lnTo>
                  <a:pt x="300" y="480"/>
                </a:lnTo>
                <a:lnTo>
                  <a:pt x="306" y="480"/>
                </a:lnTo>
                <a:lnTo>
                  <a:pt x="306" y="486"/>
                </a:lnTo>
                <a:lnTo>
                  <a:pt x="306" y="486"/>
                </a:lnTo>
                <a:lnTo>
                  <a:pt x="306" y="486"/>
                </a:lnTo>
                <a:lnTo>
                  <a:pt x="306" y="486"/>
                </a:lnTo>
                <a:lnTo>
                  <a:pt x="306" y="486"/>
                </a:lnTo>
                <a:lnTo>
                  <a:pt x="306" y="492"/>
                </a:lnTo>
                <a:lnTo>
                  <a:pt x="306" y="492"/>
                </a:lnTo>
                <a:lnTo>
                  <a:pt x="312" y="492"/>
                </a:lnTo>
                <a:lnTo>
                  <a:pt x="312" y="492"/>
                </a:lnTo>
                <a:lnTo>
                  <a:pt x="306" y="492"/>
                </a:lnTo>
                <a:lnTo>
                  <a:pt x="306" y="492"/>
                </a:lnTo>
                <a:lnTo>
                  <a:pt x="312" y="492"/>
                </a:lnTo>
                <a:lnTo>
                  <a:pt x="312" y="492"/>
                </a:lnTo>
                <a:lnTo>
                  <a:pt x="312" y="498"/>
                </a:lnTo>
                <a:lnTo>
                  <a:pt x="312" y="498"/>
                </a:lnTo>
                <a:lnTo>
                  <a:pt x="312" y="498"/>
                </a:lnTo>
                <a:lnTo>
                  <a:pt x="312" y="498"/>
                </a:lnTo>
                <a:lnTo>
                  <a:pt x="312" y="498"/>
                </a:lnTo>
                <a:lnTo>
                  <a:pt x="312" y="498"/>
                </a:lnTo>
                <a:lnTo>
                  <a:pt x="312" y="498"/>
                </a:lnTo>
                <a:lnTo>
                  <a:pt x="318" y="498"/>
                </a:lnTo>
                <a:lnTo>
                  <a:pt x="318" y="504"/>
                </a:lnTo>
                <a:lnTo>
                  <a:pt x="318" y="504"/>
                </a:lnTo>
                <a:lnTo>
                  <a:pt x="318" y="504"/>
                </a:lnTo>
                <a:lnTo>
                  <a:pt x="318" y="510"/>
                </a:lnTo>
                <a:lnTo>
                  <a:pt x="318" y="510"/>
                </a:lnTo>
                <a:lnTo>
                  <a:pt x="312" y="510"/>
                </a:lnTo>
                <a:lnTo>
                  <a:pt x="318" y="516"/>
                </a:lnTo>
                <a:lnTo>
                  <a:pt x="318" y="516"/>
                </a:lnTo>
                <a:lnTo>
                  <a:pt x="318" y="516"/>
                </a:lnTo>
                <a:lnTo>
                  <a:pt x="318" y="516"/>
                </a:lnTo>
                <a:lnTo>
                  <a:pt x="312" y="516"/>
                </a:lnTo>
                <a:lnTo>
                  <a:pt x="312" y="516"/>
                </a:lnTo>
                <a:lnTo>
                  <a:pt x="312" y="522"/>
                </a:lnTo>
                <a:lnTo>
                  <a:pt x="312" y="522"/>
                </a:lnTo>
                <a:lnTo>
                  <a:pt x="312" y="522"/>
                </a:lnTo>
                <a:lnTo>
                  <a:pt x="312" y="522"/>
                </a:lnTo>
                <a:lnTo>
                  <a:pt x="312" y="522"/>
                </a:lnTo>
                <a:lnTo>
                  <a:pt x="312" y="522"/>
                </a:lnTo>
                <a:lnTo>
                  <a:pt x="312" y="522"/>
                </a:lnTo>
                <a:lnTo>
                  <a:pt x="312" y="522"/>
                </a:lnTo>
                <a:lnTo>
                  <a:pt x="306" y="516"/>
                </a:lnTo>
                <a:lnTo>
                  <a:pt x="306" y="516"/>
                </a:lnTo>
                <a:lnTo>
                  <a:pt x="306" y="516"/>
                </a:lnTo>
                <a:lnTo>
                  <a:pt x="306" y="516"/>
                </a:lnTo>
                <a:lnTo>
                  <a:pt x="306" y="516"/>
                </a:lnTo>
                <a:lnTo>
                  <a:pt x="306" y="516"/>
                </a:lnTo>
                <a:lnTo>
                  <a:pt x="300" y="516"/>
                </a:lnTo>
                <a:lnTo>
                  <a:pt x="300" y="516"/>
                </a:lnTo>
                <a:lnTo>
                  <a:pt x="300" y="522"/>
                </a:lnTo>
                <a:lnTo>
                  <a:pt x="300" y="522"/>
                </a:lnTo>
                <a:lnTo>
                  <a:pt x="300" y="522"/>
                </a:lnTo>
                <a:lnTo>
                  <a:pt x="300" y="528"/>
                </a:lnTo>
                <a:lnTo>
                  <a:pt x="300" y="528"/>
                </a:lnTo>
                <a:lnTo>
                  <a:pt x="300" y="528"/>
                </a:lnTo>
                <a:lnTo>
                  <a:pt x="300" y="528"/>
                </a:lnTo>
                <a:lnTo>
                  <a:pt x="300" y="528"/>
                </a:lnTo>
                <a:lnTo>
                  <a:pt x="294" y="534"/>
                </a:lnTo>
                <a:lnTo>
                  <a:pt x="294" y="534"/>
                </a:lnTo>
                <a:lnTo>
                  <a:pt x="294" y="534"/>
                </a:lnTo>
                <a:lnTo>
                  <a:pt x="288" y="528"/>
                </a:lnTo>
                <a:lnTo>
                  <a:pt x="288" y="528"/>
                </a:lnTo>
                <a:lnTo>
                  <a:pt x="288" y="528"/>
                </a:lnTo>
                <a:lnTo>
                  <a:pt x="288" y="528"/>
                </a:lnTo>
                <a:lnTo>
                  <a:pt x="288" y="528"/>
                </a:lnTo>
                <a:lnTo>
                  <a:pt x="282" y="534"/>
                </a:lnTo>
                <a:lnTo>
                  <a:pt x="282" y="534"/>
                </a:lnTo>
                <a:lnTo>
                  <a:pt x="282" y="534"/>
                </a:lnTo>
                <a:lnTo>
                  <a:pt x="282" y="540"/>
                </a:lnTo>
                <a:lnTo>
                  <a:pt x="282" y="540"/>
                </a:lnTo>
                <a:lnTo>
                  <a:pt x="282" y="540"/>
                </a:lnTo>
                <a:lnTo>
                  <a:pt x="282" y="540"/>
                </a:lnTo>
                <a:lnTo>
                  <a:pt x="282" y="546"/>
                </a:lnTo>
                <a:lnTo>
                  <a:pt x="282" y="546"/>
                </a:lnTo>
                <a:lnTo>
                  <a:pt x="282" y="546"/>
                </a:lnTo>
                <a:lnTo>
                  <a:pt x="282" y="546"/>
                </a:lnTo>
                <a:lnTo>
                  <a:pt x="288" y="546"/>
                </a:lnTo>
                <a:lnTo>
                  <a:pt x="288" y="546"/>
                </a:lnTo>
                <a:lnTo>
                  <a:pt x="288" y="546"/>
                </a:lnTo>
                <a:lnTo>
                  <a:pt x="294" y="552"/>
                </a:lnTo>
                <a:lnTo>
                  <a:pt x="294" y="552"/>
                </a:lnTo>
                <a:lnTo>
                  <a:pt x="294" y="552"/>
                </a:lnTo>
                <a:lnTo>
                  <a:pt x="300" y="552"/>
                </a:lnTo>
                <a:lnTo>
                  <a:pt x="300" y="558"/>
                </a:lnTo>
                <a:lnTo>
                  <a:pt x="300" y="552"/>
                </a:lnTo>
                <a:lnTo>
                  <a:pt x="306" y="558"/>
                </a:lnTo>
                <a:lnTo>
                  <a:pt x="306" y="558"/>
                </a:lnTo>
                <a:lnTo>
                  <a:pt x="306" y="558"/>
                </a:lnTo>
                <a:lnTo>
                  <a:pt x="312" y="558"/>
                </a:lnTo>
                <a:lnTo>
                  <a:pt x="312" y="558"/>
                </a:lnTo>
                <a:lnTo>
                  <a:pt x="312" y="564"/>
                </a:lnTo>
                <a:lnTo>
                  <a:pt x="312" y="564"/>
                </a:lnTo>
                <a:lnTo>
                  <a:pt x="312" y="564"/>
                </a:lnTo>
                <a:lnTo>
                  <a:pt x="312" y="564"/>
                </a:lnTo>
                <a:lnTo>
                  <a:pt x="312" y="564"/>
                </a:lnTo>
                <a:lnTo>
                  <a:pt x="306" y="570"/>
                </a:lnTo>
                <a:lnTo>
                  <a:pt x="306" y="570"/>
                </a:lnTo>
                <a:lnTo>
                  <a:pt x="306" y="570"/>
                </a:lnTo>
                <a:lnTo>
                  <a:pt x="306" y="570"/>
                </a:lnTo>
                <a:lnTo>
                  <a:pt x="300" y="576"/>
                </a:lnTo>
                <a:lnTo>
                  <a:pt x="300" y="576"/>
                </a:lnTo>
                <a:lnTo>
                  <a:pt x="300" y="576"/>
                </a:lnTo>
                <a:lnTo>
                  <a:pt x="300" y="576"/>
                </a:lnTo>
                <a:lnTo>
                  <a:pt x="306" y="576"/>
                </a:lnTo>
                <a:lnTo>
                  <a:pt x="306" y="582"/>
                </a:lnTo>
                <a:lnTo>
                  <a:pt x="306" y="582"/>
                </a:lnTo>
                <a:lnTo>
                  <a:pt x="306" y="588"/>
                </a:lnTo>
                <a:lnTo>
                  <a:pt x="300" y="588"/>
                </a:lnTo>
                <a:lnTo>
                  <a:pt x="300" y="588"/>
                </a:lnTo>
                <a:lnTo>
                  <a:pt x="300" y="594"/>
                </a:lnTo>
                <a:lnTo>
                  <a:pt x="300" y="594"/>
                </a:lnTo>
                <a:lnTo>
                  <a:pt x="306" y="594"/>
                </a:lnTo>
                <a:lnTo>
                  <a:pt x="300" y="594"/>
                </a:lnTo>
                <a:lnTo>
                  <a:pt x="306" y="600"/>
                </a:lnTo>
                <a:lnTo>
                  <a:pt x="306" y="600"/>
                </a:lnTo>
                <a:lnTo>
                  <a:pt x="306" y="600"/>
                </a:lnTo>
                <a:lnTo>
                  <a:pt x="306" y="600"/>
                </a:lnTo>
                <a:lnTo>
                  <a:pt x="306" y="600"/>
                </a:lnTo>
                <a:lnTo>
                  <a:pt x="312" y="600"/>
                </a:lnTo>
                <a:lnTo>
                  <a:pt x="312" y="600"/>
                </a:lnTo>
                <a:lnTo>
                  <a:pt x="306" y="606"/>
                </a:lnTo>
                <a:lnTo>
                  <a:pt x="312" y="606"/>
                </a:lnTo>
                <a:lnTo>
                  <a:pt x="306" y="606"/>
                </a:lnTo>
                <a:lnTo>
                  <a:pt x="306" y="606"/>
                </a:lnTo>
                <a:lnTo>
                  <a:pt x="306" y="606"/>
                </a:lnTo>
                <a:lnTo>
                  <a:pt x="306" y="606"/>
                </a:lnTo>
                <a:lnTo>
                  <a:pt x="306" y="606"/>
                </a:lnTo>
                <a:lnTo>
                  <a:pt x="306" y="612"/>
                </a:lnTo>
                <a:lnTo>
                  <a:pt x="306" y="612"/>
                </a:lnTo>
                <a:lnTo>
                  <a:pt x="306" y="612"/>
                </a:lnTo>
                <a:lnTo>
                  <a:pt x="300" y="612"/>
                </a:lnTo>
                <a:lnTo>
                  <a:pt x="300" y="612"/>
                </a:lnTo>
                <a:lnTo>
                  <a:pt x="300" y="612"/>
                </a:lnTo>
                <a:lnTo>
                  <a:pt x="300" y="612"/>
                </a:lnTo>
                <a:lnTo>
                  <a:pt x="300" y="612"/>
                </a:lnTo>
                <a:lnTo>
                  <a:pt x="306" y="618"/>
                </a:lnTo>
                <a:lnTo>
                  <a:pt x="306" y="618"/>
                </a:lnTo>
                <a:lnTo>
                  <a:pt x="306" y="618"/>
                </a:lnTo>
                <a:lnTo>
                  <a:pt x="306" y="618"/>
                </a:lnTo>
                <a:lnTo>
                  <a:pt x="306" y="618"/>
                </a:lnTo>
                <a:lnTo>
                  <a:pt x="306" y="624"/>
                </a:lnTo>
                <a:lnTo>
                  <a:pt x="312" y="624"/>
                </a:lnTo>
                <a:lnTo>
                  <a:pt x="312" y="624"/>
                </a:lnTo>
                <a:lnTo>
                  <a:pt x="312" y="624"/>
                </a:lnTo>
                <a:lnTo>
                  <a:pt x="312" y="624"/>
                </a:lnTo>
                <a:lnTo>
                  <a:pt x="312" y="624"/>
                </a:lnTo>
                <a:lnTo>
                  <a:pt x="318" y="630"/>
                </a:lnTo>
                <a:lnTo>
                  <a:pt x="318" y="630"/>
                </a:lnTo>
                <a:lnTo>
                  <a:pt x="318" y="630"/>
                </a:lnTo>
                <a:lnTo>
                  <a:pt x="318" y="636"/>
                </a:lnTo>
                <a:lnTo>
                  <a:pt x="318" y="636"/>
                </a:lnTo>
                <a:lnTo>
                  <a:pt x="318" y="636"/>
                </a:lnTo>
                <a:lnTo>
                  <a:pt x="318" y="636"/>
                </a:lnTo>
                <a:lnTo>
                  <a:pt x="324" y="636"/>
                </a:lnTo>
                <a:lnTo>
                  <a:pt x="324" y="636"/>
                </a:lnTo>
                <a:lnTo>
                  <a:pt x="324" y="642"/>
                </a:lnTo>
                <a:lnTo>
                  <a:pt x="324" y="636"/>
                </a:lnTo>
                <a:lnTo>
                  <a:pt x="324" y="636"/>
                </a:lnTo>
                <a:lnTo>
                  <a:pt x="324" y="648"/>
                </a:lnTo>
                <a:lnTo>
                  <a:pt x="330" y="648"/>
                </a:lnTo>
                <a:lnTo>
                  <a:pt x="330" y="648"/>
                </a:lnTo>
                <a:lnTo>
                  <a:pt x="330" y="648"/>
                </a:lnTo>
                <a:lnTo>
                  <a:pt x="330" y="654"/>
                </a:lnTo>
                <a:lnTo>
                  <a:pt x="330" y="654"/>
                </a:lnTo>
                <a:lnTo>
                  <a:pt x="324" y="654"/>
                </a:lnTo>
                <a:lnTo>
                  <a:pt x="324" y="660"/>
                </a:lnTo>
                <a:lnTo>
                  <a:pt x="324" y="660"/>
                </a:lnTo>
                <a:lnTo>
                  <a:pt x="318" y="660"/>
                </a:lnTo>
                <a:lnTo>
                  <a:pt x="318" y="660"/>
                </a:lnTo>
                <a:lnTo>
                  <a:pt x="324" y="660"/>
                </a:lnTo>
                <a:lnTo>
                  <a:pt x="324" y="660"/>
                </a:lnTo>
                <a:lnTo>
                  <a:pt x="324" y="660"/>
                </a:lnTo>
                <a:lnTo>
                  <a:pt x="324" y="666"/>
                </a:lnTo>
                <a:lnTo>
                  <a:pt x="324" y="666"/>
                </a:lnTo>
                <a:lnTo>
                  <a:pt x="324" y="666"/>
                </a:lnTo>
                <a:lnTo>
                  <a:pt x="324" y="666"/>
                </a:lnTo>
                <a:lnTo>
                  <a:pt x="324" y="666"/>
                </a:lnTo>
                <a:lnTo>
                  <a:pt x="324" y="666"/>
                </a:lnTo>
                <a:lnTo>
                  <a:pt x="324" y="666"/>
                </a:lnTo>
                <a:lnTo>
                  <a:pt x="324" y="666"/>
                </a:lnTo>
                <a:lnTo>
                  <a:pt x="324" y="666"/>
                </a:lnTo>
                <a:lnTo>
                  <a:pt x="330" y="666"/>
                </a:lnTo>
                <a:lnTo>
                  <a:pt x="330" y="672"/>
                </a:lnTo>
                <a:lnTo>
                  <a:pt x="324" y="672"/>
                </a:lnTo>
                <a:lnTo>
                  <a:pt x="324" y="672"/>
                </a:lnTo>
                <a:lnTo>
                  <a:pt x="330" y="672"/>
                </a:lnTo>
                <a:lnTo>
                  <a:pt x="330" y="672"/>
                </a:lnTo>
                <a:lnTo>
                  <a:pt x="330" y="678"/>
                </a:lnTo>
                <a:lnTo>
                  <a:pt x="330" y="678"/>
                </a:lnTo>
                <a:lnTo>
                  <a:pt x="336" y="678"/>
                </a:lnTo>
                <a:lnTo>
                  <a:pt x="336" y="678"/>
                </a:lnTo>
                <a:lnTo>
                  <a:pt x="336" y="678"/>
                </a:lnTo>
                <a:lnTo>
                  <a:pt x="336" y="684"/>
                </a:lnTo>
                <a:lnTo>
                  <a:pt x="336" y="684"/>
                </a:lnTo>
                <a:lnTo>
                  <a:pt x="336" y="684"/>
                </a:lnTo>
                <a:lnTo>
                  <a:pt x="342" y="690"/>
                </a:lnTo>
                <a:lnTo>
                  <a:pt x="336" y="690"/>
                </a:lnTo>
                <a:lnTo>
                  <a:pt x="336" y="690"/>
                </a:lnTo>
                <a:lnTo>
                  <a:pt x="342" y="690"/>
                </a:lnTo>
                <a:lnTo>
                  <a:pt x="342" y="690"/>
                </a:lnTo>
                <a:lnTo>
                  <a:pt x="342" y="690"/>
                </a:lnTo>
                <a:lnTo>
                  <a:pt x="342" y="696"/>
                </a:lnTo>
                <a:lnTo>
                  <a:pt x="342" y="696"/>
                </a:lnTo>
                <a:lnTo>
                  <a:pt x="342" y="696"/>
                </a:lnTo>
                <a:lnTo>
                  <a:pt x="342" y="696"/>
                </a:lnTo>
                <a:lnTo>
                  <a:pt x="342" y="696"/>
                </a:lnTo>
                <a:lnTo>
                  <a:pt x="342" y="696"/>
                </a:lnTo>
                <a:lnTo>
                  <a:pt x="336" y="696"/>
                </a:lnTo>
                <a:lnTo>
                  <a:pt x="336" y="702"/>
                </a:lnTo>
                <a:lnTo>
                  <a:pt x="342" y="702"/>
                </a:lnTo>
                <a:lnTo>
                  <a:pt x="342" y="702"/>
                </a:lnTo>
                <a:lnTo>
                  <a:pt x="336" y="702"/>
                </a:lnTo>
                <a:lnTo>
                  <a:pt x="336" y="702"/>
                </a:lnTo>
                <a:lnTo>
                  <a:pt x="336" y="702"/>
                </a:lnTo>
                <a:lnTo>
                  <a:pt x="336" y="708"/>
                </a:lnTo>
                <a:lnTo>
                  <a:pt x="336" y="708"/>
                </a:lnTo>
                <a:lnTo>
                  <a:pt x="336" y="708"/>
                </a:lnTo>
                <a:lnTo>
                  <a:pt x="336" y="708"/>
                </a:lnTo>
                <a:lnTo>
                  <a:pt x="342" y="708"/>
                </a:lnTo>
                <a:lnTo>
                  <a:pt x="336" y="714"/>
                </a:lnTo>
                <a:lnTo>
                  <a:pt x="342" y="714"/>
                </a:lnTo>
                <a:lnTo>
                  <a:pt x="342" y="714"/>
                </a:lnTo>
                <a:lnTo>
                  <a:pt x="342" y="714"/>
                </a:lnTo>
                <a:lnTo>
                  <a:pt x="342" y="720"/>
                </a:lnTo>
                <a:lnTo>
                  <a:pt x="342" y="714"/>
                </a:lnTo>
                <a:lnTo>
                  <a:pt x="342" y="714"/>
                </a:lnTo>
                <a:lnTo>
                  <a:pt x="342" y="714"/>
                </a:lnTo>
                <a:lnTo>
                  <a:pt x="342" y="714"/>
                </a:lnTo>
                <a:lnTo>
                  <a:pt x="342" y="720"/>
                </a:lnTo>
                <a:lnTo>
                  <a:pt x="342" y="720"/>
                </a:lnTo>
                <a:lnTo>
                  <a:pt x="348" y="720"/>
                </a:lnTo>
                <a:lnTo>
                  <a:pt x="348" y="720"/>
                </a:lnTo>
                <a:lnTo>
                  <a:pt x="348" y="720"/>
                </a:lnTo>
                <a:lnTo>
                  <a:pt x="342" y="720"/>
                </a:lnTo>
                <a:lnTo>
                  <a:pt x="342" y="720"/>
                </a:lnTo>
                <a:lnTo>
                  <a:pt x="348" y="726"/>
                </a:lnTo>
                <a:lnTo>
                  <a:pt x="348" y="726"/>
                </a:lnTo>
                <a:lnTo>
                  <a:pt x="348" y="726"/>
                </a:lnTo>
                <a:lnTo>
                  <a:pt x="348" y="732"/>
                </a:lnTo>
                <a:lnTo>
                  <a:pt x="348" y="732"/>
                </a:lnTo>
                <a:lnTo>
                  <a:pt x="348" y="732"/>
                </a:lnTo>
                <a:lnTo>
                  <a:pt x="348" y="732"/>
                </a:lnTo>
                <a:lnTo>
                  <a:pt x="348" y="738"/>
                </a:lnTo>
                <a:lnTo>
                  <a:pt x="354" y="738"/>
                </a:lnTo>
                <a:lnTo>
                  <a:pt x="354" y="738"/>
                </a:lnTo>
                <a:lnTo>
                  <a:pt x="354" y="738"/>
                </a:lnTo>
                <a:lnTo>
                  <a:pt x="354" y="744"/>
                </a:lnTo>
                <a:lnTo>
                  <a:pt x="348" y="744"/>
                </a:lnTo>
                <a:lnTo>
                  <a:pt x="354" y="744"/>
                </a:lnTo>
                <a:lnTo>
                  <a:pt x="354" y="744"/>
                </a:lnTo>
                <a:lnTo>
                  <a:pt x="348" y="750"/>
                </a:lnTo>
                <a:lnTo>
                  <a:pt x="348" y="750"/>
                </a:lnTo>
                <a:lnTo>
                  <a:pt x="348" y="750"/>
                </a:lnTo>
                <a:lnTo>
                  <a:pt x="348" y="750"/>
                </a:lnTo>
                <a:lnTo>
                  <a:pt x="342" y="756"/>
                </a:lnTo>
                <a:lnTo>
                  <a:pt x="342" y="756"/>
                </a:lnTo>
                <a:lnTo>
                  <a:pt x="342" y="756"/>
                </a:lnTo>
                <a:lnTo>
                  <a:pt x="342" y="756"/>
                </a:lnTo>
                <a:lnTo>
                  <a:pt x="342" y="756"/>
                </a:lnTo>
                <a:lnTo>
                  <a:pt x="342" y="762"/>
                </a:lnTo>
                <a:lnTo>
                  <a:pt x="348" y="762"/>
                </a:lnTo>
                <a:lnTo>
                  <a:pt x="348" y="762"/>
                </a:lnTo>
                <a:lnTo>
                  <a:pt x="348" y="762"/>
                </a:lnTo>
                <a:lnTo>
                  <a:pt x="348" y="762"/>
                </a:lnTo>
                <a:lnTo>
                  <a:pt x="348" y="762"/>
                </a:lnTo>
                <a:lnTo>
                  <a:pt x="348" y="768"/>
                </a:lnTo>
                <a:lnTo>
                  <a:pt x="354" y="768"/>
                </a:lnTo>
                <a:lnTo>
                  <a:pt x="354" y="768"/>
                </a:lnTo>
                <a:lnTo>
                  <a:pt x="354" y="768"/>
                </a:lnTo>
                <a:lnTo>
                  <a:pt x="354" y="774"/>
                </a:lnTo>
                <a:lnTo>
                  <a:pt x="354" y="774"/>
                </a:lnTo>
                <a:lnTo>
                  <a:pt x="354" y="774"/>
                </a:lnTo>
                <a:lnTo>
                  <a:pt x="354" y="774"/>
                </a:lnTo>
                <a:lnTo>
                  <a:pt x="354" y="774"/>
                </a:lnTo>
                <a:lnTo>
                  <a:pt x="348" y="774"/>
                </a:lnTo>
                <a:lnTo>
                  <a:pt x="348" y="774"/>
                </a:lnTo>
                <a:lnTo>
                  <a:pt x="348" y="774"/>
                </a:lnTo>
                <a:lnTo>
                  <a:pt x="348" y="774"/>
                </a:lnTo>
                <a:lnTo>
                  <a:pt x="348" y="780"/>
                </a:lnTo>
                <a:lnTo>
                  <a:pt x="354" y="780"/>
                </a:lnTo>
                <a:lnTo>
                  <a:pt x="354" y="786"/>
                </a:lnTo>
                <a:lnTo>
                  <a:pt x="354" y="786"/>
                </a:lnTo>
                <a:lnTo>
                  <a:pt x="354" y="786"/>
                </a:lnTo>
                <a:lnTo>
                  <a:pt x="354" y="786"/>
                </a:lnTo>
                <a:lnTo>
                  <a:pt x="360" y="792"/>
                </a:lnTo>
                <a:lnTo>
                  <a:pt x="354" y="792"/>
                </a:lnTo>
                <a:lnTo>
                  <a:pt x="354" y="798"/>
                </a:lnTo>
                <a:lnTo>
                  <a:pt x="354" y="798"/>
                </a:lnTo>
                <a:lnTo>
                  <a:pt x="354" y="798"/>
                </a:lnTo>
                <a:lnTo>
                  <a:pt x="354" y="798"/>
                </a:lnTo>
                <a:lnTo>
                  <a:pt x="354" y="798"/>
                </a:lnTo>
                <a:lnTo>
                  <a:pt x="354" y="798"/>
                </a:lnTo>
                <a:lnTo>
                  <a:pt x="348" y="804"/>
                </a:lnTo>
                <a:lnTo>
                  <a:pt x="348" y="804"/>
                </a:lnTo>
                <a:lnTo>
                  <a:pt x="354" y="804"/>
                </a:lnTo>
                <a:lnTo>
                  <a:pt x="354" y="804"/>
                </a:lnTo>
                <a:lnTo>
                  <a:pt x="348" y="804"/>
                </a:lnTo>
                <a:lnTo>
                  <a:pt x="348" y="804"/>
                </a:lnTo>
                <a:lnTo>
                  <a:pt x="348" y="804"/>
                </a:lnTo>
                <a:lnTo>
                  <a:pt x="354" y="810"/>
                </a:lnTo>
                <a:lnTo>
                  <a:pt x="354" y="810"/>
                </a:lnTo>
                <a:lnTo>
                  <a:pt x="354" y="810"/>
                </a:lnTo>
                <a:lnTo>
                  <a:pt x="348" y="810"/>
                </a:lnTo>
                <a:lnTo>
                  <a:pt x="348" y="810"/>
                </a:lnTo>
                <a:lnTo>
                  <a:pt x="348" y="810"/>
                </a:lnTo>
                <a:lnTo>
                  <a:pt x="348" y="810"/>
                </a:lnTo>
                <a:lnTo>
                  <a:pt x="342" y="810"/>
                </a:lnTo>
                <a:lnTo>
                  <a:pt x="342" y="810"/>
                </a:lnTo>
                <a:lnTo>
                  <a:pt x="342" y="810"/>
                </a:lnTo>
                <a:lnTo>
                  <a:pt x="336" y="810"/>
                </a:lnTo>
                <a:lnTo>
                  <a:pt x="336" y="816"/>
                </a:lnTo>
                <a:lnTo>
                  <a:pt x="342" y="816"/>
                </a:lnTo>
                <a:lnTo>
                  <a:pt x="342" y="822"/>
                </a:lnTo>
                <a:lnTo>
                  <a:pt x="342" y="822"/>
                </a:lnTo>
                <a:lnTo>
                  <a:pt x="342" y="822"/>
                </a:lnTo>
                <a:lnTo>
                  <a:pt x="342" y="822"/>
                </a:lnTo>
                <a:lnTo>
                  <a:pt x="342" y="822"/>
                </a:lnTo>
                <a:lnTo>
                  <a:pt x="342" y="822"/>
                </a:lnTo>
                <a:lnTo>
                  <a:pt x="342" y="822"/>
                </a:lnTo>
                <a:lnTo>
                  <a:pt x="342" y="828"/>
                </a:lnTo>
                <a:lnTo>
                  <a:pt x="342" y="828"/>
                </a:lnTo>
                <a:lnTo>
                  <a:pt x="342" y="828"/>
                </a:lnTo>
                <a:lnTo>
                  <a:pt x="342" y="840"/>
                </a:lnTo>
                <a:lnTo>
                  <a:pt x="336" y="840"/>
                </a:lnTo>
                <a:lnTo>
                  <a:pt x="336" y="840"/>
                </a:lnTo>
                <a:lnTo>
                  <a:pt x="336" y="840"/>
                </a:lnTo>
                <a:lnTo>
                  <a:pt x="336" y="846"/>
                </a:lnTo>
                <a:lnTo>
                  <a:pt x="336" y="846"/>
                </a:lnTo>
                <a:lnTo>
                  <a:pt x="336" y="846"/>
                </a:lnTo>
                <a:lnTo>
                  <a:pt x="336" y="846"/>
                </a:lnTo>
                <a:lnTo>
                  <a:pt x="336" y="852"/>
                </a:lnTo>
                <a:lnTo>
                  <a:pt x="336" y="852"/>
                </a:lnTo>
                <a:lnTo>
                  <a:pt x="336" y="852"/>
                </a:lnTo>
                <a:lnTo>
                  <a:pt x="342" y="852"/>
                </a:lnTo>
                <a:lnTo>
                  <a:pt x="342" y="858"/>
                </a:lnTo>
                <a:lnTo>
                  <a:pt x="342" y="858"/>
                </a:lnTo>
                <a:lnTo>
                  <a:pt x="336" y="858"/>
                </a:lnTo>
                <a:lnTo>
                  <a:pt x="336" y="858"/>
                </a:lnTo>
                <a:lnTo>
                  <a:pt x="336" y="858"/>
                </a:lnTo>
                <a:lnTo>
                  <a:pt x="336" y="858"/>
                </a:lnTo>
                <a:lnTo>
                  <a:pt x="336" y="858"/>
                </a:lnTo>
                <a:lnTo>
                  <a:pt x="336" y="858"/>
                </a:lnTo>
                <a:lnTo>
                  <a:pt x="336" y="864"/>
                </a:lnTo>
                <a:lnTo>
                  <a:pt x="330" y="864"/>
                </a:lnTo>
                <a:lnTo>
                  <a:pt x="330" y="864"/>
                </a:lnTo>
                <a:lnTo>
                  <a:pt x="336" y="864"/>
                </a:lnTo>
                <a:lnTo>
                  <a:pt x="336" y="864"/>
                </a:lnTo>
                <a:lnTo>
                  <a:pt x="336" y="870"/>
                </a:lnTo>
                <a:lnTo>
                  <a:pt x="342" y="870"/>
                </a:lnTo>
                <a:lnTo>
                  <a:pt x="342" y="870"/>
                </a:lnTo>
                <a:lnTo>
                  <a:pt x="342" y="870"/>
                </a:lnTo>
                <a:lnTo>
                  <a:pt x="342" y="870"/>
                </a:lnTo>
                <a:lnTo>
                  <a:pt x="342" y="876"/>
                </a:lnTo>
                <a:lnTo>
                  <a:pt x="348" y="876"/>
                </a:lnTo>
                <a:lnTo>
                  <a:pt x="348" y="876"/>
                </a:lnTo>
                <a:lnTo>
                  <a:pt x="348" y="876"/>
                </a:lnTo>
                <a:lnTo>
                  <a:pt x="348" y="876"/>
                </a:lnTo>
                <a:lnTo>
                  <a:pt x="348" y="882"/>
                </a:lnTo>
                <a:lnTo>
                  <a:pt x="348" y="882"/>
                </a:lnTo>
                <a:lnTo>
                  <a:pt x="348" y="882"/>
                </a:lnTo>
                <a:lnTo>
                  <a:pt x="348" y="888"/>
                </a:lnTo>
                <a:lnTo>
                  <a:pt x="348" y="894"/>
                </a:lnTo>
                <a:lnTo>
                  <a:pt x="354" y="894"/>
                </a:lnTo>
                <a:lnTo>
                  <a:pt x="354" y="900"/>
                </a:lnTo>
                <a:lnTo>
                  <a:pt x="354" y="900"/>
                </a:lnTo>
                <a:lnTo>
                  <a:pt x="354" y="900"/>
                </a:lnTo>
                <a:lnTo>
                  <a:pt x="348" y="900"/>
                </a:lnTo>
                <a:lnTo>
                  <a:pt x="354" y="906"/>
                </a:lnTo>
                <a:lnTo>
                  <a:pt x="354" y="906"/>
                </a:lnTo>
                <a:lnTo>
                  <a:pt x="354" y="906"/>
                </a:lnTo>
                <a:lnTo>
                  <a:pt x="348" y="906"/>
                </a:lnTo>
                <a:lnTo>
                  <a:pt x="348" y="906"/>
                </a:lnTo>
                <a:lnTo>
                  <a:pt x="348" y="906"/>
                </a:lnTo>
                <a:lnTo>
                  <a:pt x="348" y="906"/>
                </a:lnTo>
                <a:lnTo>
                  <a:pt x="342" y="912"/>
                </a:lnTo>
                <a:lnTo>
                  <a:pt x="342" y="912"/>
                </a:lnTo>
                <a:lnTo>
                  <a:pt x="342" y="912"/>
                </a:lnTo>
                <a:lnTo>
                  <a:pt x="336" y="912"/>
                </a:lnTo>
                <a:lnTo>
                  <a:pt x="336" y="912"/>
                </a:lnTo>
                <a:lnTo>
                  <a:pt x="336" y="912"/>
                </a:lnTo>
                <a:lnTo>
                  <a:pt x="336" y="912"/>
                </a:lnTo>
                <a:lnTo>
                  <a:pt x="336" y="912"/>
                </a:lnTo>
                <a:lnTo>
                  <a:pt x="336" y="912"/>
                </a:lnTo>
                <a:lnTo>
                  <a:pt x="336" y="918"/>
                </a:lnTo>
                <a:lnTo>
                  <a:pt x="336" y="918"/>
                </a:lnTo>
                <a:lnTo>
                  <a:pt x="330" y="918"/>
                </a:lnTo>
                <a:lnTo>
                  <a:pt x="330" y="918"/>
                </a:lnTo>
                <a:lnTo>
                  <a:pt x="330" y="918"/>
                </a:lnTo>
                <a:lnTo>
                  <a:pt x="324" y="918"/>
                </a:lnTo>
                <a:lnTo>
                  <a:pt x="324" y="924"/>
                </a:lnTo>
                <a:lnTo>
                  <a:pt x="324" y="924"/>
                </a:lnTo>
                <a:lnTo>
                  <a:pt x="324" y="930"/>
                </a:lnTo>
                <a:lnTo>
                  <a:pt x="324" y="930"/>
                </a:lnTo>
                <a:lnTo>
                  <a:pt x="264" y="930"/>
                </a:lnTo>
                <a:lnTo>
                  <a:pt x="198" y="924"/>
                </a:lnTo>
                <a:lnTo>
                  <a:pt x="132" y="918"/>
                </a:lnTo>
                <a:lnTo>
                  <a:pt x="132" y="912"/>
                </a:lnTo>
                <a:lnTo>
                  <a:pt x="132" y="912"/>
                </a:lnTo>
                <a:lnTo>
                  <a:pt x="126" y="912"/>
                </a:lnTo>
                <a:lnTo>
                  <a:pt x="126" y="912"/>
                </a:lnTo>
                <a:lnTo>
                  <a:pt x="126" y="912"/>
                </a:lnTo>
                <a:lnTo>
                  <a:pt x="126" y="906"/>
                </a:lnTo>
                <a:lnTo>
                  <a:pt x="120" y="906"/>
                </a:lnTo>
                <a:lnTo>
                  <a:pt x="126" y="900"/>
                </a:lnTo>
                <a:lnTo>
                  <a:pt x="120" y="900"/>
                </a:lnTo>
                <a:lnTo>
                  <a:pt x="120" y="894"/>
                </a:lnTo>
                <a:lnTo>
                  <a:pt x="120" y="894"/>
                </a:lnTo>
                <a:lnTo>
                  <a:pt x="120" y="888"/>
                </a:lnTo>
                <a:lnTo>
                  <a:pt x="114" y="888"/>
                </a:lnTo>
                <a:lnTo>
                  <a:pt x="114" y="888"/>
                </a:lnTo>
                <a:lnTo>
                  <a:pt x="114" y="888"/>
                </a:lnTo>
                <a:lnTo>
                  <a:pt x="114" y="888"/>
                </a:lnTo>
                <a:lnTo>
                  <a:pt x="114" y="888"/>
                </a:lnTo>
                <a:lnTo>
                  <a:pt x="114" y="888"/>
                </a:lnTo>
                <a:lnTo>
                  <a:pt x="114" y="882"/>
                </a:lnTo>
                <a:lnTo>
                  <a:pt x="120" y="882"/>
                </a:lnTo>
                <a:lnTo>
                  <a:pt x="120" y="882"/>
                </a:lnTo>
                <a:lnTo>
                  <a:pt x="114" y="876"/>
                </a:lnTo>
                <a:lnTo>
                  <a:pt x="114" y="876"/>
                </a:lnTo>
                <a:lnTo>
                  <a:pt x="120" y="876"/>
                </a:lnTo>
                <a:lnTo>
                  <a:pt x="120" y="876"/>
                </a:lnTo>
                <a:lnTo>
                  <a:pt x="120" y="876"/>
                </a:lnTo>
                <a:lnTo>
                  <a:pt x="120" y="876"/>
                </a:lnTo>
                <a:lnTo>
                  <a:pt x="120" y="876"/>
                </a:lnTo>
                <a:lnTo>
                  <a:pt x="120" y="876"/>
                </a:lnTo>
                <a:lnTo>
                  <a:pt x="120" y="876"/>
                </a:lnTo>
                <a:lnTo>
                  <a:pt x="126" y="870"/>
                </a:lnTo>
                <a:lnTo>
                  <a:pt x="126" y="870"/>
                </a:lnTo>
                <a:lnTo>
                  <a:pt x="126" y="870"/>
                </a:lnTo>
                <a:lnTo>
                  <a:pt x="120" y="870"/>
                </a:lnTo>
                <a:lnTo>
                  <a:pt x="120" y="870"/>
                </a:lnTo>
                <a:lnTo>
                  <a:pt x="114" y="864"/>
                </a:lnTo>
                <a:lnTo>
                  <a:pt x="114" y="864"/>
                </a:lnTo>
                <a:lnTo>
                  <a:pt x="114" y="864"/>
                </a:lnTo>
                <a:lnTo>
                  <a:pt x="108" y="858"/>
                </a:lnTo>
                <a:lnTo>
                  <a:pt x="108" y="858"/>
                </a:lnTo>
                <a:lnTo>
                  <a:pt x="108" y="858"/>
                </a:lnTo>
                <a:lnTo>
                  <a:pt x="108" y="858"/>
                </a:lnTo>
                <a:lnTo>
                  <a:pt x="108" y="858"/>
                </a:lnTo>
                <a:lnTo>
                  <a:pt x="102" y="858"/>
                </a:lnTo>
                <a:lnTo>
                  <a:pt x="102" y="858"/>
                </a:lnTo>
                <a:lnTo>
                  <a:pt x="96" y="858"/>
                </a:lnTo>
                <a:lnTo>
                  <a:pt x="96" y="858"/>
                </a:lnTo>
                <a:lnTo>
                  <a:pt x="96" y="858"/>
                </a:lnTo>
                <a:lnTo>
                  <a:pt x="96" y="858"/>
                </a:lnTo>
                <a:lnTo>
                  <a:pt x="96" y="852"/>
                </a:lnTo>
                <a:lnTo>
                  <a:pt x="90" y="852"/>
                </a:lnTo>
                <a:lnTo>
                  <a:pt x="84" y="858"/>
                </a:lnTo>
                <a:lnTo>
                  <a:pt x="84" y="852"/>
                </a:lnTo>
                <a:lnTo>
                  <a:pt x="78" y="852"/>
                </a:lnTo>
                <a:lnTo>
                  <a:pt x="78" y="852"/>
                </a:lnTo>
                <a:lnTo>
                  <a:pt x="78" y="852"/>
                </a:lnTo>
                <a:lnTo>
                  <a:pt x="78" y="852"/>
                </a:lnTo>
                <a:lnTo>
                  <a:pt x="78" y="852"/>
                </a:lnTo>
                <a:lnTo>
                  <a:pt x="78" y="852"/>
                </a:lnTo>
                <a:lnTo>
                  <a:pt x="72" y="852"/>
                </a:lnTo>
                <a:lnTo>
                  <a:pt x="72" y="852"/>
                </a:lnTo>
                <a:lnTo>
                  <a:pt x="72" y="852"/>
                </a:lnTo>
                <a:lnTo>
                  <a:pt x="66" y="852"/>
                </a:lnTo>
                <a:lnTo>
                  <a:pt x="66" y="852"/>
                </a:lnTo>
                <a:lnTo>
                  <a:pt x="66" y="846"/>
                </a:lnTo>
                <a:lnTo>
                  <a:pt x="66" y="846"/>
                </a:lnTo>
                <a:lnTo>
                  <a:pt x="66" y="846"/>
                </a:lnTo>
                <a:lnTo>
                  <a:pt x="66" y="846"/>
                </a:lnTo>
                <a:lnTo>
                  <a:pt x="66" y="846"/>
                </a:lnTo>
                <a:lnTo>
                  <a:pt x="60" y="846"/>
                </a:lnTo>
                <a:lnTo>
                  <a:pt x="60" y="846"/>
                </a:lnTo>
                <a:lnTo>
                  <a:pt x="60" y="840"/>
                </a:lnTo>
                <a:lnTo>
                  <a:pt x="60" y="840"/>
                </a:lnTo>
                <a:lnTo>
                  <a:pt x="60" y="840"/>
                </a:lnTo>
                <a:lnTo>
                  <a:pt x="60" y="834"/>
                </a:lnTo>
                <a:lnTo>
                  <a:pt x="60" y="834"/>
                </a:lnTo>
                <a:lnTo>
                  <a:pt x="60" y="834"/>
                </a:lnTo>
                <a:lnTo>
                  <a:pt x="60" y="834"/>
                </a:lnTo>
                <a:lnTo>
                  <a:pt x="60" y="828"/>
                </a:lnTo>
                <a:lnTo>
                  <a:pt x="60" y="828"/>
                </a:lnTo>
                <a:lnTo>
                  <a:pt x="60" y="828"/>
                </a:lnTo>
                <a:lnTo>
                  <a:pt x="60" y="828"/>
                </a:lnTo>
                <a:lnTo>
                  <a:pt x="54" y="828"/>
                </a:lnTo>
                <a:lnTo>
                  <a:pt x="54" y="828"/>
                </a:lnTo>
                <a:lnTo>
                  <a:pt x="54" y="828"/>
                </a:lnTo>
                <a:lnTo>
                  <a:pt x="54" y="828"/>
                </a:lnTo>
                <a:lnTo>
                  <a:pt x="48" y="828"/>
                </a:lnTo>
                <a:lnTo>
                  <a:pt x="48" y="822"/>
                </a:lnTo>
                <a:lnTo>
                  <a:pt x="54" y="822"/>
                </a:lnTo>
                <a:lnTo>
                  <a:pt x="54" y="822"/>
                </a:lnTo>
                <a:lnTo>
                  <a:pt x="54" y="816"/>
                </a:lnTo>
                <a:lnTo>
                  <a:pt x="48" y="816"/>
                </a:lnTo>
                <a:lnTo>
                  <a:pt x="48" y="816"/>
                </a:lnTo>
                <a:lnTo>
                  <a:pt x="48" y="816"/>
                </a:lnTo>
                <a:lnTo>
                  <a:pt x="48" y="810"/>
                </a:lnTo>
                <a:lnTo>
                  <a:pt x="48" y="810"/>
                </a:lnTo>
                <a:lnTo>
                  <a:pt x="48" y="810"/>
                </a:lnTo>
                <a:lnTo>
                  <a:pt x="48" y="810"/>
                </a:lnTo>
                <a:lnTo>
                  <a:pt x="48" y="810"/>
                </a:lnTo>
                <a:lnTo>
                  <a:pt x="54" y="810"/>
                </a:lnTo>
                <a:lnTo>
                  <a:pt x="54" y="810"/>
                </a:lnTo>
                <a:lnTo>
                  <a:pt x="60" y="810"/>
                </a:lnTo>
                <a:lnTo>
                  <a:pt x="60" y="810"/>
                </a:lnTo>
                <a:lnTo>
                  <a:pt x="60" y="810"/>
                </a:lnTo>
                <a:lnTo>
                  <a:pt x="60" y="810"/>
                </a:lnTo>
                <a:lnTo>
                  <a:pt x="60" y="810"/>
                </a:lnTo>
                <a:lnTo>
                  <a:pt x="60" y="810"/>
                </a:lnTo>
                <a:lnTo>
                  <a:pt x="60" y="816"/>
                </a:lnTo>
                <a:lnTo>
                  <a:pt x="66" y="816"/>
                </a:lnTo>
                <a:lnTo>
                  <a:pt x="66" y="816"/>
                </a:lnTo>
                <a:lnTo>
                  <a:pt x="66" y="816"/>
                </a:lnTo>
                <a:lnTo>
                  <a:pt x="72" y="816"/>
                </a:lnTo>
                <a:lnTo>
                  <a:pt x="72" y="816"/>
                </a:lnTo>
                <a:lnTo>
                  <a:pt x="72" y="816"/>
                </a:lnTo>
                <a:lnTo>
                  <a:pt x="72" y="816"/>
                </a:lnTo>
                <a:lnTo>
                  <a:pt x="72" y="810"/>
                </a:lnTo>
                <a:lnTo>
                  <a:pt x="72" y="810"/>
                </a:lnTo>
                <a:lnTo>
                  <a:pt x="72" y="810"/>
                </a:lnTo>
                <a:lnTo>
                  <a:pt x="72" y="810"/>
                </a:lnTo>
                <a:lnTo>
                  <a:pt x="66" y="804"/>
                </a:lnTo>
                <a:lnTo>
                  <a:pt x="66" y="804"/>
                </a:lnTo>
                <a:lnTo>
                  <a:pt x="66" y="804"/>
                </a:lnTo>
                <a:lnTo>
                  <a:pt x="60" y="798"/>
                </a:lnTo>
                <a:lnTo>
                  <a:pt x="60" y="798"/>
                </a:lnTo>
                <a:lnTo>
                  <a:pt x="60" y="798"/>
                </a:lnTo>
                <a:lnTo>
                  <a:pt x="60" y="798"/>
                </a:lnTo>
                <a:lnTo>
                  <a:pt x="60" y="798"/>
                </a:lnTo>
                <a:lnTo>
                  <a:pt x="60" y="798"/>
                </a:lnTo>
                <a:lnTo>
                  <a:pt x="60" y="792"/>
                </a:lnTo>
                <a:lnTo>
                  <a:pt x="60" y="792"/>
                </a:lnTo>
                <a:lnTo>
                  <a:pt x="60" y="792"/>
                </a:lnTo>
                <a:lnTo>
                  <a:pt x="60" y="792"/>
                </a:lnTo>
                <a:lnTo>
                  <a:pt x="60" y="786"/>
                </a:lnTo>
                <a:lnTo>
                  <a:pt x="60" y="786"/>
                </a:lnTo>
                <a:lnTo>
                  <a:pt x="60" y="786"/>
                </a:lnTo>
                <a:lnTo>
                  <a:pt x="60" y="786"/>
                </a:lnTo>
                <a:lnTo>
                  <a:pt x="60" y="786"/>
                </a:lnTo>
                <a:lnTo>
                  <a:pt x="54" y="780"/>
                </a:lnTo>
                <a:lnTo>
                  <a:pt x="54" y="780"/>
                </a:lnTo>
                <a:lnTo>
                  <a:pt x="54" y="780"/>
                </a:lnTo>
                <a:lnTo>
                  <a:pt x="54" y="780"/>
                </a:lnTo>
                <a:lnTo>
                  <a:pt x="54" y="774"/>
                </a:lnTo>
                <a:lnTo>
                  <a:pt x="54" y="774"/>
                </a:lnTo>
                <a:lnTo>
                  <a:pt x="54" y="774"/>
                </a:lnTo>
                <a:lnTo>
                  <a:pt x="54" y="774"/>
                </a:lnTo>
                <a:lnTo>
                  <a:pt x="60" y="774"/>
                </a:lnTo>
                <a:lnTo>
                  <a:pt x="54" y="768"/>
                </a:lnTo>
                <a:lnTo>
                  <a:pt x="54" y="768"/>
                </a:lnTo>
                <a:lnTo>
                  <a:pt x="54" y="768"/>
                </a:lnTo>
                <a:lnTo>
                  <a:pt x="54" y="768"/>
                </a:lnTo>
                <a:lnTo>
                  <a:pt x="54" y="768"/>
                </a:lnTo>
                <a:lnTo>
                  <a:pt x="54" y="768"/>
                </a:lnTo>
                <a:lnTo>
                  <a:pt x="54" y="762"/>
                </a:lnTo>
                <a:lnTo>
                  <a:pt x="54" y="762"/>
                </a:lnTo>
                <a:lnTo>
                  <a:pt x="54" y="762"/>
                </a:lnTo>
                <a:lnTo>
                  <a:pt x="54" y="762"/>
                </a:lnTo>
                <a:lnTo>
                  <a:pt x="54" y="762"/>
                </a:lnTo>
                <a:lnTo>
                  <a:pt x="54" y="756"/>
                </a:lnTo>
                <a:lnTo>
                  <a:pt x="54" y="756"/>
                </a:lnTo>
                <a:lnTo>
                  <a:pt x="54" y="756"/>
                </a:lnTo>
                <a:lnTo>
                  <a:pt x="54" y="756"/>
                </a:lnTo>
                <a:lnTo>
                  <a:pt x="54" y="756"/>
                </a:lnTo>
                <a:lnTo>
                  <a:pt x="54" y="750"/>
                </a:lnTo>
                <a:lnTo>
                  <a:pt x="54" y="750"/>
                </a:lnTo>
                <a:lnTo>
                  <a:pt x="54" y="750"/>
                </a:lnTo>
                <a:lnTo>
                  <a:pt x="54" y="750"/>
                </a:lnTo>
                <a:lnTo>
                  <a:pt x="54" y="750"/>
                </a:lnTo>
                <a:lnTo>
                  <a:pt x="54" y="744"/>
                </a:lnTo>
                <a:lnTo>
                  <a:pt x="54" y="744"/>
                </a:lnTo>
                <a:lnTo>
                  <a:pt x="54" y="744"/>
                </a:lnTo>
                <a:lnTo>
                  <a:pt x="54" y="738"/>
                </a:lnTo>
                <a:lnTo>
                  <a:pt x="54" y="738"/>
                </a:lnTo>
                <a:lnTo>
                  <a:pt x="54" y="738"/>
                </a:lnTo>
                <a:lnTo>
                  <a:pt x="54" y="738"/>
                </a:lnTo>
                <a:lnTo>
                  <a:pt x="54" y="738"/>
                </a:lnTo>
                <a:lnTo>
                  <a:pt x="54" y="732"/>
                </a:lnTo>
                <a:lnTo>
                  <a:pt x="60" y="732"/>
                </a:lnTo>
                <a:lnTo>
                  <a:pt x="60" y="732"/>
                </a:lnTo>
                <a:lnTo>
                  <a:pt x="66" y="732"/>
                </a:lnTo>
                <a:lnTo>
                  <a:pt x="60" y="726"/>
                </a:lnTo>
                <a:lnTo>
                  <a:pt x="66" y="726"/>
                </a:lnTo>
                <a:lnTo>
                  <a:pt x="66" y="726"/>
                </a:lnTo>
                <a:lnTo>
                  <a:pt x="66" y="726"/>
                </a:lnTo>
                <a:lnTo>
                  <a:pt x="66" y="720"/>
                </a:lnTo>
                <a:lnTo>
                  <a:pt x="66" y="726"/>
                </a:lnTo>
                <a:lnTo>
                  <a:pt x="66" y="720"/>
                </a:lnTo>
                <a:lnTo>
                  <a:pt x="66" y="720"/>
                </a:lnTo>
                <a:lnTo>
                  <a:pt x="60" y="720"/>
                </a:lnTo>
                <a:lnTo>
                  <a:pt x="66" y="720"/>
                </a:lnTo>
                <a:lnTo>
                  <a:pt x="66" y="720"/>
                </a:lnTo>
                <a:lnTo>
                  <a:pt x="66" y="720"/>
                </a:lnTo>
                <a:lnTo>
                  <a:pt x="66" y="720"/>
                </a:lnTo>
                <a:lnTo>
                  <a:pt x="66" y="714"/>
                </a:lnTo>
                <a:lnTo>
                  <a:pt x="66" y="714"/>
                </a:lnTo>
                <a:lnTo>
                  <a:pt x="66" y="714"/>
                </a:lnTo>
                <a:lnTo>
                  <a:pt x="72" y="714"/>
                </a:lnTo>
                <a:lnTo>
                  <a:pt x="72" y="714"/>
                </a:lnTo>
                <a:lnTo>
                  <a:pt x="72" y="708"/>
                </a:lnTo>
                <a:lnTo>
                  <a:pt x="72" y="708"/>
                </a:lnTo>
                <a:lnTo>
                  <a:pt x="72" y="708"/>
                </a:lnTo>
                <a:lnTo>
                  <a:pt x="72" y="708"/>
                </a:lnTo>
                <a:lnTo>
                  <a:pt x="72" y="702"/>
                </a:lnTo>
                <a:lnTo>
                  <a:pt x="72" y="702"/>
                </a:lnTo>
                <a:lnTo>
                  <a:pt x="72" y="702"/>
                </a:lnTo>
                <a:lnTo>
                  <a:pt x="72" y="702"/>
                </a:lnTo>
                <a:lnTo>
                  <a:pt x="72" y="696"/>
                </a:lnTo>
                <a:lnTo>
                  <a:pt x="78" y="696"/>
                </a:lnTo>
                <a:lnTo>
                  <a:pt x="84" y="696"/>
                </a:lnTo>
                <a:lnTo>
                  <a:pt x="78" y="690"/>
                </a:lnTo>
                <a:lnTo>
                  <a:pt x="78" y="690"/>
                </a:lnTo>
                <a:lnTo>
                  <a:pt x="78" y="690"/>
                </a:lnTo>
                <a:lnTo>
                  <a:pt x="78" y="684"/>
                </a:lnTo>
                <a:lnTo>
                  <a:pt x="78" y="684"/>
                </a:lnTo>
                <a:lnTo>
                  <a:pt x="72" y="684"/>
                </a:lnTo>
                <a:lnTo>
                  <a:pt x="72" y="678"/>
                </a:lnTo>
                <a:lnTo>
                  <a:pt x="66" y="678"/>
                </a:lnTo>
                <a:lnTo>
                  <a:pt x="66" y="678"/>
                </a:lnTo>
                <a:lnTo>
                  <a:pt x="66" y="678"/>
                </a:lnTo>
                <a:lnTo>
                  <a:pt x="66" y="672"/>
                </a:lnTo>
                <a:lnTo>
                  <a:pt x="66" y="672"/>
                </a:lnTo>
                <a:lnTo>
                  <a:pt x="72" y="672"/>
                </a:lnTo>
                <a:lnTo>
                  <a:pt x="72" y="672"/>
                </a:lnTo>
                <a:lnTo>
                  <a:pt x="72" y="672"/>
                </a:lnTo>
                <a:lnTo>
                  <a:pt x="72" y="672"/>
                </a:lnTo>
                <a:lnTo>
                  <a:pt x="72" y="672"/>
                </a:lnTo>
                <a:lnTo>
                  <a:pt x="72" y="666"/>
                </a:lnTo>
                <a:lnTo>
                  <a:pt x="72" y="666"/>
                </a:lnTo>
                <a:lnTo>
                  <a:pt x="72" y="672"/>
                </a:lnTo>
                <a:lnTo>
                  <a:pt x="72" y="672"/>
                </a:lnTo>
                <a:lnTo>
                  <a:pt x="72" y="672"/>
                </a:lnTo>
                <a:lnTo>
                  <a:pt x="72" y="666"/>
                </a:lnTo>
                <a:lnTo>
                  <a:pt x="72" y="666"/>
                </a:lnTo>
                <a:lnTo>
                  <a:pt x="72" y="666"/>
                </a:lnTo>
                <a:lnTo>
                  <a:pt x="72" y="666"/>
                </a:lnTo>
                <a:lnTo>
                  <a:pt x="72" y="666"/>
                </a:lnTo>
                <a:lnTo>
                  <a:pt x="72" y="660"/>
                </a:lnTo>
                <a:lnTo>
                  <a:pt x="72" y="654"/>
                </a:lnTo>
                <a:lnTo>
                  <a:pt x="72" y="654"/>
                </a:lnTo>
                <a:lnTo>
                  <a:pt x="72" y="654"/>
                </a:lnTo>
                <a:lnTo>
                  <a:pt x="72" y="654"/>
                </a:lnTo>
                <a:lnTo>
                  <a:pt x="72" y="654"/>
                </a:lnTo>
                <a:lnTo>
                  <a:pt x="72" y="648"/>
                </a:lnTo>
                <a:lnTo>
                  <a:pt x="66" y="648"/>
                </a:lnTo>
                <a:lnTo>
                  <a:pt x="66" y="654"/>
                </a:lnTo>
                <a:lnTo>
                  <a:pt x="60" y="654"/>
                </a:lnTo>
                <a:lnTo>
                  <a:pt x="60" y="648"/>
                </a:lnTo>
                <a:lnTo>
                  <a:pt x="60" y="648"/>
                </a:lnTo>
                <a:lnTo>
                  <a:pt x="60" y="648"/>
                </a:lnTo>
                <a:lnTo>
                  <a:pt x="60" y="648"/>
                </a:lnTo>
                <a:lnTo>
                  <a:pt x="60" y="648"/>
                </a:lnTo>
                <a:lnTo>
                  <a:pt x="60" y="642"/>
                </a:lnTo>
                <a:lnTo>
                  <a:pt x="60" y="642"/>
                </a:lnTo>
                <a:lnTo>
                  <a:pt x="60" y="642"/>
                </a:lnTo>
                <a:lnTo>
                  <a:pt x="54" y="642"/>
                </a:lnTo>
                <a:lnTo>
                  <a:pt x="54" y="636"/>
                </a:lnTo>
                <a:lnTo>
                  <a:pt x="60" y="636"/>
                </a:lnTo>
                <a:lnTo>
                  <a:pt x="54" y="630"/>
                </a:lnTo>
                <a:lnTo>
                  <a:pt x="54" y="630"/>
                </a:lnTo>
                <a:lnTo>
                  <a:pt x="54" y="624"/>
                </a:lnTo>
                <a:lnTo>
                  <a:pt x="54" y="624"/>
                </a:lnTo>
                <a:lnTo>
                  <a:pt x="54" y="624"/>
                </a:lnTo>
                <a:lnTo>
                  <a:pt x="54" y="618"/>
                </a:lnTo>
                <a:lnTo>
                  <a:pt x="54" y="618"/>
                </a:lnTo>
                <a:lnTo>
                  <a:pt x="54" y="618"/>
                </a:lnTo>
                <a:lnTo>
                  <a:pt x="54" y="618"/>
                </a:lnTo>
                <a:lnTo>
                  <a:pt x="54" y="618"/>
                </a:lnTo>
                <a:lnTo>
                  <a:pt x="48" y="618"/>
                </a:lnTo>
                <a:lnTo>
                  <a:pt x="54" y="612"/>
                </a:lnTo>
                <a:lnTo>
                  <a:pt x="54" y="612"/>
                </a:lnTo>
                <a:lnTo>
                  <a:pt x="48" y="612"/>
                </a:lnTo>
                <a:lnTo>
                  <a:pt x="48" y="606"/>
                </a:lnTo>
                <a:lnTo>
                  <a:pt x="48" y="600"/>
                </a:lnTo>
                <a:lnTo>
                  <a:pt x="48" y="600"/>
                </a:lnTo>
                <a:lnTo>
                  <a:pt x="48" y="594"/>
                </a:lnTo>
                <a:lnTo>
                  <a:pt x="54" y="594"/>
                </a:lnTo>
                <a:lnTo>
                  <a:pt x="54" y="594"/>
                </a:lnTo>
                <a:lnTo>
                  <a:pt x="54" y="594"/>
                </a:lnTo>
                <a:lnTo>
                  <a:pt x="54" y="594"/>
                </a:lnTo>
                <a:lnTo>
                  <a:pt x="48" y="588"/>
                </a:lnTo>
                <a:lnTo>
                  <a:pt x="48" y="588"/>
                </a:lnTo>
                <a:lnTo>
                  <a:pt x="48" y="588"/>
                </a:lnTo>
                <a:lnTo>
                  <a:pt x="48" y="582"/>
                </a:lnTo>
                <a:lnTo>
                  <a:pt x="48" y="582"/>
                </a:lnTo>
                <a:lnTo>
                  <a:pt x="54" y="582"/>
                </a:lnTo>
                <a:lnTo>
                  <a:pt x="54" y="582"/>
                </a:lnTo>
                <a:lnTo>
                  <a:pt x="54" y="582"/>
                </a:lnTo>
                <a:lnTo>
                  <a:pt x="54" y="576"/>
                </a:lnTo>
                <a:lnTo>
                  <a:pt x="54" y="576"/>
                </a:lnTo>
                <a:lnTo>
                  <a:pt x="54" y="576"/>
                </a:lnTo>
                <a:lnTo>
                  <a:pt x="54" y="576"/>
                </a:lnTo>
                <a:lnTo>
                  <a:pt x="54" y="576"/>
                </a:lnTo>
                <a:lnTo>
                  <a:pt x="54" y="570"/>
                </a:lnTo>
                <a:lnTo>
                  <a:pt x="54" y="570"/>
                </a:lnTo>
                <a:lnTo>
                  <a:pt x="54" y="570"/>
                </a:lnTo>
                <a:lnTo>
                  <a:pt x="54" y="570"/>
                </a:lnTo>
                <a:lnTo>
                  <a:pt x="54" y="570"/>
                </a:lnTo>
                <a:lnTo>
                  <a:pt x="54" y="570"/>
                </a:lnTo>
                <a:lnTo>
                  <a:pt x="54" y="564"/>
                </a:lnTo>
                <a:lnTo>
                  <a:pt x="54" y="564"/>
                </a:lnTo>
                <a:lnTo>
                  <a:pt x="54" y="558"/>
                </a:lnTo>
                <a:lnTo>
                  <a:pt x="54" y="558"/>
                </a:lnTo>
                <a:lnTo>
                  <a:pt x="54" y="558"/>
                </a:lnTo>
                <a:lnTo>
                  <a:pt x="54" y="558"/>
                </a:lnTo>
                <a:lnTo>
                  <a:pt x="60" y="558"/>
                </a:lnTo>
                <a:lnTo>
                  <a:pt x="60" y="558"/>
                </a:lnTo>
                <a:lnTo>
                  <a:pt x="60" y="552"/>
                </a:lnTo>
                <a:lnTo>
                  <a:pt x="60" y="552"/>
                </a:lnTo>
                <a:lnTo>
                  <a:pt x="60" y="552"/>
                </a:lnTo>
                <a:lnTo>
                  <a:pt x="60" y="552"/>
                </a:lnTo>
                <a:lnTo>
                  <a:pt x="60" y="546"/>
                </a:lnTo>
                <a:lnTo>
                  <a:pt x="60" y="546"/>
                </a:lnTo>
                <a:lnTo>
                  <a:pt x="60" y="540"/>
                </a:lnTo>
                <a:lnTo>
                  <a:pt x="60" y="540"/>
                </a:lnTo>
                <a:lnTo>
                  <a:pt x="60" y="540"/>
                </a:lnTo>
                <a:lnTo>
                  <a:pt x="60" y="540"/>
                </a:lnTo>
                <a:lnTo>
                  <a:pt x="60" y="534"/>
                </a:lnTo>
                <a:lnTo>
                  <a:pt x="60" y="534"/>
                </a:lnTo>
                <a:lnTo>
                  <a:pt x="60" y="534"/>
                </a:lnTo>
                <a:lnTo>
                  <a:pt x="54" y="534"/>
                </a:lnTo>
                <a:lnTo>
                  <a:pt x="54" y="534"/>
                </a:lnTo>
                <a:lnTo>
                  <a:pt x="54" y="534"/>
                </a:lnTo>
                <a:lnTo>
                  <a:pt x="60" y="534"/>
                </a:lnTo>
                <a:lnTo>
                  <a:pt x="60" y="528"/>
                </a:lnTo>
                <a:lnTo>
                  <a:pt x="54" y="528"/>
                </a:lnTo>
                <a:lnTo>
                  <a:pt x="54" y="528"/>
                </a:lnTo>
                <a:lnTo>
                  <a:pt x="54" y="528"/>
                </a:lnTo>
                <a:lnTo>
                  <a:pt x="54" y="528"/>
                </a:lnTo>
                <a:lnTo>
                  <a:pt x="54" y="522"/>
                </a:lnTo>
                <a:lnTo>
                  <a:pt x="54" y="522"/>
                </a:lnTo>
                <a:lnTo>
                  <a:pt x="54" y="522"/>
                </a:lnTo>
                <a:lnTo>
                  <a:pt x="54" y="522"/>
                </a:lnTo>
                <a:lnTo>
                  <a:pt x="54" y="522"/>
                </a:lnTo>
                <a:lnTo>
                  <a:pt x="54" y="522"/>
                </a:lnTo>
                <a:lnTo>
                  <a:pt x="48" y="516"/>
                </a:lnTo>
                <a:lnTo>
                  <a:pt x="48" y="516"/>
                </a:lnTo>
                <a:lnTo>
                  <a:pt x="48" y="516"/>
                </a:lnTo>
                <a:lnTo>
                  <a:pt x="48" y="516"/>
                </a:lnTo>
                <a:lnTo>
                  <a:pt x="54" y="510"/>
                </a:lnTo>
                <a:lnTo>
                  <a:pt x="48" y="510"/>
                </a:lnTo>
                <a:lnTo>
                  <a:pt x="48" y="510"/>
                </a:lnTo>
                <a:lnTo>
                  <a:pt x="48" y="510"/>
                </a:lnTo>
                <a:lnTo>
                  <a:pt x="48" y="510"/>
                </a:lnTo>
                <a:lnTo>
                  <a:pt x="48" y="504"/>
                </a:lnTo>
                <a:lnTo>
                  <a:pt x="48" y="504"/>
                </a:lnTo>
                <a:lnTo>
                  <a:pt x="48" y="504"/>
                </a:lnTo>
                <a:lnTo>
                  <a:pt x="48" y="504"/>
                </a:lnTo>
                <a:lnTo>
                  <a:pt x="48" y="504"/>
                </a:lnTo>
                <a:lnTo>
                  <a:pt x="48" y="498"/>
                </a:lnTo>
                <a:lnTo>
                  <a:pt x="48" y="498"/>
                </a:lnTo>
                <a:lnTo>
                  <a:pt x="42" y="498"/>
                </a:lnTo>
                <a:lnTo>
                  <a:pt x="42" y="492"/>
                </a:lnTo>
                <a:lnTo>
                  <a:pt x="42" y="492"/>
                </a:lnTo>
                <a:lnTo>
                  <a:pt x="42" y="492"/>
                </a:lnTo>
                <a:lnTo>
                  <a:pt x="36" y="492"/>
                </a:lnTo>
                <a:lnTo>
                  <a:pt x="36" y="486"/>
                </a:lnTo>
                <a:lnTo>
                  <a:pt x="36" y="480"/>
                </a:lnTo>
                <a:lnTo>
                  <a:pt x="42" y="480"/>
                </a:lnTo>
                <a:lnTo>
                  <a:pt x="42" y="480"/>
                </a:lnTo>
                <a:lnTo>
                  <a:pt x="42" y="480"/>
                </a:lnTo>
                <a:lnTo>
                  <a:pt x="42" y="480"/>
                </a:lnTo>
                <a:lnTo>
                  <a:pt x="42" y="480"/>
                </a:lnTo>
                <a:lnTo>
                  <a:pt x="42" y="474"/>
                </a:lnTo>
                <a:lnTo>
                  <a:pt x="42" y="474"/>
                </a:lnTo>
                <a:lnTo>
                  <a:pt x="42" y="474"/>
                </a:lnTo>
                <a:lnTo>
                  <a:pt x="42" y="474"/>
                </a:lnTo>
                <a:lnTo>
                  <a:pt x="42" y="474"/>
                </a:lnTo>
                <a:lnTo>
                  <a:pt x="42" y="474"/>
                </a:lnTo>
                <a:lnTo>
                  <a:pt x="42" y="474"/>
                </a:lnTo>
                <a:lnTo>
                  <a:pt x="42" y="474"/>
                </a:lnTo>
                <a:lnTo>
                  <a:pt x="42" y="474"/>
                </a:lnTo>
                <a:lnTo>
                  <a:pt x="36" y="474"/>
                </a:lnTo>
                <a:lnTo>
                  <a:pt x="36" y="468"/>
                </a:lnTo>
                <a:lnTo>
                  <a:pt x="36" y="468"/>
                </a:lnTo>
                <a:lnTo>
                  <a:pt x="42" y="468"/>
                </a:lnTo>
                <a:lnTo>
                  <a:pt x="42" y="462"/>
                </a:lnTo>
                <a:lnTo>
                  <a:pt x="42" y="462"/>
                </a:lnTo>
                <a:lnTo>
                  <a:pt x="42" y="462"/>
                </a:lnTo>
                <a:lnTo>
                  <a:pt x="42" y="462"/>
                </a:lnTo>
                <a:lnTo>
                  <a:pt x="42" y="462"/>
                </a:lnTo>
                <a:lnTo>
                  <a:pt x="42" y="462"/>
                </a:lnTo>
                <a:lnTo>
                  <a:pt x="42" y="462"/>
                </a:lnTo>
                <a:lnTo>
                  <a:pt x="42" y="462"/>
                </a:lnTo>
                <a:lnTo>
                  <a:pt x="42" y="462"/>
                </a:lnTo>
                <a:lnTo>
                  <a:pt x="42" y="462"/>
                </a:lnTo>
                <a:lnTo>
                  <a:pt x="48" y="468"/>
                </a:lnTo>
                <a:lnTo>
                  <a:pt x="48" y="468"/>
                </a:lnTo>
                <a:lnTo>
                  <a:pt x="48" y="468"/>
                </a:lnTo>
                <a:lnTo>
                  <a:pt x="48" y="468"/>
                </a:lnTo>
                <a:lnTo>
                  <a:pt x="48" y="468"/>
                </a:lnTo>
                <a:lnTo>
                  <a:pt x="54" y="468"/>
                </a:lnTo>
                <a:lnTo>
                  <a:pt x="54" y="468"/>
                </a:lnTo>
                <a:lnTo>
                  <a:pt x="54" y="468"/>
                </a:lnTo>
                <a:lnTo>
                  <a:pt x="54" y="468"/>
                </a:lnTo>
                <a:lnTo>
                  <a:pt x="54" y="468"/>
                </a:lnTo>
                <a:lnTo>
                  <a:pt x="60" y="468"/>
                </a:lnTo>
                <a:lnTo>
                  <a:pt x="60" y="468"/>
                </a:lnTo>
                <a:lnTo>
                  <a:pt x="60" y="468"/>
                </a:lnTo>
                <a:lnTo>
                  <a:pt x="60" y="468"/>
                </a:lnTo>
                <a:lnTo>
                  <a:pt x="60" y="468"/>
                </a:lnTo>
                <a:lnTo>
                  <a:pt x="60" y="462"/>
                </a:lnTo>
                <a:lnTo>
                  <a:pt x="66" y="462"/>
                </a:lnTo>
                <a:lnTo>
                  <a:pt x="66" y="462"/>
                </a:lnTo>
                <a:lnTo>
                  <a:pt x="66" y="462"/>
                </a:lnTo>
                <a:lnTo>
                  <a:pt x="66" y="462"/>
                </a:lnTo>
                <a:lnTo>
                  <a:pt x="66" y="462"/>
                </a:lnTo>
                <a:lnTo>
                  <a:pt x="72" y="456"/>
                </a:lnTo>
                <a:lnTo>
                  <a:pt x="72" y="456"/>
                </a:lnTo>
                <a:lnTo>
                  <a:pt x="72" y="462"/>
                </a:lnTo>
                <a:lnTo>
                  <a:pt x="78" y="462"/>
                </a:lnTo>
                <a:lnTo>
                  <a:pt x="78" y="456"/>
                </a:lnTo>
                <a:lnTo>
                  <a:pt x="78" y="456"/>
                </a:lnTo>
                <a:lnTo>
                  <a:pt x="78" y="456"/>
                </a:lnTo>
                <a:lnTo>
                  <a:pt x="78" y="456"/>
                </a:lnTo>
                <a:lnTo>
                  <a:pt x="78" y="450"/>
                </a:lnTo>
                <a:lnTo>
                  <a:pt x="78" y="450"/>
                </a:lnTo>
                <a:lnTo>
                  <a:pt x="78" y="450"/>
                </a:lnTo>
                <a:lnTo>
                  <a:pt x="78" y="450"/>
                </a:lnTo>
                <a:lnTo>
                  <a:pt x="78" y="444"/>
                </a:lnTo>
                <a:lnTo>
                  <a:pt x="78" y="444"/>
                </a:lnTo>
                <a:lnTo>
                  <a:pt x="72" y="444"/>
                </a:lnTo>
                <a:lnTo>
                  <a:pt x="72" y="444"/>
                </a:lnTo>
                <a:lnTo>
                  <a:pt x="72" y="438"/>
                </a:lnTo>
                <a:lnTo>
                  <a:pt x="72" y="438"/>
                </a:lnTo>
                <a:lnTo>
                  <a:pt x="72" y="438"/>
                </a:lnTo>
                <a:lnTo>
                  <a:pt x="72" y="438"/>
                </a:lnTo>
                <a:lnTo>
                  <a:pt x="72" y="438"/>
                </a:lnTo>
                <a:lnTo>
                  <a:pt x="72" y="432"/>
                </a:lnTo>
                <a:lnTo>
                  <a:pt x="72" y="432"/>
                </a:lnTo>
                <a:lnTo>
                  <a:pt x="72" y="432"/>
                </a:lnTo>
                <a:lnTo>
                  <a:pt x="66" y="432"/>
                </a:lnTo>
                <a:lnTo>
                  <a:pt x="66" y="432"/>
                </a:lnTo>
                <a:lnTo>
                  <a:pt x="60" y="432"/>
                </a:lnTo>
                <a:lnTo>
                  <a:pt x="60" y="432"/>
                </a:lnTo>
                <a:lnTo>
                  <a:pt x="60" y="426"/>
                </a:lnTo>
                <a:lnTo>
                  <a:pt x="60" y="426"/>
                </a:lnTo>
                <a:lnTo>
                  <a:pt x="60" y="426"/>
                </a:lnTo>
                <a:lnTo>
                  <a:pt x="54" y="426"/>
                </a:lnTo>
                <a:lnTo>
                  <a:pt x="54" y="426"/>
                </a:lnTo>
                <a:lnTo>
                  <a:pt x="54" y="426"/>
                </a:lnTo>
                <a:lnTo>
                  <a:pt x="54" y="426"/>
                </a:lnTo>
                <a:lnTo>
                  <a:pt x="54" y="420"/>
                </a:lnTo>
                <a:lnTo>
                  <a:pt x="54" y="420"/>
                </a:lnTo>
                <a:lnTo>
                  <a:pt x="54" y="420"/>
                </a:lnTo>
                <a:lnTo>
                  <a:pt x="54" y="420"/>
                </a:lnTo>
                <a:lnTo>
                  <a:pt x="54" y="420"/>
                </a:lnTo>
                <a:lnTo>
                  <a:pt x="54" y="414"/>
                </a:lnTo>
                <a:lnTo>
                  <a:pt x="48" y="414"/>
                </a:lnTo>
                <a:lnTo>
                  <a:pt x="48" y="414"/>
                </a:lnTo>
                <a:lnTo>
                  <a:pt x="48" y="408"/>
                </a:lnTo>
                <a:lnTo>
                  <a:pt x="48" y="408"/>
                </a:lnTo>
                <a:lnTo>
                  <a:pt x="48" y="408"/>
                </a:lnTo>
                <a:lnTo>
                  <a:pt x="48" y="408"/>
                </a:lnTo>
                <a:lnTo>
                  <a:pt x="48" y="402"/>
                </a:lnTo>
                <a:lnTo>
                  <a:pt x="48" y="408"/>
                </a:lnTo>
                <a:lnTo>
                  <a:pt x="48" y="408"/>
                </a:lnTo>
                <a:lnTo>
                  <a:pt x="48" y="408"/>
                </a:lnTo>
                <a:lnTo>
                  <a:pt x="48" y="402"/>
                </a:lnTo>
                <a:lnTo>
                  <a:pt x="48" y="402"/>
                </a:lnTo>
                <a:lnTo>
                  <a:pt x="42" y="402"/>
                </a:lnTo>
                <a:lnTo>
                  <a:pt x="48" y="402"/>
                </a:lnTo>
                <a:lnTo>
                  <a:pt x="48" y="396"/>
                </a:lnTo>
                <a:lnTo>
                  <a:pt x="48" y="396"/>
                </a:lnTo>
                <a:lnTo>
                  <a:pt x="48" y="390"/>
                </a:lnTo>
                <a:lnTo>
                  <a:pt x="48" y="390"/>
                </a:lnTo>
                <a:lnTo>
                  <a:pt x="42" y="390"/>
                </a:lnTo>
                <a:lnTo>
                  <a:pt x="42" y="390"/>
                </a:lnTo>
                <a:lnTo>
                  <a:pt x="42" y="390"/>
                </a:lnTo>
                <a:lnTo>
                  <a:pt x="42" y="390"/>
                </a:lnTo>
                <a:lnTo>
                  <a:pt x="42" y="390"/>
                </a:lnTo>
                <a:lnTo>
                  <a:pt x="42" y="390"/>
                </a:lnTo>
                <a:lnTo>
                  <a:pt x="42" y="384"/>
                </a:lnTo>
                <a:lnTo>
                  <a:pt x="42" y="384"/>
                </a:lnTo>
                <a:lnTo>
                  <a:pt x="42" y="384"/>
                </a:lnTo>
                <a:lnTo>
                  <a:pt x="42" y="384"/>
                </a:lnTo>
                <a:lnTo>
                  <a:pt x="42" y="384"/>
                </a:lnTo>
                <a:lnTo>
                  <a:pt x="42" y="384"/>
                </a:lnTo>
                <a:lnTo>
                  <a:pt x="42" y="384"/>
                </a:lnTo>
                <a:lnTo>
                  <a:pt x="42" y="378"/>
                </a:lnTo>
                <a:lnTo>
                  <a:pt x="36" y="378"/>
                </a:lnTo>
                <a:lnTo>
                  <a:pt x="36" y="378"/>
                </a:lnTo>
                <a:lnTo>
                  <a:pt x="36" y="378"/>
                </a:lnTo>
                <a:lnTo>
                  <a:pt x="36" y="378"/>
                </a:lnTo>
                <a:lnTo>
                  <a:pt x="30" y="378"/>
                </a:lnTo>
                <a:lnTo>
                  <a:pt x="30" y="378"/>
                </a:lnTo>
                <a:lnTo>
                  <a:pt x="30" y="378"/>
                </a:lnTo>
                <a:lnTo>
                  <a:pt x="30" y="378"/>
                </a:lnTo>
                <a:lnTo>
                  <a:pt x="30" y="378"/>
                </a:lnTo>
                <a:lnTo>
                  <a:pt x="30" y="378"/>
                </a:lnTo>
                <a:lnTo>
                  <a:pt x="30" y="384"/>
                </a:lnTo>
                <a:lnTo>
                  <a:pt x="30" y="384"/>
                </a:lnTo>
                <a:lnTo>
                  <a:pt x="30" y="384"/>
                </a:lnTo>
                <a:lnTo>
                  <a:pt x="24" y="384"/>
                </a:lnTo>
                <a:lnTo>
                  <a:pt x="24" y="378"/>
                </a:lnTo>
                <a:lnTo>
                  <a:pt x="24" y="378"/>
                </a:lnTo>
                <a:lnTo>
                  <a:pt x="24" y="378"/>
                </a:lnTo>
                <a:lnTo>
                  <a:pt x="18" y="378"/>
                </a:lnTo>
                <a:lnTo>
                  <a:pt x="18" y="378"/>
                </a:lnTo>
                <a:lnTo>
                  <a:pt x="18" y="378"/>
                </a:lnTo>
                <a:lnTo>
                  <a:pt x="18" y="372"/>
                </a:lnTo>
                <a:lnTo>
                  <a:pt x="18" y="372"/>
                </a:lnTo>
                <a:lnTo>
                  <a:pt x="18" y="372"/>
                </a:lnTo>
                <a:lnTo>
                  <a:pt x="18" y="366"/>
                </a:lnTo>
                <a:lnTo>
                  <a:pt x="18" y="366"/>
                </a:lnTo>
                <a:lnTo>
                  <a:pt x="18" y="366"/>
                </a:lnTo>
                <a:lnTo>
                  <a:pt x="12" y="366"/>
                </a:lnTo>
                <a:lnTo>
                  <a:pt x="6" y="366"/>
                </a:lnTo>
                <a:lnTo>
                  <a:pt x="6" y="366"/>
                </a:lnTo>
                <a:lnTo>
                  <a:pt x="6" y="366"/>
                </a:lnTo>
                <a:lnTo>
                  <a:pt x="6" y="360"/>
                </a:lnTo>
                <a:lnTo>
                  <a:pt x="0" y="360"/>
                </a:lnTo>
                <a:lnTo>
                  <a:pt x="0" y="360"/>
                </a:lnTo>
                <a:lnTo>
                  <a:pt x="0" y="360"/>
                </a:lnTo>
                <a:lnTo>
                  <a:pt x="0" y="360"/>
                </a:lnTo>
                <a:lnTo>
                  <a:pt x="0" y="354"/>
                </a:lnTo>
                <a:lnTo>
                  <a:pt x="6" y="354"/>
                </a:lnTo>
                <a:lnTo>
                  <a:pt x="6" y="354"/>
                </a:lnTo>
                <a:lnTo>
                  <a:pt x="6" y="354"/>
                </a:lnTo>
                <a:lnTo>
                  <a:pt x="6" y="354"/>
                </a:lnTo>
                <a:lnTo>
                  <a:pt x="6" y="354"/>
                </a:lnTo>
                <a:lnTo>
                  <a:pt x="6" y="354"/>
                </a:lnTo>
                <a:lnTo>
                  <a:pt x="6" y="354"/>
                </a:lnTo>
                <a:lnTo>
                  <a:pt x="6" y="354"/>
                </a:lnTo>
                <a:lnTo>
                  <a:pt x="12" y="354"/>
                </a:lnTo>
                <a:lnTo>
                  <a:pt x="12" y="354"/>
                </a:lnTo>
                <a:lnTo>
                  <a:pt x="12" y="354"/>
                </a:lnTo>
                <a:lnTo>
                  <a:pt x="12" y="354"/>
                </a:lnTo>
                <a:lnTo>
                  <a:pt x="18" y="348"/>
                </a:lnTo>
                <a:lnTo>
                  <a:pt x="18" y="348"/>
                </a:lnTo>
                <a:lnTo>
                  <a:pt x="18" y="348"/>
                </a:lnTo>
                <a:lnTo>
                  <a:pt x="18" y="348"/>
                </a:lnTo>
                <a:lnTo>
                  <a:pt x="24" y="348"/>
                </a:lnTo>
                <a:lnTo>
                  <a:pt x="24" y="348"/>
                </a:lnTo>
                <a:lnTo>
                  <a:pt x="24" y="348"/>
                </a:lnTo>
                <a:lnTo>
                  <a:pt x="24" y="348"/>
                </a:lnTo>
                <a:lnTo>
                  <a:pt x="24" y="348"/>
                </a:lnTo>
                <a:lnTo>
                  <a:pt x="24" y="348"/>
                </a:lnTo>
                <a:lnTo>
                  <a:pt x="24" y="348"/>
                </a:lnTo>
                <a:lnTo>
                  <a:pt x="24" y="342"/>
                </a:lnTo>
                <a:lnTo>
                  <a:pt x="30" y="342"/>
                </a:lnTo>
                <a:lnTo>
                  <a:pt x="30" y="342"/>
                </a:lnTo>
                <a:lnTo>
                  <a:pt x="30" y="342"/>
                </a:lnTo>
                <a:lnTo>
                  <a:pt x="30" y="342"/>
                </a:lnTo>
                <a:lnTo>
                  <a:pt x="30" y="342"/>
                </a:lnTo>
                <a:lnTo>
                  <a:pt x="30" y="336"/>
                </a:lnTo>
                <a:lnTo>
                  <a:pt x="30" y="336"/>
                </a:lnTo>
                <a:lnTo>
                  <a:pt x="36" y="336"/>
                </a:lnTo>
                <a:lnTo>
                  <a:pt x="36" y="336"/>
                </a:lnTo>
                <a:lnTo>
                  <a:pt x="36" y="330"/>
                </a:lnTo>
                <a:lnTo>
                  <a:pt x="36" y="330"/>
                </a:lnTo>
                <a:lnTo>
                  <a:pt x="36" y="330"/>
                </a:lnTo>
                <a:lnTo>
                  <a:pt x="36" y="330"/>
                </a:lnTo>
                <a:lnTo>
                  <a:pt x="36" y="330"/>
                </a:lnTo>
                <a:lnTo>
                  <a:pt x="36" y="324"/>
                </a:lnTo>
                <a:lnTo>
                  <a:pt x="30" y="324"/>
                </a:lnTo>
                <a:lnTo>
                  <a:pt x="30" y="318"/>
                </a:lnTo>
                <a:lnTo>
                  <a:pt x="24" y="318"/>
                </a:lnTo>
                <a:lnTo>
                  <a:pt x="24" y="318"/>
                </a:lnTo>
                <a:lnTo>
                  <a:pt x="24" y="312"/>
                </a:lnTo>
                <a:lnTo>
                  <a:pt x="24" y="312"/>
                </a:lnTo>
                <a:lnTo>
                  <a:pt x="24" y="312"/>
                </a:lnTo>
                <a:lnTo>
                  <a:pt x="24" y="312"/>
                </a:lnTo>
                <a:lnTo>
                  <a:pt x="24" y="312"/>
                </a:lnTo>
                <a:lnTo>
                  <a:pt x="24" y="306"/>
                </a:lnTo>
                <a:lnTo>
                  <a:pt x="24" y="306"/>
                </a:lnTo>
                <a:lnTo>
                  <a:pt x="24" y="306"/>
                </a:lnTo>
                <a:lnTo>
                  <a:pt x="18" y="306"/>
                </a:lnTo>
                <a:lnTo>
                  <a:pt x="18" y="306"/>
                </a:lnTo>
                <a:lnTo>
                  <a:pt x="18" y="300"/>
                </a:lnTo>
                <a:lnTo>
                  <a:pt x="18" y="300"/>
                </a:lnTo>
                <a:lnTo>
                  <a:pt x="18" y="300"/>
                </a:lnTo>
                <a:lnTo>
                  <a:pt x="18" y="300"/>
                </a:lnTo>
                <a:lnTo>
                  <a:pt x="18" y="300"/>
                </a:lnTo>
                <a:lnTo>
                  <a:pt x="18" y="300"/>
                </a:lnTo>
                <a:lnTo>
                  <a:pt x="18" y="300"/>
                </a:lnTo>
                <a:lnTo>
                  <a:pt x="18" y="300"/>
                </a:lnTo>
                <a:lnTo>
                  <a:pt x="12" y="300"/>
                </a:lnTo>
                <a:lnTo>
                  <a:pt x="12" y="300"/>
                </a:lnTo>
                <a:lnTo>
                  <a:pt x="12" y="300"/>
                </a:lnTo>
                <a:lnTo>
                  <a:pt x="18" y="300"/>
                </a:lnTo>
                <a:lnTo>
                  <a:pt x="18" y="300"/>
                </a:lnTo>
                <a:lnTo>
                  <a:pt x="18" y="300"/>
                </a:lnTo>
                <a:lnTo>
                  <a:pt x="18" y="294"/>
                </a:lnTo>
                <a:lnTo>
                  <a:pt x="18" y="294"/>
                </a:lnTo>
                <a:lnTo>
                  <a:pt x="18" y="294"/>
                </a:lnTo>
                <a:lnTo>
                  <a:pt x="18" y="294"/>
                </a:lnTo>
                <a:lnTo>
                  <a:pt x="18" y="294"/>
                </a:lnTo>
                <a:lnTo>
                  <a:pt x="18" y="294"/>
                </a:lnTo>
                <a:lnTo>
                  <a:pt x="18" y="294"/>
                </a:lnTo>
                <a:lnTo>
                  <a:pt x="18" y="294"/>
                </a:lnTo>
                <a:lnTo>
                  <a:pt x="18" y="288"/>
                </a:lnTo>
                <a:lnTo>
                  <a:pt x="18" y="288"/>
                </a:lnTo>
                <a:lnTo>
                  <a:pt x="24" y="288"/>
                </a:lnTo>
                <a:lnTo>
                  <a:pt x="24" y="288"/>
                </a:lnTo>
                <a:lnTo>
                  <a:pt x="18" y="282"/>
                </a:lnTo>
                <a:lnTo>
                  <a:pt x="18" y="282"/>
                </a:lnTo>
                <a:lnTo>
                  <a:pt x="18" y="282"/>
                </a:lnTo>
                <a:lnTo>
                  <a:pt x="18" y="282"/>
                </a:lnTo>
                <a:lnTo>
                  <a:pt x="18" y="27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08" name="Freeform 41"/>
          <p:cNvSpPr>
            <a:spLocks/>
          </p:cNvSpPr>
          <p:nvPr/>
        </p:nvSpPr>
        <p:spPr bwMode="auto">
          <a:xfrm>
            <a:off x="6871126" y="1244161"/>
            <a:ext cx="102785" cy="96361"/>
          </a:xfrm>
          <a:custGeom>
            <a:avLst/>
            <a:gdLst>
              <a:gd name="T0" fmla="*/ 6 w 96"/>
              <a:gd name="T1" fmla="*/ 66 h 90"/>
              <a:gd name="T2" fmla="*/ 12 w 96"/>
              <a:gd name="T3" fmla="*/ 60 h 90"/>
              <a:gd name="T4" fmla="*/ 18 w 96"/>
              <a:gd name="T5" fmla="*/ 48 h 90"/>
              <a:gd name="T6" fmla="*/ 24 w 96"/>
              <a:gd name="T7" fmla="*/ 36 h 90"/>
              <a:gd name="T8" fmla="*/ 24 w 96"/>
              <a:gd name="T9" fmla="*/ 30 h 90"/>
              <a:gd name="T10" fmla="*/ 30 w 96"/>
              <a:gd name="T11" fmla="*/ 18 h 90"/>
              <a:gd name="T12" fmla="*/ 42 w 96"/>
              <a:gd name="T13" fmla="*/ 12 h 90"/>
              <a:gd name="T14" fmla="*/ 48 w 96"/>
              <a:gd name="T15" fmla="*/ 0 h 90"/>
              <a:gd name="T16" fmla="*/ 72 w 96"/>
              <a:gd name="T17" fmla="*/ 6 h 90"/>
              <a:gd name="T18" fmla="*/ 72 w 96"/>
              <a:gd name="T19" fmla="*/ 12 h 90"/>
              <a:gd name="T20" fmla="*/ 78 w 96"/>
              <a:gd name="T21" fmla="*/ 12 h 90"/>
              <a:gd name="T22" fmla="*/ 84 w 96"/>
              <a:gd name="T23" fmla="*/ 12 h 90"/>
              <a:gd name="T24" fmla="*/ 84 w 96"/>
              <a:gd name="T25" fmla="*/ 12 h 90"/>
              <a:gd name="T26" fmla="*/ 84 w 96"/>
              <a:gd name="T27" fmla="*/ 12 h 90"/>
              <a:gd name="T28" fmla="*/ 84 w 96"/>
              <a:gd name="T29" fmla="*/ 18 h 90"/>
              <a:gd name="T30" fmla="*/ 84 w 96"/>
              <a:gd name="T31" fmla="*/ 18 h 90"/>
              <a:gd name="T32" fmla="*/ 90 w 96"/>
              <a:gd name="T33" fmla="*/ 18 h 90"/>
              <a:gd name="T34" fmla="*/ 90 w 96"/>
              <a:gd name="T35" fmla="*/ 18 h 90"/>
              <a:gd name="T36" fmla="*/ 90 w 96"/>
              <a:gd name="T37" fmla="*/ 24 h 90"/>
              <a:gd name="T38" fmla="*/ 84 w 96"/>
              <a:gd name="T39" fmla="*/ 30 h 90"/>
              <a:gd name="T40" fmla="*/ 84 w 96"/>
              <a:gd name="T41" fmla="*/ 42 h 90"/>
              <a:gd name="T42" fmla="*/ 78 w 96"/>
              <a:gd name="T43" fmla="*/ 48 h 90"/>
              <a:gd name="T44" fmla="*/ 84 w 96"/>
              <a:gd name="T45" fmla="*/ 54 h 90"/>
              <a:gd name="T46" fmla="*/ 78 w 96"/>
              <a:gd name="T47" fmla="*/ 54 h 90"/>
              <a:gd name="T48" fmla="*/ 72 w 96"/>
              <a:gd name="T49" fmla="*/ 60 h 90"/>
              <a:gd name="T50" fmla="*/ 72 w 96"/>
              <a:gd name="T51" fmla="*/ 60 h 90"/>
              <a:gd name="T52" fmla="*/ 66 w 96"/>
              <a:gd name="T53" fmla="*/ 60 h 90"/>
              <a:gd name="T54" fmla="*/ 66 w 96"/>
              <a:gd name="T55" fmla="*/ 60 h 90"/>
              <a:gd name="T56" fmla="*/ 60 w 96"/>
              <a:gd name="T57" fmla="*/ 60 h 90"/>
              <a:gd name="T58" fmla="*/ 60 w 96"/>
              <a:gd name="T59" fmla="*/ 66 h 90"/>
              <a:gd name="T60" fmla="*/ 54 w 96"/>
              <a:gd name="T61" fmla="*/ 66 h 90"/>
              <a:gd name="T62" fmla="*/ 48 w 96"/>
              <a:gd name="T63" fmla="*/ 66 h 90"/>
              <a:gd name="T64" fmla="*/ 48 w 96"/>
              <a:gd name="T65" fmla="*/ 66 h 90"/>
              <a:gd name="T66" fmla="*/ 48 w 96"/>
              <a:gd name="T67" fmla="*/ 66 h 90"/>
              <a:gd name="T68" fmla="*/ 48 w 96"/>
              <a:gd name="T69" fmla="*/ 66 h 90"/>
              <a:gd name="T70" fmla="*/ 54 w 96"/>
              <a:gd name="T71" fmla="*/ 78 h 90"/>
              <a:gd name="T72" fmla="*/ 54 w 96"/>
              <a:gd name="T73" fmla="*/ 84 h 90"/>
              <a:gd name="T74" fmla="*/ 54 w 96"/>
              <a:gd name="T75" fmla="*/ 84 h 90"/>
              <a:gd name="T76" fmla="*/ 48 w 96"/>
              <a:gd name="T77" fmla="*/ 84 h 90"/>
              <a:gd name="T78" fmla="*/ 42 w 96"/>
              <a:gd name="T79" fmla="*/ 84 h 90"/>
              <a:gd name="T80" fmla="*/ 42 w 96"/>
              <a:gd name="T81" fmla="*/ 90 h 90"/>
              <a:gd name="T82" fmla="*/ 24 w 96"/>
              <a:gd name="T83" fmla="*/ 90 h 90"/>
              <a:gd name="T84" fmla="*/ 24 w 96"/>
              <a:gd name="T85" fmla="*/ 90 h 90"/>
              <a:gd name="T86" fmla="*/ 18 w 96"/>
              <a:gd name="T87" fmla="*/ 84 h 90"/>
              <a:gd name="T88" fmla="*/ 18 w 96"/>
              <a:gd name="T89" fmla="*/ 84 h 90"/>
              <a:gd name="T90" fmla="*/ 18 w 96"/>
              <a:gd name="T91" fmla="*/ 78 h 90"/>
              <a:gd name="T92" fmla="*/ 12 w 96"/>
              <a:gd name="T93" fmla="*/ 78 h 90"/>
              <a:gd name="T94" fmla="*/ 12 w 96"/>
              <a:gd name="T95" fmla="*/ 78 h 90"/>
              <a:gd name="T96" fmla="*/ 12 w 96"/>
              <a:gd name="T97" fmla="*/ 78 h 90"/>
              <a:gd name="T98" fmla="*/ 6 w 96"/>
              <a:gd name="T99" fmla="*/ 78 h 90"/>
              <a:gd name="T100" fmla="*/ 6 w 96"/>
              <a:gd name="T101" fmla="*/ 78 h 90"/>
              <a:gd name="T102" fmla="*/ 6 w 96"/>
              <a:gd name="T103" fmla="*/ 72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96" h="90">
                <a:moveTo>
                  <a:pt x="0" y="66"/>
                </a:moveTo>
                <a:lnTo>
                  <a:pt x="6" y="66"/>
                </a:lnTo>
                <a:lnTo>
                  <a:pt x="12" y="60"/>
                </a:lnTo>
                <a:lnTo>
                  <a:pt x="12" y="60"/>
                </a:lnTo>
                <a:lnTo>
                  <a:pt x="12" y="54"/>
                </a:lnTo>
                <a:lnTo>
                  <a:pt x="18" y="48"/>
                </a:lnTo>
                <a:lnTo>
                  <a:pt x="24" y="36"/>
                </a:lnTo>
                <a:lnTo>
                  <a:pt x="24" y="36"/>
                </a:lnTo>
                <a:lnTo>
                  <a:pt x="24" y="30"/>
                </a:lnTo>
                <a:lnTo>
                  <a:pt x="24" y="30"/>
                </a:lnTo>
                <a:lnTo>
                  <a:pt x="30" y="24"/>
                </a:lnTo>
                <a:lnTo>
                  <a:pt x="30" y="18"/>
                </a:lnTo>
                <a:lnTo>
                  <a:pt x="36" y="18"/>
                </a:lnTo>
                <a:lnTo>
                  <a:pt x="42" y="12"/>
                </a:lnTo>
                <a:lnTo>
                  <a:pt x="48" y="6"/>
                </a:lnTo>
                <a:lnTo>
                  <a:pt x="48" y="0"/>
                </a:lnTo>
                <a:lnTo>
                  <a:pt x="48" y="0"/>
                </a:lnTo>
                <a:lnTo>
                  <a:pt x="72" y="6"/>
                </a:lnTo>
                <a:lnTo>
                  <a:pt x="72" y="6"/>
                </a:lnTo>
                <a:lnTo>
                  <a:pt x="72" y="12"/>
                </a:lnTo>
                <a:lnTo>
                  <a:pt x="72" y="12"/>
                </a:lnTo>
                <a:lnTo>
                  <a:pt x="78" y="12"/>
                </a:lnTo>
                <a:lnTo>
                  <a:pt x="78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24"/>
                </a:lnTo>
                <a:lnTo>
                  <a:pt x="96" y="24"/>
                </a:lnTo>
                <a:lnTo>
                  <a:pt x="84" y="30"/>
                </a:lnTo>
                <a:lnTo>
                  <a:pt x="84" y="30"/>
                </a:lnTo>
                <a:lnTo>
                  <a:pt x="84" y="42"/>
                </a:lnTo>
                <a:lnTo>
                  <a:pt x="84" y="48"/>
                </a:lnTo>
                <a:lnTo>
                  <a:pt x="78" y="48"/>
                </a:lnTo>
                <a:lnTo>
                  <a:pt x="84" y="54"/>
                </a:lnTo>
                <a:lnTo>
                  <a:pt x="84" y="54"/>
                </a:lnTo>
                <a:lnTo>
                  <a:pt x="78" y="54"/>
                </a:lnTo>
                <a:lnTo>
                  <a:pt x="78" y="54"/>
                </a:lnTo>
                <a:lnTo>
                  <a:pt x="78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0" y="60"/>
                </a:lnTo>
                <a:lnTo>
                  <a:pt x="60" y="66"/>
                </a:lnTo>
                <a:lnTo>
                  <a:pt x="60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72"/>
                </a:lnTo>
                <a:lnTo>
                  <a:pt x="54" y="78"/>
                </a:lnTo>
                <a:lnTo>
                  <a:pt x="54" y="78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48" y="84"/>
                </a:lnTo>
                <a:lnTo>
                  <a:pt x="48" y="84"/>
                </a:lnTo>
                <a:lnTo>
                  <a:pt x="42" y="84"/>
                </a:lnTo>
                <a:lnTo>
                  <a:pt x="42" y="84"/>
                </a:lnTo>
                <a:lnTo>
                  <a:pt x="42" y="90"/>
                </a:lnTo>
                <a:lnTo>
                  <a:pt x="42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78"/>
                </a:lnTo>
                <a:lnTo>
                  <a:pt x="18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lnTo>
                  <a:pt x="0" y="6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09" name="Freeform 42"/>
          <p:cNvSpPr>
            <a:spLocks/>
          </p:cNvSpPr>
          <p:nvPr/>
        </p:nvSpPr>
        <p:spPr bwMode="auto">
          <a:xfrm>
            <a:off x="6845430" y="1224889"/>
            <a:ext cx="411139" cy="379022"/>
          </a:xfrm>
          <a:custGeom>
            <a:avLst/>
            <a:gdLst>
              <a:gd name="T0" fmla="*/ 18 w 384"/>
              <a:gd name="T1" fmla="*/ 330 h 354"/>
              <a:gd name="T2" fmla="*/ 54 w 384"/>
              <a:gd name="T3" fmla="*/ 306 h 354"/>
              <a:gd name="T4" fmla="*/ 90 w 384"/>
              <a:gd name="T5" fmla="*/ 300 h 354"/>
              <a:gd name="T6" fmla="*/ 108 w 384"/>
              <a:gd name="T7" fmla="*/ 270 h 354"/>
              <a:gd name="T8" fmla="*/ 132 w 384"/>
              <a:gd name="T9" fmla="*/ 234 h 354"/>
              <a:gd name="T10" fmla="*/ 138 w 384"/>
              <a:gd name="T11" fmla="*/ 210 h 354"/>
              <a:gd name="T12" fmla="*/ 132 w 384"/>
              <a:gd name="T13" fmla="*/ 198 h 354"/>
              <a:gd name="T14" fmla="*/ 138 w 384"/>
              <a:gd name="T15" fmla="*/ 180 h 354"/>
              <a:gd name="T16" fmla="*/ 138 w 384"/>
              <a:gd name="T17" fmla="*/ 162 h 354"/>
              <a:gd name="T18" fmla="*/ 150 w 384"/>
              <a:gd name="T19" fmla="*/ 138 h 354"/>
              <a:gd name="T20" fmla="*/ 150 w 384"/>
              <a:gd name="T21" fmla="*/ 114 h 354"/>
              <a:gd name="T22" fmla="*/ 168 w 384"/>
              <a:gd name="T23" fmla="*/ 78 h 354"/>
              <a:gd name="T24" fmla="*/ 198 w 384"/>
              <a:gd name="T25" fmla="*/ 78 h 354"/>
              <a:gd name="T26" fmla="*/ 228 w 384"/>
              <a:gd name="T27" fmla="*/ 84 h 354"/>
              <a:gd name="T28" fmla="*/ 246 w 384"/>
              <a:gd name="T29" fmla="*/ 60 h 354"/>
              <a:gd name="T30" fmla="*/ 264 w 384"/>
              <a:gd name="T31" fmla="*/ 60 h 354"/>
              <a:gd name="T32" fmla="*/ 276 w 384"/>
              <a:gd name="T33" fmla="*/ 66 h 354"/>
              <a:gd name="T34" fmla="*/ 282 w 384"/>
              <a:gd name="T35" fmla="*/ 90 h 354"/>
              <a:gd name="T36" fmla="*/ 348 w 384"/>
              <a:gd name="T37" fmla="*/ 30 h 354"/>
              <a:gd name="T38" fmla="*/ 354 w 384"/>
              <a:gd name="T39" fmla="*/ 18 h 354"/>
              <a:gd name="T40" fmla="*/ 360 w 384"/>
              <a:gd name="T41" fmla="*/ 18 h 354"/>
              <a:gd name="T42" fmla="*/ 360 w 384"/>
              <a:gd name="T43" fmla="*/ 6 h 354"/>
              <a:gd name="T44" fmla="*/ 372 w 384"/>
              <a:gd name="T45" fmla="*/ 6 h 354"/>
              <a:gd name="T46" fmla="*/ 366 w 384"/>
              <a:gd name="T47" fmla="*/ 12 h 354"/>
              <a:gd name="T48" fmla="*/ 360 w 384"/>
              <a:gd name="T49" fmla="*/ 36 h 354"/>
              <a:gd name="T50" fmla="*/ 378 w 384"/>
              <a:gd name="T51" fmla="*/ 18 h 354"/>
              <a:gd name="T52" fmla="*/ 372 w 384"/>
              <a:gd name="T53" fmla="*/ 36 h 354"/>
              <a:gd name="T54" fmla="*/ 378 w 384"/>
              <a:gd name="T55" fmla="*/ 24 h 354"/>
              <a:gd name="T56" fmla="*/ 384 w 384"/>
              <a:gd name="T57" fmla="*/ 30 h 354"/>
              <a:gd name="T58" fmla="*/ 378 w 384"/>
              <a:gd name="T59" fmla="*/ 60 h 354"/>
              <a:gd name="T60" fmla="*/ 378 w 384"/>
              <a:gd name="T61" fmla="*/ 84 h 354"/>
              <a:gd name="T62" fmla="*/ 372 w 384"/>
              <a:gd name="T63" fmla="*/ 108 h 354"/>
              <a:gd name="T64" fmla="*/ 354 w 384"/>
              <a:gd name="T65" fmla="*/ 114 h 354"/>
              <a:gd name="T66" fmla="*/ 366 w 384"/>
              <a:gd name="T67" fmla="*/ 132 h 354"/>
              <a:gd name="T68" fmla="*/ 354 w 384"/>
              <a:gd name="T69" fmla="*/ 168 h 354"/>
              <a:gd name="T70" fmla="*/ 342 w 384"/>
              <a:gd name="T71" fmla="*/ 186 h 354"/>
              <a:gd name="T72" fmla="*/ 342 w 384"/>
              <a:gd name="T73" fmla="*/ 204 h 354"/>
              <a:gd name="T74" fmla="*/ 324 w 384"/>
              <a:gd name="T75" fmla="*/ 210 h 354"/>
              <a:gd name="T76" fmla="*/ 312 w 384"/>
              <a:gd name="T77" fmla="*/ 204 h 354"/>
              <a:gd name="T78" fmla="*/ 276 w 384"/>
              <a:gd name="T79" fmla="*/ 198 h 354"/>
              <a:gd name="T80" fmla="*/ 210 w 384"/>
              <a:gd name="T81" fmla="*/ 264 h 354"/>
              <a:gd name="T82" fmla="*/ 180 w 384"/>
              <a:gd name="T83" fmla="*/ 240 h 354"/>
              <a:gd name="T84" fmla="*/ 174 w 384"/>
              <a:gd name="T85" fmla="*/ 228 h 354"/>
              <a:gd name="T86" fmla="*/ 168 w 384"/>
              <a:gd name="T87" fmla="*/ 216 h 354"/>
              <a:gd name="T88" fmla="*/ 162 w 384"/>
              <a:gd name="T89" fmla="*/ 222 h 354"/>
              <a:gd name="T90" fmla="*/ 156 w 384"/>
              <a:gd name="T91" fmla="*/ 228 h 354"/>
              <a:gd name="T92" fmla="*/ 150 w 384"/>
              <a:gd name="T93" fmla="*/ 246 h 354"/>
              <a:gd name="T94" fmla="*/ 162 w 384"/>
              <a:gd name="T95" fmla="*/ 258 h 354"/>
              <a:gd name="T96" fmla="*/ 162 w 384"/>
              <a:gd name="T97" fmla="*/ 276 h 354"/>
              <a:gd name="T98" fmla="*/ 150 w 384"/>
              <a:gd name="T99" fmla="*/ 276 h 354"/>
              <a:gd name="T100" fmla="*/ 138 w 384"/>
              <a:gd name="T101" fmla="*/ 288 h 354"/>
              <a:gd name="T102" fmla="*/ 126 w 384"/>
              <a:gd name="T103" fmla="*/ 294 h 354"/>
              <a:gd name="T104" fmla="*/ 120 w 384"/>
              <a:gd name="T105" fmla="*/ 300 h 354"/>
              <a:gd name="T106" fmla="*/ 108 w 384"/>
              <a:gd name="T107" fmla="*/ 300 h 354"/>
              <a:gd name="T108" fmla="*/ 96 w 384"/>
              <a:gd name="T109" fmla="*/ 306 h 354"/>
              <a:gd name="T110" fmla="*/ 84 w 384"/>
              <a:gd name="T111" fmla="*/ 312 h 354"/>
              <a:gd name="T112" fmla="*/ 78 w 384"/>
              <a:gd name="T113" fmla="*/ 312 h 354"/>
              <a:gd name="T114" fmla="*/ 60 w 384"/>
              <a:gd name="T115" fmla="*/ 312 h 354"/>
              <a:gd name="T116" fmla="*/ 54 w 384"/>
              <a:gd name="T117" fmla="*/ 318 h 354"/>
              <a:gd name="T118" fmla="*/ 42 w 384"/>
              <a:gd name="T119" fmla="*/ 324 h 354"/>
              <a:gd name="T120" fmla="*/ 36 w 384"/>
              <a:gd name="T121" fmla="*/ 330 h 354"/>
              <a:gd name="T122" fmla="*/ 30 w 384"/>
              <a:gd name="T123" fmla="*/ 342 h 354"/>
              <a:gd name="T124" fmla="*/ 24 w 384"/>
              <a:gd name="T125" fmla="*/ 348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84" h="354">
                <a:moveTo>
                  <a:pt x="0" y="348"/>
                </a:moveTo>
                <a:lnTo>
                  <a:pt x="0" y="348"/>
                </a:lnTo>
                <a:lnTo>
                  <a:pt x="0" y="348"/>
                </a:lnTo>
                <a:lnTo>
                  <a:pt x="0" y="348"/>
                </a:lnTo>
                <a:lnTo>
                  <a:pt x="0" y="348"/>
                </a:lnTo>
                <a:lnTo>
                  <a:pt x="0" y="348"/>
                </a:lnTo>
                <a:lnTo>
                  <a:pt x="0" y="348"/>
                </a:lnTo>
                <a:lnTo>
                  <a:pt x="0" y="348"/>
                </a:lnTo>
                <a:lnTo>
                  <a:pt x="0" y="348"/>
                </a:lnTo>
                <a:lnTo>
                  <a:pt x="0" y="342"/>
                </a:lnTo>
                <a:lnTo>
                  <a:pt x="6" y="336"/>
                </a:lnTo>
                <a:lnTo>
                  <a:pt x="12" y="330"/>
                </a:lnTo>
                <a:lnTo>
                  <a:pt x="18" y="330"/>
                </a:lnTo>
                <a:lnTo>
                  <a:pt x="18" y="330"/>
                </a:lnTo>
                <a:lnTo>
                  <a:pt x="18" y="330"/>
                </a:lnTo>
                <a:lnTo>
                  <a:pt x="18" y="330"/>
                </a:lnTo>
                <a:lnTo>
                  <a:pt x="18" y="330"/>
                </a:lnTo>
                <a:lnTo>
                  <a:pt x="18" y="324"/>
                </a:lnTo>
                <a:lnTo>
                  <a:pt x="24" y="324"/>
                </a:lnTo>
                <a:lnTo>
                  <a:pt x="24" y="330"/>
                </a:lnTo>
                <a:lnTo>
                  <a:pt x="24" y="324"/>
                </a:lnTo>
                <a:lnTo>
                  <a:pt x="30" y="324"/>
                </a:lnTo>
                <a:lnTo>
                  <a:pt x="30" y="324"/>
                </a:lnTo>
                <a:lnTo>
                  <a:pt x="36" y="318"/>
                </a:lnTo>
                <a:lnTo>
                  <a:pt x="42" y="318"/>
                </a:lnTo>
                <a:lnTo>
                  <a:pt x="42" y="318"/>
                </a:lnTo>
                <a:lnTo>
                  <a:pt x="48" y="312"/>
                </a:lnTo>
                <a:lnTo>
                  <a:pt x="48" y="312"/>
                </a:lnTo>
                <a:lnTo>
                  <a:pt x="48" y="306"/>
                </a:lnTo>
                <a:lnTo>
                  <a:pt x="54" y="306"/>
                </a:lnTo>
                <a:lnTo>
                  <a:pt x="54" y="306"/>
                </a:lnTo>
                <a:lnTo>
                  <a:pt x="60" y="306"/>
                </a:lnTo>
                <a:lnTo>
                  <a:pt x="66" y="300"/>
                </a:lnTo>
                <a:lnTo>
                  <a:pt x="66" y="300"/>
                </a:lnTo>
                <a:lnTo>
                  <a:pt x="72" y="306"/>
                </a:lnTo>
                <a:lnTo>
                  <a:pt x="72" y="306"/>
                </a:lnTo>
                <a:lnTo>
                  <a:pt x="78" y="306"/>
                </a:lnTo>
                <a:lnTo>
                  <a:pt x="78" y="306"/>
                </a:lnTo>
                <a:lnTo>
                  <a:pt x="84" y="300"/>
                </a:lnTo>
                <a:lnTo>
                  <a:pt x="84" y="300"/>
                </a:lnTo>
                <a:lnTo>
                  <a:pt x="84" y="306"/>
                </a:lnTo>
                <a:lnTo>
                  <a:pt x="84" y="306"/>
                </a:lnTo>
                <a:lnTo>
                  <a:pt x="90" y="300"/>
                </a:lnTo>
                <a:lnTo>
                  <a:pt x="90" y="300"/>
                </a:lnTo>
                <a:lnTo>
                  <a:pt x="90" y="300"/>
                </a:lnTo>
                <a:lnTo>
                  <a:pt x="90" y="300"/>
                </a:lnTo>
                <a:lnTo>
                  <a:pt x="96" y="300"/>
                </a:lnTo>
                <a:lnTo>
                  <a:pt x="96" y="294"/>
                </a:lnTo>
                <a:lnTo>
                  <a:pt x="96" y="294"/>
                </a:lnTo>
                <a:lnTo>
                  <a:pt x="96" y="288"/>
                </a:lnTo>
                <a:lnTo>
                  <a:pt x="96" y="288"/>
                </a:lnTo>
                <a:lnTo>
                  <a:pt x="96" y="288"/>
                </a:lnTo>
                <a:lnTo>
                  <a:pt x="102" y="294"/>
                </a:lnTo>
                <a:lnTo>
                  <a:pt x="102" y="294"/>
                </a:lnTo>
                <a:lnTo>
                  <a:pt x="102" y="294"/>
                </a:lnTo>
                <a:lnTo>
                  <a:pt x="102" y="288"/>
                </a:lnTo>
                <a:lnTo>
                  <a:pt x="102" y="282"/>
                </a:lnTo>
                <a:lnTo>
                  <a:pt x="108" y="282"/>
                </a:lnTo>
                <a:lnTo>
                  <a:pt x="108" y="276"/>
                </a:lnTo>
                <a:lnTo>
                  <a:pt x="108" y="270"/>
                </a:lnTo>
                <a:lnTo>
                  <a:pt x="108" y="270"/>
                </a:lnTo>
                <a:lnTo>
                  <a:pt x="114" y="270"/>
                </a:lnTo>
                <a:lnTo>
                  <a:pt x="114" y="270"/>
                </a:lnTo>
                <a:lnTo>
                  <a:pt x="120" y="270"/>
                </a:lnTo>
                <a:lnTo>
                  <a:pt x="120" y="264"/>
                </a:lnTo>
                <a:lnTo>
                  <a:pt x="126" y="264"/>
                </a:lnTo>
                <a:lnTo>
                  <a:pt x="126" y="264"/>
                </a:lnTo>
                <a:lnTo>
                  <a:pt x="126" y="258"/>
                </a:lnTo>
                <a:lnTo>
                  <a:pt x="126" y="258"/>
                </a:lnTo>
                <a:lnTo>
                  <a:pt x="126" y="258"/>
                </a:lnTo>
                <a:lnTo>
                  <a:pt x="126" y="258"/>
                </a:lnTo>
                <a:lnTo>
                  <a:pt x="126" y="246"/>
                </a:lnTo>
                <a:lnTo>
                  <a:pt x="126" y="246"/>
                </a:lnTo>
                <a:lnTo>
                  <a:pt x="132" y="240"/>
                </a:lnTo>
                <a:lnTo>
                  <a:pt x="132" y="234"/>
                </a:lnTo>
                <a:lnTo>
                  <a:pt x="132" y="228"/>
                </a:lnTo>
                <a:lnTo>
                  <a:pt x="132" y="228"/>
                </a:lnTo>
                <a:lnTo>
                  <a:pt x="138" y="222"/>
                </a:lnTo>
                <a:lnTo>
                  <a:pt x="144" y="222"/>
                </a:lnTo>
                <a:lnTo>
                  <a:pt x="144" y="216"/>
                </a:lnTo>
                <a:lnTo>
                  <a:pt x="144" y="216"/>
                </a:lnTo>
                <a:lnTo>
                  <a:pt x="144" y="216"/>
                </a:lnTo>
                <a:lnTo>
                  <a:pt x="144" y="210"/>
                </a:lnTo>
                <a:lnTo>
                  <a:pt x="144" y="210"/>
                </a:lnTo>
                <a:lnTo>
                  <a:pt x="144" y="210"/>
                </a:lnTo>
                <a:lnTo>
                  <a:pt x="144" y="210"/>
                </a:lnTo>
                <a:lnTo>
                  <a:pt x="144" y="216"/>
                </a:lnTo>
                <a:lnTo>
                  <a:pt x="138" y="216"/>
                </a:lnTo>
                <a:lnTo>
                  <a:pt x="138" y="210"/>
                </a:lnTo>
                <a:lnTo>
                  <a:pt x="138" y="210"/>
                </a:lnTo>
                <a:lnTo>
                  <a:pt x="138" y="216"/>
                </a:lnTo>
                <a:lnTo>
                  <a:pt x="138" y="216"/>
                </a:lnTo>
                <a:lnTo>
                  <a:pt x="132" y="210"/>
                </a:lnTo>
                <a:lnTo>
                  <a:pt x="132" y="210"/>
                </a:lnTo>
                <a:lnTo>
                  <a:pt x="132" y="210"/>
                </a:lnTo>
                <a:lnTo>
                  <a:pt x="132" y="210"/>
                </a:lnTo>
                <a:lnTo>
                  <a:pt x="132" y="210"/>
                </a:lnTo>
                <a:lnTo>
                  <a:pt x="132" y="204"/>
                </a:lnTo>
                <a:lnTo>
                  <a:pt x="132" y="204"/>
                </a:lnTo>
                <a:lnTo>
                  <a:pt x="132" y="204"/>
                </a:lnTo>
                <a:lnTo>
                  <a:pt x="132" y="204"/>
                </a:lnTo>
                <a:lnTo>
                  <a:pt x="132" y="204"/>
                </a:lnTo>
                <a:lnTo>
                  <a:pt x="132" y="198"/>
                </a:lnTo>
                <a:lnTo>
                  <a:pt x="132" y="198"/>
                </a:lnTo>
                <a:lnTo>
                  <a:pt x="132" y="198"/>
                </a:lnTo>
                <a:lnTo>
                  <a:pt x="132" y="198"/>
                </a:lnTo>
                <a:lnTo>
                  <a:pt x="132" y="198"/>
                </a:lnTo>
                <a:lnTo>
                  <a:pt x="126" y="192"/>
                </a:lnTo>
                <a:lnTo>
                  <a:pt x="126" y="192"/>
                </a:lnTo>
                <a:lnTo>
                  <a:pt x="126" y="192"/>
                </a:lnTo>
                <a:lnTo>
                  <a:pt x="132" y="186"/>
                </a:lnTo>
                <a:lnTo>
                  <a:pt x="132" y="186"/>
                </a:lnTo>
                <a:lnTo>
                  <a:pt x="132" y="186"/>
                </a:lnTo>
                <a:lnTo>
                  <a:pt x="132" y="186"/>
                </a:lnTo>
                <a:lnTo>
                  <a:pt x="132" y="186"/>
                </a:lnTo>
                <a:lnTo>
                  <a:pt x="132" y="186"/>
                </a:lnTo>
                <a:lnTo>
                  <a:pt x="132" y="186"/>
                </a:lnTo>
                <a:lnTo>
                  <a:pt x="132" y="186"/>
                </a:lnTo>
                <a:lnTo>
                  <a:pt x="138" y="180"/>
                </a:lnTo>
                <a:lnTo>
                  <a:pt x="138" y="180"/>
                </a:lnTo>
                <a:lnTo>
                  <a:pt x="138" y="180"/>
                </a:lnTo>
                <a:lnTo>
                  <a:pt x="138" y="174"/>
                </a:lnTo>
                <a:lnTo>
                  <a:pt x="138" y="174"/>
                </a:lnTo>
                <a:lnTo>
                  <a:pt x="138" y="174"/>
                </a:lnTo>
                <a:lnTo>
                  <a:pt x="138" y="174"/>
                </a:lnTo>
                <a:lnTo>
                  <a:pt x="138" y="174"/>
                </a:lnTo>
                <a:lnTo>
                  <a:pt x="138" y="174"/>
                </a:lnTo>
                <a:lnTo>
                  <a:pt x="138" y="168"/>
                </a:lnTo>
                <a:lnTo>
                  <a:pt x="138" y="168"/>
                </a:lnTo>
                <a:lnTo>
                  <a:pt x="138" y="168"/>
                </a:lnTo>
                <a:lnTo>
                  <a:pt x="138" y="168"/>
                </a:lnTo>
                <a:lnTo>
                  <a:pt x="138" y="162"/>
                </a:lnTo>
                <a:lnTo>
                  <a:pt x="138" y="162"/>
                </a:lnTo>
                <a:lnTo>
                  <a:pt x="138" y="162"/>
                </a:lnTo>
                <a:lnTo>
                  <a:pt x="138" y="162"/>
                </a:lnTo>
                <a:lnTo>
                  <a:pt x="138" y="162"/>
                </a:lnTo>
                <a:lnTo>
                  <a:pt x="138" y="156"/>
                </a:lnTo>
                <a:lnTo>
                  <a:pt x="138" y="156"/>
                </a:lnTo>
                <a:lnTo>
                  <a:pt x="138" y="156"/>
                </a:lnTo>
                <a:lnTo>
                  <a:pt x="138" y="156"/>
                </a:lnTo>
                <a:lnTo>
                  <a:pt x="144" y="150"/>
                </a:lnTo>
                <a:lnTo>
                  <a:pt x="144" y="150"/>
                </a:lnTo>
                <a:lnTo>
                  <a:pt x="144" y="144"/>
                </a:lnTo>
                <a:lnTo>
                  <a:pt x="150" y="144"/>
                </a:lnTo>
                <a:lnTo>
                  <a:pt x="150" y="144"/>
                </a:lnTo>
                <a:lnTo>
                  <a:pt x="150" y="144"/>
                </a:lnTo>
                <a:lnTo>
                  <a:pt x="150" y="144"/>
                </a:lnTo>
                <a:lnTo>
                  <a:pt x="150" y="138"/>
                </a:lnTo>
                <a:lnTo>
                  <a:pt x="150" y="138"/>
                </a:lnTo>
                <a:lnTo>
                  <a:pt x="150" y="138"/>
                </a:lnTo>
                <a:lnTo>
                  <a:pt x="150" y="138"/>
                </a:lnTo>
                <a:lnTo>
                  <a:pt x="150" y="138"/>
                </a:lnTo>
                <a:lnTo>
                  <a:pt x="150" y="132"/>
                </a:lnTo>
                <a:lnTo>
                  <a:pt x="150" y="132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0"/>
                </a:lnTo>
                <a:lnTo>
                  <a:pt x="150" y="120"/>
                </a:lnTo>
                <a:lnTo>
                  <a:pt x="150" y="120"/>
                </a:lnTo>
                <a:lnTo>
                  <a:pt x="150" y="120"/>
                </a:lnTo>
                <a:lnTo>
                  <a:pt x="150" y="120"/>
                </a:lnTo>
                <a:lnTo>
                  <a:pt x="150" y="114"/>
                </a:lnTo>
                <a:lnTo>
                  <a:pt x="150" y="114"/>
                </a:lnTo>
                <a:lnTo>
                  <a:pt x="150" y="114"/>
                </a:lnTo>
                <a:lnTo>
                  <a:pt x="150" y="114"/>
                </a:lnTo>
                <a:lnTo>
                  <a:pt x="150" y="114"/>
                </a:lnTo>
                <a:lnTo>
                  <a:pt x="150" y="108"/>
                </a:lnTo>
                <a:lnTo>
                  <a:pt x="150" y="108"/>
                </a:lnTo>
                <a:lnTo>
                  <a:pt x="150" y="102"/>
                </a:lnTo>
                <a:lnTo>
                  <a:pt x="150" y="102"/>
                </a:lnTo>
                <a:lnTo>
                  <a:pt x="150" y="96"/>
                </a:lnTo>
                <a:lnTo>
                  <a:pt x="156" y="96"/>
                </a:lnTo>
                <a:lnTo>
                  <a:pt x="150" y="96"/>
                </a:lnTo>
                <a:lnTo>
                  <a:pt x="150" y="90"/>
                </a:lnTo>
                <a:lnTo>
                  <a:pt x="144" y="90"/>
                </a:lnTo>
                <a:lnTo>
                  <a:pt x="144" y="90"/>
                </a:lnTo>
                <a:lnTo>
                  <a:pt x="144" y="90"/>
                </a:lnTo>
                <a:lnTo>
                  <a:pt x="168" y="72"/>
                </a:lnTo>
                <a:lnTo>
                  <a:pt x="168" y="78"/>
                </a:lnTo>
                <a:lnTo>
                  <a:pt x="168" y="78"/>
                </a:lnTo>
                <a:lnTo>
                  <a:pt x="168" y="78"/>
                </a:lnTo>
                <a:lnTo>
                  <a:pt x="174" y="78"/>
                </a:lnTo>
                <a:lnTo>
                  <a:pt x="174" y="78"/>
                </a:lnTo>
                <a:lnTo>
                  <a:pt x="174" y="78"/>
                </a:lnTo>
                <a:lnTo>
                  <a:pt x="174" y="78"/>
                </a:lnTo>
                <a:lnTo>
                  <a:pt x="180" y="78"/>
                </a:lnTo>
                <a:lnTo>
                  <a:pt x="180" y="78"/>
                </a:lnTo>
                <a:lnTo>
                  <a:pt x="180" y="78"/>
                </a:lnTo>
                <a:lnTo>
                  <a:pt x="180" y="72"/>
                </a:lnTo>
                <a:lnTo>
                  <a:pt x="180" y="72"/>
                </a:lnTo>
                <a:lnTo>
                  <a:pt x="180" y="72"/>
                </a:lnTo>
                <a:lnTo>
                  <a:pt x="180" y="72"/>
                </a:lnTo>
                <a:lnTo>
                  <a:pt x="186" y="72"/>
                </a:lnTo>
                <a:lnTo>
                  <a:pt x="198" y="78"/>
                </a:lnTo>
                <a:lnTo>
                  <a:pt x="204" y="78"/>
                </a:lnTo>
                <a:lnTo>
                  <a:pt x="210" y="78"/>
                </a:lnTo>
                <a:lnTo>
                  <a:pt x="216" y="78"/>
                </a:lnTo>
                <a:lnTo>
                  <a:pt x="222" y="78"/>
                </a:lnTo>
                <a:lnTo>
                  <a:pt x="222" y="78"/>
                </a:lnTo>
                <a:lnTo>
                  <a:pt x="222" y="84"/>
                </a:lnTo>
                <a:lnTo>
                  <a:pt x="222" y="84"/>
                </a:lnTo>
                <a:lnTo>
                  <a:pt x="222" y="84"/>
                </a:lnTo>
                <a:lnTo>
                  <a:pt x="222" y="78"/>
                </a:lnTo>
                <a:lnTo>
                  <a:pt x="222" y="78"/>
                </a:lnTo>
                <a:lnTo>
                  <a:pt x="228" y="78"/>
                </a:lnTo>
                <a:lnTo>
                  <a:pt x="228" y="78"/>
                </a:lnTo>
                <a:lnTo>
                  <a:pt x="228" y="78"/>
                </a:lnTo>
                <a:lnTo>
                  <a:pt x="228" y="84"/>
                </a:lnTo>
                <a:lnTo>
                  <a:pt x="228" y="84"/>
                </a:lnTo>
                <a:lnTo>
                  <a:pt x="222" y="84"/>
                </a:lnTo>
                <a:lnTo>
                  <a:pt x="222" y="84"/>
                </a:lnTo>
                <a:lnTo>
                  <a:pt x="222" y="84"/>
                </a:lnTo>
                <a:lnTo>
                  <a:pt x="222" y="90"/>
                </a:lnTo>
                <a:lnTo>
                  <a:pt x="222" y="90"/>
                </a:lnTo>
                <a:lnTo>
                  <a:pt x="228" y="84"/>
                </a:lnTo>
                <a:lnTo>
                  <a:pt x="234" y="78"/>
                </a:lnTo>
                <a:lnTo>
                  <a:pt x="240" y="66"/>
                </a:lnTo>
                <a:lnTo>
                  <a:pt x="240" y="66"/>
                </a:lnTo>
                <a:lnTo>
                  <a:pt x="240" y="66"/>
                </a:lnTo>
                <a:lnTo>
                  <a:pt x="246" y="66"/>
                </a:lnTo>
                <a:lnTo>
                  <a:pt x="246" y="66"/>
                </a:lnTo>
                <a:lnTo>
                  <a:pt x="246" y="60"/>
                </a:lnTo>
                <a:lnTo>
                  <a:pt x="246" y="60"/>
                </a:lnTo>
                <a:lnTo>
                  <a:pt x="246" y="60"/>
                </a:lnTo>
                <a:lnTo>
                  <a:pt x="246" y="54"/>
                </a:lnTo>
                <a:lnTo>
                  <a:pt x="252" y="54"/>
                </a:lnTo>
                <a:lnTo>
                  <a:pt x="252" y="54"/>
                </a:lnTo>
                <a:lnTo>
                  <a:pt x="252" y="54"/>
                </a:lnTo>
                <a:lnTo>
                  <a:pt x="252" y="54"/>
                </a:lnTo>
                <a:lnTo>
                  <a:pt x="252" y="54"/>
                </a:lnTo>
                <a:lnTo>
                  <a:pt x="258" y="54"/>
                </a:lnTo>
                <a:lnTo>
                  <a:pt x="258" y="54"/>
                </a:lnTo>
                <a:lnTo>
                  <a:pt x="258" y="54"/>
                </a:lnTo>
                <a:lnTo>
                  <a:pt x="258" y="54"/>
                </a:lnTo>
                <a:lnTo>
                  <a:pt x="258" y="54"/>
                </a:lnTo>
                <a:lnTo>
                  <a:pt x="258" y="54"/>
                </a:lnTo>
                <a:lnTo>
                  <a:pt x="258" y="60"/>
                </a:lnTo>
                <a:lnTo>
                  <a:pt x="264" y="60"/>
                </a:lnTo>
                <a:lnTo>
                  <a:pt x="264" y="60"/>
                </a:lnTo>
                <a:lnTo>
                  <a:pt x="264" y="60"/>
                </a:lnTo>
                <a:lnTo>
                  <a:pt x="264" y="60"/>
                </a:lnTo>
                <a:lnTo>
                  <a:pt x="264" y="60"/>
                </a:lnTo>
                <a:lnTo>
                  <a:pt x="264" y="54"/>
                </a:lnTo>
                <a:lnTo>
                  <a:pt x="270" y="54"/>
                </a:lnTo>
                <a:lnTo>
                  <a:pt x="270" y="54"/>
                </a:lnTo>
                <a:lnTo>
                  <a:pt x="270" y="54"/>
                </a:lnTo>
                <a:lnTo>
                  <a:pt x="270" y="54"/>
                </a:lnTo>
                <a:lnTo>
                  <a:pt x="276" y="54"/>
                </a:lnTo>
                <a:lnTo>
                  <a:pt x="276" y="54"/>
                </a:lnTo>
                <a:lnTo>
                  <a:pt x="276" y="54"/>
                </a:lnTo>
                <a:lnTo>
                  <a:pt x="276" y="60"/>
                </a:lnTo>
                <a:lnTo>
                  <a:pt x="276" y="60"/>
                </a:lnTo>
                <a:lnTo>
                  <a:pt x="276" y="60"/>
                </a:lnTo>
                <a:lnTo>
                  <a:pt x="276" y="66"/>
                </a:lnTo>
                <a:lnTo>
                  <a:pt x="276" y="72"/>
                </a:lnTo>
                <a:lnTo>
                  <a:pt x="276" y="72"/>
                </a:lnTo>
                <a:lnTo>
                  <a:pt x="282" y="72"/>
                </a:lnTo>
                <a:lnTo>
                  <a:pt x="282" y="72"/>
                </a:lnTo>
                <a:lnTo>
                  <a:pt x="288" y="78"/>
                </a:lnTo>
                <a:lnTo>
                  <a:pt x="288" y="78"/>
                </a:lnTo>
                <a:lnTo>
                  <a:pt x="288" y="78"/>
                </a:lnTo>
                <a:lnTo>
                  <a:pt x="282" y="84"/>
                </a:lnTo>
                <a:lnTo>
                  <a:pt x="282" y="84"/>
                </a:lnTo>
                <a:lnTo>
                  <a:pt x="282" y="84"/>
                </a:lnTo>
                <a:lnTo>
                  <a:pt x="282" y="84"/>
                </a:lnTo>
                <a:lnTo>
                  <a:pt x="282" y="90"/>
                </a:lnTo>
                <a:lnTo>
                  <a:pt x="282" y="90"/>
                </a:lnTo>
                <a:lnTo>
                  <a:pt x="282" y="90"/>
                </a:lnTo>
                <a:lnTo>
                  <a:pt x="282" y="90"/>
                </a:lnTo>
                <a:lnTo>
                  <a:pt x="288" y="84"/>
                </a:lnTo>
                <a:lnTo>
                  <a:pt x="288" y="90"/>
                </a:lnTo>
                <a:lnTo>
                  <a:pt x="288" y="84"/>
                </a:lnTo>
                <a:lnTo>
                  <a:pt x="324" y="60"/>
                </a:lnTo>
                <a:lnTo>
                  <a:pt x="342" y="48"/>
                </a:lnTo>
                <a:lnTo>
                  <a:pt x="348" y="42"/>
                </a:lnTo>
                <a:lnTo>
                  <a:pt x="348" y="42"/>
                </a:lnTo>
                <a:lnTo>
                  <a:pt x="348" y="42"/>
                </a:lnTo>
                <a:lnTo>
                  <a:pt x="348" y="36"/>
                </a:lnTo>
                <a:lnTo>
                  <a:pt x="348" y="36"/>
                </a:lnTo>
                <a:lnTo>
                  <a:pt x="348" y="36"/>
                </a:lnTo>
                <a:lnTo>
                  <a:pt x="348" y="36"/>
                </a:lnTo>
                <a:lnTo>
                  <a:pt x="348" y="36"/>
                </a:lnTo>
                <a:lnTo>
                  <a:pt x="348" y="36"/>
                </a:lnTo>
                <a:lnTo>
                  <a:pt x="348" y="30"/>
                </a:lnTo>
                <a:lnTo>
                  <a:pt x="354" y="30"/>
                </a:lnTo>
                <a:lnTo>
                  <a:pt x="354" y="30"/>
                </a:lnTo>
                <a:lnTo>
                  <a:pt x="348" y="30"/>
                </a:lnTo>
                <a:lnTo>
                  <a:pt x="354" y="24"/>
                </a:lnTo>
                <a:lnTo>
                  <a:pt x="354" y="24"/>
                </a:lnTo>
                <a:lnTo>
                  <a:pt x="354" y="24"/>
                </a:lnTo>
                <a:lnTo>
                  <a:pt x="354" y="24"/>
                </a:lnTo>
                <a:lnTo>
                  <a:pt x="354" y="24"/>
                </a:lnTo>
                <a:lnTo>
                  <a:pt x="354" y="24"/>
                </a:lnTo>
                <a:lnTo>
                  <a:pt x="354" y="24"/>
                </a:lnTo>
                <a:lnTo>
                  <a:pt x="354" y="24"/>
                </a:lnTo>
                <a:lnTo>
                  <a:pt x="354" y="24"/>
                </a:lnTo>
                <a:lnTo>
                  <a:pt x="354" y="24"/>
                </a:lnTo>
                <a:lnTo>
                  <a:pt x="354" y="24"/>
                </a:lnTo>
                <a:lnTo>
                  <a:pt x="354" y="18"/>
                </a:lnTo>
                <a:lnTo>
                  <a:pt x="354" y="18"/>
                </a:lnTo>
                <a:lnTo>
                  <a:pt x="354" y="18"/>
                </a:lnTo>
                <a:lnTo>
                  <a:pt x="354" y="18"/>
                </a:lnTo>
                <a:lnTo>
                  <a:pt x="360" y="18"/>
                </a:lnTo>
                <a:lnTo>
                  <a:pt x="360" y="24"/>
                </a:lnTo>
                <a:lnTo>
                  <a:pt x="354" y="24"/>
                </a:lnTo>
                <a:lnTo>
                  <a:pt x="360" y="24"/>
                </a:lnTo>
                <a:lnTo>
                  <a:pt x="360" y="24"/>
                </a:lnTo>
                <a:lnTo>
                  <a:pt x="360" y="24"/>
                </a:lnTo>
                <a:lnTo>
                  <a:pt x="360" y="24"/>
                </a:lnTo>
                <a:lnTo>
                  <a:pt x="360" y="18"/>
                </a:lnTo>
                <a:lnTo>
                  <a:pt x="360" y="18"/>
                </a:lnTo>
                <a:lnTo>
                  <a:pt x="354" y="18"/>
                </a:lnTo>
                <a:lnTo>
                  <a:pt x="360" y="12"/>
                </a:lnTo>
                <a:lnTo>
                  <a:pt x="360" y="18"/>
                </a:lnTo>
                <a:lnTo>
                  <a:pt x="360" y="12"/>
                </a:lnTo>
                <a:lnTo>
                  <a:pt x="360" y="18"/>
                </a:lnTo>
                <a:lnTo>
                  <a:pt x="360" y="12"/>
                </a:lnTo>
                <a:lnTo>
                  <a:pt x="360" y="12"/>
                </a:lnTo>
                <a:lnTo>
                  <a:pt x="360" y="12"/>
                </a:lnTo>
                <a:lnTo>
                  <a:pt x="360" y="12"/>
                </a:lnTo>
                <a:lnTo>
                  <a:pt x="360" y="12"/>
                </a:lnTo>
                <a:lnTo>
                  <a:pt x="360" y="6"/>
                </a:lnTo>
                <a:lnTo>
                  <a:pt x="360" y="6"/>
                </a:lnTo>
                <a:lnTo>
                  <a:pt x="360" y="6"/>
                </a:lnTo>
                <a:lnTo>
                  <a:pt x="360" y="6"/>
                </a:lnTo>
                <a:lnTo>
                  <a:pt x="366" y="6"/>
                </a:lnTo>
                <a:lnTo>
                  <a:pt x="360" y="6"/>
                </a:lnTo>
                <a:lnTo>
                  <a:pt x="366" y="6"/>
                </a:lnTo>
                <a:lnTo>
                  <a:pt x="360" y="6"/>
                </a:lnTo>
                <a:lnTo>
                  <a:pt x="360" y="6"/>
                </a:lnTo>
                <a:lnTo>
                  <a:pt x="360" y="6"/>
                </a:lnTo>
                <a:lnTo>
                  <a:pt x="360" y="6"/>
                </a:lnTo>
                <a:lnTo>
                  <a:pt x="366" y="6"/>
                </a:lnTo>
                <a:lnTo>
                  <a:pt x="366" y="6"/>
                </a:lnTo>
                <a:lnTo>
                  <a:pt x="366" y="6"/>
                </a:lnTo>
                <a:lnTo>
                  <a:pt x="366" y="6"/>
                </a:lnTo>
                <a:lnTo>
                  <a:pt x="366" y="6"/>
                </a:lnTo>
                <a:lnTo>
                  <a:pt x="366" y="6"/>
                </a:lnTo>
                <a:lnTo>
                  <a:pt x="366" y="0"/>
                </a:lnTo>
                <a:lnTo>
                  <a:pt x="366" y="0"/>
                </a:lnTo>
                <a:lnTo>
                  <a:pt x="372" y="0"/>
                </a:lnTo>
                <a:lnTo>
                  <a:pt x="372" y="0"/>
                </a:lnTo>
                <a:lnTo>
                  <a:pt x="372" y="6"/>
                </a:lnTo>
                <a:lnTo>
                  <a:pt x="372" y="6"/>
                </a:lnTo>
                <a:lnTo>
                  <a:pt x="372" y="6"/>
                </a:lnTo>
                <a:lnTo>
                  <a:pt x="366" y="6"/>
                </a:lnTo>
                <a:lnTo>
                  <a:pt x="366" y="6"/>
                </a:lnTo>
                <a:lnTo>
                  <a:pt x="366" y="12"/>
                </a:lnTo>
                <a:lnTo>
                  <a:pt x="372" y="12"/>
                </a:lnTo>
                <a:lnTo>
                  <a:pt x="372" y="12"/>
                </a:lnTo>
                <a:lnTo>
                  <a:pt x="366" y="12"/>
                </a:lnTo>
                <a:lnTo>
                  <a:pt x="366" y="12"/>
                </a:lnTo>
                <a:lnTo>
                  <a:pt x="366" y="12"/>
                </a:lnTo>
                <a:lnTo>
                  <a:pt x="366" y="12"/>
                </a:lnTo>
                <a:lnTo>
                  <a:pt x="366" y="12"/>
                </a:lnTo>
                <a:lnTo>
                  <a:pt x="366" y="12"/>
                </a:lnTo>
                <a:lnTo>
                  <a:pt x="366" y="18"/>
                </a:lnTo>
                <a:lnTo>
                  <a:pt x="366" y="18"/>
                </a:lnTo>
                <a:lnTo>
                  <a:pt x="366" y="12"/>
                </a:lnTo>
                <a:lnTo>
                  <a:pt x="366" y="12"/>
                </a:lnTo>
                <a:lnTo>
                  <a:pt x="366" y="12"/>
                </a:lnTo>
                <a:lnTo>
                  <a:pt x="366" y="12"/>
                </a:lnTo>
                <a:lnTo>
                  <a:pt x="366" y="18"/>
                </a:lnTo>
                <a:lnTo>
                  <a:pt x="366" y="18"/>
                </a:lnTo>
                <a:lnTo>
                  <a:pt x="366" y="18"/>
                </a:lnTo>
                <a:lnTo>
                  <a:pt x="366" y="18"/>
                </a:lnTo>
                <a:lnTo>
                  <a:pt x="372" y="18"/>
                </a:lnTo>
                <a:lnTo>
                  <a:pt x="366" y="24"/>
                </a:lnTo>
                <a:lnTo>
                  <a:pt x="366" y="24"/>
                </a:lnTo>
                <a:lnTo>
                  <a:pt x="366" y="24"/>
                </a:lnTo>
                <a:lnTo>
                  <a:pt x="366" y="30"/>
                </a:lnTo>
                <a:lnTo>
                  <a:pt x="360" y="30"/>
                </a:lnTo>
                <a:lnTo>
                  <a:pt x="360" y="36"/>
                </a:lnTo>
                <a:lnTo>
                  <a:pt x="360" y="36"/>
                </a:lnTo>
                <a:lnTo>
                  <a:pt x="360" y="36"/>
                </a:lnTo>
                <a:lnTo>
                  <a:pt x="360" y="36"/>
                </a:lnTo>
                <a:lnTo>
                  <a:pt x="360" y="36"/>
                </a:lnTo>
                <a:lnTo>
                  <a:pt x="366" y="36"/>
                </a:lnTo>
                <a:lnTo>
                  <a:pt x="366" y="36"/>
                </a:lnTo>
                <a:lnTo>
                  <a:pt x="366" y="36"/>
                </a:lnTo>
                <a:lnTo>
                  <a:pt x="366" y="30"/>
                </a:lnTo>
                <a:lnTo>
                  <a:pt x="366" y="30"/>
                </a:lnTo>
                <a:lnTo>
                  <a:pt x="372" y="24"/>
                </a:lnTo>
                <a:lnTo>
                  <a:pt x="372" y="24"/>
                </a:lnTo>
                <a:lnTo>
                  <a:pt x="372" y="18"/>
                </a:lnTo>
                <a:lnTo>
                  <a:pt x="372" y="18"/>
                </a:lnTo>
                <a:lnTo>
                  <a:pt x="372" y="12"/>
                </a:lnTo>
                <a:lnTo>
                  <a:pt x="378" y="18"/>
                </a:lnTo>
                <a:lnTo>
                  <a:pt x="378" y="18"/>
                </a:lnTo>
                <a:lnTo>
                  <a:pt x="378" y="18"/>
                </a:lnTo>
                <a:lnTo>
                  <a:pt x="378" y="18"/>
                </a:lnTo>
                <a:lnTo>
                  <a:pt x="378" y="24"/>
                </a:lnTo>
                <a:lnTo>
                  <a:pt x="378" y="24"/>
                </a:lnTo>
                <a:lnTo>
                  <a:pt x="378" y="24"/>
                </a:lnTo>
                <a:lnTo>
                  <a:pt x="378" y="24"/>
                </a:lnTo>
                <a:lnTo>
                  <a:pt x="372" y="24"/>
                </a:lnTo>
                <a:lnTo>
                  <a:pt x="372" y="30"/>
                </a:lnTo>
                <a:lnTo>
                  <a:pt x="372" y="30"/>
                </a:lnTo>
                <a:lnTo>
                  <a:pt x="372" y="36"/>
                </a:lnTo>
                <a:lnTo>
                  <a:pt x="372" y="30"/>
                </a:lnTo>
                <a:lnTo>
                  <a:pt x="372" y="30"/>
                </a:lnTo>
                <a:lnTo>
                  <a:pt x="372" y="36"/>
                </a:lnTo>
                <a:lnTo>
                  <a:pt x="372" y="36"/>
                </a:lnTo>
                <a:lnTo>
                  <a:pt x="372" y="36"/>
                </a:lnTo>
                <a:lnTo>
                  <a:pt x="372" y="36"/>
                </a:lnTo>
                <a:lnTo>
                  <a:pt x="372" y="30"/>
                </a:lnTo>
                <a:lnTo>
                  <a:pt x="372" y="30"/>
                </a:lnTo>
                <a:lnTo>
                  <a:pt x="372" y="24"/>
                </a:lnTo>
                <a:lnTo>
                  <a:pt x="378" y="24"/>
                </a:lnTo>
                <a:lnTo>
                  <a:pt x="378" y="30"/>
                </a:lnTo>
                <a:lnTo>
                  <a:pt x="378" y="30"/>
                </a:lnTo>
                <a:lnTo>
                  <a:pt x="378" y="36"/>
                </a:lnTo>
                <a:lnTo>
                  <a:pt x="378" y="36"/>
                </a:lnTo>
                <a:lnTo>
                  <a:pt x="378" y="30"/>
                </a:lnTo>
                <a:lnTo>
                  <a:pt x="378" y="30"/>
                </a:lnTo>
                <a:lnTo>
                  <a:pt x="378" y="30"/>
                </a:lnTo>
                <a:lnTo>
                  <a:pt x="378" y="30"/>
                </a:lnTo>
                <a:lnTo>
                  <a:pt x="378" y="24"/>
                </a:lnTo>
                <a:lnTo>
                  <a:pt x="378" y="24"/>
                </a:lnTo>
                <a:lnTo>
                  <a:pt x="378" y="24"/>
                </a:lnTo>
                <a:lnTo>
                  <a:pt x="384" y="24"/>
                </a:lnTo>
                <a:lnTo>
                  <a:pt x="384" y="18"/>
                </a:lnTo>
                <a:lnTo>
                  <a:pt x="384" y="18"/>
                </a:lnTo>
                <a:lnTo>
                  <a:pt x="384" y="18"/>
                </a:lnTo>
                <a:lnTo>
                  <a:pt x="384" y="18"/>
                </a:lnTo>
                <a:lnTo>
                  <a:pt x="384" y="18"/>
                </a:lnTo>
                <a:lnTo>
                  <a:pt x="384" y="18"/>
                </a:lnTo>
                <a:lnTo>
                  <a:pt x="384" y="18"/>
                </a:lnTo>
                <a:lnTo>
                  <a:pt x="384" y="24"/>
                </a:lnTo>
                <a:lnTo>
                  <a:pt x="384" y="24"/>
                </a:lnTo>
                <a:lnTo>
                  <a:pt x="384" y="30"/>
                </a:lnTo>
                <a:lnTo>
                  <a:pt x="384" y="30"/>
                </a:lnTo>
                <a:lnTo>
                  <a:pt x="384" y="30"/>
                </a:lnTo>
                <a:lnTo>
                  <a:pt x="384" y="30"/>
                </a:lnTo>
                <a:lnTo>
                  <a:pt x="384" y="36"/>
                </a:lnTo>
                <a:lnTo>
                  <a:pt x="384" y="36"/>
                </a:lnTo>
                <a:lnTo>
                  <a:pt x="384" y="42"/>
                </a:lnTo>
                <a:lnTo>
                  <a:pt x="384" y="42"/>
                </a:lnTo>
                <a:lnTo>
                  <a:pt x="384" y="42"/>
                </a:lnTo>
                <a:lnTo>
                  <a:pt x="384" y="42"/>
                </a:lnTo>
                <a:lnTo>
                  <a:pt x="378" y="42"/>
                </a:lnTo>
                <a:lnTo>
                  <a:pt x="378" y="42"/>
                </a:lnTo>
                <a:lnTo>
                  <a:pt x="378" y="42"/>
                </a:lnTo>
                <a:lnTo>
                  <a:pt x="378" y="48"/>
                </a:lnTo>
                <a:lnTo>
                  <a:pt x="378" y="48"/>
                </a:lnTo>
                <a:lnTo>
                  <a:pt x="372" y="54"/>
                </a:lnTo>
                <a:lnTo>
                  <a:pt x="378" y="54"/>
                </a:lnTo>
                <a:lnTo>
                  <a:pt x="378" y="54"/>
                </a:lnTo>
                <a:lnTo>
                  <a:pt x="378" y="60"/>
                </a:lnTo>
                <a:lnTo>
                  <a:pt x="378" y="60"/>
                </a:lnTo>
                <a:lnTo>
                  <a:pt x="384" y="60"/>
                </a:lnTo>
                <a:lnTo>
                  <a:pt x="384" y="60"/>
                </a:lnTo>
                <a:lnTo>
                  <a:pt x="384" y="60"/>
                </a:lnTo>
                <a:lnTo>
                  <a:pt x="378" y="66"/>
                </a:lnTo>
                <a:lnTo>
                  <a:pt x="378" y="66"/>
                </a:lnTo>
                <a:lnTo>
                  <a:pt x="378" y="66"/>
                </a:lnTo>
                <a:lnTo>
                  <a:pt x="378" y="66"/>
                </a:lnTo>
                <a:lnTo>
                  <a:pt x="378" y="72"/>
                </a:lnTo>
                <a:lnTo>
                  <a:pt x="378" y="72"/>
                </a:lnTo>
                <a:lnTo>
                  <a:pt x="378" y="72"/>
                </a:lnTo>
                <a:lnTo>
                  <a:pt x="372" y="78"/>
                </a:lnTo>
                <a:lnTo>
                  <a:pt x="372" y="78"/>
                </a:lnTo>
                <a:lnTo>
                  <a:pt x="372" y="78"/>
                </a:lnTo>
                <a:lnTo>
                  <a:pt x="378" y="84"/>
                </a:lnTo>
                <a:lnTo>
                  <a:pt x="378" y="84"/>
                </a:lnTo>
                <a:lnTo>
                  <a:pt x="378" y="90"/>
                </a:lnTo>
                <a:lnTo>
                  <a:pt x="378" y="90"/>
                </a:lnTo>
                <a:lnTo>
                  <a:pt x="378" y="96"/>
                </a:lnTo>
                <a:lnTo>
                  <a:pt x="378" y="96"/>
                </a:lnTo>
                <a:lnTo>
                  <a:pt x="378" y="96"/>
                </a:lnTo>
                <a:lnTo>
                  <a:pt x="378" y="96"/>
                </a:lnTo>
                <a:lnTo>
                  <a:pt x="378" y="96"/>
                </a:lnTo>
                <a:lnTo>
                  <a:pt x="378" y="96"/>
                </a:lnTo>
                <a:lnTo>
                  <a:pt x="378" y="102"/>
                </a:lnTo>
                <a:lnTo>
                  <a:pt x="378" y="102"/>
                </a:lnTo>
                <a:lnTo>
                  <a:pt x="378" y="102"/>
                </a:lnTo>
                <a:lnTo>
                  <a:pt x="378" y="102"/>
                </a:lnTo>
                <a:lnTo>
                  <a:pt x="378" y="102"/>
                </a:lnTo>
                <a:lnTo>
                  <a:pt x="372" y="108"/>
                </a:lnTo>
                <a:lnTo>
                  <a:pt x="372" y="108"/>
                </a:lnTo>
                <a:lnTo>
                  <a:pt x="372" y="108"/>
                </a:lnTo>
                <a:lnTo>
                  <a:pt x="372" y="108"/>
                </a:lnTo>
                <a:lnTo>
                  <a:pt x="372" y="108"/>
                </a:lnTo>
                <a:lnTo>
                  <a:pt x="372" y="108"/>
                </a:lnTo>
                <a:lnTo>
                  <a:pt x="366" y="108"/>
                </a:lnTo>
                <a:lnTo>
                  <a:pt x="366" y="108"/>
                </a:lnTo>
                <a:lnTo>
                  <a:pt x="366" y="108"/>
                </a:lnTo>
                <a:lnTo>
                  <a:pt x="366" y="108"/>
                </a:lnTo>
                <a:lnTo>
                  <a:pt x="360" y="108"/>
                </a:lnTo>
                <a:lnTo>
                  <a:pt x="360" y="108"/>
                </a:lnTo>
                <a:lnTo>
                  <a:pt x="354" y="108"/>
                </a:lnTo>
                <a:lnTo>
                  <a:pt x="354" y="114"/>
                </a:lnTo>
                <a:lnTo>
                  <a:pt x="354" y="114"/>
                </a:lnTo>
                <a:lnTo>
                  <a:pt x="354" y="114"/>
                </a:lnTo>
                <a:lnTo>
                  <a:pt x="354" y="120"/>
                </a:lnTo>
                <a:lnTo>
                  <a:pt x="354" y="120"/>
                </a:lnTo>
                <a:lnTo>
                  <a:pt x="354" y="120"/>
                </a:lnTo>
                <a:lnTo>
                  <a:pt x="360" y="120"/>
                </a:lnTo>
                <a:lnTo>
                  <a:pt x="360" y="120"/>
                </a:lnTo>
                <a:lnTo>
                  <a:pt x="360" y="120"/>
                </a:lnTo>
                <a:lnTo>
                  <a:pt x="360" y="120"/>
                </a:lnTo>
                <a:lnTo>
                  <a:pt x="366" y="120"/>
                </a:lnTo>
                <a:lnTo>
                  <a:pt x="366" y="120"/>
                </a:lnTo>
                <a:lnTo>
                  <a:pt x="366" y="120"/>
                </a:lnTo>
                <a:lnTo>
                  <a:pt x="366" y="126"/>
                </a:lnTo>
                <a:lnTo>
                  <a:pt x="366" y="132"/>
                </a:lnTo>
                <a:lnTo>
                  <a:pt x="366" y="132"/>
                </a:lnTo>
                <a:lnTo>
                  <a:pt x="366" y="132"/>
                </a:lnTo>
                <a:lnTo>
                  <a:pt x="366" y="132"/>
                </a:lnTo>
                <a:lnTo>
                  <a:pt x="366" y="144"/>
                </a:lnTo>
                <a:lnTo>
                  <a:pt x="366" y="144"/>
                </a:lnTo>
                <a:lnTo>
                  <a:pt x="366" y="150"/>
                </a:lnTo>
                <a:lnTo>
                  <a:pt x="360" y="150"/>
                </a:lnTo>
                <a:lnTo>
                  <a:pt x="360" y="150"/>
                </a:lnTo>
                <a:lnTo>
                  <a:pt x="360" y="156"/>
                </a:lnTo>
                <a:lnTo>
                  <a:pt x="360" y="156"/>
                </a:lnTo>
                <a:lnTo>
                  <a:pt x="360" y="156"/>
                </a:lnTo>
                <a:lnTo>
                  <a:pt x="360" y="162"/>
                </a:lnTo>
                <a:lnTo>
                  <a:pt x="360" y="162"/>
                </a:lnTo>
                <a:lnTo>
                  <a:pt x="360" y="162"/>
                </a:lnTo>
                <a:lnTo>
                  <a:pt x="360" y="168"/>
                </a:lnTo>
                <a:lnTo>
                  <a:pt x="360" y="168"/>
                </a:lnTo>
                <a:lnTo>
                  <a:pt x="360" y="168"/>
                </a:lnTo>
                <a:lnTo>
                  <a:pt x="354" y="168"/>
                </a:lnTo>
                <a:lnTo>
                  <a:pt x="354" y="168"/>
                </a:lnTo>
                <a:lnTo>
                  <a:pt x="354" y="174"/>
                </a:lnTo>
                <a:lnTo>
                  <a:pt x="354" y="174"/>
                </a:lnTo>
                <a:lnTo>
                  <a:pt x="348" y="174"/>
                </a:lnTo>
                <a:lnTo>
                  <a:pt x="348" y="174"/>
                </a:lnTo>
                <a:lnTo>
                  <a:pt x="348" y="180"/>
                </a:lnTo>
                <a:lnTo>
                  <a:pt x="348" y="180"/>
                </a:lnTo>
                <a:lnTo>
                  <a:pt x="342" y="180"/>
                </a:lnTo>
                <a:lnTo>
                  <a:pt x="342" y="174"/>
                </a:lnTo>
                <a:lnTo>
                  <a:pt x="342" y="180"/>
                </a:lnTo>
                <a:lnTo>
                  <a:pt x="342" y="180"/>
                </a:lnTo>
                <a:lnTo>
                  <a:pt x="342" y="180"/>
                </a:lnTo>
                <a:lnTo>
                  <a:pt x="342" y="186"/>
                </a:lnTo>
                <a:lnTo>
                  <a:pt x="342" y="186"/>
                </a:lnTo>
                <a:lnTo>
                  <a:pt x="342" y="186"/>
                </a:lnTo>
                <a:lnTo>
                  <a:pt x="342" y="192"/>
                </a:lnTo>
                <a:lnTo>
                  <a:pt x="336" y="192"/>
                </a:lnTo>
                <a:lnTo>
                  <a:pt x="336" y="192"/>
                </a:lnTo>
                <a:lnTo>
                  <a:pt x="336" y="192"/>
                </a:lnTo>
                <a:lnTo>
                  <a:pt x="336" y="192"/>
                </a:lnTo>
                <a:lnTo>
                  <a:pt x="336" y="198"/>
                </a:lnTo>
                <a:lnTo>
                  <a:pt x="336" y="198"/>
                </a:lnTo>
                <a:lnTo>
                  <a:pt x="342" y="192"/>
                </a:lnTo>
                <a:lnTo>
                  <a:pt x="342" y="192"/>
                </a:lnTo>
                <a:lnTo>
                  <a:pt x="342" y="192"/>
                </a:lnTo>
                <a:lnTo>
                  <a:pt x="342" y="192"/>
                </a:lnTo>
                <a:lnTo>
                  <a:pt x="342" y="198"/>
                </a:lnTo>
                <a:lnTo>
                  <a:pt x="342" y="198"/>
                </a:lnTo>
                <a:lnTo>
                  <a:pt x="336" y="198"/>
                </a:lnTo>
                <a:lnTo>
                  <a:pt x="342" y="204"/>
                </a:lnTo>
                <a:lnTo>
                  <a:pt x="336" y="204"/>
                </a:lnTo>
                <a:lnTo>
                  <a:pt x="342" y="204"/>
                </a:lnTo>
                <a:lnTo>
                  <a:pt x="342" y="204"/>
                </a:lnTo>
                <a:lnTo>
                  <a:pt x="342" y="210"/>
                </a:lnTo>
                <a:lnTo>
                  <a:pt x="336" y="204"/>
                </a:lnTo>
                <a:lnTo>
                  <a:pt x="336" y="204"/>
                </a:lnTo>
                <a:lnTo>
                  <a:pt x="336" y="210"/>
                </a:lnTo>
                <a:lnTo>
                  <a:pt x="330" y="210"/>
                </a:lnTo>
                <a:lnTo>
                  <a:pt x="330" y="210"/>
                </a:lnTo>
                <a:lnTo>
                  <a:pt x="330" y="210"/>
                </a:lnTo>
                <a:lnTo>
                  <a:pt x="330" y="210"/>
                </a:lnTo>
                <a:lnTo>
                  <a:pt x="330" y="210"/>
                </a:lnTo>
                <a:lnTo>
                  <a:pt x="330" y="210"/>
                </a:lnTo>
                <a:lnTo>
                  <a:pt x="324" y="210"/>
                </a:lnTo>
                <a:lnTo>
                  <a:pt x="324" y="210"/>
                </a:lnTo>
                <a:lnTo>
                  <a:pt x="324" y="210"/>
                </a:lnTo>
                <a:lnTo>
                  <a:pt x="324" y="210"/>
                </a:lnTo>
                <a:lnTo>
                  <a:pt x="324" y="210"/>
                </a:lnTo>
                <a:lnTo>
                  <a:pt x="324" y="210"/>
                </a:lnTo>
                <a:lnTo>
                  <a:pt x="318" y="210"/>
                </a:lnTo>
                <a:lnTo>
                  <a:pt x="318" y="210"/>
                </a:lnTo>
                <a:lnTo>
                  <a:pt x="318" y="210"/>
                </a:lnTo>
                <a:lnTo>
                  <a:pt x="318" y="210"/>
                </a:lnTo>
                <a:lnTo>
                  <a:pt x="318" y="210"/>
                </a:lnTo>
                <a:lnTo>
                  <a:pt x="312" y="210"/>
                </a:lnTo>
                <a:lnTo>
                  <a:pt x="312" y="210"/>
                </a:lnTo>
                <a:lnTo>
                  <a:pt x="312" y="210"/>
                </a:lnTo>
                <a:lnTo>
                  <a:pt x="312" y="204"/>
                </a:lnTo>
                <a:lnTo>
                  <a:pt x="312" y="204"/>
                </a:lnTo>
                <a:lnTo>
                  <a:pt x="312" y="204"/>
                </a:lnTo>
                <a:lnTo>
                  <a:pt x="312" y="204"/>
                </a:lnTo>
                <a:lnTo>
                  <a:pt x="312" y="204"/>
                </a:lnTo>
                <a:lnTo>
                  <a:pt x="306" y="204"/>
                </a:lnTo>
                <a:lnTo>
                  <a:pt x="306" y="204"/>
                </a:lnTo>
                <a:lnTo>
                  <a:pt x="306" y="204"/>
                </a:lnTo>
                <a:lnTo>
                  <a:pt x="306" y="204"/>
                </a:lnTo>
                <a:lnTo>
                  <a:pt x="300" y="198"/>
                </a:lnTo>
                <a:lnTo>
                  <a:pt x="294" y="198"/>
                </a:lnTo>
                <a:lnTo>
                  <a:pt x="288" y="198"/>
                </a:lnTo>
                <a:lnTo>
                  <a:pt x="288" y="198"/>
                </a:lnTo>
                <a:lnTo>
                  <a:pt x="288" y="204"/>
                </a:lnTo>
                <a:lnTo>
                  <a:pt x="282" y="198"/>
                </a:lnTo>
                <a:lnTo>
                  <a:pt x="282" y="198"/>
                </a:lnTo>
                <a:lnTo>
                  <a:pt x="282" y="198"/>
                </a:lnTo>
                <a:lnTo>
                  <a:pt x="276" y="198"/>
                </a:lnTo>
                <a:lnTo>
                  <a:pt x="270" y="210"/>
                </a:lnTo>
                <a:lnTo>
                  <a:pt x="264" y="210"/>
                </a:lnTo>
                <a:lnTo>
                  <a:pt x="264" y="210"/>
                </a:lnTo>
                <a:lnTo>
                  <a:pt x="264" y="210"/>
                </a:lnTo>
                <a:lnTo>
                  <a:pt x="258" y="216"/>
                </a:lnTo>
                <a:lnTo>
                  <a:pt x="258" y="216"/>
                </a:lnTo>
                <a:lnTo>
                  <a:pt x="258" y="216"/>
                </a:lnTo>
                <a:lnTo>
                  <a:pt x="258" y="216"/>
                </a:lnTo>
                <a:lnTo>
                  <a:pt x="258" y="222"/>
                </a:lnTo>
                <a:lnTo>
                  <a:pt x="258" y="222"/>
                </a:lnTo>
                <a:lnTo>
                  <a:pt x="258" y="228"/>
                </a:lnTo>
                <a:lnTo>
                  <a:pt x="216" y="264"/>
                </a:lnTo>
                <a:lnTo>
                  <a:pt x="210" y="264"/>
                </a:lnTo>
                <a:lnTo>
                  <a:pt x="210" y="264"/>
                </a:lnTo>
                <a:lnTo>
                  <a:pt x="210" y="264"/>
                </a:lnTo>
                <a:lnTo>
                  <a:pt x="204" y="258"/>
                </a:lnTo>
                <a:lnTo>
                  <a:pt x="198" y="258"/>
                </a:lnTo>
                <a:lnTo>
                  <a:pt x="198" y="258"/>
                </a:lnTo>
                <a:lnTo>
                  <a:pt x="198" y="258"/>
                </a:lnTo>
                <a:lnTo>
                  <a:pt x="198" y="258"/>
                </a:lnTo>
                <a:lnTo>
                  <a:pt x="192" y="258"/>
                </a:lnTo>
                <a:lnTo>
                  <a:pt x="192" y="252"/>
                </a:lnTo>
                <a:lnTo>
                  <a:pt x="186" y="252"/>
                </a:lnTo>
                <a:lnTo>
                  <a:pt x="186" y="252"/>
                </a:lnTo>
                <a:lnTo>
                  <a:pt x="180" y="246"/>
                </a:lnTo>
                <a:lnTo>
                  <a:pt x="180" y="246"/>
                </a:lnTo>
                <a:lnTo>
                  <a:pt x="180" y="246"/>
                </a:lnTo>
                <a:lnTo>
                  <a:pt x="180" y="246"/>
                </a:lnTo>
                <a:lnTo>
                  <a:pt x="180" y="240"/>
                </a:lnTo>
                <a:lnTo>
                  <a:pt x="180" y="240"/>
                </a:lnTo>
                <a:lnTo>
                  <a:pt x="174" y="240"/>
                </a:lnTo>
                <a:lnTo>
                  <a:pt x="174" y="240"/>
                </a:lnTo>
                <a:lnTo>
                  <a:pt x="180" y="240"/>
                </a:lnTo>
                <a:lnTo>
                  <a:pt x="180" y="240"/>
                </a:lnTo>
                <a:lnTo>
                  <a:pt x="180" y="240"/>
                </a:lnTo>
                <a:lnTo>
                  <a:pt x="180" y="234"/>
                </a:lnTo>
                <a:lnTo>
                  <a:pt x="180" y="234"/>
                </a:lnTo>
                <a:lnTo>
                  <a:pt x="180" y="234"/>
                </a:lnTo>
                <a:lnTo>
                  <a:pt x="180" y="234"/>
                </a:lnTo>
                <a:lnTo>
                  <a:pt x="174" y="228"/>
                </a:lnTo>
                <a:lnTo>
                  <a:pt x="174" y="228"/>
                </a:lnTo>
                <a:lnTo>
                  <a:pt x="174" y="228"/>
                </a:lnTo>
                <a:lnTo>
                  <a:pt x="174" y="228"/>
                </a:lnTo>
                <a:lnTo>
                  <a:pt x="174" y="228"/>
                </a:lnTo>
                <a:lnTo>
                  <a:pt x="174" y="228"/>
                </a:lnTo>
                <a:lnTo>
                  <a:pt x="174" y="228"/>
                </a:lnTo>
                <a:lnTo>
                  <a:pt x="174" y="222"/>
                </a:lnTo>
                <a:lnTo>
                  <a:pt x="174" y="222"/>
                </a:lnTo>
                <a:lnTo>
                  <a:pt x="174" y="222"/>
                </a:lnTo>
                <a:lnTo>
                  <a:pt x="174" y="222"/>
                </a:lnTo>
                <a:lnTo>
                  <a:pt x="174" y="222"/>
                </a:lnTo>
                <a:lnTo>
                  <a:pt x="174" y="222"/>
                </a:lnTo>
                <a:lnTo>
                  <a:pt x="174" y="222"/>
                </a:lnTo>
                <a:lnTo>
                  <a:pt x="174" y="222"/>
                </a:lnTo>
                <a:lnTo>
                  <a:pt x="168" y="222"/>
                </a:lnTo>
                <a:lnTo>
                  <a:pt x="168" y="216"/>
                </a:lnTo>
                <a:lnTo>
                  <a:pt x="174" y="216"/>
                </a:lnTo>
                <a:lnTo>
                  <a:pt x="168" y="216"/>
                </a:lnTo>
                <a:lnTo>
                  <a:pt x="168" y="216"/>
                </a:lnTo>
                <a:lnTo>
                  <a:pt x="168" y="216"/>
                </a:lnTo>
                <a:lnTo>
                  <a:pt x="168" y="216"/>
                </a:lnTo>
                <a:lnTo>
                  <a:pt x="168" y="216"/>
                </a:lnTo>
                <a:lnTo>
                  <a:pt x="168" y="216"/>
                </a:lnTo>
                <a:lnTo>
                  <a:pt x="168" y="216"/>
                </a:lnTo>
                <a:lnTo>
                  <a:pt x="168" y="216"/>
                </a:lnTo>
                <a:lnTo>
                  <a:pt x="168" y="216"/>
                </a:lnTo>
                <a:lnTo>
                  <a:pt x="168" y="216"/>
                </a:lnTo>
                <a:lnTo>
                  <a:pt x="168" y="216"/>
                </a:lnTo>
                <a:lnTo>
                  <a:pt x="168" y="216"/>
                </a:lnTo>
                <a:lnTo>
                  <a:pt x="168" y="216"/>
                </a:lnTo>
                <a:lnTo>
                  <a:pt x="162" y="216"/>
                </a:lnTo>
                <a:lnTo>
                  <a:pt x="162" y="216"/>
                </a:lnTo>
                <a:lnTo>
                  <a:pt x="162" y="222"/>
                </a:lnTo>
                <a:lnTo>
                  <a:pt x="162" y="222"/>
                </a:lnTo>
                <a:lnTo>
                  <a:pt x="162" y="222"/>
                </a:lnTo>
                <a:lnTo>
                  <a:pt x="162" y="222"/>
                </a:lnTo>
                <a:lnTo>
                  <a:pt x="162" y="222"/>
                </a:lnTo>
                <a:lnTo>
                  <a:pt x="162" y="222"/>
                </a:lnTo>
                <a:lnTo>
                  <a:pt x="162" y="222"/>
                </a:lnTo>
                <a:lnTo>
                  <a:pt x="162" y="222"/>
                </a:lnTo>
                <a:lnTo>
                  <a:pt x="162" y="222"/>
                </a:lnTo>
                <a:lnTo>
                  <a:pt x="162" y="222"/>
                </a:lnTo>
                <a:lnTo>
                  <a:pt x="156" y="222"/>
                </a:lnTo>
                <a:lnTo>
                  <a:pt x="156" y="222"/>
                </a:lnTo>
                <a:lnTo>
                  <a:pt x="156" y="222"/>
                </a:lnTo>
                <a:lnTo>
                  <a:pt x="156" y="228"/>
                </a:lnTo>
                <a:lnTo>
                  <a:pt x="156" y="228"/>
                </a:lnTo>
                <a:lnTo>
                  <a:pt x="156" y="228"/>
                </a:lnTo>
                <a:lnTo>
                  <a:pt x="150" y="228"/>
                </a:lnTo>
                <a:lnTo>
                  <a:pt x="156" y="228"/>
                </a:lnTo>
                <a:lnTo>
                  <a:pt x="150" y="228"/>
                </a:lnTo>
                <a:lnTo>
                  <a:pt x="150" y="234"/>
                </a:lnTo>
                <a:lnTo>
                  <a:pt x="150" y="234"/>
                </a:lnTo>
                <a:lnTo>
                  <a:pt x="150" y="234"/>
                </a:lnTo>
                <a:lnTo>
                  <a:pt x="150" y="234"/>
                </a:lnTo>
                <a:lnTo>
                  <a:pt x="150" y="234"/>
                </a:lnTo>
                <a:lnTo>
                  <a:pt x="150" y="240"/>
                </a:lnTo>
                <a:lnTo>
                  <a:pt x="150" y="240"/>
                </a:lnTo>
                <a:lnTo>
                  <a:pt x="150" y="240"/>
                </a:lnTo>
                <a:lnTo>
                  <a:pt x="150" y="240"/>
                </a:lnTo>
                <a:lnTo>
                  <a:pt x="150" y="246"/>
                </a:lnTo>
                <a:lnTo>
                  <a:pt x="150" y="246"/>
                </a:lnTo>
                <a:lnTo>
                  <a:pt x="150" y="246"/>
                </a:lnTo>
                <a:lnTo>
                  <a:pt x="150" y="246"/>
                </a:lnTo>
                <a:lnTo>
                  <a:pt x="150" y="246"/>
                </a:lnTo>
                <a:lnTo>
                  <a:pt x="156" y="246"/>
                </a:lnTo>
                <a:lnTo>
                  <a:pt x="156" y="246"/>
                </a:lnTo>
                <a:lnTo>
                  <a:pt x="156" y="246"/>
                </a:lnTo>
                <a:lnTo>
                  <a:pt x="156" y="252"/>
                </a:lnTo>
                <a:lnTo>
                  <a:pt x="156" y="252"/>
                </a:lnTo>
                <a:lnTo>
                  <a:pt x="156" y="252"/>
                </a:lnTo>
                <a:lnTo>
                  <a:pt x="156" y="258"/>
                </a:lnTo>
                <a:lnTo>
                  <a:pt x="156" y="258"/>
                </a:lnTo>
                <a:lnTo>
                  <a:pt x="156" y="258"/>
                </a:lnTo>
                <a:lnTo>
                  <a:pt x="156" y="258"/>
                </a:lnTo>
                <a:lnTo>
                  <a:pt x="156" y="258"/>
                </a:lnTo>
                <a:lnTo>
                  <a:pt x="162" y="258"/>
                </a:lnTo>
                <a:lnTo>
                  <a:pt x="162" y="258"/>
                </a:lnTo>
                <a:lnTo>
                  <a:pt x="162" y="258"/>
                </a:lnTo>
                <a:lnTo>
                  <a:pt x="162" y="258"/>
                </a:lnTo>
                <a:lnTo>
                  <a:pt x="162" y="258"/>
                </a:lnTo>
                <a:lnTo>
                  <a:pt x="162" y="258"/>
                </a:lnTo>
                <a:lnTo>
                  <a:pt x="162" y="264"/>
                </a:lnTo>
                <a:lnTo>
                  <a:pt x="162" y="264"/>
                </a:lnTo>
                <a:lnTo>
                  <a:pt x="162" y="264"/>
                </a:lnTo>
                <a:lnTo>
                  <a:pt x="162" y="264"/>
                </a:lnTo>
                <a:lnTo>
                  <a:pt x="162" y="270"/>
                </a:lnTo>
                <a:lnTo>
                  <a:pt x="162" y="270"/>
                </a:lnTo>
                <a:lnTo>
                  <a:pt x="162" y="270"/>
                </a:lnTo>
                <a:lnTo>
                  <a:pt x="162" y="270"/>
                </a:lnTo>
                <a:lnTo>
                  <a:pt x="162" y="270"/>
                </a:lnTo>
                <a:lnTo>
                  <a:pt x="162" y="270"/>
                </a:lnTo>
                <a:lnTo>
                  <a:pt x="162" y="270"/>
                </a:lnTo>
                <a:lnTo>
                  <a:pt x="162" y="276"/>
                </a:lnTo>
                <a:lnTo>
                  <a:pt x="162" y="276"/>
                </a:lnTo>
                <a:lnTo>
                  <a:pt x="162" y="270"/>
                </a:lnTo>
                <a:lnTo>
                  <a:pt x="162" y="270"/>
                </a:lnTo>
                <a:lnTo>
                  <a:pt x="156" y="270"/>
                </a:lnTo>
                <a:lnTo>
                  <a:pt x="162" y="276"/>
                </a:lnTo>
                <a:lnTo>
                  <a:pt x="156" y="276"/>
                </a:lnTo>
                <a:lnTo>
                  <a:pt x="156" y="276"/>
                </a:lnTo>
                <a:lnTo>
                  <a:pt x="156" y="276"/>
                </a:lnTo>
                <a:lnTo>
                  <a:pt x="150" y="276"/>
                </a:lnTo>
                <a:lnTo>
                  <a:pt x="150" y="276"/>
                </a:lnTo>
                <a:lnTo>
                  <a:pt x="150" y="276"/>
                </a:lnTo>
                <a:lnTo>
                  <a:pt x="150" y="276"/>
                </a:lnTo>
                <a:lnTo>
                  <a:pt x="150" y="282"/>
                </a:lnTo>
                <a:lnTo>
                  <a:pt x="150" y="282"/>
                </a:lnTo>
                <a:lnTo>
                  <a:pt x="150" y="282"/>
                </a:lnTo>
                <a:lnTo>
                  <a:pt x="150" y="276"/>
                </a:lnTo>
                <a:lnTo>
                  <a:pt x="150" y="276"/>
                </a:lnTo>
                <a:lnTo>
                  <a:pt x="150" y="276"/>
                </a:lnTo>
                <a:lnTo>
                  <a:pt x="150" y="276"/>
                </a:lnTo>
                <a:lnTo>
                  <a:pt x="150" y="282"/>
                </a:lnTo>
                <a:lnTo>
                  <a:pt x="144" y="282"/>
                </a:lnTo>
                <a:lnTo>
                  <a:pt x="144" y="282"/>
                </a:lnTo>
                <a:lnTo>
                  <a:pt x="144" y="288"/>
                </a:lnTo>
                <a:lnTo>
                  <a:pt x="144" y="288"/>
                </a:lnTo>
                <a:lnTo>
                  <a:pt x="144" y="288"/>
                </a:lnTo>
                <a:lnTo>
                  <a:pt x="144" y="288"/>
                </a:lnTo>
                <a:lnTo>
                  <a:pt x="144" y="288"/>
                </a:lnTo>
                <a:lnTo>
                  <a:pt x="144" y="288"/>
                </a:lnTo>
                <a:lnTo>
                  <a:pt x="144" y="288"/>
                </a:lnTo>
                <a:lnTo>
                  <a:pt x="138" y="288"/>
                </a:lnTo>
                <a:lnTo>
                  <a:pt x="138" y="288"/>
                </a:lnTo>
                <a:lnTo>
                  <a:pt x="138" y="288"/>
                </a:lnTo>
                <a:lnTo>
                  <a:pt x="132" y="288"/>
                </a:lnTo>
                <a:lnTo>
                  <a:pt x="132" y="288"/>
                </a:lnTo>
                <a:lnTo>
                  <a:pt x="132" y="288"/>
                </a:lnTo>
                <a:lnTo>
                  <a:pt x="132" y="288"/>
                </a:lnTo>
                <a:lnTo>
                  <a:pt x="138" y="288"/>
                </a:lnTo>
                <a:lnTo>
                  <a:pt x="138" y="288"/>
                </a:lnTo>
                <a:lnTo>
                  <a:pt x="132" y="294"/>
                </a:lnTo>
                <a:lnTo>
                  <a:pt x="132" y="294"/>
                </a:lnTo>
                <a:lnTo>
                  <a:pt x="132" y="294"/>
                </a:lnTo>
                <a:lnTo>
                  <a:pt x="132" y="288"/>
                </a:lnTo>
                <a:lnTo>
                  <a:pt x="132" y="288"/>
                </a:lnTo>
                <a:lnTo>
                  <a:pt x="126" y="288"/>
                </a:lnTo>
                <a:lnTo>
                  <a:pt x="126" y="294"/>
                </a:lnTo>
                <a:lnTo>
                  <a:pt x="126" y="294"/>
                </a:lnTo>
                <a:lnTo>
                  <a:pt x="126" y="294"/>
                </a:lnTo>
                <a:lnTo>
                  <a:pt x="126" y="294"/>
                </a:lnTo>
                <a:lnTo>
                  <a:pt x="126" y="294"/>
                </a:lnTo>
                <a:lnTo>
                  <a:pt x="126" y="294"/>
                </a:lnTo>
                <a:lnTo>
                  <a:pt x="126" y="294"/>
                </a:lnTo>
                <a:lnTo>
                  <a:pt x="120" y="294"/>
                </a:lnTo>
                <a:lnTo>
                  <a:pt x="126" y="300"/>
                </a:lnTo>
                <a:lnTo>
                  <a:pt x="126" y="300"/>
                </a:lnTo>
                <a:lnTo>
                  <a:pt x="126" y="300"/>
                </a:lnTo>
                <a:lnTo>
                  <a:pt x="126" y="300"/>
                </a:lnTo>
                <a:lnTo>
                  <a:pt x="126" y="300"/>
                </a:lnTo>
                <a:lnTo>
                  <a:pt x="126" y="300"/>
                </a:lnTo>
                <a:lnTo>
                  <a:pt x="126" y="300"/>
                </a:lnTo>
                <a:lnTo>
                  <a:pt x="126" y="300"/>
                </a:lnTo>
                <a:lnTo>
                  <a:pt x="120" y="300"/>
                </a:lnTo>
                <a:lnTo>
                  <a:pt x="120" y="300"/>
                </a:lnTo>
                <a:lnTo>
                  <a:pt x="120" y="306"/>
                </a:lnTo>
                <a:lnTo>
                  <a:pt x="120" y="306"/>
                </a:lnTo>
                <a:lnTo>
                  <a:pt x="120" y="300"/>
                </a:lnTo>
                <a:lnTo>
                  <a:pt x="120" y="300"/>
                </a:lnTo>
                <a:lnTo>
                  <a:pt x="114" y="300"/>
                </a:lnTo>
                <a:lnTo>
                  <a:pt x="114" y="306"/>
                </a:lnTo>
                <a:lnTo>
                  <a:pt x="114" y="306"/>
                </a:lnTo>
                <a:lnTo>
                  <a:pt x="114" y="306"/>
                </a:lnTo>
                <a:lnTo>
                  <a:pt x="114" y="306"/>
                </a:lnTo>
                <a:lnTo>
                  <a:pt x="114" y="306"/>
                </a:lnTo>
                <a:lnTo>
                  <a:pt x="108" y="306"/>
                </a:lnTo>
                <a:lnTo>
                  <a:pt x="108" y="306"/>
                </a:lnTo>
                <a:lnTo>
                  <a:pt x="108" y="300"/>
                </a:lnTo>
                <a:lnTo>
                  <a:pt x="108" y="300"/>
                </a:lnTo>
                <a:lnTo>
                  <a:pt x="108" y="300"/>
                </a:lnTo>
                <a:lnTo>
                  <a:pt x="108" y="306"/>
                </a:lnTo>
                <a:lnTo>
                  <a:pt x="108" y="306"/>
                </a:lnTo>
                <a:lnTo>
                  <a:pt x="102" y="306"/>
                </a:lnTo>
                <a:lnTo>
                  <a:pt x="102" y="306"/>
                </a:lnTo>
                <a:lnTo>
                  <a:pt x="102" y="306"/>
                </a:lnTo>
                <a:lnTo>
                  <a:pt x="102" y="306"/>
                </a:lnTo>
                <a:lnTo>
                  <a:pt x="102" y="306"/>
                </a:lnTo>
                <a:lnTo>
                  <a:pt x="96" y="306"/>
                </a:lnTo>
                <a:lnTo>
                  <a:pt x="96" y="306"/>
                </a:lnTo>
                <a:lnTo>
                  <a:pt x="96" y="306"/>
                </a:lnTo>
                <a:lnTo>
                  <a:pt x="96" y="306"/>
                </a:lnTo>
                <a:lnTo>
                  <a:pt x="96" y="306"/>
                </a:lnTo>
                <a:lnTo>
                  <a:pt x="96" y="306"/>
                </a:lnTo>
                <a:lnTo>
                  <a:pt x="96" y="306"/>
                </a:lnTo>
                <a:lnTo>
                  <a:pt x="96" y="306"/>
                </a:lnTo>
                <a:lnTo>
                  <a:pt x="90" y="306"/>
                </a:lnTo>
                <a:lnTo>
                  <a:pt x="90" y="306"/>
                </a:lnTo>
                <a:lnTo>
                  <a:pt x="90" y="306"/>
                </a:lnTo>
                <a:lnTo>
                  <a:pt x="90" y="306"/>
                </a:lnTo>
                <a:lnTo>
                  <a:pt x="90" y="306"/>
                </a:lnTo>
                <a:lnTo>
                  <a:pt x="90" y="306"/>
                </a:lnTo>
                <a:lnTo>
                  <a:pt x="90" y="306"/>
                </a:lnTo>
                <a:lnTo>
                  <a:pt x="90" y="306"/>
                </a:lnTo>
                <a:lnTo>
                  <a:pt x="90" y="306"/>
                </a:lnTo>
                <a:lnTo>
                  <a:pt x="90" y="306"/>
                </a:lnTo>
                <a:lnTo>
                  <a:pt x="90" y="306"/>
                </a:lnTo>
                <a:lnTo>
                  <a:pt x="84" y="306"/>
                </a:lnTo>
                <a:lnTo>
                  <a:pt x="90" y="306"/>
                </a:lnTo>
                <a:lnTo>
                  <a:pt x="84" y="312"/>
                </a:lnTo>
                <a:lnTo>
                  <a:pt x="84" y="312"/>
                </a:lnTo>
                <a:lnTo>
                  <a:pt x="84" y="312"/>
                </a:lnTo>
                <a:lnTo>
                  <a:pt x="84" y="312"/>
                </a:lnTo>
                <a:lnTo>
                  <a:pt x="84" y="312"/>
                </a:lnTo>
                <a:lnTo>
                  <a:pt x="84" y="312"/>
                </a:lnTo>
                <a:lnTo>
                  <a:pt x="84" y="312"/>
                </a:lnTo>
                <a:lnTo>
                  <a:pt x="84" y="312"/>
                </a:lnTo>
                <a:lnTo>
                  <a:pt x="84" y="312"/>
                </a:lnTo>
                <a:lnTo>
                  <a:pt x="84" y="312"/>
                </a:lnTo>
                <a:lnTo>
                  <a:pt x="84" y="312"/>
                </a:lnTo>
                <a:lnTo>
                  <a:pt x="78" y="312"/>
                </a:lnTo>
                <a:lnTo>
                  <a:pt x="78" y="312"/>
                </a:lnTo>
                <a:lnTo>
                  <a:pt x="78" y="312"/>
                </a:lnTo>
                <a:lnTo>
                  <a:pt x="78" y="312"/>
                </a:lnTo>
                <a:lnTo>
                  <a:pt x="78" y="312"/>
                </a:lnTo>
                <a:lnTo>
                  <a:pt x="78" y="312"/>
                </a:lnTo>
                <a:lnTo>
                  <a:pt x="78" y="312"/>
                </a:lnTo>
                <a:lnTo>
                  <a:pt x="78" y="312"/>
                </a:lnTo>
                <a:lnTo>
                  <a:pt x="78" y="312"/>
                </a:lnTo>
                <a:lnTo>
                  <a:pt x="78" y="312"/>
                </a:lnTo>
                <a:lnTo>
                  <a:pt x="78" y="312"/>
                </a:lnTo>
                <a:lnTo>
                  <a:pt x="78" y="312"/>
                </a:lnTo>
                <a:lnTo>
                  <a:pt x="72" y="312"/>
                </a:lnTo>
                <a:lnTo>
                  <a:pt x="72" y="312"/>
                </a:lnTo>
                <a:lnTo>
                  <a:pt x="72" y="312"/>
                </a:lnTo>
                <a:lnTo>
                  <a:pt x="72" y="312"/>
                </a:lnTo>
                <a:lnTo>
                  <a:pt x="66" y="312"/>
                </a:lnTo>
                <a:lnTo>
                  <a:pt x="66" y="312"/>
                </a:lnTo>
                <a:lnTo>
                  <a:pt x="60" y="312"/>
                </a:lnTo>
                <a:lnTo>
                  <a:pt x="60" y="312"/>
                </a:lnTo>
                <a:lnTo>
                  <a:pt x="60" y="312"/>
                </a:lnTo>
                <a:lnTo>
                  <a:pt x="60" y="318"/>
                </a:lnTo>
                <a:lnTo>
                  <a:pt x="60" y="318"/>
                </a:lnTo>
                <a:lnTo>
                  <a:pt x="60" y="318"/>
                </a:lnTo>
                <a:lnTo>
                  <a:pt x="60" y="318"/>
                </a:lnTo>
                <a:lnTo>
                  <a:pt x="60" y="318"/>
                </a:lnTo>
                <a:lnTo>
                  <a:pt x="60" y="318"/>
                </a:lnTo>
                <a:lnTo>
                  <a:pt x="60" y="318"/>
                </a:lnTo>
                <a:lnTo>
                  <a:pt x="54" y="318"/>
                </a:lnTo>
                <a:lnTo>
                  <a:pt x="60" y="318"/>
                </a:lnTo>
                <a:lnTo>
                  <a:pt x="54" y="318"/>
                </a:lnTo>
                <a:lnTo>
                  <a:pt x="54" y="318"/>
                </a:lnTo>
                <a:lnTo>
                  <a:pt x="54" y="318"/>
                </a:lnTo>
                <a:lnTo>
                  <a:pt x="54" y="318"/>
                </a:lnTo>
                <a:lnTo>
                  <a:pt x="54" y="318"/>
                </a:lnTo>
                <a:lnTo>
                  <a:pt x="54" y="318"/>
                </a:lnTo>
                <a:lnTo>
                  <a:pt x="54" y="318"/>
                </a:lnTo>
                <a:lnTo>
                  <a:pt x="54" y="318"/>
                </a:lnTo>
                <a:lnTo>
                  <a:pt x="54" y="324"/>
                </a:lnTo>
                <a:lnTo>
                  <a:pt x="54" y="324"/>
                </a:lnTo>
                <a:lnTo>
                  <a:pt x="54" y="318"/>
                </a:lnTo>
                <a:lnTo>
                  <a:pt x="48" y="324"/>
                </a:lnTo>
                <a:lnTo>
                  <a:pt x="48" y="324"/>
                </a:lnTo>
                <a:lnTo>
                  <a:pt x="48" y="324"/>
                </a:lnTo>
                <a:lnTo>
                  <a:pt x="48" y="324"/>
                </a:lnTo>
                <a:lnTo>
                  <a:pt x="48" y="318"/>
                </a:lnTo>
                <a:lnTo>
                  <a:pt x="42" y="318"/>
                </a:lnTo>
                <a:lnTo>
                  <a:pt x="42" y="318"/>
                </a:lnTo>
                <a:lnTo>
                  <a:pt x="42" y="324"/>
                </a:lnTo>
                <a:lnTo>
                  <a:pt x="42" y="324"/>
                </a:lnTo>
                <a:lnTo>
                  <a:pt x="42" y="324"/>
                </a:lnTo>
                <a:lnTo>
                  <a:pt x="48" y="324"/>
                </a:lnTo>
                <a:lnTo>
                  <a:pt x="48" y="324"/>
                </a:lnTo>
                <a:lnTo>
                  <a:pt x="42" y="324"/>
                </a:lnTo>
                <a:lnTo>
                  <a:pt x="42" y="324"/>
                </a:lnTo>
                <a:lnTo>
                  <a:pt x="42" y="324"/>
                </a:lnTo>
                <a:lnTo>
                  <a:pt x="42" y="324"/>
                </a:lnTo>
                <a:lnTo>
                  <a:pt x="42" y="324"/>
                </a:lnTo>
                <a:lnTo>
                  <a:pt x="42" y="330"/>
                </a:lnTo>
                <a:lnTo>
                  <a:pt x="36" y="330"/>
                </a:lnTo>
                <a:lnTo>
                  <a:pt x="36" y="330"/>
                </a:lnTo>
                <a:lnTo>
                  <a:pt x="36" y="330"/>
                </a:lnTo>
                <a:lnTo>
                  <a:pt x="36" y="330"/>
                </a:lnTo>
                <a:lnTo>
                  <a:pt x="36" y="330"/>
                </a:lnTo>
                <a:lnTo>
                  <a:pt x="36" y="330"/>
                </a:lnTo>
                <a:lnTo>
                  <a:pt x="30" y="330"/>
                </a:lnTo>
                <a:lnTo>
                  <a:pt x="30" y="336"/>
                </a:lnTo>
                <a:lnTo>
                  <a:pt x="30" y="336"/>
                </a:lnTo>
                <a:lnTo>
                  <a:pt x="30" y="336"/>
                </a:lnTo>
                <a:lnTo>
                  <a:pt x="30" y="336"/>
                </a:lnTo>
                <a:lnTo>
                  <a:pt x="30" y="336"/>
                </a:lnTo>
                <a:lnTo>
                  <a:pt x="30" y="336"/>
                </a:lnTo>
                <a:lnTo>
                  <a:pt x="30" y="336"/>
                </a:lnTo>
                <a:lnTo>
                  <a:pt x="30" y="336"/>
                </a:lnTo>
                <a:lnTo>
                  <a:pt x="24" y="336"/>
                </a:lnTo>
                <a:lnTo>
                  <a:pt x="24" y="336"/>
                </a:lnTo>
                <a:lnTo>
                  <a:pt x="24" y="336"/>
                </a:lnTo>
                <a:lnTo>
                  <a:pt x="24" y="336"/>
                </a:lnTo>
                <a:lnTo>
                  <a:pt x="30" y="342"/>
                </a:lnTo>
                <a:lnTo>
                  <a:pt x="30" y="342"/>
                </a:lnTo>
                <a:lnTo>
                  <a:pt x="24" y="342"/>
                </a:lnTo>
                <a:lnTo>
                  <a:pt x="24" y="342"/>
                </a:lnTo>
                <a:lnTo>
                  <a:pt x="24" y="342"/>
                </a:lnTo>
                <a:lnTo>
                  <a:pt x="24" y="342"/>
                </a:lnTo>
                <a:lnTo>
                  <a:pt x="24" y="342"/>
                </a:lnTo>
                <a:lnTo>
                  <a:pt x="24" y="342"/>
                </a:lnTo>
                <a:lnTo>
                  <a:pt x="24" y="342"/>
                </a:lnTo>
                <a:lnTo>
                  <a:pt x="24" y="348"/>
                </a:lnTo>
                <a:lnTo>
                  <a:pt x="24" y="348"/>
                </a:lnTo>
                <a:lnTo>
                  <a:pt x="24" y="348"/>
                </a:lnTo>
                <a:lnTo>
                  <a:pt x="24" y="348"/>
                </a:lnTo>
                <a:lnTo>
                  <a:pt x="24" y="348"/>
                </a:lnTo>
                <a:lnTo>
                  <a:pt x="24" y="348"/>
                </a:lnTo>
                <a:lnTo>
                  <a:pt x="24" y="348"/>
                </a:lnTo>
                <a:lnTo>
                  <a:pt x="24" y="348"/>
                </a:lnTo>
                <a:lnTo>
                  <a:pt x="24" y="348"/>
                </a:lnTo>
                <a:lnTo>
                  <a:pt x="24" y="348"/>
                </a:lnTo>
                <a:lnTo>
                  <a:pt x="18" y="348"/>
                </a:lnTo>
                <a:lnTo>
                  <a:pt x="18" y="354"/>
                </a:lnTo>
                <a:lnTo>
                  <a:pt x="18" y="348"/>
                </a:lnTo>
                <a:lnTo>
                  <a:pt x="12" y="348"/>
                </a:lnTo>
                <a:lnTo>
                  <a:pt x="12" y="348"/>
                </a:lnTo>
                <a:lnTo>
                  <a:pt x="12" y="348"/>
                </a:lnTo>
                <a:lnTo>
                  <a:pt x="6" y="348"/>
                </a:lnTo>
                <a:lnTo>
                  <a:pt x="0" y="34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10" name="Freeform 43"/>
          <p:cNvSpPr>
            <a:spLocks/>
          </p:cNvSpPr>
          <p:nvPr/>
        </p:nvSpPr>
        <p:spPr bwMode="auto">
          <a:xfrm>
            <a:off x="5528500" y="1552518"/>
            <a:ext cx="539620" cy="880101"/>
          </a:xfrm>
          <a:custGeom>
            <a:avLst/>
            <a:gdLst>
              <a:gd name="T0" fmla="*/ 114 w 504"/>
              <a:gd name="T1" fmla="*/ 240 h 822"/>
              <a:gd name="T2" fmla="*/ 408 w 504"/>
              <a:gd name="T3" fmla="*/ 0 h 822"/>
              <a:gd name="T4" fmla="*/ 444 w 504"/>
              <a:gd name="T5" fmla="*/ 18 h 822"/>
              <a:gd name="T6" fmla="*/ 438 w 504"/>
              <a:gd name="T7" fmla="*/ 48 h 822"/>
              <a:gd name="T8" fmla="*/ 432 w 504"/>
              <a:gd name="T9" fmla="*/ 78 h 822"/>
              <a:gd name="T10" fmla="*/ 444 w 504"/>
              <a:gd name="T11" fmla="*/ 90 h 822"/>
              <a:gd name="T12" fmla="*/ 450 w 504"/>
              <a:gd name="T13" fmla="*/ 84 h 822"/>
              <a:gd name="T14" fmla="*/ 462 w 504"/>
              <a:gd name="T15" fmla="*/ 66 h 822"/>
              <a:gd name="T16" fmla="*/ 492 w 504"/>
              <a:gd name="T17" fmla="*/ 72 h 822"/>
              <a:gd name="T18" fmla="*/ 486 w 504"/>
              <a:gd name="T19" fmla="*/ 90 h 822"/>
              <a:gd name="T20" fmla="*/ 480 w 504"/>
              <a:gd name="T21" fmla="*/ 108 h 822"/>
              <a:gd name="T22" fmla="*/ 480 w 504"/>
              <a:gd name="T23" fmla="*/ 126 h 822"/>
              <a:gd name="T24" fmla="*/ 474 w 504"/>
              <a:gd name="T25" fmla="*/ 156 h 822"/>
              <a:gd name="T26" fmla="*/ 462 w 504"/>
              <a:gd name="T27" fmla="*/ 174 h 822"/>
              <a:gd name="T28" fmla="*/ 444 w 504"/>
              <a:gd name="T29" fmla="*/ 180 h 822"/>
              <a:gd name="T30" fmla="*/ 420 w 504"/>
              <a:gd name="T31" fmla="*/ 186 h 822"/>
              <a:gd name="T32" fmla="*/ 396 w 504"/>
              <a:gd name="T33" fmla="*/ 180 h 822"/>
              <a:gd name="T34" fmla="*/ 390 w 504"/>
              <a:gd name="T35" fmla="*/ 198 h 822"/>
              <a:gd name="T36" fmla="*/ 390 w 504"/>
              <a:gd name="T37" fmla="*/ 204 h 822"/>
              <a:gd name="T38" fmla="*/ 408 w 504"/>
              <a:gd name="T39" fmla="*/ 234 h 822"/>
              <a:gd name="T40" fmla="*/ 396 w 504"/>
              <a:gd name="T41" fmla="*/ 252 h 822"/>
              <a:gd name="T42" fmla="*/ 378 w 504"/>
              <a:gd name="T43" fmla="*/ 258 h 822"/>
              <a:gd name="T44" fmla="*/ 390 w 504"/>
              <a:gd name="T45" fmla="*/ 276 h 822"/>
              <a:gd name="T46" fmla="*/ 402 w 504"/>
              <a:gd name="T47" fmla="*/ 282 h 822"/>
              <a:gd name="T48" fmla="*/ 414 w 504"/>
              <a:gd name="T49" fmla="*/ 294 h 822"/>
              <a:gd name="T50" fmla="*/ 420 w 504"/>
              <a:gd name="T51" fmla="*/ 312 h 822"/>
              <a:gd name="T52" fmla="*/ 432 w 504"/>
              <a:gd name="T53" fmla="*/ 336 h 822"/>
              <a:gd name="T54" fmla="*/ 450 w 504"/>
              <a:gd name="T55" fmla="*/ 354 h 822"/>
              <a:gd name="T56" fmla="*/ 432 w 504"/>
              <a:gd name="T57" fmla="*/ 372 h 822"/>
              <a:gd name="T58" fmla="*/ 414 w 504"/>
              <a:gd name="T59" fmla="*/ 366 h 822"/>
              <a:gd name="T60" fmla="*/ 414 w 504"/>
              <a:gd name="T61" fmla="*/ 378 h 822"/>
              <a:gd name="T62" fmla="*/ 420 w 504"/>
              <a:gd name="T63" fmla="*/ 408 h 822"/>
              <a:gd name="T64" fmla="*/ 426 w 504"/>
              <a:gd name="T65" fmla="*/ 426 h 822"/>
              <a:gd name="T66" fmla="*/ 432 w 504"/>
              <a:gd name="T67" fmla="*/ 444 h 822"/>
              <a:gd name="T68" fmla="*/ 426 w 504"/>
              <a:gd name="T69" fmla="*/ 474 h 822"/>
              <a:gd name="T70" fmla="*/ 420 w 504"/>
              <a:gd name="T71" fmla="*/ 492 h 822"/>
              <a:gd name="T72" fmla="*/ 426 w 504"/>
              <a:gd name="T73" fmla="*/ 522 h 822"/>
              <a:gd name="T74" fmla="*/ 432 w 504"/>
              <a:gd name="T75" fmla="*/ 558 h 822"/>
              <a:gd name="T76" fmla="*/ 444 w 504"/>
              <a:gd name="T77" fmla="*/ 576 h 822"/>
              <a:gd name="T78" fmla="*/ 450 w 504"/>
              <a:gd name="T79" fmla="*/ 594 h 822"/>
              <a:gd name="T80" fmla="*/ 438 w 504"/>
              <a:gd name="T81" fmla="*/ 618 h 822"/>
              <a:gd name="T82" fmla="*/ 432 w 504"/>
              <a:gd name="T83" fmla="*/ 636 h 822"/>
              <a:gd name="T84" fmla="*/ 426 w 504"/>
              <a:gd name="T85" fmla="*/ 660 h 822"/>
              <a:gd name="T86" fmla="*/ 426 w 504"/>
              <a:gd name="T87" fmla="*/ 678 h 822"/>
              <a:gd name="T88" fmla="*/ 432 w 504"/>
              <a:gd name="T89" fmla="*/ 702 h 822"/>
              <a:gd name="T90" fmla="*/ 438 w 504"/>
              <a:gd name="T91" fmla="*/ 720 h 822"/>
              <a:gd name="T92" fmla="*/ 420 w 504"/>
              <a:gd name="T93" fmla="*/ 720 h 822"/>
              <a:gd name="T94" fmla="*/ 432 w 504"/>
              <a:gd name="T95" fmla="*/ 738 h 822"/>
              <a:gd name="T96" fmla="*/ 450 w 504"/>
              <a:gd name="T97" fmla="*/ 756 h 822"/>
              <a:gd name="T98" fmla="*/ 480 w 504"/>
              <a:gd name="T99" fmla="*/ 762 h 822"/>
              <a:gd name="T100" fmla="*/ 492 w 504"/>
              <a:gd name="T101" fmla="*/ 780 h 822"/>
              <a:gd name="T102" fmla="*/ 492 w 504"/>
              <a:gd name="T103" fmla="*/ 810 h 822"/>
              <a:gd name="T104" fmla="*/ 228 w 504"/>
              <a:gd name="T105" fmla="*/ 798 h 822"/>
              <a:gd name="T106" fmla="*/ 204 w 504"/>
              <a:gd name="T107" fmla="*/ 780 h 822"/>
              <a:gd name="T108" fmla="*/ 186 w 504"/>
              <a:gd name="T109" fmla="*/ 762 h 822"/>
              <a:gd name="T110" fmla="*/ 144 w 504"/>
              <a:gd name="T111" fmla="*/ 738 h 822"/>
              <a:gd name="T112" fmla="*/ 114 w 504"/>
              <a:gd name="T113" fmla="*/ 702 h 822"/>
              <a:gd name="T114" fmla="*/ 108 w 504"/>
              <a:gd name="T115" fmla="*/ 672 h 822"/>
              <a:gd name="T116" fmla="*/ 96 w 504"/>
              <a:gd name="T117" fmla="*/ 636 h 822"/>
              <a:gd name="T118" fmla="*/ 66 w 504"/>
              <a:gd name="T119" fmla="*/ 552 h 822"/>
              <a:gd name="T120" fmla="*/ 36 w 504"/>
              <a:gd name="T121" fmla="*/ 504 h 822"/>
              <a:gd name="T122" fmla="*/ 0 w 504"/>
              <a:gd name="T123" fmla="*/ 450 h 8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04" h="822">
                <a:moveTo>
                  <a:pt x="6" y="444"/>
                </a:moveTo>
                <a:lnTo>
                  <a:pt x="6" y="444"/>
                </a:lnTo>
                <a:lnTo>
                  <a:pt x="18" y="438"/>
                </a:lnTo>
                <a:lnTo>
                  <a:pt x="18" y="432"/>
                </a:lnTo>
                <a:lnTo>
                  <a:pt x="18" y="432"/>
                </a:lnTo>
                <a:lnTo>
                  <a:pt x="18" y="432"/>
                </a:lnTo>
                <a:lnTo>
                  <a:pt x="18" y="426"/>
                </a:lnTo>
                <a:lnTo>
                  <a:pt x="24" y="426"/>
                </a:lnTo>
                <a:lnTo>
                  <a:pt x="24" y="426"/>
                </a:lnTo>
                <a:lnTo>
                  <a:pt x="24" y="426"/>
                </a:lnTo>
                <a:lnTo>
                  <a:pt x="24" y="426"/>
                </a:lnTo>
                <a:lnTo>
                  <a:pt x="24" y="426"/>
                </a:lnTo>
                <a:lnTo>
                  <a:pt x="30" y="426"/>
                </a:lnTo>
                <a:lnTo>
                  <a:pt x="30" y="420"/>
                </a:lnTo>
                <a:lnTo>
                  <a:pt x="84" y="306"/>
                </a:lnTo>
                <a:lnTo>
                  <a:pt x="102" y="264"/>
                </a:lnTo>
                <a:lnTo>
                  <a:pt x="114" y="240"/>
                </a:lnTo>
                <a:lnTo>
                  <a:pt x="120" y="222"/>
                </a:lnTo>
                <a:lnTo>
                  <a:pt x="162" y="138"/>
                </a:lnTo>
                <a:lnTo>
                  <a:pt x="192" y="72"/>
                </a:lnTo>
                <a:lnTo>
                  <a:pt x="198" y="54"/>
                </a:lnTo>
                <a:lnTo>
                  <a:pt x="204" y="42"/>
                </a:lnTo>
                <a:lnTo>
                  <a:pt x="210" y="36"/>
                </a:lnTo>
                <a:lnTo>
                  <a:pt x="216" y="12"/>
                </a:lnTo>
                <a:lnTo>
                  <a:pt x="222" y="0"/>
                </a:lnTo>
                <a:lnTo>
                  <a:pt x="222" y="6"/>
                </a:lnTo>
                <a:lnTo>
                  <a:pt x="228" y="12"/>
                </a:lnTo>
                <a:lnTo>
                  <a:pt x="228" y="12"/>
                </a:lnTo>
                <a:lnTo>
                  <a:pt x="228" y="12"/>
                </a:lnTo>
                <a:lnTo>
                  <a:pt x="234" y="18"/>
                </a:lnTo>
                <a:lnTo>
                  <a:pt x="234" y="18"/>
                </a:lnTo>
                <a:lnTo>
                  <a:pt x="276" y="6"/>
                </a:lnTo>
                <a:lnTo>
                  <a:pt x="390" y="0"/>
                </a:lnTo>
                <a:lnTo>
                  <a:pt x="408" y="0"/>
                </a:lnTo>
                <a:lnTo>
                  <a:pt x="408" y="0"/>
                </a:lnTo>
                <a:lnTo>
                  <a:pt x="408" y="0"/>
                </a:lnTo>
                <a:lnTo>
                  <a:pt x="414" y="0"/>
                </a:lnTo>
                <a:lnTo>
                  <a:pt x="414" y="0"/>
                </a:lnTo>
                <a:lnTo>
                  <a:pt x="414" y="0"/>
                </a:lnTo>
                <a:lnTo>
                  <a:pt x="426" y="0"/>
                </a:lnTo>
                <a:lnTo>
                  <a:pt x="432" y="0"/>
                </a:lnTo>
                <a:lnTo>
                  <a:pt x="438" y="0"/>
                </a:lnTo>
                <a:lnTo>
                  <a:pt x="444" y="0"/>
                </a:lnTo>
                <a:lnTo>
                  <a:pt x="450" y="0"/>
                </a:lnTo>
                <a:lnTo>
                  <a:pt x="450" y="6"/>
                </a:lnTo>
                <a:lnTo>
                  <a:pt x="450" y="6"/>
                </a:lnTo>
                <a:lnTo>
                  <a:pt x="444" y="12"/>
                </a:lnTo>
                <a:lnTo>
                  <a:pt x="444" y="12"/>
                </a:lnTo>
                <a:lnTo>
                  <a:pt x="444" y="12"/>
                </a:lnTo>
                <a:lnTo>
                  <a:pt x="444" y="18"/>
                </a:lnTo>
                <a:lnTo>
                  <a:pt x="444" y="18"/>
                </a:lnTo>
                <a:lnTo>
                  <a:pt x="444" y="18"/>
                </a:lnTo>
                <a:lnTo>
                  <a:pt x="444" y="24"/>
                </a:lnTo>
                <a:lnTo>
                  <a:pt x="438" y="24"/>
                </a:lnTo>
                <a:lnTo>
                  <a:pt x="438" y="30"/>
                </a:lnTo>
                <a:lnTo>
                  <a:pt x="438" y="30"/>
                </a:lnTo>
                <a:lnTo>
                  <a:pt x="438" y="30"/>
                </a:lnTo>
                <a:lnTo>
                  <a:pt x="438" y="36"/>
                </a:lnTo>
                <a:lnTo>
                  <a:pt x="438" y="36"/>
                </a:lnTo>
                <a:lnTo>
                  <a:pt x="438" y="36"/>
                </a:lnTo>
                <a:lnTo>
                  <a:pt x="444" y="36"/>
                </a:lnTo>
                <a:lnTo>
                  <a:pt x="444" y="36"/>
                </a:lnTo>
                <a:lnTo>
                  <a:pt x="438" y="36"/>
                </a:lnTo>
                <a:lnTo>
                  <a:pt x="444" y="42"/>
                </a:lnTo>
                <a:lnTo>
                  <a:pt x="438" y="42"/>
                </a:lnTo>
                <a:lnTo>
                  <a:pt x="438" y="42"/>
                </a:lnTo>
                <a:lnTo>
                  <a:pt x="438" y="42"/>
                </a:lnTo>
                <a:lnTo>
                  <a:pt x="438" y="48"/>
                </a:lnTo>
                <a:lnTo>
                  <a:pt x="438" y="48"/>
                </a:lnTo>
                <a:lnTo>
                  <a:pt x="438" y="54"/>
                </a:lnTo>
                <a:lnTo>
                  <a:pt x="432" y="54"/>
                </a:lnTo>
                <a:lnTo>
                  <a:pt x="432" y="54"/>
                </a:lnTo>
                <a:lnTo>
                  <a:pt x="432" y="54"/>
                </a:lnTo>
                <a:lnTo>
                  <a:pt x="432" y="54"/>
                </a:lnTo>
                <a:lnTo>
                  <a:pt x="432" y="60"/>
                </a:lnTo>
                <a:lnTo>
                  <a:pt x="432" y="60"/>
                </a:lnTo>
                <a:lnTo>
                  <a:pt x="432" y="60"/>
                </a:lnTo>
                <a:lnTo>
                  <a:pt x="432" y="66"/>
                </a:lnTo>
                <a:lnTo>
                  <a:pt x="438" y="66"/>
                </a:lnTo>
                <a:lnTo>
                  <a:pt x="438" y="66"/>
                </a:lnTo>
                <a:lnTo>
                  <a:pt x="438" y="66"/>
                </a:lnTo>
                <a:lnTo>
                  <a:pt x="438" y="72"/>
                </a:lnTo>
                <a:lnTo>
                  <a:pt x="432" y="78"/>
                </a:lnTo>
                <a:lnTo>
                  <a:pt x="432" y="78"/>
                </a:lnTo>
                <a:lnTo>
                  <a:pt x="432" y="78"/>
                </a:lnTo>
                <a:lnTo>
                  <a:pt x="432" y="84"/>
                </a:lnTo>
                <a:lnTo>
                  <a:pt x="438" y="78"/>
                </a:lnTo>
                <a:lnTo>
                  <a:pt x="438" y="78"/>
                </a:lnTo>
                <a:lnTo>
                  <a:pt x="432" y="84"/>
                </a:lnTo>
                <a:lnTo>
                  <a:pt x="432" y="84"/>
                </a:lnTo>
                <a:lnTo>
                  <a:pt x="438" y="84"/>
                </a:lnTo>
                <a:lnTo>
                  <a:pt x="438" y="84"/>
                </a:lnTo>
                <a:lnTo>
                  <a:pt x="438" y="84"/>
                </a:lnTo>
                <a:lnTo>
                  <a:pt x="438" y="84"/>
                </a:lnTo>
                <a:lnTo>
                  <a:pt x="444" y="84"/>
                </a:lnTo>
                <a:lnTo>
                  <a:pt x="444" y="84"/>
                </a:lnTo>
                <a:lnTo>
                  <a:pt x="444" y="84"/>
                </a:lnTo>
                <a:lnTo>
                  <a:pt x="444" y="90"/>
                </a:lnTo>
                <a:lnTo>
                  <a:pt x="444" y="90"/>
                </a:lnTo>
                <a:lnTo>
                  <a:pt x="444" y="90"/>
                </a:lnTo>
                <a:lnTo>
                  <a:pt x="444" y="90"/>
                </a:lnTo>
                <a:lnTo>
                  <a:pt x="444" y="90"/>
                </a:lnTo>
                <a:lnTo>
                  <a:pt x="444" y="90"/>
                </a:lnTo>
                <a:lnTo>
                  <a:pt x="444" y="90"/>
                </a:lnTo>
                <a:lnTo>
                  <a:pt x="444" y="90"/>
                </a:lnTo>
                <a:lnTo>
                  <a:pt x="444" y="90"/>
                </a:lnTo>
                <a:lnTo>
                  <a:pt x="450" y="90"/>
                </a:lnTo>
                <a:lnTo>
                  <a:pt x="450" y="90"/>
                </a:lnTo>
                <a:lnTo>
                  <a:pt x="450" y="90"/>
                </a:lnTo>
                <a:lnTo>
                  <a:pt x="450" y="90"/>
                </a:lnTo>
                <a:lnTo>
                  <a:pt x="450" y="90"/>
                </a:lnTo>
                <a:lnTo>
                  <a:pt x="450" y="96"/>
                </a:lnTo>
                <a:lnTo>
                  <a:pt x="450" y="96"/>
                </a:lnTo>
                <a:lnTo>
                  <a:pt x="450" y="90"/>
                </a:lnTo>
                <a:lnTo>
                  <a:pt x="450" y="90"/>
                </a:lnTo>
                <a:lnTo>
                  <a:pt x="450" y="90"/>
                </a:lnTo>
                <a:lnTo>
                  <a:pt x="456" y="84"/>
                </a:lnTo>
                <a:lnTo>
                  <a:pt x="456" y="84"/>
                </a:lnTo>
                <a:lnTo>
                  <a:pt x="450" y="84"/>
                </a:lnTo>
                <a:lnTo>
                  <a:pt x="450" y="84"/>
                </a:lnTo>
                <a:lnTo>
                  <a:pt x="450" y="84"/>
                </a:lnTo>
                <a:lnTo>
                  <a:pt x="456" y="84"/>
                </a:lnTo>
                <a:lnTo>
                  <a:pt x="456" y="78"/>
                </a:lnTo>
                <a:lnTo>
                  <a:pt x="456" y="78"/>
                </a:lnTo>
                <a:lnTo>
                  <a:pt x="456" y="78"/>
                </a:lnTo>
                <a:lnTo>
                  <a:pt x="456" y="78"/>
                </a:lnTo>
                <a:lnTo>
                  <a:pt x="456" y="78"/>
                </a:lnTo>
                <a:lnTo>
                  <a:pt x="462" y="78"/>
                </a:lnTo>
                <a:lnTo>
                  <a:pt x="462" y="78"/>
                </a:lnTo>
                <a:lnTo>
                  <a:pt x="462" y="72"/>
                </a:lnTo>
                <a:lnTo>
                  <a:pt x="462" y="72"/>
                </a:lnTo>
                <a:lnTo>
                  <a:pt x="468" y="72"/>
                </a:lnTo>
                <a:lnTo>
                  <a:pt x="468" y="72"/>
                </a:lnTo>
                <a:lnTo>
                  <a:pt x="468" y="66"/>
                </a:lnTo>
                <a:lnTo>
                  <a:pt x="468" y="66"/>
                </a:lnTo>
                <a:lnTo>
                  <a:pt x="462" y="66"/>
                </a:lnTo>
                <a:lnTo>
                  <a:pt x="468" y="66"/>
                </a:lnTo>
                <a:lnTo>
                  <a:pt x="468" y="66"/>
                </a:lnTo>
                <a:lnTo>
                  <a:pt x="468" y="66"/>
                </a:lnTo>
                <a:lnTo>
                  <a:pt x="468" y="66"/>
                </a:lnTo>
                <a:lnTo>
                  <a:pt x="468" y="66"/>
                </a:lnTo>
                <a:lnTo>
                  <a:pt x="468" y="66"/>
                </a:lnTo>
                <a:lnTo>
                  <a:pt x="474" y="66"/>
                </a:lnTo>
                <a:lnTo>
                  <a:pt x="474" y="66"/>
                </a:lnTo>
                <a:lnTo>
                  <a:pt x="474" y="66"/>
                </a:lnTo>
                <a:lnTo>
                  <a:pt x="474" y="72"/>
                </a:lnTo>
                <a:lnTo>
                  <a:pt x="480" y="72"/>
                </a:lnTo>
                <a:lnTo>
                  <a:pt x="480" y="72"/>
                </a:lnTo>
                <a:lnTo>
                  <a:pt x="480" y="72"/>
                </a:lnTo>
                <a:lnTo>
                  <a:pt x="486" y="72"/>
                </a:lnTo>
                <a:lnTo>
                  <a:pt x="486" y="72"/>
                </a:lnTo>
                <a:lnTo>
                  <a:pt x="492" y="72"/>
                </a:lnTo>
                <a:lnTo>
                  <a:pt x="492" y="72"/>
                </a:lnTo>
                <a:lnTo>
                  <a:pt x="492" y="72"/>
                </a:lnTo>
                <a:lnTo>
                  <a:pt x="492" y="72"/>
                </a:lnTo>
                <a:lnTo>
                  <a:pt x="492" y="78"/>
                </a:lnTo>
                <a:lnTo>
                  <a:pt x="492" y="78"/>
                </a:lnTo>
                <a:lnTo>
                  <a:pt x="492" y="78"/>
                </a:lnTo>
                <a:lnTo>
                  <a:pt x="492" y="78"/>
                </a:lnTo>
                <a:lnTo>
                  <a:pt x="492" y="78"/>
                </a:lnTo>
                <a:lnTo>
                  <a:pt x="492" y="78"/>
                </a:lnTo>
                <a:lnTo>
                  <a:pt x="492" y="78"/>
                </a:lnTo>
                <a:lnTo>
                  <a:pt x="486" y="78"/>
                </a:lnTo>
                <a:lnTo>
                  <a:pt x="486" y="84"/>
                </a:lnTo>
                <a:lnTo>
                  <a:pt x="486" y="84"/>
                </a:lnTo>
                <a:lnTo>
                  <a:pt x="486" y="84"/>
                </a:lnTo>
                <a:lnTo>
                  <a:pt x="486" y="84"/>
                </a:lnTo>
                <a:lnTo>
                  <a:pt x="486" y="84"/>
                </a:lnTo>
                <a:lnTo>
                  <a:pt x="486" y="90"/>
                </a:lnTo>
                <a:lnTo>
                  <a:pt x="486" y="90"/>
                </a:lnTo>
                <a:lnTo>
                  <a:pt x="486" y="90"/>
                </a:lnTo>
                <a:lnTo>
                  <a:pt x="480" y="90"/>
                </a:lnTo>
                <a:lnTo>
                  <a:pt x="480" y="90"/>
                </a:lnTo>
                <a:lnTo>
                  <a:pt x="480" y="90"/>
                </a:lnTo>
                <a:lnTo>
                  <a:pt x="486" y="90"/>
                </a:lnTo>
                <a:lnTo>
                  <a:pt x="486" y="96"/>
                </a:lnTo>
                <a:lnTo>
                  <a:pt x="486" y="96"/>
                </a:lnTo>
                <a:lnTo>
                  <a:pt x="486" y="96"/>
                </a:lnTo>
                <a:lnTo>
                  <a:pt x="486" y="96"/>
                </a:lnTo>
                <a:lnTo>
                  <a:pt x="486" y="96"/>
                </a:lnTo>
                <a:lnTo>
                  <a:pt x="486" y="102"/>
                </a:lnTo>
                <a:lnTo>
                  <a:pt x="486" y="102"/>
                </a:lnTo>
                <a:lnTo>
                  <a:pt x="486" y="108"/>
                </a:lnTo>
                <a:lnTo>
                  <a:pt x="486" y="108"/>
                </a:lnTo>
                <a:lnTo>
                  <a:pt x="480" y="108"/>
                </a:lnTo>
                <a:lnTo>
                  <a:pt x="480" y="108"/>
                </a:lnTo>
                <a:lnTo>
                  <a:pt x="480" y="108"/>
                </a:lnTo>
                <a:lnTo>
                  <a:pt x="480" y="108"/>
                </a:lnTo>
                <a:lnTo>
                  <a:pt x="480" y="108"/>
                </a:lnTo>
                <a:lnTo>
                  <a:pt x="480" y="108"/>
                </a:lnTo>
                <a:lnTo>
                  <a:pt x="480" y="108"/>
                </a:lnTo>
                <a:lnTo>
                  <a:pt x="480" y="114"/>
                </a:lnTo>
                <a:lnTo>
                  <a:pt x="486" y="114"/>
                </a:lnTo>
                <a:lnTo>
                  <a:pt x="486" y="114"/>
                </a:lnTo>
                <a:lnTo>
                  <a:pt x="480" y="114"/>
                </a:lnTo>
                <a:lnTo>
                  <a:pt x="486" y="114"/>
                </a:lnTo>
                <a:lnTo>
                  <a:pt x="480" y="114"/>
                </a:lnTo>
                <a:lnTo>
                  <a:pt x="480" y="120"/>
                </a:lnTo>
                <a:lnTo>
                  <a:pt x="480" y="120"/>
                </a:lnTo>
                <a:lnTo>
                  <a:pt x="480" y="120"/>
                </a:lnTo>
                <a:lnTo>
                  <a:pt x="480" y="120"/>
                </a:lnTo>
                <a:lnTo>
                  <a:pt x="480" y="126"/>
                </a:lnTo>
                <a:lnTo>
                  <a:pt x="480" y="126"/>
                </a:lnTo>
                <a:lnTo>
                  <a:pt x="480" y="126"/>
                </a:lnTo>
                <a:lnTo>
                  <a:pt x="480" y="126"/>
                </a:lnTo>
                <a:lnTo>
                  <a:pt x="480" y="126"/>
                </a:lnTo>
                <a:lnTo>
                  <a:pt x="480" y="132"/>
                </a:lnTo>
                <a:lnTo>
                  <a:pt x="480" y="132"/>
                </a:lnTo>
                <a:lnTo>
                  <a:pt x="480" y="132"/>
                </a:lnTo>
                <a:lnTo>
                  <a:pt x="474" y="132"/>
                </a:lnTo>
                <a:lnTo>
                  <a:pt x="474" y="132"/>
                </a:lnTo>
                <a:lnTo>
                  <a:pt x="474" y="138"/>
                </a:lnTo>
                <a:lnTo>
                  <a:pt x="474" y="138"/>
                </a:lnTo>
                <a:lnTo>
                  <a:pt x="474" y="138"/>
                </a:lnTo>
                <a:lnTo>
                  <a:pt x="474" y="144"/>
                </a:lnTo>
                <a:lnTo>
                  <a:pt x="468" y="144"/>
                </a:lnTo>
                <a:lnTo>
                  <a:pt x="474" y="150"/>
                </a:lnTo>
                <a:lnTo>
                  <a:pt x="474" y="150"/>
                </a:lnTo>
                <a:lnTo>
                  <a:pt x="474" y="150"/>
                </a:lnTo>
                <a:lnTo>
                  <a:pt x="474" y="150"/>
                </a:lnTo>
                <a:lnTo>
                  <a:pt x="474" y="156"/>
                </a:lnTo>
                <a:lnTo>
                  <a:pt x="474" y="156"/>
                </a:lnTo>
                <a:lnTo>
                  <a:pt x="474" y="156"/>
                </a:lnTo>
                <a:lnTo>
                  <a:pt x="474" y="156"/>
                </a:lnTo>
                <a:lnTo>
                  <a:pt x="474" y="156"/>
                </a:lnTo>
                <a:lnTo>
                  <a:pt x="468" y="156"/>
                </a:lnTo>
                <a:lnTo>
                  <a:pt x="468" y="162"/>
                </a:lnTo>
                <a:lnTo>
                  <a:pt x="468" y="162"/>
                </a:lnTo>
                <a:lnTo>
                  <a:pt x="462" y="162"/>
                </a:lnTo>
                <a:lnTo>
                  <a:pt x="462" y="162"/>
                </a:lnTo>
                <a:lnTo>
                  <a:pt x="462" y="162"/>
                </a:lnTo>
                <a:lnTo>
                  <a:pt x="462" y="162"/>
                </a:lnTo>
                <a:lnTo>
                  <a:pt x="462" y="162"/>
                </a:lnTo>
                <a:lnTo>
                  <a:pt x="462" y="168"/>
                </a:lnTo>
                <a:lnTo>
                  <a:pt x="468" y="168"/>
                </a:lnTo>
                <a:lnTo>
                  <a:pt x="462" y="168"/>
                </a:lnTo>
                <a:lnTo>
                  <a:pt x="462" y="174"/>
                </a:lnTo>
                <a:lnTo>
                  <a:pt x="462" y="174"/>
                </a:lnTo>
                <a:lnTo>
                  <a:pt x="462" y="174"/>
                </a:lnTo>
                <a:lnTo>
                  <a:pt x="462" y="174"/>
                </a:lnTo>
                <a:lnTo>
                  <a:pt x="456" y="174"/>
                </a:lnTo>
                <a:lnTo>
                  <a:pt x="456" y="180"/>
                </a:lnTo>
                <a:lnTo>
                  <a:pt x="456" y="180"/>
                </a:lnTo>
                <a:lnTo>
                  <a:pt x="456" y="180"/>
                </a:lnTo>
                <a:lnTo>
                  <a:pt x="456" y="174"/>
                </a:lnTo>
                <a:lnTo>
                  <a:pt x="456" y="174"/>
                </a:lnTo>
                <a:lnTo>
                  <a:pt x="450" y="174"/>
                </a:lnTo>
                <a:lnTo>
                  <a:pt x="450" y="174"/>
                </a:lnTo>
                <a:lnTo>
                  <a:pt x="450" y="174"/>
                </a:lnTo>
                <a:lnTo>
                  <a:pt x="450" y="174"/>
                </a:lnTo>
                <a:lnTo>
                  <a:pt x="450" y="180"/>
                </a:lnTo>
                <a:lnTo>
                  <a:pt x="444" y="180"/>
                </a:lnTo>
                <a:lnTo>
                  <a:pt x="444" y="180"/>
                </a:lnTo>
                <a:lnTo>
                  <a:pt x="444" y="180"/>
                </a:lnTo>
                <a:lnTo>
                  <a:pt x="444" y="180"/>
                </a:lnTo>
                <a:lnTo>
                  <a:pt x="438" y="180"/>
                </a:lnTo>
                <a:lnTo>
                  <a:pt x="438" y="180"/>
                </a:lnTo>
                <a:lnTo>
                  <a:pt x="438" y="180"/>
                </a:lnTo>
                <a:lnTo>
                  <a:pt x="432" y="180"/>
                </a:lnTo>
                <a:lnTo>
                  <a:pt x="432" y="186"/>
                </a:lnTo>
                <a:lnTo>
                  <a:pt x="432" y="186"/>
                </a:lnTo>
                <a:lnTo>
                  <a:pt x="432" y="186"/>
                </a:lnTo>
                <a:lnTo>
                  <a:pt x="426" y="186"/>
                </a:lnTo>
                <a:lnTo>
                  <a:pt x="426" y="186"/>
                </a:lnTo>
                <a:lnTo>
                  <a:pt x="426" y="186"/>
                </a:lnTo>
                <a:lnTo>
                  <a:pt x="426" y="186"/>
                </a:lnTo>
                <a:lnTo>
                  <a:pt x="420" y="186"/>
                </a:lnTo>
                <a:lnTo>
                  <a:pt x="420" y="186"/>
                </a:lnTo>
                <a:lnTo>
                  <a:pt x="420" y="186"/>
                </a:lnTo>
                <a:lnTo>
                  <a:pt x="420" y="186"/>
                </a:lnTo>
                <a:lnTo>
                  <a:pt x="420" y="186"/>
                </a:lnTo>
                <a:lnTo>
                  <a:pt x="420" y="186"/>
                </a:lnTo>
                <a:lnTo>
                  <a:pt x="414" y="186"/>
                </a:lnTo>
                <a:lnTo>
                  <a:pt x="414" y="186"/>
                </a:lnTo>
                <a:lnTo>
                  <a:pt x="414" y="186"/>
                </a:lnTo>
                <a:lnTo>
                  <a:pt x="414" y="186"/>
                </a:lnTo>
                <a:lnTo>
                  <a:pt x="414" y="186"/>
                </a:lnTo>
                <a:lnTo>
                  <a:pt x="414" y="186"/>
                </a:lnTo>
                <a:lnTo>
                  <a:pt x="408" y="180"/>
                </a:lnTo>
                <a:lnTo>
                  <a:pt x="408" y="186"/>
                </a:lnTo>
                <a:lnTo>
                  <a:pt x="408" y="180"/>
                </a:lnTo>
                <a:lnTo>
                  <a:pt x="408" y="186"/>
                </a:lnTo>
                <a:lnTo>
                  <a:pt x="408" y="186"/>
                </a:lnTo>
                <a:lnTo>
                  <a:pt x="402" y="186"/>
                </a:lnTo>
                <a:lnTo>
                  <a:pt x="402" y="186"/>
                </a:lnTo>
                <a:lnTo>
                  <a:pt x="402" y="180"/>
                </a:lnTo>
                <a:lnTo>
                  <a:pt x="396" y="180"/>
                </a:lnTo>
                <a:lnTo>
                  <a:pt x="396" y="180"/>
                </a:lnTo>
                <a:lnTo>
                  <a:pt x="396" y="180"/>
                </a:lnTo>
                <a:lnTo>
                  <a:pt x="396" y="180"/>
                </a:lnTo>
                <a:lnTo>
                  <a:pt x="396" y="180"/>
                </a:lnTo>
                <a:lnTo>
                  <a:pt x="396" y="180"/>
                </a:lnTo>
                <a:lnTo>
                  <a:pt x="390" y="180"/>
                </a:lnTo>
                <a:lnTo>
                  <a:pt x="390" y="186"/>
                </a:lnTo>
                <a:lnTo>
                  <a:pt x="390" y="186"/>
                </a:lnTo>
                <a:lnTo>
                  <a:pt x="390" y="186"/>
                </a:lnTo>
                <a:lnTo>
                  <a:pt x="390" y="186"/>
                </a:lnTo>
                <a:lnTo>
                  <a:pt x="396" y="192"/>
                </a:lnTo>
                <a:lnTo>
                  <a:pt x="396" y="192"/>
                </a:lnTo>
                <a:lnTo>
                  <a:pt x="390" y="192"/>
                </a:lnTo>
                <a:lnTo>
                  <a:pt x="390" y="192"/>
                </a:lnTo>
                <a:lnTo>
                  <a:pt x="390" y="198"/>
                </a:lnTo>
                <a:lnTo>
                  <a:pt x="390" y="198"/>
                </a:lnTo>
                <a:lnTo>
                  <a:pt x="390" y="198"/>
                </a:lnTo>
                <a:lnTo>
                  <a:pt x="390" y="198"/>
                </a:lnTo>
                <a:lnTo>
                  <a:pt x="390" y="198"/>
                </a:lnTo>
                <a:lnTo>
                  <a:pt x="390" y="198"/>
                </a:lnTo>
                <a:lnTo>
                  <a:pt x="390" y="198"/>
                </a:lnTo>
                <a:lnTo>
                  <a:pt x="390" y="198"/>
                </a:lnTo>
                <a:lnTo>
                  <a:pt x="390" y="204"/>
                </a:lnTo>
                <a:lnTo>
                  <a:pt x="390" y="204"/>
                </a:lnTo>
                <a:lnTo>
                  <a:pt x="390" y="204"/>
                </a:lnTo>
                <a:lnTo>
                  <a:pt x="384" y="204"/>
                </a:lnTo>
                <a:lnTo>
                  <a:pt x="384" y="204"/>
                </a:lnTo>
                <a:lnTo>
                  <a:pt x="384" y="204"/>
                </a:lnTo>
                <a:lnTo>
                  <a:pt x="390" y="204"/>
                </a:lnTo>
                <a:lnTo>
                  <a:pt x="390" y="204"/>
                </a:lnTo>
                <a:lnTo>
                  <a:pt x="390" y="204"/>
                </a:lnTo>
                <a:lnTo>
                  <a:pt x="390" y="204"/>
                </a:lnTo>
                <a:lnTo>
                  <a:pt x="390" y="204"/>
                </a:lnTo>
                <a:lnTo>
                  <a:pt x="390" y="204"/>
                </a:lnTo>
                <a:lnTo>
                  <a:pt x="390" y="204"/>
                </a:lnTo>
                <a:lnTo>
                  <a:pt x="390" y="204"/>
                </a:lnTo>
                <a:lnTo>
                  <a:pt x="390" y="210"/>
                </a:lnTo>
                <a:lnTo>
                  <a:pt x="390" y="210"/>
                </a:lnTo>
                <a:lnTo>
                  <a:pt x="396" y="210"/>
                </a:lnTo>
                <a:lnTo>
                  <a:pt x="396" y="210"/>
                </a:lnTo>
                <a:lnTo>
                  <a:pt x="396" y="210"/>
                </a:lnTo>
                <a:lnTo>
                  <a:pt x="396" y="216"/>
                </a:lnTo>
                <a:lnTo>
                  <a:pt x="396" y="216"/>
                </a:lnTo>
                <a:lnTo>
                  <a:pt x="396" y="216"/>
                </a:lnTo>
                <a:lnTo>
                  <a:pt x="396" y="216"/>
                </a:lnTo>
                <a:lnTo>
                  <a:pt x="396" y="216"/>
                </a:lnTo>
                <a:lnTo>
                  <a:pt x="396" y="222"/>
                </a:lnTo>
                <a:lnTo>
                  <a:pt x="396" y="222"/>
                </a:lnTo>
                <a:lnTo>
                  <a:pt x="402" y="222"/>
                </a:lnTo>
                <a:lnTo>
                  <a:pt x="402" y="228"/>
                </a:lnTo>
                <a:lnTo>
                  <a:pt x="408" y="228"/>
                </a:lnTo>
                <a:lnTo>
                  <a:pt x="408" y="234"/>
                </a:lnTo>
                <a:lnTo>
                  <a:pt x="408" y="234"/>
                </a:lnTo>
                <a:lnTo>
                  <a:pt x="408" y="234"/>
                </a:lnTo>
                <a:lnTo>
                  <a:pt x="408" y="234"/>
                </a:lnTo>
                <a:lnTo>
                  <a:pt x="408" y="234"/>
                </a:lnTo>
                <a:lnTo>
                  <a:pt x="408" y="240"/>
                </a:lnTo>
                <a:lnTo>
                  <a:pt x="408" y="240"/>
                </a:lnTo>
                <a:lnTo>
                  <a:pt x="402" y="240"/>
                </a:lnTo>
                <a:lnTo>
                  <a:pt x="402" y="240"/>
                </a:lnTo>
                <a:lnTo>
                  <a:pt x="402" y="246"/>
                </a:lnTo>
                <a:lnTo>
                  <a:pt x="402" y="246"/>
                </a:lnTo>
                <a:lnTo>
                  <a:pt x="402" y="246"/>
                </a:lnTo>
                <a:lnTo>
                  <a:pt x="402" y="246"/>
                </a:lnTo>
                <a:lnTo>
                  <a:pt x="402" y="246"/>
                </a:lnTo>
                <a:lnTo>
                  <a:pt x="396" y="246"/>
                </a:lnTo>
                <a:lnTo>
                  <a:pt x="396" y="252"/>
                </a:lnTo>
                <a:lnTo>
                  <a:pt x="396" y="252"/>
                </a:lnTo>
                <a:lnTo>
                  <a:pt x="396" y="252"/>
                </a:lnTo>
                <a:lnTo>
                  <a:pt x="396" y="252"/>
                </a:lnTo>
                <a:lnTo>
                  <a:pt x="396" y="252"/>
                </a:lnTo>
                <a:lnTo>
                  <a:pt x="396" y="252"/>
                </a:lnTo>
                <a:lnTo>
                  <a:pt x="396" y="252"/>
                </a:lnTo>
                <a:lnTo>
                  <a:pt x="390" y="252"/>
                </a:lnTo>
                <a:lnTo>
                  <a:pt x="390" y="252"/>
                </a:lnTo>
                <a:lnTo>
                  <a:pt x="390" y="252"/>
                </a:lnTo>
                <a:lnTo>
                  <a:pt x="390" y="252"/>
                </a:lnTo>
                <a:lnTo>
                  <a:pt x="384" y="258"/>
                </a:lnTo>
                <a:lnTo>
                  <a:pt x="384" y="258"/>
                </a:lnTo>
                <a:lnTo>
                  <a:pt x="384" y="258"/>
                </a:lnTo>
                <a:lnTo>
                  <a:pt x="384" y="258"/>
                </a:lnTo>
                <a:lnTo>
                  <a:pt x="378" y="258"/>
                </a:lnTo>
                <a:lnTo>
                  <a:pt x="378" y="258"/>
                </a:lnTo>
                <a:lnTo>
                  <a:pt x="378" y="258"/>
                </a:lnTo>
                <a:lnTo>
                  <a:pt x="378" y="258"/>
                </a:lnTo>
                <a:lnTo>
                  <a:pt x="378" y="258"/>
                </a:lnTo>
                <a:lnTo>
                  <a:pt x="378" y="258"/>
                </a:lnTo>
                <a:lnTo>
                  <a:pt x="378" y="258"/>
                </a:lnTo>
                <a:lnTo>
                  <a:pt x="378" y="258"/>
                </a:lnTo>
                <a:lnTo>
                  <a:pt x="372" y="258"/>
                </a:lnTo>
                <a:lnTo>
                  <a:pt x="372" y="264"/>
                </a:lnTo>
                <a:lnTo>
                  <a:pt x="372" y="264"/>
                </a:lnTo>
                <a:lnTo>
                  <a:pt x="372" y="264"/>
                </a:lnTo>
                <a:lnTo>
                  <a:pt x="372" y="264"/>
                </a:lnTo>
                <a:lnTo>
                  <a:pt x="378" y="264"/>
                </a:lnTo>
                <a:lnTo>
                  <a:pt x="378" y="270"/>
                </a:lnTo>
                <a:lnTo>
                  <a:pt x="378" y="270"/>
                </a:lnTo>
                <a:lnTo>
                  <a:pt x="378" y="270"/>
                </a:lnTo>
                <a:lnTo>
                  <a:pt x="384" y="270"/>
                </a:lnTo>
                <a:lnTo>
                  <a:pt x="390" y="270"/>
                </a:lnTo>
                <a:lnTo>
                  <a:pt x="390" y="270"/>
                </a:lnTo>
                <a:lnTo>
                  <a:pt x="390" y="270"/>
                </a:lnTo>
                <a:lnTo>
                  <a:pt x="390" y="276"/>
                </a:lnTo>
                <a:lnTo>
                  <a:pt x="390" y="276"/>
                </a:lnTo>
                <a:lnTo>
                  <a:pt x="390" y="276"/>
                </a:lnTo>
                <a:lnTo>
                  <a:pt x="390" y="282"/>
                </a:lnTo>
                <a:lnTo>
                  <a:pt x="390" y="282"/>
                </a:lnTo>
                <a:lnTo>
                  <a:pt x="390" y="282"/>
                </a:lnTo>
                <a:lnTo>
                  <a:pt x="396" y="282"/>
                </a:lnTo>
                <a:lnTo>
                  <a:pt x="396" y="282"/>
                </a:lnTo>
                <a:lnTo>
                  <a:pt x="396" y="282"/>
                </a:lnTo>
                <a:lnTo>
                  <a:pt x="396" y="288"/>
                </a:lnTo>
                <a:lnTo>
                  <a:pt x="402" y="288"/>
                </a:lnTo>
                <a:lnTo>
                  <a:pt x="402" y="288"/>
                </a:lnTo>
                <a:lnTo>
                  <a:pt x="402" y="288"/>
                </a:lnTo>
                <a:lnTo>
                  <a:pt x="402" y="282"/>
                </a:lnTo>
                <a:lnTo>
                  <a:pt x="402" y="282"/>
                </a:lnTo>
                <a:lnTo>
                  <a:pt x="402" y="282"/>
                </a:lnTo>
                <a:lnTo>
                  <a:pt x="402" y="282"/>
                </a:lnTo>
                <a:lnTo>
                  <a:pt x="402" y="282"/>
                </a:lnTo>
                <a:lnTo>
                  <a:pt x="402" y="282"/>
                </a:lnTo>
                <a:lnTo>
                  <a:pt x="408" y="282"/>
                </a:lnTo>
                <a:lnTo>
                  <a:pt x="408" y="282"/>
                </a:lnTo>
                <a:lnTo>
                  <a:pt x="408" y="282"/>
                </a:lnTo>
                <a:lnTo>
                  <a:pt x="408" y="282"/>
                </a:lnTo>
                <a:lnTo>
                  <a:pt x="414" y="282"/>
                </a:lnTo>
                <a:lnTo>
                  <a:pt x="414" y="288"/>
                </a:lnTo>
                <a:lnTo>
                  <a:pt x="414" y="288"/>
                </a:lnTo>
                <a:lnTo>
                  <a:pt x="414" y="288"/>
                </a:lnTo>
                <a:lnTo>
                  <a:pt x="414" y="288"/>
                </a:lnTo>
                <a:lnTo>
                  <a:pt x="414" y="288"/>
                </a:lnTo>
                <a:lnTo>
                  <a:pt x="414" y="288"/>
                </a:lnTo>
                <a:lnTo>
                  <a:pt x="414" y="288"/>
                </a:lnTo>
                <a:lnTo>
                  <a:pt x="414" y="294"/>
                </a:lnTo>
                <a:lnTo>
                  <a:pt x="414" y="294"/>
                </a:lnTo>
                <a:lnTo>
                  <a:pt x="414" y="294"/>
                </a:lnTo>
                <a:lnTo>
                  <a:pt x="414" y="294"/>
                </a:lnTo>
                <a:lnTo>
                  <a:pt x="414" y="294"/>
                </a:lnTo>
                <a:lnTo>
                  <a:pt x="414" y="294"/>
                </a:lnTo>
                <a:lnTo>
                  <a:pt x="420" y="294"/>
                </a:lnTo>
                <a:lnTo>
                  <a:pt x="420" y="294"/>
                </a:lnTo>
                <a:lnTo>
                  <a:pt x="420" y="300"/>
                </a:lnTo>
                <a:lnTo>
                  <a:pt x="420" y="300"/>
                </a:lnTo>
                <a:lnTo>
                  <a:pt x="420" y="306"/>
                </a:lnTo>
                <a:lnTo>
                  <a:pt x="414" y="306"/>
                </a:lnTo>
                <a:lnTo>
                  <a:pt x="420" y="306"/>
                </a:lnTo>
                <a:lnTo>
                  <a:pt x="420" y="306"/>
                </a:lnTo>
                <a:lnTo>
                  <a:pt x="420" y="312"/>
                </a:lnTo>
                <a:lnTo>
                  <a:pt x="420" y="312"/>
                </a:lnTo>
                <a:lnTo>
                  <a:pt x="420" y="312"/>
                </a:lnTo>
                <a:lnTo>
                  <a:pt x="420" y="306"/>
                </a:lnTo>
                <a:lnTo>
                  <a:pt x="420" y="312"/>
                </a:lnTo>
                <a:lnTo>
                  <a:pt x="420" y="312"/>
                </a:lnTo>
                <a:lnTo>
                  <a:pt x="420" y="312"/>
                </a:lnTo>
                <a:lnTo>
                  <a:pt x="420" y="312"/>
                </a:lnTo>
                <a:lnTo>
                  <a:pt x="420" y="318"/>
                </a:lnTo>
                <a:lnTo>
                  <a:pt x="420" y="318"/>
                </a:lnTo>
                <a:lnTo>
                  <a:pt x="426" y="318"/>
                </a:lnTo>
                <a:lnTo>
                  <a:pt x="426" y="324"/>
                </a:lnTo>
                <a:lnTo>
                  <a:pt x="426" y="324"/>
                </a:lnTo>
                <a:lnTo>
                  <a:pt x="426" y="324"/>
                </a:lnTo>
                <a:lnTo>
                  <a:pt x="426" y="324"/>
                </a:lnTo>
                <a:lnTo>
                  <a:pt x="426" y="324"/>
                </a:lnTo>
                <a:lnTo>
                  <a:pt x="426" y="330"/>
                </a:lnTo>
                <a:lnTo>
                  <a:pt x="426" y="330"/>
                </a:lnTo>
                <a:lnTo>
                  <a:pt x="426" y="330"/>
                </a:lnTo>
                <a:lnTo>
                  <a:pt x="426" y="330"/>
                </a:lnTo>
                <a:lnTo>
                  <a:pt x="432" y="330"/>
                </a:lnTo>
                <a:lnTo>
                  <a:pt x="432" y="330"/>
                </a:lnTo>
                <a:lnTo>
                  <a:pt x="432" y="330"/>
                </a:lnTo>
                <a:lnTo>
                  <a:pt x="432" y="336"/>
                </a:lnTo>
                <a:lnTo>
                  <a:pt x="432" y="336"/>
                </a:lnTo>
                <a:lnTo>
                  <a:pt x="438" y="336"/>
                </a:lnTo>
                <a:lnTo>
                  <a:pt x="438" y="336"/>
                </a:lnTo>
                <a:lnTo>
                  <a:pt x="444" y="336"/>
                </a:lnTo>
                <a:lnTo>
                  <a:pt x="444" y="336"/>
                </a:lnTo>
                <a:lnTo>
                  <a:pt x="444" y="336"/>
                </a:lnTo>
                <a:lnTo>
                  <a:pt x="444" y="342"/>
                </a:lnTo>
                <a:lnTo>
                  <a:pt x="444" y="342"/>
                </a:lnTo>
                <a:lnTo>
                  <a:pt x="444" y="342"/>
                </a:lnTo>
                <a:lnTo>
                  <a:pt x="444" y="342"/>
                </a:lnTo>
                <a:lnTo>
                  <a:pt x="444" y="342"/>
                </a:lnTo>
                <a:lnTo>
                  <a:pt x="444" y="348"/>
                </a:lnTo>
                <a:lnTo>
                  <a:pt x="444" y="348"/>
                </a:lnTo>
                <a:lnTo>
                  <a:pt x="450" y="348"/>
                </a:lnTo>
                <a:lnTo>
                  <a:pt x="450" y="348"/>
                </a:lnTo>
                <a:lnTo>
                  <a:pt x="450" y="354"/>
                </a:lnTo>
                <a:lnTo>
                  <a:pt x="450" y="354"/>
                </a:lnTo>
                <a:lnTo>
                  <a:pt x="450" y="354"/>
                </a:lnTo>
                <a:lnTo>
                  <a:pt x="450" y="354"/>
                </a:lnTo>
                <a:lnTo>
                  <a:pt x="450" y="360"/>
                </a:lnTo>
                <a:lnTo>
                  <a:pt x="450" y="360"/>
                </a:lnTo>
                <a:lnTo>
                  <a:pt x="450" y="360"/>
                </a:lnTo>
                <a:lnTo>
                  <a:pt x="450" y="360"/>
                </a:lnTo>
                <a:lnTo>
                  <a:pt x="450" y="366"/>
                </a:lnTo>
                <a:lnTo>
                  <a:pt x="444" y="366"/>
                </a:lnTo>
                <a:lnTo>
                  <a:pt x="444" y="360"/>
                </a:lnTo>
                <a:lnTo>
                  <a:pt x="444" y="360"/>
                </a:lnTo>
                <a:lnTo>
                  <a:pt x="438" y="366"/>
                </a:lnTo>
                <a:lnTo>
                  <a:pt x="438" y="366"/>
                </a:lnTo>
                <a:lnTo>
                  <a:pt x="438" y="366"/>
                </a:lnTo>
                <a:lnTo>
                  <a:pt x="438" y="366"/>
                </a:lnTo>
                <a:lnTo>
                  <a:pt x="438" y="366"/>
                </a:lnTo>
                <a:lnTo>
                  <a:pt x="432" y="366"/>
                </a:lnTo>
                <a:lnTo>
                  <a:pt x="432" y="372"/>
                </a:lnTo>
                <a:lnTo>
                  <a:pt x="432" y="372"/>
                </a:lnTo>
                <a:lnTo>
                  <a:pt x="432" y="372"/>
                </a:lnTo>
                <a:lnTo>
                  <a:pt x="432" y="372"/>
                </a:lnTo>
                <a:lnTo>
                  <a:pt x="432" y="372"/>
                </a:lnTo>
                <a:lnTo>
                  <a:pt x="426" y="372"/>
                </a:lnTo>
                <a:lnTo>
                  <a:pt x="426" y="372"/>
                </a:lnTo>
                <a:lnTo>
                  <a:pt x="426" y="372"/>
                </a:lnTo>
                <a:lnTo>
                  <a:pt x="426" y="372"/>
                </a:lnTo>
                <a:lnTo>
                  <a:pt x="426" y="372"/>
                </a:lnTo>
                <a:lnTo>
                  <a:pt x="420" y="372"/>
                </a:lnTo>
                <a:lnTo>
                  <a:pt x="420" y="372"/>
                </a:lnTo>
                <a:lnTo>
                  <a:pt x="420" y="372"/>
                </a:lnTo>
                <a:lnTo>
                  <a:pt x="420" y="372"/>
                </a:lnTo>
                <a:lnTo>
                  <a:pt x="420" y="372"/>
                </a:lnTo>
                <a:lnTo>
                  <a:pt x="414" y="366"/>
                </a:lnTo>
                <a:lnTo>
                  <a:pt x="414" y="366"/>
                </a:lnTo>
                <a:lnTo>
                  <a:pt x="414" y="366"/>
                </a:lnTo>
                <a:lnTo>
                  <a:pt x="414" y="366"/>
                </a:lnTo>
                <a:lnTo>
                  <a:pt x="414" y="366"/>
                </a:lnTo>
                <a:lnTo>
                  <a:pt x="414" y="366"/>
                </a:lnTo>
                <a:lnTo>
                  <a:pt x="414" y="366"/>
                </a:lnTo>
                <a:lnTo>
                  <a:pt x="414" y="366"/>
                </a:lnTo>
                <a:lnTo>
                  <a:pt x="414" y="366"/>
                </a:lnTo>
                <a:lnTo>
                  <a:pt x="414" y="366"/>
                </a:lnTo>
                <a:lnTo>
                  <a:pt x="414" y="372"/>
                </a:lnTo>
                <a:lnTo>
                  <a:pt x="408" y="372"/>
                </a:lnTo>
                <a:lnTo>
                  <a:pt x="408" y="372"/>
                </a:lnTo>
                <a:lnTo>
                  <a:pt x="408" y="378"/>
                </a:lnTo>
                <a:lnTo>
                  <a:pt x="414" y="378"/>
                </a:lnTo>
                <a:lnTo>
                  <a:pt x="414" y="378"/>
                </a:lnTo>
                <a:lnTo>
                  <a:pt x="414" y="378"/>
                </a:lnTo>
                <a:lnTo>
                  <a:pt x="414" y="378"/>
                </a:lnTo>
                <a:lnTo>
                  <a:pt x="414" y="378"/>
                </a:lnTo>
                <a:lnTo>
                  <a:pt x="414" y="378"/>
                </a:lnTo>
                <a:lnTo>
                  <a:pt x="414" y="378"/>
                </a:lnTo>
                <a:lnTo>
                  <a:pt x="414" y="378"/>
                </a:lnTo>
                <a:lnTo>
                  <a:pt x="414" y="378"/>
                </a:lnTo>
                <a:lnTo>
                  <a:pt x="414" y="384"/>
                </a:lnTo>
                <a:lnTo>
                  <a:pt x="414" y="384"/>
                </a:lnTo>
                <a:lnTo>
                  <a:pt x="414" y="384"/>
                </a:lnTo>
                <a:lnTo>
                  <a:pt x="414" y="384"/>
                </a:lnTo>
                <a:lnTo>
                  <a:pt x="414" y="384"/>
                </a:lnTo>
                <a:lnTo>
                  <a:pt x="408" y="384"/>
                </a:lnTo>
                <a:lnTo>
                  <a:pt x="408" y="390"/>
                </a:lnTo>
                <a:lnTo>
                  <a:pt x="408" y="396"/>
                </a:lnTo>
                <a:lnTo>
                  <a:pt x="414" y="396"/>
                </a:lnTo>
                <a:lnTo>
                  <a:pt x="414" y="396"/>
                </a:lnTo>
                <a:lnTo>
                  <a:pt x="414" y="396"/>
                </a:lnTo>
                <a:lnTo>
                  <a:pt x="414" y="402"/>
                </a:lnTo>
                <a:lnTo>
                  <a:pt x="420" y="402"/>
                </a:lnTo>
                <a:lnTo>
                  <a:pt x="420" y="402"/>
                </a:lnTo>
                <a:lnTo>
                  <a:pt x="420" y="408"/>
                </a:lnTo>
                <a:lnTo>
                  <a:pt x="420" y="408"/>
                </a:lnTo>
                <a:lnTo>
                  <a:pt x="420" y="408"/>
                </a:lnTo>
                <a:lnTo>
                  <a:pt x="420" y="408"/>
                </a:lnTo>
                <a:lnTo>
                  <a:pt x="420" y="408"/>
                </a:lnTo>
                <a:lnTo>
                  <a:pt x="420" y="414"/>
                </a:lnTo>
                <a:lnTo>
                  <a:pt x="420" y="414"/>
                </a:lnTo>
                <a:lnTo>
                  <a:pt x="420" y="414"/>
                </a:lnTo>
                <a:lnTo>
                  <a:pt x="420" y="414"/>
                </a:lnTo>
                <a:lnTo>
                  <a:pt x="426" y="414"/>
                </a:lnTo>
                <a:lnTo>
                  <a:pt x="420" y="420"/>
                </a:lnTo>
                <a:lnTo>
                  <a:pt x="420" y="420"/>
                </a:lnTo>
                <a:lnTo>
                  <a:pt x="420" y="420"/>
                </a:lnTo>
                <a:lnTo>
                  <a:pt x="420" y="420"/>
                </a:lnTo>
                <a:lnTo>
                  <a:pt x="426" y="426"/>
                </a:lnTo>
                <a:lnTo>
                  <a:pt x="426" y="426"/>
                </a:lnTo>
                <a:lnTo>
                  <a:pt x="426" y="426"/>
                </a:lnTo>
                <a:lnTo>
                  <a:pt x="426" y="426"/>
                </a:lnTo>
                <a:lnTo>
                  <a:pt x="426" y="426"/>
                </a:lnTo>
                <a:lnTo>
                  <a:pt x="426" y="426"/>
                </a:lnTo>
                <a:lnTo>
                  <a:pt x="426" y="432"/>
                </a:lnTo>
                <a:lnTo>
                  <a:pt x="426" y="432"/>
                </a:lnTo>
                <a:lnTo>
                  <a:pt x="426" y="432"/>
                </a:lnTo>
                <a:lnTo>
                  <a:pt x="426" y="432"/>
                </a:lnTo>
                <a:lnTo>
                  <a:pt x="432" y="432"/>
                </a:lnTo>
                <a:lnTo>
                  <a:pt x="432" y="438"/>
                </a:lnTo>
                <a:lnTo>
                  <a:pt x="426" y="438"/>
                </a:lnTo>
                <a:lnTo>
                  <a:pt x="426" y="438"/>
                </a:lnTo>
                <a:lnTo>
                  <a:pt x="426" y="438"/>
                </a:lnTo>
                <a:lnTo>
                  <a:pt x="432" y="438"/>
                </a:lnTo>
                <a:lnTo>
                  <a:pt x="432" y="438"/>
                </a:lnTo>
                <a:lnTo>
                  <a:pt x="432" y="438"/>
                </a:lnTo>
                <a:lnTo>
                  <a:pt x="432" y="444"/>
                </a:lnTo>
                <a:lnTo>
                  <a:pt x="432" y="444"/>
                </a:lnTo>
                <a:lnTo>
                  <a:pt x="432" y="444"/>
                </a:lnTo>
                <a:lnTo>
                  <a:pt x="432" y="444"/>
                </a:lnTo>
                <a:lnTo>
                  <a:pt x="432" y="450"/>
                </a:lnTo>
                <a:lnTo>
                  <a:pt x="432" y="450"/>
                </a:lnTo>
                <a:lnTo>
                  <a:pt x="432" y="456"/>
                </a:lnTo>
                <a:lnTo>
                  <a:pt x="432" y="456"/>
                </a:lnTo>
                <a:lnTo>
                  <a:pt x="432" y="456"/>
                </a:lnTo>
                <a:lnTo>
                  <a:pt x="432" y="456"/>
                </a:lnTo>
                <a:lnTo>
                  <a:pt x="432" y="462"/>
                </a:lnTo>
                <a:lnTo>
                  <a:pt x="432" y="462"/>
                </a:lnTo>
                <a:lnTo>
                  <a:pt x="426" y="462"/>
                </a:lnTo>
                <a:lnTo>
                  <a:pt x="426" y="462"/>
                </a:lnTo>
                <a:lnTo>
                  <a:pt x="426" y="462"/>
                </a:lnTo>
                <a:lnTo>
                  <a:pt x="426" y="462"/>
                </a:lnTo>
                <a:lnTo>
                  <a:pt x="426" y="468"/>
                </a:lnTo>
                <a:lnTo>
                  <a:pt x="426" y="468"/>
                </a:lnTo>
                <a:lnTo>
                  <a:pt x="426" y="474"/>
                </a:lnTo>
                <a:lnTo>
                  <a:pt x="426" y="474"/>
                </a:lnTo>
                <a:lnTo>
                  <a:pt x="426" y="474"/>
                </a:lnTo>
                <a:lnTo>
                  <a:pt x="426" y="474"/>
                </a:lnTo>
                <a:lnTo>
                  <a:pt x="426" y="474"/>
                </a:lnTo>
                <a:lnTo>
                  <a:pt x="426" y="474"/>
                </a:lnTo>
                <a:lnTo>
                  <a:pt x="426" y="480"/>
                </a:lnTo>
                <a:lnTo>
                  <a:pt x="426" y="480"/>
                </a:lnTo>
                <a:lnTo>
                  <a:pt x="426" y="480"/>
                </a:lnTo>
                <a:lnTo>
                  <a:pt x="426" y="480"/>
                </a:lnTo>
                <a:lnTo>
                  <a:pt x="426" y="480"/>
                </a:lnTo>
                <a:lnTo>
                  <a:pt x="426" y="486"/>
                </a:lnTo>
                <a:lnTo>
                  <a:pt x="426" y="486"/>
                </a:lnTo>
                <a:lnTo>
                  <a:pt x="426" y="486"/>
                </a:lnTo>
                <a:lnTo>
                  <a:pt x="420" y="486"/>
                </a:lnTo>
                <a:lnTo>
                  <a:pt x="420" y="486"/>
                </a:lnTo>
                <a:lnTo>
                  <a:pt x="420" y="492"/>
                </a:lnTo>
                <a:lnTo>
                  <a:pt x="420" y="492"/>
                </a:lnTo>
                <a:lnTo>
                  <a:pt x="420" y="492"/>
                </a:lnTo>
                <a:lnTo>
                  <a:pt x="426" y="498"/>
                </a:lnTo>
                <a:lnTo>
                  <a:pt x="426" y="498"/>
                </a:lnTo>
                <a:lnTo>
                  <a:pt x="426" y="498"/>
                </a:lnTo>
                <a:lnTo>
                  <a:pt x="426" y="498"/>
                </a:lnTo>
                <a:lnTo>
                  <a:pt x="420" y="498"/>
                </a:lnTo>
                <a:lnTo>
                  <a:pt x="420" y="504"/>
                </a:lnTo>
                <a:lnTo>
                  <a:pt x="420" y="504"/>
                </a:lnTo>
                <a:lnTo>
                  <a:pt x="420" y="510"/>
                </a:lnTo>
                <a:lnTo>
                  <a:pt x="420" y="516"/>
                </a:lnTo>
                <a:lnTo>
                  <a:pt x="426" y="516"/>
                </a:lnTo>
                <a:lnTo>
                  <a:pt x="426" y="516"/>
                </a:lnTo>
                <a:lnTo>
                  <a:pt x="420" y="522"/>
                </a:lnTo>
                <a:lnTo>
                  <a:pt x="426" y="522"/>
                </a:lnTo>
                <a:lnTo>
                  <a:pt x="426" y="522"/>
                </a:lnTo>
                <a:lnTo>
                  <a:pt x="426" y="522"/>
                </a:lnTo>
                <a:lnTo>
                  <a:pt x="426" y="522"/>
                </a:lnTo>
                <a:lnTo>
                  <a:pt x="426" y="522"/>
                </a:lnTo>
                <a:lnTo>
                  <a:pt x="426" y="528"/>
                </a:lnTo>
                <a:lnTo>
                  <a:pt x="426" y="528"/>
                </a:lnTo>
                <a:lnTo>
                  <a:pt x="426" y="528"/>
                </a:lnTo>
                <a:lnTo>
                  <a:pt x="426" y="534"/>
                </a:lnTo>
                <a:lnTo>
                  <a:pt x="426" y="534"/>
                </a:lnTo>
                <a:lnTo>
                  <a:pt x="432" y="540"/>
                </a:lnTo>
                <a:lnTo>
                  <a:pt x="426" y="540"/>
                </a:lnTo>
                <a:lnTo>
                  <a:pt x="426" y="546"/>
                </a:lnTo>
                <a:lnTo>
                  <a:pt x="432" y="546"/>
                </a:lnTo>
                <a:lnTo>
                  <a:pt x="432" y="546"/>
                </a:lnTo>
                <a:lnTo>
                  <a:pt x="432" y="546"/>
                </a:lnTo>
                <a:lnTo>
                  <a:pt x="432" y="552"/>
                </a:lnTo>
                <a:lnTo>
                  <a:pt x="432" y="552"/>
                </a:lnTo>
                <a:lnTo>
                  <a:pt x="432" y="552"/>
                </a:lnTo>
                <a:lnTo>
                  <a:pt x="432" y="552"/>
                </a:lnTo>
                <a:lnTo>
                  <a:pt x="432" y="552"/>
                </a:lnTo>
                <a:lnTo>
                  <a:pt x="432" y="558"/>
                </a:lnTo>
                <a:lnTo>
                  <a:pt x="438" y="558"/>
                </a:lnTo>
                <a:lnTo>
                  <a:pt x="438" y="552"/>
                </a:lnTo>
                <a:lnTo>
                  <a:pt x="444" y="552"/>
                </a:lnTo>
                <a:lnTo>
                  <a:pt x="444" y="558"/>
                </a:lnTo>
                <a:lnTo>
                  <a:pt x="444" y="558"/>
                </a:lnTo>
                <a:lnTo>
                  <a:pt x="444" y="558"/>
                </a:lnTo>
                <a:lnTo>
                  <a:pt x="444" y="558"/>
                </a:lnTo>
                <a:lnTo>
                  <a:pt x="444" y="558"/>
                </a:lnTo>
                <a:lnTo>
                  <a:pt x="444" y="564"/>
                </a:lnTo>
                <a:lnTo>
                  <a:pt x="444" y="570"/>
                </a:lnTo>
                <a:lnTo>
                  <a:pt x="444" y="570"/>
                </a:lnTo>
                <a:lnTo>
                  <a:pt x="444" y="570"/>
                </a:lnTo>
                <a:lnTo>
                  <a:pt x="444" y="570"/>
                </a:lnTo>
                <a:lnTo>
                  <a:pt x="444" y="570"/>
                </a:lnTo>
                <a:lnTo>
                  <a:pt x="444" y="576"/>
                </a:lnTo>
                <a:lnTo>
                  <a:pt x="444" y="576"/>
                </a:lnTo>
                <a:lnTo>
                  <a:pt x="444" y="576"/>
                </a:lnTo>
                <a:lnTo>
                  <a:pt x="444" y="570"/>
                </a:lnTo>
                <a:lnTo>
                  <a:pt x="444" y="570"/>
                </a:lnTo>
                <a:lnTo>
                  <a:pt x="444" y="576"/>
                </a:lnTo>
                <a:lnTo>
                  <a:pt x="444" y="576"/>
                </a:lnTo>
                <a:lnTo>
                  <a:pt x="444" y="576"/>
                </a:lnTo>
                <a:lnTo>
                  <a:pt x="444" y="576"/>
                </a:lnTo>
                <a:lnTo>
                  <a:pt x="444" y="576"/>
                </a:lnTo>
                <a:lnTo>
                  <a:pt x="438" y="576"/>
                </a:lnTo>
                <a:lnTo>
                  <a:pt x="438" y="576"/>
                </a:lnTo>
                <a:lnTo>
                  <a:pt x="438" y="582"/>
                </a:lnTo>
                <a:lnTo>
                  <a:pt x="438" y="582"/>
                </a:lnTo>
                <a:lnTo>
                  <a:pt x="438" y="582"/>
                </a:lnTo>
                <a:lnTo>
                  <a:pt x="444" y="582"/>
                </a:lnTo>
                <a:lnTo>
                  <a:pt x="444" y="588"/>
                </a:lnTo>
                <a:lnTo>
                  <a:pt x="450" y="588"/>
                </a:lnTo>
                <a:lnTo>
                  <a:pt x="450" y="588"/>
                </a:lnTo>
                <a:lnTo>
                  <a:pt x="450" y="594"/>
                </a:lnTo>
                <a:lnTo>
                  <a:pt x="450" y="594"/>
                </a:lnTo>
                <a:lnTo>
                  <a:pt x="450" y="594"/>
                </a:lnTo>
                <a:lnTo>
                  <a:pt x="456" y="600"/>
                </a:lnTo>
                <a:lnTo>
                  <a:pt x="450" y="600"/>
                </a:lnTo>
                <a:lnTo>
                  <a:pt x="444" y="600"/>
                </a:lnTo>
                <a:lnTo>
                  <a:pt x="444" y="606"/>
                </a:lnTo>
                <a:lnTo>
                  <a:pt x="444" y="606"/>
                </a:lnTo>
                <a:lnTo>
                  <a:pt x="444" y="606"/>
                </a:lnTo>
                <a:lnTo>
                  <a:pt x="444" y="606"/>
                </a:lnTo>
                <a:lnTo>
                  <a:pt x="444" y="612"/>
                </a:lnTo>
                <a:lnTo>
                  <a:pt x="444" y="612"/>
                </a:lnTo>
                <a:lnTo>
                  <a:pt x="444" y="612"/>
                </a:lnTo>
                <a:lnTo>
                  <a:pt x="444" y="612"/>
                </a:lnTo>
                <a:lnTo>
                  <a:pt x="444" y="618"/>
                </a:lnTo>
                <a:lnTo>
                  <a:pt x="444" y="618"/>
                </a:lnTo>
                <a:lnTo>
                  <a:pt x="438" y="618"/>
                </a:lnTo>
                <a:lnTo>
                  <a:pt x="438" y="618"/>
                </a:lnTo>
                <a:lnTo>
                  <a:pt x="438" y="618"/>
                </a:lnTo>
                <a:lnTo>
                  <a:pt x="438" y="624"/>
                </a:lnTo>
                <a:lnTo>
                  <a:pt x="438" y="624"/>
                </a:lnTo>
                <a:lnTo>
                  <a:pt x="438" y="624"/>
                </a:lnTo>
                <a:lnTo>
                  <a:pt x="438" y="624"/>
                </a:lnTo>
                <a:lnTo>
                  <a:pt x="432" y="624"/>
                </a:lnTo>
                <a:lnTo>
                  <a:pt x="438" y="624"/>
                </a:lnTo>
                <a:lnTo>
                  <a:pt x="438" y="624"/>
                </a:lnTo>
                <a:lnTo>
                  <a:pt x="438" y="630"/>
                </a:lnTo>
                <a:lnTo>
                  <a:pt x="438" y="624"/>
                </a:lnTo>
                <a:lnTo>
                  <a:pt x="438" y="630"/>
                </a:lnTo>
                <a:lnTo>
                  <a:pt x="438" y="630"/>
                </a:lnTo>
                <a:lnTo>
                  <a:pt x="438" y="630"/>
                </a:lnTo>
                <a:lnTo>
                  <a:pt x="432" y="630"/>
                </a:lnTo>
                <a:lnTo>
                  <a:pt x="438" y="636"/>
                </a:lnTo>
                <a:lnTo>
                  <a:pt x="432" y="636"/>
                </a:lnTo>
                <a:lnTo>
                  <a:pt x="432" y="636"/>
                </a:lnTo>
                <a:lnTo>
                  <a:pt x="426" y="636"/>
                </a:lnTo>
                <a:lnTo>
                  <a:pt x="426" y="642"/>
                </a:lnTo>
                <a:lnTo>
                  <a:pt x="426" y="642"/>
                </a:lnTo>
                <a:lnTo>
                  <a:pt x="426" y="642"/>
                </a:lnTo>
                <a:lnTo>
                  <a:pt x="426" y="642"/>
                </a:lnTo>
                <a:lnTo>
                  <a:pt x="426" y="642"/>
                </a:lnTo>
                <a:lnTo>
                  <a:pt x="426" y="648"/>
                </a:lnTo>
                <a:lnTo>
                  <a:pt x="426" y="648"/>
                </a:lnTo>
                <a:lnTo>
                  <a:pt x="426" y="648"/>
                </a:lnTo>
                <a:lnTo>
                  <a:pt x="426" y="654"/>
                </a:lnTo>
                <a:lnTo>
                  <a:pt x="426" y="654"/>
                </a:lnTo>
                <a:lnTo>
                  <a:pt x="426" y="654"/>
                </a:lnTo>
                <a:lnTo>
                  <a:pt x="426" y="654"/>
                </a:lnTo>
                <a:lnTo>
                  <a:pt x="426" y="654"/>
                </a:lnTo>
                <a:lnTo>
                  <a:pt x="426" y="660"/>
                </a:lnTo>
                <a:lnTo>
                  <a:pt x="426" y="660"/>
                </a:lnTo>
                <a:lnTo>
                  <a:pt x="426" y="660"/>
                </a:lnTo>
                <a:lnTo>
                  <a:pt x="426" y="660"/>
                </a:lnTo>
                <a:lnTo>
                  <a:pt x="426" y="660"/>
                </a:lnTo>
                <a:lnTo>
                  <a:pt x="426" y="666"/>
                </a:lnTo>
                <a:lnTo>
                  <a:pt x="426" y="666"/>
                </a:lnTo>
                <a:lnTo>
                  <a:pt x="426" y="666"/>
                </a:lnTo>
                <a:lnTo>
                  <a:pt x="426" y="666"/>
                </a:lnTo>
                <a:lnTo>
                  <a:pt x="426" y="666"/>
                </a:lnTo>
                <a:lnTo>
                  <a:pt x="426" y="672"/>
                </a:lnTo>
                <a:lnTo>
                  <a:pt x="426" y="672"/>
                </a:lnTo>
                <a:lnTo>
                  <a:pt x="426" y="672"/>
                </a:lnTo>
                <a:lnTo>
                  <a:pt x="426" y="672"/>
                </a:lnTo>
                <a:lnTo>
                  <a:pt x="426" y="672"/>
                </a:lnTo>
                <a:lnTo>
                  <a:pt x="426" y="672"/>
                </a:lnTo>
                <a:lnTo>
                  <a:pt x="432" y="678"/>
                </a:lnTo>
                <a:lnTo>
                  <a:pt x="426" y="678"/>
                </a:lnTo>
                <a:lnTo>
                  <a:pt x="426" y="678"/>
                </a:lnTo>
                <a:lnTo>
                  <a:pt x="426" y="678"/>
                </a:lnTo>
                <a:lnTo>
                  <a:pt x="426" y="678"/>
                </a:lnTo>
                <a:lnTo>
                  <a:pt x="426" y="684"/>
                </a:lnTo>
                <a:lnTo>
                  <a:pt x="426" y="684"/>
                </a:lnTo>
                <a:lnTo>
                  <a:pt x="426" y="684"/>
                </a:lnTo>
                <a:lnTo>
                  <a:pt x="426" y="684"/>
                </a:lnTo>
                <a:lnTo>
                  <a:pt x="432" y="690"/>
                </a:lnTo>
                <a:lnTo>
                  <a:pt x="432" y="690"/>
                </a:lnTo>
                <a:lnTo>
                  <a:pt x="432" y="690"/>
                </a:lnTo>
                <a:lnTo>
                  <a:pt x="432" y="690"/>
                </a:lnTo>
                <a:lnTo>
                  <a:pt x="432" y="690"/>
                </a:lnTo>
                <a:lnTo>
                  <a:pt x="432" y="696"/>
                </a:lnTo>
                <a:lnTo>
                  <a:pt x="432" y="696"/>
                </a:lnTo>
                <a:lnTo>
                  <a:pt x="432" y="696"/>
                </a:lnTo>
                <a:lnTo>
                  <a:pt x="432" y="696"/>
                </a:lnTo>
                <a:lnTo>
                  <a:pt x="432" y="702"/>
                </a:lnTo>
                <a:lnTo>
                  <a:pt x="432" y="702"/>
                </a:lnTo>
                <a:lnTo>
                  <a:pt x="432" y="702"/>
                </a:lnTo>
                <a:lnTo>
                  <a:pt x="432" y="702"/>
                </a:lnTo>
                <a:lnTo>
                  <a:pt x="432" y="702"/>
                </a:lnTo>
                <a:lnTo>
                  <a:pt x="432" y="702"/>
                </a:lnTo>
                <a:lnTo>
                  <a:pt x="438" y="708"/>
                </a:lnTo>
                <a:lnTo>
                  <a:pt x="438" y="708"/>
                </a:lnTo>
                <a:lnTo>
                  <a:pt x="438" y="708"/>
                </a:lnTo>
                <a:lnTo>
                  <a:pt x="444" y="714"/>
                </a:lnTo>
                <a:lnTo>
                  <a:pt x="444" y="714"/>
                </a:lnTo>
                <a:lnTo>
                  <a:pt x="444" y="714"/>
                </a:lnTo>
                <a:lnTo>
                  <a:pt x="444" y="714"/>
                </a:lnTo>
                <a:lnTo>
                  <a:pt x="444" y="720"/>
                </a:lnTo>
                <a:lnTo>
                  <a:pt x="444" y="720"/>
                </a:lnTo>
                <a:lnTo>
                  <a:pt x="444" y="720"/>
                </a:lnTo>
                <a:lnTo>
                  <a:pt x="444" y="720"/>
                </a:lnTo>
                <a:lnTo>
                  <a:pt x="438" y="720"/>
                </a:lnTo>
                <a:lnTo>
                  <a:pt x="438" y="720"/>
                </a:lnTo>
                <a:lnTo>
                  <a:pt x="438" y="720"/>
                </a:lnTo>
                <a:lnTo>
                  <a:pt x="432" y="720"/>
                </a:lnTo>
                <a:lnTo>
                  <a:pt x="432" y="714"/>
                </a:lnTo>
                <a:lnTo>
                  <a:pt x="432" y="714"/>
                </a:lnTo>
                <a:lnTo>
                  <a:pt x="432" y="714"/>
                </a:lnTo>
                <a:lnTo>
                  <a:pt x="432" y="714"/>
                </a:lnTo>
                <a:lnTo>
                  <a:pt x="432" y="714"/>
                </a:lnTo>
                <a:lnTo>
                  <a:pt x="432" y="714"/>
                </a:lnTo>
                <a:lnTo>
                  <a:pt x="426" y="714"/>
                </a:lnTo>
                <a:lnTo>
                  <a:pt x="426" y="714"/>
                </a:lnTo>
                <a:lnTo>
                  <a:pt x="420" y="714"/>
                </a:lnTo>
                <a:lnTo>
                  <a:pt x="420" y="714"/>
                </a:lnTo>
                <a:lnTo>
                  <a:pt x="420" y="714"/>
                </a:lnTo>
                <a:lnTo>
                  <a:pt x="420" y="714"/>
                </a:lnTo>
                <a:lnTo>
                  <a:pt x="420" y="714"/>
                </a:lnTo>
                <a:lnTo>
                  <a:pt x="420" y="720"/>
                </a:lnTo>
                <a:lnTo>
                  <a:pt x="420" y="720"/>
                </a:lnTo>
                <a:lnTo>
                  <a:pt x="420" y="720"/>
                </a:lnTo>
                <a:lnTo>
                  <a:pt x="426" y="720"/>
                </a:lnTo>
                <a:lnTo>
                  <a:pt x="426" y="726"/>
                </a:lnTo>
                <a:lnTo>
                  <a:pt x="426" y="726"/>
                </a:lnTo>
                <a:lnTo>
                  <a:pt x="420" y="726"/>
                </a:lnTo>
                <a:lnTo>
                  <a:pt x="420" y="732"/>
                </a:lnTo>
                <a:lnTo>
                  <a:pt x="426" y="732"/>
                </a:lnTo>
                <a:lnTo>
                  <a:pt x="426" y="732"/>
                </a:lnTo>
                <a:lnTo>
                  <a:pt x="426" y="732"/>
                </a:lnTo>
                <a:lnTo>
                  <a:pt x="426" y="732"/>
                </a:lnTo>
                <a:lnTo>
                  <a:pt x="432" y="732"/>
                </a:lnTo>
                <a:lnTo>
                  <a:pt x="432" y="732"/>
                </a:lnTo>
                <a:lnTo>
                  <a:pt x="432" y="732"/>
                </a:lnTo>
                <a:lnTo>
                  <a:pt x="432" y="732"/>
                </a:lnTo>
                <a:lnTo>
                  <a:pt x="432" y="738"/>
                </a:lnTo>
                <a:lnTo>
                  <a:pt x="432" y="738"/>
                </a:lnTo>
                <a:lnTo>
                  <a:pt x="432" y="738"/>
                </a:lnTo>
                <a:lnTo>
                  <a:pt x="432" y="738"/>
                </a:lnTo>
                <a:lnTo>
                  <a:pt x="432" y="744"/>
                </a:lnTo>
                <a:lnTo>
                  <a:pt x="432" y="744"/>
                </a:lnTo>
                <a:lnTo>
                  <a:pt x="432" y="744"/>
                </a:lnTo>
                <a:lnTo>
                  <a:pt x="432" y="750"/>
                </a:lnTo>
                <a:lnTo>
                  <a:pt x="432" y="750"/>
                </a:lnTo>
                <a:lnTo>
                  <a:pt x="438" y="750"/>
                </a:lnTo>
                <a:lnTo>
                  <a:pt x="438" y="750"/>
                </a:lnTo>
                <a:lnTo>
                  <a:pt x="438" y="750"/>
                </a:lnTo>
                <a:lnTo>
                  <a:pt x="438" y="750"/>
                </a:lnTo>
                <a:lnTo>
                  <a:pt x="438" y="750"/>
                </a:lnTo>
                <a:lnTo>
                  <a:pt x="438" y="756"/>
                </a:lnTo>
                <a:lnTo>
                  <a:pt x="438" y="756"/>
                </a:lnTo>
                <a:lnTo>
                  <a:pt x="444" y="756"/>
                </a:lnTo>
                <a:lnTo>
                  <a:pt x="444" y="756"/>
                </a:lnTo>
                <a:lnTo>
                  <a:pt x="444" y="756"/>
                </a:lnTo>
                <a:lnTo>
                  <a:pt x="450" y="756"/>
                </a:lnTo>
                <a:lnTo>
                  <a:pt x="450" y="756"/>
                </a:lnTo>
                <a:lnTo>
                  <a:pt x="450" y="756"/>
                </a:lnTo>
                <a:lnTo>
                  <a:pt x="450" y="756"/>
                </a:lnTo>
                <a:lnTo>
                  <a:pt x="450" y="756"/>
                </a:lnTo>
                <a:lnTo>
                  <a:pt x="450" y="756"/>
                </a:lnTo>
                <a:lnTo>
                  <a:pt x="456" y="756"/>
                </a:lnTo>
                <a:lnTo>
                  <a:pt x="456" y="762"/>
                </a:lnTo>
                <a:lnTo>
                  <a:pt x="462" y="756"/>
                </a:lnTo>
                <a:lnTo>
                  <a:pt x="468" y="756"/>
                </a:lnTo>
                <a:lnTo>
                  <a:pt x="468" y="762"/>
                </a:lnTo>
                <a:lnTo>
                  <a:pt x="468" y="762"/>
                </a:lnTo>
                <a:lnTo>
                  <a:pt x="468" y="762"/>
                </a:lnTo>
                <a:lnTo>
                  <a:pt x="468" y="762"/>
                </a:lnTo>
                <a:lnTo>
                  <a:pt x="474" y="762"/>
                </a:lnTo>
                <a:lnTo>
                  <a:pt x="474" y="762"/>
                </a:lnTo>
                <a:lnTo>
                  <a:pt x="480" y="762"/>
                </a:lnTo>
                <a:lnTo>
                  <a:pt x="480" y="762"/>
                </a:lnTo>
                <a:lnTo>
                  <a:pt x="480" y="762"/>
                </a:lnTo>
                <a:lnTo>
                  <a:pt x="480" y="762"/>
                </a:lnTo>
                <a:lnTo>
                  <a:pt x="480" y="762"/>
                </a:lnTo>
                <a:lnTo>
                  <a:pt x="486" y="768"/>
                </a:lnTo>
                <a:lnTo>
                  <a:pt x="486" y="768"/>
                </a:lnTo>
                <a:lnTo>
                  <a:pt x="486" y="768"/>
                </a:lnTo>
                <a:lnTo>
                  <a:pt x="492" y="774"/>
                </a:lnTo>
                <a:lnTo>
                  <a:pt x="492" y="774"/>
                </a:lnTo>
                <a:lnTo>
                  <a:pt x="498" y="774"/>
                </a:lnTo>
                <a:lnTo>
                  <a:pt x="498" y="774"/>
                </a:lnTo>
                <a:lnTo>
                  <a:pt x="498" y="774"/>
                </a:lnTo>
                <a:lnTo>
                  <a:pt x="492" y="780"/>
                </a:lnTo>
                <a:lnTo>
                  <a:pt x="492" y="780"/>
                </a:lnTo>
                <a:lnTo>
                  <a:pt x="492" y="780"/>
                </a:lnTo>
                <a:lnTo>
                  <a:pt x="492" y="780"/>
                </a:lnTo>
                <a:lnTo>
                  <a:pt x="492" y="780"/>
                </a:lnTo>
                <a:lnTo>
                  <a:pt x="492" y="780"/>
                </a:lnTo>
                <a:lnTo>
                  <a:pt x="492" y="780"/>
                </a:lnTo>
                <a:lnTo>
                  <a:pt x="486" y="780"/>
                </a:lnTo>
                <a:lnTo>
                  <a:pt x="486" y="780"/>
                </a:lnTo>
                <a:lnTo>
                  <a:pt x="492" y="786"/>
                </a:lnTo>
                <a:lnTo>
                  <a:pt x="492" y="786"/>
                </a:lnTo>
                <a:lnTo>
                  <a:pt x="486" y="786"/>
                </a:lnTo>
                <a:lnTo>
                  <a:pt x="486" y="792"/>
                </a:lnTo>
                <a:lnTo>
                  <a:pt x="486" y="792"/>
                </a:lnTo>
                <a:lnTo>
                  <a:pt x="486" y="792"/>
                </a:lnTo>
                <a:lnTo>
                  <a:pt x="486" y="792"/>
                </a:lnTo>
                <a:lnTo>
                  <a:pt x="486" y="792"/>
                </a:lnTo>
                <a:lnTo>
                  <a:pt x="486" y="792"/>
                </a:lnTo>
                <a:lnTo>
                  <a:pt x="492" y="792"/>
                </a:lnTo>
                <a:lnTo>
                  <a:pt x="492" y="798"/>
                </a:lnTo>
                <a:lnTo>
                  <a:pt x="492" y="798"/>
                </a:lnTo>
                <a:lnTo>
                  <a:pt x="492" y="804"/>
                </a:lnTo>
                <a:lnTo>
                  <a:pt x="498" y="804"/>
                </a:lnTo>
                <a:lnTo>
                  <a:pt x="492" y="810"/>
                </a:lnTo>
                <a:lnTo>
                  <a:pt x="498" y="810"/>
                </a:lnTo>
                <a:lnTo>
                  <a:pt x="498" y="816"/>
                </a:lnTo>
                <a:lnTo>
                  <a:pt x="498" y="816"/>
                </a:lnTo>
                <a:lnTo>
                  <a:pt x="498" y="816"/>
                </a:lnTo>
                <a:lnTo>
                  <a:pt x="504" y="816"/>
                </a:lnTo>
                <a:lnTo>
                  <a:pt x="504" y="816"/>
                </a:lnTo>
                <a:lnTo>
                  <a:pt x="504" y="822"/>
                </a:lnTo>
                <a:lnTo>
                  <a:pt x="486" y="822"/>
                </a:lnTo>
                <a:lnTo>
                  <a:pt x="456" y="816"/>
                </a:lnTo>
                <a:lnTo>
                  <a:pt x="348" y="810"/>
                </a:lnTo>
                <a:lnTo>
                  <a:pt x="348" y="810"/>
                </a:lnTo>
                <a:lnTo>
                  <a:pt x="306" y="804"/>
                </a:lnTo>
                <a:lnTo>
                  <a:pt x="288" y="804"/>
                </a:lnTo>
                <a:lnTo>
                  <a:pt x="234" y="798"/>
                </a:lnTo>
                <a:lnTo>
                  <a:pt x="234" y="798"/>
                </a:lnTo>
                <a:lnTo>
                  <a:pt x="234" y="798"/>
                </a:lnTo>
                <a:lnTo>
                  <a:pt x="228" y="798"/>
                </a:lnTo>
                <a:lnTo>
                  <a:pt x="228" y="804"/>
                </a:lnTo>
                <a:lnTo>
                  <a:pt x="228" y="804"/>
                </a:lnTo>
                <a:lnTo>
                  <a:pt x="228" y="804"/>
                </a:lnTo>
                <a:lnTo>
                  <a:pt x="222" y="804"/>
                </a:lnTo>
                <a:lnTo>
                  <a:pt x="222" y="804"/>
                </a:lnTo>
                <a:lnTo>
                  <a:pt x="222" y="798"/>
                </a:lnTo>
                <a:lnTo>
                  <a:pt x="222" y="798"/>
                </a:lnTo>
                <a:lnTo>
                  <a:pt x="222" y="792"/>
                </a:lnTo>
                <a:lnTo>
                  <a:pt x="222" y="792"/>
                </a:lnTo>
                <a:lnTo>
                  <a:pt x="222" y="792"/>
                </a:lnTo>
                <a:lnTo>
                  <a:pt x="222" y="786"/>
                </a:lnTo>
                <a:lnTo>
                  <a:pt x="216" y="786"/>
                </a:lnTo>
                <a:lnTo>
                  <a:pt x="216" y="780"/>
                </a:lnTo>
                <a:lnTo>
                  <a:pt x="210" y="780"/>
                </a:lnTo>
                <a:lnTo>
                  <a:pt x="210" y="780"/>
                </a:lnTo>
                <a:lnTo>
                  <a:pt x="210" y="780"/>
                </a:lnTo>
                <a:lnTo>
                  <a:pt x="204" y="780"/>
                </a:lnTo>
                <a:lnTo>
                  <a:pt x="198" y="780"/>
                </a:lnTo>
                <a:lnTo>
                  <a:pt x="192" y="780"/>
                </a:lnTo>
                <a:lnTo>
                  <a:pt x="192" y="780"/>
                </a:lnTo>
                <a:lnTo>
                  <a:pt x="192" y="780"/>
                </a:lnTo>
                <a:lnTo>
                  <a:pt x="192" y="780"/>
                </a:lnTo>
                <a:lnTo>
                  <a:pt x="186" y="780"/>
                </a:lnTo>
                <a:lnTo>
                  <a:pt x="186" y="774"/>
                </a:lnTo>
                <a:lnTo>
                  <a:pt x="186" y="774"/>
                </a:lnTo>
                <a:lnTo>
                  <a:pt x="186" y="774"/>
                </a:lnTo>
                <a:lnTo>
                  <a:pt x="186" y="774"/>
                </a:lnTo>
                <a:lnTo>
                  <a:pt x="186" y="774"/>
                </a:lnTo>
                <a:lnTo>
                  <a:pt x="186" y="768"/>
                </a:lnTo>
                <a:lnTo>
                  <a:pt x="186" y="768"/>
                </a:lnTo>
                <a:lnTo>
                  <a:pt x="186" y="762"/>
                </a:lnTo>
                <a:lnTo>
                  <a:pt x="186" y="762"/>
                </a:lnTo>
                <a:lnTo>
                  <a:pt x="186" y="762"/>
                </a:lnTo>
                <a:lnTo>
                  <a:pt x="186" y="762"/>
                </a:lnTo>
                <a:lnTo>
                  <a:pt x="186" y="756"/>
                </a:lnTo>
                <a:lnTo>
                  <a:pt x="180" y="756"/>
                </a:lnTo>
                <a:lnTo>
                  <a:pt x="180" y="756"/>
                </a:lnTo>
                <a:lnTo>
                  <a:pt x="174" y="750"/>
                </a:lnTo>
                <a:lnTo>
                  <a:pt x="168" y="744"/>
                </a:lnTo>
                <a:lnTo>
                  <a:pt x="168" y="744"/>
                </a:lnTo>
                <a:lnTo>
                  <a:pt x="168" y="738"/>
                </a:lnTo>
                <a:lnTo>
                  <a:pt x="162" y="738"/>
                </a:lnTo>
                <a:lnTo>
                  <a:pt x="162" y="738"/>
                </a:lnTo>
                <a:lnTo>
                  <a:pt x="162" y="738"/>
                </a:lnTo>
                <a:lnTo>
                  <a:pt x="156" y="738"/>
                </a:lnTo>
                <a:lnTo>
                  <a:pt x="156" y="738"/>
                </a:lnTo>
                <a:lnTo>
                  <a:pt x="156" y="738"/>
                </a:lnTo>
                <a:lnTo>
                  <a:pt x="156" y="738"/>
                </a:lnTo>
                <a:lnTo>
                  <a:pt x="150" y="738"/>
                </a:lnTo>
                <a:lnTo>
                  <a:pt x="150" y="738"/>
                </a:lnTo>
                <a:lnTo>
                  <a:pt x="144" y="738"/>
                </a:lnTo>
                <a:lnTo>
                  <a:pt x="144" y="732"/>
                </a:lnTo>
                <a:lnTo>
                  <a:pt x="138" y="732"/>
                </a:lnTo>
                <a:lnTo>
                  <a:pt x="138" y="732"/>
                </a:lnTo>
                <a:lnTo>
                  <a:pt x="138" y="726"/>
                </a:lnTo>
                <a:lnTo>
                  <a:pt x="138" y="726"/>
                </a:lnTo>
                <a:lnTo>
                  <a:pt x="138" y="726"/>
                </a:lnTo>
                <a:lnTo>
                  <a:pt x="132" y="726"/>
                </a:lnTo>
                <a:lnTo>
                  <a:pt x="132" y="726"/>
                </a:lnTo>
                <a:lnTo>
                  <a:pt x="132" y="720"/>
                </a:lnTo>
                <a:lnTo>
                  <a:pt x="126" y="720"/>
                </a:lnTo>
                <a:lnTo>
                  <a:pt x="120" y="720"/>
                </a:lnTo>
                <a:lnTo>
                  <a:pt x="114" y="720"/>
                </a:lnTo>
                <a:lnTo>
                  <a:pt x="114" y="720"/>
                </a:lnTo>
                <a:lnTo>
                  <a:pt x="114" y="714"/>
                </a:lnTo>
                <a:lnTo>
                  <a:pt x="114" y="708"/>
                </a:lnTo>
                <a:lnTo>
                  <a:pt x="114" y="708"/>
                </a:lnTo>
                <a:lnTo>
                  <a:pt x="114" y="702"/>
                </a:lnTo>
                <a:lnTo>
                  <a:pt x="114" y="696"/>
                </a:lnTo>
                <a:lnTo>
                  <a:pt x="114" y="696"/>
                </a:lnTo>
                <a:lnTo>
                  <a:pt x="108" y="696"/>
                </a:lnTo>
                <a:lnTo>
                  <a:pt x="108" y="696"/>
                </a:lnTo>
                <a:lnTo>
                  <a:pt x="108" y="696"/>
                </a:lnTo>
                <a:lnTo>
                  <a:pt x="108" y="690"/>
                </a:lnTo>
                <a:lnTo>
                  <a:pt x="114" y="690"/>
                </a:lnTo>
                <a:lnTo>
                  <a:pt x="114" y="690"/>
                </a:lnTo>
                <a:lnTo>
                  <a:pt x="108" y="690"/>
                </a:lnTo>
                <a:lnTo>
                  <a:pt x="108" y="684"/>
                </a:lnTo>
                <a:lnTo>
                  <a:pt x="108" y="684"/>
                </a:lnTo>
                <a:lnTo>
                  <a:pt x="108" y="684"/>
                </a:lnTo>
                <a:lnTo>
                  <a:pt x="108" y="684"/>
                </a:lnTo>
                <a:lnTo>
                  <a:pt x="102" y="678"/>
                </a:lnTo>
                <a:lnTo>
                  <a:pt x="102" y="678"/>
                </a:lnTo>
                <a:lnTo>
                  <a:pt x="102" y="672"/>
                </a:lnTo>
                <a:lnTo>
                  <a:pt x="108" y="672"/>
                </a:lnTo>
                <a:lnTo>
                  <a:pt x="108" y="672"/>
                </a:lnTo>
                <a:lnTo>
                  <a:pt x="108" y="666"/>
                </a:lnTo>
                <a:lnTo>
                  <a:pt x="108" y="666"/>
                </a:lnTo>
                <a:lnTo>
                  <a:pt x="108" y="666"/>
                </a:lnTo>
                <a:lnTo>
                  <a:pt x="108" y="660"/>
                </a:lnTo>
                <a:lnTo>
                  <a:pt x="108" y="660"/>
                </a:lnTo>
                <a:lnTo>
                  <a:pt x="108" y="654"/>
                </a:lnTo>
                <a:lnTo>
                  <a:pt x="108" y="654"/>
                </a:lnTo>
                <a:lnTo>
                  <a:pt x="108" y="648"/>
                </a:lnTo>
                <a:lnTo>
                  <a:pt x="108" y="648"/>
                </a:lnTo>
                <a:lnTo>
                  <a:pt x="108" y="648"/>
                </a:lnTo>
                <a:lnTo>
                  <a:pt x="108" y="642"/>
                </a:lnTo>
                <a:lnTo>
                  <a:pt x="108" y="642"/>
                </a:lnTo>
                <a:lnTo>
                  <a:pt x="102" y="642"/>
                </a:lnTo>
                <a:lnTo>
                  <a:pt x="102" y="642"/>
                </a:lnTo>
                <a:lnTo>
                  <a:pt x="102" y="642"/>
                </a:lnTo>
                <a:lnTo>
                  <a:pt x="96" y="636"/>
                </a:lnTo>
                <a:lnTo>
                  <a:pt x="90" y="630"/>
                </a:lnTo>
                <a:lnTo>
                  <a:pt x="90" y="624"/>
                </a:lnTo>
                <a:lnTo>
                  <a:pt x="84" y="618"/>
                </a:lnTo>
                <a:lnTo>
                  <a:pt x="84" y="618"/>
                </a:lnTo>
                <a:lnTo>
                  <a:pt x="84" y="606"/>
                </a:lnTo>
                <a:lnTo>
                  <a:pt x="84" y="606"/>
                </a:lnTo>
                <a:lnTo>
                  <a:pt x="78" y="594"/>
                </a:lnTo>
                <a:lnTo>
                  <a:pt x="78" y="588"/>
                </a:lnTo>
                <a:lnTo>
                  <a:pt x="78" y="582"/>
                </a:lnTo>
                <a:lnTo>
                  <a:pt x="78" y="576"/>
                </a:lnTo>
                <a:lnTo>
                  <a:pt x="72" y="576"/>
                </a:lnTo>
                <a:lnTo>
                  <a:pt x="72" y="576"/>
                </a:lnTo>
                <a:lnTo>
                  <a:pt x="72" y="576"/>
                </a:lnTo>
                <a:lnTo>
                  <a:pt x="72" y="570"/>
                </a:lnTo>
                <a:lnTo>
                  <a:pt x="72" y="570"/>
                </a:lnTo>
                <a:lnTo>
                  <a:pt x="66" y="558"/>
                </a:lnTo>
                <a:lnTo>
                  <a:pt x="66" y="552"/>
                </a:lnTo>
                <a:lnTo>
                  <a:pt x="60" y="552"/>
                </a:lnTo>
                <a:lnTo>
                  <a:pt x="54" y="546"/>
                </a:lnTo>
                <a:lnTo>
                  <a:pt x="54" y="540"/>
                </a:lnTo>
                <a:lnTo>
                  <a:pt x="48" y="540"/>
                </a:lnTo>
                <a:lnTo>
                  <a:pt x="48" y="534"/>
                </a:lnTo>
                <a:lnTo>
                  <a:pt x="48" y="540"/>
                </a:lnTo>
                <a:lnTo>
                  <a:pt x="48" y="540"/>
                </a:lnTo>
                <a:lnTo>
                  <a:pt x="42" y="534"/>
                </a:lnTo>
                <a:lnTo>
                  <a:pt x="42" y="534"/>
                </a:lnTo>
                <a:lnTo>
                  <a:pt x="42" y="528"/>
                </a:lnTo>
                <a:lnTo>
                  <a:pt x="42" y="528"/>
                </a:lnTo>
                <a:lnTo>
                  <a:pt x="42" y="522"/>
                </a:lnTo>
                <a:lnTo>
                  <a:pt x="42" y="516"/>
                </a:lnTo>
                <a:lnTo>
                  <a:pt x="36" y="510"/>
                </a:lnTo>
                <a:lnTo>
                  <a:pt x="36" y="510"/>
                </a:lnTo>
                <a:lnTo>
                  <a:pt x="36" y="510"/>
                </a:lnTo>
                <a:lnTo>
                  <a:pt x="36" y="504"/>
                </a:lnTo>
                <a:lnTo>
                  <a:pt x="30" y="504"/>
                </a:lnTo>
                <a:lnTo>
                  <a:pt x="30" y="504"/>
                </a:lnTo>
                <a:lnTo>
                  <a:pt x="30" y="504"/>
                </a:lnTo>
                <a:lnTo>
                  <a:pt x="24" y="498"/>
                </a:lnTo>
                <a:lnTo>
                  <a:pt x="18" y="492"/>
                </a:lnTo>
                <a:lnTo>
                  <a:pt x="18" y="492"/>
                </a:lnTo>
                <a:lnTo>
                  <a:pt x="18" y="486"/>
                </a:lnTo>
                <a:lnTo>
                  <a:pt x="12" y="486"/>
                </a:lnTo>
                <a:lnTo>
                  <a:pt x="12" y="486"/>
                </a:lnTo>
                <a:lnTo>
                  <a:pt x="12" y="486"/>
                </a:lnTo>
                <a:lnTo>
                  <a:pt x="12" y="486"/>
                </a:lnTo>
                <a:lnTo>
                  <a:pt x="6" y="480"/>
                </a:lnTo>
                <a:lnTo>
                  <a:pt x="6" y="468"/>
                </a:lnTo>
                <a:lnTo>
                  <a:pt x="0" y="468"/>
                </a:lnTo>
                <a:lnTo>
                  <a:pt x="0" y="462"/>
                </a:lnTo>
                <a:lnTo>
                  <a:pt x="0" y="450"/>
                </a:lnTo>
                <a:lnTo>
                  <a:pt x="0" y="450"/>
                </a:lnTo>
                <a:lnTo>
                  <a:pt x="6" y="44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11" name="Freeform 44"/>
          <p:cNvSpPr>
            <a:spLocks/>
          </p:cNvSpPr>
          <p:nvPr/>
        </p:nvSpPr>
        <p:spPr bwMode="auto">
          <a:xfrm>
            <a:off x="6395747" y="1160648"/>
            <a:ext cx="340475" cy="430414"/>
          </a:xfrm>
          <a:custGeom>
            <a:avLst/>
            <a:gdLst>
              <a:gd name="T0" fmla="*/ 36 w 318"/>
              <a:gd name="T1" fmla="*/ 132 h 402"/>
              <a:gd name="T2" fmla="*/ 54 w 318"/>
              <a:gd name="T3" fmla="*/ 108 h 402"/>
              <a:gd name="T4" fmla="*/ 72 w 318"/>
              <a:gd name="T5" fmla="*/ 84 h 402"/>
              <a:gd name="T6" fmla="*/ 72 w 318"/>
              <a:gd name="T7" fmla="*/ 66 h 402"/>
              <a:gd name="T8" fmla="*/ 78 w 318"/>
              <a:gd name="T9" fmla="*/ 42 h 402"/>
              <a:gd name="T10" fmla="*/ 108 w 318"/>
              <a:gd name="T11" fmla="*/ 6 h 402"/>
              <a:gd name="T12" fmla="*/ 144 w 318"/>
              <a:gd name="T13" fmla="*/ 0 h 402"/>
              <a:gd name="T14" fmla="*/ 144 w 318"/>
              <a:gd name="T15" fmla="*/ 12 h 402"/>
              <a:gd name="T16" fmla="*/ 150 w 318"/>
              <a:gd name="T17" fmla="*/ 30 h 402"/>
              <a:gd name="T18" fmla="*/ 138 w 318"/>
              <a:gd name="T19" fmla="*/ 48 h 402"/>
              <a:gd name="T20" fmla="*/ 138 w 318"/>
              <a:gd name="T21" fmla="*/ 78 h 402"/>
              <a:gd name="T22" fmla="*/ 138 w 318"/>
              <a:gd name="T23" fmla="*/ 90 h 402"/>
              <a:gd name="T24" fmla="*/ 174 w 318"/>
              <a:gd name="T25" fmla="*/ 90 h 402"/>
              <a:gd name="T26" fmla="*/ 192 w 318"/>
              <a:gd name="T27" fmla="*/ 108 h 402"/>
              <a:gd name="T28" fmla="*/ 180 w 318"/>
              <a:gd name="T29" fmla="*/ 126 h 402"/>
              <a:gd name="T30" fmla="*/ 192 w 318"/>
              <a:gd name="T31" fmla="*/ 132 h 402"/>
              <a:gd name="T32" fmla="*/ 204 w 318"/>
              <a:gd name="T33" fmla="*/ 150 h 402"/>
              <a:gd name="T34" fmla="*/ 228 w 318"/>
              <a:gd name="T35" fmla="*/ 174 h 402"/>
              <a:gd name="T36" fmla="*/ 252 w 318"/>
              <a:gd name="T37" fmla="*/ 180 h 402"/>
              <a:gd name="T38" fmla="*/ 270 w 318"/>
              <a:gd name="T39" fmla="*/ 186 h 402"/>
              <a:gd name="T40" fmla="*/ 282 w 318"/>
              <a:gd name="T41" fmla="*/ 192 h 402"/>
              <a:gd name="T42" fmla="*/ 288 w 318"/>
              <a:gd name="T43" fmla="*/ 198 h 402"/>
              <a:gd name="T44" fmla="*/ 288 w 318"/>
              <a:gd name="T45" fmla="*/ 204 h 402"/>
              <a:gd name="T46" fmla="*/ 288 w 318"/>
              <a:gd name="T47" fmla="*/ 222 h 402"/>
              <a:gd name="T48" fmla="*/ 282 w 318"/>
              <a:gd name="T49" fmla="*/ 234 h 402"/>
              <a:gd name="T50" fmla="*/ 282 w 318"/>
              <a:gd name="T51" fmla="*/ 258 h 402"/>
              <a:gd name="T52" fmla="*/ 288 w 318"/>
              <a:gd name="T53" fmla="*/ 276 h 402"/>
              <a:gd name="T54" fmla="*/ 300 w 318"/>
              <a:gd name="T55" fmla="*/ 288 h 402"/>
              <a:gd name="T56" fmla="*/ 306 w 318"/>
              <a:gd name="T57" fmla="*/ 312 h 402"/>
              <a:gd name="T58" fmla="*/ 306 w 318"/>
              <a:gd name="T59" fmla="*/ 336 h 402"/>
              <a:gd name="T60" fmla="*/ 306 w 318"/>
              <a:gd name="T61" fmla="*/ 342 h 402"/>
              <a:gd name="T62" fmla="*/ 300 w 318"/>
              <a:gd name="T63" fmla="*/ 354 h 402"/>
              <a:gd name="T64" fmla="*/ 306 w 318"/>
              <a:gd name="T65" fmla="*/ 366 h 402"/>
              <a:gd name="T66" fmla="*/ 306 w 318"/>
              <a:gd name="T67" fmla="*/ 378 h 402"/>
              <a:gd name="T68" fmla="*/ 294 w 318"/>
              <a:gd name="T69" fmla="*/ 378 h 402"/>
              <a:gd name="T70" fmla="*/ 276 w 318"/>
              <a:gd name="T71" fmla="*/ 378 h 402"/>
              <a:gd name="T72" fmla="*/ 264 w 318"/>
              <a:gd name="T73" fmla="*/ 366 h 402"/>
              <a:gd name="T74" fmla="*/ 258 w 318"/>
              <a:gd name="T75" fmla="*/ 372 h 402"/>
              <a:gd name="T76" fmla="*/ 252 w 318"/>
              <a:gd name="T77" fmla="*/ 384 h 402"/>
              <a:gd name="T78" fmla="*/ 246 w 318"/>
              <a:gd name="T79" fmla="*/ 390 h 402"/>
              <a:gd name="T80" fmla="*/ 234 w 318"/>
              <a:gd name="T81" fmla="*/ 390 h 402"/>
              <a:gd name="T82" fmla="*/ 192 w 318"/>
              <a:gd name="T83" fmla="*/ 396 h 402"/>
              <a:gd name="T84" fmla="*/ 186 w 318"/>
              <a:gd name="T85" fmla="*/ 372 h 402"/>
              <a:gd name="T86" fmla="*/ 174 w 318"/>
              <a:gd name="T87" fmla="*/ 366 h 402"/>
              <a:gd name="T88" fmla="*/ 168 w 318"/>
              <a:gd name="T89" fmla="*/ 360 h 402"/>
              <a:gd name="T90" fmla="*/ 162 w 318"/>
              <a:gd name="T91" fmla="*/ 354 h 402"/>
              <a:gd name="T92" fmla="*/ 150 w 318"/>
              <a:gd name="T93" fmla="*/ 354 h 402"/>
              <a:gd name="T94" fmla="*/ 144 w 318"/>
              <a:gd name="T95" fmla="*/ 342 h 402"/>
              <a:gd name="T96" fmla="*/ 132 w 318"/>
              <a:gd name="T97" fmla="*/ 330 h 402"/>
              <a:gd name="T98" fmla="*/ 120 w 318"/>
              <a:gd name="T99" fmla="*/ 324 h 402"/>
              <a:gd name="T100" fmla="*/ 108 w 318"/>
              <a:gd name="T101" fmla="*/ 312 h 402"/>
              <a:gd name="T102" fmla="*/ 102 w 318"/>
              <a:gd name="T103" fmla="*/ 306 h 402"/>
              <a:gd name="T104" fmla="*/ 78 w 318"/>
              <a:gd name="T105" fmla="*/ 306 h 402"/>
              <a:gd name="T106" fmla="*/ 66 w 318"/>
              <a:gd name="T107" fmla="*/ 312 h 402"/>
              <a:gd name="T108" fmla="*/ 54 w 318"/>
              <a:gd name="T109" fmla="*/ 276 h 402"/>
              <a:gd name="T110" fmla="*/ 54 w 318"/>
              <a:gd name="T111" fmla="*/ 258 h 402"/>
              <a:gd name="T112" fmla="*/ 42 w 318"/>
              <a:gd name="T113" fmla="*/ 240 h 402"/>
              <a:gd name="T114" fmla="*/ 48 w 318"/>
              <a:gd name="T115" fmla="*/ 204 h 402"/>
              <a:gd name="T116" fmla="*/ 36 w 318"/>
              <a:gd name="T117" fmla="*/ 186 h 402"/>
              <a:gd name="T118" fmla="*/ 36 w 318"/>
              <a:gd name="T119" fmla="*/ 168 h 402"/>
              <a:gd name="T120" fmla="*/ 36 w 318"/>
              <a:gd name="T121" fmla="*/ 156 h 402"/>
              <a:gd name="T122" fmla="*/ 24 w 318"/>
              <a:gd name="T123" fmla="*/ 156 h 4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18" h="402">
                <a:moveTo>
                  <a:pt x="0" y="144"/>
                </a:moveTo>
                <a:lnTo>
                  <a:pt x="0" y="144"/>
                </a:lnTo>
                <a:lnTo>
                  <a:pt x="6" y="138"/>
                </a:lnTo>
                <a:lnTo>
                  <a:pt x="6" y="138"/>
                </a:lnTo>
                <a:lnTo>
                  <a:pt x="18" y="138"/>
                </a:lnTo>
                <a:lnTo>
                  <a:pt x="24" y="132"/>
                </a:lnTo>
                <a:lnTo>
                  <a:pt x="36" y="132"/>
                </a:lnTo>
                <a:lnTo>
                  <a:pt x="36" y="132"/>
                </a:lnTo>
                <a:lnTo>
                  <a:pt x="42" y="126"/>
                </a:lnTo>
                <a:lnTo>
                  <a:pt x="48" y="120"/>
                </a:lnTo>
                <a:lnTo>
                  <a:pt x="48" y="114"/>
                </a:lnTo>
                <a:lnTo>
                  <a:pt x="48" y="114"/>
                </a:lnTo>
                <a:lnTo>
                  <a:pt x="48" y="108"/>
                </a:lnTo>
                <a:lnTo>
                  <a:pt x="54" y="108"/>
                </a:lnTo>
                <a:lnTo>
                  <a:pt x="60" y="102"/>
                </a:lnTo>
                <a:lnTo>
                  <a:pt x="60" y="102"/>
                </a:lnTo>
                <a:lnTo>
                  <a:pt x="66" y="102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72" y="84"/>
                </a:lnTo>
                <a:lnTo>
                  <a:pt x="72" y="84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8" y="60"/>
                </a:lnTo>
                <a:lnTo>
                  <a:pt x="78" y="54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2"/>
                </a:lnTo>
                <a:lnTo>
                  <a:pt x="90" y="30"/>
                </a:lnTo>
                <a:lnTo>
                  <a:pt x="90" y="24"/>
                </a:lnTo>
                <a:lnTo>
                  <a:pt x="96" y="24"/>
                </a:lnTo>
                <a:lnTo>
                  <a:pt x="96" y="18"/>
                </a:lnTo>
                <a:lnTo>
                  <a:pt x="102" y="18"/>
                </a:lnTo>
                <a:lnTo>
                  <a:pt x="108" y="12"/>
                </a:lnTo>
                <a:lnTo>
                  <a:pt x="108" y="6"/>
                </a:lnTo>
                <a:lnTo>
                  <a:pt x="108" y="6"/>
                </a:lnTo>
                <a:lnTo>
                  <a:pt x="114" y="6"/>
                </a:lnTo>
                <a:lnTo>
                  <a:pt x="120" y="6"/>
                </a:lnTo>
                <a:lnTo>
                  <a:pt x="126" y="0"/>
                </a:lnTo>
                <a:lnTo>
                  <a:pt x="132" y="0"/>
                </a:lnTo>
                <a:lnTo>
                  <a:pt x="132" y="0"/>
                </a:lnTo>
                <a:lnTo>
                  <a:pt x="144" y="0"/>
                </a:lnTo>
                <a:lnTo>
                  <a:pt x="144" y="0"/>
                </a:lnTo>
                <a:lnTo>
                  <a:pt x="144" y="0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12"/>
                </a:lnTo>
                <a:lnTo>
                  <a:pt x="144" y="12"/>
                </a:lnTo>
                <a:lnTo>
                  <a:pt x="144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24"/>
                </a:lnTo>
                <a:lnTo>
                  <a:pt x="150" y="24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44" y="36"/>
                </a:lnTo>
                <a:lnTo>
                  <a:pt x="144" y="36"/>
                </a:lnTo>
                <a:lnTo>
                  <a:pt x="138" y="42"/>
                </a:lnTo>
                <a:lnTo>
                  <a:pt x="138" y="42"/>
                </a:lnTo>
                <a:lnTo>
                  <a:pt x="138" y="48"/>
                </a:lnTo>
                <a:lnTo>
                  <a:pt x="138" y="54"/>
                </a:lnTo>
                <a:lnTo>
                  <a:pt x="144" y="60"/>
                </a:lnTo>
                <a:lnTo>
                  <a:pt x="144" y="60"/>
                </a:lnTo>
                <a:lnTo>
                  <a:pt x="144" y="66"/>
                </a:lnTo>
                <a:lnTo>
                  <a:pt x="144" y="72"/>
                </a:lnTo>
                <a:lnTo>
                  <a:pt x="144" y="72"/>
                </a:lnTo>
                <a:lnTo>
                  <a:pt x="138" y="78"/>
                </a:lnTo>
                <a:lnTo>
                  <a:pt x="138" y="78"/>
                </a:lnTo>
                <a:lnTo>
                  <a:pt x="138" y="78"/>
                </a:lnTo>
                <a:lnTo>
                  <a:pt x="138" y="78"/>
                </a:lnTo>
                <a:lnTo>
                  <a:pt x="138" y="84"/>
                </a:lnTo>
                <a:lnTo>
                  <a:pt x="138" y="90"/>
                </a:lnTo>
                <a:lnTo>
                  <a:pt x="138" y="90"/>
                </a:lnTo>
                <a:lnTo>
                  <a:pt x="138" y="90"/>
                </a:lnTo>
                <a:lnTo>
                  <a:pt x="144" y="96"/>
                </a:lnTo>
                <a:lnTo>
                  <a:pt x="150" y="96"/>
                </a:lnTo>
                <a:lnTo>
                  <a:pt x="156" y="96"/>
                </a:lnTo>
                <a:lnTo>
                  <a:pt x="162" y="90"/>
                </a:lnTo>
                <a:lnTo>
                  <a:pt x="168" y="90"/>
                </a:lnTo>
                <a:lnTo>
                  <a:pt x="168" y="90"/>
                </a:lnTo>
                <a:lnTo>
                  <a:pt x="174" y="90"/>
                </a:lnTo>
                <a:lnTo>
                  <a:pt x="174" y="90"/>
                </a:lnTo>
                <a:lnTo>
                  <a:pt x="180" y="96"/>
                </a:lnTo>
                <a:lnTo>
                  <a:pt x="186" y="96"/>
                </a:lnTo>
                <a:lnTo>
                  <a:pt x="186" y="102"/>
                </a:lnTo>
                <a:lnTo>
                  <a:pt x="186" y="102"/>
                </a:lnTo>
                <a:lnTo>
                  <a:pt x="192" y="102"/>
                </a:lnTo>
                <a:lnTo>
                  <a:pt x="192" y="108"/>
                </a:lnTo>
                <a:lnTo>
                  <a:pt x="192" y="114"/>
                </a:lnTo>
                <a:lnTo>
                  <a:pt x="192" y="114"/>
                </a:lnTo>
                <a:lnTo>
                  <a:pt x="186" y="114"/>
                </a:lnTo>
                <a:lnTo>
                  <a:pt x="186" y="120"/>
                </a:lnTo>
                <a:lnTo>
                  <a:pt x="180" y="120"/>
                </a:lnTo>
                <a:lnTo>
                  <a:pt x="180" y="126"/>
                </a:lnTo>
                <a:lnTo>
                  <a:pt x="180" y="126"/>
                </a:lnTo>
                <a:lnTo>
                  <a:pt x="180" y="132"/>
                </a:lnTo>
                <a:lnTo>
                  <a:pt x="180" y="132"/>
                </a:lnTo>
                <a:lnTo>
                  <a:pt x="186" y="138"/>
                </a:lnTo>
                <a:lnTo>
                  <a:pt x="186" y="132"/>
                </a:lnTo>
                <a:lnTo>
                  <a:pt x="186" y="132"/>
                </a:lnTo>
                <a:lnTo>
                  <a:pt x="186" y="132"/>
                </a:lnTo>
                <a:lnTo>
                  <a:pt x="192" y="132"/>
                </a:lnTo>
                <a:lnTo>
                  <a:pt x="192" y="132"/>
                </a:lnTo>
                <a:lnTo>
                  <a:pt x="192" y="138"/>
                </a:lnTo>
                <a:lnTo>
                  <a:pt x="198" y="144"/>
                </a:lnTo>
                <a:lnTo>
                  <a:pt x="198" y="144"/>
                </a:lnTo>
                <a:lnTo>
                  <a:pt x="198" y="150"/>
                </a:lnTo>
                <a:lnTo>
                  <a:pt x="198" y="150"/>
                </a:lnTo>
                <a:lnTo>
                  <a:pt x="204" y="150"/>
                </a:lnTo>
                <a:lnTo>
                  <a:pt x="210" y="156"/>
                </a:lnTo>
                <a:lnTo>
                  <a:pt x="216" y="162"/>
                </a:lnTo>
                <a:lnTo>
                  <a:pt x="216" y="168"/>
                </a:lnTo>
                <a:lnTo>
                  <a:pt x="222" y="168"/>
                </a:lnTo>
                <a:lnTo>
                  <a:pt x="222" y="168"/>
                </a:lnTo>
                <a:lnTo>
                  <a:pt x="228" y="174"/>
                </a:lnTo>
                <a:lnTo>
                  <a:pt x="228" y="174"/>
                </a:lnTo>
                <a:lnTo>
                  <a:pt x="228" y="174"/>
                </a:lnTo>
                <a:lnTo>
                  <a:pt x="234" y="174"/>
                </a:lnTo>
                <a:lnTo>
                  <a:pt x="234" y="180"/>
                </a:lnTo>
                <a:lnTo>
                  <a:pt x="234" y="180"/>
                </a:lnTo>
                <a:lnTo>
                  <a:pt x="240" y="180"/>
                </a:lnTo>
                <a:lnTo>
                  <a:pt x="240" y="180"/>
                </a:lnTo>
                <a:lnTo>
                  <a:pt x="252" y="180"/>
                </a:lnTo>
                <a:lnTo>
                  <a:pt x="252" y="180"/>
                </a:lnTo>
                <a:lnTo>
                  <a:pt x="258" y="180"/>
                </a:lnTo>
                <a:lnTo>
                  <a:pt x="264" y="180"/>
                </a:lnTo>
                <a:lnTo>
                  <a:pt x="264" y="180"/>
                </a:lnTo>
                <a:lnTo>
                  <a:pt x="270" y="180"/>
                </a:lnTo>
                <a:lnTo>
                  <a:pt x="270" y="186"/>
                </a:lnTo>
                <a:lnTo>
                  <a:pt x="270" y="186"/>
                </a:lnTo>
                <a:lnTo>
                  <a:pt x="276" y="180"/>
                </a:lnTo>
                <a:lnTo>
                  <a:pt x="276" y="180"/>
                </a:lnTo>
                <a:lnTo>
                  <a:pt x="276" y="186"/>
                </a:lnTo>
                <a:lnTo>
                  <a:pt x="282" y="186"/>
                </a:lnTo>
                <a:lnTo>
                  <a:pt x="282" y="186"/>
                </a:lnTo>
                <a:lnTo>
                  <a:pt x="282" y="186"/>
                </a:lnTo>
                <a:lnTo>
                  <a:pt x="282" y="192"/>
                </a:lnTo>
                <a:lnTo>
                  <a:pt x="282" y="192"/>
                </a:lnTo>
                <a:lnTo>
                  <a:pt x="282" y="192"/>
                </a:lnTo>
                <a:lnTo>
                  <a:pt x="288" y="192"/>
                </a:lnTo>
                <a:lnTo>
                  <a:pt x="288" y="192"/>
                </a:lnTo>
                <a:lnTo>
                  <a:pt x="288" y="192"/>
                </a:lnTo>
                <a:lnTo>
                  <a:pt x="288" y="198"/>
                </a:lnTo>
                <a:lnTo>
                  <a:pt x="288" y="198"/>
                </a:lnTo>
                <a:lnTo>
                  <a:pt x="288" y="198"/>
                </a:lnTo>
                <a:lnTo>
                  <a:pt x="288" y="198"/>
                </a:lnTo>
                <a:lnTo>
                  <a:pt x="288" y="198"/>
                </a:lnTo>
                <a:lnTo>
                  <a:pt x="288" y="204"/>
                </a:lnTo>
                <a:lnTo>
                  <a:pt x="288" y="204"/>
                </a:lnTo>
                <a:lnTo>
                  <a:pt x="288" y="204"/>
                </a:lnTo>
                <a:lnTo>
                  <a:pt x="288" y="204"/>
                </a:lnTo>
                <a:lnTo>
                  <a:pt x="282" y="210"/>
                </a:lnTo>
                <a:lnTo>
                  <a:pt x="288" y="210"/>
                </a:lnTo>
                <a:lnTo>
                  <a:pt x="288" y="216"/>
                </a:lnTo>
                <a:lnTo>
                  <a:pt x="288" y="216"/>
                </a:lnTo>
                <a:lnTo>
                  <a:pt x="288" y="216"/>
                </a:lnTo>
                <a:lnTo>
                  <a:pt x="288" y="216"/>
                </a:lnTo>
                <a:lnTo>
                  <a:pt x="288" y="222"/>
                </a:lnTo>
                <a:lnTo>
                  <a:pt x="282" y="222"/>
                </a:lnTo>
                <a:lnTo>
                  <a:pt x="282" y="228"/>
                </a:lnTo>
                <a:lnTo>
                  <a:pt x="282" y="228"/>
                </a:lnTo>
                <a:lnTo>
                  <a:pt x="282" y="228"/>
                </a:lnTo>
                <a:lnTo>
                  <a:pt x="282" y="234"/>
                </a:lnTo>
                <a:lnTo>
                  <a:pt x="282" y="234"/>
                </a:lnTo>
                <a:lnTo>
                  <a:pt x="282" y="234"/>
                </a:lnTo>
                <a:lnTo>
                  <a:pt x="282" y="240"/>
                </a:lnTo>
                <a:lnTo>
                  <a:pt x="282" y="246"/>
                </a:lnTo>
                <a:lnTo>
                  <a:pt x="282" y="246"/>
                </a:lnTo>
                <a:lnTo>
                  <a:pt x="282" y="252"/>
                </a:lnTo>
                <a:lnTo>
                  <a:pt x="282" y="252"/>
                </a:lnTo>
                <a:lnTo>
                  <a:pt x="282" y="258"/>
                </a:lnTo>
                <a:lnTo>
                  <a:pt x="282" y="258"/>
                </a:lnTo>
                <a:lnTo>
                  <a:pt x="288" y="264"/>
                </a:lnTo>
                <a:lnTo>
                  <a:pt x="288" y="270"/>
                </a:lnTo>
                <a:lnTo>
                  <a:pt x="288" y="270"/>
                </a:lnTo>
                <a:lnTo>
                  <a:pt x="288" y="270"/>
                </a:lnTo>
                <a:lnTo>
                  <a:pt x="288" y="270"/>
                </a:lnTo>
                <a:lnTo>
                  <a:pt x="288" y="276"/>
                </a:lnTo>
                <a:lnTo>
                  <a:pt x="288" y="276"/>
                </a:lnTo>
                <a:lnTo>
                  <a:pt x="294" y="270"/>
                </a:lnTo>
                <a:lnTo>
                  <a:pt x="294" y="270"/>
                </a:lnTo>
                <a:lnTo>
                  <a:pt x="300" y="276"/>
                </a:lnTo>
                <a:lnTo>
                  <a:pt x="300" y="276"/>
                </a:lnTo>
                <a:lnTo>
                  <a:pt x="300" y="282"/>
                </a:lnTo>
                <a:lnTo>
                  <a:pt x="300" y="288"/>
                </a:lnTo>
                <a:lnTo>
                  <a:pt x="300" y="288"/>
                </a:lnTo>
                <a:lnTo>
                  <a:pt x="300" y="288"/>
                </a:lnTo>
                <a:lnTo>
                  <a:pt x="300" y="294"/>
                </a:lnTo>
                <a:lnTo>
                  <a:pt x="300" y="294"/>
                </a:lnTo>
                <a:lnTo>
                  <a:pt x="300" y="300"/>
                </a:lnTo>
                <a:lnTo>
                  <a:pt x="300" y="306"/>
                </a:lnTo>
                <a:lnTo>
                  <a:pt x="306" y="306"/>
                </a:lnTo>
                <a:lnTo>
                  <a:pt x="306" y="312"/>
                </a:lnTo>
                <a:lnTo>
                  <a:pt x="312" y="312"/>
                </a:lnTo>
                <a:lnTo>
                  <a:pt x="312" y="318"/>
                </a:lnTo>
                <a:lnTo>
                  <a:pt x="312" y="318"/>
                </a:lnTo>
                <a:lnTo>
                  <a:pt x="318" y="330"/>
                </a:lnTo>
                <a:lnTo>
                  <a:pt x="312" y="330"/>
                </a:lnTo>
                <a:lnTo>
                  <a:pt x="306" y="336"/>
                </a:lnTo>
                <a:lnTo>
                  <a:pt x="306" y="336"/>
                </a:lnTo>
                <a:lnTo>
                  <a:pt x="306" y="336"/>
                </a:lnTo>
                <a:lnTo>
                  <a:pt x="306" y="336"/>
                </a:lnTo>
                <a:lnTo>
                  <a:pt x="306" y="336"/>
                </a:lnTo>
                <a:lnTo>
                  <a:pt x="306" y="342"/>
                </a:lnTo>
                <a:lnTo>
                  <a:pt x="306" y="342"/>
                </a:lnTo>
                <a:lnTo>
                  <a:pt x="306" y="342"/>
                </a:lnTo>
                <a:lnTo>
                  <a:pt x="306" y="342"/>
                </a:lnTo>
                <a:lnTo>
                  <a:pt x="306" y="348"/>
                </a:lnTo>
                <a:lnTo>
                  <a:pt x="306" y="348"/>
                </a:lnTo>
                <a:lnTo>
                  <a:pt x="306" y="348"/>
                </a:lnTo>
                <a:lnTo>
                  <a:pt x="306" y="348"/>
                </a:lnTo>
                <a:lnTo>
                  <a:pt x="300" y="354"/>
                </a:lnTo>
                <a:lnTo>
                  <a:pt x="300" y="354"/>
                </a:lnTo>
                <a:lnTo>
                  <a:pt x="300" y="354"/>
                </a:lnTo>
                <a:lnTo>
                  <a:pt x="300" y="360"/>
                </a:lnTo>
                <a:lnTo>
                  <a:pt x="300" y="360"/>
                </a:lnTo>
                <a:lnTo>
                  <a:pt x="300" y="360"/>
                </a:lnTo>
                <a:lnTo>
                  <a:pt x="300" y="360"/>
                </a:lnTo>
                <a:lnTo>
                  <a:pt x="300" y="366"/>
                </a:lnTo>
                <a:lnTo>
                  <a:pt x="300" y="366"/>
                </a:lnTo>
                <a:lnTo>
                  <a:pt x="306" y="366"/>
                </a:lnTo>
                <a:lnTo>
                  <a:pt x="306" y="366"/>
                </a:lnTo>
                <a:lnTo>
                  <a:pt x="306" y="366"/>
                </a:lnTo>
                <a:lnTo>
                  <a:pt x="306" y="372"/>
                </a:lnTo>
                <a:lnTo>
                  <a:pt x="306" y="372"/>
                </a:lnTo>
                <a:lnTo>
                  <a:pt x="306" y="378"/>
                </a:lnTo>
                <a:lnTo>
                  <a:pt x="306" y="378"/>
                </a:lnTo>
                <a:lnTo>
                  <a:pt x="306" y="378"/>
                </a:lnTo>
                <a:lnTo>
                  <a:pt x="306" y="378"/>
                </a:lnTo>
                <a:lnTo>
                  <a:pt x="300" y="378"/>
                </a:lnTo>
                <a:lnTo>
                  <a:pt x="300" y="378"/>
                </a:lnTo>
                <a:lnTo>
                  <a:pt x="294" y="378"/>
                </a:lnTo>
                <a:lnTo>
                  <a:pt x="294" y="378"/>
                </a:lnTo>
                <a:lnTo>
                  <a:pt x="294" y="378"/>
                </a:lnTo>
                <a:lnTo>
                  <a:pt x="294" y="378"/>
                </a:lnTo>
                <a:lnTo>
                  <a:pt x="288" y="378"/>
                </a:lnTo>
                <a:lnTo>
                  <a:pt x="288" y="378"/>
                </a:lnTo>
                <a:lnTo>
                  <a:pt x="288" y="378"/>
                </a:lnTo>
                <a:lnTo>
                  <a:pt x="282" y="372"/>
                </a:lnTo>
                <a:lnTo>
                  <a:pt x="282" y="372"/>
                </a:lnTo>
                <a:lnTo>
                  <a:pt x="282" y="372"/>
                </a:lnTo>
                <a:lnTo>
                  <a:pt x="276" y="378"/>
                </a:lnTo>
                <a:lnTo>
                  <a:pt x="276" y="372"/>
                </a:lnTo>
                <a:lnTo>
                  <a:pt x="270" y="372"/>
                </a:lnTo>
                <a:lnTo>
                  <a:pt x="270" y="366"/>
                </a:lnTo>
                <a:lnTo>
                  <a:pt x="270" y="366"/>
                </a:lnTo>
                <a:lnTo>
                  <a:pt x="264" y="366"/>
                </a:lnTo>
                <a:lnTo>
                  <a:pt x="264" y="366"/>
                </a:lnTo>
                <a:lnTo>
                  <a:pt x="264" y="366"/>
                </a:lnTo>
                <a:lnTo>
                  <a:pt x="264" y="366"/>
                </a:lnTo>
                <a:lnTo>
                  <a:pt x="264" y="366"/>
                </a:lnTo>
                <a:lnTo>
                  <a:pt x="264" y="372"/>
                </a:lnTo>
                <a:lnTo>
                  <a:pt x="264" y="372"/>
                </a:lnTo>
                <a:lnTo>
                  <a:pt x="264" y="372"/>
                </a:lnTo>
                <a:lnTo>
                  <a:pt x="264" y="372"/>
                </a:lnTo>
                <a:lnTo>
                  <a:pt x="258" y="372"/>
                </a:lnTo>
                <a:lnTo>
                  <a:pt x="258" y="372"/>
                </a:lnTo>
                <a:lnTo>
                  <a:pt x="258" y="378"/>
                </a:lnTo>
                <a:lnTo>
                  <a:pt x="258" y="378"/>
                </a:lnTo>
                <a:lnTo>
                  <a:pt x="252" y="378"/>
                </a:lnTo>
                <a:lnTo>
                  <a:pt x="252" y="378"/>
                </a:lnTo>
                <a:lnTo>
                  <a:pt x="252" y="384"/>
                </a:lnTo>
                <a:lnTo>
                  <a:pt x="252" y="384"/>
                </a:lnTo>
                <a:lnTo>
                  <a:pt x="252" y="384"/>
                </a:lnTo>
                <a:lnTo>
                  <a:pt x="246" y="384"/>
                </a:lnTo>
                <a:lnTo>
                  <a:pt x="246" y="384"/>
                </a:lnTo>
                <a:lnTo>
                  <a:pt x="246" y="384"/>
                </a:lnTo>
                <a:lnTo>
                  <a:pt x="246" y="390"/>
                </a:lnTo>
                <a:lnTo>
                  <a:pt x="246" y="390"/>
                </a:lnTo>
                <a:lnTo>
                  <a:pt x="246" y="390"/>
                </a:lnTo>
                <a:lnTo>
                  <a:pt x="240" y="390"/>
                </a:lnTo>
                <a:lnTo>
                  <a:pt x="240" y="390"/>
                </a:lnTo>
                <a:lnTo>
                  <a:pt x="240" y="390"/>
                </a:lnTo>
                <a:lnTo>
                  <a:pt x="234" y="390"/>
                </a:lnTo>
                <a:lnTo>
                  <a:pt x="234" y="390"/>
                </a:lnTo>
                <a:lnTo>
                  <a:pt x="234" y="390"/>
                </a:lnTo>
                <a:lnTo>
                  <a:pt x="234" y="390"/>
                </a:lnTo>
                <a:lnTo>
                  <a:pt x="228" y="390"/>
                </a:lnTo>
                <a:lnTo>
                  <a:pt x="234" y="396"/>
                </a:lnTo>
                <a:lnTo>
                  <a:pt x="234" y="396"/>
                </a:lnTo>
                <a:lnTo>
                  <a:pt x="192" y="402"/>
                </a:lnTo>
                <a:lnTo>
                  <a:pt x="192" y="402"/>
                </a:lnTo>
                <a:lnTo>
                  <a:pt x="192" y="396"/>
                </a:lnTo>
                <a:lnTo>
                  <a:pt x="192" y="396"/>
                </a:lnTo>
                <a:lnTo>
                  <a:pt x="192" y="390"/>
                </a:lnTo>
                <a:lnTo>
                  <a:pt x="186" y="390"/>
                </a:lnTo>
                <a:lnTo>
                  <a:pt x="186" y="384"/>
                </a:lnTo>
                <a:lnTo>
                  <a:pt x="186" y="384"/>
                </a:lnTo>
                <a:lnTo>
                  <a:pt x="186" y="384"/>
                </a:lnTo>
                <a:lnTo>
                  <a:pt x="186" y="378"/>
                </a:lnTo>
                <a:lnTo>
                  <a:pt x="186" y="372"/>
                </a:lnTo>
                <a:lnTo>
                  <a:pt x="180" y="372"/>
                </a:lnTo>
                <a:lnTo>
                  <a:pt x="180" y="372"/>
                </a:lnTo>
                <a:lnTo>
                  <a:pt x="180" y="372"/>
                </a:lnTo>
                <a:lnTo>
                  <a:pt x="180" y="372"/>
                </a:lnTo>
                <a:lnTo>
                  <a:pt x="180" y="372"/>
                </a:lnTo>
                <a:lnTo>
                  <a:pt x="174" y="366"/>
                </a:lnTo>
                <a:lnTo>
                  <a:pt x="174" y="366"/>
                </a:lnTo>
                <a:lnTo>
                  <a:pt x="174" y="366"/>
                </a:lnTo>
                <a:lnTo>
                  <a:pt x="174" y="366"/>
                </a:lnTo>
                <a:lnTo>
                  <a:pt x="174" y="366"/>
                </a:lnTo>
                <a:lnTo>
                  <a:pt x="174" y="360"/>
                </a:lnTo>
                <a:lnTo>
                  <a:pt x="174" y="360"/>
                </a:lnTo>
                <a:lnTo>
                  <a:pt x="168" y="360"/>
                </a:lnTo>
                <a:lnTo>
                  <a:pt x="168" y="360"/>
                </a:lnTo>
                <a:lnTo>
                  <a:pt x="168" y="354"/>
                </a:lnTo>
                <a:lnTo>
                  <a:pt x="168" y="354"/>
                </a:lnTo>
                <a:lnTo>
                  <a:pt x="168" y="354"/>
                </a:lnTo>
                <a:lnTo>
                  <a:pt x="168" y="354"/>
                </a:lnTo>
                <a:lnTo>
                  <a:pt x="168" y="354"/>
                </a:lnTo>
                <a:lnTo>
                  <a:pt x="162" y="354"/>
                </a:lnTo>
                <a:lnTo>
                  <a:pt x="162" y="354"/>
                </a:lnTo>
                <a:lnTo>
                  <a:pt x="162" y="348"/>
                </a:lnTo>
                <a:lnTo>
                  <a:pt x="162" y="348"/>
                </a:lnTo>
                <a:lnTo>
                  <a:pt x="156" y="348"/>
                </a:lnTo>
                <a:lnTo>
                  <a:pt x="156" y="348"/>
                </a:lnTo>
                <a:lnTo>
                  <a:pt x="156" y="348"/>
                </a:lnTo>
                <a:lnTo>
                  <a:pt x="150" y="354"/>
                </a:lnTo>
                <a:lnTo>
                  <a:pt x="150" y="354"/>
                </a:lnTo>
                <a:lnTo>
                  <a:pt x="144" y="354"/>
                </a:lnTo>
                <a:lnTo>
                  <a:pt x="138" y="348"/>
                </a:lnTo>
                <a:lnTo>
                  <a:pt x="138" y="342"/>
                </a:lnTo>
                <a:lnTo>
                  <a:pt x="138" y="348"/>
                </a:lnTo>
                <a:lnTo>
                  <a:pt x="144" y="342"/>
                </a:lnTo>
                <a:lnTo>
                  <a:pt x="144" y="342"/>
                </a:lnTo>
                <a:lnTo>
                  <a:pt x="144" y="342"/>
                </a:lnTo>
                <a:lnTo>
                  <a:pt x="144" y="342"/>
                </a:lnTo>
                <a:lnTo>
                  <a:pt x="144" y="342"/>
                </a:lnTo>
                <a:lnTo>
                  <a:pt x="144" y="342"/>
                </a:lnTo>
                <a:lnTo>
                  <a:pt x="138" y="336"/>
                </a:lnTo>
                <a:lnTo>
                  <a:pt x="132" y="330"/>
                </a:lnTo>
                <a:lnTo>
                  <a:pt x="132" y="330"/>
                </a:lnTo>
                <a:lnTo>
                  <a:pt x="132" y="330"/>
                </a:lnTo>
                <a:lnTo>
                  <a:pt x="132" y="330"/>
                </a:lnTo>
                <a:lnTo>
                  <a:pt x="126" y="330"/>
                </a:lnTo>
                <a:lnTo>
                  <a:pt x="126" y="330"/>
                </a:lnTo>
                <a:lnTo>
                  <a:pt x="126" y="330"/>
                </a:lnTo>
                <a:lnTo>
                  <a:pt x="120" y="330"/>
                </a:lnTo>
                <a:lnTo>
                  <a:pt x="120" y="324"/>
                </a:lnTo>
                <a:lnTo>
                  <a:pt x="120" y="324"/>
                </a:lnTo>
                <a:lnTo>
                  <a:pt x="114" y="324"/>
                </a:lnTo>
                <a:lnTo>
                  <a:pt x="114" y="318"/>
                </a:lnTo>
                <a:lnTo>
                  <a:pt x="114" y="318"/>
                </a:lnTo>
                <a:lnTo>
                  <a:pt x="114" y="318"/>
                </a:lnTo>
                <a:lnTo>
                  <a:pt x="108" y="318"/>
                </a:lnTo>
                <a:lnTo>
                  <a:pt x="108" y="312"/>
                </a:lnTo>
                <a:lnTo>
                  <a:pt x="108" y="312"/>
                </a:lnTo>
                <a:lnTo>
                  <a:pt x="108" y="312"/>
                </a:lnTo>
                <a:lnTo>
                  <a:pt x="108" y="312"/>
                </a:lnTo>
                <a:lnTo>
                  <a:pt x="108" y="306"/>
                </a:lnTo>
                <a:lnTo>
                  <a:pt x="108" y="306"/>
                </a:lnTo>
                <a:lnTo>
                  <a:pt x="108" y="306"/>
                </a:lnTo>
                <a:lnTo>
                  <a:pt x="108" y="306"/>
                </a:lnTo>
                <a:lnTo>
                  <a:pt x="102" y="306"/>
                </a:lnTo>
                <a:lnTo>
                  <a:pt x="102" y="306"/>
                </a:lnTo>
                <a:lnTo>
                  <a:pt x="96" y="300"/>
                </a:lnTo>
                <a:lnTo>
                  <a:pt x="96" y="306"/>
                </a:lnTo>
                <a:lnTo>
                  <a:pt x="90" y="306"/>
                </a:lnTo>
                <a:lnTo>
                  <a:pt x="84" y="306"/>
                </a:lnTo>
                <a:lnTo>
                  <a:pt x="84" y="306"/>
                </a:lnTo>
                <a:lnTo>
                  <a:pt x="78" y="306"/>
                </a:lnTo>
                <a:lnTo>
                  <a:pt x="78" y="306"/>
                </a:lnTo>
                <a:lnTo>
                  <a:pt x="72" y="312"/>
                </a:lnTo>
                <a:lnTo>
                  <a:pt x="72" y="312"/>
                </a:lnTo>
                <a:lnTo>
                  <a:pt x="72" y="312"/>
                </a:lnTo>
                <a:lnTo>
                  <a:pt x="72" y="312"/>
                </a:lnTo>
                <a:lnTo>
                  <a:pt x="66" y="318"/>
                </a:lnTo>
                <a:lnTo>
                  <a:pt x="66" y="312"/>
                </a:lnTo>
                <a:lnTo>
                  <a:pt x="60" y="300"/>
                </a:lnTo>
                <a:lnTo>
                  <a:pt x="60" y="300"/>
                </a:lnTo>
                <a:lnTo>
                  <a:pt x="54" y="294"/>
                </a:lnTo>
                <a:lnTo>
                  <a:pt x="54" y="288"/>
                </a:lnTo>
                <a:lnTo>
                  <a:pt x="54" y="282"/>
                </a:lnTo>
                <a:lnTo>
                  <a:pt x="54" y="282"/>
                </a:lnTo>
                <a:lnTo>
                  <a:pt x="54" y="276"/>
                </a:lnTo>
                <a:lnTo>
                  <a:pt x="54" y="276"/>
                </a:lnTo>
                <a:lnTo>
                  <a:pt x="54" y="270"/>
                </a:lnTo>
                <a:lnTo>
                  <a:pt x="54" y="270"/>
                </a:lnTo>
                <a:lnTo>
                  <a:pt x="48" y="264"/>
                </a:lnTo>
                <a:lnTo>
                  <a:pt x="48" y="264"/>
                </a:lnTo>
                <a:lnTo>
                  <a:pt x="48" y="258"/>
                </a:lnTo>
                <a:lnTo>
                  <a:pt x="54" y="258"/>
                </a:lnTo>
                <a:lnTo>
                  <a:pt x="54" y="252"/>
                </a:lnTo>
                <a:lnTo>
                  <a:pt x="48" y="252"/>
                </a:lnTo>
                <a:lnTo>
                  <a:pt x="48" y="252"/>
                </a:lnTo>
                <a:lnTo>
                  <a:pt x="48" y="252"/>
                </a:lnTo>
                <a:lnTo>
                  <a:pt x="42" y="246"/>
                </a:lnTo>
                <a:lnTo>
                  <a:pt x="42" y="240"/>
                </a:lnTo>
                <a:lnTo>
                  <a:pt x="42" y="240"/>
                </a:lnTo>
                <a:lnTo>
                  <a:pt x="42" y="240"/>
                </a:lnTo>
                <a:lnTo>
                  <a:pt x="42" y="228"/>
                </a:lnTo>
                <a:lnTo>
                  <a:pt x="42" y="222"/>
                </a:lnTo>
                <a:lnTo>
                  <a:pt x="48" y="216"/>
                </a:lnTo>
                <a:lnTo>
                  <a:pt x="48" y="210"/>
                </a:lnTo>
                <a:lnTo>
                  <a:pt x="48" y="204"/>
                </a:lnTo>
                <a:lnTo>
                  <a:pt x="48" y="204"/>
                </a:lnTo>
                <a:lnTo>
                  <a:pt x="54" y="198"/>
                </a:lnTo>
                <a:lnTo>
                  <a:pt x="48" y="198"/>
                </a:lnTo>
                <a:lnTo>
                  <a:pt x="48" y="198"/>
                </a:lnTo>
                <a:lnTo>
                  <a:pt x="48" y="198"/>
                </a:lnTo>
                <a:lnTo>
                  <a:pt x="42" y="192"/>
                </a:lnTo>
                <a:lnTo>
                  <a:pt x="42" y="192"/>
                </a:lnTo>
                <a:lnTo>
                  <a:pt x="36" y="186"/>
                </a:lnTo>
                <a:lnTo>
                  <a:pt x="42" y="186"/>
                </a:lnTo>
                <a:lnTo>
                  <a:pt x="42" y="186"/>
                </a:lnTo>
                <a:lnTo>
                  <a:pt x="42" y="186"/>
                </a:lnTo>
                <a:lnTo>
                  <a:pt x="36" y="180"/>
                </a:lnTo>
                <a:lnTo>
                  <a:pt x="36" y="180"/>
                </a:lnTo>
                <a:lnTo>
                  <a:pt x="36" y="174"/>
                </a:lnTo>
                <a:lnTo>
                  <a:pt x="36" y="168"/>
                </a:lnTo>
                <a:lnTo>
                  <a:pt x="36" y="168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56"/>
                </a:lnTo>
                <a:lnTo>
                  <a:pt x="36" y="156"/>
                </a:lnTo>
                <a:lnTo>
                  <a:pt x="36" y="156"/>
                </a:lnTo>
                <a:lnTo>
                  <a:pt x="42" y="156"/>
                </a:lnTo>
                <a:lnTo>
                  <a:pt x="42" y="150"/>
                </a:lnTo>
                <a:lnTo>
                  <a:pt x="36" y="156"/>
                </a:lnTo>
                <a:lnTo>
                  <a:pt x="30" y="156"/>
                </a:lnTo>
                <a:lnTo>
                  <a:pt x="30" y="156"/>
                </a:lnTo>
                <a:lnTo>
                  <a:pt x="24" y="156"/>
                </a:lnTo>
                <a:lnTo>
                  <a:pt x="24" y="156"/>
                </a:lnTo>
                <a:lnTo>
                  <a:pt x="18" y="156"/>
                </a:lnTo>
                <a:lnTo>
                  <a:pt x="6" y="156"/>
                </a:lnTo>
                <a:lnTo>
                  <a:pt x="6" y="156"/>
                </a:lnTo>
                <a:lnTo>
                  <a:pt x="6" y="150"/>
                </a:lnTo>
                <a:lnTo>
                  <a:pt x="0" y="14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12" name="Freeform 45"/>
          <p:cNvSpPr>
            <a:spLocks/>
          </p:cNvSpPr>
          <p:nvPr/>
        </p:nvSpPr>
        <p:spPr bwMode="auto">
          <a:xfrm>
            <a:off x="6228721" y="1822330"/>
            <a:ext cx="436835" cy="642410"/>
          </a:xfrm>
          <a:custGeom>
            <a:avLst/>
            <a:gdLst>
              <a:gd name="T0" fmla="*/ 24 w 408"/>
              <a:gd name="T1" fmla="*/ 222 h 600"/>
              <a:gd name="T2" fmla="*/ 12 w 408"/>
              <a:gd name="T3" fmla="*/ 204 h 600"/>
              <a:gd name="T4" fmla="*/ 6 w 408"/>
              <a:gd name="T5" fmla="*/ 180 h 600"/>
              <a:gd name="T6" fmla="*/ 24 w 408"/>
              <a:gd name="T7" fmla="*/ 168 h 600"/>
              <a:gd name="T8" fmla="*/ 36 w 408"/>
              <a:gd name="T9" fmla="*/ 156 h 600"/>
              <a:gd name="T10" fmla="*/ 24 w 408"/>
              <a:gd name="T11" fmla="*/ 138 h 600"/>
              <a:gd name="T12" fmla="*/ 12 w 408"/>
              <a:gd name="T13" fmla="*/ 120 h 600"/>
              <a:gd name="T14" fmla="*/ 30 w 408"/>
              <a:gd name="T15" fmla="*/ 102 h 600"/>
              <a:gd name="T16" fmla="*/ 60 w 408"/>
              <a:gd name="T17" fmla="*/ 90 h 600"/>
              <a:gd name="T18" fmla="*/ 78 w 408"/>
              <a:gd name="T19" fmla="*/ 72 h 600"/>
              <a:gd name="T20" fmla="*/ 96 w 408"/>
              <a:gd name="T21" fmla="*/ 66 h 600"/>
              <a:gd name="T22" fmla="*/ 108 w 408"/>
              <a:gd name="T23" fmla="*/ 30 h 600"/>
              <a:gd name="T24" fmla="*/ 126 w 408"/>
              <a:gd name="T25" fmla="*/ 6 h 600"/>
              <a:gd name="T26" fmla="*/ 156 w 408"/>
              <a:gd name="T27" fmla="*/ 6 h 600"/>
              <a:gd name="T28" fmla="*/ 174 w 408"/>
              <a:gd name="T29" fmla="*/ 24 h 600"/>
              <a:gd name="T30" fmla="*/ 330 w 408"/>
              <a:gd name="T31" fmla="*/ 0 h 600"/>
              <a:gd name="T32" fmla="*/ 354 w 408"/>
              <a:gd name="T33" fmla="*/ 0 h 600"/>
              <a:gd name="T34" fmla="*/ 348 w 408"/>
              <a:gd name="T35" fmla="*/ 24 h 600"/>
              <a:gd name="T36" fmla="*/ 336 w 408"/>
              <a:gd name="T37" fmla="*/ 42 h 600"/>
              <a:gd name="T38" fmla="*/ 336 w 408"/>
              <a:gd name="T39" fmla="*/ 60 h 600"/>
              <a:gd name="T40" fmla="*/ 330 w 408"/>
              <a:gd name="T41" fmla="*/ 78 h 600"/>
              <a:gd name="T42" fmla="*/ 312 w 408"/>
              <a:gd name="T43" fmla="*/ 78 h 600"/>
              <a:gd name="T44" fmla="*/ 300 w 408"/>
              <a:gd name="T45" fmla="*/ 102 h 600"/>
              <a:gd name="T46" fmla="*/ 282 w 408"/>
              <a:gd name="T47" fmla="*/ 108 h 600"/>
              <a:gd name="T48" fmla="*/ 276 w 408"/>
              <a:gd name="T49" fmla="*/ 120 h 600"/>
              <a:gd name="T50" fmla="*/ 300 w 408"/>
              <a:gd name="T51" fmla="*/ 132 h 600"/>
              <a:gd name="T52" fmla="*/ 300 w 408"/>
              <a:gd name="T53" fmla="*/ 156 h 600"/>
              <a:gd name="T54" fmla="*/ 306 w 408"/>
              <a:gd name="T55" fmla="*/ 192 h 600"/>
              <a:gd name="T56" fmla="*/ 336 w 408"/>
              <a:gd name="T57" fmla="*/ 210 h 600"/>
              <a:gd name="T58" fmla="*/ 348 w 408"/>
              <a:gd name="T59" fmla="*/ 234 h 600"/>
              <a:gd name="T60" fmla="*/ 372 w 408"/>
              <a:gd name="T61" fmla="*/ 252 h 600"/>
              <a:gd name="T62" fmla="*/ 396 w 408"/>
              <a:gd name="T63" fmla="*/ 270 h 600"/>
              <a:gd name="T64" fmla="*/ 402 w 408"/>
              <a:gd name="T65" fmla="*/ 294 h 600"/>
              <a:gd name="T66" fmla="*/ 402 w 408"/>
              <a:gd name="T67" fmla="*/ 306 h 600"/>
              <a:gd name="T68" fmla="*/ 402 w 408"/>
              <a:gd name="T69" fmla="*/ 324 h 600"/>
              <a:gd name="T70" fmla="*/ 378 w 408"/>
              <a:gd name="T71" fmla="*/ 348 h 600"/>
              <a:gd name="T72" fmla="*/ 384 w 408"/>
              <a:gd name="T73" fmla="*/ 366 h 600"/>
              <a:gd name="T74" fmla="*/ 372 w 408"/>
              <a:gd name="T75" fmla="*/ 396 h 600"/>
              <a:gd name="T76" fmla="*/ 354 w 408"/>
              <a:gd name="T77" fmla="*/ 408 h 600"/>
              <a:gd name="T78" fmla="*/ 336 w 408"/>
              <a:gd name="T79" fmla="*/ 414 h 600"/>
              <a:gd name="T80" fmla="*/ 330 w 408"/>
              <a:gd name="T81" fmla="*/ 438 h 600"/>
              <a:gd name="T82" fmla="*/ 318 w 408"/>
              <a:gd name="T83" fmla="*/ 468 h 600"/>
              <a:gd name="T84" fmla="*/ 312 w 408"/>
              <a:gd name="T85" fmla="*/ 498 h 600"/>
              <a:gd name="T86" fmla="*/ 312 w 408"/>
              <a:gd name="T87" fmla="*/ 528 h 600"/>
              <a:gd name="T88" fmla="*/ 312 w 408"/>
              <a:gd name="T89" fmla="*/ 564 h 600"/>
              <a:gd name="T90" fmla="*/ 288 w 408"/>
              <a:gd name="T91" fmla="*/ 576 h 600"/>
              <a:gd name="T92" fmla="*/ 108 w 408"/>
              <a:gd name="T93" fmla="*/ 588 h 600"/>
              <a:gd name="T94" fmla="*/ 60 w 408"/>
              <a:gd name="T95" fmla="*/ 564 h 600"/>
              <a:gd name="T96" fmla="*/ 66 w 408"/>
              <a:gd name="T97" fmla="*/ 528 h 600"/>
              <a:gd name="T98" fmla="*/ 54 w 408"/>
              <a:gd name="T99" fmla="*/ 510 h 600"/>
              <a:gd name="T100" fmla="*/ 60 w 408"/>
              <a:gd name="T101" fmla="*/ 474 h 600"/>
              <a:gd name="T102" fmla="*/ 72 w 408"/>
              <a:gd name="T103" fmla="*/ 462 h 600"/>
              <a:gd name="T104" fmla="*/ 72 w 408"/>
              <a:gd name="T105" fmla="*/ 438 h 600"/>
              <a:gd name="T106" fmla="*/ 66 w 408"/>
              <a:gd name="T107" fmla="*/ 414 h 600"/>
              <a:gd name="T108" fmla="*/ 66 w 408"/>
              <a:gd name="T109" fmla="*/ 390 h 600"/>
              <a:gd name="T110" fmla="*/ 60 w 408"/>
              <a:gd name="T111" fmla="*/ 372 h 600"/>
              <a:gd name="T112" fmla="*/ 60 w 408"/>
              <a:gd name="T113" fmla="*/ 348 h 600"/>
              <a:gd name="T114" fmla="*/ 48 w 408"/>
              <a:gd name="T115" fmla="*/ 324 h 600"/>
              <a:gd name="T116" fmla="*/ 42 w 408"/>
              <a:gd name="T117" fmla="*/ 312 h 600"/>
              <a:gd name="T118" fmla="*/ 36 w 408"/>
              <a:gd name="T119" fmla="*/ 282 h 600"/>
              <a:gd name="T120" fmla="*/ 24 w 408"/>
              <a:gd name="T121" fmla="*/ 264 h 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08" h="600">
                <a:moveTo>
                  <a:pt x="24" y="252"/>
                </a:moveTo>
                <a:lnTo>
                  <a:pt x="24" y="252"/>
                </a:lnTo>
                <a:lnTo>
                  <a:pt x="24" y="252"/>
                </a:lnTo>
                <a:lnTo>
                  <a:pt x="24" y="252"/>
                </a:lnTo>
                <a:lnTo>
                  <a:pt x="18" y="246"/>
                </a:lnTo>
                <a:lnTo>
                  <a:pt x="24" y="246"/>
                </a:lnTo>
                <a:lnTo>
                  <a:pt x="18" y="246"/>
                </a:lnTo>
                <a:lnTo>
                  <a:pt x="18" y="246"/>
                </a:lnTo>
                <a:lnTo>
                  <a:pt x="18" y="240"/>
                </a:lnTo>
                <a:lnTo>
                  <a:pt x="18" y="240"/>
                </a:lnTo>
                <a:lnTo>
                  <a:pt x="24" y="240"/>
                </a:lnTo>
                <a:lnTo>
                  <a:pt x="24" y="234"/>
                </a:lnTo>
                <a:lnTo>
                  <a:pt x="24" y="234"/>
                </a:lnTo>
                <a:lnTo>
                  <a:pt x="24" y="228"/>
                </a:lnTo>
                <a:lnTo>
                  <a:pt x="18" y="228"/>
                </a:lnTo>
                <a:lnTo>
                  <a:pt x="18" y="228"/>
                </a:lnTo>
                <a:lnTo>
                  <a:pt x="18" y="228"/>
                </a:lnTo>
                <a:lnTo>
                  <a:pt x="18" y="228"/>
                </a:lnTo>
                <a:lnTo>
                  <a:pt x="24" y="222"/>
                </a:lnTo>
                <a:lnTo>
                  <a:pt x="24" y="222"/>
                </a:lnTo>
                <a:lnTo>
                  <a:pt x="24" y="222"/>
                </a:lnTo>
                <a:lnTo>
                  <a:pt x="24" y="222"/>
                </a:lnTo>
                <a:lnTo>
                  <a:pt x="30" y="216"/>
                </a:lnTo>
                <a:lnTo>
                  <a:pt x="30" y="216"/>
                </a:lnTo>
                <a:lnTo>
                  <a:pt x="30" y="216"/>
                </a:lnTo>
                <a:lnTo>
                  <a:pt x="30" y="216"/>
                </a:lnTo>
                <a:lnTo>
                  <a:pt x="30" y="216"/>
                </a:lnTo>
                <a:lnTo>
                  <a:pt x="30" y="210"/>
                </a:lnTo>
                <a:lnTo>
                  <a:pt x="30" y="210"/>
                </a:lnTo>
                <a:lnTo>
                  <a:pt x="24" y="210"/>
                </a:lnTo>
                <a:lnTo>
                  <a:pt x="24" y="210"/>
                </a:lnTo>
                <a:lnTo>
                  <a:pt x="24" y="210"/>
                </a:lnTo>
                <a:lnTo>
                  <a:pt x="18" y="204"/>
                </a:lnTo>
                <a:lnTo>
                  <a:pt x="18" y="210"/>
                </a:lnTo>
                <a:lnTo>
                  <a:pt x="18" y="204"/>
                </a:lnTo>
                <a:lnTo>
                  <a:pt x="12" y="204"/>
                </a:lnTo>
                <a:lnTo>
                  <a:pt x="12" y="204"/>
                </a:lnTo>
                <a:lnTo>
                  <a:pt x="12" y="204"/>
                </a:lnTo>
                <a:lnTo>
                  <a:pt x="6" y="198"/>
                </a:lnTo>
                <a:lnTo>
                  <a:pt x="6" y="198"/>
                </a:lnTo>
                <a:lnTo>
                  <a:pt x="6" y="198"/>
                </a:lnTo>
                <a:lnTo>
                  <a:pt x="0" y="198"/>
                </a:lnTo>
                <a:lnTo>
                  <a:pt x="0" y="198"/>
                </a:lnTo>
                <a:lnTo>
                  <a:pt x="0" y="198"/>
                </a:lnTo>
                <a:lnTo>
                  <a:pt x="0" y="198"/>
                </a:lnTo>
                <a:lnTo>
                  <a:pt x="0" y="192"/>
                </a:lnTo>
                <a:lnTo>
                  <a:pt x="0" y="192"/>
                </a:lnTo>
                <a:lnTo>
                  <a:pt x="0" y="192"/>
                </a:lnTo>
                <a:lnTo>
                  <a:pt x="0" y="192"/>
                </a:lnTo>
                <a:lnTo>
                  <a:pt x="0" y="186"/>
                </a:lnTo>
                <a:lnTo>
                  <a:pt x="0" y="186"/>
                </a:lnTo>
                <a:lnTo>
                  <a:pt x="0" y="186"/>
                </a:lnTo>
                <a:lnTo>
                  <a:pt x="6" y="180"/>
                </a:lnTo>
                <a:lnTo>
                  <a:pt x="6" y="180"/>
                </a:lnTo>
                <a:lnTo>
                  <a:pt x="6" y="180"/>
                </a:lnTo>
                <a:lnTo>
                  <a:pt x="6" y="180"/>
                </a:lnTo>
                <a:lnTo>
                  <a:pt x="6" y="180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8" y="180"/>
                </a:lnTo>
                <a:lnTo>
                  <a:pt x="18" y="180"/>
                </a:lnTo>
                <a:lnTo>
                  <a:pt x="18" y="180"/>
                </a:lnTo>
                <a:lnTo>
                  <a:pt x="18" y="180"/>
                </a:lnTo>
                <a:lnTo>
                  <a:pt x="18" y="180"/>
                </a:lnTo>
                <a:lnTo>
                  <a:pt x="18" y="174"/>
                </a:lnTo>
                <a:lnTo>
                  <a:pt x="18" y="174"/>
                </a:lnTo>
                <a:lnTo>
                  <a:pt x="18" y="174"/>
                </a:lnTo>
                <a:lnTo>
                  <a:pt x="18" y="168"/>
                </a:lnTo>
                <a:lnTo>
                  <a:pt x="18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30" y="174"/>
                </a:lnTo>
                <a:lnTo>
                  <a:pt x="30" y="174"/>
                </a:lnTo>
                <a:lnTo>
                  <a:pt x="30" y="174"/>
                </a:lnTo>
                <a:lnTo>
                  <a:pt x="30" y="174"/>
                </a:lnTo>
                <a:lnTo>
                  <a:pt x="30" y="174"/>
                </a:lnTo>
                <a:lnTo>
                  <a:pt x="30" y="174"/>
                </a:lnTo>
                <a:lnTo>
                  <a:pt x="30" y="174"/>
                </a:lnTo>
                <a:lnTo>
                  <a:pt x="30" y="174"/>
                </a:lnTo>
                <a:lnTo>
                  <a:pt x="30" y="168"/>
                </a:lnTo>
                <a:lnTo>
                  <a:pt x="30" y="168"/>
                </a:lnTo>
                <a:lnTo>
                  <a:pt x="36" y="168"/>
                </a:lnTo>
                <a:lnTo>
                  <a:pt x="36" y="168"/>
                </a:lnTo>
                <a:lnTo>
                  <a:pt x="36" y="168"/>
                </a:lnTo>
                <a:lnTo>
                  <a:pt x="36" y="168"/>
                </a:lnTo>
                <a:lnTo>
                  <a:pt x="30" y="162"/>
                </a:lnTo>
                <a:lnTo>
                  <a:pt x="36" y="162"/>
                </a:lnTo>
                <a:lnTo>
                  <a:pt x="36" y="162"/>
                </a:lnTo>
                <a:lnTo>
                  <a:pt x="36" y="156"/>
                </a:lnTo>
                <a:lnTo>
                  <a:pt x="36" y="156"/>
                </a:lnTo>
                <a:lnTo>
                  <a:pt x="36" y="156"/>
                </a:lnTo>
                <a:lnTo>
                  <a:pt x="36" y="150"/>
                </a:lnTo>
                <a:lnTo>
                  <a:pt x="30" y="150"/>
                </a:lnTo>
                <a:lnTo>
                  <a:pt x="30" y="150"/>
                </a:lnTo>
                <a:lnTo>
                  <a:pt x="30" y="150"/>
                </a:lnTo>
                <a:lnTo>
                  <a:pt x="30" y="150"/>
                </a:lnTo>
                <a:lnTo>
                  <a:pt x="30" y="150"/>
                </a:lnTo>
                <a:lnTo>
                  <a:pt x="30" y="150"/>
                </a:lnTo>
                <a:lnTo>
                  <a:pt x="30" y="150"/>
                </a:lnTo>
                <a:lnTo>
                  <a:pt x="30" y="144"/>
                </a:lnTo>
                <a:lnTo>
                  <a:pt x="30" y="144"/>
                </a:lnTo>
                <a:lnTo>
                  <a:pt x="24" y="144"/>
                </a:lnTo>
                <a:lnTo>
                  <a:pt x="24" y="144"/>
                </a:lnTo>
                <a:lnTo>
                  <a:pt x="30" y="144"/>
                </a:lnTo>
                <a:lnTo>
                  <a:pt x="30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2" y="132"/>
                </a:lnTo>
                <a:lnTo>
                  <a:pt x="18" y="132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8" y="96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6"/>
                </a:lnTo>
                <a:lnTo>
                  <a:pt x="48" y="96"/>
                </a:lnTo>
                <a:lnTo>
                  <a:pt x="54" y="96"/>
                </a:lnTo>
                <a:lnTo>
                  <a:pt x="54" y="90"/>
                </a:lnTo>
                <a:lnTo>
                  <a:pt x="54" y="90"/>
                </a:lnTo>
                <a:lnTo>
                  <a:pt x="60" y="90"/>
                </a:lnTo>
                <a:lnTo>
                  <a:pt x="60" y="90"/>
                </a:lnTo>
                <a:lnTo>
                  <a:pt x="66" y="90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72" y="84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66" y="78"/>
                </a:lnTo>
                <a:lnTo>
                  <a:pt x="66" y="78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84" y="72"/>
                </a:lnTo>
                <a:lnTo>
                  <a:pt x="84" y="72"/>
                </a:lnTo>
                <a:lnTo>
                  <a:pt x="84" y="66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6" y="72"/>
                </a:lnTo>
                <a:lnTo>
                  <a:pt x="96" y="72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0"/>
                </a:lnTo>
                <a:lnTo>
                  <a:pt x="102" y="54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24"/>
                </a:lnTo>
                <a:lnTo>
                  <a:pt x="108" y="24"/>
                </a:lnTo>
                <a:lnTo>
                  <a:pt x="108" y="18"/>
                </a:lnTo>
                <a:lnTo>
                  <a:pt x="102" y="18"/>
                </a:lnTo>
                <a:lnTo>
                  <a:pt x="108" y="18"/>
                </a:lnTo>
                <a:lnTo>
                  <a:pt x="108" y="12"/>
                </a:lnTo>
                <a:lnTo>
                  <a:pt x="108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32" y="6"/>
                </a:lnTo>
                <a:lnTo>
                  <a:pt x="132" y="0"/>
                </a:lnTo>
                <a:lnTo>
                  <a:pt x="132" y="0"/>
                </a:lnTo>
                <a:lnTo>
                  <a:pt x="138" y="0"/>
                </a:lnTo>
                <a:lnTo>
                  <a:pt x="138" y="0"/>
                </a:lnTo>
                <a:lnTo>
                  <a:pt x="138" y="0"/>
                </a:lnTo>
                <a:lnTo>
                  <a:pt x="138" y="0"/>
                </a:lnTo>
                <a:lnTo>
                  <a:pt x="138" y="6"/>
                </a:lnTo>
                <a:lnTo>
                  <a:pt x="144" y="6"/>
                </a:lnTo>
                <a:lnTo>
                  <a:pt x="144" y="0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6" y="6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8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62" y="12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8" y="18"/>
                </a:lnTo>
                <a:lnTo>
                  <a:pt x="168" y="18"/>
                </a:lnTo>
                <a:lnTo>
                  <a:pt x="174" y="18"/>
                </a:lnTo>
                <a:lnTo>
                  <a:pt x="174" y="24"/>
                </a:lnTo>
                <a:lnTo>
                  <a:pt x="174" y="24"/>
                </a:lnTo>
                <a:lnTo>
                  <a:pt x="174" y="24"/>
                </a:lnTo>
                <a:lnTo>
                  <a:pt x="174" y="24"/>
                </a:lnTo>
                <a:lnTo>
                  <a:pt x="174" y="24"/>
                </a:lnTo>
                <a:lnTo>
                  <a:pt x="174" y="24"/>
                </a:lnTo>
                <a:lnTo>
                  <a:pt x="174" y="18"/>
                </a:lnTo>
                <a:lnTo>
                  <a:pt x="174" y="18"/>
                </a:lnTo>
                <a:lnTo>
                  <a:pt x="174" y="18"/>
                </a:lnTo>
                <a:lnTo>
                  <a:pt x="174" y="18"/>
                </a:lnTo>
                <a:lnTo>
                  <a:pt x="180" y="12"/>
                </a:lnTo>
                <a:lnTo>
                  <a:pt x="180" y="12"/>
                </a:lnTo>
                <a:lnTo>
                  <a:pt x="180" y="12"/>
                </a:lnTo>
                <a:lnTo>
                  <a:pt x="180" y="12"/>
                </a:lnTo>
                <a:lnTo>
                  <a:pt x="180" y="6"/>
                </a:lnTo>
                <a:lnTo>
                  <a:pt x="180" y="6"/>
                </a:lnTo>
                <a:lnTo>
                  <a:pt x="180" y="6"/>
                </a:lnTo>
                <a:lnTo>
                  <a:pt x="180" y="6"/>
                </a:lnTo>
                <a:lnTo>
                  <a:pt x="186" y="0"/>
                </a:lnTo>
                <a:lnTo>
                  <a:pt x="186" y="0"/>
                </a:lnTo>
                <a:lnTo>
                  <a:pt x="186" y="0"/>
                </a:lnTo>
                <a:lnTo>
                  <a:pt x="192" y="0"/>
                </a:lnTo>
                <a:lnTo>
                  <a:pt x="264" y="0"/>
                </a:lnTo>
                <a:lnTo>
                  <a:pt x="330" y="0"/>
                </a:lnTo>
                <a:lnTo>
                  <a:pt x="330" y="0"/>
                </a:lnTo>
                <a:lnTo>
                  <a:pt x="336" y="0"/>
                </a:lnTo>
                <a:lnTo>
                  <a:pt x="336" y="0"/>
                </a:lnTo>
                <a:lnTo>
                  <a:pt x="336" y="0"/>
                </a:lnTo>
                <a:lnTo>
                  <a:pt x="336" y="0"/>
                </a:lnTo>
                <a:lnTo>
                  <a:pt x="336" y="0"/>
                </a:lnTo>
                <a:lnTo>
                  <a:pt x="342" y="0"/>
                </a:lnTo>
                <a:lnTo>
                  <a:pt x="342" y="0"/>
                </a:lnTo>
                <a:lnTo>
                  <a:pt x="342" y="0"/>
                </a:lnTo>
                <a:lnTo>
                  <a:pt x="342" y="0"/>
                </a:lnTo>
                <a:lnTo>
                  <a:pt x="348" y="0"/>
                </a:lnTo>
                <a:lnTo>
                  <a:pt x="348" y="0"/>
                </a:lnTo>
                <a:lnTo>
                  <a:pt x="348" y="0"/>
                </a:lnTo>
                <a:lnTo>
                  <a:pt x="348" y="0"/>
                </a:lnTo>
                <a:lnTo>
                  <a:pt x="348" y="0"/>
                </a:lnTo>
                <a:lnTo>
                  <a:pt x="348" y="0"/>
                </a:lnTo>
                <a:lnTo>
                  <a:pt x="354" y="0"/>
                </a:lnTo>
                <a:lnTo>
                  <a:pt x="354" y="0"/>
                </a:lnTo>
                <a:lnTo>
                  <a:pt x="354" y="0"/>
                </a:lnTo>
                <a:lnTo>
                  <a:pt x="360" y="0"/>
                </a:lnTo>
                <a:lnTo>
                  <a:pt x="360" y="6"/>
                </a:lnTo>
                <a:lnTo>
                  <a:pt x="354" y="6"/>
                </a:lnTo>
                <a:lnTo>
                  <a:pt x="354" y="6"/>
                </a:lnTo>
                <a:lnTo>
                  <a:pt x="354" y="6"/>
                </a:lnTo>
                <a:lnTo>
                  <a:pt x="354" y="6"/>
                </a:lnTo>
                <a:lnTo>
                  <a:pt x="354" y="6"/>
                </a:lnTo>
                <a:lnTo>
                  <a:pt x="348" y="12"/>
                </a:lnTo>
                <a:lnTo>
                  <a:pt x="354" y="12"/>
                </a:lnTo>
                <a:lnTo>
                  <a:pt x="354" y="12"/>
                </a:lnTo>
                <a:lnTo>
                  <a:pt x="354" y="12"/>
                </a:lnTo>
                <a:lnTo>
                  <a:pt x="354" y="18"/>
                </a:lnTo>
                <a:lnTo>
                  <a:pt x="354" y="18"/>
                </a:lnTo>
                <a:lnTo>
                  <a:pt x="354" y="18"/>
                </a:lnTo>
                <a:lnTo>
                  <a:pt x="348" y="18"/>
                </a:lnTo>
                <a:lnTo>
                  <a:pt x="348" y="18"/>
                </a:lnTo>
                <a:lnTo>
                  <a:pt x="348" y="24"/>
                </a:lnTo>
                <a:lnTo>
                  <a:pt x="348" y="24"/>
                </a:lnTo>
                <a:lnTo>
                  <a:pt x="348" y="24"/>
                </a:lnTo>
                <a:lnTo>
                  <a:pt x="348" y="24"/>
                </a:lnTo>
                <a:lnTo>
                  <a:pt x="348" y="30"/>
                </a:lnTo>
                <a:lnTo>
                  <a:pt x="348" y="30"/>
                </a:lnTo>
                <a:lnTo>
                  <a:pt x="348" y="30"/>
                </a:lnTo>
                <a:lnTo>
                  <a:pt x="348" y="30"/>
                </a:lnTo>
                <a:lnTo>
                  <a:pt x="348" y="30"/>
                </a:lnTo>
                <a:lnTo>
                  <a:pt x="342" y="30"/>
                </a:lnTo>
                <a:lnTo>
                  <a:pt x="342" y="30"/>
                </a:lnTo>
                <a:lnTo>
                  <a:pt x="342" y="30"/>
                </a:lnTo>
                <a:lnTo>
                  <a:pt x="342" y="30"/>
                </a:lnTo>
                <a:lnTo>
                  <a:pt x="336" y="36"/>
                </a:lnTo>
                <a:lnTo>
                  <a:pt x="336" y="36"/>
                </a:lnTo>
                <a:lnTo>
                  <a:pt x="336" y="36"/>
                </a:lnTo>
                <a:lnTo>
                  <a:pt x="336" y="36"/>
                </a:lnTo>
                <a:lnTo>
                  <a:pt x="336" y="36"/>
                </a:lnTo>
                <a:lnTo>
                  <a:pt x="336" y="36"/>
                </a:lnTo>
                <a:lnTo>
                  <a:pt x="336" y="36"/>
                </a:lnTo>
                <a:lnTo>
                  <a:pt x="336" y="42"/>
                </a:lnTo>
                <a:lnTo>
                  <a:pt x="336" y="42"/>
                </a:lnTo>
                <a:lnTo>
                  <a:pt x="336" y="42"/>
                </a:lnTo>
                <a:lnTo>
                  <a:pt x="330" y="48"/>
                </a:lnTo>
                <a:lnTo>
                  <a:pt x="330" y="48"/>
                </a:lnTo>
                <a:lnTo>
                  <a:pt x="330" y="48"/>
                </a:lnTo>
                <a:lnTo>
                  <a:pt x="324" y="48"/>
                </a:lnTo>
                <a:lnTo>
                  <a:pt x="324" y="48"/>
                </a:lnTo>
                <a:lnTo>
                  <a:pt x="330" y="54"/>
                </a:lnTo>
                <a:lnTo>
                  <a:pt x="330" y="54"/>
                </a:lnTo>
                <a:lnTo>
                  <a:pt x="330" y="54"/>
                </a:lnTo>
                <a:lnTo>
                  <a:pt x="330" y="60"/>
                </a:lnTo>
                <a:lnTo>
                  <a:pt x="330" y="60"/>
                </a:lnTo>
                <a:lnTo>
                  <a:pt x="330" y="60"/>
                </a:lnTo>
                <a:lnTo>
                  <a:pt x="330" y="60"/>
                </a:lnTo>
                <a:lnTo>
                  <a:pt x="330" y="60"/>
                </a:lnTo>
                <a:lnTo>
                  <a:pt x="330" y="60"/>
                </a:lnTo>
                <a:lnTo>
                  <a:pt x="336" y="60"/>
                </a:lnTo>
                <a:lnTo>
                  <a:pt x="336" y="60"/>
                </a:lnTo>
                <a:lnTo>
                  <a:pt x="336" y="60"/>
                </a:lnTo>
                <a:lnTo>
                  <a:pt x="336" y="60"/>
                </a:lnTo>
                <a:lnTo>
                  <a:pt x="336" y="66"/>
                </a:lnTo>
                <a:lnTo>
                  <a:pt x="342" y="66"/>
                </a:lnTo>
                <a:lnTo>
                  <a:pt x="342" y="66"/>
                </a:lnTo>
                <a:lnTo>
                  <a:pt x="342" y="72"/>
                </a:lnTo>
                <a:lnTo>
                  <a:pt x="342" y="72"/>
                </a:lnTo>
                <a:lnTo>
                  <a:pt x="342" y="72"/>
                </a:lnTo>
                <a:lnTo>
                  <a:pt x="342" y="72"/>
                </a:lnTo>
                <a:lnTo>
                  <a:pt x="336" y="72"/>
                </a:lnTo>
                <a:lnTo>
                  <a:pt x="336" y="72"/>
                </a:lnTo>
                <a:lnTo>
                  <a:pt x="336" y="72"/>
                </a:lnTo>
                <a:lnTo>
                  <a:pt x="336" y="66"/>
                </a:lnTo>
                <a:lnTo>
                  <a:pt x="336" y="72"/>
                </a:lnTo>
                <a:lnTo>
                  <a:pt x="336" y="72"/>
                </a:lnTo>
                <a:lnTo>
                  <a:pt x="336" y="72"/>
                </a:lnTo>
                <a:lnTo>
                  <a:pt x="330" y="72"/>
                </a:lnTo>
                <a:lnTo>
                  <a:pt x="330" y="72"/>
                </a:lnTo>
                <a:lnTo>
                  <a:pt x="330" y="72"/>
                </a:lnTo>
                <a:lnTo>
                  <a:pt x="330" y="78"/>
                </a:lnTo>
                <a:lnTo>
                  <a:pt x="330" y="78"/>
                </a:lnTo>
                <a:lnTo>
                  <a:pt x="330" y="78"/>
                </a:lnTo>
                <a:lnTo>
                  <a:pt x="330" y="78"/>
                </a:lnTo>
                <a:lnTo>
                  <a:pt x="330" y="78"/>
                </a:lnTo>
                <a:lnTo>
                  <a:pt x="330" y="78"/>
                </a:lnTo>
                <a:lnTo>
                  <a:pt x="330" y="84"/>
                </a:lnTo>
                <a:lnTo>
                  <a:pt x="330" y="84"/>
                </a:lnTo>
                <a:lnTo>
                  <a:pt x="330" y="84"/>
                </a:lnTo>
                <a:lnTo>
                  <a:pt x="330" y="84"/>
                </a:lnTo>
                <a:lnTo>
                  <a:pt x="324" y="78"/>
                </a:lnTo>
                <a:lnTo>
                  <a:pt x="324" y="84"/>
                </a:lnTo>
                <a:lnTo>
                  <a:pt x="324" y="84"/>
                </a:lnTo>
                <a:lnTo>
                  <a:pt x="318" y="78"/>
                </a:lnTo>
                <a:lnTo>
                  <a:pt x="318" y="84"/>
                </a:lnTo>
                <a:lnTo>
                  <a:pt x="318" y="78"/>
                </a:lnTo>
                <a:lnTo>
                  <a:pt x="318" y="78"/>
                </a:lnTo>
                <a:lnTo>
                  <a:pt x="318" y="78"/>
                </a:lnTo>
                <a:lnTo>
                  <a:pt x="318" y="78"/>
                </a:lnTo>
                <a:lnTo>
                  <a:pt x="318" y="78"/>
                </a:lnTo>
                <a:lnTo>
                  <a:pt x="312" y="78"/>
                </a:lnTo>
                <a:lnTo>
                  <a:pt x="312" y="78"/>
                </a:lnTo>
                <a:lnTo>
                  <a:pt x="312" y="78"/>
                </a:lnTo>
                <a:lnTo>
                  <a:pt x="312" y="78"/>
                </a:lnTo>
                <a:lnTo>
                  <a:pt x="312" y="84"/>
                </a:lnTo>
                <a:lnTo>
                  <a:pt x="306" y="84"/>
                </a:lnTo>
                <a:lnTo>
                  <a:pt x="306" y="84"/>
                </a:lnTo>
                <a:lnTo>
                  <a:pt x="306" y="84"/>
                </a:lnTo>
                <a:lnTo>
                  <a:pt x="306" y="90"/>
                </a:lnTo>
                <a:lnTo>
                  <a:pt x="306" y="90"/>
                </a:lnTo>
                <a:lnTo>
                  <a:pt x="306" y="90"/>
                </a:lnTo>
                <a:lnTo>
                  <a:pt x="306" y="90"/>
                </a:lnTo>
                <a:lnTo>
                  <a:pt x="306" y="96"/>
                </a:lnTo>
                <a:lnTo>
                  <a:pt x="306" y="96"/>
                </a:lnTo>
                <a:lnTo>
                  <a:pt x="306" y="96"/>
                </a:lnTo>
                <a:lnTo>
                  <a:pt x="306" y="96"/>
                </a:lnTo>
                <a:lnTo>
                  <a:pt x="300" y="102"/>
                </a:lnTo>
                <a:lnTo>
                  <a:pt x="300" y="96"/>
                </a:lnTo>
                <a:lnTo>
                  <a:pt x="300" y="102"/>
                </a:lnTo>
                <a:lnTo>
                  <a:pt x="300" y="102"/>
                </a:lnTo>
                <a:lnTo>
                  <a:pt x="300" y="102"/>
                </a:lnTo>
                <a:lnTo>
                  <a:pt x="300" y="102"/>
                </a:lnTo>
                <a:lnTo>
                  <a:pt x="300" y="102"/>
                </a:lnTo>
                <a:lnTo>
                  <a:pt x="300" y="102"/>
                </a:lnTo>
                <a:lnTo>
                  <a:pt x="294" y="102"/>
                </a:lnTo>
                <a:lnTo>
                  <a:pt x="294" y="102"/>
                </a:lnTo>
                <a:lnTo>
                  <a:pt x="294" y="102"/>
                </a:lnTo>
                <a:lnTo>
                  <a:pt x="294" y="102"/>
                </a:lnTo>
                <a:lnTo>
                  <a:pt x="294" y="108"/>
                </a:lnTo>
                <a:lnTo>
                  <a:pt x="288" y="108"/>
                </a:lnTo>
                <a:lnTo>
                  <a:pt x="294" y="108"/>
                </a:lnTo>
                <a:lnTo>
                  <a:pt x="288" y="108"/>
                </a:lnTo>
                <a:lnTo>
                  <a:pt x="288" y="108"/>
                </a:lnTo>
                <a:lnTo>
                  <a:pt x="288" y="108"/>
                </a:lnTo>
                <a:lnTo>
                  <a:pt x="288" y="108"/>
                </a:lnTo>
                <a:lnTo>
                  <a:pt x="288" y="108"/>
                </a:lnTo>
                <a:lnTo>
                  <a:pt x="288" y="108"/>
                </a:lnTo>
                <a:lnTo>
                  <a:pt x="282" y="108"/>
                </a:lnTo>
                <a:lnTo>
                  <a:pt x="282" y="108"/>
                </a:lnTo>
                <a:lnTo>
                  <a:pt x="282" y="108"/>
                </a:lnTo>
                <a:lnTo>
                  <a:pt x="282" y="108"/>
                </a:lnTo>
                <a:lnTo>
                  <a:pt x="282" y="102"/>
                </a:lnTo>
                <a:lnTo>
                  <a:pt x="276" y="102"/>
                </a:lnTo>
                <a:lnTo>
                  <a:pt x="276" y="102"/>
                </a:lnTo>
                <a:lnTo>
                  <a:pt x="276" y="108"/>
                </a:lnTo>
                <a:lnTo>
                  <a:pt x="270" y="108"/>
                </a:lnTo>
                <a:lnTo>
                  <a:pt x="270" y="108"/>
                </a:lnTo>
                <a:lnTo>
                  <a:pt x="270" y="114"/>
                </a:lnTo>
                <a:lnTo>
                  <a:pt x="270" y="114"/>
                </a:lnTo>
                <a:lnTo>
                  <a:pt x="270" y="114"/>
                </a:lnTo>
                <a:lnTo>
                  <a:pt x="270" y="114"/>
                </a:lnTo>
                <a:lnTo>
                  <a:pt x="270" y="114"/>
                </a:lnTo>
                <a:lnTo>
                  <a:pt x="270" y="114"/>
                </a:lnTo>
                <a:lnTo>
                  <a:pt x="270" y="114"/>
                </a:lnTo>
                <a:lnTo>
                  <a:pt x="276" y="114"/>
                </a:lnTo>
                <a:lnTo>
                  <a:pt x="276" y="114"/>
                </a:lnTo>
                <a:lnTo>
                  <a:pt x="276" y="114"/>
                </a:lnTo>
                <a:lnTo>
                  <a:pt x="276" y="120"/>
                </a:lnTo>
                <a:lnTo>
                  <a:pt x="282" y="120"/>
                </a:lnTo>
                <a:lnTo>
                  <a:pt x="282" y="120"/>
                </a:lnTo>
                <a:lnTo>
                  <a:pt x="282" y="120"/>
                </a:lnTo>
                <a:lnTo>
                  <a:pt x="282" y="120"/>
                </a:lnTo>
                <a:lnTo>
                  <a:pt x="282" y="120"/>
                </a:lnTo>
                <a:lnTo>
                  <a:pt x="288" y="126"/>
                </a:lnTo>
                <a:lnTo>
                  <a:pt x="288" y="126"/>
                </a:lnTo>
                <a:lnTo>
                  <a:pt x="288" y="126"/>
                </a:lnTo>
                <a:lnTo>
                  <a:pt x="288" y="126"/>
                </a:lnTo>
                <a:lnTo>
                  <a:pt x="288" y="132"/>
                </a:lnTo>
                <a:lnTo>
                  <a:pt x="288" y="132"/>
                </a:lnTo>
                <a:lnTo>
                  <a:pt x="288" y="132"/>
                </a:lnTo>
                <a:lnTo>
                  <a:pt x="288" y="132"/>
                </a:lnTo>
                <a:lnTo>
                  <a:pt x="294" y="132"/>
                </a:lnTo>
                <a:lnTo>
                  <a:pt x="294" y="132"/>
                </a:lnTo>
                <a:lnTo>
                  <a:pt x="294" y="132"/>
                </a:lnTo>
                <a:lnTo>
                  <a:pt x="294" y="132"/>
                </a:lnTo>
                <a:lnTo>
                  <a:pt x="300" y="132"/>
                </a:lnTo>
                <a:lnTo>
                  <a:pt x="300" y="132"/>
                </a:lnTo>
                <a:lnTo>
                  <a:pt x="300" y="132"/>
                </a:lnTo>
                <a:lnTo>
                  <a:pt x="300" y="138"/>
                </a:lnTo>
                <a:lnTo>
                  <a:pt x="300" y="138"/>
                </a:lnTo>
                <a:lnTo>
                  <a:pt x="300" y="138"/>
                </a:lnTo>
                <a:lnTo>
                  <a:pt x="300" y="138"/>
                </a:lnTo>
                <a:lnTo>
                  <a:pt x="300" y="144"/>
                </a:lnTo>
                <a:lnTo>
                  <a:pt x="300" y="144"/>
                </a:lnTo>
                <a:lnTo>
                  <a:pt x="300" y="144"/>
                </a:lnTo>
                <a:lnTo>
                  <a:pt x="294" y="144"/>
                </a:lnTo>
                <a:lnTo>
                  <a:pt x="294" y="144"/>
                </a:lnTo>
                <a:lnTo>
                  <a:pt x="294" y="150"/>
                </a:lnTo>
                <a:lnTo>
                  <a:pt x="294" y="150"/>
                </a:lnTo>
                <a:lnTo>
                  <a:pt x="300" y="150"/>
                </a:lnTo>
                <a:lnTo>
                  <a:pt x="300" y="150"/>
                </a:lnTo>
                <a:lnTo>
                  <a:pt x="300" y="150"/>
                </a:lnTo>
                <a:lnTo>
                  <a:pt x="300" y="150"/>
                </a:lnTo>
                <a:lnTo>
                  <a:pt x="300" y="156"/>
                </a:lnTo>
                <a:lnTo>
                  <a:pt x="300" y="156"/>
                </a:lnTo>
                <a:lnTo>
                  <a:pt x="300" y="156"/>
                </a:lnTo>
                <a:lnTo>
                  <a:pt x="300" y="156"/>
                </a:lnTo>
                <a:lnTo>
                  <a:pt x="300" y="162"/>
                </a:lnTo>
                <a:lnTo>
                  <a:pt x="300" y="162"/>
                </a:lnTo>
                <a:lnTo>
                  <a:pt x="300" y="168"/>
                </a:lnTo>
                <a:lnTo>
                  <a:pt x="300" y="168"/>
                </a:lnTo>
                <a:lnTo>
                  <a:pt x="294" y="168"/>
                </a:lnTo>
                <a:lnTo>
                  <a:pt x="300" y="174"/>
                </a:lnTo>
                <a:lnTo>
                  <a:pt x="300" y="174"/>
                </a:lnTo>
                <a:lnTo>
                  <a:pt x="300" y="174"/>
                </a:lnTo>
                <a:lnTo>
                  <a:pt x="300" y="174"/>
                </a:lnTo>
                <a:lnTo>
                  <a:pt x="300" y="180"/>
                </a:lnTo>
                <a:lnTo>
                  <a:pt x="300" y="180"/>
                </a:lnTo>
                <a:lnTo>
                  <a:pt x="306" y="186"/>
                </a:lnTo>
                <a:lnTo>
                  <a:pt x="300" y="186"/>
                </a:lnTo>
                <a:lnTo>
                  <a:pt x="306" y="186"/>
                </a:lnTo>
                <a:lnTo>
                  <a:pt x="306" y="192"/>
                </a:lnTo>
                <a:lnTo>
                  <a:pt x="306" y="192"/>
                </a:lnTo>
                <a:lnTo>
                  <a:pt x="306" y="192"/>
                </a:lnTo>
                <a:lnTo>
                  <a:pt x="306" y="192"/>
                </a:lnTo>
                <a:lnTo>
                  <a:pt x="306" y="192"/>
                </a:lnTo>
                <a:lnTo>
                  <a:pt x="306" y="192"/>
                </a:lnTo>
                <a:lnTo>
                  <a:pt x="306" y="192"/>
                </a:lnTo>
                <a:lnTo>
                  <a:pt x="312" y="192"/>
                </a:lnTo>
                <a:lnTo>
                  <a:pt x="312" y="198"/>
                </a:lnTo>
                <a:lnTo>
                  <a:pt x="312" y="198"/>
                </a:lnTo>
                <a:lnTo>
                  <a:pt x="312" y="198"/>
                </a:lnTo>
                <a:lnTo>
                  <a:pt x="312" y="198"/>
                </a:lnTo>
                <a:lnTo>
                  <a:pt x="312" y="198"/>
                </a:lnTo>
                <a:lnTo>
                  <a:pt x="312" y="204"/>
                </a:lnTo>
                <a:lnTo>
                  <a:pt x="318" y="198"/>
                </a:lnTo>
                <a:lnTo>
                  <a:pt x="318" y="204"/>
                </a:lnTo>
                <a:lnTo>
                  <a:pt x="324" y="204"/>
                </a:lnTo>
                <a:lnTo>
                  <a:pt x="330" y="204"/>
                </a:lnTo>
                <a:lnTo>
                  <a:pt x="330" y="204"/>
                </a:lnTo>
                <a:lnTo>
                  <a:pt x="330" y="210"/>
                </a:lnTo>
                <a:lnTo>
                  <a:pt x="330" y="210"/>
                </a:lnTo>
                <a:lnTo>
                  <a:pt x="336" y="210"/>
                </a:lnTo>
                <a:lnTo>
                  <a:pt x="336" y="210"/>
                </a:lnTo>
                <a:lnTo>
                  <a:pt x="336" y="216"/>
                </a:lnTo>
                <a:lnTo>
                  <a:pt x="336" y="216"/>
                </a:lnTo>
                <a:lnTo>
                  <a:pt x="336" y="216"/>
                </a:lnTo>
                <a:lnTo>
                  <a:pt x="336" y="216"/>
                </a:lnTo>
                <a:lnTo>
                  <a:pt x="336" y="222"/>
                </a:lnTo>
                <a:lnTo>
                  <a:pt x="336" y="222"/>
                </a:lnTo>
                <a:lnTo>
                  <a:pt x="336" y="222"/>
                </a:lnTo>
                <a:lnTo>
                  <a:pt x="336" y="228"/>
                </a:lnTo>
                <a:lnTo>
                  <a:pt x="336" y="228"/>
                </a:lnTo>
                <a:lnTo>
                  <a:pt x="336" y="228"/>
                </a:lnTo>
                <a:lnTo>
                  <a:pt x="336" y="228"/>
                </a:lnTo>
                <a:lnTo>
                  <a:pt x="342" y="234"/>
                </a:lnTo>
                <a:lnTo>
                  <a:pt x="342" y="234"/>
                </a:lnTo>
                <a:lnTo>
                  <a:pt x="342" y="234"/>
                </a:lnTo>
                <a:lnTo>
                  <a:pt x="348" y="234"/>
                </a:lnTo>
                <a:lnTo>
                  <a:pt x="348" y="234"/>
                </a:lnTo>
                <a:lnTo>
                  <a:pt x="348" y="234"/>
                </a:lnTo>
                <a:lnTo>
                  <a:pt x="348" y="234"/>
                </a:lnTo>
                <a:lnTo>
                  <a:pt x="348" y="234"/>
                </a:lnTo>
                <a:lnTo>
                  <a:pt x="348" y="240"/>
                </a:lnTo>
                <a:lnTo>
                  <a:pt x="348" y="240"/>
                </a:lnTo>
                <a:lnTo>
                  <a:pt x="354" y="240"/>
                </a:lnTo>
                <a:lnTo>
                  <a:pt x="354" y="240"/>
                </a:lnTo>
                <a:lnTo>
                  <a:pt x="354" y="240"/>
                </a:lnTo>
                <a:lnTo>
                  <a:pt x="354" y="240"/>
                </a:lnTo>
                <a:lnTo>
                  <a:pt x="354" y="240"/>
                </a:lnTo>
                <a:lnTo>
                  <a:pt x="354" y="240"/>
                </a:lnTo>
                <a:lnTo>
                  <a:pt x="354" y="240"/>
                </a:lnTo>
                <a:lnTo>
                  <a:pt x="360" y="240"/>
                </a:lnTo>
                <a:lnTo>
                  <a:pt x="360" y="240"/>
                </a:lnTo>
                <a:lnTo>
                  <a:pt x="360" y="240"/>
                </a:lnTo>
                <a:lnTo>
                  <a:pt x="360" y="240"/>
                </a:lnTo>
                <a:lnTo>
                  <a:pt x="360" y="240"/>
                </a:lnTo>
                <a:lnTo>
                  <a:pt x="366" y="246"/>
                </a:lnTo>
                <a:lnTo>
                  <a:pt x="366" y="246"/>
                </a:lnTo>
                <a:lnTo>
                  <a:pt x="366" y="246"/>
                </a:lnTo>
                <a:lnTo>
                  <a:pt x="372" y="246"/>
                </a:lnTo>
                <a:lnTo>
                  <a:pt x="372" y="252"/>
                </a:lnTo>
                <a:lnTo>
                  <a:pt x="378" y="252"/>
                </a:lnTo>
                <a:lnTo>
                  <a:pt x="378" y="252"/>
                </a:lnTo>
                <a:lnTo>
                  <a:pt x="378" y="252"/>
                </a:lnTo>
                <a:lnTo>
                  <a:pt x="378" y="252"/>
                </a:lnTo>
                <a:lnTo>
                  <a:pt x="384" y="252"/>
                </a:lnTo>
                <a:lnTo>
                  <a:pt x="378" y="252"/>
                </a:lnTo>
                <a:lnTo>
                  <a:pt x="384" y="258"/>
                </a:lnTo>
                <a:lnTo>
                  <a:pt x="384" y="258"/>
                </a:lnTo>
                <a:lnTo>
                  <a:pt x="384" y="258"/>
                </a:lnTo>
                <a:lnTo>
                  <a:pt x="384" y="258"/>
                </a:lnTo>
                <a:lnTo>
                  <a:pt x="384" y="258"/>
                </a:lnTo>
                <a:lnTo>
                  <a:pt x="384" y="264"/>
                </a:lnTo>
                <a:lnTo>
                  <a:pt x="384" y="264"/>
                </a:lnTo>
                <a:lnTo>
                  <a:pt x="390" y="264"/>
                </a:lnTo>
                <a:lnTo>
                  <a:pt x="390" y="264"/>
                </a:lnTo>
                <a:lnTo>
                  <a:pt x="390" y="264"/>
                </a:lnTo>
                <a:lnTo>
                  <a:pt x="390" y="264"/>
                </a:lnTo>
                <a:lnTo>
                  <a:pt x="390" y="270"/>
                </a:lnTo>
                <a:lnTo>
                  <a:pt x="396" y="270"/>
                </a:lnTo>
                <a:lnTo>
                  <a:pt x="396" y="270"/>
                </a:lnTo>
                <a:lnTo>
                  <a:pt x="396" y="270"/>
                </a:lnTo>
                <a:lnTo>
                  <a:pt x="402" y="270"/>
                </a:lnTo>
                <a:lnTo>
                  <a:pt x="402" y="270"/>
                </a:lnTo>
                <a:lnTo>
                  <a:pt x="402" y="270"/>
                </a:lnTo>
                <a:lnTo>
                  <a:pt x="402" y="276"/>
                </a:lnTo>
                <a:lnTo>
                  <a:pt x="402" y="276"/>
                </a:lnTo>
                <a:lnTo>
                  <a:pt x="402" y="276"/>
                </a:lnTo>
                <a:lnTo>
                  <a:pt x="402" y="276"/>
                </a:lnTo>
                <a:lnTo>
                  <a:pt x="402" y="282"/>
                </a:lnTo>
                <a:lnTo>
                  <a:pt x="396" y="282"/>
                </a:lnTo>
                <a:lnTo>
                  <a:pt x="402" y="282"/>
                </a:lnTo>
                <a:lnTo>
                  <a:pt x="402" y="282"/>
                </a:lnTo>
                <a:lnTo>
                  <a:pt x="402" y="282"/>
                </a:lnTo>
                <a:lnTo>
                  <a:pt x="402" y="288"/>
                </a:lnTo>
                <a:lnTo>
                  <a:pt x="402" y="288"/>
                </a:lnTo>
                <a:lnTo>
                  <a:pt x="402" y="288"/>
                </a:lnTo>
                <a:lnTo>
                  <a:pt x="402" y="288"/>
                </a:lnTo>
                <a:lnTo>
                  <a:pt x="402" y="294"/>
                </a:lnTo>
                <a:lnTo>
                  <a:pt x="402" y="294"/>
                </a:lnTo>
                <a:lnTo>
                  <a:pt x="402" y="294"/>
                </a:lnTo>
                <a:lnTo>
                  <a:pt x="402" y="294"/>
                </a:lnTo>
                <a:lnTo>
                  <a:pt x="402" y="294"/>
                </a:lnTo>
                <a:lnTo>
                  <a:pt x="402" y="294"/>
                </a:lnTo>
                <a:lnTo>
                  <a:pt x="402" y="294"/>
                </a:lnTo>
                <a:lnTo>
                  <a:pt x="402" y="294"/>
                </a:lnTo>
                <a:lnTo>
                  <a:pt x="402" y="300"/>
                </a:lnTo>
                <a:lnTo>
                  <a:pt x="402" y="300"/>
                </a:lnTo>
                <a:lnTo>
                  <a:pt x="402" y="300"/>
                </a:lnTo>
                <a:lnTo>
                  <a:pt x="402" y="300"/>
                </a:lnTo>
                <a:lnTo>
                  <a:pt x="402" y="300"/>
                </a:lnTo>
                <a:lnTo>
                  <a:pt x="408" y="300"/>
                </a:lnTo>
                <a:lnTo>
                  <a:pt x="408" y="306"/>
                </a:lnTo>
                <a:lnTo>
                  <a:pt x="408" y="306"/>
                </a:lnTo>
                <a:lnTo>
                  <a:pt x="402" y="306"/>
                </a:lnTo>
                <a:lnTo>
                  <a:pt x="408" y="306"/>
                </a:lnTo>
                <a:lnTo>
                  <a:pt x="402" y="306"/>
                </a:lnTo>
                <a:lnTo>
                  <a:pt x="402" y="306"/>
                </a:lnTo>
                <a:lnTo>
                  <a:pt x="402" y="306"/>
                </a:lnTo>
                <a:lnTo>
                  <a:pt x="402" y="312"/>
                </a:lnTo>
                <a:lnTo>
                  <a:pt x="402" y="312"/>
                </a:lnTo>
                <a:lnTo>
                  <a:pt x="402" y="312"/>
                </a:lnTo>
                <a:lnTo>
                  <a:pt x="402" y="312"/>
                </a:lnTo>
                <a:lnTo>
                  <a:pt x="402" y="312"/>
                </a:lnTo>
                <a:lnTo>
                  <a:pt x="402" y="312"/>
                </a:lnTo>
                <a:lnTo>
                  <a:pt x="402" y="318"/>
                </a:lnTo>
                <a:lnTo>
                  <a:pt x="408" y="318"/>
                </a:lnTo>
                <a:lnTo>
                  <a:pt x="408" y="318"/>
                </a:lnTo>
                <a:lnTo>
                  <a:pt x="408" y="324"/>
                </a:lnTo>
                <a:lnTo>
                  <a:pt x="408" y="324"/>
                </a:lnTo>
                <a:lnTo>
                  <a:pt x="408" y="324"/>
                </a:lnTo>
                <a:lnTo>
                  <a:pt x="408" y="324"/>
                </a:lnTo>
                <a:lnTo>
                  <a:pt x="408" y="324"/>
                </a:lnTo>
                <a:lnTo>
                  <a:pt x="402" y="324"/>
                </a:lnTo>
                <a:lnTo>
                  <a:pt x="402" y="324"/>
                </a:lnTo>
                <a:lnTo>
                  <a:pt x="402" y="324"/>
                </a:lnTo>
                <a:lnTo>
                  <a:pt x="402" y="324"/>
                </a:lnTo>
                <a:lnTo>
                  <a:pt x="402" y="330"/>
                </a:lnTo>
                <a:lnTo>
                  <a:pt x="396" y="330"/>
                </a:lnTo>
                <a:lnTo>
                  <a:pt x="396" y="330"/>
                </a:lnTo>
                <a:lnTo>
                  <a:pt x="390" y="330"/>
                </a:lnTo>
                <a:lnTo>
                  <a:pt x="390" y="336"/>
                </a:lnTo>
                <a:lnTo>
                  <a:pt x="390" y="336"/>
                </a:lnTo>
                <a:lnTo>
                  <a:pt x="390" y="336"/>
                </a:lnTo>
                <a:lnTo>
                  <a:pt x="384" y="336"/>
                </a:lnTo>
                <a:lnTo>
                  <a:pt x="384" y="336"/>
                </a:lnTo>
                <a:lnTo>
                  <a:pt x="384" y="342"/>
                </a:lnTo>
                <a:lnTo>
                  <a:pt x="384" y="342"/>
                </a:lnTo>
                <a:lnTo>
                  <a:pt x="384" y="342"/>
                </a:lnTo>
                <a:lnTo>
                  <a:pt x="384" y="342"/>
                </a:lnTo>
                <a:lnTo>
                  <a:pt x="384" y="342"/>
                </a:lnTo>
                <a:lnTo>
                  <a:pt x="378" y="342"/>
                </a:lnTo>
                <a:lnTo>
                  <a:pt x="378" y="348"/>
                </a:lnTo>
                <a:lnTo>
                  <a:pt x="378" y="348"/>
                </a:lnTo>
                <a:lnTo>
                  <a:pt x="378" y="348"/>
                </a:lnTo>
                <a:lnTo>
                  <a:pt x="378" y="348"/>
                </a:lnTo>
                <a:lnTo>
                  <a:pt x="378" y="354"/>
                </a:lnTo>
                <a:lnTo>
                  <a:pt x="378" y="354"/>
                </a:lnTo>
                <a:lnTo>
                  <a:pt x="378" y="354"/>
                </a:lnTo>
                <a:lnTo>
                  <a:pt x="378" y="354"/>
                </a:lnTo>
                <a:lnTo>
                  <a:pt x="372" y="354"/>
                </a:lnTo>
                <a:lnTo>
                  <a:pt x="372" y="354"/>
                </a:lnTo>
                <a:lnTo>
                  <a:pt x="372" y="354"/>
                </a:lnTo>
                <a:lnTo>
                  <a:pt x="372" y="354"/>
                </a:lnTo>
                <a:lnTo>
                  <a:pt x="372" y="354"/>
                </a:lnTo>
                <a:lnTo>
                  <a:pt x="378" y="354"/>
                </a:lnTo>
                <a:lnTo>
                  <a:pt x="378" y="354"/>
                </a:lnTo>
                <a:lnTo>
                  <a:pt x="378" y="354"/>
                </a:lnTo>
                <a:lnTo>
                  <a:pt x="378" y="360"/>
                </a:lnTo>
                <a:lnTo>
                  <a:pt x="384" y="366"/>
                </a:lnTo>
                <a:lnTo>
                  <a:pt x="384" y="366"/>
                </a:lnTo>
                <a:lnTo>
                  <a:pt x="384" y="366"/>
                </a:lnTo>
                <a:lnTo>
                  <a:pt x="384" y="366"/>
                </a:lnTo>
                <a:lnTo>
                  <a:pt x="384" y="366"/>
                </a:lnTo>
                <a:lnTo>
                  <a:pt x="384" y="366"/>
                </a:lnTo>
                <a:lnTo>
                  <a:pt x="384" y="366"/>
                </a:lnTo>
                <a:lnTo>
                  <a:pt x="384" y="366"/>
                </a:lnTo>
                <a:lnTo>
                  <a:pt x="384" y="372"/>
                </a:lnTo>
                <a:lnTo>
                  <a:pt x="384" y="372"/>
                </a:lnTo>
                <a:lnTo>
                  <a:pt x="384" y="372"/>
                </a:lnTo>
                <a:lnTo>
                  <a:pt x="384" y="372"/>
                </a:lnTo>
                <a:lnTo>
                  <a:pt x="384" y="378"/>
                </a:lnTo>
                <a:lnTo>
                  <a:pt x="384" y="378"/>
                </a:lnTo>
                <a:lnTo>
                  <a:pt x="384" y="384"/>
                </a:lnTo>
                <a:lnTo>
                  <a:pt x="378" y="384"/>
                </a:lnTo>
                <a:lnTo>
                  <a:pt x="378" y="384"/>
                </a:lnTo>
                <a:lnTo>
                  <a:pt x="378" y="384"/>
                </a:lnTo>
                <a:lnTo>
                  <a:pt x="378" y="384"/>
                </a:lnTo>
                <a:lnTo>
                  <a:pt x="378" y="390"/>
                </a:lnTo>
                <a:lnTo>
                  <a:pt x="378" y="390"/>
                </a:lnTo>
                <a:lnTo>
                  <a:pt x="378" y="390"/>
                </a:lnTo>
                <a:lnTo>
                  <a:pt x="378" y="390"/>
                </a:lnTo>
                <a:lnTo>
                  <a:pt x="372" y="396"/>
                </a:lnTo>
                <a:lnTo>
                  <a:pt x="372" y="396"/>
                </a:lnTo>
                <a:lnTo>
                  <a:pt x="372" y="396"/>
                </a:lnTo>
                <a:lnTo>
                  <a:pt x="366" y="396"/>
                </a:lnTo>
                <a:lnTo>
                  <a:pt x="366" y="396"/>
                </a:lnTo>
                <a:lnTo>
                  <a:pt x="366" y="396"/>
                </a:lnTo>
                <a:lnTo>
                  <a:pt x="366" y="402"/>
                </a:lnTo>
                <a:lnTo>
                  <a:pt x="366" y="402"/>
                </a:lnTo>
                <a:lnTo>
                  <a:pt x="366" y="402"/>
                </a:lnTo>
                <a:lnTo>
                  <a:pt x="360" y="402"/>
                </a:lnTo>
                <a:lnTo>
                  <a:pt x="360" y="402"/>
                </a:lnTo>
                <a:lnTo>
                  <a:pt x="360" y="402"/>
                </a:lnTo>
                <a:lnTo>
                  <a:pt x="360" y="402"/>
                </a:lnTo>
                <a:lnTo>
                  <a:pt x="360" y="402"/>
                </a:lnTo>
                <a:lnTo>
                  <a:pt x="354" y="402"/>
                </a:lnTo>
                <a:lnTo>
                  <a:pt x="354" y="408"/>
                </a:lnTo>
                <a:lnTo>
                  <a:pt x="354" y="408"/>
                </a:lnTo>
                <a:lnTo>
                  <a:pt x="354" y="408"/>
                </a:lnTo>
                <a:lnTo>
                  <a:pt x="354" y="408"/>
                </a:lnTo>
                <a:lnTo>
                  <a:pt x="354" y="408"/>
                </a:lnTo>
                <a:lnTo>
                  <a:pt x="354" y="408"/>
                </a:lnTo>
                <a:lnTo>
                  <a:pt x="354" y="414"/>
                </a:lnTo>
                <a:lnTo>
                  <a:pt x="354" y="414"/>
                </a:lnTo>
                <a:lnTo>
                  <a:pt x="348" y="414"/>
                </a:lnTo>
                <a:lnTo>
                  <a:pt x="348" y="414"/>
                </a:lnTo>
                <a:lnTo>
                  <a:pt x="348" y="408"/>
                </a:lnTo>
                <a:lnTo>
                  <a:pt x="348" y="408"/>
                </a:lnTo>
                <a:lnTo>
                  <a:pt x="348" y="408"/>
                </a:lnTo>
                <a:lnTo>
                  <a:pt x="348" y="408"/>
                </a:lnTo>
                <a:lnTo>
                  <a:pt x="348" y="408"/>
                </a:lnTo>
                <a:lnTo>
                  <a:pt x="342" y="408"/>
                </a:lnTo>
                <a:lnTo>
                  <a:pt x="342" y="408"/>
                </a:lnTo>
                <a:lnTo>
                  <a:pt x="342" y="408"/>
                </a:lnTo>
                <a:lnTo>
                  <a:pt x="342" y="408"/>
                </a:lnTo>
                <a:lnTo>
                  <a:pt x="342" y="414"/>
                </a:lnTo>
                <a:lnTo>
                  <a:pt x="342" y="414"/>
                </a:lnTo>
                <a:lnTo>
                  <a:pt x="342" y="414"/>
                </a:lnTo>
                <a:lnTo>
                  <a:pt x="342" y="414"/>
                </a:lnTo>
                <a:lnTo>
                  <a:pt x="342" y="414"/>
                </a:lnTo>
                <a:lnTo>
                  <a:pt x="336" y="414"/>
                </a:lnTo>
                <a:lnTo>
                  <a:pt x="336" y="414"/>
                </a:lnTo>
                <a:lnTo>
                  <a:pt x="336" y="414"/>
                </a:lnTo>
                <a:lnTo>
                  <a:pt x="336" y="420"/>
                </a:lnTo>
                <a:lnTo>
                  <a:pt x="336" y="420"/>
                </a:lnTo>
                <a:lnTo>
                  <a:pt x="336" y="420"/>
                </a:lnTo>
                <a:lnTo>
                  <a:pt x="336" y="420"/>
                </a:lnTo>
                <a:lnTo>
                  <a:pt x="336" y="426"/>
                </a:lnTo>
                <a:lnTo>
                  <a:pt x="336" y="426"/>
                </a:lnTo>
                <a:lnTo>
                  <a:pt x="330" y="426"/>
                </a:lnTo>
                <a:lnTo>
                  <a:pt x="330" y="432"/>
                </a:lnTo>
                <a:lnTo>
                  <a:pt x="330" y="432"/>
                </a:lnTo>
                <a:lnTo>
                  <a:pt x="330" y="438"/>
                </a:lnTo>
                <a:lnTo>
                  <a:pt x="330" y="438"/>
                </a:lnTo>
                <a:lnTo>
                  <a:pt x="330" y="432"/>
                </a:lnTo>
                <a:lnTo>
                  <a:pt x="330" y="438"/>
                </a:lnTo>
                <a:lnTo>
                  <a:pt x="330" y="438"/>
                </a:lnTo>
                <a:lnTo>
                  <a:pt x="330" y="438"/>
                </a:lnTo>
                <a:lnTo>
                  <a:pt x="330" y="438"/>
                </a:lnTo>
                <a:lnTo>
                  <a:pt x="330" y="438"/>
                </a:lnTo>
                <a:lnTo>
                  <a:pt x="330" y="444"/>
                </a:lnTo>
                <a:lnTo>
                  <a:pt x="330" y="444"/>
                </a:lnTo>
                <a:lnTo>
                  <a:pt x="324" y="450"/>
                </a:lnTo>
                <a:lnTo>
                  <a:pt x="324" y="450"/>
                </a:lnTo>
                <a:lnTo>
                  <a:pt x="324" y="450"/>
                </a:lnTo>
                <a:lnTo>
                  <a:pt x="324" y="450"/>
                </a:lnTo>
                <a:lnTo>
                  <a:pt x="318" y="450"/>
                </a:lnTo>
                <a:lnTo>
                  <a:pt x="318" y="450"/>
                </a:lnTo>
                <a:lnTo>
                  <a:pt x="318" y="450"/>
                </a:lnTo>
                <a:lnTo>
                  <a:pt x="318" y="456"/>
                </a:lnTo>
                <a:lnTo>
                  <a:pt x="318" y="456"/>
                </a:lnTo>
                <a:lnTo>
                  <a:pt x="318" y="456"/>
                </a:lnTo>
                <a:lnTo>
                  <a:pt x="312" y="456"/>
                </a:lnTo>
                <a:lnTo>
                  <a:pt x="318" y="462"/>
                </a:lnTo>
                <a:lnTo>
                  <a:pt x="318" y="462"/>
                </a:lnTo>
                <a:lnTo>
                  <a:pt x="318" y="462"/>
                </a:lnTo>
                <a:lnTo>
                  <a:pt x="318" y="468"/>
                </a:lnTo>
                <a:lnTo>
                  <a:pt x="318" y="468"/>
                </a:lnTo>
                <a:lnTo>
                  <a:pt x="318" y="468"/>
                </a:lnTo>
                <a:lnTo>
                  <a:pt x="318" y="474"/>
                </a:lnTo>
                <a:lnTo>
                  <a:pt x="318" y="480"/>
                </a:lnTo>
                <a:lnTo>
                  <a:pt x="318" y="480"/>
                </a:lnTo>
                <a:lnTo>
                  <a:pt x="318" y="480"/>
                </a:lnTo>
                <a:lnTo>
                  <a:pt x="312" y="480"/>
                </a:lnTo>
                <a:lnTo>
                  <a:pt x="312" y="486"/>
                </a:lnTo>
                <a:lnTo>
                  <a:pt x="312" y="486"/>
                </a:lnTo>
                <a:lnTo>
                  <a:pt x="312" y="486"/>
                </a:lnTo>
                <a:lnTo>
                  <a:pt x="312" y="486"/>
                </a:lnTo>
                <a:lnTo>
                  <a:pt x="306" y="486"/>
                </a:lnTo>
                <a:lnTo>
                  <a:pt x="306" y="486"/>
                </a:lnTo>
                <a:lnTo>
                  <a:pt x="306" y="492"/>
                </a:lnTo>
                <a:lnTo>
                  <a:pt x="306" y="492"/>
                </a:lnTo>
                <a:lnTo>
                  <a:pt x="312" y="492"/>
                </a:lnTo>
                <a:lnTo>
                  <a:pt x="312" y="492"/>
                </a:lnTo>
                <a:lnTo>
                  <a:pt x="312" y="492"/>
                </a:lnTo>
                <a:lnTo>
                  <a:pt x="312" y="498"/>
                </a:lnTo>
                <a:lnTo>
                  <a:pt x="312" y="498"/>
                </a:lnTo>
                <a:lnTo>
                  <a:pt x="312" y="498"/>
                </a:lnTo>
                <a:lnTo>
                  <a:pt x="312" y="504"/>
                </a:lnTo>
                <a:lnTo>
                  <a:pt x="306" y="504"/>
                </a:lnTo>
                <a:lnTo>
                  <a:pt x="306" y="504"/>
                </a:lnTo>
                <a:lnTo>
                  <a:pt x="312" y="510"/>
                </a:lnTo>
                <a:lnTo>
                  <a:pt x="306" y="510"/>
                </a:lnTo>
                <a:lnTo>
                  <a:pt x="306" y="516"/>
                </a:lnTo>
                <a:lnTo>
                  <a:pt x="306" y="516"/>
                </a:lnTo>
                <a:lnTo>
                  <a:pt x="306" y="516"/>
                </a:lnTo>
                <a:lnTo>
                  <a:pt x="306" y="516"/>
                </a:lnTo>
                <a:lnTo>
                  <a:pt x="312" y="522"/>
                </a:lnTo>
                <a:lnTo>
                  <a:pt x="312" y="522"/>
                </a:lnTo>
                <a:lnTo>
                  <a:pt x="312" y="522"/>
                </a:lnTo>
                <a:lnTo>
                  <a:pt x="312" y="522"/>
                </a:lnTo>
                <a:lnTo>
                  <a:pt x="312" y="522"/>
                </a:lnTo>
                <a:lnTo>
                  <a:pt x="312" y="522"/>
                </a:lnTo>
                <a:lnTo>
                  <a:pt x="312" y="522"/>
                </a:lnTo>
                <a:lnTo>
                  <a:pt x="312" y="528"/>
                </a:lnTo>
                <a:lnTo>
                  <a:pt x="312" y="528"/>
                </a:lnTo>
                <a:lnTo>
                  <a:pt x="312" y="528"/>
                </a:lnTo>
                <a:lnTo>
                  <a:pt x="312" y="534"/>
                </a:lnTo>
                <a:lnTo>
                  <a:pt x="312" y="534"/>
                </a:lnTo>
                <a:lnTo>
                  <a:pt x="312" y="534"/>
                </a:lnTo>
                <a:lnTo>
                  <a:pt x="312" y="540"/>
                </a:lnTo>
                <a:lnTo>
                  <a:pt x="312" y="540"/>
                </a:lnTo>
                <a:lnTo>
                  <a:pt x="312" y="540"/>
                </a:lnTo>
                <a:lnTo>
                  <a:pt x="312" y="546"/>
                </a:lnTo>
                <a:lnTo>
                  <a:pt x="312" y="546"/>
                </a:lnTo>
                <a:lnTo>
                  <a:pt x="312" y="546"/>
                </a:lnTo>
                <a:lnTo>
                  <a:pt x="312" y="546"/>
                </a:lnTo>
                <a:lnTo>
                  <a:pt x="312" y="546"/>
                </a:lnTo>
                <a:lnTo>
                  <a:pt x="312" y="552"/>
                </a:lnTo>
                <a:lnTo>
                  <a:pt x="312" y="552"/>
                </a:lnTo>
                <a:lnTo>
                  <a:pt x="312" y="552"/>
                </a:lnTo>
                <a:lnTo>
                  <a:pt x="312" y="558"/>
                </a:lnTo>
                <a:lnTo>
                  <a:pt x="312" y="558"/>
                </a:lnTo>
                <a:lnTo>
                  <a:pt x="312" y="558"/>
                </a:lnTo>
                <a:lnTo>
                  <a:pt x="312" y="558"/>
                </a:lnTo>
                <a:lnTo>
                  <a:pt x="312" y="564"/>
                </a:lnTo>
                <a:lnTo>
                  <a:pt x="312" y="564"/>
                </a:lnTo>
                <a:lnTo>
                  <a:pt x="306" y="564"/>
                </a:lnTo>
                <a:lnTo>
                  <a:pt x="306" y="564"/>
                </a:lnTo>
                <a:lnTo>
                  <a:pt x="306" y="564"/>
                </a:lnTo>
                <a:lnTo>
                  <a:pt x="306" y="570"/>
                </a:lnTo>
                <a:lnTo>
                  <a:pt x="306" y="570"/>
                </a:lnTo>
                <a:lnTo>
                  <a:pt x="306" y="570"/>
                </a:lnTo>
                <a:lnTo>
                  <a:pt x="300" y="570"/>
                </a:lnTo>
                <a:lnTo>
                  <a:pt x="300" y="570"/>
                </a:lnTo>
                <a:lnTo>
                  <a:pt x="300" y="570"/>
                </a:lnTo>
                <a:lnTo>
                  <a:pt x="300" y="570"/>
                </a:lnTo>
                <a:lnTo>
                  <a:pt x="300" y="570"/>
                </a:lnTo>
                <a:lnTo>
                  <a:pt x="300" y="570"/>
                </a:lnTo>
                <a:lnTo>
                  <a:pt x="294" y="570"/>
                </a:lnTo>
                <a:lnTo>
                  <a:pt x="294" y="570"/>
                </a:lnTo>
                <a:lnTo>
                  <a:pt x="294" y="570"/>
                </a:lnTo>
                <a:lnTo>
                  <a:pt x="294" y="570"/>
                </a:lnTo>
                <a:lnTo>
                  <a:pt x="288" y="570"/>
                </a:lnTo>
                <a:lnTo>
                  <a:pt x="288" y="576"/>
                </a:lnTo>
                <a:lnTo>
                  <a:pt x="288" y="576"/>
                </a:lnTo>
                <a:lnTo>
                  <a:pt x="288" y="576"/>
                </a:lnTo>
                <a:lnTo>
                  <a:pt x="288" y="576"/>
                </a:lnTo>
                <a:lnTo>
                  <a:pt x="288" y="576"/>
                </a:lnTo>
                <a:lnTo>
                  <a:pt x="288" y="582"/>
                </a:lnTo>
                <a:lnTo>
                  <a:pt x="288" y="582"/>
                </a:lnTo>
                <a:lnTo>
                  <a:pt x="288" y="582"/>
                </a:lnTo>
                <a:lnTo>
                  <a:pt x="288" y="582"/>
                </a:lnTo>
                <a:lnTo>
                  <a:pt x="288" y="582"/>
                </a:lnTo>
                <a:lnTo>
                  <a:pt x="288" y="588"/>
                </a:lnTo>
                <a:lnTo>
                  <a:pt x="282" y="588"/>
                </a:lnTo>
                <a:lnTo>
                  <a:pt x="282" y="588"/>
                </a:lnTo>
                <a:lnTo>
                  <a:pt x="282" y="588"/>
                </a:lnTo>
                <a:lnTo>
                  <a:pt x="282" y="594"/>
                </a:lnTo>
                <a:lnTo>
                  <a:pt x="282" y="600"/>
                </a:lnTo>
                <a:lnTo>
                  <a:pt x="282" y="600"/>
                </a:lnTo>
                <a:lnTo>
                  <a:pt x="258" y="600"/>
                </a:lnTo>
                <a:lnTo>
                  <a:pt x="156" y="594"/>
                </a:lnTo>
                <a:lnTo>
                  <a:pt x="108" y="588"/>
                </a:lnTo>
                <a:lnTo>
                  <a:pt x="102" y="588"/>
                </a:lnTo>
                <a:lnTo>
                  <a:pt x="42" y="582"/>
                </a:lnTo>
                <a:lnTo>
                  <a:pt x="42" y="582"/>
                </a:lnTo>
                <a:lnTo>
                  <a:pt x="42" y="576"/>
                </a:lnTo>
                <a:lnTo>
                  <a:pt x="42" y="576"/>
                </a:lnTo>
                <a:lnTo>
                  <a:pt x="42" y="570"/>
                </a:lnTo>
                <a:lnTo>
                  <a:pt x="48" y="570"/>
                </a:lnTo>
                <a:lnTo>
                  <a:pt x="48" y="570"/>
                </a:lnTo>
                <a:lnTo>
                  <a:pt x="48" y="570"/>
                </a:lnTo>
                <a:lnTo>
                  <a:pt x="54" y="570"/>
                </a:lnTo>
                <a:lnTo>
                  <a:pt x="54" y="570"/>
                </a:lnTo>
                <a:lnTo>
                  <a:pt x="54" y="564"/>
                </a:lnTo>
                <a:lnTo>
                  <a:pt x="54" y="564"/>
                </a:lnTo>
                <a:lnTo>
                  <a:pt x="54" y="564"/>
                </a:lnTo>
                <a:lnTo>
                  <a:pt x="54" y="564"/>
                </a:lnTo>
                <a:lnTo>
                  <a:pt x="54" y="564"/>
                </a:lnTo>
                <a:lnTo>
                  <a:pt x="54" y="564"/>
                </a:lnTo>
                <a:lnTo>
                  <a:pt x="60" y="564"/>
                </a:lnTo>
                <a:lnTo>
                  <a:pt x="60" y="564"/>
                </a:lnTo>
                <a:lnTo>
                  <a:pt x="60" y="564"/>
                </a:lnTo>
                <a:lnTo>
                  <a:pt x="66" y="558"/>
                </a:lnTo>
                <a:lnTo>
                  <a:pt x="66" y="558"/>
                </a:lnTo>
                <a:lnTo>
                  <a:pt x="66" y="558"/>
                </a:lnTo>
                <a:lnTo>
                  <a:pt x="66" y="558"/>
                </a:lnTo>
                <a:lnTo>
                  <a:pt x="72" y="558"/>
                </a:lnTo>
                <a:lnTo>
                  <a:pt x="72" y="558"/>
                </a:lnTo>
                <a:lnTo>
                  <a:pt x="72" y="558"/>
                </a:lnTo>
                <a:lnTo>
                  <a:pt x="66" y="552"/>
                </a:lnTo>
                <a:lnTo>
                  <a:pt x="72" y="552"/>
                </a:lnTo>
                <a:lnTo>
                  <a:pt x="72" y="552"/>
                </a:lnTo>
                <a:lnTo>
                  <a:pt x="72" y="552"/>
                </a:lnTo>
                <a:lnTo>
                  <a:pt x="72" y="546"/>
                </a:lnTo>
                <a:lnTo>
                  <a:pt x="66" y="546"/>
                </a:lnTo>
                <a:lnTo>
                  <a:pt x="66" y="540"/>
                </a:lnTo>
                <a:lnTo>
                  <a:pt x="66" y="534"/>
                </a:lnTo>
                <a:lnTo>
                  <a:pt x="66" y="534"/>
                </a:lnTo>
                <a:lnTo>
                  <a:pt x="66" y="534"/>
                </a:lnTo>
                <a:lnTo>
                  <a:pt x="66" y="528"/>
                </a:lnTo>
                <a:lnTo>
                  <a:pt x="66" y="528"/>
                </a:lnTo>
                <a:lnTo>
                  <a:pt x="66" y="528"/>
                </a:lnTo>
                <a:lnTo>
                  <a:pt x="66" y="528"/>
                </a:lnTo>
                <a:lnTo>
                  <a:pt x="60" y="528"/>
                </a:lnTo>
                <a:lnTo>
                  <a:pt x="60" y="522"/>
                </a:lnTo>
                <a:lnTo>
                  <a:pt x="60" y="522"/>
                </a:lnTo>
                <a:lnTo>
                  <a:pt x="60" y="522"/>
                </a:lnTo>
                <a:lnTo>
                  <a:pt x="60" y="522"/>
                </a:lnTo>
                <a:lnTo>
                  <a:pt x="54" y="522"/>
                </a:lnTo>
                <a:lnTo>
                  <a:pt x="54" y="516"/>
                </a:lnTo>
                <a:lnTo>
                  <a:pt x="54" y="516"/>
                </a:lnTo>
                <a:lnTo>
                  <a:pt x="48" y="516"/>
                </a:lnTo>
                <a:lnTo>
                  <a:pt x="48" y="516"/>
                </a:lnTo>
                <a:lnTo>
                  <a:pt x="54" y="516"/>
                </a:lnTo>
                <a:lnTo>
                  <a:pt x="54" y="510"/>
                </a:lnTo>
                <a:lnTo>
                  <a:pt x="54" y="510"/>
                </a:lnTo>
                <a:lnTo>
                  <a:pt x="54" y="510"/>
                </a:lnTo>
                <a:lnTo>
                  <a:pt x="54" y="510"/>
                </a:lnTo>
                <a:lnTo>
                  <a:pt x="54" y="510"/>
                </a:lnTo>
                <a:lnTo>
                  <a:pt x="54" y="510"/>
                </a:lnTo>
                <a:lnTo>
                  <a:pt x="60" y="510"/>
                </a:lnTo>
                <a:lnTo>
                  <a:pt x="60" y="510"/>
                </a:lnTo>
                <a:lnTo>
                  <a:pt x="60" y="504"/>
                </a:lnTo>
                <a:lnTo>
                  <a:pt x="54" y="504"/>
                </a:lnTo>
                <a:lnTo>
                  <a:pt x="54" y="504"/>
                </a:lnTo>
                <a:lnTo>
                  <a:pt x="54" y="504"/>
                </a:lnTo>
                <a:lnTo>
                  <a:pt x="54" y="498"/>
                </a:lnTo>
                <a:lnTo>
                  <a:pt x="54" y="498"/>
                </a:lnTo>
                <a:lnTo>
                  <a:pt x="54" y="498"/>
                </a:lnTo>
                <a:lnTo>
                  <a:pt x="54" y="498"/>
                </a:lnTo>
                <a:lnTo>
                  <a:pt x="54" y="492"/>
                </a:lnTo>
                <a:lnTo>
                  <a:pt x="54" y="492"/>
                </a:lnTo>
                <a:lnTo>
                  <a:pt x="54" y="492"/>
                </a:lnTo>
                <a:lnTo>
                  <a:pt x="60" y="492"/>
                </a:lnTo>
                <a:lnTo>
                  <a:pt x="60" y="480"/>
                </a:lnTo>
                <a:lnTo>
                  <a:pt x="60" y="480"/>
                </a:lnTo>
                <a:lnTo>
                  <a:pt x="60" y="480"/>
                </a:lnTo>
                <a:lnTo>
                  <a:pt x="60" y="474"/>
                </a:lnTo>
                <a:lnTo>
                  <a:pt x="60" y="474"/>
                </a:lnTo>
                <a:lnTo>
                  <a:pt x="60" y="474"/>
                </a:lnTo>
                <a:lnTo>
                  <a:pt x="60" y="474"/>
                </a:lnTo>
                <a:lnTo>
                  <a:pt x="60" y="474"/>
                </a:lnTo>
                <a:lnTo>
                  <a:pt x="60" y="474"/>
                </a:lnTo>
                <a:lnTo>
                  <a:pt x="60" y="474"/>
                </a:lnTo>
                <a:lnTo>
                  <a:pt x="60" y="468"/>
                </a:lnTo>
                <a:lnTo>
                  <a:pt x="54" y="468"/>
                </a:lnTo>
                <a:lnTo>
                  <a:pt x="54" y="462"/>
                </a:lnTo>
                <a:lnTo>
                  <a:pt x="60" y="462"/>
                </a:lnTo>
                <a:lnTo>
                  <a:pt x="60" y="462"/>
                </a:lnTo>
                <a:lnTo>
                  <a:pt x="60" y="462"/>
                </a:lnTo>
                <a:lnTo>
                  <a:pt x="66" y="462"/>
                </a:lnTo>
                <a:lnTo>
                  <a:pt x="66" y="462"/>
                </a:lnTo>
                <a:lnTo>
                  <a:pt x="66" y="462"/>
                </a:lnTo>
                <a:lnTo>
                  <a:pt x="66" y="462"/>
                </a:lnTo>
                <a:lnTo>
                  <a:pt x="72" y="462"/>
                </a:lnTo>
                <a:lnTo>
                  <a:pt x="72" y="462"/>
                </a:lnTo>
                <a:lnTo>
                  <a:pt x="72" y="462"/>
                </a:lnTo>
                <a:lnTo>
                  <a:pt x="66" y="456"/>
                </a:lnTo>
                <a:lnTo>
                  <a:pt x="66" y="456"/>
                </a:lnTo>
                <a:lnTo>
                  <a:pt x="66" y="456"/>
                </a:lnTo>
                <a:lnTo>
                  <a:pt x="72" y="456"/>
                </a:lnTo>
                <a:lnTo>
                  <a:pt x="72" y="456"/>
                </a:lnTo>
                <a:lnTo>
                  <a:pt x="66" y="456"/>
                </a:lnTo>
                <a:lnTo>
                  <a:pt x="66" y="456"/>
                </a:lnTo>
                <a:lnTo>
                  <a:pt x="72" y="450"/>
                </a:lnTo>
                <a:lnTo>
                  <a:pt x="72" y="450"/>
                </a:lnTo>
                <a:lnTo>
                  <a:pt x="72" y="450"/>
                </a:lnTo>
                <a:lnTo>
                  <a:pt x="72" y="450"/>
                </a:lnTo>
                <a:lnTo>
                  <a:pt x="72" y="450"/>
                </a:lnTo>
                <a:lnTo>
                  <a:pt x="72" y="450"/>
                </a:lnTo>
                <a:lnTo>
                  <a:pt x="72" y="444"/>
                </a:lnTo>
                <a:lnTo>
                  <a:pt x="78" y="444"/>
                </a:lnTo>
                <a:lnTo>
                  <a:pt x="72" y="438"/>
                </a:lnTo>
                <a:lnTo>
                  <a:pt x="72" y="438"/>
                </a:lnTo>
                <a:lnTo>
                  <a:pt x="72" y="438"/>
                </a:lnTo>
                <a:lnTo>
                  <a:pt x="72" y="438"/>
                </a:lnTo>
                <a:lnTo>
                  <a:pt x="72" y="432"/>
                </a:lnTo>
                <a:lnTo>
                  <a:pt x="66" y="432"/>
                </a:lnTo>
                <a:lnTo>
                  <a:pt x="66" y="426"/>
                </a:lnTo>
                <a:lnTo>
                  <a:pt x="66" y="426"/>
                </a:lnTo>
                <a:lnTo>
                  <a:pt x="66" y="426"/>
                </a:lnTo>
                <a:lnTo>
                  <a:pt x="66" y="426"/>
                </a:lnTo>
                <a:lnTo>
                  <a:pt x="72" y="426"/>
                </a:lnTo>
                <a:lnTo>
                  <a:pt x="72" y="426"/>
                </a:lnTo>
                <a:lnTo>
                  <a:pt x="72" y="426"/>
                </a:lnTo>
                <a:lnTo>
                  <a:pt x="72" y="426"/>
                </a:lnTo>
                <a:lnTo>
                  <a:pt x="72" y="426"/>
                </a:lnTo>
                <a:lnTo>
                  <a:pt x="72" y="420"/>
                </a:lnTo>
                <a:lnTo>
                  <a:pt x="72" y="420"/>
                </a:lnTo>
                <a:lnTo>
                  <a:pt x="72" y="420"/>
                </a:lnTo>
                <a:lnTo>
                  <a:pt x="66" y="420"/>
                </a:lnTo>
                <a:lnTo>
                  <a:pt x="66" y="414"/>
                </a:lnTo>
                <a:lnTo>
                  <a:pt x="66" y="414"/>
                </a:lnTo>
                <a:lnTo>
                  <a:pt x="66" y="414"/>
                </a:lnTo>
                <a:lnTo>
                  <a:pt x="66" y="414"/>
                </a:lnTo>
                <a:lnTo>
                  <a:pt x="66" y="414"/>
                </a:lnTo>
                <a:lnTo>
                  <a:pt x="60" y="414"/>
                </a:lnTo>
                <a:lnTo>
                  <a:pt x="60" y="408"/>
                </a:lnTo>
                <a:lnTo>
                  <a:pt x="60" y="408"/>
                </a:lnTo>
                <a:lnTo>
                  <a:pt x="60" y="408"/>
                </a:lnTo>
                <a:lnTo>
                  <a:pt x="60" y="408"/>
                </a:lnTo>
                <a:lnTo>
                  <a:pt x="60" y="408"/>
                </a:lnTo>
                <a:lnTo>
                  <a:pt x="66" y="402"/>
                </a:lnTo>
                <a:lnTo>
                  <a:pt x="66" y="402"/>
                </a:lnTo>
                <a:lnTo>
                  <a:pt x="66" y="402"/>
                </a:lnTo>
                <a:lnTo>
                  <a:pt x="66" y="402"/>
                </a:lnTo>
                <a:lnTo>
                  <a:pt x="72" y="396"/>
                </a:lnTo>
                <a:lnTo>
                  <a:pt x="72" y="396"/>
                </a:lnTo>
                <a:lnTo>
                  <a:pt x="66" y="396"/>
                </a:lnTo>
                <a:lnTo>
                  <a:pt x="72" y="396"/>
                </a:lnTo>
                <a:lnTo>
                  <a:pt x="72" y="390"/>
                </a:lnTo>
                <a:lnTo>
                  <a:pt x="72" y="390"/>
                </a:lnTo>
                <a:lnTo>
                  <a:pt x="72" y="390"/>
                </a:lnTo>
                <a:lnTo>
                  <a:pt x="66" y="390"/>
                </a:lnTo>
                <a:lnTo>
                  <a:pt x="66" y="384"/>
                </a:lnTo>
                <a:lnTo>
                  <a:pt x="66" y="384"/>
                </a:lnTo>
                <a:lnTo>
                  <a:pt x="66" y="384"/>
                </a:lnTo>
                <a:lnTo>
                  <a:pt x="66" y="384"/>
                </a:lnTo>
                <a:lnTo>
                  <a:pt x="66" y="378"/>
                </a:lnTo>
                <a:lnTo>
                  <a:pt x="66" y="378"/>
                </a:lnTo>
                <a:lnTo>
                  <a:pt x="66" y="378"/>
                </a:lnTo>
                <a:lnTo>
                  <a:pt x="60" y="372"/>
                </a:lnTo>
                <a:lnTo>
                  <a:pt x="60" y="372"/>
                </a:lnTo>
                <a:lnTo>
                  <a:pt x="66" y="372"/>
                </a:lnTo>
                <a:lnTo>
                  <a:pt x="66" y="372"/>
                </a:lnTo>
                <a:lnTo>
                  <a:pt x="66" y="372"/>
                </a:lnTo>
                <a:lnTo>
                  <a:pt x="60" y="372"/>
                </a:lnTo>
                <a:lnTo>
                  <a:pt x="60" y="372"/>
                </a:lnTo>
                <a:lnTo>
                  <a:pt x="60" y="366"/>
                </a:lnTo>
                <a:lnTo>
                  <a:pt x="60" y="366"/>
                </a:lnTo>
                <a:lnTo>
                  <a:pt x="60" y="366"/>
                </a:lnTo>
                <a:lnTo>
                  <a:pt x="60" y="366"/>
                </a:lnTo>
                <a:lnTo>
                  <a:pt x="60" y="372"/>
                </a:lnTo>
                <a:lnTo>
                  <a:pt x="60" y="366"/>
                </a:lnTo>
                <a:lnTo>
                  <a:pt x="60" y="366"/>
                </a:lnTo>
                <a:lnTo>
                  <a:pt x="60" y="366"/>
                </a:lnTo>
                <a:lnTo>
                  <a:pt x="54" y="366"/>
                </a:lnTo>
                <a:lnTo>
                  <a:pt x="60" y="360"/>
                </a:lnTo>
                <a:lnTo>
                  <a:pt x="54" y="360"/>
                </a:lnTo>
                <a:lnTo>
                  <a:pt x="54" y="360"/>
                </a:lnTo>
                <a:lnTo>
                  <a:pt x="54" y="360"/>
                </a:lnTo>
                <a:lnTo>
                  <a:pt x="54" y="360"/>
                </a:lnTo>
                <a:lnTo>
                  <a:pt x="54" y="354"/>
                </a:lnTo>
                <a:lnTo>
                  <a:pt x="54" y="354"/>
                </a:lnTo>
                <a:lnTo>
                  <a:pt x="54" y="354"/>
                </a:lnTo>
                <a:lnTo>
                  <a:pt x="60" y="354"/>
                </a:lnTo>
                <a:lnTo>
                  <a:pt x="60" y="354"/>
                </a:lnTo>
                <a:lnTo>
                  <a:pt x="54" y="354"/>
                </a:lnTo>
                <a:lnTo>
                  <a:pt x="54" y="348"/>
                </a:lnTo>
                <a:lnTo>
                  <a:pt x="60" y="348"/>
                </a:lnTo>
                <a:lnTo>
                  <a:pt x="60" y="348"/>
                </a:lnTo>
                <a:lnTo>
                  <a:pt x="60" y="348"/>
                </a:lnTo>
                <a:lnTo>
                  <a:pt x="60" y="348"/>
                </a:lnTo>
                <a:lnTo>
                  <a:pt x="60" y="348"/>
                </a:lnTo>
                <a:lnTo>
                  <a:pt x="60" y="348"/>
                </a:lnTo>
                <a:lnTo>
                  <a:pt x="60" y="342"/>
                </a:lnTo>
                <a:lnTo>
                  <a:pt x="60" y="342"/>
                </a:lnTo>
                <a:lnTo>
                  <a:pt x="60" y="342"/>
                </a:lnTo>
                <a:lnTo>
                  <a:pt x="54" y="342"/>
                </a:lnTo>
                <a:lnTo>
                  <a:pt x="54" y="342"/>
                </a:lnTo>
                <a:lnTo>
                  <a:pt x="60" y="342"/>
                </a:lnTo>
                <a:lnTo>
                  <a:pt x="54" y="336"/>
                </a:lnTo>
                <a:lnTo>
                  <a:pt x="54" y="336"/>
                </a:lnTo>
                <a:lnTo>
                  <a:pt x="54" y="336"/>
                </a:lnTo>
                <a:lnTo>
                  <a:pt x="54" y="330"/>
                </a:lnTo>
                <a:lnTo>
                  <a:pt x="54" y="330"/>
                </a:lnTo>
                <a:lnTo>
                  <a:pt x="54" y="330"/>
                </a:lnTo>
                <a:lnTo>
                  <a:pt x="48" y="330"/>
                </a:lnTo>
                <a:lnTo>
                  <a:pt x="48" y="330"/>
                </a:lnTo>
                <a:lnTo>
                  <a:pt x="48" y="324"/>
                </a:lnTo>
                <a:lnTo>
                  <a:pt x="48" y="324"/>
                </a:lnTo>
                <a:lnTo>
                  <a:pt x="42" y="324"/>
                </a:lnTo>
                <a:lnTo>
                  <a:pt x="42" y="324"/>
                </a:lnTo>
                <a:lnTo>
                  <a:pt x="48" y="324"/>
                </a:lnTo>
                <a:lnTo>
                  <a:pt x="48" y="318"/>
                </a:lnTo>
                <a:lnTo>
                  <a:pt x="42" y="318"/>
                </a:lnTo>
                <a:lnTo>
                  <a:pt x="42" y="318"/>
                </a:lnTo>
                <a:lnTo>
                  <a:pt x="42" y="318"/>
                </a:lnTo>
                <a:lnTo>
                  <a:pt x="42" y="318"/>
                </a:lnTo>
                <a:lnTo>
                  <a:pt x="42" y="318"/>
                </a:lnTo>
                <a:lnTo>
                  <a:pt x="42" y="318"/>
                </a:lnTo>
                <a:lnTo>
                  <a:pt x="42" y="318"/>
                </a:lnTo>
                <a:lnTo>
                  <a:pt x="42" y="318"/>
                </a:lnTo>
                <a:lnTo>
                  <a:pt x="42" y="318"/>
                </a:lnTo>
                <a:lnTo>
                  <a:pt x="42" y="312"/>
                </a:lnTo>
                <a:lnTo>
                  <a:pt x="42" y="312"/>
                </a:lnTo>
                <a:lnTo>
                  <a:pt x="42" y="312"/>
                </a:lnTo>
                <a:lnTo>
                  <a:pt x="36" y="312"/>
                </a:lnTo>
                <a:lnTo>
                  <a:pt x="36" y="312"/>
                </a:lnTo>
                <a:lnTo>
                  <a:pt x="42" y="312"/>
                </a:lnTo>
                <a:lnTo>
                  <a:pt x="42" y="312"/>
                </a:lnTo>
                <a:lnTo>
                  <a:pt x="42" y="306"/>
                </a:lnTo>
                <a:lnTo>
                  <a:pt x="48" y="306"/>
                </a:lnTo>
                <a:lnTo>
                  <a:pt x="48" y="306"/>
                </a:lnTo>
                <a:lnTo>
                  <a:pt x="48" y="300"/>
                </a:lnTo>
                <a:lnTo>
                  <a:pt x="48" y="300"/>
                </a:lnTo>
                <a:lnTo>
                  <a:pt x="48" y="300"/>
                </a:lnTo>
                <a:lnTo>
                  <a:pt x="42" y="300"/>
                </a:lnTo>
                <a:lnTo>
                  <a:pt x="42" y="288"/>
                </a:lnTo>
                <a:lnTo>
                  <a:pt x="42" y="288"/>
                </a:lnTo>
                <a:lnTo>
                  <a:pt x="42" y="294"/>
                </a:lnTo>
                <a:lnTo>
                  <a:pt x="42" y="288"/>
                </a:lnTo>
                <a:lnTo>
                  <a:pt x="42" y="288"/>
                </a:lnTo>
                <a:lnTo>
                  <a:pt x="36" y="288"/>
                </a:lnTo>
                <a:lnTo>
                  <a:pt x="36" y="288"/>
                </a:lnTo>
                <a:lnTo>
                  <a:pt x="36" y="288"/>
                </a:lnTo>
                <a:lnTo>
                  <a:pt x="36" y="288"/>
                </a:lnTo>
                <a:lnTo>
                  <a:pt x="36" y="282"/>
                </a:lnTo>
                <a:lnTo>
                  <a:pt x="36" y="282"/>
                </a:lnTo>
                <a:lnTo>
                  <a:pt x="36" y="282"/>
                </a:lnTo>
                <a:lnTo>
                  <a:pt x="30" y="276"/>
                </a:lnTo>
                <a:lnTo>
                  <a:pt x="30" y="276"/>
                </a:lnTo>
                <a:lnTo>
                  <a:pt x="30" y="276"/>
                </a:lnTo>
                <a:lnTo>
                  <a:pt x="30" y="276"/>
                </a:lnTo>
                <a:lnTo>
                  <a:pt x="30" y="276"/>
                </a:lnTo>
                <a:lnTo>
                  <a:pt x="24" y="276"/>
                </a:lnTo>
                <a:lnTo>
                  <a:pt x="24" y="270"/>
                </a:lnTo>
                <a:lnTo>
                  <a:pt x="24" y="270"/>
                </a:lnTo>
                <a:lnTo>
                  <a:pt x="24" y="270"/>
                </a:lnTo>
                <a:lnTo>
                  <a:pt x="24" y="270"/>
                </a:lnTo>
                <a:lnTo>
                  <a:pt x="24" y="270"/>
                </a:lnTo>
                <a:lnTo>
                  <a:pt x="18" y="264"/>
                </a:lnTo>
                <a:lnTo>
                  <a:pt x="18" y="264"/>
                </a:lnTo>
                <a:lnTo>
                  <a:pt x="18" y="264"/>
                </a:lnTo>
                <a:lnTo>
                  <a:pt x="18" y="264"/>
                </a:lnTo>
                <a:lnTo>
                  <a:pt x="18" y="264"/>
                </a:lnTo>
                <a:lnTo>
                  <a:pt x="24" y="264"/>
                </a:lnTo>
                <a:lnTo>
                  <a:pt x="24" y="264"/>
                </a:lnTo>
                <a:lnTo>
                  <a:pt x="24" y="264"/>
                </a:lnTo>
                <a:lnTo>
                  <a:pt x="24" y="258"/>
                </a:lnTo>
                <a:lnTo>
                  <a:pt x="24" y="258"/>
                </a:lnTo>
                <a:lnTo>
                  <a:pt x="24" y="258"/>
                </a:lnTo>
                <a:lnTo>
                  <a:pt x="24" y="258"/>
                </a:lnTo>
                <a:lnTo>
                  <a:pt x="24" y="258"/>
                </a:lnTo>
                <a:lnTo>
                  <a:pt x="30" y="258"/>
                </a:lnTo>
                <a:lnTo>
                  <a:pt x="24" y="258"/>
                </a:lnTo>
                <a:lnTo>
                  <a:pt x="30" y="252"/>
                </a:lnTo>
                <a:lnTo>
                  <a:pt x="30" y="252"/>
                </a:lnTo>
                <a:lnTo>
                  <a:pt x="24" y="252"/>
                </a:lnTo>
                <a:lnTo>
                  <a:pt x="24" y="25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13" name="Freeform 46"/>
          <p:cNvSpPr>
            <a:spLocks/>
          </p:cNvSpPr>
          <p:nvPr/>
        </p:nvSpPr>
        <p:spPr bwMode="auto">
          <a:xfrm>
            <a:off x="6517804" y="1790209"/>
            <a:ext cx="456108" cy="179875"/>
          </a:xfrm>
          <a:custGeom>
            <a:avLst/>
            <a:gdLst>
              <a:gd name="T0" fmla="*/ 18 w 426"/>
              <a:gd name="T1" fmla="*/ 162 h 168"/>
              <a:gd name="T2" fmla="*/ 6 w 426"/>
              <a:gd name="T3" fmla="*/ 144 h 168"/>
              <a:gd name="T4" fmla="*/ 6 w 426"/>
              <a:gd name="T5" fmla="*/ 132 h 168"/>
              <a:gd name="T6" fmla="*/ 18 w 426"/>
              <a:gd name="T7" fmla="*/ 138 h 168"/>
              <a:gd name="T8" fmla="*/ 30 w 426"/>
              <a:gd name="T9" fmla="*/ 132 h 168"/>
              <a:gd name="T10" fmla="*/ 42 w 426"/>
              <a:gd name="T11" fmla="*/ 108 h 168"/>
              <a:gd name="T12" fmla="*/ 54 w 426"/>
              <a:gd name="T13" fmla="*/ 108 h 168"/>
              <a:gd name="T14" fmla="*/ 60 w 426"/>
              <a:gd name="T15" fmla="*/ 102 h 168"/>
              <a:gd name="T16" fmla="*/ 72 w 426"/>
              <a:gd name="T17" fmla="*/ 96 h 168"/>
              <a:gd name="T18" fmla="*/ 60 w 426"/>
              <a:gd name="T19" fmla="*/ 84 h 168"/>
              <a:gd name="T20" fmla="*/ 66 w 426"/>
              <a:gd name="T21" fmla="*/ 66 h 168"/>
              <a:gd name="T22" fmla="*/ 78 w 426"/>
              <a:gd name="T23" fmla="*/ 54 h 168"/>
              <a:gd name="T24" fmla="*/ 84 w 426"/>
              <a:gd name="T25" fmla="*/ 36 h 168"/>
              <a:gd name="T26" fmla="*/ 102 w 426"/>
              <a:gd name="T27" fmla="*/ 36 h 168"/>
              <a:gd name="T28" fmla="*/ 120 w 426"/>
              <a:gd name="T29" fmla="*/ 42 h 168"/>
              <a:gd name="T30" fmla="*/ 138 w 426"/>
              <a:gd name="T31" fmla="*/ 48 h 168"/>
              <a:gd name="T32" fmla="*/ 150 w 426"/>
              <a:gd name="T33" fmla="*/ 54 h 168"/>
              <a:gd name="T34" fmla="*/ 168 w 426"/>
              <a:gd name="T35" fmla="*/ 60 h 168"/>
              <a:gd name="T36" fmla="*/ 186 w 426"/>
              <a:gd name="T37" fmla="*/ 66 h 168"/>
              <a:gd name="T38" fmla="*/ 204 w 426"/>
              <a:gd name="T39" fmla="*/ 66 h 168"/>
              <a:gd name="T40" fmla="*/ 222 w 426"/>
              <a:gd name="T41" fmla="*/ 60 h 168"/>
              <a:gd name="T42" fmla="*/ 234 w 426"/>
              <a:gd name="T43" fmla="*/ 66 h 168"/>
              <a:gd name="T44" fmla="*/ 252 w 426"/>
              <a:gd name="T45" fmla="*/ 66 h 168"/>
              <a:gd name="T46" fmla="*/ 264 w 426"/>
              <a:gd name="T47" fmla="*/ 54 h 168"/>
              <a:gd name="T48" fmla="*/ 270 w 426"/>
              <a:gd name="T49" fmla="*/ 36 h 168"/>
              <a:gd name="T50" fmla="*/ 294 w 426"/>
              <a:gd name="T51" fmla="*/ 48 h 168"/>
              <a:gd name="T52" fmla="*/ 294 w 426"/>
              <a:gd name="T53" fmla="*/ 24 h 168"/>
              <a:gd name="T54" fmla="*/ 300 w 426"/>
              <a:gd name="T55" fmla="*/ 6 h 168"/>
              <a:gd name="T56" fmla="*/ 324 w 426"/>
              <a:gd name="T57" fmla="*/ 6 h 168"/>
              <a:gd name="T58" fmla="*/ 312 w 426"/>
              <a:gd name="T59" fmla="*/ 18 h 168"/>
              <a:gd name="T60" fmla="*/ 312 w 426"/>
              <a:gd name="T61" fmla="*/ 48 h 168"/>
              <a:gd name="T62" fmla="*/ 348 w 426"/>
              <a:gd name="T63" fmla="*/ 60 h 168"/>
              <a:gd name="T64" fmla="*/ 378 w 426"/>
              <a:gd name="T65" fmla="*/ 66 h 168"/>
              <a:gd name="T66" fmla="*/ 396 w 426"/>
              <a:gd name="T67" fmla="*/ 66 h 168"/>
              <a:gd name="T68" fmla="*/ 414 w 426"/>
              <a:gd name="T69" fmla="*/ 78 h 168"/>
              <a:gd name="T70" fmla="*/ 420 w 426"/>
              <a:gd name="T71" fmla="*/ 102 h 168"/>
              <a:gd name="T72" fmla="*/ 408 w 426"/>
              <a:gd name="T73" fmla="*/ 120 h 168"/>
              <a:gd name="T74" fmla="*/ 396 w 426"/>
              <a:gd name="T75" fmla="*/ 144 h 168"/>
              <a:gd name="T76" fmla="*/ 390 w 426"/>
              <a:gd name="T77" fmla="*/ 156 h 168"/>
              <a:gd name="T78" fmla="*/ 378 w 426"/>
              <a:gd name="T79" fmla="*/ 150 h 168"/>
              <a:gd name="T80" fmla="*/ 366 w 426"/>
              <a:gd name="T81" fmla="*/ 132 h 168"/>
              <a:gd name="T82" fmla="*/ 354 w 426"/>
              <a:gd name="T83" fmla="*/ 126 h 168"/>
              <a:gd name="T84" fmla="*/ 324 w 426"/>
              <a:gd name="T85" fmla="*/ 132 h 168"/>
              <a:gd name="T86" fmla="*/ 312 w 426"/>
              <a:gd name="T87" fmla="*/ 120 h 168"/>
              <a:gd name="T88" fmla="*/ 264 w 426"/>
              <a:gd name="T89" fmla="*/ 120 h 168"/>
              <a:gd name="T90" fmla="*/ 240 w 426"/>
              <a:gd name="T91" fmla="*/ 126 h 168"/>
              <a:gd name="T92" fmla="*/ 222 w 426"/>
              <a:gd name="T93" fmla="*/ 132 h 168"/>
              <a:gd name="T94" fmla="*/ 210 w 426"/>
              <a:gd name="T95" fmla="*/ 126 h 168"/>
              <a:gd name="T96" fmla="*/ 204 w 426"/>
              <a:gd name="T97" fmla="*/ 114 h 168"/>
              <a:gd name="T98" fmla="*/ 186 w 426"/>
              <a:gd name="T99" fmla="*/ 120 h 168"/>
              <a:gd name="T100" fmla="*/ 174 w 426"/>
              <a:gd name="T101" fmla="*/ 132 h 168"/>
              <a:gd name="T102" fmla="*/ 168 w 426"/>
              <a:gd name="T103" fmla="*/ 126 h 168"/>
              <a:gd name="T104" fmla="*/ 144 w 426"/>
              <a:gd name="T105" fmla="*/ 126 h 168"/>
              <a:gd name="T106" fmla="*/ 132 w 426"/>
              <a:gd name="T107" fmla="*/ 120 h 168"/>
              <a:gd name="T108" fmla="*/ 114 w 426"/>
              <a:gd name="T109" fmla="*/ 120 h 168"/>
              <a:gd name="T110" fmla="*/ 96 w 426"/>
              <a:gd name="T111" fmla="*/ 126 h 168"/>
              <a:gd name="T112" fmla="*/ 72 w 426"/>
              <a:gd name="T113" fmla="*/ 138 h 168"/>
              <a:gd name="T114" fmla="*/ 60 w 426"/>
              <a:gd name="T115" fmla="*/ 138 h 168"/>
              <a:gd name="T116" fmla="*/ 42 w 426"/>
              <a:gd name="T117" fmla="*/ 150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426" h="168">
                <a:moveTo>
                  <a:pt x="30" y="168"/>
                </a:moveTo>
                <a:lnTo>
                  <a:pt x="30" y="168"/>
                </a:lnTo>
                <a:lnTo>
                  <a:pt x="30" y="168"/>
                </a:lnTo>
                <a:lnTo>
                  <a:pt x="30" y="162"/>
                </a:lnTo>
                <a:lnTo>
                  <a:pt x="30" y="162"/>
                </a:lnTo>
                <a:lnTo>
                  <a:pt x="30" y="162"/>
                </a:lnTo>
                <a:lnTo>
                  <a:pt x="24" y="162"/>
                </a:lnTo>
                <a:lnTo>
                  <a:pt x="24" y="162"/>
                </a:lnTo>
                <a:lnTo>
                  <a:pt x="24" y="162"/>
                </a:lnTo>
                <a:lnTo>
                  <a:pt x="24" y="162"/>
                </a:lnTo>
                <a:lnTo>
                  <a:pt x="18" y="162"/>
                </a:lnTo>
                <a:lnTo>
                  <a:pt x="18" y="162"/>
                </a:lnTo>
                <a:lnTo>
                  <a:pt x="18" y="162"/>
                </a:lnTo>
                <a:lnTo>
                  <a:pt x="18" y="162"/>
                </a:lnTo>
                <a:lnTo>
                  <a:pt x="18" y="156"/>
                </a:lnTo>
                <a:lnTo>
                  <a:pt x="18" y="156"/>
                </a:lnTo>
                <a:lnTo>
                  <a:pt x="18" y="156"/>
                </a:lnTo>
                <a:lnTo>
                  <a:pt x="18" y="156"/>
                </a:lnTo>
                <a:lnTo>
                  <a:pt x="12" y="150"/>
                </a:lnTo>
                <a:lnTo>
                  <a:pt x="12" y="150"/>
                </a:lnTo>
                <a:lnTo>
                  <a:pt x="12" y="150"/>
                </a:lnTo>
                <a:lnTo>
                  <a:pt x="12" y="150"/>
                </a:lnTo>
                <a:lnTo>
                  <a:pt x="12" y="150"/>
                </a:lnTo>
                <a:lnTo>
                  <a:pt x="6" y="150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0" y="144"/>
                </a:lnTo>
                <a:lnTo>
                  <a:pt x="0" y="144"/>
                </a:lnTo>
                <a:lnTo>
                  <a:pt x="0" y="144"/>
                </a:lnTo>
                <a:lnTo>
                  <a:pt x="0" y="144"/>
                </a:lnTo>
                <a:lnTo>
                  <a:pt x="0" y="144"/>
                </a:lnTo>
                <a:lnTo>
                  <a:pt x="0" y="144"/>
                </a:lnTo>
                <a:lnTo>
                  <a:pt x="0" y="144"/>
                </a:lnTo>
                <a:lnTo>
                  <a:pt x="0" y="138"/>
                </a:lnTo>
                <a:lnTo>
                  <a:pt x="0" y="138"/>
                </a:lnTo>
                <a:lnTo>
                  <a:pt x="6" y="138"/>
                </a:lnTo>
                <a:lnTo>
                  <a:pt x="6" y="132"/>
                </a:lnTo>
                <a:lnTo>
                  <a:pt x="6" y="132"/>
                </a:lnTo>
                <a:lnTo>
                  <a:pt x="12" y="132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24" y="138"/>
                </a:lnTo>
                <a:lnTo>
                  <a:pt x="18" y="138"/>
                </a:lnTo>
                <a:lnTo>
                  <a:pt x="24" y="138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26"/>
                </a:lnTo>
                <a:lnTo>
                  <a:pt x="30" y="132"/>
                </a:lnTo>
                <a:lnTo>
                  <a:pt x="36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42" y="114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14"/>
                </a:lnTo>
                <a:lnTo>
                  <a:pt x="48" y="108"/>
                </a:lnTo>
                <a:lnTo>
                  <a:pt x="54" y="114"/>
                </a:lnTo>
                <a:lnTo>
                  <a:pt x="54" y="114"/>
                </a:lnTo>
                <a:lnTo>
                  <a:pt x="54" y="108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96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96"/>
                </a:lnTo>
                <a:lnTo>
                  <a:pt x="72" y="96"/>
                </a:lnTo>
                <a:lnTo>
                  <a:pt x="66" y="96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54" y="78"/>
                </a:lnTo>
                <a:lnTo>
                  <a:pt x="54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48"/>
                </a:lnTo>
                <a:lnTo>
                  <a:pt x="78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78" y="42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90" y="36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6" y="30"/>
                </a:lnTo>
                <a:lnTo>
                  <a:pt x="96" y="36"/>
                </a:lnTo>
                <a:lnTo>
                  <a:pt x="102" y="30"/>
                </a:lnTo>
                <a:lnTo>
                  <a:pt x="102" y="36"/>
                </a:lnTo>
                <a:lnTo>
                  <a:pt x="102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0"/>
                </a:lnTo>
                <a:lnTo>
                  <a:pt x="114" y="36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6"/>
                </a:lnTo>
                <a:lnTo>
                  <a:pt x="114" y="36"/>
                </a:lnTo>
                <a:lnTo>
                  <a:pt x="114" y="42"/>
                </a:lnTo>
                <a:lnTo>
                  <a:pt x="114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8"/>
                </a:lnTo>
                <a:lnTo>
                  <a:pt x="126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8" y="48"/>
                </a:lnTo>
                <a:lnTo>
                  <a:pt x="138" y="48"/>
                </a:lnTo>
                <a:lnTo>
                  <a:pt x="138" y="48"/>
                </a:lnTo>
                <a:lnTo>
                  <a:pt x="138" y="54"/>
                </a:lnTo>
                <a:lnTo>
                  <a:pt x="144" y="54"/>
                </a:lnTo>
                <a:lnTo>
                  <a:pt x="144" y="54"/>
                </a:lnTo>
                <a:lnTo>
                  <a:pt x="144" y="54"/>
                </a:lnTo>
                <a:lnTo>
                  <a:pt x="144" y="54"/>
                </a:lnTo>
                <a:lnTo>
                  <a:pt x="144" y="54"/>
                </a:lnTo>
                <a:lnTo>
                  <a:pt x="144" y="54"/>
                </a:lnTo>
                <a:lnTo>
                  <a:pt x="150" y="54"/>
                </a:lnTo>
                <a:lnTo>
                  <a:pt x="150" y="54"/>
                </a:lnTo>
                <a:lnTo>
                  <a:pt x="150" y="54"/>
                </a:lnTo>
                <a:lnTo>
                  <a:pt x="150" y="54"/>
                </a:lnTo>
                <a:lnTo>
                  <a:pt x="150" y="54"/>
                </a:lnTo>
                <a:lnTo>
                  <a:pt x="156" y="60"/>
                </a:lnTo>
                <a:lnTo>
                  <a:pt x="156" y="54"/>
                </a:lnTo>
                <a:lnTo>
                  <a:pt x="156" y="54"/>
                </a:lnTo>
                <a:lnTo>
                  <a:pt x="156" y="60"/>
                </a:lnTo>
                <a:lnTo>
                  <a:pt x="156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68" y="60"/>
                </a:lnTo>
                <a:lnTo>
                  <a:pt x="168" y="60"/>
                </a:lnTo>
                <a:lnTo>
                  <a:pt x="168" y="60"/>
                </a:lnTo>
                <a:lnTo>
                  <a:pt x="168" y="60"/>
                </a:lnTo>
                <a:lnTo>
                  <a:pt x="174" y="60"/>
                </a:lnTo>
                <a:lnTo>
                  <a:pt x="174" y="66"/>
                </a:lnTo>
                <a:lnTo>
                  <a:pt x="174" y="66"/>
                </a:lnTo>
                <a:lnTo>
                  <a:pt x="180" y="60"/>
                </a:lnTo>
                <a:lnTo>
                  <a:pt x="180" y="66"/>
                </a:lnTo>
                <a:lnTo>
                  <a:pt x="180" y="66"/>
                </a:lnTo>
                <a:lnTo>
                  <a:pt x="180" y="66"/>
                </a:lnTo>
                <a:lnTo>
                  <a:pt x="180" y="66"/>
                </a:lnTo>
                <a:lnTo>
                  <a:pt x="180" y="66"/>
                </a:lnTo>
                <a:lnTo>
                  <a:pt x="186" y="66"/>
                </a:lnTo>
                <a:lnTo>
                  <a:pt x="186" y="66"/>
                </a:lnTo>
                <a:lnTo>
                  <a:pt x="186" y="66"/>
                </a:lnTo>
                <a:lnTo>
                  <a:pt x="186" y="66"/>
                </a:lnTo>
                <a:lnTo>
                  <a:pt x="186" y="66"/>
                </a:lnTo>
                <a:lnTo>
                  <a:pt x="192" y="66"/>
                </a:lnTo>
                <a:lnTo>
                  <a:pt x="192" y="66"/>
                </a:lnTo>
                <a:lnTo>
                  <a:pt x="192" y="60"/>
                </a:lnTo>
                <a:lnTo>
                  <a:pt x="192" y="60"/>
                </a:lnTo>
                <a:lnTo>
                  <a:pt x="198" y="60"/>
                </a:lnTo>
                <a:lnTo>
                  <a:pt x="198" y="60"/>
                </a:lnTo>
                <a:lnTo>
                  <a:pt x="198" y="60"/>
                </a:lnTo>
                <a:lnTo>
                  <a:pt x="198" y="60"/>
                </a:lnTo>
                <a:lnTo>
                  <a:pt x="204" y="60"/>
                </a:lnTo>
                <a:lnTo>
                  <a:pt x="204" y="66"/>
                </a:lnTo>
                <a:lnTo>
                  <a:pt x="204" y="66"/>
                </a:lnTo>
                <a:lnTo>
                  <a:pt x="204" y="66"/>
                </a:lnTo>
                <a:lnTo>
                  <a:pt x="210" y="66"/>
                </a:lnTo>
                <a:lnTo>
                  <a:pt x="210" y="66"/>
                </a:lnTo>
                <a:lnTo>
                  <a:pt x="210" y="66"/>
                </a:lnTo>
                <a:lnTo>
                  <a:pt x="216" y="66"/>
                </a:lnTo>
                <a:lnTo>
                  <a:pt x="216" y="66"/>
                </a:lnTo>
                <a:lnTo>
                  <a:pt x="216" y="66"/>
                </a:lnTo>
                <a:lnTo>
                  <a:pt x="216" y="66"/>
                </a:lnTo>
                <a:lnTo>
                  <a:pt x="222" y="66"/>
                </a:lnTo>
                <a:lnTo>
                  <a:pt x="222" y="66"/>
                </a:lnTo>
                <a:lnTo>
                  <a:pt x="222" y="60"/>
                </a:lnTo>
                <a:lnTo>
                  <a:pt x="222" y="60"/>
                </a:lnTo>
                <a:lnTo>
                  <a:pt x="222" y="60"/>
                </a:lnTo>
                <a:lnTo>
                  <a:pt x="222" y="60"/>
                </a:lnTo>
                <a:lnTo>
                  <a:pt x="222" y="66"/>
                </a:lnTo>
                <a:lnTo>
                  <a:pt x="222" y="66"/>
                </a:lnTo>
                <a:lnTo>
                  <a:pt x="228" y="66"/>
                </a:lnTo>
                <a:lnTo>
                  <a:pt x="228" y="66"/>
                </a:lnTo>
                <a:lnTo>
                  <a:pt x="228" y="66"/>
                </a:lnTo>
                <a:lnTo>
                  <a:pt x="228" y="66"/>
                </a:lnTo>
                <a:lnTo>
                  <a:pt x="228" y="60"/>
                </a:lnTo>
                <a:lnTo>
                  <a:pt x="234" y="60"/>
                </a:lnTo>
                <a:lnTo>
                  <a:pt x="234" y="66"/>
                </a:lnTo>
                <a:lnTo>
                  <a:pt x="234" y="66"/>
                </a:lnTo>
                <a:lnTo>
                  <a:pt x="234" y="66"/>
                </a:lnTo>
                <a:lnTo>
                  <a:pt x="234" y="66"/>
                </a:lnTo>
                <a:lnTo>
                  <a:pt x="240" y="66"/>
                </a:lnTo>
                <a:lnTo>
                  <a:pt x="240" y="66"/>
                </a:lnTo>
                <a:lnTo>
                  <a:pt x="240" y="66"/>
                </a:lnTo>
                <a:lnTo>
                  <a:pt x="246" y="66"/>
                </a:lnTo>
                <a:lnTo>
                  <a:pt x="246" y="66"/>
                </a:lnTo>
                <a:lnTo>
                  <a:pt x="246" y="66"/>
                </a:lnTo>
                <a:lnTo>
                  <a:pt x="246" y="66"/>
                </a:lnTo>
                <a:lnTo>
                  <a:pt x="246" y="72"/>
                </a:lnTo>
                <a:lnTo>
                  <a:pt x="246" y="66"/>
                </a:lnTo>
                <a:lnTo>
                  <a:pt x="252" y="66"/>
                </a:lnTo>
                <a:lnTo>
                  <a:pt x="252" y="66"/>
                </a:lnTo>
                <a:lnTo>
                  <a:pt x="252" y="66"/>
                </a:lnTo>
                <a:lnTo>
                  <a:pt x="252" y="66"/>
                </a:lnTo>
                <a:lnTo>
                  <a:pt x="258" y="66"/>
                </a:lnTo>
                <a:lnTo>
                  <a:pt x="258" y="66"/>
                </a:lnTo>
                <a:lnTo>
                  <a:pt x="258" y="66"/>
                </a:lnTo>
                <a:lnTo>
                  <a:pt x="258" y="66"/>
                </a:lnTo>
                <a:lnTo>
                  <a:pt x="258" y="66"/>
                </a:lnTo>
                <a:lnTo>
                  <a:pt x="264" y="66"/>
                </a:lnTo>
                <a:lnTo>
                  <a:pt x="264" y="60"/>
                </a:lnTo>
                <a:lnTo>
                  <a:pt x="258" y="60"/>
                </a:lnTo>
                <a:lnTo>
                  <a:pt x="258" y="60"/>
                </a:lnTo>
                <a:lnTo>
                  <a:pt x="258" y="60"/>
                </a:lnTo>
                <a:lnTo>
                  <a:pt x="264" y="60"/>
                </a:lnTo>
                <a:lnTo>
                  <a:pt x="264" y="54"/>
                </a:lnTo>
                <a:lnTo>
                  <a:pt x="264" y="54"/>
                </a:lnTo>
                <a:lnTo>
                  <a:pt x="264" y="54"/>
                </a:lnTo>
                <a:lnTo>
                  <a:pt x="264" y="54"/>
                </a:lnTo>
                <a:lnTo>
                  <a:pt x="264" y="48"/>
                </a:lnTo>
                <a:lnTo>
                  <a:pt x="264" y="48"/>
                </a:lnTo>
                <a:lnTo>
                  <a:pt x="264" y="48"/>
                </a:lnTo>
                <a:lnTo>
                  <a:pt x="264" y="48"/>
                </a:lnTo>
                <a:lnTo>
                  <a:pt x="264" y="48"/>
                </a:lnTo>
                <a:lnTo>
                  <a:pt x="264" y="42"/>
                </a:lnTo>
                <a:lnTo>
                  <a:pt x="270" y="42"/>
                </a:lnTo>
                <a:lnTo>
                  <a:pt x="270" y="42"/>
                </a:lnTo>
                <a:lnTo>
                  <a:pt x="270" y="42"/>
                </a:lnTo>
                <a:lnTo>
                  <a:pt x="270" y="36"/>
                </a:lnTo>
                <a:lnTo>
                  <a:pt x="270" y="36"/>
                </a:lnTo>
                <a:lnTo>
                  <a:pt x="270" y="30"/>
                </a:lnTo>
                <a:lnTo>
                  <a:pt x="270" y="36"/>
                </a:lnTo>
                <a:lnTo>
                  <a:pt x="282" y="48"/>
                </a:lnTo>
                <a:lnTo>
                  <a:pt x="282" y="48"/>
                </a:lnTo>
                <a:lnTo>
                  <a:pt x="282" y="48"/>
                </a:lnTo>
                <a:lnTo>
                  <a:pt x="288" y="54"/>
                </a:lnTo>
                <a:lnTo>
                  <a:pt x="288" y="54"/>
                </a:lnTo>
                <a:lnTo>
                  <a:pt x="288" y="54"/>
                </a:lnTo>
                <a:lnTo>
                  <a:pt x="288" y="48"/>
                </a:lnTo>
                <a:lnTo>
                  <a:pt x="294" y="48"/>
                </a:lnTo>
                <a:lnTo>
                  <a:pt x="294" y="48"/>
                </a:lnTo>
                <a:lnTo>
                  <a:pt x="294" y="48"/>
                </a:lnTo>
                <a:lnTo>
                  <a:pt x="294" y="42"/>
                </a:lnTo>
                <a:lnTo>
                  <a:pt x="294" y="42"/>
                </a:lnTo>
                <a:lnTo>
                  <a:pt x="294" y="42"/>
                </a:lnTo>
                <a:lnTo>
                  <a:pt x="288" y="42"/>
                </a:lnTo>
                <a:lnTo>
                  <a:pt x="288" y="42"/>
                </a:lnTo>
                <a:lnTo>
                  <a:pt x="294" y="36"/>
                </a:lnTo>
                <a:lnTo>
                  <a:pt x="294" y="36"/>
                </a:lnTo>
                <a:lnTo>
                  <a:pt x="294" y="36"/>
                </a:lnTo>
                <a:lnTo>
                  <a:pt x="294" y="30"/>
                </a:lnTo>
                <a:lnTo>
                  <a:pt x="294" y="30"/>
                </a:lnTo>
                <a:lnTo>
                  <a:pt x="294" y="30"/>
                </a:lnTo>
                <a:lnTo>
                  <a:pt x="294" y="24"/>
                </a:lnTo>
                <a:lnTo>
                  <a:pt x="294" y="24"/>
                </a:lnTo>
                <a:lnTo>
                  <a:pt x="294" y="24"/>
                </a:lnTo>
                <a:lnTo>
                  <a:pt x="294" y="24"/>
                </a:lnTo>
                <a:lnTo>
                  <a:pt x="294" y="18"/>
                </a:lnTo>
                <a:lnTo>
                  <a:pt x="294" y="18"/>
                </a:lnTo>
                <a:lnTo>
                  <a:pt x="294" y="18"/>
                </a:lnTo>
                <a:lnTo>
                  <a:pt x="300" y="18"/>
                </a:lnTo>
                <a:lnTo>
                  <a:pt x="300" y="12"/>
                </a:lnTo>
                <a:lnTo>
                  <a:pt x="300" y="12"/>
                </a:lnTo>
                <a:lnTo>
                  <a:pt x="300" y="12"/>
                </a:lnTo>
                <a:lnTo>
                  <a:pt x="300" y="12"/>
                </a:lnTo>
                <a:lnTo>
                  <a:pt x="300" y="12"/>
                </a:lnTo>
                <a:lnTo>
                  <a:pt x="300" y="6"/>
                </a:lnTo>
                <a:lnTo>
                  <a:pt x="300" y="6"/>
                </a:lnTo>
                <a:lnTo>
                  <a:pt x="300" y="6"/>
                </a:lnTo>
                <a:lnTo>
                  <a:pt x="300" y="6"/>
                </a:lnTo>
                <a:lnTo>
                  <a:pt x="306" y="6"/>
                </a:lnTo>
                <a:lnTo>
                  <a:pt x="306" y="6"/>
                </a:lnTo>
                <a:lnTo>
                  <a:pt x="306" y="6"/>
                </a:lnTo>
                <a:lnTo>
                  <a:pt x="306" y="0"/>
                </a:lnTo>
                <a:lnTo>
                  <a:pt x="306" y="0"/>
                </a:lnTo>
                <a:lnTo>
                  <a:pt x="306" y="0"/>
                </a:lnTo>
                <a:lnTo>
                  <a:pt x="312" y="0"/>
                </a:lnTo>
                <a:lnTo>
                  <a:pt x="312" y="0"/>
                </a:lnTo>
                <a:lnTo>
                  <a:pt x="318" y="0"/>
                </a:lnTo>
                <a:lnTo>
                  <a:pt x="318" y="0"/>
                </a:lnTo>
                <a:lnTo>
                  <a:pt x="324" y="6"/>
                </a:lnTo>
                <a:lnTo>
                  <a:pt x="324" y="6"/>
                </a:lnTo>
                <a:lnTo>
                  <a:pt x="318" y="6"/>
                </a:lnTo>
                <a:lnTo>
                  <a:pt x="318" y="6"/>
                </a:lnTo>
                <a:lnTo>
                  <a:pt x="318" y="6"/>
                </a:lnTo>
                <a:lnTo>
                  <a:pt x="318" y="6"/>
                </a:lnTo>
                <a:lnTo>
                  <a:pt x="312" y="6"/>
                </a:lnTo>
                <a:lnTo>
                  <a:pt x="312" y="6"/>
                </a:lnTo>
                <a:lnTo>
                  <a:pt x="312" y="6"/>
                </a:lnTo>
                <a:lnTo>
                  <a:pt x="312" y="6"/>
                </a:lnTo>
                <a:lnTo>
                  <a:pt x="312" y="12"/>
                </a:lnTo>
                <a:lnTo>
                  <a:pt x="306" y="12"/>
                </a:lnTo>
                <a:lnTo>
                  <a:pt x="306" y="12"/>
                </a:lnTo>
                <a:lnTo>
                  <a:pt x="312" y="18"/>
                </a:lnTo>
                <a:lnTo>
                  <a:pt x="312" y="24"/>
                </a:lnTo>
                <a:lnTo>
                  <a:pt x="312" y="24"/>
                </a:lnTo>
                <a:lnTo>
                  <a:pt x="312" y="30"/>
                </a:lnTo>
                <a:lnTo>
                  <a:pt x="306" y="30"/>
                </a:lnTo>
                <a:lnTo>
                  <a:pt x="312" y="36"/>
                </a:lnTo>
                <a:lnTo>
                  <a:pt x="312" y="36"/>
                </a:lnTo>
                <a:lnTo>
                  <a:pt x="312" y="42"/>
                </a:lnTo>
                <a:lnTo>
                  <a:pt x="312" y="42"/>
                </a:lnTo>
                <a:lnTo>
                  <a:pt x="312" y="42"/>
                </a:lnTo>
                <a:lnTo>
                  <a:pt x="312" y="42"/>
                </a:lnTo>
                <a:lnTo>
                  <a:pt x="312" y="42"/>
                </a:lnTo>
                <a:lnTo>
                  <a:pt x="312" y="42"/>
                </a:lnTo>
                <a:lnTo>
                  <a:pt x="312" y="48"/>
                </a:lnTo>
                <a:lnTo>
                  <a:pt x="312" y="48"/>
                </a:lnTo>
                <a:lnTo>
                  <a:pt x="312" y="48"/>
                </a:lnTo>
                <a:lnTo>
                  <a:pt x="318" y="48"/>
                </a:lnTo>
                <a:lnTo>
                  <a:pt x="318" y="48"/>
                </a:lnTo>
                <a:lnTo>
                  <a:pt x="324" y="48"/>
                </a:lnTo>
                <a:lnTo>
                  <a:pt x="324" y="54"/>
                </a:lnTo>
                <a:lnTo>
                  <a:pt x="330" y="54"/>
                </a:lnTo>
                <a:lnTo>
                  <a:pt x="336" y="54"/>
                </a:lnTo>
                <a:lnTo>
                  <a:pt x="342" y="54"/>
                </a:lnTo>
                <a:lnTo>
                  <a:pt x="342" y="54"/>
                </a:lnTo>
                <a:lnTo>
                  <a:pt x="342" y="54"/>
                </a:lnTo>
                <a:lnTo>
                  <a:pt x="342" y="54"/>
                </a:lnTo>
                <a:lnTo>
                  <a:pt x="348" y="60"/>
                </a:lnTo>
                <a:lnTo>
                  <a:pt x="348" y="60"/>
                </a:lnTo>
                <a:lnTo>
                  <a:pt x="348" y="60"/>
                </a:lnTo>
                <a:lnTo>
                  <a:pt x="348" y="60"/>
                </a:lnTo>
                <a:lnTo>
                  <a:pt x="354" y="60"/>
                </a:lnTo>
                <a:lnTo>
                  <a:pt x="354" y="60"/>
                </a:lnTo>
                <a:lnTo>
                  <a:pt x="360" y="60"/>
                </a:lnTo>
                <a:lnTo>
                  <a:pt x="360" y="60"/>
                </a:lnTo>
                <a:lnTo>
                  <a:pt x="366" y="66"/>
                </a:lnTo>
                <a:lnTo>
                  <a:pt x="366" y="66"/>
                </a:lnTo>
                <a:lnTo>
                  <a:pt x="372" y="60"/>
                </a:lnTo>
                <a:lnTo>
                  <a:pt x="378" y="66"/>
                </a:lnTo>
                <a:lnTo>
                  <a:pt x="378" y="66"/>
                </a:lnTo>
                <a:lnTo>
                  <a:pt x="378" y="66"/>
                </a:lnTo>
                <a:lnTo>
                  <a:pt x="384" y="60"/>
                </a:lnTo>
                <a:lnTo>
                  <a:pt x="384" y="60"/>
                </a:lnTo>
                <a:lnTo>
                  <a:pt x="384" y="60"/>
                </a:lnTo>
                <a:lnTo>
                  <a:pt x="384" y="60"/>
                </a:lnTo>
                <a:lnTo>
                  <a:pt x="390" y="60"/>
                </a:lnTo>
                <a:lnTo>
                  <a:pt x="390" y="60"/>
                </a:lnTo>
                <a:lnTo>
                  <a:pt x="390" y="60"/>
                </a:lnTo>
                <a:lnTo>
                  <a:pt x="390" y="60"/>
                </a:lnTo>
                <a:lnTo>
                  <a:pt x="396" y="60"/>
                </a:lnTo>
                <a:lnTo>
                  <a:pt x="396" y="60"/>
                </a:lnTo>
                <a:lnTo>
                  <a:pt x="396" y="60"/>
                </a:lnTo>
                <a:lnTo>
                  <a:pt x="396" y="66"/>
                </a:lnTo>
                <a:lnTo>
                  <a:pt x="396" y="66"/>
                </a:lnTo>
                <a:lnTo>
                  <a:pt x="396" y="66"/>
                </a:lnTo>
                <a:lnTo>
                  <a:pt x="396" y="66"/>
                </a:lnTo>
                <a:lnTo>
                  <a:pt x="396" y="72"/>
                </a:lnTo>
                <a:lnTo>
                  <a:pt x="402" y="72"/>
                </a:lnTo>
                <a:lnTo>
                  <a:pt x="396" y="72"/>
                </a:lnTo>
                <a:lnTo>
                  <a:pt x="402" y="72"/>
                </a:lnTo>
                <a:lnTo>
                  <a:pt x="402" y="72"/>
                </a:lnTo>
                <a:lnTo>
                  <a:pt x="402" y="78"/>
                </a:lnTo>
                <a:lnTo>
                  <a:pt x="402" y="78"/>
                </a:lnTo>
                <a:lnTo>
                  <a:pt x="408" y="78"/>
                </a:lnTo>
                <a:lnTo>
                  <a:pt x="408" y="78"/>
                </a:lnTo>
                <a:lnTo>
                  <a:pt x="414" y="78"/>
                </a:lnTo>
                <a:lnTo>
                  <a:pt x="414" y="78"/>
                </a:lnTo>
                <a:lnTo>
                  <a:pt x="414" y="78"/>
                </a:lnTo>
                <a:lnTo>
                  <a:pt x="414" y="84"/>
                </a:lnTo>
                <a:lnTo>
                  <a:pt x="414" y="84"/>
                </a:lnTo>
                <a:lnTo>
                  <a:pt x="420" y="84"/>
                </a:lnTo>
                <a:lnTo>
                  <a:pt x="420" y="84"/>
                </a:lnTo>
                <a:lnTo>
                  <a:pt x="426" y="90"/>
                </a:lnTo>
                <a:lnTo>
                  <a:pt x="426" y="90"/>
                </a:lnTo>
                <a:lnTo>
                  <a:pt x="426" y="90"/>
                </a:lnTo>
                <a:lnTo>
                  <a:pt x="426" y="96"/>
                </a:lnTo>
                <a:lnTo>
                  <a:pt x="420" y="96"/>
                </a:lnTo>
                <a:lnTo>
                  <a:pt x="420" y="102"/>
                </a:lnTo>
                <a:lnTo>
                  <a:pt x="420" y="102"/>
                </a:lnTo>
                <a:lnTo>
                  <a:pt x="420" y="102"/>
                </a:lnTo>
                <a:lnTo>
                  <a:pt x="414" y="102"/>
                </a:lnTo>
                <a:lnTo>
                  <a:pt x="414" y="102"/>
                </a:lnTo>
                <a:lnTo>
                  <a:pt x="414" y="102"/>
                </a:lnTo>
                <a:lnTo>
                  <a:pt x="408" y="102"/>
                </a:lnTo>
                <a:lnTo>
                  <a:pt x="408" y="102"/>
                </a:lnTo>
                <a:lnTo>
                  <a:pt x="402" y="108"/>
                </a:lnTo>
                <a:lnTo>
                  <a:pt x="402" y="108"/>
                </a:lnTo>
                <a:lnTo>
                  <a:pt x="402" y="108"/>
                </a:lnTo>
                <a:lnTo>
                  <a:pt x="402" y="108"/>
                </a:lnTo>
                <a:lnTo>
                  <a:pt x="402" y="120"/>
                </a:lnTo>
                <a:lnTo>
                  <a:pt x="402" y="120"/>
                </a:lnTo>
                <a:lnTo>
                  <a:pt x="402" y="120"/>
                </a:lnTo>
                <a:lnTo>
                  <a:pt x="408" y="120"/>
                </a:lnTo>
                <a:lnTo>
                  <a:pt x="408" y="126"/>
                </a:lnTo>
                <a:lnTo>
                  <a:pt x="408" y="126"/>
                </a:lnTo>
                <a:lnTo>
                  <a:pt x="414" y="126"/>
                </a:lnTo>
                <a:lnTo>
                  <a:pt x="414" y="126"/>
                </a:lnTo>
                <a:lnTo>
                  <a:pt x="414" y="132"/>
                </a:lnTo>
                <a:lnTo>
                  <a:pt x="414" y="132"/>
                </a:lnTo>
                <a:lnTo>
                  <a:pt x="408" y="132"/>
                </a:lnTo>
                <a:lnTo>
                  <a:pt x="402" y="132"/>
                </a:lnTo>
                <a:lnTo>
                  <a:pt x="402" y="138"/>
                </a:lnTo>
                <a:lnTo>
                  <a:pt x="402" y="138"/>
                </a:lnTo>
                <a:lnTo>
                  <a:pt x="396" y="138"/>
                </a:lnTo>
                <a:lnTo>
                  <a:pt x="396" y="144"/>
                </a:lnTo>
                <a:lnTo>
                  <a:pt x="396" y="144"/>
                </a:lnTo>
                <a:lnTo>
                  <a:pt x="396" y="144"/>
                </a:lnTo>
                <a:lnTo>
                  <a:pt x="402" y="144"/>
                </a:lnTo>
                <a:lnTo>
                  <a:pt x="402" y="150"/>
                </a:lnTo>
                <a:lnTo>
                  <a:pt x="402" y="150"/>
                </a:lnTo>
                <a:lnTo>
                  <a:pt x="402" y="150"/>
                </a:lnTo>
                <a:lnTo>
                  <a:pt x="402" y="150"/>
                </a:lnTo>
                <a:lnTo>
                  <a:pt x="402" y="156"/>
                </a:lnTo>
                <a:lnTo>
                  <a:pt x="396" y="156"/>
                </a:lnTo>
                <a:lnTo>
                  <a:pt x="396" y="156"/>
                </a:lnTo>
                <a:lnTo>
                  <a:pt x="390" y="156"/>
                </a:lnTo>
                <a:lnTo>
                  <a:pt x="390" y="156"/>
                </a:lnTo>
                <a:lnTo>
                  <a:pt x="390" y="156"/>
                </a:lnTo>
                <a:lnTo>
                  <a:pt x="390" y="156"/>
                </a:lnTo>
                <a:lnTo>
                  <a:pt x="390" y="156"/>
                </a:lnTo>
                <a:lnTo>
                  <a:pt x="384" y="156"/>
                </a:lnTo>
                <a:lnTo>
                  <a:pt x="384" y="156"/>
                </a:lnTo>
                <a:lnTo>
                  <a:pt x="384" y="156"/>
                </a:lnTo>
                <a:lnTo>
                  <a:pt x="384" y="156"/>
                </a:lnTo>
                <a:lnTo>
                  <a:pt x="384" y="156"/>
                </a:lnTo>
                <a:lnTo>
                  <a:pt x="384" y="156"/>
                </a:lnTo>
                <a:lnTo>
                  <a:pt x="384" y="150"/>
                </a:lnTo>
                <a:lnTo>
                  <a:pt x="378" y="150"/>
                </a:lnTo>
                <a:lnTo>
                  <a:pt x="378" y="150"/>
                </a:lnTo>
                <a:lnTo>
                  <a:pt x="378" y="150"/>
                </a:lnTo>
                <a:lnTo>
                  <a:pt x="378" y="150"/>
                </a:lnTo>
                <a:lnTo>
                  <a:pt x="378" y="150"/>
                </a:lnTo>
                <a:lnTo>
                  <a:pt x="372" y="144"/>
                </a:lnTo>
                <a:lnTo>
                  <a:pt x="372" y="150"/>
                </a:lnTo>
                <a:lnTo>
                  <a:pt x="372" y="144"/>
                </a:lnTo>
                <a:lnTo>
                  <a:pt x="372" y="144"/>
                </a:lnTo>
                <a:lnTo>
                  <a:pt x="372" y="144"/>
                </a:lnTo>
                <a:lnTo>
                  <a:pt x="372" y="144"/>
                </a:lnTo>
                <a:lnTo>
                  <a:pt x="372" y="138"/>
                </a:lnTo>
                <a:lnTo>
                  <a:pt x="372" y="138"/>
                </a:lnTo>
                <a:lnTo>
                  <a:pt x="372" y="138"/>
                </a:lnTo>
                <a:lnTo>
                  <a:pt x="372" y="138"/>
                </a:lnTo>
                <a:lnTo>
                  <a:pt x="372" y="132"/>
                </a:lnTo>
                <a:lnTo>
                  <a:pt x="366" y="132"/>
                </a:lnTo>
                <a:lnTo>
                  <a:pt x="366" y="132"/>
                </a:lnTo>
                <a:lnTo>
                  <a:pt x="366" y="132"/>
                </a:lnTo>
                <a:lnTo>
                  <a:pt x="366" y="126"/>
                </a:lnTo>
                <a:lnTo>
                  <a:pt x="360" y="126"/>
                </a:lnTo>
                <a:lnTo>
                  <a:pt x="360" y="126"/>
                </a:lnTo>
                <a:lnTo>
                  <a:pt x="360" y="126"/>
                </a:lnTo>
                <a:lnTo>
                  <a:pt x="360" y="126"/>
                </a:lnTo>
                <a:lnTo>
                  <a:pt x="360" y="126"/>
                </a:lnTo>
                <a:lnTo>
                  <a:pt x="360" y="126"/>
                </a:lnTo>
                <a:lnTo>
                  <a:pt x="360" y="120"/>
                </a:lnTo>
                <a:lnTo>
                  <a:pt x="360" y="120"/>
                </a:lnTo>
                <a:lnTo>
                  <a:pt x="354" y="126"/>
                </a:lnTo>
                <a:lnTo>
                  <a:pt x="354" y="126"/>
                </a:lnTo>
                <a:lnTo>
                  <a:pt x="354" y="126"/>
                </a:lnTo>
                <a:lnTo>
                  <a:pt x="354" y="126"/>
                </a:lnTo>
                <a:lnTo>
                  <a:pt x="354" y="120"/>
                </a:lnTo>
                <a:lnTo>
                  <a:pt x="348" y="126"/>
                </a:lnTo>
                <a:lnTo>
                  <a:pt x="348" y="120"/>
                </a:lnTo>
                <a:lnTo>
                  <a:pt x="348" y="120"/>
                </a:lnTo>
                <a:lnTo>
                  <a:pt x="348" y="120"/>
                </a:lnTo>
                <a:lnTo>
                  <a:pt x="342" y="126"/>
                </a:lnTo>
                <a:lnTo>
                  <a:pt x="330" y="132"/>
                </a:lnTo>
                <a:lnTo>
                  <a:pt x="330" y="132"/>
                </a:lnTo>
                <a:lnTo>
                  <a:pt x="330" y="132"/>
                </a:lnTo>
                <a:lnTo>
                  <a:pt x="330" y="132"/>
                </a:lnTo>
                <a:lnTo>
                  <a:pt x="330" y="132"/>
                </a:lnTo>
                <a:lnTo>
                  <a:pt x="324" y="132"/>
                </a:lnTo>
                <a:lnTo>
                  <a:pt x="324" y="126"/>
                </a:lnTo>
                <a:lnTo>
                  <a:pt x="324" y="126"/>
                </a:lnTo>
                <a:lnTo>
                  <a:pt x="324" y="126"/>
                </a:lnTo>
                <a:lnTo>
                  <a:pt x="324" y="126"/>
                </a:lnTo>
                <a:lnTo>
                  <a:pt x="324" y="126"/>
                </a:lnTo>
                <a:lnTo>
                  <a:pt x="324" y="126"/>
                </a:lnTo>
                <a:lnTo>
                  <a:pt x="318" y="126"/>
                </a:lnTo>
                <a:lnTo>
                  <a:pt x="318" y="120"/>
                </a:lnTo>
                <a:lnTo>
                  <a:pt x="318" y="120"/>
                </a:lnTo>
                <a:lnTo>
                  <a:pt x="318" y="120"/>
                </a:lnTo>
                <a:lnTo>
                  <a:pt x="318" y="120"/>
                </a:lnTo>
                <a:lnTo>
                  <a:pt x="312" y="120"/>
                </a:lnTo>
                <a:lnTo>
                  <a:pt x="312" y="120"/>
                </a:lnTo>
                <a:lnTo>
                  <a:pt x="312" y="120"/>
                </a:lnTo>
                <a:lnTo>
                  <a:pt x="312" y="120"/>
                </a:lnTo>
                <a:lnTo>
                  <a:pt x="312" y="120"/>
                </a:lnTo>
                <a:lnTo>
                  <a:pt x="306" y="114"/>
                </a:lnTo>
                <a:lnTo>
                  <a:pt x="306" y="120"/>
                </a:lnTo>
                <a:lnTo>
                  <a:pt x="288" y="114"/>
                </a:lnTo>
                <a:lnTo>
                  <a:pt x="282" y="114"/>
                </a:lnTo>
                <a:lnTo>
                  <a:pt x="282" y="114"/>
                </a:lnTo>
                <a:lnTo>
                  <a:pt x="276" y="114"/>
                </a:lnTo>
                <a:lnTo>
                  <a:pt x="276" y="114"/>
                </a:lnTo>
                <a:lnTo>
                  <a:pt x="270" y="114"/>
                </a:lnTo>
                <a:lnTo>
                  <a:pt x="270" y="120"/>
                </a:lnTo>
                <a:lnTo>
                  <a:pt x="264" y="120"/>
                </a:lnTo>
                <a:lnTo>
                  <a:pt x="258" y="126"/>
                </a:lnTo>
                <a:lnTo>
                  <a:pt x="258" y="126"/>
                </a:lnTo>
                <a:lnTo>
                  <a:pt x="252" y="126"/>
                </a:lnTo>
                <a:lnTo>
                  <a:pt x="252" y="126"/>
                </a:lnTo>
                <a:lnTo>
                  <a:pt x="252" y="126"/>
                </a:lnTo>
                <a:lnTo>
                  <a:pt x="246" y="126"/>
                </a:lnTo>
                <a:lnTo>
                  <a:pt x="246" y="126"/>
                </a:lnTo>
                <a:lnTo>
                  <a:pt x="246" y="126"/>
                </a:lnTo>
                <a:lnTo>
                  <a:pt x="246" y="126"/>
                </a:lnTo>
                <a:lnTo>
                  <a:pt x="240" y="126"/>
                </a:lnTo>
                <a:lnTo>
                  <a:pt x="240" y="126"/>
                </a:lnTo>
                <a:lnTo>
                  <a:pt x="240" y="126"/>
                </a:lnTo>
                <a:lnTo>
                  <a:pt x="240" y="126"/>
                </a:lnTo>
                <a:lnTo>
                  <a:pt x="240" y="126"/>
                </a:lnTo>
                <a:lnTo>
                  <a:pt x="234" y="126"/>
                </a:lnTo>
                <a:lnTo>
                  <a:pt x="234" y="126"/>
                </a:lnTo>
                <a:lnTo>
                  <a:pt x="234" y="126"/>
                </a:lnTo>
                <a:lnTo>
                  <a:pt x="228" y="126"/>
                </a:lnTo>
                <a:lnTo>
                  <a:pt x="228" y="126"/>
                </a:lnTo>
                <a:lnTo>
                  <a:pt x="228" y="126"/>
                </a:lnTo>
                <a:lnTo>
                  <a:pt x="228" y="126"/>
                </a:lnTo>
                <a:lnTo>
                  <a:pt x="228" y="126"/>
                </a:lnTo>
                <a:lnTo>
                  <a:pt x="228" y="126"/>
                </a:lnTo>
                <a:lnTo>
                  <a:pt x="222" y="132"/>
                </a:lnTo>
                <a:lnTo>
                  <a:pt x="222" y="132"/>
                </a:lnTo>
                <a:lnTo>
                  <a:pt x="222" y="132"/>
                </a:lnTo>
                <a:lnTo>
                  <a:pt x="222" y="132"/>
                </a:lnTo>
                <a:lnTo>
                  <a:pt x="222" y="132"/>
                </a:lnTo>
                <a:lnTo>
                  <a:pt x="216" y="132"/>
                </a:lnTo>
                <a:lnTo>
                  <a:pt x="222" y="132"/>
                </a:lnTo>
                <a:lnTo>
                  <a:pt x="216" y="132"/>
                </a:lnTo>
                <a:lnTo>
                  <a:pt x="216" y="132"/>
                </a:lnTo>
                <a:lnTo>
                  <a:pt x="216" y="132"/>
                </a:lnTo>
                <a:lnTo>
                  <a:pt x="216" y="132"/>
                </a:lnTo>
                <a:lnTo>
                  <a:pt x="216" y="132"/>
                </a:lnTo>
                <a:lnTo>
                  <a:pt x="216" y="132"/>
                </a:lnTo>
                <a:lnTo>
                  <a:pt x="210" y="126"/>
                </a:lnTo>
                <a:lnTo>
                  <a:pt x="210" y="126"/>
                </a:lnTo>
                <a:lnTo>
                  <a:pt x="210" y="126"/>
                </a:lnTo>
                <a:lnTo>
                  <a:pt x="210" y="120"/>
                </a:lnTo>
                <a:lnTo>
                  <a:pt x="210" y="120"/>
                </a:lnTo>
                <a:lnTo>
                  <a:pt x="210" y="114"/>
                </a:lnTo>
                <a:lnTo>
                  <a:pt x="210" y="114"/>
                </a:lnTo>
                <a:lnTo>
                  <a:pt x="204" y="114"/>
                </a:lnTo>
                <a:lnTo>
                  <a:pt x="210" y="114"/>
                </a:lnTo>
                <a:lnTo>
                  <a:pt x="204" y="120"/>
                </a:lnTo>
                <a:lnTo>
                  <a:pt x="204" y="120"/>
                </a:lnTo>
                <a:lnTo>
                  <a:pt x="204" y="120"/>
                </a:lnTo>
                <a:lnTo>
                  <a:pt x="204" y="114"/>
                </a:lnTo>
                <a:lnTo>
                  <a:pt x="204" y="114"/>
                </a:lnTo>
                <a:lnTo>
                  <a:pt x="204" y="114"/>
                </a:lnTo>
                <a:lnTo>
                  <a:pt x="204" y="114"/>
                </a:lnTo>
                <a:lnTo>
                  <a:pt x="204" y="114"/>
                </a:lnTo>
                <a:lnTo>
                  <a:pt x="204" y="120"/>
                </a:lnTo>
                <a:lnTo>
                  <a:pt x="204" y="120"/>
                </a:lnTo>
                <a:lnTo>
                  <a:pt x="204" y="120"/>
                </a:lnTo>
                <a:lnTo>
                  <a:pt x="198" y="120"/>
                </a:lnTo>
                <a:lnTo>
                  <a:pt x="198" y="120"/>
                </a:lnTo>
                <a:lnTo>
                  <a:pt x="198" y="120"/>
                </a:lnTo>
                <a:lnTo>
                  <a:pt x="198" y="120"/>
                </a:lnTo>
                <a:lnTo>
                  <a:pt x="198" y="120"/>
                </a:lnTo>
                <a:lnTo>
                  <a:pt x="192" y="120"/>
                </a:lnTo>
                <a:lnTo>
                  <a:pt x="192" y="120"/>
                </a:lnTo>
                <a:lnTo>
                  <a:pt x="192" y="120"/>
                </a:lnTo>
                <a:lnTo>
                  <a:pt x="186" y="120"/>
                </a:lnTo>
                <a:lnTo>
                  <a:pt x="186" y="126"/>
                </a:lnTo>
                <a:lnTo>
                  <a:pt x="186" y="126"/>
                </a:lnTo>
                <a:lnTo>
                  <a:pt x="186" y="126"/>
                </a:lnTo>
                <a:lnTo>
                  <a:pt x="186" y="126"/>
                </a:lnTo>
                <a:lnTo>
                  <a:pt x="186" y="126"/>
                </a:lnTo>
                <a:lnTo>
                  <a:pt x="180" y="126"/>
                </a:lnTo>
                <a:lnTo>
                  <a:pt x="180" y="126"/>
                </a:lnTo>
                <a:lnTo>
                  <a:pt x="180" y="126"/>
                </a:lnTo>
                <a:lnTo>
                  <a:pt x="180" y="126"/>
                </a:lnTo>
                <a:lnTo>
                  <a:pt x="180" y="132"/>
                </a:lnTo>
                <a:lnTo>
                  <a:pt x="180" y="132"/>
                </a:lnTo>
                <a:lnTo>
                  <a:pt x="174" y="132"/>
                </a:lnTo>
                <a:lnTo>
                  <a:pt x="174" y="132"/>
                </a:lnTo>
                <a:lnTo>
                  <a:pt x="174" y="132"/>
                </a:lnTo>
                <a:lnTo>
                  <a:pt x="174" y="132"/>
                </a:lnTo>
                <a:lnTo>
                  <a:pt x="174" y="126"/>
                </a:lnTo>
                <a:lnTo>
                  <a:pt x="174" y="126"/>
                </a:lnTo>
                <a:lnTo>
                  <a:pt x="174" y="126"/>
                </a:lnTo>
                <a:lnTo>
                  <a:pt x="174" y="126"/>
                </a:lnTo>
                <a:lnTo>
                  <a:pt x="168" y="126"/>
                </a:lnTo>
                <a:lnTo>
                  <a:pt x="168" y="126"/>
                </a:lnTo>
                <a:lnTo>
                  <a:pt x="168" y="126"/>
                </a:lnTo>
                <a:lnTo>
                  <a:pt x="168" y="126"/>
                </a:lnTo>
                <a:lnTo>
                  <a:pt x="168" y="126"/>
                </a:lnTo>
                <a:lnTo>
                  <a:pt x="168" y="126"/>
                </a:lnTo>
                <a:lnTo>
                  <a:pt x="168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44" y="126"/>
                </a:lnTo>
                <a:lnTo>
                  <a:pt x="144" y="126"/>
                </a:lnTo>
                <a:lnTo>
                  <a:pt x="144" y="126"/>
                </a:lnTo>
                <a:lnTo>
                  <a:pt x="144" y="126"/>
                </a:lnTo>
                <a:lnTo>
                  <a:pt x="144" y="126"/>
                </a:lnTo>
                <a:lnTo>
                  <a:pt x="138" y="126"/>
                </a:lnTo>
                <a:lnTo>
                  <a:pt x="138" y="126"/>
                </a:lnTo>
                <a:lnTo>
                  <a:pt x="138" y="126"/>
                </a:lnTo>
                <a:lnTo>
                  <a:pt x="138" y="120"/>
                </a:lnTo>
                <a:lnTo>
                  <a:pt x="138" y="120"/>
                </a:lnTo>
                <a:lnTo>
                  <a:pt x="138" y="120"/>
                </a:lnTo>
                <a:lnTo>
                  <a:pt x="132" y="120"/>
                </a:lnTo>
                <a:lnTo>
                  <a:pt x="132" y="120"/>
                </a:lnTo>
                <a:lnTo>
                  <a:pt x="132" y="120"/>
                </a:lnTo>
                <a:lnTo>
                  <a:pt x="132" y="120"/>
                </a:lnTo>
                <a:lnTo>
                  <a:pt x="132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0" y="120"/>
                </a:lnTo>
                <a:lnTo>
                  <a:pt x="120" y="120"/>
                </a:lnTo>
                <a:lnTo>
                  <a:pt x="120" y="120"/>
                </a:lnTo>
                <a:lnTo>
                  <a:pt x="120" y="120"/>
                </a:lnTo>
                <a:lnTo>
                  <a:pt x="120" y="120"/>
                </a:lnTo>
                <a:lnTo>
                  <a:pt x="120" y="120"/>
                </a:lnTo>
                <a:lnTo>
                  <a:pt x="114" y="126"/>
                </a:lnTo>
                <a:lnTo>
                  <a:pt x="114" y="120"/>
                </a:lnTo>
                <a:lnTo>
                  <a:pt x="114" y="126"/>
                </a:lnTo>
                <a:lnTo>
                  <a:pt x="114" y="126"/>
                </a:lnTo>
                <a:lnTo>
                  <a:pt x="114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2" y="126"/>
                </a:lnTo>
                <a:lnTo>
                  <a:pt x="102" y="126"/>
                </a:lnTo>
                <a:lnTo>
                  <a:pt x="96" y="126"/>
                </a:lnTo>
                <a:lnTo>
                  <a:pt x="96" y="126"/>
                </a:lnTo>
                <a:lnTo>
                  <a:pt x="90" y="126"/>
                </a:lnTo>
                <a:lnTo>
                  <a:pt x="90" y="126"/>
                </a:lnTo>
                <a:lnTo>
                  <a:pt x="90" y="126"/>
                </a:lnTo>
                <a:lnTo>
                  <a:pt x="90" y="126"/>
                </a:lnTo>
                <a:lnTo>
                  <a:pt x="90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66" y="138"/>
                </a:lnTo>
                <a:lnTo>
                  <a:pt x="66" y="138"/>
                </a:lnTo>
                <a:lnTo>
                  <a:pt x="66" y="138"/>
                </a:lnTo>
                <a:lnTo>
                  <a:pt x="66" y="138"/>
                </a:lnTo>
                <a:lnTo>
                  <a:pt x="60" y="138"/>
                </a:lnTo>
                <a:lnTo>
                  <a:pt x="60" y="138"/>
                </a:lnTo>
                <a:lnTo>
                  <a:pt x="60" y="132"/>
                </a:lnTo>
                <a:lnTo>
                  <a:pt x="60" y="132"/>
                </a:lnTo>
                <a:lnTo>
                  <a:pt x="60" y="138"/>
                </a:lnTo>
                <a:lnTo>
                  <a:pt x="60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44"/>
                </a:lnTo>
                <a:lnTo>
                  <a:pt x="48" y="144"/>
                </a:lnTo>
                <a:lnTo>
                  <a:pt x="48" y="144"/>
                </a:lnTo>
                <a:lnTo>
                  <a:pt x="54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2" y="150"/>
                </a:lnTo>
                <a:lnTo>
                  <a:pt x="42" y="156"/>
                </a:lnTo>
                <a:lnTo>
                  <a:pt x="42" y="156"/>
                </a:lnTo>
                <a:lnTo>
                  <a:pt x="36" y="156"/>
                </a:lnTo>
                <a:lnTo>
                  <a:pt x="36" y="156"/>
                </a:lnTo>
                <a:lnTo>
                  <a:pt x="36" y="162"/>
                </a:lnTo>
                <a:lnTo>
                  <a:pt x="36" y="162"/>
                </a:lnTo>
                <a:lnTo>
                  <a:pt x="36" y="168"/>
                </a:lnTo>
                <a:lnTo>
                  <a:pt x="36" y="168"/>
                </a:lnTo>
                <a:lnTo>
                  <a:pt x="30" y="168"/>
                </a:lnTo>
                <a:lnTo>
                  <a:pt x="30" y="16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14" name="Freeform 47"/>
          <p:cNvSpPr>
            <a:spLocks/>
          </p:cNvSpPr>
          <p:nvPr/>
        </p:nvSpPr>
        <p:spPr bwMode="auto">
          <a:xfrm>
            <a:off x="6575620" y="1578214"/>
            <a:ext cx="289082" cy="289084"/>
          </a:xfrm>
          <a:custGeom>
            <a:avLst/>
            <a:gdLst>
              <a:gd name="T0" fmla="*/ 12 w 270"/>
              <a:gd name="T1" fmla="*/ 114 h 270"/>
              <a:gd name="T2" fmla="*/ 36 w 270"/>
              <a:gd name="T3" fmla="*/ 108 h 270"/>
              <a:gd name="T4" fmla="*/ 114 w 270"/>
              <a:gd name="T5" fmla="*/ 84 h 270"/>
              <a:gd name="T6" fmla="*/ 114 w 270"/>
              <a:gd name="T7" fmla="*/ 72 h 270"/>
              <a:gd name="T8" fmla="*/ 126 w 270"/>
              <a:gd name="T9" fmla="*/ 66 h 270"/>
              <a:gd name="T10" fmla="*/ 132 w 270"/>
              <a:gd name="T11" fmla="*/ 48 h 270"/>
              <a:gd name="T12" fmla="*/ 126 w 270"/>
              <a:gd name="T13" fmla="*/ 36 h 270"/>
              <a:gd name="T14" fmla="*/ 144 w 270"/>
              <a:gd name="T15" fmla="*/ 30 h 270"/>
              <a:gd name="T16" fmla="*/ 156 w 270"/>
              <a:gd name="T17" fmla="*/ 24 h 270"/>
              <a:gd name="T18" fmla="*/ 168 w 270"/>
              <a:gd name="T19" fmla="*/ 18 h 270"/>
              <a:gd name="T20" fmla="*/ 180 w 270"/>
              <a:gd name="T21" fmla="*/ 12 h 270"/>
              <a:gd name="T22" fmla="*/ 198 w 270"/>
              <a:gd name="T23" fmla="*/ 0 h 270"/>
              <a:gd name="T24" fmla="*/ 252 w 270"/>
              <a:gd name="T25" fmla="*/ 18 h 270"/>
              <a:gd name="T26" fmla="*/ 252 w 270"/>
              <a:gd name="T27" fmla="*/ 24 h 270"/>
              <a:gd name="T28" fmla="*/ 234 w 270"/>
              <a:gd name="T29" fmla="*/ 18 h 270"/>
              <a:gd name="T30" fmla="*/ 222 w 270"/>
              <a:gd name="T31" fmla="*/ 30 h 270"/>
              <a:gd name="T32" fmla="*/ 222 w 270"/>
              <a:gd name="T33" fmla="*/ 48 h 270"/>
              <a:gd name="T34" fmla="*/ 234 w 270"/>
              <a:gd name="T35" fmla="*/ 54 h 270"/>
              <a:gd name="T36" fmla="*/ 240 w 270"/>
              <a:gd name="T37" fmla="*/ 66 h 270"/>
              <a:gd name="T38" fmla="*/ 246 w 270"/>
              <a:gd name="T39" fmla="*/ 72 h 270"/>
              <a:gd name="T40" fmla="*/ 246 w 270"/>
              <a:gd name="T41" fmla="*/ 84 h 270"/>
              <a:gd name="T42" fmla="*/ 240 w 270"/>
              <a:gd name="T43" fmla="*/ 84 h 270"/>
              <a:gd name="T44" fmla="*/ 192 w 270"/>
              <a:gd name="T45" fmla="*/ 84 h 270"/>
              <a:gd name="T46" fmla="*/ 192 w 270"/>
              <a:gd name="T47" fmla="*/ 126 h 270"/>
              <a:gd name="T48" fmla="*/ 222 w 270"/>
              <a:gd name="T49" fmla="*/ 132 h 270"/>
              <a:gd name="T50" fmla="*/ 234 w 270"/>
              <a:gd name="T51" fmla="*/ 126 h 270"/>
              <a:gd name="T52" fmla="*/ 246 w 270"/>
              <a:gd name="T53" fmla="*/ 120 h 270"/>
              <a:gd name="T54" fmla="*/ 258 w 270"/>
              <a:gd name="T55" fmla="*/ 126 h 270"/>
              <a:gd name="T56" fmla="*/ 252 w 270"/>
              <a:gd name="T57" fmla="*/ 198 h 270"/>
              <a:gd name="T58" fmla="*/ 246 w 270"/>
              <a:gd name="T59" fmla="*/ 210 h 270"/>
              <a:gd name="T60" fmla="*/ 240 w 270"/>
              <a:gd name="T61" fmla="*/ 222 h 270"/>
              <a:gd name="T62" fmla="*/ 240 w 270"/>
              <a:gd name="T63" fmla="*/ 240 h 270"/>
              <a:gd name="T64" fmla="*/ 228 w 270"/>
              <a:gd name="T65" fmla="*/ 246 h 270"/>
              <a:gd name="T66" fmla="*/ 210 w 270"/>
              <a:gd name="T67" fmla="*/ 240 h 270"/>
              <a:gd name="T68" fmla="*/ 210 w 270"/>
              <a:gd name="T69" fmla="*/ 258 h 270"/>
              <a:gd name="T70" fmla="*/ 204 w 270"/>
              <a:gd name="T71" fmla="*/ 264 h 270"/>
              <a:gd name="T72" fmla="*/ 192 w 270"/>
              <a:gd name="T73" fmla="*/ 264 h 270"/>
              <a:gd name="T74" fmla="*/ 174 w 270"/>
              <a:gd name="T75" fmla="*/ 264 h 270"/>
              <a:gd name="T76" fmla="*/ 168 w 270"/>
              <a:gd name="T77" fmla="*/ 264 h 270"/>
              <a:gd name="T78" fmla="*/ 150 w 270"/>
              <a:gd name="T79" fmla="*/ 264 h 270"/>
              <a:gd name="T80" fmla="*/ 138 w 270"/>
              <a:gd name="T81" fmla="*/ 264 h 270"/>
              <a:gd name="T82" fmla="*/ 126 w 270"/>
              <a:gd name="T83" fmla="*/ 264 h 270"/>
              <a:gd name="T84" fmla="*/ 108 w 270"/>
              <a:gd name="T85" fmla="*/ 258 h 270"/>
              <a:gd name="T86" fmla="*/ 96 w 270"/>
              <a:gd name="T87" fmla="*/ 252 h 270"/>
              <a:gd name="T88" fmla="*/ 84 w 270"/>
              <a:gd name="T89" fmla="*/ 252 h 270"/>
              <a:gd name="T90" fmla="*/ 72 w 270"/>
              <a:gd name="T91" fmla="*/ 240 h 270"/>
              <a:gd name="T92" fmla="*/ 60 w 270"/>
              <a:gd name="T93" fmla="*/ 234 h 270"/>
              <a:gd name="T94" fmla="*/ 48 w 270"/>
              <a:gd name="T95" fmla="*/ 234 h 270"/>
              <a:gd name="T96" fmla="*/ 24 w 270"/>
              <a:gd name="T97" fmla="*/ 228 h 270"/>
              <a:gd name="T98" fmla="*/ 12 w 270"/>
              <a:gd name="T99" fmla="*/ 228 h 270"/>
              <a:gd name="T100" fmla="*/ 12 w 270"/>
              <a:gd name="T101" fmla="*/ 222 h 270"/>
              <a:gd name="T102" fmla="*/ 12 w 270"/>
              <a:gd name="T103" fmla="*/ 210 h 270"/>
              <a:gd name="T104" fmla="*/ 18 w 270"/>
              <a:gd name="T105" fmla="*/ 192 h 270"/>
              <a:gd name="T106" fmla="*/ 6 w 270"/>
              <a:gd name="T107" fmla="*/ 186 h 270"/>
              <a:gd name="T108" fmla="*/ 6 w 270"/>
              <a:gd name="T109" fmla="*/ 174 h 270"/>
              <a:gd name="T110" fmla="*/ 12 w 270"/>
              <a:gd name="T111" fmla="*/ 162 h 270"/>
              <a:gd name="T112" fmla="*/ 12 w 270"/>
              <a:gd name="T113" fmla="*/ 150 h 270"/>
              <a:gd name="T114" fmla="*/ 12 w 270"/>
              <a:gd name="T115" fmla="*/ 138 h 270"/>
              <a:gd name="T116" fmla="*/ 0 w 270"/>
              <a:gd name="T117" fmla="*/ 126 h 270"/>
              <a:gd name="T118" fmla="*/ 0 w 270"/>
              <a:gd name="T119" fmla="*/ 114 h 2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70" h="270">
                <a:moveTo>
                  <a:pt x="0" y="114"/>
                </a:moveTo>
                <a:lnTo>
                  <a:pt x="0" y="108"/>
                </a:lnTo>
                <a:lnTo>
                  <a:pt x="0" y="108"/>
                </a:lnTo>
                <a:lnTo>
                  <a:pt x="0" y="114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12" y="114"/>
                </a:lnTo>
                <a:lnTo>
                  <a:pt x="12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08"/>
                </a:lnTo>
                <a:lnTo>
                  <a:pt x="30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2"/>
                </a:lnTo>
                <a:lnTo>
                  <a:pt x="42" y="102"/>
                </a:lnTo>
                <a:lnTo>
                  <a:pt x="42" y="102"/>
                </a:lnTo>
                <a:lnTo>
                  <a:pt x="12" y="60"/>
                </a:lnTo>
                <a:lnTo>
                  <a:pt x="42" y="66"/>
                </a:lnTo>
                <a:lnTo>
                  <a:pt x="72" y="72"/>
                </a:lnTo>
                <a:lnTo>
                  <a:pt x="90" y="78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08" y="78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32" y="54"/>
                </a:lnTo>
                <a:lnTo>
                  <a:pt x="132" y="54"/>
                </a:lnTo>
                <a:lnTo>
                  <a:pt x="132" y="54"/>
                </a:lnTo>
                <a:lnTo>
                  <a:pt x="132" y="54"/>
                </a:lnTo>
                <a:lnTo>
                  <a:pt x="132" y="54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0"/>
                </a:lnTo>
                <a:lnTo>
                  <a:pt x="132" y="36"/>
                </a:lnTo>
                <a:lnTo>
                  <a:pt x="132" y="36"/>
                </a:lnTo>
                <a:lnTo>
                  <a:pt x="138" y="30"/>
                </a:lnTo>
                <a:lnTo>
                  <a:pt x="138" y="36"/>
                </a:lnTo>
                <a:lnTo>
                  <a:pt x="138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56" y="30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18"/>
                </a:lnTo>
                <a:lnTo>
                  <a:pt x="168" y="18"/>
                </a:lnTo>
                <a:lnTo>
                  <a:pt x="174" y="18"/>
                </a:lnTo>
                <a:lnTo>
                  <a:pt x="174" y="18"/>
                </a:lnTo>
                <a:lnTo>
                  <a:pt x="174" y="12"/>
                </a:lnTo>
                <a:lnTo>
                  <a:pt x="174" y="18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80" y="12"/>
                </a:lnTo>
                <a:lnTo>
                  <a:pt x="180" y="12"/>
                </a:lnTo>
                <a:lnTo>
                  <a:pt x="180" y="12"/>
                </a:lnTo>
                <a:lnTo>
                  <a:pt x="180" y="12"/>
                </a:lnTo>
                <a:lnTo>
                  <a:pt x="180" y="6"/>
                </a:lnTo>
                <a:lnTo>
                  <a:pt x="180" y="6"/>
                </a:lnTo>
                <a:lnTo>
                  <a:pt x="180" y="6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98" y="0"/>
                </a:lnTo>
                <a:lnTo>
                  <a:pt x="234" y="0"/>
                </a:lnTo>
                <a:lnTo>
                  <a:pt x="270" y="0"/>
                </a:lnTo>
                <a:lnTo>
                  <a:pt x="270" y="0"/>
                </a:lnTo>
                <a:lnTo>
                  <a:pt x="264" y="0"/>
                </a:lnTo>
                <a:lnTo>
                  <a:pt x="258" y="6"/>
                </a:lnTo>
                <a:lnTo>
                  <a:pt x="252" y="12"/>
                </a:lnTo>
                <a:lnTo>
                  <a:pt x="252" y="18"/>
                </a:lnTo>
                <a:lnTo>
                  <a:pt x="252" y="18"/>
                </a:lnTo>
                <a:lnTo>
                  <a:pt x="252" y="18"/>
                </a:lnTo>
                <a:lnTo>
                  <a:pt x="252" y="18"/>
                </a:lnTo>
                <a:lnTo>
                  <a:pt x="252" y="18"/>
                </a:lnTo>
                <a:lnTo>
                  <a:pt x="252" y="18"/>
                </a:lnTo>
                <a:lnTo>
                  <a:pt x="252" y="18"/>
                </a:lnTo>
                <a:lnTo>
                  <a:pt x="252" y="18"/>
                </a:lnTo>
                <a:lnTo>
                  <a:pt x="252" y="18"/>
                </a:lnTo>
                <a:lnTo>
                  <a:pt x="258" y="18"/>
                </a:lnTo>
                <a:lnTo>
                  <a:pt x="252" y="18"/>
                </a:lnTo>
                <a:lnTo>
                  <a:pt x="252" y="24"/>
                </a:lnTo>
                <a:lnTo>
                  <a:pt x="252" y="24"/>
                </a:lnTo>
                <a:lnTo>
                  <a:pt x="252" y="24"/>
                </a:lnTo>
                <a:lnTo>
                  <a:pt x="246" y="24"/>
                </a:lnTo>
                <a:lnTo>
                  <a:pt x="246" y="24"/>
                </a:lnTo>
                <a:lnTo>
                  <a:pt x="240" y="18"/>
                </a:lnTo>
                <a:lnTo>
                  <a:pt x="240" y="18"/>
                </a:lnTo>
                <a:lnTo>
                  <a:pt x="240" y="18"/>
                </a:lnTo>
                <a:lnTo>
                  <a:pt x="234" y="18"/>
                </a:lnTo>
                <a:lnTo>
                  <a:pt x="234" y="18"/>
                </a:lnTo>
                <a:lnTo>
                  <a:pt x="234" y="18"/>
                </a:lnTo>
                <a:lnTo>
                  <a:pt x="234" y="18"/>
                </a:lnTo>
                <a:lnTo>
                  <a:pt x="234" y="18"/>
                </a:lnTo>
                <a:lnTo>
                  <a:pt x="234" y="24"/>
                </a:lnTo>
                <a:lnTo>
                  <a:pt x="234" y="24"/>
                </a:lnTo>
                <a:lnTo>
                  <a:pt x="234" y="24"/>
                </a:lnTo>
                <a:lnTo>
                  <a:pt x="228" y="24"/>
                </a:lnTo>
                <a:lnTo>
                  <a:pt x="228" y="24"/>
                </a:lnTo>
                <a:lnTo>
                  <a:pt x="228" y="30"/>
                </a:lnTo>
                <a:lnTo>
                  <a:pt x="228" y="30"/>
                </a:lnTo>
                <a:lnTo>
                  <a:pt x="222" y="30"/>
                </a:lnTo>
                <a:lnTo>
                  <a:pt x="222" y="30"/>
                </a:lnTo>
                <a:lnTo>
                  <a:pt x="222" y="30"/>
                </a:lnTo>
                <a:lnTo>
                  <a:pt x="222" y="36"/>
                </a:lnTo>
                <a:lnTo>
                  <a:pt x="222" y="36"/>
                </a:lnTo>
                <a:lnTo>
                  <a:pt x="222" y="42"/>
                </a:lnTo>
                <a:lnTo>
                  <a:pt x="222" y="42"/>
                </a:lnTo>
                <a:lnTo>
                  <a:pt x="222" y="48"/>
                </a:lnTo>
                <a:lnTo>
                  <a:pt x="222" y="48"/>
                </a:lnTo>
                <a:lnTo>
                  <a:pt x="222" y="48"/>
                </a:lnTo>
                <a:lnTo>
                  <a:pt x="222" y="48"/>
                </a:lnTo>
                <a:lnTo>
                  <a:pt x="222" y="48"/>
                </a:lnTo>
                <a:lnTo>
                  <a:pt x="222" y="48"/>
                </a:lnTo>
                <a:lnTo>
                  <a:pt x="228" y="48"/>
                </a:lnTo>
                <a:lnTo>
                  <a:pt x="228" y="48"/>
                </a:lnTo>
                <a:lnTo>
                  <a:pt x="228" y="48"/>
                </a:lnTo>
                <a:lnTo>
                  <a:pt x="228" y="48"/>
                </a:lnTo>
                <a:lnTo>
                  <a:pt x="228" y="48"/>
                </a:lnTo>
                <a:lnTo>
                  <a:pt x="234" y="48"/>
                </a:lnTo>
                <a:lnTo>
                  <a:pt x="234" y="48"/>
                </a:lnTo>
                <a:lnTo>
                  <a:pt x="234" y="54"/>
                </a:lnTo>
                <a:lnTo>
                  <a:pt x="234" y="54"/>
                </a:lnTo>
                <a:lnTo>
                  <a:pt x="234" y="54"/>
                </a:lnTo>
                <a:lnTo>
                  <a:pt x="240" y="54"/>
                </a:lnTo>
                <a:lnTo>
                  <a:pt x="240" y="54"/>
                </a:lnTo>
                <a:lnTo>
                  <a:pt x="240" y="54"/>
                </a:lnTo>
                <a:lnTo>
                  <a:pt x="240" y="54"/>
                </a:lnTo>
                <a:lnTo>
                  <a:pt x="240" y="54"/>
                </a:lnTo>
                <a:lnTo>
                  <a:pt x="240" y="60"/>
                </a:lnTo>
                <a:lnTo>
                  <a:pt x="240" y="60"/>
                </a:lnTo>
                <a:lnTo>
                  <a:pt x="240" y="66"/>
                </a:lnTo>
                <a:lnTo>
                  <a:pt x="240" y="66"/>
                </a:lnTo>
                <a:lnTo>
                  <a:pt x="240" y="66"/>
                </a:lnTo>
                <a:lnTo>
                  <a:pt x="240" y="66"/>
                </a:lnTo>
                <a:lnTo>
                  <a:pt x="240" y="66"/>
                </a:lnTo>
                <a:lnTo>
                  <a:pt x="240" y="66"/>
                </a:lnTo>
                <a:lnTo>
                  <a:pt x="240" y="66"/>
                </a:lnTo>
                <a:lnTo>
                  <a:pt x="240" y="72"/>
                </a:lnTo>
                <a:lnTo>
                  <a:pt x="240" y="72"/>
                </a:lnTo>
                <a:lnTo>
                  <a:pt x="246" y="72"/>
                </a:lnTo>
                <a:lnTo>
                  <a:pt x="240" y="72"/>
                </a:lnTo>
                <a:lnTo>
                  <a:pt x="246" y="72"/>
                </a:lnTo>
                <a:lnTo>
                  <a:pt x="246" y="72"/>
                </a:lnTo>
                <a:lnTo>
                  <a:pt x="246" y="72"/>
                </a:lnTo>
                <a:lnTo>
                  <a:pt x="246" y="78"/>
                </a:lnTo>
                <a:lnTo>
                  <a:pt x="246" y="78"/>
                </a:lnTo>
                <a:lnTo>
                  <a:pt x="246" y="78"/>
                </a:lnTo>
                <a:lnTo>
                  <a:pt x="246" y="78"/>
                </a:lnTo>
                <a:lnTo>
                  <a:pt x="246" y="78"/>
                </a:lnTo>
                <a:lnTo>
                  <a:pt x="246" y="78"/>
                </a:lnTo>
                <a:lnTo>
                  <a:pt x="246" y="78"/>
                </a:lnTo>
                <a:lnTo>
                  <a:pt x="246" y="84"/>
                </a:lnTo>
                <a:lnTo>
                  <a:pt x="246" y="84"/>
                </a:lnTo>
                <a:lnTo>
                  <a:pt x="252" y="84"/>
                </a:lnTo>
                <a:lnTo>
                  <a:pt x="252" y="90"/>
                </a:lnTo>
                <a:lnTo>
                  <a:pt x="252" y="90"/>
                </a:lnTo>
                <a:lnTo>
                  <a:pt x="252" y="90"/>
                </a:lnTo>
                <a:lnTo>
                  <a:pt x="246" y="90"/>
                </a:lnTo>
                <a:lnTo>
                  <a:pt x="246" y="90"/>
                </a:lnTo>
                <a:lnTo>
                  <a:pt x="246" y="90"/>
                </a:lnTo>
                <a:lnTo>
                  <a:pt x="246" y="90"/>
                </a:lnTo>
                <a:lnTo>
                  <a:pt x="240" y="84"/>
                </a:lnTo>
                <a:lnTo>
                  <a:pt x="240" y="84"/>
                </a:lnTo>
                <a:lnTo>
                  <a:pt x="240" y="78"/>
                </a:lnTo>
                <a:lnTo>
                  <a:pt x="240" y="78"/>
                </a:lnTo>
                <a:lnTo>
                  <a:pt x="234" y="78"/>
                </a:lnTo>
                <a:lnTo>
                  <a:pt x="234" y="78"/>
                </a:lnTo>
                <a:lnTo>
                  <a:pt x="228" y="84"/>
                </a:lnTo>
                <a:lnTo>
                  <a:pt x="228" y="84"/>
                </a:lnTo>
                <a:lnTo>
                  <a:pt x="228" y="84"/>
                </a:lnTo>
                <a:lnTo>
                  <a:pt x="204" y="84"/>
                </a:lnTo>
                <a:lnTo>
                  <a:pt x="198" y="84"/>
                </a:lnTo>
                <a:lnTo>
                  <a:pt x="192" y="84"/>
                </a:lnTo>
                <a:lnTo>
                  <a:pt x="180" y="84"/>
                </a:lnTo>
                <a:lnTo>
                  <a:pt x="180" y="96"/>
                </a:lnTo>
                <a:lnTo>
                  <a:pt x="180" y="102"/>
                </a:lnTo>
                <a:lnTo>
                  <a:pt x="186" y="108"/>
                </a:lnTo>
                <a:lnTo>
                  <a:pt x="186" y="108"/>
                </a:lnTo>
                <a:lnTo>
                  <a:pt x="186" y="120"/>
                </a:lnTo>
                <a:lnTo>
                  <a:pt x="192" y="120"/>
                </a:lnTo>
                <a:lnTo>
                  <a:pt x="192" y="126"/>
                </a:lnTo>
                <a:lnTo>
                  <a:pt x="192" y="126"/>
                </a:lnTo>
                <a:lnTo>
                  <a:pt x="192" y="126"/>
                </a:lnTo>
                <a:lnTo>
                  <a:pt x="192" y="132"/>
                </a:lnTo>
                <a:lnTo>
                  <a:pt x="192" y="138"/>
                </a:lnTo>
                <a:lnTo>
                  <a:pt x="192" y="138"/>
                </a:lnTo>
                <a:lnTo>
                  <a:pt x="192" y="144"/>
                </a:lnTo>
                <a:lnTo>
                  <a:pt x="216" y="144"/>
                </a:lnTo>
                <a:lnTo>
                  <a:pt x="216" y="138"/>
                </a:lnTo>
                <a:lnTo>
                  <a:pt x="216" y="138"/>
                </a:lnTo>
                <a:lnTo>
                  <a:pt x="222" y="138"/>
                </a:lnTo>
                <a:lnTo>
                  <a:pt x="222" y="138"/>
                </a:lnTo>
                <a:lnTo>
                  <a:pt x="222" y="132"/>
                </a:lnTo>
                <a:lnTo>
                  <a:pt x="222" y="132"/>
                </a:lnTo>
                <a:lnTo>
                  <a:pt x="222" y="132"/>
                </a:lnTo>
                <a:lnTo>
                  <a:pt x="228" y="132"/>
                </a:lnTo>
                <a:lnTo>
                  <a:pt x="228" y="132"/>
                </a:lnTo>
                <a:lnTo>
                  <a:pt x="228" y="132"/>
                </a:lnTo>
                <a:lnTo>
                  <a:pt x="228" y="132"/>
                </a:lnTo>
                <a:lnTo>
                  <a:pt x="234" y="132"/>
                </a:lnTo>
                <a:lnTo>
                  <a:pt x="234" y="126"/>
                </a:lnTo>
                <a:lnTo>
                  <a:pt x="234" y="126"/>
                </a:lnTo>
                <a:lnTo>
                  <a:pt x="234" y="126"/>
                </a:lnTo>
                <a:lnTo>
                  <a:pt x="234" y="126"/>
                </a:lnTo>
                <a:lnTo>
                  <a:pt x="234" y="126"/>
                </a:lnTo>
                <a:lnTo>
                  <a:pt x="234" y="126"/>
                </a:lnTo>
                <a:lnTo>
                  <a:pt x="240" y="126"/>
                </a:lnTo>
                <a:lnTo>
                  <a:pt x="240" y="120"/>
                </a:lnTo>
                <a:lnTo>
                  <a:pt x="240" y="120"/>
                </a:lnTo>
                <a:lnTo>
                  <a:pt x="240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52" y="120"/>
                </a:lnTo>
                <a:lnTo>
                  <a:pt x="252" y="120"/>
                </a:lnTo>
                <a:lnTo>
                  <a:pt x="252" y="120"/>
                </a:lnTo>
                <a:lnTo>
                  <a:pt x="258" y="120"/>
                </a:lnTo>
                <a:lnTo>
                  <a:pt x="252" y="120"/>
                </a:lnTo>
                <a:lnTo>
                  <a:pt x="258" y="126"/>
                </a:lnTo>
                <a:lnTo>
                  <a:pt x="258" y="126"/>
                </a:lnTo>
                <a:lnTo>
                  <a:pt x="258" y="126"/>
                </a:lnTo>
                <a:lnTo>
                  <a:pt x="258" y="126"/>
                </a:lnTo>
                <a:lnTo>
                  <a:pt x="258" y="126"/>
                </a:lnTo>
                <a:lnTo>
                  <a:pt x="258" y="132"/>
                </a:lnTo>
                <a:lnTo>
                  <a:pt x="258" y="186"/>
                </a:lnTo>
                <a:lnTo>
                  <a:pt x="264" y="198"/>
                </a:lnTo>
                <a:lnTo>
                  <a:pt x="258" y="198"/>
                </a:lnTo>
                <a:lnTo>
                  <a:pt x="258" y="198"/>
                </a:lnTo>
                <a:lnTo>
                  <a:pt x="252" y="198"/>
                </a:lnTo>
                <a:lnTo>
                  <a:pt x="252" y="198"/>
                </a:lnTo>
                <a:lnTo>
                  <a:pt x="252" y="198"/>
                </a:lnTo>
                <a:lnTo>
                  <a:pt x="252" y="204"/>
                </a:lnTo>
                <a:lnTo>
                  <a:pt x="252" y="204"/>
                </a:lnTo>
                <a:lnTo>
                  <a:pt x="252" y="204"/>
                </a:lnTo>
                <a:lnTo>
                  <a:pt x="246" y="204"/>
                </a:lnTo>
                <a:lnTo>
                  <a:pt x="246" y="204"/>
                </a:lnTo>
                <a:lnTo>
                  <a:pt x="246" y="204"/>
                </a:lnTo>
                <a:lnTo>
                  <a:pt x="246" y="204"/>
                </a:lnTo>
                <a:lnTo>
                  <a:pt x="246" y="210"/>
                </a:lnTo>
                <a:lnTo>
                  <a:pt x="246" y="210"/>
                </a:lnTo>
                <a:lnTo>
                  <a:pt x="246" y="210"/>
                </a:lnTo>
                <a:lnTo>
                  <a:pt x="246" y="210"/>
                </a:lnTo>
                <a:lnTo>
                  <a:pt x="246" y="210"/>
                </a:lnTo>
                <a:lnTo>
                  <a:pt x="246" y="216"/>
                </a:lnTo>
                <a:lnTo>
                  <a:pt x="240" y="216"/>
                </a:lnTo>
                <a:lnTo>
                  <a:pt x="240" y="216"/>
                </a:lnTo>
                <a:lnTo>
                  <a:pt x="240" y="216"/>
                </a:lnTo>
                <a:lnTo>
                  <a:pt x="240" y="222"/>
                </a:lnTo>
                <a:lnTo>
                  <a:pt x="240" y="222"/>
                </a:lnTo>
                <a:lnTo>
                  <a:pt x="240" y="222"/>
                </a:lnTo>
                <a:lnTo>
                  <a:pt x="240" y="222"/>
                </a:lnTo>
                <a:lnTo>
                  <a:pt x="240" y="228"/>
                </a:lnTo>
                <a:lnTo>
                  <a:pt x="240" y="228"/>
                </a:lnTo>
                <a:lnTo>
                  <a:pt x="240" y="228"/>
                </a:lnTo>
                <a:lnTo>
                  <a:pt x="240" y="234"/>
                </a:lnTo>
                <a:lnTo>
                  <a:pt x="240" y="234"/>
                </a:lnTo>
                <a:lnTo>
                  <a:pt x="240" y="234"/>
                </a:lnTo>
                <a:lnTo>
                  <a:pt x="234" y="240"/>
                </a:lnTo>
                <a:lnTo>
                  <a:pt x="234" y="240"/>
                </a:lnTo>
                <a:lnTo>
                  <a:pt x="240" y="240"/>
                </a:lnTo>
                <a:lnTo>
                  <a:pt x="240" y="240"/>
                </a:lnTo>
                <a:lnTo>
                  <a:pt x="240" y="240"/>
                </a:lnTo>
                <a:lnTo>
                  <a:pt x="240" y="246"/>
                </a:lnTo>
                <a:lnTo>
                  <a:pt x="240" y="246"/>
                </a:lnTo>
                <a:lnTo>
                  <a:pt x="240" y="246"/>
                </a:lnTo>
                <a:lnTo>
                  <a:pt x="234" y="246"/>
                </a:lnTo>
                <a:lnTo>
                  <a:pt x="234" y="252"/>
                </a:lnTo>
                <a:lnTo>
                  <a:pt x="234" y="252"/>
                </a:lnTo>
                <a:lnTo>
                  <a:pt x="234" y="252"/>
                </a:lnTo>
                <a:lnTo>
                  <a:pt x="228" y="246"/>
                </a:lnTo>
                <a:lnTo>
                  <a:pt x="228" y="246"/>
                </a:lnTo>
                <a:lnTo>
                  <a:pt x="228" y="246"/>
                </a:lnTo>
                <a:lnTo>
                  <a:pt x="216" y="234"/>
                </a:lnTo>
                <a:lnTo>
                  <a:pt x="216" y="228"/>
                </a:lnTo>
                <a:lnTo>
                  <a:pt x="216" y="234"/>
                </a:lnTo>
                <a:lnTo>
                  <a:pt x="216" y="234"/>
                </a:lnTo>
                <a:lnTo>
                  <a:pt x="216" y="240"/>
                </a:lnTo>
                <a:lnTo>
                  <a:pt x="216" y="240"/>
                </a:lnTo>
                <a:lnTo>
                  <a:pt x="216" y="240"/>
                </a:lnTo>
                <a:lnTo>
                  <a:pt x="210" y="240"/>
                </a:lnTo>
                <a:lnTo>
                  <a:pt x="210" y="246"/>
                </a:lnTo>
                <a:lnTo>
                  <a:pt x="210" y="246"/>
                </a:lnTo>
                <a:lnTo>
                  <a:pt x="210" y="246"/>
                </a:lnTo>
                <a:lnTo>
                  <a:pt x="210" y="246"/>
                </a:lnTo>
                <a:lnTo>
                  <a:pt x="210" y="246"/>
                </a:lnTo>
                <a:lnTo>
                  <a:pt x="210" y="252"/>
                </a:lnTo>
                <a:lnTo>
                  <a:pt x="210" y="252"/>
                </a:lnTo>
                <a:lnTo>
                  <a:pt x="210" y="252"/>
                </a:lnTo>
                <a:lnTo>
                  <a:pt x="210" y="252"/>
                </a:lnTo>
                <a:lnTo>
                  <a:pt x="210" y="258"/>
                </a:lnTo>
                <a:lnTo>
                  <a:pt x="204" y="258"/>
                </a:lnTo>
                <a:lnTo>
                  <a:pt x="204" y="258"/>
                </a:lnTo>
                <a:lnTo>
                  <a:pt x="204" y="258"/>
                </a:lnTo>
                <a:lnTo>
                  <a:pt x="210" y="258"/>
                </a:lnTo>
                <a:lnTo>
                  <a:pt x="210" y="264"/>
                </a:lnTo>
                <a:lnTo>
                  <a:pt x="204" y="264"/>
                </a:lnTo>
                <a:lnTo>
                  <a:pt x="204" y="264"/>
                </a:lnTo>
                <a:lnTo>
                  <a:pt x="204" y="264"/>
                </a:lnTo>
                <a:lnTo>
                  <a:pt x="204" y="264"/>
                </a:lnTo>
                <a:lnTo>
                  <a:pt x="204" y="264"/>
                </a:lnTo>
                <a:lnTo>
                  <a:pt x="198" y="264"/>
                </a:lnTo>
                <a:lnTo>
                  <a:pt x="198" y="264"/>
                </a:lnTo>
                <a:lnTo>
                  <a:pt x="198" y="264"/>
                </a:lnTo>
                <a:lnTo>
                  <a:pt x="198" y="264"/>
                </a:lnTo>
                <a:lnTo>
                  <a:pt x="192" y="264"/>
                </a:lnTo>
                <a:lnTo>
                  <a:pt x="192" y="270"/>
                </a:lnTo>
                <a:lnTo>
                  <a:pt x="192" y="264"/>
                </a:lnTo>
                <a:lnTo>
                  <a:pt x="192" y="264"/>
                </a:lnTo>
                <a:lnTo>
                  <a:pt x="192" y="264"/>
                </a:lnTo>
                <a:lnTo>
                  <a:pt x="192" y="264"/>
                </a:lnTo>
                <a:lnTo>
                  <a:pt x="186" y="264"/>
                </a:lnTo>
                <a:lnTo>
                  <a:pt x="186" y="264"/>
                </a:lnTo>
                <a:lnTo>
                  <a:pt x="186" y="264"/>
                </a:lnTo>
                <a:lnTo>
                  <a:pt x="180" y="264"/>
                </a:lnTo>
                <a:lnTo>
                  <a:pt x="180" y="264"/>
                </a:lnTo>
                <a:lnTo>
                  <a:pt x="180" y="264"/>
                </a:lnTo>
                <a:lnTo>
                  <a:pt x="180" y="264"/>
                </a:lnTo>
                <a:lnTo>
                  <a:pt x="180" y="258"/>
                </a:lnTo>
                <a:lnTo>
                  <a:pt x="174" y="258"/>
                </a:lnTo>
                <a:lnTo>
                  <a:pt x="174" y="264"/>
                </a:lnTo>
                <a:lnTo>
                  <a:pt x="174" y="264"/>
                </a:lnTo>
                <a:lnTo>
                  <a:pt x="174" y="264"/>
                </a:lnTo>
                <a:lnTo>
                  <a:pt x="174" y="264"/>
                </a:lnTo>
                <a:lnTo>
                  <a:pt x="168" y="264"/>
                </a:lnTo>
                <a:lnTo>
                  <a:pt x="168" y="264"/>
                </a:lnTo>
                <a:lnTo>
                  <a:pt x="168" y="258"/>
                </a:lnTo>
                <a:lnTo>
                  <a:pt x="168" y="258"/>
                </a:lnTo>
                <a:lnTo>
                  <a:pt x="168" y="258"/>
                </a:lnTo>
                <a:lnTo>
                  <a:pt x="168" y="258"/>
                </a:lnTo>
                <a:lnTo>
                  <a:pt x="168" y="264"/>
                </a:lnTo>
                <a:lnTo>
                  <a:pt x="168" y="264"/>
                </a:lnTo>
                <a:lnTo>
                  <a:pt x="162" y="264"/>
                </a:lnTo>
                <a:lnTo>
                  <a:pt x="162" y="264"/>
                </a:lnTo>
                <a:lnTo>
                  <a:pt x="162" y="264"/>
                </a:lnTo>
                <a:lnTo>
                  <a:pt x="162" y="264"/>
                </a:lnTo>
                <a:lnTo>
                  <a:pt x="156" y="264"/>
                </a:lnTo>
                <a:lnTo>
                  <a:pt x="156" y="264"/>
                </a:lnTo>
                <a:lnTo>
                  <a:pt x="156" y="264"/>
                </a:lnTo>
                <a:lnTo>
                  <a:pt x="150" y="264"/>
                </a:lnTo>
                <a:lnTo>
                  <a:pt x="150" y="264"/>
                </a:lnTo>
                <a:lnTo>
                  <a:pt x="150" y="264"/>
                </a:lnTo>
                <a:lnTo>
                  <a:pt x="150" y="258"/>
                </a:lnTo>
                <a:lnTo>
                  <a:pt x="144" y="258"/>
                </a:lnTo>
                <a:lnTo>
                  <a:pt x="144" y="258"/>
                </a:lnTo>
                <a:lnTo>
                  <a:pt x="144" y="258"/>
                </a:lnTo>
                <a:lnTo>
                  <a:pt x="144" y="258"/>
                </a:lnTo>
                <a:lnTo>
                  <a:pt x="138" y="258"/>
                </a:lnTo>
                <a:lnTo>
                  <a:pt x="138" y="258"/>
                </a:lnTo>
                <a:lnTo>
                  <a:pt x="138" y="264"/>
                </a:lnTo>
                <a:lnTo>
                  <a:pt x="138" y="264"/>
                </a:lnTo>
                <a:lnTo>
                  <a:pt x="132" y="264"/>
                </a:lnTo>
                <a:lnTo>
                  <a:pt x="132" y="264"/>
                </a:lnTo>
                <a:lnTo>
                  <a:pt x="132" y="264"/>
                </a:lnTo>
                <a:lnTo>
                  <a:pt x="132" y="264"/>
                </a:lnTo>
                <a:lnTo>
                  <a:pt x="132" y="264"/>
                </a:lnTo>
                <a:lnTo>
                  <a:pt x="126" y="264"/>
                </a:lnTo>
                <a:lnTo>
                  <a:pt x="126" y="264"/>
                </a:lnTo>
                <a:lnTo>
                  <a:pt x="126" y="264"/>
                </a:lnTo>
                <a:lnTo>
                  <a:pt x="126" y="264"/>
                </a:lnTo>
                <a:lnTo>
                  <a:pt x="126" y="264"/>
                </a:lnTo>
                <a:lnTo>
                  <a:pt x="126" y="258"/>
                </a:lnTo>
                <a:lnTo>
                  <a:pt x="120" y="264"/>
                </a:lnTo>
                <a:lnTo>
                  <a:pt x="120" y="264"/>
                </a:lnTo>
                <a:lnTo>
                  <a:pt x="120" y="258"/>
                </a:lnTo>
                <a:lnTo>
                  <a:pt x="114" y="258"/>
                </a:lnTo>
                <a:lnTo>
                  <a:pt x="114" y="258"/>
                </a:lnTo>
                <a:lnTo>
                  <a:pt x="114" y="258"/>
                </a:lnTo>
                <a:lnTo>
                  <a:pt x="114" y="258"/>
                </a:lnTo>
                <a:lnTo>
                  <a:pt x="108" y="258"/>
                </a:lnTo>
                <a:lnTo>
                  <a:pt x="108" y="258"/>
                </a:lnTo>
                <a:lnTo>
                  <a:pt x="108" y="258"/>
                </a:lnTo>
                <a:lnTo>
                  <a:pt x="108" y="258"/>
                </a:lnTo>
                <a:lnTo>
                  <a:pt x="108" y="258"/>
                </a:lnTo>
                <a:lnTo>
                  <a:pt x="102" y="258"/>
                </a:lnTo>
                <a:lnTo>
                  <a:pt x="102" y="258"/>
                </a:lnTo>
                <a:lnTo>
                  <a:pt x="102" y="252"/>
                </a:lnTo>
                <a:lnTo>
                  <a:pt x="102" y="252"/>
                </a:lnTo>
                <a:lnTo>
                  <a:pt x="102" y="258"/>
                </a:lnTo>
                <a:lnTo>
                  <a:pt x="96" y="252"/>
                </a:lnTo>
                <a:lnTo>
                  <a:pt x="96" y="252"/>
                </a:lnTo>
                <a:lnTo>
                  <a:pt x="96" y="252"/>
                </a:lnTo>
                <a:lnTo>
                  <a:pt x="96" y="252"/>
                </a:lnTo>
                <a:lnTo>
                  <a:pt x="96" y="252"/>
                </a:lnTo>
                <a:lnTo>
                  <a:pt x="90" y="252"/>
                </a:lnTo>
                <a:lnTo>
                  <a:pt x="90" y="252"/>
                </a:lnTo>
                <a:lnTo>
                  <a:pt x="90" y="252"/>
                </a:lnTo>
                <a:lnTo>
                  <a:pt x="90" y="252"/>
                </a:lnTo>
                <a:lnTo>
                  <a:pt x="90" y="252"/>
                </a:lnTo>
                <a:lnTo>
                  <a:pt x="90" y="252"/>
                </a:lnTo>
                <a:lnTo>
                  <a:pt x="84" y="252"/>
                </a:lnTo>
                <a:lnTo>
                  <a:pt x="84" y="246"/>
                </a:lnTo>
                <a:lnTo>
                  <a:pt x="84" y="246"/>
                </a:lnTo>
                <a:lnTo>
                  <a:pt x="84" y="246"/>
                </a:lnTo>
                <a:lnTo>
                  <a:pt x="78" y="246"/>
                </a:lnTo>
                <a:lnTo>
                  <a:pt x="78" y="246"/>
                </a:lnTo>
                <a:lnTo>
                  <a:pt x="78" y="246"/>
                </a:lnTo>
                <a:lnTo>
                  <a:pt x="72" y="246"/>
                </a:lnTo>
                <a:lnTo>
                  <a:pt x="72" y="246"/>
                </a:lnTo>
                <a:lnTo>
                  <a:pt x="72" y="240"/>
                </a:lnTo>
                <a:lnTo>
                  <a:pt x="72" y="240"/>
                </a:lnTo>
                <a:lnTo>
                  <a:pt x="72" y="240"/>
                </a:lnTo>
                <a:lnTo>
                  <a:pt x="66" y="240"/>
                </a:lnTo>
                <a:lnTo>
                  <a:pt x="66" y="240"/>
                </a:lnTo>
                <a:lnTo>
                  <a:pt x="66" y="240"/>
                </a:lnTo>
                <a:lnTo>
                  <a:pt x="66" y="240"/>
                </a:lnTo>
                <a:lnTo>
                  <a:pt x="66" y="240"/>
                </a:lnTo>
                <a:lnTo>
                  <a:pt x="60" y="240"/>
                </a:lnTo>
                <a:lnTo>
                  <a:pt x="60" y="240"/>
                </a:lnTo>
                <a:lnTo>
                  <a:pt x="60" y="234"/>
                </a:lnTo>
                <a:lnTo>
                  <a:pt x="60" y="234"/>
                </a:lnTo>
                <a:lnTo>
                  <a:pt x="60" y="228"/>
                </a:lnTo>
                <a:lnTo>
                  <a:pt x="60" y="228"/>
                </a:lnTo>
                <a:lnTo>
                  <a:pt x="60" y="228"/>
                </a:lnTo>
                <a:lnTo>
                  <a:pt x="60" y="234"/>
                </a:lnTo>
                <a:lnTo>
                  <a:pt x="54" y="228"/>
                </a:lnTo>
                <a:lnTo>
                  <a:pt x="54" y="234"/>
                </a:lnTo>
                <a:lnTo>
                  <a:pt x="54" y="234"/>
                </a:lnTo>
                <a:lnTo>
                  <a:pt x="54" y="234"/>
                </a:lnTo>
                <a:lnTo>
                  <a:pt x="48" y="234"/>
                </a:lnTo>
                <a:lnTo>
                  <a:pt x="48" y="234"/>
                </a:lnTo>
                <a:lnTo>
                  <a:pt x="48" y="228"/>
                </a:lnTo>
                <a:lnTo>
                  <a:pt x="42" y="234"/>
                </a:lnTo>
                <a:lnTo>
                  <a:pt x="42" y="228"/>
                </a:lnTo>
                <a:lnTo>
                  <a:pt x="36" y="228"/>
                </a:lnTo>
                <a:lnTo>
                  <a:pt x="36" y="228"/>
                </a:lnTo>
                <a:lnTo>
                  <a:pt x="36" y="228"/>
                </a:lnTo>
                <a:lnTo>
                  <a:pt x="30" y="228"/>
                </a:lnTo>
                <a:lnTo>
                  <a:pt x="30" y="228"/>
                </a:lnTo>
                <a:lnTo>
                  <a:pt x="30" y="228"/>
                </a:lnTo>
                <a:lnTo>
                  <a:pt x="24" y="228"/>
                </a:lnTo>
                <a:lnTo>
                  <a:pt x="24" y="228"/>
                </a:lnTo>
                <a:lnTo>
                  <a:pt x="24" y="228"/>
                </a:lnTo>
                <a:lnTo>
                  <a:pt x="24" y="228"/>
                </a:lnTo>
                <a:lnTo>
                  <a:pt x="24" y="228"/>
                </a:lnTo>
                <a:lnTo>
                  <a:pt x="24" y="228"/>
                </a:lnTo>
                <a:lnTo>
                  <a:pt x="18" y="228"/>
                </a:lnTo>
                <a:lnTo>
                  <a:pt x="18" y="228"/>
                </a:lnTo>
                <a:lnTo>
                  <a:pt x="18" y="228"/>
                </a:lnTo>
                <a:lnTo>
                  <a:pt x="18" y="228"/>
                </a:lnTo>
                <a:lnTo>
                  <a:pt x="12" y="228"/>
                </a:lnTo>
                <a:lnTo>
                  <a:pt x="12" y="228"/>
                </a:lnTo>
                <a:lnTo>
                  <a:pt x="12" y="228"/>
                </a:lnTo>
                <a:lnTo>
                  <a:pt x="12" y="228"/>
                </a:lnTo>
                <a:lnTo>
                  <a:pt x="12" y="228"/>
                </a:lnTo>
                <a:lnTo>
                  <a:pt x="6" y="228"/>
                </a:lnTo>
                <a:lnTo>
                  <a:pt x="6" y="228"/>
                </a:lnTo>
                <a:lnTo>
                  <a:pt x="6" y="228"/>
                </a:lnTo>
                <a:lnTo>
                  <a:pt x="6" y="222"/>
                </a:lnTo>
                <a:lnTo>
                  <a:pt x="6" y="222"/>
                </a:lnTo>
                <a:lnTo>
                  <a:pt x="12" y="222"/>
                </a:lnTo>
                <a:lnTo>
                  <a:pt x="12" y="222"/>
                </a:lnTo>
                <a:lnTo>
                  <a:pt x="12" y="216"/>
                </a:lnTo>
                <a:lnTo>
                  <a:pt x="12" y="216"/>
                </a:lnTo>
                <a:lnTo>
                  <a:pt x="12" y="216"/>
                </a:lnTo>
                <a:lnTo>
                  <a:pt x="12" y="216"/>
                </a:lnTo>
                <a:lnTo>
                  <a:pt x="12" y="216"/>
                </a:lnTo>
                <a:lnTo>
                  <a:pt x="12" y="216"/>
                </a:lnTo>
                <a:lnTo>
                  <a:pt x="12" y="210"/>
                </a:lnTo>
                <a:lnTo>
                  <a:pt x="12" y="210"/>
                </a:lnTo>
                <a:lnTo>
                  <a:pt x="12" y="210"/>
                </a:lnTo>
                <a:lnTo>
                  <a:pt x="18" y="204"/>
                </a:lnTo>
                <a:lnTo>
                  <a:pt x="18" y="204"/>
                </a:lnTo>
                <a:lnTo>
                  <a:pt x="12" y="204"/>
                </a:lnTo>
                <a:lnTo>
                  <a:pt x="12" y="204"/>
                </a:lnTo>
                <a:lnTo>
                  <a:pt x="18" y="204"/>
                </a:lnTo>
                <a:lnTo>
                  <a:pt x="18" y="204"/>
                </a:lnTo>
                <a:lnTo>
                  <a:pt x="18" y="198"/>
                </a:lnTo>
                <a:lnTo>
                  <a:pt x="18" y="198"/>
                </a:lnTo>
                <a:lnTo>
                  <a:pt x="18" y="198"/>
                </a:lnTo>
                <a:lnTo>
                  <a:pt x="18" y="192"/>
                </a:lnTo>
                <a:lnTo>
                  <a:pt x="18" y="192"/>
                </a:lnTo>
                <a:lnTo>
                  <a:pt x="18" y="192"/>
                </a:lnTo>
                <a:lnTo>
                  <a:pt x="12" y="186"/>
                </a:lnTo>
                <a:lnTo>
                  <a:pt x="12" y="192"/>
                </a:lnTo>
                <a:lnTo>
                  <a:pt x="12" y="192"/>
                </a:lnTo>
                <a:lnTo>
                  <a:pt x="12" y="192"/>
                </a:lnTo>
                <a:lnTo>
                  <a:pt x="12" y="192"/>
                </a:lnTo>
                <a:lnTo>
                  <a:pt x="6" y="192"/>
                </a:lnTo>
                <a:lnTo>
                  <a:pt x="6" y="186"/>
                </a:lnTo>
                <a:lnTo>
                  <a:pt x="6" y="186"/>
                </a:lnTo>
                <a:lnTo>
                  <a:pt x="6" y="180"/>
                </a:lnTo>
                <a:lnTo>
                  <a:pt x="6" y="180"/>
                </a:lnTo>
                <a:lnTo>
                  <a:pt x="6" y="180"/>
                </a:lnTo>
                <a:lnTo>
                  <a:pt x="6" y="180"/>
                </a:lnTo>
                <a:lnTo>
                  <a:pt x="6" y="180"/>
                </a:lnTo>
                <a:lnTo>
                  <a:pt x="6" y="180"/>
                </a:lnTo>
                <a:lnTo>
                  <a:pt x="6" y="174"/>
                </a:lnTo>
                <a:lnTo>
                  <a:pt x="6" y="174"/>
                </a:lnTo>
                <a:lnTo>
                  <a:pt x="6" y="174"/>
                </a:lnTo>
                <a:lnTo>
                  <a:pt x="6" y="174"/>
                </a:lnTo>
                <a:lnTo>
                  <a:pt x="6" y="174"/>
                </a:lnTo>
                <a:lnTo>
                  <a:pt x="12" y="174"/>
                </a:lnTo>
                <a:lnTo>
                  <a:pt x="6" y="168"/>
                </a:lnTo>
                <a:lnTo>
                  <a:pt x="6" y="168"/>
                </a:lnTo>
                <a:lnTo>
                  <a:pt x="6" y="168"/>
                </a:lnTo>
                <a:lnTo>
                  <a:pt x="6" y="168"/>
                </a:lnTo>
                <a:lnTo>
                  <a:pt x="6" y="162"/>
                </a:lnTo>
                <a:lnTo>
                  <a:pt x="6" y="168"/>
                </a:lnTo>
                <a:lnTo>
                  <a:pt x="12" y="168"/>
                </a:lnTo>
                <a:lnTo>
                  <a:pt x="12" y="162"/>
                </a:lnTo>
                <a:lnTo>
                  <a:pt x="12" y="162"/>
                </a:lnTo>
                <a:lnTo>
                  <a:pt x="6" y="162"/>
                </a:lnTo>
                <a:lnTo>
                  <a:pt x="6" y="162"/>
                </a:lnTo>
                <a:lnTo>
                  <a:pt x="6" y="162"/>
                </a:lnTo>
                <a:lnTo>
                  <a:pt x="6" y="156"/>
                </a:lnTo>
                <a:lnTo>
                  <a:pt x="6" y="156"/>
                </a:lnTo>
                <a:lnTo>
                  <a:pt x="6" y="156"/>
                </a:lnTo>
                <a:lnTo>
                  <a:pt x="12" y="150"/>
                </a:lnTo>
                <a:lnTo>
                  <a:pt x="12" y="150"/>
                </a:lnTo>
                <a:lnTo>
                  <a:pt x="12" y="150"/>
                </a:lnTo>
                <a:lnTo>
                  <a:pt x="12" y="150"/>
                </a:lnTo>
                <a:lnTo>
                  <a:pt x="12" y="150"/>
                </a:lnTo>
                <a:lnTo>
                  <a:pt x="12" y="144"/>
                </a:lnTo>
                <a:lnTo>
                  <a:pt x="12" y="144"/>
                </a:lnTo>
                <a:lnTo>
                  <a:pt x="12" y="138"/>
                </a:lnTo>
                <a:lnTo>
                  <a:pt x="12" y="144"/>
                </a:lnTo>
                <a:lnTo>
                  <a:pt x="12" y="144"/>
                </a:lnTo>
                <a:lnTo>
                  <a:pt x="6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6" y="132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0" y="126"/>
                </a:lnTo>
                <a:lnTo>
                  <a:pt x="0" y="126"/>
                </a:lnTo>
                <a:lnTo>
                  <a:pt x="0" y="126"/>
                </a:lnTo>
                <a:lnTo>
                  <a:pt x="0" y="126"/>
                </a:lnTo>
                <a:lnTo>
                  <a:pt x="0" y="126"/>
                </a:lnTo>
                <a:lnTo>
                  <a:pt x="0" y="126"/>
                </a:lnTo>
                <a:lnTo>
                  <a:pt x="0" y="120"/>
                </a:lnTo>
                <a:lnTo>
                  <a:pt x="0" y="120"/>
                </a:lnTo>
                <a:lnTo>
                  <a:pt x="0" y="120"/>
                </a:lnTo>
                <a:lnTo>
                  <a:pt x="0" y="114"/>
                </a:lnTo>
                <a:lnTo>
                  <a:pt x="0" y="114"/>
                </a:lnTo>
                <a:lnTo>
                  <a:pt x="0" y="114"/>
                </a:lnTo>
                <a:lnTo>
                  <a:pt x="0" y="114"/>
                </a:lnTo>
                <a:lnTo>
                  <a:pt x="0" y="11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15" name="Freeform 48"/>
          <p:cNvSpPr>
            <a:spLocks/>
          </p:cNvSpPr>
          <p:nvPr/>
        </p:nvSpPr>
        <p:spPr bwMode="auto">
          <a:xfrm>
            <a:off x="6922519" y="1237737"/>
            <a:ext cx="115633" cy="122058"/>
          </a:xfrm>
          <a:custGeom>
            <a:avLst/>
            <a:gdLst>
              <a:gd name="T0" fmla="*/ 6 w 108"/>
              <a:gd name="T1" fmla="*/ 0 h 114"/>
              <a:gd name="T2" fmla="*/ 30 w 108"/>
              <a:gd name="T3" fmla="*/ 6 h 114"/>
              <a:gd name="T4" fmla="*/ 30 w 108"/>
              <a:gd name="T5" fmla="*/ 6 h 114"/>
              <a:gd name="T6" fmla="*/ 36 w 108"/>
              <a:gd name="T7" fmla="*/ 6 h 114"/>
              <a:gd name="T8" fmla="*/ 36 w 108"/>
              <a:gd name="T9" fmla="*/ 6 h 114"/>
              <a:gd name="T10" fmla="*/ 42 w 108"/>
              <a:gd name="T11" fmla="*/ 6 h 114"/>
              <a:gd name="T12" fmla="*/ 42 w 108"/>
              <a:gd name="T13" fmla="*/ 6 h 114"/>
              <a:gd name="T14" fmla="*/ 48 w 108"/>
              <a:gd name="T15" fmla="*/ 6 h 114"/>
              <a:gd name="T16" fmla="*/ 66 w 108"/>
              <a:gd name="T17" fmla="*/ 18 h 114"/>
              <a:gd name="T18" fmla="*/ 66 w 108"/>
              <a:gd name="T19" fmla="*/ 12 h 114"/>
              <a:gd name="T20" fmla="*/ 72 w 108"/>
              <a:gd name="T21" fmla="*/ 12 h 114"/>
              <a:gd name="T22" fmla="*/ 78 w 108"/>
              <a:gd name="T23" fmla="*/ 12 h 114"/>
              <a:gd name="T24" fmla="*/ 90 w 108"/>
              <a:gd name="T25" fmla="*/ 12 h 114"/>
              <a:gd name="T26" fmla="*/ 84 w 108"/>
              <a:gd name="T27" fmla="*/ 24 h 114"/>
              <a:gd name="T28" fmla="*/ 90 w 108"/>
              <a:gd name="T29" fmla="*/ 30 h 114"/>
              <a:gd name="T30" fmla="*/ 84 w 108"/>
              <a:gd name="T31" fmla="*/ 36 h 114"/>
              <a:gd name="T32" fmla="*/ 84 w 108"/>
              <a:gd name="T33" fmla="*/ 42 h 114"/>
              <a:gd name="T34" fmla="*/ 90 w 108"/>
              <a:gd name="T35" fmla="*/ 42 h 114"/>
              <a:gd name="T36" fmla="*/ 108 w 108"/>
              <a:gd name="T37" fmla="*/ 54 h 114"/>
              <a:gd name="T38" fmla="*/ 108 w 108"/>
              <a:gd name="T39" fmla="*/ 54 h 114"/>
              <a:gd name="T40" fmla="*/ 108 w 108"/>
              <a:gd name="T41" fmla="*/ 60 h 114"/>
              <a:gd name="T42" fmla="*/ 108 w 108"/>
              <a:gd name="T43" fmla="*/ 66 h 114"/>
              <a:gd name="T44" fmla="*/ 102 w 108"/>
              <a:gd name="T45" fmla="*/ 66 h 114"/>
              <a:gd name="T46" fmla="*/ 102 w 108"/>
              <a:gd name="T47" fmla="*/ 66 h 114"/>
              <a:gd name="T48" fmla="*/ 96 w 108"/>
              <a:gd name="T49" fmla="*/ 66 h 114"/>
              <a:gd name="T50" fmla="*/ 72 w 108"/>
              <a:gd name="T51" fmla="*/ 78 h 114"/>
              <a:gd name="T52" fmla="*/ 78 w 108"/>
              <a:gd name="T53" fmla="*/ 84 h 114"/>
              <a:gd name="T54" fmla="*/ 78 w 108"/>
              <a:gd name="T55" fmla="*/ 90 h 114"/>
              <a:gd name="T56" fmla="*/ 78 w 108"/>
              <a:gd name="T57" fmla="*/ 96 h 114"/>
              <a:gd name="T58" fmla="*/ 78 w 108"/>
              <a:gd name="T59" fmla="*/ 102 h 114"/>
              <a:gd name="T60" fmla="*/ 78 w 108"/>
              <a:gd name="T61" fmla="*/ 102 h 114"/>
              <a:gd name="T62" fmla="*/ 78 w 108"/>
              <a:gd name="T63" fmla="*/ 96 h 114"/>
              <a:gd name="T64" fmla="*/ 78 w 108"/>
              <a:gd name="T65" fmla="*/ 90 h 114"/>
              <a:gd name="T66" fmla="*/ 72 w 108"/>
              <a:gd name="T67" fmla="*/ 90 h 114"/>
              <a:gd name="T68" fmla="*/ 66 w 108"/>
              <a:gd name="T69" fmla="*/ 96 h 114"/>
              <a:gd name="T70" fmla="*/ 66 w 108"/>
              <a:gd name="T71" fmla="*/ 102 h 114"/>
              <a:gd name="T72" fmla="*/ 60 w 108"/>
              <a:gd name="T73" fmla="*/ 102 h 114"/>
              <a:gd name="T74" fmla="*/ 54 w 108"/>
              <a:gd name="T75" fmla="*/ 108 h 114"/>
              <a:gd name="T76" fmla="*/ 54 w 108"/>
              <a:gd name="T77" fmla="*/ 108 h 114"/>
              <a:gd name="T78" fmla="*/ 54 w 108"/>
              <a:gd name="T79" fmla="*/ 114 h 114"/>
              <a:gd name="T80" fmla="*/ 48 w 108"/>
              <a:gd name="T81" fmla="*/ 108 h 114"/>
              <a:gd name="T82" fmla="*/ 42 w 108"/>
              <a:gd name="T83" fmla="*/ 108 h 114"/>
              <a:gd name="T84" fmla="*/ 42 w 108"/>
              <a:gd name="T85" fmla="*/ 102 h 114"/>
              <a:gd name="T86" fmla="*/ 36 w 108"/>
              <a:gd name="T87" fmla="*/ 96 h 114"/>
              <a:gd name="T88" fmla="*/ 36 w 108"/>
              <a:gd name="T89" fmla="*/ 96 h 114"/>
              <a:gd name="T90" fmla="*/ 36 w 108"/>
              <a:gd name="T91" fmla="*/ 90 h 114"/>
              <a:gd name="T92" fmla="*/ 30 w 108"/>
              <a:gd name="T93" fmla="*/ 84 h 114"/>
              <a:gd name="T94" fmla="*/ 30 w 108"/>
              <a:gd name="T95" fmla="*/ 78 h 114"/>
              <a:gd name="T96" fmla="*/ 30 w 108"/>
              <a:gd name="T97" fmla="*/ 72 h 114"/>
              <a:gd name="T98" fmla="*/ 24 w 108"/>
              <a:gd name="T99" fmla="*/ 66 h 114"/>
              <a:gd name="T100" fmla="*/ 30 w 108"/>
              <a:gd name="T101" fmla="*/ 66 h 114"/>
              <a:gd name="T102" fmla="*/ 36 w 108"/>
              <a:gd name="T103" fmla="*/ 60 h 114"/>
              <a:gd name="T104" fmla="*/ 36 w 108"/>
              <a:gd name="T105" fmla="*/ 54 h 114"/>
              <a:gd name="T106" fmla="*/ 36 w 108"/>
              <a:gd name="T107" fmla="*/ 36 h 114"/>
              <a:gd name="T108" fmla="*/ 42 w 108"/>
              <a:gd name="T109" fmla="*/ 24 h 114"/>
              <a:gd name="T110" fmla="*/ 42 w 108"/>
              <a:gd name="T111" fmla="*/ 24 h 114"/>
              <a:gd name="T112" fmla="*/ 36 w 108"/>
              <a:gd name="T113" fmla="*/ 24 h 114"/>
              <a:gd name="T114" fmla="*/ 36 w 108"/>
              <a:gd name="T115" fmla="*/ 18 h 114"/>
              <a:gd name="T116" fmla="*/ 36 w 108"/>
              <a:gd name="T117" fmla="*/ 18 h 114"/>
              <a:gd name="T118" fmla="*/ 30 w 108"/>
              <a:gd name="T119" fmla="*/ 18 h 114"/>
              <a:gd name="T120" fmla="*/ 24 w 108"/>
              <a:gd name="T121" fmla="*/ 12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8" h="114">
                <a:moveTo>
                  <a:pt x="0" y="6"/>
                </a:moveTo>
                <a:lnTo>
                  <a:pt x="6" y="6"/>
                </a:lnTo>
                <a:lnTo>
                  <a:pt x="6" y="0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60" y="24"/>
                </a:lnTo>
                <a:lnTo>
                  <a:pt x="60" y="18"/>
                </a:lnTo>
                <a:lnTo>
                  <a:pt x="66" y="18"/>
                </a:lnTo>
                <a:lnTo>
                  <a:pt x="66" y="18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72" y="6"/>
                </a:lnTo>
                <a:lnTo>
                  <a:pt x="72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84" y="12"/>
                </a:lnTo>
                <a:lnTo>
                  <a:pt x="84" y="12"/>
                </a:lnTo>
                <a:lnTo>
                  <a:pt x="90" y="12"/>
                </a:lnTo>
                <a:lnTo>
                  <a:pt x="90" y="18"/>
                </a:lnTo>
                <a:lnTo>
                  <a:pt x="84" y="18"/>
                </a:lnTo>
                <a:lnTo>
                  <a:pt x="84" y="24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6" y="42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0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8" y="78"/>
                </a:lnTo>
                <a:lnTo>
                  <a:pt x="78" y="84"/>
                </a:lnTo>
                <a:lnTo>
                  <a:pt x="84" y="84"/>
                </a:lnTo>
                <a:lnTo>
                  <a:pt x="78" y="84"/>
                </a:lnTo>
                <a:lnTo>
                  <a:pt x="78" y="90"/>
                </a:lnTo>
                <a:lnTo>
                  <a:pt x="78" y="90"/>
                </a:lnTo>
                <a:lnTo>
                  <a:pt x="78" y="96"/>
                </a:lnTo>
                <a:lnTo>
                  <a:pt x="78" y="96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96"/>
                </a:lnTo>
                <a:lnTo>
                  <a:pt x="78" y="96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102"/>
                </a:lnTo>
                <a:lnTo>
                  <a:pt x="66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8"/>
                </a:lnTo>
                <a:lnTo>
                  <a:pt x="60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2"/>
                </a:lnTo>
                <a:lnTo>
                  <a:pt x="42" y="102"/>
                </a:lnTo>
                <a:lnTo>
                  <a:pt x="42" y="108"/>
                </a:lnTo>
                <a:lnTo>
                  <a:pt x="42" y="108"/>
                </a:lnTo>
                <a:lnTo>
                  <a:pt x="42" y="102"/>
                </a:lnTo>
                <a:lnTo>
                  <a:pt x="42" y="102"/>
                </a:lnTo>
                <a:lnTo>
                  <a:pt x="42" y="96"/>
                </a:lnTo>
                <a:lnTo>
                  <a:pt x="42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0"/>
                </a:lnTo>
                <a:lnTo>
                  <a:pt x="30" y="90"/>
                </a:lnTo>
                <a:lnTo>
                  <a:pt x="36" y="90"/>
                </a:lnTo>
                <a:lnTo>
                  <a:pt x="36" y="84"/>
                </a:lnTo>
                <a:lnTo>
                  <a:pt x="36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78"/>
                </a:lnTo>
                <a:lnTo>
                  <a:pt x="24" y="78"/>
                </a:lnTo>
                <a:lnTo>
                  <a:pt x="30" y="72"/>
                </a:lnTo>
                <a:lnTo>
                  <a:pt x="30" y="72"/>
                </a:lnTo>
                <a:lnTo>
                  <a:pt x="24" y="72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30" y="66"/>
                </a:lnTo>
                <a:lnTo>
                  <a:pt x="30" y="60"/>
                </a:lnTo>
                <a:lnTo>
                  <a:pt x="30" y="60"/>
                </a:lnTo>
                <a:lnTo>
                  <a:pt x="36" y="60"/>
                </a:lnTo>
                <a:lnTo>
                  <a:pt x="36" y="60"/>
                </a:lnTo>
                <a:lnTo>
                  <a:pt x="30" y="54"/>
                </a:lnTo>
                <a:lnTo>
                  <a:pt x="36" y="54"/>
                </a:lnTo>
                <a:lnTo>
                  <a:pt x="36" y="48"/>
                </a:lnTo>
                <a:lnTo>
                  <a:pt x="36" y="36"/>
                </a:lnTo>
                <a:lnTo>
                  <a:pt x="36" y="36"/>
                </a:lnTo>
                <a:lnTo>
                  <a:pt x="48" y="30"/>
                </a:lnTo>
                <a:lnTo>
                  <a:pt x="42" y="30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0" y="18"/>
                </a:lnTo>
                <a:lnTo>
                  <a:pt x="30" y="18"/>
                </a:lnTo>
                <a:lnTo>
                  <a:pt x="24" y="18"/>
                </a:lnTo>
                <a:lnTo>
                  <a:pt x="24" y="18"/>
                </a:lnTo>
                <a:lnTo>
                  <a:pt x="24" y="12"/>
                </a:lnTo>
                <a:lnTo>
                  <a:pt x="24" y="12"/>
                </a:lnTo>
                <a:lnTo>
                  <a:pt x="0" y="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16" name="Freeform 49"/>
          <p:cNvSpPr>
            <a:spLocks/>
          </p:cNvSpPr>
          <p:nvPr/>
        </p:nvSpPr>
        <p:spPr bwMode="auto">
          <a:xfrm>
            <a:off x="6627012" y="1006469"/>
            <a:ext cx="334051" cy="334053"/>
          </a:xfrm>
          <a:custGeom>
            <a:avLst/>
            <a:gdLst>
              <a:gd name="T0" fmla="*/ 12 w 312"/>
              <a:gd name="T1" fmla="*/ 42 h 312"/>
              <a:gd name="T2" fmla="*/ 18 w 312"/>
              <a:gd name="T3" fmla="*/ 18 h 312"/>
              <a:gd name="T4" fmla="*/ 36 w 312"/>
              <a:gd name="T5" fmla="*/ 0 h 312"/>
              <a:gd name="T6" fmla="*/ 54 w 312"/>
              <a:gd name="T7" fmla="*/ 0 h 312"/>
              <a:gd name="T8" fmla="*/ 72 w 312"/>
              <a:gd name="T9" fmla="*/ 12 h 312"/>
              <a:gd name="T10" fmla="*/ 72 w 312"/>
              <a:gd name="T11" fmla="*/ 48 h 312"/>
              <a:gd name="T12" fmla="*/ 84 w 312"/>
              <a:gd name="T13" fmla="*/ 48 h 312"/>
              <a:gd name="T14" fmla="*/ 90 w 312"/>
              <a:gd name="T15" fmla="*/ 48 h 312"/>
              <a:gd name="T16" fmla="*/ 102 w 312"/>
              <a:gd name="T17" fmla="*/ 48 h 312"/>
              <a:gd name="T18" fmla="*/ 114 w 312"/>
              <a:gd name="T19" fmla="*/ 48 h 312"/>
              <a:gd name="T20" fmla="*/ 114 w 312"/>
              <a:gd name="T21" fmla="*/ 42 h 312"/>
              <a:gd name="T22" fmla="*/ 114 w 312"/>
              <a:gd name="T23" fmla="*/ 42 h 312"/>
              <a:gd name="T24" fmla="*/ 120 w 312"/>
              <a:gd name="T25" fmla="*/ 42 h 312"/>
              <a:gd name="T26" fmla="*/ 126 w 312"/>
              <a:gd name="T27" fmla="*/ 48 h 312"/>
              <a:gd name="T28" fmla="*/ 138 w 312"/>
              <a:gd name="T29" fmla="*/ 66 h 312"/>
              <a:gd name="T30" fmla="*/ 150 w 312"/>
              <a:gd name="T31" fmla="*/ 78 h 312"/>
              <a:gd name="T32" fmla="*/ 156 w 312"/>
              <a:gd name="T33" fmla="*/ 84 h 312"/>
              <a:gd name="T34" fmla="*/ 156 w 312"/>
              <a:gd name="T35" fmla="*/ 84 h 312"/>
              <a:gd name="T36" fmla="*/ 210 w 312"/>
              <a:gd name="T37" fmla="*/ 114 h 312"/>
              <a:gd name="T38" fmla="*/ 222 w 312"/>
              <a:gd name="T39" fmla="*/ 120 h 312"/>
              <a:gd name="T40" fmla="*/ 234 w 312"/>
              <a:gd name="T41" fmla="*/ 120 h 312"/>
              <a:gd name="T42" fmla="*/ 240 w 312"/>
              <a:gd name="T43" fmla="*/ 120 h 312"/>
              <a:gd name="T44" fmla="*/ 246 w 312"/>
              <a:gd name="T45" fmla="*/ 126 h 312"/>
              <a:gd name="T46" fmla="*/ 258 w 312"/>
              <a:gd name="T47" fmla="*/ 120 h 312"/>
              <a:gd name="T48" fmla="*/ 264 w 312"/>
              <a:gd name="T49" fmla="*/ 120 h 312"/>
              <a:gd name="T50" fmla="*/ 276 w 312"/>
              <a:gd name="T51" fmla="*/ 120 h 312"/>
              <a:gd name="T52" fmla="*/ 288 w 312"/>
              <a:gd name="T53" fmla="*/ 126 h 312"/>
              <a:gd name="T54" fmla="*/ 288 w 312"/>
              <a:gd name="T55" fmla="*/ 138 h 312"/>
              <a:gd name="T56" fmla="*/ 306 w 312"/>
              <a:gd name="T57" fmla="*/ 168 h 312"/>
              <a:gd name="T58" fmla="*/ 306 w 312"/>
              <a:gd name="T59" fmla="*/ 180 h 312"/>
              <a:gd name="T60" fmla="*/ 294 w 312"/>
              <a:gd name="T61" fmla="*/ 192 h 312"/>
              <a:gd name="T62" fmla="*/ 288 w 312"/>
              <a:gd name="T63" fmla="*/ 210 h 312"/>
              <a:gd name="T64" fmla="*/ 276 w 312"/>
              <a:gd name="T65" fmla="*/ 222 h 312"/>
              <a:gd name="T66" fmla="*/ 258 w 312"/>
              <a:gd name="T67" fmla="*/ 240 h 312"/>
              <a:gd name="T68" fmla="*/ 252 w 312"/>
              <a:gd name="T69" fmla="*/ 258 h 312"/>
              <a:gd name="T70" fmla="*/ 234 w 312"/>
              <a:gd name="T71" fmla="*/ 288 h 312"/>
              <a:gd name="T72" fmla="*/ 210 w 312"/>
              <a:gd name="T73" fmla="*/ 294 h 312"/>
              <a:gd name="T74" fmla="*/ 198 w 312"/>
              <a:gd name="T75" fmla="*/ 300 h 312"/>
              <a:gd name="T76" fmla="*/ 192 w 312"/>
              <a:gd name="T77" fmla="*/ 312 h 312"/>
              <a:gd name="T78" fmla="*/ 180 w 312"/>
              <a:gd name="T79" fmla="*/ 312 h 312"/>
              <a:gd name="T80" fmla="*/ 156 w 312"/>
              <a:gd name="T81" fmla="*/ 312 h 312"/>
              <a:gd name="T82" fmla="*/ 144 w 312"/>
              <a:gd name="T83" fmla="*/ 300 h 312"/>
              <a:gd name="T84" fmla="*/ 144 w 312"/>
              <a:gd name="T85" fmla="*/ 294 h 312"/>
              <a:gd name="T86" fmla="*/ 144 w 312"/>
              <a:gd name="T87" fmla="*/ 282 h 312"/>
              <a:gd name="T88" fmla="*/ 144 w 312"/>
              <a:gd name="T89" fmla="*/ 282 h 312"/>
              <a:gd name="T90" fmla="*/ 144 w 312"/>
              <a:gd name="T91" fmla="*/ 270 h 312"/>
              <a:gd name="T92" fmla="*/ 138 w 312"/>
              <a:gd name="T93" fmla="*/ 270 h 312"/>
              <a:gd name="T94" fmla="*/ 132 w 312"/>
              <a:gd name="T95" fmla="*/ 264 h 312"/>
              <a:gd name="T96" fmla="*/ 144 w 312"/>
              <a:gd name="T97" fmla="*/ 240 h 312"/>
              <a:gd name="T98" fmla="*/ 144 w 312"/>
              <a:gd name="T99" fmla="*/ 228 h 312"/>
              <a:gd name="T100" fmla="*/ 144 w 312"/>
              <a:gd name="T101" fmla="*/ 222 h 312"/>
              <a:gd name="T102" fmla="*/ 138 w 312"/>
              <a:gd name="T103" fmla="*/ 222 h 312"/>
              <a:gd name="T104" fmla="*/ 138 w 312"/>
              <a:gd name="T105" fmla="*/ 216 h 312"/>
              <a:gd name="T106" fmla="*/ 144 w 312"/>
              <a:gd name="T107" fmla="*/ 216 h 312"/>
              <a:gd name="T108" fmla="*/ 144 w 312"/>
              <a:gd name="T109" fmla="*/ 186 h 312"/>
              <a:gd name="T110" fmla="*/ 144 w 312"/>
              <a:gd name="T111" fmla="*/ 180 h 312"/>
              <a:gd name="T112" fmla="*/ 138 w 312"/>
              <a:gd name="T113" fmla="*/ 168 h 312"/>
              <a:gd name="T114" fmla="*/ 120 w 312"/>
              <a:gd name="T115" fmla="*/ 162 h 312"/>
              <a:gd name="T116" fmla="*/ 96 w 312"/>
              <a:gd name="T117" fmla="*/ 168 h 312"/>
              <a:gd name="T118" fmla="*/ 72 w 312"/>
              <a:gd name="T119" fmla="*/ 150 h 312"/>
              <a:gd name="T120" fmla="*/ 42 w 312"/>
              <a:gd name="T121" fmla="*/ 102 h 312"/>
              <a:gd name="T122" fmla="*/ 30 w 312"/>
              <a:gd name="T123" fmla="*/ 90 h 312"/>
              <a:gd name="T124" fmla="*/ 18 w 312"/>
              <a:gd name="T125" fmla="*/ 66 h 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12" h="312">
                <a:moveTo>
                  <a:pt x="0" y="60"/>
                </a:moveTo>
                <a:lnTo>
                  <a:pt x="6" y="54"/>
                </a:lnTo>
                <a:lnTo>
                  <a:pt x="6" y="48"/>
                </a:lnTo>
                <a:lnTo>
                  <a:pt x="6" y="42"/>
                </a:lnTo>
                <a:lnTo>
                  <a:pt x="12" y="42"/>
                </a:lnTo>
                <a:lnTo>
                  <a:pt x="12" y="30"/>
                </a:lnTo>
                <a:lnTo>
                  <a:pt x="18" y="30"/>
                </a:lnTo>
                <a:lnTo>
                  <a:pt x="18" y="24"/>
                </a:lnTo>
                <a:lnTo>
                  <a:pt x="18" y="18"/>
                </a:lnTo>
                <a:lnTo>
                  <a:pt x="18" y="18"/>
                </a:lnTo>
                <a:lnTo>
                  <a:pt x="24" y="12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48" y="0"/>
                </a:lnTo>
                <a:lnTo>
                  <a:pt x="48" y="0"/>
                </a:lnTo>
                <a:lnTo>
                  <a:pt x="54" y="0"/>
                </a:lnTo>
                <a:lnTo>
                  <a:pt x="60" y="0"/>
                </a:lnTo>
                <a:lnTo>
                  <a:pt x="66" y="0"/>
                </a:lnTo>
                <a:lnTo>
                  <a:pt x="66" y="6"/>
                </a:lnTo>
                <a:lnTo>
                  <a:pt x="72" y="12"/>
                </a:lnTo>
                <a:lnTo>
                  <a:pt x="72" y="12"/>
                </a:lnTo>
                <a:lnTo>
                  <a:pt x="72" y="24"/>
                </a:lnTo>
                <a:lnTo>
                  <a:pt x="72" y="24"/>
                </a:lnTo>
                <a:lnTo>
                  <a:pt x="72" y="36"/>
                </a:lnTo>
                <a:lnTo>
                  <a:pt x="72" y="42"/>
                </a:lnTo>
                <a:lnTo>
                  <a:pt x="72" y="48"/>
                </a:lnTo>
                <a:lnTo>
                  <a:pt x="78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2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6" y="42"/>
                </a:lnTo>
                <a:lnTo>
                  <a:pt x="120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32" y="48"/>
                </a:lnTo>
                <a:lnTo>
                  <a:pt x="132" y="54"/>
                </a:lnTo>
                <a:lnTo>
                  <a:pt x="132" y="60"/>
                </a:lnTo>
                <a:lnTo>
                  <a:pt x="138" y="66"/>
                </a:lnTo>
                <a:lnTo>
                  <a:pt x="144" y="72"/>
                </a:lnTo>
                <a:lnTo>
                  <a:pt x="150" y="78"/>
                </a:lnTo>
                <a:lnTo>
                  <a:pt x="150" y="78"/>
                </a:lnTo>
                <a:lnTo>
                  <a:pt x="150" y="84"/>
                </a:lnTo>
                <a:lnTo>
                  <a:pt x="150" y="78"/>
                </a:lnTo>
                <a:lnTo>
                  <a:pt x="150" y="78"/>
                </a:lnTo>
                <a:lnTo>
                  <a:pt x="156" y="84"/>
                </a:lnTo>
                <a:lnTo>
                  <a:pt x="156" y="84"/>
                </a:lnTo>
                <a:lnTo>
                  <a:pt x="156" y="84"/>
                </a:lnTo>
                <a:lnTo>
                  <a:pt x="156" y="84"/>
                </a:lnTo>
                <a:lnTo>
                  <a:pt x="156" y="84"/>
                </a:lnTo>
                <a:lnTo>
                  <a:pt x="162" y="84"/>
                </a:lnTo>
                <a:lnTo>
                  <a:pt x="162" y="84"/>
                </a:lnTo>
                <a:lnTo>
                  <a:pt x="156" y="84"/>
                </a:lnTo>
                <a:lnTo>
                  <a:pt x="156" y="84"/>
                </a:lnTo>
                <a:lnTo>
                  <a:pt x="156" y="90"/>
                </a:lnTo>
                <a:lnTo>
                  <a:pt x="162" y="90"/>
                </a:lnTo>
                <a:lnTo>
                  <a:pt x="162" y="90"/>
                </a:lnTo>
                <a:lnTo>
                  <a:pt x="210" y="108"/>
                </a:lnTo>
                <a:lnTo>
                  <a:pt x="210" y="114"/>
                </a:lnTo>
                <a:lnTo>
                  <a:pt x="216" y="114"/>
                </a:lnTo>
                <a:lnTo>
                  <a:pt x="216" y="120"/>
                </a:lnTo>
                <a:lnTo>
                  <a:pt x="222" y="120"/>
                </a:lnTo>
                <a:lnTo>
                  <a:pt x="222" y="120"/>
                </a:lnTo>
                <a:lnTo>
                  <a:pt x="222" y="120"/>
                </a:lnTo>
                <a:lnTo>
                  <a:pt x="222" y="120"/>
                </a:lnTo>
                <a:lnTo>
                  <a:pt x="222" y="120"/>
                </a:lnTo>
                <a:lnTo>
                  <a:pt x="228" y="120"/>
                </a:lnTo>
                <a:lnTo>
                  <a:pt x="228" y="120"/>
                </a:lnTo>
                <a:lnTo>
                  <a:pt x="234" y="120"/>
                </a:lnTo>
                <a:lnTo>
                  <a:pt x="234" y="120"/>
                </a:lnTo>
                <a:lnTo>
                  <a:pt x="234" y="120"/>
                </a:lnTo>
                <a:lnTo>
                  <a:pt x="234" y="120"/>
                </a:lnTo>
                <a:lnTo>
                  <a:pt x="234" y="120"/>
                </a:lnTo>
                <a:lnTo>
                  <a:pt x="240" y="120"/>
                </a:lnTo>
                <a:lnTo>
                  <a:pt x="240" y="120"/>
                </a:lnTo>
                <a:lnTo>
                  <a:pt x="240" y="120"/>
                </a:lnTo>
                <a:lnTo>
                  <a:pt x="240" y="120"/>
                </a:lnTo>
                <a:lnTo>
                  <a:pt x="246" y="120"/>
                </a:lnTo>
                <a:lnTo>
                  <a:pt x="246" y="126"/>
                </a:lnTo>
                <a:lnTo>
                  <a:pt x="252" y="120"/>
                </a:lnTo>
                <a:lnTo>
                  <a:pt x="252" y="120"/>
                </a:lnTo>
                <a:lnTo>
                  <a:pt x="252" y="120"/>
                </a:lnTo>
                <a:lnTo>
                  <a:pt x="252" y="120"/>
                </a:lnTo>
                <a:lnTo>
                  <a:pt x="258" y="120"/>
                </a:lnTo>
                <a:lnTo>
                  <a:pt x="258" y="120"/>
                </a:lnTo>
                <a:lnTo>
                  <a:pt x="264" y="120"/>
                </a:lnTo>
                <a:lnTo>
                  <a:pt x="264" y="120"/>
                </a:lnTo>
                <a:lnTo>
                  <a:pt x="264" y="120"/>
                </a:lnTo>
                <a:lnTo>
                  <a:pt x="264" y="120"/>
                </a:lnTo>
                <a:lnTo>
                  <a:pt x="264" y="120"/>
                </a:lnTo>
                <a:lnTo>
                  <a:pt x="270" y="120"/>
                </a:lnTo>
                <a:lnTo>
                  <a:pt x="270" y="120"/>
                </a:lnTo>
                <a:lnTo>
                  <a:pt x="270" y="120"/>
                </a:lnTo>
                <a:lnTo>
                  <a:pt x="276" y="120"/>
                </a:lnTo>
                <a:lnTo>
                  <a:pt x="276" y="120"/>
                </a:lnTo>
                <a:lnTo>
                  <a:pt x="282" y="120"/>
                </a:lnTo>
                <a:lnTo>
                  <a:pt x="282" y="120"/>
                </a:lnTo>
                <a:lnTo>
                  <a:pt x="288" y="126"/>
                </a:lnTo>
                <a:lnTo>
                  <a:pt x="288" y="126"/>
                </a:lnTo>
                <a:lnTo>
                  <a:pt x="288" y="126"/>
                </a:lnTo>
                <a:lnTo>
                  <a:pt x="288" y="126"/>
                </a:lnTo>
                <a:lnTo>
                  <a:pt x="288" y="126"/>
                </a:lnTo>
                <a:lnTo>
                  <a:pt x="288" y="138"/>
                </a:lnTo>
                <a:lnTo>
                  <a:pt x="288" y="138"/>
                </a:lnTo>
                <a:lnTo>
                  <a:pt x="282" y="144"/>
                </a:lnTo>
                <a:lnTo>
                  <a:pt x="282" y="144"/>
                </a:lnTo>
                <a:lnTo>
                  <a:pt x="282" y="150"/>
                </a:lnTo>
                <a:lnTo>
                  <a:pt x="276" y="156"/>
                </a:lnTo>
                <a:lnTo>
                  <a:pt x="306" y="168"/>
                </a:lnTo>
                <a:lnTo>
                  <a:pt x="312" y="168"/>
                </a:lnTo>
                <a:lnTo>
                  <a:pt x="306" y="168"/>
                </a:lnTo>
                <a:lnTo>
                  <a:pt x="306" y="174"/>
                </a:lnTo>
                <a:lnTo>
                  <a:pt x="306" y="180"/>
                </a:lnTo>
                <a:lnTo>
                  <a:pt x="306" y="180"/>
                </a:lnTo>
                <a:lnTo>
                  <a:pt x="300" y="180"/>
                </a:lnTo>
                <a:lnTo>
                  <a:pt x="300" y="180"/>
                </a:lnTo>
                <a:lnTo>
                  <a:pt x="300" y="186"/>
                </a:lnTo>
                <a:lnTo>
                  <a:pt x="294" y="192"/>
                </a:lnTo>
                <a:lnTo>
                  <a:pt x="294" y="192"/>
                </a:lnTo>
                <a:lnTo>
                  <a:pt x="294" y="198"/>
                </a:lnTo>
                <a:lnTo>
                  <a:pt x="294" y="198"/>
                </a:lnTo>
                <a:lnTo>
                  <a:pt x="288" y="204"/>
                </a:lnTo>
                <a:lnTo>
                  <a:pt x="288" y="210"/>
                </a:lnTo>
                <a:lnTo>
                  <a:pt x="288" y="210"/>
                </a:lnTo>
                <a:lnTo>
                  <a:pt x="282" y="216"/>
                </a:lnTo>
                <a:lnTo>
                  <a:pt x="282" y="216"/>
                </a:lnTo>
                <a:lnTo>
                  <a:pt x="282" y="216"/>
                </a:lnTo>
                <a:lnTo>
                  <a:pt x="282" y="222"/>
                </a:lnTo>
                <a:lnTo>
                  <a:pt x="276" y="222"/>
                </a:lnTo>
                <a:lnTo>
                  <a:pt x="276" y="222"/>
                </a:lnTo>
                <a:lnTo>
                  <a:pt x="276" y="228"/>
                </a:lnTo>
                <a:lnTo>
                  <a:pt x="270" y="234"/>
                </a:lnTo>
                <a:lnTo>
                  <a:pt x="264" y="240"/>
                </a:lnTo>
                <a:lnTo>
                  <a:pt x="258" y="240"/>
                </a:lnTo>
                <a:lnTo>
                  <a:pt x="258" y="246"/>
                </a:lnTo>
                <a:lnTo>
                  <a:pt x="252" y="252"/>
                </a:lnTo>
                <a:lnTo>
                  <a:pt x="252" y="252"/>
                </a:lnTo>
                <a:lnTo>
                  <a:pt x="252" y="258"/>
                </a:lnTo>
                <a:lnTo>
                  <a:pt x="252" y="258"/>
                </a:lnTo>
                <a:lnTo>
                  <a:pt x="246" y="270"/>
                </a:lnTo>
                <a:lnTo>
                  <a:pt x="240" y="276"/>
                </a:lnTo>
                <a:lnTo>
                  <a:pt x="240" y="282"/>
                </a:lnTo>
                <a:lnTo>
                  <a:pt x="240" y="282"/>
                </a:lnTo>
                <a:lnTo>
                  <a:pt x="234" y="288"/>
                </a:lnTo>
                <a:lnTo>
                  <a:pt x="228" y="288"/>
                </a:lnTo>
                <a:lnTo>
                  <a:pt x="228" y="288"/>
                </a:lnTo>
                <a:lnTo>
                  <a:pt x="222" y="288"/>
                </a:lnTo>
                <a:lnTo>
                  <a:pt x="216" y="294"/>
                </a:lnTo>
                <a:lnTo>
                  <a:pt x="210" y="294"/>
                </a:lnTo>
                <a:lnTo>
                  <a:pt x="204" y="294"/>
                </a:lnTo>
                <a:lnTo>
                  <a:pt x="204" y="300"/>
                </a:lnTo>
                <a:lnTo>
                  <a:pt x="204" y="300"/>
                </a:lnTo>
                <a:lnTo>
                  <a:pt x="204" y="300"/>
                </a:lnTo>
                <a:lnTo>
                  <a:pt x="198" y="300"/>
                </a:lnTo>
                <a:lnTo>
                  <a:pt x="198" y="300"/>
                </a:lnTo>
                <a:lnTo>
                  <a:pt x="198" y="300"/>
                </a:lnTo>
                <a:lnTo>
                  <a:pt x="198" y="306"/>
                </a:lnTo>
                <a:lnTo>
                  <a:pt x="192" y="306"/>
                </a:lnTo>
                <a:lnTo>
                  <a:pt x="192" y="312"/>
                </a:lnTo>
                <a:lnTo>
                  <a:pt x="192" y="312"/>
                </a:lnTo>
                <a:lnTo>
                  <a:pt x="186" y="312"/>
                </a:lnTo>
                <a:lnTo>
                  <a:pt x="186" y="312"/>
                </a:lnTo>
                <a:lnTo>
                  <a:pt x="180" y="312"/>
                </a:lnTo>
                <a:lnTo>
                  <a:pt x="180" y="312"/>
                </a:lnTo>
                <a:lnTo>
                  <a:pt x="168" y="312"/>
                </a:lnTo>
                <a:lnTo>
                  <a:pt x="162" y="312"/>
                </a:lnTo>
                <a:lnTo>
                  <a:pt x="162" y="312"/>
                </a:lnTo>
                <a:lnTo>
                  <a:pt x="156" y="312"/>
                </a:lnTo>
                <a:lnTo>
                  <a:pt x="156" y="312"/>
                </a:lnTo>
                <a:lnTo>
                  <a:pt x="156" y="312"/>
                </a:lnTo>
                <a:lnTo>
                  <a:pt x="150" y="306"/>
                </a:lnTo>
                <a:lnTo>
                  <a:pt x="150" y="306"/>
                </a:lnTo>
                <a:lnTo>
                  <a:pt x="150" y="306"/>
                </a:lnTo>
                <a:lnTo>
                  <a:pt x="144" y="300"/>
                </a:lnTo>
                <a:lnTo>
                  <a:pt x="144" y="300"/>
                </a:lnTo>
                <a:lnTo>
                  <a:pt x="144" y="294"/>
                </a:lnTo>
                <a:lnTo>
                  <a:pt x="144" y="294"/>
                </a:lnTo>
                <a:lnTo>
                  <a:pt x="144" y="294"/>
                </a:lnTo>
                <a:lnTo>
                  <a:pt x="144" y="294"/>
                </a:lnTo>
                <a:lnTo>
                  <a:pt x="144" y="288"/>
                </a:lnTo>
                <a:lnTo>
                  <a:pt x="144" y="288"/>
                </a:lnTo>
                <a:lnTo>
                  <a:pt x="144" y="288"/>
                </a:lnTo>
                <a:lnTo>
                  <a:pt x="144" y="282"/>
                </a:lnTo>
                <a:lnTo>
                  <a:pt x="144" y="282"/>
                </a:lnTo>
                <a:lnTo>
                  <a:pt x="144" y="282"/>
                </a:lnTo>
                <a:lnTo>
                  <a:pt x="144" y="282"/>
                </a:lnTo>
                <a:lnTo>
                  <a:pt x="144" y="282"/>
                </a:lnTo>
                <a:lnTo>
                  <a:pt x="144" y="282"/>
                </a:lnTo>
                <a:lnTo>
                  <a:pt x="144" y="282"/>
                </a:lnTo>
                <a:lnTo>
                  <a:pt x="144" y="276"/>
                </a:lnTo>
                <a:lnTo>
                  <a:pt x="144" y="276"/>
                </a:lnTo>
                <a:lnTo>
                  <a:pt x="144" y="276"/>
                </a:lnTo>
                <a:lnTo>
                  <a:pt x="144" y="270"/>
                </a:lnTo>
                <a:lnTo>
                  <a:pt x="144" y="270"/>
                </a:lnTo>
                <a:lnTo>
                  <a:pt x="138" y="270"/>
                </a:lnTo>
                <a:lnTo>
                  <a:pt x="138" y="270"/>
                </a:lnTo>
                <a:lnTo>
                  <a:pt x="138" y="270"/>
                </a:lnTo>
                <a:lnTo>
                  <a:pt x="138" y="270"/>
                </a:lnTo>
                <a:lnTo>
                  <a:pt x="138" y="270"/>
                </a:lnTo>
                <a:lnTo>
                  <a:pt x="138" y="270"/>
                </a:lnTo>
                <a:lnTo>
                  <a:pt x="132" y="270"/>
                </a:lnTo>
                <a:lnTo>
                  <a:pt x="132" y="270"/>
                </a:lnTo>
                <a:lnTo>
                  <a:pt x="132" y="264"/>
                </a:lnTo>
                <a:lnTo>
                  <a:pt x="132" y="264"/>
                </a:lnTo>
                <a:lnTo>
                  <a:pt x="126" y="264"/>
                </a:lnTo>
                <a:lnTo>
                  <a:pt x="126" y="264"/>
                </a:lnTo>
                <a:lnTo>
                  <a:pt x="132" y="264"/>
                </a:lnTo>
                <a:lnTo>
                  <a:pt x="138" y="246"/>
                </a:lnTo>
                <a:lnTo>
                  <a:pt x="144" y="240"/>
                </a:lnTo>
                <a:lnTo>
                  <a:pt x="144" y="234"/>
                </a:lnTo>
                <a:lnTo>
                  <a:pt x="144" y="228"/>
                </a:lnTo>
                <a:lnTo>
                  <a:pt x="144" y="228"/>
                </a:lnTo>
                <a:lnTo>
                  <a:pt x="144" y="228"/>
                </a:lnTo>
                <a:lnTo>
                  <a:pt x="144" y="228"/>
                </a:lnTo>
                <a:lnTo>
                  <a:pt x="150" y="228"/>
                </a:lnTo>
                <a:lnTo>
                  <a:pt x="150" y="228"/>
                </a:lnTo>
                <a:lnTo>
                  <a:pt x="144" y="228"/>
                </a:lnTo>
                <a:lnTo>
                  <a:pt x="144" y="222"/>
                </a:lnTo>
                <a:lnTo>
                  <a:pt x="144" y="222"/>
                </a:lnTo>
                <a:lnTo>
                  <a:pt x="144" y="222"/>
                </a:lnTo>
                <a:lnTo>
                  <a:pt x="144" y="222"/>
                </a:lnTo>
                <a:lnTo>
                  <a:pt x="138" y="222"/>
                </a:lnTo>
                <a:lnTo>
                  <a:pt x="138" y="222"/>
                </a:lnTo>
                <a:lnTo>
                  <a:pt x="138" y="222"/>
                </a:lnTo>
                <a:lnTo>
                  <a:pt x="138" y="222"/>
                </a:lnTo>
                <a:lnTo>
                  <a:pt x="138" y="216"/>
                </a:lnTo>
                <a:lnTo>
                  <a:pt x="138" y="216"/>
                </a:lnTo>
                <a:lnTo>
                  <a:pt x="138" y="216"/>
                </a:lnTo>
                <a:lnTo>
                  <a:pt x="138" y="216"/>
                </a:lnTo>
                <a:lnTo>
                  <a:pt x="138" y="216"/>
                </a:lnTo>
                <a:lnTo>
                  <a:pt x="138" y="216"/>
                </a:lnTo>
                <a:lnTo>
                  <a:pt x="138" y="216"/>
                </a:lnTo>
                <a:lnTo>
                  <a:pt x="144" y="216"/>
                </a:lnTo>
                <a:lnTo>
                  <a:pt x="144" y="216"/>
                </a:lnTo>
                <a:lnTo>
                  <a:pt x="138" y="210"/>
                </a:lnTo>
                <a:lnTo>
                  <a:pt x="138" y="210"/>
                </a:lnTo>
                <a:lnTo>
                  <a:pt x="138" y="210"/>
                </a:lnTo>
                <a:lnTo>
                  <a:pt x="138" y="204"/>
                </a:lnTo>
                <a:lnTo>
                  <a:pt x="144" y="186"/>
                </a:lnTo>
                <a:lnTo>
                  <a:pt x="144" y="186"/>
                </a:lnTo>
                <a:lnTo>
                  <a:pt x="144" y="186"/>
                </a:lnTo>
                <a:lnTo>
                  <a:pt x="144" y="180"/>
                </a:lnTo>
                <a:lnTo>
                  <a:pt x="144" y="180"/>
                </a:lnTo>
                <a:lnTo>
                  <a:pt x="144" y="180"/>
                </a:lnTo>
                <a:lnTo>
                  <a:pt x="144" y="180"/>
                </a:lnTo>
                <a:lnTo>
                  <a:pt x="144" y="174"/>
                </a:lnTo>
                <a:lnTo>
                  <a:pt x="144" y="174"/>
                </a:lnTo>
                <a:lnTo>
                  <a:pt x="144" y="174"/>
                </a:lnTo>
                <a:lnTo>
                  <a:pt x="138" y="168"/>
                </a:lnTo>
                <a:lnTo>
                  <a:pt x="132" y="168"/>
                </a:lnTo>
                <a:lnTo>
                  <a:pt x="132" y="168"/>
                </a:lnTo>
                <a:lnTo>
                  <a:pt x="126" y="162"/>
                </a:lnTo>
                <a:lnTo>
                  <a:pt x="126" y="162"/>
                </a:lnTo>
                <a:lnTo>
                  <a:pt x="120" y="162"/>
                </a:lnTo>
                <a:lnTo>
                  <a:pt x="114" y="168"/>
                </a:lnTo>
                <a:lnTo>
                  <a:pt x="108" y="168"/>
                </a:lnTo>
                <a:lnTo>
                  <a:pt x="102" y="168"/>
                </a:lnTo>
                <a:lnTo>
                  <a:pt x="102" y="168"/>
                </a:lnTo>
                <a:lnTo>
                  <a:pt x="96" y="168"/>
                </a:lnTo>
                <a:lnTo>
                  <a:pt x="90" y="156"/>
                </a:lnTo>
                <a:lnTo>
                  <a:pt x="84" y="156"/>
                </a:lnTo>
                <a:lnTo>
                  <a:pt x="78" y="150"/>
                </a:lnTo>
                <a:lnTo>
                  <a:pt x="72" y="150"/>
                </a:lnTo>
                <a:lnTo>
                  <a:pt x="72" y="150"/>
                </a:lnTo>
                <a:lnTo>
                  <a:pt x="66" y="150"/>
                </a:lnTo>
                <a:lnTo>
                  <a:pt x="66" y="150"/>
                </a:lnTo>
                <a:lnTo>
                  <a:pt x="66" y="150"/>
                </a:lnTo>
                <a:lnTo>
                  <a:pt x="54" y="120"/>
                </a:lnTo>
                <a:lnTo>
                  <a:pt x="42" y="102"/>
                </a:lnTo>
                <a:lnTo>
                  <a:pt x="42" y="96"/>
                </a:lnTo>
                <a:lnTo>
                  <a:pt x="42" y="96"/>
                </a:lnTo>
                <a:lnTo>
                  <a:pt x="36" y="96"/>
                </a:lnTo>
                <a:lnTo>
                  <a:pt x="36" y="90"/>
                </a:lnTo>
                <a:lnTo>
                  <a:pt x="30" y="90"/>
                </a:lnTo>
                <a:lnTo>
                  <a:pt x="30" y="84"/>
                </a:lnTo>
                <a:lnTo>
                  <a:pt x="30" y="84"/>
                </a:lnTo>
                <a:lnTo>
                  <a:pt x="24" y="72"/>
                </a:lnTo>
                <a:lnTo>
                  <a:pt x="24" y="72"/>
                </a:lnTo>
                <a:lnTo>
                  <a:pt x="18" y="66"/>
                </a:lnTo>
                <a:lnTo>
                  <a:pt x="18" y="66"/>
                </a:lnTo>
                <a:lnTo>
                  <a:pt x="12" y="66"/>
                </a:lnTo>
                <a:lnTo>
                  <a:pt x="6" y="60"/>
                </a:lnTo>
                <a:lnTo>
                  <a:pt x="0" y="6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17" name="Freeform 50"/>
          <p:cNvSpPr>
            <a:spLocks/>
          </p:cNvSpPr>
          <p:nvPr/>
        </p:nvSpPr>
        <p:spPr bwMode="auto">
          <a:xfrm>
            <a:off x="6530652" y="2098566"/>
            <a:ext cx="301930" cy="379022"/>
          </a:xfrm>
          <a:custGeom>
            <a:avLst/>
            <a:gdLst>
              <a:gd name="T0" fmla="*/ 6 w 282"/>
              <a:gd name="T1" fmla="*/ 324 h 354"/>
              <a:gd name="T2" fmla="*/ 6 w 282"/>
              <a:gd name="T3" fmla="*/ 318 h 354"/>
              <a:gd name="T4" fmla="*/ 18 w 282"/>
              <a:gd name="T5" fmla="*/ 312 h 354"/>
              <a:gd name="T6" fmla="*/ 24 w 282"/>
              <a:gd name="T7" fmla="*/ 306 h 354"/>
              <a:gd name="T8" fmla="*/ 30 w 282"/>
              <a:gd name="T9" fmla="*/ 300 h 354"/>
              <a:gd name="T10" fmla="*/ 30 w 282"/>
              <a:gd name="T11" fmla="*/ 288 h 354"/>
              <a:gd name="T12" fmla="*/ 30 w 282"/>
              <a:gd name="T13" fmla="*/ 270 h 354"/>
              <a:gd name="T14" fmla="*/ 30 w 282"/>
              <a:gd name="T15" fmla="*/ 264 h 354"/>
              <a:gd name="T16" fmla="*/ 24 w 282"/>
              <a:gd name="T17" fmla="*/ 246 h 354"/>
              <a:gd name="T18" fmla="*/ 24 w 282"/>
              <a:gd name="T19" fmla="*/ 234 h 354"/>
              <a:gd name="T20" fmla="*/ 30 w 282"/>
              <a:gd name="T21" fmla="*/ 222 h 354"/>
              <a:gd name="T22" fmla="*/ 36 w 282"/>
              <a:gd name="T23" fmla="*/ 204 h 354"/>
              <a:gd name="T24" fmla="*/ 36 w 282"/>
              <a:gd name="T25" fmla="*/ 192 h 354"/>
              <a:gd name="T26" fmla="*/ 48 w 282"/>
              <a:gd name="T27" fmla="*/ 180 h 354"/>
              <a:gd name="T28" fmla="*/ 48 w 282"/>
              <a:gd name="T29" fmla="*/ 174 h 354"/>
              <a:gd name="T30" fmla="*/ 54 w 282"/>
              <a:gd name="T31" fmla="*/ 162 h 354"/>
              <a:gd name="T32" fmla="*/ 60 w 282"/>
              <a:gd name="T33" fmla="*/ 156 h 354"/>
              <a:gd name="T34" fmla="*/ 66 w 282"/>
              <a:gd name="T35" fmla="*/ 150 h 354"/>
              <a:gd name="T36" fmla="*/ 72 w 282"/>
              <a:gd name="T37" fmla="*/ 150 h 354"/>
              <a:gd name="T38" fmla="*/ 78 w 282"/>
              <a:gd name="T39" fmla="*/ 144 h 354"/>
              <a:gd name="T40" fmla="*/ 90 w 282"/>
              <a:gd name="T41" fmla="*/ 138 h 354"/>
              <a:gd name="T42" fmla="*/ 96 w 282"/>
              <a:gd name="T43" fmla="*/ 138 h 354"/>
              <a:gd name="T44" fmla="*/ 108 w 282"/>
              <a:gd name="T45" fmla="*/ 138 h 354"/>
              <a:gd name="T46" fmla="*/ 120 w 282"/>
              <a:gd name="T47" fmla="*/ 138 h 354"/>
              <a:gd name="T48" fmla="*/ 132 w 282"/>
              <a:gd name="T49" fmla="*/ 144 h 354"/>
              <a:gd name="T50" fmla="*/ 138 w 282"/>
              <a:gd name="T51" fmla="*/ 156 h 354"/>
              <a:gd name="T52" fmla="*/ 150 w 282"/>
              <a:gd name="T53" fmla="*/ 156 h 354"/>
              <a:gd name="T54" fmla="*/ 156 w 282"/>
              <a:gd name="T55" fmla="*/ 156 h 354"/>
              <a:gd name="T56" fmla="*/ 168 w 282"/>
              <a:gd name="T57" fmla="*/ 162 h 354"/>
              <a:gd name="T58" fmla="*/ 174 w 282"/>
              <a:gd name="T59" fmla="*/ 162 h 354"/>
              <a:gd name="T60" fmla="*/ 186 w 282"/>
              <a:gd name="T61" fmla="*/ 162 h 354"/>
              <a:gd name="T62" fmla="*/ 192 w 282"/>
              <a:gd name="T63" fmla="*/ 156 h 354"/>
              <a:gd name="T64" fmla="*/ 186 w 282"/>
              <a:gd name="T65" fmla="*/ 138 h 354"/>
              <a:gd name="T66" fmla="*/ 186 w 282"/>
              <a:gd name="T67" fmla="*/ 126 h 354"/>
              <a:gd name="T68" fmla="*/ 186 w 282"/>
              <a:gd name="T69" fmla="*/ 114 h 354"/>
              <a:gd name="T70" fmla="*/ 186 w 282"/>
              <a:gd name="T71" fmla="*/ 108 h 354"/>
              <a:gd name="T72" fmla="*/ 192 w 282"/>
              <a:gd name="T73" fmla="*/ 24 h 354"/>
              <a:gd name="T74" fmla="*/ 204 w 282"/>
              <a:gd name="T75" fmla="*/ 24 h 354"/>
              <a:gd name="T76" fmla="*/ 222 w 282"/>
              <a:gd name="T77" fmla="*/ 18 h 354"/>
              <a:gd name="T78" fmla="*/ 234 w 282"/>
              <a:gd name="T79" fmla="*/ 24 h 354"/>
              <a:gd name="T80" fmla="*/ 240 w 282"/>
              <a:gd name="T81" fmla="*/ 18 h 354"/>
              <a:gd name="T82" fmla="*/ 246 w 282"/>
              <a:gd name="T83" fmla="*/ 12 h 354"/>
              <a:gd name="T84" fmla="*/ 252 w 282"/>
              <a:gd name="T85" fmla="*/ 6 h 354"/>
              <a:gd name="T86" fmla="*/ 264 w 282"/>
              <a:gd name="T87" fmla="*/ 6 h 354"/>
              <a:gd name="T88" fmla="*/ 270 w 282"/>
              <a:gd name="T89" fmla="*/ 6 h 354"/>
              <a:gd name="T90" fmla="*/ 276 w 282"/>
              <a:gd name="T91" fmla="*/ 12 h 354"/>
              <a:gd name="T92" fmla="*/ 264 w 282"/>
              <a:gd name="T93" fmla="*/ 30 h 354"/>
              <a:gd name="T94" fmla="*/ 252 w 282"/>
              <a:gd name="T95" fmla="*/ 60 h 354"/>
              <a:gd name="T96" fmla="*/ 270 w 282"/>
              <a:gd name="T97" fmla="*/ 84 h 354"/>
              <a:gd name="T98" fmla="*/ 276 w 282"/>
              <a:gd name="T99" fmla="*/ 90 h 354"/>
              <a:gd name="T100" fmla="*/ 276 w 282"/>
              <a:gd name="T101" fmla="*/ 120 h 354"/>
              <a:gd name="T102" fmla="*/ 270 w 282"/>
              <a:gd name="T103" fmla="*/ 132 h 354"/>
              <a:gd name="T104" fmla="*/ 264 w 282"/>
              <a:gd name="T105" fmla="*/ 162 h 354"/>
              <a:gd name="T106" fmla="*/ 246 w 282"/>
              <a:gd name="T107" fmla="*/ 180 h 354"/>
              <a:gd name="T108" fmla="*/ 228 w 282"/>
              <a:gd name="T109" fmla="*/ 210 h 354"/>
              <a:gd name="T110" fmla="*/ 204 w 282"/>
              <a:gd name="T111" fmla="*/ 228 h 354"/>
              <a:gd name="T112" fmla="*/ 186 w 282"/>
              <a:gd name="T113" fmla="*/ 252 h 354"/>
              <a:gd name="T114" fmla="*/ 168 w 282"/>
              <a:gd name="T115" fmla="*/ 270 h 354"/>
              <a:gd name="T116" fmla="*/ 162 w 282"/>
              <a:gd name="T117" fmla="*/ 288 h 354"/>
              <a:gd name="T118" fmla="*/ 156 w 282"/>
              <a:gd name="T119" fmla="*/ 306 h 354"/>
              <a:gd name="T120" fmla="*/ 150 w 282"/>
              <a:gd name="T121" fmla="*/ 324 h 354"/>
              <a:gd name="T122" fmla="*/ 144 w 282"/>
              <a:gd name="T123" fmla="*/ 342 h 354"/>
              <a:gd name="T124" fmla="*/ 0 w 282"/>
              <a:gd name="T125" fmla="*/ 342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82" h="354">
                <a:moveTo>
                  <a:pt x="0" y="342"/>
                </a:moveTo>
                <a:lnTo>
                  <a:pt x="0" y="342"/>
                </a:lnTo>
                <a:lnTo>
                  <a:pt x="0" y="336"/>
                </a:lnTo>
                <a:lnTo>
                  <a:pt x="0" y="330"/>
                </a:lnTo>
                <a:lnTo>
                  <a:pt x="0" y="330"/>
                </a:lnTo>
                <a:lnTo>
                  <a:pt x="0" y="330"/>
                </a:lnTo>
                <a:lnTo>
                  <a:pt x="6" y="330"/>
                </a:lnTo>
                <a:lnTo>
                  <a:pt x="6" y="324"/>
                </a:lnTo>
                <a:lnTo>
                  <a:pt x="6" y="324"/>
                </a:lnTo>
                <a:lnTo>
                  <a:pt x="6" y="324"/>
                </a:lnTo>
                <a:lnTo>
                  <a:pt x="6" y="324"/>
                </a:lnTo>
                <a:lnTo>
                  <a:pt x="6" y="324"/>
                </a:lnTo>
                <a:lnTo>
                  <a:pt x="6" y="318"/>
                </a:lnTo>
                <a:lnTo>
                  <a:pt x="6" y="318"/>
                </a:lnTo>
                <a:lnTo>
                  <a:pt x="6" y="318"/>
                </a:lnTo>
                <a:lnTo>
                  <a:pt x="6" y="318"/>
                </a:lnTo>
                <a:lnTo>
                  <a:pt x="6" y="318"/>
                </a:lnTo>
                <a:lnTo>
                  <a:pt x="6" y="312"/>
                </a:lnTo>
                <a:lnTo>
                  <a:pt x="12" y="312"/>
                </a:lnTo>
                <a:lnTo>
                  <a:pt x="12" y="312"/>
                </a:lnTo>
                <a:lnTo>
                  <a:pt x="12" y="312"/>
                </a:lnTo>
                <a:lnTo>
                  <a:pt x="12" y="312"/>
                </a:lnTo>
                <a:lnTo>
                  <a:pt x="18" y="312"/>
                </a:lnTo>
                <a:lnTo>
                  <a:pt x="18" y="312"/>
                </a:lnTo>
                <a:lnTo>
                  <a:pt x="18" y="312"/>
                </a:lnTo>
                <a:lnTo>
                  <a:pt x="18" y="312"/>
                </a:lnTo>
                <a:lnTo>
                  <a:pt x="18" y="312"/>
                </a:lnTo>
                <a:lnTo>
                  <a:pt x="18" y="312"/>
                </a:lnTo>
                <a:lnTo>
                  <a:pt x="24" y="312"/>
                </a:lnTo>
                <a:lnTo>
                  <a:pt x="24" y="312"/>
                </a:lnTo>
                <a:lnTo>
                  <a:pt x="24" y="312"/>
                </a:lnTo>
                <a:lnTo>
                  <a:pt x="24" y="306"/>
                </a:lnTo>
                <a:lnTo>
                  <a:pt x="24" y="306"/>
                </a:lnTo>
                <a:lnTo>
                  <a:pt x="24" y="306"/>
                </a:lnTo>
                <a:lnTo>
                  <a:pt x="30" y="306"/>
                </a:lnTo>
                <a:lnTo>
                  <a:pt x="30" y="306"/>
                </a:lnTo>
                <a:lnTo>
                  <a:pt x="30" y="300"/>
                </a:lnTo>
                <a:lnTo>
                  <a:pt x="30" y="300"/>
                </a:lnTo>
                <a:lnTo>
                  <a:pt x="30" y="300"/>
                </a:lnTo>
                <a:lnTo>
                  <a:pt x="30" y="300"/>
                </a:lnTo>
                <a:lnTo>
                  <a:pt x="30" y="294"/>
                </a:lnTo>
                <a:lnTo>
                  <a:pt x="30" y="294"/>
                </a:lnTo>
                <a:lnTo>
                  <a:pt x="30" y="294"/>
                </a:lnTo>
                <a:lnTo>
                  <a:pt x="30" y="288"/>
                </a:lnTo>
                <a:lnTo>
                  <a:pt x="30" y="288"/>
                </a:lnTo>
                <a:lnTo>
                  <a:pt x="30" y="288"/>
                </a:lnTo>
                <a:lnTo>
                  <a:pt x="30" y="288"/>
                </a:lnTo>
                <a:lnTo>
                  <a:pt x="30" y="288"/>
                </a:lnTo>
                <a:lnTo>
                  <a:pt x="30" y="282"/>
                </a:lnTo>
                <a:lnTo>
                  <a:pt x="30" y="282"/>
                </a:lnTo>
                <a:lnTo>
                  <a:pt x="30" y="282"/>
                </a:lnTo>
                <a:lnTo>
                  <a:pt x="30" y="276"/>
                </a:lnTo>
                <a:lnTo>
                  <a:pt x="30" y="276"/>
                </a:lnTo>
                <a:lnTo>
                  <a:pt x="30" y="276"/>
                </a:lnTo>
                <a:lnTo>
                  <a:pt x="30" y="270"/>
                </a:lnTo>
                <a:lnTo>
                  <a:pt x="30" y="270"/>
                </a:lnTo>
                <a:lnTo>
                  <a:pt x="30" y="270"/>
                </a:lnTo>
                <a:lnTo>
                  <a:pt x="30" y="264"/>
                </a:lnTo>
                <a:lnTo>
                  <a:pt x="30" y="264"/>
                </a:lnTo>
                <a:lnTo>
                  <a:pt x="30" y="264"/>
                </a:lnTo>
                <a:lnTo>
                  <a:pt x="30" y="264"/>
                </a:lnTo>
                <a:lnTo>
                  <a:pt x="30" y="264"/>
                </a:lnTo>
                <a:lnTo>
                  <a:pt x="30" y="264"/>
                </a:lnTo>
                <a:lnTo>
                  <a:pt x="30" y="264"/>
                </a:lnTo>
                <a:lnTo>
                  <a:pt x="24" y="258"/>
                </a:lnTo>
                <a:lnTo>
                  <a:pt x="24" y="258"/>
                </a:lnTo>
                <a:lnTo>
                  <a:pt x="24" y="258"/>
                </a:lnTo>
                <a:lnTo>
                  <a:pt x="24" y="258"/>
                </a:lnTo>
                <a:lnTo>
                  <a:pt x="24" y="252"/>
                </a:lnTo>
                <a:lnTo>
                  <a:pt x="30" y="252"/>
                </a:lnTo>
                <a:lnTo>
                  <a:pt x="24" y="246"/>
                </a:lnTo>
                <a:lnTo>
                  <a:pt x="24" y="246"/>
                </a:lnTo>
                <a:lnTo>
                  <a:pt x="30" y="246"/>
                </a:lnTo>
                <a:lnTo>
                  <a:pt x="30" y="240"/>
                </a:lnTo>
                <a:lnTo>
                  <a:pt x="30" y="240"/>
                </a:lnTo>
                <a:lnTo>
                  <a:pt x="30" y="240"/>
                </a:lnTo>
                <a:lnTo>
                  <a:pt x="30" y="234"/>
                </a:lnTo>
                <a:lnTo>
                  <a:pt x="30" y="234"/>
                </a:lnTo>
                <a:lnTo>
                  <a:pt x="30" y="234"/>
                </a:lnTo>
                <a:lnTo>
                  <a:pt x="24" y="234"/>
                </a:lnTo>
                <a:lnTo>
                  <a:pt x="24" y="234"/>
                </a:lnTo>
                <a:lnTo>
                  <a:pt x="24" y="228"/>
                </a:lnTo>
                <a:lnTo>
                  <a:pt x="24" y="228"/>
                </a:lnTo>
                <a:lnTo>
                  <a:pt x="30" y="228"/>
                </a:lnTo>
                <a:lnTo>
                  <a:pt x="30" y="228"/>
                </a:lnTo>
                <a:lnTo>
                  <a:pt x="30" y="228"/>
                </a:lnTo>
                <a:lnTo>
                  <a:pt x="30" y="228"/>
                </a:lnTo>
                <a:lnTo>
                  <a:pt x="30" y="222"/>
                </a:lnTo>
                <a:lnTo>
                  <a:pt x="36" y="222"/>
                </a:lnTo>
                <a:lnTo>
                  <a:pt x="36" y="222"/>
                </a:lnTo>
                <a:lnTo>
                  <a:pt x="36" y="222"/>
                </a:lnTo>
                <a:lnTo>
                  <a:pt x="36" y="216"/>
                </a:lnTo>
                <a:lnTo>
                  <a:pt x="36" y="210"/>
                </a:lnTo>
                <a:lnTo>
                  <a:pt x="36" y="210"/>
                </a:lnTo>
                <a:lnTo>
                  <a:pt x="36" y="210"/>
                </a:lnTo>
                <a:lnTo>
                  <a:pt x="36" y="204"/>
                </a:lnTo>
                <a:lnTo>
                  <a:pt x="36" y="204"/>
                </a:lnTo>
                <a:lnTo>
                  <a:pt x="36" y="204"/>
                </a:lnTo>
                <a:lnTo>
                  <a:pt x="30" y="198"/>
                </a:lnTo>
                <a:lnTo>
                  <a:pt x="36" y="198"/>
                </a:lnTo>
                <a:lnTo>
                  <a:pt x="36" y="198"/>
                </a:lnTo>
                <a:lnTo>
                  <a:pt x="36" y="198"/>
                </a:lnTo>
                <a:lnTo>
                  <a:pt x="36" y="192"/>
                </a:lnTo>
                <a:lnTo>
                  <a:pt x="36" y="192"/>
                </a:lnTo>
                <a:lnTo>
                  <a:pt x="36" y="192"/>
                </a:lnTo>
                <a:lnTo>
                  <a:pt x="42" y="192"/>
                </a:lnTo>
                <a:lnTo>
                  <a:pt x="42" y="192"/>
                </a:lnTo>
                <a:lnTo>
                  <a:pt x="42" y="192"/>
                </a:lnTo>
                <a:lnTo>
                  <a:pt x="42" y="192"/>
                </a:lnTo>
                <a:lnTo>
                  <a:pt x="48" y="186"/>
                </a:lnTo>
                <a:lnTo>
                  <a:pt x="48" y="186"/>
                </a:lnTo>
                <a:lnTo>
                  <a:pt x="48" y="180"/>
                </a:lnTo>
                <a:lnTo>
                  <a:pt x="48" y="180"/>
                </a:lnTo>
                <a:lnTo>
                  <a:pt x="48" y="180"/>
                </a:lnTo>
                <a:lnTo>
                  <a:pt x="48" y="180"/>
                </a:lnTo>
                <a:lnTo>
                  <a:pt x="48" y="180"/>
                </a:lnTo>
                <a:lnTo>
                  <a:pt x="48" y="174"/>
                </a:lnTo>
                <a:lnTo>
                  <a:pt x="48" y="180"/>
                </a:lnTo>
                <a:lnTo>
                  <a:pt x="48" y="180"/>
                </a:lnTo>
                <a:lnTo>
                  <a:pt x="48" y="174"/>
                </a:lnTo>
                <a:lnTo>
                  <a:pt x="48" y="174"/>
                </a:lnTo>
                <a:lnTo>
                  <a:pt x="48" y="168"/>
                </a:lnTo>
                <a:lnTo>
                  <a:pt x="54" y="168"/>
                </a:lnTo>
                <a:lnTo>
                  <a:pt x="54" y="168"/>
                </a:lnTo>
                <a:lnTo>
                  <a:pt x="54" y="162"/>
                </a:lnTo>
                <a:lnTo>
                  <a:pt x="54" y="162"/>
                </a:lnTo>
                <a:lnTo>
                  <a:pt x="54" y="162"/>
                </a:lnTo>
                <a:lnTo>
                  <a:pt x="54" y="162"/>
                </a:lnTo>
                <a:lnTo>
                  <a:pt x="54" y="156"/>
                </a:lnTo>
                <a:lnTo>
                  <a:pt x="54" y="156"/>
                </a:lnTo>
                <a:lnTo>
                  <a:pt x="54" y="156"/>
                </a:lnTo>
                <a:lnTo>
                  <a:pt x="60" y="156"/>
                </a:lnTo>
                <a:lnTo>
                  <a:pt x="60" y="156"/>
                </a:lnTo>
                <a:lnTo>
                  <a:pt x="60" y="156"/>
                </a:lnTo>
                <a:lnTo>
                  <a:pt x="60" y="156"/>
                </a:lnTo>
                <a:lnTo>
                  <a:pt x="60" y="156"/>
                </a:lnTo>
                <a:lnTo>
                  <a:pt x="60" y="150"/>
                </a:lnTo>
                <a:lnTo>
                  <a:pt x="60" y="150"/>
                </a:lnTo>
                <a:lnTo>
                  <a:pt x="60" y="150"/>
                </a:lnTo>
                <a:lnTo>
                  <a:pt x="60" y="150"/>
                </a:lnTo>
                <a:lnTo>
                  <a:pt x="66" y="150"/>
                </a:lnTo>
                <a:lnTo>
                  <a:pt x="66" y="150"/>
                </a:lnTo>
                <a:lnTo>
                  <a:pt x="66" y="150"/>
                </a:lnTo>
                <a:lnTo>
                  <a:pt x="66" y="150"/>
                </a:lnTo>
                <a:lnTo>
                  <a:pt x="66" y="150"/>
                </a:lnTo>
                <a:lnTo>
                  <a:pt x="66" y="156"/>
                </a:lnTo>
                <a:lnTo>
                  <a:pt x="66" y="156"/>
                </a:lnTo>
                <a:lnTo>
                  <a:pt x="72" y="156"/>
                </a:lnTo>
                <a:lnTo>
                  <a:pt x="72" y="156"/>
                </a:lnTo>
                <a:lnTo>
                  <a:pt x="72" y="150"/>
                </a:lnTo>
                <a:lnTo>
                  <a:pt x="72" y="150"/>
                </a:lnTo>
                <a:lnTo>
                  <a:pt x="72" y="150"/>
                </a:lnTo>
                <a:lnTo>
                  <a:pt x="72" y="150"/>
                </a:lnTo>
                <a:lnTo>
                  <a:pt x="72" y="150"/>
                </a:lnTo>
                <a:lnTo>
                  <a:pt x="72" y="150"/>
                </a:lnTo>
                <a:lnTo>
                  <a:pt x="72" y="144"/>
                </a:lnTo>
                <a:lnTo>
                  <a:pt x="78" y="144"/>
                </a:lnTo>
                <a:lnTo>
                  <a:pt x="78" y="144"/>
                </a:lnTo>
                <a:lnTo>
                  <a:pt x="78" y="144"/>
                </a:lnTo>
                <a:lnTo>
                  <a:pt x="78" y="144"/>
                </a:lnTo>
                <a:lnTo>
                  <a:pt x="78" y="144"/>
                </a:lnTo>
                <a:lnTo>
                  <a:pt x="84" y="144"/>
                </a:lnTo>
                <a:lnTo>
                  <a:pt x="84" y="144"/>
                </a:lnTo>
                <a:lnTo>
                  <a:pt x="84" y="144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90" y="138"/>
                </a:lnTo>
                <a:lnTo>
                  <a:pt x="90" y="138"/>
                </a:lnTo>
                <a:lnTo>
                  <a:pt x="90" y="138"/>
                </a:lnTo>
                <a:lnTo>
                  <a:pt x="90" y="138"/>
                </a:lnTo>
                <a:lnTo>
                  <a:pt x="90" y="138"/>
                </a:lnTo>
                <a:lnTo>
                  <a:pt x="96" y="138"/>
                </a:lnTo>
                <a:lnTo>
                  <a:pt x="96" y="138"/>
                </a:lnTo>
                <a:lnTo>
                  <a:pt x="96" y="138"/>
                </a:lnTo>
                <a:lnTo>
                  <a:pt x="96" y="138"/>
                </a:lnTo>
                <a:lnTo>
                  <a:pt x="102" y="138"/>
                </a:lnTo>
                <a:lnTo>
                  <a:pt x="102" y="132"/>
                </a:lnTo>
                <a:lnTo>
                  <a:pt x="102" y="132"/>
                </a:lnTo>
                <a:lnTo>
                  <a:pt x="102" y="132"/>
                </a:lnTo>
                <a:lnTo>
                  <a:pt x="108" y="132"/>
                </a:lnTo>
                <a:lnTo>
                  <a:pt x="108" y="132"/>
                </a:lnTo>
                <a:lnTo>
                  <a:pt x="108" y="138"/>
                </a:lnTo>
                <a:lnTo>
                  <a:pt x="108" y="138"/>
                </a:lnTo>
                <a:lnTo>
                  <a:pt x="108" y="138"/>
                </a:lnTo>
                <a:lnTo>
                  <a:pt x="108" y="138"/>
                </a:lnTo>
                <a:lnTo>
                  <a:pt x="114" y="138"/>
                </a:lnTo>
                <a:lnTo>
                  <a:pt x="114" y="138"/>
                </a:lnTo>
                <a:lnTo>
                  <a:pt x="114" y="138"/>
                </a:lnTo>
                <a:lnTo>
                  <a:pt x="114" y="138"/>
                </a:lnTo>
                <a:lnTo>
                  <a:pt x="114" y="138"/>
                </a:lnTo>
                <a:lnTo>
                  <a:pt x="120" y="138"/>
                </a:lnTo>
                <a:lnTo>
                  <a:pt x="120" y="138"/>
                </a:lnTo>
                <a:lnTo>
                  <a:pt x="126" y="138"/>
                </a:lnTo>
                <a:lnTo>
                  <a:pt x="126" y="138"/>
                </a:lnTo>
                <a:lnTo>
                  <a:pt x="126" y="138"/>
                </a:lnTo>
                <a:lnTo>
                  <a:pt x="126" y="138"/>
                </a:lnTo>
                <a:lnTo>
                  <a:pt x="132" y="138"/>
                </a:lnTo>
                <a:lnTo>
                  <a:pt x="132" y="144"/>
                </a:lnTo>
                <a:lnTo>
                  <a:pt x="132" y="144"/>
                </a:lnTo>
                <a:lnTo>
                  <a:pt x="132" y="144"/>
                </a:lnTo>
                <a:lnTo>
                  <a:pt x="132" y="144"/>
                </a:lnTo>
                <a:lnTo>
                  <a:pt x="138" y="144"/>
                </a:lnTo>
                <a:lnTo>
                  <a:pt x="138" y="150"/>
                </a:lnTo>
                <a:lnTo>
                  <a:pt x="138" y="150"/>
                </a:lnTo>
                <a:lnTo>
                  <a:pt x="138" y="150"/>
                </a:lnTo>
                <a:lnTo>
                  <a:pt x="138" y="150"/>
                </a:lnTo>
                <a:lnTo>
                  <a:pt x="138" y="156"/>
                </a:lnTo>
                <a:lnTo>
                  <a:pt x="138" y="156"/>
                </a:lnTo>
                <a:lnTo>
                  <a:pt x="144" y="156"/>
                </a:lnTo>
                <a:lnTo>
                  <a:pt x="144" y="156"/>
                </a:lnTo>
                <a:lnTo>
                  <a:pt x="144" y="156"/>
                </a:lnTo>
                <a:lnTo>
                  <a:pt x="144" y="156"/>
                </a:lnTo>
                <a:lnTo>
                  <a:pt x="144" y="156"/>
                </a:lnTo>
                <a:lnTo>
                  <a:pt x="150" y="156"/>
                </a:lnTo>
                <a:lnTo>
                  <a:pt x="150" y="156"/>
                </a:lnTo>
                <a:lnTo>
                  <a:pt x="150" y="156"/>
                </a:lnTo>
                <a:lnTo>
                  <a:pt x="150" y="156"/>
                </a:lnTo>
                <a:lnTo>
                  <a:pt x="150" y="156"/>
                </a:lnTo>
                <a:lnTo>
                  <a:pt x="150" y="156"/>
                </a:lnTo>
                <a:lnTo>
                  <a:pt x="150" y="156"/>
                </a:lnTo>
                <a:lnTo>
                  <a:pt x="156" y="156"/>
                </a:lnTo>
                <a:lnTo>
                  <a:pt x="156" y="156"/>
                </a:lnTo>
                <a:lnTo>
                  <a:pt x="156" y="156"/>
                </a:lnTo>
                <a:lnTo>
                  <a:pt x="156" y="162"/>
                </a:lnTo>
                <a:lnTo>
                  <a:pt x="162" y="156"/>
                </a:lnTo>
                <a:lnTo>
                  <a:pt x="162" y="162"/>
                </a:lnTo>
                <a:lnTo>
                  <a:pt x="162" y="162"/>
                </a:lnTo>
                <a:lnTo>
                  <a:pt x="162" y="162"/>
                </a:lnTo>
                <a:lnTo>
                  <a:pt x="168" y="162"/>
                </a:lnTo>
                <a:lnTo>
                  <a:pt x="168" y="162"/>
                </a:lnTo>
                <a:lnTo>
                  <a:pt x="168" y="162"/>
                </a:lnTo>
                <a:lnTo>
                  <a:pt x="168" y="162"/>
                </a:lnTo>
                <a:lnTo>
                  <a:pt x="168" y="162"/>
                </a:lnTo>
                <a:lnTo>
                  <a:pt x="168" y="162"/>
                </a:lnTo>
                <a:lnTo>
                  <a:pt x="168" y="162"/>
                </a:lnTo>
                <a:lnTo>
                  <a:pt x="168" y="162"/>
                </a:lnTo>
                <a:lnTo>
                  <a:pt x="174" y="162"/>
                </a:lnTo>
                <a:lnTo>
                  <a:pt x="174" y="162"/>
                </a:lnTo>
                <a:lnTo>
                  <a:pt x="174" y="162"/>
                </a:lnTo>
                <a:lnTo>
                  <a:pt x="180" y="162"/>
                </a:lnTo>
                <a:lnTo>
                  <a:pt x="180" y="162"/>
                </a:lnTo>
                <a:lnTo>
                  <a:pt x="180" y="162"/>
                </a:lnTo>
                <a:lnTo>
                  <a:pt x="180" y="162"/>
                </a:lnTo>
                <a:lnTo>
                  <a:pt x="180" y="162"/>
                </a:lnTo>
                <a:lnTo>
                  <a:pt x="180" y="162"/>
                </a:lnTo>
                <a:lnTo>
                  <a:pt x="180" y="162"/>
                </a:lnTo>
                <a:lnTo>
                  <a:pt x="186" y="162"/>
                </a:lnTo>
                <a:lnTo>
                  <a:pt x="186" y="162"/>
                </a:lnTo>
                <a:lnTo>
                  <a:pt x="186" y="162"/>
                </a:lnTo>
                <a:lnTo>
                  <a:pt x="186" y="156"/>
                </a:lnTo>
                <a:lnTo>
                  <a:pt x="186" y="156"/>
                </a:lnTo>
                <a:lnTo>
                  <a:pt x="186" y="156"/>
                </a:lnTo>
                <a:lnTo>
                  <a:pt x="192" y="156"/>
                </a:lnTo>
                <a:lnTo>
                  <a:pt x="192" y="156"/>
                </a:lnTo>
                <a:lnTo>
                  <a:pt x="192" y="156"/>
                </a:lnTo>
                <a:lnTo>
                  <a:pt x="192" y="156"/>
                </a:lnTo>
                <a:lnTo>
                  <a:pt x="192" y="156"/>
                </a:lnTo>
                <a:lnTo>
                  <a:pt x="192" y="150"/>
                </a:lnTo>
                <a:lnTo>
                  <a:pt x="186" y="150"/>
                </a:lnTo>
                <a:lnTo>
                  <a:pt x="186" y="144"/>
                </a:lnTo>
                <a:lnTo>
                  <a:pt x="186" y="144"/>
                </a:lnTo>
                <a:lnTo>
                  <a:pt x="186" y="144"/>
                </a:lnTo>
                <a:lnTo>
                  <a:pt x="186" y="138"/>
                </a:lnTo>
                <a:lnTo>
                  <a:pt x="186" y="138"/>
                </a:lnTo>
                <a:lnTo>
                  <a:pt x="186" y="138"/>
                </a:lnTo>
                <a:lnTo>
                  <a:pt x="186" y="138"/>
                </a:lnTo>
                <a:lnTo>
                  <a:pt x="186" y="132"/>
                </a:lnTo>
                <a:lnTo>
                  <a:pt x="186" y="132"/>
                </a:lnTo>
                <a:lnTo>
                  <a:pt x="186" y="132"/>
                </a:lnTo>
                <a:lnTo>
                  <a:pt x="186" y="132"/>
                </a:lnTo>
                <a:lnTo>
                  <a:pt x="186" y="126"/>
                </a:lnTo>
                <a:lnTo>
                  <a:pt x="180" y="126"/>
                </a:lnTo>
                <a:lnTo>
                  <a:pt x="180" y="126"/>
                </a:lnTo>
                <a:lnTo>
                  <a:pt x="180" y="126"/>
                </a:lnTo>
                <a:lnTo>
                  <a:pt x="180" y="126"/>
                </a:lnTo>
                <a:lnTo>
                  <a:pt x="180" y="120"/>
                </a:lnTo>
                <a:lnTo>
                  <a:pt x="180" y="120"/>
                </a:lnTo>
                <a:lnTo>
                  <a:pt x="186" y="114"/>
                </a:lnTo>
                <a:lnTo>
                  <a:pt x="186" y="114"/>
                </a:lnTo>
                <a:lnTo>
                  <a:pt x="186" y="114"/>
                </a:lnTo>
                <a:lnTo>
                  <a:pt x="192" y="108"/>
                </a:lnTo>
                <a:lnTo>
                  <a:pt x="192" y="108"/>
                </a:lnTo>
                <a:lnTo>
                  <a:pt x="192" y="108"/>
                </a:lnTo>
                <a:lnTo>
                  <a:pt x="192" y="108"/>
                </a:lnTo>
                <a:lnTo>
                  <a:pt x="192" y="108"/>
                </a:lnTo>
                <a:lnTo>
                  <a:pt x="186" y="108"/>
                </a:lnTo>
                <a:lnTo>
                  <a:pt x="186" y="108"/>
                </a:lnTo>
                <a:lnTo>
                  <a:pt x="192" y="84"/>
                </a:lnTo>
                <a:lnTo>
                  <a:pt x="192" y="72"/>
                </a:lnTo>
                <a:lnTo>
                  <a:pt x="192" y="72"/>
                </a:lnTo>
                <a:lnTo>
                  <a:pt x="192" y="72"/>
                </a:lnTo>
                <a:lnTo>
                  <a:pt x="192" y="48"/>
                </a:lnTo>
                <a:lnTo>
                  <a:pt x="192" y="30"/>
                </a:lnTo>
                <a:lnTo>
                  <a:pt x="192" y="30"/>
                </a:lnTo>
                <a:lnTo>
                  <a:pt x="192" y="24"/>
                </a:lnTo>
                <a:lnTo>
                  <a:pt x="198" y="24"/>
                </a:lnTo>
                <a:lnTo>
                  <a:pt x="198" y="24"/>
                </a:lnTo>
                <a:lnTo>
                  <a:pt x="198" y="24"/>
                </a:lnTo>
                <a:lnTo>
                  <a:pt x="198" y="24"/>
                </a:lnTo>
                <a:lnTo>
                  <a:pt x="198" y="24"/>
                </a:lnTo>
                <a:lnTo>
                  <a:pt x="204" y="24"/>
                </a:lnTo>
                <a:lnTo>
                  <a:pt x="204" y="24"/>
                </a:lnTo>
                <a:lnTo>
                  <a:pt x="204" y="24"/>
                </a:lnTo>
                <a:lnTo>
                  <a:pt x="204" y="24"/>
                </a:lnTo>
                <a:lnTo>
                  <a:pt x="210" y="24"/>
                </a:lnTo>
                <a:lnTo>
                  <a:pt x="210" y="24"/>
                </a:lnTo>
                <a:lnTo>
                  <a:pt x="216" y="24"/>
                </a:lnTo>
                <a:lnTo>
                  <a:pt x="216" y="24"/>
                </a:lnTo>
                <a:lnTo>
                  <a:pt x="216" y="24"/>
                </a:lnTo>
                <a:lnTo>
                  <a:pt x="222" y="24"/>
                </a:lnTo>
                <a:lnTo>
                  <a:pt x="222" y="18"/>
                </a:lnTo>
                <a:lnTo>
                  <a:pt x="222" y="18"/>
                </a:lnTo>
                <a:lnTo>
                  <a:pt x="228" y="18"/>
                </a:lnTo>
                <a:lnTo>
                  <a:pt x="228" y="18"/>
                </a:lnTo>
                <a:lnTo>
                  <a:pt x="228" y="18"/>
                </a:lnTo>
                <a:lnTo>
                  <a:pt x="228" y="18"/>
                </a:lnTo>
                <a:lnTo>
                  <a:pt x="234" y="18"/>
                </a:lnTo>
                <a:lnTo>
                  <a:pt x="234" y="24"/>
                </a:lnTo>
                <a:lnTo>
                  <a:pt x="234" y="24"/>
                </a:lnTo>
                <a:lnTo>
                  <a:pt x="234" y="18"/>
                </a:lnTo>
                <a:lnTo>
                  <a:pt x="234" y="18"/>
                </a:lnTo>
                <a:lnTo>
                  <a:pt x="234" y="24"/>
                </a:lnTo>
                <a:lnTo>
                  <a:pt x="234" y="18"/>
                </a:lnTo>
                <a:lnTo>
                  <a:pt x="234" y="18"/>
                </a:lnTo>
                <a:lnTo>
                  <a:pt x="234" y="18"/>
                </a:lnTo>
                <a:lnTo>
                  <a:pt x="240" y="18"/>
                </a:lnTo>
                <a:lnTo>
                  <a:pt x="240" y="18"/>
                </a:lnTo>
                <a:lnTo>
                  <a:pt x="240" y="18"/>
                </a:lnTo>
                <a:lnTo>
                  <a:pt x="246" y="12"/>
                </a:lnTo>
                <a:lnTo>
                  <a:pt x="246" y="18"/>
                </a:lnTo>
                <a:lnTo>
                  <a:pt x="246" y="18"/>
                </a:lnTo>
                <a:lnTo>
                  <a:pt x="246" y="18"/>
                </a:lnTo>
                <a:lnTo>
                  <a:pt x="246" y="18"/>
                </a:lnTo>
                <a:lnTo>
                  <a:pt x="246" y="12"/>
                </a:lnTo>
                <a:lnTo>
                  <a:pt x="246" y="12"/>
                </a:lnTo>
                <a:lnTo>
                  <a:pt x="246" y="12"/>
                </a:lnTo>
                <a:lnTo>
                  <a:pt x="246" y="12"/>
                </a:lnTo>
                <a:lnTo>
                  <a:pt x="252" y="12"/>
                </a:lnTo>
                <a:lnTo>
                  <a:pt x="252" y="12"/>
                </a:lnTo>
                <a:lnTo>
                  <a:pt x="252" y="12"/>
                </a:lnTo>
                <a:lnTo>
                  <a:pt x="252" y="6"/>
                </a:lnTo>
                <a:lnTo>
                  <a:pt x="252" y="6"/>
                </a:lnTo>
                <a:lnTo>
                  <a:pt x="252" y="6"/>
                </a:lnTo>
                <a:lnTo>
                  <a:pt x="258" y="6"/>
                </a:lnTo>
                <a:lnTo>
                  <a:pt x="258" y="6"/>
                </a:lnTo>
                <a:lnTo>
                  <a:pt x="258" y="6"/>
                </a:lnTo>
                <a:lnTo>
                  <a:pt x="258" y="6"/>
                </a:lnTo>
                <a:lnTo>
                  <a:pt x="258" y="6"/>
                </a:lnTo>
                <a:lnTo>
                  <a:pt x="258" y="6"/>
                </a:lnTo>
                <a:lnTo>
                  <a:pt x="264" y="6"/>
                </a:lnTo>
                <a:lnTo>
                  <a:pt x="264" y="6"/>
                </a:lnTo>
                <a:lnTo>
                  <a:pt x="264" y="6"/>
                </a:lnTo>
                <a:lnTo>
                  <a:pt x="264" y="6"/>
                </a:lnTo>
                <a:lnTo>
                  <a:pt x="264" y="6"/>
                </a:lnTo>
                <a:lnTo>
                  <a:pt x="264" y="6"/>
                </a:lnTo>
                <a:lnTo>
                  <a:pt x="264" y="6"/>
                </a:lnTo>
                <a:lnTo>
                  <a:pt x="270" y="6"/>
                </a:lnTo>
                <a:lnTo>
                  <a:pt x="270" y="6"/>
                </a:lnTo>
                <a:lnTo>
                  <a:pt x="270" y="6"/>
                </a:lnTo>
                <a:lnTo>
                  <a:pt x="270" y="6"/>
                </a:lnTo>
                <a:lnTo>
                  <a:pt x="270" y="6"/>
                </a:lnTo>
                <a:lnTo>
                  <a:pt x="270" y="0"/>
                </a:lnTo>
                <a:lnTo>
                  <a:pt x="276" y="0"/>
                </a:lnTo>
                <a:lnTo>
                  <a:pt x="270" y="0"/>
                </a:lnTo>
                <a:lnTo>
                  <a:pt x="276" y="0"/>
                </a:lnTo>
                <a:lnTo>
                  <a:pt x="276" y="6"/>
                </a:lnTo>
                <a:lnTo>
                  <a:pt x="276" y="12"/>
                </a:lnTo>
                <a:lnTo>
                  <a:pt x="276" y="12"/>
                </a:lnTo>
                <a:lnTo>
                  <a:pt x="270" y="18"/>
                </a:lnTo>
                <a:lnTo>
                  <a:pt x="270" y="18"/>
                </a:lnTo>
                <a:lnTo>
                  <a:pt x="270" y="24"/>
                </a:lnTo>
                <a:lnTo>
                  <a:pt x="264" y="24"/>
                </a:lnTo>
                <a:lnTo>
                  <a:pt x="264" y="30"/>
                </a:lnTo>
                <a:lnTo>
                  <a:pt x="264" y="30"/>
                </a:lnTo>
                <a:lnTo>
                  <a:pt x="264" y="30"/>
                </a:lnTo>
                <a:lnTo>
                  <a:pt x="258" y="36"/>
                </a:lnTo>
                <a:lnTo>
                  <a:pt x="252" y="42"/>
                </a:lnTo>
                <a:lnTo>
                  <a:pt x="252" y="42"/>
                </a:lnTo>
                <a:lnTo>
                  <a:pt x="252" y="48"/>
                </a:lnTo>
                <a:lnTo>
                  <a:pt x="252" y="54"/>
                </a:lnTo>
                <a:lnTo>
                  <a:pt x="252" y="54"/>
                </a:lnTo>
                <a:lnTo>
                  <a:pt x="252" y="60"/>
                </a:lnTo>
                <a:lnTo>
                  <a:pt x="252" y="60"/>
                </a:lnTo>
                <a:lnTo>
                  <a:pt x="252" y="66"/>
                </a:lnTo>
                <a:lnTo>
                  <a:pt x="258" y="66"/>
                </a:lnTo>
                <a:lnTo>
                  <a:pt x="258" y="72"/>
                </a:lnTo>
                <a:lnTo>
                  <a:pt x="258" y="72"/>
                </a:lnTo>
                <a:lnTo>
                  <a:pt x="264" y="78"/>
                </a:lnTo>
                <a:lnTo>
                  <a:pt x="270" y="78"/>
                </a:lnTo>
                <a:lnTo>
                  <a:pt x="270" y="78"/>
                </a:lnTo>
                <a:lnTo>
                  <a:pt x="270" y="84"/>
                </a:lnTo>
                <a:lnTo>
                  <a:pt x="276" y="84"/>
                </a:lnTo>
                <a:lnTo>
                  <a:pt x="276" y="84"/>
                </a:lnTo>
                <a:lnTo>
                  <a:pt x="282" y="84"/>
                </a:lnTo>
                <a:lnTo>
                  <a:pt x="282" y="84"/>
                </a:lnTo>
                <a:lnTo>
                  <a:pt x="276" y="90"/>
                </a:lnTo>
                <a:lnTo>
                  <a:pt x="276" y="90"/>
                </a:lnTo>
                <a:lnTo>
                  <a:pt x="276" y="90"/>
                </a:lnTo>
                <a:lnTo>
                  <a:pt x="276" y="90"/>
                </a:lnTo>
                <a:lnTo>
                  <a:pt x="276" y="96"/>
                </a:lnTo>
                <a:lnTo>
                  <a:pt x="276" y="102"/>
                </a:lnTo>
                <a:lnTo>
                  <a:pt x="276" y="108"/>
                </a:lnTo>
                <a:lnTo>
                  <a:pt x="276" y="108"/>
                </a:lnTo>
                <a:lnTo>
                  <a:pt x="276" y="114"/>
                </a:lnTo>
                <a:lnTo>
                  <a:pt x="276" y="114"/>
                </a:lnTo>
                <a:lnTo>
                  <a:pt x="276" y="120"/>
                </a:lnTo>
                <a:lnTo>
                  <a:pt x="276" y="120"/>
                </a:lnTo>
                <a:lnTo>
                  <a:pt x="276" y="120"/>
                </a:lnTo>
                <a:lnTo>
                  <a:pt x="276" y="120"/>
                </a:lnTo>
                <a:lnTo>
                  <a:pt x="276" y="120"/>
                </a:lnTo>
                <a:lnTo>
                  <a:pt x="276" y="120"/>
                </a:lnTo>
                <a:lnTo>
                  <a:pt x="276" y="120"/>
                </a:lnTo>
                <a:lnTo>
                  <a:pt x="276" y="126"/>
                </a:lnTo>
                <a:lnTo>
                  <a:pt x="270" y="126"/>
                </a:lnTo>
                <a:lnTo>
                  <a:pt x="270" y="132"/>
                </a:lnTo>
                <a:lnTo>
                  <a:pt x="270" y="132"/>
                </a:lnTo>
                <a:lnTo>
                  <a:pt x="270" y="138"/>
                </a:lnTo>
                <a:lnTo>
                  <a:pt x="270" y="138"/>
                </a:lnTo>
                <a:lnTo>
                  <a:pt x="270" y="144"/>
                </a:lnTo>
                <a:lnTo>
                  <a:pt x="264" y="144"/>
                </a:lnTo>
                <a:lnTo>
                  <a:pt x="264" y="156"/>
                </a:lnTo>
                <a:lnTo>
                  <a:pt x="264" y="156"/>
                </a:lnTo>
                <a:lnTo>
                  <a:pt x="264" y="162"/>
                </a:lnTo>
                <a:lnTo>
                  <a:pt x="258" y="162"/>
                </a:lnTo>
                <a:lnTo>
                  <a:pt x="258" y="162"/>
                </a:lnTo>
                <a:lnTo>
                  <a:pt x="252" y="168"/>
                </a:lnTo>
                <a:lnTo>
                  <a:pt x="252" y="168"/>
                </a:lnTo>
                <a:lnTo>
                  <a:pt x="252" y="168"/>
                </a:lnTo>
                <a:lnTo>
                  <a:pt x="252" y="174"/>
                </a:lnTo>
                <a:lnTo>
                  <a:pt x="246" y="174"/>
                </a:lnTo>
                <a:lnTo>
                  <a:pt x="246" y="180"/>
                </a:lnTo>
                <a:lnTo>
                  <a:pt x="246" y="186"/>
                </a:lnTo>
                <a:lnTo>
                  <a:pt x="246" y="186"/>
                </a:lnTo>
                <a:lnTo>
                  <a:pt x="240" y="192"/>
                </a:lnTo>
                <a:lnTo>
                  <a:pt x="240" y="192"/>
                </a:lnTo>
                <a:lnTo>
                  <a:pt x="240" y="198"/>
                </a:lnTo>
                <a:lnTo>
                  <a:pt x="234" y="198"/>
                </a:lnTo>
                <a:lnTo>
                  <a:pt x="234" y="204"/>
                </a:lnTo>
                <a:lnTo>
                  <a:pt x="228" y="210"/>
                </a:lnTo>
                <a:lnTo>
                  <a:pt x="228" y="216"/>
                </a:lnTo>
                <a:lnTo>
                  <a:pt x="222" y="216"/>
                </a:lnTo>
                <a:lnTo>
                  <a:pt x="222" y="222"/>
                </a:lnTo>
                <a:lnTo>
                  <a:pt x="222" y="222"/>
                </a:lnTo>
                <a:lnTo>
                  <a:pt x="216" y="222"/>
                </a:lnTo>
                <a:lnTo>
                  <a:pt x="210" y="222"/>
                </a:lnTo>
                <a:lnTo>
                  <a:pt x="204" y="228"/>
                </a:lnTo>
                <a:lnTo>
                  <a:pt x="204" y="228"/>
                </a:lnTo>
                <a:lnTo>
                  <a:pt x="204" y="234"/>
                </a:lnTo>
                <a:lnTo>
                  <a:pt x="198" y="234"/>
                </a:lnTo>
                <a:lnTo>
                  <a:pt x="198" y="234"/>
                </a:lnTo>
                <a:lnTo>
                  <a:pt x="198" y="240"/>
                </a:lnTo>
                <a:lnTo>
                  <a:pt x="192" y="246"/>
                </a:lnTo>
                <a:lnTo>
                  <a:pt x="186" y="246"/>
                </a:lnTo>
                <a:lnTo>
                  <a:pt x="186" y="252"/>
                </a:lnTo>
                <a:lnTo>
                  <a:pt x="186" y="252"/>
                </a:lnTo>
                <a:lnTo>
                  <a:pt x="186" y="258"/>
                </a:lnTo>
                <a:lnTo>
                  <a:pt x="180" y="258"/>
                </a:lnTo>
                <a:lnTo>
                  <a:pt x="180" y="264"/>
                </a:lnTo>
                <a:lnTo>
                  <a:pt x="180" y="264"/>
                </a:lnTo>
                <a:lnTo>
                  <a:pt x="180" y="264"/>
                </a:lnTo>
                <a:lnTo>
                  <a:pt x="174" y="270"/>
                </a:lnTo>
                <a:lnTo>
                  <a:pt x="174" y="270"/>
                </a:lnTo>
                <a:lnTo>
                  <a:pt x="168" y="270"/>
                </a:lnTo>
                <a:lnTo>
                  <a:pt x="168" y="276"/>
                </a:lnTo>
                <a:lnTo>
                  <a:pt x="168" y="276"/>
                </a:lnTo>
                <a:lnTo>
                  <a:pt x="162" y="282"/>
                </a:lnTo>
                <a:lnTo>
                  <a:pt x="162" y="282"/>
                </a:lnTo>
                <a:lnTo>
                  <a:pt x="162" y="282"/>
                </a:lnTo>
                <a:lnTo>
                  <a:pt x="162" y="288"/>
                </a:lnTo>
                <a:lnTo>
                  <a:pt x="162" y="288"/>
                </a:lnTo>
                <a:lnTo>
                  <a:pt x="162" y="288"/>
                </a:lnTo>
                <a:lnTo>
                  <a:pt x="162" y="288"/>
                </a:lnTo>
                <a:lnTo>
                  <a:pt x="162" y="294"/>
                </a:lnTo>
                <a:lnTo>
                  <a:pt x="162" y="294"/>
                </a:lnTo>
                <a:lnTo>
                  <a:pt x="156" y="300"/>
                </a:lnTo>
                <a:lnTo>
                  <a:pt x="156" y="306"/>
                </a:lnTo>
                <a:lnTo>
                  <a:pt x="156" y="306"/>
                </a:lnTo>
                <a:lnTo>
                  <a:pt x="156" y="306"/>
                </a:lnTo>
                <a:lnTo>
                  <a:pt x="156" y="306"/>
                </a:lnTo>
                <a:lnTo>
                  <a:pt x="156" y="306"/>
                </a:lnTo>
                <a:lnTo>
                  <a:pt x="156" y="312"/>
                </a:lnTo>
                <a:lnTo>
                  <a:pt x="156" y="312"/>
                </a:lnTo>
                <a:lnTo>
                  <a:pt x="156" y="312"/>
                </a:lnTo>
                <a:lnTo>
                  <a:pt x="156" y="318"/>
                </a:lnTo>
                <a:lnTo>
                  <a:pt x="156" y="318"/>
                </a:lnTo>
                <a:lnTo>
                  <a:pt x="156" y="318"/>
                </a:lnTo>
                <a:lnTo>
                  <a:pt x="150" y="324"/>
                </a:lnTo>
                <a:lnTo>
                  <a:pt x="150" y="324"/>
                </a:lnTo>
                <a:lnTo>
                  <a:pt x="150" y="324"/>
                </a:lnTo>
                <a:lnTo>
                  <a:pt x="150" y="330"/>
                </a:lnTo>
                <a:lnTo>
                  <a:pt x="150" y="330"/>
                </a:lnTo>
                <a:lnTo>
                  <a:pt x="150" y="330"/>
                </a:lnTo>
                <a:lnTo>
                  <a:pt x="150" y="336"/>
                </a:lnTo>
                <a:lnTo>
                  <a:pt x="144" y="342"/>
                </a:lnTo>
                <a:lnTo>
                  <a:pt x="144" y="342"/>
                </a:lnTo>
                <a:lnTo>
                  <a:pt x="144" y="348"/>
                </a:lnTo>
                <a:lnTo>
                  <a:pt x="138" y="348"/>
                </a:lnTo>
                <a:lnTo>
                  <a:pt x="138" y="354"/>
                </a:lnTo>
                <a:lnTo>
                  <a:pt x="138" y="354"/>
                </a:lnTo>
                <a:lnTo>
                  <a:pt x="60" y="348"/>
                </a:lnTo>
                <a:lnTo>
                  <a:pt x="30" y="342"/>
                </a:lnTo>
                <a:lnTo>
                  <a:pt x="30" y="342"/>
                </a:lnTo>
                <a:lnTo>
                  <a:pt x="0" y="34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18" name="Freeform 51"/>
          <p:cNvSpPr>
            <a:spLocks/>
          </p:cNvSpPr>
          <p:nvPr/>
        </p:nvSpPr>
        <p:spPr bwMode="auto">
          <a:xfrm>
            <a:off x="5470683" y="749506"/>
            <a:ext cx="533196" cy="822284"/>
          </a:xfrm>
          <a:custGeom>
            <a:avLst/>
            <a:gdLst>
              <a:gd name="T0" fmla="*/ 12 w 498"/>
              <a:gd name="T1" fmla="*/ 174 h 768"/>
              <a:gd name="T2" fmla="*/ 30 w 498"/>
              <a:gd name="T3" fmla="*/ 162 h 768"/>
              <a:gd name="T4" fmla="*/ 48 w 498"/>
              <a:gd name="T5" fmla="*/ 162 h 768"/>
              <a:gd name="T6" fmla="*/ 54 w 498"/>
              <a:gd name="T7" fmla="*/ 150 h 768"/>
              <a:gd name="T8" fmla="*/ 60 w 498"/>
              <a:gd name="T9" fmla="*/ 138 h 768"/>
              <a:gd name="T10" fmla="*/ 72 w 498"/>
              <a:gd name="T11" fmla="*/ 126 h 768"/>
              <a:gd name="T12" fmla="*/ 90 w 498"/>
              <a:gd name="T13" fmla="*/ 126 h 768"/>
              <a:gd name="T14" fmla="*/ 114 w 498"/>
              <a:gd name="T15" fmla="*/ 132 h 768"/>
              <a:gd name="T16" fmla="*/ 120 w 498"/>
              <a:gd name="T17" fmla="*/ 114 h 768"/>
              <a:gd name="T18" fmla="*/ 132 w 498"/>
              <a:gd name="T19" fmla="*/ 114 h 768"/>
              <a:gd name="T20" fmla="*/ 144 w 498"/>
              <a:gd name="T21" fmla="*/ 102 h 768"/>
              <a:gd name="T22" fmla="*/ 162 w 498"/>
              <a:gd name="T23" fmla="*/ 108 h 768"/>
              <a:gd name="T24" fmla="*/ 174 w 498"/>
              <a:gd name="T25" fmla="*/ 108 h 768"/>
              <a:gd name="T26" fmla="*/ 186 w 498"/>
              <a:gd name="T27" fmla="*/ 96 h 768"/>
              <a:gd name="T28" fmla="*/ 198 w 498"/>
              <a:gd name="T29" fmla="*/ 78 h 768"/>
              <a:gd name="T30" fmla="*/ 210 w 498"/>
              <a:gd name="T31" fmla="*/ 72 h 768"/>
              <a:gd name="T32" fmla="*/ 228 w 498"/>
              <a:gd name="T33" fmla="*/ 66 h 768"/>
              <a:gd name="T34" fmla="*/ 246 w 498"/>
              <a:gd name="T35" fmla="*/ 78 h 768"/>
              <a:gd name="T36" fmla="*/ 264 w 498"/>
              <a:gd name="T37" fmla="*/ 84 h 768"/>
              <a:gd name="T38" fmla="*/ 276 w 498"/>
              <a:gd name="T39" fmla="*/ 90 h 768"/>
              <a:gd name="T40" fmla="*/ 294 w 498"/>
              <a:gd name="T41" fmla="*/ 78 h 768"/>
              <a:gd name="T42" fmla="*/ 318 w 498"/>
              <a:gd name="T43" fmla="*/ 72 h 768"/>
              <a:gd name="T44" fmla="*/ 336 w 498"/>
              <a:gd name="T45" fmla="*/ 78 h 768"/>
              <a:gd name="T46" fmla="*/ 360 w 498"/>
              <a:gd name="T47" fmla="*/ 84 h 768"/>
              <a:gd name="T48" fmla="*/ 372 w 498"/>
              <a:gd name="T49" fmla="*/ 90 h 768"/>
              <a:gd name="T50" fmla="*/ 390 w 498"/>
              <a:gd name="T51" fmla="*/ 78 h 768"/>
              <a:gd name="T52" fmla="*/ 390 w 498"/>
              <a:gd name="T53" fmla="*/ 60 h 768"/>
              <a:gd name="T54" fmla="*/ 372 w 498"/>
              <a:gd name="T55" fmla="*/ 48 h 768"/>
              <a:gd name="T56" fmla="*/ 360 w 498"/>
              <a:gd name="T57" fmla="*/ 36 h 768"/>
              <a:gd name="T58" fmla="*/ 366 w 498"/>
              <a:gd name="T59" fmla="*/ 18 h 768"/>
              <a:gd name="T60" fmla="*/ 378 w 498"/>
              <a:gd name="T61" fmla="*/ 18 h 768"/>
              <a:gd name="T62" fmla="*/ 378 w 498"/>
              <a:gd name="T63" fmla="*/ 0 h 768"/>
              <a:gd name="T64" fmla="*/ 396 w 498"/>
              <a:gd name="T65" fmla="*/ 6 h 768"/>
              <a:gd name="T66" fmla="*/ 426 w 498"/>
              <a:gd name="T67" fmla="*/ 42 h 768"/>
              <a:gd name="T68" fmla="*/ 432 w 498"/>
              <a:gd name="T69" fmla="*/ 72 h 768"/>
              <a:gd name="T70" fmla="*/ 450 w 498"/>
              <a:gd name="T71" fmla="*/ 114 h 768"/>
              <a:gd name="T72" fmla="*/ 486 w 498"/>
              <a:gd name="T73" fmla="*/ 582 h 768"/>
              <a:gd name="T74" fmla="*/ 486 w 498"/>
              <a:gd name="T75" fmla="*/ 612 h 768"/>
              <a:gd name="T76" fmla="*/ 468 w 498"/>
              <a:gd name="T77" fmla="*/ 618 h 768"/>
              <a:gd name="T78" fmla="*/ 426 w 498"/>
              <a:gd name="T79" fmla="*/ 612 h 768"/>
              <a:gd name="T80" fmla="*/ 402 w 498"/>
              <a:gd name="T81" fmla="*/ 630 h 768"/>
              <a:gd name="T82" fmla="*/ 294 w 498"/>
              <a:gd name="T83" fmla="*/ 720 h 768"/>
              <a:gd name="T84" fmla="*/ 330 w 498"/>
              <a:gd name="T85" fmla="*/ 624 h 768"/>
              <a:gd name="T86" fmla="*/ 348 w 498"/>
              <a:gd name="T87" fmla="*/ 600 h 768"/>
              <a:gd name="T88" fmla="*/ 318 w 498"/>
              <a:gd name="T89" fmla="*/ 612 h 768"/>
              <a:gd name="T90" fmla="*/ 294 w 498"/>
              <a:gd name="T91" fmla="*/ 618 h 768"/>
              <a:gd name="T92" fmla="*/ 282 w 498"/>
              <a:gd name="T93" fmla="*/ 594 h 768"/>
              <a:gd name="T94" fmla="*/ 240 w 498"/>
              <a:gd name="T95" fmla="*/ 570 h 768"/>
              <a:gd name="T96" fmla="*/ 228 w 498"/>
              <a:gd name="T97" fmla="*/ 552 h 768"/>
              <a:gd name="T98" fmla="*/ 210 w 498"/>
              <a:gd name="T99" fmla="*/ 552 h 768"/>
              <a:gd name="T100" fmla="*/ 192 w 498"/>
              <a:gd name="T101" fmla="*/ 552 h 768"/>
              <a:gd name="T102" fmla="*/ 168 w 498"/>
              <a:gd name="T103" fmla="*/ 534 h 768"/>
              <a:gd name="T104" fmla="*/ 150 w 498"/>
              <a:gd name="T105" fmla="*/ 528 h 768"/>
              <a:gd name="T106" fmla="*/ 132 w 498"/>
              <a:gd name="T107" fmla="*/ 516 h 768"/>
              <a:gd name="T108" fmla="*/ 120 w 498"/>
              <a:gd name="T109" fmla="*/ 498 h 768"/>
              <a:gd name="T110" fmla="*/ 108 w 498"/>
              <a:gd name="T111" fmla="*/ 480 h 768"/>
              <a:gd name="T112" fmla="*/ 72 w 498"/>
              <a:gd name="T113" fmla="*/ 474 h 768"/>
              <a:gd name="T114" fmla="*/ 60 w 498"/>
              <a:gd name="T115" fmla="*/ 456 h 768"/>
              <a:gd name="T116" fmla="*/ 48 w 498"/>
              <a:gd name="T117" fmla="*/ 438 h 768"/>
              <a:gd name="T118" fmla="*/ 30 w 498"/>
              <a:gd name="T119" fmla="*/ 420 h 768"/>
              <a:gd name="T120" fmla="*/ 24 w 498"/>
              <a:gd name="T121" fmla="*/ 396 h 768"/>
              <a:gd name="T122" fmla="*/ 6 w 498"/>
              <a:gd name="T123" fmla="*/ 366 h 7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98" h="768">
                <a:moveTo>
                  <a:pt x="0" y="294"/>
                </a:moveTo>
                <a:lnTo>
                  <a:pt x="0" y="168"/>
                </a:lnTo>
                <a:lnTo>
                  <a:pt x="0" y="168"/>
                </a:lnTo>
                <a:lnTo>
                  <a:pt x="0" y="168"/>
                </a:lnTo>
                <a:lnTo>
                  <a:pt x="6" y="168"/>
                </a:lnTo>
                <a:lnTo>
                  <a:pt x="6" y="174"/>
                </a:lnTo>
                <a:lnTo>
                  <a:pt x="6" y="174"/>
                </a:lnTo>
                <a:lnTo>
                  <a:pt x="6" y="174"/>
                </a:lnTo>
                <a:lnTo>
                  <a:pt x="6" y="174"/>
                </a:lnTo>
                <a:lnTo>
                  <a:pt x="12" y="174"/>
                </a:lnTo>
                <a:lnTo>
                  <a:pt x="12" y="174"/>
                </a:lnTo>
                <a:lnTo>
                  <a:pt x="12" y="174"/>
                </a:lnTo>
                <a:lnTo>
                  <a:pt x="12" y="180"/>
                </a:lnTo>
                <a:lnTo>
                  <a:pt x="12" y="180"/>
                </a:lnTo>
                <a:lnTo>
                  <a:pt x="12" y="174"/>
                </a:lnTo>
                <a:lnTo>
                  <a:pt x="12" y="174"/>
                </a:lnTo>
                <a:lnTo>
                  <a:pt x="12" y="174"/>
                </a:lnTo>
                <a:lnTo>
                  <a:pt x="12" y="174"/>
                </a:lnTo>
                <a:lnTo>
                  <a:pt x="18" y="174"/>
                </a:lnTo>
                <a:lnTo>
                  <a:pt x="18" y="174"/>
                </a:lnTo>
                <a:lnTo>
                  <a:pt x="18" y="174"/>
                </a:lnTo>
                <a:lnTo>
                  <a:pt x="18" y="174"/>
                </a:lnTo>
                <a:lnTo>
                  <a:pt x="18" y="174"/>
                </a:lnTo>
                <a:lnTo>
                  <a:pt x="24" y="174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2"/>
                </a:lnTo>
                <a:lnTo>
                  <a:pt x="24" y="162"/>
                </a:lnTo>
                <a:lnTo>
                  <a:pt x="24" y="162"/>
                </a:lnTo>
                <a:lnTo>
                  <a:pt x="24" y="162"/>
                </a:lnTo>
                <a:lnTo>
                  <a:pt x="30" y="162"/>
                </a:lnTo>
                <a:lnTo>
                  <a:pt x="30" y="162"/>
                </a:lnTo>
                <a:lnTo>
                  <a:pt x="30" y="162"/>
                </a:lnTo>
                <a:lnTo>
                  <a:pt x="30" y="162"/>
                </a:lnTo>
                <a:lnTo>
                  <a:pt x="36" y="162"/>
                </a:lnTo>
                <a:lnTo>
                  <a:pt x="36" y="162"/>
                </a:lnTo>
                <a:lnTo>
                  <a:pt x="36" y="162"/>
                </a:lnTo>
                <a:lnTo>
                  <a:pt x="36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68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8" y="162"/>
                </a:lnTo>
                <a:lnTo>
                  <a:pt x="48" y="162"/>
                </a:lnTo>
                <a:lnTo>
                  <a:pt x="48" y="162"/>
                </a:lnTo>
                <a:lnTo>
                  <a:pt x="48" y="162"/>
                </a:lnTo>
                <a:lnTo>
                  <a:pt x="48" y="162"/>
                </a:lnTo>
                <a:lnTo>
                  <a:pt x="48" y="162"/>
                </a:lnTo>
                <a:lnTo>
                  <a:pt x="48" y="168"/>
                </a:lnTo>
                <a:lnTo>
                  <a:pt x="48" y="168"/>
                </a:lnTo>
                <a:lnTo>
                  <a:pt x="48" y="162"/>
                </a:lnTo>
                <a:lnTo>
                  <a:pt x="48" y="162"/>
                </a:lnTo>
                <a:lnTo>
                  <a:pt x="54" y="162"/>
                </a:lnTo>
                <a:lnTo>
                  <a:pt x="54" y="162"/>
                </a:lnTo>
                <a:lnTo>
                  <a:pt x="54" y="162"/>
                </a:lnTo>
                <a:lnTo>
                  <a:pt x="54" y="162"/>
                </a:lnTo>
                <a:lnTo>
                  <a:pt x="54" y="162"/>
                </a:lnTo>
                <a:lnTo>
                  <a:pt x="54" y="162"/>
                </a:lnTo>
                <a:lnTo>
                  <a:pt x="54" y="156"/>
                </a:lnTo>
                <a:lnTo>
                  <a:pt x="54" y="156"/>
                </a:lnTo>
                <a:lnTo>
                  <a:pt x="60" y="150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54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60" y="138"/>
                </a:lnTo>
                <a:lnTo>
                  <a:pt x="60" y="138"/>
                </a:lnTo>
                <a:lnTo>
                  <a:pt x="60" y="138"/>
                </a:lnTo>
                <a:lnTo>
                  <a:pt x="60" y="138"/>
                </a:lnTo>
                <a:lnTo>
                  <a:pt x="60" y="138"/>
                </a:lnTo>
                <a:lnTo>
                  <a:pt x="60" y="138"/>
                </a:lnTo>
                <a:lnTo>
                  <a:pt x="66" y="138"/>
                </a:lnTo>
                <a:lnTo>
                  <a:pt x="66" y="138"/>
                </a:lnTo>
                <a:lnTo>
                  <a:pt x="66" y="138"/>
                </a:lnTo>
                <a:lnTo>
                  <a:pt x="66" y="138"/>
                </a:lnTo>
                <a:lnTo>
                  <a:pt x="66" y="132"/>
                </a:lnTo>
                <a:lnTo>
                  <a:pt x="66" y="132"/>
                </a:lnTo>
                <a:lnTo>
                  <a:pt x="66" y="132"/>
                </a:lnTo>
                <a:lnTo>
                  <a:pt x="66" y="132"/>
                </a:lnTo>
                <a:lnTo>
                  <a:pt x="66" y="132"/>
                </a:lnTo>
                <a:lnTo>
                  <a:pt x="72" y="132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6"/>
                </a:lnTo>
                <a:lnTo>
                  <a:pt x="78" y="126"/>
                </a:lnTo>
                <a:lnTo>
                  <a:pt x="78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90" y="126"/>
                </a:lnTo>
                <a:lnTo>
                  <a:pt x="90" y="126"/>
                </a:lnTo>
                <a:lnTo>
                  <a:pt x="90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32"/>
                </a:lnTo>
                <a:lnTo>
                  <a:pt x="96" y="132"/>
                </a:lnTo>
                <a:lnTo>
                  <a:pt x="96" y="132"/>
                </a:lnTo>
                <a:lnTo>
                  <a:pt x="102" y="132"/>
                </a:lnTo>
                <a:lnTo>
                  <a:pt x="102" y="132"/>
                </a:lnTo>
                <a:lnTo>
                  <a:pt x="102" y="132"/>
                </a:lnTo>
                <a:lnTo>
                  <a:pt x="108" y="132"/>
                </a:lnTo>
                <a:lnTo>
                  <a:pt x="108" y="132"/>
                </a:lnTo>
                <a:lnTo>
                  <a:pt x="108" y="132"/>
                </a:lnTo>
                <a:lnTo>
                  <a:pt x="108" y="132"/>
                </a:lnTo>
                <a:lnTo>
                  <a:pt x="108" y="132"/>
                </a:lnTo>
                <a:lnTo>
                  <a:pt x="114" y="132"/>
                </a:lnTo>
                <a:lnTo>
                  <a:pt x="114" y="132"/>
                </a:lnTo>
                <a:lnTo>
                  <a:pt x="114" y="132"/>
                </a:lnTo>
                <a:lnTo>
                  <a:pt x="114" y="132"/>
                </a:lnTo>
                <a:lnTo>
                  <a:pt x="114" y="132"/>
                </a:lnTo>
                <a:lnTo>
                  <a:pt x="120" y="132"/>
                </a:lnTo>
                <a:lnTo>
                  <a:pt x="120" y="132"/>
                </a:lnTo>
                <a:lnTo>
                  <a:pt x="120" y="126"/>
                </a:lnTo>
                <a:lnTo>
                  <a:pt x="120" y="126"/>
                </a:lnTo>
                <a:lnTo>
                  <a:pt x="120" y="126"/>
                </a:lnTo>
                <a:lnTo>
                  <a:pt x="120" y="126"/>
                </a:lnTo>
                <a:lnTo>
                  <a:pt x="120" y="126"/>
                </a:lnTo>
                <a:lnTo>
                  <a:pt x="120" y="126"/>
                </a:lnTo>
                <a:lnTo>
                  <a:pt x="120" y="120"/>
                </a:lnTo>
                <a:lnTo>
                  <a:pt x="120" y="120"/>
                </a:lnTo>
                <a:lnTo>
                  <a:pt x="120" y="120"/>
                </a:lnTo>
                <a:lnTo>
                  <a:pt x="120" y="120"/>
                </a:lnTo>
                <a:lnTo>
                  <a:pt x="120" y="114"/>
                </a:lnTo>
                <a:lnTo>
                  <a:pt x="120" y="114"/>
                </a:lnTo>
                <a:lnTo>
                  <a:pt x="120" y="114"/>
                </a:lnTo>
                <a:lnTo>
                  <a:pt x="120" y="114"/>
                </a:lnTo>
                <a:lnTo>
                  <a:pt x="120" y="114"/>
                </a:lnTo>
                <a:lnTo>
                  <a:pt x="120" y="114"/>
                </a:lnTo>
                <a:lnTo>
                  <a:pt x="120" y="114"/>
                </a:lnTo>
                <a:lnTo>
                  <a:pt x="120" y="114"/>
                </a:lnTo>
                <a:lnTo>
                  <a:pt x="120" y="114"/>
                </a:lnTo>
                <a:lnTo>
                  <a:pt x="120" y="114"/>
                </a:lnTo>
                <a:lnTo>
                  <a:pt x="120" y="114"/>
                </a:lnTo>
                <a:lnTo>
                  <a:pt x="126" y="114"/>
                </a:lnTo>
                <a:lnTo>
                  <a:pt x="126" y="114"/>
                </a:lnTo>
                <a:lnTo>
                  <a:pt x="126" y="114"/>
                </a:lnTo>
                <a:lnTo>
                  <a:pt x="132" y="114"/>
                </a:lnTo>
                <a:lnTo>
                  <a:pt x="132" y="114"/>
                </a:lnTo>
                <a:lnTo>
                  <a:pt x="132" y="114"/>
                </a:lnTo>
                <a:lnTo>
                  <a:pt x="132" y="114"/>
                </a:lnTo>
                <a:lnTo>
                  <a:pt x="132" y="114"/>
                </a:lnTo>
                <a:lnTo>
                  <a:pt x="132" y="114"/>
                </a:lnTo>
                <a:lnTo>
                  <a:pt x="132" y="108"/>
                </a:lnTo>
                <a:lnTo>
                  <a:pt x="138" y="114"/>
                </a:lnTo>
                <a:lnTo>
                  <a:pt x="138" y="114"/>
                </a:lnTo>
                <a:lnTo>
                  <a:pt x="138" y="108"/>
                </a:lnTo>
                <a:lnTo>
                  <a:pt x="138" y="108"/>
                </a:lnTo>
                <a:lnTo>
                  <a:pt x="138" y="108"/>
                </a:lnTo>
                <a:lnTo>
                  <a:pt x="138" y="108"/>
                </a:lnTo>
                <a:lnTo>
                  <a:pt x="138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2"/>
                </a:lnTo>
                <a:lnTo>
                  <a:pt x="144" y="108"/>
                </a:lnTo>
                <a:lnTo>
                  <a:pt x="144" y="102"/>
                </a:lnTo>
                <a:lnTo>
                  <a:pt x="150" y="108"/>
                </a:lnTo>
                <a:lnTo>
                  <a:pt x="150" y="108"/>
                </a:lnTo>
                <a:lnTo>
                  <a:pt x="150" y="108"/>
                </a:lnTo>
                <a:lnTo>
                  <a:pt x="150" y="108"/>
                </a:lnTo>
                <a:lnTo>
                  <a:pt x="150" y="108"/>
                </a:lnTo>
                <a:lnTo>
                  <a:pt x="156" y="108"/>
                </a:lnTo>
                <a:lnTo>
                  <a:pt x="156" y="108"/>
                </a:lnTo>
                <a:lnTo>
                  <a:pt x="156" y="108"/>
                </a:lnTo>
                <a:lnTo>
                  <a:pt x="156" y="108"/>
                </a:lnTo>
                <a:lnTo>
                  <a:pt x="156" y="108"/>
                </a:lnTo>
                <a:lnTo>
                  <a:pt x="156" y="102"/>
                </a:lnTo>
                <a:lnTo>
                  <a:pt x="156" y="102"/>
                </a:lnTo>
                <a:lnTo>
                  <a:pt x="156" y="108"/>
                </a:lnTo>
                <a:lnTo>
                  <a:pt x="156" y="108"/>
                </a:lnTo>
                <a:lnTo>
                  <a:pt x="156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8" y="108"/>
                </a:lnTo>
                <a:lnTo>
                  <a:pt x="168" y="108"/>
                </a:lnTo>
                <a:lnTo>
                  <a:pt x="168" y="108"/>
                </a:lnTo>
                <a:lnTo>
                  <a:pt x="168" y="108"/>
                </a:lnTo>
                <a:lnTo>
                  <a:pt x="168" y="108"/>
                </a:lnTo>
                <a:lnTo>
                  <a:pt x="168" y="108"/>
                </a:lnTo>
                <a:lnTo>
                  <a:pt x="174" y="108"/>
                </a:lnTo>
                <a:lnTo>
                  <a:pt x="174" y="108"/>
                </a:lnTo>
                <a:lnTo>
                  <a:pt x="174" y="108"/>
                </a:lnTo>
                <a:lnTo>
                  <a:pt x="174" y="108"/>
                </a:lnTo>
                <a:lnTo>
                  <a:pt x="174" y="108"/>
                </a:lnTo>
                <a:lnTo>
                  <a:pt x="174" y="108"/>
                </a:lnTo>
                <a:lnTo>
                  <a:pt x="174" y="108"/>
                </a:lnTo>
                <a:lnTo>
                  <a:pt x="174" y="108"/>
                </a:lnTo>
                <a:lnTo>
                  <a:pt x="180" y="108"/>
                </a:lnTo>
                <a:lnTo>
                  <a:pt x="180" y="108"/>
                </a:lnTo>
                <a:lnTo>
                  <a:pt x="180" y="108"/>
                </a:lnTo>
                <a:lnTo>
                  <a:pt x="180" y="108"/>
                </a:lnTo>
                <a:lnTo>
                  <a:pt x="180" y="102"/>
                </a:lnTo>
                <a:lnTo>
                  <a:pt x="180" y="108"/>
                </a:lnTo>
                <a:lnTo>
                  <a:pt x="180" y="108"/>
                </a:lnTo>
                <a:lnTo>
                  <a:pt x="180" y="102"/>
                </a:lnTo>
                <a:lnTo>
                  <a:pt x="180" y="102"/>
                </a:lnTo>
                <a:lnTo>
                  <a:pt x="180" y="102"/>
                </a:lnTo>
                <a:lnTo>
                  <a:pt x="180" y="102"/>
                </a:lnTo>
                <a:lnTo>
                  <a:pt x="180" y="102"/>
                </a:lnTo>
                <a:lnTo>
                  <a:pt x="180" y="96"/>
                </a:lnTo>
                <a:lnTo>
                  <a:pt x="186" y="96"/>
                </a:lnTo>
                <a:lnTo>
                  <a:pt x="186" y="96"/>
                </a:lnTo>
                <a:lnTo>
                  <a:pt x="186" y="96"/>
                </a:lnTo>
                <a:lnTo>
                  <a:pt x="186" y="96"/>
                </a:lnTo>
                <a:lnTo>
                  <a:pt x="186" y="96"/>
                </a:lnTo>
                <a:lnTo>
                  <a:pt x="186" y="96"/>
                </a:lnTo>
                <a:lnTo>
                  <a:pt x="186" y="96"/>
                </a:lnTo>
                <a:lnTo>
                  <a:pt x="186" y="96"/>
                </a:lnTo>
                <a:lnTo>
                  <a:pt x="192" y="96"/>
                </a:lnTo>
                <a:lnTo>
                  <a:pt x="192" y="90"/>
                </a:lnTo>
                <a:lnTo>
                  <a:pt x="192" y="90"/>
                </a:lnTo>
                <a:lnTo>
                  <a:pt x="192" y="90"/>
                </a:lnTo>
                <a:lnTo>
                  <a:pt x="192" y="90"/>
                </a:lnTo>
                <a:lnTo>
                  <a:pt x="192" y="84"/>
                </a:lnTo>
                <a:lnTo>
                  <a:pt x="192" y="84"/>
                </a:lnTo>
                <a:lnTo>
                  <a:pt x="192" y="84"/>
                </a:lnTo>
                <a:lnTo>
                  <a:pt x="192" y="84"/>
                </a:lnTo>
                <a:lnTo>
                  <a:pt x="192" y="84"/>
                </a:lnTo>
                <a:lnTo>
                  <a:pt x="192" y="78"/>
                </a:lnTo>
                <a:lnTo>
                  <a:pt x="198" y="78"/>
                </a:lnTo>
                <a:lnTo>
                  <a:pt x="198" y="78"/>
                </a:lnTo>
                <a:lnTo>
                  <a:pt x="198" y="78"/>
                </a:lnTo>
                <a:lnTo>
                  <a:pt x="198" y="78"/>
                </a:lnTo>
                <a:lnTo>
                  <a:pt x="198" y="78"/>
                </a:lnTo>
                <a:lnTo>
                  <a:pt x="204" y="78"/>
                </a:lnTo>
                <a:lnTo>
                  <a:pt x="204" y="78"/>
                </a:lnTo>
                <a:lnTo>
                  <a:pt x="198" y="78"/>
                </a:lnTo>
                <a:lnTo>
                  <a:pt x="198" y="72"/>
                </a:lnTo>
                <a:lnTo>
                  <a:pt x="204" y="72"/>
                </a:lnTo>
                <a:lnTo>
                  <a:pt x="204" y="72"/>
                </a:lnTo>
                <a:lnTo>
                  <a:pt x="204" y="72"/>
                </a:lnTo>
                <a:lnTo>
                  <a:pt x="204" y="72"/>
                </a:lnTo>
                <a:lnTo>
                  <a:pt x="204" y="72"/>
                </a:lnTo>
                <a:lnTo>
                  <a:pt x="204" y="72"/>
                </a:lnTo>
                <a:lnTo>
                  <a:pt x="210" y="72"/>
                </a:lnTo>
                <a:lnTo>
                  <a:pt x="210" y="72"/>
                </a:lnTo>
                <a:lnTo>
                  <a:pt x="210" y="72"/>
                </a:lnTo>
                <a:lnTo>
                  <a:pt x="210" y="72"/>
                </a:lnTo>
                <a:lnTo>
                  <a:pt x="210" y="72"/>
                </a:lnTo>
                <a:lnTo>
                  <a:pt x="216" y="72"/>
                </a:lnTo>
                <a:lnTo>
                  <a:pt x="216" y="72"/>
                </a:lnTo>
                <a:lnTo>
                  <a:pt x="216" y="78"/>
                </a:lnTo>
                <a:lnTo>
                  <a:pt x="216" y="78"/>
                </a:lnTo>
                <a:lnTo>
                  <a:pt x="216" y="78"/>
                </a:lnTo>
                <a:lnTo>
                  <a:pt x="216" y="78"/>
                </a:lnTo>
                <a:lnTo>
                  <a:pt x="216" y="78"/>
                </a:lnTo>
                <a:lnTo>
                  <a:pt x="216" y="78"/>
                </a:lnTo>
                <a:lnTo>
                  <a:pt x="222" y="72"/>
                </a:lnTo>
                <a:lnTo>
                  <a:pt x="222" y="72"/>
                </a:lnTo>
                <a:lnTo>
                  <a:pt x="222" y="72"/>
                </a:lnTo>
                <a:lnTo>
                  <a:pt x="222" y="72"/>
                </a:lnTo>
                <a:lnTo>
                  <a:pt x="228" y="72"/>
                </a:lnTo>
                <a:lnTo>
                  <a:pt x="228" y="72"/>
                </a:lnTo>
                <a:lnTo>
                  <a:pt x="228" y="66"/>
                </a:lnTo>
                <a:lnTo>
                  <a:pt x="234" y="66"/>
                </a:lnTo>
                <a:lnTo>
                  <a:pt x="234" y="66"/>
                </a:lnTo>
                <a:lnTo>
                  <a:pt x="234" y="66"/>
                </a:lnTo>
                <a:lnTo>
                  <a:pt x="234" y="66"/>
                </a:lnTo>
                <a:lnTo>
                  <a:pt x="234" y="66"/>
                </a:lnTo>
                <a:lnTo>
                  <a:pt x="234" y="66"/>
                </a:lnTo>
                <a:lnTo>
                  <a:pt x="234" y="66"/>
                </a:lnTo>
                <a:lnTo>
                  <a:pt x="234" y="66"/>
                </a:lnTo>
                <a:lnTo>
                  <a:pt x="240" y="66"/>
                </a:lnTo>
                <a:lnTo>
                  <a:pt x="240" y="72"/>
                </a:lnTo>
                <a:lnTo>
                  <a:pt x="240" y="72"/>
                </a:lnTo>
                <a:lnTo>
                  <a:pt x="240" y="72"/>
                </a:lnTo>
                <a:lnTo>
                  <a:pt x="240" y="72"/>
                </a:lnTo>
                <a:lnTo>
                  <a:pt x="240" y="78"/>
                </a:lnTo>
                <a:lnTo>
                  <a:pt x="240" y="78"/>
                </a:lnTo>
                <a:lnTo>
                  <a:pt x="246" y="78"/>
                </a:lnTo>
                <a:lnTo>
                  <a:pt x="246" y="78"/>
                </a:lnTo>
                <a:lnTo>
                  <a:pt x="246" y="78"/>
                </a:lnTo>
                <a:lnTo>
                  <a:pt x="246" y="78"/>
                </a:lnTo>
                <a:lnTo>
                  <a:pt x="246" y="78"/>
                </a:lnTo>
                <a:lnTo>
                  <a:pt x="246" y="84"/>
                </a:lnTo>
                <a:lnTo>
                  <a:pt x="252" y="84"/>
                </a:lnTo>
                <a:lnTo>
                  <a:pt x="252" y="84"/>
                </a:lnTo>
                <a:lnTo>
                  <a:pt x="252" y="84"/>
                </a:lnTo>
                <a:lnTo>
                  <a:pt x="252" y="78"/>
                </a:lnTo>
                <a:lnTo>
                  <a:pt x="252" y="78"/>
                </a:lnTo>
                <a:lnTo>
                  <a:pt x="252" y="78"/>
                </a:lnTo>
                <a:lnTo>
                  <a:pt x="252" y="78"/>
                </a:lnTo>
                <a:lnTo>
                  <a:pt x="258" y="78"/>
                </a:lnTo>
                <a:lnTo>
                  <a:pt x="258" y="78"/>
                </a:lnTo>
                <a:lnTo>
                  <a:pt x="258" y="78"/>
                </a:lnTo>
                <a:lnTo>
                  <a:pt x="264" y="84"/>
                </a:lnTo>
                <a:lnTo>
                  <a:pt x="264" y="84"/>
                </a:lnTo>
                <a:lnTo>
                  <a:pt x="264" y="84"/>
                </a:lnTo>
                <a:lnTo>
                  <a:pt x="264" y="84"/>
                </a:lnTo>
                <a:lnTo>
                  <a:pt x="264" y="84"/>
                </a:lnTo>
                <a:lnTo>
                  <a:pt x="264" y="84"/>
                </a:lnTo>
                <a:lnTo>
                  <a:pt x="264" y="84"/>
                </a:lnTo>
                <a:lnTo>
                  <a:pt x="264" y="84"/>
                </a:lnTo>
                <a:lnTo>
                  <a:pt x="270" y="84"/>
                </a:lnTo>
                <a:lnTo>
                  <a:pt x="270" y="84"/>
                </a:lnTo>
                <a:lnTo>
                  <a:pt x="270" y="84"/>
                </a:lnTo>
                <a:lnTo>
                  <a:pt x="270" y="84"/>
                </a:lnTo>
                <a:lnTo>
                  <a:pt x="270" y="84"/>
                </a:lnTo>
                <a:lnTo>
                  <a:pt x="270" y="84"/>
                </a:lnTo>
                <a:lnTo>
                  <a:pt x="270" y="84"/>
                </a:lnTo>
                <a:lnTo>
                  <a:pt x="276" y="84"/>
                </a:lnTo>
                <a:lnTo>
                  <a:pt x="276" y="84"/>
                </a:lnTo>
                <a:lnTo>
                  <a:pt x="276" y="90"/>
                </a:lnTo>
                <a:lnTo>
                  <a:pt x="276" y="90"/>
                </a:lnTo>
                <a:lnTo>
                  <a:pt x="276" y="90"/>
                </a:lnTo>
                <a:lnTo>
                  <a:pt x="276" y="90"/>
                </a:lnTo>
                <a:lnTo>
                  <a:pt x="276" y="84"/>
                </a:lnTo>
                <a:lnTo>
                  <a:pt x="276" y="84"/>
                </a:lnTo>
                <a:lnTo>
                  <a:pt x="276" y="84"/>
                </a:lnTo>
                <a:lnTo>
                  <a:pt x="276" y="84"/>
                </a:lnTo>
                <a:lnTo>
                  <a:pt x="282" y="84"/>
                </a:lnTo>
                <a:lnTo>
                  <a:pt x="282" y="84"/>
                </a:lnTo>
                <a:lnTo>
                  <a:pt x="282" y="78"/>
                </a:lnTo>
                <a:lnTo>
                  <a:pt x="282" y="78"/>
                </a:lnTo>
                <a:lnTo>
                  <a:pt x="282" y="78"/>
                </a:lnTo>
                <a:lnTo>
                  <a:pt x="282" y="78"/>
                </a:lnTo>
                <a:lnTo>
                  <a:pt x="288" y="78"/>
                </a:lnTo>
                <a:lnTo>
                  <a:pt x="288" y="78"/>
                </a:lnTo>
                <a:lnTo>
                  <a:pt x="288" y="78"/>
                </a:lnTo>
                <a:lnTo>
                  <a:pt x="288" y="78"/>
                </a:lnTo>
                <a:lnTo>
                  <a:pt x="294" y="78"/>
                </a:lnTo>
                <a:lnTo>
                  <a:pt x="294" y="78"/>
                </a:lnTo>
                <a:lnTo>
                  <a:pt x="294" y="78"/>
                </a:lnTo>
                <a:lnTo>
                  <a:pt x="294" y="78"/>
                </a:lnTo>
                <a:lnTo>
                  <a:pt x="294" y="78"/>
                </a:lnTo>
                <a:lnTo>
                  <a:pt x="300" y="78"/>
                </a:lnTo>
                <a:lnTo>
                  <a:pt x="300" y="78"/>
                </a:lnTo>
                <a:lnTo>
                  <a:pt x="300" y="78"/>
                </a:lnTo>
                <a:lnTo>
                  <a:pt x="300" y="84"/>
                </a:lnTo>
                <a:lnTo>
                  <a:pt x="306" y="78"/>
                </a:lnTo>
                <a:lnTo>
                  <a:pt x="306" y="78"/>
                </a:lnTo>
                <a:lnTo>
                  <a:pt x="306" y="78"/>
                </a:lnTo>
                <a:lnTo>
                  <a:pt x="312" y="78"/>
                </a:lnTo>
                <a:lnTo>
                  <a:pt x="312" y="78"/>
                </a:lnTo>
                <a:lnTo>
                  <a:pt x="312" y="78"/>
                </a:lnTo>
                <a:lnTo>
                  <a:pt x="312" y="78"/>
                </a:lnTo>
                <a:lnTo>
                  <a:pt x="318" y="78"/>
                </a:lnTo>
                <a:lnTo>
                  <a:pt x="318" y="78"/>
                </a:lnTo>
                <a:lnTo>
                  <a:pt x="318" y="72"/>
                </a:lnTo>
                <a:lnTo>
                  <a:pt x="318" y="78"/>
                </a:lnTo>
                <a:lnTo>
                  <a:pt x="318" y="78"/>
                </a:lnTo>
                <a:lnTo>
                  <a:pt x="324" y="78"/>
                </a:lnTo>
                <a:lnTo>
                  <a:pt x="324" y="78"/>
                </a:lnTo>
                <a:lnTo>
                  <a:pt x="324" y="78"/>
                </a:lnTo>
                <a:lnTo>
                  <a:pt x="324" y="78"/>
                </a:lnTo>
                <a:lnTo>
                  <a:pt x="324" y="78"/>
                </a:lnTo>
                <a:lnTo>
                  <a:pt x="324" y="78"/>
                </a:lnTo>
                <a:lnTo>
                  <a:pt x="330" y="78"/>
                </a:lnTo>
                <a:lnTo>
                  <a:pt x="330" y="78"/>
                </a:lnTo>
                <a:lnTo>
                  <a:pt x="330" y="78"/>
                </a:lnTo>
                <a:lnTo>
                  <a:pt x="330" y="78"/>
                </a:lnTo>
                <a:lnTo>
                  <a:pt x="330" y="78"/>
                </a:lnTo>
                <a:lnTo>
                  <a:pt x="336" y="78"/>
                </a:lnTo>
                <a:lnTo>
                  <a:pt x="336" y="78"/>
                </a:lnTo>
                <a:lnTo>
                  <a:pt x="336" y="78"/>
                </a:lnTo>
                <a:lnTo>
                  <a:pt x="336" y="78"/>
                </a:lnTo>
                <a:lnTo>
                  <a:pt x="336" y="78"/>
                </a:lnTo>
                <a:lnTo>
                  <a:pt x="342" y="78"/>
                </a:lnTo>
                <a:lnTo>
                  <a:pt x="342" y="78"/>
                </a:lnTo>
                <a:lnTo>
                  <a:pt x="342" y="84"/>
                </a:lnTo>
                <a:lnTo>
                  <a:pt x="342" y="84"/>
                </a:lnTo>
                <a:lnTo>
                  <a:pt x="342" y="84"/>
                </a:lnTo>
                <a:lnTo>
                  <a:pt x="348" y="84"/>
                </a:lnTo>
                <a:lnTo>
                  <a:pt x="348" y="84"/>
                </a:lnTo>
                <a:lnTo>
                  <a:pt x="348" y="84"/>
                </a:lnTo>
                <a:lnTo>
                  <a:pt x="348" y="84"/>
                </a:lnTo>
                <a:lnTo>
                  <a:pt x="354" y="84"/>
                </a:lnTo>
                <a:lnTo>
                  <a:pt x="354" y="84"/>
                </a:lnTo>
                <a:lnTo>
                  <a:pt x="354" y="84"/>
                </a:lnTo>
                <a:lnTo>
                  <a:pt x="354" y="84"/>
                </a:lnTo>
                <a:lnTo>
                  <a:pt x="354" y="84"/>
                </a:lnTo>
                <a:lnTo>
                  <a:pt x="354" y="84"/>
                </a:lnTo>
                <a:lnTo>
                  <a:pt x="360" y="84"/>
                </a:lnTo>
                <a:lnTo>
                  <a:pt x="360" y="84"/>
                </a:lnTo>
                <a:lnTo>
                  <a:pt x="360" y="84"/>
                </a:lnTo>
                <a:lnTo>
                  <a:pt x="360" y="90"/>
                </a:lnTo>
                <a:lnTo>
                  <a:pt x="360" y="90"/>
                </a:lnTo>
                <a:lnTo>
                  <a:pt x="360" y="90"/>
                </a:lnTo>
                <a:lnTo>
                  <a:pt x="366" y="90"/>
                </a:lnTo>
                <a:lnTo>
                  <a:pt x="366" y="90"/>
                </a:lnTo>
                <a:lnTo>
                  <a:pt x="366" y="90"/>
                </a:lnTo>
                <a:lnTo>
                  <a:pt x="366" y="90"/>
                </a:lnTo>
                <a:lnTo>
                  <a:pt x="366" y="90"/>
                </a:lnTo>
                <a:lnTo>
                  <a:pt x="366" y="90"/>
                </a:lnTo>
                <a:lnTo>
                  <a:pt x="366" y="90"/>
                </a:lnTo>
                <a:lnTo>
                  <a:pt x="372" y="90"/>
                </a:lnTo>
                <a:lnTo>
                  <a:pt x="372" y="90"/>
                </a:lnTo>
                <a:lnTo>
                  <a:pt x="372" y="90"/>
                </a:lnTo>
                <a:lnTo>
                  <a:pt x="372" y="90"/>
                </a:lnTo>
                <a:lnTo>
                  <a:pt x="372" y="90"/>
                </a:lnTo>
                <a:lnTo>
                  <a:pt x="372" y="90"/>
                </a:lnTo>
                <a:lnTo>
                  <a:pt x="378" y="90"/>
                </a:lnTo>
                <a:lnTo>
                  <a:pt x="378" y="90"/>
                </a:lnTo>
                <a:lnTo>
                  <a:pt x="378" y="90"/>
                </a:lnTo>
                <a:lnTo>
                  <a:pt x="378" y="90"/>
                </a:lnTo>
                <a:lnTo>
                  <a:pt x="378" y="90"/>
                </a:lnTo>
                <a:lnTo>
                  <a:pt x="378" y="90"/>
                </a:lnTo>
                <a:lnTo>
                  <a:pt x="384" y="90"/>
                </a:lnTo>
                <a:lnTo>
                  <a:pt x="384" y="90"/>
                </a:lnTo>
                <a:lnTo>
                  <a:pt x="384" y="84"/>
                </a:lnTo>
                <a:lnTo>
                  <a:pt x="390" y="84"/>
                </a:lnTo>
                <a:lnTo>
                  <a:pt x="390" y="84"/>
                </a:lnTo>
                <a:lnTo>
                  <a:pt x="390" y="84"/>
                </a:lnTo>
                <a:lnTo>
                  <a:pt x="390" y="78"/>
                </a:lnTo>
                <a:lnTo>
                  <a:pt x="390" y="78"/>
                </a:lnTo>
                <a:lnTo>
                  <a:pt x="390" y="78"/>
                </a:lnTo>
                <a:lnTo>
                  <a:pt x="390" y="78"/>
                </a:lnTo>
                <a:lnTo>
                  <a:pt x="384" y="72"/>
                </a:lnTo>
                <a:lnTo>
                  <a:pt x="384" y="72"/>
                </a:lnTo>
                <a:lnTo>
                  <a:pt x="390" y="72"/>
                </a:lnTo>
                <a:lnTo>
                  <a:pt x="390" y="72"/>
                </a:lnTo>
                <a:lnTo>
                  <a:pt x="390" y="72"/>
                </a:lnTo>
                <a:lnTo>
                  <a:pt x="390" y="66"/>
                </a:lnTo>
                <a:lnTo>
                  <a:pt x="390" y="66"/>
                </a:lnTo>
                <a:lnTo>
                  <a:pt x="390" y="66"/>
                </a:lnTo>
                <a:lnTo>
                  <a:pt x="390" y="66"/>
                </a:lnTo>
                <a:lnTo>
                  <a:pt x="390" y="66"/>
                </a:lnTo>
                <a:lnTo>
                  <a:pt x="390" y="66"/>
                </a:lnTo>
                <a:lnTo>
                  <a:pt x="390" y="66"/>
                </a:lnTo>
                <a:lnTo>
                  <a:pt x="390" y="66"/>
                </a:lnTo>
                <a:lnTo>
                  <a:pt x="390" y="60"/>
                </a:lnTo>
                <a:lnTo>
                  <a:pt x="384" y="60"/>
                </a:lnTo>
                <a:lnTo>
                  <a:pt x="390" y="60"/>
                </a:lnTo>
                <a:lnTo>
                  <a:pt x="390" y="60"/>
                </a:lnTo>
                <a:lnTo>
                  <a:pt x="384" y="60"/>
                </a:lnTo>
                <a:lnTo>
                  <a:pt x="384" y="60"/>
                </a:lnTo>
                <a:lnTo>
                  <a:pt x="384" y="60"/>
                </a:lnTo>
                <a:lnTo>
                  <a:pt x="384" y="54"/>
                </a:lnTo>
                <a:lnTo>
                  <a:pt x="384" y="54"/>
                </a:lnTo>
                <a:lnTo>
                  <a:pt x="384" y="54"/>
                </a:lnTo>
                <a:lnTo>
                  <a:pt x="378" y="54"/>
                </a:lnTo>
                <a:lnTo>
                  <a:pt x="384" y="54"/>
                </a:lnTo>
                <a:lnTo>
                  <a:pt x="378" y="54"/>
                </a:lnTo>
                <a:lnTo>
                  <a:pt x="378" y="54"/>
                </a:lnTo>
                <a:lnTo>
                  <a:pt x="378" y="48"/>
                </a:lnTo>
                <a:lnTo>
                  <a:pt x="378" y="48"/>
                </a:lnTo>
                <a:lnTo>
                  <a:pt x="378" y="48"/>
                </a:lnTo>
                <a:lnTo>
                  <a:pt x="378" y="48"/>
                </a:lnTo>
                <a:lnTo>
                  <a:pt x="378" y="48"/>
                </a:lnTo>
                <a:lnTo>
                  <a:pt x="372" y="48"/>
                </a:lnTo>
                <a:lnTo>
                  <a:pt x="372" y="48"/>
                </a:lnTo>
                <a:lnTo>
                  <a:pt x="372" y="48"/>
                </a:lnTo>
                <a:lnTo>
                  <a:pt x="372" y="48"/>
                </a:lnTo>
                <a:lnTo>
                  <a:pt x="372" y="42"/>
                </a:lnTo>
                <a:lnTo>
                  <a:pt x="372" y="42"/>
                </a:lnTo>
                <a:lnTo>
                  <a:pt x="372" y="42"/>
                </a:lnTo>
                <a:lnTo>
                  <a:pt x="372" y="42"/>
                </a:lnTo>
                <a:lnTo>
                  <a:pt x="372" y="42"/>
                </a:lnTo>
                <a:lnTo>
                  <a:pt x="372" y="42"/>
                </a:lnTo>
                <a:lnTo>
                  <a:pt x="372" y="36"/>
                </a:lnTo>
                <a:lnTo>
                  <a:pt x="372" y="36"/>
                </a:lnTo>
                <a:lnTo>
                  <a:pt x="366" y="36"/>
                </a:lnTo>
                <a:lnTo>
                  <a:pt x="366" y="36"/>
                </a:lnTo>
                <a:lnTo>
                  <a:pt x="366" y="36"/>
                </a:lnTo>
                <a:lnTo>
                  <a:pt x="366" y="36"/>
                </a:lnTo>
                <a:lnTo>
                  <a:pt x="366" y="36"/>
                </a:lnTo>
                <a:lnTo>
                  <a:pt x="366" y="36"/>
                </a:lnTo>
                <a:lnTo>
                  <a:pt x="360" y="36"/>
                </a:lnTo>
                <a:lnTo>
                  <a:pt x="360" y="36"/>
                </a:lnTo>
                <a:lnTo>
                  <a:pt x="360" y="36"/>
                </a:lnTo>
                <a:lnTo>
                  <a:pt x="360" y="36"/>
                </a:lnTo>
                <a:lnTo>
                  <a:pt x="360" y="30"/>
                </a:lnTo>
                <a:lnTo>
                  <a:pt x="360" y="30"/>
                </a:lnTo>
                <a:lnTo>
                  <a:pt x="360" y="30"/>
                </a:lnTo>
                <a:lnTo>
                  <a:pt x="366" y="30"/>
                </a:lnTo>
                <a:lnTo>
                  <a:pt x="366" y="30"/>
                </a:lnTo>
                <a:lnTo>
                  <a:pt x="366" y="30"/>
                </a:lnTo>
                <a:lnTo>
                  <a:pt x="366" y="24"/>
                </a:lnTo>
                <a:lnTo>
                  <a:pt x="366" y="24"/>
                </a:lnTo>
                <a:lnTo>
                  <a:pt x="366" y="24"/>
                </a:lnTo>
                <a:lnTo>
                  <a:pt x="366" y="24"/>
                </a:lnTo>
                <a:lnTo>
                  <a:pt x="366" y="24"/>
                </a:lnTo>
                <a:lnTo>
                  <a:pt x="366" y="18"/>
                </a:lnTo>
                <a:lnTo>
                  <a:pt x="366" y="18"/>
                </a:lnTo>
                <a:lnTo>
                  <a:pt x="366" y="18"/>
                </a:lnTo>
                <a:lnTo>
                  <a:pt x="366" y="24"/>
                </a:lnTo>
                <a:lnTo>
                  <a:pt x="366" y="18"/>
                </a:lnTo>
                <a:lnTo>
                  <a:pt x="372" y="24"/>
                </a:lnTo>
                <a:lnTo>
                  <a:pt x="372" y="24"/>
                </a:lnTo>
                <a:lnTo>
                  <a:pt x="372" y="24"/>
                </a:lnTo>
                <a:lnTo>
                  <a:pt x="372" y="24"/>
                </a:lnTo>
                <a:lnTo>
                  <a:pt x="372" y="24"/>
                </a:lnTo>
                <a:lnTo>
                  <a:pt x="372" y="24"/>
                </a:lnTo>
                <a:lnTo>
                  <a:pt x="372" y="24"/>
                </a:lnTo>
                <a:lnTo>
                  <a:pt x="372" y="24"/>
                </a:lnTo>
                <a:lnTo>
                  <a:pt x="372" y="24"/>
                </a:lnTo>
                <a:lnTo>
                  <a:pt x="372" y="24"/>
                </a:lnTo>
                <a:lnTo>
                  <a:pt x="372" y="24"/>
                </a:lnTo>
                <a:lnTo>
                  <a:pt x="372" y="18"/>
                </a:lnTo>
                <a:lnTo>
                  <a:pt x="372" y="18"/>
                </a:lnTo>
                <a:lnTo>
                  <a:pt x="372" y="18"/>
                </a:lnTo>
                <a:lnTo>
                  <a:pt x="378" y="18"/>
                </a:lnTo>
                <a:lnTo>
                  <a:pt x="378" y="18"/>
                </a:lnTo>
                <a:lnTo>
                  <a:pt x="378" y="18"/>
                </a:lnTo>
                <a:lnTo>
                  <a:pt x="378" y="12"/>
                </a:lnTo>
                <a:lnTo>
                  <a:pt x="378" y="12"/>
                </a:lnTo>
                <a:lnTo>
                  <a:pt x="378" y="12"/>
                </a:lnTo>
                <a:lnTo>
                  <a:pt x="378" y="12"/>
                </a:lnTo>
                <a:lnTo>
                  <a:pt x="378" y="12"/>
                </a:lnTo>
                <a:lnTo>
                  <a:pt x="378" y="12"/>
                </a:lnTo>
                <a:lnTo>
                  <a:pt x="378" y="12"/>
                </a:lnTo>
                <a:lnTo>
                  <a:pt x="378" y="12"/>
                </a:lnTo>
                <a:lnTo>
                  <a:pt x="378" y="12"/>
                </a:lnTo>
                <a:lnTo>
                  <a:pt x="378" y="6"/>
                </a:lnTo>
                <a:lnTo>
                  <a:pt x="378" y="6"/>
                </a:lnTo>
                <a:lnTo>
                  <a:pt x="378" y="6"/>
                </a:lnTo>
                <a:lnTo>
                  <a:pt x="378" y="6"/>
                </a:lnTo>
                <a:lnTo>
                  <a:pt x="378" y="6"/>
                </a:lnTo>
                <a:lnTo>
                  <a:pt x="378" y="0"/>
                </a:lnTo>
                <a:lnTo>
                  <a:pt x="378" y="0"/>
                </a:lnTo>
                <a:lnTo>
                  <a:pt x="378" y="0"/>
                </a:lnTo>
                <a:lnTo>
                  <a:pt x="384" y="0"/>
                </a:lnTo>
                <a:lnTo>
                  <a:pt x="384" y="0"/>
                </a:lnTo>
                <a:lnTo>
                  <a:pt x="384" y="0"/>
                </a:lnTo>
                <a:lnTo>
                  <a:pt x="390" y="0"/>
                </a:lnTo>
                <a:lnTo>
                  <a:pt x="390" y="0"/>
                </a:lnTo>
                <a:lnTo>
                  <a:pt x="390" y="0"/>
                </a:lnTo>
                <a:lnTo>
                  <a:pt x="390" y="0"/>
                </a:lnTo>
                <a:lnTo>
                  <a:pt x="390" y="0"/>
                </a:lnTo>
                <a:lnTo>
                  <a:pt x="390" y="6"/>
                </a:lnTo>
                <a:lnTo>
                  <a:pt x="390" y="6"/>
                </a:lnTo>
                <a:lnTo>
                  <a:pt x="396" y="6"/>
                </a:lnTo>
                <a:lnTo>
                  <a:pt x="396" y="6"/>
                </a:lnTo>
                <a:lnTo>
                  <a:pt x="396" y="6"/>
                </a:lnTo>
                <a:lnTo>
                  <a:pt x="396" y="6"/>
                </a:lnTo>
                <a:lnTo>
                  <a:pt x="396" y="6"/>
                </a:lnTo>
                <a:lnTo>
                  <a:pt x="402" y="12"/>
                </a:lnTo>
                <a:lnTo>
                  <a:pt x="408" y="12"/>
                </a:lnTo>
                <a:lnTo>
                  <a:pt x="408" y="6"/>
                </a:lnTo>
                <a:lnTo>
                  <a:pt x="408" y="12"/>
                </a:lnTo>
                <a:lnTo>
                  <a:pt x="408" y="12"/>
                </a:lnTo>
                <a:lnTo>
                  <a:pt x="408" y="12"/>
                </a:lnTo>
                <a:lnTo>
                  <a:pt x="408" y="12"/>
                </a:lnTo>
                <a:lnTo>
                  <a:pt x="408" y="18"/>
                </a:lnTo>
                <a:lnTo>
                  <a:pt x="414" y="18"/>
                </a:lnTo>
                <a:lnTo>
                  <a:pt x="414" y="18"/>
                </a:lnTo>
                <a:lnTo>
                  <a:pt x="414" y="18"/>
                </a:lnTo>
                <a:lnTo>
                  <a:pt x="420" y="24"/>
                </a:lnTo>
                <a:lnTo>
                  <a:pt x="420" y="30"/>
                </a:lnTo>
                <a:lnTo>
                  <a:pt x="420" y="36"/>
                </a:lnTo>
                <a:lnTo>
                  <a:pt x="426" y="36"/>
                </a:lnTo>
                <a:lnTo>
                  <a:pt x="426" y="42"/>
                </a:lnTo>
                <a:lnTo>
                  <a:pt x="426" y="42"/>
                </a:lnTo>
                <a:lnTo>
                  <a:pt x="426" y="48"/>
                </a:lnTo>
                <a:lnTo>
                  <a:pt x="432" y="48"/>
                </a:lnTo>
                <a:lnTo>
                  <a:pt x="426" y="48"/>
                </a:lnTo>
                <a:lnTo>
                  <a:pt x="426" y="48"/>
                </a:lnTo>
                <a:lnTo>
                  <a:pt x="426" y="54"/>
                </a:lnTo>
                <a:lnTo>
                  <a:pt x="432" y="54"/>
                </a:lnTo>
                <a:lnTo>
                  <a:pt x="432" y="54"/>
                </a:lnTo>
                <a:lnTo>
                  <a:pt x="438" y="54"/>
                </a:lnTo>
                <a:lnTo>
                  <a:pt x="438" y="60"/>
                </a:lnTo>
                <a:lnTo>
                  <a:pt x="438" y="60"/>
                </a:lnTo>
                <a:lnTo>
                  <a:pt x="438" y="60"/>
                </a:lnTo>
                <a:lnTo>
                  <a:pt x="444" y="60"/>
                </a:lnTo>
                <a:lnTo>
                  <a:pt x="444" y="66"/>
                </a:lnTo>
                <a:lnTo>
                  <a:pt x="438" y="66"/>
                </a:lnTo>
                <a:lnTo>
                  <a:pt x="438" y="72"/>
                </a:lnTo>
                <a:lnTo>
                  <a:pt x="432" y="72"/>
                </a:lnTo>
                <a:lnTo>
                  <a:pt x="432" y="72"/>
                </a:lnTo>
                <a:lnTo>
                  <a:pt x="432" y="78"/>
                </a:lnTo>
                <a:lnTo>
                  <a:pt x="432" y="78"/>
                </a:lnTo>
                <a:lnTo>
                  <a:pt x="432" y="84"/>
                </a:lnTo>
                <a:lnTo>
                  <a:pt x="432" y="84"/>
                </a:lnTo>
                <a:lnTo>
                  <a:pt x="438" y="84"/>
                </a:lnTo>
                <a:lnTo>
                  <a:pt x="438" y="90"/>
                </a:lnTo>
                <a:lnTo>
                  <a:pt x="444" y="90"/>
                </a:lnTo>
                <a:lnTo>
                  <a:pt x="444" y="90"/>
                </a:lnTo>
                <a:lnTo>
                  <a:pt x="450" y="90"/>
                </a:lnTo>
                <a:lnTo>
                  <a:pt x="450" y="96"/>
                </a:lnTo>
                <a:lnTo>
                  <a:pt x="450" y="96"/>
                </a:lnTo>
                <a:lnTo>
                  <a:pt x="450" y="102"/>
                </a:lnTo>
                <a:lnTo>
                  <a:pt x="450" y="102"/>
                </a:lnTo>
                <a:lnTo>
                  <a:pt x="450" y="102"/>
                </a:lnTo>
                <a:lnTo>
                  <a:pt x="450" y="108"/>
                </a:lnTo>
                <a:lnTo>
                  <a:pt x="450" y="114"/>
                </a:lnTo>
                <a:lnTo>
                  <a:pt x="450" y="114"/>
                </a:lnTo>
                <a:lnTo>
                  <a:pt x="450" y="120"/>
                </a:lnTo>
                <a:lnTo>
                  <a:pt x="450" y="120"/>
                </a:lnTo>
                <a:lnTo>
                  <a:pt x="444" y="126"/>
                </a:lnTo>
                <a:lnTo>
                  <a:pt x="450" y="126"/>
                </a:lnTo>
                <a:lnTo>
                  <a:pt x="450" y="126"/>
                </a:lnTo>
                <a:lnTo>
                  <a:pt x="456" y="126"/>
                </a:lnTo>
                <a:lnTo>
                  <a:pt x="456" y="198"/>
                </a:lnTo>
                <a:lnTo>
                  <a:pt x="456" y="228"/>
                </a:lnTo>
                <a:lnTo>
                  <a:pt x="456" y="450"/>
                </a:lnTo>
                <a:lnTo>
                  <a:pt x="456" y="510"/>
                </a:lnTo>
                <a:lnTo>
                  <a:pt x="456" y="510"/>
                </a:lnTo>
                <a:lnTo>
                  <a:pt x="474" y="534"/>
                </a:lnTo>
                <a:lnTo>
                  <a:pt x="486" y="546"/>
                </a:lnTo>
                <a:lnTo>
                  <a:pt x="486" y="552"/>
                </a:lnTo>
                <a:lnTo>
                  <a:pt x="486" y="582"/>
                </a:lnTo>
                <a:lnTo>
                  <a:pt x="486" y="582"/>
                </a:lnTo>
                <a:lnTo>
                  <a:pt x="486" y="582"/>
                </a:lnTo>
                <a:lnTo>
                  <a:pt x="486" y="582"/>
                </a:lnTo>
                <a:lnTo>
                  <a:pt x="486" y="582"/>
                </a:lnTo>
                <a:lnTo>
                  <a:pt x="486" y="582"/>
                </a:lnTo>
                <a:lnTo>
                  <a:pt x="486" y="582"/>
                </a:lnTo>
                <a:lnTo>
                  <a:pt x="486" y="582"/>
                </a:lnTo>
                <a:lnTo>
                  <a:pt x="486" y="588"/>
                </a:lnTo>
                <a:lnTo>
                  <a:pt x="486" y="588"/>
                </a:lnTo>
                <a:lnTo>
                  <a:pt x="486" y="588"/>
                </a:lnTo>
                <a:lnTo>
                  <a:pt x="486" y="588"/>
                </a:lnTo>
                <a:lnTo>
                  <a:pt x="486" y="588"/>
                </a:lnTo>
                <a:lnTo>
                  <a:pt x="486" y="594"/>
                </a:lnTo>
                <a:lnTo>
                  <a:pt x="486" y="594"/>
                </a:lnTo>
                <a:lnTo>
                  <a:pt x="480" y="600"/>
                </a:lnTo>
                <a:lnTo>
                  <a:pt x="480" y="606"/>
                </a:lnTo>
                <a:lnTo>
                  <a:pt x="474" y="606"/>
                </a:lnTo>
                <a:lnTo>
                  <a:pt x="474" y="606"/>
                </a:lnTo>
                <a:lnTo>
                  <a:pt x="486" y="612"/>
                </a:lnTo>
                <a:lnTo>
                  <a:pt x="492" y="612"/>
                </a:lnTo>
                <a:lnTo>
                  <a:pt x="498" y="612"/>
                </a:lnTo>
                <a:lnTo>
                  <a:pt x="498" y="612"/>
                </a:lnTo>
                <a:lnTo>
                  <a:pt x="498" y="618"/>
                </a:lnTo>
                <a:lnTo>
                  <a:pt x="498" y="618"/>
                </a:lnTo>
                <a:lnTo>
                  <a:pt x="498" y="624"/>
                </a:lnTo>
                <a:lnTo>
                  <a:pt x="498" y="624"/>
                </a:lnTo>
                <a:lnTo>
                  <a:pt x="492" y="624"/>
                </a:lnTo>
                <a:lnTo>
                  <a:pt x="492" y="624"/>
                </a:lnTo>
                <a:lnTo>
                  <a:pt x="486" y="624"/>
                </a:lnTo>
                <a:lnTo>
                  <a:pt x="486" y="624"/>
                </a:lnTo>
                <a:lnTo>
                  <a:pt x="486" y="618"/>
                </a:lnTo>
                <a:lnTo>
                  <a:pt x="480" y="618"/>
                </a:lnTo>
                <a:lnTo>
                  <a:pt x="474" y="618"/>
                </a:lnTo>
                <a:lnTo>
                  <a:pt x="468" y="618"/>
                </a:lnTo>
                <a:lnTo>
                  <a:pt x="468" y="618"/>
                </a:lnTo>
                <a:lnTo>
                  <a:pt x="468" y="618"/>
                </a:lnTo>
                <a:lnTo>
                  <a:pt x="462" y="612"/>
                </a:lnTo>
                <a:lnTo>
                  <a:pt x="462" y="612"/>
                </a:lnTo>
                <a:lnTo>
                  <a:pt x="462" y="606"/>
                </a:lnTo>
                <a:lnTo>
                  <a:pt x="456" y="606"/>
                </a:lnTo>
                <a:lnTo>
                  <a:pt x="456" y="606"/>
                </a:lnTo>
                <a:lnTo>
                  <a:pt x="450" y="606"/>
                </a:lnTo>
                <a:lnTo>
                  <a:pt x="444" y="606"/>
                </a:lnTo>
                <a:lnTo>
                  <a:pt x="438" y="612"/>
                </a:lnTo>
                <a:lnTo>
                  <a:pt x="438" y="612"/>
                </a:lnTo>
                <a:lnTo>
                  <a:pt x="432" y="612"/>
                </a:lnTo>
                <a:lnTo>
                  <a:pt x="432" y="612"/>
                </a:lnTo>
                <a:lnTo>
                  <a:pt x="432" y="612"/>
                </a:lnTo>
                <a:lnTo>
                  <a:pt x="432" y="612"/>
                </a:lnTo>
                <a:lnTo>
                  <a:pt x="432" y="612"/>
                </a:lnTo>
                <a:lnTo>
                  <a:pt x="432" y="612"/>
                </a:lnTo>
                <a:lnTo>
                  <a:pt x="426" y="612"/>
                </a:lnTo>
                <a:lnTo>
                  <a:pt x="426" y="612"/>
                </a:lnTo>
                <a:lnTo>
                  <a:pt x="426" y="612"/>
                </a:lnTo>
                <a:lnTo>
                  <a:pt x="426" y="618"/>
                </a:lnTo>
                <a:lnTo>
                  <a:pt x="426" y="618"/>
                </a:lnTo>
                <a:lnTo>
                  <a:pt x="420" y="618"/>
                </a:lnTo>
                <a:lnTo>
                  <a:pt x="420" y="618"/>
                </a:lnTo>
                <a:lnTo>
                  <a:pt x="420" y="618"/>
                </a:lnTo>
                <a:lnTo>
                  <a:pt x="420" y="624"/>
                </a:lnTo>
                <a:lnTo>
                  <a:pt x="420" y="624"/>
                </a:lnTo>
                <a:lnTo>
                  <a:pt x="414" y="624"/>
                </a:lnTo>
                <a:lnTo>
                  <a:pt x="414" y="624"/>
                </a:lnTo>
                <a:lnTo>
                  <a:pt x="414" y="624"/>
                </a:lnTo>
                <a:lnTo>
                  <a:pt x="414" y="624"/>
                </a:lnTo>
                <a:lnTo>
                  <a:pt x="408" y="630"/>
                </a:lnTo>
                <a:lnTo>
                  <a:pt x="408" y="630"/>
                </a:lnTo>
                <a:lnTo>
                  <a:pt x="408" y="630"/>
                </a:lnTo>
                <a:lnTo>
                  <a:pt x="408" y="630"/>
                </a:lnTo>
                <a:lnTo>
                  <a:pt x="402" y="630"/>
                </a:lnTo>
                <a:lnTo>
                  <a:pt x="402" y="630"/>
                </a:lnTo>
                <a:lnTo>
                  <a:pt x="402" y="636"/>
                </a:lnTo>
                <a:lnTo>
                  <a:pt x="402" y="636"/>
                </a:lnTo>
                <a:lnTo>
                  <a:pt x="402" y="642"/>
                </a:lnTo>
                <a:lnTo>
                  <a:pt x="402" y="642"/>
                </a:lnTo>
                <a:lnTo>
                  <a:pt x="396" y="648"/>
                </a:lnTo>
                <a:lnTo>
                  <a:pt x="384" y="666"/>
                </a:lnTo>
                <a:lnTo>
                  <a:pt x="330" y="756"/>
                </a:lnTo>
                <a:lnTo>
                  <a:pt x="288" y="768"/>
                </a:lnTo>
                <a:lnTo>
                  <a:pt x="288" y="768"/>
                </a:lnTo>
                <a:lnTo>
                  <a:pt x="282" y="762"/>
                </a:lnTo>
                <a:lnTo>
                  <a:pt x="282" y="762"/>
                </a:lnTo>
                <a:lnTo>
                  <a:pt x="282" y="762"/>
                </a:lnTo>
                <a:lnTo>
                  <a:pt x="276" y="756"/>
                </a:lnTo>
                <a:lnTo>
                  <a:pt x="276" y="750"/>
                </a:lnTo>
                <a:lnTo>
                  <a:pt x="276" y="750"/>
                </a:lnTo>
                <a:lnTo>
                  <a:pt x="294" y="720"/>
                </a:lnTo>
                <a:lnTo>
                  <a:pt x="300" y="696"/>
                </a:lnTo>
                <a:lnTo>
                  <a:pt x="306" y="684"/>
                </a:lnTo>
                <a:lnTo>
                  <a:pt x="312" y="672"/>
                </a:lnTo>
                <a:lnTo>
                  <a:pt x="324" y="660"/>
                </a:lnTo>
                <a:lnTo>
                  <a:pt x="324" y="648"/>
                </a:lnTo>
                <a:lnTo>
                  <a:pt x="324" y="648"/>
                </a:lnTo>
                <a:lnTo>
                  <a:pt x="324" y="648"/>
                </a:lnTo>
                <a:lnTo>
                  <a:pt x="318" y="648"/>
                </a:lnTo>
                <a:lnTo>
                  <a:pt x="318" y="648"/>
                </a:lnTo>
                <a:lnTo>
                  <a:pt x="318" y="648"/>
                </a:lnTo>
                <a:lnTo>
                  <a:pt x="318" y="648"/>
                </a:lnTo>
                <a:lnTo>
                  <a:pt x="324" y="636"/>
                </a:lnTo>
                <a:lnTo>
                  <a:pt x="324" y="636"/>
                </a:lnTo>
                <a:lnTo>
                  <a:pt x="324" y="636"/>
                </a:lnTo>
                <a:lnTo>
                  <a:pt x="324" y="630"/>
                </a:lnTo>
                <a:lnTo>
                  <a:pt x="330" y="624"/>
                </a:lnTo>
                <a:lnTo>
                  <a:pt x="330" y="624"/>
                </a:lnTo>
                <a:lnTo>
                  <a:pt x="330" y="624"/>
                </a:lnTo>
                <a:lnTo>
                  <a:pt x="336" y="624"/>
                </a:lnTo>
                <a:lnTo>
                  <a:pt x="342" y="618"/>
                </a:lnTo>
                <a:lnTo>
                  <a:pt x="348" y="618"/>
                </a:lnTo>
                <a:lnTo>
                  <a:pt x="354" y="612"/>
                </a:lnTo>
                <a:lnTo>
                  <a:pt x="354" y="606"/>
                </a:lnTo>
                <a:lnTo>
                  <a:pt x="360" y="606"/>
                </a:lnTo>
                <a:lnTo>
                  <a:pt x="366" y="594"/>
                </a:lnTo>
                <a:lnTo>
                  <a:pt x="366" y="594"/>
                </a:lnTo>
                <a:lnTo>
                  <a:pt x="366" y="594"/>
                </a:lnTo>
                <a:lnTo>
                  <a:pt x="360" y="594"/>
                </a:lnTo>
                <a:lnTo>
                  <a:pt x="354" y="594"/>
                </a:lnTo>
                <a:lnTo>
                  <a:pt x="354" y="594"/>
                </a:lnTo>
                <a:lnTo>
                  <a:pt x="354" y="594"/>
                </a:lnTo>
                <a:lnTo>
                  <a:pt x="354" y="594"/>
                </a:lnTo>
                <a:lnTo>
                  <a:pt x="354" y="600"/>
                </a:lnTo>
                <a:lnTo>
                  <a:pt x="348" y="600"/>
                </a:lnTo>
                <a:lnTo>
                  <a:pt x="348" y="600"/>
                </a:lnTo>
                <a:lnTo>
                  <a:pt x="342" y="600"/>
                </a:lnTo>
                <a:lnTo>
                  <a:pt x="342" y="600"/>
                </a:lnTo>
                <a:lnTo>
                  <a:pt x="342" y="606"/>
                </a:lnTo>
                <a:lnTo>
                  <a:pt x="336" y="606"/>
                </a:lnTo>
                <a:lnTo>
                  <a:pt x="336" y="606"/>
                </a:lnTo>
                <a:lnTo>
                  <a:pt x="336" y="606"/>
                </a:lnTo>
                <a:lnTo>
                  <a:pt x="336" y="606"/>
                </a:lnTo>
                <a:lnTo>
                  <a:pt x="336" y="606"/>
                </a:lnTo>
                <a:lnTo>
                  <a:pt x="330" y="612"/>
                </a:lnTo>
                <a:lnTo>
                  <a:pt x="330" y="606"/>
                </a:lnTo>
                <a:lnTo>
                  <a:pt x="330" y="606"/>
                </a:lnTo>
                <a:lnTo>
                  <a:pt x="324" y="612"/>
                </a:lnTo>
                <a:lnTo>
                  <a:pt x="324" y="612"/>
                </a:lnTo>
                <a:lnTo>
                  <a:pt x="324" y="612"/>
                </a:lnTo>
                <a:lnTo>
                  <a:pt x="318" y="612"/>
                </a:lnTo>
                <a:lnTo>
                  <a:pt x="318" y="612"/>
                </a:lnTo>
                <a:lnTo>
                  <a:pt x="318" y="612"/>
                </a:lnTo>
                <a:lnTo>
                  <a:pt x="318" y="612"/>
                </a:lnTo>
                <a:lnTo>
                  <a:pt x="318" y="612"/>
                </a:lnTo>
                <a:lnTo>
                  <a:pt x="312" y="606"/>
                </a:lnTo>
                <a:lnTo>
                  <a:pt x="312" y="606"/>
                </a:lnTo>
                <a:lnTo>
                  <a:pt x="312" y="606"/>
                </a:lnTo>
                <a:lnTo>
                  <a:pt x="306" y="612"/>
                </a:lnTo>
                <a:lnTo>
                  <a:pt x="306" y="612"/>
                </a:lnTo>
                <a:lnTo>
                  <a:pt x="306" y="612"/>
                </a:lnTo>
                <a:lnTo>
                  <a:pt x="300" y="612"/>
                </a:lnTo>
                <a:lnTo>
                  <a:pt x="300" y="612"/>
                </a:lnTo>
                <a:lnTo>
                  <a:pt x="300" y="612"/>
                </a:lnTo>
                <a:lnTo>
                  <a:pt x="300" y="612"/>
                </a:lnTo>
                <a:lnTo>
                  <a:pt x="300" y="618"/>
                </a:lnTo>
                <a:lnTo>
                  <a:pt x="300" y="618"/>
                </a:lnTo>
                <a:lnTo>
                  <a:pt x="294" y="618"/>
                </a:lnTo>
                <a:lnTo>
                  <a:pt x="294" y="618"/>
                </a:lnTo>
                <a:lnTo>
                  <a:pt x="294" y="618"/>
                </a:lnTo>
                <a:lnTo>
                  <a:pt x="288" y="618"/>
                </a:lnTo>
                <a:lnTo>
                  <a:pt x="288" y="618"/>
                </a:lnTo>
                <a:lnTo>
                  <a:pt x="288" y="612"/>
                </a:lnTo>
                <a:lnTo>
                  <a:pt x="282" y="612"/>
                </a:lnTo>
                <a:lnTo>
                  <a:pt x="282" y="612"/>
                </a:lnTo>
                <a:lnTo>
                  <a:pt x="276" y="612"/>
                </a:lnTo>
                <a:lnTo>
                  <a:pt x="276" y="612"/>
                </a:lnTo>
                <a:lnTo>
                  <a:pt x="276" y="606"/>
                </a:lnTo>
                <a:lnTo>
                  <a:pt x="282" y="606"/>
                </a:lnTo>
                <a:lnTo>
                  <a:pt x="282" y="600"/>
                </a:lnTo>
                <a:lnTo>
                  <a:pt x="282" y="600"/>
                </a:lnTo>
                <a:lnTo>
                  <a:pt x="282" y="600"/>
                </a:lnTo>
                <a:lnTo>
                  <a:pt x="282" y="594"/>
                </a:lnTo>
                <a:lnTo>
                  <a:pt x="282" y="594"/>
                </a:lnTo>
                <a:lnTo>
                  <a:pt x="282" y="594"/>
                </a:lnTo>
                <a:lnTo>
                  <a:pt x="282" y="594"/>
                </a:lnTo>
                <a:lnTo>
                  <a:pt x="276" y="594"/>
                </a:lnTo>
                <a:lnTo>
                  <a:pt x="276" y="594"/>
                </a:lnTo>
                <a:lnTo>
                  <a:pt x="270" y="594"/>
                </a:lnTo>
                <a:lnTo>
                  <a:pt x="270" y="594"/>
                </a:lnTo>
                <a:lnTo>
                  <a:pt x="264" y="594"/>
                </a:lnTo>
                <a:lnTo>
                  <a:pt x="264" y="588"/>
                </a:lnTo>
                <a:lnTo>
                  <a:pt x="258" y="588"/>
                </a:lnTo>
                <a:lnTo>
                  <a:pt x="258" y="588"/>
                </a:lnTo>
                <a:lnTo>
                  <a:pt x="258" y="588"/>
                </a:lnTo>
                <a:lnTo>
                  <a:pt x="252" y="582"/>
                </a:lnTo>
                <a:lnTo>
                  <a:pt x="252" y="582"/>
                </a:lnTo>
                <a:lnTo>
                  <a:pt x="252" y="582"/>
                </a:lnTo>
                <a:lnTo>
                  <a:pt x="252" y="582"/>
                </a:lnTo>
                <a:lnTo>
                  <a:pt x="252" y="576"/>
                </a:lnTo>
                <a:lnTo>
                  <a:pt x="246" y="576"/>
                </a:lnTo>
                <a:lnTo>
                  <a:pt x="240" y="576"/>
                </a:lnTo>
                <a:lnTo>
                  <a:pt x="240" y="570"/>
                </a:lnTo>
                <a:lnTo>
                  <a:pt x="240" y="570"/>
                </a:lnTo>
                <a:lnTo>
                  <a:pt x="240" y="570"/>
                </a:lnTo>
                <a:lnTo>
                  <a:pt x="240" y="564"/>
                </a:lnTo>
                <a:lnTo>
                  <a:pt x="240" y="564"/>
                </a:lnTo>
                <a:lnTo>
                  <a:pt x="240" y="564"/>
                </a:lnTo>
                <a:lnTo>
                  <a:pt x="240" y="564"/>
                </a:lnTo>
                <a:lnTo>
                  <a:pt x="234" y="564"/>
                </a:lnTo>
                <a:lnTo>
                  <a:pt x="234" y="564"/>
                </a:lnTo>
                <a:lnTo>
                  <a:pt x="234" y="558"/>
                </a:lnTo>
                <a:lnTo>
                  <a:pt x="234" y="564"/>
                </a:lnTo>
                <a:lnTo>
                  <a:pt x="228" y="558"/>
                </a:lnTo>
                <a:lnTo>
                  <a:pt x="228" y="558"/>
                </a:lnTo>
                <a:lnTo>
                  <a:pt x="228" y="558"/>
                </a:lnTo>
                <a:lnTo>
                  <a:pt x="228" y="558"/>
                </a:lnTo>
                <a:lnTo>
                  <a:pt x="228" y="558"/>
                </a:lnTo>
                <a:lnTo>
                  <a:pt x="228" y="552"/>
                </a:lnTo>
                <a:lnTo>
                  <a:pt x="228" y="552"/>
                </a:lnTo>
                <a:lnTo>
                  <a:pt x="222" y="552"/>
                </a:lnTo>
                <a:lnTo>
                  <a:pt x="222" y="552"/>
                </a:lnTo>
                <a:lnTo>
                  <a:pt x="222" y="552"/>
                </a:lnTo>
                <a:lnTo>
                  <a:pt x="222" y="552"/>
                </a:lnTo>
                <a:lnTo>
                  <a:pt x="222" y="552"/>
                </a:lnTo>
                <a:lnTo>
                  <a:pt x="222" y="552"/>
                </a:lnTo>
                <a:lnTo>
                  <a:pt x="216" y="552"/>
                </a:lnTo>
                <a:lnTo>
                  <a:pt x="216" y="552"/>
                </a:lnTo>
                <a:lnTo>
                  <a:pt x="216" y="552"/>
                </a:lnTo>
                <a:lnTo>
                  <a:pt x="216" y="552"/>
                </a:lnTo>
                <a:lnTo>
                  <a:pt x="216" y="552"/>
                </a:lnTo>
                <a:lnTo>
                  <a:pt x="216" y="552"/>
                </a:lnTo>
                <a:lnTo>
                  <a:pt x="216" y="552"/>
                </a:lnTo>
                <a:lnTo>
                  <a:pt x="216" y="552"/>
                </a:lnTo>
                <a:lnTo>
                  <a:pt x="216" y="552"/>
                </a:lnTo>
                <a:lnTo>
                  <a:pt x="210" y="552"/>
                </a:lnTo>
                <a:lnTo>
                  <a:pt x="210" y="552"/>
                </a:lnTo>
                <a:lnTo>
                  <a:pt x="210" y="552"/>
                </a:lnTo>
                <a:lnTo>
                  <a:pt x="210" y="552"/>
                </a:lnTo>
                <a:lnTo>
                  <a:pt x="204" y="552"/>
                </a:lnTo>
                <a:lnTo>
                  <a:pt x="204" y="552"/>
                </a:lnTo>
                <a:lnTo>
                  <a:pt x="204" y="552"/>
                </a:lnTo>
                <a:lnTo>
                  <a:pt x="204" y="558"/>
                </a:lnTo>
                <a:lnTo>
                  <a:pt x="198" y="552"/>
                </a:lnTo>
                <a:lnTo>
                  <a:pt x="198" y="552"/>
                </a:lnTo>
                <a:lnTo>
                  <a:pt x="198" y="552"/>
                </a:lnTo>
                <a:lnTo>
                  <a:pt x="198" y="552"/>
                </a:lnTo>
                <a:lnTo>
                  <a:pt x="198" y="552"/>
                </a:lnTo>
                <a:lnTo>
                  <a:pt x="198" y="552"/>
                </a:lnTo>
                <a:lnTo>
                  <a:pt x="192" y="546"/>
                </a:lnTo>
                <a:lnTo>
                  <a:pt x="198" y="546"/>
                </a:lnTo>
                <a:lnTo>
                  <a:pt x="192" y="546"/>
                </a:lnTo>
                <a:lnTo>
                  <a:pt x="192" y="552"/>
                </a:lnTo>
                <a:lnTo>
                  <a:pt x="192" y="552"/>
                </a:lnTo>
                <a:lnTo>
                  <a:pt x="192" y="546"/>
                </a:lnTo>
                <a:lnTo>
                  <a:pt x="192" y="546"/>
                </a:lnTo>
                <a:lnTo>
                  <a:pt x="186" y="546"/>
                </a:lnTo>
                <a:lnTo>
                  <a:pt x="186" y="546"/>
                </a:lnTo>
                <a:lnTo>
                  <a:pt x="186" y="546"/>
                </a:lnTo>
                <a:lnTo>
                  <a:pt x="186" y="546"/>
                </a:lnTo>
                <a:lnTo>
                  <a:pt x="180" y="546"/>
                </a:lnTo>
                <a:lnTo>
                  <a:pt x="180" y="546"/>
                </a:lnTo>
                <a:lnTo>
                  <a:pt x="180" y="546"/>
                </a:lnTo>
                <a:lnTo>
                  <a:pt x="180" y="540"/>
                </a:lnTo>
                <a:lnTo>
                  <a:pt x="180" y="540"/>
                </a:lnTo>
                <a:lnTo>
                  <a:pt x="174" y="540"/>
                </a:lnTo>
                <a:lnTo>
                  <a:pt x="174" y="540"/>
                </a:lnTo>
                <a:lnTo>
                  <a:pt x="174" y="540"/>
                </a:lnTo>
                <a:lnTo>
                  <a:pt x="174" y="540"/>
                </a:lnTo>
                <a:lnTo>
                  <a:pt x="168" y="540"/>
                </a:lnTo>
                <a:lnTo>
                  <a:pt x="168" y="534"/>
                </a:lnTo>
                <a:lnTo>
                  <a:pt x="168" y="534"/>
                </a:lnTo>
                <a:lnTo>
                  <a:pt x="168" y="534"/>
                </a:lnTo>
                <a:lnTo>
                  <a:pt x="168" y="534"/>
                </a:lnTo>
                <a:lnTo>
                  <a:pt x="168" y="534"/>
                </a:lnTo>
                <a:lnTo>
                  <a:pt x="162" y="534"/>
                </a:lnTo>
                <a:lnTo>
                  <a:pt x="162" y="534"/>
                </a:lnTo>
                <a:lnTo>
                  <a:pt x="162" y="540"/>
                </a:lnTo>
                <a:lnTo>
                  <a:pt x="156" y="534"/>
                </a:lnTo>
                <a:lnTo>
                  <a:pt x="156" y="534"/>
                </a:lnTo>
                <a:lnTo>
                  <a:pt x="156" y="534"/>
                </a:lnTo>
                <a:lnTo>
                  <a:pt x="156" y="528"/>
                </a:lnTo>
                <a:lnTo>
                  <a:pt x="156" y="528"/>
                </a:lnTo>
                <a:lnTo>
                  <a:pt x="156" y="528"/>
                </a:lnTo>
                <a:lnTo>
                  <a:pt x="150" y="528"/>
                </a:lnTo>
                <a:lnTo>
                  <a:pt x="150" y="528"/>
                </a:lnTo>
                <a:lnTo>
                  <a:pt x="150" y="528"/>
                </a:lnTo>
                <a:lnTo>
                  <a:pt x="150" y="528"/>
                </a:lnTo>
                <a:lnTo>
                  <a:pt x="144" y="528"/>
                </a:lnTo>
                <a:lnTo>
                  <a:pt x="144" y="528"/>
                </a:lnTo>
                <a:lnTo>
                  <a:pt x="144" y="522"/>
                </a:lnTo>
                <a:lnTo>
                  <a:pt x="144" y="522"/>
                </a:lnTo>
                <a:lnTo>
                  <a:pt x="144" y="522"/>
                </a:lnTo>
                <a:lnTo>
                  <a:pt x="144" y="522"/>
                </a:lnTo>
                <a:lnTo>
                  <a:pt x="144" y="522"/>
                </a:lnTo>
                <a:lnTo>
                  <a:pt x="144" y="522"/>
                </a:lnTo>
                <a:lnTo>
                  <a:pt x="144" y="516"/>
                </a:lnTo>
                <a:lnTo>
                  <a:pt x="138" y="516"/>
                </a:lnTo>
                <a:lnTo>
                  <a:pt x="138" y="516"/>
                </a:lnTo>
                <a:lnTo>
                  <a:pt x="138" y="516"/>
                </a:lnTo>
                <a:lnTo>
                  <a:pt x="138" y="516"/>
                </a:lnTo>
                <a:lnTo>
                  <a:pt x="138" y="516"/>
                </a:lnTo>
                <a:lnTo>
                  <a:pt x="132" y="516"/>
                </a:lnTo>
                <a:lnTo>
                  <a:pt x="132" y="516"/>
                </a:lnTo>
                <a:lnTo>
                  <a:pt x="132" y="516"/>
                </a:lnTo>
                <a:lnTo>
                  <a:pt x="126" y="516"/>
                </a:lnTo>
                <a:lnTo>
                  <a:pt x="126" y="516"/>
                </a:lnTo>
                <a:lnTo>
                  <a:pt x="132" y="516"/>
                </a:lnTo>
                <a:lnTo>
                  <a:pt x="126" y="510"/>
                </a:lnTo>
                <a:lnTo>
                  <a:pt x="126" y="510"/>
                </a:lnTo>
                <a:lnTo>
                  <a:pt x="126" y="510"/>
                </a:lnTo>
                <a:lnTo>
                  <a:pt x="120" y="510"/>
                </a:lnTo>
                <a:lnTo>
                  <a:pt x="126" y="510"/>
                </a:lnTo>
                <a:lnTo>
                  <a:pt x="120" y="510"/>
                </a:lnTo>
                <a:lnTo>
                  <a:pt x="120" y="510"/>
                </a:lnTo>
                <a:lnTo>
                  <a:pt x="120" y="504"/>
                </a:lnTo>
                <a:lnTo>
                  <a:pt x="120" y="504"/>
                </a:lnTo>
                <a:lnTo>
                  <a:pt x="120" y="504"/>
                </a:lnTo>
                <a:lnTo>
                  <a:pt x="120" y="504"/>
                </a:lnTo>
                <a:lnTo>
                  <a:pt x="120" y="504"/>
                </a:lnTo>
                <a:lnTo>
                  <a:pt x="120" y="498"/>
                </a:lnTo>
                <a:lnTo>
                  <a:pt x="120" y="498"/>
                </a:lnTo>
                <a:lnTo>
                  <a:pt x="120" y="492"/>
                </a:lnTo>
                <a:lnTo>
                  <a:pt x="120" y="486"/>
                </a:lnTo>
                <a:lnTo>
                  <a:pt x="120" y="486"/>
                </a:lnTo>
                <a:lnTo>
                  <a:pt x="120" y="486"/>
                </a:lnTo>
                <a:lnTo>
                  <a:pt x="120" y="480"/>
                </a:lnTo>
                <a:lnTo>
                  <a:pt x="120" y="480"/>
                </a:lnTo>
                <a:lnTo>
                  <a:pt x="120" y="480"/>
                </a:lnTo>
                <a:lnTo>
                  <a:pt x="114" y="480"/>
                </a:lnTo>
                <a:lnTo>
                  <a:pt x="114" y="474"/>
                </a:lnTo>
                <a:lnTo>
                  <a:pt x="114" y="474"/>
                </a:lnTo>
                <a:lnTo>
                  <a:pt x="114" y="474"/>
                </a:lnTo>
                <a:lnTo>
                  <a:pt x="114" y="474"/>
                </a:lnTo>
                <a:lnTo>
                  <a:pt x="114" y="474"/>
                </a:lnTo>
                <a:lnTo>
                  <a:pt x="108" y="474"/>
                </a:lnTo>
                <a:lnTo>
                  <a:pt x="108" y="480"/>
                </a:lnTo>
                <a:lnTo>
                  <a:pt x="108" y="480"/>
                </a:lnTo>
                <a:lnTo>
                  <a:pt x="108" y="480"/>
                </a:lnTo>
                <a:lnTo>
                  <a:pt x="102" y="480"/>
                </a:lnTo>
                <a:lnTo>
                  <a:pt x="102" y="486"/>
                </a:lnTo>
                <a:lnTo>
                  <a:pt x="102" y="486"/>
                </a:lnTo>
                <a:lnTo>
                  <a:pt x="96" y="492"/>
                </a:lnTo>
                <a:lnTo>
                  <a:pt x="96" y="492"/>
                </a:lnTo>
                <a:lnTo>
                  <a:pt x="96" y="486"/>
                </a:lnTo>
                <a:lnTo>
                  <a:pt x="90" y="486"/>
                </a:lnTo>
                <a:lnTo>
                  <a:pt x="90" y="480"/>
                </a:lnTo>
                <a:lnTo>
                  <a:pt x="84" y="480"/>
                </a:lnTo>
                <a:lnTo>
                  <a:pt x="84" y="480"/>
                </a:lnTo>
                <a:lnTo>
                  <a:pt x="84" y="474"/>
                </a:lnTo>
                <a:lnTo>
                  <a:pt x="84" y="480"/>
                </a:lnTo>
                <a:lnTo>
                  <a:pt x="78" y="480"/>
                </a:lnTo>
                <a:lnTo>
                  <a:pt x="78" y="480"/>
                </a:lnTo>
                <a:lnTo>
                  <a:pt x="72" y="474"/>
                </a:lnTo>
                <a:lnTo>
                  <a:pt x="72" y="474"/>
                </a:lnTo>
                <a:lnTo>
                  <a:pt x="72" y="474"/>
                </a:lnTo>
                <a:lnTo>
                  <a:pt x="72" y="474"/>
                </a:lnTo>
                <a:lnTo>
                  <a:pt x="72" y="474"/>
                </a:lnTo>
                <a:lnTo>
                  <a:pt x="72" y="474"/>
                </a:lnTo>
                <a:lnTo>
                  <a:pt x="72" y="468"/>
                </a:lnTo>
                <a:lnTo>
                  <a:pt x="66" y="468"/>
                </a:lnTo>
                <a:lnTo>
                  <a:pt x="66" y="462"/>
                </a:lnTo>
                <a:lnTo>
                  <a:pt x="66" y="468"/>
                </a:lnTo>
                <a:lnTo>
                  <a:pt x="66" y="462"/>
                </a:lnTo>
                <a:lnTo>
                  <a:pt x="66" y="468"/>
                </a:lnTo>
                <a:lnTo>
                  <a:pt x="60" y="462"/>
                </a:lnTo>
                <a:lnTo>
                  <a:pt x="60" y="462"/>
                </a:lnTo>
                <a:lnTo>
                  <a:pt x="60" y="462"/>
                </a:lnTo>
                <a:lnTo>
                  <a:pt x="60" y="456"/>
                </a:lnTo>
                <a:lnTo>
                  <a:pt x="66" y="456"/>
                </a:lnTo>
                <a:lnTo>
                  <a:pt x="66" y="456"/>
                </a:lnTo>
                <a:lnTo>
                  <a:pt x="66" y="456"/>
                </a:lnTo>
                <a:lnTo>
                  <a:pt x="60" y="456"/>
                </a:lnTo>
                <a:lnTo>
                  <a:pt x="60" y="456"/>
                </a:lnTo>
                <a:lnTo>
                  <a:pt x="60" y="450"/>
                </a:lnTo>
                <a:lnTo>
                  <a:pt x="60" y="450"/>
                </a:lnTo>
                <a:lnTo>
                  <a:pt x="60" y="444"/>
                </a:lnTo>
                <a:lnTo>
                  <a:pt x="60" y="444"/>
                </a:lnTo>
                <a:lnTo>
                  <a:pt x="60" y="444"/>
                </a:lnTo>
                <a:lnTo>
                  <a:pt x="60" y="444"/>
                </a:lnTo>
                <a:lnTo>
                  <a:pt x="54" y="444"/>
                </a:lnTo>
                <a:lnTo>
                  <a:pt x="54" y="444"/>
                </a:lnTo>
                <a:lnTo>
                  <a:pt x="54" y="444"/>
                </a:lnTo>
                <a:lnTo>
                  <a:pt x="54" y="444"/>
                </a:lnTo>
                <a:lnTo>
                  <a:pt x="54" y="444"/>
                </a:lnTo>
                <a:lnTo>
                  <a:pt x="54" y="438"/>
                </a:lnTo>
                <a:lnTo>
                  <a:pt x="54" y="438"/>
                </a:lnTo>
                <a:lnTo>
                  <a:pt x="54" y="438"/>
                </a:lnTo>
                <a:lnTo>
                  <a:pt x="54" y="438"/>
                </a:lnTo>
                <a:lnTo>
                  <a:pt x="48" y="438"/>
                </a:lnTo>
                <a:lnTo>
                  <a:pt x="48" y="438"/>
                </a:lnTo>
                <a:lnTo>
                  <a:pt x="48" y="438"/>
                </a:lnTo>
                <a:lnTo>
                  <a:pt x="42" y="432"/>
                </a:lnTo>
                <a:lnTo>
                  <a:pt x="42" y="432"/>
                </a:lnTo>
                <a:lnTo>
                  <a:pt x="42" y="432"/>
                </a:lnTo>
                <a:lnTo>
                  <a:pt x="42" y="432"/>
                </a:lnTo>
                <a:lnTo>
                  <a:pt x="42" y="432"/>
                </a:lnTo>
                <a:lnTo>
                  <a:pt x="42" y="432"/>
                </a:lnTo>
                <a:lnTo>
                  <a:pt x="42" y="432"/>
                </a:lnTo>
                <a:lnTo>
                  <a:pt x="42" y="432"/>
                </a:lnTo>
                <a:lnTo>
                  <a:pt x="36" y="426"/>
                </a:lnTo>
                <a:lnTo>
                  <a:pt x="36" y="426"/>
                </a:lnTo>
                <a:lnTo>
                  <a:pt x="30" y="420"/>
                </a:lnTo>
                <a:lnTo>
                  <a:pt x="30" y="420"/>
                </a:lnTo>
                <a:lnTo>
                  <a:pt x="30" y="420"/>
                </a:lnTo>
                <a:lnTo>
                  <a:pt x="30" y="420"/>
                </a:lnTo>
                <a:lnTo>
                  <a:pt x="30" y="420"/>
                </a:lnTo>
                <a:lnTo>
                  <a:pt x="24" y="420"/>
                </a:lnTo>
                <a:lnTo>
                  <a:pt x="24" y="414"/>
                </a:lnTo>
                <a:lnTo>
                  <a:pt x="24" y="414"/>
                </a:lnTo>
                <a:lnTo>
                  <a:pt x="24" y="414"/>
                </a:lnTo>
                <a:lnTo>
                  <a:pt x="24" y="414"/>
                </a:lnTo>
                <a:lnTo>
                  <a:pt x="24" y="414"/>
                </a:lnTo>
                <a:lnTo>
                  <a:pt x="24" y="408"/>
                </a:lnTo>
                <a:lnTo>
                  <a:pt x="24" y="408"/>
                </a:lnTo>
                <a:lnTo>
                  <a:pt x="24" y="408"/>
                </a:lnTo>
                <a:lnTo>
                  <a:pt x="24" y="402"/>
                </a:lnTo>
                <a:lnTo>
                  <a:pt x="24" y="402"/>
                </a:lnTo>
                <a:lnTo>
                  <a:pt x="24" y="402"/>
                </a:lnTo>
                <a:lnTo>
                  <a:pt x="24" y="402"/>
                </a:lnTo>
                <a:lnTo>
                  <a:pt x="24" y="402"/>
                </a:lnTo>
                <a:lnTo>
                  <a:pt x="24" y="396"/>
                </a:lnTo>
                <a:lnTo>
                  <a:pt x="24" y="396"/>
                </a:lnTo>
                <a:lnTo>
                  <a:pt x="24" y="396"/>
                </a:lnTo>
                <a:lnTo>
                  <a:pt x="24" y="390"/>
                </a:lnTo>
                <a:lnTo>
                  <a:pt x="24" y="390"/>
                </a:lnTo>
                <a:lnTo>
                  <a:pt x="24" y="384"/>
                </a:lnTo>
                <a:lnTo>
                  <a:pt x="24" y="384"/>
                </a:lnTo>
                <a:lnTo>
                  <a:pt x="18" y="384"/>
                </a:lnTo>
                <a:lnTo>
                  <a:pt x="18" y="384"/>
                </a:lnTo>
                <a:lnTo>
                  <a:pt x="18" y="378"/>
                </a:lnTo>
                <a:lnTo>
                  <a:pt x="12" y="378"/>
                </a:lnTo>
                <a:lnTo>
                  <a:pt x="12" y="378"/>
                </a:lnTo>
                <a:lnTo>
                  <a:pt x="12" y="378"/>
                </a:lnTo>
                <a:lnTo>
                  <a:pt x="12" y="378"/>
                </a:lnTo>
                <a:lnTo>
                  <a:pt x="12" y="378"/>
                </a:lnTo>
                <a:lnTo>
                  <a:pt x="6" y="378"/>
                </a:lnTo>
                <a:lnTo>
                  <a:pt x="6" y="372"/>
                </a:lnTo>
                <a:lnTo>
                  <a:pt x="6" y="366"/>
                </a:lnTo>
                <a:lnTo>
                  <a:pt x="6" y="366"/>
                </a:lnTo>
                <a:lnTo>
                  <a:pt x="6" y="366"/>
                </a:lnTo>
                <a:lnTo>
                  <a:pt x="6" y="366"/>
                </a:lnTo>
                <a:lnTo>
                  <a:pt x="6" y="366"/>
                </a:lnTo>
                <a:lnTo>
                  <a:pt x="0" y="360"/>
                </a:lnTo>
                <a:lnTo>
                  <a:pt x="0" y="354"/>
                </a:lnTo>
                <a:lnTo>
                  <a:pt x="6" y="348"/>
                </a:lnTo>
                <a:lnTo>
                  <a:pt x="6" y="348"/>
                </a:lnTo>
                <a:lnTo>
                  <a:pt x="6" y="348"/>
                </a:lnTo>
                <a:lnTo>
                  <a:pt x="6" y="342"/>
                </a:lnTo>
                <a:lnTo>
                  <a:pt x="6" y="336"/>
                </a:lnTo>
                <a:lnTo>
                  <a:pt x="0" y="336"/>
                </a:lnTo>
                <a:lnTo>
                  <a:pt x="0" y="336"/>
                </a:lnTo>
                <a:lnTo>
                  <a:pt x="0" y="336"/>
                </a:lnTo>
                <a:lnTo>
                  <a:pt x="0" y="330"/>
                </a:lnTo>
                <a:lnTo>
                  <a:pt x="0" y="330"/>
                </a:lnTo>
                <a:lnTo>
                  <a:pt x="0" y="29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19" name="Freeform 52"/>
          <p:cNvSpPr>
            <a:spLocks/>
          </p:cNvSpPr>
          <p:nvPr/>
        </p:nvSpPr>
        <p:spPr bwMode="auto">
          <a:xfrm>
            <a:off x="6627012" y="1918691"/>
            <a:ext cx="308354" cy="353325"/>
          </a:xfrm>
          <a:custGeom>
            <a:avLst/>
            <a:gdLst>
              <a:gd name="T0" fmla="*/ 6 w 288"/>
              <a:gd name="T1" fmla="*/ 294 h 330"/>
              <a:gd name="T2" fmla="*/ 12 w 288"/>
              <a:gd name="T3" fmla="*/ 282 h 330"/>
              <a:gd name="T4" fmla="*/ 12 w 288"/>
              <a:gd name="T5" fmla="*/ 276 h 330"/>
              <a:gd name="T6" fmla="*/ 6 w 288"/>
              <a:gd name="T7" fmla="*/ 264 h 330"/>
              <a:gd name="T8" fmla="*/ 6 w 288"/>
              <a:gd name="T9" fmla="*/ 264 h 330"/>
              <a:gd name="T10" fmla="*/ 6 w 288"/>
              <a:gd name="T11" fmla="*/ 252 h 330"/>
              <a:gd name="T12" fmla="*/ 12 w 288"/>
              <a:gd name="T13" fmla="*/ 246 h 330"/>
              <a:gd name="T14" fmla="*/ 30 w 288"/>
              <a:gd name="T15" fmla="*/ 240 h 330"/>
              <a:gd name="T16" fmla="*/ 36 w 288"/>
              <a:gd name="T17" fmla="*/ 234 h 330"/>
              <a:gd name="T18" fmla="*/ 30 w 288"/>
              <a:gd name="T19" fmla="*/ 222 h 330"/>
              <a:gd name="T20" fmla="*/ 30 w 288"/>
              <a:gd name="T21" fmla="*/ 216 h 330"/>
              <a:gd name="T22" fmla="*/ 30 w 288"/>
              <a:gd name="T23" fmla="*/ 210 h 330"/>
              <a:gd name="T24" fmla="*/ 30 w 288"/>
              <a:gd name="T25" fmla="*/ 204 h 330"/>
              <a:gd name="T26" fmla="*/ 30 w 288"/>
              <a:gd name="T27" fmla="*/ 198 h 330"/>
              <a:gd name="T28" fmla="*/ 30 w 288"/>
              <a:gd name="T29" fmla="*/ 186 h 330"/>
              <a:gd name="T30" fmla="*/ 108 w 288"/>
              <a:gd name="T31" fmla="*/ 120 h 330"/>
              <a:gd name="T32" fmla="*/ 186 w 288"/>
              <a:gd name="T33" fmla="*/ 54 h 330"/>
              <a:gd name="T34" fmla="*/ 246 w 288"/>
              <a:gd name="T35" fmla="*/ 0 h 330"/>
              <a:gd name="T36" fmla="*/ 252 w 288"/>
              <a:gd name="T37" fmla="*/ 6 h 330"/>
              <a:gd name="T38" fmla="*/ 258 w 288"/>
              <a:gd name="T39" fmla="*/ 6 h 330"/>
              <a:gd name="T40" fmla="*/ 270 w 288"/>
              <a:gd name="T41" fmla="*/ 18 h 330"/>
              <a:gd name="T42" fmla="*/ 270 w 288"/>
              <a:gd name="T43" fmla="*/ 24 h 330"/>
              <a:gd name="T44" fmla="*/ 276 w 288"/>
              <a:gd name="T45" fmla="*/ 30 h 330"/>
              <a:gd name="T46" fmla="*/ 282 w 288"/>
              <a:gd name="T47" fmla="*/ 36 h 330"/>
              <a:gd name="T48" fmla="*/ 282 w 288"/>
              <a:gd name="T49" fmla="*/ 42 h 330"/>
              <a:gd name="T50" fmla="*/ 288 w 288"/>
              <a:gd name="T51" fmla="*/ 54 h 330"/>
              <a:gd name="T52" fmla="*/ 288 w 288"/>
              <a:gd name="T53" fmla="*/ 66 h 330"/>
              <a:gd name="T54" fmla="*/ 270 w 288"/>
              <a:gd name="T55" fmla="*/ 66 h 330"/>
              <a:gd name="T56" fmla="*/ 258 w 288"/>
              <a:gd name="T57" fmla="*/ 84 h 330"/>
              <a:gd name="T58" fmla="*/ 252 w 288"/>
              <a:gd name="T59" fmla="*/ 102 h 330"/>
              <a:gd name="T60" fmla="*/ 240 w 288"/>
              <a:gd name="T61" fmla="*/ 114 h 330"/>
              <a:gd name="T62" fmla="*/ 216 w 288"/>
              <a:gd name="T63" fmla="*/ 120 h 330"/>
              <a:gd name="T64" fmla="*/ 198 w 288"/>
              <a:gd name="T65" fmla="*/ 126 h 330"/>
              <a:gd name="T66" fmla="*/ 180 w 288"/>
              <a:gd name="T67" fmla="*/ 138 h 330"/>
              <a:gd name="T68" fmla="*/ 186 w 288"/>
              <a:gd name="T69" fmla="*/ 156 h 330"/>
              <a:gd name="T70" fmla="*/ 180 w 288"/>
              <a:gd name="T71" fmla="*/ 174 h 330"/>
              <a:gd name="T72" fmla="*/ 174 w 288"/>
              <a:gd name="T73" fmla="*/ 174 h 330"/>
              <a:gd name="T74" fmla="*/ 168 w 288"/>
              <a:gd name="T75" fmla="*/ 174 h 330"/>
              <a:gd name="T76" fmla="*/ 162 w 288"/>
              <a:gd name="T77" fmla="*/ 180 h 330"/>
              <a:gd name="T78" fmla="*/ 156 w 288"/>
              <a:gd name="T79" fmla="*/ 186 h 330"/>
              <a:gd name="T80" fmla="*/ 144 w 288"/>
              <a:gd name="T81" fmla="*/ 186 h 330"/>
              <a:gd name="T82" fmla="*/ 144 w 288"/>
              <a:gd name="T83" fmla="*/ 192 h 330"/>
              <a:gd name="T84" fmla="*/ 132 w 288"/>
              <a:gd name="T85" fmla="*/ 186 h 330"/>
              <a:gd name="T86" fmla="*/ 114 w 288"/>
              <a:gd name="T87" fmla="*/ 192 h 330"/>
              <a:gd name="T88" fmla="*/ 108 w 288"/>
              <a:gd name="T89" fmla="*/ 192 h 330"/>
              <a:gd name="T90" fmla="*/ 102 w 288"/>
              <a:gd name="T91" fmla="*/ 240 h 330"/>
              <a:gd name="T92" fmla="*/ 102 w 288"/>
              <a:gd name="T93" fmla="*/ 276 h 330"/>
              <a:gd name="T94" fmla="*/ 90 w 288"/>
              <a:gd name="T95" fmla="*/ 288 h 330"/>
              <a:gd name="T96" fmla="*/ 96 w 288"/>
              <a:gd name="T97" fmla="*/ 300 h 330"/>
              <a:gd name="T98" fmla="*/ 96 w 288"/>
              <a:gd name="T99" fmla="*/ 312 h 330"/>
              <a:gd name="T100" fmla="*/ 102 w 288"/>
              <a:gd name="T101" fmla="*/ 324 h 330"/>
              <a:gd name="T102" fmla="*/ 96 w 288"/>
              <a:gd name="T103" fmla="*/ 330 h 330"/>
              <a:gd name="T104" fmla="*/ 90 w 288"/>
              <a:gd name="T105" fmla="*/ 330 h 330"/>
              <a:gd name="T106" fmla="*/ 78 w 288"/>
              <a:gd name="T107" fmla="*/ 330 h 330"/>
              <a:gd name="T108" fmla="*/ 72 w 288"/>
              <a:gd name="T109" fmla="*/ 330 h 330"/>
              <a:gd name="T110" fmla="*/ 60 w 288"/>
              <a:gd name="T111" fmla="*/ 324 h 330"/>
              <a:gd name="T112" fmla="*/ 54 w 288"/>
              <a:gd name="T113" fmla="*/ 324 h 330"/>
              <a:gd name="T114" fmla="*/ 48 w 288"/>
              <a:gd name="T115" fmla="*/ 318 h 330"/>
              <a:gd name="T116" fmla="*/ 42 w 288"/>
              <a:gd name="T117" fmla="*/ 312 h 330"/>
              <a:gd name="T118" fmla="*/ 30 w 288"/>
              <a:gd name="T119" fmla="*/ 306 h 330"/>
              <a:gd name="T120" fmla="*/ 18 w 288"/>
              <a:gd name="T121" fmla="*/ 306 h 330"/>
              <a:gd name="T122" fmla="*/ 12 w 288"/>
              <a:gd name="T123" fmla="*/ 300 h 330"/>
              <a:gd name="T124" fmla="*/ 0 w 288"/>
              <a:gd name="T125" fmla="*/ 306 h 3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88" h="330">
                <a:moveTo>
                  <a:pt x="0" y="306"/>
                </a:moveTo>
                <a:lnTo>
                  <a:pt x="6" y="300"/>
                </a:lnTo>
                <a:lnTo>
                  <a:pt x="6" y="300"/>
                </a:lnTo>
                <a:lnTo>
                  <a:pt x="6" y="300"/>
                </a:lnTo>
                <a:lnTo>
                  <a:pt x="6" y="300"/>
                </a:lnTo>
                <a:lnTo>
                  <a:pt x="6" y="294"/>
                </a:lnTo>
                <a:lnTo>
                  <a:pt x="6" y="294"/>
                </a:lnTo>
                <a:lnTo>
                  <a:pt x="6" y="294"/>
                </a:lnTo>
                <a:lnTo>
                  <a:pt x="6" y="294"/>
                </a:lnTo>
                <a:lnTo>
                  <a:pt x="12" y="294"/>
                </a:lnTo>
                <a:lnTo>
                  <a:pt x="12" y="288"/>
                </a:lnTo>
                <a:lnTo>
                  <a:pt x="12" y="288"/>
                </a:lnTo>
                <a:lnTo>
                  <a:pt x="12" y="282"/>
                </a:lnTo>
                <a:lnTo>
                  <a:pt x="12" y="282"/>
                </a:lnTo>
                <a:lnTo>
                  <a:pt x="12" y="282"/>
                </a:lnTo>
                <a:lnTo>
                  <a:pt x="12" y="282"/>
                </a:lnTo>
                <a:lnTo>
                  <a:pt x="12" y="276"/>
                </a:lnTo>
                <a:lnTo>
                  <a:pt x="12" y="276"/>
                </a:lnTo>
                <a:lnTo>
                  <a:pt x="12" y="276"/>
                </a:lnTo>
                <a:lnTo>
                  <a:pt x="12" y="276"/>
                </a:lnTo>
                <a:lnTo>
                  <a:pt x="12" y="276"/>
                </a:lnTo>
                <a:lnTo>
                  <a:pt x="12" y="276"/>
                </a:lnTo>
                <a:lnTo>
                  <a:pt x="12" y="276"/>
                </a:lnTo>
                <a:lnTo>
                  <a:pt x="12" y="276"/>
                </a:lnTo>
                <a:lnTo>
                  <a:pt x="6" y="270"/>
                </a:lnTo>
                <a:lnTo>
                  <a:pt x="6" y="264"/>
                </a:lnTo>
                <a:lnTo>
                  <a:pt x="6" y="264"/>
                </a:lnTo>
                <a:lnTo>
                  <a:pt x="6" y="264"/>
                </a:lnTo>
                <a:lnTo>
                  <a:pt x="0" y="264"/>
                </a:lnTo>
                <a:lnTo>
                  <a:pt x="0" y="264"/>
                </a:lnTo>
                <a:lnTo>
                  <a:pt x="0" y="264"/>
                </a:lnTo>
                <a:lnTo>
                  <a:pt x="0" y="264"/>
                </a:lnTo>
                <a:lnTo>
                  <a:pt x="0" y="264"/>
                </a:lnTo>
                <a:lnTo>
                  <a:pt x="6" y="264"/>
                </a:lnTo>
                <a:lnTo>
                  <a:pt x="6" y="264"/>
                </a:lnTo>
                <a:lnTo>
                  <a:pt x="6" y="264"/>
                </a:lnTo>
                <a:lnTo>
                  <a:pt x="6" y="264"/>
                </a:lnTo>
                <a:lnTo>
                  <a:pt x="6" y="258"/>
                </a:lnTo>
                <a:lnTo>
                  <a:pt x="6" y="258"/>
                </a:lnTo>
                <a:lnTo>
                  <a:pt x="6" y="258"/>
                </a:lnTo>
                <a:lnTo>
                  <a:pt x="6" y="258"/>
                </a:lnTo>
                <a:lnTo>
                  <a:pt x="6" y="252"/>
                </a:lnTo>
                <a:lnTo>
                  <a:pt x="12" y="252"/>
                </a:lnTo>
                <a:lnTo>
                  <a:pt x="12" y="252"/>
                </a:lnTo>
                <a:lnTo>
                  <a:pt x="12" y="252"/>
                </a:lnTo>
                <a:lnTo>
                  <a:pt x="12" y="252"/>
                </a:lnTo>
                <a:lnTo>
                  <a:pt x="12" y="252"/>
                </a:lnTo>
                <a:lnTo>
                  <a:pt x="12" y="246"/>
                </a:lnTo>
                <a:lnTo>
                  <a:pt x="12" y="246"/>
                </a:lnTo>
                <a:lnTo>
                  <a:pt x="18" y="246"/>
                </a:lnTo>
                <a:lnTo>
                  <a:pt x="18" y="246"/>
                </a:lnTo>
                <a:lnTo>
                  <a:pt x="18" y="246"/>
                </a:lnTo>
                <a:lnTo>
                  <a:pt x="18" y="240"/>
                </a:lnTo>
                <a:lnTo>
                  <a:pt x="24" y="240"/>
                </a:lnTo>
                <a:lnTo>
                  <a:pt x="24" y="240"/>
                </a:lnTo>
                <a:lnTo>
                  <a:pt x="30" y="240"/>
                </a:lnTo>
                <a:lnTo>
                  <a:pt x="30" y="234"/>
                </a:lnTo>
                <a:lnTo>
                  <a:pt x="30" y="234"/>
                </a:lnTo>
                <a:lnTo>
                  <a:pt x="30" y="234"/>
                </a:lnTo>
                <a:lnTo>
                  <a:pt x="30" y="234"/>
                </a:lnTo>
                <a:lnTo>
                  <a:pt x="36" y="234"/>
                </a:lnTo>
                <a:lnTo>
                  <a:pt x="36" y="234"/>
                </a:lnTo>
                <a:lnTo>
                  <a:pt x="36" y="234"/>
                </a:lnTo>
                <a:lnTo>
                  <a:pt x="36" y="234"/>
                </a:lnTo>
                <a:lnTo>
                  <a:pt x="36" y="234"/>
                </a:lnTo>
                <a:lnTo>
                  <a:pt x="36" y="228"/>
                </a:lnTo>
                <a:lnTo>
                  <a:pt x="36" y="228"/>
                </a:lnTo>
                <a:lnTo>
                  <a:pt x="30" y="228"/>
                </a:lnTo>
                <a:lnTo>
                  <a:pt x="30" y="222"/>
                </a:lnTo>
                <a:lnTo>
                  <a:pt x="30" y="222"/>
                </a:lnTo>
                <a:lnTo>
                  <a:pt x="30" y="222"/>
                </a:lnTo>
                <a:lnTo>
                  <a:pt x="30" y="222"/>
                </a:lnTo>
                <a:lnTo>
                  <a:pt x="30" y="222"/>
                </a:lnTo>
                <a:lnTo>
                  <a:pt x="30" y="222"/>
                </a:lnTo>
                <a:lnTo>
                  <a:pt x="30" y="216"/>
                </a:lnTo>
                <a:lnTo>
                  <a:pt x="30" y="216"/>
                </a:lnTo>
                <a:lnTo>
                  <a:pt x="30" y="216"/>
                </a:lnTo>
                <a:lnTo>
                  <a:pt x="36" y="216"/>
                </a:lnTo>
                <a:lnTo>
                  <a:pt x="30" y="216"/>
                </a:lnTo>
                <a:lnTo>
                  <a:pt x="36" y="216"/>
                </a:lnTo>
                <a:lnTo>
                  <a:pt x="36" y="216"/>
                </a:lnTo>
                <a:lnTo>
                  <a:pt x="36" y="210"/>
                </a:lnTo>
                <a:lnTo>
                  <a:pt x="30" y="210"/>
                </a:lnTo>
                <a:lnTo>
                  <a:pt x="30" y="210"/>
                </a:lnTo>
                <a:lnTo>
                  <a:pt x="30" y="210"/>
                </a:lnTo>
                <a:lnTo>
                  <a:pt x="30" y="210"/>
                </a:lnTo>
                <a:lnTo>
                  <a:pt x="30" y="210"/>
                </a:lnTo>
                <a:lnTo>
                  <a:pt x="30" y="204"/>
                </a:lnTo>
                <a:lnTo>
                  <a:pt x="30" y="204"/>
                </a:lnTo>
                <a:lnTo>
                  <a:pt x="30" y="204"/>
                </a:lnTo>
                <a:lnTo>
                  <a:pt x="30" y="204"/>
                </a:lnTo>
                <a:lnTo>
                  <a:pt x="30" y="204"/>
                </a:lnTo>
                <a:lnTo>
                  <a:pt x="30" y="204"/>
                </a:lnTo>
                <a:lnTo>
                  <a:pt x="30" y="204"/>
                </a:lnTo>
                <a:lnTo>
                  <a:pt x="30" y="204"/>
                </a:lnTo>
                <a:lnTo>
                  <a:pt x="30" y="198"/>
                </a:lnTo>
                <a:lnTo>
                  <a:pt x="30" y="198"/>
                </a:lnTo>
                <a:lnTo>
                  <a:pt x="30" y="198"/>
                </a:lnTo>
                <a:lnTo>
                  <a:pt x="30" y="198"/>
                </a:lnTo>
                <a:lnTo>
                  <a:pt x="30" y="192"/>
                </a:lnTo>
                <a:lnTo>
                  <a:pt x="30" y="192"/>
                </a:lnTo>
                <a:lnTo>
                  <a:pt x="30" y="192"/>
                </a:lnTo>
                <a:lnTo>
                  <a:pt x="24" y="192"/>
                </a:lnTo>
                <a:lnTo>
                  <a:pt x="30" y="192"/>
                </a:lnTo>
                <a:lnTo>
                  <a:pt x="30" y="186"/>
                </a:lnTo>
                <a:lnTo>
                  <a:pt x="30" y="186"/>
                </a:lnTo>
                <a:lnTo>
                  <a:pt x="30" y="186"/>
                </a:lnTo>
                <a:lnTo>
                  <a:pt x="30" y="186"/>
                </a:lnTo>
                <a:lnTo>
                  <a:pt x="30" y="180"/>
                </a:lnTo>
                <a:lnTo>
                  <a:pt x="66" y="156"/>
                </a:lnTo>
                <a:lnTo>
                  <a:pt x="78" y="138"/>
                </a:lnTo>
                <a:lnTo>
                  <a:pt x="108" y="120"/>
                </a:lnTo>
                <a:lnTo>
                  <a:pt x="114" y="114"/>
                </a:lnTo>
                <a:lnTo>
                  <a:pt x="114" y="114"/>
                </a:lnTo>
                <a:lnTo>
                  <a:pt x="126" y="102"/>
                </a:lnTo>
                <a:lnTo>
                  <a:pt x="156" y="78"/>
                </a:lnTo>
                <a:lnTo>
                  <a:pt x="180" y="54"/>
                </a:lnTo>
                <a:lnTo>
                  <a:pt x="186" y="54"/>
                </a:lnTo>
                <a:lnTo>
                  <a:pt x="186" y="54"/>
                </a:lnTo>
                <a:lnTo>
                  <a:pt x="192" y="48"/>
                </a:lnTo>
                <a:lnTo>
                  <a:pt x="210" y="30"/>
                </a:lnTo>
                <a:lnTo>
                  <a:pt x="216" y="24"/>
                </a:lnTo>
                <a:lnTo>
                  <a:pt x="228" y="12"/>
                </a:lnTo>
                <a:lnTo>
                  <a:pt x="240" y="6"/>
                </a:lnTo>
                <a:lnTo>
                  <a:pt x="246" y="0"/>
                </a:lnTo>
                <a:lnTo>
                  <a:pt x="246" y="0"/>
                </a:lnTo>
                <a:lnTo>
                  <a:pt x="246" y="0"/>
                </a:lnTo>
                <a:lnTo>
                  <a:pt x="246" y="6"/>
                </a:lnTo>
                <a:lnTo>
                  <a:pt x="252" y="0"/>
                </a:lnTo>
                <a:lnTo>
                  <a:pt x="252" y="6"/>
                </a:lnTo>
                <a:lnTo>
                  <a:pt x="252" y="6"/>
                </a:lnTo>
                <a:lnTo>
                  <a:pt x="252" y="6"/>
                </a:lnTo>
                <a:lnTo>
                  <a:pt x="252" y="6"/>
                </a:lnTo>
                <a:lnTo>
                  <a:pt x="258" y="0"/>
                </a:lnTo>
                <a:lnTo>
                  <a:pt x="258" y="0"/>
                </a:lnTo>
                <a:lnTo>
                  <a:pt x="258" y="6"/>
                </a:lnTo>
                <a:lnTo>
                  <a:pt x="258" y="6"/>
                </a:lnTo>
                <a:lnTo>
                  <a:pt x="258" y="6"/>
                </a:lnTo>
                <a:lnTo>
                  <a:pt x="258" y="6"/>
                </a:lnTo>
                <a:lnTo>
                  <a:pt x="258" y="6"/>
                </a:lnTo>
                <a:lnTo>
                  <a:pt x="258" y="6"/>
                </a:lnTo>
                <a:lnTo>
                  <a:pt x="264" y="6"/>
                </a:lnTo>
                <a:lnTo>
                  <a:pt x="264" y="12"/>
                </a:lnTo>
                <a:lnTo>
                  <a:pt x="264" y="12"/>
                </a:lnTo>
                <a:lnTo>
                  <a:pt x="264" y="12"/>
                </a:lnTo>
                <a:lnTo>
                  <a:pt x="270" y="12"/>
                </a:lnTo>
                <a:lnTo>
                  <a:pt x="270" y="18"/>
                </a:lnTo>
                <a:lnTo>
                  <a:pt x="270" y="18"/>
                </a:lnTo>
                <a:lnTo>
                  <a:pt x="270" y="18"/>
                </a:lnTo>
                <a:lnTo>
                  <a:pt x="270" y="18"/>
                </a:lnTo>
                <a:lnTo>
                  <a:pt x="270" y="24"/>
                </a:lnTo>
                <a:lnTo>
                  <a:pt x="270" y="24"/>
                </a:lnTo>
                <a:lnTo>
                  <a:pt x="270" y="24"/>
                </a:lnTo>
                <a:lnTo>
                  <a:pt x="270" y="24"/>
                </a:lnTo>
                <a:lnTo>
                  <a:pt x="270" y="30"/>
                </a:lnTo>
                <a:lnTo>
                  <a:pt x="270" y="24"/>
                </a:lnTo>
                <a:lnTo>
                  <a:pt x="276" y="30"/>
                </a:lnTo>
                <a:lnTo>
                  <a:pt x="276" y="30"/>
                </a:lnTo>
                <a:lnTo>
                  <a:pt x="276" y="30"/>
                </a:lnTo>
                <a:lnTo>
                  <a:pt x="276" y="30"/>
                </a:lnTo>
                <a:lnTo>
                  <a:pt x="276" y="30"/>
                </a:lnTo>
                <a:lnTo>
                  <a:pt x="282" y="30"/>
                </a:lnTo>
                <a:lnTo>
                  <a:pt x="282" y="36"/>
                </a:lnTo>
                <a:lnTo>
                  <a:pt x="282" y="36"/>
                </a:lnTo>
                <a:lnTo>
                  <a:pt x="282" y="36"/>
                </a:lnTo>
                <a:lnTo>
                  <a:pt x="282" y="36"/>
                </a:lnTo>
                <a:lnTo>
                  <a:pt x="282" y="36"/>
                </a:lnTo>
                <a:lnTo>
                  <a:pt x="282" y="36"/>
                </a:lnTo>
                <a:lnTo>
                  <a:pt x="288" y="36"/>
                </a:lnTo>
                <a:lnTo>
                  <a:pt x="288" y="36"/>
                </a:lnTo>
                <a:lnTo>
                  <a:pt x="288" y="36"/>
                </a:lnTo>
                <a:lnTo>
                  <a:pt x="288" y="36"/>
                </a:lnTo>
                <a:lnTo>
                  <a:pt x="288" y="36"/>
                </a:lnTo>
                <a:lnTo>
                  <a:pt x="288" y="36"/>
                </a:lnTo>
                <a:lnTo>
                  <a:pt x="282" y="42"/>
                </a:lnTo>
                <a:lnTo>
                  <a:pt x="282" y="42"/>
                </a:lnTo>
                <a:lnTo>
                  <a:pt x="282" y="42"/>
                </a:lnTo>
                <a:lnTo>
                  <a:pt x="282" y="48"/>
                </a:lnTo>
                <a:lnTo>
                  <a:pt x="282" y="48"/>
                </a:lnTo>
                <a:lnTo>
                  <a:pt x="288" y="54"/>
                </a:lnTo>
                <a:lnTo>
                  <a:pt x="288" y="54"/>
                </a:lnTo>
                <a:lnTo>
                  <a:pt x="288" y="54"/>
                </a:lnTo>
                <a:lnTo>
                  <a:pt x="288" y="60"/>
                </a:lnTo>
                <a:lnTo>
                  <a:pt x="288" y="60"/>
                </a:lnTo>
                <a:lnTo>
                  <a:pt x="288" y="60"/>
                </a:lnTo>
                <a:lnTo>
                  <a:pt x="288" y="60"/>
                </a:lnTo>
                <a:lnTo>
                  <a:pt x="288" y="60"/>
                </a:lnTo>
                <a:lnTo>
                  <a:pt x="288" y="66"/>
                </a:lnTo>
                <a:lnTo>
                  <a:pt x="288" y="66"/>
                </a:lnTo>
                <a:lnTo>
                  <a:pt x="288" y="66"/>
                </a:lnTo>
                <a:lnTo>
                  <a:pt x="288" y="66"/>
                </a:lnTo>
                <a:lnTo>
                  <a:pt x="282" y="66"/>
                </a:lnTo>
                <a:lnTo>
                  <a:pt x="282" y="66"/>
                </a:lnTo>
                <a:lnTo>
                  <a:pt x="276" y="66"/>
                </a:lnTo>
                <a:lnTo>
                  <a:pt x="276" y="66"/>
                </a:lnTo>
                <a:lnTo>
                  <a:pt x="270" y="66"/>
                </a:lnTo>
                <a:lnTo>
                  <a:pt x="270" y="72"/>
                </a:lnTo>
                <a:lnTo>
                  <a:pt x="270" y="72"/>
                </a:lnTo>
                <a:lnTo>
                  <a:pt x="270" y="72"/>
                </a:lnTo>
                <a:lnTo>
                  <a:pt x="264" y="72"/>
                </a:lnTo>
                <a:lnTo>
                  <a:pt x="258" y="78"/>
                </a:lnTo>
                <a:lnTo>
                  <a:pt x="258" y="84"/>
                </a:lnTo>
                <a:lnTo>
                  <a:pt x="258" y="84"/>
                </a:lnTo>
                <a:lnTo>
                  <a:pt x="258" y="84"/>
                </a:lnTo>
                <a:lnTo>
                  <a:pt x="258" y="90"/>
                </a:lnTo>
                <a:lnTo>
                  <a:pt x="252" y="90"/>
                </a:lnTo>
                <a:lnTo>
                  <a:pt x="252" y="90"/>
                </a:lnTo>
                <a:lnTo>
                  <a:pt x="252" y="96"/>
                </a:lnTo>
                <a:lnTo>
                  <a:pt x="252" y="96"/>
                </a:lnTo>
                <a:lnTo>
                  <a:pt x="252" y="102"/>
                </a:lnTo>
                <a:lnTo>
                  <a:pt x="252" y="102"/>
                </a:lnTo>
                <a:lnTo>
                  <a:pt x="252" y="108"/>
                </a:lnTo>
                <a:lnTo>
                  <a:pt x="252" y="108"/>
                </a:lnTo>
                <a:lnTo>
                  <a:pt x="246" y="108"/>
                </a:lnTo>
                <a:lnTo>
                  <a:pt x="240" y="114"/>
                </a:lnTo>
                <a:lnTo>
                  <a:pt x="240" y="114"/>
                </a:lnTo>
                <a:lnTo>
                  <a:pt x="240" y="114"/>
                </a:lnTo>
                <a:lnTo>
                  <a:pt x="234" y="114"/>
                </a:lnTo>
                <a:lnTo>
                  <a:pt x="234" y="114"/>
                </a:lnTo>
                <a:lnTo>
                  <a:pt x="228" y="114"/>
                </a:lnTo>
                <a:lnTo>
                  <a:pt x="228" y="114"/>
                </a:lnTo>
                <a:lnTo>
                  <a:pt x="228" y="114"/>
                </a:lnTo>
                <a:lnTo>
                  <a:pt x="222" y="120"/>
                </a:lnTo>
                <a:lnTo>
                  <a:pt x="216" y="120"/>
                </a:lnTo>
                <a:lnTo>
                  <a:pt x="216" y="120"/>
                </a:lnTo>
                <a:lnTo>
                  <a:pt x="216" y="120"/>
                </a:lnTo>
                <a:lnTo>
                  <a:pt x="216" y="120"/>
                </a:lnTo>
                <a:lnTo>
                  <a:pt x="204" y="120"/>
                </a:lnTo>
                <a:lnTo>
                  <a:pt x="204" y="126"/>
                </a:lnTo>
                <a:lnTo>
                  <a:pt x="204" y="126"/>
                </a:lnTo>
                <a:lnTo>
                  <a:pt x="198" y="126"/>
                </a:lnTo>
                <a:lnTo>
                  <a:pt x="198" y="126"/>
                </a:lnTo>
                <a:lnTo>
                  <a:pt x="192" y="132"/>
                </a:lnTo>
                <a:lnTo>
                  <a:pt x="192" y="132"/>
                </a:lnTo>
                <a:lnTo>
                  <a:pt x="186" y="138"/>
                </a:lnTo>
                <a:lnTo>
                  <a:pt x="186" y="138"/>
                </a:lnTo>
                <a:lnTo>
                  <a:pt x="186" y="138"/>
                </a:lnTo>
                <a:lnTo>
                  <a:pt x="180" y="138"/>
                </a:lnTo>
                <a:lnTo>
                  <a:pt x="180" y="144"/>
                </a:lnTo>
                <a:lnTo>
                  <a:pt x="180" y="144"/>
                </a:lnTo>
                <a:lnTo>
                  <a:pt x="180" y="144"/>
                </a:lnTo>
                <a:lnTo>
                  <a:pt x="180" y="144"/>
                </a:lnTo>
                <a:lnTo>
                  <a:pt x="186" y="150"/>
                </a:lnTo>
                <a:lnTo>
                  <a:pt x="186" y="156"/>
                </a:lnTo>
                <a:lnTo>
                  <a:pt x="186" y="156"/>
                </a:lnTo>
                <a:lnTo>
                  <a:pt x="186" y="156"/>
                </a:lnTo>
                <a:lnTo>
                  <a:pt x="186" y="168"/>
                </a:lnTo>
                <a:lnTo>
                  <a:pt x="180" y="168"/>
                </a:lnTo>
                <a:lnTo>
                  <a:pt x="186" y="168"/>
                </a:lnTo>
                <a:lnTo>
                  <a:pt x="180" y="168"/>
                </a:lnTo>
                <a:lnTo>
                  <a:pt x="180" y="174"/>
                </a:lnTo>
                <a:lnTo>
                  <a:pt x="180" y="174"/>
                </a:lnTo>
                <a:lnTo>
                  <a:pt x="180" y="174"/>
                </a:lnTo>
                <a:lnTo>
                  <a:pt x="180" y="174"/>
                </a:lnTo>
                <a:lnTo>
                  <a:pt x="180" y="174"/>
                </a:lnTo>
                <a:lnTo>
                  <a:pt x="174" y="174"/>
                </a:lnTo>
                <a:lnTo>
                  <a:pt x="174" y="174"/>
                </a:lnTo>
                <a:lnTo>
                  <a:pt x="174" y="174"/>
                </a:lnTo>
                <a:lnTo>
                  <a:pt x="174" y="174"/>
                </a:lnTo>
                <a:lnTo>
                  <a:pt x="174" y="174"/>
                </a:lnTo>
                <a:lnTo>
                  <a:pt x="174" y="174"/>
                </a:lnTo>
                <a:lnTo>
                  <a:pt x="174" y="174"/>
                </a:lnTo>
                <a:lnTo>
                  <a:pt x="168" y="174"/>
                </a:lnTo>
                <a:lnTo>
                  <a:pt x="168" y="174"/>
                </a:lnTo>
                <a:lnTo>
                  <a:pt x="168" y="174"/>
                </a:lnTo>
                <a:lnTo>
                  <a:pt x="168" y="174"/>
                </a:lnTo>
                <a:lnTo>
                  <a:pt x="168" y="174"/>
                </a:lnTo>
                <a:lnTo>
                  <a:pt x="168" y="174"/>
                </a:lnTo>
                <a:lnTo>
                  <a:pt x="162" y="174"/>
                </a:lnTo>
                <a:lnTo>
                  <a:pt x="162" y="174"/>
                </a:lnTo>
                <a:lnTo>
                  <a:pt x="162" y="174"/>
                </a:lnTo>
                <a:lnTo>
                  <a:pt x="162" y="180"/>
                </a:lnTo>
                <a:lnTo>
                  <a:pt x="162" y="180"/>
                </a:lnTo>
                <a:lnTo>
                  <a:pt x="162" y="180"/>
                </a:lnTo>
                <a:lnTo>
                  <a:pt x="156" y="180"/>
                </a:lnTo>
                <a:lnTo>
                  <a:pt x="156" y="180"/>
                </a:lnTo>
                <a:lnTo>
                  <a:pt x="156" y="180"/>
                </a:lnTo>
                <a:lnTo>
                  <a:pt x="156" y="180"/>
                </a:lnTo>
                <a:lnTo>
                  <a:pt x="156" y="186"/>
                </a:lnTo>
                <a:lnTo>
                  <a:pt x="156" y="186"/>
                </a:lnTo>
                <a:lnTo>
                  <a:pt x="156" y="186"/>
                </a:lnTo>
                <a:lnTo>
                  <a:pt x="156" y="186"/>
                </a:lnTo>
                <a:lnTo>
                  <a:pt x="156" y="180"/>
                </a:lnTo>
                <a:lnTo>
                  <a:pt x="150" y="186"/>
                </a:lnTo>
                <a:lnTo>
                  <a:pt x="150" y="186"/>
                </a:lnTo>
                <a:lnTo>
                  <a:pt x="150" y="186"/>
                </a:lnTo>
                <a:lnTo>
                  <a:pt x="144" y="186"/>
                </a:lnTo>
                <a:lnTo>
                  <a:pt x="144" y="186"/>
                </a:lnTo>
                <a:lnTo>
                  <a:pt x="144" y="186"/>
                </a:lnTo>
                <a:lnTo>
                  <a:pt x="144" y="192"/>
                </a:lnTo>
                <a:lnTo>
                  <a:pt x="144" y="186"/>
                </a:lnTo>
                <a:lnTo>
                  <a:pt x="144" y="186"/>
                </a:lnTo>
                <a:lnTo>
                  <a:pt x="144" y="192"/>
                </a:lnTo>
                <a:lnTo>
                  <a:pt x="144" y="192"/>
                </a:lnTo>
                <a:lnTo>
                  <a:pt x="144" y="186"/>
                </a:lnTo>
                <a:lnTo>
                  <a:pt x="138" y="186"/>
                </a:lnTo>
                <a:lnTo>
                  <a:pt x="138" y="186"/>
                </a:lnTo>
                <a:lnTo>
                  <a:pt x="138" y="186"/>
                </a:lnTo>
                <a:lnTo>
                  <a:pt x="138" y="186"/>
                </a:lnTo>
                <a:lnTo>
                  <a:pt x="132" y="186"/>
                </a:lnTo>
                <a:lnTo>
                  <a:pt x="132" y="186"/>
                </a:lnTo>
                <a:lnTo>
                  <a:pt x="132" y="192"/>
                </a:lnTo>
                <a:lnTo>
                  <a:pt x="126" y="192"/>
                </a:lnTo>
                <a:lnTo>
                  <a:pt x="126" y="192"/>
                </a:lnTo>
                <a:lnTo>
                  <a:pt x="126" y="192"/>
                </a:lnTo>
                <a:lnTo>
                  <a:pt x="120" y="192"/>
                </a:lnTo>
                <a:lnTo>
                  <a:pt x="120" y="192"/>
                </a:lnTo>
                <a:lnTo>
                  <a:pt x="114" y="192"/>
                </a:lnTo>
                <a:lnTo>
                  <a:pt x="114" y="192"/>
                </a:lnTo>
                <a:lnTo>
                  <a:pt x="114" y="192"/>
                </a:lnTo>
                <a:lnTo>
                  <a:pt x="114" y="192"/>
                </a:lnTo>
                <a:lnTo>
                  <a:pt x="108" y="192"/>
                </a:lnTo>
                <a:lnTo>
                  <a:pt x="108" y="192"/>
                </a:lnTo>
                <a:lnTo>
                  <a:pt x="108" y="192"/>
                </a:lnTo>
                <a:lnTo>
                  <a:pt x="108" y="192"/>
                </a:lnTo>
                <a:lnTo>
                  <a:pt x="108" y="192"/>
                </a:lnTo>
                <a:lnTo>
                  <a:pt x="102" y="192"/>
                </a:lnTo>
                <a:lnTo>
                  <a:pt x="102" y="198"/>
                </a:lnTo>
                <a:lnTo>
                  <a:pt x="102" y="198"/>
                </a:lnTo>
                <a:lnTo>
                  <a:pt x="102" y="216"/>
                </a:lnTo>
                <a:lnTo>
                  <a:pt x="102" y="240"/>
                </a:lnTo>
                <a:lnTo>
                  <a:pt x="102" y="240"/>
                </a:lnTo>
                <a:lnTo>
                  <a:pt x="102" y="240"/>
                </a:lnTo>
                <a:lnTo>
                  <a:pt x="102" y="252"/>
                </a:lnTo>
                <a:lnTo>
                  <a:pt x="96" y="276"/>
                </a:lnTo>
                <a:lnTo>
                  <a:pt x="96" y="276"/>
                </a:lnTo>
                <a:lnTo>
                  <a:pt x="102" y="276"/>
                </a:lnTo>
                <a:lnTo>
                  <a:pt x="102" y="276"/>
                </a:lnTo>
                <a:lnTo>
                  <a:pt x="102" y="276"/>
                </a:lnTo>
                <a:lnTo>
                  <a:pt x="102" y="276"/>
                </a:lnTo>
                <a:lnTo>
                  <a:pt x="102" y="276"/>
                </a:lnTo>
                <a:lnTo>
                  <a:pt x="96" y="282"/>
                </a:lnTo>
                <a:lnTo>
                  <a:pt x="96" y="282"/>
                </a:lnTo>
                <a:lnTo>
                  <a:pt x="96" y="282"/>
                </a:lnTo>
                <a:lnTo>
                  <a:pt x="90" y="288"/>
                </a:lnTo>
                <a:lnTo>
                  <a:pt x="90" y="288"/>
                </a:lnTo>
                <a:lnTo>
                  <a:pt x="90" y="294"/>
                </a:lnTo>
                <a:lnTo>
                  <a:pt x="90" y="294"/>
                </a:lnTo>
                <a:lnTo>
                  <a:pt x="90" y="294"/>
                </a:lnTo>
                <a:lnTo>
                  <a:pt x="90" y="294"/>
                </a:lnTo>
                <a:lnTo>
                  <a:pt x="96" y="294"/>
                </a:lnTo>
                <a:lnTo>
                  <a:pt x="96" y="300"/>
                </a:lnTo>
                <a:lnTo>
                  <a:pt x="96" y="300"/>
                </a:lnTo>
                <a:lnTo>
                  <a:pt x="96" y="300"/>
                </a:lnTo>
                <a:lnTo>
                  <a:pt x="96" y="300"/>
                </a:lnTo>
                <a:lnTo>
                  <a:pt x="96" y="306"/>
                </a:lnTo>
                <a:lnTo>
                  <a:pt x="96" y="306"/>
                </a:lnTo>
                <a:lnTo>
                  <a:pt x="96" y="306"/>
                </a:lnTo>
                <a:lnTo>
                  <a:pt x="96" y="306"/>
                </a:lnTo>
                <a:lnTo>
                  <a:pt x="96" y="312"/>
                </a:lnTo>
                <a:lnTo>
                  <a:pt x="96" y="312"/>
                </a:lnTo>
                <a:lnTo>
                  <a:pt x="96" y="312"/>
                </a:lnTo>
                <a:lnTo>
                  <a:pt x="96" y="318"/>
                </a:lnTo>
                <a:lnTo>
                  <a:pt x="102" y="318"/>
                </a:lnTo>
                <a:lnTo>
                  <a:pt x="102" y="324"/>
                </a:lnTo>
                <a:lnTo>
                  <a:pt x="102" y="324"/>
                </a:lnTo>
                <a:lnTo>
                  <a:pt x="102" y="324"/>
                </a:lnTo>
                <a:lnTo>
                  <a:pt x="102" y="324"/>
                </a:lnTo>
                <a:lnTo>
                  <a:pt x="102" y="324"/>
                </a:lnTo>
                <a:lnTo>
                  <a:pt x="96" y="324"/>
                </a:lnTo>
                <a:lnTo>
                  <a:pt x="96" y="324"/>
                </a:lnTo>
                <a:lnTo>
                  <a:pt x="96" y="324"/>
                </a:lnTo>
                <a:lnTo>
                  <a:pt x="96" y="330"/>
                </a:lnTo>
                <a:lnTo>
                  <a:pt x="96" y="330"/>
                </a:lnTo>
                <a:lnTo>
                  <a:pt x="96" y="330"/>
                </a:lnTo>
                <a:lnTo>
                  <a:pt x="90" y="330"/>
                </a:lnTo>
                <a:lnTo>
                  <a:pt x="90" y="330"/>
                </a:lnTo>
                <a:lnTo>
                  <a:pt x="90" y="330"/>
                </a:lnTo>
                <a:lnTo>
                  <a:pt x="90" y="330"/>
                </a:lnTo>
                <a:lnTo>
                  <a:pt x="90" y="330"/>
                </a:lnTo>
                <a:lnTo>
                  <a:pt x="90" y="330"/>
                </a:lnTo>
                <a:lnTo>
                  <a:pt x="90" y="330"/>
                </a:lnTo>
                <a:lnTo>
                  <a:pt x="84" y="330"/>
                </a:lnTo>
                <a:lnTo>
                  <a:pt x="84" y="330"/>
                </a:lnTo>
                <a:lnTo>
                  <a:pt x="84" y="330"/>
                </a:lnTo>
                <a:lnTo>
                  <a:pt x="78" y="330"/>
                </a:lnTo>
                <a:lnTo>
                  <a:pt x="78" y="330"/>
                </a:lnTo>
                <a:lnTo>
                  <a:pt x="78" y="330"/>
                </a:lnTo>
                <a:lnTo>
                  <a:pt x="78" y="330"/>
                </a:lnTo>
                <a:lnTo>
                  <a:pt x="78" y="330"/>
                </a:lnTo>
                <a:lnTo>
                  <a:pt x="78" y="330"/>
                </a:lnTo>
                <a:lnTo>
                  <a:pt x="78" y="330"/>
                </a:lnTo>
                <a:lnTo>
                  <a:pt x="78" y="330"/>
                </a:lnTo>
                <a:lnTo>
                  <a:pt x="72" y="330"/>
                </a:lnTo>
                <a:lnTo>
                  <a:pt x="72" y="330"/>
                </a:lnTo>
                <a:lnTo>
                  <a:pt x="72" y="330"/>
                </a:lnTo>
                <a:lnTo>
                  <a:pt x="72" y="324"/>
                </a:lnTo>
                <a:lnTo>
                  <a:pt x="66" y="330"/>
                </a:lnTo>
                <a:lnTo>
                  <a:pt x="66" y="324"/>
                </a:lnTo>
                <a:lnTo>
                  <a:pt x="66" y="324"/>
                </a:lnTo>
                <a:lnTo>
                  <a:pt x="66" y="324"/>
                </a:lnTo>
                <a:lnTo>
                  <a:pt x="60" y="324"/>
                </a:lnTo>
                <a:lnTo>
                  <a:pt x="60" y="324"/>
                </a:lnTo>
                <a:lnTo>
                  <a:pt x="60" y="324"/>
                </a:lnTo>
                <a:lnTo>
                  <a:pt x="60" y="324"/>
                </a:lnTo>
                <a:lnTo>
                  <a:pt x="60" y="324"/>
                </a:lnTo>
                <a:lnTo>
                  <a:pt x="60" y="324"/>
                </a:lnTo>
                <a:lnTo>
                  <a:pt x="60" y="324"/>
                </a:lnTo>
                <a:lnTo>
                  <a:pt x="54" y="324"/>
                </a:lnTo>
                <a:lnTo>
                  <a:pt x="54" y="324"/>
                </a:lnTo>
                <a:lnTo>
                  <a:pt x="54" y="324"/>
                </a:lnTo>
                <a:lnTo>
                  <a:pt x="54" y="324"/>
                </a:lnTo>
                <a:lnTo>
                  <a:pt x="54" y="324"/>
                </a:lnTo>
                <a:lnTo>
                  <a:pt x="48" y="324"/>
                </a:lnTo>
                <a:lnTo>
                  <a:pt x="48" y="324"/>
                </a:lnTo>
                <a:lnTo>
                  <a:pt x="48" y="318"/>
                </a:lnTo>
                <a:lnTo>
                  <a:pt x="48" y="318"/>
                </a:lnTo>
                <a:lnTo>
                  <a:pt x="48" y="318"/>
                </a:lnTo>
                <a:lnTo>
                  <a:pt x="48" y="318"/>
                </a:lnTo>
                <a:lnTo>
                  <a:pt x="48" y="312"/>
                </a:lnTo>
                <a:lnTo>
                  <a:pt x="42" y="312"/>
                </a:lnTo>
                <a:lnTo>
                  <a:pt x="42" y="312"/>
                </a:lnTo>
                <a:lnTo>
                  <a:pt x="42" y="312"/>
                </a:lnTo>
                <a:lnTo>
                  <a:pt x="42" y="312"/>
                </a:lnTo>
                <a:lnTo>
                  <a:pt x="42" y="306"/>
                </a:lnTo>
                <a:lnTo>
                  <a:pt x="36" y="306"/>
                </a:lnTo>
                <a:lnTo>
                  <a:pt x="36" y="306"/>
                </a:lnTo>
                <a:lnTo>
                  <a:pt x="36" y="306"/>
                </a:lnTo>
                <a:lnTo>
                  <a:pt x="36" y="306"/>
                </a:lnTo>
                <a:lnTo>
                  <a:pt x="30" y="306"/>
                </a:lnTo>
                <a:lnTo>
                  <a:pt x="30" y="306"/>
                </a:lnTo>
                <a:lnTo>
                  <a:pt x="24" y="306"/>
                </a:lnTo>
                <a:lnTo>
                  <a:pt x="24" y="306"/>
                </a:lnTo>
                <a:lnTo>
                  <a:pt x="24" y="306"/>
                </a:lnTo>
                <a:lnTo>
                  <a:pt x="24" y="306"/>
                </a:lnTo>
                <a:lnTo>
                  <a:pt x="24" y="306"/>
                </a:lnTo>
                <a:lnTo>
                  <a:pt x="18" y="306"/>
                </a:lnTo>
                <a:lnTo>
                  <a:pt x="18" y="306"/>
                </a:lnTo>
                <a:lnTo>
                  <a:pt x="18" y="306"/>
                </a:lnTo>
                <a:lnTo>
                  <a:pt x="18" y="306"/>
                </a:lnTo>
                <a:lnTo>
                  <a:pt x="18" y="300"/>
                </a:lnTo>
                <a:lnTo>
                  <a:pt x="18" y="300"/>
                </a:lnTo>
                <a:lnTo>
                  <a:pt x="12" y="300"/>
                </a:lnTo>
                <a:lnTo>
                  <a:pt x="12" y="300"/>
                </a:lnTo>
                <a:lnTo>
                  <a:pt x="12" y="300"/>
                </a:lnTo>
                <a:lnTo>
                  <a:pt x="12" y="306"/>
                </a:lnTo>
                <a:lnTo>
                  <a:pt x="6" y="306"/>
                </a:lnTo>
                <a:lnTo>
                  <a:pt x="6" y="306"/>
                </a:lnTo>
                <a:lnTo>
                  <a:pt x="6" y="306"/>
                </a:lnTo>
                <a:lnTo>
                  <a:pt x="6" y="306"/>
                </a:lnTo>
                <a:lnTo>
                  <a:pt x="0" y="306"/>
                </a:lnTo>
                <a:lnTo>
                  <a:pt x="0" y="306"/>
                </a:lnTo>
                <a:lnTo>
                  <a:pt x="0" y="30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20" name="Freeform 53"/>
          <p:cNvSpPr>
            <a:spLocks/>
          </p:cNvSpPr>
          <p:nvPr/>
        </p:nvSpPr>
        <p:spPr bwMode="auto">
          <a:xfrm>
            <a:off x="6434291" y="794474"/>
            <a:ext cx="295506" cy="179875"/>
          </a:xfrm>
          <a:custGeom>
            <a:avLst/>
            <a:gdLst>
              <a:gd name="T0" fmla="*/ 6 w 276"/>
              <a:gd name="T1" fmla="*/ 108 h 168"/>
              <a:gd name="T2" fmla="*/ 12 w 276"/>
              <a:gd name="T3" fmla="*/ 102 h 168"/>
              <a:gd name="T4" fmla="*/ 12 w 276"/>
              <a:gd name="T5" fmla="*/ 102 h 168"/>
              <a:gd name="T6" fmla="*/ 18 w 276"/>
              <a:gd name="T7" fmla="*/ 90 h 168"/>
              <a:gd name="T8" fmla="*/ 30 w 276"/>
              <a:gd name="T9" fmla="*/ 84 h 168"/>
              <a:gd name="T10" fmla="*/ 36 w 276"/>
              <a:gd name="T11" fmla="*/ 78 h 168"/>
              <a:gd name="T12" fmla="*/ 36 w 276"/>
              <a:gd name="T13" fmla="*/ 66 h 168"/>
              <a:gd name="T14" fmla="*/ 42 w 276"/>
              <a:gd name="T15" fmla="*/ 48 h 168"/>
              <a:gd name="T16" fmla="*/ 42 w 276"/>
              <a:gd name="T17" fmla="*/ 36 h 168"/>
              <a:gd name="T18" fmla="*/ 54 w 276"/>
              <a:gd name="T19" fmla="*/ 24 h 168"/>
              <a:gd name="T20" fmla="*/ 54 w 276"/>
              <a:gd name="T21" fmla="*/ 12 h 168"/>
              <a:gd name="T22" fmla="*/ 66 w 276"/>
              <a:gd name="T23" fmla="*/ 24 h 168"/>
              <a:gd name="T24" fmla="*/ 72 w 276"/>
              <a:gd name="T25" fmla="*/ 18 h 168"/>
              <a:gd name="T26" fmla="*/ 84 w 276"/>
              <a:gd name="T27" fmla="*/ 24 h 168"/>
              <a:gd name="T28" fmla="*/ 96 w 276"/>
              <a:gd name="T29" fmla="*/ 12 h 168"/>
              <a:gd name="T30" fmla="*/ 102 w 276"/>
              <a:gd name="T31" fmla="*/ 12 h 168"/>
              <a:gd name="T32" fmla="*/ 114 w 276"/>
              <a:gd name="T33" fmla="*/ 6 h 168"/>
              <a:gd name="T34" fmla="*/ 120 w 276"/>
              <a:gd name="T35" fmla="*/ 6 h 168"/>
              <a:gd name="T36" fmla="*/ 126 w 276"/>
              <a:gd name="T37" fmla="*/ 6 h 168"/>
              <a:gd name="T38" fmla="*/ 132 w 276"/>
              <a:gd name="T39" fmla="*/ 6 h 168"/>
              <a:gd name="T40" fmla="*/ 138 w 276"/>
              <a:gd name="T41" fmla="*/ 6 h 168"/>
              <a:gd name="T42" fmla="*/ 144 w 276"/>
              <a:gd name="T43" fmla="*/ 6 h 168"/>
              <a:gd name="T44" fmla="*/ 144 w 276"/>
              <a:gd name="T45" fmla="*/ 6 h 168"/>
              <a:gd name="T46" fmla="*/ 150 w 276"/>
              <a:gd name="T47" fmla="*/ 6 h 168"/>
              <a:gd name="T48" fmla="*/ 156 w 276"/>
              <a:gd name="T49" fmla="*/ 6 h 168"/>
              <a:gd name="T50" fmla="*/ 162 w 276"/>
              <a:gd name="T51" fmla="*/ 12 h 168"/>
              <a:gd name="T52" fmla="*/ 174 w 276"/>
              <a:gd name="T53" fmla="*/ 6 h 168"/>
              <a:gd name="T54" fmla="*/ 204 w 276"/>
              <a:gd name="T55" fmla="*/ 0 h 168"/>
              <a:gd name="T56" fmla="*/ 210 w 276"/>
              <a:gd name="T57" fmla="*/ 12 h 168"/>
              <a:gd name="T58" fmla="*/ 210 w 276"/>
              <a:gd name="T59" fmla="*/ 18 h 168"/>
              <a:gd name="T60" fmla="*/ 216 w 276"/>
              <a:gd name="T61" fmla="*/ 24 h 168"/>
              <a:gd name="T62" fmla="*/ 240 w 276"/>
              <a:gd name="T63" fmla="*/ 54 h 168"/>
              <a:gd name="T64" fmla="*/ 270 w 276"/>
              <a:gd name="T65" fmla="*/ 66 h 168"/>
              <a:gd name="T66" fmla="*/ 270 w 276"/>
              <a:gd name="T67" fmla="*/ 78 h 168"/>
              <a:gd name="T68" fmla="*/ 276 w 276"/>
              <a:gd name="T69" fmla="*/ 108 h 168"/>
              <a:gd name="T70" fmla="*/ 252 w 276"/>
              <a:gd name="T71" fmla="*/ 132 h 168"/>
              <a:gd name="T72" fmla="*/ 240 w 276"/>
              <a:gd name="T73" fmla="*/ 114 h 168"/>
              <a:gd name="T74" fmla="*/ 222 w 276"/>
              <a:gd name="T75" fmla="*/ 114 h 168"/>
              <a:gd name="T76" fmla="*/ 222 w 276"/>
              <a:gd name="T77" fmla="*/ 132 h 168"/>
              <a:gd name="T78" fmla="*/ 204 w 276"/>
              <a:gd name="T79" fmla="*/ 132 h 168"/>
              <a:gd name="T80" fmla="*/ 198 w 276"/>
              <a:gd name="T81" fmla="*/ 144 h 168"/>
              <a:gd name="T82" fmla="*/ 186 w 276"/>
              <a:gd name="T83" fmla="*/ 144 h 168"/>
              <a:gd name="T84" fmla="*/ 180 w 276"/>
              <a:gd name="T85" fmla="*/ 150 h 168"/>
              <a:gd name="T86" fmla="*/ 174 w 276"/>
              <a:gd name="T87" fmla="*/ 156 h 168"/>
              <a:gd name="T88" fmla="*/ 162 w 276"/>
              <a:gd name="T89" fmla="*/ 150 h 168"/>
              <a:gd name="T90" fmla="*/ 150 w 276"/>
              <a:gd name="T91" fmla="*/ 162 h 168"/>
              <a:gd name="T92" fmla="*/ 138 w 276"/>
              <a:gd name="T93" fmla="*/ 156 h 168"/>
              <a:gd name="T94" fmla="*/ 132 w 276"/>
              <a:gd name="T95" fmla="*/ 162 h 168"/>
              <a:gd name="T96" fmla="*/ 126 w 276"/>
              <a:gd name="T97" fmla="*/ 162 h 168"/>
              <a:gd name="T98" fmla="*/ 126 w 276"/>
              <a:gd name="T99" fmla="*/ 162 h 168"/>
              <a:gd name="T100" fmla="*/ 120 w 276"/>
              <a:gd name="T101" fmla="*/ 156 h 168"/>
              <a:gd name="T102" fmla="*/ 108 w 276"/>
              <a:gd name="T103" fmla="*/ 156 h 168"/>
              <a:gd name="T104" fmla="*/ 102 w 276"/>
              <a:gd name="T105" fmla="*/ 156 h 168"/>
              <a:gd name="T106" fmla="*/ 96 w 276"/>
              <a:gd name="T107" fmla="*/ 162 h 168"/>
              <a:gd name="T108" fmla="*/ 90 w 276"/>
              <a:gd name="T109" fmla="*/ 162 h 168"/>
              <a:gd name="T110" fmla="*/ 78 w 276"/>
              <a:gd name="T111" fmla="*/ 162 h 168"/>
              <a:gd name="T112" fmla="*/ 72 w 276"/>
              <a:gd name="T113" fmla="*/ 156 h 168"/>
              <a:gd name="T114" fmla="*/ 66 w 276"/>
              <a:gd name="T115" fmla="*/ 144 h 168"/>
              <a:gd name="T116" fmla="*/ 72 w 276"/>
              <a:gd name="T117" fmla="*/ 138 h 168"/>
              <a:gd name="T118" fmla="*/ 72 w 276"/>
              <a:gd name="T119" fmla="*/ 126 h 168"/>
              <a:gd name="T120" fmla="*/ 78 w 276"/>
              <a:gd name="T121" fmla="*/ 120 h 168"/>
              <a:gd name="T122" fmla="*/ 78 w 276"/>
              <a:gd name="T123" fmla="*/ 114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76" h="168">
                <a:moveTo>
                  <a:pt x="0" y="114"/>
                </a:moveTo>
                <a:lnTo>
                  <a:pt x="0" y="114"/>
                </a:lnTo>
                <a:lnTo>
                  <a:pt x="0" y="108"/>
                </a:lnTo>
                <a:lnTo>
                  <a:pt x="0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12" y="108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0"/>
                </a:lnTo>
                <a:lnTo>
                  <a:pt x="24" y="90"/>
                </a:lnTo>
                <a:lnTo>
                  <a:pt x="24" y="90"/>
                </a:lnTo>
                <a:lnTo>
                  <a:pt x="24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78"/>
                </a:lnTo>
                <a:lnTo>
                  <a:pt x="30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0"/>
                </a:lnTo>
                <a:lnTo>
                  <a:pt x="36" y="60"/>
                </a:lnTo>
                <a:lnTo>
                  <a:pt x="42" y="54"/>
                </a:lnTo>
                <a:lnTo>
                  <a:pt x="42" y="54"/>
                </a:lnTo>
                <a:lnTo>
                  <a:pt x="42" y="48"/>
                </a:lnTo>
                <a:lnTo>
                  <a:pt x="42" y="48"/>
                </a:lnTo>
                <a:lnTo>
                  <a:pt x="42" y="42"/>
                </a:lnTo>
                <a:lnTo>
                  <a:pt x="42" y="42"/>
                </a:lnTo>
                <a:lnTo>
                  <a:pt x="48" y="36"/>
                </a:lnTo>
                <a:lnTo>
                  <a:pt x="42" y="36"/>
                </a:lnTo>
                <a:lnTo>
                  <a:pt x="42" y="36"/>
                </a:lnTo>
                <a:lnTo>
                  <a:pt x="42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24"/>
                </a:lnTo>
                <a:lnTo>
                  <a:pt x="54" y="24"/>
                </a:lnTo>
                <a:lnTo>
                  <a:pt x="48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60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18"/>
                </a:lnTo>
                <a:lnTo>
                  <a:pt x="66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8" y="12"/>
                </a:lnTo>
                <a:lnTo>
                  <a:pt x="108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50" y="6"/>
                </a:lnTo>
                <a:lnTo>
                  <a:pt x="150" y="6"/>
                </a:lnTo>
                <a:lnTo>
                  <a:pt x="150" y="12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6" y="6"/>
                </a:lnTo>
                <a:lnTo>
                  <a:pt x="150" y="6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6"/>
                </a:lnTo>
                <a:lnTo>
                  <a:pt x="162" y="6"/>
                </a:lnTo>
                <a:lnTo>
                  <a:pt x="168" y="12"/>
                </a:lnTo>
                <a:lnTo>
                  <a:pt x="168" y="12"/>
                </a:lnTo>
                <a:lnTo>
                  <a:pt x="174" y="6"/>
                </a:lnTo>
                <a:lnTo>
                  <a:pt x="180" y="6"/>
                </a:lnTo>
                <a:lnTo>
                  <a:pt x="186" y="0"/>
                </a:lnTo>
                <a:lnTo>
                  <a:pt x="192" y="0"/>
                </a:lnTo>
                <a:lnTo>
                  <a:pt x="198" y="0"/>
                </a:lnTo>
                <a:lnTo>
                  <a:pt x="198" y="0"/>
                </a:lnTo>
                <a:lnTo>
                  <a:pt x="204" y="0"/>
                </a:lnTo>
                <a:lnTo>
                  <a:pt x="204" y="0"/>
                </a:lnTo>
                <a:lnTo>
                  <a:pt x="204" y="0"/>
                </a:lnTo>
                <a:lnTo>
                  <a:pt x="204" y="6"/>
                </a:lnTo>
                <a:lnTo>
                  <a:pt x="204" y="6"/>
                </a:lnTo>
                <a:lnTo>
                  <a:pt x="210" y="12"/>
                </a:lnTo>
                <a:lnTo>
                  <a:pt x="210" y="12"/>
                </a:lnTo>
                <a:lnTo>
                  <a:pt x="210" y="12"/>
                </a:lnTo>
                <a:lnTo>
                  <a:pt x="210" y="12"/>
                </a:lnTo>
                <a:lnTo>
                  <a:pt x="210" y="12"/>
                </a:lnTo>
                <a:lnTo>
                  <a:pt x="216" y="18"/>
                </a:lnTo>
                <a:lnTo>
                  <a:pt x="216" y="18"/>
                </a:lnTo>
                <a:lnTo>
                  <a:pt x="210" y="18"/>
                </a:lnTo>
                <a:lnTo>
                  <a:pt x="216" y="18"/>
                </a:lnTo>
                <a:lnTo>
                  <a:pt x="216" y="18"/>
                </a:lnTo>
                <a:lnTo>
                  <a:pt x="216" y="18"/>
                </a:lnTo>
                <a:lnTo>
                  <a:pt x="216" y="24"/>
                </a:lnTo>
                <a:lnTo>
                  <a:pt x="216" y="24"/>
                </a:lnTo>
                <a:lnTo>
                  <a:pt x="216" y="24"/>
                </a:lnTo>
                <a:lnTo>
                  <a:pt x="216" y="30"/>
                </a:lnTo>
                <a:lnTo>
                  <a:pt x="222" y="30"/>
                </a:lnTo>
                <a:lnTo>
                  <a:pt x="222" y="30"/>
                </a:lnTo>
                <a:lnTo>
                  <a:pt x="222" y="42"/>
                </a:lnTo>
                <a:lnTo>
                  <a:pt x="228" y="54"/>
                </a:lnTo>
                <a:lnTo>
                  <a:pt x="240" y="54"/>
                </a:lnTo>
                <a:lnTo>
                  <a:pt x="246" y="54"/>
                </a:lnTo>
                <a:lnTo>
                  <a:pt x="246" y="54"/>
                </a:lnTo>
                <a:lnTo>
                  <a:pt x="252" y="54"/>
                </a:lnTo>
                <a:lnTo>
                  <a:pt x="252" y="54"/>
                </a:lnTo>
                <a:lnTo>
                  <a:pt x="258" y="60"/>
                </a:lnTo>
                <a:lnTo>
                  <a:pt x="270" y="66"/>
                </a:lnTo>
                <a:lnTo>
                  <a:pt x="270" y="66"/>
                </a:lnTo>
                <a:lnTo>
                  <a:pt x="270" y="66"/>
                </a:lnTo>
                <a:lnTo>
                  <a:pt x="270" y="72"/>
                </a:lnTo>
                <a:lnTo>
                  <a:pt x="270" y="72"/>
                </a:lnTo>
                <a:lnTo>
                  <a:pt x="270" y="72"/>
                </a:lnTo>
                <a:lnTo>
                  <a:pt x="270" y="78"/>
                </a:lnTo>
                <a:lnTo>
                  <a:pt x="276" y="84"/>
                </a:lnTo>
                <a:lnTo>
                  <a:pt x="276" y="96"/>
                </a:lnTo>
                <a:lnTo>
                  <a:pt x="276" y="96"/>
                </a:lnTo>
                <a:lnTo>
                  <a:pt x="276" y="96"/>
                </a:lnTo>
                <a:lnTo>
                  <a:pt x="276" y="102"/>
                </a:lnTo>
                <a:lnTo>
                  <a:pt x="276" y="108"/>
                </a:lnTo>
                <a:lnTo>
                  <a:pt x="270" y="114"/>
                </a:lnTo>
                <a:lnTo>
                  <a:pt x="270" y="120"/>
                </a:lnTo>
                <a:lnTo>
                  <a:pt x="270" y="120"/>
                </a:lnTo>
                <a:lnTo>
                  <a:pt x="264" y="126"/>
                </a:lnTo>
                <a:lnTo>
                  <a:pt x="264" y="126"/>
                </a:lnTo>
                <a:lnTo>
                  <a:pt x="252" y="132"/>
                </a:lnTo>
                <a:lnTo>
                  <a:pt x="246" y="132"/>
                </a:lnTo>
                <a:lnTo>
                  <a:pt x="240" y="132"/>
                </a:lnTo>
                <a:lnTo>
                  <a:pt x="240" y="126"/>
                </a:lnTo>
                <a:lnTo>
                  <a:pt x="240" y="126"/>
                </a:lnTo>
                <a:lnTo>
                  <a:pt x="240" y="120"/>
                </a:lnTo>
                <a:lnTo>
                  <a:pt x="240" y="114"/>
                </a:lnTo>
                <a:lnTo>
                  <a:pt x="240" y="114"/>
                </a:lnTo>
                <a:lnTo>
                  <a:pt x="240" y="114"/>
                </a:lnTo>
                <a:lnTo>
                  <a:pt x="240" y="114"/>
                </a:lnTo>
                <a:lnTo>
                  <a:pt x="234" y="114"/>
                </a:lnTo>
                <a:lnTo>
                  <a:pt x="228" y="114"/>
                </a:lnTo>
                <a:lnTo>
                  <a:pt x="222" y="114"/>
                </a:lnTo>
                <a:lnTo>
                  <a:pt x="222" y="120"/>
                </a:lnTo>
                <a:lnTo>
                  <a:pt x="222" y="120"/>
                </a:lnTo>
                <a:lnTo>
                  <a:pt x="222" y="126"/>
                </a:lnTo>
                <a:lnTo>
                  <a:pt x="222" y="126"/>
                </a:lnTo>
                <a:lnTo>
                  <a:pt x="222" y="132"/>
                </a:lnTo>
                <a:lnTo>
                  <a:pt x="222" y="132"/>
                </a:lnTo>
                <a:lnTo>
                  <a:pt x="222" y="132"/>
                </a:lnTo>
                <a:lnTo>
                  <a:pt x="216" y="138"/>
                </a:lnTo>
                <a:lnTo>
                  <a:pt x="216" y="138"/>
                </a:lnTo>
                <a:lnTo>
                  <a:pt x="210" y="138"/>
                </a:lnTo>
                <a:lnTo>
                  <a:pt x="210" y="132"/>
                </a:lnTo>
                <a:lnTo>
                  <a:pt x="204" y="132"/>
                </a:lnTo>
                <a:lnTo>
                  <a:pt x="204" y="138"/>
                </a:lnTo>
                <a:lnTo>
                  <a:pt x="198" y="138"/>
                </a:lnTo>
                <a:lnTo>
                  <a:pt x="198" y="138"/>
                </a:lnTo>
                <a:lnTo>
                  <a:pt x="198" y="144"/>
                </a:lnTo>
                <a:lnTo>
                  <a:pt x="198" y="144"/>
                </a:lnTo>
                <a:lnTo>
                  <a:pt x="198" y="144"/>
                </a:lnTo>
                <a:lnTo>
                  <a:pt x="198" y="150"/>
                </a:lnTo>
                <a:lnTo>
                  <a:pt x="192" y="156"/>
                </a:lnTo>
                <a:lnTo>
                  <a:pt x="192" y="156"/>
                </a:lnTo>
                <a:lnTo>
                  <a:pt x="192" y="150"/>
                </a:lnTo>
                <a:lnTo>
                  <a:pt x="192" y="150"/>
                </a:lnTo>
                <a:lnTo>
                  <a:pt x="186" y="144"/>
                </a:lnTo>
                <a:lnTo>
                  <a:pt x="186" y="144"/>
                </a:lnTo>
                <a:lnTo>
                  <a:pt x="186" y="150"/>
                </a:lnTo>
                <a:lnTo>
                  <a:pt x="186" y="150"/>
                </a:lnTo>
                <a:lnTo>
                  <a:pt x="180" y="144"/>
                </a:lnTo>
                <a:lnTo>
                  <a:pt x="180" y="144"/>
                </a:lnTo>
                <a:lnTo>
                  <a:pt x="180" y="150"/>
                </a:lnTo>
                <a:lnTo>
                  <a:pt x="174" y="150"/>
                </a:lnTo>
                <a:lnTo>
                  <a:pt x="180" y="150"/>
                </a:lnTo>
                <a:lnTo>
                  <a:pt x="180" y="156"/>
                </a:lnTo>
                <a:lnTo>
                  <a:pt x="180" y="156"/>
                </a:lnTo>
                <a:lnTo>
                  <a:pt x="174" y="156"/>
                </a:lnTo>
                <a:lnTo>
                  <a:pt x="174" y="156"/>
                </a:lnTo>
                <a:lnTo>
                  <a:pt x="174" y="156"/>
                </a:lnTo>
                <a:lnTo>
                  <a:pt x="174" y="150"/>
                </a:lnTo>
                <a:lnTo>
                  <a:pt x="174" y="150"/>
                </a:lnTo>
                <a:lnTo>
                  <a:pt x="168" y="150"/>
                </a:lnTo>
                <a:lnTo>
                  <a:pt x="168" y="156"/>
                </a:lnTo>
                <a:lnTo>
                  <a:pt x="162" y="150"/>
                </a:lnTo>
                <a:lnTo>
                  <a:pt x="156" y="156"/>
                </a:lnTo>
                <a:lnTo>
                  <a:pt x="156" y="156"/>
                </a:lnTo>
                <a:lnTo>
                  <a:pt x="156" y="156"/>
                </a:lnTo>
                <a:lnTo>
                  <a:pt x="156" y="156"/>
                </a:lnTo>
                <a:lnTo>
                  <a:pt x="156" y="162"/>
                </a:lnTo>
                <a:lnTo>
                  <a:pt x="150" y="162"/>
                </a:lnTo>
                <a:lnTo>
                  <a:pt x="150" y="162"/>
                </a:lnTo>
                <a:lnTo>
                  <a:pt x="144" y="162"/>
                </a:lnTo>
                <a:lnTo>
                  <a:pt x="144" y="162"/>
                </a:lnTo>
                <a:lnTo>
                  <a:pt x="144" y="162"/>
                </a:lnTo>
                <a:lnTo>
                  <a:pt x="144" y="156"/>
                </a:lnTo>
                <a:lnTo>
                  <a:pt x="138" y="156"/>
                </a:lnTo>
                <a:lnTo>
                  <a:pt x="138" y="156"/>
                </a:lnTo>
                <a:lnTo>
                  <a:pt x="132" y="162"/>
                </a:lnTo>
                <a:lnTo>
                  <a:pt x="132" y="162"/>
                </a:lnTo>
                <a:lnTo>
                  <a:pt x="132" y="162"/>
                </a:lnTo>
                <a:lnTo>
                  <a:pt x="132" y="162"/>
                </a:lnTo>
                <a:lnTo>
                  <a:pt x="132" y="162"/>
                </a:lnTo>
                <a:lnTo>
                  <a:pt x="132" y="168"/>
                </a:lnTo>
                <a:lnTo>
                  <a:pt x="132" y="168"/>
                </a:lnTo>
                <a:lnTo>
                  <a:pt x="132" y="162"/>
                </a:lnTo>
                <a:lnTo>
                  <a:pt x="126" y="162"/>
                </a:lnTo>
                <a:lnTo>
                  <a:pt x="126" y="162"/>
                </a:lnTo>
                <a:lnTo>
                  <a:pt x="126" y="162"/>
                </a:lnTo>
                <a:lnTo>
                  <a:pt x="126" y="162"/>
                </a:lnTo>
                <a:lnTo>
                  <a:pt x="126" y="162"/>
                </a:lnTo>
                <a:lnTo>
                  <a:pt x="126" y="162"/>
                </a:lnTo>
                <a:lnTo>
                  <a:pt x="126" y="162"/>
                </a:lnTo>
                <a:lnTo>
                  <a:pt x="126" y="162"/>
                </a:lnTo>
                <a:lnTo>
                  <a:pt x="126" y="162"/>
                </a:lnTo>
                <a:lnTo>
                  <a:pt x="126" y="156"/>
                </a:lnTo>
                <a:lnTo>
                  <a:pt x="126" y="156"/>
                </a:lnTo>
                <a:lnTo>
                  <a:pt x="126" y="156"/>
                </a:lnTo>
                <a:lnTo>
                  <a:pt x="126" y="156"/>
                </a:lnTo>
                <a:lnTo>
                  <a:pt x="120" y="156"/>
                </a:lnTo>
                <a:lnTo>
                  <a:pt x="120" y="156"/>
                </a:lnTo>
                <a:lnTo>
                  <a:pt x="120" y="156"/>
                </a:lnTo>
                <a:lnTo>
                  <a:pt x="114" y="156"/>
                </a:lnTo>
                <a:lnTo>
                  <a:pt x="114" y="156"/>
                </a:lnTo>
                <a:lnTo>
                  <a:pt x="114" y="156"/>
                </a:lnTo>
                <a:lnTo>
                  <a:pt x="108" y="156"/>
                </a:lnTo>
                <a:lnTo>
                  <a:pt x="108" y="156"/>
                </a:lnTo>
                <a:lnTo>
                  <a:pt x="108" y="150"/>
                </a:lnTo>
                <a:lnTo>
                  <a:pt x="108" y="150"/>
                </a:lnTo>
                <a:lnTo>
                  <a:pt x="108" y="156"/>
                </a:lnTo>
                <a:lnTo>
                  <a:pt x="102" y="156"/>
                </a:lnTo>
                <a:lnTo>
                  <a:pt x="102" y="156"/>
                </a:lnTo>
                <a:lnTo>
                  <a:pt x="102" y="156"/>
                </a:lnTo>
                <a:lnTo>
                  <a:pt x="102" y="156"/>
                </a:lnTo>
                <a:lnTo>
                  <a:pt x="102" y="162"/>
                </a:lnTo>
                <a:lnTo>
                  <a:pt x="102" y="162"/>
                </a:lnTo>
                <a:lnTo>
                  <a:pt x="96" y="162"/>
                </a:lnTo>
                <a:lnTo>
                  <a:pt x="96" y="162"/>
                </a:lnTo>
                <a:lnTo>
                  <a:pt x="96" y="162"/>
                </a:lnTo>
                <a:lnTo>
                  <a:pt x="96" y="162"/>
                </a:lnTo>
                <a:lnTo>
                  <a:pt x="96" y="162"/>
                </a:lnTo>
                <a:lnTo>
                  <a:pt x="96" y="162"/>
                </a:lnTo>
                <a:lnTo>
                  <a:pt x="90" y="162"/>
                </a:lnTo>
                <a:lnTo>
                  <a:pt x="90" y="162"/>
                </a:lnTo>
                <a:lnTo>
                  <a:pt x="90" y="162"/>
                </a:lnTo>
                <a:lnTo>
                  <a:pt x="84" y="162"/>
                </a:lnTo>
                <a:lnTo>
                  <a:pt x="84" y="162"/>
                </a:lnTo>
                <a:lnTo>
                  <a:pt x="84" y="162"/>
                </a:lnTo>
                <a:lnTo>
                  <a:pt x="84" y="162"/>
                </a:lnTo>
                <a:lnTo>
                  <a:pt x="84" y="162"/>
                </a:lnTo>
                <a:lnTo>
                  <a:pt x="78" y="162"/>
                </a:lnTo>
                <a:lnTo>
                  <a:pt x="78" y="162"/>
                </a:lnTo>
                <a:lnTo>
                  <a:pt x="78" y="162"/>
                </a:lnTo>
                <a:lnTo>
                  <a:pt x="78" y="162"/>
                </a:lnTo>
                <a:lnTo>
                  <a:pt x="78" y="162"/>
                </a:lnTo>
                <a:lnTo>
                  <a:pt x="72" y="156"/>
                </a:lnTo>
                <a:lnTo>
                  <a:pt x="72" y="156"/>
                </a:lnTo>
                <a:lnTo>
                  <a:pt x="78" y="150"/>
                </a:lnTo>
                <a:lnTo>
                  <a:pt x="78" y="150"/>
                </a:lnTo>
                <a:lnTo>
                  <a:pt x="72" y="150"/>
                </a:lnTo>
                <a:lnTo>
                  <a:pt x="72" y="150"/>
                </a:lnTo>
                <a:lnTo>
                  <a:pt x="66" y="144"/>
                </a:lnTo>
                <a:lnTo>
                  <a:pt x="66" y="144"/>
                </a:lnTo>
                <a:lnTo>
                  <a:pt x="72" y="144"/>
                </a:lnTo>
                <a:lnTo>
                  <a:pt x="72" y="144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14"/>
                </a:lnTo>
                <a:lnTo>
                  <a:pt x="0" y="114"/>
                </a:lnTo>
                <a:lnTo>
                  <a:pt x="0" y="11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21" name="Freeform 54"/>
          <p:cNvSpPr>
            <a:spLocks/>
          </p:cNvSpPr>
          <p:nvPr/>
        </p:nvSpPr>
        <p:spPr bwMode="auto">
          <a:xfrm>
            <a:off x="6254417" y="486118"/>
            <a:ext cx="359747" cy="430414"/>
          </a:xfrm>
          <a:custGeom>
            <a:avLst/>
            <a:gdLst>
              <a:gd name="T0" fmla="*/ 6 w 336"/>
              <a:gd name="T1" fmla="*/ 288 h 402"/>
              <a:gd name="T2" fmla="*/ 30 w 336"/>
              <a:gd name="T3" fmla="*/ 294 h 402"/>
              <a:gd name="T4" fmla="*/ 48 w 336"/>
              <a:gd name="T5" fmla="*/ 288 h 402"/>
              <a:gd name="T6" fmla="*/ 60 w 336"/>
              <a:gd name="T7" fmla="*/ 276 h 402"/>
              <a:gd name="T8" fmla="*/ 72 w 336"/>
              <a:gd name="T9" fmla="*/ 270 h 402"/>
              <a:gd name="T10" fmla="*/ 84 w 336"/>
              <a:gd name="T11" fmla="*/ 252 h 402"/>
              <a:gd name="T12" fmla="*/ 96 w 336"/>
              <a:gd name="T13" fmla="*/ 240 h 402"/>
              <a:gd name="T14" fmla="*/ 102 w 336"/>
              <a:gd name="T15" fmla="*/ 216 h 402"/>
              <a:gd name="T16" fmla="*/ 114 w 336"/>
              <a:gd name="T17" fmla="*/ 198 h 402"/>
              <a:gd name="T18" fmla="*/ 120 w 336"/>
              <a:gd name="T19" fmla="*/ 180 h 402"/>
              <a:gd name="T20" fmla="*/ 120 w 336"/>
              <a:gd name="T21" fmla="*/ 168 h 402"/>
              <a:gd name="T22" fmla="*/ 132 w 336"/>
              <a:gd name="T23" fmla="*/ 150 h 402"/>
              <a:gd name="T24" fmla="*/ 156 w 336"/>
              <a:gd name="T25" fmla="*/ 120 h 402"/>
              <a:gd name="T26" fmla="*/ 174 w 336"/>
              <a:gd name="T27" fmla="*/ 90 h 402"/>
              <a:gd name="T28" fmla="*/ 186 w 336"/>
              <a:gd name="T29" fmla="*/ 78 h 402"/>
              <a:gd name="T30" fmla="*/ 198 w 336"/>
              <a:gd name="T31" fmla="*/ 54 h 402"/>
              <a:gd name="T32" fmla="*/ 222 w 336"/>
              <a:gd name="T33" fmla="*/ 24 h 402"/>
              <a:gd name="T34" fmla="*/ 252 w 336"/>
              <a:gd name="T35" fmla="*/ 18 h 402"/>
              <a:gd name="T36" fmla="*/ 276 w 336"/>
              <a:gd name="T37" fmla="*/ 60 h 402"/>
              <a:gd name="T38" fmla="*/ 288 w 336"/>
              <a:gd name="T39" fmla="*/ 84 h 402"/>
              <a:gd name="T40" fmla="*/ 288 w 336"/>
              <a:gd name="T41" fmla="*/ 132 h 402"/>
              <a:gd name="T42" fmla="*/ 294 w 336"/>
              <a:gd name="T43" fmla="*/ 180 h 402"/>
              <a:gd name="T44" fmla="*/ 306 w 336"/>
              <a:gd name="T45" fmla="*/ 210 h 402"/>
              <a:gd name="T46" fmla="*/ 318 w 336"/>
              <a:gd name="T47" fmla="*/ 234 h 402"/>
              <a:gd name="T48" fmla="*/ 318 w 336"/>
              <a:gd name="T49" fmla="*/ 252 h 402"/>
              <a:gd name="T50" fmla="*/ 330 w 336"/>
              <a:gd name="T51" fmla="*/ 264 h 402"/>
              <a:gd name="T52" fmla="*/ 336 w 336"/>
              <a:gd name="T53" fmla="*/ 288 h 402"/>
              <a:gd name="T54" fmla="*/ 330 w 336"/>
              <a:gd name="T55" fmla="*/ 300 h 402"/>
              <a:gd name="T56" fmla="*/ 318 w 336"/>
              <a:gd name="T57" fmla="*/ 294 h 402"/>
              <a:gd name="T58" fmla="*/ 306 w 336"/>
              <a:gd name="T59" fmla="*/ 294 h 402"/>
              <a:gd name="T60" fmla="*/ 300 w 336"/>
              <a:gd name="T61" fmla="*/ 294 h 402"/>
              <a:gd name="T62" fmla="*/ 288 w 336"/>
              <a:gd name="T63" fmla="*/ 294 h 402"/>
              <a:gd name="T64" fmla="*/ 270 w 336"/>
              <a:gd name="T65" fmla="*/ 300 h 402"/>
              <a:gd name="T66" fmla="*/ 252 w 336"/>
              <a:gd name="T67" fmla="*/ 312 h 402"/>
              <a:gd name="T68" fmla="*/ 234 w 336"/>
              <a:gd name="T69" fmla="*/ 312 h 402"/>
              <a:gd name="T70" fmla="*/ 216 w 336"/>
              <a:gd name="T71" fmla="*/ 312 h 402"/>
              <a:gd name="T72" fmla="*/ 210 w 336"/>
              <a:gd name="T73" fmla="*/ 342 h 402"/>
              <a:gd name="T74" fmla="*/ 204 w 336"/>
              <a:gd name="T75" fmla="*/ 366 h 402"/>
              <a:gd name="T76" fmla="*/ 186 w 336"/>
              <a:gd name="T77" fmla="*/ 384 h 402"/>
              <a:gd name="T78" fmla="*/ 180 w 336"/>
              <a:gd name="T79" fmla="*/ 396 h 402"/>
              <a:gd name="T80" fmla="*/ 168 w 336"/>
              <a:gd name="T81" fmla="*/ 402 h 402"/>
              <a:gd name="T82" fmla="*/ 162 w 336"/>
              <a:gd name="T83" fmla="*/ 384 h 402"/>
              <a:gd name="T84" fmla="*/ 162 w 336"/>
              <a:gd name="T85" fmla="*/ 378 h 402"/>
              <a:gd name="T86" fmla="*/ 162 w 336"/>
              <a:gd name="T87" fmla="*/ 360 h 402"/>
              <a:gd name="T88" fmla="*/ 162 w 336"/>
              <a:gd name="T89" fmla="*/ 342 h 402"/>
              <a:gd name="T90" fmla="*/ 162 w 336"/>
              <a:gd name="T91" fmla="*/ 330 h 402"/>
              <a:gd name="T92" fmla="*/ 168 w 336"/>
              <a:gd name="T93" fmla="*/ 306 h 402"/>
              <a:gd name="T94" fmla="*/ 162 w 336"/>
              <a:gd name="T95" fmla="*/ 288 h 402"/>
              <a:gd name="T96" fmla="*/ 162 w 336"/>
              <a:gd name="T97" fmla="*/ 264 h 402"/>
              <a:gd name="T98" fmla="*/ 156 w 336"/>
              <a:gd name="T99" fmla="*/ 264 h 402"/>
              <a:gd name="T100" fmla="*/ 144 w 336"/>
              <a:gd name="T101" fmla="*/ 276 h 402"/>
              <a:gd name="T102" fmla="*/ 132 w 336"/>
              <a:gd name="T103" fmla="*/ 282 h 402"/>
              <a:gd name="T104" fmla="*/ 126 w 336"/>
              <a:gd name="T105" fmla="*/ 294 h 402"/>
              <a:gd name="T106" fmla="*/ 114 w 336"/>
              <a:gd name="T107" fmla="*/ 300 h 402"/>
              <a:gd name="T108" fmla="*/ 108 w 336"/>
              <a:gd name="T109" fmla="*/ 312 h 402"/>
              <a:gd name="T110" fmla="*/ 90 w 336"/>
              <a:gd name="T111" fmla="*/ 312 h 402"/>
              <a:gd name="T112" fmla="*/ 78 w 336"/>
              <a:gd name="T113" fmla="*/ 306 h 402"/>
              <a:gd name="T114" fmla="*/ 66 w 336"/>
              <a:gd name="T115" fmla="*/ 306 h 402"/>
              <a:gd name="T116" fmla="*/ 54 w 336"/>
              <a:gd name="T117" fmla="*/ 312 h 402"/>
              <a:gd name="T118" fmla="*/ 48 w 336"/>
              <a:gd name="T119" fmla="*/ 324 h 402"/>
              <a:gd name="T120" fmla="*/ 24 w 336"/>
              <a:gd name="T121" fmla="*/ 324 h 402"/>
              <a:gd name="T122" fmla="*/ 12 w 336"/>
              <a:gd name="T123" fmla="*/ 300 h 4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36" h="402">
                <a:moveTo>
                  <a:pt x="0" y="288"/>
                </a:moveTo>
                <a:lnTo>
                  <a:pt x="0" y="288"/>
                </a:lnTo>
                <a:lnTo>
                  <a:pt x="0" y="288"/>
                </a:lnTo>
                <a:lnTo>
                  <a:pt x="0" y="288"/>
                </a:lnTo>
                <a:lnTo>
                  <a:pt x="0" y="288"/>
                </a:lnTo>
                <a:lnTo>
                  <a:pt x="0" y="288"/>
                </a:lnTo>
                <a:lnTo>
                  <a:pt x="6" y="288"/>
                </a:lnTo>
                <a:lnTo>
                  <a:pt x="6" y="288"/>
                </a:lnTo>
                <a:lnTo>
                  <a:pt x="6" y="288"/>
                </a:lnTo>
                <a:lnTo>
                  <a:pt x="6" y="288"/>
                </a:lnTo>
                <a:lnTo>
                  <a:pt x="6" y="288"/>
                </a:lnTo>
                <a:lnTo>
                  <a:pt x="6" y="288"/>
                </a:lnTo>
                <a:lnTo>
                  <a:pt x="6" y="288"/>
                </a:lnTo>
                <a:lnTo>
                  <a:pt x="6" y="288"/>
                </a:lnTo>
                <a:lnTo>
                  <a:pt x="12" y="288"/>
                </a:lnTo>
                <a:lnTo>
                  <a:pt x="12" y="288"/>
                </a:lnTo>
                <a:lnTo>
                  <a:pt x="12" y="288"/>
                </a:lnTo>
                <a:lnTo>
                  <a:pt x="18" y="288"/>
                </a:lnTo>
                <a:lnTo>
                  <a:pt x="24" y="288"/>
                </a:lnTo>
                <a:lnTo>
                  <a:pt x="24" y="288"/>
                </a:lnTo>
                <a:lnTo>
                  <a:pt x="30" y="288"/>
                </a:lnTo>
                <a:lnTo>
                  <a:pt x="30" y="288"/>
                </a:lnTo>
                <a:lnTo>
                  <a:pt x="30" y="294"/>
                </a:lnTo>
                <a:lnTo>
                  <a:pt x="30" y="294"/>
                </a:lnTo>
                <a:lnTo>
                  <a:pt x="36" y="294"/>
                </a:lnTo>
                <a:lnTo>
                  <a:pt x="36" y="294"/>
                </a:lnTo>
                <a:lnTo>
                  <a:pt x="42" y="294"/>
                </a:lnTo>
                <a:lnTo>
                  <a:pt x="42" y="294"/>
                </a:lnTo>
                <a:lnTo>
                  <a:pt x="42" y="288"/>
                </a:lnTo>
                <a:lnTo>
                  <a:pt x="42" y="288"/>
                </a:lnTo>
                <a:lnTo>
                  <a:pt x="48" y="288"/>
                </a:lnTo>
                <a:lnTo>
                  <a:pt x="48" y="288"/>
                </a:lnTo>
                <a:lnTo>
                  <a:pt x="48" y="288"/>
                </a:lnTo>
                <a:lnTo>
                  <a:pt x="48" y="288"/>
                </a:lnTo>
                <a:lnTo>
                  <a:pt x="48" y="288"/>
                </a:lnTo>
                <a:lnTo>
                  <a:pt x="48" y="288"/>
                </a:lnTo>
                <a:lnTo>
                  <a:pt x="48" y="288"/>
                </a:lnTo>
                <a:lnTo>
                  <a:pt x="54" y="288"/>
                </a:lnTo>
                <a:lnTo>
                  <a:pt x="54" y="282"/>
                </a:lnTo>
                <a:lnTo>
                  <a:pt x="54" y="282"/>
                </a:lnTo>
                <a:lnTo>
                  <a:pt x="54" y="282"/>
                </a:lnTo>
                <a:lnTo>
                  <a:pt x="54" y="282"/>
                </a:lnTo>
                <a:lnTo>
                  <a:pt x="54" y="282"/>
                </a:lnTo>
                <a:lnTo>
                  <a:pt x="54" y="276"/>
                </a:lnTo>
                <a:lnTo>
                  <a:pt x="60" y="282"/>
                </a:lnTo>
                <a:lnTo>
                  <a:pt x="60" y="276"/>
                </a:lnTo>
                <a:lnTo>
                  <a:pt x="60" y="276"/>
                </a:lnTo>
                <a:lnTo>
                  <a:pt x="60" y="276"/>
                </a:lnTo>
                <a:lnTo>
                  <a:pt x="60" y="276"/>
                </a:lnTo>
                <a:lnTo>
                  <a:pt x="66" y="276"/>
                </a:lnTo>
                <a:lnTo>
                  <a:pt x="66" y="276"/>
                </a:lnTo>
                <a:lnTo>
                  <a:pt x="66" y="276"/>
                </a:lnTo>
                <a:lnTo>
                  <a:pt x="66" y="276"/>
                </a:lnTo>
                <a:lnTo>
                  <a:pt x="66" y="276"/>
                </a:lnTo>
                <a:lnTo>
                  <a:pt x="66" y="276"/>
                </a:lnTo>
                <a:lnTo>
                  <a:pt x="72" y="270"/>
                </a:lnTo>
                <a:lnTo>
                  <a:pt x="72" y="270"/>
                </a:lnTo>
                <a:lnTo>
                  <a:pt x="72" y="270"/>
                </a:lnTo>
                <a:lnTo>
                  <a:pt x="72" y="270"/>
                </a:lnTo>
                <a:lnTo>
                  <a:pt x="72" y="270"/>
                </a:lnTo>
                <a:lnTo>
                  <a:pt x="78" y="264"/>
                </a:lnTo>
                <a:lnTo>
                  <a:pt x="78" y="264"/>
                </a:lnTo>
                <a:lnTo>
                  <a:pt x="84" y="264"/>
                </a:lnTo>
                <a:lnTo>
                  <a:pt x="78" y="264"/>
                </a:lnTo>
                <a:lnTo>
                  <a:pt x="84" y="258"/>
                </a:lnTo>
                <a:lnTo>
                  <a:pt x="84" y="258"/>
                </a:lnTo>
                <a:lnTo>
                  <a:pt x="84" y="258"/>
                </a:lnTo>
                <a:lnTo>
                  <a:pt x="84" y="258"/>
                </a:lnTo>
                <a:lnTo>
                  <a:pt x="84" y="258"/>
                </a:lnTo>
                <a:lnTo>
                  <a:pt x="84" y="258"/>
                </a:lnTo>
                <a:lnTo>
                  <a:pt x="90" y="258"/>
                </a:lnTo>
                <a:lnTo>
                  <a:pt x="84" y="252"/>
                </a:lnTo>
                <a:lnTo>
                  <a:pt x="90" y="252"/>
                </a:lnTo>
                <a:lnTo>
                  <a:pt x="90" y="252"/>
                </a:lnTo>
                <a:lnTo>
                  <a:pt x="90" y="252"/>
                </a:lnTo>
                <a:lnTo>
                  <a:pt x="96" y="246"/>
                </a:lnTo>
                <a:lnTo>
                  <a:pt x="96" y="246"/>
                </a:lnTo>
                <a:lnTo>
                  <a:pt x="96" y="246"/>
                </a:lnTo>
                <a:lnTo>
                  <a:pt x="96" y="246"/>
                </a:lnTo>
                <a:lnTo>
                  <a:pt x="96" y="246"/>
                </a:lnTo>
                <a:lnTo>
                  <a:pt x="96" y="240"/>
                </a:lnTo>
                <a:lnTo>
                  <a:pt x="96" y="240"/>
                </a:lnTo>
                <a:lnTo>
                  <a:pt x="96" y="240"/>
                </a:lnTo>
                <a:lnTo>
                  <a:pt x="96" y="240"/>
                </a:lnTo>
                <a:lnTo>
                  <a:pt x="96" y="240"/>
                </a:lnTo>
                <a:lnTo>
                  <a:pt x="96" y="240"/>
                </a:lnTo>
                <a:lnTo>
                  <a:pt x="96" y="234"/>
                </a:lnTo>
                <a:lnTo>
                  <a:pt x="96" y="234"/>
                </a:lnTo>
                <a:lnTo>
                  <a:pt x="96" y="234"/>
                </a:lnTo>
                <a:lnTo>
                  <a:pt x="96" y="228"/>
                </a:lnTo>
                <a:lnTo>
                  <a:pt x="96" y="228"/>
                </a:lnTo>
                <a:lnTo>
                  <a:pt x="96" y="228"/>
                </a:lnTo>
                <a:lnTo>
                  <a:pt x="96" y="228"/>
                </a:lnTo>
                <a:lnTo>
                  <a:pt x="102" y="222"/>
                </a:lnTo>
                <a:lnTo>
                  <a:pt x="102" y="222"/>
                </a:lnTo>
                <a:lnTo>
                  <a:pt x="102" y="216"/>
                </a:lnTo>
                <a:lnTo>
                  <a:pt x="102" y="216"/>
                </a:lnTo>
                <a:lnTo>
                  <a:pt x="102" y="216"/>
                </a:lnTo>
                <a:lnTo>
                  <a:pt x="102" y="216"/>
                </a:lnTo>
                <a:lnTo>
                  <a:pt x="102" y="216"/>
                </a:lnTo>
                <a:lnTo>
                  <a:pt x="102" y="210"/>
                </a:lnTo>
                <a:lnTo>
                  <a:pt x="108" y="210"/>
                </a:lnTo>
                <a:lnTo>
                  <a:pt x="108" y="204"/>
                </a:lnTo>
                <a:lnTo>
                  <a:pt x="114" y="198"/>
                </a:lnTo>
                <a:lnTo>
                  <a:pt x="114" y="198"/>
                </a:lnTo>
                <a:lnTo>
                  <a:pt x="114" y="198"/>
                </a:lnTo>
                <a:lnTo>
                  <a:pt x="114" y="198"/>
                </a:lnTo>
                <a:lnTo>
                  <a:pt x="114" y="198"/>
                </a:lnTo>
                <a:lnTo>
                  <a:pt x="114" y="198"/>
                </a:lnTo>
                <a:lnTo>
                  <a:pt x="114" y="198"/>
                </a:lnTo>
                <a:lnTo>
                  <a:pt x="114" y="198"/>
                </a:lnTo>
                <a:lnTo>
                  <a:pt x="114" y="192"/>
                </a:lnTo>
                <a:lnTo>
                  <a:pt x="114" y="192"/>
                </a:lnTo>
                <a:lnTo>
                  <a:pt x="114" y="192"/>
                </a:lnTo>
                <a:lnTo>
                  <a:pt x="114" y="192"/>
                </a:lnTo>
                <a:lnTo>
                  <a:pt x="114" y="192"/>
                </a:lnTo>
                <a:lnTo>
                  <a:pt x="120" y="186"/>
                </a:lnTo>
                <a:lnTo>
                  <a:pt x="120" y="186"/>
                </a:lnTo>
                <a:lnTo>
                  <a:pt x="120" y="186"/>
                </a:lnTo>
                <a:lnTo>
                  <a:pt x="120" y="180"/>
                </a:lnTo>
                <a:lnTo>
                  <a:pt x="120" y="180"/>
                </a:lnTo>
                <a:lnTo>
                  <a:pt x="120" y="180"/>
                </a:lnTo>
                <a:lnTo>
                  <a:pt x="126" y="174"/>
                </a:lnTo>
                <a:lnTo>
                  <a:pt x="120" y="174"/>
                </a:lnTo>
                <a:lnTo>
                  <a:pt x="120" y="168"/>
                </a:lnTo>
                <a:lnTo>
                  <a:pt x="120" y="168"/>
                </a:lnTo>
                <a:lnTo>
                  <a:pt x="120" y="168"/>
                </a:lnTo>
                <a:lnTo>
                  <a:pt x="120" y="168"/>
                </a:lnTo>
                <a:lnTo>
                  <a:pt x="120" y="168"/>
                </a:lnTo>
                <a:lnTo>
                  <a:pt x="120" y="168"/>
                </a:lnTo>
                <a:lnTo>
                  <a:pt x="120" y="168"/>
                </a:lnTo>
                <a:lnTo>
                  <a:pt x="120" y="168"/>
                </a:lnTo>
                <a:lnTo>
                  <a:pt x="120" y="168"/>
                </a:lnTo>
                <a:lnTo>
                  <a:pt x="126" y="162"/>
                </a:lnTo>
                <a:lnTo>
                  <a:pt x="126" y="162"/>
                </a:lnTo>
                <a:lnTo>
                  <a:pt x="126" y="162"/>
                </a:lnTo>
                <a:lnTo>
                  <a:pt x="126" y="162"/>
                </a:lnTo>
                <a:lnTo>
                  <a:pt x="126" y="156"/>
                </a:lnTo>
                <a:lnTo>
                  <a:pt x="126" y="156"/>
                </a:lnTo>
                <a:lnTo>
                  <a:pt x="126" y="156"/>
                </a:lnTo>
                <a:lnTo>
                  <a:pt x="132" y="156"/>
                </a:lnTo>
                <a:lnTo>
                  <a:pt x="132" y="156"/>
                </a:lnTo>
                <a:lnTo>
                  <a:pt x="132" y="150"/>
                </a:lnTo>
                <a:lnTo>
                  <a:pt x="132" y="150"/>
                </a:lnTo>
                <a:lnTo>
                  <a:pt x="132" y="150"/>
                </a:lnTo>
                <a:lnTo>
                  <a:pt x="132" y="156"/>
                </a:lnTo>
                <a:lnTo>
                  <a:pt x="138" y="156"/>
                </a:lnTo>
                <a:lnTo>
                  <a:pt x="138" y="150"/>
                </a:lnTo>
                <a:lnTo>
                  <a:pt x="138" y="144"/>
                </a:lnTo>
                <a:lnTo>
                  <a:pt x="144" y="144"/>
                </a:lnTo>
                <a:lnTo>
                  <a:pt x="144" y="144"/>
                </a:lnTo>
                <a:lnTo>
                  <a:pt x="144" y="138"/>
                </a:lnTo>
                <a:lnTo>
                  <a:pt x="144" y="138"/>
                </a:lnTo>
                <a:lnTo>
                  <a:pt x="150" y="126"/>
                </a:lnTo>
                <a:lnTo>
                  <a:pt x="156" y="126"/>
                </a:lnTo>
                <a:lnTo>
                  <a:pt x="156" y="120"/>
                </a:lnTo>
                <a:lnTo>
                  <a:pt x="156" y="120"/>
                </a:lnTo>
                <a:lnTo>
                  <a:pt x="156" y="120"/>
                </a:lnTo>
                <a:lnTo>
                  <a:pt x="156" y="120"/>
                </a:lnTo>
                <a:lnTo>
                  <a:pt x="156" y="114"/>
                </a:lnTo>
                <a:lnTo>
                  <a:pt x="162" y="108"/>
                </a:lnTo>
                <a:lnTo>
                  <a:pt x="168" y="108"/>
                </a:lnTo>
                <a:lnTo>
                  <a:pt x="168" y="102"/>
                </a:lnTo>
                <a:lnTo>
                  <a:pt x="168" y="96"/>
                </a:lnTo>
                <a:lnTo>
                  <a:pt x="168" y="96"/>
                </a:lnTo>
                <a:lnTo>
                  <a:pt x="168" y="96"/>
                </a:lnTo>
                <a:lnTo>
                  <a:pt x="168" y="90"/>
                </a:lnTo>
                <a:lnTo>
                  <a:pt x="174" y="90"/>
                </a:lnTo>
                <a:lnTo>
                  <a:pt x="174" y="90"/>
                </a:lnTo>
                <a:lnTo>
                  <a:pt x="174" y="90"/>
                </a:lnTo>
                <a:lnTo>
                  <a:pt x="174" y="90"/>
                </a:lnTo>
                <a:lnTo>
                  <a:pt x="174" y="84"/>
                </a:lnTo>
                <a:lnTo>
                  <a:pt x="174" y="84"/>
                </a:lnTo>
                <a:lnTo>
                  <a:pt x="180" y="84"/>
                </a:lnTo>
                <a:lnTo>
                  <a:pt x="180" y="78"/>
                </a:lnTo>
                <a:lnTo>
                  <a:pt x="180" y="78"/>
                </a:lnTo>
                <a:lnTo>
                  <a:pt x="180" y="78"/>
                </a:lnTo>
                <a:lnTo>
                  <a:pt x="186" y="78"/>
                </a:lnTo>
                <a:lnTo>
                  <a:pt x="186" y="78"/>
                </a:lnTo>
                <a:lnTo>
                  <a:pt x="186" y="78"/>
                </a:lnTo>
                <a:lnTo>
                  <a:pt x="186" y="72"/>
                </a:lnTo>
                <a:lnTo>
                  <a:pt x="192" y="72"/>
                </a:lnTo>
                <a:lnTo>
                  <a:pt x="192" y="72"/>
                </a:lnTo>
                <a:lnTo>
                  <a:pt x="192" y="72"/>
                </a:lnTo>
                <a:lnTo>
                  <a:pt x="192" y="72"/>
                </a:lnTo>
                <a:lnTo>
                  <a:pt x="192" y="66"/>
                </a:lnTo>
                <a:lnTo>
                  <a:pt x="198" y="66"/>
                </a:lnTo>
                <a:lnTo>
                  <a:pt x="198" y="60"/>
                </a:lnTo>
                <a:lnTo>
                  <a:pt x="198" y="60"/>
                </a:lnTo>
                <a:lnTo>
                  <a:pt x="198" y="60"/>
                </a:lnTo>
                <a:lnTo>
                  <a:pt x="198" y="54"/>
                </a:lnTo>
                <a:lnTo>
                  <a:pt x="198" y="54"/>
                </a:lnTo>
                <a:lnTo>
                  <a:pt x="204" y="54"/>
                </a:lnTo>
                <a:lnTo>
                  <a:pt x="204" y="54"/>
                </a:lnTo>
                <a:lnTo>
                  <a:pt x="210" y="54"/>
                </a:lnTo>
                <a:lnTo>
                  <a:pt x="210" y="48"/>
                </a:lnTo>
                <a:lnTo>
                  <a:pt x="210" y="48"/>
                </a:lnTo>
                <a:lnTo>
                  <a:pt x="216" y="48"/>
                </a:lnTo>
                <a:lnTo>
                  <a:pt x="216" y="48"/>
                </a:lnTo>
                <a:lnTo>
                  <a:pt x="216" y="42"/>
                </a:lnTo>
                <a:lnTo>
                  <a:pt x="216" y="36"/>
                </a:lnTo>
                <a:lnTo>
                  <a:pt x="216" y="30"/>
                </a:lnTo>
                <a:lnTo>
                  <a:pt x="222" y="30"/>
                </a:lnTo>
                <a:lnTo>
                  <a:pt x="222" y="24"/>
                </a:lnTo>
                <a:lnTo>
                  <a:pt x="222" y="24"/>
                </a:lnTo>
                <a:lnTo>
                  <a:pt x="222" y="18"/>
                </a:lnTo>
                <a:lnTo>
                  <a:pt x="222" y="12"/>
                </a:lnTo>
                <a:lnTo>
                  <a:pt x="222" y="0"/>
                </a:lnTo>
                <a:lnTo>
                  <a:pt x="228" y="0"/>
                </a:lnTo>
                <a:lnTo>
                  <a:pt x="228" y="0"/>
                </a:lnTo>
                <a:lnTo>
                  <a:pt x="228" y="0"/>
                </a:lnTo>
                <a:lnTo>
                  <a:pt x="234" y="0"/>
                </a:lnTo>
                <a:lnTo>
                  <a:pt x="234" y="0"/>
                </a:lnTo>
                <a:lnTo>
                  <a:pt x="240" y="6"/>
                </a:lnTo>
                <a:lnTo>
                  <a:pt x="240" y="6"/>
                </a:lnTo>
                <a:lnTo>
                  <a:pt x="252" y="18"/>
                </a:lnTo>
                <a:lnTo>
                  <a:pt x="264" y="30"/>
                </a:lnTo>
                <a:lnTo>
                  <a:pt x="264" y="30"/>
                </a:lnTo>
                <a:lnTo>
                  <a:pt x="264" y="36"/>
                </a:lnTo>
                <a:lnTo>
                  <a:pt x="270" y="36"/>
                </a:lnTo>
                <a:lnTo>
                  <a:pt x="270" y="36"/>
                </a:lnTo>
                <a:lnTo>
                  <a:pt x="270" y="48"/>
                </a:lnTo>
                <a:lnTo>
                  <a:pt x="270" y="48"/>
                </a:lnTo>
                <a:lnTo>
                  <a:pt x="270" y="48"/>
                </a:lnTo>
                <a:lnTo>
                  <a:pt x="276" y="54"/>
                </a:lnTo>
                <a:lnTo>
                  <a:pt x="276" y="54"/>
                </a:lnTo>
                <a:lnTo>
                  <a:pt x="276" y="60"/>
                </a:lnTo>
                <a:lnTo>
                  <a:pt x="276" y="60"/>
                </a:lnTo>
                <a:lnTo>
                  <a:pt x="276" y="60"/>
                </a:lnTo>
                <a:lnTo>
                  <a:pt x="282" y="66"/>
                </a:lnTo>
                <a:lnTo>
                  <a:pt x="282" y="66"/>
                </a:lnTo>
                <a:lnTo>
                  <a:pt x="288" y="66"/>
                </a:lnTo>
                <a:lnTo>
                  <a:pt x="288" y="66"/>
                </a:lnTo>
                <a:lnTo>
                  <a:pt x="288" y="66"/>
                </a:lnTo>
                <a:lnTo>
                  <a:pt x="288" y="66"/>
                </a:lnTo>
                <a:lnTo>
                  <a:pt x="288" y="72"/>
                </a:lnTo>
                <a:lnTo>
                  <a:pt x="288" y="78"/>
                </a:lnTo>
                <a:lnTo>
                  <a:pt x="288" y="84"/>
                </a:lnTo>
                <a:lnTo>
                  <a:pt x="288" y="84"/>
                </a:lnTo>
                <a:lnTo>
                  <a:pt x="288" y="84"/>
                </a:lnTo>
                <a:lnTo>
                  <a:pt x="288" y="90"/>
                </a:lnTo>
                <a:lnTo>
                  <a:pt x="288" y="90"/>
                </a:lnTo>
                <a:lnTo>
                  <a:pt x="288" y="90"/>
                </a:lnTo>
                <a:lnTo>
                  <a:pt x="288" y="90"/>
                </a:lnTo>
                <a:lnTo>
                  <a:pt x="288" y="96"/>
                </a:lnTo>
                <a:lnTo>
                  <a:pt x="288" y="102"/>
                </a:lnTo>
                <a:lnTo>
                  <a:pt x="288" y="120"/>
                </a:lnTo>
                <a:lnTo>
                  <a:pt x="288" y="126"/>
                </a:lnTo>
                <a:lnTo>
                  <a:pt x="288" y="126"/>
                </a:lnTo>
                <a:lnTo>
                  <a:pt x="288" y="126"/>
                </a:lnTo>
                <a:lnTo>
                  <a:pt x="288" y="126"/>
                </a:lnTo>
                <a:lnTo>
                  <a:pt x="288" y="132"/>
                </a:lnTo>
                <a:lnTo>
                  <a:pt x="288" y="138"/>
                </a:lnTo>
                <a:lnTo>
                  <a:pt x="294" y="156"/>
                </a:lnTo>
                <a:lnTo>
                  <a:pt x="294" y="162"/>
                </a:lnTo>
                <a:lnTo>
                  <a:pt x="294" y="162"/>
                </a:lnTo>
                <a:lnTo>
                  <a:pt x="294" y="162"/>
                </a:lnTo>
                <a:lnTo>
                  <a:pt x="294" y="168"/>
                </a:lnTo>
                <a:lnTo>
                  <a:pt x="294" y="168"/>
                </a:lnTo>
                <a:lnTo>
                  <a:pt x="294" y="174"/>
                </a:lnTo>
                <a:lnTo>
                  <a:pt x="294" y="174"/>
                </a:lnTo>
                <a:lnTo>
                  <a:pt x="294" y="174"/>
                </a:lnTo>
                <a:lnTo>
                  <a:pt x="294" y="180"/>
                </a:lnTo>
                <a:lnTo>
                  <a:pt x="294" y="180"/>
                </a:lnTo>
                <a:lnTo>
                  <a:pt x="294" y="180"/>
                </a:lnTo>
                <a:lnTo>
                  <a:pt x="300" y="186"/>
                </a:lnTo>
                <a:lnTo>
                  <a:pt x="300" y="186"/>
                </a:lnTo>
                <a:lnTo>
                  <a:pt x="300" y="192"/>
                </a:lnTo>
                <a:lnTo>
                  <a:pt x="300" y="192"/>
                </a:lnTo>
                <a:lnTo>
                  <a:pt x="300" y="192"/>
                </a:lnTo>
                <a:lnTo>
                  <a:pt x="300" y="198"/>
                </a:lnTo>
                <a:lnTo>
                  <a:pt x="306" y="198"/>
                </a:lnTo>
                <a:lnTo>
                  <a:pt x="306" y="204"/>
                </a:lnTo>
                <a:lnTo>
                  <a:pt x="306" y="204"/>
                </a:lnTo>
                <a:lnTo>
                  <a:pt x="306" y="210"/>
                </a:lnTo>
                <a:lnTo>
                  <a:pt x="306" y="210"/>
                </a:lnTo>
                <a:lnTo>
                  <a:pt x="306" y="210"/>
                </a:lnTo>
                <a:lnTo>
                  <a:pt x="306" y="210"/>
                </a:lnTo>
                <a:lnTo>
                  <a:pt x="312" y="210"/>
                </a:lnTo>
                <a:lnTo>
                  <a:pt x="312" y="210"/>
                </a:lnTo>
                <a:lnTo>
                  <a:pt x="312" y="216"/>
                </a:lnTo>
                <a:lnTo>
                  <a:pt x="312" y="216"/>
                </a:lnTo>
                <a:lnTo>
                  <a:pt x="312" y="216"/>
                </a:lnTo>
                <a:lnTo>
                  <a:pt x="312" y="216"/>
                </a:lnTo>
                <a:lnTo>
                  <a:pt x="312" y="228"/>
                </a:lnTo>
                <a:lnTo>
                  <a:pt x="312" y="228"/>
                </a:lnTo>
                <a:lnTo>
                  <a:pt x="318" y="228"/>
                </a:lnTo>
                <a:lnTo>
                  <a:pt x="318" y="234"/>
                </a:lnTo>
                <a:lnTo>
                  <a:pt x="318" y="234"/>
                </a:lnTo>
                <a:lnTo>
                  <a:pt x="318" y="234"/>
                </a:lnTo>
                <a:lnTo>
                  <a:pt x="318" y="240"/>
                </a:lnTo>
                <a:lnTo>
                  <a:pt x="318" y="240"/>
                </a:lnTo>
                <a:lnTo>
                  <a:pt x="318" y="240"/>
                </a:lnTo>
                <a:lnTo>
                  <a:pt x="318" y="240"/>
                </a:lnTo>
                <a:lnTo>
                  <a:pt x="318" y="246"/>
                </a:lnTo>
                <a:lnTo>
                  <a:pt x="318" y="246"/>
                </a:lnTo>
                <a:lnTo>
                  <a:pt x="318" y="252"/>
                </a:lnTo>
                <a:lnTo>
                  <a:pt x="318" y="252"/>
                </a:lnTo>
                <a:lnTo>
                  <a:pt x="318" y="252"/>
                </a:lnTo>
                <a:lnTo>
                  <a:pt x="318" y="252"/>
                </a:lnTo>
                <a:lnTo>
                  <a:pt x="318" y="252"/>
                </a:lnTo>
                <a:lnTo>
                  <a:pt x="318" y="252"/>
                </a:lnTo>
                <a:lnTo>
                  <a:pt x="324" y="246"/>
                </a:lnTo>
                <a:lnTo>
                  <a:pt x="324" y="246"/>
                </a:lnTo>
                <a:lnTo>
                  <a:pt x="324" y="252"/>
                </a:lnTo>
                <a:lnTo>
                  <a:pt x="324" y="252"/>
                </a:lnTo>
                <a:lnTo>
                  <a:pt x="324" y="252"/>
                </a:lnTo>
                <a:lnTo>
                  <a:pt x="330" y="258"/>
                </a:lnTo>
                <a:lnTo>
                  <a:pt x="330" y="258"/>
                </a:lnTo>
                <a:lnTo>
                  <a:pt x="330" y="258"/>
                </a:lnTo>
                <a:lnTo>
                  <a:pt x="324" y="264"/>
                </a:lnTo>
                <a:lnTo>
                  <a:pt x="330" y="264"/>
                </a:lnTo>
                <a:lnTo>
                  <a:pt x="330" y="264"/>
                </a:lnTo>
                <a:lnTo>
                  <a:pt x="330" y="270"/>
                </a:lnTo>
                <a:lnTo>
                  <a:pt x="330" y="270"/>
                </a:lnTo>
                <a:lnTo>
                  <a:pt x="330" y="270"/>
                </a:lnTo>
                <a:lnTo>
                  <a:pt x="330" y="276"/>
                </a:lnTo>
                <a:lnTo>
                  <a:pt x="330" y="276"/>
                </a:lnTo>
                <a:lnTo>
                  <a:pt x="336" y="282"/>
                </a:lnTo>
                <a:lnTo>
                  <a:pt x="330" y="282"/>
                </a:lnTo>
                <a:lnTo>
                  <a:pt x="336" y="282"/>
                </a:lnTo>
                <a:lnTo>
                  <a:pt x="336" y="282"/>
                </a:lnTo>
                <a:lnTo>
                  <a:pt x="336" y="288"/>
                </a:lnTo>
                <a:lnTo>
                  <a:pt x="336" y="288"/>
                </a:lnTo>
                <a:lnTo>
                  <a:pt x="336" y="288"/>
                </a:lnTo>
                <a:lnTo>
                  <a:pt x="336" y="294"/>
                </a:lnTo>
                <a:lnTo>
                  <a:pt x="336" y="294"/>
                </a:lnTo>
                <a:lnTo>
                  <a:pt x="336" y="294"/>
                </a:lnTo>
                <a:lnTo>
                  <a:pt x="336" y="294"/>
                </a:lnTo>
                <a:lnTo>
                  <a:pt x="336" y="300"/>
                </a:lnTo>
                <a:lnTo>
                  <a:pt x="336" y="300"/>
                </a:lnTo>
                <a:lnTo>
                  <a:pt x="330" y="294"/>
                </a:lnTo>
                <a:lnTo>
                  <a:pt x="330" y="294"/>
                </a:lnTo>
                <a:lnTo>
                  <a:pt x="330" y="300"/>
                </a:lnTo>
                <a:lnTo>
                  <a:pt x="330" y="300"/>
                </a:lnTo>
                <a:lnTo>
                  <a:pt x="330" y="300"/>
                </a:lnTo>
                <a:lnTo>
                  <a:pt x="324" y="294"/>
                </a:lnTo>
                <a:lnTo>
                  <a:pt x="324" y="294"/>
                </a:lnTo>
                <a:lnTo>
                  <a:pt x="324" y="294"/>
                </a:lnTo>
                <a:lnTo>
                  <a:pt x="324" y="294"/>
                </a:lnTo>
                <a:lnTo>
                  <a:pt x="324" y="294"/>
                </a:lnTo>
                <a:lnTo>
                  <a:pt x="324" y="294"/>
                </a:lnTo>
                <a:lnTo>
                  <a:pt x="324" y="294"/>
                </a:lnTo>
                <a:lnTo>
                  <a:pt x="318" y="294"/>
                </a:lnTo>
                <a:lnTo>
                  <a:pt x="324" y="294"/>
                </a:lnTo>
                <a:lnTo>
                  <a:pt x="318" y="294"/>
                </a:lnTo>
                <a:lnTo>
                  <a:pt x="318" y="294"/>
                </a:lnTo>
                <a:lnTo>
                  <a:pt x="318" y="294"/>
                </a:lnTo>
                <a:lnTo>
                  <a:pt x="318" y="300"/>
                </a:lnTo>
                <a:lnTo>
                  <a:pt x="318" y="294"/>
                </a:lnTo>
                <a:lnTo>
                  <a:pt x="318" y="294"/>
                </a:lnTo>
                <a:lnTo>
                  <a:pt x="312" y="294"/>
                </a:lnTo>
                <a:lnTo>
                  <a:pt x="312" y="294"/>
                </a:lnTo>
                <a:lnTo>
                  <a:pt x="312" y="294"/>
                </a:lnTo>
                <a:lnTo>
                  <a:pt x="312" y="294"/>
                </a:lnTo>
                <a:lnTo>
                  <a:pt x="312" y="294"/>
                </a:lnTo>
                <a:lnTo>
                  <a:pt x="312" y="294"/>
                </a:lnTo>
                <a:lnTo>
                  <a:pt x="312" y="294"/>
                </a:lnTo>
                <a:lnTo>
                  <a:pt x="312" y="294"/>
                </a:lnTo>
                <a:lnTo>
                  <a:pt x="306" y="294"/>
                </a:lnTo>
                <a:lnTo>
                  <a:pt x="306" y="294"/>
                </a:lnTo>
                <a:lnTo>
                  <a:pt x="306" y="294"/>
                </a:lnTo>
                <a:lnTo>
                  <a:pt x="306" y="294"/>
                </a:lnTo>
                <a:lnTo>
                  <a:pt x="306" y="294"/>
                </a:lnTo>
                <a:lnTo>
                  <a:pt x="306" y="294"/>
                </a:lnTo>
                <a:lnTo>
                  <a:pt x="306" y="294"/>
                </a:lnTo>
                <a:lnTo>
                  <a:pt x="306" y="294"/>
                </a:lnTo>
                <a:lnTo>
                  <a:pt x="300" y="294"/>
                </a:lnTo>
                <a:lnTo>
                  <a:pt x="300" y="294"/>
                </a:lnTo>
                <a:lnTo>
                  <a:pt x="300" y="294"/>
                </a:lnTo>
                <a:lnTo>
                  <a:pt x="300" y="294"/>
                </a:lnTo>
                <a:lnTo>
                  <a:pt x="300" y="294"/>
                </a:lnTo>
                <a:lnTo>
                  <a:pt x="300" y="294"/>
                </a:lnTo>
                <a:lnTo>
                  <a:pt x="300" y="294"/>
                </a:lnTo>
                <a:lnTo>
                  <a:pt x="300" y="294"/>
                </a:lnTo>
                <a:lnTo>
                  <a:pt x="294" y="294"/>
                </a:lnTo>
                <a:lnTo>
                  <a:pt x="294" y="294"/>
                </a:lnTo>
                <a:lnTo>
                  <a:pt x="294" y="294"/>
                </a:lnTo>
                <a:lnTo>
                  <a:pt x="294" y="294"/>
                </a:lnTo>
                <a:lnTo>
                  <a:pt x="294" y="294"/>
                </a:lnTo>
                <a:lnTo>
                  <a:pt x="288" y="294"/>
                </a:lnTo>
                <a:lnTo>
                  <a:pt x="288" y="294"/>
                </a:lnTo>
                <a:lnTo>
                  <a:pt x="288" y="294"/>
                </a:lnTo>
                <a:lnTo>
                  <a:pt x="288" y="294"/>
                </a:lnTo>
                <a:lnTo>
                  <a:pt x="288" y="294"/>
                </a:lnTo>
                <a:lnTo>
                  <a:pt x="282" y="294"/>
                </a:lnTo>
                <a:lnTo>
                  <a:pt x="282" y="294"/>
                </a:lnTo>
                <a:lnTo>
                  <a:pt x="282" y="294"/>
                </a:lnTo>
                <a:lnTo>
                  <a:pt x="282" y="294"/>
                </a:lnTo>
                <a:lnTo>
                  <a:pt x="276" y="294"/>
                </a:lnTo>
                <a:lnTo>
                  <a:pt x="276" y="300"/>
                </a:lnTo>
                <a:lnTo>
                  <a:pt x="270" y="300"/>
                </a:lnTo>
                <a:lnTo>
                  <a:pt x="270" y="300"/>
                </a:lnTo>
                <a:lnTo>
                  <a:pt x="270" y="300"/>
                </a:lnTo>
                <a:lnTo>
                  <a:pt x="270" y="300"/>
                </a:lnTo>
                <a:lnTo>
                  <a:pt x="270" y="300"/>
                </a:lnTo>
                <a:lnTo>
                  <a:pt x="264" y="300"/>
                </a:lnTo>
                <a:lnTo>
                  <a:pt x="264" y="300"/>
                </a:lnTo>
                <a:lnTo>
                  <a:pt x="264" y="300"/>
                </a:lnTo>
                <a:lnTo>
                  <a:pt x="264" y="300"/>
                </a:lnTo>
                <a:lnTo>
                  <a:pt x="264" y="300"/>
                </a:lnTo>
                <a:lnTo>
                  <a:pt x="264" y="300"/>
                </a:lnTo>
                <a:lnTo>
                  <a:pt x="258" y="306"/>
                </a:lnTo>
                <a:lnTo>
                  <a:pt x="258" y="306"/>
                </a:lnTo>
                <a:lnTo>
                  <a:pt x="258" y="306"/>
                </a:lnTo>
                <a:lnTo>
                  <a:pt x="258" y="306"/>
                </a:lnTo>
                <a:lnTo>
                  <a:pt x="252" y="312"/>
                </a:lnTo>
                <a:lnTo>
                  <a:pt x="252" y="312"/>
                </a:lnTo>
                <a:lnTo>
                  <a:pt x="252" y="312"/>
                </a:lnTo>
                <a:lnTo>
                  <a:pt x="246" y="312"/>
                </a:lnTo>
                <a:lnTo>
                  <a:pt x="246" y="312"/>
                </a:lnTo>
                <a:lnTo>
                  <a:pt x="246" y="312"/>
                </a:lnTo>
                <a:lnTo>
                  <a:pt x="240" y="306"/>
                </a:lnTo>
                <a:lnTo>
                  <a:pt x="240" y="306"/>
                </a:lnTo>
                <a:lnTo>
                  <a:pt x="240" y="306"/>
                </a:lnTo>
                <a:lnTo>
                  <a:pt x="240" y="306"/>
                </a:lnTo>
                <a:lnTo>
                  <a:pt x="234" y="306"/>
                </a:lnTo>
                <a:lnTo>
                  <a:pt x="234" y="306"/>
                </a:lnTo>
                <a:lnTo>
                  <a:pt x="234" y="312"/>
                </a:lnTo>
                <a:lnTo>
                  <a:pt x="234" y="312"/>
                </a:lnTo>
                <a:lnTo>
                  <a:pt x="234" y="312"/>
                </a:lnTo>
                <a:lnTo>
                  <a:pt x="234" y="312"/>
                </a:lnTo>
                <a:lnTo>
                  <a:pt x="228" y="312"/>
                </a:lnTo>
                <a:lnTo>
                  <a:pt x="222" y="300"/>
                </a:lnTo>
                <a:lnTo>
                  <a:pt x="222" y="300"/>
                </a:lnTo>
                <a:lnTo>
                  <a:pt x="222" y="300"/>
                </a:lnTo>
                <a:lnTo>
                  <a:pt x="222" y="306"/>
                </a:lnTo>
                <a:lnTo>
                  <a:pt x="222" y="306"/>
                </a:lnTo>
                <a:lnTo>
                  <a:pt x="222" y="306"/>
                </a:lnTo>
                <a:lnTo>
                  <a:pt x="216" y="306"/>
                </a:lnTo>
                <a:lnTo>
                  <a:pt x="222" y="312"/>
                </a:lnTo>
                <a:lnTo>
                  <a:pt x="216" y="312"/>
                </a:lnTo>
                <a:lnTo>
                  <a:pt x="216" y="318"/>
                </a:lnTo>
                <a:lnTo>
                  <a:pt x="216" y="318"/>
                </a:lnTo>
                <a:lnTo>
                  <a:pt x="216" y="318"/>
                </a:lnTo>
                <a:lnTo>
                  <a:pt x="210" y="318"/>
                </a:lnTo>
                <a:lnTo>
                  <a:pt x="210" y="324"/>
                </a:lnTo>
                <a:lnTo>
                  <a:pt x="210" y="324"/>
                </a:lnTo>
                <a:lnTo>
                  <a:pt x="216" y="324"/>
                </a:lnTo>
                <a:lnTo>
                  <a:pt x="210" y="330"/>
                </a:lnTo>
                <a:lnTo>
                  <a:pt x="210" y="330"/>
                </a:lnTo>
                <a:lnTo>
                  <a:pt x="210" y="336"/>
                </a:lnTo>
                <a:lnTo>
                  <a:pt x="210" y="336"/>
                </a:lnTo>
                <a:lnTo>
                  <a:pt x="210" y="342"/>
                </a:lnTo>
                <a:lnTo>
                  <a:pt x="210" y="342"/>
                </a:lnTo>
                <a:lnTo>
                  <a:pt x="204" y="348"/>
                </a:lnTo>
                <a:lnTo>
                  <a:pt x="204" y="348"/>
                </a:lnTo>
                <a:lnTo>
                  <a:pt x="204" y="354"/>
                </a:lnTo>
                <a:lnTo>
                  <a:pt x="204" y="354"/>
                </a:lnTo>
                <a:lnTo>
                  <a:pt x="204" y="354"/>
                </a:lnTo>
                <a:lnTo>
                  <a:pt x="204" y="360"/>
                </a:lnTo>
                <a:lnTo>
                  <a:pt x="204" y="360"/>
                </a:lnTo>
                <a:lnTo>
                  <a:pt x="204" y="360"/>
                </a:lnTo>
                <a:lnTo>
                  <a:pt x="204" y="360"/>
                </a:lnTo>
                <a:lnTo>
                  <a:pt x="204" y="366"/>
                </a:lnTo>
                <a:lnTo>
                  <a:pt x="204" y="366"/>
                </a:lnTo>
                <a:lnTo>
                  <a:pt x="204" y="366"/>
                </a:lnTo>
                <a:lnTo>
                  <a:pt x="198" y="366"/>
                </a:lnTo>
                <a:lnTo>
                  <a:pt x="198" y="366"/>
                </a:lnTo>
                <a:lnTo>
                  <a:pt x="198" y="372"/>
                </a:lnTo>
                <a:lnTo>
                  <a:pt x="198" y="372"/>
                </a:lnTo>
                <a:lnTo>
                  <a:pt x="198" y="372"/>
                </a:lnTo>
                <a:lnTo>
                  <a:pt x="198" y="372"/>
                </a:lnTo>
                <a:lnTo>
                  <a:pt x="192" y="372"/>
                </a:lnTo>
                <a:lnTo>
                  <a:pt x="192" y="378"/>
                </a:lnTo>
                <a:lnTo>
                  <a:pt x="192" y="378"/>
                </a:lnTo>
                <a:lnTo>
                  <a:pt x="186" y="378"/>
                </a:lnTo>
                <a:lnTo>
                  <a:pt x="186" y="384"/>
                </a:lnTo>
                <a:lnTo>
                  <a:pt x="186" y="384"/>
                </a:lnTo>
                <a:lnTo>
                  <a:pt x="186" y="384"/>
                </a:lnTo>
                <a:lnTo>
                  <a:pt x="186" y="390"/>
                </a:lnTo>
                <a:lnTo>
                  <a:pt x="186" y="390"/>
                </a:lnTo>
                <a:lnTo>
                  <a:pt x="180" y="390"/>
                </a:lnTo>
                <a:lnTo>
                  <a:pt x="180" y="390"/>
                </a:lnTo>
                <a:lnTo>
                  <a:pt x="180" y="390"/>
                </a:lnTo>
                <a:lnTo>
                  <a:pt x="180" y="390"/>
                </a:lnTo>
                <a:lnTo>
                  <a:pt x="180" y="390"/>
                </a:lnTo>
                <a:lnTo>
                  <a:pt x="180" y="390"/>
                </a:lnTo>
                <a:lnTo>
                  <a:pt x="180" y="390"/>
                </a:lnTo>
                <a:lnTo>
                  <a:pt x="180" y="396"/>
                </a:lnTo>
                <a:lnTo>
                  <a:pt x="174" y="396"/>
                </a:lnTo>
                <a:lnTo>
                  <a:pt x="174" y="396"/>
                </a:lnTo>
                <a:lnTo>
                  <a:pt x="174" y="396"/>
                </a:lnTo>
                <a:lnTo>
                  <a:pt x="174" y="396"/>
                </a:lnTo>
                <a:lnTo>
                  <a:pt x="174" y="396"/>
                </a:lnTo>
                <a:lnTo>
                  <a:pt x="174" y="396"/>
                </a:lnTo>
                <a:lnTo>
                  <a:pt x="168" y="396"/>
                </a:lnTo>
                <a:lnTo>
                  <a:pt x="168" y="396"/>
                </a:lnTo>
                <a:lnTo>
                  <a:pt x="168" y="402"/>
                </a:lnTo>
                <a:lnTo>
                  <a:pt x="168" y="402"/>
                </a:lnTo>
                <a:lnTo>
                  <a:pt x="168" y="402"/>
                </a:lnTo>
                <a:lnTo>
                  <a:pt x="168" y="402"/>
                </a:lnTo>
                <a:lnTo>
                  <a:pt x="162" y="402"/>
                </a:lnTo>
                <a:lnTo>
                  <a:pt x="168" y="402"/>
                </a:lnTo>
                <a:lnTo>
                  <a:pt x="168" y="396"/>
                </a:lnTo>
                <a:lnTo>
                  <a:pt x="168" y="396"/>
                </a:lnTo>
                <a:lnTo>
                  <a:pt x="162" y="396"/>
                </a:lnTo>
                <a:lnTo>
                  <a:pt x="162" y="396"/>
                </a:lnTo>
                <a:lnTo>
                  <a:pt x="162" y="390"/>
                </a:lnTo>
                <a:lnTo>
                  <a:pt x="162" y="390"/>
                </a:lnTo>
                <a:lnTo>
                  <a:pt x="162" y="390"/>
                </a:lnTo>
                <a:lnTo>
                  <a:pt x="162" y="390"/>
                </a:lnTo>
                <a:lnTo>
                  <a:pt x="162" y="390"/>
                </a:lnTo>
                <a:lnTo>
                  <a:pt x="162" y="384"/>
                </a:lnTo>
                <a:lnTo>
                  <a:pt x="162" y="384"/>
                </a:lnTo>
                <a:lnTo>
                  <a:pt x="162" y="384"/>
                </a:lnTo>
                <a:lnTo>
                  <a:pt x="162" y="384"/>
                </a:lnTo>
                <a:lnTo>
                  <a:pt x="162" y="384"/>
                </a:lnTo>
                <a:lnTo>
                  <a:pt x="162" y="384"/>
                </a:lnTo>
                <a:lnTo>
                  <a:pt x="162" y="384"/>
                </a:lnTo>
                <a:lnTo>
                  <a:pt x="162" y="384"/>
                </a:lnTo>
                <a:lnTo>
                  <a:pt x="162" y="384"/>
                </a:lnTo>
                <a:lnTo>
                  <a:pt x="162" y="384"/>
                </a:lnTo>
                <a:lnTo>
                  <a:pt x="162" y="378"/>
                </a:lnTo>
                <a:lnTo>
                  <a:pt x="162" y="378"/>
                </a:lnTo>
                <a:lnTo>
                  <a:pt x="162" y="378"/>
                </a:lnTo>
                <a:lnTo>
                  <a:pt x="162" y="378"/>
                </a:lnTo>
                <a:lnTo>
                  <a:pt x="162" y="372"/>
                </a:lnTo>
                <a:lnTo>
                  <a:pt x="162" y="372"/>
                </a:lnTo>
                <a:lnTo>
                  <a:pt x="162" y="372"/>
                </a:lnTo>
                <a:lnTo>
                  <a:pt x="162" y="372"/>
                </a:lnTo>
                <a:lnTo>
                  <a:pt x="162" y="372"/>
                </a:lnTo>
                <a:lnTo>
                  <a:pt x="162" y="366"/>
                </a:lnTo>
                <a:lnTo>
                  <a:pt x="162" y="366"/>
                </a:lnTo>
                <a:lnTo>
                  <a:pt x="162" y="366"/>
                </a:lnTo>
                <a:lnTo>
                  <a:pt x="162" y="360"/>
                </a:lnTo>
                <a:lnTo>
                  <a:pt x="162" y="360"/>
                </a:lnTo>
                <a:lnTo>
                  <a:pt x="162" y="360"/>
                </a:lnTo>
                <a:lnTo>
                  <a:pt x="162" y="360"/>
                </a:lnTo>
                <a:lnTo>
                  <a:pt x="162" y="360"/>
                </a:lnTo>
                <a:lnTo>
                  <a:pt x="162" y="354"/>
                </a:lnTo>
                <a:lnTo>
                  <a:pt x="162" y="354"/>
                </a:lnTo>
                <a:lnTo>
                  <a:pt x="162" y="354"/>
                </a:lnTo>
                <a:lnTo>
                  <a:pt x="162" y="354"/>
                </a:lnTo>
                <a:lnTo>
                  <a:pt x="162" y="348"/>
                </a:lnTo>
                <a:lnTo>
                  <a:pt x="162" y="348"/>
                </a:lnTo>
                <a:lnTo>
                  <a:pt x="162" y="348"/>
                </a:lnTo>
                <a:lnTo>
                  <a:pt x="162" y="348"/>
                </a:lnTo>
                <a:lnTo>
                  <a:pt x="162" y="342"/>
                </a:lnTo>
                <a:lnTo>
                  <a:pt x="162" y="342"/>
                </a:lnTo>
                <a:lnTo>
                  <a:pt x="162" y="342"/>
                </a:lnTo>
                <a:lnTo>
                  <a:pt x="162" y="342"/>
                </a:lnTo>
                <a:lnTo>
                  <a:pt x="156" y="342"/>
                </a:lnTo>
                <a:lnTo>
                  <a:pt x="162" y="342"/>
                </a:lnTo>
                <a:lnTo>
                  <a:pt x="162" y="336"/>
                </a:lnTo>
                <a:lnTo>
                  <a:pt x="162" y="336"/>
                </a:lnTo>
                <a:lnTo>
                  <a:pt x="162" y="336"/>
                </a:lnTo>
                <a:lnTo>
                  <a:pt x="156" y="336"/>
                </a:lnTo>
                <a:lnTo>
                  <a:pt x="156" y="336"/>
                </a:lnTo>
                <a:lnTo>
                  <a:pt x="162" y="330"/>
                </a:lnTo>
                <a:lnTo>
                  <a:pt x="162" y="330"/>
                </a:lnTo>
                <a:lnTo>
                  <a:pt x="162" y="330"/>
                </a:lnTo>
                <a:lnTo>
                  <a:pt x="162" y="330"/>
                </a:lnTo>
                <a:lnTo>
                  <a:pt x="162" y="324"/>
                </a:lnTo>
                <a:lnTo>
                  <a:pt x="162" y="324"/>
                </a:lnTo>
                <a:lnTo>
                  <a:pt x="162" y="318"/>
                </a:lnTo>
                <a:lnTo>
                  <a:pt x="162" y="318"/>
                </a:lnTo>
                <a:lnTo>
                  <a:pt x="162" y="318"/>
                </a:lnTo>
                <a:lnTo>
                  <a:pt x="168" y="318"/>
                </a:lnTo>
                <a:lnTo>
                  <a:pt x="168" y="312"/>
                </a:lnTo>
                <a:lnTo>
                  <a:pt x="168" y="312"/>
                </a:lnTo>
                <a:lnTo>
                  <a:pt x="168" y="312"/>
                </a:lnTo>
                <a:lnTo>
                  <a:pt x="168" y="312"/>
                </a:lnTo>
                <a:lnTo>
                  <a:pt x="168" y="306"/>
                </a:lnTo>
                <a:lnTo>
                  <a:pt x="168" y="306"/>
                </a:lnTo>
                <a:lnTo>
                  <a:pt x="168" y="306"/>
                </a:lnTo>
                <a:lnTo>
                  <a:pt x="168" y="306"/>
                </a:lnTo>
                <a:lnTo>
                  <a:pt x="168" y="306"/>
                </a:lnTo>
                <a:lnTo>
                  <a:pt x="162" y="300"/>
                </a:lnTo>
                <a:lnTo>
                  <a:pt x="162" y="294"/>
                </a:lnTo>
                <a:lnTo>
                  <a:pt x="162" y="294"/>
                </a:lnTo>
                <a:lnTo>
                  <a:pt x="162" y="294"/>
                </a:lnTo>
                <a:lnTo>
                  <a:pt x="162" y="294"/>
                </a:lnTo>
                <a:lnTo>
                  <a:pt x="162" y="288"/>
                </a:lnTo>
                <a:lnTo>
                  <a:pt x="162" y="288"/>
                </a:lnTo>
                <a:lnTo>
                  <a:pt x="162" y="288"/>
                </a:lnTo>
                <a:lnTo>
                  <a:pt x="162" y="282"/>
                </a:lnTo>
                <a:lnTo>
                  <a:pt x="162" y="282"/>
                </a:lnTo>
                <a:lnTo>
                  <a:pt x="156" y="282"/>
                </a:lnTo>
                <a:lnTo>
                  <a:pt x="156" y="276"/>
                </a:lnTo>
                <a:lnTo>
                  <a:pt x="156" y="276"/>
                </a:lnTo>
                <a:lnTo>
                  <a:pt x="162" y="276"/>
                </a:lnTo>
                <a:lnTo>
                  <a:pt x="162" y="270"/>
                </a:lnTo>
                <a:lnTo>
                  <a:pt x="162" y="270"/>
                </a:lnTo>
                <a:lnTo>
                  <a:pt x="162" y="270"/>
                </a:lnTo>
                <a:lnTo>
                  <a:pt x="162" y="264"/>
                </a:lnTo>
                <a:lnTo>
                  <a:pt x="162" y="264"/>
                </a:lnTo>
                <a:lnTo>
                  <a:pt x="162" y="264"/>
                </a:lnTo>
                <a:lnTo>
                  <a:pt x="162" y="264"/>
                </a:lnTo>
                <a:lnTo>
                  <a:pt x="162" y="264"/>
                </a:lnTo>
                <a:lnTo>
                  <a:pt x="162" y="258"/>
                </a:lnTo>
                <a:lnTo>
                  <a:pt x="162" y="258"/>
                </a:lnTo>
                <a:lnTo>
                  <a:pt x="162" y="258"/>
                </a:lnTo>
                <a:lnTo>
                  <a:pt x="162" y="258"/>
                </a:lnTo>
                <a:lnTo>
                  <a:pt x="162" y="258"/>
                </a:lnTo>
                <a:lnTo>
                  <a:pt x="162" y="258"/>
                </a:lnTo>
                <a:lnTo>
                  <a:pt x="162" y="264"/>
                </a:lnTo>
                <a:lnTo>
                  <a:pt x="156" y="264"/>
                </a:lnTo>
                <a:lnTo>
                  <a:pt x="156" y="264"/>
                </a:lnTo>
                <a:lnTo>
                  <a:pt x="156" y="264"/>
                </a:lnTo>
                <a:lnTo>
                  <a:pt x="156" y="264"/>
                </a:lnTo>
                <a:lnTo>
                  <a:pt x="150" y="264"/>
                </a:lnTo>
                <a:lnTo>
                  <a:pt x="150" y="264"/>
                </a:lnTo>
                <a:lnTo>
                  <a:pt x="150" y="264"/>
                </a:lnTo>
                <a:lnTo>
                  <a:pt x="150" y="264"/>
                </a:lnTo>
                <a:lnTo>
                  <a:pt x="150" y="264"/>
                </a:lnTo>
                <a:lnTo>
                  <a:pt x="150" y="270"/>
                </a:lnTo>
                <a:lnTo>
                  <a:pt x="150" y="270"/>
                </a:lnTo>
                <a:lnTo>
                  <a:pt x="150" y="270"/>
                </a:lnTo>
                <a:lnTo>
                  <a:pt x="144" y="276"/>
                </a:lnTo>
                <a:lnTo>
                  <a:pt x="150" y="276"/>
                </a:lnTo>
                <a:lnTo>
                  <a:pt x="144" y="276"/>
                </a:lnTo>
                <a:lnTo>
                  <a:pt x="144" y="276"/>
                </a:lnTo>
                <a:lnTo>
                  <a:pt x="144" y="276"/>
                </a:lnTo>
                <a:lnTo>
                  <a:pt x="144" y="276"/>
                </a:lnTo>
                <a:lnTo>
                  <a:pt x="144" y="282"/>
                </a:lnTo>
                <a:lnTo>
                  <a:pt x="144" y="276"/>
                </a:lnTo>
                <a:lnTo>
                  <a:pt x="144" y="282"/>
                </a:lnTo>
                <a:lnTo>
                  <a:pt x="138" y="282"/>
                </a:lnTo>
                <a:lnTo>
                  <a:pt x="138" y="282"/>
                </a:lnTo>
                <a:lnTo>
                  <a:pt x="138" y="282"/>
                </a:lnTo>
                <a:lnTo>
                  <a:pt x="138" y="282"/>
                </a:lnTo>
                <a:lnTo>
                  <a:pt x="138" y="282"/>
                </a:lnTo>
                <a:lnTo>
                  <a:pt x="132" y="282"/>
                </a:lnTo>
                <a:lnTo>
                  <a:pt x="138" y="288"/>
                </a:lnTo>
                <a:lnTo>
                  <a:pt x="132" y="288"/>
                </a:lnTo>
                <a:lnTo>
                  <a:pt x="138" y="288"/>
                </a:lnTo>
                <a:lnTo>
                  <a:pt x="138" y="288"/>
                </a:lnTo>
                <a:lnTo>
                  <a:pt x="138" y="288"/>
                </a:lnTo>
                <a:lnTo>
                  <a:pt x="138" y="288"/>
                </a:lnTo>
                <a:lnTo>
                  <a:pt x="138" y="294"/>
                </a:lnTo>
                <a:lnTo>
                  <a:pt x="138" y="288"/>
                </a:lnTo>
                <a:lnTo>
                  <a:pt x="132" y="288"/>
                </a:lnTo>
                <a:lnTo>
                  <a:pt x="132" y="294"/>
                </a:lnTo>
                <a:lnTo>
                  <a:pt x="132" y="294"/>
                </a:lnTo>
                <a:lnTo>
                  <a:pt x="126" y="294"/>
                </a:lnTo>
                <a:lnTo>
                  <a:pt x="126" y="294"/>
                </a:lnTo>
                <a:lnTo>
                  <a:pt x="126" y="294"/>
                </a:lnTo>
                <a:lnTo>
                  <a:pt x="126" y="294"/>
                </a:lnTo>
                <a:lnTo>
                  <a:pt x="120" y="294"/>
                </a:lnTo>
                <a:lnTo>
                  <a:pt x="120" y="294"/>
                </a:lnTo>
                <a:lnTo>
                  <a:pt x="120" y="294"/>
                </a:lnTo>
                <a:lnTo>
                  <a:pt x="120" y="300"/>
                </a:lnTo>
                <a:lnTo>
                  <a:pt x="120" y="300"/>
                </a:lnTo>
                <a:lnTo>
                  <a:pt x="120" y="300"/>
                </a:lnTo>
                <a:lnTo>
                  <a:pt x="114" y="300"/>
                </a:lnTo>
                <a:lnTo>
                  <a:pt x="114" y="300"/>
                </a:lnTo>
                <a:lnTo>
                  <a:pt x="114" y="300"/>
                </a:lnTo>
                <a:lnTo>
                  <a:pt x="114" y="306"/>
                </a:lnTo>
                <a:lnTo>
                  <a:pt x="114" y="306"/>
                </a:lnTo>
                <a:lnTo>
                  <a:pt x="114" y="306"/>
                </a:lnTo>
                <a:lnTo>
                  <a:pt x="114" y="306"/>
                </a:lnTo>
                <a:lnTo>
                  <a:pt x="114" y="312"/>
                </a:lnTo>
                <a:lnTo>
                  <a:pt x="114" y="312"/>
                </a:lnTo>
                <a:lnTo>
                  <a:pt x="114" y="312"/>
                </a:lnTo>
                <a:lnTo>
                  <a:pt x="114" y="312"/>
                </a:lnTo>
                <a:lnTo>
                  <a:pt x="108" y="312"/>
                </a:lnTo>
                <a:lnTo>
                  <a:pt x="108" y="312"/>
                </a:lnTo>
                <a:lnTo>
                  <a:pt x="108" y="312"/>
                </a:lnTo>
                <a:lnTo>
                  <a:pt x="108" y="312"/>
                </a:lnTo>
                <a:lnTo>
                  <a:pt x="108" y="312"/>
                </a:lnTo>
                <a:lnTo>
                  <a:pt x="102" y="312"/>
                </a:lnTo>
                <a:lnTo>
                  <a:pt x="102" y="312"/>
                </a:lnTo>
                <a:lnTo>
                  <a:pt x="102" y="312"/>
                </a:lnTo>
                <a:lnTo>
                  <a:pt x="96" y="312"/>
                </a:lnTo>
                <a:lnTo>
                  <a:pt x="96" y="312"/>
                </a:lnTo>
                <a:lnTo>
                  <a:pt x="96" y="312"/>
                </a:lnTo>
                <a:lnTo>
                  <a:pt x="96" y="312"/>
                </a:lnTo>
                <a:lnTo>
                  <a:pt x="96" y="312"/>
                </a:lnTo>
                <a:lnTo>
                  <a:pt x="96" y="312"/>
                </a:lnTo>
                <a:lnTo>
                  <a:pt x="96" y="312"/>
                </a:lnTo>
                <a:lnTo>
                  <a:pt x="90" y="312"/>
                </a:lnTo>
                <a:lnTo>
                  <a:pt x="90" y="312"/>
                </a:lnTo>
                <a:lnTo>
                  <a:pt x="90" y="312"/>
                </a:lnTo>
                <a:lnTo>
                  <a:pt x="90" y="312"/>
                </a:lnTo>
                <a:lnTo>
                  <a:pt x="90" y="312"/>
                </a:lnTo>
                <a:lnTo>
                  <a:pt x="90" y="312"/>
                </a:lnTo>
                <a:lnTo>
                  <a:pt x="84" y="312"/>
                </a:lnTo>
                <a:lnTo>
                  <a:pt x="84" y="312"/>
                </a:lnTo>
                <a:lnTo>
                  <a:pt x="84" y="306"/>
                </a:lnTo>
                <a:lnTo>
                  <a:pt x="84" y="306"/>
                </a:lnTo>
                <a:lnTo>
                  <a:pt x="84" y="312"/>
                </a:lnTo>
                <a:lnTo>
                  <a:pt x="78" y="306"/>
                </a:lnTo>
                <a:lnTo>
                  <a:pt x="78" y="306"/>
                </a:lnTo>
                <a:lnTo>
                  <a:pt x="78" y="306"/>
                </a:lnTo>
                <a:lnTo>
                  <a:pt x="78" y="306"/>
                </a:lnTo>
                <a:lnTo>
                  <a:pt x="78" y="306"/>
                </a:lnTo>
                <a:lnTo>
                  <a:pt x="78" y="306"/>
                </a:lnTo>
                <a:lnTo>
                  <a:pt x="72" y="306"/>
                </a:lnTo>
                <a:lnTo>
                  <a:pt x="72" y="306"/>
                </a:lnTo>
                <a:lnTo>
                  <a:pt x="66" y="306"/>
                </a:lnTo>
                <a:lnTo>
                  <a:pt x="66" y="306"/>
                </a:lnTo>
                <a:lnTo>
                  <a:pt x="66" y="306"/>
                </a:lnTo>
                <a:lnTo>
                  <a:pt x="66" y="306"/>
                </a:lnTo>
                <a:lnTo>
                  <a:pt x="66" y="306"/>
                </a:lnTo>
                <a:lnTo>
                  <a:pt x="66" y="306"/>
                </a:lnTo>
                <a:lnTo>
                  <a:pt x="60" y="306"/>
                </a:lnTo>
                <a:lnTo>
                  <a:pt x="60" y="306"/>
                </a:lnTo>
                <a:lnTo>
                  <a:pt x="60" y="306"/>
                </a:lnTo>
                <a:lnTo>
                  <a:pt x="60" y="306"/>
                </a:lnTo>
                <a:lnTo>
                  <a:pt x="60" y="306"/>
                </a:lnTo>
                <a:lnTo>
                  <a:pt x="60" y="306"/>
                </a:lnTo>
                <a:lnTo>
                  <a:pt x="60" y="306"/>
                </a:lnTo>
                <a:lnTo>
                  <a:pt x="60" y="306"/>
                </a:lnTo>
                <a:lnTo>
                  <a:pt x="60" y="312"/>
                </a:lnTo>
                <a:lnTo>
                  <a:pt x="54" y="312"/>
                </a:lnTo>
                <a:lnTo>
                  <a:pt x="54" y="312"/>
                </a:lnTo>
                <a:lnTo>
                  <a:pt x="54" y="312"/>
                </a:lnTo>
                <a:lnTo>
                  <a:pt x="54" y="312"/>
                </a:lnTo>
                <a:lnTo>
                  <a:pt x="48" y="312"/>
                </a:lnTo>
                <a:lnTo>
                  <a:pt x="48" y="312"/>
                </a:lnTo>
                <a:lnTo>
                  <a:pt x="48" y="312"/>
                </a:lnTo>
                <a:lnTo>
                  <a:pt x="48" y="312"/>
                </a:lnTo>
                <a:lnTo>
                  <a:pt x="48" y="318"/>
                </a:lnTo>
                <a:lnTo>
                  <a:pt x="48" y="318"/>
                </a:lnTo>
                <a:lnTo>
                  <a:pt x="48" y="318"/>
                </a:lnTo>
                <a:lnTo>
                  <a:pt x="48" y="318"/>
                </a:lnTo>
                <a:lnTo>
                  <a:pt x="48" y="324"/>
                </a:lnTo>
                <a:lnTo>
                  <a:pt x="48" y="324"/>
                </a:lnTo>
                <a:lnTo>
                  <a:pt x="48" y="324"/>
                </a:lnTo>
                <a:lnTo>
                  <a:pt x="48" y="324"/>
                </a:lnTo>
                <a:lnTo>
                  <a:pt x="42" y="324"/>
                </a:lnTo>
                <a:lnTo>
                  <a:pt x="42" y="324"/>
                </a:lnTo>
                <a:lnTo>
                  <a:pt x="36" y="324"/>
                </a:lnTo>
                <a:lnTo>
                  <a:pt x="36" y="318"/>
                </a:lnTo>
                <a:lnTo>
                  <a:pt x="36" y="318"/>
                </a:lnTo>
                <a:lnTo>
                  <a:pt x="36" y="318"/>
                </a:lnTo>
                <a:lnTo>
                  <a:pt x="30" y="318"/>
                </a:lnTo>
                <a:lnTo>
                  <a:pt x="30" y="318"/>
                </a:lnTo>
                <a:lnTo>
                  <a:pt x="30" y="324"/>
                </a:lnTo>
                <a:lnTo>
                  <a:pt x="30" y="324"/>
                </a:lnTo>
                <a:lnTo>
                  <a:pt x="24" y="324"/>
                </a:lnTo>
                <a:lnTo>
                  <a:pt x="24" y="318"/>
                </a:lnTo>
                <a:lnTo>
                  <a:pt x="24" y="318"/>
                </a:lnTo>
                <a:lnTo>
                  <a:pt x="24" y="318"/>
                </a:lnTo>
                <a:lnTo>
                  <a:pt x="24" y="312"/>
                </a:lnTo>
                <a:lnTo>
                  <a:pt x="18" y="312"/>
                </a:lnTo>
                <a:lnTo>
                  <a:pt x="18" y="306"/>
                </a:lnTo>
                <a:lnTo>
                  <a:pt x="18" y="306"/>
                </a:lnTo>
                <a:lnTo>
                  <a:pt x="18" y="300"/>
                </a:lnTo>
                <a:lnTo>
                  <a:pt x="12" y="300"/>
                </a:lnTo>
                <a:lnTo>
                  <a:pt x="12" y="300"/>
                </a:lnTo>
                <a:lnTo>
                  <a:pt x="12" y="300"/>
                </a:lnTo>
                <a:lnTo>
                  <a:pt x="12" y="300"/>
                </a:lnTo>
                <a:lnTo>
                  <a:pt x="6" y="300"/>
                </a:lnTo>
                <a:lnTo>
                  <a:pt x="6" y="294"/>
                </a:lnTo>
                <a:lnTo>
                  <a:pt x="6" y="294"/>
                </a:lnTo>
                <a:lnTo>
                  <a:pt x="0" y="294"/>
                </a:lnTo>
                <a:lnTo>
                  <a:pt x="0" y="28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22" name="Freeform 55"/>
          <p:cNvSpPr>
            <a:spLocks/>
          </p:cNvSpPr>
          <p:nvPr/>
        </p:nvSpPr>
        <p:spPr bwMode="auto">
          <a:xfrm>
            <a:off x="6286538" y="762354"/>
            <a:ext cx="443259" cy="353325"/>
          </a:xfrm>
          <a:custGeom>
            <a:avLst/>
            <a:gdLst>
              <a:gd name="T0" fmla="*/ 18 w 414"/>
              <a:gd name="T1" fmla="*/ 66 h 330"/>
              <a:gd name="T2" fmla="*/ 24 w 414"/>
              <a:gd name="T3" fmla="*/ 54 h 330"/>
              <a:gd name="T4" fmla="*/ 36 w 414"/>
              <a:gd name="T5" fmla="*/ 48 h 330"/>
              <a:gd name="T6" fmla="*/ 48 w 414"/>
              <a:gd name="T7" fmla="*/ 48 h 330"/>
              <a:gd name="T8" fmla="*/ 66 w 414"/>
              <a:gd name="T9" fmla="*/ 54 h 330"/>
              <a:gd name="T10" fmla="*/ 78 w 414"/>
              <a:gd name="T11" fmla="*/ 54 h 330"/>
              <a:gd name="T12" fmla="*/ 84 w 414"/>
              <a:gd name="T13" fmla="*/ 42 h 330"/>
              <a:gd name="T14" fmla="*/ 102 w 414"/>
              <a:gd name="T15" fmla="*/ 36 h 330"/>
              <a:gd name="T16" fmla="*/ 108 w 414"/>
              <a:gd name="T17" fmla="*/ 24 h 330"/>
              <a:gd name="T18" fmla="*/ 120 w 414"/>
              <a:gd name="T19" fmla="*/ 18 h 330"/>
              <a:gd name="T20" fmla="*/ 126 w 414"/>
              <a:gd name="T21" fmla="*/ 6 h 330"/>
              <a:gd name="T22" fmla="*/ 132 w 414"/>
              <a:gd name="T23" fmla="*/ 6 h 330"/>
              <a:gd name="T24" fmla="*/ 132 w 414"/>
              <a:gd name="T25" fmla="*/ 30 h 330"/>
              <a:gd name="T26" fmla="*/ 138 w 414"/>
              <a:gd name="T27" fmla="*/ 54 h 330"/>
              <a:gd name="T28" fmla="*/ 132 w 414"/>
              <a:gd name="T29" fmla="*/ 72 h 330"/>
              <a:gd name="T30" fmla="*/ 132 w 414"/>
              <a:gd name="T31" fmla="*/ 84 h 330"/>
              <a:gd name="T32" fmla="*/ 132 w 414"/>
              <a:gd name="T33" fmla="*/ 102 h 330"/>
              <a:gd name="T34" fmla="*/ 132 w 414"/>
              <a:gd name="T35" fmla="*/ 120 h 330"/>
              <a:gd name="T36" fmla="*/ 132 w 414"/>
              <a:gd name="T37" fmla="*/ 132 h 330"/>
              <a:gd name="T38" fmla="*/ 138 w 414"/>
              <a:gd name="T39" fmla="*/ 144 h 330"/>
              <a:gd name="T40" fmla="*/ 210 w 414"/>
              <a:gd name="T41" fmla="*/ 156 h 330"/>
              <a:gd name="T42" fmla="*/ 210 w 414"/>
              <a:gd name="T43" fmla="*/ 168 h 330"/>
              <a:gd name="T44" fmla="*/ 216 w 414"/>
              <a:gd name="T45" fmla="*/ 192 h 330"/>
              <a:gd name="T46" fmla="*/ 234 w 414"/>
              <a:gd name="T47" fmla="*/ 192 h 330"/>
              <a:gd name="T48" fmla="*/ 246 w 414"/>
              <a:gd name="T49" fmla="*/ 186 h 330"/>
              <a:gd name="T50" fmla="*/ 264 w 414"/>
              <a:gd name="T51" fmla="*/ 186 h 330"/>
              <a:gd name="T52" fmla="*/ 270 w 414"/>
              <a:gd name="T53" fmla="*/ 192 h 330"/>
              <a:gd name="T54" fmla="*/ 282 w 414"/>
              <a:gd name="T55" fmla="*/ 192 h 330"/>
              <a:gd name="T56" fmla="*/ 312 w 414"/>
              <a:gd name="T57" fmla="*/ 180 h 330"/>
              <a:gd name="T58" fmla="*/ 324 w 414"/>
              <a:gd name="T59" fmla="*/ 180 h 330"/>
              <a:gd name="T60" fmla="*/ 336 w 414"/>
              <a:gd name="T61" fmla="*/ 168 h 330"/>
              <a:gd name="T62" fmla="*/ 360 w 414"/>
              <a:gd name="T63" fmla="*/ 156 h 330"/>
              <a:gd name="T64" fmla="*/ 378 w 414"/>
              <a:gd name="T65" fmla="*/ 156 h 330"/>
              <a:gd name="T66" fmla="*/ 408 w 414"/>
              <a:gd name="T67" fmla="*/ 174 h 330"/>
              <a:gd name="T68" fmla="*/ 396 w 414"/>
              <a:gd name="T69" fmla="*/ 198 h 330"/>
              <a:gd name="T70" fmla="*/ 390 w 414"/>
              <a:gd name="T71" fmla="*/ 210 h 330"/>
              <a:gd name="T72" fmla="*/ 354 w 414"/>
              <a:gd name="T73" fmla="*/ 228 h 330"/>
              <a:gd name="T74" fmla="*/ 330 w 414"/>
              <a:gd name="T75" fmla="*/ 270 h 330"/>
              <a:gd name="T76" fmla="*/ 276 w 414"/>
              <a:gd name="T77" fmla="*/ 306 h 330"/>
              <a:gd name="T78" fmla="*/ 252 w 414"/>
              <a:gd name="T79" fmla="*/ 330 h 330"/>
              <a:gd name="T80" fmla="*/ 222 w 414"/>
              <a:gd name="T81" fmla="*/ 330 h 330"/>
              <a:gd name="T82" fmla="*/ 198 w 414"/>
              <a:gd name="T83" fmla="*/ 312 h 330"/>
              <a:gd name="T84" fmla="*/ 192 w 414"/>
              <a:gd name="T85" fmla="*/ 300 h 330"/>
              <a:gd name="T86" fmla="*/ 186 w 414"/>
              <a:gd name="T87" fmla="*/ 288 h 330"/>
              <a:gd name="T88" fmla="*/ 174 w 414"/>
              <a:gd name="T89" fmla="*/ 270 h 330"/>
              <a:gd name="T90" fmla="*/ 168 w 414"/>
              <a:gd name="T91" fmla="*/ 264 h 330"/>
              <a:gd name="T92" fmla="*/ 162 w 414"/>
              <a:gd name="T93" fmla="*/ 258 h 330"/>
              <a:gd name="T94" fmla="*/ 150 w 414"/>
              <a:gd name="T95" fmla="*/ 258 h 330"/>
              <a:gd name="T96" fmla="*/ 132 w 414"/>
              <a:gd name="T97" fmla="*/ 258 h 330"/>
              <a:gd name="T98" fmla="*/ 108 w 414"/>
              <a:gd name="T99" fmla="*/ 258 h 330"/>
              <a:gd name="T100" fmla="*/ 96 w 414"/>
              <a:gd name="T101" fmla="*/ 270 h 330"/>
              <a:gd name="T102" fmla="*/ 84 w 414"/>
              <a:gd name="T103" fmla="*/ 258 h 330"/>
              <a:gd name="T104" fmla="*/ 78 w 414"/>
              <a:gd name="T105" fmla="*/ 240 h 330"/>
              <a:gd name="T106" fmla="*/ 66 w 414"/>
              <a:gd name="T107" fmla="*/ 228 h 330"/>
              <a:gd name="T108" fmla="*/ 54 w 414"/>
              <a:gd name="T109" fmla="*/ 216 h 330"/>
              <a:gd name="T110" fmla="*/ 42 w 414"/>
              <a:gd name="T111" fmla="*/ 204 h 330"/>
              <a:gd name="T112" fmla="*/ 30 w 414"/>
              <a:gd name="T113" fmla="*/ 198 h 330"/>
              <a:gd name="T114" fmla="*/ 18 w 414"/>
              <a:gd name="T115" fmla="*/ 174 h 330"/>
              <a:gd name="T116" fmla="*/ 18 w 414"/>
              <a:gd name="T117" fmla="*/ 144 h 330"/>
              <a:gd name="T118" fmla="*/ 18 w 414"/>
              <a:gd name="T119" fmla="*/ 114 h 330"/>
              <a:gd name="T120" fmla="*/ 12 w 414"/>
              <a:gd name="T121" fmla="*/ 96 h 330"/>
              <a:gd name="T122" fmla="*/ 6 w 414"/>
              <a:gd name="T123" fmla="*/ 78 h 3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14" h="330">
                <a:moveTo>
                  <a:pt x="0" y="66"/>
                </a:moveTo>
                <a:lnTo>
                  <a:pt x="0" y="60"/>
                </a:lnTo>
                <a:lnTo>
                  <a:pt x="0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6"/>
                </a:lnTo>
                <a:lnTo>
                  <a:pt x="12" y="66"/>
                </a:lnTo>
                <a:lnTo>
                  <a:pt x="12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30" y="54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42" y="48"/>
                </a:lnTo>
                <a:lnTo>
                  <a:pt x="42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54" y="54"/>
                </a:lnTo>
                <a:lnTo>
                  <a:pt x="54" y="48"/>
                </a:lnTo>
                <a:lnTo>
                  <a:pt x="54" y="48"/>
                </a:lnTo>
                <a:lnTo>
                  <a:pt x="54" y="54"/>
                </a:lnTo>
                <a:lnTo>
                  <a:pt x="54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0"/>
                </a:lnTo>
                <a:lnTo>
                  <a:pt x="108" y="30"/>
                </a:lnTo>
                <a:lnTo>
                  <a:pt x="108" y="36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2" y="30"/>
                </a:lnTo>
                <a:lnTo>
                  <a:pt x="108" y="30"/>
                </a:lnTo>
                <a:lnTo>
                  <a:pt x="102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14" y="24"/>
                </a:lnTo>
                <a:lnTo>
                  <a:pt x="114" y="18"/>
                </a:lnTo>
                <a:lnTo>
                  <a:pt x="114" y="24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20" y="18"/>
                </a:lnTo>
                <a:lnTo>
                  <a:pt x="114" y="18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32" y="6"/>
                </a:lnTo>
                <a:lnTo>
                  <a:pt x="132" y="0"/>
                </a:lnTo>
                <a:lnTo>
                  <a:pt x="132" y="0"/>
                </a:lnTo>
                <a:lnTo>
                  <a:pt x="132" y="0"/>
                </a:lnTo>
                <a:lnTo>
                  <a:pt x="132" y="0"/>
                </a:lnTo>
                <a:lnTo>
                  <a:pt x="132" y="0"/>
                </a:lnTo>
                <a:lnTo>
                  <a:pt x="132" y="0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42"/>
                </a:lnTo>
                <a:lnTo>
                  <a:pt x="138" y="48"/>
                </a:lnTo>
                <a:lnTo>
                  <a:pt x="138" y="48"/>
                </a:lnTo>
                <a:lnTo>
                  <a:pt x="138" y="48"/>
                </a:lnTo>
                <a:lnTo>
                  <a:pt x="138" y="48"/>
                </a:lnTo>
                <a:lnTo>
                  <a:pt x="138" y="48"/>
                </a:lnTo>
                <a:lnTo>
                  <a:pt x="138" y="54"/>
                </a:lnTo>
                <a:lnTo>
                  <a:pt x="138" y="54"/>
                </a:lnTo>
                <a:lnTo>
                  <a:pt x="138" y="54"/>
                </a:lnTo>
                <a:lnTo>
                  <a:pt x="138" y="54"/>
                </a:lnTo>
                <a:lnTo>
                  <a:pt x="138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66"/>
                </a:lnTo>
                <a:lnTo>
                  <a:pt x="132" y="66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26" y="78"/>
                </a:lnTo>
                <a:lnTo>
                  <a:pt x="126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84"/>
                </a:lnTo>
                <a:lnTo>
                  <a:pt x="126" y="84"/>
                </a:lnTo>
                <a:lnTo>
                  <a:pt x="132" y="84"/>
                </a:lnTo>
                <a:lnTo>
                  <a:pt x="132" y="84"/>
                </a:lnTo>
                <a:lnTo>
                  <a:pt x="132" y="84"/>
                </a:lnTo>
                <a:lnTo>
                  <a:pt x="132" y="84"/>
                </a:lnTo>
                <a:lnTo>
                  <a:pt x="132" y="90"/>
                </a:lnTo>
                <a:lnTo>
                  <a:pt x="132" y="90"/>
                </a:lnTo>
                <a:lnTo>
                  <a:pt x="132" y="90"/>
                </a:lnTo>
                <a:lnTo>
                  <a:pt x="132" y="90"/>
                </a:lnTo>
                <a:lnTo>
                  <a:pt x="132" y="96"/>
                </a:lnTo>
                <a:lnTo>
                  <a:pt x="132" y="96"/>
                </a:lnTo>
                <a:lnTo>
                  <a:pt x="132" y="96"/>
                </a:lnTo>
                <a:lnTo>
                  <a:pt x="132" y="96"/>
                </a:lnTo>
                <a:lnTo>
                  <a:pt x="132" y="102"/>
                </a:lnTo>
                <a:lnTo>
                  <a:pt x="132" y="102"/>
                </a:lnTo>
                <a:lnTo>
                  <a:pt x="132" y="102"/>
                </a:lnTo>
                <a:lnTo>
                  <a:pt x="132" y="102"/>
                </a:lnTo>
                <a:lnTo>
                  <a:pt x="132" y="102"/>
                </a:lnTo>
                <a:lnTo>
                  <a:pt x="132" y="108"/>
                </a:lnTo>
                <a:lnTo>
                  <a:pt x="132" y="108"/>
                </a:lnTo>
                <a:lnTo>
                  <a:pt x="132" y="108"/>
                </a:lnTo>
                <a:lnTo>
                  <a:pt x="132" y="114"/>
                </a:lnTo>
                <a:lnTo>
                  <a:pt x="132" y="114"/>
                </a:lnTo>
                <a:lnTo>
                  <a:pt x="132" y="114"/>
                </a:lnTo>
                <a:lnTo>
                  <a:pt x="132" y="114"/>
                </a:lnTo>
                <a:lnTo>
                  <a:pt x="132" y="114"/>
                </a:lnTo>
                <a:lnTo>
                  <a:pt x="132" y="120"/>
                </a:lnTo>
                <a:lnTo>
                  <a:pt x="132" y="120"/>
                </a:lnTo>
                <a:lnTo>
                  <a:pt x="132" y="120"/>
                </a:lnTo>
                <a:lnTo>
                  <a:pt x="132" y="120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32"/>
                </a:lnTo>
                <a:lnTo>
                  <a:pt x="132" y="132"/>
                </a:lnTo>
                <a:lnTo>
                  <a:pt x="132" y="132"/>
                </a:lnTo>
                <a:lnTo>
                  <a:pt x="132" y="132"/>
                </a:lnTo>
                <a:lnTo>
                  <a:pt x="132" y="132"/>
                </a:lnTo>
                <a:lnTo>
                  <a:pt x="132" y="138"/>
                </a:lnTo>
                <a:lnTo>
                  <a:pt x="132" y="138"/>
                </a:lnTo>
                <a:lnTo>
                  <a:pt x="138" y="138"/>
                </a:lnTo>
                <a:lnTo>
                  <a:pt x="138" y="138"/>
                </a:lnTo>
                <a:lnTo>
                  <a:pt x="138" y="144"/>
                </a:lnTo>
                <a:lnTo>
                  <a:pt x="132" y="144"/>
                </a:lnTo>
                <a:lnTo>
                  <a:pt x="138" y="144"/>
                </a:lnTo>
                <a:lnTo>
                  <a:pt x="138" y="144"/>
                </a:lnTo>
                <a:lnTo>
                  <a:pt x="138" y="144"/>
                </a:lnTo>
                <a:lnTo>
                  <a:pt x="138" y="144"/>
                </a:lnTo>
                <a:lnTo>
                  <a:pt x="216" y="144"/>
                </a:lnTo>
                <a:lnTo>
                  <a:pt x="216" y="150"/>
                </a:lnTo>
                <a:lnTo>
                  <a:pt x="216" y="150"/>
                </a:lnTo>
                <a:lnTo>
                  <a:pt x="216" y="150"/>
                </a:lnTo>
                <a:lnTo>
                  <a:pt x="216" y="150"/>
                </a:lnTo>
                <a:lnTo>
                  <a:pt x="216" y="150"/>
                </a:lnTo>
                <a:lnTo>
                  <a:pt x="216" y="150"/>
                </a:lnTo>
                <a:lnTo>
                  <a:pt x="210" y="150"/>
                </a:lnTo>
                <a:lnTo>
                  <a:pt x="210" y="156"/>
                </a:lnTo>
                <a:lnTo>
                  <a:pt x="210" y="156"/>
                </a:lnTo>
                <a:lnTo>
                  <a:pt x="210" y="156"/>
                </a:lnTo>
                <a:lnTo>
                  <a:pt x="210" y="156"/>
                </a:lnTo>
                <a:lnTo>
                  <a:pt x="210" y="156"/>
                </a:lnTo>
                <a:lnTo>
                  <a:pt x="210" y="162"/>
                </a:lnTo>
                <a:lnTo>
                  <a:pt x="210" y="162"/>
                </a:lnTo>
                <a:lnTo>
                  <a:pt x="210" y="162"/>
                </a:lnTo>
                <a:lnTo>
                  <a:pt x="210" y="162"/>
                </a:lnTo>
                <a:lnTo>
                  <a:pt x="210" y="168"/>
                </a:lnTo>
                <a:lnTo>
                  <a:pt x="210" y="168"/>
                </a:lnTo>
                <a:lnTo>
                  <a:pt x="210" y="168"/>
                </a:lnTo>
                <a:lnTo>
                  <a:pt x="210" y="168"/>
                </a:lnTo>
                <a:lnTo>
                  <a:pt x="210" y="168"/>
                </a:lnTo>
                <a:lnTo>
                  <a:pt x="210" y="174"/>
                </a:lnTo>
                <a:lnTo>
                  <a:pt x="210" y="174"/>
                </a:lnTo>
                <a:lnTo>
                  <a:pt x="204" y="174"/>
                </a:lnTo>
                <a:lnTo>
                  <a:pt x="204" y="174"/>
                </a:lnTo>
                <a:lnTo>
                  <a:pt x="210" y="180"/>
                </a:lnTo>
                <a:lnTo>
                  <a:pt x="210" y="180"/>
                </a:lnTo>
                <a:lnTo>
                  <a:pt x="216" y="180"/>
                </a:lnTo>
                <a:lnTo>
                  <a:pt x="216" y="180"/>
                </a:lnTo>
                <a:lnTo>
                  <a:pt x="210" y="186"/>
                </a:lnTo>
                <a:lnTo>
                  <a:pt x="210" y="186"/>
                </a:lnTo>
                <a:lnTo>
                  <a:pt x="216" y="192"/>
                </a:lnTo>
                <a:lnTo>
                  <a:pt x="216" y="192"/>
                </a:lnTo>
                <a:lnTo>
                  <a:pt x="216" y="192"/>
                </a:lnTo>
                <a:lnTo>
                  <a:pt x="216" y="192"/>
                </a:lnTo>
                <a:lnTo>
                  <a:pt x="216" y="192"/>
                </a:lnTo>
                <a:lnTo>
                  <a:pt x="222" y="192"/>
                </a:lnTo>
                <a:lnTo>
                  <a:pt x="222" y="192"/>
                </a:lnTo>
                <a:lnTo>
                  <a:pt x="222" y="192"/>
                </a:lnTo>
                <a:lnTo>
                  <a:pt x="222" y="192"/>
                </a:lnTo>
                <a:lnTo>
                  <a:pt x="222" y="192"/>
                </a:lnTo>
                <a:lnTo>
                  <a:pt x="228" y="192"/>
                </a:lnTo>
                <a:lnTo>
                  <a:pt x="228" y="192"/>
                </a:lnTo>
                <a:lnTo>
                  <a:pt x="228" y="192"/>
                </a:lnTo>
                <a:lnTo>
                  <a:pt x="234" y="192"/>
                </a:lnTo>
                <a:lnTo>
                  <a:pt x="234" y="192"/>
                </a:lnTo>
                <a:lnTo>
                  <a:pt x="234" y="192"/>
                </a:lnTo>
                <a:lnTo>
                  <a:pt x="234" y="192"/>
                </a:lnTo>
                <a:lnTo>
                  <a:pt x="234" y="192"/>
                </a:lnTo>
                <a:lnTo>
                  <a:pt x="234" y="192"/>
                </a:lnTo>
                <a:lnTo>
                  <a:pt x="240" y="192"/>
                </a:lnTo>
                <a:lnTo>
                  <a:pt x="240" y="192"/>
                </a:lnTo>
                <a:lnTo>
                  <a:pt x="240" y="186"/>
                </a:lnTo>
                <a:lnTo>
                  <a:pt x="240" y="186"/>
                </a:lnTo>
                <a:lnTo>
                  <a:pt x="240" y="186"/>
                </a:lnTo>
                <a:lnTo>
                  <a:pt x="240" y="186"/>
                </a:lnTo>
                <a:lnTo>
                  <a:pt x="246" y="186"/>
                </a:lnTo>
                <a:lnTo>
                  <a:pt x="246" y="180"/>
                </a:lnTo>
                <a:lnTo>
                  <a:pt x="246" y="180"/>
                </a:lnTo>
                <a:lnTo>
                  <a:pt x="246" y="186"/>
                </a:lnTo>
                <a:lnTo>
                  <a:pt x="246" y="186"/>
                </a:lnTo>
                <a:lnTo>
                  <a:pt x="252" y="186"/>
                </a:lnTo>
                <a:lnTo>
                  <a:pt x="252" y="186"/>
                </a:lnTo>
                <a:lnTo>
                  <a:pt x="252" y="186"/>
                </a:lnTo>
                <a:lnTo>
                  <a:pt x="258" y="186"/>
                </a:lnTo>
                <a:lnTo>
                  <a:pt x="258" y="186"/>
                </a:lnTo>
                <a:lnTo>
                  <a:pt x="258" y="186"/>
                </a:lnTo>
                <a:lnTo>
                  <a:pt x="264" y="186"/>
                </a:lnTo>
                <a:lnTo>
                  <a:pt x="264" y="186"/>
                </a:lnTo>
                <a:lnTo>
                  <a:pt x="264" y="186"/>
                </a:lnTo>
                <a:lnTo>
                  <a:pt x="264" y="186"/>
                </a:lnTo>
                <a:lnTo>
                  <a:pt x="264" y="192"/>
                </a:lnTo>
                <a:lnTo>
                  <a:pt x="264" y="192"/>
                </a:lnTo>
                <a:lnTo>
                  <a:pt x="264" y="192"/>
                </a:lnTo>
                <a:lnTo>
                  <a:pt x="264" y="192"/>
                </a:lnTo>
                <a:lnTo>
                  <a:pt x="264" y="192"/>
                </a:lnTo>
                <a:lnTo>
                  <a:pt x="264" y="192"/>
                </a:lnTo>
                <a:lnTo>
                  <a:pt x="264" y="192"/>
                </a:lnTo>
                <a:lnTo>
                  <a:pt x="264" y="192"/>
                </a:lnTo>
                <a:lnTo>
                  <a:pt x="264" y="192"/>
                </a:lnTo>
                <a:lnTo>
                  <a:pt x="270" y="192"/>
                </a:lnTo>
                <a:lnTo>
                  <a:pt x="270" y="198"/>
                </a:lnTo>
                <a:lnTo>
                  <a:pt x="270" y="198"/>
                </a:lnTo>
                <a:lnTo>
                  <a:pt x="270" y="192"/>
                </a:lnTo>
                <a:lnTo>
                  <a:pt x="270" y="192"/>
                </a:lnTo>
                <a:lnTo>
                  <a:pt x="270" y="192"/>
                </a:lnTo>
                <a:lnTo>
                  <a:pt x="270" y="192"/>
                </a:lnTo>
                <a:lnTo>
                  <a:pt x="270" y="192"/>
                </a:lnTo>
                <a:lnTo>
                  <a:pt x="276" y="186"/>
                </a:lnTo>
                <a:lnTo>
                  <a:pt x="276" y="186"/>
                </a:lnTo>
                <a:lnTo>
                  <a:pt x="282" y="186"/>
                </a:lnTo>
                <a:lnTo>
                  <a:pt x="282" y="192"/>
                </a:lnTo>
                <a:lnTo>
                  <a:pt x="282" y="192"/>
                </a:lnTo>
                <a:lnTo>
                  <a:pt x="282" y="192"/>
                </a:lnTo>
                <a:lnTo>
                  <a:pt x="288" y="192"/>
                </a:lnTo>
                <a:lnTo>
                  <a:pt x="288" y="192"/>
                </a:lnTo>
                <a:lnTo>
                  <a:pt x="294" y="192"/>
                </a:lnTo>
                <a:lnTo>
                  <a:pt x="294" y="186"/>
                </a:lnTo>
                <a:lnTo>
                  <a:pt x="294" y="186"/>
                </a:lnTo>
                <a:lnTo>
                  <a:pt x="294" y="186"/>
                </a:lnTo>
                <a:lnTo>
                  <a:pt x="294" y="186"/>
                </a:lnTo>
                <a:lnTo>
                  <a:pt x="300" y="180"/>
                </a:lnTo>
                <a:lnTo>
                  <a:pt x="306" y="186"/>
                </a:lnTo>
                <a:lnTo>
                  <a:pt x="306" y="180"/>
                </a:lnTo>
                <a:lnTo>
                  <a:pt x="312" y="180"/>
                </a:lnTo>
                <a:lnTo>
                  <a:pt x="312" y="180"/>
                </a:lnTo>
                <a:lnTo>
                  <a:pt x="312" y="186"/>
                </a:lnTo>
                <a:lnTo>
                  <a:pt x="312" y="186"/>
                </a:lnTo>
                <a:lnTo>
                  <a:pt x="312" y="186"/>
                </a:lnTo>
                <a:lnTo>
                  <a:pt x="318" y="186"/>
                </a:lnTo>
                <a:lnTo>
                  <a:pt x="318" y="186"/>
                </a:lnTo>
                <a:lnTo>
                  <a:pt x="318" y="180"/>
                </a:lnTo>
                <a:lnTo>
                  <a:pt x="312" y="180"/>
                </a:lnTo>
                <a:lnTo>
                  <a:pt x="318" y="180"/>
                </a:lnTo>
                <a:lnTo>
                  <a:pt x="318" y="174"/>
                </a:lnTo>
                <a:lnTo>
                  <a:pt x="318" y="174"/>
                </a:lnTo>
                <a:lnTo>
                  <a:pt x="324" y="180"/>
                </a:lnTo>
                <a:lnTo>
                  <a:pt x="324" y="180"/>
                </a:lnTo>
                <a:lnTo>
                  <a:pt x="324" y="174"/>
                </a:lnTo>
                <a:lnTo>
                  <a:pt x="324" y="174"/>
                </a:lnTo>
                <a:lnTo>
                  <a:pt x="330" y="180"/>
                </a:lnTo>
                <a:lnTo>
                  <a:pt x="330" y="180"/>
                </a:lnTo>
                <a:lnTo>
                  <a:pt x="330" y="186"/>
                </a:lnTo>
                <a:lnTo>
                  <a:pt x="330" y="186"/>
                </a:lnTo>
                <a:lnTo>
                  <a:pt x="336" y="180"/>
                </a:lnTo>
                <a:lnTo>
                  <a:pt x="336" y="174"/>
                </a:lnTo>
                <a:lnTo>
                  <a:pt x="336" y="174"/>
                </a:lnTo>
                <a:lnTo>
                  <a:pt x="336" y="174"/>
                </a:lnTo>
                <a:lnTo>
                  <a:pt x="336" y="168"/>
                </a:lnTo>
                <a:lnTo>
                  <a:pt x="336" y="168"/>
                </a:lnTo>
                <a:lnTo>
                  <a:pt x="342" y="168"/>
                </a:lnTo>
                <a:lnTo>
                  <a:pt x="342" y="162"/>
                </a:lnTo>
                <a:lnTo>
                  <a:pt x="348" y="162"/>
                </a:lnTo>
                <a:lnTo>
                  <a:pt x="348" y="168"/>
                </a:lnTo>
                <a:lnTo>
                  <a:pt x="354" y="168"/>
                </a:lnTo>
                <a:lnTo>
                  <a:pt x="354" y="168"/>
                </a:lnTo>
                <a:lnTo>
                  <a:pt x="360" y="162"/>
                </a:lnTo>
                <a:lnTo>
                  <a:pt x="360" y="162"/>
                </a:lnTo>
                <a:lnTo>
                  <a:pt x="360" y="162"/>
                </a:lnTo>
                <a:lnTo>
                  <a:pt x="360" y="156"/>
                </a:lnTo>
                <a:lnTo>
                  <a:pt x="360" y="156"/>
                </a:lnTo>
                <a:lnTo>
                  <a:pt x="360" y="150"/>
                </a:lnTo>
                <a:lnTo>
                  <a:pt x="360" y="150"/>
                </a:lnTo>
                <a:lnTo>
                  <a:pt x="360" y="144"/>
                </a:lnTo>
                <a:lnTo>
                  <a:pt x="366" y="144"/>
                </a:lnTo>
                <a:lnTo>
                  <a:pt x="372" y="144"/>
                </a:lnTo>
                <a:lnTo>
                  <a:pt x="378" y="144"/>
                </a:lnTo>
                <a:lnTo>
                  <a:pt x="378" y="144"/>
                </a:lnTo>
                <a:lnTo>
                  <a:pt x="378" y="144"/>
                </a:lnTo>
                <a:lnTo>
                  <a:pt x="378" y="144"/>
                </a:lnTo>
                <a:lnTo>
                  <a:pt x="378" y="150"/>
                </a:lnTo>
                <a:lnTo>
                  <a:pt x="378" y="156"/>
                </a:lnTo>
                <a:lnTo>
                  <a:pt x="378" y="156"/>
                </a:lnTo>
                <a:lnTo>
                  <a:pt x="378" y="162"/>
                </a:lnTo>
                <a:lnTo>
                  <a:pt x="384" y="162"/>
                </a:lnTo>
                <a:lnTo>
                  <a:pt x="390" y="162"/>
                </a:lnTo>
                <a:lnTo>
                  <a:pt x="402" y="156"/>
                </a:lnTo>
                <a:lnTo>
                  <a:pt x="402" y="156"/>
                </a:lnTo>
                <a:lnTo>
                  <a:pt x="408" y="150"/>
                </a:lnTo>
                <a:lnTo>
                  <a:pt x="408" y="156"/>
                </a:lnTo>
                <a:lnTo>
                  <a:pt x="414" y="162"/>
                </a:lnTo>
                <a:lnTo>
                  <a:pt x="414" y="162"/>
                </a:lnTo>
                <a:lnTo>
                  <a:pt x="408" y="168"/>
                </a:lnTo>
                <a:lnTo>
                  <a:pt x="408" y="168"/>
                </a:lnTo>
                <a:lnTo>
                  <a:pt x="408" y="174"/>
                </a:lnTo>
                <a:lnTo>
                  <a:pt x="402" y="174"/>
                </a:lnTo>
                <a:lnTo>
                  <a:pt x="402" y="174"/>
                </a:lnTo>
                <a:lnTo>
                  <a:pt x="402" y="174"/>
                </a:lnTo>
                <a:lnTo>
                  <a:pt x="402" y="180"/>
                </a:lnTo>
                <a:lnTo>
                  <a:pt x="402" y="186"/>
                </a:lnTo>
                <a:lnTo>
                  <a:pt x="402" y="186"/>
                </a:lnTo>
                <a:lnTo>
                  <a:pt x="402" y="186"/>
                </a:lnTo>
                <a:lnTo>
                  <a:pt x="402" y="192"/>
                </a:lnTo>
                <a:lnTo>
                  <a:pt x="402" y="192"/>
                </a:lnTo>
                <a:lnTo>
                  <a:pt x="402" y="192"/>
                </a:lnTo>
                <a:lnTo>
                  <a:pt x="396" y="198"/>
                </a:lnTo>
                <a:lnTo>
                  <a:pt x="396" y="198"/>
                </a:lnTo>
                <a:lnTo>
                  <a:pt x="396" y="204"/>
                </a:lnTo>
                <a:lnTo>
                  <a:pt x="390" y="204"/>
                </a:lnTo>
                <a:lnTo>
                  <a:pt x="390" y="204"/>
                </a:lnTo>
                <a:lnTo>
                  <a:pt x="390" y="204"/>
                </a:lnTo>
                <a:lnTo>
                  <a:pt x="390" y="204"/>
                </a:lnTo>
                <a:lnTo>
                  <a:pt x="390" y="210"/>
                </a:lnTo>
                <a:lnTo>
                  <a:pt x="390" y="210"/>
                </a:lnTo>
                <a:lnTo>
                  <a:pt x="390" y="210"/>
                </a:lnTo>
                <a:lnTo>
                  <a:pt x="390" y="210"/>
                </a:lnTo>
                <a:lnTo>
                  <a:pt x="390" y="210"/>
                </a:lnTo>
                <a:lnTo>
                  <a:pt x="390" y="210"/>
                </a:lnTo>
                <a:lnTo>
                  <a:pt x="390" y="210"/>
                </a:lnTo>
                <a:lnTo>
                  <a:pt x="390" y="210"/>
                </a:lnTo>
                <a:lnTo>
                  <a:pt x="390" y="216"/>
                </a:lnTo>
                <a:lnTo>
                  <a:pt x="390" y="216"/>
                </a:lnTo>
                <a:lnTo>
                  <a:pt x="384" y="216"/>
                </a:lnTo>
                <a:lnTo>
                  <a:pt x="384" y="216"/>
                </a:lnTo>
                <a:lnTo>
                  <a:pt x="384" y="216"/>
                </a:lnTo>
                <a:lnTo>
                  <a:pt x="384" y="228"/>
                </a:lnTo>
                <a:lnTo>
                  <a:pt x="378" y="228"/>
                </a:lnTo>
                <a:lnTo>
                  <a:pt x="372" y="228"/>
                </a:lnTo>
                <a:lnTo>
                  <a:pt x="366" y="228"/>
                </a:lnTo>
                <a:lnTo>
                  <a:pt x="366" y="228"/>
                </a:lnTo>
                <a:lnTo>
                  <a:pt x="354" y="228"/>
                </a:lnTo>
                <a:lnTo>
                  <a:pt x="354" y="228"/>
                </a:lnTo>
                <a:lnTo>
                  <a:pt x="354" y="228"/>
                </a:lnTo>
                <a:lnTo>
                  <a:pt x="348" y="234"/>
                </a:lnTo>
                <a:lnTo>
                  <a:pt x="342" y="234"/>
                </a:lnTo>
                <a:lnTo>
                  <a:pt x="342" y="234"/>
                </a:lnTo>
                <a:lnTo>
                  <a:pt x="342" y="240"/>
                </a:lnTo>
                <a:lnTo>
                  <a:pt x="336" y="246"/>
                </a:lnTo>
                <a:lnTo>
                  <a:pt x="336" y="246"/>
                </a:lnTo>
                <a:lnTo>
                  <a:pt x="336" y="252"/>
                </a:lnTo>
                <a:lnTo>
                  <a:pt x="336" y="258"/>
                </a:lnTo>
                <a:lnTo>
                  <a:pt x="330" y="258"/>
                </a:lnTo>
                <a:lnTo>
                  <a:pt x="330" y="270"/>
                </a:lnTo>
                <a:lnTo>
                  <a:pt x="324" y="270"/>
                </a:lnTo>
                <a:lnTo>
                  <a:pt x="324" y="276"/>
                </a:lnTo>
                <a:lnTo>
                  <a:pt x="324" y="282"/>
                </a:lnTo>
                <a:lnTo>
                  <a:pt x="318" y="288"/>
                </a:lnTo>
                <a:lnTo>
                  <a:pt x="318" y="288"/>
                </a:lnTo>
                <a:lnTo>
                  <a:pt x="312" y="288"/>
                </a:lnTo>
                <a:lnTo>
                  <a:pt x="312" y="294"/>
                </a:lnTo>
                <a:lnTo>
                  <a:pt x="300" y="300"/>
                </a:lnTo>
                <a:lnTo>
                  <a:pt x="294" y="300"/>
                </a:lnTo>
                <a:lnTo>
                  <a:pt x="288" y="306"/>
                </a:lnTo>
                <a:lnTo>
                  <a:pt x="276" y="306"/>
                </a:lnTo>
                <a:lnTo>
                  <a:pt x="276" y="306"/>
                </a:lnTo>
                <a:lnTo>
                  <a:pt x="276" y="306"/>
                </a:lnTo>
                <a:lnTo>
                  <a:pt x="270" y="312"/>
                </a:lnTo>
                <a:lnTo>
                  <a:pt x="270" y="312"/>
                </a:lnTo>
                <a:lnTo>
                  <a:pt x="270" y="318"/>
                </a:lnTo>
                <a:lnTo>
                  <a:pt x="264" y="318"/>
                </a:lnTo>
                <a:lnTo>
                  <a:pt x="264" y="318"/>
                </a:lnTo>
                <a:lnTo>
                  <a:pt x="264" y="324"/>
                </a:lnTo>
                <a:lnTo>
                  <a:pt x="264" y="324"/>
                </a:lnTo>
                <a:lnTo>
                  <a:pt x="258" y="324"/>
                </a:lnTo>
                <a:lnTo>
                  <a:pt x="258" y="330"/>
                </a:lnTo>
                <a:lnTo>
                  <a:pt x="258" y="330"/>
                </a:lnTo>
                <a:lnTo>
                  <a:pt x="252" y="330"/>
                </a:lnTo>
                <a:lnTo>
                  <a:pt x="252" y="330"/>
                </a:lnTo>
                <a:lnTo>
                  <a:pt x="252" y="330"/>
                </a:lnTo>
                <a:lnTo>
                  <a:pt x="246" y="330"/>
                </a:lnTo>
                <a:lnTo>
                  <a:pt x="240" y="330"/>
                </a:lnTo>
                <a:lnTo>
                  <a:pt x="240" y="330"/>
                </a:lnTo>
                <a:lnTo>
                  <a:pt x="234" y="330"/>
                </a:lnTo>
                <a:lnTo>
                  <a:pt x="234" y="330"/>
                </a:lnTo>
                <a:lnTo>
                  <a:pt x="228" y="330"/>
                </a:lnTo>
                <a:lnTo>
                  <a:pt x="228" y="330"/>
                </a:lnTo>
                <a:lnTo>
                  <a:pt x="222" y="330"/>
                </a:lnTo>
                <a:lnTo>
                  <a:pt x="222" y="330"/>
                </a:lnTo>
                <a:lnTo>
                  <a:pt x="222" y="330"/>
                </a:lnTo>
                <a:lnTo>
                  <a:pt x="216" y="330"/>
                </a:lnTo>
                <a:lnTo>
                  <a:pt x="216" y="324"/>
                </a:lnTo>
                <a:lnTo>
                  <a:pt x="216" y="324"/>
                </a:lnTo>
                <a:lnTo>
                  <a:pt x="210" y="324"/>
                </a:lnTo>
                <a:lnTo>
                  <a:pt x="210" y="324"/>
                </a:lnTo>
                <a:lnTo>
                  <a:pt x="210" y="318"/>
                </a:lnTo>
                <a:lnTo>
                  <a:pt x="210" y="318"/>
                </a:lnTo>
                <a:lnTo>
                  <a:pt x="204" y="318"/>
                </a:lnTo>
                <a:lnTo>
                  <a:pt x="204" y="312"/>
                </a:lnTo>
                <a:lnTo>
                  <a:pt x="204" y="312"/>
                </a:lnTo>
                <a:lnTo>
                  <a:pt x="204" y="312"/>
                </a:lnTo>
                <a:lnTo>
                  <a:pt x="198" y="312"/>
                </a:lnTo>
                <a:lnTo>
                  <a:pt x="198" y="312"/>
                </a:lnTo>
                <a:lnTo>
                  <a:pt x="198" y="306"/>
                </a:lnTo>
                <a:lnTo>
                  <a:pt x="198" y="306"/>
                </a:lnTo>
                <a:lnTo>
                  <a:pt x="198" y="306"/>
                </a:lnTo>
                <a:lnTo>
                  <a:pt x="192" y="306"/>
                </a:lnTo>
                <a:lnTo>
                  <a:pt x="192" y="306"/>
                </a:lnTo>
                <a:lnTo>
                  <a:pt x="192" y="300"/>
                </a:lnTo>
                <a:lnTo>
                  <a:pt x="192" y="300"/>
                </a:lnTo>
                <a:lnTo>
                  <a:pt x="192" y="300"/>
                </a:lnTo>
                <a:lnTo>
                  <a:pt x="192" y="300"/>
                </a:lnTo>
                <a:lnTo>
                  <a:pt x="192" y="300"/>
                </a:lnTo>
                <a:lnTo>
                  <a:pt x="192" y="300"/>
                </a:lnTo>
                <a:lnTo>
                  <a:pt x="192" y="294"/>
                </a:lnTo>
                <a:lnTo>
                  <a:pt x="192" y="294"/>
                </a:lnTo>
                <a:lnTo>
                  <a:pt x="192" y="294"/>
                </a:lnTo>
                <a:lnTo>
                  <a:pt x="192" y="294"/>
                </a:lnTo>
                <a:lnTo>
                  <a:pt x="192" y="294"/>
                </a:lnTo>
                <a:lnTo>
                  <a:pt x="192" y="288"/>
                </a:lnTo>
                <a:lnTo>
                  <a:pt x="192" y="288"/>
                </a:lnTo>
                <a:lnTo>
                  <a:pt x="192" y="288"/>
                </a:lnTo>
                <a:lnTo>
                  <a:pt x="192" y="288"/>
                </a:lnTo>
                <a:lnTo>
                  <a:pt x="192" y="288"/>
                </a:lnTo>
                <a:lnTo>
                  <a:pt x="192" y="288"/>
                </a:lnTo>
                <a:lnTo>
                  <a:pt x="186" y="288"/>
                </a:lnTo>
                <a:lnTo>
                  <a:pt x="186" y="282"/>
                </a:lnTo>
                <a:lnTo>
                  <a:pt x="186" y="282"/>
                </a:lnTo>
                <a:lnTo>
                  <a:pt x="186" y="282"/>
                </a:lnTo>
                <a:lnTo>
                  <a:pt x="186" y="282"/>
                </a:lnTo>
                <a:lnTo>
                  <a:pt x="180" y="282"/>
                </a:lnTo>
                <a:lnTo>
                  <a:pt x="180" y="276"/>
                </a:lnTo>
                <a:lnTo>
                  <a:pt x="180" y="276"/>
                </a:lnTo>
                <a:lnTo>
                  <a:pt x="174" y="276"/>
                </a:lnTo>
                <a:lnTo>
                  <a:pt x="174" y="276"/>
                </a:lnTo>
                <a:lnTo>
                  <a:pt x="174" y="276"/>
                </a:lnTo>
                <a:lnTo>
                  <a:pt x="174" y="276"/>
                </a:lnTo>
                <a:lnTo>
                  <a:pt x="174" y="270"/>
                </a:lnTo>
                <a:lnTo>
                  <a:pt x="174" y="270"/>
                </a:lnTo>
                <a:lnTo>
                  <a:pt x="180" y="270"/>
                </a:lnTo>
                <a:lnTo>
                  <a:pt x="174" y="270"/>
                </a:lnTo>
                <a:lnTo>
                  <a:pt x="174" y="270"/>
                </a:lnTo>
                <a:lnTo>
                  <a:pt x="174" y="270"/>
                </a:lnTo>
                <a:lnTo>
                  <a:pt x="174" y="264"/>
                </a:lnTo>
                <a:lnTo>
                  <a:pt x="174" y="264"/>
                </a:lnTo>
                <a:lnTo>
                  <a:pt x="174" y="264"/>
                </a:lnTo>
                <a:lnTo>
                  <a:pt x="174" y="264"/>
                </a:lnTo>
                <a:lnTo>
                  <a:pt x="174" y="264"/>
                </a:lnTo>
                <a:lnTo>
                  <a:pt x="174" y="264"/>
                </a:lnTo>
                <a:lnTo>
                  <a:pt x="168" y="264"/>
                </a:lnTo>
                <a:lnTo>
                  <a:pt x="168" y="264"/>
                </a:lnTo>
                <a:lnTo>
                  <a:pt x="168" y="264"/>
                </a:lnTo>
                <a:lnTo>
                  <a:pt x="168" y="264"/>
                </a:lnTo>
                <a:lnTo>
                  <a:pt x="168" y="264"/>
                </a:lnTo>
                <a:lnTo>
                  <a:pt x="168" y="264"/>
                </a:lnTo>
                <a:lnTo>
                  <a:pt x="168" y="264"/>
                </a:lnTo>
                <a:lnTo>
                  <a:pt x="162" y="258"/>
                </a:lnTo>
                <a:lnTo>
                  <a:pt x="162" y="258"/>
                </a:lnTo>
                <a:lnTo>
                  <a:pt x="162" y="258"/>
                </a:lnTo>
                <a:lnTo>
                  <a:pt x="162" y="258"/>
                </a:lnTo>
                <a:lnTo>
                  <a:pt x="162" y="258"/>
                </a:lnTo>
                <a:lnTo>
                  <a:pt x="162" y="258"/>
                </a:lnTo>
                <a:lnTo>
                  <a:pt x="156" y="258"/>
                </a:lnTo>
                <a:lnTo>
                  <a:pt x="156" y="258"/>
                </a:lnTo>
                <a:lnTo>
                  <a:pt x="156" y="258"/>
                </a:lnTo>
                <a:lnTo>
                  <a:pt x="156" y="258"/>
                </a:lnTo>
                <a:lnTo>
                  <a:pt x="156" y="258"/>
                </a:lnTo>
                <a:lnTo>
                  <a:pt x="156" y="258"/>
                </a:lnTo>
                <a:lnTo>
                  <a:pt x="156" y="258"/>
                </a:lnTo>
                <a:lnTo>
                  <a:pt x="150" y="258"/>
                </a:lnTo>
                <a:lnTo>
                  <a:pt x="150" y="258"/>
                </a:lnTo>
                <a:lnTo>
                  <a:pt x="150" y="258"/>
                </a:lnTo>
                <a:lnTo>
                  <a:pt x="150" y="258"/>
                </a:lnTo>
                <a:lnTo>
                  <a:pt x="150" y="258"/>
                </a:lnTo>
                <a:lnTo>
                  <a:pt x="150" y="258"/>
                </a:lnTo>
                <a:lnTo>
                  <a:pt x="150" y="258"/>
                </a:lnTo>
                <a:lnTo>
                  <a:pt x="144" y="258"/>
                </a:lnTo>
                <a:lnTo>
                  <a:pt x="144" y="258"/>
                </a:lnTo>
                <a:lnTo>
                  <a:pt x="144" y="258"/>
                </a:lnTo>
                <a:lnTo>
                  <a:pt x="144" y="258"/>
                </a:lnTo>
                <a:lnTo>
                  <a:pt x="144" y="258"/>
                </a:lnTo>
                <a:lnTo>
                  <a:pt x="144" y="258"/>
                </a:lnTo>
                <a:lnTo>
                  <a:pt x="138" y="258"/>
                </a:lnTo>
                <a:lnTo>
                  <a:pt x="138" y="258"/>
                </a:lnTo>
                <a:lnTo>
                  <a:pt x="132" y="252"/>
                </a:lnTo>
                <a:lnTo>
                  <a:pt x="132" y="258"/>
                </a:lnTo>
                <a:lnTo>
                  <a:pt x="132" y="258"/>
                </a:lnTo>
                <a:lnTo>
                  <a:pt x="132" y="252"/>
                </a:lnTo>
                <a:lnTo>
                  <a:pt x="126" y="252"/>
                </a:lnTo>
                <a:lnTo>
                  <a:pt x="126" y="252"/>
                </a:lnTo>
                <a:lnTo>
                  <a:pt x="126" y="252"/>
                </a:lnTo>
                <a:lnTo>
                  <a:pt x="120" y="252"/>
                </a:lnTo>
                <a:lnTo>
                  <a:pt x="120" y="252"/>
                </a:lnTo>
                <a:lnTo>
                  <a:pt x="120" y="252"/>
                </a:lnTo>
                <a:lnTo>
                  <a:pt x="114" y="258"/>
                </a:lnTo>
                <a:lnTo>
                  <a:pt x="114" y="258"/>
                </a:lnTo>
                <a:lnTo>
                  <a:pt x="114" y="258"/>
                </a:lnTo>
                <a:lnTo>
                  <a:pt x="108" y="258"/>
                </a:lnTo>
                <a:lnTo>
                  <a:pt x="108" y="258"/>
                </a:lnTo>
                <a:lnTo>
                  <a:pt x="108" y="264"/>
                </a:lnTo>
                <a:lnTo>
                  <a:pt x="108" y="264"/>
                </a:lnTo>
                <a:lnTo>
                  <a:pt x="108" y="270"/>
                </a:lnTo>
                <a:lnTo>
                  <a:pt x="108" y="270"/>
                </a:lnTo>
                <a:lnTo>
                  <a:pt x="108" y="270"/>
                </a:lnTo>
                <a:lnTo>
                  <a:pt x="102" y="270"/>
                </a:lnTo>
                <a:lnTo>
                  <a:pt x="102" y="270"/>
                </a:lnTo>
                <a:lnTo>
                  <a:pt x="96" y="264"/>
                </a:lnTo>
                <a:lnTo>
                  <a:pt x="96" y="264"/>
                </a:lnTo>
                <a:lnTo>
                  <a:pt x="96" y="270"/>
                </a:lnTo>
                <a:lnTo>
                  <a:pt x="96" y="270"/>
                </a:lnTo>
                <a:lnTo>
                  <a:pt x="96" y="270"/>
                </a:lnTo>
                <a:lnTo>
                  <a:pt x="96" y="270"/>
                </a:lnTo>
                <a:lnTo>
                  <a:pt x="90" y="270"/>
                </a:lnTo>
                <a:lnTo>
                  <a:pt x="90" y="264"/>
                </a:lnTo>
                <a:lnTo>
                  <a:pt x="90" y="264"/>
                </a:lnTo>
                <a:lnTo>
                  <a:pt x="90" y="264"/>
                </a:lnTo>
                <a:lnTo>
                  <a:pt x="90" y="264"/>
                </a:lnTo>
                <a:lnTo>
                  <a:pt x="90" y="258"/>
                </a:lnTo>
                <a:lnTo>
                  <a:pt x="90" y="264"/>
                </a:lnTo>
                <a:lnTo>
                  <a:pt x="90" y="258"/>
                </a:lnTo>
                <a:lnTo>
                  <a:pt x="90" y="258"/>
                </a:lnTo>
                <a:lnTo>
                  <a:pt x="84" y="258"/>
                </a:lnTo>
                <a:lnTo>
                  <a:pt x="84" y="252"/>
                </a:lnTo>
                <a:lnTo>
                  <a:pt x="84" y="252"/>
                </a:lnTo>
                <a:lnTo>
                  <a:pt x="84" y="252"/>
                </a:lnTo>
                <a:lnTo>
                  <a:pt x="84" y="252"/>
                </a:lnTo>
                <a:lnTo>
                  <a:pt x="84" y="252"/>
                </a:lnTo>
                <a:lnTo>
                  <a:pt x="84" y="252"/>
                </a:lnTo>
                <a:lnTo>
                  <a:pt x="84" y="252"/>
                </a:lnTo>
                <a:lnTo>
                  <a:pt x="84" y="246"/>
                </a:lnTo>
                <a:lnTo>
                  <a:pt x="78" y="246"/>
                </a:lnTo>
                <a:lnTo>
                  <a:pt x="78" y="240"/>
                </a:lnTo>
                <a:lnTo>
                  <a:pt x="78" y="240"/>
                </a:lnTo>
                <a:lnTo>
                  <a:pt x="78" y="240"/>
                </a:lnTo>
                <a:lnTo>
                  <a:pt x="78" y="240"/>
                </a:lnTo>
                <a:lnTo>
                  <a:pt x="72" y="240"/>
                </a:lnTo>
                <a:lnTo>
                  <a:pt x="72" y="234"/>
                </a:lnTo>
                <a:lnTo>
                  <a:pt x="72" y="234"/>
                </a:lnTo>
                <a:lnTo>
                  <a:pt x="72" y="234"/>
                </a:lnTo>
                <a:lnTo>
                  <a:pt x="72" y="234"/>
                </a:lnTo>
                <a:lnTo>
                  <a:pt x="72" y="234"/>
                </a:lnTo>
                <a:lnTo>
                  <a:pt x="72" y="234"/>
                </a:lnTo>
                <a:lnTo>
                  <a:pt x="72" y="228"/>
                </a:lnTo>
                <a:lnTo>
                  <a:pt x="72" y="228"/>
                </a:lnTo>
                <a:lnTo>
                  <a:pt x="72" y="228"/>
                </a:lnTo>
                <a:lnTo>
                  <a:pt x="66" y="228"/>
                </a:lnTo>
                <a:lnTo>
                  <a:pt x="66" y="228"/>
                </a:lnTo>
                <a:lnTo>
                  <a:pt x="66" y="222"/>
                </a:lnTo>
                <a:lnTo>
                  <a:pt x="60" y="222"/>
                </a:lnTo>
                <a:lnTo>
                  <a:pt x="60" y="222"/>
                </a:lnTo>
                <a:lnTo>
                  <a:pt x="60" y="222"/>
                </a:lnTo>
                <a:lnTo>
                  <a:pt x="60" y="222"/>
                </a:lnTo>
                <a:lnTo>
                  <a:pt x="54" y="222"/>
                </a:lnTo>
                <a:lnTo>
                  <a:pt x="54" y="216"/>
                </a:lnTo>
                <a:lnTo>
                  <a:pt x="54" y="216"/>
                </a:lnTo>
                <a:lnTo>
                  <a:pt x="54" y="216"/>
                </a:lnTo>
                <a:lnTo>
                  <a:pt x="54" y="216"/>
                </a:lnTo>
                <a:lnTo>
                  <a:pt x="54" y="216"/>
                </a:lnTo>
                <a:lnTo>
                  <a:pt x="48" y="210"/>
                </a:lnTo>
                <a:lnTo>
                  <a:pt x="48" y="210"/>
                </a:lnTo>
                <a:lnTo>
                  <a:pt x="48" y="210"/>
                </a:lnTo>
                <a:lnTo>
                  <a:pt x="48" y="210"/>
                </a:lnTo>
                <a:lnTo>
                  <a:pt x="48" y="210"/>
                </a:lnTo>
                <a:lnTo>
                  <a:pt x="48" y="210"/>
                </a:lnTo>
                <a:lnTo>
                  <a:pt x="42" y="210"/>
                </a:lnTo>
                <a:lnTo>
                  <a:pt x="42" y="210"/>
                </a:lnTo>
                <a:lnTo>
                  <a:pt x="42" y="210"/>
                </a:lnTo>
                <a:lnTo>
                  <a:pt x="36" y="210"/>
                </a:lnTo>
                <a:lnTo>
                  <a:pt x="36" y="210"/>
                </a:lnTo>
                <a:lnTo>
                  <a:pt x="42" y="204"/>
                </a:lnTo>
                <a:lnTo>
                  <a:pt x="36" y="204"/>
                </a:lnTo>
                <a:lnTo>
                  <a:pt x="36" y="204"/>
                </a:lnTo>
                <a:lnTo>
                  <a:pt x="36" y="204"/>
                </a:lnTo>
                <a:lnTo>
                  <a:pt x="36" y="204"/>
                </a:lnTo>
                <a:lnTo>
                  <a:pt x="30" y="204"/>
                </a:lnTo>
                <a:lnTo>
                  <a:pt x="30" y="204"/>
                </a:lnTo>
                <a:lnTo>
                  <a:pt x="30" y="204"/>
                </a:lnTo>
                <a:lnTo>
                  <a:pt x="30" y="204"/>
                </a:lnTo>
                <a:lnTo>
                  <a:pt x="30" y="204"/>
                </a:lnTo>
                <a:lnTo>
                  <a:pt x="30" y="204"/>
                </a:lnTo>
                <a:lnTo>
                  <a:pt x="30" y="198"/>
                </a:lnTo>
                <a:lnTo>
                  <a:pt x="30" y="198"/>
                </a:lnTo>
                <a:lnTo>
                  <a:pt x="30" y="198"/>
                </a:lnTo>
                <a:lnTo>
                  <a:pt x="30" y="192"/>
                </a:lnTo>
                <a:lnTo>
                  <a:pt x="30" y="192"/>
                </a:lnTo>
                <a:lnTo>
                  <a:pt x="30" y="192"/>
                </a:lnTo>
                <a:lnTo>
                  <a:pt x="24" y="192"/>
                </a:lnTo>
                <a:lnTo>
                  <a:pt x="24" y="192"/>
                </a:lnTo>
                <a:lnTo>
                  <a:pt x="24" y="186"/>
                </a:lnTo>
                <a:lnTo>
                  <a:pt x="24" y="186"/>
                </a:lnTo>
                <a:lnTo>
                  <a:pt x="24" y="180"/>
                </a:lnTo>
                <a:lnTo>
                  <a:pt x="18" y="180"/>
                </a:lnTo>
                <a:lnTo>
                  <a:pt x="18" y="174"/>
                </a:lnTo>
                <a:lnTo>
                  <a:pt x="18" y="174"/>
                </a:lnTo>
                <a:lnTo>
                  <a:pt x="18" y="174"/>
                </a:lnTo>
                <a:lnTo>
                  <a:pt x="12" y="174"/>
                </a:lnTo>
                <a:lnTo>
                  <a:pt x="12" y="174"/>
                </a:lnTo>
                <a:lnTo>
                  <a:pt x="12" y="168"/>
                </a:lnTo>
                <a:lnTo>
                  <a:pt x="12" y="162"/>
                </a:lnTo>
                <a:lnTo>
                  <a:pt x="12" y="156"/>
                </a:lnTo>
                <a:lnTo>
                  <a:pt x="12" y="150"/>
                </a:lnTo>
                <a:lnTo>
                  <a:pt x="18" y="150"/>
                </a:lnTo>
                <a:lnTo>
                  <a:pt x="18" y="150"/>
                </a:lnTo>
                <a:lnTo>
                  <a:pt x="18" y="150"/>
                </a:lnTo>
                <a:lnTo>
                  <a:pt x="18" y="150"/>
                </a:lnTo>
                <a:lnTo>
                  <a:pt x="18" y="144"/>
                </a:lnTo>
                <a:lnTo>
                  <a:pt x="18" y="144"/>
                </a:lnTo>
                <a:lnTo>
                  <a:pt x="18" y="138"/>
                </a:lnTo>
                <a:lnTo>
                  <a:pt x="18" y="138"/>
                </a:lnTo>
                <a:lnTo>
                  <a:pt x="24" y="132"/>
                </a:lnTo>
                <a:lnTo>
                  <a:pt x="24" y="132"/>
                </a:lnTo>
                <a:lnTo>
                  <a:pt x="24" y="126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14"/>
                </a:lnTo>
                <a:lnTo>
                  <a:pt x="18" y="114"/>
                </a:lnTo>
                <a:lnTo>
                  <a:pt x="18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2"/>
                </a:lnTo>
                <a:lnTo>
                  <a:pt x="6" y="96"/>
                </a:lnTo>
                <a:lnTo>
                  <a:pt x="12" y="96"/>
                </a:lnTo>
                <a:lnTo>
                  <a:pt x="12" y="96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23" name="Freeform 56"/>
          <p:cNvSpPr>
            <a:spLocks/>
          </p:cNvSpPr>
          <p:nvPr/>
        </p:nvSpPr>
        <p:spPr bwMode="auto">
          <a:xfrm>
            <a:off x="6029576" y="755930"/>
            <a:ext cx="513924" cy="520352"/>
          </a:xfrm>
          <a:custGeom>
            <a:avLst/>
            <a:gdLst>
              <a:gd name="T0" fmla="*/ 126 w 480"/>
              <a:gd name="T1" fmla="*/ 30 h 486"/>
              <a:gd name="T2" fmla="*/ 132 w 480"/>
              <a:gd name="T3" fmla="*/ 24 h 486"/>
              <a:gd name="T4" fmla="*/ 138 w 480"/>
              <a:gd name="T5" fmla="*/ 18 h 486"/>
              <a:gd name="T6" fmla="*/ 150 w 480"/>
              <a:gd name="T7" fmla="*/ 18 h 486"/>
              <a:gd name="T8" fmla="*/ 156 w 480"/>
              <a:gd name="T9" fmla="*/ 24 h 486"/>
              <a:gd name="T10" fmla="*/ 180 w 480"/>
              <a:gd name="T11" fmla="*/ 30 h 486"/>
              <a:gd name="T12" fmla="*/ 192 w 480"/>
              <a:gd name="T13" fmla="*/ 24 h 486"/>
              <a:gd name="T14" fmla="*/ 210 w 480"/>
              <a:gd name="T15" fmla="*/ 24 h 486"/>
              <a:gd name="T16" fmla="*/ 210 w 480"/>
              <a:gd name="T17" fmla="*/ 36 h 486"/>
              <a:gd name="T18" fmla="*/ 234 w 480"/>
              <a:gd name="T19" fmla="*/ 60 h 486"/>
              <a:gd name="T20" fmla="*/ 246 w 480"/>
              <a:gd name="T21" fmla="*/ 90 h 486"/>
              <a:gd name="T22" fmla="*/ 246 w 480"/>
              <a:gd name="T23" fmla="*/ 114 h 486"/>
              <a:gd name="T24" fmla="*/ 258 w 480"/>
              <a:gd name="T25" fmla="*/ 144 h 486"/>
              <a:gd name="T26" fmla="*/ 258 w 480"/>
              <a:gd name="T27" fmla="*/ 180 h 486"/>
              <a:gd name="T28" fmla="*/ 270 w 480"/>
              <a:gd name="T29" fmla="*/ 210 h 486"/>
              <a:gd name="T30" fmla="*/ 288 w 480"/>
              <a:gd name="T31" fmla="*/ 216 h 486"/>
              <a:gd name="T32" fmla="*/ 300 w 480"/>
              <a:gd name="T33" fmla="*/ 228 h 486"/>
              <a:gd name="T34" fmla="*/ 318 w 480"/>
              <a:gd name="T35" fmla="*/ 246 h 486"/>
              <a:gd name="T36" fmla="*/ 330 w 480"/>
              <a:gd name="T37" fmla="*/ 270 h 486"/>
              <a:gd name="T38" fmla="*/ 348 w 480"/>
              <a:gd name="T39" fmla="*/ 276 h 486"/>
              <a:gd name="T40" fmla="*/ 366 w 480"/>
              <a:gd name="T41" fmla="*/ 258 h 486"/>
              <a:gd name="T42" fmla="*/ 390 w 480"/>
              <a:gd name="T43" fmla="*/ 264 h 486"/>
              <a:gd name="T44" fmla="*/ 402 w 480"/>
              <a:gd name="T45" fmla="*/ 264 h 486"/>
              <a:gd name="T46" fmla="*/ 414 w 480"/>
              <a:gd name="T47" fmla="*/ 270 h 486"/>
              <a:gd name="T48" fmla="*/ 426 w 480"/>
              <a:gd name="T49" fmla="*/ 288 h 486"/>
              <a:gd name="T50" fmla="*/ 432 w 480"/>
              <a:gd name="T51" fmla="*/ 306 h 486"/>
              <a:gd name="T52" fmla="*/ 444 w 480"/>
              <a:gd name="T53" fmla="*/ 318 h 486"/>
              <a:gd name="T54" fmla="*/ 474 w 480"/>
              <a:gd name="T55" fmla="*/ 336 h 486"/>
              <a:gd name="T56" fmla="*/ 450 w 480"/>
              <a:gd name="T57" fmla="*/ 384 h 486"/>
              <a:gd name="T58" fmla="*/ 414 w 480"/>
              <a:gd name="T59" fmla="*/ 444 h 486"/>
              <a:gd name="T60" fmla="*/ 384 w 480"/>
              <a:gd name="T61" fmla="*/ 474 h 486"/>
              <a:gd name="T62" fmla="*/ 366 w 480"/>
              <a:gd name="T63" fmla="*/ 480 h 486"/>
              <a:gd name="T64" fmla="*/ 360 w 480"/>
              <a:gd name="T65" fmla="*/ 474 h 486"/>
              <a:gd name="T66" fmla="*/ 324 w 480"/>
              <a:gd name="T67" fmla="*/ 456 h 486"/>
              <a:gd name="T68" fmla="*/ 318 w 480"/>
              <a:gd name="T69" fmla="*/ 432 h 486"/>
              <a:gd name="T70" fmla="*/ 312 w 480"/>
              <a:gd name="T71" fmla="*/ 420 h 486"/>
              <a:gd name="T72" fmla="*/ 294 w 480"/>
              <a:gd name="T73" fmla="*/ 402 h 486"/>
              <a:gd name="T74" fmla="*/ 288 w 480"/>
              <a:gd name="T75" fmla="*/ 366 h 486"/>
              <a:gd name="T76" fmla="*/ 258 w 480"/>
              <a:gd name="T77" fmla="*/ 342 h 486"/>
              <a:gd name="T78" fmla="*/ 234 w 480"/>
              <a:gd name="T79" fmla="*/ 300 h 486"/>
              <a:gd name="T80" fmla="*/ 228 w 480"/>
              <a:gd name="T81" fmla="*/ 264 h 486"/>
              <a:gd name="T82" fmla="*/ 228 w 480"/>
              <a:gd name="T83" fmla="*/ 234 h 486"/>
              <a:gd name="T84" fmla="*/ 198 w 480"/>
              <a:gd name="T85" fmla="*/ 204 h 486"/>
              <a:gd name="T86" fmla="*/ 186 w 480"/>
              <a:gd name="T87" fmla="*/ 186 h 486"/>
              <a:gd name="T88" fmla="*/ 192 w 480"/>
              <a:gd name="T89" fmla="*/ 162 h 486"/>
              <a:gd name="T90" fmla="*/ 174 w 480"/>
              <a:gd name="T91" fmla="*/ 150 h 486"/>
              <a:gd name="T92" fmla="*/ 162 w 480"/>
              <a:gd name="T93" fmla="*/ 144 h 486"/>
              <a:gd name="T94" fmla="*/ 156 w 480"/>
              <a:gd name="T95" fmla="*/ 138 h 486"/>
              <a:gd name="T96" fmla="*/ 144 w 480"/>
              <a:gd name="T97" fmla="*/ 144 h 486"/>
              <a:gd name="T98" fmla="*/ 132 w 480"/>
              <a:gd name="T99" fmla="*/ 138 h 486"/>
              <a:gd name="T100" fmla="*/ 120 w 480"/>
              <a:gd name="T101" fmla="*/ 132 h 486"/>
              <a:gd name="T102" fmla="*/ 108 w 480"/>
              <a:gd name="T103" fmla="*/ 126 h 486"/>
              <a:gd name="T104" fmla="*/ 102 w 480"/>
              <a:gd name="T105" fmla="*/ 120 h 486"/>
              <a:gd name="T106" fmla="*/ 96 w 480"/>
              <a:gd name="T107" fmla="*/ 108 h 486"/>
              <a:gd name="T108" fmla="*/ 84 w 480"/>
              <a:gd name="T109" fmla="*/ 102 h 486"/>
              <a:gd name="T110" fmla="*/ 78 w 480"/>
              <a:gd name="T111" fmla="*/ 96 h 486"/>
              <a:gd name="T112" fmla="*/ 54 w 480"/>
              <a:gd name="T113" fmla="*/ 96 h 486"/>
              <a:gd name="T114" fmla="*/ 36 w 480"/>
              <a:gd name="T115" fmla="*/ 90 h 486"/>
              <a:gd name="T116" fmla="*/ 18 w 480"/>
              <a:gd name="T117" fmla="*/ 90 h 486"/>
              <a:gd name="T118" fmla="*/ 18 w 480"/>
              <a:gd name="T119" fmla="*/ 66 h 486"/>
              <a:gd name="T120" fmla="*/ 12 w 480"/>
              <a:gd name="T121" fmla="*/ 54 h 486"/>
              <a:gd name="T122" fmla="*/ 18 w 480"/>
              <a:gd name="T123" fmla="*/ 36 h 486"/>
              <a:gd name="T124" fmla="*/ 6 w 480"/>
              <a:gd name="T125" fmla="*/ 12 h 4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80" h="486">
                <a:moveTo>
                  <a:pt x="0" y="6"/>
                </a:moveTo>
                <a:lnTo>
                  <a:pt x="12" y="6"/>
                </a:lnTo>
                <a:lnTo>
                  <a:pt x="18" y="0"/>
                </a:lnTo>
                <a:lnTo>
                  <a:pt x="30" y="6"/>
                </a:lnTo>
                <a:lnTo>
                  <a:pt x="24" y="18"/>
                </a:lnTo>
                <a:lnTo>
                  <a:pt x="30" y="18"/>
                </a:lnTo>
                <a:lnTo>
                  <a:pt x="36" y="18"/>
                </a:lnTo>
                <a:lnTo>
                  <a:pt x="60" y="36"/>
                </a:lnTo>
                <a:lnTo>
                  <a:pt x="90" y="42"/>
                </a:lnTo>
                <a:lnTo>
                  <a:pt x="114" y="36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30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86" y="24"/>
                </a:lnTo>
                <a:lnTo>
                  <a:pt x="186" y="24"/>
                </a:lnTo>
                <a:lnTo>
                  <a:pt x="192" y="24"/>
                </a:lnTo>
                <a:lnTo>
                  <a:pt x="192" y="24"/>
                </a:lnTo>
                <a:lnTo>
                  <a:pt x="192" y="24"/>
                </a:lnTo>
                <a:lnTo>
                  <a:pt x="192" y="24"/>
                </a:lnTo>
                <a:lnTo>
                  <a:pt x="192" y="24"/>
                </a:lnTo>
                <a:lnTo>
                  <a:pt x="192" y="24"/>
                </a:lnTo>
                <a:lnTo>
                  <a:pt x="198" y="24"/>
                </a:lnTo>
                <a:lnTo>
                  <a:pt x="198" y="24"/>
                </a:lnTo>
                <a:lnTo>
                  <a:pt x="198" y="24"/>
                </a:lnTo>
                <a:lnTo>
                  <a:pt x="198" y="18"/>
                </a:lnTo>
                <a:lnTo>
                  <a:pt x="198" y="18"/>
                </a:lnTo>
                <a:lnTo>
                  <a:pt x="204" y="18"/>
                </a:lnTo>
                <a:lnTo>
                  <a:pt x="204" y="18"/>
                </a:lnTo>
                <a:lnTo>
                  <a:pt x="204" y="18"/>
                </a:lnTo>
                <a:lnTo>
                  <a:pt x="204" y="18"/>
                </a:lnTo>
                <a:lnTo>
                  <a:pt x="204" y="18"/>
                </a:lnTo>
                <a:lnTo>
                  <a:pt x="204" y="18"/>
                </a:lnTo>
                <a:lnTo>
                  <a:pt x="204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30"/>
                </a:lnTo>
                <a:lnTo>
                  <a:pt x="216" y="30"/>
                </a:lnTo>
                <a:lnTo>
                  <a:pt x="216" y="30"/>
                </a:lnTo>
                <a:lnTo>
                  <a:pt x="216" y="30"/>
                </a:lnTo>
                <a:lnTo>
                  <a:pt x="216" y="30"/>
                </a:lnTo>
                <a:lnTo>
                  <a:pt x="210" y="30"/>
                </a:lnTo>
                <a:lnTo>
                  <a:pt x="210" y="36"/>
                </a:lnTo>
                <a:lnTo>
                  <a:pt x="210" y="36"/>
                </a:lnTo>
                <a:lnTo>
                  <a:pt x="210" y="36"/>
                </a:lnTo>
                <a:lnTo>
                  <a:pt x="210" y="36"/>
                </a:lnTo>
                <a:lnTo>
                  <a:pt x="210" y="36"/>
                </a:lnTo>
                <a:lnTo>
                  <a:pt x="210" y="36"/>
                </a:lnTo>
                <a:lnTo>
                  <a:pt x="210" y="36"/>
                </a:lnTo>
                <a:lnTo>
                  <a:pt x="210" y="36"/>
                </a:lnTo>
                <a:lnTo>
                  <a:pt x="210" y="42"/>
                </a:lnTo>
                <a:lnTo>
                  <a:pt x="216" y="42"/>
                </a:lnTo>
                <a:lnTo>
                  <a:pt x="216" y="42"/>
                </a:lnTo>
                <a:lnTo>
                  <a:pt x="216" y="48"/>
                </a:lnTo>
                <a:lnTo>
                  <a:pt x="222" y="48"/>
                </a:lnTo>
                <a:lnTo>
                  <a:pt x="222" y="48"/>
                </a:lnTo>
                <a:lnTo>
                  <a:pt x="222" y="48"/>
                </a:lnTo>
                <a:lnTo>
                  <a:pt x="222" y="48"/>
                </a:lnTo>
                <a:lnTo>
                  <a:pt x="228" y="48"/>
                </a:lnTo>
                <a:lnTo>
                  <a:pt x="228" y="54"/>
                </a:lnTo>
                <a:lnTo>
                  <a:pt x="228" y="54"/>
                </a:lnTo>
                <a:lnTo>
                  <a:pt x="228" y="60"/>
                </a:lnTo>
                <a:lnTo>
                  <a:pt x="234" y="60"/>
                </a:lnTo>
                <a:lnTo>
                  <a:pt x="234" y="66"/>
                </a:lnTo>
                <a:lnTo>
                  <a:pt x="234" y="66"/>
                </a:lnTo>
                <a:lnTo>
                  <a:pt x="234" y="66"/>
                </a:lnTo>
                <a:lnTo>
                  <a:pt x="234" y="72"/>
                </a:lnTo>
                <a:lnTo>
                  <a:pt x="240" y="72"/>
                </a:lnTo>
                <a:lnTo>
                  <a:pt x="240" y="72"/>
                </a:lnTo>
                <a:lnTo>
                  <a:pt x="240" y="72"/>
                </a:lnTo>
                <a:lnTo>
                  <a:pt x="240" y="72"/>
                </a:lnTo>
                <a:lnTo>
                  <a:pt x="240" y="78"/>
                </a:lnTo>
                <a:lnTo>
                  <a:pt x="240" y="78"/>
                </a:lnTo>
                <a:lnTo>
                  <a:pt x="240" y="78"/>
                </a:lnTo>
                <a:lnTo>
                  <a:pt x="246" y="84"/>
                </a:lnTo>
                <a:lnTo>
                  <a:pt x="246" y="84"/>
                </a:lnTo>
                <a:lnTo>
                  <a:pt x="246" y="84"/>
                </a:lnTo>
                <a:lnTo>
                  <a:pt x="246" y="90"/>
                </a:lnTo>
                <a:lnTo>
                  <a:pt x="246" y="90"/>
                </a:lnTo>
                <a:lnTo>
                  <a:pt x="246" y="90"/>
                </a:lnTo>
                <a:lnTo>
                  <a:pt x="246" y="96"/>
                </a:lnTo>
                <a:lnTo>
                  <a:pt x="246" y="96"/>
                </a:lnTo>
                <a:lnTo>
                  <a:pt x="246" y="96"/>
                </a:lnTo>
                <a:lnTo>
                  <a:pt x="252" y="96"/>
                </a:lnTo>
                <a:lnTo>
                  <a:pt x="252" y="96"/>
                </a:lnTo>
                <a:lnTo>
                  <a:pt x="252" y="96"/>
                </a:lnTo>
                <a:lnTo>
                  <a:pt x="252" y="102"/>
                </a:lnTo>
                <a:lnTo>
                  <a:pt x="252" y="102"/>
                </a:lnTo>
                <a:lnTo>
                  <a:pt x="246" y="102"/>
                </a:lnTo>
                <a:lnTo>
                  <a:pt x="246" y="108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52" y="120"/>
                </a:lnTo>
                <a:lnTo>
                  <a:pt x="252" y="120"/>
                </a:lnTo>
                <a:lnTo>
                  <a:pt x="252" y="120"/>
                </a:lnTo>
                <a:lnTo>
                  <a:pt x="252" y="120"/>
                </a:lnTo>
                <a:lnTo>
                  <a:pt x="258" y="120"/>
                </a:lnTo>
                <a:lnTo>
                  <a:pt x="258" y="120"/>
                </a:lnTo>
                <a:lnTo>
                  <a:pt x="264" y="120"/>
                </a:lnTo>
                <a:lnTo>
                  <a:pt x="264" y="126"/>
                </a:lnTo>
                <a:lnTo>
                  <a:pt x="264" y="126"/>
                </a:lnTo>
                <a:lnTo>
                  <a:pt x="264" y="126"/>
                </a:lnTo>
                <a:lnTo>
                  <a:pt x="264" y="126"/>
                </a:lnTo>
                <a:lnTo>
                  <a:pt x="264" y="132"/>
                </a:lnTo>
                <a:lnTo>
                  <a:pt x="264" y="138"/>
                </a:lnTo>
                <a:lnTo>
                  <a:pt x="264" y="138"/>
                </a:lnTo>
                <a:lnTo>
                  <a:pt x="258" y="144"/>
                </a:lnTo>
                <a:lnTo>
                  <a:pt x="258" y="144"/>
                </a:lnTo>
                <a:lnTo>
                  <a:pt x="258" y="150"/>
                </a:lnTo>
                <a:lnTo>
                  <a:pt x="258" y="150"/>
                </a:lnTo>
                <a:lnTo>
                  <a:pt x="258" y="156"/>
                </a:lnTo>
                <a:lnTo>
                  <a:pt x="258" y="156"/>
                </a:lnTo>
                <a:lnTo>
                  <a:pt x="258" y="156"/>
                </a:lnTo>
                <a:lnTo>
                  <a:pt x="258" y="156"/>
                </a:lnTo>
                <a:lnTo>
                  <a:pt x="252" y="156"/>
                </a:lnTo>
                <a:lnTo>
                  <a:pt x="252" y="162"/>
                </a:lnTo>
                <a:lnTo>
                  <a:pt x="252" y="168"/>
                </a:lnTo>
                <a:lnTo>
                  <a:pt x="252" y="174"/>
                </a:lnTo>
                <a:lnTo>
                  <a:pt x="252" y="180"/>
                </a:lnTo>
                <a:lnTo>
                  <a:pt x="252" y="180"/>
                </a:lnTo>
                <a:lnTo>
                  <a:pt x="258" y="180"/>
                </a:lnTo>
                <a:lnTo>
                  <a:pt x="258" y="180"/>
                </a:lnTo>
                <a:lnTo>
                  <a:pt x="258" y="180"/>
                </a:lnTo>
                <a:lnTo>
                  <a:pt x="258" y="186"/>
                </a:lnTo>
                <a:lnTo>
                  <a:pt x="264" y="186"/>
                </a:lnTo>
                <a:lnTo>
                  <a:pt x="264" y="192"/>
                </a:lnTo>
                <a:lnTo>
                  <a:pt x="264" y="192"/>
                </a:lnTo>
                <a:lnTo>
                  <a:pt x="264" y="198"/>
                </a:lnTo>
                <a:lnTo>
                  <a:pt x="264" y="198"/>
                </a:lnTo>
                <a:lnTo>
                  <a:pt x="270" y="198"/>
                </a:lnTo>
                <a:lnTo>
                  <a:pt x="270" y="198"/>
                </a:lnTo>
                <a:lnTo>
                  <a:pt x="270" y="198"/>
                </a:lnTo>
                <a:lnTo>
                  <a:pt x="270" y="204"/>
                </a:lnTo>
                <a:lnTo>
                  <a:pt x="270" y="204"/>
                </a:lnTo>
                <a:lnTo>
                  <a:pt x="270" y="204"/>
                </a:lnTo>
                <a:lnTo>
                  <a:pt x="270" y="210"/>
                </a:lnTo>
                <a:lnTo>
                  <a:pt x="270" y="210"/>
                </a:lnTo>
                <a:lnTo>
                  <a:pt x="270" y="210"/>
                </a:lnTo>
                <a:lnTo>
                  <a:pt x="270" y="210"/>
                </a:lnTo>
                <a:lnTo>
                  <a:pt x="270" y="210"/>
                </a:lnTo>
                <a:lnTo>
                  <a:pt x="270" y="210"/>
                </a:lnTo>
                <a:lnTo>
                  <a:pt x="276" y="210"/>
                </a:lnTo>
                <a:lnTo>
                  <a:pt x="276" y="210"/>
                </a:lnTo>
                <a:lnTo>
                  <a:pt x="276" y="210"/>
                </a:lnTo>
                <a:lnTo>
                  <a:pt x="276" y="210"/>
                </a:lnTo>
                <a:lnTo>
                  <a:pt x="282" y="210"/>
                </a:lnTo>
                <a:lnTo>
                  <a:pt x="276" y="216"/>
                </a:lnTo>
                <a:lnTo>
                  <a:pt x="276" y="216"/>
                </a:lnTo>
                <a:lnTo>
                  <a:pt x="282" y="216"/>
                </a:lnTo>
                <a:lnTo>
                  <a:pt x="282" y="216"/>
                </a:lnTo>
                <a:lnTo>
                  <a:pt x="282" y="216"/>
                </a:lnTo>
                <a:lnTo>
                  <a:pt x="288" y="216"/>
                </a:lnTo>
                <a:lnTo>
                  <a:pt x="288" y="216"/>
                </a:lnTo>
                <a:lnTo>
                  <a:pt x="288" y="216"/>
                </a:lnTo>
                <a:lnTo>
                  <a:pt x="288" y="216"/>
                </a:lnTo>
                <a:lnTo>
                  <a:pt x="288" y="216"/>
                </a:lnTo>
                <a:lnTo>
                  <a:pt x="288" y="216"/>
                </a:lnTo>
                <a:lnTo>
                  <a:pt x="294" y="222"/>
                </a:lnTo>
                <a:lnTo>
                  <a:pt x="294" y="222"/>
                </a:lnTo>
                <a:lnTo>
                  <a:pt x="294" y="222"/>
                </a:lnTo>
                <a:lnTo>
                  <a:pt x="294" y="222"/>
                </a:lnTo>
                <a:lnTo>
                  <a:pt x="294" y="222"/>
                </a:lnTo>
                <a:lnTo>
                  <a:pt x="294" y="228"/>
                </a:lnTo>
                <a:lnTo>
                  <a:pt x="300" y="228"/>
                </a:lnTo>
                <a:lnTo>
                  <a:pt x="300" y="228"/>
                </a:lnTo>
                <a:lnTo>
                  <a:pt x="300" y="228"/>
                </a:lnTo>
                <a:lnTo>
                  <a:pt x="300" y="228"/>
                </a:lnTo>
                <a:lnTo>
                  <a:pt x="306" y="228"/>
                </a:lnTo>
                <a:lnTo>
                  <a:pt x="306" y="234"/>
                </a:lnTo>
                <a:lnTo>
                  <a:pt x="306" y="234"/>
                </a:lnTo>
                <a:lnTo>
                  <a:pt x="312" y="234"/>
                </a:lnTo>
                <a:lnTo>
                  <a:pt x="312" y="234"/>
                </a:lnTo>
                <a:lnTo>
                  <a:pt x="312" y="234"/>
                </a:lnTo>
                <a:lnTo>
                  <a:pt x="312" y="240"/>
                </a:lnTo>
                <a:lnTo>
                  <a:pt x="312" y="240"/>
                </a:lnTo>
                <a:lnTo>
                  <a:pt x="312" y="240"/>
                </a:lnTo>
                <a:lnTo>
                  <a:pt x="312" y="240"/>
                </a:lnTo>
                <a:lnTo>
                  <a:pt x="312" y="240"/>
                </a:lnTo>
                <a:lnTo>
                  <a:pt x="312" y="240"/>
                </a:lnTo>
                <a:lnTo>
                  <a:pt x="312" y="246"/>
                </a:lnTo>
                <a:lnTo>
                  <a:pt x="318" y="246"/>
                </a:lnTo>
                <a:lnTo>
                  <a:pt x="318" y="246"/>
                </a:lnTo>
                <a:lnTo>
                  <a:pt x="318" y="246"/>
                </a:lnTo>
                <a:lnTo>
                  <a:pt x="318" y="246"/>
                </a:lnTo>
                <a:lnTo>
                  <a:pt x="318" y="252"/>
                </a:lnTo>
                <a:lnTo>
                  <a:pt x="324" y="252"/>
                </a:lnTo>
                <a:lnTo>
                  <a:pt x="324" y="258"/>
                </a:lnTo>
                <a:lnTo>
                  <a:pt x="324" y="258"/>
                </a:lnTo>
                <a:lnTo>
                  <a:pt x="324" y="258"/>
                </a:lnTo>
                <a:lnTo>
                  <a:pt x="324" y="258"/>
                </a:lnTo>
                <a:lnTo>
                  <a:pt x="324" y="258"/>
                </a:lnTo>
                <a:lnTo>
                  <a:pt x="324" y="258"/>
                </a:lnTo>
                <a:lnTo>
                  <a:pt x="324" y="258"/>
                </a:lnTo>
                <a:lnTo>
                  <a:pt x="324" y="264"/>
                </a:lnTo>
                <a:lnTo>
                  <a:pt x="330" y="264"/>
                </a:lnTo>
                <a:lnTo>
                  <a:pt x="330" y="264"/>
                </a:lnTo>
                <a:lnTo>
                  <a:pt x="330" y="270"/>
                </a:lnTo>
                <a:lnTo>
                  <a:pt x="330" y="264"/>
                </a:lnTo>
                <a:lnTo>
                  <a:pt x="330" y="270"/>
                </a:lnTo>
                <a:lnTo>
                  <a:pt x="330" y="270"/>
                </a:lnTo>
                <a:lnTo>
                  <a:pt x="330" y="270"/>
                </a:lnTo>
                <a:lnTo>
                  <a:pt x="330" y="270"/>
                </a:lnTo>
                <a:lnTo>
                  <a:pt x="330" y="276"/>
                </a:lnTo>
                <a:lnTo>
                  <a:pt x="336" y="276"/>
                </a:lnTo>
                <a:lnTo>
                  <a:pt x="336" y="276"/>
                </a:lnTo>
                <a:lnTo>
                  <a:pt x="336" y="276"/>
                </a:lnTo>
                <a:lnTo>
                  <a:pt x="336" y="276"/>
                </a:lnTo>
                <a:lnTo>
                  <a:pt x="336" y="270"/>
                </a:lnTo>
                <a:lnTo>
                  <a:pt x="336" y="270"/>
                </a:lnTo>
                <a:lnTo>
                  <a:pt x="342" y="276"/>
                </a:lnTo>
                <a:lnTo>
                  <a:pt x="342" y="276"/>
                </a:lnTo>
                <a:lnTo>
                  <a:pt x="348" y="276"/>
                </a:lnTo>
                <a:lnTo>
                  <a:pt x="348" y="276"/>
                </a:lnTo>
                <a:lnTo>
                  <a:pt x="348" y="276"/>
                </a:lnTo>
                <a:lnTo>
                  <a:pt x="348" y="270"/>
                </a:lnTo>
                <a:lnTo>
                  <a:pt x="348" y="270"/>
                </a:lnTo>
                <a:lnTo>
                  <a:pt x="348" y="264"/>
                </a:lnTo>
                <a:lnTo>
                  <a:pt x="348" y="264"/>
                </a:lnTo>
                <a:lnTo>
                  <a:pt x="354" y="264"/>
                </a:lnTo>
                <a:lnTo>
                  <a:pt x="354" y="264"/>
                </a:lnTo>
                <a:lnTo>
                  <a:pt x="354" y="264"/>
                </a:lnTo>
                <a:lnTo>
                  <a:pt x="360" y="258"/>
                </a:lnTo>
                <a:lnTo>
                  <a:pt x="360" y="258"/>
                </a:lnTo>
                <a:lnTo>
                  <a:pt x="360" y="258"/>
                </a:lnTo>
                <a:lnTo>
                  <a:pt x="366" y="258"/>
                </a:lnTo>
                <a:lnTo>
                  <a:pt x="366" y="258"/>
                </a:lnTo>
                <a:lnTo>
                  <a:pt x="366" y="258"/>
                </a:lnTo>
                <a:lnTo>
                  <a:pt x="372" y="258"/>
                </a:lnTo>
                <a:lnTo>
                  <a:pt x="372" y="264"/>
                </a:lnTo>
                <a:lnTo>
                  <a:pt x="372" y="264"/>
                </a:lnTo>
                <a:lnTo>
                  <a:pt x="372" y="258"/>
                </a:lnTo>
                <a:lnTo>
                  <a:pt x="378" y="264"/>
                </a:lnTo>
                <a:lnTo>
                  <a:pt x="378" y="264"/>
                </a:lnTo>
                <a:lnTo>
                  <a:pt x="384" y="264"/>
                </a:lnTo>
                <a:lnTo>
                  <a:pt x="384" y="264"/>
                </a:lnTo>
                <a:lnTo>
                  <a:pt x="384" y="264"/>
                </a:lnTo>
                <a:lnTo>
                  <a:pt x="384" y="264"/>
                </a:lnTo>
                <a:lnTo>
                  <a:pt x="384" y="264"/>
                </a:lnTo>
                <a:lnTo>
                  <a:pt x="384" y="264"/>
                </a:lnTo>
                <a:lnTo>
                  <a:pt x="390" y="264"/>
                </a:lnTo>
                <a:lnTo>
                  <a:pt x="390" y="264"/>
                </a:lnTo>
                <a:lnTo>
                  <a:pt x="390" y="264"/>
                </a:lnTo>
                <a:lnTo>
                  <a:pt x="390" y="264"/>
                </a:lnTo>
                <a:lnTo>
                  <a:pt x="390" y="264"/>
                </a:lnTo>
                <a:lnTo>
                  <a:pt x="390" y="264"/>
                </a:lnTo>
                <a:lnTo>
                  <a:pt x="390" y="264"/>
                </a:lnTo>
                <a:lnTo>
                  <a:pt x="396" y="264"/>
                </a:lnTo>
                <a:lnTo>
                  <a:pt x="396" y="264"/>
                </a:lnTo>
                <a:lnTo>
                  <a:pt x="396" y="264"/>
                </a:lnTo>
                <a:lnTo>
                  <a:pt x="396" y="264"/>
                </a:lnTo>
                <a:lnTo>
                  <a:pt x="396" y="264"/>
                </a:lnTo>
                <a:lnTo>
                  <a:pt x="396" y="264"/>
                </a:lnTo>
                <a:lnTo>
                  <a:pt x="396" y="264"/>
                </a:lnTo>
                <a:lnTo>
                  <a:pt x="402" y="264"/>
                </a:lnTo>
                <a:lnTo>
                  <a:pt x="402" y="264"/>
                </a:lnTo>
                <a:lnTo>
                  <a:pt x="402" y="264"/>
                </a:lnTo>
                <a:lnTo>
                  <a:pt x="402" y="264"/>
                </a:lnTo>
                <a:lnTo>
                  <a:pt x="402" y="264"/>
                </a:lnTo>
                <a:lnTo>
                  <a:pt x="402" y="264"/>
                </a:lnTo>
                <a:lnTo>
                  <a:pt x="408" y="270"/>
                </a:lnTo>
                <a:lnTo>
                  <a:pt x="408" y="270"/>
                </a:lnTo>
                <a:lnTo>
                  <a:pt x="408" y="270"/>
                </a:lnTo>
                <a:lnTo>
                  <a:pt x="408" y="270"/>
                </a:lnTo>
                <a:lnTo>
                  <a:pt x="408" y="270"/>
                </a:lnTo>
                <a:lnTo>
                  <a:pt x="408" y="270"/>
                </a:lnTo>
                <a:lnTo>
                  <a:pt x="408" y="270"/>
                </a:lnTo>
                <a:lnTo>
                  <a:pt x="414" y="270"/>
                </a:lnTo>
                <a:lnTo>
                  <a:pt x="414" y="270"/>
                </a:lnTo>
                <a:lnTo>
                  <a:pt x="414" y="270"/>
                </a:lnTo>
                <a:lnTo>
                  <a:pt x="414" y="270"/>
                </a:lnTo>
                <a:lnTo>
                  <a:pt x="414" y="270"/>
                </a:lnTo>
                <a:lnTo>
                  <a:pt x="414" y="270"/>
                </a:lnTo>
                <a:lnTo>
                  <a:pt x="414" y="276"/>
                </a:lnTo>
                <a:lnTo>
                  <a:pt x="414" y="276"/>
                </a:lnTo>
                <a:lnTo>
                  <a:pt x="414" y="276"/>
                </a:lnTo>
                <a:lnTo>
                  <a:pt x="420" y="276"/>
                </a:lnTo>
                <a:lnTo>
                  <a:pt x="414" y="276"/>
                </a:lnTo>
                <a:lnTo>
                  <a:pt x="414" y="276"/>
                </a:lnTo>
                <a:lnTo>
                  <a:pt x="414" y="282"/>
                </a:lnTo>
                <a:lnTo>
                  <a:pt x="414" y="282"/>
                </a:lnTo>
                <a:lnTo>
                  <a:pt x="414" y="282"/>
                </a:lnTo>
                <a:lnTo>
                  <a:pt x="414" y="282"/>
                </a:lnTo>
                <a:lnTo>
                  <a:pt x="420" y="282"/>
                </a:lnTo>
                <a:lnTo>
                  <a:pt x="420" y="282"/>
                </a:lnTo>
                <a:lnTo>
                  <a:pt x="420" y="288"/>
                </a:lnTo>
                <a:lnTo>
                  <a:pt x="426" y="288"/>
                </a:lnTo>
                <a:lnTo>
                  <a:pt x="426" y="288"/>
                </a:lnTo>
                <a:lnTo>
                  <a:pt x="426" y="288"/>
                </a:lnTo>
                <a:lnTo>
                  <a:pt x="426" y="288"/>
                </a:lnTo>
                <a:lnTo>
                  <a:pt x="426" y="294"/>
                </a:lnTo>
                <a:lnTo>
                  <a:pt x="432" y="294"/>
                </a:lnTo>
                <a:lnTo>
                  <a:pt x="432" y="294"/>
                </a:lnTo>
                <a:lnTo>
                  <a:pt x="432" y="294"/>
                </a:lnTo>
                <a:lnTo>
                  <a:pt x="432" y="294"/>
                </a:lnTo>
                <a:lnTo>
                  <a:pt x="432" y="294"/>
                </a:lnTo>
                <a:lnTo>
                  <a:pt x="432" y="294"/>
                </a:lnTo>
                <a:lnTo>
                  <a:pt x="432" y="300"/>
                </a:lnTo>
                <a:lnTo>
                  <a:pt x="432" y="300"/>
                </a:lnTo>
                <a:lnTo>
                  <a:pt x="432" y="300"/>
                </a:lnTo>
                <a:lnTo>
                  <a:pt x="432" y="300"/>
                </a:lnTo>
                <a:lnTo>
                  <a:pt x="432" y="300"/>
                </a:lnTo>
                <a:lnTo>
                  <a:pt x="432" y="306"/>
                </a:lnTo>
                <a:lnTo>
                  <a:pt x="432" y="306"/>
                </a:lnTo>
                <a:lnTo>
                  <a:pt x="432" y="306"/>
                </a:lnTo>
                <a:lnTo>
                  <a:pt x="432" y="306"/>
                </a:lnTo>
                <a:lnTo>
                  <a:pt x="432" y="306"/>
                </a:lnTo>
                <a:lnTo>
                  <a:pt x="432" y="306"/>
                </a:lnTo>
                <a:lnTo>
                  <a:pt x="432" y="312"/>
                </a:lnTo>
                <a:lnTo>
                  <a:pt x="432" y="312"/>
                </a:lnTo>
                <a:lnTo>
                  <a:pt x="438" y="312"/>
                </a:lnTo>
                <a:lnTo>
                  <a:pt x="438" y="312"/>
                </a:lnTo>
                <a:lnTo>
                  <a:pt x="438" y="312"/>
                </a:lnTo>
                <a:lnTo>
                  <a:pt x="438" y="318"/>
                </a:lnTo>
                <a:lnTo>
                  <a:pt x="438" y="318"/>
                </a:lnTo>
                <a:lnTo>
                  <a:pt x="444" y="318"/>
                </a:lnTo>
                <a:lnTo>
                  <a:pt x="444" y="318"/>
                </a:lnTo>
                <a:lnTo>
                  <a:pt x="444" y="318"/>
                </a:lnTo>
                <a:lnTo>
                  <a:pt x="444" y="324"/>
                </a:lnTo>
                <a:lnTo>
                  <a:pt x="450" y="324"/>
                </a:lnTo>
                <a:lnTo>
                  <a:pt x="450" y="324"/>
                </a:lnTo>
                <a:lnTo>
                  <a:pt x="450" y="330"/>
                </a:lnTo>
                <a:lnTo>
                  <a:pt x="450" y="330"/>
                </a:lnTo>
                <a:lnTo>
                  <a:pt x="456" y="330"/>
                </a:lnTo>
                <a:lnTo>
                  <a:pt x="456" y="330"/>
                </a:lnTo>
                <a:lnTo>
                  <a:pt x="456" y="336"/>
                </a:lnTo>
                <a:lnTo>
                  <a:pt x="462" y="336"/>
                </a:lnTo>
                <a:lnTo>
                  <a:pt x="462" y="336"/>
                </a:lnTo>
                <a:lnTo>
                  <a:pt x="462" y="336"/>
                </a:lnTo>
                <a:lnTo>
                  <a:pt x="468" y="336"/>
                </a:lnTo>
                <a:lnTo>
                  <a:pt x="468" y="336"/>
                </a:lnTo>
                <a:lnTo>
                  <a:pt x="474" y="336"/>
                </a:lnTo>
                <a:lnTo>
                  <a:pt x="474" y="336"/>
                </a:lnTo>
                <a:lnTo>
                  <a:pt x="480" y="336"/>
                </a:lnTo>
                <a:lnTo>
                  <a:pt x="480" y="336"/>
                </a:lnTo>
                <a:lnTo>
                  <a:pt x="474" y="348"/>
                </a:lnTo>
                <a:lnTo>
                  <a:pt x="474" y="348"/>
                </a:lnTo>
                <a:lnTo>
                  <a:pt x="468" y="354"/>
                </a:lnTo>
                <a:lnTo>
                  <a:pt x="468" y="354"/>
                </a:lnTo>
                <a:lnTo>
                  <a:pt x="462" y="360"/>
                </a:lnTo>
                <a:lnTo>
                  <a:pt x="462" y="360"/>
                </a:lnTo>
                <a:lnTo>
                  <a:pt x="462" y="360"/>
                </a:lnTo>
                <a:lnTo>
                  <a:pt x="462" y="366"/>
                </a:lnTo>
                <a:lnTo>
                  <a:pt x="462" y="366"/>
                </a:lnTo>
                <a:lnTo>
                  <a:pt x="462" y="372"/>
                </a:lnTo>
                <a:lnTo>
                  <a:pt x="456" y="378"/>
                </a:lnTo>
                <a:lnTo>
                  <a:pt x="450" y="378"/>
                </a:lnTo>
                <a:lnTo>
                  <a:pt x="450" y="384"/>
                </a:lnTo>
                <a:lnTo>
                  <a:pt x="450" y="390"/>
                </a:lnTo>
                <a:lnTo>
                  <a:pt x="444" y="396"/>
                </a:lnTo>
                <a:lnTo>
                  <a:pt x="438" y="396"/>
                </a:lnTo>
                <a:lnTo>
                  <a:pt x="438" y="402"/>
                </a:lnTo>
                <a:lnTo>
                  <a:pt x="432" y="402"/>
                </a:lnTo>
                <a:lnTo>
                  <a:pt x="432" y="408"/>
                </a:lnTo>
                <a:lnTo>
                  <a:pt x="420" y="420"/>
                </a:lnTo>
                <a:lnTo>
                  <a:pt x="420" y="426"/>
                </a:lnTo>
                <a:lnTo>
                  <a:pt x="420" y="426"/>
                </a:lnTo>
                <a:lnTo>
                  <a:pt x="420" y="426"/>
                </a:lnTo>
                <a:lnTo>
                  <a:pt x="420" y="426"/>
                </a:lnTo>
                <a:lnTo>
                  <a:pt x="420" y="432"/>
                </a:lnTo>
                <a:lnTo>
                  <a:pt x="420" y="438"/>
                </a:lnTo>
                <a:lnTo>
                  <a:pt x="414" y="444"/>
                </a:lnTo>
                <a:lnTo>
                  <a:pt x="414" y="444"/>
                </a:lnTo>
                <a:lnTo>
                  <a:pt x="414" y="444"/>
                </a:lnTo>
                <a:lnTo>
                  <a:pt x="420" y="456"/>
                </a:lnTo>
                <a:lnTo>
                  <a:pt x="420" y="456"/>
                </a:lnTo>
                <a:lnTo>
                  <a:pt x="420" y="456"/>
                </a:lnTo>
                <a:lnTo>
                  <a:pt x="414" y="462"/>
                </a:lnTo>
                <a:lnTo>
                  <a:pt x="414" y="462"/>
                </a:lnTo>
                <a:lnTo>
                  <a:pt x="408" y="474"/>
                </a:lnTo>
                <a:lnTo>
                  <a:pt x="408" y="474"/>
                </a:lnTo>
                <a:lnTo>
                  <a:pt x="402" y="474"/>
                </a:lnTo>
                <a:lnTo>
                  <a:pt x="390" y="474"/>
                </a:lnTo>
                <a:lnTo>
                  <a:pt x="390" y="474"/>
                </a:lnTo>
                <a:lnTo>
                  <a:pt x="384" y="468"/>
                </a:lnTo>
                <a:lnTo>
                  <a:pt x="384" y="474"/>
                </a:lnTo>
                <a:lnTo>
                  <a:pt x="384" y="474"/>
                </a:lnTo>
                <a:lnTo>
                  <a:pt x="384" y="474"/>
                </a:lnTo>
                <a:lnTo>
                  <a:pt x="384" y="474"/>
                </a:lnTo>
                <a:lnTo>
                  <a:pt x="384" y="474"/>
                </a:lnTo>
                <a:lnTo>
                  <a:pt x="384" y="474"/>
                </a:lnTo>
                <a:lnTo>
                  <a:pt x="384" y="474"/>
                </a:lnTo>
                <a:lnTo>
                  <a:pt x="384" y="468"/>
                </a:lnTo>
                <a:lnTo>
                  <a:pt x="378" y="468"/>
                </a:lnTo>
                <a:lnTo>
                  <a:pt x="378" y="468"/>
                </a:lnTo>
                <a:lnTo>
                  <a:pt x="378" y="468"/>
                </a:lnTo>
                <a:lnTo>
                  <a:pt x="378" y="474"/>
                </a:lnTo>
                <a:lnTo>
                  <a:pt x="378" y="474"/>
                </a:lnTo>
                <a:lnTo>
                  <a:pt x="378" y="474"/>
                </a:lnTo>
                <a:lnTo>
                  <a:pt x="378" y="474"/>
                </a:lnTo>
                <a:lnTo>
                  <a:pt x="372" y="474"/>
                </a:lnTo>
                <a:lnTo>
                  <a:pt x="372" y="474"/>
                </a:lnTo>
                <a:lnTo>
                  <a:pt x="366" y="480"/>
                </a:lnTo>
                <a:lnTo>
                  <a:pt x="366" y="480"/>
                </a:lnTo>
                <a:lnTo>
                  <a:pt x="366" y="480"/>
                </a:lnTo>
                <a:lnTo>
                  <a:pt x="372" y="480"/>
                </a:lnTo>
                <a:lnTo>
                  <a:pt x="372" y="480"/>
                </a:lnTo>
                <a:lnTo>
                  <a:pt x="372" y="480"/>
                </a:lnTo>
                <a:lnTo>
                  <a:pt x="372" y="486"/>
                </a:lnTo>
                <a:lnTo>
                  <a:pt x="366" y="486"/>
                </a:lnTo>
                <a:lnTo>
                  <a:pt x="366" y="486"/>
                </a:lnTo>
                <a:lnTo>
                  <a:pt x="366" y="480"/>
                </a:lnTo>
                <a:lnTo>
                  <a:pt x="360" y="480"/>
                </a:lnTo>
                <a:lnTo>
                  <a:pt x="360" y="480"/>
                </a:lnTo>
                <a:lnTo>
                  <a:pt x="360" y="480"/>
                </a:lnTo>
                <a:lnTo>
                  <a:pt x="360" y="474"/>
                </a:lnTo>
                <a:lnTo>
                  <a:pt x="360" y="474"/>
                </a:lnTo>
                <a:lnTo>
                  <a:pt x="360" y="474"/>
                </a:lnTo>
                <a:lnTo>
                  <a:pt x="354" y="474"/>
                </a:lnTo>
                <a:lnTo>
                  <a:pt x="354" y="468"/>
                </a:lnTo>
                <a:lnTo>
                  <a:pt x="348" y="474"/>
                </a:lnTo>
                <a:lnTo>
                  <a:pt x="348" y="468"/>
                </a:lnTo>
                <a:lnTo>
                  <a:pt x="342" y="468"/>
                </a:lnTo>
                <a:lnTo>
                  <a:pt x="336" y="468"/>
                </a:lnTo>
                <a:lnTo>
                  <a:pt x="336" y="468"/>
                </a:lnTo>
                <a:lnTo>
                  <a:pt x="330" y="462"/>
                </a:lnTo>
                <a:lnTo>
                  <a:pt x="330" y="462"/>
                </a:lnTo>
                <a:lnTo>
                  <a:pt x="324" y="462"/>
                </a:lnTo>
                <a:lnTo>
                  <a:pt x="324" y="462"/>
                </a:lnTo>
                <a:lnTo>
                  <a:pt x="324" y="462"/>
                </a:lnTo>
                <a:lnTo>
                  <a:pt x="324" y="462"/>
                </a:lnTo>
                <a:lnTo>
                  <a:pt x="318" y="462"/>
                </a:lnTo>
                <a:lnTo>
                  <a:pt x="324" y="456"/>
                </a:lnTo>
                <a:lnTo>
                  <a:pt x="324" y="456"/>
                </a:lnTo>
                <a:lnTo>
                  <a:pt x="324" y="456"/>
                </a:lnTo>
                <a:lnTo>
                  <a:pt x="324" y="450"/>
                </a:lnTo>
                <a:lnTo>
                  <a:pt x="318" y="450"/>
                </a:lnTo>
                <a:lnTo>
                  <a:pt x="318" y="444"/>
                </a:lnTo>
                <a:lnTo>
                  <a:pt x="318" y="444"/>
                </a:lnTo>
                <a:lnTo>
                  <a:pt x="318" y="444"/>
                </a:lnTo>
                <a:lnTo>
                  <a:pt x="324" y="444"/>
                </a:lnTo>
                <a:lnTo>
                  <a:pt x="324" y="444"/>
                </a:lnTo>
                <a:lnTo>
                  <a:pt x="324" y="444"/>
                </a:lnTo>
                <a:lnTo>
                  <a:pt x="324" y="438"/>
                </a:lnTo>
                <a:lnTo>
                  <a:pt x="324" y="438"/>
                </a:lnTo>
                <a:lnTo>
                  <a:pt x="324" y="432"/>
                </a:lnTo>
                <a:lnTo>
                  <a:pt x="318" y="432"/>
                </a:lnTo>
                <a:lnTo>
                  <a:pt x="318" y="432"/>
                </a:lnTo>
                <a:lnTo>
                  <a:pt x="318" y="432"/>
                </a:lnTo>
                <a:lnTo>
                  <a:pt x="318" y="432"/>
                </a:lnTo>
                <a:lnTo>
                  <a:pt x="318" y="432"/>
                </a:lnTo>
                <a:lnTo>
                  <a:pt x="312" y="432"/>
                </a:lnTo>
                <a:lnTo>
                  <a:pt x="312" y="438"/>
                </a:lnTo>
                <a:lnTo>
                  <a:pt x="306" y="438"/>
                </a:lnTo>
                <a:lnTo>
                  <a:pt x="306" y="432"/>
                </a:lnTo>
                <a:lnTo>
                  <a:pt x="306" y="432"/>
                </a:lnTo>
                <a:lnTo>
                  <a:pt x="312" y="432"/>
                </a:lnTo>
                <a:lnTo>
                  <a:pt x="306" y="426"/>
                </a:lnTo>
                <a:lnTo>
                  <a:pt x="306" y="426"/>
                </a:lnTo>
                <a:lnTo>
                  <a:pt x="312" y="426"/>
                </a:lnTo>
                <a:lnTo>
                  <a:pt x="312" y="420"/>
                </a:lnTo>
                <a:lnTo>
                  <a:pt x="312" y="420"/>
                </a:lnTo>
                <a:lnTo>
                  <a:pt x="312" y="420"/>
                </a:lnTo>
                <a:lnTo>
                  <a:pt x="312" y="420"/>
                </a:lnTo>
                <a:lnTo>
                  <a:pt x="312" y="420"/>
                </a:lnTo>
                <a:lnTo>
                  <a:pt x="312" y="414"/>
                </a:lnTo>
                <a:lnTo>
                  <a:pt x="312" y="414"/>
                </a:lnTo>
                <a:lnTo>
                  <a:pt x="312" y="414"/>
                </a:lnTo>
                <a:lnTo>
                  <a:pt x="312" y="408"/>
                </a:lnTo>
                <a:lnTo>
                  <a:pt x="312" y="408"/>
                </a:lnTo>
                <a:lnTo>
                  <a:pt x="312" y="408"/>
                </a:lnTo>
                <a:lnTo>
                  <a:pt x="312" y="408"/>
                </a:lnTo>
                <a:lnTo>
                  <a:pt x="312" y="402"/>
                </a:lnTo>
                <a:lnTo>
                  <a:pt x="306" y="402"/>
                </a:lnTo>
                <a:lnTo>
                  <a:pt x="306" y="396"/>
                </a:lnTo>
                <a:lnTo>
                  <a:pt x="300" y="396"/>
                </a:lnTo>
                <a:lnTo>
                  <a:pt x="300" y="402"/>
                </a:lnTo>
                <a:lnTo>
                  <a:pt x="294" y="402"/>
                </a:lnTo>
                <a:lnTo>
                  <a:pt x="294" y="402"/>
                </a:lnTo>
                <a:lnTo>
                  <a:pt x="294" y="402"/>
                </a:lnTo>
                <a:lnTo>
                  <a:pt x="288" y="396"/>
                </a:lnTo>
                <a:lnTo>
                  <a:pt x="288" y="396"/>
                </a:lnTo>
                <a:lnTo>
                  <a:pt x="288" y="390"/>
                </a:lnTo>
                <a:lnTo>
                  <a:pt x="288" y="390"/>
                </a:lnTo>
                <a:lnTo>
                  <a:pt x="288" y="390"/>
                </a:lnTo>
                <a:lnTo>
                  <a:pt x="288" y="384"/>
                </a:lnTo>
                <a:lnTo>
                  <a:pt x="288" y="384"/>
                </a:lnTo>
                <a:lnTo>
                  <a:pt x="288" y="378"/>
                </a:lnTo>
                <a:lnTo>
                  <a:pt x="288" y="378"/>
                </a:lnTo>
                <a:lnTo>
                  <a:pt x="288" y="372"/>
                </a:lnTo>
                <a:lnTo>
                  <a:pt x="288" y="372"/>
                </a:lnTo>
                <a:lnTo>
                  <a:pt x="288" y="366"/>
                </a:lnTo>
                <a:lnTo>
                  <a:pt x="288" y="366"/>
                </a:lnTo>
                <a:lnTo>
                  <a:pt x="288" y="360"/>
                </a:lnTo>
                <a:lnTo>
                  <a:pt x="288" y="360"/>
                </a:lnTo>
                <a:lnTo>
                  <a:pt x="282" y="360"/>
                </a:lnTo>
                <a:lnTo>
                  <a:pt x="282" y="360"/>
                </a:lnTo>
                <a:lnTo>
                  <a:pt x="276" y="360"/>
                </a:lnTo>
                <a:lnTo>
                  <a:pt x="276" y="354"/>
                </a:lnTo>
                <a:lnTo>
                  <a:pt x="270" y="348"/>
                </a:lnTo>
                <a:lnTo>
                  <a:pt x="270" y="348"/>
                </a:lnTo>
                <a:lnTo>
                  <a:pt x="264" y="342"/>
                </a:lnTo>
                <a:lnTo>
                  <a:pt x="264" y="342"/>
                </a:lnTo>
                <a:lnTo>
                  <a:pt x="264" y="342"/>
                </a:lnTo>
                <a:lnTo>
                  <a:pt x="258" y="342"/>
                </a:lnTo>
                <a:lnTo>
                  <a:pt x="258" y="342"/>
                </a:lnTo>
                <a:lnTo>
                  <a:pt x="258" y="342"/>
                </a:lnTo>
                <a:lnTo>
                  <a:pt x="258" y="342"/>
                </a:lnTo>
                <a:lnTo>
                  <a:pt x="252" y="330"/>
                </a:lnTo>
                <a:lnTo>
                  <a:pt x="252" y="330"/>
                </a:lnTo>
                <a:lnTo>
                  <a:pt x="252" y="324"/>
                </a:lnTo>
                <a:lnTo>
                  <a:pt x="252" y="318"/>
                </a:lnTo>
                <a:lnTo>
                  <a:pt x="246" y="318"/>
                </a:lnTo>
                <a:lnTo>
                  <a:pt x="246" y="318"/>
                </a:lnTo>
                <a:lnTo>
                  <a:pt x="246" y="318"/>
                </a:lnTo>
                <a:lnTo>
                  <a:pt x="246" y="312"/>
                </a:lnTo>
                <a:lnTo>
                  <a:pt x="240" y="312"/>
                </a:lnTo>
                <a:lnTo>
                  <a:pt x="240" y="306"/>
                </a:lnTo>
                <a:lnTo>
                  <a:pt x="240" y="306"/>
                </a:lnTo>
                <a:lnTo>
                  <a:pt x="240" y="306"/>
                </a:lnTo>
                <a:lnTo>
                  <a:pt x="240" y="306"/>
                </a:lnTo>
                <a:lnTo>
                  <a:pt x="240" y="300"/>
                </a:lnTo>
                <a:lnTo>
                  <a:pt x="234" y="300"/>
                </a:lnTo>
                <a:lnTo>
                  <a:pt x="234" y="300"/>
                </a:lnTo>
                <a:lnTo>
                  <a:pt x="234" y="294"/>
                </a:lnTo>
                <a:lnTo>
                  <a:pt x="234" y="288"/>
                </a:lnTo>
                <a:lnTo>
                  <a:pt x="234" y="288"/>
                </a:lnTo>
                <a:lnTo>
                  <a:pt x="234" y="288"/>
                </a:lnTo>
                <a:lnTo>
                  <a:pt x="228" y="282"/>
                </a:lnTo>
                <a:lnTo>
                  <a:pt x="228" y="282"/>
                </a:lnTo>
                <a:lnTo>
                  <a:pt x="228" y="276"/>
                </a:lnTo>
                <a:lnTo>
                  <a:pt x="228" y="276"/>
                </a:lnTo>
                <a:lnTo>
                  <a:pt x="222" y="276"/>
                </a:lnTo>
                <a:lnTo>
                  <a:pt x="228" y="270"/>
                </a:lnTo>
                <a:lnTo>
                  <a:pt x="228" y="270"/>
                </a:lnTo>
                <a:lnTo>
                  <a:pt x="228" y="270"/>
                </a:lnTo>
                <a:lnTo>
                  <a:pt x="222" y="264"/>
                </a:lnTo>
                <a:lnTo>
                  <a:pt x="228" y="264"/>
                </a:lnTo>
                <a:lnTo>
                  <a:pt x="228" y="258"/>
                </a:lnTo>
                <a:lnTo>
                  <a:pt x="222" y="258"/>
                </a:lnTo>
                <a:lnTo>
                  <a:pt x="228" y="258"/>
                </a:lnTo>
                <a:lnTo>
                  <a:pt x="228" y="258"/>
                </a:lnTo>
                <a:lnTo>
                  <a:pt x="228" y="252"/>
                </a:lnTo>
                <a:lnTo>
                  <a:pt x="228" y="252"/>
                </a:lnTo>
                <a:lnTo>
                  <a:pt x="228" y="252"/>
                </a:lnTo>
                <a:lnTo>
                  <a:pt x="228" y="252"/>
                </a:lnTo>
                <a:lnTo>
                  <a:pt x="228" y="246"/>
                </a:lnTo>
                <a:lnTo>
                  <a:pt x="228" y="246"/>
                </a:lnTo>
                <a:lnTo>
                  <a:pt x="228" y="240"/>
                </a:lnTo>
                <a:lnTo>
                  <a:pt x="234" y="234"/>
                </a:lnTo>
                <a:lnTo>
                  <a:pt x="234" y="234"/>
                </a:lnTo>
                <a:lnTo>
                  <a:pt x="234" y="234"/>
                </a:lnTo>
                <a:lnTo>
                  <a:pt x="228" y="234"/>
                </a:lnTo>
                <a:lnTo>
                  <a:pt x="228" y="234"/>
                </a:lnTo>
                <a:lnTo>
                  <a:pt x="228" y="234"/>
                </a:lnTo>
                <a:lnTo>
                  <a:pt x="228" y="228"/>
                </a:lnTo>
                <a:lnTo>
                  <a:pt x="228" y="228"/>
                </a:lnTo>
                <a:lnTo>
                  <a:pt x="222" y="228"/>
                </a:lnTo>
                <a:lnTo>
                  <a:pt x="222" y="222"/>
                </a:lnTo>
                <a:lnTo>
                  <a:pt x="222" y="222"/>
                </a:lnTo>
                <a:lnTo>
                  <a:pt x="222" y="222"/>
                </a:lnTo>
                <a:lnTo>
                  <a:pt x="216" y="222"/>
                </a:lnTo>
                <a:lnTo>
                  <a:pt x="216" y="216"/>
                </a:lnTo>
                <a:lnTo>
                  <a:pt x="210" y="216"/>
                </a:lnTo>
                <a:lnTo>
                  <a:pt x="210" y="216"/>
                </a:lnTo>
                <a:lnTo>
                  <a:pt x="210" y="210"/>
                </a:lnTo>
                <a:lnTo>
                  <a:pt x="198" y="210"/>
                </a:lnTo>
                <a:lnTo>
                  <a:pt x="198" y="204"/>
                </a:lnTo>
                <a:lnTo>
                  <a:pt x="192" y="204"/>
                </a:lnTo>
                <a:lnTo>
                  <a:pt x="192" y="198"/>
                </a:lnTo>
                <a:lnTo>
                  <a:pt x="192" y="198"/>
                </a:lnTo>
                <a:lnTo>
                  <a:pt x="192" y="198"/>
                </a:lnTo>
                <a:lnTo>
                  <a:pt x="192" y="192"/>
                </a:lnTo>
                <a:lnTo>
                  <a:pt x="192" y="192"/>
                </a:lnTo>
                <a:lnTo>
                  <a:pt x="192" y="192"/>
                </a:lnTo>
                <a:lnTo>
                  <a:pt x="192" y="192"/>
                </a:lnTo>
                <a:lnTo>
                  <a:pt x="192" y="192"/>
                </a:lnTo>
                <a:lnTo>
                  <a:pt x="192" y="186"/>
                </a:lnTo>
                <a:lnTo>
                  <a:pt x="192" y="186"/>
                </a:lnTo>
                <a:lnTo>
                  <a:pt x="192" y="186"/>
                </a:lnTo>
                <a:lnTo>
                  <a:pt x="192" y="186"/>
                </a:lnTo>
                <a:lnTo>
                  <a:pt x="186" y="186"/>
                </a:lnTo>
                <a:lnTo>
                  <a:pt x="186" y="186"/>
                </a:lnTo>
                <a:lnTo>
                  <a:pt x="186" y="180"/>
                </a:lnTo>
                <a:lnTo>
                  <a:pt x="186" y="174"/>
                </a:lnTo>
                <a:lnTo>
                  <a:pt x="186" y="174"/>
                </a:lnTo>
                <a:lnTo>
                  <a:pt x="186" y="174"/>
                </a:lnTo>
                <a:lnTo>
                  <a:pt x="192" y="174"/>
                </a:lnTo>
                <a:lnTo>
                  <a:pt x="192" y="174"/>
                </a:lnTo>
                <a:lnTo>
                  <a:pt x="192" y="174"/>
                </a:lnTo>
                <a:lnTo>
                  <a:pt x="192" y="174"/>
                </a:lnTo>
                <a:lnTo>
                  <a:pt x="192" y="174"/>
                </a:lnTo>
                <a:lnTo>
                  <a:pt x="192" y="168"/>
                </a:lnTo>
                <a:lnTo>
                  <a:pt x="192" y="168"/>
                </a:lnTo>
                <a:lnTo>
                  <a:pt x="192" y="168"/>
                </a:lnTo>
                <a:lnTo>
                  <a:pt x="192" y="162"/>
                </a:lnTo>
                <a:lnTo>
                  <a:pt x="192" y="162"/>
                </a:lnTo>
                <a:lnTo>
                  <a:pt x="192" y="162"/>
                </a:lnTo>
                <a:lnTo>
                  <a:pt x="192" y="162"/>
                </a:lnTo>
                <a:lnTo>
                  <a:pt x="192" y="162"/>
                </a:lnTo>
                <a:lnTo>
                  <a:pt x="186" y="162"/>
                </a:lnTo>
                <a:lnTo>
                  <a:pt x="180" y="168"/>
                </a:lnTo>
                <a:lnTo>
                  <a:pt x="174" y="168"/>
                </a:lnTo>
                <a:lnTo>
                  <a:pt x="174" y="162"/>
                </a:lnTo>
                <a:lnTo>
                  <a:pt x="174" y="162"/>
                </a:lnTo>
                <a:lnTo>
                  <a:pt x="180" y="162"/>
                </a:lnTo>
                <a:lnTo>
                  <a:pt x="180" y="162"/>
                </a:lnTo>
                <a:lnTo>
                  <a:pt x="180" y="156"/>
                </a:lnTo>
                <a:lnTo>
                  <a:pt x="174" y="156"/>
                </a:lnTo>
                <a:lnTo>
                  <a:pt x="174" y="156"/>
                </a:lnTo>
                <a:lnTo>
                  <a:pt x="174" y="156"/>
                </a:lnTo>
                <a:lnTo>
                  <a:pt x="174" y="150"/>
                </a:lnTo>
                <a:lnTo>
                  <a:pt x="174" y="150"/>
                </a:lnTo>
                <a:lnTo>
                  <a:pt x="180" y="150"/>
                </a:lnTo>
                <a:lnTo>
                  <a:pt x="174" y="150"/>
                </a:lnTo>
                <a:lnTo>
                  <a:pt x="174" y="150"/>
                </a:lnTo>
                <a:lnTo>
                  <a:pt x="174" y="150"/>
                </a:lnTo>
                <a:lnTo>
                  <a:pt x="174" y="150"/>
                </a:lnTo>
                <a:lnTo>
                  <a:pt x="174" y="150"/>
                </a:lnTo>
                <a:lnTo>
                  <a:pt x="168" y="144"/>
                </a:lnTo>
                <a:lnTo>
                  <a:pt x="162" y="150"/>
                </a:lnTo>
                <a:lnTo>
                  <a:pt x="162" y="150"/>
                </a:lnTo>
                <a:lnTo>
                  <a:pt x="162" y="150"/>
                </a:lnTo>
                <a:lnTo>
                  <a:pt x="162" y="150"/>
                </a:lnTo>
                <a:lnTo>
                  <a:pt x="162" y="144"/>
                </a:lnTo>
                <a:lnTo>
                  <a:pt x="162" y="144"/>
                </a:lnTo>
                <a:lnTo>
                  <a:pt x="162" y="144"/>
                </a:lnTo>
                <a:lnTo>
                  <a:pt x="162" y="144"/>
                </a:lnTo>
                <a:lnTo>
                  <a:pt x="162" y="138"/>
                </a:lnTo>
                <a:lnTo>
                  <a:pt x="162" y="138"/>
                </a:lnTo>
                <a:lnTo>
                  <a:pt x="162" y="138"/>
                </a:lnTo>
                <a:lnTo>
                  <a:pt x="162" y="144"/>
                </a:lnTo>
                <a:lnTo>
                  <a:pt x="156" y="144"/>
                </a:lnTo>
                <a:lnTo>
                  <a:pt x="156" y="144"/>
                </a:lnTo>
                <a:lnTo>
                  <a:pt x="156" y="144"/>
                </a:lnTo>
                <a:lnTo>
                  <a:pt x="156" y="144"/>
                </a:lnTo>
                <a:lnTo>
                  <a:pt x="156" y="144"/>
                </a:lnTo>
                <a:lnTo>
                  <a:pt x="156" y="144"/>
                </a:lnTo>
                <a:lnTo>
                  <a:pt x="156" y="138"/>
                </a:lnTo>
                <a:lnTo>
                  <a:pt x="156" y="138"/>
                </a:lnTo>
                <a:lnTo>
                  <a:pt x="156" y="138"/>
                </a:lnTo>
                <a:lnTo>
                  <a:pt x="150" y="138"/>
                </a:lnTo>
                <a:lnTo>
                  <a:pt x="156" y="138"/>
                </a:lnTo>
                <a:lnTo>
                  <a:pt x="156" y="138"/>
                </a:lnTo>
                <a:lnTo>
                  <a:pt x="150" y="144"/>
                </a:lnTo>
                <a:lnTo>
                  <a:pt x="150" y="144"/>
                </a:lnTo>
                <a:lnTo>
                  <a:pt x="150" y="144"/>
                </a:lnTo>
                <a:lnTo>
                  <a:pt x="150" y="138"/>
                </a:lnTo>
                <a:lnTo>
                  <a:pt x="144" y="144"/>
                </a:lnTo>
                <a:lnTo>
                  <a:pt x="144" y="144"/>
                </a:lnTo>
                <a:lnTo>
                  <a:pt x="144" y="138"/>
                </a:lnTo>
                <a:lnTo>
                  <a:pt x="144" y="138"/>
                </a:lnTo>
                <a:lnTo>
                  <a:pt x="144" y="138"/>
                </a:lnTo>
                <a:lnTo>
                  <a:pt x="138" y="138"/>
                </a:lnTo>
                <a:lnTo>
                  <a:pt x="138" y="138"/>
                </a:lnTo>
                <a:lnTo>
                  <a:pt x="144" y="138"/>
                </a:lnTo>
                <a:lnTo>
                  <a:pt x="144" y="144"/>
                </a:lnTo>
                <a:lnTo>
                  <a:pt x="144" y="144"/>
                </a:lnTo>
                <a:lnTo>
                  <a:pt x="144" y="144"/>
                </a:lnTo>
                <a:lnTo>
                  <a:pt x="138" y="144"/>
                </a:lnTo>
                <a:lnTo>
                  <a:pt x="138" y="144"/>
                </a:lnTo>
                <a:lnTo>
                  <a:pt x="138" y="144"/>
                </a:lnTo>
                <a:lnTo>
                  <a:pt x="138" y="144"/>
                </a:lnTo>
                <a:lnTo>
                  <a:pt x="138" y="144"/>
                </a:lnTo>
                <a:lnTo>
                  <a:pt x="138" y="138"/>
                </a:lnTo>
                <a:lnTo>
                  <a:pt x="138" y="138"/>
                </a:lnTo>
                <a:lnTo>
                  <a:pt x="138" y="144"/>
                </a:lnTo>
                <a:lnTo>
                  <a:pt x="132" y="138"/>
                </a:lnTo>
                <a:lnTo>
                  <a:pt x="132" y="144"/>
                </a:lnTo>
                <a:lnTo>
                  <a:pt x="132" y="138"/>
                </a:lnTo>
                <a:lnTo>
                  <a:pt x="132" y="138"/>
                </a:lnTo>
                <a:lnTo>
                  <a:pt x="132" y="138"/>
                </a:lnTo>
                <a:lnTo>
                  <a:pt x="132" y="138"/>
                </a:lnTo>
                <a:lnTo>
                  <a:pt x="132" y="132"/>
                </a:lnTo>
                <a:lnTo>
                  <a:pt x="126" y="132"/>
                </a:lnTo>
                <a:lnTo>
                  <a:pt x="126" y="138"/>
                </a:lnTo>
                <a:lnTo>
                  <a:pt x="126" y="138"/>
                </a:lnTo>
                <a:lnTo>
                  <a:pt x="126" y="138"/>
                </a:lnTo>
                <a:lnTo>
                  <a:pt x="126" y="138"/>
                </a:lnTo>
                <a:lnTo>
                  <a:pt x="126" y="138"/>
                </a:lnTo>
                <a:lnTo>
                  <a:pt x="126" y="132"/>
                </a:lnTo>
                <a:lnTo>
                  <a:pt x="126" y="132"/>
                </a:lnTo>
                <a:lnTo>
                  <a:pt x="126" y="132"/>
                </a:lnTo>
                <a:lnTo>
                  <a:pt x="126" y="132"/>
                </a:lnTo>
                <a:lnTo>
                  <a:pt x="126" y="132"/>
                </a:lnTo>
                <a:lnTo>
                  <a:pt x="126" y="132"/>
                </a:lnTo>
                <a:lnTo>
                  <a:pt x="120" y="132"/>
                </a:lnTo>
                <a:lnTo>
                  <a:pt x="120" y="132"/>
                </a:lnTo>
                <a:lnTo>
                  <a:pt x="120" y="132"/>
                </a:lnTo>
                <a:lnTo>
                  <a:pt x="120" y="132"/>
                </a:lnTo>
                <a:lnTo>
                  <a:pt x="120" y="132"/>
                </a:lnTo>
                <a:lnTo>
                  <a:pt x="114" y="132"/>
                </a:lnTo>
                <a:lnTo>
                  <a:pt x="114" y="132"/>
                </a:lnTo>
                <a:lnTo>
                  <a:pt x="114" y="126"/>
                </a:lnTo>
                <a:lnTo>
                  <a:pt x="114" y="126"/>
                </a:lnTo>
                <a:lnTo>
                  <a:pt x="114" y="126"/>
                </a:lnTo>
                <a:lnTo>
                  <a:pt x="114" y="126"/>
                </a:lnTo>
                <a:lnTo>
                  <a:pt x="114" y="126"/>
                </a:lnTo>
                <a:lnTo>
                  <a:pt x="114" y="126"/>
                </a:lnTo>
                <a:lnTo>
                  <a:pt x="114" y="126"/>
                </a:lnTo>
                <a:lnTo>
                  <a:pt x="108" y="132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32"/>
                </a:lnTo>
                <a:lnTo>
                  <a:pt x="108" y="132"/>
                </a:lnTo>
                <a:lnTo>
                  <a:pt x="102" y="132"/>
                </a:lnTo>
                <a:lnTo>
                  <a:pt x="108" y="126"/>
                </a:lnTo>
                <a:lnTo>
                  <a:pt x="102" y="126"/>
                </a:lnTo>
                <a:lnTo>
                  <a:pt x="108" y="126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14"/>
                </a:lnTo>
                <a:lnTo>
                  <a:pt x="102" y="114"/>
                </a:lnTo>
                <a:lnTo>
                  <a:pt x="102" y="120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96" y="114"/>
                </a:lnTo>
                <a:lnTo>
                  <a:pt x="102" y="114"/>
                </a:lnTo>
                <a:lnTo>
                  <a:pt x="96" y="114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08"/>
                </a:lnTo>
                <a:lnTo>
                  <a:pt x="90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2"/>
                </a:lnTo>
                <a:lnTo>
                  <a:pt x="84" y="102"/>
                </a:lnTo>
                <a:lnTo>
                  <a:pt x="84" y="102"/>
                </a:lnTo>
                <a:lnTo>
                  <a:pt x="84" y="102"/>
                </a:lnTo>
                <a:lnTo>
                  <a:pt x="84" y="102"/>
                </a:lnTo>
                <a:lnTo>
                  <a:pt x="84" y="102"/>
                </a:lnTo>
                <a:lnTo>
                  <a:pt x="84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96"/>
                </a:lnTo>
                <a:lnTo>
                  <a:pt x="78" y="102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0" y="96"/>
                </a:lnTo>
                <a:lnTo>
                  <a:pt x="30" y="90"/>
                </a:lnTo>
                <a:lnTo>
                  <a:pt x="30" y="96"/>
                </a:lnTo>
                <a:lnTo>
                  <a:pt x="30" y="96"/>
                </a:lnTo>
                <a:lnTo>
                  <a:pt x="24" y="96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2"/>
                </a:lnTo>
                <a:lnTo>
                  <a:pt x="18" y="72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2" y="66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8" y="42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2" y="36"/>
                </a:lnTo>
                <a:lnTo>
                  <a:pt x="12" y="30"/>
                </a:lnTo>
                <a:lnTo>
                  <a:pt x="12" y="30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18"/>
                </a:lnTo>
                <a:lnTo>
                  <a:pt x="12" y="18"/>
                </a:lnTo>
                <a:lnTo>
                  <a:pt x="6" y="12"/>
                </a:lnTo>
                <a:lnTo>
                  <a:pt x="6" y="12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24" name="Freeform 57"/>
          <p:cNvSpPr>
            <a:spLocks/>
          </p:cNvSpPr>
          <p:nvPr/>
        </p:nvSpPr>
        <p:spPr bwMode="auto">
          <a:xfrm>
            <a:off x="6704101" y="2194927"/>
            <a:ext cx="276234" cy="321205"/>
          </a:xfrm>
          <a:custGeom>
            <a:avLst/>
            <a:gdLst>
              <a:gd name="T0" fmla="*/ 12 w 258"/>
              <a:gd name="T1" fmla="*/ 228 h 300"/>
              <a:gd name="T2" fmla="*/ 6 w 258"/>
              <a:gd name="T3" fmla="*/ 216 h 300"/>
              <a:gd name="T4" fmla="*/ 6 w 258"/>
              <a:gd name="T5" fmla="*/ 204 h 300"/>
              <a:gd name="T6" fmla="*/ 12 w 258"/>
              <a:gd name="T7" fmla="*/ 186 h 300"/>
              <a:gd name="T8" fmla="*/ 30 w 258"/>
              <a:gd name="T9" fmla="*/ 156 h 300"/>
              <a:gd name="T10" fmla="*/ 60 w 258"/>
              <a:gd name="T11" fmla="*/ 126 h 300"/>
              <a:gd name="T12" fmla="*/ 84 w 258"/>
              <a:gd name="T13" fmla="*/ 84 h 300"/>
              <a:gd name="T14" fmla="*/ 108 w 258"/>
              <a:gd name="T15" fmla="*/ 54 h 300"/>
              <a:gd name="T16" fmla="*/ 114 w 258"/>
              <a:gd name="T17" fmla="*/ 30 h 300"/>
              <a:gd name="T18" fmla="*/ 114 w 258"/>
              <a:gd name="T19" fmla="*/ 0 h 300"/>
              <a:gd name="T20" fmla="*/ 126 w 258"/>
              <a:gd name="T21" fmla="*/ 6 h 300"/>
              <a:gd name="T22" fmla="*/ 132 w 258"/>
              <a:gd name="T23" fmla="*/ 6 h 300"/>
              <a:gd name="T24" fmla="*/ 144 w 258"/>
              <a:gd name="T25" fmla="*/ 6 h 300"/>
              <a:gd name="T26" fmla="*/ 150 w 258"/>
              <a:gd name="T27" fmla="*/ 6 h 300"/>
              <a:gd name="T28" fmla="*/ 162 w 258"/>
              <a:gd name="T29" fmla="*/ 12 h 300"/>
              <a:gd name="T30" fmla="*/ 162 w 258"/>
              <a:gd name="T31" fmla="*/ 24 h 300"/>
              <a:gd name="T32" fmla="*/ 162 w 258"/>
              <a:gd name="T33" fmla="*/ 30 h 300"/>
              <a:gd name="T34" fmla="*/ 168 w 258"/>
              <a:gd name="T35" fmla="*/ 36 h 300"/>
              <a:gd name="T36" fmla="*/ 174 w 258"/>
              <a:gd name="T37" fmla="*/ 42 h 300"/>
              <a:gd name="T38" fmla="*/ 174 w 258"/>
              <a:gd name="T39" fmla="*/ 48 h 300"/>
              <a:gd name="T40" fmla="*/ 180 w 258"/>
              <a:gd name="T41" fmla="*/ 60 h 300"/>
              <a:gd name="T42" fmla="*/ 180 w 258"/>
              <a:gd name="T43" fmla="*/ 72 h 300"/>
              <a:gd name="T44" fmla="*/ 186 w 258"/>
              <a:gd name="T45" fmla="*/ 66 h 300"/>
              <a:gd name="T46" fmla="*/ 192 w 258"/>
              <a:gd name="T47" fmla="*/ 54 h 300"/>
              <a:gd name="T48" fmla="*/ 204 w 258"/>
              <a:gd name="T49" fmla="*/ 48 h 300"/>
              <a:gd name="T50" fmla="*/ 222 w 258"/>
              <a:gd name="T51" fmla="*/ 36 h 300"/>
              <a:gd name="T52" fmla="*/ 228 w 258"/>
              <a:gd name="T53" fmla="*/ 42 h 300"/>
              <a:gd name="T54" fmla="*/ 234 w 258"/>
              <a:gd name="T55" fmla="*/ 42 h 300"/>
              <a:gd name="T56" fmla="*/ 246 w 258"/>
              <a:gd name="T57" fmla="*/ 42 h 300"/>
              <a:gd name="T58" fmla="*/ 252 w 258"/>
              <a:gd name="T59" fmla="*/ 72 h 300"/>
              <a:gd name="T60" fmla="*/ 252 w 258"/>
              <a:gd name="T61" fmla="*/ 120 h 300"/>
              <a:gd name="T62" fmla="*/ 246 w 258"/>
              <a:gd name="T63" fmla="*/ 150 h 300"/>
              <a:gd name="T64" fmla="*/ 222 w 258"/>
              <a:gd name="T65" fmla="*/ 186 h 300"/>
              <a:gd name="T66" fmla="*/ 216 w 258"/>
              <a:gd name="T67" fmla="*/ 234 h 300"/>
              <a:gd name="T68" fmla="*/ 222 w 258"/>
              <a:gd name="T69" fmla="*/ 258 h 300"/>
              <a:gd name="T70" fmla="*/ 222 w 258"/>
              <a:gd name="T71" fmla="*/ 288 h 300"/>
              <a:gd name="T72" fmla="*/ 216 w 258"/>
              <a:gd name="T73" fmla="*/ 288 h 300"/>
              <a:gd name="T74" fmla="*/ 210 w 258"/>
              <a:gd name="T75" fmla="*/ 288 h 300"/>
              <a:gd name="T76" fmla="*/ 198 w 258"/>
              <a:gd name="T77" fmla="*/ 288 h 300"/>
              <a:gd name="T78" fmla="*/ 192 w 258"/>
              <a:gd name="T79" fmla="*/ 288 h 300"/>
              <a:gd name="T80" fmla="*/ 174 w 258"/>
              <a:gd name="T81" fmla="*/ 294 h 300"/>
              <a:gd name="T82" fmla="*/ 162 w 258"/>
              <a:gd name="T83" fmla="*/ 288 h 300"/>
              <a:gd name="T84" fmla="*/ 156 w 258"/>
              <a:gd name="T85" fmla="*/ 288 h 300"/>
              <a:gd name="T86" fmla="*/ 150 w 258"/>
              <a:gd name="T87" fmla="*/ 294 h 300"/>
              <a:gd name="T88" fmla="*/ 138 w 258"/>
              <a:gd name="T89" fmla="*/ 300 h 300"/>
              <a:gd name="T90" fmla="*/ 132 w 258"/>
              <a:gd name="T91" fmla="*/ 300 h 300"/>
              <a:gd name="T92" fmla="*/ 126 w 258"/>
              <a:gd name="T93" fmla="*/ 300 h 300"/>
              <a:gd name="T94" fmla="*/ 114 w 258"/>
              <a:gd name="T95" fmla="*/ 294 h 300"/>
              <a:gd name="T96" fmla="*/ 108 w 258"/>
              <a:gd name="T97" fmla="*/ 288 h 300"/>
              <a:gd name="T98" fmla="*/ 96 w 258"/>
              <a:gd name="T99" fmla="*/ 282 h 300"/>
              <a:gd name="T100" fmla="*/ 84 w 258"/>
              <a:gd name="T101" fmla="*/ 282 h 300"/>
              <a:gd name="T102" fmla="*/ 72 w 258"/>
              <a:gd name="T103" fmla="*/ 282 h 300"/>
              <a:gd name="T104" fmla="*/ 60 w 258"/>
              <a:gd name="T105" fmla="*/ 276 h 300"/>
              <a:gd name="T106" fmla="*/ 54 w 258"/>
              <a:gd name="T107" fmla="*/ 282 h 300"/>
              <a:gd name="T108" fmla="*/ 42 w 258"/>
              <a:gd name="T109" fmla="*/ 282 h 300"/>
              <a:gd name="T110" fmla="*/ 36 w 258"/>
              <a:gd name="T111" fmla="*/ 270 h 300"/>
              <a:gd name="T112" fmla="*/ 30 w 258"/>
              <a:gd name="T113" fmla="*/ 270 h 300"/>
              <a:gd name="T114" fmla="*/ 18 w 258"/>
              <a:gd name="T115" fmla="*/ 270 h 300"/>
              <a:gd name="T116" fmla="*/ 12 w 258"/>
              <a:gd name="T117" fmla="*/ 264 h 300"/>
              <a:gd name="T118" fmla="*/ 6 w 258"/>
              <a:gd name="T119" fmla="*/ 258 h 300"/>
              <a:gd name="T120" fmla="*/ 6 w 258"/>
              <a:gd name="T121" fmla="*/ 252 h 300"/>
              <a:gd name="T122" fmla="*/ 6 w 258"/>
              <a:gd name="T123" fmla="*/ 246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58" h="300">
                <a:moveTo>
                  <a:pt x="6" y="240"/>
                </a:moveTo>
                <a:lnTo>
                  <a:pt x="6" y="240"/>
                </a:lnTo>
                <a:lnTo>
                  <a:pt x="6" y="240"/>
                </a:lnTo>
                <a:lnTo>
                  <a:pt x="6" y="234"/>
                </a:lnTo>
                <a:lnTo>
                  <a:pt x="6" y="234"/>
                </a:lnTo>
                <a:lnTo>
                  <a:pt x="6" y="234"/>
                </a:lnTo>
                <a:lnTo>
                  <a:pt x="6" y="228"/>
                </a:lnTo>
                <a:lnTo>
                  <a:pt x="6" y="228"/>
                </a:lnTo>
                <a:lnTo>
                  <a:pt x="6" y="228"/>
                </a:lnTo>
                <a:lnTo>
                  <a:pt x="6" y="228"/>
                </a:lnTo>
                <a:lnTo>
                  <a:pt x="12" y="228"/>
                </a:lnTo>
                <a:lnTo>
                  <a:pt x="12" y="228"/>
                </a:lnTo>
                <a:lnTo>
                  <a:pt x="12" y="228"/>
                </a:lnTo>
                <a:lnTo>
                  <a:pt x="6" y="228"/>
                </a:lnTo>
                <a:lnTo>
                  <a:pt x="6" y="228"/>
                </a:lnTo>
                <a:lnTo>
                  <a:pt x="12" y="228"/>
                </a:lnTo>
                <a:lnTo>
                  <a:pt x="6" y="222"/>
                </a:lnTo>
                <a:lnTo>
                  <a:pt x="6" y="222"/>
                </a:lnTo>
                <a:lnTo>
                  <a:pt x="6" y="222"/>
                </a:lnTo>
                <a:lnTo>
                  <a:pt x="6" y="222"/>
                </a:lnTo>
                <a:lnTo>
                  <a:pt x="12" y="216"/>
                </a:lnTo>
                <a:lnTo>
                  <a:pt x="6" y="216"/>
                </a:lnTo>
                <a:lnTo>
                  <a:pt x="6" y="216"/>
                </a:lnTo>
                <a:lnTo>
                  <a:pt x="6" y="216"/>
                </a:lnTo>
                <a:lnTo>
                  <a:pt x="6" y="216"/>
                </a:lnTo>
                <a:lnTo>
                  <a:pt x="12" y="216"/>
                </a:lnTo>
                <a:lnTo>
                  <a:pt x="12" y="210"/>
                </a:lnTo>
                <a:lnTo>
                  <a:pt x="12" y="210"/>
                </a:lnTo>
                <a:lnTo>
                  <a:pt x="12" y="210"/>
                </a:lnTo>
                <a:lnTo>
                  <a:pt x="6" y="210"/>
                </a:lnTo>
                <a:lnTo>
                  <a:pt x="6" y="204"/>
                </a:lnTo>
                <a:lnTo>
                  <a:pt x="6" y="204"/>
                </a:lnTo>
                <a:lnTo>
                  <a:pt x="6" y="204"/>
                </a:lnTo>
                <a:lnTo>
                  <a:pt x="12" y="198"/>
                </a:lnTo>
                <a:lnTo>
                  <a:pt x="12" y="198"/>
                </a:lnTo>
                <a:lnTo>
                  <a:pt x="12" y="198"/>
                </a:lnTo>
                <a:lnTo>
                  <a:pt x="12" y="198"/>
                </a:lnTo>
                <a:lnTo>
                  <a:pt x="12" y="192"/>
                </a:lnTo>
                <a:lnTo>
                  <a:pt x="12" y="192"/>
                </a:lnTo>
                <a:lnTo>
                  <a:pt x="12" y="192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0"/>
                </a:lnTo>
                <a:lnTo>
                  <a:pt x="12" y="180"/>
                </a:lnTo>
                <a:lnTo>
                  <a:pt x="18" y="174"/>
                </a:lnTo>
                <a:lnTo>
                  <a:pt x="18" y="174"/>
                </a:lnTo>
                <a:lnTo>
                  <a:pt x="18" y="174"/>
                </a:lnTo>
                <a:lnTo>
                  <a:pt x="18" y="168"/>
                </a:lnTo>
                <a:lnTo>
                  <a:pt x="24" y="168"/>
                </a:lnTo>
                <a:lnTo>
                  <a:pt x="24" y="162"/>
                </a:lnTo>
                <a:lnTo>
                  <a:pt x="24" y="162"/>
                </a:lnTo>
                <a:lnTo>
                  <a:pt x="24" y="156"/>
                </a:lnTo>
                <a:lnTo>
                  <a:pt x="30" y="156"/>
                </a:lnTo>
                <a:lnTo>
                  <a:pt x="36" y="150"/>
                </a:lnTo>
                <a:lnTo>
                  <a:pt x="36" y="144"/>
                </a:lnTo>
                <a:lnTo>
                  <a:pt x="36" y="144"/>
                </a:lnTo>
                <a:lnTo>
                  <a:pt x="42" y="144"/>
                </a:lnTo>
                <a:lnTo>
                  <a:pt x="42" y="138"/>
                </a:lnTo>
                <a:lnTo>
                  <a:pt x="42" y="138"/>
                </a:lnTo>
                <a:lnTo>
                  <a:pt x="48" y="132"/>
                </a:lnTo>
                <a:lnTo>
                  <a:pt x="54" y="132"/>
                </a:lnTo>
                <a:lnTo>
                  <a:pt x="60" y="132"/>
                </a:lnTo>
                <a:lnTo>
                  <a:pt x="60" y="132"/>
                </a:lnTo>
                <a:lnTo>
                  <a:pt x="60" y="126"/>
                </a:lnTo>
                <a:lnTo>
                  <a:pt x="66" y="126"/>
                </a:lnTo>
                <a:lnTo>
                  <a:pt x="66" y="120"/>
                </a:lnTo>
                <a:lnTo>
                  <a:pt x="72" y="114"/>
                </a:lnTo>
                <a:lnTo>
                  <a:pt x="72" y="108"/>
                </a:lnTo>
                <a:lnTo>
                  <a:pt x="78" y="108"/>
                </a:lnTo>
                <a:lnTo>
                  <a:pt x="78" y="102"/>
                </a:lnTo>
                <a:lnTo>
                  <a:pt x="78" y="102"/>
                </a:lnTo>
                <a:lnTo>
                  <a:pt x="84" y="96"/>
                </a:lnTo>
                <a:lnTo>
                  <a:pt x="84" y="96"/>
                </a:lnTo>
                <a:lnTo>
                  <a:pt x="84" y="90"/>
                </a:lnTo>
                <a:lnTo>
                  <a:pt x="84" y="84"/>
                </a:lnTo>
                <a:lnTo>
                  <a:pt x="90" y="84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6" y="72"/>
                </a:lnTo>
                <a:lnTo>
                  <a:pt x="96" y="72"/>
                </a:lnTo>
                <a:lnTo>
                  <a:pt x="102" y="72"/>
                </a:lnTo>
                <a:lnTo>
                  <a:pt x="102" y="66"/>
                </a:lnTo>
                <a:lnTo>
                  <a:pt x="102" y="66"/>
                </a:lnTo>
                <a:lnTo>
                  <a:pt x="102" y="54"/>
                </a:lnTo>
                <a:lnTo>
                  <a:pt x="108" y="54"/>
                </a:lnTo>
                <a:lnTo>
                  <a:pt x="108" y="48"/>
                </a:lnTo>
                <a:lnTo>
                  <a:pt x="108" y="48"/>
                </a:lnTo>
                <a:lnTo>
                  <a:pt x="108" y="42"/>
                </a:lnTo>
                <a:lnTo>
                  <a:pt x="108" y="42"/>
                </a:lnTo>
                <a:lnTo>
                  <a:pt x="108" y="36"/>
                </a:lnTo>
                <a:lnTo>
                  <a:pt x="114" y="36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24"/>
                </a:lnTo>
                <a:lnTo>
                  <a:pt x="114" y="24"/>
                </a:lnTo>
                <a:lnTo>
                  <a:pt x="114" y="18"/>
                </a:lnTo>
                <a:lnTo>
                  <a:pt x="114" y="18"/>
                </a:lnTo>
                <a:lnTo>
                  <a:pt x="114" y="12"/>
                </a:lnTo>
                <a:lnTo>
                  <a:pt x="114" y="6"/>
                </a:lnTo>
                <a:lnTo>
                  <a:pt x="114" y="0"/>
                </a:lnTo>
                <a:lnTo>
                  <a:pt x="114" y="0"/>
                </a:lnTo>
                <a:lnTo>
                  <a:pt x="114" y="0"/>
                </a:lnTo>
                <a:lnTo>
                  <a:pt x="120" y="0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0"/>
                </a:lnTo>
                <a:lnTo>
                  <a:pt x="144" y="0"/>
                </a:lnTo>
                <a:lnTo>
                  <a:pt x="150" y="0"/>
                </a:lnTo>
                <a:lnTo>
                  <a:pt x="150" y="0"/>
                </a:lnTo>
                <a:lnTo>
                  <a:pt x="150" y="0"/>
                </a:lnTo>
                <a:lnTo>
                  <a:pt x="150" y="0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62" y="6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8" y="30"/>
                </a:lnTo>
                <a:lnTo>
                  <a:pt x="162" y="30"/>
                </a:lnTo>
                <a:lnTo>
                  <a:pt x="162" y="30"/>
                </a:lnTo>
                <a:lnTo>
                  <a:pt x="162" y="30"/>
                </a:lnTo>
                <a:lnTo>
                  <a:pt x="168" y="30"/>
                </a:lnTo>
                <a:lnTo>
                  <a:pt x="168" y="30"/>
                </a:lnTo>
                <a:lnTo>
                  <a:pt x="162" y="30"/>
                </a:lnTo>
                <a:lnTo>
                  <a:pt x="162" y="36"/>
                </a:lnTo>
                <a:lnTo>
                  <a:pt x="168" y="36"/>
                </a:lnTo>
                <a:lnTo>
                  <a:pt x="168" y="36"/>
                </a:lnTo>
                <a:lnTo>
                  <a:pt x="168" y="36"/>
                </a:lnTo>
                <a:lnTo>
                  <a:pt x="168" y="36"/>
                </a:lnTo>
                <a:lnTo>
                  <a:pt x="168" y="36"/>
                </a:lnTo>
                <a:lnTo>
                  <a:pt x="168" y="36"/>
                </a:lnTo>
                <a:lnTo>
                  <a:pt x="168" y="36"/>
                </a:lnTo>
                <a:lnTo>
                  <a:pt x="168" y="36"/>
                </a:lnTo>
                <a:lnTo>
                  <a:pt x="168" y="36"/>
                </a:lnTo>
                <a:lnTo>
                  <a:pt x="168" y="36"/>
                </a:lnTo>
                <a:lnTo>
                  <a:pt x="168" y="36"/>
                </a:lnTo>
                <a:lnTo>
                  <a:pt x="168" y="36"/>
                </a:lnTo>
                <a:lnTo>
                  <a:pt x="168" y="36"/>
                </a:lnTo>
                <a:lnTo>
                  <a:pt x="168" y="42"/>
                </a:lnTo>
                <a:lnTo>
                  <a:pt x="168" y="42"/>
                </a:lnTo>
                <a:lnTo>
                  <a:pt x="168" y="42"/>
                </a:lnTo>
                <a:lnTo>
                  <a:pt x="168" y="42"/>
                </a:lnTo>
                <a:lnTo>
                  <a:pt x="174" y="42"/>
                </a:lnTo>
                <a:lnTo>
                  <a:pt x="174" y="42"/>
                </a:lnTo>
                <a:lnTo>
                  <a:pt x="168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8"/>
                </a:lnTo>
                <a:lnTo>
                  <a:pt x="174" y="42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80" y="54"/>
                </a:lnTo>
                <a:lnTo>
                  <a:pt x="180" y="54"/>
                </a:lnTo>
                <a:lnTo>
                  <a:pt x="180" y="54"/>
                </a:lnTo>
                <a:lnTo>
                  <a:pt x="180" y="54"/>
                </a:lnTo>
                <a:lnTo>
                  <a:pt x="180" y="54"/>
                </a:lnTo>
                <a:lnTo>
                  <a:pt x="174" y="54"/>
                </a:lnTo>
                <a:lnTo>
                  <a:pt x="180" y="54"/>
                </a:lnTo>
                <a:lnTo>
                  <a:pt x="180" y="54"/>
                </a:lnTo>
                <a:lnTo>
                  <a:pt x="180" y="60"/>
                </a:lnTo>
                <a:lnTo>
                  <a:pt x="180" y="60"/>
                </a:lnTo>
                <a:lnTo>
                  <a:pt x="180" y="60"/>
                </a:lnTo>
                <a:lnTo>
                  <a:pt x="180" y="60"/>
                </a:lnTo>
                <a:lnTo>
                  <a:pt x="180" y="60"/>
                </a:lnTo>
                <a:lnTo>
                  <a:pt x="180" y="60"/>
                </a:lnTo>
                <a:lnTo>
                  <a:pt x="180" y="60"/>
                </a:lnTo>
                <a:lnTo>
                  <a:pt x="180" y="66"/>
                </a:lnTo>
                <a:lnTo>
                  <a:pt x="180" y="66"/>
                </a:lnTo>
                <a:lnTo>
                  <a:pt x="180" y="66"/>
                </a:lnTo>
                <a:lnTo>
                  <a:pt x="180" y="66"/>
                </a:lnTo>
                <a:lnTo>
                  <a:pt x="180" y="72"/>
                </a:lnTo>
                <a:lnTo>
                  <a:pt x="180" y="72"/>
                </a:lnTo>
                <a:lnTo>
                  <a:pt x="180" y="72"/>
                </a:lnTo>
                <a:lnTo>
                  <a:pt x="180" y="72"/>
                </a:lnTo>
                <a:lnTo>
                  <a:pt x="186" y="72"/>
                </a:lnTo>
                <a:lnTo>
                  <a:pt x="186" y="72"/>
                </a:lnTo>
                <a:lnTo>
                  <a:pt x="186" y="72"/>
                </a:lnTo>
                <a:lnTo>
                  <a:pt x="186" y="72"/>
                </a:lnTo>
                <a:lnTo>
                  <a:pt x="186" y="66"/>
                </a:lnTo>
                <a:lnTo>
                  <a:pt x="186" y="66"/>
                </a:lnTo>
                <a:lnTo>
                  <a:pt x="186" y="66"/>
                </a:lnTo>
                <a:lnTo>
                  <a:pt x="186" y="66"/>
                </a:lnTo>
                <a:lnTo>
                  <a:pt x="186" y="66"/>
                </a:lnTo>
                <a:lnTo>
                  <a:pt x="186" y="66"/>
                </a:lnTo>
                <a:lnTo>
                  <a:pt x="186" y="60"/>
                </a:lnTo>
                <a:lnTo>
                  <a:pt x="186" y="60"/>
                </a:lnTo>
                <a:lnTo>
                  <a:pt x="186" y="60"/>
                </a:lnTo>
                <a:lnTo>
                  <a:pt x="186" y="60"/>
                </a:lnTo>
                <a:lnTo>
                  <a:pt x="186" y="60"/>
                </a:lnTo>
                <a:lnTo>
                  <a:pt x="186" y="60"/>
                </a:lnTo>
                <a:lnTo>
                  <a:pt x="186" y="60"/>
                </a:lnTo>
                <a:lnTo>
                  <a:pt x="186" y="60"/>
                </a:lnTo>
                <a:lnTo>
                  <a:pt x="192" y="60"/>
                </a:lnTo>
                <a:lnTo>
                  <a:pt x="192" y="60"/>
                </a:lnTo>
                <a:lnTo>
                  <a:pt x="192" y="54"/>
                </a:lnTo>
                <a:lnTo>
                  <a:pt x="192" y="54"/>
                </a:lnTo>
                <a:lnTo>
                  <a:pt x="192" y="54"/>
                </a:lnTo>
                <a:lnTo>
                  <a:pt x="192" y="54"/>
                </a:lnTo>
                <a:lnTo>
                  <a:pt x="198" y="54"/>
                </a:lnTo>
                <a:lnTo>
                  <a:pt x="198" y="54"/>
                </a:lnTo>
                <a:lnTo>
                  <a:pt x="198" y="54"/>
                </a:lnTo>
                <a:lnTo>
                  <a:pt x="204" y="54"/>
                </a:lnTo>
                <a:lnTo>
                  <a:pt x="204" y="54"/>
                </a:lnTo>
                <a:lnTo>
                  <a:pt x="204" y="54"/>
                </a:lnTo>
                <a:lnTo>
                  <a:pt x="204" y="54"/>
                </a:lnTo>
                <a:lnTo>
                  <a:pt x="204" y="48"/>
                </a:lnTo>
                <a:lnTo>
                  <a:pt x="210" y="48"/>
                </a:lnTo>
                <a:lnTo>
                  <a:pt x="210" y="42"/>
                </a:lnTo>
                <a:lnTo>
                  <a:pt x="216" y="42"/>
                </a:lnTo>
                <a:lnTo>
                  <a:pt x="216" y="42"/>
                </a:lnTo>
                <a:lnTo>
                  <a:pt x="216" y="42"/>
                </a:lnTo>
                <a:lnTo>
                  <a:pt x="216" y="42"/>
                </a:lnTo>
                <a:lnTo>
                  <a:pt x="216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36"/>
                </a:lnTo>
                <a:lnTo>
                  <a:pt x="222" y="42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8" y="36"/>
                </a:lnTo>
                <a:lnTo>
                  <a:pt x="228" y="36"/>
                </a:lnTo>
                <a:lnTo>
                  <a:pt x="228" y="36"/>
                </a:lnTo>
                <a:lnTo>
                  <a:pt x="228" y="36"/>
                </a:lnTo>
                <a:lnTo>
                  <a:pt x="228" y="36"/>
                </a:lnTo>
                <a:lnTo>
                  <a:pt x="228" y="42"/>
                </a:lnTo>
                <a:lnTo>
                  <a:pt x="228" y="42"/>
                </a:lnTo>
                <a:lnTo>
                  <a:pt x="228" y="42"/>
                </a:lnTo>
                <a:lnTo>
                  <a:pt x="228" y="42"/>
                </a:lnTo>
                <a:lnTo>
                  <a:pt x="234" y="42"/>
                </a:lnTo>
                <a:lnTo>
                  <a:pt x="234" y="42"/>
                </a:lnTo>
                <a:lnTo>
                  <a:pt x="234" y="42"/>
                </a:lnTo>
                <a:lnTo>
                  <a:pt x="234" y="42"/>
                </a:lnTo>
                <a:lnTo>
                  <a:pt x="234" y="36"/>
                </a:lnTo>
                <a:lnTo>
                  <a:pt x="234" y="42"/>
                </a:lnTo>
                <a:lnTo>
                  <a:pt x="234" y="42"/>
                </a:lnTo>
                <a:lnTo>
                  <a:pt x="234" y="42"/>
                </a:lnTo>
                <a:lnTo>
                  <a:pt x="234" y="36"/>
                </a:lnTo>
                <a:lnTo>
                  <a:pt x="234" y="36"/>
                </a:lnTo>
                <a:lnTo>
                  <a:pt x="234" y="36"/>
                </a:lnTo>
                <a:lnTo>
                  <a:pt x="240" y="36"/>
                </a:lnTo>
                <a:lnTo>
                  <a:pt x="240" y="36"/>
                </a:lnTo>
                <a:lnTo>
                  <a:pt x="240" y="42"/>
                </a:lnTo>
                <a:lnTo>
                  <a:pt x="240" y="42"/>
                </a:lnTo>
                <a:lnTo>
                  <a:pt x="240" y="42"/>
                </a:lnTo>
                <a:lnTo>
                  <a:pt x="240" y="42"/>
                </a:lnTo>
                <a:lnTo>
                  <a:pt x="240" y="42"/>
                </a:lnTo>
                <a:lnTo>
                  <a:pt x="246" y="42"/>
                </a:lnTo>
                <a:lnTo>
                  <a:pt x="246" y="42"/>
                </a:lnTo>
                <a:lnTo>
                  <a:pt x="246" y="42"/>
                </a:lnTo>
                <a:lnTo>
                  <a:pt x="246" y="42"/>
                </a:lnTo>
                <a:lnTo>
                  <a:pt x="246" y="42"/>
                </a:lnTo>
                <a:lnTo>
                  <a:pt x="246" y="48"/>
                </a:lnTo>
                <a:lnTo>
                  <a:pt x="246" y="54"/>
                </a:lnTo>
                <a:lnTo>
                  <a:pt x="252" y="60"/>
                </a:lnTo>
                <a:lnTo>
                  <a:pt x="252" y="60"/>
                </a:lnTo>
                <a:lnTo>
                  <a:pt x="252" y="72"/>
                </a:lnTo>
                <a:lnTo>
                  <a:pt x="252" y="72"/>
                </a:lnTo>
                <a:lnTo>
                  <a:pt x="252" y="72"/>
                </a:lnTo>
                <a:lnTo>
                  <a:pt x="258" y="78"/>
                </a:lnTo>
                <a:lnTo>
                  <a:pt x="258" y="78"/>
                </a:lnTo>
                <a:lnTo>
                  <a:pt x="258" y="90"/>
                </a:lnTo>
                <a:lnTo>
                  <a:pt x="252" y="90"/>
                </a:lnTo>
                <a:lnTo>
                  <a:pt x="252" y="90"/>
                </a:lnTo>
                <a:lnTo>
                  <a:pt x="252" y="90"/>
                </a:lnTo>
                <a:lnTo>
                  <a:pt x="252" y="96"/>
                </a:lnTo>
                <a:lnTo>
                  <a:pt x="252" y="102"/>
                </a:lnTo>
                <a:lnTo>
                  <a:pt x="252" y="108"/>
                </a:lnTo>
                <a:lnTo>
                  <a:pt x="252" y="114"/>
                </a:lnTo>
                <a:lnTo>
                  <a:pt x="252" y="120"/>
                </a:lnTo>
                <a:lnTo>
                  <a:pt x="252" y="120"/>
                </a:lnTo>
                <a:lnTo>
                  <a:pt x="252" y="120"/>
                </a:lnTo>
                <a:lnTo>
                  <a:pt x="252" y="126"/>
                </a:lnTo>
                <a:lnTo>
                  <a:pt x="252" y="126"/>
                </a:lnTo>
                <a:lnTo>
                  <a:pt x="252" y="132"/>
                </a:lnTo>
                <a:lnTo>
                  <a:pt x="246" y="138"/>
                </a:lnTo>
                <a:lnTo>
                  <a:pt x="246" y="138"/>
                </a:lnTo>
                <a:lnTo>
                  <a:pt x="246" y="144"/>
                </a:lnTo>
                <a:lnTo>
                  <a:pt x="246" y="144"/>
                </a:lnTo>
                <a:lnTo>
                  <a:pt x="246" y="150"/>
                </a:lnTo>
                <a:lnTo>
                  <a:pt x="246" y="150"/>
                </a:lnTo>
                <a:lnTo>
                  <a:pt x="246" y="156"/>
                </a:lnTo>
                <a:lnTo>
                  <a:pt x="240" y="156"/>
                </a:lnTo>
                <a:lnTo>
                  <a:pt x="240" y="162"/>
                </a:lnTo>
                <a:lnTo>
                  <a:pt x="234" y="162"/>
                </a:lnTo>
                <a:lnTo>
                  <a:pt x="234" y="162"/>
                </a:lnTo>
                <a:lnTo>
                  <a:pt x="234" y="168"/>
                </a:lnTo>
                <a:lnTo>
                  <a:pt x="228" y="168"/>
                </a:lnTo>
                <a:lnTo>
                  <a:pt x="228" y="174"/>
                </a:lnTo>
                <a:lnTo>
                  <a:pt x="228" y="180"/>
                </a:lnTo>
                <a:lnTo>
                  <a:pt x="222" y="186"/>
                </a:lnTo>
                <a:lnTo>
                  <a:pt x="222" y="186"/>
                </a:lnTo>
                <a:lnTo>
                  <a:pt x="222" y="192"/>
                </a:lnTo>
                <a:lnTo>
                  <a:pt x="222" y="198"/>
                </a:lnTo>
                <a:lnTo>
                  <a:pt x="222" y="198"/>
                </a:lnTo>
                <a:lnTo>
                  <a:pt x="222" y="204"/>
                </a:lnTo>
                <a:lnTo>
                  <a:pt x="216" y="210"/>
                </a:lnTo>
                <a:lnTo>
                  <a:pt x="222" y="216"/>
                </a:lnTo>
                <a:lnTo>
                  <a:pt x="216" y="222"/>
                </a:lnTo>
                <a:lnTo>
                  <a:pt x="216" y="222"/>
                </a:lnTo>
                <a:lnTo>
                  <a:pt x="216" y="228"/>
                </a:lnTo>
                <a:lnTo>
                  <a:pt x="216" y="234"/>
                </a:lnTo>
                <a:lnTo>
                  <a:pt x="216" y="234"/>
                </a:lnTo>
                <a:lnTo>
                  <a:pt x="216" y="240"/>
                </a:lnTo>
                <a:lnTo>
                  <a:pt x="222" y="240"/>
                </a:lnTo>
                <a:lnTo>
                  <a:pt x="222" y="240"/>
                </a:lnTo>
                <a:lnTo>
                  <a:pt x="222" y="246"/>
                </a:lnTo>
                <a:lnTo>
                  <a:pt x="222" y="246"/>
                </a:lnTo>
                <a:lnTo>
                  <a:pt x="222" y="252"/>
                </a:lnTo>
                <a:lnTo>
                  <a:pt x="216" y="252"/>
                </a:lnTo>
                <a:lnTo>
                  <a:pt x="216" y="252"/>
                </a:lnTo>
                <a:lnTo>
                  <a:pt x="216" y="252"/>
                </a:lnTo>
                <a:lnTo>
                  <a:pt x="222" y="258"/>
                </a:lnTo>
                <a:lnTo>
                  <a:pt x="222" y="258"/>
                </a:lnTo>
                <a:lnTo>
                  <a:pt x="222" y="264"/>
                </a:lnTo>
                <a:lnTo>
                  <a:pt x="222" y="264"/>
                </a:lnTo>
                <a:lnTo>
                  <a:pt x="222" y="270"/>
                </a:lnTo>
                <a:lnTo>
                  <a:pt x="222" y="270"/>
                </a:lnTo>
                <a:lnTo>
                  <a:pt x="222" y="270"/>
                </a:lnTo>
                <a:lnTo>
                  <a:pt x="216" y="276"/>
                </a:lnTo>
                <a:lnTo>
                  <a:pt x="222" y="276"/>
                </a:lnTo>
                <a:lnTo>
                  <a:pt x="222" y="276"/>
                </a:lnTo>
                <a:lnTo>
                  <a:pt x="222" y="282"/>
                </a:lnTo>
                <a:lnTo>
                  <a:pt x="222" y="282"/>
                </a:lnTo>
                <a:lnTo>
                  <a:pt x="222" y="288"/>
                </a:lnTo>
                <a:lnTo>
                  <a:pt x="222" y="288"/>
                </a:lnTo>
                <a:lnTo>
                  <a:pt x="222" y="288"/>
                </a:lnTo>
                <a:lnTo>
                  <a:pt x="222" y="288"/>
                </a:lnTo>
                <a:lnTo>
                  <a:pt x="222" y="288"/>
                </a:lnTo>
                <a:lnTo>
                  <a:pt x="216" y="288"/>
                </a:lnTo>
                <a:lnTo>
                  <a:pt x="216" y="288"/>
                </a:lnTo>
                <a:lnTo>
                  <a:pt x="216" y="288"/>
                </a:lnTo>
                <a:lnTo>
                  <a:pt x="216" y="288"/>
                </a:lnTo>
                <a:lnTo>
                  <a:pt x="216" y="288"/>
                </a:lnTo>
                <a:lnTo>
                  <a:pt x="216" y="288"/>
                </a:lnTo>
                <a:lnTo>
                  <a:pt x="216" y="288"/>
                </a:lnTo>
                <a:lnTo>
                  <a:pt x="216" y="288"/>
                </a:lnTo>
                <a:lnTo>
                  <a:pt x="216" y="288"/>
                </a:lnTo>
                <a:lnTo>
                  <a:pt x="210" y="282"/>
                </a:lnTo>
                <a:lnTo>
                  <a:pt x="210" y="288"/>
                </a:lnTo>
                <a:lnTo>
                  <a:pt x="210" y="282"/>
                </a:lnTo>
                <a:lnTo>
                  <a:pt x="210" y="282"/>
                </a:lnTo>
                <a:lnTo>
                  <a:pt x="210" y="282"/>
                </a:lnTo>
                <a:lnTo>
                  <a:pt x="210" y="282"/>
                </a:lnTo>
                <a:lnTo>
                  <a:pt x="210" y="282"/>
                </a:lnTo>
                <a:lnTo>
                  <a:pt x="210" y="282"/>
                </a:lnTo>
                <a:lnTo>
                  <a:pt x="210" y="288"/>
                </a:lnTo>
                <a:lnTo>
                  <a:pt x="210" y="288"/>
                </a:lnTo>
                <a:lnTo>
                  <a:pt x="210" y="288"/>
                </a:lnTo>
                <a:lnTo>
                  <a:pt x="204" y="288"/>
                </a:lnTo>
                <a:lnTo>
                  <a:pt x="204" y="288"/>
                </a:lnTo>
                <a:lnTo>
                  <a:pt x="204" y="288"/>
                </a:lnTo>
                <a:lnTo>
                  <a:pt x="204" y="288"/>
                </a:lnTo>
                <a:lnTo>
                  <a:pt x="204" y="288"/>
                </a:lnTo>
                <a:lnTo>
                  <a:pt x="204" y="288"/>
                </a:lnTo>
                <a:lnTo>
                  <a:pt x="204" y="288"/>
                </a:lnTo>
                <a:lnTo>
                  <a:pt x="198" y="288"/>
                </a:lnTo>
                <a:lnTo>
                  <a:pt x="198" y="288"/>
                </a:lnTo>
                <a:lnTo>
                  <a:pt x="198" y="288"/>
                </a:lnTo>
                <a:lnTo>
                  <a:pt x="198" y="288"/>
                </a:lnTo>
                <a:lnTo>
                  <a:pt x="198" y="288"/>
                </a:lnTo>
                <a:lnTo>
                  <a:pt x="192" y="288"/>
                </a:lnTo>
                <a:lnTo>
                  <a:pt x="192" y="288"/>
                </a:lnTo>
                <a:lnTo>
                  <a:pt x="192" y="288"/>
                </a:lnTo>
                <a:lnTo>
                  <a:pt x="192" y="288"/>
                </a:lnTo>
                <a:lnTo>
                  <a:pt x="192" y="288"/>
                </a:lnTo>
                <a:lnTo>
                  <a:pt x="192" y="288"/>
                </a:lnTo>
                <a:lnTo>
                  <a:pt x="192" y="288"/>
                </a:lnTo>
                <a:lnTo>
                  <a:pt x="192" y="288"/>
                </a:lnTo>
                <a:lnTo>
                  <a:pt x="186" y="288"/>
                </a:lnTo>
                <a:lnTo>
                  <a:pt x="186" y="288"/>
                </a:lnTo>
                <a:lnTo>
                  <a:pt x="186" y="294"/>
                </a:lnTo>
                <a:lnTo>
                  <a:pt x="186" y="294"/>
                </a:lnTo>
                <a:lnTo>
                  <a:pt x="186" y="294"/>
                </a:lnTo>
                <a:lnTo>
                  <a:pt x="186" y="294"/>
                </a:lnTo>
                <a:lnTo>
                  <a:pt x="180" y="294"/>
                </a:lnTo>
                <a:lnTo>
                  <a:pt x="180" y="294"/>
                </a:lnTo>
                <a:lnTo>
                  <a:pt x="180" y="294"/>
                </a:lnTo>
                <a:lnTo>
                  <a:pt x="180" y="294"/>
                </a:lnTo>
                <a:lnTo>
                  <a:pt x="174" y="294"/>
                </a:lnTo>
                <a:lnTo>
                  <a:pt x="174" y="294"/>
                </a:lnTo>
                <a:lnTo>
                  <a:pt x="174" y="288"/>
                </a:lnTo>
                <a:lnTo>
                  <a:pt x="174" y="288"/>
                </a:lnTo>
                <a:lnTo>
                  <a:pt x="174" y="288"/>
                </a:lnTo>
                <a:lnTo>
                  <a:pt x="174" y="288"/>
                </a:lnTo>
                <a:lnTo>
                  <a:pt x="168" y="288"/>
                </a:lnTo>
                <a:lnTo>
                  <a:pt x="168" y="288"/>
                </a:lnTo>
                <a:lnTo>
                  <a:pt x="168" y="288"/>
                </a:lnTo>
                <a:lnTo>
                  <a:pt x="168" y="288"/>
                </a:lnTo>
                <a:lnTo>
                  <a:pt x="162" y="288"/>
                </a:lnTo>
                <a:lnTo>
                  <a:pt x="162" y="288"/>
                </a:lnTo>
                <a:lnTo>
                  <a:pt x="162" y="288"/>
                </a:lnTo>
                <a:lnTo>
                  <a:pt x="162" y="288"/>
                </a:lnTo>
                <a:lnTo>
                  <a:pt x="162" y="288"/>
                </a:lnTo>
                <a:lnTo>
                  <a:pt x="162" y="288"/>
                </a:lnTo>
                <a:lnTo>
                  <a:pt x="162" y="288"/>
                </a:lnTo>
                <a:lnTo>
                  <a:pt x="156" y="288"/>
                </a:lnTo>
                <a:lnTo>
                  <a:pt x="156" y="288"/>
                </a:lnTo>
                <a:lnTo>
                  <a:pt x="156" y="288"/>
                </a:lnTo>
                <a:lnTo>
                  <a:pt x="156" y="288"/>
                </a:lnTo>
                <a:lnTo>
                  <a:pt x="156" y="288"/>
                </a:lnTo>
                <a:lnTo>
                  <a:pt x="156" y="288"/>
                </a:lnTo>
                <a:lnTo>
                  <a:pt x="156" y="288"/>
                </a:lnTo>
                <a:lnTo>
                  <a:pt x="156" y="288"/>
                </a:lnTo>
                <a:lnTo>
                  <a:pt x="150" y="288"/>
                </a:lnTo>
                <a:lnTo>
                  <a:pt x="150" y="288"/>
                </a:lnTo>
                <a:lnTo>
                  <a:pt x="150" y="288"/>
                </a:lnTo>
                <a:lnTo>
                  <a:pt x="150" y="288"/>
                </a:lnTo>
                <a:lnTo>
                  <a:pt x="150" y="294"/>
                </a:lnTo>
                <a:lnTo>
                  <a:pt x="150" y="294"/>
                </a:lnTo>
                <a:lnTo>
                  <a:pt x="150" y="294"/>
                </a:lnTo>
                <a:lnTo>
                  <a:pt x="150" y="294"/>
                </a:lnTo>
                <a:lnTo>
                  <a:pt x="150" y="294"/>
                </a:lnTo>
                <a:lnTo>
                  <a:pt x="150" y="294"/>
                </a:lnTo>
                <a:lnTo>
                  <a:pt x="144" y="294"/>
                </a:lnTo>
                <a:lnTo>
                  <a:pt x="144" y="300"/>
                </a:lnTo>
                <a:lnTo>
                  <a:pt x="144" y="300"/>
                </a:lnTo>
                <a:lnTo>
                  <a:pt x="144" y="300"/>
                </a:lnTo>
                <a:lnTo>
                  <a:pt x="144" y="300"/>
                </a:lnTo>
                <a:lnTo>
                  <a:pt x="144" y="300"/>
                </a:lnTo>
                <a:lnTo>
                  <a:pt x="144" y="300"/>
                </a:lnTo>
                <a:lnTo>
                  <a:pt x="138" y="300"/>
                </a:lnTo>
                <a:lnTo>
                  <a:pt x="138" y="300"/>
                </a:lnTo>
                <a:lnTo>
                  <a:pt x="138" y="300"/>
                </a:lnTo>
                <a:lnTo>
                  <a:pt x="138" y="300"/>
                </a:lnTo>
                <a:lnTo>
                  <a:pt x="138" y="300"/>
                </a:lnTo>
                <a:lnTo>
                  <a:pt x="138" y="300"/>
                </a:lnTo>
                <a:lnTo>
                  <a:pt x="138" y="300"/>
                </a:lnTo>
                <a:lnTo>
                  <a:pt x="138" y="300"/>
                </a:lnTo>
                <a:lnTo>
                  <a:pt x="132" y="300"/>
                </a:lnTo>
                <a:lnTo>
                  <a:pt x="132" y="300"/>
                </a:lnTo>
                <a:lnTo>
                  <a:pt x="132" y="300"/>
                </a:lnTo>
                <a:lnTo>
                  <a:pt x="132" y="300"/>
                </a:lnTo>
                <a:lnTo>
                  <a:pt x="132" y="300"/>
                </a:lnTo>
                <a:lnTo>
                  <a:pt x="132" y="300"/>
                </a:lnTo>
                <a:lnTo>
                  <a:pt x="132" y="300"/>
                </a:lnTo>
                <a:lnTo>
                  <a:pt x="132" y="300"/>
                </a:lnTo>
                <a:lnTo>
                  <a:pt x="132" y="300"/>
                </a:lnTo>
                <a:lnTo>
                  <a:pt x="132" y="300"/>
                </a:lnTo>
                <a:lnTo>
                  <a:pt x="132" y="300"/>
                </a:lnTo>
                <a:lnTo>
                  <a:pt x="132" y="300"/>
                </a:lnTo>
                <a:lnTo>
                  <a:pt x="126" y="300"/>
                </a:lnTo>
                <a:lnTo>
                  <a:pt x="126" y="300"/>
                </a:lnTo>
                <a:lnTo>
                  <a:pt x="126" y="300"/>
                </a:lnTo>
                <a:lnTo>
                  <a:pt x="126" y="300"/>
                </a:lnTo>
                <a:lnTo>
                  <a:pt x="126" y="300"/>
                </a:lnTo>
                <a:lnTo>
                  <a:pt x="120" y="300"/>
                </a:lnTo>
                <a:lnTo>
                  <a:pt x="120" y="300"/>
                </a:lnTo>
                <a:lnTo>
                  <a:pt x="120" y="300"/>
                </a:lnTo>
                <a:lnTo>
                  <a:pt x="120" y="300"/>
                </a:lnTo>
                <a:lnTo>
                  <a:pt x="120" y="300"/>
                </a:lnTo>
                <a:lnTo>
                  <a:pt x="120" y="300"/>
                </a:lnTo>
                <a:lnTo>
                  <a:pt x="120" y="300"/>
                </a:lnTo>
                <a:lnTo>
                  <a:pt x="120" y="300"/>
                </a:lnTo>
                <a:lnTo>
                  <a:pt x="120" y="300"/>
                </a:lnTo>
                <a:lnTo>
                  <a:pt x="114" y="294"/>
                </a:lnTo>
                <a:lnTo>
                  <a:pt x="114" y="294"/>
                </a:lnTo>
                <a:lnTo>
                  <a:pt x="114" y="294"/>
                </a:lnTo>
                <a:lnTo>
                  <a:pt x="114" y="294"/>
                </a:lnTo>
                <a:lnTo>
                  <a:pt x="108" y="294"/>
                </a:lnTo>
                <a:lnTo>
                  <a:pt x="108" y="294"/>
                </a:lnTo>
                <a:lnTo>
                  <a:pt x="108" y="294"/>
                </a:lnTo>
                <a:lnTo>
                  <a:pt x="108" y="288"/>
                </a:lnTo>
                <a:lnTo>
                  <a:pt x="108" y="294"/>
                </a:lnTo>
                <a:lnTo>
                  <a:pt x="108" y="294"/>
                </a:lnTo>
                <a:lnTo>
                  <a:pt x="108" y="288"/>
                </a:lnTo>
                <a:lnTo>
                  <a:pt x="108" y="288"/>
                </a:lnTo>
                <a:lnTo>
                  <a:pt x="108" y="288"/>
                </a:lnTo>
                <a:lnTo>
                  <a:pt x="108" y="288"/>
                </a:lnTo>
                <a:lnTo>
                  <a:pt x="102" y="288"/>
                </a:lnTo>
                <a:lnTo>
                  <a:pt x="102" y="288"/>
                </a:lnTo>
                <a:lnTo>
                  <a:pt x="102" y="288"/>
                </a:lnTo>
                <a:lnTo>
                  <a:pt x="102" y="288"/>
                </a:lnTo>
                <a:lnTo>
                  <a:pt x="102" y="288"/>
                </a:lnTo>
                <a:lnTo>
                  <a:pt x="102" y="288"/>
                </a:lnTo>
                <a:lnTo>
                  <a:pt x="96" y="288"/>
                </a:lnTo>
                <a:lnTo>
                  <a:pt x="96" y="288"/>
                </a:lnTo>
                <a:lnTo>
                  <a:pt x="96" y="282"/>
                </a:lnTo>
                <a:lnTo>
                  <a:pt x="96" y="282"/>
                </a:lnTo>
                <a:lnTo>
                  <a:pt x="90" y="282"/>
                </a:lnTo>
                <a:lnTo>
                  <a:pt x="90" y="282"/>
                </a:lnTo>
                <a:lnTo>
                  <a:pt x="90" y="282"/>
                </a:lnTo>
                <a:lnTo>
                  <a:pt x="90" y="276"/>
                </a:lnTo>
                <a:lnTo>
                  <a:pt x="84" y="276"/>
                </a:lnTo>
                <a:lnTo>
                  <a:pt x="84" y="276"/>
                </a:lnTo>
                <a:lnTo>
                  <a:pt x="84" y="276"/>
                </a:lnTo>
                <a:lnTo>
                  <a:pt x="84" y="276"/>
                </a:lnTo>
                <a:lnTo>
                  <a:pt x="84" y="276"/>
                </a:lnTo>
                <a:lnTo>
                  <a:pt x="84" y="282"/>
                </a:lnTo>
                <a:lnTo>
                  <a:pt x="84" y="282"/>
                </a:lnTo>
                <a:lnTo>
                  <a:pt x="84" y="282"/>
                </a:lnTo>
                <a:lnTo>
                  <a:pt x="84" y="282"/>
                </a:lnTo>
                <a:lnTo>
                  <a:pt x="78" y="282"/>
                </a:lnTo>
                <a:lnTo>
                  <a:pt x="78" y="282"/>
                </a:lnTo>
                <a:lnTo>
                  <a:pt x="78" y="282"/>
                </a:lnTo>
                <a:lnTo>
                  <a:pt x="78" y="282"/>
                </a:lnTo>
                <a:lnTo>
                  <a:pt x="78" y="282"/>
                </a:lnTo>
                <a:lnTo>
                  <a:pt x="78" y="282"/>
                </a:lnTo>
                <a:lnTo>
                  <a:pt x="72" y="282"/>
                </a:lnTo>
                <a:lnTo>
                  <a:pt x="72" y="282"/>
                </a:lnTo>
                <a:lnTo>
                  <a:pt x="72" y="282"/>
                </a:lnTo>
                <a:lnTo>
                  <a:pt x="72" y="276"/>
                </a:lnTo>
                <a:lnTo>
                  <a:pt x="72" y="276"/>
                </a:lnTo>
                <a:lnTo>
                  <a:pt x="72" y="276"/>
                </a:lnTo>
                <a:lnTo>
                  <a:pt x="66" y="276"/>
                </a:lnTo>
                <a:lnTo>
                  <a:pt x="66" y="276"/>
                </a:lnTo>
                <a:lnTo>
                  <a:pt x="66" y="276"/>
                </a:lnTo>
                <a:lnTo>
                  <a:pt x="66" y="276"/>
                </a:lnTo>
                <a:lnTo>
                  <a:pt x="66" y="276"/>
                </a:lnTo>
                <a:lnTo>
                  <a:pt x="60" y="276"/>
                </a:lnTo>
                <a:lnTo>
                  <a:pt x="60" y="276"/>
                </a:lnTo>
                <a:lnTo>
                  <a:pt x="60" y="276"/>
                </a:lnTo>
                <a:lnTo>
                  <a:pt x="60" y="276"/>
                </a:lnTo>
                <a:lnTo>
                  <a:pt x="60" y="276"/>
                </a:lnTo>
                <a:lnTo>
                  <a:pt x="60" y="282"/>
                </a:lnTo>
                <a:lnTo>
                  <a:pt x="60" y="282"/>
                </a:lnTo>
                <a:lnTo>
                  <a:pt x="54" y="282"/>
                </a:lnTo>
                <a:lnTo>
                  <a:pt x="54" y="282"/>
                </a:lnTo>
                <a:lnTo>
                  <a:pt x="54" y="282"/>
                </a:lnTo>
                <a:lnTo>
                  <a:pt x="54" y="282"/>
                </a:lnTo>
                <a:lnTo>
                  <a:pt x="54" y="282"/>
                </a:lnTo>
                <a:lnTo>
                  <a:pt x="54" y="282"/>
                </a:lnTo>
                <a:lnTo>
                  <a:pt x="54" y="282"/>
                </a:lnTo>
                <a:lnTo>
                  <a:pt x="48" y="282"/>
                </a:lnTo>
                <a:lnTo>
                  <a:pt x="48" y="282"/>
                </a:lnTo>
                <a:lnTo>
                  <a:pt x="48" y="282"/>
                </a:lnTo>
                <a:lnTo>
                  <a:pt x="48" y="282"/>
                </a:lnTo>
                <a:lnTo>
                  <a:pt x="48" y="282"/>
                </a:lnTo>
                <a:lnTo>
                  <a:pt x="48" y="282"/>
                </a:lnTo>
                <a:lnTo>
                  <a:pt x="48" y="282"/>
                </a:lnTo>
                <a:lnTo>
                  <a:pt x="48" y="282"/>
                </a:lnTo>
                <a:lnTo>
                  <a:pt x="42" y="282"/>
                </a:lnTo>
                <a:lnTo>
                  <a:pt x="42" y="276"/>
                </a:lnTo>
                <a:lnTo>
                  <a:pt x="42" y="282"/>
                </a:lnTo>
                <a:lnTo>
                  <a:pt x="42" y="276"/>
                </a:lnTo>
                <a:lnTo>
                  <a:pt x="42" y="276"/>
                </a:lnTo>
                <a:lnTo>
                  <a:pt x="42" y="276"/>
                </a:lnTo>
                <a:lnTo>
                  <a:pt x="42" y="276"/>
                </a:lnTo>
                <a:lnTo>
                  <a:pt x="42" y="276"/>
                </a:lnTo>
                <a:lnTo>
                  <a:pt x="42" y="276"/>
                </a:lnTo>
                <a:lnTo>
                  <a:pt x="36" y="276"/>
                </a:lnTo>
                <a:lnTo>
                  <a:pt x="36" y="276"/>
                </a:lnTo>
                <a:lnTo>
                  <a:pt x="36" y="276"/>
                </a:lnTo>
                <a:lnTo>
                  <a:pt x="36" y="276"/>
                </a:lnTo>
                <a:lnTo>
                  <a:pt x="36" y="270"/>
                </a:lnTo>
                <a:lnTo>
                  <a:pt x="36" y="270"/>
                </a:lnTo>
                <a:lnTo>
                  <a:pt x="36" y="270"/>
                </a:lnTo>
                <a:lnTo>
                  <a:pt x="36" y="270"/>
                </a:lnTo>
                <a:lnTo>
                  <a:pt x="30" y="270"/>
                </a:lnTo>
                <a:lnTo>
                  <a:pt x="30" y="270"/>
                </a:lnTo>
                <a:lnTo>
                  <a:pt x="30" y="270"/>
                </a:lnTo>
                <a:lnTo>
                  <a:pt x="30" y="270"/>
                </a:lnTo>
                <a:lnTo>
                  <a:pt x="30" y="270"/>
                </a:lnTo>
                <a:lnTo>
                  <a:pt x="30" y="270"/>
                </a:lnTo>
                <a:lnTo>
                  <a:pt x="30" y="270"/>
                </a:lnTo>
                <a:lnTo>
                  <a:pt x="30" y="270"/>
                </a:lnTo>
                <a:lnTo>
                  <a:pt x="30" y="270"/>
                </a:lnTo>
                <a:lnTo>
                  <a:pt x="24" y="270"/>
                </a:lnTo>
                <a:lnTo>
                  <a:pt x="24" y="270"/>
                </a:lnTo>
                <a:lnTo>
                  <a:pt x="24" y="270"/>
                </a:lnTo>
                <a:lnTo>
                  <a:pt x="24" y="270"/>
                </a:lnTo>
                <a:lnTo>
                  <a:pt x="18" y="270"/>
                </a:lnTo>
                <a:lnTo>
                  <a:pt x="18" y="270"/>
                </a:lnTo>
                <a:lnTo>
                  <a:pt x="18" y="270"/>
                </a:lnTo>
                <a:lnTo>
                  <a:pt x="18" y="270"/>
                </a:lnTo>
                <a:lnTo>
                  <a:pt x="18" y="270"/>
                </a:lnTo>
                <a:lnTo>
                  <a:pt x="18" y="270"/>
                </a:lnTo>
                <a:lnTo>
                  <a:pt x="18" y="270"/>
                </a:lnTo>
                <a:lnTo>
                  <a:pt x="18" y="270"/>
                </a:lnTo>
                <a:lnTo>
                  <a:pt x="18" y="270"/>
                </a:lnTo>
                <a:lnTo>
                  <a:pt x="18" y="270"/>
                </a:lnTo>
                <a:lnTo>
                  <a:pt x="18" y="270"/>
                </a:lnTo>
                <a:lnTo>
                  <a:pt x="18" y="270"/>
                </a:lnTo>
                <a:lnTo>
                  <a:pt x="12" y="264"/>
                </a:lnTo>
                <a:lnTo>
                  <a:pt x="12" y="264"/>
                </a:lnTo>
                <a:lnTo>
                  <a:pt x="12" y="264"/>
                </a:lnTo>
                <a:lnTo>
                  <a:pt x="12" y="264"/>
                </a:lnTo>
                <a:lnTo>
                  <a:pt x="12" y="264"/>
                </a:lnTo>
                <a:lnTo>
                  <a:pt x="12" y="264"/>
                </a:lnTo>
                <a:lnTo>
                  <a:pt x="12" y="264"/>
                </a:lnTo>
                <a:lnTo>
                  <a:pt x="12" y="258"/>
                </a:lnTo>
                <a:lnTo>
                  <a:pt x="12" y="258"/>
                </a:lnTo>
                <a:lnTo>
                  <a:pt x="12" y="258"/>
                </a:lnTo>
                <a:lnTo>
                  <a:pt x="12" y="258"/>
                </a:lnTo>
                <a:lnTo>
                  <a:pt x="12" y="258"/>
                </a:lnTo>
                <a:lnTo>
                  <a:pt x="12" y="258"/>
                </a:lnTo>
                <a:lnTo>
                  <a:pt x="12" y="258"/>
                </a:lnTo>
                <a:lnTo>
                  <a:pt x="12" y="258"/>
                </a:lnTo>
                <a:lnTo>
                  <a:pt x="6" y="258"/>
                </a:lnTo>
                <a:lnTo>
                  <a:pt x="6" y="258"/>
                </a:lnTo>
                <a:lnTo>
                  <a:pt x="12" y="258"/>
                </a:lnTo>
                <a:lnTo>
                  <a:pt x="12" y="258"/>
                </a:lnTo>
                <a:lnTo>
                  <a:pt x="6" y="258"/>
                </a:lnTo>
                <a:lnTo>
                  <a:pt x="6" y="258"/>
                </a:lnTo>
                <a:lnTo>
                  <a:pt x="6" y="258"/>
                </a:lnTo>
                <a:lnTo>
                  <a:pt x="6" y="258"/>
                </a:lnTo>
                <a:lnTo>
                  <a:pt x="6" y="258"/>
                </a:lnTo>
                <a:lnTo>
                  <a:pt x="6" y="258"/>
                </a:lnTo>
                <a:lnTo>
                  <a:pt x="6" y="258"/>
                </a:lnTo>
                <a:lnTo>
                  <a:pt x="6" y="252"/>
                </a:lnTo>
                <a:lnTo>
                  <a:pt x="6" y="252"/>
                </a:lnTo>
                <a:lnTo>
                  <a:pt x="6" y="252"/>
                </a:lnTo>
                <a:lnTo>
                  <a:pt x="6" y="252"/>
                </a:lnTo>
                <a:lnTo>
                  <a:pt x="6" y="252"/>
                </a:lnTo>
                <a:lnTo>
                  <a:pt x="0" y="252"/>
                </a:lnTo>
                <a:lnTo>
                  <a:pt x="6" y="252"/>
                </a:lnTo>
                <a:lnTo>
                  <a:pt x="6" y="252"/>
                </a:lnTo>
                <a:lnTo>
                  <a:pt x="6" y="246"/>
                </a:lnTo>
                <a:lnTo>
                  <a:pt x="6" y="252"/>
                </a:lnTo>
                <a:lnTo>
                  <a:pt x="6" y="252"/>
                </a:lnTo>
                <a:lnTo>
                  <a:pt x="6" y="246"/>
                </a:lnTo>
                <a:lnTo>
                  <a:pt x="6" y="246"/>
                </a:lnTo>
                <a:lnTo>
                  <a:pt x="6" y="246"/>
                </a:lnTo>
                <a:lnTo>
                  <a:pt x="6" y="246"/>
                </a:lnTo>
                <a:lnTo>
                  <a:pt x="6" y="240"/>
                </a:lnTo>
                <a:lnTo>
                  <a:pt x="6" y="240"/>
                </a:lnTo>
                <a:lnTo>
                  <a:pt x="6" y="240"/>
                </a:lnTo>
                <a:lnTo>
                  <a:pt x="6" y="240"/>
                </a:lnTo>
                <a:lnTo>
                  <a:pt x="6" y="240"/>
                </a:lnTo>
                <a:lnTo>
                  <a:pt x="6" y="240"/>
                </a:lnTo>
                <a:lnTo>
                  <a:pt x="6" y="24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25" name="Freeform 58"/>
          <p:cNvSpPr>
            <a:spLocks/>
          </p:cNvSpPr>
          <p:nvPr/>
        </p:nvSpPr>
        <p:spPr bwMode="auto">
          <a:xfrm>
            <a:off x="6883974" y="1822330"/>
            <a:ext cx="192721" cy="256964"/>
          </a:xfrm>
          <a:custGeom>
            <a:avLst/>
            <a:gdLst>
              <a:gd name="T0" fmla="*/ 6 w 180"/>
              <a:gd name="T1" fmla="*/ 24 h 240"/>
              <a:gd name="T2" fmla="*/ 18 w 180"/>
              <a:gd name="T3" fmla="*/ 24 h 240"/>
              <a:gd name="T4" fmla="*/ 24 w 180"/>
              <a:gd name="T5" fmla="*/ 12 h 240"/>
              <a:gd name="T6" fmla="*/ 36 w 180"/>
              <a:gd name="T7" fmla="*/ 0 h 240"/>
              <a:gd name="T8" fmla="*/ 66 w 180"/>
              <a:gd name="T9" fmla="*/ 6 h 240"/>
              <a:gd name="T10" fmla="*/ 84 w 180"/>
              <a:gd name="T11" fmla="*/ 12 h 240"/>
              <a:gd name="T12" fmla="*/ 102 w 180"/>
              <a:gd name="T13" fmla="*/ 12 h 240"/>
              <a:gd name="T14" fmla="*/ 114 w 180"/>
              <a:gd name="T15" fmla="*/ 12 h 240"/>
              <a:gd name="T16" fmla="*/ 120 w 180"/>
              <a:gd name="T17" fmla="*/ 30 h 240"/>
              <a:gd name="T18" fmla="*/ 150 w 180"/>
              <a:gd name="T19" fmla="*/ 36 h 240"/>
              <a:gd name="T20" fmla="*/ 168 w 180"/>
              <a:gd name="T21" fmla="*/ 54 h 240"/>
              <a:gd name="T22" fmla="*/ 168 w 180"/>
              <a:gd name="T23" fmla="*/ 78 h 240"/>
              <a:gd name="T24" fmla="*/ 174 w 180"/>
              <a:gd name="T25" fmla="*/ 102 h 240"/>
              <a:gd name="T26" fmla="*/ 174 w 180"/>
              <a:gd name="T27" fmla="*/ 120 h 240"/>
              <a:gd name="T28" fmla="*/ 180 w 180"/>
              <a:gd name="T29" fmla="*/ 144 h 240"/>
              <a:gd name="T30" fmla="*/ 174 w 180"/>
              <a:gd name="T31" fmla="*/ 162 h 240"/>
              <a:gd name="T32" fmla="*/ 174 w 180"/>
              <a:gd name="T33" fmla="*/ 174 h 240"/>
              <a:gd name="T34" fmla="*/ 168 w 180"/>
              <a:gd name="T35" fmla="*/ 186 h 240"/>
              <a:gd name="T36" fmla="*/ 162 w 180"/>
              <a:gd name="T37" fmla="*/ 198 h 240"/>
              <a:gd name="T38" fmla="*/ 162 w 180"/>
              <a:gd name="T39" fmla="*/ 210 h 240"/>
              <a:gd name="T40" fmla="*/ 162 w 180"/>
              <a:gd name="T41" fmla="*/ 228 h 240"/>
              <a:gd name="T42" fmla="*/ 156 w 180"/>
              <a:gd name="T43" fmla="*/ 240 h 240"/>
              <a:gd name="T44" fmla="*/ 150 w 180"/>
              <a:gd name="T45" fmla="*/ 240 h 240"/>
              <a:gd name="T46" fmla="*/ 144 w 180"/>
              <a:gd name="T47" fmla="*/ 234 h 240"/>
              <a:gd name="T48" fmla="*/ 138 w 180"/>
              <a:gd name="T49" fmla="*/ 228 h 240"/>
              <a:gd name="T50" fmla="*/ 126 w 180"/>
              <a:gd name="T51" fmla="*/ 228 h 240"/>
              <a:gd name="T52" fmla="*/ 114 w 180"/>
              <a:gd name="T53" fmla="*/ 222 h 240"/>
              <a:gd name="T54" fmla="*/ 114 w 180"/>
              <a:gd name="T55" fmla="*/ 216 h 240"/>
              <a:gd name="T56" fmla="*/ 108 w 180"/>
              <a:gd name="T57" fmla="*/ 210 h 240"/>
              <a:gd name="T58" fmla="*/ 102 w 180"/>
              <a:gd name="T59" fmla="*/ 204 h 240"/>
              <a:gd name="T60" fmla="*/ 102 w 180"/>
              <a:gd name="T61" fmla="*/ 198 h 240"/>
              <a:gd name="T62" fmla="*/ 90 w 180"/>
              <a:gd name="T63" fmla="*/ 198 h 240"/>
              <a:gd name="T64" fmla="*/ 84 w 180"/>
              <a:gd name="T65" fmla="*/ 192 h 240"/>
              <a:gd name="T66" fmla="*/ 84 w 180"/>
              <a:gd name="T67" fmla="*/ 186 h 240"/>
              <a:gd name="T68" fmla="*/ 84 w 180"/>
              <a:gd name="T69" fmla="*/ 180 h 240"/>
              <a:gd name="T70" fmla="*/ 78 w 180"/>
              <a:gd name="T71" fmla="*/ 174 h 240"/>
              <a:gd name="T72" fmla="*/ 78 w 180"/>
              <a:gd name="T73" fmla="*/ 174 h 240"/>
              <a:gd name="T74" fmla="*/ 72 w 180"/>
              <a:gd name="T75" fmla="*/ 168 h 240"/>
              <a:gd name="T76" fmla="*/ 66 w 180"/>
              <a:gd name="T77" fmla="*/ 168 h 240"/>
              <a:gd name="T78" fmla="*/ 60 w 180"/>
              <a:gd name="T79" fmla="*/ 168 h 240"/>
              <a:gd name="T80" fmla="*/ 60 w 180"/>
              <a:gd name="T81" fmla="*/ 162 h 240"/>
              <a:gd name="T82" fmla="*/ 60 w 180"/>
              <a:gd name="T83" fmla="*/ 162 h 240"/>
              <a:gd name="T84" fmla="*/ 60 w 180"/>
              <a:gd name="T85" fmla="*/ 162 h 240"/>
              <a:gd name="T86" fmla="*/ 54 w 180"/>
              <a:gd name="T87" fmla="*/ 156 h 240"/>
              <a:gd name="T88" fmla="*/ 48 w 180"/>
              <a:gd name="T89" fmla="*/ 150 h 240"/>
              <a:gd name="T90" fmla="*/ 42 w 180"/>
              <a:gd name="T91" fmla="*/ 138 h 240"/>
              <a:gd name="T92" fmla="*/ 48 w 180"/>
              <a:gd name="T93" fmla="*/ 126 h 240"/>
              <a:gd name="T94" fmla="*/ 60 w 180"/>
              <a:gd name="T95" fmla="*/ 120 h 240"/>
              <a:gd name="T96" fmla="*/ 54 w 180"/>
              <a:gd name="T97" fmla="*/ 108 h 240"/>
              <a:gd name="T98" fmla="*/ 72 w 180"/>
              <a:gd name="T99" fmla="*/ 102 h 240"/>
              <a:gd name="T100" fmla="*/ 60 w 180"/>
              <a:gd name="T101" fmla="*/ 90 h 240"/>
              <a:gd name="T102" fmla="*/ 60 w 180"/>
              <a:gd name="T103" fmla="*/ 78 h 240"/>
              <a:gd name="T104" fmla="*/ 78 w 180"/>
              <a:gd name="T105" fmla="*/ 72 h 240"/>
              <a:gd name="T106" fmla="*/ 84 w 180"/>
              <a:gd name="T107" fmla="*/ 60 h 240"/>
              <a:gd name="T108" fmla="*/ 72 w 180"/>
              <a:gd name="T109" fmla="*/ 48 h 240"/>
              <a:gd name="T110" fmla="*/ 60 w 180"/>
              <a:gd name="T111" fmla="*/ 48 h 240"/>
              <a:gd name="T112" fmla="*/ 54 w 180"/>
              <a:gd name="T113" fmla="*/ 36 h 240"/>
              <a:gd name="T114" fmla="*/ 54 w 180"/>
              <a:gd name="T115" fmla="*/ 30 h 240"/>
              <a:gd name="T116" fmla="*/ 42 w 180"/>
              <a:gd name="T117" fmla="*/ 30 h 240"/>
              <a:gd name="T118" fmla="*/ 30 w 180"/>
              <a:gd name="T119" fmla="*/ 30 h 240"/>
              <a:gd name="T120" fmla="*/ 12 w 180"/>
              <a:gd name="T121" fmla="*/ 30 h 240"/>
              <a:gd name="T122" fmla="*/ 0 w 180"/>
              <a:gd name="T123" fmla="*/ 24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80" h="240">
                <a:moveTo>
                  <a:pt x="0" y="24"/>
                </a:move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8" y="18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24" y="18"/>
                </a:lnTo>
                <a:lnTo>
                  <a:pt x="24" y="18"/>
                </a:lnTo>
                <a:lnTo>
                  <a:pt x="24" y="12"/>
                </a:lnTo>
                <a:lnTo>
                  <a:pt x="24" y="12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0"/>
                </a:lnTo>
                <a:lnTo>
                  <a:pt x="54" y="0"/>
                </a:lnTo>
                <a:lnTo>
                  <a:pt x="54" y="0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8" y="12"/>
                </a:lnTo>
                <a:lnTo>
                  <a:pt x="84" y="12"/>
                </a:lnTo>
                <a:lnTo>
                  <a:pt x="90" y="12"/>
                </a:lnTo>
                <a:lnTo>
                  <a:pt x="90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102" y="12"/>
                </a:lnTo>
                <a:lnTo>
                  <a:pt x="102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24"/>
                </a:lnTo>
                <a:lnTo>
                  <a:pt x="120" y="30"/>
                </a:lnTo>
                <a:lnTo>
                  <a:pt x="120" y="30"/>
                </a:lnTo>
                <a:lnTo>
                  <a:pt x="126" y="30"/>
                </a:lnTo>
                <a:lnTo>
                  <a:pt x="132" y="30"/>
                </a:lnTo>
                <a:lnTo>
                  <a:pt x="132" y="30"/>
                </a:lnTo>
                <a:lnTo>
                  <a:pt x="138" y="30"/>
                </a:lnTo>
                <a:lnTo>
                  <a:pt x="144" y="36"/>
                </a:lnTo>
                <a:lnTo>
                  <a:pt x="150" y="36"/>
                </a:lnTo>
                <a:lnTo>
                  <a:pt x="156" y="42"/>
                </a:lnTo>
                <a:lnTo>
                  <a:pt x="156" y="36"/>
                </a:lnTo>
                <a:lnTo>
                  <a:pt x="156" y="42"/>
                </a:lnTo>
                <a:lnTo>
                  <a:pt x="162" y="48"/>
                </a:lnTo>
                <a:lnTo>
                  <a:pt x="168" y="54"/>
                </a:lnTo>
                <a:lnTo>
                  <a:pt x="168" y="54"/>
                </a:lnTo>
                <a:lnTo>
                  <a:pt x="168" y="60"/>
                </a:lnTo>
                <a:lnTo>
                  <a:pt x="168" y="60"/>
                </a:lnTo>
                <a:lnTo>
                  <a:pt x="168" y="66"/>
                </a:lnTo>
                <a:lnTo>
                  <a:pt x="168" y="72"/>
                </a:lnTo>
                <a:lnTo>
                  <a:pt x="168" y="72"/>
                </a:lnTo>
                <a:lnTo>
                  <a:pt x="168" y="78"/>
                </a:lnTo>
                <a:lnTo>
                  <a:pt x="168" y="78"/>
                </a:lnTo>
                <a:lnTo>
                  <a:pt x="168" y="78"/>
                </a:lnTo>
                <a:lnTo>
                  <a:pt x="174" y="84"/>
                </a:lnTo>
                <a:lnTo>
                  <a:pt x="174" y="90"/>
                </a:lnTo>
                <a:lnTo>
                  <a:pt x="174" y="90"/>
                </a:lnTo>
                <a:lnTo>
                  <a:pt x="174" y="102"/>
                </a:lnTo>
                <a:lnTo>
                  <a:pt x="174" y="108"/>
                </a:lnTo>
                <a:lnTo>
                  <a:pt x="174" y="108"/>
                </a:lnTo>
                <a:lnTo>
                  <a:pt x="174" y="114"/>
                </a:lnTo>
                <a:lnTo>
                  <a:pt x="174" y="114"/>
                </a:lnTo>
                <a:lnTo>
                  <a:pt x="174" y="120"/>
                </a:lnTo>
                <a:lnTo>
                  <a:pt x="174" y="120"/>
                </a:lnTo>
                <a:lnTo>
                  <a:pt x="174" y="126"/>
                </a:lnTo>
                <a:lnTo>
                  <a:pt x="174" y="132"/>
                </a:lnTo>
                <a:lnTo>
                  <a:pt x="180" y="138"/>
                </a:lnTo>
                <a:lnTo>
                  <a:pt x="180" y="138"/>
                </a:lnTo>
                <a:lnTo>
                  <a:pt x="180" y="144"/>
                </a:lnTo>
                <a:lnTo>
                  <a:pt x="180" y="144"/>
                </a:lnTo>
                <a:lnTo>
                  <a:pt x="180" y="144"/>
                </a:lnTo>
                <a:lnTo>
                  <a:pt x="180" y="144"/>
                </a:lnTo>
                <a:lnTo>
                  <a:pt x="174" y="150"/>
                </a:lnTo>
                <a:lnTo>
                  <a:pt x="174" y="156"/>
                </a:lnTo>
                <a:lnTo>
                  <a:pt x="174" y="156"/>
                </a:lnTo>
                <a:lnTo>
                  <a:pt x="174" y="162"/>
                </a:lnTo>
                <a:lnTo>
                  <a:pt x="174" y="162"/>
                </a:lnTo>
                <a:lnTo>
                  <a:pt x="174" y="162"/>
                </a:lnTo>
                <a:lnTo>
                  <a:pt x="174" y="168"/>
                </a:lnTo>
                <a:lnTo>
                  <a:pt x="174" y="174"/>
                </a:lnTo>
                <a:lnTo>
                  <a:pt x="174" y="174"/>
                </a:lnTo>
                <a:lnTo>
                  <a:pt x="174" y="174"/>
                </a:lnTo>
                <a:lnTo>
                  <a:pt x="174" y="174"/>
                </a:lnTo>
                <a:lnTo>
                  <a:pt x="174" y="174"/>
                </a:lnTo>
                <a:lnTo>
                  <a:pt x="168" y="180"/>
                </a:lnTo>
                <a:lnTo>
                  <a:pt x="168" y="180"/>
                </a:lnTo>
                <a:lnTo>
                  <a:pt x="168" y="180"/>
                </a:lnTo>
                <a:lnTo>
                  <a:pt x="168" y="186"/>
                </a:lnTo>
                <a:lnTo>
                  <a:pt x="168" y="186"/>
                </a:lnTo>
                <a:lnTo>
                  <a:pt x="168" y="186"/>
                </a:lnTo>
                <a:lnTo>
                  <a:pt x="168" y="186"/>
                </a:lnTo>
                <a:lnTo>
                  <a:pt x="168" y="186"/>
                </a:lnTo>
                <a:lnTo>
                  <a:pt x="168" y="192"/>
                </a:lnTo>
                <a:lnTo>
                  <a:pt x="162" y="198"/>
                </a:lnTo>
                <a:lnTo>
                  <a:pt x="168" y="198"/>
                </a:lnTo>
                <a:lnTo>
                  <a:pt x="168" y="198"/>
                </a:lnTo>
                <a:lnTo>
                  <a:pt x="168" y="198"/>
                </a:lnTo>
                <a:lnTo>
                  <a:pt x="168" y="204"/>
                </a:lnTo>
                <a:lnTo>
                  <a:pt x="168" y="210"/>
                </a:lnTo>
                <a:lnTo>
                  <a:pt x="162" y="210"/>
                </a:lnTo>
                <a:lnTo>
                  <a:pt x="162" y="216"/>
                </a:lnTo>
                <a:lnTo>
                  <a:pt x="162" y="216"/>
                </a:lnTo>
                <a:lnTo>
                  <a:pt x="162" y="216"/>
                </a:lnTo>
                <a:lnTo>
                  <a:pt x="162" y="216"/>
                </a:lnTo>
                <a:lnTo>
                  <a:pt x="162" y="222"/>
                </a:lnTo>
                <a:lnTo>
                  <a:pt x="162" y="228"/>
                </a:lnTo>
                <a:lnTo>
                  <a:pt x="162" y="228"/>
                </a:lnTo>
                <a:lnTo>
                  <a:pt x="162" y="234"/>
                </a:lnTo>
                <a:lnTo>
                  <a:pt x="162" y="234"/>
                </a:lnTo>
                <a:lnTo>
                  <a:pt x="162" y="240"/>
                </a:lnTo>
                <a:lnTo>
                  <a:pt x="156" y="240"/>
                </a:lnTo>
                <a:lnTo>
                  <a:pt x="156" y="240"/>
                </a:lnTo>
                <a:lnTo>
                  <a:pt x="156" y="240"/>
                </a:lnTo>
                <a:lnTo>
                  <a:pt x="156" y="240"/>
                </a:lnTo>
                <a:lnTo>
                  <a:pt x="156" y="240"/>
                </a:lnTo>
                <a:lnTo>
                  <a:pt x="156" y="240"/>
                </a:lnTo>
                <a:lnTo>
                  <a:pt x="150" y="240"/>
                </a:lnTo>
                <a:lnTo>
                  <a:pt x="150" y="240"/>
                </a:lnTo>
                <a:lnTo>
                  <a:pt x="150" y="240"/>
                </a:lnTo>
                <a:lnTo>
                  <a:pt x="150" y="240"/>
                </a:lnTo>
                <a:lnTo>
                  <a:pt x="150" y="240"/>
                </a:lnTo>
                <a:lnTo>
                  <a:pt x="150" y="240"/>
                </a:lnTo>
                <a:lnTo>
                  <a:pt x="144" y="240"/>
                </a:lnTo>
                <a:lnTo>
                  <a:pt x="144" y="234"/>
                </a:lnTo>
                <a:lnTo>
                  <a:pt x="144" y="234"/>
                </a:lnTo>
                <a:lnTo>
                  <a:pt x="144" y="234"/>
                </a:lnTo>
                <a:lnTo>
                  <a:pt x="144" y="234"/>
                </a:lnTo>
                <a:lnTo>
                  <a:pt x="138" y="228"/>
                </a:lnTo>
                <a:lnTo>
                  <a:pt x="138" y="228"/>
                </a:lnTo>
                <a:lnTo>
                  <a:pt x="138" y="228"/>
                </a:lnTo>
                <a:lnTo>
                  <a:pt x="132" y="228"/>
                </a:lnTo>
                <a:lnTo>
                  <a:pt x="132" y="228"/>
                </a:lnTo>
                <a:lnTo>
                  <a:pt x="132" y="228"/>
                </a:lnTo>
                <a:lnTo>
                  <a:pt x="126" y="228"/>
                </a:lnTo>
                <a:lnTo>
                  <a:pt x="126" y="228"/>
                </a:lnTo>
                <a:lnTo>
                  <a:pt x="126" y="228"/>
                </a:lnTo>
                <a:lnTo>
                  <a:pt x="120" y="228"/>
                </a:lnTo>
                <a:lnTo>
                  <a:pt x="120" y="228"/>
                </a:lnTo>
                <a:lnTo>
                  <a:pt x="120" y="222"/>
                </a:lnTo>
                <a:lnTo>
                  <a:pt x="120" y="222"/>
                </a:lnTo>
                <a:lnTo>
                  <a:pt x="120" y="222"/>
                </a:lnTo>
                <a:lnTo>
                  <a:pt x="114" y="222"/>
                </a:lnTo>
                <a:lnTo>
                  <a:pt x="114" y="222"/>
                </a:lnTo>
                <a:lnTo>
                  <a:pt x="114" y="216"/>
                </a:lnTo>
                <a:lnTo>
                  <a:pt x="114" y="216"/>
                </a:lnTo>
                <a:lnTo>
                  <a:pt x="114" y="216"/>
                </a:lnTo>
                <a:lnTo>
                  <a:pt x="114" y="216"/>
                </a:lnTo>
                <a:lnTo>
                  <a:pt x="114" y="216"/>
                </a:lnTo>
                <a:lnTo>
                  <a:pt x="114" y="210"/>
                </a:lnTo>
                <a:lnTo>
                  <a:pt x="114" y="210"/>
                </a:lnTo>
                <a:lnTo>
                  <a:pt x="108" y="210"/>
                </a:lnTo>
                <a:lnTo>
                  <a:pt x="108" y="210"/>
                </a:lnTo>
                <a:lnTo>
                  <a:pt x="108" y="210"/>
                </a:lnTo>
                <a:lnTo>
                  <a:pt x="108" y="210"/>
                </a:lnTo>
                <a:lnTo>
                  <a:pt x="108" y="210"/>
                </a:lnTo>
                <a:lnTo>
                  <a:pt x="108" y="210"/>
                </a:lnTo>
                <a:lnTo>
                  <a:pt x="108" y="204"/>
                </a:lnTo>
                <a:lnTo>
                  <a:pt x="102" y="204"/>
                </a:lnTo>
                <a:lnTo>
                  <a:pt x="102" y="204"/>
                </a:lnTo>
                <a:lnTo>
                  <a:pt x="102" y="204"/>
                </a:lnTo>
                <a:lnTo>
                  <a:pt x="102" y="204"/>
                </a:lnTo>
                <a:lnTo>
                  <a:pt x="102" y="204"/>
                </a:lnTo>
                <a:lnTo>
                  <a:pt x="102" y="204"/>
                </a:lnTo>
                <a:lnTo>
                  <a:pt x="102" y="204"/>
                </a:lnTo>
                <a:lnTo>
                  <a:pt x="102" y="198"/>
                </a:lnTo>
                <a:lnTo>
                  <a:pt x="102" y="198"/>
                </a:lnTo>
                <a:lnTo>
                  <a:pt x="96" y="198"/>
                </a:lnTo>
                <a:lnTo>
                  <a:pt x="96" y="198"/>
                </a:lnTo>
                <a:lnTo>
                  <a:pt x="96" y="198"/>
                </a:lnTo>
                <a:lnTo>
                  <a:pt x="96" y="198"/>
                </a:lnTo>
                <a:lnTo>
                  <a:pt x="90" y="198"/>
                </a:lnTo>
                <a:lnTo>
                  <a:pt x="90" y="198"/>
                </a:lnTo>
                <a:lnTo>
                  <a:pt x="90" y="198"/>
                </a:lnTo>
                <a:lnTo>
                  <a:pt x="90" y="192"/>
                </a:lnTo>
                <a:lnTo>
                  <a:pt x="90" y="192"/>
                </a:lnTo>
                <a:lnTo>
                  <a:pt x="90" y="192"/>
                </a:lnTo>
                <a:lnTo>
                  <a:pt x="90" y="192"/>
                </a:lnTo>
                <a:lnTo>
                  <a:pt x="84" y="192"/>
                </a:lnTo>
                <a:lnTo>
                  <a:pt x="84" y="192"/>
                </a:lnTo>
                <a:lnTo>
                  <a:pt x="84" y="192"/>
                </a:lnTo>
                <a:lnTo>
                  <a:pt x="84" y="192"/>
                </a:lnTo>
                <a:lnTo>
                  <a:pt x="84" y="192"/>
                </a:lnTo>
                <a:lnTo>
                  <a:pt x="84" y="192"/>
                </a:lnTo>
                <a:lnTo>
                  <a:pt x="84" y="186"/>
                </a:lnTo>
                <a:lnTo>
                  <a:pt x="84" y="186"/>
                </a:lnTo>
                <a:lnTo>
                  <a:pt x="84" y="186"/>
                </a:lnTo>
                <a:lnTo>
                  <a:pt x="84" y="186"/>
                </a:lnTo>
                <a:lnTo>
                  <a:pt x="84" y="186"/>
                </a:lnTo>
                <a:lnTo>
                  <a:pt x="84" y="180"/>
                </a:lnTo>
                <a:lnTo>
                  <a:pt x="84" y="180"/>
                </a:lnTo>
                <a:lnTo>
                  <a:pt x="84" y="180"/>
                </a:lnTo>
                <a:lnTo>
                  <a:pt x="84" y="180"/>
                </a:lnTo>
                <a:lnTo>
                  <a:pt x="84" y="180"/>
                </a:lnTo>
                <a:lnTo>
                  <a:pt x="84" y="180"/>
                </a:lnTo>
                <a:lnTo>
                  <a:pt x="84" y="180"/>
                </a:lnTo>
                <a:lnTo>
                  <a:pt x="78" y="174"/>
                </a:lnTo>
                <a:lnTo>
                  <a:pt x="78" y="180"/>
                </a:lnTo>
                <a:lnTo>
                  <a:pt x="78" y="174"/>
                </a:lnTo>
                <a:lnTo>
                  <a:pt x="78" y="174"/>
                </a:lnTo>
                <a:lnTo>
                  <a:pt x="78" y="174"/>
                </a:lnTo>
                <a:lnTo>
                  <a:pt x="78" y="174"/>
                </a:lnTo>
                <a:lnTo>
                  <a:pt x="78" y="174"/>
                </a:lnTo>
                <a:lnTo>
                  <a:pt x="72" y="174"/>
                </a:lnTo>
                <a:lnTo>
                  <a:pt x="72" y="174"/>
                </a:lnTo>
                <a:lnTo>
                  <a:pt x="72" y="168"/>
                </a:lnTo>
                <a:lnTo>
                  <a:pt x="72" y="168"/>
                </a:lnTo>
                <a:lnTo>
                  <a:pt x="72" y="168"/>
                </a:lnTo>
                <a:lnTo>
                  <a:pt x="72" y="168"/>
                </a:lnTo>
                <a:lnTo>
                  <a:pt x="72" y="168"/>
                </a:lnTo>
                <a:lnTo>
                  <a:pt x="66" y="168"/>
                </a:lnTo>
                <a:lnTo>
                  <a:pt x="66" y="168"/>
                </a:lnTo>
                <a:lnTo>
                  <a:pt x="66" y="168"/>
                </a:lnTo>
                <a:lnTo>
                  <a:pt x="66" y="168"/>
                </a:lnTo>
                <a:lnTo>
                  <a:pt x="66" y="168"/>
                </a:lnTo>
                <a:lnTo>
                  <a:pt x="66" y="168"/>
                </a:lnTo>
                <a:lnTo>
                  <a:pt x="66" y="168"/>
                </a:lnTo>
                <a:lnTo>
                  <a:pt x="66" y="168"/>
                </a:lnTo>
                <a:lnTo>
                  <a:pt x="66" y="168"/>
                </a:lnTo>
                <a:lnTo>
                  <a:pt x="60" y="168"/>
                </a:lnTo>
                <a:lnTo>
                  <a:pt x="60" y="168"/>
                </a:lnTo>
                <a:lnTo>
                  <a:pt x="60" y="168"/>
                </a:lnTo>
                <a:lnTo>
                  <a:pt x="60" y="168"/>
                </a:lnTo>
                <a:lnTo>
                  <a:pt x="60" y="168"/>
                </a:lnTo>
                <a:lnTo>
                  <a:pt x="60" y="162"/>
                </a:lnTo>
                <a:lnTo>
                  <a:pt x="60" y="162"/>
                </a:lnTo>
                <a:lnTo>
                  <a:pt x="60" y="162"/>
                </a:lnTo>
                <a:lnTo>
                  <a:pt x="60" y="162"/>
                </a:lnTo>
                <a:lnTo>
                  <a:pt x="60" y="162"/>
                </a:lnTo>
                <a:lnTo>
                  <a:pt x="60" y="162"/>
                </a:lnTo>
                <a:lnTo>
                  <a:pt x="60" y="162"/>
                </a:lnTo>
                <a:lnTo>
                  <a:pt x="60" y="162"/>
                </a:lnTo>
                <a:lnTo>
                  <a:pt x="60" y="162"/>
                </a:lnTo>
                <a:lnTo>
                  <a:pt x="60" y="162"/>
                </a:lnTo>
                <a:lnTo>
                  <a:pt x="60" y="162"/>
                </a:lnTo>
                <a:lnTo>
                  <a:pt x="60" y="162"/>
                </a:lnTo>
                <a:lnTo>
                  <a:pt x="60" y="162"/>
                </a:lnTo>
                <a:lnTo>
                  <a:pt x="60" y="162"/>
                </a:lnTo>
                <a:lnTo>
                  <a:pt x="60" y="162"/>
                </a:lnTo>
                <a:lnTo>
                  <a:pt x="60" y="162"/>
                </a:lnTo>
                <a:lnTo>
                  <a:pt x="54" y="162"/>
                </a:lnTo>
                <a:lnTo>
                  <a:pt x="54" y="162"/>
                </a:lnTo>
                <a:lnTo>
                  <a:pt x="54" y="162"/>
                </a:lnTo>
                <a:lnTo>
                  <a:pt x="54" y="156"/>
                </a:lnTo>
                <a:lnTo>
                  <a:pt x="54" y="156"/>
                </a:lnTo>
                <a:lnTo>
                  <a:pt x="54" y="156"/>
                </a:lnTo>
                <a:lnTo>
                  <a:pt x="54" y="156"/>
                </a:lnTo>
                <a:lnTo>
                  <a:pt x="48" y="156"/>
                </a:lnTo>
                <a:lnTo>
                  <a:pt x="48" y="150"/>
                </a:lnTo>
                <a:lnTo>
                  <a:pt x="48" y="150"/>
                </a:lnTo>
                <a:lnTo>
                  <a:pt x="48" y="150"/>
                </a:lnTo>
                <a:lnTo>
                  <a:pt x="48" y="150"/>
                </a:lnTo>
                <a:lnTo>
                  <a:pt x="48" y="150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2" y="138"/>
                </a:lnTo>
                <a:lnTo>
                  <a:pt x="42" y="138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8" y="126"/>
                </a:lnTo>
                <a:lnTo>
                  <a:pt x="48" y="126"/>
                </a:lnTo>
                <a:lnTo>
                  <a:pt x="54" y="126"/>
                </a:lnTo>
                <a:lnTo>
                  <a:pt x="54" y="126"/>
                </a:lnTo>
                <a:lnTo>
                  <a:pt x="60" y="126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2"/>
                </a:lnTo>
                <a:lnTo>
                  <a:pt x="66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96"/>
                </a:lnTo>
                <a:lnTo>
                  <a:pt x="72" y="96"/>
                </a:lnTo>
                <a:lnTo>
                  <a:pt x="66" y="96"/>
                </a:lnTo>
                <a:lnTo>
                  <a:pt x="66" y="96"/>
                </a:lnTo>
                <a:lnTo>
                  <a:pt x="66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6" y="72"/>
                </a:lnTo>
                <a:lnTo>
                  <a:pt x="66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66"/>
                </a:lnTo>
                <a:lnTo>
                  <a:pt x="84" y="66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78" y="54"/>
                </a:lnTo>
                <a:lnTo>
                  <a:pt x="78" y="54"/>
                </a:lnTo>
                <a:lnTo>
                  <a:pt x="72" y="54"/>
                </a:lnTo>
                <a:lnTo>
                  <a:pt x="72" y="54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66" y="48"/>
                </a:lnTo>
                <a:lnTo>
                  <a:pt x="66" y="48"/>
                </a:lnTo>
                <a:lnTo>
                  <a:pt x="60" y="48"/>
                </a:lnTo>
                <a:lnTo>
                  <a:pt x="60" y="48"/>
                </a:lnTo>
                <a:lnTo>
                  <a:pt x="60" y="42"/>
                </a:lnTo>
                <a:lnTo>
                  <a:pt x="60" y="42"/>
                </a:lnTo>
                <a:lnTo>
                  <a:pt x="54" y="42"/>
                </a:lnTo>
                <a:lnTo>
                  <a:pt x="60" y="42"/>
                </a:lnTo>
                <a:lnTo>
                  <a:pt x="54" y="42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0" y="30"/>
                </a:lnTo>
                <a:lnTo>
                  <a:pt x="24" y="36"/>
                </a:lnTo>
                <a:lnTo>
                  <a:pt x="24" y="36"/>
                </a:lnTo>
                <a:lnTo>
                  <a:pt x="18" y="30"/>
                </a:lnTo>
                <a:lnTo>
                  <a:pt x="18" y="30"/>
                </a:lnTo>
                <a:lnTo>
                  <a:pt x="12" y="30"/>
                </a:lnTo>
                <a:lnTo>
                  <a:pt x="12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26" name="Freeform 59"/>
          <p:cNvSpPr>
            <a:spLocks/>
          </p:cNvSpPr>
          <p:nvPr/>
        </p:nvSpPr>
        <p:spPr bwMode="auto">
          <a:xfrm>
            <a:off x="6607740" y="2387650"/>
            <a:ext cx="301930" cy="565320"/>
          </a:xfrm>
          <a:custGeom>
            <a:avLst/>
            <a:gdLst>
              <a:gd name="T0" fmla="*/ 12 w 282"/>
              <a:gd name="T1" fmla="*/ 246 h 528"/>
              <a:gd name="T2" fmla="*/ 18 w 282"/>
              <a:gd name="T3" fmla="*/ 204 h 528"/>
              <a:gd name="T4" fmla="*/ 30 w 282"/>
              <a:gd name="T5" fmla="*/ 174 h 528"/>
              <a:gd name="T6" fmla="*/ 48 w 282"/>
              <a:gd name="T7" fmla="*/ 120 h 528"/>
              <a:gd name="T8" fmla="*/ 72 w 282"/>
              <a:gd name="T9" fmla="*/ 72 h 528"/>
              <a:gd name="T10" fmla="*/ 90 w 282"/>
              <a:gd name="T11" fmla="*/ 24 h 528"/>
              <a:gd name="T12" fmla="*/ 102 w 282"/>
              <a:gd name="T13" fmla="*/ 18 h 528"/>
              <a:gd name="T14" fmla="*/ 96 w 282"/>
              <a:gd name="T15" fmla="*/ 48 h 528"/>
              <a:gd name="T16" fmla="*/ 96 w 282"/>
              <a:gd name="T17" fmla="*/ 66 h 528"/>
              <a:gd name="T18" fmla="*/ 102 w 282"/>
              <a:gd name="T19" fmla="*/ 78 h 528"/>
              <a:gd name="T20" fmla="*/ 108 w 282"/>
              <a:gd name="T21" fmla="*/ 90 h 528"/>
              <a:gd name="T22" fmla="*/ 120 w 282"/>
              <a:gd name="T23" fmla="*/ 90 h 528"/>
              <a:gd name="T24" fmla="*/ 138 w 282"/>
              <a:gd name="T25" fmla="*/ 102 h 528"/>
              <a:gd name="T26" fmla="*/ 156 w 282"/>
              <a:gd name="T27" fmla="*/ 96 h 528"/>
              <a:gd name="T28" fmla="*/ 174 w 282"/>
              <a:gd name="T29" fmla="*/ 96 h 528"/>
              <a:gd name="T30" fmla="*/ 198 w 282"/>
              <a:gd name="T31" fmla="*/ 108 h 528"/>
              <a:gd name="T32" fmla="*/ 216 w 282"/>
              <a:gd name="T33" fmla="*/ 120 h 528"/>
              <a:gd name="T34" fmla="*/ 228 w 282"/>
              <a:gd name="T35" fmla="*/ 120 h 528"/>
              <a:gd name="T36" fmla="*/ 246 w 282"/>
              <a:gd name="T37" fmla="*/ 108 h 528"/>
              <a:gd name="T38" fmla="*/ 264 w 282"/>
              <a:gd name="T39" fmla="*/ 108 h 528"/>
              <a:gd name="T40" fmla="*/ 282 w 282"/>
              <a:gd name="T41" fmla="*/ 144 h 528"/>
              <a:gd name="T42" fmla="*/ 270 w 282"/>
              <a:gd name="T43" fmla="*/ 150 h 528"/>
              <a:gd name="T44" fmla="*/ 252 w 282"/>
              <a:gd name="T45" fmla="*/ 168 h 528"/>
              <a:gd name="T46" fmla="*/ 258 w 282"/>
              <a:gd name="T47" fmla="*/ 204 h 528"/>
              <a:gd name="T48" fmla="*/ 228 w 282"/>
              <a:gd name="T49" fmla="*/ 210 h 528"/>
              <a:gd name="T50" fmla="*/ 204 w 282"/>
              <a:gd name="T51" fmla="*/ 204 h 528"/>
              <a:gd name="T52" fmla="*/ 180 w 282"/>
              <a:gd name="T53" fmla="*/ 198 h 528"/>
              <a:gd name="T54" fmla="*/ 156 w 282"/>
              <a:gd name="T55" fmla="*/ 210 h 528"/>
              <a:gd name="T56" fmla="*/ 132 w 282"/>
              <a:gd name="T57" fmla="*/ 222 h 528"/>
              <a:gd name="T58" fmla="*/ 132 w 282"/>
              <a:gd name="T59" fmla="*/ 234 h 528"/>
              <a:gd name="T60" fmla="*/ 156 w 282"/>
              <a:gd name="T61" fmla="*/ 252 h 528"/>
              <a:gd name="T62" fmla="*/ 168 w 282"/>
              <a:gd name="T63" fmla="*/ 258 h 528"/>
              <a:gd name="T64" fmla="*/ 186 w 282"/>
              <a:gd name="T65" fmla="*/ 264 h 528"/>
              <a:gd name="T66" fmla="*/ 204 w 282"/>
              <a:gd name="T67" fmla="*/ 276 h 528"/>
              <a:gd name="T68" fmla="*/ 222 w 282"/>
              <a:gd name="T69" fmla="*/ 288 h 528"/>
              <a:gd name="T70" fmla="*/ 216 w 282"/>
              <a:gd name="T71" fmla="*/ 312 h 528"/>
              <a:gd name="T72" fmla="*/ 192 w 282"/>
              <a:gd name="T73" fmla="*/ 330 h 528"/>
              <a:gd name="T74" fmla="*/ 186 w 282"/>
              <a:gd name="T75" fmla="*/ 342 h 528"/>
              <a:gd name="T76" fmla="*/ 180 w 282"/>
              <a:gd name="T77" fmla="*/ 378 h 528"/>
              <a:gd name="T78" fmla="*/ 144 w 282"/>
              <a:gd name="T79" fmla="*/ 396 h 528"/>
              <a:gd name="T80" fmla="*/ 150 w 282"/>
              <a:gd name="T81" fmla="*/ 414 h 528"/>
              <a:gd name="T82" fmla="*/ 168 w 282"/>
              <a:gd name="T83" fmla="*/ 426 h 528"/>
              <a:gd name="T84" fmla="*/ 180 w 282"/>
              <a:gd name="T85" fmla="*/ 438 h 528"/>
              <a:gd name="T86" fmla="*/ 180 w 282"/>
              <a:gd name="T87" fmla="*/ 462 h 528"/>
              <a:gd name="T88" fmla="*/ 198 w 282"/>
              <a:gd name="T89" fmla="*/ 480 h 528"/>
              <a:gd name="T90" fmla="*/ 180 w 282"/>
              <a:gd name="T91" fmla="*/ 516 h 528"/>
              <a:gd name="T92" fmla="*/ 90 w 282"/>
              <a:gd name="T93" fmla="*/ 486 h 528"/>
              <a:gd name="T94" fmla="*/ 66 w 282"/>
              <a:gd name="T95" fmla="*/ 474 h 528"/>
              <a:gd name="T96" fmla="*/ 54 w 282"/>
              <a:gd name="T97" fmla="*/ 468 h 528"/>
              <a:gd name="T98" fmla="*/ 60 w 282"/>
              <a:gd name="T99" fmla="*/ 450 h 528"/>
              <a:gd name="T100" fmla="*/ 72 w 282"/>
              <a:gd name="T101" fmla="*/ 438 h 528"/>
              <a:gd name="T102" fmla="*/ 78 w 282"/>
              <a:gd name="T103" fmla="*/ 420 h 528"/>
              <a:gd name="T104" fmla="*/ 66 w 282"/>
              <a:gd name="T105" fmla="*/ 420 h 528"/>
              <a:gd name="T106" fmla="*/ 48 w 282"/>
              <a:gd name="T107" fmla="*/ 432 h 528"/>
              <a:gd name="T108" fmla="*/ 42 w 282"/>
              <a:gd name="T109" fmla="*/ 450 h 528"/>
              <a:gd name="T110" fmla="*/ 36 w 282"/>
              <a:gd name="T111" fmla="*/ 462 h 528"/>
              <a:gd name="T112" fmla="*/ 24 w 282"/>
              <a:gd name="T113" fmla="*/ 468 h 528"/>
              <a:gd name="T114" fmla="*/ 12 w 282"/>
              <a:gd name="T115" fmla="*/ 444 h 528"/>
              <a:gd name="T116" fmla="*/ 18 w 282"/>
              <a:gd name="T117" fmla="*/ 414 h 528"/>
              <a:gd name="T118" fmla="*/ 6 w 282"/>
              <a:gd name="T119" fmla="*/ 366 h 528"/>
              <a:gd name="T120" fmla="*/ 6 w 282"/>
              <a:gd name="T121" fmla="*/ 330 h 528"/>
              <a:gd name="T122" fmla="*/ 0 w 282"/>
              <a:gd name="T123" fmla="*/ 300 h 5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2" h="528">
                <a:moveTo>
                  <a:pt x="0" y="288"/>
                </a:moveTo>
                <a:lnTo>
                  <a:pt x="0" y="288"/>
                </a:lnTo>
                <a:lnTo>
                  <a:pt x="0" y="282"/>
                </a:lnTo>
                <a:lnTo>
                  <a:pt x="6" y="276"/>
                </a:lnTo>
                <a:lnTo>
                  <a:pt x="6" y="276"/>
                </a:lnTo>
                <a:lnTo>
                  <a:pt x="6" y="276"/>
                </a:lnTo>
                <a:lnTo>
                  <a:pt x="6" y="270"/>
                </a:lnTo>
                <a:lnTo>
                  <a:pt x="6" y="270"/>
                </a:lnTo>
                <a:lnTo>
                  <a:pt x="6" y="270"/>
                </a:lnTo>
                <a:lnTo>
                  <a:pt x="12" y="270"/>
                </a:lnTo>
                <a:lnTo>
                  <a:pt x="12" y="264"/>
                </a:lnTo>
                <a:lnTo>
                  <a:pt x="12" y="258"/>
                </a:lnTo>
                <a:lnTo>
                  <a:pt x="12" y="258"/>
                </a:lnTo>
                <a:lnTo>
                  <a:pt x="12" y="258"/>
                </a:lnTo>
                <a:lnTo>
                  <a:pt x="12" y="258"/>
                </a:lnTo>
                <a:lnTo>
                  <a:pt x="12" y="258"/>
                </a:lnTo>
                <a:lnTo>
                  <a:pt x="12" y="252"/>
                </a:lnTo>
                <a:lnTo>
                  <a:pt x="12" y="252"/>
                </a:lnTo>
                <a:lnTo>
                  <a:pt x="12" y="252"/>
                </a:lnTo>
                <a:lnTo>
                  <a:pt x="12" y="246"/>
                </a:lnTo>
                <a:lnTo>
                  <a:pt x="12" y="246"/>
                </a:lnTo>
                <a:lnTo>
                  <a:pt x="12" y="246"/>
                </a:lnTo>
                <a:lnTo>
                  <a:pt x="18" y="246"/>
                </a:lnTo>
                <a:lnTo>
                  <a:pt x="18" y="246"/>
                </a:lnTo>
                <a:lnTo>
                  <a:pt x="18" y="240"/>
                </a:lnTo>
                <a:lnTo>
                  <a:pt x="18" y="240"/>
                </a:lnTo>
                <a:lnTo>
                  <a:pt x="18" y="240"/>
                </a:lnTo>
                <a:lnTo>
                  <a:pt x="18" y="234"/>
                </a:lnTo>
                <a:lnTo>
                  <a:pt x="18" y="234"/>
                </a:lnTo>
                <a:lnTo>
                  <a:pt x="18" y="228"/>
                </a:lnTo>
                <a:lnTo>
                  <a:pt x="18" y="228"/>
                </a:lnTo>
                <a:lnTo>
                  <a:pt x="12" y="222"/>
                </a:lnTo>
                <a:lnTo>
                  <a:pt x="18" y="222"/>
                </a:lnTo>
                <a:lnTo>
                  <a:pt x="18" y="222"/>
                </a:lnTo>
                <a:lnTo>
                  <a:pt x="18" y="216"/>
                </a:lnTo>
                <a:lnTo>
                  <a:pt x="18" y="216"/>
                </a:lnTo>
                <a:lnTo>
                  <a:pt x="18" y="216"/>
                </a:lnTo>
                <a:lnTo>
                  <a:pt x="18" y="210"/>
                </a:lnTo>
                <a:lnTo>
                  <a:pt x="18" y="210"/>
                </a:lnTo>
                <a:lnTo>
                  <a:pt x="18" y="210"/>
                </a:lnTo>
                <a:lnTo>
                  <a:pt x="18" y="210"/>
                </a:lnTo>
                <a:lnTo>
                  <a:pt x="18" y="204"/>
                </a:lnTo>
                <a:lnTo>
                  <a:pt x="18" y="204"/>
                </a:lnTo>
                <a:lnTo>
                  <a:pt x="18" y="204"/>
                </a:lnTo>
                <a:lnTo>
                  <a:pt x="18" y="204"/>
                </a:lnTo>
                <a:lnTo>
                  <a:pt x="24" y="198"/>
                </a:lnTo>
                <a:lnTo>
                  <a:pt x="24" y="198"/>
                </a:lnTo>
                <a:lnTo>
                  <a:pt x="24" y="198"/>
                </a:lnTo>
                <a:lnTo>
                  <a:pt x="24" y="192"/>
                </a:lnTo>
                <a:lnTo>
                  <a:pt x="18" y="192"/>
                </a:lnTo>
                <a:lnTo>
                  <a:pt x="18" y="192"/>
                </a:lnTo>
                <a:lnTo>
                  <a:pt x="18" y="192"/>
                </a:lnTo>
                <a:lnTo>
                  <a:pt x="18" y="186"/>
                </a:lnTo>
                <a:lnTo>
                  <a:pt x="18" y="186"/>
                </a:lnTo>
                <a:lnTo>
                  <a:pt x="24" y="186"/>
                </a:lnTo>
                <a:lnTo>
                  <a:pt x="24" y="180"/>
                </a:lnTo>
                <a:lnTo>
                  <a:pt x="24" y="180"/>
                </a:lnTo>
                <a:lnTo>
                  <a:pt x="24" y="180"/>
                </a:lnTo>
                <a:lnTo>
                  <a:pt x="24" y="180"/>
                </a:lnTo>
                <a:lnTo>
                  <a:pt x="30" y="180"/>
                </a:lnTo>
                <a:lnTo>
                  <a:pt x="30" y="180"/>
                </a:lnTo>
                <a:lnTo>
                  <a:pt x="30" y="174"/>
                </a:lnTo>
                <a:lnTo>
                  <a:pt x="30" y="174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36" y="168"/>
                </a:lnTo>
                <a:lnTo>
                  <a:pt x="36" y="168"/>
                </a:lnTo>
                <a:lnTo>
                  <a:pt x="36" y="162"/>
                </a:lnTo>
                <a:lnTo>
                  <a:pt x="36" y="156"/>
                </a:lnTo>
                <a:lnTo>
                  <a:pt x="36" y="150"/>
                </a:lnTo>
                <a:lnTo>
                  <a:pt x="42" y="150"/>
                </a:lnTo>
                <a:lnTo>
                  <a:pt x="42" y="150"/>
                </a:lnTo>
                <a:lnTo>
                  <a:pt x="42" y="150"/>
                </a:lnTo>
                <a:lnTo>
                  <a:pt x="42" y="144"/>
                </a:lnTo>
                <a:lnTo>
                  <a:pt x="42" y="144"/>
                </a:lnTo>
                <a:lnTo>
                  <a:pt x="42" y="138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0"/>
                </a:lnTo>
                <a:lnTo>
                  <a:pt x="48" y="114"/>
                </a:lnTo>
                <a:lnTo>
                  <a:pt x="48" y="114"/>
                </a:lnTo>
                <a:lnTo>
                  <a:pt x="54" y="114"/>
                </a:lnTo>
                <a:lnTo>
                  <a:pt x="54" y="108"/>
                </a:lnTo>
                <a:lnTo>
                  <a:pt x="54" y="108"/>
                </a:lnTo>
                <a:lnTo>
                  <a:pt x="60" y="108"/>
                </a:lnTo>
                <a:lnTo>
                  <a:pt x="60" y="102"/>
                </a:lnTo>
                <a:lnTo>
                  <a:pt x="60" y="102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0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78"/>
                </a:lnTo>
                <a:lnTo>
                  <a:pt x="72" y="78"/>
                </a:lnTo>
                <a:lnTo>
                  <a:pt x="72" y="72"/>
                </a:lnTo>
                <a:lnTo>
                  <a:pt x="72" y="72"/>
                </a:lnTo>
                <a:lnTo>
                  <a:pt x="78" y="66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0"/>
                </a:lnTo>
                <a:lnTo>
                  <a:pt x="90" y="24"/>
                </a:lnTo>
                <a:lnTo>
                  <a:pt x="90" y="24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6" y="6"/>
                </a:lnTo>
                <a:lnTo>
                  <a:pt x="96" y="6"/>
                </a:lnTo>
                <a:lnTo>
                  <a:pt x="96" y="0"/>
                </a:lnTo>
                <a:lnTo>
                  <a:pt x="102" y="0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102" y="36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102" y="48"/>
                </a:lnTo>
                <a:lnTo>
                  <a:pt x="96" y="48"/>
                </a:lnTo>
                <a:lnTo>
                  <a:pt x="96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72"/>
                </a:lnTo>
                <a:lnTo>
                  <a:pt x="96" y="72"/>
                </a:lnTo>
                <a:lnTo>
                  <a:pt x="96" y="66"/>
                </a:lnTo>
                <a:lnTo>
                  <a:pt x="96" y="72"/>
                </a:lnTo>
                <a:lnTo>
                  <a:pt x="96" y="72"/>
                </a:lnTo>
                <a:lnTo>
                  <a:pt x="90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102" y="78"/>
                </a:lnTo>
                <a:lnTo>
                  <a:pt x="102" y="78"/>
                </a:lnTo>
                <a:lnTo>
                  <a:pt x="96" y="78"/>
                </a:lnTo>
                <a:lnTo>
                  <a:pt x="96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14" y="90"/>
                </a:lnTo>
                <a:lnTo>
                  <a:pt x="114" y="90"/>
                </a:lnTo>
                <a:lnTo>
                  <a:pt x="114" y="90"/>
                </a:lnTo>
                <a:lnTo>
                  <a:pt x="114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6" y="90"/>
                </a:lnTo>
                <a:lnTo>
                  <a:pt x="126" y="90"/>
                </a:lnTo>
                <a:lnTo>
                  <a:pt x="126" y="90"/>
                </a:lnTo>
                <a:lnTo>
                  <a:pt x="126" y="90"/>
                </a:lnTo>
                <a:lnTo>
                  <a:pt x="126" y="96"/>
                </a:lnTo>
                <a:lnTo>
                  <a:pt x="126" y="96"/>
                </a:lnTo>
                <a:lnTo>
                  <a:pt x="126" y="96"/>
                </a:lnTo>
                <a:lnTo>
                  <a:pt x="126" y="96"/>
                </a:lnTo>
                <a:lnTo>
                  <a:pt x="132" y="96"/>
                </a:lnTo>
                <a:lnTo>
                  <a:pt x="132" y="96"/>
                </a:lnTo>
                <a:lnTo>
                  <a:pt x="132" y="96"/>
                </a:lnTo>
                <a:lnTo>
                  <a:pt x="132" y="96"/>
                </a:lnTo>
                <a:lnTo>
                  <a:pt x="132" y="96"/>
                </a:lnTo>
                <a:lnTo>
                  <a:pt x="132" y="96"/>
                </a:lnTo>
                <a:lnTo>
                  <a:pt x="132" y="102"/>
                </a:lnTo>
                <a:lnTo>
                  <a:pt x="132" y="96"/>
                </a:lnTo>
                <a:lnTo>
                  <a:pt x="132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50" y="102"/>
                </a:lnTo>
                <a:lnTo>
                  <a:pt x="150" y="102"/>
                </a:lnTo>
                <a:lnTo>
                  <a:pt x="150" y="96"/>
                </a:lnTo>
                <a:lnTo>
                  <a:pt x="150" y="96"/>
                </a:lnTo>
                <a:lnTo>
                  <a:pt x="150" y="96"/>
                </a:lnTo>
                <a:lnTo>
                  <a:pt x="150" y="96"/>
                </a:lnTo>
                <a:lnTo>
                  <a:pt x="150" y="96"/>
                </a:lnTo>
                <a:lnTo>
                  <a:pt x="156" y="96"/>
                </a:lnTo>
                <a:lnTo>
                  <a:pt x="156" y="96"/>
                </a:lnTo>
                <a:lnTo>
                  <a:pt x="156" y="96"/>
                </a:lnTo>
                <a:lnTo>
                  <a:pt x="156" y="96"/>
                </a:lnTo>
                <a:lnTo>
                  <a:pt x="156" y="96"/>
                </a:lnTo>
                <a:lnTo>
                  <a:pt x="162" y="96"/>
                </a:lnTo>
                <a:lnTo>
                  <a:pt x="162" y="96"/>
                </a:lnTo>
                <a:lnTo>
                  <a:pt x="162" y="96"/>
                </a:lnTo>
                <a:lnTo>
                  <a:pt x="162" y="102"/>
                </a:lnTo>
                <a:lnTo>
                  <a:pt x="162" y="102"/>
                </a:lnTo>
                <a:lnTo>
                  <a:pt x="162" y="102"/>
                </a:lnTo>
                <a:lnTo>
                  <a:pt x="168" y="102"/>
                </a:lnTo>
                <a:lnTo>
                  <a:pt x="168" y="102"/>
                </a:lnTo>
                <a:lnTo>
                  <a:pt x="168" y="102"/>
                </a:lnTo>
                <a:lnTo>
                  <a:pt x="168" y="102"/>
                </a:lnTo>
                <a:lnTo>
                  <a:pt x="168" y="102"/>
                </a:lnTo>
                <a:lnTo>
                  <a:pt x="168" y="102"/>
                </a:lnTo>
                <a:lnTo>
                  <a:pt x="174" y="102"/>
                </a:lnTo>
                <a:lnTo>
                  <a:pt x="174" y="102"/>
                </a:lnTo>
                <a:lnTo>
                  <a:pt x="174" y="102"/>
                </a:lnTo>
                <a:lnTo>
                  <a:pt x="174" y="102"/>
                </a:lnTo>
                <a:lnTo>
                  <a:pt x="174" y="96"/>
                </a:lnTo>
                <a:lnTo>
                  <a:pt x="174" y="96"/>
                </a:lnTo>
                <a:lnTo>
                  <a:pt x="174" y="96"/>
                </a:lnTo>
                <a:lnTo>
                  <a:pt x="174" y="96"/>
                </a:lnTo>
                <a:lnTo>
                  <a:pt x="174" y="96"/>
                </a:lnTo>
                <a:lnTo>
                  <a:pt x="180" y="96"/>
                </a:lnTo>
                <a:lnTo>
                  <a:pt x="180" y="102"/>
                </a:lnTo>
                <a:lnTo>
                  <a:pt x="180" y="102"/>
                </a:lnTo>
                <a:lnTo>
                  <a:pt x="180" y="102"/>
                </a:lnTo>
                <a:lnTo>
                  <a:pt x="186" y="102"/>
                </a:lnTo>
                <a:lnTo>
                  <a:pt x="186" y="102"/>
                </a:lnTo>
                <a:lnTo>
                  <a:pt x="186" y="108"/>
                </a:lnTo>
                <a:lnTo>
                  <a:pt x="186" y="108"/>
                </a:lnTo>
                <a:lnTo>
                  <a:pt x="192" y="108"/>
                </a:lnTo>
                <a:lnTo>
                  <a:pt x="192" y="108"/>
                </a:lnTo>
                <a:lnTo>
                  <a:pt x="192" y="108"/>
                </a:lnTo>
                <a:lnTo>
                  <a:pt x="192" y="108"/>
                </a:lnTo>
                <a:lnTo>
                  <a:pt x="192" y="108"/>
                </a:lnTo>
                <a:lnTo>
                  <a:pt x="192" y="108"/>
                </a:lnTo>
                <a:lnTo>
                  <a:pt x="198" y="108"/>
                </a:lnTo>
                <a:lnTo>
                  <a:pt x="198" y="108"/>
                </a:lnTo>
                <a:lnTo>
                  <a:pt x="198" y="108"/>
                </a:lnTo>
                <a:lnTo>
                  <a:pt x="198" y="108"/>
                </a:lnTo>
                <a:lnTo>
                  <a:pt x="198" y="114"/>
                </a:lnTo>
                <a:lnTo>
                  <a:pt x="198" y="114"/>
                </a:lnTo>
                <a:lnTo>
                  <a:pt x="198" y="108"/>
                </a:lnTo>
                <a:lnTo>
                  <a:pt x="198" y="114"/>
                </a:lnTo>
                <a:lnTo>
                  <a:pt x="198" y="114"/>
                </a:lnTo>
                <a:lnTo>
                  <a:pt x="198" y="114"/>
                </a:lnTo>
                <a:lnTo>
                  <a:pt x="204" y="114"/>
                </a:lnTo>
                <a:lnTo>
                  <a:pt x="204" y="114"/>
                </a:lnTo>
                <a:lnTo>
                  <a:pt x="204" y="114"/>
                </a:lnTo>
                <a:lnTo>
                  <a:pt x="204" y="114"/>
                </a:lnTo>
                <a:lnTo>
                  <a:pt x="210" y="120"/>
                </a:lnTo>
                <a:lnTo>
                  <a:pt x="210" y="120"/>
                </a:lnTo>
                <a:lnTo>
                  <a:pt x="210" y="120"/>
                </a:lnTo>
                <a:lnTo>
                  <a:pt x="210" y="120"/>
                </a:lnTo>
                <a:lnTo>
                  <a:pt x="210" y="120"/>
                </a:lnTo>
                <a:lnTo>
                  <a:pt x="210" y="120"/>
                </a:lnTo>
                <a:lnTo>
                  <a:pt x="210" y="120"/>
                </a:lnTo>
                <a:lnTo>
                  <a:pt x="210" y="120"/>
                </a:lnTo>
                <a:lnTo>
                  <a:pt x="210" y="120"/>
                </a:lnTo>
                <a:lnTo>
                  <a:pt x="216" y="120"/>
                </a:lnTo>
                <a:lnTo>
                  <a:pt x="216" y="120"/>
                </a:lnTo>
                <a:lnTo>
                  <a:pt x="216" y="120"/>
                </a:lnTo>
                <a:lnTo>
                  <a:pt x="216" y="120"/>
                </a:lnTo>
                <a:lnTo>
                  <a:pt x="216" y="120"/>
                </a:lnTo>
                <a:lnTo>
                  <a:pt x="222" y="120"/>
                </a:lnTo>
                <a:lnTo>
                  <a:pt x="222" y="120"/>
                </a:lnTo>
                <a:lnTo>
                  <a:pt x="222" y="120"/>
                </a:lnTo>
                <a:lnTo>
                  <a:pt x="222" y="120"/>
                </a:lnTo>
                <a:lnTo>
                  <a:pt x="222" y="120"/>
                </a:lnTo>
                <a:lnTo>
                  <a:pt x="222" y="120"/>
                </a:lnTo>
                <a:lnTo>
                  <a:pt x="222" y="120"/>
                </a:lnTo>
                <a:lnTo>
                  <a:pt x="222" y="120"/>
                </a:lnTo>
                <a:lnTo>
                  <a:pt x="222" y="120"/>
                </a:lnTo>
                <a:lnTo>
                  <a:pt x="222" y="120"/>
                </a:lnTo>
                <a:lnTo>
                  <a:pt x="222" y="120"/>
                </a:lnTo>
                <a:lnTo>
                  <a:pt x="222" y="120"/>
                </a:lnTo>
                <a:lnTo>
                  <a:pt x="228" y="120"/>
                </a:lnTo>
                <a:lnTo>
                  <a:pt x="228" y="120"/>
                </a:lnTo>
                <a:lnTo>
                  <a:pt x="228" y="120"/>
                </a:lnTo>
                <a:lnTo>
                  <a:pt x="228" y="120"/>
                </a:lnTo>
                <a:lnTo>
                  <a:pt x="228" y="120"/>
                </a:lnTo>
                <a:lnTo>
                  <a:pt x="228" y="120"/>
                </a:lnTo>
                <a:lnTo>
                  <a:pt x="228" y="120"/>
                </a:lnTo>
                <a:lnTo>
                  <a:pt x="228" y="120"/>
                </a:lnTo>
                <a:lnTo>
                  <a:pt x="234" y="120"/>
                </a:lnTo>
                <a:lnTo>
                  <a:pt x="234" y="120"/>
                </a:lnTo>
                <a:lnTo>
                  <a:pt x="234" y="120"/>
                </a:lnTo>
                <a:lnTo>
                  <a:pt x="234" y="120"/>
                </a:lnTo>
                <a:lnTo>
                  <a:pt x="234" y="120"/>
                </a:lnTo>
                <a:lnTo>
                  <a:pt x="234" y="120"/>
                </a:lnTo>
                <a:lnTo>
                  <a:pt x="234" y="114"/>
                </a:lnTo>
                <a:lnTo>
                  <a:pt x="240" y="114"/>
                </a:lnTo>
                <a:lnTo>
                  <a:pt x="240" y="114"/>
                </a:lnTo>
                <a:lnTo>
                  <a:pt x="240" y="114"/>
                </a:lnTo>
                <a:lnTo>
                  <a:pt x="240" y="114"/>
                </a:lnTo>
                <a:lnTo>
                  <a:pt x="240" y="114"/>
                </a:lnTo>
                <a:lnTo>
                  <a:pt x="240" y="114"/>
                </a:lnTo>
                <a:lnTo>
                  <a:pt x="240" y="108"/>
                </a:lnTo>
                <a:lnTo>
                  <a:pt x="240" y="108"/>
                </a:lnTo>
                <a:lnTo>
                  <a:pt x="240" y="108"/>
                </a:lnTo>
                <a:lnTo>
                  <a:pt x="240" y="108"/>
                </a:lnTo>
                <a:lnTo>
                  <a:pt x="246" y="108"/>
                </a:lnTo>
                <a:lnTo>
                  <a:pt x="246" y="108"/>
                </a:lnTo>
                <a:lnTo>
                  <a:pt x="246" y="108"/>
                </a:lnTo>
                <a:lnTo>
                  <a:pt x="246" y="108"/>
                </a:lnTo>
                <a:lnTo>
                  <a:pt x="246" y="108"/>
                </a:lnTo>
                <a:lnTo>
                  <a:pt x="246" y="108"/>
                </a:lnTo>
                <a:lnTo>
                  <a:pt x="246" y="108"/>
                </a:lnTo>
                <a:lnTo>
                  <a:pt x="246" y="108"/>
                </a:lnTo>
                <a:lnTo>
                  <a:pt x="252" y="108"/>
                </a:lnTo>
                <a:lnTo>
                  <a:pt x="252" y="108"/>
                </a:lnTo>
                <a:lnTo>
                  <a:pt x="252" y="108"/>
                </a:lnTo>
                <a:lnTo>
                  <a:pt x="252" y="108"/>
                </a:lnTo>
                <a:lnTo>
                  <a:pt x="252" y="108"/>
                </a:lnTo>
                <a:lnTo>
                  <a:pt x="252" y="108"/>
                </a:lnTo>
                <a:lnTo>
                  <a:pt x="252" y="108"/>
                </a:lnTo>
                <a:lnTo>
                  <a:pt x="258" y="108"/>
                </a:lnTo>
                <a:lnTo>
                  <a:pt x="258" y="108"/>
                </a:lnTo>
                <a:lnTo>
                  <a:pt x="258" y="108"/>
                </a:lnTo>
                <a:lnTo>
                  <a:pt x="258" y="108"/>
                </a:lnTo>
                <a:lnTo>
                  <a:pt x="264" y="108"/>
                </a:lnTo>
                <a:lnTo>
                  <a:pt x="264" y="108"/>
                </a:lnTo>
                <a:lnTo>
                  <a:pt x="264" y="108"/>
                </a:lnTo>
                <a:lnTo>
                  <a:pt x="264" y="108"/>
                </a:lnTo>
                <a:lnTo>
                  <a:pt x="264" y="114"/>
                </a:lnTo>
                <a:lnTo>
                  <a:pt x="264" y="114"/>
                </a:lnTo>
                <a:lnTo>
                  <a:pt x="270" y="114"/>
                </a:lnTo>
                <a:lnTo>
                  <a:pt x="270" y="120"/>
                </a:lnTo>
                <a:lnTo>
                  <a:pt x="270" y="120"/>
                </a:lnTo>
                <a:lnTo>
                  <a:pt x="264" y="126"/>
                </a:lnTo>
                <a:lnTo>
                  <a:pt x="264" y="126"/>
                </a:lnTo>
                <a:lnTo>
                  <a:pt x="270" y="126"/>
                </a:lnTo>
                <a:lnTo>
                  <a:pt x="270" y="132"/>
                </a:lnTo>
                <a:lnTo>
                  <a:pt x="270" y="132"/>
                </a:lnTo>
                <a:lnTo>
                  <a:pt x="270" y="132"/>
                </a:lnTo>
                <a:lnTo>
                  <a:pt x="270" y="132"/>
                </a:lnTo>
                <a:lnTo>
                  <a:pt x="276" y="132"/>
                </a:lnTo>
                <a:lnTo>
                  <a:pt x="276" y="132"/>
                </a:lnTo>
                <a:lnTo>
                  <a:pt x="276" y="138"/>
                </a:lnTo>
                <a:lnTo>
                  <a:pt x="276" y="138"/>
                </a:lnTo>
                <a:lnTo>
                  <a:pt x="276" y="138"/>
                </a:lnTo>
                <a:lnTo>
                  <a:pt x="282" y="138"/>
                </a:lnTo>
                <a:lnTo>
                  <a:pt x="282" y="138"/>
                </a:lnTo>
                <a:lnTo>
                  <a:pt x="276" y="144"/>
                </a:lnTo>
                <a:lnTo>
                  <a:pt x="282" y="144"/>
                </a:lnTo>
                <a:lnTo>
                  <a:pt x="282" y="144"/>
                </a:lnTo>
                <a:lnTo>
                  <a:pt x="276" y="144"/>
                </a:lnTo>
                <a:lnTo>
                  <a:pt x="276" y="144"/>
                </a:lnTo>
                <a:lnTo>
                  <a:pt x="276" y="144"/>
                </a:lnTo>
                <a:lnTo>
                  <a:pt x="276" y="144"/>
                </a:lnTo>
                <a:lnTo>
                  <a:pt x="276" y="144"/>
                </a:lnTo>
                <a:lnTo>
                  <a:pt x="276" y="144"/>
                </a:lnTo>
                <a:lnTo>
                  <a:pt x="276" y="150"/>
                </a:lnTo>
                <a:lnTo>
                  <a:pt x="276" y="150"/>
                </a:lnTo>
                <a:lnTo>
                  <a:pt x="270" y="150"/>
                </a:lnTo>
                <a:lnTo>
                  <a:pt x="270" y="150"/>
                </a:lnTo>
                <a:lnTo>
                  <a:pt x="270" y="150"/>
                </a:lnTo>
                <a:lnTo>
                  <a:pt x="270" y="150"/>
                </a:lnTo>
                <a:lnTo>
                  <a:pt x="270" y="150"/>
                </a:lnTo>
                <a:lnTo>
                  <a:pt x="270" y="150"/>
                </a:lnTo>
                <a:lnTo>
                  <a:pt x="270" y="150"/>
                </a:lnTo>
                <a:lnTo>
                  <a:pt x="270" y="150"/>
                </a:lnTo>
                <a:lnTo>
                  <a:pt x="270" y="150"/>
                </a:lnTo>
                <a:lnTo>
                  <a:pt x="270" y="150"/>
                </a:lnTo>
                <a:lnTo>
                  <a:pt x="270" y="150"/>
                </a:lnTo>
                <a:lnTo>
                  <a:pt x="270" y="150"/>
                </a:lnTo>
                <a:lnTo>
                  <a:pt x="264" y="150"/>
                </a:lnTo>
                <a:lnTo>
                  <a:pt x="264" y="156"/>
                </a:lnTo>
                <a:lnTo>
                  <a:pt x="264" y="150"/>
                </a:lnTo>
                <a:lnTo>
                  <a:pt x="264" y="156"/>
                </a:lnTo>
                <a:lnTo>
                  <a:pt x="264" y="156"/>
                </a:lnTo>
                <a:lnTo>
                  <a:pt x="264" y="156"/>
                </a:lnTo>
                <a:lnTo>
                  <a:pt x="258" y="156"/>
                </a:lnTo>
                <a:lnTo>
                  <a:pt x="258" y="156"/>
                </a:lnTo>
                <a:lnTo>
                  <a:pt x="258" y="156"/>
                </a:lnTo>
                <a:lnTo>
                  <a:pt x="258" y="156"/>
                </a:lnTo>
                <a:lnTo>
                  <a:pt x="258" y="156"/>
                </a:lnTo>
                <a:lnTo>
                  <a:pt x="258" y="156"/>
                </a:lnTo>
                <a:lnTo>
                  <a:pt x="258" y="156"/>
                </a:lnTo>
                <a:lnTo>
                  <a:pt x="258" y="162"/>
                </a:lnTo>
                <a:lnTo>
                  <a:pt x="258" y="162"/>
                </a:lnTo>
                <a:lnTo>
                  <a:pt x="258" y="162"/>
                </a:lnTo>
                <a:lnTo>
                  <a:pt x="258" y="162"/>
                </a:lnTo>
                <a:lnTo>
                  <a:pt x="252" y="162"/>
                </a:lnTo>
                <a:lnTo>
                  <a:pt x="252" y="162"/>
                </a:lnTo>
                <a:lnTo>
                  <a:pt x="252" y="168"/>
                </a:lnTo>
                <a:lnTo>
                  <a:pt x="252" y="168"/>
                </a:lnTo>
                <a:lnTo>
                  <a:pt x="252" y="168"/>
                </a:lnTo>
                <a:lnTo>
                  <a:pt x="252" y="168"/>
                </a:lnTo>
                <a:lnTo>
                  <a:pt x="252" y="168"/>
                </a:lnTo>
                <a:lnTo>
                  <a:pt x="252" y="174"/>
                </a:lnTo>
                <a:lnTo>
                  <a:pt x="252" y="174"/>
                </a:lnTo>
                <a:lnTo>
                  <a:pt x="252" y="180"/>
                </a:lnTo>
                <a:lnTo>
                  <a:pt x="252" y="180"/>
                </a:lnTo>
                <a:lnTo>
                  <a:pt x="252" y="180"/>
                </a:lnTo>
                <a:lnTo>
                  <a:pt x="252" y="186"/>
                </a:lnTo>
                <a:lnTo>
                  <a:pt x="252" y="186"/>
                </a:lnTo>
                <a:lnTo>
                  <a:pt x="252" y="186"/>
                </a:lnTo>
                <a:lnTo>
                  <a:pt x="252" y="186"/>
                </a:lnTo>
                <a:lnTo>
                  <a:pt x="252" y="192"/>
                </a:lnTo>
                <a:lnTo>
                  <a:pt x="252" y="192"/>
                </a:lnTo>
                <a:lnTo>
                  <a:pt x="258" y="192"/>
                </a:lnTo>
                <a:lnTo>
                  <a:pt x="258" y="192"/>
                </a:lnTo>
                <a:lnTo>
                  <a:pt x="258" y="192"/>
                </a:lnTo>
                <a:lnTo>
                  <a:pt x="258" y="198"/>
                </a:lnTo>
                <a:lnTo>
                  <a:pt x="258" y="198"/>
                </a:lnTo>
                <a:lnTo>
                  <a:pt x="258" y="198"/>
                </a:lnTo>
                <a:lnTo>
                  <a:pt x="258" y="204"/>
                </a:lnTo>
                <a:lnTo>
                  <a:pt x="258" y="204"/>
                </a:lnTo>
                <a:lnTo>
                  <a:pt x="252" y="204"/>
                </a:lnTo>
                <a:lnTo>
                  <a:pt x="252" y="210"/>
                </a:lnTo>
                <a:lnTo>
                  <a:pt x="252" y="210"/>
                </a:lnTo>
                <a:lnTo>
                  <a:pt x="252" y="216"/>
                </a:lnTo>
                <a:lnTo>
                  <a:pt x="252" y="216"/>
                </a:lnTo>
                <a:lnTo>
                  <a:pt x="252" y="216"/>
                </a:lnTo>
                <a:lnTo>
                  <a:pt x="252" y="222"/>
                </a:lnTo>
                <a:lnTo>
                  <a:pt x="252" y="222"/>
                </a:lnTo>
                <a:lnTo>
                  <a:pt x="252" y="228"/>
                </a:lnTo>
                <a:lnTo>
                  <a:pt x="246" y="228"/>
                </a:lnTo>
                <a:lnTo>
                  <a:pt x="246" y="228"/>
                </a:lnTo>
                <a:lnTo>
                  <a:pt x="246" y="222"/>
                </a:lnTo>
                <a:lnTo>
                  <a:pt x="246" y="222"/>
                </a:lnTo>
                <a:lnTo>
                  <a:pt x="246" y="222"/>
                </a:lnTo>
                <a:lnTo>
                  <a:pt x="246" y="216"/>
                </a:lnTo>
                <a:lnTo>
                  <a:pt x="246" y="216"/>
                </a:lnTo>
                <a:lnTo>
                  <a:pt x="246" y="216"/>
                </a:lnTo>
                <a:lnTo>
                  <a:pt x="240" y="210"/>
                </a:lnTo>
                <a:lnTo>
                  <a:pt x="240" y="210"/>
                </a:lnTo>
                <a:lnTo>
                  <a:pt x="228" y="210"/>
                </a:lnTo>
                <a:lnTo>
                  <a:pt x="228" y="210"/>
                </a:lnTo>
                <a:lnTo>
                  <a:pt x="228" y="210"/>
                </a:lnTo>
                <a:lnTo>
                  <a:pt x="228" y="204"/>
                </a:lnTo>
                <a:lnTo>
                  <a:pt x="222" y="204"/>
                </a:lnTo>
                <a:lnTo>
                  <a:pt x="222" y="204"/>
                </a:lnTo>
                <a:lnTo>
                  <a:pt x="222" y="204"/>
                </a:lnTo>
                <a:lnTo>
                  <a:pt x="222" y="204"/>
                </a:lnTo>
                <a:lnTo>
                  <a:pt x="222" y="204"/>
                </a:lnTo>
                <a:lnTo>
                  <a:pt x="222" y="210"/>
                </a:lnTo>
                <a:lnTo>
                  <a:pt x="216" y="210"/>
                </a:lnTo>
                <a:lnTo>
                  <a:pt x="216" y="210"/>
                </a:lnTo>
                <a:lnTo>
                  <a:pt x="216" y="210"/>
                </a:lnTo>
                <a:lnTo>
                  <a:pt x="216" y="204"/>
                </a:lnTo>
                <a:lnTo>
                  <a:pt x="216" y="210"/>
                </a:lnTo>
                <a:lnTo>
                  <a:pt x="216" y="210"/>
                </a:lnTo>
                <a:lnTo>
                  <a:pt x="216" y="210"/>
                </a:lnTo>
                <a:lnTo>
                  <a:pt x="210" y="210"/>
                </a:lnTo>
                <a:lnTo>
                  <a:pt x="210" y="210"/>
                </a:lnTo>
                <a:lnTo>
                  <a:pt x="210" y="210"/>
                </a:lnTo>
                <a:lnTo>
                  <a:pt x="210" y="204"/>
                </a:lnTo>
                <a:lnTo>
                  <a:pt x="204" y="204"/>
                </a:lnTo>
                <a:lnTo>
                  <a:pt x="204" y="204"/>
                </a:lnTo>
                <a:lnTo>
                  <a:pt x="204" y="204"/>
                </a:lnTo>
                <a:lnTo>
                  <a:pt x="198" y="204"/>
                </a:lnTo>
                <a:lnTo>
                  <a:pt x="198" y="204"/>
                </a:lnTo>
                <a:lnTo>
                  <a:pt x="198" y="204"/>
                </a:lnTo>
                <a:lnTo>
                  <a:pt x="198" y="204"/>
                </a:lnTo>
                <a:lnTo>
                  <a:pt x="198" y="198"/>
                </a:lnTo>
                <a:lnTo>
                  <a:pt x="192" y="198"/>
                </a:lnTo>
                <a:lnTo>
                  <a:pt x="192" y="198"/>
                </a:lnTo>
                <a:lnTo>
                  <a:pt x="192" y="198"/>
                </a:lnTo>
                <a:lnTo>
                  <a:pt x="186" y="198"/>
                </a:lnTo>
                <a:lnTo>
                  <a:pt x="186" y="198"/>
                </a:lnTo>
                <a:lnTo>
                  <a:pt x="186" y="198"/>
                </a:lnTo>
                <a:lnTo>
                  <a:pt x="186" y="198"/>
                </a:lnTo>
                <a:lnTo>
                  <a:pt x="186" y="198"/>
                </a:lnTo>
                <a:lnTo>
                  <a:pt x="186" y="198"/>
                </a:lnTo>
                <a:lnTo>
                  <a:pt x="186" y="198"/>
                </a:lnTo>
                <a:lnTo>
                  <a:pt x="186" y="198"/>
                </a:lnTo>
                <a:lnTo>
                  <a:pt x="180" y="198"/>
                </a:lnTo>
                <a:lnTo>
                  <a:pt x="180" y="198"/>
                </a:lnTo>
                <a:lnTo>
                  <a:pt x="180" y="198"/>
                </a:lnTo>
                <a:lnTo>
                  <a:pt x="174" y="198"/>
                </a:lnTo>
                <a:lnTo>
                  <a:pt x="174" y="204"/>
                </a:lnTo>
                <a:lnTo>
                  <a:pt x="174" y="204"/>
                </a:lnTo>
                <a:lnTo>
                  <a:pt x="174" y="204"/>
                </a:lnTo>
                <a:lnTo>
                  <a:pt x="168" y="204"/>
                </a:lnTo>
                <a:lnTo>
                  <a:pt x="168" y="204"/>
                </a:lnTo>
                <a:lnTo>
                  <a:pt x="168" y="204"/>
                </a:lnTo>
                <a:lnTo>
                  <a:pt x="168" y="210"/>
                </a:lnTo>
                <a:lnTo>
                  <a:pt x="162" y="210"/>
                </a:lnTo>
                <a:lnTo>
                  <a:pt x="162" y="210"/>
                </a:lnTo>
                <a:lnTo>
                  <a:pt x="162" y="210"/>
                </a:lnTo>
                <a:lnTo>
                  <a:pt x="162" y="210"/>
                </a:lnTo>
                <a:lnTo>
                  <a:pt x="162" y="210"/>
                </a:lnTo>
                <a:lnTo>
                  <a:pt x="162" y="210"/>
                </a:lnTo>
                <a:lnTo>
                  <a:pt x="156" y="210"/>
                </a:lnTo>
                <a:lnTo>
                  <a:pt x="156" y="210"/>
                </a:lnTo>
                <a:lnTo>
                  <a:pt x="156" y="210"/>
                </a:lnTo>
                <a:lnTo>
                  <a:pt x="156" y="210"/>
                </a:lnTo>
                <a:lnTo>
                  <a:pt x="156" y="210"/>
                </a:lnTo>
                <a:lnTo>
                  <a:pt x="156" y="210"/>
                </a:lnTo>
                <a:lnTo>
                  <a:pt x="156" y="210"/>
                </a:lnTo>
                <a:lnTo>
                  <a:pt x="156" y="216"/>
                </a:lnTo>
                <a:lnTo>
                  <a:pt x="150" y="216"/>
                </a:lnTo>
                <a:lnTo>
                  <a:pt x="150" y="216"/>
                </a:lnTo>
                <a:lnTo>
                  <a:pt x="150" y="216"/>
                </a:lnTo>
                <a:lnTo>
                  <a:pt x="150" y="222"/>
                </a:lnTo>
                <a:lnTo>
                  <a:pt x="144" y="222"/>
                </a:lnTo>
                <a:lnTo>
                  <a:pt x="144" y="222"/>
                </a:lnTo>
                <a:lnTo>
                  <a:pt x="144" y="222"/>
                </a:lnTo>
                <a:lnTo>
                  <a:pt x="144" y="222"/>
                </a:lnTo>
                <a:lnTo>
                  <a:pt x="138" y="222"/>
                </a:lnTo>
                <a:lnTo>
                  <a:pt x="138" y="222"/>
                </a:lnTo>
                <a:lnTo>
                  <a:pt x="138" y="222"/>
                </a:lnTo>
                <a:lnTo>
                  <a:pt x="138" y="222"/>
                </a:lnTo>
                <a:lnTo>
                  <a:pt x="138" y="222"/>
                </a:lnTo>
                <a:lnTo>
                  <a:pt x="132" y="222"/>
                </a:lnTo>
                <a:lnTo>
                  <a:pt x="132" y="222"/>
                </a:lnTo>
                <a:lnTo>
                  <a:pt x="132" y="222"/>
                </a:lnTo>
                <a:lnTo>
                  <a:pt x="132" y="222"/>
                </a:lnTo>
                <a:lnTo>
                  <a:pt x="132" y="222"/>
                </a:lnTo>
                <a:lnTo>
                  <a:pt x="132" y="222"/>
                </a:lnTo>
                <a:lnTo>
                  <a:pt x="132" y="222"/>
                </a:lnTo>
                <a:lnTo>
                  <a:pt x="126" y="222"/>
                </a:lnTo>
                <a:lnTo>
                  <a:pt x="126" y="222"/>
                </a:lnTo>
                <a:lnTo>
                  <a:pt x="126" y="222"/>
                </a:lnTo>
                <a:lnTo>
                  <a:pt x="126" y="222"/>
                </a:lnTo>
                <a:lnTo>
                  <a:pt x="126" y="228"/>
                </a:lnTo>
                <a:lnTo>
                  <a:pt x="126" y="228"/>
                </a:lnTo>
                <a:lnTo>
                  <a:pt x="126" y="228"/>
                </a:lnTo>
                <a:lnTo>
                  <a:pt x="126" y="228"/>
                </a:lnTo>
                <a:lnTo>
                  <a:pt x="126" y="228"/>
                </a:lnTo>
                <a:lnTo>
                  <a:pt x="126" y="234"/>
                </a:lnTo>
                <a:lnTo>
                  <a:pt x="126" y="234"/>
                </a:lnTo>
                <a:lnTo>
                  <a:pt x="126" y="234"/>
                </a:lnTo>
                <a:lnTo>
                  <a:pt x="126" y="234"/>
                </a:lnTo>
                <a:lnTo>
                  <a:pt x="126" y="234"/>
                </a:lnTo>
                <a:lnTo>
                  <a:pt x="126" y="234"/>
                </a:lnTo>
                <a:lnTo>
                  <a:pt x="126" y="234"/>
                </a:lnTo>
                <a:lnTo>
                  <a:pt x="126" y="234"/>
                </a:lnTo>
                <a:lnTo>
                  <a:pt x="132" y="234"/>
                </a:lnTo>
                <a:lnTo>
                  <a:pt x="132" y="234"/>
                </a:lnTo>
                <a:lnTo>
                  <a:pt x="132" y="234"/>
                </a:lnTo>
                <a:lnTo>
                  <a:pt x="132" y="234"/>
                </a:lnTo>
                <a:lnTo>
                  <a:pt x="132" y="240"/>
                </a:lnTo>
                <a:lnTo>
                  <a:pt x="132" y="240"/>
                </a:lnTo>
                <a:lnTo>
                  <a:pt x="132" y="240"/>
                </a:lnTo>
                <a:lnTo>
                  <a:pt x="132" y="240"/>
                </a:lnTo>
                <a:lnTo>
                  <a:pt x="138" y="246"/>
                </a:lnTo>
                <a:lnTo>
                  <a:pt x="138" y="246"/>
                </a:lnTo>
                <a:lnTo>
                  <a:pt x="138" y="246"/>
                </a:lnTo>
                <a:lnTo>
                  <a:pt x="144" y="246"/>
                </a:lnTo>
                <a:lnTo>
                  <a:pt x="144" y="246"/>
                </a:lnTo>
                <a:lnTo>
                  <a:pt x="144" y="246"/>
                </a:lnTo>
                <a:lnTo>
                  <a:pt x="144" y="246"/>
                </a:lnTo>
                <a:lnTo>
                  <a:pt x="144" y="252"/>
                </a:lnTo>
                <a:lnTo>
                  <a:pt x="144" y="252"/>
                </a:lnTo>
                <a:lnTo>
                  <a:pt x="150" y="252"/>
                </a:lnTo>
                <a:lnTo>
                  <a:pt x="150" y="252"/>
                </a:lnTo>
                <a:lnTo>
                  <a:pt x="150" y="252"/>
                </a:lnTo>
                <a:lnTo>
                  <a:pt x="150" y="252"/>
                </a:lnTo>
                <a:lnTo>
                  <a:pt x="150" y="252"/>
                </a:lnTo>
                <a:lnTo>
                  <a:pt x="150" y="252"/>
                </a:lnTo>
                <a:lnTo>
                  <a:pt x="156" y="252"/>
                </a:lnTo>
                <a:lnTo>
                  <a:pt x="156" y="252"/>
                </a:lnTo>
                <a:lnTo>
                  <a:pt x="156" y="252"/>
                </a:lnTo>
                <a:lnTo>
                  <a:pt x="156" y="252"/>
                </a:lnTo>
                <a:lnTo>
                  <a:pt x="156" y="252"/>
                </a:lnTo>
                <a:lnTo>
                  <a:pt x="156" y="252"/>
                </a:lnTo>
                <a:lnTo>
                  <a:pt x="156" y="252"/>
                </a:lnTo>
                <a:lnTo>
                  <a:pt x="156" y="258"/>
                </a:lnTo>
                <a:lnTo>
                  <a:pt x="156" y="252"/>
                </a:lnTo>
                <a:lnTo>
                  <a:pt x="156" y="258"/>
                </a:lnTo>
                <a:lnTo>
                  <a:pt x="156" y="258"/>
                </a:lnTo>
                <a:lnTo>
                  <a:pt x="156" y="258"/>
                </a:lnTo>
                <a:lnTo>
                  <a:pt x="156" y="258"/>
                </a:lnTo>
                <a:lnTo>
                  <a:pt x="156" y="258"/>
                </a:lnTo>
                <a:lnTo>
                  <a:pt x="162" y="258"/>
                </a:lnTo>
                <a:lnTo>
                  <a:pt x="162" y="258"/>
                </a:lnTo>
                <a:lnTo>
                  <a:pt x="162" y="258"/>
                </a:lnTo>
                <a:lnTo>
                  <a:pt x="162" y="258"/>
                </a:lnTo>
                <a:lnTo>
                  <a:pt x="162" y="258"/>
                </a:lnTo>
                <a:lnTo>
                  <a:pt x="168" y="252"/>
                </a:lnTo>
                <a:lnTo>
                  <a:pt x="168" y="258"/>
                </a:lnTo>
                <a:lnTo>
                  <a:pt x="168" y="258"/>
                </a:lnTo>
                <a:lnTo>
                  <a:pt x="168" y="258"/>
                </a:lnTo>
                <a:lnTo>
                  <a:pt x="168" y="252"/>
                </a:lnTo>
                <a:lnTo>
                  <a:pt x="168" y="252"/>
                </a:lnTo>
                <a:lnTo>
                  <a:pt x="168" y="252"/>
                </a:lnTo>
                <a:lnTo>
                  <a:pt x="174" y="258"/>
                </a:lnTo>
                <a:lnTo>
                  <a:pt x="174" y="258"/>
                </a:lnTo>
                <a:lnTo>
                  <a:pt x="174" y="258"/>
                </a:lnTo>
                <a:lnTo>
                  <a:pt x="174" y="258"/>
                </a:lnTo>
                <a:lnTo>
                  <a:pt x="180" y="258"/>
                </a:lnTo>
                <a:lnTo>
                  <a:pt x="174" y="258"/>
                </a:lnTo>
                <a:lnTo>
                  <a:pt x="180" y="258"/>
                </a:lnTo>
                <a:lnTo>
                  <a:pt x="180" y="258"/>
                </a:lnTo>
                <a:lnTo>
                  <a:pt x="180" y="258"/>
                </a:lnTo>
                <a:lnTo>
                  <a:pt x="180" y="258"/>
                </a:lnTo>
                <a:lnTo>
                  <a:pt x="180" y="264"/>
                </a:lnTo>
                <a:lnTo>
                  <a:pt x="180" y="264"/>
                </a:lnTo>
                <a:lnTo>
                  <a:pt x="180" y="264"/>
                </a:lnTo>
                <a:lnTo>
                  <a:pt x="180" y="264"/>
                </a:lnTo>
                <a:lnTo>
                  <a:pt x="186" y="264"/>
                </a:lnTo>
                <a:lnTo>
                  <a:pt x="186" y="264"/>
                </a:lnTo>
                <a:lnTo>
                  <a:pt x="186" y="264"/>
                </a:lnTo>
                <a:lnTo>
                  <a:pt x="186" y="264"/>
                </a:lnTo>
                <a:lnTo>
                  <a:pt x="186" y="264"/>
                </a:lnTo>
                <a:lnTo>
                  <a:pt x="186" y="270"/>
                </a:lnTo>
                <a:lnTo>
                  <a:pt x="186" y="270"/>
                </a:lnTo>
                <a:lnTo>
                  <a:pt x="186" y="270"/>
                </a:lnTo>
                <a:lnTo>
                  <a:pt x="192" y="270"/>
                </a:lnTo>
                <a:lnTo>
                  <a:pt x="192" y="270"/>
                </a:lnTo>
                <a:lnTo>
                  <a:pt x="192" y="270"/>
                </a:lnTo>
                <a:lnTo>
                  <a:pt x="192" y="270"/>
                </a:lnTo>
                <a:lnTo>
                  <a:pt x="192" y="276"/>
                </a:lnTo>
                <a:lnTo>
                  <a:pt x="192" y="276"/>
                </a:lnTo>
                <a:lnTo>
                  <a:pt x="192" y="276"/>
                </a:lnTo>
                <a:lnTo>
                  <a:pt x="192" y="276"/>
                </a:lnTo>
                <a:lnTo>
                  <a:pt x="192" y="276"/>
                </a:lnTo>
                <a:lnTo>
                  <a:pt x="198" y="276"/>
                </a:lnTo>
                <a:lnTo>
                  <a:pt x="198" y="276"/>
                </a:lnTo>
                <a:lnTo>
                  <a:pt x="198" y="276"/>
                </a:lnTo>
                <a:lnTo>
                  <a:pt x="198" y="276"/>
                </a:lnTo>
                <a:lnTo>
                  <a:pt x="198" y="276"/>
                </a:lnTo>
                <a:lnTo>
                  <a:pt x="198" y="276"/>
                </a:lnTo>
                <a:lnTo>
                  <a:pt x="198" y="276"/>
                </a:lnTo>
                <a:lnTo>
                  <a:pt x="204" y="276"/>
                </a:lnTo>
                <a:lnTo>
                  <a:pt x="204" y="276"/>
                </a:lnTo>
                <a:lnTo>
                  <a:pt x="204" y="276"/>
                </a:lnTo>
                <a:lnTo>
                  <a:pt x="204" y="276"/>
                </a:lnTo>
                <a:lnTo>
                  <a:pt x="210" y="276"/>
                </a:lnTo>
                <a:lnTo>
                  <a:pt x="210" y="276"/>
                </a:lnTo>
                <a:lnTo>
                  <a:pt x="210" y="276"/>
                </a:lnTo>
                <a:lnTo>
                  <a:pt x="210" y="276"/>
                </a:lnTo>
                <a:lnTo>
                  <a:pt x="210" y="276"/>
                </a:lnTo>
                <a:lnTo>
                  <a:pt x="210" y="282"/>
                </a:lnTo>
                <a:lnTo>
                  <a:pt x="210" y="282"/>
                </a:lnTo>
                <a:lnTo>
                  <a:pt x="210" y="282"/>
                </a:lnTo>
                <a:lnTo>
                  <a:pt x="210" y="282"/>
                </a:lnTo>
                <a:lnTo>
                  <a:pt x="216" y="282"/>
                </a:lnTo>
                <a:lnTo>
                  <a:pt x="216" y="282"/>
                </a:lnTo>
                <a:lnTo>
                  <a:pt x="216" y="282"/>
                </a:lnTo>
                <a:lnTo>
                  <a:pt x="216" y="282"/>
                </a:lnTo>
                <a:lnTo>
                  <a:pt x="216" y="282"/>
                </a:lnTo>
                <a:lnTo>
                  <a:pt x="222" y="288"/>
                </a:lnTo>
                <a:lnTo>
                  <a:pt x="222" y="288"/>
                </a:lnTo>
                <a:lnTo>
                  <a:pt x="222" y="288"/>
                </a:lnTo>
                <a:lnTo>
                  <a:pt x="222" y="288"/>
                </a:lnTo>
                <a:lnTo>
                  <a:pt x="222" y="288"/>
                </a:lnTo>
                <a:lnTo>
                  <a:pt x="222" y="288"/>
                </a:lnTo>
                <a:lnTo>
                  <a:pt x="228" y="288"/>
                </a:lnTo>
                <a:lnTo>
                  <a:pt x="228" y="294"/>
                </a:lnTo>
                <a:lnTo>
                  <a:pt x="228" y="294"/>
                </a:lnTo>
                <a:lnTo>
                  <a:pt x="228" y="294"/>
                </a:lnTo>
                <a:lnTo>
                  <a:pt x="228" y="294"/>
                </a:lnTo>
                <a:lnTo>
                  <a:pt x="228" y="300"/>
                </a:lnTo>
                <a:lnTo>
                  <a:pt x="234" y="300"/>
                </a:lnTo>
                <a:lnTo>
                  <a:pt x="234" y="300"/>
                </a:lnTo>
                <a:lnTo>
                  <a:pt x="228" y="306"/>
                </a:lnTo>
                <a:lnTo>
                  <a:pt x="228" y="312"/>
                </a:lnTo>
                <a:lnTo>
                  <a:pt x="228" y="312"/>
                </a:lnTo>
                <a:lnTo>
                  <a:pt x="228" y="312"/>
                </a:lnTo>
                <a:lnTo>
                  <a:pt x="228" y="306"/>
                </a:lnTo>
                <a:lnTo>
                  <a:pt x="222" y="306"/>
                </a:lnTo>
                <a:lnTo>
                  <a:pt x="222" y="306"/>
                </a:lnTo>
                <a:lnTo>
                  <a:pt x="222" y="312"/>
                </a:lnTo>
                <a:lnTo>
                  <a:pt x="222" y="312"/>
                </a:lnTo>
                <a:lnTo>
                  <a:pt x="216" y="312"/>
                </a:lnTo>
                <a:lnTo>
                  <a:pt x="216" y="312"/>
                </a:lnTo>
                <a:lnTo>
                  <a:pt x="216" y="312"/>
                </a:lnTo>
                <a:lnTo>
                  <a:pt x="216" y="312"/>
                </a:lnTo>
                <a:lnTo>
                  <a:pt x="216" y="312"/>
                </a:lnTo>
                <a:lnTo>
                  <a:pt x="216" y="312"/>
                </a:lnTo>
                <a:lnTo>
                  <a:pt x="210" y="318"/>
                </a:lnTo>
                <a:lnTo>
                  <a:pt x="216" y="318"/>
                </a:lnTo>
                <a:lnTo>
                  <a:pt x="210" y="318"/>
                </a:lnTo>
                <a:lnTo>
                  <a:pt x="210" y="318"/>
                </a:lnTo>
                <a:lnTo>
                  <a:pt x="210" y="318"/>
                </a:lnTo>
                <a:lnTo>
                  <a:pt x="204" y="318"/>
                </a:lnTo>
                <a:lnTo>
                  <a:pt x="204" y="324"/>
                </a:lnTo>
                <a:lnTo>
                  <a:pt x="204" y="324"/>
                </a:lnTo>
                <a:lnTo>
                  <a:pt x="204" y="324"/>
                </a:lnTo>
                <a:lnTo>
                  <a:pt x="204" y="324"/>
                </a:lnTo>
                <a:lnTo>
                  <a:pt x="204" y="324"/>
                </a:lnTo>
                <a:lnTo>
                  <a:pt x="204" y="330"/>
                </a:lnTo>
                <a:lnTo>
                  <a:pt x="204" y="330"/>
                </a:lnTo>
                <a:lnTo>
                  <a:pt x="198" y="330"/>
                </a:lnTo>
                <a:lnTo>
                  <a:pt x="198" y="330"/>
                </a:lnTo>
                <a:lnTo>
                  <a:pt x="198" y="330"/>
                </a:lnTo>
                <a:lnTo>
                  <a:pt x="192" y="330"/>
                </a:lnTo>
                <a:lnTo>
                  <a:pt x="192" y="330"/>
                </a:lnTo>
                <a:lnTo>
                  <a:pt x="192" y="330"/>
                </a:lnTo>
                <a:lnTo>
                  <a:pt x="192" y="330"/>
                </a:lnTo>
                <a:lnTo>
                  <a:pt x="186" y="330"/>
                </a:lnTo>
                <a:lnTo>
                  <a:pt x="186" y="330"/>
                </a:lnTo>
                <a:lnTo>
                  <a:pt x="180" y="330"/>
                </a:lnTo>
                <a:lnTo>
                  <a:pt x="180" y="330"/>
                </a:lnTo>
                <a:lnTo>
                  <a:pt x="180" y="330"/>
                </a:lnTo>
                <a:lnTo>
                  <a:pt x="174" y="330"/>
                </a:lnTo>
                <a:lnTo>
                  <a:pt x="174" y="330"/>
                </a:lnTo>
                <a:lnTo>
                  <a:pt x="174" y="330"/>
                </a:lnTo>
                <a:lnTo>
                  <a:pt x="180" y="336"/>
                </a:lnTo>
                <a:lnTo>
                  <a:pt x="180" y="336"/>
                </a:lnTo>
                <a:lnTo>
                  <a:pt x="180" y="336"/>
                </a:lnTo>
                <a:lnTo>
                  <a:pt x="180" y="336"/>
                </a:lnTo>
                <a:lnTo>
                  <a:pt x="180" y="342"/>
                </a:lnTo>
                <a:lnTo>
                  <a:pt x="186" y="342"/>
                </a:lnTo>
                <a:lnTo>
                  <a:pt x="186" y="342"/>
                </a:lnTo>
                <a:lnTo>
                  <a:pt x="186" y="342"/>
                </a:lnTo>
                <a:lnTo>
                  <a:pt x="186" y="342"/>
                </a:lnTo>
                <a:lnTo>
                  <a:pt x="186" y="342"/>
                </a:lnTo>
                <a:lnTo>
                  <a:pt x="186" y="342"/>
                </a:lnTo>
                <a:lnTo>
                  <a:pt x="186" y="342"/>
                </a:lnTo>
                <a:lnTo>
                  <a:pt x="186" y="348"/>
                </a:lnTo>
                <a:lnTo>
                  <a:pt x="186" y="348"/>
                </a:lnTo>
                <a:lnTo>
                  <a:pt x="186" y="348"/>
                </a:lnTo>
                <a:lnTo>
                  <a:pt x="192" y="348"/>
                </a:lnTo>
                <a:lnTo>
                  <a:pt x="192" y="354"/>
                </a:lnTo>
                <a:lnTo>
                  <a:pt x="192" y="354"/>
                </a:lnTo>
                <a:lnTo>
                  <a:pt x="192" y="354"/>
                </a:lnTo>
                <a:lnTo>
                  <a:pt x="192" y="360"/>
                </a:lnTo>
                <a:lnTo>
                  <a:pt x="192" y="360"/>
                </a:lnTo>
                <a:lnTo>
                  <a:pt x="192" y="360"/>
                </a:lnTo>
                <a:lnTo>
                  <a:pt x="192" y="366"/>
                </a:lnTo>
                <a:lnTo>
                  <a:pt x="186" y="366"/>
                </a:lnTo>
                <a:lnTo>
                  <a:pt x="186" y="366"/>
                </a:lnTo>
                <a:lnTo>
                  <a:pt x="186" y="372"/>
                </a:lnTo>
                <a:lnTo>
                  <a:pt x="186" y="372"/>
                </a:lnTo>
                <a:lnTo>
                  <a:pt x="186" y="372"/>
                </a:lnTo>
                <a:lnTo>
                  <a:pt x="186" y="372"/>
                </a:lnTo>
                <a:lnTo>
                  <a:pt x="180" y="378"/>
                </a:lnTo>
                <a:lnTo>
                  <a:pt x="180" y="378"/>
                </a:lnTo>
                <a:lnTo>
                  <a:pt x="174" y="384"/>
                </a:lnTo>
                <a:lnTo>
                  <a:pt x="174" y="384"/>
                </a:lnTo>
                <a:lnTo>
                  <a:pt x="174" y="384"/>
                </a:lnTo>
                <a:lnTo>
                  <a:pt x="174" y="390"/>
                </a:lnTo>
                <a:lnTo>
                  <a:pt x="168" y="390"/>
                </a:lnTo>
                <a:lnTo>
                  <a:pt x="168" y="390"/>
                </a:lnTo>
                <a:lnTo>
                  <a:pt x="168" y="390"/>
                </a:lnTo>
                <a:lnTo>
                  <a:pt x="162" y="390"/>
                </a:lnTo>
                <a:lnTo>
                  <a:pt x="156" y="396"/>
                </a:lnTo>
                <a:lnTo>
                  <a:pt x="156" y="390"/>
                </a:lnTo>
                <a:lnTo>
                  <a:pt x="150" y="390"/>
                </a:lnTo>
                <a:lnTo>
                  <a:pt x="150" y="390"/>
                </a:lnTo>
                <a:lnTo>
                  <a:pt x="150" y="390"/>
                </a:lnTo>
                <a:lnTo>
                  <a:pt x="150" y="396"/>
                </a:lnTo>
                <a:lnTo>
                  <a:pt x="144" y="390"/>
                </a:lnTo>
                <a:lnTo>
                  <a:pt x="144" y="390"/>
                </a:lnTo>
                <a:lnTo>
                  <a:pt x="144" y="390"/>
                </a:lnTo>
                <a:lnTo>
                  <a:pt x="144" y="396"/>
                </a:lnTo>
                <a:lnTo>
                  <a:pt x="144" y="396"/>
                </a:lnTo>
                <a:lnTo>
                  <a:pt x="144" y="396"/>
                </a:lnTo>
                <a:lnTo>
                  <a:pt x="144" y="396"/>
                </a:lnTo>
                <a:lnTo>
                  <a:pt x="144" y="396"/>
                </a:lnTo>
                <a:lnTo>
                  <a:pt x="144" y="396"/>
                </a:lnTo>
                <a:lnTo>
                  <a:pt x="144" y="396"/>
                </a:lnTo>
                <a:lnTo>
                  <a:pt x="144" y="396"/>
                </a:lnTo>
                <a:lnTo>
                  <a:pt x="150" y="402"/>
                </a:lnTo>
                <a:lnTo>
                  <a:pt x="150" y="402"/>
                </a:lnTo>
                <a:lnTo>
                  <a:pt x="150" y="402"/>
                </a:lnTo>
                <a:lnTo>
                  <a:pt x="150" y="402"/>
                </a:lnTo>
                <a:lnTo>
                  <a:pt x="150" y="402"/>
                </a:lnTo>
                <a:lnTo>
                  <a:pt x="150" y="408"/>
                </a:lnTo>
                <a:lnTo>
                  <a:pt x="150" y="402"/>
                </a:lnTo>
                <a:lnTo>
                  <a:pt x="150" y="408"/>
                </a:lnTo>
                <a:lnTo>
                  <a:pt x="150" y="408"/>
                </a:lnTo>
                <a:lnTo>
                  <a:pt x="150" y="408"/>
                </a:lnTo>
                <a:lnTo>
                  <a:pt x="150" y="408"/>
                </a:lnTo>
                <a:lnTo>
                  <a:pt x="150" y="408"/>
                </a:lnTo>
                <a:lnTo>
                  <a:pt x="150" y="414"/>
                </a:lnTo>
                <a:lnTo>
                  <a:pt x="150" y="414"/>
                </a:lnTo>
                <a:lnTo>
                  <a:pt x="150" y="414"/>
                </a:lnTo>
                <a:lnTo>
                  <a:pt x="150" y="414"/>
                </a:lnTo>
                <a:lnTo>
                  <a:pt x="150" y="414"/>
                </a:lnTo>
                <a:lnTo>
                  <a:pt x="150" y="414"/>
                </a:lnTo>
                <a:lnTo>
                  <a:pt x="150" y="414"/>
                </a:lnTo>
                <a:lnTo>
                  <a:pt x="156" y="420"/>
                </a:lnTo>
                <a:lnTo>
                  <a:pt x="156" y="420"/>
                </a:lnTo>
                <a:lnTo>
                  <a:pt x="156" y="414"/>
                </a:lnTo>
                <a:lnTo>
                  <a:pt x="156" y="414"/>
                </a:lnTo>
                <a:lnTo>
                  <a:pt x="156" y="414"/>
                </a:lnTo>
                <a:lnTo>
                  <a:pt x="156" y="420"/>
                </a:lnTo>
                <a:lnTo>
                  <a:pt x="156" y="420"/>
                </a:lnTo>
                <a:lnTo>
                  <a:pt x="162" y="420"/>
                </a:lnTo>
                <a:lnTo>
                  <a:pt x="162" y="420"/>
                </a:lnTo>
                <a:lnTo>
                  <a:pt x="162" y="420"/>
                </a:lnTo>
                <a:lnTo>
                  <a:pt x="162" y="420"/>
                </a:lnTo>
                <a:lnTo>
                  <a:pt x="162" y="420"/>
                </a:lnTo>
                <a:lnTo>
                  <a:pt x="162" y="420"/>
                </a:lnTo>
                <a:lnTo>
                  <a:pt x="162" y="420"/>
                </a:lnTo>
                <a:lnTo>
                  <a:pt x="162" y="426"/>
                </a:lnTo>
                <a:lnTo>
                  <a:pt x="162" y="426"/>
                </a:lnTo>
                <a:lnTo>
                  <a:pt x="162" y="426"/>
                </a:lnTo>
                <a:lnTo>
                  <a:pt x="162" y="426"/>
                </a:lnTo>
                <a:lnTo>
                  <a:pt x="168" y="426"/>
                </a:lnTo>
                <a:lnTo>
                  <a:pt x="168" y="426"/>
                </a:lnTo>
                <a:lnTo>
                  <a:pt x="168" y="426"/>
                </a:lnTo>
                <a:lnTo>
                  <a:pt x="168" y="426"/>
                </a:lnTo>
                <a:lnTo>
                  <a:pt x="174" y="426"/>
                </a:lnTo>
                <a:lnTo>
                  <a:pt x="174" y="426"/>
                </a:lnTo>
                <a:lnTo>
                  <a:pt x="174" y="432"/>
                </a:lnTo>
                <a:lnTo>
                  <a:pt x="174" y="432"/>
                </a:lnTo>
                <a:lnTo>
                  <a:pt x="174" y="426"/>
                </a:lnTo>
                <a:lnTo>
                  <a:pt x="174" y="432"/>
                </a:lnTo>
                <a:lnTo>
                  <a:pt x="174" y="426"/>
                </a:lnTo>
                <a:lnTo>
                  <a:pt x="174" y="426"/>
                </a:lnTo>
                <a:lnTo>
                  <a:pt x="174" y="432"/>
                </a:lnTo>
                <a:lnTo>
                  <a:pt x="180" y="432"/>
                </a:lnTo>
                <a:lnTo>
                  <a:pt x="180" y="432"/>
                </a:lnTo>
                <a:lnTo>
                  <a:pt x="180" y="432"/>
                </a:lnTo>
                <a:lnTo>
                  <a:pt x="180" y="432"/>
                </a:lnTo>
                <a:lnTo>
                  <a:pt x="180" y="432"/>
                </a:lnTo>
                <a:lnTo>
                  <a:pt x="180" y="432"/>
                </a:lnTo>
                <a:lnTo>
                  <a:pt x="180" y="438"/>
                </a:lnTo>
                <a:lnTo>
                  <a:pt x="180" y="438"/>
                </a:lnTo>
                <a:lnTo>
                  <a:pt x="180" y="438"/>
                </a:lnTo>
                <a:lnTo>
                  <a:pt x="180" y="438"/>
                </a:lnTo>
                <a:lnTo>
                  <a:pt x="180" y="444"/>
                </a:lnTo>
                <a:lnTo>
                  <a:pt x="186" y="444"/>
                </a:lnTo>
                <a:lnTo>
                  <a:pt x="186" y="444"/>
                </a:lnTo>
                <a:lnTo>
                  <a:pt x="186" y="444"/>
                </a:lnTo>
                <a:lnTo>
                  <a:pt x="186" y="444"/>
                </a:lnTo>
                <a:lnTo>
                  <a:pt x="186" y="444"/>
                </a:lnTo>
                <a:lnTo>
                  <a:pt x="186" y="444"/>
                </a:lnTo>
                <a:lnTo>
                  <a:pt x="186" y="444"/>
                </a:lnTo>
                <a:lnTo>
                  <a:pt x="186" y="450"/>
                </a:lnTo>
                <a:lnTo>
                  <a:pt x="186" y="450"/>
                </a:lnTo>
                <a:lnTo>
                  <a:pt x="180" y="450"/>
                </a:lnTo>
                <a:lnTo>
                  <a:pt x="180" y="450"/>
                </a:lnTo>
                <a:lnTo>
                  <a:pt x="180" y="456"/>
                </a:lnTo>
                <a:lnTo>
                  <a:pt x="180" y="456"/>
                </a:lnTo>
                <a:lnTo>
                  <a:pt x="180" y="456"/>
                </a:lnTo>
                <a:lnTo>
                  <a:pt x="180" y="462"/>
                </a:lnTo>
                <a:lnTo>
                  <a:pt x="180" y="462"/>
                </a:lnTo>
                <a:lnTo>
                  <a:pt x="180" y="462"/>
                </a:lnTo>
                <a:lnTo>
                  <a:pt x="180" y="462"/>
                </a:lnTo>
                <a:lnTo>
                  <a:pt x="180" y="462"/>
                </a:lnTo>
                <a:lnTo>
                  <a:pt x="180" y="462"/>
                </a:lnTo>
                <a:lnTo>
                  <a:pt x="180" y="468"/>
                </a:lnTo>
                <a:lnTo>
                  <a:pt x="186" y="468"/>
                </a:lnTo>
                <a:lnTo>
                  <a:pt x="186" y="468"/>
                </a:lnTo>
                <a:lnTo>
                  <a:pt x="186" y="468"/>
                </a:lnTo>
                <a:lnTo>
                  <a:pt x="186" y="468"/>
                </a:lnTo>
                <a:lnTo>
                  <a:pt x="186" y="468"/>
                </a:lnTo>
                <a:lnTo>
                  <a:pt x="186" y="468"/>
                </a:lnTo>
                <a:lnTo>
                  <a:pt x="192" y="468"/>
                </a:lnTo>
                <a:lnTo>
                  <a:pt x="192" y="474"/>
                </a:lnTo>
                <a:lnTo>
                  <a:pt x="192" y="474"/>
                </a:lnTo>
                <a:lnTo>
                  <a:pt x="192" y="474"/>
                </a:lnTo>
                <a:lnTo>
                  <a:pt x="192" y="474"/>
                </a:lnTo>
                <a:lnTo>
                  <a:pt x="192" y="474"/>
                </a:lnTo>
                <a:lnTo>
                  <a:pt x="192" y="474"/>
                </a:lnTo>
                <a:lnTo>
                  <a:pt x="198" y="474"/>
                </a:lnTo>
                <a:lnTo>
                  <a:pt x="198" y="480"/>
                </a:lnTo>
                <a:lnTo>
                  <a:pt x="198" y="480"/>
                </a:lnTo>
                <a:lnTo>
                  <a:pt x="198" y="480"/>
                </a:lnTo>
                <a:lnTo>
                  <a:pt x="192" y="480"/>
                </a:lnTo>
                <a:lnTo>
                  <a:pt x="198" y="480"/>
                </a:lnTo>
                <a:lnTo>
                  <a:pt x="192" y="486"/>
                </a:lnTo>
                <a:lnTo>
                  <a:pt x="192" y="486"/>
                </a:lnTo>
                <a:lnTo>
                  <a:pt x="192" y="486"/>
                </a:lnTo>
                <a:lnTo>
                  <a:pt x="192" y="486"/>
                </a:lnTo>
                <a:lnTo>
                  <a:pt x="192" y="486"/>
                </a:lnTo>
                <a:lnTo>
                  <a:pt x="192" y="486"/>
                </a:lnTo>
                <a:lnTo>
                  <a:pt x="192" y="486"/>
                </a:lnTo>
                <a:lnTo>
                  <a:pt x="192" y="492"/>
                </a:lnTo>
                <a:lnTo>
                  <a:pt x="192" y="492"/>
                </a:lnTo>
                <a:lnTo>
                  <a:pt x="192" y="492"/>
                </a:lnTo>
                <a:lnTo>
                  <a:pt x="192" y="492"/>
                </a:lnTo>
                <a:lnTo>
                  <a:pt x="186" y="498"/>
                </a:lnTo>
                <a:lnTo>
                  <a:pt x="186" y="498"/>
                </a:lnTo>
                <a:lnTo>
                  <a:pt x="186" y="504"/>
                </a:lnTo>
                <a:lnTo>
                  <a:pt x="180" y="504"/>
                </a:lnTo>
                <a:lnTo>
                  <a:pt x="180" y="504"/>
                </a:lnTo>
                <a:lnTo>
                  <a:pt x="180" y="510"/>
                </a:lnTo>
                <a:lnTo>
                  <a:pt x="180" y="510"/>
                </a:lnTo>
                <a:lnTo>
                  <a:pt x="180" y="510"/>
                </a:lnTo>
                <a:lnTo>
                  <a:pt x="180" y="510"/>
                </a:lnTo>
                <a:lnTo>
                  <a:pt x="180" y="516"/>
                </a:lnTo>
                <a:lnTo>
                  <a:pt x="180" y="516"/>
                </a:lnTo>
                <a:lnTo>
                  <a:pt x="180" y="516"/>
                </a:lnTo>
                <a:lnTo>
                  <a:pt x="180" y="516"/>
                </a:lnTo>
                <a:lnTo>
                  <a:pt x="180" y="522"/>
                </a:lnTo>
                <a:lnTo>
                  <a:pt x="186" y="522"/>
                </a:lnTo>
                <a:lnTo>
                  <a:pt x="186" y="522"/>
                </a:lnTo>
                <a:lnTo>
                  <a:pt x="180" y="528"/>
                </a:lnTo>
                <a:lnTo>
                  <a:pt x="180" y="528"/>
                </a:lnTo>
                <a:lnTo>
                  <a:pt x="168" y="522"/>
                </a:lnTo>
                <a:lnTo>
                  <a:pt x="150" y="510"/>
                </a:lnTo>
                <a:lnTo>
                  <a:pt x="150" y="510"/>
                </a:lnTo>
                <a:lnTo>
                  <a:pt x="108" y="492"/>
                </a:lnTo>
                <a:lnTo>
                  <a:pt x="108" y="486"/>
                </a:lnTo>
                <a:lnTo>
                  <a:pt x="108" y="486"/>
                </a:lnTo>
                <a:lnTo>
                  <a:pt x="108" y="486"/>
                </a:lnTo>
                <a:lnTo>
                  <a:pt x="102" y="486"/>
                </a:lnTo>
                <a:lnTo>
                  <a:pt x="102" y="486"/>
                </a:lnTo>
                <a:lnTo>
                  <a:pt x="96" y="486"/>
                </a:lnTo>
                <a:lnTo>
                  <a:pt x="96" y="486"/>
                </a:lnTo>
                <a:lnTo>
                  <a:pt x="96" y="486"/>
                </a:lnTo>
                <a:lnTo>
                  <a:pt x="90" y="486"/>
                </a:lnTo>
                <a:lnTo>
                  <a:pt x="90" y="486"/>
                </a:lnTo>
                <a:lnTo>
                  <a:pt x="90" y="480"/>
                </a:lnTo>
                <a:lnTo>
                  <a:pt x="90" y="480"/>
                </a:lnTo>
                <a:lnTo>
                  <a:pt x="84" y="480"/>
                </a:lnTo>
                <a:lnTo>
                  <a:pt x="84" y="480"/>
                </a:lnTo>
                <a:lnTo>
                  <a:pt x="84" y="480"/>
                </a:lnTo>
                <a:lnTo>
                  <a:pt x="78" y="480"/>
                </a:lnTo>
                <a:lnTo>
                  <a:pt x="78" y="480"/>
                </a:lnTo>
                <a:lnTo>
                  <a:pt x="78" y="480"/>
                </a:lnTo>
                <a:lnTo>
                  <a:pt x="72" y="480"/>
                </a:lnTo>
                <a:lnTo>
                  <a:pt x="72" y="480"/>
                </a:lnTo>
                <a:lnTo>
                  <a:pt x="72" y="480"/>
                </a:lnTo>
                <a:lnTo>
                  <a:pt x="72" y="480"/>
                </a:lnTo>
                <a:lnTo>
                  <a:pt x="72" y="480"/>
                </a:lnTo>
                <a:lnTo>
                  <a:pt x="72" y="480"/>
                </a:lnTo>
                <a:lnTo>
                  <a:pt x="72" y="480"/>
                </a:lnTo>
                <a:lnTo>
                  <a:pt x="72" y="474"/>
                </a:lnTo>
                <a:lnTo>
                  <a:pt x="72" y="474"/>
                </a:lnTo>
                <a:lnTo>
                  <a:pt x="66" y="474"/>
                </a:lnTo>
                <a:lnTo>
                  <a:pt x="66" y="474"/>
                </a:lnTo>
                <a:lnTo>
                  <a:pt x="66" y="474"/>
                </a:lnTo>
                <a:lnTo>
                  <a:pt x="66" y="474"/>
                </a:lnTo>
                <a:lnTo>
                  <a:pt x="66" y="474"/>
                </a:lnTo>
                <a:lnTo>
                  <a:pt x="66" y="474"/>
                </a:lnTo>
                <a:lnTo>
                  <a:pt x="66" y="474"/>
                </a:lnTo>
                <a:lnTo>
                  <a:pt x="66" y="474"/>
                </a:lnTo>
                <a:lnTo>
                  <a:pt x="60" y="474"/>
                </a:lnTo>
                <a:lnTo>
                  <a:pt x="66" y="474"/>
                </a:lnTo>
                <a:lnTo>
                  <a:pt x="60" y="474"/>
                </a:lnTo>
                <a:lnTo>
                  <a:pt x="60" y="474"/>
                </a:lnTo>
                <a:lnTo>
                  <a:pt x="60" y="474"/>
                </a:lnTo>
                <a:lnTo>
                  <a:pt x="60" y="474"/>
                </a:lnTo>
                <a:lnTo>
                  <a:pt x="60" y="474"/>
                </a:lnTo>
                <a:lnTo>
                  <a:pt x="60" y="474"/>
                </a:lnTo>
                <a:lnTo>
                  <a:pt x="60" y="474"/>
                </a:lnTo>
                <a:lnTo>
                  <a:pt x="60" y="468"/>
                </a:lnTo>
                <a:lnTo>
                  <a:pt x="60" y="468"/>
                </a:lnTo>
                <a:lnTo>
                  <a:pt x="60" y="468"/>
                </a:lnTo>
                <a:lnTo>
                  <a:pt x="60" y="468"/>
                </a:lnTo>
                <a:lnTo>
                  <a:pt x="60" y="468"/>
                </a:lnTo>
                <a:lnTo>
                  <a:pt x="60" y="468"/>
                </a:lnTo>
                <a:lnTo>
                  <a:pt x="54" y="468"/>
                </a:lnTo>
                <a:lnTo>
                  <a:pt x="54" y="468"/>
                </a:lnTo>
                <a:lnTo>
                  <a:pt x="60" y="462"/>
                </a:lnTo>
                <a:lnTo>
                  <a:pt x="60" y="462"/>
                </a:lnTo>
                <a:lnTo>
                  <a:pt x="60" y="462"/>
                </a:lnTo>
                <a:lnTo>
                  <a:pt x="60" y="462"/>
                </a:lnTo>
                <a:lnTo>
                  <a:pt x="60" y="462"/>
                </a:lnTo>
                <a:lnTo>
                  <a:pt x="60" y="462"/>
                </a:lnTo>
                <a:lnTo>
                  <a:pt x="60" y="456"/>
                </a:lnTo>
                <a:lnTo>
                  <a:pt x="60" y="456"/>
                </a:lnTo>
                <a:lnTo>
                  <a:pt x="60" y="456"/>
                </a:lnTo>
                <a:lnTo>
                  <a:pt x="60" y="456"/>
                </a:lnTo>
                <a:lnTo>
                  <a:pt x="60" y="456"/>
                </a:lnTo>
                <a:lnTo>
                  <a:pt x="60" y="456"/>
                </a:lnTo>
                <a:lnTo>
                  <a:pt x="60" y="456"/>
                </a:lnTo>
                <a:lnTo>
                  <a:pt x="60" y="450"/>
                </a:lnTo>
                <a:lnTo>
                  <a:pt x="60" y="450"/>
                </a:lnTo>
                <a:lnTo>
                  <a:pt x="60" y="450"/>
                </a:lnTo>
                <a:lnTo>
                  <a:pt x="60" y="450"/>
                </a:lnTo>
                <a:lnTo>
                  <a:pt x="60" y="450"/>
                </a:lnTo>
                <a:lnTo>
                  <a:pt x="60" y="450"/>
                </a:lnTo>
                <a:lnTo>
                  <a:pt x="60" y="450"/>
                </a:lnTo>
                <a:lnTo>
                  <a:pt x="60" y="450"/>
                </a:lnTo>
                <a:lnTo>
                  <a:pt x="60" y="450"/>
                </a:lnTo>
                <a:lnTo>
                  <a:pt x="60" y="450"/>
                </a:lnTo>
                <a:lnTo>
                  <a:pt x="60" y="450"/>
                </a:lnTo>
                <a:lnTo>
                  <a:pt x="60" y="450"/>
                </a:lnTo>
                <a:lnTo>
                  <a:pt x="60" y="450"/>
                </a:lnTo>
                <a:lnTo>
                  <a:pt x="60" y="450"/>
                </a:lnTo>
                <a:lnTo>
                  <a:pt x="60" y="450"/>
                </a:lnTo>
                <a:lnTo>
                  <a:pt x="66" y="444"/>
                </a:lnTo>
                <a:lnTo>
                  <a:pt x="66" y="444"/>
                </a:lnTo>
                <a:lnTo>
                  <a:pt x="66" y="444"/>
                </a:lnTo>
                <a:lnTo>
                  <a:pt x="66" y="444"/>
                </a:lnTo>
                <a:lnTo>
                  <a:pt x="66" y="444"/>
                </a:lnTo>
                <a:lnTo>
                  <a:pt x="66" y="444"/>
                </a:lnTo>
                <a:lnTo>
                  <a:pt x="66" y="438"/>
                </a:lnTo>
                <a:lnTo>
                  <a:pt x="66" y="438"/>
                </a:lnTo>
                <a:lnTo>
                  <a:pt x="66" y="438"/>
                </a:lnTo>
                <a:lnTo>
                  <a:pt x="66" y="438"/>
                </a:lnTo>
                <a:lnTo>
                  <a:pt x="66" y="438"/>
                </a:lnTo>
                <a:lnTo>
                  <a:pt x="66" y="438"/>
                </a:lnTo>
                <a:lnTo>
                  <a:pt x="72" y="438"/>
                </a:lnTo>
                <a:lnTo>
                  <a:pt x="72" y="438"/>
                </a:lnTo>
                <a:lnTo>
                  <a:pt x="72" y="438"/>
                </a:lnTo>
                <a:lnTo>
                  <a:pt x="72" y="432"/>
                </a:lnTo>
                <a:lnTo>
                  <a:pt x="72" y="432"/>
                </a:lnTo>
                <a:lnTo>
                  <a:pt x="72" y="432"/>
                </a:lnTo>
                <a:lnTo>
                  <a:pt x="72" y="438"/>
                </a:lnTo>
                <a:lnTo>
                  <a:pt x="72" y="438"/>
                </a:lnTo>
                <a:lnTo>
                  <a:pt x="72" y="432"/>
                </a:lnTo>
                <a:lnTo>
                  <a:pt x="66" y="432"/>
                </a:lnTo>
                <a:lnTo>
                  <a:pt x="66" y="432"/>
                </a:lnTo>
                <a:lnTo>
                  <a:pt x="66" y="432"/>
                </a:lnTo>
                <a:lnTo>
                  <a:pt x="72" y="426"/>
                </a:lnTo>
                <a:lnTo>
                  <a:pt x="72" y="426"/>
                </a:lnTo>
                <a:lnTo>
                  <a:pt x="72" y="426"/>
                </a:lnTo>
                <a:lnTo>
                  <a:pt x="72" y="420"/>
                </a:lnTo>
                <a:lnTo>
                  <a:pt x="72" y="420"/>
                </a:lnTo>
                <a:lnTo>
                  <a:pt x="72" y="420"/>
                </a:lnTo>
                <a:lnTo>
                  <a:pt x="72" y="420"/>
                </a:lnTo>
                <a:lnTo>
                  <a:pt x="72" y="420"/>
                </a:lnTo>
                <a:lnTo>
                  <a:pt x="78" y="420"/>
                </a:lnTo>
                <a:lnTo>
                  <a:pt x="78" y="420"/>
                </a:lnTo>
                <a:lnTo>
                  <a:pt x="78" y="420"/>
                </a:lnTo>
                <a:lnTo>
                  <a:pt x="78" y="420"/>
                </a:lnTo>
                <a:lnTo>
                  <a:pt x="78" y="414"/>
                </a:lnTo>
                <a:lnTo>
                  <a:pt x="78" y="414"/>
                </a:lnTo>
                <a:lnTo>
                  <a:pt x="72" y="414"/>
                </a:lnTo>
                <a:lnTo>
                  <a:pt x="72" y="414"/>
                </a:lnTo>
                <a:lnTo>
                  <a:pt x="72" y="420"/>
                </a:lnTo>
                <a:lnTo>
                  <a:pt x="72" y="420"/>
                </a:lnTo>
                <a:lnTo>
                  <a:pt x="72" y="420"/>
                </a:lnTo>
                <a:lnTo>
                  <a:pt x="72" y="414"/>
                </a:lnTo>
                <a:lnTo>
                  <a:pt x="72" y="414"/>
                </a:lnTo>
                <a:lnTo>
                  <a:pt x="72" y="414"/>
                </a:lnTo>
                <a:lnTo>
                  <a:pt x="72" y="420"/>
                </a:lnTo>
                <a:lnTo>
                  <a:pt x="72" y="420"/>
                </a:lnTo>
                <a:lnTo>
                  <a:pt x="72" y="420"/>
                </a:lnTo>
                <a:lnTo>
                  <a:pt x="72" y="420"/>
                </a:lnTo>
                <a:lnTo>
                  <a:pt x="72" y="420"/>
                </a:lnTo>
                <a:lnTo>
                  <a:pt x="72" y="420"/>
                </a:lnTo>
                <a:lnTo>
                  <a:pt x="72" y="420"/>
                </a:lnTo>
                <a:lnTo>
                  <a:pt x="72" y="420"/>
                </a:lnTo>
                <a:lnTo>
                  <a:pt x="66" y="420"/>
                </a:lnTo>
                <a:lnTo>
                  <a:pt x="66" y="420"/>
                </a:lnTo>
                <a:lnTo>
                  <a:pt x="66" y="420"/>
                </a:lnTo>
                <a:lnTo>
                  <a:pt x="66" y="426"/>
                </a:lnTo>
                <a:lnTo>
                  <a:pt x="60" y="426"/>
                </a:lnTo>
                <a:lnTo>
                  <a:pt x="60" y="426"/>
                </a:lnTo>
                <a:lnTo>
                  <a:pt x="60" y="426"/>
                </a:lnTo>
                <a:lnTo>
                  <a:pt x="60" y="426"/>
                </a:lnTo>
                <a:lnTo>
                  <a:pt x="54" y="426"/>
                </a:lnTo>
                <a:lnTo>
                  <a:pt x="54" y="426"/>
                </a:lnTo>
                <a:lnTo>
                  <a:pt x="54" y="426"/>
                </a:lnTo>
                <a:lnTo>
                  <a:pt x="54" y="426"/>
                </a:lnTo>
                <a:lnTo>
                  <a:pt x="54" y="432"/>
                </a:lnTo>
                <a:lnTo>
                  <a:pt x="54" y="432"/>
                </a:lnTo>
                <a:lnTo>
                  <a:pt x="54" y="432"/>
                </a:lnTo>
                <a:lnTo>
                  <a:pt x="54" y="432"/>
                </a:lnTo>
                <a:lnTo>
                  <a:pt x="54" y="432"/>
                </a:lnTo>
                <a:lnTo>
                  <a:pt x="54" y="432"/>
                </a:lnTo>
                <a:lnTo>
                  <a:pt x="54" y="432"/>
                </a:lnTo>
                <a:lnTo>
                  <a:pt x="54" y="432"/>
                </a:lnTo>
                <a:lnTo>
                  <a:pt x="54" y="432"/>
                </a:lnTo>
                <a:lnTo>
                  <a:pt x="48" y="432"/>
                </a:lnTo>
                <a:lnTo>
                  <a:pt x="48" y="432"/>
                </a:lnTo>
                <a:lnTo>
                  <a:pt x="48" y="432"/>
                </a:lnTo>
                <a:lnTo>
                  <a:pt x="48" y="432"/>
                </a:lnTo>
                <a:lnTo>
                  <a:pt x="48" y="438"/>
                </a:lnTo>
                <a:lnTo>
                  <a:pt x="48" y="438"/>
                </a:lnTo>
                <a:lnTo>
                  <a:pt x="48" y="438"/>
                </a:lnTo>
                <a:lnTo>
                  <a:pt x="48" y="438"/>
                </a:lnTo>
                <a:lnTo>
                  <a:pt x="48" y="438"/>
                </a:lnTo>
                <a:lnTo>
                  <a:pt x="48" y="438"/>
                </a:lnTo>
                <a:lnTo>
                  <a:pt x="48" y="444"/>
                </a:lnTo>
                <a:lnTo>
                  <a:pt x="48" y="444"/>
                </a:lnTo>
                <a:lnTo>
                  <a:pt x="42" y="444"/>
                </a:lnTo>
                <a:lnTo>
                  <a:pt x="42" y="444"/>
                </a:lnTo>
                <a:lnTo>
                  <a:pt x="42" y="444"/>
                </a:lnTo>
                <a:lnTo>
                  <a:pt x="42" y="444"/>
                </a:lnTo>
                <a:lnTo>
                  <a:pt x="42" y="450"/>
                </a:lnTo>
                <a:lnTo>
                  <a:pt x="42" y="444"/>
                </a:lnTo>
                <a:lnTo>
                  <a:pt x="42" y="450"/>
                </a:lnTo>
                <a:lnTo>
                  <a:pt x="42" y="450"/>
                </a:lnTo>
                <a:lnTo>
                  <a:pt x="42" y="450"/>
                </a:lnTo>
                <a:lnTo>
                  <a:pt x="42" y="450"/>
                </a:lnTo>
                <a:lnTo>
                  <a:pt x="42" y="450"/>
                </a:lnTo>
                <a:lnTo>
                  <a:pt x="42" y="450"/>
                </a:lnTo>
                <a:lnTo>
                  <a:pt x="42" y="450"/>
                </a:lnTo>
                <a:lnTo>
                  <a:pt x="42" y="450"/>
                </a:lnTo>
                <a:lnTo>
                  <a:pt x="42" y="450"/>
                </a:lnTo>
                <a:lnTo>
                  <a:pt x="42" y="450"/>
                </a:lnTo>
                <a:lnTo>
                  <a:pt x="42" y="450"/>
                </a:lnTo>
                <a:lnTo>
                  <a:pt x="42" y="450"/>
                </a:lnTo>
                <a:lnTo>
                  <a:pt x="42" y="456"/>
                </a:lnTo>
                <a:lnTo>
                  <a:pt x="36" y="450"/>
                </a:lnTo>
                <a:lnTo>
                  <a:pt x="36" y="456"/>
                </a:lnTo>
                <a:lnTo>
                  <a:pt x="36" y="456"/>
                </a:lnTo>
                <a:lnTo>
                  <a:pt x="36" y="456"/>
                </a:lnTo>
                <a:lnTo>
                  <a:pt x="36" y="456"/>
                </a:lnTo>
                <a:lnTo>
                  <a:pt x="36" y="456"/>
                </a:lnTo>
                <a:lnTo>
                  <a:pt x="36" y="456"/>
                </a:lnTo>
                <a:lnTo>
                  <a:pt x="36" y="456"/>
                </a:lnTo>
                <a:lnTo>
                  <a:pt x="36" y="462"/>
                </a:lnTo>
                <a:lnTo>
                  <a:pt x="36" y="462"/>
                </a:lnTo>
                <a:lnTo>
                  <a:pt x="36" y="462"/>
                </a:lnTo>
                <a:lnTo>
                  <a:pt x="36" y="462"/>
                </a:lnTo>
                <a:lnTo>
                  <a:pt x="36" y="462"/>
                </a:lnTo>
                <a:lnTo>
                  <a:pt x="36" y="462"/>
                </a:lnTo>
                <a:lnTo>
                  <a:pt x="36" y="462"/>
                </a:lnTo>
                <a:lnTo>
                  <a:pt x="30" y="462"/>
                </a:lnTo>
                <a:lnTo>
                  <a:pt x="36" y="468"/>
                </a:lnTo>
                <a:lnTo>
                  <a:pt x="36" y="468"/>
                </a:lnTo>
                <a:lnTo>
                  <a:pt x="30" y="468"/>
                </a:lnTo>
                <a:lnTo>
                  <a:pt x="36" y="468"/>
                </a:lnTo>
                <a:lnTo>
                  <a:pt x="30" y="474"/>
                </a:lnTo>
                <a:lnTo>
                  <a:pt x="30" y="474"/>
                </a:lnTo>
                <a:lnTo>
                  <a:pt x="30" y="474"/>
                </a:lnTo>
                <a:lnTo>
                  <a:pt x="30" y="474"/>
                </a:lnTo>
                <a:lnTo>
                  <a:pt x="30" y="474"/>
                </a:lnTo>
                <a:lnTo>
                  <a:pt x="24" y="474"/>
                </a:lnTo>
                <a:lnTo>
                  <a:pt x="18" y="468"/>
                </a:lnTo>
                <a:lnTo>
                  <a:pt x="18" y="468"/>
                </a:lnTo>
                <a:lnTo>
                  <a:pt x="24" y="468"/>
                </a:lnTo>
                <a:lnTo>
                  <a:pt x="24" y="468"/>
                </a:lnTo>
                <a:lnTo>
                  <a:pt x="24" y="468"/>
                </a:lnTo>
                <a:lnTo>
                  <a:pt x="24" y="468"/>
                </a:lnTo>
                <a:lnTo>
                  <a:pt x="24" y="468"/>
                </a:lnTo>
                <a:lnTo>
                  <a:pt x="18" y="468"/>
                </a:lnTo>
                <a:lnTo>
                  <a:pt x="18" y="468"/>
                </a:lnTo>
                <a:lnTo>
                  <a:pt x="18" y="468"/>
                </a:lnTo>
                <a:lnTo>
                  <a:pt x="18" y="468"/>
                </a:lnTo>
                <a:lnTo>
                  <a:pt x="18" y="468"/>
                </a:lnTo>
                <a:lnTo>
                  <a:pt x="18" y="468"/>
                </a:lnTo>
                <a:lnTo>
                  <a:pt x="18" y="462"/>
                </a:lnTo>
                <a:lnTo>
                  <a:pt x="18" y="462"/>
                </a:lnTo>
                <a:lnTo>
                  <a:pt x="18" y="462"/>
                </a:lnTo>
                <a:lnTo>
                  <a:pt x="12" y="462"/>
                </a:lnTo>
                <a:lnTo>
                  <a:pt x="18" y="462"/>
                </a:lnTo>
                <a:lnTo>
                  <a:pt x="18" y="456"/>
                </a:lnTo>
                <a:lnTo>
                  <a:pt x="12" y="456"/>
                </a:lnTo>
                <a:lnTo>
                  <a:pt x="18" y="456"/>
                </a:lnTo>
                <a:lnTo>
                  <a:pt x="12" y="456"/>
                </a:lnTo>
                <a:lnTo>
                  <a:pt x="12" y="456"/>
                </a:lnTo>
                <a:lnTo>
                  <a:pt x="12" y="450"/>
                </a:lnTo>
                <a:lnTo>
                  <a:pt x="12" y="450"/>
                </a:lnTo>
                <a:lnTo>
                  <a:pt x="12" y="450"/>
                </a:lnTo>
                <a:lnTo>
                  <a:pt x="12" y="450"/>
                </a:lnTo>
                <a:lnTo>
                  <a:pt x="12" y="444"/>
                </a:lnTo>
                <a:lnTo>
                  <a:pt x="6" y="444"/>
                </a:lnTo>
                <a:lnTo>
                  <a:pt x="6" y="444"/>
                </a:lnTo>
                <a:lnTo>
                  <a:pt x="6" y="444"/>
                </a:lnTo>
                <a:lnTo>
                  <a:pt x="6" y="438"/>
                </a:lnTo>
                <a:lnTo>
                  <a:pt x="6" y="438"/>
                </a:lnTo>
                <a:lnTo>
                  <a:pt x="12" y="438"/>
                </a:lnTo>
                <a:lnTo>
                  <a:pt x="12" y="438"/>
                </a:lnTo>
                <a:lnTo>
                  <a:pt x="12" y="438"/>
                </a:lnTo>
                <a:lnTo>
                  <a:pt x="6" y="438"/>
                </a:lnTo>
                <a:lnTo>
                  <a:pt x="6" y="432"/>
                </a:lnTo>
                <a:lnTo>
                  <a:pt x="12" y="432"/>
                </a:lnTo>
                <a:lnTo>
                  <a:pt x="12" y="426"/>
                </a:lnTo>
                <a:lnTo>
                  <a:pt x="12" y="426"/>
                </a:lnTo>
                <a:lnTo>
                  <a:pt x="12" y="420"/>
                </a:lnTo>
                <a:lnTo>
                  <a:pt x="12" y="420"/>
                </a:lnTo>
                <a:lnTo>
                  <a:pt x="18" y="420"/>
                </a:lnTo>
                <a:lnTo>
                  <a:pt x="18" y="420"/>
                </a:lnTo>
                <a:lnTo>
                  <a:pt x="18" y="420"/>
                </a:lnTo>
                <a:lnTo>
                  <a:pt x="18" y="420"/>
                </a:lnTo>
                <a:lnTo>
                  <a:pt x="12" y="414"/>
                </a:lnTo>
                <a:lnTo>
                  <a:pt x="18" y="414"/>
                </a:lnTo>
                <a:lnTo>
                  <a:pt x="12" y="408"/>
                </a:lnTo>
                <a:lnTo>
                  <a:pt x="12" y="408"/>
                </a:lnTo>
                <a:lnTo>
                  <a:pt x="12" y="402"/>
                </a:lnTo>
                <a:lnTo>
                  <a:pt x="12" y="402"/>
                </a:lnTo>
                <a:lnTo>
                  <a:pt x="12" y="402"/>
                </a:lnTo>
                <a:lnTo>
                  <a:pt x="12" y="402"/>
                </a:lnTo>
                <a:lnTo>
                  <a:pt x="18" y="396"/>
                </a:lnTo>
                <a:lnTo>
                  <a:pt x="18" y="396"/>
                </a:lnTo>
                <a:lnTo>
                  <a:pt x="12" y="396"/>
                </a:lnTo>
                <a:lnTo>
                  <a:pt x="12" y="396"/>
                </a:lnTo>
                <a:lnTo>
                  <a:pt x="12" y="390"/>
                </a:lnTo>
                <a:lnTo>
                  <a:pt x="12" y="390"/>
                </a:lnTo>
                <a:lnTo>
                  <a:pt x="6" y="390"/>
                </a:lnTo>
                <a:lnTo>
                  <a:pt x="6" y="390"/>
                </a:lnTo>
                <a:lnTo>
                  <a:pt x="6" y="384"/>
                </a:lnTo>
                <a:lnTo>
                  <a:pt x="6" y="384"/>
                </a:lnTo>
                <a:lnTo>
                  <a:pt x="12" y="378"/>
                </a:lnTo>
                <a:lnTo>
                  <a:pt x="12" y="378"/>
                </a:lnTo>
                <a:lnTo>
                  <a:pt x="12" y="372"/>
                </a:lnTo>
                <a:lnTo>
                  <a:pt x="12" y="372"/>
                </a:lnTo>
                <a:lnTo>
                  <a:pt x="6" y="366"/>
                </a:lnTo>
                <a:lnTo>
                  <a:pt x="6" y="366"/>
                </a:lnTo>
                <a:lnTo>
                  <a:pt x="6" y="366"/>
                </a:lnTo>
                <a:lnTo>
                  <a:pt x="6" y="366"/>
                </a:lnTo>
                <a:lnTo>
                  <a:pt x="6" y="360"/>
                </a:lnTo>
                <a:lnTo>
                  <a:pt x="6" y="360"/>
                </a:lnTo>
                <a:lnTo>
                  <a:pt x="12" y="360"/>
                </a:lnTo>
                <a:lnTo>
                  <a:pt x="12" y="354"/>
                </a:lnTo>
                <a:lnTo>
                  <a:pt x="12" y="354"/>
                </a:lnTo>
                <a:lnTo>
                  <a:pt x="12" y="354"/>
                </a:lnTo>
                <a:lnTo>
                  <a:pt x="12" y="348"/>
                </a:lnTo>
                <a:lnTo>
                  <a:pt x="12" y="348"/>
                </a:lnTo>
                <a:lnTo>
                  <a:pt x="12" y="342"/>
                </a:lnTo>
                <a:lnTo>
                  <a:pt x="6" y="342"/>
                </a:lnTo>
                <a:lnTo>
                  <a:pt x="6" y="342"/>
                </a:lnTo>
                <a:lnTo>
                  <a:pt x="6" y="342"/>
                </a:lnTo>
                <a:lnTo>
                  <a:pt x="6" y="336"/>
                </a:lnTo>
                <a:lnTo>
                  <a:pt x="6" y="336"/>
                </a:lnTo>
                <a:lnTo>
                  <a:pt x="6" y="330"/>
                </a:lnTo>
                <a:lnTo>
                  <a:pt x="6" y="330"/>
                </a:lnTo>
                <a:lnTo>
                  <a:pt x="6" y="330"/>
                </a:lnTo>
                <a:lnTo>
                  <a:pt x="6" y="330"/>
                </a:lnTo>
                <a:lnTo>
                  <a:pt x="6" y="324"/>
                </a:lnTo>
                <a:lnTo>
                  <a:pt x="6" y="324"/>
                </a:lnTo>
                <a:lnTo>
                  <a:pt x="12" y="324"/>
                </a:lnTo>
                <a:lnTo>
                  <a:pt x="12" y="318"/>
                </a:lnTo>
                <a:lnTo>
                  <a:pt x="12" y="318"/>
                </a:lnTo>
                <a:lnTo>
                  <a:pt x="12" y="318"/>
                </a:lnTo>
                <a:lnTo>
                  <a:pt x="12" y="312"/>
                </a:lnTo>
                <a:lnTo>
                  <a:pt x="12" y="312"/>
                </a:lnTo>
                <a:lnTo>
                  <a:pt x="12" y="312"/>
                </a:lnTo>
                <a:lnTo>
                  <a:pt x="12" y="312"/>
                </a:lnTo>
                <a:lnTo>
                  <a:pt x="12" y="312"/>
                </a:lnTo>
                <a:lnTo>
                  <a:pt x="12" y="306"/>
                </a:lnTo>
                <a:lnTo>
                  <a:pt x="12" y="306"/>
                </a:lnTo>
                <a:lnTo>
                  <a:pt x="12" y="306"/>
                </a:lnTo>
                <a:lnTo>
                  <a:pt x="6" y="306"/>
                </a:lnTo>
                <a:lnTo>
                  <a:pt x="6" y="306"/>
                </a:lnTo>
                <a:lnTo>
                  <a:pt x="6" y="306"/>
                </a:lnTo>
                <a:lnTo>
                  <a:pt x="6" y="306"/>
                </a:lnTo>
                <a:lnTo>
                  <a:pt x="0" y="300"/>
                </a:lnTo>
                <a:lnTo>
                  <a:pt x="0" y="300"/>
                </a:lnTo>
                <a:lnTo>
                  <a:pt x="0" y="300"/>
                </a:lnTo>
                <a:lnTo>
                  <a:pt x="0" y="300"/>
                </a:lnTo>
                <a:lnTo>
                  <a:pt x="0" y="294"/>
                </a:lnTo>
                <a:lnTo>
                  <a:pt x="0" y="294"/>
                </a:lnTo>
                <a:lnTo>
                  <a:pt x="0" y="28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27" name="Freeform 60"/>
          <p:cNvSpPr>
            <a:spLocks/>
          </p:cNvSpPr>
          <p:nvPr/>
        </p:nvSpPr>
        <p:spPr bwMode="auto">
          <a:xfrm>
            <a:off x="6922519" y="2625342"/>
            <a:ext cx="334051" cy="353325"/>
          </a:xfrm>
          <a:custGeom>
            <a:avLst/>
            <a:gdLst>
              <a:gd name="T0" fmla="*/ 18 w 312"/>
              <a:gd name="T1" fmla="*/ 48 h 330"/>
              <a:gd name="T2" fmla="*/ 36 w 312"/>
              <a:gd name="T3" fmla="*/ 48 h 330"/>
              <a:gd name="T4" fmla="*/ 60 w 312"/>
              <a:gd name="T5" fmla="*/ 48 h 330"/>
              <a:gd name="T6" fmla="*/ 90 w 312"/>
              <a:gd name="T7" fmla="*/ 36 h 330"/>
              <a:gd name="T8" fmla="*/ 102 w 312"/>
              <a:gd name="T9" fmla="*/ 18 h 330"/>
              <a:gd name="T10" fmla="*/ 102 w 312"/>
              <a:gd name="T11" fmla="*/ 6 h 330"/>
              <a:gd name="T12" fmla="*/ 114 w 312"/>
              <a:gd name="T13" fmla="*/ 6 h 330"/>
              <a:gd name="T14" fmla="*/ 126 w 312"/>
              <a:gd name="T15" fmla="*/ 12 h 330"/>
              <a:gd name="T16" fmla="*/ 138 w 312"/>
              <a:gd name="T17" fmla="*/ 12 h 330"/>
              <a:gd name="T18" fmla="*/ 144 w 312"/>
              <a:gd name="T19" fmla="*/ 12 h 330"/>
              <a:gd name="T20" fmla="*/ 162 w 312"/>
              <a:gd name="T21" fmla="*/ 6 h 330"/>
              <a:gd name="T22" fmla="*/ 174 w 312"/>
              <a:gd name="T23" fmla="*/ 18 h 330"/>
              <a:gd name="T24" fmla="*/ 180 w 312"/>
              <a:gd name="T25" fmla="*/ 24 h 330"/>
              <a:gd name="T26" fmla="*/ 204 w 312"/>
              <a:gd name="T27" fmla="*/ 30 h 330"/>
              <a:gd name="T28" fmla="*/ 228 w 312"/>
              <a:gd name="T29" fmla="*/ 24 h 330"/>
              <a:gd name="T30" fmla="*/ 246 w 312"/>
              <a:gd name="T31" fmla="*/ 48 h 330"/>
              <a:gd name="T32" fmla="*/ 264 w 312"/>
              <a:gd name="T33" fmla="*/ 78 h 330"/>
              <a:gd name="T34" fmla="*/ 294 w 312"/>
              <a:gd name="T35" fmla="*/ 84 h 330"/>
              <a:gd name="T36" fmla="*/ 312 w 312"/>
              <a:gd name="T37" fmla="*/ 90 h 330"/>
              <a:gd name="T38" fmla="*/ 282 w 312"/>
              <a:gd name="T39" fmla="*/ 96 h 330"/>
              <a:gd name="T40" fmla="*/ 282 w 312"/>
              <a:gd name="T41" fmla="*/ 114 h 330"/>
              <a:gd name="T42" fmla="*/ 288 w 312"/>
              <a:gd name="T43" fmla="*/ 126 h 330"/>
              <a:gd name="T44" fmla="*/ 276 w 312"/>
              <a:gd name="T45" fmla="*/ 138 h 330"/>
              <a:gd name="T46" fmla="*/ 276 w 312"/>
              <a:gd name="T47" fmla="*/ 156 h 330"/>
              <a:gd name="T48" fmla="*/ 276 w 312"/>
              <a:gd name="T49" fmla="*/ 174 h 330"/>
              <a:gd name="T50" fmla="*/ 288 w 312"/>
              <a:gd name="T51" fmla="*/ 186 h 330"/>
              <a:gd name="T52" fmla="*/ 294 w 312"/>
              <a:gd name="T53" fmla="*/ 204 h 330"/>
              <a:gd name="T54" fmla="*/ 288 w 312"/>
              <a:gd name="T55" fmla="*/ 216 h 330"/>
              <a:gd name="T56" fmla="*/ 288 w 312"/>
              <a:gd name="T57" fmla="*/ 240 h 330"/>
              <a:gd name="T58" fmla="*/ 288 w 312"/>
              <a:gd name="T59" fmla="*/ 264 h 330"/>
              <a:gd name="T60" fmla="*/ 294 w 312"/>
              <a:gd name="T61" fmla="*/ 264 h 330"/>
              <a:gd name="T62" fmla="*/ 276 w 312"/>
              <a:gd name="T63" fmla="*/ 264 h 330"/>
              <a:gd name="T64" fmla="*/ 270 w 312"/>
              <a:gd name="T65" fmla="*/ 252 h 330"/>
              <a:gd name="T66" fmla="*/ 216 w 312"/>
              <a:gd name="T67" fmla="*/ 276 h 330"/>
              <a:gd name="T68" fmla="*/ 204 w 312"/>
              <a:gd name="T69" fmla="*/ 282 h 330"/>
              <a:gd name="T70" fmla="*/ 192 w 312"/>
              <a:gd name="T71" fmla="*/ 288 h 330"/>
              <a:gd name="T72" fmla="*/ 180 w 312"/>
              <a:gd name="T73" fmla="*/ 294 h 330"/>
              <a:gd name="T74" fmla="*/ 168 w 312"/>
              <a:gd name="T75" fmla="*/ 294 h 330"/>
              <a:gd name="T76" fmla="*/ 156 w 312"/>
              <a:gd name="T77" fmla="*/ 306 h 330"/>
              <a:gd name="T78" fmla="*/ 138 w 312"/>
              <a:gd name="T79" fmla="*/ 306 h 330"/>
              <a:gd name="T80" fmla="*/ 126 w 312"/>
              <a:gd name="T81" fmla="*/ 294 h 330"/>
              <a:gd name="T82" fmla="*/ 108 w 312"/>
              <a:gd name="T83" fmla="*/ 288 h 330"/>
              <a:gd name="T84" fmla="*/ 108 w 312"/>
              <a:gd name="T85" fmla="*/ 300 h 330"/>
              <a:gd name="T86" fmla="*/ 108 w 312"/>
              <a:gd name="T87" fmla="*/ 324 h 330"/>
              <a:gd name="T88" fmla="*/ 78 w 312"/>
              <a:gd name="T89" fmla="*/ 312 h 330"/>
              <a:gd name="T90" fmla="*/ 66 w 312"/>
              <a:gd name="T91" fmla="*/ 312 h 330"/>
              <a:gd name="T92" fmla="*/ 54 w 312"/>
              <a:gd name="T93" fmla="*/ 300 h 330"/>
              <a:gd name="T94" fmla="*/ 42 w 312"/>
              <a:gd name="T95" fmla="*/ 312 h 330"/>
              <a:gd name="T96" fmla="*/ 42 w 312"/>
              <a:gd name="T97" fmla="*/ 294 h 330"/>
              <a:gd name="T98" fmla="*/ 42 w 312"/>
              <a:gd name="T99" fmla="*/ 264 h 330"/>
              <a:gd name="T100" fmla="*/ 36 w 312"/>
              <a:gd name="T101" fmla="*/ 240 h 330"/>
              <a:gd name="T102" fmla="*/ 30 w 312"/>
              <a:gd name="T103" fmla="*/ 216 h 330"/>
              <a:gd name="T104" fmla="*/ 30 w 312"/>
              <a:gd name="T105" fmla="*/ 198 h 330"/>
              <a:gd name="T106" fmla="*/ 24 w 312"/>
              <a:gd name="T107" fmla="*/ 168 h 330"/>
              <a:gd name="T108" fmla="*/ 42 w 312"/>
              <a:gd name="T109" fmla="*/ 168 h 330"/>
              <a:gd name="T110" fmla="*/ 42 w 312"/>
              <a:gd name="T111" fmla="*/ 150 h 330"/>
              <a:gd name="T112" fmla="*/ 36 w 312"/>
              <a:gd name="T113" fmla="*/ 144 h 330"/>
              <a:gd name="T114" fmla="*/ 18 w 312"/>
              <a:gd name="T115" fmla="*/ 132 h 330"/>
              <a:gd name="T116" fmla="*/ 18 w 312"/>
              <a:gd name="T117" fmla="*/ 120 h 330"/>
              <a:gd name="T118" fmla="*/ 12 w 312"/>
              <a:gd name="T119" fmla="*/ 102 h 330"/>
              <a:gd name="T120" fmla="*/ 12 w 312"/>
              <a:gd name="T121" fmla="*/ 90 h 330"/>
              <a:gd name="T122" fmla="*/ 0 w 312"/>
              <a:gd name="T123" fmla="*/ 66 h 3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12" h="330">
                <a:moveTo>
                  <a:pt x="0" y="60"/>
                </a:move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42" y="48"/>
                </a:lnTo>
                <a:lnTo>
                  <a:pt x="42" y="42"/>
                </a:lnTo>
                <a:lnTo>
                  <a:pt x="42" y="48"/>
                </a:lnTo>
                <a:lnTo>
                  <a:pt x="42" y="48"/>
                </a:lnTo>
                <a:lnTo>
                  <a:pt x="48" y="48"/>
                </a:lnTo>
                <a:lnTo>
                  <a:pt x="48" y="48"/>
                </a:lnTo>
                <a:lnTo>
                  <a:pt x="48" y="54"/>
                </a:lnTo>
                <a:lnTo>
                  <a:pt x="48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60" y="48"/>
                </a:lnTo>
                <a:lnTo>
                  <a:pt x="60" y="48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6" y="42"/>
                </a:lnTo>
                <a:lnTo>
                  <a:pt x="66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8" y="42"/>
                </a:lnTo>
                <a:lnTo>
                  <a:pt x="78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0"/>
                </a:lnTo>
                <a:lnTo>
                  <a:pt x="90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6"/>
                </a:lnTo>
                <a:lnTo>
                  <a:pt x="96" y="6"/>
                </a:lnTo>
                <a:lnTo>
                  <a:pt x="102" y="6"/>
                </a:lnTo>
                <a:lnTo>
                  <a:pt x="96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0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12"/>
                </a:lnTo>
                <a:lnTo>
                  <a:pt x="114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6"/>
                </a:lnTo>
                <a:lnTo>
                  <a:pt x="120" y="12"/>
                </a:lnTo>
                <a:lnTo>
                  <a:pt x="120" y="6"/>
                </a:lnTo>
                <a:lnTo>
                  <a:pt x="120" y="6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6"/>
                </a:lnTo>
                <a:lnTo>
                  <a:pt x="150" y="12"/>
                </a:lnTo>
                <a:lnTo>
                  <a:pt x="156" y="12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62" y="6"/>
                </a:lnTo>
                <a:lnTo>
                  <a:pt x="162" y="6"/>
                </a:lnTo>
                <a:lnTo>
                  <a:pt x="162" y="6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8"/>
                </a:lnTo>
                <a:lnTo>
                  <a:pt x="168" y="12"/>
                </a:lnTo>
                <a:lnTo>
                  <a:pt x="168" y="18"/>
                </a:lnTo>
                <a:lnTo>
                  <a:pt x="174" y="18"/>
                </a:lnTo>
                <a:lnTo>
                  <a:pt x="174" y="18"/>
                </a:lnTo>
                <a:lnTo>
                  <a:pt x="174" y="18"/>
                </a:lnTo>
                <a:lnTo>
                  <a:pt x="174" y="18"/>
                </a:lnTo>
                <a:lnTo>
                  <a:pt x="174" y="18"/>
                </a:lnTo>
                <a:lnTo>
                  <a:pt x="174" y="18"/>
                </a:lnTo>
                <a:lnTo>
                  <a:pt x="174" y="18"/>
                </a:lnTo>
                <a:lnTo>
                  <a:pt x="174" y="18"/>
                </a:lnTo>
                <a:lnTo>
                  <a:pt x="174" y="18"/>
                </a:lnTo>
                <a:lnTo>
                  <a:pt x="174" y="24"/>
                </a:lnTo>
                <a:lnTo>
                  <a:pt x="174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92" y="30"/>
                </a:lnTo>
                <a:lnTo>
                  <a:pt x="192" y="30"/>
                </a:lnTo>
                <a:lnTo>
                  <a:pt x="192" y="30"/>
                </a:lnTo>
                <a:lnTo>
                  <a:pt x="192" y="30"/>
                </a:lnTo>
                <a:lnTo>
                  <a:pt x="192" y="30"/>
                </a:lnTo>
                <a:lnTo>
                  <a:pt x="198" y="30"/>
                </a:lnTo>
                <a:lnTo>
                  <a:pt x="198" y="30"/>
                </a:lnTo>
                <a:lnTo>
                  <a:pt x="198" y="30"/>
                </a:lnTo>
                <a:lnTo>
                  <a:pt x="198" y="30"/>
                </a:lnTo>
                <a:lnTo>
                  <a:pt x="204" y="30"/>
                </a:lnTo>
                <a:lnTo>
                  <a:pt x="204" y="30"/>
                </a:lnTo>
                <a:lnTo>
                  <a:pt x="204" y="30"/>
                </a:lnTo>
                <a:lnTo>
                  <a:pt x="204" y="30"/>
                </a:lnTo>
                <a:lnTo>
                  <a:pt x="204" y="30"/>
                </a:lnTo>
                <a:lnTo>
                  <a:pt x="204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6" y="24"/>
                </a:lnTo>
                <a:lnTo>
                  <a:pt x="216" y="24"/>
                </a:lnTo>
                <a:lnTo>
                  <a:pt x="216" y="24"/>
                </a:lnTo>
                <a:lnTo>
                  <a:pt x="216" y="24"/>
                </a:lnTo>
                <a:lnTo>
                  <a:pt x="222" y="24"/>
                </a:lnTo>
                <a:lnTo>
                  <a:pt x="222" y="24"/>
                </a:lnTo>
                <a:lnTo>
                  <a:pt x="222" y="24"/>
                </a:lnTo>
                <a:lnTo>
                  <a:pt x="222" y="24"/>
                </a:lnTo>
                <a:lnTo>
                  <a:pt x="222" y="24"/>
                </a:lnTo>
                <a:lnTo>
                  <a:pt x="228" y="24"/>
                </a:lnTo>
                <a:lnTo>
                  <a:pt x="228" y="24"/>
                </a:lnTo>
                <a:lnTo>
                  <a:pt x="228" y="24"/>
                </a:lnTo>
                <a:lnTo>
                  <a:pt x="234" y="24"/>
                </a:lnTo>
                <a:lnTo>
                  <a:pt x="234" y="30"/>
                </a:lnTo>
                <a:lnTo>
                  <a:pt x="234" y="30"/>
                </a:lnTo>
                <a:lnTo>
                  <a:pt x="234" y="30"/>
                </a:lnTo>
                <a:lnTo>
                  <a:pt x="234" y="36"/>
                </a:lnTo>
                <a:lnTo>
                  <a:pt x="234" y="36"/>
                </a:lnTo>
                <a:lnTo>
                  <a:pt x="234" y="36"/>
                </a:lnTo>
                <a:lnTo>
                  <a:pt x="234" y="42"/>
                </a:lnTo>
                <a:lnTo>
                  <a:pt x="240" y="42"/>
                </a:lnTo>
                <a:lnTo>
                  <a:pt x="246" y="42"/>
                </a:lnTo>
                <a:lnTo>
                  <a:pt x="246" y="42"/>
                </a:lnTo>
                <a:lnTo>
                  <a:pt x="246" y="48"/>
                </a:lnTo>
                <a:lnTo>
                  <a:pt x="246" y="48"/>
                </a:lnTo>
                <a:lnTo>
                  <a:pt x="246" y="48"/>
                </a:lnTo>
                <a:lnTo>
                  <a:pt x="246" y="48"/>
                </a:lnTo>
                <a:lnTo>
                  <a:pt x="246" y="54"/>
                </a:lnTo>
                <a:lnTo>
                  <a:pt x="246" y="54"/>
                </a:lnTo>
                <a:lnTo>
                  <a:pt x="246" y="60"/>
                </a:lnTo>
                <a:lnTo>
                  <a:pt x="252" y="60"/>
                </a:lnTo>
                <a:lnTo>
                  <a:pt x="252" y="60"/>
                </a:lnTo>
                <a:lnTo>
                  <a:pt x="252" y="60"/>
                </a:lnTo>
                <a:lnTo>
                  <a:pt x="252" y="60"/>
                </a:lnTo>
                <a:lnTo>
                  <a:pt x="252" y="66"/>
                </a:lnTo>
                <a:lnTo>
                  <a:pt x="252" y="66"/>
                </a:lnTo>
                <a:lnTo>
                  <a:pt x="258" y="66"/>
                </a:lnTo>
                <a:lnTo>
                  <a:pt x="258" y="66"/>
                </a:lnTo>
                <a:lnTo>
                  <a:pt x="258" y="72"/>
                </a:lnTo>
                <a:lnTo>
                  <a:pt x="258" y="72"/>
                </a:lnTo>
                <a:lnTo>
                  <a:pt x="258" y="72"/>
                </a:lnTo>
                <a:lnTo>
                  <a:pt x="258" y="78"/>
                </a:lnTo>
                <a:lnTo>
                  <a:pt x="258" y="78"/>
                </a:lnTo>
                <a:lnTo>
                  <a:pt x="264" y="78"/>
                </a:lnTo>
                <a:lnTo>
                  <a:pt x="264" y="78"/>
                </a:lnTo>
                <a:lnTo>
                  <a:pt x="264" y="78"/>
                </a:lnTo>
                <a:lnTo>
                  <a:pt x="264" y="78"/>
                </a:lnTo>
                <a:lnTo>
                  <a:pt x="270" y="78"/>
                </a:lnTo>
                <a:lnTo>
                  <a:pt x="270" y="78"/>
                </a:lnTo>
                <a:lnTo>
                  <a:pt x="270" y="78"/>
                </a:lnTo>
                <a:lnTo>
                  <a:pt x="270" y="78"/>
                </a:lnTo>
                <a:lnTo>
                  <a:pt x="270" y="78"/>
                </a:lnTo>
                <a:lnTo>
                  <a:pt x="276" y="78"/>
                </a:lnTo>
                <a:lnTo>
                  <a:pt x="276" y="78"/>
                </a:lnTo>
                <a:lnTo>
                  <a:pt x="282" y="84"/>
                </a:lnTo>
                <a:lnTo>
                  <a:pt x="282" y="78"/>
                </a:lnTo>
                <a:lnTo>
                  <a:pt x="288" y="84"/>
                </a:lnTo>
                <a:lnTo>
                  <a:pt x="288" y="84"/>
                </a:lnTo>
                <a:lnTo>
                  <a:pt x="288" y="84"/>
                </a:lnTo>
                <a:lnTo>
                  <a:pt x="294" y="84"/>
                </a:lnTo>
                <a:lnTo>
                  <a:pt x="294" y="84"/>
                </a:lnTo>
                <a:lnTo>
                  <a:pt x="294" y="84"/>
                </a:lnTo>
                <a:lnTo>
                  <a:pt x="294" y="84"/>
                </a:lnTo>
                <a:lnTo>
                  <a:pt x="294" y="90"/>
                </a:lnTo>
                <a:lnTo>
                  <a:pt x="300" y="90"/>
                </a:lnTo>
                <a:lnTo>
                  <a:pt x="300" y="90"/>
                </a:lnTo>
                <a:lnTo>
                  <a:pt x="300" y="90"/>
                </a:lnTo>
                <a:lnTo>
                  <a:pt x="300" y="90"/>
                </a:lnTo>
                <a:lnTo>
                  <a:pt x="306" y="90"/>
                </a:lnTo>
                <a:lnTo>
                  <a:pt x="306" y="90"/>
                </a:lnTo>
                <a:lnTo>
                  <a:pt x="306" y="90"/>
                </a:lnTo>
                <a:lnTo>
                  <a:pt x="306" y="90"/>
                </a:lnTo>
                <a:lnTo>
                  <a:pt x="306" y="90"/>
                </a:lnTo>
                <a:lnTo>
                  <a:pt x="312" y="90"/>
                </a:lnTo>
                <a:lnTo>
                  <a:pt x="312" y="90"/>
                </a:lnTo>
                <a:lnTo>
                  <a:pt x="312" y="90"/>
                </a:lnTo>
                <a:lnTo>
                  <a:pt x="312" y="90"/>
                </a:lnTo>
                <a:lnTo>
                  <a:pt x="312" y="90"/>
                </a:lnTo>
                <a:lnTo>
                  <a:pt x="312" y="96"/>
                </a:lnTo>
                <a:lnTo>
                  <a:pt x="306" y="96"/>
                </a:lnTo>
                <a:lnTo>
                  <a:pt x="306" y="96"/>
                </a:lnTo>
                <a:lnTo>
                  <a:pt x="306" y="96"/>
                </a:lnTo>
                <a:lnTo>
                  <a:pt x="300" y="96"/>
                </a:lnTo>
                <a:lnTo>
                  <a:pt x="300" y="96"/>
                </a:lnTo>
                <a:lnTo>
                  <a:pt x="294" y="96"/>
                </a:lnTo>
                <a:lnTo>
                  <a:pt x="288" y="90"/>
                </a:lnTo>
                <a:lnTo>
                  <a:pt x="288" y="90"/>
                </a:lnTo>
                <a:lnTo>
                  <a:pt x="288" y="90"/>
                </a:lnTo>
                <a:lnTo>
                  <a:pt x="288" y="90"/>
                </a:lnTo>
                <a:lnTo>
                  <a:pt x="288" y="90"/>
                </a:lnTo>
                <a:lnTo>
                  <a:pt x="282" y="90"/>
                </a:lnTo>
                <a:lnTo>
                  <a:pt x="282" y="90"/>
                </a:lnTo>
                <a:lnTo>
                  <a:pt x="282" y="90"/>
                </a:lnTo>
                <a:lnTo>
                  <a:pt x="282" y="96"/>
                </a:lnTo>
                <a:lnTo>
                  <a:pt x="282" y="96"/>
                </a:lnTo>
                <a:lnTo>
                  <a:pt x="282" y="96"/>
                </a:lnTo>
                <a:lnTo>
                  <a:pt x="288" y="96"/>
                </a:lnTo>
                <a:lnTo>
                  <a:pt x="288" y="102"/>
                </a:lnTo>
                <a:lnTo>
                  <a:pt x="288" y="102"/>
                </a:lnTo>
                <a:lnTo>
                  <a:pt x="282" y="102"/>
                </a:lnTo>
                <a:lnTo>
                  <a:pt x="282" y="108"/>
                </a:lnTo>
                <a:lnTo>
                  <a:pt x="276" y="108"/>
                </a:lnTo>
                <a:lnTo>
                  <a:pt x="276" y="108"/>
                </a:lnTo>
                <a:lnTo>
                  <a:pt x="276" y="108"/>
                </a:lnTo>
                <a:lnTo>
                  <a:pt x="276" y="108"/>
                </a:lnTo>
                <a:lnTo>
                  <a:pt x="276" y="108"/>
                </a:lnTo>
                <a:lnTo>
                  <a:pt x="282" y="108"/>
                </a:lnTo>
                <a:lnTo>
                  <a:pt x="282" y="108"/>
                </a:lnTo>
                <a:lnTo>
                  <a:pt x="282" y="114"/>
                </a:lnTo>
                <a:lnTo>
                  <a:pt x="282" y="114"/>
                </a:lnTo>
                <a:lnTo>
                  <a:pt x="282" y="114"/>
                </a:lnTo>
                <a:lnTo>
                  <a:pt x="282" y="114"/>
                </a:lnTo>
                <a:lnTo>
                  <a:pt x="282" y="114"/>
                </a:lnTo>
                <a:lnTo>
                  <a:pt x="276" y="120"/>
                </a:lnTo>
                <a:lnTo>
                  <a:pt x="276" y="120"/>
                </a:lnTo>
                <a:lnTo>
                  <a:pt x="276" y="120"/>
                </a:lnTo>
                <a:lnTo>
                  <a:pt x="276" y="120"/>
                </a:lnTo>
                <a:lnTo>
                  <a:pt x="276" y="120"/>
                </a:lnTo>
                <a:lnTo>
                  <a:pt x="276" y="120"/>
                </a:lnTo>
                <a:lnTo>
                  <a:pt x="276" y="120"/>
                </a:lnTo>
                <a:lnTo>
                  <a:pt x="276" y="126"/>
                </a:lnTo>
                <a:lnTo>
                  <a:pt x="276" y="126"/>
                </a:lnTo>
                <a:lnTo>
                  <a:pt x="276" y="126"/>
                </a:lnTo>
                <a:lnTo>
                  <a:pt x="282" y="126"/>
                </a:lnTo>
                <a:lnTo>
                  <a:pt x="282" y="126"/>
                </a:lnTo>
                <a:lnTo>
                  <a:pt x="282" y="126"/>
                </a:lnTo>
                <a:lnTo>
                  <a:pt x="288" y="126"/>
                </a:lnTo>
                <a:lnTo>
                  <a:pt x="288" y="126"/>
                </a:lnTo>
                <a:lnTo>
                  <a:pt x="288" y="126"/>
                </a:lnTo>
                <a:lnTo>
                  <a:pt x="294" y="126"/>
                </a:lnTo>
                <a:lnTo>
                  <a:pt x="294" y="126"/>
                </a:lnTo>
                <a:lnTo>
                  <a:pt x="300" y="126"/>
                </a:lnTo>
                <a:lnTo>
                  <a:pt x="300" y="126"/>
                </a:lnTo>
                <a:lnTo>
                  <a:pt x="300" y="126"/>
                </a:lnTo>
                <a:lnTo>
                  <a:pt x="300" y="126"/>
                </a:lnTo>
                <a:lnTo>
                  <a:pt x="300" y="126"/>
                </a:lnTo>
                <a:lnTo>
                  <a:pt x="300" y="132"/>
                </a:lnTo>
                <a:lnTo>
                  <a:pt x="294" y="132"/>
                </a:lnTo>
                <a:lnTo>
                  <a:pt x="294" y="132"/>
                </a:lnTo>
                <a:lnTo>
                  <a:pt x="288" y="132"/>
                </a:lnTo>
                <a:lnTo>
                  <a:pt x="282" y="132"/>
                </a:lnTo>
                <a:lnTo>
                  <a:pt x="282" y="132"/>
                </a:lnTo>
                <a:lnTo>
                  <a:pt x="282" y="138"/>
                </a:lnTo>
                <a:lnTo>
                  <a:pt x="282" y="138"/>
                </a:lnTo>
                <a:lnTo>
                  <a:pt x="276" y="138"/>
                </a:lnTo>
                <a:lnTo>
                  <a:pt x="276" y="138"/>
                </a:lnTo>
                <a:lnTo>
                  <a:pt x="276" y="144"/>
                </a:lnTo>
                <a:lnTo>
                  <a:pt x="276" y="144"/>
                </a:lnTo>
                <a:lnTo>
                  <a:pt x="270" y="144"/>
                </a:lnTo>
                <a:lnTo>
                  <a:pt x="270" y="144"/>
                </a:lnTo>
                <a:lnTo>
                  <a:pt x="276" y="150"/>
                </a:lnTo>
                <a:lnTo>
                  <a:pt x="276" y="150"/>
                </a:lnTo>
                <a:lnTo>
                  <a:pt x="276" y="150"/>
                </a:lnTo>
                <a:lnTo>
                  <a:pt x="276" y="150"/>
                </a:lnTo>
                <a:lnTo>
                  <a:pt x="276" y="150"/>
                </a:lnTo>
                <a:lnTo>
                  <a:pt x="276" y="150"/>
                </a:lnTo>
                <a:lnTo>
                  <a:pt x="276" y="150"/>
                </a:lnTo>
                <a:lnTo>
                  <a:pt x="276" y="150"/>
                </a:lnTo>
                <a:lnTo>
                  <a:pt x="276" y="156"/>
                </a:lnTo>
                <a:lnTo>
                  <a:pt x="276" y="156"/>
                </a:lnTo>
                <a:lnTo>
                  <a:pt x="276" y="156"/>
                </a:lnTo>
                <a:lnTo>
                  <a:pt x="276" y="156"/>
                </a:lnTo>
                <a:lnTo>
                  <a:pt x="276" y="156"/>
                </a:lnTo>
                <a:lnTo>
                  <a:pt x="276" y="162"/>
                </a:lnTo>
                <a:lnTo>
                  <a:pt x="276" y="162"/>
                </a:lnTo>
                <a:lnTo>
                  <a:pt x="276" y="162"/>
                </a:lnTo>
                <a:lnTo>
                  <a:pt x="276" y="162"/>
                </a:lnTo>
                <a:lnTo>
                  <a:pt x="276" y="162"/>
                </a:lnTo>
                <a:lnTo>
                  <a:pt x="276" y="162"/>
                </a:lnTo>
                <a:lnTo>
                  <a:pt x="276" y="162"/>
                </a:lnTo>
                <a:lnTo>
                  <a:pt x="276" y="162"/>
                </a:lnTo>
                <a:lnTo>
                  <a:pt x="276" y="168"/>
                </a:lnTo>
                <a:lnTo>
                  <a:pt x="276" y="168"/>
                </a:lnTo>
                <a:lnTo>
                  <a:pt x="276" y="168"/>
                </a:lnTo>
                <a:lnTo>
                  <a:pt x="276" y="168"/>
                </a:lnTo>
                <a:lnTo>
                  <a:pt x="276" y="174"/>
                </a:lnTo>
                <a:lnTo>
                  <a:pt x="276" y="174"/>
                </a:lnTo>
                <a:lnTo>
                  <a:pt x="276" y="174"/>
                </a:lnTo>
                <a:lnTo>
                  <a:pt x="276" y="174"/>
                </a:lnTo>
                <a:lnTo>
                  <a:pt x="276" y="174"/>
                </a:lnTo>
                <a:lnTo>
                  <a:pt x="276" y="180"/>
                </a:lnTo>
                <a:lnTo>
                  <a:pt x="276" y="180"/>
                </a:lnTo>
                <a:lnTo>
                  <a:pt x="276" y="180"/>
                </a:lnTo>
                <a:lnTo>
                  <a:pt x="282" y="180"/>
                </a:lnTo>
                <a:lnTo>
                  <a:pt x="282" y="180"/>
                </a:lnTo>
                <a:lnTo>
                  <a:pt x="282" y="180"/>
                </a:lnTo>
                <a:lnTo>
                  <a:pt x="282" y="180"/>
                </a:lnTo>
                <a:lnTo>
                  <a:pt x="282" y="180"/>
                </a:lnTo>
                <a:lnTo>
                  <a:pt x="276" y="180"/>
                </a:lnTo>
                <a:lnTo>
                  <a:pt x="276" y="180"/>
                </a:lnTo>
                <a:lnTo>
                  <a:pt x="276" y="186"/>
                </a:lnTo>
                <a:lnTo>
                  <a:pt x="276" y="186"/>
                </a:lnTo>
                <a:lnTo>
                  <a:pt x="282" y="186"/>
                </a:lnTo>
                <a:lnTo>
                  <a:pt x="282" y="186"/>
                </a:lnTo>
                <a:lnTo>
                  <a:pt x="282" y="186"/>
                </a:lnTo>
                <a:lnTo>
                  <a:pt x="282" y="186"/>
                </a:lnTo>
                <a:lnTo>
                  <a:pt x="288" y="186"/>
                </a:lnTo>
                <a:lnTo>
                  <a:pt x="288" y="192"/>
                </a:lnTo>
                <a:lnTo>
                  <a:pt x="288" y="192"/>
                </a:lnTo>
                <a:lnTo>
                  <a:pt x="288" y="192"/>
                </a:lnTo>
                <a:lnTo>
                  <a:pt x="282" y="192"/>
                </a:lnTo>
                <a:lnTo>
                  <a:pt x="282" y="192"/>
                </a:lnTo>
                <a:lnTo>
                  <a:pt x="282" y="192"/>
                </a:lnTo>
                <a:lnTo>
                  <a:pt x="288" y="192"/>
                </a:lnTo>
                <a:lnTo>
                  <a:pt x="288" y="192"/>
                </a:lnTo>
                <a:lnTo>
                  <a:pt x="288" y="192"/>
                </a:lnTo>
                <a:lnTo>
                  <a:pt x="288" y="192"/>
                </a:lnTo>
                <a:lnTo>
                  <a:pt x="288" y="192"/>
                </a:lnTo>
                <a:lnTo>
                  <a:pt x="288" y="198"/>
                </a:lnTo>
                <a:lnTo>
                  <a:pt x="294" y="198"/>
                </a:lnTo>
                <a:lnTo>
                  <a:pt x="294" y="198"/>
                </a:lnTo>
                <a:lnTo>
                  <a:pt x="294" y="198"/>
                </a:lnTo>
                <a:lnTo>
                  <a:pt x="288" y="204"/>
                </a:lnTo>
                <a:lnTo>
                  <a:pt x="294" y="204"/>
                </a:lnTo>
                <a:lnTo>
                  <a:pt x="300" y="204"/>
                </a:lnTo>
                <a:lnTo>
                  <a:pt x="306" y="204"/>
                </a:lnTo>
                <a:lnTo>
                  <a:pt x="306" y="204"/>
                </a:lnTo>
                <a:lnTo>
                  <a:pt x="306" y="204"/>
                </a:lnTo>
                <a:lnTo>
                  <a:pt x="306" y="204"/>
                </a:lnTo>
                <a:lnTo>
                  <a:pt x="306" y="210"/>
                </a:lnTo>
                <a:lnTo>
                  <a:pt x="306" y="210"/>
                </a:lnTo>
                <a:lnTo>
                  <a:pt x="300" y="210"/>
                </a:lnTo>
                <a:lnTo>
                  <a:pt x="294" y="210"/>
                </a:lnTo>
                <a:lnTo>
                  <a:pt x="294" y="210"/>
                </a:lnTo>
                <a:lnTo>
                  <a:pt x="288" y="210"/>
                </a:lnTo>
                <a:lnTo>
                  <a:pt x="288" y="210"/>
                </a:lnTo>
                <a:lnTo>
                  <a:pt x="288" y="210"/>
                </a:lnTo>
                <a:lnTo>
                  <a:pt x="288" y="216"/>
                </a:lnTo>
                <a:lnTo>
                  <a:pt x="288" y="216"/>
                </a:lnTo>
                <a:lnTo>
                  <a:pt x="288" y="216"/>
                </a:lnTo>
                <a:lnTo>
                  <a:pt x="288" y="216"/>
                </a:lnTo>
                <a:lnTo>
                  <a:pt x="288" y="222"/>
                </a:lnTo>
                <a:lnTo>
                  <a:pt x="288" y="222"/>
                </a:lnTo>
                <a:lnTo>
                  <a:pt x="288" y="222"/>
                </a:lnTo>
                <a:lnTo>
                  <a:pt x="288" y="222"/>
                </a:lnTo>
                <a:lnTo>
                  <a:pt x="288" y="222"/>
                </a:lnTo>
                <a:lnTo>
                  <a:pt x="288" y="222"/>
                </a:lnTo>
                <a:lnTo>
                  <a:pt x="288" y="228"/>
                </a:lnTo>
                <a:lnTo>
                  <a:pt x="288" y="228"/>
                </a:lnTo>
                <a:lnTo>
                  <a:pt x="288" y="228"/>
                </a:lnTo>
                <a:lnTo>
                  <a:pt x="288" y="228"/>
                </a:lnTo>
                <a:lnTo>
                  <a:pt x="288" y="234"/>
                </a:lnTo>
                <a:lnTo>
                  <a:pt x="288" y="234"/>
                </a:lnTo>
                <a:lnTo>
                  <a:pt x="288" y="234"/>
                </a:lnTo>
                <a:lnTo>
                  <a:pt x="288" y="234"/>
                </a:lnTo>
                <a:lnTo>
                  <a:pt x="288" y="234"/>
                </a:lnTo>
                <a:lnTo>
                  <a:pt x="288" y="240"/>
                </a:lnTo>
                <a:lnTo>
                  <a:pt x="288" y="240"/>
                </a:lnTo>
                <a:lnTo>
                  <a:pt x="288" y="240"/>
                </a:lnTo>
                <a:lnTo>
                  <a:pt x="288" y="240"/>
                </a:lnTo>
                <a:lnTo>
                  <a:pt x="288" y="240"/>
                </a:lnTo>
                <a:lnTo>
                  <a:pt x="288" y="240"/>
                </a:lnTo>
                <a:lnTo>
                  <a:pt x="288" y="246"/>
                </a:lnTo>
                <a:lnTo>
                  <a:pt x="288" y="246"/>
                </a:lnTo>
                <a:lnTo>
                  <a:pt x="288" y="246"/>
                </a:lnTo>
                <a:lnTo>
                  <a:pt x="288" y="246"/>
                </a:lnTo>
                <a:lnTo>
                  <a:pt x="288" y="246"/>
                </a:lnTo>
                <a:lnTo>
                  <a:pt x="288" y="252"/>
                </a:lnTo>
                <a:lnTo>
                  <a:pt x="288" y="252"/>
                </a:lnTo>
                <a:lnTo>
                  <a:pt x="288" y="252"/>
                </a:lnTo>
                <a:lnTo>
                  <a:pt x="288" y="258"/>
                </a:lnTo>
                <a:lnTo>
                  <a:pt x="288" y="258"/>
                </a:lnTo>
                <a:lnTo>
                  <a:pt x="288" y="258"/>
                </a:lnTo>
                <a:lnTo>
                  <a:pt x="282" y="264"/>
                </a:lnTo>
                <a:lnTo>
                  <a:pt x="288" y="264"/>
                </a:lnTo>
                <a:lnTo>
                  <a:pt x="288" y="264"/>
                </a:lnTo>
                <a:lnTo>
                  <a:pt x="288" y="264"/>
                </a:lnTo>
                <a:lnTo>
                  <a:pt x="294" y="264"/>
                </a:lnTo>
                <a:lnTo>
                  <a:pt x="300" y="258"/>
                </a:lnTo>
                <a:lnTo>
                  <a:pt x="300" y="258"/>
                </a:lnTo>
                <a:lnTo>
                  <a:pt x="306" y="258"/>
                </a:lnTo>
                <a:lnTo>
                  <a:pt x="306" y="258"/>
                </a:lnTo>
                <a:lnTo>
                  <a:pt x="312" y="258"/>
                </a:lnTo>
                <a:lnTo>
                  <a:pt x="306" y="258"/>
                </a:lnTo>
                <a:lnTo>
                  <a:pt x="306" y="264"/>
                </a:lnTo>
                <a:lnTo>
                  <a:pt x="306" y="264"/>
                </a:lnTo>
                <a:lnTo>
                  <a:pt x="300" y="264"/>
                </a:lnTo>
                <a:lnTo>
                  <a:pt x="300" y="264"/>
                </a:lnTo>
                <a:lnTo>
                  <a:pt x="300" y="264"/>
                </a:lnTo>
                <a:lnTo>
                  <a:pt x="300" y="264"/>
                </a:lnTo>
                <a:lnTo>
                  <a:pt x="294" y="264"/>
                </a:lnTo>
                <a:lnTo>
                  <a:pt x="294" y="264"/>
                </a:lnTo>
                <a:lnTo>
                  <a:pt x="294" y="264"/>
                </a:lnTo>
                <a:lnTo>
                  <a:pt x="288" y="264"/>
                </a:lnTo>
                <a:lnTo>
                  <a:pt x="288" y="264"/>
                </a:lnTo>
                <a:lnTo>
                  <a:pt x="288" y="270"/>
                </a:lnTo>
                <a:lnTo>
                  <a:pt x="288" y="264"/>
                </a:lnTo>
                <a:lnTo>
                  <a:pt x="282" y="270"/>
                </a:lnTo>
                <a:lnTo>
                  <a:pt x="282" y="270"/>
                </a:lnTo>
                <a:lnTo>
                  <a:pt x="282" y="270"/>
                </a:lnTo>
                <a:lnTo>
                  <a:pt x="276" y="270"/>
                </a:lnTo>
                <a:lnTo>
                  <a:pt x="276" y="270"/>
                </a:lnTo>
                <a:lnTo>
                  <a:pt x="276" y="264"/>
                </a:lnTo>
                <a:lnTo>
                  <a:pt x="276" y="264"/>
                </a:lnTo>
                <a:lnTo>
                  <a:pt x="276" y="264"/>
                </a:lnTo>
                <a:lnTo>
                  <a:pt x="276" y="264"/>
                </a:lnTo>
                <a:lnTo>
                  <a:pt x="276" y="264"/>
                </a:lnTo>
                <a:lnTo>
                  <a:pt x="276" y="264"/>
                </a:lnTo>
                <a:lnTo>
                  <a:pt x="276" y="264"/>
                </a:lnTo>
                <a:lnTo>
                  <a:pt x="276" y="264"/>
                </a:lnTo>
                <a:lnTo>
                  <a:pt x="276" y="258"/>
                </a:lnTo>
                <a:lnTo>
                  <a:pt x="276" y="258"/>
                </a:lnTo>
                <a:lnTo>
                  <a:pt x="276" y="258"/>
                </a:lnTo>
                <a:lnTo>
                  <a:pt x="276" y="258"/>
                </a:lnTo>
                <a:lnTo>
                  <a:pt x="276" y="258"/>
                </a:lnTo>
                <a:lnTo>
                  <a:pt x="276" y="258"/>
                </a:lnTo>
                <a:lnTo>
                  <a:pt x="276" y="252"/>
                </a:lnTo>
                <a:lnTo>
                  <a:pt x="276" y="252"/>
                </a:lnTo>
                <a:lnTo>
                  <a:pt x="276" y="252"/>
                </a:lnTo>
                <a:lnTo>
                  <a:pt x="276" y="252"/>
                </a:lnTo>
                <a:lnTo>
                  <a:pt x="276" y="252"/>
                </a:lnTo>
                <a:lnTo>
                  <a:pt x="276" y="252"/>
                </a:lnTo>
                <a:lnTo>
                  <a:pt x="270" y="252"/>
                </a:lnTo>
                <a:lnTo>
                  <a:pt x="270" y="252"/>
                </a:lnTo>
                <a:lnTo>
                  <a:pt x="270" y="252"/>
                </a:lnTo>
                <a:lnTo>
                  <a:pt x="270" y="252"/>
                </a:lnTo>
                <a:lnTo>
                  <a:pt x="270" y="252"/>
                </a:lnTo>
                <a:lnTo>
                  <a:pt x="270" y="252"/>
                </a:lnTo>
                <a:lnTo>
                  <a:pt x="270" y="246"/>
                </a:lnTo>
                <a:lnTo>
                  <a:pt x="270" y="246"/>
                </a:lnTo>
                <a:lnTo>
                  <a:pt x="270" y="264"/>
                </a:lnTo>
                <a:lnTo>
                  <a:pt x="270" y="264"/>
                </a:lnTo>
                <a:lnTo>
                  <a:pt x="264" y="264"/>
                </a:lnTo>
                <a:lnTo>
                  <a:pt x="264" y="264"/>
                </a:lnTo>
                <a:lnTo>
                  <a:pt x="264" y="264"/>
                </a:lnTo>
                <a:lnTo>
                  <a:pt x="264" y="264"/>
                </a:lnTo>
                <a:lnTo>
                  <a:pt x="240" y="264"/>
                </a:lnTo>
                <a:lnTo>
                  <a:pt x="228" y="264"/>
                </a:lnTo>
                <a:lnTo>
                  <a:pt x="216" y="270"/>
                </a:lnTo>
                <a:lnTo>
                  <a:pt x="216" y="270"/>
                </a:lnTo>
                <a:lnTo>
                  <a:pt x="216" y="270"/>
                </a:lnTo>
                <a:lnTo>
                  <a:pt x="216" y="270"/>
                </a:lnTo>
                <a:lnTo>
                  <a:pt x="216" y="276"/>
                </a:lnTo>
                <a:lnTo>
                  <a:pt x="216" y="276"/>
                </a:lnTo>
                <a:lnTo>
                  <a:pt x="216" y="276"/>
                </a:lnTo>
                <a:lnTo>
                  <a:pt x="216" y="276"/>
                </a:lnTo>
                <a:lnTo>
                  <a:pt x="216" y="276"/>
                </a:lnTo>
                <a:lnTo>
                  <a:pt x="216" y="276"/>
                </a:lnTo>
                <a:lnTo>
                  <a:pt x="210" y="276"/>
                </a:lnTo>
                <a:lnTo>
                  <a:pt x="210" y="282"/>
                </a:lnTo>
                <a:lnTo>
                  <a:pt x="210" y="282"/>
                </a:lnTo>
                <a:lnTo>
                  <a:pt x="210" y="282"/>
                </a:lnTo>
                <a:lnTo>
                  <a:pt x="210" y="276"/>
                </a:lnTo>
                <a:lnTo>
                  <a:pt x="210" y="276"/>
                </a:lnTo>
                <a:lnTo>
                  <a:pt x="210" y="276"/>
                </a:lnTo>
                <a:lnTo>
                  <a:pt x="210" y="276"/>
                </a:lnTo>
                <a:lnTo>
                  <a:pt x="210" y="276"/>
                </a:lnTo>
                <a:lnTo>
                  <a:pt x="210" y="276"/>
                </a:lnTo>
                <a:lnTo>
                  <a:pt x="204" y="282"/>
                </a:lnTo>
                <a:lnTo>
                  <a:pt x="204" y="282"/>
                </a:lnTo>
                <a:lnTo>
                  <a:pt x="204" y="282"/>
                </a:lnTo>
                <a:lnTo>
                  <a:pt x="204" y="282"/>
                </a:lnTo>
                <a:lnTo>
                  <a:pt x="198" y="282"/>
                </a:lnTo>
                <a:lnTo>
                  <a:pt x="198" y="282"/>
                </a:lnTo>
                <a:lnTo>
                  <a:pt x="198" y="288"/>
                </a:lnTo>
                <a:lnTo>
                  <a:pt x="198" y="288"/>
                </a:lnTo>
                <a:lnTo>
                  <a:pt x="198" y="288"/>
                </a:lnTo>
                <a:lnTo>
                  <a:pt x="198" y="288"/>
                </a:lnTo>
                <a:lnTo>
                  <a:pt x="198" y="288"/>
                </a:lnTo>
                <a:lnTo>
                  <a:pt x="192" y="288"/>
                </a:lnTo>
                <a:lnTo>
                  <a:pt x="192" y="288"/>
                </a:lnTo>
                <a:lnTo>
                  <a:pt x="192" y="288"/>
                </a:lnTo>
                <a:lnTo>
                  <a:pt x="192" y="288"/>
                </a:lnTo>
                <a:lnTo>
                  <a:pt x="192" y="288"/>
                </a:lnTo>
                <a:lnTo>
                  <a:pt x="192" y="288"/>
                </a:lnTo>
                <a:lnTo>
                  <a:pt x="192" y="288"/>
                </a:lnTo>
                <a:lnTo>
                  <a:pt x="192" y="288"/>
                </a:lnTo>
                <a:lnTo>
                  <a:pt x="192" y="288"/>
                </a:lnTo>
                <a:lnTo>
                  <a:pt x="186" y="288"/>
                </a:lnTo>
                <a:lnTo>
                  <a:pt x="186" y="294"/>
                </a:lnTo>
                <a:lnTo>
                  <a:pt x="186" y="288"/>
                </a:lnTo>
                <a:lnTo>
                  <a:pt x="186" y="294"/>
                </a:lnTo>
                <a:lnTo>
                  <a:pt x="186" y="288"/>
                </a:lnTo>
                <a:lnTo>
                  <a:pt x="186" y="294"/>
                </a:lnTo>
                <a:lnTo>
                  <a:pt x="186" y="294"/>
                </a:lnTo>
                <a:lnTo>
                  <a:pt x="186" y="294"/>
                </a:lnTo>
                <a:lnTo>
                  <a:pt x="180" y="294"/>
                </a:lnTo>
                <a:lnTo>
                  <a:pt x="186" y="294"/>
                </a:lnTo>
                <a:lnTo>
                  <a:pt x="180" y="294"/>
                </a:lnTo>
                <a:lnTo>
                  <a:pt x="180" y="294"/>
                </a:lnTo>
                <a:lnTo>
                  <a:pt x="180" y="294"/>
                </a:lnTo>
                <a:lnTo>
                  <a:pt x="180" y="294"/>
                </a:lnTo>
                <a:lnTo>
                  <a:pt x="180" y="294"/>
                </a:lnTo>
                <a:lnTo>
                  <a:pt x="180" y="294"/>
                </a:lnTo>
                <a:lnTo>
                  <a:pt x="180" y="294"/>
                </a:lnTo>
                <a:lnTo>
                  <a:pt x="180" y="294"/>
                </a:lnTo>
                <a:lnTo>
                  <a:pt x="180" y="294"/>
                </a:lnTo>
                <a:lnTo>
                  <a:pt x="174" y="294"/>
                </a:lnTo>
                <a:lnTo>
                  <a:pt x="174" y="294"/>
                </a:lnTo>
                <a:lnTo>
                  <a:pt x="174" y="294"/>
                </a:lnTo>
                <a:lnTo>
                  <a:pt x="174" y="294"/>
                </a:lnTo>
                <a:lnTo>
                  <a:pt x="174" y="300"/>
                </a:lnTo>
                <a:lnTo>
                  <a:pt x="174" y="300"/>
                </a:lnTo>
                <a:lnTo>
                  <a:pt x="174" y="300"/>
                </a:lnTo>
                <a:lnTo>
                  <a:pt x="174" y="300"/>
                </a:lnTo>
                <a:lnTo>
                  <a:pt x="168" y="300"/>
                </a:lnTo>
                <a:lnTo>
                  <a:pt x="168" y="300"/>
                </a:lnTo>
                <a:lnTo>
                  <a:pt x="174" y="294"/>
                </a:lnTo>
                <a:lnTo>
                  <a:pt x="168" y="294"/>
                </a:lnTo>
                <a:lnTo>
                  <a:pt x="168" y="294"/>
                </a:lnTo>
                <a:lnTo>
                  <a:pt x="168" y="294"/>
                </a:lnTo>
                <a:lnTo>
                  <a:pt x="168" y="294"/>
                </a:lnTo>
                <a:lnTo>
                  <a:pt x="168" y="294"/>
                </a:lnTo>
                <a:lnTo>
                  <a:pt x="162" y="294"/>
                </a:lnTo>
                <a:lnTo>
                  <a:pt x="162" y="294"/>
                </a:lnTo>
                <a:lnTo>
                  <a:pt x="162" y="300"/>
                </a:lnTo>
                <a:lnTo>
                  <a:pt x="162" y="300"/>
                </a:lnTo>
                <a:lnTo>
                  <a:pt x="162" y="300"/>
                </a:lnTo>
                <a:lnTo>
                  <a:pt x="162" y="300"/>
                </a:lnTo>
                <a:lnTo>
                  <a:pt x="162" y="300"/>
                </a:lnTo>
                <a:lnTo>
                  <a:pt x="162" y="300"/>
                </a:lnTo>
                <a:lnTo>
                  <a:pt x="156" y="306"/>
                </a:lnTo>
                <a:lnTo>
                  <a:pt x="156" y="306"/>
                </a:lnTo>
                <a:lnTo>
                  <a:pt x="156" y="306"/>
                </a:lnTo>
                <a:lnTo>
                  <a:pt x="156" y="306"/>
                </a:lnTo>
                <a:lnTo>
                  <a:pt x="156" y="306"/>
                </a:lnTo>
                <a:lnTo>
                  <a:pt x="156" y="300"/>
                </a:lnTo>
                <a:lnTo>
                  <a:pt x="156" y="306"/>
                </a:lnTo>
                <a:lnTo>
                  <a:pt x="150" y="306"/>
                </a:lnTo>
                <a:lnTo>
                  <a:pt x="150" y="300"/>
                </a:lnTo>
                <a:lnTo>
                  <a:pt x="150" y="300"/>
                </a:lnTo>
                <a:lnTo>
                  <a:pt x="144" y="300"/>
                </a:lnTo>
                <a:lnTo>
                  <a:pt x="144" y="300"/>
                </a:lnTo>
                <a:lnTo>
                  <a:pt x="144" y="300"/>
                </a:lnTo>
                <a:lnTo>
                  <a:pt x="144" y="300"/>
                </a:lnTo>
                <a:lnTo>
                  <a:pt x="144" y="300"/>
                </a:lnTo>
                <a:lnTo>
                  <a:pt x="144" y="300"/>
                </a:lnTo>
                <a:lnTo>
                  <a:pt x="144" y="300"/>
                </a:lnTo>
                <a:lnTo>
                  <a:pt x="144" y="306"/>
                </a:lnTo>
                <a:lnTo>
                  <a:pt x="144" y="306"/>
                </a:lnTo>
                <a:lnTo>
                  <a:pt x="138" y="306"/>
                </a:lnTo>
                <a:lnTo>
                  <a:pt x="138" y="306"/>
                </a:lnTo>
                <a:lnTo>
                  <a:pt x="138" y="306"/>
                </a:lnTo>
                <a:lnTo>
                  <a:pt x="138" y="306"/>
                </a:lnTo>
                <a:lnTo>
                  <a:pt x="138" y="306"/>
                </a:lnTo>
                <a:lnTo>
                  <a:pt x="138" y="306"/>
                </a:lnTo>
                <a:lnTo>
                  <a:pt x="132" y="306"/>
                </a:lnTo>
                <a:lnTo>
                  <a:pt x="132" y="300"/>
                </a:lnTo>
                <a:lnTo>
                  <a:pt x="138" y="300"/>
                </a:lnTo>
                <a:lnTo>
                  <a:pt x="138" y="300"/>
                </a:lnTo>
                <a:lnTo>
                  <a:pt x="138" y="300"/>
                </a:lnTo>
                <a:lnTo>
                  <a:pt x="138" y="300"/>
                </a:lnTo>
                <a:lnTo>
                  <a:pt x="138" y="300"/>
                </a:lnTo>
                <a:lnTo>
                  <a:pt x="132" y="300"/>
                </a:lnTo>
                <a:lnTo>
                  <a:pt x="132" y="300"/>
                </a:lnTo>
                <a:lnTo>
                  <a:pt x="132" y="300"/>
                </a:lnTo>
                <a:lnTo>
                  <a:pt x="132" y="294"/>
                </a:lnTo>
                <a:lnTo>
                  <a:pt x="132" y="294"/>
                </a:lnTo>
                <a:lnTo>
                  <a:pt x="126" y="294"/>
                </a:lnTo>
                <a:lnTo>
                  <a:pt x="126" y="294"/>
                </a:lnTo>
                <a:lnTo>
                  <a:pt x="126" y="294"/>
                </a:lnTo>
                <a:lnTo>
                  <a:pt x="126" y="294"/>
                </a:lnTo>
                <a:lnTo>
                  <a:pt x="126" y="294"/>
                </a:lnTo>
                <a:lnTo>
                  <a:pt x="120" y="294"/>
                </a:lnTo>
                <a:lnTo>
                  <a:pt x="120" y="288"/>
                </a:lnTo>
                <a:lnTo>
                  <a:pt x="120" y="288"/>
                </a:lnTo>
                <a:lnTo>
                  <a:pt x="120" y="288"/>
                </a:lnTo>
                <a:lnTo>
                  <a:pt x="120" y="288"/>
                </a:lnTo>
                <a:lnTo>
                  <a:pt x="114" y="288"/>
                </a:lnTo>
                <a:lnTo>
                  <a:pt x="114" y="282"/>
                </a:lnTo>
                <a:lnTo>
                  <a:pt x="114" y="282"/>
                </a:lnTo>
                <a:lnTo>
                  <a:pt x="114" y="282"/>
                </a:lnTo>
                <a:lnTo>
                  <a:pt x="114" y="288"/>
                </a:lnTo>
                <a:lnTo>
                  <a:pt x="108" y="288"/>
                </a:lnTo>
                <a:lnTo>
                  <a:pt x="108" y="288"/>
                </a:lnTo>
                <a:lnTo>
                  <a:pt x="108" y="288"/>
                </a:lnTo>
                <a:lnTo>
                  <a:pt x="108" y="288"/>
                </a:lnTo>
                <a:lnTo>
                  <a:pt x="108" y="288"/>
                </a:lnTo>
                <a:lnTo>
                  <a:pt x="108" y="288"/>
                </a:lnTo>
                <a:lnTo>
                  <a:pt x="108" y="288"/>
                </a:lnTo>
                <a:lnTo>
                  <a:pt x="108" y="288"/>
                </a:lnTo>
                <a:lnTo>
                  <a:pt x="108" y="294"/>
                </a:lnTo>
                <a:lnTo>
                  <a:pt x="108" y="294"/>
                </a:lnTo>
                <a:lnTo>
                  <a:pt x="108" y="294"/>
                </a:lnTo>
                <a:lnTo>
                  <a:pt x="108" y="294"/>
                </a:lnTo>
                <a:lnTo>
                  <a:pt x="108" y="294"/>
                </a:lnTo>
                <a:lnTo>
                  <a:pt x="108" y="294"/>
                </a:lnTo>
                <a:lnTo>
                  <a:pt x="108" y="294"/>
                </a:lnTo>
                <a:lnTo>
                  <a:pt x="108" y="300"/>
                </a:lnTo>
                <a:lnTo>
                  <a:pt x="108" y="300"/>
                </a:lnTo>
                <a:lnTo>
                  <a:pt x="108" y="300"/>
                </a:lnTo>
                <a:lnTo>
                  <a:pt x="108" y="300"/>
                </a:lnTo>
                <a:lnTo>
                  <a:pt x="108" y="300"/>
                </a:lnTo>
                <a:lnTo>
                  <a:pt x="108" y="300"/>
                </a:lnTo>
                <a:lnTo>
                  <a:pt x="108" y="300"/>
                </a:lnTo>
                <a:lnTo>
                  <a:pt x="108" y="300"/>
                </a:lnTo>
                <a:lnTo>
                  <a:pt x="108" y="300"/>
                </a:lnTo>
                <a:lnTo>
                  <a:pt x="108" y="306"/>
                </a:lnTo>
                <a:lnTo>
                  <a:pt x="108" y="306"/>
                </a:lnTo>
                <a:lnTo>
                  <a:pt x="108" y="306"/>
                </a:lnTo>
                <a:lnTo>
                  <a:pt x="108" y="306"/>
                </a:lnTo>
                <a:lnTo>
                  <a:pt x="108" y="312"/>
                </a:lnTo>
                <a:lnTo>
                  <a:pt x="108" y="312"/>
                </a:lnTo>
                <a:lnTo>
                  <a:pt x="108" y="312"/>
                </a:lnTo>
                <a:lnTo>
                  <a:pt x="108" y="312"/>
                </a:lnTo>
                <a:lnTo>
                  <a:pt x="108" y="312"/>
                </a:lnTo>
                <a:lnTo>
                  <a:pt x="108" y="318"/>
                </a:lnTo>
                <a:lnTo>
                  <a:pt x="108" y="318"/>
                </a:lnTo>
                <a:lnTo>
                  <a:pt x="108" y="318"/>
                </a:lnTo>
                <a:lnTo>
                  <a:pt x="114" y="318"/>
                </a:lnTo>
                <a:lnTo>
                  <a:pt x="114" y="318"/>
                </a:lnTo>
                <a:lnTo>
                  <a:pt x="114" y="324"/>
                </a:lnTo>
                <a:lnTo>
                  <a:pt x="108" y="324"/>
                </a:lnTo>
                <a:lnTo>
                  <a:pt x="108" y="324"/>
                </a:lnTo>
                <a:lnTo>
                  <a:pt x="108" y="324"/>
                </a:lnTo>
                <a:lnTo>
                  <a:pt x="108" y="324"/>
                </a:lnTo>
                <a:lnTo>
                  <a:pt x="108" y="324"/>
                </a:lnTo>
                <a:lnTo>
                  <a:pt x="108" y="330"/>
                </a:lnTo>
                <a:lnTo>
                  <a:pt x="108" y="330"/>
                </a:lnTo>
                <a:lnTo>
                  <a:pt x="108" y="330"/>
                </a:lnTo>
                <a:lnTo>
                  <a:pt x="90" y="312"/>
                </a:lnTo>
                <a:lnTo>
                  <a:pt x="90" y="312"/>
                </a:lnTo>
                <a:lnTo>
                  <a:pt x="84" y="312"/>
                </a:lnTo>
                <a:lnTo>
                  <a:pt x="84" y="312"/>
                </a:lnTo>
                <a:lnTo>
                  <a:pt x="84" y="312"/>
                </a:lnTo>
                <a:lnTo>
                  <a:pt x="84" y="312"/>
                </a:lnTo>
                <a:lnTo>
                  <a:pt x="78" y="312"/>
                </a:lnTo>
                <a:lnTo>
                  <a:pt x="78" y="312"/>
                </a:lnTo>
                <a:lnTo>
                  <a:pt x="78" y="312"/>
                </a:lnTo>
                <a:lnTo>
                  <a:pt x="78" y="312"/>
                </a:lnTo>
                <a:lnTo>
                  <a:pt x="78" y="312"/>
                </a:lnTo>
                <a:lnTo>
                  <a:pt x="78" y="312"/>
                </a:lnTo>
                <a:lnTo>
                  <a:pt x="78" y="312"/>
                </a:lnTo>
                <a:lnTo>
                  <a:pt x="78" y="312"/>
                </a:lnTo>
                <a:lnTo>
                  <a:pt x="72" y="312"/>
                </a:lnTo>
                <a:lnTo>
                  <a:pt x="72" y="312"/>
                </a:lnTo>
                <a:lnTo>
                  <a:pt x="72" y="312"/>
                </a:lnTo>
                <a:lnTo>
                  <a:pt x="72" y="306"/>
                </a:lnTo>
                <a:lnTo>
                  <a:pt x="72" y="306"/>
                </a:lnTo>
                <a:lnTo>
                  <a:pt x="72" y="306"/>
                </a:lnTo>
                <a:lnTo>
                  <a:pt x="72" y="312"/>
                </a:lnTo>
                <a:lnTo>
                  <a:pt x="72" y="312"/>
                </a:lnTo>
                <a:lnTo>
                  <a:pt x="72" y="312"/>
                </a:lnTo>
                <a:lnTo>
                  <a:pt x="72" y="312"/>
                </a:lnTo>
                <a:lnTo>
                  <a:pt x="66" y="312"/>
                </a:lnTo>
                <a:lnTo>
                  <a:pt x="66" y="312"/>
                </a:lnTo>
                <a:lnTo>
                  <a:pt x="66" y="312"/>
                </a:lnTo>
                <a:lnTo>
                  <a:pt x="66" y="306"/>
                </a:lnTo>
                <a:lnTo>
                  <a:pt x="66" y="306"/>
                </a:lnTo>
                <a:lnTo>
                  <a:pt x="66" y="306"/>
                </a:lnTo>
                <a:lnTo>
                  <a:pt x="60" y="306"/>
                </a:lnTo>
                <a:lnTo>
                  <a:pt x="60" y="306"/>
                </a:lnTo>
                <a:lnTo>
                  <a:pt x="60" y="306"/>
                </a:lnTo>
                <a:lnTo>
                  <a:pt x="60" y="306"/>
                </a:lnTo>
                <a:lnTo>
                  <a:pt x="60" y="306"/>
                </a:lnTo>
                <a:lnTo>
                  <a:pt x="60" y="306"/>
                </a:lnTo>
                <a:lnTo>
                  <a:pt x="54" y="306"/>
                </a:lnTo>
                <a:lnTo>
                  <a:pt x="54" y="306"/>
                </a:lnTo>
                <a:lnTo>
                  <a:pt x="54" y="300"/>
                </a:lnTo>
                <a:lnTo>
                  <a:pt x="54" y="300"/>
                </a:lnTo>
                <a:lnTo>
                  <a:pt x="54" y="300"/>
                </a:lnTo>
                <a:lnTo>
                  <a:pt x="54" y="300"/>
                </a:lnTo>
                <a:lnTo>
                  <a:pt x="54" y="300"/>
                </a:lnTo>
                <a:lnTo>
                  <a:pt x="54" y="300"/>
                </a:lnTo>
                <a:lnTo>
                  <a:pt x="54" y="300"/>
                </a:lnTo>
                <a:lnTo>
                  <a:pt x="54" y="300"/>
                </a:lnTo>
                <a:lnTo>
                  <a:pt x="54" y="306"/>
                </a:lnTo>
                <a:lnTo>
                  <a:pt x="54" y="306"/>
                </a:lnTo>
                <a:lnTo>
                  <a:pt x="54" y="306"/>
                </a:lnTo>
                <a:lnTo>
                  <a:pt x="54" y="306"/>
                </a:lnTo>
                <a:lnTo>
                  <a:pt x="54" y="306"/>
                </a:lnTo>
                <a:lnTo>
                  <a:pt x="54" y="306"/>
                </a:lnTo>
                <a:lnTo>
                  <a:pt x="54" y="306"/>
                </a:lnTo>
                <a:lnTo>
                  <a:pt x="48" y="306"/>
                </a:lnTo>
                <a:lnTo>
                  <a:pt x="48" y="306"/>
                </a:lnTo>
                <a:lnTo>
                  <a:pt x="48" y="306"/>
                </a:lnTo>
                <a:lnTo>
                  <a:pt x="48" y="306"/>
                </a:lnTo>
                <a:lnTo>
                  <a:pt x="48" y="312"/>
                </a:lnTo>
                <a:lnTo>
                  <a:pt x="48" y="312"/>
                </a:lnTo>
                <a:lnTo>
                  <a:pt x="42" y="312"/>
                </a:lnTo>
                <a:lnTo>
                  <a:pt x="42" y="312"/>
                </a:lnTo>
                <a:lnTo>
                  <a:pt x="42" y="312"/>
                </a:lnTo>
                <a:lnTo>
                  <a:pt x="42" y="312"/>
                </a:lnTo>
                <a:lnTo>
                  <a:pt x="42" y="312"/>
                </a:lnTo>
                <a:lnTo>
                  <a:pt x="42" y="312"/>
                </a:lnTo>
                <a:lnTo>
                  <a:pt x="42" y="306"/>
                </a:lnTo>
                <a:lnTo>
                  <a:pt x="42" y="306"/>
                </a:lnTo>
                <a:lnTo>
                  <a:pt x="42" y="300"/>
                </a:lnTo>
                <a:lnTo>
                  <a:pt x="42" y="300"/>
                </a:lnTo>
                <a:lnTo>
                  <a:pt x="42" y="300"/>
                </a:lnTo>
                <a:lnTo>
                  <a:pt x="42" y="300"/>
                </a:lnTo>
                <a:lnTo>
                  <a:pt x="42" y="300"/>
                </a:lnTo>
                <a:lnTo>
                  <a:pt x="42" y="300"/>
                </a:lnTo>
                <a:lnTo>
                  <a:pt x="42" y="300"/>
                </a:lnTo>
                <a:lnTo>
                  <a:pt x="42" y="294"/>
                </a:lnTo>
                <a:lnTo>
                  <a:pt x="42" y="294"/>
                </a:lnTo>
                <a:lnTo>
                  <a:pt x="42" y="294"/>
                </a:lnTo>
                <a:lnTo>
                  <a:pt x="42" y="294"/>
                </a:lnTo>
                <a:lnTo>
                  <a:pt x="42" y="294"/>
                </a:lnTo>
                <a:lnTo>
                  <a:pt x="42" y="294"/>
                </a:lnTo>
                <a:lnTo>
                  <a:pt x="42" y="294"/>
                </a:lnTo>
                <a:lnTo>
                  <a:pt x="42" y="288"/>
                </a:lnTo>
                <a:lnTo>
                  <a:pt x="42" y="288"/>
                </a:lnTo>
                <a:lnTo>
                  <a:pt x="48" y="288"/>
                </a:lnTo>
                <a:lnTo>
                  <a:pt x="48" y="288"/>
                </a:lnTo>
                <a:lnTo>
                  <a:pt x="48" y="282"/>
                </a:lnTo>
                <a:lnTo>
                  <a:pt x="48" y="282"/>
                </a:lnTo>
                <a:lnTo>
                  <a:pt x="48" y="282"/>
                </a:lnTo>
                <a:lnTo>
                  <a:pt x="42" y="276"/>
                </a:lnTo>
                <a:lnTo>
                  <a:pt x="42" y="276"/>
                </a:lnTo>
                <a:lnTo>
                  <a:pt x="48" y="276"/>
                </a:lnTo>
                <a:lnTo>
                  <a:pt x="42" y="270"/>
                </a:lnTo>
                <a:lnTo>
                  <a:pt x="48" y="270"/>
                </a:lnTo>
                <a:lnTo>
                  <a:pt x="42" y="264"/>
                </a:lnTo>
                <a:lnTo>
                  <a:pt x="42" y="264"/>
                </a:lnTo>
                <a:lnTo>
                  <a:pt x="42" y="264"/>
                </a:lnTo>
                <a:lnTo>
                  <a:pt x="42" y="264"/>
                </a:lnTo>
                <a:lnTo>
                  <a:pt x="42" y="258"/>
                </a:lnTo>
                <a:lnTo>
                  <a:pt x="42" y="258"/>
                </a:lnTo>
                <a:lnTo>
                  <a:pt x="36" y="258"/>
                </a:lnTo>
                <a:lnTo>
                  <a:pt x="36" y="252"/>
                </a:lnTo>
                <a:lnTo>
                  <a:pt x="36" y="252"/>
                </a:lnTo>
                <a:lnTo>
                  <a:pt x="36" y="252"/>
                </a:lnTo>
                <a:lnTo>
                  <a:pt x="36" y="252"/>
                </a:lnTo>
                <a:lnTo>
                  <a:pt x="36" y="252"/>
                </a:lnTo>
                <a:lnTo>
                  <a:pt x="36" y="246"/>
                </a:lnTo>
                <a:lnTo>
                  <a:pt x="36" y="246"/>
                </a:lnTo>
                <a:lnTo>
                  <a:pt x="30" y="246"/>
                </a:lnTo>
                <a:lnTo>
                  <a:pt x="30" y="246"/>
                </a:lnTo>
                <a:lnTo>
                  <a:pt x="30" y="240"/>
                </a:lnTo>
                <a:lnTo>
                  <a:pt x="36" y="240"/>
                </a:lnTo>
                <a:lnTo>
                  <a:pt x="36" y="240"/>
                </a:lnTo>
                <a:lnTo>
                  <a:pt x="30" y="234"/>
                </a:lnTo>
                <a:lnTo>
                  <a:pt x="30" y="240"/>
                </a:lnTo>
                <a:lnTo>
                  <a:pt x="30" y="234"/>
                </a:lnTo>
                <a:lnTo>
                  <a:pt x="30" y="234"/>
                </a:lnTo>
                <a:lnTo>
                  <a:pt x="30" y="234"/>
                </a:lnTo>
                <a:lnTo>
                  <a:pt x="30" y="234"/>
                </a:lnTo>
                <a:lnTo>
                  <a:pt x="30" y="228"/>
                </a:lnTo>
                <a:lnTo>
                  <a:pt x="30" y="228"/>
                </a:lnTo>
                <a:lnTo>
                  <a:pt x="30" y="228"/>
                </a:lnTo>
                <a:lnTo>
                  <a:pt x="30" y="228"/>
                </a:lnTo>
                <a:lnTo>
                  <a:pt x="30" y="228"/>
                </a:lnTo>
                <a:lnTo>
                  <a:pt x="24" y="228"/>
                </a:lnTo>
                <a:lnTo>
                  <a:pt x="24" y="228"/>
                </a:lnTo>
                <a:lnTo>
                  <a:pt x="24" y="228"/>
                </a:lnTo>
                <a:lnTo>
                  <a:pt x="24" y="228"/>
                </a:lnTo>
                <a:lnTo>
                  <a:pt x="30" y="222"/>
                </a:lnTo>
                <a:lnTo>
                  <a:pt x="30" y="216"/>
                </a:lnTo>
                <a:lnTo>
                  <a:pt x="30" y="216"/>
                </a:lnTo>
                <a:lnTo>
                  <a:pt x="30" y="216"/>
                </a:lnTo>
                <a:lnTo>
                  <a:pt x="30" y="216"/>
                </a:lnTo>
                <a:lnTo>
                  <a:pt x="30" y="216"/>
                </a:lnTo>
                <a:lnTo>
                  <a:pt x="24" y="216"/>
                </a:lnTo>
                <a:lnTo>
                  <a:pt x="24" y="216"/>
                </a:lnTo>
                <a:lnTo>
                  <a:pt x="30" y="210"/>
                </a:lnTo>
                <a:lnTo>
                  <a:pt x="30" y="210"/>
                </a:lnTo>
                <a:lnTo>
                  <a:pt x="36" y="210"/>
                </a:lnTo>
                <a:lnTo>
                  <a:pt x="30" y="204"/>
                </a:lnTo>
                <a:lnTo>
                  <a:pt x="36" y="204"/>
                </a:lnTo>
                <a:lnTo>
                  <a:pt x="36" y="204"/>
                </a:lnTo>
                <a:lnTo>
                  <a:pt x="36" y="204"/>
                </a:lnTo>
                <a:lnTo>
                  <a:pt x="36" y="204"/>
                </a:lnTo>
                <a:lnTo>
                  <a:pt x="36" y="198"/>
                </a:lnTo>
                <a:lnTo>
                  <a:pt x="30" y="198"/>
                </a:lnTo>
                <a:lnTo>
                  <a:pt x="30" y="198"/>
                </a:lnTo>
                <a:lnTo>
                  <a:pt x="30" y="198"/>
                </a:lnTo>
                <a:lnTo>
                  <a:pt x="30" y="198"/>
                </a:lnTo>
                <a:lnTo>
                  <a:pt x="30" y="192"/>
                </a:lnTo>
                <a:lnTo>
                  <a:pt x="36" y="192"/>
                </a:lnTo>
                <a:lnTo>
                  <a:pt x="36" y="192"/>
                </a:lnTo>
                <a:lnTo>
                  <a:pt x="30" y="186"/>
                </a:lnTo>
                <a:lnTo>
                  <a:pt x="30" y="186"/>
                </a:lnTo>
                <a:lnTo>
                  <a:pt x="30" y="186"/>
                </a:lnTo>
                <a:lnTo>
                  <a:pt x="30" y="180"/>
                </a:lnTo>
                <a:lnTo>
                  <a:pt x="30" y="180"/>
                </a:lnTo>
                <a:lnTo>
                  <a:pt x="30" y="180"/>
                </a:lnTo>
                <a:lnTo>
                  <a:pt x="24" y="174"/>
                </a:lnTo>
                <a:lnTo>
                  <a:pt x="24" y="174"/>
                </a:lnTo>
                <a:lnTo>
                  <a:pt x="24" y="174"/>
                </a:lnTo>
                <a:lnTo>
                  <a:pt x="24" y="174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30" y="168"/>
                </a:lnTo>
                <a:lnTo>
                  <a:pt x="30" y="162"/>
                </a:lnTo>
                <a:lnTo>
                  <a:pt x="30" y="162"/>
                </a:lnTo>
                <a:lnTo>
                  <a:pt x="30" y="162"/>
                </a:lnTo>
                <a:lnTo>
                  <a:pt x="30" y="162"/>
                </a:lnTo>
                <a:lnTo>
                  <a:pt x="30" y="162"/>
                </a:lnTo>
                <a:lnTo>
                  <a:pt x="36" y="162"/>
                </a:lnTo>
                <a:lnTo>
                  <a:pt x="36" y="162"/>
                </a:lnTo>
                <a:lnTo>
                  <a:pt x="36" y="162"/>
                </a:lnTo>
                <a:lnTo>
                  <a:pt x="36" y="162"/>
                </a:lnTo>
                <a:lnTo>
                  <a:pt x="36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68"/>
                </a:lnTo>
                <a:lnTo>
                  <a:pt x="42" y="168"/>
                </a:lnTo>
                <a:lnTo>
                  <a:pt x="42" y="168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8" y="162"/>
                </a:lnTo>
                <a:lnTo>
                  <a:pt x="48" y="156"/>
                </a:lnTo>
                <a:lnTo>
                  <a:pt x="48" y="156"/>
                </a:lnTo>
                <a:lnTo>
                  <a:pt x="48" y="162"/>
                </a:lnTo>
                <a:lnTo>
                  <a:pt x="48" y="156"/>
                </a:lnTo>
                <a:lnTo>
                  <a:pt x="48" y="156"/>
                </a:lnTo>
                <a:lnTo>
                  <a:pt x="48" y="156"/>
                </a:lnTo>
                <a:lnTo>
                  <a:pt x="48" y="156"/>
                </a:lnTo>
                <a:lnTo>
                  <a:pt x="48" y="150"/>
                </a:lnTo>
                <a:lnTo>
                  <a:pt x="48" y="150"/>
                </a:lnTo>
                <a:lnTo>
                  <a:pt x="42" y="150"/>
                </a:lnTo>
                <a:lnTo>
                  <a:pt x="42" y="150"/>
                </a:lnTo>
                <a:lnTo>
                  <a:pt x="42" y="150"/>
                </a:lnTo>
                <a:lnTo>
                  <a:pt x="42" y="150"/>
                </a:lnTo>
                <a:lnTo>
                  <a:pt x="42" y="150"/>
                </a:lnTo>
                <a:lnTo>
                  <a:pt x="42" y="150"/>
                </a:lnTo>
                <a:lnTo>
                  <a:pt x="42" y="144"/>
                </a:lnTo>
                <a:lnTo>
                  <a:pt x="42" y="150"/>
                </a:lnTo>
                <a:lnTo>
                  <a:pt x="42" y="150"/>
                </a:lnTo>
                <a:lnTo>
                  <a:pt x="42" y="150"/>
                </a:lnTo>
                <a:lnTo>
                  <a:pt x="42" y="150"/>
                </a:lnTo>
                <a:lnTo>
                  <a:pt x="36" y="150"/>
                </a:lnTo>
                <a:lnTo>
                  <a:pt x="36" y="150"/>
                </a:lnTo>
                <a:lnTo>
                  <a:pt x="36" y="150"/>
                </a:lnTo>
                <a:lnTo>
                  <a:pt x="36" y="150"/>
                </a:lnTo>
                <a:lnTo>
                  <a:pt x="36" y="144"/>
                </a:lnTo>
                <a:lnTo>
                  <a:pt x="36" y="144"/>
                </a:lnTo>
                <a:lnTo>
                  <a:pt x="36" y="144"/>
                </a:lnTo>
                <a:lnTo>
                  <a:pt x="36" y="144"/>
                </a:lnTo>
                <a:lnTo>
                  <a:pt x="36" y="144"/>
                </a:lnTo>
                <a:lnTo>
                  <a:pt x="36" y="144"/>
                </a:lnTo>
                <a:lnTo>
                  <a:pt x="36" y="144"/>
                </a:lnTo>
                <a:lnTo>
                  <a:pt x="36" y="138"/>
                </a:lnTo>
                <a:lnTo>
                  <a:pt x="36" y="138"/>
                </a:lnTo>
                <a:lnTo>
                  <a:pt x="30" y="138"/>
                </a:lnTo>
                <a:lnTo>
                  <a:pt x="30" y="138"/>
                </a:lnTo>
                <a:lnTo>
                  <a:pt x="30" y="138"/>
                </a:lnTo>
                <a:lnTo>
                  <a:pt x="30" y="138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6" y="90"/>
                </a:lnTo>
                <a:lnTo>
                  <a:pt x="12" y="90"/>
                </a:lnTo>
                <a:lnTo>
                  <a:pt x="6" y="90"/>
                </a:lnTo>
                <a:lnTo>
                  <a:pt x="6" y="90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6" y="72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28" name="Freeform 61"/>
          <p:cNvSpPr>
            <a:spLocks/>
          </p:cNvSpPr>
          <p:nvPr/>
        </p:nvSpPr>
        <p:spPr bwMode="auto">
          <a:xfrm>
            <a:off x="6877550" y="2304137"/>
            <a:ext cx="186297" cy="379022"/>
          </a:xfrm>
          <a:custGeom>
            <a:avLst/>
            <a:gdLst>
              <a:gd name="T0" fmla="*/ 6 w 174"/>
              <a:gd name="T1" fmla="*/ 240 h 354"/>
              <a:gd name="T2" fmla="*/ 6 w 174"/>
              <a:gd name="T3" fmla="*/ 234 h 354"/>
              <a:gd name="T4" fmla="*/ 18 w 174"/>
              <a:gd name="T5" fmla="*/ 228 h 354"/>
              <a:gd name="T6" fmla="*/ 24 w 174"/>
              <a:gd name="T7" fmla="*/ 228 h 354"/>
              <a:gd name="T8" fmla="*/ 30 w 174"/>
              <a:gd name="T9" fmla="*/ 216 h 354"/>
              <a:gd name="T10" fmla="*/ 18 w 174"/>
              <a:gd name="T11" fmla="*/ 210 h 354"/>
              <a:gd name="T12" fmla="*/ 24 w 174"/>
              <a:gd name="T13" fmla="*/ 192 h 354"/>
              <a:gd name="T14" fmla="*/ 30 w 174"/>
              <a:gd name="T15" fmla="*/ 186 h 354"/>
              <a:gd name="T16" fmla="*/ 42 w 174"/>
              <a:gd name="T17" fmla="*/ 186 h 354"/>
              <a:gd name="T18" fmla="*/ 48 w 174"/>
              <a:gd name="T19" fmla="*/ 180 h 354"/>
              <a:gd name="T20" fmla="*/ 54 w 174"/>
              <a:gd name="T21" fmla="*/ 186 h 354"/>
              <a:gd name="T22" fmla="*/ 60 w 174"/>
              <a:gd name="T23" fmla="*/ 186 h 354"/>
              <a:gd name="T24" fmla="*/ 60 w 174"/>
              <a:gd name="T25" fmla="*/ 162 h 354"/>
              <a:gd name="T26" fmla="*/ 60 w 174"/>
              <a:gd name="T27" fmla="*/ 138 h 354"/>
              <a:gd name="T28" fmla="*/ 60 w 174"/>
              <a:gd name="T29" fmla="*/ 96 h 354"/>
              <a:gd name="T30" fmla="*/ 72 w 174"/>
              <a:gd name="T31" fmla="*/ 60 h 354"/>
              <a:gd name="T32" fmla="*/ 90 w 174"/>
              <a:gd name="T33" fmla="*/ 30 h 354"/>
              <a:gd name="T34" fmla="*/ 90 w 174"/>
              <a:gd name="T35" fmla="*/ 6 h 354"/>
              <a:gd name="T36" fmla="*/ 96 w 174"/>
              <a:gd name="T37" fmla="*/ 6 h 354"/>
              <a:gd name="T38" fmla="*/ 102 w 174"/>
              <a:gd name="T39" fmla="*/ 6 h 354"/>
              <a:gd name="T40" fmla="*/ 108 w 174"/>
              <a:gd name="T41" fmla="*/ 6 h 354"/>
              <a:gd name="T42" fmla="*/ 120 w 174"/>
              <a:gd name="T43" fmla="*/ 18 h 354"/>
              <a:gd name="T44" fmla="*/ 150 w 174"/>
              <a:gd name="T45" fmla="*/ 12 h 354"/>
              <a:gd name="T46" fmla="*/ 144 w 174"/>
              <a:gd name="T47" fmla="*/ 18 h 354"/>
              <a:gd name="T48" fmla="*/ 150 w 174"/>
              <a:gd name="T49" fmla="*/ 24 h 354"/>
              <a:gd name="T50" fmla="*/ 162 w 174"/>
              <a:gd name="T51" fmla="*/ 24 h 354"/>
              <a:gd name="T52" fmla="*/ 174 w 174"/>
              <a:gd name="T53" fmla="*/ 24 h 354"/>
              <a:gd name="T54" fmla="*/ 156 w 174"/>
              <a:gd name="T55" fmla="*/ 60 h 354"/>
              <a:gd name="T56" fmla="*/ 150 w 174"/>
              <a:gd name="T57" fmla="*/ 72 h 354"/>
              <a:gd name="T58" fmla="*/ 144 w 174"/>
              <a:gd name="T59" fmla="*/ 78 h 354"/>
              <a:gd name="T60" fmla="*/ 144 w 174"/>
              <a:gd name="T61" fmla="*/ 84 h 354"/>
              <a:gd name="T62" fmla="*/ 138 w 174"/>
              <a:gd name="T63" fmla="*/ 96 h 354"/>
              <a:gd name="T64" fmla="*/ 120 w 174"/>
              <a:gd name="T65" fmla="*/ 96 h 354"/>
              <a:gd name="T66" fmla="*/ 114 w 174"/>
              <a:gd name="T67" fmla="*/ 114 h 354"/>
              <a:gd name="T68" fmla="*/ 120 w 174"/>
              <a:gd name="T69" fmla="*/ 144 h 354"/>
              <a:gd name="T70" fmla="*/ 126 w 174"/>
              <a:gd name="T71" fmla="*/ 168 h 354"/>
              <a:gd name="T72" fmla="*/ 126 w 174"/>
              <a:gd name="T73" fmla="*/ 180 h 354"/>
              <a:gd name="T74" fmla="*/ 132 w 174"/>
              <a:gd name="T75" fmla="*/ 204 h 354"/>
              <a:gd name="T76" fmla="*/ 126 w 174"/>
              <a:gd name="T77" fmla="*/ 228 h 354"/>
              <a:gd name="T78" fmla="*/ 126 w 174"/>
              <a:gd name="T79" fmla="*/ 240 h 354"/>
              <a:gd name="T80" fmla="*/ 126 w 174"/>
              <a:gd name="T81" fmla="*/ 258 h 354"/>
              <a:gd name="T82" fmla="*/ 132 w 174"/>
              <a:gd name="T83" fmla="*/ 264 h 354"/>
              <a:gd name="T84" fmla="*/ 132 w 174"/>
              <a:gd name="T85" fmla="*/ 276 h 354"/>
              <a:gd name="T86" fmla="*/ 132 w 174"/>
              <a:gd name="T87" fmla="*/ 282 h 354"/>
              <a:gd name="T88" fmla="*/ 138 w 174"/>
              <a:gd name="T89" fmla="*/ 294 h 354"/>
              <a:gd name="T90" fmla="*/ 144 w 174"/>
              <a:gd name="T91" fmla="*/ 306 h 354"/>
              <a:gd name="T92" fmla="*/ 144 w 174"/>
              <a:gd name="T93" fmla="*/ 312 h 354"/>
              <a:gd name="T94" fmla="*/ 138 w 174"/>
              <a:gd name="T95" fmla="*/ 330 h 354"/>
              <a:gd name="T96" fmla="*/ 132 w 174"/>
              <a:gd name="T97" fmla="*/ 336 h 354"/>
              <a:gd name="T98" fmla="*/ 114 w 174"/>
              <a:gd name="T99" fmla="*/ 342 h 354"/>
              <a:gd name="T100" fmla="*/ 96 w 174"/>
              <a:gd name="T101" fmla="*/ 348 h 354"/>
              <a:gd name="T102" fmla="*/ 84 w 174"/>
              <a:gd name="T103" fmla="*/ 348 h 354"/>
              <a:gd name="T104" fmla="*/ 72 w 174"/>
              <a:gd name="T105" fmla="*/ 348 h 354"/>
              <a:gd name="T106" fmla="*/ 60 w 174"/>
              <a:gd name="T107" fmla="*/ 348 h 354"/>
              <a:gd name="T108" fmla="*/ 54 w 174"/>
              <a:gd name="T109" fmla="*/ 348 h 354"/>
              <a:gd name="T110" fmla="*/ 36 w 174"/>
              <a:gd name="T111" fmla="*/ 324 h 354"/>
              <a:gd name="T112" fmla="*/ 48 w 174"/>
              <a:gd name="T113" fmla="*/ 300 h 354"/>
              <a:gd name="T114" fmla="*/ 48 w 174"/>
              <a:gd name="T115" fmla="*/ 276 h 354"/>
              <a:gd name="T116" fmla="*/ 36 w 174"/>
              <a:gd name="T117" fmla="*/ 288 h 354"/>
              <a:gd name="T118" fmla="*/ 30 w 174"/>
              <a:gd name="T119" fmla="*/ 294 h 354"/>
              <a:gd name="T120" fmla="*/ 18 w 174"/>
              <a:gd name="T121" fmla="*/ 288 h 354"/>
              <a:gd name="T122" fmla="*/ 6 w 174"/>
              <a:gd name="T123" fmla="*/ 282 h 354"/>
              <a:gd name="T124" fmla="*/ 0 w 174"/>
              <a:gd name="T125" fmla="*/ 264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74" h="354">
                <a:moveTo>
                  <a:pt x="0" y="252"/>
                </a:moveTo>
                <a:lnTo>
                  <a:pt x="0" y="252"/>
                </a:lnTo>
                <a:lnTo>
                  <a:pt x="0" y="246"/>
                </a:lnTo>
                <a:lnTo>
                  <a:pt x="0" y="246"/>
                </a:lnTo>
                <a:lnTo>
                  <a:pt x="0" y="246"/>
                </a:lnTo>
                <a:lnTo>
                  <a:pt x="0" y="246"/>
                </a:lnTo>
                <a:lnTo>
                  <a:pt x="0" y="246"/>
                </a:lnTo>
                <a:lnTo>
                  <a:pt x="0" y="240"/>
                </a:lnTo>
                <a:lnTo>
                  <a:pt x="0" y="240"/>
                </a:lnTo>
                <a:lnTo>
                  <a:pt x="6" y="240"/>
                </a:lnTo>
                <a:lnTo>
                  <a:pt x="6" y="240"/>
                </a:lnTo>
                <a:lnTo>
                  <a:pt x="6" y="240"/>
                </a:lnTo>
                <a:lnTo>
                  <a:pt x="6" y="240"/>
                </a:lnTo>
                <a:lnTo>
                  <a:pt x="6" y="234"/>
                </a:lnTo>
                <a:lnTo>
                  <a:pt x="6" y="234"/>
                </a:lnTo>
                <a:lnTo>
                  <a:pt x="6" y="234"/>
                </a:lnTo>
                <a:lnTo>
                  <a:pt x="6" y="234"/>
                </a:lnTo>
                <a:lnTo>
                  <a:pt x="6" y="234"/>
                </a:lnTo>
                <a:lnTo>
                  <a:pt x="6" y="234"/>
                </a:lnTo>
                <a:lnTo>
                  <a:pt x="6" y="234"/>
                </a:lnTo>
                <a:lnTo>
                  <a:pt x="12" y="234"/>
                </a:lnTo>
                <a:lnTo>
                  <a:pt x="12" y="234"/>
                </a:lnTo>
                <a:lnTo>
                  <a:pt x="12" y="234"/>
                </a:lnTo>
                <a:lnTo>
                  <a:pt x="12" y="228"/>
                </a:lnTo>
                <a:lnTo>
                  <a:pt x="12" y="234"/>
                </a:lnTo>
                <a:lnTo>
                  <a:pt x="12" y="228"/>
                </a:lnTo>
                <a:lnTo>
                  <a:pt x="18" y="228"/>
                </a:lnTo>
                <a:lnTo>
                  <a:pt x="18" y="228"/>
                </a:lnTo>
                <a:lnTo>
                  <a:pt x="18" y="228"/>
                </a:lnTo>
                <a:lnTo>
                  <a:pt x="18" y="228"/>
                </a:lnTo>
                <a:lnTo>
                  <a:pt x="18" y="228"/>
                </a:lnTo>
                <a:lnTo>
                  <a:pt x="18" y="228"/>
                </a:lnTo>
                <a:lnTo>
                  <a:pt x="18" y="228"/>
                </a:lnTo>
                <a:lnTo>
                  <a:pt x="18" y="228"/>
                </a:lnTo>
                <a:lnTo>
                  <a:pt x="18" y="228"/>
                </a:lnTo>
                <a:lnTo>
                  <a:pt x="18" y="228"/>
                </a:lnTo>
                <a:lnTo>
                  <a:pt x="18" y="228"/>
                </a:lnTo>
                <a:lnTo>
                  <a:pt x="18" y="228"/>
                </a:lnTo>
                <a:lnTo>
                  <a:pt x="24" y="228"/>
                </a:lnTo>
                <a:lnTo>
                  <a:pt x="24" y="228"/>
                </a:lnTo>
                <a:lnTo>
                  <a:pt x="24" y="222"/>
                </a:lnTo>
                <a:lnTo>
                  <a:pt x="24" y="222"/>
                </a:lnTo>
                <a:lnTo>
                  <a:pt x="24" y="222"/>
                </a:lnTo>
                <a:lnTo>
                  <a:pt x="24" y="222"/>
                </a:lnTo>
                <a:lnTo>
                  <a:pt x="24" y="222"/>
                </a:lnTo>
                <a:lnTo>
                  <a:pt x="24" y="222"/>
                </a:lnTo>
                <a:lnTo>
                  <a:pt x="30" y="222"/>
                </a:lnTo>
                <a:lnTo>
                  <a:pt x="30" y="222"/>
                </a:lnTo>
                <a:lnTo>
                  <a:pt x="24" y="222"/>
                </a:lnTo>
                <a:lnTo>
                  <a:pt x="30" y="216"/>
                </a:lnTo>
                <a:lnTo>
                  <a:pt x="30" y="216"/>
                </a:lnTo>
                <a:lnTo>
                  <a:pt x="24" y="216"/>
                </a:lnTo>
                <a:lnTo>
                  <a:pt x="24" y="216"/>
                </a:lnTo>
                <a:lnTo>
                  <a:pt x="24" y="216"/>
                </a:lnTo>
                <a:lnTo>
                  <a:pt x="24" y="210"/>
                </a:lnTo>
                <a:lnTo>
                  <a:pt x="24" y="210"/>
                </a:lnTo>
                <a:lnTo>
                  <a:pt x="18" y="210"/>
                </a:lnTo>
                <a:lnTo>
                  <a:pt x="18" y="210"/>
                </a:lnTo>
                <a:lnTo>
                  <a:pt x="18" y="210"/>
                </a:lnTo>
                <a:lnTo>
                  <a:pt x="18" y="210"/>
                </a:lnTo>
                <a:lnTo>
                  <a:pt x="18" y="204"/>
                </a:lnTo>
                <a:lnTo>
                  <a:pt x="12" y="204"/>
                </a:lnTo>
                <a:lnTo>
                  <a:pt x="12" y="204"/>
                </a:lnTo>
                <a:lnTo>
                  <a:pt x="18" y="198"/>
                </a:lnTo>
                <a:lnTo>
                  <a:pt x="18" y="198"/>
                </a:lnTo>
                <a:lnTo>
                  <a:pt x="18" y="192"/>
                </a:lnTo>
                <a:lnTo>
                  <a:pt x="18" y="192"/>
                </a:lnTo>
                <a:lnTo>
                  <a:pt x="18" y="192"/>
                </a:lnTo>
                <a:lnTo>
                  <a:pt x="18" y="192"/>
                </a:lnTo>
                <a:lnTo>
                  <a:pt x="24" y="192"/>
                </a:lnTo>
                <a:lnTo>
                  <a:pt x="24" y="192"/>
                </a:lnTo>
                <a:lnTo>
                  <a:pt x="24" y="192"/>
                </a:lnTo>
                <a:lnTo>
                  <a:pt x="24" y="192"/>
                </a:lnTo>
                <a:lnTo>
                  <a:pt x="24" y="186"/>
                </a:lnTo>
                <a:lnTo>
                  <a:pt x="24" y="186"/>
                </a:lnTo>
                <a:lnTo>
                  <a:pt x="30" y="186"/>
                </a:lnTo>
                <a:lnTo>
                  <a:pt x="30" y="186"/>
                </a:lnTo>
                <a:lnTo>
                  <a:pt x="30" y="186"/>
                </a:lnTo>
                <a:lnTo>
                  <a:pt x="30" y="186"/>
                </a:lnTo>
                <a:lnTo>
                  <a:pt x="30" y="186"/>
                </a:lnTo>
                <a:lnTo>
                  <a:pt x="30" y="186"/>
                </a:lnTo>
                <a:lnTo>
                  <a:pt x="30" y="186"/>
                </a:lnTo>
                <a:lnTo>
                  <a:pt x="30" y="186"/>
                </a:lnTo>
                <a:lnTo>
                  <a:pt x="36" y="186"/>
                </a:lnTo>
                <a:lnTo>
                  <a:pt x="36" y="186"/>
                </a:lnTo>
                <a:lnTo>
                  <a:pt x="36" y="186"/>
                </a:lnTo>
                <a:lnTo>
                  <a:pt x="36" y="186"/>
                </a:lnTo>
                <a:lnTo>
                  <a:pt x="36" y="186"/>
                </a:lnTo>
                <a:lnTo>
                  <a:pt x="42" y="186"/>
                </a:lnTo>
                <a:lnTo>
                  <a:pt x="42" y="186"/>
                </a:lnTo>
                <a:lnTo>
                  <a:pt x="42" y="186"/>
                </a:lnTo>
                <a:lnTo>
                  <a:pt x="42" y="186"/>
                </a:lnTo>
                <a:lnTo>
                  <a:pt x="42" y="186"/>
                </a:lnTo>
                <a:lnTo>
                  <a:pt x="42" y="186"/>
                </a:lnTo>
                <a:lnTo>
                  <a:pt x="42" y="186"/>
                </a:lnTo>
                <a:lnTo>
                  <a:pt x="48" y="186"/>
                </a:lnTo>
                <a:lnTo>
                  <a:pt x="48" y="186"/>
                </a:lnTo>
                <a:lnTo>
                  <a:pt x="48" y="186"/>
                </a:lnTo>
                <a:lnTo>
                  <a:pt x="48" y="180"/>
                </a:lnTo>
                <a:lnTo>
                  <a:pt x="48" y="180"/>
                </a:lnTo>
                <a:lnTo>
                  <a:pt x="48" y="180"/>
                </a:lnTo>
                <a:lnTo>
                  <a:pt x="48" y="180"/>
                </a:lnTo>
                <a:lnTo>
                  <a:pt x="48" y="180"/>
                </a:lnTo>
                <a:lnTo>
                  <a:pt x="48" y="180"/>
                </a:lnTo>
                <a:lnTo>
                  <a:pt x="48" y="186"/>
                </a:lnTo>
                <a:lnTo>
                  <a:pt x="48" y="180"/>
                </a:lnTo>
                <a:lnTo>
                  <a:pt x="54" y="186"/>
                </a:lnTo>
                <a:lnTo>
                  <a:pt x="54" y="186"/>
                </a:lnTo>
                <a:lnTo>
                  <a:pt x="54" y="186"/>
                </a:lnTo>
                <a:lnTo>
                  <a:pt x="54" y="186"/>
                </a:lnTo>
                <a:lnTo>
                  <a:pt x="54" y="186"/>
                </a:lnTo>
                <a:lnTo>
                  <a:pt x="54" y="186"/>
                </a:lnTo>
                <a:lnTo>
                  <a:pt x="54" y="186"/>
                </a:lnTo>
                <a:lnTo>
                  <a:pt x="54" y="186"/>
                </a:lnTo>
                <a:lnTo>
                  <a:pt x="54" y="186"/>
                </a:lnTo>
                <a:lnTo>
                  <a:pt x="60" y="186"/>
                </a:lnTo>
                <a:lnTo>
                  <a:pt x="60" y="186"/>
                </a:lnTo>
                <a:lnTo>
                  <a:pt x="60" y="186"/>
                </a:lnTo>
                <a:lnTo>
                  <a:pt x="60" y="186"/>
                </a:lnTo>
                <a:lnTo>
                  <a:pt x="60" y="186"/>
                </a:lnTo>
                <a:lnTo>
                  <a:pt x="60" y="180"/>
                </a:lnTo>
                <a:lnTo>
                  <a:pt x="60" y="180"/>
                </a:lnTo>
                <a:lnTo>
                  <a:pt x="60" y="174"/>
                </a:lnTo>
                <a:lnTo>
                  <a:pt x="60" y="174"/>
                </a:lnTo>
                <a:lnTo>
                  <a:pt x="54" y="174"/>
                </a:lnTo>
                <a:lnTo>
                  <a:pt x="60" y="168"/>
                </a:lnTo>
                <a:lnTo>
                  <a:pt x="60" y="168"/>
                </a:lnTo>
                <a:lnTo>
                  <a:pt x="60" y="168"/>
                </a:lnTo>
                <a:lnTo>
                  <a:pt x="60" y="162"/>
                </a:lnTo>
                <a:lnTo>
                  <a:pt x="60" y="162"/>
                </a:lnTo>
                <a:lnTo>
                  <a:pt x="60" y="156"/>
                </a:lnTo>
                <a:lnTo>
                  <a:pt x="60" y="156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60" y="150"/>
                </a:lnTo>
                <a:lnTo>
                  <a:pt x="60" y="144"/>
                </a:lnTo>
                <a:lnTo>
                  <a:pt x="60" y="144"/>
                </a:lnTo>
                <a:lnTo>
                  <a:pt x="60" y="138"/>
                </a:lnTo>
                <a:lnTo>
                  <a:pt x="60" y="138"/>
                </a:lnTo>
                <a:lnTo>
                  <a:pt x="54" y="138"/>
                </a:lnTo>
                <a:lnTo>
                  <a:pt x="54" y="132"/>
                </a:lnTo>
                <a:lnTo>
                  <a:pt x="54" y="132"/>
                </a:lnTo>
                <a:lnTo>
                  <a:pt x="54" y="126"/>
                </a:lnTo>
                <a:lnTo>
                  <a:pt x="54" y="120"/>
                </a:lnTo>
                <a:lnTo>
                  <a:pt x="54" y="120"/>
                </a:lnTo>
                <a:lnTo>
                  <a:pt x="60" y="114"/>
                </a:lnTo>
                <a:lnTo>
                  <a:pt x="54" y="108"/>
                </a:lnTo>
                <a:lnTo>
                  <a:pt x="60" y="102"/>
                </a:lnTo>
                <a:lnTo>
                  <a:pt x="60" y="96"/>
                </a:lnTo>
                <a:lnTo>
                  <a:pt x="60" y="96"/>
                </a:lnTo>
                <a:lnTo>
                  <a:pt x="60" y="90"/>
                </a:lnTo>
                <a:lnTo>
                  <a:pt x="60" y="84"/>
                </a:lnTo>
                <a:lnTo>
                  <a:pt x="60" y="84"/>
                </a:lnTo>
                <a:lnTo>
                  <a:pt x="66" y="78"/>
                </a:lnTo>
                <a:lnTo>
                  <a:pt x="66" y="72"/>
                </a:lnTo>
                <a:lnTo>
                  <a:pt x="66" y="66"/>
                </a:lnTo>
                <a:lnTo>
                  <a:pt x="72" y="66"/>
                </a:lnTo>
                <a:lnTo>
                  <a:pt x="72" y="60"/>
                </a:lnTo>
                <a:lnTo>
                  <a:pt x="72" y="60"/>
                </a:lnTo>
                <a:lnTo>
                  <a:pt x="78" y="60"/>
                </a:lnTo>
                <a:lnTo>
                  <a:pt x="78" y="54"/>
                </a:lnTo>
                <a:lnTo>
                  <a:pt x="84" y="54"/>
                </a:lnTo>
                <a:lnTo>
                  <a:pt x="84" y="48"/>
                </a:lnTo>
                <a:lnTo>
                  <a:pt x="84" y="48"/>
                </a:lnTo>
                <a:lnTo>
                  <a:pt x="84" y="42"/>
                </a:lnTo>
                <a:lnTo>
                  <a:pt x="84" y="42"/>
                </a:lnTo>
                <a:lnTo>
                  <a:pt x="84" y="36"/>
                </a:lnTo>
                <a:lnTo>
                  <a:pt x="84" y="36"/>
                </a:lnTo>
                <a:lnTo>
                  <a:pt x="90" y="30"/>
                </a:lnTo>
                <a:lnTo>
                  <a:pt x="90" y="24"/>
                </a:lnTo>
                <a:lnTo>
                  <a:pt x="90" y="24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2"/>
                </a:lnTo>
                <a:lnTo>
                  <a:pt x="90" y="6"/>
                </a:lnTo>
                <a:lnTo>
                  <a:pt x="90" y="0"/>
                </a:lnTo>
                <a:lnTo>
                  <a:pt x="90" y="0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14" y="6"/>
                </a:lnTo>
                <a:lnTo>
                  <a:pt x="114" y="6"/>
                </a:lnTo>
                <a:lnTo>
                  <a:pt x="114" y="12"/>
                </a:lnTo>
                <a:lnTo>
                  <a:pt x="114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6" y="18"/>
                </a:lnTo>
                <a:lnTo>
                  <a:pt x="132" y="18"/>
                </a:lnTo>
                <a:lnTo>
                  <a:pt x="132" y="18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30"/>
                </a:lnTo>
                <a:lnTo>
                  <a:pt x="162" y="30"/>
                </a:lnTo>
                <a:lnTo>
                  <a:pt x="162" y="30"/>
                </a:lnTo>
                <a:lnTo>
                  <a:pt x="168" y="30"/>
                </a:lnTo>
                <a:lnTo>
                  <a:pt x="168" y="30"/>
                </a:lnTo>
                <a:lnTo>
                  <a:pt x="168" y="24"/>
                </a:lnTo>
                <a:lnTo>
                  <a:pt x="168" y="24"/>
                </a:lnTo>
                <a:lnTo>
                  <a:pt x="174" y="24"/>
                </a:lnTo>
                <a:lnTo>
                  <a:pt x="174" y="24"/>
                </a:lnTo>
                <a:lnTo>
                  <a:pt x="174" y="24"/>
                </a:lnTo>
                <a:lnTo>
                  <a:pt x="174" y="24"/>
                </a:lnTo>
                <a:lnTo>
                  <a:pt x="168" y="42"/>
                </a:lnTo>
                <a:lnTo>
                  <a:pt x="162" y="42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60"/>
                </a:lnTo>
                <a:lnTo>
                  <a:pt x="156" y="60"/>
                </a:lnTo>
                <a:lnTo>
                  <a:pt x="156" y="60"/>
                </a:lnTo>
                <a:lnTo>
                  <a:pt x="156" y="60"/>
                </a:lnTo>
                <a:lnTo>
                  <a:pt x="156" y="66"/>
                </a:lnTo>
                <a:lnTo>
                  <a:pt x="156" y="66"/>
                </a:lnTo>
                <a:lnTo>
                  <a:pt x="156" y="66"/>
                </a:lnTo>
                <a:lnTo>
                  <a:pt x="156" y="72"/>
                </a:lnTo>
                <a:lnTo>
                  <a:pt x="150" y="72"/>
                </a:lnTo>
                <a:lnTo>
                  <a:pt x="150" y="72"/>
                </a:lnTo>
                <a:lnTo>
                  <a:pt x="150" y="72"/>
                </a:lnTo>
                <a:lnTo>
                  <a:pt x="150" y="72"/>
                </a:lnTo>
                <a:lnTo>
                  <a:pt x="150" y="72"/>
                </a:lnTo>
                <a:lnTo>
                  <a:pt x="144" y="72"/>
                </a:lnTo>
                <a:lnTo>
                  <a:pt x="144" y="72"/>
                </a:lnTo>
                <a:lnTo>
                  <a:pt x="144" y="72"/>
                </a:lnTo>
                <a:lnTo>
                  <a:pt x="144" y="72"/>
                </a:lnTo>
                <a:lnTo>
                  <a:pt x="144" y="72"/>
                </a:lnTo>
                <a:lnTo>
                  <a:pt x="144" y="78"/>
                </a:lnTo>
                <a:lnTo>
                  <a:pt x="144" y="78"/>
                </a:lnTo>
                <a:lnTo>
                  <a:pt x="144" y="78"/>
                </a:lnTo>
                <a:lnTo>
                  <a:pt x="144" y="78"/>
                </a:lnTo>
                <a:lnTo>
                  <a:pt x="144" y="78"/>
                </a:lnTo>
                <a:lnTo>
                  <a:pt x="144" y="78"/>
                </a:lnTo>
                <a:lnTo>
                  <a:pt x="144" y="78"/>
                </a:lnTo>
                <a:lnTo>
                  <a:pt x="144" y="78"/>
                </a:lnTo>
                <a:lnTo>
                  <a:pt x="144" y="78"/>
                </a:lnTo>
                <a:lnTo>
                  <a:pt x="144" y="78"/>
                </a:lnTo>
                <a:lnTo>
                  <a:pt x="144" y="78"/>
                </a:lnTo>
                <a:lnTo>
                  <a:pt x="144" y="84"/>
                </a:lnTo>
                <a:lnTo>
                  <a:pt x="144" y="84"/>
                </a:lnTo>
                <a:lnTo>
                  <a:pt x="144" y="84"/>
                </a:lnTo>
                <a:lnTo>
                  <a:pt x="144" y="84"/>
                </a:lnTo>
                <a:lnTo>
                  <a:pt x="144" y="90"/>
                </a:lnTo>
                <a:lnTo>
                  <a:pt x="144" y="90"/>
                </a:lnTo>
                <a:lnTo>
                  <a:pt x="144" y="90"/>
                </a:lnTo>
                <a:lnTo>
                  <a:pt x="144" y="90"/>
                </a:lnTo>
                <a:lnTo>
                  <a:pt x="144" y="90"/>
                </a:lnTo>
                <a:lnTo>
                  <a:pt x="138" y="90"/>
                </a:lnTo>
                <a:lnTo>
                  <a:pt x="138" y="96"/>
                </a:lnTo>
                <a:lnTo>
                  <a:pt x="138" y="96"/>
                </a:lnTo>
                <a:lnTo>
                  <a:pt x="138" y="90"/>
                </a:lnTo>
                <a:lnTo>
                  <a:pt x="138" y="90"/>
                </a:lnTo>
                <a:lnTo>
                  <a:pt x="132" y="90"/>
                </a:lnTo>
                <a:lnTo>
                  <a:pt x="132" y="90"/>
                </a:lnTo>
                <a:lnTo>
                  <a:pt x="132" y="90"/>
                </a:lnTo>
                <a:lnTo>
                  <a:pt x="132" y="90"/>
                </a:lnTo>
                <a:lnTo>
                  <a:pt x="126" y="96"/>
                </a:lnTo>
                <a:lnTo>
                  <a:pt x="126" y="96"/>
                </a:lnTo>
                <a:lnTo>
                  <a:pt x="126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102"/>
                </a:lnTo>
                <a:lnTo>
                  <a:pt x="114" y="108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20"/>
                </a:lnTo>
                <a:lnTo>
                  <a:pt x="114" y="120"/>
                </a:lnTo>
                <a:lnTo>
                  <a:pt x="114" y="120"/>
                </a:lnTo>
                <a:lnTo>
                  <a:pt x="114" y="126"/>
                </a:lnTo>
                <a:lnTo>
                  <a:pt x="114" y="126"/>
                </a:lnTo>
                <a:lnTo>
                  <a:pt x="120" y="126"/>
                </a:lnTo>
                <a:lnTo>
                  <a:pt x="114" y="132"/>
                </a:lnTo>
                <a:lnTo>
                  <a:pt x="114" y="132"/>
                </a:lnTo>
                <a:lnTo>
                  <a:pt x="120" y="138"/>
                </a:lnTo>
                <a:lnTo>
                  <a:pt x="120" y="144"/>
                </a:lnTo>
                <a:lnTo>
                  <a:pt x="120" y="144"/>
                </a:lnTo>
                <a:lnTo>
                  <a:pt x="120" y="150"/>
                </a:lnTo>
                <a:lnTo>
                  <a:pt x="120" y="156"/>
                </a:lnTo>
                <a:lnTo>
                  <a:pt x="120" y="156"/>
                </a:lnTo>
                <a:lnTo>
                  <a:pt x="120" y="156"/>
                </a:lnTo>
                <a:lnTo>
                  <a:pt x="120" y="156"/>
                </a:lnTo>
                <a:lnTo>
                  <a:pt x="120" y="162"/>
                </a:lnTo>
                <a:lnTo>
                  <a:pt x="126" y="162"/>
                </a:lnTo>
                <a:lnTo>
                  <a:pt x="126" y="162"/>
                </a:lnTo>
                <a:lnTo>
                  <a:pt x="126" y="168"/>
                </a:lnTo>
                <a:lnTo>
                  <a:pt x="126" y="168"/>
                </a:lnTo>
                <a:lnTo>
                  <a:pt x="126" y="168"/>
                </a:lnTo>
                <a:lnTo>
                  <a:pt x="126" y="168"/>
                </a:lnTo>
                <a:lnTo>
                  <a:pt x="126" y="174"/>
                </a:lnTo>
                <a:lnTo>
                  <a:pt x="126" y="174"/>
                </a:lnTo>
                <a:lnTo>
                  <a:pt x="126" y="174"/>
                </a:lnTo>
                <a:lnTo>
                  <a:pt x="126" y="174"/>
                </a:lnTo>
                <a:lnTo>
                  <a:pt x="126" y="174"/>
                </a:lnTo>
                <a:lnTo>
                  <a:pt x="126" y="180"/>
                </a:lnTo>
                <a:lnTo>
                  <a:pt x="126" y="180"/>
                </a:lnTo>
                <a:lnTo>
                  <a:pt x="126" y="180"/>
                </a:lnTo>
                <a:lnTo>
                  <a:pt x="132" y="180"/>
                </a:lnTo>
                <a:lnTo>
                  <a:pt x="132" y="186"/>
                </a:lnTo>
                <a:lnTo>
                  <a:pt x="132" y="186"/>
                </a:lnTo>
                <a:lnTo>
                  <a:pt x="132" y="186"/>
                </a:lnTo>
                <a:lnTo>
                  <a:pt x="132" y="192"/>
                </a:lnTo>
                <a:lnTo>
                  <a:pt x="132" y="198"/>
                </a:lnTo>
                <a:lnTo>
                  <a:pt x="132" y="204"/>
                </a:lnTo>
                <a:lnTo>
                  <a:pt x="132" y="204"/>
                </a:lnTo>
                <a:lnTo>
                  <a:pt x="132" y="204"/>
                </a:lnTo>
                <a:lnTo>
                  <a:pt x="132" y="210"/>
                </a:lnTo>
                <a:lnTo>
                  <a:pt x="132" y="210"/>
                </a:lnTo>
                <a:lnTo>
                  <a:pt x="126" y="210"/>
                </a:lnTo>
                <a:lnTo>
                  <a:pt x="126" y="216"/>
                </a:lnTo>
                <a:lnTo>
                  <a:pt x="126" y="216"/>
                </a:lnTo>
                <a:lnTo>
                  <a:pt x="126" y="216"/>
                </a:lnTo>
                <a:lnTo>
                  <a:pt x="126" y="222"/>
                </a:lnTo>
                <a:lnTo>
                  <a:pt x="126" y="222"/>
                </a:lnTo>
                <a:lnTo>
                  <a:pt x="120" y="222"/>
                </a:lnTo>
                <a:lnTo>
                  <a:pt x="126" y="228"/>
                </a:lnTo>
                <a:lnTo>
                  <a:pt x="126" y="228"/>
                </a:lnTo>
                <a:lnTo>
                  <a:pt x="126" y="228"/>
                </a:lnTo>
                <a:lnTo>
                  <a:pt x="126" y="228"/>
                </a:lnTo>
                <a:lnTo>
                  <a:pt x="126" y="234"/>
                </a:lnTo>
                <a:lnTo>
                  <a:pt x="126" y="234"/>
                </a:lnTo>
                <a:lnTo>
                  <a:pt x="126" y="234"/>
                </a:lnTo>
                <a:lnTo>
                  <a:pt x="126" y="234"/>
                </a:lnTo>
                <a:lnTo>
                  <a:pt x="126" y="240"/>
                </a:lnTo>
                <a:lnTo>
                  <a:pt x="126" y="240"/>
                </a:lnTo>
                <a:lnTo>
                  <a:pt x="126" y="240"/>
                </a:lnTo>
                <a:lnTo>
                  <a:pt x="132" y="246"/>
                </a:lnTo>
                <a:lnTo>
                  <a:pt x="126" y="246"/>
                </a:lnTo>
                <a:lnTo>
                  <a:pt x="126" y="246"/>
                </a:lnTo>
                <a:lnTo>
                  <a:pt x="126" y="246"/>
                </a:lnTo>
                <a:lnTo>
                  <a:pt x="126" y="252"/>
                </a:lnTo>
                <a:lnTo>
                  <a:pt x="126" y="252"/>
                </a:lnTo>
                <a:lnTo>
                  <a:pt x="126" y="252"/>
                </a:lnTo>
                <a:lnTo>
                  <a:pt x="126" y="252"/>
                </a:lnTo>
                <a:lnTo>
                  <a:pt x="126" y="252"/>
                </a:lnTo>
                <a:lnTo>
                  <a:pt x="126" y="258"/>
                </a:lnTo>
                <a:lnTo>
                  <a:pt x="126" y="258"/>
                </a:lnTo>
                <a:lnTo>
                  <a:pt x="126" y="258"/>
                </a:lnTo>
                <a:lnTo>
                  <a:pt x="126" y="258"/>
                </a:lnTo>
                <a:lnTo>
                  <a:pt x="126" y="258"/>
                </a:lnTo>
                <a:lnTo>
                  <a:pt x="126" y="258"/>
                </a:lnTo>
                <a:lnTo>
                  <a:pt x="126" y="258"/>
                </a:lnTo>
                <a:lnTo>
                  <a:pt x="126" y="264"/>
                </a:lnTo>
                <a:lnTo>
                  <a:pt x="126" y="264"/>
                </a:lnTo>
                <a:lnTo>
                  <a:pt x="126" y="264"/>
                </a:lnTo>
                <a:lnTo>
                  <a:pt x="132" y="264"/>
                </a:lnTo>
                <a:lnTo>
                  <a:pt x="132" y="264"/>
                </a:lnTo>
                <a:lnTo>
                  <a:pt x="132" y="264"/>
                </a:lnTo>
                <a:lnTo>
                  <a:pt x="132" y="270"/>
                </a:lnTo>
                <a:lnTo>
                  <a:pt x="132" y="270"/>
                </a:lnTo>
                <a:lnTo>
                  <a:pt x="132" y="270"/>
                </a:lnTo>
                <a:lnTo>
                  <a:pt x="132" y="270"/>
                </a:lnTo>
                <a:lnTo>
                  <a:pt x="132" y="276"/>
                </a:lnTo>
                <a:lnTo>
                  <a:pt x="132" y="270"/>
                </a:lnTo>
                <a:lnTo>
                  <a:pt x="132" y="276"/>
                </a:lnTo>
                <a:lnTo>
                  <a:pt x="132" y="276"/>
                </a:lnTo>
                <a:lnTo>
                  <a:pt x="132" y="276"/>
                </a:lnTo>
                <a:lnTo>
                  <a:pt x="126" y="276"/>
                </a:lnTo>
                <a:lnTo>
                  <a:pt x="126" y="276"/>
                </a:lnTo>
                <a:lnTo>
                  <a:pt x="132" y="276"/>
                </a:lnTo>
                <a:lnTo>
                  <a:pt x="132" y="282"/>
                </a:lnTo>
                <a:lnTo>
                  <a:pt x="132" y="282"/>
                </a:lnTo>
                <a:lnTo>
                  <a:pt x="132" y="282"/>
                </a:lnTo>
                <a:lnTo>
                  <a:pt x="132" y="282"/>
                </a:lnTo>
                <a:lnTo>
                  <a:pt x="132" y="282"/>
                </a:lnTo>
                <a:lnTo>
                  <a:pt x="132" y="282"/>
                </a:lnTo>
                <a:lnTo>
                  <a:pt x="132" y="282"/>
                </a:lnTo>
                <a:lnTo>
                  <a:pt x="132" y="282"/>
                </a:lnTo>
                <a:lnTo>
                  <a:pt x="132" y="288"/>
                </a:lnTo>
                <a:lnTo>
                  <a:pt x="132" y="288"/>
                </a:lnTo>
                <a:lnTo>
                  <a:pt x="132" y="288"/>
                </a:lnTo>
                <a:lnTo>
                  <a:pt x="138" y="288"/>
                </a:lnTo>
                <a:lnTo>
                  <a:pt x="138" y="288"/>
                </a:lnTo>
                <a:lnTo>
                  <a:pt x="138" y="288"/>
                </a:lnTo>
                <a:lnTo>
                  <a:pt x="138" y="288"/>
                </a:lnTo>
                <a:lnTo>
                  <a:pt x="138" y="294"/>
                </a:lnTo>
                <a:lnTo>
                  <a:pt x="138" y="294"/>
                </a:lnTo>
                <a:lnTo>
                  <a:pt x="138" y="294"/>
                </a:lnTo>
                <a:lnTo>
                  <a:pt x="138" y="294"/>
                </a:lnTo>
                <a:lnTo>
                  <a:pt x="138" y="294"/>
                </a:lnTo>
                <a:lnTo>
                  <a:pt x="138" y="300"/>
                </a:lnTo>
                <a:lnTo>
                  <a:pt x="138" y="300"/>
                </a:lnTo>
                <a:lnTo>
                  <a:pt x="138" y="300"/>
                </a:lnTo>
                <a:lnTo>
                  <a:pt x="138" y="300"/>
                </a:lnTo>
                <a:lnTo>
                  <a:pt x="138" y="306"/>
                </a:lnTo>
                <a:lnTo>
                  <a:pt x="144" y="306"/>
                </a:lnTo>
                <a:lnTo>
                  <a:pt x="138" y="306"/>
                </a:lnTo>
                <a:lnTo>
                  <a:pt x="144" y="306"/>
                </a:lnTo>
                <a:lnTo>
                  <a:pt x="138" y="306"/>
                </a:lnTo>
                <a:lnTo>
                  <a:pt x="144" y="306"/>
                </a:lnTo>
                <a:lnTo>
                  <a:pt x="144" y="312"/>
                </a:lnTo>
                <a:lnTo>
                  <a:pt x="144" y="312"/>
                </a:lnTo>
                <a:lnTo>
                  <a:pt x="144" y="312"/>
                </a:lnTo>
                <a:lnTo>
                  <a:pt x="144" y="312"/>
                </a:lnTo>
                <a:lnTo>
                  <a:pt x="144" y="312"/>
                </a:lnTo>
                <a:lnTo>
                  <a:pt x="144" y="312"/>
                </a:lnTo>
                <a:lnTo>
                  <a:pt x="144" y="318"/>
                </a:lnTo>
                <a:lnTo>
                  <a:pt x="144" y="318"/>
                </a:lnTo>
                <a:lnTo>
                  <a:pt x="144" y="318"/>
                </a:lnTo>
                <a:lnTo>
                  <a:pt x="144" y="318"/>
                </a:lnTo>
                <a:lnTo>
                  <a:pt x="138" y="324"/>
                </a:lnTo>
                <a:lnTo>
                  <a:pt x="138" y="324"/>
                </a:lnTo>
                <a:lnTo>
                  <a:pt x="138" y="324"/>
                </a:lnTo>
                <a:lnTo>
                  <a:pt x="138" y="330"/>
                </a:lnTo>
                <a:lnTo>
                  <a:pt x="138" y="330"/>
                </a:lnTo>
                <a:lnTo>
                  <a:pt x="138" y="330"/>
                </a:lnTo>
                <a:lnTo>
                  <a:pt x="138" y="330"/>
                </a:lnTo>
                <a:lnTo>
                  <a:pt x="138" y="330"/>
                </a:lnTo>
                <a:lnTo>
                  <a:pt x="138" y="330"/>
                </a:lnTo>
                <a:lnTo>
                  <a:pt x="132" y="330"/>
                </a:lnTo>
                <a:lnTo>
                  <a:pt x="132" y="330"/>
                </a:lnTo>
                <a:lnTo>
                  <a:pt x="132" y="336"/>
                </a:lnTo>
                <a:lnTo>
                  <a:pt x="132" y="336"/>
                </a:lnTo>
                <a:lnTo>
                  <a:pt x="132" y="336"/>
                </a:lnTo>
                <a:lnTo>
                  <a:pt x="132" y="336"/>
                </a:lnTo>
                <a:lnTo>
                  <a:pt x="132" y="336"/>
                </a:lnTo>
                <a:lnTo>
                  <a:pt x="126" y="336"/>
                </a:lnTo>
                <a:lnTo>
                  <a:pt x="126" y="336"/>
                </a:lnTo>
                <a:lnTo>
                  <a:pt x="126" y="336"/>
                </a:lnTo>
                <a:lnTo>
                  <a:pt x="126" y="336"/>
                </a:lnTo>
                <a:lnTo>
                  <a:pt x="120" y="336"/>
                </a:lnTo>
                <a:lnTo>
                  <a:pt x="120" y="342"/>
                </a:lnTo>
                <a:lnTo>
                  <a:pt x="114" y="342"/>
                </a:lnTo>
                <a:lnTo>
                  <a:pt x="114" y="342"/>
                </a:lnTo>
                <a:lnTo>
                  <a:pt x="114" y="342"/>
                </a:lnTo>
                <a:lnTo>
                  <a:pt x="114" y="342"/>
                </a:lnTo>
                <a:lnTo>
                  <a:pt x="108" y="342"/>
                </a:lnTo>
                <a:lnTo>
                  <a:pt x="108" y="342"/>
                </a:lnTo>
                <a:lnTo>
                  <a:pt x="102" y="342"/>
                </a:lnTo>
                <a:lnTo>
                  <a:pt x="102" y="342"/>
                </a:lnTo>
                <a:lnTo>
                  <a:pt x="102" y="342"/>
                </a:lnTo>
                <a:lnTo>
                  <a:pt x="102" y="342"/>
                </a:lnTo>
                <a:lnTo>
                  <a:pt x="102" y="348"/>
                </a:lnTo>
                <a:lnTo>
                  <a:pt x="102" y="348"/>
                </a:lnTo>
                <a:lnTo>
                  <a:pt x="96" y="348"/>
                </a:lnTo>
                <a:lnTo>
                  <a:pt x="96" y="348"/>
                </a:lnTo>
                <a:lnTo>
                  <a:pt x="96" y="348"/>
                </a:lnTo>
                <a:lnTo>
                  <a:pt x="96" y="354"/>
                </a:lnTo>
                <a:lnTo>
                  <a:pt x="96" y="354"/>
                </a:lnTo>
                <a:lnTo>
                  <a:pt x="96" y="354"/>
                </a:lnTo>
                <a:lnTo>
                  <a:pt x="90" y="354"/>
                </a:lnTo>
                <a:lnTo>
                  <a:pt x="90" y="354"/>
                </a:lnTo>
                <a:lnTo>
                  <a:pt x="90" y="348"/>
                </a:lnTo>
                <a:lnTo>
                  <a:pt x="90" y="348"/>
                </a:lnTo>
                <a:lnTo>
                  <a:pt x="84" y="348"/>
                </a:lnTo>
                <a:lnTo>
                  <a:pt x="84" y="348"/>
                </a:lnTo>
                <a:lnTo>
                  <a:pt x="84" y="342"/>
                </a:lnTo>
                <a:lnTo>
                  <a:pt x="84" y="348"/>
                </a:lnTo>
                <a:lnTo>
                  <a:pt x="78" y="348"/>
                </a:lnTo>
                <a:lnTo>
                  <a:pt x="78" y="348"/>
                </a:lnTo>
                <a:lnTo>
                  <a:pt x="78" y="348"/>
                </a:lnTo>
                <a:lnTo>
                  <a:pt x="78" y="348"/>
                </a:lnTo>
                <a:lnTo>
                  <a:pt x="72" y="348"/>
                </a:lnTo>
                <a:lnTo>
                  <a:pt x="72" y="348"/>
                </a:lnTo>
                <a:lnTo>
                  <a:pt x="72" y="348"/>
                </a:lnTo>
                <a:lnTo>
                  <a:pt x="72" y="348"/>
                </a:lnTo>
                <a:lnTo>
                  <a:pt x="72" y="348"/>
                </a:lnTo>
                <a:lnTo>
                  <a:pt x="66" y="348"/>
                </a:lnTo>
                <a:lnTo>
                  <a:pt x="66" y="348"/>
                </a:lnTo>
                <a:lnTo>
                  <a:pt x="66" y="348"/>
                </a:lnTo>
                <a:lnTo>
                  <a:pt x="66" y="348"/>
                </a:lnTo>
                <a:lnTo>
                  <a:pt x="66" y="348"/>
                </a:lnTo>
                <a:lnTo>
                  <a:pt x="66" y="348"/>
                </a:lnTo>
                <a:lnTo>
                  <a:pt x="60" y="348"/>
                </a:lnTo>
                <a:lnTo>
                  <a:pt x="60" y="348"/>
                </a:lnTo>
                <a:lnTo>
                  <a:pt x="60" y="348"/>
                </a:lnTo>
                <a:lnTo>
                  <a:pt x="60" y="348"/>
                </a:lnTo>
                <a:lnTo>
                  <a:pt x="60" y="348"/>
                </a:lnTo>
                <a:lnTo>
                  <a:pt x="60" y="348"/>
                </a:lnTo>
                <a:lnTo>
                  <a:pt x="60" y="348"/>
                </a:lnTo>
                <a:lnTo>
                  <a:pt x="60" y="348"/>
                </a:lnTo>
                <a:lnTo>
                  <a:pt x="54" y="348"/>
                </a:lnTo>
                <a:lnTo>
                  <a:pt x="54" y="348"/>
                </a:lnTo>
                <a:lnTo>
                  <a:pt x="54" y="348"/>
                </a:lnTo>
                <a:lnTo>
                  <a:pt x="54" y="348"/>
                </a:lnTo>
                <a:lnTo>
                  <a:pt x="54" y="348"/>
                </a:lnTo>
                <a:lnTo>
                  <a:pt x="48" y="348"/>
                </a:lnTo>
                <a:lnTo>
                  <a:pt x="48" y="342"/>
                </a:lnTo>
                <a:lnTo>
                  <a:pt x="48" y="342"/>
                </a:lnTo>
                <a:lnTo>
                  <a:pt x="48" y="342"/>
                </a:lnTo>
                <a:lnTo>
                  <a:pt x="48" y="342"/>
                </a:lnTo>
                <a:lnTo>
                  <a:pt x="42" y="342"/>
                </a:lnTo>
                <a:lnTo>
                  <a:pt x="42" y="336"/>
                </a:lnTo>
                <a:lnTo>
                  <a:pt x="36" y="330"/>
                </a:lnTo>
                <a:lnTo>
                  <a:pt x="36" y="330"/>
                </a:lnTo>
                <a:lnTo>
                  <a:pt x="36" y="324"/>
                </a:lnTo>
                <a:lnTo>
                  <a:pt x="36" y="324"/>
                </a:lnTo>
                <a:lnTo>
                  <a:pt x="36" y="318"/>
                </a:lnTo>
                <a:lnTo>
                  <a:pt x="36" y="318"/>
                </a:lnTo>
                <a:lnTo>
                  <a:pt x="36" y="318"/>
                </a:lnTo>
                <a:lnTo>
                  <a:pt x="36" y="312"/>
                </a:lnTo>
                <a:lnTo>
                  <a:pt x="36" y="312"/>
                </a:lnTo>
                <a:lnTo>
                  <a:pt x="36" y="312"/>
                </a:lnTo>
                <a:lnTo>
                  <a:pt x="36" y="306"/>
                </a:lnTo>
                <a:lnTo>
                  <a:pt x="36" y="306"/>
                </a:lnTo>
                <a:lnTo>
                  <a:pt x="48" y="300"/>
                </a:lnTo>
                <a:lnTo>
                  <a:pt x="48" y="294"/>
                </a:lnTo>
                <a:lnTo>
                  <a:pt x="54" y="288"/>
                </a:lnTo>
                <a:lnTo>
                  <a:pt x="54" y="288"/>
                </a:lnTo>
                <a:lnTo>
                  <a:pt x="54" y="288"/>
                </a:lnTo>
                <a:lnTo>
                  <a:pt x="54" y="282"/>
                </a:lnTo>
                <a:lnTo>
                  <a:pt x="54" y="276"/>
                </a:lnTo>
                <a:lnTo>
                  <a:pt x="54" y="276"/>
                </a:lnTo>
                <a:lnTo>
                  <a:pt x="54" y="276"/>
                </a:lnTo>
                <a:lnTo>
                  <a:pt x="54" y="276"/>
                </a:lnTo>
                <a:lnTo>
                  <a:pt x="48" y="276"/>
                </a:lnTo>
                <a:lnTo>
                  <a:pt x="48" y="276"/>
                </a:lnTo>
                <a:lnTo>
                  <a:pt x="48" y="282"/>
                </a:lnTo>
                <a:lnTo>
                  <a:pt x="42" y="282"/>
                </a:lnTo>
                <a:lnTo>
                  <a:pt x="42" y="282"/>
                </a:lnTo>
                <a:lnTo>
                  <a:pt x="42" y="282"/>
                </a:lnTo>
                <a:lnTo>
                  <a:pt x="42" y="282"/>
                </a:lnTo>
                <a:lnTo>
                  <a:pt x="42" y="282"/>
                </a:lnTo>
                <a:lnTo>
                  <a:pt x="36" y="282"/>
                </a:lnTo>
                <a:lnTo>
                  <a:pt x="36" y="282"/>
                </a:lnTo>
                <a:lnTo>
                  <a:pt x="36" y="288"/>
                </a:lnTo>
                <a:lnTo>
                  <a:pt x="36" y="288"/>
                </a:lnTo>
                <a:lnTo>
                  <a:pt x="36" y="288"/>
                </a:lnTo>
                <a:lnTo>
                  <a:pt x="36" y="288"/>
                </a:lnTo>
                <a:lnTo>
                  <a:pt x="36" y="288"/>
                </a:lnTo>
                <a:lnTo>
                  <a:pt x="36" y="294"/>
                </a:lnTo>
                <a:lnTo>
                  <a:pt x="36" y="294"/>
                </a:lnTo>
                <a:lnTo>
                  <a:pt x="30" y="288"/>
                </a:lnTo>
                <a:lnTo>
                  <a:pt x="30" y="294"/>
                </a:lnTo>
                <a:lnTo>
                  <a:pt x="30" y="294"/>
                </a:lnTo>
                <a:lnTo>
                  <a:pt x="30" y="294"/>
                </a:lnTo>
                <a:lnTo>
                  <a:pt x="30" y="294"/>
                </a:lnTo>
                <a:lnTo>
                  <a:pt x="30" y="288"/>
                </a:lnTo>
                <a:lnTo>
                  <a:pt x="24" y="288"/>
                </a:lnTo>
                <a:lnTo>
                  <a:pt x="24" y="294"/>
                </a:lnTo>
                <a:lnTo>
                  <a:pt x="24" y="294"/>
                </a:lnTo>
                <a:lnTo>
                  <a:pt x="24" y="294"/>
                </a:lnTo>
                <a:lnTo>
                  <a:pt x="24" y="288"/>
                </a:lnTo>
                <a:lnTo>
                  <a:pt x="24" y="288"/>
                </a:lnTo>
                <a:lnTo>
                  <a:pt x="18" y="288"/>
                </a:lnTo>
                <a:lnTo>
                  <a:pt x="18" y="288"/>
                </a:lnTo>
                <a:lnTo>
                  <a:pt x="18" y="288"/>
                </a:lnTo>
                <a:lnTo>
                  <a:pt x="12" y="288"/>
                </a:lnTo>
                <a:lnTo>
                  <a:pt x="12" y="288"/>
                </a:lnTo>
                <a:lnTo>
                  <a:pt x="12" y="282"/>
                </a:lnTo>
                <a:lnTo>
                  <a:pt x="6" y="288"/>
                </a:lnTo>
                <a:lnTo>
                  <a:pt x="6" y="282"/>
                </a:lnTo>
                <a:lnTo>
                  <a:pt x="6" y="288"/>
                </a:lnTo>
                <a:lnTo>
                  <a:pt x="6" y="282"/>
                </a:lnTo>
                <a:lnTo>
                  <a:pt x="0" y="282"/>
                </a:lnTo>
                <a:lnTo>
                  <a:pt x="6" y="282"/>
                </a:lnTo>
                <a:lnTo>
                  <a:pt x="6" y="282"/>
                </a:lnTo>
                <a:lnTo>
                  <a:pt x="6" y="276"/>
                </a:lnTo>
                <a:lnTo>
                  <a:pt x="6" y="276"/>
                </a:lnTo>
                <a:lnTo>
                  <a:pt x="6" y="276"/>
                </a:lnTo>
                <a:lnTo>
                  <a:pt x="6" y="270"/>
                </a:lnTo>
                <a:lnTo>
                  <a:pt x="6" y="270"/>
                </a:lnTo>
                <a:lnTo>
                  <a:pt x="6" y="270"/>
                </a:lnTo>
                <a:lnTo>
                  <a:pt x="0" y="270"/>
                </a:lnTo>
                <a:lnTo>
                  <a:pt x="0" y="270"/>
                </a:lnTo>
                <a:lnTo>
                  <a:pt x="0" y="264"/>
                </a:lnTo>
                <a:lnTo>
                  <a:pt x="0" y="264"/>
                </a:lnTo>
                <a:lnTo>
                  <a:pt x="0" y="264"/>
                </a:lnTo>
                <a:lnTo>
                  <a:pt x="0" y="264"/>
                </a:lnTo>
                <a:lnTo>
                  <a:pt x="0" y="258"/>
                </a:lnTo>
                <a:lnTo>
                  <a:pt x="0" y="258"/>
                </a:lnTo>
                <a:lnTo>
                  <a:pt x="0" y="258"/>
                </a:lnTo>
                <a:lnTo>
                  <a:pt x="0" y="25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29" name="Freeform 62"/>
          <p:cNvSpPr>
            <a:spLocks/>
          </p:cNvSpPr>
          <p:nvPr/>
        </p:nvSpPr>
        <p:spPr bwMode="auto">
          <a:xfrm>
            <a:off x="6800462" y="1989356"/>
            <a:ext cx="263386" cy="282660"/>
          </a:xfrm>
          <a:custGeom>
            <a:avLst/>
            <a:gdLst>
              <a:gd name="T0" fmla="*/ 12 w 246"/>
              <a:gd name="T1" fmla="*/ 132 h 264"/>
              <a:gd name="T2" fmla="*/ 24 w 246"/>
              <a:gd name="T3" fmla="*/ 108 h 264"/>
              <a:gd name="T4" fmla="*/ 18 w 246"/>
              <a:gd name="T5" fmla="*/ 78 h 264"/>
              <a:gd name="T6" fmla="*/ 42 w 246"/>
              <a:gd name="T7" fmla="*/ 60 h 264"/>
              <a:gd name="T8" fmla="*/ 66 w 246"/>
              <a:gd name="T9" fmla="*/ 48 h 264"/>
              <a:gd name="T10" fmla="*/ 90 w 246"/>
              <a:gd name="T11" fmla="*/ 42 h 264"/>
              <a:gd name="T12" fmla="*/ 96 w 246"/>
              <a:gd name="T13" fmla="*/ 18 h 264"/>
              <a:gd name="T14" fmla="*/ 114 w 246"/>
              <a:gd name="T15" fmla="*/ 0 h 264"/>
              <a:gd name="T16" fmla="*/ 132 w 246"/>
              <a:gd name="T17" fmla="*/ 0 h 264"/>
              <a:gd name="T18" fmla="*/ 138 w 246"/>
              <a:gd name="T19" fmla="*/ 6 h 264"/>
              <a:gd name="T20" fmla="*/ 138 w 246"/>
              <a:gd name="T21" fmla="*/ 6 h 264"/>
              <a:gd name="T22" fmla="*/ 144 w 246"/>
              <a:gd name="T23" fmla="*/ 12 h 264"/>
              <a:gd name="T24" fmla="*/ 150 w 246"/>
              <a:gd name="T25" fmla="*/ 12 h 264"/>
              <a:gd name="T26" fmla="*/ 156 w 246"/>
              <a:gd name="T27" fmla="*/ 18 h 264"/>
              <a:gd name="T28" fmla="*/ 162 w 246"/>
              <a:gd name="T29" fmla="*/ 24 h 264"/>
              <a:gd name="T30" fmla="*/ 162 w 246"/>
              <a:gd name="T31" fmla="*/ 36 h 264"/>
              <a:gd name="T32" fmla="*/ 168 w 246"/>
              <a:gd name="T33" fmla="*/ 42 h 264"/>
              <a:gd name="T34" fmla="*/ 180 w 246"/>
              <a:gd name="T35" fmla="*/ 48 h 264"/>
              <a:gd name="T36" fmla="*/ 186 w 246"/>
              <a:gd name="T37" fmla="*/ 54 h 264"/>
              <a:gd name="T38" fmla="*/ 192 w 246"/>
              <a:gd name="T39" fmla="*/ 60 h 264"/>
              <a:gd name="T40" fmla="*/ 204 w 246"/>
              <a:gd name="T41" fmla="*/ 72 h 264"/>
              <a:gd name="T42" fmla="*/ 222 w 246"/>
              <a:gd name="T43" fmla="*/ 78 h 264"/>
              <a:gd name="T44" fmla="*/ 228 w 246"/>
              <a:gd name="T45" fmla="*/ 84 h 264"/>
              <a:gd name="T46" fmla="*/ 240 w 246"/>
              <a:gd name="T47" fmla="*/ 84 h 264"/>
              <a:gd name="T48" fmla="*/ 222 w 246"/>
              <a:gd name="T49" fmla="*/ 102 h 264"/>
              <a:gd name="T50" fmla="*/ 210 w 246"/>
              <a:gd name="T51" fmla="*/ 114 h 264"/>
              <a:gd name="T52" fmla="*/ 228 w 246"/>
              <a:gd name="T53" fmla="*/ 120 h 264"/>
              <a:gd name="T54" fmla="*/ 240 w 246"/>
              <a:gd name="T55" fmla="*/ 132 h 264"/>
              <a:gd name="T56" fmla="*/ 228 w 246"/>
              <a:gd name="T57" fmla="*/ 162 h 264"/>
              <a:gd name="T58" fmla="*/ 198 w 246"/>
              <a:gd name="T59" fmla="*/ 186 h 264"/>
              <a:gd name="T60" fmla="*/ 180 w 246"/>
              <a:gd name="T61" fmla="*/ 204 h 264"/>
              <a:gd name="T62" fmla="*/ 168 w 246"/>
              <a:gd name="T63" fmla="*/ 228 h 264"/>
              <a:gd name="T64" fmla="*/ 150 w 246"/>
              <a:gd name="T65" fmla="*/ 234 h 264"/>
              <a:gd name="T66" fmla="*/ 144 w 246"/>
              <a:gd name="T67" fmla="*/ 234 h 264"/>
              <a:gd name="T68" fmla="*/ 138 w 246"/>
              <a:gd name="T69" fmla="*/ 234 h 264"/>
              <a:gd name="T70" fmla="*/ 132 w 246"/>
              <a:gd name="T71" fmla="*/ 228 h 264"/>
              <a:gd name="T72" fmla="*/ 126 w 246"/>
              <a:gd name="T73" fmla="*/ 234 h 264"/>
              <a:gd name="T74" fmla="*/ 114 w 246"/>
              <a:gd name="T75" fmla="*/ 246 h 264"/>
              <a:gd name="T76" fmla="*/ 102 w 246"/>
              <a:gd name="T77" fmla="*/ 252 h 264"/>
              <a:gd name="T78" fmla="*/ 96 w 246"/>
              <a:gd name="T79" fmla="*/ 252 h 264"/>
              <a:gd name="T80" fmla="*/ 96 w 246"/>
              <a:gd name="T81" fmla="*/ 264 h 264"/>
              <a:gd name="T82" fmla="*/ 90 w 246"/>
              <a:gd name="T83" fmla="*/ 258 h 264"/>
              <a:gd name="T84" fmla="*/ 90 w 246"/>
              <a:gd name="T85" fmla="*/ 246 h 264"/>
              <a:gd name="T86" fmla="*/ 84 w 246"/>
              <a:gd name="T87" fmla="*/ 240 h 264"/>
              <a:gd name="T88" fmla="*/ 84 w 246"/>
              <a:gd name="T89" fmla="*/ 234 h 264"/>
              <a:gd name="T90" fmla="*/ 78 w 246"/>
              <a:gd name="T91" fmla="*/ 228 h 264"/>
              <a:gd name="T92" fmla="*/ 78 w 246"/>
              <a:gd name="T93" fmla="*/ 228 h 264"/>
              <a:gd name="T94" fmla="*/ 72 w 246"/>
              <a:gd name="T95" fmla="*/ 222 h 264"/>
              <a:gd name="T96" fmla="*/ 72 w 246"/>
              <a:gd name="T97" fmla="*/ 210 h 264"/>
              <a:gd name="T98" fmla="*/ 72 w 246"/>
              <a:gd name="T99" fmla="*/ 204 h 264"/>
              <a:gd name="T100" fmla="*/ 60 w 246"/>
              <a:gd name="T101" fmla="*/ 198 h 264"/>
              <a:gd name="T102" fmla="*/ 54 w 246"/>
              <a:gd name="T103" fmla="*/ 192 h 264"/>
              <a:gd name="T104" fmla="*/ 48 w 246"/>
              <a:gd name="T105" fmla="*/ 198 h 264"/>
              <a:gd name="T106" fmla="*/ 42 w 246"/>
              <a:gd name="T107" fmla="*/ 198 h 264"/>
              <a:gd name="T108" fmla="*/ 30 w 246"/>
              <a:gd name="T109" fmla="*/ 198 h 264"/>
              <a:gd name="T110" fmla="*/ 24 w 246"/>
              <a:gd name="T111" fmla="*/ 192 h 264"/>
              <a:gd name="T112" fmla="*/ 18 w 246"/>
              <a:gd name="T113" fmla="*/ 180 h 2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46" h="264">
                <a:moveTo>
                  <a:pt x="0" y="162"/>
                </a:moveTo>
                <a:lnTo>
                  <a:pt x="0" y="162"/>
                </a:lnTo>
                <a:lnTo>
                  <a:pt x="0" y="156"/>
                </a:lnTo>
                <a:lnTo>
                  <a:pt x="0" y="156"/>
                </a:lnTo>
                <a:lnTo>
                  <a:pt x="0" y="150"/>
                </a:lnTo>
                <a:lnTo>
                  <a:pt x="0" y="144"/>
                </a:lnTo>
                <a:lnTo>
                  <a:pt x="0" y="144"/>
                </a:lnTo>
                <a:lnTo>
                  <a:pt x="6" y="138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26"/>
                </a:lnTo>
                <a:lnTo>
                  <a:pt x="18" y="126"/>
                </a:lnTo>
                <a:lnTo>
                  <a:pt x="18" y="120"/>
                </a:lnTo>
                <a:lnTo>
                  <a:pt x="18" y="120"/>
                </a:lnTo>
                <a:lnTo>
                  <a:pt x="24" y="114"/>
                </a:lnTo>
                <a:lnTo>
                  <a:pt x="24" y="114"/>
                </a:lnTo>
                <a:lnTo>
                  <a:pt x="24" y="108"/>
                </a:lnTo>
                <a:lnTo>
                  <a:pt x="24" y="102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84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30" y="66"/>
                </a:lnTo>
                <a:lnTo>
                  <a:pt x="30" y="66"/>
                </a:lnTo>
                <a:lnTo>
                  <a:pt x="36" y="60"/>
                </a:lnTo>
                <a:lnTo>
                  <a:pt x="36" y="60"/>
                </a:lnTo>
                <a:lnTo>
                  <a:pt x="42" y="60"/>
                </a:lnTo>
                <a:lnTo>
                  <a:pt x="42" y="60"/>
                </a:lnTo>
                <a:lnTo>
                  <a:pt x="42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60" y="54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72" y="48"/>
                </a:lnTo>
                <a:lnTo>
                  <a:pt x="72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84" y="42"/>
                </a:lnTo>
                <a:lnTo>
                  <a:pt x="90" y="42"/>
                </a:lnTo>
                <a:lnTo>
                  <a:pt x="90" y="42"/>
                </a:lnTo>
                <a:lnTo>
                  <a:pt x="90" y="36"/>
                </a:lnTo>
                <a:lnTo>
                  <a:pt x="90" y="36"/>
                </a:lnTo>
                <a:lnTo>
                  <a:pt x="90" y="30"/>
                </a:lnTo>
                <a:lnTo>
                  <a:pt x="90" y="30"/>
                </a:lnTo>
                <a:lnTo>
                  <a:pt x="90" y="24"/>
                </a:lnTo>
                <a:lnTo>
                  <a:pt x="90" y="24"/>
                </a:lnTo>
                <a:lnTo>
                  <a:pt x="96" y="24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2"/>
                </a:lnTo>
                <a:lnTo>
                  <a:pt x="102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0"/>
                </a:lnTo>
                <a:lnTo>
                  <a:pt x="114" y="0"/>
                </a:lnTo>
                <a:lnTo>
                  <a:pt x="114" y="0"/>
                </a:lnTo>
                <a:lnTo>
                  <a:pt x="120" y="0"/>
                </a:lnTo>
                <a:lnTo>
                  <a:pt x="120" y="0"/>
                </a:lnTo>
                <a:lnTo>
                  <a:pt x="126" y="0"/>
                </a:lnTo>
                <a:lnTo>
                  <a:pt x="126" y="0"/>
                </a:lnTo>
                <a:lnTo>
                  <a:pt x="126" y="0"/>
                </a:lnTo>
                <a:lnTo>
                  <a:pt x="126" y="0"/>
                </a:lnTo>
                <a:lnTo>
                  <a:pt x="132" y="0"/>
                </a:lnTo>
                <a:lnTo>
                  <a:pt x="132" y="0"/>
                </a:lnTo>
                <a:lnTo>
                  <a:pt x="132" y="0"/>
                </a:lnTo>
                <a:lnTo>
                  <a:pt x="132" y="0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8"/>
                </a:lnTo>
                <a:lnTo>
                  <a:pt x="150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24"/>
                </a:lnTo>
                <a:lnTo>
                  <a:pt x="156" y="18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30"/>
                </a:lnTo>
                <a:lnTo>
                  <a:pt x="162" y="30"/>
                </a:lnTo>
                <a:lnTo>
                  <a:pt x="162" y="30"/>
                </a:lnTo>
                <a:lnTo>
                  <a:pt x="162" y="30"/>
                </a:lnTo>
                <a:lnTo>
                  <a:pt x="162" y="30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8" y="36"/>
                </a:lnTo>
                <a:lnTo>
                  <a:pt x="168" y="36"/>
                </a:lnTo>
                <a:lnTo>
                  <a:pt x="168" y="36"/>
                </a:lnTo>
                <a:lnTo>
                  <a:pt x="168" y="36"/>
                </a:lnTo>
                <a:lnTo>
                  <a:pt x="168" y="42"/>
                </a:lnTo>
                <a:lnTo>
                  <a:pt x="168" y="42"/>
                </a:lnTo>
                <a:lnTo>
                  <a:pt x="168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80" y="42"/>
                </a:lnTo>
                <a:lnTo>
                  <a:pt x="180" y="42"/>
                </a:lnTo>
                <a:lnTo>
                  <a:pt x="180" y="48"/>
                </a:lnTo>
                <a:lnTo>
                  <a:pt x="180" y="48"/>
                </a:lnTo>
                <a:lnTo>
                  <a:pt x="180" y="48"/>
                </a:lnTo>
                <a:lnTo>
                  <a:pt x="180" y="48"/>
                </a:lnTo>
                <a:lnTo>
                  <a:pt x="180" y="48"/>
                </a:lnTo>
                <a:lnTo>
                  <a:pt x="180" y="48"/>
                </a:lnTo>
                <a:lnTo>
                  <a:pt x="180" y="48"/>
                </a:lnTo>
                <a:lnTo>
                  <a:pt x="186" y="48"/>
                </a:lnTo>
                <a:lnTo>
                  <a:pt x="186" y="54"/>
                </a:lnTo>
                <a:lnTo>
                  <a:pt x="186" y="54"/>
                </a:lnTo>
                <a:lnTo>
                  <a:pt x="186" y="54"/>
                </a:lnTo>
                <a:lnTo>
                  <a:pt x="186" y="54"/>
                </a:lnTo>
                <a:lnTo>
                  <a:pt x="186" y="54"/>
                </a:lnTo>
                <a:lnTo>
                  <a:pt x="186" y="54"/>
                </a:lnTo>
                <a:lnTo>
                  <a:pt x="192" y="54"/>
                </a:lnTo>
                <a:lnTo>
                  <a:pt x="192" y="54"/>
                </a:lnTo>
                <a:lnTo>
                  <a:pt x="192" y="60"/>
                </a:lnTo>
                <a:lnTo>
                  <a:pt x="192" y="60"/>
                </a:lnTo>
                <a:lnTo>
                  <a:pt x="192" y="60"/>
                </a:lnTo>
                <a:lnTo>
                  <a:pt x="192" y="60"/>
                </a:lnTo>
                <a:lnTo>
                  <a:pt x="192" y="60"/>
                </a:lnTo>
                <a:lnTo>
                  <a:pt x="192" y="66"/>
                </a:lnTo>
                <a:lnTo>
                  <a:pt x="192" y="66"/>
                </a:lnTo>
                <a:lnTo>
                  <a:pt x="198" y="66"/>
                </a:lnTo>
                <a:lnTo>
                  <a:pt x="198" y="66"/>
                </a:lnTo>
                <a:lnTo>
                  <a:pt x="198" y="66"/>
                </a:lnTo>
                <a:lnTo>
                  <a:pt x="198" y="72"/>
                </a:lnTo>
                <a:lnTo>
                  <a:pt x="198" y="72"/>
                </a:lnTo>
                <a:lnTo>
                  <a:pt x="204" y="72"/>
                </a:lnTo>
                <a:lnTo>
                  <a:pt x="204" y="72"/>
                </a:lnTo>
                <a:lnTo>
                  <a:pt x="204" y="72"/>
                </a:lnTo>
                <a:lnTo>
                  <a:pt x="210" y="72"/>
                </a:lnTo>
                <a:lnTo>
                  <a:pt x="210" y="72"/>
                </a:lnTo>
                <a:lnTo>
                  <a:pt x="210" y="72"/>
                </a:lnTo>
                <a:lnTo>
                  <a:pt x="216" y="72"/>
                </a:lnTo>
                <a:lnTo>
                  <a:pt x="216" y="72"/>
                </a:lnTo>
                <a:lnTo>
                  <a:pt x="216" y="72"/>
                </a:lnTo>
                <a:lnTo>
                  <a:pt x="222" y="78"/>
                </a:lnTo>
                <a:lnTo>
                  <a:pt x="222" y="78"/>
                </a:lnTo>
                <a:lnTo>
                  <a:pt x="222" y="78"/>
                </a:lnTo>
                <a:lnTo>
                  <a:pt x="222" y="78"/>
                </a:lnTo>
                <a:lnTo>
                  <a:pt x="222" y="84"/>
                </a:lnTo>
                <a:lnTo>
                  <a:pt x="228" y="84"/>
                </a:lnTo>
                <a:lnTo>
                  <a:pt x="228" y="84"/>
                </a:lnTo>
                <a:lnTo>
                  <a:pt x="228" y="84"/>
                </a:lnTo>
                <a:lnTo>
                  <a:pt x="228" y="84"/>
                </a:lnTo>
                <a:lnTo>
                  <a:pt x="228" y="84"/>
                </a:lnTo>
                <a:lnTo>
                  <a:pt x="228" y="84"/>
                </a:lnTo>
                <a:lnTo>
                  <a:pt x="234" y="84"/>
                </a:lnTo>
                <a:lnTo>
                  <a:pt x="234" y="84"/>
                </a:lnTo>
                <a:lnTo>
                  <a:pt x="234" y="84"/>
                </a:lnTo>
                <a:lnTo>
                  <a:pt x="234" y="84"/>
                </a:lnTo>
                <a:lnTo>
                  <a:pt x="234" y="84"/>
                </a:lnTo>
                <a:lnTo>
                  <a:pt x="234" y="84"/>
                </a:lnTo>
                <a:lnTo>
                  <a:pt x="240" y="84"/>
                </a:lnTo>
                <a:lnTo>
                  <a:pt x="240" y="84"/>
                </a:lnTo>
                <a:lnTo>
                  <a:pt x="234" y="84"/>
                </a:lnTo>
                <a:lnTo>
                  <a:pt x="234" y="84"/>
                </a:lnTo>
                <a:lnTo>
                  <a:pt x="234" y="90"/>
                </a:lnTo>
                <a:lnTo>
                  <a:pt x="228" y="90"/>
                </a:lnTo>
                <a:lnTo>
                  <a:pt x="228" y="96"/>
                </a:lnTo>
                <a:lnTo>
                  <a:pt x="228" y="96"/>
                </a:lnTo>
                <a:lnTo>
                  <a:pt x="222" y="102"/>
                </a:lnTo>
                <a:lnTo>
                  <a:pt x="222" y="102"/>
                </a:lnTo>
                <a:lnTo>
                  <a:pt x="222" y="102"/>
                </a:lnTo>
                <a:lnTo>
                  <a:pt x="216" y="102"/>
                </a:lnTo>
                <a:lnTo>
                  <a:pt x="216" y="102"/>
                </a:lnTo>
                <a:lnTo>
                  <a:pt x="216" y="102"/>
                </a:lnTo>
                <a:lnTo>
                  <a:pt x="210" y="102"/>
                </a:lnTo>
                <a:lnTo>
                  <a:pt x="210" y="108"/>
                </a:lnTo>
                <a:lnTo>
                  <a:pt x="210" y="108"/>
                </a:lnTo>
                <a:lnTo>
                  <a:pt x="210" y="108"/>
                </a:lnTo>
                <a:lnTo>
                  <a:pt x="210" y="114"/>
                </a:lnTo>
                <a:lnTo>
                  <a:pt x="210" y="114"/>
                </a:lnTo>
                <a:lnTo>
                  <a:pt x="216" y="114"/>
                </a:lnTo>
                <a:lnTo>
                  <a:pt x="222" y="114"/>
                </a:lnTo>
                <a:lnTo>
                  <a:pt x="222" y="120"/>
                </a:lnTo>
                <a:lnTo>
                  <a:pt x="222" y="120"/>
                </a:lnTo>
                <a:lnTo>
                  <a:pt x="222" y="120"/>
                </a:lnTo>
                <a:lnTo>
                  <a:pt x="222" y="120"/>
                </a:lnTo>
                <a:lnTo>
                  <a:pt x="222" y="120"/>
                </a:lnTo>
                <a:lnTo>
                  <a:pt x="228" y="120"/>
                </a:lnTo>
                <a:lnTo>
                  <a:pt x="228" y="120"/>
                </a:lnTo>
                <a:lnTo>
                  <a:pt x="228" y="120"/>
                </a:lnTo>
                <a:lnTo>
                  <a:pt x="234" y="120"/>
                </a:lnTo>
                <a:lnTo>
                  <a:pt x="240" y="120"/>
                </a:lnTo>
                <a:lnTo>
                  <a:pt x="240" y="120"/>
                </a:lnTo>
                <a:lnTo>
                  <a:pt x="240" y="120"/>
                </a:lnTo>
                <a:lnTo>
                  <a:pt x="246" y="126"/>
                </a:lnTo>
                <a:lnTo>
                  <a:pt x="246" y="126"/>
                </a:lnTo>
                <a:lnTo>
                  <a:pt x="246" y="132"/>
                </a:lnTo>
                <a:lnTo>
                  <a:pt x="240" y="132"/>
                </a:lnTo>
                <a:lnTo>
                  <a:pt x="240" y="132"/>
                </a:lnTo>
                <a:lnTo>
                  <a:pt x="234" y="138"/>
                </a:lnTo>
                <a:lnTo>
                  <a:pt x="234" y="138"/>
                </a:lnTo>
                <a:lnTo>
                  <a:pt x="228" y="138"/>
                </a:lnTo>
                <a:lnTo>
                  <a:pt x="228" y="144"/>
                </a:lnTo>
                <a:lnTo>
                  <a:pt x="228" y="150"/>
                </a:lnTo>
                <a:lnTo>
                  <a:pt x="228" y="150"/>
                </a:lnTo>
                <a:lnTo>
                  <a:pt x="228" y="156"/>
                </a:lnTo>
                <a:lnTo>
                  <a:pt x="228" y="162"/>
                </a:lnTo>
                <a:lnTo>
                  <a:pt x="228" y="162"/>
                </a:lnTo>
                <a:lnTo>
                  <a:pt x="222" y="168"/>
                </a:lnTo>
                <a:lnTo>
                  <a:pt x="222" y="174"/>
                </a:lnTo>
                <a:lnTo>
                  <a:pt x="216" y="174"/>
                </a:lnTo>
                <a:lnTo>
                  <a:pt x="216" y="174"/>
                </a:lnTo>
                <a:lnTo>
                  <a:pt x="204" y="180"/>
                </a:lnTo>
                <a:lnTo>
                  <a:pt x="204" y="180"/>
                </a:lnTo>
                <a:lnTo>
                  <a:pt x="204" y="180"/>
                </a:lnTo>
                <a:lnTo>
                  <a:pt x="198" y="186"/>
                </a:lnTo>
                <a:lnTo>
                  <a:pt x="198" y="186"/>
                </a:lnTo>
                <a:lnTo>
                  <a:pt x="192" y="186"/>
                </a:lnTo>
                <a:lnTo>
                  <a:pt x="192" y="186"/>
                </a:lnTo>
                <a:lnTo>
                  <a:pt x="192" y="192"/>
                </a:lnTo>
                <a:lnTo>
                  <a:pt x="186" y="192"/>
                </a:lnTo>
                <a:lnTo>
                  <a:pt x="186" y="198"/>
                </a:lnTo>
                <a:lnTo>
                  <a:pt x="186" y="198"/>
                </a:lnTo>
                <a:lnTo>
                  <a:pt x="186" y="204"/>
                </a:lnTo>
                <a:lnTo>
                  <a:pt x="180" y="204"/>
                </a:lnTo>
                <a:lnTo>
                  <a:pt x="186" y="210"/>
                </a:lnTo>
                <a:lnTo>
                  <a:pt x="186" y="222"/>
                </a:lnTo>
                <a:lnTo>
                  <a:pt x="186" y="222"/>
                </a:lnTo>
                <a:lnTo>
                  <a:pt x="180" y="222"/>
                </a:lnTo>
                <a:lnTo>
                  <a:pt x="180" y="222"/>
                </a:lnTo>
                <a:lnTo>
                  <a:pt x="174" y="222"/>
                </a:lnTo>
                <a:lnTo>
                  <a:pt x="174" y="222"/>
                </a:lnTo>
                <a:lnTo>
                  <a:pt x="174" y="222"/>
                </a:lnTo>
                <a:lnTo>
                  <a:pt x="168" y="228"/>
                </a:lnTo>
                <a:lnTo>
                  <a:pt x="162" y="222"/>
                </a:lnTo>
                <a:lnTo>
                  <a:pt x="162" y="222"/>
                </a:lnTo>
                <a:lnTo>
                  <a:pt x="162" y="228"/>
                </a:lnTo>
                <a:lnTo>
                  <a:pt x="156" y="234"/>
                </a:lnTo>
                <a:lnTo>
                  <a:pt x="156" y="234"/>
                </a:lnTo>
                <a:lnTo>
                  <a:pt x="156" y="234"/>
                </a:lnTo>
                <a:lnTo>
                  <a:pt x="156" y="234"/>
                </a:lnTo>
                <a:lnTo>
                  <a:pt x="150" y="234"/>
                </a:lnTo>
                <a:lnTo>
                  <a:pt x="150" y="234"/>
                </a:lnTo>
                <a:lnTo>
                  <a:pt x="150" y="234"/>
                </a:lnTo>
                <a:lnTo>
                  <a:pt x="150" y="234"/>
                </a:lnTo>
                <a:lnTo>
                  <a:pt x="150" y="234"/>
                </a:lnTo>
                <a:lnTo>
                  <a:pt x="150" y="228"/>
                </a:lnTo>
                <a:lnTo>
                  <a:pt x="150" y="228"/>
                </a:lnTo>
                <a:lnTo>
                  <a:pt x="144" y="228"/>
                </a:lnTo>
                <a:lnTo>
                  <a:pt x="144" y="228"/>
                </a:lnTo>
                <a:lnTo>
                  <a:pt x="144" y="228"/>
                </a:lnTo>
                <a:lnTo>
                  <a:pt x="144" y="234"/>
                </a:lnTo>
                <a:lnTo>
                  <a:pt x="144" y="234"/>
                </a:lnTo>
                <a:lnTo>
                  <a:pt x="144" y="234"/>
                </a:lnTo>
                <a:lnTo>
                  <a:pt x="144" y="228"/>
                </a:lnTo>
                <a:lnTo>
                  <a:pt x="144" y="234"/>
                </a:lnTo>
                <a:lnTo>
                  <a:pt x="144" y="234"/>
                </a:lnTo>
                <a:lnTo>
                  <a:pt x="144" y="234"/>
                </a:lnTo>
                <a:lnTo>
                  <a:pt x="144" y="234"/>
                </a:lnTo>
                <a:lnTo>
                  <a:pt x="138" y="234"/>
                </a:lnTo>
                <a:lnTo>
                  <a:pt x="138" y="234"/>
                </a:lnTo>
                <a:lnTo>
                  <a:pt x="138" y="234"/>
                </a:lnTo>
                <a:lnTo>
                  <a:pt x="138" y="234"/>
                </a:lnTo>
                <a:lnTo>
                  <a:pt x="138" y="228"/>
                </a:lnTo>
                <a:lnTo>
                  <a:pt x="138" y="228"/>
                </a:lnTo>
                <a:lnTo>
                  <a:pt x="138" y="228"/>
                </a:lnTo>
                <a:lnTo>
                  <a:pt x="138" y="228"/>
                </a:lnTo>
                <a:lnTo>
                  <a:pt x="138" y="228"/>
                </a:lnTo>
                <a:lnTo>
                  <a:pt x="132" y="228"/>
                </a:lnTo>
                <a:lnTo>
                  <a:pt x="132" y="228"/>
                </a:lnTo>
                <a:lnTo>
                  <a:pt x="132" y="228"/>
                </a:lnTo>
                <a:lnTo>
                  <a:pt x="132" y="228"/>
                </a:lnTo>
                <a:lnTo>
                  <a:pt x="132" y="234"/>
                </a:lnTo>
                <a:lnTo>
                  <a:pt x="132" y="228"/>
                </a:lnTo>
                <a:lnTo>
                  <a:pt x="132" y="234"/>
                </a:lnTo>
                <a:lnTo>
                  <a:pt x="132" y="234"/>
                </a:lnTo>
                <a:lnTo>
                  <a:pt x="132" y="234"/>
                </a:lnTo>
                <a:lnTo>
                  <a:pt x="126" y="234"/>
                </a:lnTo>
                <a:lnTo>
                  <a:pt x="126" y="234"/>
                </a:lnTo>
                <a:lnTo>
                  <a:pt x="126" y="234"/>
                </a:lnTo>
                <a:lnTo>
                  <a:pt x="126" y="234"/>
                </a:lnTo>
                <a:lnTo>
                  <a:pt x="126" y="234"/>
                </a:lnTo>
                <a:lnTo>
                  <a:pt x="120" y="234"/>
                </a:lnTo>
                <a:lnTo>
                  <a:pt x="120" y="240"/>
                </a:lnTo>
                <a:lnTo>
                  <a:pt x="114" y="240"/>
                </a:lnTo>
                <a:lnTo>
                  <a:pt x="114" y="246"/>
                </a:lnTo>
                <a:lnTo>
                  <a:pt x="114" y="246"/>
                </a:lnTo>
                <a:lnTo>
                  <a:pt x="114" y="246"/>
                </a:lnTo>
                <a:lnTo>
                  <a:pt x="114" y="246"/>
                </a:lnTo>
                <a:lnTo>
                  <a:pt x="108" y="246"/>
                </a:lnTo>
                <a:lnTo>
                  <a:pt x="108" y="246"/>
                </a:lnTo>
                <a:lnTo>
                  <a:pt x="108" y="246"/>
                </a:lnTo>
                <a:lnTo>
                  <a:pt x="102" y="246"/>
                </a:lnTo>
                <a:lnTo>
                  <a:pt x="102" y="246"/>
                </a:lnTo>
                <a:lnTo>
                  <a:pt x="102" y="246"/>
                </a:lnTo>
                <a:lnTo>
                  <a:pt x="102" y="246"/>
                </a:lnTo>
                <a:lnTo>
                  <a:pt x="102" y="252"/>
                </a:lnTo>
                <a:lnTo>
                  <a:pt x="102" y="252"/>
                </a:lnTo>
                <a:lnTo>
                  <a:pt x="96" y="252"/>
                </a:lnTo>
                <a:lnTo>
                  <a:pt x="96" y="252"/>
                </a:lnTo>
                <a:lnTo>
                  <a:pt x="96" y="252"/>
                </a:lnTo>
                <a:lnTo>
                  <a:pt x="96" y="252"/>
                </a:lnTo>
                <a:lnTo>
                  <a:pt x="96" y="252"/>
                </a:lnTo>
                <a:lnTo>
                  <a:pt x="96" y="252"/>
                </a:lnTo>
                <a:lnTo>
                  <a:pt x="96" y="252"/>
                </a:lnTo>
                <a:lnTo>
                  <a:pt x="96" y="252"/>
                </a:lnTo>
                <a:lnTo>
                  <a:pt x="96" y="258"/>
                </a:lnTo>
                <a:lnTo>
                  <a:pt x="96" y="258"/>
                </a:lnTo>
                <a:lnTo>
                  <a:pt x="96" y="258"/>
                </a:lnTo>
                <a:lnTo>
                  <a:pt x="96" y="258"/>
                </a:lnTo>
                <a:lnTo>
                  <a:pt x="96" y="258"/>
                </a:lnTo>
                <a:lnTo>
                  <a:pt x="96" y="258"/>
                </a:lnTo>
                <a:lnTo>
                  <a:pt x="96" y="264"/>
                </a:lnTo>
                <a:lnTo>
                  <a:pt x="96" y="264"/>
                </a:lnTo>
                <a:lnTo>
                  <a:pt x="96" y="264"/>
                </a:lnTo>
                <a:lnTo>
                  <a:pt x="96" y="264"/>
                </a:lnTo>
                <a:lnTo>
                  <a:pt x="90" y="264"/>
                </a:lnTo>
                <a:lnTo>
                  <a:pt x="90" y="264"/>
                </a:lnTo>
                <a:lnTo>
                  <a:pt x="90" y="264"/>
                </a:lnTo>
                <a:lnTo>
                  <a:pt x="90" y="264"/>
                </a:lnTo>
                <a:lnTo>
                  <a:pt x="90" y="258"/>
                </a:lnTo>
                <a:lnTo>
                  <a:pt x="90" y="258"/>
                </a:lnTo>
                <a:lnTo>
                  <a:pt x="90" y="258"/>
                </a:lnTo>
                <a:lnTo>
                  <a:pt x="90" y="258"/>
                </a:lnTo>
                <a:lnTo>
                  <a:pt x="90" y="252"/>
                </a:lnTo>
                <a:lnTo>
                  <a:pt x="90" y="252"/>
                </a:lnTo>
                <a:lnTo>
                  <a:pt x="90" y="252"/>
                </a:lnTo>
                <a:lnTo>
                  <a:pt x="90" y="252"/>
                </a:lnTo>
                <a:lnTo>
                  <a:pt x="90" y="252"/>
                </a:lnTo>
                <a:lnTo>
                  <a:pt x="90" y="252"/>
                </a:lnTo>
                <a:lnTo>
                  <a:pt x="90" y="252"/>
                </a:lnTo>
                <a:lnTo>
                  <a:pt x="90" y="246"/>
                </a:lnTo>
                <a:lnTo>
                  <a:pt x="90" y="246"/>
                </a:lnTo>
                <a:lnTo>
                  <a:pt x="84" y="246"/>
                </a:lnTo>
                <a:lnTo>
                  <a:pt x="90" y="246"/>
                </a:lnTo>
                <a:lnTo>
                  <a:pt x="90" y="246"/>
                </a:lnTo>
                <a:lnTo>
                  <a:pt x="90" y="246"/>
                </a:lnTo>
                <a:lnTo>
                  <a:pt x="90" y="246"/>
                </a:lnTo>
                <a:lnTo>
                  <a:pt x="90" y="246"/>
                </a:lnTo>
                <a:lnTo>
                  <a:pt x="84" y="240"/>
                </a:lnTo>
                <a:lnTo>
                  <a:pt x="84" y="240"/>
                </a:lnTo>
                <a:lnTo>
                  <a:pt x="84" y="240"/>
                </a:lnTo>
                <a:lnTo>
                  <a:pt x="84" y="240"/>
                </a:lnTo>
                <a:lnTo>
                  <a:pt x="84" y="240"/>
                </a:lnTo>
                <a:lnTo>
                  <a:pt x="84" y="240"/>
                </a:lnTo>
                <a:lnTo>
                  <a:pt x="84" y="240"/>
                </a:lnTo>
                <a:lnTo>
                  <a:pt x="84" y="234"/>
                </a:lnTo>
                <a:lnTo>
                  <a:pt x="84" y="240"/>
                </a:lnTo>
                <a:lnTo>
                  <a:pt x="84" y="234"/>
                </a:lnTo>
                <a:lnTo>
                  <a:pt x="84" y="234"/>
                </a:lnTo>
                <a:lnTo>
                  <a:pt x="84" y="234"/>
                </a:lnTo>
                <a:lnTo>
                  <a:pt x="78" y="234"/>
                </a:lnTo>
                <a:lnTo>
                  <a:pt x="84" y="234"/>
                </a:lnTo>
                <a:lnTo>
                  <a:pt x="84" y="234"/>
                </a:lnTo>
                <a:lnTo>
                  <a:pt x="78" y="234"/>
                </a:lnTo>
                <a:lnTo>
                  <a:pt x="78" y="234"/>
                </a:lnTo>
                <a:lnTo>
                  <a:pt x="78" y="234"/>
                </a:lnTo>
                <a:lnTo>
                  <a:pt x="78" y="234"/>
                </a:lnTo>
                <a:lnTo>
                  <a:pt x="78" y="228"/>
                </a:lnTo>
                <a:lnTo>
                  <a:pt x="78" y="228"/>
                </a:lnTo>
                <a:lnTo>
                  <a:pt x="78" y="228"/>
                </a:lnTo>
                <a:lnTo>
                  <a:pt x="78" y="228"/>
                </a:lnTo>
                <a:lnTo>
                  <a:pt x="78" y="228"/>
                </a:lnTo>
                <a:lnTo>
                  <a:pt x="78" y="228"/>
                </a:lnTo>
                <a:lnTo>
                  <a:pt x="78" y="228"/>
                </a:lnTo>
                <a:lnTo>
                  <a:pt x="78" y="228"/>
                </a:lnTo>
                <a:lnTo>
                  <a:pt x="78" y="228"/>
                </a:lnTo>
                <a:lnTo>
                  <a:pt x="78" y="228"/>
                </a:lnTo>
                <a:lnTo>
                  <a:pt x="78" y="228"/>
                </a:lnTo>
                <a:lnTo>
                  <a:pt x="78" y="228"/>
                </a:lnTo>
                <a:lnTo>
                  <a:pt x="78" y="228"/>
                </a:lnTo>
                <a:lnTo>
                  <a:pt x="72" y="228"/>
                </a:lnTo>
                <a:lnTo>
                  <a:pt x="72" y="222"/>
                </a:lnTo>
                <a:lnTo>
                  <a:pt x="78" y="222"/>
                </a:lnTo>
                <a:lnTo>
                  <a:pt x="78" y="222"/>
                </a:lnTo>
                <a:lnTo>
                  <a:pt x="72" y="222"/>
                </a:lnTo>
                <a:lnTo>
                  <a:pt x="72" y="222"/>
                </a:lnTo>
                <a:lnTo>
                  <a:pt x="72" y="222"/>
                </a:lnTo>
                <a:lnTo>
                  <a:pt x="78" y="222"/>
                </a:lnTo>
                <a:lnTo>
                  <a:pt x="72" y="216"/>
                </a:lnTo>
                <a:lnTo>
                  <a:pt x="72" y="216"/>
                </a:lnTo>
                <a:lnTo>
                  <a:pt x="72" y="216"/>
                </a:lnTo>
                <a:lnTo>
                  <a:pt x="72" y="216"/>
                </a:lnTo>
                <a:lnTo>
                  <a:pt x="72" y="216"/>
                </a:lnTo>
                <a:lnTo>
                  <a:pt x="72" y="210"/>
                </a:lnTo>
                <a:lnTo>
                  <a:pt x="72" y="210"/>
                </a:lnTo>
                <a:lnTo>
                  <a:pt x="72" y="210"/>
                </a:lnTo>
                <a:lnTo>
                  <a:pt x="72" y="210"/>
                </a:lnTo>
                <a:lnTo>
                  <a:pt x="72" y="210"/>
                </a:lnTo>
                <a:lnTo>
                  <a:pt x="72" y="210"/>
                </a:lnTo>
                <a:lnTo>
                  <a:pt x="72" y="210"/>
                </a:lnTo>
                <a:lnTo>
                  <a:pt x="72" y="210"/>
                </a:lnTo>
                <a:lnTo>
                  <a:pt x="72" y="204"/>
                </a:lnTo>
                <a:lnTo>
                  <a:pt x="72" y="204"/>
                </a:lnTo>
                <a:lnTo>
                  <a:pt x="72" y="204"/>
                </a:lnTo>
                <a:lnTo>
                  <a:pt x="72" y="204"/>
                </a:lnTo>
                <a:lnTo>
                  <a:pt x="72" y="198"/>
                </a:lnTo>
                <a:lnTo>
                  <a:pt x="66" y="198"/>
                </a:lnTo>
                <a:lnTo>
                  <a:pt x="66" y="198"/>
                </a:lnTo>
                <a:lnTo>
                  <a:pt x="66" y="198"/>
                </a:lnTo>
                <a:lnTo>
                  <a:pt x="66" y="198"/>
                </a:lnTo>
                <a:lnTo>
                  <a:pt x="66" y="198"/>
                </a:lnTo>
                <a:lnTo>
                  <a:pt x="66" y="198"/>
                </a:lnTo>
                <a:lnTo>
                  <a:pt x="60" y="198"/>
                </a:lnTo>
                <a:lnTo>
                  <a:pt x="60" y="198"/>
                </a:lnTo>
                <a:lnTo>
                  <a:pt x="60" y="198"/>
                </a:lnTo>
                <a:lnTo>
                  <a:pt x="60" y="198"/>
                </a:lnTo>
                <a:lnTo>
                  <a:pt x="60" y="198"/>
                </a:lnTo>
                <a:lnTo>
                  <a:pt x="60" y="192"/>
                </a:lnTo>
                <a:lnTo>
                  <a:pt x="60" y="192"/>
                </a:lnTo>
                <a:lnTo>
                  <a:pt x="60" y="192"/>
                </a:lnTo>
                <a:lnTo>
                  <a:pt x="60" y="192"/>
                </a:lnTo>
                <a:lnTo>
                  <a:pt x="54" y="192"/>
                </a:lnTo>
                <a:lnTo>
                  <a:pt x="54" y="192"/>
                </a:lnTo>
                <a:lnTo>
                  <a:pt x="54" y="198"/>
                </a:lnTo>
                <a:lnTo>
                  <a:pt x="54" y="198"/>
                </a:lnTo>
                <a:lnTo>
                  <a:pt x="54" y="198"/>
                </a:lnTo>
                <a:lnTo>
                  <a:pt x="54" y="198"/>
                </a:lnTo>
                <a:lnTo>
                  <a:pt x="54" y="198"/>
                </a:lnTo>
                <a:lnTo>
                  <a:pt x="54" y="198"/>
                </a:lnTo>
                <a:lnTo>
                  <a:pt x="48" y="198"/>
                </a:lnTo>
                <a:lnTo>
                  <a:pt x="48" y="198"/>
                </a:lnTo>
                <a:lnTo>
                  <a:pt x="48" y="198"/>
                </a:lnTo>
                <a:lnTo>
                  <a:pt x="48" y="198"/>
                </a:lnTo>
                <a:lnTo>
                  <a:pt x="48" y="198"/>
                </a:lnTo>
                <a:lnTo>
                  <a:pt x="42" y="198"/>
                </a:lnTo>
                <a:lnTo>
                  <a:pt x="42" y="198"/>
                </a:lnTo>
                <a:lnTo>
                  <a:pt x="42" y="198"/>
                </a:lnTo>
                <a:lnTo>
                  <a:pt x="42" y="198"/>
                </a:lnTo>
                <a:lnTo>
                  <a:pt x="42" y="198"/>
                </a:lnTo>
                <a:lnTo>
                  <a:pt x="42" y="198"/>
                </a:lnTo>
                <a:lnTo>
                  <a:pt x="42" y="198"/>
                </a:lnTo>
                <a:lnTo>
                  <a:pt x="42" y="198"/>
                </a:lnTo>
                <a:lnTo>
                  <a:pt x="36" y="198"/>
                </a:lnTo>
                <a:lnTo>
                  <a:pt x="36" y="198"/>
                </a:lnTo>
                <a:lnTo>
                  <a:pt x="36" y="198"/>
                </a:lnTo>
                <a:lnTo>
                  <a:pt x="36" y="198"/>
                </a:lnTo>
                <a:lnTo>
                  <a:pt x="36" y="198"/>
                </a:lnTo>
                <a:lnTo>
                  <a:pt x="36" y="198"/>
                </a:lnTo>
                <a:lnTo>
                  <a:pt x="30" y="198"/>
                </a:lnTo>
                <a:lnTo>
                  <a:pt x="30" y="198"/>
                </a:lnTo>
                <a:lnTo>
                  <a:pt x="30" y="198"/>
                </a:lnTo>
                <a:lnTo>
                  <a:pt x="30" y="198"/>
                </a:lnTo>
                <a:lnTo>
                  <a:pt x="30" y="198"/>
                </a:lnTo>
                <a:lnTo>
                  <a:pt x="30" y="198"/>
                </a:lnTo>
                <a:lnTo>
                  <a:pt x="30" y="198"/>
                </a:lnTo>
                <a:lnTo>
                  <a:pt x="30" y="198"/>
                </a:lnTo>
                <a:lnTo>
                  <a:pt x="30" y="198"/>
                </a:lnTo>
                <a:lnTo>
                  <a:pt x="30" y="192"/>
                </a:lnTo>
                <a:lnTo>
                  <a:pt x="24" y="192"/>
                </a:lnTo>
                <a:lnTo>
                  <a:pt x="24" y="192"/>
                </a:lnTo>
                <a:lnTo>
                  <a:pt x="24" y="192"/>
                </a:lnTo>
                <a:lnTo>
                  <a:pt x="24" y="192"/>
                </a:lnTo>
                <a:lnTo>
                  <a:pt x="30" y="186"/>
                </a:lnTo>
                <a:lnTo>
                  <a:pt x="30" y="186"/>
                </a:lnTo>
                <a:lnTo>
                  <a:pt x="24" y="186"/>
                </a:lnTo>
                <a:lnTo>
                  <a:pt x="24" y="186"/>
                </a:lnTo>
                <a:lnTo>
                  <a:pt x="18" y="186"/>
                </a:lnTo>
                <a:lnTo>
                  <a:pt x="18" y="180"/>
                </a:lnTo>
                <a:lnTo>
                  <a:pt x="18" y="180"/>
                </a:lnTo>
                <a:lnTo>
                  <a:pt x="12" y="180"/>
                </a:lnTo>
                <a:lnTo>
                  <a:pt x="6" y="174"/>
                </a:lnTo>
                <a:lnTo>
                  <a:pt x="6" y="174"/>
                </a:lnTo>
                <a:lnTo>
                  <a:pt x="6" y="168"/>
                </a:lnTo>
                <a:lnTo>
                  <a:pt x="0" y="168"/>
                </a:lnTo>
                <a:lnTo>
                  <a:pt x="0" y="16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30" name="Freeform 63"/>
          <p:cNvSpPr>
            <a:spLocks/>
          </p:cNvSpPr>
          <p:nvPr/>
        </p:nvSpPr>
        <p:spPr bwMode="auto">
          <a:xfrm>
            <a:off x="6742645" y="2599645"/>
            <a:ext cx="231266" cy="359749"/>
          </a:xfrm>
          <a:custGeom>
            <a:avLst/>
            <a:gdLst>
              <a:gd name="T0" fmla="*/ 6 w 216"/>
              <a:gd name="T1" fmla="*/ 24 h 336"/>
              <a:gd name="T2" fmla="*/ 30 w 216"/>
              <a:gd name="T3" fmla="*/ 12 h 336"/>
              <a:gd name="T4" fmla="*/ 42 w 216"/>
              <a:gd name="T5" fmla="*/ 6 h 336"/>
              <a:gd name="T6" fmla="*/ 66 w 216"/>
              <a:gd name="T7" fmla="*/ 0 h 336"/>
              <a:gd name="T8" fmla="*/ 90 w 216"/>
              <a:gd name="T9" fmla="*/ 12 h 336"/>
              <a:gd name="T10" fmla="*/ 114 w 216"/>
              <a:gd name="T11" fmla="*/ 12 h 336"/>
              <a:gd name="T12" fmla="*/ 126 w 216"/>
              <a:gd name="T13" fmla="*/ 12 h 336"/>
              <a:gd name="T14" fmla="*/ 150 w 216"/>
              <a:gd name="T15" fmla="*/ 18 h 336"/>
              <a:gd name="T16" fmla="*/ 162 w 216"/>
              <a:gd name="T17" fmla="*/ 6 h 336"/>
              <a:gd name="T18" fmla="*/ 180 w 216"/>
              <a:gd name="T19" fmla="*/ 12 h 336"/>
              <a:gd name="T20" fmla="*/ 168 w 216"/>
              <a:gd name="T21" fmla="*/ 60 h 336"/>
              <a:gd name="T22" fmla="*/ 174 w 216"/>
              <a:gd name="T23" fmla="*/ 96 h 336"/>
              <a:gd name="T24" fmla="*/ 180 w 216"/>
              <a:gd name="T25" fmla="*/ 114 h 336"/>
              <a:gd name="T26" fmla="*/ 180 w 216"/>
              <a:gd name="T27" fmla="*/ 126 h 336"/>
              <a:gd name="T28" fmla="*/ 186 w 216"/>
              <a:gd name="T29" fmla="*/ 144 h 336"/>
              <a:gd name="T30" fmla="*/ 186 w 216"/>
              <a:gd name="T31" fmla="*/ 150 h 336"/>
              <a:gd name="T32" fmla="*/ 204 w 216"/>
              <a:gd name="T33" fmla="*/ 162 h 336"/>
              <a:gd name="T34" fmla="*/ 210 w 216"/>
              <a:gd name="T35" fmla="*/ 168 h 336"/>
              <a:gd name="T36" fmla="*/ 216 w 216"/>
              <a:gd name="T37" fmla="*/ 186 h 336"/>
              <a:gd name="T38" fmla="*/ 198 w 216"/>
              <a:gd name="T39" fmla="*/ 186 h 336"/>
              <a:gd name="T40" fmla="*/ 198 w 216"/>
              <a:gd name="T41" fmla="*/ 210 h 336"/>
              <a:gd name="T42" fmla="*/ 198 w 216"/>
              <a:gd name="T43" fmla="*/ 234 h 336"/>
              <a:gd name="T44" fmla="*/ 198 w 216"/>
              <a:gd name="T45" fmla="*/ 252 h 336"/>
              <a:gd name="T46" fmla="*/ 204 w 216"/>
              <a:gd name="T47" fmla="*/ 276 h 336"/>
              <a:gd name="T48" fmla="*/ 210 w 216"/>
              <a:gd name="T49" fmla="*/ 300 h 336"/>
              <a:gd name="T50" fmla="*/ 204 w 216"/>
              <a:gd name="T51" fmla="*/ 318 h 336"/>
              <a:gd name="T52" fmla="*/ 198 w 216"/>
              <a:gd name="T53" fmla="*/ 318 h 336"/>
              <a:gd name="T54" fmla="*/ 186 w 216"/>
              <a:gd name="T55" fmla="*/ 324 h 336"/>
              <a:gd name="T56" fmla="*/ 180 w 216"/>
              <a:gd name="T57" fmla="*/ 330 h 336"/>
              <a:gd name="T58" fmla="*/ 174 w 216"/>
              <a:gd name="T59" fmla="*/ 330 h 336"/>
              <a:gd name="T60" fmla="*/ 168 w 216"/>
              <a:gd name="T61" fmla="*/ 312 h 336"/>
              <a:gd name="T62" fmla="*/ 162 w 216"/>
              <a:gd name="T63" fmla="*/ 324 h 336"/>
              <a:gd name="T64" fmla="*/ 156 w 216"/>
              <a:gd name="T65" fmla="*/ 324 h 336"/>
              <a:gd name="T66" fmla="*/ 156 w 216"/>
              <a:gd name="T67" fmla="*/ 312 h 336"/>
              <a:gd name="T68" fmla="*/ 150 w 216"/>
              <a:gd name="T69" fmla="*/ 294 h 336"/>
              <a:gd name="T70" fmla="*/ 138 w 216"/>
              <a:gd name="T71" fmla="*/ 294 h 336"/>
              <a:gd name="T72" fmla="*/ 126 w 216"/>
              <a:gd name="T73" fmla="*/ 276 h 336"/>
              <a:gd name="T74" fmla="*/ 120 w 216"/>
              <a:gd name="T75" fmla="*/ 270 h 336"/>
              <a:gd name="T76" fmla="*/ 96 w 216"/>
              <a:gd name="T77" fmla="*/ 282 h 336"/>
              <a:gd name="T78" fmla="*/ 84 w 216"/>
              <a:gd name="T79" fmla="*/ 270 h 336"/>
              <a:gd name="T80" fmla="*/ 66 w 216"/>
              <a:gd name="T81" fmla="*/ 276 h 336"/>
              <a:gd name="T82" fmla="*/ 54 w 216"/>
              <a:gd name="T83" fmla="*/ 264 h 336"/>
              <a:gd name="T84" fmla="*/ 54 w 216"/>
              <a:gd name="T85" fmla="*/ 246 h 336"/>
              <a:gd name="T86" fmla="*/ 48 w 216"/>
              <a:gd name="T87" fmla="*/ 234 h 336"/>
              <a:gd name="T88" fmla="*/ 36 w 216"/>
              <a:gd name="T89" fmla="*/ 222 h 336"/>
              <a:gd name="T90" fmla="*/ 24 w 216"/>
              <a:gd name="T91" fmla="*/ 216 h 336"/>
              <a:gd name="T92" fmla="*/ 18 w 216"/>
              <a:gd name="T93" fmla="*/ 198 h 336"/>
              <a:gd name="T94" fmla="*/ 42 w 216"/>
              <a:gd name="T95" fmla="*/ 192 h 336"/>
              <a:gd name="T96" fmla="*/ 66 w 216"/>
              <a:gd name="T97" fmla="*/ 162 h 336"/>
              <a:gd name="T98" fmla="*/ 54 w 216"/>
              <a:gd name="T99" fmla="*/ 144 h 336"/>
              <a:gd name="T100" fmla="*/ 66 w 216"/>
              <a:gd name="T101" fmla="*/ 132 h 336"/>
              <a:gd name="T102" fmla="*/ 84 w 216"/>
              <a:gd name="T103" fmla="*/ 120 h 336"/>
              <a:gd name="T104" fmla="*/ 108 w 216"/>
              <a:gd name="T105" fmla="*/ 102 h 336"/>
              <a:gd name="T106" fmla="*/ 90 w 216"/>
              <a:gd name="T107" fmla="*/ 84 h 336"/>
              <a:gd name="T108" fmla="*/ 72 w 216"/>
              <a:gd name="T109" fmla="*/ 78 h 336"/>
              <a:gd name="T110" fmla="*/ 60 w 216"/>
              <a:gd name="T111" fmla="*/ 72 h 336"/>
              <a:gd name="T112" fmla="*/ 48 w 216"/>
              <a:gd name="T113" fmla="*/ 60 h 336"/>
              <a:gd name="T114" fmla="*/ 36 w 216"/>
              <a:gd name="T115" fmla="*/ 60 h 336"/>
              <a:gd name="T116" fmla="*/ 24 w 216"/>
              <a:gd name="T117" fmla="*/ 54 h 336"/>
              <a:gd name="T118" fmla="*/ 6 w 216"/>
              <a:gd name="T119" fmla="*/ 42 h 3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16" h="336">
                <a:moveTo>
                  <a:pt x="0" y="36"/>
                </a:move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24" y="24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30" y="18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42" y="12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72" y="0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84" y="6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6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6" y="12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102" y="6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14" y="12"/>
                </a:lnTo>
                <a:lnTo>
                  <a:pt x="114" y="12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30"/>
                </a:lnTo>
                <a:lnTo>
                  <a:pt x="120" y="30"/>
                </a:lnTo>
                <a:lnTo>
                  <a:pt x="126" y="30"/>
                </a:lnTo>
                <a:lnTo>
                  <a:pt x="126" y="24"/>
                </a:lnTo>
                <a:lnTo>
                  <a:pt x="126" y="24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2"/>
                </a:lnTo>
                <a:lnTo>
                  <a:pt x="126" y="12"/>
                </a:lnTo>
                <a:lnTo>
                  <a:pt x="126" y="6"/>
                </a:lnTo>
                <a:lnTo>
                  <a:pt x="132" y="6"/>
                </a:lnTo>
                <a:lnTo>
                  <a:pt x="132" y="12"/>
                </a:lnTo>
                <a:lnTo>
                  <a:pt x="132" y="6"/>
                </a:lnTo>
                <a:lnTo>
                  <a:pt x="132" y="12"/>
                </a:lnTo>
                <a:lnTo>
                  <a:pt x="138" y="6"/>
                </a:lnTo>
                <a:lnTo>
                  <a:pt x="138" y="12"/>
                </a:lnTo>
                <a:lnTo>
                  <a:pt x="138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2"/>
                </a:lnTo>
                <a:lnTo>
                  <a:pt x="156" y="12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2"/>
                </a:lnTo>
                <a:lnTo>
                  <a:pt x="162" y="18"/>
                </a:lnTo>
                <a:lnTo>
                  <a:pt x="162" y="18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6"/>
                </a:lnTo>
                <a:lnTo>
                  <a:pt x="162" y="6"/>
                </a:lnTo>
                <a:lnTo>
                  <a:pt x="168" y="6"/>
                </a:lnTo>
                <a:lnTo>
                  <a:pt x="168" y="6"/>
                </a:lnTo>
                <a:lnTo>
                  <a:pt x="168" y="6"/>
                </a:lnTo>
                <a:lnTo>
                  <a:pt x="168" y="6"/>
                </a:lnTo>
                <a:lnTo>
                  <a:pt x="168" y="6"/>
                </a:lnTo>
                <a:lnTo>
                  <a:pt x="174" y="6"/>
                </a:lnTo>
                <a:lnTo>
                  <a:pt x="174" y="0"/>
                </a:lnTo>
                <a:lnTo>
                  <a:pt x="174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0" y="6"/>
                </a:lnTo>
                <a:lnTo>
                  <a:pt x="180" y="12"/>
                </a:lnTo>
                <a:lnTo>
                  <a:pt x="180" y="12"/>
                </a:lnTo>
                <a:lnTo>
                  <a:pt x="180" y="12"/>
                </a:lnTo>
                <a:lnTo>
                  <a:pt x="174" y="18"/>
                </a:lnTo>
                <a:lnTo>
                  <a:pt x="174" y="24"/>
                </a:lnTo>
                <a:lnTo>
                  <a:pt x="162" y="30"/>
                </a:lnTo>
                <a:lnTo>
                  <a:pt x="162" y="30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8"/>
                </a:lnTo>
                <a:lnTo>
                  <a:pt x="162" y="48"/>
                </a:lnTo>
                <a:lnTo>
                  <a:pt x="162" y="54"/>
                </a:lnTo>
                <a:lnTo>
                  <a:pt x="162" y="54"/>
                </a:lnTo>
                <a:lnTo>
                  <a:pt x="168" y="60"/>
                </a:lnTo>
                <a:lnTo>
                  <a:pt x="168" y="66"/>
                </a:lnTo>
                <a:lnTo>
                  <a:pt x="174" y="66"/>
                </a:lnTo>
                <a:lnTo>
                  <a:pt x="174" y="66"/>
                </a:lnTo>
                <a:lnTo>
                  <a:pt x="174" y="72"/>
                </a:lnTo>
                <a:lnTo>
                  <a:pt x="174" y="72"/>
                </a:lnTo>
                <a:lnTo>
                  <a:pt x="168" y="84"/>
                </a:lnTo>
                <a:lnTo>
                  <a:pt x="168" y="84"/>
                </a:lnTo>
                <a:lnTo>
                  <a:pt x="168" y="84"/>
                </a:lnTo>
                <a:lnTo>
                  <a:pt x="168" y="84"/>
                </a:lnTo>
                <a:lnTo>
                  <a:pt x="168" y="84"/>
                </a:lnTo>
                <a:lnTo>
                  <a:pt x="168" y="84"/>
                </a:lnTo>
                <a:lnTo>
                  <a:pt x="168" y="84"/>
                </a:lnTo>
                <a:lnTo>
                  <a:pt x="168" y="90"/>
                </a:lnTo>
                <a:lnTo>
                  <a:pt x="168" y="90"/>
                </a:lnTo>
                <a:lnTo>
                  <a:pt x="168" y="90"/>
                </a:lnTo>
                <a:lnTo>
                  <a:pt x="174" y="96"/>
                </a:lnTo>
                <a:lnTo>
                  <a:pt x="168" y="96"/>
                </a:lnTo>
                <a:lnTo>
                  <a:pt x="168" y="96"/>
                </a:lnTo>
                <a:lnTo>
                  <a:pt x="168" y="96"/>
                </a:lnTo>
                <a:lnTo>
                  <a:pt x="174" y="96"/>
                </a:lnTo>
                <a:lnTo>
                  <a:pt x="174" y="102"/>
                </a:lnTo>
                <a:lnTo>
                  <a:pt x="174" y="102"/>
                </a:lnTo>
                <a:lnTo>
                  <a:pt x="174" y="102"/>
                </a:lnTo>
                <a:lnTo>
                  <a:pt x="174" y="108"/>
                </a:lnTo>
                <a:lnTo>
                  <a:pt x="174" y="108"/>
                </a:lnTo>
                <a:lnTo>
                  <a:pt x="174" y="108"/>
                </a:lnTo>
                <a:lnTo>
                  <a:pt x="174" y="114"/>
                </a:lnTo>
                <a:lnTo>
                  <a:pt x="174" y="114"/>
                </a:lnTo>
                <a:lnTo>
                  <a:pt x="180" y="114"/>
                </a:lnTo>
                <a:lnTo>
                  <a:pt x="174" y="114"/>
                </a:lnTo>
                <a:lnTo>
                  <a:pt x="180" y="114"/>
                </a:lnTo>
                <a:lnTo>
                  <a:pt x="180" y="114"/>
                </a:lnTo>
                <a:lnTo>
                  <a:pt x="180" y="114"/>
                </a:lnTo>
                <a:lnTo>
                  <a:pt x="180" y="114"/>
                </a:lnTo>
                <a:lnTo>
                  <a:pt x="180" y="114"/>
                </a:lnTo>
                <a:lnTo>
                  <a:pt x="180" y="114"/>
                </a:lnTo>
                <a:lnTo>
                  <a:pt x="180" y="120"/>
                </a:lnTo>
                <a:lnTo>
                  <a:pt x="180" y="120"/>
                </a:lnTo>
                <a:lnTo>
                  <a:pt x="180" y="120"/>
                </a:lnTo>
                <a:lnTo>
                  <a:pt x="180" y="120"/>
                </a:lnTo>
                <a:lnTo>
                  <a:pt x="180" y="120"/>
                </a:lnTo>
                <a:lnTo>
                  <a:pt x="180" y="120"/>
                </a:lnTo>
                <a:lnTo>
                  <a:pt x="180" y="120"/>
                </a:lnTo>
                <a:lnTo>
                  <a:pt x="180" y="120"/>
                </a:lnTo>
                <a:lnTo>
                  <a:pt x="180" y="120"/>
                </a:lnTo>
                <a:lnTo>
                  <a:pt x="180" y="120"/>
                </a:lnTo>
                <a:lnTo>
                  <a:pt x="180" y="126"/>
                </a:lnTo>
                <a:lnTo>
                  <a:pt x="180" y="126"/>
                </a:lnTo>
                <a:lnTo>
                  <a:pt x="180" y="126"/>
                </a:lnTo>
                <a:lnTo>
                  <a:pt x="180" y="126"/>
                </a:lnTo>
                <a:lnTo>
                  <a:pt x="180" y="126"/>
                </a:lnTo>
                <a:lnTo>
                  <a:pt x="180" y="126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8"/>
                </a:lnTo>
                <a:lnTo>
                  <a:pt x="180" y="138"/>
                </a:lnTo>
                <a:lnTo>
                  <a:pt x="186" y="138"/>
                </a:lnTo>
                <a:lnTo>
                  <a:pt x="186" y="138"/>
                </a:lnTo>
                <a:lnTo>
                  <a:pt x="186" y="138"/>
                </a:lnTo>
                <a:lnTo>
                  <a:pt x="186" y="138"/>
                </a:lnTo>
                <a:lnTo>
                  <a:pt x="186" y="144"/>
                </a:lnTo>
                <a:lnTo>
                  <a:pt x="186" y="144"/>
                </a:lnTo>
                <a:lnTo>
                  <a:pt x="186" y="144"/>
                </a:lnTo>
                <a:lnTo>
                  <a:pt x="186" y="144"/>
                </a:lnTo>
                <a:lnTo>
                  <a:pt x="186" y="144"/>
                </a:lnTo>
                <a:lnTo>
                  <a:pt x="186" y="144"/>
                </a:lnTo>
                <a:lnTo>
                  <a:pt x="186" y="144"/>
                </a:lnTo>
                <a:lnTo>
                  <a:pt x="186" y="144"/>
                </a:lnTo>
                <a:lnTo>
                  <a:pt x="186" y="144"/>
                </a:lnTo>
                <a:lnTo>
                  <a:pt x="186" y="144"/>
                </a:lnTo>
                <a:lnTo>
                  <a:pt x="186" y="150"/>
                </a:lnTo>
                <a:lnTo>
                  <a:pt x="186" y="150"/>
                </a:lnTo>
                <a:lnTo>
                  <a:pt x="186" y="150"/>
                </a:lnTo>
                <a:lnTo>
                  <a:pt x="186" y="150"/>
                </a:lnTo>
                <a:lnTo>
                  <a:pt x="186" y="150"/>
                </a:lnTo>
                <a:lnTo>
                  <a:pt x="186" y="150"/>
                </a:lnTo>
                <a:lnTo>
                  <a:pt x="186" y="150"/>
                </a:lnTo>
                <a:lnTo>
                  <a:pt x="186" y="156"/>
                </a:lnTo>
                <a:lnTo>
                  <a:pt x="186" y="156"/>
                </a:lnTo>
                <a:lnTo>
                  <a:pt x="192" y="156"/>
                </a:lnTo>
                <a:lnTo>
                  <a:pt x="192" y="156"/>
                </a:lnTo>
                <a:lnTo>
                  <a:pt x="192" y="156"/>
                </a:lnTo>
                <a:lnTo>
                  <a:pt x="192" y="156"/>
                </a:lnTo>
                <a:lnTo>
                  <a:pt x="192" y="156"/>
                </a:lnTo>
                <a:lnTo>
                  <a:pt x="192" y="156"/>
                </a:lnTo>
                <a:lnTo>
                  <a:pt x="192" y="156"/>
                </a:lnTo>
                <a:lnTo>
                  <a:pt x="192" y="156"/>
                </a:lnTo>
                <a:lnTo>
                  <a:pt x="198" y="162"/>
                </a:lnTo>
                <a:lnTo>
                  <a:pt x="198" y="162"/>
                </a:lnTo>
                <a:lnTo>
                  <a:pt x="198" y="162"/>
                </a:lnTo>
                <a:lnTo>
                  <a:pt x="198" y="162"/>
                </a:lnTo>
                <a:lnTo>
                  <a:pt x="204" y="162"/>
                </a:lnTo>
                <a:lnTo>
                  <a:pt x="204" y="162"/>
                </a:lnTo>
                <a:lnTo>
                  <a:pt x="204" y="168"/>
                </a:lnTo>
                <a:lnTo>
                  <a:pt x="204" y="168"/>
                </a:lnTo>
                <a:lnTo>
                  <a:pt x="204" y="168"/>
                </a:lnTo>
                <a:lnTo>
                  <a:pt x="204" y="168"/>
                </a:lnTo>
                <a:lnTo>
                  <a:pt x="204" y="168"/>
                </a:lnTo>
                <a:lnTo>
                  <a:pt x="204" y="168"/>
                </a:lnTo>
                <a:lnTo>
                  <a:pt x="204" y="168"/>
                </a:lnTo>
                <a:lnTo>
                  <a:pt x="204" y="174"/>
                </a:lnTo>
                <a:lnTo>
                  <a:pt x="204" y="174"/>
                </a:lnTo>
                <a:lnTo>
                  <a:pt x="204" y="174"/>
                </a:lnTo>
                <a:lnTo>
                  <a:pt x="204" y="174"/>
                </a:lnTo>
                <a:lnTo>
                  <a:pt x="210" y="174"/>
                </a:lnTo>
                <a:lnTo>
                  <a:pt x="210" y="174"/>
                </a:lnTo>
                <a:lnTo>
                  <a:pt x="210" y="174"/>
                </a:lnTo>
                <a:lnTo>
                  <a:pt x="210" y="174"/>
                </a:lnTo>
                <a:lnTo>
                  <a:pt x="210" y="168"/>
                </a:lnTo>
                <a:lnTo>
                  <a:pt x="210" y="174"/>
                </a:lnTo>
                <a:lnTo>
                  <a:pt x="210" y="174"/>
                </a:lnTo>
                <a:lnTo>
                  <a:pt x="210" y="174"/>
                </a:lnTo>
                <a:lnTo>
                  <a:pt x="210" y="174"/>
                </a:lnTo>
                <a:lnTo>
                  <a:pt x="210" y="174"/>
                </a:lnTo>
                <a:lnTo>
                  <a:pt x="210" y="174"/>
                </a:lnTo>
                <a:lnTo>
                  <a:pt x="216" y="174"/>
                </a:lnTo>
                <a:lnTo>
                  <a:pt x="216" y="174"/>
                </a:lnTo>
                <a:lnTo>
                  <a:pt x="216" y="180"/>
                </a:lnTo>
                <a:lnTo>
                  <a:pt x="216" y="180"/>
                </a:lnTo>
                <a:lnTo>
                  <a:pt x="216" y="180"/>
                </a:lnTo>
                <a:lnTo>
                  <a:pt x="216" y="180"/>
                </a:lnTo>
                <a:lnTo>
                  <a:pt x="216" y="186"/>
                </a:lnTo>
                <a:lnTo>
                  <a:pt x="216" y="180"/>
                </a:lnTo>
                <a:lnTo>
                  <a:pt x="216" y="180"/>
                </a:lnTo>
                <a:lnTo>
                  <a:pt x="216" y="186"/>
                </a:lnTo>
                <a:lnTo>
                  <a:pt x="210" y="186"/>
                </a:lnTo>
                <a:lnTo>
                  <a:pt x="210" y="186"/>
                </a:lnTo>
                <a:lnTo>
                  <a:pt x="210" y="186"/>
                </a:lnTo>
                <a:lnTo>
                  <a:pt x="210" y="186"/>
                </a:lnTo>
                <a:lnTo>
                  <a:pt x="210" y="192"/>
                </a:lnTo>
                <a:lnTo>
                  <a:pt x="210" y="192"/>
                </a:lnTo>
                <a:lnTo>
                  <a:pt x="210" y="192"/>
                </a:lnTo>
                <a:lnTo>
                  <a:pt x="210" y="186"/>
                </a:lnTo>
                <a:lnTo>
                  <a:pt x="210" y="186"/>
                </a:lnTo>
                <a:lnTo>
                  <a:pt x="204" y="186"/>
                </a:lnTo>
                <a:lnTo>
                  <a:pt x="204" y="186"/>
                </a:lnTo>
                <a:lnTo>
                  <a:pt x="204" y="186"/>
                </a:lnTo>
                <a:lnTo>
                  <a:pt x="204" y="186"/>
                </a:lnTo>
                <a:lnTo>
                  <a:pt x="204" y="186"/>
                </a:lnTo>
                <a:lnTo>
                  <a:pt x="198" y="186"/>
                </a:lnTo>
                <a:lnTo>
                  <a:pt x="198" y="186"/>
                </a:lnTo>
                <a:lnTo>
                  <a:pt x="198" y="186"/>
                </a:lnTo>
                <a:lnTo>
                  <a:pt x="198" y="186"/>
                </a:lnTo>
                <a:lnTo>
                  <a:pt x="198" y="186"/>
                </a:lnTo>
                <a:lnTo>
                  <a:pt x="198" y="192"/>
                </a:lnTo>
                <a:lnTo>
                  <a:pt x="192" y="192"/>
                </a:lnTo>
                <a:lnTo>
                  <a:pt x="192" y="192"/>
                </a:lnTo>
                <a:lnTo>
                  <a:pt x="192" y="192"/>
                </a:lnTo>
                <a:lnTo>
                  <a:pt x="192" y="198"/>
                </a:lnTo>
                <a:lnTo>
                  <a:pt x="192" y="198"/>
                </a:lnTo>
                <a:lnTo>
                  <a:pt x="192" y="198"/>
                </a:lnTo>
                <a:lnTo>
                  <a:pt x="192" y="198"/>
                </a:lnTo>
                <a:lnTo>
                  <a:pt x="198" y="204"/>
                </a:lnTo>
                <a:lnTo>
                  <a:pt x="198" y="204"/>
                </a:lnTo>
                <a:lnTo>
                  <a:pt x="198" y="204"/>
                </a:lnTo>
                <a:lnTo>
                  <a:pt x="198" y="210"/>
                </a:lnTo>
                <a:lnTo>
                  <a:pt x="198" y="210"/>
                </a:lnTo>
                <a:lnTo>
                  <a:pt x="198" y="210"/>
                </a:lnTo>
                <a:lnTo>
                  <a:pt x="204" y="216"/>
                </a:lnTo>
                <a:lnTo>
                  <a:pt x="204" y="216"/>
                </a:lnTo>
                <a:lnTo>
                  <a:pt x="198" y="216"/>
                </a:lnTo>
                <a:lnTo>
                  <a:pt x="198" y="222"/>
                </a:lnTo>
                <a:lnTo>
                  <a:pt x="198" y="222"/>
                </a:lnTo>
                <a:lnTo>
                  <a:pt x="198" y="222"/>
                </a:lnTo>
                <a:lnTo>
                  <a:pt x="198" y="222"/>
                </a:lnTo>
                <a:lnTo>
                  <a:pt x="204" y="222"/>
                </a:lnTo>
                <a:lnTo>
                  <a:pt x="204" y="228"/>
                </a:lnTo>
                <a:lnTo>
                  <a:pt x="204" y="228"/>
                </a:lnTo>
                <a:lnTo>
                  <a:pt x="204" y="228"/>
                </a:lnTo>
                <a:lnTo>
                  <a:pt x="204" y="228"/>
                </a:lnTo>
                <a:lnTo>
                  <a:pt x="198" y="228"/>
                </a:lnTo>
                <a:lnTo>
                  <a:pt x="204" y="234"/>
                </a:lnTo>
                <a:lnTo>
                  <a:pt x="198" y="234"/>
                </a:lnTo>
                <a:lnTo>
                  <a:pt x="198" y="234"/>
                </a:lnTo>
                <a:lnTo>
                  <a:pt x="192" y="240"/>
                </a:lnTo>
                <a:lnTo>
                  <a:pt x="192" y="240"/>
                </a:lnTo>
                <a:lnTo>
                  <a:pt x="198" y="240"/>
                </a:lnTo>
                <a:lnTo>
                  <a:pt x="198" y="240"/>
                </a:lnTo>
                <a:lnTo>
                  <a:pt x="198" y="240"/>
                </a:lnTo>
                <a:lnTo>
                  <a:pt x="198" y="240"/>
                </a:lnTo>
                <a:lnTo>
                  <a:pt x="198" y="240"/>
                </a:lnTo>
                <a:lnTo>
                  <a:pt x="198" y="246"/>
                </a:lnTo>
                <a:lnTo>
                  <a:pt x="192" y="252"/>
                </a:lnTo>
                <a:lnTo>
                  <a:pt x="192" y="252"/>
                </a:lnTo>
                <a:lnTo>
                  <a:pt x="192" y="252"/>
                </a:lnTo>
                <a:lnTo>
                  <a:pt x="192" y="252"/>
                </a:lnTo>
                <a:lnTo>
                  <a:pt x="198" y="252"/>
                </a:lnTo>
                <a:lnTo>
                  <a:pt x="198" y="252"/>
                </a:lnTo>
                <a:lnTo>
                  <a:pt x="198" y="252"/>
                </a:lnTo>
                <a:lnTo>
                  <a:pt x="198" y="252"/>
                </a:lnTo>
                <a:lnTo>
                  <a:pt x="198" y="252"/>
                </a:lnTo>
                <a:lnTo>
                  <a:pt x="198" y="258"/>
                </a:lnTo>
                <a:lnTo>
                  <a:pt x="198" y="258"/>
                </a:lnTo>
                <a:lnTo>
                  <a:pt x="198" y="258"/>
                </a:lnTo>
                <a:lnTo>
                  <a:pt x="198" y="258"/>
                </a:lnTo>
                <a:lnTo>
                  <a:pt x="198" y="264"/>
                </a:lnTo>
                <a:lnTo>
                  <a:pt x="198" y="258"/>
                </a:lnTo>
                <a:lnTo>
                  <a:pt x="204" y="264"/>
                </a:lnTo>
                <a:lnTo>
                  <a:pt x="204" y="264"/>
                </a:lnTo>
                <a:lnTo>
                  <a:pt x="198" y="264"/>
                </a:lnTo>
                <a:lnTo>
                  <a:pt x="198" y="270"/>
                </a:lnTo>
                <a:lnTo>
                  <a:pt x="198" y="270"/>
                </a:lnTo>
                <a:lnTo>
                  <a:pt x="204" y="270"/>
                </a:lnTo>
                <a:lnTo>
                  <a:pt x="204" y="270"/>
                </a:lnTo>
                <a:lnTo>
                  <a:pt x="204" y="276"/>
                </a:lnTo>
                <a:lnTo>
                  <a:pt x="204" y="276"/>
                </a:lnTo>
                <a:lnTo>
                  <a:pt x="204" y="276"/>
                </a:lnTo>
                <a:lnTo>
                  <a:pt x="204" y="276"/>
                </a:lnTo>
                <a:lnTo>
                  <a:pt x="204" y="276"/>
                </a:lnTo>
                <a:lnTo>
                  <a:pt x="204" y="282"/>
                </a:lnTo>
                <a:lnTo>
                  <a:pt x="210" y="282"/>
                </a:lnTo>
                <a:lnTo>
                  <a:pt x="210" y="282"/>
                </a:lnTo>
                <a:lnTo>
                  <a:pt x="210" y="288"/>
                </a:lnTo>
                <a:lnTo>
                  <a:pt x="210" y="288"/>
                </a:lnTo>
                <a:lnTo>
                  <a:pt x="210" y="288"/>
                </a:lnTo>
                <a:lnTo>
                  <a:pt x="210" y="288"/>
                </a:lnTo>
                <a:lnTo>
                  <a:pt x="216" y="294"/>
                </a:lnTo>
                <a:lnTo>
                  <a:pt x="210" y="294"/>
                </a:lnTo>
                <a:lnTo>
                  <a:pt x="216" y="300"/>
                </a:lnTo>
                <a:lnTo>
                  <a:pt x="210" y="300"/>
                </a:lnTo>
                <a:lnTo>
                  <a:pt x="210" y="300"/>
                </a:lnTo>
                <a:lnTo>
                  <a:pt x="216" y="306"/>
                </a:lnTo>
                <a:lnTo>
                  <a:pt x="216" y="306"/>
                </a:lnTo>
                <a:lnTo>
                  <a:pt x="216" y="306"/>
                </a:lnTo>
                <a:lnTo>
                  <a:pt x="216" y="312"/>
                </a:lnTo>
                <a:lnTo>
                  <a:pt x="216" y="312"/>
                </a:lnTo>
                <a:lnTo>
                  <a:pt x="210" y="312"/>
                </a:lnTo>
                <a:lnTo>
                  <a:pt x="210" y="312"/>
                </a:lnTo>
                <a:lnTo>
                  <a:pt x="210" y="312"/>
                </a:lnTo>
                <a:lnTo>
                  <a:pt x="210" y="312"/>
                </a:lnTo>
                <a:lnTo>
                  <a:pt x="210" y="312"/>
                </a:lnTo>
                <a:lnTo>
                  <a:pt x="210" y="312"/>
                </a:lnTo>
                <a:lnTo>
                  <a:pt x="204" y="312"/>
                </a:lnTo>
                <a:lnTo>
                  <a:pt x="210" y="312"/>
                </a:lnTo>
                <a:lnTo>
                  <a:pt x="204" y="318"/>
                </a:lnTo>
                <a:lnTo>
                  <a:pt x="204" y="318"/>
                </a:lnTo>
                <a:lnTo>
                  <a:pt x="204" y="318"/>
                </a:lnTo>
                <a:lnTo>
                  <a:pt x="204" y="318"/>
                </a:lnTo>
                <a:lnTo>
                  <a:pt x="204" y="318"/>
                </a:lnTo>
                <a:lnTo>
                  <a:pt x="204" y="318"/>
                </a:lnTo>
                <a:lnTo>
                  <a:pt x="204" y="318"/>
                </a:lnTo>
                <a:lnTo>
                  <a:pt x="204" y="318"/>
                </a:lnTo>
                <a:lnTo>
                  <a:pt x="198" y="318"/>
                </a:lnTo>
                <a:lnTo>
                  <a:pt x="198" y="318"/>
                </a:lnTo>
                <a:lnTo>
                  <a:pt x="198" y="318"/>
                </a:lnTo>
                <a:lnTo>
                  <a:pt x="198" y="318"/>
                </a:lnTo>
                <a:lnTo>
                  <a:pt x="198" y="318"/>
                </a:lnTo>
                <a:lnTo>
                  <a:pt x="198" y="318"/>
                </a:lnTo>
                <a:lnTo>
                  <a:pt x="198" y="324"/>
                </a:lnTo>
                <a:lnTo>
                  <a:pt x="198" y="318"/>
                </a:lnTo>
                <a:lnTo>
                  <a:pt x="198" y="324"/>
                </a:lnTo>
                <a:lnTo>
                  <a:pt x="198" y="318"/>
                </a:lnTo>
                <a:lnTo>
                  <a:pt x="198" y="318"/>
                </a:lnTo>
                <a:lnTo>
                  <a:pt x="192" y="324"/>
                </a:lnTo>
                <a:lnTo>
                  <a:pt x="192" y="324"/>
                </a:lnTo>
                <a:lnTo>
                  <a:pt x="192" y="324"/>
                </a:lnTo>
                <a:lnTo>
                  <a:pt x="192" y="324"/>
                </a:lnTo>
                <a:lnTo>
                  <a:pt x="192" y="324"/>
                </a:lnTo>
                <a:lnTo>
                  <a:pt x="192" y="324"/>
                </a:lnTo>
                <a:lnTo>
                  <a:pt x="192" y="324"/>
                </a:lnTo>
                <a:lnTo>
                  <a:pt x="192" y="324"/>
                </a:lnTo>
                <a:lnTo>
                  <a:pt x="192" y="324"/>
                </a:lnTo>
                <a:lnTo>
                  <a:pt x="192" y="324"/>
                </a:lnTo>
                <a:lnTo>
                  <a:pt x="192" y="324"/>
                </a:lnTo>
                <a:lnTo>
                  <a:pt x="192" y="324"/>
                </a:lnTo>
                <a:lnTo>
                  <a:pt x="192" y="324"/>
                </a:lnTo>
                <a:lnTo>
                  <a:pt x="192" y="324"/>
                </a:lnTo>
                <a:lnTo>
                  <a:pt x="192" y="324"/>
                </a:lnTo>
                <a:lnTo>
                  <a:pt x="186" y="324"/>
                </a:lnTo>
                <a:lnTo>
                  <a:pt x="186" y="324"/>
                </a:lnTo>
                <a:lnTo>
                  <a:pt x="186" y="324"/>
                </a:lnTo>
                <a:lnTo>
                  <a:pt x="186" y="324"/>
                </a:lnTo>
                <a:lnTo>
                  <a:pt x="186" y="324"/>
                </a:lnTo>
                <a:lnTo>
                  <a:pt x="186" y="330"/>
                </a:lnTo>
                <a:lnTo>
                  <a:pt x="186" y="324"/>
                </a:lnTo>
                <a:lnTo>
                  <a:pt x="186" y="324"/>
                </a:lnTo>
                <a:lnTo>
                  <a:pt x="186" y="324"/>
                </a:lnTo>
                <a:lnTo>
                  <a:pt x="186" y="324"/>
                </a:lnTo>
                <a:lnTo>
                  <a:pt x="186" y="324"/>
                </a:lnTo>
                <a:lnTo>
                  <a:pt x="180" y="330"/>
                </a:lnTo>
                <a:lnTo>
                  <a:pt x="180" y="330"/>
                </a:lnTo>
                <a:lnTo>
                  <a:pt x="180" y="330"/>
                </a:lnTo>
                <a:lnTo>
                  <a:pt x="180" y="330"/>
                </a:lnTo>
                <a:lnTo>
                  <a:pt x="180" y="330"/>
                </a:lnTo>
                <a:lnTo>
                  <a:pt x="180" y="330"/>
                </a:lnTo>
                <a:lnTo>
                  <a:pt x="180" y="330"/>
                </a:lnTo>
                <a:lnTo>
                  <a:pt x="180" y="330"/>
                </a:lnTo>
                <a:lnTo>
                  <a:pt x="174" y="330"/>
                </a:lnTo>
                <a:lnTo>
                  <a:pt x="174" y="330"/>
                </a:lnTo>
                <a:lnTo>
                  <a:pt x="174" y="330"/>
                </a:lnTo>
                <a:lnTo>
                  <a:pt x="174" y="330"/>
                </a:lnTo>
                <a:lnTo>
                  <a:pt x="174" y="330"/>
                </a:lnTo>
                <a:lnTo>
                  <a:pt x="174" y="330"/>
                </a:lnTo>
                <a:lnTo>
                  <a:pt x="174" y="330"/>
                </a:lnTo>
                <a:lnTo>
                  <a:pt x="174" y="330"/>
                </a:lnTo>
                <a:lnTo>
                  <a:pt x="174" y="330"/>
                </a:lnTo>
                <a:lnTo>
                  <a:pt x="174" y="330"/>
                </a:lnTo>
                <a:lnTo>
                  <a:pt x="174" y="330"/>
                </a:lnTo>
                <a:lnTo>
                  <a:pt x="174" y="330"/>
                </a:lnTo>
                <a:lnTo>
                  <a:pt x="174" y="330"/>
                </a:lnTo>
                <a:lnTo>
                  <a:pt x="174" y="330"/>
                </a:lnTo>
                <a:lnTo>
                  <a:pt x="174" y="324"/>
                </a:lnTo>
                <a:lnTo>
                  <a:pt x="168" y="324"/>
                </a:lnTo>
                <a:lnTo>
                  <a:pt x="168" y="324"/>
                </a:lnTo>
                <a:lnTo>
                  <a:pt x="168" y="324"/>
                </a:lnTo>
                <a:lnTo>
                  <a:pt x="168" y="324"/>
                </a:lnTo>
                <a:lnTo>
                  <a:pt x="168" y="324"/>
                </a:lnTo>
                <a:lnTo>
                  <a:pt x="168" y="324"/>
                </a:lnTo>
                <a:lnTo>
                  <a:pt x="168" y="318"/>
                </a:lnTo>
                <a:lnTo>
                  <a:pt x="168" y="318"/>
                </a:lnTo>
                <a:lnTo>
                  <a:pt x="168" y="318"/>
                </a:lnTo>
                <a:lnTo>
                  <a:pt x="168" y="318"/>
                </a:lnTo>
                <a:lnTo>
                  <a:pt x="168" y="318"/>
                </a:lnTo>
                <a:lnTo>
                  <a:pt x="168" y="318"/>
                </a:lnTo>
                <a:lnTo>
                  <a:pt x="168" y="318"/>
                </a:lnTo>
                <a:lnTo>
                  <a:pt x="168" y="312"/>
                </a:lnTo>
                <a:lnTo>
                  <a:pt x="168" y="312"/>
                </a:lnTo>
                <a:lnTo>
                  <a:pt x="168" y="312"/>
                </a:lnTo>
                <a:lnTo>
                  <a:pt x="168" y="312"/>
                </a:lnTo>
                <a:lnTo>
                  <a:pt x="168" y="312"/>
                </a:lnTo>
                <a:lnTo>
                  <a:pt x="168" y="312"/>
                </a:lnTo>
                <a:lnTo>
                  <a:pt x="168" y="312"/>
                </a:lnTo>
                <a:lnTo>
                  <a:pt x="168" y="312"/>
                </a:lnTo>
                <a:lnTo>
                  <a:pt x="168" y="312"/>
                </a:lnTo>
                <a:lnTo>
                  <a:pt x="162" y="312"/>
                </a:lnTo>
                <a:lnTo>
                  <a:pt x="162" y="318"/>
                </a:lnTo>
                <a:lnTo>
                  <a:pt x="162" y="318"/>
                </a:lnTo>
                <a:lnTo>
                  <a:pt x="162" y="318"/>
                </a:lnTo>
                <a:lnTo>
                  <a:pt x="162" y="318"/>
                </a:lnTo>
                <a:lnTo>
                  <a:pt x="162" y="324"/>
                </a:lnTo>
                <a:lnTo>
                  <a:pt x="162" y="324"/>
                </a:lnTo>
                <a:lnTo>
                  <a:pt x="162" y="324"/>
                </a:lnTo>
                <a:lnTo>
                  <a:pt x="162" y="324"/>
                </a:lnTo>
                <a:lnTo>
                  <a:pt x="162" y="330"/>
                </a:lnTo>
                <a:lnTo>
                  <a:pt x="156" y="330"/>
                </a:lnTo>
                <a:lnTo>
                  <a:pt x="162" y="330"/>
                </a:lnTo>
                <a:lnTo>
                  <a:pt x="162" y="336"/>
                </a:lnTo>
                <a:lnTo>
                  <a:pt x="156" y="336"/>
                </a:lnTo>
                <a:lnTo>
                  <a:pt x="156" y="336"/>
                </a:lnTo>
                <a:lnTo>
                  <a:pt x="156" y="336"/>
                </a:lnTo>
                <a:lnTo>
                  <a:pt x="156" y="330"/>
                </a:lnTo>
                <a:lnTo>
                  <a:pt x="156" y="330"/>
                </a:lnTo>
                <a:lnTo>
                  <a:pt x="156" y="330"/>
                </a:lnTo>
                <a:lnTo>
                  <a:pt x="156" y="330"/>
                </a:lnTo>
                <a:lnTo>
                  <a:pt x="156" y="330"/>
                </a:lnTo>
                <a:lnTo>
                  <a:pt x="156" y="324"/>
                </a:lnTo>
                <a:lnTo>
                  <a:pt x="156" y="324"/>
                </a:lnTo>
                <a:lnTo>
                  <a:pt x="156" y="324"/>
                </a:lnTo>
                <a:lnTo>
                  <a:pt x="156" y="324"/>
                </a:lnTo>
                <a:lnTo>
                  <a:pt x="156" y="324"/>
                </a:lnTo>
                <a:lnTo>
                  <a:pt x="156" y="324"/>
                </a:lnTo>
                <a:lnTo>
                  <a:pt x="156" y="318"/>
                </a:lnTo>
                <a:lnTo>
                  <a:pt x="156" y="318"/>
                </a:lnTo>
                <a:lnTo>
                  <a:pt x="156" y="318"/>
                </a:lnTo>
                <a:lnTo>
                  <a:pt x="156" y="318"/>
                </a:lnTo>
                <a:lnTo>
                  <a:pt x="156" y="318"/>
                </a:lnTo>
                <a:lnTo>
                  <a:pt x="156" y="318"/>
                </a:lnTo>
                <a:lnTo>
                  <a:pt x="156" y="318"/>
                </a:lnTo>
                <a:lnTo>
                  <a:pt x="156" y="318"/>
                </a:lnTo>
                <a:lnTo>
                  <a:pt x="156" y="312"/>
                </a:lnTo>
                <a:lnTo>
                  <a:pt x="156" y="312"/>
                </a:lnTo>
                <a:lnTo>
                  <a:pt x="156" y="312"/>
                </a:lnTo>
                <a:lnTo>
                  <a:pt x="156" y="312"/>
                </a:lnTo>
                <a:lnTo>
                  <a:pt x="156" y="312"/>
                </a:lnTo>
                <a:lnTo>
                  <a:pt x="156" y="312"/>
                </a:lnTo>
                <a:lnTo>
                  <a:pt x="156" y="312"/>
                </a:lnTo>
                <a:lnTo>
                  <a:pt x="156" y="306"/>
                </a:lnTo>
                <a:lnTo>
                  <a:pt x="156" y="306"/>
                </a:lnTo>
                <a:lnTo>
                  <a:pt x="156" y="306"/>
                </a:lnTo>
                <a:lnTo>
                  <a:pt x="156" y="306"/>
                </a:lnTo>
                <a:lnTo>
                  <a:pt x="156" y="306"/>
                </a:lnTo>
                <a:lnTo>
                  <a:pt x="156" y="306"/>
                </a:lnTo>
                <a:lnTo>
                  <a:pt x="156" y="300"/>
                </a:lnTo>
                <a:lnTo>
                  <a:pt x="156" y="300"/>
                </a:lnTo>
                <a:lnTo>
                  <a:pt x="156" y="300"/>
                </a:lnTo>
                <a:lnTo>
                  <a:pt x="150" y="300"/>
                </a:lnTo>
                <a:lnTo>
                  <a:pt x="150" y="300"/>
                </a:lnTo>
                <a:lnTo>
                  <a:pt x="150" y="300"/>
                </a:lnTo>
                <a:lnTo>
                  <a:pt x="150" y="300"/>
                </a:lnTo>
                <a:lnTo>
                  <a:pt x="150" y="294"/>
                </a:lnTo>
                <a:lnTo>
                  <a:pt x="150" y="294"/>
                </a:lnTo>
                <a:lnTo>
                  <a:pt x="150" y="294"/>
                </a:lnTo>
                <a:lnTo>
                  <a:pt x="144" y="294"/>
                </a:lnTo>
                <a:lnTo>
                  <a:pt x="144" y="294"/>
                </a:lnTo>
                <a:lnTo>
                  <a:pt x="144" y="294"/>
                </a:lnTo>
                <a:lnTo>
                  <a:pt x="144" y="294"/>
                </a:lnTo>
                <a:lnTo>
                  <a:pt x="144" y="294"/>
                </a:lnTo>
                <a:lnTo>
                  <a:pt x="144" y="294"/>
                </a:lnTo>
                <a:lnTo>
                  <a:pt x="144" y="294"/>
                </a:lnTo>
                <a:lnTo>
                  <a:pt x="144" y="294"/>
                </a:lnTo>
                <a:lnTo>
                  <a:pt x="144" y="294"/>
                </a:lnTo>
                <a:lnTo>
                  <a:pt x="138" y="294"/>
                </a:lnTo>
                <a:lnTo>
                  <a:pt x="138" y="294"/>
                </a:lnTo>
                <a:lnTo>
                  <a:pt x="138" y="294"/>
                </a:lnTo>
                <a:lnTo>
                  <a:pt x="138" y="294"/>
                </a:lnTo>
                <a:lnTo>
                  <a:pt x="138" y="294"/>
                </a:lnTo>
                <a:lnTo>
                  <a:pt x="138" y="294"/>
                </a:lnTo>
                <a:lnTo>
                  <a:pt x="138" y="294"/>
                </a:lnTo>
                <a:lnTo>
                  <a:pt x="138" y="288"/>
                </a:lnTo>
                <a:lnTo>
                  <a:pt x="138" y="288"/>
                </a:lnTo>
                <a:lnTo>
                  <a:pt x="138" y="288"/>
                </a:lnTo>
                <a:lnTo>
                  <a:pt x="138" y="282"/>
                </a:lnTo>
                <a:lnTo>
                  <a:pt x="132" y="282"/>
                </a:lnTo>
                <a:lnTo>
                  <a:pt x="132" y="282"/>
                </a:lnTo>
                <a:lnTo>
                  <a:pt x="132" y="282"/>
                </a:lnTo>
                <a:lnTo>
                  <a:pt x="132" y="282"/>
                </a:lnTo>
                <a:lnTo>
                  <a:pt x="132" y="276"/>
                </a:lnTo>
                <a:lnTo>
                  <a:pt x="132" y="282"/>
                </a:lnTo>
                <a:lnTo>
                  <a:pt x="126" y="282"/>
                </a:lnTo>
                <a:lnTo>
                  <a:pt x="126" y="276"/>
                </a:lnTo>
                <a:lnTo>
                  <a:pt x="126" y="276"/>
                </a:lnTo>
                <a:lnTo>
                  <a:pt x="126" y="276"/>
                </a:lnTo>
                <a:lnTo>
                  <a:pt x="126" y="276"/>
                </a:lnTo>
                <a:lnTo>
                  <a:pt x="126" y="276"/>
                </a:lnTo>
                <a:lnTo>
                  <a:pt x="126" y="276"/>
                </a:lnTo>
                <a:lnTo>
                  <a:pt x="126" y="276"/>
                </a:lnTo>
                <a:lnTo>
                  <a:pt x="126" y="276"/>
                </a:lnTo>
                <a:lnTo>
                  <a:pt x="126" y="276"/>
                </a:lnTo>
                <a:lnTo>
                  <a:pt x="126" y="276"/>
                </a:lnTo>
                <a:lnTo>
                  <a:pt x="126" y="276"/>
                </a:lnTo>
                <a:lnTo>
                  <a:pt x="126" y="276"/>
                </a:lnTo>
                <a:lnTo>
                  <a:pt x="120" y="276"/>
                </a:lnTo>
                <a:lnTo>
                  <a:pt x="120" y="276"/>
                </a:lnTo>
                <a:lnTo>
                  <a:pt x="120" y="270"/>
                </a:lnTo>
                <a:lnTo>
                  <a:pt x="120" y="270"/>
                </a:lnTo>
                <a:lnTo>
                  <a:pt x="120" y="270"/>
                </a:lnTo>
                <a:lnTo>
                  <a:pt x="120" y="270"/>
                </a:lnTo>
                <a:lnTo>
                  <a:pt x="120" y="270"/>
                </a:lnTo>
                <a:lnTo>
                  <a:pt x="120" y="270"/>
                </a:lnTo>
                <a:lnTo>
                  <a:pt x="120" y="270"/>
                </a:lnTo>
                <a:lnTo>
                  <a:pt x="120" y="270"/>
                </a:lnTo>
                <a:lnTo>
                  <a:pt x="120" y="270"/>
                </a:lnTo>
                <a:lnTo>
                  <a:pt x="120" y="270"/>
                </a:lnTo>
                <a:lnTo>
                  <a:pt x="120" y="270"/>
                </a:lnTo>
                <a:lnTo>
                  <a:pt x="120" y="270"/>
                </a:lnTo>
                <a:lnTo>
                  <a:pt x="102" y="288"/>
                </a:lnTo>
                <a:lnTo>
                  <a:pt x="102" y="288"/>
                </a:lnTo>
                <a:lnTo>
                  <a:pt x="102" y="288"/>
                </a:lnTo>
                <a:lnTo>
                  <a:pt x="102" y="282"/>
                </a:lnTo>
                <a:lnTo>
                  <a:pt x="96" y="282"/>
                </a:lnTo>
                <a:lnTo>
                  <a:pt x="96" y="282"/>
                </a:lnTo>
                <a:lnTo>
                  <a:pt x="96" y="282"/>
                </a:lnTo>
                <a:lnTo>
                  <a:pt x="96" y="282"/>
                </a:lnTo>
                <a:lnTo>
                  <a:pt x="96" y="282"/>
                </a:lnTo>
                <a:lnTo>
                  <a:pt x="96" y="282"/>
                </a:lnTo>
                <a:lnTo>
                  <a:pt x="90" y="282"/>
                </a:lnTo>
                <a:lnTo>
                  <a:pt x="90" y="282"/>
                </a:lnTo>
                <a:lnTo>
                  <a:pt x="90" y="282"/>
                </a:lnTo>
                <a:lnTo>
                  <a:pt x="90" y="282"/>
                </a:lnTo>
                <a:lnTo>
                  <a:pt x="90" y="282"/>
                </a:lnTo>
                <a:lnTo>
                  <a:pt x="90" y="282"/>
                </a:lnTo>
                <a:lnTo>
                  <a:pt x="90" y="276"/>
                </a:lnTo>
                <a:lnTo>
                  <a:pt x="90" y="276"/>
                </a:lnTo>
                <a:lnTo>
                  <a:pt x="90" y="276"/>
                </a:lnTo>
                <a:lnTo>
                  <a:pt x="90" y="276"/>
                </a:lnTo>
                <a:lnTo>
                  <a:pt x="90" y="276"/>
                </a:lnTo>
                <a:lnTo>
                  <a:pt x="90" y="276"/>
                </a:lnTo>
                <a:lnTo>
                  <a:pt x="90" y="276"/>
                </a:lnTo>
                <a:lnTo>
                  <a:pt x="90" y="276"/>
                </a:lnTo>
                <a:lnTo>
                  <a:pt x="84" y="270"/>
                </a:lnTo>
                <a:lnTo>
                  <a:pt x="84" y="270"/>
                </a:lnTo>
                <a:lnTo>
                  <a:pt x="84" y="270"/>
                </a:lnTo>
                <a:lnTo>
                  <a:pt x="84" y="270"/>
                </a:lnTo>
                <a:lnTo>
                  <a:pt x="78" y="276"/>
                </a:lnTo>
                <a:lnTo>
                  <a:pt x="78" y="276"/>
                </a:lnTo>
                <a:lnTo>
                  <a:pt x="78" y="276"/>
                </a:lnTo>
                <a:lnTo>
                  <a:pt x="78" y="276"/>
                </a:lnTo>
                <a:lnTo>
                  <a:pt x="72" y="276"/>
                </a:lnTo>
                <a:lnTo>
                  <a:pt x="72" y="276"/>
                </a:lnTo>
                <a:lnTo>
                  <a:pt x="72" y="276"/>
                </a:lnTo>
                <a:lnTo>
                  <a:pt x="72" y="276"/>
                </a:lnTo>
                <a:lnTo>
                  <a:pt x="72" y="282"/>
                </a:lnTo>
                <a:lnTo>
                  <a:pt x="72" y="282"/>
                </a:lnTo>
                <a:lnTo>
                  <a:pt x="72" y="276"/>
                </a:lnTo>
                <a:lnTo>
                  <a:pt x="66" y="276"/>
                </a:lnTo>
                <a:lnTo>
                  <a:pt x="66" y="276"/>
                </a:lnTo>
                <a:lnTo>
                  <a:pt x="66" y="276"/>
                </a:lnTo>
                <a:lnTo>
                  <a:pt x="66" y="276"/>
                </a:lnTo>
                <a:lnTo>
                  <a:pt x="66" y="276"/>
                </a:lnTo>
                <a:lnTo>
                  <a:pt x="66" y="276"/>
                </a:lnTo>
                <a:lnTo>
                  <a:pt x="66" y="270"/>
                </a:lnTo>
                <a:lnTo>
                  <a:pt x="60" y="270"/>
                </a:lnTo>
                <a:lnTo>
                  <a:pt x="60" y="270"/>
                </a:lnTo>
                <a:lnTo>
                  <a:pt x="60" y="270"/>
                </a:lnTo>
                <a:lnTo>
                  <a:pt x="60" y="270"/>
                </a:lnTo>
                <a:lnTo>
                  <a:pt x="60" y="270"/>
                </a:lnTo>
                <a:lnTo>
                  <a:pt x="60" y="270"/>
                </a:lnTo>
                <a:lnTo>
                  <a:pt x="54" y="270"/>
                </a:lnTo>
                <a:lnTo>
                  <a:pt x="54" y="264"/>
                </a:lnTo>
                <a:lnTo>
                  <a:pt x="54" y="264"/>
                </a:lnTo>
                <a:lnTo>
                  <a:pt x="54" y="264"/>
                </a:lnTo>
                <a:lnTo>
                  <a:pt x="54" y="264"/>
                </a:lnTo>
                <a:lnTo>
                  <a:pt x="54" y="264"/>
                </a:lnTo>
                <a:lnTo>
                  <a:pt x="54" y="264"/>
                </a:lnTo>
                <a:lnTo>
                  <a:pt x="54" y="258"/>
                </a:lnTo>
                <a:lnTo>
                  <a:pt x="54" y="258"/>
                </a:lnTo>
                <a:lnTo>
                  <a:pt x="54" y="258"/>
                </a:lnTo>
                <a:lnTo>
                  <a:pt x="54" y="252"/>
                </a:lnTo>
                <a:lnTo>
                  <a:pt x="54" y="252"/>
                </a:lnTo>
                <a:lnTo>
                  <a:pt x="60" y="252"/>
                </a:lnTo>
                <a:lnTo>
                  <a:pt x="60" y="252"/>
                </a:lnTo>
                <a:lnTo>
                  <a:pt x="60" y="246"/>
                </a:lnTo>
                <a:lnTo>
                  <a:pt x="60" y="246"/>
                </a:lnTo>
                <a:lnTo>
                  <a:pt x="60" y="246"/>
                </a:lnTo>
                <a:lnTo>
                  <a:pt x="60" y="246"/>
                </a:lnTo>
                <a:lnTo>
                  <a:pt x="60" y="246"/>
                </a:lnTo>
                <a:lnTo>
                  <a:pt x="60" y="246"/>
                </a:lnTo>
                <a:lnTo>
                  <a:pt x="60" y="246"/>
                </a:lnTo>
                <a:lnTo>
                  <a:pt x="54" y="246"/>
                </a:lnTo>
                <a:lnTo>
                  <a:pt x="54" y="240"/>
                </a:lnTo>
                <a:lnTo>
                  <a:pt x="54" y="240"/>
                </a:lnTo>
                <a:lnTo>
                  <a:pt x="54" y="240"/>
                </a:lnTo>
                <a:lnTo>
                  <a:pt x="54" y="240"/>
                </a:lnTo>
                <a:lnTo>
                  <a:pt x="54" y="234"/>
                </a:lnTo>
                <a:lnTo>
                  <a:pt x="54" y="234"/>
                </a:lnTo>
                <a:lnTo>
                  <a:pt x="54" y="234"/>
                </a:lnTo>
                <a:lnTo>
                  <a:pt x="54" y="234"/>
                </a:lnTo>
                <a:lnTo>
                  <a:pt x="54" y="234"/>
                </a:lnTo>
                <a:lnTo>
                  <a:pt x="54" y="234"/>
                </a:lnTo>
                <a:lnTo>
                  <a:pt x="48" y="234"/>
                </a:lnTo>
                <a:lnTo>
                  <a:pt x="48" y="228"/>
                </a:lnTo>
                <a:lnTo>
                  <a:pt x="48" y="228"/>
                </a:lnTo>
                <a:lnTo>
                  <a:pt x="48" y="234"/>
                </a:lnTo>
                <a:lnTo>
                  <a:pt x="48" y="228"/>
                </a:lnTo>
                <a:lnTo>
                  <a:pt x="48" y="234"/>
                </a:lnTo>
                <a:lnTo>
                  <a:pt x="48" y="234"/>
                </a:lnTo>
                <a:lnTo>
                  <a:pt x="48" y="228"/>
                </a:lnTo>
                <a:lnTo>
                  <a:pt x="48" y="228"/>
                </a:lnTo>
                <a:lnTo>
                  <a:pt x="42" y="228"/>
                </a:lnTo>
                <a:lnTo>
                  <a:pt x="42" y="228"/>
                </a:lnTo>
                <a:lnTo>
                  <a:pt x="42" y="228"/>
                </a:lnTo>
                <a:lnTo>
                  <a:pt x="42" y="228"/>
                </a:lnTo>
                <a:lnTo>
                  <a:pt x="36" y="228"/>
                </a:lnTo>
                <a:lnTo>
                  <a:pt x="36" y="228"/>
                </a:lnTo>
                <a:lnTo>
                  <a:pt x="36" y="228"/>
                </a:lnTo>
                <a:lnTo>
                  <a:pt x="36" y="228"/>
                </a:lnTo>
                <a:lnTo>
                  <a:pt x="36" y="222"/>
                </a:lnTo>
                <a:lnTo>
                  <a:pt x="36" y="222"/>
                </a:lnTo>
                <a:lnTo>
                  <a:pt x="36" y="222"/>
                </a:lnTo>
                <a:lnTo>
                  <a:pt x="36" y="222"/>
                </a:lnTo>
                <a:lnTo>
                  <a:pt x="36" y="222"/>
                </a:lnTo>
                <a:lnTo>
                  <a:pt x="36" y="222"/>
                </a:lnTo>
                <a:lnTo>
                  <a:pt x="36" y="222"/>
                </a:lnTo>
                <a:lnTo>
                  <a:pt x="30" y="222"/>
                </a:lnTo>
                <a:lnTo>
                  <a:pt x="30" y="222"/>
                </a:lnTo>
                <a:lnTo>
                  <a:pt x="30" y="216"/>
                </a:lnTo>
                <a:lnTo>
                  <a:pt x="30" y="216"/>
                </a:lnTo>
                <a:lnTo>
                  <a:pt x="30" y="216"/>
                </a:lnTo>
                <a:lnTo>
                  <a:pt x="30" y="222"/>
                </a:lnTo>
                <a:lnTo>
                  <a:pt x="30" y="222"/>
                </a:lnTo>
                <a:lnTo>
                  <a:pt x="24" y="216"/>
                </a:lnTo>
                <a:lnTo>
                  <a:pt x="24" y="216"/>
                </a:lnTo>
                <a:lnTo>
                  <a:pt x="24" y="216"/>
                </a:lnTo>
                <a:lnTo>
                  <a:pt x="24" y="216"/>
                </a:lnTo>
                <a:lnTo>
                  <a:pt x="24" y="216"/>
                </a:lnTo>
                <a:lnTo>
                  <a:pt x="24" y="216"/>
                </a:lnTo>
                <a:lnTo>
                  <a:pt x="24" y="216"/>
                </a:lnTo>
                <a:lnTo>
                  <a:pt x="24" y="210"/>
                </a:lnTo>
                <a:lnTo>
                  <a:pt x="24" y="210"/>
                </a:lnTo>
                <a:lnTo>
                  <a:pt x="24" y="210"/>
                </a:lnTo>
                <a:lnTo>
                  <a:pt x="24" y="210"/>
                </a:lnTo>
                <a:lnTo>
                  <a:pt x="24" y="210"/>
                </a:lnTo>
                <a:lnTo>
                  <a:pt x="24" y="204"/>
                </a:lnTo>
                <a:lnTo>
                  <a:pt x="24" y="210"/>
                </a:lnTo>
                <a:lnTo>
                  <a:pt x="24" y="204"/>
                </a:lnTo>
                <a:lnTo>
                  <a:pt x="24" y="204"/>
                </a:lnTo>
                <a:lnTo>
                  <a:pt x="24" y="204"/>
                </a:lnTo>
                <a:lnTo>
                  <a:pt x="24" y="204"/>
                </a:lnTo>
                <a:lnTo>
                  <a:pt x="24" y="204"/>
                </a:lnTo>
                <a:lnTo>
                  <a:pt x="18" y="198"/>
                </a:lnTo>
                <a:lnTo>
                  <a:pt x="18" y="198"/>
                </a:lnTo>
                <a:lnTo>
                  <a:pt x="18" y="198"/>
                </a:lnTo>
                <a:lnTo>
                  <a:pt x="18" y="198"/>
                </a:lnTo>
                <a:lnTo>
                  <a:pt x="18" y="198"/>
                </a:lnTo>
                <a:lnTo>
                  <a:pt x="18" y="198"/>
                </a:lnTo>
                <a:lnTo>
                  <a:pt x="18" y="198"/>
                </a:lnTo>
                <a:lnTo>
                  <a:pt x="18" y="198"/>
                </a:lnTo>
                <a:lnTo>
                  <a:pt x="18" y="192"/>
                </a:lnTo>
                <a:lnTo>
                  <a:pt x="18" y="192"/>
                </a:lnTo>
                <a:lnTo>
                  <a:pt x="18" y="192"/>
                </a:lnTo>
                <a:lnTo>
                  <a:pt x="24" y="198"/>
                </a:lnTo>
                <a:lnTo>
                  <a:pt x="24" y="192"/>
                </a:lnTo>
                <a:lnTo>
                  <a:pt x="24" y="192"/>
                </a:lnTo>
                <a:lnTo>
                  <a:pt x="24" y="192"/>
                </a:lnTo>
                <a:lnTo>
                  <a:pt x="30" y="192"/>
                </a:lnTo>
                <a:lnTo>
                  <a:pt x="30" y="198"/>
                </a:lnTo>
                <a:lnTo>
                  <a:pt x="36" y="192"/>
                </a:lnTo>
                <a:lnTo>
                  <a:pt x="42" y="192"/>
                </a:lnTo>
                <a:lnTo>
                  <a:pt x="42" y="192"/>
                </a:lnTo>
                <a:lnTo>
                  <a:pt x="42" y="192"/>
                </a:lnTo>
                <a:lnTo>
                  <a:pt x="48" y="192"/>
                </a:lnTo>
                <a:lnTo>
                  <a:pt x="48" y="186"/>
                </a:lnTo>
                <a:lnTo>
                  <a:pt x="48" y="186"/>
                </a:lnTo>
                <a:lnTo>
                  <a:pt x="48" y="186"/>
                </a:lnTo>
                <a:lnTo>
                  <a:pt x="54" y="180"/>
                </a:lnTo>
                <a:lnTo>
                  <a:pt x="54" y="180"/>
                </a:lnTo>
                <a:lnTo>
                  <a:pt x="60" y="174"/>
                </a:lnTo>
                <a:lnTo>
                  <a:pt x="60" y="174"/>
                </a:lnTo>
                <a:lnTo>
                  <a:pt x="60" y="174"/>
                </a:lnTo>
                <a:lnTo>
                  <a:pt x="60" y="174"/>
                </a:lnTo>
                <a:lnTo>
                  <a:pt x="60" y="168"/>
                </a:lnTo>
                <a:lnTo>
                  <a:pt x="60" y="168"/>
                </a:lnTo>
                <a:lnTo>
                  <a:pt x="66" y="168"/>
                </a:lnTo>
                <a:lnTo>
                  <a:pt x="66" y="162"/>
                </a:lnTo>
                <a:lnTo>
                  <a:pt x="66" y="162"/>
                </a:lnTo>
                <a:lnTo>
                  <a:pt x="66" y="162"/>
                </a:lnTo>
                <a:lnTo>
                  <a:pt x="66" y="156"/>
                </a:lnTo>
                <a:lnTo>
                  <a:pt x="66" y="156"/>
                </a:lnTo>
                <a:lnTo>
                  <a:pt x="66" y="156"/>
                </a:lnTo>
                <a:lnTo>
                  <a:pt x="66" y="150"/>
                </a:lnTo>
                <a:lnTo>
                  <a:pt x="60" y="150"/>
                </a:lnTo>
                <a:lnTo>
                  <a:pt x="60" y="150"/>
                </a:lnTo>
                <a:lnTo>
                  <a:pt x="60" y="150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54" y="144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60" y="132"/>
                </a:lnTo>
                <a:lnTo>
                  <a:pt x="60" y="132"/>
                </a:lnTo>
                <a:lnTo>
                  <a:pt x="66" y="132"/>
                </a:lnTo>
                <a:lnTo>
                  <a:pt x="66" y="132"/>
                </a:lnTo>
                <a:lnTo>
                  <a:pt x="66" y="132"/>
                </a:lnTo>
                <a:lnTo>
                  <a:pt x="66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8" y="132"/>
                </a:lnTo>
                <a:lnTo>
                  <a:pt x="78" y="132"/>
                </a:lnTo>
                <a:lnTo>
                  <a:pt x="78" y="126"/>
                </a:lnTo>
                <a:lnTo>
                  <a:pt x="78" y="126"/>
                </a:lnTo>
                <a:lnTo>
                  <a:pt x="78" y="126"/>
                </a:lnTo>
                <a:lnTo>
                  <a:pt x="78" y="126"/>
                </a:lnTo>
                <a:lnTo>
                  <a:pt x="78" y="126"/>
                </a:lnTo>
                <a:lnTo>
                  <a:pt x="78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90" y="120"/>
                </a:lnTo>
                <a:lnTo>
                  <a:pt x="84" y="120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08"/>
                </a:lnTo>
                <a:lnTo>
                  <a:pt x="96" y="108"/>
                </a:lnTo>
                <a:lnTo>
                  <a:pt x="102" y="108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08"/>
                </a:lnTo>
                <a:lnTo>
                  <a:pt x="108" y="102"/>
                </a:lnTo>
                <a:lnTo>
                  <a:pt x="108" y="102"/>
                </a:lnTo>
                <a:lnTo>
                  <a:pt x="102" y="102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48" y="60"/>
                </a:lnTo>
                <a:lnTo>
                  <a:pt x="54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54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54"/>
                </a:lnTo>
                <a:lnTo>
                  <a:pt x="30" y="60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18" y="54"/>
                </a:lnTo>
                <a:lnTo>
                  <a:pt x="18" y="54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31" name="Freeform 64"/>
          <p:cNvSpPr>
            <a:spLocks/>
          </p:cNvSpPr>
          <p:nvPr/>
        </p:nvSpPr>
        <p:spPr bwMode="auto">
          <a:xfrm>
            <a:off x="6967487" y="2137110"/>
            <a:ext cx="346899" cy="533200"/>
          </a:xfrm>
          <a:custGeom>
            <a:avLst/>
            <a:gdLst>
              <a:gd name="T0" fmla="*/ 36 w 324"/>
              <a:gd name="T1" fmla="*/ 54 h 498"/>
              <a:gd name="T2" fmla="*/ 78 w 324"/>
              <a:gd name="T3" fmla="*/ 6 h 498"/>
              <a:gd name="T4" fmla="*/ 96 w 324"/>
              <a:gd name="T5" fmla="*/ 18 h 498"/>
              <a:gd name="T6" fmla="*/ 108 w 324"/>
              <a:gd name="T7" fmla="*/ 24 h 498"/>
              <a:gd name="T8" fmla="*/ 108 w 324"/>
              <a:gd name="T9" fmla="*/ 36 h 498"/>
              <a:gd name="T10" fmla="*/ 120 w 324"/>
              <a:gd name="T11" fmla="*/ 48 h 498"/>
              <a:gd name="T12" fmla="*/ 132 w 324"/>
              <a:gd name="T13" fmla="*/ 60 h 498"/>
              <a:gd name="T14" fmla="*/ 138 w 324"/>
              <a:gd name="T15" fmla="*/ 72 h 498"/>
              <a:gd name="T16" fmla="*/ 156 w 324"/>
              <a:gd name="T17" fmla="*/ 78 h 498"/>
              <a:gd name="T18" fmla="*/ 168 w 324"/>
              <a:gd name="T19" fmla="*/ 72 h 498"/>
              <a:gd name="T20" fmla="*/ 180 w 324"/>
              <a:gd name="T21" fmla="*/ 66 h 498"/>
              <a:gd name="T22" fmla="*/ 198 w 324"/>
              <a:gd name="T23" fmla="*/ 66 h 498"/>
              <a:gd name="T24" fmla="*/ 222 w 324"/>
              <a:gd name="T25" fmla="*/ 78 h 498"/>
              <a:gd name="T26" fmla="*/ 216 w 324"/>
              <a:gd name="T27" fmla="*/ 102 h 498"/>
              <a:gd name="T28" fmla="*/ 186 w 324"/>
              <a:gd name="T29" fmla="*/ 126 h 498"/>
              <a:gd name="T30" fmla="*/ 174 w 324"/>
              <a:gd name="T31" fmla="*/ 138 h 498"/>
              <a:gd name="T32" fmla="*/ 174 w 324"/>
              <a:gd name="T33" fmla="*/ 144 h 498"/>
              <a:gd name="T34" fmla="*/ 168 w 324"/>
              <a:gd name="T35" fmla="*/ 150 h 498"/>
              <a:gd name="T36" fmla="*/ 162 w 324"/>
              <a:gd name="T37" fmla="*/ 156 h 498"/>
              <a:gd name="T38" fmla="*/ 162 w 324"/>
              <a:gd name="T39" fmla="*/ 168 h 498"/>
              <a:gd name="T40" fmla="*/ 162 w 324"/>
              <a:gd name="T41" fmla="*/ 186 h 498"/>
              <a:gd name="T42" fmla="*/ 156 w 324"/>
              <a:gd name="T43" fmla="*/ 198 h 498"/>
              <a:gd name="T44" fmla="*/ 144 w 324"/>
              <a:gd name="T45" fmla="*/ 210 h 498"/>
              <a:gd name="T46" fmla="*/ 150 w 324"/>
              <a:gd name="T47" fmla="*/ 216 h 498"/>
              <a:gd name="T48" fmla="*/ 162 w 324"/>
              <a:gd name="T49" fmla="*/ 222 h 498"/>
              <a:gd name="T50" fmla="*/ 174 w 324"/>
              <a:gd name="T51" fmla="*/ 240 h 498"/>
              <a:gd name="T52" fmla="*/ 186 w 324"/>
              <a:gd name="T53" fmla="*/ 258 h 498"/>
              <a:gd name="T54" fmla="*/ 210 w 324"/>
              <a:gd name="T55" fmla="*/ 270 h 498"/>
              <a:gd name="T56" fmla="*/ 204 w 324"/>
              <a:gd name="T57" fmla="*/ 300 h 498"/>
              <a:gd name="T58" fmla="*/ 222 w 324"/>
              <a:gd name="T59" fmla="*/ 324 h 498"/>
              <a:gd name="T60" fmla="*/ 240 w 324"/>
              <a:gd name="T61" fmla="*/ 360 h 498"/>
              <a:gd name="T62" fmla="*/ 288 w 324"/>
              <a:gd name="T63" fmla="*/ 366 h 498"/>
              <a:gd name="T64" fmla="*/ 324 w 324"/>
              <a:gd name="T65" fmla="*/ 366 h 498"/>
              <a:gd name="T66" fmla="*/ 306 w 324"/>
              <a:gd name="T67" fmla="*/ 396 h 498"/>
              <a:gd name="T68" fmla="*/ 270 w 324"/>
              <a:gd name="T69" fmla="*/ 414 h 498"/>
              <a:gd name="T70" fmla="*/ 252 w 324"/>
              <a:gd name="T71" fmla="*/ 438 h 498"/>
              <a:gd name="T72" fmla="*/ 228 w 324"/>
              <a:gd name="T73" fmla="*/ 468 h 498"/>
              <a:gd name="T74" fmla="*/ 186 w 324"/>
              <a:gd name="T75" fmla="*/ 480 h 498"/>
              <a:gd name="T76" fmla="*/ 162 w 324"/>
              <a:gd name="T77" fmla="*/ 486 h 498"/>
              <a:gd name="T78" fmla="*/ 138 w 324"/>
              <a:gd name="T79" fmla="*/ 480 h 498"/>
              <a:gd name="T80" fmla="*/ 126 w 324"/>
              <a:gd name="T81" fmla="*/ 468 h 498"/>
              <a:gd name="T82" fmla="*/ 108 w 324"/>
              <a:gd name="T83" fmla="*/ 462 h 498"/>
              <a:gd name="T84" fmla="*/ 102 w 324"/>
              <a:gd name="T85" fmla="*/ 468 h 498"/>
              <a:gd name="T86" fmla="*/ 84 w 324"/>
              <a:gd name="T87" fmla="*/ 468 h 498"/>
              <a:gd name="T88" fmla="*/ 78 w 324"/>
              <a:gd name="T89" fmla="*/ 468 h 498"/>
              <a:gd name="T90" fmla="*/ 60 w 324"/>
              <a:gd name="T91" fmla="*/ 462 h 498"/>
              <a:gd name="T92" fmla="*/ 54 w 324"/>
              <a:gd name="T93" fmla="*/ 444 h 498"/>
              <a:gd name="T94" fmla="*/ 48 w 324"/>
              <a:gd name="T95" fmla="*/ 426 h 498"/>
              <a:gd name="T96" fmla="*/ 42 w 324"/>
              <a:gd name="T97" fmla="*/ 408 h 498"/>
              <a:gd name="T98" fmla="*/ 42 w 324"/>
              <a:gd name="T99" fmla="*/ 384 h 498"/>
              <a:gd name="T100" fmla="*/ 42 w 324"/>
              <a:gd name="T101" fmla="*/ 336 h 498"/>
              <a:gd name="T102" fmla="*/ 36 w 324"/>
              <a:gd name="T103" fmla="*/ 306 h 498"/>
              <a:gd name="T104" fmla="*/ 36 w 324"/>
              <a:gd name="T105" fmla="*/ 252 h 498"/>
              <a:gd name="T106" fmla="*/ 60 w 324"/>
              <a:gd name="T107" fmla="*/ 246 h 498"/>
              <a:gd name="T108" fmla="*/ 60 w 324"/>
              <a:gd name="T109" fmla="*/ 228 h 498"/>
              <a:gd name="T110" fmla="*/ 72 w 324"/>
              <a:gd name="T111" fmla="*/ 210 h 498"/>
              <a:gd name="T112" fmla="*/ 72 w 324"/>
              <a:gd name="T113" fmla="*/ 180 h 498"/>
              <a:gd name="T114" fmla="*/ 60 w 324"/>
              <a:gd name="T115" fmla="*/ 174 h 498"/>
              <a:gd name="T116" fmla="*/ 30 w 324"/>
              <a:gd name="T117" fmla="*/ 174 h 498"/>
              <a:gd name="T118" fmla="*/ 18 w 324"/>
              <a:gd name="T119" fmla="*/ 162 h 498"/>
              <a:gd name="T120" fmla="*/ 6 w 324"/>
              <a:gd name="T121" fmla="*/ 162 h 498"/>
              <a:gd name="T122" fmla="*/ 0 w 324"/>
              <a:gd name="T123" fmla="*/ 96 h 4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24" h="498">
                <a:moveTo>
                  <a:pt x="0" y="96"/>
                </a:moveTo>
                <a:lnTo>
                  <a:pt x="6" y="90"/>
                </a:lnTo>
                <a:lnTo>
                  <a:pt x="6" y="84"/>
                </a:lnTo>
                <a:lnTo>
                  <a:pt x="6" y="84"/>
                </a:lnTo>
                <a:lnTo>
                  <a:pt x="12" y="90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24" y="84"/>
                </a:lnTo>
                <a:lnTo>
                  <a:pt x="24" y="84"/>
                </a:lnTo>
                <a:lnTo>
                  <a:pt x="30" y="84"/>
                </a:lnTo>
                <a:lnTo>
                  <a:pt x="30" y="84"/>
                </a:lnTo>
                <a:lnTo>
                  <a:pt x="30" y="72"/>
                </a:lnTo>
                <a:lnTo>
                  <a:pt x="24" y="66"/>
                </a:lnTo>
                <a:lnTo>
                  <a:pt x="30" y="66"/>
                </a:lnTo>
                <a:lnTo>
                  <a:pt x="30" y="60"/>
                </a:lnTo>
                <a:lnTo>
                  <a:pt x="30" y="60"/>
                </a:lnTo>
                <a:lnTo>
                  <a:pt x="30" y="54"/>
                </a:lnTo>
                <a:lnTo>
                  <a:pt x="36" y="54"/>
                </a:lnTo>
                <a:lnTo>
                  <a:pt x="36" y="48"/>
                </a:lnTo>
                <a:lnTo>
                  <a:pt x="36" y="48"/>
                </a:lnTo>
                <a:lnTo>
                  <a:pt x="42" y="48"/>
                </a:lnTo>
                <a:lnTo>
                  <a:pt x="42" y="48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60" y="36"/>
                </a:lnTo>
                <a:lnTo>
                  <a:pt x="60" y="36"/>
                </a:lnTo>
                <a:lnTo>
                  <a:pt x="66" y="36"/>
                </a:lnTo>
                <a:lnTo>
                  <a:pt x="66" y="30"/>
                </a:lnTo>
                <a:lnTo>
                  <a:pt x="72" y="24"/>
                </a:lnTo>
                <a:lnTo>
                  <a:pt x="72" y="24"/>
                </a:lnTo>
                <a:lnTo>
                  <a:pt x="72" y="18"/>
                </a:lnTo>
                <a:lnTo>
                  <a:pt x="72" y="12"/>
                </a:lnTo>
                <a:lnTo>
                  <a:pt x="72" y="12"/>
                </a:lnTo>
                <a:lnTo>
                  <a:pt x="72" y="6"/>
                </a:lnTo>
                <a:lnTo>
                  <a:pt x="72" y="0"/>
                </a:lnTo>
                <a:lnTo>
                  <a:pt x="78" y="6"/>
                </a:lnTo>
                <a:lnTo>
                  <a:pt x="78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6"/>
                </a:lnTo>
                <a:lnTo>
                  <a:pt x="90" y="6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8" y="30"/>
                </a:lnTo>
                <a:lnTo>
                  <a:pt x="108" y="30"/>
                </a:lnTo>
                <a:lnTo>
                  <a:pt x="102" y="30"/>
                </a:lnTo>
                <a:lnTo>
                  <a:pt x="102" y="24"/>
                </a:lnTo>
                <a:lnTo>
                  <a:pt x="102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6"/>
                </a:lnTo>
                <a:lnTo>
                  <a:pt x="108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08" y="36"/>
                </a:lnTo>
                <a:lnTo>
                  <a:pt x="108" y="36"/>
                </a:lnTo>
                <a:lnTo>
                  <a:pt x="114" y="36"/>
                </a:lnTo>
                <a:lnTo>
                  <a:pt x="108" y="36"/>
                </a:lnTo>
                <a:lnTo>
                  <a:pt x="108" y="36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32" y="54"/>
                </a:lnTo>
                <a:lnTo>
                  <a:pt x="126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66"/>
                </a:lnTo>
                <a:lnTo>
                  <a:pt x="132" y="66"/>
                </a:lnTo>
                <a:lnTo>
                  <a:pt x="132" y="66"/>
                </a:lnTo>
                <a:lnTo>
                  <a:pt x="138" y="66"/>
                </a:lnTo>
                <a:lnTo>
                  <a:pt x="138" y="66"/>
                </a:lnTo>
                <a:lnTo>
                  <a:pt x="138" y="66"/>
                </a:lnTo>
                <a:lnTo>
                  <a:pt x="138" y="66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44" y="78"/>
                </a:lnTo>
                <a:lnTo>
                  <a:pt x="144" y="78"/>
                </a:lnTo>
                <a:lnTo>
                  <a:pt x="144" y="78"/>
                </a:lnTo>
                <a:lnTo>
                  <a:pt x="144" y="78"/>
                </a:lnTo>
                <a:lnTo>
                  <a:pt x="144" y="84"/>
                </a:lnTo>
                <a:lnTo>
                  <a:pt x="144" y="84"/>
                </a:lnTo>
                <a:lnTo>
                  <a:pt x="150" y="84"/>
                </a:lnTo>
                <a:lnTo>
                  <a:pt x="150" y="84"/>
                </a:lnTo>
                <a:lnTo>
                  <a:pt x="150" y="84"/>
                </a:lnTo>
                <a:lnTo>
                  <a:pt x="150" y="84"/>
                </a:lnTo>
                <a:lnTo>
                  <a:pt x="150" y="84"/>
                </a:lnTo>
                <a:lnTo>
                  <a:pt x="150" y="84"/>
                </a:lnTo>
                <a:lnTo>
                  <a:pt x="150" y="84"/>
                </a:lnTo>
                <a:lnTo>
                  <a:pt x="156" y="84"/>
                </a:lnTo>
                <a:lnTo>
                  <a:pt x="156" y="84"/>
                </a:lnTo>
                <a:lnTo>
                  <a:pt x="156" y="84"/>
                </a:lnTo>
                <a:lnTo>
                  <a:pt x="156" y="78"/>
                </a:lnTo>
                <a:lnTo>
                  <a:pt x="156" y="78"/>
                </a:lnTo>
                <a:lnTo>
                  <a:pt x="156" y="78"/>
                </a:lnTo>
                <a:lnTo>
                  <a:pt x="156" y="78"/>
                </a:lnTo>
                <a:lnTo>
                  <a:pt x="156" y="78"/>
                </a:lnTo>
                <a:lnTo>
                  <a:pt x="156" y="78"/>
                </a:lnTo>
                <a:lnTo>
                  <a:pt x="156" y="78"/>
                </a:lnTo>
                <a:lnTo>
                  <a:pt x="162" y="72"/>
                </a:lnTo>
                <a:lnTo>
                  <a:pt x="162" y="72"/>
                </a:lnTo>
                <a:lnTo>
                  <a:pt x="162" y="72"/>
                </a:lnTo>
                <a:lnTo>
                  <a:pt x="162" y="72"/>
                </a:lnTo>
                <a:lnTo>
                  <a:pt x="162" y="72"/>
                </a:lnTo>
                <a:lnTo>
                  <a:pt x="162" y="72"/>
                </a:lnTo>
                <a:lnTo>
                  <a:pt x="162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74" y="72"/>
                </a:lnTo>
                <a:lnTo>
                  <a:pt x="174" y="72"/>
                </a:lnTo>
                <a:lnTo>
                  <a:pt x="174" y="72"/>
                </a:lnTo>
                <a:lnTo>
                  <a:pt x="174" y="72"/>
                </a:lnTo>
                <a:lnTo>
                  <a:pt x="174" y="72"/>
                </a:lnTo>
                <a:lnTo>
                  <a:pt x="174" y="72"/>
                </a:lnTo>
                <a:lnTo>
                  <a:pt x="174" y="72"/>
                </a:lnTo>
                <a:lnTo>
                  <a:pt x="180" y="72"/>
                </a:lnTo>
                <a:lnTo>
                  <a:pt x="180" y="72"/>
                </a:lnTo>
                <a:lnTo>
                  <a:pt x="180" y="66"/>
                </a:lnTo>
                <a:lnTo>
                  <a:pt x="180" y="72"/>
                </a:lnTo>
                <a:lnTo>
                  <a:pt x="180" y="72"/>
                </a:lnTo>
                <a:lnTo>
                  <a:pt x="180" y="66"/>
                </a:lnTo>
                <a:lnTo>
                  <a:pt x="180" y="72"/>
                </a:lnTo>
                <a:lnTo>
                  <a:pt x="180" y="72"/>
                </a:lnTo>
                <a:lnTo>
                  <a:pt x="180" y="66"/>
                </a:lnTo>
                <a:lnTo>
                  <a:pt x="180" y="66"/>
                </a:lnTo>
                <a:lnTo>
                  <a:pt x="180" y="66"/>
                </a:lnTo>
                <a:lnTo>
                  <a:pt x="180" y="66"/>
                </a:lnTo>
                <a:lnTo>
                  <a:pt x="180" y="66"/>
                </a:lnTo>
                <a:lnTo>
                  <a:pt x="186" y="66"/>
                </a:lnTo>
                <a:lnTo>
                  <a:pt x="186" y="66"/>
                </a:lnTo>
                <a:lnTo>
                  <a:pt x="186" y="66"/>
                </a:lnTo>
                <a:lnTo>
                  <a:pt x="186" y="66"/>
                </a:lnTo>
                <a:lnTo>
                  <a:pt x="186" y="66"/>
                </a:lnTo>
                <a:lnTo>
                  <a:pt x="186" y="66"/>
                </a:lnTo>
                <a:lnTo>
                  <a:pt x="186" y="66"/>
                </a:lnTo>
                <a:lnTo>
                  <a:pt x="192" y="66"/>
                </a:lnTo>
                <a:lnTo>
                  <a:pt x="192" y="66"/>
                </a:lnTo>
                <a:lnTo>
                  <a:pt x="192" y="66"/>
                </a:lnTo>
                <a:lnTo>
                  <a:pt x="192" y="66"/>
                </a:lnTo>
                <a:lnTo>
                  <a:pt x="192" y="66"/>
                </a:lnTo>
                <a:lnTo>
                  <a:pt x="198" y="60"/>
                </a:lnTo>
                <a:lnTo>
                  <a:pt x="198" y="60"/>
                </a:lnTo>
                <a:lnTo>
                  <a:pt x="198" y="66"/>
                </a:lnTo>
                <a:lnTo>
                  <a:pt x="198" y="66"/>
                </a:lnTo>
                <a:lnTo>
                  <a:pt x="198" y="60"/>
                </a:lnTo>
                <a:lnTo>
                  <a:pt x="198" y="60"/>
                </a:lnTo>
                <a:lnTo>
                  <a:pt x="204" y="60"/>
                </a:lnTo>
                <a:lnTo>
                  <a:pt x="204" y="60"/>
                </a:lnTo>
                <a:lnTo>
                  <a:pt x="204" y="66"/>
                </a:lnTo>
                <a:lnTo>
                  <a:pt x="204" y="66"/>
                </a:lnTo>
                <a:lnTo>
                  <a:pt x="210" y="66"/>
                </a:lnTo>
                <a:lnTo>
                  <a:pt x="210" y="66"/>
                </a:lnTo>
                <a:lnTo>
                  <a:pt x="210" y="66"/>
                </a:lnTo>
                <a:lnTo>
                  <a:pt x="210" y="66"/>
                </a:lnTo>
                <a:lnTo>
                  <a:pt x="210" y="66"/>
                </a:lnTo>
                <a:lnTo>
                  <a:pt x="210" y="66"/>
                </a:lnTo>
                <a:lnTo>
                  <a:pt x="210" y="66"/>
                </a:lnTo>
                <a:lnTo>
                  <a:pt x="216" y="72"/>
                </a:lnTo>
                <a:lnTo>
                  <a:pt x="216" y="72"/>
                </a:lnTo>
                <a:lnTo>
                  <a:pt x="216" y="72"/>
                </a:lnTo>
                <a:lnTo>
                  <a:pt x="216" y="78"/>
                </a:lnTo>
                <a:lnTo>
                  <a:pt x="222" y="78"/>
                </a:lnTo>
                <a:lnTo>
                  <a:pt x="222" y="78"/>
                </a:lnTo>
                <a:lnTo>
                  <a:pt x="222" y="78"/>
                </a:lnTo>
                <a:lnTo>
                  <a:pt x="222" y="78"/>
                </a:lnTo>
                <a:lnTo>
                  <a:pt x="222" y="84"/>
                </a:lnTo>
                <a:lnTo>
                  <a:pt x="222" y="84"/>
                </a:lnTo>
                <a:lnTo>
                  <a:pt x="222" y="84"/>
                </a:lnTo>
                <a:lnTo>
                  <a:pt x="222" y="84"/>
                </a:lnTo>
                <a:lnTo>
                  <a:pt x="222" y="84"/>
                </a:lnTo>
                <a:lnTo>
                  <a:pt x="216" y="90"/>
                </a:lnTo>
                <a:lnTo>
                  <a:pt x="216" y="90"/>
                </a:lnTo>
                <a:lnTo>
                  <a:pt x="216" y="96"/>
                </a:lnTo>
                <a:lnTo>
                  <a:pt x="216" y="96"/>
                </a:lnTo>
                <a:lnTo>
                  <a:pt x="216" y="96"/>
                </a:lnTo>
                <a:lnTo>
                  <a:pt x="216" y="96"/>
                </a:lnTo>
                <a:lnTo>
                  <a:pt x="216" y="102"/>
                </a:lnTo>
                <a:lnTo>
                  <a:pt x="216" y="102"/>
                </a:lnTo>
                <a:lnTo>
                  <a:pt x="216" y="102"/>
                </a:lnTo>
                <a:lnTo>
                  <a:pt x="216" y="102"/>
                </a:lnTo>
                <a:lnTo>
                  <a:pt x="216" y="102"/>
                </a:lnTo>
                <a:lnTo>
                  <a:pt x="216" y="108"/>
                </a:lnTo>
                <a:lnTo>
                  <a:pt x="216" y="108"/>
                </a:lnTo>
                <a:lnTo>
                  <a:pt x="216" y="114"/>
                </a:lnTo>
                <a:lnTo>
                  <a:pt x="210" y="114"/>
                </a:lnTo>
                <a:lnTo>
                  <a:pt x="210" y="114"/>
                </a:lnTo>
                <a:lnTo>
                  <a:pt x="210" y="120"/>
                </a:lnTo>
                <a:lnTo>
                  <a:pt x="204" y="120"/>
                </a:lnTo>
                <a:lnTo>
                  <a:pt x="204" y="120"/>
                </a:lnTo>
                <a:lnTo>
                  <a:pt x="204" y="120"/>
                </a:lnTo>
                <a:lnTo>
                  <a:pt x="198" y="114"/>
                </a:lnTo>
                <a:lnTo>
                  <a:pt x="198" y="120"/>
                </a:lnTo>
                <a:lnTo>
                  <a:pt x="192" y="120"/>
                </a:lnTo>
                <a:lnTo>
                  <a:pt x="192" y="120"/>
                </a:lnTo>
                <a:lnTo>
                  <a:pt x="192" y="120"/>
                </a:lnTo>
                <a:lnTo>
                  <a:pt x="192" y="120"/>
                </a:lnTo>
                <a:lnTo>
                  <a:pt x="186" y="126"/>
                </a:lnTo>
                <a:lnTo>
                  <a:pt x="186" y="126"/>
                </a:lnTo>
                <a:lnTo>
                  <a:pt x="186" y="126"/>
                </a:lnTo>
                <a:lnTo>
                  <a:pt x="186" y="126"/>
                </a:lnTo>
                <a:lnTo>
                  <a:pt x="186" y="126"/>
                </a:lnTo>
                <a:lnTo>
                  <a:pt x="186" y="126"/>
                </a:lnTo>
                <a:lnTo>
                  <a:pt x="186" y="126"/>
                </a:lnTo>
                <a:lnTo>
                  <a:pt x="186" y="126"/>
                </a:lnTo>
                <a:lnTo>
                  <a:pt x="180" y="126"/>
                </a:lnTo>
                <a:lnTo>
                  <a:pt x="180" y="126"/>
                </a:lnTo>
                <a:lnTo>
                  <a:pt x="180" y="126"/>
                </a:lnTo>
                <a:lnTo>
                  <a:pt x="180" y="126"/>
                </a:lnTo>
                <a:lnTo>
                  <a:pt x="180" y="126"/>
                </a:lnTo>
                <a:lnTo>
                  <a:pt x="180" y="126"/>
                </a:lnTo>
                <a:lnTo>
                  <a:pt x="180" y="126"/>
                </a:lnTo>
                <a:lnTo>
                  <a:pt x="180" y="126"/>
                </a:lnTo>
                <a:lnTo>
                  <a:pt x="180" y="126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74" y="138"/>
                </a:lnTo>
                <a:lnTo>
                  <a:pt x="174" y="138"/>
                </a:lnTo>
                <a:lnTo>
                  <a:pt x="174" y="138"/>
                </a:lnTo>
                <a:lnTo>
                  <a:pt x="174" y="138"/>
                </a:lnTo>
                <a:lnTo>
                  <a:pt x="174" y="138"/>
                </a:lnTo>
                <a:lnTo>
                  <a:pt x="174" y="138"/>
                </a:lnTo>
                <a:lnTo>
                  <a:pt x="174" y="138"/>
                </a:lnTo>
                <a:lnTo>
                  <a:pt x="174" y="138"/>
                </a:lnTo>
                <a:lnTo>
                  <a:pt x="174" y="138"/>
                </a:lnTo>
                <a:lnTo>
                  <a:pt x="174" y="138"/>
                </a:lnTo>
                <a:lnTo>
                  <a:pt x="174" y="138"/>
                </a:lnTo>
                <a:lnTo>
                  <a:pt x="174" y="138"/>
                </a:lnTo>
                <a:lnTo>
                  <a:pt x="174" y="138"/>
                </a:lnTo>
                <a:lnTo>
                  <a:pt x="174" y="144"/>
                </a:lnTo>
                <a:lnTo>
                  <a:pt x="174" y="144"/>
                </a:lnTo>
                <a:lnTo>
                  <a:pt x="174" y="144"/>
                </a:lnTo>
                <a:lnTo>
                  <a:pt x="174" y="144"/>
                </a:lnTo>
                <a:lnTo>
                  <a:pt x="174" y="144"/>
                </a:lnTo>
                <a:lnTo>
                  <a:pt x="174" y="144"/>
                </a:lnTo>
                <a:lnTo>
                  <a:pt x="174" y="144"/>
                </a:lnTo>
                <a:lnTo>
                  <a:pt x="174" y="144"/>
                </a:lnTo>
                <a:lnTo>
                  <a:pt x="174" y="144"/>
                </a:lnTo>
                <a:lnTo>
                  <a:pt x="168" y="144"/>
                </a:lnTo>
                <a:lnTo>
                  <a:pt x="168" y="144"/>
                </a:lnTo>
                <a:lnTo>
                  <a:pt x="168" y="144"/>
                </a:lnTo>
                <a:lnTo>
                  <a:pt x="168" y="150"/>
                </a:lnTo>
                <a:lnTo>
                  <a:pt x="168" y="150"/>
                </a:lnTo>
                <a:lnTo>
                  <a:pt x="168" y="150"/>
                </a:lnTo>
                <a:lnTo>
                  <a:pt x="168" y="150"/>
                </a:lnTo>
                <a:lnTo>
                  <a:pt x="168" y="150"/>
                </a:lnTo>
                <a:lnTo>
                  <a:pt x="168" y="150"/>
                </a:lnTo>
                <a:lnTo>
                  <a:pt x="168" y="150"/>
                </a:lnTo>
                <a:lnTo>
                  <a:pt x="168" y="150"/>
                </a:lnTo>
                <a:lnTo>
                  <a:pt x="168" y="150"/>
                </a:lnTo>
                <a:lnTo>
                  <a:pt x="168" y="150"/>
                </a:lnTo>
                <a:lnTo>
                  <a:pt x="168" y="150"/>
                </a:lnTo>
                <a:lnTo>
                  <a:pt x="168" y="150"/>
                </a:lnTo>
                <a:lnTo>
                  <a:pt x="168" y="150"/>
                </a:lnTo>
                <a:lnTo>
                  <a:pt x="168" y="150"/>
                </a:lnTo>
                <a:lnTo>
                  <a:pt x="168" y="150"/>
                </a:lnTo>
                <a:lnTo>
                  <a:pt x="168" y="150"/>
                </a:lnTo>
                <a:lnTo>
                  <a:pt x="168" y="150"/>
                </a:lnTo>
                <a:lnTo>
                  <a:pt x="162" y="150"/>
                </a:lnTo>
                <a:lnTo>
                  <a:pt x="162" y="150"/>
                </a:lnTo>
                <a:lnTo>
                  <a:pt x="162" y="150"/>
                </a:lnTo>
                <a:lnTo>
                  <a:pt x="162" y="150"/>
                </a:lnTo>
                <a:lnTo>
                  <a:pt x="162" y="150"/>
                </a:lnTo>
                <a:lnTo>
                  <a:pt x="162" y="150"/>
                </a:lnTo>
                <a:lnTo>
                  <a:pt x="162" y="150"/>
                </a:lnTo>
                <a:lnTo>
                  <a:pt x="162" y="150"/>
                </a:lnTo>
                <a:lnTo>
                  <a:pt x="162" y="156"/>
                </a:lnTo>
                <a:lnTo>
                  <a:pt x="162" y="150"/>
                </a:lnTo>
                <a:lnTo>
                  <a:pt x="168" y="156"/>
                </a:lnTo>
                <a:lnTo>
                  <a:pt x="162" y="156"/>
                </a:lnTo>
                <a:lnTo>
                  <a:pt x="168" y="156"/>
                </a:lnTo>
                <a:lnTo>
                  <a:pt x="168" y="156"/>
                </a:lnTo>
                <a:lnTo>
                  <a:pt x="162" y="156"/>
                </a:lnTo>
                <a:lnTo>
                  <a:pt x="162" y="156"/>
                </a:lnTo>
                <a:lnTo>
                  <a:pt x="162" y="156"/>
                </a:lnTo>
                <a:lnTo>
                  <a:pt x="162" y="156"/>
                </a:lnTo>
                <a:lnTo>
                  <a:pt x="162" y="156"/>
                </a:lnTo>
                <a:lnTo>
                  <a:pt x="162" y="156"/>
                </a:lnTo>
                <a:lnTo>
                  <a:pt x="162" y="156"/>
                </a:lnTo>
                <a:lnTo>
                  <a:pt x="162" y="156"/>
                </a:lnTo>
                <a:lnTo>
                  <a:pt x="162" y="156"/>
                </a:lnTo>
                <a:lnTo>
                  <a:pt x="162" y="162"/>
                </a:lnTo>
                <a:lnTo>
                  <a:pt x="162" y="162"/>
                </a:lnTo>
                <a:lnTo>
                  <a:pt x="162" y="162"/>
                </a:lnTo>
                <a:lnTo>
                  <a:pt x="162" y="162"/>
                </a:lnTo>
                <a:lnTo>
                  <a:pt x="168" y="162"/>
                </a:lnTo>
                <a:lnTo>
                  <a:pt x="168" y="162"/>
                </a:lnTo>
                <a:lnTo>
                  <a:pt x="168" y="162"/>
                </a:lnTo>
                <a:lnTo>
                  <a:pt x="168" y="162"/>
                </a:lnTo>
                <a:lnTo>
                  <a:pt x="168" y="168"/>
                </a:lnTo>
                <a:lnTo>
                  <a:pt x="162" y="168"/>
                </a:lnTo>
                <a:lnTo>
                  <a:pt x="162" y="168"/>
                </a:lnTo>
                <a:lnTo>
                  <a:pt x="162" y="168"/>
                </a:lnTo>
                <a:lnTo>
                  <a:pt x="162" y="168"/>
                </a:lnTo>
                <a:lnTo>
                  <a:pt x="162" y="168"/>
                </a:lnTo>
                <a:lnTo>
                  <a:pt x="162" y="168"/>
                </a:lnTo>
                <a:lnTo>
                  <a:pt x="162" y="168"/>
                </a:lnTo>
                <a:lnTo>
                  <a:pt x="162" y="174"/>
                </a:lnTo>
                <a:lnTo>
                  <a:pt x="162" y="174"/>
                </a:lnTo>
                <a:lnTo>
                  <a:pt x="162" y="174"/>
                </a:lnTo>
                <a:lnTo>
                  <a:pt x="162" y="174"/>
                </a:lnTo>
                <a:lnTo>
                  <a:pt x="162" y="174"/>
                </a:lnTo>
                <a:lnTo>
                  <a:pt x="162" y="174"/>
                </a:lnTo>
                <a:lnTo>
                  <a:pt x="162" y="180"/>
                </a:lnTo>
                <a:lnTo>
                  <a:pt x="162" y="180"/>
                </a:lnTo>
                <a:lnTo>
                  <a:pt x="162" y="180"/>
                </a:lnTo>
                <a:lnTo>
                  <a:pt x="162" y="180"/>
                </a:lnTo>
                <a:lnTo>
                  <a:pt x="162" y="186"/>
                </a:lnTo>
                <a:lnTo>
                  <a:pt x="162" y="186"/>
                </a:lnTo>
                <a:lnTo>
                  <a:pt x="162" y="186"/>
                </a:lnTo>
                <a:lnTo>
                  <a:pt x="162" y="186"/>
                </a:lnTo>
                <a:lnTo>
                  <a:pt x="162" y="186"/>
                </a:lnTo>
                <a:lnTo>
                  <a:pt x="162" y="186"/>
                </a:lnTo>
                <a:lnTo>
                  <a:pt x="162" y="186"/>
                </a:lnTo>
                <a:lnTo>
                  <a:pt x="162" y="186"/>
                </a:lnTo>
                <a:lnTo>
                  <a:pt x="162" y="186"/>
                </a:lnTo>
                <a:lnTo>
                  <a:pt x="162" y="186"/>
                </a:lnTo>
                <a:lnTo>
                  <a:pt x="156" y="192"/>
                </a:lnTo>
                <a:lnTo>
                  <a:pt x="156" y="192"/>
                </a:lnTo>
                <a:lnTo>
                  <a:pt x="156" y="186"/>
                </a:lnTo>
                <a:lnTo>
                  <a:pt x="156" y="186"/>
                </a:lnTo>
                <a:lnTo>
                  <a:pt x="156" y="186"/>
                </a:lnTo>
                <a:lnTo>
                  <a:pt x="150" y="192"/>
                </a:lnTo>
                <a:lnTo>
                  <a:pt x="156" y="192"/>
                </a:lnTo>
                <a:lnTo>
                  <a:pt x="156" y="192"/>
                </a:lnTo>
                <a:lnTo>
                  <a:pt x="156" y="192"/>
                </a:lnTo>
                <a:lnTo>
                  <a:pt x="156" y="192"/>
                </a:lnTo>
                <a:lnTo>
                  <a:pt x="156" y="192"/>
                </a:lnTo>
                <a:lnTo>
                  <a:pt x="156" y="192"/>
                </a:lnTo>
                <a:lnTo>
                  <a:pt x="156" y="192"/>
                </a:lnTo>
                <a:lnTo>
                  <a:pt x="156" y="198"/>
                </a:lnTo>
                <a:lnTo>
                  <a:pt x="156" y="198"/>
                </a:lnTo>
                <a:lnTo>
                  <a:pt x="150" y="198"/>
                </a:lnTo>
                <a:lnTo>
                  <a:pt x="150" y="198"/>
                </a:lnTo>
                <a:lnTo>
                  <a:pt x="150" y="198"/>
                </a:lnTo>
                <a:lnTo>
                  <a:pt x="150" y="198"/>
                </a:lnTo>
                <a:lnTo>
                  <a:pt x="150" y="198"/>
                </a:lnTo>
                <a:lnTo>
                  <a:pt x="150" y="204"/>
                </a:lnTo>
                <a:lnTo>
                  <a:pt x="150" y="204"/>
                </a:lnTo>
                <a:lnTo>
                  <a:pt x="150" y="204"/>
                </a:lnTo>
                <a:lnTo>
                  <a:pt x="150" y="204"/>
                </a:lnTo>
                <a:lnTo>
                  <a:pt x="150" y="204"/>
                </a:lnTo>
                <a:lnTo>
                  <a:pt x="150" y="204"/>
                </a:lnTo>
                <a:lnTo>
                  <a:pt x="150" y="204"/>
                </a:lnTo>
                <a:lnTo>
                  <a:pt x="150" y="204"/>
                </a:lnTo>
                <a:lnTo>
                  <a:pt x="144" y="204"/>
                </a:lnTo>
                <a:lnTo>
                  <a:pt x="144" y="204"/>
                </a:lnTo>
                <a:lnTo>
                  <a:pt x="144" y="204"/>
                </a:lnTo>
                <a:lnTo>
                  <a:pt x="144" y="210"/>
                </a:lnTo>
                <a:lnTo>
                  <a:pt x="144" y="210"/>
                </a:lnTo>
                <a:lnTo>
                  <a:pt x="144" y="210"/>
                </a:lnTo>
                <a:lnTo>
                  <a:pt x="144" y="210"/>
                </a:lnTo>
                <a:lnTo>
                  <a:pt x="144" y="210"/>
                </a:lnTo>
                <a:lnTo>
                  <a:pt x="144" y="210"/>
                </a:lnTo>
                <a:lnTo>
                  <a:pt x="144" y="210"/>
                </a:lnTo>
                <a:lnTo>
                  <a:pt x="144" y="210"/>
                </a:lnTo>
                <a:lnTo>
                  <a:pt x="144" y="210"/>
                </a:lnTo>
                <a:lnTo>
                  <a:pt x="144" y="210"/>
                </a:lnTo>
                <a:lnTo>
                  <a:pt x="144" y="210"/>
                </a:lnTo>
                <a:lnTo>
                  <a:pt x="144" y="210"/>
                </a:lnTo>
                <a:lnTo>
                  <a:pt x="144" y="216"/>
                </a:lnTo>
                <a:lnTo>
                  <a:pt x="144" y="216"/>
                </a:lnTo>
                <a:lnTo>
                  <a:pt x="144" y="216"/>
                </a:lnTo>
                <a:lnTo>
                  <a:pt x="150" y="216"/>
                </a:lnTo>
                <a:lnTo>
                  <a:pt x="150" y="216"/>
                </a:lnTo>
                <a:lnTo>
                  <a:pt x="150" y="216"/>
                </a:lnTo>
                <a:lnTo>
                  <a:pt x="150" y="216"/>
                </a:lnTo>
                <a:lnTo>
                  <a:pt x="150" y="216"/>
                </a:lnTo>
                <a:lnTo>
                  <a:pt x="150" y="216"/>
                </a:lnTo>
                <a:lnTo>
                  <a:pt x="150" y="216"/>
                </a:lnTo>
                <a:lnTo>
                  <a:pt x="156" y="216"/>
                </a:lnTo>
                <a:lnTo>
                  <a:pt x="156" y="216"/>
                </a:lnTo>
                <a:lnTo>
                  <a:pt x="162" y="216"/>
                </a:lnTo>
                <a:lnTo>
                  <a:pt x="162" y="216"/>
                </a:lnTo>
                <a:lnTo>
                  <a:pt x="162" y="216"/>
                </a:lnTo>
                <a:lnTo>
                  <a:pt x="162" y="216"/>
                </a:lnTo>
                <a:lnTo>
                  <a:pt x="162" y="216"/>
                </a:lnTo>
                <a:lnTo>
                  <a:pt x="162" y="216"/>
                </a:lnTo>
                <a:lnTo>
                  <a:pt x="162" y="216"/>
                </a:lnTo>
                <a:lnTo>
                  <a:pt x="162" y="216"/>
                </a:lnTo>
                <a:lnTo>
                  <a:pt x="162" y="216"/>
                </a:lnTo>
                <a:lnTo>
                  <a:pt x="162" y="222"/>
                </a:lnTo>
                <a:lnTo>
                  <a:pt x="162" y="222"/>
                </a:lnTo>
                <a:lnTo>
                  <a:pt x="162" y="222"/>
                </a:lnTo>
                <a:lnTo>
                  <a:pt x="162" y="222"/>
                </a:lnTo>
                <a:lnTo>
                  <a:pt x="162" y="222"/>
                </a:lnTo>
                <a:lnTo>
                  <a:pt x="162" y="222"/>
                </a:lnTo>
                <a:lnTo>
                  <a:pt x="162" y="222"/>
                </a:lnTo>
                <a:lnTo>
                  <a:pt x="168" y="222"/>
                </a:lnTo>
                <a:lnTo>
                  <a:pt x="168" y="222"/>
                </a:lnTo>
                <a:lnTo>
                  <a:pt x="168" y="222"/>
                </a:lnTo>
                <a:lnTo>
                  <a:pt x="168" y="222"/>
                </a:lnTo>
                <a:lnTo>
                  <a:pt x="168" y="222"/>
                </a:lnTo>
                <a:lnTo>
                  <a:pt x="168" y="222"/>
                </a:lnTo>
                <a:lnTo>
                  <a:pt x="168" y="222"/>
                </a:lnTo>
                <a:lnTo>
                  <a:pt x="168" y="222"/>
                </a:lnTo>
                <a:lnTo>
                  <a:pt x="174" y="228"/>
                </a:lnTo>
                <a:lnTo>
                  <a:pt x="174" y="228"/>
                </a:lnTo>
                <a:lnTo>
                  <a:pt x="174" y="228"/>
                </a:lnTo>
                <a:lnTo>
                  <a:pt x="174" y="228"/>
                </a:lnTo>
                <a:lnTo>
                  <a:pt x="174" y="234"/>
                </a:lnTo>
                <a:lnTo>
                  <a:pt x="174" y="228"/>
                </a:lnTo>
                <a:lnTo>
                  <a:pt x="174" y="234"/>
                </a:lnTo>
                <a:lnTo>
                  <a:pt x="174" y="234"/>
                </a:lnTo>
                <a:lnTo>
                  <a:pt x="174" y="234"/>
                </a:lnTo>
                <a:lnTo>
                  <a:pt x="174" y="234"/>
                </a:lnTo>
                <a:lnTo>
                  <a:pt x="174" y="240"/>
                </a:lnTo>
                <a:lnTo>
                  <a:pt x="174" y="240"/>
                </a:lnTo>
                <a:lnTo>
                  <a:pt x="174" y="240"/>
                </a:lnTo>
                <a:lnTo>
                  <a:pt x="174" y="240"/>
                </a:lnTo>
                <a:lnTo>
                  <a:pt x="174" y="240"/>
                </a:lnTo>
                <a:lnTo>
                  <a:pt x="174" y="246"/>
                </a:lnTo>
                <a:lnTo>
                  <a:pt x="174" y="246"/>
                </a:lnTo>
                <a:lnTo>
                  <a:pt x="174" y="246"/>
                </a:lnTo>
                <a:lnTo>
                  <a:pt x="174" y="246"/>
                </a:lnTo>
                <a:lnTo>
                  <a:pt x="174" y="246"/>
                </a:lnTo>
                <a:lnTo>
                  <a:pt x="174" y="246"/>
                </a:lnTo>
                <a:lnTo>
                  <a:pt x="180" y="252"/>
                </a:lnTo>
                <a:lnTo>
                  <a:pt x="180" y="252"/>
                </a:lnTo>
                <a:lnTo>
                  <a:pt x="180" y="252"/>
                </a:lnTo>
                <a:lnTo>
                  <a:pt x="180" y="252"/>
                </a:lnTo>
                <a:lnTo>
                  <a:pt x="186" y="258"/>
                </a:lnTo>
                <a:lnTo>
                  <a:pt x="180" y="258"/>
                </a:lnTo>
                <a:lnTo>
                  <a:pt x="180" y="258"/>
                </a:lnTo>
                <a:lnTo>
                  <a:pt x="186" y="258"/>
                </a:lnTo>
                <a:lnTo>
                  <a:pt x="186" y="258"/>
                </a:lnTo>
                <a:lnTo>
                  <a:pt x="186" y="258"/>
                </a:lnTo>
                <a:lnTo>
                  <a:pt x="186" y="258"/>
                </a:lnTo>
                <a:lnTo>
                  <a:pt x="192" y="258"/>
                </a:lnTo>
                <a:lnTo>
                  <a:pt x="192" y="258"/>
                </a:lnTo>
                <a:lnTo>
                  <a:pt x="198" y="258"/>
                </a:lnTo>
                <a:lnTo>
                  <a:pt x="198" y="258"/>
                </a:lnTo>
                <a:lnTo>
                  <a:pt x="198" y="258"/>
                </a:lnTo>
                <a:lnTo>
                  <a:pt x="198" y="258"/>
                </a:lnTo>
                <a:lnTo>
                  <a:pt x="198" y="264"/>
                </a:lnTo>
                <a:lnTo>
                  <a:pt x="198" y="264"/>
                </a:lnTo>
                <a:lnTo>
                  <a:pt x="198" y="264"/>
                </a:lnTo>
                <a:lnTo>
                  <a:pt x="198" y="264"/>
                </a:lnTo>
                <a:lnTo>
                  <a:pt x="204" y="264"/>
                </a:lnTo>
                <a:lnTo>
                  <a:pt x="204" y="264"/>
                </a:lnTo>
                <a:lnTo>
                  <a:pt x="204" y="270"/>
                </a:lnTo>
                <a:lnTo>
                  <a:pt x="210" y="270"/>
                </a:lnTo>
                <a:lnTo>
                  <a:pt x="210" y="270"/>
                </a:lnTo>
                <a:lnTo>
                  <a:pt x="210" y="270"/>
                </a:lnTo>
                <a:lnTo>
                  <a:pt x="210" y="270"/>
                </a:lnTo>
                <a:lnTo>
                  <a:pt x="210" y="270"/>
                </a:lnTo>
                <a:lnTo>
                  <a:pt x="210" y="276"/>
                </a:lnTo>
                <a:lnTo>
                  <a:pt x="210" y="276"/>
                </a:lnTo>
                <a:lnTo>
                  <a:pt x="210" y="276"/>
                </a:lnTo>
                <a:lnTo>
                  <a:pt x="210" y="276"/>
                </a:lnTo>
                <a:lnTo>
                  <a:pt x="204" y="282"/>
                </a:lnTo>
                <a:lnTo>
                  <a:pt x="204" y="282"/>
                </a:lnTo>
                <a:lnTo>
                  <a:pt x="204" y="282"/>
                </a:lnTo>
                <a:lnTo>
                  <a:pt x="204" y="288"/>
                </a:lnTo>
                <a:lnTo>
                  <a:pt x="204" y="288"/>
                </a:lnTo>
                <a:lnTo>
                  <a:pt x="204" y="294"/>
                </a:lnTo>
                <a:lnTo>
                  <a:pt x="198" y="294"/>
                </a:lnTo>
                <a:lnTo>
                  <a:pt x="198" y="300"/>
                </a:lnTo>
                <a:lnTo>
                  <a:pt x="198" y="300"/>
                </a:lnTo>
                <a:lnTo>
                  <a:pt x="198" y="300"/>
                </a:lnTo>
                <a:lnTo>
                  <a:pt x="198" y="300"/>
                </a:lnTo>
                <a:lnTo>
                  <a:pt x="198" y="300"/>
                </a:lnTo>
                <a:lnTo>
                  <a:pt x="198" y="306"/>
                </a:lnTo>
                <a:lnTo>
                  <a:pt x="204" y="300"/>
                </a:lnTo>
                <a:lnTo>
                  <a:pt x="210" y="306"/>
                </a:lnTo>
                <a:lnTo>
                  <a:pt x="210" y="306"/>
                </a:lnTo>
                <a:lnTo>
                  <a:pt x="210" y="306"/>
                </a:lnTo>
                <a:lnTo>
                  <a:pt x="204" y="312"/>
                </a:lnTo>
                <a:lnTo>
                  <a:pt x="204" y="312"/>
                </a:lnTo>
                <a:lnTo>
                  <a:pt x="210" y="312"/>
                </a:lnTo>
                <a:lnTo>
                  <a:pt x="210" y="312"/>
                </a:lnTo>
                <a:lnTo>
                  <a:pt x="216" y="312"/>
                </a:lnTo>
                <a:lnTo>
                  <a:pt x="216" y="312"/>
                </a:lnTo>
                <a:lnTo>
                  <a:pt x="216" y="312"/>
                </a:lnTo>
                <a:lnTo>
                  <a:pt x="216" y="318"/>
                </a:lnTo>
                <a:lnTo>
                  <a:pt x="216" y="318"/>
                </a:lnTo>
                <a:lnTo>
                  <a:pt x="222" y="318"/>
                </a:lnTo>
                <a:lnTo>
                  <a:pt x="216" y="318"/>
                </a:lnTo>
                <a:lnTo>
                  <a:pt x="216" y="318"/>
                </a:lnTo>
                <a:lnTo>
                  <a:pt x="222" y="318"/>
                </a:lnTo>
                <a:lnTo>
                  <a:pt x="222" y="324"/>
                </a:lnTo>
                <a:lnTo>
                  <a:pt x="222" y="324"/>
                </a:lnTo>
                <a:lnTo>
                  <a:pt x="222" y="324"/>
                </a:lnTo>
                <a:lnTo>
                  <a:pt x="222" y="324"/>
                </a:lnTo>
                <a:lnTo>
                  <a:pt x="222" y="330"/>
                </a:lnTo>
                <a:lnTo>
                  <a:pt x="222" y="330"/>
                </a:lnTo>
                <a:lnTo>
                  <a:pt x="222" y="330"/>
                </a:lnTo>
                <a:lnTo>
                  <a:pt x="222" y="336"/>
                </a:lnTo>
                <a:lnTo>
                  <a:pt x="222" y="336"/>
                </a:lnTo>
                <a:lnTo>
                  <a:pt x="222" y="342"/>
                </a:lnTo>
                <a:lnTo>
                  <a:pt x="222" y="342"/>
                </a:lnTo>
                <a:lnTo>
                  <a:pt x="222" y="342"/>
                </a:lnTo>
                <a:lnTo>
                  <a:pt x="222" y="348"/>
                </a:lnTo>
                <a:lnTo>
                  <a:pt x="222" y="348"/>
                </a:lnTo>
                <a:lnTo>
                  <a:pt x="228" y="348"/>
                </a:lnTo>
                <a:lnTo>
                  <a:pt x="228" y="348"/>
                </a:lnTo>
                <a:lnTo>
                  <a:pt x="234" y="354"/>
                </a:lnTo>
                <a:lnTo>
                  <a:pt x="234" y="354"/>
                </a:lnTo>
                <a:lnTo>
                  <a:pt x="234" y="360"/>
                </a:lnTo>
                <a:lnTo>
                  <a:pt x="234" y="360"/>
                </a:lnTo>
                <a:lnTo>
                  <a:pt x="240" y="360"/>
                </a:lnTo>
                <a:lnTo>
                  <a:pt x="240" y="360"/>
                </a:lnTo>
                <a:lnTo>
                  <a:pt x="240" y="360"/>
                </a:lnTo>
                <a:lnTo>
                  <a:pt x="246" y="360"/>
                </a:lnTo>
                <a:lnTo>
                  <a:pt x="252" y="360"/>
                </a:lnTo>
                <a:lnTo>
                  <a:pt x="252" y="360"/>
                </a:lnTo>
                <a:lnTo>
                  <a:pt x="258" y="360"/>
                </a:lnTo>
                <a:lnTo>
                  <a:pt x="258" y="360"/>
                </a:lnTo>
                <a:lnTo>
                  <a:pt x="258" y="360"/>
                </a:lnTo>
                <a:lnTo>
                  <a:pt x="258" y="366"/>
                </a:lnTo>
                <a:lnTo>
                  <a:pt x="258" y="366"/>
                </a:lnTo>
                <a:lnTo>
                  <a:pt x="264" y="360"/>
                </a:lnTo>
                <a:lnTo>
                  <a:pt x="270" y="366"/>
                </a:lnTo>
                <a:lnTo>
                  <a:pt x="276" y="360"/>
                </a:lnTo>
                <a:lnTo>
                  <a:pt x="276" y="360"/>
                </a:lnTo>
                <a:lnTo>
                  <a:pt x="276" y="360"/>
                </a:lnTo>
                <a:lnTo>
                  <a:pt x="282" y="360"/>
                </a:lnTo>
                <a:lnTo>
                  <a:pt x="282" y="366"/>
                </a:lnTo>
                <a:lnTo>
                  <a:pt x="282" y="372"/>
                </a:lnTo>
                <a:lnTo>
                  <a:pt x="282" y="366"/>
                </a:lnTo>
                <a:lnTo>
                  <a:pt x="288" y="366"/>
                </a:lnTo>
                <a:lnTo>
                  <a:pt x="288" y="372"/>
                </a:lnTo>
                <a:lnTo>
                  <a:pt x="288" y="372"/>
                </a:lnTo>
                <a:lnTo>
                  <a:pt x="294" y="366"/>
                </a:lnTo>
                <a:lnTo>
                  <a:pt x="300" y="366"/>
                </a:lnTo>
                <a:lnTo>
                  <a:pt x="300" y="372"/>
                </a:lnTo>
                <a:lnTo>
                  <a:pt x="306" y="372"/>
                </a:lnTo>
                <a:lnTo>
                  <a:pt x="318" y="366"/>
                </a:lnTo>
                <a:lnTo>
                  <a:pt x="318" y="366"/>
                </a:lnTo>
                <a:lnTo>
                  <a:pt x="318" y="360"/>
                </a:lnTo>
                <a:lnTo>
                  <a:pt x="318" y="360"/>
                </a:lnTo>
                <a:lnTo>
                  <a:pt x="318" y="360"/>
                </a:lnTo>
                <a:lnTo>
                  <a:pt x="318" y="354"/>
                </a:lnTo>
                <a:lnTo>
                  <a:pt x="318" y="354"/>
                </a:lnTo>
                <a:lnTo>
                  <a:pt x="318" y="360"/>
                </a:lnTo>
                <a:lnTo>
                  <a:pt x="324" y="360"/>
                </a:lnTo>
                <a:lnTo>
                  <a:pt x="324" y="360"/>
                </a:lnTo>
                <a:lnTo>
                  <a:pt x="324" y="360"/>
                </a:lnTo>
                <a:lnTo>
                  <a:pt x="318" y="360"/>
                </a:lnTo>
                <a:lnTo>
                  <a:pt x="324" y="366"/>
                </a:lnTo>
                <a:lnTo>
                  <a:pt x="324" y="366"/>
                </a:lnTo>
                <a:lnTo>
                  <a:pt x="324" y="372"/>
                </a:lnTo>
                <a:lnTo>
                  <a:pt x="324" y="372"/>
                </a:lnTo>
                <a:lnTo>
                  <a:pt x="318" y="372"/>
                </a:lnTo>
                <a:lnTo>
                  <a:pt x="318" y="372"/>
                </a:lnTo>
                <a:lnTo>
                  <a:pt x="318" y="378"/>
                </a:lnTo>
                <a:lnTo>
                  <a:pt x="318" y="378"/>
                </a:lnTo>
                <a:lnTo>
                  <a:pt x="312" y="384"/>
                </a:lnTo>
                <a:lnTo>
                  <a:pt x="312" y="384"/>
                </a:lnTo>
                <a:lnTo>
                  <a:pt x="306" y="384"/>
                </a:lnTo>
                <a:lnTo>
                  <a:pt x="306" y="384"/>
                </a:lnTo>
                <a:lnTo>
                  <a:pt x="306" y="384"/>
                </a:lnTo>
                <a:lnTo>
                  <a:pt x="306" y="384"/>
                </a:lnTo>
                <a:lnTo>
                  <a:pt x="306" y="384"/>
                </a:lnTo>
                <a:lnTo>
                  <a:pt x="306" y="390"/>
                </a:lnTo>
                <a:lnTo>
                  <a:pt x="306" y="390"/>
                </a:lnTo>
                <a:lnTo>
                  <a:pt x="306" y="390"/>
                </a:lnTo>
                <a:lnTo>
                  <a:pt x="306" y="390"/>
                </a:lnTo>
                <a:lnTo>
                  <a:pt x="306" y="396"/>
                </a:lnTo>
                <a:lnTo>
                  <a:pt x="300" y="390"/>
                </a:lnTo>
                <a:lnTo>
                  <a:pt x="294" y="396"/>
                </a:lnTo>
                <a:lnTo>
                  <a:pt x="294" y="396"/>
                </a:lnTo>
                <a:lnTo>
                  <a:pt x="294" y="396"/>
                </a:lnTo>
                <a:lnTo>
                  <a:pt x="288" y="402"/>
                </a:lnTo>
                <a:lnTo>
                  <a:pt x="288" y="402"/>
                </a:lnTo>
                <a:lnTo>
                  <a:pt x="288" y="402"/>
                </a:lnTo>
                <a:lnTo>
                  <a:pt x="282" y="402"/>
                </a:lnTo>
                <a:lnTo>
                  <a:pt x="282" y="408"/>
                </a:lnTo>
                <a:lnTo>
                  <a:pt x="282" y="408"/>
                </a:lnTo>
                <a:lnTo>
                  <a:pt x="276" y="408"/>
                </a:lnTo>
                <a:lnTo>
                  <a:pt x="276" y="408"/>
                </a:lnTo>
                <a:lnTo>
                  <a:pt x="276" y="408"/>
                </a:lnTo>
                <a:lnTo>
                  <a:pt x="276" y="408"/>
                </a:lnTo>
                <a:lnTo>
                  <a:pt x="276" y="414"/>
                </a:lnTo>
                <a:lnTo>
                  <a:pt x="276" y="414"/>
                </a:lnTo>
                <a:lnTo>
                  <a:pt x="270" y="414"/>
                </a:lnTo>
                <a:lnTo>
                  <a:pt x="270" y="414"/>
                </a:lnTo>
                <a:lnTo>
                  <a:pt x="270" y="414"/>
                </a:lnTo>
                <a:lnTo>
                  <a:pt x="270" y="414"/>
                </a:lnTo>
                <a:lnTo>
                  <a:pt x="264" y="414"/>
                </a:lnTo>
                <a:lnTo>
                  <a:pt x="264" y="420"/>
                </a:lnTo>
                <a:lnTo>
                  <a:pt x="258" y="414"/>
                </a:lnTo>
                <a:lnTo>
                  <a:pt x="258" y="414"/>
                </a:lnTo>
                <a:lnTo>
                  <a:pt x="258" y="420"/>
                </a:lnTo>
                <a:lnTo>
                  <a:pt x="258" y="420"/>
                </a:lnTo>
                <a:lnTo>
                  <a:pt x="258" y="420"/>
                </a:lnTo>
                <a:lnTo>
                  <a:pt x="252" y="420"/>
                </a:lnTo>
                <a:lnTo>
                  <a:pt x="252" y="420"/>
                </a:lnTo>
                <a:lnTo>
                  <a:pt x="258" y="420"/>
                </a:lnTo>
                <a:lnTo>
                  <a:pt x="258" y="426"/>
                </a:lnTo>
                <a:lnTo>
                  <a:pt x="258" y="426"/>
                </a:lnTo>
                <a:lnTo>
                  <a:pt x="258" y="426"/>
                </a:lnTo>
                <a:lnTo>
                  <a:pt x="258" y="432"/>
                </a:lnTo>
                <a:lnTo>
                  <a:pt x="252" y="432"/>
                </a:lnTo>
                <a:lnTo>
                  <a:pt x="252" y="432"/>
                </a:lnTo>
                <a:lnTo>
                  <a:pt x="252" y="438"/>
                </a:lnTo>
                <a:lnTo>
                  <a:pt x="252" y="438"/>
                </a:lnTo>
                <a:lnTo>
                  <a:pt x="252" y="438"/>
                </a:lnTo>
                <a:lnTo>
                  <a:pt x="252" y="438"/>
                </a:lnTo>
                <a:lnTo>
                  <a:pt x="252" y="444"/>
                </a:lnTo>
                <a:lnTo>
                  <a:pt x="246" y="444"/>
                </a:lnTo>
                <a:lnTo>
                  <a:pt x="246" y="444"/>
                </a:lnTo>
                <a:lnTo>
                  <a:pt x="246" y="444"/>
                </a:lnTo>
                <a:lnTo>
                  <a:pt x="246" y="450"/>
                </a:lnTo>
                <a:lnTo>
                  <a:pt x="246" y="450"/>
                </a:lnTo>
                <a:lnTo>
                  <a:pt x="246" y="450"/>
                </a:lnTo>
                <a:lnTo>
                  <a:pt x="246" y="456"/>
                </a:lnTo>
                <a:lnTo>
                  <a:pt x="240" y="456"/>
                </a:lnTo>
                <a:lnTo>
                  <a:pt x="240" y="456"/>
                </a:lnTo>
                <a:lnTo>
                  <a:pt x="234" y="462"/>
                </a:lnTo>
                <a:lnTo>
                  <a:pt x="234" y="462"/>
                </a:lnTo>
                <a:lnTo>
                  <a:pt x="234" y="462"/>
                </a:lnTo>
                <a:lnTo>
                  <a:pt x="228" y="468"/>
                </a:lnTo>
                <a:lnTo>
                  <a:pt x="228" y="468"/>
                </a:lnTo>
                <a:lnTo>
                  <a:pt x="228" y="468"/>
                </a:lnTo>
                <a:lnTo>
                  <a:pt x="228" y="468"/>
                </a:lnTo>
                <a:lnTo>
                  <a:pt x="222" y="480"/>
                </a:lnTo>
                <a:lnTo>
                  <a:pt x="222" y="480"/>
                </a:lnTo>
                <a:lnTo>
                  <a:pt x="222" y="486"/>
                </a:lnTo>
                <a:lnTo>
                  <a:pt x="222" y="492"/>
                </a:lnTo>
                <a:lnTo>
                  <a:pt x="216" y="492"/>
                </a:lnTo>
                <a:lnTo>
                  <a:pt x="216" y="492"/>
                </a:lnTo>
                <a:lnTo>
                  <a:pt x="204" y="498"/>
                </a:lnTo>
                <a:lnTo>
                  <a:pt x="204" y="498"/>
                </a:lnTo>
                <a:lnTo>
                  <a:pt x="198" y="498"/>
                </a:lnTo>
                <a:lnTo>
                  <a:pt x="192" y="498"/>
                </a:lnTo>
                <a:lnTo>
                  <a:pt x="192" y="492"/>
                </a:lnTo>
                <a:lnTo>
                  <a:pt x="192" y="492"/>
                </a:lnTo>
                <a:lnTo>
                  <a:pt x="192" y="492"/>
                </a:lnTo>
                <a:lnTo>
                  <a:pt x="192" y="486"/>
                </a:lnTo>
                <a:lnTo>
                  <a:pt x="192" y="486"/>
                </a:lnTo>
                <a:lnTo>
                  <a:pt x="192" y="486"/>
                </a:lnTo>
                <a:lnTo>
                  <a:pt x="192" y="480"/>
                </a:lnTo>
                <a:lnTo>
                  <a:pt x="186" y="480"/>
                </a:lnTo>
                <a:lnTo>
                  <a:pt x="186" y="480"/>
                </a:lnTo>
                <a:lnTo>
                  <a:pt x="186" y="480"/>
                </a:lnTo>
                <a:lnTo>
                  <a:pt x="180" y="480"/>
                </a:lnTo>
                <a:lnTo>
                  <a:pt x="180" y="480"/>
                </a:lnTo>
                <a:lnTo>
                  <a:pt x="180" y="480"/>
                </a:lnTo>
                <a:lnTo>
                  <a:pt x="180" y="480"/>
                </a:lnTo>
                <a:lnTo>
                  <a:pt x="180" y="480"/>
                </a:lnTo>
                <a:lnTo>
                  <a:pt x="174" y="480"/>
                </a:lnTo>
                <a:lnTo>
                  <a:pt x="174" y="480"/>
                </a:lnTo>
                <a:lnTo>
                  <a:pt x="174" y="480"/>
                </a:lnTo>
                <a:lnTo>
                  <a:pt x="174" y="480"/>
                </a:lnTo>
                <a:lnTo>
                  <a:pt x="168" y="480"/>
                </a:lnTo>
                <a:lnTo>
                  <a:pt x="168" y="480"/>
                </a:lnTo>
                <a:lnTo>
                  <a:pt x="168" y="480"/>
                </a:lnTo>
                <a:lnTo>
                  <a:pt x="168" y="480"/>
                </a:lnTo>
                <a:lnTo>
                  <a:pt x="162" y="480"/>
                </a:lnTo>
                <a:lnTo>
                  <a:pt x="162" y="486"/>
                </a:lnTo>
                <a:lnTo>
                  <a:pt x="162" y="486"/>
                </a:lnTo>
                <a:lnTo>
                  <a:pt x="162" y="486"/>
                </a:lnTo>
                <a:lnTo>
                  <a:pt x="162" y="486"/>
                </a:lnTo>
                <a:lnTo>
                  <a:pt x="162" y="486"/>
                </a:lnTo>
                <a:lnTo>
                  <a:pt x="156" y="486"/>
                </a:lnTo>
                <a:lnTo>
                  <a:pt x="156" y="486"/>
                </a:lnTo>
                <a:lnTo>
                  <a:pt x="156" y="486"/>
                </a:lnTo>
                <a:lnTo>
                  <a:pt x="156" y="486"/>
                </a:lnTo>
                <a:lnTo>
                  <a:pt x="150" y="486"/>
                </a:lnTo>
                <a:lnTo>
                  <a:pt x="150" y="486"/>
                </a:lnTo>
                <a:lnTo>
                  <a:pt x="150" y="486"/>
                </a:lnTo>
                <a:lnTo>
                  <a:pt x="150" y="486"/>
                </a:lnTo>
                <a:lnTo>
                  <a:pt x="150" y="486"/>
                </a:lnTo>
                <a:lnTo>
                  <a:pt x="144" y="486"/>
                </a:lnTo>
                <a:lnTo>
                  <a:pt x="144" y="486"/>
                </a:lnTo>
                <a:lnTo>
                  <a:pt x="144" y="486"/>
                </a:lnTo>
                <a:lnTo>
                  <a:pt x="144" y="486"/>
                </a:lnTo>
                <a:lnTo>
                  <a:pt x="144" y="486"/>
                </a:lnTo>
                <a:lnTo>
                  <a:pt x="138" y="480"/>
                </a:lnTo>
                <a:lnTo>
                  <a:pt x="138" y="480"/>
                </a:lnTo>
                <a:lnTo>
                  <a:pt x="138" y="480"/>
                </a:lnTo>
                <a:lnTo>
                  <a:pt x="138" y="480"/>
                </a:lnTo>
                <a:lnTo>
                  <a:pt x="138" y="480"/>
                </a:lnTo>
                <a:lnTo>
                  <a:pt x="138" y="480"/>
                </a:lnTo>
                <a:lnTo>
                  <a:pt x="138" y="480"/>
                </a:lnTo>
                <a:lnTo>
                  <a:pt x="132" y="480"/>
                </a:lnTo>
                <a:lnTo>
                  <a:pt x="132" y="480"/>
                </a:lnTo>
                <a:lnTo>
                  <a:pt x="132" y="474"/>
                </a:lnTo>
                <a:lnTo>
                  <a:pt x="132" y="474"/>
                </a:lnTo>
                <a:lnTo>
                  <a:pt x="132" y="474"/>
                </a:lnTo>
                <a:lnTo>
                  <a:pt x="132" y="474"/>
                </a:lnTo>
                <a:lnTo>
                  <a:pt x="132" y="474"/>
                </a:lnTo>
                <a:lnTo>
                  <a:pt x="132" y="474"/>
                </a:lnTo>
                <a:lnTo>
                  <a:pt x="132" y="474"/>
                </a:lnTo>
                <a:lnTo>
                  <a:pt x="132" y="474"/>
                </a:lnTo>
                <a:lnTo>
                  <a:pt x="132" y="474"/>
                </a:lnTo>
                <a:lnTo>
                  <a:pt x="126" y="474"/>
                </a:lnTo>
                <a:lnTo>
                  <a:pt x="126" y="468"/>
                </a:lnTo>
                <a:lnTo>
                  <a:pt x="126" y="474"/>
                </a:lnTo>
                <a:lnTo>
                  <a:pt x="126" y="468"/>
                </a:lnTo>
                <a:lnTo>
                  <a:pt x="126" y="468"/>
                </a:lnTo>
                <a:lnTo>
                  <a:pt x="126" y="468"/>
                </a:lnTo>
                <a:lnTo>
                  <a:pt x="126" y="468"/>
                </a:lnTo>
                <a:lnTo>
                  <a:pt x="126" y="468"/>
                </a:lnTo>
                <a:lnTo>
                  <a:pt x="126" y="468"/>
                </a:lnTo>
                <a:lnTo>
                  <a:pt x="120" y="468"/>
                </a:lnTo>
                <a:lnTo>
                  <a:pt x="120" y="468"/>
                </a:lnTo>
                <a:lnTo>
                  <a:pt x="120" y="468"/>
                </a:lnTo>
                <a:lnTo>
                  <a:pt x="120" y="468"/>
                </a:lnTo>
                <a:lnTo>
                  <a:pt x="120" y="468"/>
                </a:lnTo>
                <a:lnTo>
                  <a:pt x="120" y="462"/>
                </a:lnTo>
                <a:lnTo>
                  <a:pt x="120" y="462"/>
                </a:lnTo>
                <a:lnTo>
                  <a:pt x="120" y="462"/>
                </a:lnTo>
                <a:lnTo>
                  <a:pt x="114" y="462"/>
                </a:lnTo>
                <a:lnTo>
                  <a:pt x="114" y="462"/>
                </a:lnTo>
                <a:lnTo>
                  <a:pt x="114" y="462"/>
                </a:lnTo>
                <a:lnTo>
                  <a:pt x="114" y="462"/>
                </a:lnTo>
                <a:lnTo>
                  <a:pt x="114" y="468"/>
                </a:lnTo>
                <a:lnTo>
                  <a:pt x="108" y="468"/>
                </a:lnTo>
                <a:lnTo>
                  <a:pt x="108" y="462"/>
                </a:lnTo>
                <a:lnTo>
                  <a:pt x="108" y="468"/>
                </a:lnTo>
                <a:lnTo>
                  <a:pt x="108" y="468"/>
                </a:lnTo>
                <a:lnTo>
                  <a:pt x="108" y="468"/>
                </a:lnTo>
                <a:lnTo>
                  <a:pt x="108" y="468"/>
                </a:lnTo>
                <a:lnTo>
                  <a:pt x="108" y="468"/>
                </a:lnTo>
                <a:lnTo>
                  <a:pt x="108" y="468"/>
                </a:lnTo>
                <a:lnTo>
                  <a:pt x="108" y="468"/>
                </a:lnTo>
                <a:lnTo>
                  <a:pt x="108" y="468"/>
                </a:lnTo>
                <a:lnTo>
                  <a:pt x="102" y="468"/>
                </a:lnTo>
                <a:lnTo>
                  <a:pt x="102" y="468"/>
                </a:lnTo>
                <a:lnTo>
                  <a:pt x="102" y="468"/>
                </a:lnTo>
                <a:lnTo>
                  <a:pt x="102" y="468"/>
                </a:lnTo>
                <a:lnTo>
                  <a:pt x="102" y="468"/>
                </a:lnTo>
                <a:lnTo>
                  <a:pt x="102" y="468"/>
                </a:lnTo>
                <a:lnTo>
                  <a:pt x="102" y="468"/>
                </a:lnTo>
                <a:lnTo>
                  <a:pt x="102" y="468"/>
                </a:lnTo>
                <a:lnTo>
                  <a:pt x="102" y="468"/>
                </a:lnTo>
                <a:lnTo>
                  <a:pt x="102" y="468"/>
                </a:lnTo>
                <a:lnTo>
                  <a:pt x="102" y="468"/>
                </a:lnTo>
                <a:lnTo>
                  <a:pt x="102" y="468"/>
                </a:lnTo>
                <a:lnTo>
                  <a:pt x="96" y="468"/>
                </a:lnTo>
                <a:lnTo>
                  <a:pt x="96" y="468"/>
                </a:lnTo>
                <a:lnTo>
                  <a:pt x="96" y="468"/>
                </a:lnTo>
                <a:lnTo>
                  <a:pt x="96" y="468"/>
                </a:lnTo>
                <a:lnTo>
                  <a:pt x="96" y="468"/>
                </a:lnTo>
                <a:lnTo>
                  <a:pt x="96" y="468"/>
                </a:lnTo>
                <a:lnTo>
                  <a:pt x="96" y="468"/>
                </a:lnTo>
                <a:lnTo>
                  <a:pt x="96" y="468"/>
                </a:lnTo>
                <a:lnTo>
                  <a:pt x="90" y="468"/>
                </a:lnTo>
                <a:lnTo>
                  <a:pt x="90" y="468"/>
                </a:lnTo>
                <a:lnTo>
                  <a:pt x="90" y="468"/>
                </a:lnTo>
                <a:lnTo>
                  <a:pt x="90" y="468"/>
                </a:lnTo>
                <a:lnTo>
                  <a:pt x="90" y="468"/>
                </a:lnTo>
                <a:lnTo>
                  <a:pt x="90" y="468"/>
                </a:lnTo>
                <a:lnTo>
                  <a:pt x="90" y="468"/>
                </a:lnTo>
                <a:lnTo>
                  <a:pt x="84" y="468"/>
                </a:lnTo>
                <a:lnTo>
                  <a:pt x="84" y="468"/>
                </a:lnTo>
                <a:lnTo>
                  <a:pt x="84" y="468"/>
                </a:lnTo>
                <a:lnTo>
                  <a:pt x="84" y="468"/>
                </a:lnTo>
                <a:lnTo>
                  <a:pt x="84" y="468"/>
                </a:lnTo>
                <a:lnTo>
                  <a:pt x="84" y="468"/>
                </a:lnTo>
                <a:lnTo>
                  <a:pt x="84" y="468"/>
                </a:lnTo>
                <a:lnTo>
                  <a:pt x="84" y="468"/>
                </a:lnTo>
                <a:lnTo>
                  <a:pt x="84" y="468"/>
                </a:lnTo>
                <a:lnTo>
                  <a:pt x="78" y="468"/>
                </a:lnTo>
                <a:lnTo>
                  <a:pt x="78" y="468"/>
                </a:lnTo>
                <a:lnTo>
                  <a:pt x="78" y="468"/>
                </a:lnTo>
                <a:lnTo>
                  <a:pt x="78" y="468"/>
                </a:lnTo>
                <a:lnTo>
                  <a:pt x="78" y="468"/>
                </a:lnTo>
                <a:lnTo>
                  <a:pt x="78" y="468"/>
                </a:lnTo>
                <a:lnTo>
                  <a:pt x="78" y="468"/>
                </a:lnTo>
                <a:lnTo>
                  <a:pt x="78" y="462"/>
                </a:lnTo>
                <a:lnTo>
                  <a:pt x="78" y="462"/>
                </a:lnTo>
                <a:lnTo>
                  <a:pt x="78" y="468"/>
                </a:lnTo>
                <a:lnTo>
                  <a:pt x="78" y="462"/>
                </a:lnTo>
                <a:lnTo>
                  <a:pt x="78" y="468"/>
                </a:lnTo>
                <a:lnTo>
                  <a:pt x="78" y="468"/>
                </a:lnTo>
                <a:lnTo>
                  <a:pt x="72" y="468"/>
                </a:lnTo>
                <a:lnTo>
                  <a:pt x="72" y="468"/>
                </a:lnTo>
                <a:lnTo>
                  <a:pt x="72" y="462"/>
                </a:lnTo>
                <a:lnTo>
                  <a:pt x="72" y="462"/>
                </a:lnTo>
                <a:lnTo>
                  <a:pt x="72" y="462"/>
                </a:lnTo>
                <a:lnTo>
                  <a:pt x="72" y="462"/>
                </a:lnTo>
                <a:lnTo>
                  <a:pt x="66" y="462"/>
                </a:lnTo>
                <a:lnTo>
                  <a:pt x="66" y="462"/>
                </a:lnTo>
                <a:lnTo>
                  <a:pt x="66" y="462"/>
                </a:lnTo>
                <a:lnTo>
                  <a:pt x="66" y="462"/>
                </a:lnTo>
                <a:lnTo>
                  <a:pt x="66" y="462"/>
                </a:lnTo>
                <a:lnTo>
                  <a:pt x="66" y="462"/>
                </a:lnTo>
                <a:lnTo>
                  <a:pt x="66" y="462"/>
                </a:lnTo>
                <a:lnTo>
                  <a:pt x="66" y="462"/>
                </a:lnTo>
                <a:lnTo>
                  <a:pt x="66" y="462"/>
                </a:lnTo>
                <a:lnTo>
                  <a:pt x="66" y="462"/>
                </a:lnTo>
                <a:lnTo>
                  <a:pt x="60" y="462"/>
                </a:lnTo>
                <a:lnTo>
                  <a:pt x="60" y="462"/>
                </a:lnTo>
                <a:lnTo>
                  <a:pt x="60" y="462"/>
                </a:lnTo>
                <a:lnTo>
                  <a:pt x="60" y="462"/>
                </a:lnTo>
                <a:lnTo>
                  <a:pt x="60" y="462"/>
                </a:lnTo>
                <a:lnTo>
                  <a:pt x="60" y="456"/>
                </a:lnTo>
                <a:lnTo>
                  <a:pt x="60" y="462"/>
                </a:lnTo>
                <a:lnTo>
                  <a:pt x="60" y="462"/>
                </a:lnTo>
                <a:lnTo>
                  <a:pt x="60" y="462"/>
                </a:lnTo>
                <a:lnTo>
                  <a:pt x="54" y="462"/>
                </a:lnTo>
                <a:lnTo>
                  <a:pt x="54" y="456"/>
                </a:lnTo>
                <a:lnTo>
                  <a:pt x="54" y="456"/>
                </a:lnTo>
                <a:lnTo>
                  <a:pt x="54" y="456"/>
                </a:lnTo>
                <a:lnTo>
                  <a:pt x="54" y="456"/>
                </a:lnTo>
                <a:lnTo>
                  <a:pt x="54" y="450"/>
                </a:lnTo>
                <a:lnTo>
                  <a:pt x="54" y="450"/>
                </a:lnTo>
                <a:lnTo>
                  <a:pt x="54" y="450"/>
                </a:lnTo>
                <a:lnTo>
                  <a:pt x="54" y="450"/>
                </a:lnTo>
                <a:lnTo>
                  <a:pt x="54" y="450"/>
                </a:lnTo>
                <a:lnTo>
                  <a:pt x="54" y="444"/>
                </a:lnTo>
                <a:lnTo>
                  <a:pt x="54" y="444"/>
                </a:lnTo>
                <a:lnTo>
                  <a:pt x="54" y="444"/>
                </a:lnTo>
                <a:lnTo>
                  <a:pt x="54" y="444"/>
                </a:lnTo>
                <a:lnTo>
                  <a:pt x="48" y="444"/>
                </a:lnTo>
                <a:lnTo>
                  <a:pt x="48" y="444"/>
                </a:lnTo>
                <a:lnTo>
                  <a:pt x="48" y="444"/>
                </a:lnTo>
                <a:lnTo>
                  <a:pt x="48" y="438"/>
                </a:lnTo>
                <a:lnTo>
                  <a:pt x="48" y="438"/>
                </a:lnTo>
                <a:lnTo>
                  <a:pt x="48" y="438"/>
                </a:lnTo>
                <a:lnTo>
                  <a:pt x="48" y="438"/>
                </a:lnTo>
                <a:lnTo>
                  <a:pt x="48" y="438"/>
                </a:lnTo>
                <a:lnTo>
                  <a:pt x="48" y="438"/>
                </a:lnTo>
                <a:lnTo>
                  <a:pt x="48" y="438"/>
                </a:lnTo>
                <a:lnTo>
                  <a:pt x="48" y="438"/>
                </a:lnTo>
                <a:lnTo>
                  <a:pt x="48" y="432"/>
                </a:lnTo>
                <a:lnTo>
                  <a:pt x="42" y="432"/>
                </a:lnTo>
                <a:lnTo>
                  <a:pt x="42" y="432"/>
                </a:lnTo>
                <a:lnTo>
                  <a:pt x="48" y="432"/>
                </a:lnTo>
                <a:lnTo>
                  <a:pt x="48" y="432"/>
                </a:lnTo>
                <a:lnTo>
                  <a:pt x="48" y="432"/>
                </a:lnTo>
                <a:lnTo>
                  <a:pt x="48" y="426"/>
                </a:lnTo>
                <a:lnTo>
                  <a:pt x="48" y="432"/>
                </a:lnTo>
                <a:lnTo>
                  <a:pt x="48" y="426"/>
                </a:lnTo>
                <a:lnTo>
                  <a:pt x="48" y="426"/>
                </a:lnTo>
                <a:lnTo>
                  <a:pt x="48" y="426"/>
                </a:lnTo>
                <a:lnTo>
                  <a:pt x="48" y="426"/>
                </a:lnTo>
                <a:lnTo>
                  <a:pt x="48" y="420"/>
                </a:lnTo>
                <a:lnTo>
                  <a:pt x="48" y="420"/>
                </a:lnTo>
                <a:lnTo>
                  <a:pt x="48" y="420"/>
                </a:lnTo>
                <a:lnTo>
                  <a:pt x="42" y="420"/>
                </a:lnTo>
                <a:lnTo>
                  <a:pt x="42" y="420"/>
                </a:lnTo>
                <a:lnTo>
                  <a:pt x="42" y="420"/>
                </a:lnTo>
                <a:lnTo>
                  <a:pt x="42" y="414"/>
                </a:lnTo>
                <a:lnTo>
                  <a:pt x="42" y="414"/>
                </a:lnTo>
                <a:lnTo>
                  <a:pt x="42" y="414"/>
                </a:lnTo>
                <a:lnTo>
                  <a:pt x="42" y="414"/>
                </a:lnTo>
                <a:lnTo>
                  <a:pt x="42" y="414"/>
                </a:lnTo>
                <a:lnTo>
                  <a:pt x="42" y="414"/>
                </a:lnTo>
                <a:lnTo>
                  <a:pt x="42" y="414"/>
                </a:lnTo>
                <a:lnTo>
                  <a:pt x="42" y="408"/>
                </a:lnTo>
                <a:lnTo>
                  <a:pt x="42" y="408"/>
                </a:lnTo>
                <a:lnTo>
                  <a:pt x="42" y="408"/>
                </a:lnTo>
                <a:lnTo>
                  <a:pt x="42" y="408"/>
                </a:lnTo>
                <a:lnTo>
                  <a:pt x="42" y="408"/>
                </a:lnTo>
                <a:lnTo>
                  <a:pt x="42" y="402"/>
                </a:lnTo>
                <a:lnTo>
                  <a:pt x="42" y="402"/>
                </a:lnTo>
                <a:lnTo>
                  <a:pt x="42" y="402"/>
                </a:lnTo>
                <a:lnTo>
                  <a:pt x="48" y="402"/>
                </a:lnTo>
                <a:lnTo>
                  <a:pt x="42" y="396"/>
                </a:lnTo>
                <a:lnTo>
                  <a:pt x="42" y="396"/>
                </a:lnTo>
                <a:lnTo>
                  <a:pt x="42" y="396"/>
                </a:lnTo>
                <a:lnTo>
                  <a:pt x="42" y="390"/>
                </a:lnTo>
                <a:lnTo>
                  <a:pt x="42" y="390"/>
                </a:lnTo>
                <a:lnTo>
                  <a:pt x="42" y="390"/>
                </a:lnTo>
                <a:lnTo>
                  <a:pt x="42" y="390"/>
                </a:lnTo>
                <a:lnTo>
                  <a:pt x="42" y="384"/>
                </a:lnTo>
                <a:lnTo>
                  <a:pt x="42" y="384"/>
                </a:lnTo>
                <a:lnTo>
                  <a:pt x="42" y="384"/>
                </a:lnTo>
                <a:lnTo>
                  <a:pt x="42" y="384"/>
                </a:lnTo>
                <a:lnTo>
                  <a:pt x="36" y="378"/>
                </a:lnTo>
                <a:lnTo>
                  <a:pt x="42" y="378"/>
                </a:lnTo>
                <a:lnTo>
                  <a:pt x="42" y="378"/>
                </a:lnTo>
                <a:lnTo>
                  <a:pt x="42" y="372"/>
                </a:lnTo>
                <a:lnTo>
                  <a:pt x="42" y="372"/>
                </a:lnTo>
                <a:lnTo>
                  <a:pt x="42" y="372"/>
                </a:lnTo>
                <a:lnTo>
                  <a:pt x="42" y="366"/>
                </a:lnTo>
                <a:lnTo>
                  <a:pt x="48" y="366"/>
                </a:lnTo>
                <a:lnTo>
                  <a:pt x="48" y="366"/>
                </a:lnTo>
                <a:lnTo>
                  <a:pt x="48" y="360"/>
                </a:lnTo>
                <a:lnTo>
                  <a:pt x="48" y="360"/>
                </a:lnTo>
                <a:lnTo>
                  <a:pt x="48" y="360"/>
                </a:lnTo>
                <a:lnTo>
                  <a:pt x="48" y="354"/>
                </a:lnTo>
                <a:lnTo>
                  <a:pt x="48" y="348"/>
                </a:lnTo>
                <a:lnTo>
                  <a:pt x="48" y="342"/>
                </a:lnTo>
                <a:lnTo>
                  <a:pt x="48" y="342"/>
                </a:lnTo>
                <a:lnTo>
                  <a:pt x="48" y="342"/>
                </a:lnTo>
                <a:lnTo>
                  <a:pt x="48" y="336"/>
                </a:lnTo>
                <a:lnTo>
                  <a:pt x="42" y="336"/>
                </a:lnTo>
                <a:lnTo>
                  <a:pt x="42" y="336"/>
                </a:lnTo>
                <a:lnTo>
                  <a:pt x="42" y="336"/>
                </a:lnTo>
                <a:lnTo>
                  <a:pt x="42" y="330"/>
                </a:lnTo>
                <a:lnTo>
                  <a:pt x="42" y="330"/>
                </a:lnTo>
                <a:lnTo>
                  <a:pt x="42" y="330"/>
                </a:lnTo>
                <a:lnTo>
                  <a:pt x="42" y="330"/>
                </a:lnTo>
                <a:lnTo>
                  <a:pt x="42" y="330"/>
                </a:lnTo>
                <a:lnTo>
                  <a:pt x="42" y="324"/>
                </a:lnTo>
                <a:lnTo>
                  <a:pt x="42" y="324"/>
                </a:lnTo>
                <a:lnTo>
                  <a:pt x="42" y="324"/>
                </a:lnTo>
                <a:lnTo>
                  <a:pt x="42" y="324"/>
                </a:lnTo>
                <a:lnTo>
                  <a:pt x="42" y="318"/>
                </a:lnTo>
                <a:lnTo>
                  <a:pt x="42" y="318"/>
                </a:lnTo>
                <a:lnTo>
                  <a:pt x="36" y="318"/>
                </a:lnTo>
                <a:lnTo>
                  <a:pt x="36" y="312"/>
                </a:lnTo>
                <a:lnTo>
                  <a:pt x="36" y="312"/>
                </a:lnTo>
                <a:lnTo>
                  <a:pt x="36" y="312"/>
                </a:lnTo>
                <a:lnTo>
                  <a:pt x="36" y="312"/>
                </a:lnTo>
                <a:lnTo>
                  <a:pt x="36" y="306"/>
                </a:lnTo>
                <a:lnTo>
                  <a:pt x="36" y="300"/>
                </a:lnTo>
                <a:lnTo>
                  <a:pt x="36" y="300"/>
                </a:lnTo>
                <a:lnTo>
                  <a:pt x="36" y="294"/>
                </a:lnTo>
                <a:lnTo>
                  <a:pt x="30" y="288"/>
                </a:lnTo>
                <a:lnTo>
                  <a:pt x="30" y="288"/>
                </a:lnTo>
                <a:lnTo>
                  <a:pt x="36" y="282"/>
                </a:lnTo>
                <a:lnTo>
                  <a:pt x="30" y="282"/>
                </a:lnTo>
                <a:lnTo>
                  <a:pt x="30" y="282"/>
                </a:lnTo>
                <a:lnTo>
                  <a:pt x="30" y="276"/>
                </a:lnTo>
                <a:lnTo>
                  <a:pt x="30" y="276"/>
                </a:lnTo>
                <a:lnTo>
                  <a:pt x="30" y="276"/>
                </a:lnTo>
                <a:lnTo>
                  <a:pt x="30" y="270"/>
                </a:lnTo>
                <a:lnTo>
                  <a:pt x="30" y="270"/>
                </a:lnTo>
                <a:lnTo>
                  <a:pt x="30" y="270"/>
                </a:lnTo>
                <a:lnTo>
                  <a:pt x="30" y="264"/>
                </a:lnTo>
                <a:lnTo>
                  <a:pt x="36" y="258"/>
                </a:lnTo>
                <a:lnTo>
                  <a:pt x="36" y="252"/>
                </a:lnTo>
                <a:lnTo>
                  <a:pt x="36" y="252"/>
                </a:lnTo>
                <a:lnTo>
                  <a:pt x="36" y="252"/>
                </a:lnTo>
                <a:lnTo>
                  <a:pt x="36" y="252"/>
                </a:lnTo>
                <a:lnTo>
                  <a:pt x="36" y="252"/>
                </a:lnTo>
                <a:lnTo>
                  <a:pt x="36" y="252"/>
                </a:lnTo>
                <a:lnTo>
                  <a:pt x="42" y="252"/>
                </a:lnTo>
                <a:lnTo>
                  <a:pt x="42" y="252"/>
                </a:lnTo>
                <a:lnTo>
                  <a:pt x="42" y="252"/>
                </a:lnTo>
                <a:lnTo>
                  <a:pt x="48" y="246"/>
                </a:lnTo>
                <a:lnTo>
                  <a:pt x="48" y="246"/>
                </a:lnTo>
                <a:lnTo>
                  <a:pt x="48" y="246"/>
                </a:lnTo>
                <a:lnTo>
                  <a:pt x="48" y="246"/>
                </a:lnTo>
                <a:lnTo>
                  <a:pt x="54" y="246"/>
                </a:lnTo>
                <a:lnTo>
                  <a:pt x="54" y="246"/>
                </a:lnTo>
                <a:lnTo>
                  <a:pt x="54" y="252"/>
                </a:lnTo>
                <a:lnTo>
                  <a:pt x="54" y="252"/>
                </a:lnTo>
                <a:lnTo>
                  <a:pt x="54" y="246"/>
                </a:lnTo>
                <a:lnTo>
                  <a:pt x="60" y="246"/>
                </a:lnTo>
                <a:lnTo>
                  <a:pt x="60" y="246"/>
                </a:lnTo>
                <a:lnTo>
                  <a:pt x="60" y="246"/>
                </a:lnTo>
                <a:lnTo>
                  <a:pt x="60" y="246"/>
                </a:lnTo>
                <a:lnTo>
                  <a:pt x="60" y="246"/>
                </a:lnTo>
                <a:lnTo>
                  <a:pt x="60" y="240"/>
                </a:lnTo>
                <a:lnTo>
                  <a:pt x="60" y="240"/>
                </a:lnTo>
                <a:lnTo>
                  <a:pt x="60" y="240"/>
                </a:lnTo>
                <a:lnTo>
                  <a:pt x="60" y="240"/>
                </a:lnTo>
                <a:lnTo>
                  <a:pt x="60" y="234"/>
                </a:lnTo>
                <a:lnTo>
                  <a:pt x="60" y="234"/>
                </a:lnTo>
                <a:lnTo>
                  <a:pt x="60" y="234"/>
                </a:lnTo>
                <a:lnTo>
                  <a:pt x="60" y="234"/>
                </a:lnTo>
                <a:lnTo>
                  <a:pt x="60" y="234"/>
                </a:lnTo>
                <a:lnTo>
                  <a:pt x="60" y="234"/>
                </a:lnTo>
                <a:lnTo>
                  <a:pt x="60" y="234"/>
                </a:lnTo>
                <a:lnTo>
                  <a:pt x="60" y="234"/>
                </a:lnTo>
                <a:lnTo>
                  <a:pt x="60" y="234"/>
                </a:lnTo>
                <a:lnTo>
                  <a:pt x="60" y="234"/>
                </a:lnTo>
                <a:lnTo>
                  <a:pt x="60" y="234"/>
                </a:lnTo>
                <a:lnTo>
                  <a:pt x="60" y="228"/>
                </a:lnTo>
                <a:lnTo>
                  <a:pt x="60" y="228"/>
                </a:lnTo>
                <a:lnTo>
                  <a:pt x="60" y="228"/>
                </a:lnTo>
                <a:lnTo>
                  <a:pt x="60" y="228"/>
                </a:lnTo>
                <a:lnTo>
                  <a:pt x="60" y="228"/>
                </a:lnTo>
                <a:lnTo>
                  <a:pt x="66" y="228"/>
                </a:lnTo>
                <a:lnTo>
                  <a:pt x="66" y="228"/>
                </a:lnTo>
                <a:lnTo>
                  <a:pt x="66" y="228"/>
                </a:lnTo>
                <a:lnTo>
                  <a:pt x="66" y="228"/>
                </a:lnTo>
                <a:lnTo>
                  <a:pt x="66" y="228"/>
                </a:lnTo>
                <a:lnTo>
                  <a:pt x="72" y="228"/>
                </a:lnTo>
                <a:lnTo>
                  <a:pt x="72" y="222"/>
                </a:lnTo>
                <a:lnTo>
                  <a:pt x="72" y="222"/>
                </a:lnTo>
                <a:lnTo>
                  <a:pt x="72" y="222"/>
                </a:lnTo>
                <a:lnTo>
                  <a:pt x="72" y="216"/>
                </a:lnTo>
                <a:lnTo>
                  <a:pt x="72" y="216"/>
                </a:lnTo>
                <a:lnTo>
                  <a:pt x="72" y="216"/>
                </a:lnTo>
                <a:lnTo>
                  <a:pt x="72" y="216"/>
                </a:lnTo>
                <a:lnTo>
                  <a:pt x="72" y="210"/>
                </a:lnTo>
                <a:lnTo>
                  <a:pt x="72" y="210"/>
                </a:lnTo>
                <a:lnTo>
                  <a:pt x="72" y="210"/>
                </a:lnTo>
                <a:lnTo>
                  <a:pt x="72" y="210"/>
                </a:lnTo>
                <a:lnTo>
                  <a:pt x="78" y="198"/>
                </a:lnTo>
                <a:lnTo>
                  <a:pt x="84" y="198"/>
                </a:lnTo>
                <a:lnTo>
                  <a:pt x="90" y="180"/>
                </a:lnTo>
                <a:lnTo>
                  <a:pt x="90" y="180"/>
                </a:lnTo>
                <a:lnTo>
                  <a:pt x="90" y="180"/>
                </a:lnTo>
                <a:lnTo>
                  <a:pt x="90" y="180"/>
                </a:lnTo>
                <a:lnTo>
                  <a:pt x="84" y="180"/>
                </a:lnTo>
                <a:lnTo>
                  <a:pt x="84" y="180"/>
                </a:lnTo>
                <a:lnTo>
                  <a:pt x="84" y="186"/>
                </a:lnTo>
                <a:lnTo>
                  <a:pt x="84" y="186"/>
                </a:lnTo>
                <a:lnTo>
                  <a:pt x="78" y="186"/>
                </a:lnTo>
                <a:lnTo>
                  <a:pt x="78" y="186"/>
                </a:lnTo>
                <a:lnTo>
                  <a:pt x="78" y="186"/>
                </a:lnTo>
                <a:lnTo>
                  <a:pt x="78" y="180"/>
                </a:lnTo>
                <a:lnTo>
                  <a:pt x="78" y="180"/>
                </a:lnTo>
                <a:lnTo>
                  <a:pt x="78" y="180"/>
                </a:lnTo>
                <a:lnTo>
                  <a:pt x="78" y="180"/>
                </a:lnTo>
                <a:lnTo>
                  <a:pt x="72" y="180"/>
                </a:lnTo>
                <a:lnTo>
                  <a:pt x="72" y="180"/>
                </a:lnTo>
                <a:lnTo>
                  <a:pt x="72" y="180"/>
                </a:lnTo>
                <a:lnTo>
                  <a:pt x="72" y="180"/>
                </a:lnTo>
                <a:lnTo>
                  <a:pt x="66" y="180"/>
                </a:lnTo>
                <a:lnTo>
                  <a:pt x="66" y="180"/>
                </a:lnTo>
                <a:lnTo>
                  <a:pt x="66" y="180"/>
                </a:lnTo>
                <a:lnTo>
                  <a:pt x="66" y="180"/>
                </a:lnTo>
                <a:lnTo>
                  <a:pt x="66" y="180"/>
                </a:lnTo>
                <a:lnTo>
                  <a:pt x="66" y="180"/>
                </a:lnTo>
                <a:lnTo>
                  <a:pt x="66" y="180"/>
                </a:lnTo>
                <a:lnTo>
                  <a:pt x="66" y="180"/>
                </a:lnTo>
                <a:lnTo>
                  <a:pt x="60" y="180"/>
                </a:lnTo>
                <a:lnTo>
                  <a:pt x="60" y="180"/>
                </a:lnTo>
                <a:lnTo>
                  <a:pt x="60" y="180"/>
                </a:lnTo>
                <a:lnTo>
                  <a:pt x="60" y="180"/>
                </a:lnTo>
                <a:lnTo>
                  <a:pt x="60" y="174"/>
                </a:lnTo>
                <a:lnTo>
                  <a:pt x="60" y="174"/>
                </a:lnTo>
                <a:lnTo>
                  <a:pt x="60" y="174"/>
                </a:lnTo>
                <a:lnTo>
                  <a:pt x="60" y="174"/>
                </a:lnTo>
                <a:lnTo>
                  <a:pt x="60" y="174"/>
                </a:lnTo>
                <a:lnTo>
                  <a:pt x="60" y="174"/>
                </a:lnTo>
                <a:lnTo>
                  <a:pt x="60" y="174"/>
                </a:lnTo>
                <a:lnTo>
                  <a:pt x="60" y="174"/>
                </a:lnTo>
                <a:lnTo>
                  <a:pt x="60" y="168"/>
                </a:lnTo>
                <a:lnTo>
                  <a:pt x="60" y="168"/>
                </a:lnTo>
                <a:lnTo>
                  <a:pt x="66" y="168"/>
                </a:lnTo>
                <a:lnTo>
                  <a:pt x="66" y="168"/>
                </a:lnTo>
                <a:lnTo>
                  <a:pt x="66" y="168"/>
                </a:lnTo>
                <a:lnTo>
                  <a:pt x="54" y="168"/>
                </a:lnTo>
                <a:lnTo>
                  <a:pt x="54" y="168"/>
                </a:lnTo>
                <a:lnTo>
                  <a:pt x="54" y="168"/>
                </a:lnTo>
                <a:lnTo>
                  <a:pt x="48" y="174"/>
                </a:lnTo>
                <a:lnTo>
                  <a:pt x="48" y="174"/>
                </a:lnTo>
                <a:lnTo>
                  <a:pt x="42" y="174"/>
                </a:lnTo>
                <a:lnTo>
                  <a:pt x="36" y="174"/>
                </a:lnTo>
                <a:lnTo>
                  <a:pt x="36" y="174"/>
                </a:lnTo>
                <a:lnTo>
                  <a:pt x="36" y="174"/>
                </a:lnTo>
                <a:lnTo>
                  <a:pt x="36" y="174"/>
                </a:lnTo>
                <a:lnTo>
                  <a:pt x="30" y="174"/>
                </a:lnTo>
                <a:lnTo>
                  <a:pt x="30" y="168"/>
                </a:lnTo>
                <a:lnTo>
                  <a:pt x="30" y="162"/>
                </a:lnTo>
                <a:lnTo>
                  <a:pt x="30" y="162"/>
                </a:lnTo>
                <a:lnTo>
                  <a:pt x="24" y="162"/>
                </a:lnTo>
                <a:lnTo>
                  <a:pt x="24" y="162"/>
                </a:lnTo>
                <a:lnTo>
                  <a:pt x="24" y="162"/>
                </a:lnTo>
                <a:lnTo>
                  <a:pt x="24" y="162"/>
                </a:lnTo>
                <a:lnTo>
                  <a:pt x="24" y="162"/>
                </a:lnTo>
                <a:lnTo>
                  <a:pt x="24" y="162"/>
                </a:lnTo>
                <a:lnTo>
                  <a:pt x="24" y="162"/>
                </a:lnTo>
                <a:lnTo>
                  <a:pt x="18" y="162"/>
                </a:lnTo>
                <a:lnTo>
                  <a:pt x="18" y="162"/>
                </a:lnTo>
                <a:lnTo>
                  <a:pt x="18" y="162"/>
                </a:lnTo>
                <a:lnTo>
                  <a:pt x="18" y="162"/>
                </a:lnTo>
                <a:lnTo>
                  <a:pt x="18" y="162"/>
                </a:lnTo>
                <a:lnTo>
                  <a:pt x="18" y="162"/>
                </a:lnTo>
                <a:lnTo>
                  <a:pt x="18" y="162"/>
                </a:lnTo>
                <a:lnTo>
                  <a:pt x="18" y="162"/>
                </a:lnTo>
                <a:lnTo>
                  <a:pt x="18" y="162"/>
                </a:lnTo>
                <a:lnTo>
                  <a:pt x="18" y="162"/>
                </a:lnTo>
                <a:lnTo>
                  <a:pt x="18" y="162"/>
                </a:lnTo>
                <a:lnTo>
                  <a:pt x="18" y="162"/>
                </a:lnTo>
                <a:lnTo>
                  <a:pt x="18" y="162"/>
                </a:lnTo>
                <a:lnTo>
                  <a:pt x="12" y="162"/>
                </a:lnTo>
                <a:lnTo>
                  <a:pt x="12" y="162"/>
                </a:lnTo>
                <a:lnTo>
                  <a:pt x="12" y="162"/>
                </a:lnTo>
                <a:lnTo>
                  <a:pt x="12" y="162"/>
                </a:lnTo>
                <a:lnTo>
                  <a:pt x="12" y="162"/>
                </a:lnTo>
                <a:lnTo>
                  <a:pt x="12" y="162"/>
                </a:lnTo>
                <a:lnTo>
                  <a:pt x="12" y="162"/>
                </a:lnTo>
                <a:lnTo>
                  <a:pt x="12" y="162"/>
                </a:lnTo>
                <a:lnTo>
                  <a:pt x="12" y="162"/>
                </a:lnTo>
                <a:lnTo>
                  <a:pt x="12" y="162"/>
                </a:lnTo>
                <a:lnTo>
                  <a:pt x="12" y="162"/>
                </a:lnTo>
                <a:lnTo>
                  <a:pt x="6" y="162"/>
                </a:lnTo>
                <a:lnTo>
                  <a:pt x="6" y="162"/>
                </a:lnTo>
                <a:lnTo>
                  <a:pt x="6" y="162"/>
                </a:lnTo>
                <a:lnTo>
                  <a:pt x="6" y="162"/>
                </a:lnTo>
                <a:lnTo>
                  <a:pt x="6" y="162"/>
                </a:lnTo>
                <a:lnTo>
                  <a:pt x="6" y="156"/>
                </a:lnTo>
                <a:lnTo>
                  <a:pt x="6" y="156"/>
                </a:lnTo>
                <a:lnTo>
                  <a:pt x="6" y="150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12" y="144"/>
                </a:lnTo>
                <a:lnTo>
                  <a:pt x="12" y="132"/>
                </a:lnTo>
                <a:lnTo>
                  <a:pt x="12" y="132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14"/>
                </a:lnTo>
                <a:lnTo>
                  <a:pt x="6" y="114"/>
                </a:lnTo>
                <a:lnTo>
                  <a:pt x="0" y="108"/>
                </a:lnTo>
                <a:lnTo>
                  <a:pt x="0" y="102"/>
                </a:lnTo>
                <a:lnTo>
                  <a:pt x="0" y="96"/>
                </a:lnTo>
                <a:lnTo>
                  <a:pt x="0" y="9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32" name="Freeform 65"/>
          <p:cNvSpPr>
            <a:spLocks/>
          </p:cNvSpPr>
          <p:nvPr/>
        </p:nvSpPr>
        <p:spPr bwMode="auto">
          <a:xfrm>
            <a:off x="6883974" y="1603910"/>
            <a:ext cx="385443" cy="366173"/>
          </a:xfrm>
          <a:custGeom>
            <a:avLst/>
            <a:gdLst>
              <a:gd name="T0" fmla="*/ 96 w 360"/>
              <a:gd name="T1" fmla="*/ 156 h 342"/>
              <a:gd name="T2" fmla="*/ 144 w 360"/>
              <a:gd name="T3" fmla="*/ 132 h 342"/>
              <a:gd name="T4" fmla="*/ 168 w 360"/>
              <a:gd name="T5" fmla="*/ 96 h 342"/>
              <a:gd name="T6" fmla="*/ 180 w 360"/>
              <a:gd name="T7" fmla="*/ 84 h 342"/>
              <a:gd name="T8" fmla="*/ 186 w 360"/>
              <a:gd name="T9" fmla="*/ 72 h 342"/>
              <a:gd name="T10" fmla="*/ 192 w 360"/>
              <a:gd name="T11" fmla="*/ 60 h 342"/>
              <a:gd name="T12" fmla="*/ 204 w 360"/>
              <a:gd name="T13" fmla="*/ 48 h 342"/>
              <a:gd name="T14" fmla="*/ 216 w 360"/>
              <a:gd name="T15" fmla="*/ 36 h 342"/>
              <a:gd name="T16" fmla="*/ 222 w 360"/>
              <a:gd name="T17" fmla="*/ 18 h 342"/>
              <a:gd name="T18" fmla="*/ 222 w 360"/>
              <a:gd name="T19" fmla="*/ 6 h 342"/>
              <a:gd name="T20" fmla="*/ 228 w 360"/>
              <a:gd name="T21" fmla="*/ 6 h 342"/>
              <a:gd name="T22" fmla="*/ 234 w 360"/>
              <a:gd name="T23" fmla="*/ 24 h 342"/>
              <a:gd name="T24" fmla="*/ 240 w 360"/>
              <a:gd name="T25" fmla="*/ 42 h 342"/>
              <a:gd name="T26" fmla="*/ 234 w 360"/>
              <a:gd name="T27" fmla="*/ 66 h 342"/>
              <a:gd name="T28" fmla="*/ 222 w 360"/>
              <a:gd name="T29" fmla="*/ 90 h 342"/>
              <a:gd name="T30" fmla="*/ 222 w 360"/>
              <a:gd name="T31" fmla="*/ 96 h 342"/>
              <a:gd name="T32" fmla="*/ 228 w 360"/>
              <a:gd name="T33" fmla="*/ 102 h 342"/>
              <a:gd name="T34" fmla="*/ 234 w 360"/>
              <a:gd name="T35" fmla="*/ 108 h 342"/>
              <a:gd name="T36" fmla="*/ 240 w 360"/>
              <a:gd name="T37" fmla="*/ 108 h 342"/>
              <a:gd name="T38" fmla="*/ 246 w 360"/>
              <a:gd name="T39" fmla="*/ 108 h 342"/>
              <a:gd name="T40" fmla="*/ 246 w 360"/>
              <a:gd name="T41" fmla="*/ 108 h 342"/>
              <a:gd name="T42" fmla="*/ 252 w 360"/>
              <a:gd name="T43" fmla="*/ 108 h 342"/>
              <a:gd name="T44" fmla="*/ 246 w 360"/>
              <a:gd name="T45" fmla="*/ 114 h 342"/>
              <a:gd name="T46" fmla="*/ 240 w 360"/>
              <a:gd name="T47" fmla="*/ 126 h 342"/>
              <a:gd name="T48" fmla="*/ 240 w 360"/>
              <a:gd name="T49" fmla="*/ 138 h 342"/>
              <a:gd name="T50" fmla="*/ 240 w 360"/>
              <a:gd name="T51" fmla="*/ 150 h 342"/>
              <a:gd name="T52" fmla="*/ 240 w 360"/>
              <a:gd name="T53" fmla="*/ 162 h 342"/>
              <a:gd name="T54" fmla="*/ 360 w 360"/>
              <a:gd name="T55" fmla="*/ 168 h 342"/>
              <a:gd name="T56" fmla="*/ 354 w 360"/>
              <a:gd name="T57" fmla="*/ 180 h 342"/>
              <a:gd name="T58" fmla="*/ 330 w 360"/>
              <a:gd name="T59" fmla="*/ 198 h 342"/>
              <a:gd name="T60" fmla="*/ 318 w 360"/>
              <a:gd name="T61" fmla="*/ 228 h 342"/>
              <a:gd name="T62" fmla="*/ 324 w 360"/>
              <a:gd name="T63" fmla="*/ 264 h 342"/>
              <a:gd name="T64" fmla="*/ 312 w 360"/>
              <a:gd name="T65" fmla="*/ 276 h 342"/>
              <a:gd name="T66" fmla="*/ 300 w 360"/>
              <a:gd name="T67" fmla="*/ 276 h 342"/>
              <a:gd name="T68" fmla="*/ 294 w 360"/>
              <a:gd name="T69" fmla="*/ 282 h 342"/>
              <a:gd name="T70" fmla="*/ 282 w 360"/>
              <a:gd name="T71" fmla="*/ 276 h 342"/>
              <a:gd name="T72" fmla="*/ 282 w 360"/>
              <a:gd name="T73" fmla="*/ 282 h 342"/>
              <a:gd name="T74" fmla="*/ 270 w 360"/>
              <a:gd name="T75" fmla="*/ 282 h 342"/>
              <a:gd name="T76" fmla="*/ 264 w 360"/>
              <a:gd name="T77" fmla="*/ 282 h 342"/>
              <a:gd name="T78" fmla="*/ 264 w 360"/>
              <a:gd name="T79" fmla="*/ 288 h 342"/>
              <a:gd name="T80" fmla="*/ 258 w 360"/>
              <a:gd name="T81" fmla="*/ 288 h 342"/>
              <a:gd name="T82" fmla="*/ 258 w 360"/>
              <a:gd name="T83" fmla="*/ 294 h 342"/>
              <a:gd name="T84" fmla="*/ 258 w 360"/>
              <a:gd name="T85" fmla="*/ 300 h 342"/>
              <a:gd name="T86" fmla="*/ 258 w 360"/>
              <a:gd name="T87" fmla="*/ 306 h 342"/>
              <a:gd name="T88" fmla="*/ 270 w 360"/>
              <a:gd name="T89" fmla="*/ 330 h 342"/>
              <a:gd name="T90" fmla="*/ 258 w 360"/>
              <a:gd name="T91" fmla="*/ 336 h 342"/>
              <a:gd name="T92" fmla="*/ 246 w 360"/>
              <a:gd name="T93" fmla="*/ 336 h 342"/>
              <a:gd name="T94" fmla="*/ 240 w 360"/>
              <a:gd name="T95" fmla="*/ 342 h 342"/>
              <a:gd name="T96" fmla="*/ 234 w 360"/>
              <a:gd name="T97" fmla="*/ 342 h 342"/>
              <a:gd name="T98" fmla="*/ 228 w 360"/>
              <a:gd name="T99" fmla="*/ 342 h 342"/>
              <a:gd name="T100" fmla="*/ 216 w 360"/>
              <a:gd name="T101" fmla="*/ 336 h 342"/>
              <a:gd name="T102" fmla="*/ 210 w 360"/>
              <a:gd name="T103" fmla="*/ 330 h 342"/>
              <a:gd name="T104" fmla="*/ 204 w 360"/>
              <a:gd name="T105" fmla="*/ 330 h 342"/>
              <a:gd name="T106" fmla="*/ 180 w 360"/>
              <a:gd name="T107" fmla="*/ 324 h 342"/>
              <a:gd name="T108" fmla="*/ 174 w 360"/>
              <a:gd name="T109" fmla="*/ 288 h 342"/>
              <a:gd name="T110" fmla="*/ 150 w 360"/>
              <a:gd name="T111" fmla="*/ 240 h 342"/>
              <a:gd name="T112" fmla="*/ 108 w 360"/>
              <a:gd name="T113" fmla="*/ 216 h 342"/>
              <a:gd name="T114" fmla="*/ 66 w 360"/>
              <a:gd name="T115" fmla="*/ 210 h 342"/>
              <a:gd name="T116" fmla="*/ 24 w 360"/>
              <a:gd name="T117" fmla="*/ 222 h 3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60" h="342">
                <a:moveTo>
                  <a:pt x="0" y="228"/>
                </a:moveTo>
                <a:lnTo>
                  <a:pt x="30" y="210"/>
                </a:lnTo>
                <a:lnTo>
                  <a:pt x="42" y="198"/>
                </a:lnTo>
                <a:lnTo>
                  <a:pt x="42" y="198"/>
                </a:lnTo>
                <a:lnTo>
                  <a:pt x="42" y="198"/>
                </a:lnTo>
                <a:lnTo>
                  <a:pt x="42" y="192"/>
                </a:lnTo>
                <a:lnTo>
                  <a:pt x="42" y="192"/>
                </a:lnTo>
                <a:lnTo>
                  <a:pt x="42" y="192"/>
                </a:lnTo>
                <a:lnTo>
                  <a:pt x="48" y="192"/>
                </a:lnTo>
                <a:lnTo>
                  <a:pt x="48" y="192"/>
                </a:lnTo>
                <a:lnTo>
                  <a:pt x="72" y="174"/>
                </a:lnTo>
                <a:lnTo>
                  <a:pt x="72" y="174"/>
                </a:lnTo>
                <a:lnTo>
                  <a:pt x="90" y="162"/>
                </a:lnTo>
                <a:lnTo>
                  <a:pt x="90" y="156"/>
                </a:lnTo>
                <a:lnTo>
                  <a:pt x="96" y="156"/>
                </a:lnTo>
                <a:lnTo>
                  <a:pt x="108" y="144"/>
                </a:lnTo>
                <a:lnTo>
                  <a:pt x="126" y="132"/>
                </a:lnTo>
                <a:lnTo>
                  <a:pt x="126" y="132"/>
                </a:lnTo>
                <a:lnTo>
                  <a:pt x="126" y="126"/>
                </a:lnTo>
                <a:lnTo>
                  <a:pt x="132" y="132"/>
                </a:lnTo>
                <a:lnTo>
                  <a:pt x="132" y="132"/>
                </a:lnTo>
                <a:lnTo>
                  <a:pt x="132" y="132"/>
                </a:lnTo>
                <a:lnTo>
                  <a:pt x="132" y="132"/>
                </a:lnTo>
                <a:lnTo>
                  <a:pt x="138" y="132"/>
                </a:lnTo>
                <a:lnTo>
                  <a:pt x="138" y="132"/>
                </a:lnTo>
                <a:lnTo>
                  <a:pt x="138" y="132"/>
                </a:lnTo>
                <a:lnTo>
                  <a:pt x="138" y="132"/>
                </a:lnTo>
                <a:lnTo>
                  <a:pt x="138" y="132"/>
                </a:lnTo>
                <a:lnTo>
                  <a:pt x="144" y="132"/>
                </a:lnTo>
                <a:lnTo>
                  <a:pt x="144" y="132"/>
                </a:lnTo>
                <a:lnTo>
                  <a:pt x="144" y="132"/>
                </a:lnTo>
                <a:lnTo>
                  <a:pt x="144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56" y="120"/>
                </a:lnTo>
                <a:lnTo>
                  <a:pt x="156" y="114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2"/>
                </a:lnTo>
                <a:lnTo>
                  <a:pt x="168" y="102"/>
                </a:lnTo>
                <a:lnTo>
                  <a:pt x="168" y="102"/>
                </a:lnTo>
                <a:lnTo>
                  <a:pt x="168" y="96"/>
                </a:lnTo>
                <a:lnTo>
                  <a:pt x="168" y="96"/>
                </a:lnTo>
                <a:lnTo>
                  <a:pt x="168" y="96"/>
                </a:lnTo>
                <a:lnTo>
                  <a:pt x="168" y="96"/>
                </a:lnTo>
                <a:lnTo>
                  <a:pt x="168" y="96"/>
                </a:lnTo>
                <a:lnTo>
                  <a:pt x="168" y="96"/>
                </a:lnTo>
                <a:lnTo>
                  <a:pt x="174" y="90"/>
                </a:lnTo>
                <a:lnTo>
                  <a:pt x="174" y="90"/>
                </a:lnTo>
                <a:lnTo>
                  <a:pt x="174" y="90"/>
                </a:lnTo>
                <a:lnTo>
                  <a:pt x="174" y="90"/>
                </a:lnTo>
                <a:lnTo>
                  <a:pt x="174" y="90"/>
                </a:lnTo>
                <a:lnTo>
                  <a:pt x="174" y="90"/>
                </a:lnTo>
                <a:lnTo>
                  <a:pt x="174" y="90"/>
                </a:lnTo>
                <a:lnTo>
                  <a:pt x="180" y="90"/>
                </a:lnTo>
                <a:lnTo>
                  <a:pt x="180" y="84"/>
                </a:lnTo>
                <a:lnTo>
                  <a:pt x="180" y="84"/>
                </a:lnTo>
                <a:lnTo>
                  <a:pt x="180" y="84"/>
                </a:lnTo>
                <a:lnTo>
                  <a:pt x="180" y="84"/>
                </a:lnTo>
                <a:lnTo>
                  <a:pt x="180" y="84"/>
                </a:lnTo>
                <a:lnTo>
                  <a:pt x="180" y="78"/>
                </a:lnTo>
                <a:lnTo>
                  <a:pt x="180" y="78"/>
                </a:lnTo>
                <a:lnTo>
                  <a:pt x="180" y="78"/>
                </a:lnTo>
                <a:lnTo>
                  <a:pt x="180" y="78"/>
                </a:lnTo>
                <a:lnTo>
                  <a:pt x="180" y="78"/>
                </a:lnTo>
                <a:lnTo>
                  <a:pt x="180" y="78"/>
                </a:lnTo>
                <a:lnTo>
                  <a:pt x="186" y="78"/>
                </a:lnTo>
                <a:lnTo>
                  <a:pt x="186" y="78"/>
                </a:lnTo>
                <a:lnTo>
                  <a:pt x="186" y="78"/>
                </a:lnTo>
                <a:lnTo>
                  <a:pt x="186" y="72"/>
                </a:lnTo>
                <a:lnTo>
                  <a:pt x="186" y="72"/>
                </a:lnTo>
                <a:lnTo>
                  <a:pt x="186" y="72"/>
                </a:lnTo>
                <a:lnTo>
                  <a:pt x="186" y="72"/>
                </a:lnTo>
                <a:lnTo>
                  <a:pt x="186" y="72"/>
                </a:lnTo>
                <a:lnTo>
                  <a:pt x="186" y="66"/>
                </a:lnTo>
                <a:lnTo>
                  <a:pt x="186" y="66"/>
                </a:lnTo>
                <a:lnTo>
                  <a:pt x="186" y="66"/>
                </a:lnTo>
                <a:lnTo>
                  <a:pt x="186" y="66"/>
                </a:lnTo>
                <a:lnTo>
                  <a:pt x="186" y="60"/>
                </a:lnTo>
                <a:lnTo>
                  <a:pt x="186" y="60"/>
                </a:lnTo>
                <a:lnTo>
                  <a:pt x="186" y="60"/>
                </a:lnTo>
                <a:lnTo>
                  <a:pt x="186" y="60"/>
                </a:lnTo>
                <a:lnTo>
                  <a:pt x="186" y="60"/>
                </a:lnTo>
                <a:lnTo>
                  <a:pt x="192" y="60"/>
                </a:lnTo>
                <a:lnTo>
                  <a:pt x="192" y="60"/>
                </a:lnTo>
                <a:lnTo>
                  <a:pt x="192" y="60"/>
                </a:lnTo>
                <a:lnTo>
                  <a:pt x="192" y="60"/>
                </a:lnTo>
                <a:lnTo>
                  <a:pt x="192" y="60"/>
                </a:lnTo>
                <a:lnTo>
                  <a:pt x="192" y="60"/>
                </a:lnTo>
                <a:lnTo>
                  <a:pt x="192" y="60"/>
                </a:lnTo>
                <a:lnTo>
                  <a:pt x="192" y="60"/>
                </a:lnTo>
                <a:lnTo>
                  <a:pt x="192" y="54"/>
                </a:lnTo>
                <a:lnTo>
                  <a:pt x="198" y="54"/>
                </a:lnTo>
                <a:lnTo>
                  <a:pt x="198" y="54"/>
                </a:lnTo>
                <a:lnTo>
                  <a:pt x="198" y="54"/>
                </a:lnTo>
                <a:lnTo>
                  <a:pt x="198" y="54"/>
                </a:lnTo>
                <a:lnTo>
                  <a:pt x="198" y="54"/>
                </a:lnTo>
                <a:lnTo>
                  <a:pt x="204" y="54"/>
                </a:lnTo>
                <a:lnTo>
                  <a:pt x="204" y="48"/>
                </a:lnTo>
                <a:lnTo>
                  <a:pt x="204" y="48"/>
                </a:lnTo>
                <a:lnTo>
                  <a:pt x="204" y="48"/>
                </a:lnTo>
                <a:lnTo>
                  <a:pt x="204" y="48"/>
                </a:lnTo>
                <a:lnTo>
                  <a:pt x="204" y="48"/>
                </a:lnTo>
                <a:lnTo>
                  <a:pt x="204" y="48"/>
                </a:lnTo>
                <a:lnTo>
                  <a:pt x="204" y="48"/>
                </a:lnTo>
                <a:lnTo>
                  <a:pt x="204" y="48"/>
                </a:lnTo>
                <a:lnTo>
                  <a:pt x="210" y="48"/>
                </a:lnTo>
                <a:lnTo>
                  <a:pt x="210" y="42"/>
                </a:lnTo>
                <a:lnTo>
                  <a:pt x="210" y="42"/>
                </a:lnTo>
                <a:lnTo>
                  <a:pt x="210" y="42"/>
                </a:lnTo>
                <a:lnTo>
                  <a:pt x="210" y="42"/>
                </a:lnTo>
                <a:lnTo>
                  <a:pt x="210" y="42"/>
                </a:lnTo>
                <a:lnTo>
                  <a:pt x="210" y="42"/>
                </a:lnTo>
                <a:lnTo>
                  <a:pt x="210" y="36"/>
                </a:lnTo>
                <a:lnTo>
                  <a:pt x="216" y="36"/>
                </a:lnTo>
                <a:lnTo>
                  <a:pt x="216" y="36"/>
                </a:lnTo>
                <a:lnTo>
                  <a:pt x="216" y="36"/>
                </a:lnTo>
                <a:lnTo>
                  <a:pt x="216" y="36"/>
                </a:lnTo>
                <a:lnTo>
                  <a:pt x="216" y="36"/>
                </a:lnTo>
                <a:lnTo>
                  <a:pt x="216" y="36"/>
                </a:lnTo>
                <a:lnTo>
                  <a:pt x="222" y="30"/>
                </a:lnTo>
                <a:lnTo>
                  <a:pt x="216" y="30"/>
                </a:lnTo>
                <a:lnTo>
                  <a:pt x="222" y="30"/>
                </a:lnTo>
                <a:lnTo>
                  <a:pt x="222" y="30"/>
                </a:lnTo>
                <a:lnTo>
                  <a:pt x="222" y="24"/>
                </a:lnTo>
                <a:lnTo>
                  <a:pt x="222" y="24"/>
                </a:lnTo>
                <a:lnTo>
                  <a:pt x="222" y="24"/>
                </a:lnTo>
                <a:lnTo>
                  <a:pt x="222" y="24"/>
                </a:lnTo>
                <a:lnTo>
                  <a:pt x="222" y="24"/>
                </a:lnTo>
                <a:lnTo>
                  <a:pt x="222" y="18"/>
                </a:lnTo>
                <a:lnTo>
                  <a:pt x="222" y="18"/>
                </a:lnTo>
                <a:lnTo>
                  <a:pt x="222" y="18"/>
                </a:lnTo>
                <a:lnTo>
                  <a:pt x="222" y="18"/>
                </a:lnTo>
                <a:lnTo>
                  <a:pt x="222" y="12"/>
                </a:lnTo>
                <a:lnTo>
                  <a:pt x="222" y="12"/>
                </a:lnTo>
                <a:lnTo>
                  <a:pt x="228" y="12"/>
                </a:lnTo>
                <a:lnTo>
                  <a:pt x="222" y="6"/>
                </a:lnTo>
                <a:lnTo>
                  <a:pt x="222" y="12"/>
                </a:lnTo>
                <a:lnTo>
                  <a:pt x="222" y="6"/>
                </a:lnTo>
                <a:lnTo>
                  <a:pt x="222" y="6"/>
                </a:lnTo>
                <a:lnTo>
                  <a:pt x="222" y="6"/>
                </a:lnTo>
                <a:lnTo>
                  <a:pt x="222" y="6"/>
                </a:lnTo>
                <a:lnTo>
                  <a:pt x="222" y="6"/>
                </a:lnTo>
                <a:lnTo>
                  <a:pt x="222" y="6"/>
                </a:lnTo>
                <a:lnTo>
                  <a:pt x="222" y="6"/>
                </a:lnTo>
                <a:lnTo>
                  <a:pt x="222" y="6"/>
                </a:lnTo>
                <a:lnTo>
                  <a:pt x="222" y="6"/>
                </a:lnTo>
                <a:lnTo>
                  <a:pt x="222" y="6"/>
                </a:lnTo>
                <a:lnTo>
                  <a:pt x="222" y="0"/>
                </a:lnTo>
                <a:lnTo>
                  <a:pt x="222" y="0"/>
                </a:lnTo>
                <a:lnTo>
                  <a:pt x="228" y="0"/>
                </a:lnTo>
                <a:lnTo>
                  <a:pt x="228" y="0"/>
                </a:lnTo>
                <a:lnTo>
                  <a:pt x="228" y="0"/>
                </a:lnTo>
                <a:lnTo>
                  <a:pt x="228" y="0"/>
                </a:lnTo>
                <a:lnTo>
                  <a:pt x="228" y="0"/>
                </a:lnTo>
                <a:lnTo>
                  <a:pt x="228" y="0"/>
                </a:lnTo>
                <a:lnTo>
                  <a:pt x="228" y="6"/>
                </a:lnTo>
                <a:lnTo>
                  <a:pt x="228" y="6"/>
                </a:lnTo>
                <a:lnTo>
                  <a:pt x="228" y="6"/>
                </a:lnTo>
                <a:lnTo>
                  <a:pt x="228" y="6"/>
                </a:lnTo>
                <a:lnTo>
                  <a:pt x="228" y="6"/>
                </a:lnTo>
                <a:lnTo>
                  <a:pt x="228" y="6"/>
                </a:lnTo>
                <a:lnTo>
                  <a:pt x="228" y="6"/>
                </a:lnTo>
                <a:lnTo>
                  <a:pt x="228" y="12"/>
                </a:lnTo>
                <a:lnTo>
                  <a:pt x="228" y="12"/>
                </a:lnTo>
                <a:lnTo>
                  <a:pt x="228" y="12"/>
                </a:lnTo>
                <a:lnTo>
                  <a:pt x="228" y="12"/>
                </a:lnTo>
                <a:lnTo>
                  <a:pt x="228" y="12"/>
                </a:lnTo>
                <a:lnTo>
                  <a:pt x="228" y="18"/>
                </a:lnTo>
                <a:lnTo>
                  <a:pt x="234" y="18"/>
                </a:lnTo>
                <a:lnTo>
                  <a:pt x="234" y="18"/>
                </a:lnTo>
                <a:lnTo>
                  <a:pt x="234" y="18"/>
                </a:lnTo>
                <a:lnTo>
                  <a:pt x="234" y="18"/>
                </a:lnTo>
                <a:lnTo>
                  <a:pt x="234" y="18"/>
                </a:lnTo>
                <a:lnTo>
                  <a:pt x="234" y="18"/>
                </a:lnTo>
                <a:lnTo>
                  <a:pt x="234" y="24"/>
                </a:lnTo>
                <a:lnTo>
                  <a:pt x="234" y="24"/>
                </a:lnTo>
                <a:lnTo>
                  <a:pt x="234" y="24"/>
                </a:lnTo>
                <a:lnTo>
                  <a:pt x="234" y="24"/>
                </a:lnTo>
                <a:lnTo>
                  <a:pt x="234" y="24"/>
                </a:lnTo>
                <a:lnTo>
                  <a:pt x="234" y="24"/>
                </a:lnTo>
                <a:lnTo>
                  <a:pt x="234" y="30"/>
                </a:lnTo>
                <a:lnTo>
                  <a:pt x="234" y="30"/>
                </a:lnTo>
                <a:lnTo>
                  <a:pt x="234" y="30"/>
                </a:lnTo>
                <a:lnTo>
                  <a:pt x="234" y="30"/>
                </a:lnTo>
                <a:lnTo>
                  <a:pt x="234" y="30"/>
                </a:lnTo>
                <a:lnTo>
                  <a:pt x="234" y="30"/>
                </a:lnTo>
                <a:lnTo>
                  <a:pt x="234" y="30"/>
                </a:lnTo>
                <a:lnTo>
                  <a:pt x="240" y="36"/>
                </a:lnTo>
                <a:lnTo>
                  <a:pt x="240" y="42"/>
                </a:lnTo>
                <a:lnTo>
                  <a:pt x="240" y="42"/>
                </a:lnTo>
                <a:lnTo>
                  <a:pt x="234" y="42"/>
                </a:lnTo>
                <a:lnTo>
                  <a:pt x="240" y="42"/>
                </a:lnTo>
                <a:lnTo>
                  <a:pt x="240" y="42"/>
                </a:lnTo>
                <a:lnTo>
                  <a:pt x="240" y="48"/>
                </a:lnTo>
                <a:lnTo>
                  <a:pt x="240" y="48"/>
                </a:lnTo>
                <a:lnTo>
                  <a:pt x="240" y="54"/>
                </a:lnTo>
                <a:lnTo>
                  <a:pt x="240" y="54"/>
                </a:lnTo>
                <a:lnTo>
                  <a:pt x="240" y="54"/>
                </a:lnTo>
                <a:lnTo>
                  <a:pt x="240" y="54"/>
                </a:lnTo>
                <a:lnTo>
                  <a:pt x="240" y="60"/>
                </a:lnTo>
                <a:lnTo>
                  <a:pt x="240" y="60"/>
                </a:lnTo>
                <a:lnTo>
                  <a:pt x="240" y="60"/>
                </a:lnTo>
                <a:lnTo>
                  <a:pt x="240" y="60"/>
                </a:lnTo>
                <a:lnTo>
                  <a:pt x="240" y="66"/>
                </a:lnTo>
                <a:lnTo>
                  <a:pt x="234" y="60"/>
                </a:lnTo>
                <a:lnTo>
                  <a:pt x="234" y="66"/>
                </a:lnTo>
                <a:lnTo>
                  <a:pt x="234" y="66"/>
                </a:lnTo>
                <a:lnTo>
                  <a:pt x="234" y="66"/>
                </a:lnTo>
                <a:lnTo>
                  <a:pt x="234" y="66"/>
                </a:lnTo>
                <a:lnTo>
                  <a:pt x="234" y="66"/>
                </a:lnTo>
                <a:lnTo>
                  <a:pt x="234" y="72"/>
                </a:lnTo>
                <a:lnTo>
                  <a:pt x="228" y="78"/>
                </a:lnTo>
                <a:lnTo>
                  <a:pt x="228" y="78"/>
                </a:lnTo>
                <a:lnTo>
                  <a:pt x="228" y="78"/>
                </a:lnTo>
                <a:lnTo>
                  <a:pt x="228" y="84"/>
                </a:lnTo>
                <a:lnTo>
                  <a:pt x="222" y="84"/>
                </a:lnTo>
                <a:lnTo>
                  <a:pt x="222" y="84"/>
                </a:lnTo>
                <a:lnTo>
                  <a:pt x="222" y="84"/>
                </a:lnTo>
                <a:lnTo>
                  <a:pt x="222" y="90"/>
                </a:lnTo>
                <a:lnTo>
                  <a:pt x="222" y="90"/>
                </a:lnTo>
                <a:lnTo>
                  <a:pt x="222" y="90"/>
                </a:lnTo>
                <a:lnTo>
                  <a:pt x="222" y="90"/>
                </a:lnTo>
                <a:lnTo>
                  <a:pt x="216" y="90"/>
                </a:lnTo>
                <a:lnTo>
                  <a:pt x="216" y="90"/>
                </a:lnTo>
                <a:lnTo>
                  <a:pt x="222" y="90"/>
                </a:lnTo>
                <a:lnTo>
                  <a:pt x="216" y="90"/>
                </a:lnTo>
                <a:lnTo>
                  <a:pt x="216" y="90"/>
                </a:lnTo>
                <a:lnTo>
                  <a:pt x="216" y="96"/>
                </a:lnTo>
                <a:lnTo>
                  <a:pt x="222" y="96"/>
                </a:lnTo>
                <a:lnTo>
                  <a:pt x="222" y="96"/>
                </a:lnTo>
                <a:lnTo>
                  <a:pt x="222" y="96"/>
                </a:lnTo>
                <a:lnTo>
                  <a:pt x="222" y="96"/>
                </a:lnTo>
                <a:lnTo>
                  <a:pt x="222" y="96"/>
                </a:lnTo>
                <a:lnTo>
                  <a:pt x="222" y="96"/>
                </a:lnTo>
                <a:lnTo>
                  <a:pt x="222" y="96"/>
                </a:lnTo>
                <a:lnTo>
                  <a:pt x="222" y="96"/>
                </a:lnTo>
                <a:lnTo>
                  <a:pt x="222" y="96"/>
                </a:lnTo>
                <a:lnTo>
                  <a:pt x="222" y="96"/>
                </a:lnTo>
                <a:lnTo>
                  <a:pt x="222" y="102"/>
                </a:lnTo>
                <a:lnTo>
                  <a:pt x="222" y="102"/>
                </a:lnTo>
                <a:lnTo>
                  <a:pt x="222" y="102"/>
                </a:lnTo>
                <a:lnTo>
                  <a:pt x="222" y="102"/>
                </a:lnTo>
                <a:lnTo>
                  <a:pt x="222" y="102"/>
                </a:lnTo>
                <a:lnTo>
                  <a:pt x="222" y="102"/>
                </a:lnTo>
                <a:lnTo>
                  <a:pt x="222" y="102"/>
                </a:lnTo>
                <a:lnTo>
                  <a:pt x="222" y="102"/>
                </a:lnTo>
                <a:lnTo>
                  <a:pt x="222" y="102"/>
                </a:lnTo>
                <a:lnTo>
                  <a:pt x="222" y="102"/>
                </a:lnTo>
                <a:lnTo>
                  <a:pt x="222" y="102"/>
                </a:lnTo>
                <a:lnTo>
                  <a:pt x="222" y="102"/>
                </a:lnTo>
                <a:lnTo>
                  <a:pt x="222" y="102"/>
                </a:lnTo>
                <a:lnTo>
                  <a:pt x="228" y="102"/>
                </a:lnTo>
                <a:lnTo>
                  <a:pt x="228" y="102"/>
                </a:lnTo>
                <a:lnTo>
                  <a:pt x="228" y="102"/>
                </a:lnTo>
                <a:lnTo>
                  <a:pt x="228" y="102"/>
                </a:lnTo>
                <a:lnTo>
                  <a:pt x="228" y="108"/>
                </a:lnTo>
                <a:lnTo>
                  <a:pt x="228" y="108"/>
                </a:lnTo>
                <a:lnTo>
                  <a:pt x="228" y="108"/>
                </a:lnTo>
                <a:lnTo>
                  <a:pt x="228" y="108"/>
                </a:lnTo>
                <a:lnTo>
                  <a:pt x="228" y="108"/>
                </a:lnTo>
                <a:lnTo>
                  <a:pt x="228" y="108"/>
                </a:lnTo>
                <a:lnTo>
                  <a:pt x="228" y="108"/>
                </a:lnTo>
                <a:lnTo>
                  <a:pt x="234" y="108"/>
                </a:lnTo>
                <a:lnTo>
                  <a:pt x="234" y="108"/>
                </a:lnTo>
                <a:lnTo>
                  <a:pt x="234" y="108"/>
                </a:lnTo>
                <a:lnTo>
                  <a:pt x="234" y="108"/>
                </a:lnTo>
                <a:lnTo>
                  <a:pt x="234" y="108"/>
                </a:lnTo>
                <a:lnTo>
                  <a:pt x="234" y="108"/>
                </a:lnTo>
                <a:lnTo>
                  <a:pt x="234" y="108"/>
                </a:lnTo>
                <a:lnTo>
                  <a:pt x="234" y="108"/>
                </a:lnTo>
                <a:lnTo>
                  <a:pt x="234" y="108"/>
                </a:lnTo>
                <a:lnTo>
                  <a:pt x="234" y="108"/>
                </a:lnTo>
                <a:lnTo>
                  <a:pt x="234" y="108"/>
                </a:lnTo>
                <a:lnTo>
                  <a:pt x="234" y="108"/>
                </a:lnTo>
                <a:lnTo>
                  <a:pt x="240" y="108"/>
                </a:lnTo>
                <a:lnTo>
                  <a:pt x="240" y="108"/>
                </a:lnTo>
                <a:lnTo>
                  <a:pt x="240" y="108"/>
                </a:lnTo>
                <a:lnTo>
                  <a:pt x="240" y="108"/>
                </a:lnTo>
                <a:lnTo>
                  <a:pt x="240" y="108"/>
                </a:lnTo>
                <a:lnTo>
                  <a:pt x="240" y="108"/>
                </a:lnTo>
                <a:lnTo>
                  <a:pt x="240" y="108"/>
                </a:lnTo>
                <a:lnTo>
                  <a:pt x="240" y="108"/>
                </a:lnTo>
                <a:lnTo>
                  <a:pt x="240" y="108"/>
                </a:lnTo>
                <a:lnTo>
                  <a:pt x="240" y="108"/>
                </a:lnTo>
                <a:lnTo>
                  <a:pt x="240" y="108"/>
                </a:lnTo>
                <a:lnTo>
                  <a:pt x="240" y="108"/>
                </a:lnTo>
                <a:lnTo>
                  <a:pt x="240" y="108"/>
                </a:lnTo>
                <a:lnTo>
                  <a:pt x="240" y="108"/>
                </a:lnTo>
                <a:lnTo>
                  <a:pt x="240" y="108"/>
                </a:lnTo>
                <a:lnTo>
                  <a:pt x="240" y="108"/>
                </a:lnTo>
                <a:lnTo>
                  <a:pt x="240" y="108"/>
                </a:lnTo>
                <a:lnTo>
                  <a:pt x="240" y="108"/>
                </a:lnTo>
                <a:lnTo>
                  <a:pt x="240" y="108"/>
                </a:lnTo>
                <a:lnTo>
                  <a:pt x="240" y="108"/>
                </a:lnTo>
                <a:lnTo>
                  <a:pt x="240" y="108"/>
                </a:lnTo>
                <a:lnTo>
                  <a:pt x="246" y="108"/>
                </a:lnTo>
                <a:lnTo>
                  <a:pt x="246" y="108"/>
                </a:lnTo>
                <a:lnTo>
                  <a:pt x="246" y="108"/>
                </a:lnTo>
                <a:lnTo>
                  <a:pt x="246" y="108"/>
                </a:lnTo>
                <a:lnTo>
                  <a:pt x="246" y="108"/>
                </a:lnTo>
                <a:lnTo>
                  <a:pt x="246" y="108"/>
                </a:lnTo>
                <a:lnTo>
                  <a:pt x="246" y="108"/>
                </a:lnTo>
                <a:lnTo>
                  <a:pt x="246" y="108"/>
                </a:lnTo>
                <a:lnTo>
                  <a:pt x="246" y="108"/>
                </a:lnTo>
                <a:lnTo>
                  <a:pt x="246" y="108"/>
                </a:lnTo>
                <a:lnTo>
                  <a:pt x="246" y="108"/>
                </a:lnTo>
                <a:lnTo>
                  <a:pt x="246" y="108"/>
                </a:lnTo>
                <a:lnTo>
                  <a:pt x="246" y="108"/>
                </a:lnTo>
                <a:lnTo>
                  <a:pt x="246" y="108"/>
                </a:lnTo>
                <a:lnTo>
                  <a:pt x="246" y="108"/>
                </a:lnTo>
                <a:lnTo>
                  <a:pt x="246" y="108"/>
                </a:lnTo>
                <a:lnTo>
                  <a:pt x="246" y="108"/>
                </a:lnTo>
                <a:lnTo>
                  <a:pt x="246" y="108"/>
                </a:lnTo>
                <a:lnTo>
                  <a:pt x="246" y="108"/>
                </a:lnTo>
                <a:lnTo>
                  <a:pt x="246" y="108"/>
                </a:lnTo>
                <a:lnTo>
                  <a:pt x="252" y="108"/>
                </a:lnTo>
                <a:lnTo>
                  <a:pt x="252" y="102"/>
                </a:lnTo>
                <a:lnTo>
                  <a:pt x="252" y="102"/>
                </a:lnTo>
                <a:lnTo>
                  <a:pt x="252" y="102"/>
                </a:lnTo>
                <a:lnTo>
                  <a:pt x="252" y="102"/>
                </a:lnTo>
                <a:lnTo>
                  <a:pt x="252" y="102"/>
                </a:lnTo>
                <a:lnTo>
                  <a:pt x="252" y="108"/>
                </a:lnTo>
                <a:lnTo>
                  <a:pt x="252" y="108"/>
                </a:lnTo>
                <a:lnTo>
                  <a:pt x="252" y="108"/>
                </a:lnTo>
                <a:lnTo>
                  <a:pt x="252" y="108"/>
                </a:lnTo>
                <a:lnTo>
                  <a:pt x="252" y="108"/>
                </a:lnTo>
                <a:lnTo>
                  <a:pt x="252" y="108"/>
                </a:lnTo>
                <a:lnTo>
                  <a:pt x="252" y="108"/>
                </a:lnTo>
                <a:lnTo>
                  <a:pt x="246" y="108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0" y="120"/>
                </a:lnTo>
                <a:lnTo>
                  <a:pt x="240" y="120"/>
                </a:lnTo>
                <a:lnTo>
                  <a:pt x="240" y="120"/>
                </a:lnTo>
                <a:lnTo>
                  <a:pt x="240" y="120"/>
                </a:lnTo>
                <a:lnTo>
                  <a:pt x="240" y="120"/>
                </a:lnTo>
                <a:lnTo>
                  <a:pt x="240" y="120"/>
                </a:lnTo>
                <a:lnTo>
                  <a:pt x="240" y="120"/>
                </a:lnTo>
                <a:lnTo>
                  <a:pt x="240" y="120"/>
                </a:lnTo>
                <a:lnTo>
                  <a:pt x="240" y="126"/>
                </a:lnTo>
                <a:lnTo>
                  <a:pt x="240" y="126"/>
                </a:lnTo>
                <a:lnTo>
                  <a:pt x="240" y="126"/>
                </a:lnTo>
                <a:lnTo>
                  <a:pt x="240" y="126"/>
                </a:lnTo>
                <a:lnTo>
                  <a:pt x="240" y="126"/>
                </a:lnTo>
                <a:lnTo>
                  <a:pt x="240" y="126"/>
                </a:lnTo>
                <a:lnTo>
                  <a:pt x="240" y="126"/>
                </a:lnTo>
                <a:lnTo>
                  <a:pt x="240" y="126"/>
                </a:lnTo>
                <a:lnTo>
                  <a:pt x="240" y="126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8"/>
                </a:lnTo>
                <a:lnTo>
                  <a:pt x="240" y="138"/>
                </a:lnTo>
                <a:lnTo>
                  <a:pt x="240" y="138"/>
                </a:lnTo>
                <a:lnTo>
                  <a:pt x="240" y="138"/>
                </a:lnTo>
                <a:lnTo>
                  <a:pt x="240" y="138"/>
                </a:lnTo>
                <a:lnTo>
                  <a:pt x="240" y="138"/>
                </a:lnTo>
                <a:lnTo>
                  <a:pt x="240" y="144"/>
                </a:lnTo>
                <a:lnTo>
                  <a:pt x="240" y="144"/>
                </a:lnTo>
                <a:lnTo>
                  <a:pt x="240" y="144"/>
                </a:lnTo>
                <a:lnTo>
                  <a:pt x="240" y="144"/>
                </a:lnTo>
                <a:lnTo>
                  <a:pt x="240" y="144"/>
                </a:lnTo>
                <a:lnTo>
                  <a:pt x="240" y="144"/>
                </a:lnTo>
                <a:lnTo>
                  <a:pt x="240" y="144"/>
                </a:lnTo>
                <a:lnTo>
                  <a:pt x="240" y="144"/>
                </a:lnTo>
                <a:lnTo>
                  <a:pt x="240" y="144"/>
                </a:lnTo>
                <a:lnTo>
                  <a:pt x="240" y="144"/>
                </a:lnTo>
                <a:lnTo>
                  <a:pt x="240" y="150"/>
                </a:lnTo>
                <a:lnTo>
                  <a:pt x="240" y="150"/>
                </a:lnTo>
                <a:lnTo>
                  <a:pt x="240" y="150"/>
                </a:lnTo>
                <a:lnTo>
                  <a:pt x="240" y="150"/>
                </a:lnTo>
                <a:lnTo>
                  <a:pt x="240" y="150"/>
                </a:lnTo>
                <a:lnTo>
                  <a:pt x="240" y="150"/>
                </a:lnTo>
                <a:lnTo>
                  <a:pt x="240" y="150"/>
                </a:lnTo>
                <a:lnTo>
                  <a:pt x="240" y="150"/>
                </a:lnTo>
                <a:lnTo>
                  <a:pt x="240" y="150"/>
                </a:lnTo>
                <a:lnTo>
                  <a:pt x="240" y="156"/>
                </a:lnTo>
                <a:lnTo>
                  <a:pt x="240" y="156"/>
                </a:lnTo>
                <a:lnTo>
                  <a:pt x="240" y="156"/>
                </a:lnTo>
                <a:lnTo>
                  <a:pt x="240" y="156"/>
                </a:lnTo>
                <a:lnTo>
                  <a:pt x="240" y="156"/>
                </a:lnTo>
                <a:lnTo>
                  <a:pt x="240" y="156"/>
                </a:lnTo>
                <a:lnTo>
                  <a:pt x="240" y="162"/>
                </a:lnTo>
                <a:lnTo>
                  <a:pt x="240" y="162"/>
                </a:lnTo>
                <a:lnTo>
                  <a:pt x="240" y="162"/>
                </a:lnTo>
                <a:lnTo>
                  <a:pt x="240" y="162"/>
                </a:lnTo>
                <a:lnTo>
                  <a:pt x="240" y="162"/>
                </a:lnTo>
                <a:lnTo>
                  <a:pt x="240" y="162"/>
                </a:lnTo>
                <a:lnTo>
                  <a:pt x="240" y="162"/>
                </a:lnTo>
                <a:lnTo>
                  <a:pt x="240" y="162"/>
                </a:lnTo>
                <a:lnTo>
                  <a:pt x="300" y="162"/>
                </a:lnTo>
                <a:lnTo>
                  <a:pt x="324" y="162"/>
                </a:lnTo>
                <a:lnTo>
                  <a:pt x="348" y="162"/>
                </a:lnTo>
                <a:lnTo>
                  <a:pt x="354" y="162"/>
                </a:lnTo>
                <a:lnTo>
                  <a:pt x="360" y="162"/>
                </a:lnTo>
                <a:lnTo>
                  <a:pt x="360" y="162"/>
                </a:lnTo>
                <a:lnTo>
                  <a:pt x="360" y="162"/>
                </a:lnTo>
                <a:lnTo>
                  <a:pt x="360" y="168"/>
                </a:lnTo>
                <a:lnTo>
                  <a:pt x="360" y="168"/>
                </a:lnTo>
                <a:lnTo>
                  <a:pt x="360" y="168"/>
                </a:lnTo>
                <a:lnTo>
                  <a:pt x="360" y="168"/>
                </a:lnTo>
                <a:lnTo>
                  <a:pt x="360" y="168"/>
                </a:lnTo>
                <a:lnTo>
                  <a:pt x="360" y="168"/>
                </a:lnTo>
                <a:lnTo>
                  <a:pt x="354" y="174"/>
                </a:lnTo>
                <a:lnTo>
                  <a:pt x="354" y="174"/>
                </a:lnTo>
                <a:lnTo>
                  <a:pt x="354" y="174"/>
                </a:lnTo>
                <a:lnTo>
                  <a:pt x="354" y="174"/>
                </a:lnTo>
                <a:lnTo>
                  <a:pt x="354" y="174"/>
                </a:lnTo>
                <a:lnTo>
                  <a:pt x="354" y="174"/>
                </a:lnTo>
                <a:lnTo>
                  <a:pt x="354" y="180"/>
                </a:lnTo>
                <a:lnTo>
                  <a:pt x="354" y="180"/>
                </a:lnTo>
                <a:lnTo>
                  <a:pt x="354" y="180"/>
                </a:lnTo>
                <a:lnTo>
                  <a:pt x="354" y="180"/>
                </a:lnTo>
                <a:lnTo>
                  <a:pt x="354" y="180"/>
                </a:lnTo>
                <a:lnTo>
                  <a:pt x="354" y="180"/>
                </a:lnTo>
                <a:lnTo>
                  <a:pt x="348" y="186"/>
                </a:lnTo>
                <a:lnTo>
                  <a:pt x="348" y="186"/>
                </a:lnTo>
                <a:lnTo>
                  <a:pt x="348" y="186"/>
                </a:lnTo>
                <a:lnTo>
                  <a:pt x="348" y="186"/>
                </a:lnTo>
                <a:lnTo>
                  <a:pt x="348" y="186"/>
                </a:lnTo>
                <a:lnTo>
                  <a:pt x="342" y="192"/>
                </a:lnTo>
                <a:lnTo>
                  <a:pt x="342" y="192"/>
                </a:lnTo>
                <a:lnTo>
                  <a:pt x="342" y="192"/>
                </a:lnTo>
                <a:lnTo>
                  <a:pt x="336" y="192"/>
                </a:lnTo>
                <a:lnTo>
                  <a:pt x="336" y="192"/>
                </a:lnTo>
                <a:lnTo>
                  <a:pt x="336" y="192"/>
                </a:lnTo>
                <a:lnTo>
                  <a:pt x="330" y="198"/>
                </a:lnTo>
                <a:lnTo>
                  <a:pt x="330" y="198"/>
                </a:lnTo>
                <a:lnTo>
                  <a:pt x="330" y="204"/>
                </a:lnTo>
                <a:lnTo>
                  <a:pt x="324" y="204"/>
                </a:lnTo>
                <a:lnTo>
                  <a:pt x="324" y="204"/>
                </a:lnTo>
                <a:lnTo>
                  <a:pt x="324" y="210"/>
                </a:lnTo>
                <a:lnTo>
                  <a:pt x="324" y="210"/>
                </a:lnTo>
                <a:lnTo>
                  <a:pt x="324" y="210"/>
                </a:lnTo>
                <a:lnTo>
                  <a:pt x="324" y="210"/>
                </a:lnTo>
                <a:lnTo>
                  <a:pt x="324" y="210"/>
                </a:lnTo>
                <a:lnTo>
                  <a:pt x="318" y="210"/>
                </a:lnTo>
                <a:lnTo>
                  <a:pt x="318" y="216"/>
                </a:lnTo>
                <a:lnTo>
                  <a:pt x="318" y="216"/>
                </a:lnTo>
                <a:lnTo>
                  <a:pt x="318" y="222"/>
                </a:lnTo>
                <a:lnTo>
                  <a:pt x="318" y="222"/>
                </a:lnTo>
                <a:lnTo>
                  <a:pt x="312" y="222"/>
                </a:lnTo>
                <a:lnTo>
                  <a:pt x="318" y="228"/>
                </a:lnTo>
                <a:lnTo>
                  <a:pt x="318" y="234"/>
                </a:lnTo>
                <a:lnTo>
                  <a:pt x="330" y="252"/>
                </a:lnTo>
                <a:lnTo>
                  <a:pt x="330" y="258"/>
                </a:lnTo>
                <a:lnTo>
                  <a:pt x="330" y="258"/>
                </a:lnTo>
                <a:lnTo>
                  <a:pt x="330" y="258"/>
                </a:lnTo>
                <a:lnTo>
                  <a:pt x="330" y="258"/>
                </a:lnTo>
                <a:lnTo>
                  <a:pt x="330" y="258"/>
                </a:lnTo>
                <a:lnTo>
                  <a:pt x="330" y="258"/>
                </a:lnTo>
                <a:lnTo>
                  <a:pt x="330" y="258"/>
                </a:lnTo>
                <a:lnTo>
                  <a:pt x="330" y="258"/>
                </a:lnTo>
                <a:lnTo>
                  <a:pt x="330" y="258"/>
                </a:lnTo>
                <a:lnTo>
                  <a:pt x="330" y="264"/>
                </a:lnTo>
                <a:lnTo>
                  <a:pt x="330" y="264"/>
                </a:lnTo>
                <a:lnTo>
                  <a:pt x="324" y="264"/>
                </a:lnTo>
                <a:lnTo>
                  <a:pt x="324" y="264"/>
                </a:lnTo>
                <a:lnTo>
                  <a:pt x="324" y="264"/>
                </a:lnTo>
                <a:lnTo>
                  <a:pt x="324" y="264"/>
                </a:lnTo>
                <a:lnTo>
                  <a:pt x="324" y="264"/>
                </a:lnTo>
                <a:lnTo>
                  <a:pt x="318" y="264"/>
                </a:lnTo>
                <a:lnTo>
                  <a:pt x="318" y="270"/>
                </a:lnTo>
                <a:lnTo>
                  <a:pt x="318" y="270"/>
                </a:lnTo>
                <a:lnTo>
                  <a:pt x="318" y="270"/>
                </a:lnTo>
                <a:lnTo>
                  <a:pt x="318" y="270"/>
                </a:lnTo>
                <a:lnTo>
                  <a:pt x="318" y="270"/>
                </a:lnTo>
                <a:lnTo>
                  <a:pt x="312" y="270"/>
                </a:lnTo>
                <a:lnTo>
                  <a:pt x="312" y="270"/>
                </a:lnTo>
                <a:lnTo>
                  <a:pt x="312" y="270"/>
                </a:lnTo>
                <a:lnTo>
                  <a:pt x="312" y="276"/>
                </a:lnTo>
                <a:lnTo>
                  <a:pt x="312" y="276"/>
                </a:lnTo>
                <a:lnTo>
                  <a:pt x="312" y="276"/>
                </a:lnTo>
                <a:lnTo>
                  <a:pt x="312" y="276"/>
                </a:lnTo>
                <a:lnTo>
                  <a:pt x="312" y="276"/>
                </a:lnTo>
                <a:lnTo>
                  <a:pt x="312" y="276"/>
                </a:lnTo>
                <a:lnTo>
                  <a:pt x="306" y="276"/>
                </a:lnTo>
                <a:lnTo>
                  <a:pt x="306" y="276"/>
                </a:lnTo>
                <a:lnTo>
                  <a:pt x="306" y="276"/>
                </a:lnTo>
                <a:lnTo>
                  <a:pt x="306" y="276"/>
                </a:lnTo>
                <a:lnTo>
                  <a:pt x="306" y="276"/>
                </a:lnTo>
                <a:lnTo>
                  <a:pt x="306" y="276"/>
                </a:lnTo>
                <a:lnTo>
                  <a:pt x="306" y="276"/>
                </a:lnTo>
                <a:lnTo>
                  <a:pt x="306" y="276"/>
                </a:lnTo>
                <a:lnTo>
                  <a:pt x="306" y="276"/>
                </a:lnTo>
                <a:lnTo>
                  <a:pt x="306" y="276"/>
                </a:lnTo>
                <a:lnTo>
                  <a:pt x="300" y="276"/>
                </a:lnTo>
                <a:lnTo>
                  <a:pt x="300" y="276"/>
                </a:lnTo>
                <a:lnTo>
                  <a:pt x="300" y="276"/>
                </a:lnTo>
                <a:lnTo>
                  <a:pt x="300" y="276"/>
                </a:lnTo>
                <a:lnTo>
                  <a:pt x="300" y="282"/>
                </a:lnTo>
                <a:lnTo>
                  <a:pt x="300" y="276"/>
                </a:lnTo>
                <a:lnTo>
                  <a:pt x="300" y="282"/>
                </a:lnTo>
                <a:lnTo>
                  <a:pt x="300" y="282"/>
                </a:lnTo>
                <a:lnTo>
                  <a:pt x="300" y="282"/>
                </a:lnTo>
                <a:lnTo>
                  <a:pt x="300" y="282"/>
                </a:lnTo>
                <a:lnTo>
                  <a:pt x="300" y="282"/>
                </a:lnTo>
                <a:lnTo>
                  <a:pt x="300" y="282"/>
                </a:lnTo>
                <a:lnTo>
                  <a:pt x="300" y="282"/>
                </a:lnTo>
                <a:lnTo>
                  <a:pt x="300" y="282"/>
                </a:lnTo>
                <a:lnTo>
                  <a:pt x="300" y="282"/>
                </a:lnTo>
                <a:lnTo>
                  <a:pt x="294" y="282"/>
                </a:lnTo>
                <a:lnTo>
                  <a:pt x="294" y="282"/>
                </a:lnTo>
                <a:lnTo>
                  <a:pt x="294" y="282"/>
                </a:lnTo>
                <a:lnTo>
                  <a:pt x="294" y="282"/>
                </a:lnTo>
                <a:lnTo>
                  <a:pt x="294" y="282"/>
                </a:lnTo>
                <a:lnTo>
                  <a:pt x="294" y="282"/>
                </a:lnTo>
                <a:lnTo>
                  <a:pt x="294" y="276"/>
                </a:lnTo>
                <a:lnTo>
                  <a:pt x="288" y="282"/>
                </a:lnTo>
                <a:lnTo>
                  <a:pt x="288" y="276"/>
                </a:lnTo>
                <a:lnTo>
                  <a:pt x="288" y="276"/>
                </a:lnTo>
                <a:lnTo>
                  <a:pt x="288" y="276"/>
                </a:lnTo>
                <a:lnTo>
                  <a:pt x="288" y="276"/>
                </a:lnTo>
                <a:lnTo>
                  <a:pt x="288" y="276"/>
                </a:lnTo>
                <a:lnTo>
                  <a:pt x="282" y="276"/>
                </a:lnTo>
                <a:lnTo>
                  <a:pt x="282" y="276"/>
                </a:lnTo>
                <a:lnTo>
                  <a:pt x="282" y="276"/>
                </a:lnTo>
                <a:lnTo>
                  <a:pt x="282" y="276"/>
                </a:lnTo>
                <a:lnTo>
                  <a:pt x="282" y="276"/>
                </a:lnTo>
                <a:lnTo>
                  <a:pt x="282" y="276"/>
                </a:lnTo>
                <a:lnTo>
                  <a:pt x="282" y="276"/>
                </a:lnTo>
                <a:lnTo>
                  <a:pt x="282" y="282"/>
                </a:lnTo>
                <a:lnTo>
                  <a:pt x="282" y="282"/>
                </a:lnTo>
                <a:lnTo>
                  <a:pt x="282" y="282"/>
                </a:lnTo>
                <a:lnTo>
                  <a:pt x="282" y="282"/>
                </a:lnTo>
                <a:lnTo>
                  <a:pt x="282" y="282"/>
                </a:lnTo>
                <a:lnTo>
                  <a:pt x="282" y="282"/>
                </a:lnTo>
                <a:lnTo>
                  <a:pt x="282" y="282"/>
                </a:lnTo>
                <a:lnTo>
                  <a:pt x="282" y="282"/>
                </a:lnTo>
                <a:lnTo>
                  <a:pt x="282" y="282"/>
                </a:lnTo>
                <a:lnTo>
                  <a:pt x="282" y="282"/>
                </a:lnTo>
                <a:lnTo>
                  <a:pt x="282" y="282"/>
                </a:lnTo>
                <a:lnTo>
                  <a:pt x="282" y="282"/>
                </a:lnTo>
                <a:lnTo>
                  <a:pt x="276" y="282"/>
                </a:lnTo>
                <a:lnTo>
                  <a:pt x="276" y="282"/>
                </a:lnTo>
                <a:lnTo>
                  <a:pt x="276" y="282"/>
                </a:lnTo>
                <a:lnTo>
                  <a:pt x="276" y="282"/>
                </a:lnTo>
                <a:lnTo>
                  <a:pt x="276" y="282"/>
                </a:lnTo>
                <a:lnTo>
                  <a:pt x="276" y="282"/>
                </a:lnTo>
                <a:lnTo>
                  <a:pt x="276" y="282"/>
                </a:lnTo>
                <a:lnTo>
                  <a:pt x="276" y="282"/>
                </a:lnTo>
                <a:lnTo>
                  <a:pt x="276" y="282"/>
                </a:lnTo>
                <a:lnTo>
                  <a:pt x="270" y="282"/>
                </a:lnTo>
                <a:lnTo>
                  <a:pt x="270" y="282"/>
                </a:lnTo>
                <a:lnTo>
                  <a:pt x="270" y="282"/>
                </a:lnTo>
                <a:lnTo>
                  <a:pt x="270" y="282"/>
                </a:lnTo>
                <a:lnTo>
                  <a:pt x="270" y="282"/>
                </a:lnTo>
                <a:lnTo>
                  <a:pt x="270" y="282"/>
                </a:lnTo>
                <a:lnTo>
                  <a:pt x="270" y="282"/>
                </a:lnTo>
                <a:lnTo>
                  <a:pt x="270" y="282"/>
                </a:lnTo>
                <a:lnTo>
                  <a:pt x="270" y="282"/>
                </a:lnTo>
                <a:lnTo>
                  <a:pt x="270" y="282"/>
                </a:lnTo>
                <a:lnTo>
                  <a:pt x="264" y="282"/>
                </a:lnTo>
                <a:lnTo>
                  <a:pt x="264" y="282"/>
                </a:lnTo>
                <a:lnTo>
                  <a:pt x="264" y="282"/>
                </a:lnTo>
                <a:lnTo>
                  <a:pt x="264" y="282"/>
                </a:lnTo>
                <a:lnTo>
                  <a:pt x="264" y="282"/>
                </a:lnTo>
                <a:lnTo>
                  <a:pt x="264" y="282"/>
                </a:lnTo>
                <a:lnTo>
                  <a:pt x="264" y="282"/>
                </a:lnTo>
                <a:lnTo>
                  <a:pt x="264" y="282"/>
                </a:lnTo>
                <a:lnTo>
                  <a:pt x="264" y="282"/>
                </a:lnTo>
                <a:lnTo>
                  <a:pt x="264" y="282"/>
                </a:lnTo>
                <a:lnTo>
                  <a:pt x="264" y="282"/>
                </a:lnTo>
                <a:lnTo>
                  <a:pt x="264" y="282"/>
                </a:lnTo>
                <a:lnTo>
                  <a:pt x="264" y="282"/>
                </a:lnTo>
                <a:lnTo>
                  <a:pt x="264" y="282"/>
                </a:lnTo>
                <a:lnTo>
                  <a:pt x="264" y="282"/>
                </a:lnTo>
                <a:lnTo>
                  <a:pt x="264" y="282"/>
                </a:lnTo>
                <a:lnTo>
                  <a:pt x="264" y="282"/>
                </a:lnTo>
                <a:lnTo>
                  <a:pt x="264" y="282"/>
                </a:lnTo>
                <a:lnTo>
                  <a:pt x="264" y="288"/>
                </a:lnTo>
                <a:lnTo>
                  <a:pt x="264" y="288"/>
                </a:lnTo>
                <a:lnTo>
                  <a:pt x="264" y="288"/>
                </a:lnTo>
                <a:lnTo>
                  <a:pt x="264" y="288"/>
                </a:lnTo>
                <a:lnTo>
                  <a:pt x="264" y="288"/>
                </a:lnTo>
                <a:lnTo>
                  <a:pt x="264" y="288"/>
                </a:lnTo>
                <a:lnTo>
                  <a:pt x="264" y="288"/>
                </a:lnTo>
                <a:lnTo>
                  <a:pt x="264" y="288"/>
                </a:lnTo>
                <a:lnTo>
                  <a:pt x="264" y="288"/>
                </a:lnTo>
                <a:lnTo>
                  <a:pt x="264" y="288"/>
                </a:lnTo>
                <a:lnTo>
                  <a:pt x="264" y="288"/>
                </a:lnTo>
                <a:lnTo>
                  <a:pt x="258" y="288"/>
                </a:lnTo>
                <a:lnTo>
                  <a:pt x="258" y="288"/>
                </a:lnTo>
                <a:lnTo>
                  <a:pt x="258" y="288"/>
                </a:lnTo>
                <a:lnTo>
                  <a:pt x="258" y="288"/>
                </a:lnTo>
                <a:lnTo>
                  <a:pt x="258" y="288"/>
                </a:lnTo>
                <a:lnTo>
                  <a:pt x="258" y="288"/>
                </a:lnTo>
                <a:lnTo>
                  <a:pt x="258" y="288"/>
                </a:lnTo>
                <a:lnTo>
                  <a:pt x="258" y="288"/>
                </a:lnTo>
                <a:lnTo>
                  <a:pt x="258" y="288"/>
                </a:lnTo>
                <a:lnTo>
                  <a:pt x="258" y="288"/>
                </a:lnTo>
                <a:lnTo>
                  <a:pt x="258" y="288"/>
                </a:lnTo>
                <a:lnTo>
                  <a:pt x="258" y="288"/>
                </a:lnTo>
                <a:lnTo>
                  <a:pt x="258" y="288"/>
                </a:lnTo>
                <a:lnTo>
                  <a:pt x="258" y="288"/>
                </a:lnTo>
                <a:lnTo>
                  <a:pt x="258" y="288"/>
                </a:lnTo>
                <a:lnTo>
                  <a:pt x="258" y="288"/>
                </a:lnTo>
                <a:lnTo>
                  <a:pt x="258" y="288"/>
                </a:lnTo>
                <a:lnTo>
                  <a:pt x="258" y="288"/>
                </a:lnTo>
                <a:lnTo>
                  <a:pt x="258" y="288"/>
                </a:lnTo>
                <a:lnTo>
                  <a:pt x="258" y="288"/>
                </a:lnTo>
                <a:lnTo>
                  <a:pt x="258" y="288"/>
                </a:lnTo>
                <a:lnTo>
                  <a:pt x="258" y="288"/>
                </a:lnTo>
                <a:lnTo>
                  <a:pt x="258" y="288"/>
                </a:lnTo>
                <a:lnTo>
                  <a:pt x="258" y="288"/>
                </a:lnTo>
                <a:lnTo>
                  <a:pt x="258" y="294"/>
                </a:lnTo>
                <a:lnTo>
                  <a:pt x="258" y="294"/>
                </a:lnTo>
                <a:lnTo>
                  <a:pt x="258" y="294"/>
                </a:lnTo>
                <a:lnTo>
                  <a:pt x="258" y="294"/>
                </a:lnTo>
                <a:lnTo>
                  <a:pt x="258" y="294"/>
                </a:lnTo>
                <a:lnTo>
                  <a:pt x="258" y="294"/>
                </a:lnTo>
                <a:lnTo>
                  <a:pt x="258" y="294"/>
                </a:lnTo>
                <a:lnTo>
                  <a:pt x="258" y="294"/>
                </a:lnTo>
                <a:lnTo>
                  <a:pt x="258" y="294"/>
                </a:lnTo>
                <a:lnTo>
                  <a:pt x="258" y="294"/>
                </a:lnTo>
                <a:lnTo>
                  <a:pt x="258" y="294"/>
                </a:lnTo>
                <a:lnTo>
                  <a:pt x="258" y="294"/>
                </a:lnTo>
                <a:lnTo>
                  <a:pt x="258" y="294"/>
                </a:lnTo>
                <a:lnTo>
                  <a:pt x="258" y="294"/>
                </a:lnTo>
                <a:lnTo>
                  <a:pt x="258" y="294"/>
                </a:lnTo>
                <a:lnTo>
                  <a:pt x="258" y="300"/>
                </a:lnTo>
                <a:lnTo>
                  <a:pt x="258" y="300"/>
                </a:lnTo>
                <a:lnTo>
                  <a:pt x="258" y="300"/>
                </a:lnTo>
                <a:lnTo>
                  <a:pt x="258" y="300"/>
                </a:lnTo>
                <a:lnTo>
                  <a:pt x="258" y="300"/>
                </a:lnTo>
                <a:lnTo>
                  <a:pt x="258" y="300"/>
                </a:lnTo>
                <a:lnTo>
                  <a:pt x="258" y="300"/>
                </a:lnTo>
                <a:lnTo>
                  <a:pt x="258" y="300"/>
                </a:lnTo>
                <a:lnTo>
                  <a:pt x="258" y="300"/>
                </a:lnTo>
                <a:lnTo>
                  <a:pt x="258" y="300"/>
                </a:lnTo>
                <a:lnTo>
                  <a:pt x="258" y="306"/>
                </a:lnTo>
                <a:lnTo>
                  <a:pt x="258" y="306"/>
                </a:lnTo>
                <a:lnTo>
                  <a:pt x="258" y="306"/>
                </a:lnTo>
                <a:lnTo>
                  <a:pt x="258" y="306"/>
                </a:lnTo>
                <a:lnTo>
                  <a:pt x="258" y="306"/>
                </a:lnTo>
                <a:lnTo>
                  <a:pt x="258" y="306"/>
                </a:lnTo>
                <a:lnTo>
                  <a:pt x="258" y="306"/>
                </a:lnTo>
                <a:lnTo>
                  <a:pt x="258" y="306"/>
                </a:lnTo>
                <a:lnTo>
                  <a:pt x="258" y="312"/>
                </a:lnTo>
                <a:lnTo>
                  <a:pt x="264" y="312"/>
                </a:lnTo>
                <a:lnTo>
                  <a:pt x="264" y="312"/>
                </a:lnTo>
                <a:lnTo>
                  <a:pt x="264" y="312"/>
                </a:lnTo>
                <a:lnTo>
                  <a:pt x="264" y="312"/>
                </a:lnTo>
                <a:lnTo>
                  <a:pt x="264" y="312"/>
                </a:lnTo>
                <a:lnTo>
                  <a:pt x="264" y="318"/>
                </a:lnTo>
                <a:lnTo>
                  <a:pt x="264" y="318"/>
                </a:lnTo>
                <a:lnTo>
                  <a:pt x="264" y="318"/>
                </a:lnTo>
                <a:lnTo>
                  <a:pt x="264" y="318"/>
                </a:lnTo>
                <a:lnTo>
                  <a:pt x="270" y="324"/>
                </a:lnTo>
                <a:lnTo>
                  <a:pt x="270" y="324"/>
                </a:lnTo>
                <a:lnTo>
                  <a:pt x="264" y="324"/>
                </a:lnTo>
                <a:lnTo>
                  <a:pt x="270" y="324"/>
                </a:lnTo>
                <a:lnTo>
                  <a:pt x="270" y="330"/>
                </a:lnTo>
                <a:lnTo>
                  <a:pt x="270" y="330"/>
                </a:lnTo>
                <a:lnTo>
                  <a:pt x="270" y="330"/>
                </a:lnTo>
                <a:lnTo>
                  <a:pt x="270" y="336"/>
                </a:lnTo>
                <a:lnTo>
                  <a:pt x="270" y="336"/>
                </a:lnTo>
                <a:lnTo>
                  <a:pt x="270" y="336"/>
                </a:lnTo>
                <a:lnTo>
                  <a:pt x="270" y="336"/>
                </a:lnTo>
                <a:lnTo>
                  <a:pt x="264" y="336"/>
                </a:lnTo>
                <a:lnTo>
                  <a:pt x="264" y="336"/>
                </a:lnTo>
                <a:lnTo>
                  <a:pt x="264" y="336"/>
                </a:lnTo>
                <a:lnTo>
                  <a:pt x="264" y="336"/>
                </a:lnTo>
                <a:lnTo>
                  <a:pt x="264" y="336"/>
                </a:lnTo>
                <a:lnTo>
                  <a:pt x="258" y="336"/>
                </a:lnTo>
                <a:lnTo>
                  <a:pt x="258" y="336"/>
                </a:lnTo>
                <a:lnTo>
                  <a:pt x="258" y="336"/>
                </a:lnTo>
                <a:lnTo>
                  <a:pt x="258" y="336"/>
                </a:lnTo>
                <a:lnTo>
                  <a:pt x="258" y="336"/>
                </a:lnTo>
                <a:lnTo>
                  <a:pt x="258" y="336"/>
                </a:lnTo>
                <a:lnTo>
                  <a:pt x="258" y="342"/>
                </a:lnTo>
                <a:lnTo>
                  <a:pt x="258" y="342"/>
                </a:lnTo>
                <a:lnTo>
                  <a:pt x="252" y="336"/>
                </a:lnTo>
                <a:lnTo>
                  <a:pt x="252" y="342"/>
                </a:lnTo>
                <a:lnTo>
                  <a:pt x="252" y="336"/>
                </a:lnTo>
                <a:lnTo>
                  <a:pt x="252" y="342"/>
                </a:lnTo>
                <a:lnTo>
                  <a:pt x="252" y="336"/>
                </a:lnTo>
                <a:lnTo>
                  <a:pt x="252" y="336"/>
                </a:lnTo>
                <a:lnTo>
                  <a:pt x="252" y="336"/>
                </a:lnTo>
                <a:lnTo>
                  <a:pt x="252" y="336"/>
                </a:lnTo>
                <a:lnTo>
                  <a:pt x="246" y="336"/>
                </a:lnTo>
                <a:lnTo>
                  <a:pt x="246" y="336"/>
                </a:lnTo>
                <a:lnTo>
                  <a:pt x="246" y="336"/>
                </a:lnTo>
                <a:lnTo>
                  <a:pt x="246" y="336"/>
                </a:lnTo>
                <a:lnTo>
                  <a:pt x="246" y="342"/>
                </a:lnTo>
                <a:lnTo>
                  <a:pt x="246" y="342"/>
                </a:lnTo>
                <a:lnTo>
                  <a:pt x="246" y="342"/>
                </a:lnTo>
                <a:lnTo>
                  <a:pt x="246" y="342"/>
                </a:lnTo>
                <a:lnTo>
                  <a:pt x="246" y="342"/>
                </a:lnTo>
                <a:lnTo>
                  <a:pt x="240" y="342"/>
                </a:lnTo>
                <a:lnTo>
                  <a:pt x="240" y="342"/>
                </a:lnTo>
                <a:lnTo>
                  <a:pt x="240" y="342"/>
                </a:lnTo>
                <a:lnTo>
                  <a:pt x="240" y="342"/>
                </a:lnTo>
                <a:lnTo>
                  <a:pt x="240" y="342"/>
                </a:lnTo>
                <a:lnTo>
                  <a:pt x="240" y="342"/>
                </a:lnTo>
                <a:lnTo>
                  <a:pt x="240" y="342"/>
                </a:lnTo>
                <a:lnTo>
                  <a:pt x="240" y="342"/>
                </a:lnTo>
                <a:lnTo>
                  <a:pt x="240" y="342"/>
                </a:lnTo>
                <a:lnTo>
                  <a:pt x="240" y="342"/>
                </a:lnTo>
                <a:lnTo>
                  <a:pt x="240" y="342"/>
                </a:lnTo>
                <a:lnTo>
                  <a:pt x="240" y="342"/>
                </a:lnTo>
                <a:lnTo>
                  <a:pt x="240" y="342"/>
                </a:lnTo>
                <a:lnTo>
                  <a:pt x="234" y="342"/>
                </a:lnTo>
                <a:lnTo>
                  <a:pt x="234" y="342"/>
                </a:lnTo>
                <a:lnTo>
                  <a:pt x="234" y="342"/>
                </a:lnTo>
                <a:lnTo>
                  <a:pt x="234" y="342"/>
                </a:lnTo>
                <a:lnTo>
                  <a:pt x="234" y="342"/>
                </a:lnTo>
                <a:lnTo>
                  <a:pt x="234" y="342"/>
                </a:lnTo>
                <a:lnTo>
                  <a:pt x="234" y="342"/>
                </a:lnTo>
                <a:lnTo>
                  <a:pt x="234" y="342"/>
                </a:lnTo>
                <a:lnTo>
                  <a:pt x="234" y="342"/>
                </a:lnTo>
                <a:lnTo>
                  <a:pt x="234" y="342"/>
                </a:lnTo>
                <a:lnTo>
                  <a:pt x="234" y="342"/>
                </a:lnTo>
                <a:lnTo>
                  <a:pt x="234" y="342"/>
                </a:lnTo>
                <a:lnTo>
                  <a:pt x="234" y="342"/>
                </a:lnTo>
                <a:lnTo>
                  <a:pt x="234" y="342"/>
                </a:lnTo>
                <a:lnTo>
                  <a:pt x="234" y="342"/>
                </a:lnTo>
                <a:lnTo>
                  <a:pt x="234" y="342"/>
                </a:lnTo>
                <a:lnTo>
                  <a:pt x="228" y="342"/>
                </a:lnTo>
                <a:lnTo>
                  <a:pt x="228" y="342"/>
                </a:lnTo>
                <a:lnTo>
                  <a:pt x="228" y="342"/>
                </a:lnTo>
                <a:lnTo>
                  <a:pt x="228" y="342"/>
                </a:lnTo>
                <a:lnTo>
                  <a:pt x="228" y="342"/>
                </a:lnTo>
                <a:lnTo>
                  <a:pt x="228" y="342"/>
                </a:lnTo>
                <a:lnTo>
                  <a:pt x="228" y="342"/>
                </a:lnTo>
                <a:lnTo>
                  <a:pt x="228" y="342"/>
                </a:lnTo>
                <a:lnTo>
                  <a:pt x="228" y="342"/>
                </a:lnTo>
                <a:lnTo>
                  <a:pt x="228" y="342"/>
                </a:lnTo>
                <a:lnTo>
                  <a:pt x="222" y="342"/>
                </a:lnTo>
                <a:lnTo>
                  <a:pt x="222" y="342"/>
                </a:lnTo>
                <a:lnTo>
                  <a:pt x="222" y="342"/>
                </a:lnTo>
                <a:lnTo>
                  <a:pt x="222" y="342"/>
                </a:lnTo>
                <a:lnTo>
                  <a:pt x="222" y="342"/>
                </a:lnTo>
                <a:lnTo>
                  <a:pt x="222" y="336"/>
                </a:lnTo>
                <a:lnTo>
                  <a:pt x="222" y="336"/>
                </a:lnTo>
                <a:lnTo>
                  <a:pt x="222" y="336"/>
                </a:lnTo>
                <a:lnTo>
                  <a:pt x="222" y="336"/>
                </a:lnTo>
                <a:lnTo>
                  <a:pt x="222" y="336"/>
                </a:lnTo>
                <a:lnTo>
                  <a:pt x="222" y="336"/>
                </a:lnTo>
                <a:lnTo>
                  <a:pt x="222" y="336"/>
                </a:lnTo>
                <a:lnTo>
                  <a:pt x="222" y="336"/>
                </a:lnTo>
                <a:lnTo>
                  <a:pt x="222" y="336"/>
                </a:lnTo>
                <a:lnTo>
                  <a:pt x="216" y="336"/>
                </a:lnTo>
                <a:lnTo>
                  <a:pt x="216" y="330"/>
                </a:lnTo>
                <a:lnTo>
                  <a:pt x="216" y="336"/>
                </a:lnTo>
                <a:lnTo>
                  <a:pt x="216" y="336"/>
                </a:lnTo>
                <a:lnTo>
                  <a:pt x="216" y="336"/>
                </a:lnTo>
                <a:lnTo>
                  <a:pt x="216" y="336"/>
                </a:lnTo>
                <a:lnTo>
                  <a:pt x="216" y="336"/>
                </a:lnTo>
                <a:lnTo>
                  <a:pt x="216" y="330"/>
                </a:lnTo>
                <a:lnTo>
                  <a:pt x="216" y="330"/>
                </a:lnTo>
                <a:lnTo>
                  <a:pt x="216" y="330"/>
                </a:lnTo>
                <a:lnTo>
                  <a:pt x="216" y="330"/>
                </a:lnTo>
                <a:lnTo>
                  <a:pt x="210" y="330"/>
                </a:lnTo>
                <a:lnTo>
                  <a:pt x="210" y="330"/>
                </a:lnTo>
                <a:lnTo>
                  <a:pt x="210" y="330"/>
                </a:lnTo>
                <a:lnTo>
                  <a:pt x="210" y="330"/>
                </a:lnTo>
                <a:lnTo>
                  <a:pt x="210" y="330"/>
                </a:lnTo>
                <a:lnTo>
                  <a:pt x="210" y="330"/>
                </a:lnTo>
                <a:lnTo>
                  <a:pt x="210" y="330"/>
                </a:lnTo>
                <a:lnTo>
                  <a:pt x="210" y="330"/>
                </a:lnTo>
                <a:lnTo>
                  <a:pt x="210" y="330"/>
                </a:lnTo>
                <a:lnTo>
                  <a:pt x="210" y="330"/>
                </a:lnTo>
                <a:lnTo>
                  <a:pt x="210" y="330"/>
                </a:lnTo>
                <a:lnTo>
                  <a:pt x="210" y="330"/>
                </a:lnTo>
                <a:lnTo>
                  <a:pt x="204" y="330"/>
                </a:lnTo>
                <a:lnTo>
                  <a:pt x="204" y="330"/>
                </a:lnTo>
                <a:lnTo>
                  <a:pt x="204" y="324"/>
                </a:lnTo>
                <a:lnTo>
                  <a:pt x="204" y="324"/>
                </a:lnTo>
                <a:lnTo>
                  <a:pt x="204" y="324"/>
                </a:lnTo>
                <a:lnTo>
                  <a:pt x="204" y="330"/>
                </a:lnTo>
                <a:lnTo>
                  <a:pt x="204" y="330"/>
                </a:lnTo>
                <a:lnTo>
                  <a:pt x="204" y="330"/>
                </a:lnTo>
                <a:lnTo>
                  <a:pt x="204" y="330"/>
                </a:lnTo>
                <a:lnTo>
                  <a:pt x="198" y="330"/>
                </a:lnTo>
                <a:lnTo>
                  <a:pt x="198" y="324"/>
                </a:lnTo>
                <a:lnTo>
                  <a:pt x="198" y="324"/>
                </a:lnTo>
                <a:lnTo>
                  <a:pt x="192" y="324"/>
                </a:lnTo>
                <a:lnTo>
                  <a:pt x="192" y="324"/>
                </a:lnTo>
                <a:lnTo>
                  <a:pt x="192" y="324"/>
                </a:lnTo>
                <a:lnTo>
                  <a:pt x="192" y="324"/>
                </a:lnTo>
                <a:lnTo>
                  <a:pt x="192" y="324"/>
                </a:lnTo>
                <a:lnTo>
                  <a:pt x="192" y="324"/>
                </a:lnTo>
                <a:lnTo>
                  <a:pt x="186" y="324"/>
                </a:lnTo>
                <a:lnTo>
                  <a:pt x="186" y="324"/>
                </a:lnTo>
                <a:lnTo>
                  <a:pt x="186" y="324"/>
                </a:lnTo>
                <a:lnTo>
                  <a:pt x="186" y="324"/>
                </a:lnTo>
                <a:lnTo>
                  <a:pt x="180" y="324"/>
                </a:lnTo>
                <a:lnTo>
                  <a:pt x="180" y="324"/>
                </a:lnTo>
                <a:lnTo>
                  <a:pt x="180" y="324"/>
                </a:lnTo>
                <a:lnTo>
                  <a:pt x="180" y="324"/>
                </a:lnTo>
                <a:lnTo>
                  <a:pt x="174" y="324"/>
                </a:lnTo>
                <a:lnTo>
                  <a:pt x="174" y="324"/>
                </a:lnTo>
                <a:lnTo>
                  <a:pt x="174" y="324"/>
                </a:lnTo>
                <a:lnTo>
                  <a:pt x="174" y="324"/>
                </a:lnTo>
                <a:lnTo>
                  <a:pt x="174" y="318"/>
                </a:lnTo>
                <a:lnTo>
                  <a:pt x="174" y="318"/>
                </a:lnTo>
                <a:lnTo>
                  <a:pt x="174" y="312"/>
                </a:lnTo>
                <a:lnTo>
                  <a:pt x="174" y="312"/>
                </a:lnTo>
                <a:lnTo>
                  <a:pt x="174" y="306"/>
                </a:lnTo>
                <a:lnTo>
                  <a:pt x="174" y="294"/>
                </a:lnTo>
                <a:lnTo>
                  <a:pt x="174" y="294"/>
                </a:lnTo>
                <a:lnTo>
                  <a:pt x="174" y="288"/>
                </a:lnTo>
                <a:lnTo>
                  <a:pt x="168" y="282"/>
                </a:lnTo>
                <a:lnTo>
                  <a:pt x="168" y="282"/>
                </a:lnTo>
                <a:lnTo>
                  <a:pt x="168" y="282"/>
                </a:lnTo>
                <a:lnTo>
                  <a:pt x="168" y="276"/>
                </a:lnTo>
                <a:lnTo>
                  <a:pt x="168" y="276"/>
                </a:lnTo>
                <a:lnTo>
                  <a:pt x="168" y="270"/>
                </a:lnTo>
                <a:lnTo>
                  <a:pt x="168" y="264"/>
                </a:lnTo>
                <a:lnTo>
                  <a:pt x="168" y="264"/>
                </a:lnTo>
                <a:lnTo>
                  <a:pt x="168" y="258"/>
                </a:lnTo>
                <a:lnTo>
                  <a:pt x="168" y="258"/>
                </a:lnTo>
                <a:lnTo>
                  <a:pt x="162" y="252"/>
                </a:lnTo>
                <a:lnTo>
                  <a:pt x="156" y="246"/>
                </a:lnTo>
                <a:lnTo>
                  <a:pt x="156" y="240"/>
                </a:lnTo>
                <a:lnTo>
                  <a:pt x="156" y="246"/>
                </a:lnTo>
                <a:lnTo>
                  <a:pt x="150" y="240"/>
                </a:lnTo>
                <a:lnTo>
                  <a:pt x="144" y="240"/>
                </a:lnTo>
                <a:lnTo>
                  <a:pt x="138" y="234"/>
                </a:lnTo>
                <a:lnTo>
                  <a:pt x="132" y="234"/>
                </a:lnTo>
                <a:lnTo>
                  <a:pt x="132" y="234"/>
                </a:lnTo>
                <a:lnTo>
                  <a:pt x="126" y="234"/>
                </a:lnTo>
                <a:lnTo>
                  <a:pt x="120" y="234"/>
                </a:lnTo>
                <a:lnTo>
                  <a:pt x="120" y="234"/>
                </a:lnTo>
                <a:lnTo>
                  <a:pt x="114" y="228"/>
                </a:lnTo>
                <a:lnTo>
                  <a:pt x="114" y="222"/>
                </a:lnTo>
                <a:lnTo>
                  <a:pt x="114" y="222"/>
                </a:lnTo>
                <a:lnTo>
                  <a:pt x="114" y="222"/>
                </a:lnTo>
                <a:lnTo>
                  <a:pt x="114" y="216"/>
                </a:lnTo>
                <a:lnTo>
                  <a:pt x="114" y="216"/>
                </a:lnTo>
                <a:lnTo>
                  <a:pt x="108" y="216"/>
                </a:lnTo>
                <a:lnTo>
                  <a:pt x="108" y="216"/>
                </a:lnTo>
                <a:lnTo>
                  <a:pt x="108" y="216"/>
                </a:lnTo>
                <a:lnTo>
                  <a:pt x="102" y="216"/>
                </a:lnTo>
                <a:lnTo>
                  <a:pt x="102" y="216"/>
                </a:lnTo>
                <a:lnTo>
                  <a:pt x="96" y="216"/>
                </a:lnTo>
                <a:lnTo>
                  <a:pt x="96" y="216"/>
                </a:lnTo>
                <a:lnTo>
                  <a:pt x="96" y="216"/>
                </a:lnTo>
                <a:lnTo>
                  <a:pt x="90" y="216"/>
                </a:lnTo>
                <a:lnTo>
                  <a:pt x="90" y="216"/>
                </a:lnTo>
                <a:lnTo>
                  <a:pt x="84" y="216"/>
                </a:lnTo>
                <a:lnTo>
                  <a:pt x="78" y="216"/>
                </a:lnTo>
                <a:lnTo>
                  <a:pt x="72" y="216"/>
                </a:lnTo>
                <a:lnTo>
                  <a:pt x="72" y="216"/>
                </a:lnTo>
                <a:lnTo>
                  <a:pt x="72" y="216"/>
                </a:lnTo>
                <a:lnTo>
                  <a:pt x="72" y="216"/>
                </a:lnTo>
                <a:lnTo>
                  <a:pt x="66" y="210"/>
                </a:lnTo>
                <a:lnTo>
                  <a:pt x="66" y="210"/>
                </a:lnTo>
                <a:lnTo>
                  <a:pt x="60" y="210"/>
                </a:lnTo>
                <a:lnTo>
                  <a:pt x="60" y="210"/>
                </a:lnTo>
                <a:lnTo>
                  <a:pt x="54" y="204"/>
                </a:lnTo>
                <a:lnTo>
                  <a:pt x="54" y="204"/>
                </a:lnTo>
                <a:lnTo>
                  <a:pt x="36" y="204"/>
                </a:lnTo>
                <a:lnTo>
                  <a:pt x="36" y="210"/>
                </a:lnTo>
                <a:lnTo>
                  <a:pt x="30" y="210"/>
                </a:lnTo>
                <a:lnTo>
                  <a:pt x="30" y="210"/>
                </a:lnTo>
                <a:lnTo>
                  <a:pt x="24" y="210"/>
                </a:lnTo>
                <a:lnTo>
                  <a:pt x="24" y="210"/>
                </a:lnTo>
                <a:lnTo>
                  <a:pt x="24" y="216"/>
                </a:lnTo>
                <a:lnTo>
                  <a:pt x="24" y="216"/>
                </a:lnTo>
                <a:lnTo>
                  <a:pt x="24" y="222"/>
                </a:lnTo>
                <a:lnTo>
                  <a:pt x="24" y="222"/>
                </a:lnTo>
                <a:lnTo>
                  <a:pt x="18" y="228"/>
                </a:lnTo>
                <a:lnTo>
                  <a:pt x="18" y="228"/>
                </a:lnTo>
                <a:lnTo>
                  <a:pt x="18" y="228"/>
                </a:lnTo>
                <a:lnTo>
                  <a:pt x="18" y="222"/>
                </a:lnTo>
                <a:lnTo>
                  <a:pt x="12" y="222"/>
                </a:lnTo>
                <a:lnTo>
                  <a:pt x="12" y="222"/>
                </a:lnTo>
                <a:lnTo>
                  <a:pt x="12" y="222"/>
                </a:lnTo>
                <a:lnTo>
                  <a:pt x="6" y="222"/>
                </a:lnTo>
                <a:lnTo>
                  <a:pt x="6" y="228"/>
                </a:lnTo>
                <a:lnTo>
                  <a:pt x="6" y="228"/>
                </a:lnTo>
                <a:lnTo>
                  <a:pt x="6" y="228"/>
                </a:lnTo>
                <a:lnTo>
                  <a:pt x="6" y="228"/>
                </a:lnTo>
                <a:lnTo>
                  <a:pt x="6" y="228"/>
                </a:lnTo>
                <a:lnTo>
                  <a:pt x="0" y="22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33" name="Freeform 66"/>
          <p:cNvSpPr>
            <a:spLocks/>
          </p:cNvSpPr>
          <p:nvPr/>
        </p:nvSpPr>
        <p:spPr bwMode="auto">
          <a:xfrm>
            <a:off x="7584196" y="1661727"/>
            <a:ext cx="122057" cy="96361"/>
          </a:xfrm>
          <a:custGeom>
            <a:avLst/>
            <a:gdLst>
              <a:gd name="T0" fmla="*/ 42 w 114"/>
              <a:gd name="T1" fmla="*/ 42 h 90"/>
              <a:gd name="T2" fmla="*/ 60 w 114"/>
              <a:gd name="T3" fmla="*/ 6 h 90"/>
              <a:gd name="T4" fmla="*/ 72 w 114"/>
              <a:gd name="T5" fmla="*/ 0 h 90"/>
              <a:gd name="T6" fmla="*/ 102 w 114"/>
              <a:gd name="T7" fmla="*/ 6 h 90"/>
              <a:gd name="T8" fmla="*/ 114 w 114"/>
              <a:gd name="T9" fmla="*/ 12 h 90"/>
              <a:gd name="T10" fmla="*/ 108 w 114"/>
              <a:gd name="T11" fmla="*/ 18 h 90"/>
              <a:gd name="T12" fmla="*/ 108 w 114"/>
              <a:gd name="T13" fmla="*/ 18 h 90"/>
              <a:gd name="T14" fmla="*/ 102 w 114"/>
              <a:gd name="T15" fmla="*/ 18 h 90"/>
              <a:gd name="T16" fmla="*/ 96 w 114"/>
              <a:gd name="T17" fmla="*/ 30 h 90"/>
              <a:gd name="T18" fmla="*/ 102 w 114"/>
              <a:gd name="T19" fmla="*/ 42 h 90"/>
              <a:gd name="T20" fmla="*/ 102 w 114"/>
              <a:gd name="T21" fmla="*/ 48 h 90"/>
              <a:gd name="T22" fmla="*/ 84 w 114"/>
              <a:gd name="T23" fmla="*/ 60 h 90"/>
              <a:gd name="T24" fmla="*/ 84 w 114"/>
              <a:gd name="T25" fmla="*/ 60 h 90"/>
              <a:gd name="T26" fmla="*/ 84 w 114"/>
              <a:gd name="T27" fmla="*/ 60 h 90"/>
              <a:gd name="T28" fmla="*/ 84 w 114"/>
              <a:gd name="T29" fmla="*/ 66 h 90"/>
              <a:gd name="T30" fmla="*/ 78 w 114"/>
              <a:gd name="T31" fmla="*/ 66 h 90"/>
              <a:gd name="T32" fmla="*/ 78 w 114"/>
              <a:gd name="T33" fmla="*/ 72 h 90"/>
              <a:gd name="T34" fmla="*/ 78 w 114"/>
              <a:gd name="T35" fmla="*/ 78 h 90"/>
              <a:gd name="T36" fmla="*/ 72 w 114"/>
              <a:gd name="T37" fmla="*/ 84 h 90"/>
              <a:gd name="T38" fmla="*/ 72 w 114"/>
              <a:gd name="T39" fmla="*/ 84 h 90"/>
              <a:gd name="T40" fmla="*/ 66 w 114"/>
              <a:gd name="T41" fmla="*/ 90 h 90"/>
              <a:gd name="T42" fmla="*/ 66 w 114"/>
              <a:gd name="T43" fmla="*/ 90 h 90"/>
              <a:gd name="T44" fmla="*/ 60 w 114"/>
              <a:gd name="T45" fmla="*/ 90 h 90"/>
              <a:gd name="T46" fmla="*/ 60 w 114"/>
              <a:gd name="T47" fmla="*/ 90 h 90"/>
              <a:gd name="T48" fmla="*/ 54 w 114"/>
              <a:gd name="T49" fmla="*/ 84 h 90"/>
              <a:gd name="T50" fmla="*/ 54 w 114"/>
              <a:gd name="T51" fmla="*/ 84 h 90"/>
              <a:gd name="T52" fmla="*/ 48 w 114"/>
              <a:gd name="T53" fmla="*/ 84 h 90"/>
              <a:gd name="T54" fmla="*/ 42 w 114"/>
              <a:gd name="T55" fmla="*/ 78 h 90"/>
              <a:gd name="T56" fmla="*/ 42 w 114"/>
              <a:gd name="T57" fmla="*/ 78 h 90"/>
              <a:gd name="T58" fmla="*/ 36 w 114"/>
              <a:gd name="T59" fmla="*/ 84 h 90"/>
              <a:gd name="T60" fmla="*/ 36 w 114"/>
              <a:gd name="T61" fmla="*/ 84 h 90"/>
              <a:gd name="T62" fmla="*/ 36 w 114"/>
              <a:gd name="T63" fmla="*/ 84 h 90"/>
              <a:gd name="T64" fmla="*/ 36 w 114"/>
              <a:gd name="T65" fmla="*/ 84 h 90"/>
              <a:gd name="T66" fmla="*/ 30 w 114"/>
              <a:gd name="T67" fmla="*/ 84 h 90"/>
              <a:gd name="T68" fmla="*/ 30 w 114"/>
              <a:gd name="T69" fmla="*/ 90 h 90"/>
              <a:gd name="T70" fmla="*/ 30 w 114"/>
              <a:gd name="T71" fmla="*/ 84 h 90"/>
              <a:gd name="T72" fmla="*/ 24 w 114"/>
              <a:gd name="T73" fmla="*/ 84 h 90"/>
              <a:gd name="T74" fmla="*/ 24 w 114"/>
              <a:gd name="T75" fmla="*/ 84 h 90"/>
              <a:gd name="T76" fmla="*/ 24 w 114"/>
              <a:gd name="T77" fmla="*/ 84 h 90"/>
              <a:gd name="T78" fmla="*/ 18 w 114"/>
              <a:gd name="T79" fmla="*/ 78 h 90"/>
              <a:gd name="T80" fmla="*/ 12 w 114"/>
              <a:gd name="T81" fmla="*/ 72 h 90"/>
              <a:gd name="T82" fmla="*/ 6 w 114"/>
              <a:gd name="T83" fmla="*/ 66 h 90"/>
              <a:gd name="T84" fmla="*/ 0 w 114"/>
              <a:gd name="T85" fmla="*/ 60 h 90"/>
              <a:gd name="T86" fmla="*/ 0 w 114"/>
              <a:gd name="T87" fmla="*/ 60 h 90"/>
              <a:gd name="T88" fmla="*/ 0 w 114"/>
              <a:gd name="T89" fmla="*/ 60 h 90"/>
              <a:gd name="T90" fmla="*/ 6 w 114"/>
              <a:gd name="T91" fmla="*/ 60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14" h="90">
                <a:moveTo>
                  <a:pt x="6" y="60"/>
                </a:moveTo>
                <a:lnTo>
                  <a:pt x="30" y="48"/>
                </a:lnTo>
                <a:lnTo>
                  <a:pt x="42" y="42"/>
                </a:lnTo>
                <a:lnTo>
                  <a:pt x="48" y="36"/>
                </a:lnTo>
                <a:lnTo>
                  <a:pt x="42" y="30"/>
                </a:lnTo>
                <a:lnTo>
                  <a:pt x="60" y="6"/>
                </a:lnTo>
                <a:lnTo>
                  <a:pt x="60" y="6"/>
                </a:lnTo>
                <a:lnTo>
                  <a:pt x="72" y="0"/>
                </a:lnTo>
                <a:lnTo>
                  <a:pt x="72" y="0"/>
                </a:lnTo>
                <a:lnTo>
                  <a:pt x="90" y="6"/>
                </a:lnTo>
                <a:lnTo>
                  <a:pt x="90" y="6"/>
                </a:lnTo>
                <a:lnTo>
                  <a:pt x="102" y="6"/>
                </a:lnTo>
                <a:lnTo>
                  <a:pt x="114" y="6"/>
                </a:lnTo>
                <a:lnTo>
                  <a:pt x="114" y="12"/>
                </a:lnTo>
                <a:lnTo>
                  <a:pt x="114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8"/>
                </a:lnTo>
                <a:lnTo>
                  <a:pt x="114" y="18"/>
                </a:lnTo>
                <a:lnTo>
                  <a:pt x="114" y="18"/>
                </a:lnTo>
                <a:lnTo>
                  <a:pt x="108" y="18"/>
                </a:lnTo>
                <a:lnTo>
                  <a:pt x="108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24"/>
                </a:lnTo>
                <a:lnTo>
                  <a:pt x="96" y="30"/>
                </a:lnTo>
                <a:lnTo>
                  <a:pt x="96" y="30"/>
                </a:lnTo>
                <a:lnTo>
                  <a:pt x="96" y="36"/>
                </a:lnTo>
                <a:lnTo>
                  <a:pt x="102" y="36"/>
                </a:lnTo>
                <a:lnTo>
                  <a:pt x="102" y="42"/>
                </a:lnTo>
                <a:lnTo>
                  <a:pt x="102" y="42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84" y="54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6"/>
                </a:lnTo>
                <a:lnTo>
                  <a:pt x="84" y="66"/>
                </a:lnTo>
                <a:lnTo>
                  <a:pt x="78" y="66"/>
                </a:lnTo>
                <a:lnTo>
                  <a:pt x="84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8"/>
                </a:lnTo>
                <a:lnTo>
                  <a:pt x="72" y="78"/>
                </a:lnTo>
                <a:lnTo>
                  <a:pt x="72" y="78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66" y="84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54" y="90"/>
                </a:lnTo>
                <a:lnTo>
                  <a:pt x="54" y="90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0" y="84"/>
                </a:lnTo>
                <a:lnTo>
                  <a:pt x="30" y="84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84"/>
                </a:lnTo>
                <a:lnTo>
                  <a:pt x="30" y="84"/>
                </a:lnTo>
                <a:lnTo>
                  <a:pt x="30" y="90"/>
                </a:lnTo>
                <a:lnTo>
                  <a:pt x="30" y="90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18" y="84"/>
                </a:lnTo>
                <a:lnTo>
                  <a:pt x="18" y="84"/>
                </a:lnTo>
                <a:lnTo>
                  <a:pt x="18" y="78"/>
                </a:lnTo>
                <a:lnTo>
                  <a:pt x="18" y="78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6" y="72"/>
                </a:lnTo>
                <a:lnTo>
                  <a:pt x="6" y="66"/>
                </a:lnTo>
                <a:lnTo>
                  <a:pt x="6" y="66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34" name="Freeform 67"/>
          <p:cNvSpPr>
            <a:spLocks/>
          </p:cNvSpPr>
          <p:nvPr/>
        </p:nvSpPr>
        <p:spPr bwMode="auto">
          <a:xfrm>
            <a:off x="7648436" y="1475428"/>
            <a:ext cx="205570" cy="122058"/>
          </a:xfrm>
          <a:custGeom>
            <a:avLst/>
            <a:gdLst>
              <a:gd name="T0" fmla="*/ 0 w 192"/>
              <a:gd name="T1" fmla="*/ 48 h 114"/>
              <a:gd name="T2" fmla="*/ 30 w 192"/>
              <a:gd name="T3" fmla="*/ 54 h 114"/>
              <a:gd name="T4" fmla="*/ 60 w 192"/>
              <a:gd name="T5" fmla="*/ 72 h 114"/>
              <a:gd name="T6" fmla="*/ 66 w 192"/>
              <a:gd name="T7" fmla="*/ 54 h 114"/>
              <a:gd name="T8" fmla="*/ 78 w 192"/>
              <a:gd name="T9" fmla="*/ 48 h 114"/>
              <a:gd name="T10" fmla="*/ 144 w 192"/>
              <a:gd name="T11" fmla="*/ 24 h 114"/>
              <a:gd name="T12" fmla="*/ 144 w 192"/>
              <a:gd name="T13" fmla="*/ 18 h 114"/>
              <a:gd name="T14" fmla="*/ 144 w 192"/>
              <a:gd name="T15" fmla="*/ 18 h 114"/>
              <a:gd name="T16" fmla="*/ 150 w 192"/>
              <a:gd name="T17" fmla="*/ 18 h 114"/>
              <a:gd name="T18" fmla="*/ 150 w 192"/>
              <a:gd name="T19" fmla="*/ 12 h 114"/>
              <a:gd name="T20" fmla="*/ 150 w 192"/>
              <a:gd name="T21" fmla="*/ 12 h 114"/>
              <a:gd name="T22" fmla="*/ 150 w 192"/>
              <a:gd name="T23" fmla="*/ 6 h 114"/>
              <a:gd name="T24" fmla="*/ 150 w 192"/>
              <a:gd name="T25" fmla="*/ 6 h 114"/>
              <a:gd name="T26" fmla="*/ 150 w 192"/>
              <a:gd name="T27" fmla="*/ 6 h 114"/>
              <a:gd name="T28" fmla="*/ 144 w 192"/>
              <a:gd name="T29" fmla="*/ 6 h 114"/>
              <a:gd name="T30" fmla="*/ 144 w 192"/>
              <a:gd name="T31" fmla="*/ 6 h 114"/>
              <a:gd name="T32" fmla="*/ 138 w 192"/>
              <a:gd name="T33" fmla="*/ 0 h 114"/>
              <a:gd name="T34" fmla="*/ 150 w 192"/>
              <a:gd name="T35" fmla="*/ 0 h 114"/>
              <a:gd name="T36" fmla="*/ 162 w 192"/>
              <a:gd name="T37" fmla="*/ 0 h 114"/>
              <a:gd name="T38" fmla="*/ 162 w 192"/>
              <a:gd name="T39" fmla="*/ 12 h 114"/>
              <a:gd name="T40" fmla="*/ 168 w 192"/>
              <a:gd name="T41" fmla="*/ 6 h 114"/>
              <a:gd name="T42" fmla="*/ 180 w 192"/>
              <a:gd name="T43" fmla="*/ 6 h 114"/>
              <a:gd name="T44" fmla="*/ 192 w 192"/>
              <a:gd name="T45" fmla="*/ 6 h 114"/>
              <a:gd name="T46" fmla="*/ 192 w 192"/>
              <a:gd name="T47" fmla="*/ 12 h 114"/>
              <a:gd name="T48" fmla="*/ 186 w 192"/>
              <a:gd name="T49" fmla="*/ 18 h 114"/>
              <a:gd name="T50" fmla="*/ 186 w 192"/>
              <a:gd name="T51" fmla="*/ 30 h 114"/>
              <a:gd name="T52" fmla="*/ 192 w 192"/>
              <a:gd name="T53" fmla="*/ 36 h 114"/>
              <a:gd name="T54" fmla="*/ 192 w 192"/>
              <a:gd name="T55" fmla="*/ 42 h 114"/>
              <a:gd name="T56" fmla="*/ 186 w 192"/>
              <a:gd name="T57" fmla="*/ 48 h 114"/>
              <a:gd name="T58" fmla="*/ 180 w 192"/>
              <a:gd name="T59" fmla="*/ 54 h 114"/>
              <a:gd name="T60" fmla="*/ 174 w 192"/>
              <a:gd name="T61" fmla="*/ 60 h 114"/>
              <a:gd name="T62" fmla="*/ 174 w 192"/>
              <a:gd name="T63" fmla="*/ 66 h 114"/>
              <a:gd name="T64" fmla="*/ 168 w 192"/>
              <a:gd name="T65" fmla="*/ 72 h 114"/>
              <a:gd name="T66" fmla="*/ 156 w 192"/>
              <a:gd name="T67" fmla="*/ 78 h 114"/>
              <a:gd name="T68" fmla="*/ 150 w 192"/>
              <a:gd name="T69" fmla="*/ 78 h 114"/>
              <a:gd name="T70" fmla="*/ 156 w 192"/>
              <a:gd name="T71" fmla="*/ 84 h 114"/>
              <a:gd name="T72" fmla="*/ 150 w 192"/>
              <a:gd name="T73" fmla="*/ 84 h 114"/>
              <a:gd name="T74" fmla="*/ 150 w 192"/>
              <a:gd name="T75" fmla="*/ 90 h 114"/>
              <a:gd name="T76" fmla="*/ 144 w 192"/>
              <a:gd name="T77" fmla="*/ 96 h 114"/>
              <a:gd name="T78" fmla="*/ 138 w 192"/>
              <a:gd name="T79" fmla="*/ 96 h 114"/>
              <a:gd name="T80" fmla="*/ 132 w 192"/>
              <a:gd name="T81" fmla="*/ 102 h 114"/>
              <a:gd name="T82" fmla="*/ 126 w 192"/>
              <a:gd name="T83" fmla="*/ 96 h 114"/>
              <a:gd name="T84" fmla="*/ 114 w 192"/>
              <a:gd name="T85" fmla="*/ 102 h 114"/>
              <a:gd name="T86" fmla="*/ 114 w 192"/>
              <a:gd name="T87" fmla="*/ 102 h 114"/>
              <a:gd name="T88" fmla="*/ 108 w 192"/>
              <a:gd name="T89" fmla="*/ 102 h 114"/>
              <a:gd name="T90" fmla="*/ 108 w 192"/>
              <a:gd name="T91" fmla="*/ 108 h 114"/>
              <a:gd name="T92" fmla="*/ 102 w 192"/>
              <a:gd name="T93" fmla="*/ 102 h 114"/>
              <a:gd name="T94" fmla="*/ 96 w 192"/>
              <a:gd name="T95" fmla="*/ 108 h 114"/>
              <a:gd name="T96" fmla="*/ 96 w 192"/>
              <a:gd name="T97" fmla="*/ 108 h 114"/>
              <a:gd name="T98" fmla="*/ 90 w 192"/>
              <a:gd name="T99" fmla="*/ 114 h 114"/>
              <a:gd name="T100" fmla="*/ 72 w 192"/>
              <a:gd name="T101" fmla="*/ 108 h 114"/>
              <a:gd name="T102" fmla="*/ 66 w 192"/>
              <a:gd name="T103" fmla="*/ 102 h 114"/>
              <a:gd name="T104" fmla="*/ 54 w 192"/>
              <a:gd name="T105" fmla="*/ 102 h 114"/>
              <a:gd name="T106" fmla="*/ 48 w 192"/>
              <a:gd name="T107" fmla="*/ 96 h 114"/>
              <a:gd name="T108" fmla="*/ 42 w 192"/>
              <a:gd name="T109" fmla="*/ 96 h 114"/>
              <a:gd name="T110" fmla="*/ 18 w 192"/>
              <a:gd name="T111" fmla="*/ 102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92" h="114">
                <a:moveTo>
                  <a:pt x="0" y="54"/>
                </a:moveTo>
                <a:lnTo>
                  <a:pt x="0" y="54"/>
                </a:lnTo>
                <a:lnTo>
                  <a:pt x="0" y="54"/>
                </a:lnTo>
                <a:lnTo>
                  <a:pt x="0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30" y="54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60" y="72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54"/>
                </a:lnTo>
                <a:lnTo>
                  <a:pt x="66" y="54"/>
                </a:lnTo>
                <a:lnTo>
                  <a:pt x="66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96" y="54"/>
                </a:lnTo>
                <a:lnTo>
                  <a:pt x="126" y="54"/>
                </a:lnTo>
                <a:lnTo>
                  <a:pt x="144" y="24"/>
                </a:lnTo>
                <a:lnTo>
                  <a:pt x="144" y="24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38" y="6"/>
                </a:lnTo>
                <a:lnTo>
                  <a:pt x="138" y="6"/>
                </a:lnTo>
                <a:lnTo>
                  <a:pt x="138" y="0"/>
                </a:lnTo>
                <a:lnTo>
                  <a:pt x="138" y="0"/>
                </a:lnTo>
                <a:lnTo>
                  <a:pt x="138" y="0"/>
                </a:lnTo>
                <a:lnTo>
                  <a:pt x="138" y="0"/>
                </a:lnTo>
                <a:lnTo>
                  <a:pt x="144" y="0"/>
                </a:lnTo>
                <a:lnTo>
                  <a:pt x="150" y="0"/>
                </a:lnTo>
                <a:lnTo>
                  <a:pt x="156" y="0"/>
                </a:lnTo>
                <a:lnTo>
                  <a:pt x="156" y="0"/>
                </a:lnTo>
                <a:lnTo>
                  <a:pt x="162" y="0"/>
                </a:lnTo>
                <a:lnTo>
                  <a:pt x="162" y="0"/>
                </a:lnTo>
                <a:lnTo>
                  <a:pt x="162" y="0"/>
                </a:lnTo>
                <a:lnTo>
                  <a:pt x="162" y="6"/>
                </a:lnTo>
                <a:lnTo>
                  <a:pt x="162" y="6"/>
                </a:lnTo>
                <a:lnTo>
                  <a:pt x="162" y="12"/>
                </a:lnTo>
                <a:lnTo>
                  <a:pt x="162" y="6"/>
                </a:lnTo>
                <a:lnTo>
                  <a:pt x="168" y="6"/>
                </a:lnTo>
                <a:lnTo>
                  <a:pt x="162" y="6"/>
                </a:lnTo>
                <a:lnTo>
                  <a:pt x="168" y="6"/>
                </a:lnTo>
                <a:lnTo>
                  <a:pt x="168" y="6"/>
                </a:lnTo>
                <a:lnTo>
                  <a:pt x="174" y="6"/>
                </a:lnTo>
                <a:lnTo>
                  <a:pt x="174" y="6"/>
                </a:lnTo>
                <a:lnTo>
                  <a:pt x="180" y="6"/>
                </a:lnTo>
                <a:lnTo>
                  <a:pt x="180" y="6"/>
                </a:lnTo>
                <a:lnTo>
                  <a:pt x="180" y="6"/>
                </a:lnTo>
                <a:lnTo>
                  <a:pt x="186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12"/>
                </a:lnTo>
                <a:lnTo>
                  <a:pt x="186" y="12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86" y="24"/>
                </a:lnTo>
                <a:lnTo>
                  <a:pt x="186" y="24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92" y="36"/>
                </a:lnTo>
                <a:lnTo>
                  <a:pt x="192" y="36"/>
                </a:lnTo>
                <a:lnTo>
                  <a:pt x="192" y="36"/>
                </a:lnTo>
                <a:lnTo>
                  <a:pt x="192" y="36"/>
                </a:lnTo>
                <a:lnTo>
                  <a:pt x="192" y="42"/>
                </a:lnTo>
                <a:lnTo>
                  <a:pt x="192" y="42"/>
                </a:lnTo>
                <a:lnTo>
                  <a:pt x="192" y="48"/>
                </a:lnTo>
                <a:lnTo>
                  <a:pt x="186" y="48"/>
                </a:lnTo>
                <a:lnTo>
                  <a:pt x="186" y="48"/>
                </a:lnTo>
                <a:lnTo>
                  <a:pt x="186" y="48"/>
                </a:lnTo>
                <a:lnTo>
                  <a:pt x="180" y="54"/>
                </a:lnTo>
                <a:lnTo>
                  <a:pt x="180" y="54"/>
                </a:lnTo>
                <a:lnTo>
                  <a:pt x="180" y="54"/>
                </a:lnTo>
                <a:lnTo>
                  <a:pt x="180" y="54"/>
                </a:lnTo>
                <a:lnTo>
                  <a:pt x="174" y="60"/>
                </a:lnTo>
                <a:lnTo>
                  <a:pt x="174" y="60"/>
                </a:lnTo>
                <a:lnTo>
                  <a:pt x="174" y="60"/>
                </a:lnTo>
                <a:lnTo>
                  <a:pt x="174" y="60"/>
                </a:lnTo>
                <a:lnTo>
                  <a:pt x="174" y="66"/>
                </a:lnTo>
                <a:lnTo>
                  <a:pt x="174" y="66"/>
                </a:lnTo>
                <a:lnTo>
                  <a:pt x="174" y="66"/>
                </a:lnTo>
                <a:lnTo>
                  <a:pt x="174" y="66"/>
                </a:lnTo>
                <a:lnTo>
                  <a:pt x="168" y="66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2" y="72"/>
                </a:lnTo>
                <a:lnTo>
                  <a:pt x="156" y="78"/>
                </a:lnTo>
                <a:lnTo>
                  <a:pt x="156" y="78"/>
                </a:lnTo>
                <a:lnTo>
                  <a:pt x="150" y="78"/>
                </a:lnTo>
                <a:lnTo>
                  <a:pt x="150" y="78"/>
                </a:lnTo>
                <a:lnTo>
                  <a:pt x="150" y="78"/>
                </a:lnTo>
                <a:lnTo>
                  <a:pt x="150" y="78"/>
                </a:lnTo>
                <a:lnTo>
                  <a:pt x="156" y="78"/>
                </a:lnTo>
                <a:lnTo>
                  <a:pt x="156" y="78"/>
                </a:lnTo>
                <a:lnTo>
                  <a:pt x="156" y="84"/>
                </a:lnTo>
                <a:lnTo>
                  <a:pt x="156" y="84"/>
                </a:lnTo>
                <a:lnTo>
                  <a:pt x="156" y="84"/>
                </a:lnTo>
                <a:lnTo>
                  <a:pt x="156" y="84"/>
                </a:lnTo>
                <a:lnTo>
                  <a:pt x="150" y="84"/>
                </a:lnTo>
                <a:lnTo>
                  <a:pt x="150" y="84"/>
                </a:lnTo>
                <a:lnTo>
                  <a:pt x="150" y="84"/>
                </a:lnTo>
                <a:lnTo>
                  <a:pt x="150" y="84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44" y="96"/>
                </a:lnTo>
                <a:lnTo>
                  <a:pt x="144" y="96"/>
                </a:lnTo>
                <a:lnTo>
                  <a:pt x="144" y="96"/>
                </a:lnTo>
                <a:lnTo>
                  <a:pt x="144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102"/>
                </a:lnTo>
                <a:lnTo>
                  <a:pt x="138" y="96"/>
                </a:lnTo>
                <a:lnTo>
                  <a:pt x="132" y="102"/>
                </a:lnTo>
                <a:lnTo>
                  <a:pt x="132" y="102"/>
                </a:lnTo>
                <a:lnTo>
                  <a:pt x="126" y="102"/>
                </a:lnTo>
                <a:lnTo>
                  <a:pt x="126" y="102"/>
                </a:lnTo>
                <a:lnTo>
                  <a:pt x="126" y="96"/>
                </a:lnTo>
                <a:lnTo>
                  <a:pt x="120" y="102"/>
                </a:lnTo>
                <a:lnTo>
                  <a:pt x="120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14"/>
                </a:lnTo>
                <a:lnTo>
                  <a:pt x="96" y="114"/>
                </a:lnTo>
                <a:lnTo>
                  <a:pt x="90" y="114"/>
                </a:lnTo>
                <a:lnTo>
                  <a:pt x="90" y="114"/>
                </a:lnTo>
                <a:lnTo>
                  <a:pt x="84" y="108"/>
                </a:lnTo>
                <a:lnTo>
                  <a:pt x="78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0" y="102"/>
                </a:lnTo>
                <a:lnTo>
                  <a:pt x="60" y="108"/>
                </a:lnTo>
                <a:lnTo>
                  <a:pt x="54" y="102"/>
                </a:lnTo>
                <a:lnTo>
                  <a:pt x="54" y="96"/>
                </a:lnTo>
                <a:lnTo>
                  <a:pt x="54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18" y="102"/>
                </a:lnTo>
                <a:lnTo>
                  <a:pt x="18" y="102"/>
                </a:lnTo>
                <a:lnTo>
                  <a:pt x="18" y="96"/>
                </a:lnTo>
                <a:lnTo>
                  <a:pt x="0" y="54"/>
                </a:lnTo>
                <a:lnTo>
                  <a:pt x="0" y="5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35" name="Freeform 68"/>
          <p:cNvSpPr>
            <a:spLocks/>
          </p:cNvSpPr>
          <p:nvPr/>
        </p:nvSpPr>
        <p:spPr bwMode="auto">
          <a:xfrm>
            <a:off x="7115240" y="1404763"/>
            <a:ext cx="289082" cy="404718"/>
          </a:xfrm>
          <a:custGeom>
            <a:avLst/>
            <a:gdLst>
              <a:gd name="T0" fmla="*/ 18 w 270"/>
              <a:gd name="T1" fmla="*/ 252 h 378"/>
              <a:gd name="T2" fmla="*/ 30 w 270"/>
              <a:gd name="T3" fmla="*/ 240 h 378"/>
              <a:gd name="T4" fmla="*/ 54 w 270"/>
              <a:gd name="T5" fmla="*/ 222 h 378"/>
              <a:gd name="T6" fmla="*/ 54 w 270"/>
              <a:gd name="T7" fmla="*/ 198 h 378"/>
              <a:gd name="T8" fmla="*/ 90 w 270"/>
              <a:gd name="T9" fmla="*/ 168 h 378"/>
              <a:gd name="T10" fmla="*/ 114 w 270"/>
              <a:gd name="T11" fmla="*/ 114 h 378"/>
              <a:gd name="T12" fmla="*/ 132 w 270"/>
              <a:gd name="T13" fmla="*/ 84 h 378"/>
              <a:gd name="T14" fmla="*/ 144 w 270"/>
              <a:gd name="T15" fmla="*/ 60 h 378"/>
              <a:gd name="T16" fmla="*/ 162 w 270"/>
              <a:gd name="T17" fmla="*/ 18 h 378"/>
              <a:gd name="T18" fmla="*/ 192 w 270"/>
              <a:gd name="T19" fmla="*/ 24 h 378"/>
              <a:gd name="T20" fmla="*/ 198 w 270"/>
              <a:gd name="T21" fmla="*/ 138 h 378"/>
              <a:gd name="T22" fmla="*/ 204 w 270"/>
              <a:gd name="T23" fmla="*/ 174 h 378"/>
              <a:gd name="T24" fmla="*/ 210 w 270"/>
              <a:gd name="T25" fmla="*/ 180 h 378"/>
              <a:gd name="T26" fmla="*/ 222 w 270"/>
              <a:gd name="T27" fmla="*/ 180 h 378"/>
              <a:gd name="T28" fmla="*/ 228 w 270"/>
              <a:gd name="T29" fmla="*/ 186 h 378"/>
              <a:gd name="T30" fmla="*/ 234 w 270"/>
              <a:gd name="T31" fmla="*/ 186 h 378"/>
              <a:gd name="T32" fmla="*/ 234 w 270"/>
              <a:gd name="T33" fmla="*/ 180 h 378"/>
              <a:gd name="T34" fmla="*/ 240 w 270"/>
              <a:gd name="T35" fmla="*/ 186 h 378"/>
              <a:gd name="T36" fmla="*/ 234 w 270"/>
              <a:gd name="T37" fmla="*/ 192 h 378"/>
              <a:gd name="T38" fmla="*/ 228 w 270"/>
              <a:gd name="T39" fmla="*/ 204 h 378"/>
              <a:gd name="T40" fmla="*/ 222 w 270"/>
              <a:gd name="T41" fmla="*/ 204 h 378"/>
              <a:gd name="T42" fmla="*/ 222 w 270"/>
              <a:gd name="T43" fmla="*/ 210 h 378"/>
              <a:gd name="T44" fmla="*/ 222 w 270"/>
              <a:gd name="T45" fmla="*/ 216 h 378"/>
              <a:gd name="T46" fmla="*/ 228 w 270"/>
              <a:gd name="T47" fmla="*/ 222 h 378"/>
              <a:gd name="T48" fmla="*/ 234 w 270"/>
              <a:gd name="T49" fmla="*/ 234 h 378"/>
              <a:gd name="T50" fmla="*/ 234 w 270"/>
              <a:gd name="T51" fmla="*/ 240 h 378"/>
              <a:gd name="T52" fmla="*/ 234 w 270"/>
              <a:gd name="T53" fmla="*/ 246 h 378"/>
              <a:gd name="T54" fmla="*/ 234 w 270"/>
              <a:gd name="T55" fmla="*/ 246 h 378"/>
              <a:gd name="T56" fmla="*/ 234 w 270"/>
              <a:gd name="T57" fmla="*/ 252 h 378"/>
              <a:gd name="T58" fmla="*/ 228 w 270"/>
              <a:gd name="T59" fmla="*/ 258 h 378"/>
              <a:gd name="T60" fmla="*/ 228 w 270"/>
              <a:gd name="T61" fmla="*/ 264 h 378"/>
              <a:gd name="T62" fmla="*/ 258 w 270"/>
              <a:gd name="T63" fmla="*/ 282 h 378"/>
              <a:gd name="T64" fmla="*/ 258 w 270"/>
              <a:gd name="T65" fmla="*/ 294 h 378"/>
              <a:gd name="T66" fmla="*/ 264 w 270"/>
              <a:gd name="T67" fmla="*/ 300 h 378"/>
              <a:gd name="T68" fmla="*/ 270 w 270"/>
              <a:gd name="T69" fmla="*/ 300 h 378"/>
              <a:gd name="T70" fmla="*/ 270 w 270"/>
              <a:gd name="T71" fmla="*/ 330 h 378"/>
              <a:gd name="T72" fmla="*/ 270 w 270"/>
              <a:gd name="T73" fmla="*/ 354 h 378"/>
              <a:gd name="T74" fmla="*/ 246 w 270"/>
              <a:gd name="T75" fmla="*/ 372 h 378"/>
              <a:gd name="T76" fmla="*/ 198 w 270"/>
              <a:gd name="T77" fmla="*/ 366 h 378"/>
              <a:gd name="T78" fmla="*/ 204 w 270"/>
              <a:gd name="T79" fmla="*/ 354 h 378"/>
              <a:gd name="T80" fmla="*/ 210 w 270"/>
              <a:gd name="T81" fmla="*/ 348 h 378"/>
              <a:gd name="T82" fmla="*/ 168 w 270"/>
              <a:gd name="T83" fmla="*/ 342 h 378"/>
              <a:gd name="T84" fmla="*/ 150 w 270"/>
              <a:gd name="T85" fmla="*/ 330 h 378"/>
              <a:gd name="T86" fmla="*/ 138 w 270"/>
              <a:gd name="T87" fmla="*/ 336 h 378"/>
              <a:gd name="T88" fmla="*/ 24 w 270"/>
              <a:gd name="T89" fmla="*/ 348 h 378"/>
              <a:gd name="T90" fmla="*/ 24 w 270"/>
              <a:gd name="T91" fmla="*/ 342 h 378"/>
              <a:gd name="T92" fmla="*/ 24 w 270"/>
              <a:gd name="T93" fmla="*/ 330 h 378"/>
              <a:gd name="T94" fmla="*/ 24 w 270"/>
              <a:gd name="T95" fmla="*/ 324 h 378"/>
              <a:gd name="T96" fmla="*/ 24 w 270"/>
              <a:gd name="T97" fmla="*/ 318 h 378"/>
              <a:gd name="T98" fmla="*/ 24 w 270"/>
              <a:gd name="T99" fmla="*/ 312 h 378"/>
              <a:gd name="T100" fmla="*/ 30 w 270"/>
              <a:gd name="T101" fmla="*/ 300 h 378"/>
              <a:gd name="T102" fmla="*/ 30 w 270"/>
              <a:gd name="T103" fmla="*/ 300 h 378"/>
              <a:gd name="T104" fmla="*/ 36 w 270"/>
              <a:gd name="T105" fmla="*/ 288 h 378"/>
              <a:gd name="T106" fmla="*/ 30 w 270"/>
              <a:gd name="T107" fmla="*/ 294 h 378"/>
              <a:gd name="T108" fmla="*/ 30 w 270"/>
              <a:gd name="T109" fmla="*/ 294 h 378"/>
              <a:gd name="T110" fmla="*/ 24 w 270"/>
              <a:gd name="T111" fmla="*/ 294 h 378"/>
              <a:gd name="T112" fmla="*/ 24 w 270"/>
              <a:gd name="T113" fmla="*/ 294 h 378"/>
              <a:gd name="T114" fmla="*/ 18 w 270"/>
              <a:gd name="T115" fmla="*/ 294 h 378"/>
              <a:gd name="T116" fmla="*/ 12 w 270"/>
              <a:gd name="T117" fmla="*/ 288 h 378"/>
              <a:gd name="T118" fmla="*/ 6 w 270"/>
              <a:gd name="T119" fmla="*/ 288 h 378"/>
              <a:gd name="T120" fmla="*/ 6 w 270"/>
              <a:gd name="T121" fmla="*/ 282 h 378"/>
              <a:gd name="T122" fmla="*/ 6 w 270"/>
              <a:gd name="T123" fmla="*/ 276 h 3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70" h="378">
                <a:moveTo>
                  <a:pt x="6" y="276"/>
                </a:moveTo>
                <a:lnTo>
                  <a:pt x="6" y="270"/>
                </a:lnTo>
                <a:lnTo>
                  <a:pt x="6" y="270"/>
                </a:lnTo>
                <a:lnTo>
                  <a:pt x="6" y="270"/>
                </a:lnTo>
                <a:lnTo>
                  <a:pt x="12" y="270"/>
                </a:lnTo>
                <a:lnTo>
                  <a:pt x="12" y="264"/>
                </a:lnTo>
                <a:lnTo>
                  <a:pt x="12" y="264"/>
                </a:lnTo>
                <a:lnTo>
                  <a:pt x="12" y="264"/>
                </a:lnTo>
                <a:lnTo>
                  <a:pt x="18" y="258"/>
                </a:lnTo>
                <a:lnTo>
                  <a:pt x="18" y="252"/>
                </a:lnTo>
                <a:lnTo>
                  <a:pt x="18" y="252"/>
                </a:lnTo>
                <a:lnTo>
                  <a:pt x="18" y="252"/>
                </a:lnTo>
                <a:lnTo>
                  <a:pt x="18" y="252"/>
                </a:lnTo>
                <a:lnTo>
                  <a:pt x="18" y="252"/>
                </a:lnTo>
                <a:lnTo>
                  <a:pt x="18" y="246"/>
                </a:lnTo>
                <a:lnTo>
                  <a:pt x="24" y="252"/>
                </a:lnTo>
                <a:lnTo>
                  <a:pt x="24" y="252"/>
                </a:lnTo>
                <a:lnTo>
                  <a:pt x="24" y="252"/>
                </a:lnTo>
                <a:lnTo>
                  <a:pt x="24" y="246"/>
                </a:lnTo>
                <a:lnTo>
                  <a:pt x="30" y="246"/>
                </a:lnTo>
                <a:lnTo>
                  <a:pt x="30" y="246"/>
                </a:lnTo>
                <a:lnTo>
                  <a:pt x="30" y="240"/>
                </a:lnTo>
                <a:lnTo>
                  <a:pt x="36" y="240"/>
                </a:lnTo>
                <a:lnTo>
                  <a:pt x="42" y="240"/>
                </a:lnTo>
                <a:lnTo>
                  <a:pt x="42" y="240"/>
                </a:lnTo>
                <a:lnTo>
                  <a:pt x="42" y="240"/>
                </a:lnTo>
                <a:lnTo>
                  <a:pt x="42" y="240"/>
                </a:lnTo>
                <a:lnTo>
                  <a:pt x="42" y="234"/>
                </a:lnTo>
                <a:lnTo>
                  <a:pt x="48" y="234"/>
                </a:lnTo>
                <a:lnTo>
                  <a:pt x="48" y="234"/>
                </a:lnTo>
                <a:lnTo>
                  <a:pt x="48" y="228"/>
                </a:lnTo>
                <a:lnTo>
                  <a:pt x="54" y="222"/>
                </a:lnTo>
                <a:lnTo>
                  <a:pt x="54" y="222"/>
                </a:lnTo>
                <a:lnTo>
                  <a:pt x="54" y="222"/>
                </a:lnTo>
                <a:lnTo>
                  <a:pt x="48" y="216"/>
                </a:lnTo>
                <a:lnTo>
                  <a:pt x="48" y="216"/>
                </a:lnTo>
                <a:lnTo>
                  <a:pt x="48" y="216"/>
                </a:lnTo>
                <a:lnTo>
                  <a:pt x="48" y="210"/>
                </a:lnTo>
                <a:lnTo>
                  <a:pt x="48" y="210"/>
                </a:lnTo>
                <a:lnTo>
                  <a:pt x="48" y="210"/>
                </a:lnTo>
                <a:lnTo>
                  <a:pt x="48" y="210"/>
                </a:lnTo>
                <a:lnTo>
                  <a:pt x="48" y="210"/>
                </a:lnTo>
                <a:lnTo>
                  <a:pt x="54" y="204"/>
                </a:lnTo>
                <a:lnTo>
                  <a:pt x="54" y="198"/>
                </a:lnTo>
                <a:lnTo>
                  <a:pt x="54" y="198"/>
                </a:lnTo>
                <a:lnTo>
                  <a:pt x="54" y="198"/>
                </a:lnTo>
                <a:lnTo>
                  <a:pt x="54" y="198"/>
                </a:lnTo>
                <a:lnTo>
                  <a:pt x="54" y="198"/>
                </a:lnTo>
                <a:lnTo>
                  <a:pt x="60" y="186"/>
                </a:lnTo>
                <a:lnTo>
                  <a:pt x="66" y="186"/>
                </a:lnTo>
                <a:lnTo>
                  <a:pt x="72" y="180"/>
                </a:lnTo>
                <a:lnTo>
                  <a:pt x="78" y="174"/>
                </a:lnTo>
                <a:lnTo>
                  <a:pt x="84" y="174"/>
                </a:lnTo>
                <a:lnTo>
                  <a:pt x="84" y="174"/>
                </a:lnTo>
                <a:lnTo>
                  <a:pt x="90" y="168"/>
                </a:lnTo>
                <a:lnTo>
                  <a:pt x="90" y="162"/>
                </a:lnTo>
                <a:lnTo>
                  <a:pt x="90" y="156"/>
                </a:lnTo>
                <a:lnTo>
                  <a:pt x="90" y="150"/>
                </a:lnTo>
                <a:lnTo>
                  <a:pt x="96" y="144"/>
                </a:lnTo>
                <a:lnTo>
                  <a:pt x="90" y="138"/>
                </a:lnTo>
                <a:lnTo>
                  <a:pt x="90" y="132"/>
                </a:lnTo>
                <a:lnTo>
                  <a:pt x="96" y="132"/>
                </a:lnTo>
                <a:lnTo>
                  <a:pt x="96" y="126"/>
                </a:lnTo>
                <a:lnTo>
                  <a:pt x="108" y="120"/>
                </a:lnTo>
                <a:lnTo>
                  <a:pt x="108" y="114"/>
                </a:lnTo>
                <a:lnTo>
                  <a:pt x="114" y="114"/>
                </a:lnTo>
                <a:lnTo>
                  <a:pt x="120" y="114"/>
                </a:lnTo>
                <a:lnTo>
                  <a:pt x="120" y="108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26" y="96"/>
                </a:lnTo>
                <a:lnTo>
                  <a:pt x="126" y="96"/>
                </a:lnTo>
                <a:lnTo>
                  <a:pt x="126" y="90"/>
                </a:lnTo>
                <a:lnTo>
                  <a:pt x="126" y="90"/>
                </a:lnTo>
                <a:lnTo>
                  <a:pt x="126" y="90"/>
                </a:lnTo>
                <a:lnTo>
                  <a:pt x="132" y="84"/>
                </a:lnTo>
                <a:lnTo>
                  <a:pt x="132" y="84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38" y="72"/>
                </a:lnTo>
                <a:lnTo>
                  <a:pt x="132" y="72"/>
                </a:lnTo>
                <a:lnTo>
                  <a:pt x="138" y="66"/>
                </a:lnTo>
                <a:lnTo>
                  <a:pt x="138" y="66"/>
                </a:lnTo>
                <a:lnTo>
                  <a:pt x="138" y="66"/>
                </a:lnTo>
                <a:lnTo>
                  <a:pt x="144" y="60"/>
                </a:lnTo>
                <a:lnTo>
                  <a:pt x="150" y="54"/>
                </a:lnTo>
                <a:lnTo>
                  <a:pt x="150" y="54"/>
                </a:lnTo>
                <a:lnTo>
                  <a:pt x="156" y="48"/>
                </a:lnTo>
                <a:lnTo>
                  <a:pt x="156" y="48"/>
                </a:lnTo>
                <a:lnTo>
                  <a:pt x="156" y="42"/>
                </a:lnTo>
                <a:lnTo>
                  <a:pt x="156" y="36"/>
                </a:lnTo>
                <a:lnTo>
                  <a:pt x="156" y="36"/>
                </a:lnTo>
                <a:lnTo>
                  <a:pt x="156" y="30"/>
                </a:lnTo>
                <a:lnTo>
                  <a:pt x="162" y="24"/>
                </a:lnTo>
                <a:lnTo>
                  <a:pt x="162" y="24"/>
                </a:lnTo>
                <a:lnTo>
                  <a:pt x="162" y="18"/>
                </a:lnTo>
                <a:lnTo>
                  <a:pt x="168" y="12"/>
                </a:lnTo>
                <a:lnTo>
                  <a:pt x="168" y="12"/>
                </a:lnTo>
                <a:lnTo>
                  <a:pt x="168" y="6"/>
                </a:lnTo>
                <a:lnTo>
                  <a:pt x="168" y="6"/>
                </a:lnTo>
                <a:lnTo>
                  <a:pt x="174" y="0"/>
                </a:lnTo>
                <a:lnTo>
                  <a:pt x="180" y="0"/>
                </a:lnTo>
                <a:lnTo>
                  <a:pt x="180" y="0"/>
                </a:lnTo>
                <a:lnTo>
                  <a:pt x="180" y="12"/>
                </a:lnTo>
                <a:lnTo>
                  <a:pt x="186" y="6"/>
                </a:lnTo>
                <a:lnTo>
                  <a:pt x="186" y="18"/>
                </a:lnTo>
                <a:lnTo>
                  <a:pt x="192" y="24"/>
                </a:lnTo>
                <a:lnTo>
                  <a:pt x="192" y="24"/>
                </a:lnTo>
                <a:lnTo>
                  <a:pt x="192" y="66"/>
                </a:lnTo>
                <a:lnTo>
                  <a:pt x="192" y="66"/>
                </a:lnTo>
                <a:lnTo>
                  <a:pt x="192" y="96"/>
                </a:lnTo>
                <a:lnTo>
                  <a:pt x="192" y="114"/>
                </a:lnTo>
                <a:lnTo>
                  <a:pt x="192" y="126"/>
                </a:lnTo>
                <a:lnTo>
                  <a:pt x="198" y="126"/>
                </a:lnTo>
                <a:lnTo>
                  <a:pt x="198" y="132"/>
                </a:lnTo>
                <a:lnTo>
                  <a:pt x="198" y="138"/>
                </a:lnTo>
                <a:lnTo>
                  <a:pt x="198" y="138"/>
                </a:lnTo>
                <a:lnTo>
                  <a:pt x="198" y="138"/>
                </a:lnTo>
                <a:lnTo>
                  <a:pt x="198" y="144"/>
                </a:lnTo>
                <a:lnTo>
                  <a:pt x="204" y="144"/>
                </a:lnTo>
                <a:lnTo>
                  <a:pt x="210" y="144"/>
                </a:lnTo>
                <a:lnTo>
                  <a:pt x="210" y="150"/>
                </a:lnTo>
                <a:lnTo>
                  <a:pt x="210" y="150"/>
                </a:lnTo>
                <a:lnTo>
                  <a:pt x="216" y="162"/>
                </a:lnTo>
                <a:lnTo>
                  <a:pt x="204" y="174"/>
                </a:lnTo>
                <a:lnTo>
                  <a:pt x="204" y="174"/>
                </a:lnTo>
                <a:lnTo>
                  <a:pt x="204" y="174"/>
                </a:lnTo>
                <a:lnTo>
                  <a:pt x="204" y="174"/>
                </a:lnTo>
                <a:lnTo>
                  <a:pt x="204" y="174"/>
                </a:lnTo>
                <a:lnTo>
                  <a:pt x="204" y="180"/>
                </a:lnTo>
                <a:lnTo>
                  <a:pt x="204" y="180"/>
                </a:lnTo>
                <a:lnTo>
                  <a:pt x="204" y="180"/>
                </a:lnTo>
                <a:lnTo>
                  <a:pt x="204" y="180"/>
                </a:lnTo>
                <a:lnTo>
                  <a:pt x="204" y="180"/>
                </a:lnTo>
                <a:lnTo>
                  <a:pt x="204" y="180"/>
                </a:lnTo>
                <a:lnTo>
                  <a:pt x="204" y="180"/>
                </a:lnTo>
                <a:lnTo>
                  <a:pt x="204" y="180"/>
                </a:lnTo>
                <a:lnTo>
                  <a:pt x="210" y="186"/>
                </a:lnTo>
                <a:lnTo>
                  <a:pt x="210" y="186"/>
                </a:lnTo>
                <a:lnTo>
                  <a:pt x="210" y="180"/>
                </a:lnTo>
                <a:lnTo>
                  <a:pt x="210" y="186"/>
                </a:lnTo>
                <a:lnTo>
                  <a:pt x="210" y="186"/>
                </a:lnTo>
                <a:lnTo>
                  <a:pt x="210" y="186"/>
                </a:lnTo>
                <a:lnTo>
                  <a:pt x="210" y="186"/>
                </a:lnTo>
                <a:lnTo>
                  <a:pt x="210" y="186"/>
                </a:lnTo>
                <a:lnTo>
                  <a:pt x="216" y="186"/>
                </a:lnTo>
                <a:lnTo>
                  <a:pt x="216" y="186"/>
                </a:lnTo>
                <a:lnTo>
                  <a:pt x="216" y="186"/>
                </a:lnTo>
                <a:lnTo>
                  <a:pt x="222" y="186"/>
                </a:lnTo>
                <a:lnTo>
                  <a:pt x="222" y="186"/>
                </a:lnTo>
                <a:lnTo>
                  <a:pt x="222" y="180"/>
                </a:lnTo>
                <a:lnTo>
                  <a:pt x="222" y="180"/>
                </a:lnTo>
                <a:lnTo>
                  <a:pt x="222" y="180"/>
                </a:lnTo>
                <a:lnTo>
                  <a:pt x="222" y="180"/>
                </a:lnTo>
                <a:lnTo>
                  <a:pt x="222" y="180"/>
                </a:lnTo>
                <a:lnTo>
                  <a:pt x="222" y="180"/>
                </a:lnTo>
                <a:lnTo>
                  <a:pt x="222" y="180"/>
                </a:lnTo>
                <a:lnTo>
                  <a:pt x="222" y="180"/>
                </a:lnTo>
                <a:lnTo>
                  <a:pt x="222" y="180"/>
                </a:lnTo>
                <a:lnTo>
                  <a:pt x="222" y="180"/>
                </a:lnTo>
                <a:lnTo>
                  <a:pt x="228" y="180"/>
                </a:lnTo>
                <a:lnTo>
                  <a:pt x="228" y="186"/>
                </a:lnTo>
                <a:lnTo>
                  <a:pt x="228" y="186"/>
                </a:lnTo>
                <a:lnTo>
                  <a:pt x="228" y="186"/>
                </a:lnTo>
                <a:lnTo>
                  <a:pt x="228" y="186"/>
                </a:lnTo>
                <a:lnTo>
                  <a:pt x="228" y="186"/>
                </a:lnTo>
                <a:lnTo>
                  <a:pt x="228" y="186"/>
                </a:lnTo>
                <a:lnTo>
                  <a:pt x="228" y="186"/>
                </a:lnTo>
                <a:lnTo>
                  <a:pt x="228" y="186"/>
                </a:lnTo>
                <a:lnTo>
                  <a:pt x="228" y="186"/>
                </a:lnTo>
                <a:lnTo>
                  <a:pt x="234" y="186"/>
                </a:lnTo>
                <a:lnTo>
                  <a:pt x="234" y="186"/>
                </a:lnTo>
                <a:lnTo>
                  <a:pt x="234" y="186"/>
                </a:lnTo>
                <a:lnTo>
                  <a:pt x="234" y="186"/>
                </a:lnTo>
                <a:lnTo>
                  <a:pt x="234" y="186"/>
                </a:lnTo>
                <a:lnTo>
                  <a:pt x="234" y="186"/>
                </a:lnTo>
                <a:lnTo>
                  <a:pt x="234" y="186"/>
                </a:lnTo>
                <a:lnTo>
                  <a:pt x="234" y="186"/>
                </a:lnTo>
                <a:lnTo>
                  <a:pt x="234" y="186"/>
                </a:lnTo>
                <a:lnTo>
                  <a:pt x="234" y="186"/>
                </a:lnTo>
                <a:lnTo>
                  <a:pt x="234" y="186"/>
                </a:lnTo>
                <a:lnTo>
                  <a:pt x="234" y="186"/>
                </a:lnTo>
                <a:lnTo>
                  <a:pt x="234" y="180"/>
                </a:lnTo>
                <a:lnTo>
                  <a:pt x="234" y="180"/>
                </a:lnTo>
                <a:lnTo>
                  <a:pt x="234" y="180"/>
                </a:lnTo>
                <a:lnTo>
                  <a:pt x="234" y="180"/>
                </a:lnTo>
                <a:lnTo>
                  <a:pt x="234" y="186"/>
                </a:lnTo>
                <a:lnTo>
                  <a:pt x="240" y="180"/>
                </a:lnTo>
                <a:lnTo>
                  <a:pt x="240" y="180"/>
                </a:lnTo>
                <a:lnTo>
                  <a:pt x="240" y="180"/>
                </a:lnTo>
                <a:lnTo>
                  <a:pt x="240" y="180"/>
                </a:lnTo>
                <a:lnTo>
                  <a:pt x="240" y="186"/>
                </a:lnTo>
                <a:lnTo>
                  <a:pt x="240" y="186"/>
                </a:lnTo>
                <a:lnTo>
                  <a:pt x="240" y="186"/>
                </a:lnTo>
                <a:lnTo>
                  <a:pt x="240" y="186"/>
                </a:lnTo>
                <a:lnTo>
                  <a:pt x="240" y="186"/>
                </a:lnTo>
                <a:lnTo>
                  <a:pt x="240" y="186"/>
                </a:lnTo>
                <a:lnTo>
                  <a:pt x="234" y="186"/>
                </a:lnTo>
                <a:lnTo>
                  <a:pt x="234" y="186"/>
                </a:lnTo>
                <a:lnTo>
                  <a:pt x="234" y="186"/>
                </a:lnTo>
                <a:lnTo>
                  <a:pt x="234" y="192"/>
                </a:lnTo>
                <a:lnTo>
                  <a:pt x="234" y="192"/>
                </a:lnTo>
                <a:lnTo>
                  <a:pt x="234" y="192"/>
                </a:lnTo>
                <a:lnTo>
                  <a:pt x="234" y="192"/>
                </a:lnTo>
                <a:lnTo>
                  <a:pt x="234" y="192"/>
                </a:lnTo>
                <a:lnTo>
                  <a:pt x="234" y="192"/>
                </a:lnTo>
                <a:lnTo>
                  <a:pt x="234" y="192"/>
                </a:lnTo>
                <a:lnTo>
                  <a:pt x="234" y="192"/>
                </a:lnTo>
                <a:lnTo>
                  <a:pt x="234" y="198"/>
                </a:lnTo>
                <a:lnTo>
                  <a:pt x="234" y="198"/>
                </a:lnTo>
                <a:lnTo>
                  <a:pt x="234" y="198"/>
                </a:lnTo>
                <a:lnTo>
                  <a:pt x="234" y="204"/>
                </a:lnTo>
                <a:lnTo>
                  <a:pt x="234" y="204"/>
                </a:lnTo>
                <a:lnTo>
                  <a:pt x="234" y="204"/>
                </a:lnTo>
                <a:lnTo>
                  <a:pt x="234" y="204"/>
                </a:lnTo>
                <a:lnTo>
                  <a:pt x="228" y="204"/>
                </a:lnTo>
                <a:lnTo>
                  <a:pt x="228" y="204"/>
                </a:lnTo>
                <a:lnTo>
                  <a:pt x="228" y="204"/>
                </a:lnTo>
                <a:lnTo>
                  <a:pt x="228" y="204"/>
                </a:lnTo>
                <a:lnTo>
                  <a:pt x="228" y="204"/>
                </a:lnTo>
                <a:lnTo>
                  <a:pt x="228" y="204"/>
                </a:lnTo>
                <a:lnTo>
                  <a:pt x="228" y="204"/>
                </a:lnTo>
                <a:lnTo>
                  <a:pt x="228" y="204"/>
                </a:lnTo>
                <a:lnTo>
                  <a:pt x="228" y="204"/>
                </a:lnTo>
                <a:lnTo>
                  <a:pt x="228" y="204"/>
                </a:lnTo>
                <a:lnTo>
                  <a:pt x="228" y="204"/>
                </a:lnTo>
                <a:lnTo>
                  <a:pt x="222" y="204"/>
                </a:lnTo>
                <a:lnTo>
                  <a:pt x="222" y="204"/>
                </a:lnTo>
                <a:lnTo>
                  <a:pt x="222" y="210"/>
                </a:lnTo>
                <a:lnTo>
                  <a:pt x="222" y="210"/>
                </a:lnTo>
                <a:lnTo>
                  <a:pt x="222" y="210"/>
                </a:lnTo>
                <a:lnTo>
                  <a:pt x="222" y="210"/>
                </a:lnTo>
                <a:lnTo>
                  <a:pt x="222" y="210"/>
                </a:lnTo>
                <a:lnTo>
                  <a:pt x="222" y="210"/>
                </a:lnTo>
                <a:lnTo>
                  <a:pt x="222" y="210"/>
                </a:lnTo>
                <a:lnTo>
                  <a:pt x="222" y="210"/>
                </a:lnTo>
                <a:lnTo>
                  <a:pt x="222" y="210"/>
                </a:lnTo>
                <a:lnTo>
                  <a:pt x="222" y="210"/>
                </a:lnTo>
                <a:lnTo>
                  <a:pt x="222" y="210"/>
                </a:lnTo>
                <a:lnTo>
                  <a:pt x="222" y="210"/>
                </a:lnTo>
                <a:lnTo>
                  <a:pt x="222" y="210"/>
                </a:lnTo>
                <a:lnTo>
                  <a:pt x="222" y="210"/>
                </a:lnTo>
                <a:lnTo>
                  <a:pt x="222" y="216"/>
                </a:lnTo>
                <a:lnTo>
                  <a:pt x="222" y="216"/>
                </a:lnTo>
                <a:lnTo>
                  <a:pt x="222" y="216"/>
                </a:lnTo>
                <a:lnTo>
                  <a:pt x="222" y="216"/>
                </a:lnTo>
                <a:lnTo>
                  <a:pt x="222" y="216"/>
                </a:lnTo>
                <a:lnTo>
                  <a:pt x="222" y="216"/>
                </a:lnTo>
                <a:lnTo>
                  <a:pt x="222" y="216"/>
                </a:lnTo>
                <a:lnTo>
                  <a:pt x="222" y="216"/>
                </a:lnTo>
                <a:lnTo>
                  <a:pt x="222" y="216"/>
                </a:lnTo>
                <a:lnTo>
                  <a:pt x="222" y="222"/>
                </a:lnTo>
                <a:lnTo>
                  <a:pt x="222" y="222"/>
                </a:lnTo>
                <a:lnTo>
                  <a:pt x="222" y="222"/>
                </a:lnTo>
                <a:lnTo>
                  <a:pt x="228" y="222"/>
                </a:lnTo>
                <a:lnTo>
                  <a:pt x="228" y="222"/>
                </a:lnTo>
                <a:lnTo>
                  <a:pt x="228" y="222"/>
                </a:lnTo>
                <a:lnTo>
                  <a:pt x="228" y="222"/>
                </a:lnTo>
                <a:lnTo>
                  <a:pt x="228" y="222"/>
                </a:lnTo>
                <a:lnTo>
                  <a:pt x="228" y="222"/>
                </a:lnTo>
                <a:lnTo>
                  <a:pt x="228" y="222"/>
                </a:lnTo>
                <a:lnTo>
                  <a:pt x="228" y="222"/>
                </a:lnTo>
                <a:lnTo>
                  <a:pt x="228" y="228"/>
                </a:lnTo>
                <a:lnTo>
                  <a:pt x="234" y="228"/>
                </a:lnTo>
                <a:lnTo>
                  <a:pt x="234" y="228"/>
                </a:lnTo>
                <a:lnTo>
                  <a:pt x="234" y="228"/>
                </a:lnTo>
                <a:lnTo>
                  <a:pt x="234" y="228"/>
                </a:lnTo>
                <a:lnTo>
                  <a:pt x="234" y="228"/>
                </a:lnTo>
                <a:lnTo>
                  <a:pt x="234" y="228"/>
                </a:lnTo>
                <a:lnTo>
                  <a:pt x="234" y="228"/>
                </a:lnTo>
                <a:lnTo>
                  <a:pt x="234" y="228"/>
                </a:lnTo>
                <a:lnTo>
                  <a:pt x="234" y="234"/>
                </a:lnTo>
                <a:lnTo>
                  <a:pt x="234" y="234"/>
                </a:lnTo>
                <a:lnTo>
                  <a:pt x="234" y="234"/>
                </a:lnTo>
                <a:lnTo>
                  <a:pt x="234" y="234"/>
                </a:lnTo>
                <a:lnTo>
                  <a:pt x="234" y="234"/>
                </a:lnTo>
                <a:lnTo>
                  <a:pt x="234" y="234"/>
                </a:lnTo>
                <a:lnTo>
                  <a:pt x="234" y="234"/>
                </a:lnTo>
                <a:lnTo>
                  <a:pt x="234" y="234"/>
                </a:lnTo>
                <a:lnTo>
                  <a:pt x="234" y="240"/>
                </a:lnTo>
                <a:lnTo>
                  <a:pt x="234" y="240"/>
                </a:lnTo>
                <a:lnTo>
                  <a:pt x="234" y="240"/>
                </a:lnTo>
                <a:lnTo>
                  <a:pt x="234" y="240"/>
                </a:lnTo>
                <a:lnTo>
                  <a:pt x="234" y="240"/>
                </a:lnTo>
                <a:lnTo>
                  <a:pt x="234" y="240"/>
                </a:lnTo>
                <a:lnTo>
                  <a:pt x="234" y="240"/>
                </a:lnTo>
                <a:lnTo>
                  <a:pt x="234" y="240"/>
                </a:lnTo>
                <a:lnTo>
                  <a:pt x="234" y="240"/>
                </a:lnTo>
                <a:lnTo>
                  <a:pt x="234" y="240"/>
                </a:lnTo>
                <a:lnTo>
                  <a:pt x="234" y="240"/>
                </a:lnTo>
                <a:lnTo>
                  <a:pt x="234" y="240"/>
                </a:lnTo>
                <a:lnTo>
                  <a:pt x="234" y="246"/>
                </a:lnTo>
                <a:lnTo>
                  <a:pt x="234" y="246"/>
                </a:lnTo>
                <a:lnTo>
                  <a:pt x="234" y="246"/>
                </a:lnTo>
                <a:lnTo>
                  <a:pt x="234" y="246"/>
                </a:lnTo>
                <a:lnTo>
                  <a:pt x="234" y="246"/>
                </a:lnTo>
                <a:lnTo>
                  <a:pt x="234" y="246"/>
                </a:lnTo>
                <a:lnTo>
                  <a:pt x="234" y="246"/>
                </a:lnTo>
                <a:lnTo>
                  <a:pt x="234" y="246"/>
                </a:lnTo>
                <a:lnTo>
                  <a:pt x="234" y="246"/>
                </a:lnTo>
                <a:lnTo>
                  <a:pt x="234" y="246"/>
                </a:lnTo>
                <a:lnTo>
                  <a:pt x="234" y="246"/>
                </a:lnTo>
                <a:lnTo>
                  <a:pt x="234" y="246"/>
                </a:lnTo>
                <a:lnTo>
                  <a:pt x="234" y="246"/>
                </a:lnTo>
                <a:lnTo>
                  <a:pt x="234" y="246"/>
                </a:lnTo>
                <a:lnTo>
                  <a:pt x="234" y="252"/>
                </a:lnTo>
                <a:lnTo>
                  <a:pt x="234" y="252"/>
                </a:lnTo>
                <a:lnTo>
                  <a:pt x="234" y="252"/>
                </a:lnTo>
                <a:lnTo>
                  <a:pt x="234" y="252"/>
                </a:lnTo>
                <a:lnTo>
                  <a:pt x="234" y="252"/>
                </a:lnTo>
                <a:lnTo>
                  <a:pt x="234" y="252"/>
                </a:lnTo>
                <a:lnTo>
                  <a:pt x="234" y="252"/>
                </a:lnTo>
                <a:lnTo>
                  <a:pt x="234" y="252"/>
                </a:lnTo>
                <a:lnTo>
                  <a:pt x="234" y="252"/>
                </a:lnTo>
                <a:lnTo>
                  <a:pt x="234" y="252"/>
                </a:lnTo>
                <a:lnTo>
                  <a:pt x="234" y="252"/>
                </a:lnTo>
                <a:lnTo>
                  <a:pt x="234" y="252"/>
                </a:lnTo>
                <a:lnTo>
                  <a:pt x="234" y="252"/>
                </a:lnTo>
                <a:lnTo>
                  <a:pt x="234" y="252"/>
                </a:lnTo>
                <a:lnTo>
                  <a:pt x="234" y="252"/>
                </a:lnTo>
                <a:lnTo>
                  <a:pt x="234" y="252"/>
                </a:lnTo>
                <a:lnTo>
                  <a:pt x="234" y="252"/>
                </a:lnTo>
                <a:lnTo>
                  <a:pt x="234" y="258"/>
                </a:lnTo>
                <a:lnTo>
                  <a:pt x="234" y="258"/>
                </a:lnTo>
                <a:lnTo>
                  <a:pt x="228" y="258"/>
                </a:lnTo>
                <a:lnTo>
                  <a:pt x="228" y="258"/>
                </a:lnTo>
                <a:lnTo>
                  <a:pt x="228" y="258"/>
                </a:lnTo>
                <a:lnTo>
                  <a:pt x="228" y="258"/>
                </a:lnTo>
                <a:lnTo>
                  <a:pt x="228" y="258"/>
                </a:lnTo>
                <a:lnTo>
                  <a:pt x="228" y="258"/>
                </a:lnTo>
                <a:lnTo>
                  <a:pt x="228" y="258"/>
                </a:lnTo>
                <a:lnTo>
                  <a:pt x="228" y="258"/>
                </a:lnTo>
                <a:lnTo>
                  <a:pt x="228" y="258"/>
                </a:lnTo>
                <a:lnTo>
                  <a:pt x="228" y="258"/>
                </a:lnTo>
                <a:lnTo>
                  <a:pt x="228" y="258"/>
                </a:lnTo>
                <a:lnTo>
                  <a:pt x="228" y="258"/>
                </a:lnTo>
                <a:lnTo>
                  <a:pt x="228" y="258"/>
                </a:lnTo>
                <a:lnTo>
                  <a:pt x="228" y="264"/>
                </a:lnTo>
                <a:lnTo>
                  <a:pt x="228" y="264"/>
                </a:lnTo>
                <a:lnTo>
                  <a:pt x="228" y="264"/>
                </a:lnTo>
                <a:lnTo>
                  <a:pt x="228" y="264"/>
                </a:lnTo>
                <a:lnTo>
                  <a:pt x="228" y="264"/>
                </a:lnTo>
                <a:lnTo>
                  <a:pt x="228" y="264"/>
                </a:lnTo>
                <a:lnTo>
                  <a:pt x="228" y="264"/>
                </a:lnTo>
                <a:lnTo>
                  <a:pt x="228" y="264"/>
                </a:lnTo>
                <a:lnTo>
                  <a:pt x="246" y="270"/>
                </a:lnTo>
                <a:lnTo>
                  <a:pt x="258" y="282"/>
                </a:lnTo>
                <a:lnTo>
                  <a:pt x="258" y="282"/>
                </a:lnTo>
                <a:lnTo>
                  <a:pt x="258" y="282"/>
                </a:lnTo>
                <a:lnTo>
                  <a:pt x="258" y="282"/>
                </a:lnTo>
                <a:lnTo>
                  <a:pt x="258" y="288"/>
                </a:lnTo>
                <a:lnTo>
                  <a:pt x="258" y="288"/>
                </a:lnTo>
                <a:lnTo>
                  <a:pt x="258" y="288"/>
                </a:lnTo>
                <a:lnTo>
                  <a:pt x="258" y="288"/>
                </a:lnTo>
                <a:lnTo>
                  <a:pt x="258" y="288"/>
                </a:lnTo>
                <a:lnTo>
                  <a:pt x="258" y="288"/>
                </a:lnTo>
                <a:lnTo>
                  <a:pt x="258" y="288"/>
                </a:lnTo>
                <a:lnTo>
                  <a:pt x="258" y="288"/>
                </a:lnTo>
                <a:lnTo>
                  <a:pt x="258" y="294"/>
                </a:lnTo>
                <a:lnTo>
                  <a:pt x="258" y="294"/>
                </a:lnTo>
                <a:lnTo>
                  <a:pt x="258" y="294"/>
                </a:lnTo>
                <a:lnTo>
                  <a:pt x="258" y="294"/>
                </a:lnTo>
                <a:lnTo>
                  <a:pt x="264" y="294"/>
                </a:lnTo>
                <a:lnTo>
                  <a:pt x="264" y="294"/>
                </a:lnTo>
                <a:lnTo>
                  <a:pt x="264" y="294"/>
                </a:lnTo>
                <a:lnTo>
                  <a:pt x="264" y="294"/>
                </a:lnTo>
                <a:lnTo>
                  <a:pt x="264" y="294"/>
                </a:lnTo>
                <a:lnTo>
                  <a:pt x="264" y="294"/>
                </a:lnTo>
                <a:lnTo>
                  <a:pt x="264" y="294"/>
                </a:lnTo>
                <a:lnTo>
                  <a:pt x="264" y="294"/>
                </a:lnTo>
                <a:lnTo>
                  <a:pt x="264" y="300"/>
                </a:lnTo>
                <a:lnTo>
                  <a:pt x="264" y="300"/>
                </a:lnTo>
                <a:lnTo>
                  <a:pt x="264" y="300"/>
                </a:lnTo>
                <a:lnTo>
                  <a:pt x="264" y="300"/>
                </a:lnTo>
                <a:lnTo>
                  <a:pt x="264" y="300"/>
                </a:lnTo>
                <a:lnTo>
                  <a:pt x="264" y="300"/>
                </a:lnTo>
                <a:lnTo>
                  <a:pt x="264" y="300"/>
                </a:lnTo>
                <a:lnTo>
                  <a:pt x="264" y="300"/>
                </a:lnTo>
                <a:lnTo>
                  <a:pt x="264" y="300"/>
                </a:lnTo>
                <a:lnTo>
                  <a:pt x="264" y="300"/>
                </a:lnTo>
                <a:lnTo>
                  <a:pt x="264" y="300"/>
                </a:lnTo>
                <a:lnTo>
                  <a:pt x="270" y="300"/>
                </a:lnTo>
                <a:lnTo>
                  <a:pt x="270" y="300"/>
                </a:lnTo>
                <a:lnTo>
                  <a:pt x="270" y="300"/>
                </a:lnTo>
                <a:lnTo>
                  <a:pt x="270" y="306"/>
                </a:lnTo>
                <a:lnTo>
                  <a:pt x="270" y="312"/>
                </a:lnTo>
                <a:lnTo>
                  <a:pt x="264" y="312"/>
                </a:lnTo>
                <a:lnTo>
                  <a:pt x="264" y="318"/>
                </a:lnTo>
                <a:lnTo>
                  <a:pt x="264" y="318"/>
                </a:lnTo>
                <a:lnTo>
                  <a:pt x="264" y="318"/>
                </a:lnTo>
                <a:lnTo>
                  <a:pt x="270" y="324"/>
                </a:lnTo>
                <a:lnTo>
                  <a:pt x="270" y="330"/>
                </a:lnTo>
                <a:lnTo>
                  <a:pt x="270" y="330"/>
                </a:lnTo>
                <a:lnTo>
                  <a:pt x="270" y="330"/>
                </a:lnTo>
                <a:lnTo>
                  <a:pt x="270" y="330"/>
                </a:lnTo>
                <a:lnTo>
                  <a:pt x="270" y="336"/>
                </a:lnTo>
                <a:lnTo>
                  <a:pt x="270" y="336"/>
                </a:lnTo>
                <a:lnTo>
                  <a:pt x="270" y="336"/>
                </a:lnTo>
                <a:lnTo>
                  <a:pt x="270" y="342"/>
                </a:lnTo>
                <a:lnTo>
                  <a:pt x="270" y="342"/>
                </a:lnTo>
                <a:lnTo>
                  <a:pt x="270" y="348"/>
                </a:lnTo>
                <a:lnTo>
                  <a:pt x="270" y="348"/>
                </a:lnTo>
                <a:lnTo>
                  <a:pt x="270" y="354"/>
                </a:lnTo>
                <a:lnTo>
                  <a:pt x="270" y="354"/>
                </a:lnTo>
                <a:lnTo>
                  <a:pt x="270" y="360"/>
                </a:lnTo>
                <a:lnTo>
                  <a:pt x="270" y="360"/>
                </a:lnTo>
                <a:lnTo>
                  <a:pt x="270" y="360"/>
                </a:lnTo>
                <a:lnTo>
                  <a:pt x="258" y="366"/>
                </a:lnTo>
                <a:lnTo>
                  <a:pt x="258" y="366"/>
                </a:lnTo>
                <a:lnTo>
                  <a:pt x="258" y="366"/>
                </a:lnTo>
                <a:lnTo>
                  <a:pt x="258" y="366"/>
                </a:lnTo>
                <a:lnTo>
                  <a:pt x="252" y="366"/>
                </a:lnTo>
                <a:lnTo>
                  <a:pt x="246" y="366"/>
                </a:lnTo>
                <a:lnTo>
                  <a:pt x="246" y="372"/>
                </a:lnTo>
                <a:lnTo>
                  <a:pt x="246" y="372"/>
                </a:lnTo>
                <a:lnTo>
                  <a:pt x="240" y="372"/>
                </a:lnTo>
                <a:lnTo>
                  <a:pt x="240" y="372"/>
                </a:lnTo>
                <a:lnTo>
                  <a:pt x="240" y="372"/>
                </a:lnTo>
                <a:lnTo>
                  <a:pt x="240" y="378"/>
                </a:lnTo>
                <a:lnTo>
                  <a:pt x="198" y="366"/>
                </a:lnTo>
                <a:lnTo>
                  <a:pt x="198" y="366"/>
                </a:lnTo>
                <a:lnTo>
                  <a:pt x="198" y="366"/>
                </a:lnTo>
                <a:lnTo>
                  <a:pt x="198" y="366"/>
                </a:lnTo>
                <a:lnTo>
                  <a:pt x="198" y="366"/>
                </a:lnTo>
                <a:lnTo>
                  <a:pt x="198" y="366"/>
                </a:lnTo>
                <a:lnTo>
                  <a:pt x="198" y="366"/>
                </a:lnTo>
                <a:lnTo>
                  <a:pt x="198" y="360"/>
                </a:lnTo>
                <a:lnTo>
                  <a:pt x="204" y="360"/>
                </a:lnTo>
                <a:lnTo>
                  <a:pt x="198" y="360"/>
                </a:lnTo>
                <a:lnTo>
                  <a:pt x="198" y="360"/>
                </a:lnTo>
                <a:lnTo>
                  <a:pt x="204" y="360"/>
                </a:lnTo>
                <a:lnTo>
                  <a:pt x="204" y="360"/>
                </a:lnTo>
                <a:lnTo>
                  <a:pt x="204" y="354"/>
                </a:lnTo>
                <a:lnTo>
                  <a:pt x="204" y="354"/>
                </a:lnTo>
                <a:lnTo>
                  <a:pt x="204" y="354"/>
                </a:lnTo>
                <a:lnTo>
                  <a:pt x="204" y="354"/>
                </a:lnTo>
                <a:lnTo>
                  <a:pt x="204" y="354"/>
                </a:lnTo>
                <a:lnTo>
                  <a:pt x="204" y="354"/>
                </a:lnTo>
                <a:lnTo>
                  <a:pt x="210" y="354"/>
                </a:lnTo>
                <a:lnTo>
                  <a:pt x="210" y="354"/>
                </a:lnTo>
                <a:lnTo>
                  <a:pt x="210" y="354"/>
                </a:lnTo>
                <a:lnTo>
                  <a:pt x="210" y="354"/>
                </a:lnTo>
                <a:lnTo>
                  <a:pt x="210" y="354"/>
                </a:lnTo>
                <a:lnTo>
                  <a:pt x="210" y="354"/>
                </a:lnTo>
                <a:lnTo>
                  <a:pt x="210" y="354"/>
                </a:lnTo>
                <a:lnTo>
                  <a:pt x="210" y="354"/>
                </a:lnTo>
                <a:lnTo>
                  <a:pt x="210" y="354"/>
                </a:lnTo>
                <a:lnTo>
                  <a:pt x="210" y="348"/>
                </a:lnTo>
                <a:lnTo>
                  <a:pt x="174" y="348"/>
                </a:lnTo>
                <a:lnTo>
                  <a:pt x="168" y="348"/>
                </a:lnTo>
                <a:lnTo>
                  <a:pt x="168" y="348"/>
                </a:lnTo>
                <a:lnTo>
                  <a:pt x="174" y="348"/>
                </a:lnTo>
                <a:lnTo>
                  <a:pt x="174" y="348"/>
                </a:lnTo>
                <a:lnTo>
                  <a:pt x="174" y="348"/>
                </a:lnTo>
                <a:lnTo>
                  <a:pt x="174" y="342"/>
                </a:lnTo>
                <a:lnTo>
                  <a:pt x="174" y="342"/>
                </a:lnTo>
                <a:lnTo>
                  <a:pt x="168" y="342"/>
                </a:lnTo>
                <a:lnTo>
                  <a:pt x="168" y="342"/>
                </a:lnTo>
                <a:lnTo>
                  <a:pt x="168" y="342"/>
                </a:lnTo>
                <a:lnTo>
                  <a:pt x="162" y="336"/>
                </a:lnTo>
                <a:lnTo>
                  <a:pt x="162" y="336"/>
                </a:lnTo>
                <a:lnTo>
                  <a:pt x="162" y="336"/>
                </a:lnTo>
                <a:lnTo>
                  <a:pt x="162" y="336"/>
                </a:lnTo>
                <a:lnTo>
                  <a:pt x="156" y="330"/>
                </a:lnTo>
                <a:lnTo>
                  <a:pt x="156" y="330"/>
                </a:lnTo>
                <a:lnTo>
                  <a:pt x="156" y="330"/>
                </a:lnTo>
                <a:lnTo>
                  <a:pt x="156" y="330"/>
                </a:lnTo>
                <a:lnTo>
                  <a:pt x="156" y="330"/>
                </a:lnTo>
                <a:lnTo>
                  <a:pt x="150" y="330"/>
                </a:lnTo>
                <a:lnTo>
                  <a:pt x="150" y="330"/>
                </a:lnTo>
                <a:lnTo>
                  <a:pt x="150" y="324"/>
                </a:lnTo>
                <a:lnTo>
                  <a:pt x="150" y="330"/>
                </a:lnTo>
                <a:lnTo>
                  <a:pt x="150" y="330"/>
                </a:lnTo>
                <a:lnTo>
                  <a:pt x="150" y="330"/>
                </a:lnTo>
                <a:lnTo>
                  <a:pt x="150" y="336"/>
                </a:lnTo>
                <a:lnTo>
                  <a:pt x="144" y="336"/>
                </a:lnTo>
                <a:lnTo>
                  <a:pt x="144" y="330"/>
                </a:lnTo>
                <a:lnTo>
                  <a:pt x="144" y="330"/>
                </a:lnTo>
                <a:lnTo>
                  <a:pt x="144" y="330"/>
                </a:lnTo>
                <a:lnTo>
                  <a:pt x="138" y="336"/>
                </a:lnTo>
                <a:lnTo>
                  <a:pt x="138" y="336"/>
                </a:lnTo>
                <a:lnTo>
                  <a:pt x="138" y="342"/>
                </a:lnTo>
                <a:lnTo>
                  <a:pt x="138" y="342"/>
                </a:lnTo>
                <a:lnTo>
                  <a:pt x="138" y="342"/>
                </a:lnTo>
                <a:lnTo>
                  <a:pt x="138" y="348"/>
                </a:lnTo>
                <a:lnTo>
                  <a:pt x="144" y="348"/>
                </a:lnTo>
                <a:lnTo>
                  <a:pt x="138" y="348"/>
                </a:lnTo>
                <a:lnTo>
                  <a:pt x="132" y="348"/>
                </a:lnTo>
                <a:lnTo>
                  <a:pt x="108" y="348"/>
                </a:lnTo>
                <a:lnTo>
                  <a:pt x="84" y="348"/>
                </a:lnTo>
                <a:lnTo>
                  <a:pt x="24" y="348"/>
                </a:lnTo>
                <a:lnTo>
                  <a:pt x="24" y="348"/>
                </a:lnTo>
                <a:lnTo>
                  <a:pt x="24" y="348"/>
                </a:lnTo>
                <a:lnTo>
                  <a:pt x="24" y="348"/>
                </a:lnTo>
                <a:lnTo>
                  <a:pt x="24" y="348"/>
                </a:lnTo>
                <a:lnTo>
                  <a:pt x="24" y="348"/>
                </a:lnTo>
                <a:lnTo>
                  <a:pt x="24" y="348"/>
                </a:lnTo>
                <a:lnTo>
                  <a:pt x="24" y="348"/>
                </a:lnTo>
                <a:lnTo>
                  <a:pt x="24" y="342"/>
                </a:lnTo>
                <a:lnTo>
                  <a:pt x="24" y="342"/>
                </a:lnTo>
                <a:lnTo>
                  <a:pt x="24" y="342"/>
                </a:lnTo>
                <a:lnTo>
                  <a:pt x="24" y="342"/>
                </a:lnTo>
                <a:lnTo>
                  <a:pt x="24" y="342"/>
                </a:lnTo>
                <a:lnTo>
                  <a:pt x="24" y="342"/>
                </a:lnTo>
                <a:lnTo>
                  <a:pt x="24" y="336"/>
                </a:lnTo>
                <a:lnTo>
                  <a:pt x="24" y="336"/>
                </a:lnTo>
                <a:lnTo>
                  <a:pt x="24" y="336"/>
                </a:lnTo>
                <a:lnTo>
                  <a:pt x="24" y="336"/>
                </a:lnTo>
                <a:lnTo>
                  <a:pt x="24" y="336"/>
                </a:lnTo>
                <a:lnTo>
                  <a:pt x="24" y="336"/>
                </a:lnTo>
                <a:lnTo>
                  <a:pt x="24" y="336"/>
                </a:lnTo>
                <a:lnTo>
                  <a:pt x="24" y="336"/>
                </a:lnTo>
                <a:lnTo>
                  <a:pt x="24" y="336"/>
                </a:lnTo>
                <a:lnTo>
                  <a:pt x="24" y="330"/>
                </a:lnTo>
                <a:lnTo>
                  <a:pt x="24" y="330"/>
                </a:lnTo>
                <a:lnTo>
                  <a:pt x="24" y="330"/>
                </a:lnTo>
                <a:lnTo>
                  <a:pt x="24" y="330"/>
                </a:lnTo>
                <a:lnTo>
                  <a:pt x="24" y="330"/>
                </a:lnTo>
                <a:lnTo>
                  <a:pt x="24" y="330"/>
                </a:lnTo>
                <a:lnTo>
                  <a:pt x="24" y="330"/>
                </a:lnTo>
                <a:lnTo>
                  <a:pt x="24" y="330"/>
                </a:lnTo>
                <a:lnTo>
                  <a:pt x="24" y="330"/>
                </a:lnTo>
                <a:lnTo>
                  <a:pt x="24" y="330"/>
                </a:lnTo>
                <a:lnTo>
                  <a:pt x="24" y="324"/>
                </a:lnTo>
                <a:lnTo>
                  <a:pt x="24" y="324"/>
                </a:lnTo>
                <a:lnTo>
                  <a:pt x="24" y="324"/>
                </a:lnTo>
                <a:lnTo>
                  <a:pt x="24" y="324"/>
                </a:lnTo>
                <a:lnTo>
                  <a:pt x="24" y="324"/>
                </a:lnTo>
                <a:lnTo>
                  <a:pt x="24" y="324"/>
                </a:lnTo>
                <a:lnTo>
                  <a:pt x="24" y="318"/>
                </a:lnTo>
                <a:lnTo>
                  <a:pt x="24" y="318"/>
                </a:lnTo>
                <a:lnTo>
                  <a:pt x="24" y="318"/>
                </a:lnTo>
                <a:lnTo>
                  <a:pt x="24" y="318"/>
                </a:lnTo>
                <a:lnTo>
                  <a:pt x="24" y="318"/>
                </a:lnTo>
                <a:lnTo>
                  <a:pt x="24" y="318"/>
                </a:lnTo>
                <a:lnTo>
                  <a:pt x="24" y="318"/>
                </a:lnTo>
                <a:lnTo>
                  <a:pt x="24" y="318"/>
                </a:lnTo>
                <a:lnTo>
                  <a:pt x="24" y="318"/>
                </a:lnTo>
                <a:lnTo>
                  <a:pt x="24" y="318"/>
                </a:lnTo>
                <a:lnTo>
                  <a:pt x="24" y="312"/>
                </a:lnTo>
                <a:lnTo>
                  <a:pt x="24" y="312"/>
                </a:lnTo>
                <a:lnTo>
                  <a:pt x="24" y="312"/>
                </a:lnTo>
                <a:lnTo>
                  <a:pt x="24" y="312"/>
                </a:lnTo>
                <a:lnTo>
                  <a:pt x="24" y="312"/>
                </a:lnTo>
                <a:lnTo>
                  <a:pt x="24" y="312"/>
                </a:lnTo>
                <a:lnTo>
                  <a:pt x="24" y="312"/>
                </a:lnTo>
                <a:lnTo>
                  <a:pt x="24" y="312"/>
                </a:lnTo>
                <a:lnTo>
                  <a:pt x="24" y="312"/>
                </a:lnTo>
                <a:lnTo>
                  <a:pt x="24" y="306"/>
                </a:lnTo>
                <a:lnTo>
                  <a:pt x="24" y="306"/>
                </a:lnTo>
                <a:lnTo>
                  <a:pt x="24" y="306"/>
                </a:lnTo>
                <a:lnTo>
                  <a:pt x="24" y="306"/>
                </a:lnTo>
                <a:lnTo>
                  <a:pt x="24" y="306"/>
                </a:lnTo>
                <a:lnTo>
                  <a:pt x="24" y="306"/>
                </a:lnTo>
                <a:lnTo>
                  <a:pt x="24" y="306"/>
                </a:lnTo>
                <a:lnTo>
                  <a:pt x="24" y="306"/>
                </a:lnTo>
                <a:lnTo>
                  <a:pt x="30" y="300"/>
                </a:lnTo>
                <a:lnTo>
                  <a:pt x="30" y="300"/>
                </a:lnTo>
                <a:lnTo>
                  <a:pt x="30" y="300"/>
                </a:lnTo>
                <a:lnTo>
                  <a:pt x="30" y="300"/>
                </a:lnTo>
                <a:lnTo>
                  <a:pt x="30" y="300"/>
                </a:lnTo>
                <a:lnTo>
                  <a:pt x="30" y="300"/>
                </a:lnTo>
                <a:lnTo>
                  <a:pt x="30" y="300"/>
                </a:lnTo>
                <a:lnTo>
                  <a:pt x="30" y="300"/>
                </a:lnTo>
                <a:lnTo>
                  <a:pt x="30" y="300"/>
                </a:lnTo>
                <a:lnTo>
                  <a:pt x="30" y="300"/>
                </a:lnTo>
                <a:lnTo>
                  <a:pt x="30" y="300"/>
                </a:lnTo>
                <a:lnTo>
                  <a:pt x="30" y="300"/>
                </a:lnTo>
                <a:lnTo>
                  <a:pt x="30" y="300"/>
                </a:lnTo>
                <a:lnTo>
                  <a:pt x="30" y="300"/>
                </a:lnTo>
                <a:lnTo>
                  <a:pt x="30" y="294"/>
                </a:lnTo>
                <a:lnTo>
                  <a:pt x="36" y="294"/>
                </a:lnTo>
                <a:lnTo>
                  <a:pt x="36" y="294"/>
                </a:lnTo>
                <a:lnTo>
                  <a:pt x="36" y="294"/>
                </a:lnTo>
                <a:lnTo>
                  <a:pt x="36" y="294"/>
                </a:lnTo>
                <a:lnTo>
                  <a:pt x="36" y="294"/>
                </a:lnTo>
                <a:lnTo>
                  <a:pt x="36" y="294"/>
                </a:lnTo>
                <a:lnTo>
                  <a:pt x="36" y="294"/>
                </a:lnTo>
                <a:lnTo>
                  <a:pt x="36" y="288"/>
                </a:lnTo>
                <a:lnTo>
                  <a:pt x="36" y="288"/>
                </a:lnTo>
                <a:lnTo>
                  <a:pt x="36" y="288"/>
                </a:lnTo>
                <a:lnTo>
                  <a:pt x="36" y="288"/>
                </a:lnTo>
                <a:lnTo>
                  <a:pt x="36" y="288"/>
                </a:lnTo>
                <a:lnTo>
                  <a:pt x="36" y="294"/>
                </a:lnTo>
                <a:lnTo>
                  <a:pt x="30" y="294"/>
                </a:lnTo>
                <a:lnTo>
                  <a:pt x="30" y="294"/>
                </a:lnTo>
                <a:lnTo>
                  <a:pt x="30" y="294"/>
                </a:lnTo>
                <a:lnTo>
                  <a:pt x="30" y="294"/>
                </a:lnTo>
                <a:lnTo>
                  <a:pt x="30" y="294"/>
                </a:lnTo>
                <a:lnTo>
                  <a:pt x="30" y="294"/>
                </a:lnTo>
                <a:lnTo>
                  <a:pt x="30" y="294"/>
                </a:lnTo>
                <a:lnTo>
                  <a:pt x="30" y="294"/>
                </a:lnTo>
                <a:lnTo>
                  <a:pt x="30" y="294"/>
                </a:lnTo>
                <a:lnTo>
                  <a:pt x="30" y="294"/>
                </a:lnTo>
                <a:lnTo>
                  <a:pt x="30" y="294"/>
                </a:lnTo>
                <a:lnTo>
                  <a:pt x="30" y="294"/>
                </a:lnTo>
                <a:lnTo>
                  <a:pt x="30" y="294"/>
                </a:lnTo>
                <a:lnTo>
                  <a:pt x="30" y="294"/>
                </a:lnTo>
                <a:lnTo>
                  <a:pt x="30" y="294"/>
                </a:lnTo>
                <a:lnTo>
                  <a:pt x="30" y="294"/>
                </a:lnTo>
                <a:lnTo>
                  <a:pt x="30" y="294"/>
                </a:lnTo>
                <a:lnTo>
                  <a:pt x="30" y="294"/>
                </a:lnTo>
                <a:lnTo>
                  <a:pt x="30" y="294"/>
                </a:lnTo>
                <a:lnTo>
                  <a:pt x="30" y="294"/>
                </a:lnTo>
                <a:lnTo>
                  <a:pt x="24" y="294"/>
                </a:lnTo>
                <a:lnTo>
                  <a:pt x="24" y="294"/>
                </a:lnTo>
                <a:lnTo>
                  <a:pt x="24" y="294"/>
                </a:lnTo>
                <a:lnTo>
                  <a:pt x="24" y="294"/>
                </a:lnTo>
                <a:lnTo>
                  <a:pt x="24" y="294"/>
                </a:lnTo>
                <a:lnTo>
                  <a:pt x="24" y="294"/>
                </a:lnTo>
                <a:lnTo>
                  <a:pt x="24" y="294"/>
                </a:lnTo>
                <a:lnTo>
                  <a:pt x="24" y="294"/>
                </a:lnTo>
                <a:lnTo>
                  <a:pt x="24" y="294"/>
                </a:lnTo>
                <a:lnTo>
                  <a:pt x="24" y="294"/>
                </a:lnTo>
                <a:lnTo>
                  <a:pt x="24" y="294"/>
                </a:lnTo>
                <a:lnTo>
                  <a:pt x="24" y="294"/>
                </a:lnTo>
                <a:lnTo>
                  <a:pt x="24" y="294"/>
                </a:lnTo>
                <a:lnTo>
                  <a:pt x="24" y="294"/>
                </a:lnTo>
                <a:lnTo>
                  <a:pt x="24" y="294"/>
                </a:lnTo>
                <a:lnTo>
                  <a:pt x="24" y="294"/>
                </a:lnTo>
                <a:lnTo>
                  <a:pt x="24" y="294"/>
                </a:lnTo>
                <a:lnTo>
                  <a:pt x="24" y="294"/>
                </a:lnTo>
                <a:lnTo>
                  <a:pt x="24" y="294"/>
                </a:lnTo>
                <a:lnTo>
                  <a:pt x="24" y="294"/>
                </a:lnTo>
                <a:lnTo>
                  <a:pt x="24" y="294"/>
                </a:lnTo>
                <a:lnTo>
                  <a:pt x="18" y="294"/>
                </a:lnTo>
                <a:lnTo>
                  <a:pt x="18" y="294"/>
                </a:lnTo>
                <a:lnTo>
                  <a:pt x="18" y="294"/>
                </a:lnTo>
                <a:lnTo>
                  <a:pt x="18" y="294"/>
                </a:lnTo>
                <a:lnTo>
                  <a:pt x="18" y="294"/>
                </a:lnTo>
                <a:lnTo>
                  <a:pt x="18" y="294"/>
                </a:lnTo>
                <a:lnTo>
                  <a:pt x="18" y="294"/>
                </a:lnTo>
                <a:lnTo>
                  <a:pt x="18" y="294"/>
                </a:lnTo>
                <a:lnTo>
                  <a:pt x="18" y="294"/>
                </a:lnTo>
                <a:lnTo>
                  <a:pt x="18" y="294"/>
                </a:lnTo>
                <a:lnTo>
                  <a:pt x="18" y="294"/>
                </a:lnTo>
                <a:lnTo>
                  <a:pt x="18" y="294"/>
                </a:lnTo>
                <a:lnTo>
                  <a:pt x="12" y="294"/>
                </a:lnTo>
                <a:lnTo>
                  <a:pt x="12" y="294"/>
                </a:lnTo>
                <a:lnTo>
                  <a:pt x="12" y="294"/>
                </a:lnTo>
                <a:lnTo>
                  <a:pt x="12" y="294"/>
                </a:lnTo>
                <a:lnTo>
                  <a:pt x="12" y="294"/>
                </a:lnTo>
                <a:lnTo>
                  <a:pt x="12" y="294"/>
                </a:lnTo>
                <a:lnTo>
                  <a:pt x="12" y="294"/>
                </a:lnTo>
                <a:lnTo>
                  <a:pt x="12" y="288"/>
                </a:lnTo>
                <a:lnTo>
                  <a:pt x="12" y="288"/>
                </a:lnTo>
                <a:lnTo>
                  <a:pt x="12" y="288"/>
                </a:lnTo>
                <a:lnTo>
                  <a:pt x="12" y="288"/>
                </a:lnTo>
                <a:lnTo>
                  <a:pt x="6" y="288"/>
                </a:lnTo>
                <a:lnTo>
                  <a:pt x="6" y="288"/>
                </a:lnTo>
                <a:lnTo>
                  <a:pt x="6" y="288"/>
                </a:lnTo>
                <a:lnTo>
                  <a:pt x="6" y="288"/>
                </a:lnTo>
                <a:lnTo>
                  <a:pt x="6" y="288"/>
                </a:lnTo>
                <a:lnTo>
                  <a:pt x="6" y="288"/>
                </a:lnTo>
                <a:lnTo>
                  <a:pt x="6" y="288"/>
                </a:lnTo>
                <a:lnTo>
                  <a:pt x="6" y="288"/>
                </a:lnTo>
                <a:lnTo>
                  <a:pt x="6" y="288"/>
                </a:lnTo>
                <a:lnTo>
                  <a:pt x="6" y="288"/>
                </a:lnTo>
                <a:lnTo>
                  <a:pt x="6" y="288"/>
                </a:lnTo>
                <a:lnTo>
                  <a:pt x="6" y="288"/>
                </a:lnTo>
                <a:lnTo>
                  <a:pt x="6" y="288"/>
                </a:lnTo>
                <a:lnTo>
                  <a:pt x="6" y="282"/>
                </a:lnTo>
                <a:lnTo>
                  <a:pt x="6" y="282"/>
                </a:lnTo>
                <a:lnTo>
                  <a:pt x="6" y="282"/>
                </a:lnTo>
                <a:lnTo>
                  <a:pt x="6" y="282"/>
                </a:lnTo>
                <a:lnTo>
                  <a:pt x="6" y="282"/>
                </a:lnTo>
                <a:lnTo>
                  <a:pt x="6" y="282"/>
                </a:lnTo>
                <a:lnTo>
                  <a:pt x="6" y="282"/>
                </a:lnTo>
                <a:lnTo>
                  <a:pt x="6" y="282"/>
                </a:lnTo>
                <a:lnTo>
                  <a:pt x="6" y="282"/>
                </a:lnTo>
                <a:lnTo>
                  <a:pt x="6" y="282"/>
                </a:lnTo>
                <a:lnTo>
                  <a:pt x="0" y="282"/>
                </a:lnTo>
                <a:lnTo>
                  <a:pt x="0" y="276"/>
                </a:lnTo>
                <a:lnTo>
                  <a:pt x="0" y="276"/>
                </a:lnTo>
                <a:lnTo>
                  <a:pt x="6" y="276"/>
                </a:lnTo>
                <a:lnTo>
                  <a:pt x="0" y="276"/>
                </a:lnTo>
                <a:lnTo>
                  <a:pt x="0" y="276"/>
                </a:lnTo>
                <a:lnTo>
                  <a:pt x="6" y="276"/>
                </a:lnTo>
                <a:lnTo>
                  <a:pt x="6" y="276"/>
                </a:lnTo>
                <a:lnTo>
                  <a:pt x="6" y="276"/>
                </a:lnTo>
                <a:lnTo>
                  <a:pt x="6" y="27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36" name="Freeform 69"/>
          <p:cNvSpPr>
            <a:spLocks/>
          </p:cNvSpPr>
          <p:nvPr/>
        </p:nvSpPr>
        <p:spPr bwMode="auto">
          <a:xfrm>
            <a:off x="7481411" y="1636031"/>
            <a:ext cx="154177" cy="173451"/>
          </a:xfrm>
          <a:custGeom>
            <a:avLst/>
            <a:gdLst>
              <a:gd name="T0" fmla="*/ 6 w 144"/>
              <a:gd name="T1" fmla="*/ 42 h 162"/>
              <a:gd name="T2" fmla="*/ 0 w 144"/>
              <a:gd name="T3" fmla="*/ 36 h 162"/>
              <a:gd name="T4" fmla="*/ 12 w 144"/>
              <a:gd name="T5" fmla="*/ 30 h 162"/>
              <a:gd name="T6" fmla="*/ 12 w 144"/>
              <a:gd name="T7" fmla="*/ 24 h 162"/>
              <a:gd name="T8" fmla="*/ 18 w 144"/>
              <a:gd name="T9" fmla="*/ 18 h 162"/>
              <a:gd name="T10" fmla="*/ 18 w 144"/>
              <a:gd name="T11" fmla="*/ 12 h 162"/>
              <a:gd name="T12" fmla="*/ 18 w 144"/>
              <a:gd name="T13" fmla="*/ 12 h 162"/>
              <a:gd name="T14" fmla="*/ 18 w 144"/>
              <a:gd name="T15" fmla="*/ 6 h 162"/>
              <a:gd name="T16" fmla="*/ 42 w 144"/>
              <a:gd name="T17" fmla="*/ 6 h 162"/>
              <a:gd name="T18" fmla="*/ 72 w 144"/>
              <a:gd name="T19" fmla="*/ 24 h 162"/>
              <a:gd name="T20" fmla="*/ 96 w 144"/>
              <a:gd name="T21" fmla="*/ 18 h 162"/>
              <a:gd name="T22" fmla="*/ 102 w 144"/>
              <a:gd name="T23" fmla="*/ 18 h 162"/>
              <a:gd name="T24" fmla="*/ 108 w 144"/>
              <a:gd name="T25" fmla="*/ 24 h 162"/>
              <a:gd name="T26" fmla="*/ 108 w 144"/>
              <a:gd name="T27" fmla="*/ 24 h 162"/>
              <a:gd name="T28" fmla="*/ 114 w 144"/>
              <a:gd name="T29" fmla="*/ 30 h 162"/>
              <a:gd name="T30" fmla="*/ 114 w 144"/>
              <a:gd name="T31" fmla="*/ 36 h 162"/>
              <a:gd name="T32" fmla="*/ 114 w 144"/>
              <a:gd name="T33" fmla="*/ 48 h 162"/>
              <a:gd name="T34" fmla="*/ 126 w 144"/>
              <a:gd name="T35" fmla="*/ 48 h 162"/>
              <a:gd name="T36" fmla="*/ 102 w 144"/>
              <a:gd name="T37" fmla="*/ 84 h 162"/>
              <a:gd name="T38" fmla="*/ 96 w 144"/>
              <a:gd name="T39" fmla="*/ 84 h 162"/>
              <a:gd name="T40" fmla="*/ 96 w 144"/>
              <a:gd name="T41" fmla="*/ 84 h 162"/>
              <a:gd name="T42" fmla="*/ 108 w 144"/>
              <a:gd name="T43" fmla="*/ 96 h 162"/>
              <a:gd name="T44" fmla="*/ 114 w 144"/>
              <a:gd name="T45" fmla="*/ 108 h 162"/>
              <a:gd name="T46" fmla="*/ 114 w 144"/>
              <a:gd name="T47" fmla="*/ 114 h 162"/>
              <a:gd name="T48" fmla="*/ 114 w 144"/>
              <a:gd name="T49" fmla="*/ 114 h 162"/>
              <a:gd name="T50" fmla="*/ 108 w 144"/>
              <a:gd name="T51" fmla="*/ 114 h 162"/>
              <a:gd name="T52" fmla="*/ 108 w 144"/>
              <a:gd name="T53" fmla="*/ 120 h 162"/>
              <a:gd name="T54" fmla="*/ 108 w 144"/>
              <a:gd name="T55" fmla="*/ 120 h 162"/>
              <a:gd name="T56" fmla="*/ 102 w 144"/>
              <a:gd name="T57" fmla="*/ 120 h 162"/>
              <a:gd name="T58" fmla="*/ 102 w 144"/>
              <a:gd name="T59" fmla="*/ 120 h 162"/>
              <a:gd name="T60" fmla="*/ 96 w 144"/>
              <a:gd name="T61" fmla="*/ 120 h 162"/>
              <a:gd name="T62" fmla="*/ 84 w 144"/>
              <a:gd name="T63" fmla="*/ 126 h 162"/>
              <a:gd name="T64" fmla="*/ 84 w 144"/>
              <a:gd name="T65" fmla="*/ 132 h 162"/>
              <a:gd name="T66" fmla="*/ 84 w 144"/>
              <a:gd name="T67" fmla="*/ 144 h 162"/>
              <a:gd name="T68" fmla="*/ 78 w 144"/>
              <a:gd name="T69" fmla="*/ 156 h 162"/>
              <a:gd name="T70" fmla="*/ 66 w 144"/>
              <a:gd name="T71" fmla="*/ 162 h 162"/>
              <a:gd name="T72" fmla="*/ 60 w 144"/>
              <a:gd name="T73" fmla="*/ 150 h 162"/>
              <a:gd name="T74" fmla="*/ 54 w 144"/>
              <a:gd name="T75" fmla="*/ 150 h 162"/>
              <a:gd name="T76" fmla="*/ 48 w 144"/>
              <a:gd name="T77" fmla="*/ 150 h 162"/>
              <a:gd name="T78" fmla="*/ 48 w 144"/>
              <a:gd name="T79" fmla="*/ 150 h 162"/>
              <a:gd name="T80" fmla="*/ 42 w 144"/>
              <a:gd name="T81" fmla="*/ 144 h 162"/>
              <a:gd name="T82" fmla="*/ 48 w 144"/>
              <a:gd name="T83" fmla="*/ 144 h 162"/>
              <a:gd name="T84" fmla="*/ 48 w 144"/>
              <a:gd name="T85" fmla="*/ 144 h 162"/>
              <a:gd name="T86" fmla="*/ 42 w 144"/>
              <a:gd name="T87" fmla="*/ 138 h 162"/>
              <a:gd name="T88" fmla="*/ 42 w 144"/>
              <a:gd name="T89" fmla="*/ 138 h 162"/>
              <a:gd name="T90" fmla="*/ 36 w 144"/>
              <a:gd name="T91" fmla="*/ 138 h 162"/>
              <a:gd name="T92" fmla="*/ 36 w 144"/>
              <a:gd name="T93" fmla="*/ 138 h 162"/>
              <a:gd name="T94" fmla="*/ 30 w 144"/>
              <a:gd name="T95" fmla="*/ 138 h 162"/>
              <a:gd name="T96" fmla="*/ 24 w 144"/>
              <a:gd name="T97" fmla="*/ 144 h 162"/>
              <a:gd name="T98" fmla="*/ 18 w 144"/>
              <a:gd name="T99" fmla="*/ 132 h 162"/>
              <a:gd name="T100" fmla="*/ 18 w 144"/>
              <a:gd name="T101" fmla="*/ 126 h 162"/>
              <a:gd name="T102" fmla="*/ 12 w 144"/>
              <a:gd name="T103" fmla="*/ 120 h 162"/>
              <a:gd name="T104" fmla="*/ 6 w 144"/>
              <a:gd name="T105" fmla="*/ 114 h 162"/>
              <a:gd name="T106" fmla="*/ 12 w 144"/>
              <a:gd name="T107" fmla="*/ 102 h 162"/>
              <a:gd name="T108" fmla="*/ 12 w 144"/>
              <a:gd name="T109" fmla="*/ 96 h 162"/>
              <a:gd name="T110" fmla="*/ 18 w 144"/>
              <a:gd name="T111" fmla="*/ 96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44" h="162">
                <a:moveTo>
                  <a:pt x="0" y="60"/>
                </a:moveTo>
                <a:lnTo>
                  <a:pt x="0" y="48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0" y="36"/>
                </a:lnTo>
                <a:lnTo>
                  <a:pt x="6" y="36"/>
                </a:lnTo>
                <a:lnTo>
                  <a:pt x="0" y="36"/>
                </a:lnTo>
                <a:lnTo>
                  <a:pt x="6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12" y="36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2"/>
                </a:lnTo>
                <a:lnTo>
                  <a:pt x="12" y="12"/>
                </a:lnTo>
                <a:lnTo>
                  <a:pt x="12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24" y="6"/>
                </a:lnTo>
                <a:lnTo>
                  <a:pt x="36" y="12"/>
                </a:lnTo>
                <a:lnTo>
                  <a:pt x="36" y="12"/>
                </a:lnTo>
                <a:lnTo>
                  <a:pt x="42" y="12"/>
                </a:lnTo>
                <a:lnTo>
                  <a:pt x="42" y="12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0"/>
                </a:lnTo>
                <a:lnTo>
                  <a:pt x="66" y="0"/>
                </a:lnTo>
                <a:lnTo>
                  <a:pt x="72" y="24"/>
                </a:lnTo>
                <a:lnTo>
                  <a:pt x="72" y="24"/>
                </a:lnTo>
                <a:lnTo>
                  <a:pt x="72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96" y="12"/>
                </a:lnTo>
                <a:lnTo>
                  <a:pt x="96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42"/>
                </a:lnTo>
                <a:lnTo>
                  <a:pt x="114" y="42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54"/>
                </a:lnTo>
                <a:lnTo>
                  <a:pt x="126" y="48"/>
                </a:lnTo>
                <a:lnTo>
                  <a:pt x="126" y="48"/>
                </a:lnTo>
                <a:lnTo>
                  <a:pt x="138" y="48"/>
                </a:lnTo>
                <a:lnTo>
                  <a:pt x="138" y="54"/>
                </a:lnTo>
                <a:lnTo>
                  <a:pt x="144" y="60"/>
                </a:lnTo>
                <a:lnTo>
                  <a:pt x="138" y="66"/>
                </a:lnTo>
                <a:lnTo>
                  <a:pt x="126" y="72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102" y="90"/>
                </a:lnTo>
                <a:lnTo>
                  <a:pt x="102" y="90"/>
                </a:lnTo>
                <a:lnTo>
                  <a:pt x="102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14" y="102"/>
                </a:lnTo>
                <a:lnTo>
                  <a:pt x="114" y="102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44"/>
                </a:lnTo>
                <a:lnTo>
                  <a:pt x="84" y="144"/>
                </a:lnTo>
                <a:lnTo>
                  <a:pt x="84" y="144"/>
                </a:lnTo>
                <a:lnTo>
                  <a:pt x="84" y="144"/>
                </a:lnTo>
                <a:lnTo>
                  <a:pt x="84" y="144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6"/>
                </a:lnTo>
                <a:lnTo>
                  <a:pt x="72" y="156"/>
                </a:lnTo>
                <a:lnTo>
                  <a:pt x="72" y="156"/>
                </a:lnTo>
                <a:lnTo>
                  <a:pt x="72" y="156"/>
                </a:lnTo>
                <a:lnTo>
                  <a:pt x="72" y="156"/>
                </a:lnTo>
                <a:lnTo>
                  <a:pt x="66" y="156"/>
                </a:lnTo>
                <a:lnTo>
                  <a:pt x="66" y="162"/>
                </a:lnTo>
                <a:lnTo>
                  <a:pt x="66" y="156"/>
                </a:lnTo>
                <a:lnTo>
                  <a:pt x="66" y="156"/>
                </a:lnTo>
                <a:lnTo>
                  <a:pt x="66" y="156"/>
                </a:lnTo>
                <a:lnTo>
                  <a:pt x="66" y="156"/>
                </a:lnTo>
                <a:lnTo>
                  <a:pt x="60" y="150"/>
                </a:lnTo>
                <a:lnTo>
                  <a:pt x="60" y="150"/>
                </a:lnTo>
                <a:lnTo>
                  <a:pt x="60" y="150"/>
                </a:lnTo>
                <a:lnTo>
                  <a:pt x="60" y="150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48" y="150"/>
                </a:lnTo>
                <a:lnTo>
                  <a:pt x="48" y="150"/>
                </a:lnTo>
                <a:lnTo>
                  <a:pt x="48" y="150"/>
                </a:lnTo>
                <a:lnTo>
                  <a:pt x="48" y="150"/>
                </a:lnTo>
                <a:lnTo>
                  <a:pt x="48" y="150"/>
                </a:lnTo>
                <a:lnTo>
                  <a:pt x="48" y="150"/>
                </a:lnTo>
                <a:lnTo>
                  <a:pt x="48" y="150"/>
                </a:lnTo>
                <a:lnTo>
                  <a:pt x="48" y="150"/>
                </a:lnTo>
                <a:lnTo>
                  <a:pt x="48" y="150"/>
                </a:lnTo>
                <a:lnTo>
                  <a:pt x="48" y="150"/>
                </a:lnTo>
                <a:lnTo>
                  <a:pt x="42" y="150"/>
                </a:lnTo>
                <a:lnTo>
                  <a:pt x="42" y="150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38"/>
                </a:lnTo>
                <a:lnTo>
                  <a:pt x="42" y="144"/>
                </a:lnTo>
                <a:lnTo>
                  <a:pt x="42" y="138"/>
                </a:lnTo>
                <a:lnTo>
                  <a:pt x="42" y="138"/>
                </a:lnTo>
                <a:lnTo>
                  <a:pt x="42" y="144"/>
                </a:lnTo>
                <a:lnTo>
                  <a:pt x="42" y="144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0" y="138"/>
                </a:lnTo>
                <a:lnTo>
                  <a:pt x="30" y="138"/>
                </a:lnTo>
                <a:lnTo>
                  <a:pt x="30" y="138"/>
                </a:lnTo>
                <a:lnTo>
                  <a:pt x="30" y="138"/>
                </a:lnTo>
                <a:lnTo>
                  <a:pt x="30" y="138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24" y="144"/>
                </a:lnTo>
                <a:lnTo>
                  <a:pt x="24" y="144"/>
                </a:lnTo>
                <a:lnTo>
                  <a:pt x="18" y="138"/>
                </a:lnTo>
                <a:lnTo>
                  <a:pt x="18" y="138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6" y="120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2"/>
                </a:lnTo>
                <a:lnTo>
                  <a:pt x="6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96"/>
                </a:lnTo>
                <a:lnTo>
                  <a:pt x="12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6" y="84"/>
                </a:lnTo>
                <a:lnTo>
                  <a:pt x="6" y="78"/>
                </a:lnTo>
                <a:lnTo>
                  <a:pt x="12" y="66"/>
                </a:lnTo>
                <a:lnTo>
                  <a:pt x="12" y="66"/>
                </a:lnTo>
                <a:lnTo>
                  <a:pt x="0" y="6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37" name="Freeform 70"/>
          <p:cNvSpPr>
            <a:spLocks/>
          </p:cNvSpPr>
          <p:nvPr/>
        </p:nvSpPr>
        <p:spPr bwMode="auto">
          <a:xfrm>
            <a:off x="7102392" y="2053597"/>
            <a:ext cx="231266" cy="481807"/>
          </a:xfrm>
          <a:custGeom>
            <a:avLst/>
            <a:gdLst>
              <a:gd name="T0" fmla="*/ 24 w 216"/>
              <a:gd name="T1" fmla="*/ 282 h 450"/>
              <a:gd name="T2" fmla="*/ 30 w 216"/>
              <a:gd name="T3" fmla="*/ 270 h 450"/>
              <a:gd name="T4" fmla="*/ 36 w 216"/>
              <a:gd name="T5" fmla="*/ 264 h 450"/>
              <a:gd name="T6" fmla="*/ 36 w 216"/>
              <a:gd name="T7" fmla="*/ 246 h 450"/>
              <a:gd name="T8" fmla="*/ 36 w 216"/>
              <a:gd name="T9" fmla="*/ 234 h 450"/>
              <a:gd name="T10" fmla="*/ 36 w 216"/>
              <a:gd name="T11" fmla="*/ 228 h 450"/>
              <a:gd name="T12" fmla="*/ 42 w 216"/>
              <a:gd name="T13" fmla="*/ 228 h 450"/>
              <a:gd name="T14" fmla="*/ 48 w 216"/>
              <a:gd name="T15" fmla="*/ 216 h 450"/>
              <a:gd name="T16" fmla="*/ 54 w 216"/>
              <a:gd name="T17" fmla="*/ 204 h 450"/>
              <a:gd name="T18" fmla="*/ 66 w 216"/>
              <a:gd name="T19" fmla="*/ 198 h 450"/>
              <a:gd name="T20" fmla="*/ 90 w 216"/>
              <a:gd name="T21" fmla="*/ 180 h 450"/>
              <a:gd name="T22" fmla="*/ 90 w 216"/>
              <a:gd name="T23" fmla="*/ 150 h 450"/>
              <a:gd name="T24" fmla="*/ 72 w 216"/>
              <a:gd name="T25" fmla="*/ 144 h 450"/>
              <a:gd name="T26" fmla="*/ 54 w 216"/>
              <a:gd name="T27" fmla="*/ 144 h 450"/>
              <a:gd name="T28" fmla="*/ 54 w 216"/>
              <a:gd name="T29" fmla="*/ 126 h 450"/>
              <a:gd name="T30" fmla="*/ 36 w 216"/>
              <a:gd name="T31" fmla="*/ 120 h 450"/>
              <a:gd name="T32" fmla="*/ 30 w 216"/>
              <a:gd name="T33" fmla="*/ 114 h 450"/>
              <a:gd name="T34" fmla="*/ 18 w 216"/>
              <a:gd name="T35" fmla="*/ 108 h 450"/>
              <a:gd name="T36" fmla="*/ 0 w 216"/>
              <a:gd name="T37" fmla="*/ 108 h 450"/>
              <a:gd name="T38" fmla="*/ 0 w 216"/>
              <a:gd name="T39" fmla="*/ 96 h 450"/>
              <a:gd name="T40" fmla="*/ 18 w 216"/>
              <a:gd name="T41" fmla="*/ 72 h 450"/>
              <a:gd name="T42" fmla="*/ 48 w 216"/>
              <a:gd name="T43" fmla="*/ 60 h 450"/>
              <a:gd name="T44" fmla="*/ 54 w 216"/>
              <a:gd name="T45" fmla="*/ 42 h 450"/>
              <a:gd name="T46" fmla="*/ 42 w 216"/>
              <a:gd name="T47" fmla="*/ 24 h 450"/>
              <a:gd name="T48" fmla="*/ 42 w 216"/>
              <a:gd name="T49" fmla="*/ 18 h 450"/>
              <a:gd name="T50" fmla="*/ 54 w 216"/>
              <a:gd name="T51" fmla="*/ 12 h 450"/>
              <a:gd name="T52" fmla="*/ 78 w 216"/>
              <a:gd name="T53" fmla="*/ 0 h 450"/>
              <a:gd name="T54" fmla="*/ 102 w 216"/>
              <a:gd name="T55" fmla="*/ 12 h 450"/>
              <a:gd name="T56" fmla="*/ 120 w 216"/>
              <a:gd name="T57" fmla="*/ 54 h 450"/>
              <a:gd name="T58" fmla="*/ 114 w 216"/>
              <a:gd name="T59" fmla="*/ 66 h 450"/>
              <a:gd name="T60" fmla="*/ 174 w 216"/>
              <a:gd name="T61" fmla="*/ 60 h 450"/>
              <a:gd name="T62" fmla="*/ 198 w 216"/>
              <a:gd name="T63" fmla="*/ 78 h 450"/>
              <a:gd name="T64" fmla="*/ 180 w 216"/>
              <a:gd name="T65" fmla="*/ 84 h 450"/>
              <a:gd name="T66" fmla="*/ 180 w 216"/>
              <a:gd name="T67" fmla="*/ 108 h 450"/>
              <a:gd name="T68" fmla="*/ 174 w 216"/>
              <a:gd name="T69" fmla="*/ 150 h 450"/>
              <a:gd name="T70" fmla="*/ 180 w 216"/>
              <a:gd name="T71" fmla="*/ 132 h 450"/>
              <a:gd name="T72" fmla="*/ 204 w 216"/>
              <a:gd name="T73" fmla="*/ 126 h 450"/>
              <a:gd name="T74" fmla="*/ 216 w 216"/>
              <a:gd name="T75" fmla="*/ 144 h 450"/>
              <a:gd name="T76" fmla="*/ 210 w 216"/>
              <a:gd name="T77" fmla="*/ 168 h 450"/>
              <a:gd name="T78" fmla="*/ 198 w 216"/>
              <a:gd name="T79" fmla="*/ 204 h 450"/>
              <a:gd name="T80" fmla="*/ 186 w 216"/>
              <a:gd name="T81" fmla="*/ 222 h 450"/>
              <a:gd name="T82" fmla="*/ 174 w 216"/>
              <a:gd name="T83" fmla="*/ 246 h 450"/>
              <a:gd name="T84" fmla="*/ 162 w 216"/>
              <a:gd name="T85" fmla="*/ 264 h 450"/>
              <a:gd name="T86" fmla="*/ 162 w 216"/>
              <a:gd name="T87" fmla="*/ 288 h 450"/>
              <a:gd name="T88" fmla="*/ 168 w 216"/>
              <a:gd name="T89" fmla="*/ 306 h 450"/>
              <a:gd name="T90" fmla="*/ 168 w 216"/>
              <a:gd name="T91" fmla="*/ 324 h 450"/>
              <a:gd name="T92" fmla="*/ 180 w 216"/>
              <a:gd name="T93" fmla="*/ 342 h 450"/>
              <a:gd name="T94" fmla="*/ 180 w 216"/>
              <a:gd name="T95" fmla="*/ 360 h 450"/>
              <a:gd name="T96" fmla="*/ 180 w 216"/>
              <a:gd name="T97" fmla="*/ 378 h 450"/>
              <a:gd name="T98" fmla="*/ 174 w 216"/>
              <a:gd name="T99" fmla="*/ 402 h 450"/>
              <a:gd name="T100" fmla="*/ 168 w 216"/>
              <a:gd name="T101" fmla="*/ 432 h 450"/>
              <a:gd name="T102" fmla="*/ 150 w 216"/>
              <a:gd name="T103" fmla="*/ 438 h 450"/>
              <a:gd name="T104" fmla="*/ 108 w 216"/>
              <a:gd name="T105" fmla="*/ 432 h 450"/>
              <a:gd name="T106" fmla="*/ 96 w 216"/>
              <a:gd name="T107" fmla="*/ 402 h 450"/>
              <a:gd name="T108" fmla="*/ 78 w 216"/>
              <a:gd name="T109" fmla="*/ 378 h 450"/>
              <a:gd name="T110" fmla="*/ 84 w 216"/>
              <a:gd name="T111" fmla="*/ 354 h 450"/>
              <a:gd name="T112" fmla="*/ 66 w 216"/>
              <a:gd name="T113" fmla="*/ 336 h 450"/>
              <a:gd name="T114" fmla="*/ 48 w 216"/>
              <a:gd name="T115" fmla="*/ 324 h 450"/>
              <a:gd name="T116" fmla="*/ 42 w 216"/>
              <a:gd name="T117" fmla="*/ 300 h 450"/>
              <a:gd name="T118" fmla="*/ 36 w 216"/>
              <a:gd name="T119" fmla="*/ 294 h 450"/>
              <a:gd name="T120" fmla="*/ 18 w 216"/>
              <a:gd name="T121" fmla="*/ 294 h 4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16" h="450">
                <a:moveTo>
                  <a:pt x="18" y="294"/>
                </a:moveTo>
                <a:lnTo>
                  <a:pt x="18" y="288"/>
                </a:lnTo>
                <a:lnTo>
                  <a:pt x="18" y="288"/>
                </a:lnTo>
                <a:lnTo>
                  <a:pt x="18" y="288"/>
                </a:lnTo>
                <a:lnTo>
                  <a:pt x="18" y="288"/>
                </a:lnTo>
                <a:lnTo>
                  <a:pt x="18" y="288"/>
                </a:lnTo>
                <a:lnTo>
                  <a:pt x="18" y="288"/>
                </a:lnTo>
                <a:lnTo>
                  <a:pt x="18" y="288"/>
                </a:lnTo>
                <a:lnTo>
                  <a:pt x="18" y="288"/>
                </a:lnTo>
                <a:lnTo>
                  <a:pt x="18" y="288"/>
                </a:lnTo>
                <a:lnTo>
                  <a:pt x="18" y="288"/>
                </a:lnTo>
                <a:lnTo>
                  <a:pt x="18" y="288"/>
                </a:lnTo>
                <a:lnTo>
                  <a:pt x="18" y="288"/>
                </a:lnTo>
                <a:lnTo>
                  <a:pt x="18" y="282"/>
                </a:lnTo>
                <a:lnTo>
                  <a:pt x="18" y="282"/>
                </a:lnTo>
                <a:lnTo>
                  <a:pt x="18" y="282"/>
                </a:lnTo>
                <a:lnTo>
                  <a:pt x="24" y="282"/>
                </a:lnTo>
                <a:lnTo>
                  <a:pt x="24" y="282"/>
                </a:lnTo>
                <a:lnTo>
                  <a:pt x="24" y="282"/>
                </a:lnTo>
                <a:lnTo>
                  <a:pt x="24" y="282"/>
                </a:lnTo>
                <a:lnTo>
                  <a:pt x="24" y="282"/>
                </a:lnTo>
                <a:lnTo>
                  <a:pt x="24" y="282"/>
                </a:lnTo>
                <a:lnTo>
                  <a:pt x="24" y="282"/>
                </a:lnTo>
                <a:lnTo>
                  <a:pt x="24" y="282"/>
                </a:lnTo>
                <a:lnTo>
                  <a:pt x="24" y="276"/>
                </a:lnTo>
                <a:lnTo>
                  <a:pt x="24" y="276"/>
                </a:lnTo>
                <a:lnTo>
                  <a:pt x="24" y="276"/>
                </a:lnTo>
                <a:lnTo>
                  <a:pt x="24" y="276"/>
                </a:lnTo>
                <a:lnTo>
                  <a:pt x="24" y="276"/>
                </a:lnTo>
                <a:lnTo>
                  <a:pt x="30" y="276"/>
                </a:lnTo>
                <a:lnTo>
                  <a:pt x="30" y="276"/>
                </a:lnTo>
                <a:lnTo>
                  <a:pt x="30" y="270"/>
                </a:lnTo>
                <a:lnTo>
                  <a:pt x="30" y="270"/>
                </a:lnTo>
                <a:lnTo>
                  <a:pt x="30" y="270"/>
                </a:lnTo>
                <a:lnTo>
                  <a:pt x="30" y="270"/>
                </a:lnTo>
                <a:lnTo>
                  <a:pt x="30" y="270"/>
                </a:lnTo>
                <a:lnTo>
                  <a:pt x="30" y="270"/>
                </a:lnTo>
                <a:lnTo>
                  <a:pt x="30" y="270"/>
                </a:lnTo>
                <a:lnTo>
                  <a:pt x="24" y="270"/>
                </a:lnTo>
                <a:lnTo>
                  <a:pt x="30" y="264"/>
                </a:lnTo>
                <a:lnTo>
                  <a:pt x="30" y="264"/>
                </a:lnTo>
                <a:lnTo>
                  <a:pt x="30" y="264"/>
                </a:lnTo>
                <a:lnTo>
                  <a:pt x="30" y="270"/>
                </a:lnTo>
                <a:lnTo>
                  <a:pt x="30" y="270"/>
                </a:lnTo>
                <a:lnTo>
                  <a:pt x="36" y="264"/>
                </a:lnTo>
                <a:lnTo>
                  <a:pt x="36" y="264"/>
                </a:lnTo>
                <a:lnTo>
                  <a:pt x="36" y="264"/>
                </a:lnTo>
                <a:lnTo>
                  <a:pt x="36" y="264"/>
                </a:lnTo>
                <a:lnTo>
                  <a:pt x="36" y="264"/>
                </a:lnTo>
                <a:lnTo>
                  <a:pt x="36" y="264"/>
                </a:lnTo>
                <a:lnTo>
                  <a:pt x="36" y="264"/>
                </a:lnTo>
                <a:lnTo>
                  <a:pt x="36" y="264"/>
                </a:lnTo>
                <a:lnTo>
                  <a:pt x="36" y="264"/>
                </a:lnTo>
                <a:lnTo>
                  <a:pt x="36" y="264"/>
                </a:lnTo>
                <a:lnTo>
                  <a:pt x="36" y="258"/>
                </a:lnTo>
                <a:lnTo>
                  <a:pt x="36" y="258"/>
                </a:lnTo>
                <a:lnTo>
                  <a:pt x="36" y="258"/>
                </a:lnTo>
                <a:lnTo>
                  <a:pt x="36" y="258"/>
                </a:lnTo>
                <a:lnTo>
                  <a:pt x="36" y="252"/>
                </a:lnTo>
                <a:lnTo>
                  <a:pt x="36" y="252"/>
                </a:lnTo>
                <a:lnTo>
                  <a:pt x="36" y="252"/>
                </a:lnTo>
                <a:lnTo>
                  <a:pt x="36" y="252"/>
                </a:lnTo>
                <a:lnTo>
                  <a:pt x="36" y="252"/>
                </a:lnTo>
                <a:lnTo>
                  <a:pt x="36" y="252"/>
                </a:lnTo>
                <a:lnTo>
                  <a:pt x="36" y="246"/>
                </a:lnTo>
                <a:lnTo>
                  <a:pt x="36" y="246"/>
                </a:lnTo>
                <a:lnTo>
                  <a:pt x="36" y="246"/>
                </a:lnTo>
                <a:lnTo>
                  <a:pt x="36" y="246"/>
                </a:lnTo>
                <a:lnTo>
                  <a:pt x="36" y="246"/>
                </a:lnTo>
                <a:lnTo>
                  <a:pt x="36" y="246"/>
                </a:lnTo>
                <a:lnTo>
                  <a:pt x="36" y="246"/>
                </a:lnTo>
                <a:lnTo>
                  <a:pt x="42" y="246"/>
                </a:lnTo>
                <a:lnTo>
                  <a:pt x="42" y="240"/>
                </a:lnTo>
                <a:lnTo>
                  <a:pt x="42" y="240"/>
                </a:lnTo>
                <a:lnTo>
                  <a:pt x="42" y="240"/>
                </a:lnTo>
                <a:lnTo>
                  <a:pt x="42" y="240"/>
                </a:lnTo>
                <a:lnTo>
                  <a:pt x="36" y="240"/>
                </a:lnTo>
                <a:lnTo>
                  <a:pt x="36" y="240"/>
                </a:lnTo>
                <a:lnTo>
                  <a:pt x="36" y="240"/>
                </a:lnTo>
                <a:lnTo>
                  <a:pt x="36" y="240"/>
                </a:lnTo>
                <a:lnTo>
                  <a:pt x="36" y="234"/>
                </a:lnTo>
                <a:lnTo>
                  <a:pt x="36" y="234"/>
                </a:lnTo>
                <a:lnTo>
                  <a:pt x="36" y="234"/>
                </a:lnTo>
                <a:lnTo>
                  <a:pt x="36" y="234"/>
                </a:lnTo>
                <a:lnTo>
                  <a:pt x="36" y="234"/>
                </a:lnTo>
                <a:lnTo>
                  <a:pt x="36" y="234"/>
                </a:lnTo>
                <a:lnTo>
                  <a:pt x="36" y="234"/>
                </a:lnTo>
                <a:lnTo>
                  <a:pt x="36" y="234"/>
                </a:lnTo>
                <a:lnTo>
                  <a:pt x="36" y="234"/>
                </a:lnTo>
                <a:lnTo>
                  <a:pt x="42" y="234"/>
                </a:lnTo>
                <a:lnTo>
                  <a:pt x="42" y="234"/>
                </a:lnTo>
                <a:lnTo>
                  <a:pt x="36" y="234"/>
                </a:lnTo>
                <a:lnTo>
                  <a:pt x="42" y="234"/>
                </a:lnTo>
                <a:lnTo>
                  <a:pt x="36" y="228"/>
                </a:lnTo>
                <a:lnTo>
                  <a:pt x="36" y="234"/>
                </a:lnTo>
                <a:lnTo>
                  <a:pt x="36" y="228"/>
                </a:lnTo>
                <a:lnTo>
                  <a:pt x="36" y="228"/>
                </a:lnTo>
                <a:lnTo>
                  <a:pt x="36" y="228"/>
                </a:lnTo>
                <a:lnTo>
                  <a:pt x="36" y="228"/>
                </a:lnTo>
                <a:lnTo>
                  <a:pt x="36" y="228"/>
                </a:lnTo>
                <a:lnTo>
                  <a:pt x="36" y="228"/>
                </a:lnTo>
                <a:lnTo>
                  <a:pt x="36" y="228"/>
                </a:lnTo>
                <a:lnTo>
                  <a:pt x="36" y="228"/>
                </a:lnTo>
                <a:lnTo>
                  <a:pt x="42" y="228"/>
                </a:lnTo>
                <a:lnTo>
                  <a:pt x="42" y="228"/>
                </a:lnTo>
                <a:lnTo>
                  <a:pt x="42" y="228"/>
                </a:lnTo>
                <a:lnTo>
                  <a:pt x="42" y="228"/>
                </a:lnTo>
                <a:lnTo>
                  <a:pt x="42" y="228"/>
                </a:lnTo>
                <a:lnTo>
                  <a:pt x="42" y="228"/>
                </a:lnTo>
                <a:lnTo>
                  <a:pt x="42" y="228"/>
                </a:lnTo>
                <a:lnTo>
                  <a:pt x="42" y="228"/>
                </a:lnTo>
                <a:lnTo>
                  <a:pt x="42" y="228"/>
                </a:lnTo>
                <a:lnTo>
                  <a:pt x="42" y="228"/>
                </a:lnTo>
                <a:lnTo>
                  <a:pt x="42" y="228"/>
                </a:lnTo>
                <a:lnTo>
                  <a:pt x="42" y="228"/>
                </a:lnTo>
                <a:lnTo>
                  <a:pt x="42" y="228"/>
                </a:lnTo>
                <a:lnTo>
                  <a:pt x="42" y="228"/>
                </a:lnTo>
                <a:lnTo>
                  <a:pt x="42" y="228"/>
                </a:lnTo>
                <a:lnTo>
                  <a:pt x="42" y="228"/>
                </a:lnTo>
                <a:lnTo>
                  <a:pt x="42" y="228"/>
                </a:lnTo>
                <a:lnTo>
                  <a:pt x="42" y="222"/>
                </a:lnTo>
                <a:lnTo>
                  <a:pt x="42" y="222"/>
                </a:lnTo>
                <a:lnTo>
                  <a:pt x="42" y="222"/>
                </a:lnTo>
                <a:lnTo>
                  <a:pt x="48" y="222"/>
                </a:lnTo>
                <a:lnTo>
                  <a:pt x="48" y="222"/>
                </a:lnTo>
                <a:lnTo>
                  <a:pt x="48" y="222"/>
                </a:lnTo>
                <a:lnTo>
                  <a:pt x="48" y="222"/>
                </a:lnTo>
                <a:lnTo>
                  <a:pt x="48" y="222"/>
                </a:lnTo>
                <a:lnTo>
                  <a:pt x="48" y="222"/>
                </a:lnTo>
                <a:lnTo>
                  <a:pt x="48" y="222"/>
                </a:lnTo>
                <a:lnTo>
                  <a:pt x="48" y="222"/>
                </a:lnTo>
                <a:lnTo>
                  <a:pt x="48" y="222"/>
                </a:lnTo>
                <a:lnTo>
                  <a:pt x="48" y="216"/>
                </a:lnTo>
                <a:lnTo>
                  <a:pt x="48" y="216"/>
                </a:lnTo>
                <a:lnTo>
                  <a:pt x="48" y="216"/>
                </a:lnTo>
                <a:lnTo>
                  <a:pt x="48" y="216"/>
                </a:lnTo>
                <a:lnTo>
                  <a:pt x="48" y="216"/>
                </a:lnTo>
                <a:lnTo>
                  <a:pt x="48" y="216"/>
                </a:lnTo>
                <a:lnTo>
                  <a:pt x="48" y="216"/>
                </a:lnTo>
                <a:lnTo>
                  <a:pt x="48" y="216"/>
                </a:lnTo>
                <a:lnTo>
                  <a:pt x="48" y="216"/>
                </a:lnTo>
                <a:lnTo>
                  <a:pt x="48" y="216"/>
                </a:lnTo>
                <a:lnTo>
                  <a:pt x="48" y="216"/>
                </a:lnTo>
                <a:lnTo>
                  <a:pt x="48" y="216"/>
                </a:lnTo>
                <a:lnTo>
                  <a:pt x="48" y="216"/>
                </a:lnTo>
                <a:lnTo>
                  <a:pt x="54" y="210"/>
                </a:lnTo>
                <a:lnTo>
                  <a:pt x="54" y="210"/>
                </a:lnTo>
                <a:lnTo>
                  <a:pt x="54" y="210"/>
                </a:lnTo>
                <a:lnTo>
                  <a:pt x="54" y="210"/>
                </a:lnTo>
                <a:lnTo>
                  <a:pt x="54" y="210"/>
                </a:lnTo>
                <a:lnTo>
                  <a:pt x="54" y="204"/>
                </a:lnTo>
                <a:lnTo>
                  <a:pt x="54" y="204"/>
                </a:lnTo>
                <a:lnTo>
                  <a:pt x="54" y="204"/>
                </a:lnTo>
                <a:lnTo>
                  <a:pt x="54" y="204"/>
                </a:lnTo>
                <a:lnTo>
                  <a:pt x="54" y="204"/>
                </a:lnTo>
                <a:lnTo>
                  <a:pt x="54" y="204"/>
                </a:lnTo>
                <a:lnTo>
                  <a:pt x="54" y="204"/>
                </a:lnTo>
                <a:lnTo>
                  <a:pt x="54" y="204"/>
                </a:lnTo>
                <a:lnTo>
                  <a:pt x="54" y="204"/>
                </a:lnTo>
                <a:lnTo>
                  <a:pt x="60" y="204"/>
                </a:lnTo>
                <a:lnTo>
                  <a:pt x="60" y="204"/>
                </a:lnTo>
                <a:lnTo>
                  <a:pt x="60" y="204"/>
                </a:lnTo>
                <a:lnTo>
                  <a:pt x="60" y="204"/>
                </a:lnTo>
                <a:lnTo>
                  <a:pt x="60" y="204"/>
                </a:lnTo>
                <a:lnTo>
                  <a:pt x="60" y="204"/>
                </a:lnTo>
                <a:lnTo>
                  <a:pt x="60" y="204"/>
                </a:lnTo>
                <a:lnTo>
                  <a:pt x="60" y="204"/>
                </a:lnTo>
                <a:lnTo>
                  <a:pt x="66" y="198"/>
                </a:lnTo>
                <a:lnTo>
                  <a:pt x="66" y="198"/>
                </a:lnTo>
                <a:lnTo>
                  <a:pt x="66" y="198"/>
                </a:lnTo>
                <a:lnTo>
                  <a:pt x="66" y="198"/>
                </a:lnTo>
                <a:lnTo>
                  <a:pt x="72" y="198"/>
                </a:lnTo>
                <a:lnTo>
                  <a:pt x="72" y="192"/>
                </a:lnTo>
                <a:lnTo>
                  <a:pt x="78" y="198"/>
                </a:lnTo>
                <a:lnTo>
                  <a:pt x="78" y="198"/>
                </a:lnTo>
                <a:lnTo>
                  <a:pt x="78" y="198"/>
                </a:lnTo>
                <a:lnTo>
                  <a:pt x="84" y="198"/>
                </a:lnTo>
                <a:lnTo>
                  <a:pt x="84" y="192"/>
                </a:lnTo>
                <a:lnTo>
                  <a:pt x="84" y="192"/>
                </a:lnTo>
                <a:lnTo>
                  <a:pt x="90" y="192"/>
                </a:lnTo>
                <a:lnTo>
                  <a:pt x="90" y="186"/>
                </a:lnTo>
                <a:lnTo>
                  <a:pt x="90" y="186"/>
                </a:lnTo>
                <a:lnTo>
                  <a:pt x="90" y="180"/>
                </a:lnTo>
                <a:lnTo>
                  <a:pt x="90" y="180"/>
                </a:lnTo>
                <a:lnTo>
                  <a:pt x="90" y="180"/>
                </a:lnTo>
                <a:lnTo>
                  <a:pt x="90" y="180"/>
                </a:lnTo>
                <a:lnTo>
                  <a:pt x="90" y="180"/>
                </a:lnTo>
                <a:lnTo>
                  <a:pt x="90" y="174"/>
                </a:lnTo>
                <a:lnTo>
                  <a:pt x="90" y="174"/>
                </a:lnTo>
                <a:lnTo>
                  <a:pt x="90" y="174"/>
                </a:lnTo>
                <a:lnTo>
                  <a:pt x="90" y="174"/>
                </a:lnTo>
                <a:lnTo>
                  <a:pt x="90" y="168"/>
                </a:lnTo>
                <a:lnTo>
                  <a:pt x="90" y="168"/>
                </a:lnTo>
                <a:lnTo>
                  <a:pt x="96" y="162"/>
                </a:lnTo>
                <a:lnTo>
                  <a:pt x="96" y="162"/>
                </a:lnTo>
                <a:lnTo>
                  <a:pt x="96" y="162"/>
                </a:lnTo>
                <a:lnTo>
                  <a:pt x="96" y="162"/>
                </a:lnTo>
                <a:lnTo>
                  <a:pt x="96" y="162"/>
                </a:lnTo>
                <a:lnTo>
                  <a:pt x="96" y="156"/>
                </a:lnTo>
                <a:lnTo>
                  <a:pt x="96" y="156"/>
                </a:lnTo>
                <a:lnTo>
                  <a:pt x="96" y="156"/>
                </a:lnTo>
                <a:lnTo>
                  <a:pt x="96" y="156"/>
                </a:lnTo>
                <a:lnTo>
                  <a:pt x="90" y="156"/>
                </a:lnTo>
                <a:lnTo>
                  <a:pt x="90" y="150"/>
                </a:lnTo>
                <a:lnTo>
                  <a:pt x="90" y="150"/>
                </a:lnTo>
                <a:lnTo>
                  <a:pt x="90" y="150"/>
                </a:lnTo>
                <a:lnTo>
                  <a:pt x="84" y="144"/>
                </a:lnTo>
                <a:lnTo>
                  <a:pt x="84" y="144"/>
                </a:lnTo>
                <a:lnTo>
                  <a:pt x="84" y="144"/>
                </a:lnTo>
                <a:lnTo>
                  <a:pt x="84" y="144"/>
                </a:lnTo>
                <a:lnTo>
                  <a:pt x="84" y="144"/>
                </a:lnTo>
                <a:lnTo>
                  <a:pt x="84" y="144"/>
                </a:lnTo>
                <a:lnTo>
                  <a:pt x="84" y="144"/>
                </a:lnTo>
                <a:lnTo>
                  <a:pt x="78" y="144"/>
                </a:lnTo>
                <a:lnTo>
                  <a:pt x="78" y="144"/>
                </a:lnTo>
                <a:lnTo>
                  <a:pt x="78" y="138"/>
                </a:lnTo>
                <a:lnTo>
                  <a:pt x="78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44"/>
                </a:lnTo>
                <a:lnTo>
                  <a:pt x="72" y="144"/>
                </a:lnTo>
                <a:lnTo>
                  <a:pt x="72" y="138"/>
                </a:lnTo>
                <a:lnTo>
                  <a:pt x="72" y="138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50"/>
                </a:lnTo>
                <a:lnTo>
                  <a:pt x="54" y="150"/>
                </a:lnTo>
                <a:lnTo>
                  <a:pt x="54" y="144"/>
                </a:lnTo>
                <a:lnTo>
                  <a:pt x="54" y="150"/>
                </a:lnTo>
                <a:lnTo>
                  <a:pt x="54" y="150"/>
                </a:lnTo>
                <a:lnTo>
                  <a:pt x="54" y="144"/>
                </a:lnTo>
                <a:lnTo>
                  <a:pt x="54" y="150"/>
                </a:lnTo>
                <a:lnTo>
                  <a:pt x="48" y="138"/>
                </a:lnTo>
                <a:lnTo>
                  <a:pt x="48" y="138"/>
                </a:lnTo>
                <a:lnTo>
                  <a:pt x="48" y="132"/>
                </a:lnTo>
                <a:lnTo>
                  <a:pt x="48" y="132"/>
                </a:lnTo>
                <a:lnTo>
                  <a:pt x="48" y="126"/>
                </a:lnTo>
                <a:lnTo>
                  <a:pt x="48" y="126"/>
                </a:lnTo>
                <a:lnTo>
                  <a:pt x="54" y="126"/>
                </a:lnTo>
                <a:lnTo>
                  <a:pt x="54" y="126"/>
                </a:lnTo>
                <a:lnTo>
                  <a:pt x="54" y="126"/>
                </a:lnTo>
                <a:lnTo>
                  <a:pt x="54" y="126"/>
                </a:lnTo>
                <a:lnTo>
                  <a:pt x="54" y="120"/>
                </a:lnTo>
                <a:lnTo>
                  <a:pt x="54" y="120"/>
                </a:lnTo>
                <a:lnTo>
                  <a:pt x="54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20"/>
                </a:lnTo>
                <a:lnTo>
                  <a:pt x="42" y="120"/>
                </a:lnTo>
                <a:lnTo>
                  <a:pt x="42" y="120"/>
                </a:lnTo>
                <a:lnTo>
                  <a:pt x="42" y="120"/>
                </a:lnTo>
                <a:lnTo>
                  <a:pt x="42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84"/>
                </a:lnTo>
                <a:lnTo>
                  <a:pt x="12" y="84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8" y="78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30" y="72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6" y="66"/>
                </a:lnTo>
                <a:lnTo>
                  <a:pt x="36" y="66"/>
                </a:lnTo>
                <a:lnTo>
                  <a:pt x="42" y="60"/>
                </a:lnTo>
                <a:lnTo>
                  <a:pt x="42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54" y="54"/>
                </a:lnTo>
                <a:lnTo>
                  <a:pt x="54" y="54"/>
                </a:lnTo>
                <a:lnTo>
                  <a:pt x="60" y="54"/>
                </a:lnTo>
                <a:lnTo>
                  <a:pt x="60" y="54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18"/>
                </a:lnTo>
                <a:lnTo>
                  <a:pt x="42" y="24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6" y="0"/>
                </a:lnTo>
                <a:lnTo>
                  <a:pt x="66" y="0"/>
                </a:lnTo>
                <a:lnTo>
                  <a:pt x="72" y="6"/>
                </a:lnTo>
                <a:lnTo>
                  <a:pt x="72" y="0"/>
                </a:lnTo>
                <a:lnTo>
                  <a:pt x="78" y="0"/>
                </a:lnTo>
                <a:lnTo>
                  <a:pt x="78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90" y="0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102" y="6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14" y="12"/>
                </a:lnTo>
                <a:lnTo>
                  <a:pt x="114" y="18"/>
                </a:lnTo>
                <a:lnTo>
                  <a:pt x="114" y="18"/>
                </a:lnTo>
                <a:lnTo>
                  <a:pt x="102" y="24"/>
                </a:lnTo>
                <a:lnTo>
                  <a:pt x="102" y="24"/>
                </a:lnTo>
                <a:lnTo>
                  <a:pt x="96" y="30"/>
                </a:lnTo>
                <a:lnTo>
                  <a:pt x="120" y="48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14" y="54"/>
                </a:lnTo>
                <a:lnTo>
                  <a:pt x="114" y="54"/>
                </a:lnTo>
                <a:lnTo>
                  <a:pt x="120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6" y="66"/>
                </a:lnTo>
                <a:lnTo>
                  <a:pt x="126" y="66"/>
                </a:lnTo>
                <a:lnTo>
                  <a:pt x="132" y="54"/>
                </a:lnTo>
                <a:lnTo>
                  <a:pt x="144" y="42"/>
                </a:lnTo>
                <a:lnTo>
                  <a:pt x="150" y="42"/>
                </a:lnTo>
                <a:lnTo>
                  <a:pt x="168" y="54"/>
                </a:lnTo>
                <a:lnTo>
                  <a:pt x="174" y="60"/>
                </a:lnTo>
                <a:lnTo>
                  <a:pt x="174" y="60"/>
                </a:lnTo>
                <a:lnTo>
                  <a:pt x="180" y="60"/>
                </a:lnTo>
                <a:lnTo>
                  <a:pt x="180" y="66"/>
                </a:lnTo>
                <a:lnTo>
                  <a:pt x="186" y="66"/>
                </a:lnTo>
                <a:lnTo>
                  <a:pt x="186" y="66"/>
                </a:lnTo>
                <a:lnTo>
                  <a:pt x="186" y="66"/>
                </a:lnTo>
                <a:lnTo>
                  <a:pt x="186" y="72"/>
                </a:lnTo>
                <a:lnTo>
                  <a:pt x="192" y="72"/>
                </a:lnTo>
                <a:lnTo>
                  <a:pt x="192" y="72"/>
                </a:lnTo>
                <a:lnTo>
                  <a:pt x="192" y="72"/>
                </a:lnTo>
                <a:lnTo>
                  <a:pt x="192" y="72"/>
                </a:lnTo>
                <a:lnTo>
                  <a:pt x="192" y="72"/>
                </a:lnTo>
                <a:lnTo>
                  <a:pt x="198" y="72"/>
                </a:lnTo>
                <a:lnTo>
                  <a:pt x="198" y="78"/>
                </a:lnTo>
                <a:lnTo>
                  <a:pt x="198" y="78"/>
                </a:lnTo>
                <a:lnTo>
                  <a:pt x="198" y="78"/>
                </a:lnTo>
                <a:lnTo>
                  <a:pt x="198" y="78"/>
                </a:lnTo>
                <a:lnTo>
                  <a:pt x="198" y="78"/>
                </a:lnTo>
                <a:lnTo>
                  <a:pt x="198" y="78"/>
                </a:lnTo>
                <a:lnTo>
                  <a:pt x="192" y="78"/>
                </a:lnTo>
                <a:lnTo>
                  <a:pt x="192" y="84"/>
                </a:lnTo>
                <a:lnTo>
                  <a:pt x="192" y="78"/>
                </a:lnTo>
                <a:lnTo>
                  <a:pt x="186" y="84"/>
                </a:lnTo>
                <a:lnTo>
                  <a:pt x="186" y="78"/>
                </a:lnTo>
                <a:lnTo>
                  <a:pt x="186" y="78"/>
                </a:lnTo>
                <a:lnTo>
                  <a:pt x="186" y="84"/>
                </a:lnTo>
                <a:lnTo>
                  <a:pt x="180" y="84"/>
                </a:lnTo>
                <a:lnTo>
                  <a:pt x="180" y="84"/>
                </a:lnTo>
                <a:lnTo>
                  <a:pt x="180" y="84"/>
                </a:lnTo>
                <a:lnTo>
                  <a:pt x="180" y="84"/>
                </a:lnTo>
                <a:lnTo>
                  <a:pt x="180" y="84"/>
                </a:lnTo>
                <a:lnTo>
                  <a:pt x="180" y="84"/>
                </a:lnTo>
                <a:lnTo>
                  <a:pt x="180" y="84"/>
                </a:lnTo>
                <a:lnTo>
                  <a:pt x="180" y="84"/>
                </a:lnTo>
                <a:lnTo>
                  <a:pt x="180" y="84"/>
                </a:lnTo>
                <a:lnTo>
                  <a:pt x="180" y="90"/>
                </a:lnTo>
                <a:lnTo>
                  <a:pt x="180" y="90"/>
                </a:lnTo>
                <a:lnTo>
                  <a:pt x="180" y="90"/>
                </a:lnTo>
                <a:lnTo>
                  <a:pt x="180" y="90"/>
                </a:lnTo>
                <a:lnTo>
                  <a:pt x="180" y="90"/>
                </a:lnTo>
                <a:lnTo>
                  <a:pt x="180" y="90"/>
                </a:lnTo>
                <a:lnTo>
                  <a:pt x="180" y="96"/>
                </a:lnTo>
                <a:lnTo>
                  <a:pt x="180" y="96"/>
                </a:lnTo>
                <a:lnTo>
                  <a:pt x="180" y="96"/>
                </a:lnTo>
                <a:lnTo>
                  <a:pt x="180" y="96"/>
                </a:lnTo>
                <a:lnTo>
                  <a:pt x="186" y="102"/>
                </a:lnTo>
                <a:lnTo>
                  <a:pt x="186" y="102"/>
                </a:lnTo>
                <a:lnTo>
                  <a:pt x="180" y="102"/>
                </a:lnTo>
                <a:lnTo>
                  <a:pt x="180" y="102"/>
                </a:lnTo>
                <a:lnTo>
                  <a:pt x="180" y="108"/>
                </a:lnTo>
                <a:lnTo>
                  <a:pt x="180" y="108"/>
                </a:lnTo>
                <a:lnTo>
                  <a:pt x="180" y="108"/>
                </a:lnTo>
                <a:lnTo>
                  <a:pt x="180" y="108"/>
                </a:lnTo>
                <a:lnTo>
                  <a:pt x="186" y="114"/>
                </a:lnTo>
                <a:lnTo>
                  <a:pt x="180" y="120"/>
                </a:lnTo>
                <a:lnTo>
                  <a:pt x="180" y="120"/>
                </a:lnTo>
                <a:lnTo>
                  <a:pt x="174" y="126"/>
                </a:lnTo>
                <a:lnTo>
                  <a:pt x="174" y="126"/>
                </a:lnTo>
                <a:lnTo>
                  <a:pt x="174" y="126"/>
                </a:lnTo>
                <a:lnTo>
                  <a:pt x="174" y="126"/>
                </a:lnTo>
                <a:lnTo>
                  <a:pt x="174" y="132"/>
                </a:lnTo>
                <a:lnTo>
                  <a:pt x="174" y="132"/>
                </a:lnTo>
                <a:lnTo>
                  <a:pt x="174" y="132"/>
                </a:lnTo>
                <a:lnTo>
                  <a:pt x="174" y="138"/>
                </a:lnTo>
                <a:lnTo>
                  <a:pt x="174" y="144"/>
                </a:lnTo>
                <a:lnTo>
                  <a:pt x="180" y="144"/>
                </a:lnTo>
                <a:lnTo>
                  <a:pt x="180" y="150"/>
                </a:lnTo>
                <a:lnTo>
                  <a:pt x="174" y="150"/>
                </a:lnTo>
                <a:lnTo>
                  <a:pt x="174" y="150"/>
                </a:lnTo>
                <a:lnTo>
                  <a:pt x="180" y="150"/>
                </a:lnTo>
                <a:lnTo>
                  <a:pt x="180" y="156"/>
                </a:lnTo>
                <a:lnTo>
                  <a:pt x="180" y="156"/>
                </a:lnTo>
                <a:lnTo>
                  <a:pt x="180" y="156"/>
                </a:lnTo>
                <a:lnTo>
                  <a:pt x="180" y="156"/>
                </a:lnTo>
                <a:lnTo>
                  <a:pt x="186" y="156"/>
                </a:lnTo>
                <a:lnTo>
                  <a:pt x="186" y="156"/>
                </a:lnTo>
                <a:lnTo>
                  <a:pt x="186" y="150"/>
                </a:lnTo>
                <a:lnTo>
                  <a:pt x="186" y="150"/>
                </a:lnTo>
                <a:lnTo>
                  <a:pt x="186" y="144"/>
                </a:lnTo>
                <a:lnTo>
                  <a:pt x="186" y="144"/>
                </a:lnTo>
                <a:lnTo>
                  <a:pt x="180" y="144"/>
                </a:lnTo>
                <a:lnTo>
                  <a:pt x="180" y="144"/>
                </a:lnTo>
                <a:lnTo>
                  <a:pt x="180" y="138"/>
                </a:lnTo>
                <a:lnTo>
                  <a:pt x="180" y="138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6" y="126"/>
                </a:lnTo>
                <a:lnTo>
                  <a:pt x="186" y="126"/>
                </a:lnTo>
                <a:lnTo>
                  <a:pt x="186" y="126"/>
                </a:lnTo>
                <a:lnTo>
                  <a:pt x="186" y="126"/>
                </a:lnTo>
                <a:lnTo>
                  <a:pt x="192" y="126"/>
                </a:lnTo>
                <a:lnTo>
                  <a:pt x="192" y="126"/>
                </a:lnTo>
                <a:lnTo>
                  <a:pt x="192" y="126"/>
                </a:lnTo>
                <a:lnTo>
                  <a:pt x="192" y="126"/>
                </a:lnTo>
                <a:lnTo>
                  <a:pt x="192" y="126"/>
                </a:lnTo>
                <a:lnTo>
                  <a:pt x="198" y="126"/>
                </a:lnTo>
                <a:lnTo>
                  <a:pt x="198" y="126"/>
                </a:lnTo>
                <a:lnTo>
                  <a:pt x="198" y="126"/>
                </a:lnTo>
                <a:lnTo>
                  <a:pt x="198" y="126"/>
                </a:lnTo>
                <a:lnTo>
                  <a:pt x="204" y="126"/>
                </a:lnTo>
                <a:lnTo>
                  <a:pt x="204" y="126"/>
                </a:lnTo>
                <a:lnTo>
                  <a:pt x="210" y="132"/>
                </a:lnTo>
                <a:lnTo>
                  <a:pt x="216" y="132"/>
                </a:lnTo>
                <a:lnTo>
                  <a:pt x="216" y="132"/>
                </a:lnTo>
                <a:lnTo>
                  <a:pt x="216" y="138"/>
                </a:lnTo>
                <a:lnTo>
                  <a:pt x="216" y="138"/>
                </a:lnTo>
                <a:lnTo>
                  <a:pt x="216" y="138"/>
                </a:lnTo>
                <a:lnTo>
                  <a:pt x="216" y="138"/>
                </a:lnTo>
                <a:lnTo>
                  <a:pt x="216" y="138"/>
                </a:lnTo>
                <a:lnTo>
                  <a:pt x="216" y="138"/>
                </a:lnTo>
                <a:lnTo>
                  <a:pt x="216" y="138"/>
                </a:lnTo>
                <a:lnTo>
                  <a:pt x="216" y="144"/>
                </a:lnTo>
                <a:lnTo>
                  <a:pt x="216" y="144"/>
                </a:lnTo>
                <a:lnTo>
                  <a:pt x="216" y="144"/>
                </a:lnTo>
                <a:lnTo>
                  <a:pt x="216" y="144"/>
                </a:lnTo>
                <a:lnTo>
                  <a:pt x="216" y="144"/>
                </a:lnTo>
                <a:lnTo>
                  <a:pt x="216" y="144"/>
                </a:lnTo>
                <a:lnTo>
                  <a:pt x="216" y="144"/>
                </a:lnTo>
                <a:lnTo>
                  <a:pt x="216" y="144"/>
                </a:lnTo>
                <a:lnTo>
                  <a:pt x="216" y="150"/>
                </a:lnTo>
                <a:lnTo>
                  <a:pt x="216" y="150"/>
                </a:lnTo>
                <a:lnTo>
                  <a:pt x="216" y="150"/>
                </a:lnTo>
                <a:lnTo>
                  <a:pt x="216" y="150"/>
                </a:lnTo>
                <a:lnTo>
                  <a:pt x="210" y="150"/>
                </a:lnTo>
                <a:lnTo>
                  <a:pt x="216" y="156"/>
                </a:lnTo>
                <a:lnTo>
                  <a:pt x="216" y="156"/>
                </a:lnTo>
                <a:lnTo>
                  <a:pt x="216" y="156"/>
                </a:lnTo>
                <a:lnTo>
                  <a:pt x="216" y="156"/>
                </a:lnTo>
                <a:lnTo>
                  <a:pt x="210" y="156"/>
                </a:lnTo>
                <a:lnTo>
                  <a:pt x="216" y="162"/>
                </a:lnTo>
                <a:lnTo>
                  <a:pt x="210" y="162"/>
                </a:lnTo>
                <a:lnTo>
                  <a:pt x="210" y="162"/>
                </a:lnTo>
                <a:lnTo>
                  <a:pt x="210" y="168"/>
                </a:lnTo>
                <a:lnTo>
                  <a:pt x="210" y="168"/>
                </a:lnTo>
                <a:lnTo>
                  <a:pt x="210" y="168"/>
                </a:lnTo>
                <a:lnTo>
                  <a:pt x="210" y="174"/>
                </a:lnTo>
                <a:lnTo>
                  <a:pt x="210" y="174"/>
                </a:lnTo>
                <a:lnTo>
                  <a:pt x="210" y="174"/>
                </a:lnTo>
                <a:lnTo>
                  <a:pt x="210" y="174"/>
                </a:lnTo>
                <a:lnTo>
                  <a:pt x="210" y="180"/>
                </a:lnTo>
                <a:lnTo>
                  <a:pt x="204" y="180"/>
                </a:lnTo>
                <a:lnTo>
                  <a:pt x="204" y="180"/>
                </a:lnTo>
                <a:lnTo>
                  <a:pt x="210" y="180"/>
                </a:lnTo>
                <a:lnTo>
                  <a:pt x="198" y="186"/>
                </a:lnTo>
                <a:lnTo>
                  <a:pt x="198" y="192"/>
                </a:lnTo>
                <a:lnTo>
                  <a:pt x="198" y="192"/>
                </a:lnTo>
                <a:lnTo>
                  <a:pt x="198" y="198"/>
                </a:lnTo>
                <a:lnTo>
                  <a:pt x="198" y="198"/>
                </a:lnTo>
                <a:lnTo>
                  <a:pt x="198" y="198"/>
                </a:lnTo>
                <a:lnTo>
                  <a:pt x="198" y="198"/>
                </a:lnTo>
                <a:lnTo>
                  <a:pt x="192" y="204"/>
                </a:lnTo>
                <a:lnTo>
                  <a:pt x="198" y="204"/>
                </a:lnTo>
                <a:lnTo>
                  <a:pt x="192" y="204"/>
                </a:lnTo>
                <a:lnTo>
                  <a:pt x="192" y="204"/>
                </a:lnTo>
                <a:lnTo>
                  <a:pt x="192" y="204"/>
                </a:lnTo>
                <a:lnTo>
                  <a:pt x="192" y="204"/>
                </a:lnTo>
                <a:lnTo>
                  <a:pt x="192" y="204"/>
                </a:lnTo>
                <a:lnTo>
                  <a:pt x="192" y="210"/>
                </a:lnTo>
                <a:lnTo>
                  <a:pt x="192" y="210"/>
                </a:lnTo>
                <a:lnTo>
                  <a:pt x="192" y="210"/>
                </a:lnTo>
                <a:lnTo>
                  <a:pt x="192" y="210"/>
                </a:lnTo>
                <a:lnTo>
                  <a:pt x="192" y="210"/>
                </a:lnTo>
                <a:lnTo>
                  <a:pt x="192" y="210"/>
                </a:lnTo>
                <a:lnTo>
                  <a:pt x="192" y="216"/>
                </a:lnTo>
                <a:lnTo>
                  <a:pt x="192" y="216"/>
                </a:lnTo>
                <a:lnTo>
                  <a:pt x="192" y="216"/>
                </a:lnTo>
                <a:lnTo>
                  <a:pt x="186" y="222"/>
                </a:lnTo>
                <a:lnTo>
                  <a:pt x="186" y="222"/>
                </a:lnTo>
                <a:lnTo>
                  <a:pt x="186" y="222"/>
                </a:lnTo>
                <a:lnTo>
                  <a:pt x="186" y="222"/>
                </a:lnTo>
                <a:lnTo>
                  <a:pt x="186" y="222"/>
                </a:lnTo>
                <a:lnTo>
                  <a:pt x="186" y="228"/>
                </a:lnTo>
                <a:lnTo>
                  <a:pt x="186" y="228"/>
                </a:lnTo>
                <a:lnTo>
                  <a:pt x="180" y="228"/>
                </a:lnTo>
                <a:lnTo>
                  <a:pt x="180" y="228"/>
                </a:lnTo>
                <a:lnTo>
                  <a:pt x="186" y="234"/>
                </a:lnTo>
                <a:lnTo>
                  <a:pt x="186" y="234"/>
                </a:lnTo>
                <a:lnTo>
                  <a:pt x="180" y="234"/>
                </a:lnTo>
                <a:lnTo>
                  <a:pt x="180" y="234"/>
                </a:lnTo>
                <a:lnTo>
                  <a:pt x="180" y="234"/>
                </a:lnTo>
                <a:lnTo>
                  <a:pt x="180" y="234"/>
                </a:lnTo>
                <a:lnTo>
                  <a:pt x="180" y="240"/>
                </a:lnTo>
                <a:lnTo>
                  <a:pt x="180" y="240"/>
                </a:lnTo>
                <a:lnTo>
                  <a:pt x="180" y="240"/>
                </a:lnTo>
                <a:lnTo>
                  <a:pt x="180" y="240"/>
                </a:lnTo>
                <a:lnTo>
                  <a:pt x="174" y="246"/>
                </a:lnTo>
                <a:lnTo>
                  <a:pt x="174" y="246"/>
                </a:lnTo>
                <a:lnTo>
                  <a:pt x="174" y="246"/>
                </a:lnTo>
                <a:lnTo>
                  <a:pt x="174" y="246"/>
                </a:lnTo>
                <a:lnTo>
                  <a:pt x="174" y="246"/>
                </a:lnTo>
                <a:lnTo>
                  <a:pt x="168" y="252"/>
                </a:lnTo>
                <a:lnTo>
                  <a:pt x="168" y="252"/>
                </a:lnTo>
                <a:lnTo>
                  <a:pt x="168" y="252"/>
                </a:lnTo>
                <a:lnTo>
                  <a:pt x="168" y="252"/>
                </a:lnTo>
                <a:lnTo>
                  <a:pt x="162" y="252"/>
                </a:lnTo>
                <a:lnTo>
                  <a:pt x="162" y="258"/>
                </a:lnTo>
                <a:lnTo>
                  <a:pt x="162" y="258"/>
                </a:lnTo>
                <a:lnTo>
                  <a:pt x="162" y="258"/>
                </a:lnTo>
                <a:lnTo>
                  <a:pt x="162" y="258"/>
                </a:lnTo>
                <a:lnTo>
                  <a:pt x="162" y="258"/>
                </a:lnTo>
                <a:lnTo>
                  <a:pt x="162" y="264"/>
                </a:lnTo>
                <a:lnTo>
                  <a:pt x="162" y="264"/>
                </a:lnTo>
                <a:lnTo>
                  <a:pt x="162" y="264"/>
                </a:lnTo>
                <a:lnTo>
                  <a:pt x="162" y="264"/>
                </a:lnTo>
                <a:lnTo>
                  <a:pt x="162" y="264"/>
                </a:lnTo>
                <a:lnTo>
                  <a:pt x="162" y="264"/>
                </a:lnTo>
                <a:lnTo>
                  <a:pt x="162" y="264"/>
                </a:lnTo>
                <a:lnTo>
                  <a:pt x="162" y="270"/>
                </a:lnTo>
                <a:lnTo>
                  <a:pt x="156" y="270"/>
                </a:lnTo>
                <a:lnTo>
                  <a:pt x="156" y="270"/>
                </a:lnTo>
                <a:lnTo>
                  <a:pt x="156" y="270"/>
                </a:lnTo>
                <a:lnTo>
                  <a:pt x="156" y="270"/>
                </a:lnTo>
                <a:lnTo>
                  <a:pt x="156" y="270"/>
                </a:lnTo>
                <a:lnTo>
                  <a:pt x="156" y="276"/>
                </a:lnTo>
                <a:lnTo>
                  <a:pt x="156" y="276"/>
                </a:lnTo>
                <a:lnTo>
                  <a:pt x="156" y="276"/>
                </a:lnTo>
                <a:lnTo>
                  <a:pt x="156" y="282"/>
                </a:lnTo>
                <a:lnTo>
                  <a:pt x="162" y="282"/>
                </a:lnTo>
                <a:lnTo>
                  <a:pt x="162" y="282"/>
                </a:lnTo>
                <a:lnTo>
                  <a:pt x="162" y="288"/>
                </a:lnTo>
                <a:lnTo>
                  <a:pt x="162" y="288"/>
                </a:lnTo>
                <a:lnTo>
                  <a:pt x="162" y="288"/>
                </a:lnTo>
                <a:lnTo>
                  <a:pt x="162" y="288"/>
                </a:lnTo>
                <a:lnTo>
                  <a:pt x="162" y="294"/>
                </a:lnTo>
                <a:lnTo>
                  <a:pt x="168" y="294"/>
                </a:lnTo>
                <a:lnTo>
                  <a:pt x="168" y="294"/>
                </a:lnTo>
                <a:lnTo>
                  <a:pt x="168" y="294"/>
                </a:lnTo>
                <a:lnTo>
                  <a:pt x="168" y="294"/>
                </a:lnTo>
                <a:lnTo>
                  <a:pt x="168" y="294"/>
                </a:lnTo>
                <a:lnTo>
                  <a:pt x="168" y="294"/>
                </a:lnTo>
                <a:lnTo>
                  <a:pt x="168" y="294"/>
                </a:lnTo>
                <a:lnTo>
                  <a:pt x="168" y="300"/>
                </a:lnTo>
                <a:lnTo>
                  <a:pt x="168" y="300"/>
                </a:lnTo>
                <a:lnTo>
                  <a:pt x="168" y="300"/>
                </a:lnTo>
                <a:lnTo>
                  <a:pt x="168" y="300"/>
                </a:lnTo>
                <a:lnTo>
                  <a:pt x="168" y="306"/>
                </a:lnTo>
                <a:lnTo>
                  <a:pt x="168" y="306"/>
                </a:lnTo>
                <a:lnTo>
                  <a:pt x="168" y="306"/>
                </a:lnTo>
                <a:lnTo>
                  <a:pt x="168" y="306"/>
                </a:lnTo>
                <a:lnTo>
                  <a:pt x="168" y="306"/>
                </a:lnTo>
                <a:lnTo>
                  <a:pt x="168" y="312"/>
                </a:lnTo>
                <a:lnTo>
                  <a:pt x="168" y="312"/>
                </a:lnTo>
                <a:lnTo>
                  <a:pt x="168" y="312"/>
                </a:lnTo>
                <a:lnTo>
                  <a:pt x="168" y="318"/>
                </a:lnTo>
                <a:lnTo>
                  <a:pt x="168" y="318"/>
                </a:lnTo>
                <a:lnTo>
                  <a:pt x="168" y="318"/>
                </a:lnTo>
                <a:lnTo>
                  <a:pt x="168" y="318"/>
                </a:lnTo>
                <a:lnTo>
                  <a:pt x="168" y="324"/>
                </a:lnTo>
                <a:lnTo>
                  <a:pt x="168" y="324"/>
                </a:lnTo>
                <a:lnTo>
                  <a:pt x="168" y="324"/>
                </a:lnTo>
                <a:lnTo>
                  <a:pt x="168" y="324"/>
                </a:lnTo>
                <a:lnTo>
                  <a:pt x="168" y="324"/>
                </a:lnTo>
                <a:lnTo>
                  <a:pt x="168" y="324"/>
                </a:lnTo>
                <a:lnTo>
                  <a:pt x="168" y="324"/>
                </a:lnTo>
                <a:lnTo>
                  <a:pt x="168" y="324"/>
                </a:lnTo>
                <a:lnTo>
                  <a:pt x="168" y="330"/>
                </a:lnTo>
                <a:lnTo>
                  <a:pt x="168" y="330"/>
                </a:lnTo>
                <a:lnTo>
                  <a:pt x="174" y="330"/>
                </a:lnTo>
                <a:lnTo>
                  <a:pt x="174" y="330"/>
                </a:lnTo>
                <a:lnTo>
                  <a:pt x="174" y="330"/>
                </a:lnTo>
                <a:lnTo>
                  <a:pt x="174" y="330"/>
                </a:lnTo>
                <a:lnTo>
                  <a:pt x="174" y="330"/>
                </a:lnTo>
                <a:lnTo>
                  <a:pt x="180" y="330"/>
                </a:lnTo>
                <a:lnTo>
                  <a:pt x="180" y="336"/>
                </a:lnTo>
                <a:lnTo>
                  <a:pt x="180" y="336"/>
                </a:lnTo>
                <a:lnTo>
                  <a:pt x="180" y="336"/>
                </a:lnTo>
                <a:lnTo>
                  <a:pt x="180" y="342"/>
                </a:lnTo>
                <a:lnTo>
                  <a:pt x="180" y="342"/>
                </a:lnTo>
                <a:lnTo>
                  <a:pt x="180" y="342"/>
                </a:lnTo>
                <a:lnTo>
                  <a:pt x="186" y="342"/>
                </a:lnTo>
                <a:lnTo>
                  <a:pt x="180" y="342"/>
                </a:lnTo>
                <a:lnTo>
                  <a:pt x="186" y="342"/>
                </a:lnTo>
                <a:lnTo>
                  <a:pt x="180" y="342"/>
                </a:lnTo>
                <a:lnTo>
                  <a:pt x="186" y="342"/>
                </a:lnTo>
                <a:lnTo>
                  <a:pt x="186" y="342"/>
                </a:lnTo>
                <a:lnTo>
                  <a:pt x="186" y="348"/>
                </a:lnTo>
                <a:lnTo>
                  <a:pt x="186" y="348"/>
                </a:lnTo>
                <a:lnTo>
                  <a:pt x="180" y="348"/>
                </a:lnTo>
                <a:lnTo>
                  <a:pt x="180" y="348"/>
                </a:lnTo>
                <a:lnTo>
                  <a:pt x="180" y="348"/>
                </a:lnTo>
                <a:lnTo>
                  <a:pt x="180" y="354"/>
                </a:lnTo>
                <a:lnTo>
                  <a:pt x="180" y="354"/>
                </a:lnTo>
                <a:lnTo>
                  <a:pt x="180" y="354"/>
                </a:lnTo>
                <a:lnTo>
                  <a:pt x="180" y="354"/>
                </a:lnTo>
                <a:lnTo>
                  <a:pt x="174" y="354"/>
                </a:lnTo>
                <a:lnTo>
                  <a:pt x="174" y="360"/>
                </a:lnTo>
                <a:lnTo>
                  <a:pt x="174" y="360"/>
                </a:lnTo>
                <a:lnTo>
                  <a:pt x="180" y="360"/>
                </a:lnTo>
                <a:lnTo>
                  <a:pt x="180" y="360"/>
                </a:lnTo>
                <a:lnTo>
                  <a:pt x="180" y="360"/>
                </a:lnTo>
                <a:lnTo>
                  <a:pt x="180" y="360"/>
                </a:lnTo>
                <a:lnTo>
                  <a:pt x="180" y="360"/>
                </a:lnTo>
                <a:lnTo>
                  <a:pt x="180" y="366"/>
                </a:lnTo>
                <a:lnTo>
                  <a:pt x="180" y="366"/>
                </a:lnTo>
                <a:lnTo>
                  <a:pt x="180" y="366"/>
                </a:lnTo>
                <a:lnTo>
                  <a:pt x="180" y="366"/>
                </a:lnTo>
                <a:lnTo>
                  <a:pt x="180" y="366"/>
                </a:lnTo>
                <a:lnTo>
                  <a:pt x="180" y="366"/>
                </a:lnTo>
                <a:lnTo>
                  <a:pt x="180" y="372"/>
                </a:lnTo>
                <a:lnTo>
                  <a:pt x="180" y="372"/>
                </a:lnTo>
                <a:lnTo>
                  <a:pt x="180" y="378"/>
                </a:lnTo>
                <a:lnTo>
                  <a:pt x="180" y="378"/>
                </a:lnTo>
                <a:lnTo>
                  <a:pt x="180" y="378"/>
                </a:lnTo>
                <a:lnTo>
                  <a:pt x="180" y="378"/>
                </a:lnTo>
                <a:lnTo>
                  <a:pt x="180" y="378"/>
                </a:lnTo>
                <a:lnTo>
                  <a:pt x="180" y="378"/>
                </a:lnTo>
                <a:lnTo>
                  <a:pt x="180" y="384"/>
                </a:lnTo>
                <a:lnTo>
                  <a:pt x="180" y="384"/>
                </a:lnTo>
                <a:lnTo>
                  <a:pt x="180" y="384"/>
                </a:lnTo>
                <a:lnTo>
                  <a:pt x="180" y="384"/>
                </a:lnTo>
                <a:lnTo>
                  <a:pt x="180" y="390"/>
                </a:lnTo>
                <a:lnTo>
                  <a:pt x="174" y="390"/>
                </a:lnTo>
                <a:lnTo>
                  <a:pt x="174" y="390"/>
                </a:lnTo>
                <a:lnTo>
                  <a:pt x="174" y="390"/>
                </a:lnTo>
                <a:lnTo>
                  <a:pt x="174" y="396"/>
                </a:lnTo>
                <a:lnTo>
                  <a:pt x="174" y="396"/>
                </a:lnTo>
                <a:lnTo>
                  <a:pt x="174" y="396"/>
                </a:lnTo>
                <a:lnTo>
                  <a:pt x="174" y="396"/>
                </a:lnTo>
                <a:lnTo>
                  <a:pt x="174" y="396"/>
                </a:lnTo>
                <a:lnTo>
                  <a:pt x="174" y="396"/>
                </a:lnTo>
                <a:lnTo>
                  <a:pt x="174" y="402"/>
                </a:lnTo>
                <a:lnTo>
                  <a:pt x="174" y="402"/>
                </a:lnTo>
                <a:lnTo>
                  <a:pt x="174" y="402"/>
                </a:lnTo>
                <a:lnTo>
                  <a:pt x="174" y="402"/>
                </a:lnTo>
                <a:lnTo>
                  <a:pt x="174" y="408"/>
                </a:lnTo>
                <a:lnTo>
                  <a:pt x="174" y="408"/>
                </a:lnTo>
                <a:lnTo>
                  <a:pt x="174" y="408"/>
                </a:lnTo>
                <a:lnTo>
                  <a:pt x="174" y="414"/>
                </a:lnTo>
                <a:lnTo>
                  <a:pt x="174" y="414"/>
                </a:lnTo>
                <a:lnTo>
                  <a:pt x="174" y="414"/>
                </a:lnTo>
                <a:lnTo>
                  <a:pt x="174" y="414"/>
                </a:lnTo>
                <a:lnTo>
                  <a:pt x="174" y="414"/>
                </a:lnTo>
                <a:lnTo>
                  <a:pt x="174" y="420"/>
                </a:lnTo>
                <a:lnTo>
                  <a:pt x="174" y="420"/>
                </a:lnTo>
                <a:lnTo>
                  <a:pt x="174" y="420"/>
                </a:lnTo>
                <a:lnTo>
                  <a:pt x="174" y="420"/>
                </a:lnTo>
                <a:lnTo>
                  <a:pt x="174" y="426"/>
                </a:lnTo>
                <a:lnTo>
                  <a:pt x="168" y="426"/>
                </a:lnTo>
                <a:lnTo>
                  <a:pt x="168" y="432"/>
                </a:lnTo>
                <a:lnTo>
                  <a:pt x="168" y="432"/>
                </a:lnTo>
                <a:lnTo>
                  <a:pt x="168" y="432"/>
                </a:lnTo>
                <a:lnTo>
                  <a:pt x="168" y="438"/>
                </a:lnTo>
                <a:lnTo>
                  <a:pt x="168" y="438"/>
                </a:lnTo>
                <a:lnTo>
                  <a:pt x="168" y="438"/>
                </a:lnTo>
                <a:lnTo>
                  <a:pt x="162" y="438"/>
                </a:lnTo>
                <a:lnTo>
                  <a:pt x="162" y="438"/>
                </a:lnTo>
                <a:lnTo>
                  <a:pt x="162" y="438"/>
                </a:lnTo>
                <a:lnTo>
                  <a:pt x="162" y="444"/>
                </a:lnTo>
                <a:lnTo>
                  <a:pt x="162" y="450"/>
                </a:lnTo>
                <a:lnTo>
                  <a:pt x="162" y="444"/>
                </a:lnTo>
                <a:lnTo>
                  <a:pt x="156" y="444"/>
                </a:lnTo>
                <a:lnTo>
                  <a:pt x="156" y="450"/>
                </a:lnTo>
                <a:lnTo>
                  <a:pt x="156" y="444"/>
                </a:lnTo>
                <a:lnTo>
                  <a:pt x="156" y="438"/>
                </a:lnTo>
                <a:lnTo>
                  <a:pt x="150" y="438"/>
                </a:lnTo>
                <a:lnTo>
                  <a:pt x="150" y="438"/>
                </a:lnTo>
                <a:lnTo>
                  <a:pt x="150" y="438"/>
                </a:lnTo>
                <a:lnTo>
                  <a:pt x="144" y="444"/>
                </a:lnTo>
                <a:lnTo>
                  <a:pt x="138" y="438"/>
                </a:lnTo>
                <a:lnTo>
                  <a:pt x="132" y="444"/>
                </a:lnTo>
                <a:lnTo>
                  <a:pt x="132" y="444"/>
                </a:lnTo>
                <a:lnTo>
                  <a:pt x="132" y="438"/>
                </a:lnTo>
                <a:lnTo>
                  <a:pt x="132" y="438"/>
                </a:lnTo>
                <a:lnTo>
                  <a:pt x="132" y="438"/>
                </a:lnTo>
                <a:lnTo>
                  <a:pt x="126" y="438"/>
                </a:lnTo>
                <a:lnTo>
                  <a:pt x="126" y="438"/>
                </a:lnTo>
                <a:lnTo>
                  <a:pt x="120" y="438"/>
                </a:lnTo>
                <a:lnTo>
                  <a:pt x="114" y="438"/>
                </a:lnTo>
                <a:lnTo>
                  <a:pt x="114" y="438"/>
                </a:lnTo>
                <a:lnTo>
                  <a:pt x="114" y="438"/>
                </a:lnTo>
                <a:lnTo>
                  <a:pt x="108" y="438"/>
                </a:lnTo>
                <a:lnTo>
                  <a:pt x="108" y="438"/>
                </a:lnTo>
                <a:lnTo>
                  <a:pt x="108" y="432"/>
                </a:lnTo>
                <a:lnTo>
                  <a:pt x="108" y="432"/>
                </a:lnTo>
                <a:lnTo>
                  <a:pt x="102" y="426"/>
                </a:lnTo>
                <a:lnTo>
                  <a:pt x="102" y="426"/>
                </a:lnTo>
                <a:lnTo>
                  <a:pt x="96" y="426"/>
                </a:lnTo>
                <a:lnTo>
                  <a:pt x="96" y="426"/>
                </a:lnTo>
                <a:lnTo>
                  <a:pt x="96" y="420"/>
                </a:lnTo>
                <a:lnTo>
                  <a:pt x="96" y="420"/>
                </a:lnTo>
                <a:lnTo>
                  <a:pt x="96" y="420"/>
                </a:lnTo>
                <a:lnTo>
                  <a:pt x="96" y="414"/>
                </a:lnTo>
                <a:lnTo>
                  <a:pt x="96" y="414"/>
                </a:lnTo>
                <a:lnTo>
                  <a:pt x="96" y="408"/>
                </a:lnTo>
                <a:lnTo>
                  <a:pt x="96" y="408"/>
                </a:lnTo>
                <a:lnTo>
                  <a:pt x="96" y="408"/>
                </a:lnTo>
                <a:lnTo>
                  <a:pt x="96" y="402"/>
                </a:lnTo>
                <a:lnTo>
                  <a:pt x="96" y="402"/>
                </a:lnTo>
                <a:lnTo>
                  <a:pt x="96" y="402"/>
                </a:lnTo>
                <a:lnTo>
                  <a:pt x="96" y="402"/>
                </a:lnTo>
                <a:lnTo>
                  <a:pt x="96" y="396"/>
                </a:lnTo>
                <a:lnTo>
                  <a:pt x="90" y="396"/>
                </a:lnTo>
                <a:lnTo>
                  <a:pt x="90" y="396"/>
                </a:lnTo>
                <a:lnTo>
                  <a:pt x="96" y="396"/>
                </a:lnTo>
                <a:lnTo>
                  <a:pt x="90" y="396"/>
                </a:lnTo>
                <a:lnTo>
                  <a:pt x="90" y="396"/>
                </a:lnTo>
                <a:lnTo>
                  <a:pt x="90" y="390"/>
                </a:lnTo>
                <a:lnTo>
                  <a:pt x="90" y="390"/>
                </a:lnTo>
                <a:lnTo>
                  <a:pt x="90" y="390"/>
                </a:lnTo>
                <a:lnTo>
                  <a:pt x="84" y="390"/>
                </a:lnTo>
                <a:lnTo>
                  <a:pt x="84" y="390"/>
                </a:lnTo>
                <a:lnTo>
                  <a:pt x="78" y="390"/>
                </a:lnTo>
                <a:lnTo>
                  <a:pt x="78" y="390"/>
                </a:lnTo>
                <a:lnTo>
                  <a:pt x="84" y="384"/>
                </a:lnTo>
                <a:lnTo>
                  <a:pt x="84" y="384"/>
                </a:lnTo>
                <a:lnTo>
                  <a:pt x="84" y="384"/>
                </a:lnTo>
                <a:lnTo>
                  <a:pt x="78" y="378"/>
                </a:lnTo>
                <a:lnTo>
                  <a:pt x="72" y="384"/>
                </a:lnTo>
                <a:lnTo>
                  <a:pt x="72" y="378"/>
                </a:lnTo>
                <a:lnTo>
                  <a:pt x="72" y="378"/>
                </a:lnTo>
                <a:lnTo>
                  <a:pt x="72" y="378"/>
                </a:lnTo>
                <a:lnTo>
                  <a:pt x="72" y="378"/>
                </a:lnTo>
                <a:lnTo>
                  <a:pt x="72" y="378"/>
                </a:lnTo>
                <a:lnTo>
                  <a:pt x="72" y="372"/>
                </a:lnTo>
                <a:lnTo>
                  <a:pt x="78" y="372"/>
                </a:lnTo>
                <a:lnTo>
                  <a:pt x="78" y="366"/>
                </a:lnTo>
                <a:lnTo>
                  <a:pt x="78" y="366"/>
                </a:lnTo>
                <a:lnTo>
                  <a:pt x="78" y="360"/>
                </a:lnTo>
                <a:lnTo>
                  <a:pt x="78" y="360"/>
                </a:lnTo>
                <a:lnTo>
                  <a:pt x="78" y="360"/>
                </a:lnTo>
                <a:lnTo>
                  <a:pt x="84" y="354"/>
                </a:lnTo>
                <a:lnTo>
                  <a:pt x="84" y="354"/>
                </a:lnTo>
                <a:lnTo>
                  <a:pt x="84" y="354"/>
                </a:lnTo>
                <a:lnTo>
                  <a:pt x="84" y="354"/>
                </a:lnTo>
                <a:lnTo>
                  <a:pt x="84" y="348"/>
                </a:lnTo>
                <a:lnTo>
                  <a:pt x="84" y="348"/>
                </a:lnTo>
                <a:lnTo>
                  <a:pt x="84" y="348"/>
                </a:lnTo>
                <a:lnTo>
                  <a:pt x="84" y="348"/>
                </a:lnTo>
                <a:lnTo>
                  <a:pt x="84" y="348"/>
                </a:lnTo>
                <a:lnTo>
                  <a:pt x="78" y="348"/>
                </a:lnTo>
                <a:lnTo>
                  <a:pt x="78" y="342"/>
                </a:lnTo>
                <a:lnTo>
                  <a:pt x="78" y="342"/>
                </a:lnTo>
                <a:lnTo>
                  <a:pt x="72" y="342"/>
                </a:lnTo>
                <a:lnTo>
                  <a:pt x="72" y="342"/>
                </a:lnTo>
                <a:lnTo>
                  <a:pt x="72" y="342"/>
                </a:lnTo>
                <a:lnTo>
                  <a:pt x="72" y="342"/>
                </a:lnTo>
                <a:lnTo>
                  <a:pt x="72" y="336"/>
                </a:lnTo>
                <a:lnTo>
                  <a:pt x="72" y="336"/>
                </a:lnTo>
                <a:lnTo>
                  <a:pt x="72" y="336"/>
                </a:lnTo>
                <a:lnTo>
                  <a:pt x="72" y="336"/>
                </a:lnTo>
                <a:lnTo>
                  <a:pt x="66" y="336"/>
                </a:lnTo>
                <a:lnTo>
                  <a:pt x="66" y="336"/>
                </a:lnTo>
                <a:lnTo>
                  <a:pt x="60" y="336"/>
                </a:lnTo>
                <a:lnTo>
                  <a:pt x="60" y="336"/>
                </a:lnTo>
                <a:lnTo>
                  <a:pt x="60" y="336"/>
                </a:lnTo>
                <a:lnTo>
                  <a:pt x="60" y="336"/>
                </a:lnTo>
                <a:lnTo>
                  <a:pt x="54" y="336"/>
                </a:lnTo>
                <a:lnTo>
                  <a:pt x="54" y="336"/>
                </a:lnTo>
                <a:lnTo>
                  <a:pt x="60" y="336"/>
                </a:lnTo>
                <a:lnTo>
                  <a:pt x="54" y="330"/>
                </a:lnTo>
                <a:lnTo>
                  <a:pt x="54" y="330"/>
                </a:lnTo>
                <a:lnTo>
                  <a:pt x="54" y="330"/>
                </a:lnTo>
                <a:lnTo>
                  <a:pt x="54" y="330"/>
                </a:lnTo>
                <a:lnTo>
                  <a:pt x="48" y="324"/>
                </a:lnTo>
                <a:lnTo>
                  <a:pt x="48" y="324"/>
                </a:lnTo>
                <a:lnTo>
                  <a:pt x="48" y="324"/>
                </a:lnTo>
                <a:lnTo>
                  <a:pt x="48" y="324"/>
                </a:lnTo>
                <a:lnTo>
                  <a:pt x="48" y="324"/>
                </a:lnTo>
                <a:lnTo>
                  <a:pt x="48" y="324"/>
                </a:lnTo>
                <a:lnTo>
                  <a:pt x="48" y="318"/>
                </a:lnTo>
                <a:lnTo>
                  <a:pt x="48" y="318"/>
                </a:lnTo>
                <a:lnTo>
                  <a:pt x="48" y="318"/>
                </a:lnTo>
                <a:lnTo>
                  <a:pt x="48" y="318"/>
                </a:lnTo>
                <a:lnTo>
                  <a:pt x="48" y="318"/>
                </a:lnTo>
                <a:lnTo>
                  <a:pt x="48" y="312"/>
                </a:lnTo>
                <a:lnTo>
                  <a:pt x="48" y="312"/>
                </a:lnTo>
                <a:lnTo>
                  <a:pt x="48" y="312"/>
                </a:lnTo>
                <a:lnTo>
                  <a:pt x="48" y="312"/>
                </a:lnTo>
                <a:lnTo>
                  <a:pt x="48" y="306"/>
                </a:lnTo>
                <a:lnTo>
                  <a:pt x="48" y="312"/>
                </a:lnTo>
                <a:lnTo>
                  <a:pt x="48" y="306"/>
                </a:lnTo>
                <a:lnTo>
                  <a:pt x="48" y="306"/>
                </a:lnTo>
                <a:lnTo>
                  <a:pt x="48" y="306"/>
                </a:lnTo>
                <a:lnTo>
                  <a:pt x="48" y="306"/>
                </a:lnTo>
                <a:lnTo>
                  <a:pt x="42" y="300"/>
                </a:lnTo>
                <a:lnTo>
                  <a:pt x="42" y="300"/>
                </a:lnTo>
                <a:lnTo>
                  <a:pt x="42" y="300"/>
                </a:lnTo>
                <a:lnTo>
                  <a:pt x="42" y="300"/>
                </a:lnTo>
                <a:lnTo>
                  <a:pt x="42" y="300"/>
                </a:lnTo>
                <a:lnTo>
                  <a:pt x="42" y="300"/>
                </a:lnTo>
                <a:lnTo>
                  <a:pt x="42" y="300"/>
                </a:lnTo>
                <a:lnTo>
                  <a:pt x="42" y="300"/>
                </a:lnTo>
                <a:lnTo>
                  <a:pt x="36" y="300"/>
                </a:lnTo>
                <a:lnTo>
                  <a:pt x="36" y="300"/>
                </a:lnTo>
                <a:lnTo>
                  <a:pt x="36" y="300"/>
                </a:lnTo>
                <a:lnTo>
                  <a:pt x="36" y="300"/>
                </a:lnTo>
                <a:lnTo>
                  <a:pt x="36" y="300"/>
                </a:lnTo>
                <a:lnTo>
                  <a:pt x="36" y="300"/>
                </a:lnTo>
                <a:lnTo>
                  <a:pt x="36" y="300"/>
                </a:lnTo>
                <a:lnTo>
                  <a:pt x="36" y="294"/>
                </a:lnTo>
                <a:lnTo>
                  <a:pt x="36" y="294"/>
                </a:lnTo>
                <a:lnTo>
                  <a:pt x="36" y="294"/>
                </a:lnTo>
                <a:lnTo>
                  <a:pt x="36" y="294"/>
                </a:lnTo>
                <a:lnTo>
                  <a:pt x="36" y="294"/>
                </a:lnTo>
                <a:lnTo>
                  <a:pt x="36" y="294"/>
                </a:lnTo>
                <a:lnTo>
                  <a:pt x="36" y="294"/>
                </a:lnTo>
                <a:lnTo>
                  <a:pt x="36" y="294"/>
                </a:lnTo>
                <a:lnTo>
                  <a:pt x="36" y="294"/>
                </a:lnTo>
                <a:lnTo>
                  <a:pt x="30" y="294"/>
                </a:lnTo>
                <a:lnTo>
                  <a:pt x="30" y="294"/>
                </a:lnTo>
                <a:lnTo>
                  <a:pt x="24" y="294"/>
                </a:lnTo>
                <a:lnTo>
                  <a:pt x="24" y="294"/>
                </a:lnTo>
                <a:lnTo>
                  <a:pt x="24" y="294"/>
                </a:lnTo>
                <a:lnTo>
                  <a:pt x="24" y="294"/>
                </a:lnTo>
                <a:lnTo>
                  <a:pt x="24" y="294"/>
                </a:lnTo>
                <a:lnTo>
                  <a:pt x="24" y="294"/>
                </a:lnTo>
                <a:lnTo>
                  <a:pt x="24" y="294"/>
                </a:lnTo>
                <a:lnTo>
                  <a:pt x="18" y="294"/>
                </a:lnTo>
                <a:lnTo>
                  <a:pt x="18" y="294"/>
                </a:lnTo>
                <a:lnTo>
                  <a:pt x="18" y="29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38" name="Freeform 71"/>
          <p:cNvSpPr>
            <a:spLocks/>
          </p:cNvSpPr>
          <p:nvPr/>
        </p:nvSpPr>
        <p:spPr bwMode="auto">
          <a:xfrm>
            <a:off x="7320810" y="1385491"/>
            <a:ext cx="173449" cy="269812"/>
          </a:xfrm>
          <a:custGeom>
            <a:avLst/>
            <a:gdLst>
              <a:gd name="T0" fmla="*/ 6 w 162"/>
              <a:gd name="T1" fmla="*/ 48 h 252"/>
              <a:gd name="T2" fmla="*/ 12 w 162"/>
              <a:gd name="T3" fmla="*/ 42 h 252"/>
              <a:gd name="T4" fmla="*/ 18 w 162"/>
              <a:gd name="T5" fmla="*/ 42 h 252"/>
              <a:gd name="T6" fmla="*/ 18 w 162"/>
              <a:gd name="T7" fmla="*/ 42 h 252"/>
              <a:gd name="T8" fmla="*/ 24 w 162"/>
              <a:gd name="T9" fmla="*/ 36 h 252"/>
              <a:gd name="T10" fmla="*/ 30 w 162"/>
              <a:gd name="T11" fmla="*/ 36 h 252"/>
              <a:gd name="T12" fmla="*/ 42 w 162"/>
              <a:gd name="T13" fmla="*/ 30 h 252"/>
              <a:gd name="T14" fmla="*/ 48 w 162"/>
              <a:gd name="T15" fmla="*/ 24 h 252"/>
              <a:gd name="T16" fmla="*/ 42 w 162"/>
              <a:gd name="T17" fmla="*/ 18 h 252"/>
              <a:gd name="T18" fmla="*/ 42 w 162"/>
              <a:gd name="T19" fmla="*/ 18 h 252"/>
              <a:gd name="T20" fmla="*/ 48 w 162"/>
              <a:gd name="T21" fmla="*/ 12 h 252"/>
              <a:gd name="T22" fmla="*/ 48 w 162"/>
              <a:gd name="T23" fmla="*/ 6 h 252"/>
              <a:gd name="T24" fmla="*/ 54 w 162"/>
              <a:gd name="T25" fmla="*/ 6 h 252"/>
              <a:gd name="T26" fmla="*/ 54 w 162"/>
              <a:gd name="T27" fmla="*/ 0 h 252"/>
              <a:gd name="T28" fmla="*/ 84 w 162"/>
              <a:gd name="T29" fmla="*/ 30 h 252"/>
              <a:gd name="T30" fmla="*/ 96 w 162"/>
              <a:gd name="T31" fmla="*/ 48 h 252"/>
              <a:gd name="T32" fmla="*/ 90 w 162"/>
              <a:gd name="T33" fmla="*/ 54 h 252"/>
              <a:gd name="T34" fmla="*/ 102 w 162"/>
              <a:gd name="T35" fmla="*/ 66 h 252"/>
              <a:gd name="T36" fmla="*/ 108 w 162"/>
              <a:gd name="T37" fmla="*/ 72 h 252"/>
              <a:gd name="T38" fmla="*/ 114 w 162"/>
              <a:gd name="T39" fmla="*/ 78 h 252"/>
              <a:gd name="T40" fmla="*/ 108 w 162"/>
              <a:gd name="T41" fmla="*/ 96 h 252"/>
              <a:gd name="T42" fmla="*/ 108 w 162"/>
              <a:gd name="T43" fmla="*/ 102 h 252"/>
              <a:gd name="T44" fmla="*/ 108 w 162"/>
              <a:gd name="T45" fmla="*/ 108 h 252"/>
              <a:gd name="T46" fmla="*/ 120 w 162"/>
              <a:gd name="T47" fmla="*/ 114 h 252"/>
              <a:gd name="T48" fmla="*/ 132 w 162"/>
              <a:gd name="T49" fmla="*/ 114 h 252"/>
              <a:gd name="T50" fmla="*/ 138 w 162"/>
              <a:gd name="T51" fmla="*/ 132 h 252"/>
              <a:gd name="T52" fmla="*/ 150 w 162"/>
              <a:gd name="T53" fmla="*/ 144 h 252"/>
              <a:gd name="T54" fmla="*/ 162 w 162"/>
              <a:gd name="T55" fmla="*/ 162 h 252"/>
              <a:gd name="T56" fmla="*/ 156 w 162"/>
              <a:gd name="T57" fmla="*/ 168 h 252"/>
              <a:gd name="T58" fmla="*/ 150 w 162"/>
              <a:gd name="T59" fmla="*/ 174 h 252"/>
              <a:gd name="T60" fmla="*/ 144 w 162"/>
              <a:gd name="T61" fmla="*/ 180 h 252"/>
              <a:gd name="T62" fmla="*/ 138 w 162"/>
              <a:gd name="T63" fmla="*/ 186 h 252"/>
              <a:gd name="T64" fmla="*/ 132 w 162"/>
              <a:gd name="T65" fmla="*/ 234 h 252"/>
              <a:gd name="T66" fmla="*/ 96 w 162"/>
              <a:gd name="T67" fmla="*/ 252 h 252"/>
              <a:gd name="T68" fmla="*/ 78 w 162"/>
              <a:gd name="T69" fmla="*/ 222 h 252"/>
              <a:gd name="T70" fmla="*/ 72 w 162"/>
              <a:gd name="T71" fmla="*/ 222 h 252"/>
              <a:gd name="T72" fmla="*/ 66 w 162"/>
              <a:gd name="T73" fmla="*/ 222 h 252"/>
              <a:gd name="T74" fmla="*/ 66 w 162"/>
              <a:gd name="T75" fmla="*/ 222 h 252"/>
              <a:gd name="T76" fmla="*/ 60 w 162"/>
              <a:gd name="T77" fmla="*/ 228 h 252"/>
              <a:gd name="T78" fmla="*/ 54 w 162"/>
              <a:gd name="T79" fmla="*/ 228 h 252"/>
              <a:gd name="T80" fmla="*/ 48 w 162"/>
              <a:gd name="T81" fmla="*/ 228 h 252"/>
              <a:gd name="T82" fmla="*/ 42 w 162"/>
              <a:gd name="T83" fmla="*/ 234 h 252"/>
              <a:gd name="T84" fmla="*/ 42 w 162"/>
              <a:gd name="T85" fmla="*/ 240 h 252"/>
              <a:gd name="T86" fmla="*/ 30 w 162"/>
              <a:gd name="T87" fmla="*/ 234 h 252"/>
              <a:gd name="T88" fmla="*/ 30 w 162"/>
              <a:gd name="T89" fmla="*/ 234 h 252"/>
              <a:gd name="T90" fmla="*/ 30 w 162"/>
              <a:gd name="T91" fmla="*/ 228 h 252"/>
              <a:gd name="T92" fmla="*/ 30 w 162"/>
              <a:gd name="T93" fmla="*/ 222 h 252"/>
              <a:gd name="T94" fmla="*/ 36 w 162"/>
              <a:gd name="T95" fmla="*/ 222 h 252"/>
              <a:gd name="T96" fmla="*/ 42 w 162"/>
              <a:gd name="T97" fmla="*/ 216 h 252"/>
              <a:gd name="T98" fmla="*/ 42 w 162"/>
              <a:gd name="T99" fmla="*/ 210 h 252"/>
              <a:gd name="T100" fmla="*/ 48 w 162"/>
              <a:gd name="T101" fmla="*/ 204 h 252"/>
              <a:gd name="T102" fmla="*/ 42 w 162"/>
              <a:gd name="T103" fmla="*/ 204 h 252"/>
              <a:gd name="T104" fmla="*/ 42 w 162"/>
              <a:gd name="T105" fmla="*/ 204 h 252"/>
              <a:gd name="T106" fmla="*/ 42 w 162"/>
              <a:gd name="T107" fmla="*/ 204 h 252"/>
              <a:gd name="T108" fmla="*/ 36 w 162"/>
              <a:gd name="T109" fmla="*/ 204 h 252"/>
              <a:gd name="T110" fmla="*/ 30 w 162"/>
              <a:gd name="T111" fmla="*/ 198 h 252"/>
              <a:gd name="T112" fmla="*/ 24 w 162"/>
              <a:gd name="T113" fmla="*/ 204 h 252"/>
              <a:gd name="T114" fmla="*/ 18 w 162"/>
              <a:gd name="T115" fmla="*/ 204 h 252"/>
              <a:gd name="T116" fmla="*/ 12 w 162"/>
              <a:gd name="T117" fmla="*/ 198 h 252"/>
              <a:gd name="T118" fmla="*/ 18 w 162"/>
              <a:gd name="T119" fmla="*/ 168 h 252"/>
              <a:gd name="T120" fmla="*/ 6 w 162"/>
              <a:gd name="T121" fmla="*/ 150 h 2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62" h="252">
                <a:moveTo>
                  <a:pt x="0" y="84"/>
                </a:move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6" y="48"/>
                </a:lnTo>
                <a:lnTo>
                  <a:pt x="6" y="42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36"/>
                </a:lnTo>
                <a:lnTo>
                  <a:pt x="18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30" y="36"/>
                </a:lnTo>
                <a:lnTo>
                  <a:pt x="30" y="36"/>
                </a:lnTo>
                <a:lnTo>
                  <a:pt x="30" y="30"/>
                </a:lnTo>
                <a:lnTo>
                  <a:pt x="30" y="30"/>
                </a:lnTo>
                <a:lnTo>
                  <a:pt x="30" y="36"/>
                </a:lnTo>
                <a:lnTo>
                  <a:pt x="30" y="36"/>
                </a:lnTo>
                <a:lnTo>
                  <a:pt x="36" y="36"/>
                </a:lnTo>
                <a:lnTo>
                  <a:pt x="36" y="42"/>
                </a:lnTo>
                <a:lnTo>
                  <a:pt x="36" y="42"/>
                </a:lnTo>
                <a:lnTo>
                  <a:pt x="36" y="36"/>
                </a:lnTo>
                <a:lnTo>
                  <a:pt x="36" y="36"/>
                </a:lnTo>
                <a:lnTo>
                  <a:pt x="36" y="30"/>
                </a:lnTo>
                <a:lnTo>
                  <a:pt x="42" y="30"/>
                </a:lnTo>
                <a:lnTo>
                  <a:pt x="42" y="30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8" y="24"/>
                </a:lnTo>
                <a:lnTo>
                  <a:pt x="42" y="24"/>
                </a:lnTo>
                <a:lnTo>
                  <a:pt x="42" y="18"/>
                </a:lnTo>
                <a:lnTo>
                  <a:pt x="42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2" y="18"/>
                </a:lnTo>
                <a:lnTo>
                  <a:pt x="42" y="18"/>
                </a:lnTo>
                <a:lnTo>
                  <a:pt x="48" y="18"/>
                </a:lnTo>
                <a:lnTo>
                  <a:pt x="48" y="18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60" y="0"/>
                </a:lnTo>
                <a:lnTo>
                  <a:pt x="60" y="0"/>
                </a:lnTo>
                <a:lnTo>
                  <a:pt x="72" y="0"/>
                </a:lnTo>
                <a:lnTo>
                  <a:pt x="84" y="18"/>
                </a:lnTo>
                <a:lnTo>
                  <a:pt x="84" y="24"/>
                </a:lnTo>
                <a:lnTo>
                  <a:pt x="84" y="30"/>
                </a:lnTo>
                <a:lnTo>
                  <a:pt x="84" y="30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60"/>
                </a:lnTo>
                <a:lnTo>
                  <a:pt x="90" y="60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72"/>
                </a:lnTo>
                <a:lnTo>
                  <a:pt x="108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2" y="96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14" y="114"/>
                </a:lnTo>
                <a:lnTo>
                  <a:pt x="114" y="108"/>
                </a:lnTo>
                <a:lnTo>
                  <a:pt x="120" y="114"/>
                </a:lnTo>
                <a:lnTo>
                  <a:pt x="120" y="114"/>
                </a:lnTo>
                <a:lnTo>
                  <a:pt x="120" y="114"/>
                </a:lnTo>
                <a:lnTo>
                  <a:pt x="126" y="114"/>
                </a:lnTo>
                <a:lnTo>
                  <a:pt x="126" y="114"/>
                </a:lnTo>
                <a:lnTo>
                  <a:pt x="126" y="114"/>
                </a:lnTo>
                <a:lnTo>
                  <a:pt x="126" y="114"/>
                </a:lnTo>
                <a:lnTo>
                  <a:pt x="126" y="114"/>
                </a:lnTo>
                <a:lnTo>
                  <a:pt x="126" y="114"/>
                </a:lnTo>
                <a:lnTo>
                  <a:pt x="132" y="114"/>
                </a:lnTo>
                <a:lnTo>
                  <a:pt x="126" y="114"/>
                </a:lnTo>
                <a:lnTo>
                  <a:pt x="126" y="120"/>
                </a:lnTo>
                <a:lnTo>
                  <a:pt x="126" y="120"/>
                </a:lnTo>
                <a:lnTo>
                  <a:pt x="132" y="126"/>
                </a:lnTo>
                <a:lnTo>
                  <a:pt x="132" y="132"/>
                </a:lnTo>
                <a:lnTo>
                  <a:pt x="138" y="132"/>
                </a:lnTo>
                <a:lnTo>
                  <a:pt x="138" y="132"/>
                </a:lnTo>
                <a:lnTo>
                  <a:pt x="138" y="132"/>
                </a:lnTo>
                <a:lnTo>
                  <a:pt x="138" y="132"/>
                </a:lnTo>
                <a:lnTo>
                  <a:pt x="144" y="132"/>
                </a:lnTo>
                <a:lnTo>
                  <a:pt x="144" y="138"/>
                </a:lnTo>
                <a:lnTo>
                  <a:pt x="144" y="138"/>
                </a:lnTo>
                <a:lnTo>
                  <a:pt x="144" y="138"/>
                </a:lnTo>
                <a:lnTo>
                  <a:pt x="144" y="138"/>
                </a:lnTo>
                <a:lnTo>
                  <a:pt x="144" y="138"/>
                </a:lnTo>
                <a:lnTo>
                  <a:pt x="150" y="144"/>
                </a:lnTo>
                <a:lnTo>
                  <a:pt x="162" y="150"/>
                </a:lnTo>
                <a:lnTo>
                  <a:pt x="162" y="156"/>
                </a:lnTo>
                <a:lnTo>
                  <a:pt x="156" y="156"/>
                </a:lnTo>
                <a:lnTo>
                  <a:pt x="162" y="156"/>
                </a:lnTo>
                <a:lnTo>
                  <a:pt x="162" y="156"/>
                </a:lnTo>
                <a:lnTo>
                  <a:pt x="162" y="162"/>
                </a:lnTo>
                <a:lnTo>
                  <a:pt x="162" y="162"/>
                </a:lnTo>
                <a:lnTo>
                  <a:pt x="162" y="162"/>
                </a:lnTo>
                <a:lnTo>
                  <a:pt x="162" y="162"/>
                </a:lnTo>
                <a:lnTo>
                  <a:pt x="156" y="162"/>
                </a:lnTo>
                <a:lnTo>
                  <a:pt x="156" y="162"/>
                </a:lnTo>
                <a:lnTo>
                  <a:pt x="156" y="162"/>
                </a:lnTo>
                <a:lnTo>
                  <a:pt x="156" y="162"/>
                </a:lnTo>
                <a:lnTo>
                  <a:pt x="156" y="168"/>
                </a:lnTo>
                <a:lnTo>
                  <a:pt x="156" y="168"/>
                </a:lnTo>
                <a:lnTo>
                  <a:pt x="156" y="168"/>
                </a:lnTo>
                <a:lnTo>
                  <a:pt x="156" y="168"/>
                </a:lnTo>
                <a:lnTo>
                  <a:pt x="156" y="168"/>
                </a:lnTo>
                <a:lnTo>
                  <a:pt x="156" y="168"/>
                </a:lnTo>
                <a:lnTo>
                  <a:pt x="156" y="168"/>
                </a:lnTo>
                <a:lnTo>
                  <a:pt x="150" y="174"/>
                </a:lnTo>
                <a:lnTo>
                  <a:pt x="150" y="174"/>
                </a:lnTo>
                <a:lnTo>
                  <a:pt x="150" y="174"/>
                </a:lnTo>
                <a:lnTo>
                  <a:pt x="150" y="174"/>
                </a:lnTo>
                <a:lnTo>
                  <a:pt x="144" y="174"/>
                </a:lnTo>
                <a:lnTo>
                  <a:pt x="144" y="174"/>
                </a:lnTo>
                <a:lnTo>
                  <a:pt x="144" y="174"/>
                </a:lnTo>
                <a:lnTo>
                  <a:pt x="144" y="180"/>
                </a:lnTo>
                <a:lnTo>
                  <a:pt x="144" y="180"/>
                </a:lnTo>
                <a:lnTo>
                  <a:pt x="144" y="180"/>
                </a:lnTo>
                <a:lnTo>
                  <a:pt x="144" y="180"/>
                </a:lnTo>
                <a:lnTo>
                  <a:pt x="144" y="180"/>
                </a:lnTo>
                <a:lnTo>
                  <a:pt x="144" y="180"/>
                </a:lnTo>
                <a:lnTo>
                  <a:pt x="144" y="186"/>
                </a:lnTo>
                <a:lnTo>
                  <a:pt x="144" y="186"/>
                </a:lnTo>
                <a:lnTo>
                  <a:pt x="144" y="186"/>
                </a:lnTo>
                <a:lnTo>
                  <a:pt x="144" y="186"/>
                </a:lnTo>
                <a:lnTo>
                  <a:pt x="144" y="186"/>
                </a:lnTo>
                <a:lnTo>
                  <a:pt x="138" y="186"/>
                </a:lnTo>
                <a:lnTo>
                  <a:pt x="138" y="186"/>
                </a:lnTo>
                <a:lnTo>
                  <a:pt x="138" y="186"/>
                </a:lnTo>
                <a:lnTo>
                  <a:pt x="132" y="186"/>
                </a:lnTo>
                <a:lnTo>
                  <a:pt x="132" y="186"/>
                </a:lnTo>
                <a:lnTo>
                  <a:pt x="132" y="192"/>
                </a:lnTo>
                <a:lnTo>
                  <a:pt x="132" y="192"/>
                </a:lnTo>
                <a:lnTo>
                  <a:pt x="132" y="204"/>
                </a:lnTo>
                <a:lnTo>
                  <a:pt x="132" y="216"/>
                </a:lnTo>
                <a:lnTo>
                  <a:pt x="132" y="234"/>
                </a:lnTo>
                <a:lnTo>
                  <a:pt x="132" y="234"/>
                </a:lnTo>
                <a:lnTo>
                  <a:pt x="132" y="234"/>
                </a:lnTo>
                <a:lnTo>
                  <a:pt x="132" y="234"/>
                </a:lnTo>
                <a:lnTo>
                  <a:pt x="132" y="240"/>
                </a:lnTo>
                <a:lnTo>
                  <a:pt x="132" y="240"/>
                </a:lnTo>
                <a:lnTo>
                  <a:pt x="96" y="246"/>
                </a:lnTo>
                <a:lnTo>
                  <a:pt x="102" y="252"/>
                </a:lnTo>
                <a:lnTo>
                  <a:pt x="96" y="252"/>
                </a:lnTo>
                <a:lnTo>
                  <a:pt x="78" y="246"/>
                </a:lnTo>
                <a:lnTo>
                  <a:pt x="84" y="246"/>
                </a:lnTo>
                <a:lnTo>
                  <a:pt x="90" y="246"/>
                </a:lnTo>
                <a:lnTo>
                  <a:pt x="84" y="228"/>
                </a:lnTo>
                <a:lnTo>
                  <a:pt x="78" y="222"/>
                </a:lnTo>
                <a:lnTo>
                  <a:pt x="78" y="222"/>
                </a:lnTo>
                <a:lnTo>
                  <a:pt x="78" y="222"/>
                </a:lnTo>
                <a:lnTo>
                  <a:pt x="78" y="222"/>
                </a:lnTo>
                <a:lnTo>
                  <a:pt x="78" y="222"/>
                </a:lnTo>
                <a:lnTo>
                  <a:pt x="72" y="216"/>
                </a:lnTo>
                <a:lnTo>
                  <a:pt x="72" y="222"/>
                </a:lnTo>
                <a:lnTo>
                  <a:pt x="72" y="222"/>
                </a:lnTo>
                <a:lnTo>
                  <a:pt x="72" y="222"/>
                </a:lnTo>
                <a:lnTo>
                  <a:pt x="72" y="222"/>
                </a:lnTo>
                <a:lnTo>
                  <a:pt x="72" y="222"/>
                </a:lnTo>
                <a:lnTo>
                  <a:pt x="72" y="222"/>
                </a:lnTo>
                <a:lnTo>
                  <a:pt x="72" y="222"/>
                </a:lnTo>
                <a:lnTo>
                  <a:pt x="72" y="222"/>
                </a:lnTo>
                <a:lnTo>
                  <a:pt x="72" y="222"/>
                </a:lnTo>
                <a:lnTo>
                  <a:pt x="72" y="222"/>
                </a:lnTo>
                <a:lnTo>
                  <a:pt x="72" y="222"/>
                </a:lnTo>
                <a:lnTo>
                  <a:pt x="66" y="222"/>
                </a:lnTo>
                <a:lnTo>
                  <a:pt x="66" y="222"/>
                </a:lnTo>
                <a:lnTo>
                  <a:pt x="66" y="222"/>
                </a:lnTo>
                <a:lnTo>
                  <a:pt x="66" y="222"/>
                </a:lnTo>
                <a:lnTo>
                  <a:pt x="66" y="222"/>
                </a:lnTo>
                <a:lnTo>
                  <a:pt x="66" y="222"/>
                </a:lnTo>
                <a:lnTo>
                  <a:pt x="66" y="222"/>
                </a:lnTo>
                <a:lnTo>
                  <a:pt x="66" y="222"/>
                </a:lnTo>
                <a:lnTo>
                  <a:pt x="66" y="222"/>
                </a:lnTo>
                <a:lnTo>
                  <a:pt x="66" y="222"/>
                </a:lnTo>
                <a:lnTo>
                  <a:pt x="66" y="222"/>
                </a:lnTo>
                <a:lnTo>
                  <a:pt x="60" y="222"/>
                </a:lnTo>
                <a:lnTo>
                  <a:pt x="60" y="222"/>
                </a:lnTo>
                <a:lnTo>
                  <a:pt x="60" y="222"/>
                </a:lnTo>
                <a:lnTo>
                  <a:pt x="60" y="222"/>
                </a:lnTo>
                <a:lnTo>
                  <a:pt x="60" y="222"/>
                </a:lnTo>
                <a:lnTo>
                  <a:pt x="60" y="228"/>
                </a:lnTo>
                <a:lnTo>
                  <a:pt x="60" y="228"/>
                </a:lnTo>
                <a:lnTo>
                  <a:pt x="60" y="228"/>
                </a:lnTo>
                <a:lnTo>
                  <a:pt x="54" y="228"/>
                </a:lnTo>
                <a:lnTo>
                  <a:pt x="54" y="228"/>
                </a:lnTo>
                <a:lnTo>
                  <a:pt x="54" y="228"/>
                </a:lnTo>
                <a:lnTo>
                  <a:pt x="54" y="228"/>
                </a:lnTo>
                <a:lnTo>
                  <a:pt x="54" y="228"/>
                </a:lnTo>
                <a:lnTo>
                  <a:pt x="54" y="228"/>
                </a:lnTo>
                <a:lnTo>
                  <a:pt x="54" y="228"/>
                </a:lnTo>
                <a:lnTo>
                  <a:pt x="54" y="228"/>
                </a:lnTo>
                <a:lnTo>
                  <a:pt x="54" y="228"/>
                </a:lnTo>
                <a:lnTo>
                  <a:pt x="54" y="228"/>
                </a:lnTo>
                <a:lnTo>
                  <a:pt x="54" y="228"/>
                </a:lnTo>
                <a:lnTo>
                  <a:pt x="54" y="228"/>
                </a:lnTo>
                <a:lnTo>
                  <a:pt x="54" y="228"/>
                </a:lnTo>
                <a:lnTo>
                  <a:pt x="48" y="228"/>
                </a:lnTo>
                <a:lnTo>
                  <a:pt x="48" y="228"/>
                </a:lnTo>
                <a:lnTo>
                  <a:pt x="48" y="228"/>
                </a:lnTo>
                <a:lnTo>
                  <a:pt x="48" y="228"/>
                </a:lnTo>
                <a:lnTo>
                  <a:pt x="48" y="228"/>
                </a:lnTo>
                <a:lnTo>
                  <a:pt x="48" y="228"/>
                </a:lnTo>
                <a:lnTo>
                  <a:pt x="42" y="228"/>
                </a:lnTo>
                <a:lnTo>
                  <a:pt x="42" y="228"/>
                </a:lnTo>
                <a:lnTo>
                  <a:pt x="42" y="228"/>
                </a:lnTo>
                <a:lnTo>
                  <a:pt x="42" y="234"/>
                </a:lnTo>
                <a:lnTo>
                  <a:pt x="42" y="234"/>
                </a:lnTo>
                <a:lnTo>
                  <a:pt x="42" y="234"/>
                </a:lnTo>
                <a:lnTo>
                  <a:pt x="42" y="234"/>
                </a:lnTo>
                <a:lnTo>
                  <a:pt x="42" y="234"/>
                </a:lnTo>
                <a:lnTo>
                  <a:pt x="42" y="234"/>
                </a:lnTo>
                <a:lnTo>
                  <a:pt x="42" y="234"/>
                </a:lnTo>
                <a:lnTo>
                  <a:pt x="42" y="234"/>
                </a:lnTo>
                <a:lnTo>
                  <a:pt x="42" y="234"/>
                </a:lnTo>
                <a:lnTo>
                  <a:pt x="42" y="240"/>
                </a:lnTo>
                <a:lnTo>
                  <a:pt x="42" y="240"/>
                </a:lnTo>
                <a:lnTo>
                  <a:pt x="42" y="240"/>
                </a:lnTo>
                <a:lnTo>
                  <a:pt x="36" y="240"/>
                </a:lnTo>
                <a:lnTo>
                  <a:pt x="36" y="240"/>
                </a:lnTo>
                <a:lnTo>
                  <a:pt x="30" y="240"/>
                </a:lnTo>
                <a:lnTo>
                  <a:pt x="30" y="240"/>
                </a:lnTo>
                <a:lnTo>
                  <a:pt x="30" y="240"/>
                </a:lnTo>
                <a:lnTo>
                  <a:pt x="30" y="234"/>
                </a:lnTo>
                <a:lnTo>
                  <a:pt x="30" y="234"/>
                </a:lnTo>
                <a:lnTo>
                  <a:pt x="30" y="234"/>
                </a:lnTo>
                <a:lnTo>
                  <a:pt x="30" y="234"/>
                </a:lnTo>
                <a:lnTo>
                  <a:pt x="30" y="234"/>
                </a:lnTo>
                <a:lnTo>
                  <a:pt x="30" y="234"/>
                </a:lnTo>
                <a:lnTo>
                  <a:pt x="30" y="234"/>
                </a:lnTo>
                <a:lnTo>
                  <a:pt x="30" y="234"/>
                </a:lnTo>
                <a:lnTo>
                  <a:pt x="30" y="234"/>
                </a:lnTo>
                <a:lnTo>
                  <a:pt x="30" y="228"/>
                </a:lnTo>
                <a:lnTo>
                  <a:pt x="30" y="228"/>
                </a:lnTo>
                <a:lnTo>
                  <a:pt x="30" y="228"/>
                </a:lnTo>
                <a:lnTo>
                  <a:pt x="30" y="228"/>
                </a:lnTo>
                <a:lnTo>
                  <a:pt x="30" y="228"/>
                </a:lnTo>
                <a:lnTo>
                  <a:pt x="30" y="228"/>
                </a:lnTo>
                <a:lnTo>
                  <a:pt x="30" y="228"/>
                </a:lnTo>
                <a:lnTo>
                  <a:pt x="30" y="228"/>
                </a:lnTo>
                <a:lnTo>
                  <a:pt x="30" y="228"/>
                </a:lnTo>
                <a:lnTo>
                  <a:pt x="30" y="228"/>
                </a:lnTo>
                <a:lnTo>
                  <a:pt x="30" y="228"/>
                </a:lnTo>
                <a:lnTo>
                  <a:pt x="30" y="228"/>
                </a:lnTo>
                <a:lnTo>
                  <a:pt x="30" y="228"/>
                </a:lnTo>
                <a:lnTo>
                  <a:pt x="30" y="228"/>
                </a:lnTo>
                <a:lnTo>
                  <a:pt x="30" y="222"/>
                </a:lnTo>
                <a:lnTo>
                  <a:pt x="30" y="222"/>
                </a:lnTo>
                <a:lnTo>
                  <a:pt x="36" y="222"/>
                </a:lnTo>
                <a:lnTo>
                  <a:pt x="36" y="222"/>
                </a:lnTo>
                <a:lnTo>
                  <a:pt x="36" y="222"/>
                </a:lnTo>
                <a:lnTo>
                  <a:pt x="36" y="222"/>
                </a:lnTo>
                <a:lnTo>
                  <a:pt x="36" y="222"/>
                </a:lnTo>
                <a:lnTo>
                  <a:pt x="36" y="222"/>
                </a:lnTo>
                <a:lnTo>
                  <a:pt x="36" y="222"/>
                </a:lnTo>
                <a:lnTo>
                  <a:pt x="36" y="222"/>
                </a:lnTo>
                <a:lnTo>
                  <a:pt x="36" y="222"/>
                </a:lnTo>
                <a:lnTo>
                  <a:pt x="36" y="222"/>
                </a:lnTo>
                <a:lnTo>
                  <a:pt x="36" y="222"/>
                </a:lnTo>
                <a:lnTo>
                  <a:pt x="42" y="222"/>
                </a:lnTo>
                <a:lnTo>
                  <a:pt x="42" y="222"/>
                </a:lnTo>
                <a:lnTo>
                  <a:pt x="42" y="222"/>
                </a:lnTo>
                <a:lnTo>
                  <a:pt x="42" y="222"/>
                </a:lnTo>
                <a:lnTo>
                  <a:pt x="42" y="216"/>
                </a:lnTo>
                <a:lnTo>
                  <a:pt x="42" y="216"/>
                </a:lnTo>
                <a:lnTo>
                  <a:pt x="42" y="216"/>
                </a:lnTo>
                <a:lnTo>
                  <a:pt x="42" y="210"/>
                </a:lnTo>
                <a:lnTo>
                  <a:pt x="42" y="210"/>
                </a:lnTo>
                <a:lnTo>
                  <a:pt x="42" y="210"/>
                </a:lnTo>
                <a:lnTo>
                  <a:pt x="42" y="210"/>
                </a:lnTo>
                <a:lnTo>
                  <a:pt x="42" y="210"/>
                </a:lnTo>
                <a:lnTo>
                  <a:pt x="42" y="210"/>
                </a:lnTo>
                <a:lnTo>
                  <a:pt x="42" y="210"/>
                </a:lnTo>
                <a:lnTo>
                  <a:pt x="42" y="210"/>
                </a:lnTo>
                <a:lnTo>
                  <a:pt x="42" y="204"/>
                </a:lnTo>
                <a:lnTo>
                  <a:pt x="42" y="204"/>
                </a:lnTo>
                <a:lnTo>
                  <a:pt x="42" y="204"/>
                </a:lnTo>
                <a:lnTo>
                  <a:pt x="48" y="204"/>
                </a:lnTo>
                <a:lnTo>
                  <a:pt x="48" y="204"/>
                </a:lnTo>
                <a:lnTo>
                  <a:pt x="48" y="204"/>
                </a:lnTo>
                <a:lnTo>
                  <a:pt x="48" y="204"/>
                </a:lnTo>
                <a:lnTo>
                  <a:pt x="48" y="204"/>
                </a:lnTo>
                <a:lnTo>
                  <a:pt x="48" y="204"/>
                </a:lnTo>
                <a:lnTo>
                  <a:pt x="48" y="198"/>
                </a:lnTo>
                <a:lnTo>
                  <a:pt x="48" y="198"/>
                </a:lnTo>
                <a:lnTo>
                  <a:pt x="48" y="198"/>
                </a:lnTo>
                <a:lnTo>
                  <a:pt x="48" y="198"/>
                </a:lnTo>
                <a:lnTo>
                  <a:pt x="42" y="204"/>
                </a:lnTo>
                <a:lnTo>
                  <a:pt x="42" y="198"/>
                </a:lnTo>
                <a:lnTo>
                  <a:pt x="42" y="198"/>
                </a:lnTo>
                <a:lnTo>
                  <a:pt x="42" y="198"/>
                </a:lnTo>
                <a:lnTo>
                  <a:pt x="42" y="198"/>
                </a:lnTo>
                <a:lnTo>
                  <a:pt x="42" y="204"/>
                </a:lnTo>
                <a:lnTo>
                  <a:pt x="42" y="204"/>
                </a:lnTo>
                <a:lnTo>
                  <a:pt x="42" y="204"/>
                </a:lnTo>
                <a:lnTo>
                  <a:pt x="42" y="204"/>
                </a:lnTo>
                <a:lnTo>
                  <a:pt x="42" y="204"/>
                </a:lnTo>
                <a:lnTo>
                  <a:pt x="42" y="204"/>
                </a:lnTo>
                <a:lnTo>
                  <a:pt x="42" y="204"/>
                </a:lnTo>
                <a:lnTo>
                  <a:pt x="42" y="204"/>
                </a:lnTo>
                <a:lnTo>
                  <a:pt x="42" y="204"/>
                </a:lnTo>
                <a:lnTo>
                  <a:pt x="42" y="204"/>
                </a:lnTo>
                <a:lnTo>
                  <a:pt x="42" y="204"/>
                </a:lnTo>
                <a:lnTo>
                  <a:pt x="42" y="204"/>
                </a:lnTo>
                <a:lnTo>
                  <a:pt x="36" y="204"/>
                </a:lnTo>
                <a:lnTo>
                  <a:pt x="36" y="204"/>
                </a:lnTo>
                <a:lnTo>
                  <a:pt x="36" y="204"/>
                </a:lnTo>
                <a:lnTo>
                  <a:pt x="36" y="204"/>
                </a:lnTo>
                <a:lnTo>
                  <a:pt x="36" y="204"/>
                </a:lnTo>
                <a:lnTo>
                  <a:pt x="36" y="204"/>
                </a:lnTo>
                <a:lnTo>
                  <a:pt x="36" y="204"/>
                </a:lnTo>
                <a:lnTo>
                  <a:pt x="36" y="204"/>
                </a:lnTo>
                <a:lnTo>
                  <a:pt x="36" y="204"/>
                </a:lnTo>
                <a:lnTo>
                  <a:pt x="36" y="198"/>
                </a:lnTo>
                <a:lnTo>
                  <a:pt x="30" y="198"/>
                </a:lnTo>
                <a:lnTo>
                  <a:pt x="30" y="198"/>
                </a:lnTo>
                <a:lnTo>
                  <a:pt x="30" y="198"/>
                </a:lnTo>
                <a:lnTo>
                  <a:pt x="30" y="198"/>
                </a:lnTo>
                <a:lnTo>
                  <a:pt x="30" y="198"/>
                </a:lnTo>
                <a:lnTo>
                  <a:pt x="30" y="198"/>
                </a:lnTo>
                <a:lnTo>
                  <a:pt x="30" y="198"/>
                </a:lnTo>
                <a:lnTo>
                  <a:pt x="30" y="198"/>
                </a:lnTo>
                <a:lnTo>
                  <a:pt x="30" y="198"/>
                </a:lnTo>
                <a:lnTo>
                  <a:pt x="30" y="198"/>
                </a:lnTo>
                <a:lnTo>
                  <a:pt x="30" y="204"/>
                </a:lnTo>
                <a:lnTo>
                  <a:pt x="30" y="204"/>
                </a:lnTo>
                <a:lnTo>
                  <a:pt x="24" y="204"/>
                </a:lnTo>
                <a:lnTo>
                  <a:pt x="24" y="204"/>
                </a:lnTo>
                <a:lnTo>
                  <a:pt x="24" y="204"/>
                </a:lnTo>
                <a:lnTo>
                  <a:pt x="18" y="204"/>
                </a:lnTo>
                <a:lnTo>
                  <a:pt x="18" y="204"/>
                </a:lnTo>
                <a:lnTo>
                  <a:pt x="18" y="204"/>
                </a:lnTo>
                <a:lnTo>
                  <a:pt x="18" y="204"/>
                </a:lnTo>
                <a:lnTo>
                  <a:pt x="18" y="204"/>
                </a:lnTo>
                <a:lnTo>
                  <a:pt x="18" y="198"/>
                </a:lnTo>
                <a:lnTo>
                  <a:pt x="18" y="204"/>
                </a:lnTo>
                <a:lnTo>
                  <a:pt x="18" y="204"/>
                </a:lnTo>
                <a:lnTo>
                  <a:pt x="12" y="198"/>
                </a:lnTo>
                <a:lnTo>
                  <a:pt x="12" y="198"/>
                </a:lnTo>
                <a:lnTo>
                  <a:pt x="12" y="198"/>
                </a:lnTo>
                <a:lnTo>
                  <a:pt x="12" y="198"/>
                </a:lnTo>
                <a:lnTo>
                  <a:pt x="12" y="198"/>
                </a:lnTo>
                <a:lnTo>
                  <a:pt x="12" y="198"/>
                </a:lnTo>
                <a:lnTo>
                  <a:pt x="12" y="198"/>
                </a:lnTo>
                <a:lnTo>
                  <a:pt x="12" y="198"/>
                </a:lnTo>
                <a:lnTo>
                  <a:pt x="12" y="192"/>
                </a:lnTo>
                <a:lnTo>
                  <a:pt x="12" y="192"/>
                </a:lnTo>
                <a:lnTo>
                  <a:pt x="12" y="192"/>
                </a:lnTo>
                <a:lnTo>
                  <a:pt x="12" y="192"/>
                </a:lnTo>
                <a:lnTo>
                  <a:pt x="12" y="192"/>
                </a:lnTo>
                <a:lnTo>
                  <a:pt x="24" y="180"/>
                </a:lnTo>
                <a:lnTo>
                  <a:pt x="18" y="168"/>
                </a:lnTo>
                <a:lnTo>
                  <a:pt x="18" y="168"/>
                </a:lnTo>
                <a:lnTo>
                  <a:pt x="18" y="162"/>
                </a:lnTo>
                <a:lnTo>
                  <a:pt x="12" y="162"/>
                </a:lnTo>
                <a:lnTo>
                  <a:pt x="6" y="162"/>
                </a:lnTo>
                <a:lnTo>
                  <a:pt x="6" y="156"/>
                </a:lnTo>
                <a:lnTo>
                  <a:pt x="6" y="156"/>
                </a:lnTo>
                <a:lnTo>
                  <a:pt x="6" y="156"/>
                </a:lnTo>
                <a:lnTo>
                  <a:pt x="6" y="150"/>
                </a:lnTo>
                <a:lnTo>
                  <a:pt x="6" y="144"/>
                </a:lnTo>
                <a:lnTo>
                  <a:pt x="0" y="144"/>
                </a:lnTo>
                <a:lnTo>
                  <a:pt x="0" y="132"/>
                </a:lnTo>
                <a:lnTo>
                  <a:pt x="0" y="114"/>
                </a:lnTo>
                <a:lnTo>
                  <a:pt x="0" y="84"/>
                </a:lnTo>
                <a:lnTo>
                  <a:pt x="0" y="8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39" name="Freeform 72"/>
          <p:cNvSpPr>
            <a:spLocks/>
          </p:cNvSpPr>
          <p:nvPr/>
        </p:nvSpPr>
        <p:spPr bwMode="auto">
          <a:xfrm>
            <a:off x="7577772" y="1520397"/>
            <a:ext cx="173449" cy="173451"/>
          </a:xfrm>
          <a:custGeom>
            <a:avLst/>
            <a:gdLst>
              <a:gd name="T0" fmla="*/ 24 w 162"/>
              <a:gd name="T1" fmla="*/ 24 h 162"/>
              <a:gd name="T2" fmla="*/ 30 w 162"/>
              <a:gd name="T3" fmla="*/ 6 h 162"/>
              <a:gd name="T4" fmla="*/ 36 w 162"/>
              <a:gd name="T5" fmla="*/ 0 h 162"/>
              <a:gd name="T6" fmla="*/ 36 w 162"/>
              <a:gd name="T7" fmla="*/ 0 h 162"/>
              <a:gd name="T8" fmla="*/ 36 w 162"/>
              <a:gd name="T9" fmla="*/ 0 h 162"/>
              <a:gd name="T10" fmla="*/ 36 w 162"/>
              <a:gd name="T11" fmla="*/ 0 h 162"/>
              <a:gd name="T12" fmla="*/ 42 w 162"/>
              <a:gd name="T13" fmla="*/ 0 h 162"/>
              <a:gd name="T14" fmla="*/ 60 w 162"/>
              <a:gd name="T15" fmla="*/ 0 h 162"/>
              <a:gd name="T16" fmla="*/ 72 w 162"/>
              <a:gd name="T17" fmla="*/ 6 h 162"/>
              <a:gd name="T18" fmla="*/ 66 w 162"/>
              <a:gd name="T19" fmla="*/ 12 h 162"/>
              <a:gd name="T20" fmla="*/ 66 w 162"/>
              <a:gd name="T21" fmla="*/ 12 h 162"/>
              <a:gd name="T22" fmla="*/ 84 w 162"/>
              <a:gd name="T23" fmla="*/ 60 h 162"/>
              <a:gd name="T24" fmla="*/ 108 w 162"/>
              <a:gd name="T25" fmla="*/ 54 h 162"/>
              <a:gd name="T26" fmla="*/ 114 w 162"/>
              <a:gd name="T27" fmla="*/ 54 h 162"/>
              <a:gd name="T28" fmla="*/ 120 w 162"/>
              <a:gd name="T29" fmla="*/ 54 h 162"/>
              <a:gd name="T30" fmla="*/ 126 w 162"/>
              <a:gd name="T31" fmla="*/ 66 h 162"/>
              <a:gd name="T32" fmla="*/ 132 w 162"/>
              <a:gd name="T33" fmla="*/ 60 h 162"/>
              <a:gd name="T34" fmla="*/ 138 w 162"/>
              <a:gd name="T35" fmla="*/ 66 h 162"/>
              <a:gd name="T36" fmla="*/ 144 w 162"/>
              <a:gd name="T37" fmla="*/ 66 h 162"/>
              <a:gd name="T38" fmla="*/ 156 w 162"/>
              <a:gd name="T39" fmla="*/ 72 h 162"/>
              <a:gd name="T40" fmla="*/ 156 w 162"/>
              <a:gd name="T41" fmla="*/ 72 h 162"/>
              <a:gd name="T42" fmla="*/ 150 w 162"/>
              <a:gd name="T43" fmla="*/ 78 h 162"/>
              <a:gd name="T44" fmla="*/ 150 w 162"/>
              <a:gd name="T45" fmla="*/ 84 h 162"/>
              <a:gd name="T46" fmla="*/ 144 w 162"/>
              <a:gd name="T47" fmla="*/ 90 h 162"/>
              <a:gd name="T48" fmla="*/ 144 w 162"/>
              <a:gd name="T49" fmla="*/ 90 h 162"/>
              <a:gd name="T50" fmla="*/ 144 w 162"/>
              <a:gd name="T51" fmla="*/ 96 h 162"/>
              <a:gd name="T52" fmla="*/ 144 w 162"/>
              <a:gd name="T53" fmla="*/ 102 h 162"/>
              <a:gd name="T54" fmla="*/ 144 w 162"/>
              <a:gd name="T55" fmla="*/ 102 h 162"/>
              <a:gd name="T56" fmla="*/ 138 w 162"/>
              <a:gd name="T57" fmla="*/ 114 h 162"/>
              <a:gd name="T58" fmla="*/ 138 w 162"/>
              <a:gd name="T59" fmla="*/ 120 h 162"/>
              <a:gd name="T60" fmla="*/ 132 w 162"/>
              <a:gd name="T61" fmla="*/ 126 h 162"/>
              <a:gd name="T62" fmla="*/ 132 w 162"/>
              <a:gd name="T63" fmla="*/ 132 h 162"/>
              <a:gd name="T64" fmla="*/ 126 w 162"/>
              <a:gd name="T65" fmla="*/ 132 h 162"/>
              <a:gd name="T66" fmla="*/ 120 w 162"/>
              <a:gd name="T67" fmla="*/ 138 h 162"/>
              <a:gd name="T68" fmla="*/ 96 w 162"/>
              <a:gd name="T69" fmla="*/ 138 h 162"/>
              <a:gd name="T70" fmla="*/ 66 w 162"/>
              <a:gd name="T71" fmla="*/ 138 h 162"/>
              <a:gd name="T72" fmla="*/ 48 w 162"/>
              <a:gd name="T73" fmla="*/ 156 h 162"/>
              <a:gd name="T74" fmla="*/ 24 w 162"/>
              <a:gd name="T75" fmla="*/ 162 h 162"/>
              <a:gd name="T76" fmla="*/ 24 w 162"/>
              <a:gd name="T77" fmla="*/ 156 h 162"/>
              <a:gd name="T78" fmla="*/ 24 w 162"/>
              <a:gd name="T79" fmla="*/ 156 h 162"/>
              <a:gd name="T80" fmla="*/ 24 w 162"/>
              <a:gd name="T81" fmla="*/ 150 h 162"/>
              <a:gd name="T82" fmla="*/ 24 w 162"/>
              <a:gd name="T83" fmla="*/ 144 h 162"/>
              <a:gd name="T84" fmla="*/ 24 w 162"/>
              <a:gd name="T85" fmla="*/ 138 h 162"/>
              <a:gd name="T86" fmla="*/ 24 w 162"/>
              <a:gd name="T87" fmla="*/ 138 h 162"/>
              <a:gd name="T88" fmla="*/ 18 w 162"/>
              <a:gd name="T89" fmla="*/ 132 h 162"/>
              <a:gd name="T90" fmla="*/ 18 w 162"/>
              <a:gd name="T91" fmla="*/ 132 h 162"/>
              <a:gd name="T92" fmla="*/ 18 w 162"/>
              <a:gd name="T93" fmla="*/ 132 h 162"/>
              <a:gd name="T94" fmla="*/ 18 w 162"/>
              <a:gd name="T95" fmla="*/ 132 h 162"/>
              <a:gd name="T96" fmla="*/ 18 w 162"/>
              <a:gd name="T97" fmla="*/ 126 h 162"/>
              <a:gd name="T98" fmla="*/ 12 w 162"/>
              <a:gd name="T99" fmla="*/ 126 h 162"/>
              <a:gd name="T100" fmla="*/ 12 w 162"/>
              <a:gd name="T101" fmla="*/ 126 h 162"/>
              <a:gd name="T102" fmla="*/ 12 w 162"/>
              <a:gd name="T103" fmla="*/ 114 h 162"/>
              <a:gd name="T104" fmla="*/ 6 w 162"/>
              <a:gd name="T105" fmla="*/ 60 h 162"/>
              <a:gd name="T106" fmla="*/ 6 w 162"/>
              <a:gd name="T107" fmla="*/ 54 h 162"/>
              <a:gd name="T108" fmla="*/ 12 w 162"/>
              <a:gd name="T109" fmla="*/ 54 h 162"/>
              <a:gd name="T110" fmla="*/ 6 w 162"/>
              <a:gd name="T111" fmla="*/ 48 h 162"/>
              <a:gd name="T112" fmla="*/ 6 w 162"/>
              <a:gd name="T113" fmla="*/ 48 h 162"/>
              <a:gd name="T114" fmla="*/ 6 w 162"/>
              <a:gd name="T115" fmla="*/ 42 h 162"/>
              <a:gd name="T116" fmla="*/ 0 w 162"/>
              <a:gd name="T117" fmla="*/ 42 h 162"/>
              <a:gd name="T118" fmla="*/ 0 w 162"/>
              <a:gd name="T119" fmla="*/ 36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62" h="162">
                <a:moveTo>
                  <a:pt x="0" y="36"/>
                </a:moveTo>
                <a:lnTo>
                  <a:pt x="0" y="36"/>
                </a:lnTo>
                <a:lnTo>
                  <a:pt x="24" y="24"/>
                </a:lnTo>
                <a:lnTo>
                  <a:pt x="30" y="18"/>
                </a:lnTo>
                <a:lnTo>
                  <a:pt x="30" y="18"/>
                </a:lnTo>
                <a:lnTo>
                  <a:pt x="30" y="6"/>
                </a:lnTo>
                <a:lnTo>
                  <a:pt x="30" y="6"/>
                </a:lnTo>
                <a:lnTo>
                  <a:pt x="30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60" y="0"/>
                </a:lnTo>
                <a:lnTo>
                  <a:pt x="60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66" y="6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84" y="54"/>
                </a:lnTo>
                <a:lnTo>
                  <a:pt x="84" y="60"/>
                </a:lnTo>
                <a:lnTo>
                  <a:pt x="84" y="60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60"/>
                </a:lnTo>
                <a:lnTo>
                  <a:pt x="126" y="66"/>
                </a:lnTo>
                <a:lnTo>
                  <a:pt x="126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60"/>
                </a:lnTo>
                <a:lnTo>
                  <a:pt x="138" y="66"/>
                </a:lnTo>
                <a:lnTo>
                  <a:pt x="138" y="66"/>
                </a:lnTo>
                <a:lnTo>
                  <a:pt x="138" y="66"/>
                </a:lnTo>
                <a:lnTo>
                  <a:pt x="144" y="66"/>
                </a:lnTo>
                <a:lnTo>
                  <a:pt x="150" y="66"/>
                </a:lnTo>
                <a:lnTo>
                  <a:pt x="156" y="72"/>
                </a:lnTo>
                <a:lnTo>
                  <a:pt x="156" y="72"/>
                </a:lnTo>
                <a:lnTo>
                  <a:pt x="162" y="72"/>
                </a:lnTo>
                <a:lnTo>
                  <a:pt x="162" y="72"/>
                </a:lnTo>
                <a:lnTo>
                  <a:pt x="156" y="72"/>
                </a:lnTo>
                <a:lnTo>
                  <a:pt x="156" y="78"/>
                </a:lnTo>
                <a:lnTo>
                  <a:pt x="156" y="78"/>
                </a:lnTo>
                <a:lnTo>
                  <a:pt x="150" y="78"/>
                </a:lnTo>
                <a:lnTo>
                  <a:pt x="150" y="78"/>
                </a:lnTo>
                <a:lnTo>
                  <a:pt x="150" y="84"/>
                </a:lnTo>
                <a:lnTo>
                  <a:pt x="150" y="84"/>
                </a:lnTo>
                <a:lnTo>
                  <a:pt x="150" y="84"/>
                </a:lnTo>
                <a:lnTo>
                  <a:pt x="144" y="90"/>
                </a:lnTo>
                <a:lnTo>
                  <a:pt x="144" y="90"/>
                </a:lnTo>
                <a:lnTo>
                  <a:pt x="144" y="90"/>
                </a:lnTo>
                <a:lnTo>
                  <a:pt x="144" y="90"/>
                </a:lnTo>
                <a:lnTo>
                  <a:pt x="144" y="90"/>
                </a:lnTo>
                <a:lnTo>
                  <a:pt x="144" y="96"/>
                </a:lnTo>
                <a:lnTo>
                  <a:pt x="144" y="96"/>
                </a:lnTo>
                <a:lnTo>
                  <a:pt x="144" y="96"/>
                </a:lnTo>
                <a:lnTo>
                  <a:pt x="144" y="96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108"/>
                </a:lnTo>
                <a:lnTo>
                  <a:pt x="138" y="114"/>
                </a:lnTo>
                <a:lnTo>
                  <a:pt x="138" y="114"/>
                </a:lnTo>
                <a:lnTo>
                  <a:pt x="138" y="114"/>
                </a:lnTo>
                <a:lnTo>
                  <a:pt x="138" y="120"/>
                </a:lnTo>
                <a:lnTo>
                  <a:pt x="138" y="120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32"/>
                </a:lnTo>
                <a:lnTo>
                  <a:pt x="126" y="132"/>
                </a:lnTo>
                <a:lnTo>
                  <a:pt x="126" y="126"/>
                </a:lnTo>
                <a:lnTo>
                  <a:pt x="126" y="132"/>
                </a:lnTo>
                <a:lnTo>
                  <a:pt x="126" y="132"/>
                </a:lnTo>
                <a:lnTo>
                  <a:pt x="126" y="138"/>
                </a:lnTo>
                <a:lnTo>
                  <a:pt x="120" y="138"/>
                </a:lnTo>
                <a:lnTo>
                  <a:pt x="108" y="138"/>
                </a:lnTo>
                <a:lnTo>
                  <a:pt x="96" y="138"/>
                </a:lnTo>
                <a:lnTo>
                  <a:pt x="96" y="138"/>
                </a:lnTo>
                <a:lnTo>
                  <a:pt x="78" y="132"/>
                </a:lnTo>
                <a:lnTo>
                  <a:pt x="78" y="132"/>
                </a:lnTo>
                <a:lnTo>
                  <a:pt x="66" y="138"/>
                </a:lnTo>
                <a:lnTo>
                  <a:pt x="66" y="138"/>
                </a:lnTo>
                <a:lnTo>
                  <a:pt x="48" y="162"/>
                </a:lnTo>
                <a:lnTo>
                  <a:pt x="48" y="156"/>
                </a:lnTo>
                <a:lnTo>
                  <a:pt x="36" y="156"/>
                </a:lnTo>
                <a:lnTo>
                  <a:pt x="36" y="156"/>
                </a:lnTo>
                <a:lnTo>
                  <a:pt x="24" y="162"/>
                </a:lnTo>
                <a:lnTo>
                  <a:pt x="24" y="156"/>
                </a:lnTo>
                <a:lnTo>
                  <a:pt x="24" y="156"/>
                </a:lnTo>
                <a:lnTo>
                  <a:pt x="24" y="156"/>
                </a:lnTo>
                <a:lnTo>
                  <a:pt x="24" y="156"/>
                </a:lnTo>
                <a:lnTo>
                  <a:pt x="24" y="156"/>
                </a:lnTo>
                <a:lnTo>
                  <a:pt x="24" y="156"/>
                </a:lnTo>
                <a:lnTo>
                  <a:pt x="24" y="156"/>
                </a:lnTo>
                <a:lnTo>
                  <a:pt x="24" y="150"/>
                </a:lnTo>
                <a:lnTo>
                  <a:pt x="24" y="150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2"/>
                </a:lnTo>
                <a:lnTo>
                  <a:pt x="24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26"/>
                </a:lnTo>
                <a:lnTo>
                  <a:pt x="18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6" y="126"/>
                </a:lnTo>
                <a:lnTo>
                  <a:pt x="6" y="120"/>
                </a:lnTo>
                <a:lnTo>
                  <a:pt x="12" y="114"/>
                </a:lnTo>
                <a:lnTo>
                  <a:pt x="24" y="78"/>
                </a:lnTo>
                <a:lnTo>
                  <a:pt x="12" y="66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12" y="54"/>
                </a:lnTo>
                <a:lnTo>
                  <a:pt x="12" y="54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40" name="Freeform 73"/>
          <p:cNvSpPr>
            <a:spLocks/>
          </p:cNvSpPr>
          <p:nvPr/>
        </p:nvSpPr>
        <p:spPr bwMode="auto">
          <a:xfrm>
            <a:off x="7160209" y="1751665"/>
            <a:ext cx="327627" cy="314781"/>
          </a:xfrm>
          <a:custGeom>
            <a:avLst/>
            <a:gdLst>
              <a:gd name="T0" fmla="*/ 0 w 306"/>
              <a:gd name="T1" fmla="*/ 162 h 294"/>
              <a:gd name="T2" fmla="*/ 0 w 306"/>
              <a:gd name="T3" fmla="*/ 156 h 294"/>
              <a:gd name="T4" fmla="*/ 0 w 306"/>
              <a:gd name="T5" fmla="*/ 150 h 294"/>
              <a:gd name="T6" fmla="*/ 6 w 306"/>
              <a:gd name="T7" fmla="*/ 150 h 294"/>
              <a:gd name="T8" fmla="*/ 6 w 306"/>
              <a:gd name="T9" fmla="*/ 144 h 294"/>
              <a:gd name="T10" fmla="*/ 12 w 306"/>
              <a:gd name="T11" fmla="*/ 144 h 294"/>
              <a:gd name="T12" fmla="*/ 24 w 306"/>
              <a:gd name="T13" fmla="*/ 144 h 294"/>
              <a:gd name="T14" fmla="*/ 30 w 306"/>
              <a:gd name="T15" fmla="*/ 138 h 294"/>
              <a:gd name="T16" fmla="*/ 42 w 306"/>
              <a:gd name="T17" fmla="*/ 144 h 294"/>
              <a:gd name="T18" fmla="*/ 48 w 306"/>
              <a:gd name="T19" fmla="*/ 138 h 294"/>
              <a:gd name="T20" fmla="*/ 60 w 306"/>
              <a:gd name="T21" fmla="*/ 132 h 294"/>
              <a:gd name="T22" fmla="*/ 72 w 306"/>
              <a:gd name="T23" fmla="*/ 120 h 294"/>
              <a:gd name="T24" fmla="*/ 66 w 306"/>
              <a:gd name="T25" fmla="*/ 66 h 294"/>
              <a:gd name="T26" fmla="*/ 96 w 306"/>
              <a:gd name="T27" fmla="*/ 42 h 294"/>
              <a:gd name="T28" fmla="*/ 102 w 306"/>
              <a:gd name="T29" fmla="*/ 30 h 294"/>
              <a:gd name="T30" fmla="*/ 108 w 306"/>
              <a:gd name="T31" fmla="*/ 6 h 294"/>
              <a:gd name="T32" fmla="*/ 126 w 306"/>
              <a:gd name="T33" fmla="*/ 18 h 294"/>
              <a:gd name="T34" fmla="*/ 168 w 306"/>
              <a:gd name="T35" fmla="*/ 30 h 294"/>
              <a:gd name="T36" fmla="*/ 156 w 306"/>
              <a:gd name="T37" fmla="*/ 42 h 294"/>
              <a:gd name="T38" fmla="*/ 228 w 306"/>
              <a:gd name="T39" fmla="*/ 72 h 294"/>
              <a:gd name="T40" fmla="*/ 234 w 306"/>
              <a:gd name="T41" fmla="*/ 60 h 294"/>
              <a:gd name="T42" fmla="*/ 240 w 306"/>
              <a:gd name="T43" fmla="*/ 54 h 294"/>
              <a:gd name="T44" fmla="*/ 240 w 306"/>
              <a:gd name="T45" fmla="*/ 48 h 294"/>
              <a:gd name="T46" fmla="*/ 246 w 306"/>
              <a:gd name="T47" fmla="*/ 36 h 294"/>
              <a:gd name="T48" fmla="*/ 264 w 306"/>
              <a:gd name="T49" fmla="*/ 36 h 294"/>
              <a:gd name="T50" fmla="*/ 270 w 306"/>
              <a:gd name="T51" fmla="*/ 30 h 294"/>
              <a:gd name="T52" fmla="*/ 282 w 306"/>
              <a:gd name="T53" fmla="*/ 30 h 294"/>
              <a:gd name="T54" fmla="*/ 282 w 306"/>
              <a:gd name="T55" fmla="*/ 36 h 294"/>
              <a:gd name="T56" fmla="*/ 282 w 306"/>
              <a:gd name="T57" fmla="*/ 48 h 294"/>
              <a:gd name="T58" fmla="*/ 276 w 306"/>
              <a:gd name="T59" fmla="*/ 54 h 294"/>
              <a:gd name="T60" fmla="*/ 288 w 306"/>
              <a:gd name="T61" fmla="*/ 66 h 294"/>
              <a:gd name="T62" fmla="*/ 288 w 306"/>
              <a:gd name="T63" fmla="*/ 84 h 294"/>
              <a:gd name="T64" fmla="*/ 294 w 306"/>
              <a:gd name="T65" fmla="*/ 102 h 294"/>
              <a:gd name="T66" fmla="*/ 300 w 306"/>
              <a:gd name="T67" fmla="*/ 114 h 294"/>
              <a:gd name="T68" fmla="*/ 306 w 306"/>
              <a:gd name="T69" fmla="*/ 132 h 294"/>
              <a:gd name="T70" fmla="*/ 294 w 306"/>
              <a:gd name="T71" fmla="*/ 144 h 294"/>
              <a:gd name="T72" fmla="*/ 282 w 306"/>
              <a:gd name="T73" fmla="*/ 180 h 294"/>
              <a:gd name="T74" fmla="*/ 264 w 306"/>
              <a:gd name="T75" fmla="*/ 186 h 294"/>
              <a:gd name="T76" fmla="*/ 252 w 306"/>
              <a:gd name="T77" fmla="*/ 198 h 294"/>
              <a:gd name="T78" fmla="*/ 246 w 306"/>
              <a:gd name="T79" fmla="*/ 210 h 294"/>
              <a:gd name="T80" fmla="*/ 234 w 306"/>
              <a:gd name="T81" fmla="*/ 222 h 294"/>
              <a:gd name="T82" fmla="*/ 222 w 306"/>
              <a:gd name="T83" fmla="*/ 216 h 294"/>
              <a:gd name="T84" fmla="*/ 216 w 306"/>
              <a:gd name="T85" fmla="*/ 216 h 294"/>
              <a:gd name="T86" fmla="*/ 204 w 306"/>
              <a:gd name="T87" fmla="*/ 216 h 294"/>
              <a:gd name="T88" fmla="*/ 198 w 306"/>
              <a:gd name="T89" fmla="*/ 222 h 294"/>
              <a:gd name="T90" fmla="*/ 186 w 306"/>
              <a:gd name="T91" fmla="*/ 228 h 294"/>
              <a:gd name="T92" fmla="*/ 174 w 306"/>
              <a:gd name="T93" fmla="*/ 228 h 294"/>
              <a:gd name="T94" fmla="*/ 168 w 306"/>
              <a:gd name="T95" fmla="*/ 234 h 294"/>
              <a:gd name="T96" fmla="*/ 144 w 306"/>
              <a:gd name="T97" fmla="*/ 234 h 294"/>
              <a:gd name="T98" fmla="*/ 126 w 306"/>
              <a:gd name="T99" fmla="*/ 240 h 294"/>
              <a:gd name="T100" fmla="*/ 96 w 306"/>
              <a:gd name="T101" fmla="*/ 270 h 294"/>
              <a:gd name="T102" fmla="*/ 78 w 306"/>
              <a:gd name="T103" fmla="*/ 282 h 294"/>
              <a:gd name="T104" fmla="*/ 60 w 306"/>
              <a:gd name="T105" fmla="*/ 294 h 294"/>
              <a:gd name="T106" fmla="*/ 42 w 306"/>
              <a:gd name="T107" fmla="*/ 276 h 294"/>
              <a:gd name="T108" fmla="*/ 24 w 306"/>
              <a:gd name="T109" fmla="*/ 270 h 294"/>
              <a:gd name="T110" fmla="*/ 6 w 306"/>
              <a:gd name="T111" fmla="*/ 258 h 294"/>
              <a:gd name="T112" fmla="*/ 6 w 306"/>
              <a:gd name="T113" fmla="*/ 234 h 294"/>
              <a:gd name="T114" fmla="*/ 12 w 306"/>
              <a:gd name="T115" fmla="*/ 216 h 294"/>
              <a:gd name="T116" fmla="*/ 24 w 306"/>
              <a:gd name="T117" fmla="*/ 204 h 294"/>
              <a:gd name="T118" fmla="*/ 6 w 306"/>
              <a:gd name="T119" fmla="*/ 186 h 2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06" h="294">
                <a:moveTo>
                  <a:pt x="0" y="168"/>
                </a:moveTo>
                <a:lnTo>
                  <a:pt x="0" y="168"/>
                </a:lnTo>
                <a:lnTo>
                  <a:pt x="0" y="168"/>
                </a:lnTo>
                <a:lnTo>
                  <a:pt x="0" y="168"/>
                </a:lnTo>
                <a:lnTo>
                  <a:pt x="0" y="168"/>
                </a:lnTo>
                <a:lnTo>
                  <a:pt x="0" y="168"/>
                </a:lnTo>
                <a:lnTo>
                  <a:pt x="0" y="168"/>
                </a:lnTo>
                <a:lnTo>
                  <a:pt x="0" y="168"/>
                </a:lnTo>
                <a:lnTo>
                  <a:pt x="0" y="162"/>
                </a:lnTo>
                <a:lnTo>
                  <a:pt x="0" y="162"/>
                </a:lnTo>
                <a:lnTo>
                  <a:pt x="0" y="162"/>
                </a:lnTo>
                <a:lnTo>
                  <a:pt x="0" y="162"/>
                </a:lnTo>
                <a:lnTo>
                  <a:pt x="0" y="162"/>
                </a:lnTo>
                <a:lnTo>
                  <a:pt x="0" y="162"/>
                </a:lnTo>
                <a:lnTo>
                  <a:pt x="0" y="162"/>
                </a:lnTo>
                <a:lnTo>
                  <a:pt x="0" y="162"/>
                </a:lnTo>
                <a:lnTo>
                  <a:pt x="0" y="162"/>
                </a:lnTo>
                <a:lnTo>
                  <a:pt x="0" y="162"/>
                </a:lnTo>
                <a:lnTo>
                  <a:pt x="0" y="156"/>
                </a:lnTo>
                <a:lnTo>
                  <a:pt x="0" y="156"/>
                </a:lnTo>
                <a:lnTo>
                  <a:pt x="0" y="156"/>
                </a:lnTo>
                <a:lnTo>
                  <a:pt x="0" y="156"/>
                </a:lnTo>
                <a:lnTo>
                  <a:pt x="0" y="156"/>
                </a:lnTo>
                <a:lnTo>
                  <a:pt x="0" y="156"/>
                </a:lnTo>
                <a:lnTo>
                  <a:pt x="0" y="156"/>
                </a:lnTo>
                <a:lnTo>
                  <a:pt x="0" y="156"/>
                </a:lnTo>
                <a:lnTo>
                  <a:pt x="0" y="156"/>
                </a:lnTo>
                <a:lnTo>
                  <a:pt x="0" y="156"/>
                </a:lnTo>
                <a:lnTo>
                  <a:pt x="0" y="156"/>
                </a:lnTo>
                <a:lnTo>
                  <a:pt x="0" y="156"/>
                </a:lnTo>
                <a:lnTo>
                  <a:pt x="0" y="156"/>
                </a:lnTo>
                <a:lnTo>
                  <a:pt x="0" y="156"/>
                </a:lnTo>
                <a:lnTo>
                  <a:pt x="0" y="156"/>
                </a:lnTo>
                <a:lnTo>
                  <a:pt x="0" y="150"/>
                </a:lnTo>
                <a:lnTo>
                  <a:pt x="0" y="150"/>
                </a:lnTo>
                <a:lnTo>
                  <a:pt x="0" y="150"/>
                </a:lnTo>
                <a:lnTo>
                  <a:pt x="0" y="150"/>
                </a:lnTo>
                <a:lnTo>
                  <a:pt x="0" y="150"/>
                </a:lnTo>
                <a:lnTo>
                  <a:pt x="0" y="150"/>
                </a:lnTo>
                <a:lnTo>
                  <a:pt x="0" y="150"/>
                </a:lnTo>
                <a:lnTo>
                  <a:pt x="0" y="150"/>
                </a:lnTo>
                <a:lnTo>
                  <a:pt x="0" y="150"/>
                </a:lnTo>
                <a:lnTo>
                  <a:pt x="0" y="150"/>
                </a:lnTo>
                <a:lnTo>
                  <a:pt x="0" y="150"/>
                </a:lnTo>
                <a:lnTo>
                  <a:pt x="0" y="150"/>
                </a:lnTo>
                <a:lnTo>
                  <a:pt x="0" y="150"/>
                </a:lnTo>
                <a:lnTo>
                  <a:pt x="0" y="150"/>
                </a:lnTo>
                <a:lnTo>
                  <a:pt x="0" y="150"/>
                </a:lnTo>
                <a:lnTo>
                  <a:pt x="0" y="150"/>
                </a:lnTo>
                <a:lnTo>
                  <a:pt x="0" y="150"/>
                </a:lnTo>
                <a:lnTo>
                  <a:pt x="0" y="150"/>
                </a:lnTo>
                <a:lnTo>
                  <a:pt x="0" y="150"/>
                </a:lnTo>
                <a:lnTo>
                  <a:pt x="0" y="150"/>
                </a:lnTo>
                <a:lnTo>
                  <a:pt x="0" y="150"/>
                </a:lnTo>
                <a:lnTo>
                  <a:pt x="0" y="150"/>
                </a:lnTo>
                <a:lnTo>
                  <a:pt x="0" y="150"/>
                </a:lnTo>
                <a:lnTo>
                  <a:pt x="0" y="150"/>
                </a:lnTo>
                <a:lnTo>
                  <a:pt x="6" y="150"/>
                </a:lnTo>
                <a:lnTo>
                  <a:pt x="6" y="150"/>
                </a:lnTo>
                <a:lnTo>
                  <a:pt x="6" y="150"/>
                </a:lnTo>
                <a:lnTo>
                  <a:pt x="6" y="150"/>
                </a:lnTo>
                <a:lnTo>
                  <a:pt x="6" y="150"/>
                </a:lnTo>
                <a:lnTo>
                  <a:pt x="6" y="150"/>
                </a:lnTo>
                <a:lnTo>
                  <a:pt x="6" y="150"/>
                </a:lnTo>
                <a:lnTo>
                  <a:pt x="6" y="150"/>
                </a:lnTo>
                <a:lnTo>
                  <a:pt x="6" y="150"/>
                </a:lnTo>
                <a:lnTo>
                  <a:pt x="6" y="150"/>
                </a:lnTo>
                <a:lnTo>
                  <a:pt x="6" y="150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12" y="144"/>
                </a:lnTo>
                <a:lnTo>
                  <a:pt x="12" y="144"/>
                </a:lnTo>
                <a:lnTo>
                  <a:pt x="12" y="144"/>
                </a:lnTo>
                <a:lnTo>
                  <a:pt x="12" y="144"/>
                </a:lnTo>
                <a:lnTo>
                  <a:pt x="12" y="144"/>
                </a:lnTo>
                <a:lnTo>
                  <a:pt x="12" y="144"/>
                </a:lnTo>
                <a:lnTo>
                  <a:pt x="12" y="144"/>
                </a:lnTo>
                <a:lnTo>
                  <a:pt x="12" y="144"/>
                </a:lnTo>
                <a:lnTo>
                  <a:pt x="12" y="144"/>
                </a:lnTo>
                <a:lnTo>
                  <a:pt x="12" y="144"/>
                </a:lnTo>
                <a:lnTo>
                  <a:pt x="18" y="144"/>
                </a:lnTo>
                <a:lnTo>
                  <a:pt x="18" y="144"/>
                </a:lnTo>
                <a:lnTo>
                  <a:pt x="18" y="144"/>
                </a:lnTo>
                <a:lnTo>
                  <a:pt x="18" y="144"/>
                </a:lnTo>
                <a:lnTo>
                  <a:pt x="18" y="144"/>
                </a:lnTo>
                <a:lnTo>
                  <a:pt x="18" y="144"/>
                </a:lnTo>
                <a:lnTo>
                  <a:pt x="18" y="144"/>
                </a:lnTo>
                <a:lnTo>
                  <a:pt x="18" y="144"/>
                </a:lnTo>
                <a:lnTo>
                  <a:pt x="18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30" y="138"/>
                </a:lnTo>
                <a:lnTo>
                  <a:pt x="30" y="138"/>
                </a:lnTo>
                <a:lnTo>
                  <a:pt x="30" y="138"/>
                </a:lnTo>
                <a:lnTo>
                  <a:pt x="30" y="138"/>
                </a:lnTo>
                <a:lnTo>
                  <a:pt x="30" y="138"/>
                </a:lnTo>
                <a:lnTo>
                  <a:pt x="30" y="144"/>
                </a:lnTo>
                <a:lnTo>
                  <a:pt x="36" y="138"/>
                </a:lnTo>
                <a:lnTo>
                  <a:pt x="36" y="144"/>
                </a:lnTo>
                <a:lnTo>
                  <a:pt x="36" y="144"/>
                </a:lnTo>
                <a:lnTo>
                  <a:pt x="36" y="144"/>
                </a:lnTo>
                <a:lnTo>
                  <a:pt x="36" y="144"/>
                </a:lnTo>
                <a:lnTo>
                  <a:pt x="36" y="144"/>
                </a:lnTo>
                <a:lnTo>
                  <a:pt x="36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38"/>
                </a:lnTo>
                <a:lnTo>
                  <a:pt x="42" y="144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60" y="132"/>
                </a:lnTo>
                <a:lnTo>
                  <a:pt x="60" y="132"/>
                </a:lnTo>
                <a:lnTo>
                  <a:pt x="60" y="132"/>
                </a:lnTo>
                <a:lnTo>
                  <a:pt x="60" y="132"/>
                </a:lnTo>
                <a:lnTo>
                  <a:pt x="60" y="132"/>
                </a:lnTo>
                <a:lnTo>
                  <a:pt x="60" y="126"/>
                </a:lnTo>
                <a:lnTo>
                  <a:pt x="66" y="126"/>
                </a:lnTo>
                <a:lnTo>
                  <a:pt x="66" y="126"/>
                </a:lnTo>
                <a:lnTo>
                  <a:pt x="66" y="126"/>
                </a:lnTo>
                <a:lnTo>
                  <a:pt x="66" y="126"/>
                </a:lnTo>
                <a:lnTo>
                  <a:pt x="66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14"/>
                </a:lnTo>
                <a:lnTo>
                  <a:pt x="60" y="96"/>
                </a:lnTo>
                <a:lnTo>
                  <a:pt x="60" y="90"/>
                </a:lnTo>
                <a:lnTo>
                  <a:pt x="54" y="84"/>
                </a:lnTo>
                <a:lnTo>
                  <a:pt x="60" y="84"/>
                </a:lnTo>
                <a:lnTo>
                  <a:pt x="60" y="84"/>
                </a:lnTo>
                <a:lnTo>
                  <a:pt x="60" y="78"/>
                </a:lnTo>
                <a:lnTo>
                  <a:pt x="60" y="78"/>
                </a:lnTo>
                <a:lnTo>
                  <a:pt x="60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66"/>
                </a:lnTo>
                <a:lnTo>
                  <a:pt x="66" y="66"/>
                </a:lnTo>
                <a:lnTo>
                  <a:pt x="72" y="66"/>
                </a:lnTo>
                <a:lnTo>
                  <a:pt x="72" y="60"/>
                </a:lnTo>
                <a:lnTo>
                  <a:pt x="72" y="60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96" y="24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2"/>
                </a:lnTo>
                <a:lnTo>
                  <a:pt x="96" y="12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12"/>
                </a:lnTo>
                <a:lnTo>
                  <a:pt x="108" y="12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0"/>
                </a:lnTo>
                <a:lnTo>
                  <a:pt x="108" y="6"/>
                </a:lnTo>
                <a:lnTo>
                  <a:pt x="108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26" y="24"/>
                </a:lnTo>
                <a:lnTo>
                  <a:pt x="126" y="24"/>
                </a:lnTo>
                <a:lnTo>
                  <a:pt x="132" y="24"/>
                </a:lnTo>
                <a:lnTo>
                  <a:pt x="168" y="24"/>
                </a:lnTo>
                <a:lnTo>
                  <a:pt x="168" y="30"/>
                </a:lnTo>
                <a:lnTo>
                  <a:pt x="168" y="30"/>
                </a:lnTo>
                <a:lnTo>
                  <a:pt x="168" y="30"/>
                </a:lnTo>
                <a:lnTo>
                  <a:pt x="168" y="30"/>
                </a:lnTo>
                <a:lnTo>
                  <a:pt x="168" y="30"/>
                </a:lnTo>
                <a:lnTo>
                  <a:pt x="168" y="30"/>
                </a:lnTo>
                <a:lnTo>
                  <a:pt x="168" y="30"/>
                </a:lnTo>
                <a:lnTo>
                  <a:pt x="168" y="30"/>
                </a:lnTo>
                <a:lnTo>
                  <a:pt x="168" y="30"/>
                </a:lnTo>
                <a:lnTo>
                  <a:pt x="162" y="30"/>
                </a:lnTo>
                <a:lnTo>
                  <a:pt x="162" y="30"/>
                </a:lnTo>
                <a:lnTo>
                  <a:pt x="162" y="30"/>
                </a:lnTo>
                <a:lnTo>
                  <a:pt x="162" y="30"/>
                </a:lnTo>
                <a:lnTo>
                  <a:pt x="162" y="30"/>
                </a:lnTo>
                <a:lnTo>
                  <a:pt x="162" y="30"/>
                </a:lnTo>
                <a:lnTo>
                  <a:pt x="162" y="36"/>
                </a:lnTo>
                <a:lnTo>
                  <a:pt x="162" y="36"/>
                </a:lnTo>
                <a:lnTo>
                  <a:pt x="156" y="36"/>
                </a:lnTo>
                <a:lnTo>
                  <a:pt x="156" y="36"/>
                </a:lnTo>
                <a:lnTo>
                  <a:pt x="162" y="36"/>
                </a:lnTo>
                <a:lnTo>
                  <a:pt x="156" y="36"/>
                </a:lnTo>
                <a:lnTo>
                  <a:pt x="156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42"/>
                </a:lnTo>
                <a:lnTo>
                  <a:pt x="198" y="54"/>
                </a:lnTo>
                <a:lnTo>
                  <a:pt x="198" y="48"/>
                </a:lnTo>
                <a:lnTo>
                  <a:pt x="198" y="48"/>
                </a:lnTo>
                <a:lnTo>
                  <a:pt x="210" y="60"/>
                </a:lnTo>
                <a:lnTo>
                  <a:pt x="228" y="72"/>
                </a:lnTo>
                <a:lnTo>
                  <a:pt x="228" y="72"/>
                </a:lnTo>
                <a:lnTo>
                  <a:pt x="228" y="72"/>
                </a:lnTo>
                <a:lnTo>
                  <a:pt x="228" y="72"/>
                </a:lnTo>
                <a:lnTo>
                  <a:pt x="234" y="72"/>
                </a:lnTo>
                <a:lnTo>
                  <a:pt x="228" y="72"/>
                </a:lnTo>
                <a:lnTo>
                  <a:pt x="234" y="66"/>
                </a:lnTo>
                <a:lnTo>
                  <a:pt x="234" y="66"/>
                </a:lnTo>
                <a:lnTo>
                  <a:pt x="234" y="66"/>
                </a:lnTo>
                <a:lnTo>
                  <a:pt x="234" y="66"/>
                </a:lnTo>
                <a:lnTo>
                  <a:pt x="234" y="66"/>
                </a:lnTo>
                <a:lnTo>
                  <a:pt x="234" y="66"/>
                </a:lnTo>
                <a:lnTo>
                  <a:pt x="234" y="66"/>
                </a:lnTo>
                <a:lnTo>
                  <a:pt x="234" y="66"/>
                </a:lnTo>
                <a:lnTo>
                  <a:pt x="234" y="66"/>
                </a:lnTo>
                <a:lnTo>
                  <a:pt x="234" y="66"/>
                </a:lnTo>
                <a:lnTo>
                  <a:pt x="234" y="66"/>
                </a:lnTo>
                <a:lnTo>
                  <a:pt x="234" y="60"/>
                </a:lnTo>
                <a:lnTo>
                  <a:pt x="234" y="60"/>
                </a:lnTo>
                <a:lnTo>
                  <a:pt x="234" y="60"/>
                </a:lnTo>
                <a:lnTo>
                  <a:pt x="234" y="60"/>
                </a:lnTo>
                <a:lnTo>
                  <a:pt x="234" y="60"/>
                </a:lnTo>
                <a:lnTo>
                  <a:pt x="234" y="60"/>
                </a:lnTo>
                <a:lnTo>
                  <a:pt x="234" y="60"/>
                </a:lnTo>
                <a:lnTo>
                  <a:pt x="234" y="60"/>
                </a:lnTo>
                <a:lnTo>
                  <a:pt x="234" y="60"/>
                </a:lnTo>
                <a:lnTo>
                  <a:pt x="234" y="60"/>
                </a:lnTo>
                <a:lnTo>
                  <a:pt x="240" y="60"/>
                </a:lnTo>
                <a:lnTo>
                  <a:pt x="240" y="60"/>
                </a:lnTo>
                <a:lnTo>
                  <a:pt x="234" y="60"/>
                </a:lnTo>
                <a:lnTo>
                  <a:pt x="240" y="54"/>
                </a:lnTo>
                <a:lnTo>
                  <a:pt x="234" y="54"/>
                </a:lnTo>
                <a:lnTo>
                  <a:pt x="240" y="54"/>
                </a:lnTo>
                <a:lnTo>
                  <a:pt x="234" y="54"/>
                </a:lnTo>
                <a:lnTo>
                  <a:pt x="240" y="54"/>
                </a:lnTo>
                <a:lnTo>
                  <a:pt x="240" y="54"/>
                </a:lnTo>
                <a:lnTo>
                  <a:pt x="240" y="54"/>
                </a:lnTo>
                <a:lnTo>
                  <a:pt x="240" y="54"/>
                </a:lnTo>
                <a:lnTo>
                  <a:pt x="240" y="54"/>
                </a:lnTo>
                <a:lnTo>
                  <a:pt x="240" y="48"/>
                </a:lnTo>
                <a:lnTo>
                  <a:pt x="240" y="48"/>
                </a:lnTo>
                <a:lnTo>
                  <a:pt x="240" y="48"/>
                </a:lnTo>
                <a:lnTo>
                  <a:pt x="240" y="48"/>
                </a:lnTo>
                <a:lnTo>
                  <a:pt x="240" y="48"/>
                </a:lnTo>
                <a:lnTo>
                  <a:pt x="240" y="48"/>
                </a:lnTo>
                <a:lnTo>
                  <a:pt x="240" y="48"/>
                </a:lnTo>
                <a:lnTo>
                  <a:pt x="240" y="48"/>
                </a:lnTo>
                <a:lnTo>
                  <a:pt x="240" y="48"/>
                </a:lnTo>
                <a:lnTo>
                  <a:pt x="240" y="48"/>
                </a:lnTo>
                <a:lnTo>
                  <a:pt x="240" y="48"/>
                </a:lnTo>
                <a:lnTo>
                  <a:pt x="240" y="48"/>
                </a:lnTo>
                <a:lnTo>
                  <a:pt x="240" y="48"/>
                </a:lnTo>
                <a:lnTo>
                  <a:pt x="240" y="48"/>
                </a:lnTo>
                <a:lnTo>
                  <a:pt x="240" y="48"/>
                </a:lnTo>
                <a:lnTo>
                  <a:pt x="240" y="48"/>
                </a:lnTo>
                <a:lnTo>
                  <a:pt x="240" y="48"/>
                </a:lnTo>
                <a:lnTo>
                  <a:pt x="240" y="42"/>
                </a:lnTo>
                <a:lnTo>
                  <a:pt x="240" y="42"/>
                </a:lnTo>
                <a:lnTo>
                  <a:pt x="240" y="42"/>
                </a:lnTo>
                <a:lnTo>
                  <a:pt x="240" y="42"/>
                </a:lnTo>
                <a:lnTo>
                  <a:pt x="246" y="42"/>
                </a:lnTo>
                <a:lnTo>
                  <a:pt x="246" y="42"/>
                </a:lnTo>
                <a:lnTo>
                  <a:pt x="246" y="42"/>
                </a:lnTo>
                <a:lnTo>
                  <a:pt x="246" y="42"/>
                </a:lnTo>
                <a:lnTo>
                  <a:pt x="246" y="42"/>
                </a:lnTo>
                <a:lnTo>
                  <a:pt x="246" y="42"/>
                </a:lnTo>
                <a:lnTo>
                  <a:pt x="246" y="42"/>
                </a:lnTo>
                <a:lnTo>
                  <a:pt x="246" y="42"/>
                </a:lnTo>
                <a:lnTo>
                  <a:pt x="246" y="36"/>
                </a:lnTo>
                <a:lnTo>
                  <a:pt x="246" y="36"/>
                </a:lnTo>
                <a:lnTo>
                  <a:pt x="246" y="36"/>
                </a:lnTo>
                <a:lnTo>
                  <a:pt x="246" y="36"/>
                </a:lnTo>
                <a:lnTo>
                  <a:pt x="246" y="36"/>
                </a:lnTo>
                <a:lnTo>
                  <a:pt x="252" y="36"/>
                </a:lnTo>
                <a:lnTo>
                  <a:pt x="252" y="36"/>
                </a:lnTo>
                <a:lnTo>
                  <a:pt x="252" y="36"/>
                </a:lnTo>
                <a:lnTo>
                  <a:pt x="252" y="36"/>
                </a:lnTo>
                <a:lnTo>
                  <a:pt x="258" y="36"/>
                </a:lnTo>
                <a:lnTo>
                  <a:pt x="258" y="36"/>
                </a:lnTo>
                <a:lnTo>
                  <a:pt x="258" y="36"/>
                </a:lnTo>
                <a:lnTo>
                  <a:pt x="258" y="36"/>
                </a:lnTo>
                <a:lnTo>
                  <a:pt x="258" y="36"/>
                </a:lnTo>
                <a:lnTo>
                  <a:pt x="258" y="36"/>
                </a:lnTo>
                <a:lnTo>
                  <a:pt x="258" y="36"/>
                </a:lnTo>
                <a:lnTo>
                  <a:pt x="258" y="36"/>
                </a:lnTo>
                <a:lnTo>
                  <a:pt x="264" y="36"/>
                </a:lnTo>
                <a:lnTo>
                  <a:pt x="264" y="36"/>
                </a:lnTo>
                <a:lnTo>
                  <a:pt x="264" y="36"/>
                </a:lnTo>
                <a:lnTo>
                  <a:pt x="264" y="36"/>
                </a:lnTo>
                <a:lnTo>
                  <a:pt x="264" y="36"/>
                </a:lnTo>
                <a:lnTo>
                  <a:pt x="264" y="36"/>
                </a:lnTo>
                <a:lnTo>
                  <a:pt x="264" y="36"/>
                </a:lnTo>
                <a:lnTo>
                  <a:pt x="264" y="36"/>
                </a:lnTo>
                <a:lnTo>
                  <a:pt x="264" y="36"/>
                </a:lnTo>
                <a:lnTo>
                  <a:pt x="264" y="30"/>
                </a:lnTo>
                <a:lnTo>
                  <a:pt x="270" y="36"/>
                </a:lnTo>
                <a:lnTo>
                  <a:pt x="270" y="30"/>
                </a:lnTo>
                <a:lnTo>
                  <a:pt x="270" y="30"/>
                </a:lnTo>
                <a:lnTo>
                  <a:pt x="270" y="30"/>
                </a:lnTo>
                <a:lnTo>
                  <a:pt x="270" y="30"/>
                </a:lnTo>
                <a:lnTo>
                  <a:pt x="270" y="30"/>
                </a:lnTo>
                <a:lnTo>
                  <a:pt x="270" y="30"/>
                </a:lnTo>
                <a:lnTo>
                  <a:pt x="276" y="30"/>
                </a:lnTo>
                <a:lnTo>
                  <a:pt x="276" y="30"/>
                </a:lnTo>
                <a:lnTo>
                  <a:pt x="276" y="30"/>
                </a:lnTo>
                <a:lnTo>
                  <a:pt x="276" y="30"/>
                </a:lnTo>
                <a:lnTo>
                  <a:pt x="276" y="30"/>
                </a:lnTo>
                <a:lnTo>
                  <a:pt x="276" y="30"/>
                </a:lnTo>
                <a:lnTo>
                  <a:pt x="276" y="30"/>
                </a:lnTo>
                <a:lnTo>
                  <a:pt x="276" y="30"/>
                </a:lnTo>
                <a:lnTo>
                  <a:pt x="276" y="30"/>
                </a:lnTo>
                <a:lnTo>
                  <a:pt x="276" y="24"/>
                </a:lnTo>
                <a:lnTo>
                  <a:pt x="276" y="24"/>
                </a:lnTo>
                <a:lnTo>
                  <a:pt x="276" y="24"/>
                </a:lnTo>
                <a:lnTo>
                  <a:pt x="282" y="30"/>
                </a:lnTo>
                <a:lnTo>
                  <a:pt x="276" y="30"/>
                </a:lnTo>
                <a:lnTo>
                  <a:pt x="282" y="30"/>
                </a:lnTo>
                <a:lnTo>
                  <a:pt x="282" y="30"/>
                </a:lnTo>
                <a:lnTo>
                  <a:pt x="282" y="30"/>
                </a:lnTo>
                <a:lnTo>
                  <a:pt x="282" y="30"/>
                </a:lnTo>
                <a:lnTo>
                  <a:pt x="282" y="30"/>
                </a:lnTo>
                <a:lnTo>
                  <a:pt x="282" y="30"/>
                </a:lnTo>
                <a:lnTo>
                  <a:pt x="282" y="30"/>
                </a:lnTo>
                <a:lnTo>
                  <a:pt x="282" y="30"/>
                </a:lnTo>
                <a:lnTo>
                  <a:pt x="282" y="30"/>
                </a:lnTo>
                <a:lnTo>
                  <a:pt x="282" y="30"/>
                </a:lnTo>
                <a:lnTo>
                  <a:pt x="282" y="30"/>
                </a:lnTo>
                <a:lnTo>
                  <a:pt x="282" y="30"/>
                </a:lnTo>
                <a:lnTo>
                  <a:pt x="282" y="30"/>
                </a:lnTo>
                <a:lnTo>
                  <a:pt x="282" y="36"/>
                </a:lnTo>
                <a:lnTo>
                  <a:pt x="282" y="36"/>
                </a:lnTo>
                <a:lnTo>
                  <a:pt x="282" y="36"/>
                </a:lnTo>
                <a:lnTo>
                  <a:pt x="282" y="36"/>
                </a:lnTo>
                <a:lnTo>
                  <a:pt x="282" y="36"/>
                </a:lnTo>
                <a:lnTo>
                  <a:pt x="282" y="36"/>
                </a:lnTo>
                <a:lnTo>
                  <a:pt x="282" y="36"/>
                </a:lnTo>
                <a:lnTo>
                  <a:pt x="282" y="36"/>
                </a:lnTo>
                <a:lnTo>
                  <a:pt x="282" y="36"/>
                </a:lnTo>
                <a:lnTo>
                  <a:pt x="282" y="42"/>
                </a:lnTo>
                <a:lnTo>
                  <a:pt x="282" y="42"/>
                </a:lnTo>
                <a:lnTo>
                  <a:pt x="282" y="42"/>
                </a:lnTo>
                <a:lnTo>
                  <a:pt x="282" y="42"/>
                </a:lnTo>
                <a:lnTo>
                  <a:pt x="282" y="42"/>
                </a:lnTo>
                <a:lnTo>
                  <a:pt x="282" y="42"/>
                </a:lnTo>
                <a:lnTo>
                  <a:pt x="282" y="42"/>
                </a:lnTo>
                <a:lnTo>
                  <a:pt x="282" y="42"/>
                </a:lnTo>
                <a:lnTo>
                  <a:pt x="282" y="42"/>
                </a:lnTo>
                <a:lnTo>
                  <a:pt x="282" y="48"/>
                </a:lnTo>
                <a:lnTo>
                  <a:pt x="282" y="48"/>
                </a:lnTo>
                <a:lnTo>
                  <a:pt x="282" y="48"/>
                </a:lnTo>
                <a:lnTo>
                  <a:pt x="282" y="48"/>
                </a:lnTo>
                <a:lnTo>
                  <a:pt x="282" y="48"/>
                </a:lnTo>
                <a:lnTo>
                  <a:pt x="282" y="48"/>
                </a:lnTo>
                <a:lnTo>
                  <a:pt x="282" y="54"/>
                </a:lnTo>
                <a:lnTo>
                  <a:pt x="282" y="54"/>
                </a:lnTo>
                <a:lnTo>
                  <a:pt x="282" y="54"/>
                </a:lnTo>
                <a:lnTo>
                  <a:pt x="276" y="54"/>
                </a:lnTo>
                <a:lnTo>
                  <a:pt x="276" y="54"/>
                </a:lnTo>
                <a:lnTo>
                  <a:pt x="276" y="54"/>
                </a:lnTo>
                <a:lnTo>
                  <a:pt x="276" y="54"/>
                </a:lnTo>
                <a:lnTo>
                  <a:pt x="276" y="54"/>
                </a:lnTo>
                <a:lnTo>
                  <a:pt x="276" y="54"/>
                </a:lnTo>
                <a:lnTo>
                  <a:pt x="276" y="54"/>
                </a:lnTo>
                <a:lnTo>
                  <a:pt x="276" y="54"/>
                </a:lnTo>
                <a:lnTo>
                  <a:pt x="276" y="54"/>
                </a:lnTo>
                <a:lnTo>
                  <a:pt x="276" y="54"/>
                </a:lnTo>
                <a:lnTo>
                  <a:pt x="276" y="60"/>
                </a:lnTo>
                <a:lnTo>
                  <a:pt x="282" y="60"/>
                </a:lnTo>
                <a:lnTo>
                  <a:pt x="282" y="60"/>
                </a:lnTo>
                <a:lnTo>
                  <a:pt x="282" y="60"/>
                </a:lnTo>
                <a:lnTo>
                  <a:pt x="282" y="60"/>
                </a:lnTo>
                <a:lnTo>
                  <a:pt x="282" y="60"/>
                </a:lnTo>
                <a:lnTo>
                  <a:pt x="282" y="60"/>
                </a:lnTo>
                <a:lnTo>
                  <a:pt x="282" y="60"/>
                </a:lnTo>
                <a:lnTo>
                  <a:pt x="282" y="60"/>
                </a:lnTo>
                <a:lnTo>
                  <a:pt x="282" y="60"/>
                </a:lnTo>
                <a:lnTo>
                  <a:pt x="282" y="66"/>
                </a:lnTo>
                <a:lnTo>
                  <a:pt x="288" y="66"/>
                </a:lnTo>
                <a:lnTo>
                  <a:pt x="288" y="66"/>
                </a:lnTo>
                <a:lnTo>
                  <a:pt x="288" y="66"/>
                </a:lnTo>
                <a:lnTo>
                  <a:pt x="288" y="66"/>
                </a:lnTo>
                <a:lnTo>
                  <a:pt x="288" y="66"/>
                </a:lnTo>
                <a:lnTo>
                  <a:pt x="288" y="66"/>
                </a:lnTo>
                <a:lnTo>
                  <a:pt x="288" y="66"/>
                </a:lnTo>
                <a:lnTo>
                  <a:pt x="288" y="66"/>
                </a:lnTo>
                <a:lnTo>
                  <a:pt x="294" y="66"/>
                </a:lnTo>
                <a:lnTo>
                  <a:pt x="294" y="66"/>
                </a:lnTo>
                <a:lnTo>
                  <a:pt x="294" y="72"/>
                </a:lnTo>
                <a:lnTo>
                  <a:pt x="294" y="72"/>
                </a:lnTo>
                <a:lnTo>
                  <a:pt x="294" y="72"/>
                </a:lnTo>
                <a:lnTo>
                  <a:pt x="294" y="72"/>
                </a:lnTo>
                <a:lnTo>
                  <a:pt x="288" y="78"/>
                </a:lnTo>
                <a:lnTo>
                  <a:pt x="288" y="78"/>
                </a:lnTo>
                <a:lnTo>
                  <a:pt x="288" y="78"/>
                </a:lnTo>
                <a:lnTo>
                  <a:pt x="288" y="78"/>
                </a:lnTo>
                <a:lnTo>
                  <a:pt x="288" y="78"/>
                </a:lnTo>
                <a:lnTo>
                  <a:pt x="288" y="78"/>
                </a:lnTo>
                <a:lnTo>
                  <a:pt x="288" y="84"/>
                </a:lnTo>
                <a:lnTo>
                  <a:pt x="288" y="84"/>
                </a:lnTo>
                <a:lnTo>
                  <a:pt x="288" y="84"/>
                </a:lnTo>
                <a:lnTo>
                  <a:pt x="288" y="84"/>
                </a:lnTo>
                <a:lnTo>
                  <a:pt x="288" y="84"/>
                </a:lnTo>
                <a:lnTo>
                  <a:pt x="294" y="90"/>
                </a:lnTo>
                <a:lnTo>
                  <a:pt x="294" y="90"/>
                </a:lnTo>
                <a:lnTo>
                  <a:pt x="288" y="90"/>
                </a:lnTo>
                <a:lnTo>
                  <a:pt x="288" y="90"/>
                </a:lnTo>
                <a:lnTo>
                  <a:pt x="288" y="90"/>
                </a:lnTo>
                <a:lnTo>
                  <a:pt x="288" y="90"/>
                </a:lnTo>
                <a:lnTo>
                  <a:pt x="288" y="96"/>
                </a:lnTo>
                <a:lnTo>
                  <a:pt x="288" y="96"/>
                </a:lnTo>
                <a:lnTo>
                  <a:pt x="288" y="96"/>
                </a:lnTo>
                <a:lnTo>
                  <a:pt x="288" y="96"/>
                </a:lnTo>
                <a:lnTo>
                  <a:pt x="294" y="96"/>
                </a:lnTo>
                <a:lnTo>
                  <a:pt x="294" y="102"/>
                </a:lnTo>
                <a:lnTo>
                  <a:pt x="294" y="102"/>
                </a:lnTo>
                <a:lnTo>
                  <a:pt x="294" y="102"/>
                </a:lnTo>
                <a:lnTo>
                  <a:pt x="294" y="108"/>
                </a:lnTo>
                <a:lnTo>
                  <a:pt x="294" y="108"/>
                </a:lnTo>
                <a:lnTo>
                  <a:pt x="294" y="108"/>
                </a:lnTo>
                <a:lnTo>
                  <a:pt x="294" y="108"/>
                </a:lnTo>
                <a:lnTo>
                  <a:pt x="300" y="108"/>
                </a:lnTo>
                <a:lnTo>
                  <a:pt x="300" y="108"/>
                </a:lnTo>
                <a:lnTo>
                  <a:pt x="300" y="108"/>
                </a:lnTo>
                <a:lnTo>
                  <a:pt x="300" y="102"/>
                </a:lnTo>
                <a:lnTo>
                  <a:pt x="300" y="108"/>
                </a:lnTo>
                <a:lnTo>
                  <a:pt x="300" y="108"/>
                </a:lnTo>
                <a:lnTo>
                  <a:pt x="300" y="108"/>
                </a:lnTo>
                <a:lnTo>
                  <a:pt x="300" y="108"/>
                </a:lnTo>
                <a:lnTo>
                  <a:pt x="300" y="114"/>
                </a:lnTo>
                <a:lnTo>
                  <a:pt x="300" y="114"/>
                </a:lnTo>
                <a:lnTo>
                  <a:pt x="300" y="114"/>
                </a:lnTo>
                <a:lnTo>
                  <a:pt x="300" y="114"/>
                </a:lnTo>
                <a:lnTo>
                  <a:pt x="300" y="114"/>
                </a:lnTo>
                <a:lnTo>
                  <a:pt x="300" y="114"/>
                </a:lnTo>
                <a:lnTo>
                  <a:pt x="300" y="120"/>
                </a:lnTo>
                <a:lnTo>
                  <a:pt x="300" y="120"/>
                </a:lnTo>
                <a:lnTo>
                  <a:pt x="300" y="120"/>
                </a:lnTo>
                <a:lnTo>
                  <a:pt x="300" y="126"/>
                </a:lnTo>
                <a:lnTo>
                  <a:pt x="300" y="126"/>
                </a:lnTo>
                <a:lnTo>
                  <a:pt x="300" y="126"/>
                </a:lnTo>
                <a:lnTo>
                  <a:pt x="306" y="126"/>
                </a:lnTo>
                <a:lnTo>
                  <a:pt x="306" y="126"/>
                </a:lnTo>
                <a:lnTo>
                  <a:pt x="306" y="132"/>
                </a:lnTo>
                <a:lnTo>
                  <a:pt x="306" y="132"/>
                </a:lnTo>
                <a:lnTo>
                  <a:pt x="306" y="132"/>
                </a:lnTo>
                <a:lnTo>
                  <a:pt x="306" y="132"/>
                </a:lnTo>
                <a:lnTo>
                  <a:pt x="306" y="138"/>
                </a:lnTo>
                <a:lnTo>
                  <a:pt x="300" y="138"/>
                </a:lnTo>
                <a:lnTo>
                  <a:pt x="300" y="138"/>
                </a:lnTo>
                <a:lnTo>
                  <a:pt x="300" y="138"/>
                </a:lnTo>
                <a:lnTo>
                  <a:pt x="300" y="138"/>
                </a:lnTo>
                <a:lnTo>
                  <a:pt x="300" y="138"/>
                </a:lnTo>
                <a:lnTo>
                  <a:pt x="300" y="138"/>
                </a:lnTo>
                <a:lnTo>
                  <a:pt x="300" y="144"/>
                </a:lnTo>
                <a:lnTo>
                  <a:pt x="300" y="144"/>
                </a:lnTo>
                <a:lnTo>
                  <a:pt x="300" y="144"/>
                </a:lnTo>
                <a:lnTo>
                  <a:pt x="294" y="144"/>
                </a:lnTo>
                <a:lnTo>
                  <a:pt x="294" y="144"/>
                </a:lnTo>
                <a:lnTo>
                  <a:pt x="294" y="144"/>
                </a:lnTo>
                <a:lnTo>
                  <a:pt x="294" y="144"/>
                </a:lnTo>
                <a:lnTo>
                  <a:pt x="294" y="144"/>
                </a:lnTo>
                <a:lnTo>
                  <a:pt x="294" y="144"/>
                </a:lnTo>
                <a:lnTo>
                  <a:pt x="294" y="150"/>
                </a:lnTo>
                <a:lnTo>
                  <a:pt x="294" y="150"/>
                </a:lnTo>
                <a:lnTo>
                  <a:pt x="294" y="150"/>
                </a:lnTo>
                <a:lnTo>
                  <a:pt x="294" y="150"/>
                </a:lnTo>
                <a:lnTo>
                  <a:pt x="294" y="150"/>
                </a:lnTo>
                <a:lnTo>
                  <a:pt x="294" y="150"/>
                </a:lnTo>
                <a:lnTo>
                  <a:pt x="288" y="150"/>
                </a:lnTo>
                <a:lnTo>
                  <a:pt x="288" y="150"/>
                </a:lnTo>
                <a:lnTo>
                  <a:pt x="288" y="150"/>
                </a:lnTo>
                <a:lnTo>
                  <a:pt x="282" y="150"/>
                </a:lnTo>
                <a:lnTo>
                  <a:pt x="282" y="156"/>
                </a:lnTo>
                <a:lnTo>
                  <a:pt x="282" y="180"/>
                </a:lnTo>
                <a:lnTo>
                  <a:pt x="282" y="180"/>
                </a:lnTo>
                <a:lnTo>
                  <a:pt x="282" y="180"/>
                </a:lnTo>
                <a:lnTo>
                  <a:pt x="282" y="180"/>
                </a:lnTo>
                <a:lnTo>
                  <a:pt x="282" y="180"/>
                </a:lnTo>
                <a:lnTo>
                  <a:pt x="276" y="180"/>
                </a:lnTo>
                <a:lnTo>
                  <a:pt x="276" y="180"/>
                </a:lnTo>
                <a:lnTo>
                  <a:pt x="276" y="180"/>
                </a:lnTo>
                <a:lnTo>
                  <a:pt x="276" y="180"/>
                </a:lnTo>
                <a:lnTo>
                  <a:pt x="276" y="180"/>
                </a:lnTo>
                <a:lnTo>
                  <a:pt x="276" y="180"/>
                </a:lnTo>
                <a:lnTo>
                  <a:pt x="270" y="180"/>
                </a:lnTo>
                <a:lnTo>
                  <a:pt x="270" y="180"/>
                </a:lnTo>
                <a:lnTo>
                  <a:pt x="270" y="186"/>
                </a:lnTo>
                <a:lnTo>
                  <a:pt x="270" y="186"/>
                </a:lnTo>
                <a:lnTo>
                  <a:pt x="270" y="186"/>
                </a:lnTo>
                <a:lnTo>
                  <a:pt x="264" y="186"/>
                </a:lnTo>
                <a:lnTo>
                  <a:pt x="264" y="186"/>
                </a:lnTo>
                <a:lnTo>
                  <a:pt x="264" y="186"/>
                </a:lnTo>
                <a:lnTo>
                  <a:pt x="264" y="186"/>
                </a:lnTo>
                <a:lnTo>
                  <a:pt x="264" y="186"/>
                </a:lnTo>
                <a:lnTo>
                  <a:pt x="258" y="192"/>
                </a:lnTo>
                <a:lnTo>
                  <a:pt x="258" y="192"/>
                </a:lnTo>
                <a:lnTo>
                  <a:pt x="258" y="192"/>
                </a:lnTo>
                <a:lnTo>
                  <a:pt x="258" y="192"/>
                </a:lnTo>
                <a:lnTo>
                  <a:pt x="258" y="192"/>
                </a:lnTo>
                <a:lnTo>
                  <a:pt x="258" y="192"/>
                </a:lnTo>
                <a:lnTo>
                  <a:pt x="258" y="192"/>
                </a:lnTo>
                <a:lnTo>
                  <a:pt x="258" y="192"/>
                </a:lnTo>
                <a:lnTo>
                  <a:pt x="252" y="192"/>
                </a:lnTo>
                <a:lnTo>
                  <a:pt x="252" y="192"/>
                </a:lnTo>
                <a:lnTo>
                  <a:pt x="252" y="198"/>
                </a:lnTo>
                <a:lnTo>
                  <a:pt x="252" y="198"/>
                </a:lnTo>
                <a:lnTo>
                  <a:pt x="252" y="198"/>
                </a:lnTo>
                <a:lnTo>
                  <a:pt x="252" y="198"/>
                </a:lnTo>
                <a:lnTo>
                  <a:pt x="252" y="198"/>
                </a:lnTo>
                <a:lnTo>
                  <a:pt x="252" y="198"/>
                </a:lnTo>
                <a:lnTo>
                  <a:pt x="252" y="198"/>
                </a:lnTo>
                <a:lnTo>
                  <a:pt x="252" y="198"/>
                </a:lnTo>
                <a:lnTo>
                  <a:pt x="246" y="198"/>
                </a:lnTo>
                <a:lnTo>
                  <a:pt x="252" y="198"/>
                </a:lnTo>
                <a:lnTo>
                  <a:pt x="252" y="198"/>
                </a:lnTo>
                <a:lnTo>
                  <a:pt x="252" y="198"/>
                </a:lnTo>
                <a:lnTo>
                  <a:pt x="252" y="198"/>
                </a:lnTo>
                <a:lnTo>
                  <a:pt x="252" y="198"/>
                </a:lnTo>
                <a:lnTo>
                  <a:pt x="252" y="198"/>
                </a:lnTo>
                <a:lnTo>
                  <a:pt x="246" y="204"/>
                </a:lnTo>
                <a:lnTo>
                  <a:pt x="246" y="204"/>
                </a:lnTo>
                <a:lnTo>
                  <a:pt x="246" y="204"/>
                </a:lnTo>
                <a:lnTo>
                  <a:pt x="246" y="204"/>
                </a:lnTo>
                <a:lnTo>
                  <a:pt x="246" y="204"/>
                </a:lnTo>
                <a:lnTo>
                  <a:pt x="246" y="204"/>
                </a:lnTo>
                <a:lnTo>
                  <a:pt x="246" y="210"/>
                </a:lnTo>
                <a:lnTo>
                  <a:pt x="246" y="210"/>
                </a:lnTo>
                <a:lnTo>
                  <a:pt x="246" y="210"/>
                </a:lnTo>
                <a:lnTo>
                  <a:pt x="246" y="210"/>
                </a:lnTo>
                <a:lnTo>
                  <a:pt x="240" y="210"/>
                </a:lnTo>
                <a:lnTo>
                  <a:pt x="240" y="216"/>
                </a:lnTo>
                <a:lnTo>
                  <a:pt x="240" y="216"/>
                </a:lnTo>
                <a:lnTo>
                  <a:pt x="240" y="216"/>
                </a:lnTo>
                <a:lnTo>
                  <a:pt x="240" y="216"/>
                </a:lnTo>
                <a:lnTo>
                  <a:pt x="240" y="216"/>
                </a:lnTo>
                <a:lnTo>
                  <a:pt x="240" y="216"/>
                </a:lnTo>
                <a:lnTo>
                  <a:pt x="240" y="216"/>
                </a:lnTo>
                <a:lnTo>
                  <a:pt x="240" y="216"/>
                </a:lnTo>
                <a:lnTo>
                  <a:pt x="234" y="222"/>
                </a:lnTo>
                <a:lnTo>
                  <a:pt x="234" y="222"/>
                </a:lnTo>
                <a:lnTo>
                  <a:pt x="234" y="222"/>
                </a:lnTo>
                <a:lnTo>
                  <a:pt x="234" y="222"/>
                </a:lnTo>
                <a:lnTo>
                  <a:pt x="234" y="222"/>
                </a:lnTo>
                <a:lnTo>
                  <a:pt x="234" y="222"/>
                </a:lnTo>
                <a:lnTo>
                  <a:pt x="234" y="222"/>
                </a:lnTo>
                <a:lnTo>
                  <a:pt x="234" y="222"/>
                </a:lnTo>
                <a:lnTo>
                  <a:pt x="228" y="222"/>
                </a:lnTo>
                <a:lnTo>
                  <a:pt x="228" y="222"/>
                </a:lnTo>
                <a:lnTo>
                  <a:pt x="228" y="222"/>
                </a:lnTo>
                <a:lnTo>
                  <a:pt x="228" y="222"/>
                </a:lnTo>
                <a:lnTo>
                  <a:pt x="228" y="222"/>
                </a:lnTo>
                <a:lnTo>
                  <a:pt x="228" y="222"/>
                </a:lnTo>
                <a:lnTo>
                  <a:pt x="228" y="222"/>
                </a:lnTo>
                <a:lnTo>
                  <a:pt x="222" y="222"/>
                </a:lnTo>
                <a:lnTo>
                  <a:pt x="222" y="222"/>
                </a:lnTo>
                <a:lnTo>
                  <a:pt x="222" y="222"/>
                </a:lnTo>
                <a:lnTo>
                  <a:pt x="222" y="222"/>
                </a:lnTo>
                <a:lnTo>
                  <a:pt x="222" y="216"/>
                </a:lnTo>
                <a:lnTo>
                  <a:pt x="222" y="216"/>
                </a:lnTo>
                <a:lnTo>
                  <a:pt x="222" y="216"/>
                </a:lnTo>
                <a:lnTo>
                  <a:pt x="222" y="216"/>
                </a:lnTo>
                <a:lnTo>
                  <a:pt x="222" y="216"/>
                </a:lnTo>
                <a:lnTo>
                  <a:pt x="222" y="216"/>
                </a:lnTo>
                <a:lnTo>
                  <a:pt x="222" y="216"/>
                </a:lnTo>
                <a:lnTo>
                  <a:pt x="216" y="216"/>
                </a:lnTo>
                <a:lnTo>
                  <a:pt x="216" y="216"/>
                </a:lnTo>
                <a:lnTo>
                  <a:pt x="216" y="216"/>
                </a:lnTo>
                <a:lnTo>
                  <a:pt x="216" y="216"/>
                </a:lnTo>
                <a:lnTo>
                  <a:pt x="216" y="216"/>
                </a:lnTo>
                <a:lnTo>
                  <a:pt x="216" y="216"/>
                </a:lnTo>
                <a:lnTo>
                  <a:pt x="216" y="216"/>
                </a:lnTo>
                <a:lnTo>
                  <a:pt x="216" y="216"/>
                </a:lnTo>
                <a:lnTo>
                  <a:pt x="216" y="216"/>
                </a:lnTo>
                <a:lnTo>
                  <a:pt x="216" y="216"/>
                </a:lnTo>
                <a:lnTo>
                  <a:pt x="216" y="216"/>
                </a:lnTo>
                <a:lnTo>
                  <a:pt x="216" y="216"/>
                </a:lnTo>
                <a:lnTo>
                  <a:pt x="216" y="216"/>
                </a:lnTo>
                <a:lnTo>
                  <a:pt x="216" y="216"/>
                </a:lnTo>
                <a:lnTo>
                  <a:pt x="210" y="216"/>
                </a:lnTo>
                <a:lnTo>
                  <a:pt x="210" y="216"/>
                </a:lnTo>
                <a:lnTo>
                  <a:pt x="210" y="216"/>
                </a:lnTo>
                <a:lnTo>
                  <a:pt x="210" y="216"/>
                </a:lnTo>
                <a:lnTo>
                  <a:pt x="204" y="216"/>
                </a:lnTo>
                <a:lnTo>
                  <a:pt x="204" y="216"/>
                </a:lnTo>
                <a:lnTo>
                  <a:pt x="204" y="216"/>
                </a:lnTo>
                <a:lnTo>
                  <a:pt x="204" y="216"/>
                </a:lnTo>
                <a:lnTo>
                  <a:pt x="204" y="216"/>
                </a:lnTo>
                <a:lnTo>
                  <a:pt x="204" y="216"/>
                </a:lnTo>
                <a:lnTo>
                  <a:pt x="204" y="216"/>
                </a:lnTo>
                <a:lnTo>
                  <a:pt x="204" y="216"/>
                </a:lnTo>
                <a:lnTo>
                  <a:pt x="204" y="216"/>
                </a:lnTo>
                <a:lnTo>
                  <a:pt x="204" y="216"/>
                </a:lnTo>
                <a:lnTo>
                  <a:pt x="204" y="216"/>
                </a:lnTo>
                <a:lnTo>
                  <a:pt x="204" y="216"/>
                </a:lnTo>
                <a:lnTo>
                  <a:pt x="204" y="216"/>
                </a:lnTo>
                <a:lnTo>
                  <a:pt x="204" y="222"/>
                </a:lnTo>
                <a:lnTo>
                  <a:pt x="198" y="222"/>
                </a:lnTo>
                <a:lnTo>
                  <a:pt x="198" y="222"/>
                </a:lnTo>
                <a:lnTo>
                  <a:pt x="198" y="222"/>
                </a:lnTo>
                <a:lnTo>
                  <a:pt x="198" y="222"/>
                </a:lnTo>
                <a:lnTo>
                  <a:pt x="198" y="222"/>
                </a:lnTo>
                <a:lnTo>
                  <a:pt x="198" y="222"/>
                </a:lnTo>
                <a:lnTo>
                  <a:pt x="198" y="222"/>
                </a:lnTo>
                <a:lnTo>
                  <a:pt x="198" y="222"/>
                </a:lnTo>
                <a:lnTo>
                  <a:pt x="198" y="222"/>
                </a:lnTo>
                <a:lnTo>
                  <a:pt x="198" y="222"/>
                </a:lnTo>
                <a:lnTo>
                  <a:pt x="198" y="222"/>
                </a:lnTo>
                <a:lnTo>
                  <a:pt x="198" y="222"/>
                </a:lnTo>
                <a:lnTo>
                  <a:pt x="192" y="222"/>
                </a:lnTo>
                <a:lnTo>
                  <a:pt x="192" y="222"/>
                </a:lnTo>
                <a:lnTo>
                  <a:pt x="192" y="228"/>
                </a:lnTo>
                <a:lnTo>
                  <a:pt x="192" y="228"/>
                </a:lnTo>
                <a:lnTo>
                  <a:pt x="192" y="228"/>
                </a:lnTo>
                <a:lnTo>
                  <a:pt x="192" y="228"/>
                </a:lnTo>
                <a:lnTo>
                  <a:pt x="192" y="228"/>
                </a:lnTo>
                <a:lnTo>
                  <a:pt x="192" y="228"/>
                </a:lnTo>
                <a:lnTo>
                  <a:pt x="186" y="228"/>
                </a:lnTo>
                <a:lnTo>
                  <a:pt x="186" y="228"/>
                </a:lnTo>
                <a:lnTo>
                  <a:pt x="186" y="228"/>
                </a:lnTo>
                <a:lnTo>
                  <a:pt x="186" y="228"/>
                </a:lnTo>
                <a:lnTo>
                  <a:pt x="186" y="228"/>
                </a:lnTo>
                <a:lnTo>
                  <a:pt x="186" y="228"/>
                </a:lnTo>
                <a:lnTo>
                  <a:pt x="186" y="228"/>
                </a:lnTo>
                <a:lnTo>
                  <a:pt x="180" y="228"/>
                </a:lnTo>
                <a:lnTo>
                  <a:pt x="180" y="228"/>
                </a:lnTo>
                <a:lnTo>
                  <a:pt x="180" y="228"/>
                </a:lnTo>
                <a:lnTo>
                  <a:pt x="180" y="228"/>
                </a:lnTo>
                <a:lnTo>
                  <a:pt x="180" y="234"/>
                </a:lnTo>
                <a:lnTo>
                  <a:pt x="180" y="228"/>
                </a:lnTo>
                <a:lnTo>
                  <a:pt x="180" y="228"/>
                </a:lnTo>
                <a:lnTo>
                  <a:pt x="180" y="228"/>
                </a:lnTo>
                <a:lnTo>
                  <a:pt x="180" y="228"/>
                </a:lnTo>
                <a:lnTo>
                  <a:pt x="174" y="228"/>
                </a:lnTo>
                <a:lnTo>
                  <a:pt x="174" y="228"/>
                </a:lnTo>
                <a:lnTo>
                  <a:pt x="174" y="228"/>
                </a:lnTo>
                <a:lnTo>
                  <a:pt x="174" y="228"/>
                </a:lnTo>
                <a:lnTo>
                  <a:pt x="174" y="228"/>
                </a:lnTo>
                <a:lnTo>
                  <a:pt x="174" y="228"/>
                </a:lnTo>
                <a:lnTo>
                  <a:pt x="174" y="228"/>
                </a:lnTo>
                <a:lnTo>
                  <a:pt x="174" y="228"/>
                </a:lnTo>
                <a:lnTo>
                  <a:pt x="174" y="228"/>
                </a:lnTo>
                <a:lnTo>
                  <a:pt x="174" y="228"/>
                </a:lnTo>
                <a:lnTo>
                  <a:pt x="168" y="228"/>
                </a:lnTo>
                <a:lnTo>
                  <a:pt x="168" y="228"/>
                </a:lnTo>
                <a:lnTo>
                  <a:pt x="168" y="228"/>
                </a:lnTo>
                <a:lnTo>
                  <a:pt x="168" y="228"/>
                </a:lnTo>
                <a:lnTo>
                  <a:pt x="168" y="228"/>
                </a:lnTo>
                <a:lnTo>
                  <a:pt x="168" y="228"/>
                </a:lnTo>
                <a:lnTo>
                  <a:pt x="168" y="228"/>
                </a:lnTo>
                <a:lnTo>
                  <a:pt x="168" y="228"/>
                </a:lnTo>
                <a:lnTo>
                  <a:pt x="168" y="228"/>
                </a:lnTo>
                <a:lnTo>
                  <a:pt x="168" y="228"/>
                </a:lnTo>
                <a:lnTo>
                  <a:pt x="168" y="228"/>
                </a:lnTo>
                <a:lnTo>
                  <a:pt x="168" y="234"/>
                </a:lnTo>
                <a:lnTo>
                  <a:pt x="162" y="234"/>
                </a:lnTo>
                <a:lnTo>
                  <a:pt x="162" y="234"/>
                </a:lnTo>
                <a:lnTo>
                  <a:pt x="156" y="234"/>
                </a:lnTo>
                <a:lnTo>
                  <a:pt x="156" y="234"/>
                </a:lnTo>
                <a:lnTo>
                  <a:pt x="156" y="234"/>
                </a:lnTo>
                <a:lnTo>
                  <a:pt x="156" y="234"/>
                </a:lnTo>
                <a:lnTo>
                  <a:pt x="156" y="234"/>
                </a:lnTo>
                <a:lnTo>
                  <a:pt x="156" y="234"/>
                </a:lnTo>
                <a:lnTo>
                  <a:pt x="150" y="234"/>
                </a:lnTo>
                <a:lnTo>
                  <a:pt x="150" y="240"/>
                </a:lnTo>
                <a:lnTo>
                  <a:pt x="150" y="234"/>
                </a:lnTo>
                <a:lnTo>
                  <a:pt x="144" y="240"/>
                </a:lnTo>
                <a:lnTo>
                  <a:pt x="144" y="234"/>
                </a:lnTo>
                <a:lnTo>
                  <a:pt x="144" y="234"/>
                </a:lnTo>
                <a:lnTo>
                  <a:pt x="144" y="234"/>
                </a:lnTo>
                <a:lnTo>
                  <a:pt x="144" y="234"/>
                </a:lnTo>
                <a:lnTo>
                  <a:pt x="138" y="234"/>
                </a:lnTo>
                <a:lnTo>
                  <a:pt x="138" y="234"/>
                </a:lnTo>
                <a:lnTo>
                  <a:pt x="138" y="234"/>
                </a:lnTo>
                <a:lnTo>
                  <a:pt x="138" y="234"/>
                </a:lnTo>
                <a:lnTo>
                  <a:pt x="138" y="234"/>
                </a:lnTo>
                <a:lnTo>
                  <a:pt x="132" y="234"/>
                </a:lnTo>
                <a:lnTo>
                  <a:pt x="132" y="234"/>
                </a:lnTo>
                <a:lnTo>
                  <a:pt x="132" y="234"/>
                </a:lnTo>
                <a:lnTo>
                  <a:pt x="132" y="234"/>
                </a:lnTo>
                <a:lnTo>
                  <a:pt x="132" y="234"/>
                </a:lnTo>
                <a:lnTo>
                  <a:pt x="132" y="234"/>
                </a:lnTo>
                <a:lnTo>
                  <a:pt x="132" y="234"/>
                </a:lnTo>
                <a:lnTo>
                  <a:pt x="126" y="234"/>
                </a:lnTo>
                <a:lnTo>
                  <a:pt x="126" y="234"/>
                </a:lnTo>
                <a:lnTo>
                  <a:pt x="126" y="240"/>
                </a:lnTo>
                <a:lnTo>
                  <a:pt x="126" y="240"/>
                </a:lnTo>
                <a:lnTo>
                  <a:pt x="126" y="240"/>
                </a:lnTo>
                <a:lnTo>
                  <a:pt x="126" y="240"/>
                </a:lnTo>
                <a:lnTo>
                  <a:pt x="120" y="252"/>
                </a:lnTo>
                <a:lnTo>
                  <a:pt x="120" y="270"/>
                </a:lnTo>
                <a:lnTo>
                  <a:pt x="114" y="270"/>
                </a:lnTo>
                <a:lnTo>
                  <a:pt x="114" y="270"/>
                </a:lnTo>
                <a:lnTo>
                  <a:pt x="114" y="264"/>
                </a:lnTo>
                <a:lnTo>
                  <a:pt x="108" y="264"/>
                </a:lnTo>
                <a:lnTo>
                  <a:pt x="108" y="270"/>
                </a:lnTo>
                <a:lnTo>
                  <a:pt x="108" y="270"/>
                </a:lnTo>
                <a:lnTo>
                  <a:pt x="102" y="264"/>
                </a:lnTo>
                <a:lnTo>
                  <a:pt x="102" y="264"/>
                </a:lnTo>
                <a:lnTo>
                  <a:pt x="102" y="264"/>
                </a:lnTo>
                <a:lnTo>
                  <a:pt x="96" y="264"/>
                </a:lnTo>
                <a:lnTo>
                  <a:pt x="96" y="264"/>
                </a:lnTo>
                <a:lnTo>
                  <a:pt x="96" y="270"/>
                </a:lnTo>
                <a:lnTo>
                  <a:pt x="96" y="270"/>
                </a:lnTo>
                <a:lnTo>
                  <a:pt x="96" y="270"/>
                </a:lnTo>
                <a:lnTo>
                  <a:pt x="90" y="270"/>
                </a:lnTo>
                <a:lnTo>
                  <a:pt x="90" y="270"/>
                </a:lnTo>
                <a:lnTo>
                  <a:pt x="90" y="270"/>
                </a:lnTo>
                <a:lnTo>
                  <a:pt x="90" y="270"/>
                </a:lnTo>
                <a:lnTo>
                  <a:pt x="84" y="270"/>
                </a:lnTo>
                <a:lnTo>
                  <a:pt x="84" y="276"/>
                </a:lnTo>
                <a:lnTo>
                  <a:pt x="84" y="276"/>
                </a:lnTo>
                <a:lnTo>
                  <a:pt x="84" y="276"/>
                </a:lnTo>
                <a:lnTo>
                  <a:pt x="78" y="276"/>
                </a:lnTo>
                <a:lnTo>
                  <a:pt x="78" y="276"/>
                </a:lnTo>
                <a:lnTo>
                  <a:pt x="78" y="282"/>
                </a:lnTo>
                <a:lnTo>
                  <a:pt x="78" y="282"/>
                </a:lnTo>
                <a:lnTo>
                  <a:pt x="78" y="282"/>
                </a:lnTo>
                <a:lnTo>
                  <a:pt x="78" y="282"/>
                </a:lnTo>
                <a:lnTo>
                  <a:pt x="72" y="288"/>
                </a:lnTo>
                <a:lnTo>
                  <a:pt x="72" y="288"/>
                </a:lnTo>
                <a:lnTo>
                  <a:pt x="66" y="282"/>
                </a:lnTo>
                <a:lnTo>
                  <a:pt x="66" y="282"/>
                </a:lnTo>
                <a:lnTo>
                  <a:pt x="66" y="288"/>
                </a:lnTo>
                <a:lnTo>
                  <a:pt x="66" y="288"/>
                </a:lnTo>
                <a:lnTo>
                  <a:pt x="66" y="288"/>
                </a:lnTo>
                <a:lnTo>
                  <a:pt x="66" y="288"/>
                </a:lnTo>
                <a:lnTo>
                  <a:pt x="66" y="288"/>
                </a:lnTo>
                <a:lnTo>
                  <a:pt x="60" y="288"/>
                </a:lnTo>
                <a:lnTo>
                  <a:pt x="60" y="288"/>
                </a:lnTo>
                <a:lnTo>
                  <a:pt x="60" y="294"/>
                </a:lnTo>
                <a:lnTo>
                  <a:pt x="60" y="294"/>
                </a:lnTo>
                <a:lnTo>
                  <a:pt x="60" y="294"/>
                </a:lnTo>
                <a:lnTo>
                  <a:pt x="60" y="294"/>
                </a:lnTo>
                <a:lnTo>
                  <a:pt x="60" y="294"/>
                </a:lnTo>
                <a:lnTo>
                  <a:pt x="60" y="294"/>
                </a:lnTo>
                <a:lnTo>
                  <a:pt x="60" y="294"/>
                </a:lnTo>
                <a:lnTo>
                  <a:pt x="54" y="294"/>
                </a:lnTo>
                <a:lnTo>
                  <a:pt x="54" y="288"/>
                </a:lnTo>
                <a:lnTo>
                  <a:pt x="54" y="288"/>
                </a:lnTo>
                <a:lnTo>
                  <a:pt x="54" y="288"/>
                </a:lnTo>
                <a:lnTo>
                  <a:pt x="54" y="282"/>
                </a:lnTo>
                <a:lnTo>
                  <a:pt x="54" y="282"/>
                </a:lnTo>
                <a:lnTo>
                  <a:pt x="54" y="282"/>
                </a:lnTo>
                <a:lnTo>
                  <a:pt x="54" y="282"/>
                </a:lnTo>
                <a:lnTo>
                  <a:pt x="48" y="282"/>
                </a:lnTo>
                <a:lnTo>
                  <a:pt x="48" y="282"/>
                </a:lnTo>
                <a:lnTo>
                  <a:pt x="48" y="282"/>
                </a:lnTo>
                <a:lnTo>
                  <a:pt x="42" y="276"/>
                </a:lnTo>
                <a:lnTo>
                  <a:pt x="42" y="276"/>
                </a:lnTo>
                <a:lnTo>
                  <a:pt x="42" y="276"/>
                </a:lnTo>
                <a:lnTo>
                  <a:pt x="42" y="282"/>
                </a:lnTo>
                <a:lnTo>
                  <a:pt x="42" y="282"/>
                </a:lnTo>
                <a:lnTo>
                  <a:pt x="36" y="282"/>
                </a:lnTo>
                <a:lnTo>
                  <a:pt x="36" y="276"/>
                </a:lnTo>
                <a:lnTo>
                  <a:pt x="36" y="276"/>
                </a:lnTo>
                <a:lnTo>
                  <a:pt x="36" y="276"/>
                </a:lnTo>
                <a:lnTo>
                  <a:pt x="36" y="276"/>
                </a:lnTo>
                <a:lnTo>
                  <a:pt x="36" y="270"/>
                </a:lnTo>
                <a:lnTo>
                  <a:pt x="36" y="270"/>
                </a:lnTo>
                <a:lnTo>
                  <a:pt x="30" y="270"/>
                </a:lnTo>
                <a:lnTo>
                  <a:pt x="30" y="270"/>
                </a:lnTo>
                <a:lnTo>
                  <a:pt x="30" y="270"/>
                </a:lnTo>
                <a:lnTo>
                  <a:pt x="30" y="264"/>
                </a:lnTo>
                <a:lnTo>
                  <a:pt x="24" y="264"/>
                </a:lnTo>
                <a:lnTo>
                  <a:pt x="24" y="270"/>
                </a:lnTo>
                <a:lnTo>
                  <a:pt x="24" y="270"/>
                </a:lnTo>
                <a:lnTo>
                  <a:pt x="24" y="264"/>
                </a:lnTo>
                <a:lnTo>
                  <a:pt x="24" y="264"/>
                </a:lnTo>
                <a:lnTo>
                  <a:pt x="18" y="270"/>
                </a:lnTo>
                <a:lnTo>
                  <a:pt x="18" y="270"/>
                </a:lnTo>
                <a:lnTo>
                  <a:pt x="18" y="270"/>
                </a:lnTo>
                <a:lnTo>
                  <a:pt x="12" y="264"/>
                </a:lnTo>
                <a:lnTo>
                  <a:pt x="12" y="264"/>
                </a:lnTo>
                <a:lnTo>
                  <a:pt x="12" y="264"/>
                </a:lnTo>
                <a:lnTo>
                  <a:pt x="6" y="264"/>
                </a:lnTo>
                <a:lnTo>
                  <a:pt x="6" y="264"/>
                </a:lnTo>
                <a:lnTo>
                  <a:pt x="6" y="264"/>
                </a:lnTo>
                <a:lnTo>
                  <a:pt x="6" y="264"/>
                </a:lnTo>
                <a:lnTo>
                  <a:pt x="6" y="264"/>
                </a:lnTo>
                <a:lnTo>
                  <a:pt x="6" y="264"/>
                </a:lnTo>
                <a:lnTo>
                  <a:pt x="6" y="258"/>
                </a:lnTo>
                <a:lnTo>
                  <a:pt x="6" y="258"/>
                </a:lnTo>
                <a:lnTo>
                  <a:pt x="6" y="258"/>
                </a:lnTo>
                <a:lnTo>
                  <a:pt x="6" y="258"/>
                </a:lnTo>
                <a:lnTo>
                  <a:pt x="6" y="258"/>
                </a:lnTo>
                <a:lnTo>
                  <a:pt x="6" y="252"/>
                </a:lnTo>
                <a:lnTo>
                  <a:pt x="0" y="252"/>
                </a:lnTo>
                <a:lnTo>
                  <a:pt x="6" y="252"/>
                </a:lnTo>
                <a:lnTo>
                  <a:pt x="6" y="252"/>
                </a:lnTo>
                <a:lnTo>
                  <a:pt x="6" y="246"/>
                </a:lnTo>
                <a:lnTo>
                  <a:pt x="6" y="246"/>
                </a:lnTo>
                <a:lnTo>
                  <a:pt x="6" y="246"/>
                </a:lnTo>
                <a:lnTo>
                  <a:pt x="6" y="246"/>
                </a:lnTo>
                <a:lnTo>
                  <a:pt x="6" y="246"/>
                </a:lnTo>
                <a:lnTo>
                  <a:pt x="6" y="240"/>
                </a:lnTo>
                <a:lnTo>
                  <a:pt x="6" y="240"/>
                </a:lnTo>
                <a:lnTo>
                  <a:pt x="6" y="234"/>
                </a:lnTo>
                <a:lnTo>
                  <a:pt x="6" y="234"/>
                </a:lnTo>
                <a:lnTo>
                  <a:pt x="6" y="234"/>
                </a:lnTo>
                <a:lnTo>
                  <a:pt x="12" y="234"/>
                </a:lnTo>
                <a:lnTo>
                  <a:pt x="12" y="234"/>
                </a:lnTo>
                <a:lnTo>
                  <a:pt x="6" y="228"/>
                </a:lnTo>
                <a:lnTo>
                  <a:pt x="6" y="228"/>
                </a:lnTo>
                <a:lnTo>
                  <a:pt x="12" y="228"/>
                </a:lnTo>
                <a:lnTo>
                  <a:pt x="12" y="228"/>
                </a:lnTo>
                <a:lnTo>
                  <a:pt x="12" y="228"/>
                </a:lnTo>
                <a:lnTo>
                  <a:pt x="12" y="222"/>
                </a:lnTo>
                <a:lnTo>
                  <a:pt x="12" y="222"/>
                </a:lnTo>
                <a:lnTo>
                  <a:pt x="12" y="222"/>
                </a:lnTo>
                <a:lnTo>
                  <a:pt x="12" y="222"/>
                </a:lnTo>
                <a:lnTo>
                  <a:pt x="12" y="222"/>
                </a:lnTo>
                <a:lnTo>
                  <a:pt x="12" y="222"/>
                </a:lnTo>
                <a:lnTo>
                  <a:pt x="12" y="216"/>
                </a:lnTo>
                <a:lnTo>
                  <a:pt x="12" y="216"/>
                </a:lnTo>
                <a:lnTo>
                  <a:pt x="12" y="216"/>
                </a:lnTo>
                <a:lnTo>
                  <a:pt x="12" y="216"/>
                </a:lnTo>
                <a:lnTo>
                  <a:pt x="12" y="216"/>
                </a:lnTo>
                <a:lnTo>
                  <a:pt x="12" y="216"/>
                </a:lnTo>
                <a:lnTo>
                  <a:pt x="18" y="210"/>
                </a:lnTo>
                <a:lnTo>
                  <a:pt x="18" y="210"/>
                </a:lnTo>
                <a:lnTo>
                  <a:pt x="18" y="210"/>
                </a:lnTo>
                <a:lnTo>
                  <a:pt x="18" y="210"/>
                </a:lnTo>
                <a:lnTo>
                  <a:pt x="18" y="210"/>
                </a:lnTo>
                <a:lnTo>
                  <a:pt x="18" y="210"/>
                </a:lnTo>
                <a:lnTo>
                  <a:pt x="18" y="210"/>
                </a:lnTo>
                <a:lnTo>
                  <a:pt x="24" y="210"/>
                </a:lnTo>
                <a:lnTo>
                  <a:pt x="24" y="204"/>
                </a:lnTo>
                <a:lnTo>
                  <a:pt x="24" y="204"/>
                </a:lnTo>
                <a:lnTo>
                  <a:pt x="24" y="204"/>
                </a:lnTo>
                <a:lnTo>
                  <a:pt x="24" y="204"/>
                </a:lnTo>
                <a:lnTo>
                  <a:pt x="18" y="204"/>
                </a:lnTo>
                <a:lnTo>
                  <a:pt x="18" y="204"/>
                </a:lnTo>
                <a:lnTo>
                  <a:pt x="12" y="204"/>
                </a:lnTo>
                <a:lnTo>
                  <a:pt x="12" y="204"/>
                </a:lnTo>
                <a:lnTo>
                  <a:pt x="12" y="204"/>
                </a:lnTo>
                <a:lnTo>
                  <a:pt x="12" y="198"/>
                </a:lnTo>
                <a:lnTo>
                  <a:pt x="12" y="198"/>
                </a:lnTo>
                <a:lnTo>
                  <a:pt x="12" y="198"/>
                </a:lnTo>
                <a:lnTo>
                  <a:pt x="12" y="198"/>
                </a:lnTo>
                <a:lnTo>
                  <a:pt x="12" y="198"/>
                </a:lnTo>
                <a:lnTo>
                  <a:pt x="12" y="198"/>
                </a:lnTo>
                <a:lnTo>
                  <a:pt x="12" y="192"/>
                </a:lnTo>
                <a:lnTo>
                  <a:pt x="12" y="192"/>
                </a:lnTo>
                <a:lnTo>
                  <a:pt x="12" y="192"/>
                </a:lnTo>
                <a:lnTo>
                  <a:pt x="12" y="186"/>
                </a:lnTo>
                <a:lnTo>
                  <a:pt x="6" y="186"/>
                </a:lnTo>
                <a:lnTo>
                  <a:pt x="12" y="186"/>
                </a:lnTo>
                <a:lnTo>
                  <a:pt x="12" y="186"/>
                </a:lnTo>
                <a:lnTo>
                  <a:pt x="6" y="180"/>
                </a:lnTo>
                <a:lnTo>
                  <a:pt x="6" y="180"/>
                </a:lnTo>
                <a:lnTo>
                  <a:pt x="6" y="180"/>
                </a:lnTo>
                <a:lnTo>
                  <a:pt x="6" y="180"/>
                </a:lnTo>
                <a:lnTo>
                  <a:pt x="6" y="174"/>
                </a:lnTo>
                <a:lnTo>
                  <a:pt x="6" y="174"/>
                </a:lnTo>
                <a:lnTo>
                  <a:pt x="6" y="174"/>
                </a:lnTo>
                <a:lnTo>
                  <a:pt x="6" y="174"/>
                </a:lnTo>
                <a:lnTo>
                  <a:pt x="6" y="174"/>
                </a:lnTo>
                <a:lnTo>
                  <a:pt x="0" y="174"/>
                </a:lnTo>
                <a:lnTo>
                  <a:pt x="0" y="16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41" name="Freeform 74"/>
          <p:cNvSpPr>
            <a:spLocks/>
          </p:cNvSpPr>
          <p:nvPr/>
        </p:nvSpPr>
        <p:spPr bwMode="auto">
          <a:xfrm>
            <a:off x="7468563" y="1430460"/>
            <a:ext cx="141329" cy="128482"/>
          </a:xfrm>
          <a:custGeom>
            <a:avLst/>
            <a:gdLst>
              <a:gd name="T0" fmla="*/ 18 w 132"/>
              <a:gd name="T1" fmla="*/ 78 h 120"/>
              <a:gd name="T2" fmla="*/ 18 w 132"/>
              <a:gd name="T3" fmla="*/ 60 h 120"/>
              <a:gd name="T4" fmla="*/ 24 w 132"/>
              <a:gd name="T5" fmla="*/ 60 h 120"/>
              <a:gd name="T6" fmla="*/ 24 w 132"/>
              <a:gd name="T7" fmla="*/ 54 h 120"/>
              <a:gd name="T8" fmla="*/ 30 w 132"/>
              <a:gd name="T9" fmla="*/ 54 h 120"/>
              <a:gd name="T10" fmla="*/ 36 w 132"/>
              <a:gd name="T11" fmla="*/ 54 h 120"/>
              <a:gd name="T12" fmla="*/ 42 w 132"/>
              <a:gd name="T13" fmla="*/ 54 h 120"/>
              <a:gd name="T14" fmla="*/ 48 w 132"/>
              <a:gd name="T15" fmla="*/ 48 h 120"/>
              <a:gd name="T16" fmla="*/ 54 w 132"/>
              <a:gd name="T17" fmla="*/ 48 h 120"/>
              <a:gd name="T18" fmla="*/ 60 w 132"/>
              <a:gd name="T19" fmla="*/ 42 h 120"/>
              <a:gd name="T20" fmla="*/ 72 w 132"/>
              <a:gd name="T21" fmla="*/ 30 h 120"/>
              <a:gd name="T22" fmla="*/ 78 w 132"/>
              <a:gd name="T23" fmla="*/ 24 h 120"/>
              <a:gd name="T24" fmla="*/ 90 w 132"/>
              <a:gd name="T25" fmla="*/ 12 h 120"/>
              <a:gd name="T26" fmla="*/ 96 w 132"/>
              <a:gd name="T27" fmla="*/ 0 h 120"/>
              <a:gd name="T28" fmla="*/ 102 w 132"/>
              <a:gd name="T29" fmla="*/ 0 h 120"/>
              <a:gd name="T30" fmla="*/ 108 w 132"/>
              <a:gd name="T31" fmla="*/ 0 h 120"/>
              <a:gd name="T32" fmla="*/ 108 w 132"/>
              <a:gd name="T33" fmla="*/ 0 h 120"/>
              <a:gd name="T34" fmla="*/ 108 w 132"/>
              <a:gd name="T35" fmla="*/ 6 h 120"/>
              <a:gd name="T36" fmla="*/ 108 w 132"/>
              <a:gd name="T37" fmla="*/ 6 h 120"/>
              <a:gd name="T38" fmla="*/ 108 w 132"/>
              <a:gd name="T39" fmla="*/ 12 h 120"/>
              <a:gd name="T40" fmla="*/ 108 w 132"/>
              <a:gd name="T41" fmla="*/ 12 h 120"/>
              <a:gd name="T42" fmla="*/ 114 w 132"/>
              <a:gd name="T43" fmla="*/ 12 h 120"/>
              <a:gd name="T44" fmla="*/ 114 w 132"/>
              <a:gd name="T45" fmla="*/ 18 h 120"/>
              <a:gd name="T46" fmla="*/ 114 w 132"/>
              <a:gd name="T47" fmla="*/ 18 h 120"/>
              <a:gd name="T48" fmla="*/ 114 w 132"/>
              <a:gd name="T49" fmla="*/ 18 h 120"/>
              <a:gd name="T50" fmla="*/ 114 w 132"/>
              <a:gd name="T51" fmla="*/ 24 h 120"/>
              <a:gd name="T52" fmla="*/ 114 w 132"/>
              <a:gd name="T53" fmla="*/ 24 h 120"/>
              <a:gd name="T54" fmla="*/ 114 w 132"/>
              <a:gd name="T55" fmla="*/ 24 h 120"/>
              <a:gd name="T56" fmla="*/ 114 w 132"/>
              <a:gd name="T57" fmla="*/ 24 h 120"/>
              <a:gd name="T58" fmla="*/ 114 w 132"/>
              <a:gd name="T59" fmla="*/ 24 h 120"/>
              <a:gd name="T60" fmla="*/ 114 w 132"/>
              <a:gd name="T61" fmla="*/ 24 h 120"/>
              <a:gd name="T62" fmla="*/ 114 w 132"/>
              <a:gd name="T63" fmla="*/ 30 h 120"/>
              <a:gd name="T64" fmla="*/ 114 w 132"/>
              <a:gd name="T65" fmla="*/ 30 h 120"/>
              <a:gd name="T66" fmla="*/ 114 w 132"/>
              <a:gd name="T67" fmla="*/ 30 h 120"/>
              <a:gd name="T68" fmla="*/ 114 w 132"/>
              <a:gd name="T69" fmla="*/ 30 h 120"/>
              <a:gd name="T70" fmla="*/ 114 w 132"/>
              <a:gd name="T71" fmla="*/ 30 h 120"/>
              <a:gd name="T72" fmla="*/ 114 w 132"/>
              <a:gd name="T73" fmla="*/ 30 h 120"/>
              <a:gd name="T74" fmla="*/ 114 w 132"/>
              <a:gd name="T75" fmla="*/ 30 h 120"/>
              <a:gd name="T76" fmla="*/ 114 w 132"/>
              <a:gd name="T77" fmla="*/ 36 h 120"/>
              <a:gd name="T78" fmla="*/ 114 w 132"/>
              <a:gd name="T79" fmla="*/ 36 h 120"/>
              <a:gd name="T80" fmla="*/ 108 w 132"/>
              <a:gd name="T81" fmla="*/ 36 h 120"/>
              <a:gd name="T82" fmla="*/ 108 w 132"/>
              <a:gd name="T83" fmla="*/ 36 h 120"/>
              <a:gd name="T84" fmla="*/ 108 w 132"/>
              <a:gd name="T85" fmla="*/ 36 h 120"/>
              <a:gd name="T86" fmla="*/ 132 w 132"/>
              <a:gd name="T87" fmla="*/ 102 h 120"/>
              <a:gd name="T88" fmla="*/ 102 w 132"/>
              <a:gd name="T89" fmla="*/ 120 h 120"/>
              <a:gd name="T90" fmla="*/ 102 w 132"/>
              <a:gd name="T91" fmla="*/ 120 h 120"/>
              <a:gd name="T92" fmla="*/ 102 w 132"/>
              <a:gd name="T93" fmla="*/ 114 h 120"/>
              <a:gd name="T94" fmla="*/ 102 w 132"/>
              <a:gd name="T95" fmla="*/ 114 h 120"/>
              <a:gd name="T96" fmla="*/ 102 w 132"/>
              <a:gd name="T97" fmla="*/ 108 h 120"/>
              <a:gd name="T98" fmla="*/ 60 w 132"/>
              <a:gd name="T99" fmla="*/ 120 h 120"/>
              <a:gd name="T100" fmla="*/ 18 w 132"/>
              <a:gd name="T101" fmla="*/ 120 h 120"/>
              <a:gd name="T102" fmla="*/ 24 w 132"/>
              <a:gd name="T103" fmla="*/ 120 h 120"/>
              <a:gd name="T104" fmla="*/ 24 w 132"/>
              <a:gd name="T105" fmla="*/ 114 h 120"/>
              <a:gd name="T106" fmla="*/ 24 w 132"/>
              <a:gd name="T107" fmla="*/ 114 h 120"/>
              <a:gd name="T108" fmla="*/ 6 w 132"/>
              <a:gd name="T109" fmla="*/ 96 h 120"/>
              <a:gd name="T110" fmla="*/ 6 w 132"/>
              <a:gd name="T111" fmla="*/ 96 h 120"/>
              <a:gd name="T112" fmla="*/ 0 w 132"/>
              <a:gd name="T113" fmla="*/ 90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32" h="120">
                <a:moveTo>
                  <a:pt x="0" y="90"/>
                </a:moveTo>
                <a:lnTo>
                  <a:pt x="12" y="84"/>
                </a:lnTo>
                <a:lnTo>
                  <a:pt x="18" y="78"/>
                </a:lnTo>
                <a:lnTo>
                  <a:pt x="18" y="78"/>
                </a:lnTo>
                <a:lnTo>
                  <a:pt x="18" y="72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24" y="60"/>
                </a:lnTo>
                <a:lnTo>
                  <a:pt x="24" y="60"/>
                </a:lnTo>
                <a:lnTo>
                  <a:pt x="24" y="54"/>
                </a:lnTo>
                <a:lnTo>
                  <a:pt x="24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42" y="54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60" y="48"/>
                </a:lnTo>
                <a:lnTo>
                  <a:pt x="60" y="42"/>
                </a:lnTo>
                <a:lnTo>
                  <a:pt x="60" y="42"/>
                </a:lnTo>
                <a:lnTo>
                  <a:pt x="66" y="36"/>
                </a:lnTo>
                <a:lnTo>
                  <a:pt x="66" y="36"/>
                </a:lnTo>
                <a:lnTo>
                  <a:pt x="72" y="30"/>
                </a:lnTo>
                <a:lnTo>
                  <a:pt x="72" y="30"/>
                </a:lnTo>
                <a:lnTo>
                  <a:pt x="78" y="30"/>
                </a:lnTo>
                <a:lnTo>
                  <a:pt x="78" y="24"/>
                </a:lnTo>
                <a:lnTo>
                  <a:pt x="84" y="18"/>
                </a:lnTo>
                <a:lnTo>
                  <a:pt x="90" y="12"/>
                </a:lnTo>
                <a:lnTo>
                  <a:pt x="90" y="12"/>
                </a:lnTo>
                <a:lnTo>
                  <a:pt x="90" y="6"/>
                </a:lnTo>
                <a:lnTo>
                  <a:pt x="96" y="6"/>
                </a:lnTo>
                <a:lnTo>
                  <a:pt x="96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26" y="78"/>
                </a:lnTo>
                <a:lnTo>
                  <a:pt x="132" y="90"/>
                </a:lnTo>
                <a:lnTo>
                  <a:pt x="132" y="102"/>
                </a:lnTo>
                <a:lnTo>
                  <a:pt x="132" y="102"/>
                </a:lnTo>
                <a:lnTo>
                  <a:pt x="126" y="108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08"/>
                </a:lnTo>
                <a:lnTo>
                  <a:pt x="108" y="108"/>
                </a:lnTo>
                <a:lnTo>
                  <a:pt x="72" y="120"/>
                </a:lnTo>
                <a:lnTo>
                  <a:pt x="60" y="120"/>
                </a:lnTo>
                <a:lnTo>
                  <a:pt x="60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14"/>
                </a:lnTo>
                <a:lnTo>
                  <a:pt x="24" y="114"/>
                </a:lnTo>
                <a:lnTo>
                  <a:pt x="18" y="114"/>
                </a:lnTo>
                <a:lnTo>
                  <a:pt x="24" y="114"/>
                </a:lnTo>
                <a:lnTo>
                  <a:pt x="24" y="108"/>
                </a:lnTo>
                <a:lnTo>
                  <a:pt x="12" y="102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0"/>
                </a:lnTo>
                <a:lnTo>
                  <a:pt x="0" y="9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42" name="Freeform 75"/>
          <p:cNvSpPr>
            <a:spLocks/>
          </p:cNvSpPr>
          <p:nvPr/>
        </p:nvSpPr>
        <p:spPr bwMode="auto">
          <a:xfrm>
            <a:off x="7359354" y="1616759"/>
            <a:ext cx="141329" cy="211995"/>
          </a:xfrm>
          <a:custGeom>
            <a:avLst/>
            <a:gdLst>
              <a:gd name="T0" fmla="*/ 0 w 132"/>
              <a:gd name="T1" fmla="*/ 60 h 198"/>
              <a:gd name="T2" fmla="*/ 0 w 132"/>
              <a:gd name="T3" fmla="*/ 60 h 198"/>
              <a:gd name="T4" fmla="*/ 6 w 132"/>
              <a:gd name="T5" fmla="*/ 54 h 198"/>
              <a:gd name="T6" fmla="*/ 6 w 132"/>
              <a:gd name="T7" fmla="*/ 54 h 198"/>
              <a:gd name="T8" fmla="*/ 6 w 132"/>
              <a:gd name="T9" fmla="*/ 48 h 198"/>
              <a:gd name="T10" fmla="*/ 6 w 132"/>
              <a:gd name="T11" fmla="*/ 48 h 198"/>
              <a:gd name="T12" fmla="*/ 6 w 132"/>
              <a:gd name="T13" fmla="*/ 42 h 198"/>
              <a:gd name="T14" fmla="*/ 6 w 132"/>
              <a:gd name="T15" fmla="*/ 36 h 198"/>
              <a:gd name="T16" fmla="*/ 6 w 132"/>
              <a:gd name="T17" fmla="*/ 30 h 198"/>
              <a:gd name="T18" fmla="*/ 0 w 132"/>
              <a:gd name="T19" fmla="*/ 24 h 198"/>
              <a:gd name="T20" fmla="*/ 6 w 132"/>
              <a:gd name="T21" fmla="*/ 18 h 198"/>
              <a:gd name="T22" fmla="*/ 12 w 132"/>
              <a:gd name="T23" fmla="*/ 12 h 198"/>
              <a:gd name="T24" fmla="*/ 18 w 132"/>
              <a:gd name="T25" fmla="*/ 12 h 198"/>
              <a:gd name="T26" fmla="*/ 18 w 132"/>
              <a:gd name="T27" fmla="*/ 12 h 198"/>
              <a:gd name="T28" fmla="*/ 30 w 132"/>
              <a:gd name="T29" fmla="*/ 6 h 198"/>
              <a:gd name="T30" fmla="*/ 30 w 132"/>
              <a:gd name="T31" fmla="*/ 6 h 198"/>
              <a:gd name="T32" fmla="*/ 36 w 132"/>
              <a:gd name="T33" fmla="*/ 6 h 198"/>
              <a:gd name="T34" fmla="*/ 42 w 132"/>
              <a:gd name="T35" fmla="*/ 6 h 198"/>
              <a:gd name="T36" fmla="*/ 96 w 132"/>
              <a:gd name="T37" fmla="*/ 24 h 198"/>
              <a:gd name="T38" fmla="*/ 114 w 132"/>
              <a:gd name="T39" fmla="*/ 30 h 198"/>
              <a:gd name="T40" fmla="*/ 120 w 132"/>
              <a:gd name="T41" fmla="*/ 30 h 198"/>
              <a:gd name="T42" fmla="*/ 120 w 132"/>
              <a:gd name="T43" fmla="*/ 30 h 198"/>
              <a:gd name="T44" fmla="*/ 126 w 132"/>
              <a:gd name="T45" fmla="*/ 30 h 198"/>
              <a:gd name="T46" fmla="*/ 132 w 132"/>
              <a:gd name="T47" fmla="*/ 24 h 198"/>
              <a:gd name="T48" fmla="*/ 132 w 132"/>
              <a:gd name="T49" fmla="*/ 24 h 198"/>
              <a:gd name="T50" fmla="*/ 132 w 132"/>
              <a:gd name="T51" fmla="*/ 36 h 198"/>
              <a:gd name="T52" fmla="*/ 126 w 132"/>
              <a:gd name="T53" fmla="*/ 42 h 198"/>
              <a:gd name="T54" fmla="*/ 114 w 132"/>
              <a:gd name="T55" fmla="*/ 54 h 198"/>
              <a:gd name="T56" fmla="*/ 120 w 132"/>
              <a:gd name="T57" fmla="*/ 54 h 198"/>
              <a:gd name="T58" fmla="*/ 120 w 132"/>
              <a:gd name="T59" fmla="*/ 96 h 198"/>
              <a:gd name="T60" fmla="*/ 126 w 132"/>
              <a:gd name="T61" fmla="*/ 120 h 198"/>
              <a:gd name="T62" fmla="*/ 126 w 132"/>
              <a:gd name="T63" fmla="*/ 126 h 198"/>
              <a:gd name="T64" fmla="*/ 126 w 132"/>
              <a:gd name="T65" fmla="*/ 138 h 198"/>
              <a:gd name="T66" fmla="*/ 132 w 132"/>
              <a:gd name="T67" fmla="*/ 150 h 198"/>
              <a:gd name="T68" fmla="*/ 126 w 132"/>
              <a:gd name="T69" fmla="*/ 162 h 198"/>
              <a:gd name="T70" fmla="*/ 108 w 132"/>
              <a:gd name="T71" fmla="*/ 168 h 198"/>
              <a:gd name="T72" fmla="*/ 90 w 132"/>
              <a:gd name="T73" fmla="*/ 156 h 198"/>
              <a:gd name="T74" fmla="*/ 84 w 132"/>
              <a:gd name="T75" fmla="*/ 156 h 198"/>
              <a:gd name="T76" fmla="*/ 78 w 132"/>
              <a:gd name="T77" fmla="*/ 162 h 198"/>
              <a:gd name="T78" fmla="*/ 72 w 132"/>
              <a:gd name="T79" fmla="*/ 162 h 198"/>
              <a:gd name="T80" fmla="*/ 60 w 132"/>
              <a:gd name="T81" fmla="*/ 162 h 198"/>
              <a:gd name="T82" fmla="*/ 60 w 132"/>
              <a:gd name="T83" fmla="*/ 168 h 198"/>
              <a:gd name="T84" fmla="*/ 54 w 132"/>
              <a:gd name="T85" fmla="*/ 174 h 198"/>
              <a:gd name="T86" fmla="*/ 54 w 132"/>
              <a:gd name="T87" fmla="*/ 174 h 198"/>
              <a:gd name="T88" fmla="*/ 54 w 132"/>
              <a:gd name="T89" fmla="*/ 180 h 198"/>
              <a:gd name="T90" fmla="*/ 48 w 132"/>
              <a:gd name="T91" fmla="*/ 186 h 198"/>
              <a:gd name="T92" fmla="*/ 48 w 132"/>
              <a:gd name="T93" fmla="*/ 192 h 198"/>
              <a:gd name="T94" fmla="*/ 48 w 132"/>
              <a:gd name="T95" fmla="*/ 192 h 198"/>
              <a:gd name="T96" fmla="*/ 12 w 132"/>
              <a:gd name="T97" fmla="*/ 174 h 198"/>
              <a:gd name="T98" fmla="*/ 30 w 132"/>
              <a:gd name="T99" fmla="*/ 168 h 198"/>
              <a:gd name="T100" fmla="*/ 42 w 132"/>
              <a:gd name="T101" fmla="*/ 144 h 198"/>
              <a:gd name="T102" fmla="*/ 36 w 132"/>
              <a:gd name="T103" fmla="*/ 120 h 198"/>
              <a:gd name="T104" fmla="*/ 36 w 132"/>
              <a:gd name="T105" fmla="*/ 102 h 198"/>
              <a:gd name="T106" fmla="*/ 36 w 132"/>
              <a:gd name="T107" fmla="*/ 102 h 198"/>
              <a:gd name="T108" fmla="*/ 36 w 132"/>
              <a:gd name="T109" fmla="*/ 96 h 198"/>
              <a:gd name="T110" fmla="*/ 30 w 132"/>
              <a:gd name="T111" fmla="*/ 90 h 198"/>
              <a:gd name="T112" fmla="*/ 0 w 132"/>
              <a:gd name="T113" fmla="*/ 66 h 1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32" h="198">
                <a:moveTo>
                  <a:pt x="0" y="66"/>
                </a:move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0" y="30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0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12"/>
                </a:lnTo>
                <a:lnTo>
                  <a:pt x="54" y="30"/>
                </a:lnTo>
                <a:lnTo>
                  <a:pt x="48" y="30"/>
                </a:lnTo>
                <a:lnTo>
                  <a:pt x="42" y="30"/>
                </a:lnTo>
                <a:lnTo>
                  <a:pt x="60" y="36"/>
                </a:lnTo>
                <a:lnTo>
                  <a:pt x="66" y="36"/>
                </a:lnTo>
                <a:lnTo>
                  <a:pt x="60" y="30"/>
                </a:lnTo>
                <a:lnTo>
                  <a:pt x="96" y="24"/>
                </a:lnTo>
                <a:lnTo>
                  <a:pt x="96" y="24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108" y="18"/>
                </a:lnTo>
                <a:lnTo>
                  <a:pt x="114" y="24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6" y="30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26" y="30"/>
                </a:lnTo>
                <a:lnTo>
                  <a:pt x="126" y="30"/>
                </a:lnTo>
                <a:lnTo>
                  <a:pt x="132" y="30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20" y="54"/>
                </a:lnTo>
                <a:lnTo>
                  <a:pt x="114" y="54"/>
                </a:lnTo>
                <a:lnTo>
                  <a:pt x="120" y="54"/>
                </a:lnTo>
                <a:lnTo>
                  <a:pt x="114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6"/>
                </a:lnTo>
                <a:lnTo>
                  <a:pt x="114" y="78"/>
                </a:lnTo>
                <a:lnTo>
                  <a:pt x="126" y="84"/>
                </a:lnTo>
                <a:lnTo>
                  <a:pt x="126" y="84"/>
                </a:lnTo>
                <a:lnTo>
                  <a:pt x="120" y="96"/>
                </a:lnTo>
                <a:lnTo>
                  <a:pt x="120" y="102"/>
                </a:lnTo>
                <a:lnTo>
                  <a:pt x="132" y="114"/>
                </a:lnTo>
                <a:lnTo>
                  <a:pt x="132" y="114"/>
                </a:lnTo>
                <a:lnTo>
                  <a:pt x="132" y="114"/>
                </a:lnTo>
                <a:lnTo>
                  <a:pt x="132" y="114"/>
                </a:lnTo>
                <a:lnTo>
                  <a:pt x="132" y="114"/>
                </a:lnTo>
                <a:lnTo>
                  <a:pt x="126" y="114"/>
                </a:lnTo>
                <a:lnTo>
                  <a:pt x="126" y="114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0" y="120"/>
                </a:lnTo>
                <a:lnTo>
                  <a:pt x="126" y="120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0" y="132"/>
                </a:lnTo>
                <a:lnTo>
                  <a:pt x="120" y="132"/>
                </a:lnTo>
                <a:lnTo>
                  <a:pt x="120" y="132"/>
                </a:lnTo>
                <a:lnTo>
                  <a:pt x="120" y="132"/>
                </a:lnTo>
                <a:lnTo>
                  <a:pt x="120" y="138"/>
                </a:lnTo>
                <a:lnTo>
                  <a:pt x="126" y="138"/>
                </a:lnTo>
                <a:lnTo>
                  <a:pt x="126" y="138"/>
                </a:lnTo>
                <a:lnTo>
                  <a:pt x="126" y="138"/>
                </a:lnTo>
                <a:lnTo>
                  <a:pt x="126" y="138"/>
                </a:lnTo>
                <a:lnTo>
                  <a:pt x="126" y="138"/>
                </a:lnTo>
                <a:lnTo>
                  <a:pt x="126" y="138"/>
                </a:lnTo>
                <a:lnTo>
                  <a:pt x="132" y="144"/>
                </a:lnTo>
                <a:lnTo>
                  <a:pt x="132" y="144"/>
                </a:lnTo>
                <a:lnTo>
                  <a:pt x="132" y="144"/>
                </a:lnTo>
                <a:lnTo>
                  <a:pt x="132" y="144"/>
                </a:lnTo>
                <a:lnTo>
                  <a:pt x="132" y="150"/>
                </a:lnTo>
                <a:lnTo>
                  <a:pt x="132" y="150"/>
                </a:lnTo>
                <a:lnTo>
                  <a:pt x="132" y="150"/>
                </a:lnTo>
                <a:lnTo>
                  <a:pt x="132" y="150"/>
                </a:lnTo>
                <a:lnTo>
                  <a:pt x="132" y="150"/>
                </a:lnTo>
                <a:lnTo>
                  <a:pt x="132" y="150"/>
                </a:lnTo>
                <a:lnTo>
                  <a:pt x="132" y="156"/>
                </a:lnTo>
                <a:lnTo>
                  <a:pt x="132" y="156"/>
                </a:lnTo>
                <a:lnTo>
                  <a:pt x="132" y="156"/>
                </a:lnTo>
                <a:lnTo>
                  <a:pt x="126" y="156"/>
                </a:lnTo>
                <a:lnTo>
                  <a:pt x="126" y="162"/>
                </a:lnTo>
                <a:lnTo>
                  <a:pt x="126" y="162"/>
                </a:lnTo>
                <a:lnTo>
                  <a:pt x="126" y="162"/>
                </a:lnTo>
                <a:lnTo>
                  <a:pt x="126" y="162"/>
                </a:lnTo>
                <a:lnTo>
                  <a:pt x="126" y="162"/>
                </a:lnTo>
                <a:lnTo>
                  <a:pt x="120" y="162"/>
                </a:lnTo>
                <a:lnTo>
                  <a:pt x="120" y="168"/>
                </a:lnTo>
                <a:lnTo>
                  <a:pt x="120" y="168"/>
                </a:lnTo>
                <a:lnTo>
                  <a:pt x="114" y="168"/>
                </a:lnTo>
                <a:lnTo>
                  <a:pt x="108" y="168"/>
                </a:lnTo>
                <a:lnTo>
                  <a:pt x="96" y="150"/>
                </a:lnTo>
                <a:lnTo>
                  <a:pt x="90" y="150"/>
                </a:lnTo>
                <a:lnTo>
                  <a:pt x="90" y="150"/>
                </a:lnTo>
                <a:lnTo>
                  <a:pt x="90" y="150"/>
                </a:lnTo>
                <a:lnTo>
                  <a:pt x="90" y="156"/>
                </a:lnTo>
                <a:lnTo>
                  <a:pt x="90" y="156"/>
                </a:lnTo>
                <a:lnTo>
                  <a:pt x="90" y="156"/>
                </a:lnTo>
                <a:lnTo>
                  <a:pt x="90" y="156"/>
                </a:lnTo>
                <a:lnTo>
                  <a:pt x="90" y="156"/>
                </a:lnTo>
                <a:lnTo>
                  <a:pt x="90" y="156"/>
                </a:lnTo>
                <a:lnTo>
                  <a:pt x="90" y="156"/>
                </a:lnTo>
                <a:lnTo>
                  <a:pt x="90" y="156"/>
                </a:lnTo>
                <a:lnTo>
                  <a:pt x="90" y="156"/>
                </a:lnTo>
                <a:lnTo>
                  <a:pt x="84" y="156"/>
                </a:lnTo>
                <a:lnTo>
                  <a:pt x="84" y="156"/>
                </a:lnTo>
                <a:lnTo>
                  <a:pt x="84" y="156"/>
                </a:lnTo>
                <a:lnTo>
                  <a:pt x="84" y="156"/>
                </a:lnTo>
                <a:lnTo>
                  <a:pt x="84" y="156"/>
                </a:lnTo>
                <a:lnTo>
                  <a:pt x="84" y="156"/>
                </a:lnTo>
                <a:lnTo>
                  <a:pt x="84" y="162"/>
                </a:lnTo>
                <a:lnTo>
                  <a:pt x="78" y="156"/>
                </a:lnTo>
                <a:lnTo>
                  <a:pt x="78" y="162"/>
                </a:lnTo>
                <a:lnTo>
                  <a:pt x="78" y="162"/>
                </a:lnTo>
                <a:lnTo>
                  <a:pt x="78" y="162"/>
                </a:lnTo>
                <a:lnTo>
                  <a:pt x="78" y="162"/>
                </a:lnTo>
                <a:lnTo>
                  <a:pt x="78" y="162"/>
                </a:lnTo>
                <a:lnTo>
                  <a:pt x="78" y="162"/>
                </a:lnTo>
                <a:lnTo>
                  <a:pt x="78" y="162"/>
                </a:lnTo>
                <a:lnTo>
                  <a:pt x="78" y="162"/>
                </a:lnTo>
                <a:lnTo>
                  <a:pt x="78" y="162"/>
                </a:lnTo>
                <a:lnTo>
                  <a:pt x="72" y="162"/>
                </a:lnTo>
                <a:lnTo>
                  <a:pt x="72" y="162"/>
                </a:lnTo>
                <a:lnTo>
                  <a:pt x="72" y="162"/>
                </a:lnTo>
                <a:lnTo>
                  <a:pt x="72" y="162"/>
                </a:lnTo>
                <a:lnTo>
                  <a:pt x="72" y="162"/>
                </a:lnTo>
                <a:lnTo>
                  <a:pt x="72" y="162"/>
                </a:lnTo>
                <a:lnTo>
                  <a:pt x="72" y="162"/>
                </a:lnTo>
                <a:lnTo>
                  <a:pt x="72" y="162"/>
                </a:lnTo>
                <a:lnTo>
                  <a:pt x="66" y="162"/>
                </a:lnTo>
                <a:lnTo>
                  <a:pt x="66" y="162"/>
                </a:lnTo>
                <a:lnTo>
                  <a:pt x="66" y="162"/>
                </a:lnTo>
                <a:lnTo>
                  <a:pt x="66" y="162"/>
                </a:lnTo>
                <a:lnTo>
                  <a:pt x="60" y="162"/>
                </a:lnTo>
                <a:lnTo>
                  <a:pt x="60" y="162"/>
                </a:lnTo>
                <a:lnTo>
                  <a:pt x="60" y="162"/>
                </a:lnTo>
                <a:lnTo>
                  <a:pt x="60" y="162"/>
                </a:lnTo>
                <a:lnTo>
                  <a:pt x="60" y="162"/>
                </a:lnTo>
                <a:lnTo>
                  <a:pt x="60" y="168"/>
                </a:lnTo>
                <a:lnTo>
                  <a:pt x="60" y="168"/>
                </a:lnTo>
                <a:lnTo>
                  <a:pt x="60" y="168"/>
                </a:lnTo>
                <a:lnTo>
                  <a:pt x="60" y="168"/>
                </a:lnTo>
                <a:lnTo>
                  <a:pt x="60" y="168"/>
                </a:lnTo>
                <a:lnTo>
                  <a:pt x="60" y="168"/>
                </a:lnTo>
                <a:lnTo>
                  <a:pt x="60" y="168"/>
                </a:lnTo>
                <a:lnTo>
                  <a:pt x="60" y="168"/>
                </a:lnTo>
                <a:lnTo>
                  <a:pt x="54" y="168"/>
                </a:lnTo>
                <a:lnTo>
                  <a:pt x="54" y="168"/>
                </a:lnTo>
                <a:lnTo>
                  <a:pt x="54" y="168"/>
                </a:lnTo>
                <a:lnTo>
                  <a:pt x="54" y="168"/>
                </a:lnTo>
                <a:lnTo>
                  <a:pt x="54" y="174"/>
                </a:lnTo>
                <a:lnTo>
                  <a:pt x="54" y="174"/>
                </a:lnTo>
                <a:lnTo>
                  <a:pt x="54" y="174"/>
                </a:lnTo>
                <a:lnTo>
                  <a:pt x="54" y="174"/>
                </a:lnTo>
                <a:lnTo>
                  <a:pt x="54" y="174"/>
                </a:lnTo>
                <a:lnTo>
                  <a:pt x="54" y="174"/>
                </a:lnTo>
                <a:lnTo>
                  <a:pt x="54" y="174"/>
                </a:lnTo>
                <a:lnTo>
                  <a:pt x="54" y="174"/>
                </a:lnTo>
                <a:lnTo>
                  <a:pt x="54" y="174"/>
                </a:lnTo>
                <a:lnTo>
                  <a:pt x="54" y="174"/>
                </a:lnTo>
                <a:lnTo>
                  <a:pt x="54" y="174"/>
                </a:lnTo>
                <a:lnTo>
                  <a:pt x="54" y="174"/>
                </a:lnTo>
                <a:lnTo>
                  <a:pt x="54" y="174"/>
                </a:lnTo>
                <a:lnTo>
                  <a:pt x="54" y="174"/>
                </a:lnTo>
                <a:lnTo>
                  <a:pt x="54" y="174"/>
                </a:lnTo>
                <a:lnTo>
                  <a:pt x="54" y="174"/>
                </a:lnTo>
                <a:lnTo>
                  <a:pt x="54" y="174"/>
                </a:lnTo>
                <a:lnTo>
                  <a:pt x="54" y="180"/>
                </a:lnTo>
                <a:lnTo>
                  <a:pt x="54" y="180"/>
                </a:lnTo>
                <a:lnTo>
                  <a:pt x="54" y="180"/>
                </a:lnTo>
                <a:lnTo>
                  <a:pt x="54" y="180"/>
                </a:lnTo>
                <a:lnTo>
                  <a:pt x="54" y="180"/>
                </a:lnTo>
                <a:lnTo>
                  <a:pt x="48" y="180"/>
                </a:lnTo>
                <a:lnTo>
                  <a:pt x="54" y="180"/>
                </a:lnTo>
                <a:lnTo>
                  <a:pt x="48" y="180"/>
                </a:lnTo>
                <a:lnTo>
                  <a:pt x="54" y="180"/>
                </a:lnTo>
                <a:lnTo>
                  <a:pt x="48" y="186"/>
                </a:lnTo>
                <a:lnTo>
                  <a:pt x="54" y="186"/>
                </a:lnTo>
                <a:lnTo>
                  <a:pt x="54" y="186"/>
                </a:lnTo>
                <a:lnTo>
                  <a:pt x="48" y="186"/>
                </a:lnTo>
                <a:lnTo>
                  <a:pt x="48" y="186"/>
                </a:lnTo>
                <a:lnTo>
                  <a:pt x="48" y="186"/>
                </a:lnTo>
                <a:lnTo>
                  <a:pt x="48" y="186"/>
                </a:lnTo>
                <a:lnTo>
                  <a:pt x="48" y="186"/>
                </a:lnTo>
                <a:lnTo>
                  <a:pt x="48" y="186"/>
                </a:lnTo>
                <a:lnTo>
                  <a:pt x="48" y="186"/>
                </a:lnTo>
                <a:lnTo>
                  <a:pt x="48" y="186"/>
                </a:lnTo>
                <a:lnTo>
                  <a:pt x="48" y="186"/>
                </a:lnTo>
                <a:lnTo>
                  <a:pt x="48" y="186"/>
                </a:lnTo>
                <a:lnTo>
                  <a:pt x="48" y="192"/>
                </a:lnTo>
                <a:lnTo>
                  <a:pt x="48" y="192"/>
                </a:lnTo>
                <a:lnTo>
                  <a:pt x="48" y="192"/>
                </a:lnTo>
                <a:lnTo>
                  <a:pt x="48" y="192"/>
                </a:lnTo>
                <a:lnTo>
                  <a:pt x="48" y="192"/>
                </a:lnTo>
                <a:lnTo>
                  <a:pt x="48" y="192"/>
                </a:lnTo>
                <a:lnTo>
                  <a:pt x="48" y="192"/>
                </a:lnTo>
                <a:lnTo>
                  <a:pt x="48" y="192"/>
                </a:lnTo>
                <a:lnTo>
                  <a:pt x="48" y="192"/>
                </a:lnTo>
                <a:lnTo>
                  <a:pt x="48" y="192"/>
                </a:lnTo>
                <a:lnTo>
                  <a:pt x="48" y="192"/>
                </a:lnTo>
                <a:lnTo>
                  <a:pt x="42" y="198"/>
                </a:lnTo>
                <a:lnTo>
                  <a:pt x="48" y="198"/>
                </a:lnTo>
                <a:lnTo>
                  <a:pt x="42" y="198"/>
                </a:lnTo>
                <a:lnTo>
                  <a:pt x="42" y="198"/>
                </a:lnTo>
                <a:lnTo>
                  <a:pt x="42" y="198"/>
                </a:lnTo>
                <a:lnTo>
                  <a:pt x="42" y="198"/>
                </a:lnTo>
                <a:lnTo>
                  <a:pt x="24" y="186"/>
                </a:lnTo>
                <a:lnTo>
                  <a:pt x="12" y="174"/>
                </a:lnTo>
                <a:lnTo>
                  <a:pt x="12" y="174"/>
                </a:lnTo>
                <a:lnTo>
                  <a:pt x="18" y="174"/>
                </a:lnTo>
                <a:lnTo>
                  <a:pt x="18" y="174"/>
                </a:lnTo>
                <a:lnTo>
                  <a:pt x="18" y="168"/>
                </a:lnTo>
                <a:lnTo>
                  <a:pt x="24" y="168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56"/>
                </a:lnTo>
                <a:lnTo>
                  <a:pt x="42" y="156"/>
                </a:lnTo>
                <a:lnTo>
                  <a:pt x="42" y="150"/>
                </a:lnTo>
                <a:lnTo>
                  <a:pt x="42" y="150"/>
                </a:lnTo>
                <a:lnTo>
                  <a:pt x="42" y="144"/>
                </a:lnTo>
                <a:lnTo>
                  <a:pt x="42" y="144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26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14"/>
                </a:lnTo>
                <a:lnTo>
                  <a:pt x="42" y="114"/>
                </a:lnTo>
                <a:lnTo>
                  <a:pt x="42" y="108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18" y="72"/>
                </a:lnTo>
                <a:lnTo>
                  <a:pt x="0" y="6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43" name="Freeform 76"/>
          <p:cNvSpPr>
            <a:spLocks/>
          </p:cNvSpPr>
          <p:nvPr/>
        </p:nvSpPr>
        <p:spPr bwMode="auto">
          <a:xfrm>
            <a:off x="7288690" y="1899419"/>
            <a:ext cx="423987" cy="179875"/>
          </a:xfrm>
          <a:custGeom>
            <a:avLst/>
            <a:gdLst>
              <a:gd name="T0" fmla="*/ 12 w 396"/>
              <a:gd name="T1" fmla="*/ 96 h 168"/>
              <a:gd name="T2" fmla="*/ 30 w 396"/>
              <a:gd name="T3" fmla="*/ 96 h 168"/>
              <a:gd name="T4" fmla="*/ 48 w 396"/>
              <a:gd name="T5" fmla="*/ 90 h 168"/>
              <a:gd name="T6" fmla="*/ 54 w 396"/>
              <a:gd name="T7" fmla="*/ 90 h 168"/>
              <a:gd name="T8" fmla="*/ 66 w 396"/>
              <a:gd name="T9" fmla="*/ 90 h 168"/>
              <a:gd name="T10" fmla="*/ 78 w 396"/>
              <a:gd name="T11" fmla="*/ 84 h 168"/>
              <a:gd name="T12" fmla="*/ 84 w 396"/>
              <a:gd name="T13" fmla="*/ 78 h 168"/>
              <a:gd name="T14" fmla="*/ 90 w 396"/>
              <a:gd name="T15" fmla="*/ 78 h 168"/>
              <a:gd name="T16" fmla="*/ 96 w 396"/>
              <a:gd name="T17" fmla="*/ 78 h 168"/>
              <a:gd name="T18" fmla="*/ 108 w 396"/>
              <a:gd name="T19" fmla="*/ 84 h 168"/>
              <a:gd name="T20" fmla="*/ 120 w 396"/>
              <a:gd name="T21" fmla="*/ 78 h 168"/>
              <a:gd name="T22" fmla="*/ 126 w 396"/>
              <a:gd name="T23" fmla="*/ 66 h 168"/>
              <a:gd name="T24" fmla="*/ 132 w 396"/>
              <a:gd name="T25" fmla="*/ 60 h 168"/>
              <a:gd name="T26" fmla="*/ 138 w 396"/>
              <a:gd name="T27" fmla="*/ 54 h 168"/>
              <a:gd name="T28" fmla="*/ 156 w 396"/>
              <a:gd name="T29" fmla="*/ 42 h 168"/>
              <a:gd name="T30" fmla="*/ 174 w 396"/>
              <a:gd name="T31" fmla="*/ 12 h 168"/>
              <a:gd name="T32" fmla="*/ 180 w 396"/>
              <a:gd name="T33" fmla="*/ 18 h 168"/>
              <a:gd name="T34" fmla="*/ 186 w 396"/>
              <a:gd name="T35" fmla="*/ 18 h 168"/>
              <a:gd name="T36" fmla="*/ 198 w 396"/>
              <a:gd name="T37" fmla="*/ 12 h 168"/>
              <a:gd name="T38" fmla="*/ 228 w 396"/>
              <a:gd name="T39" fmla="*/ 18 h 168"/>
              <a:gd name="T40" fmla="*/ 234 w 396"/>
              <a:gd name="T41" fmla="*/ 12 h 168"/>
              <a:gd name="T42" fmla="*/ 234 w 396"/>
              <a:gd name="T43" fmla="*/ 18 h 168"/>
              <a:gd name="T44" fmla="*/ 258 w 396"/>
              <a:gd name="T45" fmla="*/ 36 h 168"/>
              <a:gd name="T46" fmla="*/ 282 w 396"/>
              <a:gd name="T47" fmla="*/ 30 h 168"/>
              <a:gd name="T48" fmla="*/ 282 w 396"/>
              <a:gd name="T49" fmla="*/ 18 h 168"/>
              <a:gd name="T50" fmla="*/ 282 w 396"/>
              <a:gd name="T51" fmla="*/ 6 h 168"/>
              <a:gd name="T52" fmla="*/ 294 w 396"/>
              <a:gd name="T53" fmla="*/ 6 h 168"/>
              <a:gd name="T54" fmla="*/ 300 w 396"/>
              <a:gd name="T55" fmla="*/ 12 h 168"/>
              <a:gd name="T56" fmla="*/ 300 w 396"/>
              <a:gd name="T57" fmla="*/ 18 h 168"/>
              <a:gd name="T58" fmla="*/ 360 w 396"/>
              <a:gd name="T59" fmla="*/ 24 h 168"/>
              <a:gd name="T60" fmla="*/ 366 w 396"/>
              <a:gd name="T61" fmla="*/ 42 h 168"/>
              <a:gd name="T62" fmla="*/ 384 w 396"/>
              <a:gd name="T63" fmla="*/ 60 h 168"/>
              <a:gd name="T64" fmla="*/ 396 w 396"/>
              <a:gd name="T65" fmla="*/ 78 h 168"/>
              <a:gd name="T66" fmla="*/ 390 w 396"/>
              <a:gd name="T67" fmla="*/ 102 h 168"/>
              <a:gd name="T68" fmla="*/ 372 w 396"/>
              <a:gd name="T69" fmla="*/ 132 h 168"/>
              <a:gd name="T70" fmla="*/ 342 w 396"/>
              <a:gd name="T71" fmla="*/ 138 h 168"/>
              <a:gd name="T72" fmla="*/ 312 w 396"/>
              <a:gd name="T73" fmla="*/ 144 h 168"/>
              <a:gd name="T74" fmla="*/ 294 w 396"/>
              <a:gd name="T75" fmla="*/ 138 h 168"/>
              <a:gd name="T76" fmla="*/ 270 w 396"/>
              <a:gd name="T77" fmla="*/ 126 h 168"/>
              <a:gd name="T78" fmla="*/ 252 w 396"/>
              <a:gd name="T79" fmla="*/ 132 h 168"/>
              <a:gd name="T80" fmla="*/ 228 w 396"/>
              <a:gd name="T81" fmla="*/ 144 h 168"/>
              <a:gd name="T82" fmla="*/ 222 w 396"/>
              <a:gd name="T83" fmla="*/ 156 h 168"/>
              <a:gd name="T84" fmla="*/ 204 w 396"/>
              <a:gd name="T85" fmla="*/ 162 h 168"/>
              <a:gd name="T86" fmla="*/ 198 w 396"/>
              <a:gd name="T87" fmla="*/ 156 h 168"/>
              <a:gd name="T88" fmla="*/ 192 w 396"/>
              <a:gd name="T89" fmla="*/ 150 h 168"/>
              <a:gd name="T90" fmla="*/ 186 w 396"/>
              <a:gd name="T91" fmla="*/ 144 h 168"/>
              <a:gd name="T92" fmla="*/ 156 w 396"/>
              <a:gd name="T93" fmla="*/ 126 h 168"/>
              <a:gd name="T94" fmla="*/ 144 w 396"/>
              <a:gd name="T95" fmla="*/ 132 h 168"/>
              <a:gd name="T96" fmla="*/ 138 w 396"/>
              <a:gd name="T97" fmla="*/ 132 h 168"/>
              <a:gd name="T98" fmla="*/ 132 w 396"/>
              <a:gd name="T99" fmla="*/ 126 h 168"/>
              <a:gd name="T100" fmla="*/ 132 w 396"/>
              <a:gd name="T101" fmla="*/ 126 h 168"/>
              <a:gd name="T102" fmla="*/ 126 w 396"/>
              <a:gd name="T103" fmla="*/ 126 h 168"/>
              <a:gd name="T104" fmla="*/ 126 w 396"/>
              <a:gd name="T105" fmla="*/ 132 h 168"/>
              <a:gd name="T106" fmla="*/ 120 w 396"/>
              <a:gd name="T107" fmla="*/ 132 h 168"/>
              <a:gd name="T108" fmla="*/ 120 w 396"/>
              <a:gd name="T109" fmla="*/ 132 h 168"/>
              <a:gd name="T110" fmla="*/ 108 w 396"/>
              <a:gd name="T111" fmla="*/ 132 h 168"/>
              <a:gd name="T112" fmla="*/ 90 w 396"/>
              <a:gd name="T113" fmla="*/ 144 h 168"/>
              <a:gd name="T114" fmla="*/ 78 w 396"/>
              <a:gd name="T115" fmla="*/ 138 h 168"/>
              <a:gd name="T116" fmla="*/ 60 w 396"/>
              <a:gd name="T117" fmla="*/ 138 h 168"/>
              <a:gd name="T118" fmla="*/ 42 w 396"/>
              <a:gd name="T119" fmla="*/ 144 h 168"/>
              <a:gd name="T120" fmla="*/ 18 w 396"/>
              <a:gd name="T121" fmla="*/ 132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6" h="168">
                <a:moveTo>
                  <a:pt x="0" y="132"/>
                </a:moveTo>
                <a:lnTo>
                  <a:pt x="0" y="114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96"/>
                </a:lnTo>
                <a:lnTo>
                  <a:pt x="6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102"/>
                </a:lnTo>
                <a:lnTo>
                  <a:pt x="30" y="96"/>
                </a:lnTo>
                <a:lnTo>
                  <a:pt x="30" y="102"/>
                </a:lnTo>
                <a:lnTo>
                  <a:pt x="30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42" y="96"/>
                </a:lnTo>
                <a:lnTo>
                  <a:pt x="42" y="96"/>
                </a:lnTo>
                <a:lnTo>
                  <a:pt x="48" y="96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6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84"/>
                </a:lnTo>
                <a:lnTo>
                  <a:pt x="72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84" y="84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2"/>
                </a:lnTo>
                <a:lnTo>
                  <a:pt x="126" y="72"/>
                </a:lnTo>
                <a:lnTo>
                  <a:pt x="126" y="72"/>
                </a:lnTo>
                <a:lnTo>
                  <a:pt x="126" y="72"/>
                </a:lnTo>
                <a:lnTo>
                  <a:pt x="126" y="72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32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60"/>
                </a:lnTo>
                <a:lnTo>
                  <a:pt x="126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54"/>
                </a:lnTo>
                <a:lnTo>
                  <a:pt x="132" y="54"/>
                </a:lnTo>
                <a:lnTo>
                  <a:pt x="138" y="54"/>
                </a:lnTo>
                <a:lnTo>
                  <a:pt x="138" y="54"/>
                </a:lnTo>
                <a:lnTo>
                  <a:pt x="138" y="54"/>
                </a:lnTo>
                <a:lnTo>
                  <a:pt x="138" y="54"/>
                </a:lnTo>
                <a:lnTo>
                  <a:pt x="138" y="54"/>
                </a:lnTo>
                <a:lnTo>
                  <a:pt x="138" y="54"/>
                </a:lnTo>
                <a:lnTo>
                  <a:pt x="138" y="54"/>
                </a:lnTo>
                <a:lnTo>
                  <a:pt x="138" y="54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2"/>
                </a:lnTo>
                <a:lnTo>
                  <a:pt x="150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18"/>
                </a:lnTo>
                <a:lnTo>
                  <a:pt x="162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74" y="18"/>
                </a:lnTo>
                <a:lnTo>
                  <a:pt x="174" y="18"/>
                </a:lnTo>
                <a:lnTo>
                  <a:pt x="174" y="18"/>
                </a:lnTo>
                <a:lnTo>
                  <a:pt x="174" y="18"/>
                </a:lnTo>
                <a:lnTo>
                  <a:pt x="174" y="18"/>
                </a:lnTo>
                <a:lnTo>
                  <a:pt x="174" y="18"/>
                </a:lnTo>
                <a:lnTo>
                  <a:pt x="174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92" y="24"/>
                </a:lnTo>
                <a:lnTo>
                  <a:pt x="192" y="18"/>
                </a:lnTo>
                <a:lnTo>
                  <a:pt x="192" y="18"/>
                </a:lnTo>
                <a:lnTo>
                  <a:pt x="192" y="18"/>
                </a:lnTo>
                <a:lnTo>
                  <a:pt x="192" y="18"/>
                </a:lnTo>
                <a:lnTo>
                  <a:pt x="198" y="18"/>
                </a:lnTo>
                <a:lnTo>
                  <a:pt x="198" y="18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204" y="12"/>
                </a:lnTo>
                <a:lnTo>
                  <a:pt x="204" y="12"/>
                </a:lnTo>
                <a:lnTo>
                  <a:pt x="204" y="12"/>
                </a:lnTo>
                <a:lnTo>
                  <a:pt x="210" y="6"/>
                </a:lnTo>
                <a:lnTo>
                  <a:pt x="210" y="6"/>
                </a:lnTo>
                <a:lnTo>
                  <a:pt x="210" y="6"/>
                </a:lnTo>
                <a:lnTo>
                  <a:pt x="210" y="6"/>
                </a:lnTo>
                <a:lnTo>
                  <a:pt x="210" y="6"/>
                </a:lnTo>
                <a:lnTo>
                  <a:pt x="210" y="6"/>
                </a:lnTo>
                <a:lnTo>
                  <a:pt x="210" y="6"/>
                </a:lnTo>
                <a:lnTo>
                  <a:pt x="228" y="18"/>
                </a:lnTo>
                <a:lnTo>
                  <a:pt x="228" y="18"/>
                </a:lnTo>
                <a:lnTo>
                  <a:pt x="228" y="18"/>
                </a:lnTo>
                <a:lnTo>
                  <a:pt x="228" y="18"/>
                </a:lnTo>
                <a:lnTo>
                  <a:pt x="228" y="18"/>
                </a:lnTo>
                <a:lnTo>
                  <a:pt x="228" y="18"/>
                </a:lnTo>
                <a:lnTo>
                  <a:pt x="228" y="18"/>
                </a:lnTo>
                <a:lnTo>
                  <a:pt x="228" y="18"/>
                </a:lnTo>
                <a:lnTo>
                  <a:pt x="228" y="18"/>
                </a:lnTo>
                <a:lnTo>
                  <a:pt x="228" y="12"/>
                </a:lnTo>
                <a:lnTo>
                  <a:pt x="228" y="12"/>
                </a:lnTo>
                <a:lnTo>
                  <a:pt x="228" y="12"/>
                </a:lnTo>
                <a:lnTo>
                  <a:pt x="228" y="12"/>
                </a:lnTo>
                <a:lnTo>
                  <a:pt x="234" y="12"/>
                </a:lnTo>
                <a:lnTo>
                  <a:pt x="234" y="12"/>
                </a:lnTo>
                <a:lnTo>
                  <a:pt x="234" y="12"/>
                </a:lnTo>
                <a:lnTo>
                  <a:pt x="234" y="12"/>
                </a:lnTo>
                <a:lnTo>
                  <a:pt x="234" y="12"/>
                </a:lnTo>
                <a:lnTo>
                  <a:pt x="234" y="12"/>
                </a:lnTo>
                <a:lnTo>
                  <a:pt x="234" y="18"/>
                </a:lnTo>
                <a:lnTo>
                  <a:pt x="234" y="18"/>
                </a:lnTo>
                <a:lnTo>
                  <a:pt x="234" y="18"/>
                </a:lnTo>
                <a:lnTo>
                  <a:pt x="234" y="18"/>
                </a:lnTo>
                <a:lnTo>
                  <a:pt x="234" y="18"/>
                </a:lnTo>
                <a:lnTo>
                  <a:pt x="234" y="18"/>
                </a:lnTo>
                <a:lnTo>
                  <a:pt x="234" y="18"/>
                </a:lnTo>
                <a:lnTo>
                  <a:pt x="234" y="18"/>
                </a:lnTo>
                <a:lnTo>
                  <a:pt x="234" y="18"/>
                </a:lnTo>
                <a:lnTo>
                  <a:pt x="234" y="18"/>
                </a:lnTo>
                <a:lnTo>
                  <a:pt x="234" y="18"/>
                </a:lnTo>
                <a:lnTo>
                  <a:pt x="234" y="18"/>
                </a:lnTo>
                <a:lnTo>
                  <a:pt x="234" y="18"/>
                </a:lnTo>
                <a:lnTo>
                  <a:pt x="234" y="18"/>
                </a:lnTo>
                <a:lnTo>
                  <a:pt x="234" y="18"/>
                </a:lnTo>
                <a:lnTo>
                  <a:pt x="234" y="18"/>
                </a:lnTo>
                <a:lnTo>
                  <a:pt x="234" y="18"/>
                </a:lnTo>
                <a:lnTo>
                  <a:pt x="234" y="18"/>
                </a:lnTo>
                <a:lnTo>
                  <a:pt x="234" y="18"/>
                </a:lnTo>
                <a:lnTo>
                  <a:pt x="234" y="18"/>
                </a:lnTo>
                <a:lnTo>
                  <a:pt x="234" y="18"/>
                </a:lnTo>
                <a:lnTo>
                  <a:pt x="234" y="18"/>
                </a:lnTo>
                <a:lnTo>
                  <a:pt x="234" y="24"/>
                </a:lnTo>
                <a:lnTo>
                  <a:pt x="240" y="24"/>
                </a:lnTo>
                <a:lnTo>
                  <a:pt x="240" y="24"/>
                </a:lnTo>
                <a:lnTo>
                  <a:pt x="246" y="30"/>
                </a:lnTo>
                <a:lnTo>
                  <a:pt x="258" y="36"/>
                </a:lnTo>
                <a:lnTo>
                  <a:pt x="264" y="36"/>
                </a:lnTo>
                <a:lnTo>
                  <a:pt x="264" y="36"/>
                </a:lnTo>
                <a:lnTo>
                  <a:pt x="264" y="36"/>
                </a:lnTo>
                <a:lnTo>
                  <a:pt x="264" y="36"/>
                </a:lnTo>
                <a:lnTo>
                  <a:pt x="270" y="36"/>
                </a:lnTo>
                <a:lnTo>
                  <a:pt x="270" y="36"/>
                </a:lnTo>
                <a:lnTo>
                  <a:pt x="276" y="36"/>
                </a:lnTo>
                <a:lnTo>
                  <a:pt x="276" y="36"/>
                </a:lnTo>
                <a:lnTo>
                  <a:pt x="276" y="36"/>
                </a:lnTo>
                <a:lnTo>
                  <a:pt x="276" y="36"/>
                </a:lnTo>
                <a:lnTo>
                  <a:pt x="276" y="36"/>
                </a:lnTo>
                <a:lnTo>
                  <a:pt x="276" y="36"/>
                </a:lnTo>
                <a:lnTo>
                  <a:pt x="282" y="30"/>
                </a:lnTo>
                <a:lnTo>
                  <a:pt x="282" y="30"/>
                </a:lnTo>
                <a:lnTo>
                  <a:pt x="282" y="30"/>
                </a:lnTo>
                <a:lnTo>
                  <a:pt x="282" y="30"/>
                </a:lnTo>
                <a:lnTo>
                  <a:pt x="282" y="30"/>
                </a:lnTo>
                <a:lnTo>
                  <a:pt x="282" y="24"/>
                </a:lnTo>
                <a:lnTo>
                  <a:pt x="282" y="24"/>
                </a:lnTo>
                <a:lnTo>
                  <a:pt x="282" y="24"/>
                </a:lnTo>
                <a:lnTo>
                  <a:pt x="282" y="24"/>
                </a:lnTo>
                <a:lnTo>
                  <a:pt x="282" y="24"/>
                </a:lnTo>
                <a:lnTo>
                  <a:pt x="288" y="24"/>
                </a:lnTo>
                <a:lnTo>
                  <a:pt x="282" y="24"/>
                </a:lnTo>
                <a:lnTo>
                  <a:pt x="282" y="18"/>
                </a:lnTo>
                <a:lnTo>
                  <a:pt x="288" y="18"/>
                </a:lnTo>
                <a:lnTo>
                  <a:pt x="282" y="18"/>
                </a:lnTo>
                <a:lnTo>
                  <a:pt x="282" y="18"/>
                </a:lnTo>
                <a:lnTo>
                  <a:pt x="282" y="18"/>
                </a:lnTo>
                <a:lnTo>
                  <a:pt x="282" y="18"/>
                </a:lnTo>
                <a:lnTo>
                  <a:pt x="282" y="18"/>
                </a:lnTo>
                <a:lnTo>
                  <a:pt x="282" y="18"/>
                </a:lnTo>
                <a:lnTo>
                  <a:pt x="282" y="18"/>
                </a:lnTo>
                <a:lnTo>
                  <a:pt x="276" y="18"/>
                </a:lnTo>
                <a:lnTo>
                  <a:pt x="276" y="12"/>
                </a:lnTo>
                <a:lnTo>
                  <a:pt x="282" y="12"/>
                </a:lnTo>
                <a:lnTo>
                  <a:pt x="282" y="12"/>
                </a:lnTo>
                <a:lnTo>
                  <a:pt x="282" y="12"/>
                </a:lnTo>
                <a:lnTo>
                  <a:pt x="282" y="12"/>
                </a:lnTo>
                <a:lnTo>
                  <a:pt x="282" y="6"/>
                </a:lnTo>
                <a:lnTo>
                  <a:pt x="282" y="6"/>
                </a:lnTo>
                <a:lnTo>
                  <a:pt x="282" y="6"/>
                </a:lnTo>
                <a:lnTo>
                  <a:pt x="282" y="6"/>
                </a:lnTo>
                <a:lnTo>
                  <a:pt x="282" y="6"/>
                </a:lnTo>
                <a:lnTo>
                  <a:pt x="282" y="6"/>
                </a:lnTo>
                <a:lnTo>
                  <a:pt x="282" y="6"/>
                </a:lnTo>
                <a:lnTo>
                  <a:pt x="288" y="6"/>
                </a:lnTo>
                <a:lnTo>
                  <a:pt x="288" y="6"/>
                </a:lnTo>
                <a:lnTo>
                  <a:pt x="288" y="6"/>
                </a:lnTo>
                <a:lnTo>
                  <a:pt x="288" y="6"/>
                </a:lnTo>
                <a:lnTo>
                  <a:pt x="288" y="6"/>
                </a:lnTo>
                <a:lnTo>
                  <a:pt x="288" y="6"/>
                </a:lnTo>
                <a:lnTo>
                  <a:pt x="294" y="0"/>
                </a:lnTo>
                <a:lnTo>
                  <a:pt x="294" y="0"/>
                </a:lnTo>
                <a:lnTo>
                  <a:pt x="294" y="0"/>
                </a:lnTo>
                <a:lnTo>
                  <a:pt x="294" y="6"/>
                </a:lnTo>
                <a:lnTo>
                  <a:pt x="294" y="6"/>
                </a:lnTo>
                <a:lnTo>
                  <a:pt x="294" y="6"/>
                </a:lnTo>
                <a:lnTo>
                  <a:pt x="294" y="6"/>
                </a:lnTo>
                <a:lnTo>
                  <a:pt x="294" y="6"/>
                </a:lnTo>
                <a:lnTo>
                  <a:pt x="294" y="6"/>
                </a:lnTo>
                <a:lnTo>
                  <a:pt x="294" y="6"/>
                </a:lnTo>
                <a:lnTo>
                  <a:pt x="300" y="6"/>
                </a:lnTo>
                <a:lnTo>
                  <a:pt x="300" y="6"/>
                </a:lnTo>
                <a:lnTo>
                  <a:pt x="300" y="6"/>
                </a:lnTo>
                <a:lnTo>
                  <a:pt x="300" y="6"/>
                </a:lnTo>
                <a:lnTo>
                  <a:pt x="300" y="6"/>
                </a:lnTo>
                <a:lnTo>
                  <a:pt x="300" y="6"/>
                </a:lnTo>
                <a:lnTo>
                  <a:pt x="300" y="6"/>
                </a:lnTo>
                <a:lnTo>
                  <a:pt x="300" y="12"/>
                </a:lnTo>
                <a:lnTo>
                  <a:pt x="300" y="12"/>
                </a:lnTo>
                <a:lnTo>
                  <a:pt x="300" y="12"/>
                </a:lnTo>
                <a:lnTo>
                  <a:pt x="300" y="12"/>
                </a:lnTo>
                <a:lnTo>
                  <a:pt x="300" y="12"/>
                </a:lnTo>
                <a:lnTo>
                  <a:pt x="300" y="12"/>
                </a:lnTo>
                <a:lnTo>
                  <a:pt x="306" y="18"/>
                </a:lnTo>
                <a:lnTo>
                  <a:pt x="300" y="18"/>
                </a:lnTo>
                <a:lnTo>
                  <a:pt x="300" y="18"/>
                </a:lnTo>
                <a:lnTo>
                  <a:pt x="300" y="18"/>
                </a:lnTo>
                <a:lnTo>
                  <a:pt x="300" y="18"/>
                </a:lnTo>
                <a:lnTo>
                  <a:pt x="300" y="18"/>
                </a:lnTo>
                <a:lnTo>
                  <a:pt x="300" y="18"/>
                </a:lnTo>
                <a:lnTo>
                  <a:pt x="300" y="18"/>
                </a:lnTo>
                <a:lnTo>
                  <a:pt x="300" y="18"/>
                </a:lnTo>
                <a:lnTo>
                  <a:pt x="300" y="18"/>
                </a:lnTo>
                <a:lnTo>
                  <a:pt x="300" y="18"/>
                </a:lnTo>
                <a:lnTo>
                  <a:pt x="300" y="24"/>
                </a:lnTo>
                <a:lnTo>
                  <a:pt x="300" y="24"/>
                </a:lnTo>
                <a:lnTo>
                  <a:pt x="300" y="24"/>
                </a:lnTo>
                <a:lnTo>
                  <a:pt x="300" y="24"/>
                </a:lnTo>
                <a:lnTo>
                  <a:pt x="300" y="24"/>
                </a:lnTo>
                <a:lnTo>
                  <a:pt x="300" y="24"/>
                </a:lnTo>
                <a:lnTo>
                  <a:pt x="300" y="24"/>
                </a:lnTo>
                <a:lnTo>
                  <a:pt x="300" y="24"/>
                </a:lnTo>
                <a:lnTo>
                  <a:pt x="300" y="24"/>
                </a:lnTo>
                <a:lnTo>
                  <a:pt x="318" y="24"/>
                </a:lnTo>
                <a:lnTo>
                  <a:pt x="336" y="24"/>
                </a:lnTo>
                <a:lnTo>
                  <a:pt x="360" y="24"/>
                </a:lnTo>
                <a:lnTo>
                  <a:pt x="360" y="24"/>
                </a:lnTo>
                <a:lnTo>
                  <a:pt x="360" y="30"/>
                </a:lnTo>
                <a:lnTo>
                  <a:pt x="360" y="30"/>
                </a:lnTo>
                <a:lnTo>
                  <a:pt x="360" y="30"/>
                </a:lnTo>
                <a:lnTo>
                  <a:pt x="360" y="30"/>
                </a:lnTo>
                <a:lnTo>
                  <a:pt x="366" y="36"/>
                </a:lnTo>
                <a:lnTo>
                  <a:pt x="366" y="36"/>
                </a:lnTo>
                <a:lnTo>
                  <a:pt x="366" y="36"/>
                </a:lnTo>
                <a:lnTo>
                  <a:pt x="366" y="36"/>
                </a:lnTo>
                <a:lnTo>
                  <a:pt x="366" y="36"/>
                </a:lnTo>
                <a:lnTo>
                  <a:pt x="366" y="42"/>
                </a:lnTo>
                <a:lnTo>
                  <a:pt x="366" y="42"/>
                </a:lnTo>
                <a:lnTo>
                  <a:pt x="366" y="42"/>
                </a:lnTo>
                <a:lnTo>
                  <a:pt x="366" y="42"/>
                </a:lnTo>
                <a:lnTo>
                  <a:pt x="360" y="42"/>
                </a:lnTo>
                <a:lnTo>
                  <a:pt x="366" y="42"/>
                </a:lnTo>
                <a:lnTo>
                  <a:pt x="366" y="48"/>
                </a:lnTo>
                <a:lnTo>
                  <a:pt x="366" y="48"/>
                </a:lnTo>
                <a:lnTo>
                  <a:pt x="366" y="54"/>
                </a:lnTo>
                <a:lnTo>
                  <a:pt x="372" y="54"/>
                </a:lnTo>
                <a:lnTo>
                  <a:pt x="372" y="54"/>
                </a:lnTo>
                <a:lnTo>
                  <a:pt x="372" y="54"/>
                </a:lnTo>
                <a:lnTo>
                  <a:pt x="378" y="54"/>
                </a:lnTo>
                <a:lnTo>
                  <a:pt x="378" y="54"/>
                </a:lnTo>
                <a:lnTo>
                  <a:pt x="378" y="60"/>
                </a:lnTo>
                <a:lnTo>
                  <a:pt x="378" y="60"/>
                </a:lnTo>
                <a:lnTo>
                  <a:pt x="378" y="60"/>
                </a:lnTo>
                <a:lnTo>
                  <a:pt x="384" y="60"/>
                </a:lnTo>
                <a:lnTo>
                  <a:pt x="384" y="66"/>
                </a:lnTo>
                <a:lnTo>
                  <a:pt x="384" y="66"/>
                </a:lnTo>
                <a:lnTo>
                  <a:pt x="390" y="66"/>
                </a:lnTo>
                <a:lnTo>
                  <a:pt x="390" y="66"/>
                </a:lnTo>
                <a:lnTo>
                  <a:pt x="390" y="66"/>
                </a:lnTo>
                <a:lnTo>
                  <a:pt x="390" y="72"/>
                </a:lnTo>
                <a:lnTo>
                  <a:pt x="390" y="72"/>
                </a:lnTo>
                <a:lnTo>
                  <a:pt x="390" y="72"/>
                </a:lnTo>
                <a:lnTo>
                  <a:pt x="390" y="72"/>
                </a:lnTo>
                <a:lnTo>
                  <a:pt x="390" y="78"/>
                </a:lnTo>
                <a:lnTo>
                  <a:pt x="390" y="78"/>
                </a:lnTo>
                <a:lnTo>
                  <a:pt x="390" y="78"/>
                </a:lnTo>
                <a:lnTo>
                  <a:pt x="396" y="78"/>
                </a:lnTo>
                <a:lnTo>
                  <a:pt x="396" y="78"/>
                </a:lnTo>
                <a:lnTo>
                  <a:pt x="396" y="84"/>
                </a:lnTo>
                <a:lnTo>
                  <a:pt x="390" y="84"/>
                </a:lnTo>
                <a:lnTo>
                  <a:pt x="390" y="84"/>
                </a:lnTo>
                <a:lnTo>
                  <a:pt x="390" y="90"/>
                </a:lnTo>
                <a:lnTo>
                  <a:pt x="390" y="90"/>
                </a:lnTo>
                <a:lnTo>
                  <a:pt x="390" y="90"/>
                </a:lnTo>
                <a:lnTo>
                  <a:pt x="390" y="90"/>
                </a:lnTo>
                <a:lnTo>
                  <a:pt x="390" y="96"/>
                </a:lnTo>
                <a:lnTo>
                  <a:pt x="390" y="96"/>
                </a:lnTo>
                <a:lnTo>
                  <a:pt x="390" y="102"/>
                </a:lnTo>
                <a:lnTo>
                  <a:pt x="390" y="102"/>
                </a:lnTo>
                <a:lnTo>
                  <a:pt x="390" y="102"/>
                </a:lnTo>
                <a:lnTo>
                  <a:pt x="390" y="102"/>
                </a:lnTo>
                <a:lnTo>
                  <a:pt x="390" y="102"/>
                </a:lnTo>
                <a:lnTo>
                  <a:pt x="390" y="102"/>
                </a:lnTo>
                <a:lnTo>
                  <a:pt x="390" y="102"/>
                </a:lnTo>
                <a:lnTo>
                  <a:pt x="390" y="102"/>
                </a:lnTo>
                <a:lnTo>
                  <a:pt x="390" y="108"/>
                </a:lnTo>
                <a:lnTo>
                  <a:pt x="390" y="108"/>
                </a:lnTo>
                <a:lnTo>
                  <a:pt x="390" y="114"/>
                </a:lnTo>
                <a:lnTo>
                  <a:pt x="384" y="114"/>
                </a:lnTo>
                <a:lnTo>
                  <a:pt x="384" y="120"/>
                </a:lnTo>
                <a:lnTo>
                  <a:pt x="384" y="120"/>
                </a:lnTo>
                <a:lnTo>
                  <a:pt x="384" y="120"/>
                </a:lnTo>
                <a:lnTo>
                  <a:pt x="384" y="126"/>
                </a:lnTo>
                <a:lnTo>
                  <a:pt x="378" y="126"/>
                </a:lnTo>
                <a:lnTo>
                  <a:pt x="378" y="132"/>
                </a:lnTo>
                <a:lnTo>
                  <a:pt x="372" y="132"/>
                </a:lnTo>
                <a:lnTo>
                  <a:pt x="372" y="138"/>
                </a:lnTo>
                <a:lnTo>
                  <a:pt x="372" y="138"/>
                </a:lnTo>
                <a:lnTo>
                  <a:pt x="366" y="138"/>
                </a:lnTo>
                <a:lnTo>
                  <a:pt x="366" y="138"/>
                </a:lnTo>
                <a:lnTo>
                  <a:pt x="366" y="132"/>
                </a:lnTo>
                <a:lnTo>
                  <a:pt x="360" y="132"/>
                </a:lnTo>
                <a:lnTo>
                  <a:pt x="360" y="138"/>
                </a:lnTo>
                <a:lnTo>
                  <a:pt x="354" y="138"/>
                </a:lnTo>
                <a:lnTo>
                  <a:pt x="354" y="138"/>
                </a:lnTo>
                <a:lnTo>
                  <a:pt x="354" y="138"/>
                </a:lnTo>
                <a:lnTo>
                  <a:pt x="348" y="138"/>
                </a:lnTo>
                <a:lnTo>
                  <a:pt x="348" y="138"/>
                </a:lnTo>
                <a:lnTo>
                  <a:pt x="342" y="138"/>
                </a:lnTo>
                <a:lnTo>
                  <a:pt x="342" y="138"/>
                </a:lnTo>
                <a:lnTo>
                  <a:pt x="336" y="138"/>
                </a:lnTo>
                <a:lnTo>
                  <a:pt x="336" y="138"/>
                </a:lnTo>
                <a:lnTo>
                  <a:pt x="330" y="144"/>
                </a:lnTo>
                <a:lnTo>
                  <a:pt x="330" y="138"/>
                </a:lnTo>
                <a:lnTo>
                  <a:pt x="324" y="144"/>
                </a:lnTo>
                <a:lnTo>
                  <a:pt x="324" y="144"/>
                </a:lnTo>
                <a:lnTo>
                  <a:pt x="324" y="144"/>
                </a:lnTo>
                <a:lnTo>
                  <a:pt x="318" y="144"/>
                </a:lnTo>
                <a:lnTo>
                  <a:pt x="318" y="144"/>
                </a:lnTo>
                <a:lnTo>
                  <a:pt x="318" y="144"/>
                </a:lnTo>
                <a:lnTo>
                  <a:pt x="312" y="144"/>
                </a:lnTo>
                <a:lnTo>
                  <a:pt x="312" y="144"/>
                </a:lnTo>
                <a:lnTo>
                  <a:pt x="312" y="150"/>
                </a:lnTo>
                <a:lnTo>
                  <a:pt x="312" y="144"/>
                </a:lnTo>
                <a:lnTo>
                  <a:pt x="312" y="144"/>
                </a:lnTo>
                <a:lnTo>
                  <a:pt x="306" y="144"/>
                </a:lnTo>
                <a:lnTo>
                  <a:pt x="306" y="144"/>
                </a:lnTo>
                <a:lnTo>
                  <a:pt x="300" y="138"/>
                </a:lnTo>
                <a:lnTo>
                  <a:pt x="300" y="138"/>
                </a:lnTo>
                <a:lnTo>
                  <a:pt x="300" y="138"/>
                </a:lnTo>
                <a:lnTo>
                  <a:pt x="300" y="138"/>
                </a:lnTo>
                <a:lnTo>
                  <a:pt x="300" y="132"/>
                </a:lnTo>
                <a:lnTo>
                  <a:pt x="300" y="132"/>
                </a:lnTo>
                <a:lnTo>
                  <a:pt x="300" y="132"/>
                </a:lnTo>
                <a:lnTo>
                  <a:pt x="300" y="132"/>
                </a:lnTo>
                <a:lnTo>
                  <a:pt x="300" y="138"/>
                </a:lnTo>
                <a:lnTo>
                  <a:pt x="300" y="138"/>
                </a:lnTo>
                <a:lnTo>
                  <a:pt x="294" y="138"/>
                </a:lnTo>
                <a:lnTo>
                  <a:pt x="294" y="132"/>
                </a:lnTo>
                <a:lnTo>
                  <a:pt x="294" y="132"/>
                </a:lnTo>
                <a:lnTo>
                  <a:pt x="288" y="132"/>
                </a:lnTo>
                <a:lnTo>
                  <a:pt x="288" y="132"/>
                </a:lnTo>
                <a:lnTo>
                  <a:pt x="288" y="126"/>
                </a:lnTo>
                <a:lnTo>
                  <a:pt x="282" y="132"/>
                </a:lnTo>
                <a:lnTo>
                  <a:pt x="282" y="126"/>
                </a:lnTo>
                <a:lnTo>
                  <a:pt x="282" y="126"/>
                </a:lnTo>
                <a:lnTo>
                  <a:pt x="282" y="126"/>
                </a:lnTo>
                <a:lnTo>
                  <a:pt x="276" y="126"/>
                </a:lnTo>
                <a:lnTo>
                  <a:pt x="276" y="126"/>
                </a:lnTo>
                <a:lnTo>
                  <a:pt x="276" y="126"/>
                </a:lnTo>
                <a:lnTo>
                  <a:pt x="270" y="132"/>
                </a:lnTo>
                <a:lnTo>
                  <a:pt x="270" y="126"/>
                </a:lnTo>
                <a:lnTo>
                  <a:pt x="270" y="126"/>
                </a:lnTo>
                <a:lnTo>
                  <a:pt x="270" y="126"/>
                </a:lnTo>
                <a:lnTo>
                  <a:pt x="270" y="132"/>
                </a:lnTo>
                <a:lnTo>
                  <a:pt x="270" y="132"/>
                </a:lnTo>
                <a:lnTo>
                  <a:pt x="270" y="132"/>
                </a:lnTo>
                <a:lnTo>
                  <a:pt x="264" y="132"/>
                </a:lnTo>
                <a:lnTo>
                  <a:pt x="264" y="132"/>
                </a:lnTo>
                <a:lnTo>
                  <a:pt x="258" y="138"/>
                </a:lnTo>
                <a:lnTo>
                  <a:pt x="252" y="132"/>
                </a:lnTo>
                <a:lnTo>
                  <a:pt x="252" y="138"/>
                </a:lnTo>
                <a:lnTo>
                  <a:pt x="252" y="138"/>
                </a:lnTo>
                <a:lnTo>
                  <a:pt x="252" y="138"/>
                </a:lnTo>
                <a:lnTo>
                  <a:pt x="252" y="138"/>
                </a:lnTo>
                <a:lnTo>
                  <a:pt x="252" y="132"/>
                </a:lnTo>
                <a:lnTo>
                  <a:pt x="246" y="132"/>
                </a:lnTo>
                <a:lnTo>
                  <a:pt x="246" y="132"/>
                </a:lnTo>
                <a:lnTo>
                  <a:pt x="246" y="138"/>
                </a:lnTo>
                <a:lnTo>
                  <a:pt x="240" y="138"/>
                </a:lnTo>
                <a:lnTo>
                  <a:pt x="234" y="138"/>
                </a:lnTo>
                <a:lnTo>
                  <a:pt x="234" y="138"/>
                </a:lnTo>
                <a:lnTo>
                  <a:pt x="234" y="138"/>
                </a:lnTo>
                <a:lnTo>
                  <a:pt x="234" y="144"/>
                </a:lnTo>
                <a:lnTo>
                  <a:pt x="234" y="144"/>
                </a:lnTo>
                <a:lnTo>
                  <a:pt x="234" y="144"/>
                </a:lnTo>
                <a:lnTo>
                  <a:pt x="228" y="144"/>
                </a:lnTo>
                <a:lnTo>
                  <a:pt x="228" y="144"/>
                </a:lnTo>
                <a:lnTo>
                  <a:pt x="228" y="144"/>
                </a:lnTo>
                <a:lnTo>
                  <a:pt x="228" y="144"/>
                </a:lnTo>
                <a:lnTo>
                  <a:pt x="228" y="144"/>
                </a:lnTo>
                <a:lnTo>
                  <a:pt x="228" y="144"/>
                </a:lnTo>
                <a:lnTo>
                  <a:pt x="228" y="150"/>
                </a:lnTo>
                <a:lnTo>
                  <a:pt x="228" y="150"/>
                </a:lnTo>
                <a:lnTo>
                  <a:pt x="228" y="150"/>
                </a:lnTo>
                <a:lnTo>
                  <a:pt x="228" y="144"/>
                </a:lnTo>
                <a:lnTo>
                  <a:pt x="228" y="144"/>
                </a:lnTo>
                <a:lnTo>
                  <a:pt x="228" y="144"/>
                </a:lnTo>
                <a:lnTo>
                  <a:pt x="222" y="150"/>
                </a:lnTo>
                <a:lnTo>
                  <a:pt x="222" y="150"/>
                </a:lnTo>
                <a:lnTo>
                  <a:pt x="222" y="156"/>
                </a:lnTo>
                <a:lnTo>
                  <a:pt x="222" y="156"/>
                </a:lnTo>
                <a:lnTo>
                  <a:pt x="222" y="156"/>
                </a:lnTo>
                <a:lnTo>
                  <a:pt x="222" y="156"/>
                </a:lnTo>
                <a:lnTo>
                  <a:pt x="216" y="156"/>
                </a:lnTo>
                <a:lnTo>
                  <a:pt x="216" y="156"/>
                </a:lnTo>
                <a:lnTo>
                  <a:pt x="216" y="162"/>
                </a:lnTo>
                <a:lnTo>
                  <a:pt x="210" y="168"/>
                </a:lnTo>
                <a:lnTo>
                  <a:pt x="210" y="168"/>
                </a:lnTo>
                <a:lnTo>
                  <a:pt x="210" y="168"/>
                </a:lnTo>
                <a:lnTo>
                  <a:pt x="210" y="162"/>
                </a:lnTo>
                <a:lnTo>
                  <a:pt x="210" y="162"/>
                </a:lnTo>
                <a:lnTo>
                  <a:pt x="210" y="162"/>
                </a:lnTo>
                <a:lnTo>
                  <a:pt x="210" y="162"/>
                </a:lnTo>
                <a:lnTo>
                  <a:pt x="204" y="162"/>
                </a:lnTo>
                <a:lnTo>
                  <a:pt x="204" y="162"/>
                </a:lnTo>
                <a:lnTo>
                  <a:pt x="204" y="162"/>
                </a:lnTo>
                <a:lnTo>
                  <a:pt x="204" y="162"/>
                </a:lnTo>
                <a:lnTo>
                  <a:pt x="198" y="162"/>
                </a:lnTo>
                <a:lnTo>
                  <a:pt x="198" y="156"/>
                </a:lnTo>
                <a:lnTo>
                  <a:pt x="198" y="162"/>
                </a:lnTo>
                <a:lnTo>
                  <a:pt x="198" y="156"/>
                </a:lnTo>
                <a:lnTo>
                  <a:pt x="198" y="156"/>
                </a:lnTo>
                <a:lnTo>
                  <a:pt x="198" y="156"/>
                </a:lnTo>
                <a:lnTo>
                  <a:pt x="198" y="156"/>
                </a:lnTo>
                <a:lnTo>
                  <a:pt x="198" y="156"/>
                </a:lnTo>
                <a:lnTo>
                  <a:pt x="198" y="156"/>
                </a:lnTo>
                <a:lnTo>
                  <a:pt x="198" y="156"/>
                </a:lnTo>
                <a:lnTo>
                  <a:pt x="198" y="156"/>
                </a:lnTo>
                <a:lnTo>
                  <a:pt x="198" y="156"/>
                </a:lnTo>
                <a:lnTo>
                  <a:pt x="198" y="156"/>
                </a:lnTo>
                <a:lnTo>
                  <a:pt x="198" y="156"/>
                </a:lnTo>
                <a:lnTo>
                  <a:pt x="198" y="156"/>
                </a:lnTo>
                <a:lnTo>
                  <a:pt x="198" y="156"/>
                </a:lnTo>
                <a:lnTo>
                  <a:pt x="198" y="156"/>
                </a:lnTo>
                <a:lnTo>
                  <a:pt x="198" y="156"/>
                </a:lnTo>
                <a:lnTo>
                  <a:pt x="198" y="156"/>
                </a:lnTo>
                <a:lnTo>
                  <a:pt x="198" y="156"/>
                </a:lnTo>
                <a:lnTo>
                  <a:pt x="198" y="156"/>
                </a:lnTo>
                <a:lnTo>
                  <a:pt x="198" y="156"/>
                </a:lnTo>
                <a:lnTo>
                  <a:pt x="192" y="150"/>
                </a:lnTo>
                <a:lnTo>
                  <a:pt x="192" y="150"/>
                </a:lnTo>
                <a:lnTo>
                  <a:pt x="192" y="150"/>
                </a:lnTo>
                <a:lnTo>
                  <a:pt x="192" y="150"/>
                </a:lnTo>
                <a:lnTo>
                  <a:pt x="192" y="150"/>
                </a:lnTo>
                <a:lnTo>
                  <a:pt x="192" y="150"/>
                </a:lnTo>
                <a:lnTo>
                  <a:pt x="192" y="150"/>
                </a:lnTo>
                <a:lnTo>
                  <a:pt x="192" y="150"/>
                </a:lnTo>
                <a:lnTo>
                  <a:pt x="192" y="150"/>
                </a:lnTo>
                <a:lnTo>
                  <a:pt x="192" y="144"/>
                </a:lnTo>
                <a:lnTo>
                  <a:pt x="192" y="144"/>
                </a:lnTo>
                <a:lnTo>
                  <a:pt x="192" y="144"/>
                </a:lnTo>
                <a:lnTo>
                  <a:pt x="192" y="144"/>
                </a:lnTo>
                <a:lnTo>
                  <a:pt x="192" y="144"/>
                </a:lnTo>
                <a:lnTo>
                  <a:pt x="192" y="144"/>
                </a:lnTo>
                <a:lnTo>
                  <a:pt x="192" y="144"/>
                </a:lnTo>
                <a:lnTo>
                  <a:pt x="192" y="144"/>
                </a:lnTo>
                <a:lnTo>
                  <a:pt x="192" y="144"/>
                </a:lnTo>
                <a:lnTo>
                  <a:pt x="192" y="144"/>
                </a:lnTo>
                <a:lnTo>
                  <a:pt x="186" y="144"/>
                </a:lnTo>
                <a:lnTo>
                  <a:pt x="186" y="138"/>
                </a:lnTo>
                <a:lnTo>
                  <a:pt x="180" y="132"/>
                </a:lnTo>
                <a:lnTo>
                  <a:pt x="168" y="120"/>
                </a:lnTo>
                <a:lnTo>
                  <a:pt x="162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32"/>
                </a:lnTo>
                <a:lnTo>
                  <a:pt x="144" y="126"/>
                </a:lnTo>
                <a:lnTo>
                  <a:pt x="144" y="132"/>
                </a:lnTo>
                <a:lnTo>
                  <a:pt x="144" y="132"/>
                </a:lnTo>
                <a:lnTo>
                  <a:pt x="144" y="132"/>
                </a:lnTo>
                <a:lnTo>
                  <a:pt x="144" y="132"/>
                </a:lnTo>
                <a:lnTo>
                  <a:pt x="144" y="132"/>
                </a:lnTo>
                <a:lnTo>
                  <a:pt x="138" y="132"/>
                </a:lnTo>
                <a:lnTo>
                  <a:pt x="138" y="132"/>
                </a:lnTo>
                <a:lnTo>
                  <a:pt x="138" y="132"/>
                </a:lnTo>
                <a:lnTo>
                  <a:pt x="138" y="132"/>
                </a:lnTo>
                <a:lnTo>
                  <a:pt x="138" y="132"/>
                </a:lnTo>
                <a:lnTo>
                  <a:pt x="138" y="132"/>
                </a:lnTo>
                <a:lnTo>
                  <a:pt x="138" y="132"/>
                </a:lnTo>
                <a:lnTo>
                  <a:pt x="138" y="132"/>
                </a:lnTo>
                <a:lnTo>
                  <a:pt x="138" y="132"/>
                </a:lnTo>
                <a:lnTo>
                  <a:pt x="138" y="132"/>
                </a:lnTo>
                <a:lnTo>
                  <a:pt x="138" y="132"/>
                </a:lnTo>
                <a:lnTo>
                  <a:pt x="138" y="132"/>
                </a:lnTo>
                <a:lnTo>
                  <a:pt x="138" y="132"/>
                </a:lnTo>
                <a:lnTo>
                  <a:pt x="138" y="132"/>
                </a:lnTo>
                <a:lnTo>
                  <a:pt x="138" y="132"/>
                </a:lnTo>
                <a:lnTo>
                  <a:pt x="138" y="132"/>
                </a:lnTo>
                <a:lnTo>
                  <a:pt x="138" y="132"/>
                </a:lnTo>
                <a:lnTo>
                  <a:pt x="138" y="132"/>
                </a:lnTo>
                <a:lnTo>
                  <a:pt x="138" y="132"/>
                </a:lnTo>
                <a:lnTo>
                  <a:pt x="138" y="132"/>
                </a:lnTo>
                <a:lnTo>
                  <a:pt x="138" y="132"/>
                </a:lnTo>
                <a:lnTo>
                  <a:pt x="138" y="132"/>
                </a:lnTo>
                <a:lnTo>
                  <a:pt x="132" y="132"/>
                </a:lnTo>
                <a:lnTo>
                  <a:pt x="132" y="132"/>
                </a:lnTo>
                <a:lnTo>
                  <a:pt x="132" y="132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32"/>
                </a:lnTo>
                <a:lnTo>
                  <a:pt x="132" y="132"/>
                </a:lnTo>
                <a:lnTo>
                  <a:pt x="132" y="132"/>
                </a:lnTo>
                <a:lnTo>
                  <a:pt x="132" y="132"/>
                </a:lnTo>
                <a:lnTo>
                  <a:pt x="132" y="132"/>
                </a:lnTo>
                <a:lnTo>
                  <a:pt x="132" y="132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32"/>
                </a:lnTo>
                <a:lnTo>
                  <a:pt x="132" y="132"/>
                </a:lnTo>
                <a:lnTo>
                  <a:pt x="132" y="132"/>
                </a:lnTo>
                <a:lnTo>
                  <a:pt x="132" y="132"/>
                </a:lnTo>
                <a:lnTo>
                  <a:pt x="132" y="132"/>
                </a:lnTo>
                <a:lnTo>
                  <a:pt x="132" y="132"/>
                </a:lnTo>
                <a:lnTo>
                  <a:pt x="132" y="132"/>
                </a:lnTo>
                <a:lnTo>
                  <a:pt x="132" y="132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32"/>
                </a:lnTo>
                <a:lnTo>
                  <a:pt x="126" y="132"/>
                </a:lnTo>
                <a:lnTo>
                  <a:pt x="126" y="132"/>
                </a:lnTo>
                <a:lnTo>
                  <a:pt x="126" y="132"/>
                </a:lnTo>
                <a:lnTo>
                  <a:pt x="126" y="132"/>
                </a:lnTo>
                <a:lnTo>
                  <a:pt x="126" y="126"/>
                </a:lnTo>
                <a:lnTo>
                  <a:pt x="126" y="132"/>
                </a:lnTo>
                <a:lnTo>
                  <a:pt x="126" y="132"/>
                </a:lnTo>
                <a:lnTo>
                  <a:pt x="126" y="132"/>
                </a:lnTo>
                <a:lnTo>
                  <a:pt x="126" y="132"/>
                </a:lnTo>
                <a:lnTo>
                  <a:pt x="126" y="132"/>
                </a:lnTo>
                <a:lnTo>
                  <a:pt x="126" y="132"/>
                </a:lnTo>
                <a:lnTo>
                  <a:pt x="126" y="132"/>
                </a:lnTo>
                <a:lnTo>
                  <a:pt x="126" y="132"/>
                </a:lnTo>
                <a:lnTo>
                  <a:pt x="126" y="132"/>
                </a:lnTo>
                <a:lnTo>
                  <a:pt x="126" y="132"/>
                </a:lnTo>
                <a:lnTo>
                  <a:pt x="120" y="132"/>
                </a:lnTo>
                <a:lnTo>
                  <a:pt x="120" y="132"/>
                </a:lnTo>
                <a:lnTo>
                  <a:pt x="120" y="132"/>
                </a:lnTo>
                <a:lnTo>
                  <a:pt x="120" y="132"/>
                </a:lnTo>
                <a:lnTo>
                  <a:pt x="120" y="132"/>
                </a:lnTo>
                <a:lnTo>
                  <a:pt x="120" y="132"/>
                </a:lnTo>
                <a:lnTo>
                  <a:pt x="120" y="132"/>
                </a:lnTo>
                <a:lnTo>
                  <a:pt x="120" y="132"/>
                </a:lnTo>
                <a:lnTo>
                  <a:pt x="120" y="132"/>
                </a:lnTo>
                <a:lnTo>
                  <a:pt x="120" y="132"/>
                </a:lnTo>
                <a:lnTo>
                  <a:pt x="120" y="132"/>
                </a:lnTo>
                <a:lnTo>
                  <a:pt x="120" y="132"/>
                </a:lnTo>
                <a:lnTo>
                  <a:pt x="120" y="132"/>
                </a:lnTo>
                <a:lnTo>
                  <a:pt x="120" y="132"/>
                </a:lnTo>
                <a:lnTo>
                  <a:pt x="120" y="132"/>
                </a:lnTo>
                <a:lnTo>
                  <a:pt x="120" y="132"/>
                </a:lnTo>
                <a:lnTo>
                  <a:pt x="120" y="132"/>
                </a:lnTo>
                <a:lnTo>
                  <a:pt x="120" y="132"/>
                </a:lnTo>
                <a:lnTo>
                  <a:pt x="120" y="132"/>
                </a:lnTo>
                <a:lnTo>
                  <a:pt x="120" y="132"/>
                </a:lnTo>
                <a:lnTo>
                  <a:pt x="120" y="132"/>
                </a:lnTo>
                <a:lnTo>
                  <a:pt x="120" y="132"/>
                </a:lnTo>
                <a:lnTo>
                  <a:pt x="120" y="132"/>
                </a:lnTo>
                <a:lnTo>
                  <a:pt x="120" y="132"/>
                </a:lnTo>
                <a:lnTo>
                  <a:pt x="120" y="132"/>
                </a:lnTo>
                <a:lnTo>
                  <a:pt x="120" y="132"/>
                </a:lnTo>
                <a:lnTo>
                  <a:pt x="120" y="132"/>
                </a:lnTo>
                <a:lnTo>
                  <a:pt x="120" y="132"/>
                </a:lnTo>
                <a:lnTo>
                  <a:pt x="120" y="132"/>
                </a:lnTo>
                <a:lnTo>
                  <a:pt x="114" y="132"/>
                </a:lnTo>
                <a:lnTo>
                  <a:pt x="114" y="132"/>
                </a:lnTo>
                <a:lnTo>
                  <a:pt x="114" y="132"/>
                </a:lnTo>
                <a:lnTo>
                  <a:pt x="114" y="132"/>
                </a:lnTo>
                <a:lnTo>
                  <a:pt x="108" y="132"/>
                </a:lnTo>
                <a:lnTo>
                  <a:pt x="108" y="132"/>
                </a:lnTo>
                <a:lnTo>
                  <a:pt x="108" y="132"/>
                </a:lnTo>
                <a:lnTo>
                  <a:pt x="108" y="138"/>
                </a:lnTo>
                <a:lnTo>
                  <a:pt x="102" y="138"/>
                </a:lnTo>
                <a:lnTo>
                  <a:pt x="102" y="138"/>
                </a:lnTo>
                <a:lnTo>
                  <a:pt x="102" y="138"/>
                </a:lnTo>
                <a:lnTo>
                  <a:pt x="102" y="138"/>
                </a:lnTo>
                <a:lnTo>
                  <a:pt x="102" y="138"/>
                </a:lnTo>
                <a:lnTo>
                  <a:pt x="102" y="138"/>
                </a:lnTo>
                <a:lnTo>
                  <a:pt x="102" y="144"/>
                </a:lnTo>
                <a:lnTo>
                  <a:pt x="96" y="144"/>
                </a:lnTo>
                <a:lnTo>
                  <a:pt x="96" y="144"/>
                </a:lnTo>
                <a:lnTo>
                  <a:pt x="96" y="144"/>
                </a:lnTo>
                <a:lnTo>
                  <a:pt x="90" y="144"/>
                </a:lnTo>
                <a:lnTo>
                  <a:pt x="90" y="138"/>
                </a:lnTo>
                <a:lnTo>
                  <a:pt x="90" y="138"/>
                </a:lnTo>
                <a:lnTo>
                  <a:pt x="90" y="144"/>
                </a:lnTo>
                <a:lnTo>
                  <a:pt x="90" y="144"/>
                </a:lnTo>
                <a:lnTo>
                  <a:pt x="84" y="144"/>
                </a:lnTo>
                <a:lnTo>
                  <a:pt x="84" y="144"/>
                </a:lnTo>
                <a:lnTo>
                  <a:pt x="84" y="138"/>
                </a:lnTo>
                <a:lnTo>
                  <a:pt x="84" y="144"/>
                </a:lnTo>
                <a:lnTo>
                  <a:pt x="84" y="138"/>
                </a:lnTo>
                <a:lnTo>
                  <a:pt x="84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66" y="138"/>
                </a:lnTo>
                <a:lnTo>
                  <a:pt x="66" y="138"/>
                </a:lnTo>
                <a:lnTo>
                  <a:pt x="66" y="138"/>
                </a:lnTo>
                <a:lnTo>
                  <a:pt x="66" y="138"/>
                </a:lnTo>
                <a:lnTo>
                  <a:pt x="66" y="138"/>
                </a:lnTo>
                <a:lnTo>
                  <a:pt x="60" y="138"/>
                </a:lnTo>
                <a:lnTo>
                  <a:pt x="60" y="138"/>
                </a:lnTo>
                <a:lnTo>
                  <a:pt x="60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48" y="138"/>
                </a:lnTo>
                <a:lnTo>
                  <a:pt x="48" y="144"/>
                </a:lnTo>
                <a:lnTo>
                  <a:pt x="48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36" y="144"/>
                </a:lnTo>
                <a:lnTo>
                  <a:pt x="36" y="144"/>
                </a:lnTo>
                <a:lnTo>
                  <a:pt x="36" y="144"/>
                </a:lnTo>
                <a:lnTo>
                  <a:pt x="36" y="144"/>
                </a:lnTo>
                <a:lnTo>
                  <a:pt x="30" y="138"/>
                </a:lnTo>
                <a:lnTo>
                  <a:pt x="30" y="138"/>
                </a:lnTo>
                <a:lnTo>
                  <a:pt x="30" y="132"/>
                </a:lnTo>
                <a:lnTo>
                  <a:pt x="24" y="132"/>
                </a:lnTo>
                <a:lnTo>
                  <a:pt x="24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26"/>
                </a:lnTo>
                <a:lnTo>
                  <a:pt x="12" y="126"/>
                </a:lnTo>
                <a:lnTo>
                  <a:pt x="12" y="132"/>
                </a:lnTo>
                <a:lnTo>
                  <a:pt x="6" y="132"/>
                </a:lnTo>
                <a:lnTo>
                  <a:pt x="6" y="132"/>
                </a:lnTo>
                <a:lnTo>
                  <a:pt x="0" y="132"/>
                </a:lnTo>
                <a:lnTo>
                  <a:pt x="0" y="13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44" name="Freeform 77"/>
          <p:cNvSpPr>
            <a:spLocks/>
          </p:cNvSpPr>
          <p:nvPr/>
        </p:nvSpPr>
        <p:spPr bwMode="auto">
          <a:xfrm>
            <a:off x="7584196" y="1411188"/>
            <a:ext cx="224842" cy="141330"/>
          </a:xfrm>
          <a:custGeom>
            <a:avLst/>
            <a:gdLst>
              <a:gd name="T0" fmla="*/ 0 w 210"/>
              <a:gd name="T1" fmla="*/ 12 h 132"/>
              <a:gd name="T2" fmla="*/ 18 w 210"/>
              <a:gd name="T3" fmla="*/ 0 h 132"/>
              <a:gd name="T4" fmla="*/ 30 w 210"/>
              <a:gd name="T5" fmla="*/ 18 h 132"/>
              <a:gd name="T6" fmla="*/ 36 w 210"/>
              <a:gd name="T7" fmla="*/ 18 h 132"/>
              <a:gd name="T8" fmla="*/ 48 w 210"/>
              <a:gd name="T9" fmla="*/ 12 h 132"/>
              <a:gd name="T10" fmla="*/ 54 w 210"/>
              <a:gd name="T11" fmla="*/ 18 h 132"/>
              <a:gd name="T12" fmla="*/ 84 w 210"/>
              <a:gd name="T13" fmla="*/ 24 h 132"/>
              <a:gd name="T14" fmla="*/ 102 w 210"/>
              <a:gd name="T15" fmla="*/ 36 h 132"/>
              <a:gd name="T16" fmla="*/ 126 w 210"/>
              <a:gd name="T17" fmla="*/ 48 h 132"/>
              <a:gd name="T18" fmla="*/ 132 w 210"/>
              <a:gd name="T19" fmla="*/ 42 h 132"/>
              <a:gd name="T20" fmla="*/ 126 w 210"/>
              <a:gd name="T21" fmla="*/ 42 h 132"/>
              <a:gd name="T22" fmla="*/ 132 w 210"/>
              <a:gd name="T23" fmla="*/ 48 h 132"/>
              <a:gd name="T24" fmla="*/ 138 w 210"/>
              <a:gd name="T25" fmla="*/ 54 h 132"/>
              <a:gd name="T26" fmla="*/ 138 w 210"/>
              <a:gd name="T27" fmla="*/ 54 h 132"/>
              <a:gd name="T28" fmla="*/ 132 w 210"/>
              <a:gd name="T29" fmla="*/ 48 h 132"/>
              <a:gd name="T30" fmla="*/ 132 w 210"/>
              <a:gd name="T31" fmla="*/ 48 h 132"/>
              <a:gd name="T32" fmla="*/ 132 w 210"/>
              <a:gd name="T33" fmla="*/ 42 h 132"/>
              <a:gd name="T34" fmla="*/ 144 w 210"/>
              <a:gd name="T35" fmla="*/ 54 h 132"/>
              <a:gd name="T36" fmla="*/ 156 w 210"/>
              <a:gd name="T37" fmla="*/ 60 h 132"/>
              <a:gd name="T38" fmla="*/ 162 w 210"/>
              <a:gd name="T39" fmla="*/ 60 h 132"/>
              <a:gd name="T40" fmla="*/ 186 w 210"/>
              <a:gd name="T41" fmla="*/ 60 h 132"/>
              <a:gd name="T42" fmla="*/ 192 w 210"/>
              <a:gd name="T43" fmla="*/ 60 h 132"/>
              <a:gd name="T44" fmla="*/ 198 w 210"/>
              <a:gd name="T45" fmla="*/ 60 h 132"/>
              <a:gd name="T46" fmla="*/ 204 w 210"/>
              <a:gd name="T47" fmla="*/ 66 h 132"/>
              <a:gd name="T48" fmla="*/ 204 w 210"/>
              <a:gd name="T49" fmla="*/ 66 h 132"/>
              <a:gd name="T50" fmla="*/ 210 w 210"/>
              <a:gd name="T51" fmla="*/ 66 h 132"/>
              <a:gd name="T52" fmla="*/ 210 w 210"/>
              <a:gd name="T53" fmla="*/ 66 h 132"/>
              <a:gd name="T54" fmla="*/ 210 w 210"/>
              <a:gd name="T55" fmla="*/ 66 h 132"/>
              <a:gd name="T56" fmla="*/ 210 w 210"/>
              <a:gd name="T57" fmla="*/ 72 h 132"/>
              <a:gd name="T58" fmla="*/ 210 w 210"/>
              <a:gd name="T59" fmla="*/ 72 h 132"/>
              <a:gd name="T60" fmla="*/ 210 w 210"/>
              <a:gd name="T61" fmla="*/ 78 h 132"/>
              <a:gd name="T62" fmla="*/ 204 w 210"/>
              <a:gd name="T63" fmla="*/ 78 h 132"/>
              <a:gd name="T64" fmla="*/ 204 w 210"/>
              <a:gd name="T65" fmla="*/ 78 h 132"/>
              <a:gd name="T66" fmla="*/ 204 w 210"/>
              <a:gd name="T67" fmla="*/ 84 h 132"/>
              <a:gd name="T68" fmla="*/ 138 w 210"/>
              <a:gd name="T69" fmla="*/ 108 h 132"/>
              <a:gd name="T70" fmla="*/ 126 w 210"/>
              <a:gd name="T71" fmla="*/ 114 h 132"/>
              <a:gd name="T72" fmla="*/ 120 w 210"/>
              <a:gd name="T73" fmla="*/ 132 h 132"/>
              <a:gd name="T74" fmla="*/ 90 w 210"/>
              <a:gd name="T75" fmla="*/ 114 h 132"/>
              <a:gd name="T76" fmla="*/ 36 w 210"/>
              <a:gd name="T77" fmla="*/ 102 h 132"/>
              <a:gd name="T78" fmla="*/ 30 w 210"/>
              <a:gd name="T79" fmla="*/ 102 h 132"/>
              <a:gd name="T80" fmla="*/ 30 w 210"/>
              <a:gd name="T81" fmla="*/ 102 h 132"/>
              <a:gd name="T82" fmla="*/ 30 w 210"/>
              <a:gd name="T83" fmla="*/ 102 h 132"/>
              <a:gd name="T84" fmla="*/ 24 w 210"/>
              <a:gd name="T85" fmla="*/ 108 h 132"/>
              <a:gd name="T86" fmla="*/ 0 w 210"/>
              <a:gd name="T87" fmla="*/ 54 h 132"/>
              <a:gd name="T88" fmla="*/ 0 w 210"/>
              <a:gd name="T89" fmla="*/ 54 h 132"/>
              <a:gd name="T90" fmla="*/ 6 w 210"/>
              <a:gd name="T91" fmla="*/ 54 h 132"/>
              <a:gd name="T92" fmla="*/ 6 w 210"/>
              <a:gd name="T93" fmla="*/ 54 h 132"/>
              <a:gd name="T94" fmla="*/ 6 w 210"/>
              <a:gd name="T95" fmla="*/ 48 h 132"/>
              <a:gd name="T96" fmla="*/ 6 w 210"/>
              <a:gd name="T97" fmla="*/ 48 h 132"/>
              <a:gd name="T98" fmla="*/ 6 w 210"/>
              <a:gd name="T99" fmla="*/ 48 h 132"/>
              <a:gd name="T100" fmla="*/ 6 w 210"/>
              <a:gd name="T101" fmla="*/ 48 h 132"/>
              <a:gd name="T102" fmla="*/ 6 w 210"/>
              <a:gd name="T103" fmla="*/ 48 h 132"/>
              <a:gd name="T104" fmla="*/ 6 w 210"/>
              <a:gd name="T105" fmla="*/ 42 h 132"/>
              <a:gd name="T106" fmla="*/ 6 w 210"/>
              <a:gd name="T107" fmla="*/ 42 h 132"/>
              <a:gd name="T108" fmla="*/ 6 w 210"/>
              <a:gd name="T109" fmla="*/ 42 h 132"/>
              <a:gd name="T110" fmla="*/ 6 w 210"/>
              <a:gd name="T111" fmla="*/ 42 h 132"/>
              <a:gd name="T112" fmla="*/ 6 w 210"/>
              <a:gd name="T113" fmla="*/ 36 h 132"/>
              <a:gd name="T114" fmla="*/ 6 w 210"/>
              <a:gd name="T115" fmla="*/ 36 h 132"/>
              <a:gd name="T116" fmla="*/ 6 w 210"/>
              <a:gd name="T117" fmla="*/ 36 h 132"/>
              <a:gd name="T118" fmla="*/ 6 w 210"/>
              <a:gd name="T119" fmla="*/ 30 h 132"/>
              <a:gd name="T120" fmla="*/ 0 w 210"/>
              <a:gd name="T121" fmla="*/ 30 h 132"/>
              <a:gd name="T122" fmla="*/ 0 w 210"/>
              <a:gd name="T123" fmla="*/ 24 h 132"/>
              <a:gd name="T124" fmla="*/ 0 w 210"/>
              <a:gd name="T125" fmla="*/ 24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10" h="132">
                <a:moveTo>
                  <a:pt x="0" y="18"/>
                </a:moveTo>
                <a:lnTo>
                  <a:pt x="0" y="18"/>
                </a:lnTo>
                <a:lnTo>
                  <a:pt x="0" y="18"/>
                </a:lnTo>
                <a:lnTo>
                  <a:pt x="0" y="12"/>
                </a:lnTo>
                <a:lnTo>
                  <a:pt x="6" y="6"/>
                </a:lnTo>
                <a:lnTo>
                  <a:pt x="12" y="6"/>
                </a:lnTo>
                <a:lnTo>
                  <a:pt x="12" y="0"/>
                </a:lnTo>
                <a:lnTo>
                  <a:pt x="18" y="0"/>
                </a:lnTo>
                <a:lnTo>
                  <a:pt x="18" y="0"/>
                </a:lnTo>
                <a:lnTo>
                  <a:pt x="24" y="6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6" y="18"/>
                </a:lnTo>
                <a:lnTo>
                  <a:pt x="36" y="18"/>
                </a:lnTo>
                <a:lnTo>
                  <a:pt x="42" y="18"/>
                </a:lnTo>
                <a:lnTo>
                  <a:pt x="42" y="18"/>
                </a:lnTo>
                <a:lnTo>
                  <a:pt x="48" y="12"/>
                </a:lnTo>
                <a:lnTo>
                  <a:pt x="48" y="12"/>
                </a:lnTo>
                <a:lnTo>
                  <a:pt x="48" y="18"/>
                </a:lnTo>
                <a:lnTo>
                  <a:pt x="48" y="18"/>
                </a:lnTo>
                <a:lnTo>
                  <a:pt x="54" y="18"/>
                </a:lnTo>
                <a:lnTo>
                  <a:pt x="54" y="18"/>
                </a:lnTo>
                <a:lnTo>
                  <a:pt x="60" y="18"/>
                </a:lnTo>
                <a:lnTo>
                  <a:pt x="72" y="18"/>
                </a:lnTo>
                <a:lnTo>
                  <a:pt x="78" y="24"/>
                </a:lnTo>
                <a:lnTo>
                  <a:pt x="84" y="24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102" y="36"/>
                </a:lnTo>
                <a:lnTo>
                  <a:pt x="120" y="42"/>
                </a:lnTo>
                <a:lnTo>
                  <a:pt x="126" y="42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2"/>
                </a:lnTo>
                <a:lnTo>
                  <a:pt x="132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32" y="42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8" y="48"/>
                </a:lnTo>
                <a:lnTo>
                  <a:pt x="138" y="54"/>
                </a:lnTo>
                <a:lnTo>
                  <a:pt x="138" y="54"/>
                </a:lnTo>
                <a:lnTo>
                  <a:pt x="138" y="54"/>
                </a:lnTo>
                <a:lnTo>
                  <a:pt x="138" y="54"/>
                </a:lnTo>
                <a:lnTo>
                  <a:pt x="138" y="54"/>
                </a:lnTo>
                <a:lnTo>
                  <a:pt x="138" y="54"/>
                </a:lnTo>
                <a:lnTo>
                  <a:pt x="138" y="48"/>
                </a:lnTo>
                <a:lnTo>
                  <a:pt x="138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44" y="54"/>
                </a:lnTo>
                <a:lnTo>
                  <a:pt x="150" y="60"/>
                </a:lnTo>
                <a:lnTo>
                  <a:pt x="156" y="60"/>
                </a:lnTo>
                <a:lnTo>
                  <a:pt x="156" y="60"/>
                </a:lnTo>
                <a:lnTo>
                  <a:pt x="156" y="60"/>
                </a:lnTo>
                <a:lnTo>
                  <a:pt x="162" y="60"/>
                </a:lnTo>
                <a:lnTo>
                  <a:pt x="162" y="66"/>
                </a:lnTo>
                <a:lnTo>
                  <a:pt x="162" y="66"/>
                </a:lnTo>
                <a:lnTo>
                  <a:pt x="162" y="60"/>
                </a:lnTo>
                <a:lnTo>
                  <a:pt x="168" y="60"/>
                </a:lnTo>
                <a:lnTo>
                  <a:pt x="168" y="66"/>
                </a:lnTo>
                <a:lnTo>
                  <a:pt x="180" y="66"/>
                </a:lnTo>
                <a:lnTo>
                  <a:pt x="186" y="60"/>
                </a:lnTo>
                <a:lnTo>
                  <a:pt x="186" y="60"/>
                </a:lnTo>
                <a:lnTo>
                  <a:pt x="186" y="60"/>
                </a:lnTo>
                <a:lnTo>
                  <a:pt x="186" y="60"/>
                </a:lnTo>
                <a:lnTo>
                  <a:pt x="192" y="60"/>
                </a:lnTo>
                <a:lnTo>
                  <a:pt x="192" y="60"/>
                </a:lnTo>
                <a:lnTo>
                  <a:pt x="198" y="60"/>
                </a:lnTo>
                <a:lnTo>
                  <a:pt x="198" y="60"/>
                </a:lnTo>
                <a:lnTo>
                  <a:pt x="198" y="60"/>
                </a:lnTo>
                <a:lnTo>
                  <a:pt x="198" y="60"/>
                </a:lnTo>
                <a:lnTo>
                  <a:pt x="198" y="66"/>
                </a:lnTo>
                <a:lnTo>
                  <a:pt x="198" y="66"/>
                </a:lnTo>
                <a:lnTo>
                  <a:pt x="204" y="66"/>
                </a:lnTo>
                <a:lnTo>
                  <a:pt x="204" y="66"/>
                </a:lnTo>
                <a:lnTo>
                  <a:pt x="204" y="66"/>
                </a:lnTo>
                <a:lnTo>
                  <a:pt x="204" y="66"/>
                </a:lnTo>
                <a:lnTo>
                  <a:pt x="204" y="66"/>
                </a:lnTo>
                <a:lnTo>
                  <a:pt x="204" y="66"/>
                </a:lnTo>
                <a:lnTo>
                  <a:pt x="204" y="66"/>
                </a:lnTo>
                <a:lnTo>
                  <a:pt x="204" y="66"/>
                </a:lnTo>
                <a:lnTo>
                  <a:pt x="210" y="66"/>
                </a:lnTo>
                <a:lnTo>
                  <a:pt x="210" y="66"/>
                </a:lnTo>
                <a:lnTo>
                  <a:pt x="210" y="66"/>
                </a:lnTo>
                <a:lnTo>
                  <a:pt x="210" y="66"/>
                </a:lnTo>
                <a:lnTo>
                  <a:pt x="210" y="66"/>
                </a:lnTo>
                <a:lnTo>
                  <a:pt x="210" y="66"/>
                </a:lnTo>
                <a:lnTo>
                  <a:pt x="210" y="66"/>
                </a:lnTo>
                <a:lnTo>
                  <a:pt x="210" y="66"/>
                </a:lnTo>
                <a:lnTo>
                  <a:pt x="210" y="66"/>
                </a:lnTo>
                <a:lnTo>
                  <a:pt x="210" y="66"/>
                </a:lnTo>
                <a:lnTo>
                  <a:pt x="210" y="72"/>
                </a:lnTo>
                <a:lnTo>
                  <a:pt x="210" y="72"/>
                </a:lnTo>
                <a:lnTo>
                  <a:pt x="210" y="72"/>
                </a:lnTo>
                <a:lnTo>
                  <a:pt x="210" y="72"/>
                </a:lnTo>
                <a:lnTo>
                  <a:pt x="210" y="72"/>
                </a:lnTo>
                <a:lnTo>
                  <a:pt x="210" y="72"/>
                </a:lnTo>
                <a:lnTo>
                  <a:pt x="210" y="72"/>
                </a:lnTo>
                <a:lnTo>
                  <a:pt x="210" y="78"/>
                </a:lnTo>
                <a:lnTo>
                  <a:pt x="210" y="78"/>
                </a:lnTo>
                <a:lnTo>
                  <a:pt x="210" y="78"/>
                </a:lnTo>
                <a:lnTo>
                  <a:pt x="210" y="78"/>
                </a:lnTo>
                <a:lnTo>
                  <a:pt x="204" y="78"/>
                </a:lnTo>
                <a:lnTo>
                  <a:pt x="204" y="78"/>
                </a:lnTo>
                <a:lnTo>
                  <a:pt x="204" y="78"/>
                </a:lnTo>
                <a:lnTo>
                  <a:pt x="204" y="78"/>
                </a:lnTo>
                <a:lnTo>
                  <a:pt x="204" y="78"/>
                </a:lnTo>
                <a:lnTo>
                  <a:pt x="204" y="78"/>
                </a:lnTo>
                <a:lnTo>
                  <a:pt x="204" y="78"/>
                </a:lnTo>
                <a:lnTo>
                  <a:pt x="204" y="78"/>
                </a:lnTo>
                <a:lnTo>
                  <a:pt x="204" y="78"/>
                </a:lnTo>
                <a:lnTo>
                  <a:pt x="204" y="78"/>
                </a:lnTo>
                <a:lnTo>
                  <a:pt x="204" y="84"/>
                </a:lnTo>
                <a:lnTo>
                  <a:pt x="204" y="84"/>
                </a:lnTo>
                <a:lnTo>
                  <a:pt x="186" y="114"/>
                </a:lnTo>
                <a:lnTo>
                  <a:pt x="156" y="114"/>
                </a:lnTo>
                <a:lnTo>
                  <a:pt x="138" y="108"/>
                </a:lnTo>
                <a:lnTo>
                  <a:pt x="138" y="108"/>
                </a:lnTo>
                <a:lnTo>
                  <a:pt x="138" y="108"/>
                </a:lnTo>
                <a:lnTo>
                  <a:pt x="126" y="108"/>
                </a:lnTo>
                <a:lnTo>
                  <a:pt x="126" y="114"/>
                </a:lnTo>
                <a:lnTo>
                  <a:pt x="126" y="114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0" y="132"/>
                </a:lnTo>
                <a:lnTo>
                  <a:pt x="114" y="132"/>
                </a:lnTo>
                <a:lnTo>
                  <a:pt x="114" y="132"/>
                </a:lnTo>
                <a:lnTo>
                  <a:pt x="114" y="132"/>
                </a:lnTo>
                <a:lnTo>
                  <a:pt x="90" y="114"/>
                </a:lnTo>
                <a:lnTo>
                  <a:pt x="66" y="108"/>
                </a:lnTo>
                <a:lnTo>
                  <a:pt x="54" y="108"/>
                </a:lnTo>
                <a:lnTo>
                  <a:pt x="54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24" y="102"/>
                </a:lnTo>
                <a:lnTo>
                  <a:pt x="24" y="108"/>
                </a:lnTo>
                <a:lnTo>
                  <a:pt x="24" y="108"/>
                </a:lnTo>
                <a:lnTo>
                  <a:pt x="18" y="96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1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45" name="Freeform 78"/>
          <p:cNvSpPr>
            <a:spLocks/>
          </p:cNvSpPr>
          <p:nvPr/>
        </p:nvSpPr>
        <p:spPr bwMode="auto">
          <a:xfrm>
            <a:off x="7205177" y="2027901"/>
            <a:ext cx="308354" cy="192723"/>
          </a:xfrm>
          <a:custGeom>
            <a:avLst/>
            <a:gdLst>
              <a:gd name="T0" fmla="*/ 24 w 288"/>
              <a:gd name="T1" fmla="*/ 30 h 180"/>
              <a:gd name="T2" fmla="*/ 36 w 288"/>
              <a:gd name="T3" fmla="*/ 24 h 180"/>
              <a:gd name="T4" fmla="*/ 48 w 288"/>
              <a:gd name="T5" fmla="*/ 12 h 180"/>
              <a:gd name="T6" fmla="*/ 60 w 288"/>
              <a:gd name="T7" fmla="*/ 6 h 180"/>
              <a:gd name="T8" fmla="*/ 84 w 288"/>
              <a:gd name="T9" fmla="*/ 12 h 180"/>
              <a:gd name="T10" fmla="*/ 108 w 288"/>
              <a:gd name="T11" fmla="*/ 12 h 180"/>
              <a:gd name="T12" fmla="*/ 120 w 288"/>
              <a:gd name="T13" fmla="*/ 24 h 180"/>
              <a:gd name="T14" fmla="*/ 132 w 288"/>
              <a:gd name="T15" fmla="*/ 18 h 180"/>
              <a:gd name="T16" fmla="*/ 150 w 288"/>
              <a:gd name="T17" fmla="*/ 18 h 180"/>
              <a:gd name="T18" fmla="*/ 156 w 288"/>
              <a:gd name="T19" fmla="*/ 18 h 180"/>
              <a:gd name="T20" fmla="*/ 168 w 288"/>
              <a:gd name="T21" fmla="*/ 18 h 180"/>
              <a:gd name="T22" fmla="*/ 180 w 288"/>
              <a:gd name="T23" fmla="*/ 18 h 180"/>
              <a:gd name="T24" fmla="*/ 198 w 288"/>
              <a:gd name="T25" fmla="*/ 12 h 180"/>
              <a:gd name="T26" fmla="*/ 198 w 288"/>
              <a:gd name="T27" fmla="*/ 12 h 180"/>
              <a:gd name="T28" fmla="*/ 198 w 288"/>
              <a:gd name="T29" fmla="*/ 12 h 180"/>
              <a:gd name="T30" fmla="*/ 204 w 288"/>
              <a:gd name="T31" fmla="*/ 12 h 180"/>
              <a:gd name="T32" fmla="*/ 204 w 288"/>
              <a:gd name="T33" fmla="*/ 12 h 180"/>
              <a:gd name="T34" fmla="*/ 204 w 288"/>
              <a:gd name="T35" fmla="*/ 6 h 180"/>
              <a:gd name="T36" fmla="*/ 210 w 288"/>
              <a:gd name="T37" fmla="*/ 12 h 180"/>
              <a:gd name="T38" fmla="*/ 210 w 288"/>
              <a:gd name="T39" fmla="*/ 12 h 180"/>
              <a:gd name="T40" fmla="*/ 210 w 288"/>
              <a:gd name="T41" fmla="*/ 6 h 180"/>
              <a:gd name="T42" fmla="*/ 216 w 288"/>
              <a:gd name="T43" fmla="*/ 12 h 180"/>
              <a:gd name="T44" fmla="*/ 216 w 288"/>
              <a:gd name="T45" fmla="*/ 12 h 180"/>
              <a:gd name="T46" fmla="*/ 222 w 288"/>
              <a:gd name="T47" fmla="*/ 12 h 180"/>
              <a:gd name="T48" fmla="*/ 228 w 288"/>
              <a:gd name="T49" fmla="*/ 6 h 180"/>
              <a:gd name="T50" fmla="*/ 234 w 288"/>
              <a:gd name="T51" fmla="*/ 6 h 180"/>
              <a:gd name="T52" fmla="*/ 270 w 288"/>
              <a:gd name="T53" fmla="*/ 24 h 180"/>
              <a:gd name="T54" fmla="*/ 270 w 288"/>
              <a:gd name="T55" fmla="*/ 30 h 180"/>
              <a:gd name="T56" fmla="*/ 276 w 288"/>
              <a:gd name="T57" fmla="*/ 36 h 180"/>
              <a:gd name="T58" fmla="*/ 276 w 288"/>
              <a:gd name="T59" fmla="*/ 36 h 180"/>
              <a:gd name="T60" fmla="*/ 282 w 288"/>
              <a:gd name="T61" fmla="*/ 42 h 180"/>
              <a:gd name="T62" fmla="*/ 282 w 288"/>
              <a:gd name="T63" fmla="*/ 54 h 180"/>
              <a:gd name="T64" fmla="*/ 270 w 288"/>
              <a:gd name="T65" fmla="*/ 66 h 180"/>
              <a:gd name="T66" fmla="*/ 246 w 288"/>
              <a:gd name="T67" fmla="*/ 78 h 180"/>
              <a:gd name="T68" fmla="*/ 234 w 288"/>
              <a:gd name="T69" fmla="*/ 90 h 180"/>
              <a:gd name="T70" fmla="*/ 216 w 288"/>
              <a:gd name="T71" fmla="*/ 96 h 180"/>
              <a:gd name="T72" fmla="*/ 204 w 288"/>
              <a:gd name="T73" fmla="*/ 102 h 180"/>
              <a:gd name="T74" fmla="*/ 192 w 288"/>
              <a:gd name="T75" fmla="*/ 114 h 180"/>
              <a:gd name="T76" fmla="*/ 168 w 288"/>
              <a:gd name="T77" fmla="*/ 114 h 180"/>
              <a:gd name="T78" fmla="*/ 156 w 288"/>
              <a:gd name="T79" fmla="*/ 120 h 180"/>
              <a:gd name="T80" fmla="*/ 138 w 288"/>
              <a:gd name="T81" fmla="*/ 126 h 180"/>
              <a:gd name="T82" fmla="*/ 132 w 288"/>
              <a:gd name="T83" fmla="*/ 138 h 180"/>
              <a:gd name="T84" fmla="*/ 126 w 288"/>
              <a:gd name="T85" fmla="*/ 138 h 180"/>
              <a:gd name="T86" fmla="*/ 126 w 288"/>
              <a:gd name="T87" fmla="*/ 150 h 180"/>
              <a:gd name="T88" fmla="*/ 120 w 288"/>
              <a:gd name="T89" fmla="*/ 156 h 180"/>
              <a:gd name="T90" fmla="*/ 96 w 288"/>
              <a:gd name="T91" fmla="*/ 150 h 180"/>
              <a:gd name="T92" fmla="*/ 84 w 288"/>
              <a:gd name="T93" fmla="*/ 162 h 180"/>
              <a:gd name="T94" fmla="*/ 84 w 288"/>
              <a:gd name="T95" fmla="*/ 180 h 180"/>
              <a:gd name="T96" fmla="*/ 78 w 288"/>
              <a:gd name="T97" fmla="*/ 162 h 180"/>
              <a:gd name="T98" fmla="*/ 90 w 288"/>
              <a:gd name="T99" fmla="*/ 138 h 180"/>
              <a:gd name="T100" fmla="*/ 84 w 288"/>
              <a:gd name="T101" fmla="*/ 120 h 180"/>
              <a:gd name="T102" fmla="*/ 84 w 288"/>
              <a:gd name="T103" fmla="*/ 108 h 180"/>
              <a:gd name="T104" fmla="*/ 90 w 288"/>
              <a:gd name="T105" fmla="*/ 102 h 180"/>
              <a:gd name="T106" fmla="*/ 102 w 288"/>
              <a:gd name="T107" fmla="*/ 102 h 180"/>
              <a:gd name="T108" fmla="*/ 90 w 288"/>
              <a:gd name="T109" fmla="*/ 90 h 180"/>
              <a:gd name="T110" fmla="*/ 30 w 288"/>
              <a:gd name="T111" fmla="*/ 90 h 180"/>
              <a:gd name="T112" fmla="*/ 18 w 288"/>
              <a:gd name="T113" fmla="*/ 90 h 180"/>
              <a:gd name="T114" fmla="*/ 18 w 288"/>
              <a:gd name="T115" fmla="*/ 78 h 180"/>
              <a:gd name="T116" fmla="*/ 24 w 288"/>
              <a:gd name="T117" fmla="*/ 78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88" h="180">
                <a:moveTo>
                  <a:pt x="0" y="54"/>
                </a:moveTo>
                <a:lnTo>
                  <a:pt x="6" y="48"/>
                </a:lnTo>
                <a:lnTo>
                  <a:pt x="6" y="48"/>
                </a:lnTo>
                <a:lnTo>
                  <a:pt x="18" y="42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0"/>
                </a:lnTo>
                <a:lnTo>
                  <a:pt x="18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24"/>
                </a:lnTo>
                <a:lnTo>
                  <a:pt x="24" y="24"/>
                </a:lnTo>
                <a:lnTo>
                  <a:pt x="30" y="30"/>
                </a:lnTo>
                <a:lnTo>
                  <a:pt x="30" y="30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18"/>
                </a:lnTo>
                <a:lnTo>
                  <a:pt x="36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6" y="12"/>
                </a:lnTo>
                <a:lnTo>
                  <a:pt x="66" y="12"/>
                </a:lnTo>
                <a:lnTo>
                  <a:pt x="66" y="6"/>
                </a:lnTo>
                <a:lnTo>
                  <a:pt x="72" y="6"/>
                </a:lnTo>
                <a:lnTo>
                  <a:pt x="72" y="12"/>
                </a:lnTo>
                <a:lnTo>
                  <a:pt x="72" y="12"/>
                </a:lnTo>
                <a:lnTo>
                  <a:pt x="78" y="12"/>
                </a:lnTo>
                <a:lnTo>
                  <a:pt x="78" y="12"/>
                </a:lnTo>
                <a:lnTo>
                  <a:pt x="84" y="12"/>
                </a:lnTo>
                <a:lnTo>
                  <a:pt x="84" y="12"/>
                </a:lnTo>
                <a:lnTo>
                  <a:pt x="90" y="12"/>
                </a:lnTo>
                <a:lnTo>
                  <a:pt x="90" y="6"/>
                </a:lnTo>
                <a:lnTo>
                  <a:pt x="96" y="6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102" y="12"/>
                </a:lnTo>
                <a:lnTo>
                  <a:pt x="102" y="12"/>
                </a:lnTo>
                <a:lnTo>
                  <a:pt x="108" y="12"/>
                </a:lnTo>
                <a:lnTo>
                  <a:pt x="108" y="18"/>
                </a:lnTo>
                <a:lnTo>
                  <a:pt x="108" y="18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24"/>
                </a:lnTo>
                <a:lnTo>
                  <a:pt x="162" y="18"/>
                </a:lnTo>
                <a:lnTo>
                  <a:pt x="162" y="24"/>
                </a:lnTo>
                <a:lnTo>
                  <a:pt x="162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18"/>
                </a:lnTo>
                <a:lnTo>
                  <a:pt x="168" y="18"/>
                </a:lnTo>
                <a:lnTo>
                  <a:pt x="168" y="24"/>
                </a:lnTo>
                <a:lnTo>
                  <a:pt x="174" y="24"/>
                </a:lnTo>
                <a:lnTo>
                  <a:pt x="174" y="24"/>
                </a:lnTo>
                <a:lnTo>
                  <a:pt x="174" y="24"/>
                </a:lnTo>
                <a:lnTo>
                  <a:pt x="180" y="24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6" y="18"/>
                </a:lnTo>
                <a:lnTo>
                  <a:pt x="186" y="12"/>
                </a:lnTo>
                <a:lnTo>
                  <a:pt x="186" y="12"/>
                </a:lnTo>
                <a:lnTo>
                  <a:pt x="186" y="12"/>
                </a:lnTo>
                <a:lnTo>
                  <a:pt x="192" y="12"/>
                </a:lnTo>
                <a:lnTo>
                  <a:pt x="192" y="12"/>
                </a:lnTo>
                <a:lnTo>
                  <a:pt x="192" y="12"/>
                </a:lnTo>
                <a:lnTo>
                  <a:pt x="192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204" y="12"/>
                </a:lnTo>
                <a:lnTo>
                  <a:pt x="204" y="12"/>
                </a:lnTo>
                <a:lnTo>
                  <a:pt x="204" y="12"/>
                </a:lnTo>
                <a:lnTo>
                  <a:pt x="204" y="12"/>
                </a:lnTo>
                <a:lnTo>
                  <a:pt x="204" y="12"/>
                </a:lnTo>
                <a:lnTo>
                  <a:pt x="204" y="12"/>
                </a:lnTo>
                <a:lnTo>
                  <a:pt x="204" y="12"/>
                </a:lnTo>
                <a:lnTo>
                  <a:pt x="204" y="12"/>
                </a:lnTo>
                <a:lnTo>
                  <a:pt x="204" y="12"/>
                </a:lnTo>
                <a:lnTo>
                  <a:pt x="204" y="12"/>
                </a:lnTo>
                <a:lnTo>
                  <a:pt x="204" y="6"/>
                </a:lnTo>
                <a:lnTo>
                  <a:pt x="204" y="12"/>
                </a:lnTo>
                <a:lnTo>
                  <a:pt x="204" y="12"/>
                </a:lnTo>
                <a:lnTo>
                  <a:pt x="204" y="12"/>
                </a:lnTo>
                <a:lnTo>
                  <a:pt x="204" y="12"/>
                </a:lnTo>
                <a:lnTo>
                  <a:pt x="204" y="12"/>
                </a:lnTo>
                <a:lnTo>
                  <a:pt x="204" y="6"/>
                </a:lnTo>
                <a:lnTo>
                  <a:pt x="204" y="6"/>
                </a:lnTo>
                <a:lnTo>
                  <a:pt x="204" y="6"/>
                </a:lnTo>
                <a:lnTo>
                  <a:pt x="204" y="6"/>
                </a:lnTo>
                <a:lnTo>
                  <a:pt x="204" y="6"/>
                </a:lnTo>
                <a:lnTo>
                  <a:pt x="204" y="6"/>
                </a:lnTo>
                <a:lnTo>
                  <a:pt x="204" y="6"/>
                </a:lnTo>
                <a:lnTo>
                  <a:pt x="204" y="6"/>
                </a:lnTo>
                <a:lnTo>
                  <a:pt x="204" y="6"/>
                </a:lnTo>
                <a:lnTo>
                  <a:pt x="204" y="6"/>
                </a:lnTo>
                <a:lnTo>
                  <a:pt x="210" y="12"/>
                </a:lnTo>
                <a:lnTo>
                  <a:pt x="210" y="12"/>
                </a:lnTo>
                <a:lnTo>
                  <a:pt x="210" y="12"/>
                </a:lnTo>
                <a:lnTo>
                  <a:pt x="210" y="12"/>
                </a:lnTo>
                <a:lnTo>
                  <a:pt x="210" y="12"/>
                </a:lnTo>
                <a:lnTo>
                  <a:pt x="210" y="12"/>
                </a:lnTo>
                <a:lnTo>
                  <a:pt x="210" y="12"/>
                </a:lnTo>
                <a:lnTo>
                  <a:pt x="210" y="12"/>
                </a:lnTo>
                <a:lnTo>
                  <a:pt x="210" y="6"/>
                </a:lnTo>
                <a:lnTo>
                  <a:pt x="210" y="6"/>
                </a:lnTo>
                <a:lnTo>
                  <a:pt x="210" y="6"/>
                </a:lnTo>
                <a:lnTo>
                  <a:pt x="210" y="6"/>
                </a:lnTo>
                <a:lnTo>
                  <a:pt x="210" y="6"/>
                </a:lnTo>
                <a:lnTo>
                  <a:pt x="210" y="6"/>
                </a:lnTo>
                <a:lnTo>
                  <a:pt x="210" y="6"/>
                </a:lnTo>
                <a:lnTo>
                  <a:pt x="210" y="12"/>
                </a:lnTo>
                <a:lnTo>
                  <a:pt x="210" y="12"/>
                </a:lnTo>
                <a:lnTo>
                  <a:pt x="210" y="12"/>
                </a:lnTo>
                <a:lnTo>
                  <a:pt x="210" y="12"/>
                </a:lnTo>
                <a:lnTo>
                  <a:pt x="210" y="12"/>
                </a:lnTo>
                <a:lnTo>
                  <a:pt x="210" y="12"/>
                </a:lnTo>
                <a:lnTo>
                  <a:pt x="210" y="6"/>
                </a:lnTo>
                <a:lnTo>
                  <a:pt x="210" y="6"/>
                </a:lnTo>
                <a:lnTo>
                  <a:pt x="210" y="6"/>
                </a:lnTo>
                <a:lnTo>
                  <a:pt x="210" y="6"/>
                </a:lnTo>
                <a:lnTo>
                  <a:pt x="210" y="6"/>
                </a:lnTo>
                <a:lnTo>
                  <a:pt x="210" y="6"/>
                </a:lnTo>
                <a:lnTo>
                  <a:pt x="210" y="12"/>
                </a:lnTo>
                <a:lnTo>
                  <a:pt x="210" y="12"/>
                </a:lnTo>
                <a:lnTo>
                  <a:pt x="210" y="12"/>
                </a:lnTo>
                <a:lnTo>
                  <a:pt x="216" y="12"/>
                </a:lnTo>
                <a:lnTo>
                  <a:pt x="216" y="12"/>
                </a:lnTo>
                <a:lnTo>
                  <a:pt x="216" y="12"/>
                </a:lnTo>
                <a:lnTo>
                  <a:pt x="216" y="12"/>
                </a:lnTo>
                <a:lnTo>
                  <a:pt x="216" y="12"/>
                </a:lnTo>
                <a:lnTo>
                  <a:pt x="216" y="12"/>
                </a:lnTo>
                <a:lnTo>
                  <a:pt x="216" y="12"/>
                </a:lnTo>
                <a:lnTo>
                  <a:pt x="216" y="12"/>
                </a:lnTo>
                <a:lnTo>
                  <a:pt x="216" y="12"/>
                </a:lnTo>
                <a:lnTo>
                  <a:pt x="216" y="12"/>
                </a:lnTo>
                <a:lnTo>
                  <a:pt x="216" y="12"/>
                </a:lnTo>
                <a:lnTo>
                  <a:pt x="216" y="12"/>
                </a:lnTo>
                <a:lnTo>
                  <a:pt x="216" y="12"/>
                </a:lnTo>
                <a:lnTo>
                  <a:pt x="216" y="12"/>
                </a:lnTo>
                <a:lnTo>
                  <a:pt x="216" y="12"/>
                </a:lnTo>
                <a:lnTo>
                  <a:pt x="216" y="12"/>
                </a:lnTo>
                <a:lnTo>
                  <a:pt x="216" y="12"/>
                </a:lnTo>
                <a:lnTo>
                  <a:pt x="216" y="12"/>
                </a:lnTo>
                <a:lnTo>
                  <a:pt x="216" y="12"/>
                </a:lnTo>
                <a:lnTo>
                  <a:pt x="216" y="12"/>
                </a:lnTo>
                <a:lnTo>
                  <a:pt x="216" y="12"/>
                </a:lnTo>
                <a:lnTo>
                  <a:pt x="216" y="12"/>
                </a:lnTo>
                <a:lnTo>
                  <a:pt x="222" y="12"/>
                </a:lnTo>
                <a:lnTo>
                  <a:pt x="222" y="12"/>
                </a:lnTo>
                <a:lnTo>
                  <a:pt x="222" y="12"/>
                </a:lnTo>
                <a:lnTo>
                  <a:pt x="222" y="12"/>
                </a:lnTo>
                <a:lnTo>
                  <a:pt x="222" y="12"/>
                </a:lnTo>
                <a:lnTo>
                  <a:pt x="222" y="6"/>
                </a:lnTo>
                <a:lnTo>
                  <a:pt x="228" y="12"/>
                </a:lnTo>
                <a:lnTo>
                  <a:pt x="228" y="6"/>
                </a:lnTo>
                <a:lnTo>
                  <a:pt x="228" y="6"/>
                </a:lnTo>
                <a:lnTo>
                  <a:pt x="228" y="6"/>
                </a:lnTo>
                <a:lnTo>
                  <a:pt x="228" y="6"/>
                </a:lnTo>
                <a:lnTo>
                  <a:pt x="228" y="6"/>
                </a:lnTo>
                <a:lnTo>
                  <a:pt x="228" y="6"/>
                </a:lnTo>
                <a:lnTo>
                  <a:pt x="228" y="6"/>
                </a:lnTo>
                <a:lnTo>
                  <a:pt x="234" y="6"/>
                </a:lnTo>
                <a:lnTo>
                  <a:pt x="234" y="6"/>
                </a:lnTo>
                <a:lnTo>
                  <a:pt x="234" y="6"/>
                </a:lnTo>
                <a:lnTo>
                  <a:pt x="234" y="6"/>
                </a:lnTo>
                <a:lnTo>
                  <a:pt x="234" y="6"/>
                </a:lnTo>
                <a:lnTo>
                  <a:pt x="234" y="6"/>
                </a:lnTo>
                <a:lnTo>
                  <a:pt x="234" y="6"/>
                </a:lnTo>
                <a:lnTo>
                  <a:pt x="234" y="6"/>
                </a:lnTo>
                <a:lnTo>
                  <a:pt x="234" y="6"/>
                </a:lnTo>
                <a:lnTo>
                  <a:pt x="234" y="6"/>
                </a:lnTo>
                <a:lnTo>
                  <a:pt x="240" y="6"/>
                </a:lnTo>
                <a:lnTo>
                  <a:pt x="246" y="0"/>
                </a:lnTo>
                <a:lnTo>
                  <a:pt x="258" y="12"/>
                </a:lnTo>
                <a:lnTo>
                  <a:pt x="264" y="18"/>
                </a:lnTo>
                <a:lnTo>
                  <a:pt x="264" y="24"/>
                </a:lnTo>
                <a:lnTo>
                  <a:pt x="270" y="24"/>
                </a:lnTo>
                <a:lnTo>
                  <a:pt x="270" y="24"/>
                </a:lnTo>
                <a:lnTo>
                  <a:pt x="270" y="24"/>
                </a:lnTo>
                <a:lnTo>
                  <a:pt x="270" y="24"/>
                </a:lnTo>
                <a:lnTo>
                  <a:pt x="270" y="24"/>
                </a:lnTo>
                <a:lnTo>
                  <a:pt x="270" y="24"/>
                </a:lnTo>
                <a:lnTo>
                  <a:pt x="270" y="24"/>
                </a:lnTo>
                <a:lnTo>
                  <a:pt x="270" y="24"/>
                </a:lnTo>
                <a:lnTo>
                  <a:pt x="270" y="24"/>
                </a:lnTo>
                <a:lnTo>
                  <a:pt x="270" y="24"/>
                </a:lnTo>
                <a:lnTo>
                  <a:pt x="270" y="30"/>
                </a:lnTo>
                <a:lnTo>
                  <a:pt x="270" y="30"/>
                </a:lnTo>
                <a:lnTo>
                  <a:pt x="270" y="30"/>
                </a:lnTo>
                <a:lnTo>
                  <a:pt x="270" y="30"/>
                </a:lnTo>
                <a:lnTo>
                  <a:pt x="270" y="30"/>
                </a:lnTo>
                <a:lnTo>
                  <a:pt x="270" y="30"/>
                </a:lnTo>
                <a:lnTo>
                  <a:pt x="270" y="30"/>
                </a:lnTo>
                <a:lnTo>
                  <a:pt x="270" y="30"/>
                </a:lnTo>
                <a:lnTo>
                  <a:pt x="270" y="30"/>
                </a:lnTo>
                <a:lnTo>
                  <a:pt x="276" y="36"/>
                </a:lnTo>
                <a:lnTo>
                  <a:pt x="276" y="36"/>
                </a:lnTo>
                <a:lnTo>
                  <a:pt x="276" y="36"/>
                </a:lnTo>
                <a:lnTo>
                  <a:pt x="276" y="36"/>
                </a:lnTo>
                <a:lnTo>
                  <a:pt x="276" y="36"/>
                </a:lnTo>
                <a:lnTo>
                  <a:pt x="276" y="36"/>
                </a:lnTo>
                <a:lnTo>
                  <a:pt x="276" y="36"/>
                </a:lnTo>
                <a:lnTo>
                  <a:pt x="276" y="36"/>
                </a:lnTo>
                <a:lnTo>
                  <a:pt x="276" y="36"/>
                </a:lnTo>
                <a:lnTo>
                  <a:pt x="276" y="36"/>
                </a:lnTo>
                <a:lnTo>
                  <a:pt x="276" y="36"/>
                </a:lnTo>
                <a:lnTo>
                  <a:pt x="276" y="36"/>
                </a:lnTo>
                <a:lnTo>
                  <a:pt x="276" y="36"/>
                </a:lnTo>
                <a:lnTo>
                  <a:pt x="276" y="36"/>
                </a:lnTo>
                <a:lnTo>
                  <a:pt x="276" y="36"/>
                </a:lnTo>
                <a:lnTo>
                  <a:pt x="276" y="36"/>
                </a:lnTo>
                <a:lnTo>
                  <a:pt x="276" y="36"/>
                </a:lnTo>
                <a:lnTo>
                  <a:pt x="276" y="36"/>
                </a:lnTo>
                <a:lnTo>
                  <a:pt x="276" y="36"/>
                </a:lnTo>
                <a:lnTo>
                  <a:pt x="276" y="42"/>
                </a:lnTo>
                <a:lnTo>
                  <a:pt x="276" y="36"/>
                </a:lnTo>
                <a:lnTo>
                  <a:pt x="276" y="42"/>
                </a:lnTo>
                <a:lnTo>
                  <a:pt x="282" y="42"/>
                </a:lnTo>
                <a:lnTo>
                  <a:pt x="282" y="42"/>
                </a:lnTo>
                <a:lnTo>
                  <a:pt x="282" y="42"/>
                </a:lnTo>
                <a:lnTo>
                  <a:pt x="282" y="42"/>
                </a:lnTo>
                <a:lnTo>
                  <a:pt x="288" y="42"/>
                </a:lnTo>
                <a:lnTo>
                  <a:pt x="288" y="42"/>
                </a:lnTo>
                <a:lnTo>
                  <a:pt x="288" y="42"/>
                </a:lnTo>
                <a:lnTo>
                  <a:pt x="288" y="42"/>
                </a:lnTo>
                <a:lnTo>
                  <a:pt x="288" y="48"/>
                </a:lnTo>
                <a:lnTo>
                  <a:pt x="288" y="48"/>
                </a:lnTo>
                <a:lnTo>
                  <a:pt x="288" y="48"/>
                </a:lnTo>
                <a:lnTo>
                  <a:pt x="288" y="48"/>
                </a:lnTo>
                <a:lnTo>
                  <a:pt x="282" y="54"/>
                </a:lnTo>
                <a:lnTo>
                  <a:pt x="282" y="54"/>
                </a:lnTo>
                <a:lnTo>
                  <a:pt x="282" y="54"/>
                </a:lnTo>
                <a:lnTo>
                  <a:pt x="282" y="54"/>
                </a:lnTo>
                <a:lnTo>
                  <a:pt x="282" y="54"/>
                </a:lnTo>
                <a:lnTo>
                  <a:pt x="282" y="60"/>
                </a:lnTo>
                <a:lnTo>
                  <a:pt x="282" y="60"/>
                </a:lnTo>
                <a:lnTo>
                  <a:pt x="282" y="60"/>
                </a:lnTo>
                <a:lnTo>
                  <a:pt x="276" y="60"/>
                </a:lnTo>
                <a:lnTo>
                  <a:pt x="276" y="60"/>
                </a:lnTo>
                <a:lnTo>
                  <a:pt x="270" y="60"/>
                </a:lnTo>
                <a:lnTo>
                  <a:pt x="270" y="66"/>
                </a:lnTo>
                <a:lnTo>
                  <a:pt x="264" y="66"/>
                </a:lnTo>
                <a:lnTo>
                  <a:pt x="264" y="66"/>
                </a:lnTo>
                <a:lnTo>
                  <a:pt x="258" y="66"/>
                </a:lnTo>
                <a:lnTo>
                  <a:pt x="258" y="72"/>
                </a:lnTo>
                <a:lnTo>
                  <a:pt x="258" y="72"/>
                </a:lnTo>
                <a:lnTo>
                  <a:pt x="258" y="72"/>
                </a:lnTo>
                <a:lnTo>
                  <a:pt x="252" y="72"/>
                </a:lnTo>
                <a:lnTo>
                  <a:pt x="252" y="78"/>
                </a:lnTo>
                <a:lnTo>
                  <a:pt x="252" y="78"/>
                </a:lnTo>
                <a:lnTo>
                  <a:pt x="246" y="78"/>
                </a:lnTo>
                <a:lnTo>
                  <a:pt x="246" y="78"/>
                </a:lnTo>
                <a:lnTo>
                  <a:pt x="246" y="78"/>
                </a:lnTo>
                <a:lnTo>
                  <a:pt x="246" y="78"/>
                </a:lnTo>
                <a:lnTo>
                  <a:pt x="246" y="84"/>
                </a:lnTo>
                <a:lnTo>
                  <a:pt x="240" y="84"/>
                </a:lnTo>
                <a:lnTo>
                  <a:pt x="240" y="90"/>
                </a:lnTo>
                <a:lnTo>
                  <a:pt x="240" y="90"/>
                </a:lnTo>
                <a:lnTo>
                  <a:pt x="234" y="90"/>
                </a:lnTo>
                <a:lnTo>
                  <a:pt x="234" y="90"/>
                </a:lnTo>
                <a:lnTo>
                  <a:pt x="234" y="90"/>
                </a:lnTo>
                <a:lnTo>
                  <a:pt x="234" y="96"/>
                </a:lnTo>
                <a:lnTo>
                  <a:pt x="234" y="96"/>
                </a:lnTo>
                <a:lnTo>
                  <a:pt x="228" y="96"/>
                </a:lnTo>
                <a:lnTo>
                  <a:pt x="228" y="96"/>
                </a:lnTo>
                <a:lnTo>
                  <a:pt x="228" y="96"/>
                </a:lnTo>
                <a:lnTo>
                  <a:pt x="228" y="96"/>
                </a:lnTo>
                <a:lnTo>
                  <a:pt x="228" y="96"/>
                </a:lnTo>
                <a:lnTo>
                  <a:pt x="222" y="96"/>
                </a:lnTo>
                <a:lnTo>
                  <a:pt x="216" y="96"/>
                </a:lnTo>
                <a:lnTo>
                  <a:pt x="216" y="96"/>
                </a:lnTo>
                <a:lnTo>
                  <a:pt x="216" y="96"/>
                </a:lnTo>
                <a:lnTo>
                  <a:pt x="216" y="96"/>
                </a:lnTo>
                <a:lnTo>
                  <a:pt x="210" y="96"/>
                </a:lnTo>
                <a:lnTo>
                  <a:pt x="210" y="96"/>
                </a:lnTo>
                <a:lnTo>
                  <a:pt x="210" y="102"/>
                </a:lnTo>
                <a:lnTo>
                  <a:pt x="210" y="102"/>
                </a:lnTo>
                <a:lnTo>
                  <a:pt x="210" y="102"/>
                </a:lnTo>
                <a:lnTo>
                  <a:pt x="204" y="102"/>
                </a:lnTo>
                <a:lnTo>
                  <a:pt x="204" y="102"/>
                </a:lnTo>
                <a:lnTo>
                  <a:pt x="204" y="102"/>
                </a:lnTo>
                <a:lnTo>
                  <a:pt x="204" y="102"/>
                </a:lnTo>
                <a:lnTo>
                  <a:pt x="198" y="108"/>
                </a:lnTo>
                <a:lnTo>
                  <a:pt x="198" y="108"/>
                </a:lnTo>
                <a:lnTo>
                  <a:pt x="198" y="108"/>
                </a:lnTo>
                <a:lnTo>
                  <a:pt x="198" y="108"/>
                </a:lnTo>
                <a:lnTo>
                  <a:pt x="198" y="108"/>
                </a:lnTo>
                <a:lnTo>
                  <a:pt x="192" y="108"/>
                </a:lnTo>
                <a:lnTo>
                  <a:pt x="192" y="108"/>
                </a:lnTo>
                <a:lnTo>
                  <a:pt x="192" y="108"/>
                </a:lnTo>
                <a:lnTo>
                  <a:pt x="192" y="114"/>
                </a:lnTo>
                <a:lnTo>
                  <a:pt x="186" y="114"/>
                </a:lnTo>
                <a:lnTo>
                  <a:pt x="186" y="114"/>
                </a:lnTo>
                <a:lnTo>
                  <a:pt x="180" y="114"/>
                </a:lnTo>
                <a:lnTo>
                  <a:pt x="180" y="114"/>
                </a:lnTo>
                <a:lnTo>
                  <a:pt x="180" y="114"/>
                </a:lnTo>
                <a:lnTo>
                  <a:pt x="180" y="114"/>
                </a:lnTo>
                <a:lnTo>
                  <a:pt x="174" y="114"/>
                </a:lnTo>
                <a:lnTo>
                  <a:pt x="174" y="114"/>
                </a:lnTo>
                <a:lnTo>
                  <a:pt x="174" y="114"/>
                </a:lnTo>
                <a:lnTo>
                  <a:pt x="168" y="114"/>
                </a:lnTo>
                <a:lnTo>
                  <a:pt x="168" y="114"/>
                </a:lnTo>
                <a:lnTo>
                  <a:pt x="168" y="114"/>
                </a:lnTo>
                <a:lnTo>
                  <a:pt x="168" y="120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56" y="120"/>
                </a:lnTo>
                <a:lnTo>
                  <a:pt x="156" y="120"/>
                </a:lnTo>
                <a:lnTo>
                  <a:pt x="156" y="120"/>
                </a:lnTo>
                <a:lnTo>
                  <a:pt x="156" y="120"/>
                </a:lnTo>
                <a:lnTo>
                  <a:pt x="150" y="120"/>
                </a:lnTo>
                <a:lnTo>
                  <a:pt x="150" y="120"/>
                </a:lnTo>
                <a:lnTo>
                  <a:pt x="150" y="120"/>
                </a:lnTo>
                <a:lnTo>
                  <a:pt x="144" y="120"/>
                </a:lnTo>
                <a:lnTo>
                  <a:pt x="144" y="126"/>
                </a:lnTo>
                <a:lnTo>
                  <a:pt x="144" y="126"/>
                </a:lnTo>
                <a:lnTo>
                  <a:pt x="138" y="126"/>
                </a:lnTo>
                <a:lnTo>
                  <a:pt x="138" y="126"/>
                </a:lnTo>
                <a:lnTo>
                  <a:pt x="138" y="126"/>
                </a:lnTo>
                <a:lnTo>
                  <a:pt x="138" y="132"/>
                </a:lnTo>
                <a:lnTo>
                  <a:pt x="138" y="132"/>
                </a:lnTo>
                <a:lnTo>
                  <a:pt x="138" y="132"/>
                </a:lnTo>
                <a:lnTo>
                  <a:pt x="138" y="132"/>
                </a:lnTo>
                <a:lnTo>
                  <a:pt x="138" y="132"/>
                </a:lnTo>
                <a:lnTo>
                  <a:pt x="132" y="132"/>
                </a:lnTo>
                <a:lnTo>
                  <a:pt x="132" y="132"/>
                </a:lnTo>
                <a:lnTo>
                  <a:pt x="132" y="138"/>
                </a:lnTo>
                <a:lnTo>
                  <a:pt x="132" y="138"/>
                </a:lnTo>
                <a:lnTo>
                  <a:pt x="132" y="132"/>
                </a:lnTo>
                <a:lnTo>
                  <a:pt x="132" y="132"/>
                </a:lnTo>
                <a:lnTo>
                  <a:pt x="132" y="138"/>
                </a:lnTo>
                <a:lnTo>
                  <a:pt x="132" y="138"/>
                </a:lnTo>
                <a:lnTo>
                  <a:pt x="132" y="138"/>
                </a:lnTo>
                <a:lnTo>
                  <a:pt x="132" y="138"/>
                </a:lnTo>
                <a:lnTo>
                  <a:pt x="132" y="138"/>
                </a:lnTo>
                <a:lnTo>
                  <a:pt x="132" y="138"/>
                </a:lnTo>
                <a:lnTo>
                  <a:pt x="132" y="138"/>
                </a:lnTo>
                <a:lnTo>
                  <a:pt x="126" y="138"/>
                </a:lnTo>
                <a:lnTo>
                  <a:pt x="126" y="144"/>
                </a:lnTo>
                <a:lnTo>
                  <a:pt x="126" y="144"/>
                </a:lnTo>
                <a:lnTo>
                  <a:pt x="126" y="144"/>
                </a:lnTo>
                <a:lnTo>
                  <a:pt x="126" y="144"/>
                </a:lnTo>
                <a:lnTo>
                  <a:pt x="126" y="144"/>
                </a:lnTo>
                <a:lnTo>
                  <a:pt x="126" y="144"/>
                </a:lnTo>
                <a:lnTo>
                  <a:pt x="126" y="144"/>
                </a:lnTo>
                <a:lnTo>
                  <a:pt x="126" y="150"/>
                </a:lnTo>
                <a:lnTo>
                  <a:pt x="126" y="150"/>
                </a:lnTo>
                <a:lnTo>
                  <a:pt x="126" y="150"/>
                </a:lnTo>
                <a:lnTo>
                  <a:pt x="126" y="150"/>
                </a:lnTo>
                <a:lnTo>
                  <a:pt x="126" y="150"/>
                </a:lnTo>
                <a:lnTo>
                  <a:pt x="126" y="150"/>
                </a:lnTo>
                <a:lnTo>
                  <a:pt x="126" y="156"/>
                </a:lnTo>
                <a:lnTo>
                  <a:pt x="126" y="156"/>
                </a:lnTo>
                <a:lnTo>
                  <a:pt x="120" y="156"/>
                </a:lnTo>
                <a:lnTo>
                  <a:pt x="120" y="156"/>
                </a:lnTo>
                <a:lnTo>
                  <a:pt x="120" y="162"/>
                </a:lnTo>
                <a:lnTo>
                  <a:pt x="120" y="156"/>
                </a:lnTo>
                <a:lnTo>
                  <a:pt x="120" y="156"/>
                </a:lnTo>
                <a:lnTo>
                  <a:pt x="114" y="156"/>
                </a:lnTo>
                <a:lnTo>
                  <a:pt x="108" y="150"/>
                </a:lnTo>
                <a:lnTo>
                  <a:pt x="108" y="150"/>
                </a:lnTo>
                <a:lnTo>
                  <a:pt x="102" y="150"/>
                </a:lnTo>
                <a:lnTo>
                  <a:pt x="102" y="150"/>
                </a:lnTo>
                <a:lnTo>
                  <a:pt x="102" y="150"/>
                </a:lnTo>
                <a:lnTo>
                  <a:pt x="102" y="150"/>
                </a:lnTo>
                <a:lnTo>
                  <a:pt x="96" y="150"/>
                </a:lnTo>
                <a:lnTo>
                  <a:pt x="96" y="150"/>
                </a:lnTo>
                <a:lnTo>
                  <a:pt x="96" y="150"/>
                </a:lnTo>
                <a:lnTo>
                  <a:pt x="96" y="150"/>
                </a:lnTo>
                <a:lnTo>
                  <a:pt x="96" y="150"/>
                </a:lnTo>
                <a:lnTo>
                  <a:pt x="90" y="150"/>
                </a:lnTo>
                <a:lnTo>
                  <a:pt x="90" y="150"/>
                </a:lnTo>
                <a:lnTo>
                  <a:pt x="90" y="150"/>
                </a:lnTo>
                <a:lnTo>
                  <a:pt x="90" y="150"/>
                </a:lnTo>
                <a:lnTo>
                  <a:pt x="84" y="156"/>
                </a:lnTo>
                <a:lnTo>
                  <a:pt x="84" y="156"/>
                </a:lnTo>
                <a:lnTo>
                  <a:pt x="84" y="156"/>
                </a:lnTo>
                <a:lnTo>
                  <a:pt x="84" y="162"/>
                </a:lnTo>
                <a:lnTo>
                  <a:pt x="84" y="162"/>
                </a:lnTo>
                <a:lnTo>
                  <a:pt x="84" y="168"/>
                </a:lnTo>
                <a:lnTo>
                  <a:pt x="84" y="168"/>
                </a:lnTo>
                <a:lnTo>
                  <a:pt x="90" y="168"/>
                </a:lnTo>
                <a:lnTo>
                  <a:pt x="90" y="168"/>
                </a:lnTo>
                <a:lnTo>
                  <a:pt x="90" y="174"/>
                </a:lnTo>
                <a:lnTo>
                  <a:pt x="90" y="174"/>
                </a:lnTo>
                <a:lnTo>
                  <a:pt x="90" y="180"/>
                </a:lnTo>
                <a:lnTo>
                  <a:pt x="90" y="180"/>
                </a:lnTo>
                <a:lnTo>
                  <a:pt x="84" y="180"/>
                </a:lnTo>
                <a:lnTo>
                  <a:pt x="84" y="180"/>
                </a:lnTo>
                <a:lnTo>
                  <a:pt x="84" y="180"/>
                </a:lnTo>
                <a:lnTo>
                  <a:pt x="84" y="180"/>
                </a:lnTo>
                <a:lnTo>
                  <a:pt x="84" y="174"/>
                </a:lnTo>
                <a:lnTo>
                  <a:pt x="78" y="174"/>
                </a:lnTo>
                <a:lnTo>
                  <a:pt x="78" y="174"/>
                </a:lnTo>
                <a:lnTo>
                  <a:pt x="84" y="174"/>
                </a:lnTo>
                <a:lnTo>
                  <a:pt x="84" y="168"/>
                </a:lnTo>
                <a:lnTo>
                  <a:pt x="78" y="168"/>
                </a:lnTo>
                <a:lnTo>
                  <a:pt x="78" y="162"/>
                </a:lnTo>
                <a:lnTo>
                  <a:pt x="78" y="156"/>
                </a:lnTo>
                <a:lnTo>
                  <a:pt x="78" y="156"/>
                </a:lnTo>
                <a:lnTo>
                  <a:pt x="78" y="156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84" y="144"/>
                </a:lnTo>
                <a:lnTo>
                  <a:pt x="84" y="144"/>
                </a:lnTo>
                <a:lnTo>
                  <a:pt x="90" y="138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26"/>
                </a:lnTo>
                <a:lnTo>
                  <a:pt x="84" y="126"/>
                </a:lnTo>
                <a:lnTo>
                  <a:pt x="90" y="126"/>
                </a:lnTo>
                <a:lnTo>
                  <a:pt x="90" y="126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90" y="108"/>
                </a:lnTo>
                <a:lnTo>
                  <a:pt x="90" y="102"/>
                </a:lnTo>
                <a:lnTo>
                  <a:pt x="90" y="102"/>
                </a:lnTo>
                <a:lnTo>
                  <a:pt x="90" y="108"/>
                </a:lnTo>
                <a:lnTo>
                  <a:pt x="96" y="102"/>
                </a:lnTo>
                <a:lnTo>
                  <a:pt x="96" y="108"/>
                </a:lnTo>
                <a:lnTo>
                  <a:pt x="96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96"/>
                </a:lnTo>
                <a:lnTo>
                  <a:pt x="96" y="96"/>
                </a:lnTo>
                <a:lnTo>
                  <a:pt x="96" y="96"/>
                </a:lnTo>
                <a:lnTo>
                  <a:pt x="96" y="96"/>
                </a:lnTo>
                <a:lnTo>
                  <a:pt x="96" y="96"/>
                </a:lnTo>
                <a:lnTo>
                  <a:pt x="96" y="96"/>
                </a:lnTo>
                <a:lnTo>
                  <a:pt x="90" y="96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84" y="90"/>
                </a:lnTo>
                <a:lnTo>
                  <a:pt x="84" y="84"/>
                </a:lnTo>
                <a:lnTo>
                  <a:pt x="78" y="84"/>
                </a:lnTo>
                <a:lnTo>
                  <a:pt x="78" y="84"/>
                </a:lnTo>
                <a:lnTo>
                  <a:pt x="72" y="78"/>
                </a:lnTo>
                <a:lnTo>
                  <a:pt x="54" y="66"/>
                </a:lnTo>
                <a:lnTo>
                  <a:pt x="48" y="66"/>
                </a:lnTo>
                <a:lnTo>
                  <a:pt x="36" y="78"/>
                </a:lnTo>
                <a:lnTo>
                  <a:pt x="30" y="90"/>
                </a:lnTo>
                <a:lnTo>
                  <a:pt x="30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24" y="78"/>
                </a:lnTo>
                <a:lnTo>
                  <a:pt x="18" y="78"/>
                </a:lnTo>
                <a:lnTo>
                  <a:pt x="18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2"/>
                </a:lnTo>
                <a:lnTo>
                  <a:pt x="0" y="5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46" name="Freeform 79"/>
          <p:cNvSpPr>
            <a:spLocks/>
          </p:cNvSpPr>
          <p:nvPr/>
        </p:nvSpPr>
        <p:spPr bwMode="auto">
          <a:xfrm>
            <a:off x="7539227" y="1713120"/>
            <a:ext cx="179873" cy="224843"/>
          </a:xfrm>
          <a:custGeom>
            <a:avLst/>
            <a:gdLst>
              <a:gd name="T0" fmla="*/ 6 w 168"/>
              <a:gd name="T1" fmla="*/ 180 h 210"/>
              <a:gd name="T2" fmla="*/ 18 w 168"/>
              <a:gd name="T3" fmla="*/ 174 h 210"/>
              <a:gd name="T4" fmla="*/ 24 w 168"/>
              <a:gd name="T5" fmla="*/ 162 h 210"/>
              <a:gd name="T6" fmla="*/ 24 w 168"/>
              <a:gd name="T7" fmla="*/ 156 h 210"/>
              <a:gd name="T8" fmla="*/ 30 w 168"/>
              <a:gd name="T9" fmla="*/ 150 h 210"/>
              <a:gd name="T10" fmla="*/ 24 w 168"/>
              <a:gd name="T11" fmla="*/ 144 h 210"/>
              <a:gd name="T12" fmla="*/ 24 w 168"/>
              <a:gd name="T13" fmla="*/ 138 h 210"/>
              <a:gd name="T14" fmla="*/ 24 w 168"/>
              <a:gd name="T15" fmla="*/ 132 h 210"/>
              <a:gd name="T16" fmla="*/ 24 w 168"/>
              <a:gd name="T17" fmla="*/ 126 h 210"/>
              <a:gd name="T18" fmla="*/ 24 w 168"/>
              <a:gd name="T19" fmla="*/ 120 h 210"/>
              <a:gd name="T20" fmla="*/ 30 w 168"/>
              <a:gd name="T21" fmla="*/ 120 h 210"/>
              <a:gd name="T22" fmla="*/ 30 w 168"/>
              <a:gd name="T23" fmla="*/ 120 h 210"/>
              <a:gd name="T24" fmla="*/ 30 w 168"/>
              <a:gd name="T25" fmla="*/ 120 h 210"/>
              <a:gd name="T26" fmla="*/ 36 w 168"/>
              <a:gd name="T27" fmla="*/ 114 h 210"/>
              <a:gd name="T28" fmla="*/ 18 w 168"/>
              <a:gd name="T29" fmla="*/ 84 h 210"/>
              <a:gd name="T30" fmla="*/ 30 w 168"/>
              <a:gd name="T31" fmla="*/ 72 h 210"/>
              <a:gd name="T32" fmla="*/ 30 w 168"/>
              <a:gd name="T33" fmla="*/ 60 h 210"/>
              <a:gd name="T34" fmla="*/ 30 w 168"/>
              <a:gd name="T35" fmla="*/ 48 h 210"/>
              <a:gd name="T36" fmla="*/ 48 w 168"/>
              <a:gd name="T37" fmla="*/ 48 h 210"/>
              <a:gd name="T38" fmla="*/ 54 w 168"/>
              <a:gd name="T39" fmla="*/ 48 h 210"/>
              <a:gd name="T40" fmla="*/ 54 w 168"/>
              <a:gd name="T41" fmla="*/ 48 h 210"/>
              <a:gd name="T42" fmla="*/ 54 w 168"/>
              <a:gd name="T43" fmla="*/ 42 h 210"/>
              <a:gd name="T44" fmla="*/ 60 w 168"/>
              <a:gd name="T45" fmla="*/ 42 h 210"/>
              <a:gd name="T46" fmla="*/ 60 w 168"/>
              <a:gd name="T47" fmla="*/ 36 h 210"/>
              <a:gd name="T48" fmla="*/ 66 w 168"/>
              <a:gd name="T49" fmla="*/ 36 h 210"/>
              <a:gd name="T50" fmla="*/ 72 w 168"/>
              <a:gd name="T51" fmla="*/ 42 h 210"/>
              <a:gd name="T52" fmla="*/ 78 w 168"/>
              <a:gd name="T53" fmla="*/ 36 h 210"/>
              <a:gd name="T54" fmla="*/ 78 w 168"/>
              <a:gd name="T55" fmla="*/ 36 h 210"/>
              <a:gd name="T56" fmla="*/ 90 w 168"/>
              <a:gd name="T57" fmla="*/ 36 h 210"/>
              <a:gd name="T58" fmla="*/ 96 w 168"/>
              <a:gd name="T59" fmla="*/ 42 h 210"/>
              <a:gd name="T60" fmla="*/ 108 w 168"/>
              <a:gd name="T61" fmla="*/ 42 h 210"/>
              <a:gd name="T62" fmla="*/ 114 w 168"/>
              <a:gd name="T63" fmla="*/ 36 h 210"/>
              <a:gd name="T64" fmla="*/ 120 w 168"/>
              <a:gd name="T65" fmla="*/ 18 h 210"/>
              <a:gd name="T66" fmla="*/ 126 w 168"/>
              <a:gd name="T67" fmla="*/ 12 h 210"/>
              <a:gd name="T68" fmla="*/ 144 w 168"/>
              <a:gd name="T69" fmla="*/ 0 h 210"/>
              <a:gd name="T70" fmla="*/ 156 w 168"/>
              <a:gd name="T71" fmla="*/ 12 h 210"/>
              <a:gd name="T72" fmla="*/ 156 w 168"/>
              <a:gd name="T73" fmla="*/ 24 h 210"/>
              <a:gd name="T74" fmla="*/ 144 w 168"/>
              <a:gd name="T75" fmla="*/ 36 h 210"/>
              <a:gd name="T76" fmla="*/ 144 w 168"/>
              <a:gd name="T77" fmla="*/ 54 h 210"/>
              <a:gd name="T78" fmla="*/ 156 w 168"/>
              <a:gd name="T79" fmla="*/ 72 h 210"/>
              <a:gd name="T80" fmla="*/ 162 w 168"/>
              <a:gd name="T81" fmla="*/ 90 h 210"/>
              <a:gd name="T82" fmla="*/ 162 w 168"/>
              <a:gd name="T83" fmla="*/ 120 h 210"/>
              <a:gd name="T84" fmla="*/ 156 w 168"/>
              <a:gd name="T85" fmla="*/ 132 h 210"/>
              <a:gd name="T86" fmla="*/ 144 w 168"/>
              <a:gd name="T87" fmla="*/ 138 h 210"/>
              <a:gd name="T88" fmla="*/ 132 w 168"/>
              <a:gd name="T89" fmla="*/ 156 h 210"/>
              <a:gd name="T90" fmla="*/ 126 w 168"/>
              <a:gd name="T91" fmla="*/ 168 h 210"/>
              <a:gd name="T92" fmla="*/ 126 w 168"/>
              <a:gd name="T93" fmla="*/ 186 h 210"/>
              <a:gd name="T94" fmla="*/ 102 w 168"/>
              <a:gd name="T95" fmla="*/ 198 h 210"/>
              <a:gd name="T96" fmla="*/ 66 w 168"/>
              <a:gd name="T97" fmla="*/ 198 h 210"/>
              <a:gd name="T98" fmla="*/ 66 w 168"/>
              <a:gd name="T99" fmla="*/ 192 h 210"/>
              <a:gd name="T100" fmla="*/ 66 w 168"/>
              <a:gd name="T101" fmla="*/ 186 h 210"/>
              <a:gd name="T102" fmla="*/ 66 w 168"/>
              <a:gd name="T103" fmla="*/ 180 h 210"/>
              <a:gd name="T104" fmla="*/ 60 w 168"/>
              <a:gd name="T105" fmla="*/ 180 h 210"/>
              <a:gd name="T106" fmla="*/ 54 w 168"/>
              <a:gd name="T107" fmla="*/ 180 h 210"/>
              <a:gd name="T108" fmla="*/ 48 w 168"/>
              <a:gd name="T109" fmla="*/ 180 h 210"/>
              <a:gd name="T110" fmla="*/ 48 w 168"/>
              <a:gd name="T111" fmla="*/ 192 h 210"/>
              <a:gd name="T112" fmla="*/ 48 w 168"/>
              <a:gd name="T113" fmla="*/ 192 h 210"/>
              <a:gd name="T114" fmla="*/ 48 w 168"/>
              <a:gd name="T115" fmla="*/ 204 h 210"/>
              <a:gd name="T116" fmla="*/ 42 w 168"/>
              <a:gd name="T117" fmla="*/ 210 h 210"/>
              <a:gd name="T118" fmla="*/ 30 w 168"/>
              <a:gd name="T119" fmla="*/ 210 h 210"/>
              <a:gd name="T120" fmla="*/ 0 w 168"/>
              <a:gd name="T121" fmla="*/ 192 h 210"/>
              <a:gd name="T122" fmla="*/ 0 w 168"/>
              <a:gd name="T123" fmla="*/ 192 h 210"/>
              <a:gd name="T124" fmla="*/ 0 w 168"/>
              <a:gd name="T125" fmla="*/ 192 h 2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68" h="210">
                <a:moveTo>
                  <a:pt x="0" y="186"/>
                </a:moveTo>
                <a:lnTo>
                  <a:pt x="0" y="186"/>
                </a:lnTo>
                <a:lnTo>
                  <a:pt x="0" y="186"/>
                </a:lnTo>
                <a:lnTo>
                  <a:pt x="0" y="186"/>
                </a:lnTo>
                <a:lnTo>
                  <a:pt x="0" y="186"/>
                </a:lnTo>
                <a:lnTo>
                  <a:pt x="6" y="186"/>
                </a:lnTo>
                <a:lnTo>
                  <a:pt x="6" y="180"/>
                </a:lnTo>
                <a:lnTo>
                  <a:pt x="6" y="180"/>
                </a:lnTo>
                <a:lnTo>
                  <a:pt x="6" y="180"/>
                </a:lnTo>
                <a:lnTo>
                  <a:pt x="6" y="180"/>
                </a:lnTo>
                <a:lnTo>
                  <a:pt x="6" y="180"/>
                </a:lnTo>
                <a:lnTo>
                  <a:pt x="12" y="180"/>
                </a:lnTo>
                <a:lnTo>
                  <a:pt x="12" y="180"/>
                </a:lnTo>
                <a:lnTo>
                  <a:pt x="12" y="180"/>
                </a:lnTo>
                <a:lnTo>
                  <a:pt x="12" y="174"/>
                </a:lnTo>
                <a:lnTo>
                  <a:pt x="18" y="174"/>
                </a:lnTo>
                <a:lnTo>
                  <a:pt x="18" y="174"/>
                </a:lnTo>
                <a:lnTo>
                  <a:pt x="18" y="168"/>
                </a:lnTo>
                <a:lnTo>
                  <a:pt x="18" y="168"/>
                </a:lnTo>
                <a:lnTo>
                  <a:pt x="18" y="168"/>
                </a:lnTo>
                <a:lnTo>
                  <a:pt x="18" y="168"/>
                </a:lnTo>
                <a:lnTo>
                  <a:pt x="24" y="168"/>
                </a:lnTo>
                <a:lnTo>
                  <a:pt x="24" y="162"/>
                </a:lnTo>
                <a:lnTo>
                  <a:pt x="24" y="162"/>
                </a:lnTo>
                <a:lnTo>
                  <a:pt x="24" y="162"/>
                </a:lnTo>
                <a:lnTo>
                  <a:pt x="24" y="162"/>
                </a:lnTo>
                <a:lnTo>
                  <a:pt x="24" y="156"/>
                </a:lnTo>
                <a:lnTo>
                  <a:pt x="24" y="156"/>
                </a:lnTo>
                <a:lnTo>
                  <a:pt x="24" y="156"/>
                </a:lnTo>
                <a:lnTo>
                  <a:pt x="24" y="156"/>
                </a:lnTo>
                <a:lnTo>
                  <a:pt x="24" y="156"/>
                </a:lnTo>
                <a:lnTo>
                  <a:pt x="24" y="156"/>
                </a:lnTo>
                <a:lnTo>
                  <a:pt x="30" y="156"/>
                </a:lnTo>
                <a:lnTo>
                  <a:pt x="30" y="156"/>
                </a:lnTo>
                <a:lnTo>
                  <a:pt x="30" y="156"/>
                </a:lnTo>
                <a:lnTo>
                  <a:pt x="30" y="156"/>
                </a:lnTo>
                <a:lnTo>
                  <a:pt x="30" y="156"/>
                </a:lnTo>
                <a:lnTo>
                  <a:pt x="30" y="156"/>
                </a:lnTo>
                <a:lnTo>
                  <a:pt x="30" y="150"/>
                </a:lnTo>
                <a:lnTo>
                  <a:pt x="30" y="150"/>
                </a:lnTo>
                <a:lnTo>
                  <a:pt x="30" y="150"/>
                </a:lnTo>
                <a:lnTo>
                  <a:pt x="30" y="150"/>
                </a:lnTo>
                <a:lnTo>
                  <a:pt x="30" y="150"/>
                </a:lnTo>
                <a:lnTo>
                  <a:pt x="30" y="150"/>
                </a:lnTo>
                <a:lnTo>
                  <a:pt x="30" y="150"/>
                </a:lnTo>
                <a:lnTo>
                  <a:pt x="30" y="150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6" y="102"/>
                </a:lnTo>
                <a:lnTo>
                  <a:pt x="6" y="102"/>
                </a:lnTo>
                <a:lnTo>
                  <a:pt x="12" y="90"/>
                </a:lnTo>
                <a:lnTo>
                  <a:pt x="12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24" y="84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48"/>
                </a:lnTo>
                <a:lnTo>
                  <a:pt x="30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72" y="42"/>
                </a:lnTo>
                <a:lnTo>
                  <a:pt x="72" y="42"/>
                </a:lnTo>
                <a:lnTo>
                  <a:pt x="72" y="36"/>
                </a:lnTo>
                <a:lnTo>
                  <a:pt x="72" y="36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36"/>
                </a:lnTo>
                <a:lnTo>
                  <a:pt x="72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84" y="36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42"/>
                </a:lnTo>
                <a:lnTo>
                  <a:pt x="96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0"/>
                </a:lnTo>
                <a:lnTo>
                  <a:pt x="114" y="30"/>
                </a:lnTo>
                <a:lnTo>
                  <a:pt x="120" y="30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6" y="18"/>
                </a:lnTo>
                <a:lnTo>
                  <a:pt x="120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6"/>
                </a:lnTo>
                <a:lnTo>
                  <a:pt x="144" y="0"/>
                </a:lnTo>
                <a:lnTo>
                  <a:pt x="150" y="0"/>
                </a:lnTo>
                <a:lnTo>
                  <a:pt x="150" y="0"/>
                </a:lnTo>
                <a:lnTo>
                  <a:pt x="150" y="0"/>
                </a:lnTo>
                <a:lnTo>
                  <a:pt x="156" y="6"/>
                </a:lnTo>
                <a:lnTo>
                  <a:pt x="156" y="6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30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44" y="36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50" y="42"/>
                </a:lnTo>
                <a:lnTo>
                  <a:pt x="150" y="48"/>
                </a:lnTo>
                <a:lnTo>
                  <a:pt x="150" y="48"/>
                </a:lnTo>
                <a:lnTo>
                  <a:pt x="144" y="48"/>
                </a:lnTo>
                <a:lnTo>
                  <a:pt x="144" y="54"/>
                </a:lnTo>
                <a:lnTo>
                  <a:pt x="144" y="54"/>
                </a:lnTo>
                <a:lnTo>
                  <a:pt x="144" y="54"/>
                </a:lnTo>
                <a:lnTo>
                  <a:pt x="144" y="54"/>
                </a:lnTo>
                <a:lnTo>
                  <a:pt x="150" y="60"/>
                </a:lnTo>
                <a:lnTo>
                  <a:pt x="150" y="60"/>
                </a:lnTo>
                <a:lnTo>
                  <a:pt x="150" y="66"/>
                </a:lnTo>
                <a:lnTo>
                  <a:pt x="156" y="66"/>
                </a:lnTo>
                <a:lnTo>
                  <a:pt x="156" y="72"/>
                </a:lnTo>
                <a:lnTo>
                  <a:pt x="156" y="72"/>
                </a:lnTo>
                <a:lnTo>
                  <a:pt x="156" y="72"/>
                </a:lnTo>
                <a:lnTo>
                  <a:pt x="156" y="78"/>
                </a:lnTo>
                <a:lnTo>
                  <a:pt x="156" y="78"/>
                </a:lnTo>
                <a:lnTo>
                  <a:pt x="162" y="84"/>
                </a:lnTo>
                <a:lnTo>
                  <a:pt x="162" y="90"/>
                </a:lnTo>
                <a:lnTo>
                  <a:pt x="162" y="90"/>
                </a:lnTo>
                <a:lnTo>
                  <a:pt x="162" y="90"/>
                </a:lnTo>
                <a:lnTo>
                  <a:pt x="162" y="90"/>
                </a:lnTo>
                <a:lnTo>
                  <a:pt x="162" y="96"/>
                </a:lnTo>
                <a:lnTo>
                  <a:pt x="162" y="102"/>
                </a:lnTo>
                <a:lnTo>
                  <a:pt x="168" y="102"/>
                </a:lnTo>
                <a:lnTo>
                  <a:pt x="162" y="108"/>
                </a:lnTo>
                <a:lnTo>
                  <a:pt x="162" y="114"/>
                </a:lnTo>
                <a:lnTo>
                  <a:pt x="162" y="114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56" y="126"/>
                </a:lnTo>
                <a:lnTo>
                  <a:pt x="156" y="132"/>
                </a:lnTo>
                <a:lnTo>
                  <a:pt x="156" y="132"/>
                </a:lnTo>
                <a:lnTo>
                  <a:pt x="150" y="132"/>
                </a:lnTo>
                <a:lnTo>
                  <a:pt x="150" y="132"/>
                </a:lnTo>
                <a:lnTo>
                  <a:pt x="150" y="132"/>
                </a:lnTo>
                <a:lnTo>
                  <a:pt x="150" y="138"/>
                </a:lnTo>
                <a:lnTo>
                  <a:pt x="150" y="138"/>
                </a:lnTo>
                <a:lnTo>
                  <a:pt x="144" y="138"/>
                </a:lnTo>
                <a:lnTo>
                  <a:pt x="144" y="138"/>
                </a:lnTo>
                <a:lnTo>
                  <a:pt x="144" y="138"/>
                </a:lnTo>
                <a:lnTo>
                  <a:pt x="144" y="144"/>
                </a:lnTo>
                <a:lnTo>
                  <a:pt x="144" y="144"/>
                </a:lnTo>
                <a:lnTo>
                  <a:pt x="138" y="144"/>
                </a:lnTo>
                <a:lnTo>
                  <a:pt x="138" y="150"/>
                </a:lnTo>
                <a:lnTo>
                  <a:pt x="138" y="156"/>
                </a:lnTo>
                <a:lnTo>
                  <a:pt x="138" y="156"/>
                </a:lnTo>
                <a:lnTo>
                  <a:pt x="132" y="156"/>
                </a:lnTo>
                <a:lnTo>
                  <a:pt x="132" y="156"/>
                </a:lnTo>
                <a:lnTo>
                  <a:pt x="126" y="156"/>
                </a:lnTo>
                <a:lnTo>
                  <a:pt x="126" y="162"/>
                </a:lnTo>
                <a:lnTo>
                  <a:pt x="126" y="162"/>
                </a:lnTo>
                <a:lnTo>
                  <a:pt x="126" y="162"/>
                </a:lnTo>
                <a:lnTo>
                  <a:pt x="126" y="162"/>
                </a:lnTo>
                <a:lnTo>
                  <a:pt x="126" y="162"/>
                </a:lnTo>
                <a:lnTo>
                  <a:pt x="126" y="162"/>
                </a:lnTo>
                <a:lnTo>
                  <a:pt x="126" y="168"/>
                </a:lnTo>
                <a:lnTo>
                  <a:pt x="126" y="174"/>
                </a:lnTo>
                <a:lnTo>
                  <a:pt x="126" y="180"/>
                </a:lnTo>
                <a:lnTo>
                  <a:pt x="126" y="180"/>
                </a:lnTo>
                <a:lnTo>
                  <a:pt x="126" y="180"/>
                </a:lnTo>
                <a:lnTo>
                  <a:pt x="126" y="180"/>
                </a:lnTo>
                <a:lnTo>
                  <a:pt x="126" y="180"/>
                </a:lnTo>
                <a:lnTo>
                  <a:pt x="126" y="186"/>
                </a:lnTo>
                <a:lnTo>
                  <a:pt x="126" y="186"/>
                </a:lnTo>
                <a:lnTo>
                  <a:pt x="126" y="186"/>
                </a:lnTo>
                <a:lnTo>
                  <a:pt x="126" y="186"/>
                </a:lnTo>
                <a:lnTo>
                  <a:pt x="126" y="192"/>
                </a:lnTo>
                <a:lnTo>
                  <a:pt x="126" y="192"/>
                </a:lnTo>
                <a:lnTo>
                  <a:pt x="126" y="198"/>
                </a:lnTo>
                <a:lnTo>
                  <a:pt x="126" y="198"/>
                </a:lnTo>
                <a:lnTo>
                  <a:pt x="126" y="198"/>
                </a:lnTo>
                <a:lnTo>
                  <a:pt x="102" y="198"/>
                </a:lnTo>
                <a:lnTo>
                  <a:pt x="84" y="198"/>
                </a:lnTo>
                <a:lnTo>
                  <a:pt x="66" y="198"/>
                </a:lnTo>
                <a:lnTo>
                  <a:pt x="66" y="198"/>
                </a:lnTo>
                <a:lnTo>
                  <a:pt x="66" y="198"/>
                </a:lnTo>
                <a:lnTo>
                  <a:pt x="66" y="198"/>
                </a:lnTo>
                <a:lnTo>
                  <a:pt x="66" y="198"/>
                </a:lnTo>
                <a:lnTo>
                  <a:pt x="66" y="198"/>
                </a:lnTo>
                <a:lnTo>
                  <a:pt x="66" y="198"/>
                </a:lnTo>
                <a:lnTo>
                  <a:pt x="66" y="198"/>
                </a:lnTo>
                <a:lnTo>
                  <a:pt x="66" y="198"/>
                </a:lnTo>
                <a:lnTo>
                  <a:pt x="66" y="192"/>
                </a:lnTo>
                <a:lnTo>
                  <a:pt x="66" y="192"/>
                </a:lnTo>
                <a:lnTo>
                  <a:pt x="66" y="192"/>
                </a:lnTo>
                <a:lnTo>
                  <a:pt x="66" y="192"/>
                </a:lnTo>
                <a:lnTo>
                  <a:pt x="66" y="192"/>
                </a:lnTo>
                <a:lnTo>
                  <a:pt x="66" y="192"/>
                </a:lnTo>
                <a:lnTo>
                  <a:pt x="66" y="192"/>
                </a:lnTo>
                <a:lnTo>
                  <a:pt x="66" y="192"/>
                </a:lnTo>
                <a:lnTo>
                  <a:pt x="66" y="192"/>
                </a:lnTo>
                <a:lnTo>
                  <a:pt x="66" y="192"/>
                </a:lnTo>
                <a:lnTo>
                  <a:pt x="72" y="192"/>
                </a:lnTo>
                <a:lnTo>
                  <a:pt x="66" y="186"/>
                </a:lnTo>
                <a:lnTo>
                  <a:pt x="66" y="186"/>
                </a:lnTo>
                <a:lnTo>
                  <a:pt x="66" y="186"/>
                </a:lnTo>
                <a:lnTo>
                  <a:pt x="66" y="186"/>
                </a:lnTo>
                <a:lnTo>
                  <a:pt x="66" y="186"/>
                </a:lnTo>
                <a:lnTo>
                  <a:pt x="66" y="186"/>
                </a:lnTo>
                <a:lnTo>
                  <a:pt x="66" y="180"/>
                </a:lnTo>
                <a:lnTo>
                  <a:pt x="66" y="180"/>
                </a:lnTo>
                <a:lnTo>
                  <a:pt x="66" y="180"/>
                </a:lnTo>
                <a:lnTo>
                  <a:pt x="66" y="180"/>
                </a:lnTo>
                <a:lnTo>
                  <a:pt x="66" y="180"/>
                </a:lnTo>
                <a:lnTo>
                  <a:pt x="66" y="180"/>
                </a:lnTo>
                <a:lnTo>
                  <a:pt x="66" y="180"/>
                </a:lnTo>
                <a:lnTo>
                  <a:pt x="60" y="180"/>
                </a:lnTo>
                <a:lnTo>
                  <a:pt x="60" y="180"/>
                </a:lnTo>
                <a:lnTo>
                  <a:pt x="60" y="180"/>
                </a:lnTo>
                <a:lnTo>
                  <a:pt x="60" y="180"/>
                </a:lnTo>
                <a:lnTo>
                  <a:pt x="60" y="180"/>
                </a:lnTo>
                <a:lnTo>
                  <a:pt x="60" y="180"/>
                </a:lnTo>
                <a:lnTo>
                  <a:pt x="60" y="180"/>
                </a:lnTo>
                <a:lnTo>
                  <a:pt x="60" y="174"/>
                </a:lnTo>
                <a:lnTo>
                  <a:pt x="60" y="174"/>
                </a:lnTo>
                <a:lnTo>
                  <a:pt x="60" y="174"/>
                </a:lnTo>
                <a:lnTo>
                  <a:pt x="54" y="180"/>
                </a:lnTo>
                <a:lnTo>
                  <a:pt x="54" y="180"/>
                </a:lnTo>
                <a:lnTo>
                  <a:pt x="54" y="180"/>
                </a:lnTo>
                <a:lnTo>
                  <a:pt x="54" y="180"/>
                </a:lnTo>
                <a:lnTo>
                  <a:pt x="54" y="180"/>
                </a:lnTo>
                <a:lnTo>
                  <a:pt x="54" y="180"/>
                </a:lnTo>
                <a:lnTo>
                  <a:pt x="48" y="180"/>
                </a:lnTo>
                <a:lnTo>
                  <a:pt x="48" y="180"/>
                </a:lnTo>
                <a:lnTo>
                  <a:pt x="48" y="180"/>
                </a:lnTo>
                <a:lnTo>
                  <a:pt x="48" y="180"/>
                </a:lnTo>
                <a:lnTo>
                  <a:pt x="48" y="180"/>
                </a:lnTo>
                <a:lnTo>
                  <a:pt x="48" y="180"/>
                </a:lnTo>
                <a:lnTo>
                  <a:pt x="48" y="180"/>
                </a:lnTo>
                <a:lnTo>
                  <a:pt x="48" y="186"/>
                </a:lnTo>
                <a:lnTo>
                  <a:pt x="48" y="186"/>
                </a:lnTo>
                <a:lnTo>
                  <a:pt x="48" y="186"/>
                </a:lnTo>
                <a:lnTo>
                  <a:pt x="48" y="186"/>
                </a:lnTo>
                <a:lnTo>
                  <a:pt x="42" y="186"/>
                </a:lnTo>
                <a:lnTo>
                  <a:pt x="42" y="192"/>
                </a:lnTo>
                <a:lnTo>
                  <a:pt x="48" y="192"/>
                </a:lnTo>
                <a:lnTo>
                  <a:pt x="48" y="192"/>
                </a:lnTo>
                <a:lnTo>
                  <a:pt x="48" y="192"/>
                </a:lnTo>
                <a:lnTo>
                  <a:pt x="48" y="192"/>
                </a:lnTo>
                <a:lnTo>
                  <a:pt x="48" y="192"/>
                </a:lnTo>
                <a:lnTo>
                  <a:pt x="48" y="192"/>
                </a:lnTo>
                <a:lnTo>
                  <a:pt x="48" y="192"/>
                </a:lnTo>
                <a:lnTo>
                  <a:pt x="54" y="192"/>
                </a:lnTo>
                <a:lnTo>
                  <a:pt x="48" y="192"/>
                </a:lnTo>
                <a:lnTo>
                  <a:pt x="48" y="198"/>
                </a:lnTo>
                <a:lnTo>
                  <a:pt x="54" y="198"/>
                </a:lnTo>
                <a:lnTo>
                  <a:pt x="48" y="198"/>
                </a:lnTo>
                <a:lnTo>
                  <a:pt x="48" y="198"/>
                </a:lnTo>
                <a:lnTo>
                  <a:pt x="48" y="198"/>
                </a:lnTo>
                <a:lnTo>
                  <a:pt x="48" y="198"/>
                </a:lnTo>
                <a:lnTo>
                  <a:pt x="48" y="198"/>
                </a:lnTo>
                <a:lnTo>
                  <a:pt x="48" y="204"/>
                </a:lnTo>
                <a:lnTo>
                  <a:pt x="48" y="204"/>
                </a:lnTo>
                <a:lnTo>
                  <a:pt x="48" y="204"/>
                </a:lnTo>
                <a:lnTo>
                  <a:pt x="48" y="204"/>
                </a:lnTo>
                <a:lnTo>
                  <a:pt x="48" y="204"/>
                </a:lnTo>
                <a:lnTo>
                  <a:pt x="42" y="210"/>
                </a:lnTo>
                <a:lnTo>
                  <a:pt x="42" y="210"/>
                </a:lnTo>
                <a:lnTo>
                  <a:pt x="42" y="210"/>
                </a:lnTo>
                <a:lnTo>
                  <a:pt x="42" y="210"/>
                </a:lnTo>
                <a:lnTo>
                  <a:pt x="42" y="210"/>
                </a:lnTo>
                <a:lnTo>
                  <a:pt x="42" y="210"/>
                </a:lnTo>
                <a:lnTo>
                  <a:pt x="36" y="210"/>
                </a:lnTo>
                <a:lnTo>
                  <a:pt x="36" y="210"/>
                </a:lnTo>
                <a:lnTo>
                  <a:pt x="30" y="210"/>
                </a:lnTo>
                <a:lnTo>
                  <a:pt x="30" y="210"/>
                </a:lnTo>
                <a:lnTo>
                  <a:pt x="30" y="210"/>
                </a:lnTo>
                <a:lnTo>
                  <a:pt x="30" y="210"/>
                </a:lnTo>
                <a:lnTo>
                  <a:pt x="24" y="210"/>
                </a:lnTo>
                <a:lnTo>
                  <a:pt x="12" y="204"/>
                </a:lnTo>
                <a:lnTo>
                  <a:pt x="6" y="198"/>
                </a:lnTo>
                <a:lnTo>
                  <a:pt x="6" y="198"/>
                </a:lnTo>
                <a:lnTo>
                  <a:pt x="0" y="198"/>
                </a:lnTo>
                <a:lnTo>
                  <a:pt x="0" y="192"/>
                </a:lnTo>
                <a:lnTo>
                  <a:pt x="0" y="192"/>
                </a:lnTo>
                <a:lnTo>
                  <a:pt x="0" y="192"/>
                </a:lnTo>
                <a:lnTo>
                  <a:pt x="0" y="192"/>
                </a:lnTo>
                <a:lnTo>
                  <a:pt x="0" y="192"/>
                </a:lnTo>
                <a:lnTo>
                  <a:pt x="0" y="192"/>
                </a:lnTo>
                <a:lnTo>
                  <a:pt x="0" y="192"/>
                </a:lnTo>
                <a:lnTo>
                  <a:pt x="0" y="192"/>
                </a:lnTo>
                <a:lnTo>
                  <a:pt x="0" y="192"/>
                </a:lnTo>
                <a:lnTo>
                  <a:pt x="0" y="192"/>
                </a:lnTo>
                <a:lnTo>
                  <a:pt x="0" y="192"/>
                </a:lnTo>
                <a:lnTo>
                  <a:pt x="0" y="192"/>
                </a:lnTo>
                <a:lnTo>
                  <a:pt x="0" y="192"/>
                </a:lnTo>
                <a:lnTo>
                  <a:pt x="0" y="192"/>
                </a:lnTo>
                <a:lnTo>
                  <a:pt x="0" y="192"/>
                </a:lnTo>
                <a:lnTo>
                  <a:pt x="0" y="192"/>
                </a:lnTo>
                <a:lnTo>
                  <a:pt x="0" y="192"/>
                </a:lnTo>
                <a:lnTo>
                  <a:pt x="0" y="192"/>
                </a:lnTo>
                <a:lnTo>
                  <a:pt x="0" y="192"/>
                </a:lnTo>
                <a:lnTo>
                  <a:pt x="0" y="192"/>
                </a:lnTo>
                <a:lnTo>
                  <a:pt x="0" y="192"/>
                </a:lnTo>
                <a:lnTo>
                  <a:pt x="0" y="192"/>
                </a:lnTo>
                <a:lnTo>
                  <a:pt x="0" y="186"/>
                </a:lnTo>
                <a:lnTo>
                  <a:pt x="0" y="18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47" name="Freeform 80"/>
          <p:cNvSpPr>
            <a:spLocks/>
          </p:cNvSpPr>
          <p:nvPr/>
        </p:nvSpPr>
        <p:spPr bwMode="auto">
          <a:xfrm>
            <a:off x="7025303" y="1950812"/>
            <a:ext cx="199146" cy="276236"/>
          </a:xfrm>
          <a:custGeom>
            <a:avLst/>
            <a:gdLst>
              <a:gd name="T0" fmla="*/ 24 w 186"/>
              <a:gd name="T1" fmla="*/ 126 h 258"/>
              <a:gd name="T2" fmla="*/ 30 w 186"/>
              <a:gd name="T3" fmla="*/ 96 h 258"/>
              <a:gd name="T4" fmla="*/ 36 w 186"/>
              <a:gd name="T5" fmla="*/ 66 h 258"/>
              <a:gd name="T6" fmla="*/ 42 w 186"/>
              <a:gd name="T7" fmla="*/ 42 h 258"/>
              <a:gd name="T8" fmla="*/ 42 w 186"/>
              <a:gd name="T9" fmla="*/ 12 h 258"/>
              <a:gd name="T10" fmla="*/ 54 w 186"/>
              <a:gd name="T11" fmla="*/ 0 h 258"/>
              <a:gd name="T12" fmla="*/ 72 w 186"/>
              <a:gd name="T13" fmla="*/ 6 h 258"/>
              <a:gd name="T14" fmla="*/ 78 w 186"/>
              <a:gd name="T15" fmla="*/ 6 h 258"/>
              <a:gd name="T16" fmla="*/ 84 w 186"/>
              <a:gd name="T17" fmla="*/ 6 h 258"/>
              <a:gd name="T18" fmla="*/ 90 w 186"/>
              <a:gd name="T19" fmla="*/ 12 h 258"/>
              <a:gd name="T20" fmla="*/ 96 w 186"/>
              <a:gd name="T21" fmla="*/ 18 h 258"/>
              <a:gd name="T22" fmla="*/ 102 w 186"/>
              <a:gd name="T23" fmla="*/ 18 h 258"/>
              <a:gd name="T24" fmla="*/ 108 w 186"/>
              <a:gd name="T25" fmla="*/ 18 h 258"/>
              <a:gd name="T26" fmla="*/ 108 w 186"/>
              <a:gd name="T27" fmla="*/ 18 h 258"/>
              <a:gd name="T28" fmla="*/ 120 w 186"/>
              <a:gd name="T29" fmla="*/ 12 h 258"/>
              <a:gd name="T30" fmla="*/ 126 w 186"/>
              <a:gd name="T31" fmla="*/ 12 h 258"/>
              <a:gd name="T32" fmla="*/ 138 w 186"/>
              <a:gd name="T33" fmla="*/ 18 h 258"/>
              <a:gd name="T34" fmla="*/ 144 w 186"/>
              <a:gd name="T35" fmla="*/ 24 h 258"/>
              <a:gd name="T36" fmla="*/ 138 w 186"/>
              <a:gd name="T37" fmla="*/ 36 h 258"/>
              <a:gd name="T38" fmla="*/ 132 w 186"/>
              <a:gd name="T39" fmla="*/ 48 h 258"/>
              <a:gd name="T40" fmla="*/ 132 w 186"/>
              <a:gd name="T41" fmla="*/ 72 h 258"/>
              <a:gd name="T42" fmla="*/ 138 w 186"/>
              <a:gd name="T43" fmla="*/ 78 h 258"/>
              <a:gd name="T44" fmla="*/ 156 w 186"/>
              <a:gd name="T45" fmla="*/ 84 h 258"/>
              <a:gd name="T46" fmla="*/ 168 w 186"/>
              <a:gd name="T47" fmla="*/ 90 h 258"/>
              <a:gd name="T48" fmla="*/ 180 w 186"/>
              <a:gd name="T49" fmla="*/ 108 h 258"/>
              <a:gd name="T50" fmla="*/ 174 w 186"/>
              <a:gd name="T51" fmla="*/ 108 h 258"/>
              <a:gd name="T52" fmla="*/ 162 w 186"/>
              <a:gd name="T53" fmla="*/ 102 h 258"/>
              <a:gd name="T54" fmla="*/ 138 w 186"/>
              <a:gd name="T55" fmla="*/ 96 h 258"/>
              <a:gd name="T56" fmla="*/ 132 w 186"/>
              <a:gd name="T57" fmla="*/ 108 h 258"/>
              <a:gd name="T58" fmla="*/ 120 w 186"/>
              <a:gd name="T59" fmla="*/ 108 h 258"/>
              <a:gd name="T60" fmla="*/ 114 w 186"/>
              <a:gd name="T61" fmla="*/ 120 h 258"/>
              <a:gd name="T62" fmla="*/ 114 w 186"/>
              <a:gd name="T63" fmla="*/ 126 h 258"/>
              <a:gd name="T64" fmla="*/ 126 w 186"/>
              <a:gd name="T65" fmla="*/ 132 h 258"/>
              <a:gd name="T66" fmla="*/ 132 w 186"/>
              <a:gd name="T67" fmla="*/ 144 h 258"/>
              <a:gd name="T68" fmla="*/ 114 w 186"/>
              <a:gd name="T69" fmla="*/ 156 h 258"/>
              <a:gd name="T70" fmla="*/ 96 w 186"/>
              <a:gd name="T71" fmla="*/ 168 h 258"/>
              <a:gd name="T72" fmla="*/ 84 w 186"/>
              <a:gd name="T73" fmla="*/ 186 h 258"/>
              <a:gd name="T74" fmla="*/ 72 w 186"/>
              <a:gd name="T75" fmla="*/ 198 h 258"/>
              <a:gd name="T76" fmla="*/ 72 w 186"/>
              <a:gd name="T77" fmla="*/ 204 h 258"/>
              <a:gd name="T78" fmla="*/ 84 w 186"/>
              <a:gd name="T79" fmla="*/ 204 h 258"/>
              <a:gd name="T80" fmla="*/ 90 w 186"/>
              <a:gd name="T81" fmla="*/ 204 h 258"/>
              <a:gd name="T82" fmla="*/ 102 w 186"/>
              <a:gd name="T83" fmla="*/ 210 h 258"/>
              <a:gd name="T84" fmla="*/ 108 w 186"/>
              <a:gd name="T85" fmla="*/ 210 h 258"/>
              <a:gd name="T86" fmla="*/ 120 w 186"/>
              <a:gd name="T87" fmla="*/ 216 h 258"/>
              <a:gd name="T88" fmla="*/ 120 w 186"/>
              <a:gd name="T89" fmla="*/ 228 h 258"/>
              <a:gd name="T90" fmla="*/ 120 w 186"/>
              <a:gd name="T91" fmla="*/ 246 h 258"/>
              <a:gd name="T92" fmla="*/ 108 w 186"/>
              <a:gd name="T93" fmla="*/ 246 h 258"/>
              <a:gd name="T94" fmla="*/ 102 w 186"/>
              <a:gd name="T95" fmla="*/ 258 h 258"/>
              <a:gd name="T96" fmla="*/ 90 w 186"/>
              <a:gd name="T97" fmla="*/ 252 h 258"/>
              <a:gd name="T98" fmla="*/ 84 w 186"/>
              <a:gd name="T99" fmla="*/ 246 h 258"/>
              <a:gd name="T100" fmla="*/ 78 w 186"/>
              <a:gd name="T101" fmla="*/ 234 h 258"/>
              <a:gd name="T102" fmla="*/ 66 w 186"/>
              <a:gd name="T103" fmla="*/ 228 h 258"/>
              <a:gd name="T104" fmla="*/ 66 w 186"/>
              <a:gd name="T105" fmla="*/ 216 h 258"/>
              <a:gd name="T106" fmla="*/ 60 w 186"/>
              <a:gd name="T107" fmla="*/ 216 h 258"/>
              <a:gd name="T108" fmla="*/ 54 w 186"/>
              <a:gd name="T109" fmla="*/ 210 h 258"/>
              <a:gd name="T110" fmla="*/ 48 w 186"/>
              <a:gd name="T111" fmla="*/ 198 h 258"/>
              <a:gd name="T112" fmla="*/ 48 w 186"/>
              <a:gd name="T113" fmla="*/ 192 h 258"/>
              <a:gd name="T114" fmla="*/ 42 w 186"/>
              <a:gd name="T115" fmla="*/ 186 h 258"/>
              <a:gd name="T116" fmla="*/ 24 w 186"/>
              <a:gd name="T117" fmla="*/ 180 h 258"/>
              <a:gd name="T118" fmla="*/ 24 w 186"/>
              <a:gd name="T119" fmla="*/ 156 h 258"/>
              <a:gd name="T120" fmla="*/ 0 w 186"/>
              <a:gd name="T121" fmla="*/ 150 h 2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86" h="258">
                <a:moveTo>
                  <a:pt x="0" y="144"/>
                </a:moveTo>
                <a:lnTo>
                  <a:pt x="0" y="138"/>
                </a:lnTo>
                <a:lnTo>
                  <a:pt x="6" y="138"/>
                </a:lnTo>
                <a:lnTo>
                  <a:pt x="6" y="138"/>
                </a:lnTo>
                <a:lnTo>
                  <a:pt x="6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18" y="132"/>
                </a:lnTo>
                <a:lnTo>
                  <a:pt x="18" y="132"/>
                </a:lnTo>
                <a:lnTo>
                  <a:pt x="18" y="126"/>
                </a:lnTo>
                <a:lnTo>
                  <a:pt x="24" y="126"/>
                </a:lnTo>
                <a:lnTo>
                  <a:pt x="24" y="120"/>
                </a:lnTo>
                <a:lnTo>
                  <a:pt x="24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14"/>
                </a:lnTo>
                <a:lnTo>
                  <a:pt x="30" y="114"/>
                </a:lnTo>
                <a:lnTo>
                  <a:pt x="30" y="108"/>
                </a:lnTo>
                <a:lnTo>
                  <a:pt x="30" y="108"/>
                </a:lnTo>
                <a:lnTo>
                  <a:pt x="30" y="102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0"/>
                </a:lnTo>
                <a:lnTo>
                  <a:pt x="36" y="90"/>
                </a:lnTo>
                <a:lnTo>
                  <a:pt x="36" y="84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0" y="78"/>
                </a:lnTo>
                <a:lnTo>
                  <a:pt x="36" y="72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48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36"/>
                </a:lnTo>
                <a:lnTo>
                  <a:pt x="42" y="36"/>
                </a:lnTo>
                <a:lnTo>
                  <a:pt x="42" y="30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18"/>
                </a:lnTo>
                <a:lnTo>
                  <a:pt x="48" y="18"/>
                </a:lnTo>
                <a:lnTo>
                  <a:pt x="42" y="12"/>
                </a:lnTo>
                <a:lnTo>
                  <a:pt x="42" y="6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6" y="0"/>
                </a:lnTo>
                <a:lnTo>
                  <a:pt x="66" y="0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6"/>
                </a:lnTo>
                <a:lnTo>
                  <a:pt x="84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8"/>
                </a:lnTo>
                <a:lnTo>
                  <a:pt x="120" y="12"/>
                </a:lnTo>
                <a:lnTo>
                  <a:pt x="120" y="18"/>
                </a:lnTo>
                <a:lnTo>
                  <a:pt x="120" y="12"/>
                </a:lnTo>
                <a:lnTo>
                  <a:pt x="126" y="18"/>
                </a:lnTo>
                <a:lnTo>
                  <a:pt x="126" y="18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44" y="18"/>
                </a:lnTo>
                <a:lnTo>
                  <a:pt x="144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2" y="42"/>
                </a:lnTo>
                <a:lnTo>
                  <a:pt x="132" y="42"/>
                </a:lnTo>
                <a:lnTo>
                  <a:pt x="138" y="48"/>
                </a:lnTo>
                <a:lnTo>
                  <a:pt x="138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54"/>
                </a:lnTo>
                <a:lnTo>
                  <a:pt x="132" y="54"/>
                </a:lnTo>
                <a:lnTo>
                  <a:pt x="132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66"/>
                </a:lnTo>
                <a:lnTo>
                  <a:pt x="132" y="66"/>
                </a:lnTo>
                <a:lnTo>
                  <a:pt x="126" y="66"/>
                </a:lnTo>
                <a:lnTo>
                  <a:pt x="132" y="66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38" y="78"/>
                </a:lnTo>
                <a:lnTo>
                  <a:pt x="138" y="78"/>
                </a:lnTo>
                <a:lnTo>
                  <a:pt x="138" y="78"/>
                </a:lnTo>
                <a:lnTo>
                  <a:pt x="144" y="84"/>
                </a:lnTo>
                <a:lnTo>
                  <a:pt x="144" y="84"/>
                </a:lnTo>
                <a:lnTo>
                  <a:pt x="144" y="84"/>
                </a:lnTo>
                <a:lnTo>
                  <a:pt x="150" y="78"/>
                </a:lnTo>
                <a:lnTo>
                  <a:pt x="150" y="78"/>
                </a:lnTo>
                <a:lnTo>
                  <a:pt x="150" y="84"/>
                </a:lnTo>
                <a:lnTo>
                  <a:pt x="150" y="84"/>
                </a:lnTo>
                <a:lnTo>
                  <a:pt x="150" y="78"/>
                </a:lnTo>
                <a:lnTo>
                  <a:pt x="156" y="78"/>
                </a:lnTo>
                <a:lnTo>
                  <a:pt x="156" y="84"/>
                </a:lnTo>
                <a:lnTo>
                  <a:pt x="156" y="84"/>
                </a:lnTo>
                <a:lnTo>
                  <a:pt x="156" y="84"/>
                </a:lnTo>
                <a:lnTo>
                  <a:pt x="162" y="84"/>
                </a:lnTo>
                <a:lnTo>
                  <a:pt x="162" y="84"/>
                </a:lnTo>
                <a:lnTo>
                  <a:pt x="162" y="90"/>
                </a:lnTo>
                <a:lnTo>
                  <a:pt x="162" y="90"/>
                </a:lnTo>
                <a:lnTo>
                  <a:pt x="162" y="90"/>
                </a:lnTo>
                <a:lnTo>
                  <a:pt x="162" y="90"/>
                </a:lnTo>
                <a:lnTo>
                  <a:pt x="162" y="96"/>
                </a:lnTo>
                <a:lnTo>
                  <a:pt x="168" y="96"/>
                </a:lnTo>
                <a:lnTo>
                  <a:pt x="168" y="96"/>
                </a:lnTo>
                <a:lnTo>
                  <a:pt x="168" y="90"/>
                </a:lnTo>
                <a:lnTo>
                  <a:pt x="168" y="90"/>
                </a:lnTo>
                <a:lnTo>
                  <a:pt x="168" y="90"/>
                </a:lnTo>
                <a:lnTo>
                  <a:pt x="174" y="96"/>
                </a:lnTo>
                <a:lnTo>
                  <a:pt x="174" y="96"/>
                </a:lnTo>
                <a:lnTo>
                  <a:pt x="174" y="96"/>
                </a:lnTo>
                <a:lnTo>
                  <a:pt x="180" y="96"/>
                </a:lnTo>
                <a:lnTo>
                  <a:pt x="180" y="96"/>
                </a:lnTo>
                <a:lnTo>
                  <a:pt x="180" y="96"/>
                </a:lnTo>
                <a:lnTo>
                  <a:pt x="180" y="96"/>
                </a:lnTo>
                <a:lnTo>
                  <a:pt x="180" y="102"/>
                </a:lnTo>
                <a:lnTo>
                  <a:pt x="180" y="102"/>
                </a:lnTo>
                <a:lnTo>
                  <a:pt x="180" y="102"/>
                </a:lnTo>
                <a:lnTo>
                  <a:pt x="180" y="108"/>
                </a:lnTo>
                <a:lnTo>
                  <a:pt x="186" y="108"/>
                </a:lnTo>
                <a:lnTo>
                  <a:pt x="186" y="108"/>
                </a:lnTo>
                <a:lnTo>
                  <a:pt x="186" y="108"/>
                </a:lnTo>
                <a:lnTo>
                  <a:pt x="186" y="108"/>
                </a:lnTo>
                <a:lnTo>
                  <a:pt x="186" y="108"/>
                </a:lnTo>
                <a:lnTo>
                  <a:pt x="186" y="114"/>
                </a:lnTo>
                <a:lnTo>
                  <a:pt x="186" y="114"/>
                </a:lnTo>
                <a:lnTo>
                  <a:pt x="186" y="108"/>
                </a:lnTo>
                <a:lnTo>
                  <a:pt x="180" y="108"/>
                </a:lnTo>
                <a:lnTo>
                  <a:pt x="180" y="108"/>
                </a:lnTo>
                <a:lnTo>
                  <a:pt x="180" y="108"/>
                </a:lnTo>
                <a:lnTo>
                  <a:pt x="174" y="108"/>
                </a:lnTo>
                <a:lnTo>
                  <a:pt x="174" y="108"/>
                </a:lnTo>
                <a:lnTo>
                  <a:pt x="174" y="108"/>
                </a:lnTo>
                <a:lnTo>
                  <a:pt x="174" y="108"/>
                </a:lnTo>
                <a:lnTo>
                  <a:pt x="174" y="108"/>
                </a:lnTo>
                <a:lnTo>
                  <a:pt x="174" y="102"/>
                </a:lnTo>
                <a:lnTo>
                  <a:pt x="168" y="102"/>
                </a:lnTo>
                <a:lnTo>
                  <a:pt x="168" y="102"/>
                </a:lnTo>
                <a:lnTo>
                  <a:pt x="168" y="102"/>
                </a:lnTo>
                <a:lnTo>
                  <a:pt x="168" y="102"/>
                </a:lnTo>
                <a:lnTo>
                  <a:pt x="168" y="102"/>
                </a:lnTo>
                <a:lnTo>
                  <a:pt x="162" y="102"/>
                </a:lnTo>
                <a:lnTo>
                  <a:pt x="162" y="102"/>
                </a:lnTo>
                <a:lnTo>
                  <a:pt x="162" y="102"/>
                </a:lnTo>
                <a:lnTo>
                  <a:pt x="162" y="102"/>
                </a:lnTo>
                <a:lnTo>
                  <a:pt x="162" y="96"/>
                </a:lnTo>
                <a:lnTo>
                  <a:pt x="156" y="96"/>
                </a:lnTo>
                <a:lnTo>
                  <a:pt x="156" y="96"/>
                </a:lnTo>
                <a:lnTo>
                  <a:pt x="156" y="96"/>
                </a:lnTo>
                <a:lnTo>
                  <a:pt x="150" y="96"/>
                </a:lnTo>
                <a:lnTo>
                  <a:pt x="150" y="96"/>
                </a:lnTo>
                <a:lnTo>
                  <a:pt x="144" y="96"/>
                </a:lnTo>
                <a:lnTo>
                  <a:pt x="144" y="102"/>
                </a:lnTo>
                <a:lnTo>
                  <a:pt x="138" y="96"/>
                </a:lnTo>
                <a:lnTo>
                  <a:pt x="138" y="96"/>
                </a:lnTo>
                <a:lnTo>
                  <a:pt x="138" y="102"/>
                </a:lnTo>
                <a:lnTo>
                  <a:pt x="138" y="102"/>
                </a:lnTo>
                <a:lnTo>
                  <a:pt x="132" y="102"/>
                </a:lnTo>
                <a:lnTo>
                  <a:pt x="132" y="102"/>
                </a:lnTo>
                <a:lnTo>
                  <a:pt x="132" y="102"/>
                </a:lnTo>
                <a:lnTo>
                  <a:pt x="132" y="102"/>
                </a:lnTo>
                <a:lnTo>
                  <a:pt x="132" y="102"/>
                </a:lnTo>
                <a:lnTo>
                  <a:pt x="132" y="102"/>
                </a:lnTo>
                <a:lnTo>
                  <a:pt x="132" y="102"/>
                </a:lnTo>
                <a:lnTo>
                  <a:pt x="132" y="102"/>
                </a:lnTo>
                <a:lnTo>
                  <a:pt x="132" y="108"/>
                </a:lnTo>
                <a:lnTo>
                  <a:pt x="132" y="108"/>
                </a:lnTo>
                <a:lnTo>
                  <a:pt x="126" y="108"/>
                </a:lnTo>
                <a:lnTo>
                  <a:pt x="126" y="108"/>
                </a:lnTo>
                <a:lnTo>
                  <a:pt x="126" y="108"/>
                </a:lnTo>
                <a:lnTo>
                  <a:pt x="126" y="108"/>
                </a:lnTo>
                <a:lnTo>
                  <a:pt x="126" y="108"/>
                </a:lnTo>
                <a:lnTo>
                  <a:pt x="126" y="108"/>
                </a:lnTo>
                <a:lnTo>
                  <a:pt x="126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14"/>
                </a:lnTo>
                <a:lnTo>
                  <a:pt x="120" y="114"/>
                </a:lnTo>
                <a:lnTo>
                  <a:pt x="120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20"/>
                </a:lnTo>
                <a:lnTo>
                  <a:pt x="114" y="114"/>
                </a:lnTo>
                <a:lnTo>
                  <a:pt x="114" y="120"/>
                </a:lnTo>
                <a:lnTo>
                  <a:pt x="114" y="120"/>
                </a:lnTo>
                <a:lnTo>
                  <a:pt x="114" y="120"/>
                </a:lnTo>
                <a:lnTo>
                  <a:pt x="114" y="120"/>
                </a:lnTo>
                <a:lnTo>
                  <a:pt x="114" y="120"/>
                </a:lnTo>
                <a:lnTo>
                  <a:pt x="114" y="120"/>
                </a:lnTo>
                <a:lnTo>
                  <a:pt x="114" y="120"/>
                </a:lnTo>
                <a:lnTo>
                  <a:pt x="114" y="120"/>
                </a:lnTo>
                <a:lnTo>
                  <a:pt x="114" y="120"/>
                </a:lnTo>
                <a:lnTo>
                  <a:pt x="114" y="120"/>
                </a:lnTo>
                <a:lnTo>
                  <a:pt x="114" y="120"/>
                </a:lnTo>
                <a:lnTo>
                  <a:pt x="114" y="120"/>
                </a:lnTo>
                <a:lnTo>
                  <a:pt x="114" y="126"/>
                </a:lnTo>
                <a:lnTo>
                  <a:pt x="114" y="126"/>
                </a:lnTo>
                <a:lnTo>
                  <a:pt x="114" y="126"/>
                </a:lnTo>
                <a:lnTo>
                  <a:pt x="120" y="126"/>
                </a:lnTo>
                <a:lnTo>
                  <a:pt x="120" y="126"/>
                </a:lnTo>
                <a:lnTo>
                  <a:pt x="120" y="126"/>
                </a:lnTo>
                <a:lnTo>
                  <a:pt x="120" y="126"/>
                </a:lnTo>
                <a:lnTo>
                  <a:pt x="120" y="126"/>
                </a:lnTo>
                <a:lnTo>
                  <a:pt x="120" y="126"/>
                </a:lnTo>
                <a:lnTo>
                  <a:pt x="126" y="126"/>
                </a:lnTo>
                <a:lnTo>
                  <a:pt x="126" y="132"/>
                </a:lnTo>
                <a:lnTo>
                  <a:pt x="126" y="132"/>
                </a:lnTo>
                <a:lnTo>
                  <a:pt x="126" y="132"/>
                </a:lnTo>
                <a:lnTo>
                  <a:pt x="126" y="132"/>
                </a:lnTo>
                <a:lnTo>
                  <a:pt x="126" y="132"/>
                </a:lnTo>
                <a:lnTo>
                  <a:pt x="126" y="132"/>
                </a:lnTo>
                <a:lnTo>
                  <a:pt x="126" y="138"/>
                </a:lnTo>
                <a:lnTo>
                  <a:pt x="126" y="138"/>
                </a:lnTo>
                <a:lnTo>
                  <a:pt x="126" y="138"/>
                </a:lnTo>
                <a:lnTo>
                  <a:pt x="126" y="138"/>
                </a:lnTo>
                <a:lnTo>
                  <a:pt x="132" y="138"/>
                </a:lnTo>
                <a:lnTo>
                  <a:pt x="132" y="138"/>
                </a:lnTo>
                <a:lnTo>
                  <a:pt x="132" y="138"/>
                </a:lnTo>
                <a:lnTo>
                  <a:pt x="132" y="144"/>
                </a:lnTo>
                <a:lnTo>
                  <a:pt x="132" y="144"/>
                </a:lnTo>
                <a:lnTo>
                  <a:pt x="132" y="144"/>
                </a:lnTo>
                <a:lnTo>
                  <a:pt x="132" y="144"/>
                </a:lnTo>
                <a:lnTo>
                  <a:pt x="132" y="144"/>
                </a:lnTo>
                <a:lnTo>
                  <a:pt x="132" y="150"/>
                </a:lnTo>
                <a:lnTo>
                  <a:pt x="132" y="150"/>
                </a:lnTo>
                <a:lnTo>
                  <a:pt x="126" y="150"/>
                </a:lnTo>
                <a:lnTo>
                  <a:pt x="126" y="150"/>
                </a:lnTo>
                <a:lnTo>
                  <a:pt x="120" y="156"/>
                </a:lnTo>
                <a:lnTo>
                  <a:pt x="120" y="156"/>
                </a:lnTo>
                <a:lnTo>
                  <a:pt x="120" y="156"/>
                </a:lnTo>
                <a:lnTo>
                  <a:pt x="120" y="156"/>
                </a:lnTo>
                <a:lnTo>
                  <a:pt x="114" y="156"/>
                </a:lnTo>
                <a:lnTo>
                  <a:pt x="114" y="156"/>
                </a:lnTo>
                <a:lnTo>
                  <a:pt x="108" y="162"/>
                </a:lnTo>
                <a:lnTo>
                  <a:pt x="108" y="162"/>
                </a:lnTo>
                <a:lnTo>
                  <a:pt x="102" y="162"/>
                </a:lnTo>
                <a:lnTo>
                  <a:pt x="102" y="162"/>
                </a:lnTo>
                <a:lnTo>
                  <a:pt x="102" y="162"/>
                </a:lnTo>
                <a:lnTo>
                  <a:pt x="102" y="162"/>
                </a:lnTo>
                <a:lnTo>
                  <a:pt x="102" y="162"/>
                </a:lnTo>
                <a:lnTo>
                  <a:pt x="102" y="168"/>
                </a:lnTo>
                <a:lnTo>
                  <a:pt x="96" y="168"/>
                </a:lnTo>
                <a:lnTo>
                  <a:pt x="96" y="168"/>
                </a:lnTo>
                <a:lnTo>
                  <a:pt x="96" y="168"/>
                </a:lnTo>
                <a:lnTo>
                  <a:pt x="96" y="168"/>
                </a:lnTo>
                <a:lnTo>
                  <a:pt x="90" y="168"/>
                </a:lnTo>
                <a:lnTo>
                  <a:pt x="90" y="168"/>
                </a:lnTo>
                <a:lnTo>
                  <a:pt x="90" y="168"/>
                </a:lnTo>
                <a:lnTo>
                  <a:pt x="90" y="174"/>
                </a:lnTo>
                <a:lnTo>
                  <a:pt x="84" y="174"/>
                </a:lnTo>
                <a:lnTo>
                  <a:pt x="84" y="174"/>
                </a:lnTo>
                <a:lnTo>
                  <a:pt x="84" y="174"/>
                </a:lnTo>
                <a:lnTo>
                  <a:pt x="84" y="180"/>
                </a:lnTo>
                <a:lnTo>
                  <a:pt x="84" y="180"/>
                </a:lnTo>
                <a:lnTo>
                  <a:pt x="84" y="186"/>
                </a:lnTo>
                <a:lnTo>
                  <a:pt x="84" y="186"/>
                </a:lnTo>
                <a:lnTo>
                  <a:pt x="84" y="186"/>
                </a:lnTo>
                <a:lnTo>
                  <a:pt x="78" y="192"/>
                </a:lnTo>
                <a:lnTo>
                  <a:pt x="78" y="192"/>
                </a:lnTo>
                <a:lnTo>
                  <a:pt x="78" y="192"/>
                </a:lnTo>
                <a:lnTo>
                  <a:pt x="72" y="192"/>
                </a:lnTo>
                <a:lnTo>
                  <a:pt x="72" y="192"/>
                </a:lnTo>
                <a:lnTo>
                  <a:pt x="72" y="192"/>
                </a:lnTo>
                <a:lnTo>
                  <a:pt x="72" y="192"/>
                </a:lnTo>
                <a:lnTo>
                  <a:pt x="72" y="198"/>
                </a:lnTo>
                <a:lnTo>
                  <a:pt x="72" y="198"/>
                </a:lnTo>
                <a:lnTo>
                  <a:pt x="72" y="198"/>
                </a:lnTo>
                <a:lnTo>
                  <a:pt x="72" y="198"/>
                </a:lnTo>
                <a:lnTo>
                  <a:pt x="72" y="198"/>
                </a:lnTo>
                <a:lnTo>
                  <a:pt x="72" y="198"/>
                </a:lnTo>
                <a:lnTo>
                  <a:pt x="72" y="204"/>
                </a:lnTo>
                <a:lnTo>
                  <a:pt x="72" y="204"/>
                </a:lnTo>
                <a:lnTo>
                  <a:pt x="72" y="204"/>
                </a:lnTo>
                <a:lnTo>
                  <a:pt x="72" y="204"/>
                </a:lnTo>
                <a:lnTo>
                  <a:pt x="72" y="204"/>
                </a:lnTo>
                <a:lnTo>
                  <a:pt x="72" y="204"/>
                </a:lnTo>
                <a:lnTo>
                  <a:pt x="72" y="204"/>
                </a:lnTo>
                <a:lnTo>
                  <a:pt x="72" y="204"/>
                </a:lnTo>
                <a:lnTo>
                  <a:pt x="72" y="204"/>
                </a:lnTo>
                <a:lnTo>
                  <a:pt x="72" y="204"/>
                </a:lnTo>
                <a:lnTo>
                  <a:pt x="72" y="204"/>
                </a:lnTo>
                <a:lnTo>
                  <a:pt x="72" y="204"/>
                </a:lnTo>
                <a:lnTo>
                  <a:pt x="72" y="204"/>
                </a:lnTo>
                <a:lnTo>
                  <a:pt x="72" y="204"/>
                </a:lnTo>
                <a:lnTo>
                  <a:pt x="72" y="204"/>
                </a:lnTo>
                <a:lnTo>
                  <a:pt x="78" y="204"/>
                </a:lnTo>
                <a:lnTo>
                  <a:pt x="78" y="204"/>
                </a:lnTo>
                <a:lnTo>
                  <a:pt x="78" y="204"/>
                </a:lnTo>
                <a:lnTo>
                  <a:pt x="78" y="204"/>
                </a:lnTo>
                <a:lnTo>
                  <a:pt x="78" y="204"/>
                </a:lnTo>
                <a:lnTo>
                  <a:pt x="78" y="204"/>
                </a:lnTo>
                <a:lnTo>
                  <a:pt x="84" y="204"/>
                </a:lnTo>
                <a:lnTo>
                  <a:pt x="84" y="204"/>
                </a:lnTo>
                <a:lnTo>
                  <a:pt x="84" y="204"/>
                </a:lnTo>
                <a:lnTo>
                  <a:pt x="84" y="204"/>
                </a:lnTo>
                <a:lnTo>
                  <a:pt x="84" y="204"/>
                </a:lnTo>
                <a:lnTo>
                  <a:pt x="90" y="204"/>
                </a:lnTo>
                <a:lnTo>
                  <a:pt x="90" y="204"/>
                </a:lnTo>
                <a:lnTo>
                  <a:pt x="90" y="204"/>
                </a:lnTo>
                <a:lnTo>
                  <a:pt x="90" y="204"/>
                </a:lnTo>
                <a:lnTo>
                  <a:pt x="90" y="204"/>
                </a:lnTo>
                <a:lnTo>
                  <a:pt x="90" y="204"/>
                </a:lnTo>
                <a:lnTo>
                  <a:pt x="90" y="204"/>
                </a:lnTo>
                <a:lnTo>
                  <a:pt x="90" y="204"/>
                </a:lnTo>
                <a:lnTo>
                  <a:pt x="90" y="210"/>
                </a:lnTo>
                <a:lnTo>
                  <a:pt x="90" y="210"/>
                </a:lnTo>
                <a:lnTo>
                  <a:pt x="96" y="210"/>
                </a:lnTo>
                <a:lnTo>
                  <a:pt x="96" y="210"/>
                </a:lnTo>
                <a:lnTo>
                  <a:pt x="96" y="210"/>
                </a:lnTo>
                <a:lnTo>
                  <a:pt x="96" y="210"/>
                </a:lnTo>
                <a:lnTo>
                  <a:pt x="96" y="210"/>
                </a:lnTo>
                <a:lnTo>
                  <a:pt x="96" y="210"/>
                </a:lnTo>
                <a:lnTo>
                  <a:pt x="102" y="210"/>
                </a:lnTo>
                <a:lnTo>
                  <a:pt x="102" y="210"/>
                </a:lnTo>
                <a:lnTo>
                  <a:pt x="102" y="210"/>
                </a:lnTo>
                <a:lnTo>
                  <a:pt x="102" y="210"/>
                </a:lnTo>
                <a:lnTo>
                  <a:pt x="102" y="210"/>
                </a:lnTo>
                <a:lnTo>
                  <a:pt x="102" y="210"/>
                </a:lnTo>
                <a:lnTo>
                  <a:pt x="102" y="210"/>
                </a:lnTo>
                <a:lnTo>
                  <a:pt x="102" y="210"/>
                </a:lnTo>
                <a:lnTo>
                  <a:pt x="102" y="210"/>
                </a:lnTo>
                <a:lnTo>
                  <a:pt x="102" y="210"/>
                </a:lnTo>
                <a:lnTo>
                  <a:pt x="102" y="210"/>
                </a:lnTo>
                <a:lnTo>
                  <a:pt x="102" y="210"/>
                </a:lnTo>
                <a:lnTo>
                  <a:pt x="108" y="210"/>
                </a:lnTo>
                <a:lnTo>
                  <a:pt x="108" y="210"/>
                </a:lnTo>
                <a:lnTo>
                  <a:pt x="108" y="210"/>
                </a:lnTo>
                <a:lnTo>
                  <a:pt x="108" y="210"/>
                </a:lnTo>
                <a:lnTo>
                  <a:pt x="108" y="210"/>
                </a:lnTo>
                <a:lnTo>
                  <a:pt x="108" y="210"/>
                </a:lnTo>
                <a:lnTo>
                  <a:pt x="108" y="216"/>
                </a:lnTo>
                <a:lnTo>
                  <a:pt x="108" y="216"/>
                </a:lnTo>
                <a:lnTo>
                  <a:pt x="114" y="216"/>
                </a:lnTo>
                <a:lnTo>
                  <a:pt x="114" y="216"/>
                </a:lnTo>
                <a:lnTo>
                  <a:pt x="114" y="216"/>
                </a:lnTo>
                <a:lnTo>
                  <a:pt x="114" y="216"/>
                </a:lnTo>
                <a:lnTo>
                  <a:pt x="120" y="216"/>
                </a:lnTo>
                <a:lnTo>
                  <a:pt x="120" y="216"/>
                </a:lnTo>
                <a:lnTo>
                  <a:pt x="120" y="216"/>
                </a:lnTo>
                <a:lnTo>
                  <a:pt x="120" y="216"/>
                </a:lnTo>
                <a:lnTo>
                  <a:pt x="120" y="216"/>
                </a:lnTo>
                <a:lnTo>
                  <a:pt x="120" y="216"/>
                </a:lnTo>
                <a:lnTo>
                  <a:pt x="126" y="216"/>
                </a:lnTo>
                <a:lnTo>
                  <a:pt x="126" y="216"/>
                </a:lnTo>
                <a:lnTo>
                  <a:pt x="126" y="216"/>
                </a:lnTo>
                <a:lnTo>
                  <a:pt x="126" y="222"/>
                </a:lnTo>
                <a:lnTo>
                  <a:pt x="126" y="222"/>
                </a:lnTo>
                <a:lnTo>
                  <a:pt x="126" y="222"/>
                </a:lnTo>
                <a:lnTo>
                  <a:pt x="126" y="222"/>
                </a:lnTo>
                <a:lnTo>
                  <a:pt x="120" y="222"/>
                </a:lnTo>
                <a:lnTo>
                  <a:pt x="120" y="222"/>
                </a:lnTo>
                <a:lnTo>
                  <a:pt x="120" y="228"/>
                </a:lnTo>
                <a:lnTo>
                  <a:pt x="120" y="228"/>
                </a:lnTo>
                <a:lnTo>
                  <a:pt x="120" y="234"/>
                </a:lnTo>
                <a:lnTo>
                  <a:pt x="120" y="234"/>
                </a:lnTo>
                <a:lnTo>
                  <a:pt x="126" y="246"/>
                </a:lnTo>
                <a:lnTo>
                  <a:pt x="126" y="246"/>
                </a:lnTo>
                <a:lnTo>
                  <a:pt x="120" y="246"/>
                </a:lnTo>
                <a:lnTo>
                  <a:pt x="120" y="246"/>
                </a:lnTo>
                <a:lnTo>
                  <a:pt x="120" y="246"/>
                </a:lnTo>
                <a:lnTo>
                  <a:pt x="120" y="246"/>
                </a:lnTo>
                <a:lnTo>
                  <a:pt x="120" y="246"/>
                </a:lnTo>
                <a:lnTo>
                  <a:pt x="120" y="246"/>
                </a:lnTo>
                <a:lnTo>
                  <a:pt x="120" y="246"/>
                </a:lnTo>
                <a:lnTo>
                  <a:pt x="114" y="246"/>
                </a:lnTo>
                <a:lnTo>
                  <a:pt x="114" y="246"/>
                </a:lnTo>
                <a:lnTo>
                  <a:pt x="114" y="246"/>
                </a:lnTo>
                <a:lnTo>
                  <a:pt x="114" y="246"/>
                </a:lnTo>
                <a:lnTo>
                  <a:pt x="114" y="246"/>
                </a:lnTo>
                <a:lnTo>
                  <a:pt x="114" y="246"/>
                </a:lnTo>
                <a:lnTo>
                  <a:pt x="114" y="246"/>
                </a:lnTo>
                <a:lnTo>
                  <a:pt x="114" y="246"/>
                </a:lnTo>
                <a:lnTo>
                  <a:pt x="114" y="246"/>
                </a:lnTo>
                <a:lnTo>
                  <a:pt x="108" y="246"/>
                </a:lnTo>
                <a:lnTo>
                  <a:pt x="108" y="246"/>
                </a:lnTo>
                <a:lnTo>
                  <a:pt x="108" y="246"/>
                </a:lnTo>
                <a:lnTo>
                  <a:pt x="108" y="246"/>
                </a:lnTo>
                <a:lnTo>
                  <a:pt x="108" y="246"/>
                </a:lnTo>
                <a:lnTo>
                  <a:pt x="108" y="246"/>
                </a:lnTo>
                <a:lnTo>
                  <a:pt x="108" y="246"/>
                </a:lnTo>
                <a:lnTo>
                  <a:pt x="102" y="252"/>
                </a:lnTo>
                <a:lnTo>
                  <a:pt x="102" y="252"/>
                </a:lnTo>
                <a:lnTo>
                  <a:pt x="102" y="252"/>
                </a:lnTo>
                <a:lnTo>
                  <a:pt x="102" y="252"/>
                </a:lnTo>
                <a:lnTo>
                  <a:pt x="102" y="252"/>
                </a:lnTo>
                <a:lnTo>
                  <a:pt x="102" y="252"/>
                </a:lnTo>
                <a:lnTo>
                  <a:pt x="102" y="252"/>
                </a:lnTo>
                <a:lnTo>
                  <a:pt x="102" y="258"/>
                </a:lnTo>
                <a:lnTo>
                  <a:pt x="102" y="258"/>
                </a:lnTo>
                <a:lnTo>
                  <a:pt x="102" y="258"/>
                </a:lnTo>
                <a:lnTo>
                  <a:pt x="96" y="258"/>
                </a:lnTo>
                <a:lnTo>
                  <a:pt x="96" y="258"/>
                </a:lnTo>
                <a:lnTo>
                  <a:pt x="96" y="258"/>
                </a:lnTo>
                <a:lnTo>
                  <a:pt x="96" y="258"/>
                </a:lnTo>
                <a:lnTo>
                  <a:pt x="96" y="258"/>
                </a:lnTo>
                <a:lnTo>
                  <a:pt x="96" y="258"/>
                </a:lnTo>
                <a:lnTo>
                  <a:pt x="96" y="258"/>
                </a:lnTo>
                <a:lnTo>
                  <a:pt x="90" y="258"/>
                </a:lnTo>
                <a:lnTo>
                  <a:pt x="90" y="258"/>
                </a:lnTo>
                <a:lnTo>
                  <a:pt x="90" y="252"/>
                </a:lnTo>
                <a:lnTo>
                  <a:pt x="90" y="252"/>
                </a:lnTo>
                <a:lnTo>
                  <a:pt x="90" y="252"/>
                </a:lnTo>
                <a:lnTo>
                  <a:pt x="90" y="252"/>
                </a:lnTo>
                <a:lnTo>
                  <a:pt x="84" y="246"/>
                </a:lnTo>
                <a:lnTo>
                  <a:pt x="84" y="246"/>
                </a:lnTo>
                <a:lnTo>
                  <a:pt x="84" y="246"/>
                </a:lnTo>
                <a:lnTo>
                  <a:pt x="84" y="246"/>
                </a:lnTo>
                <a:lnTo>
                  <a:pt x="84" y="246"/>
                </a:lnTo>
                <a:lnTo>
                  <a:pt x="84" y="246"/>
                </a:lnTo>
                <a:lnTo>
                  <a:pt x="84" y="246"/>
                </a:lnTo>
                <a:lnTo>
                  <a:pt x="84" y="246"/>
                </a:lnTo>
                <a:lnTo>
                  <a:pt x="84" y="246"/>
                </a:lnTo>
                <a:lnTo>
                  <a:pt x="84" y="246"/>
                </a:lnTo>
                <a:lnTo>
                  <a:pt x="84" y="240"/>
                </a:lnTo>
                <a:lnTo>
                  <a:pt x="84" y="240"/>
                </a:lnTo>
                <a:lnTo>
                  <a:pt x="84" y="240"/>
                </a:lnTo>
                <a:lnTo>
                  <a:pt x="84" y="240"/>
                </a:lnTo>
                <a:lnTo>
                  <a:pt x="78" y="240"/>
                </a:lnTo>
                <a:lnTo>
                  <a:pt x="78" y="240"/>
                </a:lnTo>
                <a:lnTo>
                  <a:pt x="78" y="240"/>
                </a:lnTo>
                <a:lnTo>
                  <a:pt x="78" y="234"/>
                </a:lnTo>
                <a:lnTo>
                  <a:pt x="78" y="234"/>
                </a:lnTo>
                <a:lnTo>
                  <a:pt x="78" y="234"/>
                </a:lnTo>
                <a:lnTo>
                  <a:pt x="78" y="234"/>
                </a:lnTo>
                <a:lnTo>
                  <a:pt x="78" y="234"/>
                </a:lnTo>
                <a:lnTo>
                  <a:pt x="72" y="234"/>
                </a:lnTo>
                <a:lnTo>
                  <a:pt x="78" y="228"/>
                </a:lnTo>
                <a:lnTo>
                  <a:pt x="72" y="228"/>
                </a:lnTo>
                <a:lnTo>
                  <a:pt x="72" y="228"/>
                </a:lnTo>
                <a:lnTo>
                  <a:pt x="72" y="228"/>
                </a:lnTo>
                <a:lnTo>
                  <a:pt x="72" y="228"/>
                </a:lnTo>
                <a:lnTo>
                  <a:pt x="72" y="228"/>
                </a:lnTo>
                <a:lnTo>
                  <a:pt x="72" y="228"/>
                </a:lnTo>
                <a:lnTo>
                  <a:pt x="72" y="228"/>
                </a:lnTo>
                <a:lnTo>
                  <a:pt x="72" y="228"/>
                </a:lnTo>
                <a:lnTo>
                  <a:pt x="66" y="228"/>
                </a:lnTo>
                <a:lnTo>
                  <a:pt x="66" y="228"/>
                </a:lnTo>
                <a:lnTo>
                  <a:pt x="66" y="228"/>
                </a:lnTo>
                <a:lnTo>
                  <a:pt x="66" y="228"/>
                </a:lnTo>
                <a:lnTo>
                  <a:pt x="66" y="228"/>
                </a:lnTo>
                <a:lnTo>
                  <a:pt x="66" y="228"/>
                </a:lnTo>
                <a:lnTo>
                  <a:pt x="66" y="222"/>
                </a:lnTo>
                <a:lnTo>
                  <a:pt x="66" y="222"/>
                </a:lnTo>
                <a:lnTo>
                  <a:pt x="66" y="222"/>
                </a:lnTo>
                <a:lnTo>
                  <a:pt x="66" y="222"/>
                </a:lnTo>
                <a:lnTo>
                  <a:pt x="66" y="222"/>
                </a:lnTo>
                <a:lnTo>
                  <a:pt x="66" y="222"/>
                </a:lnTo>
                <a:lnTo>
                  <a:pt x="66" y="216"/>
                </a:lnTo>
                <a:lnTo>
                  <a:pt x="66" y="216"/>
                </a:lnTo>
                <a:lnTo>
                  <a:pt x="66" y="216"/>
                </a:lnTo>
                <a:lnTo>
                  <a:pt x="66" y="216"/>
                </a:lnTo>
                <a:lnTo>
                  <a:pt x="66" y="216"/>
                </a:lnTo>
                <a:lnTo>
                  <a:pt x="66" y="216"/>
                </a:lnTo>
                <a:lnTo>
                  <a:pt x="66" y="216"/>
                </a:lnTo>
                <a:lnTo>
                  <a:pt x="60" y="216"/>
                </a:lnTo>
                <a:lnTo>
                  <a:pt x="60" y="216"/>
                </a:lnTo>
                <a:lnTo>
                  <a:pt x="60" y="216"/>
                </a:lnTo>
                <a:lnTo>
                  <a:pt x="60" y="216"/>
                </a:lnTo>
                <a:lnTo>
                  <a:pt x="60" y="216"/>
                </a:lnTo>
                <a:lnTo>
                  <a:pt x="60" y="216"/>
                </a:lnTo>
                <a:lnTo>
                  <a:pt x="60" y="216"/>
                </a:lnTo>
                <a:lnTo>
                  <a:pt x="60" y="216"/>
                </a:lnTo>
                <a:lnTo>
                  <a:pt x="54" y="210"/>
                </a:lnTo>
                <a:lnTo>
                  <a:pt x="54" y="210"/>
                </a:lnTo>
                <a:lnTo>
                  <a:pt x="60" y="210"/>
                </a:lnTo>
                <a:lnTo>
                  <a:pt x="54" y="210"/>
                </a:lnTo>
                <a:lnTo>
                  <a:pt x="54" y="210"/>
                </a:lnTo>
                <a:lnTo>
                  <a:pt x="60" y="210"/>
                </a:lnTo>
                <a:lnTo>
                  <a:pt x="60" y="210"/>
                </a:lnTo>
                <a:lnTo>
                  <a:pt x="60" y="210"/>
                </a:lnTo>
                <a:lnTo>
                  <a:pt x="60" y="210"/>
                </a:lnTo>
                <a:lnTo>
                  <a:pt x="54" y="210"/>
                </a:lnTo>
                <a:lnTo>
                  <a:pt x="54" y="210"/>
                </a:lnTo>
                <a:lnTo>
                  <a:pt x="54" y="204"/>
                </a:lnTo>
                <a:lnTo>
                  <a:pt x="54" y="204"/>
                </a:lnTo>
                <a:lnTo>
                  <a:pt x="54" y="204"/>
                </a:lnTo>
                <a:lnTo>
                  <a:pt x="54" y="204"/>
                </a:lnTo>
                <a:lnTo>
                  <a:pt x="54" y="204"/>
                </a:lnTo>
                <a:lnTo>
                  <a:pt x="54" y="204"/>
                </a:lnTo>
                <a:lnTo>
                  <a:pt x="54" y="204"/>
                </a:lnTo>
                <a:lnTo>
                  <a:pt x="54" y="204"/>
                </a:lnTo>
                <a:lnTo>
                  <a:pt x="54" y="198"/>
                </a:lnTo>
                <a:lnTo>
                  <a:pt x="54" y="198"/>
                </a:lnTo>
                <a:lnTo>
                  <a:pt x="48" y="198"/>
                </a:lnTo>
                <a:lnTo>
                  <a:pt x="48" y="198"/>
                </a:lnTo>
                <a:lnTo>
                  <a:pt x="48" y="204"/>
                </a:lnTo>
                <a:lnTo>
                  <a:pt x="54" y="204"/>
                </a:lnTo>
                <a:lnTo>
                  <a:pt x="54" y="204"/>
                </a:lnTo>
                <a:lnTo>
                  <a:pt x="48" y="204"/>
                </a:lnTo>
                <a:lnTo>
                  <a:pt x="48" y="204"/>
                </a:lnTo>
                <a:lnTo>
                  <a:pt x="48" y="204"/>
                </a:lnTo>
                <a:lnTo>
                  <a:pt x="48" y="204"/>
                </a:lnTo>
                <a:lnTo>
                  <a:pt x="48" y="198"/>
                </a:lnTo>
                <a:lnTo>
                  <a:pt x="48" y="198"/>
                </a:lnTo>
                <a:lnTo>
                  <a:pt x="48" y="198"/>
                </a:lnTo>
                <a:lnTo>
                  <a:pt x="48" y="192"/>
                </a:lnTo>
                <a:lnTo>
                  <a:pt x="48" y="192"/>
                </a:lnTo>
                <a:lnTo>
                  <a:pt x="48" y="192"/>
                </a:lnTo>
                <a:lnTo>
                  <a:pt x="42" y="192"/>
                </a:lnTo>
                <a:lnTo>
                  <a:pt x="42" y="192"/>
                </a:lnTo>
                <a:lnTo>
                  <a:pt x="42" y="192"/>
                </a:lnTo>
                <a:lnTo>
                  <a:pt x="42" y="192"/>
                </a:lnTo>
                <a:lnTo>
                  <a:pt x="42" y="192"/>
                </a:lnTo>
                <a:lnTo>
                  <a:pt x="42" y="192"/>
                </a:lnTo>
                <a:lnTo>
                  <a:pt x="42" y="192"/>
                </a:lnTo>
                <a:lnTo>
                  <a:pt x="42" y="186"/>
                </a:lnTo>
                <a:lnTo>
                  <a:pt x="42" y="186"/>
                </a:lnTo>
                <a:lnTo>
                  <a:pt x="42" y="186"/>
                </a:lnTo>
                <a:lnTo>
                  <a:pt x="36" y="186"/>
                </a:lnTo>
                <a:lnTo>
                  <a:pt x="36" y="186"/>
                </a:lnTo>
                <a:lnTo>
                  <a:pt x="36" y="186"/>
                </a:lnTo>
                <a:lnTo>
                  <a:pt x="36" y="186"/>
                </a:lnTo>
                <a:lnTo>
                  <a:pt x="36" y="186"/>
                </a:lnTo>
                <a:lnTo>
                  <a:pt x="36" y="180"/>
                </a:lnTo>
                <a:lnTo>
                  <a:pt x="30" y="180"/>
                </a:lnTo>
                <a:lnTo>
                  <a:pt x="30" y="174"/>
                </a:lnTo>
                <a:lnTo>
                  <a:pt x="30" y="174"/>
                </a:lnTo>
                <a:lnTo>
                  <a:pt x="30" y="174"/>
                </a:lnTo>
                <a:lnTo>
                  <a:pt x="24" y="174"/>
                </a:lnTo>
                <a:lnTo>
                  <a:pt x="24" y="180"/>
                </a:lnTo>
                <a:lnTo>
                  <a:pt x="18" y="174"/>
                </a:lnTo>
                <a:lnTo>
                  <a:pt x="24" y="174"/>
                </a:lnTo>
                <a:lnTo>
                  <a:pt x="24" y="174"/>
                </a:lnTo>
                <a:lnTo>
                  <a:pt x="30" y="168"/>
                </a:lnTo>
                <a:lnTo>
                  <a:pt x="30" y="168"/>
                </a:lnTo>
                <a:lnTo>
                  <a:pt x="36" y="168"/>
                </a:lnTo>
                <a:lnTo>
                  <a:pt x="36" y="162"/>
                </a:lnTo>
                <a:lnTo>
                  <a:pt x="36" y="162"/>
                </a:lnTo>
                <a:lnTo>
                  <a:pt x="30" y="156"/>
                </a:lnTo>
                <a:lnTo>
                  <a:pt x="30" y="156"/>
                </a:lnTo>
                <a:lnTo>
                  <a:pt x="30" y="156"/>
                </a:lnTo>
                <a:lnTo>
                  <a:pt x="24" y="156"/>
                </a:lnTo>
                <a:lnTo>
                  <a:pt x="18" y="156"/>
                </a:lnTo>
                <a:lnTo>
                  <a:pt x="18" y="156"/>
                </a:lnTo>
                <a:lnTo>
                  <a:pt x="18" y="156"/>
                </a:lnTo>
                <a:lnTo>
                  <a:pt x="12" y="156"/>
                </a:lnTo>
                <a:lnTo>
                  <a:pt x="12" y="156"/>
                </a:lnTo>
                <a:lnTo>
                  <a:pt x="12" y="156"/>
                </a:lnTo>
                <a:lnTo>
                  <a:pt x="12" y="156"/>
                </a:lnTo>
                <a:lnTo>
                  <a:pt x="12" y="156"/>
                </a:lnTo>
                <a:lnTo>
                  <a:pt x="12" y="150"/>
                </a:lnTo>
                <a:lnTo>
                  <a:pt x="6" y="150"/>
                </a:lnTo>
                <a:lnTo>
                  <a:pt x="0" y="150"/>
                </a:lnTo>
                <a:lnTo>
                  <a:pt x="0" y="150"/>
                </a:lnTo>
                <a:lnTo>
                  <a:pt x="0" y="144"/>
                </a:lnTo>
                <a:lnTo>
                  <a:pt x="0" y="144"/>
                </a:lnTo>
                <a:lnTo>
                  <a:pt x="0" y="14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48" name="Freeform 81"/>
          <p:cNvSpPr>
            <a:spLocks/>
          </p:cNvSpPr>
          <p:nvPr/>
        </p:nvSpPr>
        <p:spPr bwMode="auto">
          <a:xfrm>
            <a:off x="7462139" y="1546094"/>
            <a:ext cx="141329" cy="115634"/>
          </a:xfrm>
          <a:custGeom>
            <a:avLst/>
            <a:gdLst>
              <a:gd name="T0" fmla="*/ 0 w 132"/>
              <a:gd name="T1" fmla="*/ 66 h 108"/>
              <a:gd name="T2" fmla="*/ 0 w 132"/>
              <a:gd name="T3" fmla="*/ 42 h 108"/>
              <a:gd name="T4" fmla="*/ 6 w 132"/>
              <a:gd name="T5" fmla="*/ 36 h 108"/>
              <a:gd name="T6" fmla="*/ 12 w 132"/>
              <a:gd name="T7" fmla="*/ 36 h 108"/>
              <a:gd name="T8" fmla="*/ 12 w 132"/>
              <a:gd name="T9" fmla="*/ 36 h 108"/>
              <a:gd name="T10" fmla="*/ 12 w 132"/>
              <a:gd name="T11" fmla="*/ 30 h 108"/>
              <a:gd name="T12" fmla="*/ 12 w 132"/>
              <a:gd name="T13" fmla="*/ 30 h 108"/>
              <a:gd name="T14" fmla="*/ 12 w 132"/>
              <a:gd name="T15" fmla="*/ 24 h 108"/>
              <a:gd name="T16" fmla="*/ 18 w 132"/>
              <a:gd name="T17" fmla="*/ 24 h 108"/>
              <a:gd name="T18" fmla="*/ 24 w 132"/>
              <a:gd name="T19" fmla="*/ 18 h 108"/>
              <a:gd name="T20" fmla="*/ 24 w 132"/>
              <a:gd name="T21" fmla="*/ 18 h 108"/>
              <a:gd name="T22" fmla="*/ 24 w 132"/>
              <a:gd name="T23" fmla="*/ 18 h 108"/>
              <a:gd name="T24" fmla="*/ 66 w 132"/>
              <a:gd name="T25" fmla="*/ 12 h 108"/>
              <a:gd name="T26" fmla="*/ 114 w 132"/>
              <a:gd name="T27" fmla="*/ 0 h 108"/>
              <a:gd name="T28" fmla="*/ 108 w 132"/>
              <a:gd name="T29" fmla="*/ 6 h 108"/>
              <a:gd name="T30" fmla="*/ 108 w 132"/>
              <a:gd name="T31" fmla="*/ 6 h 108"/>
              <a:gd name="T32" fmla="*/ 108 w 132"/>
              <a:gd name="T33" fmla="*/ 12 h 108"/>
              <a:gd name="T34" fmla="*/ 108 w 132"/>
              <a:gd name="T35" fmla="*/ 12 h 108"/>
              <a:gd name="T36" fmla="*/ 108 w 132"/>
              <a:gd name="T37" fmla="*/ 18 h 108"/>
              <a:gd name="T38" fmla="*/ 108 w 132"/>
              <a:gd name="T39" fmla="*/ 18 h 108"/>
              <a:gd name="T40" fmla="*/ 114 w 132"/>
              <a:gd name="T41" fmla="*/ 24 h 108"/>
              <a:gd name="T42" fmla="*/ 114 w 132"/>
              <a:gd name="T43" fmla="*/ 24 h 108"/>
              <a:gd name="T44" fmla="*/ 114 w 132"/>
              <a:gd name="T45" fmla="*/ 24 h 108"/>
              <a:gd name="T46" fmla="*/ 114 w 132"/>
              <a:gd name="T47" fmla="*/ 30 h 108"/>
              <a:gd name="T48" fmla="*/ 114 w 132"/>
              <a:gd name="T49" fmla="*/ 30 h 108"/>
              <a:gd name="T50" fmla="*/ 120 w 132"/>
              <a:gd name="T51" fmla="*/ 42 h 108"/>
              <a:gd name="T52" fmla="*/ 114 w 132"/>
              <a:gd name="T53" fmla="*/ 96 h 108"/>
              <a:gd name="T54" fmla="*/ 96 w 132"/>
              <a:gd name="T55" fmla="*/ 102 h 108"/>
              <a:gd name="T56" fmla="*/ 90 w 132"/>
              <a:gd name="T57" fmla="*/ 108 h 108"/>
              <a:gd name="T58" fmla="*/ 60 w 132"/>
              <a:gd name="T59" fmla="*/ 90 h 108"/>
              <a:gd name="T60" fmla="*/ 60 w 132"/>
              <a:gd name="T61" fmla="*/ 96 h 108"/>
              <a:gd name="T62" fmla="*/ 54 w 132"/>
              <a:gd name="T63" fmla="*/ 96 h 108"/>
              <a:gd name="T64" fmla="*/ 36 w 132"/>
              <a:gd name="T65" fmla="*/ 84 h 108"/>
              <a:gd name="T66" fmla="*/ 36 w 132"/>
              <a:gd name="T67" fmla="*/ 90 h 108"/>
              <a:gd name="T68" fmla="*/ 36 w 132"/>
              <a:gd name="T69" fmla="*/ 90 h 108"/>
              <a:gd name="T70" fmla="*/ 30 w 132"/>
              <a:gd name="T71" fmla="*/ 90 h 108"/>
              <a:gd name="T72" fmla="*/ 30 w 132"/>
              <a:gd name="T73" fmla="*/ 96 h 108"/>
              <a:gd name="T74" fmla="*/ 24 w 132"/>
              <a:gd name="T75" fmla="*/ 96 h 108"/>
              <a:gd name="T76" fmla="*/ 24 w 132"/>
              <a:gd name="T77" fmla="*/ 96 h 108"/>
              <a:gd name="T78" fmla="*/ 24 w 132"/>
              <a:gd name="T79" fmla="*/ 96 h 108"/>
              <a:gd name="T80" fmla="*/ 24 w 132"/>
              <a:gd name="T81" fmla="*/ 96 h 108"/>
              <a:gd name="T82" fmla="*/ 24 w 132"/>
              <a:gd name="T83" fmla="*/ 96 h 108"/>
              <a:gd name="T84" fmla="*/ 24 w 132"/>
              <a:gd name="T85" fmla="*/ 96 h 108"/>
              <a:gd name="T86" fmla="*/ 24 w 132"/>
              <a:gd name="T87" fmla="*/ 96 h 108"/>
              <a:gd name="T88" fmla="*/ 24 w 132"/>
              <a:gd name="T89" fmla="*/ 96 h 108"/>
              <a:gd name="T90" fmla="*/ 18 w 132"/>
              <a:gd name="T91" fmla="*/ 96 h 108"/>
              <a:gd name="T92" fmla="*/ 18 w 132"/>
              <a:gd name="T93" fmla="*/ 96 h 108"/>
              <a:gd name="T94" fmla="*/ 0 w 132"/>
              <a:gd name="T95" fmla="*/ 84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32" h="108">
                <a:moveTo>
                  <a:pt x="0" y="84"/>
                </a:moveTo>
                <a:lnTo>
                  <a:pt x="0" y="84"/>
                </a:lnTo>
                <a:lnTo>
                  <a:pt x="0" y="66"/>
                </a:lnTo>
                <a:lnTo>
                  <a:pt x="0" y="54"/>
                </a:lnTo>
                <a:lnTo>
                  <a:pt x="0" y="42"/>
                </a:lnTo>
                <a:lnTo>
                  <a:pt x="0" y="42"/>
                </a:lnTo>
                <a:lnTo>
                  <a:pt x="0" y="36"/>
                </a:lnTo>
                <a:lnTo>
                  <a:pt x="0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2"/>
                </a:lnTo>
                <a:lnTo>
                  <a:pt x="24" y="12"/>
                </a:lnTo>
                <a:lnTo>
                  <a:pt x="66" y="12"/>
                </a:lnTo>
                <a:lnTo>
                  <a:pt x="66" y="12"/>
                </a:lnTo>
                <a:lnTo>
                  <a:pt x="78" y="12"/>
                </a:lnTo>
                <a:lnTo>
                  <a:pt x="114" y="0"/>
                </a:lnTo>
                <a:lnTo>
                  <a:pt x="108" y="0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20" y="30"/>
                </a:lnTo>
                <a:lnTo>
                  <a:pt x="120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6"/>
                </a:lnTo>
                <a:lnTo>
                  <a:pt x="114" y="36"/>
                </a:lnTo>
                <a:lnTo>
                  <a:pt x="120" y="42"/>
                </a:lnTo>
                <a:lnTo>
                  <a:pt x="132" y="54"/>
                </a:lnTo>
                <a:lnTo>
                  <a:pt x="120" y="90"/>
                </a:lnTo>
                <a:lnTo>
                  <a:pt x="114" y="96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0" y="102"/>
                </a:lnTo>
                <a:lnTo>
                  <a:pt x="90" y="108"/>
                </a:lnTo>
                <a:lnTo>
                  <a:pt x="90" y="108"/>
                </a:lnTo>
                <a:lnTo>
                  <a:pt x="84" y="84"/>
                </a:lnTo>
                <a:lnTo>
                  <a:pt x="60" y="84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6"/>
                </a:lnTo>
                <a:lnTo>
                  <a:pt x="60" y="96"/>
                </a:lnTo>
                <a:lnTo>
                  <a:pt x="54" y="96"/>
                </a:lnTo>
                <a:lnTo>
                  <a:pt x="54" y="96"/>
                </a:lnTo>
                <a:lnTo>
                  <a:pt x="42" y="90"/>
                </a:lnTo>
                <a:lnTo>
                  <a:pt x="36" y="90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0"/>
                </a:lnTo>
                <a:lnTo>
                  <a:pt x="12" y="84"/>
                </a:lnTo>
                <a:lnTo>
                  <a:pt x="0" y="8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49" name="Freeform 82"/>
          <p:cNvSpPr>
            <a:spLocks/>
          </p:cNvSpPr>
          <p:nvPr/>
        </p:nvSpPr>
        <p:spPr bwMode="auto">
          <a:xfrm>
            <a:off x="7455715" y="1777361"/>
            <a:ext cx="122057" cy="147754"/>
          </a:xfrm>
          <a:custGeom>
            <a:avLst/>
            <a:gdLst>
              <a:gd name="T0" fmla="*/ 0 w 114"/>
              <a:gd name="T1" fmla="*/ 30 h 138"/>
              <a:gd name="T2" fmla="*/ 6 w 114"/>
              <a:gd name="T3" fmla="*/ 24 h 138"/>
              <a:gd name="T4" fmla="*/ 6 w 114"/>
              <a:gd name="T5" fmla="*/ 18 h 138"/>
              <a:gd name="T6" fmla="*/ 6 w 114"/>
              <a:gd name="T7" fmla="*/ 12 h 138"/>
              <a:gd name="T8" fmla="*/ 6 w 114"/>
              <a:gd name="T9" fmla="*/ 12 h 138"/>
              <a:gd name="T10" fmla="*/ 6 w 114"/>
              <a:gd name="T11" fmla="*/ 6 h 138"/>
              <a:gd name="T12" fmla="*/ 6 w 114"/>
              <a:gd name="T13" fmla="*/ 6 h 138"/>
              <a:gd name="T14" fmla="*/ 30 w 114"/>
              <a:gd name="T15" fmla="*/ 18 h 138"/>
              <a:gd name="T16" fmla="*/ 36 w 114"/>
              <a:gd name="T17" fmla="*/ 12 h 138"/>
              <a:gd name="T18" fmla="*/ 54 w 114"/>
              <a:gd name="T19" fmla="*/ 12 h 138"/>
              <a:gd name="T20" fmla="*/ 54 w 114"/>
              <a:gd name="T21" fmla="*/ 6 h 138"/>
              <a:gd name="T22" fmla="*/ 60 w 114"/>
              <a:gd name="T23" fmla="*/ 6 h 138"/>
              <a:gd name="T24" fmla="*/ 66 w 114"/>
              <a:gd name="T25" fmla="*/ 6 h 138"/>
              <a:gd name="T26" fmla="*/ 66 w 114"/>
              <a:gd name="T27" fmla="*/ 6 h 138"/>
              <a:gd name="T28" fmla="*/ 72 w 114"/>
              <a:gd name="T29" fmla="*/ 12 h 138"/>
              <a:gd name="T30" fmla="*/ 72 w 114"/>
              <a:gd name="T31" fmla="*/ 12 h 138"/>
              <a:gd name="T32" fmla="*/ 72 w 114"/>
              <a:gd name="T33" fmla="*/ 18 h 138"/>
              <a:gd name="T34" fmla="*/ 72 w 114"/>
              <a:gd name="T35" fmla="*/ 18 h 138"/>
              <a:gd name="T36" fmla="*/ 78 w 114"/>
              <a:gd name="T37" fmla="*/ 18 h 138"/>
              <a:gd name="T38" fmla="*/ 84 w 114"/>
              <a:gd name="T39" fmla="*/ 18 h 138"/>
              <a:gd name="T40" fmla="*/ 84 w 114"/>
              <a:gd name="T41" fmla="*/ 42 h 138"/>
              <a:gd name="T42" fmla="*/ 114 w 114"/>
              <a:gd name="T43" fmla="*/ 60 h 138"/>
              <a:gd name="T44" fmla="*/ 108 w 114"/>
              <a:gd name="T45" fmla="*/ 60 h 138"/>
              <a:gd name="T46" fmla="*/ 108 w 114"/>
              <a:gd name="T47" fmla="*/ 60 h 138"/>
              <a:gd name="T48" fmla="*/ 108 w 114"/>
              <a:gd name="T49" fmla="*/ 60 h 138"/>
              <a:gd name="T50" fmla="*/ 102 w 114"/>
              <a:gd name="T51" fmla="*/ 60 h 138"/>
              <a:gd name="T52" fmla="*/ 102 w 114"/>
              <a:gd name="T53" fmla="*/ 66 h 138"/>
              <a:gd name="T54" fmla="*/ 102 w 114"/>
              <a:gd name="T55" fmla="*/ 72 h 138"/>
              <a:gd name="T56" fmla="*/ 102 w 114"/>
              <a:gd name="T57" fmla="*/ 78 h 138"/>
              <a:gd name="T58" fmla="*/ 102 w 114"/>
              <a:gd name="T59" fmla="*/ 84 h 138"/>
              <a:gd name="T60" fmla="*/ 108 w 114"/>
              <a:gd name="T61" fmla="*/ 90 h 138"/>
              <a:gd name="T62" fmla="*/ 108 w 114"/>
              <a:gd name="T63" fmla="*/ 96 h 138"/>
              <a:gd name="T64" fmla="*/ 102 w 114"/>
              <a:gd name="T65" fmla="*/ 96 h 138"/>
              <a:gd name="T66" fmla="*/ 102 w 114"/>
              <a:gd name="T67" fmla="*/ 102 h 138"/>
              <a:gd name="T68" fmla="*/ 96 w 114"/>
              <a:gd name="T69" fmla="*/ 114 h 138"/>
              <a:gd name="T70" fmla="*/ 84 w 114"/>
              <a:gd name="T71" fmla="*/ 120 h 138"/>
              <a:gd name="T72" fmla="*/ 78 w 114"/>
              <a:gd name="T73" fmla="*/ 126 h 138"/>
              <a:gd name="T74" fmla="*/ 72 w 114"/>
              <a:gd name="T75" fmla="*/ 126 h 138"/>
              <a:gd name="T76" fmla="*/ 72 w 114"/>
              <a:gd name="T77" fmla="*/ 132 h 138"/>
              <a:gd name="T78" fmla="*/ 54 w 114"/>
              <a:gd name="T79" fmla="*/ 120 h 138"/>
              <a:gd name="T80" fmla="*/ 48 w 114"/>
              <a:gd name="T81" fmla="*/ 126 h 138"/>
              <a:gd name="T82" fmla="*/ 42 w 114"/>
              <a:gd name="T83" fmla="*/ 126 h 138"/>
              <a:gd name="T84" fmla="*/ 36 w 114"/>
              <a:gd name="T85" fmla="*/ 138 h 138"/>
              <a:gd name="T86" fmla="*/ 30 w 114"/>
              <a:gd name="T87" fmla="*/ 132 h 138"/>
              <a:gd name="T88" fmla="*/ 24 w 114"/>
              <a:gd name="T89" fmla="*/ 132 h 138"/>
              <a:gd name="T90" fmla="*/ 18 w 114"/>
              <a:gd name="T91" fmla="*/ 132 h 138"/>
              <a:gd name="T92" fmla="*/ 18 w 114"/>
              <a:gd name="T93" fmla="*/ 126 h 138"/>
              <a:gd name="T94" fmla="*/ 18 w 114"/>
              <a:gd name="T95" fmla="*/ 120 h 138"/>
              <a:gd name="T96" fmla="*/ 24 w 114"/>
              <a:gd name="T97" fmla="*/ 114 h 138"/>
              <a:gd name="T98" fmla="*/ 30 w 114"/>
              <a:gd name="T99" fmla="*/ 108 h 138"/>
              <a:gd name="T100" fmla="*/ 24 w 114"/>
              <a:gd name="T101" fmla="*/ 102 h 138"/>
              <a:gd name="T102" fmla="*/ 24 w 114"/>
              <a:gd name="T103" fmla="*/ 90 h 138"/>
              <a:gd name="T104" fmla="*/ 24 w 114"/>
              <a:gd name="T105" fmla="*/ 84 h 138"/>
              <a:gd name="T106" fmla="*/ 18 w 114"/>
              <a:gd name="T107" fmla="*/ 84 h 138"/>
              <a:gd name="T108" fmla="*/ 12 w 114"/>
              <a:gd name="T109" fmla="*/ 72 h 138"/>
              <a:gd name="T110" fmla="*/ 18 w 114"/>
              <a:gd name="T111" fmla="*/ 66 h 138"/>
              <a:gd name="T112" fmla="*/ 12 w 114"/>
              <a:gd name="T113" fmla="*/ 54 h 138"/>
              <a:gd name="T114" fmla="*/ 18 w 114"/>
              <a:gd name="T115" fmla="*/ 48 h 138"/>
              <a:gd name="T116" fmla="*/ 12 w 114"/>
              <a:gd name="T117" fmla="*/ 42 h 138"/>
              <a:gd name="T118" fmla="*/ 6 w 114"/>
              <a:gd name="T119" fmla="*/ 36 h 138"/>
              <a:gd name="T120" fmla="*/ 6 w 114"/>
              <a:gd name="T121" fmla="*/ 36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14" h="138">
                <a:moveTo>
                  <a:pt x="0" y="30"/>
                </a:move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0" y="6"/>
                </a:lnTo>
                <a:lnTo>
                  <a:pt x="6" y="6"/>
                </a:lnTo>
                <a:lnTo>
                  <a:pt x="0" y="0"/>
                </a:lnTo>
                <a:lnTo>
                  <a:pt x="6" y="0"/>
                </a:lnTo>
                <a:lnTo>
                  <a:pt x="18" y="18"/>
                </a:lnTo>
                <a:lnTo>
                  <a:pt x="24" y="18"/>
                </a:lnTo>
                <a:lnTo>
                  <a:pt x="30" y="18"/>
                </a:lnTo>
                <a:lnTo>
                  <a:pt x="30" y="18"/>
                </a:lnTo>
                <a:lnTo>
                  <a:pt x="30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12"/>
                </a:lnTo>
                <a:lnTo>
                  <a:pt x="66" y="12"/>
                </a:lnTo>
                <a:lnTo>
                  <a:pt x="66" y="6"/>
                </a:lnTo>
                <a:lnTo>
                  <a:pt x="66" y="6"/>
                </a:lnTo>
                <a:lnTo>
                  <a:pt x="66" y="12"/>
                </a:lnTo>
                <a:lnTo>
                  <a:pt x="72" y="6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8"/>
                </a:lnTo>
                <a:lnTo>
                  <a:pt x="66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30"/>
                </a:lnTo>
                <a:lnTo>
                  <a:pt x="84" y="42"/>
                </a:lnTo>
                <a:lnTo>
                  <a:pt x="84" y="42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14"/>
                </a:lnTo>
                <a:lnTo>
                  <a:pt x="96" y="114"/>
                </a:lnTo>
                <a:lnTo>
                  <a:pt x="90" y="114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6"/>
                </a:lnTo>
                <a:lnTo>
                  <a:pt x="78" y="126"/>
                </a:lnTo>
                <a:lnTo>
                  <a:pt x="78" y="126"/>
                </a:lnTo>
                <a:lnTo>
                  <a:pt x="78" y="126"/>
                </a:lnTo>
                <a:lnTo>
                  <a:pt x="78" y="126"/>
                </a:lnTo>
                <a:lnTo>
                  <a:pt x="78" y="126"/>
                </a:lnTo>
                <a:lnTo>
                  <a:pt x="78" y="126"/>
                </a:lnTo>
                <a:lnTo>
                  <a:pt x="78" y="126"/>
                </a:lnTo>
                <a:lnTo>
                  <a:pt x="78" y="126"/>
                </a:lnTo>
                <a:lnTo>
                  <a:pt x="78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54" y="120"/>
                </a:lnTo>
                <a:lnTo>
                  <a:pt x="54" y="120"/>
                </a:lnTo>
                <a:lnTo>
                  <a:pt x="54" y="120"/>
                </a:lnTo>
                <a:lnTo>
                  <a:pt x="54" y="120"/>
                </a:lnTo>
                <a:lnTo>
                  <a:pt x="54" y="120"/>
                </a:lnTo>
                <a:lnTo>
                  <a:pt x="54" y="120"/>
                </a:lnTo>
                <a:lnTo>
                  <a:pt x="54" y="120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32"/>
                </a:lnTo>
                <a:lnTo>
                  <a:pt x="42" y="132"/>
                </a:lnTo>
                <a:lnTo>
                  <a:pt x="36" y="132"/>
                </a:lnTo>
                <a:lnTo>
                  <a:pt x="36" y="132"/>
                </a:lnTo>
                <a:lnTo>
                  <a:pt x="36" y="132"/>
                </a:lnTo>
                <a:lnTo>
                  <a:pt x="36" y="132"/>
                </a:lnTo>
                <a:lnTo>
                  <a:pt x="36" y="138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30" y="114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2"/>
                </a:lnTo>
                <a:lnTo>
                  <a:pt x="30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78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8" y="66"/>
                </a:lnTo>
                <a:lnTo>
                  <a:pt x="18" y="66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2"/>
                </a:lnTo>
                <a:lnTo>
                  <a:pt x="18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0" y="36"/>
                </a:lnTo>
                <a:lnTo>
                  <a:pt x="0" y="30"/>
                </a:lnTo>
                <a:lnTo>
                  <a:pt x="0" y="3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50" name="Freeform 83"/>
          <p:cNvSpPr>
            <a:spLocks/>
          </p:cNvSpPr>
          <p:nvPr/>
        </p:nvSpPr>
        <p:spPr bwMode="auto">
          <a:xfrm>
            <a:off x="7719101" y="2066445"/>
            <a:ext cx="327627" cy="263388"/>
          </a:xfrm>
          <a:custGeom>
            <a:avLst/>
            <a:gdLst>
              <a:gd name="T0" fmla="*/ 24 w 306"/>
              <a:gd name="T1" fmla="*/ 90 h 246"/>
              <a:gd name="T2" fmla="*/ 54 w 306"/>
              <a:gd name="T3" fmla="*/ 108 h 246"/>
              <a:gd name="T4" fmla="*/ 78 w 306"/>
              <a:gd name="T5" fmla="*/ 78 h 246"/>
              <a:gd name="T6" fmla="*/ 126 w 306"/>
              <a:gd name="T7" fmla="*/ 60 h 246"/>
              <a:gd name="T8" fmla="*/ 168 w 306"/>
              <a:gd name="T9" fmla="*/ 54 h 246"/>
              <a:gd name="T10" fmla="*/ 192 w 306"/>
              <a:gd name="T11" fmla="*/ 48 h 246"/>
              <a:gd name="T12" fmla="*/ 210 w 306"/>
              <a:gd name="T13" fmla="*/ 30 h 246"/>
              <a:gd name="T14" fmla="*/ 228 w 306"/>
              <a:gd name="T15" fmla="*/ 24 h 246"/>
              <a:gd name="T16" fmla="*/ 246 w 306"/>
              <a:gd name="T17" fmla="*/ 48 h 246"/>
              <a:gd name="T18" fmla="*/ 264 w 306"/>
              <a:gd name="T19" fmla="*/ 24 h 246"/>
              <a:gd name="T20" fmla="*/ 264 w 306"/>
              <a:gd name="T21" fmla="*/ 12 h 246"/>
              <a:gd name="T22" fmla="*/ 276 w 306"/>
              <a:gd name="T23" fmla="*/ 12 h 246"/>
              <a:gd name="T24" fmla="*/ 282 w 306"/>
              <a:gd name="T25" fmla="*/ 6 h 246"/>
              <a:gd name="T26" fmla="*/ 288 w 306"/>
              <a:gd name="T27" fmla="*/ 6 h 246"/>
              <a:gd name="T28" fmla="*/ 294 w 306"/>
              <a:gd name="T29" fmla="*/ 6 h 246"/>
              <a:gd name="T30" fmla="*/ 306 w 306"/>
              <a:gd name="T31" fmla="*/ 6 h 246"/>
              <a:gd name="T32" fmla="*/ 306 w 306"/>
              <a:gd name="T33" fmla="*/ 12 h 246"/>
              <a:gd name="T34" fmla="*/ 306 w 306"/>
              <a:gd name="T35" fmla="*/ 12 h 246"/>
              <a:gd name="T36" fmla="*/ 300 w 306"/>
              <a:gd name="T37" fmla="*/ 24 h 246"/>
              <a:gd name="T38" fmla="*/ 294 w 306"/>
              <a:gd name="T39" fmla="*/ 48 h 246"/>
              <a:gd name="T40" fmla="*/ 276 w 306"/>
              <a:gd name="T41" fmla="*/ 72 h 246"/>
              <a:gd name="T42" fmla="*/ 270 w 306"/>
              <a:gd name="T43" fmla="*/ 84 h 246"/>
              <a:gd name="T44" fmla="*/ 276 w 306"/>
              <a:gd name="T45" fmla="*/ 96 h 246"/>
              <a:gd name="T46" fmla="*/ 288 w 306"/>
              <a:gd name="T47" fmla="*/ 114 h 246"/>
              <a:gd name="T48" fmla="*/ 288 w 306"/>
              <a:gd name="T49" fmla="*/ 132 h 246"/>
              <a:gd name="T50" fmla="*/ 282 w 306"/>
              <a:gd name="T51" fmla="*/ 156 h 246"/>
              <a:gd name="T52" fmla="*/ 276 w 306"/>
              <a:gd name="T53" fmla="*/ 162 h 246"/>
              <a:gd name="T54" fmla="*/ 270 w 306"/>
              <a:gd name="T55" fmla="*/ 168 h 246"/>
              <a:gd name="T56" fmla="*/ 264 w 306"/>
              <a:gd name="T57" fmla="*/ 174 h 246"/>
              <a:gd name="T58" fmla="*/ 258 w 306"/>
              <a:gd name="T59" fmla="*/ 180 h 246"/>
              <a:gd name="T60" fmla="*/ 252 w 306"/>
              <a:gd name="T61" fmla="*/ 186 h 246"/>
              <a:gd name="T62" fmla="*/ 246 w 306"/>
              <a:gd name="T63" fmla="*/ 186 h 246"/>
              <a:gd name="T64" fmla="*/ 246 w 306"/>
              <a:gd name="T65" fmla="*/ 192 h 246"/>
              <a:gd name="T66" fmla="*/ 234 w 306"/>
              <a:gd name="T67" fmla="*/ 198 h 246"/>
              <a:gd name="T68" fmla="*/ 228 w 306"/>
              <a:gd name="T69" fmla="*/ 198 h 246"/>
              <a:gd name="T70" fmla="*/ 222 w 306"/>
              <a:gd name="T71" fmla="*/ 210 h 246"/>
              <a:gd name="T72" fmla="*/ 210 w 306"/>
              <a:gd name="T73" fmla="*/ 210 h 246"/>
              <a:gd name="T74" fmla="*/ 204 w 306"/>
              <a:gd name="T75" fmla="*/ 216 h 246"/>
              <a:gd name="T76" fmla="*/ 198 w 306"/>
              <a:gd name="T77" fmla="*/ 228 h 246"/>
              <a:gd name="T78" fmla="*/ 186 w 306"/>
              <a:gd name="T79" fmla="*/ 234 h 246"/>
              <a:gd name="T80" fmla="*/ 174 w 306"/>
              <a:gd name="T81" fmla="*/ 240 h 246"/>
              <a:gd name="T82" fmla="*/ 168 w 306"/>
              <a:gd name="T83" fmla="*/ 246 h 246"/>
              <a:gd name="T84" fmla="*/ 162 w 306"/>
              <a:gd name="T85" fmla="*/ 246 h 246"/>
              <a:gd name="T86" fmla="*/ 156 w 306"/>
              <a:gd name="T87" fmla="*/ 246 h 246"/>
              <a:gd name="T88" fmla="*/ 150 w 306"/>
              <a:gd name="T89" fmla="*/ 240 h 246"/>
              <a:gd name="T90" fmla="*/ 144 w 306"/>
              <a:gd name="T91" fmla="*/ 240 h 246"/>
              <a:gd name="T92" fmla="*/ 138 w 306"/>
              <a:gd name="T93" fmla="*/ 234 h 246"/>
              <a:gd name="T94" fmla="*/ 132 w 306"/>
              <a:gd name="T95" fmla="*/ 234 h 246"/>
              <a:gd name="T96" fmla="*/ 126 w 306"/>
              <a:gd name="T97" fmla="*/ 234 h 246"/>
              <a:gd name="T98" fmla="*/ 114 w 306"/>
              <a:gd name="T99" fmla="*/ 228 h 246"/>
              <a:gd name="T100" fmla="*/ 102 w 306"/>
              <a:gd name="T101" fmla="*/ 222 h 246"/>
              <a:gd name="T102" fmla="*/ 96 w 306"/>
              <a:gd name="T103" fmla="*/ 222 h 246"/>
              <a:gd name="T104" fmla="*/ 84 w 306"/>
              <a:gd name="T105" fmla="*/ 216 h 246"/>
              <a:gd name="T106" fmla="*/ 66 w 306"/>
              <a:gd name="T107" fmla="*/ 216 h 246"/>
              <a:gd name="T108" fmla="*/ 12 w 306"/>
              <a:gd name="T109" fmla="*/ 216 h 246"/>
              <a:gd name="T110" fmla="*/ 30 w 306"/>
              <a:gd name="T111" fmla="*/ 180 h 246"/>
              <a:gd name="T112" fmla="*/ 24 w 306"/>
              <a:gd name="T113" fmla="*/ 168 h 246"/>
              <a:gd name="T114" fmla="*/ 18 w 306"/>
              <a:gd name="T115" fmla="*/ 144 h 2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06" h="246">
                <a:moveTo>
                  <a:pt x="0" y="102"/>
                </a:moveTo>
                <a:lnTo>
                  <a:pt x="6" y="96"/>
                </a:lnTo>
                <a:lnTo>
                  <a:pt x="6" y="96"/>
                </a:lnTo>
                <a:lnTo>
                  <a:pt x="12" y="96"/>
                </a:lnTo>
                <a:lnTo>
                  <a:pt x="12" y="90"/>
                </a:lnTo>
                <a:lnTo>
                  <a:pt x="12" y="90"/>
                </a:lnTo>
                <a:lnTo>
                  <a:pt x="24" y="90"/>
                </a:lnTo>
                <a:lnTo>
                  <a:pt x="24" y="102"/>
                </a:lnTo>
                <a:lnTo>
                  <a:pt x="36" y="120"/>
                </a:lnTo>
                <a:lnTo>
                  <a:pt x="36" y="120"/>
                </a:lnTo>
                <a:lnTo>
                  <a:pt x="42" y="108"/>
                </a:lnTo>
                <a:lnTo>
                  <a:pt x="48" y="108"/>
                </a:lnTo>
                <a:lnTo>
                  <a:pt x="48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78" y="108"/>
                </a:lnTo>
                <a:lnTo>
                  <a:pt x="60" y="90"/>
                </a:lnTo>
                <a:lnTo>
                  <a:pt x="72" y="96"/>
                </a:lnTo>
                <a:lnTo>
                  <a:pt x="72" y="90"/>
                </a:lnTo>
                <a:lnTo>
                  <a:pt x="78" y="78"/>
                </a:lnTo>
                <a:lnTo>
                  <a:pt x="72" y="66"/>
                </a:lnTo>
                <a:lnTo>
                  <a:pt x="78" y="66"/>
                </a:lnTo>
                <a:lnTo>
                  <a:pt x="108" y="54"/>
                </a:lnTo>
                <a:lnTo>
                  <a:pt x="114" y="48"/>
                </a:lnTo>
                <a:lnTo>
                  <a:pt x="126" y="54"/>
                </a:lnTo>
                <a:lnTo>
                  <a:pt x="126" y="60"/>
                </a:lnTo>
                <a:lnTo>
                  <a:pt x="126" y="60"/>
                </a:lnTo>
                <a:lnTo>
                  <a:pt x="132" y="66"/>
                </a:lnTo>
                <a:lnTo>
                  <a:pt x="150" y="60"/>
                </a:lnTo>
                <a:lnTo>
                  <a:pt x="150" y="60"/>
                </a:lnTo>
                <a:lnTo>
                  <a:pt x="150" y="54"/>
                </a:lnTo>
                <a:lnTo>
                  <a:pt x="156" y="48"/>
                </a:lnTo>
                <a:lnTo>
                  <a:pt x="156" y="48"/>
                </a:lnTo>
                <a:lnTo>
                  <a:pt x="168" y="54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80" y="48"/>
                </a:lnTo>
                <a:lnTo>
                  <a:pt x="186" y="48"/>
                </a:lnTo>
                <a:lnTo>
                  <a:pt x="192" y="54"/>
                </a:lnTo>
                <a:lnTo>
                  <a:pt x="192" y="48"/>
                </a:lnTo>
                <a:lnTo>
                  <a:pt x="198" y="48"/>
                </a:lnTo>
                <a:lnTo>
                  <a:pt x="204" y="42"/>
                </a:lnTo>
                <a:lnTo>
                  <a:pt x="204" y="42"/>
                </a:lnTo>
                <a:lnTo>
                  <a:pt x="210" y="42"/>
                </a:lnTo>
                <a:lnTo>
                  <a:pt x="210" y="42"/>
                </a:lnTo>
                <a:lnTo>
                  <a:pt x="210" y="36"/>
                </a:lnTo>
                <a:lnTo>
                  <a:pt x="210" y="30"/>
                </a:lnTo>
                <a:lnTo>
                  <a:pt x="216" y="24"/>
                </a:lnTo>
                <a:lnTo>
                  <a:pt x="216" y="30"/>
                </a:lnTo>
                <a:lnTo>
                  <a:pt x="222" y="30"/>
                </a:lnTo>
                <a:lnTo>
                  <a:pt x="222" y="24"/>
                </a:lnTo>
                <a:lnTo>
                  <a:pt x="222" y="18"/>
                </a:lnTo>
                <a:lnTo>
                  <a:pt x="228" y="24"/>
                </a:lnTo>
                <a:lnTo>
                  <a:pt x="228" y="24"/>
                </a:lnTo>
                <a:lnTo>
                  <a:pt x="228" y="30"/>
                </a:lnTo>
                <a:lnTo>
                  <a:pt x="228" y="30"/>
                </a:lnTo>
                <a:lnTo>
                  <a:pt x="234" y="24"/>
                </a:lnTo>
                <a:lnTo>
                  <a:pt x="246" y="30"/>
                </a:lnTo>
                <a:lnTo>
                  <a:pt x="246" y="30"/>
                </a:lnTo>
                <a:lnTo>
                  <a:pt x="246" y="42"/>
                </a:lnTo>
                <a:lnTo>
                  <a:pt x="246" y="48"/>
                </a:lnTo>
                <a:lnTo>
                  <a:pt x="252" y="48"/>
                </a:lnTo>
                <a:lnTo>
                  <a:pt x="258" y="48"/>
                </a:lnTo>
                <a:lnTo>
                  <a:pt x="270" y="42"/>
                </a:lnTo>
                <a:lnTo>
                  <a:pt x="270" y="36"/>
                </a:lnTo>
                <a:lnTo>
                  <a:pt x="264" y="30"/>
                </a:lnTo>
                <a:lnTo>
                  <a:pt x="264" y="24"/>
                </a:lnTo>
                <a:lnTo>
                  <a:pt x="264" y="24"/>
                </a:lnTo>
                <a:lnTo>
                  <a:pt x="270" y="18"/>
                </a:lnTo>
                <a:lnTo>
                  <a:pt x="270" y="18"/>
                </a:lnTo>
                <a:lnTo>
                  <a:pt x="270" y="18"/>
                </a:lnTo>
                <a:lnTo>
                  <a:pt x="270" y="18"/>
                </a:lnTo>
                <a:lnTo>
                  <a:pt x="264" y="12"/>
                </a:lnTo>
                <a:lnTo>
                  <a:pt x="264" y="12"/>
                </a:lnTo>
                <a:lnTo>
                  <a:pt x="264" y="12"/>
                </a:lnTo>
                <a:lnTo>
                  <a:pt x="270" y="12"/>
                </a:lnTo>
                <a:lnTo>
                  <a:pt x="270" y="12"/>
                </a:lnTo>
                <a:lnTo>
                  <a:pt x="270" y="12"/>
                </a:lnTo>
                <a:lnTo>
                  <a:pt x="270" y="12"/>
                </a:lnTo>
                <a:lnTo>
                  <a:pt x="276" y="12"/>
                </a:lnTo>
                <a:lnTo>
                  <a:pt x="276" y="12"/>
                </a:lnTo>
                <a:lnTo>
                  <a:pt x="276" y="12"/>
                </a:lnTo>
                <a:lnTo>
                  <a:pt x="276" y="12"/>
                </a:lnTo>
                <a:lnTo>
                  <a:pt x="282" y="12"/>
                </a:lnTo>
                <a:lnTo>
                  <a:pt x="282" y="12"/>
                </a:lnTo>
                <a:lnTo>
                  <a:pt x="282" y="6"/>
                </a:lnTo>
                <a:lnTo>
                  <a:pt x="282" y="6"/>
                </a:lnTo>
                <a:lnTo>
                  <a:pt x="282" y="6"/>
                </a:lnTo>
                <a:lnTo>
                  <a:pt x="282" y="6"/>
                </a:lnTo>
                <a:lnTo>
                  <a:pt x="288" y="6"/>
                </a:lnTo>
                <a:lnTo>
                  <a:pt x="288" y="6"/>
                </a:lnTo>
                <a:lnTo>
                  <a:pt x="288" y="6"/>
                </a:lnTo>
                <a:lnTo>
                  <a:pt x="288" y="6"/>
                </a:lnTo>
                <a:lnTo>
                  <a:pt x="288" y="6"/>
                </a:lnTo>
                <a:lnTo>
                  <a:pt x="288" y="6"/>
                </a:lnTo>
                <a:lnTo>
                  <a:pt x="288" y="6"/>
                </a:lnTo>
                <a:lnTo>
                  <a:pt x="294" y="0"/>
                </a:lnTo>
                <a:lnTo>
                  <a:pt x="294" y="6"/>
                </a:lnTo>
                <a:lnTo>
                  <a:pt x="294" y="6"/>
                </a:lnTo>
                <a:lnTo>
                  <a:pt x="294" y="0"/>
                </a:lnTo>
                <a:lnTo>
                  <a:pt x="294" y="6"/>
                </a:lnTo>
                <a:lnTo>
                  <a:pt x="294" y="6"/>
                </a:lnTo>
                <a:lnTo>
                  <a:pt x="294" y="6"/>
                </a:lnTo>
                <a:lnTo>
                  <a:pt x="300" y="6"/>
                </a:lnTo>
                <a:lnTo>
                  <a:pt x="300" y="6"/>
                </a:lnTo>
                <a:lnTo>
                  <a:pt x="300" y="0"/>
                </a:lnTo>
                <a:lnTo>
                  <a:pt x="300" y="6"/>
                </a:lnTo>
                <a:lnTo>
                  <a:pt x="300" y="6"/>
                </a:lnTo>
                <a:lnTo>
                  <a:pt x="306" y="6"/>
                </a:lnTo>
                <a:lnTo>
                  <a:pt x="306" y="6"/>
                </a:lnTo>
                <a:lnTo>
                  <a:pt x="306" y="0"/>
                </a:lnTo>
                <a:lnTo>
                  <a:pt x="306" y="0"/>
                </a:lnTo>
                <a:lnTo>
                  <a:pt x="306" y="6"/>
                </a:lnTo>
                <a:lnTo>
                  <a:pt x="306" y="12"/>
                </a:lnTo>
                <a:lnTo>
                  <a:pt x="306" y="12"/>
                </a:lnTo>
                <a:lnTo>
                  <a:pt x="306" y="12"/>
                </a:lnTo>
                <a:lnTo>
                  <a:pt x="306" y="12"/>
                </a:lnTo>
                <a:lnTo>
                  <a:pt x="306" y="12"/>
                </a:lnTo>
                <a:lnTo>
                  <a:pt x="306" y="12"/>
                </a:lnTo>
                <a:lnTo>
                  <a:pt x="306" y="12"/>
                </a:lnTo>
                <a:lnTo>
                  <a:pt x="306" y="12"/>
                </a:lnTo>
                <a:lnTo>
                  <a:pt x="306" y="12"/>
                </a:lnTo>
                <a:lnTo>
                  <a:pt x="306" y="12"/>
                </a:lnTo>
                <a:lnTo>
                  <a:pt x="306" y="12"/>
                </a:lnTo>
                <a:lnTo>
                  <a:pt x="306" y="18"/>
                </a:lnTo>
                <a:lnTo>
                  <a:pt x="306" y="18"/>
                </a:lnTo>
                <a:lnTo>
                  <a:pt x="306" y="18"/>
                </a:lnTo>
                <a:lnTo>
                  <a:pt x="300" y="24"/>
                </a:lnTo>
                <a:lnTo>
                  <a:pt x="300" y="24"/>
                </a:lnTo>
                <a:lnTo>
                  <a:pt x="300" y="24"/>
                </a:lnTo>
                <a:lnTo>
                  <a:pt x="300" y="24"/>
                </a:lnTo>
                <a:lnTo>
                  <a:pt x="300" y="30"/>
                </a:lnTo>
                <a:lnTo>
                  <a:pt x="294" y="36"/>
                </a:lnTo>
                <a:lnTo>
                  <a:pt x="300" y="36"/>
                </a:lnTo>
                <a:lnTo>
                  <a:pt x="294" y="36"/>
                </a:lnTo>
                <a:lnTo>
                  <a:pt x="294" y="42"/>
                </a:lnTo>
                <a:lnTo>
                  <a:pt x="294" y="48"/>
                </a:lnTo>
                <a:lnTo>
                  <a:pt x="294" y="48"/>
                </a:lnTo>
                <a:lnTo>
                  <a:pt x="294" y="54"/>
                </a:lnTo>
                <a:lnTo>
                  <a:pt x="288" y="54"/>
                </a:lnTo>
                <a:lnTo>
                  <a:pt x="294" y="54"/>
                </a:lnTo>
                <a:lnTo>
                  <a:pt x="288" y="60"/>
                </a:lnTo>
                <a:lnTo>
                  <a:pt x="276" y="66"/>
                </a:lnTo>
                <a:lnTo>
                  <a:pt x="276" y="72"/>
                </a:lnTo>
                <a:lnTo>
                  <a:pt x="276" y="72"/>
                </a:lnTo>
                <a:lnTo>
                  <a:pt x="276" y="72"/>
                </a:lnTo>
                <a:lnTo>
                  <a:pt x="270" y="72"/>
                </a:lnTo>
                <a:lnTo>
                  <a:pt x="270" y="72"/>
                </a:lnTo>
                <a:lnTo>
                  <a:pt x="270" y="72"/>
                </a:lnTo>
                <a:lnTo>
                  <a:pt x="270" y="72"/>
                </a:lnTo>
                <a:lnTo>
                  <a:pt x="270" y="84"/>
                </a:lnTo>
                <a:lnTo>
                  <a:pt x="270" y="84"/>
                </a:lnTo>
                <a:lnTo>
                  <a:pt x="276" y="90"/>
                </a:lnTo>
                <a:lnTo>
                  <a:pt x="276" y="90"/>
                </a:lnTo>
                <a:lnTo>
                  <a:pt x="276" y="90"/>
                </a:lnTo>
                <a:lnTo>
                  <a:pt x="276" y="90"/>
                </a:lnTo>
                <a:lnTo>
                  <a:pt x="276" y="90"/>
                </a:lnTo>
                <a:lnTo>
                  <a:pt x="276" y="96"/>
                </a:lnTo>
                <a:lnTo>
                  <a:pt x="276" y="96"/>
                </a:lnTo>
                <a:lnTo>
                  <a:pt x="276" y="102"/>
                </a:lnTo>
                <a:lnTo>
                  <a:pt x="276" y="108"/>
                </a:lnTo>
                <a:lnTo>
                  <a:pt x="276" y="108"/>
                </a:lnTo>
                <a:lnTo>
                  <a:pt x="276" y="114"/>
                </a:lnTo>
                <a:lnTo>
                  <a:pt x="282" y="114"/>
                </a:lnTo>
                <a:lnTo>
                  <a:pt x="288" y="114"/>
                </a:lnTo>
                <a:lnTo>
                  <a:pt x="288" y="114"/>
                </a:lnTo>
                <a:lnTo>
                  <a:pt x="288" y="120"/>
                </a:lnTo>
                <a:lnTo>
                  <a:pt x="288" y="120"/>
                </a:lnTo>
                <a:lnTo>
                  <a:pt x="288" y="120"/>
                </a:lnTo>
                <a:lnTo>
                  <a:pt x="294" y="120"/>
                </a:lnTo>
                <a:lnTo>
                  <a:pt x="294" y="126"/>
                </a:lnTo>
                <a:lnTo>
                  <a:pt x="288" y="132"/>
                </a:lnTo>
                <a:lnTo>
                  <a:pt x="288" y="132"/>
                </a:lnTo>
                <a:lnTo>
                  <a:pt x="288" y="138"/>
                </a:lnTo>
                <a:lnTo>
                  <a:pt x="288" y="138"/>
                </a:lnTo>
                <a:lnTo>
                  <a:pt x="288" y="144"/>
                </a:lnTo>
                <a:lnTo>
                  <a:pt x="288" y="150"/>
                </a:lnTo>
                <a:lnTo>
                  <a:pt x="282" y="150"/>
                </a:lnTo>
                <a:lnTo>
                  <a:pt x="282" y="156"/>
                </a:lnTo>
                <a:lnTo>
                  <a:pt x="282" y="156"/>
                </a:lnTo>
                <a:lnTo>
                  <a:pt x="282" y="156"/>
                </a:lnTo>
                <a:lnTo>
                  <a:pt x="282" y="162"/>
                </a:lnTo>
                <a:lnTo>
                  <a:pt x="282" y="162"/>
                </a:lnTo>
                <a:lnTo>
                  <a:pt x="282" y="162"/>
                </a:lnTo>
                <a:lnTo>
                  <a:pt x="282" y="162"/>
                </a:lnTo>
                <a:lnTo>
                  <a:pt x="282" y="162"/>
                </a:lnTo>
                <a:lnTo>
                  <a:pt x="276" y="162"/>
                </a:lnTo>
                <a:lnTo>
                  <a:pt x="276" y="162"/>
                </a:lnTo>
                <a:lnTo>
                  <a:pt x="276" y="162"/>
                </a:lnTo>
                <a:lnTo>
                  <a:pt x="276" y="162"/>
                </a:lnTo>
                <a:lnTo>
                  <a:pt x="276" y="162"/>
                </a:lnTo>
                <a:lnTo>
                  <a:pt x="276" y="162"/>
                </a:lnTo>
                <a:lnTo>
                  <a:pt x="276" y="168"/>
                </a:lnTo>
                <a:lnTo>
                  <a:pt x="270" y="168"/>
                </a:lnTo>
                <a:lnTo>
                  <a:pt x="270" y="168"/>
                </a:lnTo>
                <a:lnTo>
                  <a:pt x="270" y="168"/>
                </a:lnTo>
                <a:lnTo>
                  <a:pt x="270" y="168"/>
                </a:lnTo>
                <a:lnTo>
                  <a:pt x="270" y="168"/>
                </a:lnTo>
                <a:lnTo>
                  <a:pt x="264" y="168"/>
                </a:lnTo>
                <a:lnTo>
                  <a:pt x="264" y="174"/>
                </a:lnTo>
                <a:lnTo>
                  <a:pt x="264" y="174"/>
                </a:lnTo>
                <a:lnTo>
                  <a:pt x="264" y="174"/>
                </a:lnTo>
                <a:lnTo>
                  <a:pt x="264" y="174"/>
                </a:lnTo>
                <a:lnTo>
                  <a:pt x="264" y="174"/>
                </a:lnTo>
                <a:lnTo>
                  <a:pt x="258" y="174"/>
                </a:lnTo>
                <a:lnTo>
                  <a:pt x="258" y="174"/>
                </a:lnTo>
                <a:lnTo>
                  <a:pt x="258" y="180"/>
                </a:lnTo>
                <a:lnTo>
                  <a:pt x="258" y="180"/>
                </a:lnTo>
                <a:lnTo>
                  <a:pt x="258" y="180"/>
                </a:lnTo>
                <a:lnTo>
                  <a:pt x="258" y="180"/>
                </a:lnTo>
                <a:lnTo>
                  <a:pt x="258" y="180"/>
                </a:lnTo>
                <a:lnTo>
                  <a:pt x="258" y="180"/>
                </a:lnTo>
                <a:lnTo>
                  <a:pt x="252" y="186"/>
                </a:lnTo>
                <a:lnTo>
                  <a:pt x="252" y="186"/>
                </a:lnTo>
                <a:lnTo>
                  <a:pt x="252" y="186"/>
                </a:lnTo>
                <a:lnTo>
                  <a:pt x="252" y="186"/>
                </a:lnTo>
                <a:lnTo>
                  <a:pt x="252" y="192"/>
                </a:lnTo>
                <a:lnTo>
                  <a:pt x="252" y="192"/>
                </a:lnTo>
                <a:lnTo>
                  <a:pt x="252" y="192"/>
                </a:lnTo>
                <a:lnTo>
                  <a:pt x="252" y="186"/>
                </a:lnTo>
                <a:lnTo>
                  <a:pt x="252" y="186"/>
                </a:lnTo>
                <a:lnTo>
                  <a:pt x="246" y="186"/>
                </a:lnTo>
                <a:lnTo>
                  <a:pt x="246" y="186"/>
                </a:lnTo>
                <a:lnTo>
                  <a:pt x="246" y="186"/>
                </a:lnTo>
                <a:lnTo>
                  <a:pt x="246" y="192"/>
                </a:lnTo>
                <a:lnTo>
                  <a:pt x="246" y="192"/>
                </a:lnTo>
                <a:lnTo>
                  <a:pt x="246" y="192"/>
                </a:lnTo>
                <a:lnTo>
                  <a:pt x="246" y="192"/>
                </a:lnTo>
                <a:lnTo>
                  <a:pt x="246" y="192"/>
                </a:lnTo>
                <a:lnTo>
                  <a:pt x="246" y="192"/>
                </a:lnTo>
                <a:lnTo>
                  <a:pt x="246" y="198"/>
                </a:lnTo>
                <a:lnTo>
                  <a:pt x="240" y="198"/>
                </a:lnTo>
                <a:lnTo>
                  <a:pt x="240" y="198"/>
                </a:lnTo>
                <a:lnTo>
                  <a:pt x="240" y="198"/>
                </a:lnTo>
                <a:lnTo>
                  <a:pt x="234" y="198"/>
                </a:lnTo>
                <a:lnTo>
                  <a:pt x="234" y="198"/>
                </a:lnTo>
                <a:lnTo>
                  <a:pt x="234" y="198"/>
                </a:lnTo>
                <a:lnTo>
                  <a:pt x="234" y="198"/>
                </a:lnTo>
                <a:lnTo>
                  <a:pt x="234" y="192"/>
                </a:lnTo>
                <a:lnTo>
                  <a:pt x="234" y="192"/>
                </a:lnTo>
                <a:lnTo>
                  <a:pt x="234" y="192"/>
                </a:lnTo>
                <a:lnTo>
                  <a:pt x="234" y="192"/>
                </a:lnTo>
                <a:lnTo>
                  <a:pt x="228" y="198"/>
                </a:lnTo>
                <a:lnTo>
                  <a:pt x="228" y="198"/>
                </a:lnTo>
                <a:lnTo>
                  <a:pt x="228" y="198"/>
                </a:lnTo>
                <a:lnTo>
                  <a:pt x="228" y="198"/>
                </a:lnTo>
                <a:lnTo>
                  <a:pt x="222" y="204"/>
                </a:lnTo>
                <a:lnTo>
                  <a:pt x="222" y="204"/>
                </a:lnTo>
                <a:lnTo>
                  <a:pt x="222" y="204"/>
                </a:lnTo>
                <a:lnTo>
                  <a:pt x="222" y="210"/>
                </a:lnTo>
                <a:lnTo>
                  <a:pt x="216" y="210"/>
                </a:lnTo>
                <a:lnTo>
                  <a:pt x="216" y="210"/>
                </a:lnTo>
                <a:lnTo>
                  <a:pt x="216" y="210"/>
                </a:lnTo>
                <a:lnTo>
                  <a:pt x="216" y="210"/>
                </a:lnTo>
                <a:lnTo>
                  <a:pt x="216" y="210"/>
                </a:lnTo>
                <a:lnTo>
                  <a:pt x="216" y="210"/>
                </a:lnTo>
                <a:lnTo>
                  <a:pt x="210" y="210"/>
                </a:lnTo>
                <a:lnTo>
                  <a:pt x="210" y="210"/>
                </a:lnTo>
                <a:lnTo>
                  <a:pt x="210" y="210"/>
                </a:lnTo>
                <a:lnTo>
                  <a:pt x="210" y="216"/>
                </a:lnTo>
                <a:lnTo>
                  <a:pt x="210" y="216"/>
                </a:lnTo>
                <a:lnTo>
                  <a:pt x="210" y="216"/>
                </a:lnTo>
                <a:lnTo>
                  <a:pt x="210" y="216"/>
                </a:lnTo>
                <a:lnTo>
                  <a:pt x="204" y="216"/>
                </a:lnTo>
                <a:lnTo>
                  <a:pt x="204" y="222"/>
                </a:lnTo>
                <a:lnTo>
                  <a:pt x="204" y="222"/>
                </a:lnTo>
                <a:lnTo>
                  <a:pt x="204" y="222"/>
                </a:lnTo>
                <a:lnTo>
                  <a:pt x="204" y="222"/>
                </a:lnTo>
                <a:lnTo>
                  <a:pt x="204" y="228"/>
                </a:lnTo>
                <a:lnTo>
                  <a:pt x="198" y="228"/>
                </a:lnTo>
                <a:lnTo>
                  <a:pt x="198" y="228"/>
                </a:lnTo>
                <a:lnTo>
                  <a:pt x="198" y="228"/>
                </a:lnTo>
                <a:lnTo>
                  <a:pt x="192" y="228"/>
                </a:lnTo>
                <a:lnTo>
                  <a:pt x="192" y="228"/>
                </a:lnTo>
                <a:lnTo>
                  <a:pt x="192" y="234"/>
                </a:lnTo>
                <a:lnTo>
                  <a:pt x="186" y="234"/>
                </a:lnTo>
                <a:lnTo>
                  <a:pt x="186" y="234"/>
                </a:lnTo>
                <a:lnTo>
                  <a:pt x="186" y="234"/>
                </a:lnTo>
                <a:lnTo>
                  <a:pt x="180" y="234"/>
                </a:lnTo>
                <a:lnTo>
                  <a:pt x="180" y="234"/>
                </a:lnTo>
                <a:lnTo>
                  <a:pt x="180" y="234"/>
                </a:lnTo>
                <a:lnTo>
                  <a:pt x="180" y="234"/>
                </a:lnTo>
                <a:lnTo>
                  <a:pt x="180" y="240"/>
                </a:lnTo>
                <a:lnTo>
                  <a:pt x="180" y="240"/>
                </a:lnTo>
                <a:lnTo>
                  <a:pt x="174" y="240"/>
                </a:lnTo>
                <a:lnTo>
                  <a:pt x="174" y="240"/>
                </a:lnTo>
                <a:lnTo>
                  <a:pt x="174" y="240"/>
                </a:lnTo>
                <a:lnTo>
                  <a:pt x="168" y="240"/>
                </a:lnTo>
                <a:lnTo>
                  <a:pt x="168" y="240"/>
                </a:lnTo>
                <a:lnTo>
                  <a:pt x="168" y="240"/>
                </a:lnTo>
                <a:lnTo>
                  <a:pt x="168" y="246"/>
                </a:lnTo>
                <a:lnTo>
                  <a:pt x="168" y="246"/>
                </a:lnTo>
                <a:lnTo>
                  <a:pt x="168" y="246"/>
                </a:lnTo>
                <a:lnTo>
                  <a:pt x="162" y="246"/>
                </a:lnTo>
                <a:lnTo>
                  <a:pt x="162" y="246"/>
                </a:lnTo>
                <a:lnTo>
                  <a:pt x="162" y="246"/>
                </a:lnTo>
                <a:lnTo>
                  <a:pt x="162" y="246"/>
                </a:lnTo>
                <a:lnTo>
                  <a:pt x="162" y="246"/>
                </a:lnTo>
                <a:lnTo>
                  <a:pt x="162" y="246"/>
                </a:lnTo>
                <a:lnTo>
                  <a:pt x="162" y="246"/>
                </a:lnTo>
                <a:lnTo>
                  <a:pt x="162" y="240"/>
                </a:lnTo>
                <a:lnTo>
                  <a:pt x="162" y="246"/>
                </a:lnTo>
                <a:lnTo>
                  <a:pt x="156" y="240"/>
                </a:lnTo>
                <a:lnTo>
                  <a:pt x="156" y="246"/>
                </a:lnTo>
                <a:lnTo>
                  <a:pt x="156" y="246"/>
                </a:lnTo>
                <a:lnTo>
                  <a:pt x="156" y="246"/>
                </a:lnTo>
                <a:lnTo>
                  <a:pt x="156" y="246"/>
                </a:lnTo>
                <a:lnTo>
                  <a:pt x="156" y="246"/>
                </a:lnTo>
                <a:lnTo>
                  <a:pt x="150" y="246"/>
                </a:lnTo>
                <a:lnTo>
                  <a:pt x="150" y="246"/>
                </a:lnTo>
                <a:lnTo>
                  <a:pt x="150" y="246"/>
                </a:lnTo>
                <a:lnTo>
                  <a:pt x="150" y="240"/>
                </a:lnTo>
                <a:lnTo>
                  <a:pt x="150" y="240"/>
                </a:lnTo>
                <a:lnTo>
                  <a:pt x="150" y="240"/>
                </a:lnTo>
                <a:lnTo>
                  <a:pt x="150" y="240"/>
                </a:lnTo>
                <a:lnTo>
                  <a:pt x="150" y="240"/>
                </a:lnTo>
                <a:lnTo>
                  <a:pt x="144" y="240"/>
                </a:lnTo>
                <a:lnTo>
                  <a:pt x="144" y="240"/>
                </a:lnTo>
                <a:lnTo>
                  <a:pt x="144" y="240"/>
                </a:lnTo>
                <a:lnTo>
                  <a:pt x="144" y="240"/>
                </a:lnTo>
                <a:lnTo>
                  <a:pt x="144" y="240"/>
                </a:lnTo>
                <a:lnTo>
                  <a:pt x="138" y="240"/>
                </a:lnTo>
                <a:lnTo>
                  <a:pt x="138" y="234"/>
                </a:lnTo>
                <a:lnTo>
                  <a:pt x="138" y="234"/>
                </a:lnTo>
                <a:lnTo>
                  <a:pt x="138" y="240"/>
                </a:lnTo>
                <a:lnTo>
                  <a:pt x="138" y="240"/>
                </a:lnTo>
                <a:lnTo>
                  <a:pt x="138" y="234"/>
                </a:lnTo>
                <a:lnTo>
                  <a:pt x="132" y="234"/>
                </a:lnTo>
                <a:lnTo>
                  <a:pt x="132" y="234"/>
                </a:lnTo>
                <a:lnTo>
                  <a:pt x="132" y="234"/>
                </a:lnTo>
                <a:lnTo>
                  <a:pt x="132" y="234"/>
                </a:lnTo>
                <a:lnTo>
                  <a:pt x="132" y="234"/>
                </a:lnTo>
                <a:lnTo>
                  <a:pt x="132" y="234"/>
                </a:lnTo>
                <a:lnTo>
                  <a:pt x="132" y="234"/>
                </a:lnTo>
                <a:lnTo>
                  <a:pt x="126" y="234"/>
                </a:lnTo>
                <a:lnTo>
                  <a:pt x="126" y="234"/>
                </a:lnTo>
                <a:lnTo>
                  <a:pt x="126" y="234"/>
                </a:lnTo>
                <a:lnTo>
                  <a:pt x="126" y="234"/>
                </a:lnTo>
                <a:lnTo>
                  <a:pt x="126" y="228"/>
                </a:lnTo>
                <a:lnTo>
                  <a:pt x="126" y="234"/>
                </a:lnTo>
                <a:lnTo>
                  <a:pt x="126" y="234"/>
                </a:lnTo>
                <a:lnTo>
                  <a:pt x="126" y="234"/>
                </a:lnTo>
                <a:lnTo>
                  <a:pt x="120" y="234"/>
                </a:lnTo>
                <a:lnTo>
                  <a:pt x="120" y="234"/>
                </a:lnTo>
                <a:lnTo>
                  <a:pt x="120" y="228"/>
                </a:lnTo>
                <a:lnTo>
                  <a:pt x="114" y="228"/>
                </a:lnTo>
                <a:lnTo>
                  <a:pt x="114" y="228"/>
                </a:lnTo>
                <a:lnTo>
                  <a:pt x="114" y="228"/>
                </a:lnTo>
                <a:lnTo>
                  <a:pt x="114" y="228"/>
                </a:lnTo>
                <a:lnTo>
                  <a:pt x="114" y="228"/>
                </a:lnTo>
                <a:lnTo>
                  <a:pt x="108" y="228"/>
                </a:lnTo>
                <a:lnTo>
                  <a:pt x="108" y="228"/>
                </a:lnTo>
                <a:lnTo>
                  <a:pt x="108" y="222"/>
                </a:lnTo>
                <a:lnTo>
                  <a:pt x="108" y="222"/>
                </a:lnTo>
                <a:lnTo>
                  <a:pt x="102" y="222"/>
                </a:lnTo>
                <a:lnTo>
                  <a:pt x="102" y="222"/>
                </a:lnTo>
                <a:lnTo>
                  <a:pt x="102" y="222"/>
                </a:lnTo>
                <a:lnTo>
                  <a:pt x="102" y="222"/>
                </a:lnTo>
                <a:lnTo>
                  <a:pt x="96" y="216"/>
                </a:lnTo>
                <a:lnTo>
                  <a:pt x="96" y="216"/>
                </a:lnTo>
                <a:lnTo>
                  <a:pt x="96" y="216"/>
                </a:lnTo>
                <a:lnTo>
                  <a:pt x="96" y="222"/>
                </a:lnTo>
                <a:lnTo>
                  <a:pt x="96" y="216"/>
                </a:lnTo>
                <a:lnTo>
                  <a:pt x="96" y="216"/>
                </a:lnTo>
                <a:lnTo>
                  <a:pt x="90" y="216"/>
                </a:lnTo>
                <a:lnTo>
                  <a:pt x="90" y="216"/>
                </a:lnTo>
                <a:lnTo>
                  <a:pt x="90" y="216"/>
                </a:lnTo>
                <a:lnTo>
                  <a:pt x="90" y="216"/>
                </a:lnTo>
                <a:lnTo>
                  <a:pt x="84" y="216"/>
                </a:lnTo>
                <a:lnTo>
                  <a:pt x="84" y="216"/>
                </a:lnTo>
                <a:lnTo>
                  <a:pt x="84" y="216"/>
                </a:lnTo>
                <a:lnTo>
                  <a:pt x="84" y="216"/>
                </a:lnTo>
                <a:lnTo>
                  <a:pt x="84" y="216"/>
                </a:lnTo>
                <a:lnTo>
                  <a:pt x="78" y="216"/>
                </a:lnTo>
                <a:lnTo>
                  <a:pt x="78" y="216"/>
                </a:lnTo>
                <a:lnTo>
                  <a:pt x="66" y="216"/>
                </a:lnTo>
                <a:lnTo>
                  <a:pt x="60" y="228"/>
                </a:lnTo>
                <a:lnTo>
                  <a:pt x="42" y="228"/>
                </a:lnTo>
                <a:lnTo>
                  <a:pt x="24" y="234"/>
                </a:lnTo>
                <a:lnTo>
                  <a:pt x="6" y="246"/>
                </a:lnTo>
                <a:lnTo>
                  <a:pt x="6" y="234"/>
                </a:lnTo>
                <a:lnTo>
                  <a:pt x="12" y="216"/>
                </a:lnTo>
                <a:lnTo>
                  <a:pt x="12" y="216"/>
                </a:lnTo>
                <a:lnTo>
                  <a:pt x="12" y="210"/>
                </a:lnTo>
                <a:lnTo>
                  <a:pt x="18" y="204"/>
                </a:lnTo>
                <a:lnTo>
                  <a:pt x="18" y="204"/>
                </a:lnTo>
                <a:lnTo>
                  <a:pt x="18" y="192"/>
                </a:lnTo>
                <a:lnTo>
                  <a:pt x="24" y="180"/>
                </a:lnTo>
                <a:lnTo>
                  <a:pt x="24" y="180"/>
                </a:lnTo>
                <a:lnTo>
                  <a:pt x="30" y="180"/>
                </a:lnTo>
                <a:lnTo>
                  <a:pt x="30" y="180"/>
                </a:lnTo>
                <a:lnTo>
                  <a:pt x="30" y="174"/>
                </a:lnTo>
                <a:lnTo>
                  <a:pt x="30" y="174"/>
                </a:lnTo>
                <a:lnTo>
                  <a:pt x="30" y="174"/>
                </a:lnTo>
                <a:lnTo>
                  <a:pt x="30" y="168"/>
                </a:lnTo>
                <a:lnTo>
                  <a:pt x="30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2"/>
                </a:lnTo>
                <a:lnTo>
                  <a:pt x="24" y="156"/>
                </a:lnTo>
                <a:lnTo>
                  <a:pt x="18" y="150"/>
                </a:lnTo>
                <a:lnTo>
                  <a:pt x="18" y="144"/>
                </a:lnTo>
                <a:lnTo>
                  <a:pt x="12" y="138"/>
                </a:lnTo>
                <a:lnTo>
                  <a:pt x="12" y="114"/>
                </a:lnTo>
                <a:lnTo>
                  <a:pt x="6" y="108"/>
                </a:lnTo>
                <a:lnTo>
                  <a:pt x="0" y="10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51" name="Freeform 84"/>
          <p:cNvSpPr>
            <a:spLocks/>
          </p:cNvSpPr>
          <p:nvPr/>
        </p:nvSpPr>
        <p:spPr bwMode="auto">
          <a:xfrm>
            <a:off x="7674133" y="1873722"/>
            <a:ext cx="115633" cy="186299"/>
          </a:xfrm>
          <a:custGeom>
            <a:avLst/>
            <a:gdLst>
              <a:gd name="T0" fmla="*/ 0 w 108"/>
              <a:gd name="T1" fmla="*/ 42 h 174"/>
              <a:gd name="T2" fmla="*/ 0 w 108"/>
              <a:gd name="T3" fmla="*/ 30 h 174"/>
              <a:gd name="T4" fmla="*/ 0 w 108"/>
              <a:gd name="T5" fmla="*/ 24 h 174"/>
              <a:gd name="T6" fmla="*/ 0 w 108"/>
              <a:gd name="T7" fmla="*/ 12 h 174"/>
              <a:gd name="T8" fmla="*/ 6 w 108"/>
              <a:gd name="T9" fmla="*/ 6 h 174"/>
              <a:gd name="T10" fmla="*/ 18 w 108"/>
              <a:gd name="T11" fmla="*/ 6 h 174"/>
              <a:gd name="T12" fmla="*/ 18 w 108"/>
              <a:gd name="T13" fmla="*/ 12 h 174"/>
              <a:gd name="T14" fmla="*/ 18 w 108"/>
              <a:gd name="T15" fmla="*/ 18 h 174"/>
              <a:gd name="T16" fmla="*/ 42 w 108"/>
              <a:gd name="T17" fmla="*/ 18 h 174"/>
              <a:gd name="T18" fmla="*/ 48 w 108"/>
              <a:gd name="T19" fmla="*/ 24 h 174"/>
              <a:gd name="T20" fmla="*/ 48 w 108"/>
              <a:gd name="T21" fmla="*/ 24 h 174"/>
              <a:gd name="T22" fmla="*/ 48 w 108"/>
              <a:gd name="T23" fmla="*/ 24 h 174"/>
              <a:gd name="T24" fmla="*/ 54 w 108"/>
              <a:gd name="T25" fmla="*/ 24 h 174"/>
              <a:gd name="T26" fmla="*/ 54 w 108"/>
              <a:gd name="T27" fmla="*/ 24 h 174"/>
              <a:gd name="T28" fmla="*/ 54 w 108"/>
              <a:gd name="T29" fmla="*/ 24 h 174"/>
              <a:gd name="T30" fmla="*/ 60 w 108"/>
              <a:gd name="T31" fmla="*/ 24 h 174"/>
              <a:gd name="T32" fmla="*/ 60 w 108"/>
              <a:gd name="T33" fmla="*/ 30 h 174"/>
              <a:gd name="T34" fmla="*/ 60 w 108"/>
              <a:gd name="T35" fmla="*/ 30 h 174"/>
              <a:gd name="T36" fmla="*/ 72 w 108"/>
              <a:gd name="T37" fmla="*/ 24 h 174"/>
              <a:gd name="T38" fmla="*/ 72 w 108"/>
              <a:gd name="T39" fmla="*/ 24 h 174"/>
              <a:gd name="T40" fmla="*/ 78 w 108"/>
              <a:gd name="T41" fmla="*/ 18 h 174"/>
              <a:gd name="T42" fmla="*/ 84 w 108"/>
              <a:gd name="T43" fmla="*/ 12 h 174"/>
              <a:gd name="T44" fmla="*/ 90 w 108"/>
              <a:gd name="T45" fmla="*/ 12 h 174"/>
              <a:gd name="T46" fmla="*/ 96 w 108"/>
              <a:gd name="T47" fmla="*/ 12 h 174"/>
              <a:gd name="T48" fmla="*/ 96 w 108"/>
              <a:gd name="T49" fmla="*/ 12 h 174"/>
              <a:gd name="T50" fmla="*/ 102 w 108"/>
              <a:gd name="T51" fmla="*/ 18 h 174"/>
              <a:gd name="T52" fmla="*/ 102 w 108"/>
              <a:gd name="T53" fmla="*/ 18 h 174"/>
              <a:gd name="T54" fmla="*/ 102 w 108"/>
              <a:gd name="T55" fmla="*/ 24 h 174"/>
              <a:gd name="T56" fmla="*/ 96 w 108"/>
              <a:gd name="T57" fmla="*/ 42 h 174"/>
              <a:gd name="T58" fmla="*/ 108 w 108"/>
              <a:gd name="T59" fmla="*/ 66 h 174"/>
              <a:gd name="T60" fmla="*/ 96 w 108"/>
              <a:gd name="T61" fmla="*/ 78 h 174"/>
              <a:gd name="T62" fmla="*/ 96 w 108"/>
              <a:gd name="T63" fmla="*/ 84 h 174"/>
              <a:gd name="T64" fmla="*/ 102 w 108"/>
              <a:gd name="T65" fmla="*/ 96 h 174"/>
              <a:gd name="T66" fmla="*/ 108 w 108"/>
              <a:gd name="T67" fmla="*/ 102 h 174"/>
              <a:gd name="T68" fmla="*/ 102 w 108"/>
              <a:gd name="T69" fmla="*/ 126 h 174"/>
              <a:gd name="T70" fmla="*/ 84 w 108"/>
              <a:gd name="T71" fmla="*/ 150 h 174"/>
              <a:gd name="T72" fmla="*/ 42 w 108"/>
              <a:gd name="T73" fmla="*/ 162 h 174"/>
              <a:gd name="T74" fmla="*/ 24 w 108"/>
              <a:gd name="T75" fmla="*/ 144 h 174"/>
              <a:gd name="T76" fmla="*/ 30 w 108"/>
              <a:gd name="T77" fmla="*/ 138 h 174"/>
              <a:gd name="T78" fmla="*/ 30 w 108"/>
              <a:gd name="T79" fmla="*/ 126 h 174"/>
              <a:gd name="T80" fmla="*/ 30 w 108"/>
              <a:gd name="T81" fmla="*/ 126 h 174"/>
              <a:gd name="T82" fmla="*/ 30 w 108"/>
              <a:gd name="T83" fmla="*/ 114 h 174"/>
              <a:gd name="T84" fmla="*/ 36 w 108"/>
              <a:gd name="T85" fmla="*/ 102 h 174"/>
              <a:gd name="T86" fmla="*/ 30 w 108"/>
              <a:gd name="T87" fmla="*/ 96 h 174"/>
              <a:gd name="T88" fmla="*/ 30 w 108"/>
              <a:gd name="T89" fmla="*/ 90 h 174"/>
              <a:gd name="T90" fmla="*/ 18 w 108"/>
              <a:gd name="T91" fmla="*/ 84 h 174"/>
              <a:gd name="T92" fmla="*/ 12 w 108"/>
              <a:gd name="T93" fmla="*/ 78 h 174"/>
              <a:gd name="T94" fmla="*/ 6 w 108"/>
              <a:gd name="T95" fmla="*/ 72 h 174"/>
              <a:gd name="T96" fmla="*/ 6 w 108"/>
              <a:gd name="T97" fmla="*/ 66 h 174"/>
              <a:gd name="T98" fmla="*/ 6 w 108"/>
              <a:gd name="T99" fmla="*/ 60 h 174"/>
              <a:gd name="T100" fmla="*/ 0 w 108"/>
              <a:gd name="T101" fmla="*/ 54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08" h="174">
                <a:moveTo>
                  <a:pt x="0" y="48"/>
                </a:moveTo>
                <a:lnTo>
                  <a:pt x="0" y="48"/>
                </a:lnTo>
                <a:lnTo>
                  <a:pt x="0" y="48"/>
                </a:lnTo>
                <a:lnTo>
                  <a:pt x="0" y="42"/>
                </a:lnTo>
                <a:lnTo>
                  <a:pt x="0" y="42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24"/>
                </a:lnTo>
                <a:lnTo>
                  <a:pt x="0" y="18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6"/>
                </a:lnTo>
                <a:lnTo>
                  <a:pt x="6" y="6"/>
                </a:lnTo>
                <a:lnTo>
                  <a:pt x="6" y="6"/>
                </a:lnTo>
                <a:lnTo>
                  <a:pt x="12" y="6"/>
                </a:lnTo>
                <a:lnTo>
                  <a:pt x="12" y="6"/>
                </a:lnTo>
                <a:lnTo>
                  <a:pt x="12" y="0"/>
                </a:lnTo>
                <a:lnTo>
                  <a:pt x="12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24" y="12"/>
                </a:lnTo>
                <a:lnTo>
                  <a:pt x="18" y="12"/>
                </a:lnTo>
                <a:lnTo>
                  <a:pt x="18" y="12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24" y="24"/>
                </a:lnTo>
                <a:lnTo>
                  <a:pt x="30" y="24"/>
                </a:lnTo>
                <a:lnTo>
                  <a:pt x="36" y="18"/>
                </a:lnTo>
                <a:lnTo>
                  <a:pt x="36" y="24"/>
                </a:lnTo>
                <a:lnTo>
                  <a:pt x="42" y="18"/>
                </a:lnTo>
                <a:lnTo>
                  <a:pt x="42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54" y="24"/>
                </a:lnTo>
                <a:lnTo>
                  <a:pt x="48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30"/>
                </a:lnTo>
                <a:lnTo>
                  <a:pt x="54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2"/>
                </a:lnTo>
                <a:lnTo>
                  <a:pt x="78" y="18"/>
                </a:lnTo>
                <a:lnTo>
                  <a:pt x="84" y="18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6" y="12"/>
                </a:lnTo>
                <a:lnTo>
                  <a:pt x="96" y="12"/>
                </a:lnTo>
                <a:lnTo>
                  <a:pt x="96" y="6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42"/>
                </a:lnTo>
                <a:lnTo>
                  <a:pt x="96" y="42"/>
                </a:lnTo>
                <a:lnTo>
                  <a:pt x="96" y="48"/>
                </a:lnTo>
                <a:lnTo>
                  <a:pt x="90" y="54"/>
                </a:lnTo>
                <a:lnTo>
                  <a:pt x="90" y="60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72"/>
                </a:lnTo>
                <a:lnTo>
                  <a:pt x="90" y="78"/>
                </a:lnTo>
                <a:lnTo>
                  <a:pt x="96" y="78"/>
                </a:lnTo>
                <a:lnTo>
                  <a:pt x="90" y="84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6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102"/>
                </a:lnTo>
                <a:lnTo>
                  <a:pt x="108" y="102"/>
                </a:lnTo>
                <a:lnTo>
                  <a:pt x="108" y="108"/>
                </a:lnTo>
                <a:lnTo>
                  <a:pt x="108" y="114"/>
                </a:lnTo>
                <a:lnTo>
                  <a:pt x="102" y="126"/>
                </a:lnTo>
                <a:lnTo>
                  <a:pt x="96" y="126"/>
                </a:lnTo>
                <a:lnTo>
                  <a:pt x="102" y="126"/>
                </a:lnTo>
                <a:lnTo>
                  <a:pt x="102" y="126"/>
                </a:lnTo>
                <a:lnTo>
                  <a:pt x="96" y="132"/>
                </a:lnTo>
                <a:lnTo>
                  <a:pt x="96" y="144"/>
                </a:lnTo>
                <a:lnTo>
                  <a:pt x="84" y="150"/>
                </a:lnTo>
                <a:lnTo>
                  <a:pt x="84" y="150"/>
                </a:lnTo>
                <a:lnTo>
                  <a:pt x="72" y="150"/>
                </a:lnTo>
                <a:lnTo>
                  <a:pt x="66" y="162"/>
                </a:lnTo>
                <a:lnTo>
                  <a:pt x="60" y="162"/>
                </a:lnTo>
                <a:lnTo>
                  <a:pt x="54" y="174"/>
                </a:lnTo>
                <a:lnTo>
                  <a:pt x="42" y="162"/>
                </a:lnTo>
                <a:lnTo>
                  <a:pt x="36" y="156"/>
                </a:lnTo>
                <a:lnTo>
                  <a:pt x="36" y="150"/>
                </a:lnTo>
                <a:lnTo>
                  <a:pt x="30" y="150"/>
                </a:lnTo>
                <a:lnTo>
                  <a:pt x="30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38"/>
                </a:lnTo>
                <a:lnTo>
                  <a:pt x="30" y="138"/>
                </a:lnTo>
                <a:lnTo>
                  <a:pt x="30" y="132"/>
                </a:lnTo>
                <a:lnTo>
                  <a:pt x="30" y="132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0"/>
                </a:lnTo>
                <a:lnTo>
                  <a:pt x="30" y="120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08"/>
                </a:lnTo>
                <a:lnTo>
                  <a:pt x="30" y="108"/>
                </a:lnTo>
                <a:lnTo>
                  <a:pt x="36" y="108"/>
                </a:lnTo>
                <a:lnTo>
                  <a:pt x="36" y="102"/>
                </a:lnTo>
                <a:lnTo>
                  <a:pt x="36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24" y="90"/>
                </a:lnTo>
                <a:lnTo>
                  <a:pt x="24" y="90"/>
                </a:lnTo>
                <a:lnTo>
                  <a:pt x="24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78"/>
                </a:lnTo>
                <a:lnTo>
                  <a:pt x="18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0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48"/>
                </a:lnTo>
                <a:lnTo>
                  <a:pt x="0" y="4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52" name="Freeform 85"/>
          <p:cNvSpPr>
            <a:spLocks/>
          </p:cNvSpPr>
          <p:nvPr/>
        </p:nvSpPr>
        <p:spPr bwMode="auto">
          <a:xfrm>
            <a:off x="7924670" y="2008628"/>
            <a:ext cx="128481" cy="109210"/>
          </a:xfrm>
          <a:custGeom>
            <a:avLst/>
            <a:gdLst>
              <a:gd name="T0" fmla="*/ 6 w 120"/>
              <a:gd name="T1" fmla="*/ 60 h 102"/>
              <a:gd name="T2" fmla="*/ 12 w 120"/>
              <a:gd name="T3" fmla="*/ 42 h 102"/>
              <a:gd name="T4" fmla="*/ 12 w 120"/>
              <a:gd name="T5" fmla="*/ 36 h 102"/>
              <a:gd name="T6" fmla="*/ 12 w 120"/>
              <a:gd name="T7" fmla="*/ 24 h 102"/>
              <a:gd name="T8" fmla="*/ 18 w 120"/>
              <a:gd name="T9" fmla="*/ 30 h 102"/>
              <a:gd name="T10" fmla="*/ 66 w 120"/>
              <a:gd name="T11" fmla="*/ 0 h 102"/>
              <a:gd name="T12" fmla="*/ 72 w 120"/>
              <a:gd name="T13" fmla="*/ 6 h 102"/>
              <a:gd name="T14" fmla="*/ 78 w 120"/>
              <a:gd name="T15" fmla="*/ 18 h 102"/>
              <a:gd name="T16" fmla="*/ 72 w 120"/>
              <a:gd name="T17" fmla="*/ 18 h 102"/>
              <a:gd name="T18" fmla="*/ 90 w 120"/>
              <a:gd name="T19" fmla="*/ 24 h 102"/>
              <a:gd name="T20" fmla="*/ 96 w 120"/>
              <a:gd name="T21" fmla="*/ 30 h 102"/>
              <a:gd name="T22" fmla="*/ 108 w 120"/>
              <a:gd name="T23" fmla="*/ 30 h 102"/>
              <a:gd name="T24" fmla="*/ 108 w 120"/>
              <a:gd name="T25" fmla="*/ 36 h 102"/>
              <a:gd name="T26" fmla="*/ 114 w 120"/>
              <a:gd name="T27" fmla="*/ 42 h 102"/>
              <a:gd name="T28" fmla="*/ 114 w 120"/>
              <a:gd name="T29" fmla="*/ 42 h 102"/>
              <a:gd name="T30" fmla="*/ 120 w 120"/>
              <a:gd name="T31" fmla="*/ 42 h 102"/>
              <a:gd name="T32" fmla="*/ 120 w 120"/>
              <a:gd name="T33" fmla="*/ 42 h 102"/>
              <a:gd name="T34" fmla="*/ 114 w 120"/>
              <a:gd name="T35" fmla="*/ 48 h 102"/>
              <a:gd name="T36" fmla="*/ 114 w 120"/>
              <a:gd name="T37" fmla="*/ 54 h 102"/>
              <a:gd name="T38" fmla="*/ 114 w 120"/>
              <a:gd name="T39" fmla="*/ 60 h 102"/>
              <a:gd name="T40" fmla="*/ 108 w 120"/>
              <a:gd name="T41" fmla="*/ 54 h 102"/>
              <a:gd name="T42" fmla="*/ 102 w 120"/>
              <a:gd name="T43" fmla="*/ 60 h 102"/>
              <a:gd name="T44" fmla="*/ 102 w 120"/>
              <a:gd name="T45" fmla="*/ 54 h 102"/>
              <a:gd name="T46" fmla="*/ 102 w 120"/>
              <a:gd name="T47" fmla="*/ 54 h 102"/>
              <a:gd name="T48" fmla="*/ 96 w 120"/>
              <a:gd name="T49" fmla="*/ 60 h 102"/>
              <a:gd name="T50" fmla="*/ 96 w 120"/>
              <a:gd name="T51" fmla="*/ 60 h 102"/>
              <a:gd name="T52" fmla="*/ 90 w 120"/>
              <a:gd name="T53" fmla="*/ 60 h 102"/>
              <a:gd name="T54" fmla="*/ 90 w 120"/>
              <a:gd name="T55" fmla="*/ 66 h 102"/>
              <a:gd name="T56" fmla="*/ 84 w 120"/>
              <a:gd name="T57" fmla="*/ 66 h 102"/>
              <a:gd name="T58" fmla="*/ 78 w 120"/>
              <a:gd name="T59" fmla="*/ 66 h 102"/>
              <a:gd name="T60" fmla="*/ 78 w 120"/>
              <a:gd name="T61" fmla="*/ 66 h 102"/>
              <a:gd name="T62" fmla="*/ 72 w 120"/>
              <a:gd name="T63" fmla="*/ 66 h 102"/>
              <a:gd name="T64" fmla="*/ 78 w 120"/>
              <a:gd name="T65" fmla="*/ 72 h 102"/>
              <a:gd name="T66" fmla="*/ 72 w 120"/>
              <a:gd name="T67" fmla="*/ 78 h 102"/>
              <a:gd name="T68" fmla="*/ 78 w 120"/>
              <a:gd name="T69" fmla="*/ 96 h 102"/>
              <a:gd name="T70" fmla="*/ 54 w 120"/>
              <a:gd name="T71" fmla="*/ 102 h 102"/>
              <a:gd name="T72" fmla="*/ 54 w 120"/>
              <a:gd name="T73" fmla="*/ 84 h 102"/>
              <a:gd name="T74" fmla="*/ 36 w 120"/>
              <a:gd name="T75" fmla="*/ 84 h 102"/>
              <a:gd name="T76" fmla="*/ 30 w 120"/>
              <a:gd name="T77" fmla="*/ 72 h 102"/>
              <a:gd name="T78" fmla="*/ 24 w 120"/>
              <a:gd name="T79" fmla="*/ 84 h 102"/>
              <a:gd name="T80" fmla="*/ 18 w 120"/>
              <a:gd name="T81" fmla="*/ 90 h 102"/>
              <a:gd name="T82" fmla="*/ 12 w 120"/>
              <a:gd name="T83" fmla="*/ 96 h 102"/>
              <a:gd name="T84" fmla="*/ 12 w 120"/>
              <a:gd name="T85" fmla="*/ 78 h 102"/>
              <a:gd name="T86" fmla="*/ 0 w 120"/>
              <a:gd name="T87" fmla="*/ 66 h 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20" h="102">
                <a:moveTo>
                  <a:pt x="0" y="66"/>
                </a:moveTo>
                <a:lnTo>
                  <a:pt x="0" y="60"/>
                </a:lnTo>
                <a:lnTo>
                  <a:pt x="6" y="60"/>
                </a:lnTo>
                <a:lnTo>
                  <a:pt x="12" y="54"/>
                </a:lnTo>
                <a:lnTo>
                  <a:pt x="12" y="48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0"/>
                </a:lnTo>
                <a:lnTo>
                  <a:pt x="12" y="30"/>
                </a:lnTo>
                <a:lnTo>
                  <a:pt x="12" y="24"/>
                </a:lnTo>
                <a:lnTo>
                  <a:pt x="12" y="24"/>
                </a:lnTo>
                <a:lnTo>
                  <a:pt x="24" y="18"/>
                </a:lnTo>
                <a:lnTo>
                  <a:pt x="18" y="30"/>
                </a:lnTo>
                <a:lnTo>
                  <a:pt x="30" y="36"/>
                </a:lnTo>
                <a:lnTo>
                  <a:pt x="54" y="12"/>
                </a:lnTo>
                <a:lnTo>
                  <a:pt x="66" y="0"/>
                </a:lnTo>
                <a:lnTo>
                  <a:pt x="66" y="0"/>
                </a:lnTo>
                <a:lnTo>
                  <a:pt x="66" y="6"/>
                </a:lnTo>
                <a:lnTo>
                  <a:pt x="72" y="6"/>
                </a:lnTo>
                <a:lnTo>
                  <a:pt x="72" y="12"/>
                </a:lnTo>
                <a:lnTo>
                  <a:pt x="72" y="12"/>
                </a:lnTo>
                <a:lnTo>
                  <a:pt x="78" y="18"/>
                </a:lnTo>
                <a:lnTo>
                  <a:pt x="78" y="18"/>
                </a:lnTo>
                <a:lnTo>
                  <a:pt x="72" y="18"/>
                </a:lnTo>
                <a:lnTo>
                  <a:pt x="72" y="18"/>
                </a:lnTo>
                <a:lnTo>
                  <a:pt x="78" y="24"/>
                </a:lnTo>
                <a:lnTo>
                  <a:pt x="84" y="24"/>
                </a:lnTo>
                <a:lnTo>
                  <a:pt x="90" y="24"/>
                </a:lnTo>
                <a:lnTo>
                  <a:pt x="90" y="30"/>
                </a:lnTo>
                <a:lnTo>
                  <a:pt x="90" y="30"/>
                </a:lnTo>
                <a:lnTo>
                  <a:pt x="96" y="30"/>
                </a:lnTo>
                <a:lnTo>
                  <a:pt x="102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14" y="36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20" y="36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54"/>
                </a:lnTo>
                <a:lnTo>
                  <a:pt x="114" y="54"/>
                </a:lnTo>
                <a:lnTo>
                  <a:pt x="114" y="60"/>
                </a:lnTo>
                <a:lnTo>
                  <a:pt x="114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54"/>
                </a:lnTo>
                <a:lnTo>
                  <a:pt x="108" y="60"/>
                </a:lnTo>
                <a:lnTo>
                  <a:pt x="108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54"/>
                </a:lnTo>
                <a:lnTo>
                  <a:pt x="102" y="60"/>
                </a:lnTo>
                <a:lnTo>
                  <a:pt x="102" y="60"/>
                </a:lnTo>
                <a:lnTo>
                  <a:pt x="102" y="54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6"/>
                </a:lnTo>
                <a:lnTo>
                  <a:pt x="90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2" y="78"/>
                </a:lnTo>
                <a:lnTo>
                  <a:pt x="72" y="78"/>
                </a:lnTo>
                <a:lnTo>
                  <a:pt x="72" y="84"/>
                </a:lnTo>
                <a:lnTo>
                  <a:pt x="78" y="90"/>
                </a:lnTo>
                <a:lnTo>
                  <a:pt x="78" y="96"/>
                </a:lnTo>
                <a:lnTo>
                  <a:pt x="66" y="102"/>
                </a:lnTo>
                <a:lnTo>
                  <a:pt x="60" y="102"/>
                </a:lnTo>
                <a:lnTo>
                  <a:pt x="54" y="102"/>
                </a:lnTo>
                <a:lnTo>
                  <a:pt x="54" y="96"/>
                </a:lnTo>
                <a:lnTo>
                  <a:pt x="54" y="84"/>
                </a:lnTo>
                <a:lnTo>
                  <a:pt x="54" y="84"/>
                </a:lnTo>
                <a:lnTo>
                  <a:pt x="42" y="78"/>
                </a:lnTo>
                <a:lnTo>
                  <a:pt x="36" y="84"/>
                </a:lnTo>
                <a:lnTo>
                  <a:pt x="36" y="84"/>
                </a:lnTo>
                <a:lnTo>
                  <a:pt x="36" y="78"/>
                </a:lnTo>
                <a:lnTo>
                  <a:pt x="36" y="78"/>
                </a:lnTo>
                <a:lnTo>
                  <a:pt x="30" y="72"/>
                </a:lnTo>
                <a:lnTo>
                  <a:pt x="30" y="78"/>
                </a:lnTo>
                <a:lnTo>
                  <a:pt x="30" y="84"/>
                </a:lnTo>
                <a:lnTo>
                  <a:pt x="24" y="84"/>
                </a:lnTo>
                <a:lnTo>
                  <a:pt x="24" y="78"/>
                </a:lnTo>
                <a:lnTo>
                  <a:pt x="18" y="84"/>
                </a:lnTo>
                <a:lnTo>
                  <a:pt x="18" y="90"/>
                </a:lnTo>
                <a:lnTo>
                  <a:pt x="18" y="96"/>
                </a:lnTo>
                <a:lnTo>
                  <a:pt x="18" y="96"/>
                </a:lnTo>
                <a:lnTo>
                  <a:pt x="12" y="96"/>
                </a:lnTo>
                <a:lnTo>
                  <a:pt x="12" y="96"/>
                </a:lnTo>
                <a:lnTo>
                  <a:pt x="6" y="96"/>
                </a:lnTo>
                <a:lnTo>
                  <a:pt x="12" y="78"/>
                </a:lnTo>
                <a:lnTo>
                  <a:pt x="6" y="78"/>
                </a:lnTo>
                <a:lnTo>
                  <a:pt x="6" y="72"/>
                </a:lnTo>
                <a:lnTo>
                  <a:pt x="0" y="66"/>
                </a:lnTo>
                <a:lnTo>
                  <a:pt x="0" y="6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53" name="Freeform 86"/>
          <p:cNvSpPr>
            <a:spLocks/>
          </p:cNvSpPr>
          <p:nvPr/>
        </p:nvSpPr>
        <p:spPr bwMode="auto">
          <a:xfrm>
            <a:off x="7776917" y="1681000"/>
            <a:ext cx="205570" cy="282660"/>
          </a:xfrm>
          <a:custGeom>
            <a:avLst/>
            <a:gdLst>
              <a:gd name="T0" fmla="*/ 42 w 192"/>
              <a:gd name="T1" fmla="*/ 36 h 264"/>
              <a:gd name="T2" fmla="*/ 48 w 192"/>
              <a:gd name="T3" fmla="*/ 30 h 264"/>
              <a:gd name="T4" fmla="*/ 54 w 192"/>
              <a:gd name="T5" fmla="*/ 36 h 264"/>
              <a:gd name="T6" fmla="*/ 60 w 192"/>
              <a:gd name="T7" fmla="*/ 36 h 264"/>
              <a:gd name="T8" fmla="*/ 66 w 192"/>
              <a:gd name="T9" fmla="*/ 42 h 264"/>
              <a:gd name="T10" fmla="*/ 72 w 192"/>
              <a:gd name="T11" fmla="*/ 48 h 264"/>
              <a:gd name="T12" fmla="*/ 78 w 192"/>
              <a:gd name="T13" fmla="*/ 54 h 264"/>
              <a:gd name="T14" fmla="*/ 78 w 192"/>
              <a:gd name="T15" fmla="*/ 54 h 264"/>
              <a:gd name="T16" fmla="*/ 78 w 192"/>
              <a:gd name="T17" fmla="*/ 54 h 264"/>
              <a:gd name="T18" fmla="*/ 96 w 192"/>
              <a:gd name="T19" fmla="*/ 36 h 264"/>
              <a:gd name="T20" fmla="*/ 96 w 192"/>
              <a:gd name="T21" fmla="*/ 30 h 264"/>
              <a:gd name="T22" fmla="*/ 90 w 192"/>
              <a:gd name="T23" fmla="*/ 30 h 264"/>
              <a:gd name="T24" fmla="*/ 90 w 192"/>
              <a:gd name="T25" fmla="*/ 24 h 264"/>
              <a:gd name="T26" fmla="*/ 96 w 192"/>
              <a:gd name="T27" fmla="*/ 24 h 264"/>
              <a:gd name="T28" fmla="*/ 102 w 192"/>
              <a:gd name="T29" fmla="*/ 18 h 264"/>
              <a:gd name="T30" fmla="*/ 114 w 192"/>
              <a:gd name="T31" fmla="*/ 6 h 264"/>
              <a:gd name="T32" fmla="*/ 126 w 192"/>
              <a:gd name="T33" fmla="*/ 0 h 264"/>
              <a:gd name="T34" fmla="*/ 132 w 192"/>
              <a:gd name="T35" fmla="*/ 0 h 264"/>
              <a:gd name="T36" fmla="*/ 138 w 192"/>
              <a:gd name="T37" fmla="*/ 0 h 264"/>
              <a:gd name="T38" fmla="*/ 144 w 192"/>
              <a:gd name="T39" fmla="*/ 0 h 264"/>
              <a:gd name="T40" fmla="*/ 150 w 192"/>
              <a:gd name="T41" fmla="*/ 0 h 264"/>
              <a:gd name="T42" fmla="*/ 156 w 192"/>
              <a:gd name="T43" fmla="*/ 6 h 264"/>
              <a:gd name="T44" fmla="*/ 162 w 192"/>
              <a:gd name="T45" fmla="*/ 24 h 264"/>
              <a:gd name="T46" fmla="*/ 156 w 192"/>
              <a:gd name="T47" fmla="*/ 36 h 264"/>
              <a:gd name="T48" fmla="*/ 150 w 192"/>
              <a:gd name="T49" fmla="*/ 54 h 264"/>
              <a:gd name="T50" fmla="*/ 150 w 192"/>
              <a:gd name="T51" fmla="*/ 54 h 264"/>
              <a:gd name="T52" fmla="*/ 156 w 192"/>
              <a:gd name="T53" fmla="*/ 66 h 264"/>
              <a:gd name="T54" fmla="*/ 144 w 192"/>
              <a:gd name="T55" fmla="*/ 78 h 264"/>
              <a:gd name="T56" fmla="*/ 144 w 192"/>
              <a:gd name="T57" fmla="*/ 84 h 264"/>
              <a:gd name="T58" fmla="*/ 150 w 192"/>
              <a:gd name="T59" fmla="*/ 102 h 264"/>
              <a:gd name="T60" fmla="*/ 150 w 192"/>
              <a:gd name="T61" fmla="*/ 102 h 264"/>
              <a:gd name="T62" fmla="*/ 162 w 192"/>
              <a:gd name="T63" fmla="*/ 108 h 264"/>
              <a:gd name="T64" fmla="*/ 168 w 192"/>
              <a:gd name="T65" fmla="*/ 120 h 264"/>
              <a:gd name="T66" fmla="*/ 174 w 192"/>
              <a:gd name="T67" fmla="*/ 126 h 264"/>
              <a:gd name="T68" fmla="*/ 186 w 192"/>
              <a:gd name="T69" fmla="*/ 132 h 264"/>
              <a:gd name="T70" fmla="*/ 186 w 192"/>
              <a:gd name="T71" fmla="*/ 144 h 264"/>
              <a:gd name="T72" fmla="*/ 186 w 192"/>
              <a:gd name="T73" fmla="*/ 150 h 264"/>
              <a:gd name="T74" fmla="*/ 186 w 192"/>
              <a:gd name="T75" fmla="*/ 162 h 264"/>
              <a:gd name="T76" fmla="*/ 186 w 192"/>
              <a:gd name="T77" fmla="*/ 168 h 264"/>
              <a:gd name="T78" fmla="*/ 186 w 192"/>
              <a:gd name="T79" fmla="*/ 174 h 264"/>
              <a:gd name="T80" fmla="*/ 186 w 192"/>
              <a:gd name="T81" fmla="*/ 186 h 264"/>
              <a:gd name="T82" fmla="*/ 186 w 192"/>
              <a:gd name="T83" fmla="*/ 198 h 264"/>
              <a:gd name="T84" fmla="*/ 192 w 192"/>
              <a:gd name="T85" fmla="*/ 216 h 264"/>
              <a:gd name="T86" fmla="*/ 192 w 192"/>
              <a:gd name="T87" fmla="*/ 240 h 264"/>
              <a:gd name="T88" fmla="*/ 192 w 192"/>
              <a:gd name="T89" fmla="*/ 246 h 264"/>
              <a:gd name="T90" fmla="*/ 132 w 192"/>
              <a:gd name="T91" fmla="*/ 258 h 264"/>
              <a:gd name="T92" fmla="*/ 96 w 192"/>
              <a:gd name="T93" fmla="*/ 252 h 264"/>
              <a:gd name="T94" fmla="*/ 78 w 192"/>
              <a:gd name="T95" fmla="*/ 216 h 264"/>
              <a:gd name="T96" fmla="*/ 72 w 192"/>
              <a:gd name="T97" fmla="*/ 216 h 264"/>
              <a:gd name="T98" fmla="*/ 60 w 192"/>
              <a:gd name="T99" fmla="*/ 216 h 264"/>
              <a:gd name="T100" fmla="*/ 54 w 192"/>
              <a:gd name="T101" fmla="*/ 216 h 264"/>
              <a:gd name="T102" fmla="*/ 42 w 192"/>
              <a:gd name="T103" fmla="*/ 210 h 264"/>
              <a:gd name="T104" fmla="*/ 36 w 192"/>
              <a:gd name="T105" fmla="*/ 210 h 264"/>
              <a:gd name="T106" fmla="*/ 30 w 192"/>
              <a:gd name="T107" fmla="*/ 198 h 264"/>
              <a:gd name="T108" fmla="*/ 18 w 192"/>
              <a:gd name="T109" fmla="*/ 198 h 264"/>
              <a:gd name="T110" fmla="*/ 24 w 192"/>
              <a:gd name="T111" fmla="*/ 126 h 264"/>
              <a:gd name="T112" fmla="*/ 24 w 192"/>
              <a:gd name="T113" fmla="*/ 120 h 2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92" h="264">
                <a:moveTo>
                  <a:pt x="0" y="90"/>
                </a:moveTo>
                <a:lnTo>
                  <a:pt x="6" y="66"/>
                </a:lnTo>
                <a:lnTo>
                  <a:pt x="6" y="54"/>
                </a:lnTo>
                <a:lnTo>
                  <a:pt x="12" y="54"/>
                </a:lnTo>
                <a:lnTo>
                  <a:pt x="12" y="48"/>
                </a:lnTo>
                <a:lnTo>
                  <a:pt x="30" y="42"/>
                </a:lnTo>
                <a:lnTo>
                  <a:pt x="42" y="36"/>
                </a:lnTo>
                <a:lnTo>
                  <a:pt x="42" y="30"/>
                </a:lnTo>
                <a:lnTo>
                  <a:pt x="36" y="30"/>
                </a:lnTo>
                <a:lnTo>
                  <a:pt x="42" y="24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72" y="42"/>
                </a:lnTo>
                <a:lnTo>
                  <a:pt x="72" y="42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54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84" y="54"/>
                </a:lnTo>
                <a:lnTo>
                  <a:pt x="84" y="54"/>
                </a:lnTo>
                <a:lnTo>
                  <a:pt x="96" y="42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0" y="30"/>
                </a:lnTo>
                <a:lnTo>
                  <a:pt x="90" y="30"/>
                </a:lnTo>
                <a:lnTo>
                  <a:pt x="90" y="36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18"/>
                </a:lnTo>
                <a:lnTo>
                  <a:pt x="96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8" y="12"/>
                </a:lnTo>
                <a:lnTo>
                  <a:pt x="114" y="6"/>
                </a:lnTo>
                <a:lnTo>
                  <a:pt x="114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0"/>
                </a:lnTo>
                <a:lnTo>
                  <a:pt x="126" y="0"/>
                </a:lnTo>
                <a:lnTo>
                  <a:pt x="126" y="0"/>
                </a:lnTo>
                <a:lnTo>
                  <a:pt x="126" y="0"/>
                </a:lnTo>
                <a:lnTo>
                  <a:pt x="126" y="0"/>
                </a:lnTo>
                <a:lnTo>
                  <a:pt x="132" y="0"/>
                </a:lnTo>
                <a:lnTo>
                  <a:pt x="132" y="0"/>
                </a:lnTo>
                <a:lnTo>
                  <a:pt x="132" y="0"/>
                </a:lnTo>
                <a:lnTo>
                  <a:pt x="132" y="0"/>
                </a:lnTo>
                <a:lnTo>
                  <a:pt x="132" y="0"/>
                </a:lnTo>
                <a:lnTo>
                  <a:pt x="132" y="0"/>
                </a:lnTo>
                <a:lnTo>
                  <a:pt x="132" y="0"/>
                </a:lnTo>
                <a:lnTo>
                  <a:pt x="132" y="0"/>
                </a:lnTo>
                <a:lnTo>
                  <a:pt x="132" y="0"/>
                </a:lnTo>
                <a:lnTo>
                  <a:pt x="138" y="0"/>
                </a:lnTo>
                <a:lnTo>
                  <a:pt x="138" y="0"/>
                </a:lnTo>
                <a:lnTo>
                  <a:pt x="138" y="0"/>
                </a:lnTo>
                <a:lnTo>
                  <a:pt x="138" y="0"/>
                </a:lnTo>
                <a:lnTo>
                  <a:pt x="138" y="0"/>
                </a:lnTo>
                <a:lnTo>
                  <a:pt x="138" y="0"/>
                </a:lnTo>
                <a:lnTo>
                  <a:pt x="138" y="0"/>
                </a:lnTo>
                <a:lnTo>
                  <a:pt x="138" y="0"/>
                </a:lnTo>
                <a:lnTo>
                  <a:pt x="144" y="0"/>
                </a:lnTo>
                <a:lnTo>
                  <a:pt x="144" y="0"/>
                </a:lnTo>
                <a:lnTo>
                  <a:pt x="144" y="0"/>
                </a:lnTo>
                <a:lnTo>
                  <a:pt x="144" y="0"/>
                </a:lnTo>
                <a:lnTo>
                  <a:pt x="144" y="0"/>
                </a:lnTo>
                <a:lnTo>
                  <a:pt x="144" y="0"/>
                </a:lnTo>
                <a:lnTo>
                  <a:pt x="150" y="0"/>
                </a:lnTo>
                <a:lnTo>
                  <a:pt x="150" y="0"/>
                </a:lnTo>
                <a:lnTo>
                  <a:pt x="150" y="0"/>
                </a:lnTo>
                <a:lnTo>
                  <a:pt x="150" y="0"/>
                </a:lnTo>
                <a:lnTo>
                  <a:pt x="150" y="0"/>
                </a:lnTo>
                <a:lnTo>
                  <a:pt x="150" y="0"/>
                </a:lnTo>
                <a:lnTo>
                  <a:pt x="156" y="0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62" y="6"/>
                </a:lnTo>
                <a:lnTo>
                  <a:pt x="162" y="6"/>
                </a:lnTo>
                <a:lnTo>
                  <a:pt x="162" y="6"/>
                </a:lnTo>
                <a:lnTo>
                  <a:pt x="162" y="6"/>
                </a:lnTo>
                <a:lnTo>
                  <a:pt x="162" y="12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56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42"/>
                </a:lnTo>
                <a:lnTo>
                  <a:pt x="150" y="42"/>
                </a:lnTo>
                <a:lnTo>
                  <a:pt x="150" y="48"/>
                </a:lnTo>
                <a:lnTo>
                  <a:pt x="150" y="48"/>
                </a:lnTo>
                <a:lnTo>
                  <a:pt x="150" y="54"/>
                </a:lnTo>
                <a:lnTo>
                  <a:pt x="150" y="54"/>
                </a:lnTo>
                <a:lnTo>
                  <a:pt x="150" y="54"/>
                </a:lnTo>
                <a:lnTo>
                  <a:pt x="144" y="54"/>
                </a:lnTo>
                <a:lnTo>
                  <a:pt x="144" y="54"/>
                </a:lnTo>
                <a:lnTo>
                  <a:pt x="144" y="54"/>
                </a:lnTo>
                <a:lnTo>
                  <a:pt x="150" y="54"/>
                </a:lnTo>
                <a:lnTo>
                  <a:pt x="150" y="54"/>
                </a:lnTo>
                <a:lnTo>
                  <a:pt x="150" y="54"/>
                </a:lnTo>
                <a:lnTo>
                  <a:pt x="150" y="60"/>
                </a:lnTo>
                <a:lnTo>
                  <a:pt x="144" y="60"/>
                </a:lnTo>
                <a:lnTo>
                  <a:pt x="150" y="60"/>
                </a:lnTo>
                <a:lnTo>
                  <a:pt x="150" y="66"/>
                </a:lnTo>
                <a:lnTo>
                  <a:pt x="156" y="66"/>
                </a:lnTo>
                <a:lnTo>
                  <a:pt x="156" y="66"/>
                </a:lnTo>
                <a:lnTo>
                  <a:pt x="156" y="66"/>
                </a:lnTo>
                <a:lnTo>
                  <a:pt x="150" y="72"/>
                </a:lnTo>
                <a:lnTo>
                  <a:pt x="150" y="78"/>
                </a:lnTo>
                <a:lnTo>
                  <a:pt x="144" y="78"/>
                </a:lnTo>
                <a:lnTo>
                  <a:pt x="144" y="78"/>
                </a:lnTo>
                <a:lnTo>
                  <a:pt x="144" y="78"/>
                </a:lnTo>
                <a:lnTo>
                  <a:pt x="144" y="78"/>
                </a:lnTo>
                <a:lnTo>
                  <a:pt x="144" y="78"/>
                </a:lnTo>
                <a:lnTo>
                  <a:pt x="150" y="78"/>
                </a:lnTo>
                <a:lnTo>
                  <a:pt x="150" y="84"/>
                </a:lnTo>
                <a:lnTo>
                  <a:pt x="150" y="84"/>
                </a:lnTo>
                <a:lnTo>
                  <a:pt x="150" y="84"/>
                </a:lnTo>
                <a:lnTo>
                  <a:pt x="144" y="84"/>
                </a:lnTo>
                <a:lnTo>
                  <a:pt x="144" y="84"/>
                </a:lnTo>
                <a:lnTo>
                  <a:pt x="144" y="90"/>
                </a:lnTo>
                <a:lnTo>
                  <a:pt x="144" y="90"/>
                </a:lnTo>
                <a:lnTo>
                  <a:pt x="144" y="90"/>
                </a:lnTo>
                <a:lnTo>
                  <a:pt x="144" y="96"/>
                </a:lnTo>
                <a:lnTo>
                  <a:pt x="150" y="96"/>
                </a:lnTo>
                <a:lnTo>
                  <a:pt x="144" y="96"/>
                </a:lnTo>
                <a:lnTo>
                  <a:pt x="150" y="102"/>
                </a:lnTo>
                <a:lnTo>
                  <a:pt x="150" y="102"/>
                </a:lnTo>
                <a:lnTo>
                  <a:pt x="150" y="102"/>
                </a:lnTo>
                <a:lnTo>
                  <a:pt x="150" y="102"/>
                </a:lnTo>
                <a:lnTo>
                  <a:pt x="150" y="102"/>
                </a:lnTo>
                <a:lnTo>
                  <a:pt x="150" y="102"/>
                </a:lnTo>
                <a:lnTo>
                  <a:pt x="150" y="102"/>
                </a:lnTo>
                <a:lnTo>
                  <a:pt x="150" y="102"/>
                </a:lnTo>
                <a:lnTo>
                  <a:pt x="156" y="102"/>
                </a:lnTo>
                <a:lnTo>
                  <a:pt x="156" y="108"/>
                </a:lnTo>
                <a:lnTo>
                  <a:pt x="156" y="108"/>
                </a:lnTo>
                <a:lnTo>
                  <a:pt x="156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14"/>
                </a:lnTo>
                <a:lnTo>
                  <a:pt x="162" y="114"/>
                </a:lnTo>
                <a:lnTo>
                  <a:pt x="162" y="114"/>
                </a:lnTo>
                <a:lnTo>
                  <a:pt x="162" y="114"/>
                </a:lnTo>
                <a:lnTo>
                  <a:pt x="162" y="120"/>
                </a:lnTo>
                <a:lnTo>
                  <a:pt x="162" y="120"/>
                </a:lnTo>
                <a:lnTo>
                  <a:pt x="168" y="120"/>
                </a:lnTo>
                <a:lnTo>
                  <a:pt x="168" y="120"/>
                </a:lnTo>
                <a:lnTo>
                  <a:pt x="168" y="120"/>
                </a:lnTo>
                <a:lnTo>
                  <a:pt x="168" y="120"/>
                </a:lnTo>
                <a:lnTo>
                  <a:pt x="168" y="126"/>
                </a:lnTo>
                <a:lnTo>
                  <a:pt x="174" y="120"/>
                </a:lnTo>
                <a:lnTo>
                  <a:pt x="174" y="120"/>
                </a:lnTo>
                <a:lnTo>
                  <a:pt x="174" y="126"/>
                </a:lnTo>
                <a:lnTo>
                  <a:pt x="174" y="126"/>
                </a:lnTo>
                <a:lnTo>
                  <a:pt x="174" y="126"/>
                </a:lnTo>
                <a:lnTo>
                  <a:pt x="180" y="126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6" y="132"/>
                </a:lnTo>
                <a:lnTo>
                  <a:pt x="186" y="132"/>
                </a:lnTo>
                <a:lnTo>
                  <a:pt x="186" y="132"/>
                </a:lnTo>
                <a:lnTo>
                  <a:pt x="186" y="132"/>
                </a:lnTo>
                <a:lnTo>
                  <a:pt x="186" y="138"/>
                </a:lnTo>
                <a:lnTo>
                  <a:pt x="186" y="138"/>
                </a:lnTo>
                <a:lnTo>
                  <a:pt x="186" y="144"/>
                </a:lnTo>
                <a:lnTo>
                  <a:pt x="186" y="144"/>
                </a:lnTo>
                <a:lnTo>
                  <a:pt x="186" y="144"/>
                </a:lnTo>
                <a:lnTo>
                  <a:pt x="186" y="144"/>
                </a:lnTo>
                <a:lnTo>
                  <a:pt x="186" y="144"/>
                </a:lnTo>
                <a:lnTo>
                  <a:pt x="186" y="144"/>
                </a:lnTo>
                <a:lnTo>
                  <a:pt x="186" y="150"/>
                </a:lnTo>
                <a:lnTo>
                  <a:pt x="186" y="150"/>
                </a:lnTo>
                <a:lnTo>
                  <a:pt x="186" y="150"/>
                </a:lnTo>
                <a:lnTo>
                  <a:pt x="186" y="150"/>
                </a:lnTo>
                <a:lnTo>
                  <a:pt x="186" y="150"/>
                </a:lnTo>
                <a:lnTo>
                  <a:pt x="186" y="156"/>
                </a:lnTo>
                <a:lnTo>
                  <a:pt x="186" y="156"/>
                </a:lnTo>
                <a:lnTo>
                  <a:pt x="186" y="156"/>
                </a:lnTo>
                <a:lnTo>
                  <a:pt x="186" y="156"/>
                </a:lnTo>
                <a:lnTo>
                  <a:pt x="186" y="162"/>
                </a:lnTo>
                <a:lnTo>
                  <a:pt x="186" y="162"/>
                </a:lnTo>
                <a:lnTo>
                  <a:pt x="186" y="162"/>
                </a:lnTo>
                <a:lnTo>
                  <a:pt x="186" y="162"/>
                </a:lnTo>
                <a:lnTo>
                  <a:pt x="186" y="162"/>
                </a:lnTo>
                <a:lnTo>
                  <a:pt x="186" y="168"/>
                </a:lnTo>
                <a:lnTo>
                  <a:pt x="186" y="168"/>
                </a:lnTo>
                <a:lnTo>
                  <a:pt x="186" y="168"/>
                </a:lnTo>
                <a:lnTo>
                  <a:pt x="186" y="168"/>
                </a:lnTo>
                <a:lnTo>
                  <a:pt x="186" y="168"/>
                </a:lnTo>
                <a:lnTo>
                  <a:pt x="186" y="168"/>
                </a:lnTo>
                <a:lnTo>
                  <a:pt x="186" y="174"/>
                </a:lnTo>
                <a:lnTo>
                  <a:pt x="186" y="174"/>
                </a:lnTo>
                <a:lnTo>
                  <a:pt x="186" y="174"/>
                </a:lnTo>
                <a:lnTo>
                  <a:pt x="186" y="174"/>
                </a:lnTo>
                <a:lnTo>
                  <a:pt x="186" y="174"/>
                </a:lnTo>
                <a:lnTo>
                  <a:pt x="186" y="174"/>
                </a:lnTo>
                <a:lnTo>
                  <a:pt x="186" y="180"/>
                </a:lnTo>
                <a:lnTo>
                  <a:pt x="186" y="180"/>
                </a:lnTo>
                <a:lnTo>
                  <a:pt x="186" y="180"/>
                </a:lnTo>
                <a:lnTo>
                  <a:pt x="186" y="180"/>
                </a:lnTo>
                <a:lnTo>
                  <a:pt x="186" y="186"/>
                </a:lnTo>
                <a:lnTo>
                  <a:pt x="186" y="186"/>
                </a:lnTo>
                <a:lnTo>
                  <a:pt x="192" y="192"/>
                </a:lnTo>
                <a:lnTo>
                  <a:pt x="192" y="192"/>
                </a:lnTo>
                <a:lnTo>
                  <a:pt x="192" y="192"/>
                </a:lnTo>
                <a:lnTo>
                  <a:pt x="186" y="198"/>
                </a:lnTo>
                <a:lnTo>
                  <a:pt x="186" y="198"/>
                </a:lnTo>
                <a:lnTo>
                  <a:pt x="186" y="198"/>
                </a:lnTo>
                <a:lnTo>
                  <a:pt x="186" y="198"/>
                </a:lnTo>
                <a:lnTo>
                  <a:pt x="186" y="204"/>
                </a:lnTo>
                <a:lnTo>
                  <a:pt x="186" y="204"/>
                </a:lnTo>
                <a:lnTo>
                  <a:pt x="186" y="204"/>
                </a:lnTo>
                <a:lnTo>
                  <a:pt x="186" y="210"/>
                </a:lnTo>
                <a:lnTo>
                  <a:pt x="192" y="210"/>
                </a:lnTo>
                <a:lnTo>
                  <a:pt x="192" y="216"/>
                </a:lnTo>
                <a:lnTo>
                  <a:pt x="192" y="216"/>
                </a:lnTo>
                <a:lnTo>
                  <a:pt x="192" y="222"/>
                </a:lnTo>
                <a:lnTo>
                  <a:pt x="192" y="228"/>
                </a:lnTo>
                <a:lnTo>
                  <a:pt x="192" y="228"/>
                </a:lnTo>
                <a:lnTo>
                  <a:pt x="192" y="228"/>
                </a:lnTo>
                <a:lnTo>
                  <a:pt x="192" y="228"/>
                </a:lnTo>
                <a:lnTo>
                  <a:pt x="192" y="240"/>
                </a:lnTo>
                <a:lnTo>
                  <a:pt x="192" y="240"/>
                </a:lnTo>
                <a:lnTo>
                  <a:pt x="192" y="240"/>
                </a:lnTo>
                <a:lnTo>
                  <a:pt x="192" y="240"/>
                </a:lnTo>
                <a:lnTo>
                  <a:pt x="192" y="240"/>
                </a:lnTo>
                <a:lnTo>
                  <a:pt x="192" y="240"/>
                </a:lnTo>
                <a:lnTo>
                  <a:pt x="192" y="246"/>
                </a:lnTo>
                <a:lnTo>
                  <a:pt x="192" y="246"/>
                </a:lnTo>
                <a:lnTo>
                  <a:pt x="192" y="246"/>
                </a:lnTo>
                <a:lnTo>
                  <a:pt x="192" y="246"/>
                </a:lnTo>
                <a:lnTo>
                  <a:pt x="144" y="258"/>
                </a:lnTo>
                <a:lnTo>
                  <a:pt x="132" y="258"/>
                </a:lnTo>
                <a:lnTo>
                  <a:pt x="138" y="264"/>
                </a:lnTo>
                <a:lnTo>
                  <a:pt x="132" y="264"/>
                </a:lnTo>
                <a:lnTo>
                  <a:pt x="132" y="258"/>
                </a:lnTo>
                <a:lnTo>
                  <a:pt x="126" y="258"/>
                </a:lnTo>
                <a:lnTo>
                  <a:pt x="108" y="258"/>
                </a:lnTo>
                <a:lnTo>
                  <a:pt x="114" y="258"/>
                </a:lnTo>
                <a:lnTo>
                  <a:pt x="102" y="252"/>
                </a:lnTo>
                <a:lnTo>
                  <a:pt x="102" y="252"/>
                </a:lnTo>
                <a:lnTo>
                  <a:pt x="96" y="252"/>
                </a:lnTo>
                <a:lnTo>
                  <a:pt x="96" y="252"/>
                </a:lnTo>
                <a:lnTo>
                  <a:pt x="90" y="246"/>
                </a:lnTo>
                <a:lnTo>
                  <a:pt x="90" y="234"/>
                </a:lnTo>
                <a:lnTo>
                  <a:pt x="90" y="234"/>
                </a:lnTo>
                <a:lnTo>
                  <a:pt x="90" y="228"/>
                </a:lnTo>
                <a:lnTo>
                  <a:pt x="84" y="216"/>
                </a:lnTo>
                <a:lnTo>
                  <a:pt x="84" y="216"/>
                </a:lnTo>
                <a:lnTo>
                  <a:pt x="78" y="216"/>
                </a:lnTo>
                <a:lnTo>
                  <a:pt x="78" y="216"/>
                </a:lnTo>
                <a:lnTo>
                  <a:pt x="78" y="216"/>
                </a:lnTo>
                <a:lnTo>
                  <a:pt x="78" y="216"/>
                </a:lnTo>
                <a:lnTo>
                  <a:pt x="78" y="216"/>
                </a:lnTo>
                <a:lnTo>
                  <a:pt x="78" y="216"/>
                </a:lnTo>
                <a:lnTo>
                  <a:pt x="72" y="216"/>
                </a:lnTo>
                <a:lnTo>
                  <a:pt x="72" y="216"/>
                </a:lnTo>
                <a:lnTo>
                  <a:pt x="72" y="216"/>
                </a:lnTo>
                <a:lnTo>
                  <a:pt x="72" y="216"/>
                </a:lnTo>
                <a:lnTo>
                  <a:pt x="72" y="216"/>
                </a:lnTo>
                <a:lnTo>
                  <a:pt x="66" y="216"/>
                </a:lnTo>
                <a:lnTo>
                  <a:pt x="66" y="216"/>
                </a:lnTo>
                <a:lnTo>
                  <a:pt x="60" y="216"/>
                </a:lnTo>
                <a:lnTo>
                  <a:pt x="60" y="216"/>
                </a:lnTo>
                <a:lnTo>
                  <a:pt x="60" y="216"/>
                </a:lnTo>
                <a:lnTo>
                  <a:pt x="54" y="216"/>
                </a:lnTo>
                <a:lnTo>
                  <a:pt x="54" y="216"/>
                </a:lnTo>
                <a:lnTo>
                  <a:pt x="54" y="216"/>
                </a:lnTo>
                <a:lnTo>
                  <a:pt x="54" y="216"/>
                </a:lnTo>
                <a:lnTo>
                  <a:pt x="54" y="216"/>
                </a:lnTo>
                <a:lnTo>
                  <a:pt x="54" y="216"/>
                </a:lnTo>
                <a:lnTo>
                  <a:pt x="48" y="216"/>
                </a:lnTo>
                <a:lnTo>
                  <a:pt x="48" y="216"/>
                </a:lnTo>
                <a:lnTo>
                  <a:pt x="48" y="210"/>
                </a:lnTo>
                <a:lnTo>
                  <a:pt x="48" y="210"/>
                </a:lnTo>
                <a:lnTo>
                  <a:pt x="48" y="210"/>
                </a:lnTo>
                <a:lnTo>
                  <a:pt x="42" y="210"/>
                </a:lnTo>
                <a:lnTo>
                  <a:pt x="42" y="210"/>
                </a:lnTo>
                <a:lnTo>
                  <a:pt x="42" y="210"/>
                </a:lnTo>
                <a:lnTo>
                  <a:pt x="42" y="210"/>
                </a:lnTo>
                <a:lnTo>
                  <a:pt x="36" y="210"/>
                </a:lnTo>
                <a:lnTo>
                  <a:pt x="36" y="210"/>
                </a:lnTo>
                <a:lnTo>
                  <a:pt x="36" y="210"/>
                </a:lnTo>
                <a:lnTo>
                  <a:pt x="36" y="210"/>
                </a:lnTo>
                <a:lnTo>
                  <a:pt x="36" y="210"/>
                </a:lnTo>
                <a:lnTo>
                  <a:pt x="36" y="210"/>
                </a:lnTo>
                <a:lnTo>
                  <a:pt x="36" y="204"/>
                </a:lnTo>
                <a:lnTo>
                  <a:pt x="36" y="204"/>
                </a:lnTo>
                <a:lnTo>
                  <a:pt x="36" y="198"/>
                </a:lnTo>
                <a:lnTo>
                  <a:pt x="30" y="198"/>
                </a:lnTo>
                <a:lnTo>
                  <a:pt x="30" y="198"/>
                </a:lnTo>
                <a:lnTo>
                  <a:pt x="30" y="198"/>
                </a:lnTo>
                <a:lnTo>
                  <a:pt x="30" y="198"/>
                </a:lnTo>
                <a:lnTo>
                  <a:pt x="30" y="198"/>
                </a:lnTo>
                <a:lnTo>
                  <a:pt x="30" y="198"/>
                </a:lnTo>
                <a:lnTo>
                  <a:pt x="24" y="198"/>
                </a:lnTo>
                <a:lnTo>
                  <a:pt x="24" y="198"/>
                </a:lnTo>
                <a:lnTo>
                  <a:pt x="18" y="198"/>
                </a:lnTo>
                <a:lnTo>
                  <a:pt x="18" y="198"/>
                </a:lnTo>
                <a:lnTo>
                  <a:pt x="18" y="198"/>
                </a:lnTo>
                <a:lnTo>
                  <a:pt x="18" y="198"/>
                </a:lnTo>
                <a:lnTo>
                  <a:pt x="0" y="150"/>
                </a:lnTo>
                <a:lnTo>
                  <a:pt x="6" y="150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30" y="120"/>
                </a:lnTo>
                <a:lnTo>
                  <a:pt x="24" y="114"/>
                </a:lnTo>
                <a:lnTo>
                  <a:pt x="18" y="108"/>
                </a:lnTo>
                <a:lnTo>
                  <a:pt x="6" y="102"/>
                </a:lnTo>
                <a:lnTo>
                  <a:pt x="0" y="90"/>
                </a:lnTo>
                <a:lnTo>
                  <a:pt x="0" y="9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54" name="Freeform 87"/>
          <p:cNvSpPr>
            <a:spLocks/>
          </p:cNvSpPr>
          <p:nvPr/>
        </p:nvSpPr>
        <p:spPr bwMode="auto">
          <a:xfrm>
            <a:off x="7686981" y="1706696"/>
            <a:ext cx="122057" cy="199147"/>
          </a:xfrm>
          <a:custGeom>
            <a:avLst/>
            <a:gdLst>
              <a:gd name="T0" fmla="*/ 6 w 114"/>
              <a:gd name="T1" fmla="*/ 150 h 186"/>
              <a:gd name="T2" fmla="*/ 12 w 114"/>
              <a:gd name="T3" fmla="*/ 144 h 186"/>
              <a:gd name="T4" fmla="*/ 12 w 114"/>
              <a:gd name="T5" fmla="*/ 138 h 186"/>
              <a:gd name="T6" fmla="*/ 24 w 114"/>
              <a:gd name="T7" fmla="*/ 132 h 186"/>
              <a:gd name="T8" fmla="*/ 24 w 114"/>
              <a:gd name="T9" fmla="*/ 126 h 186"/>
              <a:gd name="T10" fmla="*/ 24 w 114"/>
              <a:gd name="T11" fmla="*/ 114 h 186"/>
              <a:gd name="T12" fmla="*/ 24 w 114"/>
              <a:gd name="T13" fmla="*/ 96 h 186"/>
              <a:gd name="T14" fmla="*/ 24 w 114"/>
              <a:gd name="T15" fmla="*/ 90 h 186"/>
              <a:gd name="T16" fmla="*/ 18 w 114"/>
              <a:gd name="T17" fmla="*/ 78 h 186"/>
              <a:gd name="T18" fmla="*/ 12 w 114"/>
              <a:gd name="T19" fmla="*/ 66 h 186"/>
              <a:gd name="T20" fmla="*/ 6 w 114"/>
              <a:gd name="T21" fmla="*/ 60 h 186"/>
              <a:gd name="T22" fmla="*/ 12 w 114"/>
              <a:gd name="T23" fmla="*/ 54 h 186"/>
              <a:gd name="T24" fmla="*/ 6 w 114"/>
              <a:gd name="T25" fmla="*/ 48 h 186"/>
              <a:gd name="T26" fmla="*/ 12 w 114"/>
              <a:gd name="T27" fmla="*/ 42 h 186"/>
              <a:gd name="T28" fmla="*/ 18 w 114"/>
              <a:gd name="T29" fmla="*/ 30 h 186"/>
              <a:gd name="T30" fmla="*/ 18 w 114"/>
              <a:gd name="T31" fmla="*/ 24 h 186"/>
              <a:gd name="T32" fmla="*/ 18 w 114"/>
              <a:gd name="T33" fmla="*/ 18 h 186"/>
              <a:gd name="T34" fmla="*/ 18 w 114"/>
              <a:gd name="T35" fmla="*/ 12 h 186"/>
              <a:gd name="T36" fmla="*/ 12 w 114"/>
              <a:gd name="T37" fmla="*/ 6 h 186"/>
              <a:gd name="T38" fmla="*/ 6 w 114"/>
              <a:gd name="T39" fmla="*/ 0 h 186"/>
              <a:gd name="T40" fmla="*/ 30 w 114"/>
              <a:gd name="T41" fmla="*/ 6 h 186"/>
              <a:gd name="T42" fmla="*/ 54 w 114"/>
              <a:gd name="T43" fmla="*/ 6 h 186"/>
              <a:gd name="T44" fmla="*/ 60 w 114"/>
              <a:gd name="T45" fmla="*/ 6 h 186"/>
              <a:gd name="T46" fmla="*/ 78 w 114"/>
              <a:gd name="T47" fmla="*/ 18 h 186"/>
              <a:gd name="T48" fmla="*/ 84 w 114"/>
              <a:gd name="T49" fmla="*/ 66 h 186"/>
              <a:gd name="T50" fmla="*/ 108 w 114"/>
              <a:gd name="T51" fmla="*/ 90 h 186"/>
              <a:gd name="T52" fmla="*/ 108 w 114"/>
              <a:gd name="T53" fmla="*/ 96 h 186"/>
              <a:gd name="T54" fmla="*/ 108 w 114"/>
              <a:gd name="T55" fmla="*/ 102 h 186"/>
              <a:gd name="T56" fmla="*/ 90 w 114"/>
              <a:gd name="T57" fmla="*/ 126 h 186"/>
              <a:gd name="T58" fmla="*/ 102 w 114"/>
              <a:gd name="T59" fmla="*/ 174 h 186"/>
              <a:gd name="T60" fmla="*/ 96 w 114"/>
              <a:gd name="T61" fmla="*/ 174 h 186"/>
              <a:gd name="T62" fmla="*/ 90 w 114"/>
              <a:gd name="T63" fmla="*/ 168 h 186"/>
              <a:gd name="T64" fmla="*/ 84 w 114"/>
              <a:gd name="T65" fmla="*/ 168 h 186"/>
              <a:gd name="T66" fmla="*/ 84 w 114"/>
              <a:gd name="T67" fmla="*/ 168 h 186"/>
              <a:gd name="T68" fmla="*/ 78 w 114"/>
              <a:gd name="T69" fmla="*/ 168 h 186"/>
              <a:gd name="T70" fmla="*/ 72 w 114"/>
              <a:gd name="T71" fmla="*/ 168 h 186"/>
              <a:gd name="T72" fmla="*/ 72 w 114"/>
              <a:gd name="T73" fmla="*/ 174 h 186"/>
              <a:gd name="T74" fmla="*/ 66 w 114"/>
              <a:gd name="T75" fmla="*/ 174 h 186"/>
              <a:gd name="T76" fmla="*/ 60 w 114"/>
              <a:gd name="T77" fmla="*/ 180 h 186"/>
              <a:gd name="T78" fmla="*/ 60 w 114"/>
              <a:gd name="T79" fmla="*/ 180 h 186"/>
              <a:gd name="T80" fmla="*/ 54 w 114"/>
              <a:gd name="T81" fmla="*/ 180 h 186"/>
              <a:gd name="T82" fmla="*/ 48 w 114"/>
              <a:gd name="T83" fmla="*/ 186 h 186"/>
              <a:gd name="T84" fmla="*/ 48 w 114"/>
              <a:gd name="T85" fmla="*/ 186 h 186"/>
              <a:gd name="T86" fmla="*/ 48 w 114"/>
              <a:gd name="T87" fmla="*/ 180 h 186"/>
              <a:gd name="T88" fmla="*/ 42 w 114"/>
              <a:gd name="T89" fmla="*/ 180 h 186"/>
              <a:gd name="T90" fmla="*/ 42 w 114"/>
              <a:gd name="T91" fmla="*/ 180 h 186"/>
              <a:gd name="T92" fmla="*/ 42 w 114"/>
              <a:gd name="T93" fmla="*/ 180 h 186"/>
              <a:gd name="T94" fmla="*/ 42 w 114"/>
              <a:gd name="T95" fmla="*/ 180 h 186"/>
              <a:gd name="T96" fmla="*/ 42 w 114"/>
              <a:gd name="T97" fmla="*/ 180 h 186"/>
              <a:gd name="T98" fmla="*/ 36 w 114"/>
              <a:gd name="T99" fmla="*/ 180 h 186"/>
              <a:gd name="T100" fmla="*/ 36 w 114"/>
              <a:gd name="T101" fmla="*/ 180 h 186"/>
              <a:gd name="T102" fmla="*/ 36 w 114"/>
              <a:gd name="T103" fmla="*/ 180 h 186"/>
              <a:gd name="T104" fmla="*/ 30 w 114"/>
              <a:gd name="T105" fmla="*/ 174 h 186"/>
              <a:gd name="T106" fmla="*/ 12 w 114"/>
              <a:gd name="T107" fmla="*/ 180 h 186"/>
              <a:gd name="T108" fmla="*/ 6 w 114"/>
              <a:gd name="T109" fmla="*/ 174 h 186"/>
              <a:gd name="T110" fmla="*/ 6 w 114"/>
              <a:gd name="T111" fmla="*/ 162 h 186"/>
              <a:gd name="T112" fmla="*/ 0 w 114"/>
              <a:gd name="T113" fmla="*/ 162 h 1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14" h="186">
                <a:moveTo>
                  <a:pt x="0" y="156"/>
                </a:moveTo>
                <a:lnTo>
                  <a:pt x="0" y="150"/>
                </a:lnTo>
                <a:lnTo>
                  <a:pt x="6" y="150"/>
                </a:lnTo>
                <a:lnTo>
                  <a:pt x="6" y="150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12" y="144"/>
                </a:lnTo>
                <a:lnTo>
                  <a:pt x="12" y="144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0"/>
                </a:lnTo>
                <a:lnTo>
                  <a:pt x="24" y="120"/>
                </a:lnTo>
                <a:lnTo>
                  <a:pt x="24" y="114"/>
                </a:lnTo>
                <a:lnTo>
                  <a:pt x="30" y="108"/>
                </a:lnTo>
                <a:lnTo>
                  <a:pt x="24" y="108"/>
                </a:lnTo>
                <a:lnTo>
                  <a:pt x="24" y="102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0"/>
                </a:lnTo>
                <a:lnTo>
                  <a:pt x="18" y="84"/>
                </a:lnTo>
                <a:lnTo>
                  <a:pt x="18" y="84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2"/>
                </a:lnTo>
                <a:lnTo>
                  <a:pt x="12" y="72"/>
                </a:lnTo>
                <a:lnTo>
                  <a:pt x="12" y="66"/>
                </a:lnTo>
                <a:lnTo>
                  <a:pt x="12" y="66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12" y="54"/>
                </a:lnTo>
                <a:lnTo>
                  <a:pt x="12" y="54"/>
                </a:lnTo>
                <a:lnTo>
                  <a:pt x="12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8" y="36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2"/>
                </a:lnTo>
                <a:lnTo>
                  <a:pt x="18" y="12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0"/>
                </a:lnTo>
                <a:lnTo>
                  <a:pt x="18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6" y="6"/>
                </a:lnTo>
                <a:lnTo>
                  <a:pt x="54" y="12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72" y="12"/>
                </a:lnTo>
                <a:lnTo>
                  <a:pt x="72" y="12"/>
                </a:lnTo>
                <a:lnTo>
                  <a:pt x="78" y="18"/>
                </a:lnTo>
                <a:lnTo>
                  <a:pt x="72" y="18"/>
                </a:lnTo>
                <a:lnTo>
                  <a:pt x="90" y="30"/>
                </a:lnTo>
                <a:lnTo>
                  <a:pt x="90" y="42"/>
                </a:lnTo>
                <a:lnTo>
                  <a:pt x="84" y="66"/>
                </a:lnTo>
                <a:lnTo>
                  <a:pt x="84" y="66"/>
                </a:lnTo>
                <a:lnTo>
                  <a:pt x="90" y="78"/>
                </a:lnTo>
                <a:lnTo>
                  <a:pt x="102" y="84"/>
                </a:lnTo>
                <a:lnTo>
                  <a:pt x="108" y="90"/>
                </a:lnTo>
                <a:lnTo>
                  <a:pt x="114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90" y="126"/>
                </a:lnTo>
                <a:lnTo>
                  <a:pt x="84" y="126"/>
                </a:lnTo>
                <a:lnTo>
                  <a:pt x="102" y="174"/>
                </a:lnTo>
                <a:lnTo>
                  <a:pt x="102" y="174"/>
                </a:lnTo>
                <a:lnTo>
                  <a:pt x="102" y="174"/>
                </a:lnTo>
                <a:lnTo>
                  <a:pt x="96" y="174"/>
                </a:lnTo>
                <a:lnTo>
                  <a:pt x="96" y="174"/>
                </a:lnTo>
                <a:lnTo>
                  <a:pt x="96" y="168"/>
                </a:lnTo>
                <a:lnTo>
                  <a:pt x="96" y="174"/>
                </a:lnTo>
                <a:lnTo>
                  <a:pt x="96" y="174"/>
                </a:lnTo>
                <a:lnTo>
                  <a:pt x="90" y="174"/>
                </a:lnTo>
                <a:lnTo>
                  <a:pt x="90" y="174"/>
                </a:lnTo>
                <a:lnTo>
                  <a:pt x="90" y="168"/>
                </a:lnTo>
                <a:lnTo>
                  <a:pt x="90" y="168"/>
                </a:lnTo>
                <a:lnTo>
                  <a:pt x="84" y="168"/>
                </a:lnTo>
                <a:lnTo>
                  <a:pt x="84" y="168"/>
                </a:lnTo>
                <a:lnTo>
                  <a:pt x="84" y="168"/>
                </a:lnTo>
                <a:lnTo>
                  <a:pt x="84" y="168"/>
                </a:lnTo>
                <a:lnTo>
                  <a:pt x="84" y="168"/>
                </a:lnTo>
                <a:lnTo>
                  <a:pt x="84" y="162"/>
                </a:lnTo>
                <a:lnTo>
                  <a:pt x="84" y="168"/>
                </a:lnTo>
                <a:lnTo>
                  <a:pt x="84" y="168"/>
                </a:lnTo>
                <a:lnTo>
                  <a:pt x="78" y="168"/>
                </a:lnTo>
                <a:lnTo>
                  <a:pt x="78" y="168"/>
                </a:lnTo>
                <a:lnTo>
                  <a:pt x="78" y="168"/>
                </a:lnTo>
                <a:lnTo>
                  <a:pt x="78" y="168"/>
                </a:lnTo>
                <a:lnTo>
                  <a:pt x="78" y="168"/>
                </a:lnTo>
                <a:lnTo>
                  <a:pt x="72" y="168"/>
                </a:lnTo>
                <a:lnTo>
                  <a:pt x="72" y="168"/>
                </a:lnTo>
                <a:lnTo>
                  <a:pt x="72" y="168"/>
                </a:lnTo>
                <a:lnTo>
                  <a:pt x="72" y="168"/>
                </a:lnTo>
                <a:lnTo>
                  <a:pt x="72" y="168"/>
                </a:lnTo>
                <a:lnTo>
                  <a:pt x="72" y="174"/>
                </a:lnTo>
                <a:lnTo>
                  <a:pt x="66" y="174"/>
                </a:lnTo>
                <a:lnTo>
                  <a:pt x="66" y="168"/>
                </a:lnTo>
                <a:lnTo>
                  <a:pt x="66" y="174"/>
                </a:lnTo>
                <a:lnTo>
                  <a:pt x="66" y="174"/>
                </a:lnTo>
                <a:lnTo>
                  <a:pt x="66" y="174"/>
                </a:lnTo>
                <a:lnTo>
                  <a:pt x="66" y="174"/>
                </a:lnTo>
                <a:lnTo>
                  <a:pt x="60" y="174"/>
                </a:lnTo>
                <a:lnTo>
                  <a:pt x="60" y="180"/>
                </a:lnTo>
                <a:lnTo>
                  <a:pt x="60" y="180"/>
                </a:lnTo>
                <a:lnTo>
                  <a:pt x="60" y="180"/>
                </a:lnTo>
                <a:lnTo>
                  <a:pt x="60" y="180"/>
                </a:lnTo>
                <a:lnTo>
                  <a:pt x="60" y="180"/>
                </a:lnTo>
                <a:lnTo>
                  <a:pt x="60" y="180"/>
                </a:lnTo>
                <a:lnTo>
                  <a:pt x="60" y="180"/>
                </a:lnTo>
                <a:lnTo>
                  <a:pt x="60" y="180"/>
                </a:lnTo>
                <a:lnTo>
                  <a:pt x="54" y="180"/>
                </a:lnTo>
                <a:lnTo>
                  <a:pt x="54" y="180"/>
                </a:lnTo>
                <a:lnTo>
                  <a:pt x="54" y="180"/>
                </a:lnTo>
                <a:lnTo>
                  <a:pt x="48" y="186"/>
                </a:lnTo>
                <a:lnTo>
                  <a:pt x="48" y="186"/>
                </a:lnTo>
                <a:lnTo>
                  <a:pt x="48" y="186"/>
                </a:lnTo>
                <a:lnTo>
                  <a:pt x="48" y="186"/>
                </a:lnTo>
                <a:lnTo>
                  <a:pt x="48" y="186"/>
                </a:lnTo>
                <a:lnTo>
                  <a:pt x="48" y="186"/>
                </a:lnTo>
                <a:lnTo>
                  <a:pt x="48" y="186"/>
                </a:lnTo>
                <a:lnTo>
                  <a:pt x="48" y="180"/>
                </a:lnTo>
                <a:lnTo>
                  <a:pt x="48" y="180"/>
                </a:lnTo>
                <a:lnTo>
                  <a:pt x="48" y="180"/>
                </a:lnTo>
                <a:lnTo>
                  <a:pt x="48" y="180"/>
                </a:lnTo>
                <a:lnTo>
                  <a:pt x="48" y="180"/>
                </a:lnTo>
                <a:lnTo>
                  <a:pt x="48" y="180"/>
                </a:lnTo>
                <a:lnTo>
                  <a:pt x="42" y="180"/>
                </a:lnTo>
                <a:lnTo>
                  <a:pt x="42" y="186"/>
                </a:lnTo>
                <a:lnTo>
                  <a:pt x="42" y="180"/>
                </a:lnTo>
                <a:lnTo>
                  <a:pt x="42" y="180"/>
                </a:lnTo>
                <a:lnTo>
                  <a:pt x="42" y="180"/>
                </a:lnTo>
                <a:lnTo>
                  <a:pt x="42" y="180"/>
                </a:lnTo>
                <a:lnTo>
                  <a:pt x="42" y="180"/>
                </a:lnTo>
                <a:lnTo>
                  <a:pt x="42" y="180"/>
                </a:lnTo>
                <a:lnTo>
                  <a:pt x="42" y="180"/>
                </a:lnTo>
                <a:lnTo>
                  <a:pt x="42" y="180"/>
                </a:lnTo>
                <a:lnTo>
                  <a:pt x="42" y="180"/>
                </a:lnTo>
                <a:lnTo>
                  <a:pt x="42" y="180"/>
                </a:lnTo>
                <a:lnTo>
                  <a:pt x="42" y="180"/>
                </a:lnTo>
                <a:lnTo>
                  <a:pt x="42" y="180"/>
                </a:lnTo>
                <a:lnTo>
                  <a:pt x="42" y="180"/>
                </a:lnTo>
                <a:lnTo>
                  <a:pt x="42" y="180"/>
                </a:lnTo>
                <a:lnTo>
                  <a:pt x="42" y="180"/>
                </a:lnTo>
                <a:lnTo>
                  <a:pt x="36" y="180"/>
                </a:lnTo>
                <a:lnTo>
                  <a:pt x="42" y="180"/>
                </a:lnTo>
                <a:lnTo>
                  <a:pt x="36" y="180"/>
                </a:lnTo>
                <a:lnTo>
                  <a:pt x="36" y="180"/>
                </a:lnTo>
                <a:lnTo>
                  <a:pt x="36" y="180"/>
                </a:lnTo>
                <a:lnTo>
                  <a:pt x="36" y="180"/>
                </a:lnTo>
                <a:lnTo>
                  <a:pt x="36" y="180"/>
                </a:lnTo>
                <a:lnTo>
                  <a:pt x="36" y="180"/>
                </a:lnTo>
                <a:lnTo>
                  <a:pt x="36" y="180"/>
                </a:lnTo>
                <a:lnTo>
                  <a:pt x="36" y="180"/>
                </a:lnTo>
                <a:lnTo>
                  <a:pt x="36" y="180"/>
                </a:lnTo>
                <a:lnTo>
                  <a:pt x="36" y="180"/>
                </a:lnTo>
                <a:lnTo>
                  <a:pt x="36" y="180"/>
                </a:lnTo>
                <a:lnTo>
                  <a:pt x="36" y="180"/>
                </a:lnTo>
                <a:lnTo>
                  <a:pt x="30" y="180"/>
                </a:lnTo>
                <a:lnTo>
                  <a:pt x="30" y="174"/>
                </a:lnTo>
                <a:lnTo>
                  <a:pt x="24" y="180"/>
                </a:lnTo>
                <a:lnTo>
                  <a:pt x="24" y="174"/>
                </a:lnTo>
                <a:lnTo>
                  <a:pt x="18" y="180"/>
                </a:lnTo>
                <a:lnTo>
                  <a:pt x="12" y="180"/>
                </a:lnTo>
                <a:lnTo>
                  <a:pt x="6" y="174"/>
                </a:lnTo>
                <a:lnTo>
                  <a:pt x="6" y="174"/>
                </a:lnTo>
                <a:lnTo>
                  <a:pt x="6" y="174"/>
                </a:lnTo>
                <a:lnTo>
                  <a:pt x="6" y="174"/>
                </a:lnTo>
                <a:lnTo>
                  <a:pt x="6" y="168"/>
                </a:lnTo>
                <a:lnTo>
                  <a:pt x="6" y="168"/>
                </a:lnTo>
                <a:lnTo>
                  <a:pt x="12" y="168"/>
                </a:lnTo>
                <a:lnTo>
                  <a:pt x="6" y="162"/>
                </a:lnTo>
                <a:lnTo>
                  <a:pt x="6" y="162"/>
                </a:lnTo>
                <a:lnTo>
                  <a:pt x="6" y="162"/>
                </a:lnTo>
                <a:lnTo>
                  <a:pt x="6" y="162"/>
                </a:lnTo>
                <a:lnTo>
                  <a:pt x="0" y="162"/>
                </a:lnTo>
                <a:lnTo>
                  <a:pt x="0" y="15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55" name="Freeform 88"/>
          <p:cNvSpPr>
            <a:spLocks/>
          </p:cNvSpPr>
          <p:nvPr/>
        </p:nvSpPr>
        <p:spPr bwMode="auto">
          <a:xfrm>
            <a:off x="7275841" y="2252744"/>
            <a:ext cx="321202" cy="289084"/>
          </a:xfrm>
          <a:custGeom>
            <a:avLst/>
            <a:gdLst>
              <a:gd name="T0" fmla="*/ 6 w 300"/>
              <a:gd name="T1" fmla="*/ 252 h 270"/>
              <a:gd name="T2" fmla="*/ 6 w 300"/>
              <a:gd name="T3" fmla="*/ 240 h 270"/>
              <a:gd name="T4" fmla="*/ 12 w 300"/>
              <a:gd name="T5" fmla="*/ 228 h 270"/>
              <a:gd name="T6" fmla="*/ 12 w 300"/>
              <a:gd name="T7" fmla="*/ 222 h 270"/>
              <a:gd name="T8" fmla="*/ 12 w 300"/>
              <a:gd name="T9" fmla="*/ 210 h 270"/>
              <a:gd name="T10" fmla="*/ 12 w 300"/>
              <a:gd name="T11" fmla="*/ 204 h 270"/>
              <a:gd name="T12" fmla="*/ 18 w 300"/>
              <a:gd name="T13" fmla="*/ 198 h 270"/>
              <a:gd name="T14" fmla="*/ 18 w 300"/>
              <a:gd name="T15" fmla="*/ 192 h 270"/>
              <a:gd name="T16" fmla="*/ 18 w 300"/>
              <a:gd name="T17" fmla="*/ 180 h 270"/>
              <a:gd name="T18" fmla="*/ 18 w 300"/>
              <a:gd name="T19" fmla="*/ 174 h 270"/>
              <a:gd name="T20" fmla="*/ 18 w 300"/>
              <a:gd name="T21" fmla="*/ 168 h 270"/>
              <a:gd name="T22" fmla="*/ 18 w 300"/>
              <a:gd name="T23" fmla="*/ 162 h 270"/>
              <a:gd name="T24" fmla="*/ 30 w 300"/>
              <a:gd name="T25" fmla="*/ 162 h 270"/>
              <a:gd name="T26" fmla="*/ 30 w 300"/>
              <a:gd name="T27" fmla="*/ 168 h 270"/>
              <a:gd name="T28" fmla="*/ 30 w 300"/>
              <a:gd name="T29" fmla="*/ 168 h 270"/>
              <a:gd name="T30" fmla="*/ 36 w 300"/>
              <a:gd name="T31" fmla="*/ 168 h 270"/>
              <a:gd name="T32" fmla="*/ 42 w 300"/>
              <a:gd name="T33" fmla="*/ 168 h 270"/>
              <a:gd name="T34" fmla="*/ 48 w 300"/>
              <a:gd name="T35" fmla="*/ 162 h 270"/>
              <a:gd name="T36" fmla="*/ 60 w 300"/>
              <a:gd name="T37" fmla="*/ 156 h 270"/>
              <a:gd name="T38" fmla="*/ 96 w 300"/>
              <a:gd name="T39" fmla="*/ 120 h 270"/>
              <a:gd name="T40" fmla="*/ 102 w 300"/>
              <a:gd name="T41" fmla="*/ 108 h 270"/>
              <a:gd name="T42" fmla="*/ 108 w 300"/>
              <a:gd name="T43" fmla="*/ 102 h 270"/>
              <a:gd name="T44" fmla="*/ 120 w 300"/>
              <a:gd name="T45" fmla="*/ 90 h 270"/>
              <a:gd name="T46" fmla="*/ 132 w 300"/>
              <a:gd name="T47" fmla="*/ 84 h 270"/>
              <a:gd name="T48" fmla="*/ 138 w 300"/>
              <a:gd name="T49" fmla="*/ 72 h 270"/>
              <a:gd name="T50" fmla="*/ 138 w 300"/>
              <a:gd name="T51" fmla="*/ 66 h 270"/>
              <a:gd name="T52" fmla="*/ 138 w 300"/>
              <a:gd name="T53" fmla="*/ 42 h 270"/>
              <a:gd name="T54" fmla="*/ 144 w 300"/>
              <a:gd name="T55" fmla="*/ 36 h 270"/>
              <a:gd name="T56" fmla="*/ 144 w 300"/>
              <a:gd name="T57" fmla="*/ 30 h 270"/>
              <a:gd name="T58" fmla="*/ 144 w 300"/>
              <a:gd name="T59" fmla="*/ 24 h 270"/>
              <a:gd name="T60" fmla="*/ 150 w 300"/>
              <a:gd name="T61" fmla="*/ 18 h 270"/>
              <a:gd name="T62" fmla="*/ 150 w 300"/>
              <a:gd name="T63" fmla="*/ 12 h 270"/>
              <a:gd name="T64" fmla="*/ 144 w 300"/>
              <a:gd name="T65" fmla="*/ 6 h 270"/>
              <a:gd name="T66" fmla="*/ 204 w 300"/>
              <a:gd name="T67" fmla="*/ 18 h 270"/>
              <a:gd name="T68" fmla="*/ 276 w 300"/>
              <a:gd name="T69" fmla="*/ 6 h 270"/>
              <a:gd name="T70" fmla="*/ 276 w 300"/>
              <a:gd name="T71" fmla="*/ 6 h 270"/>
              <a:gd name="T72" fmla="*/ 276 w 300"/>
              <a:gd name="T73" fmla="*/ 0 h 270"/>
              <a:gd name="T74" fmla="*/ 282 w 300"/>
              <a:gd name="T75" fmla="*/ 72 h 270"/>
              <a:gd name="T76" fmla="*/ 282 w 300"/>
              <a:gd name="T77" fmla="*/ 156 h 270"/>
              <a:gd name="T78" fmla="*/ 210 w 300"/>
              <a:gd name="T79" fmla="*/ 192 h 270"/>
              <a:gd name="T80" fmla="*/ 198 w 300"/>
              <a:gd name="T81" fmla="*/ 186 h 270"/>
              <a:gd name="T82" fmla="*/ 192 w 300"/>
              <a:gd name="T83" fmla="*/ 192 h 270"/>
              <a:gd name="T84" fmla="*/ 180 w 300"/>
              <a:gd name="T85" fmla="*/ 198 h 270"/>
              <a:gd name="T86" fmla="*/ 174 w 300"/>
              <a:gd name="T87" fmla="*/ 198 h 270"/>
              <a:gd name="T88" fmla="*/ 174 w 300"/>
              <a:gd name="T89" fmla="*/ 186 h 270"/>
              <a:gd name="T90" fmla="*/ 174 w 300"/>
              <a:gd name="T91" fmla="*/ 174 h 270"/>
              <a:gd name="T92" fmla="*/ 174 w 300"/>
              <a:gd name="T93" fmla="*/ 174 h 270"/>
              <a:gd name="T94" fmla="*/ 174 w 300"/>
              <a:gd name="T95" fmla="*/ 168 h 270"/>
              <a:gd name="T96" fmla="*/ 168 w 300"/>
              <a:gd name="T97" fmla="*/ 168 h 270"/>
              <a:gd name="T98" fmla="*/ 144 w 300"/>
              <a:gd name="T99" fmla="*/ 186 h 270"/>
              <a:gd name="T100" fmla="*/ 144 w 300"/>
              <a:gd name="T101" fmla="*/ 192 h 270"/>
              <a:gd name="T102" fmla="*/ 138 w 300"/>
              <a:gd name="T103" fmla="*/ 198 h 270"/>
              <a:gd name="T104" fmla="*/ 138 w 300"/>
              <a:gd name="T105" fmla="*/ 204 h 270"/>
              <a:gd name="T106" fmla="*/ 132 w 300"/>
              <a:gd name="T107" fmla="*/ 204 h 270"/>
              <a:gd name="T108" fmla="*/ 72 w 300"/>
              <a:gd name="T109" fmla="*/ 258 h 270"/>
              <a:gd name="T110" fmla="*/ 54 w 300"/>
              <a:gd name="T111" fmla="*/ 258 h 270"/>
              <a:gd name="T112" fmla="*/ 48 w 300"/>
              <a:gd name="T113" fmla="*/ 240 h 270"/>
              <a:gd name="T114" fmla="*/ 30 w 300"/>
              <a:gd name="T115" fmla="*/ 246 h 270"/>
              <a:gd name="T116" fmla="*/ 30 w 300"/>
              <a:gd name="T117" fmla="*/ 252 h 270"/>
              <a:gd name="T118" fmla="*/ 6 w 300"/>
              <a:gd name="T119" fmla="*/ 258 h 2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00" h="270">
                <a:moveTo>
                  <a:pt x="0" y="264"/>
                </a:moveTo>
                <a:lnTo>
                  <a:pt x="0" y="258"/>
                </a:lnTo>
                <a:lnTo>
                  <a:pt x="0" y="252"/>
                </a:lnTo>
                <a:lnTo>
                  <a:pt x="0" y="252"/>
                </a:lnTo>
                <a:lnTo>
                  <a:pt x="0" y="252"/>
                </a:lnTo>
                <a:lnTo>
                  <a:pt x="6" y="252"/>
                </a:lnTo>
                <a:lnTo>
                  <a:pt x="6" y="252"/>
                </a:lnTo>
                <a:lnTo>
                  <a:pt x="6" y="252"/>
                </a:lnTo>
                <a:lnTo>
                  <a:pt x="6" y="246"/>
                </a:lnTo>
                <a:lnTo>
                  <a:pt x="6" y="246"/>
                </a:lnTo>
                <a:lnTo>
                  <a:pt x="6" y="246"/>
                </a:lnTo>
                <a:lnTo>
                  <a:pt x="6" y="240"/>
                </a:lnTo>
                <a:lnTo>
                  <a:pt x="12" y="240"/>
                </a:lnTo>
                <a:lnTo>
                  <a:pt x="12" y="234"/>
                </a:lnTo>
                <a:lnTo>
                  <a:pt x="12" y="234"/>
                </a:lnTo>
                <a:lnTo>
                  <a:pt x="12" y="234"/>
                </a:lnTo>
                <a:lnTo>
                  <a:pt x="12" y="234"/>
                </a:lnTo>
                <a:lnTo>
                  <a:pt x="12" y="228"/>
                </a:lnTo>
                <a:lnTo>
                  <a:pt x="12" y="228"/>
                </a:lnTo>
                <a:lnTo>
                  <a:pt x="12" y="228"/>
                </a:lnTo>
                <a:lnTo>
                  <a:pt x="12" y="228"/>
                </a:lnTo>
                <a:lnTo>
                  <a:pt x="12" y="228"/>
                </a:lnTo>
                <a:lnTo>
                  <a:pt x="12" y="222"/>
                </a:lnTo>
                <a:lnTo>
                  <a:pt x="12" y="222"/>
                </a:lnTo>
                <a:lnTo>
                  <a:pt x="12" y="222"/>
                </a:lnTo>
                <a:lnTo>
                  <a:pt x="12" y="216"/>
                </a:lnTo>
                <a:lnTo>
                  <a:pt x="12" y="216"/>
                </a:lnTo>
                <a:lnTo>
                  <a:pt x="12" y="216"/>
                </a:lnTo>
                <a:lnTo>
                  <a:pt x="12" y="216"/>
                </a:lnTo>
                <a:lnTo>
                  <a:pt x="12" y="210"/>
                </a:lnTo>
                <a:lnTo>
                  <a:pt x="12" y="210"/>
                </a:lnTo>
                <a:lnTo>
                  <a:pt x="12" y="210"/>
                </a:lnTo>
                <a:lnTo>
                  <a:pt x="12" y="210"/>
                </a:lnTo>
                <a:lnTo>
                  <a:pt x="12" y="210"/>
                </a:lnTo>
                <a:lnTo>
                  <a:pt x="12" y="210"/>
                </a:lnTo>
                <a:lnTo>
                  <a:pt x="12" y="204"/>
                </a:lnTo>
                <a:lnTo>
                  <a:pt x="12" y="204"/>
                </a:lnTo>
                <a:lnTo>
                  <a:pt x="12" y="204"/>
                </a:lnTo>
                <a:lnTo>
                  <a:pt x="18" y="204"/>
                </a:lnTo>
                <a:lnTo>
                  <a:pt x="18" y="198"/>
                </a:lnTo>
                <a:lnTo>
                  <a:pt x="18" y="198"/>
                </a:lnTo>
                <a:lnTo>
                  <a:pt x="18" y="198"/>
                </a:lnTo>
                <a:lnTo>
                  <a:pt x="18" y="198"/>
                </a:lnTo>
                <a:lnTo>
                  <a:pt x="18" y="192"/>
                </a:lnTo>
                <a:lnTo>
                  <a:pt x="18" y="192"/>
                </a:lnTo>
                <a:lnTo>
                  <a:pt x="18" y="192"/>
                </a:lnTo>
                <a:lnTo>
                  <a:pt x="18" y="192"/>
                </a:lnTo>
                <a:lnTo>
                  <a:pt x="18" y="192"/>
                </a:lnTo>
                <a:lnTo>
                  <a:pt x="18" y="192"/>
                </a:lnTo>
                <a:lnTo>
                  <a:pt x="18" y="186"/>
                </a:lnTo>
                <a:lnTo>
                  <a:pt x="18" y="186"/>
                </a:lnTo>
                <a:lnTo>
                  <a:pt x="18" y="180"/>
                </a:lnTo>
                <a:lnTo>
                  <a:pt x="18" y="180"/>
                </a:lnTo>
                <a:lnTo>
                  <a:pt x="18" y="180"/>
                </a:lnTo>
                <a:lnTo>
                  <a:pt x="18" y="180"/>
                </a:lnTo>
                <a:lnTo>
                  <a:pt x="18" y="180"/>
                </a:lnTo>
                <a:lnTo>
                  <a:pt x="18" y="180"/>
                </a:lnTo>
                <a:lnTo>
                  <a:pt x="18" y="174"/>
                </a:lnTo>
                <a:lnTo>
                  <a:pt x="18" y="174"/>
                </a:lnTo>
                <a:lnTo>
                  <a:pt x="18" y="174"/>
                </a:lnTo>
                <a:lnTo>
                  <a:pt x="18" y="174"/>
                </a:lnTo>
                <a:lnTo>
                  <a:pt x="18" y="174"/>
                </a:lnTo>
                <a:lnTo>
                  <a:pt x="12" y="174"/>
                </a:lnTo>
                <a:lnTo>
                  <a:pt x="12" y="174"/>
                </a:lnTo>
                <a:lnTo>
                  <a:pt x="12" y="168"/>
                </a:lnTo>
                <a:lnTo>
                  <a:pt x="18" y="168"/>
                </a:lnTo>
                <a:lnTo>
                  <a:pt x="18" y="168"/>
                </a:lnTo>
                <a:lnTo>
                  <a:pt x="18" y="168"/>
                </a:lnTo>
                <a:lnTo>
                  <a:pt x="18" y="168"/>
                </a:lnTo>
                <a:lnTo>
                  <a:pt x="18" y="162"/>
                </a:lnTo>
                <a:lnTo>
                  <a:pt x="18" y="162"/>
                </a:lnTo>
                <a:lnTo>
                  <a:pt x="18" y="162"/>
                </a:lnTo>
                <a:lnTo>
                  <a:pt x="24" y="162"/>
                </a:lnTo>
                <a:lnTo>
                  <a:pt x="24" y="162"/>
                </a:lnTo>
                <a:lnTo>
                  <a:pt x="24" y="162"/>
                </a:lnTo>
                <a:lnTo>
                  <a:pt x="24" y="162"/>
                </a:lnTo>
                <a:lnTo>
                  <a:pt x="24" y="162"/>
                </a:lnTo>
                <a:lnTo>
                  <a:pt x="30" y="162"/>
                </a:lnTo>
                <a:lnTo>
                  <a:pt x="30" y="162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36" y="168"/>
                </a:lnTo>
                <a:lnTo>
                  <a:pt x="36" y="168"/>
                </a:lnTo>
                <a:lnTo>
                  <a:pt x="36" y="168"/>
                </a:lnTo>
                <a:lnTo>
                  <a:pt x="36" y="168"/>
                </a:lnTo>
                <a:lnTo>
                  <a:pt x="36" y="168"/>
                </a:lnTo>
                <a:lnTo>
                  <a:pt x="36" y="168"/>
                </a:lnTo>
                <a:lnTo>
                  <a:pt x="42" y="168"/>
                </a:lnTo>
                <a:lnTo>
                  <a:pt x="42" y="162"/>
                </a:lnTo>
                <a:lnTo>
                  <a:pt x="48" y="162"/>
                </a:lnTo>
                <a:lnTo>
                  <a:pt x="48" y="162"/>
                </a:lnTo>
                <a:lnTo>
                  <a:pt x="48" y="162"/>
                </a:lnTo>
                <a:lnTo>
                  <a:pt x="48" y="162"/>
                </a:lnTo>
                <a:lnTo>
                  <a:pt x="48" y="162"/>
                </a:lnTo>
                <a:lnTo>
                  <a:pt x="54" y="162"/>
                </a:lnTo>
                <a:lnTo>
                  <a:pt x="54" y="162"/>
                </a:lnTo>
                <a:lnTo>
                  <a:pt x="60" y="162"/>
                </a:lnTo>
                <a:lnTo>
                  <a:pt x="54" y="156"/>
                </a:lnTo>
                <a:lnTo>
                  <a:pt x="60" y="156"/>
                </a:lnTo>
                <a:lnTo>
                  <a:pt x="60" y="156"/>
                </a:lnTo>
                <a:lnTo>
                  <a:pt x="72" y="156"/>
                </a:lnTo>
                <a:lnTo>
                  <a:pt x="60" y="120"/>
                </a:lnTo>
                <a:lnTo>
                  <a:pt x="84" y="132"/>
                </a:lnTo>
                <a:lnTo>
                  <a:pt x="90" y="126"/>
                </a:lnTo>
                <a:lnTo>
                  <a:pt x="90" y="120"/>
                </a:lnTo>
                <a:lnTo>
                  <a:pt x="96" y="120"/>
                </a:lnTo>
                <a:lnTo>
                  <a:pt x="96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14" y="96"/>
                </a:lnTo>
                <a:lnTo>
                  <a:pt x="114" y="96"/>
                </a:lnTo>
                <a:lnTo>
                  <a:pt x="114" y="96"/>
                </a:lnTo>
                <a:lnTo>
                  <a:pt x="114" y="96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6" y="90"/>
                </a:lnTo>
                <a:lnTo>
                  <a:pt x="126" y="84"/>
                </a:lnTo>
                <a:lnTo>
                  <a:pt x="126" y="84"/>
                </a:lnTo>
                <a:lnTo>
                  <a:pt x="132" y="84"/>
                </a:lnTo>
                <a:lnTo>
                  <a:pt x="132" y="84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66"/>
                </a:lnTo>
                <a:lnTo>
                  <a:pt x="138" y="66"/>
                </a:lnTo>
                <a:lnTo>
                  <a:pt x="138" y="66"/>
                </a:lnTo>
                <a:lnTo>
                  <a:pt x="138" y="66"/>
                </a:lnTo>
                <a:lnTo>
                  <a:pt x="138" y="54"/>
                </a:lnTo>
                <a:lnTo>
                  <a:pt x="138" y="54"/>
                </a:lnTo>
                <a:lnTo>
                  <a:pt x="138" y="48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36"/>
                </a:lnTo>
                <a:lnTo>
                  <a:pt x="138" y="36"/>
                </a:lnTo>
                <a:lnTo>
                  <a:pt x="144" y="36"/>
                </a:lnTo>
                <a:lnTo>
                  <a:pt x="144" y="36"/>
                </a:lnTo>
                <a:lnTo>
                  <a:pt x="144" y="36"/>
                </a:lnTo>
                <a:lnTo>
                  <a:pt x="144" y="36"/>
                </a:lnTo>
                <a:lnTo>
                  <a:pt x="144" y="36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44" y="12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0"/>
                </a:lnTo>
                <a:lnTo>
                  <a:pt x="144" y="0"/>
                </a:lnTo>
                <a:lnTo>
                  <a:pt x="204" y="30"/>
                </a:lnTo>
                <a:lnTo>
                  <a:pt x="204" y="18"/>
                </a:lnTo>
                <a:lnTo>
                  <a:pt x="240" y="18"/>
                </a:lnTo>
                <a:lnTo>
                  <a:pt x="246" y="18"/>
                </a:lnTo>
                <a:lnTo>
                  <a:pt x="252" y="18"/>
                </a:lnTo>
                <a:lnTo>
                  <a:pt x="264" y="18"/>
                </a:lnTo>
                <a:lnTo>
                  <a:pt x="270" y="6"/>
                </a:lnTo>
                <a:lnTo>
                  <a:pt x="276" y="6"/>
                </a:lnTo>
                <a:lnTo>
                  <a:pt x="276" y="6"/>
                </a:lnTo>
                <a:lnTo>
                  <a:pt x="276" y="6"/>
                </a:lnTo>
                <a:lnTo>
                  <a:pt x="276" y="6"/>
                </a:lnTo>
                <a:lnTo>
                  <a:pt x="276" y="6"/>
                </a:lnTo>
                <a:lnTo>
                  <a:pt x="276" y="6"/>
                </a:lnTo>
                <a:lnTo>
                  <a:pt x="276" y="6"/>
                </a:lnTo>
                <a:lnTo>
                  <a:pt x="276" y="6"/>
                </a:lnTo>
                <a:lnTo>
                  <a:pt x="276" y="6"/>
                </a:lnTo>
                <a:lnTo>
                  <a:pt x="276" y="6"/>
                </a:lnTo>
                <a:lnTo>
                  <a:pt x="276" y="6"/>
                </a:lnTo>
                <a:lnTo>
                  <a:pt x="282" y="6"/>
                </a:lnTo>
                <a:lnTo>
                  <a:pt x="276" y="0"/>
                </a:lnTo>
                <a:lnTo>
                  <a:pt x="276" y="0"/>
                </a:lnTo>
                <a:lnTo>
                  <a:pt x="300" y="0"/>
                </a:lnTo>
                <a:lnTo>
                  <a:pt x="300" y="0"/>
                </a:lnTo>
                <a:lnTo>
                  <a:pt x="294" y="48"/>
                </a:lnTo>
                <a:lnTo>
                  <a:pt x="294" y="60"/>
                </a:lnTo>
                <a:lnTo>
                  <a:pt x="282" y="72"/>
                </a:lnTo>
                <a:lnTo>
                  <a:pt x="270" y="102"/>
                </a:lnTo>
                <a:lnTo>
                  <a:pt x="258" y="120"/>
                </a:lnTo>
                <a:lnTo>
                  <a:pt x="270" y="138"/>
                </a:lnTo>
                <a:lnTo>
                  <a:pt x="282" y="156"/>
                </a:lnTo>
                <a:lnTo>
                  <a:pt x="282" y="156"/>
                </a:lnTo>
                <a:lnTo>
                  <a:pt x="282" y="156"/>
                </a:lnTo>
                <a:lnTo>
                  <a:pt x="282" y="156"/>
                </a:lnTo>
                <a:lnTo>
                  <a:pt x="246" y="174"/>
                </a:lnTo>
                <a:lnTo>
                  <a:pt x="228" y="186"/>
                </a:lnTo>
                <a:lnTo>
                  <a:pt x="216" y="192"/>
                </a:lnTo>
                <a:lnTo>
                  <a:pt x="210" y="192"/>
                </a:lnTo>
                <a:lnTo>
                  <a:pt x="210" y="192"/>
                </a:lnTo>
                <a:lnTo>
                  <a:pt x="210" y="192"/>
                </a:lnTo>
                <a:lnTo>
                  <a:pt x="204" y="192"/>
                </a:lnTo>
                <a:lnTo>
                  <a:pt x="204" y="192"/>
                </a:lnTo>
                <a:lnTo>
                  <a:pt x="198" y="192"/>
                </a:lnTo>
                <a:lnTo>
                  <a:pt x="198" y="192"/>
                </a:lnTo>
                <a:lnTo>
                  <a:pt x="198" y="186"/>
                </a:lnTo>
                <a:lnTo>
                  <a:pt x="198" y="192"/>
                </a:lnTo>
                <a:lnTo>
                  <a:pt x="192" y="192"/>
                </a:lnTo>
                <a:lnTo>
                  <a:pt x="192" y="192"/>
                </a:lnTo>
                <a:lnTo>
                  <a:pt x="192" y="192"/>
                </a:lnTo>
                <a:lnTo>
                  <a:pt x="192" y="192"/>
                </a:lnTo>
                <a:lnTo>
                  <a:pt x="192" y="192"/>
                </a:lnTo>
                <a:lnTo>
                  <a:pt x="192" y="192"/>
                </a:lnTo>
                <a:lnTo>
                  <a:pt x="186" y="192"/>
                </a:lnTo>
                <a:lnTo>
                  <a:pt x="186" y="192"/>
                </a:lnTo>
                <a:lnTo>
                  <a:pt x="186" y="192"/>
                </a:lnTo>
                <a:lnTo>
                  <a:pt x="180" y="198"/>
                </a:lnTo>
                <a:lnTo>
                  <a:pt x="180" y="198"/>
                </a:lnTo>
                <a:lnTo>
                  <a:pt x="180" y="198"/>
                </a:lnTo>
                <a:lnTo>
                  <a:pt x="174" y="198"/>
                </a:lnTo>
                <a:lnTo>
                  <a:pt x="174" y="198"/>
                </a:lnTo>
                <a:lnTo>
                  <a:pt x="174" y="198"/>
                </a:lnTo>
                <a:lnTo>
                  <a:pt x="174" y="198"/>
                </a:lnTo>
                <a:lnTo>
                  <a:pt x="174" y="198"/>
                </a:lnTo>
                <a:lnTo>
                  <a:pt x="174" y="198"/>
                </a:lnTo>
                <a:lnTo>
                  <a:pt x="174" y="192"/>
                </a:lnTo>
                <a:lnTo>
                  <a:pt x="174" y="192"/>
                </a:lnTo>
                <a:lnTo>
                  <a:pt x="174" y="192"/>
                </a:lnTo>
                <a:lnTo>
                  <a:pt x="174" y="192"/>
                </a:lnTo>
                <a:lnTo>
                  <a:pt x="174" y="186"/>
                </a:lnTo>
                <a:lnTo>
                  <a:pt x="174" y="186"/>
                </a:lnTo>
                <a:lnTo>
                  <a:pt x="174" y="180"/>
                </a:lnTo>
                <a:lnTo>
                  <a:pt x="174" y="180"/>
                </a:lnTo>
                <a:lnTo>
                  <a:pt x="174" y="180"/>
                </a:lnTo>
                <a:lnTo>
                  <a:pt x="174" y="174"/>
                </a:lnTo>
                <a:lnTo>
                  <a:pt x="174" y="174"/>
                </a:lnTo>
                <a:lnTo>
                  <a:pt x="174" y="174"/>
                </a:lnTo>
                <a:lnTo>
                  <a:pt x="174" y="174"/>
                </a:lnTo>
                <a:lnTo>
                  <a:pt x="174" y="174"/>
                </a:lnTo>
                <a:lnTo>
                  <a:pt x="174" y="174"/>
                </a:lnTo>
                <a:lnTo>
                  <a:pt x="174" y="174"/>
                </a:lnTo>
                <a:lnTo>
                  <a:pt x="174" y="174"/>
                </a:lnTo>
                <a:lnTo>
                  <a:pt x="174" y="174"/>
                </a:lnTo>
                <a:lnTo>
                  <a:pt x="174" y="168"/>
                </a:lnTo>
                <a:lnTo>
                  <a:pt x="174" y="168"/>
                </a:lnTo>
                <a:lnTo>
                  <a:pt x="174" y="168"/>
                </a:lnTo>
                <a:lnTo>
                  <a:pt x="174" y="168"/>
                </a:lnTo>
                <a:lnTo>
                  <a:pt x="174" y="168"/>
                </a:lnTo>
                <a:lnTo>
                  <a:pt x="174" y="168"/>
                </a:lnTo>
                <a:lnTo>
                  <a:pt x="174" y="168"/>
                </a:lnTo>
                <a:lnTo>
                  <a:pt x="174" y="168"/>
                </a:lnTo>
                <a:lnTo>
                  <a:pt x="174" y="168"/>
                </a:lnTo>
                <a:lnTo>
                  <a:pt x="174" y="168"/>
                </a:lnTo>
                <a:lnTo>
                  <a:pt x="168" y="168"/>
                </a:lnTo>
                <a:lnTo>
                  <a:pt x="168" y="174"/>
                </a:lnTo>
                <a:lnTo>
                  <a:pt x="150" y="186"/>
                </a:lnTo>
                <a:lnTo>
                  <a:pt x="150" y="180"/>
                </a:lnTo>
                <a:lnTo>
                  <a:pt x="144" y="180"/>
                </a:lnTo>
                <a:lnTo>
                  <a:pt x="144" y="180"/>
                </a:lnTo>
                <a:lnTo>
                  <a:pt x="144" y="186"/>
                </a:lnTo>
                <a:lnTo>
                  <a:pt x="144" y="186"/>
                </a:lnTo>
                <a:lnTo>
                  <a:pt x="144" y="186"/>
                </a:lnTo>
                <a:lnTo>
                  <a:pt x="144" y="186"/>
                </a:lnTo>
                <a:lnTo>
                  <a:pt x="144" y="186"/>
                </a:lnTo>
                <a:lnTo>
                  <a:pt x="144" y="186"/>
                </a:lnTo>
                <a:lnTo>
                  <a:pt x="144" y="192"/>
                </a:lnTo>
                <a:lnTo>
                  <a:pt x="144" y="192"/>
                </a:lnTo>
                <a:lnTo>
                  <a:pt x="144" y="192"/>
                </a:lnTo>
                <a:lnTo>
                  <a:pt x="144" y="192"/>
                </a:lnTo>
                <a:lnTo>
                  <a:pt x="144" y="198"/>
                </a:lnTo>
                <a:lnTo>
                  <a:pt x="144" y="198"/>
                </a:lnTo>
                <a:lnTo>
                  <a:pt x="138" y="198"/>
                </a:lnTo>
                <a:lnTo>
                  <a:pt x="144" y="198"/>
                </a:lnTo>
                <a:lnTo>
                  <a:pt x="138" y="198"/>
                </a:lnTo>
                <a:lnTo>
                  <a:pt x="138" y="198"/>
                </a:lnTo>
                <a:lnTo>
                  <a:pt x="138" y="198"/>
                </a:lnTo>
                <a:lnTo>
                  <a:pt x="138" y="198"/>
                </a:lnTo>
                <a:lnTo>
                  <a:pt x="138" y="204"/>
                </a:lnTo>
                <a:lnTo>
                  <a:pt x="138" y="204"/>
                </a:lnTo>
                <a:lnTo>
                  <a:pt x="138" y="204"/>
                </a:lnTo>
                <a:lnTo>
                  <a:pt x="132" y="204"/>
                </a:lnTo>
                <a:lnTo>
                  <a:pt x="132" y="204"/>
                </a:lnTo>
                <a:lnTo>
                  <a:pt x="132" y="204"/>
                </a:lnTo>
                <a:lnTo>
                  <a:pt x="132" y="204"/>
                </a:lnTo>
                <a:lnTo>
                  <a:pt x="120" y="222"/>
                </a:lnTo>
                <a:lnTo>
                  <a:pt x="120" y="228"/>
                </a:lnTo>
                <a:lnTo>
                  <a:pt x="108" y="246"/>
                </a:lnTo>
                <a:lnTo>
                  <a:pt x="102" y="246"/>
                </a:lnTo>
                <a:lnTo>
                  <a:pt x="90" y="252"/>
                </a:lnTo>
                <a:lnTo>
                  <a:pt x="72" y="258"/>
                </a:lnTo>
                <a:lnTo>
                  <a:pt x="60" y="270"/>
                </a:lnTo>
                <a:lnTo>
                  <a:pt x="54" y="264"/>
                </a:lnTo>
                <a:lnTo>
                  <a:pt x="54" y="264"/>
                </a:lnTo>
                <a:lnTo>
                  <a:pt x="54" y="258"/>
                </a:lnTo>
                <a:lnTo>
                  <a:pt x="54" y="258"/>
                </a:lnTo>
                <a:lnTo>
                  <a:pt x="54" y="258"/>
                </a:lnTo>
                <a:lnTo>
                  <a:pt x="48" y="252"/>
                </a:lnTo>
                <a:lnTo>
                  <a:pt x="48" y="252"/>
                </a:lnTo>
                <a:lnTo>
                  <a:pt x="48" y="246"/>
                </a:lnTo>
                <a:lnTo>
                  <a:pt x="48" y="246"/>
                </a:lnTo>
                <a:lnTo>
                  <a:pt x="48" y="246"/>
                </a:lnTo>
                <a:lnTo>
                  <a:pt x="48" y="240"/>
                </a:lnTo>
                <a:lnTo>
                  <a:pt x="48" y="240"/>
                </a:lnTo>
                <a:lnTo>
                  <a:pt x="42" y="246"/>
                </a:lnTo>
                <a:lnTo>
                  <a:pt x="42" y="246"/>
                </a:lnTo>
                <a:lnTo>
                  <a:pt x="36" y="246"/>
                </a:lnTo>
                <a:lnTo>
                  <a:pt x="36" y="246"/>
                </a:lnTo>
                <a:lnTo>
                  <a:pt x="30" y="246"/>
                </a:lnTo>
                <a:lnTo>
                  <a:pt x="30" y="246"/>
                </a:lnTo>
                <a:lnTo>
                  <a:pt x="30" y="246"/>
                </a:lnTo>
                <a:lnTo>
                  <a:pt x="30" y="246"/>
                </a:lnTo>
                <a:lnTo>
                  <a:pt x="30" y="252"/>
                </a:lnTo>
                <a:lnTo>
                  <a:pt x="30" y="252"/>
                </a:lnTo>
                <a:lnTo>
                  <a:pt x="30" y="252"/>
                </a:lnTo>
                <a:lnTo>
                  <a:pt x="30" y="258"/>
                </a:lnTo>
                <a:lnTo>
                  <a:pt x="30" y="258"/>
                </a:lnTo>
                <a:lnTo>
                  <a:pt x="18" y="264"/>
                </a:lnTo>
                <a:lnTo>
                  <a:pt x="12" y="264"/>
                </a:lnTo>
                <a:lnTo>
                  <a:pt x="12" y="258"/>
                </a:lnTo>
                <a:lnTo>
                  <a:pt x="6" y="258"/>
                </a:lnTo>
                <a:lnTo>
                  <a:pt x="0" y="264"/>
                </a:lnTo>
                <a:lnTo>
                  <a:pt x="0" y="26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56" name="Freeform 89"/>
          <p:cNvSpPr>
            <a:spLocks/>
          </p:cNvSpPr>
          <p:nvPr/>
        </p:nvSpPr>
        <p:spPr bwMode="auto">
          <a:xfrm>
            <a:off x="7552076" y="2169231"/>
            <a:ext cx="359747" cy="276236"/>
          </a:xfrm>
          <a:custGeom>
            <a:avLst/>
            <a:gdLst>
              <a:gd name="T0" fmla="*/ 36 w 336"/>
              <a:gd name="T1" fmla="*/ 126 h 258"/>
              <a:gd name="T2" fmla="*/ 72 w 336"/>
              <a:gd name="T3" fmla="*/ 48 h 258"/>
              <a:gd name="T4" fmla="*/ 120 w 336"/>
              <a:gd name="T5" fmla="*/ 36 h 258"/>
              <a:gd name="T6" fmla="*/ 168 w 336"/>
              <a:gd name="T7" fmla="*/ 18 h 258"/>
              <a:gd name="T8" fmla="*/ 180 w 336"/>
              <a:gd name="T9" fmla="*/ 72 h 258"/>
              <a:gd name="T10" fmla="*/ 186 w 336"/>
              <a:gd name="T11" fmla="*/ 78 h 258"/>
              <a:gd name="T12" fmla="*/ 180 w 336"/>
              <a:gd name="T13" fmla="*/ 84 h 258"/>
              <a:gd name="T14" fmla="*/ 168 w 336"/>
              <a:gd name="T15" fmla="*/ 120 h 258"/>
              <a:gd name="T16" fmla="*/ 222 w 336"/>
              <a:gd name="T17" fmla="*/ 120 h 258"/>
              <a:gd name="T18" fmla="*/ 240 w 336"/>
              <a:gd name="T19" fmla="*/ 120 h 258"/>
              <a:gd name="T20" fmla="*/ 252 w 336"/>
              <a:gd name="T21" fmla="*/ 120 h 258"/>
              <a:gd name="T22" fmla="*/ 258 w 336"/>
              <a:gd name="T23" fmla="*/ 126 h 258"/>
              <a:gd name="T24" fmla="*/ 264 w 336"/>
              <a:gd name="T25" fmla="*/ 132 h 258"/>
              <a:gd name="T26" fmla="*/ 270 w 336"/>
              <a:gd name="T27" fmla="*/ 132 h 258"/>
              <a:gd name="T28" fmla="*/ 282 w 336"/>
              <a:gd name="T29" fmla="*/ 138 h 258"/>
              <a:gd name="T30" fmla="*/ 288 w 336"/>
              <a:gd name="T31" fmla="*/ 138 h 258"/>
              <a:gd name="T32" fmla="*/ 288 w 336"/>
              <a:gd name="T33" fmla="*/ 138 h 258"/>
              <a:gd name="T34" fmla="*/ 294 w 336"/>
              <a:gd name="T35" fmla="*/ 144 h 258"/>
              <a:gd name="T36" fmla="*/ 306 w 336"/>
              <a:gd name="T37" fmla="*/ 144 h 258"/>
              <a:gd name="T38" fmla="*/ 306 w 336"/>
              <a:gd name="T39" fmla="*/ 150 h 258"/>
              <a:gd name="T40" fmla="*/ 312 w 336"/>
              <a:gd name="T41" fmla="*/ 150 h 258"/>
              <a:gd name="T42" fmla="*/ 318 w 336"/>
              <a:gd name="T43" fmla="*/ 150 h 258"/>
              <a:gd name="T44" fmla="*/ 324 w 336"/>
              <a:gd name="T45" fmla="*/ 150 h 258"/>
              <a:gd name="T46" fmla="*/ 330 w 336"/>
              <a:gd name="T47" fmla="*/ 144 h 258"/>
              <a:gd name="T48" fmla="*/ 324 w 336"/>
              <a:gd name="T49" fmla="*/ 156 h 258"/>
              <a:gd name="T50" fmla="*/ 324 w 336"/>
              <a:gd name="T51" fmla="*/ 162 h 258"/>
              <a:gd name="T52" fmla="*/ 312 w 336"/>
              <a:gd name="T53" fmla="*/ 174 h 258"/>
              <a:gd name="T54" fmla="*/ 306 w 336"/>
              <a:gd name="T55" fmla="*/ 168 h 258"/>
              <a:gd name="T56" fmla="*/ 300 w 336"/>
              <a:gd name="T57" fmla="*/ 174 h 258"/>
              <a:gd name="T58" fmla="*/ 294 w 336"/>
              <a:gd name="T59" fmla="*/ 186 h 258"/>
              <a:gd name="T60" fmla="*/ 282 w 336"/>
              <a:gd name="T61" fmla="*/ 198 h 258"/>
              <a:gd name="T62" fmla="*/ 270 w 336"/>
              <a:gd name="T63" fmla="*/ 210 h 258"/>
              <a:gd name="T64" fmla="*/ 264 w 336"/>
              <a:gd name="T65" fmla="*/ 210 h 258"/>
              <a:gd name="T66" fmla="*/ 252 w 336"/>
              <a:gd name="T67" fmla="*/ 210 h 258"/>
              <a:gd name="T68" fmla="*/ 234 w 336"/>
              <a:gd name="T69" fmla="*/ 210 h 258"/>
              <a:gd name="T70" fmla="*/ 228 w 336"/>
              <a:gd name="T71" fmla="*/ 216 h 258"/>
              <a:gd name="T72" fmla="*/ 216 w 336"/>
              <a:gd name="T73" fmla="*/ 216 h 258"/>
              <a:gd name="T74" fmla="*/ 204 w 336"/>
              <a:gd name="T75" fmla="*/ 228 h 258"/>
              <a:gd name="T76" fmla="*/ 198 w 336"/>
              <a:gd name="T77" fmla="*/ 234 h 258"/>
              <a:gd name="T78" fmla="*/ 192 w 336"/>
              <a:gd name="T79" fmla="*/ 240 h 258"/>
              <a:gd name="T80" fmla="*/ 180 w 336"/>
              <a:gd name="T81" fmla="*/ 240 h 258"/>
              <a:gd name="T82" fmla="*/ 168 w 336"/>
              <a:gd name="T83" fmla="*/ 246 h 258"/>
              <a:gd name="T84" fmla="*/ 162 w 336"/>
              <a:gd name="T85" fmla="*/ 246 h 258"/>
              <a:gd name="T86" fmla="*/ 156 w 336"/>
              <a:gd name="T87" fmla="*/ 258 h 258"/>
              <a:gd name="T88" fmla="*/ 150 w 336"/>
              <a:gd name="T89" fmla="*/ 246 h 258"/>
              <a:gd name="T90" fmla="*/ 144 w 336"/>
              <a:gd name="T91" fmla="*/ 246 h 258"/>
              <a:gd name="T92" fmla="*/ 132 w 336"/>
              <a:gd name="T93" fmla="*/ 240 h 258"/>
              <a:gd name="T94" fmla="*/ 132 w 336"/>
              <a:gd name="T95" fmla="*/ 234 h 258"/>
              <a:gd name="T96" fmla="*/ 126 w 336"/>
              <a:gd name="T97" fmla="*/ 228 h 258"/>
              <a:gd name="T98" fmla="*/ 120 w 336"/>
              <a:gd name="T99" fmla="*/ 228 h 258"/>
              <a:gd name="T100" fmla="*/ 114 w 336"/>
              <a:gd name="T101" fmla="*/ 228 h 258"/>
              <a:gd name="T102" fmla="*/ 108 w 336"/>
              <a:gd name="T103" fmla="*/ 222 h 258"/>
              <a:gd name="T104" fmla="*/ 102 w 336"/>
              <a:gd name="T105" fmla="*/ 228 h 258"/>
              <a:gd name="T106" fmla="*/ 96 w 336"/>
              <a:gd name="T107" fmla="*/ 228 h 258"/>
              <a:gd name="T108" fmla="*/ 90 w 336"/>
              <a:gd name="T109" fmla="*/ 228 h 258"/>
              <a:gd name="T110" fmla="*/ 78 w 336"/>
              <a:gd name="T111" fmla="*/ 222 h 258"/>
              <a:gd name="T112" fmla="*/ 66 w 336"/>
              <a:gd name="T113" fmla="*/ 210 h 258"/>
              <a:gd name="T114" fmla="*/ 54 w 336"/>
              <a:gd name="T115" fmla="*/ 216 h 258"/>
              <a:gd name="T116" fmla="*/ 36 w 336"/>
              <a:gd name="T117" fmla="*/ 228 h 2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36" h="258">
                <a:moveTo>
                  <a:pt x="12" y="216"/>
                </a:moveTo>
                <a:lnTo>
                  <a:pt x="0" y="198"/>
                </a:lnTo>
                <a:lnTo>
                  <a:pt x="12" y="180"/>
                </a:lnTo>
                <a:lnTo>
                  <a:pt x="24" y="150"/>
                </a:lnTo>
                <a:lnTo>
                  <a:pt x="36" y="138"/>
                </a:lnTo>
                <a:lnTo>
                  <a:pt x="36" y="126"/>
                </a:lnTo>
                <a:lnTo>
                  <a:pt x="42" y="78"/>
                </a:lnTo>
                <a:lnTo>
                  <a:pt x="54" y="78"/>
                </a:lnTo>
                <a:lnTo>
                  <a:pt x="60" y="66"/>
                </a:lnTo>
                <a:lnTo>
                  <a:pt x="60" y="66"/>
                </a:lnTo>
                <a:lnTo>
                  <a:pt x="60" y="60"/>
                </a:lnTo>
                <a:lnTo>
                  <a:pt x="72" y="48"/>
                </a:lnTo>
                <a:lnTo>
                  <a:pt x="84" y="54"/>
                </a:lnTo>
                <a:lnTo>
                  <a:pt x="108" y="42"/>
                </a:lnTo>
                <a:lnTo>
                  <a:pt x="108" y="36"/>
                </a:lnTo>
                <a:lnTo>
                  <a:pt x="120" y="42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38" y="30"/>
                </a:lnTo>
                <a:lnTo>
                  <a:pt x="150" y="0"/>
                </a:lnTo>
                <a:lnTo>
                  <a:pt x="156" y="6"/>
                </a:lnTo>
                <a:lnTo>
                  <a:pt x="162" y="12"/>
                </a:lnTo>
                <a:lnTo>
                  <a:pt x="168" y="18"/>
                </a:lnTo>
                <a:lnTo>
                  <a:pt x="168" y="42"/>
                </a:lnTo>
                <a:lnTo>
                  <a:pt x="174" y="48"/>
                </a:lnTo>
                <a:lnTo>
                  <a:pt x="174" y="54"/>
                </a:lnTo>
                <a:lnTo>
                  <a:pt x="180" y="60"/>
                </a:lnTo>
                <a:lnTo>
                  <a:pt x="180" y="66"/>
                </a:lnTo>
                <a:lnTo>
                  <a:pt x="180" y="72"/>
                </a:lnTo>
                <a:lnTo>
                  <a:pt x="180" y="72"/>
                </a:lnTo>
                <a:lnTo>
                  <a:pt x="180" y="72"/>
                </a:lnTo>
                <a:lnTo>
                  <a:pt x="180" y="72"/>
                </a:lnTo>
                <a:lnTo>
                  <a:pt x="186" y="72"/>
                </a:lnTo>
                <a:lnTo>
                  <a:pt x="186" y="72"/>
                </a:lnTo>
                <a:lnTo>
                  <a:pt x="186" y="78"/>
                </a:lnTo>
                <a:lnTo>
                  <a:pt x="186" y="78"/>
                </a:lnTo>
                <a:lnTo>
                  <a:pt x="186" y="78"/>
                </a:lnTo>
                <a:lnTo>
                  <a:pt x="186" y="84"/>
                </a:lnTo>
                <a:lnTo>
                  <a:pt x="186" y="84"/>
                </a:lnTo>
                <a:lnTo>
                  <a:pt x="180" y="84"/>
                </a:lnTo>
                <a:lnTo>
                  <a:pt x="180" y="84"/>
                </a:lnTo>
                <a:lnTo>
                  <a:pt x="174" y="96"/>
                </a:lnTo>
                <a:lnTo>
                  <a:pt x="174" y="108"/>
                </a:lnTo>
                <a:lnTo>
                  <a:pt x="174" y="108"/>
                </a:lnTo>
                <a:lnTo>
                  <a:pt x="168" y="114"/>
                </a:lnTo>
                <a:lnTo>
                  <a:pt x="168" y="120"/>
                </a:lnTo>
                <a:lnTo>
                  <a:pt x="168" y="120"/>
                </a:lnTo>
                <a:lnTo>
                  <a:pt x="162" y="138"/>
                </a:lnTo>
                <a:lnTo>
                  <a:pt x="162" y="150"/>
                </a:lnTo>
                <a:lnTo>
                  <a:pt x="180" y="138"/>
                </a:lnTo>
                <a:lnTo>
                  <a:pt x="198" y="132"/>
                </a:lnTo>
                <a:lnTo>
                  <a:pt x="216" y="132"/>
                </a:lnTo>
                <a:lnTo>
                  <a:pt x="222" y="120"/>
                </a:lnTo>
                <a:lnTo>
                  <a:pt x="234" y="120"/>
                </a:lnTo>
                <a:lnTo>
                  <a:pt x="234" y="120"/>
                </a:lnTo>
                <a:lnTo>
                  <a:pt x="240" y="120"/>
                </a:lnTo>
                <a:lnTo>
                  <a:pt x="240" y="120"/>
                </a:lnTo>
                <a:lnTo>
                  <a:pt x="240" y="120"/>
                </a:lnTo>
                <a:lnTo>
                  <a:pt x="240" y="120"/>
                </a:lnTo>
                <a:lnTo>
                  <a:pt x="240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52" y="120"/>
                </a:lnTo>
                <a:lnTo>
                  <a:pt x="252" y="120"/>
                </a:lnTo>
                <a:lnTo>
                  <a:pt x="252" y="126"/>
                </a:lnTo>
                <a:lnTo>
                  <a:pt x="252" y="120"/>
                </a:lnTo>
                <a:lnTo>
                  <a:pt x="252" y="120"/>
                </a:lnTo>
                <a:lnTo>
                  <a:pt x="252" y="120"/>
                </a:lnTo>
                <a:lnTo>
                  <a:pt x="258" y="126"/>
                </a:lnTo>
                <a:lnTo>
                  <a:pt x="258" y="126"/>
                </a:lnTo>
                <a:lnTo>
                  <a:pt x="258" y="126"/>
                </a:lnTo>
                <a:lnTo>
                  <a:pt x="258" y="126"/>
                </a:lnTo>
                <a:lnTo>
                  <a:pt x="264" y="126"/>
                </a:lnTo>
                <a:lnTo>
                  <a:pt x="264" y="126"/>
                </a:lnTo>
                <a:lnTo>
                  <a:pt x="264" y="132"/>
                </a:lnTo>
                <a:lnTo>
                  <a:pt x="264" y="132"/>
                </a:lnTo>
                <a:lnTo>
                  <a:pt x="270" y="132"/>
                </a:lnTo>
                <a:lnTo>
                  <a:pt x="270" y="132"/>
                </a:lnTo>
                <a:lnTo>
                  <a:pt x="270" y="132"/>
                </a:lnTo>
                <a:lnTo>
                  <a:pt x="270" y="132"/>
                </a:lnTo>
                <a:lnTo>
                  <a:pt x="270" y="132"/>
                </a:lnTo>
                <a:lnTo>
                  <a:pt x="276" y="132"/>
                </a:lnTo>
                <a:lnTo>
                  <a:pt x="276" y="138"/>
                </a:lnTo>
                <a:lnTo>
                  <a:pt x="276" y="138"/>
                </a:lnTo>
                <a:lnTo>
                  <a:pt x="282" y="138"/>
                </a:lnTo>
                <a:lnTo>
                  <a:pt x="282" y="138"/>
                </a:lnTo>
                <a:lnTo>
                  <a:pt x="282" y="138"/>
                </a:lnTo>
                <a:lnTo>
                  <a:pt x="282" y="132"/>
                </a:lnTo>
                <a:lnTo>
                  <a:pt x="282" y="138"/>
                </a:lnTo>
                <a:lnTo>
                  <a:pt x="282" y="138"/>
                </a:lnTo>
                <a:lnTo>
                  <a:pt x="282" y="138"/>
                </a:lnTo>
                <a:lnTo>
                  <a:pt x="282" y="138"/>
                </a:lnTo>
                <a:lnTo>
                  <a:pt x="288" y="138"/>
                </a:lnTo>
                <a:lnTo>
                  <a:pt x="288" y="138"/>
                </a:lnTo>
                <a:lnTo>
                  <a:pt x="288" y="138"/>
                </a:lnTo>
                <a:lnTo>
                  <a:pt x="288" y="138"/>
                </a:lnTo>
                <a:lnTo>
                  <a:pt x="288" y="138"/>
                </a:lnTo>
                <a:lnTo>
                  <a:pt x="288" y="138"/>
                </a:lnTo>
                <a:lnTo>
                  <a:pt x="288" y="138"/>
                </a:lnTo>
                <a:lnTo>
                  <a:pt x="294" y="138"/>
                </a:lnTo>
                <a:lnTo>
                  <a:pt x="294" y="144"/>
                </a:lnTo>
                <a:lnTo>
                  <a:pt x="294" y="144"/>
                </a:lnTo>
                <a:lnTo>
                  <a:pt x="294" y="138"/>
                </a:lnTo>
                <a:lnTo>
                  <a:pt x="294" y="138"/>
                </a:lnTo>
                <a:lnTo>
                  <a:pt x="294" y="144"/>
                </a:lnTo>
                <a:lnTo>
                  <a:pt x="300" y="144"/>
                </a:lnTo>
                <a:lnTo>
                  <a:pt x="300" y="144"/>
                </a:lnTo>
                <a:lnTo>
                  <a:pt x="300" y="144"/>
                </a:lnTo>
                <a:lnTo>
                  <a:pt x="300" y="144"/>
                </a:lnTo>
                <a:lnTo>
                  <a:pt x="300" y="144"/>
                </a:lnTo>
                <a:lnTo>
                  <a:pt x="306" y="144"/>
                </a:lnTo>
                <a:lnTo>
                  <a:pt x="306" y="144"/>
                </a:lnTo>
                <a:lnTo>
                  <a:pt x="306" y="144"/>
                </a:lnTo>
                <a:lnTo>
                  <a:pt x="306" y="144"/>
                </a:lnTo>
                <a:lnTo>
                  <a:pt x="306" y="144"/>
                </a:lnTo>
                <a:lnTo>
                  <a:pt x="306" y="150"/>
                </a:lnTo>
                <a:lnTo>
                  <a:pt x="306" y="150"/>
                </a:lnTo>
                <a:lnTo>
                  <a:pt x="306" y="150"/>
                </a:lnTo>
                <a:lnTo>
                  <a:pt x="312" y="150"/>
                </a:lnTo>
                <a:lnTo>
                  <a:pt x="312" y="150"/>
                </a:lnTo>
                <a:lnTo>
                  <a:pt x="312" y="150"/>
                </a:lnTo>
                <a:lnTo>
                  <a:pt x="312" y="150"/>
                </a:lnTo>
                <a:lnTo>
                  <a:pt x="312" y="150"/>
                </a:lnTo>
                <a:lnTo>
                  <a:pt x="312" y="144"/>
                </a:lnTo>
                <a:lnTo>
                  <a:pt x="318" y="150"/>
                </a:lnTo>
                <a:lnTo>
                  <a:pt x="318" y="144"/>
                </a:lnTo>
                <a:lnTo>
                  <a:pt x="318" y="150"/>
                </a:lnTo>
                <a:lnTo>
                  <a:pt x="318" y="150"/>
                </a:lnTo>
                <a:lnTo>
                  <a:pt x="318" y="150"/>
                </a:lnTo>
                <a:lnTo>
                  <a:pt x="318" y="150"/>
                </a:lnTo>
                <a:lnTo>
                  <a:pt x="318" y="150"/>
                </a:lnTo>
                <a:lnTo>
                  <a:pt x="318" y="150"/>
                </a:lnTo>
                <a:lnTo>
                  <a:pt x="318" y="150"/>
                </a:lnTo>
                <a:lnTo>
                  <a:pt x="324" y="150"/>
                </a:lnTo>
                <a:lnTo>
                  <a:pt x="324" y="150"/>
                </a:lnTo>
                <a:lnTo>
                  <a:pt x="324" y="150"/>
                </a:lnTo>
                <a:lnTo>
                  <a:pt x="324" y="144"/>
                </a:lnTo>
                <a:lnTo>
                  <a:pt x="324" y="144"/>
                </a:lnTo>
                <a:lnTo>
                  <a:pt x="324" y="144"/>
                </a:lnTo>
                <a:lnTo>
                  <a:pt x="330" y="144"/>
                </a:lnTo>
                <a:lnTo>
                  <a:pt x="330" y="144"/>
                </a:lnTo>
                <a:lnTo>
                  <a:pt x="330" y="144"/>
                </a:lnTo>
                <a:lnTo>
                  <a:pt x="336" y="144"/>
                </a:lnTo>
                <a:lnTo>
                  <a:pt x="330" y="150"/>
                </a:lnTo>
                <a:lnTo>
                  <a:pt x="330" y="150"/>
                </a:lnTo>
                <a:lnTo>
                  <a:pt x="330" y="156"/>
                </a:lnTo>
                <a:lnTo>
                  <a:pt x="324" y="156"/>
                </a:lnTo>
                <a:lnTo>
                  <a:pt x="324" y="156"/>
                </a:lnTo>
                <a:lnTo>
                  <a:pt x="324" y="156"/>
                </a:lnTo>
                <a:lnTo>
                  <a:pt x="324" y="156"/>
                </a:lnTo>
                <a:lnTo>
                  <a:pt x="324" y="156"/>
                </a:lnTo>
                <a:lnTo>
                  <a:pt x="318" y="162"/>
                </a:lnTo>
                <a:lnTo>
                  <a:pt x="324" y="162"/>
                </a:lnTo>
                <a:lnTo>
                  <a:pt x="318" y="162"/>
                </a:lnTo>
                <a:lnTo>
                  <a:pt x="318" y="162"/>
                </a:lnTo>
                <a:lnTo>
                  <a:pt x="318" y="168"/>
                </a:lnTo>
                <a:lnTo>
                  <a:pt x="318" y="168"/>
                </a:lnTo>
                <a:lnTo>
                  <a:pt x="318" y="168"/>
                </a:lnTo>
                <a:lnTo>
                  <a:pt x="312" y="174"/>
                </a:lnTo>
                <a:lnTo>
                  <a:pt x="312" y="174"/>
                </a:lnTo>
                <a:lnTo>
                  <a:pt x="312" y="168"/>
                </a:lnTo>
                <a:lnTo>
                  <a:pt x="312" y="168"/>
                </a:lnTo>
                <a:lnTo>
                  <a:pt x="312" y="168"/>
                </a:lnTo>
                <a:lnTo>
                  <a:pt x="312" y="168"/>
                </a:lnTo>
                <a:lnTo>
                  <a:pt x="306" y="168"/>
                </a:lnTo>
                <a:lnTo>
                  <a:pt x="306" y="174"/>
                </a:lnTo>
                <a:lnTo>
                  <a:pt x="306" y="174"/>
                </a:lnTo>
                <a:lnTo>
                  <a:pt x="306" y="174"/>
                </a:lnTo>
                <a:lnTo>
                  <a:pt x="306" y="174"/>
                </a:lnTo>
                <a:lnTo>
                  <a:pt x="300" y="174"/>
                </a:lnTo>
                <a:lnTo>
                  <a:pt x="300" y="174"/>
                </a:lnTo>
                <a:lnTo>
                  <a:pt x="300" y="180"/>
                </a:lnTo>
                <a:lnTo>
                  <a:pt x="294" y="180"/>
                </a:lnTo>
                <a:lnTo>
                  <a:pt x="294" y="180"/>
                </a:lnTo>
                <a:lnTo>
                  <a:pt x="294" y="180"/>
                </a:lnTo>
                <a:lnTo>
                  <a:pt x="294" y="186"/>
                </a:lnTo>
                <a:lnTo>
                  <a:pt x="294" y="186"/>
                </a:lnTo>
                <a:lnTo>
                  <a:pt x="288" y="192"/>
                </a:lnTo>
                <a:lnTo>
                  <a:pt x="288" y="192"/>
                </a:lnTo>
                <a:lnTo>
                  <a:pt x="288" y="192"/>
                </a:lnTo>
                <a:lnTo>
                  <a:pt x="282" y="192"/>
                </a:lnTo>
                <a:lnTo>
                  <a:pt x="282" y="198"/>
                </a:lnTo>
                <a:lnTo>
                  <a:pt x="282" y="198"/>
                </a:lnTo>
                <a:lnTo>
                  <a:pt x="276" y="210"/>
                </a:lnTo>
                <a:lnTo>
                  <a:pt x="276" y="210"/>
                </a:lnTo>
                <a:lnTo>
                  <a:pt x="276" y="204"/>
                </a:lnTo>
                <a:lnTo>
                  <a:pt x="276" y="204"/>
                </a:lnTo>
                <a:lnTo>
                  <a:pt x="270" y="210"/>
                </a:lnTo>
                <a:lnTo>
                  <a:pt x="270" y="210"/>
                </a:lnTo>
                <a:lnTo>
                  <a:pt x="270" y="210"/>
                </a:lnTo>
                <a:lnTo>
                  <a:pt x="270" y="210"/>
                </a:lnTo>
                <a:lnTo>
                  <a:pt x="264" y="210"/>
                </a:lnTo>
                <a:lnTo>
                  <a:pt x="264" y="210"/>
                </a:lnTo>
                <a:lnTo>
                  <a:pt x="264" y="210"/>
                </a:lnTo>
                <a:lnTo>
                  <a:pt x="264" y="210"/>
                </a:lnTo>
                <a:lnTo>
                  <a:pt x="258" y="210"/>
                </a:lnTo>
                <a:lnTo>
                  <a:pt x="258" y="210"/>
                </a:lnTo>
                <a:lnTo>
                  <a:pt x="252" y="210"/>
                </a:lnTo>
                <a:lnTo>
                  <a:pt x="252" y="210"/>
                </a:lnTo>
                <a:lnTo>
                  <a:pt x="252" y="210"/>
                </a:lnTo>
                <a:lnTo>
                  <a:pt x="252" y="210"/>
                </a:lnTo>
                <a:lnTo>
                  <a:pt x="246" y="210"/>
                </a:lnTo>
                <a:lnTo>
                  <a:pt x="246" y="210"/>
                </a:lnTo>
                <a:lnTo>
                  <a:pt x="246" y="210"/>
                </a:lnTo>
                <a:lnTo>
                  <a:pt x="240" y="210"/>
                </a:lnTo>
                <a:lnTo>
                  <a:pt x="240" y="210"/>
                </a:lnTo>
                <a:lnTo>
                  <a:pt x="234" y="210"/>
                </a:lnTo>
                <a:lnTo>
                  <a:pt x="234" y="216"/>
                </a:lnTo>
                <a:lnTo>
                  <a:pt x="228" y="216"/>
                </a:lnTo>
                <a:lnTo>
                  <a:pt x="228" y="210"/>
                </a:lnTo>
                <a:lnTo>
                  <a:pt x="228" y="210"/>
                </a:lnTo>
                <a:lnTo>
                  <a:pt x="228" y="210"/>
                </a:lnTo>
                <a:lnTo>
                  <a:pt x="228" y="216"/>
                </a:lnTo>
                <a:lnTo>
                  <a:pt x="222" y="216"/>
                </a:lnTo>
                <a:lnTo>
                  <a:pt x="222" y="216"/>
                </a:lnTo>
                <a:lnTo>
                  <a:pt x="222" y="216"/>
                </a:lnTo>
                <a:lnTo>
                  <a:pt x="216" y="216"/>
                </a:lnTo>
                <a:lnTo>
                  <a:pt x="216" y="216"/>
                </a:lnTo>
                <a:lnTo>
                  <a:pt x="216" y="216"/>
                </a:lnTo>
                <a:lnTo>
                  <a:pt x="216" y="222"/>
                </a:lnTo>
                <a:lnTo>
                  <a:pt x="210" y="222"/>
                </a:lnTo>
                <a:lnTo>
                  <a:pt x="210" y="222"/>
                </a:lnTo>
                <a:lnTo>
                  <a:pt x="210" y="228"/>
                </a:lnTo>
                <a:lnTo>
                  <a:pt x="210" y="228"/>
                </a:lnTo>
                <a:lnTo>
                  <a:pt x="204" y="228"/>
                </a:lnTo>
                <a:lnTo>
                  <a:pt x="204" y="228"/>
                </a:lnTo>
                <a:lnTo>
                  <a:pt x="204" y="228"/>
                </a:lnTo>
                <a:lnTo>
                  <a:pt x="204" y="234"/>
                </a:lnTo>
                <a:lnTo>
                  <a:pt x="198" y="234"/>
                </a:lnTo>
                <a:lnTo>
                  <a:pt x="198" y="234"/>
                </a:lnTo>
                <a:lnTo>
                  <a:pt x="198" y="234"/>
                </a:lnTo>
                <a:lnTo>
                  <a:pt x="198" y="234"/>
                </a:lnTo>
                <a:lnTo>
                  <a:pt x="192" y="234"/>
                </a:lnTo>
                <a:lnTo>
                  <a:pt x="192" y="234"/>
                </a:lnTo>
                <a:lnTo>
                  <a:pt x="192" y="234"/>
                </a:lnTo>
                <a:lnTo>
                  <a:pt x="192" y="240"/>
                </a:lnTo>
                <a:lnTo>
                  <a:pt x="192" y="240"/>
                </a:lnTo>
                <a:lnTo>
                  <a:pt x="192" y="240"/>
                </a:lnTo>
                <a:lnTo>
                  <a:pt x="186" y="240"/>
                </a:lnTo>
                <a:lnTo>
                  <a:pt x="180" y="240"/>
                </a:lnTo>
                <a:lnTo>
                  <a:pt x="180" y="240"/>
                </a:lnTo>
                <a:lnTo>
                  <a:pt x="180" y="240"/>
                </a:lnTo>
                <a:lnTo>
                  <a:pt x="180" y="240"/>
                </a:lnTo>
                <a:lnTo>
                  <a:pt x="174" y="246"/>
                </a:lnTo>
                <a:lnTo>
                  <a:pt x="174" y="246"/>
                </a:lnTo>
                <a:lnTo>
                  <a:pt x="174" y="246"/>
                </a:lnTo>
                <a:lnTo>
                  <a:pt x="174" y="246"/>
                </a:lnTo>
                <a:lnTo>
                  <a:pt x="168" y="246"/>
                </a:lnTo>
                <a:lnTo>
                  <a:pt x="168" y="246"/>
                </a:lnTo>
                <a:lnTo>
                  <a:pt x="168" y="246"/>
                </a:lnTo>
                <a:lnTo>
                  <a:pt x="168" y="246"/>
                </a:lnTo>
                <a:lnTo>
                  <a:pt x="162" y="246"/>
                </a:lnTo>
                <a:lnTo>
                  <a:pt x="162" y="246"/>
                </a:lnTo>
                <a:lnTo>
                  <a:pt x="162" y="246"/>
                </a:lnTo>
                <a:lnTo>
                  <a:pt x="162" y="246"/>
                </a:lnTo>
                <a:lnTo>
                  <a:pt x="162" y="246"/>
                </a:lnTo>
                <a:lnTo>
                  <a:pt x="162" y="252"/>
                </a:lnTo>
                <a:lnTo>
                  <a:pt x="162" y="252"/>
                </a:lnTo>
                <a:lnTo>
                  <a:pt x="156" y="252"/>
                </a:lnTo>
                <a:lnTo>
                  <a:pt x="156" y="252"/>
                </a:lnTo>
                <a:lnTo>
                  <a:pt x="156" y="258"/>
                </a:lnTo>
                <a:lnTo>
                  <a:pt x="150" y="258"/>
                </a:lnTo>
                <a:lnTo>
                  <a:pt x="150" y="258"/>
                </a:lnTo>
                <a:lnTo>
                  <a:pt x="150" y="252"/>
                </a:lnTo>
                <a:lnTo>
                  <a:pt x="150" y="252"/>
                </a:lnTo>
                <a:lnTo>
                  <a:pt x="150" y="246"/>
                </a:lnTo>
                <a:lnTo>
                  <a:pt x="150" y="246"/>
                </a:lnTo>
                <a:lnTo>
                  <a:pt x="144" y="246"/>
                </a:lnTo>
                <a:lnTo>
                  <a:pt x="144" y="246"/>
                </a:lnTo>
                <a:lnTo>
                  <a:pt x="144" y="246"/>
                </a:lnTo>
                <a:lnTo>
                  <a:pt x="144" y="252"/>
                </a:lnTo>
                <a:lnTo>
                  <a:pt x="144" y="252"/>
                </a:lnTo>
                <a:lnTo>
                  <a:pt x="144" y="246"/>
                </a:lnTo>
                <a:lnTo>
                  <a:pt x="138" y="246"/>
                </a:lnTo>
                <a:lnTo>
                  <a:pt x="138" y="246"/>
                </a:lnTo>
                <a:lnTo>
                  <a:pt x="138" y="246"/>
                </a:lnTo>
                <a:lnTo>
                  <a:pt x="138" y="246"/>
                </a:lnTo>
                <a:lnTo>
                  <a:pt x="132" y="246"/>
                </a:lnTo>
                <a:lnTo>
                  <a:pt x="132" y="240"/>
                </a:lnTo>
                <a:lnTo>
                  <a:pt x="132" y="240"/>
                </a:lnTo>
                <a:lnTo>
                  <a:pt x="132" y="234"/>
                </a:lnTo>
                <a:lnTo>
                  <a:pt x="132" y="234"/>
                </a:lnTo>
                <a:lnTo>
                  <a:pt x="132" y="234"/>
                </a:lnTo>
                <a:lnTo>
                  <a:pt x="132" y="234"/>
                </a:lnTo>
                <a:lnTo>
                  <a:pt x="132" y="234"/>
                </a:lnTo>
                <a:lnTo>
                  <a:pt x="132" y="228"/>
                </a:lnTo>
                <a:lnTo>
                  <a:pt x="132" y="228"/>
                </a:lnTo>
                <a:lnTo>
                  <a:pt x="132" y="228"/>
                </a:lnTo>
                <a:lnTo>
                  <a:pt x="126" y="228"/>
                </a:lnTo>
                <a:lnTo>
                  <a:pt x="126" y="228"/>
                </a:lnTo>
                <a:lnTo>
                  <a:pt x="126" y="228"/>
                </a:lnTo>
                <a:lnTo>
                  <a:pt x="126" y="228"/>
                </a:lnTo>
                <a:lnTo>
                  <a:pt x="126" y="228"/>
                </a:lnTo>
                <a:lnTo>
                  <a:pt x="120" y="228"/>
                </a:lnTo>
                <a:lnTo>
                  <a:pt x="120" y="228"/>
                </a:lnTo>
                <a:lnTo>
                  <a:pt x="120" y="228"/>
                </a:lnTo>
                <a:lnTo>
                  <a:pt x="120" y="228"/>
                </a:lnTo>
                <a:lnTo>
                  <a:pt x="120" y="228"/>
                </a:lnTo>
                <a:lnTo>
                  <a:pt x="120" y="228"/>
                </a:lnTo>
                <a:lnTo>
                  <a:pt x="120" y="228"/>
                </a:lnTo>
                <a:lnTo>
                  <a:pt x="114" y="228"/>
                </a:lnTo>
                <a:lnTo>
                  <a:pt x="114" y="228"/>
                </a:lnTo>
                <a:lnTo>
                  <a:pt x="114" y="228"/>
                </a:lnTo>
                <a:lnTo>
                  <a:pt x="114" y="228"/>
                </a:lnTo>
                <a:lnTo>
                  <a:pt x="114" y="222"/>
                </a:lnTo>
                <a:lnTo>
                  <a:pt x="114" y="228"/>
                </a:lnTo>
                <a:lnTo>
                  <a:pt x="114" y="222"/>
                </a:lnTo>
                <a:lnTo>
                  <a:pt x="114" y="222"/>
                </a:lnTo>
                <a:lnTo>
                  <a:pt x="108" y="222"/>
                </a:lnTo>
                <a:lnTo>
                  <a:pt x="108" y="228"/>
                </a:lnTo>
                <a:lnTo>
                  <a:pt x="108" y="228"/>
                </a:lnTo>
                <a:lnTo>
                  <a:pt x="108" y="222"/>
                </a:lnTo>
                <a:lnTo>
                  <a:pt x="108" y="222"/>
                </a:lnTo>
                <a:lnTo>
                  <a:pt x="102" y="228"/>
                </a:lnTo>
                <a:lnTo>
                  <a:pt x="102" y="228"/>
                </a:lnTo>
                <a:lnTo>
                  <a:pt x="102" y="228"/>
                </a:lnTo>
                <a:lnTo>
                  <a:pt x="102" y="228"/>
                </a:lnTo>
                <a:lnTo>
                  <a:pt x="102" y="228"/>
                </a:lnTo>
                <a:lnTo>
                  <a:pt x="102" y="228"/>
                </a:lnTo>
                <a:lnTo>
                  <a:pt x="96" y="228"/>
                </a:lnTo>
                <a:lnTo>
                  <a:pt x="96" y="228"/>
                </a:lnTo>
                <a:lnTo>
                  <a:pt x="96" y="228"/>
                </a:lnTo>
                <a:lnTo>
                  <a:pt x="90" y="228"/>
                </a:lnTo>
                <a:lnTo>
                  <a:pt x="90" y="228"/>
                </a:lnTo>
                <a:lnTo>
                  <a:pt x="90" y="228"/>
                </a:lnTo>
                <a:lnTo>
                  <a:pt x="90" y="228"/>
                </a:lnTo>
                <a:lnTo>
                  <a:pt x="90" y="228"/>
                </a:lnTo>
                <a:lnTo>
                  <a:pt x="90" y="228"/>
                </a:lnTo>
                <a:lnTo>
                  <a:pt x="84" y="228"/>
                </a:lnTo>
                <a:lnTo>
                  <a:pt x="84" y="222"/>
                </a:lnTo>
                <a:lnTo>
                  <a:pt x="84" y="222"/>
                </a:lnTo>
                <a:lnTo>
                  <a:pt x="78" y="222"/>
                </a:lnTo>
                <a:lnTo>
                  <a:pt x="78" y="222"/>
                </a:lnTo>
                <a:lnTo>
                  <a:pt x="78" y="216"/>
                </a:lnTo>
                <a:lnTo>
                  <a:pt x="72" y="216"/>
                </a:lnTo>
                <a:lnTo>
                  <a:pt x="72" y="210"/>
                </a:lnTo>
                <a:lnTo>
                  <a:pt x="72" y="210"/>
                </a:lnTo>
                <a:lnTo>
                  <a:pt x="66" y="210"/>
                </a:lnTo>
                <a:lnTo>
                  <a:pt x="66" y="210"/>
                </a:lnTo>
                <a:lnTo>
                  <a:pt x="66" y="210"/>
                </a:lnTo>
                <a:lnTo>
                  <a:pt x="60" y="210"/>
                </a:lnTo>
                <a:lnTo>
                  <a:pt x="60" y="216"/>
                </a:lnTo>
                <a:lnTo>
                  <a:pt x="54" y="216"/>
                </a:lnTo>
                <a:lnTo>
                  <a:pt x="54" y="216"/>
                </a:lnTo>
                <a:lnTo>
                  <a:pt x="54" y="216"/>
                </a:lnTo>
                <a:lnTo>
                  <a:pt x="54" y="216"/>
                </a:lnTo>
                <a:lnTo>
                  <a:pt x="48" y="222"/>
                </a:lnTo>
                <a:lnTo>
                  <a:pt x="48" y="222"/>
                </a:lnTo>
                <a:lnTo>
                  <a:pt x="48" y="222"/>
                </a:lnTo>
                <a:lnTo>
                  <a:pt x="42" y="228"/>
                </a:lnTo>
                <a:lnTo>
                  <a:pt x="36" y="228"/>
                </a:lnTo>
                <a:lnTo>
                  <a:pt x="30" y="234"/>
                </a:lnTo>
                <a:lnTo>
                  <a:pt x="24" y="234"/>
                </a:lnTo>
                <a:lnTo>
                  <a:pt x="24" y="234"/>
                </a:lnTo>
                <a:lnTo>
                  <a:pt x="12" y="21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57" name="Freeform 90"/>
          <p:cNvSpPr>
            <a:spLocks/>
          </p:cNvSpPr>
          <p:nvPr/>
        </p:nvSpPr>
        <p:spPr bwMode="auto">
          <a:xfrm>
            <a:off x="7494259" y="2040749"/>
            <a:ext cx="122057" cy="231267"/>
          </a:xfrm>
          <a:custGeom>
            <a:avLst/>
            <a:gdLst>
              <a:gd name="T0" fmla="*/ 30 w 114"/>
              <a:gd name="T1" fmla="*/ 108 h 216"/>
              <a:gd name="T2" fmla="*/ 6 w 114"/>
              <a:gd name="T3" fmla="*/ 90 h 216"/>
              <a:gd name="T4" fmla="*/ 6 w 114"/>
              <a:gd name="T5" fmla="*/ 84 h 216"/>
              <a:gd name="T6" fmla="*/ 12 w 114"/>
              <a:gd name="T7" fmla="*/ 72 h 216"/>
              <a:gd name="T8" fmla="*/ 6 w 114"/>
              <a:gd name="T9" fmla="*/ 60 h 216"/>
              <a:gd name="T10" fmla="*/ 6 w 114"/>
              <a:gd name="T11" fmla="*/ 60 h 216"/>
              <a:gd name="T12" fmla="*/ 6 w 114"/>
              <a:gd name="T13" fmla="*/ 54 h 216"/>
              <a:gd name="T14" fmla="*/ 12 w 114"/>
              <a:gd name="T15" fmla="*/ 48 h 216"/>
              <a:gd name="T16" fmla="*/ 12 w 114"/>
              <a:gd name="T17" fmla="*/ 42 h 216"/>
              <a:gd name="T18" fmla="*/ 18 w 114"/>
              <a:gd name="T19" fmla="*/ 36 h 216"/>
              <a:gd name="T20" fmla="*/ 18 w 114"/>
              <a:gd name="T21" fmla="*/ 36 h 216"/>
              <a:gd name="T22" fmla="*/ 24 w 114"/>
              <a:gd name="T23" fmla="*/ 24 h 216"/>
              <a:gd name="T24" fmla="*/ 30 w 114"/>
              <a:gd name="T25" fmla="*/ 24 h 216"/>
              <a:gd name="T26" fmla="*/ 30 w 114"/>
              <a:gd name="T27" fmla="*/ 18 h 216"/>
              <a:gd name="T28" fmla="*/ 36 w 114"/>
              <a:gd name="T29" fmla="*/ 12 h 216"/>
              <a:gd name="T30" fmla="*/ 36 w 114"/>
              <a:gd name="T31" fmla="*/ 18 h 216"/>
              <a:gd name="T32" fmla="*/ 36 w 114"/>
              <a:gd name="T33" fmla="*/ 12 h 216"/>
              <a:gd name="T34" fmla="*/ 36 w 114"/>
              <a:gd name="T35" fmla="*/ 12 h 216"/>
              <a:gd name="T36" fmla="*/ 42 w 114"/>
              <a:gd name="T37" fmla="*/ 12 h 216"/>
              <a:gd name="T38" fmla="*/ 42 w 114"/>
              <a:gd name="T39" fmla="*/ 6 h 216"/>
              <a:gd name="T40" fmla="*/ 54 w 114"/>
              <a:gd name="T41" fmla="*/ 0 h 216"/>
              <a:gd name="T42" fmla="*/ 60 w 114"/>
              <a:gd name="T43" fmla="*/ 6 h 216"/>
              <a:gd name="T44" fmla="*/ 60 w 114"/>
              <a:gd name="T45" fmla="*/ 6 h 216"/>
              <a:gd name="T46" fmla="*/ 66 w 114"/>
              <a:gd name="T47" fmla="*/ 6 h 216"/>
              <a:gd name="T48" fmla="*/ 72 w 114"/>
              <a:gd name="T49" fmla="*/ 12 h 216"/>
              <a:gd name="T50" fmla="*/ 66 w 114"/>
              <a:gd name="T51" fmla="*/ 18 h 216"/>
              <a:gd name="T52" fmla="*/ 60 w 114"/>
              <a:gd name="T53" fmla="*/ 30 h 216"/>
              <a:gd name="T54" fmla="*/ 60 w 114"/>
              <a:gd name="T55" fmla="*/ 30 h 216"/>
              <a:gd name="T56" fmla="*/ 60 w 114"/>
              <a:gd name="T57" fmla="*/ 30 h 216"/>
              <a:gd name="T58" fmla="*/ 66 w 114"/>
              <a:gd name="T59" fmla="*/ 30 h 216"/>
              <a:gd name="T60" fmla="*/ 72 w 114"/>
              <a:gd name="T61" fmla="*/ 30 h 216"/>
              <a:gd name="T62" fmla="*/ 90 w 114"/>
              <a:gd name="T63" fmla="*/ 30 h 216"/>
              <a:gd name="T64" fmla="*/ 90 w 114"/>
              <a:gd name="T65" fmla="*/ 72 h 216"/>
              <a:gd name="T66" fmla="*/ 90 w 114"/>
              <a:gd name="T67" fmla="*/ 78 h 216"/>
              <a:gd name="T68" fmla="*/ 84 w 114"/>
              <a:gd name="T69" fmla="*/ 108 h 216"/>
              <a:gd name="T70" fmla="*/ 90 w 114"/>
              <a:gd name="T71" fmla="*/ 120 h 216"/>
              <a:gd name="T72" fmla="*/ 90 w 114"/>
              <a:gd name="T73" fmla="*/ 120 h 216"/>
              <a:gd name="T74" fmla="*/ 84 w 114"/>
              <a:gd name="T75" fmla="*/ 126 h 216"/>
              <a:gd name="T76" fmla="*/ 84 w 114"/>
              <a:gd name="T77" fmla="*/ 126 h 216"/>
              <a:gd name="T78" fmla="*/ 84 w 114"/>
              <a:gd name="T79" fmla="*/ 126 h 216"/>
              <a:gd name="T80" fmla="*/ 84 w 114"/>
              <a:gd name="T81" fmla="*/ 126 h 216"/>
              <a:gd name="T82" fmla="*/ 108 w 114"/>
              <a:gd name="T83" fmla="*/ 150 h 216"/>
              <a:gd name="T84" fmla="*/ 114 w 114"/>
              <a:gd name="T85" fmla="*/ 186 h 216"/>
              <a:gd name="T86" fmla="*/ 96 w 114"/>
              <a:gd name="T87" fmla="*/ 198 h 216"/>
              <a:gd name="T88" fmla="*/ 72 w 114"/>
              <a:gd name="T89" fmla="*/ 198 h 216"/>
              <a:gd name="T90" fmla="*/ 72 w 114"/>
              <a:gd name="T91" fmla="*/ 204 h 216"/>
              <a:gd name="T92" fmla="*/ 72 w 114"/>
              <a:gd name="T93" fmla="*/ 204 h 216"/>
              <a:gd name="T94" fmla="*/ 72 w 114"/>
              <a:gd name="T95" fmla="*/ 204 h 216"/>
              <a:gd name="T96" fmla="*/ 72 w 114"/>
              <a:gd name="T97" fmla="*/ 204 h 216"/>
              <a:gd name="T98" fmla="*/ 48 w 114"/>
              <a:gd name="T99" fmla="*/ 216 h 216"/>
              <a:gd name="T100" fmla="*/ 0 w 114"/>
              <a:gd name="T101" fmla="*/ 216 h 2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14" h="216">
                <a:moveTo>
                  <a:pt x="0" y="216"/>
                </a:moveTo>
                <a:lnTo>
                  <a:pt x="6" y="204"/>
                </a:lnTo>
                <a:lnTo>
                  <a:pt x="30" y="108"/>
                </a:lnTo>
                <a:lnTo>
                  <a:pt x="18" y="96"/>
                </a:lnTo>
                <a:lnTo>
                  <a:pt x="12" y="96"/>
                </a:lnTo>
                <a:lnTo>
                  <a:pt x="6" y="90"/>
                </a:lnTo>
                <a:lnTo>
                  <a:pt x="6" y="90"/>
                </a:lnTo>
                <a:lnTo>
                  <a:pt x="6" y="84"/>
                </a:lnTo>
                <a:lnTo>
                  <a:pt x="6" y="84"/>
                </a:lnTo>
                <a:lnTo>
                  <a:pt x="6" y="78"/>
                </a:lnTo>
                <a:lnTo>
                  <a:pt x="6" y="72"/>
                </a:lnTo>
                <a:lnTo>
                  <a:pt x="12" y="72"/>
                </a:lnTo>
                <a:lnTo>
                  <a:pt x="6" y="66"/>
                </a:lnTo>
                <a:lnTo>
                  <a:pt x="6" y="66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24" y="30"/>
                </a:lnTo>
                <a:lnTo>
                  <a:pt x="24" y="24"/>
                </a:lnTo>
                <a:lnTo>
                  <a:pt x="24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18"/>
                </a:lnTo>
                <a:lnTo>
                  <a:pt x="30" y="18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54" y="6"/>
                </a:lnTo>
                <a:lnTo>
                  <a:pt x="54" y="0"/>
                </a:lnTo>
                <a:lnTo>
                  <a:pt x="54" y="0"/>
                </a:lnTo>
                <a:lnTo>
                  <a:pt x="60" y="0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72" y="18"/>
                </a:lnTo>
                <a:lnTo>
                  <a:pt x="66" y="18"/>
                </a:lnTo>
                <a:lnTo>
                  <a:pt x="66" y="24"/>
                </a:lnTo>
                <a:lnTo>
                  <a:pt x="66" y="24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24"/>
                </a:lnTo>
                <a:lnTo>
                  <a:pt x="90" y="30"/>
                </a:lnTo>
                <a:lnTo>
                  <a:pt x="90" y="36"/>
                </a:lnTo>
                <a:lnTo>
                  <a:pt x="96" y="36"/>
                </a:lnTo>
                <a:lnTo>
                  <a:pt x="90" y="72"/>
                </a:lnTo>
                <a:lnTo>
                  <a:pt x="84" y="72"/>
                </a:lnTo>
                <a:lnTo>
                  <a:pt x="78" y="84"/>
                </a:lnTo>
                <a:lnTo>
                  <a:pt x="90" y="78"/>
                </a:lnTo>
                <a:lnTo>
                  <a:pt x="96" y="90"/>
                </a:lnTo>
                <a:lnTo>
                  <a:pt x="84" y="102"/>
                </a:lnTo>
                <a:lnTo>
                  <a:pt x="84" y="108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84" y="120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32"/>
                </a:lnTo>
                <a:lnTo>
                  <a:pt x="84" y="132"/>
                </a:lnTo>
                <a:lnTo>
                  <a:pt x="108" y="150"/>
                </a:lnTo>
                <a:lnTo>
                  <a:pt x="114" y="174"/>
                </a:lnTo>
                <a:lnTo>
                  <a:pt x="114" y="180"/>
                </a:lnTo>
                <a:lnTo>
                  <a:pt x="114" y="186"/>
                </a:lnTo>
                <a:lnTo>
                  <a:pt x="114" y="186"/>
                </a:lnTo>
                <a:lnTo>
                  <a:pt x="108" y="198"/>
                </a:lnTo>
                <a:lnTo>
                  <a:pt x="96" y="198"/>
                </a:lnTo>
                <a:lnTo>
                  <a:pt x="96" y="198"/>
                </a:lnTo>
                <a:lnTo>
                  <a:pt x="72" y="198"/>
                </a:lnTo>
                <a:lnTo>
                  <a:pt x="72" y="198"/>
                </a:lnTo>
                <a:lnTo>
                  <a:pt x="78" y="204"/>
                </a:lnTo>
                <a:lnTo>
                  <a:pt x="72" y="204"/>
                </a:lnTo>
                <a:lnTo>
                  <a:pt x="72" y="204"/>
                </a:lnTo>
                <a:lnTo>
                  <a:pt x="72" y="204"/>
                </a:lnTo>
                <a:lnTo>
                  <a:pt x="72" y="204"/>
                </a:lnTo>
                <a:lnTo>
                  <a:pt x="72" y="204"/>
                </a:lnTo>
                <a:lnTo>
                  <a:pt x="72" y="204"/>
                </a:lnTo>
                <a:lnTo>
                  <a:pt x="72" y="204"/>
                </a:lnTo>
                <a:lnTo>
                  <a:pt x="72" y="204"/>
                </a:lnTo>
                <a:lnTo>
                  <a:pt x="72" y="204"/>
                </a:lnTo>
                <a:lnTo>
                  <a:pt x="72" y="204"/>
                </a:lnTo>
                <a:lnTo>
                  <a:pt x="72" y="204"/>
                </a:lnTo>
                <a:lnTo>
                  <a:pt x="66" y="204"/>
                </a:lnTo>
                <a:lnTo>
                  <a:pt x="60" y="216"/>
                </a:lnTo>
                <a:lnTo>
                  <a:pt x="48" y="216"/>
                </a:lnTo>
                <a:lnTo>
                  <a:pt x="42" y="216"/>
                </a:lnTo>
                <a:lnTo>
                  <a:pt x="36" y="216"/>
                </a:lnTo>
                <a:lnTo>
                  <a:pt x="0" y="21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58" name="Freeform 91"/>
          <p:cNvSpPr>
            <a:spLocks/>
          </p:cNvSpPr>
          <p:nvPr/>
        </p:nvSpPr>
        <p:spPr bwMode="auto">
          <a:xfrm>
            <a:off x="7770493" y="1886571"/>
            <a:ext cx="224842" cy="167026"/>
          </a:xfrm>
          <a:custGeom>
            <a:avLst/>
            <a:gdLst>
              <a:gd name="T0" fmla="*/ 12 w 210"/>
              <a:gd name="T1" fmla="*/ 30 h 156"/>
              <a:gd name="T2" fmla="*/ 12 w 210"/>
              <a:gd name="T3" fmla="*/ 12 h 156"/>
              <a:gd name="T4" fmla="*/ 12 w 210"/>
              <a:gd name="T5" fmla="*/ 12 h 156"/>
              <a:gd name="T6" fmla="*/ 12 w 210"/>
              <a:gd name="T7" fmla="*/ 6 h 156"/>
              <a:gd name="T8" fmla="*/ 18 w 210"/>
              <a:gd name="T9" fmla="*/ 6 h 156"/>
              <a:gd name="T10" fmla="*/ 18 w 210"/>
              <a:gd name="T11" fmla="*/ 6 h 156"/>
              <a:gd name="T12" fmla="*/ 24 w 210"/>
              <a:gd name="T13" fmla="*/ 6 h 156"/>
              <a:gd name="T14" fmla="*/ 30 w 210"/>
              <a:gd name="T15" fmla="*/ 6 h 156"/>
              <a:gd name="T16" fmla="*/ 36 w 210"/>
              <a:gd name="T17" fmla="*/ 6 h 156"/>
              <a:gd name="T18" fmla="*/ 42 w 210"/>
              <a:gd name="T19" fmla="*/ 12 h 156"/>
              <a:gd name="T20" fmla="*/ 42 w 210"/>
              <a:gd name="T21" fmla="*/ 18 h 156"/>
              <a:gd name="T22" fmla="*/ 48 w 210"/>
              <a:gd name="T23" fmla="*/ 18 h 156"/>
              <a:gd name="T24" fmla="*/ 54 w 210"/>
              <a:gd name="T25" fmla="*/ 18 h 156"/>
              <a:gd name="T26" fmla="*/ 54 w 210"/>
              <a:gd name="T27" fmla="*/ 24 h 156"/>
              <a:gd name="T28" fmla="*/ 60 w 210"/>
              <a:gd name="T29" fmla="*/ 24 h 156"/>
              <a:gd name="T30" fmla="*/ 66 w 210"/>
              <a:gd name="T31" fmla="*/ 24 h 156"/>
              <a:gd name="T32" fmla="*/ 78 w 210"/>
              <a:gd name="T33" fmla="*/ 24 h 156"/>
              <a:gd name="T34" fmla="*/ 78 w 210"/>
              <a:gd name="T35" fmla="*/ 24 h 156"/>
              <a:gd name="T36" fmla="*/ 84 w 210"/>
              <a:gd name="T37" fmla="*/ 24 h 156"/>
              <a:gd name="T38" fmla="*/ 90 w 210"/>
              <a:gd name="T39" fmla="*/ 24 h 156"/>
              <a:gd name="T40" fmla="*/ 96 w 210"/>
              <a:gd name="T41" fmla="*/ 54 h 156"/>
              <a:gd name="T42" fmla="*/ 108 w 210"/>
              <a:gd name="T43" fmla="*/ 60 h 156"/>
              <a:gd name="T44" fmla="*/ 138 w 210"/>
              <a:gd name="T45" fmla="*/ 66 h 156"/>
              <a:gd name="T46" fmla="*/ 150 w 210"/>
              <a:gd name="T47" fmla="*/ 66 h 156"/>
              <a:gd name="T48" fmla="*/ 198 w 210"/>
              <a:gd name="T49" fmla="*/ 54 h 156"/>
              <a:gd name="T50" fmla="*/ 204 w 210"/>
              <a:gd name="T51" fmla="*/ 66 h 156"/>
              <a:gd name="T52" fmla="*/ 204 w 210"/>
              <a:gd name="T53" fmla="*/ 78 h 156"/>
              <a:gd name="T54" fmla="*/ 210 w 210"/>
              <a:gd name="T55" fmla="*/ 90 h 156"/>
              <a:gd name="T56" fmla="*/ 210 w 210"/>
              <a:gd name="T57" fmla="*/ 90 h 156"/>
              <a:gd name="T58" fmla="*/ 210 w 210"/>
              <a:gd name="T59" fmla="*/ 96 h 156"/>
              <a:gd name="T60" fmla="*/ 210 w 210"/>
              <a:gd name="T61" fmla="*/ 108 h 156"/>
              <a:gd name="T62" fmla="*/ 198 w 210"/>
              <a:gd name="T63" fmla="*/ 126 h 156"/>
              <a:gd name="T64" fmla="*/ 156 w 210"/>
              <a:gd name="T65" fmla="*/ 138 h 156"/>
              <a:gd name="T66" fmla="*/ 138 w 210"/>
              <a:gd name="T67" fmla="*/ 132 h 156"/>
              <a:gd name="T68" fmla="*/ 120 w 210"/>
              <a:gd name="T69" fmla="*/ 126 h 156"/>
              <a:gd name="T70" fmla="*/ 120 w 210"/>
              <a:gd name="T71" fmla="*/ 144 h 156"/>
              <a:gd name="T72" fmla="*/ 96 w 210"/>
              <a:gd name="T73" fmla="*/ 150 h 156"/>
              <a:gd name="T74" fmla="*/ 72 w 210"/>
              <a:gd name="T75" fmla="*/ 138 h 156"/>
              <a:gd name="T76" fmla="*/ 66 w 210"/>
              <a:gd name="T77" fmla="*/ 132 h 156"/>
              <a:gd name="T78" fmla="*/ 54 w 210"/>
              <a:gd name="T79" fmla="*/ 132 h 156"/>
              <a:gd name="T80" fmla="*/ 30 w 210"/>
              <a:gd name="T81" fmla="*/ 132 h 156"/>
              <a:gd name="T82" fmla="*/ 12 w 210"/>
              <a:gd name="T83" fmla="*/ 126 h 156"/>
              <a:gd name="T84" fmla="*/ 12 w 210"/>
              <a:gd name="T85" fmla="*/ 114 h 156"/>
              <a:gd name="T86" fmla="*/ 12 w 210"/>
              <a:gd name="T87" fmla="*/ 90 h 156"/>
              <a:gd name="T88" fmla="*/ 12 w 210"/>
              <a:gd name="T89" fmla="*/ 84 h 156"/>
              <a:gd name="T90" fmla="*/ 6 w 210"/>
              <a:gd name="T91" fmla="*/ 78 h 156"/>
              <a:gd name="T92" fmla="*/ 6 w 210"/>
              <a:gd name="T93" fmla="*/ 72 h 156"/>
              <a:gd name="T94" fmla="*/ 18 w 210"/>
              <a:gd name="T95" fmla="*/ 60 h 156"/>
              <a:gd name="T96" fmla="*/ 18 w 210"/>
              <a:gd name="T97" fmla="*/ 54 h 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10" h="156">
                <a:moveTo>
                  <a:pt x="0" y="42"/>
                </a:moveTo>
                <a:lnTo>
                  <a:pt x="6" y="36"/>
                </a:lnTo>
                <a:lnTo>
                  <a:pt x="6" y="30"/>
                </a:lnTo>
                <a:lnTo>
                  <a:pt x="12" y="30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8" y="6"/>
                </a:lnTo>
                <a:lnTo>
                  <a:pt x="18" y="6"/>
                </a:lnTo>
                <a:lnTo>
                  <a:pt x="18" y="0"/>
                </a:lnTo>
                <a:lnTo>
                  <a:pt x="18" y="6"/>
                </a:lnTo>
                <a:lnTo>
                  <a:pt x="18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12"/>
                </a:lnTo>
                <a:lnTo>
                  <a:pt x="42" y="12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24"/>
                </a:lnTo>
                <a:lnTo>
                  <a:pt x="54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72" y="24"/>
                </a:lnTo>
                <a:lnTo>
                  <a:pt x="72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90" y="24"/>
                </a:lnTo>
                <a:lnTo>
                  <a:pt x="90" y="24"/>
                </a:lnTo>
                <a:lnTo>
                  <a:pt x="96" y="36"/>
                </a:lnTo>
                <a:lnTo>
                  <a:pt x="96" y="42"/>
                </a:lnTo>
                <a:lnTo>
                  <a:pt x="96" y="42"/>
                </a:lnTo>
                <a:lnTo>
                  <a:pt x="96" y="54"/>
                </a:lnTo>
                <a:lnTo>
                  <a:pt x="102" y="60"/>
                </a:lnTo>
                <a:lnTo>
                  <a:pt x="102" y="60"/>
                </a:lnTo>
                <a:lnTo>
                  <a:pt x="108" y="60"/>
                </a:lnTo>
                <a:lnTo>
                  <a:pt x="108" y="60"/>
                </a:lnTo>
                <a:lnTo>
                  <a:pt x="120" y="66"/>
                </a:lnTo>
                <a:lnTo>
                  <a:pt x="114" y="66"/>
                </a:lnTo>
                <a:lnTo>
                  <a:pt x="132" y="66"/>
                </a:lnTo>
                <a:lnTo>
                  <a:pt x="138" y="66"/>
                </a:lnTo>
                <a:lnTo>
                  <a:pt x="138" y="72"/>
                </a:lnTo>
                <a:lnTo>
                  <a:pt x="144" y="72"/>
                </a:lnTo>
                <a:lnTo>
                  <a:pt x="138" y="66"/>
                </a:lnTo>
                <a:lnTo>
                  <a:pt x="150" y="66"/>
                </a:lnTo>
                <a:lnTo>
                  <a:pt x="198" y="54"/>
                </a:lnTo>
                <a:lnTo>
                  <a:pt x="198" y="54"/>
                </a:lnTo>
                <a:lnTo>
                  <a:pt x="198" y="54"/>
                </a:lnTo>
                <a:lnTo>
                  <a:pt x="198" y="54"/>
                </a:lnTo>
                <a:lnTo>
                  <a:pt x="204" y="60"/>
                </a:lnTo>
                <a:lnTo>
                  <a:pt x="204" y="60"/>
                </a:lnTo>
                <a:lnTo>
                  <a:pt x="204" y="66"/>
                </a:lnTo>
                <a:lnTo>
                  <a:pt x="204" y="66"/>
                </a:lnTo>
                <a:lnTo>
                  <a:pt x="204" y="72"/>
                </a:lnTo>
                <a:lnTo>
                  <a:pt x="204" y="72"/>
                </a:lnTo>
                <a:lnTo>
                  <a:pt x="204" y="72"/>
                </a:lnTo>
                <a:lnTo>
                  <a:pt x="204" y="78"/>
                </a:lnTo>
                <a:lnTo>
                  <a:pt x="204" y="78"/>
                </a:lnTo>
                <a:lnTo>
                  <a:pt x="204" y="84"/>
                </a:lnTo>
                <a:lnTo>
                  <a:pt x="210" y="84"/>
                </a:lnTo>
                <a:lnTo>
                  <a:pt x="210" y="90"/>
                </a:lnTo>
                <a:lnTo>
                  <a:pt x="210" y="90"/>
                </a:lnTo>
                <a:lnTo>
                  <a:pt x="210" y="90"/>
                </a:lnTo>
                <a:lnTo>
                  <a:pt x="210" y="90"/>
                </a:lnTo>
                <a:lnTo>
                  <a:pt x="210" y="90"/>
                </a:lnTo>
                <a:lnTo>
                  <a:pt x="210" y="96"/>
                </a:lnTo>
                <a:lnTo>
                  <a:pt x="210" y="96"/>
                </a:lnTo>
                <a:lnTo>
                  <a:pt x="210" y="96"/>
                </a:lnTo>
                <a:lnTo>
                  <a:pt x="210" y="96"/>
                </a:lnTo>
                <a:lnTo>
                  <a:pt x="210" y="96"/>
                </a:lnTo>
                <a:lnTo>
                  <a:pt x="210" y="102"/>
                </a:lnTo>
                <a:lnTo>
                  <a:pt x="210" y="102"/>
                </a:lnTo>
                <a:lnTo>
                  <a:pt x="210" y="108"/>
                </a:lnTo>
                <a:lnTo>
                  <a:pt x="210" y="108"/>
                </a:lnTo>
                <a:lnTo>
                  <a:pt x="210" y="114"/>
                </a:lnTo>
                <a:lnTo>
                  <a:pt x="210" y="114"/>
                </a:lnTo>
                <a:lnTo>
                  <a:pt x="198" y="126"/>
                </a:lnTo>
                <a:lnTo>
                  <a:pt x="174" y="150"/>
                </a:lnTo>
                <a:lnTo>
                  <a:pt x="162" y="144"/>
                </a:lnTo>
                <a:lnTo>
                  <a:pt x="168" y="132"/>
                </a:lnTo>
                <a:lnTo>
                  <a:pt x="156" y="138"/>
                </a:lnTo>
                <a:lnTo>
                  <a:pt x="156" y="138"/>
                </a:lnTo>
                <a:lnTo>
                  <a:pt x="150" y="138"/>
                </a:lnTo>
                <a:lnTo>
                  <a:pt x="144" y="138"/>
                </a:lnTo>
                <a:lnTo>
                  <a:pt x="138" y="132"/>
                </a:lnTo>
                <a:lnTo>
                  <a:pt x="138" y="120"/>
                </a:lnTo>
                <a:lnTo>
                  <a:pt x="126" y="120"/>
                </a:lnTo>
                <a:lnTo>
                  <a:pt x="120" y="120"/>
                </a:lnTo>
                <a:lnTo>
                  <a:pt x="120" y="126"/>
                </a:lnTo>
                <a:lnTo>
                  <a:pt x="120" y="132"/>
                </a:lnTo>
                <a:lnTo>
                  <a:pt x="126" y="138"/>
                </a:lnTo>
                <a:lnTo>
                  <a:pt x="126" y="138"/>
                </a:lnTo>
                <a:lnTo>
                  <a:pt x="120" y="144"/>
                </a:lnTo>
                <a:lnTo>
                  <a:pt x="114" y="144"/>
                </a:lnTo>
                <a:lnTo>
                  <a:pt x="102" y="156"/>
                </a:lnTo>
                <a:lnTo>
                  <a:pt x="96" y="156"/>
                </a:lnTo>
                <a:lnTo>
                  <a:pt x="96" y="150"/>
                </a:lnTo>
                <a:lnTo>
                  <a:pt x="90" y="150"/>
                </a:lnTo>
                <a:lnTo>
                  <a:pt x="84" y="150"/>
                </a:lnTo>
                <a:lnTo>
                  <a:pt x="78" y="144"/>
                </a:lnTo>
                <a:lnTo>
                  <a:pt x="72" y="138"/>
                </a:lnTo>
                <a:lnTo>
                  <a:pt x="72" y="138"/>
                </a:lnTo>
                <a:lnTo>
                  <a:pt x="66" y="138"/>
                </a:lnTo>
                <a:lnTo>
                  <a:pt x="66" y="138"/>
                </a:lnTo>
                <a:lnTo>
                  <a:pt x="66" y="132"/>
                </a:lnTo>
                <a:lnTo>
                  <a:pt x="66" y="132"/>
                </a:lnTo>
                <a:lnTo>
                  <a:pt x="60" y="132"/>
                </a:lnTo>
                <a:lnTo>
                  <a:pt x="54" y="132"/>
                </a:lnTo>
                <a:lnTo>
                  <a:pt x="54" y="132"/>
                </a:lnTo>
                <a:lnTo>
                  <a:pt x="48" y="132"/>
                </a:lnTo>
                <a:lnTo>
                  <a:pt x="42" y="132"/>
                </a:lnTo>
                <a:lnTo>
                  <a:pt x="36" y="132"/>
                </a:lnTo>
                <a:lnTo>
                  <a:pt x="30" y="132"/>
                </a:lnTo>
                <a:lnTo>
                  <a:pt x="24" y="132"/>
                </a:lnTo>
                <a:lnTo>
                  <a:pt x="18" y="126"/>
                </a:lnTo>
                <a:lnTo>
                  <a:pt x="18" y="126"/>
                </a:lnTo>
                <a:lnTo>
                  <a:pt x="12" y="126"/>
                </a:lnTo>
                <a:lnTo>
                  <a:pt x="12" y="114"/>
                </a:lnTo>
                <a:lnTo>
                  <a:pt x="12" y="114"/>
                </a:lnTo>
                <a:lnTo>
                  <a:pt x="6" y="114"/>
                </a:lnTo>
                <a:lnTo>
                  <a:pt x="12" y="114"/>
                </a:lnTo>
                <a:lnTo>
                  <a:pt x="18" y="102"/>
                </a:lnTo>
                <a:lnTo>
                  <a:pt x="18" y="96"/>
                </a:lnTo>
                <a:lnTo>
                  <a:pt x="18" y="90"/>
                </a:lnTo>
                <a:lnTo>
                  <a:pt x="12" y="90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0" y="72"/>
                </a:lnTo>
                <a:lnTo>
                  <a:pt x="6" y="66"/>
                </a:lnTo>
                <a:lnTo>
                  <a:pt x="0" y="66"/>
                </a:lnTo>
                <a:lnTo>
                  <a:pt x="18" y="60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0" y="48"/>
                </a:lnTo>
                <a:lnTo>
                  <a:pt x="0" y="4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59" name="Freeform 92"/>
          <p:cNvSpPr>
            <a:spLocks/>
          </p:cNvSpPr>
          <p:nvPr/>
        </p:nvSpPr>
        <p:spPr bwMode="auto">
          <a:xfrm>
            <a:off x="7340082" y="2419771"/>
            <a:ext cx="256962" cy="205571"/>
          </a:xfrm>
          <a:custGeom>
            <a:avLst/>
            <a:gdLst>
              <a:gd name="T0" fmla="*/ 48 w 240"/>
              <a:gd name="T1" fmla="*/ 90 h 192"/>
              <a:gd name="T2" fmla="*/ 72 w 240"/>
              <a:gd name="T3" fmla="*/ 48 h 192"/>
              <a:gd name="T4" fmla="*/ 78 w 240"/>
              <a:gd name="T5" fmla="*/ 42 h 192"/>
              <a:gd name="T6" fmla="*/ 78 w 240"/>
              <a:gd name="T7" fmla="*/ 42 h 192"/>
              <a:gd name="T8" fmla="*/ 84 w 240"/>
              <a:gd name="T9" fmla="*/ 36 h 192"/>
              <a:gd name="T10" fmla="*/ 84 w 240"/>
              <a:gd name="T11" fmla="*/ 30 h 192"/>
              <a:gd name="T12" fmla="*/ 90 w 240"/>
              <a:gd name="T13" fmla="*/ 24 h 192"/>
              <a:gd name="T14" fmla="*/ 114 w 240"/>
              <a:gd name="T15" fmla="*/ 12 h 192"/>
              <a:gd name="T16" fmla="*/ 114 w 240"/>
              <a:gd name="T17" fmla="*/ 12 h 192"/>
              <a:gd name="T18" fmla="*/ 114 w 240"/>
              <a:gd name="T19" fmla="*/ 18 h 192"/>
              <a:gd name="T20" fmla="*/ 114 w 240"/>
              <a:gd name="T21" fmla="*/ 18 h 192"/>
              <a:gd name="T22" fmla="*/ 114 w 240"/>
              <a:gd name="T23" fmla="*/ 24 h 192"/>
              <a:gd name="T24" fmla="*/ 114 w 240"/>
              <a:gd name="T25" fmla="*/ 36 h 192"/>
              <a:gd name="T26" fmla="*/ 114 w 240"/>
              <a:gd name="T27" fmla="*/ 42 h 192"/>
              <a:gd name="T28" fmla="*/ 120 w 240"/>
              <a:gd name="T29" fmla="*/ 42 h 192"/>
              <a:gd name="T30" fmla="*/ 132 w 240"/>
              <a:gd name="T31" fmla="*/ 36 h 192"/>
              <a:gd name="T32" fmla="*/ 138 w 240"/>
              <a:gd name="T33" fmla="*/ 36 h 192"/>
              <a:gd name="T34" fmla="*/ 144 w 240"/>
              <a:gd name="T35" fmla="*/ 36 h 192"/>
              <a:gd name="T36" fmla="*/ 168 w 240"/>
              <a:gd name="T37" fmla="*/ 30 h 192"/>
              <a:gd name="T38" fmla="*/ 216 w 240"/>
              <a:gd name="T39" fmla="*/ 12 h 192"/>
              <a:gd name="T40" fmla="*/ 216 w 240"/>
              <a:gd name="T41" fmla="*/ 24 h 192"/>
              <a:gd name="T42" fmla="*/ 222 w 240"/>
              <a:gd name="T43" fmla="*/ 36 h 192"/>
              <a:gd name="T44" fmla="*/ 228 w 240"/>
              <a:gd name="T45" fmla="*/ 42 h 192"/>
              <a:gd name="T46" fmla="*/ 234 w 240"/>
              <a:gd name="T47" fmla="*/ 48 h 192"/>
              <a:gd name="T48" fmla="*/ 240 w 240"/>
              <a:gd name="T49" fmla="*/ 54 h 192"/>
              <a:gd name="T50" fmla="*/ 234 w 240"/>
              <a:gd name="T51" fmla="*/ 60 h 192"/>
              <a:gd name="T52" fmla="*/ 234 w 240"/>
              <a:gd name="T53" fmla="*/ 66 h 192"/>
              <a:gd name="T54" fmla="*/ 240 w 240"/>
              <a:gd name="T55" fmla="*/ 78 h 192"/>
              <a:gd name="T56" fmla="*/ 228 w 240"/>
              <a:gd name="T57" fmla="*/ 84 h 192"/>
              <a:gd name="T58" fmla="*/ 222 w 240"/>
              <a:gd name="T59" fmla="*/ 96 h 192"/>
              <a:gd name="T60" fmla="*/ 216 w 240"/>
              <a:gd name="T61" fmla="*/ 108 h 192"/>
              <a:gd name="T62" fmla="*/ 210 w 240"/>
              <a:gd name="T63" fmla="*/ 114 h 192"/>
              <a:gd name="T64" fmla="*/ 204 w 240"/>
              <a:gd name="T65" fmla="*/ 126 h 192"/>
              <a:gd name="T66" fmla="*/ 192 w 240"/>
              <a:gd name="T67" fmla="*/ 126 h 192"/>
              <a:gd name="T68" fmla="*/ 192 w 240"/>
              <a:gd name="T69" fmla="*/ 132 h 192"/>
              <a:gd name="T70" fmla="*/ 186 w 240"/>
              <a:gd name="T71" fmla="*/ 150 h 192"/>
              <a:gd name="T72" fmla="*/ 180 w 240"/>
              <a:gd name="T73" fmla="*/ 150 h 192"/>
              <a:gd name="T74" fmla="*/ 174 w 240"/>
              <a:gd name="T75" fmla="*/ 156 h 192"/>
              <a:gd name="T76" fmla="*/ 168 w 240"/>
              <a:gd name="T77" fmla="*/ 150 h 192"/>
              <a:gd name="T78" fmla="*/ 156 w 240"/>
              <a:gd name="T79" fmla="*/ 144 h 192"/>
              <a:gd name="T80" fmla="*/ 150 w 240"/>
              <a:gd name="T81" fmla="*/ 144 h 192"/>
              <a:gd name="T82" fmla="*/ 138 w 240"/>
              <a:gd name="T83" fmla="*/ 150 h 192"/>
              <a:gd name="T84" fmla="*/ 132 w 240"/>
              <a:gd name="T85" fmla="*/ 156 h 192"/>
              <a:gd name="T86" fmla="*/ 120 w 240"/>
              <a:gd name="T87" fmla="*/ 156 h 192"/>
              <a:gd name="T88" fmla="*/ 114 w 240"/>
              <a:gd name="T89" fmla="*/ 162 h 192"/>
              <a:gd name="T90" fmla="*/ 108 w 240"/>
              <a:gd name="T91" fmla="*/ 162 h 192"/>
              <a:gd name="T92" fmla="*/ 108 w 240"/>
              <a:gd name="T93" fmla="*/ 168 h 192"/>
              <a:gd name="T94" fmla="*/ 96 w 240"/>
              <a:gd name="T95" fmla="*/ 174 h 192"/>
              <a:gd name="T96" fmla="*/ 90 w 240"/>
              <a:gd name="T97" fmla="*/ 180 h 192"/>
              <a:gd name="T98" fmla="*/ 84 w 240"/>
              <a:gd name="T99" fmla="*/ 186 h 192"/>
              <a:gd name="T100" fmla="*/ 84 w 240"/>
              <a:gd name="T101" fmla="*/ 186 h 192"/>
              <a:gd name="T102" fmla="*/ 72 w 240"/>
              <a:gd name="T103" fmla="*/ 192 h 192"/>
              <a:gd name="T104" fmla="*/ 66 w 240"/>
              <a:gd name="T105" fmla="*/ 186 h 192"/>
              <a:gd name="T106" fmla="*/ 54 w 240"/>
              <a:gd name="T107" fmla="*/ 180 h 192"/>
              <a:gd name="T108" fmla="*/ 48 w 240"/>
              <a:gd name="T109" fmla="*/ 180 h 192"/>
              <a:gd name="T110" fmla="*/ 36 w 240"/>
              <a:gd name="T111" fmla="*/ 180 h 192"/>
              <a:gd name="T112" fmla="*/ 24 w 240"/>
              <a:gd name="T113" fmla="*/ 174 h 192"/>
              <a:gd name="T114" fmla="*/ 12 w 240"/>
              <a:gd name="T115" fmla="*/ 156 h 192"/>
              <a:gd name="T116" fmla="*/ 12 w 240"/>
              <a:gd name="T117" fmla="*/ 156 h 192"/>
              <a:gd name="T118" fmla="*/ 6 w 240"/>
              <a:gd name="T119" fmla="*/ 144 h 192"/>
              <a:gd name="T120" fmla="*/ 12 w 240"/>
              <a:gd name="T121" fmla="*/ 132 h 192"/>
              <a:gd name="T122" fmla="*/ 6 w 240"/>
              <a:gd name="T123" fmla="*/ 126 h 192"/>
              <a:gd name="T124" fmla="*/ 0 w 240"/>
              <a:gd name="T125" fmla="*/ 114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40" h="192">
                <a:moveTo>
                  <a:pt x="0" y="114"/>
                </a:moveTo>
                <a:lnTo>
                  <a:pt x="12" y="102"/>
                </a:lnTo>
                <a:lnTo>
                  <a:pt x="30" y="96"/>
                </a:lnTo>
                <a:lnTo>
                  <a:pt x="42" y="90"/>
                </a:lnTo>
                <a:lnTo>
                  <a:pt x="48" y="90"/>
                </a:lnTo>
                <a:lnTo>
                  <a:pt x="60" y="72"/>
                </a:lnTo>
                <a:lnTo>
                  <a:pt x="60" y="66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84" y="42"/>
                </a:lnTo>
                <a:lnTo>
                  <a:pt x="78" y="42"/>
                </a:lnTo>
                <a:lnTo>
                  <a:pt x="84" y="42"/>
                </a:lnTo>
                <a:lnTo>
                  <a:pt x="84" y="42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24"/>
                </a:lnTo>
                <a:lnTo>
                  <a:pt x="84" y="24"/>
                </a:lnTo>
                <a:lnTo>
                  <a:pt x="90" y="24"/>
                </a:lnTo>
                <a:lnTo>
                  <a:pt x="90" y="30"/>
                </a:lnTo>
                <a:lnTo>
                  <a:pt x="108" y="18"/>
                </a:lnTo>
                <a:lnTo>
                  <a:pt x="108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30"/>
                </a:lnTo>
                <a:lnTo>
                  <a:pt x="114" y="30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8" y="36"/>
                </a:lnTo>
                <a:lnTo>
                  <a:pt x="138" y="30"/>
                </a:lnTo>
                <a:lnTo>
                  <a:pt x="138" y="36"/>
                </a:lnTo>
                <a:lnTo>
                  <a:pt x="138" y="36"/>
                </a:lnTo>
                <a:lnTo>
                  <a:pt x="144" y="36"/>
                </a:lnTo>
                <a:lnTo>
                  <a:pt x="144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6" y="36"/>
                </a:lnTo>
                <a:lnTo>
                  <a:pt x="168" y="30"/>
                </a:lnTo>
                <a:lnTo>
                  <a:pt x="186" y="18"/>
                </a:lnTo>
                <a:lnTo>
                  <a:pt x="222" y="0"/>
                </a:lnTo>
                <a:lnTo>
                  <a:pt x="222" y="6"/>
                </a:lnTo>
                <a:lnTo>
                  <a:pt x="216" y="6"/>
                </a:lnTo>
                <a:lnTo>
                  <a:pt x="216" y="12"/>
                </a:lnTo>
                <a:lnTo>
                  <a:pt x="216" y="12"/>
                </a:lnTo>
                <a:lnTo>
                  <a:pt x="216" y="18"/>
                </a:lnTo>
                <a:lnTo>
                  <a:pt x="216" y="24"/>
                </a:lnTo>
                <a:lnTo>
                  <a:pt x="216" y="24"/>
                </a:lnTo>
                <a:lnTo>
                  <a:pt x="216" y="24"/>
                </a:lnTo>
                <a:lnTo>
                  <a:pt x="216" y="24"/>
                </a:lnTo>
                <a:lnTo>
                  <a:pt x="216" y="24"/>
                </a:lnTo>
                <a:lnTo>
                  <a:pt x="216" y="24"/>
                </a:lnTo>
                <a:lnTo>
                  <a:pt x="222" y="30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42"/>
                </a:lnTo>
                <a:lnTo>
                  <a:pt x="222" y="42"/>
                </a:lnTo>
                <a:lnTo>
                  <a:pt x="228" y="42"/>
                </a:lnTo>
                <a:lnTo>
                  <a:pt x="228" y="42"/>
                </a:lnTo>
                <a:lnTo>
                  <a:pt x="234" y="48"/>
                </a:lnTo>
                <a:lnTo>
                  <a:pt x="234" y="48"/>
                </a:lnTo>
                <a:lnTo>
                  <a:pt x="234" y="48"/>
                </a:lnTo>
                <a:lnTo>
                  <a:pt x="234" y="48"/>
                </a:lnTo>
                <a:lnTo>
                  <a:pt x="240" y="48"/>
                </a:lnTo>
                <a:lnTo>
                  <a:pt x="240" y="48"/>
                </a:lnTo>
                <a:lnTo>
                  <a:pt x="240" y="54"/>
                </a:lnTo>
                <a:lnTo>
                  <a:pt x="240" y="54"/>
                </a:lnTo>
                <a:lnTo>
                  <a:pt x="240" y="54"/>
                </a:lnTo>
                <a:lnTo>
                  <a:pt x="234" y="60"/>
                </a:lnTo>
                <a:lnTo>
                  <a:pt x="234" y="60"/>
                </a:lnTo>
                <a:lnTo>
                  <a:pt x="234" y="60"/>
                </a:lnTo>
                <a:lnTo>
                  <a:pt x="234" y="60"/>
                </a:lnTo>
                <a:lnTo>
                  <a:pt x="234" y="60"/>
                </a:lnTo>
                <a:lnTo>
                  <a:pt x="234" y="60"/>
                </a:lnTo>
                <a:lnTo>
                  <a:pt x="234" y="60"/>
                </a:lnTo>
                <a:lnTo>
                  <a:pt x="234" y="60"/>
                </a:lnTo>
                <a:lnTo>
                  <a:pt x="234" y="66"/>
                </a:lnTo>
                <a:lnTo>
                  <a:pt x="234" y="66"/>
                </a:lnTo>
                <a:lnTo>
                  <a:pt x="234" y="72"/>
                </a:lnTo>
                <a:lnTo>
                  <a:pt x="240" y="72"/>
                </a:lnTo>
                <a:lnTo>
                  <a:pt x="240" y="72"/>
                </a:lnTo>
                <a:lnTo>
                  <a:pt x="240" y="72"/>
                </a:lnTo>
                <a:lnTo>
                  <a:pt x="240" y="78"/>
                </a:lnTo>
                <a:lnTo>
                  <a:pt x="234" y="78"/>
                </a:lnTo>
                <a:lnTo>
                  <a:pt x="234" y="78"/>
                </a:lnTo>
                <a:lnTo>
                  <a:pt x="234" y="84"/>
                </a:lnTo>
                <a:lnTo>
                  <a:pt x="228" y="84"/>
                </a:lnTo>
                <a:lnTo>
                  <a:pt x="228" y="84"/>
                </a:lnTo>
                <a:lnTo>
                  <a:pt x="228" y="84"/>
                </a:lnTo>
                <a:lnTo>
                  <a:pt x="222" y="84"/>
                </a:lnTo>
                <a:lnTo>
                  <a:pt x="222" y="84"/>
                </a:lnTo>
                <a:lnTo>
                  <a:pt x="222" y="90"/>
                </a:lnTo>
                <a:lnTo>
                  <a:pt x="222" y="96"/>
                </a:lnTo>
                <a:lnTo>
                  <a:pt x="222" y="102"/>
                </a:lnTo>
                <a:lnTo>
                  <a:pt x="216" y="102"/>
                </a:lnTo>
                <a:lnTo>
                  <a:pt x="216" y="102"/>
                </a:lnTo>
                <a:lnTo>
                  <a:pt x="216" y="108"/>
                </a:lnTo>
                <a:lnTo>
                  <a:pt x="216" y="108"/>
                </a:lnTo>
                <a:lnTo>
                  <a:pt x="216" y="108"/>
                </a:lnTo>
                <a:lnTo>
                  <a:pt x="216" y="114"/>
                </a:lnTo>
                <a:lnTo>
                  <a:pt x="216" y="114"/>
                </a:lnTo>
                <a:lnTo>
                  <a:pt x="210" y="114"/>
                </a:lnTo>
                <a:lnTo>
                  <a:pt x="210" y="114"/>
                </a:lnTo>
                <a:lnTo>
                  <a:pt x="210" y="120"/>
                </a:lnTo>
                <a:lnTo>
                  <a:pt x="210" y="120"/>
                </a:lnTo>
                <a:lnTo>
                  <a:pt x="204" y="120"/>
                </a:lnTo>
                <a:lnTo>
                  <a:pt x="204" y="126"/>
                </a:lnTo>
                <a:lnTo>
                  <a:pt x="204" y="126"/>
                </a:lnTo>
                <a:lnTo>
                  <a:pt x="204" y="126"/>
                </a:lnTo>
                <a:lnTo>
                  <a:pt x="204" y="126"/>
                </a:lnTo>
                <a:lnTo>
                  <a:pt x="198" y="126"/>
                </a:lnTo>
                <a:lnTo>
                  <a:pt x="198" y="126"/>
                </a:lnTo>
                <a:lnTo>
                  <a:pt x="192" y="126"/>
                </a:lnTo>
                <a:lnTo>
                  <a:pt x="192" y="126"/>
                </a:lnTo>
                <a:lnTo>
                  <a:pt x="192" y="126"/>
                </a:lnTo>
                <a:lnTo>
                  <a:pt x="192" y="126"/>
                </a:lnTo>
                <a:lnTo>
                  <a:pt x="192" y="132"/>
                </a:lnTo>
                <a:lnTo>
                  <a:pt x="192" y="132"/>
                </a:lnTo>
                <a:lnTo>
                  <a:pt x="192" y="132"/>
                </a:lnTo>
                <a:lnTo>
                  <a:pt x="192" y="138"/>
                </a:lnTo>
                <a:lnTo>
                  <a:pt x="186" y="138"/>
                </a:lnTo>
                <a:lnTo>
                  <a:pt x="186" y="144"/>
                </a:lnTo>
                <a:lnTo>
                  <a:pt x="186" y="150"/>
                </a:lnTo>
                <a:lnTo>
                  <a:pt x="186" y="150"/>
                </a:lnTo>
                <a:lnTo>
                  <a:pt x="186" y="150"/>
                </a:lnTo>
                <a:lnTo>
                  <a:pt x="180" y="150"/>
                </a:lnTo>
                <a:lnTo>
                  <a:pt x="180" y="150"/>
                </a:lnTo>
                <a:lnTo>
                  <a:pt x="180" y="150"/>
                </a:lnTo>
                <a:lnTo>
                  <a:pt x="180" y="156"/>
                </a:lnTo>
                <a:lnTo>
                  <a:pt x="180" y="156"/>
                </a:lnTo>
                <a:lnTo>
                  <a:pt x="174" y="156"/>
                </a:lnTo>
                <a:lnTo>
                  <a:pt x="174" y="156"/>
                </a:lnTo>
                <a:lnTo>
                  <a:pt x="174" y="156"/>
                </a:lnTo>
                <a:lnTo>
                  <a:pt x="174" y="156"/>
                </a:lnTo>
                <a:lnTo>
                  <a:pt x="174" y="156"/>
                </a:lnTo>
                <a:lnTo>
                  <a:pt x="168" y="156"/>
                </a:lnTo>
                <a:lnTo>
                  <a:pt x="168" y="150"/>
                </a:lnTo>
                <a:lnTo>
                  <a:pt x="168" y="150"/>
                </a:lnTo>
                <a:lnTo>
                  <a:pt x="162" y="156"/>
                </a:lnTo>
                <a:lnTo>
                  <a:pt x="162" y="156"/>
                </a:lnTo>
                <a:lnTo>
                  <a:pt x="162" y="156"/>
                </a:lnTo>
                <a:lnTo>
                  <a:pt x="156" y="150"/>
                </a:lnTo>
                <a:lnTo>
                  <a:pt x="156" y="144"/>
                </a:lnTo>
                <a:lnTo>
                  <a:pt x="156" y="144"/>
                </a:lnTo>
                <a:lnTo>
                  <a:pt x="156" y="144"/>
                </a:lnTo>
                <a:lnTo>
                  <a:pt x="150" y="144"/>
                </a:lnTo>
                <a:lnTo>
                  <a:pt x="150" y="144"/>
                </a:lnTo>
                <a:lnTo>
                  <a:pt x="150" y="144"/>
                </a:lnTo>
                <a:lnTo>
                  <a:pt x="150" y="144"/>
                </a:lnTo>
                <a:lnTo>
                  <a:pt x="144" y="150"/>
                </a:lnTo>
                <a:lnTo>
                  <a:pt x="144" y="150"/>
                </a:lnTo>
                <a:lnTo>
                  <a:pt x="138" y="150"/>
                </a:lnTo>
                <a:lnTo>
                  <a:pt x="138" y="150"/>
                </a:lnTo>
                <a:lnTo>
                  <a:pt x="138" y="150"/>
                </a:lnTo>
                <a:lnTo>
                  <a:pt x="132" y="150"/>
                </a:lnTo>
                <a:lnTo>
                  <a:pt x="132" y="156"/>
                </a:lnTo>
                <a:lnTo>
                  <a:pt x="132" y="156"/>
                </a:lnTo>
                <a:lnTo>
                  <a:pt x="132" y="156"/>
                </a:lnTo>
                <a:lnTo>
                  <a:pt x="126" y="156"/>
                </a:lnTo>
                <a:lnTo>
                  <a:pt x="126" y="156"/>
                </a:lnTo>
                <a:lnTo>
                  <a:pt x="126" y="156"/>
                </a:lnTo>
                <a:lnTo>
                  <a:pt x="126" y="156"/>
                </a:lnTo>
                <a:lnTo>
                  <a:pt x="120" y="156"/>
                </a:lnTo>
                <a:lnTo>
                  <a:pt x="120" y="156"/>
                </a:lnTo>
                <a:lnTo>
                  <a:pt x="114" y="156"/>
                </a:lnTo>
                <a:lnTo>
                  <a:pt x="114" y="156"/>
                </a:lnTo>
                <a:lnTo>
                  <a:pt x="114" y="162"/>
                </a:lnTo>
                <a:lnTo>
                  <a:pt x="114" y="162"/>
                </a:lnTo>
                <a:lnTo>
                  <a:pt x="114" y="162"/>
                </a:lnTo>
                <a:lnTo>
                  <a:pt x="108" y="162"/>
                </a:lnTo>
                <a:lnTo>
                  <a:pt x="108" y="162"/>
                </a:lnTo>
                <a:lnTo>
                  <a:pt x="108" y="162"/>
                </a:lnTo>
                <a:lnTo>
                  <a:pt x="108" y="162"/>
                </a:lnTo>
                <a:lnTo>
                  <a:pt x="108" y="162"/>
                </a:lnTo>
                <a:lnTo>
                  <a:pt x="108" y="162"/>
                </a:lnTo>
                <a:lnTo>
                  <a:pt x="108" y="168"/>
                </a:lnTo>
                <a:lnTo>
                  <a:pt x="108" y="168"/>
                </a:lnTo>
                <a:lnTo>
                  <a:pt x="108" y="168"/>
                </a:lnTo>
                <a:lnTo>
                  <a:pt x="108" y="174"/>
                </a:lnTo>
                <a:lnTo>
                  <a:pt x="102" y="174"/>
                </a:lnTo>
                <a:lnTo>
                  <a:pt x="102" y="174"/>
                </a:lnTo>
                <a:lnTo>
                  <a:pt x="102" y="174"/>
                </a:lnTo>
                <a:lnTo>
                  <a:pt x="96" y="174"/>
                </a:lnTo>
                <a:lnTo>
                  <a:pt x="96" y="174"/>
                </a:lnTo>
                <a:lnTo>
                  <a:pt x="96" y="174"/>
                </a:lnTo>
                <a:lnTo>
                  <a:pt x="96" y="174"/>
                </a:lnTo>
                <a:lnTo>
                  <a:pt x="90" y="180"/>
                </a:lnTo>
                <a:lnTo>
                  <a:pt x="90" y="180"/>
                </a:lnTo>
                <a:lnTo>
                  <a:pt x="90" y="186"/>
                </a:lnTo>
                <a:lnTo>
                  <a:pt x="90" y="186"/>
                </a:lnTo>
                <a:lnTo>
                  <a:pt x="90" y="186"/>
                </a:lnTo>
                <a:lnTo>
                  <a:pt x="90" y="186"/>
                </a:lnTo>
                <a:lnTo>
                  <a:pt x="84" y="186"/>
                </a:lnTo>
                <a:lnTo>
                  <a:pt x="84" y="186"/>
                </a:lnTo>
                <a:lnTo>
                  <a:pt x="84" y="186"/>
                </a:lnTo>
                <a:lnTo>
                  <a:pt x="84" y="186"/>
                </a:lnTo>
                <a:lnTo>
                  <a:pt x="84" y="186"/>
                </a:lnTo>
                <a:lnTo>
                  <a:pt x="84" y="186"/>
                </a:lnTo>
                <a:lnTo>
                  <a:pt x="78" y="192"/>
                </a:lnTo>
                <a:lnTo>
                  <a:pt x="78" y="192"/>
                </a:lnTo>
                <a:lnTo>
                  <a:pt x="78" y="192"/>
                </a:lnTo>
                <a:lnTo>
                  <a:pt x="78" y="192"/>
                </a:lnTo>
                <a:lnTo>
                  <a:pt x="72" y="192"/>
                </a:lnTo>
                <a:lnTo>
                  <a:pt x="66" y="192"/>
                </a:lnTo>
                <a:lnTo>
                  <a:pt x="66" y="186"/>
                </a:lnTo>
                <a:lnTo>
                  <a:pt x="66" y="186"/>
                </a:lnTo>
                <a:lnTo>
                  <a:pt x="66" y="186"/>
                </a:lnTo>
                <a:lnTo>
                  <a:pt x="66" y="186"/>
                </a:lnTo>
                <a:lnTo>
                  <a:pt x="60" y="186"/>
                </a:lnTo>
                <a:lnTo>
                  <a:pt x="60" y="186"/>
                </a:lnTo>
                <a:lnTo>
                  <a:pt x="60" y="186"/>
                </a:lnTo>
                <a:lnTo>
                  <a:pt x="60" y="180"/>
                </a:lnTo>
                <a:lnTo>
                  <a:pt x="54" y="180"/>
                </a:lnTo>
                <a:lnTo>
                  <a:pt x="54" y="180"/>
                </a:lnTo>
                <a:lnTo>
                  <a:pt x="54" y="180"/>
                </a:lnTo>
                <a:lnTo>
                  <a:pt x="48" y="180"/>
                </a:lnTo>
                <a:lnTo>
                  <a:pt x="48" y="180"/>
                </a:lnTo>
                <a:lnTo>
                  <a:pt x="48" y="180"/>
                </a:lnTo>
                <a:lnTo>
                  <a:pt x="42" y="180"/>
                </a:lnTo>
                <a:lnTo>
                  <a:pt x="36" y="180"/>
                </a:lnTo>
                <a:lnTo>
                  <a:pt x="36" y="180"/>
                </a:lnTo>
                <a:lnTo>
                  <a:pt x="36" y="180"/>
                </a:lnTo>
                <a:lnTo>
                  <a:pt x="36" y="180"/>
                </a:lnTo>
                <a:lnTo>
                  <a:pt x="30" y="180"/>
                </a:lnTo>
                <a:lnTo>
                  <a:pt x="30" y="180"/>
                </a:lnTo>
                <a:lnTo>
                  <a:pt x="30" y="174"/>
                </a:lnTo>
                <a:lnTo>
                  <a:pt x="30" y="174"/>
                </a:lnTo>
                <a:lnTo>
                  <a:pt x="24" y="174"/>
                </a:lnTo>
                <a:lnTo>
                  <a:pt x="24" y="168"/>
                </a:lnTo>
                <a:lnTo>
                  <a:pt x="18" y="168"/>
                </a:lnTo>
                <a:lnTo>
                  <a:pt x="18" y="162"/>
                </a:lnTo>
                <a:lnTo>
                  <a:pt x="18" y="156"/>
                </a:lnTo>
                <a:lnTo>
                  <a:pt x="12" y="156"/>
                </a:lnTo>
                <a:lnTo>
                  <a:pt x="12" y="156"/>
                </a:lnTo>
                <a:lnTo>
                  <a:pt x="12" y="156"/>
                </a:lnTo>
                <a:lnTo>
                  <a:pt x="12" y="156"/>
                </a:lnTo>
                <a:lnTo>
                  <a:pt x="12" y="156"/>
                </a:lnTo>
                <a:lnTo>
                  <a:pt x="12" y="156"/>
                </a:lnTo>
                <a:lnTo>
                  <a:pt x="6" y="156"/>
                </a:lnTo>
                <a:lnTo>
                  <a:pt x="6" y="156"/>
                </a:lnTo>
                <a:lnTo>
                  <a:pt x="6" y="150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38"/>
                </a:lnTo>
                <a:lnTo>
                  <a:pt x="6" y="138"/>
                </a:lnTo>
                <a:lnTo>
                  <a:pt x="6" y="138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26"/>
                </a:lnTo>
                <a:lnTo>
                  <a:pt x="6" y="126"/>
                </a:lnTo>
                <a:lnTo>
                  <a:pt x="6" y="120"/>
                </a:lnTo>
                <a:lnTo>
                  <a:pt x="6" y="120"/>
                </a:lnTo>
                <a:lnTo>
                  <a:pt x="6" y="114"/>
                </a:lnTo>
                <a:lnTo>
                  <a:pt x="0" y="114"/>
                </a:lnTo>
                <a:lnTo>
                  <a:pt x="0" y="114"/>
                </a:lnTo>
                <a:lnTo>
                  <a:pt x="0" y="11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60" name="Freeform 93"/>
          <p:cNvSpPr>
            <a:spLocks/>
          </p:cNvSpPr>
          <p:nvPr/>
        </p:nvSpPr>
        <p:spPr bwMode="auto">
          <a:xfrm>
            <a:off x="7269417" y="2092142"/>
            <a:ext cx="256962" cy="340477"/>
          </a:xfrm>
          <a:custGeom>
            <a:avLst/>
            <a:gdLst>
              <a:gd name="T0" fmla="*/ 18 w 240"/>
              <a:gd name="T1" fmla="*/ 210 h 318"/>
              <a:gd name="T2" fmla="*/ 24 w 240"/>
              <a:gd name="T3" fmla="*/ 204 h 318"/>
              <a:gd name="T4" fmla="*/ 30 w 240"/>
              <a:gd name="T5" fmla="*/ 198 h 318"/>
              <a:gd name="T6" fmla="*/ 30 w 240"/>
              <a:gd name="T7" fmla="*/ 186 h 318"/>
              <a:gd name="T8" fmla="*/ 36 w 240"/>
              <a:gd name="T9" fmla="*/ 174 h 318"/>
              <a:gd name="T10" fmla="*/ 36 w 240"/>
              <a:gd name="T11" fmla="*/ 168 h 318"/>
              <a:gd name="T12" fmla="*/ 42 w 240"/>
              <a:gd name="T13" fmla="*/ 162 h 318"/>
              <a:gd name="T14" fmla="*/ 48 w 240"/>
              <a:gd name="T15" fmla="*/ 144 h 318"/>
              <a:gd name="T16" fmla="*/ 54 w 240"/>
              <a:gd name="T17" fmla="*/ 132 h 318"/>
              <a:gd name="T18" fmla="*/ 60 w 240"/>
              <a:gd name="T19" fmla="*/ 120 h 318"/>
              <a:gd name="T20" fmla="*/ 60 w 240"/>
              <a:gd name="T21" fmla="*/ 114 h 318"/>
              <a:gd name="T22" fmla="*/ 60 w 240"/>
              <a:gd name="T23" fmla="*/ 108 h 318"/>
              <a:gd name="T24" fmla="*/ 60 w 240"/>
              <a:gd name="T25" fmla="*/ 102 h 318"/>
              <a:gd name="T26" fmla="*/ 66 w 240"/>
              <a:gd name="T27" fmla="*/ 90 h 318"/>
              <a:gd name="T28" fmla="*/ 66 w 240"/>
              <a:gd name="T29" fmla="*/ 84 h 318"/>
              <a:gd name="T30" fmla="*/ 72 w 240"/>
              <a:gd name="T31" fmla="*/ 78 h 318"/>
              <a:gd name="T32" fmla="*/ 72 w 240"/>
              <a:gd name="T33" fmla="*/ 72 h 318"/>
              <a:gd name="T34" fmla="*/ 78 w 240"/>
              <a:gd name="T35" fmla="*/ 72 h 318"/>
              <a:gd name="T36" fmla="*/ 84 w 240"/>
              <a:gd name="T37" fmla="*/ 66 h 318"/>
              <a:gd name="T38" fmla="*/ 96 w 240"/>
              <a:gd name="T39" fmla="*/ 60 h 318"/>
              <a:gd name="T40" fmla="*/ 108 w 240"/>
              <a:gd name="T41" fmla="*/ 60 h 318"/>
              <a:gd name="T42" fmla="*/ 120 w 240"/>
              <a:gd name="T43" fmla="*/ 54 h 318"/>
              <a:gd name="T44" fmla="*/ 132 w 240"/>
              <a:gd name="T45" fmla="*/ 48 h 318"/>
              <a:gd name="T46" fmla="*/ 138 w 240"/>
              <a:gd name="T47" fmla="*/ 48 h 318"/>
              <a:gd name="T48" fmla="*/ 150 w 240"/>
              <a:gd name="T49" fmla="*/ 42 h 318"/>
              <a:gd name="T50" fmla="*/ 162 w 240"/>
              <a:gd name="T51" fmla="*/ 36 h 318"/>
              <a:gd name="T52" fmla="*/ 174 w 240"/>
              <a:gd name="T53" fmla="*/ 36 h 318"/>
              <a:gd name="T54" fmla="*/ 186 w 240"/>
              <a:gd name="T55" fmla="*/ 24 h 318"/>
              <a:gd name="T56" fmla="*/ 192 w 240"/>
              <a:gd name="T57" fmla="*/ 12 h 318"/>
              <a:gd name="T58" fmla="*/ 210 w 240"/>
              <a:gd name="T59" fmla="*/ 6 h 318"/>
              <a:gd name="T60" fmla="*/ 216 w 240"/>
              <a:gd name="T61" fmla="*/ 6 h 318"/>
              <a:gd name="T62" fmla="*/ 222 w 240"/>
              <a:gd name="T63" fmla="*/ 24 h 318"/>
              <a:gd name="T64" fmla="*/ 222 w 240"/>
              <a:gd name="T65" fmla="*/ 48 h 318"/>
              <a:gd name="T66" fmla="*/ 150 w 240"/>
              <a:gd name="T67" fmla="*/ 150 h 318"/>
              <a:gd name="T68" fmla="*/ 156 w 240"/>
              <a:gd name="T69" fmla="*/ 162 h 318"/>
              <a:gd name="T70" fmla="*/ 156 w 240"/>
              <a:gd name="T71" fmla="*/ 168 h 318"/>
              <a:gd name="T72" fmla="*/ 150 w 240"/>
              <a:gd name="T73" fmla="*/ 174 h 318"/>
              <a:gd name="T74" fmla="*/ 150 w 240"/>
              <a:gd name="T75" fmla="*/ 180 h 318"/>
              <a:gd name="T76" fmla="*/ 150 w 240"/>
              <a:gd name="T77" fmla="*/ 186 h 318"/>
              <a:gd name="T78" fmla="*/ 144 w 240"/>
              <a:gd name="T79" fmla="*/ 198 h 318"/>
              <a:gd name="T80" fmla="*/ 144 w 240"/>
              <a:gd name="T81" fmla="*/ 222 h 318"/>
              <a:gd name="T82" fmla="*/ 138 w 240"/>
              <a:gd name="T83" fmla="*/ 234 h 318"/>
              <a:gd name="T84" fmla="*/ 126 w 240"/>
              <a:gd name="T85" fmla="*/ 240 h 318"/>
              <a:gd name="T86" fmla="*/ 114 w 240"/>
              <a:gd name="T87" fmla="*/ 252 h 318"/>
              <a:gd name="T88" fmla="*/ 108 w 240"/>
              <a:gd name="T89" fmla="*/ 258 h 318"/>
              <a:gd name="T90" fmla="*/ 90 w 240"/>
              <a:gd name="T91" fmla="*/ 282 h 318"/>
              <a:gd name="T92" fmla="*/ 60 w 240"/>
              <a:gd name="T93" fmla="*/ 312 h 318"/>
              <a:gd name="T94" fmla="*/ 48 w 240"/>
              <a:gd name="T95" fmla="*/ 312 h 318"/>
              <a:gd name="T96" fmla="*/ 42 w 240"/>
              <a:gd name="T97" fmla="*/ 318 h 318"/>
              <a:gd name="T98" fmla="*/ 36 w 240"/>
              <a:gd name="T99" fmla="*/ 318 h 318"/>
              <a:gd name="T100" fmla="*/ 36 w 240"/>
              <a:gd name="T101" fmla="*/ 318 h 318"/>
              <a:gd name="T102" fmla="*/ 30 w 240"/>
              <a:gd name="T103" fmla="*/ 312 h 318"/>
              <a:gd name="T104" fmla="*/ 30 w 240"/>
              <a:gd name="T105" fmla="*/ 306 h 318"/>
              <a:gd name="T106" fmla="*/ 24 w 240"/>
              <a:gd name="T107" fmla="*/ 300 h 318"/>
              <a:gd name="T108" fmla="*/ 18 w 240"/>
              <a:gd name="T109" fmla="*/ 294 h 318"/>
              <a:gd name="T110" fmla="*/ 12 w 240"/>
              <a:gd name="T111" fmla="*/ 288 h 318"/>
              <a:gd name="T112" fmla="*/ 12 w 240"/>
              <a:gd name="T113" fmla="*/ 282 h 318"/>
              <a:gd name="T114" fmla="*/ 12 w 240"/>
              <a:gd name="T115" fmla="*/ 270 h 318"/>
              <a:gd name="T116" fmla="*/ 12 w 240"/>
              <a:gd name="T117" fmla="*/ 258 h 318"/>
              <a:gd name="T118" fmla="*/ 6 w 240"/>
              <a:gd name="T119" fmla="*/ 252 h 318"/>
              <a:gd name="T120" fmla="*/ 0 w 240"/>
              <a:gd name="T121" fmla="*/ 240 h 318"/>
              <a:gd name="T122" fmla="*/ 0 w 240"/>
              <a:gd name="T123" fmla="*/ 234 h 318"/>
              <a:gd name="T124" fmla="*/ 6 w 240"/>
              <a:gd name="T125" fmla="*/ 228 h 3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40" h="318">
                <a:moveTo>
                  <a:pt x="6" y="222"/>
                </a:moveTo>
                <a:lnTo>
                  <a:pt x="6" y="216"/>
                </a:lnTo>
                <a:lnTo>
                  <a:pt x="12" y="216"/>
                </a:lnTo>
                <a:lnTo>
                  <a:pt x="12" y="216"/>
                </a:lnTo>
                <a:lnTo>
                  <a:pt x="12" y="216"/>
                </a:lnTo>
                <a:lnTo>
                  <a:pt x="12" y="216"/>
                </a:lnTo>
                <a:lnTo>
                  <a:pt x="18" y="210"/>
                </a:lnTo>
                <a:lnTo>
                  <a:pt x="18" y="210"/>
                </a:lnTo>
                <a:lnTo>
                  <a:pt x="18" y="210"/>
                </a:lnTo>
                <a:lnTo>
                  <a:pt x="18" y="210"/>
                </a:lnTo>
                <a:lnTo>
                  <a:pt x="18" y="210"/>
                </a:lnTo>
                <a:lnTo>
                  <a:pt x="24" y="204"/>
                </a:lnTo>
                <a:lnTo>
                  <a:pt x="24" y="204"/>
                </a:lnTo>
                <a:lnTo>
                  <a:pt x="24" y="204"/>
                </a:lnTo>
                <a:lnTo>
                  <a:pt x="24" y="204"/>
                </a:lnTo>
                <a:lnTo>
                  <a:pt x="24" y="198"/>
                </a:lnTo>
                <a:lnTo>
                  <a:pt x="24" y="198"/>
                </a:lnTo>
                <a:lnTo>
                  <a:pt x="24" y="198"/>
                </a:lnTo>
                <a:lnTo>
                  <a:pt x="24" y="198"/>
                </a:lnTo>
                <a:lnTo>
                  <a:pt x="30" y="198"/>
                </a:lnTo>
                <a:lnTo>
                  <a:pt x="30" y="198"/>
                </a:lnTo>
                <a:lnTo>
                  <a:pt x="24" y="192"/>
                </a:lnTo>
                <a:lnTo>
                  <a:pt x="24" y="192"/>
                </a:lnTo>
                <a:lnTo>
                  <a:pt x="30" y="192"/>
                </a:lnTo>
                <a:lnTo>
                  <a:pt x="30" y="192"/>
                </a:lnTo>
                <a:lnTo>
                  <a:pt x="30" y="186"/>
                </a:lnTo>
                <a:lnTo>
                  <a:pt x="30" y="186"/>
                </a:lnTo>
                <a:lnTo>
                  <a:pt x="30" y="186"/>
                </a:lnTo>
                <a:lnTo>
                  <a:pt x="30" y="186"/>
                </a:lnTo>
                <a:lnTo>
                  <a:pt x="30" y="186"/>
                </a:lnTo>
                <a:lnTo>
                  <a:pt x="36" y="180"/>
                </a:lnTo>
                <a:lnTo>
                  <a:pt x="36" y="180"/>
                </a:lnTo>
                <a:lnTo>
                  <a:pt x="36" y="180"/>
                </a:lnTo>
                <a:lnTo>
                  <a:pt x="36" y="174"/>
                </a:lnTo>
                <a:lnTo>
                  <a:pt x="36" y="174"/>
                </a:lnTo>
                <a:lnTo>
                  <a:pt x="36" y="174"/>
                </a:lnTo>
                <a:lnTo>
                  <a:pt x="36" y="174"/>
                </a:lnTo>
                <a:lnTo>
                  <a:pt x="36" y="174"/>
                </a:lnTo>
                <a:lnTo>
                  <a:pt x="36" y="174"/>
                </a:lnTo>
                <a:lnTo>
                  <a:pt x="36" y="168"/>
                </a:lnTo>
                <a:lnTo>
                  <a:pt x="36" y="168"/>
                </a:lnTo>
                <a:lnTo>
                  <a:pt x="36" y="168"/>
                </a:lnTo>
                <a:lnTo>
                  <a:pt x="36" y="168"/>
                </a:lnTo>
                <a:lnTo>
                  <a:pt x="36" y="168"/>
                </a:lnTo>
                <a:lnTo>
                  <a:pt x="42" y="168"/>
                </a:lnTo>
                <a:lnTo>
                  <a:pt x="36" y="168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56"/>
                </a:lnTo>
                <a:lnTo>
                  <a:pt x="42" y="156"/>
                </a:lnTo>
                <a:lnTo>
                  <a:pt x="42" y="150"/>
                </a:lnTo>
                <a:lnTo>
                  <a:pt x="54" y="144"/>
                </a:lnTo>
                <a:lnTo>
                  <a:pt x="48" y="144"/>
                </a:lnTo>
                <a:lnTo>
                  <a:pt x="48" y="144"/>
                </a:lnTo>
                <a:lnTo>
                  <a:pt x="54" y="144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26"/>
                </a:lnTo>
                <a:lnTo>
                  <a:pt x="54" y="126"/>
                </a:lnTo>
                <a:lnTo>
                  <a:pt x="60" y="126"/>
                </a:lnTo>
                <a:lnTo>
                  <a:pt x="54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54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96"/>
                </a:lnTo>
                <a:lnTo>
                  <a:pt x="60" y="96"/>
                </a:lnTo>
                <a:lnTo>
                  <a:pt x="66" y="96"/>
                </a:lnTo>
                <a:lnTo>
                  <a:pt x="66" y="96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2"/>
                </a:lnTo>
                <a:lnTo>
                  <a:pt x="72" y="72"/>
                </a:lnTo>
                <a:lnTo>
                  <a:pt x="72" y="78"/>
                </a:lnTo>
                <a:lnTo>
                  <a:pt x="72" y="78"/>
                </a:lnTo>
                <a:lnTo>
                  <a:pt x="72" y="72"/>
                </a:lnTo>
                <a:lnTo>
                  <a:pt x="72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84" y="66"/>
                </a:lnTo>
                <a:lnTo>
                  <a:pt x="84" y="66"/>
                </a:lnTo>
                <a:lnTo>
                  <a:pt x="84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8" y="60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6" y="54"/>
                </a:lnTo>
                <a:lnTo>
                  <a:pt x="126" y="54"/>
                </a:lnTo>
                <a:lnTo>
                  <a:pt x="132" y="54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8" y="48"/>
                </a:lnTo>
                <a:lnTo>
                  <a:pt x="138" y="48"/>
                </a:lnTo>
                <a:lnTo>
                  <a:pt x="138" y="48"/>
                </a:lnTo>
                <a:lnTo>
                  <a:pt x="138" y="48"/>
                </a:lnTo>
                <a:lnTo>
                  <a:pt x="138" y="48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36"/>
                </a:lnTo>
                <a:lnTo>
                  <a:pt x="150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62" y="36"/>
                </a:lnTo>
                <a:lnTo>
                  <a:pt x="168" y="36"/>
                </a:lnTo>
                <a:lnTo>
                  <a:pt x="168" y="36"/>
                </a:lnTo>
                <a:lnTo>
                  <a:pt x="168" y="36"/>
                </a:lnTo>
                <a:lnTo>
                  <a:pt x="168" y="36"/>
                </a:lnTo>
                <a:lnTo>
                  <a:pt x="168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24"/>
                </a:lnTo>
                <a:lnTo>
                  <a:pt x="186" y="24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92" y="18"/>
                </a:lnTo>
                <a:lnTo>
                  <a:pt x="192" y="18"/>
                </a:lnTo>
                <a:lnTo>
                  <a:pt x="192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6"/>
                </a:lnTo>
                <a:lnTo>
                  <a:pt x="204" y="6"/>
                </a:lnTo>
                <a:lnTo>
                  <a:pt x="204" y="6"/>
                </a:lnTo>
                <a:lnTo>
                  <a:pt x="210" y="6"/>
                </a:lnTo>
                <a:lnTo>
                  <a:pt x="210" y="0"/>
                </a:lnTo>
                <a:lnTo>
                  <a:pt x="216" y="0"/>
                </a:lnTo>
                <a:lnTo>
                  <a:pt x="216" y="0"/>
                </a:lnTo>
                <a:lnTo>
                  <a:pt x="222" y="0"/>
                </a:lnTo>
                <a:lnTo>
                  <a:pt x="216" y="6"/>
                </a:lnTo>
                <a:lnTo>
                  <a:pt x="216" y="6"/>
                </a:lnTo>
                <a:lnTo>
                  <a:pt x="216" y="6"/>
                </a:lnTo>
                <a:lnTo>
                  <a:pt x="216" y="12"/>
                </a:lnTo>
                <a:lnTo>
                  <a:pt x="216" y="12"/>
                </a:lnTo>
                <a:lnTo>
                  <a:pt x="216" y="12"/>
                </a:lnTo>
                <a:lnTo>
                  <a:pt x="216" y="12"/>
                </a:lnTo>
                <a:lnTo>
                  <a:pt x="216" y="18"/>
                </a:lnTo>
                <a:lnTo>
                  <a:pt x="216" y="18"/>
                </a:lnTo>
                <a:lnTo>
                  <a:pt x="222" y="24"/>
                </a:lnTo>
                <a:lnTo>
                  <a:pt x="216" y="24"/>
                </a:lnTo>
                <a:lnTo>
                  <a:pt x="216" y="30"/>
                </a:lnTo>
                <a:lnTo>
                  <a:pt x="216" y="36"/>
                </a:lnTo>
                <a:lnTo>
                  <a:pt x="216" y="36"/>
                </a:lnTo>
                <a:lnTo>
                  <a:pt x="216" y="42"/>
                </a:lnTo>
                <a:lnTo>
                  <a:pt x="216" y="42"/>
                </a:lnTo>
                <a:lnTo>
                  <a:pt x="222" y="48"/>
                </a:lnTo>
                <a:lnTo>
                  <a:pt x="228" y="48"/>
                </a:lnTo>
                <a:lnTo>
                  <a:pt x="240" y="60"/>
                </a:lnTo>
                <a:lnTo>
                  <a:pt x="216" y="156"/>
                </a:lnTo>
                <a:lnTo>
                  <a:pt x="210" y="168"/>
                </a:lnTo>
                <a:lnTo>
                  <a:pt x="210" y="180"/>
                </a:lnTo>
                <a:lnTo>
                  <a:pt x="150" y="150"/>
                </a:lnTo>
                <a:lnTo>
                  <a:pt x="150" y="150"/>
                </a:lnTo>
                <a:lnTo>
                  <a:pt x="150" y="156"/>
                </a:lnTo>
                <a:lnTo>
                  <a:pt x="150" y="156"/>
                </a:lnTo>
                <a:lnTo>
                  <a:pt x="150" y="156"/>
                </a:lnTo>
                <a:lnTo>
                  <a:pt x="150" y="156"/>
                </a:lnTo>
                <a:lnTo>
                  <a:pt x="150" y="156"/>
                </a:lnTo>
                <a:lnTo>
                  <a:pt x="150" y="162"/>
                </a:lnTo>
                <a:lnTo>
                  <a:pt x="156" y="162"/>
                </a:lnTo>
                <a:lnTo>
                  <a:pt x="156" y="162"/>
                </a:lnTo>
                <a:lnTo>
                  <a:pt x="156" y="162"/>
                </a:lnTo>
                <a:lnTo>
                  <a:pt x="156" y="162"/>
                </a:lnTo>
                <a:lnTo>
                  <a:pt x="156" y="162"/>
                </a:lnTo>
                <a:lnTo>
                  <a:pt x="156" y="162"/>
                </a:lnTo>
                <a:lnTo>
                  <a:pt x="156" y="168"/>
                </a:lnTo>
                <a:lnTo>
                  <a:pt x="156" y="168"/>
                </a:lnTo>
                <a:lnTo>
                  <a:pt x="156" y="168"/>
                </a:lnTo>
                <a:lnTo>
                  <a:pt x="156" y="168"/>
                </a:lnTo>
                <a:lnTo>
                  <a:pt x="156" y="168"/>
                </a:lnTo>
                <a:lnTo>
                  <a:pt x="156" y="168"/>
                </a:lnTo>
                <a:lnTo>
                  <a:pt x="150" y="174"/>
                </a:lnTo>
                <a:lnTo>
                  <a:pt x="150" y="174"/>
                </a:lnTo>
                <a:lnTo>
                  <a:pt x="150" y="174"/>
                </a:lnTo>
                <a:lnTo>
                  <a:pt x="150" y="174"/>
                </a:lnTo>
                <a:lnTo>
                  <a:pt x="150" y="174"/>
                </a:lnTo>
                <a:lnTo>
                  <a:pt x="150" y="174"/>
                </a:lnTo>
                <a:lnTo>
                  <a:pt x="150" y="174"/>
                </a:lnTo>
                <a:lnTo>
                  <a:pt x="150" y="174"/>
                </a:lnTo>
                <a:lnTo>
                  <a:pt x="150" y="180"/>
                </a:lnTo>
                <a:lnTo>
                  <a:pt x="150" y="180"/>
                </a:lnTo>
                <a:lnTo>
                  <a:pt x="150" y="180"/>
                </a:lnTo>
                <a:lnTo>
                  <a:pt x="150" y="180"/>
                </a:lnTo>
                <a:lnTo>
                  <a:pt x="150" y="180"/>
                </a:lnTo>
                <a:lnTo>
                  <a:pt x="150" y="186"/>
                </a:lnTo>
                <a:lnTo>
                  <a:pt x="150" y="186"/>
                </a:lnTo>
                <a:lnTo>
                  <a:pt x="150" y="186"/>
                </a:lnTo>
                <a:lnTo>
                  <a:pt x="150" y="186"/>
                </a:lnTo>
                <a:lnTo>
                  <a:pt x="150" y="186"/>
                </a:lnTo>
                <a:lnTo>
                  <a:pt x="144" y="186"/>
                </a:lnTo>
                <a:lnTo>
                  <a:pt x="144" y="186"/>
                </a:lnTo>
                <a:lnTo>
                  <a:pt x="144" y="192"/>
                </a:lnTo>
                <a:lnTo>
                  <a:pt x="144" y="192"/>
                </a:lnTo>
                <a:lnTo>
                  <a:pt x="144" y="192"/>
                </a:lnTo>
                <a:lnTo>
                  <a:pt x="144" y="198"/>
                </a:lnTo>
                <a:lnTo>
                  <a:pt x="144" y="204"/>
                </a:lnTo>
                <a:lnTo>
                  <a:pt x="144" y="204"/>
                </a:lnTo>
                <a:lnTo>
                  <a:pt x="144" y="216"/>
                </a:lnTo>
                <a:lnTo>
                  <a:pt x="144" y="216"/>
                </a:lnTo>
                <a:lnTo>
                  <a:pt x="144" y="216"/>
                </a:lnTo>
                <a:lnTo>
                  <a:pt x="144" y="216"/>
                </a:lnTo>
                <a:lnTo>
                  <a:pt x="144" y="222"/>
                </a:lnTo>
                <a:lnTo>
                  <a:pt x="144" y="222"/>
                </a:lnTo>
                <a:lnTo>
                  <a:pt x="144" y="222"/>
                </a:lnTo>
                <a:lnTo>
                  <a:pt x="138" y="228"/>
                </a:lnTo>
                <a:lnTo>
                  <a:pt x="138" y="228"/>
                </a:lnTo>
                <a:lnTo>
                  <a:pt x="138" y="228"/>
                </a:lnTo>
                <a:lnTo>
                  <a:pt x="138" y="228"/>
                </a:lnTo>
                <a:lnTo>
                  <a:pt x="138" y="234"/>
                </a:lnTo>
                <a:lnTo>
                  <a:pt x="138" y="234"/>
                </a:lnTo>
                <a:lnTo>
                  <a:pt x="132" y="234"/>
                </a:lnTo>
                <a:lnTo>
                  <a:pt x="132" y="234"/>
                </a:lnTo>
                <a:lnTo>
                  <a:pt x="132" y="240"/>
                </a:lnTo>
                <a:lnTo>
                  <a:pt x="126" y="240"/>
                </a:lnTo>
                <a:lnTo>
                  <a:pt x="126" y="240"/>
                </a:lnTo>
                <a:lnTo>
                  <a:pt x="126" y="240"/>
                </a:lnTo>
                <a:lnTo>
                  <a:pt x="120" y="246"/>
                </a:lnTo>
                <a:lnTo>
                  <a:pt x="120" y="246"/>
                </a:lnTo>
                <a:lnTo>
                  <a:pt x="120" y="246"/>
                </a:lnTo>
                <a:lnTo>
                  <a:pt x="120" y="246"/>
                </a:lnTo>
                <a:lnTo>
                  <a:pt x="114" y="252"/>
                </a:lnTo>
                <a:lnTo>
                  <a:pt x="114" y="252"/>
                </a:lnTo>
                <a:lnTo>
                  <a:pt x="114" y="252"/>
                </a:lnTo>
                <a:lnTo>
                  <a:pt x="114" y="252"/>
                </a:lnTo>
                <a:lnTo>
                  <a:pt x="108" y="252"/>
                </a:lnTo>
                <a:lnTo>
                  <a:pt x="108" y="258"/>
                </a:lnTo>
                <a:lnTo>
                  <a:pt x="108" y="258"/>
                </a:lnTo>
                <a:lnTo>
                  <a:pt x="108" y="258"/>
                </a:lnTo>
                <a:lnTo>
                  <a:pt x="108" y="258"/>
                </a:lnTo>
                <a:lnTo>
                  <a:pt x="108" y="258"/>
                </a:lnTo>
                <a:lnTo>
                  <a:pt x="108" y="264"/>
                </a:lnTo>
                <a:lnTo>
                  <a:pt x="108" y="264"/>
                </a:lnTo>
                <a:lnTo>
                  <a:pt x="102" y="264"/>
                </a:lnTo>
                <a:lnTo>
                  <a:pt x="102" y="270"/>
                </a:lnTo>
                <a:lnTo>
                  <a:pt x="96" y="270"/>
                </a:lnTo>
                <a:lnTo>
                  <a:pt x="96" y="276"/>
                </a:lnTo>
                <a:lnTo>
                  <a:pt x="90" y="282"/>
                </a:lnTo>
                <a:lnTo>
                  <a:pt x="66" y="270"/>
                </a:lnTo>
                <a:lnTo>
                  <a:pt x="78" y="306"/>
                </a:lnTo>
                <a:lnTo>
                  <a:pt x="66" y="306"/>
                </a:lnTo>
                <a:lnTo>
                  <a:pt x="66" y="306"/>
                </a:lnTo>
                <a:lnTo>
                  <a:pt x="60" y="306"/>
                </a:lnTo>
                <a:lnTo>
                  <a:pt x="66" y="312"/>
                </a:lnTo>
                <a:lnTo>
                  <a:pt x="60" y="312"/>
                </a:lnTo>
                <a:lnTo>
                  <a:pt x="60" y="312"/>
                </a:lnTo>
                <a:lnTo>
                  <a:pt x="54" y="312"/>
                </a:lnTo>
                <a:lnTo>
                  <a:pt x="54" y="312"/>
                </a:lnTo>
                <a:lnTo>
                  <a:pt x="54" y="312"/>
                </a:lnTo>
                <a:lnTo>
                  <a:pt x="54" y="312"/>
                </a:lnTo>
                <a:lnTo>
                  <a:pt x="54" y="312"/>
                </a:lnTo>
                <a:lnTo>
                  <a:pt x="48" y="312"/>
                </a:lnTo>
                <a:lnTo>
                  <a:pt x="48" y="318"/>
                </a:lnTo>
                <a:lnTo>
                  <a:pt x="42" y="318"/>
                </a:lnTo>
                <a:lnTo>
                  <a:pt x="42" y="318"/>
                </a:lnTo>
                <a:lnTo>
                  <a:pt x="42" y="318"/>
                </a:lnTo>
                <a:lnTo>
                  <a:pt x="42" y="318"/>
                </a:lnTo>
                <a:lnTo>
                  <a:pt x="42" y="318"/>
                </a:lnTo>
                <a:lnTo>
                  <a:pt x="42" y="318"/>
                </a:lnTo>
                <a:lnTo>
                  <a:pt x="36" y="318"/>
                </a:lnTo>
                <a:lnTo>
                  <a:pt x="36" y="318"/>
                </a:lnTo>
                <a:lnTo>
                  <a:pt x="36" y="318"/>
                </a:lnTo>
                <a:lnTo>
                  <a:pt x="36" y="318"/>
                </a:lnTo>
                <a:lnTo>
                  <a:pt x="36" y="318"/>
                </a:lnTo>
                <a:lnTo>
                  <a:pt x="36" y="318"/>
                </a:lnTo>
                <a:lnTo>
                  <a:pt x="36" y="318"/>
                </a:lnTo>
                <a:lnTo>
                  <a:pt x="36" y="318"/>
                </a:lnTo>
                <a:lnTo>
                  <a:pt x="36" y="318"/>
                </a:lnTo>
                <a:lnTo>
                  <a:pt x="36" y="318"/>
                </a:lnTo>
                <a:lnTo>
                  <a:pt x="36" y="318"/>
                </a:lnTo>
                <a:lnTo>
                  <a:pt x="36" y="318"/>
                </a:lnTo>
                <a:lnTo>
                  <a:pt x="36" y="318"/>
                </a:lnTo>
                <a:lnTo>
                  <a:pt x="36" y="318"/>
                </a:lnTo>
                <a:lnTo>
                  <a:pt x="36" y="318"/>
                </a:lnTo>
                <a:lnTo>
                  <a:pt x="36" y="318"/>
                </a:lnTo>
                <a:lnTo>
                  <a:pt x="36" y="312"/>
                </a:lnTo>
                <a:lnTo>
                  <a:pt x="36" y="312"/>
                </a:lnTo>
                <a:lnTo>
                  <a:pt x="30" y="312"/>
                </a:lnTo>
                <a:lnTo>
                  <a:pt x="30" y="312"/>
                </a:lnTo>
                <a:lnTo>
                  <a:pt x="30" y="312"/>
                </a:lnTo>
                <a:lnTo>
                  <a:pt x="30" y="312"/>
                </a:lnTo>
                <a:lnTo>
                  <a:pt x="30" y="312"/>
                </a:lnTo>
                <a:lnTo>
                  <a:pt x="30" y="312"/>
                </a:lnTo>
                <a:lnTo>
                  <a:pt x="30" y="306"/>
                </a:lnTo>
                <a:lnTo>
                  <a:pt x="30" y="306"/>
                </a:lnTo>
                <a:lnTo>
                  <a:pt x="24" y="306"/>
                </a:lnTo>
                <a:lnTo>
                  <a:pt x="30" y="306"/>
                </a:lnTo>
                <a:lnTo>
                  <a:pt x="24" y="306"/>
                </a:lnTo>
                <a:lnTo>
                  <a:pt x="30" y="306"/>
                </a:lnTo>
                <a:lnTo>
                  <a:pt x="24" y="306"/>
                </a:lnTo>
                <a:lnTo>
                  <a:pt x="24" y="306"/>
                </a:lnTo>
                <a:lnTo>
                  <a:pt x="24" y="306"/>
                </a:lnTo>
                <a:lnTo>
                  <a:pt x="24" y="300"/>
                </a:lnTo>
                <a:lnTo>
                  <a:pt x="24" y="300"/>
                </a:lnTo>
                <a:lnTo>
                  <a:pt x="24" y="300"/>
                </a:lnTo>
                <a:lnTo>
                  <a:pt x="24" y="294"/>
                </a:lnTo>
                <a:lnTo>
                  <a:pt x="18" y="294"/>
                </a:lnTo>
                <a:lnTo>
                  <a:pt x="18" y="294"/>
                </a:lnTo>
                <a:lnTo>
                  <a:pt x="18" y="294"/>
                </a:lnTo>
                <a:lnTo>
                  <a:pt x="18" y="294"/>
                </a:lnTo>
                <a:lnTo>
                  <a:pt x="18" y="294"/>
                </a:lnTo>
                <a:lnTo>
                  <a:pt x="12" y="294"/>
                </a:lnTo>
                <a:lnTo>
                  <a:pt x="12" y="294"/>
                </a:lnTo>
                <a:lnTo>
                  <a:pt x="12" y="288"/>
                </a:lnTo>
                <a:lnTo>
                  <a:pt x="12" y="288"/>
                </a:lnTo>
                <a:lnTo>
                  <a:pt x="12" y="288"/>
                </a:lnTo>
                <a:lnTo>
                  <a:pt x="12" y="288"/>
                </a:lnTo>
                <a:lnTo>
                  <a:pt x="12" y="288"/>
                </a:lnTo>
                <a:lnTo>
                  <a:pt x="12" y="288"/>
                </a:lnTo>
                <a:lnTo>
                  <a:pt x="12" y="288"/>
                </a:lnTo>
                <a:lnTo>
                  <a:pt x="12" y="288"/>
                </a:lnTo>
                <a:lnTo>
                  <a:pt x="12" y="282"/>
                </a:lnTo>
                <a:lnTo>
                  <a:pt x="12" y="282"/>
                </a:lnTo>
                <a:lnTo>
                  <a:pt x="12" y="282"/>
                </a:lnTo>
                <a:lnTo>
                  <a:pt x="12" y="282"/>
                </a:lnTo>
                <a:lnTo>
                  <a:pt x="12" y="276"/>
                </a:lnTo>
                <a:lnTo>
                  <a:pt x="12" y="276"/>
                </a:lnTo>
                <a:lnTo>
                  <a:pt x="12" y="276"/>
                </a:lnTo>
                <a:lnTo>
                  <a:pt x="12" y="270"/>
                </a:lnTo>
                <a:lnTo>
                  <a:pt x="12" y="270"/>
                </a:lnTo>
                <a:lnTo>
                  <a:pt x="12" y="270"/>
                </a:lnTo>
                <a:lnTo>
                  <a:pt x="12" y="270"/>
                </a:lnTo>
                <a:lnTo>
                  <a:pt x="12" y="270"/>
                </a:lnTo>
                <a:lnTo>
                  <a:pt x="12" y="264"/>
                </a:lnTo>
                <a:lnTo>
                  <a:pt x="12" y="264"/>
                </a:lnTo>
                <a:lnTo>
                  <a:pt x="12" y="264"/>
                </a:lnTo>
                <a:lnTo>
                  <a:pt x="12" y="264"/>
                </a:lnTo>
                <a:lnTo>
                  <a:pt x="12" y="258"/>
                </a:lnTo>
                <a:lnTo>
                  <a:pt x="12" y="258"/>
                </a:lnTo>
                <a:lnTo>
                  <a:pt x="12" y="258"/>
                </a:lnTo>
                <a:lnTo>
                  <a:pt x="12" y="258"/>
                </a:lnTo>
                <a:lnTo>
                  <a:pt x="12" y="258"/>
                </a:lnTo>
                <a:lnTo>
                  <a:pt x="12" y="258"/>
                </a:lnTo>
                <a:lnTo>
                  <a:pt x="12" y="258"/>
                </a:lnTo>
                <a:lnTo>
                  <a:pt x="6" y="258"/>
                </a:lnTo>
                <a:lnTo>
                  <a:pt x="6" y="252"/>
                </a:lnTo>
                <a:lnTo>
                  <a:pt x="6" y="252"/>
                </a:lnTo>
                <a:lnTo>
                  <a:pt x="6" y="252"/>
                </a:lnTo>
                <a:lnTo>
                  <a:pt x="6" y="252"/>
                </a:lnTo>
                <a:lnTo>
                  <a:pt x="6" y="246"/>
                </a:lnTo>
                <a:lnTo>
                  <a:pt x="6" y="246"/>
                </a:lnTo>
                <a:lnTo>
                  <a:pt x="0" y="246"/>
                </a:lnTo>
                <a:lnTo>
                  <a:pt x="0" y="240"/>
                </a:lnTo>
                <a:lnTo>
                  <a:pt x="0" y="240"/>
                </a:lnTo>
                <a:lnTo>
                  <a:pt x="0" y="240"/>
                </a:lnTo>
                <a:lnTo>
                  <a:pt x="0" y="234"/>
                </a:lnTo>
                <a:lnTo>
                  <a:pt x="0" y="234"/>
                </a:lnTo>
                <a:lnTo>
                  <a:pt x="0" y="234"/>
                </a:lnTo>
                <a:lnTo>
                  <a:pt x="0" y="234"/>
                </a:lnTo>
                <a:lnTo>
                  <a:pt x="0" y="234"/>
                </a:lnTo>
                <a:lnTo>
                  <a:pt x="6" y="234"/>
                </a:lnTo>
                <a:lnTo>
                  <a:pt x="6" y="228"/>
                </a:lnTo>
                <a:lnTo>
                  <a:pt x="6" y="228"/>
                </a:lnTo>
                <a:lnTo>
                  <a:pt x="6" y="228"/>
                </a:lnTo>
                <a:lnTo>
                  <a:pt x="6" y="228"/>
                </a:lnTo>
                <a:lnTo>
                  <a:pt x="6" y="228"/>
                </a:lnTo>
                <a:lnTo>
                  <a:pt x="6" y="228"/>
                </a:lnTo>
                <a:lnTo>
                  <a:pt x="6" y="228"/>
                </a:lnTo>
                <a:lnTo>
                  <a:pt x="6" y="222"/>
                </a:lnTo>
                <a:lnTo>
                  <a:pt x="6" y="222"/>
                </a:lnTo>
                <a:lnTo>
                  <a:pt x="6" y="222"/>
                </a:lnTo>
                <a:lnTo>
                  <a:pt x="6" y="222"/>
                </a:lnTo>
                <a:lnTo>
                  <a:pt x="6" y="22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61" name="Freeform 94"/>
          <p:cNvSpPr>
            <a:spLocks/>
          </p:cNvSpPr>
          <p:nvPr/>
        </p:nvSpPr>
        <p:spPr bwMode="auto">
          <a:xfrm>
            <a:off x="7686981" y="1565366"/>
            <a:ext cx="237690" cy="173451"/>
          </a:xfrm>
          <a:custGeom>
            <a:avLst/>
            <a:gdLst>
              <a:gd name="T0" fmla="*/ 0 w 222"/>
              <a:gd name="T1" fmla="*/ 120 h 162"/>
              <a:gd name="T2" fmla="*/ 12 w 222"/>
              <a:gd name="T3" fmla="*/ 108 h 162"/>
              <a:gd name="T4" fmla="*/ 12 w 222"/>
              <a:gd name="T5" fmla="*/ 102 h 162"/>
              <a:gd name="T6" fmla="*/ 24 w 222"/>
              <a:gd name="T7" fmla="*/ 96 h 162"/>
              <a:gd name="T8" fmla="*/ 30 w 222"/>
              <a:gd name="T9" fmla="*/ 90 h 162"/>
              <a:gd name="T10" fmla="*/ 36 w 222"/>
              <a:gd name="T11" fmla="*/ 78 h 162"/>
              <a:gd name="T12" fmla="*/ 42 w 222"/>
              <a:gd name="T13" fmla="*/ 66 h 162"/>
              <a:gd name="T14" fmla="*/ 42 w 222"/>
              <a:gd name="T15" fmla="*/ 60 h 162"/>
              <a:gd name="T16" fmla="*/ 42 w 222"/>
              <a:gd name="T17" fmla="*/ 54 h 162"/>
              <a:gd name="T18" fmla="*/ 42 w 222"/>
              <a:gd name="T19" fmla="*/ 48 h 162"/>
              <a:gd name="T20" fmla="*/ 48 w 222"/>
              <a:gd name="T21" fmla="*/ 36 h 162"/>
              <a:gd name="T22" fmla="*/ 60 w 222"/>
              <a:gd name="T23" fmla="*/ 24 h 162"/>
              <a:gd name="T24" fmla="*/ 66 w 222"/>
              <a:gd name="T25" fmla="*/ 18 h 162"/>
              <a:gd name="T26" fmla="*/ 66 w 222"/>
              <a:gd name="T27" fmla="*/ 18 h 162"/>
              <a:gd name="T28" fmla="*/ 72 w 222"/>
              <a:gd name="T29" fmla="*/ 24 h 162"/>
              <a:gd name="T30" fmla="*/ 78 w 222"/>
              <a:gd name="T31" fmla="*/ 18 h 162"/>
              <a:gd name="T32" fmla="*/ 78 w 222"/>
              <a:gd name="T33" fmla="*/ 18 h 162"/>
              <a:gd name="T34" fmla="*/ 90 w 222"/>
              <a:gd name="T35" fmla="*/ 18 h 162"/>
              <a:gd name="T36" fmla="*/ 102 w 222"/>
              <a:gd name="T37" fmla="*/ 12 h 162"/>
              <a:gd name="T38" fmla="*/ 108 w 222"/>
              <a:gd name="T39" fmla="*/ 12 h 162"/>
              <a:gd name="T40" fmla="*/ 114 w 222"/>
              <a:gd name="T41" fmla="*/ 0 h 162"/>
              <a:gd name="T42" fmla="*/ 120 w 222"/>
              <a:gd name="T43" fmla="*/ 18 h 162"/>
              <a:gd name="T44" fmla="*/ 126 w 222"/>
              <a:gd name="T45" fmla="*/ 24 h 162"/>
              <a:gd name="T46" fmla="*/ 132 w 222"/>
              <a:gd name="T47" fmla="*/ 24 h 162"/>
              <a:gd name="T48" fmla="*/ 138 w 222"/>
              <a:gd name="T49" fmla="*/ 30 h 162"/>
              <a:gd name="T50" fmla="*/ 138 w 222"/>
              <a:gd name="T51" fmla="*/ 42 h 162"/>
              <a:gd name="T52" fmla="*/ 138 w 222"/>
              <a:gd name="T53" fmla="*/ 48 h 162"/>
              <a:gd name="T54" fmla="*/ 132 w 222"/>
              <a:gd name="T55" fmla="*/ 54 h 162"/>
              <a:gd name="T56" fmla="*/ 144 w 222"/>
              <a:gd name="T57" fmla="*/ 72 h 162"/>
              <a:gd name="T58" fmla="*/ 162 w 222"/>
              <a:gd name="T59" fmla="*/ 90 h 162"/>
              <a:gd name="T60" fmla="*/ 162 w 222"/>
              <a:gd name="T61" fmla="*/ 102 h 162"/>
              <a:gd name="T62" fmla="*/ 198 w 222"/>
              <a:gd name="T63" fmla="*/ 96 h 162"/>
              <a:gd name="T64" fmla="*/ 216 w 222"/>
              <a:gd name="T65" fmla="*/ 108 h 162"/>
              <a:gd name="T66" fmla="*/ 216 w 222"/>
              <a:gd name="T67" fmla="*/ 108 h 162"/>
              <a:gd name="T68" fmla="*/ 210 w 222"/>
              <a:gd name="T69" fmla="*/ 108 h 162"/>
              <a:gd name="T70" fmla="*/ 204 w 222"/>
              <a:gd name="T71" fmla="*/ 114 h 162"/>
              <a:gd name="T72" fmla="*/ 192 w 222"/>
              <a:gd name="T73" fmla="*/ 120 h 162"/>
              <a:gd name="T74" fmla="*/ 186 w 222"/>
              <a:gd name="T75" fmla="*/ 126 h 162"/>
              <a:gd name="T76" fmla="*/ 180 w 222"/>
              <a:gd name="T77" fmla="*/ 132 h 162"/>
              <a:gd name="T78" fmla="*/ 180 w 222"/>
              <a:gd name="T79" fmla="*/ 132 h 162"/>
              <a:gd name="T80" fmla="*/ 174 w 222"/>
              <a:gd name="T81" fmla="*/ 132 h 162"/>
              <a:gd name="T82" fmla="*/ 174 w 222"/>
              <a:gd name="T83" fmla="*/ 138 h 162"/>
              <a:gd name="T84" fmla="*/ 174 w 222"/>
              <a:gd name="T85" fmla="*/ 144 h 162"/>
              <a:gd name="T86" fmla="*/ 180 w 222"/>
              <a:gd name="T87" fmla="*/ 138 h 162"/>
              <a:gd name="T88" fmla="*/ 180 w 222"/>
              <a:gd name="T89" fmla="*/ 144 h 162"/>
              <a:gd name="T90" fmla="*/ 168 w 222"/>
              <a:gd name="T91" fmla="*/ 162 h 162"/>
              <a:gd name="T92" fmla="*/ 162 w 222"/>
              <a:gd name="T93" fmla="*/ 162 h 162"/>
              <a:gd name="T94" fmla="*/ 162 w 222"/>
              <a:gd name="T95" fmla="*/ 162 h 162"/>
              <a:gd name="T96" fmla="*/ 162 w 222"/>
              <a:gd name="T97" fmla="*/ 156 h 162"/>
              <a:gd name="T98" fmla="*/ 162 w 222"/>
              <a:gd name="T99" fmla="*/ 156 h 162"/>
              <a:gd name="T100" fmla="*/ 156 w 222"/>
              <a:gd name="T101" fmla="*/ 156 h 162"/>
              <a:gd name="T102" fmla="*/ 150 w 222"/>
              <a:gd name="T103" fmla="*/ 150 h 162"/>
              <a:gd name="T104" fmla="*/ 144 w 222"/>
              <a:gd name="T105" fmla="*/ 150 h 162"/>
              <a:gd name="T106" fmla="*/ 144 w 222"/>
              <a:gd name="T107" fmla="*/ 144 h 162"/>
              <a:gd name="T108" fmla="*/ 138 w 222"/>
              <a:gd name="T109" fmla="*/ 144 h 162"/>
              <a:gd name="T110" fmla="*/ 132 w 222"/>
              <a:gd name="T111" fmla="*/ 138 h 162"/>
              <a:gd name="T112" fmla="*/ 126 w 222"/>
              <a:gd name="T113" fmla="*/ 132 h 162"/>
              <a:gd name="T114" fmla="*/ 96 w 222"/>
              <a:gd name="T115" fmla="*/ 156 h 162"/>
              <a:gd name="T116" fmla="*/ 72 w 222"/>
              <a:gd name="T117" fmla="*/ 144 h 162"/>
              <a:gd name="T118" fmla="*/ 54 w 222"/>
              <a:gd name="T119" fmla="*/ 138 h 162"/>
              <a:gd name="T120" fmla="*/ 36 w 222"/>
              <a:gd name="T121" fmla="*/ 138 h 162"/>
              <a:gd name="T122" fmla="*/ 6 w 222"/>
              <a:gd name="T123" fmla="*/ 132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22" h="162">
                <a:moveTo>
                  <a:pt x="6" y="132"/>
                </a:moveTo>
                <a:lnTo>
                  <a:pt x="6" y="132"/>
                </a:lnTo>
                <a:lnTo>
                  <a:pt x="6" y="126"/>
                </a:lnTo>
                <a:lnTo>
                  <a:pt x="0" y="126"/>
                </a:lnTo>
                <a:lnTo>
                  <a:pt x="0" y="120"/>
                </a:lnTo>
                <a:lnTo>
                  <a:pt x="0" y="120"/>
                </a:lnTo>
                <a:lnTo>
                  <a:pt x="6" y="114"/>
                </a:lnTo>
                <a:lnTo>
                  <a:pt x="6" y="108"/>
                </a:lnTo>
                <a:lnTo>
                  <a:pt x="6" y="108"/>
                </a:lnTo>
                <a:lnTo>
                  <a:pt x="12" y="108"/>
                </a:lnTo>
                <a:lnTo>
                  <a:pt x="12" y="108"/>
                </a:lnTo>
                <a:lnTo>
                  <a:pt x="18" y="108"/>
                </a:lnTo>
                <a:lnTo>
                  <a:pt x="18" y="108"/>
                </a:lnTo>
                <a:lnTo>
                  <a:pt x="12" y="108"/>
                </a:lnTo>
                <a:lnTo>
                  <a:pt x="12" y="102"/>
                </a:lnTo>
                <a:lnTo>
                  <a:pt x="12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96"/>
                </a:lnTo>
                <a:lnTo>
                  <a:pt x="24" y="96"/>
                </a:lnTo>
                <a:lnTo>
                  <a:pt x="24" y="90"/>
                </a:lnTo>
                <a:lnTo>
                  <a:pt x="24" y="90"/>
                </a:lnTo>
                <a:lnTo>
                  <a:pt x="24" y="84"/>
                </a:lnTo>
                <a:lnTo>
                  <a:pt x="24" y="90"/>
                </a:lnTo>
                <a:lnTo>
                  <a:pt x="30" y="90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6" y="78"/>
                </a:lnTo>
                <a:lnTo>
                  <a:pt x="36" y="78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42" y="66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36"/>
                </a:lnTo>
                <a:lnTo>
                  <a:pt x="48" y="36"/>
                </a:lnTo>
                <a:lnTo>
                  <a:pt x="54" y="36"/>
                </a:lnTo>
                <a:lnTo>
                  <a:pt x="54" y="36"/>
                </a:lnTo>
                <a:lnTo>
                  <a:pt x="54" y="30"/>
                </a:lnTo>
                <a:lnTo>
                  <a:pt x="60" y="30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18"/>
                </a:lnTo>
                <a:lnTo>
                  <a:pt x="72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84" y="18"/>
                </a:lnTo>
                <a:lnTo>
                  <a:pt x="84" y="18"/>
                </a:lnTo>
                <a:lnTo>
                  <a:pt x="90" y="12"/>
                </a:lnTo>
                <a:lnTo>
                  <a:pt x="90" y="18"/>
                </a:lnTo>
                <a:lnTo>
                  <a:pt x="90" y="18"/>
                </a:lnTo>
                <a:lnTo>
                  <a:pt x="96" y="18"/>
                </a:lnTo>
                <a:lnTo>
                  <a:pt x="96" y="18"/>
                </a:lnTo>
                <a:lnTo>
                  <a:pt x="102" y="12"/>
                </a:lnTo>
                <a:lnTo>
                  <a:pt x="102" y="18"/>
                </a:lnTo>
                <a:lnTo>
                  <a:pt x="102" y="12"/>
                </a:lnTo>
                <a:lnTo>
                  <a:pt x="102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0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8"/>
                </a:lnTo>
                <a:lnTo>
                  <a:pt x="120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44" y="48"/>
                </a:lnTo>
                <a:lnTo>
                  <a:pt x="138" y="48"/>
                </a:lnTo>
                <a:lnTo>
                  <a:pt x="138" y="48"/>
                </a:lnTo>
                <a:lnTo>
                  <a:pt x="138" y="48"/>
                </a:lnTo>
                <a:lnTo>
                  <a:pt x="138" y="48"/>
                </a:lnTo>
                <a:lnTo>
                  <a:pt x="132" y="48"/>
                </a:lnTo>
                <a:lnTo>
                  <a:pt x="132" y="54"/>
                </a:lnTo>
                <a:lnTo>
                  <a:pt x="132" y="54"/>
                </a:lnTo>
                <a:lnTo>
                  <a:pt x="132" y="60"/>
                </a:lnTo>
                <a:lnTo>
                  <a:pt x="132" y="60"/>
                </a:lnTo>
                <a:lnTo>
                  <a:pt x="132" y="60"/>
                </a:lnTo>
                <a:lnTo>
                  <a:pt x="144" y="60"/>
                </a:lnTo>
                <a:lnTo>
                  <a:pt x="144" y="72"/>
                </a:lnTo>
                <a:lnTo>
                  <a:pt x="144" y="78"/>
                </a:lnTo>
                <a:lnTo>
                  <a:pt x="150" y="84"/>
                </a:lnTo>
                <a:lnTo>
                  <a:pt x="150" y="90"/>
                </a:lnTo>
                <a:lnTo>
                  <a:pt x="150" y="96"/>
                </a:lnTo>
                <a:lnTo>
                  <a:pt x="162" y="90"/>
                </a:lnTo>
                <a:lnTo>
                  <a:pt x="168" y="96"/>
                </a:lnTo>
                <a:lnTo>
                  <a:pt x="168" y="96"/>
                </a:lnTo>
                <a:lnTo>
                  <a:pt x="162" y="96"/>
                </a:lnTo>
                <a:lnTo>
                  <a:pt x="162" y="96"/>
                </a:lnTo>
                <a:lnTo>
                  <a:pt x="162" y="102"/>
                </a:lnTo>
                <a:lnTo>
                  <a:pt x="162" y="102"/>
                </a:lnTo>
                <a:lnTo>
                  <a:pt x="180" y="108"/>
                </a:lnTo>
                <a:lnTo>
                  <a:pt x="180" y="96"/>
                </a:lnTo>
                <a:lnTo>
                  <a:pt x="186" y="96"/>
                </a:lnTo>
                <a:lnTo>
                  <a:pt x="198" y="96"/>
                </a:lnTo>
                <a:lnTo>
                  <a:pt x="198" y="96"/>
                </a:lnTo>
                <a:lnTo>
                  <a:pt x="216" y="96"/>
                </a:lnTo>
                <a:lnTo>
                  <a:pt x="222" y="108"/>
                </a:lnTo>
                <a:lnTo>
                  <a:pt x="216" y="108"/>
                </a:lnTo>
                <a:lnTo>
                  <a:pt x="216" y="108"/>
                </a:lnTo>
                <a:lnTo>
                  <a:pt x="216" y="108"/>
                </a:lnTo>
                <a:lnTo>
                  <a:pt x="216" y="108"/>
                </a:lnTo>
                <a:lnTo>
                  <a:pt x="216" y="108"/>
                </a:lnTo>
                <a:lnTo>
                  <a:pt x="216" y="108"/>
                </a:lnTo>
                <a:lnTo>
                  <a:pt x="216" y="108"/>
                </a:lnTo>
                <a:lnTo>
                  <a:pt x="216" y="108"/>
                </a:lnTo>
                <a:lnTo>
                  <a:pt x="216" y="108"/>
                </a:lnTo>
                <a:lnTo>
                  <a:pt x="210" y="108"/>
                </a:lnTo>
                <a:lnTo>
                  <a:pt x="210" y="108"/>
                </a:lnTo>
                <a:lnTo>
                  <a:pt x="210" y="108"/>
                </a:lnTo>
                <a:lnTo>
                  <a:pt x="210" y="108"/>
                </a:lnTo>
                <a:lnTo>
                  <a:pt x="204" y="108"/>
                </a:lnTo>
                <a:lnTo>
                  <a:pt x="204" y="114"/>
                </a:lnTo>
                <a:lnTo>
                  <a:pt x="204" y="114"/>
                </a:lnTo>
                <a:lnTo>
                  <a:pt x="204" y="114"/>
                </a:lnTo>
                <a:lnTo>
                  <a:pt x="204" y="114"/>
                </a:lnTo>
                <a:lnTo>
                  <a:pt x="204" y="114"/>
                </a:lnTo>
                <a:lnTo>
                  <a:pt x="198" y="114"/>
                </a:lnTo>
                <a:lnTo>
                  <a:pt x="198" y="114"/>
                </a:lnTo>
                <a:lnTo>
                  <a:pt x="192" y="120"/>
                </a:lnTo>
                <a:lnTo>
                  <a:pt x="186" y="126"/>
                </a:lnTo>
                <a:lnTo>
                  <a:pt x="186" y="126"/>
                </a:lnTo>
                <a:lnTo>
                  <a:pt x="186" y="126"/>
                </a:lnTo>
                <a:lnTo>
                  <a:pt x="186" y="126"/>
                </a:lnTo>
                <a:lnTo>
                  <a:pt x="186" y="126"/>
                </a:lnTo>
                <a:lnTo>
                  <a:pt x="186" y="126"/>
                </a:lnTo>
                <a:lnTo>
                  <a:pt x="180" y="126"/>
                </a:lnTo>
                <a:lnTo>
                  <a:pt x="180" y="126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74" y="132"/>
                </a:lnTo>
                <a:lnTo>
                  <a:pt x="174" y="132"/>
                </a:lnTo>
                <a:lnTo>
                  <a:pt x="174" y="132"/>
                </a:lnTo>
                <a:lnTo>
                  <a:pt x="174" y="132"/>
                </a:lnTo>
                <a:lnTo>
                  <a:pt x="174" y="132"/>
                </a:lnTo>
                <a:lnTo>
                  <a:pt x="174" y="132"/>
                </a:lnTo>
                <a:lnTo>
                  <a:pt x="174" y="132"/>
                </a:lnTo>
                <a:lnTo>
                  <a:pt x="174" y="138"/>
                </a:lnTo>
                <a:lnTo>
                  <a:pt x="174" y="138"/>
                </a:lnTo>
                <a:lnTo>
                  <a:pt x="174" y="138"/>
                </a:lnTo>
                <a:lnTo>
                  <a:pt x="174" y="138"/>
                </a:lnTo>
                <a:lnTo>
                  <a:pt x="174" y="138"/>
                </a:lnTo>
                <a:lnTo>
                  <a:pt x="174" y="138"/>
                </a:lnTo>
                <a:lnTo>
                  <a:pt x="174" y="144"/>
                </a:lnTo>
                <a:lnTo>
                  <a:pt x="174" y="138"/>
                </a:lnTo>
                <a:lnTo>
                  <a:pt x="174" y="138"/>
                </a:lnTo>
                <a:lnTo>
                  <a:pt x="180" y="138"/>
                </a:lnTo>
                <a:lnTo>
                  <a:pt x="180" y="138"/>
                </a:lnTo>
                <a:lnTo>
                  <a:pt x="180" y="138"/>
                </a:lnTo>
                <a:lnTo>
                  <a:pt x="180" y="144"/>
                </a:lnTo>
                <a:lnTo>
                  <a:pt x="180" y="144"/>
                </a:lnTo>
                <a:lnTo>
                  <a:pt x="180" y="144"/>
                </a:lnTo>
                <a:lnTo>
                  <a:pt x="180" y="144"/>
                </a:lnTo>
                <a:lnTo>
                  <a:pt x="180" y="144"/>
                </a:lnTo>
                <a:lnTo>
                  <a:pt x="180" y="144"/>
                </a:lnTo>
                <a:lnTo>
                  <a:pt x="180" y="144"/>
                </a:lnTo>
                <a:lnTo>
                  <a:pt x="180" y="150"/>
                </a:lnTo>
                <a:lnTo>
                  <a:pt x="168" y="162"/>
                </a:lnTo>
                <a:lnTo>
                  <a:pt x="168" y="162"/>
                </a:lnTo>
                <a:lnTo>
                  <a:pt x="162" y="162"/>
                </a:lnTo>
                <a:lnTo>
                  <a:pt x="162" y="162"/>
                </a:lnTo>
                <a:lnTo>
                  <a:pt x="162" y="162"/>
                </a:lnTo>
                <a:lnTo>
                  <a:pt x="162" y="162"/>
                </a:lnTo>
                <a:lnTo>
                  <a:pt x="162" y="162"/>
                </a:lnTo>
                <a:lnTo>
                  <a:pt x="162" y="162"/>
                </a:lnTo>
                <a:lnTo>
                  <a:pt x="162" y="162"/>
                </a:lnTo>
                <a:lnTo>
                  <a:pt x="162" y="162"/>
                </a:lnTo>
                <a:lnTo>
                  <a:pt x="162" y="162"/>
                </a:lnTo>
                <a:lnTo>
                  <a:pt x="162" y="162"/>
                </a:lnTo>
                <a:lnTo>
                  <a:pt x="162" y="162"/>
                </a:lnTo>
                <a:lnTo>
                  <a:pt x="162" y="162"/>
                </a:lnTo>
                <a:lnTo>
                  <a:pt x="162" y="156"/>
                </a:lnTo>
                <a:lnTo>
                  <a:pt x="162" y="156"/>
                </a:lnTo>
                <a:lnTo>
                  <a:pt x="162" y="156"/>
                </a:lnTo>
                <a:lnTo>
                  <a:pt x="162" y="162"/>
                </a:lnTo>
                <a:lnTo>
                  <a:pt x="162" y="156"/>
                </a:lnTo>
                <a:lnTo>
                  <a:pt x="162" y="156"/>
                </a:lnTo>
                <a:lnTo>
                  <a:pt x="162" y="156"/>
                </a:lnTo>
                <a:lnTo>
                  <a:pt x="162" y="156"/>
                </a:lnTo>
                <a:lnTo>
                  <a:pt x="156" y="156"/>
                </a:lnTo>
                <a:lnTo>
                  <a:pt x="156" y="156"/>
                </a:lnTo>
                <a:lnTo>
                  <a:pt x="156" y="156"/>
                </a:lnTo>
                <a:lnTo>
                  <a:pt x="156" y="156"/>
                </a:lnTo>
                <a:lnTo>
                  <a:pt x="156" y="156"/>
                </a:lnTo>
                <a:lnTo>
                  <a:pt x="156" y="156"/>
                </a:lnTo>
                <a:lnTo>
                  <a:pt x="156" y="156"/>
                </a:lnTo>
                <a:lnTo>
                  <a:pt x="156" y="150"/>
                </a:lnTo>
                <a:lnTo>
                  <a:pt x="156" y="150"/>
                </a:lnTo>
                <a:lnTo>
                  <a:pt x="150" y="150"/>
                </a:lnTo>
                <a:lnTo>
                  <a:pt x="150" y="150"/>
                </a:lnTo>
                <a:lnTo>
                  <a:pt x="150" y="150"/>
                </a:lnTo>
                <a:lnTo>
                  <a:pt x="150" y="150"/>
                </a:lnTo>
                <a:lnTo>
                  <a:pt x="150" y="150"/>
                </a:lnTo>
                <a:lnTo>
                  <a:pt x="144" y="150"/>
                </a:lnTo>
                <a:lnTo>
                  <a:pt x="144" y="144"/>
                </a:lnTo>
                <a:lnTo>
                  <a:pt x="144" y="144"/>
                </a:lnTo>
                <a:lnTo>
                  <a:pt x="144" y="144"/>
                </a:lnTo>
                <a:lnTo>
                  <a:pt x="144" y="144"/>
                </a:lnTo>
                <a:lnTo>
                  <a:pt x="144" y="144"/>
                </a:lnTo>
                <a:lnTo>
                  <a:pt x="144" y="144"/>
                </a:lnTo>
                <a:lnTo>
                  <a:pt x="138" y="144"/>
                </a:lnTo>
                <a:lnTo>
                  <a:pt x="138" y="144"/>
                </a:lnTo>
                <a:lnTo>
                  <a:pt x="138" y="144"/>
                </a:lnTo>
                <a:lnTo>
                  <a:pt x="138" y="144"/>
                </a:lnTo>
                <a:lnTo>
                  <a:pt x="138" y="144"/>
                </a:lnTo>
                <a:lnTo>
                  <a:pt x="138" y="144"/>
                </a:lnTo>
                <a:lnTo>
                  <a:pt x="132" y="138"/>
                </a:lnTo>
                <a:lnTo>
                  <a:pt x="132" y="138"/>
                </a:lnTo>
                <a:lnTo>
                  <a:pt x="132" y="138"/>
                </a:lnTo>
                <a:lnTo>
                  <a:pt x="132" y="138"/>
                </a:lnTo>
                <a:lnTo>
                  <a:pt x="126" y="138"/>
                </a:lnTo>
                <a:lnTo>
                  <a:pt x="126" y="138"/>
                </a:lnTo>
                <a:lnTo>
                  <a:pt x="126" y="138"/>
                </a:lnTo>
                <a:lnTo>
                  <a:pt x="126" y="132"/>
                </a:lnTo>
                <a:lnTo>
                  <a:pt x="120" y="138"/>
                </a:lnTo>
                <a:lnTo>
                  <a:pt x="126" y="138"/>
                </a:lnTo>
                <a:lnTo>
                  <a:pt x="126" y="144"/>
                </a:lnTo>
                <a:lnTo>
                  <a:pt x="114" y="150"/>
                </a:lnTo>
                <a:lnTo>
                  <a:pt x="96" y="156"/>
                </a:lnTo>
                <a:lnTo>
                  <a:pt x="96" y="162"/>
                </a:lnTo>
                <a:lnTo>
                  <a:pt x="90" y="162"/>
                </a:lnTo>
                <a:lnTo>
                  <a:pt x="72" y="150"/>
                </a:lnTo>
                <a:lnTo>
                  <a:pt x="78" y="150"/>
                </a:lnTo>
                <a:lnTo>
                  <a:pt x="72" y="144"/>
                </a:lnTo>
                <a:lnTo>
                  <a:pt x="72" y="144"/>
                </a:lnTo>
                <a:lnTo>
                  <a:pt x="60" y="138"/>
                </a:lnTo>
                <a:lnTo>
                  <a:pt x="60" y="138"/>
                </a:lnTo>
                <a:lnTo>
                  <a:pt x="60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44"/>
                </a:lnTo>
                <a:lnTo>
                  <a:pt x="36" y="138"/>
                </a:lnTo>
                <a:lnTo>
                  <a:pt x="30" y="138"/>
                </a:lnTo>
                <a:lnTo>
                  <a:pt x="24" y="138"/>
                </a:lnTo>
                <a:lnTo>
                  <a:pt x="24" y="138"/>
                </a:lnTo>
                <a:lnTo>
                  <a:pt x="18" y="138"/>
                </a:lnTo>
                <a:lnTo>
                  <a:pt x="6" y="13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62" name="Freeform 95"/>
          <p:cNvSpPr>
            <a:spLocks/>
          </p:cNvSpPr>
          <p:nvPr/>
        </p:nvSpPr>
        <p:spPr bwMode="auto">
          <a:xfrm>
            <a:off x="7738373" y="2008628"/>
            <a:ext cx="199146" cy="128482"/>
          </a:xfrm>
          <a:custGeom>
            <a:avLst/>
            <a:gdLst>
              <a:gd name="T0" fmla="*/ 6 w 186"/>
              <a:gd name="T1" fmla="*/ 60 h 120"/>
              <a:gd name="T2" fmla="*/ 0 w 186"/>
              <a:gd name="T3" fmla="*/ 36 h 120"/>
              <a:gd name="T4" fmla="*/ 12 w 186"/>
              <a:gd name="T5" fmla="*/ 24 h 120"/>
              <a:gd name="T6" fmla="*/ 24 w 186"/>
              <a:gd name="T7" fmla="*/ 24 h 120"/>
              <a:gd name="T8" fmla="*/ 36 w 186"/>
              <a:gd name="T9" fmla="*/ 6 h 120"/>
              <a:gd name="T10" fmla="*/ 42 w 186"/>
              <a:gd name="T11" fmla="*/ 12 h 120"/>
              <a:gd name="T12" fmla="*/ 48 w 186"/>
              <a:gd name="T13" fmla="*/ 12 h 120"/>
              <a:gd name="T14" fmla="*/ 60 w 186"/>
              <a:gd name="T15" fmla="*/ 18 h 120"/>
              <a:gd name="T16" fmla="*/ 72 w 186"/>
              <a:gd name="T17" fmla="*/ 18 h 120"/>
              <a:gd name="T18" fmla="*/ 84 w 186"/>
              <a:gd name="T19" fmla="*/ 18 h 120"/>
              <a:gd name="T20" fmla="*/ 90 w 186"/>
              <a:gd name="T21" fmla="*/ 18 h 120"/>
              <a:gd name="T22" fmla="*/ 96 w 186"/>
              <a:gd name="T23" fmla="*/ 18 h 120"/>
              <a:gd name="T24" fmla="*/ 96 w 186"/>
              <a:gd name="T25" fmla="*/ 24 h 120"/>
              <a:gd name="T26" fmla="*/ 102 w 186"/>
              <a:gd name="T27" fmla="*/ 24 h 120"/>
              <a:gd name="T28" fmla="*/ 114 w 186"/>
              <a:gd name="T29" fmla="*/ 36 h 120"/>
              <a:gd name="T30" fmla="*/ 126 w 186"/>
              <a:gd name="T31" fmla="*/ 36 h 120"/>
              <a:gd name="T32" fmla="*/ 132 w 186"/>
              <a:gd name="T33" fmla="*/ 42 h 120"/>
              <a:gd name="T34" fmla="*/ 150 w 186"/>
              <a:gd name="T35" fmla="*/ 30 h 120"/>
              <a:gd name="T36" fmla="*/ 156 w 186"/>
              <a:gd name="T37" fmla="*/ 24 h 120"/>
              <a:gd name="T38" fmla="*/ 150 w 186"/>
              <a:gd name="T39" fmla="*/ 12 h 120"/>
              <a:gd name="T40" fmla="*/ 156 w 186"/>
              <a:gd name="T41" fmla="*/ 6 h 120"/>
              <a:gd name="T42" fmla="*/ 168 w 186"/>
              <a:gd name="T43" fmla="*/ 18 h 120"/>
              <a:gd name="T44" fmla="*/ 180 w 186"/>
              <a:gd name="T45" fmla="*/ 24 h 120"/>
              <a:gd name="T46" fmla="*/ 186 w 186"/>
              <a:gd name="T47" fmla="*/ 30 h 120"/>
              <a:gd name="T48" fmla="*/ 186 w 186"/>
              <a:gd name="T49" fmla="*/ 36 h 120"/>
              <a:gd name="T50" fmla="*/ 186 w 186"/>
              <a:gd name="T51" fmla="*/ 36 h 120"/>
              <a:gd name="T52" fmla="*/ 186 w 186"/>
              <a:gd name="T53" fmla="*/ 48 h 120"/>
              <a:gd name="T54" fmla="*/ 180 w 186"/>
              <a:gd name="T55" fmla="*/ 60 h 120"/>
              <a:gd name="T56" fmla="*/ 174 w 186"/>
              <a:gd name="T57" fmla="*/ 66 h 120"/>
              <a:gd name="T58" fmla="*/ 180 w 186"/>
              <a:gd name="T59" fmla="*/ 72 h 120"/>
              <a:gd name="T60" fmla="*/ 186 w 186"/>
              <a:gd name="T61" fmla="*/ 78 h 120"/>
              <a:gd name="T62" fmla="*/ 186 w 186"/>
              <a:gd name="T63" fmla="*/ 96 h 120"/>
              <a:gd name="T64" fmla="*/ 174 w 186"/>
              <a:gd name="T65" fmla="*/ 102 h 120"/>
              <a:gd name="T66" fmla="*/ 168 w 186"/>
              <a:gd name="T67" fmla="*/ 102 h 120"/>
              <a:gd name="T68" fmla="*/ 156 w 186"/>
              <a:gd name="T69" fmla="*/ 102 h 120"/>
              <a:gd name="T70" fmla="*/ 156 w 186"/>
              <a:gd name="T71" fmla="*/ 102 h 120"/>
              <a:gd name="T72" fmla="*/ 138 w 186"/>
              <a:gd name="T73" fmla="*/ 102 h 120"/>
              <a:gd name="T74" fmla="*/ 132 w 186"/>
              <a:gd name="T75" fmla="*/ 108 h 120"/>
              <a:gd name="T76" fmla="*/ 132 w 186"/>
              <a:gd name="T77" fmla="*/ 114 h 120"/>
              <a:gd name="T78" fmla="*/ 108 w 186"/>
              <a:gd name="T79" fmla="*/ 114 h 120"/>
              <a:gd name="T80" fmla="*/ 108 w 186"/>
              <a:gd name="T81" fmla="*/ 108 h 120"/>
              <a:gd name="T82" fmla="*/ 90 w 186"/>
              <a:gd name="T83" fmla="*/ 108 h 120"/>
              <a:gd name="T84" fmla="*/ 54 w 186"/>
              <a:gd name="T85" fmla="*/ 120 h 120"/>
              <a:gd name="T86" fmla="*/ 42 w 186"/>
              <a:gd name="T87" fmla="*/ 120 h 120"/>
              <a:gd name="T88" fmla="*/ 42 w 186"/>
              <a:gd name="T89" fmla="*/ 96 h 120"/>
              <a:gd name="T90" fmla="*/ 30 w 186"/>
              <a:gd name="T91" fmla="*/ 84 h 120"/>
              <a:gd name="T92" fmla="*/ 30 w 186"/>
              <a:gd name="T93" fmla="*/ 72 h 120"/>
              <a:gd name="T94" fmla="*/ 30 w 186"/>
              <a:gd name="T95" fmla="*/ 60 h 120"/>
              <a:gd name="T96" fmla="*/ 0 w 186"/>
              <a:gd name="T97" fmla="*/ 66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86" h="120">
                <a:moveTo>
                  <a:pt x="0" y="66"/>
                </a:moveTo>
                <a:lnTo>
                  <a:pt x="6" y="60"/>
                </a:lnTo>
                <a:lnTo>
                  <a:pt x="6" y="48"/>
                </a:lnTo>
                <a:lnTo>
                  <a:pt x="0" y="36"/>
                </a:lnTo>
                <a:lnTo>
                  <a:pt x="6" y="36"/>
                </a:lnTo>
                <a:lnTo>
                  <a:pt x="12" y="24"/>
                </a:lnTo>
                <a:lnTo>
                  <a:pt x="24" y="24"/>
                </a:lnTo>
                <a:lnTo>
                  <a:pt x="24" y="24"/>
                </a:lnTo>
                <a:lnTo>
                  <a:pt x="36" y="18"/>
                </a:lnTo>
                <a:lnTo>
                  <a:pt x="36" y="6"/>
                </a:lnTo>
                <a:lnTo>
                  <a:pt x="42" y="0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54" y="18"/>
                </a:lnTo>
                <a:lnTo>
                  <a:pt x="60" y="18"/>
                </a:lnTo>
                <a:lnTo>
                  <a:pt x="66" y="18"/>
                </a:lnTo>
                <a:lnTo>
                  <a:pt x="72" y="18"/>
                </a:lnTo>
                <a:lnTo>
                  <a:pt x="78" y="18"/>
                </a:lnTo>
                <a:lnTo>
                  <a:pt x="84" y="18"/>
                </a:lnTo>
                <a:lnTo>
                  <a:pt x="84" y="18"/>
                </a:lnTo>
                <a:lnTo>
                  <a:pt x="90" y="18"/>
                </a:lnTo>
                <a:lnTo>
                  <a:pt x="96" y="18"/>
                </a:lnTo>
                <a:lnTo>
                  <a:pt x="96" y="18"/>
                </a:lnTo>
                <a:lnTo>
                  <a:pt x="96" y="24"/>
                </a:lnTo>
                <a:lnTo>
                  <a:pt x="96" y="24"/>
                </a:lnTo>
                <a:lnTo>
                  <a:pt x="102" y="24"/>
                </a:lnTo>
                <a:lnTo>
                  <a:pt x="102" y="24"/>
                </a:lnTo>
                <a:lnTo>
                  <a:pt x="108" y="30"/>
                </a:lnTo>
                <a:lnTo>
                  <a:pt x="114" y="36"/>
                </a:lnTo>
                <a:lnTo>
                  <a:pt x="120" y="36"/>
                </a:lnTo>
                <a:lnTo>
                  <a:pt x="126" y="36"/>
                </a:lnTo>
                <a:lnTo>
                  <a:pt x="126" y="42"/>
                </a:lnTo>
                <a:lnTo>
                  <a:pt x="132" y="42"/>
                </a:lnTo>
                <a:lnTo>
                  <a:pt x="144" y="30"/>
                </a:lnTo>
                <a:lnTo>
                  <a:pt x="150" y="30"/>
                </a:lnTo>
                <a:lnTo>
                  <a:pt x="156" y="24"/>
                </a:lnTo>
                <a:lnTo>
                  <a:pt x="156" y="24"/>
                </a:lnTo>
                <a:lnTo>
                  <a:pt x="150" y="18"/>
                </a:lnTo>
                <a:lnTo>
                  <a:pt x="150" y="12"/>
                </a:lnTo>
                <a:lnTo>
                  <a:pt x="150" y="6"/>
                </a:lnTo>
                <a:lnTo>
                  <a:pt x="156" y="6"/>
                </a:lnTo>
                <a:lnTo>
                  <a:pt x="168" y="6"/>
                </a:lnTo>
                <a:lnTo>
                  <a:pt x="168" y="18"/>
                </a:lnTo>
                <a:lnTo>
                  <a:pt x="174" y="24"/>
                </a:lnTo>
                <a:lnTo>
                  <a:pt x="180" y="24"/>
                </a:lnTo>
                <a:lnTo>
                  <a:pt x="186" y="24"/>
                </a:lnTo>
                <a:lnTo>
                  <a:pt x="186" y="30"/>
                </a:lnTo>
                <a:lnTo>
                  <a:pt x="186" y="30"/>
                </a:lnTo>
                <a:lnTo>
                  <a:pt x="186" y="36"/>
                </a:lnTo>
                <a:lnTo>
                  <a:pt x="186" y="36"/>
                </a:lnTo>
                <a:lnTo>
                  <a:pt x="186" y="36"/>
                </a:lnTo>
                <a:lnTo>
                  <a:pt x="186" y="42"/>
                </a:lnTo>
                <a:lnTo>
                  <a:pt x="186" y="48"/>
                </a:lnTo>
                <a:lnTo>
                  <a:pt x="186" y="54"/>
                </a:lnTo>
                <a:lnTo>
                  <a:pt x="180" y="60"/>
                </a:lnTo>
                <a:lnTo>
                  <a:pt x="174" y="60"/>
                </a:lnTo>
                <a:lnTo>
                  <a:pt x="174" y="66"/>
                </a:lnTo>
                <a:lnTo>
                  <a:pt x="174" y="66"/>
                </a:lnTo>
                <a:lnTo>
                  <a:pt x="180" y="72"/>
                </a:lnTo>
                <a:lnTo>
                  <a:pt x="180" y="78"/>
                </a:lnTo>
                <a:lnTo>
                  <a:pt x="186" y="78"/>
                </a:lnTo>
                <a:lnTo>
                  <a:pt x="180" y="96"/>
                </a:lnTo>
                <a:lnTo>
                  <a:pt x="186" y="96"/>
                </a:lnTo>
                <a:lnTo>
                  <a:pt x="180" y="102"/>
                </a:lnTo>
                <a:lnTo>
                  <a:pt x="174" y="102"/>
                </a:lnTo>
                <a:lnTo>
                  <a:pt x="174" y="108"/>
                </a:lnTo>
                <a:lnTo>
                  <a:pt x="168" y="102"/>
                </a:lnTo>
                <a:lnTo>
                  <a:pt x="162" y="102"/>
                </a:lnTo>
                <a:lnTo>
                  <a:pt x="156" y="102"/>
                </a:lnTo>
                <a:lnTo>
                  <a:pt x="156" y="102"/>
                </a:lnTo>
                <a:lnTo>
                  <a:pt x="156" y="102"/>
                </a:lnTo>
                <a:lnTo>
                  <a:pt x="150" y="108"/>
                </a:lnTo>
                <a:lnTo>
                  <a:pt x="138" y="102"/>
                </a:lnTo>
                <a:lnTo>
                  <a:pt x="138" y="102"/>
                </a:lnTo>
                <a:lnTo>
                  <a:pt x="132" y="108"/>
                </a:lnTo>
                <a:lnTo>
                  <a:pt x="132" y="114"/>
                </a:lnTo>
                <a:lnTo>
                  <a:pt x="132" y="114"/>
                </a:lnTo>
                <a:lnTo>
                  <a:pt x="114" y="120"/>
                </a:lnTo>
                <a:lnTo>
                  <a:pt x="108" y="114"/>
                </a:lnTo>
                <a:lnTo>
                  <a:pt x="108" y="114"/>
                </a:lnTo>
                <a:lnTo>
                  <a:pt x="108" y="108"/>
                </a:lnTo>
                <a:lnTo>
                  <a:pt x="96" y="102"/>
                </a:lnTo>
                <a:lnTo>
                  <a:pt x="90" y="108"/>
                </a:lnTo>
                <a:lnTo>
                  <a:pt x="60" y="120"/>
                </a:lnTo>
                <a:lnTo>
                  <a:pt x="54" y="120"/>
                </a:lnTo>
                <a:lnTo>
                  <a:pt x="42" y="120"/>
                </a:lnTo>
                <a:lnTo>
                  <a:pt x="42" y="120"/>
                </a:lnTo>
                <a:lnTo>
                  <a:pt x="36" y="120"/>
                </a:lnTo>
                <a:lnTo>
                  <a:pt x="42" y="96"/>
                </a:lnTo>
                <a:lnTo>
                  <a:pt x="30" y="90"/>
                </a:lnTo>
                <a:lnTo>
                  <a:pt x="30" y="84"/>
                </a:lnTo>
                <a:lnTo>
                  <a:pt x="30" y="78"/>
                </a:lnTo>
                <a:lnTo>
                  <a:pt x="30" y="72"/>
                </a:lnTo>
                <a:lnTo>
                  <a:pt x="30" y="66"/>
                </a:lnTo>
                <a:lnTo>
                  <a:pt x="30" y="60"/>
                </a:lnTo>
                <a:lnTo>
                  <a:pt x="12" y="66"/>
                </a:lnTo>
                <a:lnTo>
                  <a:pt x="0" y="6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63" name="Freeform 96"/>
          <p:cNvSpPr>
            <a:spLocks/>
          </p:cNvSpPr>
          <p:nvPr/>
        </p:nvSpPr>
        <p:spPr bwMode="auto">
          <a:xfrm>
            <a:off x="7809038" y="1481853"/>
            <a:ext cx="147753" cy="205571"/>
          </a:xfrm>
          <a:custGeom>
            <a:avLst/>
            <a:gdLst>
              <a:gd name="T0" fmla="*/ 12 w 138"/>
              <a:gd name="T1" fmla="*/ 66 h 192"/>
              <a:gd name="T2" fmla="*/ 18 w 138"/>
              <a:gd name="T3" fmla="*/ 66 h 192"/>
              <a:gd name="T4" fmla="*/ 24 w 138"/>
              <a:gd name="T5" fmla="*/ 60 h 192"/>
              <a:gd name="T6" fmla="*/ 30 w 138"/>
              <a:gd name="T7" fmla="*/ 48 h 192"/>
              <a:gd name="T8" fmla="*/ 36 w 138"/>
              <a:gd name="T9" fmla="*/ 42 h 192"/>
              <a:gd name="T10" fmla="*/ 42 w 138"/>
              <a:gd name="T11" fmla="*/ 30 h 192"/>
              <a:gd name="T12" fmla="*/ 36 w 138"/>
              <a:gd name="T13" fmla="*/ 24 h 192"/>
              <a:gd name="T14" fmla="*/ 36 w 138"/>
              <a:gd name="T15" fmla="*/ 12 h 192"/>
              <a:gd name="T16" fmla="*/ 42 w 138"/>
              <a:gd name="T17" fmla="*/ 0 h 192"/>
              <a:gd name="T18" fmla="*/ 54 w 138"/>
              <a:gd name="T19" fmla="*/ 12 h 192"/>
              <a:gd name="T20" fmla="*/ 72 w 138"/>
              <a:gd name="T21" fmla="*/ 24 h 192"/>
              <a:gd name="T22" fmla="*/ 78 w 138"/>
              <a:gd name="T23" fmla="*/ 24 h 192"/>
              <a:gd name="T24" fmla="*/ 90 w 138"/>
              <a:gd name="T25" fmla="*/ 24 h 192"/>
              <a:gd name="T26" fmla="*/ 96 w 138"/>
              <a:gd name="T27" fmla="*/ 24 h 192"/>
              <a:gd name="T28" fmla="*/ 108 w 138"/>
              <a:gd name="T29" fmla="*/ 30 h 192"/>
              <a:gd name="T30" fmla="*/ 114 w 138"/>
              <a:gd name="T31" fmla="*/ 30 h 192"/>
              <a:gd name="T32" fmla="*/ 114 w 138"/>
              <a:gd name="T33" fmla="*/ 42 h 192"/>
              <a:gd name="T34" fmla="*/ 114 w 138"/>
              <a:gd name="T35" fmla="*/ 48 h 192"/>
              <a:gd name="T36" fmla="*/ 108 w 138"/>
              <a:gd name="T37" fmla="*/ 48 h 192"/>
              <a:gd name="T38" fmla="*/ 108 w 138"/>
              <a:gd name="T39" fmla="*/ 60 h 192"/>
              <a:gd name="T40" fmla="*/ 96 w 138"/>
              <a:gd name="T41" fmla="*/ 84 h 192"/>
              <a:gd name="T42" fmla="*/ 96 w 138"/>
              <a:gd name="T43" fmla="*/ 90 h 192"/>
              <a:gd name="T44" fmla="*/ 102 w 138"/>
              <a:gd name="T45" fmla="*/ 90 h 192"/>
              <a:gd name="T46" fmla="*/ 102 w 138"/>
              <a:gd name="T47" fmla="*/ 102 h 192"/>
              <a:gd name="T48" fmla="*/ 108 w 138"/>
              <a:gd name="T49" fmla="*/ 102 h 192"/>
              <a:gd name="T50" fmla="*/ 96 w 138"/>
              <a:gd name="T51" fmla="*/ 108 h 192"/>
              <a:gd name="T52" fmla="*/ 102 w 138"/>
              <a:gd name="T53" fmla="*/ 126 h 192"/>
              <a:gd name="T54" fmla="*/ 108 w 138"/>
              <a:gd name="T55" fmla="*/ 126 h 192"/>
              <a:gd name="T56" fmla="*/ 114 w 138"/>
              <a:gd name="T57" fmla="*/ 132 h 192"/>
              <a:gd name="T58" fmla="*/ 108 w 138"/>
              <a:gd name="T59" fmla="*/ 144 h 192"/>
              <a:gd name="T60" fmla="*/ 114 w 138"/>
              <a:gd name="T61" fmla="*/ 144 h 192"/>
              <a:gd name="T62" fmla="*/ 114 w 138"/>
              <a:gd name="T63" fmla="*/ 150 h 192"/>
              <a:gd name="T64" fmla="*/ 114 w 138"/>
              <a:gd name="T65" fmla="*/ 162 h 192"/>
              <a:gd name="T66" fmla="*/ 114 w 138"/>
              <a:gd name="T67" fmla="*/ 168 h 192"/>
              <a:gd name="T68" fmla="*/ 114 w 138"/>
              <a:gd name="T69" fmla="*/ 174 h 192"/>
              <a:gd name="T70" fmla="*/ 120 w 138"/>
              <a:gd name="T71" fmla="*/ 168 h 192"/>
              <a:gd name="T72" fmla="*/ 126 w 138"/>
              <a:gd name="T73" fmla="*/ 168 h 192"/>
              <a:gd name="T74" fmla="*/ 132 w 138"/>
              <a:gd name="T75" fmla="*/ 174 h 192"/>
              <a:gd name="T76" fmla="*/ 126 w 138"/>
              <a:gd name="T77" fmla="*/ 180 h 192"/>
              <a:gd name="T78" fmla="*/ 138 w 138"/>
              <a:gd name="T79" fmla="*/ 186 h 192"/>
              <a:gd name="T80" fmla="*/ 126 w 138"/>
              <a:gd name="T81" fmla="*/ 192 h 192"/>
              <a:gd name="T82" fmla="*/ 120 w 138"/>
              <a:gd name="T83" fmla="*/ 186 h 192"/>
              <a:gd name="T84" fmla="*/ 114 w 138"/>
              <a:gd name="T85" fmla="*/ 186 h 192"/>
              <a:gd name="T86" fmla="*/ 108 w 138"/>
              <a:gd name="T87" fmla="*/ 186 h 192"/>
              <a:gd name="T88" fmla="*/ 108 w 138"/>
              <a:gd name="T89" fmla="*/ 186 h 192"/>
              <a:gd name="T90" fmla="*/ 84 w 138"/>
              <a:gd name="T91" fmla="*/ 174 h 192"/>
              <a:gd name="T92" fmla="*/ 48 w 138"/>
              <a:gd name="T93" fmla="*/ 180 h 192"/>
              <a:gd name="T94" fmla="*/ 48 w 138"/>
              <a:gd name="T95" fmla="*/ 168 h 192"/>
              <a:gd name="T96" fmla="*/ 30 w 138"/>
              <a:gd name="T97" fmla="*/ 150 h 192"/>
              <a:gd name="T98" fmla="*/ 18 w 138"/>
              <a:gd name="T99" fmla="*/ 132 h 192"/>
              <a:gd name="T100" fmla="*/ 24 w 138"/>
              <a:gd name="T101" fmla="*/ 126 h 192"/>
              <a:gd name="T102" fmla="*/ 24 w 138"/>
              <a:gd name="T103" fmla="*/ 120 h 192"/>
              <a:gd name="T104" fmla="*/ 24 w 138"/>
              <a:gd name="T105" fmla="*/ 108 h 192"/>
              <a:gd name="T106" fmla="*/ 18 w 138"/>
              <a:gd name="T107" fmla="*/ 102 h 192"/>
              <a:gd name="T108" fmla="*/ 12 w 138"/>
              <a:gd name="T109" fmla="*/ 102 h 192"/>
              <a:gd name="T110" fmla="*/ 6 w 138"/>
              <a:gd name="T111" fmla="*/ 96 h 192"/>
              <a:gd name="T112" fmla="*/ 0 w 138"/>
              <a:gd name="T113" fmla="*/ 78 h 192"/>
              <a:gd name="T114" fmla="*/ 6 w 138"/>
              <a:gd name="T115" fmla="*/ 78 h 192"/>
              <a:gd name="T116" fmla="*/ 0 w 138"/>
              <a:gd name="T117" fmla="*/ 72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38" h="192">
                <a:moveTo>
                  <a:pt x="0" y="72"/>
                </a:moveTo>
                <a:lnTo>
                  <a:pt x="0" y="72"/>
                </a:lnTo>
                <a:lnTo>
                  <a:pt x="6" y="72"/>
                </a:lnTo>
                <a:lnTo>
                  <a:pt x="6" y="72"/>
                </a:lnTo>
                <a:lnTo>
                  <a:pt x="12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42" y="42"/>
                </a:lnTo>
                <a:lnTo>
                  <a:pt x="42" y="36"/>
                </a:lnTo>
                <a:lnTo>
                  <a:pt x="42" y="36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18"/>
                </a:lnTo>
                <a:lnTo>
                  <a:pt x="36" y="18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6"/>
                </a:lnTo>
                <a:lnTo>
                  <a:pt x="42" y="6"/>
                </a:lnTo>
                <a:lnTo>
                  <a:pt x="42" y="0"/>
                </a:lnTo>
                <a:lnTo>
                  <a:pt x="42" y="6"/>
                </a:lnTo>
                <a:lnTo>
                  <a:pt x="48" y="6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6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8" y="24"/>
                </a:lnTo>
                <a:lnTo>
                  <a:pt x="78" y="24"/>
                </a:lnTo>
                <a:lnTo>
                  <a:pt x="84" y="24"/>
                </a:lnTo>
                <a:lnTo>
                  <a:pt x="84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6" y="24"/>
                </a:lnTo>
                <a:lnTo>
                  <a:pt x="96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8" y="24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14" y="30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2" y="60"/>
                </a:lnTo>
                <a:lnTo>
                  <a:pt x="108" y="60"/>
                </a:lnTo>
                <a:lnTo>
                  <a:pt x="96" y="72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84"/>
                </a:lnTo>
                <a:lnTo>
                  <a:pt x="90" y="84"/>
                </a:lnTo>
                <a:lnTo>
                  <a:pt x="90" y="84"/>
                </a:lnTo>
                <a:lnTo>
                  <a:pt x="96" y="84"/>
                </a:lnTo>
                <a:lnTo>
                  <a:pt x="96" y="84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102"/>
                </a:lnTo>
                <a:lnTo>
                  <a:pt x="102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96" y="108"/>
                </a:lnTo>
                <a:lnTo>
                  <a:pt x="96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20"/>
                </a:lnTo>
                <a:lnTo>
                  <a:pt x="102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14" y="126"/>
                </a:lnTo>
                <a:lnTo>
                  <a:pt x="114" y="132"/>
                </a:lnTo>
                <a:lnTo>
                  <a:pt x="114" y="132"/>
                </a:lnTo>
                <a:lnTo>
                  <a:pt x="114" y="132"/>
                </a:lnTo>
                <a:lnTo>
                  <a:pt x="114" y="132"/>
                </a:lnTo>
                <a:lnTo>
                  <a:pt x="114" y="132"/>
                </a:lnTo>
                <a:lnTo>
                  <a:pt x="114" y="138"/>
                </a:lnTo>
                <a:lnTo>
                  <a:pt x="114" y="138"/>
                </a:lnTo>
                <a:lnTo>
                  <a:pt x="108" y="144"/>
                </a:lnTo>
                <a:lnTo>
                  <a:pt x="108" y="144"/>
                </a:lnTo>
                <a:lnTo>
                  <a:pt x="108" y="144"/>
                </a:lnTo>
                <a:lnTo>
                  <a:pt x="108" y="144"/>
                </a:lnTo>
                <a:lnTo>
                  <a:pt x="114" y="144"/>
                </a:lnTo>
                <a:lnTo>
                  <a:pt x="114" y="144"/>
                </a:lnTo>
                <a:lnTo>
                  <a:pt x="114" y="150"/>
                </a:lnTo>
                <a:lnTo>
                  <a:pt x="114" y="150"/>
                </a:lnTo>
                <a:lnTo>
                  <a:pt x="114" y="150"/>
                </a:lnTo>
                <a:lnTo>
                  <a:pt x="114" y="150"/>
                </a:lnTo>
                <a:lnTo>
                  <a:pt x="114" y="150"/>
                </a:lnTo>
                <a:lnTo>
                  <a:pt x="114" y="150"/>
                </a:lnTo>
                <a:lnTo>
                  <a:pt x="120" y="156"/>
                </a:lnTo>
                <a:lnTo>
                  <a:pt x="120" y="156"/>
                </a:lnTo>
                <a:lnTo>
                  <a:pt x="120" y="162"/>
                </a:lnTo>
                <a:lnTo>
                  <a:pt x="114" y="162"/>
                </a:lnTo>
                <a:lnTo>
                  <a:pt x="114" y="162"/>
                </a:lnTo>
                <a:lnTo>
                  <a:pt x="114" y="162"/>
                </a:lnTo>
                <a:lnTo>
                  <a:pt x="114" y="162"/>
                </a:lnTo>
                <a:lnTo>
                  <a:pt x="114" y="162"/>
                </a:lnTo>
                <a:lnTo>
                  <a:pt x="114" y="168"/>
                </a:lnTo>
                <a:lnTo>
                  <a:pt x="114" y="168"/>
                </a:lnTo>
                <a:lnTo>
                  <a:pt x="114" y="168"/>
                </a:lnTo>
                <a:lnTo>
                  <a:pt x="114" y="168"/>
                </a:lnTo>
                <a:lnTo>
                  <a:pt x="114" y="168"/>
                </a:lnTo>
                <a:lnTo>
                  <a:pt x="114" y="174"/>
                </a:lnTo>
                <a:lnTo>
                  <a:pt x="114" y="174"/>
                </a:lnTo>
                <a:lnTo>
                  <a:pt x="114" y="168"/>
                </a:lnTo>
                <a:lnTo>
                  <a:pt x="120" y="168"/>
                </a:lnTo>
                <a:lnTo>
                  <a:pt x="120" y="168"/>
                </a:lnTo>
                <a:lnTo>
                  <a:pt x="120" y="168"/>
                </a:lnTo>
                <a:lnTo>
                  <a:pt x="120" y="168"/>
                </a:lnTo>
                <a:lnTo>
                  <a:pt x="126" y="168"/>
                </a:lnTo>
                <a:lnTo>
                  <a:pt x="126" y="168"/>
                </a:lnTo>
                <a:lnTo>
                  <a:pt x="126" y="168"/>
                </a:lnTo>
                <a:lnTo>
                  <a:pt x="126" y="168"/>
                </a:lnTo>
                <a:lnTo>
                  <a:pt x="126" y="168"/>
                </a:lnTo>
                <a:lnTo>
                  <a:pt x="126" y="168"/>
                </a:lnTo>
                <a:lnTo>
                  <a:pt x="126" y="174"/>
                </a:lnTo>
                <a:lnTo>
                  <a:pt x="132" y="174"/>
                </a:lnTo>
                <a:lnTo>
                  <a:pt x="132" y="174"/>
                </a:lnTo>
                <a:lnTo>
                  <a:pt x="132" y="174"/>
                </a:lnTo>
                <a:lnTo>
                  <a:pt x="132" y="174"/>
                </a:lnTo>
                <a:lnTo>
                  <a:pt x="132" y="174"/>
                </a:lnTo>
                <a:lnTo>
                  <a:pt x="132" y="180"/>
                </a:lnTo>
                <a:lnTo>
                  <a:pt x="126" y="180"/>
                </a:lnTo>
                <a:lnTo>
                  <a:pt x="126" y="180"/>
                </a:lnTo>
                <a:lnTo>
                  <a:pt x="132" y="186"/>
                </a:lnTo>
                <a:lnTo>
                  <a:pt x="132" y="186"/>
                </a:lnTo>
                <a:lnTo>
                  <a:pt x="132" y="186"/>
                </a:lnTo>
                <a:lnTo>
                  <a:pt x="138" y="186"/>
                </a:lnTo>
                <a:lnTo>
                  <a:pt x="132" y="192"/>
                </a:lnTo>
                <a:lnTo>
                  <a:pt x="132" y="192"/>
                </a:lnTo>
                <a:lnTo>
                  <a:pt x="132" y="192"/>
                </a:lnTo>
                <a:lnTo>
                  <a:pt x="126" y="192"/>
                </a:lnTo>
                <a:lnTo>
                  <a:pt x="126" y="192"/>
                </a:lnTo>
                <a:lnTo>
                  <a:pt x="126" y="192"/>
                </a:lnTo>
                <a:lnTo>
                  <a:pt x="126" y="186"/>
                </a:lnTo>
                <a:lnTo>
                  <a:pt x="120" y="186"/>
                </a:lnTo>
                <a:lnTo>
                  <a:pt x="120" y="186"/>
                </a:lnTo>
                <a:lnTo>
                  <a:pt x="120" y="186"/>
                </a:lnTo>
                <a:lnTo>
                  <a:pt x="120" y="186"/>
                </a:lnTo>
                <a:lnTo>
                  <a:pt x="120" y="186"/>
                </a:lnTo>
                <a:lnTo>
                  <a:pt x="120" y="186"/>
                </a:lnTo>
                <a:lnTo>
                  <a:pt x="114" y="186"/>
                </a:lnTo>
                <a:lnTo>
                  <a:pt x="114" y="186"/>
                </a:lnTo>
                <a:lnTo>
                  <a:pt x="114" y="186"/>
                </a:lnTo>
                <a:lnTo>
                  <a:pt x="114" y="186"/>
                </a:lnTo>
                <a:lnTo>
                  <a:pt x="114" y="186"/>
                </a:lnTo>
                <a:lnTo>
                  <a:pt x="114" y="186"/>
                </a:lnTo>
                <a:lnTo>
                  <a:pt x="108" y="186"/>
                </a:lnTo>
                <a:lnTo>
                  <a:pt x="108" y="186"/>
                </a:lnTo>
                <a:lnTo>
                  <a:pt x="108" y="186"/>
                </a:lnTo>
                <a:lnTo>
                  <a:pt x="108" y="186"/>
                </a:lnTo>
                <a:lnTo>
                  <a:pt x="108" y="186"/>
                </a:lnTo>
                <a:lnTo>
                  <a:pt x="108" y="186"/>
                </a:lnTo>
                <a:lnTo>
                  <a:pt x="108" y="186"/>
                </a:lnTo>
                <a:lnTo>
                  <a:pt x="108" y="186"/>
                </a:lnTo>
                <a:lnTo>
                  <a:pt x="102" y="174"/>
                </a:lnTo>
                <a:lnTo>
                  <a:pt x="84" y="174"/>
                </a:lnTo>
                <a:lnTo>
                  <a:pt x="84" y="174"/>
                </a:lnTo>
                <a:lnTo>
                  <a:pt x="72" y="174"/>
                </a:lnTo>
                <a:lnTo>
                  <a:pt x="66" y="174"/>
                </a:lnTo>
                <a:lnTo>
                  <a:pt x="66" y="186"/>
                </a:lnTo>
                <a:lnTo>
                  <a:pt x="48" y="180"/>
                </a:lnTo>
                <a:lnTo>
                  <a:pt x="48" y="180"/>
                </a:lnTo>
                <a:lnTo>
                  <a:pt x="48" y="174"/>
                </a:lnTo>
                <a:lnTo>
                  <a:pt x="48" y="174"/>
                </a:lnTo>
                <a:lnTo>
                  <a:pt x="54" y="174"/>
                </a:lnTo>
                <a:lnTo>
                  <a:pt x="54" y="174"/>
                </a:lnTo>
                <a:lnTo>
                  <a:pt x="48" y="168"/>
                </a:lnTo>
                <a:lnTo>
                  <a:pt x="36" y="174"/>
                </a:lnTo>
                <a:lnTo>
                  <a:pt x="36" y="168"/>
                </a:lnTo>
                <a:lnTo>
                  <a:pt x="36" y="162"/>
                </a:lnTo>
                <a:lnTo>
                  <a:pt x="30" y="156"/>
                </a:lnTo>
                <a:lnTo>
                  <a:pt x="30" y="150"/>
                </a:lnTo>
                <a:lnTo>
                  <a:pt x="30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2"/>
                </a:lnTo>
                <a:lnTo>
                  <a:pt x="18" y="132"/>
                </a:lnTo>
                <a:lnTo>
                  <a:pt x="18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30" y="126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08"/>
                </a:lnTo>
                <a:lnTo>
                  <a:pt x="24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6" y="96"/>
                </a:lnTo>
                <a:lnTo>
                  <a:pt x="6" y="96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64" name="Freeform 97"/>
          <p:cNvSpPr>
            <a:spLocks/>
          </p:cNvSpPr>
          <p:nvPr/>
        </p:nvSpPr>
        <p:spPr bwMode="auto">
          <a:xfrm>
            <a:off x="7558500" y="2027901"/>
            <a:ext cx="244114" cy="205571"/>
          </a:xfrm>
          <a:custGeom>
            <a:avLst/>
            <a:gdLst>
              <a:gd name="T0" fmla="*/ 6 w 228"/>
              <a:gd name="T1" fmla="*/ 36 h 192"/>
              <a:gd name="T2" fmla="*/ 12 w 228"/>
              <a:gd name="T3" fmla="*/ 30 h 192"/>
              <a:gd name="T4" fmla="*/ 6 w 228"/>
              <a:gd name="T5" fmla="*/ 24 h 192"/>
              <a:gd name="T6" fmla="*/ 6 w 228"/>
              <a:gd name="T7" fmla="*/ 18 h 192"/>
              <a:gd name="T8" fmla="*/ 0 w 228"/>
              <a:gd name="T9" fmla="*/ 18 h 192"/>
              <a:gd name="T10" fmla="*/ 6 w 228"/>
              <a:gd name="T11" fmla="*/ 18 h 192"/>
              <a:gd name="T12" fmla="*/ 18 w 228"/>
              <a:gd name="T13" fmla="*/ 12 h 192"/>
              <a:gd name="T14" fmla="*/ 18 w 228"/>
              <a:gd name="T15" fmla="*/ 6 h 192"/>
              <a:gd name="T16" fmla="*/ 18 w 228"/>
              <a:gd name="T17" fmla="*/ 12 h 192"/>
              <a:gd name="T18" fmla="*/ 24 w 228"/>
              <a:gd name="T19" fmla="*/ 6 h 192"/>
              <a:gd name="T20" fmla="*/ 30 w 228"/>
              <a:gd name="T21" fmla="*/ 6 h 192"/>
              <a:gd name="T22" fmla="*/ 36 w 228"/>
              <a:gd name="T23" fmla="*/ 12 h 192"/>
              <a:gd name="T24" fmla="*/ 42 w 228"/>
              <a:gd name="T25" fmla="*/ 12 h 192"/>
              <a:gd name="T26" fmla="*/ 48 w 228"/>
              <a:gd name="T27" fmla="*/ 18 h 192"/>
              <a:gd name="T28" fmla="*/ 48 w 228"/>
              <a:gd name="T29" fmla="*/ 12 h 192"/>
              <a:gd name="T30" fmla="*/ 48 w 228"/>
              <a:gd name="T31" fmla="*/ 18 h 192"/>
              <a:gd name="T32" fmla="*/ 54 w 228"/>
              <a:gd name="T33" fmla="*/ 24 h 192"/>
              <a:gd name="T34" fmla="*/ 60 w 228"/>
              <a:gd name="T35" fmla="*/ 24 h 192"/>
              <a:gd name="T36" fmla="*/ 60 w 228"/>
              <a:gd name="T37" fmla="*/ 24 h 192"/>
              <a:gd name="T38" fmla="*/ 66 w 228"/>
              <a:gd name="T39" fmla="*/ 24 h 192"/>
              <a:gd name="T40" fmla="*/ 72 w 228"/>
              <a:gd name="T41" fmla="*/ 24 h 192"/>
              <a:gd name="T42" fmla="*/ 84 w 228"/>
              <a:gd name="T43" fmla="*/ 18 h 192"/>
              <a:gd name="T44" fmla="*/ 90 w 228"/>
              <a:gd name="T45" fmla="*/ 18 h 192"/>
              <a:gd name="T46" fmla="*/ 102 w 228"/>
              <a:gd name="T47" fmla="*/ 18 h 192"/>
              <a:gd name="T48" fmla="*/ 108 w 228"/>
              <a:gd name="T49" fmla="*/ 18 h 192"/>
              <a:gd name="T50" fmla="*/ 114 w 228"/>
              <a:gd name="T51" fmla="*/ 18 h 192"/>
              <a:gd name="T52" fmla="*/ 120 w 228"/>
              <a:gd name="T53" fmla="*/ 18 h 192"/>
              <a:gd name="T54" fmla="*/ 126 w 228"/>
              <a:gd name="T55" fmla="*/ 6 h 192"/>
              <a:gd name="T56" fmla="*/ 132 w 228"/>
              <a:gd name="T57" fmla="*/ 0 h 192"/>
              <a:gd name="T58" fmla="*/ 138 w 228"/>
              <a:gd name="T59" fmla="*/ 0 h 192"/>
              <a:gd name="T60" fmla="*/ 144 w 228"/>
              <a:gd name="T61" fmla="*/ 12 h 192"/>
              <a:gd name="T62" fmla="*/ 168 w 228"/>
              <a:gd name="T63" fmla="*/ 18 h 192"/>
              <a:gd name="T64" fmla="*/ 168 w 228"/>
              <a:gd name="T65" fmla="*/ 48 h 192"/>
              <a:gd name="T66" fmla="*/ 198 w 228"/>
              <a:gd name="T67" fmla="*/ 48 h 192"/>
              <a:gd name="T68" fmla="*/ 198 w 228"/>
              <a:gd name="T69" fmla="*/ 66 h 192"/>
              <a:gd name="T70" fmla="*/ 204 w 228"/>
              <a:gd name="T71" fmla="*/ 102 h 192"/>
              <a:gd name="T72" fmla="*/ 222 w 228"/>
              <a:gd name="T73" fmla="*/ 102 h 192"/>
              <a:gd name="T74" fmla="*/ 222 w 228"/>
              <a:gd name="T75" fmla="*/ 132 h 192"/>
              <a:gd name="T76" fmla="*/ 204 w 228"/>
              <a:gd name="T77" fmla="*/ 144 h 192"/>
              <a:gd name="T78" fmla="*/ 198 w 228"/>
              <a:gd name="T79" fmla="*/ 144 h 192"/>
              <a:gd name="T80" fmla="*/ 186 w 228"/>
              <a:gd name="T81" fmla="*/ 156 h 192"/>
              <a:gd name="T82" fmla="*/ 174 w 228"/>
              <a:gd name="T83" fmla="*/ 126 h 192"/>
              <a:gd name="T84" fmla="*/ 162 w 228"/>
              <a:gd name="T85" fmla="*/ 132 h 192"/>
              <a:gd name="T86" fmla="*/ 150 w 228"/>
              <a:gd name="T87" fmla="*/ 138 h 192"/>
              <a:gd name="T88" fmla="*/ 114 w 228"/>
              <a:gd name="T89" fmla="*/ 168 h 192"/>
              <a:gd name="T90" fmla="*/ 114 w 228"/>
              <a:gd name="T91" fmla="*/ 174 h 192"/>
              <a:gd name="T92" fmla="*/ 78 w 228"/>
              <a:gd name="T93" fmla="*/ 186 h 192"/>
              <a:gd name="T94" fmla="*/ 54 w 228"/>
              <a:gd name="T95" fmla="*/ 186 h 192"/>
              <a:gd name="T96" fmla="*/ 24 w 228"/>
              <a:gd name="T97" fmla="*/ 144 h 192"/>
              <a:gd name="T98" fmla="*/ 24 w 228"/>
              <a:gd name="T99" fmla="*/ 138 h 192"/>
              <a:gd name="T100" fmla="*/ 24 w 228"/>
              <a:gd name="T101" fmla="*/ 138 h 192"/>
              <a:gd name="T102" fmla="*/ 24 w 228"/>
              <a:gd name="T103" fmla="*/ 138 h 192"/>
              <a:gd name="T104" fmla="*/ 24 w 228"/>
              <a:gd name="T105" fmla="*/ 132 h 192"/>
              <a:gd name="T106" fmla="*/ 30 w 228"/>
              <a:gd name="T107" fmla="*/ 132 h 192"/>
              <a:gd name="T108" fmla="*/ 30 w 228"/>
              <a:gd name="T109" fmla="*/ 132 h 192"/>
              <a:gd name="T110" fmla="*/ 36 w 228"/>
              <a:gd name="T111" fmla="*/ 102 h 192"/>
              <a:gd name="T112" fmla="*/ 24 w 228"/>
              <a:gd name="T113" fmla="*/ 84 h 192"/>
              <a:gd name="T114" fmla="*/ 30 w 228"/>
              <a:gd name="T115" fmla="*/ 48 h 192"/>
              <a:gd name="T116" fmla="*/ 12 w 228"/>
              <a:gd name="T117" fmla="*/ 42 h 192"/>
              <a:gd name="T118" fmla="*/ 6 w 228"/>
              <a:gd name="T119" fmla="*/ 42 h 192"/>
              <a:gd name="T120" fmla="*/ 6 w 228"/>
              <a:gd name="T121" fmla="*/ 42 h 192"/>
              <a:gd name="T122" fmla="*/ 0 w 228"/>
              <a:gd name="T123" fmla="*/ 42 h 192"/>
              <a:gd name="T124" fmla="*/ 0 w 228"/>
              <a:gd name="T125" fmla="*/ 42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28" h="192">
                <a:moveTo>
                  <a:pt x="0" y="42"/>
                </a:moveTo>
                <a:lnTo>
                  <a:pt x="0" y="42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12" y="30"/>
                </a:lnTo>
                <a:lnTo>
                  <a:pt x="12" y="24"/>
                </a:lnTo>
                <a:lnTo>
                  <a:pt x="12" y="24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2"/>
                </a:lnTo>
                <a:lnTo>
                  <a:pt x="6" y="18"/>
                </a:lnTo>
                <a:lnTo>
                  <a:pt x="12" y="12"/>
                </a:lnTo>
                <a:lnTo>
                  <a:pt x="12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12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12"/>
                </a:lnTo>
                <a:lnTo>
                  <a:pt x="36" y="6"/>
                </a:lnTo>
                <a:lnTo>
                  <a:pt x="36" y="12"/>
                </a:lnTo>
                <a:lnTo>
                  <a:pt x="36" y="12"/>
                </a:lnTo>
                <a:lnTo>
                  <a:pt x="42" y="12"/>
                </a:lnTo>
                <a:lnTo>
                  <a:pt x="42" y="12"/>
                </a:lnTo>
                <a:lnTo>
                  <a:pt x="42" y="18"/>
                </a:lnTo>
                <a:lnTo>
                  <a:pt x="48" y="18"/>
                </a:lnTo>
                <a:lnTo>
                  <a:pt x="48" y="18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54" y="24"/>
                </a:lnTo>
                <a:lnTo>
                  <a:pt x="54" y="24"/>
                </a:lnTo>
                <a:lnTo>
                  <a:pt x="60" y="24"/>
                </a:lnTo>
                <a:lnTo>
                  <a:pt x="60" y="24"/>
                </a:lnTo>
                <a:lnTo>
                  <a:pt x="60" y="30"/>
                </a:lnTo>
                <a:lnTo>
                  <a:pt x="60" y="24"/>
                </a:lnTo>
                <a:lnTo>
                  <a:pt x="60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8" y="18"/>
                </a:lnTo>
                <a:lnTo>
                  <a:pt x="78" y="24"/>
                </a:lnTo>
                <a:lnTo>
                  <a:pt x="84" y="18"/>
                </a:lnTo>
                <a:lnTo>
                  <a:pt x="84" y="18"/>
                </a:lnTo>
                <a:lnTo>
                  <a:pt x="90" y="18"/>
                </a:lnTo>
                <a:lnTo>
                  <a:pt x="90" y="18"/>
                </a:lnTo>
                <a:lnTo>
                  <a:pt x="96" y="18"/>
                </a:lnTo>
                <a:lnTo>
                  <a:pt x="96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8" y="18"/>
                </a:lnTo>
                <a:lnTo>
                  <a:pt x="108" y="12"/>
                </a:lnTo>
                <a:lnTo>
                  <a:pt x="114" y="12"/>
                </a:lnTo>
                <a:lnTo>
                  <a:pt x="114" y="18"/>
                </a:lnTo>
                <a:lnTo>
                  <a:pt x="114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2"/>
                </a:lnTo>
                <a:lnTo>
                  <a:pt x="126" y="12"/>
                </a:lnTo>
                <a:lnTo>
                  <a:pt x="126" y="6"/>
                </a:lnTo>
                <a:lnTo>
                  <a:pt x="132" y="6"/>
                </a:lnTo>
                <a:lnTo>
                  <a:pt x="132" y="0"/>
                </a:lnTo>
                <a:lnTo>
                  <a:pt x="132" y="0"/>
                </a:lnTo>
                <a:lnTo>
                  <a:pt x="132" y="0"/>
                </a:lnTo>
                <a:lnTo>
                  <a:pt x="132" y="0"/>
                </a:lnTo>
                <a:lnTo>
                  <a:pt x="138" y="0"/>
                </a:lnTo>
                <a:lnTo>
                  <a:pt x="138" y="6"/>
                </a:lnTo>
                <a:lnTo>
                  <a:pt x="144" y="6"/>
                </a:lnTo>
                <a:lnTo>
                  <a:pt x="144" y="12"/>
                </a:lnTo>
                <a:lnTo>
                  <a:pt x="150" y="18"/>
                </a:lnTo>
                <a:lnTo>
                  <a:pt x="162" y="30"/>
                </a:lnTo>
                <a:lnTo>
                  <a:pt x="168" y="18"/>
                </a:lnTo>
                <a:lnTo>
                  <a:pt x="174" y="30"/>
                </a:lnTo>
                <a:lnTo>
                  <a:pt x="174" y="42"/>
                </a:lnTo>
                <a:lnTo>
                  <a:pt x="168" y="48"/>
                </a:lnTo>
                <a:lnTo>
                  <a:pt x="180" y="48"/>
                </a:lnTo>
                <a:lnTo>
                  <a:pt x="198" y="42"/>
                </a:lnTo>
                <a:lnTo>
                  <a:pt x="198" y="48"/>
                </a:lnTo>
                <a:lnTo>
                  <a:pt x="198" y="54"/>
                </a:lnTo>
                <a:lnTo>
                  <a:pt x="198" y="60"/>
                </a:lnTo>
                <a:lnTo>
                  <a:pt x="198" y="66"/>
                </a:lnTo>
                <a:lnTo>
                  <a:pt x="198" y="72"/>
                </a:lnTo>
                <a:lnTo>
                  <a:pt x="210" y="78"/>
                </a:lnTo>
                <a:lnTo>
                  <a:pt x="204" y="102"/>
                </a:lnTo>
                <a:lnTo>
                  <a:pt x="210" y="102"/>
                </a:lnTo>
                <a:lnTo>
                  <a:pt x="210" y="102"/>
                </a:lnTo>
                <a:lnTo>
                  <a:pt x="222" y="102"/>
                </a:lnTo>
                <a:lnTo>
                  <a:pt x="228" y="114"/>
                </a:lnTo>
                <a:lnTo>
                  <a:pt x="222" y="126"/>
                </a:lnTo>
                <a:lnTo>
                  <a:pt x="222" y="132"/>
                </a:lnTo>
                <a:lnTo>
                  <a:pt x="210" y="126"/>
                </a:lnTo>
                <a:lnTo>
                  <a:pt x="228" y="144"/>
                </a:lnTo>
                <a:lnTo>
                  <a:pt x="204" y="144"/>
                </a:lnTo>
                <a:lnTo>
                  <a:pt x="204" y="144"/>
                </a:lnTo>
                <a:lnTo>
                  <a:pt x="204" y="144"/>
                </a:lnTo>
                <a:lnTo>
                  <a:pt x="198" y="144"/>
                </a:lnTo>
                <a:lnTo>
                  <a:pt x="198" y="144"/>
                </a:lnTo>
                <a:lnTo>
                  <a:pt x="192" y="144"/>
                </a:lnTo>
                <a:lnTo>
                  <a:pt x="186" y="156"/>
                </a:lnTo>
                <a:lnTo>
                  <a:pt x="186" y="156"/>
                </a:lnTo>
                <a:lnTo>
                  <a:pt x="174" y="138"/>
                </a:lnTo>
                <a:lnTo>
                  <a:pt x="174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32"/>
                </a:lnTo>
                <a:lnTo>
                  <a:pt x="156" y="132"/>
                </a:lnTo>
                <a:lnTo>
                  <a:pt x="156" y="132"/>
                </a:lnTo>
                <a:lnTo>
                  <a:pt x="150" y="138"/>
                </a:lnTo>
                <a:lnTo>
                  <a:pt x="144" y="132"/>
                </a:lnTo>
                <a:lnTo>
                  <a:pt x="132" y="162"/>
                </a:lnTo>
                <a:lnTo>
                  <a:pt x="114" y="168"/>
                </a:lnTo>
                <a:lnTo>
                  <a:pt x="114" y="168"/>
                </a:lnTo>
                <a:lnTo>
                  <a:pt x="114" y="168"/>
                </a:lnTo>
                <a:lnTo>
                  <a:pt x="114" y="174"/>
                </a:lnTo>
                <a:lnTo>
                  <a:pt x="102" y="168"/>
                </a:lnTo>
                <a:lnTo>
                  <a:pt x="102" y="174"/>
                </a:lnTo>
                <a:lnTo>
                  <a:pt x="78" y="186"/>
                </a:lnTo>
                <a:lnTo>
                  <a:pt x="66" y="180"/>
                </a:lnTo>
                <a:lnTo>
                  <a:pt x="54" y="192"/>
                </a:lnTo>
                <a:lnTo>
                  <a:pt x="54" y="186"/>
                </a:lnTo>
                <a:lnTo>
                  <a:pt x="48" y="162"/>
                </a:lnTo>
                <a:lnTo>
                  <a:pt x="24" y="144"/>
                </a:lnTo>
                <a:lnTo>
                  <a:pt x="24" y="144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24" y="120"/>
                </a:lnTo>
                <a:lnTo>
                  <a:pt x="24" y="114"/>
                </a:lnTo>
                <a:lnTo>
                  <a:pt x="36" y="102"/>
                </a:lnTo>
                <a:lnTo>
                  <a:pt x="30" y="90"/>
                </a:lnTo>
                <a:lnTo>
                  <a:pt x="18" y="96"/>
                </a:lnTo>
                <a:lnTo>
                  <a:pt x="24" y="84"/>
                </a:lnTo>
                <a:lnTo>
                  <a:pt x="30" y="84"/>
                </a:lnTo>
                <a:lnTo>
                  <a:pt x="36" y="48"/>
                </a:lnTo>
                <a:lnTo>
                  <a:pt x="30" y="48"/>
                </a:lnTo>
                <a:lnTo>
                  <a:pt x="30" y="42"/>
                </a:lnTo>
                <a:lnTo>
                  <a:pt x="12" y="36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65" name="Freeform 98"/>
          <p:cNvSpPr>
            <a:spLocks/>
          </p:cNvSpPr>
          <p:nvPr/>
        </p:nvSpPr>
        <p:spPr bwMode="auto">
          <a:xfrm>
            <a:off x="8226601" y="2092142"/>
            <a:ext cx="57816" cy="102786"/>
          </a:xfrm>
          <a:custGeom>
            <a:avLst/>
            <a:gdLst>
              <a:gd name="T0" fmla="*/ 0 w 54"/>
              <a:gd name="T1" fmla="*/ 78 h 96"/>
              <a:gd name="T2" fmla="*/ 6 w 54"/>
              <a:gd name="T3" fmla="*/ 78 h 96"/>
              <a:gd name="T4" fmla="*/ 12 w 54"/>
              <a:gd name="T5" fmla="*/ 72 h 96"/>
              <a:gd name="T6" fmla="*/ 12 w 54"/>
              <a:gd name="T7" fmla="*/ 66 h 96"/>
              <a:gd name="T8" fmla="*/ 12 w 54"/>
              <a:gd name="T9" fmla="*/ 54 h 96"/>
              <a:gd name="T10" fmla="*/ 0 w 54"/>
              <a:gd name="T11" fmla="*/ 48 h 96"/>
              <a:gd name="T12" fmla="*/ 6 w 54"/>
              <a:gd name="T13" fmla="*/ 48 h 96"/>
              <a:gd name="T14" fmla="*/ 6 w 54"/>
              <a:gd name="T15" fmla="*/ 48 h 96"/>
              <a:gd name="T16" fmla="*/ 6 w 54"/>
              <a:gd name="T17" fmla="*/ 42 h 96"/>
              <a:gd name="T18" fmla="*/ 6 w 54"/>
              <a:gd name="T19" fmla="*/ 36 h 96"/>
              <a:gd name="T20" fmla="*/ 6 w 54"/>
              <a:gd name="T21" fmla="*/ 30 h 96"/>
              <a:gd name="T22" fmla="*/ 6 w 54"/>
              <a:gd name="T23" fmla="*/ 30 h 96"/>
              <a:gd name="T24" fmla="*/ 6 w 54"/>
              <a:gd name="T25" fmla="*/ 24 h 96"/>
              <a:gd name="T26" fmla="*/ 6 w 54"/>
              <a:gd name="T27" fmla="*/ 24 h 96"/>
              <a:gd name="T28" fmla="*/ 6 w 54"/>
              <a:gd name="T29" fmla="*/ 18 h 96"/>
              <a:gd name="T30" fmla="*/ 6 w 54"/>
              <a:gd name="T31" fmla="*/ 18 h 96"/>
              <a:gd name="T32" fmla="*/ 12 w 54"/>
              <a:gd name="T33" fmla="*/ 12 h 96"/>
              <a:gd name="T34" fmla="*/ 24 w 54"/>
              <a:gd name="T35" fmla="*/ 0 h 96"/>
              <a:gd name="T36" fmla="*/ 24 w 54"/>
              <a:gd name="T37" fmla="*/ 6 h 96"/>
              <a:gd name="T38" fmla="*/ 30 w 54"/>
              <a:gd name="T39" fmla="*/ 18 h 96"/>
              <a:gd name="T40" fmla="*/ 30 w 54"/>
              <a:gd name="T41" fmla="*/ 18 h 96"/>
              <a:gd name="T42" fmla="*/ 36 w 54"/>
              <a:gd name="T43" fmla="*/ 18 h 96"/>
              <a:gd name="T44" fmla="*/ 36 w 54"/>
              <a:gd name="T45" fmla="*/ 18 h 96"/>
              <a:gd name="T46" fmla="*/ 36 w 54"/>
              <a:gd name="T47" fmla="*/ 18 h 96"/>
              <a:gd name="T48" fmla="*/ 42 w 54"/>
              <a:gd name="T49" fmla="*/ 18 h 96"/>
              <a:gd name="T50" fmla="*/ 36 w 54"/>
              <a:gd name="T51" fmla="*/ 30 h 96"/>
              <a:gd name="T52" fmla="*/ 36 w 54"/>
              <a:gd name="T53" fmla="*/ 48 h 96"/>
              <a:gd name="T54" fmla="*/ 48 w 54"/>
              <a:gd name="T55" fmla="*/ 66 h 96"/>
              <a:gd name="T56" fmla="*/ 54 w 54"/>
              <a:gd name="T57" fmla="*/ 72 h 96"/>
              <a:gd name="T58" fmla="*/ 54 w 54"/>
              <a:gd name="T59" fmla="*/ 72 h 96"/>
              <a:gd name="T60" fmla="*/ 48 w 54"/>
              <a:gd name="T61" fmla="*/ 72 h 96"/>
              <a:gd name="T62" fmla="*/ 48 w 54"/>
              <a:gd name="T63" fmla="*/ 72 h 96"/>
              <a:gd name="T64" fmla="*/ 42 w 54"/>
              <a:gd name="T65" fmla="*/ 72 h 96"/>
              <a:gd name="T66" fmla="*/ 42 w 54"/>
              <a:gd name="T67" fmla="*/ 78 h 96"/>
              <a:gd name="T68" fmla="*/ 42 w 54"/>
              <a:gd name="T69" fmla="*/ 78 h 96"/>
              <a:gd name="T70" fmla="*/ 36 w 54"/>
              <a:gd name="T71" fmla="*/ 78 h 96"/>
              <a:gd name="T72" fmla="*/ 36 w 54"/>
              <a:gd name="T73" fmla="*/ 84 h 96"/>
              <a:gd name="T74" fmla="*/ 30 w 54"/>
              <a:gd name="T75" fmla="*/ 84 h 96"/>
              <a:gd name="T76" fmla="*/ 30 w 54"/>
              <a:gd name="T77" fmla="*/ 84 h 96"/>
              <a:gd name="T78" fmla="*/ 24 w 54"/>
              <a:gd name="T79" fmla="*/ 84 h 96"/>
              <a:gd name="T80" fmla="*/ 24 w 54"/>
              <a:gd name="T81" fmla="*/ 90 h 96"/>
              <a:gd name="T82" fmla="*/ 24 w 54"/>
              <a:gd name="T83" fmla="*/ 96 h 96"/>
              <a:gd name="T84" fmla="*/ 24 w 54"/>
              <a:gd name="T85" fmla="*/ 96 h 96"/>
              <a:gd name="T86" fmla="*/ 24 w 54"/>
              <a:gd name="T87" fmla="*/ 96 h 96"/>
              <a:gd name="T88" fmla="*/ 18 w 54"/>
              <a:gd name="T89" fmla="*/ 96 h 96"/>
              <a:gd name="T90" fmla="*/ 18 w 54"/>
              <a:gd name="T91" fmla="*/ 96 h 96"/>
              <a:gd name="T92" fmla="*/ 18 w 54"/>
              <a:gd name="T93" fmla="*/ 96 h 96"/>
              <a:gd name="T94" fmla="*/ 12 w 54"/>
              <a:gd name="T95" fmla="*/ 96 h 96"/>
              <a:gd name="T96" fmla="*/ 6 w 54"/>
              <a:gd name="T97" fmla="*/ 96 h 96"/>
              <a:gd name="T98" fmla="*/ 6 w 54"/>
              <a:gd name="T99" fmla="*/ 90 h 96"/>
              <a:gd name="T100" fmla="*/ 6 w 54"/>
              <a:gd name="T101" fmla="*/ 84 h 96"/>
              <a:gd name="T102" fmla="*/ 0 w 54"/>
              <a:gd name="T103" fmla="*/ 78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4" h="96">
                <a:moveTo>
                  <a:pt x="0" y="78"/>
                </a:move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6" y="78"/>
                </a:lnTo>
                <a:lnTo>
                  <a:pt x="6" y="66"/>
                </a:lnTo>
                <a:lnTo>
                  <a:pt x="12" y="66"/>
                </a:lnTo>
                <a:lnTo>
                  <a:pt x="12" y="72"/>
                </a:lnTo>
                <a:lnTo>
                  <a:pt x="12" y="72"/>
                </a:lnTo>
                <a:lnTo>
                  <a:pt x="12" y="66"/>
                </a:lnTo>
                <a:lnTo>
                  <a:pt x="12" y="66"/>
                </a:lnTo>
                <a:lnTo>
                  <a:pt x="12" y="60"/>
                </a:lnTo>
                <a:lnTo>
                  <a:pt x="12" y="54"/>
                </a:lnTo>
                <a:lnTo>
                  <a:pt x="12" y="54"/>
                </a:lnTo>
                <a:lnTo>
                  <a:pt x="6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12" y="12"/>
                </a:lnTo>
                <a:lnTo>
                  <a:pt x="12" y="6"/>
                </a:lnTo>
                <a:lnTo>
                  <a:pt x="24" y="0"/>
                </a:lnTo>
                <a:lnTo>
                  <a:pt x="24" y="0"/>
                </a:lnTo>
                <a:lnTo>
                  <a:pt x="30" y="0"/>
                </a:lnTo>
                <a:lnTo>
                  <a:pt x="30" y="0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36" y="30"/>
                </a:lnTo>
                <a:lnTo>
                  <a:pt x="36" y="30"/>
                </a:lnTo>
                <a:lnTo>
                  <a:pt x="36" y="36"/>
                </a:lnTo>
                <a:lnTo>
                  <a:pt x="36" y="48"/>
                </a:lnTo>
                <a:lnTo>
                  <a:pt x="36" y="48"/>
                </a:lnTo>
                <a:lnTo>
                  <a:pt x="36" y="54"/>
                </a:lnTo>
                <a:lnTo>
                  <a:pt x="36" y="54"/>
                </a:lnTo>
                <a:lnTo>
                  <a:pt x="48" y="66"/>
                </a:lnTo>
                <a:lnTo>
                  <a:pt x="54" y="66"/>
                </a:lnTo>
                <a:lnTo>
                  <a:pt x="54" y="66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84"/>
                </a:lnTo>
                <a:lnTo>
                  <a:pt x="36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84"/>
                </a:lnTo>
                <a:lnTo>
                  <a:pt x="0" y="84"/>
                </a:lnTo>
                <a:lnTo>
                  <a:pt x="0" y="84"/>
                </a:lnTo>
                <a:lnTo>
                  <a:pt x="0" y="7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66" name="Freeform 99"/>
          <p:cNvSpPr>
            <a:spLocks/>
          </p:cNvSpPr>
          <p:nvPr/>
        </p:nvSpPr>
        <p:spPr bwMode="auto">
          <a:xfrm>
            <a:off x="8226601" y="1668151"/>
            <a:ext cx="83513" cy="96361"/>
          </a:xfrm>
          <a:custGeom>
            <a:avLst/>
            <a:gdLst>
              <a:gd name="T0" fmla="*/ 6 w 78"/>
              <a:gd name="T1" fmla="*/ 66 h 90"/>
              <a:gd name="T2" fmla="*/ 6 w 78"/>
              <a:gd name="T3" fmla="*/ 60 h 90"/>
              <a:gd name="T4" fmla="*/ 12 w 78"/>
              <a:gd name="T5" fmla="*/ 54 h 90"/>
              <a:gd name="T6" fmla="*/ 12 w 78"/>
              <a:gd name="T7" fmla="*/ 48 h 90"/>
              <a:gd name="T8" fmla="*/ 6 w 78"/>
              <a:gd name="T9" fmla="*/ 48 h 90"/>
              <a:gd name="T10" fmla="*/ 6 w 78"/>
              <a:gd name="T11" fmla="*/ 42 h 90"/>
              <a:gd name="T12" fmla="*/ 12 w 78"/>
              <a:gd name="T13" fmla="*/ 42 h 90"/>
              <a:gd name="T14" fmla="*/ 6 w 78"/>
              <a:gd name="T15" fmla="*/ 42 h 90"/>
              <a:gd name="T16" fmla="*/ 12 w 78"/>
              <a:gd name="T17" fmla="*/ 42 h 90"/>
              <a:gd name="T18" fmla="*/ 12 w 78"/>
              <a:gd name="T19" fmla="*/ 36 h 90"/>
              <a:gd name="T20" fmla="*/ 12 w 78"/>
              <a:gd name="T21" fmla="*/ 30 h 90"/>
              <a:gd name="T22" fmla="*/ 12 w 78"/>
              <a:gd name="T23" fmla="*/ 30 h 90"/>
              <a:gd name="T24" fmla="*/ 12 w 78"/>
              <a:gd name="T25" fmla="*/ 30 h 90"/>
              <a:gd name="T26" fmla="*/ 18 w 78"/>
              <a:gd name="T27" fmla="*/ 30 h 90"/>
              <a:gd name="T28" fmla="*/ 18 w 78"/>
              <a:gd name="T29" fmla="*/ 24 h 90"/>
              <a:gd name="T30" fmla="*/ 18 w 78"/>
              <a:gd name="T31" fmla="*/ 24 h 90"/>
              <a:gd name="T32" fmla="*/ 18 w 78"/>
              <a:gd name="T33" fmla="*/ 24 h 90"/>
              <a:gd name="T34" fmla="*/ 18 w 78"/>
              <a:gd name="T35" fmla="*/ 24 h 90"/>
              <a:gd name="T36" fmla="*/ 18 w 78"/>
              <a:gd name="T37" fmla="*/ 18 h 90"/>
              <a:gd name="T38" fmla="*/ 24 w 78"/>
              <a:gd name="T39" fmla="*/ 18 h 90"/>
              <a:gd name="T40" fmla="*/ 24 w 78"/>
              <a:gd name="T41" fmla="*/ 12 h 90"/>
              <a:gd name="T42" fmla="*/ 24 w 78"/>
              <a:gd name="T43" fmla="*/ 12 h 90"/>
              <a:gd name="T44" fmla="*/ 24 w 78"/>
              <a:gd name="T45" fmla="*/ 6 h 90"/>
              <a:gd name="T46" fmla="*/ 24 w 78"/>
              <a:gd name="T47" fmla="*/ 6 h 90"/>
              <a:gd name="T48" fmla="*/ 36 w 78"/>
              <a:gd name="T49" fmla="*/ 6 h 90"/>
              <a:gd name="T50" fmla="*/ 42 w 78"/>
              <a:gd name="T51" fmla="*/ 0 h 90"/>
              <a:gd name="T52" fmla="*/ 48 w 78"/>
              <a:gd name="T53" fmla="*/ 0 h 90"/>
              <a:gd name="T54" fmla="*/ 48 w 78"/>
              <a:gd name="T55" fmla="*/ 12 h 90"/>
              <a:gd name="T56" fmla="*/ 42 w 78"/>
              <a:gd name="T57" fmla="*/ 12 h 90"/>
              <a:gd name="T58" fmla="*/ 48 w 78"/>
              <a:gd name="T59" fmla="*/ 18 h 90"/>
              <a:gd name="T60" fmla="*/ 54 w 78"/>
              <a:gd name="T61" fmla="*/ 12 h 90"/>
              <a:gd name="T62" fmla="*/ 60 w 78"/>
              <a:gd name="T63" fmla="*/ 12 h 90"/>
              <a:gd name="T64" fmla="*/ 66 w 78"/>
              <a:gd name="T65" fmla="*/ 18 h 90"/>
              <a:gd name="T66" fmla="*/ 60 w 78"/>
              <a:gd name="T67" fmla="*/ 30 h 90"/>
              <a:gd name="T68" fmla="*/ 60 w 78"/>
              <a:gd name="T69" fmla="*/ 42 h 90"/>
              <a:gd name="T70" fmla="*/ 60 w 78"/>
              <a:gd name="T71" fmla="*/ 48 h 90"/>
              <a:gd name="T72" fmla="*/ 66 w 78"/>
              <a:gd name="T73" fmla="*/ 42 h 90"/>
              <a:gd name="T74" fmla="*/ 72 w 78"/>
              <a:gd name="T75" fmla="*/ 42 h 90"/>
              <a:gd name="T76" fmla="*/ 78 w 78"/>
              <a:gd name="T77" fmla="*/ 42 h 90"/>
              <a:gd name="T78" fmla="*/ 72 w 78"/>
              <a:gd name="T79" fmla="*/ 48 h 90"/>
              <a:gd name="T80" fmla="*/ 66 w 78"/>
              <a:gd name="T81" fmla="*/ 54 h 90"/>
              <a:gd name="T82" fmla="*/ 66 w 78"/>
              <a:gd name="T83" fmla="*/ 60 h 90"/>
              <a:gd name="T84" fmla="*/ 66 w 78"/>
              <a:gd name="T85" fmla="*/ 72 h 90"/>
              <a:gd name="T86" fmla="*/ 72 w 78"/>
              <a:gd name="T87" fmla="*/ 78 h 90"/>
              <a:gd name="T88" fmla="*/ 66 w 78"/>
              <a:gd name="T89" fmla="*/ 84 h 90"/>
              <a:gd name="T90" fmla="*/ 60 w 78"/>
              <a:gd name="T91" fmla="*/ 84 h 90"/>
              <a:gd name="T92" fmla="*/ 60 w 78"/>
              <a:gd name="T93" fmla="*/ 78 h 90"/>
              <a:gd name="T94" fmla="*/ 54 w 78"/>
              <a:gd name="T95" fmla="*/ 72 h 90"/>
              <a:gd name="T96" fmla="*/ 48 w 78"/>
              <a:gd name="T97" fmla="*/ 72 h 90"/>
              <a:gd name="T98" fmla="*/ 48 w 78"/>
              <a:gd name="T99" fmla="*/ 72 h 90"/>
              <a:gd name="T100" fmla="*/ 42 w 78"/>
              <a:gd name="T101" fmla="*/ 78 h 90"/>
              <a:gd name="T102" fmla="*/ 36 w 78"/>
              <a:gd name="T103" fmla="*/ 78 h 90"/>
              <a:gd name="T104" fmla="*/ 36 w 78"/>
              <a:gd name="T105" fmla="*/ 84 h 90"/>
              <a:gd name="T106" fmla="*/ 30 w 78"/>
              <a:gd name="T107" fmla="*/ 84 h 90"/>
              <a:gd name="T108" fmla="*/ 24 w 78"/>
              <a:gd name="T109" fmla="*/ 84 h 90"/>
              <a:gd name="T110" fmla="*/ 24 w 78"/>
              <a:gd name="T111" fmla="*/ 78 h 90"/>
              <a:gd name="T112" fmla="*/ 18 w 78"/>
              <a:gd name="T113" fmla="*/ 78 h 90"/>
              <a:gd name="T114" fmla="*/ 12 w 78"/>
              <a:gd name="T115" fmla="*/ 78 h 90"/>
              <a:gd name="T116" fmla="*/ 6 w 78"/>
              <a:gd name="T117" fmla="*/ 78 h 90"/>
              <a:gd name="T118" fmla="*/ 0 w 78"/>
              <a:gd name="T119" fmla="*/ 72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8" h="90">
                <a:moveTo>
                  <a:pt x="0" y="72"/>
                </a:moveTo>
                <a:lnTo>
                  <a:pt x="0" y="72"/>
                </a:lnTo>
                <a:lnTo>
                  <a:pt x="12" y="66"/>
                </a:lnTo>
                <a:lnTo>
                  <a:pt x="6" y="66"/>
                </a:lnTo>
                <a:lnTo>
                  <a:pt x="6" y="66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12" y="54"/>
                </a:lnTo>
                <a:lnTo>
                  <a:pt x="12" y="54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6" y="42"/>
                </a:lnTo>
                <a:lnTo>
                  <a:pt x="12" y="42"/>
                </a:lnTo>
                <a:lnTo>
                  <a:pt x="12" y="42"/>
                </a:lnTo>
                <a:lnTo>
                  <a:pt x="6" y="42"/>
                </a:lnTo>
                <a:lnTo>
                  <a:pt x="12" y="42"/>
                </a:lnTo>
                <a:lnTo>
                  <a:pt x="6" y="36"/>
                </a:lnTo>
                <a:lnTo>
                  <a:pt x="12" y="42"/>
                </a:lnTo>
                <a:lnTo>
                  <a:pt x="12" y="36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8" y="30"/>
                </a:lnTo>
                <a:lnTo>
                  <a:pt x="18" y="30"/>
                </a:lnTo>
                <a:lnTo>
                  <a:pt x="18" y="24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2" y="24"/>
                </a:lnTo>
                <a:lnTo>
                  <a:pt x="12" y="24"/>
                </a:lnTo>
                <a:lnTo>
                  <a:pt x="18" y="24"/>
                </a:lnTo>
                <a:lnTo>
                  <a:pt x="18" y="24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6" y="12"/>
                </a:lnTo>
                <a:lnTo>
                  <a:pt x="36" y="12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0"/>
                </a:lnTo>
                <a:lnTo>
                  <a:pt x="42" y="0"/>
                </a:lnTo>
                <a:lnTo>
                  <a:pt x="48" y="6"/>
                </a:lnTo>
                <a:lnTo>
                  <a:pt x="48" y="6"/>
                </a:lnTo>
                <a:lnTo>
                  <a:pt x="48" y="0"/>
                </a:lnTo>
                <a:lnTo>
                  <a:pt x="48" y="0"/>
                </a:lnTo>
                <a:lnTo>
                  <a:pt x="48" y="6"/>
                </a:lnTo>
                <a:lnTo>
                  <a:pt x="48" y="6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8"/>
                </a:lnTo>
                <a:lnTo>
                  <a:pt x="48" y="18"/>
                </a:lnTo>
                <a:lnTo>
                  <a:pt x="54" y="18"/>
                </a:lnTo>
                <a:lnTo>
                  <a:pt x="54" y="18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8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8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66" y="24"/>
                </a:lnTo>
                <a:lnTo>
                  <a:pt x="60" y="30"/>
                </a:lnTo>
                <a:lnTo>
                  <a:pt x="60" y="30"/>
                </a:lnTo>
                <a:lnTo>
                  <a:pt x="54" y="36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2"/>
                </a:lnTo>
                <a:lnTo>
                  <a:pt x="66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6"/>
                </a:lnTo>
                <a:lnTo>
                  <a:pt x="66" y="66"/>
                </a:lnTo>
                <a:lnTo>
                  <a:pt x="66" y="72"/>
                </a:lnTo>
                <a:lnTo>
                  <a:pt x="66" y="72"/>
                </a:lnTo>
                <a:lnTo>
                  <a:pt x="66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0" y="84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8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8"/>
                </a:lnTo>
                <a:lnTo>
                  <a:pt x="48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90"/>
                </a:lnTo>
                <a:lnTo>
                  <a:pt x="30" y="90"/>
                </a:lnTo>
                <a:lnTo>
                  <a:pt x="24" y="90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78"/>
                </a:lnTo>
                <a:lnTo>
                  <a:pt x="24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0" y="72"/>
                </a:lnTo>
                <a:lnTo>
                  <a:pt x="0" y="7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67" name="Freeform 100"/>
          <p:cNvSpPr>
            <a:spLocks/>
          </p:cNvSpPr>
          <p:nvPr/>
        </p:nvSpPr>
        <p:spPr bwMode="auto">
          <a:xfrm>
            <a:off x="7905398" y="1488277"/>
            <a:ext cx="244114" cy="102786"/>
          </a:xfrm>
          <a:custGeom>
            <a:avLst/>
            <a:gdLst>
              <a:gd name="T0" fmla="*/ 6 w 228"/>
              <a:gd name="T1" fmla="*/ 66 h 96"/>
              <a:gd name="T2" fmla="*/ 18 w 228"/>
              <a:gd name="T3" fmla="*/ 48 h 96"/>
              <a:gd name="T4" fmla="*/ 24 w 228"/>
              <a:gd name="T5" fmla="*/ 42 h 96"/>
              <a:gd name="T6" fmla="*/ 24 w 228"/>
              <a:gd name="T7" fmla="*/ 36 h 96"/>
              <a:gd name="T8" fmla="*/ 24 w 228"/>
              <a:gd name="T9" fmla="*/ 30 h 96"/>
              <a:gd name="T10" fmla="*/ 18 w 228"/>
              <a:gd name="T11" fmla="*/ 24 h 96"/>
              <a:gd name="T12" fmla="*/ 24 w 228"/>
              <a:gd name="T13" fmla="*/ 18 h 96"/>
              <a:gd name="T14" fmla="*/ 42 w 228"/>
              <a:gd name="T15" fmla="*/ 18 h 96"/>
              <a:gd name="T16" fmla="*/ 60 w 228"/>
              <a:gd name="T17" fmla="*/ 18 h 96"/>
              <a:gd name="T18" fmla="*/ 72 w 228"/>
              <a:gd name="T19" fmla="*/ 12 h 96"/>
              <a:gd name="T20" fmla="*/ 78 w 228"/>
              <a:gd name="T21" fmla="*/ 12 h 96"/>
              <a:gd name="T22" fmla="*/ 78 w 228"/>
              <a:gd name="T23" fmla="*/ 12 h 96"/>
              <a:gd name="T24" fmla="*/ 90 w 228"/>
              <a:gd name="T25" fmla="*/ 12 h 96"/>
              <a:gd name="T26" fmla="*/ 114 w 228"/>
              <a:gd name="T27" fmla="*/ 12 h 96"/>
              <a:gd name="T28" fmla="*/ 120 w 228"/>
              <a:gd name="T29" fmla="*/ 0 h 96"/>
              <a:gd name="T30" fmla="*/ 144 w 228"/>
              <a:gd name="T31" fmla="*/ 6 h 96"/>
              <a:gd name="T32" fmla="*/ 162 w 228"/>
              <a:gd name="T33" fmla="*/ 6 h 96"/>
              <a:gd name="T34" fmla="*/ 168 w 228"/>
              <a:gd name="T35" fmla="*/ 6 h 96"/>
              <a:gd name="T36" fmla="*/ 180 w 228"/>
              <a:gd name="T37" fmla="*/ 12 h 96"/>
              <a:gd name="T38" fmla="*/ 186 w 228"/>
              <a:gd name="T39" fmla="*/ 12 h 96"/>
              <a:gd name="T40" fmla="*/ 192 w 228"/>
              <a:gd name="T41" fmla="*/ 12 h 96"/>
              <a:gd name="T42" fmla="*/ 192 w 228"/>
              <a:gd name="T43" fmla="*/ 12 h 96"/>
              <a:gd name="T44" fmla="*/ 198 w 228"/>
              <a:gd name="T45" fmla="*/ 12 h 96"/>
              <a:gd name="T46" fmla="*/ 210 w 228"/>
              <a:gd name="T47" fmla="*/ 18 h 96"/>
              <a:gd name="T48" fmla="*/ 222 w 228"/>
              <a:gd name="T49" fmla="*/ 30 h 96"/>
              <a:gd name="T50" fmla="*/ 204 w 228"/>
              <a:gd name="T51" fmla="*/ 48 h 96"/>
              <a:gd name="T52" fmla="*/ 204 w 228"/>
              <a:gd name="T53" fmla="*/ 54 h 96"/>
              <a:gd name="T54" fmla="*/ 198 w 228"/>
              <a:gd name="T55" fmla="*/ 60 h 96"/>
              <a:gd name="T56" fmla="*/ 204 w 228"/>
              <a:gd name="T57" fmla="*/ 60 h 96"/>
              <a:gd name="T58" fmla="*/ 198 w 228"/>
              <a:gd name="T59" fmla="*/ 66 h 96"/>
              <a:gd name="T60" fmla="*/ 198 w 228"/>
              <a:gd name="T61" fmla="*/ 72 h 96"/>
              <a:gd name="T62" fmla="*/ 186 w 228"/>
              <a:gd name="T63" fmla="*/ 78 h 96"/>
              <a:gd name="T64" fmla="*/ 174 w 228"/>
              <a:gd name="T65" fmla="*/ 72 h 96"/>
              <a:gd name="T66" fmla="*/ 168 w 228"/>
              <a:gd name="T67" fmla="*/ 72 h 96"/>
              <a:gd name="T68" fmla="*/ 162 w 228"/>
              <a:gd name="T69" fmla="*/ 72 h 96"/>
              <a:gd name="T70" fmla="*/ 144 w 228"/>
              <a:gd name="T71" fmla="*/ 72 h 96"/>
              <a:gd name="T72" fmla="*/ 138 w 228"/>
              <a:gd name="T73" fmla="*/ 66 h 96"/>
              <a:gd name="T74" fmla="*/ 138 w 228"/>
              <a:gd name="T75" fmla="*/ 66 h 96"/>
              <a:gd name="T76" fmla="*/ 132 w 228"/>
              <a:gd name="T77" fmla="*/ 60 h 96"/>
              <a:gd name="T78" fmla="*/ 132 w 228"/>
              <a:gd name="T79" fmla="*/ 54 h 96"/>
              <a:gd name="T80" fmla="*/ 126 w 228"/>
              <a:gd name="T81" fmla="*/ 48 h 96"/>
              <a:gd name="T82" fmla="*/ 114 w 228"/>
              <a:gd name="T83" fmla="*/ 48 h 96"/>
              <a:gd name="T84" fmla="*/ 120 w 228"/>
              <a:gd name="T85" fmla="*/ 60 h 96"/>
              <a:gd name="T86" fmla="*/ 102 w 228"/>
              <a:gd name="T87" fmla="*/ 60 h 96"/>
              <a:gd name="T88" fmla="*/ 78 w 228"/>
              <a:gd name="T89" fmla="*/ 60 h 96"/>
              <a:gd name="T90" fmla="*/ 78 w 228"/>
              <a:gd name="T91" fmla="*/ 60 h 96"/>
              <a:gd name="T92" fmla="*/ 78 w 228"/>
              <a:gd name="T93" fmla="*/ 66 h 96"/>
              <a:gd name="T94" fmla="*/ 78 w 228"/>
              <a:gd name="T95" fmla="*/ 72 h 96"/>
              <a:gd name="T96" fmla="*/ 78 w 228"/>
              <a:gd name="T97" fmla="*/ 72 h 96"/>
              <a:gd name="T98" fmla="*/ 78 w 228"/>
              <a:gd name="T99" fmla="*/ 78 h 96"/>
              <a:gd name="T100" fmla="*/ 78 w 228"/>
              <a:gd name="T101" fmla="*/ 84 h 96"/>
              <a:gd name="T102" fmla="*/ 72 w 228"/>
              <a:gd name="T103" fmla="*/ 90 h 96"/>
              <a:gd name="T104" fmla="*/ 72 w 228"/>
              <a:gd name="T105" fmla="*/ 96 h 96"/>
              <a:gd name="T106" fmla="*/ 54 w 228"/>
              <a:gd name="T107" fmla="*/ 84 h 96"/>
              <a:gd name="T108" fmla="*/ 48 w 228"/>
              <a:gd name="T109" fmla="*/ 78 h 96"/>
              <a:gd name="T110" fmla="*/ 36 w 228"/>
              <a:gd name="T111" fmla="*/ 78 h 96"/>
              <a:gd name="T112" fmla="*/ 30 w 228"/>
              <a:gd name="T113" fmla="*/ 90 h 96"/>
              <a:gd name="T114" fmla="*/ 24 w 228"/>
              <a:gd name="T115" fmla="*/ 96 h 96"/>
              <a:gd name="T116" fmla="*/ 12 w 228"/>
              <a:gd name="T117" fmla="*/ 96 h 96"/>
              <a:gd name="T118" fmla="*/ 12 w 228"/>
              <a:gd name="T119" fmla="*/ 84 h 96"/>
              <a:gd name="T120" fmla="*/ 6 w 228"/>
              <a:gd name="T121" fmla="*/ 84 h 96"/>
              <a:gd name="T122" fmla="*/ 6 w 228"/>
              <a:gd name="T123" fmla="*/ 78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28" h="96">
                <a:moveTo>
                  <a:pt x="6" y="78"/>
                </a:move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18" y="54"/>
                </a:lnTo>
                <a:lnTo>
                  <a:pt x="12" y="54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2"/>
                </a:lnTo>
                <a:lnTo>
                  <a:pt x="18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18"/>
                </a:lnTo>
                <a:lnTo>
                  <a:pt x="18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30" y="18"/>
                </a:lnTo>
                <a:lnTo>
                  <a:pt x="36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8" y="18"/>
                </a:lnTo>
                <a:lnTo>
                  <a:pt x="48" y="18"/>
                </a:lnTo>
                <a:lnTo>
                  <a:pt x="54" y="18"/>
                </a:lnTo>
                <a:lnTo>
                  <a:pt x="60" y="18"/>
                </a:lnTo>
                <a:lnTo>
                  <a:pt x="60" y="12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8"/>
                </a:lnTo>
                <a:lnTo>
                  <a:pt x="78" y="18"/>
                </a:lnTo>
                <a:lnTo>
                  <a:pt x="78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90" y="12"/>
                </a:lnTo>
                <a:lnTo>
                  <a:pt x="90" y="12"/>
                </a:lnTo>
                <a:lnTo>
                  <a:pt x="96" y="12"/>
                </a:lnTo>
                <a:lnTo>
                  <a:pt x="102" y="12"/>
                </a:lnTo>
                <a:lnTo>
                  <a:pt x="102" y="12"/>
                </a:lnTo>
                <a:lnTo>
                  <a:pt x="108" y="12"/>
                </a:lnTo>
                <a:lnTo>
                  <a:pt x="114" y="12"/>
                </a:lnTo>
                <a:lnTo>
                  <a:pt x="114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0"/>
                </a:lnTo>
                <a:lnTo>
                  <a:pt x="126" y="6"/>
                </a:lnTo>
                <a:lnTo>
                  <a:pt x="132" y="6"/>
                </a:lnTo>
                <a:lnTo>
                  <a:pt x="132" y="6"/>
                </a:lnTo>
                <a:lnTo>
                  <a:pt x="138" y="6"/>
                </a:lnTo>
                <a:lnTo>
                  <a:pt x="144" y="6"/>
                </a:lnTo>
                <a:lnTo>
                  <a:pt x="150" y="6"/>
                </a:lnTo>
                <a:lnTo>
                  <a:pt x="156" y="6"/>
                </a:lnTo>
                <a:lnTo>
                  <a:pt x="156" y="6"/>
                </a:lnTo>
                <a:lnTo>
                  <a:pt x="162" y="6"/>
                </a:lnTo>
                <a:lnTo>
                  <a:pt x="162" y="6"/>
                </a:lnTo>
                <a:lnTo>
                  <a:pt x="162" y="6"/>
                </a:lnTo>
                <a:lnTo>
                  <a:pt x="168" y="6"/>
                </a:lnTo>
                <a:lnTo>
                  <a:pt x="168" y="12"/>
                </a:lnTo>
                <a:lnTo>
                  <a:pt x="168" y="6"/>
                </a:lnTo>
                <a:lnTo>
                  <a:pt x="168" y="6"/>
                </a:lnTo>
                <a:lnTo>
                  <a:pt x="168" y="6"/>
                </a:lnTo>
                <a:lnTo>
                  <a:pt x="174" y="6"/>
                </a:lnTo>
                <a:lnTo>
                  <a:pt x="180" y="6"/>
                </a:lnTo>
                <a:lnTo>
                  <a:pt x="180" y="12"/>
                </a:lnTo>
                <a:lnTo>
                  <a:pt x="180" y="12"/>
                </a:lnTo>
                <a:lnTo>
                  <a:pt x="180" y="12"/>
                </a:lnTo>
                <a:lnTo>
                  <a:pt x="180" y="12"/>
                </a:lnTo>
                <a:lnTo>
                  <a:pt x="180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6"/>
                </a:lnTo>
                <a:lnTo>
                  <a:pt x="186" y="6"/>
                </a:lnTo>
                <a:lnTo>
                  <a:pt x="192" y="12"/>
                </a:lnTo>
                <a:lnTo>
                  <a:pt x="192" y="12"/>
                </a:lnTo>
                <a:lnTo>
                  <a:pt x="192" y="12"/>
                </a:lnTo>
                <a:lnTo>
                  <a:pt x="186" y="12"/>
                </a:lnTo>
                <a:lnTo>
                  <a:pt x="192" y="12"/>
                </a:lnTo>
                <a:lnTo>
                  <a:pt x="192" y="12"/>
                </a:lnTo>
                <a:lnTo>
                  <a:pt x="192" y="12"/>
                </a:lnTo>
                <a:lnTo>
                  <a:pt x="192" y="12"/>
                </a:lnTo>
                <a:lnTo>
                  <a:pt x="192" y="12"/>
                </a:lnTo>
                <a:lnTo>
                  <a:pt x="192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8"/>
                </a:lnTo>
                <a:lnTo>
                  <a:pt x="204" y="12"/>
                </a:lnTo>
                <a:lnTo>
                  <a:pt x="204" y="18"/>
                </a:lnTo>
                <a:lnTo>
                  <a:pt x="204" y="18"/>
                </a:lnTo>
                <a:lnTo>
                  <a:pt x="210" y="18"/>
                </a:lnTo>
                <a:lnTo>
                  <a:pt x="210" y="24"/>
                </a:lnTo>
                <a:lnTo>
                  <a:pt x="216" y="24"/>
                </a:lnTo>
                <a:lnTo>
                  <a:pt x="216" y="24"/>
                </a:lnTo>
                <a:lnTo>
                  <a:pt x="222" y="30"/>
                </a:lnTo>
                <a:lnTo>
                  <a:pt x="222" y="30"/>
                </a:lnTo>
                <a:lnTo>
                  <a:pt x="222" y="30"/>
                </a:lnTo>
                <a:lnTo>
                  <a:pt x="228" y="30"/>
                </a:lnTo>
                <a:lnTo>
                  <a:pt x="228" y="30"/>
                </a:lnTo>
                <a:lnTo>
                  <a:pt x="228" y="30"/>
                </a:lnTo>
                <a:lnTo>
                  <a:pt x="204" y="48"/>
                </a:lnTo>
                <a:lnTo>
                  <a:pt x="204" y="48"/>
                </a:lnTo>
                <a:lnTo>
                  <a:pt x="204" y="48"/>
                </a:lnTo>
                <a:lnTo>
                  <a:pt x="204" y="48"/>
                </a:lnTo>
                <a:lnTo>
                  <a:pt x="204" y="48"/>
                </a:lnTo>
                <a:lnTo>
                  <a:pt x="204" y="54"/>
                </a:lnTo>
                <a:lnTo>
                  <a:pt x="204" y="54"/>
                </a:lnTo>
                <a:lnTo>
                  <a:pt x="204" y="54"/>
                </a:lnTo>
                <a:lnTo>
                  <a:pt x="204" y="54"/>
                </a:lnTo>
                <a:lnTo>
                  <a:pt x="204" y="54"/>
                </a:lnTo>
                <a:lnTo>
                  <a:pt x="198" y="60"/>
                </a:lnTo>
                <a:lnTo>
                  <a:pt x="198" y="60"/>
                </a:lnTo>
                <a:lnTo>
                  <a:pt x="204" y="60"/>
                </a:lnTo>
                <a:lnTo>
                  <a:pt x="204" y="60"/>
                </a:lnTo>
                <a:lnTo>
                  <a:pt x="204" y="60"/>
                </a:lnTo>
                <a:lnTo>
                  <a:pt x="204" y="60"/>
                </a:lnTo>
                <a:lnTo>
                  <a:pt x="204" y="60"/>
                </a:lnTo>
                <a:lnTo>
                  <a:pt x="198" y="66"/>
                </a:lnTo>
                <a:lnTo>
                  <a:pt x="198" y="66"/>
                </a:lnTo>
                <a:lnTo>
                  <a:pt x="198" y="66"/>
                </a:lnTo>
                <a:lnTo>
                  <a:pt x="198" y="66"/>
                </a:lnTo>
                <a:lnTo>
                  <a:pt x="198" y="66"/>
                </a:lnTo>
                <a:lnTo>
                  <a:pt x="198" y="72"/>
                </a:lnTo>
                <a:lnTo>
                  <a:pt x="198" y="72"/>
                </a:lnTo>
                <a:lnTo>
                  <a:pt x="198" y="72"/>
                </a:lnTo>
                <a:lnTo>
                  <a:pt x="198" y="72"/>
                </a:lnTo>
                <a:lnTo>
                  <a:pt x="198" y="72"/>
                </a:lnTo>
                <a:lnTo>
                  <a:pt x="192" y="78"/>
                </a:lnTo>
                <a:lnTo>
                  <a:pt x="186" y="78"/>
                </a:lnTo>
                <a:lnTo>
                  <a:pt x="186" y="78"/>
                </a:lnTo>
                <a:lnTo>
                  <a:pt x="186" y="78"/>
                </a:lnTo>
                <a:lnTo>
                  <a:pt x="180" y="78"/>
                </a:lnTo>
                <a:lnTo>
                  <a:pt x="180" y="78"/>
                </a:lnTo>
                <a:lnTo>
                  <a:pt x="174" y="78"/>
                </a:lnTo>
                <a:lnTo>
                  <a:pt x="174" y="78"/>
                </a:lnTo>
                <a:lnTo>
                  <a:pt x="174" y="72"/>
                </a:lnTo>
                <a:lnTo>
                  <a:pt x="174" y="72"/>
                </a:lnTo>
                <a:lnTo>
                  <a:pt x="174" y="72"/>
                </a:lnTo>
                <a:lnTo>
                  <a:pt x="174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2" y="72"/>
                </a:lnTo>
                <a:lnTo>
                  <a:pt x="162" y="72"/>
                </a:lnTo>
                <a:lnTo>
                  <a:pt x="162" y="72"/>
                </a:lnTo>
                <a:lnTo>
                  <a:pt x="162" y="72"/>
                </a:lnTo>
                <a:lnTo>
                  <a:pt x="156" y="72"/>
                </a:lnTo>
                <a:lnTo>
                  <a:pt x="150" y="72"/>
                </a:lnTo>
                <a:lnTo>
                  <a:pt x="144" y="72"/>
                </a:lnTo>
                <a:lnTo>
                  <a:pt x="144" y="72"/>
                </a:lnTo>
                <a:lnTo>
                  <a:pt x="144" y="66"/>
                </a:lnTo>
                <a:lnTo>
                  <a:pt x="144" y="66"/>
                </a:lnTo>
                <a:lnTo>
                  <a:pt x="144" y="66"/>
                </a:lnTo>
                <a:lnTo>
                  <a:pt x="138" y="66"/>
                </a:lnTo>
                <a:lnTo>
                  <a:pt x="138" y="66"/>
                </a:lnTo>
                <a:lnTo>
                  <a:pt x="138" y="66"/>
                </a:lnTo>
                <a:lnTo>
                  <a:pt x="138" y="66"/>
                </a:lnTo>
                <a:lnTo>
                  <a:pt x="138" y="66"/>
                </a:lnTo>
                <a:lnTo>
                  <a:pt x="138" y="66"/>
                </a:lnTo>
                <a:lnTo>
                  <a:pt x="138" y="66"/>
                </a:lnTo>
                <a:lnTo>
                  <a:pt x="132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54"/>
                </a:lnTo>
                <a:lnTo>
                  <a:pt x="132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2"/>
                </a:lnTo>
                <a:lnTo>
                  <a:pt x="114" y="48"/>
                </a:lnTo>
                <a:lnTo>
                  <a:pt x="114" y="48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02" y="60"/>
                </a:lnTo>
                <a:lnTo>
                  <a:pt x="96" y="60"/>
                </a:lnTo>
                <a:lnTo>
                  <a:pt x="96" y="60"/>
                </a:lnTo>
                <a:lnTo>
                  <a:pt x="84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84" y="66"/>
                </a:lnTo>
                <a:lnTo>
                  <a:pt x="84" y="66"/>
                </a:lnTo>
                <a:lnTo>
                  <a:pt x="78" y="66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2" y="78"/>
                </a:lnTo>
                <a:lnTo>
                  <a:pt x="72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66" y="96"/>
                </a:lnTo>
                <a:lnTo>
                  <a:pt x="60" y="90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48" y="84"/>
                </a:lnTo>
                <a:lnTo>
                  <a:pt x="48" y="84"/>
                </a:lnTo>
                <a:lnTo>
                  <a:pt x="48" y="78"/>
                </a:lnTo>
                <a:lnTo>
                  <a:pt x="48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36" y="78"/>
                </a:lnTo>
                <a:lnTo>
                  <a:pt x="36" y="78"/>
                </a:lnTo>
                <a:lnTo>
                  <a:pt x="36" y="72"/>
                </a:lnTo>
                <a:lnTo>
                  <a:pt x="36" y="66"/>
                </a:lnTo>
                <a:lnTo>
                  <a:pt x="36" y="72"/>
                </a:lnTo>
                <a:lnTo>
                  <a:pt x="30" y="90"/>
                </a:lnTo>
                <a:lnTo>
                  <a:pt x="30" y="90"/>
                </a:lnTo>
                <a:lnTo>
                  <a:pt x="24" y="90"/>
                </a:lnTo>
                <a:lnTo>
                  <a:pt x="24" y="90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18" y="90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2" y="96"/>
                </a:lnTo>
                <a:lnTo>
                  <a:pt x="12" y="96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78"/>
                </a:lnTo>
                <a:lnTo>
                  <a:pt x="6" y="78"/>
                </a:lnTo>
                <a:lnTo>
                  <a:pt x="0" y="78"/>
                </a:lnTo>
                <a:lnTo>
                  <a:pt x="0" y="78"/>
                </a:lnTo>
                <a:lnTo>
                  <a:pt x="6" y="7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68" name="Freeform 101"/>
          <p:cNvSpPr>
            <a:spLocks/>
          </p:cNvSpPr>
          <p:nvPr/>
        </p:nvSpPr>
        <p:spPr bwMode="auto">
          <a:xfrm>
            <a:off x="8098120" y="1848026"/>
            <a:ext cx="173449" cy="141330"/>
          </a:xfrm>
          <a:custGeom>
            <a:avLst/>
            <a:gdLst>
              <a:gd name="T0" fmla="*/ 6 w 162"/>
              <a:gd name="T1" fmla="*/ 0 h 132"/>
              <a:gd name="T2" fmla="*/ 6 w 162"/>
              <a:gd name="T3" fmla="*/ 0 h 132"/>
              <a:gd name="T4" fmla="*/ 18 w 162"/>
              <a:gd name="T5" fmla="*/ 6 h 132"/>
              <a:gd name="T6" fmla="*/ 30 w 162"/>
              <a:gd name="T7" fmla="*/ 6 h 132"/>
              <a:gd name="T8" fmla="*/ 30 w 162"/>
              <a:gd name="T9" fmla="*/ 6 h 132"/>
              <a:gd name="T10" fmla="*/ 42 w 162"/>
              <a:gd name="T11" fmla="*/ 0 h 132"/>
              <a:gd name="T12" fmla="*/ 48 w 162"/>
              <a:gd name="T13" fmla="*/ 0 h 132"/>
              <a:gd name="T14" fmla="*/ 54 w 162"/>
              <a:gd name="T15" fmla="*/ 6 h 132"/>
              <a:gd name="T16" fmla="*/ 60 w 162"/>
              <a:gd name="T17" fmla="*/ 6 h 132"/>
              <a:gd name="T18" fmla="*/ 66 w 162"/>
              <a:gd name="T19" fmla="*/ 6 h 132"/>
              <a:gd name="T20" fmla="*/ 102 w 162"/>
              <a:gd name="T21" fmla="*/ 24 h 132"/>
              <a:gd name="T22" fmla="*/ 108 w 162"/>
              <a:gd name="T23" fmla="*/ 30 h 132"/>
              <a:gd name="T24" fmla="*/ 114 w 162"/>
              <a:gd name="T25" fmla="*/ 24 h 132"/>
              <a:gd name="T26" fmla="*/ 120 w 162"/>
              <a:gd name="T27" fmla="*/ 24 h 132"/>
              <a:gd name="T28" fmla="*/ 132 w 162"/>
              <a:gd name="T29" fmla="*/ 24 h 132"/>
              <a:gd name="T30" fmla="*/ 138 w 162"/>
              <a:gd name="T31" fmla="*/ 24 h 132"/>
              <a:gd name="T32" fmla="*/ 150 w 162"/>
              <a:gd name="T33" fmla="*/ 12 h 132"/>
              <a:gd name="T34" fmla="*/ 156 w 162"/>
              <a:gd name="T35" fmla="*/ 42 h 132"/>
              <a:gd name="T36" fmla="*/ 156 w 162"/>
              <a:gd name="T37" fmla="*/ 66 h 132"/>
              <a:gd name="T38" fmla="*/ 156 w 162"/>
              <a:gd name="T39" fmla="*/ 66 h 132"/>
              <a:gd name="T40" fmla="*/ 144 w 162"/>
              <a:gd name="T41" fmla="*/ 78 h 132"/>
              <a:gd name="T42" fmla="*/ 144 w 162"/>
              <a:gd name="T43" fmla="*/ 84 h 132"/>
              <a:gd name="T44" fmla="*/ 144 w 162"/>
              <a:gd name="T45" fmla="*/ 96 h 132"/>
              <a:gd name="T46" fmla="*/ 138 w 162"/>
              <a:gd name="T47" fmla="*/ 96 h 132"/>
              <a:gd name="T48" fmla="*/ 138 w 162"/>
              <a:gd name="T49" fmla="*/ 84 h 132"/>
              <a:gd name="T50" fmla="*/ 132 w 162"/>
              <a:gd name="T51" fmla="*/ 90 h 132"/>
              <a:gd name="T52" fmla="*/ 126 w 162"/>
              <a:gd name="T53" fmla="*/ 96 h 132"/>
              <a:gd name="T54" fmla="*/ 102 w 162"/>
              <a:gd name="T55" fmla="*/ 102 h 132"/>
              <a:gd name="T56" fmla="*/ 90 w 162"/>
              <a:gd name="T57" fmla="*/ 114 h 132"/>
              <a:gd name="T58" fmla="*/ 78 w 162"/>
              <a:gd name="T59" fmla="*/ 126 h 132"/>
              <a:gd name="T60" fmla="*/ 72 w 162"/>
              <a:gd name="T61" fmla="*/ 126 h 132"/>
              <a:gd name="T62" fmla="*/ 60 w 162"/>
              <a:gd name="T63" fmla="*/ 126 h 132"/>
              <a:gd name="T64" fmla="*/ 54 w 162"/>
              <a:gd name="T65" fmla="*/ 126 h 132"/>
              <a:gd name="T66" fmla="*/ 48 w 162"/>
              <a:gd name="T67" fmla="*/ 132 h 132"/>
              <a:gd name="T68" fmla="*/ 42 w 162"/>
              <a:gd name="T69" fmla="*/ 114 h 132"/>
              <a:gd name="T70" fmla="*/ 42 w 162"/>
              <a:gd name="T71" fmla="*/ 114 h 132"/>
              <a:gd name="T72" fmla="*/ 36 w 162"/>
              <a:gd name="T73" fmla="*/ 108 h 132"/>
              <a:gd name="T74" fmla="*/ 30 w 162"/>
              <a:gd name="T75" fmla="*/ 102 h 132"/>
              <a:gd name="T76" fmla="*/ 24 w 162"/>
              <a:gd name="T77" fmla="*/ 102 h 132"/>
              <a:gd name="T78" fmla="*/ 18 w 162"/>
              <a:gd name="T79" fmla="*/ 96 h 132"/>
              <a:gd name="T80" fmla="*/ 12 w 162"/>
              <a:gd name="T81" fmla="*/ 96 h 132"/>
              <a:gd name="T82" fmla="*/ 18 w 162"/>
              <a:gd name="T83" fmla="*/ 90 h 132"/>
              <a:gd name="T84" fmla="*/ 24 w 162"/>
              <a:gd name="T85" fmla="*/ 84 h 132"/>
              <a:gd name="T86" fmla="*/ 30 w 162"/>
              <a:gd name="T87" fmla="*/ 84 h 132"/>
              <a:gd name="T88" fmla="*/ 24 w 162"/>
              <a:gd name="T89" fmla="*/ 72 h 132"/>
              <a:gd name="T90" fmla="*/ 24 w 162"/>
              <a:gd name="T91" fmla="*/ 72 h 132"/>
              <a:gd name="T92" fmla="*/ 18 w 162"/>
              <a:gd name="T93" fmla="*/ 72 h 132"/>
              <a:gd name="T94" fmla="*/ 18 w 162"/>
              <a:gd name="T95" fmla="*/ 66 h 132"/>
              <a:gd name="T96" fmla="*/ 12 w 162"/>
              <a:gd name="T97" fmla="*/ 60 h 132"/>
              <a:gd name="T98" fmla="*/ 6 w 162"/>
              <a:gd name="T99" fmla="*/ 54 h 132"/>
              <a:gd name="T100" fmla="*/ 0 w 162"/>
              <a:gd name="T101" fmla="*/ 42 h 132"/>
              <a:gd name="T102" fmla="*/ 0 w 162"/>
              <a:gd name="T103" fmla="*/ 36 h 132"/>
              <a:gd name="T104" fmla="*/ 0 w 162"/>
              <a:gd name="T105" fmla="*/ 30 h 132"/>
              <a:gd name="T106" fmla="*/ 6 w 162"/>
              <a:gd name="T107" fmla="*/ 18 h 132"/>
              <a:gd name="T108" fmla="*/ 0 w 162"/>
              <a:gd name="T109" fmla="*/ 18 h 132"/>
              <a:gd name="T110" fmla="*/ 0 w 162"/>
              <a:gd name="T111" fmla="*/ 12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62" h="132">
                <a:moveTo>
                  <a:pt x="0" y="6"/>
                </a:moveTo>
                <a:lnTo>
                  <a:pt x="0" y="6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2" y="0"/>
                </a:lnTo>
                <a:lnTo>
                  <a:pt x="12" y="0"/>
                </a:lnTo>
                <a:lnTo>
                  <a:pt x="18" y="0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0"/>
                </a:lnTo>
                <a:lnTo>
                  <a:pt x="30" y="6"/>
                </a:lnTo>
                <a:lnTo>
                  <a:pt x="30" y="0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0"/>
                </a:lnTo>
                <a:lnTo>
                  <a:pt x="36" y="0"/>
                </a:lnTo>
                <a:lnTo>
                  <a:pt x="42" y="0"/>
                </a:lnTo>
                <a:lnTo>
                  <a:pt x="42" y="0"/>
                </a:lnTo>
                <a:lnTo>
                  <a:pt x="42" y="6"/>
                </a:lnTo>
                <a:lnTo>
                  <a:pt x="42" y="0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54" y="0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72" y="6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90" y="24"/>
                </a:lnTo>
                <a:lnTo>
                  <a:pt x="96" y="24"/>
                </a:lnTo>
                <a:lnTo>
                  <a:pt x="96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24"/>
                </a:lnTo>
                <a:lnTo>
                  <a:pt x="108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18"/>
                </a:lnTo>
                <a:lnTo>
                  <a:pt x="120" y="18"/>
                </a:lnTo>
                <a:lnTo>
                  <a:pt x="120" y="24"/>
                </a:lnTo>
                <a:lnTo>
                  <a:pt x="120" y="18"/>
                </a:lnTo>
                <a:lnTo>
                  <a:pt x="126" y="24"/>
                </a:lnTo>
                <a:lnTo>
                  <a:pt x="126" y="18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8" y="24"/>
                </a:lnTo>
                <a:lnTo>
                  <a:pt x="138" y="24"/>
                </a:lnTo>
                <a:lnTo>
                  <a:pt x="138" y="18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44" y="24"/>
                </a:lnTo>
                <a:lnTo>
                  <a:pt x="144" y="18"/>
                </a:lnTo>
                <a:lnTo>
                  <a:pt x="144" y="18"/>
                </a:lnTo>
                <a:lnTo>
                  <a:pt x="150" y="18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8"/>
                </a:lnTo>
                <a:lnTo>
                  <a:pt x="150" y="18"/>
                </a:lnTo>
                <a:lnTo>
                  <a:pt x="150" y="30"/>
                </a:lnTo>
                <a:lnTo>
                  <a:pt x="150" y="30"/>
                </a:lnTo>
                <a:lnTo>
                  <a:pt x="156" y="42"/>
                </a:lnTo>
                <a:lnTo>
                  <a:pt x="156" y="42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56" y="60"/>
                </a:lnTo>
                <a:lnTo>
                  <a:pt x="156" y="60"/>
                </a:lnTo>
                <a:lnTo>
                  <a:pt x="162" y="60"/>
                </a:lnTo>
                <a:lnTo>
                  <a:pt x="156" y="60"/>
                </a:lnTo>
                <a:lnTo>
                  <a:pt x="156" y="66"/>
                </a:lnTo>
                <a:lnTo>
                  <a:pt x="156" y="66"/>
                </a:lnTo>
                <a:lnTo>
                  <a:pt x="156" y="66"/>
                </a:lnTo>
                <a:lnTo>
                  <a:pt x="156" y="66"/>
                </a:lnTo>
                <a:lnTo>
                  <a:pt x="156" y="66"/>
                </a:lnTo>
                <a:lnTo>
                  <a:pt x="156" y="66"/>
                </a:lnTo>
                <a:lnTo>
                  <a:pt x="156" y="66"/>
                </a:lnTo>
                <a:lnTo>
                  <a:pt x="156" y="66"/>
                </a:lnTo>
                <a:lnTo>
                  <a:pt x="156" y="66"/>
                </a:lnTo>
                <a:lnTo>
                  <a:pt x="156" y="66"/>
                </a:lnTo>
                <a:lnTo>
                  <a:pt x="156" y="66"/>
                </a:lnTo>
                <a:lnTo>
                  <a:pt x="156" y="66"/>
                </a:lnTo>
                <a:lnTo>
                  <a:pt x="156" y="66"/>
                </a:lnTo>
                <a:lnTo>
                  <a:pt x="150" y="78"/>
                </a:lnTo>
                <a:lnTo>
                  <a:pt x="150" y="78"/>
                </a:lnTo>
                <a:lnTo>
                  <a:pt x="144" y="78"/>
                </a:lnTo>
                <a:lnTo>
                  <a:pt x="144" y="78"/>
                </a:lnTo>
                <a:lnTo>
                  <a:pt x="144" y="78"/>
                </a:lnTo>
                <a:lnTo>
                  <a:pt x="144" y="78"/>
                </a:lnTo>
                <a:lnTo>
                  <a:pt x="144" y="78"/>
                </a:lnTo>
                <a:lnTo>
                  <a:pt x="144" y="78"/>
                </a:lnTo>
                <a:lnTo>
                  <a:pt x="144" y="84"/>
                </a:lnTo>
                <a:lnTo>
                  <a:pt x="144" y="84"/>
                </a:lnTo>
                <a:lnTo>
                  <a:pt x="144" y="84"/>
                </a:lnTo>
                <a:lnTo>
                  <a:pt x="144" y="84"/>
                </a:lnTo>
                <a:lnTo>
                  <a:pt x="144" y="84"/>
                </a:lnTo>
                <a:lnTo>
                  <a:pt x="144" y="84"/>
                </a:lnTo>
                <a:lnTo>
                  <a:pt x="144" y="84"/>
                </a:lnTo>
                <a:lnTo>
                  <a:pt x="144" y="90"/>
                </a:lnTo>
                <a:lnTo>
                  <a:pt x="144" y="90"/>
                </a:lnTo>
                <a:lnTo>
                  <a:pt x="144" y="90"/>
                </a:lnTo>
                <a:lnTo>
                  <a:pt x="144" y="90"/>
                </a:lnTo>
                <a:lnTo>
                  <a:pt x="144" y="96"/>
                </a:lnTo>
                <a:lnTo>
                  <a:pt x="144" y="96"/>
                </a:lnTo>
                <a:lnTo>
                  <a:pt x="144" y="96"/>
                </a:lnTo>
                <a:lnTo>
                  <a:pt x="144" y="96"/>
                </a:lnTo>
                <a:lnTo>
                  <a:pt x="144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90"/>
                </a:lnTo>
                <a:lnTo>
                  <a:pt x="138" y="90"/>
                </a:lnTo>
                <a:lnTo>
                  <a:pt x="138" y="90"/>
                </a:lnTo>
                <a:lnTo>
                  <a:pt x="138" y="90"/>
                </a:lnTo>
                <a:lnTo>
                  <a:pt x="138" y="84"/>
                </a:lnTo>
                <a:lnTo>
                  <a:pt x="132" y="84"/>
                </a:lnTo>
                <a:lnTo>
                  <a:pt x="132" y="84"/>
                </a:lnTo>
                <a:lnTo>
                  <a:pt x="132" y="90"/>
                </a:lnTo>
                <a:lnTo>
                  <a:pt x="132" y="90"/>
                </a:lnTo>
                <a:lnTo>
                  <a:pt x="132" y="90"/>
                </a:lnTo>
                <a:lnTo>
                  <a:pt x="132" y="90"/>
                </a:lnTo>
                <a:lnTo>
                  <a:pt x="132" y="90"/>
                </a:lnTo>
                <a:lnTo>
                  <a:pt x="132" y="90"/>
                </a:lnTo>
                <a:lnTo>
                  <a:pt x="132" y="90"/>
                </a:lnTo>
                <a:lnTo>
                  <a:pt x="132" y="90"/>
                </a:lnTo>
                <a:lnTo>
                  <a:pt x="132" y="90"/>
                </a:lnTo>
                <a:lnTo>
                  <a:pt x="126" y="90"/>
                </a:lnTo>
                <a:lnTo>
                  <a:pt x="126" y="90"/>
                </a:lnTo>
                <a:lnTo>
                  <a:pt x="126" y="96"/>
                </a:lnTo>
                <a:lnTo>
                  <a:pt x="126" y="96"/>
                </a:lnTo>
                <a:lnTo>
                  <a:pt x="126" y="96"/>
                </a:lnTo>
                <a:lnTo>
                  <a:pt x="126" y="96"/>
                </a:lnTo>
                <a:lnTo>
                  <a:pt x="126" y="102"/>
                </a:lnTo>
                <a:lnTo>
                  <a:pt x="126" y="102"/>
                </a:lnTo>
                <a:lnTo>
                  <a:pt x="126" y="102"/>
                </a:lnTo>
                <a:lnTo>
                  <a:pt x="120" y="102"/>
                </a:lnTo>
                <a:lnTo>
                  <a:pt x="114" y="102"/>
                </a:lnTo>
                <a:lnTo>
                  <a:pt x="108" y="102"/>
                </a:lnTo>
                <a:lnTo>
                  <a:pt x="102" y="102"/>
                </a:lnTo>
                <a:lnTo>
                  <a:pt x="96" y="108"/>
                </a:lnTo>
                <a:lnTo>
                  <a:pt x="96" y="108"/>
                </a:lnTo>
                <a:lnTo>
                  <a:pt x="96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84" y="114"/>
                </a:lnTo>
                <a:lnTo>
                  <a:pt x="84" y="120"/>
                </a:lnTo>
                <a:lnTo>
                  <a:pt x="84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6"/>
                </a:lnTo>
                <a:lnTo>
                  <a:pt x="78" y="126"/>
                </a:lnTo>
                <a:lnTo>
                  <a:pt x="78" y="126"/>
                </a:lnTo>
                <a:lnTo>
                  <a:pt x="78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66" y="126"/>
                </a:lnTo>
                <a:lnTo>
                  <a:pt x="72" y="126"/>
                </a:lnTo>
                <a:lnTo>
                  <a:pt x="66" y="126"/>
                </a:lnTo>
                <a:lnTo>
                  <a:pt x="66" y="126"/>
                </a:lnTo>
                <a:lnTo>
                  <a:pt x="66" y="126"/>
                </a:lnTo>
                <a:lnTo>
                  <a:pt x="66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54" y="126"/>
                </a:lnTo>
                <a:lnTo>
                  <a:pt x="54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2" y="120"/>
                </a:lnTo>
                <a:lnTo>
                  <a:pt x="42" y="120"/>
                </a:lnTo>
                <a:lnTo>
                  <a:pt x="42" y="120"/>
                </a:lnTo>
                <a:lnTo>
                  <a:pt x="42" y="120"/>
                </a:lnTo>
                <a:lnTo>
                  <a:pt x="42" y="120"/>
                </a:lnTo>
                <a:lnTo>
                  <a:pt x="42" y="120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2"/>
                </a:lnTo>
                <a:lnTo>
                  <a:pt x="30" y="102"/>
                </a:lnTo>
                <a:lnTo>
                  <a:pt x="36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8" y="96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24" y="78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2" y="72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0" y="48"/>
                </a:lnTo>
                <a:lnTo>
                  <a:pt x="0" y="48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69" name="Freeform 102"/>
          <p:cNvSpPr>
            <a:spLocks/>
          </p:cNvSpPr>
          <p:nvPr/>
        </p:nvSpPr>
        <p:spPr bwMode="auto">
          <a:xfrm>
            <a:off x="7988911" y="1854450"/>
            <a:ext cx="160601" cy="199147"/>
          </a:xfrm>
          <a:custGeom>
            <a:avLst/>
            <a:gdLst>
              <a:gd name="T0" fmla="*/ 12 w 150"/>
              <a:gd name="T1" fmla="*/ 90 h 186"/>
              <a:gd name="T2" fmla="*/ 18 w 150"/>
              <a:gd name="T3" fmla="*/ 84 h 186"/>
              <a:gd name="T4" fmla="*/ 12 w 150"/>
              <a:gd name="T5" fmla="*/ 78 h 186"/>
              <a:gd name="T6" fmla="*/ 18 w 150"/>
              <a:gd name="T7" fmla="*/ 72 h 186"/>
              <a:gd name="T8" fmla="*/ 24 w 150"/>
              <a:gd name="T9" fmla="*/ 66 h 186"/>
              <a:gd name="T10" fmla="*/ 30 w 150"/>
              <a:gd name="T11" fmla="*/ 60 h 186"/>
              <a:gd name="T12" fmla="*/ 36 w 150"/>
              <a:gd name="T13" fmla="*/ 60 h 186"/>
              <a:gd name="T14" fmla="*/ 48 w 150"/>
              <a:gd name="T15" fmla="*/ 60 h 186"/>
              <a:gd name="T16" fmla="*/ 60 w 150"/>
              <a:gd name="T17" fmla="*/ 48 h 186"/>
              <a:gd name="T18" fmla="*/ 72 w 150"/>
              <a:gd name="T19" fmla="*/ 48 h 186"/>
              <a:gd name="T20" fmla="*/ 78 w 150"/>
              <a:gd name="T21" fmla="*/ 42 h 186"/>
              <a:gd name="T22" fmla="*/ 78 w 150"/>
              <a:gd name="T23" fmla="*/ 30 h 186"/>
              <a:gd name="T24" fmla="*/ 84 w 150"/>
              <a:gd name="T25" fmla="*/ 24 h 186"/>
              <a:gd name="T26" fmla="*/ 96 w 150"/>
              <a:gd name="T27" fmla="*/ 18 h 186"/>
              <a:gd name="T28" fmla="*/ 96 w 150"/>
              <a:gd name="T29" fmla="*/ 6 h 186"/>
              <a:gd name="T30" fmla="*/ 102 w 150"/>
              <a:gd name="T31" fmla="*/ 0 h 186"/>
              <a:gd name="T32" fmla="*/ 102 w 150"/>
              <a:gd name="T33" fmla="*/ 6 h 186"/>
              <a:gd name="T34" fmla="*/ 102 w 150"/>
              <a:gd name="T35" fmla="*/ 12 h 186"/>
              <a:gd name="T36" fmla="*/ 108 w 150"/>
              <a:gd name="T37" fmla="*/ 18 h 186"/>
              <a:gd name="T38" fmla="*/ 102 w 150"/>
              <a:gd name="T39" fmla="*/ 24 h 186"/>
              <a:gd name="T40" fmla="*/ 102 w 150"/>
              <a:gd name="T41" fmla="*/ 36 h 186"/>
              <a:gd name="T42" fmla="*/ 108 w 150"/>
              <a:gd name="T43" fmla="*/ 42 h 186"/>
              <a:gd name="T44" fmla="*/ 108 w 150"/>
              <a:gd name="T45" fmla="*/ 54 h 186"/>
              <a:gd name="T46" fmla="*/ 114 w 150"/>
              <a:gd name="T47" fmla="*/ 54 h 186"/>
              <a:gd name="T48" fmla="*/ 114 w 150"/>
              <a:gd name="T49" fmla="*/ 60 h 186"/>
              <a:gd name="T50" fmla="*/ 120 w 150"/>
              <a:gd name="T51" fmla="*/ 66 h 186"/>
              <a:gd name="T52" fmla="*/ 126 w 150"/>
              <a:gd name="T53" fmla="*/ 66 h 186"/>
              <a:gd name="T54" fmla="*/ 132 w 150"/>
              <a:gd name="T55" fmla="*/ 72 h 186"/>
              <a:gd name="T56" fmla="*/ 126 w 150"/>
              <a:gd name="T57" fmla="*/ 78 h 186"/>
              <a:gd name="T58" fmla="*/ 126 w 150"/>
              <a:gd name="T59" fmla="*/ 84 h 186"/>
              <a:gd name="T60" fmla="*/ 114 w 150"/>
              <a:gd name="T61" fmla="*/ 90 h 186"/>
              <a:gd name="T62" fmla="*/ 120 w 150"/>
              <a:gd name="T63" fmla="*/ 90 h 186"/>
              <a:gd name="T64" fmla="*/ 126 w 150"/>
              <a:gd name="T65" fmla="*/ 96 h 186"/>
              <a:gd name="T66" fmla="*/ 132 w 150"/>
              <a:gd name="T67" fmla="*/ 96 h 186"/>
              <a:gd name="T68" fmla="*/ 138 w 150"/>
              <a:gd name="T69" fmla="*/ 102 h 186"/>
              <a:gd name="T70" fmla="*/ 138 w 150"/>
              <a:gd name="T71" fmla="*/ 108 h 186"/>
              <a:gd name="T72" fmla="*/ 144 w 150"/>
              <a:gd name="T73" fmla="*/ 108 h 186"/>
              <a:gd name="T74" fmla="*/ 144 w 150"/>
              <a:gd name="T75" fmla="*/ 114 h 186"/>
              <a:gd name="T76" fmla="*/ 144 w 150"/>
              <a:gd name="T77" fmla="*/ 126 h 186"/>
              <a:gd name="T78" fmla="*/ 138 w 150"/>
              <a:gd name="T79" fmla="*/ 132 h 186"/>
              <a:gd name="T80" fmla="*/ 144 w 150"/>
              <a:gd name="T81" fmla="*/ 144 h 186"/>
              <a:gd name="T82" fmla="*/ 144 w 150"/>
              <a:gd name="T83" fmla="*/ 150 h 186"/>
              <a:gd name="T84" fmla="*/ 144 w 150"/>
              <a:gd name="T85" fmla="*/ 156 h 186"/>
              <a:gd name="T86" fmla="*/ 138 w 150"/>
              <a:gd name="T87" fmla="*/ 162 h 186"/>
              <a:gd name="T88" fmla="*/ 132 w 150"/>
              <a:gd name="T89" fmla="*/ 168 h 186"/>
              <a:gd name="T90" fmla="*/ 126 w 150"/>
              <a:gd name="T91" fmla="*/ 168 h 186"/>
              <a:gd name="T92" fmla="*/ 114 w 150"/>
              <a:gd name="T93" fmla="*/ 168 h 186"/>
              <a:gd name="T94" fmla="*/ 108 w 150"/>
              <a:gd name="T95" fmla="*/ 168 h 186"/>
              <a:gd name="T96" fmla="*/ 108 w 150"/>
              <a:gd name="T97" fmla="*/ 174 h 186"/>
              <a:gd name="T98" fmla="*/ 96 w 150"/>
              <a:gd name="T99" fmla="*/ 180 h 186"/>
              <a:gd name="T100" fmla="*/ 90 w 150"/>
              <a:gd name="T101" fmla="*/ 186 h 186"/>
              <a:gd name="T102" fmla="*/ 90 w 150"/>
              <a:gd name="T103" fmla="*/ 180 h 186"/>
              <a:gd name="T104" fmla="*/ 72 w 150"/>
              <a:gd name="T105" fmla="*/ 186 h 186"/>
              <a:gd name="T106" fmla="*/ 66 w 150"/>
              <a:gd name="T107" fmla="*/ 180 h 186"/>
              <a:gd name="T108" fmla="*/ 54 w 150"/>
              <a:gd name="T109" fmla="*/ 180 h 186"/>
              <a:gd name="T110" fmla="*/ 36 w 150"/>
              <a:gd name="T111" fmla="*/ 174 h 186"/>
              <a:gd name="T112" fmla="*/ 18 w 150"/>
              <a:gd name="T113" fmla="*/ 162 h 186"/>
              <a:gd name="T114" fmla="*/ 6 w 150"/>
              <a:gd name="T115" fmla="*/ 144 h 186"/>
              <a:gd name="T116" fmla="*/ 6 w 150"/>
              <a:gd name="T117" fmla="*/ 126 h 186"/>
              <a:gd name="T118" fmla="*/ 0 w 150"/>
              <a:gd name="T119" fmla="*/ 114 h 186"/>
              <a:gd name="T120" fmla="*/ 0 w 150"/>
              <a:gd name="T121" fmla="*/ 90 h 1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50" h="186">
                <a:moveTo>
                  <a:pt x="0" y="90"/>
                </a:move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84"/>
                </a:lnTo>
                <a:lnTo>
                  <a:pt x="12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2" y="84"/>
                </a:lnTo>
                <a:lnTo>
                  <a:pt x="12" y="84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66"/>
                </a:lnTo>
                <a:lnTo>
                  <a:pt x="18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18" y="66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8" y="54"/>
                </a:lnTo>
                <a:lnTo>
                  <a:pt x="48" y="60"/>
                </a:lnTo>
                <a:lnTo>
                  <a:pt x="48" y="60"/>
                </a:lnTo>
                <a:lnTo>
                  <a:pt x="48" y="54"/>
                </a:lnTo>
                <a:lnTo>
                  <a:pt x="48" y="54"/>
                </a:lnTo>
                <a:lnTo>
                  <a:pt x="54" y="54"/>
                </a:lnTo>
                <a:lnTo>
                  <a:pt x="54" y="54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84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24"/>
                </a:lnTo>
                <a:lnTo>
                  <a:pt x="78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102" y="6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42"/>
                </a:lnTo>
                <a:lnTo>
                  <a:pt x="102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20" y="54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90"/>
                </a:lnTo>
                <a:lnTo>
                  <a:pt x="114" y="90"/>
                </a:lnTo>
                <a:lnTo>
                  <a:pt x="114" y="90"/>
                </a:lnTo>
                <a:lnTo>
                  <a:pt x="114" y="90"/>
                </a:lnTo>
                <a:lnTo>
                  <a:pt x="114" y="90"/>
                </a:lnTo>
                <a:lnTo>
                  <a:pt x="114" y="90"/>
                </a:lnTo>
                <a:lnTo>
                  <a:pt x="114" y="90"/>
                </a:lnTo>
                <a:lnTo>
                  <a:pt x="114" y="90"/>
                </a:lnTo>
                <a:lnTo>
                  <a:pt x="114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6" y="90"/>
                </a:lnTo>
                <a:lnTo>
                  <a:pt x="126" y="96"/>
                </a:lnTo>
                <a:lnTo>
                  <a:pt x="126" y="96"/>
                </a:lnTo>
                <a:lnTo>
                  <a:pt x="126" y="96"/>
                </a:lnTo>
                <a:lnTo>
                  <a:pt x="126" y="96"/>
                </a:lnTo>
                <a:lnTo>
                  <a:pt x="126" y="96"/>
                </a:lnTo>
                <a:lnTo>
                  <a:pt x="126" y="96"/>
                </a:lnTo>
                <a:lnTo>
                  <a:pt x="126" y="96"/>
                </a:lnTo>
                <a:lnTo>
                  <a:pt x="126" y="96"/>
                </a:lnTo>
                <a:lnTo>
                  <a:pt x="132" y="96"/>
                </a:lnTo>
                <a:lnTo>
                  <a:pt x="132" y="96"/>
                </a:lnTo>
                <a:lnTo>
                  <a:pt x="132" y="96"/>
                </a:lnTo>
                <a:lnTo>
                  <a:pt x="132" y="96"/>
                </a:lnTo>
                <a:lnTo>
                  <a:pt x="132" y="96"/>
                </a:lnTo>
                <a:lnTo>
                  <a:pt x="138" y="96"/>
                </a:lnTo>
                <a:lnTo>
                  <a:pt x="132" y="96"/>
                </a:lnTo>
                <a:lnTo>
                  <a:pt x="138" y="96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8"/>
                </a:lnTo>
                <a:lnTo>
                  <a:pt x="138" y="108"/>
                </a:lnTo>
                <a:lnTo>
                  <a:pt x="138" y="108"/>
                </a:lnTo>
                <a:lnTo>
                  <a:pt x="138" y="108"/>
                </a:lnTo>
                <a:lnTo>
                  <a:pt x="138" y="108"/>
                </a:lnTo>
                <a:lnTo>
                  <a:pt x="138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14"/>
                </a:lnTo>
                <a:lnTo>
                  <a:pt x="144" y="114"/>
                </a:lnTo>
                <a:lnTo>
                  <a:pt x="144" y="114"/>
                </a:lnTo>
                <a:lnTo>
                  <a:pt x="144" y="114"/>
                </a:lnTo>
                <a:lnTo>
                  <a:pt x="144" y="114"/>
                </a:lnTo>
                <a:lnTo>
                  <a:pt x="144" y="114"/>
                </a:lnTo>
                <a:lnTo>
                  <a:pt x="150" y="126"/>
                </a:lnTo>
                <a:lnTo>
                  <a:pt x="144" y="126"/>
                </a:lnTo>
                <a:lnTo>
                  <a:pt x="144" y="126"/>
                </a:lnTo>
                <a:lnTo>
                  <a:pt x="144" y="126"/>
                </a:lnTo>
                <a:lnTo>
                  <a:pt x="144" y="126"/>
                </a:lnTo>
                <a:lnTo>
                  <a:pt x="144" y="126"/>
                </a:lnTo>
                <a:lnTo>
                  <a:pt x="144" y="126"/>
                </a:lnTo>
                <a:lnTo>
                  <a:pt x="144" y="126"/>
                </a:lnTo>
                <a:lnTo>
                  <a:pt x="144" y="132"/>
                </a:lnTo>
                <a:lnTo>
                  <a:pt x="144" y="132"/>
                </a:lnTo>
                <a:lnTo>
                  <a:pt x="138" y="132"/>
                </a:lnTo>
                <a:lnTo>
                  <a:pt x="138" y="132"/>
                </a:lnTo>
                <a:lnTo>
                  <a:pt x="138" y="132"/>
                </a:lnTo>
                <a:lnTo>
                  <a:pt x="138" y="132"/>
                </a:lnTo>
                <a:lnTo>
                  <a:pt x="138" y="138"/>
                </a:lnTo>
                <a:lnTo>
                  <a:pt x="138" y="138"/>
                </a:lnTo>
                <a:lnTo>
                  <a:pt x="138" y="138"/>
                </a:lnTo>
                <a:lnTo>
                  <a:pt x="144" y="144"/>
                </a:lnTo>
                <a:lnTo>
                  <a:pt x="144" y="144"/>
                </a:lnTo>
                <a:lnTo>
                  <a:pt x="144" y="144"/>
                </a:lnTo>
                <a:lnTo>
                  <a:pt x="144" y="144"/>
                </a:lnTo>
                <a:lnTo>
                  <a:pt x="144" y="144"/>
                </a:lnTo>
                <a:lnTo>
                  <a:pt x="144" y="144"/>
                </a:lnTo>
                <a:lnTo>
                  <a:pt x="144" y="150"/>
                </a:lnTo>
                <a:lnTo>
                  <a:pt x="144" y="150"/>
                </a:lnTo>
                <a:lnTo>
                  <a:pt x="144" y="150"/>
                </a:lnTo>
                <a:lnTo>
                  <a:pt x="144" y="150"/>
                </a:lnTo>
                <a:lnTo>
                  <a:pt x="144" y="150"/>
                </a:lnTo>
                <a:lnTo>
                  <a:pt x="144" y="150"/>
                </a:lnTo>
                <a:lnTo>
                  <a:pt x="144" y="150"/>
                </a:lnTo>
                <a:lnTo>
                  <a:pt x="144" y="156"/>
                </a:lnTo>
                <a:lnTo>
                  <a:pt x="138" y="156"/>
                </a:lnTo>
                <a:lnTo>
                  <a:pt x="138" y="156"/>
                </a:lnTo>
                <a:lnTo>
                  <a:pt x="138" y="156"/>
                </a:lnTo>
                <a:lnTo>
                  <a:pt x="138" y="156"/>
                </a:lnTo>
                <a:lnTo>
                  <a:pt x="138" y="162"/>
                </a:lnTo>
                <a:lnTo>
                  <a:pt x="138" y="162"/>
                </a:lnTo>
                <a:lnTo>
                  <a:pt x="144" y="156"/>
                </a:lnTo>
                <a:lnTo>
                  <a:pt x="144" y="156"/>
                </a:lnTo>
                <a:lnTo>
                  <a:pt x="144" y="156"/>
                </a:lnTo>
                <a:lnTo>
                  <a:pt x="144" y="162"/>
                </a:lnTo>
                <a:lnTo>
                  <a:pt x="144" y="156"/>
                </a:lnTo>
                <a:lnTo>
                  <a:pt x="138" y="162"/>
                </a:lnTo>
                <a:lnTo>
                  <a:pt x="138" y="162"/>
                </a:lnTo>
                <a:lnTo>
                  <a:pt x="138" y="162"/>
                </a:lnTo>
                <a:lnTo>
                  <a:pt x="138" y="162"/>
                </a:lnTo>
                <a:lnTo>
                  <a:pt x="138" y="162"/>
                </a:lnTo>
                <a:lnTo>
                  <a:pt x="138" y="168"/>
                </a:lnTo>
                <a:lnTo>
                  <a:pt x="138" y="168"/>
                </a:lnTo>
                <a:lnTo>
                  <a:pt x="132" y="168"/>
                </a:lnTo>
                <a:lnTo>
                  <a:pt x="132" y="168"/>
                </a:lnTo>
                <a:lnTo>
                  <a:pt x="132" y="168"/>
                </a:lnTo>
                <a:lnTo>
                  <a:pt x="132" y="168"/>
                </a:lnTo>
                <a:lnTo>
                  <a:pt x="132" y="168"/>
                </a:lnTo>
                <a:lnTo>
                  <a:pt x="132" y="168"/>
                </a:lnTo>
                <a:lnTo>
                  <a:pt x="132" y="168"/>
                </a:lnTo>
                <a:lnTo>
                  <a:pt x="126" y="168"/>
                </a:lnTo>
                <a:lnTo>
                  <a:pt x="126" y="168"/>
                </a:lnTo>
                <a:lnTo>
                  <a:pt x="126" y="168"/>
                </a:lnTo>
                <a:lnTo>
                  <a:pt x="126" y="168"/>
                </a:lnTo>
                <a:lnTo>
                  <a:pt x="126" y="168"/>
                </a:lnTo>
                <a:lnTo>
                  <a:pt x="126" y="168"/>
                </a:lnTo>
                <a:lnTo>
                  <a:pt x="126" y="168"/>
                </a:lnTo>
                <a:lnTo>
                  <a:pt x="120" y="168"/>
                </a:lnTo>
                <a:lnTo>
                  <a:pt x="120" y="168"/>
                </a:lnTo>
                <a:lnTo>
                  <a:pt x="120" y="168"/>
                </a:lnTo>
                <a:lnTo>
                  <a:pt x="120" y="168"/>
                </a:lnTo>
                <a:lnTo>
                  <a:pt x="120" y="174"/>
                </a:lnTo>
                <a:lnTo>
                  <a:pt x="114" y="168"/>
                </a:lnTo>
                <a:lnTo>
                  <a:pt x="114" y="168"/>
                </a:lnTo>
                <a:lnTo>
                  <a:pt x="114" y="168"/>
                </a:lnTo>
                <a:lnTo>
                  <a:pt x="114" y="168"/>
                </a:lnTo>
                <a:lnTo>
                  <a:pt x="114" y="168"/>
                </a:lnTo>
                <a:lnTo>
                  <a:pt x="114" y="168"/>
                </a:lnTo>
                <a:lnTo>
                  <a:pt x="114" y="168"/>
                </a:lnTo>
                <a:lnTo>
                  <a:pt x="114" y="168"/>
                </a:lnTo>
                <a:lnTo>
                  <a:pt x="114" y="168"/>
                </a:lnTo>
                <a:lnTo>
                  <a:pt x="108" y="168"/>
                </a:lnTo>
                <a:lnTo>
                  <a:pt x="108" y="168"/>
                </a:lnTo>
                <a:lnTo>
                  <a:pt x="108" y="168"/>
                </a:lnTo>
                <a:lnTo>
                  <a:pt x="108" y="168"/>
                </a:lnTo>
                <a:lnTo>
                  <a:pt x="108" y="168"/>
                </a:lnTo>
                <a:lnTo>
                  <a:pt x="108" y="168"/>
                </a:lnTo>
                <a:lnTo>
                  <a:pt x="108" y="174"/>
                </a:lnTo>
                <a:lnTo>
                  <a:pt x="108" y="174"/>
                </a:lnTo>
                <a:lnTo>
                  <a:pt x="108" y="174"/>
                </a:lnTo>
                <a:lnTo>
                  <a:pt x="108" y="174"/>
                </a:lnTo>
                <a:lnTo>
                  <a:pt x="102" y="180"/>
                </a:lnTo>
                <a:lnTo>
                  <a:pt x="102" y="180"/>
                </a:lnTo>
                <a:lnTo>
                  <a:pt x="102" y="180"/>
                </a:lnTo>
                <a:lnTo>
                  <a:pt x="102" y="180"/>
                </a:lnTo>
                <a:lnTo>
                  <a:pt x="102" y="180"/>
                </a:lnTo>
                <a:lnTo>
                  <a:pt x="102" y="180"/>
                </a:lnTo>
                <a:lnTo>
                  <a:pt x="96" y="180"/>
                </a:lnTo>
                <a:lnTo>
                  <a:pt x="96" y="186"/>
                </a:lnTo>
                <a:lnTo>
                  <a:pt x="96" y="186"/>
                </a:lnTo>
                <a:lnTo>
                  <a:pt x="96" y="186"/>
                </a:lnTo>
                <a:lnTo>
                  <a:pt x="96" y="186"/>
                </a:lnTo>
                <a:lnTo>
                  <a:pt x="96" y="186"/>
                </a:lnTo>
                <a:lnTo>
                  <a:pt x="90" y="186"/>
                </a:lnTo>
                <a:lnTo>
                  <a:pt x="90" y="186"/>
                </a:lnTo>
                <a:lnTo>
                  <a:pt x="90" y="186"/>
                </a:lnTo>
                <a:lnTo>
                  <a:pt x="90" y="186"/>
                </a:lnTo>
                <a:lnTo>
                  <a:pt x="90" y="186"/>
                </a:lnTo>
                <a:lnTo>
                  <a:pt x="90" y="186"/>
                </a:lnTo>
                <a:lnTo>
                  <a:pt x="90" y="186"/>
                </a:lnTo>
                <a:lnTo>
                  <a:pt x="90" y="180"/>
                </a:lnTo>
                <a:lnTo>
                  <a:pt x="90" y="180"/>
                </a:lnTo>
                <a:lnTo>
                  <a:pt x="90" y="180"/>
                </a:lnTo>
                <a:lnTo>
                  <a:pt x="90" y="180"/>
                </a:lnTo>
                <a:lnTo>
                  <a:pt x="84" y="180"/>
                </a:lnTo>
                <a:lnTo>
                  <a:pt x="84" y="180"/>
                </a:lnTo>
                <a:lnTo>
                  <a:pt x="78" y="180"/>
                </a:lnTo>
                <a:lnTo>
                  <a:pt x="78" y="180"/>
                </a:lnTo>
                <a:lnTo>
                  <a:pt x="78" y="180"/>
                </a:lnTo>
                <a:lnTo>
                  <a:pt x="72" y="180"/>
                </a:lnTo>
                <a:lnTo>
                  <a:pt x="72" y="180"/>
                </a:lnTo>
                <a:lnTo>
                  <a:pt x="72" y="186"/>
                </a:lnTo>
                <a:lnTo>
                  <a:pt x="72" y="186"/>
                </a:lnTo>
                <a:lnTo>
                  <a:pt x="72" y="180"/>
                </a:lnTo>
                <a:lnTo>
                  <a:pt x="72" y="180"/>
                </a:lnTo>
                <a:lnTo>
                  <a:pt x="66" y="180"/>
                </a:lnTo>
                <a:lnTo>
                  <a:pt x="66" y="186"/>
                </a:lnTo>
                <a:lnTo>
                  <a:pt x="66" y="186"/>
                </a:lnTo>
                <a:lnTo>
                  <a:pt x="66" y="186"/>
                </a:lnTo>
                <a:lnTo>
                  <a:pt x="66" y="180"/>
                </a:lnTo>
                <a:lnTo>
                  <a:pt x="66" y="186"/>
                </a:lnTo>
                <a:lnTo>
                  <a:pt x="60" y="186"/>
                </a:lnTo>
                <a:lnTo>
                  <a:pt x="60" y="180"/>
                </a:lnTo>
                <a:lnTo>
                  <a:pt x="54" y="186"/>
                </a:lnTo>
                <a:lnTo>
                  <a:pt x="54" y="186"/>
                </a:lnTo>
                <a:lnTo>
                  <a:pt x="54" y="186"/>
                </a:lnTo>
                <a:lnTo>
                  <a:pt x="54" y="186"/>
                </a:lnTo>
                <a:lnTo>
                  <a:pt x="54" y="180"/>
                </a:lnTo>
                <a:lnTo>
                  <a:pt x="48" y="180"/>
                </a:lnTo>
                <a:lnTo>
                  <a:pt x="48" y="180"/>
                </a:lnTo>
                <a:lnTo>
                  <a:pt x="48" y="180"/>
                </a:lnTo>
                <a:lnTo>
                  <a:pt x="48" y="174"/>
                </a:lnTo>
                <a:lnTo>
                  <a:pt x="48" y="174"/>
                </a:lnTo>
                <a:lnTo>
                  <a:pt x="48" y="174"/>
                </a:lnTo>
                <a:lnTo>
                  <a:pt x="42" y="174"/>
                </a:lnTo>
                <a:lnTo>
                  <a:pt x="36" y="174"/>
                </a:lnTo>
                <a:lnTo>
                  <a:pt x="30" y="174"/>
                </a:lnTo>
                <a:lnTo>
                  <a:pt x="30" y="174"/>
                </a:lnTo>
                <a:lnTo>
                  <a:pt x="30" y="168"/>
                </a:lnTo>
                <a:lnTo>
                  <a:pt x="24" y="168"/>
                </a:lnTo>
                <a:lnTo>
                  <a:pt x="18" y="168"/>
                </a:lnTo>
                <a:lnTo>
                  <a:pt x="12" y="162"/>
                </a:lnTo>
                <a:lnTo>
                  <a:pt x="12" y="162"/>
                </a:lnTo>
                <a:lnTo>
                  <a:pt x="18" y="162"/>
                </a:lnTo>
                <a:lnTo>
                  <a:pt x="18" y="162"/>
                </a:lnTo>
                <a:lnTo>
                  <a:pt x="12" y="156"/>
                </a:lnTo>
                <a:lnTo>
                  <a:pt x="12" y="156"/>
                </a:lnTo>
                <a:lnTo>
                  <a:pt x="12" y="150"/>
                </a:lnTo>
                <a:lnTo>
                  <a:pt x="6" y="150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38"/>
                </a:lnTo>
                <a:lnTo>
                  <a:pt x="6" y="138"/>
                </a:lnTo>
                <a:lnTo>
                  <a:pt x="6" y="132"/>
                </a:lnTo>
                <a:lnTo>
                  <a:pt x="6" y="132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14"/>
                </a:lnTo>
                <a:lnTo>
                  <a:pt x="0" y="114"/>
                </a:lnTo>
                <a:lnTo>
                  <a:pt x="0" y="108"/>
                </a:lnTo>
                <a:lnTo>
                  <a:pt x="0" y="108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96"/>
                </a:lnTo>
                <a:lnTo>
                  <a:pt x="0" y="96"/>
                </a:lnTo>
                <a:lnTo>
                  <a:pt x="0" y="9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70" name="Freeform 103"/>
          <p:cNvSpPr>
            <a:spLocks/>
          </p:cNvSpPr>
          <p:nvPr/>
        </p:nvSpPr>
        <p:spPr bwMode="auto">
          <a:xfrm>
            <a:off x="8021031" y="1591062"/>
            <a:ext cx="32120" cy="19272"/>
          </a:xfrm>
          <a:custGeom>
            <a:avLst/>
            <a:gdLst>
              <a:gd name="T0" fmla="*/ 0 w 30"/>
              <a:gd name="T1" fmla="*/ 12 h 18"/>
              <a:gd name="T2" fmla="*/ 0 w 30"/>
              <a:gd name="T3" fmla="*/ 12 h 18"/>
              <a:gd name="T4" fmla="*/ 0 w 30"/>
              <a:gd name="T5" fmla="*/ 6 h 18"/>
              <a:gd name="T6" fmla="*/ 0 w 30"/>
              <a:gd name="T7" fmla="*/ 6 h 18"/>
              <a:gd name="T8" fmla="*/ 6 w 30"/>
              <a:gd name="T9" fmla="*/ 6 h 18"/>
              <a:gd name="T10" fmla="*/ 6 w 30"/>
              <a:gd name="T11" fmla="*/ 6 h 18"/>
              <a:gd name="T12" fmla="*/ 6 w 30"/>
              <a:gd name="T13" fmla="*/ 0 h 18"/>
              <a:gd name="T14" fmla="*/ 6 w 30"/>
              <a:gd name="T15" fmla="*/ 0 h 18"/>
              <a:gd name="T16" fmla="*/ 12 w 30"/>
              <a:gd name="T17" fmla="*/ 0 h 18"/>
              <a:gd name="T18" fmla="*/ 18 w 30"/>
              <a:gd name="T19" fmla="*/ 0 h 18"/>
              <a:gd name="T20" fmla="*/ 18 w 30"/>
              <a:gd name="T21" fmla="*/ 0 h 18"/>
              <a:gd name="T22" fmla="*/ 18 w 30"/>
              <a:gd name="T23" fmla="*/ 6 h 18"/>
              <a:gd name="T24" fmla="*/ 18 w 30"/>
              <a:gd name="T25" fmla="*/ 6 h 18"/>
              <a:gd name="T26" fmla="*/ 24 w 30"/>
              <a:gd name="T27" fmla="*/ 6 h 18"/>
              <a:gd name="T28" fmla="*/ 30 w 30"/>
              <a:gd name="T29" fmla="*/ 6 h 18"/>
              <a:gd name="T30" fmla="*/ 24 w 30"/>
              <a:gd name="T31" fmla="*/ 12 h 18"/>
              <a:gd name="T32" fmla="*/ 30 w 30"/>
              <a:gd name="T33" fmla="*/ 12 h 18"/>
              <a:gd name="T34" fmla="*/ 30 w 30"/>
              <a:gd name="T35" fmla="*/ 18 h 18"/>
              <a:gd name="T36" fmla="*/ 30 w 30"/>
              <a:gd name="T37" fmla="*/ 18 h 18"/>
              <a:gd name="T38" fmla="*/ 24 w 30"/>
              <a:gd name="T39" fmla="*/ 18 h 18"/>
              <a:gd name="T40" fmla="*/ 18 w 30"/>
              <a:gd name="T41" fmla="*/ 18 h 18"/>
              <a:gd name="T42" fmla="*/ 18 w 30"/>
              <a:gd name="T43" fmla="*/ 18 h 18"/>
              <a:gd name="T44" fmla="*/ 18 w 30"/>
              <a:gd name="T45" fmla="*/ 18 h 18"/>
              <a:gd name="T46" fmla="*/ 18 w 30"/>
              <a:gd name="T47" fmla="*/ 18 h 18"/>
              <a:gd name="T48" fmla="*/ 12 w 30"/>
              <a:gd name="T49" fmla="*/ 18 h 18"/>
              <a:gd name="T50" fmla="*/ 12 w 30"/>
              <a:gd name="T51" fmla="*/ 18 h 18"/>
              <a:gd name="T52" fmla="*/ 12 w 30"/>
              <a:gd name="T53" fmla="*/ 18 h 18"/>
              <a:gd name="T54" fmla="*/ 12 w 30"/>
              <a:gd name="T55" fmla="*/ 18 h 18"/>
              <a:gd name="T56" fmla="*/ 6 w 30"/>
              <a:gd name="T57" fmla="*/ 18 h 18"/>
              <a:gd name="T58" fmla="*/ 6 w 30"/>
              <a:gd name="T59" fmla="*/ 18 h 18"/>
              <a:gd name="T60" fmla="*/ 0 w 30"/>
              <a:gd name="T61" fmla="*/ 18 h 18"/>
              <a:gd name="T62" fmla="*/ 0 w 30"/>
              <a:gd name="T63" fmla="*/ 18 h 18"/>
              <a:gd name="T64" fmla="*/ 0 w 30"/>
              <a:gd name="T65" fmla="*/ 18 h 18"/>
              <a:gd name="T66" fmla="*/ 0 w 30"/>
              <a:gd name="T67" fmla="*/ 18 h 18"/>
              <a:gd name="T68" fmla="*/ 0 w 30"/>
              <a:gd name="T69" fmla="*/ 12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0" h="18">
                <a:moveTo>
                  <a:pt x="0" y="12"/>
                </a:move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24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8"/>
                </a:lnTo>
                <a:lnTo>
                  <a:pt x="24" y="18"/>
                </a:lnTo>
                <a:lnTo>
                  <a:pt x="30" y="18"/>
                </a:lnTo>
                <a:lnTo>
                  <a:pt x="30" y="18"/>
                </a:lnTo>
                <a:lnTo>
                  <a:pt x="24" y="18"/>
                </a:lnTo>
                <a:lnTo>
                  <a:pt x="24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2" y="18"/>
                </a:lnTo>
                <a:lnTo>
                  <a:pt x="18" y="18"/>
                </a:lnTo>
                <a:lnTo>
                  <a:pt x="18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2"/>
                </a:lnTo>
                <a:lnTo>
                  <a:pt x="0" y="18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71" name="Freeform 104"/>
          <p:cNvSpPr>
            <a:spLocks/>
          </p:cNvSpPr>
          <p:nvPr/>
        </p:nvSpPr>
        <p:spPr bwMode="auto">
          <a:xfrm>
            <a:off x="8136664" y="2047173"/>
            <a:ext cx="96361" cy="51393"/>
          </a:xfrm>
          <a:custGeom>
            <a:avLst/>
            <a:gdLst>
              <a:gd name="T0" fmla="*/ 6 w 90"/>
              <a:gd name="T1" fmla="*/ 24 h 48"/>
              <a:gd name="T2" fmla="*/ 12 w 90"/>
              <a:gd name="T3" fmla="*/ 24 h 48"/>
              <a:gd name="T4" fmla="*/ 12 w 90"/>
              <a:gd name="T5" fmla="*/ 24 h 48"/>
              <a:gd name="T6" fmla="*/ 18 w 90"/>
              <a:gd name="T7" fmla="*/ 18 h 48"/>
              <a:gd name="T8" fmla="*/ 24 w 90"/>
              <a:gd name="T9" fmla="*/ 18 h 48"/>
              <a:gd name="T10" fmla="*/ 24 w 90"/>
              <a:gd name="T11" fmla="*/ 18 h 48"/>
              <a:gd name="T12" fmla="*/ 18 w 90"/>
              <a:gd name="T13" fmla="*/ 18 h 48"/>
              <a:gd name="T14" fmla="*/ 18 w 90"/>
              <a:gd name="T15" fmla="*/ 12 h 48"/>
              <a:gd name="T16" fmla="*/ 18 w 90"/>
              <a:gd name="T17" fmla="*/ 6 h 48"/>
              <a:gd name="T18" fmla="*/ 18 w 90"/>
              <a:gd name="T19" fmla="*/ 0 h 48"/>
              <a:gd name="T20" fmla="*/ 18 w 90"/>
              <a:gd name="T21" fmla="*/ 0 h 48"/>
              <a:gd name="T22" fmla="*/ 24 w 90"/>
              <a:gd name="T23" fmla="*/ 0 h 48"/>
              <a:gd name="T24" fmla="*/ 24 w 90"/>
              <a:gd name="T25" fmla="*/ 6 h 48"/>
              <a:gd name="T26" fmla="*/ 30 w 90"/>
              <a:gd name="T27" fmla="*/ 12 h 48"/>
              <a:gd name="T28" fmla="*/ 24 w 90"/>
              <a:gd name="T29" fmla="*/ 6 h 48"/>
              <a:gd name="T30" fmla="*/ 30 w 90"/>
              <a:gd name="T31" fmla="*/ 0 h 48"/>
              <a:gd name="T32" fmla="*/ 30 w 90"/>
              <a:gd name="T33" fmla="*/ 0 h 48"/>
              <a:gd name="T34" fmla="*/ 36 w 90"/>
              <a:gd name="T35" fmla="*/ 6 h 48"/>
              <a:gd name="T36" fmla="*/ 36 w 90"/>
              <a:gd name="T37" fmla="*/ 6 h 48"/>
              <a:gd name="T38" fmla="*/ 42 w 90"/>
              <a:gd name="T39" fmla="*/ 12 h 48"/>
              <a:gd name="T40" fmla="*/ 42 w 90"/>
              <a:gd name="T41" fmla="*/ 12 h 48"/>
              <a:gd name="T42" fmla="*/ 36 w 90"/>
              <a:gd name="T43" fmla="*/ 18 h 48"/>
              <a:gd name="T44" fmla="*/ 54 w 90"/>
              <a:gd name="T45" fmla="*/ 18 h 48"/>
              <a:gd name="T46" fmla="*/ 60 w 90"/>
              <a:gd name="T47" fmla="*/ 18 h 48"/>
              <a:gd name="T48" fmla="*/ 72 w 90"/>
              <a:gd name="T49" fmla="*/ 12 h 48"/>
              <a:gd name="T50" fmla="*/ 78 w 90"/>
              <a:gd name="T51" fmla="*/ 18 h 48"/>
              <a:gd name="T52" fmla="*/ 84 w 90"/>
              <a:gd name="T53" fmla="*/ 24 h 48"/>
              <a:gd name="T54" fmla="*/ 84 w 90"/>
              <a:gd name="T55" fmla="*/ 24 h 48"/>
              <a:gd name="T56" fmla="*/ 78 w 90"/>
              <a:gd name="T57" fmla="*/ 30 h 48"/>
              <a:gd name="T58" fmla="*/ 84 w 90"/>
              <a:gd name="T59" fmla="*/ 36 h 48"/>
              <a:gd name="T60" fmla="*/ 90 w 90"/>
              <a:gd name="T61" fmla="*/ 42 h 48"/>
              <a:gd name="T62" fmla="*/ 84 w 90"/>
              <a:gd name="T63" fmla="*/ 42 h 48"/>
              <a:gd name="T64" fmla="*/ 84 w 90"/>
              <a:gd name="T65" fmla="*/ 48 h 48"/>
              <a:gd name="T66" fmla="*/ 78 w 90"/>
              <a:gd name="T67" fmla="*/ 48 h 48"/>
              <a:gd name="T68" fmla="*/ 72 w 90"/>
              <a:gd name="T69" fmla="*/ 48 h 48"/>
              <a:gd name="T70" fmla="*/ 72 w 90"/>
              <a:gd name="T71" fmla="*/ 48 h 48"/>
              <a:gd name="T72" fmla="*/ 72 w 90"/>
              <a:gd name="T73" fmla="*/ 48 h 48"/>
              <a:gd name="T74" fmla="*/ 66 w 90"/>
              <a:gd name="T75" fmla="*/ 42 h 48"/>
              <a:gd name="T76" fmla="*/ 66 w 90"/>
              <a:gd name="T77" fmla="*/ 42 h 48"/>
              <a:gd name="T78" fmla="*/ 60 w 90"/>
              <a:gd name="T79" fmla="*/ 42 h 48"/>
              <a:gd name="T80" fmla="*/ 54 w 90"/>
              <a:gd name="T81" fmla="*/ 36 h 48"/>
              <a:gd name="T82" fmla="*/ 54 w 90"/>
              <a:gd name="T83" fmla="*/ 36 h 48"/>
              <a:gd name="T84" fmla="*/ 48 w 90"/>
              <a:gd name="T85" fmla="*/ 36 h 48"/>
              <a:gd name="T86" fmla="*/ 48 w 90"/>
              <a:gd name="T87" fmla="*/ 36 h 48"/>
              <a:gd name="T88" fmla="*/ 48 w 90"/>
              <a:gd name="T89" fmla="*/ 36 h 48"/>
              <a:gd name="T90" fmla="*/ 42 w 90"/>
              <a:gd name="T91" fmla="*/ 30 h 48"/>
              <a:gd name="T92" fmla="*/ 36 w 90"/>
              <a:gd name="T93" fmla="*/ 30 h 48"/>
              <a:gd name="T94" fmla="*/ 30 w 90"/>
              <a:gd name="T95" fmla="*/ 30 h 48"/>
              <a:gd name="T96" fmla="*/ 24 w 90"/>
              <a:gd name="T97" fmla="*/ 30 h 48"/>
              <a:gd name="T98" fmla="*/ 18 w 90"/>
              <a:gd name="T99" fmla="*/ 30 h 48"/>
              <a:gd name="T100" fmla="*/ 12 w 90"/>
              <a:gd name="T101" fmla="*/ 30 h 48"/>
              <a:gd name="T102" fmla="*/ 6 w 90"/>
              <a:gd name="T103" fmla="*/ 30 h 48"/>
              <a:gd name="T104" fmla="*/ 0 w 90"/>
              <a:gd name="T105" fmla="*/ 3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90" h="48">
                <a:moveTo>
                  <a:pt x="0" y="30"/>
                </a:moveTo>
                <a:lnTo>
                  <a:pt x="0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8" y="24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2" y="12"/>
                </a:lnTo>
                <a:lnTo>
                  <a:pt x="18" y="12"/>
                </a:lnTo>
                <a:lnTo>
                  <a:pt x="12" y="12"/>
                </a:lnTo>
                <a:lnTo>
                  <a:pt x="12" y="12"/>
                </a:lnTo>
                <a:lnTo>
                  <a:pt x="18" y="12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6"/>
                </a:lnTo>
                <a:lnTo>
                  <a:pt x="18" y="0"/>
                </a:lnTo>
                <a:lnTo>
                  <a:pt x="18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12"/>
                </a:lnTo>
                <a:lnTo>
                  <a:pt x="24" y="12"/>
                </a:lnTo>
                <a:lnTo>
                  <a:pt x="24" y="6"/>
                </a:lnTo>
                <a:lnTo>
                  <a:pt x="30" y="12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12"/>
                </a:lnTo>
                <a:lnTo>
                  <a:pt x="36" y="6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36" y="12"/>
                </a:lnTo>
                <a:lnTo>
                  <a:pt x="36" y="12"/>
                </a:lnTo>
                <a:lnTo>
                  <a:pt x="42" y="12"/>
                </a:lnTo>
                <a:lnTo>
                  <a:pt x="36" y="18"/>
                </a:lnTo>
                <a:lnTo>
                  <a:pt x="42" y="18"/>
                </a:lnTo>
                <a:lnTo>
                  <a:pt x="48" y="18"/>
                </a:lnTo>
                <a:lnTo>
                  <a:pt x="48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60" y="18"/>
                </a:lnTo>
                <a:lnTo>
                  <a:pt x="60" y="18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8" y="12"/>
                </a:lnTo>
                <a:lnTo>
                  <a:pt x="78" y="12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84" y="24"/>
                </a:lnTo>
                <a:lnTo>
                  <a:pt x="84" y="24"/>
                </a:lnTo>
                <a:lnTo>
                  <a:pt x="90" y="24"/>
                </a:lnTo>
                <a:lnTo>
                  <a:pt x="84" y="24"/>
                </a:lnTo>
                <a:lnTo>
                  <a:pt x="84" y="24"/>
                </a:lnTo>
                <a:lnTo>
                  <a:pt x="84" y="30"/>
                </a:lnTo>
                <a:lnTo>
                  <a:pt x="84" y="30"/>
                </a:lnTo>
                <a:lnTo>
                  <a:pt x="78" y="30"/>
                </a:lnTo>
                <a:lnTo>
                  <a:pt x="78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6"/>
                </a:lnTo>
                <a:lnTo>
                  <a:pt x="84" y="36"/>
                </a:lnTo>
                <a:lnTo>
                  <a:pt x="84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2"/>
                </a:lnTo>
                <a:lnTo>
                  <a:pt x="72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24" y="30"/>
                </a:lnTo>
                <a:lnTo>
                  <a:pt x="24" y="36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6" y="30"/>
                </a:lnTo>
                <a:lnTo>
                  <a:pt x="0" y="30"/>
                </a:lnTo>
                <a:lnTo>
                  <a:pt x="6" y="30"/>
                </a:lnTo>
                <a:lnTo>
                  <a:pt x="6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72" name="Freeform 105"/>
          <p:cNvSpPr>
            <a:spLocks/>
          </p:cNvSpPr>
          <p:nvPr/>
        </p:nvSpPr>
        <p:spPr bwMode="auto">
          <a:xfrm>
            <a:off x="8284417" y="1732392"/>
            <a:ext cx="160601" cy="160602"/>
          </a:xfrm>
          <a:custGeom>
            <a:avLst/>
            <a:gdLst>
              <a:gd name="T0" fmla="*/ 6 w 150"/>
              <a:gd name="T1" fmla="*/ 90 h 150"/>
              <a:gd name="T2" fmla="*/ 12 w 150"/>
              <a:gd name="T3" fmla="*/ 78 h 150"/>
              <a:gd name="T4" fmla="*/ 12 w 150"/>
              <a:gd name="T5" fmla="*/ 72 h 150"/>
              <a:gd name="T6" fmla="*/ 12 w 150"/>
              <a:gd name="T7" fmla="*/ 72 h 150"/>
              <a:gd name="T8" fmla="*/ 6 w 150"/>
              <a:gd name="T9" fmla="*/ 66 h 150"/>
              <a:gd name="T10" fmla="*/ 6 w 150"/>
              <a:gd name="T11" fmla="*/ 66 h 150"/>
              <a:gd name="T12" fmla="*/ 6 w 150"/>
              <a:gd name="T13" fmla="*/ 60 h 150"/>
              <a:gd name="T14" fmla="*/ 12 w 150"/>
              <a:gd name="T15" fmla="*/ 60 h 150"/>
              <a:gd name="T16" fmla="*/ 12 w 150"/>
              <a:gd name="T17" fmla="*/ 54 h 150"/>
              <a:gd name="T18" fmla="*/ 12 w 150"/>
              <a:gd name="T19" fmla="*/ 48 h 150"/>
              <a:gd name="T20" fmla="*/ 12 w 150"/>
              <a:gd name="T21" fmla="*/ 42 h 150"/>
              <a:gd name="T22" fmla="*/ 18 w 150"/>
              <a:gd name="T23" fmla="*/ 36 h 150"/>
              <a:gd name="T24" fmla="*/ 18 w 150"/>
              <a:gd name="T25" fmla="*/ 36 h 150"/>
              <a:gd name="T26" fmla="*/ 24 w 150"/>
              <a:gd name="T27" fmla="*/ 30 h 150"/>
              <a:gd name="T28" fmla="*/ 24 w 150"/>
              <a:gd name="T29" fmla="*/ 24 h 150"/>
              <a:gd name="T30" fmla="*/ 24 w 150"/>
              <a:gd name="T31" fmla="*/ 18 h 150"/>
              <a:gd name="T32" fmla="*/ 36 w 150"/>
              <a:gd name="T33" fmla="*/ 18 h 150"/>
              <a:gd name="T34" fmla="*/ 36 w 150"/>
              <a:gd name="T35" fmla="*/ 18 h 150"/>
              <a:gd name="T36" fmla="*/ 42 w 150"/>
              <a:gd name="T37" fmla="*/ 12 h 150"/>
              <a:gd name="T38" fmla="*/ 48 w 150"/>
              <a:gd name="T39" fmla="*/ 6 h 150"/>
              <a:gd name="T40" fmla="*/ 48 w 150"/>
              <a:gd name="T41" fmla="*/ 6 h 150"/>
              <a:gd name="T42" fmla="*/ 42 w 150"/>
              <a:gd name="T43" fmla="*/ 0 h 150"/>
              <a:gd name="T44" fmla="*/ 48 w 150"/>
              <a:gd name="T45" fmla="*/ 0 h 150"/>
              <a:gd name="T46" fmla="*/ 66 w 150"/>
              <a:gd name="T47" fmla="*/ 6 h 150"/>
              <a:gd name="T48" fmla="*/ 72 w 150"/>
              <a:gd name="T49" fmla="*/ 12 h 150"/>
              <a:gd name="T50" fmla="*/ 78 w 150"/>
              <a:gd name="T51" fmla="*/ 12 h 150"/>
              <a:gd name="T52" fmla="*/ 84 w 150"/>
              <a:gd name="T53" fmla="*/ 12 h 150"/>
              <a:gd name="T54" fmla="*/ 90 w 150"/>
              <a:gd name="T55" fmla="*/ 12 h 150"/>
              <a:gd name="T56" fmla="*/ 96 w 150"/>
              <a:gd name="T57" fmla="*/ 6 h 150"/>
              <a:gd name="T58" fmla="*/ 96 w 150"/>
              <a:gd name="T59" fmla="*/ 18 h 150"/>
              <a:gd name="T60" fmla="*/ 102 w 150"/>
              <a:gd name="T61" fmla="*/ 18 h 150"/>
              <a:gd name="T62" fmla="*/ 114 w 150"/>
              <a:gd name="T63" fmla="*/ 30 h 150"/>
              <a:gd name="T64" fmla="*/ 120 w 150"/>
              <a:gd name="T65" fmla="*/ 30 h 150"/>
              <a:gd name="T66" fmla="*/ 144 w 150"/>
              <a:gd name="T67" fmla="*/ 24 h 150"/>
              <a:gd name="T68" fmla="*/ 150 w 150"/>
              <a:gd name="T69" fmla="*/ 36 h 150"/>
              <a:gd name="T70" fmla="*/ 138 w 150"/>
              <a:gd name="T71" fmla="*/ 72 h 150"/>
              <a:gd name="T72" fmla="*/ 132 w 150"/>
              <a:gd name="T73" fmla="*/ 72 h 150"/>
              <a:gd name="T74" fmla="*/ 126 w 150"/>
              <a:gd name="T75" fmla="*/ 90 h 150"/>
              <a:gd name="T76" fmla="*/ 120 w 150"/>
              <a:gd name="T77" fmla="*/ 96 h 150"/>
              <a:gd name="T78" fmla="*/ 120 w 150"/>
              <a:gd name="T79" fmla="*/ 102 h 150"/>
              <a:gd name="T80" fmla="*/ 120 w 150"/>
              <a:gd name="T81" fmla="*/ 102 h 150"/>
              <a:gd name="T82" fmla="*/ 114 w 150"/>
              <a:gd name="T83" fmla="*/ 108 h 150"/>
              <a:gd name="T84" fmla="*/ 108 w 150"/>
              <a:gd name="T85" fmla="*/ 120 h 150"/>
              <a:gd name="T86" fmla="*/ 108 w 150"/>
              <a:gd name="T87" fmla="*/ 126 h 150"/>
              <a:gd name="T88" fmla="*/ 102 w 150"/>
              <a:gd name="T89" fmla="*/ 126 h 150"/>
              <a:gd name="T90" fmla="*/ 96 w 150"/>
              <a:gd name="T91" fmla="*/ 138 h 150"/>
              <a:gd name="T92" fmla="*/ 90 w 150"/>
              <a:gd name="T93" fmla="*/ 144 h 150"/>
              <a:gd name="T94" fmla="*/ 84 w 150"/>
              <a:gd name="T95" fmla="*/ 150 h 150"/>
              <a:gd name="T96" fmla="*/ 78 w 150"/>
              <a:gd name="T97" fmla="*/ 150 h 150"/>
              <a:gd name="T98" fmla="*/ 72 w 150"/>
              <a:gd name="T99" fmla="*/ 150 h 150"/>
              <a:gd name="T100" fmla="*/ 66 w 150"/>
              <a:gd name="T101" fmla="*/ 144 h 150"/>
              <a:gd name="T102" fmla="*/ 66 w 150"/>
              <a:gd name="T103" fmla="*/ 144 h 150"/>
              <a:gd name="T104" fmla="*/ 66 w 150"/>
              <a:gd name="T105" fmla="*/ 144 h 150"/>
              <a:gd name="T106" fmla="*/ 60 w 150"/>
              <a:gd name="T107" fmla="*/ 144 h 150"/>
              <a:gd name="T108" fmla="*/ 36 w 150"/>
              <a:gd name="T109" fmla="*/ 132 h 150"/>
              <a:gd name="T110" fmla="*/ 36 w 150"/>
              <a:gd name="T111" fmla="*/ 126 h 150"/>
              <a:gd name="T112" fmla="*/ 36 w 150"/>
              <a:gd name="T113" fmla="*/ 120 h 150"/>
              <a:gd name="T114" fmla="*/ 36 w 150"/>
              <a:gd name="T115" fmla="*/ 114 h 150"/>
              <a:gd name="T116" fmla="*/ 42 w 150"/>
              <a:gd name="T117" fmla="*/ 114 h 150"/>
              <a:gd name="T118" fmla="*/ 18 w 150"/>
              <a:gd name="T119" fmla="*/ 114 h 150"/>
              <a:gd name="T120" fmla="*/ 0 w 150"/>
              <a:gd name="T121" fmla="*/ 96 h 150"/>
              <a:gd name="T122" fmla="*/ 0 w 150"/>
              <a:gd name="T123" fmla="*/ 96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0" h="150">
                <a:moveTo>
                  <a:pt x="0" y="90"/>
                </a:moveTo>
                <a:lnTo>
                  <a:pt x="0" y="90"/>
                </a:lnTo>
                <a:lnTo>
                  <a:pt x="0" y="90"/>
                </a:lnTo>
                <a:lnTo>
                  <a:pt x="6" y="90"/>
                </a:lnTo>
                <a:lnTo>
                  <a:pt x="12" y="84"/>
                </a:lnTo>
                <a:lnTo>
                  <a:pt x="12" y="84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6" y="66"/>
                </a:lnTo>
                <a:lnTo>
                  <a:pt x="6" y="66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48"/>
                </a:lnTo>
                <a:lnTo>
                  <a:pt x="12" y="48"/>
                </a:lnTo>
                <a:lnTo>
                  <a:pt x="6" y="48"/>
                </a:lnTo>
                <a:lnTo>
                  <a:pt x="6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8" y="42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18"/>
                </a:lnTo>
                <a:lnTo>
                  <a:pt x="24" y="18"/>
                </a:lnTo>
                <a:lnTo>
                  <a:pt x="30" y="18"/>
                </a:lnTo>
                <a:lnTo>
                  <a:pt x="30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42" y="12"/>
                </a:lnTo>
                <a:lnTo>
                  <a:pt x="36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2" y="0"/>
                </a:lnTo>
                <a:lnTo>
                  <a:pt x="42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54" y="0"/>
                </a:lnTo>
                <a:lnTo>
                  <a:pt x="54" y="6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6"/>
                </a:lnTo>
                <a:lnTo>
                  <a:pt x="96" y="12"/>
                </a:lnTo>
                <a:lnTo>
                  <a:pt x="96" y="12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102" y="18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14" y="30"/>
                </a:lnTo>
                <a:lnTo>
                  <a:pt x="114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32" y="30"/>
                </a:lnTo>
                <a:lnTo>
                  <a:pt x="144" y="24"/>
                </a:lnTo>
                <a:lnTo>
                  <a:pt x="144" y="30"/>
                </a:lnTo>
                <a:lnTo>
                  <a:pt x="144" y="30"/>
                </a:lnTo>
                <a:lnTo>
                  <a:pt x="150" y="36"/>
                </a:lnTo>
                <a:lnTo>
                  <a:pt x="150" y="36"/>
                </a:lnTo>
                <a:lnTo>
                  <a:pt x="138" y="54"/>
                </a:lnTo>
                <a:lnTo>
                  <a:pt x="138" y="60"/>
                </a:lnTo>
                <a:lnTo>
                  <a:pt x="138" y="60"/>
                </a:lnTo>
                <a:lnTo>
                  <a:pt x="138" y="72"/>
                </a:lnTo>
                <a:lnTo>
                  <a:pt x="138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26" y="78"/>
                </a:lnTo>
                <a:lnTo>
                  <a:pt x="126" y="78"/>
                </a:lnTo>
                <a:lnTo>
                  <a:pt x="126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32"/>
                </a:lnTo>
                <a:lnTo>
                  <a:pt x="102" y="132"/>
                </a:lnTo>
                <a:lnTo>
                  <a:pt x="96" y="138"/>
                </a:lnTo>
                <a:lnTo>
                  <a:pt x="96" y="138"/>
                </a:lnTo>
                <a:lnTo>
                  <a:pt x="96" y="138"/>
                </a:lnTo>
                <a:lnTo>
                  <a:pt x="96" y="138"/>
                </a:lnTo>
                <a:lnTo>
                  <a:pt x="90" y="138"/>
                </a:lnTo>
                <a:lnTo>
                  <a:pt x="90" y="144"/>
                </a:lnTo>
                <a:lnTo>
                  <a:pt x="84" y="144"/>
                </a:lnTo>
                <a:lnTo>
                  <a:pt x="84" y="150"/>
                </a:lnTo>
                <a:lnTo>
                  <a:pt x="84" y="150"/>
                </a:lnTo>
                <a:lnTo>
                  <a:pt x="84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2" y="150"/>
                </a:lnTo>
                <a:lnTo>
                  <a:pt x="72" y="150"/>
                </a:lnTo>
                <a:lnTo>
                  <a:pt x="72" y="150"/>
                </a:lnTo>
                <a:lnTo>
                  <a:pt x="72" y="150"/>
                </a:lnTo>
                <a:lnTo>
                  <a:pt x="72" y="144"/>
                </a:lnTo>
                <a:lnTo>
                  <a:pt x="72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36" y="144"/>
                </a:lnTo>
                <a:lnTo>
                  <a:pt x="36" y="132"/>
                </a:lnTo>
                <a:lnTo>
                  <a:pt x="36" y="132"/>
                </a:lnTo>
                <a:lnTo>
                  <a:pt x="36" y="132"/>
                </a:lnTo>
                <a:lnTo>
                  <a:pt x="36" y="132"/>
                </a:lnTo>
                <a:lnTo>
                  <a:pt x="36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30" y="120"/>
                </a:lnTo>
                <a:lnTo>
                  <a:pt x="24" y="120"/>
                </a:lnTo>
                <a:lnTo>
                  <a:pt x="24" y="120"/>
                </a:lnTo>
                <a:lnTo>
                  <a:pt x="18" y="114"/>
                </a:lnTo>
                <a:lnTo>
                  <a:pt x="18" y="108"/>
                </a:lnTo>
                <a:lnTo>
                  <a:pt x="0" y="102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0" y="90"/>
                </a:lnTo>
                <a:lnTo>
                  <a:pt x="0" y="9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73" name="Freeform 106"/>
          <p:cNvSpPr>
            <a:spLocks/>
          </p:cNvSpPr>
          <p:nvPr/>
        </p:nvSpPr>
        <p:spPr bwMode="auto">
          <a:xfrm>
            <a:off x="8104544" y="1520397"/>
            <a:ext cx="115633" cy="89937"/>
          </a:xfrm>
          <a:custGeom>
            <a:avLst/>
            <a:gdLst>
              <a:gd name="T0" fmla="*/ 0 w 108"/>
              <a:gd name="T1" fmla="*/ 54 h 84"/>
              <a:gd name="T2" fmla="*/ 0 w 108"/>
              <a:gd name="T3" fmla="*/ 48 h 84"/>
              <a:gd name="T4" fmla="*/ 12 w 108"/>
              <a:gd name="T5" fmla="*/ 42 h 84"/>
              <a:gd name="T6" fmla="*/ 12 w 108"/>
              <a:gd name="T7" fmla="*/ 36 h 84"/>
              <a:gd name="T8" fmla="*/ 18 w 108"/>
              <a:gd name="T9" fmla="*/ 30 h 84"/>
              <a:gd name="T10" fmla="*/ 18 w 108"/>
              <a:gd name="T11" fmla="*/ 30 h 84"/>
              <a:gd name="T12" fmla="*/ 18 w 108"/>
              <a:gd name="T13" fmla="*/ 24 h 84"/>
              <a:gd name="T14" fmla="*/ 18 w 108"/>
              <a:gd name="T15" fmla="*/ 18 h 84"/>
              <a:gd name="T16" fmla="*/ 18 w 108"/>
              <a:gd name="T17" fmla="*/ 18 h 84"/>
              <a:gd name="T18" fmla="*/ 36 w 108"/>
              <a:gd name="T19" fmla="*/ 0 h 84"/>
              <a:gd name="T20" fmla="*/ 48 w 108"/>
              <a:gd name="T21" fmla="*/ 6 h 84"/>
              <a:gd name="T22" fmla="*/ 54 w 108"/>
              <a:gd name="T23" fmla="*/ 6 h 84"/>
              <a:gd name="T24" fmla="*/ 60 w 108"/>
              <a:gd name="T25" fmla="*/ 12 h 84"/>
              <a:gd name="T26" fmla="*/ 72 w 108"/>
              <a:gd name="T27" fmla="*/ 18 h 84"/>
              <a:gd name="T28" fmla="*/ 84 w 108"/>
              <a:gd name="T29" fmla="*/ 24 h 84"/>
              <a:gd name="T30" fmla="*/ 90 w 108"/>
              <a:gd name="T31" fmla="*/ 30 h 84"/>
              <a:gd name="T32" fmla="*/ 96 w 108"/>
              <a:gd name="T33" fmla="*/ 30 h 84"/>
              <a:gd name="T34" fmla="*/ 108 w 108"/>
              <a:gd name="T35" fmla="*/ 42 h 84"/>
              <a:gd name="T36" fmla="*/ 108 w 108"/>
              <a:gd name="T37" fmla="*/ 42 h 84"/>
              <a:gd name="T38" fmla="*/ 102 w 108"/>
              <a:gd name="T39" fmla="*/ 48 h 84"/>
              <a:gd name="T40" fmla="*/ 102 w 108"/>
              <a:gd name="T41" fmla="*/ 48 h 84"/>
              <a:gd name="T42" fmla="*/ 96 w 108"/>
              <a:gd name="T43" fmla="*/ 60 h 84"/>
              <a:gd name="T44" fmla="*/ 96 w 108"/>
              <a:gd name="T45" fmla="*/ 66 h 84"/>
              <a:gd name="T46" fmla="*/ 96 w 108"/>
              <a:gd name="T47" fmla="*/ 66 h 84"/>
              <a:gd name="T48" fmla="*/ 90 w 108"/>
              <a:gd name="T49" fmla="*/ 72 h 84"/>
              <a:gd name="T50" fmla="*/ 90 w 108"/>
              <a:gd name="T51" fmla="*/ 72 h 84"/>
              <a:gd name="T52" fmla="*/ 84 w 108"/>
              <a:gd name="T53" fmla="*/ 78 h 84"/>
              <a:gd name="T54" fmla="*/ 84 w 108"/>
              <a:gd name="T55" fmla="*/ 72 h 84"/>
              <a:gd name="T56" fmla="*/ 90 w 108"/>
              <a:gd name="T57" fmla="*/ 72 h 84"/>
              <a:gd name="T58" fmla="*/ 90 w 108"/>
              <a:gd name="T59" fmla="*/ 66 h 84"/>
              <a:gd name="T60" fmla="*/ 84 w 108"/>
              <a:gd name="T61" fmla="*/ 66 h 84"/>
              <a:gd name="T62" fmla="*/ 72 w 108"/>
              <a:gd name="T63" fmla="*/ 54 h 84"/>
              <a:gd name="T64" fmla="*/ 72 w 108"/>
              <a:gd name="T65" fmla="*/ 54 h 84"/>
              <a:gd name="T66" fmla="*/ 72 w 108"/>
              <a:gd name="T67" fmla="*/ 60 h 84"/>
              <a:gd name="T68" fmla="*/ 78 w 108"/>
              <a:gd name="T69" fmla="*/ 60 h 84"/>
              <a:gd name="T70" fmla="*/ 78 w 108"/>
              <a:gd name="T71" fmla="*/ 66 h 84"/>
              <a:gd name="T72" fmla="*/ 78 w 108"/>
              <a:gd name="T73" fmla="*/ 72 h 84"/>
              <a:gd name="T74" fmla="*/ 78 w 108"/>
              <a:gd name="T75" fmla="*/ 72 h 84"/>
              <a:gd name="T76" fmla="*/ 72 w 108"/>
              <a:gd name="T77" fmla="*/ 78 h 84"/>
              <a:gd name="T78" fmla="*/ 66 w 108"/>
              <a:gd name="T79" fmla="*/ 78 h 84"/>
              <a:gd name="T80" fmla="*/ 54 w 108"/>
              <a:gd name="T81" fmla="*/ 84 h 84"/>
              <a:gd name="T82" fmla="*/ 54 w 108"/>
              <a:gd name="T83" fmla="*/ 84 h 84"/>
              <a:gd name="T84" fmla="*/ 54 w 108"/>
              <a:gd name="T85" fmla="*/ 84 h 84"/>
              <a:gd name="T86" fmla="*/ 48 w 108"/>
              <a:gd name="T87" fmla="*/ 84 h 84"/>
              <a:gd name="T88" fmla="*/ 42 w 108"/>
              <a:gd name="T89" fmla="*/ 84 h 84"/>
              <a:gd name="T90" fmla="*/ 42 w 108"/>
              <a:gd name="T91" fmla="*/ 84 h 84"/>
              <a:gd name="T92" fmla="*/ 30 w 108"/>
              <a:gd name="T93" fmla="*/ 78 h 84"/>
              <a:gd name="T94" fmla="*/ 30 w 108"/>
              <a:gd name="T95" fmla="*/ 72 h 84"/>
              <a:gd name="T96" fmla="*/ 30 w 108"/>
              <a:gd name="T97" fmla="*/ 72 h 84"/>
              <a:gd name="T98" fmla="*/ 30 w 108"/>
              <a:gd name="T99" fmla="*/ 66 h 84"/>
              <a:gd name="T100" fmla="*/ 24 w 108"/>
              <a:gd name="T101" fmla="*/ 60 h 84"/>
              <a:gd name="T102" fmla="*/ 12 w 108"/>
              <a:gd name="T103" fmla="*/ 60 h 84"/>
              <a:gd name="T104" fmla="*/ 0 w 108"/>
              <a:gd name="T105" fmla="*/ 6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08" h="84">
                <a:moveTo>
                  <a:pt x="0" y="60"/>
                </a:move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6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2" y="30"/>
                </a:lnTo>
                <a:lnTo>
                  <a:pt x="12" y="30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36" y="0"/>
                </a:lnTo>
                <a:lnTo>
                  <a:pt x="42" y="0"/>
                </a:lnTo>
                <a:lnTo>
                  <a:pt x="42" y="0"/>
                </a:lnTo>
                <a:lnTo>
                  <a:pt x="48" y="0"/>
                </a:lnTo>
                <a:lnTo>
                  <a:pt x="48" y="6"/>
                </a:lnTo>
                <a:lnTo>
                  <a:pt x="48" y="6"/>
                </a:lnTo>
                <a:lnTo>
                  <a:pt x="48" y="0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6" y="12"/>
                </a:lnTo>
                <a:lnTo>
                  <a:pt x="66" y="18"/>
                </a:lnTo>
                <a:lnTo>
                  <a:pt x="72" y="18"/>
                </a:lnTo>
                <a:lnTo>
                  <a:pt x="72" y="18"/>
                </a:lnTo>
                <a:lnTo>
                  <a:pt x="78" y="18"/>
                </a:lnTo>
                <a:lnTo>
                  <a:pt x="78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90" y="24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102" y="30"/>
                </a:lnTo>
                <a:lnTo>
                  <a:pt x="102" y="30"/>
                </a:lnTo>
                <a:lnTo>
                  <a:pt x="108" y="36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8"/>
                </a:lnTo>
                <a:lnTo>
                  <a:pt x="108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96" y="48"/>
                </a:lnTo>
                <a:lnTo>
                  <a:pt x="102" y="48"/>
                </a:lnTo>
                <a:lnTo>
                  <a:pt x="96" y="48"/>
                </a:lnTo>
                <a:lnTo>
                  <a:pt x="96" y="48"/>
                </a:lnTo>
                <a:lnTo>
                  <a:pt x="102" y="54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8"/>
                </a:lnTo>
                <a:lnTo>
                  <a:pt x="90" y="78"/>
                </a:lnTo>
                <a:lnTo>
                  <a:pt x="84" y="72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90" y="72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84" y="66"/>
                </a:lnTo>
                <a:lnTo>
                  <a:pt x="84" y="60"/>
                </a:lnTo>
                <a:lnTo>
                  <a:pt x="84" y="60"/>
                </a:lnTo>
                <a:lnTo>
                  <a:pt x="78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0" y="78"/>
                </a:lnTo>
                <a:lnTo>
                  <a:pt x="54" y="78"/>
                </a:lnTo>
                <a:lnTo>
                  <a:pt x="54" y="78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48" y="84"/>
                </a:lnTo>
                <a:lnTo>
                  <a:pt x="54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84"/>
                </a:lnTo>
                <a:lnTo>
                  <a:pt x="42" y="84"/>
                </a:lnTo>
                <a:lnTo>
                  <a:pt x="36" y="84"/>
                </a:lnTo>
                <a:lnTo>
                  <a:pt x="36" y="78"/>
                </a:lnTo>
                <a:lnTo>
                  <a:pt x="30" y="78"/>
                </a:lnTo>
                <a:lnTo>
                  <a:pt x="30" y="78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6" y="72"/>
                </a:lnTo>
                <a:lnTo>
                  <a:pt x="36" y="72"/>
                </a:lnTo>
                <a:lnTo>
                  <a:pt x="30" y="72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0"/>
                </a:lnTo>
                <a:lnTo>
                  <a:pt x="30" y="60"/>
                </a:lnTo>
                <a:lnTo>
                  <a:pt x="24" y="60"/>
                </a:lnTo>
                <a:lnTo>
                  <a:pt x="18" y="60"/>
                </a:lnTo>
                <a:lnTo>
                  <a:pt x="18" y="60"/>
                </a:lnTo>
                <a:lnTo>
                  <a:pt x="12" y="60"/>
                </a:lnTo>
                <a:lnTo>
                  <a:pt x="12" y="60"/>
                </a:lnTo>
                <a:lnTo>
                  <a:pt x="12" y="54"/>
                </a:lnTo>
                <a:lnTo>
                  <a:pt x="6" y="54"/>
                </a:lnTo>
                <a:lnTo>
                  <a:pt x="6" y="60"/>
                </a:lnTo>
                <a:lnTo>
                  <a:pt x="0" y="60"/>
                </a:lnTo>
                <a:lnTo>
                  <a:pt x="0" y="6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74" name="Freeform 107"/>
          <p:cNvSpPr>
            <a:spLocks/>
          </p:cNvSpPr>
          <p:nvPr/>
        </p:nvSpPr>
        <p:spPr bwMode="auto">
          <a:xfrm>
            <a:off x="8085272" y="1982932"/>
            <a:ext cx="147753" cy="83513"/>
          </a:xfrm>
          <a:custGeom>
            <a:avLst/>
            <a:gdLst>
              <a:gd name="T0" fmla="*/ 6 w 138"/>
              <a:gd name="T1" fmla="*/ 66 h 78"/>
              <a:gd name="T2" fmla="*/ 12 w 138"/>
              <a:gd name="T3" fmla="*/ 60 h 78"/>
              <a:gd name="T4" fmla="*/ 12 w 138"/>
              <a:gd name="T5" fmla="*/ 60 h 78"/>
              <a:gd name="T6" fmla="*/ 18 w 138"/>
              <a:gd name="T7" fmla="*/ 48 h 78"/>
              <a:gd name="T8" fmla="*/ 18 w 138"/>
              <a:gd name="T9" fmla="*/ 48 h 78"/>
              <a:gd name="T10" fmla="*/ 24 w 138"/>
              <a:gd name="T11" fmla="*/ 48 h 78"/>
              <a:gd name="T12" fmla="*/ 30 w 138"/>
              <a:gd name="T13" fmla="*/ 54 h 78"/>
              <a:gd name="T14" fmla="*/ 36 w 138"/>
              <a:gd name="T15" fmla="*/ 48 h 78"/>
              <a:gd name="T16" fmla="*/ 36 w 138"/>
              <a:gd name="T17" fmla="*/ 48 h 78"/>
              <a:gd name="T18" fmla="*/ 42 w 138"/>
              <a:gd name="T19" fmla="*/ 48 h 78"/>
              <a:gd name="T20" fmla="*/ 48 w 138"/>
              <a:gd name="T21" fmla="*/ 48 h 78"/>
              <a:gd name="T22" fmla="*/ 48 w 138"/>
              <a:gd name="T23" fmla="*/ 42 h 78"/>
              <a:gd name="T24" fmla="*/ 54 w 138"/>
              <a:gd name="T25" fmla="*/ 36 h 78"/>
              <a:gd name="T26" fmla="*/ 48 w 138"/>
              <a:gd name="T27" fmla="*/ 36 h 78"/>
              <a:gd name="T28" fmla="*/ 54 w 138"/>
              <a:gd name="T29" fmla="*/ 30 h 78"/>
              <a:gd name="T30" fmla="*/ 54 w 138"/>
              <a:gd name="T31" fmla="*/ 24 h 78"/>
              <a:gd name="T32" fmla="*/ 54 w 138"/>
              <a:gd name="T33" fmla="*/ 24 h 78"/>
              <a:gd name="T34" fmla="*/ 48 w 138"/>
              <a:gd name="T35" fmla="*/ 12 h 78"/>
              <a:gd name="T36" fmla="*/ 54 w 138"/>
              <a:gd name="T37" fmla="*/ 6 h 78"/>
              <a:gd name="T38" fmla="*/ 54 w 138"/>
              <a:gd name="T39" fmla="*/ 6 h 78"/>
              <a:gd name="T40" fmla="*/ 60 w 138"/>
              <a:gd name="T41" fmla="*/ 0 h 78"/>
              <a:gd name="T42" fmla="*/ 60 w 138"/>
              <a:gd name="T43" fmla="*/ 0 h 78"/>
              <a:gd name="T44" fmla="*/ 72 w 138"/>
              <a:gd name="T45" fmla="*/ 0 h 78"/>
              <a:gd name="T46" fmla="*/ 72 w 138"/>
              <a:gd name="T47" fmla="*/ 0 h 78"/>
              <a:gd name="T48" fmla="*/ 84 w 138"/>
              <a:gd name="T49" fmla="*/ 0 h 78"/>
              <a:gd name="T50" fmla="*/ 84 w 138"/>
              <a:gd name="T51" fmla="*/ 0 h 78"/>
              <a:gd name="T52" fmla="*/ 90 w 138"/>
              <a:gd name="T53" fmla="*/ 0 h 78"/>
              <a:gd name="T54" fmla="*/ 90 w 138"/>
              <a:gd name="T55" fmla="*/ 6 h 78"/>
              <a:gd name="T56" fmla="*/ 96 w 138"/>
              <a:gd name="T57" fmla="*/ 12 h 78"/>
              <a:gd name="T58" fmla="*/ 96 w 138"/>
              <a:gd name="T59" fmla="*/ 12 h 78"/>
              <a:gd name="T60" fmla="*/ 102 w 138"/>
              <a:gd name="T61" fmla="*/ 18 h 78"/>
              <a:gd name="T62" fmla="*/ 102 w 138"/>
              <a:gd name="T63" fmla="*/ 24 h 78"/>
              <a:gd name="T64" fmla="*/ 102 w 138"/>
              <a:gd name="T65" fmla="*/ 24 h 78"/>
              <a:gd name="T66" fmla="*/ 114 w 138"/>
              <a:gd name="T67" fmla="*/ 30 h 78"/>
              <a:gd name="T68" fmla="*/ 120 w 138"/>
              <a:gd name="T69" fmla="*/ 36 h 78"/>
              <a:gd name="T70" fmla="*/ 120 w 138"/>
              <a:gd name="T71" fmla="*/ 36 h 78"/>
              <a:gd name="T72" fmla="*/ 126 w 138"/>
              <a:gd name="T73" fmla="*/ 42 h 78"/>
              <a:gd name="T74" fmla="*/ 126 w 138"/>
              <a:gd name="T75" fmla="*/ 48 h 78"/>
              <a:gd name="T76" fmla="*/ 132 w 138"/>
              <a:gd name="T77" fmla="*/ 48 h 78"/>
              <a:gd name="T78" fmla="*/ 132 w 138"/>
              <a:gd name="T79" fmla="*/ 54 h 78"/>
              <a:gd name="T80" fmla="*/ 126 w 138"/>
              <a:gd name="T81" fmla="*/ 60 h 78"/>
              <a:gd name="T82" fmla="*/ 120 w 138"/>
              <a:gd name="T83" fmla="*/ 72 h 78"/>
              <a:gd name="T84" fmla="*/ 108 w 138"/>
              <a:gd name="T85" fmla="*/ 78 h 78"/>
              <a:gd name="T86" fmla="*/ 96 w 138"/>
              <a:gd name="T87" fmla="*/ 78 h 78"/>
              <a:gd name="T88" fmla="*/ 84 w 138"/>
              <a:gd name="T89" fmla="*/ 72 h 78"/>
              <a:gd name="T90" fmla="*/ 90 w 138"/>
              <a:gd name="T91" fmla="*/ 72 h 78"/>
              <a:gd name="T92" fmla="*/ 84 w 138"/>
              <a:gd name="T93" fmla="*/ 66 h 78"/>
              <a:gd name="T94" fmla="*/ 84 w 138"/>
              <a:gd name="T95" fmla="*/ 60 h 78"/>
              <a:gd name="T96" fmla="*/ 78 w 138"/>
              <a:gd name="T97" fmla="*/ 60 h 78"/>
              <a:gd name="T98" fmla="*/ 72 w 138"/>
              <a:gd name="T99" fmla="*/ 66 h 78"/>
              <a:gd name="T100" fmla="*/ 72 w 138"/>
              <a:gd name="T101" fmla="*/ 66 h 78"/>
              <a:gd name="T102" fmla="*/ 72 w 138"/>
              <a:gd name="T103" fmla="*/ 66 h 78"/>
              <a:gd name="T104" fmla="*/ 66 w 138"/>
              <a:gd name="T105" fmla="*/ 60 h 78"/>
              <a:gd name="T106" fmla="*/ 66 w 138"/>
              <a:gd name="T107" fmla="*/ 60 h 78"/>
              <a:gd name="T108" fmla="*/ 60 w 138"/>
              <a:gd name="T109" fmla="*/ 60 h 78"/>
              <a:gd name="T110" fmla="*/ 54 w 138"/>
              <a:gd name="T111" fmla="*/ 66 h 78"/>
              <a:gd name="T112" fmla="*/ 36 w 138"/>
              <a:gd name="T113" fmla="*/ 66 h 78"/>
              <a:gd name="T114" fmla="*/ 30 w 138"/>
              <a:gd name="T115" fmla="*/ 60 h 78"/>
              <a:gd name="T116" fmla="*/ 18 w 138"/>
              <a:gd name="T117" fmla="*/ 66 h 78"/>
              <a:gd name="T118" fmla="*/ 12 w 138"/>
              <a:gd name="T119" fmla="*/ 66 h 78"/>
              <a:gd name="T120" fmla="*/ 0 w 138"/>
              <a:gd name="T121" fmla="*/ 66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38" h="78">
                <a:moveTo>
                  <a:pt x="0" y="66"/>
                </a:moveTo>
                <a:lnTo>
                  <a:pt x="0" y="66"/>
                </a:lnTo>
                <a:lnTo>
                  <a:pt x="0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30" y="54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8" y="48"/>
                </a:lnTo>
                <a:lnTo>
                  <a:pt x="48" y="48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54" y="36"/>
                </a:lnTo>
                <a:lnTo>
                  <a:pt x="54" y="42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48" y="42"/>
                </a:lnTo>
                <a:lnTo>
                  <a:pt x="48" y="42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54" y="36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6" y="0"/>
                </a:lnTo>
                <a:lnTo>
                  <a:pt x="66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84" y="0"/>
                </a:lnTo>
                <a:lnTo>
                  <a:pt x="78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12"/>
                </a:lnTo>
                <a:lnTo>
                  <a:pt x="90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8" y="30"/>
                </a:lnTo>
                <a:lnTo>
                  <a:pt x="108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08" y="30"/>
                </a:lnTo>
                <a:lnTo>
                  <a:pt x="114" y="30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54"/>
                </a:lnTo>
                <a:lnTo>
                  <a:pt x="132" y="54"/>
                </a:lnTo>
                <a:lnTo>
                  <a:pt x="132" y="54"/>
                </a:lnTo>
                <a:lnTo>
                  <a:pt x="138" y="54"/>
                </a:lnTo>
                <a:lnTo>
                  <a:pt x="132" y="54"/>
                </a:lnTo>
                <a:lnTo>
                  <a:pt x="132" y="54"/>
                </a:lnTo>
                <a:lnTo>
                  <a:pt x="126" y="60"/>
                </a:lnTo>
                <a:lnTo>
                  <a:pt x="126" y="66"/>
                </a:lnTo>
                <a:lnTo>
                  <a:pt x="126" y="72"/>
                </a:lnTo>
                <a:lnTo>
                  <a:pt x="126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14" y="72"/>
                </a:lnTo>
                <a:lnTo>
                  <a:pt x="114" y="72"/>
                </a:lnTo>
                <a:lnTo>
                  <a:pt x="108" y="78"/>
                </a:lnTo>
                <a:lnTo>
                  <a:pt x="108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96" y="78"/>
                </a:lnTo>
                <a:lnTo>
                  <a:pt x="96" y="78"/>
                </a:lnTo>
                <a:lnTo>
                  <a:pt x="90" y="78"/>
                </a:lnTo>
                <a:lnTo>
                  <a:pt x="84" y="78"/>
                </a:lnTo>
                <a:lnTo>
                  <a:pt x="90" y="72"/>
                </a:lnTo>
                <a:lnTo>
                  <a:pt x="84" y="72"/>
                </a:lnTo>
                <a:lnTo>
                  <a:pt x="84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84" y="66"/>
                </a:lnTo>
                <a:lnTo>
                  <a:pt x="84" y="72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72"/>
                </a:lnTo>
                <a:lnTo>
                  <a:pt x="72" y="66"/>
                </a:lnTo>
                <a:lnTo>
                  <a:pt x="72" y="72"/>
                </a:lnTo>
                <a:lnTo>
                  <a:pt x="72" y="72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66" y="60"/>
                </a:lnTo>
                <a:lnTo>
                  <a:pt x="66" y="60"/>
                </a:lnTo>
                <a:lnTo>
                  <a:pt x="66" y="66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54" y="60"/>
                </a:lnTo>
                <a:lnTo>
                  <a:pt x="54" y="60"/>
                </a:lnTo>
                <a:lnTo>
                  <a:pt x="54" y="66"/>
                </a:lnTo>
                <a:lnTo>
                  <a:pt x="54" y="66"/>
                </a:lnTo>
                <a:lnTo>
                  <a:pt x="48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72"/>
                </a:lnTo>
                <a:lnTo>
                  <a:pt x="6" y="72"/>
                </a:lnTo>
                <a:lnTo>
                  <a:pt x="0" y="66"/>
                </a:lnTo>
                <a:lnTo>
                  <a:pt x="0" y="6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75" name="Freeform 108"/>
          <p:cNvSpPr>
            <a:spLocks/>
          </p:cNvSpPr>
          <p:nvPr/>
        </p:nvSpPr>
        <p:spPr bwMode="auto">
          <a:xfrm>
            <a:off x="8143088" y="1603910"/>
            <a:ext cx="109209" cy="70665"/>
          </a:xfrm>
          <a:custGeom>
            <a:avLst/>
            <a:gdLst>
              <a:gd name="T0" fmla="*/ 12 w 102"/>
              <a:gd name="T1" fmla="*/ 30 h 66"/>
              <a:gd name="T2" fmla="*/ 12 w 102"/>
              <a:gd name="T3" fmla="*/ 30 h 66"/>
              <a:gd name="T4" fmla="*/ 12 w 102"/>
              <a:gd name="T5" fmla="*/ 30 h 66"/>
              <a:gd name="T6" fmla="*/ 18 w 102"/>
              <a:gd name="T7" fmla="*/ 30 h 66"/>
              <a:gd name="T8" fmla="*/ 30 w 102"/>
              <a:gd name="T9" fmla="*/ 24 h 66"/>
              <a:gd name="T10" fmla="*/ 30 w 102"/>
              <a:gd name="T11" fmla="*/ 30 h 66"/>
              <a:gd name="T12" fmla="*/ 36 w 102"/>
              <a:gd name="T13" fmla="*/ 30 h 66"/>
              <a:gd name="T14" fmla="*/ 36 w 102"/>
              <a:gd name="T15" fmla="*/ 36 h 66"/>
              <a:gd name="T16" fmla="*/ 36 w 102"/>
              <a:gd name="T17" fmla="*/ 36 h 66"/>
              <a:gd name="T18" fmla="*/ 42 w 102"/>
              <a:gd name="T19" fmla="*/ 30 h 66"/>
              <a:gd name="T20" fmla="*/ 42 w 102"/>
              <a:gd name="T21" fmla="*/ 24 h 66"/>
              <a:gd name="T22" fmla="*/ 42 w 102"/>
              <a:gd name="T23" fmla="*/ 24 h 66"/>
              <a:gd name="T24" fmla="*/ 42 w 102"/>
              <a:gd name="T25" fmla="*/ 24 h 66"/>
              <a:gd name="T26" fmla="*/ 48 w 102"/>
              <a:gd name="T27" fmla="*/ 24 h 66"/>
              <a:gd name="T28" fmla="*/ 48 w 102"/>
              <a:gd name="T29" fmla="*/ 18 h 66"/>
              <a:gd name="T30" fmla="*/ 54 w 102"/>
              <a:gd name="T31" fmla="*/ 18 h 66"/>
              <a:gd name="T32" fmla="*/ 60 w 102"/>
              <a:gd name="T33" fmla="*/ 18 h 66"/>
              <a:gd name="T34" fmla="*/ 60 w 102"/>
              <a:gd name="T35" fmla="*/ 12 h 66"/>
              <a:gd name="T36" fmla="*/ 54 w 102"/>
              <a:gd name="T37" fmla="*/ 12 h 66"/>
              <a:gd name="T38" fmla="*/ 60 w 102"/>
              <a:gd name="T39" fmla="*/ 0 h 66"/>
              <a:gd name="T40" fmla="*/ 66 w 102"/>
              <a:gd name="T41" fmla="*/ 0 h 66"/>
              <a:gd name="T42" fmla="*/ 66 w 102"/>
              <a:gd name="T43" fmla="*/ 0 h 66"/>
              <a:gd name="T44" fmla="*/ 66 w 102"/>
              <a:gd name="T45" fmla="*/ 0 h 66"/>
              <a:gd name="T46" fmla="*/ 66 w 102"/>
              <a:gd name="T47" fmla="*/ 6 h 66"/>
              <a:gd name="T48" fmla="*/ 66 w 102"/>
              <a:gd name="T49" fmla="*/ 12 h 66"/>
              <a:gd name="T50" fmla="*/ 66 w 102"/>
              <a:gd name="T51" fmla="*/ 12 h 66"/>
              <a:gd name="T52" fmla="*/ 96 w 102"/>
              <a:gd name="T53" fmla="*/ 12 h 66"/>
              <a:gd name="T54" fmla="*/ 102 w 102"/>
              <a:gd name="T55" fmla="*/ 18 h 66"/>
              <a:gd name="T56" fmla="*/ 102 w 102"/>
              <a:gd name="T57" fmla="*/ 18 h 66"/>
              <a:gd name="T58" fmla="*/ 102 w 102"/>
              <a:gd name="T59" fmla="*/ 18 h 66"/>
              <a:gd name="T60" fmla="*/ 96 w 102"/>
              <a:gd name="T61" fmla="*/ 24 h 66"/>
              <a:gd name="T62" fmla="*/ 96 w 102"/>
              <a:gd name="T63" fmla="*/ 30 h 66"/>
              <a:gd name="T64" fmla="*/ 96 w 102"/>
              <a:gd name="T65" fmla="*/ 30 h 66"/>
              <a:gd name="T66" fmla="*/ 96 w 102"/>
              <a:gd name="T67" fmla="*/ 30 h 66"/>
              <a:gd name="T68" fmla="*/ 96 w 102"/>
              <a:gd name="T69" fmla="*/ 36 h 66"/>
              <a:gd name="T70" fmla="*/ 102 w 102"/>
              <a:gd name="T71" fmla="*/ 42 h 66"/>
              <a:gd name="T72" fmla="*/ 102 w 102"/>
              <a:gd name="T73" fmla="*/ 48 h 66"/>
              <a:gd name="T74" fmla="*/ 90 w 102"/>
              <a:gd name="T75" fmla="*/ 60 h 66"/>
              <a:gd name="T76" fmla="*/ 66 w 102"/>
              <a:gd name="T77" fmla="*/ 60 h 66"/>
              <a:gd name="T78" fmla="*/ 66 w 102"/>
              <a:gd name="T79" fmla="*/ 60 h 66"/>
              <a:gd name="T80" fmla="*/ 60 w 102"/>
              <a:gd name="T81" fmla="*/ 60 h 66"/>
              <a:gd name="T82" fmla="*/ 54 w 102"/>
              <a:gd name="T83" fmla="*/ 66 h 66"/>
              <a:gd name="T84" fmla="*/ 48 w 102"/>
              <a:gd name="T85" fmla="*/ 66 h 66"/>
              <a:gd name="T86" fmla="*/ 48 w 102"/>
              <a:gd name="T87" fmla="*/ 66 h 66"/>
              <a:gd name="T88" fmla="*/ 42 w 102"/>
              <a:gd name="T89" fmla="*/ 66 h 66"/>
              <a:gd name="T90" fmla="*/ 30 w 102"/>
              <a:gd name="T91" fmla="*/ 66 h 66"/>
              <a:gd name="T92" fmla="*/ 24 w 102"/>
              <a:gd name="T93" fmla="*/ 66 h 66"/>
              <a:gd name="T94" fmla="*/ 24 w 102"/>
              <a:gd name="T95" fmla="*/ 66 h 66"/>
              <a:gd name="T96" fmla="*/ 18 w 102"/>
              <a:gd name="T97" fmla="*/ 66 h 66"/>
              <a:gd name="T98" fmla="*/ 18 w 102"/>
              <a:gd name="T99" fmla="*/ 60 h 66"/>
              <a:gd name="T100" fmla="*/ 12 w 102"/>
              <a:gd name="T101" fmla="*/ 60 h 66"/>
              <a:gd name="T102" fmla="*/ 6 w 102"/>
              <a:gd name="T103" fmla="*/ 60 h 66"/>
              <a:gd name="T104" fmla="*/ 6 w 102"/>
              <a:gd name="T105" fmla="*/ 60 h 66"/>
              <a:gd name="T106" fmla="*/ 6 w 102"/>
              <a:gd name="T107" fmla="*/ 54 h 66"/>
              <a:gd name="T108" fmla="*/ 6 w 102"/>
              <a:gd name="T109" fmla="*/ 54 h 66"/>
              <a:gd name="T110" fmla="*/ 6 w 102"/>
              <a:gd name="T111" fmla="*/ 54 h 66"/>
              <a:gd name="T112" fmla="*/ 0 w 102"/>
              <a:gd name="T113" fmla="*/ 48 h 66"/>
              <a:gd name="T114" fmla="*/ 6 w 102"/>
              <a:gd name="T115" fmla="*/ 42 h 66"/>
              <a:gd name="T116" fmla="*/ 0 w 102"/>
              <a:gd name="T117" fmla="*/ 42 h 66"/>
              <a:gd name="T118" fmla="*/ 0 w 102"/>
              <a:gd name="T119" fmla="*/ 36 h 66"/>
              <a:gd name="T120" fmla="*/ 0 w 102"/>
              <a:gd name="T121" fmla="*/ 36 h 66"/>
              <a:gd name="T122" fmla="*/ 6 w 102"/>
              <a:gd name="T123" fmla="*/ 30 h 66"/>
              <a:gd name="T124" fmla="*/ 6 w 102"/>
              <a:gd name="T125" fmla="*/ 30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2" h="66">
                <a:moveTo>
                  <a:pt x="6" y="30"/>
                </a:moveTo>
                <a:lnTo>
                  <a:pt x="6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30" y="24"/>
                </a:lnTo>
                <a:lnTo>
                  <a:pt x="30" y="18"/>
                </a:lnTo>
                <a:lnTo>
                  <a:pt x="30" y="24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6" y="30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42" y="36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24"/>
                </a:lnTo>
                <a:lnTo>
                  <a:pt x="36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60" y="18"/>
                </a:lnTo>
                <a:lnTo>
                  <a:pt x="60" y="18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54" y="12"/>
                </a:lnTo>
                <a:lnTo>
                  <a:pt x="54" y="0"/>
                </a:lnTo>
                <a:lnTo>
                  <a:pt x="54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78" y="12"/>
                </a:lnTo>
                <a:lnTo>
                  <a:pt x="96" y="12"/>
                </a:lnTo>
                <a:lnTo>
                  <a:pt x="96" y="12"/>
                </a:lnTo>
                <a:lnTo>
                  <a:pt x="102" y="12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24"/>
                </a:lnTo>
                <a:lnTo>
                  <a:pt x="102" y="24"/>
                </a:lnTo>
                <a:lnTo>
                  <a:pt x="96" y="24"/>
                </a:lnTo>
                <a:lnTo>
                  <a:pt x="96" y="24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8"/>
                </a:lnTo>
                <a:lnTo>
                  <a:pt x="102" y="48"/>
                </a:lnTo>
                <a:lnTo>
                  <a:pt x="96" y="54"/>
                </a:lnTo>
                <a:lnTo>
                  <a:pt x="90" y="60"/>
                </a:lnTo>
                <a:lnTo>
                  <a:pt x="90" y="60"/>
                </a:lnTo>
                <a:lnTo>
                  <a:pt x="72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0" y="60"/>
                </a:lnTo>
                <a:lnTo>
                  <a:pt x="60" y="66"/>
                </a:lnTo>
                <a:lnTo>
                  <a:pt x="60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2" y="66"/>
                </a:lnTo>
                <a:lnTo>
                  <a:pt x="42" y="66"/>
                </a:lnTo>
                <a:lnTo>
                  <a:pt x="36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6" y="60"/>
                </a:lnTo>
                <a:lnTo>
                  <a:pt x="12" y="66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6" y="48"/>
                </a:lnTo>
                <a:lnTo>
                  <a:pt x="6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6" y="42"/>
                </a:lnTo>
                <a:lnTo>
                  <a:pt x="0" y="42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76" name="Freeform 109"/>
          <p:cNvSpPr>
            <a:spLocks/>
          </p:cNvSpPr>
          <p:nvPr/>
        </p:nvSpPr>
        <p:spPr bwMode="auto">
          <a:xfrm>
            <a:off x="8245873" y="1597486"/>
            <a:ext cx="109209" cy="89937"/>
          </a:xfrm>
          <a:custGeom>
            <a:avLst/>
            <a:gdLst>
              <a:gd name="T0" fmla="*/ 6 w 102"/>
              <a:gd name="T1" fmla="*/ 54 h 84"/>
              <a:gd name="T2" fmla="*/ 6 w 102"/>
              <a:gd name="T3" fmla="*/ 48 h 84"/>
              <a:gd name="T4" fmla="*/ 0 w 102"/>
              <a:gd name="T5" fmla="*/ 42 h 84"/>
              <a:gd name="T6" fmla="*/ 0 w 102"/>
              <a:gd name="T7" fmla="*/ 36 h 84"/>
              <a:gd name="T8" fmla="*/ 0 w 102"/>
              <a:gd name="T9" fmla="*/ 36 h 84"/>
              <a:gd name="T10" fmla="*/ 0 w 102"/>
              <a:gd name="T11" fmla="*/ 36 h 84"/>
              <a:gd name="T12" fmla="*/ 0 w 102"/>
              <a:gd name="T13" fmla="*/ 30 h 84"/>
              <a:gd name="T14" fmla="*/ 6 w 102"/>
              <a:gd name="T15" fmla="*/ 24 h 84"/>
              <a:gd name="T16" fmla="*/ 6 w 102"/>
              <a:gd name="T17" fmla="*/ 24 h 84"/>
              <a:gd name="T18" fmla="*/ 6 w 102"/>
              <a:gd name="T19" fmla="*/ 24 h 84"/>
              <a:gd name="T20" fmla="*/ 6 w 102"/>
              <a:gd name="T21" fmla="*/ 18 h 84"/>
              <a:gd name="T22" fmla="*/ 12 w 102"/>
              <a:gd name="T23" fmla="*/ 18 h 84"/>
              <a:gd name="T24" fmla="*/ 24 w 102"/>
              <a:gd name="T25" fmla="*/ 0 h 84"/>
              <a:gd name="T26" fmla="*/ 30 w 102"/>
              <a:gd name="T27" fmla="*/ 6 h 84"/>
              <a:gd name="T28" fmla="*/ 42 w 102"/>
              <a:gd name="T29" fmla="*/ 18 h 84"/>
              <a:gd name="T30" fmla="*/ 48 w 102"/>
              <a:gd name="T31" fmla="*/ 18 h 84"/>
              <a:gd name="T32" fmla="*/ 54 w 102"/>
              <a:gd name="T33" fmla="*/ 18 h 84"/>
              <a:gd name="T34" fmla="*/ 60 w 102"/>
              <a:gd name="T35" fmla="*/ 18 h 84"/>
              <a:gd name="T36" fmla="*/ 60 w 102"/>
              <a:gd name="T37" fmla="*/ 24 h 84"/>
              <a:gd name="T38" fmla="*/ 66 w 102"/>
              <a:gd name="T39" fmla="*/ 24 h 84"/>
              <a:gd name="T40" fmla="*/ 66 w 102"/>
              <a:gd name="T41" fmla="*/ 18 h 84"/>
              <a:gd name="T42" fmla="*/ 72 w 102"/>
              <a:gd name="T43" fmla="*/ 30 h 84"/>
              <a:gd name="T44" fmla="*/ 84 w 102"/>
              <a:gd name="T45" fmla="*/ 42 h 84"/>
              <a:gd name="T46" fmla="*/ 90 w 102"/>
              <a:gd name="T47" fmla="*/ 48 h 84"/>
              <a:gd name="T48" fmla="*/ 90 w 102"/>
              <a:gd name="T49" fmla="*/ 54 h 84"/>
              <a:gd name="T50" fmla="*/ 90 w 102"/>
              <a:gd name="T51" fmla="*/ 48 h 84"/>
              <a:gd name="T52" fmla="*/ 96 w 102"/>
              <a:gd name="T53" fmla="*/ 54 h 84"/>
              <a:gd name="T54" fmla="*/ 102 w 102"/>
              <a:gd name="T55" fmla="*/ 60 h 84"/>
              <a:gd name="T56" fmla="*/ 96 w 102"/>
              <a:gd name="T57" fmla="*/ 60 h 84"/>
              <a:gd name="T58" fmla="*/ 90 w 102"/>
              <a:gd name="T59" fmla="*/ 60 h 84"/>
              <a:gd name="T60" fmla="*/ 84 w 102"/>
              <a:gd name="T61" fmla="*/ 66 h 84"/>
              <a:gd name="T62" fmla="*/ 72 w 102"/>
              <a:gd name="T63" fmla="*/ 66 h 84"/>
              <a:gd name="T64" fmla="*/ 66 w 102"/>
              <a:gd name="T65" fmla="*/ 66 h 84"/>
              <a:gd name="T66" fmla="*/ 60 w 102"/>
              <a:gd name="T67" fmla="*/ 66 h 84"/>
              <a:gd name="T68" fmla="*/ 60 w 102"/>
              <a:gd name="T69" fmla="*/ 66 h 84"/>
              <a:gd name="T70" fmla="*/ 60 w 102"/>
              <a:gd name="T71" fmla="*/ 72 h 84"/>
              <a:gd name="T72" fmla="*/ 54 w 102"/>
              <a:gd name="T73" fmla="*/ 72 h 84"/>
              <a:gd name="T74" fmla="*/ 48 w 102"/>
              <a:gd name="T75" fmla="*/ 78 h 84"/>
              <a:gd name="T76" fmla="*/ 42 w 102"/>
              <a:gd name="T77" fmla="*/ 78 h 84"/>
              <a:gd name="T78" fmla="*/ 42 w 102"/>
              <a:gd name="T79" fmla="*/ 78 h 84"/>
              <a:gd name="T80" fmla="*/ 36 w 102"/>
              <a:gd name="T81" fmla="*/ 78 h 84"/>
              <a:gd name="T82" fmla="*/ 36 w 102"/>
              <a:gd name="T83" fmla="*/ 84 h 84"/>
              <a:gd name="T84" fmla="*/ 30 w 102"/>
              <a:gd name="T85" fmla="*/ 78 h 84"/>
              <a:gd name="T86" fmla="*/ 24 w 102"/>
              <a:gd name="T87" fmla="*/ 78 h 84"/>
              <a:gd name="T88" fmla="*/ 30 w 102"/>
              <a:gd name="T89" fmla="*/ 78 h 84"/>
              <a:gd name="T90" fmla="*/ 30 w 102"/>
              <a:gd name="T91" fmla="*/ 78 h 84"/>
              <a:gd name="T92" fmla="*/ 30 w 102"/>
              <a:gd name="T93" fmla="*/ 72 h 84"/>
              <a:gd name="T94" fmla="*/ 30 w 102"/>
              <a:gd name="T95" fmla="*/ 72 h 84"/>
              <a:gd name="T96" fmla="*/ 24 w 102"/>
              <a:gd name="T97" fmla="*/ 66 h 84"/>
              <a:gd name="T98" fmla="*/ 18 w 102"/>
              <a:gd name="T99" fmla="*/ 72 h 84"/>
              <a:gd name="T100" fmla="*/ 18 w 102"/>
              <a:gd name="T101" fmla="*/ 78 h 84"/>
              <a:gd name="T102" fmla="*/ 12 w 102"/>
              <a:gd name="T103" fmla="*/ 72 h 84"/>
              <a:gd name="T104" fmla="*/ 6 w 102"/>
              <a:gd name="T105" fmla="*/ 72 h 84"/>
              <a:gd name="T106" fmla="*/ 6 w 102"/>
              <a:gd name="T107" fmla="*/ 66 h 84"/>
              <a:gd name="T108" fmla="*/ 0 w 102"/>
              <a:gd name="T109" fmla="*/ 6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02" h="84">
                <a:moveTo>
                  <a:pt x="0" y="60"/>
                </a:moveTo>
                <a:lnTo>
                  <a:pt x="6" y="54"/>
                </a:lnTo>
                <a:lnTo>
                  <a:pt x="6" y="54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0"/>
                </a:lnTo>
                <a:lnTo>
                  <a:pt x="0" y="30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24" y="0"/>
                </a:lnTo>
                <a:lnTo>
                  <a:pt x="24" y="0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12"/>
                </a:lnTo>
                <a:lnTo>
                  <a:pt x="36" y="12"/>
                </a:lnTo>
                <a:lnTo>
                  <a:pt x="42" y="18"/>
                </a:lnTo>
                <a:lnTo>
                  <a:pt x="42" y="18"/>
                </a:lnTo>
                <a:lnTo>
                  <a:pt x="48" y="18"/>
                </a:lnTo>
                <a:lnTo>
                  <a:pt x="48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60" y="18"/>
                </a:lnTo>
                <a:lnTo>
                  <a:pt x="60" y="18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18"/>
                </a:lnTo>
                <a:lnTo>
                  <a:pt x="66" y="18"/>
                </a:lnTo>
                <a:lnTo>
                  <a:pt x="72" y="24"/>
                </a:lnTo>
                <a:lnTo>
                  <a:pt x="72" y="30"/>
                </a:lnTo>
                <a:lnTo>
                  <a:pt x="72" y="30"/>
                </a:lnTo>
                <a:lnTo>
                  <a:pt x="78" y="36"/>
                </a:lnTo>
                <a:lnTo>
                  <a:pt x="84" y="42"/>
                </a:lnTo>
                <a:lnTo>
                  <a:pt x="84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54"/>
                </a:lnTo>
                <a:lnTo>
                  <a:pt x="90" y="54"/>
                </a:lnTo>
                <a:lnTo>
                  <a:pt x="90" y="48"/>
                </a:lnTo>
                <a:lnTo>
                  <a:pt x="90" y="48"/>
                </a:lnTo>
                <a:lnTo>
                  <a:pt x="96" y="48"/>
                </a:lnTo>
                <a:lnTo>
                  <a:pt x="96" y="54"/>
                </a:lnTo>
                <a:lnTo>
                  <a:pt x="96" y="54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96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78" y="66"/>
                </a:lnTo>
                <a:lnTo>
                  <a:pt x="78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66" y="66"/>
                </a:lnTo>
                <a:lnTo>
                  <a:pt x="66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54" y="72"/>
                </a:lnTo>
                <a:lnTo>
                  <a:pt x="54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36" y="84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84"/>
                </a:lnTo>
                <a:lnTo>
                  <a:pt x="36" y="84"/>
                </a:lnTo>
                <a:lnTo>
                  <a:pt x="30" y="84"/>
                </a:lnTo>
                <a:lnTo>
                  <a:pt x="30" y="84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2"/>
                </a:lnTo>
                <a:lnTo>
                  <a:pt x="30" y="72"/>
                </a:lnTo>
                <a:lnTo>
                  <a:pt x="30" y="66"/>
                </a:lnTo>
                <a:lnTo>
                  <a:pt x="30" y="66"/>
                </a:lnTo>
                <a:lnTo>
                  <a:pt x="30" y="72"/>
                </a:lnTo>
                <a:lnTo>
                  <a:pt x="30" y="72"/>
                </a:lnTo>
                <a:lnTo>
                  <a:pt x="24" y="66"/>
                </a:lnTo>
                <a:lnTo>
                  <a:pt x="24" y="66"/>
                </a:lnTo>
                <a:lnTo>
                  <a:pt x="24" y="72"/>
                </a:lnTo>
                <a:lnTo>
                  <a:pt x="24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8"/>
                </a:lnTo>
                <a:lnTo>
                  <a:pt x="18" y="78"/>
                </a:lnTo>
                <a:lnTo>
                  <a:pt x="12" y="72"/>
                </a:lnTo>
                <a:lnTo>
                  <a:pt x="12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6" y="66"/>
                </a:lnTo>
                <a:lnTo>
                  <a:pt x="0" y="66"/>
                </a:lnTo>
                <a:lnTo>
                  <a:pt x="0" y="6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77" name="Freeform 110"/>
          <p:cNvSpPr>
            <a:spLocks/>
          </p:cNvSpPr>
          <p:nvPr/>
        </p:nvSpPr>
        <p:spPr bwMode="auto">
          <a:xfrm>
            <a:off x="8387202" y="1713120"/>
            <a:ext cx="102785" cy="77089"/>
          </a:xfrm>
          <a:custGeom>
            <a:avLst/>
            <a:gdLst>
              <a:gd name="T0" fmla="*/ 0 w 96"/>
              <a:gd name="T1" fmla="*/ 24 h 72"/>
              <a:gd name="T2" fmla="*/ 0 w 96"/>
              <a:gd name="T3" fmla="*/ 24 h 72"/>
              <a:gd name="T4" fmla="*/ 0 w 96"/>
              <a:gd name="T5" fmla="*/ 18 h 72"/>
              <a:gd name="T6" fmla="*/ 0 w 96"/>
              <a:gd name="T7" fmla="*/ 18 h 72"/>
              <a:gd name="T8" fmla="*/ 0 w 96"/>
              <a:gd name="T9" fmla="*/ 18 h 72"/>
              <a:gd name="T10" fmla="*/ 0 w 96"/>
              <a:gd name="T11" fmla="*/ 18 h 72"/>
              <a:gd name="T12" fmla="*/ 6 w 96"/>
              <a:gd name="T13" fmla="*/ 12 h 72"/>
              <a:gd name="T14" fmla="*/ 6 w 96"/>
              <a:gd name="T15" fmla="*/ 12 h 72"/>
              <a:gd name="T16" fmla="*/ 0 w 96"/>
              <a:gd name="T17" fmla="*/ 12 h 72"/>
              <a:gd name="T18" fmla="*/ 6 w 96"/>
              <a:gd name="T19" fmla="*/ 6 h 72"/>
              <a:gd name="T20" fmla="*/ 6 w 96"/>
              <a:gd name="T21" fmla="*/ 0 h 72"/>
              <a:gd name="T22" fmla="*/ 6 w 96"/>
              <a:gd name="T23" fmla="*/ 6 h 72"/>
              <a:gd name="T24" fmla="*/ 12 w 96"/>
              <a:gd name="T25" fmla="*/ 6 h 72"/>
              <a:gd name="T26" fmla="*/ 12 w 96"/>
              <a:gd name="T27" fmla="*/ 6 h 72"/>
              <a:gd name="T28" fmla="*/ 12 w 96"/>
              <a:gd name="T29" fmla="*/ 6 h 72"/>
              <a:gd name="T30" fmla="*/ 12 w 96"/>
              <a:gd name="T31" fmla="*/ 6 h 72"/>
              <a:gd name="T32" fmla="*/ 12 w 96"/>
              <a:gd name="T33" fmla="*/ 0 h 72"/>
              <a:gd name="T34" fmla="*/ 18 w 96"/>
              <a:gd name="T35" fmla="*/ 0 h 72"/>
              <a:gd name="T36" fmla="*/ 18 w 96"/>
              <a:gd name="T37" fmla="*/ 6 h 72"/>
              <a:gd name="T38" fmla="*/ 18 w 96"/>
              <a:gd name="T39" fmla="*/ 6 h 72"/>
              <a:gd name="T40" fmla="*/ 24 w 96"/>
              <a:gd name="T41" fmla="*/ 0 h 72"/>
              <a:gd name="T42" fmla="*/ 18 w 96"/>
              <a:gd name="T43" fmla="*/ 0 h 72"/>
              <a:gd name="T44" fmla="*/ 24 w 96"/>
              <a:gd name="T45" fmla="*/ 0 h 72"/>
              <a:gd name="T46" fmla="*/ 24 w 96"/>
              <a:gd name="T47" fmla="*/ 6 h 72"/>
              <a:gd name="T48" fmla="*/ 30 w 96"/>
              <a:gd name="T49" fmla="*/ 6 h 72"/>
              <a:gd name="T50" fmla="*/ 30 w 96"/>
              <a:gd name="T51" fmla="*/ 6 h 72"/>
              <a:gd name="T52" fmla="*/ 36 w 96"/>
              <a:gd name="T53" fmla="*/ 18 h 72"/>
              <a:gd name="T54" fmla="*/ 36 w 96"/>
              <a:gd name="T55" fmla="*/ 18 h 72"/>
              <a:gd name="T56" fmla="*/ 42 w 96"/>
              <a:gd name="T57" fmla="*/ 24 h 72"/>
              <a:gd name="T58" fmla="*/ 42 w 96"/>
              <a:gd name="T59" fmla="*/ 24 h 72"/>
              <a:gd name="T60" fmla="*/ 54 w 96"/>
              <a:gd name="T61" fmla="*/ 36 h 72"/>
              <a:gd name="T62" fmla="*/ 60 w 96"/>
              <a:gd name="T63" fmla="*/ 36 h 72"/>
              <a:gd name="T64" fmla="*/ 66 w 96"/>
              <a:gd name="T65" fmla="*/ 30 h 72"/>
              <a:gd name="T66" fmla="*/ 66 w 96"/>
              <a:gd name="T67" fmla="*/ 36 h 72"/>
              <a:gd name="T68" fmla="*/ 72 w 96"/>
              <a:gd name="T69" fmla="*/ 36 h 72"/>
              <a:gd name="T70" fmla="*/ 84 w 96"/>
              <a:gd name="T71" fmla="*/ 42 h 72"/>
              <a:gd name="T72" fmla="*/ 84 w 96"/>
              <a:gd name="T73" fmla="*/ 42 h 72"/>
              <a:gd name="T74" fmla="*/ 84 w 96"/>
              <a:gd name="T75" fmla="*/ 42 h 72"/>
              <a:gd name="T76" fmla="*/ 90 w 96"/>
              <a:gd name="T77" fmla="*/ 42 h 72"/>
              <a:gd name="T78" fmla="*/ 90 w 96"/>
              <a:gd name="T79" fmla="*/ 48 h 72"/>
              <a:gd name="T80" fmla="*/ 96 w 96"/>
              <a:gd name="T81" fmla="*/ 60 h 72"/>
              <a:gd name="T82" fmla="*/ 96 w 96"/>
              <a:gd name="T83" fmla="*/ 60 h 72"/>
              <a:gd name="T84" fmla="*/ 72 w 96"/>
              <a:gd name="T85" fmla="*/ 66 h 72"/>
              <a:gd name="T86" fmla="*/ 42 w 96"/>
              <a:gd name="T87" fmla="*/ 72 h 72"/>
              <a:gd name="T88" fmla="*/ 54 w 96"/>
              <a:gd name="T89" fmla="*/ 54 h 72"/>
              <a:gd name="T90" fmla="*/ 48 w 96"/>
              <a:gd name="T91" fmla="*/ 48 h 72"/>
              <a:gd name="T92" fmla="*/ 36 w 96"/>
              <a:gd name="T93" fmla="*/ 48 h 72"/>
              <a:gd name="T94" fmla="*/ 24 w 96"/>
              <a:gd name="T95" fmla="*/ 48 h 72"/>
              <a:gd name="T96" fmla="*/ 24 w 96"/>
              <a:gd name="T97" fmla="*/ 48 h 72"/>
              <a:gd name="T98" fmla="*/ 18 w 96"/>
              <a:gd name="T99" fmla="*/ 48 h 72"/>
              <a:gd name="T100" fmla="*/ 6 w 96"/>
              <a:gd name="T101" fmla="*/ 48 h 72"/>
              <a:gd name="T102" fmla="*/ 6 w 96"/>
              <a:gd name="T103" fmla="*/ 48 h 72"/>
              <a:gd name="T104" fmla="*/ 0 w 96"/>
              <a:gd name="T105" fmla="*/ 36 h 72"/>
              <a:gd name="T106" fmla="*/ 0 w 96"/>
              <a:gd name="T107" fmla="*/ 36 h 72"/>
              <a:gd name="T108" fmla="*/ 0 w 96"/>
              <a:gd name="T109" fmla="*/ 36 h 72"/>
              <a:gd name="T110" fmla="*/ 0 w 96"/>
              <a:gd name="T111" fmla="*/ 30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96" h="72">
                <a:moveTo>
                  <a:pt x="0" y="24"/>
                </a:move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6" y="18"/>
                </a:lnTo>
                <a:lnTo>
                  <a:pt x="0" y="18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0" y="12"/>
                </a:lnTo>
                <a:lnTo>
                  <a:pt x="0" y="12"/>
                </a:lnTo>
                <a:lnTo>
                  <a:pt x="0" y="6"/>
                </a:lnTo>
                <a:lnTo>
                  <a:pt x="6" y="6"/>
                </a:lnTo>
                <a:lnTo>
                  <a:pt x="6" y="6"/>
                </a:lnTo>
                <a:lnTo>
                  <a:pt x="6" y="0"/>
                </a:lnTo>
                <a:lnTo>
                  <a:pt x="6" y="0"/>
                </a:lnTo>
                <a:lnTo>
                  <a:pt x="6" y="6"/>
                </a:lnTo>
                <a:lnTo>
                  <a:pt x="12" y="0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0"/>
                </a:lnTo>
                <a:lnTo>
                  <a:pt x="12" y="0"/>
                </a:lnTo>
                <a:lnTo>
                  <a:pt x="18" y="0"/>
                </a:lnTo>
                <a:lnTo>
                  <a:pt x="18" y="6"/>
                </a:lnTo>
                <a:lnTo>
                  <a:pt x="18" y="6"/>
                </a:lnTo>
                <a:lnTo>
                  <a:pt x="18" y="0"/>
                </a:lnTo>
                <a:lnTo>
                  <a:pt x="18" y="6"/>
                </a:lnTo>
                <a:lnTo>
                  <a:pt x="24" y="0"/>
                </a:lnTo>
                <a:lnTo>
                  <a:pt x="24" y="0"/>
                </a:lnTo>
                <a:lnTo>
                  <a:pt x="18" y="0"/>
                </a:lnTo>
                <a:lnTo>
                  <a:pt x="18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6"/>
                </a:lnTo>
                <a:lnTo>
                  <a:pt x="30" y="0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12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8" y="30"/>
                </a:lnTo>
                <a:lnTo>
                  <a:pt x="54" y="36"/>
                </a:lnTo>
                <a:lnTo>
                  <a:pt x="60" y="36"/>
                </a:lnTo>
                <a:lnTo>
                  <a:pt x="60" y="36"/>
                </a:lnTo>
                <a:lnTo>
                  <a:pt x="66" y="30"/>
                </a:lnTo>
                <a:lnTo>
                  <a:pt x="66" y="30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72" y="36"/>
                </a:lnTo>
                <a:lnTo>
                  <a:pt x="78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90" y="42"/>
                </a:lnTo>
                <a:lnTo>
                  <a:pt x="90" y="48"/>
                </a:lnTo>
                <a:lnTo>
                  <a:pt x="90" y="48"/>
                </a:lnTo>
                <a:lnTo>
                  <a:pt x="96" y="54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84" y="60"/>
                </a:lnTo>
                <a:lnTo>
                  <a:pt x="72" y="66"/>
                </a:lnTo>
                <a:lnTo>
                  <a:pt x="66" y="66"/>
                </a:lnTo>
                <a:lnTo>
                  <a:pt x="42" y="72"/>
                </a:lnTo>
                <a:lnTo>
                  <a:pt x="54" y="54"/>
                </a:lnTo>
                <a:lnTo>
                  <a:pt x="54" y="54"/>
                </a:lnTo>
                <a:lnTo>
                  <a:pt x="48" y="48"/>
                </a:lnTo>
                <a:lnTo>
                  <a:pt x="48" y="48"/>
                </a:lnTo>
                <a:lnTo>
                  <a:pt x="48" y="42"/>
                </a:lnTo>
                <a:lnTo>
                  <a:pt x="36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18" y="48"/>
                </a:lnTo>
                <a:lnTo>
                  <a:pt x="18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0"/>
                </a:lnTo>
                <a:lnTo>
                  <a:pt x="0" y="30"/>
                </a:lnTo>
                <a:lnTo>
                  <a:pt x="0" y="2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78" name="Freeform 111"/>
          <p:cNvSpPr>
            <a:spLocks/>
          </p:cNvSpPr>
          <p:nvPr/>
        </p:nvSpPr>
        <p:spPr bwMode="auto">
          <a:xfrm>
            <a:off x="7950367" y="1732392"/>
            <a:ext cx="173449" cy="218419"/>
          </a:xfrm>
          <a:custGeom>
            <a:avLst/>
            <a:gdLst>
              <a:gd name="T0" fmla="*/ 12 w 162"/>
              <a:gd name="T1" fmla="*/ 54 h 204"/>
              <a:gd name="T2" fmla="*/ 24 w 162"/>
              <a:gd name="T3" fmla="*/ 48 h 204"/>
              <a:gd name="T4" fmla="*/ 30 w 162"/>
              <a:gd name="T5" fmla="*/ 42 h 204"/>
              <a:gd name="T6" fmla="*/ 30 w 162"/>
              <a:gd name="T7" fmla="*/ 42 h 204"/>
              <a:gd name="T8" fmla="*/ 30 w 162"/>
              <a:gd name="T9" fmla="*/ 36 h 204"/>
              <a:gd name="T10" fmla="*/ 30 w 162"/>
              <a:gd name="T11" fmla="*/ 24 h 204"/>
              <a:gd name="T12" fmla="*/ 42 w 162"/>
              <a:gd name="T13" fmla="*/ 24 h 204"/>
              <a:gd name="T14" fmla="*/ 48 w 162"/>
              <a:gd name="T15" fmla="*/ 24 h 204"/>
              <a:gd name="T16" fmla="*/ 66 w 162"/>
              <a:gd name="T17" fmla="*/ 12 h 204"/>
              <a:gd name="T18" fmla="*/ 84 w 162"/>
              <a:gd name="T19" fmla="*/ 0 h 204"/>
              <a:gd name="T20" fmla="*/ 102 w 162"/>
              <a:gd name="T21" fmla="*/ 18 h 204"/>
              <a:gd name="T22" fmla="*/ 102 w 162"/>
              <a:gd name="T23" fmla="*/ 30 h 204"/>
              <a:gd name="T24" fmla="*/ 120 w 162"/>
              <a:gd name="T25" fmla="*/ 36 h 204"/>
              <a:gd name="T26" fmla="*/ 132 w 162"/>
              <a:gd name="T27" fmla="*/ 30 h 204"/>
              <a:gd name="T28" fmla="*/ 156 w 162"/>
              <a:gd name="T29" fmla="*/ 36 h 204"/>
              <a:gd name="T30" fmla="*/ 156 w 162"/>
              <a:gd name="T31" fmla="*/ 42 h 204"/>
              <a:gd name="T32" fmla="*/ 156 w 162"/>
              <a:gd name="T33" fmla="*/ 48 h 204"/>
              <a:gd name="T34" fmla="*/ 156 w 162"/>
              <a:gd name="T35" fmla="*/ 54 h 204"/>
              <a:gd name="T36" fmla="*/ 150 w 162"/>
              <a:gd name="T37" fmla="*/ 60 h 204"/>
              <a:gd name="T38" fmla="*/ 144 w 162"/>
              <a:gd name="T39" fmla="*/ 72 h 204"/>
              <a:gd name="T40" fmla="*/ 132 w 162"/>
              <a:gd name="T41" fmla="*/ 84 h 204"/>
              <a:gd name="T42" fmla="*/ 138 w 162"/>
              <a:gd name="T43" fmla="*/ 84 h 204"/>
              <a:gd name="T44" fmla="*/ 138 w 162"/>
              <a:gd name="T45" fmla="*/ 90 h 204"/>
              <a:gd name="T46" fmla="*/ 138 w 162"/>
              <a:gd name="T47" fmla="*/ 102 h 204"/>
              <a:gd name="T48" fmla="*/ 144 w 162"/>
              <a:gd name="T49" fmla="*/ 108 h 204"/>
              <a:gd name="T50" fmla="*/ 138 w 162"/>
              <a:gd name="T51" fmla="*/ 108 h 204"/>
              <a:gd name="T52" fmla="*/ 132 w 162"/>
              <a:gd name="T53" fmla="*/ 120 h 204"/>
              <a:gd name="T54" fmla="*/ 132 w 162"/>
              <a:gd name="T55" fmla="*/ 120 h 204"/>
              <a:gd name="T56" fmla="*/ 132 w 162"/>
              <a:gd name="T57" fmla="*/ 132 h 204"/>
              <a:gd name="T58" fmla="*/ 126 w 162"/>
              <a:gd name="T59" fmla="*/ 132 h 204"/>
              <a:gd name="T60" fmla="*/ 114 w 162"/>
              <a:gd name="T61" fmla="*/ 138 h 204"/>
              <a:gd name="T62" fmla="*/ 114 w 162"/>
              <a:gd name="T63" fmla="*/ 150 h 204"/>
              <a:gd name="T64" fmla="*/ 114 w 162"/>
              <a:gd name="T65" fmla="*/ 156 h 204"/>
              <a:gd name="T66" fmla="*/ 102 w 162"/>
              <a:gd name="T67" fmla="*/ 162 h 204"/>
              <a:gd name="T68" fmla="*/ 96 w 162"/>
              <a:gd name="T69" fmla="*/ 162 h 204"/>
              <a:gd name="T70" fmla="*/ 84 w 162"/>
              <a:gd name="T71" fmla="*/ 168 h 204"/>
              <a:gd name="T72" fmla="*/ 72 w 162"/>
              <a:gd name="T73" fmla="*/ 174 h 204"/>
              <a:gd name="T74" fmla="*/ 66 w 162"/>
              <a:gd name="T75" fmla="*/ 174 h 204"/>
              <a:gd name="T76" fmla="*/ 54 w 162"/>
              <a:gd name="T77" fmla="*/ 180 h 204"/>
              <a:gd name="T78" fmla="*/ 54 w 162"/>
              <a:gd name="T79" fmla="*/ 186 h 204"/>
              <a:gd name="T80" fmla="*/ 54 w 162"/>
              <a:gd name="T81" fmla="*/ 186 h 204"/>
              <a:gd name="T82" fmla="*/ 48 w 162"/>
              <a:gd name="T83" fmla="*/ 192 h 204"/>
              <a:gd name="T84" fmla="*/ 48 w 162"/>
              <a:gd name="T85" fmla="*/ 198 h 204"/>
              <a:gd name="T86" fmla="*/ 48 w 162"/>
              <a:gd name="T87" fmla="*/ 204 h 204"/>
              <a:gd name="T88" fmla="*/ 36 w 162"/>
              <a:gd name="T89" fmla="*/ 204 h 204"/>
              <a:gd name="T90" fmla="*/ 30 w 162"/>
              <a:gd name="T91" fmla="*/ 198 h 204"/>
              <a:gd name="T92" fmla="*/ 30 w 162"/>
              <a:gd name="T93" fmla="*/ 180 h 204"/>
              <a:gd name="T94" fmla="*/ 30 w 162"/>
              <a:gd name="T95" fmla="*/ 162 h 204"/>
              <a:gd name="T96" fmla="*/ 24 w 162"/>
              <a:gd name="T97" fmla="*/ 150 h 204"/>
              <a:gd name="T98" fmla="*/ 24 w 162"/>
              <a:gd name="T99" fmla="*/ 132 h 204"/>
              <a:gd name="T100" fmla="*/ 24 w 162"/>
              <a:gd name="T101" fmla="*/ 126 h 204"/>
              <a:gd name="T102" fmla="*/ 24 w 162"/>
              <a:gd name="T103" fmla="*/ 120 h 204"/>
              <a:gd name="T104" fmla="*/ 24 w 162"/>
              <a:gd name="T105" fmla="*/ 108 h 204"/>
              <a:gd name="T106" fmla="*/ 24 w 162"/>
              <a:gd name="T107" fmla="*/ 102 h 204"/>
              <a:gd name="T108" fmla="*/ 24 w 162"/>
              <a:gd name="T109" fmla="*/ 96 h 204"/>
              <a:gd name="T110" fmla="*/ 18 w 162"/>
              <a:gd name="T111" fmla="*/ 84 h 204"/>
              <a:gd name="T112" fmla="*/ 12 w 162"/>
              <a:gd name="T113" fmla="*/ 72 h 204"/>
              <a:gd name="T114" fmla="*/ 0 w 162"/>
              <a:gd name="T115" fmla="*/ 72 h 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62" h="204">
                <a:moveTo>
                  <a:pt x="0" y="66"/>
                </a:moveTo>
                <a:lnTo>
                  <a:pt x="6" y="66"/>
                </a:lnTo>
                <a:lnTo>
                  <a:pt x="6" y="66"/>
                </a:lnTo>
                <a:lnTo>
                  <a:pt x="12" y="60"/>
                </a:lnTo>
                <a:lnTo>
                  <a:pt x="12" y="60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8" y="54"/>
                </a:lnTo>
                <a:lnTo>
                  <a:pt x="18" y="54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60" y="24"/>
                </a:lnTo>
                <a:lnTo>
                  <a:pt x="60" y="24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72" y="6"/>
                </a:lnTo>
                <a:lnTo>
                  <a:pt x="66" y="6"/>
                </a:lnTo>
                <a:lnTo>
                  <a:pt x="66" y="6"/>
                </a:lnTo>
                <a:lnTo>
                  <a:pt x="78" y="0"/>
                </a:lnTo>
                <a:lnTo>
                  <a:pt x="78" y="0"/>
                </a:lnTo>
                <a:lnTo>
                  <a:pt x="84" y="0"/>
                </a:lnTo>
                <a:lnTo>
                  <a:pt x="96" y="6"/>
                </a:lnTo>
                <a:lnTo>
                  <a:pt x="96" y="6"/>
                </a:lnTo>
                <a:lnTo>
                  <a:pt x="102" y="12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2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20" y="36"/>
                </a:lnTo>
                <a:lnTo>
                  <a:pt x="120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32" y="30"/>
                </a:lnTo>
                <a:lnTo>
                  <a:pt x="138" y="24"/>
                </a:lnTo>
                <a:lnTo>
                  <a:pt x="156" y="30"/>
                </a:lnTo>
                <a:lnTo>
                  <a:pt x="156" y="36"/>
                </a:lnTo>
                <a:lnTo>
                  <a:pt x="156" y="30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0" y="36"/>
                </a:lnTo>
                <a:lnTo>
                  <a:pt x="150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42"/>
                </a:lnTo>
                <a:lnTo>
                  <a:pt x="156" y="42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0" y="54"/>
                </a:lnTo>
                <a:lnTo>
                  <a:pt x="150" y="54"/>
                </a:lnTo>
                <a:lnTo>
                  <a:pt x="150" y="54"/>
                </a:lnTo>
                <a:lnTo>
                  <a:pt x="150" y="54"/>
                </a:lnTo>
                <a:lnTo>
                  <a:pt x="150" y="54"/>
                </a:lnTo>
                <a:lnTo>
                  <a:pt x="150" y="60"/>
                </a:lnTo>
                <a:lnTo>
                  <a:pt x="150" y="66"/>
                </a:lnTo>
                <a:lnTo>
                  <a:pt x="150" y="66"/>
                </a:lnTo>
                <a:lnTo>
                  <a:pt x="150" y="66"/>
                </a:lnTo>
                <a:lnTo>
                  <a:pt x="150" y="66"/>
                </a:lnTo>
                <a:lnTo>
                  <a:pt x="150" y="72"/>
                </a:lnTo>
                <a:lnTo>
                  <a:pt x="144" y="72"/>
                </a:lnTo>
                <a:lnTo>
                  <a:pt x="144" y="72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32" y="84"/>
                </a:lnTo>
                <a:lnTo>
                  <a:pt x="132" y="84"/>
                </a:lnTo>
                <a:lnTo>
                  <a:pt x="132" y="84"/>
                </a:lnTo>
                <a:lnTo>
                  <a:pt x="132" y="84"/>
                </a:lnTo>
                <a:lnTo>
                  <a:pt x="132" y="84"/>
                </a:lnTo>
                <a:lnTo>
                  <a:pt x="132" y="84"/>
                </a:lnTo>
                <a:lnTo>
                  <a:pt x="138" y="84"/>
                </a:lnTo>
                <a:lnTo>
                  <a:pt x="138" y="84"/>
                </a:lnTo>
                <a:lnTo>
                  <a:pt x="138" y="84"/>
                </a:lnTo>
                <a:lnTo>
                  <a:pt x="138" y="84"/>
                </a:lnTo>
                <a:lnTo>
                  <a:pt x="138" y="84"/>
                </a:lnTo>
                <a:lnTo>
                  <a:pt x="144" y="90"/>
                </a:lnTo>
                <a:lnTo>
                  <a:pt x="144" y="90"/>
                </a:lnTo>
                <a:lnTo>
                  <a:pt x="144" y="90"/>
                </a:lnTo>
                <a:lnTo>
                  <a:pt x="138" y="90"/>
                </a:lnTo>
                <a:lnTo>
                  <a:pt x="138" y="90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38" y="108"/>
                </a:lnTo>
                <a:lnTo>
                  <a:pt x="138" y="108"/>
                </a:lnTo>
                <a:lnTo>
                  <a:pt x="138" y="108"/>
                </a:lnTo>
                <a:lnTo>
                  <a:pt x="138" y="108"/>
                </a:lnTo>
                <a:lnTo>
                  <a:pt x="138" y="108"/>
                </a:lnTo>
                <a:lnTo>
                  <a:pt x="138" y="114"/>
                </a:lnTo>
                <a:lnTo>
                  <a:pt x="138" y="114"/>
                </a:lnTo>
                <a:lnTo>
                  <a:pt x="138" y="114"/>
                </a:lnTo>
                <a:lnTo>
                  <a:pt x="138" y="120"/>
                </a:lnTo>
                <a:lnTo>
                  <a:pt x="132" y="120"/>
                </a:lnTo>
                <a:lnTo>
                  <a:pt x="132" y="120"/>
                </a:lnTo>
                <a:lnTo>
                  <a:pt x="132" y="120"/>
                </a:lnTo>
                <a:lnTo>
                  <a:pt x="132" y="120"/>
                </a:lnTo>
                <a:lnTo>
                  <a:pt x="132" y="120"/>
                </a:lnTo>
                <a:lnTo>
                  <a:pt x="132" y="120"/>
                </a:lnTo>
                <a:lnTo>
                  <a:pt x="132" y="120"/>
                </a:lnTo>
                <a:lnTo>
                  <a:pt x="132" y="120"/>
                </a:lnTo>
                <a:lnTo>
                  <a:pt x="132" y="120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32"/>
                </a:lnTo>
                <a:lnTo>
                  <a:pt x="132" y="132"/>
                </a:lnTo>
                <a:lnTo>
                  <a:pt x="132" y="132"/>
                </a:lnTo>
                <a:lnTo>
                  <a:pt x="132" y="132"/>
                </a:lnTo>
                <a:lnTo>
                  <a:pt x="132" y="132"/>
                </a:lnTo>
                <a:lnTo>
                  <a:pt x="132" y="132"/>
                </a:lnTo>
                <a:lnTo>
                  <a:pt x="126" y="132"/>
                </a:lnTo>
                <a:lnTo>
                  <a:pt x="126" y="132"/>
                </a:lnTo>
                <a:lnTo>
                  <a:pt x="126" y="132"/>
                </a:lnTo>
                <a:lnTo>
                  <a:pt x="126" y="132"/>
                </a:lnTo>
                <a:lnTo>
                  <a:pt x="120" y="138"/>
                </a:lnTo>
                <a:lnTo>
                  <a:pt x="120" y="138"/>
                </a:lnTo>
                <a:lnTo>
                  <a:pt x="120" y="138"/>
                </a:lnTo>
                <a:lnTo>
                  <a:pt x="120" y="138"/>
                </a:lnTo>
                <a:lnTo>
                  <a:pt x="120" y="138"/>
                </a:lnTo>
                <a:lnTo>
                  <a:pt x="114" y="138"/>
                </a:lnTo>
                <a:lnTo>
                  <a:pt x="114" y="138"/>
                </a:lnTo>
                <a:lnTo>
                  <a:pt x="114" y="144"/>
                </a:lnTo>
                <a:lnTo>
                  <a:pt x="114" y="144"/>
                </a:lnTo>
                <a:lnTo>
                  <a:pt x="114" y="144"/>
                </a:lnTo>
                <a:lnTo>
                  <a:pt x="114" y="144"/>
                </a:lnTo>
                <a:lnTo>
                  <a:pt x="114" y="144"/>
                </a:lnTo>
                <a:lnTo>
                  <a:pt x="114" y="150"/>
                </a:lnTo>
                <a:lnTo>
                  <a:pt x="114" y="150"/>
                </a:lnTo>
                <a:lnTo>
                  <a:pt x="114" y="150"/>
                </a:lnTo>
                <a:lnTo>
                  <a:pt x="120" y="150"/>
                </a:lnTo>
                <a:lnTo>
                  <a:pt x="114" y="156"/>
                </a:lnTo>
                <a:lnTo>
                  <a:pt x="114" y="156"/>
                </a:lnTo>
                <a:lnTo>
                  <a:pt x="114" y="156"/>
                </a:lnTo>
                <a:lnTo>
                  <a:pt x="114" y="156"/>
                </a:lnTo>
                <a:lnTo>
                  <a:pt x="114" y="156"/>
                </a:lnTo>
                <a:lnTo>
                  <a:pt x="114" y="156"/>
                </a:lnTo>
                <a:lnTo>
                  <a:pt x="108" y="162"/>
                </a:lnTo>
                <a:lnTo>
                  <a:pt x="108" y="162"/>
                </a:lnTo>
                <a:lnTo>
                  <a:pt x="108" y="162"/>
                </a:lnTo>
                <a:lnTo>
                  <a:pt x="102" y="162"/>
                </a:lnTo>
                <a:lnTo>
                  <a:pt x="102" y="162"/>
                </a:lnTo>
                <a:lnTo>
                  <a:pt x="102" y="162"/>
                </a:lnTo>
                <a:lnTo>
                  <a:pt x="102" y="162"/>
                </a:lnTo>
                <a:lnTo>
                  <a:pt x="96" y="162"/>
                </a:lnTo>
                <a:lnTo>
                  <a:pt x="96" y="162"/>
                </a:lnTo>
                <a:lnTo>
                  <a:pt x="96" y="162"/>
                </a:lnTo>
                <a:lnTo>
                  <a:pt x="96" y="162"/>
                </a:lnTo>
                <a:lnTo>
                  <a:pt x="96" y="162"/>
                </a:lnTo>
                <a:lnTo>
                  <a:pt x="96" y="162"/>
                </a:lnTo>
                <a:lnTo>
                  <a:pt x="90" y="168"/>
                </a:lnTo>
                <a:lnTo>
                  <a:pt x="90" y="168"/>
                </a:lnTo>
                <a:lnTo>
                  <a:pt x="84" y="168"/>
                </a:lnTo>
                <a:lnTo>
                  <a:pt x="84" y="168"/>
                </a:lnTo>
                <a:lnTo>
                  <a:pt x="84" y="174"/>
                </a:lnTo>
                <a:lnTo>
                  <a:pt x="84" y="174"/>
                </a:lnTo>
                <a:lnTo>
                  <a:pt x="84" y="168"/>
                </a:lnTo>
                <a:lnTo>
                  <a:pt x="78" y="168"/>
                </a:lnTo>
                <a:lnTo>
                  <a:pt x="78" y="168"/>
                </a:lnTo>
                <a:lnTo>
                  <a:pt x="78" y="168"/>
                </a:lnTo>
                <a:lnTo>
                  <a:pt x="78" y="168"/>
                </a:lnTo>
                <a:lnTo>
                  <a:pt x="78" y="168"/>
                </a:lnTo>
                <a:lnTo>
                  <a:pt x="78" y="168"/>
                </a:lnTo>
                <a:lnTo>
                  <a:pt x="72" y="174"/>
                </a:lnTo>
                <a:lnTo>
                  <a:pt x="72" y="174"/>
                </a:lnTo>
                <a:lnTo>
                  <a:pt x="72" y="174"/>
                </a:lnTo>
                <a:lnTo>
                  <a:pt x="72" y="174"/>
                </a:lnTo>
                <a:lnTo>
                  <a:pt x="72" y="174"/>
                </a:lnTo>
                <a:lnTo>
                  <a:pt x="66" y="174"/>
                </a:lnTo>
                <a:lnTo>
                  <a:pt x="66" y="174"/>
                </a:lnTo>
                <a:lnTo>
                  <a:pt x="66" y="174"/>
                </a:lnTo>
                <a:lnTo>
                  <a:pt x="66" y="174"/>
                </a:lnTo>
                <a:lnTo>
                  <a:pt x="60" y="174"/>
                </a:lnTo>
                <a:lnTo>
                  <a:pt x="60" y="174"/>
                </a:lnTo>
                <a:lnTo>
                  <a:pt x="60" y="174"/>
                </a:lnTo>
                <a:lnTo>
                  <a:pt x="60" y="174"/>
                </a:lnTo>
                <a:lnTo>
                  <a:pt x="60" y="174"/>
                </a:lnTo>
                <a:lnTo>
                  <a:pt x="54" y="180"/>
                </a:lnTo>
                <a:lnTo>
                  <a:pt x="60" y="180"/>
                </a:lnTo>
                <a:lnTo>
                  <a:pt x="60" y="180"/>
                </a:lnTo>
                <a:lnTo>
                  <a:pt x="60" y="180"/>
                </a:lnTo>
                <a:lnTo>
                  <a:pt x="60" y="180"/>
                </a:lnTo>
                <a:lnTo>
                  <a:pt x="54" y="180"/>
                </a:lnTo>
                <a:lnTo>
                  <a:pt x="54" y="180"/>
                </a:lnTo>
                <a:lnTo>
                  <a:pt x="54" y="186"/>
                </a:lnTo>
                <a:lnTo>
                  <a:pt x="54" y="186"/>
                </a:lnTo>
                <a:lnTo>
                  <a:pt x="54" y="186"/>
                </a:lnTo>
                <a:lnTo>
                  <a:pt x="54" y="186"/>
                </a:lnTo>
                <a:lnTo>
                  <a:pt x="54" y="186"/>
                </a:lnTo>
                <a:lnTo>
                  <a:pt x="54" y="186"/>
                </a:lnTo>
                <a:lnTo>
                  <a:pt x="54" y="186"/>
                </a:lnTo>
                <a:lnTo>
                  <a:pt x="54" y="186"/>
                </a:lnTo>
                <a:lnTo>
                  <a:pt x="54" y="186"/>
                </a:lnTo>
                <a:lnTo>
                  <a:pt x="48" y="192"/>
                </a:lnTo>
                <a:lnTo>
                  <a:pt x="48" y="192"/>
                </a:lnTo>
                <a:lnTo>
                  <a:pt x="48" y="192"/>
                </a:lnTo>
                <a:lnTo>
                  <a:pt x="48" y="192"/>
                </a:lnTo>
                <a:lnTo>
                  <a:pt x="48" y="192"/>
                </a:lnTo>
                <a:lnTo>
                  <a:pt x="48" y="192"/>
                </a:lnTo>
                <a:lnTo>
                  <a:pt x="48" y="198"/>
                </a:lnTo>
                <a:lnTo>
                  <a:pt x="48" y="198"/>
                </a:lnTo>
                <a:lnTo>
                  <a:pt x="54" y="198"/>
                </a:lnTo>
                <a:lnTo>
                  <a:pt x="54" y="198"/>
                </a:lnTo>
                <a:lnTo>
                  <a:pt x="54" y="198"/>
                </a:lnTo>
                <a:lnTo>
                  <a:pt x="48" y="198"/>
                </a:lnTo>
                <a:lnTo>
                  <a:pt x="48" y="198"/>
                </a:lnTo>
                <a:lnTo>
                  <a:pt x="48" y="204"/>
                </a:lnTo>
                <a:lnTo>
                  <a:pt x="48" y="204"/>
                </a:lnTo>
                <a:lnTo>
                  <a:pt x="48" y="204"/>
                </a:lnTo>
                <a:lnTo>
                  <a:pt x="48" y="204"/>
                </a:lnTo>
                <a:lnTo>
                  <a:pt x="48" y="204"/>
                </a:lnTo>
                <a:lnTo>
                  <a:pt x="48" y="204"/>
                </a:lnTo>
                <a:lnTo>
                  <a:pt x="48" y="204"/>
                </a:lnTo>
                <a:lnTo>
                  <a:pt x="42" y="204"/>
                </a:lnTo>
                <a:lnTo>
                  <a:pt x="42" y="204"/>
                </a:lnTo>
                <a:lnTo>
                  <a:pt x="42" y="204"/>
                </a:lnTo>
                <a:lnTo>
                  <a:pt x="42" y="204"/>
                </a:lnTo>
                <a:lnTo>
                  <a:pt x="42" y="204"/>
                </a:lnTo>
                <a:lnTo>
                  <a:pt x="36" y="204"/>
                </a:lnTo>
                <a:lnTo>
                  <a:pt x="36" y="204"/>
                </a:lnTo>
                <a:lnTo>
                  <a:pt x="30" y="198"/>
                </a:lnTo>
                <a:lnTo>
                  <a:pt x="30" y="198"/>
                </a:lnTo>
                <a:lnTo>
                  <a:pt x="30" y="198"/>
                </a:lnTo>
                <a:lnTo>
                  <a:pt x="30" y="198"/>
                </a:lnTo>
                <a:lnTo>
                  <a:pt x="30" y="198"/>
                </a:lnTo>
                <a:lnTo>
                  <a:pt x="30" y="198"/>
                </a:lnTo>
                <a:lnTo>
                  <a:pt x="30" y="198"/>
                </a:lnTo>
                <a:lnTo>
                  <a:pt x="30" y="192"/>
                </a:lnTo>
                <a:lnTo>
                  <a:pt x="30" y="192"/>
                </a:lnTo>
                <a:lnTo>
                  <a:pt x="30" y="192"/>
                </a:lnTo>
                <a:lnTo>
                  <a:pt x="30" y="192"/>
                </a:lnTo>
                <a:lnTo>
                  <a:pt x="30" y="192"/>
                </a:lnTo>
                <a:lnTo>
                  <a:pt x="30" y="192"/>
                </a:lnTo>
                <a:lnTo>
                  <a:pt x="30" y="180"/>
                </a:lnTo>
                <a:lnTo>
                  <a:pt x="30" y="180"/>
                </a:lnTo>
                <a:lnTo>
                  <a:pt x="30" y="180"/>
                </a:lnTo>
                <a:lnTo>
                  <a:pt x="30" y="180"/>
                </a:lnTo>
                <a:lnTo>
                  <a:pt x="30" y="174"/>
                </a:lnTo>
                <a:lnTo>
                  <a:pt x="30" y="168"/>
                </a:lnTo>
                <a:lnTo>
                  <a:pt x="30" y="168"/>
                </a:lnTo>
                <a:lnTo>
                  <a:pt x="30" y="162"/>
                </a:lnTo>
                <a:lnTo>
                  <a:pt x="24" y="162"/>
                </a:lnTo>
                <a:lnTo>
                  <a:pt x="24" y="156"/>
                </a:lnTo>
                <a:lnTo>
                  <a:pt x="24" y="156"/>
                </a:lnTo>
                <a:lnTo>
                  <a:pt x="24" y="156"/>
                </a:lnTo>
                <a:lnTo>
                  <a:pt x="24" y="150"/>
                </a:lnTo>
                <a:lnTo>
                  <a:pt x="24" y="150"/>
                </a:lnTo>
                <a:lnTo>
                  <a:pt x="24" y="150"/>
                </a:lnTo>
                <a:lnTo>
                  <a:pt x="24" y="150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24" y="138"/>
                </a:lnTo>
                <a:lnTo>
                  <a:pt x="24" y="138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0"/>
                </a:lnTo>
                <a:lnTo>
                  <a:pt x="24" y="90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2"/>
                </a:lnTo>
                <a:lnTo>
                  <a:pt x="12" y="72"/>
                </a:ln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0" y="72"/>
                </a:lnTo>
                <a:lnTo>
                  <a:pt x="0" y="72"/>
                </a:lnTo>
                <a:lnTo>
                  <a:pt x="0" y="66"/>
                </a:lnTo>
                <a:lnTo>
                  <a:pt x="0" y="6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79" name="Freeform 112"/>
          <p:cNvSpPr>
            <a:spLocks/>
          </p:cNvSpPr>
          <p:nvPr/>
        </p:nvSpPr>
        <p:spPr bwMode="auto">
          <a:xfrm>
            <a:off x="8027455" y="2047173"/>
            <a:ext cx="134905" cy="89937"/>
          </a:xfrm>
          <a:custGeom>
            <a:avLst/>
            <a:gdLst>
              <a:gd name="T0" fmla="*/ 6 w 126"/>
              <a:gd name="T1" fmla="*/ 72 h 84"/>
              <a:gd name="T2" fmla="*/ 6 w 126"/>
              <a:gd name="T3" fmla="*/ 54 h 84"/>
              <a:gd name="T4" fmla="*/ 12 w 126"/>
              <a:gd name="T5" fmla="*/ 42 h 84"/>
              <a:gd name="T6" fmla="*/ 18 w 126"/>
              <a:gd name="T7" fmla="*/ 36 h 84"/>
              <a:gd name="T8" fmla="*/ 18 w 126"/>
              <a:gd name="T9" fmla="*/ 30 h 84"/>
              <a:gd name="T10" fmla="*/ 18 w 126"/>
              <a:gd name="T11" fmla="*/ 30 h 84"/>
              <a:gd name="T12" fmla="*/ 18 w 126"/>
              <a:gd name="T13" fmla="*/ 30 h 84"/>
              <a:gd name="T14" fmla="*/ 18 w 126"/>
              <a:gd name="T15" fmla="*/ 18 h 84"/>
              <a:gd name="T16" fmla="*/ 18 w 126"/>
              <a:gd name="T17" fmla="*/ 12 h 84"/>
              <a:gd name="T18" fmla="*/ 24 w 126"/>
              <a:gd name="T19" fmla="*/ 6 h 84"/>
              <a:gd name="T20" fmla="*/ 30 w 126"/>
              <a:gd name="T21" fmla="*/ 6 h 84"/>
              <a:gd name="T22" fmla="*/ 30 w 126"/>
              <a:gd name="T23" fmla="*/ 6 h 84"/>
              <a:gd name="T24" fmla="*/ 36 w 126"/>
              <a:gd name="T25" fmla="*/ 6 h 84"/>
              <a:gd name="T26" fmla="*/ 42 w 126"/>
              <a:gd name="T27" fmla="*/ 0 h 84"/>
              <a:gd name="T28" fmla="*/ 48 w 126"/>
              <a:gd name="T29" fmla="*/ 0 h 84"/>
              <a:gd name="T30" fmla="*/ 54 w 126"/>
              <a:gd name="T31" fmla="*/ 0 h 84"/>
              <a:gd name="T32" fmla="*/ 54 w 126"/>
              <a:gd name="T33" fmla="*/ 6 h 84"/>
              <a:gd name="T34" fmla="*/ 66 w 126"/>
              <a:gd name="T35" fmla="*/ 12 h 84"/>
              <a:gd name="T36" fmla="*/ 66 w 126"/>
              <a:gd name="T37" fmla="*/ 6 h 84"/>
              <a:gd name="T38" fmla="*/ 78 w 126"/>
              <a:gd name="T39" fmla="*/ 6 h 84"/>
              <a:gd name="T40" fmla="*/ 84 w 126"/>
              <a:gd name="T41" fmla="*/ 0 h 84"/>
              <a:gd name="T42" fmla="*/ 90 w 126"/>
              <a:gd name="T43" fmla="*/ 6 h 84"/>
              <a:gd name="T44" fmla="*/ 102 w 126"/>
              <a:gd name="T45" fmla="*/ 6 h 84"/>
              <a:gd name="T46" fmla="*/ 108 w 126"/>
              <a:gd name="T47" fmla="*/ 0 h 84"/>
              <a:gd name="T48" fmla="*/ 114 w 126"/>
              <a:gd name="T49" fmla="*/ 6 h 84"/>
              <a:gd name="T50" fmla="*/ 120 w 126"/>
              <a:gd name="T51" fmla="*/ 6 h 84"/>
              <a:gd name="T52" fmla="*/ 114 w 126"/>
              <a:gd name="T53" fmla="*/ 12 h 84"/>
              <a:gd name="T54" fmla="*/ 120 w 126"/>
              <a:gd name="T55" fmla="*/ 18 h 84"/>
              <a:gd name="T56" fmla="*/ 120 w 126"/>
              <a:gd name="T57" fmla="*/ 18 h 84"/>
              <a:gd name="T58" fmla="*/ 126 w 126"/>
              <a:gd name="T59" fmla="*/ 18 h 84"/>
              <a:gd name="T60" fmla="*/ 120 w 126"/>
              <a:gd name="T61" fmla="*/ 18 h 84"/>
              <a:gd name="T62" fmla="*/ 120 w 126"/>
              <a:gd name="T63" fmla="*/ 24 h 84"/>
              <a:gd name="T64" fmla="*/ 114 w 126"/>
              <a:gd name="T65" fmla="*/ 24 h 84"/>
              <a:gd name="T66" fmla="*/ 114 w 126"/>
              <a:gd name="T67" fmla="*/ 24 h 84"/>
              <a:gd name="T68" fmla="*/ 102 w 126"/>
              <a:gd name="T69" fmla="*/ 30 h 84"/>
              <a:gd name="T70" fmla="*/ 102 w 126"/>
              <a:gd name="T71" fmla="*/ 30 h 84"/>
              <a:gd name="T72" fmla="*/ 102 w 126"/>
              <a:gd name="T73" fmla="*/ 36 h 84"/>
              <a:gd name="T74" fmla="*/ 102 w 126"/>
              <a:gd name="T75" fmla="*/ 36 h 84"/>
              <a:gd name="T76" fmla="*/ 102 w 126"/>
              <a:gd name="T77" fmla="*/ 36 h 84"/>
              <a:gd name="T78" fmla="*/ 90 w 126"/>
              <a:gd name="T79" fmla="*/ 36 h 84"/>
              <a:gd name="T80" fmla="*/ 90 w 126"/>
              <a:gd name="T81" fmla="*/ 36 h 84"/>
              <a:gd name="T82" fmla="*/ 90 w 126"/>
              <a:gd name="T83" fmla="*/ 42 h 84"/>
              <a:gd name="T84" fmla="*/ 90 w 126"/>
              <a:gd name="T85" fmla="*/ 48 h 84"/>
              <a:gd name="T86" fmla="*/ 90 w 126"/>
              <a:gd name="T87" fmla="*/ 72 h 84"/>
              <a:gd name="T88" fmla="*/ 78 w 126"/>
              <a:gd name="T89" fmla="*/ 78 h 84"/>
              <a:gd name="T90" fmla="*/ 66 w 126"/>
              <a:gd name="T91" fmla="*/ 84 h 84"/>
              <a:gd name="T92" fmla="*/ 36 w 126"/>
              <a:gd name="T93" fmla="*/ 78 h 84"/>
              <a:gd name="T94" fmla="*/ 18 w 126"/>
              <a:gd name="T95" fmla="*/ 78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26" h="84">
                <a:moveTo>
                  <a:pt x="0" y="78"/>
                </a:moveTo>
                <a:lnTo>
                  <a:pt x="6" y="72"/>
                </a:lnTo>
                <a:lnTo>
                  <a:pt x="0" y="72"/>
                </a:lnTo>
                <a:lnTo>
                  <a:pt x="6" y="72"/>
                </a:lnTo>
                <a:lnTo>
                  <a:pt x="6" y="66"/>
                </a:lnTo>
                <a:lnTo>
                  <a:pt x="6" y="66"/>
                </a:lnTo>
                <a:lnTo>
                  <a:pt x="6" y="60"/>
                </a:lnTo>
                <a:lnTo>
                  <a:pt x="6" y="54"/>
                </a:lnTo>
                <a:lnTo>
                  <a:pt x="12" y="54"/>
                </a:lnTo>
                <a:lnTo>
                  <a:pt x="6" y="54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24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0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0"/>
                </a:lnTo>
                <a:lnTo>
                  <a:pt x="36" y="0"/>
                </a:lnTo>
                <a:lnTo>
                  <a:pt x="36" y="0"/>
                </a:lnTo>
                <a:lnTo>
                  <a:pt x="36" y="6"/>
                </a:lnTo>
                <a:lnTo>
                  <a:pt x="36" y="6"/>
                </a:lnTo>
                <a:lnTo>
                  <a:pt x="36" y="0"/>
                </a:lnTo>
                <a:lnTo>
                  <a:pt x="36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8" y="0"/>
                </a:lnTo>
                <a:lnTo>
                  <a:pt x="48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60" y="12"/>
                </a:lnTo>
                <a:lnTo>
                  <a:pt x="66" y="12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90" y="0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102" y="6"/>
                </a:lnTo>
                <a:lnTo>
                  <a:pt x="108" y="6"/>
                </a:lnTo>
                <a:lnTo>
                  <a:pt x="108" y="6"/>
                </a:lnTo>
                <a:lnTo>
                  <a:pt x="108" y="0"/>
                </a:lnTo>
                <a:lnTo>
                  <a:pt x="108" y="0"/>
                </a:lnTo>
                <a:lnTo>
                  <a:pt x="114" y="0"/>
                </a:lnTo>
                <a:lnTo>
                  <a:pt x="114" y="0"/>
                </a:lnTo>
                <a:lnTo>
                  <a:pt x="114" y="0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12"/>
                </a:lnTo>
                <a:lnTo>
                  <a:pt x="114" y="12"/>
                </a:lnTo>
                <a:lnTo>
                  <a:pt x="114" y="12"/>
                </a:lnTo>
                <a:lnTo>
                  <a:pt x="120" y="12"/>
                </a:lnTo>
                <a:lnTo>
                  <a:pt x="114" y="12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8" y="30"/>
                </a:lnTo>
                <a:lnTo>
                  <a:pt x="108" y="30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96" y="36"/>
                </a:lnTo>
                <a:lnTo>
                  <a:pt x="96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42"/>
                </a:lnTo>
                <a:lnTo>
                  <a:pt x="90" y="42"/>
                </a:lnTo>
                <a:lnTo>
                  <a:pt x="84" y="42"/>
                </a:lnTo>
                <a:lnTo>
                  <a:pt x="84" y="42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54"/>
                </a:lnTo>
                <a:lnTo>
                  <a:pt x="90" y="54"/>
                </a:lnTo>
                <a:lnTo>
                  <a:pt x="90" y="72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78" y="78"/>
                </a:lnTo>
                <a:lnTo>
                  <a:pt x="78" y="78"/>
                </a:lnTo>
                <a:lnTo>
                  <a:pt x="72" y="78"/>
                </a:lnTo>
                <a:lnTo>
                  <a:pt x="72" y="84"/>
                </a:lnTo>
                <a:lnTo>
                  <a:pt x="66" y="84"/>
                </a:lnTo>
                <a:lnTo>
                  <a:pt x="54" y="84"/>
                </a:lnTo>
                <a:lnTo>
                  <a:pt x="42" y="84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0" y="78"/>
                </a:lnTo>
                <a:lnTo>
                  <a:pt x="24" y="78"/>
                </a:lnTo>
                <a:lnTo>
                  <a:pt x="18" y="78"/>
                </a:lnTo>
                <a:lnTo>
                  <a:pt x="6" y="78"/>
                </a:lnTo>
                <a:lnTo>
                  <a:pt x="0" y="7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80" name="Freeform 113"/>
          <p:cNvSpPr>
            <a:spLocks/>
          </p:cNvSpPr>
          <p:nvPr/>
        </p:nvSpPr>
        <p:spPr bwMode="auto">
          <a:xfrm>
            <a:off x="8220177" y="2060021"/>
            <a:ext cx="89937" cy="102786"/>
          </a:xfrm>
          <a:custGeom>
            <a:avLst/>
            <a:gdLst>
              <a:gd name="T0" fmla="*/ 6 w 84"/>
              <a:gd name="T1" fmla="*/ 12 h 96"/>
              <a:gd name="T2" fmla="*/ 12 w 84"/>
              <a:gd name="T3" fmla="*/ 12 h 96"/>
              <a:gd name="T4" fmla="*/ 12 w 84"/>
              <a:gd name="T5" fmla="*/ 6 h 96"/>
              <a:gd name="T6" fmla="*/ 12 w 84"/>
              <a:gd name="T7" fmla="*/ 6 h 96"/>
              <a:gd name="T8" fmla="*/ 18 w 84"/>
              <a:gd name="T9" fmla="*/ 6 h 96"/>
              <a:gd name="T10" fmla="*/ 18 w 84"/>
              <a:gd name="T11" fmla="*/ 6 h 96"/>
              <a:gd name="T12" fmla="*/ 24 w 84"/>
              <a:gd name="T13" fmla="*/ 0 h 96"/>
              <a:gd name="T14" fmla="*/ 30 w 84"/>
              <a:gd name="T15" fmla="*/ 0 h 96"/>
              <a:gd name="T16" fmla="*/ 36 w 84"/>
              <a:gd name="T17" fmla="*/ 0 h 96"/>
              <a:gd name="T18" fmla="*/ 48 w 84"/>
              <a:gd name="T19" fmla="*/ 0 h 96"/>
              <a:gd name="T20" fmla="*/ 54 w 84"/>
              <a:gd name="T21" fmla="*/ 0 h 96"/>
              <a:gd name="T22" fmla="*/ 54 w 84"/>
              <a:gd name="T23" fmla="*/ 6 h 96"/>
              <a:gd name="T24" fmla="*/ 54 w 84"/>
              <a:gd name="T25" fmla="*/ 6 h 96"/>
              <a:gd name="T26" fmla="*/ 54 w 84"/>
              <a:gd name="T27" fmla="*/ 12 h 96"/>
              <a:gd name="T28" fmla="*/ 60 w 84"/>
              <a:gd name="T29" fmla="*/ 12 h 96"/>
              <a:gd name="T30" fmla="*/ 54 w 84"/>
              <a:gd name="T31" fmla="*/ 18 h 96"/>
              <a:gd name="T32" fmla="*/ 60 w 84"/>
              <a:gd name="T33" fmla="*/ 18 h 96"/>
              <a:gd name="T34" fmla="*/ 66 w 84"/>
              <a:gd name="T35" fmla="*/ 24 h 96"/>
              <a:gd name="T36" fmla="*/ 66 w 84"/>
              <a:gd name="T37" fmla="*/ 30 h 96"/>
              <a:gd name="T38" fmla="*/ 66 w 84"/>
              <a:gd name="T39" fmla="*/ 30 h 96"/>
              <a:gd name="T40" fmla="*/ 66 w 84"/>
              <a:gd name="T41" fmla="*/ 36 h 96"/>
              <a:gd name="T42" fmla="*/ 66 w 84"/>
              <a:gd name="T43" fmla="*/ 42 h 96"/>
              <a:gd name="T44" fmla="*/ 72 w 84"/>
              <a:gd name="T45" fmla="*/ 42 h 96"/>
              <a:gd name="T46" fmla="*/ 72 w 84"/>
              <a:gd name="T47" fmla="*/ 42 h 96"/>
              <a:gd name="T48" fmla="*/ 78 w 84"/>
              <a:gd name="T49" fmla="*/ 48 h 96"/>
              <a:gd name="T50" fmla="*/ 84 w 84"/>
              <a:gd name="T51" fmla="*/ 48 h 96"/>
              <a:gd name="T52" fmla="*/ 84 w 84"/>
              <a:gd name="T53" fmla="*/ 54 h 96"/>
              <a:gd name="T54" fmla="*/ 84 w 84"/>
              <a:gd name="T55" fmla="*/ 60 h 96"/>
              <a:gd name="T56" fmla="*/ 84 w 84"/>
              <a:gd name="T57" fmla="*/ 60 h 96"/>
              <a:gd name="T58" fmla="*/ 78 w 84"/>
              <a:gd name="T59" fmla="*/ 66 h 96"/>
              <a:gd name="T60" fmla="*/ 78 w 84"/>
              <a:gd name="T61" fmla="*/ 72 h 96"/>
              <a:gd name="T62" fmla="*/ 78 w 84"/>
              <a:gd name="T63" fmla="*/ 72 h 96"/>
              <a:gd name="T64" fmla="*/ 72 w 84"/>
              <a:gd name="T65" fmla="*/ 78 h 96"/>
              <a:gd name="T66" fmla="*/ 72 w 84"/>
              <a:gd name="T67" fmla="*/ 78 h 96"/>
              <a:gd name="T68" fmla="*/ 66 w 84"/>
              <a:gd name="T69" fmla="*/ 84 h 96"/>
              <a:gd name="T70" fmla="*/ 66 w 84"/>
              <a:gd name="T71" fmla="*/ 90 h 96"/>
              <a:gd name="T72" fmla="*/ 66 w 84"/>
              <a:gd name="T73" fmla="*/ 90 h 96"/>
              <a:gd name="T74" fmla="*/ 60 w 84"/>
              <a:gd name="T75" fmla="*/ 96 h 96"/>
              <a:gd name="T76" fmla="*/ 54 w 84"/>
              <a:gd name="T77" fmla="*/ 96 h 96"/>
              <a:gd name="T78" fmla="*/ 42 w 84"/>
              <a:gd name="T79" fmla="*/ 78 h 96"/>
              <a:gd name="T80" fmla="*/ 48 w 84"/>
              <a:gd name="T81" fmla="*/ 48 h 96"/>
              <a:gd name="T82" fmla="*/ 42 w 84"/>
              <a:gd name="T83" fmla="*/ 48 h 96"/>
              <a:gd name="T84" fmla="*/ 42 w 84"/>
              <a:gd name="T85" fmla="*/ 48 h 96"/>
              <a:gd name="T86" fmla="*/ 36 w 84"/>
              <a:gd name="T87" fmla="*/ 48 h 96"/>
              <a:gd name="T88" fmla="*/ 36 w 84"/>
              <a:gd name="T89" fmla="*/ 48 h 96"/>
              <a:gd name="T90" fmla="*/ 36 w 84"/>
              <a:gd name="T91" fmla="*/ 30 h 96"/>
              <a:gd name="T92" fmla="*/ 18 w 84"/>
              <a:gd name="T93" fmla="*/ 36 h 96"/>
              <a:gd name="T94" fmla="*/ 18 w 84"/>
              <a:gd name="T95" fmla="*/ 36 h 96"/>
              <a:gd name="T96" fmla="*/ 12 w 84"/>
              <a:gd name="T97" fmla="*/ 36 h 96"/>
              <a:gd name="T98" fmla="*/ 12 w 84"/>
              <a:gd name="T99" fmla="*/ 36 h 96"/>
              <a:gd name="T100" fmla="*/ 6 w 84"/>
              <a:gd name="T101" fmla="*/ 36 h 96"/>
              <a:gd name="T102" fmla="*/ 6 w 84"/>
              <a:gd name="T103" fmla="*/ 36 h 96"/>
              <a:gd name="T104" fmla="*/ 6 w 84"/>
              <a:gd name="T105" fmla="*/ 30 h 96"/>
              <a:gd name="T106" fmla="*/ 12 w 84"/>
              <a:gd name="T107" fmla="*/ 30 h 96"/>
              <a:gd name="T108" fmla="*/ 6 w 84"/>
              <a:gd name="T109" fmla="*/ 18 h 96"/>
              <a:gd name="T110" fmla="*/ 0 w 84"/>
              <a:gd name="T111" fmla="*/ 18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84" h="96">
                <a:moveTo>
                  <a:pt x="0" y="18"/>
                </a:moveTo>
                <a:lnTo>
                  <a:pt x="6" y="18"/>
                </a:lnTo>
                <a:lnTo>
                  <a:pt x="6" y="18"/>
                </a:lnTo>
                <a:lnTo>
                  <a:pt x="6" y="12"/>
                </a:lnTo>
                <a:lnTo>
                  <a:pt x="6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6" y="18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8"/>
                </a:lnTo>
                <a:lnTo>
                  <a:pt x="72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66" y="84"/>
                </a:lnTo>
                <a:lnTo>
                  <a:pt x="72" y="84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0" y="90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54" y="96"/>
                </a:lnTo>
                <a:lnTo>
                  <a:pt x="42" y="84"/>
                </a:lnTo>
                <a:lnTo>
                  <a:pt x="42" y="84"/>
                </a:lnTo>
                <a:lnTo>
                  <a:pt x="42" y="78"/>
                </a:lnTo>
                <a:lnTo>
                  <a:pt x="42" y="78"/>
                </a:lnTo>
                <a:lnTo>
                  <a:pt x="42" y="66"/>
                </a:lnTo>
                <a:lnTo>
                  <a:pt x="42" y="60"/>
                </a:lnTo>
                <a:lnTo>
                  <a:pt x="42" y="60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6" y="30"/>
                </a:lnTo>
                <a:lnTo>
                  <a:pt x="36" y="30"/>
                </a:lnTo>
                <a:lnTo>
                  <a:pt x="30" y="30"/>
                </a:lnTo>
                <a:lnTo>
                  <a:pt x="30" y="30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0" y="18"/>
                </a:lnTo>
                <a:lnTo>
                  <a:pt x="0" y="1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81" name="Freeform 114"/>
          <p:cNvSpPr>
            <a:spLocks/>
          </p:cNvSpPr>
          <p:nvPr/>
        </p:nvSpPr>
        <p:spPr bwMode="auto">
          <a:xfrm>
            <a:off x="8220177" y="2015053"/>
            <a:ext cx="77089" cy="57817"/>
          </a:xfrm>
          <a:custGeom>
            <a:avLst/>
            <a:gdLst>
              <a:gd name="T0" fmla="*/ 0 w 72"/>
              <a:gd name="T1" fmla="*/ 30 h 54"/>
              <a:gd name="T2" fmla="*/ 12 w 72"/>
              <a:gd name="T3" fmla="*/ 24 h 54"/>
              <a:gd name="T4" fmla="*/ 12 w 72"/>
              <a:gd name="T5" fmla="*/ 18 h 54"/>
              <a:gd name="T6" fmla="*/ 18 w 72"/>
              <a:gd name="T7" fmla="*/ 18 h 54"/>
              <a:gd name="T8" fmla="*/ 18 w 72"/>
              <a:gd name="T9" fmla="*/ 18 h 54"/>
              <a:gd name="T10" fmla="*/ 18 w 72"/>
              <a:gd name="T11" fmla="*/ 18 h 54"/>
              <a:gd name="T12" fmla="*/ 30 w 72"/>
              <a:gd name="T13" fmla="*/ 12 h 54"/>
              <a:gd name="T14" fmla="*/ 30 w 72"/>
              <a:gd name="T15" fmla="*/ 12 h 54"/>
              <a:gd name="T16" fmla="*/ 30 w 72"/>
              <a:gd name="T17" fmla="*/ 12 h 54"/>
              <a:gd name="T18" fmla="*/ 36 w 72"/>
              <a:gd name="T19" fmla="*/ 6 h 54"/>
              <a:gd name="T20" fmla="*/ 42 w 72"/>
              <a:gd name="T21" fmla="*/ 6 h 54"/>
              <a:gd name="T22" fmla="*/ 48 w 72"/>
              <a:gd name="T23" fmla="*/ 6 h 54"/>
              <a:gd name="T24" fmla="*/ 54 w 72"/>
              <a:gd name="T25" fmla="*/ 6 h 54"/>
              <a:gd name="T26" fmla="*/ 54 w 72"/>
              <a:gd name="T27" fmla="*/ 6 h 54"/>
              <a:gd name="T28" fmla="*/ 60 w 72"/>
              <a:gd name="T29" fmla="*/ 6 h 54"/>
              <a:gd name="T30" fmla="*/ 66 w 72"/>
              <a:gd name="T31" fmla="*/ 0 h 54"/>
              <a:gd name="T32" fmla="*/ 66 w 72"/>
              <a:gd name="T33" fmla="*/ 0 h 54"/>
              <a:gd name="T34" fmla="*/ 72 w 72"/>
              <a:gd name="T35" fmla="*/ 0 h 54"/>
              <a:gd name="T36" fmla="*/ 72 w 72"/>
              <a:gd name="T37" fmla="*/ 0 h 54"/>
              <a:gd name="T38" fmla="*/ 72 w 72"/>
              <a:gd name="T39" fmla="*/ 6 h 54"/>
              <a:gd name="T40" fmla="*/ 72 w 72"/>
              <a:gd name="T41" fmla="*/ 12 h 54"/>
              <a:gd name="T42" fmla="*/ 66 w 72"/>
              <a:gd name="T43" fmla="*/ 12 h 54"/>
              <a:gd name="T44" fmla="*/ 72 w 72"/>
              <a:gd name="T45" fmla="*/ 18 h 54"/>
              <a:gd name="T46" fmla="*/ 66 w 72"/>
              <a:gd name="T47" fmla="*/ 18 h 54"/>
              <a:gd name="T48" fmla="*/ 66 w 72"/>
              <a:gd name="T49" fmla="*/ 18 h 54"/>
              <a:gd name="T50" fmla="*/ 66 w 72"/>
              <a:gd name="T51" fmla="*/ 24 h 54"/>
              <a:gd name="T52" fmla="*/ 72 w 72"/>
              <a:gd name="T53" fmla="*/ 30 h 54"/>
              <a:gd name="T54" fmla="*/ 72 w 72"/>
              <a:gd name="T55" fmla="*/ 30 h 54"/>
              <a:gd name="T56" fmla="*/ 72 w 72"/>
              <a:gd name="T57" fmla="*/ 30 h 54"/>
              <a:gd name="T58" fmla="*/ 72 w 72"/>
              <a:gd name="T59" fmla="*/ 30 h 54"/>
              <a:gd name="T60" fmla="*/ 72 w 72"/>
              <a:gd name="T61" fmla="*/ 36 h 54"/>
              <a:gd name="T62" fmla="*/ 66 w 72"/>
              <a:gd name="T63" fmla="*/ 36 h 54"/>
              <a:gd name="T64" fmla="*/ 66 w 72"/>
              <a:gd name="T65" fmla="*/ 42 h 54"/>
              <a:gd name="T66" fmla="*/ 66 w 72"/>
              <a:gd name="T67" fmla="*/ 42 h 54"/>
              <a:gd name="T68" fmla="*/ 60 w 72"/>
              <a:gd name="T69" fmla="*/ 42 h 54"/>
              <a:gd name="T70" fmla="*/ 60 w 72"/>
              <a:gd name="T71" fmla="*/ 42 h 54"/>
              <a:gd name="T72" fmla="*/ 54 w 72"/>
              <a:gd name="T73" fmla="*/ 48 h 54"/>
              <a:gd name="T74" fmla="*/ 54 w 72"/>
              <a:gd name="T75" fmla="*/ 42 h 54"/>
              <a:gd name="T76" fmla="*/ 48 w 72"/>
              <a:gd name="T77" fmla="*/ 42 h 54"/>
              <a:gd name="T78" fmla="*/ 42 w 72"/>
              <a:gd name="T79" fmla="*/ 42 h 54"/>
              <a:gd name="T80" fmla="*/ 36 w 72"/>
              <a:gd name="T81" fmla="*/ 42 h 54"/>
              <a:gd name="T82" fmla="*/ 30 w 72"/>
              <a:gd name="T83" fmla="*/ 42 h 54"/>
              <a:gd name="T84" fmla="*/ 30 w 72"/>
              <a:gd name="T85" fmla="*/ 42 h 54"/>
              <a:gd name="T86" fmla="*/ 24 w 72"/>
              <a:gd name="T87" fmla="*/ 42 h 54"/>
              <a:gd name="T88" fmla="*/ 18 w 72"/>
              <a:gd name="T89" fmla="*/ 48 h 54"/>
              <a:gd name="T90" fmla="*/ 18 w 72"/>
              <a:gd name="T91" fmla="*/ 48 h 54"/>
              <a:gd name="T92" fmla="*/ 18 w 72"/>
              <a:gd name="T93" fmla="*/ 48 h 54"/>
              <a:gd name="T94" fmla="*/ 12 w 72"/>
              <a:gd name="T95" fmla="*/ 48 h 54"/>
              <a:gd name="T96" fmla="*/ 12 w 72"/>
              <a:gd name="T97" fmla="*/ 48 h 54"/>
              <a:gd name="T98" fmla="*/ 12 w 72"/>
              <a:gd name="T99" fmla="*/ 54 h 54"/>
              <a:gd name="T100" fmla="*/ 12 w 72"/>
              <a:gd name="T101" fmla="*/ 54 h 54"/>
              <a:gd name="T102" fmla="*/ 0 w 72"/>
              <a:gd name="T103" fmla="*/ 48 h 54"/>
              <a:gd name="T104" fmla="*/ 0 w 72"/>
              <a:gd name="T105" fmla="*/ 48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2" h="54">
                <a:moveTo>
                  <a:pt x="0" y="42"/>
                </a:moveTo>
                <a:lnTo>
                  <a:pt x="0" y="36"/>
                </a:lnTo>
                <a:lnTo>
                  <a:pt x="0" y="30"/>
                </a:lnTo>
                <a:lnTo>
                  <a:pt x="6" y="24"/>
                </a:lnTo>
                <a:lnTo>
                  <a:pt x="6" y="24"/>
                </a:lnTo>
                <a:lnTo>
                  <a:pt x="12" y="24"/>
                </a:lnTo>
                <a:lnTo>
                  <a:pt x="12" y="24"/>
                </a:lnTo>
                <a:lnTo>
                  <a:pt x="12" y="18"/>
                </a:lnTo>
                <a:lnTo>
                  <a:pt x="12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2"/>
                </a:lnTo>
                <a:lnTo>
                  <a:pt x="18" y="18"/>
                </a:lnTo>
                <a:lnTo>
                  <a:pt x="18" y="18"/>
                </a:lnTo>
                <a:lnTo>
                  <a:pt x="24" y="12"/>
                </a:lnTo>
                <a:lnTo>
                  <a:pt x="24" y="18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6" y="6"/>
                </a:lnTo>
                <a:lnTo>
                  <a:pt x="36" y="0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12"/>
                </a:lnTo>
                <a:lnTo>
                  <a:pt x="72" y="12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72" y="18"/>
                </a:lnTo>
                <a:lnTo>
                  <a:pt x="72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72" y="24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6"/>
                </a:lnTo>
                <a:lnTo>
                  <a:pt x="72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6" y="54"/>
                </a:lnTo>
                <a:lnTo>
                  <a:pt x="6" y="54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82" name="Freeform 115"/>
          <p:cNvSpPr>
            <a:spLocks/>
          </p:cNvSpPr>
          <p:nvPr/>
        </p:nvSpPr>
        <p:spPr bwMode="auto">
          <a:xfrm>
            <a:off x="8085272" y="1745240"/>
            <a:ext cx="224842" cy="134906"/>
          </a:xfrm>
          <a:custGeom>
            <a:avLst/>
            <a:gdLst>
              <a:gd name="T0" fmla="*/ 24 w 210"/>
              <a:gd name="T1" fmla="*/ 54 h 126"/>
              <a:gd name="T2" fmla="*/ 24 w 210"/>
              <a:gd name="T3" fmla="*/ 42 h 126"/>
              <a:gd name="T4" fmla="*/ 30 w 210"/>
              <a:gd name="T5" fmla="*/ 36 h 126"/>
              <a:gd name="T6" fmla="*/ 30 w 210"/>
              <a:gd name="T7" fmla="*/ 36 h 126"/>
              <a:gd name="T8" fmla="*/ 24 w 210"/>
              <a:gd name="T9" fmla="*/ 30 h 126"/>
              <a:gd name="T10" fmla="*/ 30 w 210"/>
              <a:gd name="T11" fmla="*/ 24 h 126"/>
              <a:gd name="T12" fmla="*/ 36 w 210"/>
              <a:gd name="T13" fmla="*/ 18 h 126"/>
              <a:gd name="T14" fmla="*/ 42 w 210"/>
              <a:gd name="T15" fmla="*/ 18 h 126"/>
              <a:gd name="T16" fmla="*/ 54 w 210"/>
              <a:gd name="T17" fmla="*/ 12 h 126"/>
              <a:gd name="T18" fmla="*/ 90 w 210"/>
              <a:gd name="T19" fmla="*/ 18 h 126"/>
              <a:gd name="T20" fmla="*/ 108 w 210"/>
              <a:gd name="T21" fmla="*/ 12 h 126"/>
              <a:gd name="T22" fmla="*/ 120 w 210"/>
              <a:gd name="T23" fmla="*/ 6 h 126"/>
              <a:gd name="T24" fmla="*/ 132 w 210"/>
              <a:gd name="T25" fmla="*/ 0 h 126"/>
              <a:gd name="T26" fmla="*/ 138 w 210"/>
              <a:gd name="T27" fmla="*/ 6 h 126"/>
              <a:gd name="T28" fmla="*/ 150 w 210"/>
              <a:gd name="T29" fmla="*/ 6 h 126"/>
              <a:gd name="T30" fmla="*/ 156 w 210"/>
              <a:gd name="T31" fmla="*/ 6 h 126"/>
              <a:gd name="T32" fmla="*/ 162 w 210"/>
              <a:gd name="T33" fmla="*/ 18 h 126"/>
              <a:gd name="T34" fmla="*/ 168 w 210"/>
              <a:gd name="T35" fmla="*/ 12 h 126"/>
              <a:gd name="T36" fmla="*/ 174 w 210"/>
              <a:gd name="T37" fmla="*/ 6 h 126"/>
              <a:gd name="T38" fmla="*/ 180 w 210"/>
              <a:gd name="T39" fmla="*/ 0 h 126"/>
              <a:gd name="T40" fmla="*/ 186 w 210"/>
              <a:gd name="T41" fmla="*/ 0 h 126"/>
              <a:gd name="T42" fmla="*/ 192 w 210"/>
              <a:gd name="T43" fmla="*/ 6 h 126"/>
              <a:gd name="T44" fmla="*/ 192 w 210"/>
              <a:gd name="T45" fmla="*/ 12 h 126"/>
              <a:gd name="T46" fmla="*/ 204 w 210"/>
              <a:gd name="T47" fmla="*/ 12 h 126"/>
              <a:gd name="T48" fmla="*/ 210 w 210"/>
              <a:gd name="T49" fmla="*/ 12 h 126"/>
              <a:gd name="T50" fmla="*/ 210 w 210"/>
              <a:gd name="T51" fmla="*/ 18 h 126"/>
              <a:gd name="T52" fmla="*/ 204 w 210"/>
              <a:gd name="T53" fmla="*/ 24 h 126"/>
              <a:gd name="T54" fmla="*/ 198 w 210"/>
              <a:gd name="T55" fmla="*/ 36 h 126"/>
              <a:gd name="T56" fmla="*/ 198 w 210"/>
              <a:gd name="T57" fmla="*/ 48 h 126"/>
              <a:gd name="T58" fmla="*/ 192 w 210"/>
              <a:gd name="T59" fmla="*/ 54 h 126"/>
              <a:gd name="T60" fmla="*/ 192 w 210"/>
              <a:gd name="T61" fmla="*/ 54 h 126"/>
              <a:gd name="T62" fmla="*/ 198 w 210"/>
              <a:gd name="T63" fmla="*/ 60 h 126"/>
              <a:gd name="T64" fmla="*/ 198 w 210"/>
              <a:gd name="T65" fmla="*/ 72 h 126"/>
              <a:gd name="T66" fmla="*/ 180 w 210"/>
              <a:gd name="T67" fmla="*/ 78 h 126"/>
              <a:gd name="T68" fmla="*/ 162 w 210"/>
              <a:gd name="T69" fmla="*/ 90 h 126"/>
              <a:gd name="T70" fmla="*/ 162 w 210"/>
              <a:gd name="T71" fmla="*/ 108 h 126"/>
              <a:gd name="T72" fmla="*/ 162 w 210"/>
              <a:gd name="T73" fmla="*/ 114 h 126"/>
              <a:gd name="T74" fmla="*/ 150 w 210"/>
              <a:gd name="T75" fmla="*/ 120 h 126"/>
              <a:gd name="T76" fmla="*/ 144 w 210"/>
              <a:gd name="T77" fmla="*/ 114 h 126"/>
              <a:gd name="T78" fmla="*/ 138 w 210"/>
              <a:gd name="T79" fmla="*/ 120 h 126"/>
              <a:gd name="T80" fmla="*/ 126 w 210"/>
              <a:gd name="T81" fmla="*/ 120 h 126"/>
              <a:gd name="T82" fmla="*/ 120 w 210"/>
              <a:gd name="T83" fmla="*/ 120 h 126"/>
              <a:gd name="T84" fmla="*/ 114 w 210"/>
              <a:gd name="T85" fmla="*/ 126 h 126"/>
              <a:gd name="T86" fmla="*/ 108 w 210"/>
              <a:gd name="T87" fmla="*/ 120 h 126"/>
              <a:gd name="T88" fmla="*/ 78 w 210"/>
              <a:gd name="T89" fmla="*/ 102 h 126"/>
              <a:gd name="T90" fmla="*/ 72 w 210"/>
              <a:gd name="T91" fmla="*/ 102 h 126"/>
              <a:gd name="T92" fmla="*/ 66 w 210"/>
              <a:gd name="T93" fmla="*/ 102 h 126"/>
              <a:gd name="T94" fmla="*/ 60 w 210"/>
              <a:gd name="T95" fmla="*/ 96 h 126"/>
              <a:gd name="T96" fmla="*/ 54 w 210"/>
              <a:gd name="T97" fmla="*/ 102 h 126"/>
              <a:gd name="T98" fmla="*/ 48 w 210"/>
              <a:gd name="T99" fmla="*/ 102 h 126"/>
              <a:gd name="T100" fmla="*/ 42 w 210"/>
              <a:gd name="T101" fmla="*/ 102 h 126"/>
              <a:gd name="T102" fmla="*/ 36 w 210"/>
              <a:gd name="T103" fmla="*/ 102 h 126"/>
              <a:gd name="T104" fmla="*/ 30 w 210"/>
              <a:gd name="T105" fmla="*/ 96 h 126"/>
              <a:gd name="T106" fmla="*/ 18 w 210"/>
              <a:gd name="T107" fmla="*/ 96 h 126"/>
              <a:gd name="T108" fmla="*/ 18 w 210"/>
              <a:gd name="T109" fmla="*/ 90 h 126"/>
              <a:gd name="T110" fmla="*/ 12 w 210"/>
              <a:gd name="T111" fmla="*/ 84 h 126"/>
              <a:gd name="T112" fmla="*/ 18 w 210"/>
              <a:gd name="T113" fmla="*/ 78 h 126"/>
              <a:gd name="T114" fmla="*/ 6 w 210"/>
              <a:gd name="T115" fmla="*/ 72 h 126"/>
              <a:gd name="T116" fmla="*/ 0 w 210"/>
              <a:gd name="T117" fmla="*/ 72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10" h="126">
                <a:moveTo>
                  <a:pt x="0" y="72"/>
                </a:moveTo>
                <a:lnTo>
                  <a:pt x="0" y="72"/>
                </a:lnTo>
                <a:lnTo>
                  <a:pt x="18" y="60"/>
                </a:lnTo>
                <a:lnTo>
                  <a:pt x="18" y="60"/>
                </a:lnTo>
                <a:lnTo>
                  <a:pt x="24" y="60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48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18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8" y="18"/>
                </a:lnTo>
                <a:lnTo>
                  <a:pt x="48" y="18"/>
                </a:lnTo>
                <a:lnTo>
                  <a:pt x="42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66" y="12"/>
                </a:lnTo>
                <a:lnTo>
                  <a:pt x="72" y="18"/>
                </a:lnTo>
                <a:lnTo>
                  <a:pt x="78" y="18"/>
                </a:lnTo>
                <a:lnTo>
                  <a:pt x="84" y="18"/>
                </a:lnTo>
                <a:lnTo>
                  <a:pt x="90" y="18"/>
                </a:lnTo>
                <a:lnTo>
                  <a:pt x="102" y="12"/>
                </a:lnTo>
                <a:lnTo>
                  <a:pt x="102" y="12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8" y="12"/>
                </a:lnTo>
                <a:lnTo>
                  <a:pt x="108" y="12"/>
                </a:lnTo>
                <a:lnTo>
                  <a:pt x="114" y="12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32" y="6"/>
                </a:lnTo>
                <a:lnTo>
                  <a:pt x="132" y="0"/>
                </a:lnTo>
                <a:lnTo>
                  <a:pt x="132" y="0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6" y="6"/>
                </a:lnTo>
                <a:lnTo>
                  <a:pt x="156" y="6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6"/>
                </a:lnTo>
                <a:lnTo>
                  <a:pt x="168" y="6"/>
                </a:lnTo>
                <a:lnTo>
                  <a:pt x="168" y="6"/>
                </a:lnTo>
                <a:lnTo>
                  <a:pt x="168" y="6"/>
                </a:lnTo>
                <a:lnTo>
                  <a:pt x="174" y="6"/>
                </a:lnTo>
                <a:lnTo>
                  <a:pt x="174" y="6"/>
                </a:lnTo>
                <a:lnTo>
                  <a:pt x="174" y="6"/>
                </a:lnTo>
                <a:lnTo>
                  <a:pt x="174" y="6"/>
                </a:lnTo>
                <a:lnTo>
                  <a:pt x="174" y="6"/>
                </a:lnTo>
                <a:lnTo>
                  <a:pt x="180" y="6"/>
                </a:lnTo>
                <a:lnTo>
                  <a:pt x="180" y="6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0" y="6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6" y="0"/>
                </a:lnTo>
                <a:lnTo>
                  <a:pt x="186" y="0"/>
                </a:lnTo>
                <a:lnTo>
                  <a:pt x="186" y="0"/>
                </a:lnTo>
                <a:lnTo>
                  <a:pt x="186" y="0"/>
                </a:lnTo>
                <a:lnTo>
                  <a:pt x="186" y="0"/>
                </a:lnTo>
                <a:lnTo>
                  <a:pt x="192" y="0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204" y="12"/>
                </a:lnTo>
                <a:lnTo>
                  <a:pt x="204" y="6"/>
                </a:lnTo>
                <a:lnTo>
                  <a:pt x="204" y="6"/>
                </a:lnTo>
                <a:lnTo>
                  <a:pt x="204" y="6"/>
                </a:lnTo>
                <a:lnTo>
                  <a:pt x="204" y="6"/>
                </a:lnTo>
                <a:lnTo>
                  <a:pt x="210" y="6"/>
                </a:lnTo>
                <a:lnTo>
                  <a:pt x="210" y="12"/>
                </a:lnTo>
                <a:lnTo>
                  <a:pt x="210" y="12"/>
                </a:lnTo>
                <a:lnTo>
                  <a:pt x="210" y="12"/>
                </a:lnTo>
                <a:lnTo>
                  <a:pt x="210" y="12"/>
                </a:lnTo>
                <a:lnTo>
                  <a:pt x="210" y="18"/>
                </a:lnTo>
                <a:lnTo>
                  <a:pt x="210" y="18"/>
                </a:lnTo>
                <a:lnTo>
                  <a:pt x="210" y="18"/>
                </a:lnTo>
                <a:lnTo>
                  <a:pt x="210" y="18"/>
                </a:lnTo>
                <a:lnTo>
                  <a:pt x="210" y="18"/>
                </a:lnTo>
                <a:lnTo>
                  <a:pt x="204" y="18"/>
                </a:lnTo>
                <a:lnTo>
                  <a:pt x="204" y="24"/>
                </a:lnTo>
                <a:lnTo>
                  <a:pt x="204" y="24"/>
                </a:lnTo>
                <a:lnTo>
                  <a:pt x="204" y="24"/>
                </a:lnTo>
                <a:lnTo>
                  <a:pt x="204" y="24"/>
                </a:lnTo>
                <a:lnTo>
                  <a:pt x="204" y="24"/>
                </a:lnTo>
                <a:lnTo>
                  <a:pt x="204" y="24"/>
                </a:lnTo>
                <a:lnTo>
                  <a:pt x="204" y="30"/>
                </a:lnTo>
                <a:lnTo>
                  <a:pt x="198" y="30"/>
                </a:lnTo>
                <a:lnTo>
                  <a:pt x="198" y="30"/>
                </a:lnTo>
                <a:lnTo>
                  <a:pt x="198" y="30"/>
                </a:lnTo>
                <a:lnTo>
                  <a:pt x="192" y="36"/>
                </a:lnTo>
                <a:lnTo>
                  <a:pt x="192" y="36"/>
                </a:lnTo>
                <a:lnTo>
                  <a:pt x="198" y="36"/>
                </a:lnTo>
                <a:lnTo>
                  <a:pt x="198" y="36"/>
                </a:lnTo>
                <a:lnTo>
                  <a:pt x="198" y="42"/>
                </a:lnTo>
                <a:lnTo>
                  <a:pt x="198" y="42"/>
                </a:lnTo>
                <a:lnTo>
                  <a:pt x="198" y="42"/>
                </a:lnTo>
                <a:lnTo>
                  <a:pt x="198" y="42"/>
                </a:lnTo>
                <a:lnTo>
                  <a:pt x="198" y="48"/>
                </a:lnTo>
                <a:lnTo>
                  <a:pt x="198" y="48"/>
                </a:lnTo>
                <a:lnTo>
                  <a:pt x="198" y="48"/>
                </a:lnTo>
                <a:lnTo>
                  <a:pt x="198" y="48"/>
                </a:lnTo>
                <a:lnTo>
                  <a:pt x="192" y="48"/>
                </a:lnTo>
                <a:lnTo>
                  <a:pt x="192" y="48"/>
                </a:lnTo>
                <a:lnTo>
                  <a:pt x="192" y="48"/>
                </a:lnTo>
                <a:lnTo>
                  <a:pt x="192" y="48"/>
                </a:lnTo>
                <a:lnTo>
                  <a:pt x="192" y="54"/>
                </a:lnTo>
                <a:lnTo>
                  <a:pt x="192" y="54"/>
                </a:lnTo>
                <a:lnTo>
                  <a:pt x="192" y="54"/>
                </a:lnTo>
                <a:lnTo>
                  <a:pt x="192" y="54"/>
                </a:lnTo>
                <a:lnTo>
                  <a:pt x="192" y="60"/>
                </a:lnTo>
                <a:lnTo>
                  <a:pt x="192" y="60"/>
                </a:lnTo>
                <a:lnTo>
                  <a:pt x="192" y="60"/>
                </a:lnTo>
                <a:lnTo>
                  <a:pt x="192" y="54"/>
                </a:lnTo>
                <a:lnTo>
                  <a:pt x="192" y="54"/>
                </a:lnTo>
                <a:lnTo>
                  <a:pt x="198" y="60"/>
                </a:lnTo>
                <a:lnTo>
                  <a:pt x="198" y="60"/>
                </a:lnTo>
                <a:lnTo>
                  <a:pt x="198" y="60"/>
                </a:lnTo>
                <a:lnTo>
                  <a:pt x="198" y="60"/>
                </a:lnTo>
                <a:lnTo>
                  <a:pt x="198" y="60"/>
                </a:lnTo>
                <a:lnTo>
                  <a:pt x="198" y="60"/>
                </a:lnTo>
                <a:lnTo>
                  <a:pt x="198" y="60"/>
                </a:lnTo>
                <a:lnTo>
                  <a:pt x="198" y="66"/>
                </a:lnTo>
                <a:lnTo>
                  <a:pt x="198" y="66"/>
                </a:lnTo>
                <a:lnTo>
                  <a:pt x="198" y="66"/>
                </a:lnTo>
                <a:lnTo>
                  <a:pt x="198" y="66"/>
                </a:lnTo>
                <a:lnTo>
                  <a:pt x="198" y="66"/>
                </a:lnTo>
                <a:lnTo>
                  <a:pt x="198" y="72"/>
                </a:lnTo>
                <a:lnTo>
                  <a:pt x="198" y="72"/>
                </a:lnTo>
                <a:lnTo>
                  <a:pt x="192" y="78"/>
                </a:lnTo>
                <a:lnTo>
                  <a:pt x="186" y="78"/>
                </a:lnTo>
                <a:lnTo>
                  <a:pt x="186" y="78"/>
                </a:lnTo>
                <a:lnTo>
                  <a:pt x="186" y="78"/>
                </a:lnTo>
                <a:lnTo>
                  <a:pt x="186" y="78"/>
                </a:lnTo>
                <a:lnTo>
                  <a:pt x="180" y="78"/>
                </a:lnTo>
                <a:lnTo>
                  <a:pt x="174" y="78"/>
                </a:lnTo>
                <a:lnTo>
                  <a:pt x="168" y="90"/>
                </a:lnTo>
                <a:lnTo>
                  <a:pt x="168" y="90"/>
                </a:lnTo>
                <a:lnTo>
                  <a:pt x="168" y="90"/>
                </a:lnTo>
                <a:lnTo>
                  <a:pt x="168" y="90"/>
                </a:lnTo>
                <a:lnTo>
                  <a:pt x="168" y="90"/>
                </a:lnTo>
                <a:lnTo>
                  <a:pt x="162" y="90"/>
                </a:lnTo>
                <a:lnTo>
                  <a:pt x="162" y="90"/>
                </a:lnTo>
                <a:lnTo>
                  <a:pt x="162" y="96"/>
                </a:lnTo>
                <a:lnTo>
                  <a:pt x="162" y="102"/>
                </a:lnTo>
                <a:lnTo>
                  <a:pt x="162" y="102"/>
                </a:lnTo>
                <a:lnTo>
                  <a:pt x="162" y="102"/>
                </a:lnTo>
                <a:lnTo>
                  <a:pt x="162" y="102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14"/>
                </a:lnTo>
                <a:lnTo>
                  <a:pt x="156" y="114"/>
                </a:lnTo>
                <a:lnTo>
                  <a:pt x="156" y="114"/>
                </a:lnTo>
                <a:lnTo>
                  <a:pt x="156" y="120"/>
                </a:lnTo>
                <a:lnTo>
                  <a:pt x="150" y="120"/>
                </a:lnTo>
                <a:lnTo>
                  <a:pt x="150" y="120"/>
                </a:lnTo>
                <a:lnTo>
                  <a:pt x="150" y="120"/>
                </a:lnTo>
                <a:lnTo>
                  <a:pt x="150" y="120"/>
                </a:lnTo>
                <a:lnTo>
                  <a:pt x="150" y="120"/>
                </a:lnTo>
                <a:lnTo>
                  <a:pt x="150" y="114"/>
                </a:lnTo>
                <a:lnTo>
                  <a:pt x="150" y="120"/>
                </a:lnTo>
                <a:lnTo>
                  <a:pt x="150" y="120"/>
                </a:lnTo>
                <a:lnTo>
                  <a:pt x="144" y="114"/>
                </a:lnTo>
                <a:lnTo>
                  <a:pt x="144" y="114"/>
                </a:lnTo>
                <a:lnTo>
                  <a:pt x="144" y="114"/>
                </a:lnTo>
                <a:lnTo>
                  <a:pt x="144" y="120"/>
                </a:lnTo>
                <a:lnTo>
                  <a:pt x="144" y="120"/>
                </a:lnTo>
                <a:lnTo>
                  <a:pt x="138" y="120"/>
                </a:lnTo>
                <a:lnTo>
                  <a:pt x="138" y="120"/>
                </a:lnTo>
                <a:lnTo>
                  <a:pt x="138" y="120"/>
                </a:lnTo>
                <a:lnTo>
                  <a:pt x="138" y="114"/>
                </a:lnTo>
                <a:lnTo>
                  <a:pt x="138" y="120"/>
                </a:lnTo>
                <a:lnTo>
                  <a:pt x="132" y="114"/>
                </a:lnTo>
                <a:lnTo>
                  <a:pt x="132" y="120"/>
                </a:lnTo>
                <a:lnTo>
                  <a:pt x="132" y="114"/>
                </a:lnTo>
                <a:lnTo>
                  <a:pt x="132" y="114"/>
                </a:lnTo>
                <a:lnTo>
                  <a:pt x="132" y="120"/>
                </a:lnTo>
                <a:lnTo>
                  <a:pt x="132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0" y="120"/>
                </a:lnTo>
                <a:lnTo>
                  <a:pt x="120" y="120"/>
                </a:lnTo>
                <a:lnTo>
                  <a:pt x="120" y="126"/>
                </a:lnTo>
                <a:lnTo>
                  <a:pt x="120" y="126"/>
                </a:lnTo>
                <a:lnTo>
                  <a:pt x="120" y="126"/>
                </a:lnTo>
                <a:lnTo>
                  <a:pt x="120" y="126"/>
                </a:lnTo>
                <a:lnTo>
                  <a:pt x="114" y="126"/>
                </a:lnTo>
                <a:lnTo>
                  <a:pt x="114" y="126"/>
                </a:lnTo>
                <a:lnTo>
                  <a:pt x="114" y="126"/>
                </a:lnTo>
                <a:lnTo>
                  <a:pt x="114" y="120"/>
                </a:lnTo>
                <a:lnTo>
                  <a:pt x="114" y="120"/>
                </a:lnTo>
                <a:lnTo>
                  <a:pt x="114" y="120"/>
                </a:lnTo>
                <a:lnTo>
                  <a:pt x="114" y="120"/>
                </a:lnTo>
                <a:lnTo>
                  <a:pt x="108" y="120"/>
                </a:lnTo>
                <a:lnTo>
                  <a:pt x="108" y="120"/>
                </a:lnTo>
                <a:lnTo>
                  <a:pt x="102" y="120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84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96"/>
                </a:lnTo>
                <a:lnTo>
                  <a:pt x="54" y="102"/>
                </a:lnTo>
                <a:lnTo>
                  <a:pt x="54" y="96"/>
                </a:lnTo>
                <a:lnTo>
                  <a:pt x="54" y="96"/>
                </a:lnTo>
                <a:lnTo>
                  <a:pt x="48" y="96"/>
                </a:lnTo>
                <a:lnTo>
                  <a:pt x="48" y="96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96"/>
                </a:lnTo>
                <a:lnTo>
                  <a:pt x="42" y="102"/>
                </a:lnTo>
                <a:lnTo>
                  <a:pt x="42" y="96"/>
                </a:lnTo>
                <a:lnTo>
                  <a:pt x="42" y="102"/>
                </a:lnTo>
                <a:lnTo>
                  <a:pt x="36" y="102"/>
                </a:lnTo>
                <a:lnTo>
                  <a:pt x="36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96"/>
                </a:lnTo>
                <a:lnTo>
                  <a:pt x="24" y="96"/>
                </a:lnTo>
                <a:lnTo>
                  <a:pt x="24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78"/>
                </a:lnTo>
                <a:lnTo>
                  <a:pt x="12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83" name="Freeform 116"/>
          <p:cNvSpPr>
            <a:spLocks/>
          </p:cNvSpPr>
          <p:nvPr/>
        </p:nvSpPr>
        <p:spPr bwMode="auto">
          <a:xfrm>
            <a:off x="8117392" y="2079293"/>
            <a:ext cx="122057" cy="96361"/>
          </a:xfrm>
          <a:custGeom>
            <a:avLst/>
            <a:gdLst>
              <a:gd name="T0" fmla="*/ 6 w 114"/>
              <a:gd name="T1" fmla="*/ 18 h 90"/>
              <a:gd name="T2" fmla="*/ 0 w 114"/>
              <a:gd name="T3" fmla="*/ 12 h 90"/>
              <a:gd name="T4" fmla="*/ 6 w 114"/>
              <a:gd name="T5" fmla="*/ 6 h 90"/>
              <a:gd name="T6" fmla="*/ 6 w 114"/>
              <a:gd name="T7" fmla="*/ 6 h 90"/>
              <a:gd name="T8" fmla="*/ 18 w 114"/>
              <a:gd name="T9" fmla="*/ 6 h 90"/>
              <a:gd name="T10" fmla="*/ 18 w 114"/>
              <a:gd name="T11" fmla="*/ 6 h 90"/>
              <a:gd name="T12" fmla="*/ 18 w 114"/>
              <a:gd name="T13" fmla="*/ 6 h 90"/>
              <a:gd name="T14" fmla="*/ 24 w 114"/>
              <a:gd name="T15" fmla="*/ 0 h 90"/>
              <a:gd name="T16" fmla="*/ 30 w 114"/>
              <a:gd name="T17" fmla="*/ 0 h 90"/>
              <a:gd name="T18" fmla="*/ 36 w 114"/>
              <a:gd name="T19" fmla="*/ 0 h 90"/>
              <a:gd name="T20" fmla="*/ 42 w 114"/>
              <a:gd name="T21" fmla="*/ 6 h 90"/>
              <a:gd name="T22" fmla="*/ 48 w 114"/>
              <a:gd name="T23" fmla="*/ 0 h 90"/>
              <a:gd name="T24" fmla="*/ 54 w 114"/>
              <a:gd name="T25" fmla="*/ 0 h 90"/>
              <a:gd name="T26" fmla="*/ 60 w 114"/>
              <a:gd name="T27" fmla="*/ 0 h 90"/>
              <a:gd name="T28" fmla="*/ 66 w 114"/>
              <a:gd name="T29" fmla="*/ 6 h 90"/>
              <a:gd name="T30" fmla="*/ 66 w 114"/>
              <a:gd name="T31" fmla="*/ 6 h 90"/>
              <a:gd name="T32" fmla="*/ 66 w 114"/>
              <a:gd name="T33" fmla="*/ 6 h 90"/>
              <a:gd name="T34" fmla="*/ 72 w 114"/>
              <a:gd name="T35" fmla="*/ 6 h 90"/>
              <a:gd name="T36" fmla="*/ 72 w 114"/>
              <a:gd name="T37" fmla="*/ 6 h 90"/>
              <a:gd name="T38" fmla="*/ 72 w 114"/>
              <a:gd name="T39" fmla="*/ 12 h 90"/>
              <a:gd name="T40" fmla="*/ 78 w 114"/>
              <a:gd name="T41" fmla="*/ 12 h 90"/>
              <a:gd name="T42" fmla="*/ 84 w 114"/>
              <a:gd name="T43" fmla="*/ 12 h 90"/>
              <a:gd name="T44" fmla="*/ 90 w 114"/>
              <a:gd name="T45" fmla="*/ 18 h 90"/>
              <a:gd name="T46" fmla="*/ 90 w 114"/>
              <a:gd name="T47" fmla="*/ 18 h 90"/>
              <a:gd name="T48" fmla="*/ 90 w 114"/>
              <a:gd name="T49" fmla="*/ 18 h 90"/>
              <a:gd name="T50" fmla="*/ 96 w 114"/>
              <a:gd name="T51" fmla="*/ 18 h 90"/>
              <a:gd name="T52" fmla="*/ 102 w 114"/>
              <a:gd name="T53" fmla="*/ 18 h 90"/>
              <a:gd name="T54" fmla="*/ 102 w 114"/>
              <a:gd name="T55" fmla="*/ 18 h 90"/>
              <a:gd name="T56" fmla="*/ 108 w 114"/>
              <a:gd name="T57" fmla="*/ 18 h 90"/>
              <a:gd name="T58" fmla="*/ 108 w 114"/>
              <a:gd name="T59" fmla="*/ 18 h 90"/>
              <a:gd name="T60" fmla="*/ 114 w 114"/>
              <a:gd name="T61" fmla="*/ 18 h 90"/>
              <a:gd name="T62" fmla="*/ 114 w 114"/>
              <a:gd name="T63" fmla="*/ 18 h 90"/>
              <a:gd name="T64" fmla="*/ 108 w 114"/>
              <a:gd name="T65" fmla="*/ 30 h 90"/>
              <a:gd name="T66" fmla="*/ 108 w 114"/>
              <a:gd name="T67" fmla="*/ 30 h 90"/>
              <a:gd name="T68" fmla="*/ 108 w 114"/>
              <a:gd name="T69" fmla="*/ 36 h 90"/>
              <a:gd name="T70" fmla="*/ 108 w 114"/>
              <a:gd name="T71" fmla="*/ 36 h 90"/>
              <a:gd name="T72" fmla="*/ 108 w 114"/>
              <a:gd name="T73" fmla="*/ 42 h 90"/>
              <a:gd name="T74" fmla="*/ 108 w 114"/>
              <a:gd name="T75" fmla="*/ 48 h 90"/>
              <a:gd name="T76" fmla="*/ 108 w 114"/>
              <a:gd name="T77" fmla="*/ 54 h 90"/>
              <a:gd name="T78" fmla="*/ 108 w 114"/>
              <a:gd name="T79" fmla="*/ 60 h 90"/>
              <a:gd name="T80" fmla="*/ 102 w 114"/>
              <a:gd name="T81" fmla="*/ 60 h 90"/>
              <a:gd name="T82" fmla="*/ 114 w 114"/>
              <a:gd name="T83" fmla="*/ 66 h 90"/>
              <a:gd name="T84" fmla="*/ 114 w 114"/>
              <a:gd name="T85" fmla="*/ 84 h 90"/>
              <a:gd name="T86" fmla="*/ 108 w 114"/>
              <a:gd name="T87" fmla="*/ 90 h 90"/>
              <a:gd name="T88" fmla="*/ 102 w 114"/>
              <a:gd name="T89" fmla="*/ 90 h 90"/>
              <a:gd name="T90" fmla="*/ 96 w 114"/>
              <a:gd name="T91" fmla="*/ 90 h 90"/>
              <a:gd name="T92" fmla="*/ 90 w 114"/>
              <a:gd name="T93" fmla="*/ 90 h 90"/>
              <a:gd name="T94" fmla="*/ 84 w 114"/>
              <a:gd name="T95" fmla="*/ 90 h 90"/>
              <a:gd name="T96" fmla="*/ 84 w 114"/>
              <a:gd name="T97" fmla="*/ 84 h 90"/>
              <a:gd name="T98" fmla="*/ 78 w 114"/>
              <a:gd name="T99" fmla="*/ 78 h 90"/>
              <a:gd name="T100" fmla="*/ 84 w 114"/>
              <a:gd name="T101" fmla="*/ 78 h 90"/>
              <a:gd name="T102" fmla="*/ 78 w 114"/>
              <a:gd name="T103" fmla="*/ 72 h 90"/>
              <a:gd name="T104" fmla="*/ 72 w 114"/>
              <a:gd name="T105" fmla="*/ 66 h 90"/>
              <a:gd name="T106" fmla="*/ 66 w 114"/>
              <a:gd name="T107" fmla="*/ 60 h 90"/>
              <a:gd name="T108" fmla="*/ 54 w 114"/>
              <a:gd name="T109" fmla="*/ 54 h 90"/>
              <a:gd name="T110" fmla="*/ 48 w 114"/>
              <a:gd name="T111" fmla="*/ 48 h 90"/>
              <a:gd name="T112" fmla="*/ 42 w 114"/>
              <a:gd name="T113" fmla="*/ 42 h 90"/>
              <a:gd name="T114" fmla="*/ 36 w 114"/>
              <a:gd name="T115" fmla="*/ 42 h 90"/>
              <a:gd name="T116" fmla="*/ 30 w 114"/>
              <a:gd name="T117" fmla="*/ 42 h 90"/>
              <a:gd name="T118" fmla="*/ 12 w 114"/>
              <a:gd name="T119" fmla="*/ 42 h 90"/>
              <a:gd name="T120" fmla="*/ 6 w 114"/>
              <a:gd name="T121" fmla="*/ 42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14" h="90">
                <a:moveTo>
                  <a:pt x="6" y="42"/>
                </a:move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0" y="12"/>
                </a:lnTo>
                <a:lnTo>
                  <a:pt x="0" y="12"/>
                </a:lnTo>
                <a:lnTo>
                  <a:pt x="6" y="12"/>
                </a:lnTo>
                <a:lnTo>
                  <a:pt x="6" y="12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12" y="6"/>
                </a:lnTo>
                <a:lnTo>
                  <a:pt x="12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18" y="0"/>
                </a:lnTo>
                <a:lnTo>
                  <a:pt x="24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42" y="6"/>
                </a:lnTo>
                <a:lnTo>
                  <a:pt x="42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90" y="12"/>
                </a:lnTo>
                <a:lnTo>
                  <a:pt x="90" y="12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24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8" y="60"/>
                </a:lnTo>
                <a:lnTo>
                  <a:pt x="114" y="66"/>
                </a:lnTo>
                <a:lnTo>
                  <a:pt x="114" y="66"/>
                </a:lnTo>
                <a:lnTo>
                  <a:pt x="114" y="72"/>
                </a:lnTo>
                <a:lnTo>
                  <a:pt x="114" y="78"/>
                </a:lnTo>
                <a:lnTo>
                  <a:pt x="114" y="78"/>
                </a:lnTo>
                <a:lnTo>
                  <a:pt x="114" y="84"/>
                </a:lnTo>
                <a:lnTo>
                  <a:pt x="114" y="84"/>
                </a:lnTo>
                <a:lnTo>
                  <a:pt x="114" y="78"/>
                </a:lnTo>
                <a:lnTo>
                  <a:pt x="108" y="78"/>
                </a:lnTo>
                <a:lnTo>
                  <a:pt x="108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84" y="90"/>
                </a:lnTo>
                <a:lnTo>
                  <a:pt x="90" y="90"/>
                </a:lnTo>
                <a:lnTo>
                  <a:pt x="90" y="90"/>
                </a:lnTo>
                <a:lnTo>
                  <a:pt x="84" y="90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48" y="48"/>
                </a:lnTo>
                <a:lnTo>
                  <a:pt x="48" y="48"/>
                </a:lnTo>
                <a:lnTo>
                  <a:pt x="42" y="48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0" y="42"/>
                </a:lnTo>
                <a:lnTo>
                  <a:pt x="30" y="42"/>
                </a:lnTo>
                <a:lnTo>
                  <a:pt x="24" y="42"/>
                </a:lnTo>
                <a:lnTo>
                  <a:pt x="18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84" name="Freeform 117"/>
          <p:cNvSpPr>
            <a:spLocks/>
          </p:cNvSpPr>
          <p:nvPr/>
        </p:nvSpPr>
        <p:spPr bwMode="auto">
          <a:xfrm>
            <a:off x="8284417" y="1693848"/>
            <a:ext cx="51392" cy="64241"/>
          </a:xfrm>
          <a:custGeom>
            <a:avLst/>
            <a:gdLst>
              <a:gd name="T0" fmla="*/ 0 w 48"/>
              <a:gd name="T1" fmla="*/ 12 h 60"/>
              <a:gd name="T2" fmla="*/ 6 w 48"/>
              <a:gd name="T3" fmla="*/ 6 h 60"/>
              <a:gd name="T4" fmla="*/ 18 w 48"/>
              <a:gd name="T5" fmla="*/ 0 h 60"/>
              <a:gd name="T6" fmla="*/ 18 w 48"/>
              <a:gd name="T7" fmla="*/ 0 h 60"/>
              <a:gd name="T8" fmla="*/ 24 w 48"/>
              <a:gd name="T9" fmla="*/ 0 h 60"/>
              <a:gd name="T10" fmla="*/ 24 w 48"/>
              <a:gd name="T11" fmla="*/ 0 h 60"/>
              <a:gd name="T12" fmla="*/ 30 w 48"/>
              <a:gd name="T13" fmla="*/ 0 h 60"/>
              <a:gd name="T14" fmla="*/ 36 w 48"/>
              <a:gd name="T15" fmla="*/ 0 h 60"/>
              <a:gd name="T16" fmla="*/ 42 w 48"/>
              <a:gd name="T17" fmla="*/ 0 h 60"/>
              <a:gd name="T18" fmla="*/ 42 w 48"/>
              <a:gd name="T19" fmla="*/ 0 h 60"/>
              <a:gd name="T20" fmla="*/ 42 w 48"/>
              <a:gd name="T21" fmla="*/ 12 h 60"/>
              <a:gd name="T22" fmla="*/ 36 w 48"/>
              <a:gd name="T23" fmla="*/ 18 h 60"/>
              <a:gd name="T24" fmla="*/ 42 w 48"/>
              <a:gd name="T25" fmla="*/ 24 h 60"/>
              <a:gd name="T26" fmla="*/ 48 w 48"/>
              <a:gd name="T27" fmla="*/ 30 h 60"/>
              <a:gd name="T28" fmla="*/ 48 w 48"/>
              <a:gd name="T29" fmla="*/ 30 h 60"/>
              <a:gd name="T30" fmla="*/ 48 w 48"/>
              <a:gd name="T31" fmla="*/ 36 h 60"/>
              <a:gd name="T32" fmla="*/ 42 w 48"/>
              <a:gd name="T33" fmla="*/ 36 h 60"/>
              <a:gd name="T34" fmla="*/ 48 w 48"/>
              <a:gd name="T35" fmla="*/ 36 h 60"/>
              <a:gd name="T36" fmla="*/ 48 w 48"/>
              <a:gd name="T37" fmla="*/ 36 h 60"/>
              <a:gd name="T38" fmla="*/ 48 w 48"/>
              <a:gd name="T39" fmla="*/ 42 h 60"/>
              <a:gd name="T40" fmla="*/ 48 w 48"/>
              <a:gd name="T41" fmla="*/ 42 h 60"/>
              <a:gd name="T42" fmla="*/ 42 w 48"/>
              <a:gd name="T43" fmla="*/ 42 h 60"/>
              <a:gd name="T44" fmla="*/ 42 w 48"/>
              <a:gd name="T45" fmla="*/ 48 h 60"/>
              <a:gd name="T46" fmla="*/ 42 w 48"/>
              <a:gd name="T47" fmla="*/ 48 h 60"/>
              <a:gd name="T48" fmla="*/ 42 w 48"/>
              <a:gd name="T49" fmla="*/ 48 h 60"/>
              <a:gd name="T50" fmla="*/ 36 w 48"/>
              <a:gd name="T51" fmla="*/ 54 h 60"/>
              <a:gd name="T52" fmla="*/ 36 w 48"/>
              <a:gd name="T53" fmla="*/ 54 h 60"/>
              <a:gd name="T54" fmla="*/ 36 w 48"/>
              <a:gd name="T55" fmla="*/ 54 h 60"/>
              <a:gd name="T56" fmla="*/ 30 w 48"/>
              <a:gd name="T57" fmla="*/ 54 h 60"/>
              <a:gd name="T58" fmla="*/ 24 w 48"/>
              <a:gd name="T59" fmla="*/ 54 h 60"/>
              <a:gd name="T60" fmla="*/ 24 w 48"/>
              <a:gd name="T61" fmla="*/ 60 h 60"/>
              <a:gd name="T62" fmla="*/ 18 w 48"/>
              <a:gd name="T63" fmla="*/ 54 h 60"/>
              <a:gd name="T64" fmla="*/ 18 w 48"/>
              <a:gd name="T65" fmla="*/ 54 h 60"/>
              <a:gd name="T66" fmla="*/ 12 w 48"/>
              <a:gd name="T67" fmla="*/ 54 h 60"/>
              <a:gd name="T68" fmla="*/ 12 w 48"/>
              <a:gd name="T69" fmla="*/ 48 h 60"/>
              <a:gd name="T70" fmla="*/ 12 w 48"/>
              <a:gd name="T71" fmla="*/ 42 h 60"/>
              <a:gd name="T72" fmla="*/ 12 w 48"/>
              <a:gd name="T73" fmla="*/ 36 h 60"/>
              <a:gd name="T74" fmla="*/ 12 w 48"/>
              <a:gd name="T75" fmla="*/ 36 h 60"/>
              <a:gd name="T76" fmla="*/ 12 w 48"/>
              <a:gd name="T77" fmla="*/ 30 h 60"/>
              <a:gd name="T78" fmla="*/ 12 w 48"/>
              <a:gd name="T79" fmla="*/ 30 h 60"/>
              <a:gd name="T80" fmla="*/ 12 w 48"/>
              <a:gd name="T81" fmla="*/ 24 h 60"/>
              <a:gd name="T82" fmla="*/ 12 w 48"/>
              <a:gd name="T83" fmla="*/ 24 h 60"/>
              <a:gd name="T84" fmla="*/ 18 w 48"/>
              <a:gd name="T85" fmla="*/ 24 h 60"/>
              <a:gd name="T86" fmla="*/ 18 w 48"/>
              <a:gd name="T87" fmla="*/ 24 h 60"/>
              <a:gd name="T88" fmla="*/ 24 w 48"/>
              <a:gd name="T89" fmla="*/ 18 h 60"/>
              <a:gd name="T90" fmla="*/ 24 w 48"/>
              <a:gd name="T91" fmla="*/ 18 h 60"/>
              <a:gd name="T92" fmla="*/ 24 w 48"/>
              <a:gd name="T93" fmla="*/ 18 h 60"/>
              <a:gd name="T94" fmla="*/ 18 w 48"/>
              <a:gd name="T95" fmla="*/ 18 h 60"/>
              <a:gd name="T96" fmla="*/ 18 w 48"/>
              <a:gd name="T97" fmla="*/ 18 h 60"/>
              <a:gd name="T98" fmla="*/ 12 w 48"/>
              <a:gd name="T99" fmla="*/ 18 h 60"/>
              <a:gd name="T100" fmla="*/ 12 w 48"/>
              <a:gd name="T101" fmla="*/ 24 h 60"/>
              <a:gd name="T102" fmla="*/ 12 w 48"/>
              <a:gd name="T103" fmla="*/ 24 h 60"/>
              <a:gd name="T104" fmla="*/ 6 w 48"/>
              <a:gd name="T105" fmla="*/ 24 h 60"/>
              <a:gd name="T106" fmla="*/ 6 w 48"/>
              <a:gd name="T107" fmla="*/ 24 h 60"/>
              <a:gd name="T108" fmla="*/ 6 w 48"/>
              <a:gd name="T109" fmla="*/ 18 h 60"/>
              <a:gd name="T110" fmla="*/ 6 w 48"/>
              <a:gd name="T111" fmla="*/ 18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8" h="60">
                <a:moveTo>
                  <a:pt x="6" y="18"/>
                </a:moveTo>
                <a:lnTo>
                  <a:pt x="0" y="12"/>
                </a:lnTo>
                <a:lnTo>
                  <a:pt x="6" y="6"/>
                </a:lnTo>
                <a:lnTo>
                  <a:pt x="6" y="6"/>
                </a:lnTo>
                <a:lnTo>
                  <a:pt x="12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30" y="0"/>
                </a:lnTo>
                <a:lnTo>
                  <a:pt x="30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12"/>
                </a:lnTo>
                <a:lnTo>
                  <a:pt x="42" y="12"/>
                </a:lnTo>
                <a:lnTo>
                  <a:pt x="36" y="18"/>
                </a:lnTo>
                <a:lnTo>
                  <a:pt x="36" y="18"/>
                </a:lnTo>
                <a:lnTo>
                  <a:pt x="42" y="24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2" y="36"/>
                </a:lnTo>
                <a:lnTo>
                  <a:pt x="42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2" y="42"/>
                </a:lnTo>
                <a:lnTo>
                  <a:pt x="42" y="42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36" y="48"/>
                </a:lnTo>
                <a:lnTo>
                  <a:pt x="42" y="48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0" y="54"/>
                </a:lnTo>
                <a:lnTo>
                  <a:pt x="30" y="54"/>
                </a:lnTo>
                <a:lnTo>
                  <a:pt x="24" y="54"/>
                </a:lnTo>
                <a:lnTo>
                  <a:pt x="24" y="54"/>
                </a:lnTo>
                <a:lnTo>
                  <a:pt x="24" y="60"/>
                </a:lnTo>
                <a:lnTo>
                  <a:pt x="24" y="60"/>
                </a:lnTo>
                <a:lnTo>
                  <a:pt x="24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2" y="54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2" y="18"/>
                </a:lnTo>
                <a:lnTo>
                  <a:pt x="12" y="18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85" name="Freeform 118"/>
          <p:cNvSpPr>
            <a:spLocks/>
          </p:cNvSpPr>
          <p:nvPr/>
        </p:nvSpPr>
        <p:spPr bwMode="auto">
          <a:xfrm>
            <a:off x="8322962" y="1661727"/>
            <a:ext cx="89937" cy="83513"/>
          </a:xfrm>
          <a:custGeom>
            <a:avLst/>
            <a:gdLst>
              <a:gd name="T0" fmla="*/ 0 w 84"/>
              <a:gd name="T1" fmla="*/ 48 h 78"/>
              <a:gd name="T2" fmla="*/ 6 w 84"/>
              <a:gd name="T3" fmla="*/ 42 h 78"/>
              <a:gd name="T4" fmla="*/ 6 w 84"/>
              <a:gd name="T5" fmla="*/ 30 h 78"/>
              <a:gd name="T6" fmla="*/ 6 w 84"/>
              <a:gd name="T7" fmla="*/ 24 h 78"/>
              <a:gd name="T8" fmla="*/ 12 w 84"/>
              <a:gd name="T9" fmla="*/ 6 h 78"/>
              <a:gd name="T10" fmla="*/ 12 w 84"/>
              <a:gd name="T11" fmla="*/ 6 h 78"/>
              <a:gd name="T12" fmla="*/ 18 w 84"/>
              <a:gd name="T13" fmla="*/ 0 h 78"/>
              <a:gd name="T14" fmla="*/ 24 w 84"/>
              <a:gd name="T15" fmla="*/ 0 h 78"/>
              <a:gd name="T16" fmla="*/ 30 w 84"/>
              <a:gd name="T17" fmla="*/ 0 h 78"/>
              <a:gd name="T18" fmla="*/ 30 w 84"/>
              <a:gd name="T19" fmla="*/ 0 h 78"/>
              <a:gd name="T20" fmla="*/ 36 w 84"/>
              <a:gd name="T21" fmla="*/ 6 h 78"/>
              <a:gd name="T22" fmla="*/ 36 w 84"/>
              <a:gd name="T23" fmla="*/ 12 h 78"/>
              <a:gd name="T24" fmla="*/ 48 w 84"/>
              <a:gd name="T25" fmla="*/ 18 h 78"/>
              <a:gd name="T26" fmla="*/ 54 w 84"/>
              <a:gd name="T27" fmla="*/ 24 h 78"/>
              <a:gd name="T28" fmla="*/ 54 w 84"/>
              <a:gd name="T29" fmla="*/ 30 h 78"/>
              <a:gd name="T30" fmla="*/ 60 w 84"/>
              <a:gd name="T31" fmla="*/ 36 h 78"/>
              <a:gd name="T32" fmla="*/ 66 w 84"/>
              <a:gd name="T33" fmla="*/ 42 h 78"/>
              <a:gd name="T34" fmla="*/ 78 w 84"/>
              <a:gd name="T35" fmla="*/ 48 h 78"/>
              <a:gd name="T36" fmla="*/ 78 w 84"/>
              <a:gd name="T37" fmla="*/ 48 h 78"/>
              <a:gd name="T38" fmla="*/ 84 w 84"/>
              <a:gd name="T39" fmla="*/ 48 h 78"/>
              <a:gd name="T40" fmla="*/ 78 w 84"/>
              <a:gd name="T41" fmla="*/ 48 h 78"/>
              <a:gd name="T42" fmla="*/ 78 w 84"/>
              <a:gd name="T43" fmla="*/ 54 h 78"/>
              <a:gd name="T44" fmla="*/ 72 w 84"/>
              <a:gd name="T45" fmla="*/ 48 h 78"/>
              <a:gd name="T46" fmla="*/ 72 w 84"/>
              <a:gd name="T47" fmla="*/ 54 h 78"/>
              <a:gd name="T48" fmla="*/ 72 w 84"/>
              <a:gd name="T49" fmla="*/ 54 h 78"/>
              <a:gd name="T50" fmla="*/ 72 w 84"/>
              <a:gd name="T51" fmla="*/ 54 h 78"/>
              <a:gd name="T52" fmla="*/ 72 w 84"/>
              <a:gd name="T53" fmla="*/ 54 h 78"/>
              <a:gd name="T54" fmla="*/ 72 w 84"/>
              <a:gd name="T55" fmla="*/ 48 h 78"/>
              <a:gd name="T56" fmla="*/ 66 w 84"/>
              <a:gd name="T57" fmla="*/ 48 h 78"/>
              <a:gd name="T58" fmla="*/ 66 w 84"/>
              <a:gd name="T59" fmla="*/ 54 h 78"/>
              <a:gd name="T60" fmla="*/ 60 w 84"/>
              <a:gd name="T61" fmla="*/ 54 h 78"/>
              <a:gd name="T62" fmla="*/ 60 w 84"/>
              <a:gd name="T63" fmla="*/ 60 h 78"/>
              <a:gd name="T64" fmla="*/ 66 w 84"/>
              <a:gd name="T65" fmla="*/ 60 h 78"/>
              <a:gd name="T66" fmla="*/ 66 w 84"/>
              <a:gd name="T67" fmla="*/ 60 h 78"/>
              <a:gd name="T68" fmla="*/ 66 w 84"/>
              <a:gd name="T69" fmla="*/ 66 h 78"/>
              <a:gd name="T70" fmla="*/ 60 w 84"/>
              <a:gd name="T71" fmla="*/ 66 h 78"/>
              <a:gd name="T72" fmla="*/ 60 w 84"/>
              <a:gd name="T73" fmla="*/ 66 h 78"/>
              <a:gd name="T74" fmla="*/ 60 w 84"/>
              <a:gd name="T75" fmla="*/ 72 h 78"/>
              <a:gd name="T76" fmla="*/ 60 w 84"/>
              <a:gd name="T77" fmla="*/ 72 h 78"/>
              <a:gd name="T78" fmla="*/ 60 w 84"/>
              <a:gd name="T79" fmla="*/ 72 h 78"/>
              <a:gd name="T80" fmla="*/ 60 w 84"/>
              <a:gd name="T81" fmla="*/ 78 h 78"/>
              <a:gd name="T82" fmla="*/ 54 w 84"/>
              <a:gd name="T83" fmla="*/ 78 h 78"/>
              <a:gd name="T84" fmla="*/ 54 w 84"/>
              <a:gd name="T85" fmla="*/ 78 h 78"/>
              <a:gd name="T86" fmla="*/ 48 w 84"/>
              <a:gd name="T87" fmla="*/ 78 h 78"/>
              <a:gd name="T88" fmla="*/ 42 w 84"/>
              <a:gd name="T89" fmla="*/ 78 h 78"/>
              <a:gd name="T90" fmla="*/ 42 w 84"/>
              <a:gd name="T91" fmla="*/ 78 h 78"/>
              <a:gd name="T92" fmla="*/ 42 w 84"/>
              <a:gd name="T93" fmla="*/ 78 h 78"/>
              <a:gd name="T94" fmla="*/ 36 w 84"/>
              <a:gd name="T95" fmla="*/ 78 h 78"/>
              <a:gd name="T96" fmla="*/ 30 w 84"/>
              <a:gd name="T97" fmla="*/ 78 h 78"/>
              <a:gd name="T98" fmla="*/ 30 w 84"/>
              <a:gd name="T99" fmla="*/ 72 h 78"/>
              <a:gd name="T100" fmla="*/ 18 w 84"/>
              <a:gd name="T101" fmla="*/ 72 h 78"/>
              <a:gd name="T102" fmla="*/ 12 w 84"/>
              <a:gd name="T103" fmla="*/ 66 h 78"/>
              <a:gd name="T104" fmla="*/ 12 w 84"/>
              <a:gd name="T105" fmla="*/ 66 h 78"/>
              <a:gd name="T106" fmla="*/ 12 w 84"/>
              <a:gd name="T107" fmla="*/ 60 h 78"/>
              <a:gd name="T108" fmla="*/ 12 w 84"/>
              <a:gd name="T109" fmla="*/ 60 h 78"/>
              <a:gd name="T110" fmla="*/ 0 w 84"/>
              <a:gd name="T111" fmla="*/ 48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84" h="78">
                <a:moveTo>
                  <a:pt x="0" y="48"/>
                </a:moveTo>
                <a:lnTo>
                  <a:pt x="0" y="48"/>
                </a:lnTo>
                <a:lnTo>
                  <a:pt x="6" y="42"/>
                </a:lnTo>
                <a:lnTo>
                  <a:pt x="6" y="42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6" y="18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24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6"/>
                </a:lnTo>
                <a:lnTo>
                  <a:pt x="36" y="6"/>
                </a:lnTo>
                <a:lnTo>
                  <a:pt x="36" y="12"/>
                </a:lnTo>
                <a:lnTo>
                  <a:pt x="36" y="12"/>
                </a:lnTo>
                <a:lnTo>
                  <a:pt x="42" y="18"/>
                </a:lnTo>
                <a:lnTo>
                  <a:pt x="48" y="18"/>
                </a:lnTo>
                <a:lnTo>
                  <a:pt x="54" y="24"/>
                </a:lnTo>
                <a:lnTo>
                  <a:pt x="54" y="24"/>
                </a:lnTo>
                <a:lnTo>
                  <a:pt x="54" y="30"/>
                </a:lnTo>
                <a:lnTo>
                  <a:pt x="54" y="30"/>
                </a:lnTo>
                <a:lnTo>
                  <a:pt x="60" y="30"/>
                </a:lnTo>
                <a:lnTo>
                  <a:pt x="60" y="36"/>
                </a:lnTo>
                <a:lnTo>
                  <a:pt x="66" y="36"/>
                </a:lnTo>
                <a:lnTo>
                  <a:pt x="66" y="42"/>
                </a:lnTo>
                <a:lnTo>
                  <a:pt x="72" y="42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84" y="48"/>
                </a:lnTo>
                <a:lnTo>
                  <a:pt x="84" y="48"/>
                </a:lnTo>
                <a:lnTo>
                  <a:pt x="78" y="54"/>
                </a:lnTo>
                <a:lnTo>
                  <a:pt x="78" y="48"/>
                </a:lnTo>
                <a:lnTo>
                  <a:pt x="78" y="54"/>
                </a:lnTo>
                <a:lnTo>
                  <a:pt x="78" y="54"/>
                </a:lnTo>
                <a:lnTo>
                  <a:pt x="78" y="48"/>
                </a:lnTo>
                <a:lnTo>
                  <a:pt x="72" y="48"/>
                </a:lnTo>
                <a:lnTo>
                  <a:pt x="72" y="48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48"/>
                </a:lnTo>
                <a:lnTo>
                  <a:pt x="66" y="54"/>
                </a:lnTo>
                <a:lnTo>
                  <a:pt x="66" y="48"/>
                </a:lnTo>
                <a:lnTo>
                  <a:pt x="66" y="48"/>
                </a:lnTo>
                <a:lnTo>
                  <a:pt x="66" y="54"/>
                </a:lnTo>
                <a:lnTo>
                  <a:pt x="66" y="54"/>
                </a:lnTo>
                <a:lnTo>
                  <a:pt x="60" y="54"/>
                </a:lnTo>
                <a:lnTo>
                  <a:pt x="60" y="60"/>
                </a:lnTo>
                <a:lnTo>
                  <a:pt x="60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0" y="66"/>
                </a:lnTo>
                <a:lnTo>
                  <a:pt x="66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36" y="78"/>
                </a:lnTo>
                <a:lnTo>
                  <a:pt x="36" y="78"/>
                </a:lnTo>
                <a:lnTo>
                  <a:pt x="30" y="78"/>
                </a:lnTo>
                <a:lnTo>
                  <a:pt x="30" y="72"/>
                </a:lnTo>
                <a:lnTo>
                  <a:pt x="30" y="72"/>
                </a:lnTo>
                <a:lnTo>
                  <a:pt x="24" y="72"/>
                </a:lnTo>
                <a:lnTo>
                  <a:pt x="18" y="72"/>
                </a:lnTo>
                <a:lnTo>
                  <a:pt x="18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6" y="54"/>
                </a:lnTo>
                <a:lnTo>
                  <a:pt x="0" y="4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86" name="Freeform 119"/>
          <p:cNvSpPr>
            <a:spLocks/>
          </p:cNvSpPr>
          <p:nvPr/>
        </p:nvSpPr>
        <p:spPr bwMode="auto">
          <a:xfrm>
            <a:off x="8136664" y="1661727"/>
            <a:ext cx="115633" cy="102786"/>
          </a:xfrm>
          <a:custGeom>
            <a:avLst/>
            <a:gdLst>
              <a:gd name="T0" fmla="*/ 0 w 108"/>
              <a:gd name="T1" fmla="*/ 24 h 96"/>
              <a:gd name="T2" fmla="*/ 0 w 108"/>
              <a:gd name="T3" fmla="*/ 18 h 96"/>
              <a:gd name="T4" fmla="*/ 6 w 108"/>
              <a:gd name="T5" fmla="*/ 12 h 96"/>
              <a:gd name="T6" fmla="*/ 12 w 108"/>
              <a:gd name="T7" fmla="*/ 12 h 96"/>
              <a:gd name="T8" fmla="*/ 12 w 108"/>
              <a:gd name="T9" fmla="*/ 6 h 96"/>
              <a:gd name="T10" fmla="*/ 24 w 108"/>
              <a:gd name="T11" fmla="*/ 6 h 96"/>
              <a:gd name="T12" fmla="*/ 30 w 108"/>
              <a:gd name="T13" fmla="*/ 12 h 96"/>
              <a:gd name="T14" fmla="*/ 30 w 108"/>
              <a:gd name="T15" fmla="*/ 12 h 96"/>
              <a:gd name="T16" fmla="*/ 48 w 108"/>
              <a:gd name="T17" fmla="*/ 12 h 96"/>
              <a:gd name="T18" fmla="*/ 54 w 108"/>
              <a:gd name="T19" fmla="*/ 12 h 96"/>
              <a:gd name="T20" fmla="*/ 60 w 108"/>
              <a:gd name="T21" fmla="*/ 12 h 96"/>
              <a:gd name="T22" fmla="*/ 72 w 108"/>
              <a:gd name="T23" fmla="*/ 6 h 96"/>
              <a:gd name="T24" fmla="*/ 78 w 108"/>
              <a:gd name="T25" fmla="*/ 6 h 96"/>
              <a:gd name="T26" fmla="*/ 108 w 108"/>
              <a:gd name="T27" fmla="*/ 6 h 96"/>
              <a:gd name="T28" fmla="*/ 108 w 108"/>
              <a:gd name="T29" fmla="*/ 12 h 96"/>
              <a:gd name="T30" fmla="*/ 108 w 108"/>
              <a:gd name="T31" fmla="*/ 12 h 96"/>
              <a:gd name="T32" fmla="*/ 108 w 108"/>
              <a:gd name="T33" fmla="*/ 18 h 96"/>
              <a:gd name="T34" fmla="*/ 108 w 108"/>
              <a:gd name="T35" fmla="*/ 18 h 96"/>
              <a:gd name="T36" fmla="*/ 108 w 108"/>
              <a:gd name="T37" fmla="*/ 24 h 96"/>
              <a:gd name="T38" fmla="*/ 102 w 108"/>
              <a:gd name="T39" fmla="*/ 24 h 96"/>
              <a:gd name="T40" fmla="*/ 102 w 108"/>
              <a:gd name="T41" fmla="*/ 24 h 96"/>
              <a:gd name="T42" fmla="*/ 102 w 108"/>
              <a:gd name="T43" fmla="*/ 30 h 96"/>
              <a:gd name="T44" fmla="*/ 102 w 108"/>
              <a:gd name="T45" fmla="*/ 30 h 96"/>
              <a:gd name="T46" fmla="*/ 102 w 108"/>
              <a:gd name="T47" fmla="*/ 30 h 96"/>
              <a:gd name="T48" fmla="*/ 102 w 108"/>
              <a:gd name="T49" fmla="*/ 36 h 96"/>
              <a:gd name="T50" fmla="*/ 102 w 108"/>
              <a:gd name="T51" fmla="*/ 36 h 96"/>
              <a:gd name="T52" fmla="*/ 96 w 108"/>
              <a:gd name="T53" fmla="*/ 36 h 96"/>
              <a:gd name="T54" fmla="*/ 96 w 108"/>
              <a:gd name="T55" fmla="*/ 36 h 96"/>
              <a:gd name="T56" fmla="*/ 96 w 108"/>
              <a:gd name="T57" fmla="*/ 42 h 96"/>
              <a:gd name="T58" fmla="*/ 96 w 108"/>
              <a:gd name="T59" fmla="*/ 48 h 96"/>
              <a:gd name="T60" fmla="*/ 96 w 108"/>
              <a:gd name="T61" fmla="*/ 48 h 96"/>
              <a:gd name="T62" fmla="*/ 96 w 108"/>
              <a:gd name="T63" fmla="*/ 48 h 96"/>
              <a:gd name="T64" fmla="*/ 90 w 108"/>
              <a:gd name="T65" fmla="*/ 48 h 96"/>
              <a:gd name="T66" fmla="*/ 90 w 108"/>
              <a:gd name="T67" fmla="*/ 48 h 96"/>
              <a:gd name="T68" fmla="*/ 90 w 108"/>
              <a:gd name="T69" fmla="*/ 54 h 96"/>
              <a:gd name="T70" fmla="*/ 96 w 108"/>
              <a:gd name="T71" fmla="*/ 60 h 96"/>
              <a:gd name="T72" fmla="*/ 90 w 108"/>
              <a:gd name="T73" fmla="*/ 66 h 96"/>
              <a:gd name="T74" fmla="*/ 90 w 108"/>
              <a:gd name="T75" fmla="*/ 66 h 96"/>
              <a:gd name="T76" fmla="*/ 84 w 108"/>
              <a:gd name="T77" fmla="*/ 78 h 96"/>
              <a:gd name="T78" fmla="*/ 78 w 108"/>
              <a:gd name="T79" fmla="*/ 84 h 96"/>
              <a:gd name="T80" fmla="*/ 66 w 108"/>
              <a:gd name="T81" fmla="*/ 84 h 96"/>
              <a:gd name="T82" fmla="*/ 60 w 108"/>
              <a:gd name="T83" fmla="*/ 90 h 96"/>
              <a:gd name="T84" fmla="*/ 54 w 108"/>
              <a:gd name="T85" fmla="*/ 90 h 96"/>
              <a:gd name="T86" fmla="*/ 18 w 108"/>
              <a:gd name="T87" fmla="*/ 90 h 96"/>
              <a:gd name="T88" fmla="*/ 6 w 108"/>
              <a:gd name="T89" fmla="*/ 90 h 96"/>
              <a:gd name="T90" fmla="*/ 6 w 108"/>
              <a:gd name="T91" fmla="*/ 84 h 96"/>
              <a:gd name="T92" fmla="*/ 6 w 108"/>
              <a:gd name="T93" fmla="*/ 84 h 96"/>
              <a:gd name="T94" fmla="*/ 0 w 108"/>
              <a:gd name="T95" fmla="*/ 78 h 96"/>
              <a:gd name="T96" fmla="*/ 6 w 108"/>
              <a:gd name="T97" fmla="*/ 78 h 96"/>
              <a:gd name="T98" fmla="*/ 12 w 108"/>
              <a:gd name="T99" fmla="*/ 72 h 96"/>
              <a:gd name="T100" fmla="*/ 6 w 108"/>
              <a:gd name="T101" fmla="*/ 66 h 96"/>
              <a:gd name="T102" fmla="*/ 6 w 108"/>
              <a:gd name="T103" fmla="*/ 66 h 96"/>
              <a:gd name="T104" fmla="*/ 6 w 108"/>
              <a:gd name="T105" fmla="*/ 60 h 96"/>
              <a:gd name="T106" fmla="*/ 6 w 108"/>
              <a:gd name="T107" fmla="*/ 54 h 96"/>
              <a:gd name="T108" fmla="*/ 6 w 108"/>
              <a:gd name="T109" fmla="*/ 48 h 96"/>
              <a:gd name="T110" fmla="*/ 12 w 108"/>
              <a:gd name="T111" fmla="*/ 48 h 96"/>
              <a:gd name="T112" fmla="*/ 6 w 108"/>
              <a:gd name="T113" fmla="*/ 42 h 96"/>
              <a:gd name="T114" fmla="*/ 6 w 108"/>
              <a:gd name="T115" fmla="*/ 36 h 96"/>
              <a:gd name="T116" fmla="*/ 6 w 108"/>
              <a:gd name="T117" fmla="*/ 3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08" h="96">
                <a:moveTo>
                  <a:pt x="0" y="30"/>
                </a:moveTo>
                <a:lnTo>
                  <a:pt x="0" y="30"/>
                </a:lnTo>
                <a:lnTo>
                  <a:pt x="0" y="30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6"/>
                </a:lnTo>
                <a:lnTo>
                  <a:pt x="18" y="12"/>
                </a:lnTo>
                <a:lnTo>
                  <a:pt x="18" y="12"/>
                </a:lnTo>
                <a:lnTo>
                  <a:pt x="12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6" y="12"/>
                </a:lnTo>
                <a:lnTo>
                  <a:pt x="66" y="12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96" y="6"/>
                </a:lnTo>
                <a:lnTo>
                  <a:pt x="96" y="6"/>
                </a:lnTo>
                <a:lnTo>
                  <a:pt x="102" y="0"/>
                </a:lnTo>
                <a:lnTo>
                  <a:pt x="102" y="6"/>
                </a:lnTo>
                <a:lnTo>
                  <a:pt x="108" y="6"/>
                </a:lnTo>
                <a:lnTo>
                  <a:pt x="108" y="6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30"/>
                </a:lnTo>
                <a:lnTo>
                  <a:pt x="102" y="30"/>
                </a:lnTo>
                <a:lnTo>
                  <a:pt x="96" y="30"/>
                </a:lnTo>
                <a:lnTo>
                  <a:pt x="96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0"/>
                </a:lnTo>
                <a:lnTo>
                  <a:pt x="102" y="36"/>
                </a:lnTo>
                <a:lnTo>
                  <a:pt x="102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8"/>
                </a:lnTo>
                <a:lnTo>
                  <a:pt x="96" y="48"/>
                </a:lnTo>
                <a:lnTo>
                  <a:pt x="96" y="42"/>
                </a:lnTo>
                <a:lnTo>
                  <a:pt x="96" y="48"/>
                </a:lnTo>
                <a:lnTo>
                  <a:pt x="90" y="42"/>
                </a:lnTo>
                <a:lnTo>
                  <a:pt x="96" y="48"/>
                </a:lnTo>
                <a:lnTo>
                  <a:pt x="90" y="48"/>
                </a:lnTo>
                <a:lnTo>
                  <a:pt x="96" y="48"/>
                </a:lnTo>
                <a:lnTo>
                  <a:pt x="96" y="48"/>
                </a:lnTo>
                <a:lnTo>
                  <a:pt x="90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60"/>
                </a:lnTo>
                <a:lnTo>
                  <a:pt x="96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72"/>
                </a:lnTo>
                <a:lnTo>
                  <a:pt x="90" y="72"/>
                </a:lnTo>
                <a:lnTo>
                  <a:pt x="96" y="72"/>
                </a:lnTo>
                <a:lnTo>
                  <a:pt x="84" y="78"/>
                </a:lnTo>
                <a:lnTo>
                  <a:pt x="84" y="78"/>
                </a:lnTo>
                <a:lnTo>
                  <a:pt x="84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90"/>
                </a:lnTo>
                <a:lnTo>
                  <a:pt x="60" y="90"/>
                </a:lnTo>
                <a:lnTo>
                  <a:pt x="60" y="90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0"/>
                </a:lnTo>
                <a:lnTo>
                  <a:pt x="54" y="90"/>
                </a:lnTo>
                <a:lnTo>
                  <a:pt x="42" y="96"/>
                </a:lnTo>
                <a:lnTo>
                  <a:pt x="36" y="96"/>
                </a:lnTo>
                <a:lnTo>
                  <a:pt x="30" y="96"/>
                </a:lnTo>
                <a:lnTo>
                  <a:pt x="24" y="96"/>
                </a:lnTo>
                <a:lnTo>
                  <a:pt x="18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0" y="84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6" y="66"/>
                </a:lnTo>
                <a:lnTo>
                  <a:pt x="6" y="72"/>
                </a:lnTo>
                <a:lnTo>
                  <a:pt x="6" y="66"/>
                </a:lnTo>
                <a:lnTo>
                  <a:pt x="0" y="66"/>
                </a:lnTo>
                <a:lnTo>
                  <a:pt x="0" y="66"/>
                </a:lnTo>
                <a:lnTo>
                  <a:pt x="6" y="66"/>
                </a:lnTo>
                <a:lnTo>
                  <a:pt x="6" y="66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12" y="48"/>
                </a:lnTo>
                <a:lnTo>
                  <a:pt x="12" y="48"/>
                </a:lnTo>
                <a:lnTo>
                  <a:pt x="6" y="42"/>
                </a:lnTo>
                <a:lnTo>
                  <a:pt x="12" y="42"/>
                </a:lnTo>
                <a:lnTo>
                  <a:pt x="12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0" y="30"/>
                </a:lnTo>
                <a:lnTo>
                  <a:pt x="0" y="3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87" name="Freeform 120"/>
          <p:cNvSpPr>
            <a:spLocks/>
          </p:cNvSpPr>
          <p:nvPr/>
        </p:nvSpPr>
        <p:spPr bwMode="auto">
          <a:xfrm>
            <a:off x="7982487" y="1533245"/>
            <a:ext cx="173449" cy="154178"/>
          </a:xfrm>
          <a:custGeom>
            <a:avLst/>
            <a:gdLst>
              <a:gd name="T0" fmla="*/ 6 w 162"/>
              <a:gd name="T1" fmla="*/ 102 h 144"/>
              <a:gd name="T2" fmla="*/ 12 w 162"/>
              <a:gd name="T3" fmla="*/ 96 h 144"/>
              <a:gd name="T4" fmla="*/ 24 w 162"/>
              <a:gd name="T5" fmla="*/ 96 h 144"/>
              <a:gd name="T6" fmla="*/ 30 w 162"/>
              <a:gd name="T7" fmla="*/ 84 h 144"/>
              <a:gd name="T8" fmla="*/ 48 w 162"/>
              <a:gd name="T9" fmla="*/ 72 h 144"/>
              <a:gd name="T10" fmla="*/ 48 w 162"/>
              <a:gd name="T11" fmla="*/ 72 h 144"/>
              <a:gd name="T12" fmla="*/ 60 w 162"/>
              <a:gd name="T13" fmla="*/ 72 h 144"/>
              <a:gd name="T14" fmla="*/ 66 w 162"/>
              <a:gd name="T15" fmla="*/ 66 h 144"/>
              <a:gd name="T16" fmla="*/ 54 w 162"/>
              <a:gd name="T17" fmla="*/ 60 h 144"/>
              <a:gd name="T18" fmla="*/ 48 w 162"/>
              <a:gd name="T19" fmla="*/ 54 h 144"/>
              <a:gd name="T20" fmla="*/ 48 w 162"/>
              <a:gd name="T21" fmla="*/ 48 h 144"/>
              <a:gd name="T22" fmla="*/ 42 w 162"/>
              <a:gd name="T23" fmla="*/ 42 h 144"/>
              <a:gd name="T24" fmla="*/ 48 w 162"/>
              <a:gd name="T25" fmla="*/ 36 h 144"/>
              <a:gd name="T26" fmla="*/ 54 w 162"/>
              <a:gd name="T27" fmla="*/ 24 h 144"/>
              <a:gd name="T28" fmla="*/ 48 w 162"/>
              <a:gd name="T29" fmla="*/ 18 h 144"/>
              <a:gd name="T30" fmla="*/ 42 w 162"/>
              <a:gd name="T31" fmla="*/ 6 h 144"/>
              <a:gd name="T32" fmla="*/ 54 w 162"/>
              <a:gd name="T33" fmla="*/ 12 h 144"/>
              <a:gd name="T34" fmla="*/ 60 w 162"/>
              <a:gd name="T35" fmla="*/ 18 h 144"/>
              <a:gd name="T36" fmla="*/ 66 w 162"/>
              <a:gd name="T37" fmla="*/ 24 h 144"/>
              <a:gd name="T38" fmla="*/ 72 w 162"/>
              <a:gd name="T39" fmla="*/ 30 h 144"/>
              <a:gd name="T40" fmla="*/ 90 w 162"/>
              <a:gd name="T41" fmla="*/ 30 h 144"/>
              <a:gd name="T42" fmla="*/ 102 w 162"/>
              <a:gd name="T43" fmla="*/ 30 h 144"/>
              <a:gd name="T44" fmla="*/ 114 w 162"/>
              <a:gd name="T45" fmla="*/ 36 h 144"/>
              <a:gd name="T46" fmla="*/ 114 w 162"/>
              <a:gd name="T47" fmla="*/ 42 h 144"/>
              <a:gd name="T48" fmla="*/ 126 w 162"/>
              <a:gd name="T49" fmla="*/ 48 h 144"/>
              <a:gd name="T50" fmla="*/ 144 w 162"/>
              <a:gd name="T51" fmla="*/ 54 h 144"/>
              <a:gd name="T52" fmla="*/ 150 w 162"/>
              <a:gd name="T53" fmla="*/ 60 h 144"/>
              <a:gd name="T54" fmla="*/ 150 w 162"/>
              <a:gd name="T55" fmla="*/ 66 h 144"/>
              <a:gd name="T56" fmla="*/ 156 w 162"/>
              <a:gd name="T57" fmla="*/ 78 h 144"/>
              <a:gd name="T58" fmla="*/ 162 w 162"/>
              <a:gd name="T59" fmla="*/ 90 h 144"/>
              <a:gd name="T60" fmla="*/ 156 w 162"/>
              <a:gd name="T61" fmla="*/ 96 h 144"/>
              <a:gd name="T62" fmla="*/ 150 w 162"/>
              <a:gd name="T63" fmla="*/ 102 h 144"/>
              <a:gd name="T64" fmla="*/ 156 w 162"/>
              <a:gd name="T65" fmla="*/ 108 h 144"/>
              <a:gd name="T66" fmla="*/ 156 w 162"/>
              <a:gd name="T67" fmla="*/ 120 h 144"/>
              <a:gd name="T68" fmla="*/ 156 w 162"/>
              <a:gd name="T69" fmla="*/ 126 h 144"/>
              <a:gd name="T70" fmla="*/ 156 w 162"/>
              <a:gd name="T71" fmla="*/ 132 h 144"/>
              <a:gd name="T72" fmla="*/ 150 w 162"/>
              <a:gd name="T73" fmla="*/ 138 h 144"/>
              <a:gd name="T74" fmla="*/ 144 w 162"/>
              <a:gd name="T75" fmla="*/ 138 h 144"/>
              <a:gd name="T76" fmla="*/ 138 w 162"/>
              <a:gd name="T77" fmla="*/ 132 h 144"/>
              <a:gd name="T78" fmla="*/ 132 w 162"/>
              <a:gd name="T79" fmla="*/ 138 h 144"/>
              <a:gd name="T80" fmla="*/ 126 w 162"/>
              <a:gd name="T81" fmla="*/ 138 h 144"/>
              <a:gd name="T82" fmla="*/ 120 w 162"/>
              <a:gd name="T83" fmla="*/ 132 h 144"/>
              <a:gd name="T84" fmla="*/ 114 w 162"/>
              <a:gd name="T85" fmla="*/ 132 h 144"/>
              <a:gd name="T86" fmla="*/ 108 w 162"/>
              <a:gd name="T87" fmla="*/ 126 h 144"/>
              <a:gd name="T88" fmla="*/ 102 w 162"/>
              <a:gd name="T89" fmla="*/ 126 h 144"/>
              <a:gd name="T90" fmla="*/ 96 w 162"/>
              <a:gd name="T91" fmla="*/ 114 h 144"/>
              <a:gd name="T92" fmla="*/ 66 w 162"/>
              <a:gd name="T93" fmla="*/ 132 h 144"/>
              <a:gd name="T94" fmla="*/ 30 w 162"/>
              <a:gd name="T95" fmla="*/ 120 h 144"/>
              <a:gd name="T96" fmla="*/ 24 w 162"/>
              <a:gd name="T97" fmla="*/ 126 h 144"/>
              <a:gd name="T98" fmla="*/ 18 w 162"/>
              <a:gd name="T99" fmla="*/ 138 h 144"/>
              <a:gd name="T100" fmla="*/ 12 w 162"/>
              <a:gd name="T101" fmla="*/ 132 h 144"/>
              <a:gd name="T102" fmla="*/ 6 w 162"/>
              <a:gd name="T103" fmla="*/ 132 h 144"/>
              <a:gd name="T104" fmla="*/ 6 w 162"/>
              <a:gd name="T105" fmla="*/ 126 h 144"/>
              <a:gd name="T106" fmla="*/ 6 w 162"/>
              <a:gd name="T107" fmla="*/ 120 h 144"/>
              <a:gd name="T108" fmla="*/ 6 w 162"/>
              <a:gd name="T109" fmla="*/ 120 h 144"/>
              <a:gd name="T110" fmla="*/ 6 w 162"/>
              <a:gd name="T111" fmla="*/ 114 h 144"/>
              <a:gd name="T112" fmla="*/ 12 w 162"/>
              <a:gd name="T113" fmla="*/ 108 h 144"/>
              <a:gd name="T114" fmla="*/ 6 w 162"/>
              <a:gd name="T115" fmla="*/ 102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62" h="144">
                <a:moveTo>
                  <a:pt x="0" y="102"/>
                </a:moveTo>
                <a:lnTo>
                  <a:pt x="0" y="102"/>
                </a:lnTo>
                <a:lnTo>
                  <a:pt x="0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8" y="102"/>
                </a:lnTo>
                <a:lnTo>
                  <a:pt x="18" y="96"/>
                </a:lnTo>
                <a:lnTo>
                  <a:pt x="18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0"/>
                </a:lnTo>
                <a:lnTo>
                  <a:pt x="30" y="90"/>
                </a:lnTo>
                <a:lnTo>
                  <a:pt x="30" y="90"/>
                </a:lnTo>
                <a:lnTo>
                  <a:pt x="30" y="84"/>
                </a:lnTo>
                <a:lnTo>
                  <a:pt x="36" y="78"/>
                </a:lnTo>
                <a:lnTo>
                  <a:pt x="36" y="72"/>
                </a:lnTo>
                <a:lnTo>
                  <a:pt x="42" y="72"/>
                </a:lnTo>
                <a:lnTo>
                  <a:pt x="42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54" y="72"/>
                </a:lnTo>
                <a:lnTo>
                  <a:pt x="54" y="72"/>
                </a:lnTo>
                <a:lnTo>
                  <a:pt x="48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60" y="72"/>
                </a:lnTo>
                <a:lnTo>
                  <a:pt x="60" y="72"/>
                </a:lnTo>
                <a:lnTo>
                  <a:pt x="66" y="72"/>
                </a:lnTo>
                <a:lnTo>
                  <a:pt x="66" y="72"/>
                </a:lnTo>
                <a:lnTo>
                  <a:pt x="60" y="72"/>
                </a:lnTo>
                <a:lnTo>
                  <a:pt x="66" y="72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0" y="66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0" y="60"/>
                </a:lnTo>
                <a:lnTo>
                  <a:pt x="60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2" y="54"/>
                </a:lnTo>
                <a:lnTo>
                  <a:pt x="48" y="54"/>
                </a:lnTo>
                <a:lnTo>
                  <a:pt x="42" y="54"/>
                </a:lnTo>
                <a:lnTo>
                  <a:pt x="42" y="48"/>
                </a:lnTo>
                <a:lnTo>
                  <a:pt x="48" y="48"/>
                </a:lnTo>
                <a:lnTo>
                  <a:pt x="48" y="42"/>
                </a:lnTo>
                <a:lnTo>
                  <a:pt x="48" y="42"/>
                </a:lnTo>
                <a:lnTo>
                  <a:pt x="48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6"/>
                </a:lnTo>
                <a:lnTo>
                  <a:pt x="42" y="6"/>
                </a:lnTo>
                <a:lnTo>
                  <a:pt x="48" y="0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12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30"/>
                </a:lnTo>
                <a:lnTo>
                  <a:pt x="72" y="30"/>
                </a:lnTo>
                <a:lnTo>
                  <a:pt x="78" y="30"/>
                </a:lnTo>
                <a:lnTo>
                  <a:pt x="84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6"/>
                </a:lnTo>
                <a:lnTo>
                  <a:pt x="102" y="36"/>
                </a:lnTo>
                <a:lnTo>
                  <a:pt x="108" y="36"/>
                </a:lnTo>
                <a:lnTo>
                  <a:pt x="108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8"/>
                </a:lnTo>
                <a:lnTo>
                  <a:pt x="114" y="48"/>
                </a:lnTo>
                <a:lnTo>
                  <a:pt x="120" y="48"/>
                </a:lnTo>
                <a:lnTo>
                  <a:pt x="120" y="42"/>
                </a:lnTo>
                <a:lnTo>
                  <a:pt x="126" y="42"/>
                </a:lnTo>
                <a:lnTo>
                  <a:pt x="126" y="48"/>
                </a:lnTo>
                <a:lnTo>
                  <a:pt x="126" y="48"/>
                </a:lnTo>
                <a:lnTo>
                  <a:pt x="132" y="48"/>
                </a:lnTo>
                <a:lnTo>
                  <a:pt x="132" y="48"/>
                </a:lnTo>
                <a:lnTo>
                  <a:pt x="138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54"/>
                </a:lnTo>
                <a:lnTo>
                  <a:pt x="144" y="54"/>
                </a:lnTo>
                <a:lnTo>
                  <a:pt x="144" y="54"/>
                </a:lnTo>
                <a:lnTo>
                  <a:pt x="144" y="54"/>
                </a:lnTo>
                <a:lnTo>
                  <a:pt x="144" y="54"/>
                </a:lnTo>
                <a:lnTo>
                  <a:pt x="144" y="60"/>
                </a:lnTo>
                <a:lnTo>
                  <a:pt x="150" y="60"/>
                </a:lnTo>
                <a:lnTo>
                  <a:pt x="150" y="60"/>
                </a:lnTo>
                <a:lnTo>
                  <a:pt x="144" y="60"/>
                </a:lnTo>
                <a:lnTo>
                  <a:pt x="144" y="60"/>
                </a:lnTo>
                <a:lnTo>
                  <a:pt x="144" y="60"/>
                </a:lnTo>
                <a:lnTo>
                  <a:pt x="144" y="60"/>
                </a:lnTo>
                <a:lnTo>
                  <a:pt x="144" y="66"/>
                </a:lnTo>
                <a:lnTo>
                  <a:pt x="144" y="66"/>
                </a:lnTo>
                <a:lnTo>
                  <a:pt x="150" y="66"/>
                </a:lnTo>
                <a:lnTo>
                  <a:pt x="150" y="72"/>
                </a:lnTo>
                <a:lnTo>
                  <a:pt x="156" y="72"/>
                </a:lnTo>
                <a:lnTo>
                  <a:pt x="156" y="72"/>
                </a:lnTo>
                <a:lnTo>
                  <a:pt x="156" y="66"/>
                </a:lnTo>
                <a:lnTo>
                  <a:pt x="156" y="72"/>
                </a:lnTo>
                <a:lnTo>
                  <a:pt x="156" y="78"/>
                </a:lnTo>
                <a:lnTo>
                  <a:pt x="156" y="78"/>
                </a:lnTo>
                <a:lnTo>
                  <a:pt x="156" y="78"/>
                </a:lnTo>
                <a:lnTo>
                  <a:pt x="156" y="84"/>
                </a:lnTo>
                <a:lnTo>
                  <a:pt x="156" y="84"/>
                </a:lnTo>
                <a:lnTo>
                  <a:pt x="156" y="84"/>
                </a:lnTo>
                <a:lnTo>
                  <a:pt x="162" y="90"/>
                </a:lnTo>
                <a:lnTo>
                  <a:pt x="162" y="90"/>
                </a:lnTo>
                <a:lnTo>
                  <a:pt x="162" y="90"/>
                </a:lnTo>
                <a:lnTo>
                  <a:pt x="162" y="90"/>
                </a:lnTo>
                <a:lnTo>
                  <a:pt x="162" y="96"/>
                </a:lnTo>
                <a:lnTo>
                  <a:pt x="162" y="96"/>
                </a:lnTo>
                <a:lnTo>
                  <a:pt x="162" y="96"/>
                </a:lnTo>
                <a:lnTo>
                  <a:pt x="156" y="96"/>
                </a:lnTo>
                <a:lnTo>
                  <a:pt x="156" y="96"/>
                </a:lnTo>
                <a:lnTo>
                  <a:pt x="156" y="96"/>
                </a:lnTo>
                <a:lnTo>
                  <a:pt x="156" y="96"/>
                </a:lnTo>
                <a:lnTo>
                  <a:pt x="156" y="96"/>
                </a:lnTo>
                <a:lnTo>
                  <a:pt x="156" y="102"/>
                </a:lnTo>
                <a:lnTo>
                  <a:pt x="150" y="102"/>
                </a:lnTo>
                <a:lnTo>
                  <a:pt x="150" y="102"/>
                </a:lnTo>
                <a:lnTo>
                  <a:pt x="150" y="102"/>
                </a:lnTo>
                <a:lnTo>
                  <a:pt x="150" y="102"/>
                </a:lnTo>
                <a:lnTo>
                  <a:pt x="150" y="102"/>
                </a:lnTo>
                <a:lnTo>
                  <a:pt x="150" y="108"/>
                </a:lnTo>
                <a:lnTo>
                  <a:pt x="156" y="108"/>
                </a:lnTo>
                <a:lnTo>
                  <a:pt x="150" y="108"/>
                </a:lnTo>
                <a:lnTo>
                  <a:pt x="150" y="108"/>
                </a:lnTo>
                <a:lnTo>
                  <a:pt x="150" y="108"/>
                </a:lnTo>
                <a:lnTo>
                  <a:pt x="156" y="108"/>
                </a:lnTo>
                <a:lnTo>
                  <a:pt x="156" y="114"/>
                </a:lnTo>
                <a:lnTo>
                  <a:pt x="150" y="114"/>
                </a:lnTo>
                <a:lnTo>
                  <a:pt x="150" y="114"/>
                </a:lnTo>
                <a:lnTo>
                  <a:pt x="150" y="114"/>
                </a:lnTo>
                <a:lnTo>
                  <a:pt x="156" y="114"/>
                </a:lnTo>
                <a:lnTo>
                  <a:pt x="156" y="120"/>
                </a:lnTo>
                <a:lnTo>
                  <a:pt x="156" y="120"/>
                </a:lnTo>
                <a:lnTo>
                  <a:pt x="156" y="120"/>
                </a:lnTo>
                <a:lnTo>
                  <a:pt x="156" y="120"/>
                </a:lnTo>
                <a:lnTo>
                  <a:pt x="156" y="120"/>
                </a:lnTo>
                <a:lnTo>
                  <a:pt x="156" y="120"/>
                </a:lnTo>
                <a:lnTo>
                  <a:pt x="156" y="120"/>
                </a:lnTo>
                <a:lnTo>
                  <a:pt x="156" y="120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62" y="132"/>
                </a:lnTo>
                <a:lnTo>
                  <a:pt x="162" y="132"/>
                </a:lnTo>
                <a:lnTo>
                  <a:pt x="156" y="126"/>
                </a:lnTo>
                <a:lnTo>
                  <a:pt x="156" y="132"/>
                </a:lnTo>
                <a:lnTo>
                  <a:pt x="156" y="132"/>
                </a:lnTo>
                <a:lnTo>
                  <a:pt x="156" y="132"/>
                </a:lnTo>
                <a:lnTo>
                  <a:pt x="156" y="132"/>
                </a:lnTo>
                <a:lnTo>
                  <a:pt x="156" y="132"/>
                </a:lnTo>
                <a:lnTo>
                  <a:pt x="150" y="132"/>
                </a:lnTo>
                <a:lnTo>
                  <a:pt x="150" y="132"/>
                </a:lnTo>
                <a:lnTo>
                  <a:pt x="150" y="132"/>
                </a:lnTo>
                <a:lnTo>
                  <a:pt x="150" y="138"/>
                </a:lnTo>
                <a:lnTo>
                  <a:pt x="150" y="138"/>
                </a:lnTo>
                <a:lnTo>
                  <a:pt x="150" y="138"/>
                </a:lnTo>
                <a:lnTo>
                  <a:pt x="144" y="138"/>
                </a:lnTo>
                <a:lnTo>
                  <a:pt x="144" y="144"/>
                </a:lnTo>
                <a:lnTo>
                  <a:pt x="144" y="144"/>
                </a:lnTo>
                <a:lnTo>
                  <a:pt x="144" y="138"/>
                </a:lnTo>
                <a:lnTo>
                  <a:pt x="144" y="138"/>
                </a:lnTo>
                <a:lnTo>
                  <a:pt x="144" y="138"/>
                </a:lnTo>
                <a:lnTo>
                  <a:pt x="144" y="138"/>
                </a:lnTo>
                <a:lnTo>
                  <a:pt x="144" y="138"/>
                </a:lnTo>
                <a:lnTo>
                  <a:pt x="138" y="138"/>
                </a:lnTo>
                <a:lnTo>
                  <a:pt x="138" y="132"/>
                </a:lnTo>
                <a:lnTo>
                  <a:pt x="138" y="132"/>
                </a:lnTo>
                <a:lnTo>
                  <a:pt x="138" y="132"/>
                </a:lnTo>
                <a:lnTo>
                  <a:pt x="138" y="132"/>
                </a:lnTo>
                <a:lnTo>
                  <a:pt x="138" y="132"/>
                </a:lnTo>
                <a:lnTo>
                  <a:pt x="138" y="132"/>
                </a:lnTo>
                <a:lnTo>
                  <a:pt x="132" y="138"/>
                </a:lnTo>
                <a:lnTo>
                  <a:pt x="132" y="138"/>
                </a:lnTo>
                <a:lnTo>
                  <a:pt x="132" y="138"/>
                </a:lnTo>
                <a:lnTo>
                  <a:pt x="132" y="138"/>
                </a:lnTo>
                <a:lnTo>
                  <a:pt x="132" y="138"/>
                </a:lnTo>
                <a:lnTo>
                  <a:pt x="132" y="138"/>
                </a:lnTo>
                <a:lnTo>
                  <a:pt x="132" y="138"/>
                </a:lnTo>
                <a:lnTo>
                  <a:pt x="126" y="138"/>
                </a:lnTo>
                <a:lnTo>
                  <a:pt x="126" y="138"/>
                </a:lnTo>
                <a:lnTo>
                  <a:pt x="126" y="138"/>
                </a:lnTo>
                <a:lnTo>
                  <a:pt x="126" y="138"/>
                </a:lnTo>
                <a:lnTo>
                  <a:pt x="120" y="138"/>
                </a:lnTo>
                <a:lnTo>
                  <a:pt x="120" y="138"/>
                </a:lnTo>
                <a:lnTo>
                  <a:pt x="120" y="138"/>
                </a:lnTo>
                <a:lnTo>
                  <a:pt x="120" y="132"/>
                </a:lnTo>
                <a:lnTo>
                  <a:pt x="120" y="132"/>
                </a:lnTo>
                <a:lnTo>
                  <a:pt x="120" y="132"/>
                </a:lnTo>
                <a:lnTo>
                  <a:pt x="120" y="132"/>
                </a:lnTo>
                <a:lnTo>
                  <a:pt x="114" y="132"/>
                </a:lnTo>
                <a:lnTo>
                  <a:pt x="114" y="132"/>
                </a:lnTo>
                <a:lnTo>
                  <a:pt x="120" y="132"/>
                </a:lnTo>
                <a:lnTo>
                  <a:pt x="114" y="132"/>
                </a:lnTo>
                <a:lnTo>
                  <a:pt x="114" y="132"/>
                </a:lnTo>
                <a:lnTo>
                  <a:pt x="114" y="132"/>
                </a:lnTo>
                <a:lnTo>
                  <a:pt x="114" y="132"/>
                </a:lnTo>
                <a:lnTo>
                  <a:pt x="114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26"/>
                </a:lnTo>
                <a:lnTo>
                  <a:pt x="96" y="126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14"/>
                </a:lnTo>
                <a:lnTo>
                  <a:pt x="90" y="114"/>
                </a:lnTo>
                <a:lnTo>
                  <a:pt x="90" y="114"/>
                </a:lnTo>
                <a:lnTo>
                  <a:pt x="78" y="108"/>
                </a:lnTo>
                <a:lnTo>
                  <a:pt x="72" y="114"/>
                </a:lnTo>
                <a:lnTo>
                  <a:pt x="66" y="120"/>
                </a:lnTo>
                <a:lnTo>
                  <a:pt x="66" y="120"/>
                </a:lnTo>
                <a:lnTo>
                  <a:pt x="66" y="132"/>
                </a:lnTo>
                <a:lnTo>
                  <a:pt x="60" y="132"/>
                </a:lnTo>
                <a:lnTo>
                  <a:pt x="54" y="132"/>
                </a:lnTo>
                <a:lnTo>
                  <a:pt x="48" y="126"/>
                </a:lnTo>
                <a:lnTo>
                  <a:pt x="42" y="126"/>
                </a:lnTo>
                <a:lnTo>
                  <a:pt x="42" y="126"/>
                </a:lnTo>
                <a:lnTo>
                  <a:pt x="36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6"/>
                </a:lnTo>
                <a:lnTo>
                  <a:pt x="24" y="126"/>
                </a:lnTo>
                <a:lnTo>
                  <a:pt x="30" y="126"/>
                </a:lnTo>
                <a:lnTo>
                  <a:pt x="24" y="126"/>
                </a:lnTo>
                <a:lnTo>
                  <a:pt x="24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2"/>
                </a:lnTo>
                <a:lnTo>
                  <a:pt x="12" y="132"/>
                </a:lnTo>
                <a:lnTo>
                  <a:pt x="6" y="132"/>
                </a:lnTo>
                <a:lnTo>
                  <a:pt x="6" y="132"/>
                </a:lnTo>
                <a:lnTo>
                  <a:pt x="6" y="132"/>
                </a:lnTo>
                <a:lnTo>
                  <a:pt x="6" y="132"/>
                </a:lnTo>
                <a:lnTo>
                  <a:pt x="6" y="132"/>
                </a:lnTo>
                <a:lnTo>
                  <a:pt x="6" y="132"/>
                </a:lnTo>
                <a:lnTo>
                  <a:pt x="6" y="132"/>
                </a:lnTo>
                <a:lnTo>
                  <a:pt x="6" y="132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88" name="Freeform 121"/>
          <p:cNvSpPr>
            <a:spLocks/>
          </p:cNvSpPr>
          <p:nvPr/>
        </p:nvSpPr>
        <p:spPr bwMode="auto">
          <a:xfrm>
            <a:off x="7911822" y="1558942"/>
            <a:ext cx="96361" cy="167026"/>
          </a:xfrm>
          <a:custGeom>
            <a:avLst/>
            <a:gdLst>
              <a:gd name="T0" fmla="*/ 12 w 90"/>
              <a:gd name="T1" fmla="*/ 30 h 156"/>
              <a:gd name="T2" fmla="*/ 18 w 90"/>
              <a:gd name="T3" fmla="*/ 30 h 156"/>
              <a:gd name="T4" fmla="*/ 24 w 90"/>
              <a:gd name="T5" fmla="*/ 24 h 156"/>
              <a:gd name="T6" fmla="*/ 30 w 90"/>
              <a:gd name="T7" fmla="*/ 12 h 156"/>
              <a:gd name="T8" fmla="*/ 42 w 90"/>
              <a:gd name="T9" fmla="*/ 12 h 156"/>
              <a:gd name="T10" fmla="*/ 48 w 90"/>
              <a:gd name="T11" fmla="*/ 18 h 156"/>
              <a:gd name="T12" fmla="*/ 66 w 90"/>
              <a:gd name="T13" fmla="*/ 30 h 156"/>
              <a:gd name="T14" fmla="*/ 66 w 90"/>
              <a:gd name="T15" fmla="*/ 24 h 156"/>
              <a:gd name="T16" fmla="*/ 72 w 90"/>
              <a:gd name="T17" fmla="*/ 24 h 156"/>
              <a:gd name="T18" fmla="*/ 72 w 90"/>
              <a:gd name="T19" fmla="*/ 36 h 156"/>
              <a:gd name="T20" fmla="*/ 66 w 90"/>
              <a:gd name="T21" fmla="*/ 60 h 156"/>
              <a:gd name="T22" fmla="*/ 72 w 90"/>
              <a:gd name="T23" fmla="*/ 66 h 156"/>
              <a:gd name="T24" fmla="*/ 78 w 90"/>
              <a:gd name="T25" fmla="*/ 66 h 156"/>
              <a:gd name="T26" fmla="*/ 78 w 90"/>
              <a:gd name="T27" fmla="*/ 72 h 156"/>
              <a:gd name="T28" fmla="*/ 78 w 90"/>
              <a:gd name="T29" fmla="*/ 72 h 156"/>
              <a:gd name="T30" fmla="*/ 72 w 90"/>
              <a:gd name="T31" fmla="*/ 78 h 156"/>
              <a:gd name="T32" fmla="*/ 66 w 90"/>
              <a:gd name="T33" fmla="*/ 78 h 156"/>
              <a:gd name="T34" fmla="*/ 72 w 90"/>
              <a:gd name="T35" fmla="*/ 78 h 156"/>
              <a:gd name="T36" fmla="*/ 78 w 90"/>
              <a:gd name="T37" fmla="*/ 78 h 156"/>
              <a:gd name="T38" fmla="*/ 72 w 90"/>
              <a:gd name="T39" fmla="*/ 84 h 156"/>
              <a:gd name="T40" fmla="*/ 72 w 90"/>
              <a:gd name="T41" fmla="*/ 90 h 156"/>
              <a:gd name="T42" fmla="*/ 72 w 90"/>
              <a:gd name="T43" fmla="*/ 96 h 156"/>
              <a:gd name="T44" fmla="*/ 72 w 90"/>
              <a:gd name="T45" fmla="*/ 96 h 156"/>
              <a:gd name="T46" fmla="*/ 72 w 90"/>
              <a:gd name="T47" fmla="*/ 102 h 156"/>
              <a:gd name="T48" fmla="*/ 72 w 90"/>
              <a:gd name="T49" fmla="*/ 102 h 156"/>
              <a:gd name="T50" fmla="*/ 72 w 90"/>
              <a:gd name="T51" fmla="*/ 102 h 156"/>
              <a:gd name="T52" fmla="*/ 72 w 90"/>
              <a:gd name="T53" fmla="*/ 108 h 156"/>
              <a:gd name="T54" fmla="*/ 78 w 90"/>
              <a:gd name="T55" fmla="*/ 108 h 156"/>
              <a:gd name="T56" fmla="*/ 84 w 90"/>
              <a:gd name="T57" fmla="*/ 114 h 156"/>
              <a:gd name="T58" fmla="*/ 84 w 90"/>
              <a:gd name="T59" fmla="*/ 114 h 156"/>
              <a:gd name="T60" fmla="*/ 90 w 90"/>
              <a:gd name="T61" fmla="*/ 114 h 156"/>
              <a:gd name="T62" fmla="*/ 90 w 90"/>
              <a:gd name="T63" fmla="*/ 120 h 156"/>
              <a:gd name="T64" fmla="*/ 84 w 90"/>
              <a:gd name="T65" fmla="*/ 120 h 156"/>
              <a:gd name="T66" fmla="*/ 84 w 90"/>
              <a:gd name="T67" fmla="*/ 126 h 156"/>
              <a:gd name="T68" fmla="*/ 78 w 90"/>
              <a:gd name="T69" fmla="*/ 126 h 156"/>
              <a:gd name="T70" fmla="*/ 78 w 90"/>
              <a:gd name="T71" fmla="*/ 132 h 156"/>
              <a:gd name="T72" fmla="*/ 78 w 90"/>
              <a:gd name="T73" fmla="*/ 138 h 156"/>
              <a:gd name="T74" fmla="*/ 84 w 90"/>
              <a:gd name="T75" fmla="*/ 138 h 156"/>
              <a:gd name="T76" fmla="*/ 78 w 90"/>
              <a:gd name="T77" fmla="*/ 144 h 156"/>
              <a:gd name="T78" fmla="*/ 78 w 90"/>
              <a:gd name="T79" fmla="*/ 150 h 156"/>
              <a:gd name="T80" fmla="*/ 78 w 90"/>
              <a:gd name="T81" fmla="*/ 150 h 156"/>
              <a:gd name="T82" fmla="*/ 66 w 90"/>
              <a:gd name="T83" fmla="*/ 156 h 156"/>
              <a:gd name="T84" fmla="*/ 42 w 90"/>
              <a:gd name="T85" fmla="*/ 156 h 156"/>
              <a:gd name="T86" fmla="*/ 30 w 90"/>
              <a:gd name="T87" fmla="*/ 156 h 156"/>
              <a:gd name="T88" fmla="*/ 30 w 90"/>
              <a:gd name="T89" fmla="*/ 144 h 156"/>
              <a:gd name="T90" fmla="*/ 36 w 90"/>
              <a:gd name="T91" fmla="*/ 138 h 156"/>
              <a:gd name="T92" fmla="*/ 36 w 90"/>
              <a:gd name="T93" fmla="*/ 114 h 156"/>
              <a:gd name="T94" fmla="*/ 36 w 90"/>
              <a:gd name="T95" fmla="*/ 108 h 156"/>
              <a:gd name="T96" fmla="*/ 36 w 90"/>
              <a:gd name="T97" fmla="*/ 102 h 156"/>
              <a:gd name="T98" fmla="*/ 30 w 90"/>
              <a:gd name="T99" fmla="*/ 96 h 156"/>
              <a:gd name="T100" fmla="*/ 24 w 90"/>
              <a:gd name="T101" fmla="*/ 96 h 156"/>
              <a:gd name="T102" fmla="*/ 18 w 90"/>
              <a:gd name="T103" fmla="*/ 96 h 156"/>
              <a:gd name="T104" fmla="*/ 18 w 90"/>
              <a:gd name="T105" fmla="*/ 90 h 156"/>
              <a:gd name="T106" fmla="*/ 24 w 90"/>
              <a:gd name="T107" fmla="*/ 90 h 156"/>
              <a:gd name="T108" fmla="*/ 18 w 90"/>
              <a:gd name="T109" fmla="*/ 78 h 156"/>
              <a:gd name="T110" fmla="*/ 18 w 90"/>
              <a:gd name="T111" fmla="*/ 72 h 156"/>
              <a:gd name="T112" fmla="*/ 18 w 90"/>
              <a:gd name="T113" fmla="*/ 66 h 156"/>
              <a:gd name="T114" fmla="*/ 18 w 90"/>
              <a:gd name="T115" fmla="*/ 60 h 156"/>
              <a:gd name="T116" fmla="*/ 12 w 90"/>
              <a:gd name="T117" fmla="*/ 54 h 156"/>
              <a:gd name="T118" fmla="*/ 6 w 90"/>
              <a:gd name="T119" fmla="*/ 48 h 156"/>
              <a:gd name="T120" fmla="*/ 6 w 90"/>
              <a:gd name="T121" fmla="*/ 36 h 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90" h="156">
                <a:moveTo>
                  <a:pt x="6" y="36"/>
                </a:move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24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24"/>
                </a:lnTo>
                <a:lnTo>
                  <a:pt x="18" y="24"/>
                </a:lnTo>
                <a:lnTo>
                  <a:pt x="24" y="24"/>
                </a:lnTo>
                <a:lnTo>
                  <a:pt x="24" y="24"/>
                </a:lnTo>
                <a:lnTo>
                  <a:pt x="30" y="6"/>
                </a:lnTo>
                <a:lnTo>
                  <a:pt x="30" y="0"/>
                </a:lnTo>
                <a:lnTo>
                  <a:pt x="30" y="6"/>
                </a:lnTo>
                <a:lnTo>
                  <a:pt x="30" y="12"/>
                </a:lnTo>
                <a:lnTo>
                  <a:pt x="30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42" y="12"/>
                </a:lnTo>
                <a:lnTo>
                  <a:pt x="42" y="12"/>
                </a:lnTo>
                <a:lnTo>
                  <a:pt x="42" y="18"/>
                </a:lnTo>
                <a:lnTo>
                  <a:pt x="42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54" y="24"/>
                </a:lnTo>
                <a:lnTo>
                  <a:pt x="60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24"/>
                </a:lnTo>
                <a:lnTo>
                  <a:pt x="72" y="24"/>
                </a:lnTo>
                <a:lnTo>
                  <a:pt x="72" y="30"/>
                </a:lnTo>
                <a:lnTo>
                  <a:pt x="72" y="30"/>
                </a:lnTo>
                <a:lnTo>
                  <a:pt x="72" y="36"/>
                </a:lnTo>
                <a:lnTo>
                  <a:pt x="72" y="36"/>
                </a:lnTo>
                <a:lnTo>
                  <a:pt x="66" y="36"/>
                </a:lnTo>
                <a:lnTo>
                  <a:pt x="66" y="42"/>
                </a:lnTo>
                <a:lnTo>
                  <a:pt x="66" y="54"/>
                </a:lnTo>
                <a:lnTo>
                  <a:pt x="66" y="54"/>
                </a:lnTo>
                <a:lnTo>
                  <a:pt x="66" y="60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72" y="66"/>
                </a:lnTo>
                <a:lnTo>
                  <a:pt x="72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8"/>
                </a:lnTo>
                <a:lnTo>
                  <a:pt x="78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84"/>
                </a:lnTo>
                <a:lnTo>
                  <a:pt x="78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78" y="126"/>
                </a:lnTo>
                <a:lnTo>
                  <a:pt x="78" y="126"/>
                </a:lnTo>
                <a:lnTo>
                  <a:pt x="78" y="126"/>
                </a:lnTo>
                <a:lnTo>
                  <a:pt x="78" y="126"/>
                </a:lnTo>
                <a:lnTo>
                  <a:pt x="78" y="126"/>
                </a:lnTo>
                <a:lnTo>
                  <a:pt x="78" y="132"/>
                </a:lnTo>
                <a:lnTo>
                  <a:pt x="78" y="132"/>
                </a:lnTo>
                <a:lnTo>
                  <a:pt x="78" y="132"/>
                </a:lnTo>
                <a:lnTo>
                  <a:pt x="78" y="132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44"/>
                </a:lnTo>
                <a:lnTo>
                  <a:pt x="78" y="144"/>
                </a:lnTo>
                <a:lnTo>
                  <a:pt x="78" y="144"/>
                </a:lnTo>
                <a:lnTo>
                  <a:pt x="78" y="144"/>
                </a:lnTo>
                <a:lnTo>
                  <a:pt x="84" y="138"/>
                </a:lnTo>
                <a:lnTo>
                  <a:pt x="84" y="138"/>
                </a:lnTo>
                <a:lnTo>
                  <a:pt x="84" y="144"/>
                </a:lnTo>
                <a:lnTo>
                  <a:pt x="78" y="144"/>
                </a:lnTo>
                <a:lnTo>
                  <a:pt x="84" y="144"/>
                </a:lnTo>
                <a:lnTo>
                  <a:pt x="78" y="144"/>
                </a:lnTo>
                <a:lnTo>
                  <a:pt x="78" y="144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2" y="156"/>
                </a:lnTo>
                <a:lnTo>
                  <a:pt x="72" y="156"/>
                </a:lnTo>
                <a:lnTo>
                  <a:pt x="66" y="156"/>
                </a:lnTo>
                <a:lnTo>
                  <a:pt x="66" y="156"/>
                </a:lnTo>
                <a:lnTo>
                  <a:pt x="60" y="156"/>
                </a:lnTo>
                <a:lnTo>
                  <a:pt x="60" y="156"/>
                </a:lnTo>
                <a:lnTo>
                  <a:pt x="48" y="156"/>
                </a:lnTo>
                <a:lnTo>
                  <a:pt x="48" y="156"/>
                </a:lnTo>
                <a:lnTo>
                  <a:pt x="42" y="156"/>
                </a:lnTo>
                <a:lnTo>
                  <a:pt x="36" y="156"/>
                </a:lnTo>
                <a:lnTo>
                  <a:pt x="36" y="156"/>
                </a:lnTo>
                <a:lnTo>
                  <a:pt x="30" y="156"/>
                </a:lnTo>
                <a:lnTo>
                  <a:pt x="30" y="156"/>
                </a:lnTo>
                <a:lnTo>
                  <a:pt x="30" y="156"/>
                </a:lnTo>
                <a:lnTo>
                  <a:pt x="30" y="150"/>
                </a:lnTo>
                <a:lnTo>
                  <a:pt x="30" y="150"/>
                </a:lnTo>
                <a:lnTo>
                  <a:pt x="30" y="150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26"/>
                </a:lnTo>
                <a:lnTo>
                  <a:pt x="36" y="120"/>
                </a:lnTo>
                <a:lnTo>
                  <a:pt x="36" y="120"/>
                </a:lnTo>
                <a:lnTo>
                  <a:pt x="42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0" y="108"/>
                </a:lnTo>
                <a:lnTo>
                  <a:pt x="30" y="108"/>
                </a:lnTo>
                <a:lnTo>
                  <a:pt x="36" y="108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0" y="102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18" y="96"/>
                </a:lnTo>
                <a:lnTo>
                  <a:pt x="18" y="102"/>
                </a:lnTo>
                <a:lnTo>
                  <a:pt x="18" y="102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24" y="90"/>
                </a:lnTo>
                <a:lnTo>
                  <a:pt x="24" y="84"/>
                </a:lnTo>
                <a:lnTo>
                  <a:pt x="24" y="84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2"/>
                </a:lnTo>
                <a:lnTo>
                  <a:pt x="18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8" y="66"/>
                </a:lnTo>
                <a:lnTo>
                  <a:pt x="18" y="66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0" y="42"/>
                </a:lnTo>
                <a:lnTo>
                  <a:pt x="0" y="36"/>
                </a:lnTo>
                <a:lnTo>
                  <a:pt x="6" y="3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89" name="Freeform 122"/>
          <p:cNvSpPr>
            <a:spLocks/>
          </p:cNvSpPr>
          <p:nvPr/>
        </p:nvSpPr>
        <p:spPr bwMode="auto">
          <a:xfrm>
            <a:off x="8021031" y="1648879"/>
            <a:ext cx="128481" cy="122058"/>
          </a:xfrm>
          <a:custGeom>
            <a:avLst/>
            <a:gdLst>
              <a:gd name="T0" fmla="*/ 0 w 120"/>
              <a:gd name="T1" fmla="*/ 78 h 114"/>
              <a:gd name="T2" fmla="*/ 6 w 120"/>
              <a:gd name="T3" fmla="*/ 72 h 114"/>
              <a:gd name="T4" fmla="*/ 6 w 120"/>
              <a:gd name="T5" fmla="*/ 66 h 114"/>
              <a:gd name="T6" fmla="*/ 6 w 120"/>
              <a:gd name="T7" fmla="*/ 60 h 114"/>
              <a:gd name="T8" fmla="*/ 12 w 120"/>
              <a:gd name="T9" fmla="*/ 54 h 114"/>
              <a:gd name="T10" fmla="*/ 12 w 120"/>
              <a:gd name="T11" fmla="*/ 54 h 114"/>
              <a:gd name="T12" fmla="*/ 24 w 120"/>
              <a:gd name="T13" fmla="*/ 42 h 114"/>
              <a:gd name="T14" fmla="*/ 18 w 120"/>
              <a:gd name="T15" fmla="*/ 36 h 114"/>
              <a:gd name="T16" fmla="*/ 24 w 120"/>
              <a:gd name="T17" fmla="*/ 30 h 114"/>
              <a:gd name="T18" fmla="*/ 24 w 120"/>
              <a:gd name="T19" fmla="*/ 24 h 114"/>
              <a:gd name="T20" fmla="*/ 30 w 120"/>
              <a:gd name="T21" fmla="*/ 24 h 114"/>
              <a:gd name="T22" fmla="*/ 42 w 120"/>
              <a:gd name="T23" fmla="*/ 0 h 114"/>
              <a:gd name="T24" fmla="*/ 60 w 120"/>
              <a:gd name="T25" fmla="*/ 12 h 114"/>
              <a:gd name="T26" fmla="*/ 60 w 120"/>
              <a:gd name="T27" fmla="*/ 18 h 114"/>
              <a:gd name="T28" fmla="*/ 66 w 120"/>
              <a:gd name="T29" fmla="*/ 18 h 114"/>
              <a:gd name="T30" fmla="*/ 66 w 120"/>
              <a:gd name="T31" fmla="*/ 18 h 114"/>
              <a:gd name="T32" fmla="*/ 72 w 120"/>
              <a:gd name="T33" fmla="*/ 18 h 114"/>
              <a:gd name="T34" fmla="*/ 78 w 120"/>
              <a:gd name="T35" fmla="*/ 24 h 114"/>
              <a:gd name="T36" fmla="*/ 84 w 120"/>
              <a:gd name="T37" fmla="*/ 24 h 114"/>
              <a:gd name="T38" fmla="*/ 84 w 120"/>
              <a:gd name="T39" fmla="*/ 24 h 114"/>
              <a:gd name="T40" fmla="*/ 84 w 120"/>
              <a:gd name="T41" fmla="*/ 30 h 114"/>
              <a:gd name="T42" fmla="*/ 90 w 120"/>
              <a:gd name="T43" fmla="*/ 30 h 114"/>
              <a:gd name="T44" fmla="*/ 96 w 120"/>
              <a:gd name="T45" fmla="*/ 30 h 114"/>
              <a:gd name="T46" fmla="*/ 96 w 120"/>
              <a:gd name="T47" fmla="*/ 30 h 114"/>
              <a:gd name="T48" fmla="*/ 102 w 120"/>
              <a:gd name="T49" fmla="*/ 24 h 114"/>
              <a:gd name="T50" fmla="*/ 108 w 120"/>
              <a:gd name="T51" fmla="*/ 30 h 114"/>
              <a:gd name="T52" fmla="*/ 108 w 120"/>
              <a:gd name="T53" fmla="*/ 30 h 114"/>
              <a:gd name="T54" fmla="*/ 108 w 120"/>
              <a:gd name="T55" fmla="*/ 36 h 114"/>
              <a:gd name="T56" fmla="*/ 108 w 120"/>
              <a:gd name="T57" fmla="*/ 42 h 114"/>
              <a:gd name="T58" fmla="*/ 114 w 120"/>
              <a:gd name="T59" fmla="*/ 42 h 114"/>
              <a:gd name="T60" fmla="*/ 114 w 120"/>
              <a:gd name="T61" fmla="*/ 48 h 114"/>
              <a:gd name="T62" fmla="*/ 114 w 120"/>
              <a:gd name="T63" fmla="*/ 54 h 114"/>
              <a:gd name="T64" fmla="*/ 120 w 120"/>
              <a:gd name="T65" fmla="*/ 54 h 114"/>
              <a:gd name="T66" fmla="*/ 120 w 120"/>
              <a:gd name="T67" fmla="*/ 60 h 114"/>
              <a:gd name="T68" fmla="*/ 114 w 120"/>
              <a:gd name="T69" fmla="*/ 60 h 114"/>
              <a:gd name="T70" fmla="*/ 114 w 120"/>
              <a:gd name="T71" fmla="*/ 66 h 114"/>
              <a:gd name="T72" fmla="*/ 114 w 120"/>
              <a:gd name="T73" fmla="*/ 72 h 114"/>
              <a:gd name="T74" fmla="*/ 114 w 120"/>
              <a:gd name="T75" fmla="*/ 72 h 114"/>
              <a:gd name="T76" fmla="*/ 108 w 120"/>
              <a:gd name="T77" fmla="*/ 78 h 114"/>
              <a:gd name="T78" fmla="*/ 114 w 120"/>
              <a:gd name="T79" fmla="*/ 78 h 114"/>
              <a:gd name="T80" fmla="*/ 120 w 120"/>
              <a:gd name="T81" fmla="*/ 84 h 114"/>
              <a:gd name="T82" fmla="*/ 114 w 120"/>
              <a:gd name="T83" fmla="*/ 90 h 114"/>
              <a:gd name="T84" fmla="*/ 108 w 120"/>
              <a:gd name="T85" fmla="*/ 90 h 114"/>
              <a:gd name="T86" fmla="*/ 108 w 120"/>
              <a:gd name="T87" fmla="*/ 90 h 114"/>
              <a:gd name="T88" fmla="*/ 114 w 120"/>
              <a:gd name="T89" fmla="*/ 96 h 114"/>
              <a:gd name="T90" fmla="*/ 114 w 120"/>
              <a:gd name="T91" fmla="*/ 96 h 114"/>
              <a:gd name="T92" fmla="*/ 114 w 120"/>
              <a:gd name="T93" fmla="*/ 96 h 114"/>
              <a:gd name="T94" fmla="*/ 114 w 120"/>
              <a:gd name="T95" fmla="*/ 102 h 114"/>
              <a:gd name="T96" fmla="*/ 108 w 120"/>
              <a:gd name="T97" fmla="*/ 108 h 114"/>
              <a:gd name="T98" fmla="*/ 102 w 120"/>
              <a:gd name="T99" fmla="*/ 108 h 114"/>
              <a:gd name="T100" fmla="*/ 102 w 120"/>
              <a:gd name="T101" fmla="*/ 108 h 114"/>
              <a:gd name="T102" fmla="*/ 96 w 120"/>
              <a:gd name="T103" fmla="*/ 108 h 114"/>
              <a:gd name="T104" fmla="*/ 96 w 120"/>
              <a:gd name="T105" fmla="*/ 114 h 114"/>
              <a:gd name="T106" fmla="*/ 90 w 120"/>
              <a:gd name="T107" fmla="*/ 108 h 114"/>
              <a:gd name="T108" fmla="*/ 60 w 120"/>
              <a:gd name="T109" fmla="*/ 114 h 114"/>
              <a:gd name="T110" fmla="*/ 54 w 120"/>
              <a:gd name="T111" fmla="*/ 114 h 114"/>
              <a:gd name="T112" fmla="*/ 48 w 120"/>
              <a:gd name="T113" fmla="*/ 114 h 114"/>
              <a:gd name="T114" fmla="*/ 36 w 120"/>
              <a:gd name="T115" fmla="*/ 108 h 114"/>
              <a:gd name="T116" fmla="*/ 36 w 120"/>
              <a:gd name="T117" fmla="*/ 102 h 114"/>
              <a:gd name="T118" fmla="*/ 36 w 120"/>
              <a:gd name="T119" fmla="*/ 96 h 114"/>
              <a:gd name="T120" fmla="*/ 30 w 120"/>
              <a:gd name="T121" fmla="*/ 84 h 114"/>
              <a:gd name="T122" fmla="*/ 12 w 120"/>
              <a:gd name="T123" fmla="*/ 78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20" h="114">
                <a:moveTo>
                  <a:pt x="0" y="84"/>
                </a:move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24" y="36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30" y="24"/>
                </a:lnTo>
                <a:lnTo>
                  <a:pt x="30" y="12"/>
                </a:lnTo>
                <a:lnTo>
                  <a:pt x="30" y="12"/>
                </a:lnTo>
                <a:lnTo>
                  <a:pt x="36" y="6"/>
                </a:lnTo>
                <a:lnTo>
                  <a:pt x="42" y="0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8" y="18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84" y="24"/>
                </a:lnTo>
                <a:lnTo>
                  <a:pt x="78" y="24"/>
                </a:lnTo>
                <a:lnTo>
                  <a:pt x="78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20" y="54"/>
                </a:lnTo>
                <a:lnTo>
                  <a:pt x="120" y="54"/>
                </a:lnTo>
                <a:lnTo>
                  <a:pt x="114" y="54"/>
                </a:lnTo>
                <a:lnTo>
                  <a:pt x="120" y="60"/>
                </a:lnTo>
                <a:lnTo>
                  <a:pt x="120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8"/>
                </a:lnTo>
                <a:lnTo>
                  <a:pt x="114" y="78"/>
                </a:lnTo>
                <a:lnTo>
                  <a:pt x="108" y="78"/>
                </a:lnTo>
                <a:lnTo>
                  <a:pt x="108" y="78"/>
                </a:lnTo>
                <a:lnTo>
                  <a:pt x="114" y="78"/>
                </a:lnTo>
                <a:lnTo>
                  <a:pt x="114" y="84"/>
                </a:lnTo>
                <a:lnTo>
                  <a:pt x="114" y="78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14" y="90"/>
                </a:lnTo>
                <a:lnTo>
                  <a:pt x="114" y="90"/>
                </a:lnTo>
                <a:lnTo>
                  <a:pt x="114" y="90"/>
                </a:lnTo>
                <a:lnTo>
                  <a:pt x="114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6"/>
                </a:lnTo>
                <a:lnTo>
                  <a:pt x="108" y="96"/>
                </a:lnTo>
                <a:lnTo>
                  <a:pt x="114" y="96"/>
                </a:lnTo>
                <a:lnTo>
                  <a:pt x="114" y="96"/>
                </a:lnTo>
                <a:lnTo>
                  <a:pt x="114" y="96"/>
                </a:lnTo>
                <a:lnTo>
                  <a:pt x="114" y="96"/>
                </a:lnTo>
                <a:lnTo>
                  <a:pt x="114" y="96"/>
                </a:lnTo>
                <a:lnTo>
                  <a:pt x="114" y="96"/>
                </a:lnTo>
                <a:lnTo>
                  <a:pt x="114" y="96"/>
                </a:lnTo>
                <a:lnTo>
                  <a:pt x="114" y="96"/>
                </a:lnTo>
                <a:lnTo>
                  <a:pt x="114" y="96"/>
                </a:lnTo>
                <a:lnTo>
                  <a:pt x="114" y="96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02" y="102"/>
                </a:lnTo>
                <a:lnTo>
                  <a:pt x="108" y="108"/>
                </a:lnTo>
                <a:lnTo>
                  <a:pt x="108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08"/>
                </a:lnTo>
                <a:lnTo>
                  <a:pt x="72" y="102"/>
                </a:lnTo>
                <a:lnTo>
                  <a:pt x="66" y="108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54" y="114"/>
                </a:lnTo>
                <a:lnTo>
                  <a:pt x="54" y="114"/>
                </a:lnTo>
                <a:lnTo>
                  <a:pt x="48" y="114"/>
                </a:lnTo>
                <a:lnTo>
                  <a:pt x="48" y="114"/>
                </a:lnTo>
                <a:lnTo>
                  <a:pt x="48" y="114"/>
                </a:lnTo>
                <a:lnTo>
                  <a:pt x="42" y="114"/>
                </a:lnTo>
                <a:lnTo>
                  <a:pt x="42" y="108"/>
                </a:lnTo>
                <a:lnTo>
                  <a:pt x="42" y="108"/>
                </a:lnTo>
                <a:lnTo>
                  <a:pt x="36" y="108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0"/>
                </a:lnTo>
                <a:lnTo>
                  <a:pt x="30" y="84"/>
                </a:lnTo>
                <a:lnTo>
                  <a:pt x="30" y="84"/>
                </a:lnTo>
                <a:lnTo>
                  <a:pt x="18" y="78"/>
                </a:lnTo>
                <a:lnTo>
                  <a:pt x="12" y="78"/>
                </a:lnTo>
                <a:lnTo>
                  <a:pt x="12" y="78"/>
                </a:lnTo>
                <a:lnTo>
                  <a:pt x="0" y="8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90" name="Freeform 123"/>
          <p:cNvSpPr>
            <a:spLocks/>
          </p:cNvSpPr>
          <p:nvPr/>
        </p:nvSpPr>
        <p:spPr bwMode="auto">
          <a:xfrm>
            <a:off x="8181632" y="1937963"/>
            <a:ext cx="128481" cy="102786"/>
          </a:xfrm>
          <a:custGeom>
            <a:avLst/>
            <a:gdLst>
              <a:gd name="T0" fmla="*/ 6 w 120"/>
              <a:gd name="T1" fmla="*/ 36 h 96"/>
              <a:gd name="T2" fmla="*/ 12 w 120"/>
              <a:gd name="T3" fmla="*/ 30 h 96"/>
              <a:gd name="T4" fmla="*/ 18 w 120"/>
              <a:gd name="T5" fmla="*/ 24 h 96"/>
              <a:gd name="T6" fmla="*/ 48 w 120"/>
              <a:gd name="T7" fmla="*/ 18 h 96"/>
              <a:gd name="T8" fmla="*/ 48 w 120"/>
              <a:gd name="T9" fmla="*/ 12 h 96"/>
              <a:gd name="T10" fmla="*/ 54 w 120"/>
              <a:gd name="T11" fmla="*/ 6 h 96"/>
              <a:gd name="T12" fmla="*/ 54 w 120"/>
              <a:gd name="T13" fmla="*/ 6 h 96"/>
              <a:gd name="T14" fmla="*/ 60 w 120"/>
              <a:gd name="T15" fmla="*/ 0 h 96"/>
              <a:gd name="T16" fmla="*/ 60 w 120"/>
              <a:gd name="T17" fmla="*/ 12 h 96"/>
              <a:gd name="T18" fmla="*/ 60 w 120"/>
              <a:gd name="T19" fmla="*/ 12 h 96"/>
              <a:gd name="T20" fmla="*/ 66 w 120"/>
              <a:gd name="T21" fmla="*/ 12 h 96"/>
              <a:gd name="T22" fmla="*/ 78 w 120"/>
              <a:gd name="T23" fmla="*/ 18 h 96"/>
              <a:gd name="T24" fmla="*/ 78 w 120"/>
              <a:gd name="T25" fmla="*/ 18 h 96"/>
              <a:gd name="T26" fmla="*/ 84 w 120"/>
              <a:gd name="T27" fmla="*/ 18 h 96"/>
              <a:gd name="T28" fmla="*/ 90 w 120"/>
              <a:gd name="T29" fmla="*/ 18 h 96"/>
              <a:gd name="T30" fmla="*/ 96 w 120"/>
              <a:gd name="T31" fmla="*/ 18 h 96"/>
              <a:gd name="T32" fmla="*/ 96 w 120"/>
              <a:gd name="T33" fmla="*/ 18 h 96"/>
              <a:gd name="T34" fmla="*/ 96 w 120"/>
              <a:gd name="T35" fmla="*/ 30 h 96"/>
              <a:gd name="T36" fmla="*/ 102 w 120"/>
              <a:gd name="T37" fmla="*/ 30 h 96"/>
              <a:gd name="T38" fmla="*/ 102 w 120"/>
              <a:gd name="T39" fmla="*/ 24 h 96"/>
              <a:gd name="T40" fmla="*/ 114 w 120"/>
              <a:gd name="T41" fmla="*/ 30 h 96"/>
              <a:gd name="T42" fmla="*/ 120 w 120"/>
              <a:gd name="T43" fmla="*/ 30 h 96"/>
              <a:gd name="T44" fmla="*/ 120 w 120"/>
              <a:gd name="T45" fmla="*/ 36 h 96"/>
              <a:gd name="T46" fmla="*/ 114 w 120"/>
              <a:gd name="T47" fmla="*/ 36 h 96"/>
              <a:gd name="T48" fmla="*/ 114 w 120"/>
              <a:gd name="T49" fmla="*/ 42 h 96"/>
              <a:gd name="T50" fmla="*/ 114 w 120"/>
              <a:gd name="T51" fmla="*/ 48 h 96"/>
              <a:gd name="T52" fmla="*/ 114 w 120"/>
              <a:gd name="T53" fmla="*/ 48 h 96"/>
              <a:gd name="T54" fmla="*/ 114 w 120"/>
              <a:gd name="T55" fmla="*/ 54 h 96"/>
              <a:gd name="T56" fmla="*/ 120 w 120"/>
              <a:gd name="T57" fmla="*/ 54 h 96"/>
              <a:gd name="T58" fmla="*/ 120 w 120"/>
              <a:gd name="T59" fmla="*/ 60 h 96"/>
              <a:gd name="T60" fmla="*/ 114 w 120"/>
              <a:gd name="T61" fmla="*/ 66 h 96"/>
              <a:gd name="T62" fmla="*/ 102 w 120"/>
              <a:gd name="T63" fmla="*/ 72 h 96"/>
              <a:gd name="T64" fmla="*/ 96 w 120"/>
              <a:gd name="T65" fmla="*/ 72 h 96"/>
              <a:gd name="T66" fmla="*/ 90 w 120"/>
              <a:gd name="T67" fmla="*/ 78 h 96"/>
              <a:gd name="T68" fmla="*/ 84 w 120"/>
              <a:gd name="T69" fmla="*/ 78 h 96"/>
              <a:gd name="T70" fmla="*/ 78 w 120"/>
              <a:gd name="T71" fmla="*/ 78 h 96"/>
              <a:gd name="T72" fmla="*/ 66 w 120"/>
              <a:gd name="T73" fmla="*/ 84 h 96"/>
              <a:gd name="T74" fmla="*/ 66 w 120"/>
              <a:gd name="T75" fmla="*/ 84 h 96"/>
              <a:gd name="T76" fmla="*/ 54 w 120"/>
              <a:gd name="T77" fmla="*/ 90 h 96"/>
              <a:gd name="T78" fmla="*/ 54 w 120"/>
              <a:gd name="T79" fmla="*/ 90 h 96"/>
              <a:gd name="T80" fmla="*/ 48 w 120"/>
              <a:gd name="T81" fmla="*/ 96 h 96"/>
              <a:gd name="T82" fmla="*/ 42 w 120"/>
              <a:gd name="T83" fmla="*/ 90 h 96"/>
              <a:gd name="T84" fmla="*/ 42 w 120"/>
              <a:gd name="T85" fmla="*/ 90 h 96"/>
              <a:gd name="T86" fmla="*/ 36 w 120"/>
              <a:gd name="T87" fmla="*/ 84 h 96"/>
              <a:gd name="T88" fmla="*/ 36 w 120"/>
              <a:gd name="T89" fmla="*/ 78 h 96"/>
              <a:gd name="T90" fmla="*/ 30 w 120"/>
              <a:gd name="T91" fmla="*/ 78 h 96"/>
              <a:gd name="T92" fmla="*/ 18 w 120"/>
              <a:gd name="T93" fmla="*/ 72 h 96"/>
              <a:gd name="T94" fmla="*/ 18 w 120"/>
              <a:gd name="T95" fmla="*/ 72 h 96"/>
              <a:gd name="T96" fmla="*/ 12 w 120"/>
              <a:gd name="T97" fmla="*/ 66 h 96"/>
              <a:gd name="T98" fmla="*/ 12 w 120"/>
              <a:gd name="T99" fmla="*/ 60 h 96"/>
              <a:gd name="T100" fmla="*/ 6 w 120"/>
              <a:gd name="T101" fmla="*/ 60 h 96"/>
              <a:gd name="T102" fmla="*/ 6 w 120"/>
              <a:gd name="T103" fmla="*/ 54 h 96"/>
              <a:gd name="T104" fmla="*/ 0 w 120"/>
              <a:gd name="T105" fmla="*/ 54 h 96"/>
              <a:gd name="T106" fmla="*/ 0 w 120"/>
              <a:gd name="T107" fmla="*/ 48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20" h="96">
                <a:moveTo>
                  <a:pt x="0" y="48"/>
                </a:moveTo>
                <a:lnTo>
                  <a:pt x="0" y="42"/>
                </a:lnTo>
                <a:lnTo>
                  <a:pt x="0" y="36"/>
                </a:lnTo>
                <a:lnTo>
                  <a:pt x="0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8" y="30"/>
                </a:lnTo>
                <a:lnTo>
                  <a:pt x="18" y="24"/>
                </a:lnTo>
                <a:lnTo>
                  <a:pt x="18" y="24"/>
                </a:lnTo>
                <a:lnTo>
                  <a:pt x="24" y="18"/>
                </a:lnTo>
                <a:lnTo>
                  <a:pt x="30" y="18"/>
                </a:lnTo>
                <a:lnTo>
                  <a:pt x="36" y="18"/>
                </a:lnTo>
                <a:lnTo>
                  <a:pt x="42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0"/>
                </a:lnTo>
                <a:lnTo>
                  <a:pt x="54" y="0"/>
                </a:lnTo>
                <a:lnTo>
                  <a:pt x="60" y="0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72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24"/>
                </a:lnTo>
                <a:lnTo>
                  <a:pt x="96" y="24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8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6"/>
                </a:lnTo>
                <a:lnTo>
                  <a:pt x="120" y="30"/>
                </a:lnTo>
                <a:lnTo>
                  <a:pt x="120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6"/>
                </a:lnTo>
                <a:lnTo>
                  <a:pt x="108" y="66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96" y="72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2" y="78"/>
                </a:lnTo>
                <a:lnTo>
                  <a:pt x="72" y="78"/>
                </a:lnTo>
                <a:lnTo>
                  <a:pt x="72" y="72"/>
                </a:lnTo>
                <a:lnTo>
                  <a:pt x="72" y="78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0" y="90"/>
                </a:lnTo>
                <a:lnTo>
                  <a:pt x="60" y="84"/>
                </a:lnTo>
                <a:lnTo>
                  <a:pt x="54" y="90"/>
                </a:lnTo>
                <a:lnTo>
                  <a:pt x="54" y="90"/>
                </a:lnTo>
                <a:lnTo>
                  <a:pt x="54" y="84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48" y="90"/>
                </a:lnTo>
                <a:lnTo>
                  <a:pt x="48" y="90"/>
                </a:lnTo>
                <a:lnTo>
                  <a:pt x="48" y="96"/>
                </a:lnTo>
                <a:lnTo>
                  <a:pt x="48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78"/>
                </a:lnTo>
                <a:lnTo>
                  <a:pt x="36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24" y="72"/>
                </a:lnTo>
                <a:lnTo>
                  <a:pt x="18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18" y="72"/>
                </a:lnTo>
                <a:lnTo>
                  <a:pt x="18" y="72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0" y="54"/>
                </a:lnTo>
                <a:lnTo>
                  <a:pt x="0" y="54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91" name="Freeform 124"/>
          <p:cNvSpPr>
            <a:spLocks/>
          </p:cNvSpPr>
          <p:nvPr/>
        </p:nvSpPr>
        <p:spPr bwMode="auto">
          <a:xfrm>
            <a:off x="7982487" y="1552518"/>
            <a:ext cx="57816" cy="89937"/>
          </a:xfrm>
          <a:custGeom>
            <a:avLst/>
            <a:gdLst>
              <a:gd name="T0" fmla="*/ 0 w 54"/>
              <a:gd name="T1" fmla="*/ 66 h 84"/>
              <a:gd name="T2" fmla="*/ 0 w 54"/>
              <a:gd name="T3" fmla="*/ 48 h 84"/>
              <a:gd name="T4" fmla="*/ 6 w 54"/>
              <a:gd name="T5" fmla="*/ 42 h 84"/>
              <a:gd name="T6" fmla="*/ 6 w 54"/>
              <a:gd name="T7" fmla="*/ 30 h 84"/>
              <a:gd name="T8" fmla="*/ 6 w 54"/>
              <a:gd name="T9" fmla="*/ 24 h 84"/>
              <a:gd name="T10" fmla="*/ 6 w 54"/>
              <a:gd name="T11" fmla="*/ 18 h 84"/>
              <a:gd name="T12" fmla="*/ 6 w 54"/>
              <a:gd name="T13" fmla="*/ 18 h 84"/>
              <a:gd name="T14" fmla="*/ 6 w 54"/>
              <a:gd name="T15" fmla="*/ 12 h 84"/>
              <a:gd name="T16" fmla="*/ 6 w 54"/>
              <a:gd name="T17" fmla="*/ 12 h 84"/>
              <a:gd name="T18" fmla="*/ 6 w 54"/>
              <a:gd name="T19" fmla="*/ 12 h 84"/>
              <a:gd name="T20" fmla="*/ 12 w 54"/>
              <a:gd name="T21" fmla="*/ 6 h 84"/>
              <a:gd name="T22" fmla="*/ 6 w 54"/>
              <a:gd name="T23" fmla="*/ 6 h 84"/>
              <a:gd name="T24" fmla="*/ 6 w 54"/>
              <a:gd name="T25" fmla="*/ 0 h 84"/>
              <a:gd name="T26" fmla="*/ 6 w 54"/>
              <a:gd name="T27" fmla="*/ 0 h 84"/>
              <a:gd name="T28" fmla="*/ 6 w 54"/>
              <a:gd name="T29" fmla="*/ 0 h 84"/>
              <a:gd name="T30" fmla="*/ 12 w 54"/>
              <a:gd name="T31" fmla="*/ 0 h 84"/>
              <a:gd name="T32" fmla="*/ 30 w 54"/>
              <a:gd name="T33" fmla="*/ 0 h 84"/>
              <a:gd name="T34" fmla="*/ 48 w 54"/>
              <a:gd name="T35" fmla="*/ 0 h 84"/>
              <a:gd name="T36" fmla="*/ 54 w 54"/>
              <a:gd name="T37" fmla="*/ 6 h 84"/>
              <a:gd name="T38" fmla="*/ 54 w 54"/>
              <a:gd name="T39" fmla="*/ 12 h 84"/>
              <a:gd name="T40" fmla="*/ 54 w 54"/>
              <a:gd name="T41" fmla="*/ 12 h 84"/>
              <a:gd name="T42" fmla="*/ 48 w 54"/>
              <a:gd name="T43" fmla="*/ 18 h 84"/>
              <a:gd name="T44" fmla="*/ 48 w 54"/>
              <a:gd name="T45" fmla="*/ 18 h 84"/>
              <a:gd name="T46" fmla="*/ 42 w 54"/>
              <a:gd name="T47" fmla="*/ 24 h 84"/>
              <a:gd name="T48" fmla="*/ 42 w 54"/>
              <a:gd name="T49" fmla="*/ 30 h 84"/>
              <a:gd name="T50" fmla="*/ 48 w 54"/>
              <a:gd name="T51" fmla="*/ 24 h 84"/>
              <a:gd name="T52" fmla="*/ 42 w 54"/>
              <a:gd name="T53" fmla="*/ 36 h 84"/>
              <a:gd name="T54" fmla="*/ 42 w 54"/>
              <a:gd name="T55" fmla="*/ 36 h 84"/>
              <a:gd name="T56" fmla="*/ 42 w 54"/>
              <a:gd name="T57" fmla="*/ 42 h 84"/>
              <a:gd name="T58" fmla="*/ 42 w 54"/>
              <a:gd name="T59" fmla="*/ 42 h 84"/>
              <a:gd name="T60" fmla="*/ 36 w 54"/>
              <a:gd name="T61" fmla="*/ 42 h 84"/>
              <a:gd name="T62" fmla="*/ 36 w 54"/>
              <a:gd name="T63" fmla="*/ 48 h 84"/>
              <a:gd name="T64" fmla="*/ 36 w 54"/>
              <a:gd name="T65" fmla="*/ 48 h 84"/>
              <a:gd name="T66" fmla="*/ 36 w 54"/>
              <a:gd name="T67" fmla="*/ 48 h 84"/>
              <a:gd name="T68" fmla="*/ 36 w 54"/>
              <a:gd name="T69" fmla="*/ 54 h 84"/>
              <a:gd name="T70" fmla="*/ 42 w 54"/>
              <a:gd name="T71" fmla="*/ 54 h 84"/>
              <a:gd name="T72" fmla="*/ 42 w 54"/>
              <a:gd name="T73" fmla="*/ 54 h 84"/>
              <a:gd name="T74" fmla="*/ 36 w 54"/>
              <a:gd name="T75" fmla="*/ 54 h 84"/>
              <a:gd name="T76" fmla="*/ 30 w 54"/>
              <a:gd name="T77" fmla="*/ 72 h 84"/>
              <a:gd name="T78" fmla="*/ 24 w 54"/>
              <a:gd name="T79" fmla="*/ 78 h 84"/>
              <a:gd name="T80" fmla="*/ 24 w 54"/>
              <a:gd name="T81" fmla="*/ 78 h 84"/>
              <a:gd name="T82" fmla="*/ 18 w 54"/>
              <a:gd name="T83" fmla="*/ 78 h 84"/>
              <a:gd name="T84" fmla="*/ 12 w 54"/>
              <a:gd name="T85" fmla="*/ 78 h 84"/>
              <a:gd name="T86" fmla="*/ 12 w 54"/>
              <a:gd name="T87" fmla="*/ 78 h 84"/>
              <a:gd name="T88" fmla="*/ 12 w 54"/>
              <a:gd name="T89" fmla="*/ 72 h 84"/>
              <a:gd name="T90" fmla="*/ 12 w 54"/>
              <a:gd name="T91" fmla="*/ 72 h 84"/>
              <a:gd name="T92" fmla="*/ 0 w 54"/>
              <a:gd name="T93" fmla="*/ 72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4" h="84">
                <a:moveTo>
                  <a:pt x="0" y="72"/>
                </a:moveTo>
                <a:lnTo>
                  <a:pt x="0" y="72"/>
                </a:lnTo>
                <a:lnTo>
                  <a:pt x="0" y="66"/>
                </a:lnTo>
                <a:lnTo>
                  <a:pt x="0" y="60"/>
                </a:lnTo>
                <a:lnTo>
                  <a:pt x="0" y="60"/>
                </a:lnTo>
                <a:lnTo>
                  <a:pt x="0" y="48"/>
                </a:lnTo>
                <a:lnTo>
                  <a:pt x="0" y="42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0" y="18"/>
                </a:lnTo>
                <a:lnTo>
                  <a:pt x="0" y="18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6"/>
                </a:lnTo>
                <a:lnTo>
                  <a:pt x="12" y="6"/>
                </a:lnTo>
                <a:lnTo>
                  <a:pt x="12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12" y="0"/>
                </a:lnTo>
                <a:lnTo>
                  <a:pt x="24" y="0"/>
                </a:lnTo>
                <a:lnTo>
                  <a:pt x="24" y="0"/>
                </a:lnTo>
                <a:lnTo>
                  <a:pt x="30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8" y="30"/>
                </a:lnTo>
                <a:lnTo>
                  <a:pt x="48" y="24"/>
                </a:lnTo>
                <a:lnTo>
                  <a:pt x="48" y="24"/>
                </a:lnTo>
                <a:lnTo>
                  <a:pt x="48" y="30"/>
                </a:lnTo>
                <a:lnTo>
                  <a:pt x="42" y="30"/>
                </a:lnTo>
                <a:lnTo>
                  <a:pt x="42" y="36"/>
                </a:lnTo>
                <a:lnTo>
                  <a:pt x="48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54"/>
                </a:lnTo>
                <a:lnTo>
                  <a:pt x="36" y="48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36" y="54"/>
                </a:lnTo>
                <a:lnTo>
                  <a:pt x="36" y="60"/>
                </a:lnTo>
                <a:lnTo>
                  <a:pt x="30" y="66"/>
                </a:lnTo>
                <a:lnTo>
                  <a:pt x="30" y="72"/>
                </a:lnTo>
                <a:lnTo>
                  <a:pt x="30" y="72"/>
                </a:lnTo>
                <a:lnTo>
                  <a:pt x="24" y="72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18" y="78"/>
                </a:lnTo>
                <a:lnTo>
                  <a:pt x="18" y="78"/>
                </a:lnTo>
                <a:lnTo>
                  <a:pt x="18" y="84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6" y="72"/>
                </a:lnTo>
                <a:lnTo>
                  <a:pt x="6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92" name="Freeform 125"/>
          <p:cNvSpPr>
            <a:spLocks/>
          </p:cNvSpPr>
          <p:nvPr/>
        </p:nvSpPr>
        <p:spPr bwMode="auto">
          <a:xfrm>
            <a:off x="8303689" y="1886571"/>
            <a:ext cx="77089" cy="83513"/>
          </a:xfrm>
          <a:custGeom>
            <a:avLst/>
            <a:gdLst>
              <a:gd name="T0" fmla="*/ 0 w 72"/>
              <a:gd name="T1" fmla="*/ 66 h 78"/>
              <a:gd name="T2" fmla="*/ 6 w 72"/>
              <a:gd name="T3" fmla="*/ 66 h 78"/>
              <a:gd name="T4" fmla="*/ 0 w 72"/>
              <a:gd name="T5" fmla="*/ 60 h 78"/>
              <a:gd name="T6" fmla="*/ 6 w 72"/>
              <a:gd name="T7" fmla="*/ 60 h 78"/>
              <a:gd name="T8" fmla="*/ 6 w 72"/>
              <a:gd name="T9" fmla="*/ 54 h 78"/>
              <a:gd name="T10" fmla="*/ 6 w 72"/>
              <a:gd name="T11" fmla="*/ 48 h 78"/>
              <a:gd name="T12" fmla="*/ 6 w 72"/>
              <a:gd name="T13" fmla="*/ 54 h 78"/>
              <a:gd name="T14" fmla="*/ 6 w 72"/>
              <a:gd name="T15" fmla="*/ 54 h 78"/>
              <a:gd name="T16" fmla="*/ 12 w 72"/>
              <a:gd name="T17" fmla="*/ 42 h 78"/>
              <a:gd name="T18" fmla="*/ 18 w 72"/>
              <a:gd name="T19" fmla="*/ 42 h 78"/>
              <a:gd name="T20" fmla="*/ 18 w 72"/>
              <a:gd name="T21" fmla="*/ 42 h 78"/>
              <a:gd name="T22" fmla="*/ 12 w 72"/>
              <a:gd name="T23" fmla="*/ 42 h 78"/>
              <a:gd name="T24" fmla="*/ 12 w 72"/>
              <a:gd name="T25" fmla="*/ 48 h 78"/>
              <a:gd name="T26" fmla="*/ 12 w 72"/>
              <a:gd name="T27" fmla="*/ 42 h 78"/>
              <a:gd name="T28" fmla="*/ 12 w 72"/>
              <a:gd name="T29" fmla="*/ 36 h 78"/>
              <a:gd name="T30" fmla="*/ 12 w 72"/>
              <a:gd name="T31" fmla="*/ 36 h 78"/>
              <a:gd name="T32" fmla="*/ 12 w 72"/>
              <a:gd name="T33" fmla="*/ 36 h 78"/>
              <a:gd name="T34" fmla="*/ 12 w 72"/>
              <a:gd name="T35" fmla="*/ 30 h 78"/>
              <a:gd name="T36" fmla="*/ 12 w 72"/>
              <a:gd name="T37" fmla="*/ 24 h 78"/>
              <a:gd name="T38" fmla="*/ 12 w 72"/>
              <a:gd name="T39" fmla="*/ 24 h 78"/>
              <a:gd name="T40" fmla="*/ 12 w 72"/>
              <a:gd name="T41" fmla="*/ 18 h 78"/>
              <a:gd name="T42" fmla="*/ 12 w 72"/>
              <a:gd name="T43" fmla="*/ 18 h 78"/>
              <a:gd name="T44" fmla="*/ 12 w 72"/>
              <a:gd name="T45" fmla="*/ 18 h 78"/>
              <a:gd name="T46" fmla="*/ 12 w 72"/>
              <a:gd name="T47" fmla="*/ 18 h 78"/>
              <a:gd name="T48" fmla="*/ 18 w 72"/>
              <a:gd name="T49" fmla="*/ 12 h 78"/>
              <a:gd name="T50" fmla="*/ 18 w 72"/>
              <a:gd name="T51" fmla="*/ 12 h 78"/>
              <a:gd name="T52" fmla="*/ 18 w 72"/>
              <a:gd name="T53" fmla="*/ 12 h 78"/>
              <a:gd name="T54" fmla="*/ 18 w 72"/>
              <a:gd name="T55" fmla="*/ 6 h 78"/>
              <a:gd name="T56" fmla="*/ 18 w 72"/>
              <a:gd name="T57" fmla="*/ 6 h 78"/>
              <a:gd name="T58" fmla="*/ 42 w 72"/>
              <a:gd name="T59" fmla="*/ 0 h 78"/>
              <a:gd name="T60" fmla="*/ 48 w 72"/>
              <a:gd name="T61" fmla="*/ 0 h 78"/>
              <a:gd name="T62" fmla="*/ 48 w 72"/>
              <a:gd name="T63" fmla="*/ 0 h 78"/>
              <a:gd name="T64" fmla="*/ 48 w 72"/>
              <a:gd name="T65" fmla="*/ 0 h 78"/>
              <a:gd name="T66" fmla="*/ 54 w 72"/>
              <a:gd name="T67" fmla="*/ 6 h 78"/>
              <a:gd name="T68" fmla="*/ 60 w 72"/>
              <a:gd name="T69" fmla="*/ 6 h 78"/>
              <a:gd name="T70" fmla="*/ 66 w 72"/>
              <a:gd name="T71" fmla="*/ 6 h 78"/>
              <a:gd name="T72" fmla="*/ 66 w 72"/>
              <a:gd name="T73" fmla="*/ 12 h 78"/>
              <a:gd name="T74" fmla="*/ 72 w 72"/>
              <a:gd name="T75" fmla="*/ 12 h 78"/>
              <a:gd name="T76" fmla="*/ 60 w 72"/>
              <a:gd name="T77" fmla="*/ 24 h 78"/>
              <a:gd name="T78" fmla="*/ 60 w 72"/>
              <a:gd name="T79" fmla="*/ 36 h 78"/>
              <a:gd name="T80" fmla="*/ 54 w 72"/>
              <a:gd name="T81" fmla="*/ 42 h 78"/>
              <a:gd name="T82" fmla="*/ 54 w 72"/>
              <a:gd name="T83" fmla="*/ 42 h 78"/>
              <a:gd name="T84" fmla="*/ 42 w 72"/>
              <a:gd name="T85" fmla="*/ 48 h 78"/>
              <a:gd name="T86" fmla="*/ 42 w 72"/>
              <a:gd name="T87" fmla="*/ 54 h 78"/>
              <a:gd name="T88" fmla="*/ 42 w 72"/>
              <a:gd name="T89" fmla="*/ 60 h 78"/>
              <a:gd name="T90" fmla="*/ 30 w 72"/>
              <a:gd name="T91" fmla="*/ 60 h 78"/>
              <a:gd name="T92" fmla="*/ 30 w 72"/>
              <a:gd name="T93" fmla="*/ 60 h 78"/>
              <a:gd name="T94" fmla="*/ 24 w 72"/>
              <a:gd name="T95" fmla="*/ 60 h 78"/>
              <a:gd name="T96" fmla="*/ 24 w 72"/>
              <a:gd name="T97" fmla="*/ 54 h 78"/>
              <a:gd name="T98" fmla="*/ 18 w 72"/>
              <a:gd name="T99" fmla="*/ 60 h 78"/>
              <a:gd name="T100" fmla="*/ 12 w 72"/>
              <a:gd name="T101" fmla="*/ 66 h 78"/>
              <a:gd name="T102" fmla="*/ 12 w 72"/>
              <a:gd name="T103" fmla="*/ 72 h 78"/>
              <a:gd name="T104" fmla="*/ 6 w 72"/>
              <a:gd name="T105" fmla="*/ 78 h 78"/>
              <a:gd name="T106" fmla="*/ 0 w 72"/>
              <a:gd name="T107" fmla="*/ 78 h 78"/>
              <a:gd name="T108" fmla="*/ 0 w 72"/>
              <a:gd name="T109" fmla="*/ 72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72" h="78">
                <a:moveTo>
                  <a:pt x="0" y="72"/>
                </a:moveTo>
                <a:lnTo>
                  <a:pt x="0" y="72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6" y="66"/>
                </a:lnTo>
                <a:lnTo>
                  <a:pt x="6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48"/>
                </a:lnTo>
                <a:lnTo>
                  <a:pt x="6" y="48"/>
                </a:lnTo>
                <a:lnTo>
                  <a:pt x="6" y="54"/>
                </a:lnTo>
                <a:lnTo>
                  <a:pt x="6" y="48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36"/>
                </a:lnTo>
                <a:lnTo>
                  <a:pt x="18" y="42"/>
                </a:lnTo>
                <a:lnTo>
                  <a:pt x="18" y="36"/>
                </a:lnTo>
                <a:lnTo>
                  <a:pt x="18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8"/>
                </a:lnTo>
                <a:lnTo>
                  <a:pt x="12" y="48"/>
                </a:lnTo>
                <a:lnTo>
                  <a:pt x="6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54" y="0"/>
                </a:lnTo>
                <a:lnTo>
                  <a:pt x="54" y="0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0" y="24"/>
                </a:lnTo>
                <a:lnTo>
                  <a:pt x="60" y="24"/>
                </a:lnTo>
                <a:lnTo>
                  <a:pt x="60" y="30"/>
                </a:lnTo>
                <a:lnTo>
                  <a:pt x="60" y="30"/>
                </a:lnTo>
                <a:lnTo>
                  <a:pt x="60" y="36"/>
                </a:lnTo>
                <a:lnTo>
                  <a:pt x="60" y="36"/>
                </a:lnTo>
                <a:lnTo>
                  <a:pt x="54" y="36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48" y="42"/>
                </a:lnTo>
                <a:lnTo>
                  <a:pt x="48" y="42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60"/>
                </a:lnTo>
                <a:lnTo>
                  <a:pt x="42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6"/>
                </a:lnTo>
                <a:lnTo>
                  <a:pt x="18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72"/>
                </a:lnTo>
                <a:lnTo>
                  <a:pt x="12" y="72"/>
                </a:lnTo>
                <a:lnTo>
                  <a:pt x="6" y="72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93" name="Freeform 126"/>
          <p:cNvSpPr>
            <a:spLocks/>
          </p:cNvSpPr>
          <p:nvPr/>
        </p:nvSpPr>
        <p:spPr bwMode="auto">
          <a:xfrm>
            <a:off x="8297265" y="1668151"/>
            <a:ext cx="38544" cy="25696"/>
          </a:xfrm>
          <a:custGeom>
            <a:avLst/>
            <a:gdLst>
              <a:gd name="T0" fmla="*/ 0 w 36"/>
              <a:gd name="T1" fmla="*/ 12 h 24"/>
              <a:gd name="T2" fmla="*/ 0 w 36"/>
              <a:gd name="T3" fmla="*/ 12 h 24"/>
              <a:gd name="T4" fmla="*/ 6 w 36"/>
              <a:gd name="T5" fmla="*/ 12 h 24"/>
              <a:gd name="T6" fmla="*/ 6 w 36"/>
              <a:gd name="T7" fmla="*/ 6 h 24"/>
              <a:gd name="T8" fmla="*/ 12 w 36"/>
              <a:gd name="T9" fmla="*/ 6 h 24"/>
              <a:gd name="T10" fmla="*/ 12 w 36"/>
              <a:gd name="T11" fmla="*/ 6 h 24"/>
              <a:gd name="T12" fmla="*/ 12 w 36"/>
              <a:gd name="T13" fmla="*/ 6 h 24"/>
              <a:gd name="T14" fmla="*/ 12 w 36"/>
              <a:gd name="T15" fmla="*/ 6 h 24"/>
              <a:gd name="T16" fmla="*/ 12 w 36"/>
              <a:gd name="T17" fmla="*/ 6 h 24"/>
              <a:gd name="T18" fmla="*/ 12 w 36"/>
              <a:gd name="T19" fmla="*/ 0 h 24"/>
              <a:gd name="T20" fmla="*/ 12 w 36"/>
              <a:gd name="T21" fmla="*/ 0 h 24"/>
              <a:gd name="T22" fmla="*/ 12 w 36"/>
              <a:gd name="T23" fmla="*/ 0 h 24"/>
              <a:gd name="T24" fmla="*/ 12 w 36"/>
              <a:gd name="T25" fmla="*/ 0 h 24"/>
              <a:gd name="T26" fmla="*/ 12 w 36"/>
              <a:gd name="T27" fmla="*/ 0 h 24"/>
              <a:gd name="T28" fmla="*/ 18 w 36"/>
              <a:gd name="T29" fmla="*/ 0 h 24"/>
              <a:gd name="T30" fmla="*/ 18 w 36"/>
              <a:gd name="T31" fmla="*/ 0 h 24"/>
              <a:gd name="T32" fmla="*/ 24 w 36"/>
              <a:gd name="T33" fmla="*/ 0 h 24"/>
              <a:gd name="T34" fmla="*/ 24 w 36"/>
              <a:gd name="T35" fmla="*/ 0 h 24"/>
              <a:gd name="T36" fmla="*/ 24 w 36"/>
              <a:gd name="T37" fmla="*/ 0 h 24"/>
              <a:gd name="T38" fmla="*/ 30 w 36"/>
              <a:gd name="T39" fmla="*/ 0 h 24"/>
              <a:gd name="T40" fmla="*/ 30 w 36"/>
              <a:gd name="T41" fmla="*/ 0 h 24"/>
              <a:gd name="T42" fmla="*/ 36 w 36"/>
              <a:gd name="T43" fmla="*/ 0 h 24"/>
              <a:gd name="T44" fmla="*/ 30 w 36"/>
              <a:gd name="T45" fmla="*/ 12 h 24"/>
              <a:gd name="T46" fmla="*/ 30 w 36"/>
              <a:gd name="T47" fmla="*/ 18 h 24"/>
              <a:gd name="T48" fmla="*/ 30 w 36"/>
              <a:gd name="T49" fmla="*/ 24 h 24"/>
              <a:gd name="T50" fmla="*/ 30 w 36"/>
              <a:gd name="T51" fmla="*/ 24 h 24"/>
              <a:gd name="T52" fmla="*/ 30 w 36"/>
              <a:gd name="T53" fmla="*/ 24 h 24"/>
              <a:gd name="T54" fmla="*/ 30 w 36"/>
              <a:gd name="T55" fmla="*/ 24 h 24"/>
              <a:gd name="T56" fmla="*/ 24 w 36"/>
              <a:gd name="T57" fmla="*/ 24 h 24"/>
              <a:gd name="T58" fmla="*/ 24 w 36"/>
              <a:gd name="T59" fmla="*/ 24 h 24"/>
              <a:gd name="T60" fmla="*/ 24 w 36"/>
              <a:gd name="T61" fmla="*/ 24 h 24"/>
              <a:gd name="T62" fmla="*/ 18 w 36"/>
              <a:gd name="T63" fmla="*/ 24 h 24"/>
              <a:gd name="T64" fmla="*/ 18 w 36"/>
              <a:gd name="T65" fmla="*/ 24 h 24"/>
              <a:gd name="T66" fmla="*/ 12 w 36"/>
              <a:gd name="T67" fmla="*/ 24 h 24"/>
              <a:gd name="T68" fmla="*/ 12 w 36"/>
              <a:gd name="T69" fmla="*/ 24 h 24"/>
              <a:gd name="T70" fmla="*/ 12 w 36"/>
              <a:gd name="T71" fmla="*/ 24 h 24"/>
              <a:gd name="T72" fmla="*/ 12 w 36"/>
              <a:gd name="T73" fmla="*/ 24 h 24"/>
              <a:gd name="T74" fmla="*/ 6 w 36"/>
              <a:gd name="T75" fmla="*/ 24 h 24"/>
              <a:gd name="T76" fmla="*/ 6 w 36"/>
              <a:gd name="T77" fmla="*/ 24 h 24"/>
              <a:gd name="T78" fmla="*/ 6 w 36"/>
              <a:gd name="T79" fmla="*/ 24 h 24"/>
              <a:gd name="T80" fmla="*/ 6 w 36"/>
              <a:gd name="T81" fmla="*/ 24 h 24"/>
              <a:gd name="T82" fmla="*/ 6 w 36"/>
              <a:gd name="T83" fmla="*/ 24 h 24"/>
              <a:gd name="T84" fmla="*/ 0 w 36"/>
              <a:gd name="T85" fmla="*/ 18 h 24"/>
              <a:gd name="T86" fmla="*/ 0 w 36"/>
              <a:gd name="T87" fmla="*/ 12 h 24"/>
              <a:gd name="T88" fmla="*/ 0 w 36"/>
              <a:gd name="T89" fmla="*/ 12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36" h="24">
                <a:moveTo>
                  <a:pt x="0" y="12"/>
                </a:moveTo>
                <a:lnTo>
                  <a:pt x="0" y="12"/>
                </a:lnTo>
                <a:lnTo>
                  <a:pt x="6" y="12"/>
                </a:lnTo>
                <a:lnTo>
                  <a:pt x="6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8" y="0"/>
                </a:lnTo>
                <a:lnTo>
                  <a:pt x="18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30" y="0"/>
                </a:lnTo>
                <a:lnTo>
                  <a:pt x="30" y="0"/>
                </a:lnTo>
                <a:lnTo>
                  <a:pt x="36" y="0"/>
                </a:lnTo>
                <a:lnTo>
                  <a:pt x="30" y="12"/>
                </a:lnTo>
                <a:lnTo>
                  <a:pt x="30" y="18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18" y="24"/>
                </a:lnTo>
                <a:lnTo>
                  <a:pt x="18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0" y="18"/>
                </a:lnTo>
                <a:lnTo>
                  <a:pt x="0" y="12"/>
                </a:lnTo>
                <a:lnTo>
                  <a:pt x="0" y="1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94" name="Freeform 127"/>
          <p:cNvSpPr>
            <a:spLocks/>
          </p:cNvSpPr>
          <p:nvPr/>
        </p:nvSpPr>
        <p:spPr bwMode="auto">
          <a:xfrm>
            <a:off x="7931095" y="1661727"/>
            <a:ext cx="115633" cy="141330"/>
          </a:xfrm>
          <a:custGeom>
            <a:avLst/>
            <a:gdLst>
              <a:gd name="T0" fmla="*/ 6 w 108"/>
              <a:gd name="T1" fmla="*/ 96 h 132"/>
              <a:gd name="T2" fmla="*/ 12 w 108"/>
              <a:gd name="T3" fmla="*/ 84 h 132"/>
              <a:gd name="T4" fmla="*/ 6 w 108"/>
              <a:gd name="T5" fmla="*/ 78 h 132"/>
              <a:gd name="T6" fmla="*/ 0 w 108"/>
              <a:gd name="T7" fmla="*/ 72 h 132"/>
              <a:gd name="T8" fmla="*/ 6 w 108"/>
              <a:gd name="T9" fmla="*/ 72 h 132"/>
              <a:gd name="T10" fmla="*/ 6 w 108"/>
              <a:gd name="T11" fmla="*/ 60 h 132"/>
              <a:gd name="T12" fmla="*/ 18 w 108"/>
              <a:gd name="T13" fmla="*/ 60 h 132"/>
              <a:gd name="T14" fmla="*/ 30 w 108"/>
              <a:gd name="T15" fmla="*/ 60 h 132"/>
              <a:gd name="T16" fmla="*/ 48 w 108"/>
              <a:gd name="T17" fmla="*/ 60 h 132"/>
              <a:gd name="T18" fmla="*/ 60 w 108"/>
              <a:gd name="T19" fmla="*/ 54 h 132"/>
              <a:gd name="T20" fmla="*/ 60 w 108"/>
              <a:gd name="T21" fmla="*/ 54 h 132"/>
              <a:gd name="T22" fmla="*/ 60 w 108"/>
              <a:gd name="T23" fmla="*/ 54 h 132"/>
              <a:gd name="T24" fmla="*/ 60 w 108"/>
              <a:gd name="T25" fmla="*/ 48 h 132"/>
              <a:gd name="T26" fmla="*/ 60 w 108"/>
              <a:gd name="T27" fmla="*/ 48 h 132"/>
              <a:gd name="T28" fmla="*/ 60 w 108"/>
              <a:gd name="T29" fmla="*/ 42 h 132"/>
              <a:gd name="T30" fmla="*/ 60 w 108"/>
              <a:gd name="T31" fmla="*/ 42 h 132"/>
              <a:gd name="T32" fmla="*/ 60 w 108"/>
              <a:gd name="T33" fmla="*/ 36 h 132"/>
              <a:gd name="T34" fmla="*/ 60 w 108"/>
              <a:gd name="T35" fmla="*/ 30 h 132"/>
              <a:gd name="T36" fmla="*/ 66 w 108"/>
              <a:gd name="T37" fmla="*/ 30 h 132"/>
              <a:gd name="T38" fmla="*/ 66 w 108"/>
              <a:gd name="T39" fmla="*/ 24 h 132"/>
              <a:gd name="T40" fmla="*/ 72 w 108"/>
              <a:gd name="T41" fmla="*/ 24 h 132"/>
              <a:gd name="T42" fmla="*/ 72 w 108"/>
              <a:gd name="T43" fmla="*/ 18 h 132"/>
              <a:gd name="T44" fmla="*/ 72 w 108"/>
              <a:gd name="T45" fmla="*/ 18 h 132"/>
              <a:gd name="T46" fmla="*/ 72 w 108"/>
              <a:gd name="T47" fmla="*/ 6 h 132"/>
              <a:gd name="T48" fmla="*/ 78 w 108"/>
              <a:gd name="T49" fmla="*/ 0 h 132"/>
              <a:gd name="T50" fmla="*/ 90 w 108"/>
              <a:gd name="T51" fmla="*/ 6 h 132"/>
              <a:gd name="T52" fmla="*/ 108 w 108"/>
              <a:gd name="T53" fmla="*/ 12 h 132"/>
              <a:gd name="T54" fmla="*/ 108 w 108"/>
              <a:gd name="T55" fmla="*/ 18 h 132"/>
              <a:gd name="T56" fmla="*/ 108 w 108"/>
              <a:gd name="T57" fmla="*/ 24 h 132"/>
              <a:gd name="T58" fmla="*/ 108 w 108"/>
              <a:gd name="T59" fmla="*/ 30 h 132"/>
              <a:gd name="T60" fmla="*/ 102 w 108"/>
              <a:gd name="T61" fmla="*/ 36 h 132"/>
              <a:gd name="T62" fmla="*/ 96 w 108"/>
              <a:gd name="T63" fmla="*/ 42 h 132"/>
              <a:gd name="T64" fmla="*/ 90 w 108"/>
              <a:gd name="T65" fmla="*/ 48 h 132"/>
              <a:gd name="T66" fmla="*/ 90 w 108"/>
              <a:gd name="T67" fmla="*/ 48 h 132"/>
              <a:gd name="T68" fmla="*/ 90 w 108"/>
              <a:gd name="T69" fmla="*/ 54 h 132"/>
              <a:gd name="T70" fmla="*/ 90 w 108"/>
              <a:gd name="T71" fmla="*/ 60 h 132"/>
              <a:gd name="T72" fmla="*/ 84 w 108"/>
              <a:gd name="T73" fmla="*/ 66 h 132"/>
              <a:gd name="T74" fmla="*/ 84 w 108"/>
              <a:gd name="T75" fmla="*/ 78 h 132"/>
              <a:gd name="T76" fmla="*/ 84 w 108"/>
              <a:gd name="T77" fmla="*/ 78 h 132"/>
              <a:gd name="T78" fmla="*/ 66 w 108"/>
              <a:gd name="T79" fmla="*/ 90 h 132"/>
              <a:gd name="T80" fmla="*/ 60 w 108"/>
              <a:gd name="T81" fmla="*/ 90 h 132"/>
              <a:gd name="T82" fmla="*/ 54 w 108"/>
              <a:gd name="T83" fmla="*/ 90 h 132"/>
              <a:gd name="T84" fmla="*/ 48 w 108"/>
              <a:gd name="T85" fmla="*/ 90 h 132"/>
              <a:gd name="T86" fmla="*/ 48 w 108"/>
              <a:gd name="T87" fmla="*/ 96 h 132"/>
              <a:gd name="T88" fmla="*/ 48 w 108"/>
              <a:gd name="T89" fmla="*/ 96 h 132"/>
              <a:gd name="T90" fmla="*/ 48 w 108"/>
              <a:gd name="T91" fmla="*/ 102 h 132"/>
              <a:gd name="T92" fmla="*/ 48 w 108"/>
              <a:gd name="T93" fmla="*/ 108 h 132"/>
              <a:gd name="T94" fmla="*/ 48 w 108"/>
              <a:gd name="T95" fmla="*/ 108 h 132"/>
              <a:gd name="T96" fmla="*/ 48 w 108"/>
              <a:gd name="T97" fmla="*/ 114 h 132"/>
              <a:gd name="T98" fmla="*/ 42 w 108"/>
              <a:gd name="T99" fmla="*/ 114 h 132"/>
              <a:gd name="T100" fmla="*/ 36 w 108"/>
              <a:gd name="T101" fmla="*/ 120 h 132"/>
              <a:gd name="T102" fmla="*/ 30 w 108"/>
              <a:gd name="T103" fmla="*/ 120 h 132"/>
              <a:gd name="T104" fmla="*/ 30 w 108"/>
              <a:gd name="T105" fmla="*/ 126 h 132"/>
              <a:gd name="T106" fmla="*/ 18 w 108"/>
              <a:gd name="T107" fmla="*/ 132 h 132"/>
              <a:gd name="T108" fmla="*/ 18 w 108"/>
              <a:gd name="T109" fmla="*/ 126 h 132"/>
              <a:gd name="T110" fmla="*/ 12 w 108"/>
              <a:gd name="T111" fmla="*/ 120 h 132"/>
              <a:gd name="T112" fmla="*/ 6 w 108"/>
              <a:gd name="T113" fmla="*/ 120 h 132"/>
              <a:gd name="T114" fmla="*/ 6 w 108"/>
              <a:gd name="T115" fmla="*/ 120 h 132"/>
              <a:gd name="T116" fmla="*/ 0 w 108"/>
              <a:gd name="T117" fmla="*/ 108 h 132"/>
              <a:gd name="T118" fmla="*/ 0 w 108"/>
              <a:gd name="T119" fmla="*/ 102 h 132"/>
              <a:gd name="T120" fmla="*/ 6 w 108"/>
              <a:gd name="T121" fmla="*/ 96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8" h="132">
                <a:moveTo>
                  <a:pt x="0" y="96"/>
                </a:moveTo>
                <a:lnTo>
                  <a:pt x="0" y="96"/>
                </a:lnTo>
                <a:lnTo>
                  <a:pt x="0" y="96"/>
                </a:lnTo>
                <a:lnTo>
                  <a:pt x="6" y="96"/>
                </a:lnTo>
                <a:lnTo>
                  <a:pt x="6" y="90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6" y="84"/>
                </a:lnTo>
                <a:lnTo>
                  <a:pt x="6" y="78"/>
                </a:lnTo>
                <a:lnTo>
                  <a:pt x="0" y="78"/>
                </a:ln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6" y="66"/>
                </a:lnTo>
                <a:lnTo>
                  <a:pt x="6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8" y="60"/>
                </a:lnTo>
                <a:lnTo>
                  <a:pt x="18" y="60"/>
                </a:lnTo>
                <a:lnTo>
                  <a:pt x="24" y="60"/>
                </a:lnTo>
                <a:lnTo>
                  <a:pt x="30" y="60"/>
                </a:lnTo>
                <a:lnTo>
                  <a:pt x="30" y="60"/>
                </a:lnTo>
                <a:lnTo>
                  <a:pt x="42" y="60"/>
                </a:lnTo>
                <a:lnTo>
                  <a:pt x="42" y="60"/>
                </a:lnTo>
                <a:lnTo>
                  <a:pt x="48" y="60"/>
                </a:lnTo>
                <a:lnTo>
                  <a:pt x="48" y="60"/>
                </a:lnTo>
                <a:lnTo>
                  <a:pt x="54" y="60"/>
                </a:lnTo>
                <a:lnTo>
                  <a:pt x="54" y="60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48"/>
                </a:lnTo>
                <a:lnTo>
                  <a:pt x="60" y="48"/>
                </a:lnTo>
                <a:lnTo>
                  <a:pt x="66" y="48"/>
                </a:lnTo>
                <a:lnTo>
                  <a:pt x="60" y="48"/>
                </a:lnTo>
                <a:lnTo>
                  <a:pt x="66" y="48"/>
                </a:lnTo>
                <a:lnTo>
                  <a:pt x="66" y="42"/>
                </a:lnTo>
                <a:lnTo>
                  <a:pt x="66" y="42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6"/>
                </a:lnTo>
                <a:lnTo>
                  <a:pt x="78" y="6"/>
                </a:lnTo>
                <a:lnTo>
                  <a:pt x="72" y="6"/>
                </a:lnTo>
                <a:lnTo>
                  <a:pt x="78" y="6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84" y="0"/>
                </a:lnTo>
                <a:lnTo>
                  <a:pt x="90" y="6"/>
                </a:lnTo>
                <a:lnTo>
                  <a:pt x="90" y="6"/>
                </a:lnTo>
                <a:lnTo>
                  <a:pt x="96" y="6"/>
                </a:lnTo>
                <a:lnTo>
                  <a:pt x="102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72"/>
                </a:lnTo>
                <a:lnTo>
                  <a:pt x="84" y="72"/>
                </a:lnTo>
                <a:lnTo>
                  <a:pt x="90" y="72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78" y="90"/>
                </a:lnTo>
                <a:lnTo>
                  <a:pt x="78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14"/>
                </a:lnTo>
                <a:lnTo>
                  <a:pt x="48" y="114"/>
                </a:lnTo>
                <a:lnTo>
                  <a:pt x="48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36" y="120"/>
                </a:lnTo>
                <a:lnTo>
                  <a:pt x="36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6"/>
                </a:lnTo>
                <a:lnTo>
                  <a:pt x="30" y="126"/>
                </a:lnTo>
                <a:lnTo>
                  <a:pt x="24" y="132"/>
                </a:lnTo>
                <a:lnTo>
                  <a:pt x="24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0" y="114"/>
                </a:lnTo>
                <a:lnTo>
                  <a:pt x="6" y="114"/>
                </a:lnTo>
                <a:lnTo>
                  <a:pt x="0" y="114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2"/>
                </a:lnTo>
                <a:lnTo>
                  <a:pt x="0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96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95" name="Freeform 128"/>
          <p:cNvSpPr>
            <a:spLocks/>
          </p:cNvSpPr>
          <p:nvPr/>
        </p:nvSpPr>
        <p:spPr bwMode="auto">
          <a:xfrm>
            <a:off x="8149512" y="1578214"/>
            <a:ext cx="57816" cy="64241"/>
          </a:xfrm>
          <a:custGeom>
            <a:avLst/>
            <a:gdLst>
              <a:gd name="T0" fmla="*/ 0 w 54"/>
              <a:gd name="T1" fmla="*/ 24 h 60"/>
              <a:gd name="T2" fmla="*/ 0 w 54"/>
              <a:gd name="T3" fmla="*/ 30 h 60"/>
              <a:gd name="T4" fmla="*/ 6 w 54"/>
              <a:gd name="T5" fmla="*/ 30 h 60"/>
              <a:gd name="T6" fmla="*/ 12 w 54"/>
              <a:gd name="T7" fmla="*/ 30 h 60"/>
              <a:gd name="T8" fmla="*/ 12 w 54"/>
              <a:gd name="T9" fmla="*/ 30 h 60"/>
              <a:gd name="T10" fmla="*/ 12 w 54"/>
              <a:gd name="T11" fmla="*/ 30 h 60"/>
              <a:gd name="T12" fmla="*/ 12 w 54"/>
              <a:gd name="T13" fmla="*/ 24 h 60"/>
              <a:gd name="T14" fmla="*/ 24 w 54"/>
              <a:gd name="T15" fmla="*/ 24 h 60"/>
              <a:gd name="T16" fmla="*/ 24 w 54"/>
              <a:gd name="T17" fmla="*/ 24 h 60"/>
              <a:gd name="T18" fmla="*/ 30 w 54"/>
              <a:gd name="T19" fmla="*/ 24 h 60"/>
              <a:gd name="T20" fmla="*/ 36 w 54"/>
              <a:gd name="T21" fmla="*/ 18 h 60"/>
              <a:gd name="T22" fmla="*/ 36 w 54"/>
              <a:gd name="T23" fmla="*/ 18 h 60"/>
              <a:gd name="T24" fmla="*/ 36 w 54"/>
              <a:gd name="T25" fmla="*/ 12 h 60"/>
              <a:gd name="T26" fmla="*/ 36 w 54"/>
              <a:gd name="T27" fmla="*/ 12 h 60"/>
              <a:gd name="T28" fmla="*/ 36 w 54"/>
              <a:gd name="T29" fmla="*/ 6 h 60"/>
              <a:gd name="T30" fmla="*/ 30 w 54"/>
              <a:gd name="T31" fmla="*/ 6 h 60"/>
              <a:gd name="T32" fmla="*/ 30 w 54"/>
              <a:gd name="T33" fmla="*/ 6 h 60"/>
              <a:gd name="T34" fmla="*/ 30 w 54"/>
              <a:gd name="T35" fmla="*/ 0 h 60"/>
              <a:gd name="T36" fmla="*/ 36 w 54"/>
              <a:gd name="T37" fmla="*/ 0 h 60"/>
              <a:gd name="T38" fmla="*/ 42 w 54"/>
              <a:gd name="T39" fmla="*/ 12 h 60"/>
              <a:gd name="T40" fmla="*/ 48 w 54"/>
              <a:gd name="T41" fmla="*/ 12 h 60"/>
              <a:gd name="T42" fmla="*/ 48 w 54"/>
              <a:gd name="T43" fmla="*/ 12 h 60"/>
              <a:gd name="T44" fmla="*/ 42 w 54"/>
              <a:gd name="T45" fmla="*/ 18 h 60"/>
              <a:gd name="T46" fmla="*/ 42 w 54"/>
              <a:gd name="T47" fmla="*/ 18 h 60"/>
              <a:gd name="T48" fmla="*/ 42 w 54"/>
              <a:gd name="T49" fmla="*/ 24 h 60"/>
              <a:gd name="T50" fmla="*/ 48 w 54"/>
              <a:gd name="T51" fmla="*/ 24 h 60"/>
              <a:gd name="T52" fmla="*/ 54 w 54"/>
              <a:gd name="T53" fmla="*/ 36 h 60"/>
              <a:gd name="T54" fmla="*/ 54 w 54"/>
              <a:gd name="T55" fmla="*/ 36 h 60"/>
              <a:gd name="T56" fmla="*/ 48 w 54"/>
              <a:gd name="T57" fmla="*/ 42 h 60"/>
              <a:gd name="T58" fmla="*/ 42 w 54"/>
              <a:gd name="T59" fmla="*/ 42 h 60"/>
              <a:gd name="T60" fmla="*/ 42 w 54"/>
              <a:gd name="T61" fmla="*/ 42 h 60"/>
              <a:gd name="T62" fmla="*/ 42 w 54"/>
              <a:gd name="T63" fmla="*/ 48 h 60"/>
              <a:gd name="T64" fmla="*/ 36 w 54"/>
              <a:gd name="T65" fmla="*/ 48 h 60"/>
              <a:gd name="T66" fmla="*/ 36 w 54"/>
              <a:gd name="T67" fmla="*/ 48 h 60"/>
              <a:gd name="T68" fmla="*/ 36 w 54"/>
              <a:gd name="T69" fmla="*/ 54 h 60"/>
              <a:gd name="T70" fmla="*/ 36 w 54"/>
              <a:gd name="T71" fmla="*/ 54 h 60"/>
              <a:gd name="T72" fmla="*/ 30 w 54"/>
              <a:gd name="T73" fmla="*/ 60 h 60"/>
              <a:gd name="T74" fmla="*/ 30 w 54"/>
              <a:gd name="T75" fmla="*/ 60 h 60"/>
              <a:gd name="T76" fmla="*/ 24 w 54"/>
              <a:gd name="T77" fmla="*/ 54 h 60"/>
              <a:gd name="T78" fmla="*/ 24 w 54"/>
              <a:gd name="T79" fmla="*/ 48 h 60"/>
              <a:gd name="T80" fmla="*/ 12 w 54"/>
              <a:gd name="T81" fmla="*/ 54 h 60"/>
              <a:gd name="T82" fmla="*/ 12 w 54"/>
              <a:gd name="T83" fmla="*/ 54 h 60"/>
              <a:gd name="T84" fmla="*/ 6 w 54"/>
              <a:gd name="T85" fmla="*/ 54 h 60"/>
              <a:gd name="T86" fmla="*/ 6 w 54"/>
              <a:gd name="T87" fmla="*/ 54 h 60"/>
              <a:gd name="T88" fmla="*/ 6 w 54"/>
              <a:gd name="T89" fmla="*/ 48 h 60"/>
              <a:gd name="T90" fmla="*/ 0 w 54"/>
              <a:gd name="T91" fmla="*/ 42 h 60"/>
              <a:gd name="T92" fmla="*/ 0 w 54"/>
              <a:gd name="T93" fmla="*/ 36 h 60"/>
              <a:gd name="T94" fmla="*/ 0 w 54"/>
              <a:gd name="T95" fmla="*/ 24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54" h="60">
                <a:moveTo>
                  <a:pt x="0" y="24"/>
                </a:moveTo>
                <a:lnTo>
                  <a:pt x="0" y="24"/>
                </a:lnTo>
                <a:lnTo>
                  <a:pt x="0" y="24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12" y="30"/>
                </a:lnTo>
                <a:lnTo>
                  <a:pt x="6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24"/>
                </a:lnTo>
                <a:lnTo>
                  <a:pt x="12" y="24"/>
                </a:lnTo>
                <a:lnTo>
                  <a:pt x="18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6" y="0"/>
                </a:lnTo>
                <a:lnTo>
                  <a:pt x="42" y="6"/>
                </a:lnTo>
                <a:lnTo>
                  <a:pt x="42" y="6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18"/>
                </a:lnTo>
                <a:lnTo>
                  <a:pt x="48" y="24"/>
                </a:lnTo>
                <a:lnTo>
                  <a:pt x="48" y="24"/>
                </a:lnTo>
                <a:lnTo>
                  <a:pt x="48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42"/>
                </a:lnTo>
                <a:lnTo>
                  <a:pt x="54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0" y="48"/>
                </a:lnTo>
                <a:lnTo>
                  <a:pt x="36" y="48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48"/>
                </a:lnTo>
                <a:lnTo>
                  <a:pt x="24" y="42"/>
                </a:lnTo>
                <a:lnTo>
                  <a:pt x="24" y="48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0"/>
                </a:lnTo>
                <a:lnTo>
                  <a:pt x="0" y="2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96" name="Freeform 129"/>
          <p:cNvSpPr>
            <a:spLocks/>
          </p:cNvSpPr>
          <p:nvPr/>
        </p:nvSpPr>
        <p:spPr bwMode="auto">
          <a:xfrm>
            <a:off x="8252297" y="1828754"/>
            <a:ext cx="77089" cy="141330"/>
          </a:xfrm>
          <a:custGeom>
            <a:avLst/>
            <a:gdLst>
              <a:gd name="T0" fmla="*/ 0 w 72"/>
              <a:gd name="T1" fmla="*/ 114 h 132"/>
              <a:gd name="T2" fmla="*/ 0 w 72"/>
              <a:gd name="T3" fmla="*/ 102 h 132"/>
              <a:gd name="T4" fmla="*/ 0 w 72"/>
              <a:gd name="T5" fmla="*/ 102 h 132"/>
              <a:gd name="T6" fmla="*/ 0 w 72"/>
              <a:gd name="T7" fmla="*/ 96 h 132"/>
              <a:gd name="T8" fmla="*/ 12 w 72"/>
              <a:gd name="T9" fmla="*/ 84 h 132"/>
              <a:gd name="T10" fmla="*/ 12 w 72"/>
              <a:gd name="T11" fmla="*/ 84 h 132"/>
              <a:gd name="T12" fmla="*/ 12 w 72"/>
              <a:gd name="T13" fmla="*/ 84 h 132"/>
              <a:gd name="T14" fmla="*/ 12 w 72"/>
              <a:gd name="T15" fmla="*/ 78 h 132"/>
              <a:gd name="T16" fmla="*/ 12 w 72"/>
              <a:gd name="T17" fmla="*/ 60 h 132"/>
              <a:gd name="T18" fmla="*/ 6 w 72"/>
              <a:gd name="T19" fmla="*/ 36 h 132"/>
              <a:gd name="T20" fmla="*/ 6 w 72"/>
              <a:gd name="T21" fmla="*/ 30 h 132"/>
              <a:gd name="T22" fmla="*/ 6 w 72"/>
              <a:gd name="T23" fmla="*/ 24 h 132"/>
              <a:gd name="T24" fmla="*/ 12 w 72"/>
              <a:gd name="T25" fmla="*/ 12 h 132"/>
              <a:gd name="T26" fmla="*/ 18 w 72"/>
              <a:gd name="T27" fmla="*/ 0 h 132"/>
              <a:gd name="T28" fmla="*/ 30 w 72"/>
              <a:gd name="T29" fmla="*/ 6 h 132"/>
              <a:gd name="T30" fmla="*/ 30 w 72"/>
              <a:gd name="T31" fmla="*/ 6 h 132"/>
              <a:gd name="T32" fmla="*/ 54 w 72"/>
              <a:gd name="T33" fmla="*/ 30 h 132"/>
              <a:gd name="T34" fmla="*/ 66 w 72"/>
              <a:gd name="T35" fmla="*/ 24 h 132"/>
              <a:gd name="T36" fmla="*/ 66 w 72"/>
              <a:gd name="T37" fmla="*/ 30 h 132"/>
              <a:gd name="T38" fmla="*/ 66 w 72"/>
              <a:gd name="T39" fmla="*/ 36 h 132"/>
              <a:gd name="T40" fmla="*/ 66 w 72"/>
              <a:gd name="T41" fmla="*/ 42 h 132"/>
              <a:gd name="T42" fmla="*/ 66 w 72"/>
              <a:gd name="T43" fmla="*/ 60 h 132"/>
              <a:gd name="T44" fmla="*/ 66 w 72"/>
              <a:gd name="T45" fmla="*/ 60 h 132"/>
              <a:gd name="T46" fmla="*/ 66 w 72"/>
              <a:gd name="T47" fmla="*/ 66 h 132"/>
              <a:gd name="T48" fmla="*/ 66 w 72"/>
              <a:gd name="T49" fmla="*/ 66 h 132"/>
              <a:gd name="T50" fmla="*/ 60 w 72"/>
              <a:gd name="T51" fmla="*/ 72 h 132"/>
              <a:gd name="T52" fmla="*/ 60 w 72"/>
              <a:gd name="T53" fmla="*/ 72 h 132"/>
              <a:gd name="T54" fmla="*/ 60 w 72"/>
              <a:gd name="T55" fmla="*/ 72 h 132"/>
              <a:gd name="T56" fmla="*/ 60 w 72"/>
              <a:gd name="T57" fmla="*/ 78 h 132"/>
              <a:gd name="T58" fmla="*/ 60 w 72"/>
              <a:gd name="T59" fmla="*/ 78 h 132"/>
              <a:gd name="T60" fmla="*/ 60 w 72"/>
              <a:gd name="T61" fmla="*/ 84 h 132"/>
              <a:gd name="T62" fmla="*/ 60 w 72"/>
              <a:gd name="T63" fmla="*/ 90 h 132"/>
              <a:gd name="T64" fmla="*/ 60 w 72"/>
              <a:gd name="T65" fmla="*/ 90 h 132"/>
              <a:gd name="T66" fmla="*/ 60 w 72"/>
              <a:gd name="T67" fmla="*/ 96 h 132"/>
              <a:gd name="T68" fmla="*/ 60 w 72"/>
              <a:gd name="T69" fmla="*/ 102 h 132"/>
              <a:gd name="T70" fmla="*/ 60 w 72"/>
              <a:gd name="T71" fmla="*/ 96 h 132"/>
              <a:gd name="T72" fmla="*/ 66 w 72"/>
              <a:gd name="T73" fmla="*/ 96 h 132"/>
              <a:gd name="T74" fmla="*/ 60 w 72"/>
              <a:gd name="T75" fmla="*/ 102 h 132"/>
              <a:gd name="T76" fmla="*/ 54 w 72"/>
              <a:gd name="T77" fmla="*/ 108 h 132"/>
              <a:gd name="T78" fmla="*/ 54 w 72"/>
              <a:gd name="T79" fmla="*/ 102 h 132"/>
              <a:gd name="T80" fmla="*/ 54 w 72"/>
              <a:gd name="T81" fmla="*/ 108 h 132"/>
              <a:gd name="T82" fmla="*/ 54 w 72"/>
              <a:gd name="T83" fmla="*/ 114 h 132"/>
              <a:gd name="T84" fmla="*/ 48 w 72"/>
              <a:gd name="T85" fmla="*/ 114 h 132"/>
              <a:gd name="T86" fmla="*/ 48 w 72"/>
              <a:gd name="T87" fmla="*/ 120 h 132"/>
              <a:gd name="T88" fmla="*/ 42 w 72"/>
              <a:gd name="T89" fmla="*/ 126 h 132"/>
              <a:gd name="T90" fmla="*/ 36 w 72"/>
              <a:gd name="T91" fmla="*/ 132 h 132"/>
              <a:gd name="T92" fmla="*/ 30 w 72"/>
              <a:gd name="T93" fmla="*/ 132 h 132"/>
              <a:gd name="T94" fmla="*/ 30 w 72"/>
              <a:gd name="T95" fmla="*/ 120 h 132"/>
              <a:gd name="T96" fmla="*/ 30 w 72"/>
              <a:gd name="T97" fmla="*/ 120 h 132"/>
              <a:gd name="T98" fmla="*/ 24 w 72"/>
              <a:gd name="T99" fmla="*/ 120 h 132"/>
              <a:gd name="T100" fmla="*/ 18 w 72"/>
              <a:gd name="T101" fmla="*/ 120 h 132"/>
              <a:gd name="T102" fmla="*/ 12 w 72"/>
              <a:gd name="T103" fmla="*/ 120 h 132"/>
              <a:gd name="T104" fmla="*/ 12 w 72"/>
              <a:gd name="T105" fmla="*/ 120 h 132"/>
              <a:gd name="T106" fmla="*/ 0 w 72"/>
              <a:gd name="T107" fmla="*/ 114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72" h="132">
                <a:moveTo>
                  <a:pt x="0" y="114"/>
                </a:moveTo>
                <a:lnTo>
                  <a:pt x="0" y="114"/>
                </a:lnTo>
                <a:lnTo>
                  <a:pt x="0" y="114"/>
                </a:lnTo>
                <a:lnTo>
                  <a:pt x="0" y="114"/>
                </a:lnTo>
                <a:lnTo>
                  <a:pt x="0" y="114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6" y="96"/>
                </a:lnTo>
                <a:lnTo>
                  <a:pt x="6" y="96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78"/>
                </a:lnTo>
                <a:lnTo>
                  <a:pt x="18" y="78"/>
                </a:lnTo>
                <a:lnTo>
                  <a:pt x="12" y="78"/>
                </a:lnTo>
                <a:lnTo>
                  <a:pt x="12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2" y="60"/>
                </a:lnTo>
                <a:lnTo>
                  <a:pt x="12" y="60"/>
                </a:lnTo>
                <a:lnTo>
                  <a:pt x="6" y="48"/>
                </a:lnTo>
                <a:lnTo>
                  <a:pt x="6" y="48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6" y="12"/>
                </a:lnTo>
                <a:lnTo>
                  <a:pt x="6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8" y="0"/>
                </a:lnTo>
                <a:lnTo>
                  <a:pt x="24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12"/>
                </a:lnTo>
                <a:lnTo>
                  <a:pt x="48" y="18"/>
                </a:lnTo>
                <a:lnTo>
                  <a:pt x="48" y="24"/>
                </a:lnTo>
                <a:lnTo>
                  <a:pt x="54" y="30"/>
                </a:lnTo>
                <a:lnTo>
                  <a:pt x="54" y="30"/>
                </a:lnTo>
                <a:lnTo>
                  <a:pt x="60" y="30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0" y="66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6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102"/>
                </a:lnTo>
                <a:lnTo>
                  <a:pt x="54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6" y="96"/>
                </a:lnTo>
                <a:lnTo>
                  <a:pt x="66" y="90"/>
                </a:lnTo>
                <a:lnTo>
                  <a:pt x="66" y="96"/>
                </a:lnTo>
                <a:lnTo>
                  <a:pt x="66" y="90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0" y="96"/>
                </a:lnTo>
                <a:lnTo>
                  <a:pt x="60" y="96"/>
                </a:lnTo>
                <a:lnTo>
                  <a:pt x="60" y="102"/>
                </a:lnTo>
                <a:lnTo>
                  <a:pt x="60" y="102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2"/>
                </a:lnTo>
                <a:lnTo>
                  <a:pt x="54" y="108"/>
                </a:lnTo>
                <a:lnTo>
                  <a:pt x="54" y="102"/>
                </a:lnTo>
                <a:lnTo>
                  <a:pt x="54" y="102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48" y="114"/>
                </a:lnTo>
                <a:lnTo>
                  <a:pt x="48" y="114"/>
                </a:lnTo>
                <a:lnTo>
                  <a:pt x="48" y="114"/>
                </a:lnTo>
                <a:lnTo>
                  <a:pt x="54" y="114"/>
                </a:lnTo>
                <a:lnTo>
                  <a:pt x="54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26"/>
                </a:lnTo>
                <a:lnTo>
                  <a:pt x="48" y="126"/>
                </a:lnTo>
                <a:lnTo>
                  <a:pt x="42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32"/>
                </a:lnTo>
                <a:lnTo>
                  <a:pt x="36" y="132"/>
                </a:lnTo>
                <a:lnTo>
                  <a:pt x="36" y="132"/>
                </a:lnTo>
                <a:lnTo>
                  <a:pt x="36" y="132"/>
                </a:lnTo>
                <a:lnTo>
                  <a:pt x="36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26"/>
                </a:lnTo>
                <a:lnTo>
                  <a:pt x="30" y="126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6" y="120"/>
                </a:lnTo>
                <a:lnTo>
                  <a:pt x="6" y="114"/>
                </a:lnTo>
                <a:lnTo>
                  <a:pt x="6" y="114"/>
                </a:lnTo>
                <a:lnTo>
                  <a:pt x="0" y="114"/>
                </a:lnTo>
                <a:lnTo>
                  <a:pt x="0" y="114"/>
                </a:lnTo>
                <a:lnTo>
                  <a:pt x="0" y="114"/>
                </a:lnTo>
                <a:lnTo>
                  <a:pt x="0" y="114"/>
                </a:lnTo>
                <a:lnTo>
                  <a:pt x="0" y="11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97" name="Freeform 130"/>
          <p:cNvSpPr>
            <a:spLocks/>
          </p:cNvSpPr>
          <p:nvPr/>
        </p:nvSpPr>
        <p:spPr bwMode="auto">
          <a:xfrm>
            <a:off x="8200905" y="1565366"/>
            <a:ext cx="70665" cy="51393"/>
          </a:xfrm>
          <a:custGeom>
            <a:avLst/>
            <a:gdLst>
              <a:gd name="T0" fmla="*/ 0 w 66"/>
              <a:gd name="T1" fmla="*/ 30 h 48"/>
              <a:gd name="T2" fmla="*/ 0 w 66"/>
              <a:gd name="T3" fmla="*/ 30 h 48"/>
              <a:gd name="T4" fmla="*/ 0 w 66"/>
              <a:gd name="T5" fmla="*/ 30 h 48"/>
              <a:gd name="T6" fmla="*/ 0 w 66"/>
              <a:gd name="T7" fmla="*/ 30 h 48"/>
              <a:gd name="T8" fmla="*/ 6 w 66"/>
              <a:gd name="T9" fmla="*/ 24 h 48"/>
              <a:gd name="T10" fmla="*/ 6 w 66"/>
              <a:gd name="T11" fmla="*/ 24 h 48"/>
              <a:gd name="T12" fmla="*/ 6 w 66"/>
              <a:gd name="T13" fmla="*/ 24 h 48"/>
              <a:gd name="T14" fmla="*/ 6 w 66"/>
              <a:gd name="T15" fmla="*/ 18 h 48"/>
              <a:gd name="T16" fmla="*/ 6 w 66"/>
              <a:gd name="T17" fmla="*/ 18 h 48"/>
              <a:gd name="T18" fmla="*/ 6 w 66"/>
              <a:gd name="T19" fmla="*/ 6 h 48"/>
              <a:gd name="T20" fmla="*/ 12 w 66"/>
              <a:gd name="T21" fmla="*/ 6 h 48"/>
              <a:gd name="T22" fmla="*/ 12 w 66"/>
              <a:gd name="T23" fmla="*/ 6 h 48"/>
              <a:gd name="T24" fmla="*/ 12 w 66"/>
              <a:gd name="T25" fmla="*/ 6 h 48"/>
              <a:gd name="T26" fmla="*/ 18 w 66"/>
              <a:gd name="T27" fmla="*/ 6 h 48"/>
              <a:gd name="T28" fmla="*/ 18 w 66"/>
              <a:gd name="T29" fmla="*/ 0 h 48"/>
              <a:gd name="T30" fmla="*/ 24 w 66"/>
              <a:gd name="T31" fmla="*/ 6 h 48"/>
              <a:gd name="T32" fmla="*/ 24 w 66"/>
              <a:gd name="T33" fmla="*/ 6 h 48"/>
              <a:gd name="T34" fmla="*/ 30 w 66"/>
              <a:gd name="T35" fmla="*/ 6 h 48"/>
              <a:gd name="T36" fmla="*/ 36 w 66"/>
              <a:gd name="T37" fmla="*/ 12 h 48"/>
              <a:gd name="T38" fmla="*/ 36 w 66"/>
              <a:gd name="T39" fmla="*/ 12 h 48"/>
              <a:gd name="T40" fmla="*/ 36 w 66"/>
              <a:gd name="T41" fmla="*/ 12 h 48"/>
              <a:gd name="T42" fmla="*/ 42 w 66"/>
              <a:gd name="T43" fmla="*/ 12 h 48"/>
              <a:gd name="T44" fmla="*/ 42 w 66"/>
              <a:gd name="T45" fmla="*/ 12 h 48"/>
              <a:gd name="T46" fmla="*/ 48 w 66"/>
              <a:gd name="T47" fmla="*/ 18 h 48"/>
              <a:gd name="T48" fmla="*/ 48 w 66"/>
              <a:gd name="T49" fmla="*/ 18 h 48"/>
              <a:gd name="T50" fmla="*/ 54 w 66"/>
              <a:gd name="T51" fmla="*/ 24 h 48"/>
              <a:gd name="T52" fmla="*/ 54 w 66"/>
              <a:gd name="T53" fmla="*/ 24 h 48"/>
              <a:gd name="T54" fmla="*/ 60 w 66"/>
              <a:gd name="T55" fmla="*/ 30 h 48"/>
              <a:gd name="T56" fmla="*/ 66 w 66"/>
              <a:gd name="T57" fmla="*/ 30 h 48"/>
              <a:gd name="T58" fmla="*/ 66 w 66"/>
              <a:gd name="T59" fmla="*/ 30 h 48"/>
              <a:gd name="T60" fmla="*/ 54 w 66"/>
              <a:gd name="T61" fmla="*/ 48 h 48"/>
              <a:gd name="T62" fmla="*/ 54 w 66"/>
              <a:gd name="T63" fmla="*/ 48 h 48"/>
              <a:gd name="T64" fmla="*/ 48 w 66"/>
              <a:gd name="T65" fmla="*/ 48 h 48"/>
              <a:gd name="T66" fmla="*/ 48 w 66"/>
              <a:gd name="T67" fmla="*/ 48 h 48"/>
              <a:gd name="T68" fmla="*/ 42 w 66"/>
              <a:gd name="T69" fmla="*/ 48 h 48"/>
              <a:gd name="T70" fmla="*/ 18 w 66"/>
              <a:gd name="T71" fmla="*/ 48 h 48"/>
              <a:gd name="T72" fmla="*/ 12 w 66"/>
              <a:gd name="T73" fmla="*/ 48 h 48"/>
              <a:gd name="T74" fmla="*/ 12 w 66"/>
              <a:gd name="T75" fmla="*/ 48 h 48"/>
              <a:gd name="T76" fmla="*/ 12 w 66"/>
              <a:gd name="T77" fmla="*/ 42 h 48"/>
              <a:gd name="T78" fmla="*/ 12 w 66"/>
              <a:gd name="T79" fmla="*/ 42 h 48"/>
              <a:gd name="T80" fmla="*/ 12 w 66"/>
              <a:gd name="T81" fmla="*/ 36 h 48"/>
              <a:gd name="T82" fmla="*/ 12 w 66"/>
              <a:gd name="T83" fmla="*/ 36 h 48"/>
              <a:gd name="T84" fmla="*/ 12 w 66"/>
              <a:gd name="T85" fmla="*/ 36 h 48"/>
              <a:gd name="T86" fmla="*/ 12 w 66"/>
              <a:gd name="T87" fmla="*/ 36 h 48"/>
              <a:gd name="T88" fmla="*/ 6 w 66"/>
              <a:gd name="T89" fmla="*/ 36 h 48"/>
              <a:gd name="T90" fmla="*/ 0 w 66"/>
              <a:gd name="T91" fmla="*/ 36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66" h="48">
                <a:moveTo>
                  <a:pt x="0" y="36"/>
                </a:move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12" y="12"/>
                </a:lnTo>
                <a:lnTo>
                  <a:pt x="6" y="6"/>
                </a:lnTo>
                <a:lnTo>
                  <a:pt x="6" y="6"/>
                </a:lnTo>
                <a:lnTo>
                  <a:pt x="12" y="6"/>
                </a:lnTo>
                <a:lnTo>
                  <a:pt x="6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8" y="6"/>
                </a:lnTo>
                <a:lnTo>
                  <a:pt x="18" y="6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24" y="6"/>
                </a:lnTo>
                <a:lnTo>
                  <a:pt x="24" y="0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8" y="12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60" y="24"/>
                </a:lnTo>
                <a:lnTo>
                  <a:pt x="60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2" y="48"/>
                </a:lnTo>
                <a:lnTo>
                  <a:pt x="42" y="48"/>
                </a:lnTo>
                <a:lnTo>
                  <a:pt x="24" y="48"/>
                </a:lnTo>
                <a:lnTo>
                  <a:pt x="18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0" y="36"/>
                </a:lnTo>
                <a:lnTo>
                  <a:pt x="0" y="3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98" name="Freeform 131"/>
          <p:cNvSpPr>
            <a:spLocks/>
          </p:cNvSpPr>
          <p:nvPr/>
        </p:nvSpPr>
        <p:spPr bwMode="auto">
          <a:xfrm>
            <a:off x="8522107" y="1950812"/>
            <a:ext cx="102785" cy="122058"/>
          </a:xfrm>
          <a:custGeom>
            <a:avLst/>
            <a:gdLst>
              <a:gd name="T0" fmla="*/ 12 w 96"/>
              <a:gd name="T1" fmla="*/ 66 h 114"/>
              <a:gd name="T2" fmla="*/ 6 w 96"/>
              <a:gd name="T3" fmla="*/ 60 h 114"/>
              <a:gd name="T4" fmla="*/ 18 w 96"/>
              <a:gd name="T5" fmla="*/ 42 h 114"/>
              <a:gd name="T6" fmla="*/ 12 w 96"/>
              <a:gd name="T7" fmla="*/ 36 h 114"/>
              <a:gd name="T8" fmla="*/ 12 w 96"/>
              <a:gd name="T9" fmla="*/ 24 h 114"/>
              <a:gd name="T10" fmla="*/ 18 w 96"/>
              <a:gd name="T11" fmla="*/ 24 h 114"/>
              <a:gd name="T12" fmla="*/ 18 w 96"/>
              <a:gd name="T13" fmla="*/ 24 h 114"/>
              <a:gd name="T14" fmla="*/ 24 w 96"/>
              <a:gd name="T15" fmla="*/ 24 h 114"/>
              <a:gd name="T16" fmla="*/ 24 w 96"/>
              <a:gd name="T17" fmla="*/ 30 h 114"/>
              <a:gd name="T18" fmla="*/ 36 w 96"/>
              <a:gd name="T19" fmla="*/ 30 h 114"/>
              <a:gd name="T20" fmla="*/ 42 w 96"/>
              <a:gd name="T21" fmla="*/ 24 h 114"/>
              <a:gd name="T22" fmla="*/ 42 w 96"/>
              <a:gd name="T23" fmla="*/ 24 h 114"/>
              <a:gd name="T24" fmla="*/ 48 w 96"/>
              <a:gd name="T25" fmla="*/ 24 h 114"/>
              <a:gd name="T26" fmla="*/ 54 w 96"/>
              <a:gd name="T27" fmla="*/ 24 h 114"/>
              <a:gd name="T28" fmla="*/ 54 w 96"/>
              <a:gd name="T29" fmla="*/ 24 h 114"/>
              <a:gd name="T30" fmla="*/ 54 w 96"/>
              <a:gd name="T31" fmla="*/ 18 h 114"/>
              <a:gd name="T32" fmla="*/ 54 w 96"/>
              <a:gd name="T33" fmla="*/ 12 h 114"/>
              <a:gd name="T34" fmla="*/ 54 w 96"/>
              <a:gd name="T35" fmla="*/ 6 h 114"/>
              <a:gd name="T36" fmla="*/ 54 w 96"/>
              <a:gd name="T37" fmla="*/ 6 h 114"/>
              <a:gd name="T38" fmla="*/ 60 w 96"/>
              <a:gd name="T39" fmla="*/ 6 h 114"/>
              <a:gd name="T40" fmla="*/ 60 w 96"/>
              <a:gd name="T41" fmla="*/ 6 h 114"/>
              <a:gd name="T42" fmla="*/ 60 w 96"/>
              <a:gd name="T43" fmla="*/ 6 h 114"/>
              <a:gd name="T44" fmla="*/ 66 w 96"/>
              <a:gd name="T45" fmla="*/ 6 h 114"/>
              <a:gd name="T46" fmla="*/ 66 w 96"/>
              <a:gd name="T47" fmla="*/ 6 h 114"/>
              <a:gd name="T48" fmla="*/ 66 w 96"/>
              <a:gd name="T49" fmla="*/ 0 h 114"/>
              <a:gd name="T50" fmla="*/ 66 w 96"/>
              <a:gd name="T51" fmla="*/ 0 h 114"/>
              <a:gd name="T52" fmla="*/ 66 w 96"/>
              <a:gd name="T53" fmla="*/ 0 h 114"/>
              <a:gd name="T54" fmla="*/ 66 w 96"/>
              <a:gd name="T55" fmla="*/ 6 h 114"/>
              <a:gd name="T56" fmla="*/ 66 w 96"/>
              <a:gd name="T57" fmla="*/ 6 h 114"/>
              <a:gd name="T58" fmla="*/ 72 w 96"/>
              <a:gd name="T59" fmla="*/ 6 h 114"/>
              <a:gd name="T60" fmla="*/ 78 w 96"/>
              <a:gd name="T61" fmla="*/ 6 h 114"/>
              <a:gd name="T62" fmla="*/ 78 w 96"/>
              <a:gd name="T63" fmla="*/ 6 h 114"/>
              <a:gd name="T64" fmla="*/ 78 w 96"/>
              <a:gd name="T65" fmla="*/ 6 h 114"/>
              <a:gd name="T66" fmla="*/ 96 w 96"/>
              <a:gd name="T67" fmla="*/ 6 h 114"/>
              <a:gd name="T68" fmla="*/ 96 w 96"/>
              <a:gd name="T69" fmla="*/ 18 h 114"/>
              <a:gd name="T70" fmla="*/ 96 w 96"/>
              <a:gd name="T71" fmla="*/ 24 h 114"/>
              <a:gd name="T72" fmla="*/ 90 w 96"/>
              <a:gd name="T73" fmla="*/ 30 h 114"/>
              <a:gd name="T74" fmla="*/ 72 w 96"/>
              <a:gd name="T75" fmla="*/ 36 h 114"/>
              <a:gd name="T76" fmla="*/ 66 w 96"/>
              <a:gd name="T77" fmla="*/ 48 h 114"/>
              <a:gd name="T78" fmla="*/ 66 w 96"/>
              <a:gd name="T79" fmla="*/ 54 h 114"/>
              <a:gd name="T80" fmla="*/ 72 w 96"/>
              <a:gd name="T81" fmla="*/ 60 h 114"/>
              <a:gd name="T82" fmla="*/ 72 w 96"/>
              <a:gd name="T83" fmla="*/ 60 h 114"/>
              <a:gd name="T84" fmla="*/ 78 w 96"/>
              <a:gd name="T85" fmla="*/ 72 h 114"/>
              <a:gd name="T86" fmla="*/ 66 w 96"/>
              <a:gd name="T87" fmla="*/ 66 h 114"/>
              <a:gd name="T88" fmla="*/ 66 w 96"/>
              <a:gd name="T89" fmla="*/ 66 h 114"/>
              <a:gd name="T90" fmla="*/ 60 w 96"/>
              <a:gd name="T91" fmla="*/ 84 h 114"/>
              <a:gd name="T92" fmla="*/ 66 w 96"/>
              <a:gd name="T93" fmla="*/ 84 h 114"/>
              <a:gd name="T94" fmla="*/ 66 w 96"/>
              <a:gd name="T95" fmla="*/ 84 h 114"/>
              <a:gd name="T96" fmla="*/ 66 w 96"/>
              <a:gd name="T97" fmla="*/ 96 h 114"/>
              <a:gd name="T98" fmla="*/ 60 w 96"/>
              <a:gd name="T99" fmla="*/ 102 h 114"/>
              <a:gd name="T100" fmla="*/ 54 w 96"/>
              <a:gd name="T101" fmla="*/ 108 h 114"/>
              <a:gd name="T102" fmla="*/ 48 w 96"/>
              <a:gd name="T103" fmla="*/ 108 h 114"/>
              <a:gd name="T104" fmla="*/ 42 w 96"/>
              <a:gd name="T105" fmla="*/ 114 h 114"/>
              <a:gd name="T106" fmla="*/ 30 w 96"/>
              <a:gd name="T107" fmla="*/ 108 h 114"/>
              <a:gd name="T108" fmla="*/ 36 w 96"/>
              <a:gd name="T109" fmla="*/ 96 h 114"/>
              <a:gd name="T110" fmla="*/ 18 w 96"/>
              <a:gd name="T111" fmla="*/ 84 h 114"/>
              <a:gd name="T112" fmla="*/ 6 w 96"/>
              <a:gd name="T113" fmla="*/ 90 h 114"/>
              <a:gd name="T114" fmla="*/ 6 w 96"/>
              <a:gd name="T115" fmla="*/ 90 h 114"/>
              <a:gd name="T116" fmla="*/ 6 w 96"/>
              <a:gd name="T117" fmla="*/ 84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96" h="114">
                <a:moveTo>
                  <a:pt x="0" y="84"/>
                </a:moveTo>
                <a:lnTo>
                  <a:pt x="6" y="72"/>
                </a:lnTo>
                <a:lnTo>
                  <a:pt x="6" y="72"/>
                </a:lnTo>
                <a:lnTo>
                  <a:pt x="12" y="66"/>
                </a:lnTo>
                <a:lnTo>
                  <a:pt x="12" y="66"/>
                </a:lnTo>
                <a:lnTo>
                  <a:pt x="6" y="66"/>
                </a:lnTo>
                <a:lnTo>
                  <a:pt x="12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18" y="42"/>
                </a:lnTo>
                <a:lnTo>
                  <a:pt x="18" y="42"/>
                </a:lnTo>
                <a:lnTo>
                  <a:pt x="18" y="36"/>
                </a:lnTo>
                <a:lnTo>
                  <a:pt x="18" y="36"/>
                </a:lnTo>
                <a:lnTo>
                  <a:pt x="12" y="36"/>
                </a:lnTo>
                <a:lnTo>
                  <a:pt x="12" y="30"/>
                </a:lnTo>
                <a:lnTo>
                  <a:pt x="12" y="30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18"/>
                </a:lnTo>
                <a:lnTo>
                  <a:pt x="18" y="18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30" y="30"/>
                </a:lnTo>
                <a:lnTo>
                  <a:pt x="36" y="30"/>
                </a:lnTo>
                <a:lnTo>
                  <a:pt x="36" y="30"/>
                </a:lnTo>
                <a:lnTo>
                  <a:pt x="42" y="30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54" y="30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48" y="12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6"/>
                </a:lnTo>
                <a:lnTo>
                  <a:pt x="66" y="0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0"/>
                </a:lnTo>
                <a:lnTo>
                  <a:pt x="90" y="0"/>
                </a:lnTo>
                <a:lnTo>
                  <a:pt x="90" y="6"/>
                </a:lnTo>
                <a:lnTo>
                  <a:pt x="96" y="6"/>
                </a:lnTo>
                <a:lnTo>
                  <a:pt x="96" y="12"/>
                </a:lnTo>
                <a:lnTo>
                  <a:pt x="96" y="12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30"/>
                </a:lnTo>
                <a:lnTo>
                  <a:pt x="90" y="24"/>
                </a:lnTo>
                <a:lnTo>
                  <a:pt x="90" y="30"/>
                </a:lnTo>
                <a:lnTo>
                  <a:pt x="90" y="30"/>
                </a:lnTo>
                <a:lnTo>
                  <a:pt x="84" y="30"/>
                </a:lnTo>
                <a:lnTo>
                  <a:pt x="84" y="30"/>
                </a:lnTo>
                <a:lnTo>
                  <a:pt x="78" y="36"/>
                </a:lnTo>
                <a:lnTo>
                  <a:pt x="72" y="36"/>
                </a:lnTo>
                <a:lnTo>
                  <a:pt x="66" y="36"/>
                </a:lnTo>
                <a:lnTo>
                  <a:pt x="66" y="42"/>
                </a:lnTo>
                <a:lnTo>
                  <a:pt x="66" y="42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72" y="54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6"/>
                </a:lnTo>
                <a:lnTo>
                  <a:pt x="78" y="72"/>
                </a:lnTo>
                <a:lnTo>
                  <a:pt x="78" y="72"/>
                </a:lnTo>
                <a:lnTo>
                  <a:pt x="72" y="72"/>
                </a:lnTo>
                <a:lnTo>
                  <a:pt x="72" y="72"/>
                </a:lnTo>
                <a:lnTo>
                  <a:pt x="72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0" y="72"/>
                </a:lnTo>
                <a:lnTo>
                  <a:pt x="60" y="78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90"/>
                </a:lnTo>
                <a:lnTo>
                  <a:pt x="66" y="90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0" y="96"/>
                </a:lnTo>
                <a:lnTo>
                  <a:pt x="60" y="96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54" y="108"/>
                </a:lnTo>
                <a:lnTo>
                  <a:pt x="54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14"/>
                </a:lnTo>
                <a:lnTo>
                  <a:pt x="42" y="114"/>
                </a:lnTo>
                <a:lnTo>
                  <a:pt x="36" y="114"/>
                </a:lnTo>
                <a:lnTo>
                  <a:pt x="36" y="114"/>
                </a:lnTo>
                <a:lnTo>
                  <a:pt x="30" y="108"/>
                </a:lnTo>
                <a:lnTo>
                  <a:pt x="30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2"/>
                </a:lnTo>
                <a:lnTo>
                  <a:pt x="36" y="96"/>
                </a:lnTo>
                <a:lnTo>
                  <a:pt x="30" y="96"/>
                </a:lnTo>
                <a:lnTo>
                  <a:pt x="30" y="90"/>
                </a:lnTo>
                <a:lnTo>
                  <a:pt x="24" y="84"/>
                </a:lnTo>
                <a:lnTo>
                  <a:pt x="18" y="84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0" y="8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399" name="Freeform 132"/>
          <p:cNvSpPr>
            <a:spLocks/>
          </p:cNvSpPr>
          <p:nvPr/>
        </p:nvSpPr>
        <p:spPr bwMode="auto">
          <a:xfrm>
            <a:off x="8502835" y="1796633"/>
            <a:ext cx="89937" cy="173451"/>
          </a:xfrm>
          <a:custGeom>
            <a:avLst/>
            <a:gdLst>
              <a:gd name="T0" fmla="*/ 0 w 84"/>
              <a:gd name="T1" fmla="*/ 132 h 162"/>
              <a:gd name="T2" fmla="*/ 6 w 84"/>
              <a:gd name="T3" fmla="*/ 126 h 162"/>
              <a:gd name="T4" fmla="*/ 18 w 84"/>
              <a:gd name="T5" fmla="*/ 120 h 162"/>
              <a:gd name="T6" fmla="*/ 18 w 84"/>
              <a:gd name="T7" fmla="*/ 114 h 162"/>
              <a:gd name="T8" fmla="*/ 18 w 84"/>
              <a:gd name="T9" fmla="*/ 102 h 162"/>
              <a:gd name="T10" fmla="*/ 6 w 84"/>
              <a:gd name="T11" fmla="*/ 78 h 162"/>
              <a:gd name="T12" fmla="*/ 6 w 84"/>
              <a:gd name="T13" fmla="*/ 42 h 162"/>
              <a:gd name="T14" fmla="*/ 30 w 84"/>
              <a:gd name="T15" fmla="*/ 18 h 162"/>
              <a:gd name="T16" fmla="*/ 30 w 84"/>
              <a:gd name="T17" fmla="*/ 12 h 162"/>
              <a:gd name="T18" fmla="*/ 36 w 84"/>
              <a:gd name="T19" fmla="*/ 0 h 162"/>
              <a:gd name="T20" fmla="*/ 54 w 84"/>
              <a:gd name="T21" fmla="*/ 12 h 162"/>
              <a:gd name="T22" fmla="*/ 54 w 84"/>
              <a:gd name="T23" fmla="*/ 12 h 162"/>
              <a:gd name="T24" fmla="*/ 54 w 84"/>
              <a:gd name="T25" fmla="*/ 18 h 162"/>
              <a:gd name="T26" fmla="*/ 60 w 84"/>
              <a:gd name="T27" fmla="*/ 18 h 162"/>
              <a:gd name="T28" fmla="*/ 54 w 84"/>
              <a:gd name="T29" fmla="*/ 18 h 162"/>
              <a:gd name="T30" fmla="*/ 54 w 84"/>
              <a:gd name="T31" fmla="*/ 24 h 162"/>
              <a:gd name="T32" fmla="*/ 54 w 84"/>
              <a:gd name="T33" fmla="*/ 24 h 162"/>
              <a:gd name="T34" fmla="*/ 78 w 84"/>
              <a:gd name="T35" fmla="*/ 30 h 162"/>
              <a:gd name="T36" fmla="*/ 78 w 84"/>
              <a:gd name="T37" fmla="*/ 30 h 162"/>
              <a:gd name="T38" fmla="*/ 78 w 84"/>
              <a:gd name="T39" fmla="*/ 36 h 162"/>
              <a:gd name="T40" fmla="*/ 84 w 84"/>
              <a:gd name="T41" fmla="*/ 42 h 162"/>
              <a:gd name="T42" fmla="*/ 42 w 84"/>
              <a:gd name="T43" fmla="*/ 54 h 162"/>
              <a:gd name="T44" fmla="*/ 36 w 84"/>
              <a:gd name="T45" fmla="*/ 60 h 162"/>
              <a:gd name="T46" fmla="*/ 54 w 84"/>
              <a:gd name="T47" fmla="*/ 78 h 162"/>
              <a:gd name="T48" fmla="*/ 48 w 84"/>
              <a:gd name="T49" fmla="*/ 84 h 162"/>
              <a:gd name="T50" fmla="*/ 54 w 84"/>
              <a:gd name="T51" fmla="*/ 84 h 162"/>
              <a:gd name="T52" fmla="*/ 54 w 84"/>
              <a:gd name="T53" fmla="*/ 90 h 162"/>
              <a:gd name="T54" fmla="*/ 60 w 84"/>
              <a:gd name="T55" fmla="*/ 96 h 162"/>
              <a:gd name="T56" fmla="*/ 54 w 84"/>
              <a:gd name="T57" fmla="*/ 96 h 162"/>
              <a:gd name="T58" fmla="*/ 48 w 84"/>
              <a:gd name="T59" fmla="*/ 102 h 162"/>
              <a:gd name="T60" fmla="*/ 48 w 84"/>
              <a:gd name="T61" fmla="*/ 108 h 162"/>
              <a:gd name="T62" fmla="*/ 48 w 84"/>
              <a:gd name="T63" fmla="*/ 114 h 162"/>
              <a:gd name="T64" fmla="*/ 36 w 84"/>
              <a:gd name="T65" fmla="*/ 132 h 162"/>
              <a:gd name="T66" fmla="*/ 36 w 84"/>
              <a:gd name="T67" fmla="*/ 132 h 162"/>
              <a:gd name="T68" fmla="*/ 36 w 84"/>
              <a:gd name="T69" fmla="*/ 132 h 162"/>
              <a:gd name="T70" fmla="*/ 42 w 84"/>
              <a:gd name="T71" fmla="*/ 138 h 162"/>
              <a:gd name="T72" fmla="*/ 36 w 84"/>
              <a:gd name="T73" fmla="*/ 138 h 162"/>
              <a:gd name="T74" fmla="*/ 30 w 84"/>
              <a:gd name="T75" fmla="*/ 144 h 162"/>
              <a:gd name="T76" fmla="*/ 36 w 84"/>
              <a:gd name="T77" fmla="*/ 156 h 162"/>
              <a:gd name="T78" fmla="*/ 30 w 84"/>
              <a:gd name="T79" fmla="*/ 156 h 162"/>
              <a:gd name="T80" fmla="*/ 24 w 84"/>
              <a:gd name="T81" fmla="*/ 156 h 162"/>
              <a:gd name="T82" fmla="*/ 12 w 84"/>
              <a:gd name="T83" fmla="*/ 162 h 162"/>
              <a:gd name="T84" fmla="*/ 12 w 84"/>
              <a:gd name="T85" fmla="*/ 162 h 162"/>
              <a:gd name="T86" fmla="*/ 6 w 84"/>
              <a:gd name="T87" fmla="*/ 162 h 162"/>
              <a:gd name="T88" fmla="*/ 0 w 84"/>
              <a:gd name="T89" fmla="*/ 156 h 162"/>
              <a:gd name="T90" fmla="*/ 0 w 84"/>
              <a:gd name="T91" fmla="*/ 150 h 162"/>
              <a:gd name="T92" fmla="*/ 0 w 84"/>
              <a:gd name="T93" fmla="*/ 150 h 162"/>
              <a:gd name="T94" fmla="*/ 0 w 84"/>
              <a:gd name="T95" fmla="*/ 138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84" h="162">
                <a:moveTo>
                  <a:pt x="0" y="138"/>
                </a:moveTo>
                <a:lnTo>
                  <a:pt x="0" y="138"/>
                </a:lnTo>
                <a:lnTo>
                  <a:pt x="0" y="138"/>
                </a:lnTo>
                <a:lnTo>
                  <a:pt x="0" y="132"/>
                </a:lnTo>
                <a:lnTo>
                  <a:pt x="0" y="132"/>
                </a:lnTo>
                <a:lnTo>
                  <a:pt x="0" y="132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12" y="132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2" y="114"/>
                </a:lnTo>
                <a:lnTo>
                  <a:pt x="18" y="102"/>
                </a:lnTo>
                <a:lnTo>
                  <a:pt x="18" y="102"/>
                </a:lnTo>
                <a:lnTo>
                  <a:pt x="18" y="96"/>
                </a:lnTo>
                <a:lnTo>
                  <a:pt x="12" y="90"/>
                </a:lnTo>
                <a:lnTo>
                  <a:pt x="6" y="90"/>
                </a:lnTo>
                <a:lnTo>
                  <a:pt x="6" y="78"/>
                </a:lnTo>
                <a:lnTo>
                  <a:pt x="0" y="66"/>
                </a:lnTo>
                <a:lnTo>
                  <a:pt x="0" y="54"/>
                </a:lnTo>
                <a:lnTo>
                  <a:pt x="0" y="48"/>
                </a:lnTo>
                <a:lnTo>
                  <a:pt x="6" y="42"/>
                </a:lnTo>
                <a:lnTo>
                  <a:pt x="12" y="42"/>
                </a:lnTo>
                <a:lnTo>
                  <a:pt x="30" y="42"/>
                </a:lnTo>
                <a:lnTo>
                  <a:pt x="30" y="18"/>
                </a:lnTo>
                <a:lnTo>
                  <a:pt x="30" y="18"/>
                </a:lnTo>
                <a:lnTo>
                  <a:pt x="24" y="18"/>
                </a:lnTo>
                <a:lnTo>
                  <a:pt x="24" y="18"/>
                </a:lnTo>
                <a:lnTo>
                  <a:pt x="24" y="12"/>
                </a:lnTo>
                <a:lnTo>
                  <a:pt x="30" y="12"/>
                </a:lnTo>
                <a:lnTo>
                  <a:pt x="30" y="6"/>
                </a:lnTo>
                <a:lnTo>
                  <a:pt x="36" y="6"/>
                </a:lnTo>
                <a:lnTo>
                  <a:pt x="36" y="0"/>
                </a:lnTo>
                <a:lnTo>
                  <a:pt x="36" y="0"/>
                </a:lnTo>
                <a:lnTo>
                  <a:pt x="42" y="0"/>
                </a:lnTo>
                <a:lnTo>
                  <a:pt x="42" y="0"/>
                </a:lnTo>
                <a:lnTo>
                  <a:pt x="48" y="6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54" y="12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60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72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42"/>
                </a:lnTo>
                <a:lnTo>
                  <a:pt x="78" y="42"/>
                </a:lnTo>
                <a:lnTo>
                  <a:pt x="84" y="42"/>
                </a:lnTo>
                <a:lnTo>
                  <a:pt x="84" y="54"/>
                </a:lnTo>
                <a:lnTo>
                  <a:pt x="78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36" y="60"/>
                </a:lnTo>
                <a:lnTo>
                  <a:pt x="36" y="60"/>
                </a:lnTo>
                <a:lnTo>
                  <a:pt x="60" y="66"/>
                </a:lnTo>
                <a:lnTo>
                  <a:pt x="60" y="72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48" y="78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54" y="96"/>
                </a:lnTo>
                <a:lnTo>
                  <a:pt x="54" y="96"/>
                </a:lnTo>
                <a:lnTo>
                  <a:pt x="54" y="102"/>
                </a:lnTo>
                <a:lnTo>
                  <a:pt x="54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14"/>
                </a:lnTo>
                <a:lnTo>
                  <a:pt x="48" y="114"/>
                </a:lnTo>
                <a:lnTo>
                  <a:pt x="42" y="120"/>
                </a:lnTo>
                <a:lnTo>
                  <a:pt x="36" y="126"/>
                </a:lnTo>
                <a:lnTo>
                  <a:pt x="36" y="126"/>
                </a:lnTo>
                <a:lnTo>
                  <a:pt x="36" y="132"/>
                </a:lnTo>
                <a:lnTo>
                  <a:pt x="36" y="132"/>
                </a:lnTo>
                <a:lnTo>
                  <a:pt x="36" y="132"/>
                </a:lnTo>
                <a:lnTo>
                  <a:pt x="36" y="132"/>
                </a:lnTo>
                <a:lnTo>
                  <a:pt x="36" y="132"/>
                </a:lnTo>
                <a:lnTo>
                  <a:pt x="36" y="132"/>
                </a:lnTo>
                <a:lnTo>
                  <a:pt x="36" y="132"/>
                </a:lnTo>
                <a:lnTo>
                  <a:pt x="36" y="132"/>
                </a:lnTo>
                <a:lnTo>
                  <a:pt x="36" y="132"/>
                </a:lnTo>
                <a:lnTo>
                  <a:pt x="36" y="132"/>
                </a:lnTo>
                <a:lnTo>
                  <a:pt x="42" y="132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44"/>
                </a:lnTo>
                <a:lnTo>
                  <a:pt x="36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50"/>
                </a:lnTo>
                <a:lnTo>
                  <a:pt x="30" y="150"/>
                </a:lnTo>
                <a:lnTo>
                  <a:pt x="36" y="150"/>
                </a:lnTo>
                <a:lnTo>
                  <a:pt x="36" y="156"/>
                </a:lnTo>
                <a:lnTo>
                  <a:pt x="30" y="156"/>
                </a:lnTo>
                <a:lnTo>
                  <a:pt x="30" y="156"/>
                </a:lnTo>
                <a:lnTo>
                  <a:pt x="30" y="156"/>
                </a:lnTo>
                <a:lnTo>
                  <a:pt x="30" y="156"/>
                </a:lnTo>
                <a:lnTo>
                  <a:pt x="30" y="156"/>
                </a:lnTo>
                <a:lnTo>
                  <a:pt x="30" y="156"/>
                </a:lnTo>
                <a:lnTo>
                  <a:pt x="24" y="156"/>
                </a:lnTo>
                <a:lnTo>
                  <a:pt x="24" y="156"/>
                </a:lnTo>
                <a:lnTo>
                  <a:pt x="24" y="162"/>
                </a:lnTo>
                <a:lnTo>
                  <a:pt x="18" y="162"/>
                </a:lnTo>
                <a:lnTo>
                  <a:pt x="18" y="162"/>
                </a:lnTo>
                <a:lnTo>
                  <a:pt x="12" y="162"/>
                </a:lnTo>
                <a:lnTo>
                  <a:pt x="12" y="162"/>
                </a:lnTo>
                <a:lnTo>
                  <a:pt x="12" y="162"/>
                </a:lnTo>
                <a:lnTo>
                  <a:pt x="12" y="162"/>
                </a:lnTo>
                <a:lnTo>
                  <a:pt x="12" y="162"/>
                </a:lnTo>
                <a:lnTo>
                  <a:pt x="6" y="162"/>
                </a:lnTo>
                <a:lnTo>
                  <a:pt x="6" y="162"/>
                </a:lnTo>
                <a:lnTo>
                  <a:pt x="6" y="162"/>
                </a:lnTo>
                <a:lnTo>
                  <a:pt x="6" y="162"/>
                </a:lnTo>
                <a:lnTo>
                  <a:pt x="0" y="162"/>
                </a:lnTo>
                <a:lnTo>
                  <a:pt x="0" y="156"/>
                </a:lnTo>
                <a:lnTo>
                  <a:pt x="6" y="156"/>
                </a:lnTo>
                <a:lnTo>
                  <a:pt x="0" y="156"/>
                </a:lnTo>
                <a:lnTo>
                  <a:pt x="0" y="156"/>
                </a:lnTo>
                <a:lnTo>
                  <a:pt x="0" y="156"/>
                </a:lnTo>
                <a:lnTo>
                  <a:pt x="6" y="156"/>
                </a:lnTo>
                <a:lnTo>
                  <a:pt x="0" y="150"/>
                </a:lnTo>
                <a:lnTo>
                  <a:pt x="0" y="150"/>
                </a:lnTo>
                <a:lnTo>
                  <a:pt x="0" y="150"/>
                </a:lnTo>
                <a:lnTo>
                  <a:pt x="0" y="150"/>
                </a:lnTo>
                <a:lnTo>
                  <a:pt x="0" y="150"/>
                </a:lnTo>
                <a:lnTo>
                  <a:pt x="0" y="144"/>
                </a:lnTo>
                <a:lnTo>
                  <a:pt x="0" y="144"/>
                </a:lnTo>
                <a:lnTo>
                  <a:pt x="0" y="138"/>
                </a:lnTo>
                <a:lnTo>
                  <a:pt x="0" y="13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00" name="Freeform 133"/>
          <p:cNvSpPr>
            <a:spLocks/>
          </p:cNvSpPr>
          <p:nvPr/>
        </p:nvSpPr>
        <p:spPr bwMode="auto">
          <a:xfrm>
            <a:off x="8541379" y="1835178"/>
            <a:ext cx="134905" cy="89937"/>
          </a:xfrm>
          <a:custGeom>
            <a:avLst/>
            <a:gdLst>
              <a:gd name="T0" fmla="*/ 0 w 126"/>
              <a:gd name="T1" fmla="*/ 24 h 84"/>
              <a:gd name="T2" fmla="*/ 6 w 126"/>
              <a:gd name="T3" fmla="*/ 18 h 84"/>
              <a:gd name="T4" fmla="*/ 6 w 126"/>
              <a:gd name="T5" fmla="*/ 18 h 84"/>
              <a:gd name="T6" fmla="*/ 48 w 126"/>
              <a:gd name="T7" fmla="*/ 18 h 84"/>
              <a:gd name="T8" fmla="*/ 60 w 126"/>
              <a:gd name="T9" fmla="*/ 12 h 84"/>
              <a:gd name="T10" fmla="*/ 66 w 126"/>
              <a:gd name="T11" fmla="*/ 6 h 84"/>
              <a:gd name="T12" fmla="*/ 66 w 126"/>
              <a:gd name="T13" fmla="*/ 0 h 84"/>
              <a:gd name="T14" fmla="*/ 84 w 126"/>
              <a:gd name="T15" fmla="*/ 24 h 84"/>
              <a:gd name="T16" fmla="*/ 96 w 126"/>
              <a:gd name="T17" fmla="*/ 24 h 84"/>
              <a:gd name="T18" fmla="*/ 108 w 126"/>
              <a:gd name="T19" fmla="*/ 24 h 84"/>
              <a:gd name="T20" fmla="*/ 120 w 126"/>
              <a:gd name="T21" fmla="*/ 36 h 84"/>
              <a:gd name="T22" fmla="*/ 126 w 126"/>
              <a:gd name="T23" fmla="*/ 48 h 84"/>
              <a:gd name="T24" fmla="*/ 126 w 126"/>
              <a:gd name="T25" fmla="*/ 54 h 84"/>
              <a:gd name="T26" fmla="*/ 120 w 126"/>
              <a:gd name="T27" fmla="*/ 54 h 84"/>
              <a:gd name="T28" fmla="*/ 120 w 126"/>
              <a:gd name="T29" fmla="*/ 60 h 84"/>
              <a:gd name="T30" fmla="*/ 120 w 126"/>
              <a:gd name="T31" fmla="*/ 66 h 84"/>
              <a:gd name="T32" fmla="*/ 126 w 126"/>
              <a:gd name="T33" fmla="*/ 66 h 84"/>
              <a:gd name="T34" fmla="*/ 120 w 126"/>
              <a:gd name="T35" fmla="*/ 72 h 84"/>
              <a:gd name="T36" fmla="*/ 126 w 126"/>
              <a:gd name="T37" fmla="*/ 72 h 84"/>
              <a:gd name="T38" fmla="*/ 120 w 126"/>
              <a:gd name="T39" fmla="*/ 72 h 84"/>
              <a:gd name="T40" fmla="*/ 120 w 126"/>
              <a:gd name="T41" fmla="*/ 72 h 84"/>
              <a:gd name="T42" fmla="*/ 120 w 126"/>
              <a:gd name="T43" fmla="*/ 72 h 84"/>
              <a:gd name="T44" fmla="*/ 114 w 126"/>
              <a:gd name="T45" fmla="*/ 72 h 84"/>
              <a:gd name="T46" fmla="*/ 114 w 126"/>
              <a:gd name="T47" fmla="*/ 72 h 84"/>
              <a:gd name="T48" fmla="*/ 108 w 126"/>
              <a:gd name="T49" fmla="*/ 78 h 84"/>
              <a:gd name="T50" fmla="*/ 108 w 126"/>
              <a:gd name="T51" fmla="*/ 78 h 84"/>
              <a:gd name="T52" fmla="*/ 102 w 126"/>
              <a:gd name="T53" fmla="*/ 78 h 84"/>
              <a:gd name="T54" fmla="*/ 102 w 126"/>
              <a:gd name="T55" fmla="*/ 78 h 84"/>
              <a:gd name="T56" fmla="*/ 102 w 126"/>
              <a:gd name="T57" fmla="*/ 78 h 84"/>
              <a:gd name="T58" fmla="*/ 96 w 126"/>
              <a:gd name="T59" fmla="*/ 78 h 84"/>
              <a:gd name="T60" fmla="*/ 96 w 126"/>
              <a:gd name="T61" fmla="*/ 78 h 84"/>
              <a:gd name="T62" fmla="*/ 96 w 126"/>
              <a:gd name="T63" fmla="*/ 78 h 84"/>
              <a:gd name="T64" fmla="*/ 90 w 126"/>
              <a:gd name="T65" fmla="*/ 78 h 84"/>
              <a:gd name="T66" fmla="*/ 84 w 126"/>
              <a:gd name="T67" fmla="*/ 78 h 84"/>
              <a:gd name="T68" fmla="*/ 78 w 126"/>
              <a:gd name="T69" fmla="*/ 78 h 84"/>
              <a:gd name="T70" fmla="*/ 78 w 126"/>
              <a:gd name="T71" fmla="*/ 78 h 84"/>
              <a:gd name="T72" fmla="*/ 66 w 126"/>
              <a:gd name="T73" fmla="*/ 78 h 84"/>
              <a:gd name="T74" fmla="*/ 48 w 126"/>
              <a:gd name="T75" fmla="*/ 66 h 84"/>
              <a:gd name="T76" fmla="*/ 42 w 126"/>
              <a:gd name="T77" fmla="*/ 66 h 84"/>
              <a:gd name="T78" fmla="*/ 36 w 126"/>
              <a:gd name="T79" fmla="*/ 66 h 84"/>
              <a:gd name="T80" fmla="*/ 30 w 126"/>
              <a:gd name="T81" fmla="*/ 66 h 84"/>
              <a:gd name="T82" fmla="*/ 30 w 126"/>
              <a:gd name="T83" fmla="*/ 66 h 84"/>
              <a:gd name="T84" fmla="*/ 30 w 126"/>
              <a:gd name="T85" fmla="*/ 60 h 84"/>
              <a:gd name="T86" fmla="*/ 24 w 126"/>
              <a:gd name="T87" fmla="*/ 60 h 84"/>
              <a:gd name="T88" fmla="*/ 24 w 126"/>
              <a:gd name="T89" fmla="*/ 60 h 84"/>
              <a:gd name="T90" fmla="*/ 24 w 126"/>
              <a:gd name="T91" fmla="*/ 60 h 84"/>
              <a:gd name="T92" fmla="*/ 18 w 126"/>
              <a:gd name="T93" fmla="*/ 54 h 84"/>
              <a:gd name="T94" fmla="*/ 18 w 126"/>
              <a:gd name="T95" fmla="*/ 54 h 84"/>
              <a:gd name="T96" fmla="*/ 18 w 126"/>
              <a:gd name="T97" fmla="*/ 54 h 84"/>
              <a:gd name="T98" fmla="*/ 18 w 126"/>
              <a:gd name="T99" fmla="*/ 48 h 84"/>
              <a:gd name="T100" fmla="*/ 12 w 126"/>
              <a:gd name="T101" fmla="*/ 48 h 84"/>
              <a:gd name="T102" fmla="*/ 12 w 126"/>
              <a:gd name="T103" fmla="*/ 48 h 84"/>
              <a:gd name="T104" fmla="*/ 18 w 126"/>
              <a:gd name="T105" fmla="*/ 42 h 84"/>
              <a:gd name="T106" fmla="*/ 18 w 126"/>
              <a:gd name="T107" fmla="*/ 42 h 84"/>
              <a:gd name="T108" fmla="*/ 24 w 126"/>
              <a:gd name="T109" fmla="*/ 36 h 84"/>
              <a:gd name="T110" fmla="*/ 0 w 126"/>
              <a:gd name="T111" fmla="*/ 24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26" h="84">
                <a:moveTo>
                  <a:pt x="0" y="24"/>
                </a:moveTo>
                <a:lnTo>
                  <a:pt x="0" y="24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42" y="18"/>
                </a:lnTo>
                <a:lnTo>
                  <a:pt x="48" y="18"/>
                </a:lnTo>
                <a:lnTo>
                  <a:pt x="60" y="12"/>
                </a:lnTo>
                <a:lnTo>
                  <a:pt x="60" y="12"/>
                </a:lnTo>
                <a:lnTo>
                  <a:pt x="66" y="6"/>
                </a:lnTo>
                <a:lnTo>
                  <a:pt x="66" y="6"/>
                </a:lnTo>
                <a:lnTo>
                  <a:pt x="66" y="0"/>
                </a:lnTo>
                <a:lnTo>
                  <a:pt x="66" y="0"/>
                </a:lnTo>
                <a:lnTo>
                  <a:pt x="78" y="6"/>
                </a:lnTo>
                <a:lnTo>
                  <a:pt x="84" y="24"/>
                </a:lnTo>
                <a:lnTo>
                  <a:pt x="96" y="24"/>
                </a:lnTo>
                <a:lnTo>
                  <a:pt x="96" y="24"/>
                </a:lnTo>
                <a:lnTo>
                  <a:pt x="108" y="18"/>
                </a:lnTo>
                <a:lnTo>
                  <a:pt x="108" y="24"/>
                </a:lnTo>
                <a:lnTo>
                  <a:pt x="114" y="30"/>
                </a:lnTo>
                <a:lnTo>
                  <a:pt x="120" y="36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54"/>
                </a:lnTo>
                <a:lnTo>
                  <a:pt x="126" y="54"/>
                </a:lnTo>
                <a:lnTo>
                  <a:pt x="120" y="54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0" y="72"/>
                </a:lnTo>
                <a:lnTo>
                  <a:pt x="126" y="72"/>
                </a:lnTo>
                <a:lnTo>
                  <a:pt x="126" y="72"/>
                </a:lnTo>
                <a:lnTo>
                  <a:pt x="126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2"/>
                </a:lnTo>
                <a:lnTo>
                  <a:pt x="102" y="78"/>
                </a:lnTo>
                <a:lnTo>
                  <a:pt x="102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0" y="78"/>
                </a:lnTo>
                <a:lnTo>
                  <a:pt x="90" y="78"/>
                </a:lnTo>
                <a:lnTo>
                  <a:pt x="90" y="84"/>
                </a:lnTo>
                <a:lnTo>
                  <a:pt x="84" y="78"/>
                </a:lnTo>
                <a:lnTo>
                  <a:pt x="84" y="84"/>
                </a:lnTo>
                <a:lnTo>
                  <a:pt x="78" y="78"/>
                </a:lnTo>
                <a:lnTo>
                  <a:pt x="84" y="72"/>
                </a:lnTo>
                <a:lnTo>
                  <a:pt x="78" y="78"/>
                </a:lnTo>
                <a:lnTo>
                  <a:pt x="78" y="78"/>
                </a:lnTo>
                <a:lnTo>
                  <a:pt x="66" y="78"/>
                </a:lnTo>
                <a:lnTo>
                  <a:pt x="66" y="72"/>
                </a:lnTo>
                <a:lnTo>
                  <a:pt x="48" y="66"/>
                </a:lnTo>
                <a:lnTo>
                  <a:pt x="48" y="66"/>
                </a:lnTo>
                <a:lnTo>
                  <a:pt x="42" y="66"/>
                </a:lnTo>
                <a:lnTo>
                  <a:pt x="42" y="66"/>
                </a:lnTo>
                <a:lnTo>
                  <a:pt x="36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24" y="36"/>
                </a:lnTo>
                <a:lnTo>
                  <a:pt x="24" y="30"/>
                </a:lnTo>
                <a:lnTo>
                  <a:pt x="0" y="2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01" name="Freeform 134"/>
          <p:cNvSpPr>
            <a:spLocks/>
          </p:cNvSpPr>
          <p:nvPr/>
        </p:nvSpPr>
        <p:spPr bwMode="auto">
          <a:xfrm>
            <a:off x="8303689" y="1944387"/>
            <a:ext cx="44968" cy="57817"/>
          </a:xfrm>
          <a:custGeom>
            <a:avLst/>
            <a:gdLst>
              <a:gd name="T0" fmla="*/ 0 w 42"/>
              <a:gd name="T1" fmla="*/ 30 h 54"/>
              <a:gd name="T2" fmla="*/ 6 w 42"/>
              <a:gd name="T3" fmla="*/ 30 h 54"/>
              <a:gd name="T4" fmla="*/ 6 w 42"/>
              <a:gd name="T5" fmla="*/ 30 h 54"/>
              <a:gd name="T6" fmla="*/ 6 w 42"/>
              <a:gd name="T7" fmla="*/ 24 h 54"/>
              <a:gd name="T8" fmla="*/ 6 w 42"/>
              <a:gd name="T9" fmla="*/ 24 h 54"/>
              <a:gd name="T10" fmla="*/ 12 w 42"/>
              <a:gd name="T11" fmla="*/ 18 h 54"/>
              <a:gd name="T12" fmla="*/ 12 w 42"/>
              <a:gd name="T13" fmla="*/ 12 h 54"/>
              <a:gd name="T14" fmla="*/ 12 w 42"/>
              <a:gd name="T15" fmla="*/ 12 h 54"/>
              <a:gd name="T16" fmla="*/ 18 w 42"/>
              <a:gd name="T17" fmla="*/ 12 h 54"/>
              <a:gd name="T18" fmla="*/ 18 w 42"/>
              <a:gd name="T19" fmla="*/ 6 h 54"/>
              <a:gd name="T20" fmla="*/ 18 w 42"/>
              <a:gd name="T21" fmla="*/ 6 h 54"/>
              <a:gd name="T22" fmla="*/ 24 w 42"/>
              <a:gd name="T23" fmla="*/ 0 h 54"/>
              <a:gd name="T24" fmla="*/ 24 w 42"/>
              <a:gd name="T25" fmla="*/ 0 h 54"/>
              <a:gd name="T26" fmla="*/ 24 w 42"/>
              <a:gd name="T27" fmla="*/ 6 h 54"/>
              <a:gd name="T28" fmla="*/ 24 w 42"/>
              <a:gd name="T29" fmla="*/ 6 h 54"/>
              <a:gd name="T30" fmla="*/ 30 w 42"/>
              <a:gd name="T31" fmla="*/ 6 h 54"/>
              <a:gd name="T32" fmla="*/ 30 w 42"/>
              <a:gd name="T33" fmla="*/ 6 h 54"/>
              <a:gd name="T34" fmla="*/ 30 w 42"/>
              <a:gd name="T35" fmla="*/ 6 h 54"/>
              <a:gd name="T36" fmla="*/ 36 w 42"/>
              <a:gd name="T37" fmla="*/ 6 h 54"/>
              <a:gd name="T38" fmla="*/ 42 w 42"/>
              <a:gd name="T39" fmla="*/ 6 h 54"/>
              <a:gd name="T40" fmla="*/ 42 w 42"/>
              <a:gd name="T41" fmla="*/ 6 h 54"/>
              <a:gd name="T42" fmla="*/ 42 w 42"/>
              <a:gd name="T43" fmla="*/ 12 h 54"/>
              <a:gd name="T44" fmla="*/ 42 w 42"/>
              <a:gd name="T45" fmla="*/ 18 h 54"/>
              <a:gd name="T46" fmla="*/ 42 w 42"/>
              <a:gd name="T47" fmla="*/ 18 h 54"/>
              <a:gd name="T48" fmla="*/ 42 w 42"/>
              <a:gd name="T49" fmla="*/ 24 h 54"/>
              <a:gd name="T50" fmla="*/ 42 w 42"/>
              <a:gd name="T51" fmla="*/ 24 h 54"/>
              <a:gd name="T52" fmla="*/ 42 w 42"/>
              <a:gd name="T53" fmla="*/ 30 h 54"/>
              <a:gd name="T54" fmla="*/ 42 w 42"/>
              <a:gd name="T55" fmla="*/ 30 h 54"/>
              <a:gd name="T56" fmla="*/ 42 w 42"/>
              <a:gd name="T57" fmla="*/ 30 h 54"/>
              <a:gd name="T58" fmla="*/ 42 w 42"/>
              <a:gd name="T59" fmla="*/ 30 h 54"/>
              <a:gd name="T60" fmla="*/ 42 w 42"/>
              <a:gd name="T61" fmla="*/ 30 h 54"/>
              <a:gd name="T62" fmla="*/ 36 w 42"/>
              <a:gd name="T63" fmla="*/ 30 h 54"/>
              <a:gd name="T64" fmla="*/ 36 w 42"/>
              <a:gd name="T65" fmla="*/ 30 h 54"/>
              <a:gd name="T66" fmla="*/ 36 w 42"/>
              <a:gd name="T67" fmla="*/ 36 h 54"/>
              <a:gd name="T68" fmla="*/ 30 w 42"/>
              <a:gd name="T69" fmla="*/ 36 h 54"/>
              <a:gd name="T70" fmla="*/ 30 w 42"/>
              <a:gd name="T71" fmla="*/ 42 h 54"/>
              <a:gd name="T72" fmla="*/ 36 w 42"/>
              <a:gd name="T73" fmla="*/ 42 h 54"/>
              <a:gd name="T74" fmla="*/ 42 w 42"/>
              <a:gd name="T75" fmla="*/ 42 h 54"/>
              <a:gd name="T76" fmla="*/ 36 w 42"/>
              <a:gd name="T77" fmla="*/ 48 h 54"/>
              <a:gd name="T78" fmla="*/ 36 w 42"/>
              <a:gd name="T79" fmla="*/ 48 h 54"/>
              <a:gd name="T80" fmla="*/ 30 w 42"/>
              <a:gd name="T81" fmla="*/ 54 h 54"/>
              <a:gd name="T82" fmla="*/ 30 w 42"/>
              <a:gd name="T83" fmla="*/ 54 h 54"/>
              <a:gd name="T84" fmla="*/ 30 w 42"/>
              <a:gd name="T85" fmla="*/ 54 h 54"/>
              <a:gd name="T86" fmla="*/ 30 w 42"/>
              <a:gd name="T87" fmla="*/ 54 h 54"/>
              <a:gd name="T88" fmla="*/ 24 w 42"/>
              <a:gd name="T89" fmla="*/ 54 h 54"/>
              <a:gd name="T90" fmla="*/ 24 w 42"/>
              <a:gd name="T91" fmla="*/ 48 h 54"/>
              <a:gd name="T92" fmla="*/ 24 w 42"/>
              <a:gd name="T93" fmla="*/ 48 h 54"/>
              <a:gd name="T94" fmla="*/ 18 w 42"/>
              <a:gd name="T95" fmla="*/ 48 h 54"/>
              <a:gd name="T96" fmla="*/ 18 w 42"/>
              <a:gd name="T97" fmla="*/ 48 h 54"/>
              <a:gd name="T98" fmla="*/ 18 w 42"/>
              <a:gd name="T99" fmla="*/ 48 h 54"/>
              <a:gd name="T100" fmla="*/ 12 w 42"/>
              <a:gd name="T101" fmla="*/ 42 h 54"/>
              <a:gd name="T102" fmla="*/ 12 w 42"/>
              <a:gd name="T103" fmla="*/ 42 h 54"/>
              <a:gd name="T104" fmla="*/ 18 w 42"/>
              <a:gd name="T105" fmla="*/ 36 h 54"/>
              <a:gd name="T106" fmla="*/ 12 w 42"/>
              <a:gd name="T107" fmla="*/ 42 h 54"/>
              <a:gd name="T108" fmla="*/ 12 w 42"/>
              <a:gd name="T109" fmla="*/ 42 h 54"/>
              <a:gd name="T110" fmla="*/ 6 w 42"/>
              <a:gd name="T111" fmla="*/ 42 h 54"/>
              <a:gd name="T112" fmla="*/ 6 w 42"/>
              <a:gd name="T113" fmla="*/ 42 h 54"/>
              <a:gd name="T114" fmla="*/ 6 w 42"/>
              <a:gd name="T115" fmla="*/ 42 h 54"/>
              <a:gd name="T116" fmla="*/ 0 w 42"/>
              <a:gd name="T117" fmla="*/ 42 h 54"/>
              <a:gd name="T118" fmla="*/ 0 w 42"/>
              <a:gd name="T119" fmla="*/ 42 h 54"/>
              <a:gd name="T120" fmla="*/ 0 w 42"/>
              <a:gd name="T121" fmla="*/ 36 h 54"/>
              <a:gd name="T122" fmla="*/ 0 w 42"/>
              <a:gd name="T123" fmla="*/ 36 h 54"/>
              <a:gd name="T124" fmla="*/ 0 w 42"/>
              <a:gd name="T125" fmla="*/ 30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2" h="54">
                <a:moveTo>
                  <a:pt x="0" y="30"/>
                </a:moveTo>
                <a:lnTo>
                  <a:pt x="0" y="30"/>
                </a:lnTo>
                <a:lnTo>
                  <a:pt x="0" y="30"/>
                </a:lnTo>
                <a:lnTo>
                  <a:pt x="6" y="30"/>
                </a:lnTo>
                <a:lnTo>
                  <a:pt x="6" y="24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12" y="18"/>
                </a:lnTo>
                <a:lnTo>
                  <a:pt x="12" y="18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8" y="12"/>
                </a:lnTo>
                <a:lnTo>
                  <a:pt x="18" y="12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12"/>
                </a:lnTo>
                <a:lnTo>
                  <a:pt x="42" y="12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6"/>
                </a:lnTo>
                <a:lnTo>
                  <a:pt x="30" y="36"/>
                </a:lnTo>
                <a:lnTo>
                  <a:pt x="30" y="36"/>
                </a:lnTo>
                <a:lnTo>
                  <a:pt x="30" y="42"/>
                </a:lnTo>
                <a:lnTo>
                  <a:pt x="30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42" y="42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24" y="54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8" y="36"/>
                </a:lnTo>
                <a:lnTo>
                  <a:pt x="12" y="36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0"/>
                </a:lnTo>
                <a:lnTo>
                  <a:pt x="0" y="3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02" name="Freeform 135"/>
          <p:cNvSpPr>
            <a:spLocks/>
          </p:cNvSpPr>
          <p:nvPr/>
        </p:nvSpPr>
        <p:spPr bwMode="auto">
          <a:xfrm>
            <a:off x="8335810" y="1899419"/>
            <a:ext cx="70665" cy="109210"/>
          </a:xfrm>
          <a:custGeom>
            <a:avLst/>
            <a:gdLst>
              <a:gd name="T0" fmla="*/ 6 w 66"/>
              <a:gd name="T1" fmla="*/ 90 h 102"/>
              <a:gd name="T2" fmla="*/ 6 w 66"/>
              <a:gd name="T3" fmla="*/ 90 h 102"/>
              <a:gd name="T4" fmla="*/ 6 w 66"/>
              <a:gd name="T5" fmla="*/ 84 h 102"/>
              <a:gd name="T6" fmla="*/ 0 w 66"/>
              <a:gd name="T7" fmla="*/ 84 h 102"/>
              <a:gd name="T8" fmla="*/ 6 w 66"/>
              <a:gd name="T9" fmla="*/ 78 h 102"/>
              <a:gd name="T10" fmla="*/ 6 w 66"/>
              <a:gd name="T11" fmla="*/ 72 h 102"/>
              <a:gd name="T12" fmla="*/ 12 w 66"/>
              <a:gd name="T13" fmla="*/ 72 h 102"/>
              <a:gd name="T14" fmla="*/ 12 w 66"/>
              <a:gd name="T15" fmla="*/ 72 h 102"/>
              <a:gd name="T16" fmla="*/ 12 w 66"/>
              <a:gd name="T17" fmla="*/ 72 h 102"/>
              <a:gd name="T18" fmla="*/ 12 w 66"/>
              <a:gd name="T19" fmla="*/ 66 h 102"/>
              <a:gd name="T20" fmla="*/ 12 w 66"/>
              <a:gd name="T21" fmla="*/ 66 h 102"/>
              <a:gd name="T22" fmla="*/ 12 w 66"/>
              <a:gd name="T23" fmla="*/ 60 h 102"/>
              <a:gd name="T24" fmla="*/ 12 w 66"/>
              <a:gd name="T25" fmla="*/ 54 h 102"/>
              <a:gd name="T26" fmla="*/ 12 w 66"/>
              <a:gd name="T27" fmla="*/ 48 h 102"/>
              <a:gd name="T28" fmla="*/ 12 w 66"/>
              <a:gd name="T29" fmla="*/ 42 h 102"/>
              <a:gd name="T30" fmla="*/ 12 w 66"/>
              <a:gd name="T31" fmla="*/ 36 h 102"/>
              <a:gd name="T32" fmla="*/ 18 w 66"/>
              <a:gd name="T33" fmla="*/ 30 h 102"/>
              <a:gd name="T34" fmla="*/ 24 w 66"/>
              <a:gd name="T35" fmla="*/ 30 h 102"/>
              <a:gd name="T36" fmla="*/ 24 w 66"/>
              <a:gd name="T37" fmla="*/ 30 h 102"/>
              <a:gd name="T38" fmla="*/ 30 w 66"/>
              <a:gd name="T39" fmla="*/ 24 h 102"/>
              <a:gd name="T40" fmla="*/ 30 w 66"/>
              <a:gd name="T41" fmla="*/ 18 h 102"/>
              <a:gd name="T42" fmla="*/ 36 w 66"/>
              <a:gd name="T43" fmla="*/ 6 h 102"/>
              <a:gd name="T44" fmla="*/ 60 w 66"/>
              <a:gd name="T45" fmla="*/ 0 h 102"/>
              <a:gd name="T46" fmla="*/ 60 w 66"/>
              <a:gd name="T47" fmla="*/ 6 h 102"/>
              <a:gd name="T48" fmla="*/ 60 w 66"/>
              <a:gd name="T49" fmla="*/ 24 h 102"/>
              <a:gd name="T50" fmla="*/ 60 w 66"/>
              <a:gd name="T51" fmla="*/ 30 h 102"/>
              <a:gd name="T52" fmla="*/ 54 w 66"/>
              <a:gd name="T53" fmla="*/ 42 h 102"/>
              <a:gd name="T54" fmla="*/ 54 w 66"/>
              <a:gd name="T55" fmla="*/ 42 h 102"/>
              <a:gd name="T56" fmla="*/ 42 w 66"/>
              <a:gd name="T57" fmla="*/ 48 h 102"/>
              <a:gd name="T58" fmla="*/ 36 w 66"/>
              <a:gd name="T59" fmla="*/ 60 h 102"/>
              <a:gd name="T60" fmla="*/ 48 w 66"/>
              <a:gd name="T61" fmla="*/ 72 h 102"/>
              <a:gd name="T62" fmla="*/ 60 w 66"/>
              <a:gd name="T63" fmla="*/ 72 h 102"/>
              <a:gd name="T64" fmla="*/ 66 w 66"/>
              <a:gd name="T65" fmla="*/ 78 h 102"/>
              <a:gd name="T66" fmla="*/ 66 w 66"/>
              <a:gd name="T67" fmla="*/ 84 h 102"/>
              <a:gd name="T68" fmla="*/ 66 w 66"/>
              <a:gd name="T69" fmla="*/ 84 h 102"/>
              <a:gd name="T70" fmla="*/ 60 w 66"/>
              <a:gd name="T71" fmla="*/ 90 h 102"/>
              <a:gd name="T72" fmla="*/ 60 w 66"/>
              <a:gd name="T73" fmla="*/ 90 h 102"/>
              <a:gd name="T74" fmla="*/ 54 w 66"/>
              <a:gd name="T75" fmla="*/ 90 h 102"/>
              <a:gd name="T76" fmla="*/ 54 w 66"/>
              <a:gd name="T77" fmla="*/ 90 h 102"/>
              <a:gd name="T78" fmla="*/ 48 w 66"/>
              <a:gd name="T79" fmla="*/ 90 h 102"/>
              <a:gd name="T80" fmla="*/ 42 w 66"/>
              <a:gd name="T81" fmla="*/ 90 h 102"/>
              <a:gd name="T82" fmla="*/ 42 w 66"/>
              <a:gd name="T83" fmla="*/ 96 h 102"/>
              <a:gd name="T84" fmla="*/ 42 w 66"/>
              <a:gd name="T85" fmla="*/ 96 h 102"/>
              <a:gd name="T86" fmla="*/ 42 w 66"/>
              <a:gd name="T87" fmla="*/ 96 h 102"/>
              <a:gd name="T88" fmla="*/ 42 w 66"/>
              <a:gd name="T89" fmla="*/ 96 h 102"/>
              <a:gd name="T90" fmla="*/ 36 w 66"/>
              <a:gd name="T91" fmla="*/ 96 h 102"/>
              <a:gd name="T92" fmla="*/ 36 w 66"/>
              <a:gd name="T93" fmla="*/ 96 h 102"/>
              <a:gd name="T94" fmla="*/ 36 w 66"/>
              <a:gd name="T95" fmla="*/ 102 h 102"/>
              <a:gd name="T96" fmla="*/ 30 w 66"/>
              <a:gd name="T97" fmla="*/ 102 h 102"/>
              <a:gd name="T98" fmla="*/ 24 w 66"/>
              <a:gd name="T99" fmla="*/ 102 h 102"/>
              <a:gd name="T100" fmla="*/ 18 w 66"/>
              <a:gd name="T101" fmla="*/ 102 h 102"/>
              <a:gd name="T102" fmla="*/ 12 w 66"/>
              <a:gd name="T103" fmla="*/ 102 h 102"/>
              <a:gd name="T104" fmla="*/ 6 w 66"/>
              <a:gd name="T105" fmla="*/ 102 h 102"/>
              <a:gd name="T106" fmla="*/ 6 w 66"/>
              <a:gd name="T107" fmla="*/ 102 h 102"/>
              <a:gd name="T108" fmla="*/ 0 w 66"/>
              <a:gd name="T109" fmla="*/ 96 h 102"/>
              <a:gd name="T110" fmla="*/ 0 w 66"/>
              <a:gd name="T111" fmla="*/ 96 h 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6" h="102">
                <a:moveTo>
                  <a:pt x="0" y="96"/>
                </a:move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12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0" y="84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54"/>
                </a:lnTo>
                <a:lnTo>
                  <a:pt x="12" y="54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8" y="30"/>
                </a:lnTo>
                <a:lnTo>
                  <a:pt x="18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24"/>
                </a:lnTo>
                <a:lnTo>
                  <a:pt x="30" y="24"/>
                </a:lnTo>
                <a:lnTo>
                  <a:pt x="30" y="24"/>
                </a:lnTo>
                <a:lnTo>
                  <a:pt x="30" y="18"/>
                </a:lnTo>
                <a:lnTo>
                  <a:pt x="30" y="18"/>
                </a:lnTo>
                <a:lnTo>
                  <a:pt x="30" y="12"/>
                </a:lnTo>
                <a:lnTo>
                  <a:pt x="30" y="12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60" y="0"/>
                </a:lnTo>
                <a:lnTo>
                  <a:pt x="60" y="0"/>
                </a:lnTo>
                <a:lnTo>
                  <a:pt x="66" y="6"/>
                </a:lnTo>
                <a:lnTo>
                  <a:pt x="60" y="6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54" y="30"/>
                </a:lnTo>
                <a:lnTo>
                  <a:pt x="54" y="36"/>
                </a:lnTo>
                <a:lnTo>
                  <a:pt x="54" y="42"/>
                </a:lnTo>
                <a:lnTo>
                  <a:pt x="54" y="36"/>
                </a:lnTo>
                <a:lnTo>
                  <a:pt x="54" y="42"/>
                </a:lnTo>
                <a:lnTo>
                  <a:pt x="54" y="42"/>
                </a:lnTo>
                <a:lnTo>
                  <a:pt x="48" y="42"/>
                </a:lnTo>
                <a:lnTo>
                  <a:pt x="48" y="48"/>
                </a:lnTo>
                <a:lnTo>
                  <a:pt x="42" y="48"/>
                </a:lnTo>
                <a:lnTo>
                  <a:pt x="42" y="54"/>
                </a:lnTo>
                <a:lnTo>
                  <a:pt x="42" y="60"/>
                </a:lnTo>
                <a:lnTo>
                  <a:pt x="36" y="60"/>
                </a:lnTo>
                <a:lnTo>
                  <a:pt x="36" y="60"/>
                </a:lnTo>
                <a:lnTo>
                  <a:pt x="36" y="72"/>
                </a:lnTo>
                <a:lnTo>
                  <a:pt x="48" y="72"/>
                </a:lnTo>
                <a:lnTo>
                  <a:pt x="48" y="72"/>
                </a:lnTo>
                <a:lnTo>
                  <a:pt x="60" y="72"/>
                </a:lnTo>
                <a:lnTo>
                  <a:pt x="60" y="72"/>
                </a:lnTo>
                <a:lnTo>
                  <a:pt x="60" y="78"/>
                </a:lnTo>
                <a:lnTo>
                  <a:pt x="60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0" y="84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2" y="90"/>
                </a:lnTo>
                <a:lnTo>
                  <a:pt x="42" y="90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96"/>
                </a:lnTo>
                <a:lnTo>
                  <a:pt x="6" y="96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03" name="Freeform 136"/>
          <p:cNvSpPr>
            <a:spLocks/>
          </p:cNvSpPr>
          <p:nvPr/>
        </p:nvSpPr>
        <p:spPr bwMode="auto">
          <a:xfrm>
            <a:off x="8374354" y="1925115"/>
            <a:ext cx="77089" cy="57817"/>
          </a:xfrm>
          <a:custGeom>
            <a:avLst/>
            <a:gdLst>
              <a:gd name="T0" fmla="*/ 0 w 72"/>
              <a:gd name="T1" fmla="*/ 36 h 54"/>
              <a:gd name="T2" fmla="*/ 6 w 72"/>
              <a:gd name="T3" fmla="*/ 36 h 54"/>
              <a:gd name="T4" fmla="*/ 6 w 72"/>
              <a:gd name="T5" fmla="*/ 24 h 54"/>
              <a:gd name="T6" fmla="*/ 12 w 72"/>
              <a:gd name="T7" fmla="*/ 18 h 54"/>
              <a:gd name="T8" fmla="*/ 18 w 72"/>
              <a:gd name="T9" fmla="*/ 18 h 54"/>
              <a:gd name="T10" fmla="*/ 18 w 72"/>
              <a:gd name="T11" fmla="*/ 18 h 54"/>
              <a:gd name="T12" fmla="*/ 18 w 72"/>
              <a:gd name="T13" fmla="*/ 6 h 54"/>
              <a:gd name="T14" fmla="*/ 36 w 72"/>
              <a:gd name="T15" fmla="*/ 6 h 54"/>
              <a:gd name="T16" fmla="*/ 42 w 72"/>
              <a:gd name="T17" fmla="*/ 0 h 54"/>
              <a:gd name="T18" fmla="*/ 54 w 72"/>
              <a:gd name="T19" fmla="*/ 6 h 54"/>
              <a:gd name="T20" fmla="*/ 66 w 72"/>
              <a:gd name="T21" fmla="*/ 12 h 54"/>
              <a:gd name="T22" fmla="*/ 72 w 72"/>
              <a:gd name="T23" fmla="*/ 30 h 54"/>
              <a:gd name="T24" fmla="*/ 72 w 72"/>
              <a:gd name="T25" fmla="*/ 36 h 54"/>
              <a:gd name="T26" fmla="*/ 66 w 72"/>
              <a:gd name="T27" fmla="*/ 36 h 54"/>
              <a:gd name="T28" fmla="*/ 66 w 72"/>
              <a:gd name="T29" fmla="*/ 36 h 54"/>
              <a:gd name="T30" fmla="*/ 60 w 72"/>
              <a:gd name="T31" fmla="*/ 36 h 54"/>
              <a:gd name="T32" fmla="*/ 54 w 72"/>
              <a:gd name="T33" fmla="*/ 36 h 54"/>
              <a:gd name="T34" fmla="*/ 48 w 72"/>
              <a:gd name="T35" fmla="*/ 36 h 54"/>
              <a:gd name="T36" fmla="*/ 48 w 72"/>
              <a:gd name="T37" fmla="*/ 36 h 54"/>
              <a:gd name="T38" fmla="*/ 42 w 72"/>
              <a:gd name="T39" fmla="*/ 36 h 54"/>
              <a:gd name="T40" fmla="*/ 42 w 72"/>
              <a:gd name="T41" fmla="*/ 42 h 54"/>
              <a:gd name="T42" fmla="*/ 42 w 72"/>
              <a:gd name="T43" fmla="*/ 42 h 54"/>
              <a:gd name="T44" fmla="*/ 42 w 72"/>
              <a:gd name="T45" fmla="*/ 42 h 54"/>
              <a:gd name="T46" fmla="*/ 42 w 72"/>
              <a:gd name="T47" fmla="*/ 42 h 54"/>
              <a:gd name="T48" fmla="*/ 42 w 72"/>
              <a:gd name="T49" fmla="*/ 48 h 54"/>
              <a:gd name="T50" fmla="*/ 42 w 72"/>
              <a:gd name="T51" fmla="*/ 48 h 54"/>
              <a:gd name="T52" fmla="*/ 42 w 72"/>
              <a:gd name="T53" fmla="*/ 48 h 54"/>
              <a:gd name="T54" fmla="*/ 42 w 72"/>
              <a:gd name="T55" fmla="*/ 48 h 54"/>
              <a:gd name="T56" fmla="*/ 36 w 72"/>
              <a:gd name="T57" fmla="*/ 48 h 54"/>
              <a:gd name="T58" fmla="*/ 36 w 72"/>
              <a:gd name="T59" fmla="*/ 54 h 54"/>
              <a:gd name="T60" fmla="*/ 36 w 72"/>
              <a:gd name="T61" fmla="*/ 54 h 54"/>
              <a:gd name="T62" fmla="*/ 30 w 72"/>
              <a:gd name="T63" fmla="*/ 54 h 54"/>
              <a:gd name="T64" fmla="*/ 30 w 72"/>
              <a:gd name="T65" fmla="*/ 54 h 54"/>
              <a:gd name="T66" fmla="*/ 24 w 72"/>
              <a:gd name="T67" fmla="*/ 54 h 54"/>
              <a:gd name="T68" fmla="*/ 24 w 72"/>
              <a:gd name="T69" fmla="*/ 48 h 54"/>
              <a:gd name="T70" fmla="*/ 12 w 72"/>
              <a:gd name="T71" fmla="*/ 48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72" h="54">
                <a:moveTo>
                  <a:pt x="0" y="48"/>
                </a:moveTo>
                <a:lnTo>
                  <a:pt x="0" y="36"/>
                </a:lnTo>
                <a:lnTo>
                  <a:pt x="0" y="36"/>
                </a:lnTo>
                <a:lnTo>
                  <a:pt x="6" y="36"/>
                </a:lnTo>
                <a:lnTo>
                  <a:pt x="6" y="30"/>
                </a:lnTo>
                <a:lnTo>
                  <a:pt x="6" y="24"/>
                </a:lnTo>
                <a:lnTo>
                  <a:pt x="12" y="24"/>
                </a:lnTo>
                <a:lnTo>
                  <a:pt x="12" y="18"/>
                </a:lnTo>
                <a:lnTo>
                  <a:pt x="18" y="18"/>
                </a:lnTo>
                <a:lnTo>
                  <a:pt x="18" y="18"/>
                </a:lnTo>
                <a:lnTo>
                  <a:pt x="18" y="12"/>
                </a:lnTo>
                <a:lnTo>
                  <a:pt x="18" y="18"/>
                </a:lnTo>
                <a:lnTo>
                  <a:pt x="18" y="12"/>
                </a:lnTo>
                <a:lnTo>
                  <a:pt x="18" y="6"/>
                </a:lnTo>
                <a:lnTo>
                  <a:pt x="24" y="6"/>
                </a:lnTo>
                <a:lnTo>
                  <a:pt x="36" y="6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54" y="6"/>
                </a:lnTo>
                <a:lnTo>
                  <a:pt x="60" y="12"/>
                </a:lnTo>
                <a:lnTo>
                  <a:pt x="66" y="12"/>
                </a:lnTo>
                <a:lnTo>
                  <a:pt x="66" y="18"/>
                </a:lnTo>
                <a:lnTo>
                  <a:pt x="72" y="30"/>
                </a:lnTo>
                <a:lnTo>
                  <a:pt x="72" y="30"/>
                </a:lnTo>
                <a:lnTo>
                  <a:pt x="72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54" y="36"/>
                </a:lnTo>
                <a:lnTo>
                  <a:pt x="54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2" y="36"/>
                </a:lnTo>
                <a:lnTo>
                  <a:pt x="42" y="36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36" y="48"/>
                </a:lnTo>
                <a:lnTo>
                  <a:pt x="36" y="48"/>
                </a:lnTo>
                <a:lnTo>
                  <a:pt x="30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24" y="54"/>
                </a:lnTo>
                <a:lnTo>
                  <a:pt x="24" y="54"/>
                </a:lnTo>
                <a:lnTo>
                  <a:pt x="24" y="48"/>
                </a:lnTo>
                <a:lnTo>
                  <a:pt x="24" y="48"/>
                </a:lnTo>
                <a:lnTo>
                  <a:pt x="12" y="48"/>
                </a:lnTo>
                <a:lnTo>
                  <a:pt x="12" y="48"/>
                </a:lnTo>
                <a:lnTo>
                  <a:pt x="0" y="4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04" name="Freeform 137"/>
          <p:cNvSpPr>
            <a:spLocks/>
          </p:cNvSpPr>
          <p:nvPr/>
        </p:nvSpPr>
        <p:spPr bwMode="auto">
          <a:xfrm>
            <a:off x="8374354" y="1828754"/>
            <a:ext cx="109209" cy="109210"/>
          </a:xfrm>
          <a:custGeom>
            <a:avLst/>
            <a:gdLst>
              <a:gd name="T0" fmla="*/ 0 w 102"/>
              <a:gd name="T1" fmla="*/ 60 h 102"/>
              <a:gd name="T2" fmla="*/ 0 w 102"/>
              <a:gd name="T3" fmla="*/ 54 h 102"/>
              <a:gd name="T4" fmla="*/ 6 w 102"/>
              <a:gd name="T5" fmla="*/ 48 h 102"/>
              <a:gd name="T6" fmla="*/ 12 w 102"/>
              <a:gd name="T7" fmla="*/ 48 h 102"/>
              <a:gd name="T8" fmla="*/ 12 w 102"/>
              <a:gd name="T9" fmla="*/ 48 h 102"/>
              <a:gd name="T10" fmla="*/ 18 w 102"/>
              <a:gd name="T11" fmla="*/ 42 h 102"/>
              <a:gd name="T12" fmla="*/ 18 w 102"/>
              <a:gd name="T13" fmla="*/ 36 h 102"/>
              <a:gd name="T14" fmla="*/ 24 w 102"/>
              <a:gd name="T15" fmla="*/ 36 h 102"/>
              <a:gd name="T16" fmla="*/ 24 w 102"/>
              <a:gd name="T17" fmla="*/ 36 h 102"/>
              <a:gd name="T18" fmla="*/ 24 w 102"/>
              <a:gd name="T19" fmla="*/ 30 h 102"/>
              <a:gd name="T20" fmla="*/ 30 w 102"/>
              <a:gd name="T21" fmla="*/ 24 h 102"/>
              <a:gd name="T22" fmla="*/ 30 w 102"/>
              <a:gd name="T23" fmla="*/ 24 h 102"/>
              <a:gd name="T24" fmla="*/ 30 w 102"/>
              <a:gd name="T25" fmla="*/ 18 h 102"/>
              <a:gd name="T26" fmla="*/ 30 w 102"/>
              <a:gd name="T27" fmla="*/ 18 h 102"/>
              <a:gd name="T28" fmla="*/ 36 w 102"/>
              <a:gd name="T29" fmla="*/ 12 h 102"/>
              <a:gd name="T30" fmla="*/ 36 w 102"/>
              <a:gd name="T31" fmla="*/ 12 h 102"/>
              <a:gd name="T32" fmla="*/ 36 w 102"/>
              <a:gd name="T33" fmla="*/ 6 h 102"/>
              <a:gd name="T34" fmla="*/ 36 w 102"/>
              <a:gd name="T35" fmla="*/ 6 h 102"/>
              <a:gd name="T36" fmla="*/ 36 w 102"/>
              <a:gd name="T37" fmla="*/ 0 h 102"/>
              <a:gd name="T38" fmla="*/ 66 w 102"/>
              <a:gd name="T39" fmla="*/ 6 h 102"/>
              <a:gd name="T40" fmla="*/ 102 w 102"/>
              <a:gd name="T41" fmla="*/ 24 h 102"/>
              <a:gd name="T42" fmla="*/ 102 w 102"/>
              <a:gd name="T43" fmla="*/ 24 h 102"/>
              <a:gd name="T44" fmla="*/ 102 w 102"/>
              <a:gd name="T45" fmla="*/ 30 h 102"/>
              <a:gd name="T46" fmla="*/ 102 w 102"/>
              <a:gd name="T47" fmla="*/ 30 h 102"/>
              <a:gd name="T48" fmla="*/ 102 w 102"/>
              <a:gd name="T49" fmla="*/ 36 h 102"/>
              <a:gd name="T50" fmla="*/ 90 w 102"/>
              <a:gd name="T51" fmla="*/ 36 h 102"/>
              <a:gd name="T52" fmla="*/ 84 w 102"/>
              <a:gd name="T53" fmla="*/ 54 h 102"/>
              <a:gd name="T54" fmla="*/ 78 w 102"/>
              <a:gd name="T55" fmla="*/ 72 h 102"/>
              <a:gd name="T56" fmla="*/ 84 w 102"/>
              <a:gd name="T57" fmla="*/ 90 h 102"/>
              <a:gd name="T58" fmla="*/ 78 w 102"/>
              <a:gd name="T59" fmla="*/ 90 h 102"/>
              <a:gd name="T60" fmla="*/ 78 w 102"/>
              <a:gd name="T61" fmla="*/ 90 h 102"/>
              <a:gd name="T62" fmla="*/ 72 w 102"/>
              <a:gd name="T63" fmla="*/ 90 h 102"/>
              <a:gd name="T64" fmla="*/ 72 w 102"/>
              <a:gd name="T65" fmla="*/ 90 h 102"/>
              <a:gd name="T66" fmla="*/ 72 w 102"/>
              <a:gd name="T67" fmla="*/ 90 h 102"/>
              <a:gd name="T68" fmla="*/ 72 w 102"/>
              <a:gd name="T69" fmla="*/ 96 h 102"/>
              <a:gd name="T70" fmla="*/ 66 w 102"/>
              <a:gd name="T71" fmla="*/ 96 h 102"/>
              <a:gd name="T72" fmla="*/ 66 w 102"/>
              <a:gd name="T73" fmla="*/ 102 h 102"/>
              <a:gd name="T74" fmla="*/ 54 w 102"/>
              <a:gd name="T75" fmla="*/ 96 h 102"/>
              <a:gd name="T76" fmla="*/ 42 w 102"/>
              <a:gd name="T77" fmla="*/ 90 h 102"/>
              <a:gd name="T78" fmla="*/ 36 w 102"/>
              <a:gd name="T79" fmla="*/ 96 h 102"/>
              <a:gd name="T80" fmla="*/ 24 w 102"/>
              <a:gd name="T81" fmla="*/ 96 h 102"/>
              <a:gd name="T82" fmla="*/ 24 w 102"/>
              <a:gd name="T83" fmla="*/ 90 h 102"/>
              <a:gd name="T84" fmla="*/ 24 w 102"/>
              <a:gd name="T85" fmla="*/ 90 h 102"/>
              <a:gd name="T86" fmla="*/ 30 w 102"/>
              <a:gd name="T87" fmla="*/ 72 h 102"/>
              <a:gd name="T88" fmla="*/ 24 w 102"/>
              <a:gd name="T89" fmla="*/ 66 h 102"/>
              <a:gd name="T90" fmla="*/ 0 w 102"/>
              <a:gd name="T91" fmla="*/ 72 h 102"/>
              <a:gd name="T92" fmla="*/ 6 w 102"/>
              <a:gd name="T93" fmla="*/ 66 h 102"/>
              <a:gd name="T94" fmla="*/ 0 w 102"/>
              <a:gd name="T95" fmla="*/ 66 h 102"/>
              <a:gd name="T96" fmla="*/ 0 w 102"/>
              <a:gd name="T97" fmla="*/ 66 h 102"/>
              <a:gd name="T98" fmla="*/ 0 w 102"/>
              <a:gd name="T99" fmla="*/ 66 h 102"/>
              <a:gd name="T100" fmla="*/ 0 w 102"/>
              <a:gd name="T101" fmla="*/ 60 h 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02" h="102">
                <a:moveTo>
                  <a:pt x="0" y="60"/>
                </a:moveTo>
                <a:lnTo>
                  <a:pt x="0" y="60"/>
                </a:lnTo>
                <a:lnTo>
                  <a:pt x="0" y="60"/>
                </a:lnTo>
                <a:lnTo>
                  <a:pt x="0" y="54"/>
                </a:lnTo>
                <a:lnTo>
                  <a:pt x="6" y="54"/>
                </a:lnTo>
                <a:lnTo>
                  <a:pt x="6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8" y="42"/>
                </a:lnTo>
                <a:lnTo>
                  <a:pt x="18" y="42"/>
                </a:lnTo>
                <a:lnTo>
                  <a:pt x="18" y="36"/>
                </a:lnTo>
                <a:lnTo>
                  <a:pt x="18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0"/>
                </a:lnTo>
                <a:lnTo>
                  <a:pt x="36" y="0"/>
                </a:lnTo>
                <a:lnTo>
                  <a:pt x="66" y="6"/>
                </a:lnTo>
                <a:lnTo>
                  <a:pt x="84" y="12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6"/>
                </a:lnTo>
                <a:lnTo>
                  <a:pt x="102" y="36"/>
                </a:lnTo>
                <a:lnTo>
                  <a:pt x="90" y="36"/>
                </a:lnTo>
                <a:lnTo>
                  <a:pt x="84" y="48"/>
                </a:lnTo>
                <a:lnTo>
                  <a:pt x="84" y="54"/>
                </a:lnTo>
                <a:lnTo>
                  <a:pt x="78" y="72"/>
                </a:lnTo>
                <a:lnTo>
                  <a:pt x="78" y="72"/>
                </a:lnTo>
                <a:lnTo>
                  <a:pt x="78" y="78"/>
                </a:lnTo>
                <a:lnTo>
                  <a:pt x="84" y="90"/>
                </a:lnTo>
                <a:lnTo>
                  <a:pt x="84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6"/>
                </a:lnTo>
                <a:lnTo>
                  <a:pt x="72" y="90"/>
                </a:lnTo>
                <a:lnTo>
                  <a:pt x="66" y="96"/>
                </a:lnTo>
                <a:lnTo>
                  <a:pt x="66" y="96"/>
                </a:lnTo>
                <a:lnTo>
                  <a:pt x="66" y="102"/>
                </a:lnTo>
                <a:lnTo>
                  <a:pt x="60" y="102"/>
                </a:lnTo>
                <a:lnTo>
                  <a:pt x="54" y="96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36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72"/>
                </a:lnTo>
                <a:lnTo>
                  <a:pt x="30" y="72"/>
                </a:lnTo>
                <a:lnTo>
                  <a:pt x="24" y="66"/>
                </a:lnTo>
                <a:lnTo>
                  <a:pt x="24" y="66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6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05" name="Freeform 138"/>
          <p:cNvSpPr>
            <a:spLocks/>
          </p:cNvSpPr>
          <p:nvPr/>
        </p:nvSpPr>
        <p:spPr bwMode="auto">
          <a:xfrm>
            <a:off x="8412898" y="1777361"/>
            <a:ext cx="134905" cy="89937"/>
          </a:xfrm>
          <a:custGeom>
            <a:avLst/>
            <a:gdLst>
              <a:gd name="T0" fmla="*/ 0 w 126"/>
              <a:gd name="T1" fmla="*/ 48 h 84"/>
              <a:gd name="T2" fmla="*/ 6 w 126"/>
              <a:gd name="T3" fmla="*/ 36 h 84"/>
              <a:gd name="T4" fmla="*/ 12 w 126"/>
              <a:gd name="T5" fmla="*/ 30 h 84"/>
              <a:gd name="T6" fmla="*/ 12 w 126"/>
              <a:gd name="T7" fmla="*/ 30 h 84"/>
              <a:gd name="T8" fmla="*/ 18 w 126"/>
              <a:gd name="T9" fmla="*/ 30 h 84"/>
              <a:gd name="T10" fmla="*/ 18 w 126"/>
              <a:gd name="T11" fmla="*/ 18 h 84"/>
              <a:gd name="T12" fmla="*/ 18 w 126"/>
              <a:gd name="T13" fmla="*/ 12 h 84"/>
              <a:gd name="T14" fmla="*/ 48 w 126"/>
              <a:gd name="T15" fmla="*/ 6 h 84"/>
              <a:gd name="T16" fmla="*/ 72 w 126"/>
              <a:gd name="T17" fmla="*/ 0 h 84"/>
              <a:gd name="T18" fmla="*/ 72 w 126"/>
              <a:gd name="T19" fmla="*/ 0 h 84"/>
              <a:gd name="T20" fmla="*/ 78 w 126"/>
              <a:gd name="T21" fmla="*/ 6 h 84"/>
              <a:gd name="T22" fmla="*/ 84 w 126"/>
              <a:gd name="T23" fmla="*/ 12 h 84"/>
              <a:gd name="T24" fmla="*/ 84 w 126"/>
              <a:gd name="T25" fmla="*/ 12 h 84"/>
              <a:gd name="T26" fmla="*/ 90 w 126"/>
              <a:gd name="T27" fmla="*/ 12 h 84"/>
              <a:gd name="T28" fmla="*/ 96 w 126"/>
              <a:gd name="T29" fmla="*/ 12 h 84"/>
              <a:gd name="T30" fmla="*/ 96 w 126"/>
              <a:gd name="T31" fmla="*/ 12 h 84"/>
              <a:gd name="T32" fmla="*/ 102 w 126"/>
              <a:gd name="T33" fmla="*/ 12 h 84"/>
              <a:gd name="T34" fmla="*/ 108 w 126"/>
              <a:gd name="T35" fmla="*/ 12 h 84"/>
              <a:gd name="T36" fmla="*/ 108 w 126"/>
              <a:gd name="T37" fmla="*/ 12 h 84"/>
              <a:gd name="T38" fmla="*/ 114 w 126"/>
              <a:gd name="T39" fmla="*/ 12 h 84"/>
              <a:gd name="T40" fmla="*/ 120 w 126"/>
              <a:gd name="T41" fmla="*/ 12 h 84"/>
              <a:gd name="T42" fmla="*/ 120 w 126"/>
              <a:gd name="T43" fmla="*/ 18 h 84"/>
              <a:gd name="T44" fmla="*/ 120 w 126"/>
              <a:gd name="T45" fmla="*/ 24 h 84"/>
              <a:gd name="T46" fmla="*/ 114 w 126"/>
              <a:gd name="T47" fmla="*/ 30 h 84"/>
              <a:gd name="T48" fmla="*/ 108 w 126"/>
              <a:gd name="T49" fmla="*/ 36 h 84"/>
              <a:gd name="T50" fmla="*/ 114 w 126"/>
              <a:gd name="T51" fmla="*/ 36 h 84"/>
              <a:gd name="T52" fmla="*/ 114 w 126"/>
              <a:gd name="T53" fmla="*/ 60 h 84"/>
              <a:gd name="T54" fmla="*/ 90 w 126"/>
              <a:gd name="T55" fmla="*/ 60 h 84"/>
              <a:gd name="T56" fmla="*/ 84 w 126"/>
              <a:gd name="T57" fmla="*/ 72 h 84"/>
              <a:gd name="T58" fmla="*/ 66 w 126"/>
              <a:gd name="T59" fmla="*/ 84 h 84"/>
              <a:gd name="T60" fmla="*/ 66 w 126"/>
              <a:gd name="T61" fmla="*/ 78 h 84"/>
              <a:gd name="T62" fmla="*/ 66 w 126"/>
              <a:gd name="T63" fmla="*/ 78 h 84"/>
              <a:gd name="T64" fmla="*/ 66 w 126"/>
              <a:gd name="T65" fmla="*/ 72 h 84"/>
              <a:gd name="T66" fmla="*/ 66 w 126"/>
              <a:gd name="T67" fmla="*/ 72 h 84"/>
              <a:gd name="T68" fmla="*/ 48 w 126"/>
              <a:gd name="T69" fmla="*/ 60 h 84"/>
              <a:gd name="T70" fmla="*/ 0 w 126"/>
              <a:gd name="T71" fmla="*/ 48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26" h="84">
                <a:moveTo>
                  <a:pt x="0" y="48"/>
                </a:moveTo>
                <a:lnTo>
                  <a:pt x="0" y="48"/>
                </a:lnTo>
                <a:lnTo>
                  <a:pt x="6" y="48"/>
                </a:lnTo>
                <a:lnTo>
                  <a:pt x="6" y="36"/>
                </a:lnTo>
                <a:lnTo>
                  <a:pt x="6" y="36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8" y="30"/>
                </a:lnTo>
                <a:lnTo>
                  <a:pt x="18" y="30"/>
                </a:lnTo>
                <a:lnTo>
                  <a:pt x="18" y="18"/>
                </a:lnTo>
                <a:lnTo>
                  <a:pt x="18" y="18"/>
                </a:lnTo>
                <a:lnTo>
                  <a:pt x="18" y="12"/>
                </a:lnTo>
                <a:lnTo>
                  <a:pt x="42" y="6"/>
                </a:lnTo>
                <a:lnTo>
                  <a:pt x="48" y="6"/>
                </a:lnTo>
                <a:lnTo>
                  <a:pt x="60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8" y="6"/>
                </a:lnTo>
                <a:lnTo>
                  <a:pt x="78" y="6"/>
                </a:lnTo>
                <a:lnTo>
                  <a:pt x="78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14" y="12"/>
                </a:lnTo>
                <a:lnTo>
                  <a:pt x="120" y="12"/>
                </a:lnTo>
                <a:lnTo>
                  <a:pt x="120" y="12"/>
                </a:lnTo>
                <a:lnTo>
                  <a:pt x="126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24"/>
                </a:lnTo>
                <a:lnTo>
                  <a:pt x="114" y="24"/>
                </a:lnTo>
                <a:lnTo>
                  <a:pt x="114" y="30"/>
                </a:lnTo>
                <a:lnTo>
                  <a:pt x="108" y="30"/>
                </a:lnTo>
                <a:lnTo>
                  <a:pt x="108" y="36"/>
                </a:lnTo>
                <a:lnTo>
                  <a:pt x="108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60"/>
                </a:lnTo>
                <a:lnTo>
                  <a:pt x="96" y="60"/>
                </a:lnTo>
                <a:lnTo>
                  <a:pt x="90" y="60"/>
                </a:lnTo>
                <a:lnTo>
                  <a:pt x="84" y="66"/>
                </a:lnTo>
                <a:lnTo>
                  <a:pt x="84" y="72"/>
                </a:lnTo>
                <a:lnTo>
                  <a:pt x="84" y="84"/>
                </a:lnTo>
                <a:lnTo>
                  <a:pt x="66" y="84"/>
                </a:lnTo>
                <a:lnTo>
                  <a:pt x="66" y="84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48" y="60"/>
                </a:lnTo>
                <a:lnTo>
                  <a:pt x="30" y="54"/>
                </a:lnTo>
                <a:lnTo>
                  <a:pt x="0" y="4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06" name="Freeform 139"/>
          <p:cNvSpPr>
            <a:spLocks/>
          </p:cNvSpPr>
          <p:nvPr/>
        </p:nvSpPr>
        <p:spPr bwMode="auto">
          <a:xfrm>
            <a:off x="8753373" y="1957236"/>
            <a:ext cx="51392" cy="57817"/>
          </a:xfrm>
          <a:custGeom>
            <a:avLst/>
            <a:gdLst>
              <a:gd name="T0" fmla="*/ 6 w 48"/>
              <a:gd name="T1" fmla="*/ 48 h 54"/>
              <a:gd name="T2" fmla="*/ 6 w 48"/>
              <a:gd name="T3" fmla="*/ 42 h 54"/>
              <a:gd name="T4" fmla="*/ 6 w 48"/>
              <a:gd name="T5" fmla="*/ 36 h 54"/>
              <a:gd name="T6" fmla="*/ 0 w 48"/>
              <a:gd name="T7" fmla="*/ 30 h 54"/>
              <a:gd name="T8" fmla="*/ 0 w 48"/>
              <a:gd name="T9" fmla="*/ 30 h 54"/>
              <a:gd name="T10" fmla="*/ 0 w 48"/>
              <a:gd name="T11" fmla="*/ 24 h 54"/>
              <a:gd name="T12" fmla="*/ 6 w 48"/>
              <a:gd name="T13" fmla="*/ 12 h 54"/>
              <a:gd name="T14" fmla="*/ 12 w 48"/>
              <a:gd name="T15" fmla="*/ 12 h 54"/>
              <a:gd name="T16" fmla="*/ 12 w 48"/>
              <a:gd name="T17" fmla="*/ 6 h 54"/>
              <a:gd name="T18" fmla="*/ 18 w 48"/>
              <a:gd name="T19" fmla="*/ 6 h 54"/>
              <a:gd name="T20" fmla="*/ 18 w 48"/>
              <a:gd name="T21" fmla="*/ 6 h 54"/>
              <a:gd name="T22" fmla="*/ 24 w 48"/>
              <a:gd name="T23" fmla="*/ 6 h 54"/>
              <a:gd name="T24" fmla="*/ 24 w 48"/>
              <a:gd name="T25" fmla="*/ 0 h 54"/>
              <a:gd name="T26" fmla="*/ 30 w 48"/>
              <a:gd name="T27" fmla="*/ 0 h 54"/>
              <a:gd name="T28" fmla="*/ 30 w 48"/>
              <a:gd name="T29" fmla="*/ 0 h 54"/>
              <a:gd name="T30" fmla="*/ 30 w 48"/>
              <a:gd name="T31" fmla="*/ 0 h 54"/>
              <a:gd name="T32" fmla="*/ 36 w 48"/>
              <a:gd name="T33" fmla="*/ 6 h 54"/>
              <a:gd name="T34" fmla="*/ 36 w 48"/>
              <a:gd name="T35" fmla="*/ 6 h 54"/>
              <a:gd name="T36" fmla="*/ 36 w 48"/>
              <a:gd name="T37" fmla="*/ 12 h 54"/>
              <a:gd name="T38" fmla="*/ 36 w 48"/>
              <a:gd name="T39" fmla="*/ 12 h 54"/>
              <a:gd name="T40" fmla="*/ 42 w 48"/>
              <a:gd name="T41" fmla="*/ 12 h 54"/>
              <a:gd name="T42" fmla="*/ 42 w 48"/>
              <a:gd name="T43" fmla="*/ 18 h 54"/>
              <a:gd name="T44" fmla="*/ 42 w 48"/>
              <a:gd name="T45" fmla="*/ 24 h 54"/>
              <a:gd name="T46" fmla="*/ 42 w 48"/>
              <a:gd name="T47" fmla="*/ 30 h 54"/>
              <a:gd name="T48" fmla="*/ 48 w 48"/>
              <a:gd name="T49" fmla="*/ 30 h 54"/>
              <a:gd name="T50" fmla="*/ 48 w 48"/>
              <a:gd name="T51" fmla="*/ 30 h 54"/>
              <a:gd name="T52" fmla="*/ 48 w 48"/>
              <a:gd name="T53" fmla="*/ 36 h 54"/>
              <a:gd name="T54" fmla="*/ 48 w 48"/>
              <a:gd name="T55" fmla="*/ 42 h 54"/>
              <a:gd name="T56" fmla="*/ 48 w 48"/>
              <a:gd name="T57" fmla="*/ 48 h 54"/>
              <a:gd name="T58" fmla="*/ 48 w 48"/>
              <a:gd name="T59" fmla="*/ 48 h 54"/>
              <a:gd name="T60" fmla="*/ 48 w 48"/>
              <a:gd name="T61" fmla="*/ 48 h 54"/>
              <a:gd name="T62" fmla="*/ 42 w 48"/>
              <a:gd name="T63" fmla="*/ 48 h 54"/>
              <a:gd name="T64" fmla="*/ 42 w 48"/>
              <a:gd name="T65" fmla="*/ 48 h 54"/>
              <a:gd name="T66" fmla="*/ 36 w 48"/>
              <a:gd name="T67" fmla="*/ 54 h 54"/>
              <a:gd name="T68" fmla="*/ 36 w 48"/>
              <a:gd name="T69" fmla="*/ 48 h 54"/>
              <a:gd name="T70" fmla="*/ 30 w 48"/>
              <a:gd name="T71" fmla="*/ 48 h 54"/>
              <a:gd name="T72" fmla="*/ 30 w 48"/>
              <a:gd name="T73" fmla="*/ 54 h 54"/>
              <a:gd name="T74" fmla="*/ 24 w 48"/>
              <a:gd name="T75" fmla="*/ 54 h 54"/>
              <a:gd name="T76" fmla="*/ 24 w 48"/>
              <a:gd name="T77" fmla="*/ 54 h 54"/>
              <a:gd name="T78" fmla="*/ 18 w 48"/>
              <a:gd name="T79" fmla="*/ 54 h 54"/>
              <a:gd name="T80" fmla="*/ 18 w 48"/>
              <a:gd name="T81" fmla="*/ 48 h 54"/>
              <a:gd name="T82" fmla="*/ 18 w 48"/>
              <a:gd name="T83" fmla="*/ 48 h 54"/>
              <a:gd name="T84" fmla="*/ 12 w 48"/>
              <a:gd name="T85" fmla="*/ 54 h 54"/>
              <a:gd name="T86" fmla="*/ 6 w 48"/>
              <a:gd name="T87" fmla="*/ 54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8" h="54">
                <a:moveTo>
                  <a:pt x="0" y="54"/>
                </a:move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24"/>
                </a:lnTo>
                <a:lnTo>
                  <a:pt x="0" y="18"/>
                </a:lnTo>
                <a:lnTo>
                  <a:pt x="6" y="12"/>
                </a:lnTo>
                <a:lnTo>
                  <a:pt x="6" y="6"/>
                </a:lnTo>
                <a:lnTo>
                  <a:pt x="12" y="12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0"/>
                </a:lnTo>
                <a:lnTo>
                  <a:pt x="24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6" y="0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42" y="12"/>
                </a:lnTo>
                <a:lnTo>
                  <a:pt x="42" y="12"/>
                </a:lnTo>
                <a:lnTo>
                  <a:pt x="42" y="18"/>
                </a:lnTo>
                <a:lnTo>
                  <a:pt x="42" y="24"/>
                </a:lnTo>
                <a:lnTo>
                  <a:pt x="42" y="24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6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54"/>
                </a:lnTo>
                <a:lnTo>
                  <a:pt x="36" y="54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0" y="48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18" y="54"/>
                </a:lnTo>
                <a:lnTo>
                  <a:pt x="18" y="54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54"/>
                </a:lnTo>
                <a:lnTo>
                  <a:pt x="12" y="54"/>
                </a:lnTo>
                <a:lnTo>
                  <a:pt x="12" y="54"/>
                </a:lnTo>
                <a:lnTo>
                  <a:pt x="6" y="54"/>
                </a:lnTo>
                <a:lnTo>
                  <a:pt x="0" y="5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07" name="Freeform 140"/>
          <p:cNvSpPr>
            <a:spLocks/>
          </p:cNvSpPr>
          <p:nvPr/>
        </p:nvSpPr>
        <p:spPr bwMode="auto">
          <a:xfrm>
            <a:off x="8438594" y="1867298"/>
            <a:ext cx="83513" cy="89937"/>
          </a:xfrm>
          <a:custGeom>
            <a:avLst/>
            <a:gdLst>
              <a:gd name="T0" fmla="*/ 6 w 78"/>
              <a:gd name="T1" fmla="*/ 66 h 84"/>
              <a:gd name="T2" fmla="*/ 6 w 78"/>
              <a:gd name="T3" fmla="*/ 60 h 84"/>
              <a:gd name="T4" fmla="*/ 12 w 78"/>
              <a:gd name="T5" fmla="*/ 60 h 84"/>
              <a:gd name="T6" fmla="*/ 12 w 78"/>
              <a:gd name="T7" fmla="*/ 54 h 84"/>
              <a:gd name="T8" fmla="*/ 12 w 78"/>
              <a:gd name="T9" fmla="*/ 54 h 84"/>
              <a:gd name="T10" fmla="*/ 12 w 78"/>
              <a:gd name="T11" fmla="*/ 54 h 84"/>
              <a:gd name="T12" fmla="*/ 18 w 78"/>
              <a:gd name="T13" fmla="*/ 54 h 84"/>
              <a:gd name="T14" fmla="*/ 18 w 78"/>
              <a:gd name="T15" fmla="*/ 54 h 84"/>
              <a:gd name="T16" fmla="*/ 24 w 78"/>
              <a:gd name="T17" fmla="*/ 54 h 84"/>
              <a:gd name="T18" fmla="*/ 18 w 78"/>
              <a:gd name="T19" fmla="*/ 36 h 84"/>
              <a:gd name="T20" fmla="*/ 24 w 78"/>
              <a:gd name="T21" fmla="*/ 18 h 84"/>
              <a:gd name="T22" fmla="*/ 30 w 78"/>
              <a:gd name="T23" fmla="*/ 0 h 84"/>
              <a:gd name="T24" fmla="*/ 60 w 78"/>
              <a:gd name="T25" fmla="*/ 0 h 84"/>
              <a:gd name="T26" fmla="*/ 66 w 78"/>
              <a:gd name="T27" fmla="*/ 24 h 84"/>
              <a:gd name="T28" fmla="*/ 78 w 78"/>
              <a:gd name="T29" fmla="*/ 30 h 84"/>
              <a:gd name="T30" fmla="*/ 78 w 78"/>
              <a:gd name="T31" fmla="*/ 36 h 84"/>
              <a:gd name="T32" fmla="*/ 78 w 78"/>
              <a:gd name="T33" fmla="*/ 48 h 84"/>
              <a:gd name="T34" fmla="*/ 78 w 78"/>
              <a:gd name="T35" fmla="*/ 48 h 84"/>
              <a:gd name="T36" fmla="*/ 78 w 78"/>
              <a:gd name="T37" fmla="*/ 54 h 84"/>
              <a:gd name="T38" fmla="*/ 78 w 78"/>
              <a:gd name="T39" fmla="*/ 54 h 84"/>
              <a:gd name="T40" fmla="*/ 66 w 78"/>
              <a:gd name="T41" fmla="*/ 60 h 84"/>
              <a:gd name="T42" fmla="*/ 66 w 78"/>
              <a:gd name="T43" fmla="*/ 60 h 84"/>
              <a:gd name="T44" fmla="*/ 60 w 78"/>
              <a:gd name="T45" fmla="*/ 66 h 84"/>
              <a:gd name="T46" fmla="*/ 60 w 78"/>
              <a:gd name="T47" fmla="*/ 72 h 84"/>
              <a:gd name="T48" fmla="*/ 60 w 78"/>
              <a:gd name="T49" fmla="*/ 72 h 84"/>
              <a:gd name="T50" fmla="*/ 54 w 78"/>
              <a:gd name="T51" fmla="*/ 72 h 84"/>
              <a:gd name="T52" fmla="*/ 54 w 78"/>
              <a:gd name="T53" fmla="*/ 72 h 84"/>
              <a:gd name="T54" fmla="*/ 48 w 78"/>
              <a:gd name="T55" fmla="*/ 72 h 84"/>
              <a:gd name="T56" fmla="*/ 48 w 78"/>
              <a:gd name="T57" fmla="*/ 72 h 84"/>
              <a:gd name="T58" fmla="*/ 48 w 78"/>
              <a:gd name="T59" fmla="*/ 72 h 84"/>
              <a:gd name="T60" fmla="*/ 42 w 78"/>
              <a:gd name="T61" fmla="*/ 72 h 84"/>
              <a:gd name="T62" fmla="*/ 42 w 78"/>
              <a:gd name="T63" fmla="*/ 72 h 84"/>
              <a:gd name="T64" fmla="*/ 36 w 78"/>
              <a:gd name="T65" fmla="*/ 78 h 84"/>
              <a:gd name="T66" fmla="*/ 30 w 78"/>
              <a:gd name="T67" fmla="*/ 78 h 84"/>
              <a:gd name="T68" fmla="*/ 30 w 78"/>
              <a:gd name="T69" fmla="*/ 78 h 84"/>
              <a:gd name="T70" fmla="*/ 30 w 78"/>
              <a:gd name="T71" fmla="*/ 84 h 84"/>
              <a:gd name="T72" fmla="*/ 24 w 78"/>
              <a:gd name="T73" fmla="*/ 84 h 84"/>
              <a:gd name="T74" fmla="*/ 18 w 78"/>
              <a:gd name="T75" fmla="*/ 84 h 84"/>
              <a:gd name="T76" fmla="*/ 18 w 78"/>
              <a:gd name="T77" fmla="*/ 84 h 84"/>
              <a:gd name="T78" fmla="*/ 12 w 78"/>
              <a:gd name="T79" fmla="*/ 84 h 84"/>
              <a:gd name="T80" fmla="*/ 6 w 78"/>
              <a:gd name="T81" fmla="*/ 72 h 84"/>
              <a:gd name="T82" fmla="*/ 0 w 78"/>
              <a:gd name="T83" fmla="*/ 66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78" h="84">
                <a:moveTo>
                  <a:pt x="0" y="66"/>
                </a:moveTo>
                <a:lnTo>
                  <a:pt x="6" y="66"/>
                </a:lnTo>
                <a:lnTo>
                  <a:pt x="6" y="60"/>
                </a:lnTo>
                <a:lnTo>
                  <a:pt x="6" y="60"/>
                </a:lnTo>
                <a:lnTo>
                  <a:pt x="12" y="54"/>
                </a:lnTo>
                <a:lnTo>
                  <a:pt x="12" y="60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24" y="54"/>
                </a:lnTo>
                <a:lnTo>
                  <a:pt x="24" y="54"/>
                </a:lnTo>
                <a:lnTo>
                  <a:pt x="18" y="42"/>
                </a:lnTo>
                <a:lnTo>
                  <a:pt x="18" y="36"/>
                </a:lnTo>
                <a:lnTo>
                  <a:pt x="18" y="36"/>
                </a:lnTo>
                <a:lnTo>
                  <a:pt x="24" y="18"/>
                </a:lnTo>
                <a:lnTo>
                  <a:pt x="24" y="12"/>
                </a:lnTo>
                <a:lnTo>
                  <a:pt x="30" y="0"/>
                </a:lnTo>
                <a:lnTo>
                  <a:pt x="42" y="0"/>
                </a:lnTo>
                <a:lnTo>
                  <a:pt x="60" y="0"/>
                </a:lnTo>
                <a:lnTo>
                  <a:pt x="66" y="12"/>
                </a:lnTo>
                <a:lnTo>
                  <a:pt x="66" y="24"/>
                </a:lnTo>
                <a:lnTo>
                  <a:pt x="72" y="24"/>
                </a:lnTo>
                <a:lnTo>
                  <a:pt x="78" y="30"/>
                </a:lnTo>
                <a:lnTo>
                  <a:pt x="78" y="36"/>
                </a:lnTo>
                <a:lnTo>
                  <a:pt x="78" y="36"/>
                </a:lnTo>
                <a:lnTo>
                  <a:pt x="72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2" y="66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36" y="78"/>
                </a:lnTo>
                <a:lnTo>
                  <a:pt x="36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84"/>
                </a:lnTo>
                <a:lnTo>
                  <a:pt x="30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6" y="72"/>
                </a:lnTo>
                <a:lnTo>
                  <a:pt x="6" y="66"/>
                </a:lnTo>
                <a:lnTo>
                  <a:pt x="0" y="6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08" name="Freeform 141"/>
          <p:cNvSpPr>
            <a:spLocks/>
          </p:cNvSpPr>
          <p:nvPr/>
        </p:nvSpPr>
        <p:spPr bwMode="auto">
          <a:xfrm>
            <a:off x="8624892" y="1912267"/>
            <a:ext cx="89937" cy="96361"/>
          </a:xfrm>
          <a:custGeom>
            <a:avLst/>
            <a:gdLst>
              <a:gd name="T0" fmla="*/ 0 w 84"/>
              <a:gd name="T1" fmla="*/ 72 h 90"/>
              <a:gd name="T2" fmla="*/ 0 w 84"/>
              <a:gd name="T3" fmla="*/ 66 h 90"/>
              <a:gd name="T4" fmla="*/ 0 w 84"/>
              <a:gd name="T5" fmla="*/ 60 h 90"/>
              <a:gd name="T6" fmla="*/ 0 w 84"/>
              <a:gd name="T7" fmla="*/ 54 h 90"/>
              <a:gd name="T8" fmla="*/ 0 w 84"/>
              <a:gd name="T9" fmla="*/ 42 h 90"/>
              <a:gd name="T10" fmla="*/ 6 w 84"/>
              <a:gd name="T11" fmla="*/ 24 h 90"/>
              <a:gd name="T12" fmla="*/ 12 w 84"/>
              <a:gd name="T13" fmla="*/ 12 h 90"/>
              <a:gd name="T14" fmla="*/ 18 w 84"/>
              <a:gd name="T15" fmla="*/ 6 h 90"/>
              <a:gd name="T16" fmla="*/ 18 w 84"/>
              <a:gd name="T17" fmla="*/ 6 h 90"/>
              <a:gd name="T18" fmla="*/ 24 w 84"/>
              <a:gd name="T19" fmla="*/ 6 h 90"/>
              <a:gd name="T20" fmla="*/ 24 w 84"/>
              <a:gd name="T21" fmla="*/ 6 h 90"/>
              <a:gd name="T22" fmla="*/ 30 w 84"/>
              <a:gd name="T23" fmla="*/ 6 h 90"/>
              <a:gd name="T24" fmla="*/ 36 w 84"/>
              <a:gd name="T25" fmla="*/ 6 h 90"/>
              <a:gd name="T26" fmla="*/ 36 w 84"/>
              <a:gd name="T27" fmla="*/ 0 h 90"/>
              <a:gd name="T28" fmla="*/ 42 w 84"/>
              <a:gd name="T29" fmla="*/ 0 h 90"/>
              <a:gd name="T30" fmla="*/ 42 w 84"/>
              <a:gd name="T31" fmla="*/ 0 h 90"/>
              <a:gd name="T32" fmla="*/ 48 w 84"/>
              <a:gd name="T33" fmla="*/ 0 h 90"/>
              <a:gd name="T34" fmla="*/ 60 w 84"/>
              <a:gd name="T35" fmla="*/ 18 h 90"/>
              <a:gd name="T36" fmla="*/ 60 w 84"/>
              <a:gd name="T37" fmla="*/ 36 h 90"/>
              <a:gd name="T38" fmla="*/ 72 w 84"/>
              <a:gd name="T39" fmla="*/ 42 h 90"/>
              <a:gd name="T40" fmla="*/ 72 w 84"/>
              <a:gd name="T41" fmla="*/ 48 h 90"/>
              <a:gd name="T42" fmla="*/ 78 w 84"/>
              <a:gd name="T43" fmla="*/ 54 h 90"/>
              <a:gd name="T44" fmla="*/ 84 w 84"/>
              <a:gd name="T45" fmla="*/ 66 h 90"/>
              <a:gd name="T46" fmla="*/ 84 w 84"/>
              <a:gd name="T47" fmla="*/ 66 h 90"/>
              <a:gd name="T48" fmla="*/ 78 w 84"/>
              <a:gd name="T49" fmla="*/ 72 h 90"/>
              <a:gd name="T50" fmla="*/ 78 w 84"/>
              <a:gd name="T51" fmla="*/ 72 h 90"/>
              <a:gd name="T52" fmla="*/ 78 w 84"/>
              <a:gd name="T53" fmla="*/ 78 h 90"/>
              <a:gd name="T54" fmla="*/ 78 w 84"/>
              <a:gd name="T55" fmla="*/ 84 h 90"/>
              <a:gd name="T56" fmla="*/ 78 w 84"/>
              <a:gd name="T57" fmla="*/ 84 h 90"/>
              <a:gd name="T58" fmla="*/ 72 w 84"/>
              <a:gd name="T59" fmla="*/ 84 h 90"/>
              <a:gd name="T60" fmla="*/ 66 w 84"/>
              <a:gd name="T61" fmla="*/ 90 h 90"/>
              <a:gd name="T62" fmla="*/ 54 w 84"/>
              <a:gd name="T63" fmla="*/ 90 h 90"/>
              <a:gd name="T64" fmla="*/ 42 w 84"/>
              <a:gd name="T65" fmla="*/ 90 h 90"/>
              <a:gd name="T66" fmla="*/ 36 w 84"/>
              <a:gd name="T67" fmla="*/ 84 h 90"/>
              <a:gd name="T68" fmla="*/ 30 w 84"/>
              <a:gd name="T69" fmla="*/ 84 h 90"/>
              <a:gd name="T70" fmla="*/ 30 w 84"/>
              <a:gd name="T71" fmla="*/ 78 h 90"/>
              <a:gd name="T72" fmla="*/ 24 w 84"/>
              <a:gd name="T73" fmla="*/ 78 h 90"/>
              <a:gd name="T74" fmla="*/ 24 w 84"/>
              <a:gd name="T75" fmla="*/ 78 h 90"/>
              <a:gd name="T76" fmla="*/ 18 w 84"/>
              <a:gd name="T77" fmla="*/ 78 h 90"/>
              <a:gd name="T78" fmla="*/ 12 w 84"/>
              <a:gd name="T79" fmla="*/ 78 h 90"/>
              <a:gd name="T80" fmla="*/ 6 w 84"/>
              <a:gd name="T81" fmla="*/ 84 h 90"/>
              <a:gd name="T82" fmla="*/ 0 w 84"/>
              <a:gd name="T83" fmla="*/ 78 h 90"/>
              <a:gd name="T84" fmla="*/ 0 w 84"/>
              <a:gd name="T85" fmla="*/ 72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84" h="90">
                <a:moveTo>
                  <a:pt x="0" y="72"/>
                </a:moveTo>
                <a:lnTo>
                  <a:pt x="0" y="72"/>
                </a:lnTo>
                <a:lnTo>
                  <a:pt x="0" y="72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48"/>
                </a:lnTo>
                <a:lnTo>
                  <a:pt x="0" y="48"/>
                </a:lnTo>
                <a:lnTo>
                  <a:pt x="0" y="42"/>
                </a:lnTo>
                <a:lnTo>
                  <a:pt x="0" y="42"/>
                </a:lnTo>
                <a:lnTo>
                  <a:pt x="0" y="30"/>
                </a:lnTo>
                <a:lnTo>
                  <a:pt x="6" y="24"/>
                </a:lnTo>
                <a:lnTo>
                  <a:pt x="6" y="12"/>
                </a:lnTo>
                <a:lnTo>
                  <a:pt x="6" y="6"/>
                </a:lnTo>
                <a:lnTo>
                  <a:pt x="12" y="12"/>
                </a:lnTo>
                <a:lnTo>
                  <a:pt x="12" y="6"/>
                </a:lnTo>
                <a:lnTo>
                  <a:pt x="12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24" y="6"/>
                </a:lnTo>
                <a:lnTo>
                  <a:pt x="24" y="6"/>
                </a:lnTo>
                <a:lnTo>
                  <a:pt x="24" y="0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54" y="12"/>
                </a:lnTo>
                <a:lnTo>
                  <a:pt x="54" y="12"/>
                </a:lnTo>
                <a:lnTo>
                  <a:pt x="60" y="18"/>
                </a:lnTo>
                <a:lnTo>
                  <a:pt x="66" y="24"/>
                </a:lnTo>
                <a:lnTo>
                  <a:pt x="60" y="30"/>
                </a:lnTo>
                <a:lnTo>
                  <a:pt x="60" y="36"/>
                </a:lnTo>
                <a:lnTo>
                  <a:pt x="60" y="42"/>
                </a:lnTo>
                <a:lnTo>
                  <a:pt x="72" y="42"/>
                </a:lnTo>
                <a:lnTo>
                  <a:pt x="72" y="42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8" y="48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60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78" y="66"/>
                </a:lnTo>
                <a:lnTo>
                  <a:pt x="78" y="66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54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36" y="90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0" y="84"/>
                </a:lnTo>
                <a:lnTo>
                  <a:pt x="30" y="84"/>
                </a:lnTo>
                <a:lnTo>
                  <a:pt x="30" y="78"/>
                </a:lnTo>
                <a:lnTo>
                  <a:pt x="30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2" y="78"/>
                </a:lnTo>
                <a:lnTo>
                  <a:pt x="12" y="84"/>
                </a:lnTo>
                <a:lnTo>
                  <a:pt x="6" y="84"/>
                </a:lnTo>
                <a:lnTo>
                  <a:pt x="6" y="84"/>
                </a:lnTo>
                <a:lnTo>
                  <a:pt x="6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09" name="Freeform 142"/>
          <p:cNvSpPr>
            <a:spLocks/>
          </p:cNvSpPr>
          <p:nvPr/>
        </p:nvSpPr>
        <p:spPr bwMode="auto">
          <a:xfrm>
            <a:off x="8624892" y="1828754"/>
            <a:ext cx="89937" cy="70665"/>
          </a:xfrm>
          <a:custGeom>
            <a:avLst/>
            <a:gdLst>
              <a:gd name="T0" fmla="*/ 0 w 84"/>
              <a:gd name="T1" fmla="*/ 12 h 66"/>
              <a:gd name="T2" fmla="*/ 18 w 84"/>
              <a:gd name="T3" fmla="*/ 6 h 66"/>
              <a:gd name="T4" fmla="*/ 18 w 84"/>
              <a:gd name="T5" fmla="*/ 6 h 66"/>
              <a:gd name="T6" fmla="*/ 24 w 84"/>
              <a:gd name="T7" fmla="*/ 6 h 66"/>
              <a:gd name="T8" fmla="*/ 36 w 84"/>
              <a:gd name="T9" fmla="*/ 6 h 66"/>
              <a:gd name="T10" fmla="*/ 42 w 84"/>
              <a:gd name="T11" fmla="*/ 6 h 66"/>
              <a:gd name="T12" fmla="*/ 60 w 84"/>
              <a:gd name="T13" fmla="*/ 0 h 66"/>
              <a:gd name="T14" fmla="*/ 60 w 84"/>
              <a:gd name="T15" fmla="*/ 0 h 66"/>
              <a:gd name="T16" fmla="*/ 60 w 84"/>
              <a:gd name="T17" fmla="*/ 0 h 66"/>
              <a:gd name="T18" fmla="*/ 60 w 84"/>
              <a:gd name="T19" fmla="*/ 12 h 66"/>
              <a:gd name="T20" fmla="*/ 60 w 84"/>
              <a:gd name="T21" fmla="*/ 36 h 66"/>
              <a:gd name="T22" fmla="*/ 60 w 84"/>
              <a:gd name="T23" fmla="*/ 30 h 66"/>
              <a:gd name="T24" fmla="*/ 66 w 84"/>
              <a:gd name="T25" fmla="*/ 30 h 66"/>
              <a:gd name="T26" fmla="*/ 66 w 84"/>
              <a:gd name="T27" fmla="*/ 30 h 66"/>
              <a:gd name="T28" fmla="*/ 66 w 84"/>
              <a:gd name="T29" fmla="*/ 30 h 66"/>
              <a:gd name="T30" fmla="*/ 66 w 84"/>
              <a:gd name="T31" fmla="*/ 30 h 66"/>
              <a:gd name="T32" fmla="*/ 66 w 84"/>
              <a:gd name="T33" fmla="*/ 30 h 66"/>
              <a:gd name="T34" fmla="*/ 66 w 84"/>
              <a:gd name="T35" fmla="*/ 30 h 66"/>
              <a:gd name="T36" fmla="*/ 72 w 84"/>
              <a:gd name="T37" fmla="*/ 30 h 66"/>
              <a:gd name="T38" fmla="*/ 72 w 84"/>
              <a:gd name="T39" fmla="*/ 30 h 66"/>
              <a:gd name="T40" fmla="*/ 72 w 84"/>
              <a:gd name="T41" fmla="*/ 30 h 66"/>
              <a:gd name="T42" fmla="*/ 78 w 84"/>
              <a:gd name="T43" fmla="*/ 36 h 66"/>
              <a:gd name="T44" fmla="*/ 78 w 84"/>
              <a:gd name="T45" fmla="*/ 36 h 66"/>
              <a:gd name="T46" fmla="*/ 78 w 84"/>
              <a:gd name="T47" fmla="*/ 36 h 66"/>
              <a:gd name="T48" fmla="*/ 84 w 84"/>
              <a:gd name="T49" fmla="*/ 36 h 66"/>
              <a:gd name="T50" fmla="*/ 84 w 84"/>
              <a:gd name="T51" fmla="*/ 36 h 66"/>
              <a:gd name="T52" fmla="*/ 78 w 84"/>
              <a:gd name="T53" fmla="*/ 36 h 66"/>
              <a:gd name="T54" fmla="*/ 78 w 84"/>
              <a:gd name="T55" fmla="*/ 48 h 66"/>
              <a:gd name="T56" fmla="*/ 84 w 84"/>
              <a:gd name="T57" fmla="*/ 54 h 66"/>
              <a:gd name="T58" fmla="*/ 84 w 84"/>
              <a:gd name="T59" fmla="*/ 54 h 66"/>
              <a:gd name="T60" fmla="*/ 84 w 84"/>
              <a:gd name="T61" fmla="*/ 66 h 66"/>
              <a:gd name="T62" fmla="*/ 84 w 84"/>
              <a:gd name="T63" fmla="*/ 66 h 66"/>
              <a:gd name="T64" fmla="*/ 66 w 84"/>
              <a:gd name="T65" fmla="*/ 66 h 66"/>
              <a:gd name="T66" fmla="*/ 54 w 84"/>
              <a:gd name="T67" fmla="*/ 66 h 66"/>
              <a:gd name="T68" fmla="*/ 42 w 84"/>
              <a:gd name="T69" fmla="*/ 66 h 66"/>
              <a:gd name="T70" fmla="*/ 42 w 84"/>
              <a:gd name="T71" fmla="*/ 66 h 66"/>
              <a:gd name="T72" fmla="*/ 42 w 84"/>
              <a:gd name="T73" fmla="*/ 66 h 66"/>
              <a:gd name="T74" fmla="*/ 42 w 84"/>
              <a:gd name="T75" fmla="*/ 60 h 66"/>
              <a:gd name="T76" fmla="*/ 48 w 84"/>
              <a:gd name="T77" fmla="*/ 60 h 66"/>
              <a:gd name="T78" fmla="*/ 48 w 84"/>
              <a:gd name="T79" fmla="*/ 60 h 66"/>
              <a:gd name="T80" fmla="*/ 48 w 84"/>
              <a:gd name="T81" fmla="*/ 54 h 66"/>
              <a:gd name="T82" fmla="*/ 48 w 84"/>
              <a:gd name="T83" fmla="*/ 54 h 66"/>
              <a:gd name="T84" fmla="*/ 48 w 84"/>
              <a:gd name="T85" fmla="*/ 54 h 66"/>
              <a:gd name="T86" fmla="*/ 42 w 84"/>
              <a:gd name="T87" fmla="*/ 42 h 66"/>
              <a:gd name="T88" fmla="*/ 36 w 84"/>
              <a:gd name="T89" fmla="*/ 36 h 66"/>
              <a:gd name="T90" fmla="*/ 30 w 84"/>
              <a:gd name="T91" fmla="*/ 30 h 66"/>
              <a:gd name="T92" fmla="*/ 30 w 84"/>
              <a:gd name="T93" fmla="*/ 24 h 66"/>
              <a:gd name="T94" fmla="*/ 18 w 84"/>
              <a:gd name="T95" fmla="*/ 30 h 66"/>
              <a:gd name="T96" fmla="*/ 18 w 84"/>
              <a:gd name="T97" fmla="*/ 30 h 66"/>
              <a:gd name="T98" fmla="*/ 6 w 84"/>
              <a:gd name="T99" fmla="*/ 30 h 66"/>
              <a:gd name="T100" fmla="*/ 0 w 84"/>
              <a:gd name="T101" fmla="*/ 12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84" h="66">
                <a:moveTo>
                  <a:pt x="0" y="12"/>
                </a:moveTo>
                <a:lnTo>
                  <a:pt x="18" y="6"/>
                </a:lnTo>
                <a:lnTo>
                  <a:pt x="18" y="6"/>
                </a:lnTo>
                <a:lnTo>
                  <a:pt x="24" y="6"/>
                </a:lnTo>
                <a:lnTo>
                  <a:pt x="36" y="6"/>
                </a:lnTo>
                <a:lnTo>
                  <a:pt x="42" y="6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12"/>
                </a:lnTo>
                <a:lnTo>
                  <a:pt x="60" y="36"/>
                </a:lnTo>
                <a:lnTo>
                  <a:pt x="60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84" y="36"/>
                </a:lnTo>
                <a:lnTo>
                  <a:pt x="84" y="36"/>
                </a:lnTo>
                <a:lnTo>
                  <a:pt x="78" y="36"/>
                </a:lnTo>
                <a:lnTo>
                  <a:pt x="78" y="48"/>
                </a:lnTo>
                <a:lnTo>
                  <a:pt x="84" y="54"/>
                </a:lnTo>
                <a:lnTo>
                  <a:pt x="84" y="54"/>
                </a:lnTo>
                <a:lnTo>
                  <a:pt x="84" y="66"/>
                </a:lnTo>
                <a:lnTo>
                  <a:pt x="84" y="66"/>
                </a:lnTo>
                <a:lnTo>
                  <a:pt x="66" y="66"/>
                </a:lnTo>
                <a:lnTo>
                  <a:pt x="54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0"/>
                </a:lnTo>
                <a:lnTo>
                  <a:pt x="48" y="60"/>
                </a:lnTo>
                <a:lnTo>
                  <a:pt x="48" y="60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2" y="42"/>
                </a:lnTo>
                <a:lnTo>
                  <a:pt x="36" y="36"/>
                </a:lnTo>
                <a:lnTo>
                  <a:pt x="30" y="30"/>
                </a:lnTo>
                <a:lnTo>
                  <a:pt x="30" y="24"/>
                </a:lnTo>
                <a:lnTo>
                  <a:pt x="18" y="30"/>
                </a:lnTo>
                <a:lnTo>
                  <a:pt x="18" y="30"/>
                </a:lnTo>
                <a:lnTo>
                  <a:pt x="6" y="30"/>
                </a:lnTo>
                <a:lnTo>
                  <a:pt x="0" y="1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10" name="Freeform 143"/>
          <p:cNvSpPr>
            <a:spLocks/>
          </p:cNvSpPr>
          <p:nvPr/>
        </p:nvSpPr>
        <p:spPr bwMode="auto">
          <a:xfrm>
            <a:off x="8528531" y="1899419"/>
            <a:ext cx="102785" cy="83513"/>
          </a:xfrm>
          <a:custGeom>
            <a:avLst/>
            <a:gdLst>
              <a:gd name="T0" fmla="*/ 6 w 96"/>
              <a:gd name="T1" fmla="*/ 60 h 78"/>
              <a:gd name="T2" fmla="*/ 12 w 96"/>
              <a:gd name="T3" fmla="*/ 60 h 78"/>
              <a:gd name="T4" fmla="*/ 6 w 96"/>
              <a:gd name="T5" fmla="*/ 48 h 78"/>
              <a:gd name="T6" fmla="*/ 12 w 96"/>
              <a:gd name="T7" fmla="*/ 42 h 78"/>
              <a:gd name="T8" fmla="*/ 18 w 96"/>
              <a:gd name="T9" fmla="*/ 42 h 78"/>
              <a:gd name="T10" fmla="*/ 12 w 96"/>
              <a:gd name="T11" fmla="*/ 36 h 78"/>
              <a:gd name="T12" fmla="*/ 12 w 96"/>
              <a:gd name="T13" fmla="*/ 36 h 78"/>
              <a:gd name="T14" fmla="*/ 12 w 96"/>
              <a:gd name="T15" fmla="*/ 36 h 78"/>
              <a:gd name="T16" fmla="*/ 24 w 96"/>
              <a:gd name="T17" fmla="*/ 18 h 78"/>
              <a:gd name="T18" fmla="*/ 24 w 96"/>
              <a:gd name="T19" fmla="*/ 12 h 78"/>
              <a:gd name="T20" fmla="*/ 24 w 96"/>
              <a:gd name="T21" fmla="*/ 6 h 78"/>
              <a:gd name="T22" fmla="*/ 30 w 96"/>
              <a:gd name="T23" fmla="*/ 0 h 78"/>
              <a:gd name="T24" fmla="*/ 36 w 96"/>
              <a:gd name="T25" fmla="*/ 0 h 78"/>
              <a:gd name="T26" fmla="*/ 42 w 96"/>
              <a:gd name="T27" fmla="*/ 6 h 78"/>
              <a:gd name="T28" fmla="*/ 48 w 96"/>
              <a:gd name="T29" fmla="*/ 6 h 78"/>
              <a:gd name="T30" fmla="*/ 60 w 96"/>
              <a:gd name="T31" fmla="*/ 6 h 78"/>
              <a:gd name="T32" fmla="*/ 90 w 96"/>
              <a:gd name="T33" fmla="*/ 18 h 78"/>
              <a:gd name="T34" fmla="*/ 96 w 96"/>
              <a:gd name="T35" fmla="*/ 36 h 78"/>
              <a:gd name="T36" fmla="*/ 84 w 96"/>
              <a:gd name="T37" fmla="*/ 54 h 78"/>
              <a:gd name="T38" fmla="*/ 72 w 96"/>
              <a:gd name="T39" fmla="*/ 54 h 78"/>
              <a:gd name="T40" fmla="*/ 72 w 96"/>
              <a:gd name="T41" fmla="*/ 54 h 78"/>
              <a:gd name="T42" fmla="*/ 72 w 96"/>
              <a:gd name="T43" fmla="*/ 54 h 78"/>
              <a:gd name="T44" fmla="*/ 60 w 96"/>
              <a:gd name="T45" fmla="*/ 54 h 78"/>
              <a:gd name="T46" fmla="*/ 60 w 96"/>
              <a:gd name="T47" fmla="*/ 54 h 78"/>
              <a:gd name="T48" fmla="*/ 60 w 96"/>
              <a:gd name="T49" fmla="*/ 54 h 78"/>
              <a:gd name="T50" fmla="*/ 60 w 96"/>
              <a:gd name="T51" fmla="*/ 48 h 78"/>
              <a:gd name="T52" fmla="*/ 60 w 96"/>
              <a:gd name="T53" fmla="*/ 48 h 78"/>
              <a:gd name="T54" fmla="*/ 60 w 96"/>
              <a:gd name="T55" fmla="*/ 48 h 78"/>
              <a:gd name="T56" fmla="*/ 60 w 96"/>
              <a:gd name="T57" fmla="*/ 54 h 78"/>
              <a:gd name="T58" fmla="*/ 60 w 96"/>
              <a:gd name="T59" fmla="*/ 54 h 78"/>
              <a:gd name="T60" fmla="*/ 54 w 96"/>
              <a:gd name="T61" fmla="*/ 54 h 78"/>
              <a:gd name="T62" fmla="*/ 54 w 96"/>
              <a:gd name="T63" fmla="*/ 54 h 78"/>
              <a:gd name="T64" fmla="*/ 48 w 96"/>
              <a:gd name="T65" fmla="*/ 54 h 78"/>
              <a:gd name="T66" fmla="*/ 48 w 96"/>
              <a:gd name="T67" fmla="*/ 54 h 78"/>
              <a:gd name="T68" fmla="*/ 48 w 96"/>
              <a:gd name="T69" fmla="*/ 54 h 78"/>
              <a:gd name="T70" fmla="*/ 48 w 96"/>
              <a:gd name="T71" fmla="*/ 60 h 78"/>
              <a:gd name="T72" fmla="*/ 48 w 96"/>
              <a:gd name="T73" fmla="*/ 66 h 78"/>
              <a:gd name="T74" fmla="*/ 48 w 96"/>
              <a:gd name="T75" fmla="*/ 72 h 78"/>
              <a:gd name="T76" fmla="*/ 48 w 96"/>
              <a:gd name="T77" fmla="*/ 78 h 78"/>
              <a:gd name="T78" fmla="*/ 42 w 96"/>
              <a:gd name="T79" fmla="*/ 72 h 78"/>
              <a:gd name="T80" fmla="*/ 36 w 96"/>
              <a:gd name="T81" fmla="*/ 72 h 78"/>
              <a:gd name="T82" fmla="*/ 36 w 96"/>
              <a:gd name="T83" fmla="*/ 72 h 78"/>
              <a:gd name="T84" fmla="*/ 24 w 96"/>
              <a:gd name="T85" fmla="*/ 78 h 78"/>
              <a:gd name="T86" fmla="*/ 18 w 96"/>
              <a:gd name="T87" fmla="*/ 72 h 78"/>
              <a:gd name="T88" fmla="*/ 18 w 96"/>
              <a:gd name="T89" fmla="*/ 72 h 78"/>
              <a:gd name="T90" fmla="*/ 12 w 96"/>
              <a:gd name="T91" fmla="*/ 72 h 78"/>
              <a:gd name="T92" fmla="*/ 12 w 96"/>
              <a:gd name="T93" fmla="*/ 66 h 78"/>
              <a:gd name="T94" fmla="*/ 6 w 96"/>
              <a:gd name="T95" fmla="*/ 66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96" h="78">
                <a:moveTo>
                  <a:pt x="0" y="60"/>
                </a:move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12" y="60"/>
                </a:lnTo>
                <a:lnTo>
                  <a:pt x="12" y="54"/>
                </a:lnTo>
                <a:lnTo>
                  <a:pt x="6" y="54"/>
                </a:lnTo>
                <a:lnTo>
                  <a:pt x="6" y="54"/>
                </a:lnTo>
                <a:lnTo>
                  <a:pt x="6" y="48"/>
                </a:lnTo>
                <a:lnTo>
                  <a:pt x="6" y="48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0"/>
                </a:lnTo>
                <a:lnTo>
                  <a:pt x="12" y="30"/>
                </a:lnTo>
                <a:lnTo>
                  <a:pt x="18" y="24"/>
                </a:lnTo>
                <a:lnTo>
                  <a:pt x="24" y="18"/>
                </a:lnTo>
                <a:lnTo>
                  <a:pt x="24" y="18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0"/>
                </a:lnTo>
                <a:lnTo>
                  <a:pt x="30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42" y="0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78" y="12"/>
                </a:lnTo>
                <a:lnTo>
                  <a:pt x="78" y="18"/>
                </a:lnTo>
                <a:lnTo>
                  <a:pt x="90" y="18"/>
                </a:lnTo>
                <a:lnTo>
                  <a:pt x="90" y="18"/>
                </a:lnTo>
                <a:lnTo>
                  <a:pt x="96" y="12"/>
                </a:lnTo>
                <a:lnTo>
                  <a:pt x="90" y="18"/>
                </a:lnTo>
                <a:lnTo>
                  <a:pt x="96" y="24"/>
                </a:lnTo>
                <a:lnTo>
                  <a:pt x="96" y="36"/>
                </a:lnTo>
                <a:lnTo>
                  <a:pt x="90" y="42"/>
                </a:lnTo>
                <a:lnTo>
                  <a:pt x="90" y="54"/>
                </a:lnTo>
                <a:lnTo>
                  <a:pt x="90" y="54"/>
                </a:lnTo>
                <a:lnTo>
                  <a:pt x="84" y="54"/>
                </a:lnTo>
                <a:lnTo>
                  <a:pt x="84" y="48"/>
                </a:lnTo>
                <a:lnTo>
                  <a:pt x="72" y="48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48"/>
                </a:lnTo>
                <a:lnTo>
                  <a:pt x="60" y="54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2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8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8"/>
                </a:lnTo>
                <a:lnTo>
                  <a:pt x="30" y="78"/>
                </a:lnTo>
                <a:lnTo>
                  <a:pt x="30" y="78"/>
                </a:lnTo>
                <a:lnTo>
                  <a:pt x="24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66"/>
                </a:lnTo>
                <a:lnTo>
                  <a:pt x="12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0" y="6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11" name="Freeform 144"/>
          <p:cNvSpPr>
            <a:spLocks/>
          </p:cNvSpPr>
          <p:nvPr/>
        </p:nvSpPr>
        <p:spPr bwMode="auto">
          <a:xfrm>
            <a:off x="8669860" y="1899419"/>
            <a:ext cx="89937" cy="115634"/>
          </a:xfrm>
          <a:custGeom>
            <a:avLst/>
            <a:gdLst>
              <a:gd name="T0" fmla="*/ 24 w 84"/>
              <a:gd name="T1" fmla="*/ 0 h 108"/>
              <a:gd name="T2" fmla="*/ 54 w 84"/>
              <a:gd name="T3" fmla="*/ 0 h 108"/>
              <a:gd name="T4" fmla="*/ 60 w 84"/>
              <a:gd name="T5" fmla="*/ 0 h 108"/>
              <a:gd name="T6" fmla="*/ 60 w 84"/>
              <a:gd name="T7" fmla="*/ 0 h 108"/>
              <a:gd name="T8" fmla="*/ 66 w 84"/>
              <a:gd name="T9" fmla="*/ 0 h 108"/>
              <a:gd name="T10" fmla="*/ 60 w 84"/>
              <a:gd name="T11" fmla="*/ 12 h 108"/>
              <a:gd name="T12" fmla="*/ 60 w 84"/>
              <a:gd name="T13" fmla="*/ 12 h 108"/>
              <a:gd name="T14" fmla="*/ 54 w 84"/>
              <a:gd name="T15" fmla="*/ 30 h 108"/>
              <a:gd name="T16" fmla="*/ 54 w 84"/>
              <a:gd name="T17" fmla="*/ 42 h 108"/>
              <a:gd name="T18" fmla="*/ 78 w 84"/>
              <a:gd name="T19" fmla="*/ 36 h 108"/>
              <a:gd name="T20" fmla="*/ 72 w 84"/>
              <a:gd name="T21" fmla="*/ 42 h 108"/>
              <a:gd name="T22" fmla="*/ 78 w 84"/>
              <a:gd name="T23" fmla="*/ 42 h 108"/>
              <a:gd name="T24" fmla="*/ 78 w 84"/>
              <a:gd name="T25" fmla="*/ 42 h 108"/>
              <a:gd name="T26" fmla="*/ 84 w 84"/>
              <a:gd name="T27" fmla="*/ 42 h 108"/>
              <a:gd name="T28" fmla="*/ 84 w 84"/>
              <a:gd name="T29" fmla="*/ 48 h 108"/>
              <a:gd name="T30" fmla="*/ 84 w 84"/>
              <a:gd name="T31" fmla="*/ 48 h 108"/>
              <a:gd name="T32" fmla="*/ 84 w 84"/>
              <a:gd name="T33" fmla="*/ 54 h 108"/>
              <a:gd name="T34" fmla="*/ 78 w 84"/>
              <a:gd name="T35" fmla="*/ 60 h 108"/>
              <a:gd name="T36" fmla="*/ 84 w 84"/>
              <a:gd name="T37" fmla="*/ 60 h 108"/>
              <a:gd name="T38" fmla="*/ 78 w 84"/>
              <a:gd name="T39" fmla="*/ 78 h 108"/>
              <a:gd name="T40" fmla="*/ 78 w 84"/>
              <a:gd name="T41" fmla="*/ 84 h 108"/>
              <a:gd name="T42" fmla="*/ 84 w 84"/>
              <a:gd name="T43" fmla="*/ 90 h 108"/>
              <a:gd name="T44" fmla="*/ 84 w 84"/>
              <a:gd name="T45" fmla="*/ 96 h 108"/>
              <a:gd name="T46" fmla="*/ 78 w 84"/>
              <a:gd name="T47" fmla="*/ 102 h 108"/>
              <a:gd name="T48" fmla="*/ 72 w 84"/>
              <a:gd name="T49" fmla="*/ 102 h 108"/>
              <a:gd name="T50" fmla="*/ 66 w 84"/>
              <a:gd name="T51" fmla="*/ 102 h 108"/>
              <a:gd name="T52" fmla="*/ 66 w 84"/>
              <a:gd name="T53" fmla="*/ 102 h 108"/>
              <a:gd name="T54" fmla="*/ 66 w 84"/>
              <a:gd name="T55" fmla="*/ 102 h 108"/>
              <a:gd name="T56" fmla="*/ 60 w 84"/>
              <a:gd name="T57" fmla="*/ 102 h 108"/>
              <a:gd name="T58" fmla="*/ 60 w 84"/>
              <a:gd name="T59" fmla="*/ 102 h 108"/>
              <a:gd name="T60" fmla="*/ 54 w 84"/>
              <a:gd name="T61" fmla="*/ 102 h 108"/>
              <a:gd name="T62" fmla="*/ 54 w 84"/>
              <a:gd name="T63" fmla="*/ 102 h 108"/>
              <a:gd name="T64" fmla="*/ 54 w 84"/>
              <a:gd name="T65" fmla="*/ 102 h 108"/>
              <a:gd name="T66" fmla="*/ 54 w 84"/>
              <a:gd name="T67" fmla="*/ 102 h 108"/>
              <a:gd name="T68" fmla="*/ 48 w 84"/>
              <a:gd name="T69" fmla="*/ 102 h 108"/>
              <a:gd name="T70" fmla="*/ 48 w 84"/>
              <a:gd name="T71" fmla="*/ 96 h 108"/>
              <a:gd name="T72" fmla="*/ 42 w 84"/>
              <a:gd name="T73" fmla="*/ 96 h 108"/>
              <a:gd name="T74" fmla="*/ 36 w 84"/>
              <a:gd name="T75" fmla="*/ 96 h 108"/>
              <a:gd name="T76" fmla="*/ 36 w 84"/>
              <a:gd name="T77" fmla="*/ 90 h 108"/>
              <a:gd name="T78" fmla="*/ 36 w 84"/>
              <a:gd name="T79" fmla="*/ 90 h 108"/>
              <a:gd name="T80" fmla="*/ 36 w 84"/>
              <a:gd name="T81" fmla="*/ 84 h 108"/>
              <a:gd name="T82" fmla="*/ 36 w 84"/>
              <a:gd name="T83" fmla="*/ 78 h 108"/>
              <a:gd name="T84" fmla="*/ 42 w 84"/>
              <a:gd name="T85" fmla="*/ 78 h 108"/>
              <a:gd name="T86" fmla="*/ 36 w 84"/>
              <a:gd name="T87" fmla="*/ 66 h 108"/>
              <a:gd name="T88" fmla="*/ 36 w 84"/>
              <a:gd name="T89" fmla="*/ 60 h 108"/>
              <a:gd name="T90" fmla="*/ 30 w 84"/>
              <a:gd name="T91" fmla="*/ 60 h 108"/>
              <a:gd name="T92" fmla="*/ 18 w 84"/>
              <a:gd name="T93" fmla="*/ 54 h 108"/>
              <a:gd name="T94" fmla="*/ 24 w 84"/>
              <a:gd name="T95" fmla="*/ 36 h 108"/>
              <a:gd name="T96" fmla="*/ 12 w 84"/>
              <a:gd name="T97" fmla="*/ 24 h 108"/>
              <a:gd name="T98" fmla="*/ 6 w 84"/>
              <a:gd name="T99" fmla="*/ 6 h 108"/>
              <a:gd name="T100" fmla="*/ 0 w 84"/>
              <a:gd name="T101" fmla="*/ 6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84" h="108">
                <a:moveTo>
                  <a:pt x="0" y="0"/>
                </a:moveTo>
                <a:lnTo>
                  <a:pt x="12" y="0"/>
                </a:lnTo>
                <a:lnTo>
                  <a:pt x="24" y="0"/>
                </a:lnTo>
                <a:lnTo>
                  <a:pt x="42" y="0"/>
                </a:lnTo>
                <a:lnTo>
                  <a:pt x="42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54" y="24"/>
                </a:lnTo>
                <a:lnTo>
                  <a:pt x="48" y="30"/>
                </a:lnTo>
                <a:lnTo>
                  <a:pt x="54" y="30"/>
                </a:lnTo>
                <a:lnTo>
                  <a:pt x="54" y="36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2" y="42"/>
                </a:lnTo>
                <a:lnTo>
                  <a:pt x="72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84" y="60"/>
                </a:lnTo>
                <a:lnTo>
                  <a:pt x="84" y="66"/>
                </a:lnTo>
                <a:lnTo>
                  <a:pt x="78" y="72"/>
                </a:lnTo>
                <a:lnTo>
                  <a:pt x="78" y="78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6"/>
                </a:lnTo>
                <a:lnTo>
                  <a:pt x="84" y="96"/>
                </a:lnTo>
                <a:lnTo>
                  <a:pt x="84" y="102"/>
                </a:lnTo>
                <a:lnTo>
                  <a:pt x="78" y="108"/>
                </a:lnTo>
                <a:lnTo>
                  <a:pt x="78" y="102"/>
                </a:lnTo>
                <a:lnTo>
                  <a:pt x="78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54" y="96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96"/>
                </a:lnTo>
                <a:lnTo>
                  <a:pt x="48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78"/>
                </a:lnTo>
                <a:lnTo>
                  <a:pt x="36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36" y="72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54"/>
                </a:lnTo>
                <a:lnTo>
                  <a:pt x="30" y="54"/>
                </a:lnTo>
                <a:lnTo>
                  <a:pt x="18" y="54"/>
                </a:lnTo>
                <a:lnTo>
                  <a:pt x="18" y="48"/>
                </a:lnTo>
                <a:lnTo>
                  <a:pt x="18" y="42"/>
                </a:lnTo>
                <a:lnTo>
                  <a:pt x="24" y="36"/>
                </a:lnTo>
                <a:lnTo>
                  <a:pt x="18" y="30"/>
                </a:lnTo>
                <a:lnTo>
                  <a:pt x="12" y="24"/>
                </a:lnTo>
                <a:lnTo>
                  <a:pt x="12" y="24"/>
                </a:lnTo>
                <a:lnTo>
                  <a:pt x="6" y="12"/>
                </a:lnTo>
                <a:lnTo>
                  <a:pt x="0" y="12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0" y="6"/>
                </a:lnTo>
                <a:lnTo>
                  <a:pt x="0" y="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12" name="Freeform 145"/>
          <p:cNvSpPr>
            <a:spLocks/>
          </p:cNvSpPr>
          <p:nvPr/>
        </p:nvSpPr>
        <p:spPr bwMode="auto">
          <a:xfrm>
            <a:off x="8560651" y="1803057"/>
            <a:ext cx="115633" cy="51393"/>
          </a:xfrm>
          <a:custGeom>
            <a:avLst/>
            <a:gdLst>
              <a:gd name="T0" fmla="*/ 0 w 108"/>
              <a:gd name="T1" fmla="*/ 18 h 48"/>
              <a:gd name="T2" fmla="*/ 0 w 108"/>
              <a:gd name="T3" fmla="*/ 18 h 48"/>
              <a:gd name="T4" fmla="*/ 0 w 108"/>
              <a:gd name="T5" fmla="*/ 18 h 48"/>
              <a:gd name="T6" fmla="*/ 0 w 108"/>
              <a:gd name="T7" fmla="*/ 12 h 48"/>
              <a:gd name="T8" fmla="*/ 0 w 108"/>
              <a:gd name="T9" fmla="*/ 12 h 48"/>
              <a:gd name="T10" fmla="*/ 6 w 108"/>
              <a:gd name="T11" fmla="*/ 12 h 48"/>
              <a:gd name="T12" fmla="*/ 0 w 108"/>
              <a:gd name="T13" fmla="*/ 12 h 48"/>
              <a:gd name="T14" fmla="*/ 0 w 108"/>
              <a:gd name="T15" fmla="*/ 12 h 48"/>
              <a:gd name="T16" fmla="*/ 6 w 108"/>
              <a:gd name="T17" fmla="*/ 6 h 48"/>
              <a:gd name="T18" fmla="*/ 6 w 108"/>
              <a:gd name="T19" fmla="*/ 6 h 48"/>
              <a:gd name="T20" fmla="*/ 6 w 108"/>
              <a:gd name="T21" fmla="*/ 6 h 48"/>
              <a:gd name="T22" fmla="*/ 12 w 108"/>
              <a:gd name="T23" fmla="*/ 6 h 48"/>
              <a:gd name="T24" fmla="*/ 18 w 108"/>
              <a:gd name="T25" fmla="*/ 6 h 48"/>
              <a:gd name="T26" fmla="*/ 18 w 108"/>
              <a:gd name="T27" fmla="*/ 6 h 48"/>
              <a:gd name="T28" fmla="*/ 18 w 108"/>
              <a:gd name="T29" fmla="*/ 6 h 48"/>
              <a:gd name="T30" fmla="*/ 24 w 108"/>
              <a:gd name="T31" fmla="*/ 6 h 48"/>
              <a:gd name="T32" fmla="*/ 30 w 108"/>
              <a:gd name="T33" fmla="*/ 6 h 48"/>
              <a:gd name="T34" fmla="*/ 42 w 108"/>
              <a:gd name="T35" fmla="*/ 6 h 48"/>
              <a:gd name="T36" fmla="*/ 48 w 108"/>
              <a:gd name="T37" fmla="*/ 6 h 48"/>
              <a:gd name="T38" fmla="*/ 54 w 108"/>
              <a:gd name="T39" fmla="*/ 6 h 48"/>
              <a:gd name="T40" fmla="*/ 54 w 108"/>
              <a:gd name="T41" fmla="*/ 12 h 48"/>
              <a:gd name="T42" fmla="*/ 60 w 108"/>
              <a:gd name="T43" fmla="*/ 6 h 48"/>
              <a:gd name="T44" fmla="*/ 60 w 108"/>
              <a:gd name="T45" fmla="*/ 6 h 48"/>
              <a:gd name="T46" fmla="*/ 78 w 108"/>
              <a:gd name="T47" fmla="*/ 12 h 48"/>
              <a:gd name="T48" fmla="*/ 84 w 108"/>
              <a:gd name="T49" fmla="*/ 6 h 48"/>
              <a:gd name="T50" fmla="*/ 90 w 108"/>
              <a:gd name="T51" fmla="*/ 6 h 48"/>
              <a:gd name="T52" fmla="*/ 96 w 108"/>
              <a:gd name="T53" fmla="*/ 6 h 48"/>
              <a:gd name="T54" fmla="*/ 96 w 108"/>
              <a:gd name="T55" fmla="*/ 0 h 48"/>
              <a:gd name="T56" fmla="*/ 102 w 108"/>
              <a:gd name="T57" fmla="*/ 0 h 48"/>
              <a:gd name="T58" fmla="*/ 102 w 108"/>
              <a:gd name="T59" fmla="*/ 30 h 48"/>
              <a:gd name="T60" fmla="*/ 84 w 108"/>
              <a:gd name="T61" fmla="*/ 30 h 48"/>
              <a:gd name="T62" fmla="*/ 78 w 108"/>
              <a:gd name="T63" fmla="*/ 30 h 48"/>
              <a:gd name="T64" fmla="*/ 48 w 108"/>
              <a:gd name="T65" fmla="*/ 30 h 48"/>
              <a:gd name="T66" fmla="*/ 48 w 108"/>
              <a:gd name="T67" fmla="*/ 36 h 48"/>
              <a:gd name="T68" fmla="*/ 42 w 108"/>
              <a:gd name="T69" fmla="*/ 42 h 48"/>
              <a:gd name="T70" fmla="*/ 30 w 108"/>
              <a:gd name="T71" fmla="*/ 48 h 48"/>
              <a:gd name="T72" fmla="*/ 24 w 108"/>
              <a:gd name="T73" fmla="*/ 36 h 48"/>
              <a:gd name="T74" fmla="*/ 24 w 108"/>
              <a:gd name="T75" fmla="*/ 30 h 48"/>
              <a:gd name="T76" fmla="*/ 24 w 108"/>
              <a:gd name="T77" fmla="*/ 30 h 48"/>
              <a:gd name="T78" fmla="*/ 24 w 108"/>
              <a:gd name="T79" fmla="*/ 30 h 48"/>
              <a:gd name="T80" fmla="*/ 24 w 108"/>
              <a:gd name="T81" fmla="*/ 24 h 48"/>
              <a:gd name="T82" fmla="*/ 24 w 108"/>
              <a:gd name="T83" fmla="*/ 24 h 48"/>
              <a:gd name="T84" fmla="*/ 18 w 108"/>
              <a:gd name="T85" fmla="*/ 24 h 48"/>
              <a:gd name="T86" fmla="*/ 0 w 108"/>
              <a:gd name="T87" fmla="*/ 18 h 48"/>
              <a:gd name="T88" fmla="*/ 0 w 108"/>
              <a:gd name="T89" fmla="*/ 18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08" h="48">
                <a:moveTo>
                  <a:pt x="0" y="18"/>
                </a:move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6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12" y="6"/>
                </a:lnTo>
                <a:lnTo>
                  <a:pt x="12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54" y="12"/>
                </a:lnTo>
                <a:lnTo>
                  <a:pt x="54" y="12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6" y="12"/>
                </a:lnTo>
                <a:lnTo>
                  <a:pt x="78" y="12"/>
                </a:lnTo>
                <a:lnTo>
                  <a:pt x="78" y="6"/>
                </a:lnTo>
                <a:lnTo>
                  <a:pt x="84" y="6"/>
                </a:lnTo>
                <a:lnTo>
                  <a:pt x="84" y="6"/>
                </a:lnTo>
                <a:lnTo>
                  <a:pt x="90" y="6"/>
                </a:lnTo>
                <a:lnTo>
                  <a:pt x="90" y="6"/>
                </a:lnTo>
                <a:lnTo>
                  <a:pt x="96" y="6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102" y="0"/>
                </a:lnTo>
                <a:lnTo>
                  <a:pt x="108" y="6"/>
                </a:lnTo>
                <a:lnTo>
                  <a:pt x="102" y="30"/>
                </a:lnTo>
                <a:lnTo>
                  <a:pt x="96" y="30"/>
                </a:lnTo>
                <a:lnTo>
                  <a:pt x="84" y="30"/>
                </a:lnTo>
                <a:lnTo>
                  <a:pt x="78" y="30"/>
                </a:lnTo>
                <a:lnTo>
                  <a:pt x="78" y="30"/>
                </a:lnTo>
                <a:lnTo>
                  <a:pt x="60" y="36"/>
                </a:lnTo>
                <a:lnTo>
                  <a:pt x="48" y="30"/>
                </a:lnTo>
                <a:lnTo>
                  <a:pt x="48" y="30"/>
                </a:lnTo>
                <a:lnTo>
                  <a:pt x="48" y="36"/>
                </a:lnTo>
                <a:lnTo>
                  <a:pt x="48" y="36"/>
                </a:lnTo>
                <a:lnTo>
                  <a:pt x="42" y="42"/>
                </a:lnTo>
                <a:lnTo>
                  <a:pt x="42" y="42"/>
                </a:lnTo>
                <a:lnTo>
                  <a:pt x="30" y="48"/>
                </a:lnTo>
                <a:lnTo>
                  <a:pt x="30" y="36"/>
                </a:lnTo>
                <a:lnTo>
                  <a:pt x="24" y="36"/>
                </a:lnTo>
                <a:lnTo>
                  <a:pt x="24" y="36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18" y="24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13" name="Freeform 146"/>
          <p:cNvSpPr>
            <a:spLocks/>
          </p:cNvSpPr>
          <p:nvPr/>
        </p:nvSpPr>
        <p:spPr bwMode="auto">
          <a:xfrm>
            <a:off x="8457867" y="1957236"/>
            <a:ext cx="83513" cy="96361"/>
          </a:xfrm>
          <a:custGeom>
            <a:avLst/>
            <a:gdLst>
              <a:gd name="T0" fmla="*/ 0 w 78"/>
              <a:gd name="T1" fmla="*/ 72 h 90"/>
              <a:gd name="T2" fmla="*/ 0 w 78"/>
              <a:gd name="T3" fmla="*/ 66 h 90"/>
              <a:gd name="T4" fmla="*/ 0 w 78"/>
              <a:gd name="T5" fmla="*/ 66 h 90"/>
              <a:gd name="T6" fmla="*/ 0 w 78"/>
              <a:gd name="T7" fmla="*/ 60 h 90"/>
              <a:gd name="T8" fmla="*/ 0 w 78"/>
              <a:gd name="T9" fmla="*/ 54 h 90"/>
              <a:gd name="T10" fmla="*/ 0 w 78"/>
              <a:gd name="T11" fmla="*/ 54 h 90"/>
              <a:gd name="T12" fmla="*/ 0 w 78"/>
              <a:gd name="T13" fmla="*/ 54 h 90"/>
              <a:gd name="T14" fmla="*/ 6 w 78"/>
              <a:gd name="T15" fmla="*/ 54 h 90"/>
              <a:gd name="T16" fmla="*/ 6 w 78"/>
              <a:gd name="T17" fmla="*/ 54 h 90"/>
              <a:gd name="T18" fmla="*/ 12 w 78"/>
              <a:gd name="T19" fmla="*/ 48 h 90"/>
              <a:gd name="T20" fmla="*/ 12 w 78"/>
              <a:gd name="T21" fmla="*/ 42 h 90"/>
              <a:gd name="T22" fmla="*/ 12 w 78"/>
              <a:gd name="T23" fmla="*/ 36 h 90"/>
              <a:gd name="T24" fmla="*/ 12 w 78"/>
              <a:gd name="T25" fmla="*/ 36 h 90"/>
              <a:gd name="T26" fmla="*/ 12 w 78"/>
              <a:gd name="T27" fmla="*/ 36 h 90"/>
              <a:gd name="T28" fmla="*/ 12 w 78"/>
              <a:gd name="T29" fmla="*/ 30 h 90"/>
              <a:gd name="T30" fmla="*/ 12 w 78"/>
              <a:gd name="T31" fmla="*/ 24 h 90"/>
              <a:gd name="T32" fmla="*/ 18 w 78"/>
              <a:gd name="T33" fmla="*/ 24 h 90"/>
              <a:gd name="T34" fmla="*/ 18 w 78"/>
              <a:gd name="T35" fmla="*/ 24 h 90"/>
              <a:gd name="T36" fmla="*/ 24 w 78"/>
              <a:gd name="T37" fmla="*/ 18 h 90"/>
              <a:gd name="T38" fmla="*/ 24 w 78"/>
              <a:gd name="T39" fmla="*/ 18 h 90"/>
              <a:gd name="T40" fmla="*/ 30 w 78"/>
              <a:gd name="T41" fmla="*/ 12 h 90"/>
              <a:gd name="T42" fmla="*/ 30 w 78"/>
              <a:gd name="T43" fmla="*/ 12 h 90"/>
              <a:gd name="T44" fmla="*/ 36 w 78"/>
              <a:gd name="T45" fmla="*/ 12 h 90"/>
              <a:gd name="T46" fmla="*/ 36 w 78"/>
              <a:gd name="T47" fmla="*/ 6 h 90"/>
              <a:gd name="T48" fmla="*/ 42 w 78"/>
              <a:gd name="T49" fmla="*/ 6 h 90"/>
              <a:gd name="T50" fmla="*/ 42 w 78"/>
              <a:gd name="T51" fmla="*/ 0 h 90"/>
              <a:gd name="T52" fmla="*/ 42 w 78"/>
              <a:gd name="T53" fmla="*/ 6 h 90"/>
              <a:gd name="T54" fmla="*/ 42 w 78"/>
              <a:gd name="T55" fmla="*/ 6 h 90"/>
              <a:gd name="T56" fmla="*/ 42 w 78"/>
              <a:gd name="T57" fmla="*/ 6 h 90"/>
              <a:gd name="T58" fmla="*/ 48 w 78"/>
              <a:gd name="T59" fmla="*/ 12 h 90"/>
              <a:gd name="T60" fmla="*/ 48 w 78"/>
              <a:gd name="T61" fmla="*/ 12 h 90"/>
              <a:gd name="T62" fmla="*/ 54 w 78"/>
              <a:gd name="T63" fmla="*/ 12 h 90"/>
              <a:gd name="T64" fmla="*/ 54 w 78"/>
              <a:gd name="T65" fmla="*/ 12 h 90"/>
              <a:gd name="T66" fmla="*/ 54 w 78"/>
              <a:gd name="T67" fmla="*/ 12 h 90"/>
              <a:gd name="T68" fmla="*/ 60 w 78"/>
              <a:gd name="T69" fmla="*/ 12 h 90"/>
              <a:gd name="T70" fmla="*/ 66 w 78"/>
              <a:gd name="T71" fmla="*/ 6 h 90"/>
              <a:gd name="T72" fmla="*/ 72 w 78"/>
              <a:gd name="T73" fmla="*/ 12 h 90"/>
              <a:gd name="T74" fmla="*/ 72 w 78"/>
              <a:gd name="T75" fmla="*/ 12 h 90"/>
              <a:gd name="T76" fmla="*/ 78 w 78"/>
              <a:gd name="T77" fmla="*/ 12 h 90"/>
              <a:gd name="T78" fmla="*/ 72 w 78"/>
              <a:gd name="T79" fmla="*/ 18 h 90"/>
              <a:gd name="T80" fmla="*/ 72 w 78"/>
              <a:gd name="T81" fmla="*/ 18 h 90"/>
              <a:gd name="T82" fmla="*/ 72 w 78"/>
              <a:gd name="T83" fmla="*/ 24 h 90"/>
              <a:gd name="T84" fmla="*/ 78 w 78"/>
              <a:gd name="T85" fmla="*/ 30 h 90"/>
              <a:gd name="T86" fmla="*/ 78 w 78"/>
              <a:gd name="T87" fmla="*/ 36 h 90"/>
              <a:gd name="T88" fmla="*/ 66 w 78"/>
              <a:gd name="T89" fmla="*/ 48 h 90"/>
              <a:gd name="T90" fmla="*/ 66 w 78"/>
              <a:gd name="T91" fmla="*/ 48 h 90"/>
              <a:gd name="T92" fmla="*/ 72 w 78"/>
              <a:gd name="T93" fmla="*/ 54 h 90"/>
              <a:gd name="T94" fmla="*/ 72 w 78"/>
              <a:gd name="T95" fmla="*/ 60 h 90"/>
              <a:gd name="T96" fmla="*/ 66 w 78"/>
              <a:gd name="T97" fmla="*/ 66 h 90"/>
              <a:gd name="T98" fmla="*/ 60 w 78"/>
              <a:gd name="T99" fmla="*/ 78 h 90"/>
              <a:gd name="T100" fmla="*/ 54 w 78"/>
              <a:gd name="T101" fmla="*/ 78 h 90"/>
              <a:gd name="T102" fmla="*/ 54 w 78"/>
              <a:gd name="T103" fmla="*/ 84 h 90"/>
              <a:gd name="T104" fmla="*/ 48 w 78"/>
              <a:gd name="T105" fmla="*/ 84 h 90"/>
              <a:gd name="T106" fmla="*/ 36 w 78"/>
              <a:gd name="T107" fmla="*/ 90 h 90"/>
              <a:gd name="T108" fmla="*/ 30 w 78"/>
              <a:gd name="T109" fmla="*/ 90 h 90"/>
              <a:gd name="T110" fmla="*/ 30 w 78"/>
              <a:gd name="T111" fmla="*/ 84 h 90"/>
              <a:gd name="T112" fmla="*/ 24 w 78"/>
              <a:gd name="T113" fmla="*/ 84 h 90"/>
              <a:gd name="T114" fmla="*/ 30 w 78"/>
              <a:gd name="T115" fmla="*/ 78 h 90"/>
              <a:gd name="T116" fmla="*/ 24 w 78"/>
              <a:gd name="T117" fmla="*/ 78 h 90"/>
              <a:gd name="T118" fmla="*/ 24 w 78"/>
              <a:gd name="T119" fmla="*/ 72 h 90"/>
              <a:gd name="T120" fmla="*/ 12 w 78"/>
              <a:gd name="T121" fmla="*/ 72 h 90"/>
              <a:gd name="T122" fmla="*/ 0 w 78"/>
              <a:gd name="T123" fmla="*/ 78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8" h="90">
                <a:moveTo>
                  <a:pt x="0" y="78"/>
                </a:moveTo>
                <a:lnTo>
                  <a:pt x="0" y="72"/>
                </a:lnTo>
                <a:lnTo>
                  <a:pt x="0" y="72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6" y="12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0"/>
                </a:lnTo>
                <a:lnTo>
                  <a:pt x="42" y="0"/>
                </a:lnTo>
                <a:lnTo>
                  <a:pt x="48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2" y="6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6" y="12"/>
                </a:lnTo>
                <a:lnTo>
                  <a:pt x="66" y="6"/>
                </a:lnTo>
                <a:lnTo>
                  <a:pt x="66" y="6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8" y="12"/>
                </a:lnTo>
                <a:lnTo>
                  <a:pt x="78" y="12"/>
                </a:lnTo>
                <a:lnTo>
                  <a:pt x="72" y="12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24"/>
                </a:lnTo>
                <a:lnTo>
                  <a:pt x="72" y="24"/>
                </a:lnTo>
                <a:lnTo>
                  <a:pt x="72" y="30"/>
                </a:lnTo>
                <a:lnTo>
                  <a:pt x="78" y="30"/>
                </a:lnTo>
                <a:lnTo>
                  <a:pt x="78" y="30"/>
                </a:lnTo>
                <a:lnTo>
                  <a:pt x="78" y="36"/>
                </a:lnTo>
                <a:lnTo>
                  <a:pt x="78" y="36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54"/>
                </a:lnTo>
                <a:lnTo>
                  <a:pt x="72" y="54"/>
                </a:lnTo>
                <a:lnTo>
                  <a:pt x="66" y="60"/>
                </a:lnTo>
                <a:lnTo>
                  <a:pt x="72" y="60"/>
                </a:lnTo>
                <a:lnTo>
                  <a:pt x="72" y="60"/>
                </a:lnTo>
                <a:lnTo>
                  <a:pt x="66" y="66"/>
                </a:lnTo>
                <a:lnTo>
                  <a:pt x="66" y="66"/>
                </a:lnTo>
                <a:lnTo>
                  <a:pt x="60" y="78"/>
                </a:lnTo>
                <a:lnTo>
                  <a:pt x="60" y="78"/>
                </a:lnTo>
                <a:lnTo>
                  <a:pt x="54" y="78"/>
                </a:lnTo>
                <a:lnTo>
                  <a:pt x="54" y="78"/>
                </a:lnTo>
                <a:lnTo>
                  <a:pt x="54" y="84"/>
                </a:lnTo>
                <a:lnTo>
                  <a:pt x="48" y="84"/>
                </a:lnTo>
                <a:lnTo>
                  <a:pt x="48" y="84"/>
                </a:lnTo>
                <a:lnTo>
                  <a:pt x="42" y="84"/>
                </a:lnTo>
                <a:lnTo>
                  <a:pt x="36" y="90"/>
                </a:lnTo>
                <a:lnTo>
                  <a:pt x="30" y="90"/>
                </a:lnTo>
                <a:lnTo>
                  <a:pt x="30" y="90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24" y="84"/>
                </a:lnTo>
                <a:lnTo>
                  <a:pt x="30" y="84"/>
                </a:lnTo>
                <a:lnTo>
                  <a:pt x="30" y="78"/>
                </a:lnTo>
                <a:lnTo>
                  <a:pt x="24" y="78"/>
                </a:lnTo>
                <a:lnTo>
                  <a:pt x="24" y="78"/>
                </a:lnTo>
                <a:lnTo>
                  <a:pt x="24" y="72"/>
                </a:lnTo>
                <a:lnTo>
                  <a:pt x="24" y="72"/>
                </a:lnTo>
                <a:lnTo>
                  <a:pt x="18" y="72"/>
                </a:lnTo>
                <a:lnTo>
                  <a:pt x="12" y="72"/>
                </a:lnTo>
                <a:lnTo>
                  <a:pt x="12" y="72"/>
                </a:lnTo>
                <a:lnTo>
                  <a:pt x="0" y="7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14" name="Freeform 147"/>
          <p:cNvSpPr>
            <a:spLocks/>
          </p:cNvSpPr>
          <p:nvPr/>
        </p:nvSpPr>
        <p:spPr bwMode="auto">
          <a:xfrm>
            <a:off x="8721253" y="1860874"/>
            <a:ext cx="70665" cy="109210"/>
          </a:xfrm>
          <a:custGeom>
            <a:avLst/>
            <a:gdLst>
              <a:gd name="T0" fmla="*/ 12 w 66"/>
              <a:gd name="T1" fmla="*/ 48 h 102"/>
              <a:gd name="T2" fmla="*/ 12 w 66"/>
              <a:gd name="T3" fmla="*/ 48 h 102"/>
              <a:gd name="T4" fmla="*/ 18 w 66"/>
              <a:gd name="T5" fmla="*/ 36 h 102"/>
              <a:gd name="T6" fmla="*/ 12 w 66"/>
              <a:gd name="T7" fmla="*/ 36 h 102"/>
              <a:gd name="T8" fmla="*/ 12 w 66"/>
              <a:gd name="T9" fmla="*/ 36 h 102"/>
              <a:gd name="T10" fmla="*/ 6 w 66"/>
              <a:gd name="T11" fmla="*/ 30 h 102"/>
              <a:gd name="T12" fmla="*/ 6 w 66"/>
              <a:gd name="T13" fmla="*/ 18 h 102"/>
              <a:gd name="T14" fmla="*/ 12 w 66"/>
              <a:gd name="T15" fmla="*/ 6 h 102"/>
              <a:gd name="T16" fmla="*/ 18 w 66"/>
              <a:gd name="T17" fmla="*/ 6 h 102"/>
              <a:gd name="T18" fmla="*/ 18 w 66"/>
              <a:gd name="T19" fmla="*/ 6 h 102"/>
              <a:gd name="T20" fmla="*/ 24 w 66"/>
              <a:gd name="T21" fmla="*/ 0 h 102"/>
              <a:gd name="T22" fmla="*/ 30 w 66"/>
              <a:gd name="T23" fmla="*/ 6 h 102"/>
              <a:gd name="T24" fmla="*/ 36 w 66"/>
              <a:gd name="T25" fmla="*/ 6 h 102"/>
              <a:gd name="T26" fmla="*/ 36 w 66"/>
              <a:gd name="T27" fmla="*/ 6 h 102"/>
              <a:gd name="T28" fmla="*/ 42 w 66"/>
              <a:gd name="T29" fmla="*/ 6 h 102"/>
              <a:gd name="T30" fmla="*/ 42 w 66"/>
              <a:gd name="T31" fmla="*/ 6 h 102"/>
              <a:gd name="T32" fmla="*/ 42 w 66"/>
              <a:gd name="T33" fmla="*/ 12 h 102"/>
              <a:gd name="T34" fmla="*/ 42 w 66"/>
              <a:gd name="T35" fmla="*/ 12 h 102"/>
              <a:gd name="T36" fmla="*/ 48 w 66"/>
              <a:gd name="T37" fmla="*/ 18 h 102"/>
              <a:gd name="T38" fmla="*/ 48 w 66"/>
              <a:gd name="T39" fmla="*/ 24 h 102"/>
              <a:gd name="T40" fmla="*/ 30 w 66"/>
              <a:gd name="T41" fmla="*/ 36 h 102"/>
              <a:gd name="T42" fmla="*/ 30 w 66"/>
              <a:gd name="T43" fmla="*/ 36 h 102"/>
              <a:gd name="T44" fmla="*/ 42 w 66"/>
              <a:gd name="T45" fmla="*/ 36 h 102"/>
              <a:gd name="T46" fmla="*/ 42 w 66"/>
              <a:gd name="T47" fmla="*/ 36 h 102"/>
              <a:gd name="T48" fmla="*/ 42 w 66"/>
              <a:gd name="T49" fmla="*/ 42 h 102"/>
              <a:gd name="T50" fmla="*/ 42 w 66"/>
              <a:gd name="T51" fmla="*/ 42 h 102"/>
              <a:gd name="T52" fmla="*/ 42 w 66"/>
              <a:gd name="T53" fmla="*/ 48 h 102"/>
              <a:gd name="T54" fmla="*/ 42 w 66"/>
              <a:gd name="T55" fmla="*/ 66 h 102"/>
              <a:gd name="T56" fmla="*/ 42 w 66"/>
              <a:gd name="T57" fmla="*/ 66 h 102"/>
              <a:gd name="T58" fmla="*/ 54 w 66"/>
              <a:gd name="T59" fmla="*/ 66 h 102"/>
              <a:gd name="T60" fmla="*/ 60 w 66"/>
              <a:gd name="T61" fmla="*/ 72 h 102"/>
              <a:gd name="T62" fmla="*/ 60 w 66"/>
              <a:gd name="T63" fmla="*/ 72 h 102"/>
              <a:gd name="T64" fmla="*/ 66 w 66"/>
              <a:gd name="T65" fmla="*/ 78 h 102"/>
              <a:gd name="T66" fmla="*/ 66 w 66"/>
              <a:gd name="T67" fmla="*/ 90 h 102"/>
              <a:gd name="T68" fmla="*/ 60 w 66"/>
              <a:gd name="T69" fmla="*/ 90 h 102"/>
              <a:gd name="T70" fmla="*/ 60 w 66"/>
              <a:gd name="T71" fmla="*/ 90 h 102"/>
              <a:gd name="T72" fmla="*/ 54 w 66"/>
              <a:gd name="T73" fmla="*/ 96 h 102"/>
              <a:gd name="T74" fmla="*/ 48 w 66"/>
              <a:gd name="T75" fmla="*/ 96 h 102"/>
              <a:gd name="T76" fmla="*/ 42 w 66"/>
              <a:gd name="T77" fmla="*/ 96 h 102"/>
              <a:gd name="T78" fmla="*/ 42 w 66"/>
              <a:gd name="T79" fmla="*/ 102 h 102"/>
              <a:gd name="T80" fmla="*/ 30 w 66"/>
              <a:gd name="T81" fmla="*/ 96 h 102"/>
              <a:gd name="T82" fmla="*/ 36 w 66"/>
              <a:gd name="T83" fmla="*/ 90 h 102"/>
              <a:gd name="T84" fmla="*/ 36 w 66"/>
              <a:gd name="T85" fmla="*/ 90 h 102"/>
              <a:gd name="T86" fmla="*/ 36 w 66"/>
              <a:gd name="T87" fmla="*/ 84 h 102"/>
              <a:gd name="T88" fmla="*/ 36 w 66"/>
              <a:gd name="T89" fmla="*/ 78 h 102"/>
              <a:gd name="T90" fmla="*/ 30 w 66"/>
              <a:gd name="T91" fmla="*/ 78 h 102"/>
              <a:gd name="T92" fmla="*/ 30 w 66"/>
              <a:gd name="T93" fmla="*/ 78 h 102"/>
              <a:gd name="T94" fmla="*/ 24 w 66"/>
              <a:gd name="T95" fmla="*/ 78 h 102"/>
              <a:gd name="T96" fmla="*/ 30 w 66"/>
              <a:gd name="T97" fmla="*/ 72 h 102"/>
              <a:gd name="T98" fmla="*/ 6 w 66"/>
              <a:gd name="T99" fmla="*/ 78 h 102"/>
              <a:gd name="T100" fmla="*/ 6 w 66"/>
              <a:gd name="T101" fmla="*/ 72 h 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66" h="102">
                <a:moveTo>
                  <a:pt x="0" y="66"/>
                </a:moveTo>
                <a:lnTo>
                  <a:pt x="6" y="60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8" y="48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12" y="30"/>
                </a:lnTo>
                <a:lnTo>
                  <a:pt x="12" y="30"/>
                </a:lnTo>
                <a:lnTo>
                  <a:pt x="6" y="18"/>
                </a:lnTo>
                <a:lnTo>
                  <a:pt x="12" y="12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24" y="0"/>
                </a:lnTo>
                <a:lnTo>
                  <a:pt x="24" y="0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24"/>
                </a:lnTo>
                <a:lnTo>
                  <a:pt x="42" y="24"/>
                </a:lnTo>
                <a:lnTo>
                  <a:pt x="36" y="30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6" y="36"/>
                </a:lnTo>
                <a:lnTo>
                  <a:pt x="36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36" y="36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54"/>
                </a:lnTo>
                <a:lnTo>
                  <a:pt x="36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8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8"/>
                </a:lnTo>
                <a:lnTo>
                  <a:pt x="60" y="78"/>
                </a:lnTo>
                <a:lnTo>
                  <a:pt x="66" y="78"/>
                </a:lnTo>
                <a:lnTo>
                  <a:pt x="66" y="78"/>
                </a:lnTo>
                <a:lnTo>
                  <a:pt x="66" y="84"/>
                </a:lnTo>
                <a:lnTo>
                  <a:pt x="66" y="90"/>
                </a:lnTo>
                <a:lnTo>
                  <a:pt x="66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54" y="90"/>
                </a:lnTo>
                <a:lnTo>
                  <a:pt x="54" y="90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102"/>
                </a:lnTo>
                <a:lnTo>
                  <a:pt x="36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24" y="78"/>
                </a:lnTo>
                <a:lnTo>
                  <a:pt x="24" y="78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2"/>
                </a:lnTo>
                <a:lnTo>
                  <a:pt x="6" y="66"/>
                </a:lnTo>
                <a:lnTo>
                  <a:pt x="0" y="6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15" name="Freeform 148"/>
          <p:cNvSpPr>
            <a:spLocks/>
          </p:cNvSpPr>
          <p:nvPr/>
        </p:nvSpPr>
        <p:spPr bwMode="auto">
          <a:xfrm>
            <a:off x="8753373" y="1886571"/>
            <a:ext cx="32120" cy="51393"/>
          </a:xfrm>
          <a:custGeom>
            <a:avLst/>
            <a:gdLst>
              <a:gd name="T0" fmla="*/ 0 w 30"/>
              <a:gd name="T1" fmla="*/ 12 h 48"/>
              <a:gd name="T2" fmla="*/ 6 w 30"/>
              <a:gd name="T3" fmla="*/ 6 h 48"/>
              <a:gd name="T4" fmla="*/ 12 w 30"/>
              <a:gd name="T5" fmla="*/ 0 h 48"/>
              <a:gd name="T6" fmla="*/ 18 w 30"/>
              <a:gd name="T7" fmla="*/ 0 h 48"/>
              <a:gd name="T8" fmla="*/ 18 w 30"/>
              <a:gd name="T9" fmla="*/ 0 h 48"/>
              <a:gd name="T10" fmla="*/ 18 w 30"/>
              <a:gd name="T11" fmla="*/ 0 h 48"/>
              <a:gd name="T12" fmla="*/ 18 w 30"/>
              <a:gd name="T13" fmla="*/ 6 h 48"/>
              <a:gd name="T14" fmla="*/ 18 w 30"/>
              <a:gd name="T15" fmla="*/ 6 h 48"/>
              <a:gd name="T16" fmla="*/ 18 w 30"/>
              <a:gd name="T17" fmla="*/ 6 h 48"/>
              <a:gd name="T18" fmla="*/ 18 w 30"/>
              <a:gd name="T19" fmla="*/ 6 h 48"/>
              <a:gd name="T20" fmla="*/ 24 w 30"/>
              <a:gd name="T21" fmla="*/ 12 h 48"/>
              <a:gd name="T22" fmla="*/ 18 w 30"/>
              <a:gd name="T23" fmla="*/ 18 h 48"/>
              <a:gd name="T24" fmla="*/ 18 w 30"/>
              <a:gd name="T25" fmla="*/ 18 h 48"/>
              <a:gd name="T26" fmla="*/ 24 w 30"/>
              <a:gd name="T27" fmla="*/ 18 h 48"/>
              <a:gd name="T28" fmla="*/ 24 w 30"/>
              <a:gd name="T29" fmla="*/ 18 h 48"/>
              <a:gd name="T30" fmla="*/ 24 w 30"/>
              <a:gd name="T31" fmla="*/ 24 h 48"/>
              <a:gd name="T32" fmla="*/ 24 w 30"/>
              <a:gd name="T33" fmla="*/ 24 h 48"/>
              <a:gd name="T34" fmla="*/ 24 w 30"/>
              <a:gd name="T35" fmla="*/ 24 h 48"/>
              <a:gd name="T36" fmla="*/ 24 w 30"/>
              <a:gd name="T37" fmla="*/ 30 h 48"/>
              <a:gd name="T38" fmla="*/ 24 w 30"/>
              <a:gd name="T39" fmla="*/ 36 h 48"/>
              <a:gd name="T40" fmla="*/ 24 w 30"/>
              <a:gd name="T41" fmla="*/ 36 h 48"/>
              <a:gd name="T42" fmla="*/ 24 w 30"/>
              <a:gd name="T43" fmla="*/ 36 h 48"/>
              <a:gd name="T44" fmla="*/ 24 w 30"/>
              <a:gd name="T45" fmla="*/ 36 h 48"/>
              <a:gd name="T46" fmla="*/ 24 w 30"/>
              <a:gd name="T47" fmla="*/ 36 h 48"/>
              <a:gd name="T48" fmla="*/ 24 w 30"/>
              <a:gd name="T49" fmla="*/ 36 h 48"/>
              <a:gd name="T50" fmla="*/ 24 w 30"/>
              <a:gd name="T51" fmla="*/ 42 h 48"/>
              <a:gd name="T52" fmla="*/ 24 w 30"/>
              <a:gd name="T53" fmla="*/ 42 h 48"/>
              <a:gd name="T54" fmla="*/ 30 w 30"/>
              <a:gd name="T55" fmla="*/ 42 h 48"/>
              <a:gd name="T56" fmla="*/ 30 w 30"/>
              <a:gd name="T57" fmla="*/ 42 h 48"/>
              <a:gd name="T58" fmla="*/ 30 w 30"/>
              <a:gd name="T59" fmla="*/ 48 h 48"/>
              <a:gd name="T60" fmla="*/ 30 w 30"/>
              <a:gd name="T61" fmla="*/ 48 h 48"/>
              <a:gd name="T62" fmla="*/ 24 w 30"/>
              <a:gd name="T63" fmla="*/ 42 h 48"/>
              <a:gd name="T64" fmla="*/ 24 w 30"/>
              <a:gd name="T65" fmla="*/ 42 h 48"/>
              <a:gd name="T66" fmla="*/ 24 w 30"/>
              <a:gd name="T67" fmla="*/ 42 h 48"/>
              <a:gd name="T68" fmla="*/ 18 w 30"/>
              <a:gd name="T69" fmla="*/ 42 h 48"/>
              <a:gd name="T70" fmla="*/ 12 w 30"/>
              <a:gd name="T71" fmla="*/ 42 h 48"/>
              <a:gd name="T72" fmla="*/ 12 w 30"/>
              <a:gd name="T73" fmla="*/ 42 h 48"/>
              <a:gd name="T74" fmla="*/ 12 w 30"/>
              <a:gd name="T75" fmla="*/ 42 h 48"/>
              <a:gd name="T76" fmla="*/ 12 w 30"/>
              <a:gd name="T77" fmla="*/ 42 h 48"/>
              <a:gd name="T78" fmla="*/ 6 w 30"/>
              <a:gd name="T79" fmla="*/ 42 h 48"/>
              <a:gd name="T80" fmla="*/ 12 w 30"/>
              <a:gd name="T81" fmla="*/ 30 h 48"/>
              <a:gd name="T82" fmla="*/ 12 w 30"/>
              <a:gd name="T83" fmla="*/ 24 h 48"/>
              <a:gd name="T84" fmla="*/ 12 w 30"/>
              <a:gd name="T85" fmla="*/ 24 h 48"/>
              <a:gd name="T86" fmla="*/ 12 w 30"/>
              <a:gd name="T87" fmla="*/ 24 h 48"/>
              <a:gd name="T88" fmla="*/ 12 w 30"/>
              <a:gd name="T89" fmla="*/ 18 h 48"/>
              <a:gd name="T90" fmla="*/ 12 w 30"/>
              <a:gd name="T91" fmla="*/ 18 h 48"/>
              <a:gd name="T92" fmla="*/ 12 w 30"/>
              <a:gd name="T93" fmla="*/ 18 h 48"/>
              <a:gd name="T94" fmla="*/ 12 w 30"/>
              <a:gd name="T95" fmla="*/ 18 h 48"/>
              <a:gd name="T96" fmla="*/ 12 w 30"/>
              <a:gd name="T97" fmla="*/ 18 h 48"/>
              <a:gd name="T98" fmla="*/ 6 w 30"/>
              <a:gd name="T99" fmla="*/ 12 h 48"/>
              <a:gd name="T100" fmla="*/ 12 w 30"/>
              <a:gd name="T101" fmla="*/ 12 h 48"/>
              <a:gd name="T102" fmla="*/ 12 w 30"/>
              <a:gd name="T103" fmla="*/ 12 h 48"/>
              <a:gd name="T104" fmla="*/ 12 w 30"/>
              <a:gd name="T105" fmla="*/ 12 h 48"/>
              <a:gd name="T106" fmla="*/ 12 w 30"/>
              <a:gd name="T107" fmla="*/ 12 h 48"/>
              <a:gd name="T108" fmla="*/ 6 w 30"/>
              <a:gd name="T109" fmla="*/ 12 h 48"/>
              <a:gd name="T110" fmla="*/ 6 w 30"/>
              <a:gd name="T111" fmla="*/ 12 h 48"/>
              <a:gd name="T112" fmla="*/ 0 w 30"/>
              <a:gd name="T113" fmla="*/ 12 h 48"/>
              <a:gd name="T114" fmla="*/ 0 w 30"/>
              <a:gd name="T115" fmla="*/ 12 h 48"/>
              <a:gd name="T116" fmla="*/ 0 w 30"/>
              <a:gd name="T117" fmla="*/ 12 h 48"/>
              <a:gd name="T118" fmla="*/ 0 w 30"/>
              <a:gd name="T119" fmla="*/ 12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0" h="48">
                <a:moveTo>
                  <a:pt x="0" y="12"/>
                </a:moveTo>
                <a:lnTo>
                  <a:pt x="6" y="6"/>
                </a:lnTo>
                <a:lnTo>
                  <a:pt x="12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24" y="12"/>
                </a:lnTo>
                <a:lnTo>
                  <a:pt x="18" y="18"/>
                </a:lnTo>
                <a:lnTo>
                  <a:pt x="18" y="18"/>
                </a:lnTo>
                <a:lnTo>
                  <a:pt x="24" y="18"/>
                </a:lnTo>
                <a:lnTo>
                  <a:pt x="24" y="18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30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42"/>
                </a:lnTo>
                <a:lnTo>
                  <a:pt x="24" y="42"/>
                </a:lnTo>
                <a:lnTo>
                  <a:pt x="30" y="42"/>
                </a:lnTo>
                <a:lnTo>
                  <a:pt x="30" y="42"/>
                </a:lnTo>
                <a:lnTo>
                  <a:pt x="30" y="48"/>
                </a:lnTo>
                <a:lnTo>
                  <a:pt x="30" y="48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18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6" y="42"/>
                </a:lnTo>
                <a:lnTo>
                  <a:pt x="12" y="30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6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6" y="12"/>
                </a:lnTo>
                <a:lnTo>
                  <a:pt x="6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16" name="Freeform 149"/>
          <p:cNvSpPr>
            <a:spLocks/>
          </p:cNvSpPr>
          <p:nvPr/>
        </p:nvSpPr>
        <p:spPr bwMode="auto">
          <a:xfrm>
            <a:off x="8669860" y="1809481"/>
            <a:ext cx="96361" cy="89937"/>
          </a:xfrm>
          <a:custGeom>
            <a:avLst/>
            <a:gdLst>
              <a:gd name="T0" fmla="*/ 6 w 90"/>
              <a:gd name="T1" fmla="*/ 0 h 84"/>
              <a:gd name="T2" fmla="*/ 12 w 90"/>
              <a:gd name="T3" fmla="*/ 0 h 84"/>
              <a:gd name="T4" fmla="*/ 18 w 90"/>
              <a:gd name="T5" fmla="*/ 0 h 84"/>
              <a:gd name="T6" fmla="*/ 24 w 90"/>
              <a:gd name="T7" fmla="*/ 0 h 84"/>
              <a:gd name="T8" fmla="*/ 24 w 90"/>
              <a:gd name="T9" fmla="*/ 0 h 84"/>
              <a:gd name="T10" fmla="*/ 30 w 90"/>
              <a:gd name="T11" fmla="*/ 6 h 84"/>
              <a:gd name="T12" fmla="*/ 42 w 90"/>
              <a:gd name="T13" fmla="*/ 6 h 84"/>
              <a:gd name="T14" fmla="*/ 42 w 90"/>
              <a:gd name="T15" fmla="*/ 6 h 84"/>
              <a:gd name="T16" fmla="*/ 42 w 90"/>
              <a:gd name="T17" fmla="*/ 6 h 84"/>
              <a:gd name="T18" fmla="*/ 54 w 90"/>
              <a:gd name="T19" fmla="*/ 12 h 84"/>
              <a:gd name="T20" fmla="*/ 60 w 90"/>
              <a:gd name="T21" fmla="*/ 12 h 84"/>
              <a:gd name="T22" fmla="*/ 66 w 90"/>
              <a:gd name="T23" fmla="*/ 18 h 84"/>
              <a:gd name="T24" fmla="*/ 72 w 90"/>
              <a:gd name="T25" fmla="*/ 18 h 84"/>
              <a:gd name="T26" fmla="*/ 72 w 90"/>
              <a:gd name="T27" fmla="*/ 24 h 84"/>
              <a:gd name="T28" fmla="*/ 78 w 90"/>
              <a:gd name="T29" fmla="*/ 30 h 84"/>
              <a:gd name="T30" fmla="*/ 78 w 90"/>
              <a:gd name="T31" fmla="*/ 36 h 84"/>
              <a:gd name="T32" fmla="*/ 84 w 90"/>
              <a:gd name="T33" fmla="*/ 42 h 84"/>
              <a:gd name="T34" fmla="*/ 84 w 90"/>
              <a:gd name="T35" fmla="*/ 42 h 84"/>
              <a:gd name="T36" fmla="*/ 84 w 90"/>
              <a:gd name="T37" fmla="*/ 48 h 84"/>
              <a:gd name="T38" fmla="*/ 90 w 90"/>
              <a:gd name="T39" fmla="*/ 48 h 84"/>
              <a:gd name="T40" fmla="*/ 90 w 90"/>
              <a:gd name="T41" fmla="*/ 54 h 84"/>
              <a:gd name="T42" fmla="*/ 90 w 90"/>
              <a:gd name="T43" fmla="*/ 54 h 84"/>
              <a:gd name="T44" fmla="*/ 90 w 90"/>
              <a:gd name="T45" fmla="*/ 60 h 84"/>
              <a:gd name="T46" fmla="*/ 90 w 90"/>
              <a:gd name="T47" fmla="*/ 60 h 84"/>
              <a:gd name="T48" fmla="*/ 90 w 90"/>
              <a:gd name="T49" fmla="*/ 60 h 84"/>
              <a:gd name="T50" fmla="*/ 90 w 90"/>
              <a:gd name="T51" fmla="*/ 54 h 84"/>
              <a:gd name="T52" fmla="*/ 90 w 90"/>
              <a:gd name="T53" fmla="*/ 54 h 84"/>
              <a:gd name="T54" fmla="*/ 84 w 90"/>
              <a:gd name="T55" fmla="*/ 54 h 84"/>
              <a:gd name="T56" fmla="*/ 84 w 90"/>
              <a:gd name="T57" fmla="*/ 54 h 84"/>
              <a:gd name="T58" fmla="*/ 84 w 90"/>
              <a:gd name="T59" fmla="*/ 54 h 84"/>
              <a:gd name="T60" fmla="*/ 78 w 90"/>
              <a:gd name="T61" fmla="*/ 54 h 84"/>
              <a:gd name="T62" fmla="*/ 78 w 90"/>
              <a:gd name="T63" fmla="*/ 54 h 84"/>
              <a:gd name="T64" fmla="*/ 72 w 90"/>
              <a:gd name="T65" fmla="*/ 54 h 84"/>
              <a:gd name="T66" fmla="*/ 72 w 90"/>
              <a:gd name="T67" fmla="*/ 48 h 84"/>
              <a:gd name="T68" fmla="*/ 66 w 90"/>
              <a:gd name="T69" fmla="*/ 54 h 84"/>
              <a:gd name="T70" fmla="*/ 66 w 90"/>
              <a:gd name="T71" fmla="*/ 54 h 84"/>
              <a:gd name="T72" fmla="*/ 66 w 90"/>
              <a:gd name="T73" fmla="*/ 54 h 84"/>
              <a:gd name="T74" fmla="*/ 60 w 90"/>
              <a:gd name="T75" fmla="*/ 54 h 84"/>
              <a:gd name="T76" fmla="*/ 60 w 90"/>
              <a:gd name="T77" fmla="*/ 60 h 84"/>
              <a:gd name="T78" fmla="*/ 60 w 90"/>
              <a:gd name="T79" fmla="*/ 78 h 84"/>
              <a:gd name="T80" fmla="*/ 54 w 90"/>
              <a:gd name="T81" fmla="*/ 78 h 84"/>
              <a:gd name="T82" fmla="*/ 54 w 90"/>
              <a:gd name="T83" fmla="*/ 84 h 84"/>
              <a:gd name="T84" fmla="*/ 42 w 90"/>
              <a:gd name="T85" fmla="*/ 72 h 84"/>
              <a:gd name="T86" fmla="*/ 36 w 90"/>
              <a:gd name="T87" fmla="*/ 66 h 84"/>
              <a:gd name="T88" fmla="*/ 42 w 90"/>
              <a:gd name="T89" fmla="*/ 54 h 84"/>
              <a:gd name="T90" fmla="*/ 36 w 90"/>
              <a:gd name="T91" fmla="*/ 54 h 84"/>
              <a:gd name="T92" fmla="*/ 36 w 90"/>
              <a:gd name="T93" fmla="*/ 54 h 84"/>
              <a:gd name="T94" fmla="*/ 30 w 90"/>
              <a:gd name="T95" fmla="*/ 48 h 84"/>
              <a:gd name="T96" fmla="*/ 24 w 90"/>
              <a:gd name="T97" fmla="*/ 48 h 84"/>
              <a:gd name="T98" fmla="*/ 24 w 90"/>
              <a:gd name="T99" fmla="*/ 48 h 84"/>
              <a:gd name="T100" fmla="*/ 24 w 90"/>
              <a:gd name="T101" fmla="*/ 48 h 84"/>
              <a:gd name="T102" fmla="*/ 18 w 90"/>
              <a:gd name="T103" fmla="*/ 48 h 84"/>
              <a:gd name="T104" fmla="*/ 18 w 90"/>
              <a:gd name="T105" fmla="*/ 30 h 84"/>
              <a:gd name="T106" fmla="*/ 18 w 90"/>
              <a:gd name="T107" fmla="*/ 18 h 84"/>
              <a:gd name="T108" fmla="*/ 0 w 90"/>
              <a:gd name="T109" fmla="*/ 24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90" h="84">
                <a:moveTo>
                  <a:pt x="0" y="24"/>
                </a:moveTo>
                <a:lnTo>
                  <a:pt x="6" y="0"/>
                </a:lnTo>
                <a:lnTo>
                  <a:pt x="12" y="0"/>
                </a:lnTo>
                <a:lnTo>
                  <a:pt x="12" y="0"/>
                </a:lnTo>
                <a:lnTo>
                  <a:pt x="18" y="0"/>
                </a:lnTo>
                <a:lnTo>
                  <a:pt x="18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6" y="12"/>
                </a:lnTo>
                <a:lnTo>
                  <a:pt x="66" y="18"/>
                </a:lnTo>
                <a:lnTo>
                  <a:pt x="66" y="18"/>
                </a:lnTo>
                <a:lnTo>
                  <a:pt x="72" y="18"/>
                </a:lnTo>
                <a:lnTo>
                  <a:pt x="72" y="24"/>
                </a:lnTo>
                <a:lnTo>
                  <a:pt x="72" y="24"/>
                </a:lnTo>
                <a:lnTo>
                  <a:pt x="78" y="24"/>
                </a:lnTo>
                <a:lnTo>
                  <a:pt x="78" y="30"/>
                </a:lnTo>
                <a:lnTo>
                  <a:pt x="78" y="36"/>
                </a:lnTo>
                <a:lnTo>
                  <a:pt x="78" y="36"/>
                </a:lnTo>
                <a:lnTo>
                  <a:pt x="78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8"/>
                </a:lnTo>
                <a:lnTo>
                  <a:pt x="84" y="48"/>
                </a:lnTo>
                <a:lnTo>
                  <a:pt x="90" y="48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2" y="54"/>
                </a:lnTo>
                <a:lnTo>
                  <a:pt x="72" y="54"/>
                </a:lnTo>
                <a:lnTo>
                  <a:pt x="72" y="48"/>
                </a:lnTo>
                <a:lnTo>
                  <a:pt x="72" y="48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60"/>
                </a:lnTo>
                <a:lnTo>
                  <a:pt x="54" y="66"/>
                </a:lnTo>
                <a:lnTo>
                  <a:pt x="60" y="78"/>
                </a:lnTo>
                <a:lnTo>
                  <a:pt x="60" y="78"/>
                </a:lnTo>
                <a:lnTo>
                  <a:pt x="54" y="78"/>
                </a:lnTo>
                <a:lnTo>
                  <a:pt x="54" y="84"/>
                </a:lnTo>
                <a:lnTo>
                  <a:pt x="54" y="84"/>
                </a:lnTo>
                <a:lnTo>
                  <a:pt x="42" y="84"/>
                </a:lnTo>
                <a:lnTo>
                  <a:pt x="42" y="72"/>
                </a:lnTo>
                <a:lnTo>
                  <a:pt x="42" y="72"/>
                </a:lnTo>
                <a:lnTo>
                  <a:pt x="36" y="66"/>
                </a:lnTo>
                <a:lnTo>
                  <a:pt x="36" y="54"/>
                </a:lnTo>
                <a:lnTo>
                  <a:pt x="42" y="54"/>
                </a:lnTo>
                <a:lnTo>
                  <a:pt x="42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18" y="48"/>
                </a:lnTo>
                <a:lnTo>
                  <a:pt x="18" y="54"/>
                </a:lnTo>
                <a:lnTo>
                  <a:pt x="18" y="30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0" y="2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17" name="Freeform 150"/>
          <p:cNvSpPr>
            <a:spLocks/>
          </p:cNvSpPr>
          <p:nvPr/>
        </p:nvSpPr>
        <p:spPr bwMode="auto">
          <a:xfrm>
            <a:off x="8342234" y="2098566"/>
            <a:ext cx="179873" cy="96361"/>
          </a:xfrm>
          <a:custGeom>
            <a:avLst/>
            <a:gdLst>
              <a:gd name="T0" fmla="*/ 6 w 168"/>
              <a:gd name="T1" fmla="*/ 66 h 90"/>
              <a:gd name="T2" fmla="*/ 18 w 168"/>
              <a:gd name="T3" fmla="*/ 66 h 90"/>
              <a:gd name="T4" fmla="*/ 24 w 168"/>
              <a:gd name="T5" fmla="*/ 54 h 90"/>
              <a:gd name="T6" fmla="*/ 36 w 168"/>
              <a:gd name="T7" fmla="*/ 48 h 90"/>
              <a:gd name="T8" fmla="*/ 42 w 168"/>
              <a:gd name="T9" fmla="*/ 54 h 90"/>
              <a:gd name="T10" fmla="*/ 42 w 168"/>
              <a:gd name="T11" fmla="*/ 54 h 90"/>
              <a:gd name="T12" fmla="*/ 48 w 168"/>
              <a:gd name="T13" fmla="*/ 48 h 90"/>
              <a:gd name="T14" fmla="*/ 60 w 168"/>
              <a:gd name="T15" fmla="*/ 36 h 90"/>
              <a:gd name="T16" fmla="*/ 66 w 168"/>
              <a:gd name="T17" fmla="*/ 30 h 90"/>
              <a:gd name="T18" fmla="*/ 78 w 168"/>
              <a:gd name="T19" fmla="*/ 30 h 90"/>
              <a:gd name="T20" fmla="*/ 78 w 168"/>
              <a:gd name="T21" fmla="*/ 24 h 90"/>
              <a:gd name="T22" fmla="*/ 84 w 168"/>
              <a:gd name="T23" fmla="*/ 24 h 90"/>
              <a:gd name="T24" fmla="*/ 90 w 168"/>
              <a:gd name="T25" fmla="*/ 24 h 90"/>
              <a:gd name="T26" fmla="*/ 96 w 168"/>
              <a:gd name="T27" fmla="*/ 24 h 90"/>
              <a:gd name="T28" fmla="*/ 102 w 168"/>
              <a:gd name="T29" fmla="*/ 18 h 90"/>
              <a:gd name="T30" fmla="*/ 114 w 168"/>
              <a:gd name="T31" fmla="*/ 24 h 90"/>
              <a:gd name="T32" fmla="*/ 120 w 168"/>
              <a:gd name="T33" fmla="*/ 18 h 90"/>
              <a:gd name="T34" fmla="*/ 126 w 168"/>
              <a:gd name="T35" fmla="*/ 12 h 90"/>
              <a:gd name="T36" fmla="*/ 132 w 168"/>
              <a:gd name="T37" fmla="*/ 12 h 90"/>
              <a:gd name="T38" fmla="*/ 138 w 168"/>
              <a:gd name="T39" fmla="*/ 6 h 90"/>
              <a:gd name="T40" fmla="*/ 150 w 168"/>
              <a:gd name="T41" fmla="*/ 12 h 90"/>
              <a:gd name="T42" fmla="*/ 150 w 168"/>
              <a:gd name="T43" fmla="*/ 6 h 90"/>
              <a:gd name="T44" fmla="*/ 156 w 168"/>
              <a:gd name="T45" fmla="*/ 6 h 90"/>
              <a:gd name="T46" fmla="*/ 162 w 168"/>
              <a:gd name="T47" fmla="*/ 0 h 90"/>
              <a:gd name="T48" fmla="*/ 168 w 168"/>
              <a:gd name="T49" fmla="*/ 6 h 90"/>
              <a:gd name="T50" fmla="*/ 162 w 168"/>
              <a:gd name="T51" fmla="*/ 30 h 90"/>
              <a:gd name="T52" fmla="*/ 156 w 168"/>
              <a:gd name="T53" fmla="*/ 30 h 90"/>
              <a:gd name="T54" fmla="*/ 150 w 168"/>
              <a:gd name="T55" fmla="*/ 24 h 90"/>
              <a:gd name="T56" fmla="*/ 144 w 168"/>
              <a:gd name="T57" fmla="*/ 18 h 90"/>
              <a:gd name="T58" fmla="*/ 132 w 168"/>
              <a:gd name="T59" fmla="*/ 18 h 90"/>
              <a:gd name="T60" fmla="*/ 126 w 168"/>
              <a:gd name="T61" fmla="*/ 24 h 90"/>
              <a:gd name="T62" fmla="*/ 114 w 168"/>
              <a:gd name="T63" fmla="*/ 30 h 90"/>
              <a:gd name="T64" fmla="*/ 108 w 168"/>
              <a:gd name="T65" fmla="*/ 30 h 90"/>
              <a:gd name="T66" fmla="*/ 108 w 168"/>
              <a:gd name="T67" fmla="*/ 30 h 90"/>
              <a:gd name="T68" fmla="*/ 102 w 168"/>
              <a:gd name="T69" fmla="*/ 36 h 90"/>
              <a:gd name="T70" fmla="*/ 102 w 168"/>
              <a:gd name="T71" fmla="*/ 42 h 90"/>
              <a:gd name="T72" fmla="*/ 90 w 168"/>
              <a:gd name="T73" fmla="*/ 48 h 90"/>
              <a:gd name="T74" fmla="*/ 84 w 168"/>
              <a:gd name="T75" fmla="*/ 48 h 90"/>
              <a:gd name="T76" fmla="*/ 78 w 168"/>
              <a:gd name="T77" fmla="*/ 54 h 90"/>
              <a:gd name="T78" fmla="*/ 72 w 168"/>
              <a:gd name="T79" fmla="*/ 60 h 90"/>
              <a:gd name="T80" fmla="*/ 72 w 168"/>
              <a:gd name="T81" fmla="*/ 66 h 90"/>
              <a:gd name="T82" fmla="*/ 72 w 168"/>
              <a:gd name="T83" fmla="*/ 66 h 90"/>
              <a:gd name="T84" fmla="*/ 72 w 168"/>
              <a:gd name="T85" fmla="*/ 66 h 90"/>
              <a:gd name="T86" fmla="*/ 60 w 168"/>
              <a:gd name="T87" fmla="*/ 66 h 90"/>
              <a:gd name="T88" fmla="*/ 54 w 168"/>
              <a:gd name="T89" fmla="*/ 72 h 90"/>
              <a:gd name="T90" fmla="*/ 48 w 168"/>
              <a:gd name="T91" fmla="*/ 72 h 90"/>
              <a:gd name="T92" fmla="*/ 48 w 168"/>
              <a:gd name="T93" fmla="*/ 78 h 90"/>
              <a:gd name="T94" fmla="*/ 42 w 168"/>
              <a:gd name="T95" fmla="*/ 84 h 90"/>
              <a:gd name="T96" fmla="*/ 36 w 168"/>
              <a:gd name="T97" fmla="*/ 78 h 90"/>
              <a:gd name="T98" fmla="*/ 30 w 168"/>
              <a:gd name="T99" fmla="*/ 84 h 90"/>
              <a:gd name="T100" fmla="*/ 24 w 168"/>
              <a:gd name="T101" fmla="*/ 90 h 90"/>
              <a:gd name="T102" fmla="*/ 24 w 168"/>
              <a:gd name="T103" fmla="*/ 84 h 90"/>
              <a:gd name="T104" fmla="*/ 12 w 168"/>
              <a:gd name="T105" fmla="*/ 84 h 90"/>
              <a:gd name="T106" fmla="*/ 6 w 168"/>
              <a:gd name="T107" fmla="*/ 90 h 90"/>
              <a:gd name="T108" fmla="*/ 0 w 168"/>
              <a:gd name="T109" fmla="*/ 90 h 90"/>
              <a:gd name="T110" fmla="*/ 0 w 168"/>
              <a:gd name="T111" fmla="*/ 78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68" h="90">
                <a:moveTo>
                  <a:pt x="0" y="78"/>
                </a:moveTo>
                <a:lnTo>
                  <a:pt x="0" y="78"/>
                </a:lnTo>
                <a:lnTo>
                  <a:pt x="0" y="72"/>
                </a:lnTo>
                <a:lnTo>
                  <a:pt x="6" y="72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12" y="66"/>
                </a:lnTo>
                <a:lnTo>
                  <a:pt x="18" y="66"/>
                </a:lnTo>
                <a:lnTo>
                  <a:pt x="18" y="60"/>
                </a:lnTo>
                <a:lnTo>
                  <a:pt x="18" y="60"/>
                </a:lnTo>
                <a:lnTo>
                  <a:pt x="24" y="60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30" y="54"/>
                </a:lnTo>
                <a:lnTo>
                  <a:pt x="36" y="54"/>
                </a:lnTo>
                <a:lnTo>
                  <a:pt x="36" y="54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42" y="48"/>
                </a:lnTo>
                <a:lnTo>
                  <a:pt x="42" y="54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54"/>
                </a:lnTo>
                <a:lnTo>
                  <a:pt x="42" y="54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2"/>
                </a:lnTo>
                <a:lnTo>
                  <a:pt x="54" y="42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6" y="36"/>
                </a:lnTo>
                <a:lnTo>
                  <a:pt x="66" y="36"/>
                </a:lnTo>
                <a:lnTo>
                  <a:pt x="66" y="30"/>
                </a:lnTo>
                <a:lnTo>
                  <a:pt x="66" y="30"/>
                </a:lnTo>
                <a:lnTo>
                  <a:pt x="72" y="36"/>
                </a:lnTo>
                <a:lnTo>
                  <a:pt x="72" y="30"/>
                </a:lnTo>
                <a:lnTo>
                  <a:pt x="72" y="30"/>
                </a:lnTo>
                <a:lnTo>
                  <a:pt x="78" y="30"/>
                </a:lnTo>
                <a:lnTo>
                  <a:pt x="78" y="30"/>
                </a:lnTo>
                <a:lnTo>
                  <a:pt x="72" y="30"/>
                </a:lnTo>
                <a:lnTo>
                  <a:pt x="72" y="30"/>
                </a:lnTo>
                <a:lnTo>
                  <a:pt x="78" y="30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30"/>
                </a:lnTo>
                <a:lnTo>
                  <a:pt x="78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2"/>
                </a:lnTo>
                <a:lnTo>
                  <a:pt x="102" y="12"/>
                </a:lnTo>
                <a:lnTo>
                  <a:pt x="108" y="12"/>
                </a:lnTo>
                <a:lnTo>
                  <a:pt x="108" y="12"/>
                </a:lnTo>
                <a:lnTo>
                  <a:pt x="114" y="24"/>
                </a:lnTo>
                <a:lnTo>
                  <a:pt x="120" y="24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6"/>
                </a:lnTo>
                <a:lnTo>
                  <a:pt x="138" y="12"/>
                </a:lnTo>
                <a:lnTo>
                  <a:pt x="138" y="6"/>
                </a:lnTo>
                <a:lnTo>
                  <a:pt x="138" y="6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62" y="0"/>
                </a:lnTo>
                <a:lnTo>
                  <a:pt x="162" y="0"/>
                </a:lnTo>
                <a:lnTo>
                  <a:pt x="162" y="0"/>
                </a:lnTo>
                <a:lnTo>
                  <a:pt x="162" y="0"/>
                </a:lnTo>
                <a:lnTo>
                  <a:pt x="168" y="6"/>
                </a:lnTo>
                <a:lnTo>
                  <a:pt x="168" y="6"/>
                </a:lnTo>
                <a:lnTo>
                  <a:pt x="168" y="6"/>
                </a:lnTo>
                <a:lnTo>
                  <a:pt x="168" y="6"/>
                </a:lnTo>
                <a:lnTo>
                  <a:pt x="168" y="12"/>
                </a:lnTo>
                <a:lnTo>
                  <a:pt x="168" y="18"/>
                </a:lnTo>
                <a:lnTo>
                  <a:pt x="168" y="18"/>
                </a:lnTo>
                <a:lnTo>
                  <a:pt x="162" y="30"/>
                </a:lnTo>
                <a:lnTo>
                  <a:pt x="162" y="30"/>
                </a:lnTo>
                <a:lnTo>
                  <a:pt x="162" y="30"/>
                </a:lnTo>
                <a:lnTo>
                  <a:pt x="162" y="30"/>
                </a:lnTo>
                <a:lnTo>
                  <a:pt x="162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24"/>
                </a:lnTo>
                <a:lnTo>
                  <a:pt x="156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44" y="18"/>
                </a:lnTo>
                <a:lnTo>
                  <a:pt x="144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26" y="18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0" y="30"/>
                </a:lnTo>
                <a:lnTo>
                  <a:pt x="120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48" y="72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36" y="84"/>
                </a:lnTo>
                <a:lnTo>
                  <a:pt x="36" y="78"/>
                </a:lnTo>
                <a:lnTo>
                  <a:pt x="36" y="78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2" y="84"/>
                </a:lnTo>
                <a:lnTo>
                  <a:pt x="12" y="84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0" y="90"/>
                </a:lnTo>
                <a:lnTo>
                  <a:pt x="0" y="90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18" name="Freeform 151"/>
          <p:cNvSpPr>
            <a:spLocks/>
          </p:cNvSpPr>
          <p:nvPr/>
        </p:nvSpPr>
        <p:spPr bwMode="auto">
          <a:xfrm>
            <a:off x="8335810" y="2072869"/>
            <a:ext cx="122057" cy="83513"/>
          </a:xfrm>
          <a:custGeom>
            <a:avLst/>
            <a:gdLst>
              <a:gd name="T0" fmla="*/ 6 w 114"/>
              <a:gd name="T1" fmla="*/ 18 h 78"/>
              <a:gd name="T2" fmla="*/ 6 w 114"/>
              <a:gd name="T3" fmla="*/ 12 h 78"/>
              <a:gd name="T4" fmla="*/ 12 w 114"/>
              <a:gd name="T5" fmla="*/ 6 h 78"/>
              <a:gd name="T6" fmla="*/ 12 w 114"/>
              <a:gd name="T7" fmla="*/ 6 h 78"/>
              <a:gd name="T8" fmla="*/ 30 w 114"/>
              <a:gd name="T9" fmla="*/ 6 h 78"/>
              <a:gd name="T10" fmla="*/ 36 w 114"/>
              <a:gd name="T11" fmla="*/ 6 h 78"/>
              <a:gd name="T12" fmla="*/ 42 w 114"/>
              <a:gd name="T13" fmla="*/ 0 h 78"/>
              <a:gd name="T14" fmla="*/ 48 w 114"/>
              <a:gd name="T15" fmla="*/ 0 h 78"/>
              <a:gd name="T16" fmla="*/ 60 w 114"/>
              <a:gd name="T17" fmla="*/ 6 h 78"/>
              <a:gd name="T18" fmla="*/ 72 w 114"/>
              <a:gd name="T19" fmla="*/ 6 h 78"/>
              <a:gd name="T20" fmla="*/ 90 w 114"/>
              <a:gd name="T21" fmla="*/ 6 h 78"/>
              <a:gd name="T22" fmla="*/ 96 w 114"/>
              <a:gd name="T23" fmla="*/ 6 h 78"/>
              <a:gd name="T24" fmla="*/ 108 w 114"/>
              <a:gd name="T25" fmla="*/ 6 h 78"/>
              <a:gd name="T26" fmla="*/ 108 w 114"/>
              <a:gd name="T27" fmla="*/ 18 h 78"/>
              <a:gd name="T28" fmla="*/ 114 w 114"/>
              <a:gd name="T29" fmla="*/ 36 h 78"/>
              <a:gd name="T30" fmla="*/ 108 w 114"/>
              <a:gd name="T31" fmla="*/ 42 h 78"/>
              <a:gd name="T32" fmla="*/ 102 w 114"/>
              <a:gd name="T33" fmla="*/ 48 h 78"/>
              <a:gd name="T34" fmla="*/ 102 w 114"/>
              <a:gd name="T35" fmla="*/ 48 h 78"/>
              <a:gd name="T36" fmla="*/ 96 w 114"/>
              <a:gd name="T37" fmla="*/ 48 h 78"/>
              <a:gd name="T38" fmla="*/ 90 w 114"/>
              <a:gd name="T39" fmla="*/ 48 h 78"/>
              <a:gd name="T40" fmla="*/ 90 w 114"/>
              <a:gd name="T41" fmla="*/ 48 h 78"/>
              <a:gd name="T42" fmla="*/ 84 w 114"/>
              <a:gd name="T43" fmla="*/ 48 h 78"/>
              <a:gd name="T44" fmla="*/ 84 w 114"/>
              <a:gd name="T45" fmla="*/ 54 h 78"/>
              <a:gd name="T46" fmla="*/ 84 w 114"/>
              <a:gd name="T47" fmla="*/ 54 h 78"/>
              <a:gd name="T48" fmla="*/ 78 w 114"/>
              <a:gd name="T49" fmla="*/ 54 h 78"/>
              <a:gd name="T50" fmla="*/ 72 w 114"/>
              <a:gd name="T51" fmla="*/ 54 h 78"/>
              <a:gd name="T52" fmla="*/ 66 w 114"/>
              <a:gd name="T53" fmla="*/ 60 h 78"/>
              <a:gd name="T54" fmla="*/ 60 w 114"/>
              <a:gd name="T55" fmla="*/ 66 h 78"/>
              <a:gd name="T56" fmla="*/ 54 w 114"/>
              <a:gd name="T57" fmla="*/ 72 h 78"/>
              <a:gd name="T58" fmla="*/ 48 w 114"/>
              <a:gd name="T59" fmla="*/ 72 h 78"/>
              <a:gd name="T60" fmla="*/ 48 w 114"/>
              <a:gd name="T61" fmla="*/ 78 h 78"/>
              <a:gd name="T62" fmla="*/ 48 w 114"/>
              <a:gd name="T63" fmla="*/ 72 h 78"/>
              <a:gd name="T64" fmla="*/ 48 w 114"/>
              <a:gd name="T65" fmla="*/ 72 h 78"/>
              <a:gd name="T66" fmla="*/ 42 w 114"/>
              <a:gd name="T67" fmla="*/ 72 h 78"/>
              <a:gd name="T68" fmla="*/ 42 w 114"/>
              <a:gd name="T69" fmla="*/ 66 h 78"/>
              <a:gd name="T70" fmla="*/ 42 w 114"/>
              <a:gd name="T71" fmla="*/ 66 h 78"/>
              <a:gd name="T72" fmla="*/ 36 w 114"/>
              <a:gd name="T73" fmla="*/ 60 h 78"/>
              <a:gd name="T74" fmla="*/ 36 w 114"/>
              <a:gd name="T75" fmla="*/ 60 h 78"/>
              <a:gd name="T76" fmla="*/ 36 w 114"/>
              <a:gd name="T77" fmla="*/ 54 h 78"/>
              <a:gd name="T78" fmla="*/ 36 w 114"/>
              <a:gd name="T79" fmla="*/ 54 h 78"/>
              <a:gd name="T80" fmla="*/ 36 w 114"/>
              <a:gd name="T81" fmla="*/ 48 h 78"/>
              <a:gd name="T82" fmla="*/ 36 w 114"/>
              <a:gd name="T83" fmla="*/ 36 h 78"/>
              <a:gd name="T84" fmla="*/ 24 w 114"/>
              <a:gd name="T85" fmla="*/ 36 h 78"/>
              <a:gd name="T86" fmla="*/ 18 w 114"/>
              <a:gd name="T87" fmla="*/ 24 h 78"/>
              <a:gd name="T88" fmla="*/ 6 w 114"/>
              <a:gd name="T89" fmla="*/ 30 h 78"/>
              <a:gd name="T90" fmla="*/ 6 w 114"/>
              <a:gd name="T91" fmla="*/ 24 h 78"/>
              <a:gd name="T92" fmla="*/ 0 w 114"/>
              <a:gd name="T93" fmla="*/ 24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14" h="78">
                <a:moveTo>
                  <a:pt x="0" y="18"/>
                </a:move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0" y="12"/>
                </a:lnTo>
                <a:lnTo>
                  <a:pt x="6" y="12"/>
                </a:lnTo>
                <a:lnTo>
                  <a:pt x="6" y="12"/>
                </a:lnTo>
                <a:lnTo>
                  <a:pt x="6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8" y="6"/>
                </a:lnTo>
                <a:lnTo>
                  <a:pt x="24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0"/>
                </a:lnTo>
                <a:lnTo>
                  <a:pt x="42" y="0"/>
                </a:lnTo>
                <a:lnTo>
                  <a:pt x="42" y="0"/>
                </a:lnTo>
                <a:lnTo>
                  <a:pt x="48" y="0"/>
                </a:lnTo>
                <a:lnTo>
                  <a:pt x="48" y="0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84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6" y="6"/>
                </a:lnTo>
                <a:lnTo>
                  <a:pt x="96" y="6"/>
                </a:lnTo>
                <a:lnTo>
                  <a:pt x="102" y="6"/>
                </a:lnTo>
                <a:lnTo>
                  <a:pt x="108" y="6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42"/>
                </a:lnTo>
                <a:lnTo>
                  <a:pt x="108" y="42"/>
                </a:lnTo>
                <a:lnTo>
                  <a:pt x="102" y="42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84" y="48"/>
                </a:lnTo>
                <a:lnTo>
                  <a:pt x="84" y="54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54"/>
                </a:lnTo>
                <a:lnTo>
                  <a:pt x="78" y="54"/>
                </a:lnTo>
                <a:lnTo>
                  <a:pt x="78" y="54"/>
                </a:lnTo>
                <a:lnTo>
                  <a:pt x="84" y="54"/>
                </a:lnTo>
                <a:lnTo>
                  <a:pt x="84" y="54"/>
                </a:lnTo>
                <a:lnTo>
                  <a:pt x="78" y="54"/>
                </a:lnTo>
                <a:lnTo>
                  <a:pt x="78" y="54"/>
                </a:lnTo>
                <a:lnTo>
                  <a:pt x="78" y="60"/>
                </a:lnTo>
                <a:lnTo>
                  <a:pt x="72" y="54"/>
                </a:lnTo>
                <a:lnTo>
                  <a:pt x="72" y="54"/>
                </a:lnTo>
                <a:lnTo>
                  <a:pt x="72" y="60"/>
                </a:lnTo>
                <a:lnTo>
                  <a:pt x="72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0" y="66"/>
                </a:lnTo>
                <a:lnTo>
                  <a:pt x="54" y="66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8"/>
                </a:lnTo>
                <a:lnTo>
                  <a:pt x="48" y="78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8"/>
                </a:lnTo>
                <a:lnTo>
                  <a:pt x="48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36" y="60"/>
                </a:lnTo>
                <a:lnTo>
                  <a:pt x="42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48"/>
                </a:lnTo>
                <a:lnTo>
                  <a:pt x="36" y="48"/>
                </a:lnTo>
                <a:lnTo>
                  <a:pt x="42" y="48"/>
                </a:lnTo>
                <a:lnTo>
                  <a:pt x="36" y="48"/>
                </a:lnTo>
                <a:lnTo>
                  <a:pt x="36" y="36"/>
                </a:lnTo>
                <a:lnTo>
                  <a:pt x="36" y="36"/>
                </a:lnTo>
                <a:lnTo>
                  <a:pt x="30" y="36"/>
                </a:lnTo>
                <a:lnTo>
                  <a:pt x="24" y="36"/>
                </a:lnTo>
                <a:lnTo>
                  <a:pt x="24" y="30"/>
                </a:lnTo>
                <a:lnTo>
                  <a:pt x="24" y="24"/>
                </a:lnTo>
                <a:lnTo>
                  <a:pt x="18" y="24"/>
                </a:lnTo>
                <a:lnTo>
                  <a:pt x="12" y="24"/>
                </a:lnTo>
                <a:lnTo>
                  <a:pt x="12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0" y="24"/>
                </a:lnTo>
                <a:lnTo>
                  <a:pt x="0" y="18"/>
                </a:lnTo>
                <a:lnTo>
                  <a:pt x="0" y="1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19" name="Freeform 152"/>
          <p:cNvSpPr>
            <a:spLocks/>
          </p:cNvSpPr>
          <p:nvPr/>
        </p:nvSpPr>
        <p:spPr bwMode="auto">
          <a:xfrm>
            <a:off x="8682708" y="2021477"/>
            <a:ext cx="51392" cy="77089"/>
          </a:xfrm>
          <a:custGeom>
            <a:avLst/>
            <a:gdLst>
              <a:gd name="T0" fmla="*/ 6 w 48"/>
              <a:gd name="T1" fmla="*/ 54 h 72"/>
              <a:gd name="T2" fmla="*/ 6 w 48"/>
              <a:gd name="T3" fmla="*/ 54 h 72"/>
              <a:gd name="T4" fmla="*/ 12 w 48"/>
              <a:gd name="T5" fmla="*/ 54 h 72"/>
              <a:gd name="T6" fmla="*/ 12 w 48"/>
              <a:gd name="T7" fmla="*/ 54 h 72"/>
              <a:gd name="T8" fmla="*/ 12 w 48"/>
              <a:gd name="T9" fmla="*/ 48 h 72"/>
              <a:gd name="T10" fmla="*/ 12 w 48"/>
              <a:gd name="T11" fmla="*/ 42 h 72"/>
              <a:gd name="T12" fmla="*/ 6 w 48"/>
              <a:gd name="T13" fmla="*/ 36 h 72"/>
              <a:gd name="T14" fmla="*/ 12 w 48"/>
              <a:gd name="T15" fmla="*/ 36 h 72"/>
              <a:gd name="T16" fmla="*/ 24 w 48"/>
              <a:gd name="T17" fmla="*/ 36 h 72"/>
              <a:gd name="T18" fmla="*/ 24 w 48"/>
              <a:gd name="T19" fmla="*/ 30 h 72"/>
              <a:gd name="T20" fmla="*/ 30 w 48"/>
              <a:gd name="T21" fmla="*/ 24 h 72"/>
              <a:gd name="T22" fmla="*/ 24 w 48"/>
              <a:gd name="T23" fmla="*/ 18 h 72"/>
              <a:gd name="T24" fmla="*/ 24 w 48"/>
              <a:gd name="T25" fmla="*/ 12 h 72"/>
              <a:gd name="T26" fmla="*/ 24 w 48"/>
              <a:gd name="T27" fmla="*/ 6 h 72"/>
              <a:gd name="T28" fmla="*/ 24 w 48"/>
              <a:gd name="T29" fmla="*/ 6 h 72"/>
              <a:gd name="T30" fmla="*/ 24 w 48"/>
              <a:gd name="T31" fmla="*/ 6 h 72"/>
              <a:gd name="T32" fmla="*/ 30 w 48"/>
              <a:gd name="T33" fmla="*/ 6 h 72"/>
              <a:gd name="T34" fmla="*/ 36 w 48"/>
              <a:gd name="T35" fmla="*/ 6 h 72"/>
              <a:gd name="T36" fmla="*/ 36 w 48"/>
              <a:gd name="T37" fmla="*/ 0 h 72"/>
              <a:gd name="T38" fmla="*/ 42 w 48"/>
              <a:gd name="T39" fmla="*/ 0 h 72"/>
              <a:gd name="T40" fmla="*/ 42 w 48"/>
              <a:gd name="T41" fmla="*/ 0 h 72"/>
              <a:gd name="T42" fmla="*/ 42 w 48"/>
              <a:gd name="T43" fmla="*/ 12 h 72"/>
              <a:gd name="T44" fmla="*/ 42 w 48"/>
              <a:gd name="T45" fmla="*/ 12 h 72"/>
              <a:gd name="T46" fmla="*/ 42 w 48"/>
              <a:gd name="T47" fmla="*/ 18 h 72"/>
              <a:gd name="T48" fmla="*/ 42 w 48"/>
              <a:gd name="T49" fmla="*/ 18 h 72"/>
              <a:gd name="T50" fmla="*/ 42 w 48"/>
              <a:gd name="T51" fmla="*/ 24 h 72"/>
              <a:gd name="T52" fmla="*/ 36 w 48"/>
              <a:gd name="T53" fmla="*/ 30 h 72"/>
              <a:gd name="T54" fmla="*/ 36 w 48"/>
              <a:gd name="T55" fmla="*/ 42 h 72"/>
              <a:gd name="T56" fmla="*/ 36 w 48"/>
              <a:gd name="T57" fmla="*/ 48 h 72"/>
              <a:gd name="T58" fmla="*/ 42 w 48"/>
              <a:gd name="T59" fmla="*/ 48 h 72"/>
              <a:gd name="T60" fmla="*/ 48 w 48"/>
              <a:gd name="T61" fmla="*/ 60 h 72"/>
              <a:gd name="T62" fmla="*/ 48 w 48"/>
              <a:gd name="T63" fmla="*/ 54 h 72"/>
              <a:gd name="T64" fmla="*/ 48 w 48"/>
              <a:gd name="T65" fmla="*/ 60 h 72"/>
              <a:gd name="T66" fmla="*/ 48 w 48"/>
              <a:gd name="T67" fmla="*/ 66 h 72"/>
              <a:gd name="T68" fmla="*/ 42 w 48"/>
              <a:gd name="T69" fmla="*/ 66 h 72"/>
              <a:gd name="T70" fmla="*/ 30 w 48"/>
              <a:gd name="T71" fmla="*/ 72 h 72"/>
              <a:gd name="T72" fmla="*/ 30 w 48"/>
              <a:gd name="T73" fmla="*/ 72 h 72"/>
              <a:gd name="T74" fmla="*/ 24 w 48"/>
              <a:gd name="T75" fmla="*/ 72 h 72"/>
              <a:gd name="T76" fmla="*/ 18 w 48"/>
              <a:gd name="T77" fmla="*/ 66 h 72"/>
              <a:gd name="T78" fmla="*/ 18 w 48"/>
              <a:gd name="T79" fmla="*/ 72 h 72"/>
              <a:gd name="T80" fmla="*/ 12 w 48"/>
              <a:gd name="T81" fmla="*/ 72 h 72"/>
              <a:gd name="T82" fmla="*/ 12 w 48"/>
              <a:gd name="T83" fmla="*/ 72 h 72"/>
              <a:gd name="T84" fmla="*/ 6 w 48"/>
              <a:gd name="T85" fmla="*/ 72 h 72"/>
              <a:gd name="T86" fmla="*/ 6 w 48"/>
              <a:gd name="T87" fmla="*/ 72 h 72"/>
              <a:gd name="T88" fmla="*/ 6 w 48"/>
              <a:gd name="T89" fmla="*/ 66 h 72"/>
              <a:gd name="T90" fmla="*/ 6 w 48"/>
              <a:gd name="T91" fmla="*/ 66 h 72"/>
              <a:gd name="T92" fmla="*/ 6 w 48"/>
              <a:gd name="T93" fmla="*/ 60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8" h="72">
                <a:moveTo>
                  <a:pt x="0" y="60"/>
                </a:moveTo>
                <a:lnTo>
                  <a:pt x="6" y="60"/>
                </a:lnTo>
                <a:lnTo>
                  <a:pt x="6" y="54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12" y="60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8" y="42"/>
                </a:lnTo>
                <a:lnTo>
                  <a:pt x="24" y="36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30" y="30"/>
                </a:lnTo>
                <a:lnTo>
                  <a:pt x="30" y="24"/>
                </a:lnTo>
                <a:lnTo>
                  <a:pt x="30" y="24"/>
                </a:lnTo>
                <a:lnTo>
                  <a:pt x="30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0"/>
                </a:lnTo>
                <a:lnTo>
                  <a:pt x="36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6"/>
                </a:lnTo>
                <a:lnTo>
                  <a:pt x="42" y="6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6"/>
                </a:lnTo>
                <a:lnTo>
                  <a:pt x="42" y="42"/>
                </a:lnTo>
                <a:lnTo>
                  <a:pt x="36" y="42"/>
                </a:lnTo>
                <a:lnTo>
                  <a:pt x="36" y="42"/>
                </a:lnTo>
                <a:lnTo>
                  <a:pt x="36" y="48"/>
                </a:lnTo>
                <a:lnTo>
                  <a:pt x="36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54"/>
                </a:lnTo>
                <a:lnTo>
                  <a:pt x="42" y="60"/>
                </a:lnTo>
                <a:lnTo>
                  <a:pt x="48" y="60"/>
                </a:lnTo>
                <a:lnTo>
                  <a:pt x="48" y="60"/>
                </a:lnTo>
                <a:lnTo>
                  <a:pt x="48" y="54"/>
                </a:lnTo>
                <a:lnTo>
                  <a:pt x="48" y="54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72"/>
                </a:lnTo>
                <a:lnTo>
                  <a:pt x="18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0" y="6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20" name="Freeform 153"/>
          <p:cNvSpPr>
            <a:spLocks/>
          </p:cNvSpPr>
          <p:nvPr/>
        </p:nvSpPr>
        <p:spPr bwMode="auto">
          <a:xfrm>
            <a:off x="8721253" y="2008628"/>
            <a:ext cx="44968" cy="77089"/>
          </a:xfrm>
          <a:custGeom>
            <a:avLst/>
            <a:gdLst>
              <a:gd name="T0" fmla="*/ 0 w 42"/>
              <a:gd name="T1" fmla="*/ 42 h 72"/>
              <a:gd name="T2" fmla="*/ 6 w 42"/>
              <a:gd name="T3" fmla="*/ 36 h 72"/>
              <a:gd name="T4" fmla="*/ 6 w 42"/>
              <a:gd name="T5" fmla="*/ 36 h 72"/>
              <a:gd name="T6" fmla="*/ 6 w 42"/>
              <a:gd name="T7" fmla="*/ 30 h 72"/>
              <a:gd name="T8" fmla="*/ 6 w 42"/>
              <a:gd name="T9" fmla="*/ 30 h 72"/>
              <a:gd name="T10" fmla="*/ 6 w 42"/>
              <a:gd name="T11" fmla="*/ 30 h 72"/>
              <a:gd name="T12" fmla="*/ 6 w 42"/>
              <a:gd name="T13" fmla="*/ 24 h 72"/>
              <a:gd name="T14" fmla="*/ 6 w 42"/>
              <a:gd name="T15" fmla="*/ 24 h 72"/>
              <a:gd name="T16" fmla="*/ 6 w 42"/>
              <a:gd name="T17" fmla="*/ 18 h 72"/>
              <a:gd name="T18" fmla="*/ 12 w 42"/>
              <a:gd name="T19" fmla="*/ 18 h 72"/>
              <a:gd name="T20" fmla="*/ 12 w 42"/>
              <a:gd name="T21" fmla="*/ 18 h 72"/>
              <a:gd name="T22" fmla="*/ 12 w 42"/>
              <a:gd name="T23" fmla="*/ 18 h 72"/>
              <a:gd name="T24" fmla="*/ 18 w 42"/>
              <a:gd name="T25" fmla="*/ 12 h 72"/>
              <a:gd name="T26" fmla="*/ 18 w 42"/>
              <a:gd name="T27" fmla="*/ 12 h 72"/>
              <a:gd name="T28" fmla="*/ 18 w 42"/>
              <a:gd name="T29" fmla="*/ 12 h 72"/>
              <a:gd name="T30" fmla="*/ 18 w 42"/>
              <a:gd name="T31" fmla="*/ 12 h 72"/>
              <a:gd name="T32" fmla="*/ 18 w 42"/>
              <a:gd name="T33" fmla="*/ 6 h 72"/>
              <a:gd name="T34" fmla="*/ 18 w 42"/>
              <a:gd name="T35" fmla="*/ 6 h 72"/>
              <a:gd name="T36" fmla="*/ 24 w 42"/>
              <a:gd name="T37" fmla="*/ 0 h 72"/>
              <a:gd name="T38" fmla="*/ 18 w 42"/>
              <a:gd name="T39" fmla="*/ 0 h 72"/>
              <a:gd name="T40" fmla="*/ 24 w 42"/>
              <a:gd name="T41" fmla="*/ 0 h 72"/>
              <a:gd name="T42" fmla="*/ 24 w 42"/>
              <a:gd name="T43" fmla="*/ 0 h 72"/>
              <a:gd name="T44" fmla="*/ 30 w 42"/>
              <a:gd name="T45" fmla="*/ 0 h 72"/>
              <a:gd name="T46" fmla="*/ 24 w 42"/>
              <a:gd name="T47" fmla="*/ 6 h 72"/>
              <a:gd name="T48" fmla="*/ 24 w 42"/>
              <a:gd name="T49" fmla="*/ 12 h 72"/>
              <a:gd name="T50" fmla="*/ 30 w 42"/>
              <a:gd name="T51" fmla="*/ 12 h 72"/>
              <a:gd name="T52" fmla="*/ 30 w 42"/>
              <a:gd name="T53" fmla="*/ 12 h 72"/>
              <a:gd name="T54" fmla="*/ 30 w 42"/>
              <a:gd name="T55" fmla="*/ 12 h 72"/>
              <a:gd name="T56" fmla="*/ 36 w 42"/>
              <a:gd name="T57" fmla="*/ 12 h 72"/>
              <a:gd name="T58" fmla="*/ 36 w 42"/>
              <a:gd name="T59" fmla="*/ 12 h 72"/>
              <a:gd name="T60" fmla="*/ 30 w 42"/>
              <a:gd name="T61" fmla="*/ 18 h 72"/>
              <a:gd name="T62" fmla="*/ 36 w 42"/>
              <a:gd name="T63" fmla="*/ 24 h 72"/>
              <a:gd name="T64" fmla="*/ 36 w 42"/>
              <a:gd name="T65" fmla="*/ 30 h 72"/>
              <a:gd name="T66" fmla="*/ 36 w 42"/>
              <a:gd name="T67" fmla="*/ 24 h 72"/>
              <a:gd name="T68" fmla="*/ 30 w 42"/>
              <a:gd name="T69" fmla="*/ 30 h 72"/>
              <a:gd name="T70" fmla="*/ 30 w 42"/>
              <a:gd name="T71" fmla="*/ 30 h 72"/>
              <a:gd name="T72" fmla="*/ 30 w 42"/>
              <a:gd name="T73" fmla="*/ 36 h 72"/>
              <a:gd name="T74" fmla="*/ 30 w 42"/>
              <a:gd name="T75" fmla="*/ 36 h 72"/>
              <a:gd name="T76" fmla="*/ 36 w 42"/>
              <a:gd name="T77" fmla="*/ 36 h 72"/>
              <a:gd name="T78" fmla="*/ 36 w 42"/>
              <a:gd name="T79" fmla="*/ 36 h 72"/>
              <a:gd name="T80" fmla="*/ 36 w 42"/>
              <a:gd name="T81" fmla="*/ 36 h 72"/>
              <a:gd name="T82" fmla="*/ 36 w 42"/>
              <a:gd name="T83" fmla="*/ 42 h 72"/>
              <a:gd name="T84" fmla="*/ 36 w 42"/>
              <a:gd name="T85" fmla="*/ 48 h 72"/>
              <a:gd name="T86" fmla="*/ 36 w 42"/>
              <a:gd name="T87" fmla="*/ 48 h 72"/>
              <a:gd name="T88" fmla="*/ 36 w 42"/>
              <a:gd name="T89" fmla="*/ 54 h 72"/>
              <a:gd name="T90" fmla="*/ 36 w 42"/>
              <a:gd name="T91" fmla="*/ 54 h 72"/>
              <a:gd name="T92" fmla="*/ 42 w 42"/>
              <a:gd name="T93" fmla="*/ 60 h 72"/>
              <a:gd name="T94" fmla="*/ 42 w 42"/>
              <a:gd name="T95" fmla="*/ 60 h 72"/>
              <a:gd name="T96" fmla="*/ 36 w 42"/>
              <a:gd name="T97" fmla="*/ 66 h 72"/>
              <a:gd name="T98" fmla="*/ 30 w 42"/>
              <a:gd name="T99" fmla="*/ 66 h 72"/>
              <a:gd name="T100" fmla="*/ 30 w 42"/>
              <a:gd name="T101" fmla="*/ 66 h 72"/>
              <a:gd name="T102" fmla="*/ 30 w 42"/>
              <a:gd name="T103" fmla="*/ 72 h 72"/>
              <a:gd name="T104" fmla="*/ 24 w 42"/>
              <a:gd name="T105" fmla="*/ 72 h 72"/>
              <a:gd name="T106" fmla="*/ 18 w 42"/>
              <a:gd name="T107" fmla="*/ 72 h 72"/>
              <a:gd name="T108" fmla="*/ 12 w 42"/>
              <a:gd name="T109" fmla="*/ 72 h 72"/>
              <a:gd name="T110" fmla="*/ 12 w 42"/>
              <a:gd name="T111" fmla="*/ 66 h 72"/>
              <a:gd name="T112" fmla="*/ 12 w 42"/>
              <a:gd name="T113" fmla="*/ 72 h 72"/>
              <a:gd name="T114" fmla="*/ 6 w 42"/>
              <a:gd name="T115" fmla="*/ 66 h 72"/>
              <a:gd name="T116" fmla="*/ 6 w 42"/>
              <a:gd name="T117" fmla="*/ 60 h 72"/>
              <a:gd name="T118" fmla="*/ 0 w 42"/>
              <a:gd name="T119" fmla="*/ 60 h 72"/>
              <a:gd name="T120" fmla="*/ 0 w 42"/>
              <a:gd name="T121" fmla="*/ 54 h 72"/>
              <a:gd name="T122" fmla="*/ 6 w 42"/>
              <a:gd name="T123" fmla="*/ 54 h 72"/>
              <a:gd name="T124" fmla="*/ 0 w 42"/>
              <a:gd name="T125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2" h="72">
                <a:moveTo>
                  <a:pt x="0" y="42"/>
                </a:moveTo>
                <a:lnTo>
                  <a:pt x="0" y="42"/>
                </a:lnTo>
                <a:lnTo>
                  <a:pt x="0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8" y="18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24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30" y="0"/>
                </a:lnTo>
                <a:lnTo>
                  <a:pt x="30" y="0"/>
                </a:lnTo>
                <a:lnTo>
                  <a:pt x="24" y="6"/>
                </a:lnTo>
                <a:lnTo>
                  <a:pt x="24" y="12"/>
                </a:lnTo>
                <a:lnTo>
                  <a:pt x="24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8"/>
                </a:lnTo>
                <a:lnTo>
                  <a:pt x="30" y="18"/>
                </a:lnTo>
                <a:lnTo>
                  <a:pt x="36" y="18"/>
                </a:lnTo>
                <a:lnTo>
                  <a:pt x="36" y="24"/>
                </a:lnTo>
                <a:lnTo>
                  <a:pt x="36" y="30"/>
                </a:lnTo>
                <a:lnTo>
                  <a:pt x="36" y="30"/>
                </a:lnTo>
                <a:lnTo>
                  <a:pt x="36" y="24"/>
                </a:lnTo>
                <a:lnTo>
                  <a:pt x="36" y="24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42"/>
                </a:lnTo>
                <a:lnTo>
                  <a:pt x="36" y="42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36" y="66"/>
                </a:lnTo>
                <a:lnTo>
                  <a:pt x="36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18" y="72"/>
                </a:lnTo>
                <a:lnTo>
                  <a:pt x="18" y="72"/>
                </a:lnTo>
                <a:lnTo>
                  <a:pt x="12" y="72"/>
                </a:lnTo>
                <a:lnTo>
                  <a:pt x="12" y="66"/>
                </a:lnTo>
                <a:lnTo>
                  <a:pt x="12" y="66"/>
                </a:lnTo>
                <a:lnTo>
                  <a:pt x="12" y="72"/>
                </a:lnTo>
                <a:lnTo>
                  <a:pt x="12" y="72"/>
                </a:lnTo>
                <a:lnTo>
                  <a:pt x="6" y="72"/>
                </a:lnTo>
                <a:lnTo>
                  <a:pt x="6" y="66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0" y="60"/>
                </a:lnTo>
                <a:lnTo>
                  <a:pt x="0" y="60"/>
                </a:lnTo>
                <a:lnTo>
                  <a:pt x="0" y="54"/>
                </a:lnTo>
                <a:lnTo>
                  <a:pt x="0" y="54"/>
                </a:lnTo>
                <a:lnTo>
                  <a:pt x="6" y="54"/>
                </a:lnTo>
                <a:lnTo>
                  <a:pt x="0" y="48"/>
                </a:lnTo>
                <a:lnTo>
                  <a:pt x="0" y="4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21" name="Freeform 154"/>
          <p:cNvSpPr>
            <a:spLocks/>
          </p:cNvSpPr>
          <p:nvPr/>
        </p:nvSpPr>
        <p:spPr bwMode="auto">
          <a:xfrm>
            <a:off x="8567075" y="2098566"/>
            <a:ext cx="122057" cy="109210"/>
          </a:xfrm>
          <a:custGeom>
            <a:avLst/>
            <a:gdLst>
              <a:gd name="T0" fmla="*/ 0 w 114"/>
              <a:gd name="T1" fmla="*/ 6 h 102"/>
              <a:gd name="T2" fmla="*/ 6 w 114"/>
              <a:gd name="T3" fmla="*/ 6 h 102"/>
              <a:gd name="T4" fmla="*/ 12 w 114"/>
              <a:gd name="T5" fmla="*/ 6 h 102"/>
              <a:gd name="T6" fmla="*/ 36 w 114"/>
              <a:gd name="T7" fmla="*/ 6 h 102"/>
              <a:gd name="T8" fmla="*/ 48 w 114"/>
              <a:gd name="T9" fmla="*/ 24 h 102"/>
              <a:gd name="T10" fmla="*/ 54 w 114"/>
              <a:gd name="T11" fmla="*/ 30 h 102"/>
              <a:gd name="T12" fmla="*/ 60 w 114"/>
              <a:gd name="T13" fmla="*/ 30 h 102"/>
              <a:gd name="T14" fmla="*/ 66 w 114"/>
              <a:gd name="T15" fmla="*/ 30 h 102"/>
              <a:gd name="T16" fmla="*/ 72 w 114"/>
              <a:gd name="T17" fmla="*/ 24 h 102"/>
              <a:gd name="T18" fmla="*/ 90 w 114"/>
              <a:gd name="T19" fmla="*/ 30 h 102"/>
              <a:gd name="T20" fmla="*/ 90 w 114"/>
              <a:gd name="T21" fmla="*/ 30 h 102"/>
              <a:gd name="T22" fmla="*/ 90 w 114"/>
              <a:gd name="T23" fmla="*/ 36 h 102"/>
              <a:gd name="T24" fmla="*/ 90 w 114"/>
              <a:gd name="T25" fmla="*/ 36 h 102"/>
              <a:gd name="T26" fmla="*/ 90 w 114"/>
              <a:gd name="T27" fmla="*/ 36 h 102"/>
              <a:gd name="T28" fmla="*/ 90 w 114"/>
              <a:gd name="T29" fmla="*/ 42 h 102"/>
              <a:gd name="T30" fmla="*/ 96 w 114"/>
              <a:gd name="T31" fmla="*/ 42 h 102"/>
              <a:gd name="T32" fmla="*/ 102 w 114"/>
              <a:gd name="T33" fmla="*/ 48 h 102"/>
              <a:gd name="T34" fmla="*/ 102 w 114"/>
              <a:gd name="T35" fmla="*/ 48 h 102"/>
              <a:gd name="T36" fmla="*/ 108 w 114"/>
              <a:gd name="T37" fmla="*/ 48 h 102"/>
              <a:gd name="T38" fmla="*/ 108 w 114"/>
              <a:gd name="T39" fmla="*/ 54 h 102"/>
              <a:gd name="T40" fmla="*/ 114 w 114"/>
              <a:gd name="T41" fmla="*/ 54 h 102"/>
              <a:gd name="T42" fmla="*/ 108 w 114"/>
              <a:gd name="T43" fmla="*/ 60 h 102"/>
              <a:gd name="T44" fmla="*/ 108 w 114"/>
              <a:gd name="T45" fmla="*/ 66 h 102"/>
              <a:gd name="T46" fmla="*/ 108 w 114"/>
              <a:gd name="T47" fmla="*/ 66 h 102"/>
              <a:gd name="T48" fmla="*/ 102 w 114"/>
              <a:gd name="T49" fmla="*/ 72 h 102"/>
              <a:gd name="T50" fmla="*/ 96 w 114"/>
              <a:gd name="T51" fmla="*/ 66 h 102"/>
              <a:gd name="T52" fmla="*/ 90 w 114"/>
              <a:gd name="T53" fmla="*/ 72 h 102"/>
              <a:gd name="T54" fmla="*/ 90 w 114"/>
              <a:gd name="T55" fmla="*/ 72 h 102"/>
              <a:gd name="T56" fmla="*/ 90 w 114"/>
              <a:gd name="T57" fmla="*/ 78 h 102"/>
              <a:gd name="T58" fmla="*/ 90 w 114"/>
              <a:gd name="T59" fmla="*/ 78 h 102"/>
              <a:gd name="T60" fmla="*/ 90 w 114"/>
              <a:gd name="T61" fmla="*/ 78 h 102"/>
              <a:gd name="T62" fmla="*/ 84 w 114"/>
              <a:gd name="T63" fmla="*/ 84 h 102"/>
              <a:gd name="T64" fmla="*/ 84 w 114"/>
              <a:gd name="T65" fmla="*/ 84 h 102"/>
              <a:gd name="T66" fmla="*/ 78 w 114"/>
              <a:gd name="T67" fmla="*/ 84 h 102"/>
              <a:gd name="T68" fmla="*/ 66 w 114"/>
              <a:gd name="T69" fmla="*/ 84 h 102"/>
              <a:gd name="T70" fmla="*/ 60 w 114"/>
              <a:gd name="T71" fmla="*/ 84 h 102"/>
              <a:gd name="T72" fmla="*/ 60 w 114"/>
              <a:gd name="T73" fmla="*/ 90 h 102"/>
              <a:gd name="T74" fmla="*/ 54 w 114"/>
              <a:gd name="T75" fmla="*/ 90 h 102"/>
              <a:gd name="T76" fmla="*/ 42 w 114"/>
              <a:gd name="T77" fmla="*/ 84 h 102"/>
              <a:gd name="T78" fmla="*/ 36 w 114"/>
              <a:gd name="T79" fmla="*/ 90 h 102"/>
              <a:gd name="T80" fmla="*/ 36 w 114"/>
              <a:gd name="T81" fmla="*/ 96 h 102"/>
              <a:gd name="T82" fmla="*/ 36 w 114"/>
              <a:gd name="T83" fmla="*/ 96 h 102"/>
              <a:gd name="T84" fmla="*/ 30 w 114"/>
              <a:gd name="T85" fmla="*/ 102 h 102"/>
              <a:gd name="T86" fmla="*/ 24 w 114"/>
              <a:gd name="T87" fmla="*/ 102 h 102"/>
              <a:gd name="T88" fmla="*/ 18 w 114"/>
              <a:gd name="T89" fmla="*/ 90 h 102"/>
              <a:gd name="T90" fmla="*/ 12 w 114"/>
              <a:gd name="T91" fmla="*/ 78 h 102"/>
              <a:gd name="T92" fmla="*/ 12 w 114"/>
              <a:gd name="T93" fmla="*/ 78 h 102"/>
              <a:gd name="T94" fmla="*/ 12 w 114"/>
              <a:gd name="T95" fmla="*/ 72 h 102"/>
              <a:gd name="T96" fmla="*/ 18 w 114"/>
              <a:gd name="T97" fmla="*/ 72 h 102"/>
              <a:gd name="T98" fmla="*/ 12 w 114"/>
              <a:gd name="T99" fmla="*/ 54 h 102"/>
              <a:gd name="T100" fmla="*/ 12 w 114"/>
              <a:gd name="T101" fmla="*/ 24 h 102"/>
              <a:gd name="T102" fmla="*/ 6 w 114"/>
              <a:gd name="T103" fmla="*/ 18 h 102"/>
              <a:gd name="T104" fmla="*/ 6 w 114"/>
              <a:gd name="T105" fmla="*/ 18 h 102"/>
              <a:gd name="T106" fmla="*/ 6 w 114"/>
              <a:gd name="T107" fmla="*/ 12 h 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14" h="102">
                <a:moveTo>
                  <a:pt x="0" y="12"/>
                </a:moveTo>
                <a:lnTo>
                  <a:pt x="6" y="12"/>
                </a:lnTo>
                <a:lnTo>
                  <a:pt x="6" y="6"/>
                </a:lnTo>
                <a:lnTo>
                  <a:pt x="0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0"/>
                </a:lnTo>
                <a:lnTo>
                  <a:pt x="6" y="0"/>
                </a:lnTo>
                <a:lnTo>
                  <a:pt x="12" y="0"/>
                </a:lnTo>
                <a:lnTo>
                  <a:pt x="12" y="6"/>
                </a:lnTo>
                <a:lnTo>
                  <a:pt x="18" y="6"/>
                </a:lnTo>
                <a:lnTo>
                  <a:pt x="24" y="6"/>
                </a:lnTo>
                <a:lnTo>
                  <a:pt x="30" y="6"/>
                </a:lnTo>
                <a:lnTo>
                  <a:pt x="36" y="6"/>
                </a:lnTo>
                <a:lnTo>
                  <a:pt x="36" y="12"/>
                </a:lnTo>
                <a:lnTo>
                  <a:pt x="48" y="6"/>
                </a:lnTo>
                <a:lnTo>
                  <a:pt x="48" y="18"/>
                </a:lnTo>
                <a:lnTo>
                  <a:pt x="48" y="24"/>
                </a:lnTo>
                <a:lnTo>
                  <a:pt x="48" y="30"/>
                </a:lnTo>
                <a:lnTo>
                  <a:pt x="48" y="30"/>
                </a:lnTo>
                <a:lnTo>
                  <a:pt x="54" y="30"/>
                </a:lnTo>
                <a:lnTo>
                  <a:pt x="54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24"/>
                </a:lnTo>
                <a:lnTo>
                  <a:pt x="72" y="24"/>
                </a:lnTo>
                <a:lnTo>
                  <a:pt x="72" y="30"/>
                </a:lnTo>
                <a:lnTo>
                  <a:pt x="84" y="30"/>
                </a:lnTo>
                <a:lnTo>
                  <a:pt x="84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6" y="42"/>
                </a:lnTo>
                <a:lnTo>
                  <a:pt x="96" y="48"/>
                </a:lnTo>
                <a:lnTo>
                  <a:pt x="96" y="42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08" y="54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72"/>
                </a:lnTo>
                <a:lnTo>
                  <a:pt x="102" y="72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72"/>
                </a:lnTo>
                <a:lnTo>
                  <a:pt x="90" y="72"/>
                </a:lnTo>
                <a:lnTo>
                  <a:pt x="90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0" y="72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84"/>
                </a:lnTo>
                <a:lnTo>
                  <a:pt x="90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78" y="84"/>
                </a:lnTo>
                <a:lnTo>
                  <a:pt x="78" y="84"/>
                </a:lnTo>
                <a:lnTo>
                  <a:pt x="72" y="84"/>
                </a:lnTo>
                <a:lnTo>
                  <a:pt x="72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0" y="78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90"/>
                </a:lnTo>
                <a:lnTo>
                  <a:pt x="60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84"/>
                </a:lnTo>
                <a:lnTo>
                  <a:pt x="48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36" y="84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24" y="102"/>
                </a:lnTo>
                <a:lnTo>
                  <a:pt x="24" y="102"/>
                </a:lnTo>
                <a:lnTo>
                  <a:pt x="18" y="96"/>
                </a:lnTo>
                <a:lnTo>
                  <a:pt x="18" y="96"/>
                </a:lnTo>
                <a:lnTo>
                  <a:pt x="18" y="90"/>
                </a:lnTo>
                <a:lnTo>
                  <a:pt x="18" y="90"/>
                </a:lnTo>
                <a:lnTo>
                  <a:pt x="18" y="84"/>
                </a:lnTo>
                <a:lnTo>
                  <a:pt x="18" y="84"/>
                </a:lnTo>
                <a:lnTo>
                  <a:pt x="12" y="84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66"/>
                </a:lnTo>
                <a:lnTo>
                  <a:pt x="18" y="66"/>
                </a:lnTo>
                <a:lnTo>
                  <a:pt x="12" y="66"/>
                </a:lnTo>
                <a:lnTo>
                  <a:pt x="12" y="54"/>
                </a:lnTo>
                <a:lnTo>
                  <a:pt x="24" y="48"/>
                </a:lnTo>
                <a:lnTo>
                  <a:pt x="6" y="30"/>
                </a:lnTo>
                <a:lnTo>
                  <a:pt x="12" y="30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0" y="12"/>
                </a:lnTo>
                <a:lnTo>
                  <a:pt x="0" y="1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22" name="Freeform 155"/>
          <p:cNvSpPr>
            <a:spLocks/>
          </p:cNvSpPr>
          <p:nvPr/>
        </p:nvSpPr>
        <p:spPr bwMode="auto">
          <a:xfrm>
            <a:off x="8592772" y="1995780"/>
            <a:ext cx="115633" cy="115634"/>
          </a:xfrm>
          <a:custGeom>
            <a:avLst/>
            <a:gdLst>
              <a:gd name="T0" fmla="*/ 6 w 108"/>
              <a:gd name="T1" fmla="*/ 96 h 108"/>
              <a:gd name="T2" fmla="*/ 0 w 108"/>
              <a:gd name="T3" fmla="*/ 84 h 108"/>
              <a:gd name="T4" fmla="*/ 6 w 108"/>
              <a:gd name="T5" fmla="*/ 78 h 108"/>
              <a:gd name="T6" fmla="*/ 24 w 108"/>
              <a:gd name="T7" fmla="*/ 72 h 108"/>
              <a:gd name="T8" fmla="*/ 24 w 108"/>
              <a:gd name="T9" fmla="*/ 72 h 108"/>
              <a:gd name="T10" fmla="*/ 30 w 108"/>
              <a:gd name="T11" fmla="*/ 60 h 108"/>
              <a:gd name="T12" fmla="*/ 36 w 108"/>
              <a:gd name="T13" fmla="*/ 36 h 108"/>
              <a:gd name="T14" fmla="*/ 36 w 108"/>
              <a:gd name="T15" fmla="*/ 18 h 108"/>
              <a:gd name="T16" fmla="*/ 42 w 108"/>
              <a:gd name="T17" fmla="*/ 6 h 108"/>
              <a:gd name="T18" fmla="*/ 48 w 108"/>
              <a:gd name="T19" fmla="*/ 0 h 108"/>
              <a:gd name="T20" fmla="*/ 54 w 108"/>
              <a:gd name="T21" fmla="*/ 0 h 108"/>
              <a:gd name="T22" fmla="*/ 54 w 108"/>
              <a:gd name="T23" fmla="*/ 0 h 108"/>
              <a:gd name="T24" fmla="*/ 54 w 108"/>
              <a:gd name="T25" fmla="*/ 0 h 108"/>
              <a:gd name="T26" fmla="*/ 60 w 108"/>
              <a:gd name="T27" fmla="*/ 6 h 108"/>
              <a:gd name="T28" fmla="*/ 66 w 108"/>
              <a:gd name="T29" fmla="*/ 6 h 108"/>
              <a:gd name="T30" fmla="*/ 66 w 108"/>
              <a:gd name="T31" fmla="*/ 12 h 108"/>
              <a:gd name="T32" fmla="*/ 72 w 108"/>
              <a:gd name="T33" fmla="*/ 12 h 108"/>
              <a:gd name="T34" fmla="*/ 84 w 108"/>
              <a:gd name="T35" fmla="*/ 24 h 108"/>
              <a:gd name="T36" fmla="*/ 84 w 108"/>
              <a:gd name="T37" fmla="*/ 30 h 108"/>
              <a:gd name="T38" fmla="*/ 78 w 108"/>
              <a:gd name="T39" fmla="*/ 36 h 108"/>
              <a:gd name="T40" fmla="*/ 78 w 108"/>
              <a:gd name="T41" fmla="*/ 42 h 108"/>
              <a:gd name="T42" fmla="*/ 78 w 108"/>
              <a:gd name="T43" fmla="*/ 42 h 108"/>
              <a:gd name="T44" fmla="*/ 78 w 108"/>
              <a:gd name="T45" fmla="*/ 48 h 108"/>
              <a:gd name="T46" fmla="*/ 78 w 108"/>
              <a:gd name="T47" fmla="*/ 48 h 108"/>
              <a:gd name="T48" fmla="*/ 78 w 108"/>
              <a:gd name="T49" fmla="*/ 48 h 108"/>
              <a:gd name="T50" fmla="*/ 84 w 108"/>
              <a:gd name="T51" fmla="*/ 54 h 108"/>
              <a:gd name="T52" fmla="*/ 90 w 108"/>
              <a:gd name="T53" fmla="*/ 60 h 108"/>
              <a:gd name="T54" fmla="*/ 90 w 108"/>
              <a:gd name="T55" fmla="*/ 54 h 108"/>
              <a:gd name="T56" fmla="*/ 96 w 108"/>
              <a:gd name="T57" fmla="*/ 54 h 108"/>
              <a:gd name="T58" fmla="*/ 96 w 108"/>
              <a:gd name="T59" fmla="*/ 54 h 108"/>
              <a:gd name="T60" fmla="*/ 102 w 108"/>
              <a:gd name="T61" fmla="*/ 54 h 108"/>
              <a:gd name="T62" fmla="*/ 102 w 108"/>
              <a:gd name="T63" fmla="*/ 54 h 108"/>
              <a:gd name="T64" fmla="*/ 108 w 108"/>
              <a:gd name="T65" fmla="*/ 54 h 108"/>
              <a:gd name="T66" fmla="*/ 96 w 108"/>
              <a:gd name="T67" fmla="*/ 60 h 108"/>
              <a:gd name="T68" fmla="*/ 96 w 108"/>
              <a:gd name="T69" fmla="*/ 60 h 108"/>
              <a:gd name="T70" fmla="*/ 90 w 108"/>
              <a:gd name="T71" fmla="*/ 60 h 108"/>
              <a:gd name="T72" fmla="*/ 96 w 108"/>
              <a:gd name="T73" fmla="*/ 72 h 108"/>
              <a:gd name="T74" fmla="*/ 96 w 108"/>
              <a:gd name="T75" fmla="*/ 72 h 108"/>
              <a:gd name="T76" fmla="*/ 96 w 108"/>
              <a:gd name="T77" fmla="*/ 78 h 108"/>
              <a:gd name="T78" fmla="*/ 90 w 108"/>
              <a:gd name="T79" fmla="*/ 78 h 108"/>
              <a:gd name="T80" fmla="*/ 90 w 108"/>
              <a:gd name="T81" fmla="*/ 78 h 108"/>
              <a:gd name="T82" fmla="*/ 84 w 108"/>
              <a:gd name="T83" fmla="*/ 72 h 108"/>
              <a:gd name="T84" fmla="*/ 78 w 108"/>
              <a:gd name="T85" fmla="*/ 72 h 108"/>
              <a:gd name="T86" fmla="*/ 72 w 108"/>
              <a:gd name="T87" fmla="*/ 72 h 108"/>
              <a:gd name="T88" fmla="*/ 72 w 108"/>
              <a:gd name="T89" fmla="*/ 72 h 108"/>
              <a:gd name="T90" fmla="*/ 72 w 108"/>
              <a:gd name="T91" fmla="*/ 78 h 108"/>
              <a:gd name="T92" fmla="*/ 72 w 108"/>
              <a:gd name="T93" fmla="*/ 84 h 108"/>
              <a:gd name="T94" fmla="*/ 72 w 108"/>
              <a:gd name="T95" fmla="*/ 84 h 108"/>
              <a:gd name="T96" fmla="*/ 72 w 108"/>
              <a:gd name="T97" fmla="*/ 90 h 108"/>
              <a:gd name="T98" fmla="*/ 60 w 108"/>
              <a:gd name="T99" fmla="*/ 102 h 108"/>
              <a:gd name="T100" fmla="*/ 60 w 108"/>
              <a:gd name="T101" fmla="*/ 96 h 108"/>
              <a:gd name="T102" fmla="*/ 48 w 108"/>
              <a:gd name="T103" fmla="*/ 96 h 108"/>
              <a:gd name="T104" fmla="*/ 36 w 108"/>
              <a:gd name="T105" fmla="*/ 102 h 108"/>
              <a:gd name="T106" fmla="*/ 12 w 108"/>
              <a:gd name="T107" fmla="*/ 108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08" h="108">
                <a:moveTo>
                  <a:pt x="6" y="102"/>
                </a:moveTo>
                <a:lnTo>
                  <a:pt x="0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0" y="84"/>
                </a:lnTo>
                <a:lnTo>
                  <a:pt x="0" y="78"/>
                </a:lnTo>
                <a:lnTo>
                  <a:pt x="6" y="78"/>
                </a:lnTo>
                <a:lnTo>
                  <a:pt x="6" y="78"/>
                </a:lnTo>
                <a:lnTo>
                  <a:pt x="18" y="72"/>
                </a:lnTo>
                <a:lnTo>
                  <a:pt x="18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30" y="66"/>
                </a:lnTo>
                <a:lnTo>
                  <a:pt x="30" y="66"/>
                </a:lnTo>
                <a:lnTo>
                  <a:pt x="30" y="60"/>
                </a:lnTo>
                <a:lnTo>
                  <a:pt x="30" y="60"/>
                </a:lnTo>
                <a:lnTo>
                  <a:pt x="30" y="54"/>
                </a:lnTo>
                <a:lnTo>
                  <a:pt x="36" y="36"/>
                </a:lnTo>
                <a:lnTo>
                  <a:pt x="36" y="30"/>
                </a:lnTo>
                <a:lnTo>
                  <a:pt x="36" y="24"/>
                </a:lnTo>
                <a:lnTo>
                  <a:pt x="36" y="18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60" y="0"/>
                </a:lnTo>
                <a:lnTo>
                  <a:pt x="60" y="0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84" y="12"/>
                </a:lnTo>
                <a:lnTo>
                  <a:pt x="84" y="18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30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60"/>
                </a:lnTo>
                <a:lnTo>
                  <a:pt x="102" y="66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6" y="66"/>
                </a:lnTo>
                <a:lnTo>
                  <a:pt x="96" y="66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2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78" y="72"/>
                </a:lnTo>
                <a:lnTo>
                  <a:pt x="78" y="66"/>
                </a:lnTo>
                <a:lnTo>
                  <a:pt x="78" y="66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90"/>
                </a:lnTo>
                <a:lnTo>
                  <a:pt x="72" y="90"/>
                </a:lnTo>
                <a:lnTo>
                  <a:pt x="60" y="96"/>
                </a:lnTo>
                <a:lnTo>
                  <a:pt x="60" y="96"/>
                </a:lnTo>
                <a:lnTo>
                  <a:pt x="60" y="102"/>
                </a:lnTo>
                <a:lnTo>
                  <a:pt x="60" y="102"/>
                </a:lnTo>
                <a:lnTo>
                  <a:pt x="60" y="96"/>
                </a:lnTo>
                <a:lnTo>
                  <a:pt x="60" y="96"/>
                </a:lnTo>
                <a:lnTo>
                  <a:pt x="54" y="96"/>
                </a:lnTo>
                <a:lnTo>
                  <a:pt x="54" y="96"/>
                </a:lnTo>
                <a:lnTo>
                  <a:pt x="48" y="96"/>
                </a:lnTo>
                <a:lnTo>
                  <a:pt x="42" y="102"/>
                </a:lnTo>
                <a:lnTo>
                  <a:pt x="36" y="102"/>
                </a:lnTo>
                <a:lnTo>
                  <a:pt x="36" y="102"/>
                </a:lnTo>
                <a:lnTo>
                  <a:pt x="30" y="102"/>
                </a:lnTo>
                <a:lnTo>
                  <a:pt x="24" y="102"/>
                </a:lnTo>
                <a:lnTo>
                  <a:pt x="12" y="108"/>
                </a:lnTo>
                <a:lnTo>
                  <a:pt x="12" y="102"/>
                </a:lnTo>
                <a:lnTo>
                  <a:pt x="6" y="10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23" name="Freeform 156"/>
          <p:cNvSpPr>
            <a:spLocks/>
          </p:cNvSpPr>
          <p:nvPr/>
        </p:nvSpPr>
        <p:spPr bwMode="auto">
          <a:xfrm>
            <a:off x="8779069" y="2104990"/>
            <a:ext cx="51392" cy="51393"/>
          </a:xfrm>
          <a:custGeom>
            <a:avLst/>
            <a:gdLst>
              <a:gd name="T0" fmla="*/ 0 w 48"/>
              <a:gd name="T1" fmla="*/ 12 h 48"/>
              <a:gd name="T2" fmla="*/ 0 w 48"/>
              <a:gd name="T3" fmla="*/ 12 h 48"/>
              <a:gd name="T4" fmla="*/ 0 w 48"/>
              <a:gd name="T5" fmla="*/ 12 h 48"/>
              <a:gd name="T6" fmla="*/ 0 w 48"/>
              <a:gd name="T7" fmla="*/ 0 h 48"/>
              <a:gd name="T8" fmla="*/ 6 w 48"/>
              <a:gd name="T9" fmla="*/ 6 h 48"/>
              <a:gd name="T10" fmla="*/ 6 w 48"/>
              <a:gd name="T11" fmla="*/ 6 h 48"/>
              <a:gd name="T12" fmla="*/ 12 w 48"/>
              <a:gd name="T13" fmla="*/ 6 h 48"/>
              <a:gd name="T14" fmla="*/ 18 w 48"/>
              <a:gd name="T15" fmla="*/ 12 h 48"/>
              <a:gd name="T16" fmla="*/ 18 w 48"/>
              <a:gd name="T17" fmla="*/ 12 h 48"/>
              <a:gd name="T18" fmla="*/ 24 w 48"/>
              <a:gd name="T19" fmla="*/ 12 h 48"/>
              <a:gd name="T20" fmla="*/ 30 w 48"/>
              <a:gd name="T21" fmla="*/ 12 h 48"/>
              <a:gd name="T22" fmla="*/ 30 w 48"/>
              <a:gd name="T23" fmla="*/ 6 h 48"/>
              <a:gd name="T24" fmla="*/ 30 w 48"/>
              <a:gd name="T25" fmla="*/ 12 h 48"/>
              <a:gd name="T26" fmla="*/ 30 w 48"/>
              <a:gd name="T27" fmla="*/ 12 h 48"/>
              <a:gd name="T28" fmla="*/ 36 w 48"/>
              <a:gd name="T29" fmla="*/ 12 h 48"/>
              <a:gd name="T30" fmla="*/ 36 w 48"/>
              <a:gd name="T31" fmla="*/ 18 h 48"/>
              <a:gd name="T32" fmla="*/ 42 w 48"/>
              <a:gd name="T33" fmla="*/ 18 h 48"/>
              <a:gd name="T34" fmla="*/ 42 w 48"/>
              <a:gd name="T35" fmla="*/ 18 h 48"/>
              <a:gd name="T36" fmla="*/ 42 w 48"/>
              <a:gd name="T37" fmla="*/ 18 h 48"/>
              <a:gd name="T38" fmla="*/ 48 w 48"/>
              <a:gd name="T39" fmla="*/ 24 h 48"/>
              <a:gd name="T40" fmla="*/ 48 w 48"/>
              <a:gd name="T41" fmla="*/ 24 h 48"/>
              <a:gd name="T42" fmla="*/ 48 w 48"/>
              <a:gd name="T43" fmla="*/ 24 h 48"/>
              <a:gd name="T44" fmla="*/ 48 w 48"/>
              <a:gd name="T45" fmla="*/ 24 h 48"/>
              <a:gd name="T46" fmla="*/ 48 w 48"/>
              <a:gd name="T47" fmla="*/ 30 h 48"/>
              <a:gd name="T48" fmla="*/ 48 w 48"/>
              <a:gd name="T49" fmla="*/ 36 h 48"/>
              <a:gd name="T50" fmla="*/ 48 w 48"/>
              <a:gd name="T51" fmla="*/ 36 h 48"/>
              <a:gd name="T52" fmla="*/ 48 w 48"/>
              <a:gd name="T53" fmla="*/ 42 h 48"/>
              <a:gd name="T54" fmla="*/ 48 w 48"/>
              <a:gd name="T55" fmla="*/ 48 h 48"/>
              <a:gd name="T56" fmla="*/ 42 w 48"/>
              <a:gd name="T57" fmla="*/ 48 h 48"/>
              <a:gd name="T58" fmla="*/ 42 w 48"/>
              <a:gd name="T59" fmla="*/ 48 h 48"/>
              <a:gd name="T60" fmla="*/ 42 w 48"/>
              <a:gd name="T61" fmla="*/ 48 h 48"/>
              <a:gd name="T62" fmla="*/ 36 w 48"/>
              <a:gd name="T63" fmla="*/ 48 h 48"/>
              <a:gd name="T64" fmla="*/ 36 w 48"/>
              <a:gd name="T65" fmla="*/ 48 h 48"/>
              <a:gd name="T66" fmla="*/ 36 w 48"/>
              <a:gd name="T67" fmla="*/ 48 h 48"/>
              <a:gd name="T68" fmla="*/ 36 w 48"/>
              <a:gd name="T69" fmla="*/ 48 h 48"/>
              <a:gd name="T70" fmla="*/ 30 w 48"/>
              <a:gd name="T71" fmla="*/ 42 h 48"/>
              <a:gd name="T72" fmla="*/ 30 w 48"/>
              <a:gd name="T73" fmla="*/ 48 h 48"/>
              <a:gd name="T74" fmla="*/ 24 w 48"/>
              <a:gd name="T75" fmla="*/ 42 h 48"/>
              <a:gd name="T76" fmla="*/ 24 w 48"/>
              <a:gd name="T77" fmla="*/ 42 h 48"/>
              <a:gd name="T78" fmla="*/ 24 w 48"/>
              <a:gd name="T79" fmla="*/ 36 h 48"/>
              <a:gd name="T80" fmla="*/ 24 w 48"/>
              <a:gd name="T81" fmla="*/ 36 h 48"/>
              <a:gd name="T82" fmla="*/ 18 w 48"/>
              <a:gd name="T83" fmla="*/ 30 h 48"/>
              <a:gd name="T84" fmla="*/ 12 w 48"/>
              <a:gd name="T85" fmla="*/ 30 h 48"/>
              <a:gd name="T86" fmla="*/ 12 w 48"/>
              <a:gd name="T87" fmla="*/ 24 h 48"/>
              <a:gd name="T88" fmla="*/ 12 w 48"/>
              <a:gd name="T89" fmla="*/ 30 h 48"/>
              <a:gd name="T90" fmla="*/ 12 w 48"/>
              <a:gd name="T91" fmla="*/ 30 h 48"/>
              <a:gd name="T92" fmla="*/ 6 w 48"/>
              <a:gd name="T93" fmla="*/ 30 h 48"/>
              <a:gd name="T94" fmla="*/ 0 w 48"/>
              <a:gd name="T95" fmla="*/ 24 h 48"/>
              <a:gd name="T96" fmla="*/ 0 w 48"/>
              <a:gd name="T97" fmla="*/ 24 h 48"/>
              <a:gd name="T98" fmla="*/ 0 w 48"/>
              <a:gd name="T99" fmla="*/ 18 h 48"/>
              <a:gd name="T100" fmla="*/ 0 w 48"/>
              <a:gd name="T101" fmla="*/ 18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48" h="48">
                <a:moveTo>
                  <a:pt x="0" y="18"/>
                </a:move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6"/>
                </a:lnTo>
                <a:lnTo>
                  <a:pt x="0" y="0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30" y="12"/>
                </a:lnTo>
                <a:lnTo>
                  <a:pt x="30" y="12"/>
                </a:lnTo>
                <a:lnTo>
                  <a:pt x="30" y="6"/>
                </a:lnTo>
                <a:lnTo>
                  <a:pt x="30" y="6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8"/>
                </a:lnTo>
                <a:lnTo>
                  <a:pt x="36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8" y="18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30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42"/>
                </a:lnTo>
                <a:lnTo>
                  <a:pt x="48" y="42"/>
                </a:lnTo>
                <a:lnTo>
                  <a:pt x="48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0" y="42"/>
                </a:lnTo>
                <a:lnTo>
                  <a:pt x="30" y="42"/>
                </a:lnTo>
                <a:lnTo>
                  <a:pt x="30" y="48"/>
                </a:lnTo>
                <a:lnTo>
                  <a:pt x="30" y="48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18" y="30"/>
                </a:lnTo>
                <a:lnTo>
                  <a:pt x="18" y="30"/>
                </a:lnTo>
                <a:lnTo>
                  <a:pt x="12" y="30"/>
                </a:lnTo>
                <a:lnTo>
                  <a:pt x="12" y="30"/>
                </a:lnTo>
                <a:lnTo>
                  <a:pt x="12" y="24"/>
                </a:lnTo>
                <a:lnTo>
                  <a:pt x="12" y="24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24" name="Freeform 157"/>
          <p:cNvSpPr>
            <a:spLocks/>
          </p:cNvSpPr>
          <p:nvPr/>
        </p:nvSpPr>
        <p:spPr bwMode="auto">
          <a:xfrm>
            <a:off x="8477139" y="2079293"/>
            <a:ext cx="115633" cy="179875"/>
          </a:xfrm>
          <a:custGeom>
            <a:avLst/>
            <a:gdLst>
              <a:gd name="T0" fmla="*/ 6 w 108"/>
              <a:gd name="T1" fmla="*/ 120 h 168"/>
              <a:gd name="T2" fmla="*/ 0 w 108"/>
              <a:gd name="T3" fmla="*/ 120 h 168"/>
              <a:gd name="T4" fmla="*/ 6 w 108"/>
              <a:gd name="T5" fmla="*/ 114 h 168"/>
              <a:gd name="T6" fmla="*/ 18 w 108"/>
              <a:gd name="T7" fmla="*/ 108 h 168"/>
              <a:gd name="T8" fmla="*/ 12 w 108"/>
              <a:gd name="T9" fmla="*/ 102 h 168"/>
              <a:gd name="T10" fmla="*/ 18 w 108"/>
              <a:gd name="T11" fmla="*/ 102 h 168"/>
              <a:gd name="T12" fmla="*/ 24 w 108"/>
              <a:gd name="T13" fmla="*/ 102 h 168"/>
              <a:gd name="T14" fmla="*/ 24 w 108"/>
              <a:gd name="T15" fmla="*/ 96 h 168"/>
              <a:gd name="T16" fmla="*/ 24 w 108"/>
              <a:gd name="T17" fmla="*/ 90 h 168"/>
              <a:gd name="T18" fmla="*/ 18 w 108"/>
              <a:gd name="T19" fmla="*/ 84 h 168"/>
              <a:gd name="T20" fmla="*/ 18 w 108"/>
              <a:gd name="T21" fmla="*/ 78 h 168"/>
              <a:gd name="T22" fmla="*/ 30 w 108"/>
              <a:gd name="T23" fmla="*/ 66 h 168"/>
              <a:gd name="T24" fmla="*/ 42 w 108"/>
              <a:gd name="T25" fmla="*/ 66 h 168"/>
              <a:gd name="T26" fmla="*/ 48 w 108"/>
              <a:gd name="T27" fmla="*/ 60 h 168"/>
              <a:gd name="T28" fmla="*/ 42 w 108"/>
              <a:gd name="T29" fmla="*/ 60 h 168"/>
              <a:gd name="T30" fmla="*/ 42 w 108"/>
              <a:gd name="T31" fmla="*/ 54 h 168"/>
              <a:gd name="T32" fmla="*/ 36 w 108"/>
              <a:gd name="T33" fmla="*/ 48 h 168"/>
              <a:gd name="T34" fmla="*/ 42 w 108"/>
              <a:gd name="T35" fmla="*/ 30 h 168"/>
              <a:gd name="T36" fmla="*/ 48 w 108"/>
              <a:gd name="T37" fmla="*/ 18 h 168"/>
              <a:gd name="T38" fmla="*/ 54 w 108"/>
              <a:gd name="T39" fmla="*/ 18 h 168"/>
              <a:gd name="T40" fmla="*/ 60 w 108"/>
              <a:gd name="T41" fmla="*/ 18 h 168"/>
              <a:gd name="T42" fmla="*/ 72 w 108"/>
              <a:gd name="T43" fmla="*/ 12 h 168"/>
              <a:gd name="T44" fmla="*/ 78 w 108"/>
              <a:gd name="T45" fmla="*/ 6 h 168"/>
              <a:gd name="T46" fmla="*/ 84 w 108"/>
              <a:gd name="T47" fmla="*/ 0 h 168"/>
              <a:gd name="T48" fmla="*/ 90 w 108"/>
              <a:gd name="T49" fmla="*/ 6 h 168"/>
              <a:gd name="T50" fmla="*/ 90 w 108"/>
              <a:gd name="T51" fmla="*/ 12 h 168"/>
              <a:gd name="T52" fmla="*/ 90 w 108"/>
              <a:gd name="T53" fmla="*/ 24 h 168"/>
              <a:gd name="T54" fmla="*/ 90 w 108"/>
              <a:gd name="T55" fmla="*/ 30 h 168"/>
              <a:gd name="T56" fmla="*/ 90 w 108"/>
              <a:gd name="T57" fmla="*/ 30 h 168"/>
              <a:gd name="T58" fmla="*/ 90 w 108"/>
              <a:gd name="T59" fmla="*/ 36 h 168"/>
              <a:gd name="T60" fmla="*/ 96 w 108"/>
              <a:gd name="T61" fmla="*/ 42 h 168"/>
              <a:gd name="T62" fmla="*/ 96 w 108"/>
              <a:gd name="T63" fmla="*/ 72 h 168"/>
              <a:gd name="T64" fmla="*/ 102 w 108"/>
              <a:gd name="T65" fmla="*/ 90 h 168"/>
              <a:gd name="T66" fmla="*/ 96 w 108"/>
              <a:gd name="T67" fmla="*/ 90 h 168"/>
              <a:gd name="T68" fmla="*/ 96 w 108"/>
              <a:gd name="T69" fmla="*/ 96 h 168"/>
              <a:gd name="T70" fmla="*/ 102 w 108"/>
              <a:gd name="T71" fmla="*/ 108 h 168"/>
              <a:gd name="T72" fmla="*/ 102 w 108"/>
              <a:gd name="T73" fmla="*/ 114 h 168"/>
              <a:gd name="T74" fmla="*/ 102 w 108"/>
              <a:gd name="T75" fmla="*/ 126 h 168"/>
              <a:gd name="T76" fmla="*/ 96 w 108"/>
              <a:gd name="T77" fmla="*/ 126 h 168"/>
              <a:gd name="T78" fmla="*/ 90 w 108"/>
              <a:gd name="T79" fmla="*/ 138 h 168"/>
              <a:gd name="T80" fmla="*/ 90 w 108"/>
              <a:gd name="T81" fmla="*/ 144 h 168"/>
              <a:gd name="T82" fmla="*/ 90 w 108"/>
              <a:gd name="T83" fmla="*/ 144 h 168"/>
              <a:gd name="T84" fmla="*/ 78 w 108"/>
              <a:gd name="T85" fmla="*/ 150 h 168"/>
              <a:gd name="T86" fmla="*/ 78 w 108"/>
              <a:gd name="T87" fmla="*/ 150 h 168"/>
              <a:gd name="T88" fmla="*/ 72 w 108"/>
              <a:gd name="T89" fmla="*/ 156 h 168"/>
              <a:gd name="T90" fmla="*/ 66 w 108"/>
              <a:gd name="T91" fmla="*/ 156 h 168"/>
              <a:gd name="T92" fmla="*/ 54 w 108"/>
              <a:gd name="T93" fmla="*/ 162 h 168"/>
              <a:gd name="T94" fmla="*/ 48 w 108"/>
              <a:gd name="T95" fmla="*/ 168 h 168"/>
              <a:gd name="T96" fmla="*/ 36 w 108"/>
              <a:gd name="T97" fmla="*/ 162 h 168"/>
              <a:gd name="T98" fmla="*/ 30 w 108"/>
              <a:gd name="T99" fmla="*/ 156 h 168"/>
              <a:gd name="T100" fmla="*/ 30 w 108"/>
              <a:gd name="T101" fmla="*/ 150 h 168"/>
              <a:gd name="T102" fmla="*/ 24 w 108"/>
              <a:gd name="T103" fmla="*/ 150 h 168"/>
              <a:gd name="T104" fmla="*/ 24 w 108"/>
              <a:gd name="T105" fmla="*/ 144 h 168"/>
              <a:gd name="T106" fmla="*/ 24 w 108"/>
              <a:gd name="T107" fmla="*/ 132 h 168"/>
              <a:gd name="T108" fmla="*/ 24 w 108"/>
              <a:gd name="T109" fmla="*/ 126 h 168"/>
              <a:gd name="T110" fmla="*/ 18 w 108"/>
              <a:gd name="T111" fmla="*/ 126 h 168"/>
              <a:gd name="T112" fmla="*/ 18 w 108"/>
              <a:gd name="T113" fmla="*/ 126 h 168"/>
              <a:gd name="T114" fmla="*/ 12 w 108"/>
              <a:gd name="T115" fmla="*/ 126 h 168"/>
              <a:gd name="T116" fmla="*/ 0 w 108"/>
              <a:gd name="T117" fmla="*/ 126 h 168"/>
              <a:gd name="T118" fmla="*/ 0 w 108"/>
              <a:gd name="T119" fmla="*/ 126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8" h="168">
                <a:moveTo>
                  <a:pt x="0" y="120"/>
                </a:moveTo>
                <a:lnTo>
                  <a:pt x="0" y="120"/>
                </a:lnTo>
                <a:lnTo>
                  <a:pt x="0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0" y="120"/>
                </a:lnTo>
                <a:lnTo>
                  <a:pt x="0" y="120"/>
                </a:lnTo>
                <a:lnTo>
                  <a:pt x="0" y="120"/>
                </a:lnTo>
                <a:lnTo>
                  <a:pt x="6" y="120"/>
                </a:lnTo>
                <a:lnTo>
                  <a:pt x="6" y="114"/>
                </a:lnTo>
                <a:lnTo>
                  <a:pt x="6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08"/>
                </a:lnTo>
                <a:lnTo>
                  <a:pt x="12" y="108"/>
                </a:lnTo>
                <a:lnTo>
                  <a:pt x="18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96"/>
                </a:lnTo>
                <a:lnTo>
                  <a:pt x="24" y="96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6" y="66"/>
                </a:lnTo>
                <a:lnTo>
                  <a:pt x="36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0"/>
                </a:lnTo>
                <a:lnTo>
                  <a:pt x="42" y="66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42" y="36"/>
                </a:lnTo>
                <a:lnTo>
                  <a:pt x="42" y="36"/>
                </a:lnTo>
                <a:lnTo>
                  <a:pt x="42" y="30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8" y="24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72" y="12"/>
                </a:lnTo>
                <a:lnTo>
                  <a:pt x="78" y="12"/>
                </a:lnTo>
                <a:lnTo>
                  <a:pt x="78" y="12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12"/>
                </a:lnTo>
                <a:lnTo>
                  <a:pt x="90" y="12"/>
                </a:lnTo>
                <a:lnTo>
                  <a:pt x="84" y="12"/>
                </a:lnTo>
                <a:lnTo>
                  <a:pt x="90" y="12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84" y="24"/>
                </a:lnTo>
                <a:lnTo>
                  <a:pt x="90" y="24"/>
                </a:lnTo>
                <a:lnTo>
                  <a:pt x="90" y="30"/>
                </a:lnTo>
                <a:lnTo>
                  <a:pt x="84" y="30"/>
                </a:lnTo>
                <a:lnTo>
                  <a:pt x="84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8"/>
                </a:lnTo>
                <a:lnTo>
                  <a:pt x="90" y="48"/>
                </a:lnTo>
                <a:lnTo>
                  <a:pt x="108" y="66"/>
                </a:lnTo>
                <a:lnTo>
                  <a:pt x="96" y="72"/>
                </a:lnTo>
                <a:lnTo>
                  <a:pt x="96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6"/>
                </a:lnTo>
                <a:lnTo>
                  <a:pt x="96" y="96"/>
                </a:lnTo>
                <a:lnTo>
                  <a:pt x="96" y="96"/>
                </a:lnTo>
                <a:lnTo>
                  <a:pt x="96" y="96"/>
                </a:lnTo>
                <a:lnTo>
                  <a:pt x="96" y="96"/>
                </a:lnTo>
                <a:lnTo>
                  <a:pt x="96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8"/>
                </a:lnTo>
                <a:lnTo>
                  <a:pt x="102" y="108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96" y="120"/>
                </a:lnTo>
                <a:lnTo>
                  <a:pt x="102" y="126"/>
                </a:lnTo>
                <a:lnTo>
                  <a:pt x="102" y="126"/>
                </a:lnTo>
                <a:lnTo>
                  <a:pt x="96" y="126"/>
                </a:lnTo>
                <a:lnTo>
                  <a:pt x="96" y="120"/>
                </a:lnTo>
                <a:lnTo>
                  <a:pt x="96" y="126"/>
                </a:lnTo>
                <a:lnTo>
                  <a:pt x="96" y="126"/>
                </a:lnTo>
                <a:lnTo>
                  <a:pt x="90" y="126"/>
                </a:lnTo>
                <a:lnTo>
                  <a:pt x="90" y="132"/>
                </a:lnTo>
                <a:lnTo>
                  <a:pt x="90" y="138"/>
                </a:lnTo>
                <a:lnTo>
                  <a:pt x="90" y="138"/>
                </a:lnTo>
                <a:lnTo>
                  <a:pt x="90" y="138"/>
                </a:lnTo>
                <a:lnTo>
                  <a:pt x="90" y="138"/>
                </a:lnTo>
                <a:lnTo>
                  <a:pt x="90" y="138"/>
                </a:lnTo>
                <a:lnTo>
                  <a:pt x="90" y="138"/>
                </a:lnTo>
                <a:lnTo>
                  <a:pt x="90" y="138"/>
                </a:lnTo>
                <a:lnTo>
                  <a:pt x="90" y="144"/>
                </a:lnTo>
                <a:lnTo>
                  <a:pt x="90" y="144"/>
                </a:lnTo>
                <a:lnTo>
                  <a:pt x="90" y="144"/>
                </a:lnTo>
                <a:lnTo>
                  <a:pt x="90" y="144"/>
                </a:lnTo>
                <a:lnTo>
                  <a:pt x="90" y="144"/>
                </a:lnTo>
                <a:lnTo>
                  <a:pt x="90" y="144"/>
                </a:lnTo>
                <a:lnTo>
                  <a:pt x="84" y="150"/>
                </a:lnTo>
                <a:lnTo>
                  <a:pt x="84" y="150"/>
                </a:lnTo>
                <a:lnTo>
                  <a:pt x="84" y="150"/>
                </a:lnTo>
                <a:lnTo>
                  <a:pt x="84" y="150"/>
                </a:lnTo>
                <a:lnTo>
                  <a:pt x="78" y="150"/>
                </a:lnTo>
                <a:lnTo>
                  <a:pt x="78" y="150"/>
                </a:lnTo>
                <a:lnTo>
                  <a:pt x="84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6"/>
                </a:lnTo>
                <a:lnTo>
                  <a:pt x="78" y="156"/>
                </a:lnTo>
                <a:lnTo>
                  <a:pt x="72" y="156"/>
                </a:lnTo>
                <a:lnTo>
                  <a:pt x="72" y="156"/>
                </a:lnTo>
                <a:lnTo>
                  <a:pt x="72" y="156"/>
                </a:lnTo>
                <a:lnTo>
                  <a:pt x="72" y="156"/>
                </a:lnTo>
                <a:lnTo>
                  <a:pt x="72" y="156"/>
                </a:lnTo>
                <a:lnTo>
                  <a:pt x="66" y="156"/>
                </a:lnTo>
                <a:lnTo>
                  <a:pt x="60" y="156"/>
                </a:lnTo>
                <a:lnTo>
                  <a:pt x="60" y="162"/>
                </a:lnTo>
                <a:lnTo>
                  <a:pt x="60" y="162"/>
                </a:lnTo>
                <a:lnTo>
                  <a:pt x="54" y="162"/>
                </a:lnTo>
                <a:lnTo>
                  <a:pt x="54" y="162"/>
                </a:lnTo>
                <a:lnTo>
                  <a:pt x="54" y="168"/>
                </a:lnTo>
                <a:lnTo>
                  <a:pt x="48" y="168"/>
                </a:lnTo>
                <a:lnTo>
                  <a:pt x="54" y="168"/>
                </a:lnTo>
                <a:lnTo>
                  <a:pt x="48" y="168"/>
                </a:lnTo>
                <a:lnTo>
                  <a:pt x="48" y="168"/>
                </a:lnTo>
                <a:lnTo>
                  <a:pt x="48" y="168"/>
                </a:lnTo>
                <a:lnTo>
                  <a:pt x="48" y="168"/>
                </a:lnTo>
                <a:lnTo>
                  <a:pt x="48" y="168"/>
                </a:lnTo>
                <a:lnTo>
                  <a:pt x="42" y="168"/>
                </a:lnTo>
                <a:lnTo>
                  <a:pt x="36" y="162"/>
                </a:lnTo>
                <a:lnTo>
                  <a:pt x="36" y="162"/>
                </a:lnTo>
                <a:lnTo>
                  <a:pt x="36" y="162"/>
                </a:lnTo>
                <a:lnTo>
                  <a:pt x="30" y="162"/>
                </a:lnTo>
                <a:lnTo>
                  <a:pt x="30" y="162"/>
                </a:lnTo>
                <a:lnTo>
                  <a:pt x="30" y="156"/>
                </a:lnTo>
                <a:lnTo>
                  <a:pt x="30" y="156"/>
                </a:lnTo>
                <a:lnTo>
                  <a:pt x="30" y="156"/>
                </a:lnTo>
                <a:lnTo>
                  <a:pt x="30" y="150"/>
                </a:lnTo>
                <a:lnTo>
                  <a:pt x="30" y="150"/>
                </a:lnTo>
                <a:lnTo>
                  <a:pt x="30" y="150"/>
                </a:lnTo>
                <a:lnTo>
                  <a:pt x="24" y="150"/>
                </a:lnTo>
                <a:lnTo>
                  <a:pt x="24" y="150"/>
                </a:lnTo>
                <a:lnTo>
                  <a:pt x="24" y="150"/>
                </a:lnTo>
                <a:lnTo>
                  <a:pt x="24" y="150"/>
                </a:lnTo>
                <a:lnTo>
                  <a:pt x="24" y="150"/>
                </a:lnTo>
                <a:lnTo>
                  <a:pt x="24" y="150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0" y="126"/>
                </a:lnTo>
                <a:lnTo>
                  <a:pt x="0" y="126"/>
                </a:lnTo>
                <a:lnTo>
                  <a:pt x="0" y="126"/>
                </a:lnTo>
                <a:lnTo>
                  <a:pt x="0" y="126"/>
                </a:lnTo>
                <a:lnTo>
                  <a:pt x="0" y="126"/>
                </a:lnTo>
                <a:lnTo>
                  <a:pt x="0" y="126"/>
                </a:lnTo>
                <a:lnTo>
                  <a:pt x="0" y="12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25" name="Freeform 158"/>
          <p:cNvSpPr>
            <a:spLocks/>
          </p:cNvSpPr>
          <p:nvPr/>
        </p:nvSpPr>
        <p:spPr bwMode="auto">
          <a:xfrm>
            <a:off x="8322962" y="2002204"/>
            <a:ext cx="141329" cy="77089"/>
          </a:xfrm>
          <a:custGeom>
            <a:avLst/>
            <a:gdLst>
              <a:gd name="T0" fmla="*/ 6 w 132"/>
              <a:gd name="T1" fmla="*/ 60 h 72"/>
              <a:gd name="T2" fmla="*/ 12 w 132"/>
              <a:gd name="T3" fmla="*/ 60 h 72"/>
              <a:gd name="T4" fmla="*/ 12 w 132"/>
              <a:gd name="T5" fmla="*/ 54 h 72"/>
              <a:gd name="T6" fmla="*/ 12 w 132"/>
              <a:gd name="T7" fmla="*/ 54 h 72"/>
              <a:gd name="T8" fmla="*/ 12 w 132"/>
              <a:gd name="T9" fmla="*/ 42 h 72"/>
              <a:gd name="T10" fmla="*/ 12 w 132"/>
              <a:gd name="T11" fmla="*/ 24 h 72"/>
              <a:gd name="T12" fmla="*/ 12 w 132"/>
              <a:gd name="T13" fmla="*/ 18 h 72"/>
              <a:gd name="T14" fmla="*/ 18 w 132"/>
              <a:gd name="T15" fmla="*/ 12 h 72"/>
              <a:gd name="T16" fmla="*/ 24 w 132"/>
              <a:gd name="T17" fmla="*/ 6 h 72"/>
              <a:gd name="T18" fmla="*/ 30 w 132"/>
              <a:gd name="T19" fmla="*/ 6 h 72"/>
              <a:gd name="T20" fmla="*/ 36 w 132"/>
              <a:gd name="T21" fmla="*/ 6 h 72"/>
              <a:gd name="T22" fmla="*/ 42 w 132"/>
              <a:gd name="T23" fmla="*/ 6 h 72"/>
              <a:gd name="T24" fmla="*/ 48 w 132"/>
              <a:gd name="T25" fmla="*/ 6 h 72"/>
              <a:gd name="T26" fmla="*/ 48 w 132"/>
              <a:gd name="T27" fmla="*/ 0 h 72"/>
              <a:gd name="T28" fmla="*/ 54 w 132"/>
              <a:gd name="T29" fmla="*/ 0 h 72"/>
              <a:gd name="T30" fmla="*/ 54 w 132"/>
              <a:gd name="T31" fmla="*/ 0 h 72"/>
              <a:gd name="T32" fmla="*/ 60 w 132"/>
              <a:gd name="T33" fmla="*/ 12 h 72"/>
              <a:gd name="T34" fmla="*/ 60 w 132"/>
              <a:gd name="T35" fmla="*/ 18 h 72"/>
              <a:gd name="T36" fmla="*/ 60 w 132"/>
              <a:gd name="T37" fmla="*/ 18 h 72"/>
              <a:gd name="T38" fmla="*/ 66 w 132"/>
              <a:gd name="T39" fmla="*/ 24 h 72"/>
              <a:gd name="T40" fmla="*/ 78 w 132"/>
              <a:gd name="T41" fmla="*/ 24 h 72"/>
              <a:gd name="T42" fmla="*/ 84 w 132"/>
              <a:gd name="T43" fmla="*/ 18 h 72"/>
              <a:gd name="T44" fmla="*/ 90 w 132"/>
              <a:gd name="T45" fmla="*/ 18 h 72"/>
              <a:gd name="T46" fmla="*/ 96 w 132"/>
              <a:gd name="T47" fmla="*/ 12 h 72"/>
              <a:gd name="T48" fmla="*/ 96 w 132"/>
              <a:gd name="T49" fmla="*/ 12 h 72"/>
              <a:gd name="T50" fmla="*/ 102 w 132"/>
              <a:gd name="T51" fmla="*/ 12 h 72"/>
              <a:gd name="T52" fmla="*/ 108 w 132"/>
              <a:gd name="T53" fmla="*/ 6 h 72"/>
              <a:gd name="T54" fmla="*/ 114 w 132"/>
              <a:gd name="T55" fmla="*/ 12 h 72"/>
              <a:gd name="T56" fmla="*/ 126 w 132"/>
              <a:gd name="T57" fmla="*/ 6 h 72"/>
              <a:gd name="T58" fmla="*/ 126 w 132"/>
              <a:gd name="T59" fmla="*/ 12 h 72"/>
              <a:gd name="T60" fmla="*/ 126 w 132"/>
              <a:gd name="T61" fmla="*/ 18 h 72"/>
              <a:gd name="T62" fmla="*/ 126 w 132"/>
              <a:gd name="T63" fmla="*/ 24 h 72"/>
              <a:gd name="T64" fmla="*/ 120 w 132"/>
              <a:gd name="T65" fmla="*/ 36 h 72"/>
              <a:gd name="T66" fmla="*/ 120 w 132"/>
              <a:gd name="T67" fmla="*/ 36 h 72"/>
              <a:gd name="T68" fmla="*/ 120 w 132"/>
              <a:gd name="T69" fmla="*/ 42 h 72"/>
              <a:gd name="T70" fmla="*/ 120 w 132"/>
              <a:gd name="T71" fmla="*/ 48 h 72"/>
              <a:gd name="T72" fmla="*/ 120 w 132"/>
              <a:gd name="T73" fmla="*/ 54 h 72"/>
              <a:gd name="T74" fmla="*/ 120 w 132"/>
              <a:gd name="T75" fmla="*/ 54 h 72"/>
              <a:gd name="T76" fmla="*/ 126 w 132"/>
              <a:gd name="T77" fmla="*/ 60 h 72"/>
              <a:gd name="T78" fmla="*/ 132 w 132"/>
              <a:gd name="T79" fmla="*/ 66 h 72"/>
              <a:gd name="T80" fmla="*/ 120 w 132"/>
              <a:gd name="T81" fmla="*/ 66 h 72"/>
              <a:gd name="T82" fmla="*/ 120 w 132"/>
              <a:gd name="T83" fmla="*/ 72 h 72"/>
              <a:gd name="T84" fmla="*/ 108 w 132"/>
              <a:gd name="T85" fmla="*/ 72 h 72"/>
              <a:gd name="T86" fmla="*/ 102 w 132"/>
              <a:gd name="T87" fmla="*/ 72 h 72"/>
              <a:gd name="T88" fmla="*/ 84 w 132"/>
              <a:gd name="T89" fmla="*/ 72 h 72"/>
              <a:gd name="T90" fmla="*/ 66 w 132"/>
              <a:gd name="T91" fmla="*/ 72 h 72"/>
              <a:gd name="T92" fmla="*/ 54 w 132"/>
              <a:gd name="T93" fmla="*/ 66 h 72"/>
              <a:gd name="T94" fmla="*/ 48 w 132"/>
              <a:gd name="T95" fmla="*/ 72 h 72"/>
              <a:gd name="T96" fmla="*/ 30 w 132"/>
              <a:gd name="T97" fmla="*/ 72 h 72"/>
              <a:gd name="T98" fmla="*/ 18 w 132"/>
              <a:gd name="T99" fmla="*/ 72 h 72"/>
              <a:gd name="T100" fmla="*/ 6 w 132"/>
              <a:gd name="T101" fmla="*/ 66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32" h="72">
                <a:moveTo>
                  <a:pt x="0" y="60"/>
                </a:moveTo>
                <a:lnTo>
                  <a:pt x="0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30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8" y="18"/>
                </a:lnTo>
                <a:lnTo>
                  <a:pt x="18" y="18"/>
                </a:lnTo>
                <a:lnTo>
                  <a:pt x="18" y="12"/>
                </a:lnTo>
                <a:lnTo>
                  <a:pt x="18" y="12"/>
                </a:lnTo>
                <a:lnTo>
                  <a:pt x="24" y="12"/>
                </a:lnTo>
                <a:lnTo>
                  <a:pt x="18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6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8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18"/>
                </a:lnTo>
                <a:lnTo>
                  <a:pt x="84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6"/>
                </a:lnTo>
                <a:lnTo>
                  <a:pt x="108" y="6"/>
                </a:lnTo>
                <a:lnTo>
                  <a:pt x="108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20" y="12"/>
                </a:lnTo>
                <a:lnTo>
                  <a:pt x="120" y="12"/>
                </a:lnTo>
                <a:lnTo>
                  <a:pt x="126" y="12"/>
                </a:lnTo>
                <a:lnTo>
                  <a:pt x="126" y="6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30"/>
                </a:lnTo>
                <a:lnTo>
                  <a:pt x="126" y="30"/>
                </a:lnTo>
                <a:lnTo>
                  <a:pt x="126" y="36"/>
                </a:lnTo>
                <a:lnTo>
                  <a:pt x="120" y="36"/>
                </a:lnTo>
                <a:lnTo>
                  <a:pt x="120" y="36"/>
                </a:lnTo>
                <a:lnTo>
                  <a:pt x="114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42"/>
                </a:lnTo>
                <a:lnTo>
                  <a:pt x="114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54"/>
                </a:lnTo>
                <a:lnTo>
                  <a:pt x="120" y="54"/>
                </a:lnTo>
                <a:lnTo>
                  <a:pt x="126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6" y="54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6"/>
                </a:lnTo>
                <a:lnTo>
                  <a:pt x="132" y="66"/>
                </a:lnTo>
                <a:lnTo>
                  <a:pt x="132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14" y="72"/>
                </a:lnTo>
                <a:lnTo>
                  <a:pt x="108" y="72"/>
                </a:lnTo>
                <a:lnTo>
                  <a:pt x="108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96" y="72"/>
                </a:lnTo>
                <a:lnTo>
                  <a:pt x="90" y="72"/>
                </a:lnTo>
                <a:lnTo>
                  <a:pt x="84" y="72"/>
                </a:lnTo>
                <a:lnTo>
                  <a:pt x="84" y="72"/>
                </a:lnTo>
                <a:lnTo>
                  <a:pt x="78" y="72"/>
                </a:lnTo>
                <a:lnTo>
                  <a:pt x="72" y="72"/>
                </a:lnTo>
                <a:lnTo>
                  <a:pt x="72" y="72"/>
                </a:lnTo>
                <a:lnTo>
                  <a:pt x="66" y="72"/>
                </a:lnTo>
                <a:lnTo>
                  <a:pt x="60" y="66"/>
                </a:lnTo>
                <a:lnTo>
                  <a:pt x="60" y="66"/>
                </a:lnTo>
                <a:lnTo>
                  <a:pt x="54" y="66"/>
                </a:lnTo>
                <a:lnTo>
                  <a:pt x="54" y="66"/>
                </a:lnTo>
                <a:lnTo>
                  <a:pt x="48" y="66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2" y="72"/>
                </a:lnTo>
                <a:lnTo>
                  <a:pt x="36" y="72"/>
                </a:lnTo>
                <a:lnTo>
                  <a:pt x="30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18" y="72"/>
                </a:lnTo>
                <a:lnTo>
                  <a:pt x="12" y="72"/>
                </a:lnTo>
                <a:lnTo>
                  <a:pt x="12" y="72"/>
                </a:lnTo>
                <a:lnTo>
                  <a:pt x="6" y="72"/>
                </a:lnTo>
                <a:lnTo>
                  <a:pt x="6" y="66"/>
                </a:lnTo>
                <a:lnTo>
                  <a:pt x="0" y="66"/>
                </a:lnTo>
                <a:lnTo>
                  <a:pt x="0" y="6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26" name="Freeform 159"/>
          <p:cNvSpPr>
            <a:spLocks/>
          </p:cNvSpPr>
          <p:nvPr/>
        </p:nvSpPr>
        <p:spPr bwMode="auto">
          <a:xfrm>
            <a:off x="8676284" y="2002204"/>
            <a:ext cx="70665" cy="57817"/>
          </a:xfrm>
          <a:custGeom>
            <a:avLst/>
            <a:gdLst>
              <a:gd name="T0" fmla="*/ 0 w 66"/>
              <a:gd name="T1" fmla="*/ 36 h 54"/>
              <a:gd name="T2" fmla="*/ 0 w 66"/>
              <a:gd name="T3" fmla="*/ 30 h 54"/>
              <a:gd name="T4" fmla="*/ 6 w 66"/>
              <a:gd name="T5" fmla="*/ 18 h 54"/>
              <a:gd name="T6" fmla="*/ 6 w 66"/>
              <a:gd name="T7" fmla="*/ 12 h 54"/>
              <a:gd name="T8" fmla="*/ 18 w 66"/>
              <a:gd name="T9" fmla="*/ 6 h 54"/>
              <a:gd name="T10" fmla="*/ 24 w 66"/>
              <a:gd name="T11" fmla="*/ 0 h 54"/>
              <a:gd name="T12" fmla="*/ 30 w 66"/>
              <a:gd name="T13" fmla="*/ 0 h 54"/>
              <a:gd name="T14" fmla="*/ 30 w 66"/>
              <a:gd name="T15" fmla="*/ 0 h 54"/>
              <a:gd name="T16" fmla="*/ 30 w 66"/>
              <a:gd name="T17" fmla="*/ 0 h 54"/>
              <a:gd name="T18" fmla="*/ 36 w 66"/>
              <a:gd name="T19" fmla="*/ 0 h 54"/>
              <a:gd name="T20" fmla="*/ 42 w 66"/>
              <a:gd name="T21" fmla="*/ 6 h 54"/>
              <a:gd name="T22" fmla="*/ 42 w 66"/>
              <a:gd name="T23" fmla="*/ 6 h 54"/>
              <a:gd name="T24" fmla="*/ 48 w 66"/>
              <a:gd name="T25" fmla="*/ 6 h 54"/>
              <a:gd name="T26" fmla="*/ 48 w 66"/>
              <a:gd name="T27" fmla="*/ 6 h 54"/>
              <a:gd name="T28" fmla="*/ 48 w 66"/>
              <a:gd name="T29" fmla="*/ 6 h 54"/>
              <a:gd name="T30" fmla="*/ 48 w 66"/>
              <a:gd name="T31" fmla="*/ 0 h 54"/>
              <a:gd name="T32" fmla="*/ 54 w 66"/>
              <a:gd name="T33" fmla="*/ 6 h 54"/>
              <a:gd name="T34" fmla="*/ 54 w 66"/>
              <a:gd name="T35" fmla="*/ 6 h 54"/>
              <a:gd name="T36" fmla="*/ 60 w 66"/>
              <a:gd name="T37" fmla="*/ 6 h 54"/>
              <a:gd name="T38" fmla="*/ 60 w 66"/>
              <a:gd name="T39" fmla="*/ 6 h 54"/>
              <a:gd name="T40" fmla="*/ 60 w 66"/>
              <a:gd name="T41" fmla="*/ 6 h 54"/>
              <a:gd name="T42" fmla="*/ 60 w 66"/>
              <a:gd name="T43" fmla="*/ 12 h 54"/>
              <a:gd name="T44" fmla="*/ 60 w 66"/>
              <a:gd name="T45" fmla="*/ 12 h 54"/>
              <a:gd name="T46" fmla="*/ 60 w 66"/>
              <a:gd name="T47" fmla="*/ 18 h 54"/>
              <a:gd name="T48" fmla="*/ 60 w 66"/>
              <a:gd name="T49" fmla="*/ 18 h 54"/>
              <a:gd name="T50" fmla="*/ 60 w 66"/>
              <a:gd name="T51" fmla="*/ 24 h 54"/>
              <a:gd name="T52" fmla="*/ 54 w 66"/>
              <a:gd name="T53" fmla="*/ 24 h 54"/>
              <a:gd name="T54" fmla="*/ 54 w 66"/>
              <a:gd name="T55" fmla="*/ 24 h 54"/>
              <a:gd name="T56" fmla="*/ 48 w 66"/>
              <a:gd name="T57" fmla="*/ 18 h 54"/>
              <a:gd name="T58" fmla="*/ 48 w 66"/>
              <a:gd name="T59" fmla="*/ 18 h 54"/>
              <a:gd name="T60" fmla="*/ 42 w 66"/>
              <a:gd name="T61" fmla="*/ 24 h 54"/>
              <a:gd name="T62" fmla="*/ 42 w 66"/>
              <a:gd name="T63" fmla="*/ 24 h 54"/>
              <a:gd name="T64" fmla="*/ 36 w 66"/>
              <a:gd name="T65" fmla="*/ 24 h 54"/>
              <a:gd name="T66" fmla="*/ 30 w 66"/>
              <a:gd name="T67" fmla="*/ 24 h 54"/>
              <a:gd name="T68" fmla="*/ 30 w 66"/>
              <a:gd name="T69" fmla="*/ 24 h 54"/>
              <a:gd name="T70" fmla="*/ 30 w 66"/>
              <a:gd name="T71" fmla="*/ 30 h 54"/>
              <a:gd name="T72" fmla="*/ 30 w 66"/>
              <a:gd name="T73" fmla="*/ 30 h 54"/>
              <a:gd name="T74" fmla="*/ 30 w 66"/>
              <a:gd name="T75" fmla="*/ 36 h 54"/>
              <a:gd name="T76" fmla="*/ 36 w 66"/>
              <a:gd name="T77" fmla="*/ 42 h 54"/>
              <a:gd name="T78" fmla="*/ 30 w 66"/>
              <a:gd name="T79" fmla="*/ 48 h 54"/>
              <a:gd name="T80" fmla="*/ 24 w 66"/>
              <a:gd name="T81" fmla="*/ 48 h 54"/>
              <a:gd name="T82" fmla="*/ 24 w 66"/>
              <a:gd name="T83" fmla="*/ 48 h 54"/>
              <a:gd name="T84" fmla="*/ 18 w 66"/>
              <a:gd name="T85" fmla="*/ 48 h 54"/>
              <a:gd name="T86" fmla="*/ 12 w 66"/>
              <a:gd name="T87" fmla="*/ 48 h 54"/>
              <a:gd name="T88" fmla="*/ 12 w 66"/>
              <a:gd name="T89" fmla="*/ 48 h 54"/>
              <a:gd name="T90" fmla="*/ 12 w 66"/>
              <a:gd name="T91" fmla="*/ 54 h 54"/>
              <a:gd name="T92" fmla="*/ 6 w 66"/>
              <a:gd name="T93" fmla="*/ 48 h 54"/>
              <a:gd name="T94" fmla="*/ 0 w 66"/>
              <a:gd name="T95" fmla="*/ 42 h 54"/>
              <a:gd name="T96" fmla="*/ 0 w 66"/>
              <a:gd name="T97" fmla="*/ 42 h 54"/>
              <a:gd name="T98" fmla="*/ 0 w 66"/>
              <a:gd name="T99" fmla="*/ 36 h 54"/>
              <a:gd name="T100" fmla="*/ 0 w 66"/>
              <a:gd name="T101" fmla="*/ 36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66" h="54">
                <a:moveTo>
                  <a:pt x="0" y="36"/>
                </a:moveTo>
                <a:lnTo>
                  <a:pt x="0" y="36"/>
                </a:lnTo>
                <a:lnTo>
                  <a:pt x="0" y="36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2"/>
                </a:lnTo>
                <a:lnTo>
                  <a:pt x="6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42" y="0"/>
                </a:lnTo>
                <a:lnTo>
                  <a:pt x="42" y="0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0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48" y="24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2" y="18"/>
                </a:lnTo>
                <a:lnTo>
                  <a:pt x="42" y="18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6" y="36"/>
                </a:lnTo>
                <a:lnTo>
                  <a:pt x="36" y="42"/>
                </a:lnTo>
                <a:lnTo>
                  <a:pt x="36" y="42"/>
                </a:lnTo>
                <a:lnTo>
                  <a:pt x="36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27" name="Freeform 160"/>
          <p:cNvSpPr>
            <a:spLocks/>
          </p:cNvSpPr>
          <p:nvPr/>
        </p:nvSpPr>
        <p:spPr bwMode="auto">
          <a:xfrm>
            <a:off x="8445019" y="2034325"/>
            <a:ext cx="89937" cy="89937"/>
          </a:xfrm>
          <a:custGeom>
            <a:avLst/>
            <a:gdLst>
              <a:gd name="T0" fmla="*/ 6 w 84"/>
              <a:gd name="T1" fmla="*/ 6 h 84"/>
              <a:gd name="T2" fmla="*/ 6 w 84"/>
              <a:gd name="T3" fmla="*/ 6 h 84"/>
              <a:gd name="T4" fmla="*/ 24 w 84"/>
              <a:gd name="T5" fmla="*/ 0 h 84"/>
              <a:gd name="T6" fmla="*/ 36 w 84"/>
              <a:gd name="T7" fmla="*/ 0 h 84"/>
              <a:gd name="T8" fmla="*/ 36 w 84"/>
              <a:gd name="T9" fmla="*/ 6 h 84"/>
              <a:gd name="T10" fmla="*/ 36 w 84"/>
              <a:gd name="T11" fmla="*/ 12 h 84"/>
              <a:gd name="T12" fmla="*/ 42 w 84"/>
              <a:gd name="T13" fmla="*/ 12 h 84"/>
              <a:gd name="T14" fmla="*/ 48 w 84"/>
              <a:gd name="T15" fmla="*/ 24 h 84"/>
              <a:gd name="T16" fmla="*/ 48 w 84"/>
              <a:gd name="T17" fmla="*/ 30 h 84"/>
              <a:gd name="T18" fmla="*/ 48 w 84"/>
              <a:gd name="T19" fmla="*/ 30 h 84"/>
              <a:gd name="T20" fmla="*/ 54 w 84"/>
              <a:gd name="T21" fmla="*/ 36 h 84"/>
              <a:gd name="T22" fmla="*/ 54 w 84"/>
              <a:gd name="T23" fmla="*/ 36 h 84"/>
              <a:gd name="T24" fmla="*/ 54 w 84"/>
              <a:gd name="T25" fmla="*/ 42 h 84"/>
              <a:gd name="T26" fmla="*/ 60 w 84"/>
              <a:gd name="T27" fmla="*/ 42 h 84"/>
              <a:gd name="T28" fmla="*/ 66 w 84"/>
              <a:gd name="T29" fmla="*/ 42 h 84"/>
              <a:gd name="T30" fmla="*/ 66 w 84"/>
              <a:gd name="T31" fmla="*/ 48 h 84"/>
              <a:gd name="T32" fmla="*/ 78 w 84"/>
              <a:gd name="T33" fmla="*/ 48 h 84"/>
              <a:gd name="T34" fmla="*/ 78 w 84"/>
              <a:gd name="T35" fmla="*/ 48 h 84"/>
              <a:gd name="T36" fmla="*/ 84 w 84"/>
              <a:gd name="T37" fmla="*/ 54 h 84"/>
              <a:gd name="T38" fmla="*/ 84 w 84"/>
              <a:gd name="T39" fmla="*/ 54 h 84"/>
              <a:gd name="T40" fmla="*/ 84 w 84"/>
              <a:gd name="T41" fmla="*/ 60 h 84"/>
              <a:gd name="T42" fmla="*/ 78 w 84"/>
              <a:gd name="T43" fmla="*/ 60 h 84"/>
              <a:gd name="T44" fmla="*/ 72 w 84"/>
              <a:gd name="T45" fmla="*/ 66 h 84"/>
              <a:gd name="T46" fmla="*/ 66 w 84"/>
              <a:gd name="T47" fmla="*/ 60 h 84"/>
              <a:gd name="T48" fmla="*/ 60 w 84"/>
              <a:gd name="T49" fmla="*/ 66 h 84"/>
              <a:gd name="T50" fmla="*/ 60 w 84"/>
              <a:gd name="T51" fmla="*/ 66 h 84"/>
              <a:gd name="T52" fmla="*/ 54 w 84"/>
              <a:gd name="T53" fmla="*/ 66 h 84"/>
              <a:gd name="T54" fmla="*/ 54 w 84"/>
              <a:gd name="T55" fmla="*/ 66 h 84"/>
              <a:gd name="T56" fmla="*/ 54 w 84"/>
              <a:gd name="T57" fmla="*/ 72 h 84"/>
              <a:gd name="T58" fmla="*/ 48 w 84"/>
              <a:gd name="T59" fmla="*/ 72 h 84"/>
              <a:gd name="T60" fmla="*/ 42 w 84"/>
              <a:gd name="T61" fmla="*/ 66 h 84"/>
              <a:gd name="T62" fmla="*/ 36 w 84"/>
              <a:gd name="T63" fmla="*/ 72 h 84"/>
              <a:gd name="T64" fmla="*/ 30 w 84"/>
              <a:gd name="T65" fmla="*/ 72 h 84"/>
              <a:gd name="T66" fmla="*/ 30 w 84"/>
              <a:gd name="T67" fmla="*/ 72 h 84"/>
              <a:gd name="T68" fmla="*/ 24 w 84"/>
              <a:gd name="T69" fmla="*/ 72 h 84"/>
              <a:gd name="T70" fmla="*/ 24 w 84"/>
              <a:gd name="T71" fmla="*/ 78 h 84"/>
              <a:gd name="T72" fmla="*/ 24 w 84"/>
              <a:gd name="T73" fmla="*/ 84 h 84"/>
              <a:gd name="T74" fmla="*/ 12 w 84"/>
              <a:gd name="T75" fmla="*/ 72 h 84"/>
              <a:gd name="T76" fmla="*/ 6 w 84"/>
              <a:gd name="T77" fmla="*/ 54 h 84"/>
              <a:gd name="T78" fmla="*/ 6 w 84"/>
              <a:gd name="T79" fmla="*/ 42 h 84"/>
              <a:gd name="T80" fmla="*/ 6 w 84"/>
              <a:gd name="T81" fmla="*/ 36 h 84"/>
              <a:gd name="T82" fmla="*/ 12 w 84"/>
              <a:gd name="T83" fmla="*/ 36 h 84"/>
              <a:gd name="T84" fmla="*/ 18 w 84"/>
              <a:gd name="T85" fmla="*/ 36 h 84"/>
              <a:gd name="T86" fmla="*/ 12 w 84"/>
              <a:gd name="T87" fmla="*/ 30 h 84"/>
              <a:gd name="T88" fmla="*/ 12 w 84"/>
              <a:gd name="T89" fmla="*/ 24 h 84"/>
              <a:gd name="T90" fmla="*/ 6 w 84"/>
              <a:gd name="T91" fmla="*/ 24 h 84"/>
              <a:gd name="T92" fmla="*/ 6 w 84"/>
              <a:gd name="T93" fmla="*/ 24 h 84"/>
              <a:gd name="T94" fmla="*/ 6 w 84"/>
              <a:gd name="T95" fmla="*/ 18 h 84"/>
              <a:gd name="T96" fmla="*/ 6 w 84"/>
              <a:gd name="T97" fmla="*/ 12 h 84"/>
              <a:gd name="T98" fmla="*/ 0 w 84"/>
              <a:gd name="T99" fmla="*/ 12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84" h="84">
                <a:moveTo>
                  <a:pt x="0" y="12"/>
                </a:moveTo>
                <a:lnTo>
                  <a:pt x="6" y="12"/>
                </a:lnTo>
                <a:lnTo>
                  <a:pt x="6" y="6"/>
                </a:lnTo>
                <a:lnTo>
                  <a:pt x="6" y="6"/>
                </a:lnTo>
                <a:lnTo>
                  <a:pt x="0" y="6"/>
                </a:lnTo>
                <a:lnTo>
                  <a:pt x="6" y="6"/>
                </a:lnTo>
                <a:lnTo>
                  <a:pt x="6" y="6"/>
                </a:lnTo>
                <a:lnTo>
                  <a:pt x="12" y="6"/>
                </a:lnTo>
                <a:lnTo>
                  <a:pt x="24" y="0"/>
                </a:lnTo>
                <a:lnTo>
                  <a:pt x="24" y="0"/>
                </a:lnTo>
                <a:lnTo>
                  <a:pt x="30" y="0"/>
                </a:lnTo>
                <a:lnTo>
                  <a:pt x="36" y="0"/>
                </a:lnTo>
                <a:lnTo>
                  <a:pt x="36" y="0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12"/>
                </a:lnTo>
                <a:lnTo>
                  <a:pt x="36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8"/>
                </a:lnTo>
                <a:lnTo>
                  <a:pt x="42" y="18"/>
                </a:lnTo>
                <a:lnTo>
                  <a:pt x="48" y="24"/>
                </a:lnTo>
                <a:lnTo>
                  <a:pt x="48" y="24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54" y="36"/>
                </a:lnTo>
                <a:lnTo>
                  <a:pt x="48" y="36"/>
                </a:lnTo>
                <a:lnTo>
                  <a:pt x="54" y="36"/>
                </a:lnTo>
                <a:lnTo>
                  <a:pt x="54" y="36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8"/>
                </a:lnTo>
                <a:lnTo>
                  <a:pt x="72" y="48"/>
                </a:lnTo>
                <a:lnTo>
                  <a:pt x="72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84" y="48"/>
                </a:lnTo>
                <a:lnTo>
                  <a:pt x="84" y="48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60"/>
                </a:lnTo>
                <a:lnTo>
                  <a:pt x="84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6"/>
                </a:lnTo>
                <a:lnTo>
                  <a:pt x="72" y="66"/>
                </a:lnTo>
                <a:lnTo>
                  <a:pt x="72" y="66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72"/>
                </a:lnTo>
                <a:lnTo>
                  <a:pt x="54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2" y="66"/>
                </a:lnTo>
                <a:lnTo>
                  <a:pt x="42" y="66"/>
                </a:lnTo>
                <a:lnTo>
                  <a:pt x="42" y="72"/>
                </a:lnTo>
                <a:lnTo>
                  <a:pt x="36" y="66"/>
                </a:lnTo>
                <a:lnTo>
                  <a:pt x="36" y="72"/>
                </a:lnTo>
                <a:lnTo>
                  <a:pt x="36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84"/>
                </a:lnTo>
                <a:lnTo>
                  <a:pt x="18" y="84"/>
                </a:lnTo>
                <a:lnTo>
                  <a:pt x="12" y="72"/>
                </a:lnTo>
                <a:lnTo>
                  <a:pt x="12" y="72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8" y="36"/>
                </a:lnTo>
                <a:lnTo>
                  <a:pt x="18" y="36"/>
                </a:lnTo>
                <a:lnTo>
                  <a:pt x="12" y="36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12" y="24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0" y="1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28" name="Freeform 161"/>
          <p:cNvSpPr>
            <a:spLocks/>
          </p:cNvSpPr>
          <p:nvPr/>
        </p:nvSpPr>
        <p:spPr bwMode="auto">
          <a:xfrm>
            <a:off x="8669860" y="2066445"/>
            <a:ext cx="25696" cy="32120"/>
          </a:xfrm>
          <a:custGeom>
            <a:avLst/>
            <a:gdLst>
              <a:gd name="T0" fmla="*/ 0 w 24"/>
              <a:gd name="T1" fmla="*/ 24 h 30"/>
              <a:gd name="T2" fmla="*/ 0 w 24"/>
              <a:gd name="T3" fmla="*/ 18 h 30"/>
              <a:gd name="T4" fmla="*/ 0 w 24"/>
              <a:gd name="T5" fmla="*/ 18 h 30"/>
              <a:gd name="T6" fmla="*/ 0 w 24"/>
              <a:gd name="T7" fmla="*/ 12 h 30"/>
              <a:gd name="T8" fmla="*/ 0 w 24"/>
              <a:gd name="T9" fmla="*/ 12 h 30"/>
              <a:gd name="T10" fmla="*/ 0 w 24"/>
              <a:gd name="T11" fmla="*/ 12 h 30"/>
              <a:gd name="T12" fmla="*/ 0 w 24"/>
              <a:gd name="T13" fmla="*/ 6 h 30"/>
              <a:gd name="T14" fmla="*/ 0 w 24"/>
              <a:gd name="T15" fmla="*/ 6 h 30"/>
              <a:gd name="T16" fmla="*/ 6 w 24"/>
              <a:gd name="T17" fmla="*/ 0 h 30"/>
              <a:gd name="T18" fmla="*/ 12 w 24"/>
              <a:gd name="T19" fmla="*/ 6 h 30"/>
              <a:gd name="T20" fmla="*/ 12 w 24"/>
              <a:gd name="T21" fmla="*/ 6 h 30"/>
              <a:gd name="T22" fmla="*/ 18 w 24"/>
              <a:gd name="T23" fmla="*/ 12 h 30"/>
              <a:gd name="T24" fmla="*/ 18 w 24"/>
              <a:gd name="T25" fmla="*/ 12 h 30"/>
              <a:gd name="T26" fmla="*/ 18 w 24"/>
              <a:gd name="T27" fmla="*/ 12 h 30"/>
              <a:gd name="T28" fmla="*/ 24 w 24"/>
              <a:gd name="T29" fmla="*/ 12 h 30"/>
              <a:gd name="T30" fmla="*/ 24 w 24"/>
              <a:gd name="T31" fmla="*/ 12 h 30"/>
              <a:gd name="T32" fmla="*/ 24 w 24"/>
              <a:gd name="T33" fmla="*/ 18 h 30"/>
              <a:gd name="T34" fmla="*/ 18 w 24"/>
              <a:gd name="T35" fmla="*/ 18 h 30"/>
              <a:gd name="T36" fmla="*/ 18 w 24"/>
              <a:gd name="T37" fmla="*/ 12 h 30"/>
              <a:gd name="T38" fmla="*/ 12 w 24"/>
              <a:gd name="T39" fmla="*/ 18 h 30"/>
              <a:gd name="T40" fmla="*/ 18 w 24"/>
              <a:gd name="T41" fmla="*/ 18 h 30"/>
              <a:gd name="T42" fmla="*/ 18 w 24"/>
              <a:gd name="T43" fmla="*/ 24 h 30"/>
              <a:gd name="T44" fmla="*/ 18 w 24"/>
              <a:gd name="T45" fmla="*/ 24 h 30"/>
              <a:gd name="T46" fmla="*/ 18 w 24"/>
              <a:gd name="T47" fmla="*/ 24 h 30"/>
              <a:gd name="T48" fmla="*/ 18 w 24"/>
              <a:gd name="T49" fmla="*/ 30 h 30"/>
              <a:gd name="T50" fmla="*/ 18 w 24"/>
              <a:gd name="T51" fmla="*/ 30 h 30"/>
              <a:gd name="T52" fmla="*/ 12 w 24"/>
              <a:gd name="T53" fmla="*/ 24 h 30"/>
              <a:gd name="T54" fmla="*/ 12 w 24"/>
              <a:gd name="T55" fmla="*/ 24 h 30"/>
              <a:gd name="T56" fmla="*/ 12 w 24"/>
              <a:gd name="T57" fmla="*/ 24 h 30"/>
              <a:gd name="T58" fmla="*/ 6 w 24"/>
              <a:gd name="T59" fmla="*/ 24 h 30"/>
              <a:gd name="T60" fmla="*/ 6 w 24"/>
              <a:gd name="T61" fmla="*/ 24 h 30"/>
              <a:gd name="T62" fmla="*/ 0 w 24"/>
              <a:gd name="T63" fmla="*/ 24 h 30"/>
              <a:gd name="T64" fmla="*/ 0 w 24"/>
              <a:gd name="T65" fmla="*/ 2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4" h="30">
                <a:moveTo>
                  <a:pt x="0" y="24"/>
                </a:moveTo>
                <a:lnTo>
                  <a:pt x="0" y="24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6" y="0"/>
                </a:lnTo>
                <a:lnTo>
                  <a:pt x="6" y="0"/>
                </a:lnTo>
                <a:lnTo>
                  <a:pt x="6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8" y="6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8"/>
                </a:lnTo>
                <a:lnTo>
                  <a:pt x="18" y="12"/>
                </a:lnTo>
                <a:lnTo>
                  <a:pt x="18" y="18"/>
                </a:lnTo>
                <a:lnTo>
                  <a:pt x="18" y="18"/>
                </a:lnTo>
                <a:lnTo>
                  <a:pt x="18" y="12"/>
                </a:lnTo>
                <a:lnTo>
                  <a:pt x="18" y="18"/>
                </a:lnTo>
                <a:lnTo>
                  <a:pt x="12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29" name="Freeform 162"/>
          <p:cNvSpPr>
            <a:spLocks/>
          </p:cNvSpPr>
          <p:nvPr/>
        </p:nvSpPr>
        <p:spPr bwMode="auto">
          <a:xfrm>
            <a:off x="8657012" y="2137110"/>
            <a:ext cx="77089" cy="57817"/>
          </a:xfrm>
          <a:custGeom>
            <a:avLst/>
            <a:gdLst>
              <a:gd name="T0" fmla="*/ 6 w 72"/>
              <a:gd name="T1" fmla="*/ 48 h 54"/>
              <a:gd name="T2" fmla="*/ 6 w 72"/>
              <a:gd name="T3" fmla="*/ 42 h 54"/>
              <a:gd name="T4" fmla="*/ 6 w 72"/>
              <a:gd name="T5" fmla="*/ 42 h 54"/>
              <a:gd name="T6" fmla="*/ 6 w 72"/>
              <a:gd name="T7" fmla="*/ 42 h 54"/>
              <a:gd name="T8" fmla="*/ 12 w 72"/>
              <a:gd name="T9" fmla="*/ 36 h 54"/>
              <a:gd name="T10" fmla="*/ 6 w 72"/>
              <a:gd name="T11" fmla="*/ 36 h 54"/>
              <a:gd name="T12" fmla="*/ 12 w 72"/>
              <a:gd name="T13" fmla="*/ 30 h 54"/>
              <a:gd name="T14" fmla="*/ 18 w 72"/>
              <a:gd name="T15" fmla="*/ 36 h 54"/>
              <a:gd name="T16" fmla="*/ 24 w 72"/>
              <a:gd name="T17" fmla="*/ 30 h 54"/>
              <a:gd name="T18" fmla="*/ 24 w 72"/>
              <a:gd name="T19" fmla="*/ 24 h 54"/>
              <a:gd name="T20" fmla="*/ 24 w 72"/>
              <a:gd name="T21" fmla="*/ 18 h 54"/>
              <a:gd name="T22" fmla="*/ 30 w 72"/>
              <a:gd name="T23" fmla="*/ 18 h 54"/>
              <a:gd name="T24" fmla="*/ 24 w 72"/>
              <a:gd name="T25" fmla="*/ 18 h 54"/>
              <a:gd name="T26" fmla="*/ 24 w 72"/>
              <a:gd name="T27" fmla="*/ 12 h 54"/>
              <a:gd name="T28" fmla="*/ 24 w 72"/>
              <a:gd name="T29" fmla="*/ 12 h 54"/>
              <a:gd name="T30" fmla="*/ 24 w 72"/>
              <a:gd name="T31" fmla="*/ 12 h 54"/>
              <a:gd name="T32" fmla="*/ 30 w 72"/>
              <a:gd name="T33" fmla="*/ 6 h 54"/>
              <a:gd name="T34" fmla="*/ 30 w 72"/>
              <a:gd name="T35" fmla="*/ 6 h 54"/>
              <a:gd name="T36" fmla="*/ 36 w 72"/>
              <a:gd name="T37" fmla="*/ 6 h 54"/>
              <a:gd name="T38" fmla="*/ 36 w 72"/>
              <a:gd name="T39" fmla="*/ 6 h 54"/>
              <a:gd name="T40" fmla="*/ 36 w 72"/>
              <a:gd name="T41" fmla="*/ 6 h 54"/>
              <a:gd name="T42" fmla="*/ 42 w 72"/>
              <a:gd name="T43" fmla="*/ 6 h 54"/>
              <a:gd name="T44" fmla="*/ 42 w 72"/>
              <a:gd name="T45" fmla="*/ 6 h 54"/>
              <a:gd name="T46" fmla="*/ 48 w 72"/>
              <a:gd name="T47" fmla="*/ 6 h 54"/>
              <a:gd name="T48" fmla="*/ 48 w 72"/>
              <a:gd name="T49" fmla="*/ 6 h 54"/>
              <a:gd name="T50" fmla="*/ 54 w 72"/>
              <a:gd name="T51" fmla="*/ 6 h 54"/>
              <a:gd name="T52" fmla="*/ 60 w 72"/>
              <a:gd name="T53" fmla="*/ 6 h 54"/>
              <a:gd name="T54" fmla="*/ 66 w 72"/>
              <a:gd name="T55" fmla="*/ 6 h 54"/>
              <a:gd name="T56" fmla="*/ 66 w 72"/>
              <a:gd name="T57" fmla="*/ 6 h 54"/>
              <a:gd name="T58" fmla="*/ 66 w 72"/>
              <a:gd name="T59" fmla="*/ 12 h 54"/>
              <a:gd name="T60" fmla="*/ 72 w 72"/>
              <a:gd name="T61" fmla="*/ 12 h 54"/>
              <a:gd name="T62" fmla="*/ 66 w 72"/>
              <a:gd name="T63" fmla="*/ 18 h 54"/>
              <a:gd name="T64" fmla="*/ 66 w 72"/>
              <a:gd name="T65" fmla="*/ 24 h 54"/>
              <a:gd name="T66" fmla="*/ 66 w 72"/>
              <a:gd name="T67" fmla="*/ 24 h 54"/>
              <a:gd name="T68" fmla="*/ 66 w 72"/>
              <a:gd name="T69" fmla="*/ 24 h 54"/>
              <a:gd name="T70" fmla="*/ 66 w 72"/>
              <a:gd name="T71" fmla="*/ 30 h 54"/>
              <a:gd name="T72" fmla="*/ 60 w 72"/>
              <a:gd name="T73" fmla="*/ 30 h 54"/>
              <a:gd name="T74" fmla="*/ 54 w 72"/>
              <a:gd name="T75" fmla="*/ 30 h 54"/>
              <a:gd name="T76" fmla="*/ 54 w 72"/>
              <a:gd name="T77" fmla="*/ 36 h 54"/>
              <a:gd name="T78" fmla="*/ 48 w 72"/>
              <a:gd name="T79" fmla="*/ 36 h 54"/>
              <a:gd name="T80" fmla="*/ 42 w 72"/>
              <a:gd name="T81" fmla="*/ 36 h 54"/>
              <a:gd name="T82" fmla="*/ 42 w 72"/>
              <a:gd name="T83" fmla="*/ 42 h 54"/>
              <a:gd name="T84" fmla="*/ 36 w 72"/>
              <a:gd name="T85" fmla="*/ 42 h 54"/>
              <a:gd name="T86" fmla="*/ 30 w 72"/>
              <a:gd name="T87" fmla="*/ 42 h 54"/>
              <a:gd name="T88" fmla="*/ 24 w 72"/>
              <a:gd name="T89" fmla="*/ 42 h 54"/>
              <a:gd name="T90" fmla="*/ 12 w 72"/>
              <a:gd name="T91" fmla="*/ 48 h 54"/>
              <a:gd name="T92" fmla="*/ 6 w 72"/>
              <a:gd name="T93" fmla="*/ 48 h 54"/>
              <a:gd name="T94" fmla="*/ 0 w 72"/>
              <a:gd name="T95" fmla="*/ 48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72" h="54">
                <a:moveTo>
                  <a:pt x="0" y="48"/>
                </a:moveTo>
                <a:lnTo>
                  <a:pt x="0" y="48"/>
                </a:lnTo>
                <a:lnTo>
                  <a:pt x="0" y="48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6" y="36"/>
                </a:lnTo>
                <a:lnTo>
                  <a:pt x="6" y="36"/>
                </a:lnTo>
                <a:lnTo>
                  <a:pt x="12" y="36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8" y="36"/>
                </a:lnTo>
                <a:lnTo>
                  <a:pt x="18" y="36"/>
                </a:lnTo>
                <a:lnTo>
                  <a:pt x="18" y="30"/>
                </a:lnTo>
                <a:lnTo>
                  <a:pt x="18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0"/>
                </a:lnTo>
                <a:lnTo>
                  <a:pt x="66" y="6"/>
                </a:lnTo>
                <a:lnTo>
                  <a:pt x="66" y="0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72" y="24"/>
                </a:lnTo>
                <a:lnTo>
                  <a:pt x="72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72" y="24"/>
                </a:lnTo>
                <a:lnTo>
                  <a:pt x="66" y="24"/>
                </a:lnTo>
                <a:lnTo>
                  <a:pt x="66" y="24"/>
                </a:lnTo>
                <a:lnTo>
                  <a:pt x="72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8"/>
                </a:lnTo>
                <a:lnTo>
                  <a:pt x="18" y="48"/>
                </a:lnTo>
                <a:lnTo>
                  <a:pt x="18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6" y="48"/>
                </a:lnTo>
                <a:lnTo>
                  <a:pt x="6" y="48"/>
                </a:lnTo>
                <a:lnTo>
                  <a:pt x="6" y="54"/>
                </a:lnTo>
                <a:lnTo>
                  <a:pt x="6" y="54"/>
                </a:lnTo>
                <a:lnTo>
                  <a:pt x="6" y="48"/>
                </a:lnTo>
                <a:lnTo>
                  <a:pt x="0" y="48"/>
                </a:lnTo>
                <a:lnTo>
                  <a:pt x="0" y="4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30" name="Freeform 163"/>
          <p:cNvSpPr>
            <a:spLocks/>
          </p:cNvSpPr>
          <p:nvPr/>
        </p:nvSpPr>
        <p:spPr bwMode="auto">
          <a:xfrm>
            <a:off x="8746949" y="2008628"/>
            <a:ext cx="70665" cy="64241"/>
          </a:xfrm>
          <a:custGeom>
            <a:avLst/>
            <a:gdLst>
              <a:gd name="T0" fmla="*/ 6 w 66"/>
              <a:gd name="T1" fmla="*/ 30 h 60"/>
              <a:gd name="T2" fmla="*/ 6 w 66"/>
              <a:gd name="T3" fmla="*/ 30 h 60"/>
              <a:gd name="T4" fmla="*/ 12 w 66"/>
              <a:gd name="T5" fmla="*/ 24 h 60"/>
              <a:gd name="T6" fmla="*/ 12 w 66"/>
              <a:gd name="T7" fmla="*/ 30 h 60"/>
              <a:gd name="T8" fmla="*/ 12 w 66"/>
              <a:gd name="T9" fmla="*/ 24 h 60"/>
              <a:gd name="T10" fmla="*/ 6 w 66"/>
              <a:gd name="T11" fmla="*/ 18 h 60"/>
              <a:gd name="T12" fmla="*/ 12 w 66"/>
              <a:gd name="T13" fmla="*/ 12 h 60"/>
              <a:gd name="T14" fmla="*/ 12 w 66"/>
              <a:gd name="T15" fmla="*/ 12 h 60"/>
              <a:gd name="T16" fmla="*/ 6 w 66"/>
              <a:gd name="T17" fmla="*/ 12 h 60"/>
              <a:gd name="T18" fmla="*/ 6 w 66"/>
              <a:gd name="T19" fmla="*/ 12 h 60"/>
              <a:gd name="T20" fmla="*/ 6 w 66"/>
              <a:gd name="T21" fmla="*/ 12 h 60"/>
              <a:gd name="T22" fmla="*/ 0 w 66"/>
              <a:gd name="T23" fmla="*/ 12 h 60"/>
              <a:gd name="T24" fmla="*/ 0 w 66"/>
              <a:gd name="T25" fmla="*/ 6 h 60"/>
              <a:gd name="T26" fmla="*/ 6 w 66"/>
              <a:gd name="T27" fmla="*/ 6 h 60"/>
              <a:gd name="T28" fmla="*/ 18 w 66"/>
              <a:gd name="T29" fmla="*/ 6 h 60"/>
              <a:gd name="T30" fmla="*/ 24 w 66"/>
              <a:gd name="T31" fmla="*/ 6 h 60"/>
              <a:gd name="T32" fmla="*/ 24 w 66"/>
              <a:gd name="T33" fmla="*/ 0 h 60"/>
              <a:gd name="T34" fmla="*/ 24 w 66"/>
              <a:gd name="T35" fmla="*/ 0 h 60"/>
              <a:gd name="T36" fmla="*/ 24 w 66"/>
              <a:gd name="T37" fmla="*/ 6 h 60"/>
              <a:gd name="T38" fmla="*/ 30 w 66"/>
              <a:gd name="T39" fmla="*/ 6 h 60"/>
              <a:gd name="T40" fmla="*/ 36 w 66"/>
              <a:gd name="T41" fmla="*/ 6 h 60"/>
              <a:gd name="T42" fmla="*/ 36 w 66"/>
              <a:gd name="T43" fmla="*/ 6 h 60"/>
              <a:gd name="T44" fmla="*/ 42 w 66"/>
              <a:gd name="T45" fmla="*/ 0 h 60"/>
              <a:gd name="T46" fmla="*/ 42 w 66"/>
              <a:gd name="T47" fmla="*/ 0 h 60"/>
              <a:gd name="T48" fmla="*/ 48 w 66"/>
              <a:gd name="T49" fmla="*/ 6 h 60"/>
              <a:gd name="T50" fmla="*/ 48 w 66"/>
              <a:gd name="T51" fmla="*/ 0 h 60"/>
              <a:gd name="T52" fmla="*/ 54 w 66"/>
              <a:gd name="T53" fmla="*/ 0 h 60"/>
              <a:gd name="T54" fmla="*/ 54 w 66"/>
              <a:gd name="T55" fmla="*/ 0 h 60"/>
              <a:gd name="T56" fmla="*/ 54 w 66"/>
              <a:gd name="T57" fmla="*/ 0 h 60"/>
              <a:gd name="T58" fmla="*/ 60 w 66"/>
              <a:gd name="T59" fmla="*/ 12 h 60"/>
              <a:gd name="T60" fmla="*/ 60 w 66"/>
              <a:gd name="T61" fmla="*/ 24 h 60"/>
              <a:gd name="T62" fmla="*/ 60 w 66"/>
              <a:gd name="T63" fmla="*/ 24 h 60"/>
              <a:gd name="T64" fmla="*/ 60 w 66"/>
              <a:gd name="T65" fmla="*/ 30 h 60"/>
              <a:gd name="T66" fmla="*/ 60 w 66"/>
              <a:gd name="T67" fmla="*/ 30 h 60"/>
              <a:gd name="T68" fmla="*/ 60 w 66"/>
              <a:gd name="T69" fmla="*/ 36 h 60"/>
              <a:gd name="T70" fmla="*/ 60 w 66"/>
              <a:gd name="T71" fmla="*/ 36 h 60"/>
              <a:gd name="T72" fmla="*/ 60 w 66"/>
              <a:gd name="T73" fmla="*/ 36 h 60"/>
              <a:gd name="T74" fmla="*/ 66 w 66"/>
              <a:gd name="T75" fmla="*/ 36 h 60"/>
              <a:gd name="T76" fmla="*/ 66 w 66"/>
              <a:gd name="T77" fmla="*/ 48 h 60"/>
              <a:gd name="T78" fmla="*/ 66 w 66"/>
              <a:gd name="T79" fmla="*/ 48 h 60"/>
              <a:gd name="T80" fmla="*/ 60 w 66"/>
              <a:gd name="T81" fmla="*/ 54 h 60"/>
              <a:gd name="T82" fmla="*/ 60 w 66"/>
              <a:gd name="T83" fmla="*/ 54 h 60"/>
              <a:gd name="T84" fmla="*/ 54 w 66"/>
              <a:gd name="T85" fmla="*/ 54 h 60"/>
              <a:gd name="T86" fmla="*/ 42 w 66"/>
              <a:gd name="T87" fmla="*/ 54 h 60"/>
              <a:gd name="T88" fmla="*/ 42 w 66"/>
              <a:gd name="T89" fmla="*/ 60 h 60"/>
              <a:gd name="T90" fmla="*/ 36 w 66"/>
              <a:gd name="T91" fmla="*/ 54 h 60"/>
              <a:gd name="T92" fmla="*/ 36 w 66"/>
              <a:gd name="T93" fmla="*/ 60 h 60"/>
              <a:gd name="T94" fmla="*/ 30 w 66"/>
              <a:gd name="T95" fmla="*/ 60 h 60"/>
              <a:gd name="T96" fmla="*/ 30 w 66"/>
              <a:gd name="T97" fmla="*/ 60 h 60"/>
              <a:gd name="T98" fmla="*/ 24 w 66"/>
              <a:gd name="T99" fmla="*/ 60 h 60"/>
              <a:gd name="T100" fmla="*/ 24 w 66"/>
              <a:gd name="T101" fmla="*/ 60 h 60"/>
              <a:gd name="T102" fmla="*/ 18 w 66"/>
              <a:gd name="T103" fmla="*/ 60 h 60"/>
              <a:gd name="T104" fmla="*/ 18 w 66"/>
              <a:gd name="T105" fmla="*/ 60 h 60"/>
              <a:gd name="T106" fmla="*/ 12 w 66"/>
              <a:gd name="T107" fmla="*/ 54 h 60"/>
              <a:gd name="T108" fmla="*/ 12 w 66"/>
              <a:gd name="T109" fmla="*/ 54 h 60"/>
              <a:gd name="T110" fmla="*/ 12 w 66"/>
              <a:gd name="T111" fmla="*/ 48 h 60"/>
              <a:gd name="T112" fmla="*/ 12 w 66"/>
              <a:gd name="T113" fmla="*/ 48 h 60"/>
              <a:gd name="T114" fmla="*/ 12 w 66"/>
              <a:gd name="T115" fmla="*/ 42 h 60"/>
              <a:gd name="T116" fmla="*/ 12 w 66"/>
              <a:gd name="T117" fmla="*/ 36 h 60"/>
              <a:gd name="T118" fmla="*/ 12 w 66"/>
              <a:gd name="T119" fmla="*/ 36 h 60"/>
              <a:gd name="T120" fmla="*/ 12 w 66"/>
              <a:gd name="T121" fmla="*/ 36 h 60"/>
              <a:gd name="T122" fmla="*/ 6 w 66"/>
              <a:gd name="T123" fmla="*/ 36 h 60"/>
              <a:gd name="T124" fmla="*/ 6 w 66"/>
              <a:gd name="T125" fmla="*/ 36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6" h="60">
                <a:moveTo>
                  <a:pt x="6" y="36"/>
                </a:move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12" y="24"/>
                </a:lnTo>
                <a:lnTo>
                  <a:pt x="12" y="24"/>
                </a:lnTo>
                <a:lnTo>
                  <a:pt x="12" y="30"/>
                </a:lnTo>
                <a:lnTo>
                  <a:pt x="12" y="30"/>
                </a:lnTo>
                <a:lnTo>
                  <a:pt x="12" y="24"/>
                </a:lnTo>
                <a:lnTo>
                  <a:pt x="12" y="18"/>
                </a:lnTo>
                <a:lnTo>
                  <a:pt x="6" y="18"/>
                </a:lnTo>
                <a:lnTo>
                  <a:pt x="12" y="18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0" y="12"/>
                </a:lnTo>
                <a:lnTo>
                  <a:pt x="0" y="12"/>
                </a:lnTo>
                <a:lnTo>
                  <a:pt x="0" y="6"/>
                </a:lnTo>
                <a:lnTo>
                  <a:pt x="6" y="0"/>
                </a:lnTo>
                <a:lnTo>
                  <a:pt x="6" y="6"/>
                </a:lnTo>
                <a:lnTo>
                  <a:pt x="12" y="6"/>
                </a:lnTo>
                <a:lnTo>
                  <a:pt x="18" y="6"/>
                </a:lnTo>
                <a:lnTo>
                  <a:pt x="18" y="6"/>
                </a:lnTo>
                <a:lnTo>
                  <a:pt x="24" y="6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6"/>
                </a:lnTo>
                <a:lnTo>
                  <a:pt x="48" y="6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60" y="12"/>
                </a:lnTo>
                <a:lnTo>
                  <a:pt x="60" y="18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6" y="36"/>
                </a:lnTo>
                <a:lnTo>
                  <a:pt x="66" y="36"/>
                </a:lnTo>
                <a:lnTo>
                  <a:pt x="66" y="42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0" y="48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54" y="54"/>
                </a:lnTo>
                <a:lnTo>
                  <a:pt x="54" y="54"/>
                </a:lnTo>
                <a:lnTo>
                  <a:pt x="48" y="54"/>
                </a:lnTo>
                <a:lnTo>
                  <a:pt x="42" y="54"/>
                </a:lnTo>
                <a:lnTo>
                  <a:pt x="42" y="54"/>
                </a:lnTo>
                <a:lnTo>
                  <a:pt x="42" y="60"/>
                </a:lnTo>
                <a:lnTo>
                  <a:pt x="42" y="60"/>
                </a:lnTo>
                <a:lnTo>
                  <a:pt x="36" y="54"/>
                </a:lnTo>
                <a:lnTo>
                  <a:pt x="36" y="60"/>
                </a:lnTo>
                <a:lnTo>
                  <a:pt x="36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31" name="Freeform 164"/>
          <p:cNvSpPr>
            <a:spLocks/>
          </p:cNvSpPr>
          <p:nvPr/>
        </p:nvSpPr>
        <p:spPr bwMode="auto">
          <a:xfrm>
            <a:off x="8567075" y="1976508"/>
            <a:ext cx="64240" cy="128482"/>
          </a:xfrm>
          <a:custGeom>
            <a:avLst/>
            <a:gdLst>
              <a:gd name="T0" fmla="*/ 0 w 60"/>
              <a:gd name="T1" fmla="*/ 96 h 120"/>
              <a:gd name="T2" fmla="*/ 0 w 60"/>
              <a:gd name="T3" fmla="*/ 90 h 120"/>
              <a:gd name="T4" fmla="*/ 6 w 60"/>
              <a:gd name="T5" fmla="*/ 84 h 120"/>
              <a:gd name="T6" fmla="*/ 12 w 60"/>
              <a:gd name="T7" fmla="*/ 84 h 120"/>
              <a:gd name="T8" fmla="*/ 18 w 60"/>
              <a:gd name="T9" fmla="*/ 78 h 120"/>
              <a:gd name="T10" fmla="*/ 18 w 60"/>
              <a:gd name="T11" fmla="*/ 72 h 120"/>
              <a:gd name="T12" fmla="*/ 24 w 60"/>
              <a:gd name="T13" fmla="*/ 72 h 120"/>
              <a:gd name="T14" fmla="*/ 24 w 60"/>
              <a:gd name="T15" fmla="*/ 66 h 120"/>
              <a:gd name="T16" fmla="*/ 24 w 60"/>
              <a:gd name="T17" fmla="*/ 60 h 120"/>
              <a:gd name="T18" fmla="*/ 18 w 60"/>
              <a:gd name="T19" fmla="*/ 60 h 120"/>
              <a:gd name="T20" fmla="*/ 18 w 60"/>
              <a:gd name="T21" fmla="*/ 60 h 120"/>
              <a:gd name="T22" fmla="*/ 24 w 60"/>
              <a:gd name="T23" fmla="*/ 42 h 120"/>
              <a:gd name="T24" fmla="*/ 24 w 60"/>
              <a:gd name="T25" fmla="*/ 42 h 120"/>
              <a:gd name="T26" fmla="*/ 30 w 60"/>
              <a:gd name="T27" fmla="*/ 42 h 120"/>
              <a:gd name="T28" fmla="*/ 36 w 60"/>
              <a:gd name="T29" fmla="*/ 48 h 120"/>
              <a:gd name="T30" fmla="*/ 30 w 60"/>
              <a:gd name="T31" fmla="*/ 36 h 120"/>
              <a:gd name="T32" fmla="*/ 30 w 60"/>
              <a:gd name="T33" fmla="*/ 36 h 120"/>
              <a:gd name="T34" fmla="*/ 30 w 60"/>
              <a:gd name="T35" fmla="*/ 30 h 120"/>
              <a:gd name="T36" fmla="*/ 24 w 60"/>
              <a:gd name="T37" fmla="*/ 30 h 120"/>
              <a:gd name="T38" fmla="*/ 24 w 60"/>
              <a:gd name="T39" fmla="*/ 24 h 120"/>
              <a:gd name="T40" fmla="*/ 24 w 60"/>
              <a:gd name="T41" fmla="*/ 18 h 120"/>
              <a:gd name="T42" fmla="*/ 36 w 60"/>
              <a:gd name="T43" fmla="*/ 12 h 120"/>
              <a:gd name="T44" fmla="*/ 48 w 60"/>
              <a:gd name="T45" fmla="*/ 6 h 120"/>
              <a:gd name="T46" fmla="*/ 54 w 60"/>
              <a:gd name="T47" fmla="*/ 6 h 120"/>
              <a:gd name="T48" fmla="*/ 54 w 60"/>
              <a:gd name="T49" fmla="*/ 12 h 120"/>
              <a:gd name="T50" fmla="*/ 54 w 60"/>
              <a:gd name="T51" fmla="*/ 12 h 120"/>
              <a:gd name="T52" fmla="*/ 54 w 60"/>
              <a:gd name="T53" fmla="*/ 18 h 120"/>
              <a:gd name="T54" fmla="*/ 60 w 60"/>
              <a:gd name="T55" fmla="*/ 18 h 120"/>
              <a:gd name="T56" fmla="*/ 60 w 60"/>
              <a:gd name="T57" fmla="*/ 24 h 120"/>
              <a:gd name="T58" fmla="*/ 60 w 60"/>
              <a:gd name="T59" fmla="*/ 48 h 120"/>
              <a:gd name="T60" fmla="*/ 54 w 60"/>
              <a:gd name="T61" fmla="*/ 78 h 120"/>
              <a:gd name="T62" fmla="*/ 54 w 60"/>
              <a:gd name="T63" fmla="*/ 84 h 120"/>
              <a:gd name="T64" fmla="*/ 48 w 60"/>
              <a:gd name="T65" fmla="*/ 90 h 120"/>
              <a:gd name="T66" fmla="*/ 42 w 60"/>
              <a:gd name="T67" fmla="*/ 90 h 120"/>
              <a:gd name="T68" fmla="*/ 24 w 60"/>
              <a:gd name="T69" fmla="*/ 96 h 120"/>
              <a:gd name="T70" fmla="*/ 30 w 60"/>
              <a:gd name="T71" fmla="*/ 114 h 120"/>
              <a:gd name="T72" fmla="*/ 30 w 60"/>
              <a:gd name="T73" fmla="*/ 120 h 120"/>
              <a:gd name="T74" fmla="*/ 12 w 60"/>
              <a:gd name="T75" fmla="*/ 120 h 120"/>
              <a:gd name="T76" fmla="*/ 6 w 60"/>
              <a:gd name="T77" fmla="*/ 114 h 120"/>
              <a:gd name="T78" fmla="*/ 6 w 60"/>
              <a:gd name="T79" fmla="*/ 108 h 120"/>
              <a:gd name="T80" fmla="*/ 6 w 60"/>
              <a:gd name="T81" fmla="*/ 102 h 120"/>
              <a:gd name="T82" fmla="*/ 6 w 60"/>
              <a:gd name="T83" fmla="*/ 102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60" h="120">
                <a:moveTo>
                  <a:pt x="0" y="96"/>
                </a:moveTo>
                <a:lnTo>
                  <a:pt x="0" y="96"/>
                </a:lnTo>
                <a:lnTo>
                  <a:pt x="0" y="96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6" y="90"/>
                </a:lnTo>
                <a:lnTo>
                  <a:pt x="6" y="90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12" y="84"/>
                </a:lnTo>
                <a:lnTo>
                  <a:pt x="12" y="84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2"/>
                </a:lnTo>
                <a:lnTo>
                  <a:pt x="18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66"/>
                </a:lnTo>
                <a:lnTo>
                  <a:pt x="24" y="66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54"/>
                </a:lnTo>
                <a:lnTo>
                  <a:pt x="18" y="48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30" y="42"/>
                </a:lnTo>
                <a:lnTo>
                  <a:pt x="30" y="48"/>
                </a:lnTo>
                <a:lnTo>
                  <a:pt x="30" y="48"/>
                </a:lnTo>
                <a:lnTo>
                  <a:pt x="36" y="48"/>
                </a:lnTo>
                <a:lnTo>
                  <a:pt x="36" y="48"/>
                </a:lnTo>
                <a:lnTo>
                  <a:pt x="30" y="42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18"/>
                </a:lnTo>
                <a:lnTo>
                  <a:pt x="24" y="18"/>
                </a:lnTo>
                <a:lnTo>
                  <a:pt x="24" y="12"/>
                </a:lnTo>
                <a:lnTo>
                  <a:pt x="30" y="12"/>
                </a:lnTo>
                <a:lnTo>
                  <a:pt x="36" y="12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0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60" y="18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36"/>
                </a:lnTo>
                <a:lnTo>
                  <a:pt x="60" y="42"/>
                </a:lnTo>
                <a:lnTo>
                  <a:pt x="60" y="48"/>
                </a:lnTo>
                <a:lnTo>
                  <a:pt x="60" y="54"/>
                </a:lnTo>
                <a:lnTo>
                  <a:pt x="54" y="72"/>
                </a:lnTo>
                <a:lnTo>
                  <a:pt x="54" y="78"/>
                </a:lnTo>
                <a:lnTo>
                  <a:pt x="54" y="78"/>
                </a:lnTo>
                <a:lnTo>
                  <a:pt x="54" y="84"/>
                </a:lnTo>
                <a:lnTo>
                  <a:pt x="54" y="84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2" y="90"/>
                </a:lnTo>
                <a:lnTo>
                  <a:pt x="42" y="90"/>
                </a:lnTo>
                <a:lnTo>
                  <a:pt x="30" y="96"/>
                </a:lnTo>
                <a:lnTo>
                  <a:pt x="30" y="96"/>
                </a:lnTo>
                <a:lnTo>
                  <a:pt x="24" y="96"/>
                </a:lnTo>
                <a:lnTo>
                  <a:pt x="24" y="102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24" y="114"/>
                </a:lnTo>
                <a:lnTo>
                  <a:pt x="30" y="120"/>
                </a:lnTo>
                <a:lnTo>
                  <a:pt x="24" y="120"/>
                </a:lnTo>
                <a:lnTo>
                  <a:pt x="18" y="120"/>
                </a:lnTo>
                <a:lnTo>
                  <a:pt x="12" y="120"/>
                </a:lnTo>
                <a:lnTo>
                  <a:pt x="12" y="114"/>
                </a:lnTo>
                <a:lnTo>
                  <a:pt x="6" y="114"/>
                </a:lnTo>
                <a:lnTo>
                  <a:pt x="6" y="114"/>
                </a:lnTo>
                <a:lnTo>
                  <a:pt x="6" y="108"/>
                </a:lnTo>
                <a:lnTo>
                  <a:pt x="0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0" y="96"/>
                </a:lnTo>
                <a:lnTo>
                  <a:pt x="0" y="9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32" name="Freeform 165"/>
          <p:cNvSpPr>
            <a:spLocks/>
          </p:cNvSpPr>
          <p:nvPr/>
        </p:nvSpPr>
        <p:spPr bwMode="auto">
          <a:xfrm>
            <a:off x="8380778" y="1944387"/>
            <a:ext cx="122057" cy="83513"/>
          </a:xfrm>
          <a:custGeom>
            <a:avLst/>
            <a:gdLst>
              <a:gd name="T0" fmla="*/ 0 w 114"/>
              <a:gd name="T1" fmla="*/ 54 h 78"/>
              <a:gd name="T2" fmla="*/ 6 w 114"/>
              <a:gd name="T3" fmla="*/ 48 h 78"/>
              <a:gd name="T4" fmla="*/ 12 w 114"/>
              <a:gd name="T5" fmla="*/ 48 h 78"/>
              <a:gd name="T6" fmla="*/ 12 w 114"/>
              <a:gd name="T7" fmla="*/ 48 h 78"/>
              <a:gd name="T8" fmla="*/ 18 w 114"/>
              <a:gd name="T9" fmla="*/ 48 h 78"/>
              <a:gd name="T10" fmla="*/ 24 w 114"/>
              <a:gd name="T11" fmla="*/ 42 h 78"/>
              <a:gd name="T12" fmla="*/ 24 w 114"/>
              <a:gd name="T13" fmla="*/ 42 h 78"/>
              <a:gd name="T14" fmla="*/ 30 w 114"/>
              <a:gd name="T15" fmla="*/ 36 h 78"/>
              <a:gd name="T16" fmla="*/ 30 w 114"/>
              <a:gd name="T17" fmla="*/ 30 h 78"/>
              <a:gd name="T18" fmla="*/ 36 w 114"/>
              <a:gd name="T19" fmla="*/ 30 h 78"/>
              <a:gd name="T20" fmla="*/ 36 w 114"/>
              <a:gd name="T21" fmla="*/ 24 h 78"/>
              <a:gd name="T22" fmla="*/ 36 w 114"/>
              <a:gd name="T23" fmla="*/ 24 h 78"/>
              <a:gd name="T24" fmla="*/ 36 w 114"/>
              <a:gd name="T25" fmla="*/ 18 h 78"/>
              <a:gd name="T26" fmla="*/ 42 w 114"/>
              <a:gd name="T27" fmla="*/ 18 h 78"/>
              <a:gd name="T28" fmla="*/ 54 w 114"/>
              <a:gd name="T29" fmla="*/ 18 h 78"/>
              <a:gd name="T30" fmla="*/ 60 w 114"/>
              <a:gd name="T31" fmla="*/ 18 h 78"/>
              <a:gd name="T32" fmla="*/ 66 w 114"/>
              <a:gd name="T33" fmla="*/ 12 h 78"/>
              <a:gd name="T34" fmla="*/ 72 w 114"/>
              <a:gd name="T35" fmla="*/ 12 h 78"/>
              <a:gd name="T36" fmla="*/ 78 w 114"/>
              <a:gd name="T37" fmla="*/ 12 h 78"/>
              <a:gd name="T38" fmla="*/ 84 w 114"/>
              <a:gd name="T39" fmla="*/ 6 h 78"/>
              <a:gd name="T40" fmla="*/ 90 w 114"/>
              <a:gd name="T41" fmla="*/ 6 h 78"/>
              <a:gd name="T42" fmla="*/ 96 w 114"/>
              <a:gd name="T43" fmla="*/ 0 h 78"/>
              <a:gd name="T44" fmla="*/ 102 w 114"/>
              <a:gd name="T45" fmla="*/ 0 h 78"/>
              <a:gd name="T46" fmla="*/ 108 w 114"/>
              <a:gd name="T47" fmla="*/ 0 h 78"/>
              <a:gd name="T48" fmla="*/ 114 w 114"/>
              <a:gd name="T49" fmla="*/ 0 h 78"/>
              <a:gd name="T50" fmla="*/ 114 w 114"/>
              <a:gd name="T51" fmla="*/ 12 h 78"/>
              <a:gd name="T52" fmla="*/ 114 w 114"/>
              <a:gd name="T53" fmla="*/ 18 h 78"/>
              <a:gd name="T54" fmla="*/ 108 w 114"/>
              <a:gd name="T55" fmla="*/ 24 h 78"/>
              <a:gd name="T56" fmla="*/ 102 w 114"/>
              <a:gd name="T57" fmla="*/ 24 h 78"/>
              <a:gd name="T58" fmla="*/ 96 w 114"/>
              <a:gd name="T59" fmla="*/ 30 h 78"/>
              <a:gd name="T60" fmla="*/ 90 w 114"/>
              <a:gd name="T61" fmla="*/ 36 h 78"/>
              <a:gd name="T62" fmla="*/ 84 w 114"/>
              <a:gd name="T63" fmla="*/ 42 h 78"/>
              <a:gd name="T64" fmla="*/ 84 w 114"/>
              <a:gd name="T65" fmla="*/ 48 h 78"/>
              <a:gd name="T66" fmla="*/ 84 w 114"/>
              <a:gd name="T67" fmla="*/ 54 h 78"/>
              <a:gd name="T68" fmla="*/ 78 w 114"/>
              <a:gd name="T69" fmla="*/ 66 h 78"/>
              <a:gd name="T70" fmla="*/ 72 w 114"/>
              <a:gd name="T71" fmla="*/ 60 h 78"/>
              <a:gd name="T72" fmla="*/ 60 w 114"/>
              <a:gd name="T73" fmla="*/ 66 h 78"/>
              <a:gd name="T74" fmla="*/ 54 w 114"/>
              <a:gd name="T75" fmla="*/ 60 h 78"/>
              <a:gd name="T76" fmla="*/ 48 w 114"/>
              <a:gd name="T77" fmla="*/ 66 h 78"/>
              <a:gd name="T78" fmla="*/ 42 w 114"/>
              <a:gd name="T79" fmla="*/ 66 h 78"/>
              <a:gd name="T80" fmla="*/ 42 w 114"/>
              <a:gd name="T81" fmla="*/ 66 h 78"/>
              <a:gd name="T82" fmla="*/ 36 w 114"/>
              <a:gd name="T83" fmla="*/ 72 h 78"/>
              <a:gd name="T84" fmla="*/ 30 w 114"/>
              <a:gd name="T85" fmla="*/ 72 h 78"/>
              <a:gd name="T86" fmla="*/ 24 w 114"/>
              <a:gd name="T87" fmla="*/ 78 h 78"/>
              <a:gd name="T88" fmla="*/ 12 w 114"/>
              <a:gd name="T89" fmla="*/ 78 h 78"/>
              <a:gd name="T90" fmla="*/ 6 w 114"/>
              <a:gd name="T91" fmla="*/ 72 h 78"/>
              <a:gd name="T92" fmla="*/ 6 w 114"/>
              <a:gd name="T93" fmla="*/ 72 h 78"/>
              <a:gd name="T94" fmla="*/ 6 w 114"/>
              <a:gd name="T95" fmla="*/ 66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14" h="78">
                <a:moveTo>
                  <a:pt x="0" y="54"/>
                </a:move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48"/>
                </a:lnTo>
                <a:lnTo>
                  <a:pt x="0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36"/>
                </a:lnTo>
                <a:lnTo>
                  <a:pt x="24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24" y="36"/>
                </a:lnTo>
                <a:lnTo>
                  <a:pt x="30" y="30"/>
                </a:lnTo>
                <a:lnTo>
                  <a:pt x="30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18"/>
                </a:lnTo>
                <a:lnTo>
                  <a:pt x="36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8" y="18"/>
                </a:lnTo>
                <a:lnTo>
                  <a:pt x="48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6" y="18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84" y="12"/>
                </a:lnTo>
                <a:lnTo>
                  <a:pt x="84" y="12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90" y="6"/>
                </a:lnTo>
                <a:lnTo>
                  <a:pt x="90" y="6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14" y="0"/>
                </a:lnTo>
                <a:lnTo>
                  <a:pt x="114" y="0"/>
                </a:lnTo>
                <a:lnTo>
                  <a:pt x="114" y="6"/>
                </a:lnTo>
                <a:lnTo>
                  <a:pt x="114" y="6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8"/>
                </a:lnTo>
                <a:lnTo>
                  <a:pt x="114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0" y="30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84" y="36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60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2" y="66"/>
                </a:lnTo>
                <a:lnTo>
                  <a:pt x="72" y="60"/>
                </a:lnTo>
                <a:lnTo>
                  <a:pt x="72" y="66"/>
                </a:lnTo>
                <a:lnTo>
                  <a:pt x="66" y="66"/>
                </a:lnTo>
                <a:lnTo>
                  <a:pt x="66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54" y="66"/>
                </a:lnTo>
                <a:lnTo>
                  <a:pt x="54" y="60"/>
                </a:lnTo>
                <a:lnTo>
                  <a:pt x="54" y="60"/>
                </a:lnTo>
                <a:lnTo>
                  <a:pt x="54" y="66"/>
                </a:lnTo>
                <a:lnTo>
                  <a:pt x="54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0" y="72"/>
                </a:lnTo>
                <a:lnTo>
                  <a:pt x="30" y="72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24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0" y="66"/>
                </a:lnTo>
                <a:lnTo>
                  <a:pt x="0" y="60"/>
                </a:lnTo>
                <a:lnTo>
                  <a:pt x="0" y="5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33" name="Freeform 166"/>
          <p:cNvSpPr>
            <a:spLocks/>
          </p:cNvSpPr>
          <p:nvPr/>
        </p:nvSpPr>
        <p:spPr bwMode="auto">
          <a:xfrm>
            <a:off x="8277993" y="1982932"/>
            <a:ext cx="70665" cy="147754"/>
          </a:xfrm>
          <a:custGeom>
            <a:avLst/>
            <a:gdLst>
              <a:gd name="T0" fmla="*/ 6 w 66"/>
              <a:gd name="T1" fmla="*/ 84 h 138"/>
              <a:gd name="T2" fmla="*/ 0 w 66"/>
              <a:gd name="T3" fmla="*/ 84 h 138"/>
              <a:gd name="T4" fmla="*/ 0 w 66"/>
              <a:gd name="T5" fmla="*/ 78 h 138"/>
              <a:gd name="T6" fmla="*/ 6 w 66"/>
              <a:gd name="T7" fmla="*/ 72 h 138"/>
              <a:gd name="T8" fmla="*/ 12 w 66"/>
              <a:gd name="T9" fmla="*/ 72 h 138"/>
              <a:gd name="T10" fmla="*/ 12 w 66"/>
              <a:gd name="T11" fmla="*/ 66 h 138"/>
              <a:gd name="T12" fmla="*/ 18 w 66"/>
              <a:gd name="T13" fmla="*/ 66 h 138"/>
              <a:gd name="T14" fmla="*/ 18 w 66"/>
              <a:gd name="T15" fmla="*/ 60 h 138"/>
              <a:gd name="T16" fmla="*/ 18 w 66"/>
              <a:gd name="T17" fmla="*/ 60 h 138"/>
              <a:gd name="T18" fmla="*/ 12 w 66"/>
              <a:gd name="T19" fmla="*/ 54 h 138"/>
              <a:gd name="T20" fmla="*/ 12 w 66"/>
              <a:gd name="T21" fmla="*/ 48 h 138"/>
              <a:gd name="T22" fmla="*/ 18 w 66"/>
              <a:gd name="T23" fmla="*/ 48 h 138"/>
              <a:gd name="T24" fmla="*/ 18 w 66"/>
              <a:gd name="T25" fmla="*/ 42 h 138"/>
              <a:gd name="T26" fmla="*/ 18 w 66"/>
              <a:gd name="T27" fmla="*/ 30 h 138"/>
              <a:gd name="T28" fmla="*/ 18 w 66"/>
              <a:gd name="T29" fmla="*/ 30 h 138"/>
              <a:gd name="T30" fmla="*/ 30 w 66"/>
              <a:gd name="T31" fmla="*/ 18 h 138"/>
              <a:gd name="T32" fmla="*/ 30 w 66"/>
              <a:gd name="T33" fmla="*/ 12 h 138"/>
              <a:gd name="T34" fmla="*/ 24 w 66"/>
              <a:gd name="T35" fmla="*/ 12 h 138"/>
              <a:gd name="T36" fmla="*/ 24 w 66"/>
              <a:gd name="T37" fmla="*/ 12 h 138"/>
              <a:gd name="T38" fmla="*/ 24 w 66"/>
              <a:gd name="T39" fmla="*/ 6 h 138"/>
              <a:gd name="T40" fmla="*/ 30 w 66"/>
              <a:gd name="T41" fmla="*/ 6 h 138"/>
              <a:gd name="T42" fmla="*/ 30 w 66"/>
              <a:gd name="T43" fmla="*/ 6 h 138"/>
              <a:gd name="T44" fmla="*/ 42 w 66"/>
              <a:gd name="T45" fmla="*/ 0 h 138"/>
              <a:gd name="T46" fmla="*/ 36 w 66"/>
              <a:gd name="T47" fmla="*/ 12 h 138"/>
              <a:gd name="T48" fmla="*/ 42 w 66"/>
              <a:gd name="T49" fmla="*/ 12 h 138"/>
              <a:gd name="T50" fmla="*/ 48 w 66"/>
              <a:gd name="T51" fmla="*/ 12 h 138"/>
              <a:gd name="T52" fmla="*/ 54 w 66"/>
              <a:gd name="T53" fmla="*/ 18 h 138"/>
              <a:gd name="T54" fmla="*/ 54 w 66"/>
              <a:gd name="T55" fmla="*/ 18 h 138"/>
              <a:gd name="T56" fmla="*/ 60 w 66"/>
              <a:gd name="T57" fmla="*/ 24 h 138"/>
              <a:gd name="T58" fmla="*/ 60 w 66"/>
              <a:gd name="T59" fmla="*/ 36 h 138"/>
              <a:gd name="T60" fmla="*/ 54 w 66"/>
              <a:gd name="T61" fmla="*/ 36 h 138"/>
              <a:gd name="T62" fmla="*/ 54 w 66"/>
              <a:gd name="T63" fmla="*/ 60 h 138"/>
              <a:gd name="T64" fmla="*/ 54 w 66"/>
              <a:gd name="T65" fmla="*/ 72 h 138"/>
              <a:gd name="T66" fmla="*/ 54 w 66"/>
              <a:gd name="T67" fmla="*/ 78 h 138"/>
              <a:gd name="T68" fmla="*/ 48 w 66"/>
              <a:gd name="T69" fmla="*/ 78 h 138"/>
              <a:gd name="T70" fmla="*/ 42 w 66"/>
              <a:gd name="T71" fmla="*/ 78 h 138"/>
              <a:gd name="T72" fmla="*/ 54 w 66"/>
              <a:gd name="T73" fmla="*/ 90 h 138"/>
              <a:gd name="T74" fmla="*/ 60 w 66"/>
              <a:gd name="T75" fmla="*/ 96 h 138"/>
              <a:gd name="T76" fmla="*/ 60 w 66"/>
              <a:gd name="T77" fmla="*/ 102 h 138"/>
              <a:gd name="T78" fmla="*/ 60 w 66"/>
              <a:gd name="T79" fmla="*/ 108 h 138"/>
              <a:gd name="T80" fmla="*/ 60 w 66"/>
              <a:gd name="T81" fmla="*/ 108 h 138"/>
              <a:gd name="T82" fmla="*/ 48 w 66"/>
              <a:gd name="T83" fmla="*/ 114 h 138"/>
              <a:gd name="T84" fmla="*/ 48 w 66"/>
              <a:gd name="T85" fmla="*/ 120 h 138"/>
              <a:gd name="T86" fmla="*/ 48 w 66"/>
              <a:gd name="T87" fmla="*/ 126 h 138"/>
              <a:gd name="T88" fmla="*/ 48 w 66"/>
              <a:gd name="T89" fmla="*/ 132 h 138"/>
              <a:gd name="T90" fmla="*/ 42 w 66"/>
              <a:gd name="T91" fmla="*/ 138 h 138"/>
              <a:gd name="T92" fmla="*/ 36 w 66"/>
              <a:gd name="T93" fmla="*/ 138 h 138"/>
              <a:gd name="T94" fmla="*/ 30 w 66"/>
              <a:gd name="T95" fmla="*/ 138 h 138"/>
              <a:gd name="T96" fmla="*/ 30 w 66"/>
              <a:gd name="T97" fmla="*/ 132 h 138"/>
              <a:gd name="T98" fmla="*/ 30 w 66"/>
              <a:gd name="T99" fmla="*/ 126 h 138"/>
              <a:gd name="T100" fmla="*/ 24 w 66"/>
              <a:gd name="T101" fmla="*/ 120 h 138"/>
              <a:gd name="T102" fmla="*/ 18 w 66"/>
              <a:gd name="T103" fmla="*/ 120 h 138"/>
              <a:gd name="T104" fmla="*/ 18 w 66"/>
              <a:gd name="T105" fmla="*/ 114 h 138"/>
              <a:gd name="T106" fmla="*/ 12 w 66"/>
              <a:gd name="T107" fmla="*/ 114 h 138"/>
              <a:gd name="T108" fmla="*/ 12 w 66"/>
              <a:gd name="T109" fmla="*/ 108 h 138"/>
              <a:gd name="T110" fmla="*/ 12 w 66"/>
              <a:gd name="T111" fmla="*/ 102 h 138"/>
              <a:gd name="T112" fmla="*/ 12 w 66"/>
              <a:gd name="T113" fmla="*/ 96 h 138"/>
              <a:gd name="T114" fmla="*/ 6 w 66"/>
              <a:gd name="T115" fmla="*/ 90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66" h="138">
                <a:moveTo>
                  <a:pt x="0" y="90"/>
                </a:moveTo>
                <a:lnTo>
                  <a:pt x="0" y="90"/>
                </a:lnTo>
                <a:lnTo>
                  <a:pt x="0" y="90"/>
                </a:lnTo>
                <a:lnTo>
                  <a:pt x="6" y="84"/>
                </a:lnTo>
                <a:lnTo>
                  <a:pt x="6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8" y="66"/>
                </a:lnTo>
                <a:lnTo>
                  <a:pt x="18" y="66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8" y="48"/>
                </a:lnTo>
                <a:lnTo>
                  <a:pt x="18" y="48"/>
                </a:lnTo>
                <a:lnTo>
                  <a:pt x="18" y="42"/>
                </a:lnTo>
                <a:lnTo>
                  <a:pt x="12" y="42"/>
                </a:lnTo>
                <a:lnTo>
                  <a:pt x="12" y="42"/>
                </a:lnTo>
                <a:lnTo>
                  <a:pt x="18" y="42"/>
                </a:lnTo>
                <a:lnTo>
                  <a:pt x="18" y="42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24"/>
                </a:lnTo>
                <a:lnTo>
                  <a:pt x="24" y="24"/>
                </a:lnTo>
                <a:lnTo>
                  <a:pt x="24" y="18"/>
                </a:lnTo>
                <a:lnTo>
                  <a:pt x="24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0"/>
                </a:lnTo>
                <a:lnTo>
                  <a:pt x="42" y="0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60" y="18"/>
                </a:lnTo>
                <a:lnTo>
                  <a:pt x="60" y="18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6" y="30"/>
                </a:lnTo>
                <a:lnTo>
                  <a:pt x="60" y="30"/>
                </a:lnTo>
                <a:lnTo>
                  <a:pt x="60" y="30"/>
                </a:lnTo>
                <a:lnTo>
                  <a:pt x="60" y="36"/>
                </a:lnTo>
                <a:lnTo>
                  <a:pt x="60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8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6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2" y="78"/>
                </a:lnTo>
                <a:lnTo>
                  <a:pt x="42" y="78"/>
                </a:lnTo>
                <a:lnTo>
                  <a:pt x="42" y="84"/>
                </a:lnTo>
                <a:lnTo>
                  <a:pt x="48" y="84"/>
                </a:lnTo>
                <a:lnTo>
                  <a:pt x="48" y="90"/>
                </a:lnTo>
                <a:lnTo>
                  <a:pt x="54" y="90"/>
                </a:lnTo>
                <a:lnTo>
                  <a:pt x="54" y="90"/>
                </a:lnTo>
                <a:lnTo>
                  <a:pt x="60" y="90"/>
                </a:lnTo>
                <a:lnTo>
                  <a:pt x="66" y="90"/>
                </a:lnTo>
                <a:lnTo>
                  <a:pt x="66" y="90"/>
                </a:lnTo>
                <a:lnTo>
                  <a:pt x="60" y="90"/>
                </a:lnTo>
                <a:lnTo>
                  <a:pt x="60" y="96"/>
                </a:lnTo>
                <a:lnTo>
                  <a:pt x="60" y="96"/>
                </a:lnTo>
                <a:lnTo>
                  <a:pt x="54" y="96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48" y="108"/>
                </a:lnTo>
                <a:lnTo>
                  <a:pt x="48" y="114"/>
                </a:lnTo>
                <a:lnTo>
                  <a:pt x="48" y="114"/>
                </a:lnTo>
                <a:lnTo>
                  <a:pt x="48" y="114"/>
                </a:lnTo>
                <a:lnTo>
                  <a:pt x="48" y="114"/>
                </a:lnTo>
                <a:lnTo>
                  <a:pt x="48" y="114"/>
                </a:lnTo>
                <a:lnTo>
                  <a:pt x="48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2" y="132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0" y="138"/>
                </a:lnTo>
                <a:lnTo>
                  <a:pt x="30" y="138"/>
                </a:lnTo>
                <a:lnTo>
                  <a:pt x="30" y="138"/>
                </a:lnTo>
                <a:lnTo>
                  <a:pt x="30" y="138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34" name="Freeform 167"/>
          <p:cNvSpPr>
            <a:spLocks/>
          </p:cNvSpPr>
          <p:nvPr/>
        </p:nvSpPr>
        <p:spPr bwMode="auto">
          <a:xfrm>
            <a:off x="8284417" y="2098566"/>
            <a:ext cx="96361" cy="83513"/>
          </a:xfrm>
          <a:custGeom>
            <a:avLst/>
            <a:gdLst>
              <a:gd name="T0" fmla="*/ 0 w 90"/>
              <a:gd name="T1" fmla="*/ 60 h 78"/>
              <a:gd name="T2" fmla="*/ 6 w 90"/>
              <a:gd name="T3" fmla="*/ 54 h 78"/>
              <a:gd name="T4" fmla="*/ 6 w 90"/>
              <a:gd name="T5" fmla="*/ 54 h 78"/>
              <a:gd name="T6" fmla="*/ 6 w 90"/>
              <a:gd name="T7" fmla="*/ 54 h 78"/>
              <a:gd name="T8" fmla="*/ 6 w 90"/>
              <a:gd name="T9" fmla="*/ 48 h 78"/>
              <a:gd name="T10" fmla="*/ 12 w 90"/>
              <a:gd name="T11" fmla="*/ 48 h 78"/>
              <a:gd name="T12" fmla="*/ 12 w 90"/>
              <a:gd name="T13" fmla="*/ 42 h 78"/>
              <a:gd name="T14" fmla="*/ 18 w 90"/>
              <a:gd name="T15" fmla="*/ 42 h 78"/>
              <a:gd name="T16" fmla="*/ 18 w 90"/>
              <a:gd name="T17" fmla="*/ 36 h 78"/>
              <a:gd name="T18" fmla="*/ 18 w 90"/>
              <a:gd name="T19" fmla="*/ 36 h 78"/>
              <a:gd name="T20" fmla="*/ 18 w 90"/>
              <a:gd name="T21" fmla="*/ 36 h 78"/>
              <a:gd name="T22" fmla="*/ 18 w 90"/>
              <a:gd name="T23" fmla="*/ 30 h 78"/>
              <a:gd name="T24" fmla="*/ 24 w 90"/>
              <a:gd name="T25" fmla="*/ 24 h 78"/>
              <a:gd name="T26" fmla="*/ 24 w 90"/>
              <a:gd name="T27" fmla="*/ 30 h 78"/>
              <a:gd name="T28" fmla="*/ 24 w 90"/>
              <a:gd name="T29" fmla="*/ 30 h 78"/>
              <a:gd name="T30" fmla="*/ 30 w 90"/>
              <a:gd name="T31" fmla="*/ 30 h 78"/>
              <a:gd name="T32" fmla="*/ 30 w 90"/>
              <a:gd name="T33" fmla="*/ 30 h 78"/>
              <a:gd name="T34" fmla="*/ 36 w 90"/>
              <a:gd name="T35" fmla="*/ 30 h 78"/>
              <a:gd name="T36" fmla="*/ 42 w 90"/>
              <a:gd name="T37" fmla="*/ 24 h 78"/>
              <a:gd name="T38" fmla="*/ 42 w 90"/>
              <a:gd name="T39" fmla="*/ 18 h 78"/>
              <a:gd name="T40" fmla="*/ 42 w 90"/>
              <a:gd name="T41" fmla="*/ 18 h 78"/>
              <a:gd name="T42" fmla="*/ 42 w 90"/>
              <a:gd name="T43" fmla="*/ 12 h 78"/>
              <a:gd name="T44" fmla="*/ 42 w 90"/>
              <a:gd name="T45" fmla="*/ 6 h 78"/>
              <a:gd name="T46" fmla="*/ 42 w 90"/>
              <a:gd name="T47" fmla="*/ 6 h 78"/>
              <a:gd name="T48" fmla="*/ 48 w 90"/>
              <a:gd name="T49" fmla="*/ 0 h 78"/>
              <a:gd name="T50" fmla="*/ 54 w 90"/>
              <a:gd name="T51" fmla="*/ 0 h 78"/>
              <a:gd name="T52" fmla="*/ 54 w 90"/>
              <a:gd name="T53" fmla="*/ 0 h 78"/>
              <a:gd name="T54" fmla="*/ 60 w 90"/>
              <a:gd name="T55" fmla="*/ 6 h 78"/>
              <a:gd name="T56" fmla="*/ 72 w 90"/>
              <a:gd name="T57" fmla="*/ 0 h 78"/>
              <a:gd name="T58" fmla="*/ 78 w 90"/>
              <a:gd name="T59" fmla="*/ 12 h 78"/>
              <a:gd name="T60" fmla="*/ 84 w 90"/>
              <a:gd name="T61" fmla="*/ 24 h 78"/>
              <a:gd name="T62" fmla="*/ 84 w 90"/>
              <a:gd name="T63" fmla="*/ 24 h 78"/>
              <a:gd name="T64" fmla="*/ 84 w 90"/>
              <a:gd name="T65" fmla="*/ 30 h 78"/>
              <a:gd name="T66" fmla="*/ 84 w 90"/>
              <a:gd name="T67" fmla="*/ 36 h 78"/>
              <a:gd name="T68" fmla="*/ 84 w 90"/>
              <a:gd name="T69" fmla="*/ 36 h 78"/>
              <a:gd name="T70" fmla="*/ 90 w 90"/>
              <a:gd name="T71" fmla="*/ 42 h 78"/>
              <a:gd name="T72" fmla="*/ 90 w 90"/>
              <a:gd name="T73" fmla="*/ 42 h 78"/>
              <a:gd name="T74" fmla="*/ 90 w 90"/>
              <a:gd name="T75" fmla="*/ 48 h 78"/>
              <a:gd name="T76" fmla="*/ 90 w 90"/>
              <a:gd name="T77" fmla="*/ 48 h 78"/>
              <a:gd name="T78" fmla="*/ 84 w 90"/>
              <a:gd name="T79" fmla="*/ 54 h 78"/>
              <a:gd name="T80" fmla="*/ 78 w 90"/>
              <a:gd name="T81" fmla="*/ 54 h 78"/>
              <a:gd name="T82" fmla="*/ 72 w 90"/>
              <a:gd name="T83" fmla="*/ 60 h 78"/>
              <a:gd name="T84" fmla="*/ 60 w 90"/>
              <a:gd name="T85" fmla="*/ 66 h 78"/>
              <a:gd name="T86" fmla="*/ 60 w 90"/>
              <a:gd name="T87" fmla="*/ 66 h 78"/>
              <a:gd name="T88" fmla="*/ 54 w 90"/>
              <a:gd name="T89" fmla="*/ 78 h 78"/>
              <a:gd name="T90" fmla="*/ 54 w 90"/>
              <a:gd name="T91" fmla="*/ 72 h 78"/>
              <a:gd name="T92" fmla="*/ 54 w 90"/>
              <a:gd name="T93" fmla="*/ 72 h 78"/>
              <a:gd name="T94" fmla="*/ 48 w 90"/>
              <a:gd name="T95" fmla="*/ 72 h 78"/>
              <a:gd name="T96" fmla="*/ 48 w 90"/>
              <a:gd name="T97" fmla="*/ 72 h 78"/>
              <a:gd name="T98" fmla="*/ 42 w 90"/>
              <a:gd name="T99" fmla="*/ 72 h 78"/>
              <a:gd name="T100" fmla="*/ 42 w 90"/>
              <a:gd name="T101" fmla="*/ 78 h 78"/>
              <a:gd name="T102" fmla="*/ 36 w 90"/>
              <a:gd name="T103" fmla="*/ 72 h 78"/>
              <a:gd name="T104" fmla="*/ 30 w 90"/>
              <a:gd name="T105" fmla="*/ 78 h 78"/>
              <a:gd name="T106" fmla="*/ 24 w 90"/>
              <a:gd name="T107" fmla="*/ 78 h 78"/>
              <a:gd name="T108" fmla="*/ 18 w 90"/>
              <a:gd name="T109" fmla="*/ 78 h 78"/>
              <a:gd name="T110" fmla="*/ 18 w 90"/>
              <a:gd name="T111" fmla="*/ 78 h 78"/>
              <a:gd name="T112" fmla="*/ 18 w 90"/>
              <a:gd name="T113" fmla="*/ 78 h 78"/>
              <a:gd name="T114" fmla="*/ 12 w 90"/>
              <a:gd name="T115" fmla="*/ 72 h 78"/>
              <a:gd name="T116" fmla="*/ 12 w 90"/>
              <a:gd name="T117" fmla="*/ 72 h 78"/>
              <a:gd name="T118" fmla="*/ 12 w 90"/>
              <a:gd name="T119" fmla="*/ 66 h 78"/>
              <a:gd name="T120" fmla="*/ 6 w 90"/>
              <a:gd name="T121" fmla="*/ 66 h 78"/>
              <a:gd name="T122" fmla="*/ 0 w 90"/>
              <a:gd name="T123" fmla="*/ 60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90" h="78">
                <a:moveTo>
                  <a:pt x="0" y="60"/>
                </a:move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12" y="48"/>
                </a:lnTo>
                <a:lnTo>
                  <a:pt x="6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6"/>
                </a:lnTo>
                <a:lnTo>
                  <a:pt x="60" y="6"/>
                </a:lnTo>
                <a:lnTo>
                  <a:pt x="60" y="0"/>
                </a:lnTo>
                <a:lnTo>
                  <a:pt x="66" y="0"/>
                </a:lnTo>
                <a:lnTo>
                  <a:pt x="72" y="0"/>
                </a:lnTo>
                <a:lnTo>
                  <a:pt x="72" y="6"/>
                </a:lnTo>
                <a:lnTo>
                  <a:pt x="72" y="12"/>
                </a:lnTo>
                <a:lnTo>
                  <a:pt x="78" y="12"/>
                </a:lnTo>
                <a:lnTo>
                  <a:pt x="84" y="12"/>
                </a:lnTo>
                <a:lnTo>
                  <a:pt x="84" y="12"/>
                </a:lnTo>
                <a:lnTo>
                  <a:pt x="84" y="24"/>
                </a:lnTo>
                <a:lnTo>
                  <a:pt x="90" y="24"/>
                </a:lnTo>
                <a:lnTo>
                  <a:pt x="84" y="24"/>
                </a:lnTo>
                <a:lnTo>
                  <a:pt x="84" y="24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90" y="36"/>
                </a:lnTo>
                <a:lnTo>
                  <a:pt x="84" y="36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54"/>
                </a:lnTo>
                <a:lnTo>
                  <a:pt x="90" y="54"/>
                </a:lnTo>
                <a:lnTo>
                  <a:pt x="84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60"/>
                </a:lnTo>
                <a:lnTo>
                  <a:pt x="72" y="60"/>
                </a:lnTo>
                <a:lnTo>
                  <a:pt x="72" y="60"/>
                </a:lnTo>
                <a:lnTo>
                  <a:pt x="72" y="66"/>
                </a:lnTo>
                <a:lnTo>
                  <a:pt x="66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72"/>
                </a:lnTo>
                <a:lnTo>
                  <a:pt x="54" y="72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8"/>
                </a:lnTo>
                <a:lnTo>
                  <a:pt x="42" y="78"/>
                </a:lnTo>
                <a:lnTo>
                  <a:pt x="36" y="78"/>
                </a:lnTo>
                <a:lnTo>
                  <a:pt x="36" y="72"/>
                </a:lnTo>
                <a:lnTo>
                  <a:pt x="36" y="72"/>
                </a:lnTo>
                <a:lnTo>
                  <a:pt x="36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2" y="78"/>
                </a:lnTo>
                <a:lnTo>
                  <a:pt x="12" y="78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0" y="60"/>
                </a:lnTo>
                <a:lnTo>
                  <a:pt x="0" y="6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35" name="Freeform 168"/>
          <p:cNvSpPr>
            <a:spLocks/>
          </p:cNvSpPr>
          <p:nvPr/>
        </p:nvSpPr>
        <p:spPr bwMode="auto">
          <a:xfrm>
            <a:off x="8618468" y="2092142"/>
            <a:ext cx="102785" cy="57817"/>
          </a:xfrm>
          <a:custGeom>
            <a:avLst/>
            <a:gdLst>
              <a:gd name="T0" fmla="*/ 0 w 96"/>
              <a:gd name="T1" fmla="*/ 12 h 54"/>
              <a:gd name="T2" fmla="*/ 12 w 96"/>
              <a:gd name="T3" fmla="*/ 12 h 54"/>
              <a:gd name="T4" fmla="*/ 30 w 96"/>
              <a:gd name="T5" fmla="*/ 6 h 54"/>
              <a:gd name="T6" fmla="*/ 36 w 96"/>
              <a:gd name="T7" fmla="*/ 6 h 54"/>
              <a:gd name="T8" fmla="*/ 36 w 96"/>
              <a:gd name="T9" fmla="*/ 6 h 54"/>
              <a:gd name="T10" fmla="*/ 48 w 96"/>
              <a:gd name="T11" fmla="*/ 0 h 54"/>
              <a:gd name="T12" fmla="*/ 54 w 96"/>
              <a:gd name="T13" fmla="*/ 0 h 54"/>
              <a:gd name="T14" fmla="*/ 54 w 96"/>
              <a:gd name="T15" fmla="*/ 0 h 54"/>
              <a:gd name="T16" fmla="*/ 60 w 96"/>
              <a:gd name="T17" fmla="*/ 0 h 54"/>
              <a:gd name="T18" fmla="*/ 60 w 96"/>
              <a:gd name="T19" fmla="*/ 0 h 54"/>
              <a:gd name="T20" fmla="*/ 66 w 96"/>
              <a:gd name="T21" fmla="*/ 6 h 54"/>
              <a:gd name="T22" fmla="*/ 66 w 96"/>
              <a:gd name="T23" fmla="*/ 6 h 54"/>
              <a:gd name="T24" fmla="*/ 72 w 96"/>
              <a:gd name="T25" fmla="*/ 6 h 54"/>
              <a:gd name="T26" fmla="*/ 72 w 96"/>
              <a:gd name="T27" fmla="*/ 6 h 54"/>
              <a:gd name="T28" fmla="*/ 72 w 96"/>
              <a:gd name="T29" fmla="*/ 6 h 54"/>
              <a:gd name="T30" fmla="*/ 78 w 96"/>
              <a:gd name="T31" fmla="*/ 0 h 54"/>
              <a:gd name="T32" fmla="*/ 84 w 96"/>
              <a:gd name="T33" fmla="*/ 6 h 54"/>
              <a:gd name="T34" fmla="*/ 90 w 96"/>
              <a:gd name="T35" fmla="*/ 6 h 54"/>
              <a:gd name="T36" fmla="*/ 90 w 96"/>
              <a:gd name="T37" fmla="*/ 6 h 54"/>
              <a:gd name="T38" fmla="*/ 96 w 96"/>
              <a:gd name="T39" fmla="*/ 12 h 54"/>
              <a:gd name="T40" fmla="*/ 84 w 96"/>
              <a:gd name="T41" fmla="*/ 12 h 54"/>
              <a:gd name="T42" fmla="*/ 84 w 96"/>
              <a:gd name="T43" fmla="*/ 18 h 54"/>
              <a:gd name="T44" fmla="*/ 78 w 96"/>
              <a:gd name="T45" fmla="*/ 30 h 54"/>
              <a:gd name="T46" fmla="*/ 72 w 96"/>
              <a:gd name="T47" fmla="*/ 48 h 54"/>
              <a:gd name="T48" fmla="*/ 72 w 96"/>
              <a:gd name="T49" fmla="*/ 48 h 54"/>
              <a:gd name="T50" fmla="*/ 72 w 96"/>
              <a:gd name="T51" fmla="*/ 48 h 54"/>
              <a:gd name="T52" fmla="*/ 72 w 96"/>
              <a:gd name="T53" fmla="*/ 48 h 54"/>
              <a:gd name="T54" fmla="*/ 66 w 96"/>
              <a:gd name="T55" fmla="*/ 48 h 54"/>
              <a:gd name="T56" fmla="*/ 66 w 96"/>
              <a:gd name="T57" fmla="*/ 48 h 54"/>
              <a:gd name="T58" fmla="*/ 66 w 96"/>
              <a:gd name="T59" fmla="*/ 48 h 54"/>
              <a:gd name="T60" fmla="*/ 60 w 96"/>
              <a:gd name="T61" fmla="*/ 54 h 54"/>
              <a:gd name="T62" fmla="*/ 60 w 96"/>
              <a:gd name="T63" fmla="*/ 54 h 54"/>
              <a:gd name="T64" fmla="*/ 60 w 96"/>
              <a:gd name="T65" fmla="*/ 54 h 54"/>
              <a:gd name="T66" fmla="*/ 54 w 96"/>
              <a:gd name="T67" fmla="*/ 54 h 54"/>
              <a:gd name="T68" fmla="*/ 48 w 96"/>
              <a:gd name="T69" fmla="*/ 54 h 54"/>
              <a:gd name="T70" fmla="*/ 48 w 96"/>
              <a:gd name="T71" fmla="*/ 48 h 54"/>
              <a:gd name="T72" fmla="*/ 42 w 96"/>
              <a:gd name="T73" fmla="*/ 48 h 54"/>
              <a:gd name="T74" fmla="*/ 42 w 96"/>
              <a:gd name="T75" fmla="*/ 48 h 54"/>
              <a:gd name="T76" fmla="*/ 42 w 96"/>
              <a:gd name="T77" fmla="*/ 42 h 54"/>
              <a:gd name="T78" fmla="*/ 42 w 96"/>
              <a:gd name="T79" fmla="*/ 42 h 54"/>
              <a:gd name="T80" fmla="*/ 42 w 96"/>
              <a:gd name="T81" fmla="*/ 42 h 54"/>
              <a:gd name="T82" fmla="*/ 42 w 96"/>
              <a:gd name="T83" fmla="*/ 36 h 54"/>
              <a:gd name="T84" fmla="*/ 42 w 96"/>
              <a:gd name="T85" fmla="*/ 36 h 54"/>
              <a:gd name="T86" fmla="*/ 42 w 96"/>
              <a:gd name="T87" fmla="*/ 36 h 54"/>
              <a:gd name="T88" fmla="*/ 24 w 96"/>
              <a:gd name="T89" fmla="*/ 36 h 54"/>
              <a:gd name="T90" fmla="*/ 18 w 96"/>
              <a:gd name="T91" fmla="*/ 36 h 54"/>
              <a:gd name="T92" fmla="*/ 12 w 96"/>
              <a:gd name="T93" fmla="*/ 36 h 54"/>
              <a:gd name="T94" fmla="*/ 12 w 96"/>
              <a:gd name="T95" fmla="*/ 36 h 54"/>
              <a:gd name="T96" fmla="*/ 12 w 96"/>
              <a:gd name="T97" fmla="*/ 36 h 54"/>
              <a:gd name="T98" fmla="*/ 0 w 96"/>
              <a:gd name="T99" fmla="*/ 36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96" h="54">
                <a:moveTo>
                  <a:pt x="0" y="30"/>
                </a:moveTo>
                <a:lnTo>
                  <a:pt x="0" y="24"/>
                </a:lnTo>
                <a:lnTo>
                  <a:pt x="0" y="12"/>
                </a:lnTo>
                <a:lnTo>
                  <a:pt x="6" y="12"/>
                </a:lnTo>
                <a:lnTo>
                  <a:pt x="12" y="12"/>
                </a:lnTo>
                <a:lnTo>
                  <a:pt x="12" y="12"/>
                </a:lnTo>
                <a:lnTo>
                  <a:pt x="18" y="12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12"/>
                </a:lnTo>
                <a:lnTo>
                  <a:pt x="36" y="12"/>
                </a:lnTo>
                <a:lnTo>
                  <a:pt x="36" y="6"/>
                </a:lnTo>
                <a:lnTo>
                  <a:pt x="36" y="6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78" y="6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6" y="6"/>
                </a:lnTo>
                <a:lnTo>
                  <a:pt x="96" y="12"/>
                </a:lnTo>
                <a:lnTo>
                  <a:pt x="90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8"/>
                </a:lnTo>
                <a:lnTo>
                  <a:pt x="84" y="18"/>
                </a:lnTo>
                <a:lnTo>
                  <a:pt x="78" y="24"/>
                </a:lnTo>
                <a:lnTo>
                  <a:pt x="78" y="30"/>
                </a:lnTo>
                <a:lnTo>
                  <a:pt x="78" y="30"/>
                </a:lnTo>
                <a:lnTo>
                  <a:pt x="84" y="30"/>
                </a:lnTo>
                <a:lnTo>
                  <a:pt x="78" y="42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48"/>
                </a:lnTo>
                <a:lnTo>
                  <a:pt x="48" y="54"/>
                </a:lnTo>
                <a:lnTo>
                  <a:pt x="48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36" y="36"/>
                </a:lnTo>
                <a:lnTo>
                  <a:pt x="36" y="36"/>
                </a:lnTo>
                <a:lnTo>
                  <a:pt x="24" y="36"/>
                </a:lnTo>
                <a:lnTo>
                  <a:pt x="24" y="30"/>
                </a:lnTo>
                <a:lnTo>
                  <a:pt x="18" y="30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6" y="36"/>
                </a:lnTo>
                <a:lnTo>
                  <a:pt x="6" y="36"/>
                </a:lnTo>
                <a:lnTo>
                  <a:pt x="0" y="36"/>
                </a:lnTo>
                <a:lnTo>
                  <a:pt x="0" y="36"/>
                </a:lnTo>
                <a:lnTo>
                  <a:pt x="0" y="3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36" name="Freeform 169"/>
          <p:cNvSpPr>
            <a:spLocks/>
          </p:cNvSpPr>
          <p:nvPr/>
        </p:nvSpPr>
        <p:spPr bwMode="auto">
          <a:xfrm>
            <a:off x="8695556" y="2085718"/>
            <a:ext cx="70665" cy="64241"/>
          </a:xfrm>
          <a:custGeom>
            <a:avLst/>
            <a:gdLst>
              <a:gd name="T0" fmla="*/ 12 w 66"/>
              <a:gd name="T1" fmla="*/ 36 h 60"/>
              <a:gd name="T2" fmla="*/ 6 w 66"/>
              <a:gd name="T3" fmla="*/ 30 h 60"/>
              <a:gd name="T4" fmla="*/ 12 w 66"/>
              <a:gd name="T5" fmla="*/ 18 h 60"/>
              <a:gd name="T6" fmla="*/ 18 w 66"/>
              <a:gd name="T7" fmla="*/ 18 h 60"/>
              <a:gd name="T8" fmla="*/ 18 w 66"/>
              <a:gd name="T9" fmla="*/ 12 h 60"/>
              <a:gd name="T10" fmla="*/ 30 w 66"/>
              <a:gd name="T11" fmla="*/ 12 h 60"/>
              <a:gd name="T12" fmla="*/ 30 w 66"/>
              <a:gd name="T13" fmla="*/ 6 h 60"/>
              <a:gd name="T14" fmla="*/ 36 w 66"/>
              <a:gd name="T15" fmla="*/ 6 h 60"/>
              <a:gd name="T16" fmla="*/ 36 w 66"/>
              <a:gd name="T17" fmla="*/ 0 h 60"/>
              <a:gd name="T18" fmla="*/ 42 w 66"/>
              <a:gd name="T19" fmla="*/ 0 h 60"/>
              <a:gd name="T20" fmla="*/ 48 w 66"/>
              <a:gd name="T21" fmla="*/ 0 h 60"/>
              <a:gd name="T22" fmla="*/ 60 w 66"/>
              <a:gd name="T23" fmla="*/ 6 h 60"/>
              <a:gd name="T24" fmla="*/ 60 w 66"/>
              <a:gd name="T25" fmla="*/ 6 h 60"/>
              <a:gd name="T26" fmla="*/ 60 w 66"/>
              <a:gd name="T27" fmla="*/ 6 h 60"/>
              <a:gd name="T28" fmla="*/ 60 w 66"/>
              <a:gd name="T29" fmla="*/ 6 h 60"/>
              <a:gd name="T30" fmla="*/ 60 w 66"/>
              <a:gd name="T31" fmla="*/ 12 h 60"/>
              <a:gd name="T32" fmla="*/ 60 w 66"/>
              <a:gd name="T33" fmla="*/ 18 h 60"/>
              <a:gd name="T34" fmla="*/ 54 w 66"/>
              <a:gd name="T35" fmla="*/ 18 h 60"/>
              <a:gd name="T36" fmla="*/ 48 w 66"/>
              <a:gd name="T37" fmla="*/ 24 h 60"/>
              <a:gd name="T38" fmla="*/ 42 w 66"/>
              <a:gd name="T39" fmla="*/ 24 h 60"/>
              <a:gd name="T40" fmla="*/ 48 w 66"/>
              <a:gd name="T41" fmla="*/ 30 h 60"/>
              <a:gd name="T42" fmla="*/ 48 w 66"/>
              <a:gd name="T43" fmla="*/ 24 h 60"/>
              <a:gd name="T44" fmla="*/ 60 w 66"/>
              <a:gd name="T45" fmla="*/ 30 h 60"/>
              <a:gd name="T46" fmla="*/ 60 w 66"/>
              <a:gd name="T47" fmla="*/ 36 h 60"/>
              <a:gd name="T48" fmla="*/ 66 w 66"/>
              <a:gd name="T49" fmla="*/ 42 h 60"/>
              <a:gd name="T50" fmla="*/ 60 w 66"/>
              <a:gd name="T51" fmla="*/ 48 h 60"/>
              <a:gd name="T52" fmla="*/ 60 w 66"/>
              <a:gd name="T53" fmla="*/ 48 h 60"/>
              <a:gd name="T54" fmla="*/ 60 w 66"/>
              <a:gd name="T55" fmla="*/ 48 h 60"/>
              <a:gd name="T56" fmla="*/ 54 w 66"/>
              <a:gd name="T57" fmla="*/ 48 h 60"/>
              <a:gd name="T58" fmla="*/ 54 w 66"/>
              <a:gd name="T59" fmla="*/ 48 h 60"/>
              <a:gd name="T60" fmla="*/ 54 w 66"/>
              <a:gd name="T61" fmla="*/ 54 h 60"/>
              <a:gd name="T62" fmla="*/ 48 w 66"/>
              <a:gd name="T63" fmla="*/ 54 h 60"/>
              <a:gd name="T64" fmla="*/ 42 w 66"/>
              <a:gd name="T65" fmla="*/ 54 h 60"/>
              <a:gd name="T66" fmla="*/ 36 w 66"/>
              <a:gd name="T67" fmla="*/ 54 h 60"/>
              <a:gd name="T68" fmla="*/ 36 w 66"/>
              <a:gd name="T69" fmla="*/ 60 h 60"/>
              <a:gd name="T70" fmla="*/ 30 w 66"/>
              <a:gd name="T71" fmla="*/ 54 h 60"/>
              <a:gd name="T72" fmla="*/ 30 w 66"/>
              <a:gd name="T73" fmla="*/ 54 h 60"/>
              <a:gd name="T74" fmla="*/ 30 w 66"/>
              <a:gd name="T75" fmla="*/ 48 h 60"/>
              <a:gd name="T76" fmla="*/ 24 w 66"/>
              <a:gd name="T77" fmla="*/ 54 h 60"/>
              <a:gd name="T78" fmla="*/ 24 w 66"/>
              <a:gd name="T79" fmla="*/ 54 h 60"/>
              <a:gd name="T80" fmla="*/ 18 w 66"/>
              <a:gd name="T81" fmla="*/ 54 h 60"/>
              <a:gd name="T82" fmla="*/ 12 w 66"/>
              <a:gd name="T83" fmla="*/ 54 h 60"/>
              <a:gd name="T84" fmla="*/ 12 w 66"/>
              <a:gd name="T85" fmla="*/ 54 h 60"/>
              <a:gd name="T86" fmla="*/ 12 w 66"/>
              <a:gd name="T87" fmla="*/ 54 h 60"/>
              <a:gd name="T88" fmla="*/ 6 w 66"/>
              <a:gd name="T89" fmla="*/ 54 h 60"/>
              <a:gd name="T90" fmla="*/ 6 w 66"/>
              <a:gd name="T91" fmla="*/ 54 h 60"/>
              <a:gd name="T92" fmla="*/ 6 w 66"/>
              <a:gd name="T93" fmla="*/ 54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66" h="60">
                <a:moveTo>
                  <a:pt x="0" y="54"/>
                </a:moveTo>
                <a:lnTo>
                  <a:pt x="6" y="48"/>
                </a:lnTo>
                <a:lnTo>
                  <a:pt x="12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12" y="24"/>
                </a:lnTo>
                <a:lnTo>
                  <a:pt x="12" y="24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8" y="18"/>
                </a:lnTo>
                <a:lnTo>
                  <a:pt x="24" y="18"/>
                </a:lnTo>
                <a:lnTo>
                  <a:pt x="24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30" y="12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42" y="0"/>
                </a:lnTo>
                <a:lnTo>
                  <a:pt x="42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54" y="0"/>
                </a:lnTo>
                <a:lnTo>
                  <a:pt x="54" y="0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8"/>
                </a:lnTo>
                <a:lnTo>
                  <a:pt x="60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48" y="18"/>
                </a:lnTo>
                <a:lnTo>
                  <a:pt x="54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8" y="30"/>
                </a:lnTo>
                <a:lnTo>
                  <a:pt x="48" y="30"/>
                </a:lnTo>
                <a:lnTo>
                  <a:pt x="48" y="24"/>
                </a:lnTo>
                <a:lnTo>
                  <a:pt x="48" y="24"/>
                </a:lnTo>
                <a:lnTo>
                  <a:pt x="54" y="30"/>
                </a:lnTo>
                <a:lnTo>
                  <a:pt x="54" y="24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6"/>
                </a:lnTo>
                <a:lnTo>
                  <a:pt x="60" y="36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54"/>
                </a:lnTo>
                <a:lnTo>
                  <a:pt x="54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60"/>
                </a:lnTo>
                <a:lnTo>
                  <a:pt x="36" y="60"/>
                </a:lnTo>
                <a:lnTo>
                  <a:pt x="30" y="60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48"/>
                </a:lnTo>
                <a:lnTo>
                  <a:pt x="30" y="54"/>
                </a:lnTo>
                <a:lnTo>
                  <a:pt x="24" y="48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0" y="5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37" name="Freeform 170"/>
          <p:cNvSpPr>
            <a:spLocks/>
          </p:cNvSpPr>
          <p:nvPr/>
        </p:nvSpPr>
        <p:spPr bwMode="auto">
          <a:xfrm>
            <a:off x="8740525" y="2072869"/>
            <a:ext cx="57816" cy="57817"/>
          </a:xfrm>
          <a:custGeom>
            <a:avLst/>
            <a:gdLst>
              <a:gd name="T0" fmla="*/ 0 w 54"/>
              <a:gd name="T1" fmla="*/ 36 h 54"/>
              <a:gd name="T2" fmla="*/ 6 w 54"/>
              <a:gd name="T3" fmla="*/ 36 h 54"/>
              <a:gd name="T4" fmla="*/ 6 w 54"/>
              <a:gd name="T5" fmla="*/ 36 h 54"/>
              <a:gd name="T6" fmla="*/ 6 w 54"/>
              <a:gd name="T7" fmla="*/ 30 h 54"/>
              <a:gd name="T8" fmla="*/ 12 w 54"/>
              <a:gd name="T9" fmla="*/ 30 h 54"/>
              <a:gd name="T10" fmla="*/ 18 w 54"/>
              <a:gd name="T11" fmla="*/ 30 h 54"/>
              <a:gd name="T12" fmla="*/ 18 w 54"/>
              <a:gd name="T13" fmla="*/ 24 h 54"/>
              <a:gd name="T14" fmla="*/ 18 w 54"/>
              <a:gd name="T15" fmla="*/ 24 h 54"/>
              <a:gd name="T16" fmla="*/ 18 w 54"/>
              <a:gd name="T17" fmla="*/ 18 h 54"/>
              <a:gd name="T18" fmla="*/ 18 w 54"/>
              <a:gd name="T19" fmla="*/ 18 h 54"/>
              <a:gd name="T20" fmla="*/ 18 w 54"/>
              <a:gd name="T21" fmla="*/ 18 h 54"/>
              <a:gd name="T22" fmla="*/ 18 w 54"/>
              <a:gd name="T23" fmla="*/ 18 h 54"/>
              <a:gd name="T24" fmla="*/ 18 w 54"/>
              <a:gd name="T25" fmla="*/ 18 h 54"/>
              <a:gd name="T26" fmla="*/ 12 w 54"/>
              <a:gd name="T27" fmla="*/ 12 h 54"/>
              <a:gd name="T28" fmla="*/ 12 w 54"/>
              <a:gd name="T29" fmla="*/ 6 h 54"/>
              <a:gd name="T30" fmla="*/ 12 w 54"/>
              <a:gd name="T31" fmla="*/ 6 h 54"/>
              <a:gd name="T32" fmla="*/ 18 w 54"/>
              <a:gd name="T33" fmla="*/ 6 h 54"/>
              <a:gd name="T34" fmla="*/ 24 w 54"/>
              <a:gd name="T35" fmla="*/ 0 h 54"/>
              <a:gd name="T36" fmla="*/ 24 w 54"/>
              <a:gd name="T37" fmla="*/ 0 h 54"/>
              <a:gd name="T38" fmla="*/ 30 w 54"/>
              <a:gd name="T39" fmla="*/ 0 h 54"/>
              <a:gd name="T40" fmla="*/ 30 w 54"/>
              <a:gd name="T41" fmla="*/ 0 h 54"/>
              <a:gd name="T42" fmla="*/ 36 w 54"/>
              <a:gd name="T43" fmla="*/ 0 h 54"/>
              <a:gd name="T44" fmla="*/ 36 w 54"/>
              <a:gd name="T45" fmla="*/ 0 h 54"/>
              <a:gd name="T46" fmla="*/ 42 w 54"/>
              <a:gd name="T47" fmla="*/ 0 h 54"/>
              <a:gd name="T48" fmla="*/ 42 w 54"/>
              <a:gd name="T49" fmla="*/ 0 h 54"/>
              <a:gd name="T50" fmla="*/ 42 w 54"/>
              <a:gd name="T51" fmla="*/ 6 h 54"/>
              <a:gd name="T52" fmla="*/ 42 w 54"/>
              <a:gd name="T53" fmla="*/ 6 h 54"/>
              <a:gd name="T54" fmla="*/ 48 w 54"/>
              <a:gd name="T55" fmla="*/ 18 h 54"/>
              <a:gd name="T56" fmla="*/ 54 w 54"/>
              <a:gd name="T57" fmla="*/ 24 h 54"/>
              <a:gd name="T58" fmla="*/ 54 w 54"/>
              <a:gd name="T59" fmla="*/ 24 h 54"/>
              <a:gd name="T60" fmla="*/ 48 w 54"/>
              <a:gd name="T61" fmla="*/ 36 h 54"/>
              <a:gd name="T62" fmla="*/ 48 w 54"/>
              <a:gd name="T63" fmla="*/ 36 h 54"/>
              <a:gd name="T64" fmla="*/ 42 w 54"/>
              <a:gd name="T65" fmla="*/ 36 h 54"/>
              <a:gd name="T66" fmla="*/ 42 w 54"/>
              <a:gd name="T67" fmla="*/ 36 h 54"/>
              <a:gd name="T68" fmla="*/ 36 w 54"/>
              <a:gd name="T69" fmla="*/ 36 h 54"/>
              <a:gd name="T70" fmla="*/ 36 w 54"/>
              <a:gd name="T71" fmla="*/ 42 h 54"/>
              <a:gd name="T72" fmla="*/ 36 w 54"/>
              <a:gd name="T73" fmla="*/ 42 h 54"/>
              <a:gd name="T74" fmla="*/ 36 w 54"/>
              <a:gd name="T75" fmla="*/ 48 h 54"/>
              <a:gd name="T76" fmla="*/ 36 w 54"/>
              <a:gd name="T77" fmla="*/ 48 h 54"/>
              <a:gd name="T78" fmla="*/ 36 w 54"/>
              <a:gd name="T79" fmla="*/ 48 h 54"/>
              <a:gd name="T80" fmla="*/ 36 w 54"/>
              <a:gd name="T81" fmla="*/ 54 h 54"/>
              <a:gd name="T82" fmla="*/ 36 w 54"/>
              <a:gd name="T83" fmla="*/ 54 h 54"/>
              <a:gd name="T84" fmla="*/ 36 w 54"/>
              <a:gd name="T85" fmla="*/ 54 h 54"/>
              <a:gd name="T86" fmla="*/ 30 w 54"/>
              <a:gd name="T87" fmla="*/ 54 h 54"/>
              <a:gd name="T88" fmla="*/ 24 w 54"/>
              <a:gd name="T89" fmla="*/ 54 h 54"/>
              <a:gd name="T90" fmla="*/ 24 w 54"/>
              <a:gd name="T91" fmla="*/ 54 h 54"/>
              <a:gd name="T92" fmla="*/ 24 w 54"/>
              <a:gd name="T93" fmla="*/ 54 h 54"/>
              <a:gd name="T94" fmla="*/ 18 w 54"/>
              <a:gd name="T95" fmla="*/ 48 h 54"/>
              <a:gd name="T96" fmla="*/ 18 w 54"/>
              <a:gd name="T97" fmla="*/ 42 h 54"/>
              <a:gd name="T98" fmla="*/ 12 w 54"/>
              <a:gd name="T99" fmla="*/ 36 h 54"/>
              <a:gd name="T100" fmla="*/ 6 w 54"/>
              <a:gd name="T101" fmla="*/ 36 h 54"/>
              <a:gd name="T102" fmla="*/ 6 w 54"/>
              <a:gd name="T103" fmla="*/ 42 h 54"/>
              <a:gd name="T104" fmla="*/ 0 w 54"/>
              <a:gd name="T105" fmla="*/ 36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4" h="54">
                <a:moveTo>
                  <a:pt x="0" y="36"/>
                </a:moveTo>
                <a:lnTo>
                  <a:pt x="0" y="36"/>
                </a:lnTo>
                <a:lnTo>
                  <a:pt x="0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12" y="36"/>
                </a:lnTo>
                <a:lnTo>
                  <a:pt x="6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8" y="30"/>
                </a:lnTo>
                <a:lnTo>
                  <a:pt x="18" y="30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24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2" y="12"/>
                </a:lnTo>
                <a:lnTo>
                  <a:pt x="12" y="12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8" y="6"/>
                </a:lnTo>
                <a:lnTo>
                  <a:pt x="18" y="6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36" y="12"/>
                </a:lnTo>
                <a:lnTo>
                  <a:pt x="48" y="18"/>
                </a:lnTo>
                <a:lnTo>
                  <a:pt x="54" y="18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36" y="30"/>
                </a:lnTo>
                <a:lnTo>
                  <a:pt x="36" y="36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18" y="48"/>
                </a:lnTo>
                <a:lnTo>
                  <a:pt x="18" y="48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2" y="36"/>
                </a:lnTo>
                <a:lnTo>
                  <a:pt x="12" y="42"/>
                </a:lnTo>
                <a:lnTo>
                  <a:pt x="6" y="36"/>
                </a:lnTo>
                <a:lnTo>
                  <a:pt x="6" y="36"/>
                </a:lnTo>
                <a:lnTo>
                  <a:pt x="6" y="42"/>
                </a:lnTo>
                <a:lnTo>
                  <a:pt x="6" y="42"/>
                </a:lnTo>
                <a:lnTo>
                  <a:pt x="0" y="3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38" name="Freeform 171"/>
          <p:cNvSpPr>
            <a:spLocks/>
          </p:cNvSpPr>
          <p:nvPr/>
        </p:nvSpPr>
        <p:spPr bwMode="auto">
          <a:xfrm>
            <a:off x="8489987" y="2040749"/>
            <a:ext cx="83513" cy="57817"/>
          </a:xfrm>
          <a:custGeom>
            <a:avLst/>
            <a:gdLst>
              <a:gd name="T0" fmla="*/ 6 w 78"/>
              <a:gd name="T1" fmla="*/ 12 h 54"/>
              <a:gd name="T2" fmla="*/ 18 w 78"/>
              <a:gd name="T3" fmla="*/ 6 h 54"/>
              <a:gd name="T4" fmla="*/ 24 w 78"/>
              <a:gd name="T5" fmla="*/ 6 h 54"/>
              <a:gd name="T6" fmla="*/ 24 w 78"/>
              <a:gd name="T7" fmla="*/ 0 h 54"/>
              <a:gd name="T8" fmla="*/ 30 w 78"/>
              <a:gd name="T9" fmla="*/ 0 h 54"/>
              <a:gd name="T10" fmla="*/ 36 w 78"/>
              <a:gd name="T11" fmla="*/ 0 h 54"/>
              <a:gd name="T12" fmla="*/ 36 w 78"/>
              <a:gd name="T13" fmla="*/ 6 h 54"/>
              <a:gd name="T14" fmla="*/ 36 w 78"/>
              <a:gd name="T15" fmla="*/ 6 h 54"/>
              <a:gd name="T16" fmla="*/ 36 w 78"/>
              <a:gd name="T17" fmla="*/ 6 h 54"/>
              <a:gd name="T18" fmla="*/ 42 w 78"/>
              <a:gd name="T19" fmla="*/ 6 h 54"/>
              <a:gd name="T20" fmla="*/ 42 w 78"/>
              <a:gd name="T21" fmla="*/ 6 h 54"/>
              <a:gd name="T22" fmla="*/ 54 w 78"/>
              <a:gd name="T23" fmla="*/ 0 h 54"/>
              <a:gd name="T24" fmla="*/ 60 w 78"/>
              <a:gd name="T25" fmla="*/ 12 h 54"/>
              <a:gd name="T26" fmla="*/ 66 w 78"/>
              <a:gd name="T27" fmla="*/ 18 h 54"/>
              <a:gd name="T28" fmla="*/ 66 w 78"/>
              <a:gd name="T29" fmla="*/ 24 h 54"/>
              <a:gd name="T30" fmla="*/ 60 w 78"/>
              <a:gd name="T31" fmla="*/ 24 h 54"/>
              <a:gd name="T32" fmla="*/ 66 w 78"/>
              <a:gd name="T33" fmla="*/ 30 h 54"/>
              <a:gd name="T34" fmla="*/ 72 w 78"/>
              <a:gd name="T35" fmla="*/ 30 h 54"/>
              <a:gd name="T36" fmla="*/ 72 w 78"/>
              <a:gd name="T37" fmla="*/ 24 h 54"/>
              <a:gd name="T38" fmla="*/ 78 w 78"/>
              <a:gd name="T39" fmla="*/ 24 h 54"/>
              <a:gd name="T40" fmla="*/ 78 w 78"/>
              <a:gd name="T41" fmla="*/ 30 h 54"/>
              <a:gd name="T42" fmla="*/ 72 w 78"/>
              <a:gd name="T43" fmla="*/ 30 h 54"/>
              <a:gd name="T44" fmla="*/ 72 w 78"/>
              <a:gd name="T45" fmla="*/ 30 h 54"/>
              <a:gd name="T46" fmla="*/ 72 w 78"/>
              <a:gd name="T47" fmla="*/ 36 h 54"/>
              <a:gd name="T48" fmla="*/ 72 w 78"/>
              <a:gd name="T49" fmla="*/ 36 h 54"/>
              <a:gd name="T50" fmla="*/ 66 w 78"/>
              <a:gd name="T51" fmla="*/ 36 h 54"/>
              <a:gd name="T52" fmla="*/ 66 w 78"/>
              <a:gd name="T53" fmla="*/ 42 h 54"/>
              <a:gd name="T54" fmla="*/ 66 w 78"/>
              <a:gd name="T55" fmla="*/ 42 h 54"/>
              <a:gd name="T56" fmla="*/ 66 w 78"/>
              <a:gd name="T57" fmla="*/ 48 h 54"/>
              <a:gd name="T58" fmla="*/ 54 w 78"/>
              <a:gd name="T59" fmla="*/ 54 h 54"/>
              <a:gd name="T60" fmla="*/ 54 w 78"/>
              <a:gd name="T61" fmla="*/ 54 h 54"/>
              <a:gd name="T62" fmla="*/ 48 w 78"/>
              <a:gd name="T63" fmla="*/ 54 h 54"/>
              <a:gd name="T64" fmla="*/ 48 w 78"/>
              <a:gd name="T65" fmla="*/ 54 h 54"/>
              <a:gd name="T66" fmla="*/ 42 w 78"/>
              <a:gd name="T67" fmla="*/ 54 h 54"/>
              <a:gd name="T68" fmla="*/ 42 w 78"/>
              <a:gd name="T69" fmla="*/ 54 h 54"/>
              <a:gd name="T70" fmla="*/ 42 w 78"/>
              <a:gd name="T71" fmla="*/ 48 h 54"/>
              <a:gd name="T72" fmla="*/ 42 w 78"/>
              <a:gd name="T73" fmla="*/ 48 h 54"/>
              <a:gd name="T74" fmla="*/ 42 w 78"/>
              <a:gd name="T75" fmla="*/ 42 h 54"/>
              <a:gd name="T76" fmla="*/ 36 w 78"/>
              <a:gd name="T77" fmla="*/ 42 h 54"/>
              <a:gd name="T78" fmla="*/ 36 w 78"/>
              <a:gd name="T79" fmla="*/ 42 h 54"/>
              <a:gd name="T80" fmla="*/ 30 w 78"/>
              <a:gd name="T81" fmla="*/ 42 h 54"/>
              <a:gd name="T82" fmla="*/ 24 w 78"/>
              <a:gd name="T83" fmla="*/ 42 h 54"/>
              <a:gd name="T84" fmla="*/ 24 w 78"/>
              <a:gd name="T85" fmla="*/ 36 h 54"/>
              <a:gd name="T86" fmla="*/ 18 w 78"/>
              <a:gd name="T87" fmla="*/ 36 h 54"/>
              <a:gd name="T88" fmla="*/ 18 w 78"/>
              <a:gd name="T89" fmla="*/ 36 h 54"/>
              <a:gd name="T90" fmla="*/ 18 w 78"/>
              <a:gd name="T91" fmla="*/ 36 h 54"/>
              <a:gd name="T92" fmla="*/ 12 w 78"/>
              <a:gd name="T93" fmla="*/ 36 h 54"/>
              <a:gd name="T94" fmla="*/ 12 w 78"/>
              <a:gd name="T95" fmla="*/ 30 h 54"/>
              <a:gd name="T96" fmla="*/ 6 w 78"/>
              <a:gd name="T97" fmla="*/ 30 h 54"/>
              <a:gd name="T98" fmla="*/ 6 w 78"/>
              <a:gd name="T99" fmla="*/ 24 h 54"/>
              <a:gd name="T100" fmla="*/ 6 w 78"/>
              <a:gd name="T101" fmla="*/ 24 h 54"/>
              <a:gd name="T102" fmla="*/ 6 w 78"/>
              <a:gd name="T103" fmla="*/ 24 h 54"/>
              <a:gd name="T104" fmla="*/ 6 w 78"/>
              <a:gd name="T105" fmla="*/ 24 h 54"/>
              <a:gd name="T106" fmla="*/ 6 w 78"/>
              <a:gd name="T107" fmla="*/ 18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78" h="54">
                <a:moveTo>
                  <a:pt x="0" y="12"/>
                </a:moveTo>
                <a:lnTo>
                  <a:pt x="6" y="12"/>
                </a:lnTo>
                <a:lnTo>
                  <a:pt x="12" y="6"/>
                </a:lnTo>
                <a:lnTo>
                  <a:pt x="18" y="6"/>
                </a:lnTo>
                <a:lnTo>
                  <a:pt x="18" y="6"/>
                </a:lnTo>
                <a:lnTo>
                  <a:pt x="24" y="6"/>
                </a:lnTo>
                <a:lnTo>
                  <a:pt x="24" y="0"/>
                </a:lnTo>
                <a:lnTo>
                  <a:pt x="24" y="0"/>
                </a:lnTo>
                <a:lnTo>
                  <a:pt x="30" y="0"/>
                </a:lnTo>
                <a:lnTo>
                  <a:pt x="30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0"/>
                </a:lnTo>
                <a:lnTo>
                  <a:pt x="54" y="0"/>
                </a:lnTo>
                <a:lnTo>
                  <a:pt x="60" y="6"/>
                </a:lnTo>
                <a:lnTo>
                  <a:pt x="60" y="12"/>
                </a:lnTo>
                <a:lnTo>
                  <a:pt x="66" y="12"/>
                </a:lnTo>
                <a:lnTo>
                  <a:pt x="66" y="18"/>
                </a:lnTo>
                <a:lnTo>
                  <a:pt x="66" y="24"/>
                </a:lnTo>
                <a:lnTo>
                  <a:pt x="66" y="24"/>
                </a:lnTo>
                <a:lnTo>
                  <a:pt x="60" y="24"/>
                </a:lnTo>
                <a:lnTo>
                  <a:pt x="60" y="24"/>
                </a:lnTo>
                <a:lnTo>
                  <a:pt x="66" y="30"/>
                </a:lnTo>
                <a:lnTo>
                  <a:pt x="66" y="30"/>
                </a:lnTo>
                <a:lnTo>
                  <a:pt x="72" y="30"/>
                </a:lnTo>
                <a:lnTo>
                  <a:pt x="72" y="30"/>
                </a:lnTo>
                <a:lnTo>
                  <a:pt x="72" y="24"/>
                </a:lnTo>
                <a:lnTo>
                  <a:pt x="72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30"/>
                </a:lnTo>
                <a:lnTo>
                  <a:pt x="78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8"/>
                </a:lnTo>
                <a:lnTo>
                  <a:pt x="66" y="48"/>
                </a:lnTo>
                <a:lnTo>
                  <a:pt x="60" y="48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2"/>
                </a:lnTo>
                <a:lnTo>
                  <a:pt x="42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0" y="42"/>
                </a:lnTo>
                <a:lnTo>
                  <a:pt x="30" y="42"/>
                </a:lnTo>
                <a:lnTo>
                  <a:pt x="24" y="42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0"/>
                </a:lnTo>
                <a:lnTo>
                  <a:pt x="12" y="30"/>
                </a:lnTo>
                <a:lnTo>
                  <a:pt x="6" y="30"/>
                </a:lnTo>
                <a:lnTo>
                  <a:pt x="12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0" y="1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39" name="Freeform 172"/>
          <p:cNvSpPr>
            <a:spLocks/>
          </p:cNvSpPr>
          <p:nvPr/>
        </p:nvSpPr>
        <p:spPr bwMode="auto">
          <a:xfrm>
            <a:off x="8772645" y="2188503"/>
            <a:ext cx="57816" cy="64241"/>
          </a:xfrm>
          <a:custGeom>
            <a:avLst/>
            <a:gdLst>
              <a:gd name="T0" fmla="*/ 0 w 54"/>
              <a:gd name="T1" fmla="*/ 30 h 60"/>
              <a:gd name="T2" fmla="*/ 6 w 54"/>
              <a:gd name="T3" fmla="*/ 24 h 60"/>
              <a:gd name="T4" fmla="*/ 6 w 54"/>
              <a:gd name="T5" fmla="*/ 24 h 60"/>
              <a:gd name="T6" fmla="*/ 6 w 54"/>
              <a:gd name="T7" fmla="*/ 24 h 60"/>
              <a:gd name="T8" fmla="*/ 12 w 54"/>
              <a:gd name="T9" fmla="*/ 24 h 60"/>
              <a:gd name="T10" fmla="*/ 12 w 54"/>
              <a:gd name="T11" fmla="*/ 24 h 60"/>
              <a:gd name="T12" fmla="*/ 18 w 54"/>
              <a:gd name="T13" fmla="*/ 24 h 60"/>
              <a:gd name="T14" fmla="*/ 24 w 54"/>
              <a:gd name="T15" fmla="*/ 18 h 60"/>
              <a:gd name="T16" fmla="*/ 24 w 54"/>
              <a:gd name="T17" fmla="*/ 18 h 60"/>
              <a:gd name="T18" fmla="*/ 30 w 54"/>
              <a:gd name="T19" fmla="*/ 18 h 60"/>
              <a:gd name="T20" fmla="*/ 24 w 54"/>
              <a:gd name="T21" fmla="*/ 18 h 60"/>
              <a:gd name="T22" fmla="*/ 24 w 54"/>
              <a:gd name="T23" fmla="*/ 18 h 60"/>
              <a:gd name="T24" fmla="*/ 18 w 54"/>
              <a:gd name="T25" fmla="*/ 12 h 60"/>
              <a:gd name="T26" fmla="*/ 18 w 54"/>
              <a:gd name="T27" fmla="*/ 12 h 60"/>
              <a:gd name="T28" fmla="*/ 12 w 54"/>
              <a:gd name="T29" fmla="*/ 6 h 60"/>
              <a:gd name="T30" fmla="*/ 18 w 54"/>
              <a:gd name="T31" fmla="*/ 0 h 60"/>
              <a:gd name="T32" fmla="*/ 18 w 54"/>
              <a:gd name="T33" fmla="*/ 0 h 60"/>
              <a:gd name="T34" fmla="*/ 30 w 54"/>
              <a:gd name="T35" fmla="*/ 12 h 60"/>
              <a:gd name="T36" fmla="*/ 36 w 54"/>
              <a:gd name="T37" fmla="*/ 12 h 60"/>
              <a:gd name="T38" fmla="*/ 42 w 54"/>
              <a:gd name="T39" fmla="*/ 12 h 60"/>
              <a:gd name="T40" fmla="*/ 48 w 54"/>
              <a:gd name="T41" fmla="*/ 12 h 60"/>
              <a:gd name="T42" fmla="*/ 48 w 54"/>
              <a:gd name="T43" fmla="*/ 12 h 60"/>
              <a:gd name="T44" fmla="*/ 48 w 54"/>
              <a:gd name="T45" fmla="*/ 12 h 60"/>
              <a:gd name="T46" fmla="*/ 48 w 54"/>
              <a:gd name="T47" fmla="*/ 6 h 60"/>
              <a:gd name="T48" fmla="*/ 48 w 54"/>
              <a:gd name="T49" fmla="*/ 12 h 60"/>
              <a:gd name="T50" fmla="*/ 54 w 54"/>
              <a:gd name="T51" fmla="*/ 18 h 60"/>
              <a:gd name="T52" fmla="*/ 48 w 54"/>
              <a:gd name="T53" fmla="*/ 30 h 60"/>
              <a:gd name="T54" fmla="*/ 48 w 54"/>
              <a:gd name="T55" fmla="*/ 36 h 60"/>
              <a:gd name="T56" fmla="*/ 42 w 54"/>
              <a:gd name="T57" fmla="*/ 48 h 60"/>
              <a:gd name="T58" fmla="*/ 36 w 54"/>
              <a:gd name="T59" fmla="*/ 54 h 60"/>
              <a:gd name="T60" fmla="*/ 36 w 54"/>
              <a:gd name="T61" fmla="*/ 60 h 60"/>
              <a:gd name="T62" fmla="*/ 36 w 54"/>
              <a:gd name="T63" fmla="*/ 54 h 60"/>
              <a:gd name="T64" fmla="*/ 30 w 54"/>
              <a:gd name="T65" fmla="*/ 54 h 60"/>
              <a:gd name="T66" fmla="*/ 30 w 54"/>
              <a:gd name="T67" fmla="*/ 54 h 60"/>
              <a:gd name="T68" fmla="*/ 30 w 54"/>
              <a:gd name="T69" fmla="*/ 54 h 60"/>
              <a:gd name="T70" fmla="*/ 30 w 54"/>
              <a:gd name="T71" fmla="*/ 54 h 60"/>
              <a:gd name="T72" fmla="*/ 18 w 54"/>
              <a:gd name="T73" fmla="*/ 54 h 60"/>
              <a:gd name="T74" fmla="*/ 18 w 54"/>
              <a:gd name="T75" fmla="*/ 54 h 60"/>
              <a:gd name="T76" fmla="*/ 12 w 54"/>
              <a:gd name="T77" fmla="*/ 54 h 60"/>
              <a:gd name="T78" fmla="*/ 12 w 54"/>
              <a:gd name="T79" fmla="*/ 54 h 60"/>
              <a:gd name="T80" fmla="*/ 12 w 54"/>
              <a:gd name="T81" fmla="*/ 54 h 60"/>
              <a:gd name="T82" fmla="*/ 6 w 54"/>
              <a:gd name="T83" fmla="*/ 54 h 60"/>
              <a:gd name="T84" fmla="*/ 6 w 54"/>
              <a:gd name="T85" fmla="*/ 54 h 60"/>
              <a:gd name="T86" fmla="*/ 0 w 54"/>
              <a:gd name="T87" fmla="*/ 48 h 60"/>
              <a:gd name="T88" fmla="*/ 0 w 54"/>
              <a:gd name="T89" fmla="*/ 48 h 60"/>
              <a:gd name="T90" fmla="*/ 0 w 54"/>
              <a:gd name="T91" fmla="*/ 42 h 60"/>
              <a:gd name="T92" fmla="*/ 0 w 54"/>
              <a:gd name="T93" fmla="*/ 30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4" h="60">
                <a:moveTo>
                  <a:pt x="0" y="30"/>
                </a:moveTo>
                <a:lnTo>
                  <a:pt x="0" y="30"/>
                </a:lnTo>
                <a:lnTo>
                  <a:pt x="0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2" y="6"/>
                </a:lnTo>
                <a:lnTo>
                  <a:pt x="12" y="6"/>
                </a:lnTo>
                <a:lnTo>
                  <a:pt x="12" y="0"/>
                </a:lnTo>
                <a:lnTo>
                  <a:pt x="18" y="6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24" y="12"/>
                </a:lnTo>
                <a:lnTo>
                  <a:pt x="30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12"/>
                </a:lnTo>
                <a:lnTo>
                  <a:pt x="54" y="12"/>
                </a:lnTo>
                <a:lnTo>
                  <a:pt x="54" y="18"/>
                </a:lnTo>
                <a:lnTo>
                  <a:pt x="54" y="18"/>
                </a:lnTo>
                <a:lnTo>
                  <a:pt x="48" y="24"/>
                </a:lnTo>
                <a:lnTo>
                  <a:pt x="48" y="24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6"/>
                </a:lnTo>
                <a:lnTo>
                  <a:pt x="48" y="36"/>
                </a:lnTo>
                <a:lnTo>
                  <a:pt x="42" y="42"/>
                </a:lnTo>
                <a:lnTo>
                  <a:pt x="42" y="48"/>
                </a:lnTo>
                <a:lnTo>
                  <a:pt x="42" y="54"/>
                </a:lnTo>
                <a:lnTo>
                  <a:pt x="42" y="54"/>
                </a:lnTo>
                <a:lnTo>
                  <a:pt x="36" y="54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54"/>
                </a:lnTo>
                <a:lnTo>
                  <a:pt x="36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60"/>
                </a:lnTo>
                <a:lnTo>
                  <a:pt x="30" y="60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0" y="54"/>
                </a:lnTo>
                <a:lnTo>
                  <a:pt x="0" y="54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2"/>
                </a:lnTo>
                <a:lnTo>
                  <a:pt x="0" y="42"/>
                </a:lnTo>
                <a:lnTo>
                  <a:pt x="6" y="36"/>
                </a:lnTo>
                <a:lnTo>
                  <a:pt x="0" y="36"/>
                </a:lnTo>
                <a:lnTo>
                  <a:pt x="0" y="30"/>
                </a:lnTo>
                <a:lnTo>
                  <a:pt x="0" y="3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40" name="Freeform 173"/>
          <p:cNvSpPr>
            <a:spLocks/>
          </p:cNvSpPr>
          <p:nvPr/>
        </p:nvSpPr>
        <p:spPr bwMode="auto">
          <a:xfrm>
            <a:off x="8297265" y="2117838"/>
            <a:ext cx="231266" cy="160602"/>
          </a:xfrm>
          <a:custGeom>
            <a:avLst/>
            <a:gdLst>
              <a:gd name="T0" fmla="*/ 0 w 216"/>
              <a:gd name="T1" fmla="*/ 72 h 150"/>
              <a:gd name="T2" fmla="*/ 12 w 216"/>
              <a:gd name="T3" fmla="*/ 60 h 150"/>
              <a:gd name="T4" fmla="*/ 24 w 216"/>
              <a:gd name="T5" fmla="*/ 54 h 150"/>
              <a:gd name="T6" fmla="*/ 36 w 216"/>
              <a:gd name="T7" fmla="*/ 54 h 150"/>
              <a:gd name="T8" fmla="*/ 42 w 216"/>
              <a:gd name="T9" fmla="*/ 54 h 150"/>
              <a:gd name="T10" fmla="*/ 42 w 216"/>
              <a:gd name="T11" fmla="*/ 60 h 150"/>
              <a:gd name="T12" fmla="*/ 48 w 216"/>
              <a:gd name="T13" fmla="*/ 72 h 150"/>
              <a:gd name="T14" fmla="*/ 60 w 216"/>
              <a:gd name="T15" fmla="*/ 66 h 150"/>
              <a:gd name="T16" fmla="*/ 66 w 216"/>
              <a:gd name="T17" fmla="*/ 72 h 150"/>
              <a:gd name="T18" fmla="*/ 72 w 216"/>
              <a:gd name="T19" fmla="*/ 66 h 150"/>
              <a:gd name="T20" fmla="*/ 84 w 216"/>
              <a:gd name="T21" fmla="*/ 66 h 150"/>
              <a:gd name="T22" fmla="*/ 90 w 216"/>
              <a:gd name="T23" fmla="*/ 60 h 150"/>
              <a:gd name="T24" fmla="*/ 96 w 216"/>
              <a:gd name="T25" fmla="*/ 54 h 150"/>
              <a:gd name="T26" fmla="*/ 114 w 216"/>
              <a:gd name="T27" fmla="*/ 48 h 150"/>
              <a:gd name="T28" fmla="*/ 114 w 216"/>
              <a:gd name="T29" fmla="*/ 48 h 150"/>
              <a:gd name="T30" fmla="*/ 120 w 216"/>
              <a:gd name="T31" fmla="*/ 36 h 150"/>
              <a:gd name="T32" fmla="*/ 126 w 216"/>
              <a:gd name="T33" fmla="*/ 30 h 150"/>
              <a:gd name="T34" fmla="*/ 138 w 216"/>
              <a:gd name="T35" fmla="*/ 24 h 150"/>
              <a:gd name="T36" fmla="*/ 144 w 216"/>
              <a:gd name="T37" fmla="*/ 18 h 150"/>
              <a:gd name="T38" fmla="*/ 150 w 216"/>
              <a:gd name="T39" fmla="*/ 12 h 150"/>
              <a:gd name="T40" fmla="*/ 162 w 216"/>
              <a:gd name="T41" fmla="*/ 12 h 150"/>
              <a:gd name="T42" fmla="*/ 174 w 216"/>
              <a:gd name="T43" fmla="*/ 0 h 150"/>
              <a:gd name="T44" fmla="*/ 192 w 216"/>
              <a:gd name="T45" fmla="*/ 6 h 150"/>
              <a:gd name="T46" fmla="*/ 198 w 216"/>
              <a:gd name="T47" fmla="*/ 12 h 150"/>
              <a:gd name="T48" fmla="*/ 210 w 216"/>
              <a:gd name="T49" fmla="*/ 12 h 150"/>
              <a:gd name="T50" fmla="*/ 210 w 216"/>
              <a:gd name="T51" fmla="*/ 24 h 150"/>
              <a:gd name="T52" fmla="*/ 210 w 216"/>
              <a:gd name="T53" fmla="*/ 24 h 150"/>
              <a:gd name="T54" fmla="*/ 198 w 216"/>
              <a:gd name="T55" fmla="*/ 30 h 150"/>
              <a:gd name="T56" fmla="*/ 186 w 216"/>
              <a:gd name="T57" fmla="*/ 48 h 150"/>
              <a:gd name="T58" fmla="*/ 192 w 216"/>
              <a:gd name="T59" fmla="*/ 54 h 150"/>
              <a:gd name="T60" fmla="*/ 192 w 216"/>
              <a:gd name="T61" fmla="*/ 66 h 150"/>
              <a:gd name="T62" fmla="*/ 186 w 216"/>
              <a:gd name="T63" fmla="*/ 66 h 150"/>
              <a:gd name="T64" fmla="*/ 186 w 216"/>
              <a:gd name="T65" fmla="*/ 72 h 150"/>
              <a:gd name="T66" fmla="*/ 168 w 216"/>
              <a:gd name="T67" fmla="*/ 84 h 150"/>
              <a:gd name="T68" fmla="*/ 174 w 216"/>
              <a:gd name="T69" fmla="*/ 84 h 150"/>
              <a:gd name="T70" fmla="*/ 156 w 216"/>
              <a:gd name="T71" fmla="*/ 84 h 150"/>
              <a:gd name="T72" fmla="*/ 150 w 216"/>
              <a:gd name="T73" fmla="*/ 90 h 150"/>
              <a:gd name="T74" fmla="*/ 138 w 216"/>
              <a:gd name="T75" fmla="*/ 90 h 150"/>
              <a:gd name="T76" fmla="*/ 138 w 216"/>
              <a:gd name="T77" fmla="*/ 84 h 150"/>
              <a:gd name="T78" fmla="*/ 132 w 216"/>
              <a:gd name="T79" fmla="*/ 78 h 150"/>
              <a:gd name="T80" fmla="*/ 126 w 216"/>
              <a:gd name="T81" fmla="*/ 90 h 150"/>
              <a:gd name="T82" fmla="*/ 120 w 216"/>
              <a:gd name="T83" fmla="*/ 96 h 150"/>
              <a:gd name="T84" fmla="*/ 108 w 216"/>
              <a:gd name="T85" fmla="*/ 102 h 150"/>
              <a:gd name="T86" fmla="*/ 102 w 216"/>
              <a:gd name="T87" fmla="*/ 102 h 150"/>
              <a:gd name="T88" fmla="*/ 90 w 216"/>
              <a:gd name="T89" fmla="*/ 102 h 150"/>
              <a:gd name="T90" fmla="*/ 78 w 216"/>
              <a:gd name="T91" fmla="*/ 108 h 150"/>
              <a:gd name="T92" fmla="*/ 66 w 216"/>
              <a:gd name="T93" fmla="*/ 120 h 150"/>
              <a:gd name="T94" fmla="*/ 60 w 216"/>
              <a:gd name="T95" fmla="*/ 126 h 150"/>
              <a:gd name="T96" fmla="*/ 48 w 216"/>
              <a:gd name="T97" fmla="*/ 126 h 150"/>
              <a:gd name="T98" fmla="*/ 36 w 216"/>
              <a:gd name="T99" fmla="*/ 132 h 150"/>
              <a:gd name="T100" fmla="*/ 30 w 216"/>
              <a:gd name="T101" fmla="*/ 132 h 150"/>
              <a:gd name="T102" fmla="*/ 24 w 216"/>
              <a:gd name="T103" fmla="*/ 144 h 150"/>
              <a:gd name="T104" fmla="*/ 18 w 216"/>
              <a:gd name="T105" fmla="*/ 150 h 150"/>
              <a:gd name="T106" fmla="*/ 18 w 216"/>
              <a:gd name="T107" fmla="*/ 138 h 150"/>
              <a:gd name="T108" fmla="*/ 12 w 216"/>
              <a:gd name="T109" fmla="*/ 132 h 150"/>
              <a:gd name="T110" fmla="*/ 12 w 216"/>
              <a:gd name="T111" fmla="*/ 126 h 150"/>
              <a:gd name="T112" fmla="*/ 6 w 216"/>
              <a:gd name="T113" fmla="*/ 108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16" h="150">
                <a:moveTo>
                  <a:pt x="6" y="108"/>
                </a:moveTo>
                <a:lnTo>
                  <a:pt x="0" y="108"/>
                </a:lnTo>
                <a:lnTo>
                  <a:pt x="0" y="96"/>
                </a:lnTo>
                <a:lnTo>
                  <a:pt x="6" y="96"/>
                </a:lnTo>
                <a:lnTo>
                  <a:pt x="12" y="84"/>
                </a:lnTo>
                <a:lnTo>
                  <a:pt x="12" y="84"/>
                </a:lnTo>
                <a:lnTo>
                  <a:pt x="6" y="78"/>
                </a:lnTo>
                <a:lnTo>
                  <a:pt x="0" y="72"/>
                </a:lnTo>
                <a:lnTo>
                  <a:pt x="0" y="66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24" y="60"/>
                </a:lnTo>
                <a:lnTo>
                  <a:pt x="24" y="54"/>
                </a:lnTo>
                <a:lnTo>
                  <a:pt x="24" y="54"/>
                </a:lnTo>
                <a:lnTo>
                  <a:pt x="24" y="60"/>
                </a:lnTo>
                <a:lnTo>
                  <a:pt x="30" y="60"/>
                </a:lnTo>
                <a:lnTo>
                  <a:pt x="30" y="60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72"/>
                </a:lnTo>
                <a:lnTo>
                  <a:pt x="42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66"/>
                </a:lnTo>
                <a:lnTo>
                  <a:pt x="54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8" y="60"/>
                </a:lnTo>
                <a:lnTo>
                  <a:pt x="78" y="60"/>
                </a:lnTo>
                <a:lnTo>
                  <a:pt x="78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8" y="48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6" y="36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8" y="30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50" y="18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62" y="12"/>
                </a:lnTo>
                <a:lnTo>
                  <a:pt x="162" y="12"/>
                </a:lnTo>
                <a:lnTo>
                  <a:pt x="168" y="6"/>
                </a:lnTo>
                <a:lnTo>
                  <a:pt x="168" y="6"/>
                </a:lnTo>
                <a:lnTo>
                  <a:pt x="168" y="6"/>
                </a:lnTo>
                <a:lnTo>
                  <a:pt x="168" y="0"/>
                </a:lnTo>
                <a:lnTo>
                  <a:pt x="174" y="0"/>
                </a:lnTo>
                <a:lnTo>
                  <a:pt x="174" y="0"/>
                </a:lnTo>
                <a:lnTo>
                  <a:pt x="174" y="0"/>
                </a:lnTo>
                <a:lnTo>
                  <a:pt x="174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6" y="0"/>
                </a:lnTo>
                <a:lnTo>
                  <a:pt x="186" y="0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8" y="6"/>
                </a:lnTo>
                <a:lnTo>
                  <a:pt x="198" y="6"/>
                </a:lnTo>
                <a:lnTo>
                  <a:pt x="198" y="12"/>
                </a:lnTo>
                <a:lnTo>
                  <a:pt x="198" y="12"/>
                </a:lnTo>
                <a:lnTo>
                  <a:pt x="204" y="12"/>
                </a:lnTo>
                <a:lnTo>
                  <a:pt x="204" y="12"/>
                </a:lnTo>
                <a:lnTo>
                  <a:pt x="204" y="12"/>
                </a:lnTo>
                <a:lnTo>
                  <a:pt x="204" y="12"/>
                </a:lnTo>
                <a:lnTo>
                  <a:pt x="204" y="12"/>
                </a:lnTo>
                <a:lnTo>
                  <a:pt x="204" y="12"/>
                </a:lnTo>
                <a:lnTo>
                  <a:pt x="204" y="12"/>
                </a:lnTo>
                <a:lnTo>
                  <a:pt x="210" y="12"/>
                </a:lnTo>
                <a:lnTo>
                  <a:pt x="210" y="18"/>
                </a:lnTo>
                <a:lnTo>
                  <a:pt x="210" y="18"/>
                </a:lnTo>
                <a:lnTo>
                  <a:pt x="210" y="18"/>
                </a:lnTo>
                <a:lnTo>
                  <a:pt x="210" y="18"/>
                </a:lnTo>
                <a:lnTo>
                  <a:pt x="210" y="18"/>
                </a:lnTo>
                <a:lnTo>
                  <a:pt x="210" y="18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6" y="24"/>
                </a:lnTo>
                <a:lnTo>
                  <a:pt x="216" y="24"/>
                </a:lnTo>
                <a:lnTo>
                  <a:pt x="216" y="24"/>
                </a:lnTo>
                <a:lnTo>
                  <a:pt x="210" y="30"/>
                </a:lnTo>
                <a:lnTo>
                  <a:pt x="210" y="24"/>
                </a:lnTo>
                <a:lnTo>
                  <a:pt x="210" y="30"/>
                </a:lnTo>
                <a:lnTo>
                  <a:pt x="210" y="30"/>
                </a:lnTo>
                <a:lnTo>
                  <a:pt x="210" y="30"/>
                </a:lnTo>
                <a:lnTo>
                  <a:pt x="204" y="30"/>
                </a:lnTo>
                <a:lnTo>
                  <a:pt x="204" y="30"/>
                </a:lnTo>
                <a:lnTo>
                  <a:pt x="198" y="30"/>
                </a:lnTo>
                <a:lnTo>
                  <a:pt x="198" y="30"/>
                </a:lnTo>
                <a:lnTo>
                  <a:pt x="198" y="30"/>
                </a:lnTo>
                <a:lnTo>
                  <a:pt x="198" y="30"/>
                </a:lnTo>
                <a:lnTo>
                  <a:pt x="192" y="36"/>
                </a:lnTo>
                <a:lnTo>
                  <a:pt x="192" y="36"/>
                </a:lnTo>
                <a:lnTo>
                  <a:pt x="192" y="36"/>
                </a:lnTo>
                <a:lnTo>
                  <a:pt x="186" y="42"/>
                </a:lnTo>
                <a:lnTo>
                  <a:pt x="186" y="42"/>
                </a:lnTo>
                <a:lnTo>
                  <a:pt x="186" y="42"/>
                </a:lnTo>
                <a:lnTo>
                  <a:pt x="186" y="48"/>
                </a:lnTo>
                <a:lnTo>
                  <a:pt x="186" y="48"/>
                </a:lnTo>
                <a:lnTo>
                  <a:pt x="186" y="48"/>
                </a:lnTo>
                <a:lnTo>
                  <a:pt x="186" y="48"/>
                </a:lnTo>
                <a:lnTo>
                  <a:pt x="186" y="48"/>
                </a:lnTo>
                <a:lnTo>
                  <a:pt x="192" y="54"/>
                </a:lnTo>
                <a:lnTo>
                  <a:pt x="192" y="54"/>
                </a:lnTo>
                <a:lnTo>
                  <a:pt x="192" y="54"/>
                </a:lnTo>
                <a:lnTo>
                  <a:pt x="192" y="54"/>
                </a:lnTo>
                <a:lnTo>
                  <a:pt x="192" y="54"/>
                </a:lnTo>
                <a:lnTo>
                  <a:pt x="192" y="54"/>
                </a:lnTo>
                <a:lnTo>
                  <a:pt x="192" y="60"/>
                </a:lnTo>
                <a:lnTo>
                  <a:pt x="192" y="60"/>
                </a:lnTo>
                <a:lnTo>
                  <a:pt x="192" y="66"/>
                </a:lnTo>
                <a:lnTo>
                  <a:pt x="192" y="66"/>
                </a:lnTo>
                <a:lnTo>
                  <a:pt x="192" y="66"/>
                </a:lnTo>
                <a:lnTo>
                  <a:pt x="192" y="66"/>
                </a:lnTo>
                <a:lnTo>
                  <a:pt x="192" y="66"/>
                </a:lnTo>
                <a:lnTo>
                  <a:pt x="192" y="66"/>
                </a:lnTo>
                <a:lnTo>
                  <a:pt x="192" y="66"/>
                </a:lnTo>
                <a:lnTo>
                  <a:pt x="192" y="66"/>
                </a:lnTo>
                <a:lnTo>
                  <a:pt x="192" y="66"/>
                </a:lnTo>
                <a:lnTo>
                  <a:pt x="186" y="66"/>
                </a:lnTo>
                <a:lnTo>
                  <a:pt x="186" y="66"/>
                </a:lnTo>
                <a:lnTo>
                  <a:pt x="186" y="66"/>
                </a:lnTo>
                <a:lnTo>
                  <a:pt x="186" y="66"/>
                </a:lnTo>
                <a:lnTo>
                  <a:pt x="186" y="66"/>
                </a:lnTo>
                <a:lnTo>
                  <a:pt x="180" y="66"/>
                </a:lnTo>
                <a:lnTo>
                  <a:pt x="180" y="72"/>
                </a:lnTo>
                <a:lnTo>
                  <a:pt x="180" y="72"/>
                </a:lnTo>
                <a:lnTo>
                  <a:pt x="180" y="72"/>
                </a:lnTo>
                <a:lnTo>
                  <a:pt x="180" y="72"/>
                </a:lnTo>
                <a:lnTo>
                  <a:pt x="186" y="72"/>
                </a:lnTo>
                <a:lnTo>
                  <a:pt x="180" y="72"/>
                </a:lnTo>
                <a:lnTo>
                  <a:pt x="180" y="72"/>
                </a:lnTo>
                <a:lnTo>
                  <a:pt x="180" y="78"/>
                </a:lnTo>
                <a:lnTo>
                  <a:pt x="180" y="78"/>
                </a:lnTo>
                <a:lnTo>
                  <a:pt x="174" y="78"/>
                </a:lnTo>
                <a:lnTo>
                  <a:pt x="174" y="78"/>
                </a:lnTo>
                <a:lnTo>
                  <a:pt x="174" y="84"/>
                </a:lnTo>
                <a:lnTo>
                  <a:pt x="168" y="84"/>
                </a:lnTo>
                <a:lnTo>
                  <a:pt x="168" y="84"/>
                </a:lnTo>
                <a:lnTo>
                  <a:pt x="168" y="84"/>
                </a:lnTo>
                <a:lnTo>
                  <a:pt x="174" y="84"/>
                </a:lnTo>
                <a:lnTo>
                  <a:pt x="174" y="84"/>
                </a:lnTo>
                <a:lnTo>
                  <a:pt x="174" y="84"/>
                </a:lnTo>
                <a:lnTo>
                  <a:pt x="174" y="84"/>
                </a:lnTo>
                <a:lnTo>
                  <a:pt x="174" y="84"/>
                </a:lnTo>
                <a:lnTo>
                  <a:pt x="174" y="84"/>
                </a:lnTo>
                <a:lnTo>
                  <a:pt x="168" y="84"/>
                </a:lnTo>
                <a:lnTo>
                  <a:pt x="168" y="84"/>
                </a:lnTo>
                <a:lnTo>
                  <a:pt x="168" y="84"/>
                </a:lnTo>
                <a:lnTo>
                  <a:pt x="168" y="90"/>
                </a:lnTo>
                <a:lnTo>
                  <a:pt x="162" y="90"/>
                </a:lnTo>
                <a:lnTo>
                  <a:pt x="162" y="90"/>
                </a:lnTo>
                <a:lnTo>
                  <a:pt x="156" y="84"/>
                </a:lnTo>
                <a:lnTo>
                  <a:pt x="156" y="84"/>
                </a:lnTo>
                <a:lnTo>
                  <a:pt x="156" y="84"/>
                </a:lnTo>
                <a:lnTo>
                  <a:pt x="156" y="84"/>
                </a:lnTo>
                <a:lnTo>
                  <a:pt x="156" y="84"/>
                </a:lnTo>
                <a:lnTo>
                  <a:pt x="150" y="90"/>
                </a:lnTo>
                <a:lnTo>
                  <a:pt x="150" y="84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44" y="90"/>
                </a:lnTo>
                <a:lnTo>
                  <a:pt x="144" y="90"/>
                </a:lnTo>
                <a:lnTo>
                  <a:pt x="144" y="90"/>
                </a:lnTo>
                <a:lnTo>
                  <a:pt x="138" y="90"/>
                </a:lnTo>
                <a:lnTo>
                  <a:pt x="138" y="90"/>
                </a:lnTo>
                <a:lnTo>
                  <a:pt x="138" y="90"/>
                </a:lnTo>
                <a:lnTo>
                  <a:pt x="138" y="90"/>
                </a:lnTo>
                <a:lnTo>
                  <a:pt x="138" y="90"/>
                </a:lnTo>
                <a:lnTo>
                  <a:pt x="138" y="90"/>
                </a:lnTo>
                <a:lnTo>
                  <a:pt x="138" y="90"/>
                </a:lnTo>
                <a:lnTo>
                  <a:pt x="138" y="84"/>
                </a:lnTo>
                <a:lnTo>
                  <a:pt x="138" y="84"/>
                </a:lnTo>
                <a:lnTo>
                  <a:pt x="138" y="84"/>
                </a:lnTo>
                <a:lnTo>
                  <a:pt x="138" y="84"/>
                </a:lnTo>
                <a:lnTo>
                  <a:pt x="138" y="84"/>
                </a:lnTo>
                <a:lnTo>
                  <a:pt x="138" y="78"/>
                </a:lnTo>
                <a:lnTo>
                  <a:pt x="138" y="78"/>
                </a:lnTo>
                <a:lnTo>
                  <a:pt x="138" y="78"/>
                </a:lnTo>
                <a:lnTo>
                  <a:pt x="138" y="78"/>
                </a:lnTo>
                <a:lnTo>
                  <a:pt x="138" y="78"/>
                </a:lnTo>
                <a:lnTo>
                  <a:pt x="138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90"/>
                </a:lnTo>
                <a:lnTo>
                  <a:pt x="126" y="90"/>
                </a:lnTo>
                <a:lnTo>
                  <a:pt x="126" y="90"/>
                </a:lnTo>
                <a:lnTo>
                  <a:pt x="126" y="90"/>
                </a:lnTo>
                <a:lnTo>
                  <a:pt x="126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6"/>
                </a:lnTo>
                <a:lnTo>
                  <a:pt x="120" y="96"/>
                </a:lnTo>
                <a:lnTo>
                  <a:pt x="120" y="96"/>
                </a:lnTo>
                <a:lnTo>
                  <a:pt x="114" y="96"/>
                </a:lnTo>
                <a:lnTo>
                  <a:pt x="114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0" y="102"/>
                </a:lnTo>
                <a:lnTo>
                  <a:pt x="90" y="102"/>
                </a:lnTo>
                <a:lnTo>
                  <a:pt x="90" y="102"/>
                </a:lnTo>
                <a:lnTo>
                  <a:pt x="90" y="102"/>
                </a:lnTo>
                <a:lnTo>
                  <a:pt x="90" y="102"/>
                </a:lnTo>
                <a:lnTo>
                  <a:pt x="90" y="102"/>
                </a:lnTo>
                <a:lnTo>
                  <a:pt x="84" y="102"/>
                </a:lnTo>
                <a:lnTo>
                  <a:pt x="84" y="102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14"/>
                </a:lnTo>
                <a:lnTo>
                  <a:pt x="78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0" y="120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32"/>
                </a:lnTo>
                <a:lnTo>
                  <a:pt x="60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36" y="132"/>
                </a:lnTo>
                <a:lnTo>
                  <a:pt x="36" y="132"/>
                </a:lnTo>
                <a:lnTo>
                  <a:pt x="36" y="132"/>
                </a:lnTo>
                <a:lnTo>
                  <a:pt x="36" y="132"/>
                </a:lnTo>
                <a:lnTo>
                  <a:pt x="36" y="132"/>
                </a:lnTo>
                <a:lnTo>
                  <a:pt x="36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38"/>
                </a:lnTo>
                <a:lnTo>
                  <a:pt x="30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18" y="144"/>
                </a:lnTo>
                <a:lnTo>
                  <a:pt x="18" y="144"/>
                </a:lnTo>
                <a:lnTo>
                  <a:pt x="18" y="150"/>
                </a:lnTo>
                <a:lnTo>
                  <a:pt x="18" y="150"/>
                </a:lnTo>
                <a:lnTo>
                  <a:pt x="18" y="150"/>
                </a:lnTo>
                <a:lnTo>
                  <a:pt x="18" y="150"/>
                </a:lnTo>
                <a:lnTo>
                  <a:pt x="18" y="150"/>
                </a:lnTo>
                <a:lnTo>
                  <a:pt x="18" y="150"/>
                </a:lnTo>
                <a:lnTo>
                  <a:pt x="12" y="150"/>
                </a:lnTo>
                <a:lnTo>
                  <a:pt x="12" y="150"/>
                </a:lnTo>
                <a:lnTo>
                  <a:pt x="18" y="144"/>
                </a:lnTo>
                <a:lnTo>
                  <a:pt x="12" y="144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2"/>
                </a:lnTo>
                <a:lnTo>
                  <a:pt x="18" y="138"/>
                </a:lnTo>
                <a:lnTo>
                  <a:pt x="18" y="132"/>
                </a:lnTo>
                <a:lnTo>
                  <a:pt x="18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0"/>
                </a:lnTo>
                <a:lnTo>
                  <a:pt x="6" y="114"/>
                </a:lnTo>
                <a:lnTo>
                  <a:pt x="6" y="108"/>
                </a:lnTo>
                <a:lnTo>
                  <a:pt x="6" y="10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41" name="Freeform 174"/>
          <p:cNvSpPr>
            <a:spLocks/>
          </p:cNvSpPr>
          <p:nvPr/>
        </p:nvSpPr>
        <p:spPr bwMode="auto">
          <a:xfrm>
            <a:off x="7918246" y="2227048"/>
            <a:ext cx="321202" cy="199147"/>
          </a:xfrm>
          <a:custGeom>
            <a:avLst/>
            <a:gdLst>
              <a:gd name="T0" fmla="*/ 18 w 300"/>
              <a:gd name="T1" fmla="*/ 72 h 186"/>
              <a:gd name="T2" fmla="*/ 24 w 300"/>
              <a:gd name="T3" fmla="*/ 60 h 186"/>
              <a:gd name="T4" fmla="*/ 36 w 300"/>
              <a:gd name="T5" fmla="*/ 54 h 186"/>
              <a:gd name="T6" fmla="*/ 48 w 300"/>
              <a:gd name="T7" fmla="*/ 48 h 186"/>
              <a:gd name="T8" fmla="*/ 60 w 300"/>
              <a:gd name="T9" fmla="*/ 42 h 186"/>
              <a:gd name="T10" fmla="*/ 66 w 300"/>
              <a:gd name="T11" fmla="*/ 42 h 186"/>
              <a:gd name="T12" fmla="*/ 78 w 300"/>
              <a:gd name="T13" fmla="*/ 30 h 186"/>
              <a:gd name="T14" fmla="*/ 84 w 300"/>
              <a:gd name="T15" fmla="*/ 36 h 186"/>
              <a:gd name="T16" fmla="*/ 90 w 300"/>
              <a:gd name="T17" fmla="*/ 42 h 186"/>
              <a:gd name="T18" fmla="*/ 96 w 300"/>
              <a:gd name="T19" fmla="*/ 42 h 186"/>
              <a:gd name="T20" fmla="*/ 108 w 300"/>
              <a:gd name="T21" fmla="*/ 42 h 186"/>
              <a:gd name="T22" fmla="*/ 120 w 300"/>
              <a:gd name="T23" fmla="*/ 42 h 186"/>
              <a:gd name="T24" fmla="*/ 126 w 300"/>
              <a:gd name="T25" fmla="*/ 48 h 186"/>
              <a:gd name="T26" fmla="*/ 126 w 300"/>
              <a:gd name="T27" fmla="*/ 54 h 186"/>
              <a:gd name="T28" fmla="*/ 138 w 300"/>
              <a:gd name="T29" fmla="*/ 54 h 186"/>
              <a:gd name="T30" fmla="*/ 150 w 300"/>
              <a:gd name="T31" fmla="*/ 60 h 186"/>
              <a:gd name="T32" fmla="*/ 162 w 300"/>
              <a:gd name="T33" fmla="*/ 36 h 186"/>
              <a:gd name="T34" fmla="*/ 174 w 300"/>
              <a:gd name="T35" fmla="*/ 36 h 186"/>
              <a:gd name="T36" fmla="*/ 192 w 300"/>
              <a:gd name="T37" fmla="*/ 36 h 186"/>
              <a:gd name="T38" fmla="*/ 204 w 300"/>
              <a:gd name="T39" fmla="*/ 36 h 186"/>
              <a:gd name="T40" fmla="*/ 216 w 300"/>
              <a:gd name="T41" fmla="*/ 48 h 186"/>
              <a:gd name="T42" fmla="*/ 216 w 300"/>
              <a:gd name="T43" fmla="*/ 42 h 186"/>
              <a:gd name="T44" fmla="*/ 240 w 300"/>
              <a:gd name="T45" fmla="*/ 24 h 186"/>
              <a:gd name="T46" fmla="*/ 240 w 300"/>
              <a:gd name="T47" fmla="*/ 18 h 186"/>
              <a:gd name="T48" fmla="*/ 246 w 300"/>
              <a:gd name="T49" fmla="*/ 12 h 186"/>
              <a:gd name="T50" fmla="*/ 252 w 300"/>
              <a:gd name="T51" fmla="*/ 6 h 186"/>
              <a:gd name="T52" fmla="*/ 258 w 300"/>
              <a:gd name="T53" fmla="*/ 0 h 186"/>
              <a:gd name="T54" fmla="*/ 276 w 300"/>
              <a:gd name="T55" fmla="*/ 6 h 186"/>
              <a:gd name="T56" fmla="*/ 264 w 300"/>
              <a:gd name="T57" fmla="*/ 18 h 186"/>
              <a:gd name="T58" fmla="*/ 300 w 300"/>
              <a:gd name="T59" fmla="*/ 42 h 186"/>
              <a:gd name="T60" fmla="*/ 294 w 300"/>
              <a:gd name="T61" fmla="*/ 48 h 186"/>
              <a:gd name="T62" fmla="*/ 288 w 300"/>
              <a:gd name="T63" fmla="*/ 54 h 186"/>
              <a:gd name="T64" fmla="*/ 288 w 300"/>
              <a:gd name="T65" fmla="*/ 54 h 186"/>
              <a:gd name="T66" fmla="*/ 276 w 300"/>
              <a:gd name="T67" fmla="*/ 60 h 186"/>
              <a:gd name="T68" fmla="*/ 270 w 300"/>
              <a:gd name="T69" fmla="*/ 66 h 186"/>
              <a:gd name="T70" fmla="*/ 252 w 300"/>
              <a:gd name="T71" fmla="*/ 60 h 186"/>
              <a:gd name="T72" fmla="*/ 234 w 300"/>
              <a:gd name="T73" fmla="*/ 72 h 186"/>
              <a:gd name="T74" fmla="*/ 216 w 300"/>
              <a:gd name="T75" fmla="*/ 78 h 186"/>
              <a:gd name="T76" fmla="*/ 216 w 300"/>
              <a:gd name="T77" fmla="*/ 96 h 186"/>
              <a:gd name="T78" fmla="*/ 186 w 300"/>
              <a:gd name="T79" fmla="*/ 102 h 186"/>
              <a:gd name="T80" fmla="*/ 174 w 300"/>
              <a:gd name="T81" fmla="*/ 132 h 186"/>
              <a:gd name="T82" fmla="*/ 150 w 300"/>
              <a:gd name="T83" fmla="*/ 132 h 186"/>
              <a:gd name="T84" fmla="*/ 138 w 300"/>
              <a:gd name="T85" fmla="*/ 144 h 186"/>
              <a:gd name="T86" fmla="*/ 126 w 300"/>
              <a:gd name="T87" fmla="*/ 168 h 186"/>
              <a:gd name="T88" fmla="*/ 108 w 300"/>
              <a:gd name="T89" fmla="*/ 174 h 186"/>
              <a:gd name="T90" fmla="*/ 102 w 300"/>
              <a:gd name="T91" fmla="*/ 180 h 186"/>
              <a:gd name="T92" fmla="*/ 72 w 300"/>
              <a:gd name="T93" fmla="*/ 180 h 186"/>
              <a:gd name="T94" fmla="*/ 78 w 300"/>
              <a:gd name="T95" fmla="*/ 168 h 186"/>
              <a:gd name="T96" fmla="*/ 84 w 300"/>
              <a:gd name="T97" fmla="*/ 156 h 186"/>
              <a:gd name="T98" fmla="*/ 84 w 300"/>
              <a:gd name="T99" fmla="*/ 150 h 186"/>
              <a:gd name="T100" fmla="*/ 78 w 300"/>
              <a:gd name="T101" fmla="*/ 138 h 186"/>
              <a:gd name="T102" fmla="*/ 72 w 300"/>
              <a:gd name="T103" fmla="*/ 132 h 186"/>
              <a:gd name="T104" fmla="*/ 66 w 300"/>
              <a:gd name="T105" fmla="*/ 120 h 186"/>
              <a:gd name="T106" fmla="*/ 60 w 300"/>
              <a:gd name="T107" fmla="*/ 102 h 186"/>
              <a:gd name="T108" fmla="*/ 48 w 300"/>
              <a:gd name="T109" fmla="*/ 102 h 186"/>
              <a:gd name="T110" fmla="*/ 36 w 300"/>
              <a:gd name="T111" fmla="*/ 96 h 186"/>
              <a:gd name="T112" fmla="*/ 30 w 300"/>
              <a:gd name="T113" fmla="*/ 84 h 186"/>
              <a:gd name="T114" fmla="*/ 18 w 300"/>
              <a:gd name="T115" fmla="*/ 84 h 186"/>
              <a:gd name="T116" fmla="*/ 0 w 300"/>
              <a:gd name="T117" fmla="*/ 84 h 1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00" h="186">
                <a:moveTo>
                  <a:pt x="0" y="84"/>
                </a:moveTo>
                <a:lnTo>
                  <a:pt x="0" y="84"/>
                </a:lnTo>
                <a:lnTo>
                  <a:pt x="6" y="84"/>
                </a:lnTo>
                <a:lnTo>
                  <a:pt x="6" y="78"/>
                </a:lnTo>
                <a:lnTo>
                  <a:pt x="6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8" y="78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6" y="60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60" y="48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6" y="36"/>
                </a:lnTo>
                <a:lnTo>
                  <a:pt x="66" y="36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36"/>
                </a:lnTo>
                <a:lnTo>
                  <a:pt x="96" y="42"/>
                </a:lnTo>
                <a:lnTo>
                  <a:pt x="102" y="36"/>
                </a:lnTo>
                <a:lnTo>
                  <a:pt x="102" y="36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36"/>
                </a:lnTo>
                <a:lnTo>
                  <a:pt x="108" y="42"/>
                </a:lnTo>
                <a:lnTo>
                  <a:pt x="114" y="36"/>
                </a:lnTo>
                <a:lnTo>
                  <a:pt x="114" y="42"/>
                </a:lnTo>
                <a:lnTo>
                  <a:pt x="114" y="36"/>
                </a:lnTo>
                <a:lnTo>
                  <a:pt x="114" y="42"/>
                </a:lnTo>
                <a:lnTo>
                  <a:pt x="114" y="36"/>
                </a:lnTo>
                <a:lnTo>
                  <a:pt x="114" y="36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6" y="42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2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54"/>
                </a:lnTo>
                <a:lnTo>
                  <a:pt x="132" y="54"/>
                </a:lnTo>
                <a:lnTo>
                  <a:pt x="126" y="54"/>
                </a:lnTo>
                <a:lnTo>
                  <a:pt x="132" y="54"/>
                </a:lnTo>
                <a:lnTo>
                  <a:pt x="126" y="54"/>
                </a:lnTo>
                <a:lnTo>
                  <a:pt x="126" y="54"/>
                </a:lnTo>
                <a:lnTo>
                  <a:pt x="132" y="54"/>
                </a:lnTo>
                <a:lnTo>
                  <a:pt x="132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60"/>
                </a:lnTo>
                <a:lnTo>
                  <a:pt x="138" y="60"/>
                </a:lnTo>
                <a:lnTo>
                  <a:pt x="138" y="54"/>
                </a:lnTo>
                <a:lnTo>
                  <a:pt x="138" y="54"/>
                </a:lnTo>
                <a:lnTo>
                  <a:pt x="138" y="60"/>
                </a:lnTo>
                <a:lnTo>
                  <a:pt x="138" y="60"/>
                </a:lnTo>
                <a:lnTo>
                  <a:pt x="138" y="60"/>
                </a:lnTo>
                <a:lnTo>
                  <a:pt x="138" y="54"/>
                </a:lnTo>
                <a:lnTo>
                  <a:pt x="144" y="54"/>
                </a:lnTo>
                <a:lnTo>
                  <a:pt x="144" y="60"/>
                </a:lnTo>
                <a:lnTo>
                  <a:pt x="144" y="60"/>
                </a:lnTo>
                <a:lnTo>
                  <a:pt x="144" y="60"/>
                </a:lnTo>
                <a:lnTo>
                  <a:pt x="150" y="54"/>
                </a:lnTo>
                <a:lnTo>
                  <a:pt x="150" y="60"/>
                </a:lnTo>
                <a:lnTo>
                  <a:pt x="150" y="54"/>
                </a:lnTo>
                <a:lnTo>
                  <a:pt x="150" y="54"/>
                </a:lnTo>
                <a:lnTo>
                  <a:pt x="150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42"/>
                </a:lnTo>
                <a:lnTo>
                  <a:pt x="162" y="42"/>
                </a:lnTo>
                <a:lnTo>
                  <a:pt x="168" y="42"/>
                </a:lnTo>
                <a:lnTo>
                  <a:pt x="168" y="36"/>
                </a:lnTo>
                <a:lnTo>
                  <a:pt x="168" y="36"/>
                </a:lnTo>
                <a:lnTo>
                  <a:pt x="174" y="42"/>
                </a:lnTo>
                <a:lnTo>
                  <a:pt x="174" y="42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80" y="42"/>
                </a:lnTo>
                <a:lnTo>
                  <a:pt x="186" y="36"/>
                </a:lnTo>
                <a:lnTo>
                  <a:pt x="186" y="42"/>
                </a:lnTo>
                <a:lnTo>
                  <a:pt x="192" y="42"/>
                </a:lnTo>
                <a:lnTo>
                  <a:pt x="192" y="36"/>
                </a:lnTo>
                <a:lnTo>
                  <a:pt x="192" y="36"/>
                </a:lnTo>
                <a:lnTo>
                  <a:pt x="192" y="36"/>
                </a:lnTo>
                <a:lnTo>
                  <a:pt x="192" y="36"/>
                </a:lnTo>
                <a:lnTo>
                  <a:pt x="198" y="36"/>
                </a:lnTo>
                <a:lnTo>
                  <a:pt x="198" y="36"/>
                </a:lnTo>
                <a:lnTo>
                  <a:pt x="198" y="36"/>
                </a:lnTo>
                <a:lnTo>
                  <a:pt x="204" y="36"/>
                </a:lnTo>
                <a:lnTo>
                  <a:pt x="204" y="36"/>
                </a:lnTo>
                <a:lnTo>
                  <a:pt x="204" y="36"/>
                </a:lnTo>
                <a:lnTo>
                  <a:pt x="204" y="36"/>
                </a:lnTo>
                <a:lnTo>
                  <a:pt x="204" y="36"/>
                </a:lnTo>
                <a:lnTo>
                  <a:pt x="204" y="36"/>
                </a:lnTo>
                <a:lnTo>
                  <a:pt x="210" y="36"/>
                </a:lnTo>
                <a:lnTo>
                  <a:pt x="210" y="36"/>
                </a:lnTo>
                <a:lnTo>
                  <a:pt x="210" y="42"/>
                </a:lnTo>
                <a:lnTo>
                  <a:pt x="210" y="42"/>
                </a:lnTo>
                <a:lnTo>
                  <a:pt x="210" y="42"/>
                </a:lnTo>
                <a:lnTo>
                  <a:pt x="210" y="42"/>
                </a:lnTo>
                <a:lnTo>
                  <a:pt x="210" y="42"/>
                </a:lnTo>
                <a:lnTo>
                  <a:pt x="216" y="42"/>
                </a:lnTo>
                <a:lnTo>
                  <a:pt x="210" y="42"/>
                </a:lnTo>
                <a:lnTo>
                  <a:pt x="216" y="48"/>
                </a:lnTo>
                <a:lnTo>
                  <a:pt x="216" y="48"/>
                </a:lnTo>
                <a:lnTo>
                  <a:pt x="216" y="48"/>
                </a:lnTo>
                <a:lnTo>
                  <a:pt x="216" y="48"/>
                </a:lnTo>
                <a:lnTo>
                  <a:pt x="216" y="48"/>
                </a:lnTo>
                <a:lnTo>
                  <a:pt x="216" y="48"/>
                </a:lnTo>
                <a:lnTo>
                  <a:pt x="216" y="48"/>
                </a:lnTo>
                <a:lnTo>
                  <a:pt x="222" y="48"/>
                </a:lnTo>
                <a:lnTo>
                  <a:pt x="216" y="42"/>
                </a:lnTo>
                <a:lnTo>
                  <a:pt x="216" y="42"/>
                </a:lnTo>
                <a:lnTo>
                  <a:pt x="216" y="42"/>
                </a:lnTo>
                <a:lnTo>
                  <a:pt x="216" y="42"/>
                </a:lnTo>
                <a:lnTo>
                  <a:pt x="216" y="42"/>
                </a:lnTo>
                <a:lnTo>
                  <a:pt x="216" y="36"/>
                </a:lnTo>
                <a:lnTo>
                  <a:pt x="216" y="36"/>
                </a:lnTo>
                <a:lnTo>
                  <a:pt x="234" y="24"/>
                </a:lnTo>
                <a:lnTo>
                  <a:pt x="234" y="24"/>
                </a:lnTo>
                <a:lnTo>
                  <a:pt x="234" y="24"/>
                </a:lnTo>
                <a:lnTo>
                  <a:pt x="234" y="24"/>
                </a:lnTo>
                <a:lnTo>
                  <a:pt x="240" y="24"/>
                </a:lnTo>
                <a:lnTo>
                  <a:pt x="240" y="24"/>
                </a:lnTo>
                <a:lnTo>
                  <a:pt x="240" y="24"/>
                </a:lnTo>
                <a:lnTo>
                  <a:pt x="240" y="24"/>
                </a:lnTo>
                <a:lnTo>
                  <a:pt x="240" y="24"/>
                </a:lnTo>
                <a:lnTo>
                  <a:pt x="240" y="24"/>
                </a:lnTo>
                <a:lnTo>
                  <a:pt x="240" y="24"/>
                </a:lnTo>
                <a:lnTo>
                  <a:pt x="246" y="24"/>
                </a:lnTo>
                <a:lnTo>
                  <a:pt x="246" y="24"/>
                </a:lnTo>
                <a:lnTo>
                  <a:pt x="246" y="24"/>
                </a:lnTo>
                <a:lnTo>
                  <a:pt x="246" y="18"/>
                </a:lnTo>
                <a:lnTo>
                  <a:pt x="240" y="18"/>
                </a:lnTo>
                <a:lnTo>
                  <a:pt x="240" y="18"/>
                </a:lnTo>
                <a:lnTo>
                  <a:pt x="240" y="18"/>
                </a:lnTo>
                <a:lnTo>
                  <a:pt x="240" y="18"/>
                </a:lnTo>
                <a:lnTo>
                  <a:pt x="240" y="18"/>
                </a:lnTo>
                <a:lnTo>
                  <a:pt x="240" y="18"/>
                </a:lnTo>
                <a:lnTo>
                  <a:pt x="240" y="18"/>
                </a:lnTo>
                <a:lnTo>
                  <a:pt x="234" y="18"/>
                </a:lnTo>
                <a:lnTo>
                  <a:pt x="234" y="18"/>
                </a:lnTo>
                <a:lnTo>
                  <a:pt x="240" y="12"/>
                </a:lnTo>
                <a:lnTo>
                  <a:pt x="246" y="12"/>
                </a:lnTo>
                <a:lnTo>
                  <a:pt x="246" y="12"/>
                </a:lnTo>
                <a:lnTo>
                  <a:pt x="246" y="12"/>
                </a:lnTo>
                <a:lnTo>
                  <a:pt x="252" y="12"/>
                </a:lnTo>
                <a:lnTo>
                  <a:pt x="252" y="12"/>
                </a:lnTo>
                <a:lnTo>
                  <a:pt x="252" y="12"/>
                </a:lnTo>
                <a:lnTo>
                  <a:pt x="252" y="12"/>
                </a:lnTo>
                <a:lnTo>
                  <a:pt x="252" y="6"/>
                </a:lnTo>
                <a:lnTo>
                  <a:pt x="252" y="6"/>
                </a:lnTo>
                <a:lnTo>
                  <a:pt x="252" y="6"/>
                </a:lnTo>
                <a:lnTo>
                  <a:pt x="252" y="6"/>
                </a:lnTo>
                <a:lnTo>
                  <a:pt x="252" y="6"/>
                </a:lnTo>
                <a:lnTo>
                  <a:pt x="252" y="6"/>
                </a:lnTo>
                <a:lnTo>
                  <a:pt x="252" y="6"/>
                </a:lnTo>
                <a:lnTo>
                  <a:pt x="252" y="6"/>
                </a:lnTo>
                <a:lnTo>
                  <a:pt x="252" y="0"/>
                </a:lnTo>
                <a:lnTo>
                  <a:pt x="252" y="0"/>
                </a:lnTo>
                <a:lnTo>
                  <a:pt x="252" y="0"/>
                </a:lnTo>
                <a:lnTo>
                  <a:pt x="258" y="0"/>
                </a:lnTo>
                <a:lnTo>
                  <a:pt x="258" y="0"/>
                </a:lnTo>
                <a:lnTo>
                  <a:pt x="258" y="0"/>
                </a:lnTo>
                <a:lnTo>
                  <a:pt x="264" y="0"/>
                </a:lnTo>
                <a:lnTo>
                  <a:pt x="264" y="0"/>
                </a:lnTo>
                <a:lnTo>
                  <a:pt x="264" y="0"/>
                </a:lnTo>
                <a:lnTo>
                  <a:pt x="264" y="0"/>
                </a:lnTo>
                <a:lnTo>
                  <a:pt x="264" y="0"/>
                </a:lnTo>
                <a:lnTo>
                  <a:pt x="270" y="0"/>
                </a:lnTo>
                <a:lnTo>
                  <a:pt x="270" y="0"/>
                </a:lnTo>
                <a:lnTo>
                  <a:pt x="276" y="0"/>
                </a:lnTo>
                <a:lnTo>
                  <a:pt x="276" y="6"/>
                </a:lnTo>
                <a:lnTo>
                  <a:pt x="276" y="6"/>
                </a:lnTo>
                <a:lnTo>
                  <a:pt x="270" y="6"/>
                </a:lnTo>
                <a:lnTo>
                  <a:pt x="270" y="6"/>
                </a:lnTo>
                <a:lnTo>
                  <a:pt x="270" y="6"/>
                </a:lnTo>
                <a:lnTo>
                  <a:pt x="270" y="6"/>
                </a:lnTo>
                <a:lnTo>
                  <a:pt x="270" y="12"/>
                </a:lnTo>
                <a:lnTo>
                  <a:pt x="264" y="12"/>
                </a:lnTo>
                <a:lnTo>
                  <a:pt x="264" y="12"/>
                </a:lnTo>
                <a:lnTo>
                  <a:pt x="264" y="12"/>
                </a:lnTo>
                <a:lnTo>
                  <a:pt x="264" y="18"/>
                </a:lnTo>
                <a:lnTo>
                  <a:pt x="264" y="18"/>
                </a:lnTo>
                <a:lnTo>
                  <a:pt x="264" y="18"/>
                </a:lnTo>
                <a:lnTo>
                  <a:pt x="270" y="18"/>
                </a:lnTo>
                <a:lnTo>
                  <a:pt x="270" y="18"/>
                </a:lnTo>
                <a:lnTo>
                  <a:pt x="276" y="18"/>
                </a:lnTo>
                <a:lnTo>
                  <a:pt x="276" y="18"/>
                </a:lnTo>
                <a:lnTo>
                  <a:pt x="282" y="24"/>
                </a:lnTo>
                <a:lnTo>
                  <a:pt x="300" y="42"/>
                </a:lnTo>
                <a:lnTo>
                  <a:pt x="300" y="42"/>
                </a:lnTo>
                <a:lnTo>
                  <a:pt x="300" y="42"/>
                </a:lnTo>
                <a:lnTo>
                  <a:pt x="300" y="42"/>
                </a:lnTo>
                <a:lnTo>
                  <a:pt x="294" y="42"/>
                </a:lnTo>
                <a:lnTo>
                  <a:pt x="300" y="42"/>
                </a:lnTo>
                <a:lnTo>
                  <a:pt x="294" y="42"/>
                </a:lnTo>
                <a:lnTo>
                  <a:pt x="300" y="42"/>
                </a:lnTo>
                <a:lnTo>
                  <a:pt x="294" y="48"/>
                </a:lnTo>
                <a:lnTo>
                  <a:pt x="294" y="48"/>
                </a:lnTo>
                <a:lnTo>
                  <a:pt x="294" y="48"/>
                </a:lnTo>
                <a:lnTo>
                  <a:pt x="294" y="48"/>
                </a:lnTo>
                <a:lnTo>
                  <a:pt x="294" y="48"/>
                </a:lnTo>
                <a:lnTo>
                  <a:pt x="294" y="48"/>
                </a:lnTo>
                <a:lnTo>
                  <a:pt x="294" y="48"/>
                </a:lnTo>
                <a:lnTo>
                  <a:pt x="294" y="48"/>
                </a:lnTo>
                <a:lnTo>
                  <a:pt x="294" y="48"/>
                </a:lnTo>
                <a:lnTo>
                  <a:pt x="294" y="48"/>
                </a:lnTo>
                <a:lnTo>
                  <a:pt x="294" y="48"/>
                </a:lnTo>
                <a:lnTo>
                  <a:pt x="294" y="54"/>
                </a:lnTo>
                <a:lnTo>
                  <a:pt x="294" y="54"/>
                </a:lnTo>
                <a:lnTo>
                  <a:pt x="294" y="54"/>
                </a:lnTo>
                <a:lnTo>
                  <a:pt x="288" y="54"/>
                </a:lnTo>
                <a:lnTo>
                  <a:pt x="288" y="54"/>
                </a:lnTo>
                <a:lnTo>
                  <a:pt x="294" y="54"/>
                </a:lnTo>
                <a:lnTo>
                  <a:pt x="288" y="54"/>
                </a:lnTo>
                <a:lnTo>
                  <a:pt x="288" y="54"/>
                </a:lnTo>
                <a:lnTo>
                  <a:pt x="288" y="54"/>
                </a:lnTo>
                <a:lnTo>
                  <a:pt x="288" y="54"/>
                </a:lnTo>
                <a:lnTo>
                  <a:pt x="288" y="60"/>
                </a:lnTo>
                <a:lnTo>
                  <a:pt x="288" y="60"/>
                </a:lnTo>
                <a:lnTo>
                  <a:pt x="288" y="60"/>
                </a:lnTo>
                <a:lnTo>
                  <a:pt x="288" y="60"/>
                </a:lnTo>
                <a:lnTo>
                  <a:pt x="288" y="54"/>
                </a:lnTo>
                <a:lnTo>
                  <a:pt x="282" y="54"/>
                </a:lnTo>
                <a:lnTo>
                  <a:pt x="282" y="54"/>
                </a:lnTo>
                <a:lnTo>
                  <a:pt x="282" y="60"/>
                </a:lnTo>
                <a:lnTo>
                  <a:pt x="282" y="60"/>
                </a:lnTo>
                <a:lnTo>
                  <a:pt x="282" y="60"/>
                </a:lnTo>
                <a:lnTo>
                  <a:pt x="282" y="60"/>
                </a:lnTo>
                <a:lnTo>
                  <a:pt x="282" y="60"/>
                </a:lnTo>
                <a:lnTo>
                  <a:pt x="276" y="60"/>
                </a:lnTo>
                <a:lnTo>
                  <a:pt x="276" y="60"/>
                </a:lnTo>
                <a:lnTo>
                  <a:pt x="276" y="60"/>
                </a:lnTo>
                <a:lnTo>
                  <a:pt x="276" y="60"/>
                </a:lnTo>
                <a:lnTo>
                  <a:pt x="276" y="60"/>
                </a:lnTo>
                <a:lnTo>
                  <a:pt x="276" y="60"/>
                </a:lnTo>
                <a:lnTo>
                  <a:pt x="276" y="60"/>
                </a:lnTo>
                <a:lnTo>
                  <a:pt x="270" y="66"/>
                </a:lnTo>
                <a:lnTo>
                  <a:pt x="270" y="66"/>
                </a:lnTo>
                <a:lnTo>
                  <a:pt x="270" y="66"/>
                </a:lnTo>
                <a:lnTo>
                  <a:pt x="270" y="66"/>
                </a:lnTo>
                <a:lnTo>
                  <a:pt x="270" y="66"/>
                </a:lnTo>
                <a:lnTo>
                  <a:pt x="270" y="66"/>
                </a:lnTo>
                <a:lnTo>
                  <a:pt x="270" y="66"/>
                </a:lnTo>
                <a:lnTo>
                  <a:pt x="264" y="66"/>
                </a:lnTo>
                <a:lnTo>
                  <a:pt x="264" y="66"/>
                </a:lnTo>
                <a:lnTo>
                  <a:pt x="258" y="66"/>
                </a:lnTo>
                <a:lnTo>
                  <a:pt x="258" y="60"/>
                </a:lnTo>
                <a:lnTo>
                  <a:pt x="258" y="60"/>
                </a:lnTo>
                <a:lnTo>
                  <a:pt x="258" y="60"/>
                </a:lnTo>
                <a:lnTo>
                  <a:pt x="258" y="60"/>
                </a:lnTo>
                <a:lnTo>
                  <a:pt x="258" y="60"/>
                </a:lnTo>
                <a:lnTo>
                  <a:pt x="252" y="60"/>
                </a:lnTo>
                <a:lnTo>
                  <a:pt x="252" y="60"/>
                </a:lnTo>
                <a:lnTo>
                  <a:pt x="252" y="66"/>
                </a:lnTo>
                <a:lnTo>
                  <a:pt x="246" y="66"/>
                </a:lnTo>
                <a:lnTo>
                  <a:pt x="246" y="66"/>
                </a:lnTo>
                <a:lnTo>
                  <a:pt x="246" y="66"/>
                </a:lnTo>
                <a:lnTo>
                  <a:pt x="246" y="66"/>
                </a:lnTo>
                <a:lnTo>
                  <a:pt x="246" y="66"/>
                </a:lnTo>
                <a:lnTo>
                  <a:pt x="240" y="72"/>
                </a:lnTo>
                <a:lnTo>
                  <a:pt x="240" y="72"/>
                </a:lnTo>
                <a:lnTo>
                  <a:pt x="234" y="72"/>
                </a:lnTo>
                <a:lnTo>
                  <a:pt x="234" y="72"/>
                </a:lnTo>
                <a:lnTo>
                  <a:pt x="234" y="72"/>
                </a:lnTo>
                <a:lnTo>
                  <a:pt x="234" y="72"/>
                </a:lnTo>
                <a:lnTo>
                  <a:pt x="228" y="78"/>
                </a:lnTo>
                <a:lnTo>
                  <a:pt x="222" y="78"/>
                </a:lnTo>
                <a:lnTo>
                  <a:pt x="222" y="78"/>
                </a:lnTo>
                <a:lnTo>
                  <a:pt x="222" y="78"/>
                </a:lnTo>
                <a:lnTo>
                  <a:pt x="222" y="78"/>
                </a:lnTo>
                <a:lnTo>
                  <a:pt x="216" y="78"/>
                </a:lnTo>
                <a:lnTo>
                  <a:pt x="216" y="78"/>
                </a:lnTo>
                <a:lnTo>
                  <a:pt x="216" y="84"/>
                </a:lnTo>
                <a:lnTo>
                  <a:pt x="216" y="90"/>
                </a:lnTo>
                <a:lnTo>
                  <a:pt x="216" y="90"/>
                </a:lnTo>
                <a:lnTo>
                  <a:pt x="216" y="90"/>
                </a:lnTo>
                <a:lnTo>
                  <a:pt x="216" y="90"/>
                </a:lnTo>
                <a:lnTo>
                  <a:pt x="216" y="96"/>
                </a:lnTo>
                <a:lnTo>
                  <a:pt x="216" y="96"/>
                </a:lnTo>
                <a:lnTo>
                  <a:pt x="216" y="96"/>
                </a:lnTo>
                <a:lnTo>
                  <a:pt x="216" y="96"/>
                </a:lnTo>
                <a:lnTo>
                  <a:pt x="216" y="96"/>
                </a:lnTo>
                <a:lnTo>
                  <a:pt x="210" y="96"/>
                </a:lnTo>
                <a:lnTo>
                  <a:pt x="204" y="96"/>
                </a:lnTo>
                <a:lnTo>
                  <a:pt x="204" y="96"/>
                </a:lnTo>
                <a:lnTo>
                  <a:pt x="198" y="96"/>
                </a:lnTo>
                <a:lnTo>
                  <a:pt x="192" y="96"/>
                </a:lnTo>
                <a:lnTo>
                  <a:pt x="192" y="102"/>
                </a:lnTo>
                <a:lnTo>
                  <a:pt x="192" y="102"/>
                </a:lnTo>
                <a:lnTo>
                  <a:pt x="186" y="102"/>
                </a:lnTo>
                <a:lnTo>
                  <a:pt x="186" y="102"/>
                </a:lnTo>
                <a:lnTo>
                  <a:pt x="186" y="102"/>
                </a:lnTo>
                <a:lnTo>
                  <a:pt x="186" y="102"/>
                </a:lnTo>
                <a:lnTo>
                  <a:pt x="192" y="108"/>
                </a:lnTo>
                <a:lnTo>
                  <a:pt x="192" y="114"/>
                </a:lnTo>
                <a:lnTo>
                  <a:pt x="192" y="120"/>
                </a:lnTo>
                <a:lnTo>
                  <a:pt x="186" y="120"/>
                </a:lnTo>
                <a:lnTo>
                  <a:pt x="186" y="120"/>
                </a:lnTo>
                <a:lnTo>
                  <a:pt x="186" y="120"/>
                </a:lnTo>
                <a:lnTo>
                  <a:pt x="180" y="126"/>
                </a:lnTo>
                <a:lnTo>
                  <a:pt x="180" y="126"/>
                </a:lnTo>
                <a:lnTo>
                  <a:pt x="174" y="132"/>
                </a:lnTo>
                <a:lnTo>
                  <a:pt x="174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32"/>
                </a:lnTo>
                <a:lnTo>
                  <a:pt x="162" y="132"/>
                </a:lnTo>
                <a:lnTo>
                  <a:pt x="156" y="138"/>
                </a:lnTo>
                <a:lnTo>
                  <a:pt x="156" y="138"/>
                </a:lnTo>
                <a:lnTo>
                  <a:pt x="156" y="138"/>
                </a:lnTo>
                <a:lnTo>
                  <a:pt x="150" y="132"/>
                </a:lnTo>
                <a:lnTo>
                  <a:pt x="150" y="132"/>
                </a:lnTo>
                <a:lnTo>
                  <a:pt x="150" y="132"/>
                </a:lnTo>
                <a:lnTo>
                  <a:pt x="150" y="132"/>
                </a:lnTo>
                <a:lnTo>
                  <a:pt x="150" y="132"/>
                </a:lnTo>
                <a:lnTo>
                  <a:pt x="144" y="126"/>
                </a:lnTo>
                <a:lnTo>
                  <a:pt x="144" y="126"/>
                </a:lnTo>
                <a:lnTo>
                  <a:pt x="144" y="132"/>
                </a:lnTo>
                <a:lnTo>
                  <a:pt x="144" y="132"/>
                </a:lnTo>
                <a:lnTo>
                  <a:pt x="138" y="132"/>
                </a:lnTo>
                <a:lnTo>
                  <a:pt x="138" y="138"/>
                </a:lnTo>
                <a:lnTo>
                  <a:pt x="138" y="144"/>
                </a:lnTo>
                <a:lnTo>
                  <a:pt x="138" y="144"/>
                </a:lnTo>
                <a:lnTo>
                  <a:pt x="138" y="150"/>
                </a:lnTo>
                <a:lnTo>
                  <a:pt x="138" y="156"/>
                </a:lnTo>
                <a:lnTo>
                  <a:pt x="132" y="156"/>
                </a:lnTo>
                <a:lnTo>
                  <a:pt x="132" y="162"/>
                </a:lnTo>
                <a:lnTo>
                  <a:pt x="132" y="162"/>
                </a:lnTo>
                <a:lnTo>
                  <a:pt x="132" y="162"/>
                </a:lnTo>
                <a:lnTo>
                  <a:pt x="132" y="168"/>
                </a:lnTo>
                <a:lnTo>
                  <a:pt x="126" y="168"/>
                </a:lnTo>
                <a:lnTo>
                  <a:pt x="126" y="168"/>
                </a:lnTo>
                <a:lnTo>
                  <a:pt x="126" y="168"/>
                </a:lnTo>
                <a:lnTo>
                  <a:pt x="120" y="168"/>
                </a:lnTo>
                <a:lnTo>
                  <a:pt x="120" y="168"/>
                </a:lnTo>
                <a:lnTo>
                  <a:pt x="120" y="168"/>
                </a:lnTo>
                <a:lnTo>
                  <a:pt x="114" y="174"/>
                </a:lnTo>
                <a:lnTo>
                  <a:pt x="114" y="174"/>
                </a:lnTo>
                <a:lnTo>
                  <a:pt x="114" y="174"/>
                </a:lnTo>
                <a:lnTo>
                  <a:pt x="114" y="174"/>
                </a:lnTo>
                <a:lnTo>
                  <a:pt x="108" y="174"/>
                </a:lnTo>
                <a:lnTo>
                  <a:pt x="108" y="174"/>
                </a:lnTo>
                <a:lnTo>
                  <a:pt x="108" y="174"/>
                </a:lnTo>
                <a:lnTo>
                  <a:pt x="108" y="174"/>
                </a:lnTo>
                <a:lnTo>
                  <a:pt x="108" y="174"/>
                </a:lnTo>
                <a:lnTo>
                  <a:pt x="108" y="174"/>
                </a:lnTo>
                <a:lnTo>
                  <a:pt x="108" y="174"/>
                </a:lnTo>
                <a:lnTo>
                  <a:pt x="102" y="180"/>
                </a:lnTo>
                <a:lnTo>
                  <a:pt x="102" y="180"/>
                </a:lnTo>
                <a:lnTo>
                  <a:pt x="102" y="180"/>
                </a:lnTo>
                <a:lnTo>
                  <a:pt x="102" y="180"/>
                </a:lnTo>
                <a:lnTo>
                  <a:pt x="102" y="180"/>
                </a:lnTo>
                <a:lnTo>
                  <a:pt x="102" y="180"/>
                </a:lnTo>
                <a:lnTo>
                  <a:pt x="102" y="180"/>
                </a:lnTo>
                <a:lnTo>
                  <a:pt x="96" y="180"/>
                </a:lnTo>
                <a:lnTo>
                  <a:pt x="96" y="186"/>
                </a:lnTo>
                <a:lnTo>
                  <a:pt x="90" y="186"/>
                </a:lnTo>
                <a:lnTo>
                  <a:pt x="84" y="180"/>
                </a:lnTo>
                <a:lnTo>
                  <a:pt x="84" y="180"/>
                </a:lnTo>
                <a:lnTo>
                  <a:pt x="84" y="180"/>
                </a:lnTo>
                <a:lnTo>
                  <a:pt x="78" y="180"/>
                </a:lnTo>
                <a:lnTo>
                  <a:pt x="72" y="180"/>
                </a:lnTo>
                <a:lnTo>
                  <a:pt x="78" y="180"/>
                </a:lnTo>
                <a:lnTo>
                  <a:pt x="78" y="180"/>
                </a:lnTo>
                <a:lnTo>
                  <a:pt x="78" y="174"/>
                </a:lnTo>
                <a:lnTo>
                  <a:pt x="78" y="174"/>
                </a:lnTo>
                <a:lnTo>
                  <a:pt x="78" y="174"/>
                </a:lnTo>
                <a:lnTo>
                  <a:pt x="78" y="174"/>
                </a:lnTo>
                <a:lnTo>
                  <a:pt x="78" y="174"/>
                </a:lnTo>
                <a:lnTo>
                  <a:pt x="78" y="168"/>
                </a:lnTo>
                <a:lnTo>
                  <a:pt x="78" y="168"/>
                </a:lnTo>
                <a:lnTo>
                  <a:pt x="78" y="168"/>
                </a:lnTo>
                <a:lnTo>
                  <a:pt x="78" y="168"/>
                </a:lnTo>
                <a:lnTo>
                  <a:pt x="78" y="162"/>
                </a:lnTo>
                <a:lnTo>
                  <a:pt x="78" y="162"/>
                </a:lnTo>
                <a:lnTo>
                  <a:pt x="78" y="162"/>
                </a:lnTo>
                <a:lnTo>
                  <a:pt x="78" y="162"/>
                </a:lnTo>
                <a:lnTo>
                  <a:pt x="84" y="162"/>
                </a:lnTo>
                <a:lnTo>
                  <a:pt x="84" y="162"/>
                </a:lnTo>
                <a:lnTo>
                  <a:pt x="84" y="162"/>
                </a:lnTo>
                <a:lnTo>
                  <a:pt x="84" y="156"/>
                </a:lnTo>
                <a:lnTo>
                  <a:pt x="84" y="156"/>
                </a:lnTo>
                <a:lnTo>
                  <a:pt x="84" y="156"/>
                </a:lnTo>
                <a:lnTo>
                  <a:pt x="84" y="156"/>
                </a:lnTo>
                <a:lnTo>
                  <a:pt x="84" y="156"/>
                </a:lnTo>
                <a:lnTo>
                  <a:pt x="84" y="156"/>
                </a:lnTo>
                <a:lnTo>
                  <a:pt x="84" y="156"/>
                </a:lnTo>
                <a:lnTo>
                  <a:pt x="84" y="156"/>
                </a:lnTo>
                <a:lnTo>
                  <a:pt x="84" y="150"/>
                </a:lnTo>
                <a:lnTo>
                  <a:pt x="84" y="150"/>
                </a:lnTo>
                <a:lnTo>
                  <a:pt x="84" y="150"/>
                </a:lnTo>
                <a:lnTo>
                  <a:pt x="84" y="150"/>
                </a:lnTo>
                <a:lnTo>
                  <a:pt x="90" y="144"/>
                </a:lnTo>
                <a:lnTo>
                  <a:pt x="90" y="144"/>
                </a:lnTo>
                <a:lnTo>
                  <a:pt x="90" y="144"/>
                </a:lnTo>
                <a:lnTo>
                  <a:pt x="90" y="144"/>
                </a:lnTo>
                <a:lnTo>
                  <a:pt x="90" y="144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2" y="132"/>
                </a:lnTo>
                <a:lnTo>
                  <a:pt x="72" y="132"/>
                </a:lnTo>
                <a:lnTo>
                  <a:pt x="72" y="138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66" y="132"/>
                </a:lnTo>
                <a:lnTo>
                  <a:pt x="66" y="132"/>
                </a:lnTo>
                <a:lnTo>
                  <a:pt x="66" y="132"/>
                </a:lnTo>
                <a:lnTo>
                  <a:pt x="66" y="126"/>
                </a:lnTo>
                <a:lnTo>
                  <a:pt x="66" y="126"/>
                </a:lnTo>
                <a:lnTo>
                  <a:pt x="66" y="126"/>
                </a:lnTo>
                <a:lnTo>
                  <a:pt x="66" y="126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14"/>
                </a:lnTo>
                <a:lnTo>
                  <a:pt x="66" y="114"/>
                </a:lnTo>
                <a:lnTo>
                  <a:pt x="60" y="114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96"/>
                </a:lnTo>
                <a:lnTo>
                  <a:pt x="48" y="102"/>
                </a:lnTo>
                <a:lnTo>
                  <a:pt x="48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0" y="96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6" y="90"/>
                </a:lnTo>
                <a:lnTo>
                  <a:pt x="6" y="90"/>
                </a:lnTo>
                <a:lnTo>
                  <a:pt x="6" y="84"/>
                </a:lnTo>
                <a:lnTo>
                  <a:pt x="0" y="84"/>
                </a:lnTo>
                <a:lnTo>
                  <a:pt x="0" y="8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42" name="Freeform 175"/>
          <p:cNvSpPr>
            <a:spLocks/>
          </p:cNvSpPr>
          <p:nvPr/>
        </p:nvSpPr>
        <p:spPr bwMode="auto">
          <a:xfrm>
            <a:off x="8624892" y="2246320"/>
            <a:ext cx="102785" cy="83513"/>
          </a:xfrm>
          <a:custGeom>
            <a:avLst/>
            <a:gdLst>
              <a:gd name="T0" fmla="*/ 6 w 96"/>
              <a:gd name="T1" fmla="*/ 36 h 78"/>
              <a:gd name="T2" fmla="*/ 18 w 96"/>
              <a:gd name="T3" fmla="*/ 30 h 78"/>
              <a:gd name="T4" fmla="*/ 24 w 96"/>
              <a:gd name="T5" fmla="*/ 24 h 78"/>
              <a:gd name="T6" fmla="*/ 24 w 96"/>
              <a:gd name="T7" fmla="*/ 24 h 78"/>
              <a:gd name="T8" fmla="*/ 30 w 96"/>
              <a:gd name="T9" fmla="*/ 24 h 78"/>
              <a:gd name="T10" fmla="*/ 36 w 96"/>
              <a:gd name="T11" fmla="*/ 18 h 78"/>
              <a:gd name="T12" fmla="*/ 36 w 96"/>
              <a:gd name="T13" fmla="*/ 24 h 78"/>
              <a:gd name="T14" fmla="*/ 42 w 96"/>
              <a:gd name="T15" fmla="*/ 18 h 78"/>
              <a:gd name="T16" fmla="*/ 42 w 96"/>
              <a:gd name="T17" fmla="*/ 24 h 78"/>
              <a:gd name="T18" fmla="*/ 48 w 96"/>
              <a:gd name="T19" fmla="*/ 24 h 78"/>
              <a:gd name="T20" fmla="*/ 54 w 96"/>
              <a:gd name="T21" fmla="*/ 24 h 78"/>
              <a:gd name="T22" fmla="*/ 54 w 96"/>
              <a:gd name="T23" fmla="*/ 24 h 78"/>
              <a:gd name="T24" fmla="*/ 60 w 96"/>
              <a:gd name="T25" fmla="*/ 24 h 78"/>
              <a:gd name="T26" fmla="*/ 60 w 96"/>
              <a:gd name="T27" fmla="*/ 18 h 78"/>
              <a:gd name="T28" fmla="*/ 66 w 96"/>
              <a:gd name="T29" fmla="*/ 18 h 78"/>
              <a:gd name="T30" fmla="*/ 66 w 96"/>
              <a:gd name="T31" fmla="*/ 12 h 78"/>
              <a:gd name="T32" fmla="*/ 72 w 96"/>
              <a:gd name="T33" fmla="*/ 6 h 78"/>
              <a:gd name="T34" fmla="*/ 72 w 96"/>
              <a:gd name="T35" fmla="*/ 0 h 78"/>
              <a:gd name="T36" fmla="*/ 84 w 96"/>
              <a:gd name="T37" fmla="*/ 0 h 78"/>
              <a:gd name="T38" fmla="*/ 90 w 96"/>
              <a:gd name="T39" fmla="*/ 18 h 78"/>
              <a:gd name="T40" fmla="*/ 96 w 96"/>
              <a:gd name="T41" fmla="*/ 24 h 78"/>
              <a:gd name="T42" fmla="*/ 90 w 96"/>
              <a:gd name="T43" fmla="*/ 24 h 78"/>
              <a:gd name="T44" fmla="*/ 90 w 96"/>
              <a:gd name="T45" fmla="*/ 30 h 78"/>
              <a:gd name="T46" fmla="*/ 96 w 96"/>
              <a:gd name="T47" fmla="*/ 30 h 78"/>
              <a:gd name="T48" fmla="*/ 96 w 96"/>
              <a:gd name="T49" fmla="*/ 30 h 78"/>
              <a:gd name="T50" fmla="*/ 96 w 96"/>
              <a:gd name="T51" fmla="*/ 36 h 78"/>
              <a:gd name="T52" fmla="*/ 90 w 96"/>
              <a:gd name="T53" fmla="*/ 36 h 78"/>
              <a:gd name="T54" fmla="*/ 90 w 96"/>
              <a:gd name="T55" fmla="*/ 42 h 78"/>
              <a:gd name="T56" fmla="*/ 84 w 96"/>
              <a:gd name="T57" fmla="*/ 48 h 78"/>
              <a:gd name="T58" fmla="*/ 78 w 96"/>
              <a:gd name="T59" fmla="*/ 42 h 78"/>
              <a:gd name="T60" fmla="*/ 78 w 96"/>
              <a:gd name="T61" fmla="*/ 48 h 78"/>
              <a:gd name="T62" fmla="*/ 72 w 96"/>
              <a:gd name="T63" fmla="*/ 48 h 78"/>
              <a:gd name="T64" fmla="*/ 72 w 96"/>
              <a:gd name="T65" fmla="*/ 48 h 78"/>
              <a:gd name="T66" fmla="*/ 66 w 96"/>
              <a:gd name="T67" fmla="*/ 54 h 78"/>
              <a:gd name="T68" fmla="*/ 60 w 96"/>
              <a:gd name="T69" fmla="*/ 48 h 78"/>
              <a:gd name="T70" fmla="*/ 60 w 96"/>
              <a:gd name="T71" fmla="*/ 42 h 78"/>
              <a:gd name="T72" fmla="*/ 60 w 96"/>
              <a:gd name="T73" fmla="*/ 42 h 78"/>
              <a:gd name="T74" fmla="*/ 54 w 96"/>
              <a:gd name="T75" fmla="*/ 42 h 78"/>
              <a:gd name="T76" fmla="*/ 54 w 96"/>
              <a:gd name="T77" fmla="*/ 42 h 78"/>
              <a:gd name="T78" fmla="*/ 54 w 96"/>
              <a:gd name="T79" fmla="*/ 48 h 78"/>
              <a:gd name="T80" fmla="*/ 60 w 96"/>
              <a:gd name="T81" fmla="*/ 54 h 78"/>
              <a:gd name="T82" fmla="*/ 60 w 96"/>
              <a:gd name="T83" fmla="*/ 54 h 78"/>
              <a:gd name="T84" fmla="*/ 60 w 96"/>
              <a:gd name="T85" fmla="*/ 54 h 78"/>
              <a:gd name="T86" fmla="*/ 60 w 96"/>
              <a:gd name="T87" fmla="*/ 60 h 78"/>
              <a:gd name="T88" fmla="*/ 60 w 96"/>
              <a:gd name="T89" fmla="*/ 66 h 78"/>
              <a:gd name="T90" fmla="*/ 54 w 96"/>
              <a:gd name="T91" fmla="*/ 72 h 78"/>
              <a:gd name="T92" fmla="*/ 48 w 96"/>
              <a:gd name="T93" fmla="*/ 72 h 78"/>
              <a:gd name="T94" fmla="*/ 48 w 96"/>
              <a:gd name="T95" fmla="*/ 72 h 78"/>
              <a:gd name="T96" fmla="*/ 42 w 96"/>
              <a:gd name="T97" fmla="*/ 72 h 78"/>
              <a:gd name="T98" fmla="*/ 36 w 96"/>
              <a:gd name="T99" fmla="*/ 72 h 78"/>
              <a:gd name="T100" fmla="*/ 30 w 96"/>
              <a:gd name="T101" fmla="*/ 72 h 78"/>
              <a:gd name="T102" fmla="*/ 24 w 96"/>
              <a:gd name="T103" fmla="*/ 72 h 78"/>
              <a:gd name="T104" fmla="*/ 18 w 96"/>
              <a:gd name="T105" fmla="*/ 66 h 78"/>
              <a:gd name="T106" fmla="*/ 12 w 96"/>
              <a:gd name="T107" fmla="*/ 66 h 78"/>
              <a:gd name="T108" fmla="*/ 0 w 96"/>
              <a:gd name="T109" fmla="*/ 48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96" h="78">
                <a:moveTo>
                  <a:pt x="0" y="48"/>
                </a:moveTo>
                <a:lnTo>
                  <a:pt x="0" y="48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24"/>
                </a:lnTo>
                <a:lnTo>
                  <a:pt x="18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6" y="24"/>
                </a:lnTo>
                <a:lnTo>
                  <a:pt x="36" y="24"/>
                </a:lnTo>
                <a:lnTo>
                  <a:pt x="36" y="18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42" y="24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24"/>
                </a:lnTo>
                <a:lnTo>
                  <a:pt x="42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6" y="18"/>
                </a:lnTo>
                <a:lnTo>
                  <a:pt x="66" y="18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72" y="6"/>
                </a:lnTo>
                <a:lnTo>
                  <a:pt x="72" y="6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8" y="0"/>
                </a:lnTo>
                <a:lnTo>
                  <a:pt x="78" y="0"/>
                </a:lnTo>
                <a:lnTo>
                  <a:pt x="84" y="0"/>
                </a:lnTo>
                <a:lnTo>
                  <a:pt x="84" y="6"/>
                </a:lnTo>
                <a:lnTo>
                  <a:pt x="84" y="12"/>
                </a:lnTo>
                <a:lnTo>
                  <a:pt x="84" y="12"/>
                </a:lnTo>
                <a:lnTo>
                  <a:pt x="90" y="18"/>
                </a:lnTo>
                <a:lnTo>
                  <a:pt x="84" y="24"/>
                </a:lnTo>
                <a:lnTo>
                  <a:pt x="96" y="18"/>
                </a:lnTo>
                <a:lnTo>
                  <a:pt x="96" y="18"/>
                </a:lnTo>
                <a:lnTo>
                  <a:pt x="96" y="24"/>
                </a:lnTo>
                <a:lnTo>
                  <a:pt x="96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0" y="36"/>
                </a:lnTo>
                <a:lnTo>
                  <a:pt x="90" y="36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84" y="42"/>
                </a:lnTo>
                <a:lnTo>
                  <a:pt x="84" y="42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2"/>
                </a:lnTo>
                <a:lnTo>
                  <a:pt x="78" y="42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54"/>
                </a:lnTo>
                <a:lnTo>
                  <a:pt x="78" y="54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66" y="48"/>
                </a:lnTo>
                <a:lnTo>
                  <a:pt x="66" y="48"/>
                </a:lnTo>
                <a:lnTo>
                  <a:pt x="66" y="54"/>
                </a:lnTo>
                <a:lnTo>
                  <a:pt x="66" y="48"/>
                </a:lnTo>
                <a:lnTo>
                  <a:pt x="66" y="54"/>
                </a:lnTo>
                <a:lnTo>
                  <a:pt x="66" y="54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2"/>
                </a:lnTo>
                <a:lnTo>
                  <a:pt x="60" y="48"/>
                </a:lnTo>
                <a:lnTo>
                  <a:pt x="60" y="48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60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60" y="48"/>
                </a:lnTo>
                <a:lnTo>
                  <a:pt x="60" y="48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54" y="66"/>
                </a:lnTo>
                <a:lnTo>
                  <a:pt x="54" y="66"/>
                </a:lnTo>
                <a:lnTo>
                  <a:pt x="54" y="72"/>
                </a:lnTo>
                <a:lnTo>
                  <a:pt x="54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36" y="72"/>
                </a:lnTo>
                <a:lnTo>
                  <a:pt x="36" y="78"/>
                </a:lnTo>
                <a:lnTo>
                  <a:pt x="36" y="72"/>
                </a:lnTo>
                <a:lnTo>
                  <a:pt x="30" y="72"/>
                </a:lnTo>
                <a:lnTo>
                  <a:pt x="30" y="72"/>
                </a:lnTo>
                <a:lnTo>
                  <a:pt x="36" y="78"/>
                </a:lnTo>
                <a:lnTo>
                  <a:pt x="30" y="72"/>
                </a:lnTo>
                <a:lnTo>
                  <a:pt x="30" y="72"/>
                </a:lnTo>
                <a:lnTo>
                  <a:pt x="24" y="72"/>
                </a:lnTo>
                <a:lnTo>
                  <a:pt x="24" y="66"/>
                </a:lnTo>
                <a:lnTo>
                  <a:pt x="24" y="72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18" y="66"/>
                </a:lnTo>
                <a:lnTo>
                  <a:pt x="18" y="66"/>
                </a:lnTo>
                <a:lnTo>
                  <a:pt x="12" y="60"/>
                </a:lnTo>
                <a:lnTo>
                  <a:pt x="12" y="66"/>
                </a:lnTo>
                <a:lnTo>
                  <a:pt x="12" y="66"/>
                </a:lnTo>
                <a:lnTo>
                  <a:pt x="6" y="60"/>
                </a:lnTo>
                <a:lnTo>
                  <a:pt x="0" y="54"/>
                </a:lnTo>
                <a:lnTo>
                  <a:pt x="0" y="54"/>
                </a:lnTo>
                <a:lnTo>
                  <a:pt x="0" y="4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43" name="Freeform 176"/>
          <p:cNvSpPr>
            <a:spLocks/>
          </p:cNvSpPr>
          <p:nvPr/>
        </p:nvSpPr>
        <p:spPr bwMode="auto">
          <a:xfrm>
            <a:off x="8644164" y="2252744"/>
            <a:ext cx="154177" cy="89937"/>
          </a:xfrm>
          <a:custGeom>
            <a:avLst/>
            <a:gdLst>
              <a:gd name="T0" fmla="*/ 6 w 144"/>
              <a:gd name="T1" fmla="*/ 66 h 84"/>
              <a:gd name="T2" fmla="*/ 18 w 144"/>
              <a:gd name="T3" fmla="*/ 66 h 84"/>
              <a:gd name="T4" fmla="*/ 24 w 144"/>
              <a:gd name="T5" fmla="*/ 66 h 84"/>
              <a:gd name="T6" fmla="*/ 30 w 144"/>
              <a:gd name="T7" fmla="*/ 66 h 84"/>
              <a:gd name="T8" fmla="*/ 36 w 144"/>
              <a:gd name="T9" fmla="*/ 60 h 84"/>
              <a:gd name="T10" fmla="*/ 42 w 144"/>
              <a:gd name="T11" fmla="*/ 54 h 84"/>
              <a:gd name="T12" fmla="*/ 42 w 144"/>
              <a:gd name="T13" fmla="*/ 48 h 84"/>
              <a:gd name="T14" fmla="*/ 42 w 144"/>
              <a:gd name="T15" fmla="*/ 48 h 84"/>
              <a:gd name="T16" fmla="*/ 36 w 144"/>
              <a:gd name="T17" fmla="*/ 42 h 84"/>
              <a:gd name="T18" fmla="*/ 36 w 144"/>
              <a:gd name="T19" fmla="*/ 36 h 84"/>
              <a:gd name="T20" fmla="*/ 42 w 144"/>
              <a:gd name="T21" fmla="*/ 42 h 84"/>
              <a:gd name="T22" fmla="*/ 42 w 144"/>
              <a:gd name="T23" fmla="*/ 42 h 84"/>
              <a:gd name="T24" fmla="*/ 48 w 144"/>
              <a:gd name="T25" fmla="*/ 42 h 84"/>
              <a:gd name="T26" fmla="*/ 54 w 144"/>
              <a:gd name="T27" fmla="*/ 42 h 84"/>
              <a:gd name="T28" fmla="*/ 60 w 144"/>
              <a:gd name="T29" fmla="*/ 42 h 84"/>
              <a:gd name="T30" fmla="*/ 66 w 144"/>
              <a:gd name="T31" fmla="*/ 42 h 84"/>
              <a:gd name="T32" fmla="*/ 72 w 144"/>
              <a:gd name="T33" fmla="*/ 36 h 84"/>
              <a:gd name="T34" fmla="*/ 78 w 144"/>
              <a:gd name="T35" fmla="*/ 30 h 84"/>
              <a:gd name="T36" fmla="*/ 78 w 144"/>
              <a:gd name="T37" fmla="*/ 24 h 84"/>
              <a:gd name="T38" fmla="*/ 72 w 144"/>
              <a:gd name="T39" fmla="*/ 24 h 84"/>
              <a:gd name="T40" fmla="*/ 72 w 144"/>
              <a:gd name="T41" fmla="*/ 18 h 84"/>
              <a:gd name="T42" fmla="*/ 78 w 144"/>
              <a:gd name="T43" fmla="*/ 12 h 84"/>
              <a:gd name="T44" fmla="*/ 84 w 144"/>
              <a:gd name="T45" fmla="*/ 6 h 84"/>
              <a:gd name="T46" fmla="*/ 90 w 144"/>
              <a:gd name="T47" fmla="*/ 0 h 84"/>
              <a:gd name="T48" fmla="*/ 90 w 144"/>
              <a:gd name="T49" fmla="*/ 0 h 84"/>
              <a:gd name="T50" fmla="*/ 96 w 144"/>
              <a:gd name="T51" fmla="*/ 0 h 84"/>
              <a:gd name="T52" fmla="*/ 102 w 144"/>
              <a:gd name="T53" fmla="*/ 6 h 84"/>
              <a:gd name="T54" fmla="*/ 102 w 144"/>
              <a:gd name="T55" fmla="*/ 6 h 84"/>
              <a:gd name="T56" fmla="*/ 114 w 144"/>
              <a:gd name="T57" fmla="*/ 0 h 84"/>
              <a:gd name="T58" fmla="*/ 120 w 144"/>
              <a:gd name="T59" fmla="*/ 6 h 84"/>
              <a:gd name="T60" fmla="*/ 120 w 144"/>
              <a:gd name="T61" fmla="*/ 6 h 84"/>
              <a:gd name="T62" fmla="*/ 132 w 144"/>
              <a:gd name="T63" fmla="*/ 6 h 84"/>
              <a:gd name="T64" fmla="*/ 126 w 144"/>
              <a:gd name="T65" fmla="*/ 12 h 84"/>
              <a:gd name="T66" fmla="*/ 126 w 144"/>
              <a:gd name="T67" fmla="*/ 30 h 84"/>
              <a:gd name="T68" fmla="*/ 132 w 144"/>
              <a:gd name="T69" fmla="*/ 36 h 84"/>
              <a:gd name="T70" fmla="*/ 138 w 144"/>
              <a:gd name="T71" fmla="*/ 42 h 84"/>
              <a:gd name="T72" fmla="*/ 138 w 144"/>
              <a:gd name="T73" fmla="*/ 48 h 84"/>
              <a:gd name="T74" fmla="*/ 138 w 144"/>
              <a:gd name="T75" fmla="*/ 54 h 84"/>
              <a:gd name="T76" fmla="*/ 138 w 144"/>
              <a:gd name="T77" fmla="*/ 60 h 84"/>
              <a:gd name="T78" fmla="*/ 132 w 144"/>
              <a:gd name="T79" fmla="*/ 72 h 84"/>
              <a:gd name="T80" fmla="*/ 132 w 144"/>
              <a:gd name="T81" fmla="*/ 84 h 84"/>
              <a:gd name="T82" fmla="*/ 120 w 144"/>
              <a:gd name="T83" fmla="*/ 84 h 84"/>
              <a:gd name="T84" fmla="*/ 114 w 144"/>
              <a:gd name="T85" fmla="*/ 84 h 84"/>
              <a:gd name="T86" fmla="*/ 96 w 144"/>
              <a:gd name="T87" fmla="*/ 78 h 84"/>
              <a:gd name="T88" fmla="*/ 90 w 144"/>
              <a:gd name="T89" fmla="*/ 78 h 84"/>
              <a:gd name="T90" fmla="*/ 84 w 144"/>
              <a:gd name="T91" fmla="*/ 72 h 84"/>
              <a:gd name="T92" fmla="*/ 84 w 144"/>
              <a:gd name="T93" fmla="*/ 72 h 84"/>
              <a:gd name="T94" fmla="*/ 78 w 144"/>
              <a:gd name="T95" fmla="*/ 78 h 84"/>
              <a:gd name="T96" fmla="*/ 72 w 144"/>
              <a:gd name="T97" fmla="*/ 78 h 84"/>
              <a:gd name="T98" fmla="*/ 60 w 144"/>
              <a:gd name="T99" fmla="*/ 84 h 84"/>
              <a:gd name="T100" fmla="*/ 54 w 144"/>
              <a:gd name="T101" fmla="*/ 84 h 84"/>
              <a:gd name="T102" fmla="*/ 48 w 144"/>
              <a:gd name="T103" fmla="*/ 84 h 84"/>
              <a:gd name="T104" fmla="*/ 48 w 144"/>
              <a:gd name="T105" fmla="*/ 78 h 84"/>
              <a:gd name="T106" fmla="*/ 42 w 144"/>
              <a:gd name="T107" fmla="*/ 78 h 84"/>
              <a:gd name="T108" fmla="*/ 30 w 144"/>
              <a:gd name="T109" fmla="*/ 78 h 84"/>
              <a:gd name="T110" fmla="*/ 30 w 144"/>
              <a:gd name="T111" fmla="*/ 84 h 84"/>
              <a:gd name="T112" fmla="*/ 24 w 144"/>
              <a:gd name="T113" fmla="*/ 84 h 84"/>
              <a:gd name="T114" fmla="*/ 12 w 144"/>
              <a:gd name="T115" fmla="*/ 84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44" h="84">
                <a:moveTo>
                  <a:pt x="0" y="78"/>
                </a:move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6" y="66"/>
                </a:lnTo>
                <a:lnTo>
                  <a:pt x="12" y="66"/>
                </a:lnTo>
                <a:lnTo>
                  <a:pt x="12" y="66"/>
                </a:lnTo>
                <a:lnTo>
                  <a:pt x="18" y="72"/>
                </a:lnTo>
                <a:lnTo>
                  <a:pt x="12" y="66"/>
                </a:lnTo>
                <a:lnTo>
                  <a:pt x="12" y="66"/>
                </a:lnTo>
                <a:lnTo>
                  <a:pt x="18" y="66"/>
                </a:lnTo>
                <a:lnTo>
                  <a:pt x="18" y="72"/>
                </a:lnTo>
                <a:lnTo>
                  <a:pt x="18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6" y="66"/>
                </a:lnTo>
                <a:lnTo>
                  <a:pt x="36" y="66"/>
                </a:lnTo>
                <a:lnTo>
                  <a:pt x="36" y="60"/>
                </a:lnTo>
                <a:lnTo>
                  <a:pt x="36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2"/>
                </a:lnTo>
                <a:lnTo>
                  <a:pt x="42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42" y="42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42"/>
                </a:lnTo>
                <a:lnTo>
                  <a:pt x="42" y="42"/>
                </a:lnTo>
                <a:lnTo>
                  <a:pt x="42" y="36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8" y="48"/>
                </a:lnTo>
                <a:lnTo>
                  <a:pt x="48" y="48"/>
                </a:lnTo>
                <a:lnTo>
                  <a:pt x="48" y="42"/>
                </a:lnTo>
                <a:lnTo>
                  <a:pt x="48" y="48"/>
                </a:lnTo>
                <a:lnTo>
                  <a:pt x="48" y="42"/>
                </a:lnTo>
                <a:lnTo>
                  <a:pt x="48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60" y="48"/>
                </a:lnTo>
                <a:lnTo>
                  <a:pt x="60" y="48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36"/>
                </a:lnTo>
                <a:lnTo>
                  <a:pt x="66" y="36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36"/>
                </a:lnTo>
                <a:lnTo>
                  <a:pt x="66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0"/>
                </a:lnTo>
                <a:lnTo>
                  <a:pt x="72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8" y="18"/>
                </a:lnTo>
                <a:lnTo>
                  <a:pt x="78" y="18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102" y="0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8" y="6"/>
                </a:lnTo>
                <a:lnTo>
                  <a:pt x="108" y="6"/>
                </a:lnTo>
                <a:lnTo>
                  <a:pt x="114" y="6"/>
                </a:lnTo>
                <a:lnTo>
                  <a:pt x="114" y="6"/>
                </a:lnTo>
                <a:lnTo>
                  <a:pt x="114" y="0"/>
                </a:lnTo>
                <a:lnTo>
                  <a:pt x="114" y="0"/>
                </a:lnTo>
                <a:lnTo>
                  <a:pt x="114" y="0"/>
                </a:lnTo>
                <a:lnTo>
                  <a:pt x="114" y="0"/>
                </a:lnTo>
                <a:lnTo>
                  <a:pt x="114" y="0"/>
                </a:lnTo>
                <a:lnTo>
                  <a:pt x="114" y="6"/>
                </a:lnTo>
                <a:lnTo>
                  <a:pt x="120" y="0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6" y="6"/>
                </a:lnTo>
                <a:lnTo>
                  <a:pt x="126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8"/>
                </a:lnTo>
                <a:lnTo>
                  <a:pt x="120" y="18"/>
                </a:lnTo>
                <a:lnTo>
                  <a:pt x="120" y="24"/>
                </a:lnTo>
                <a:lnTo>
                  <a:pt x="120" y="24"/>
                </a:lnTo>
                <a:lnTo>
                  <a:pt x="120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6"/>
                </a:lnTo>
                <a:lnTo>
                  <a:pt x="132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38" y="54"/>
                </a:lnTo>
                <a:lnTo>
                  <a:pt x="138" y="54"/>
                </a:lnTo>
                <a:lnTo>
                  <a:pt x="138" y="54"/>
                </a:lnTo>
                <a:lnTo>
                  <a:pt x="138" y="54"/>
                </a:lnTo>
                <a:lnTo>
                  <a:pt x="138" y="60"/>
                </a:lnTo>
                <a:lnTo>
                  <a:pt x="138" y="60"/>
                </a:lnTo>
                <a:lnTo>
                  <a:pt x="138" y="60"/>
                </a:lnTo>
                <a:lnTo>
                  <a:pt x="138" y="60"/>
                </a:lnTo>
                <a:lnTo>
                  <a:pt x="138" y="60"/>
                </a:lnTo>
                <a:lnTo>
                  <a:pt x="138" y="66"/>
                </a:lnTo>
                <a:lnTo>
                  <a:pt x="132" y="66"/>
                </a:lnTo>
                <a:lnTo>
                  <a:pt x="138" y="72"/>
                </a:lnTo>
                <a:lnTo>
                  <a:pt x="138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08" y="84"/>
                </a:lnTo>
                <a:lnTo>
                  <a:pt x="102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84" y="78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78" y="78"/>
                </a:lnTo>
                <a:lnTo>
                  <a:pt x="78" y="72"/>
                </a:lnTo>
                <a:lnTo>
                  <a:pt x="78" y="72"/>
                </a:lnTo>
                <a:lnTo>
                  <a:pt x="78" y="78"/>
                </a:lnTo>
                <a:lnTo>
                  <a:pt x="78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66" y="78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84"/>
                </a:lnTo>
                <a:lnTo>
                  <a:pt x="30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18" y="84"/>
                </a:lnTo>
                <a:lnTo>
                  <a:pt x="18" y="84"/>
                </a:lnTo>
                <a:lnTo>
                  <a:pt x="12" y="84"/>
                </a:lnTo>
                <a:lnTo>
                  <a:pt x="12" y="84"/>
                </a:lnTo>
                <a:lnTo>
                  <a:pt x="6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44" name="Freeform 177"/>
          <p:cNvSpPr>
            <a:spLocks/>
          </p:cNvSpPr>
          <p:nvPr/>
        </p:nvSpPr>
        <p:spPr bwMode="auto">
          <a:xfrm>
            <a:off x="8451443" y="2272016"/>
            <a:ext cx="115633" cy="128482"/>
          </a:xfrm>
          <a:custGeom>
            <a:avLst/>
            <a:gdLst>
              <a:gd name="T0" fmla="*/ 0 w 108"/>
              <a:gd name="T1" fmla="*/ 72 h 120"/>
              <a:gd name="T2" fmla="*/ 6 w 108"/>
              <a:gd name="T3" fmla="*/ 72 h 120"/>
              <a:gd name="T4" fmla="*/ 12 w 108"/>
              <a:gd name="T5" fmla="*/ 66 h 120"/>
              <a:gd name="T6" fmla="*/ 6 w 108"/>
              <a:gd name="T7" fmla="*/ 66 h 120"/>
              <a:gd name="T8" fmla="*/ 6 w 108"/>
              <a:gd name="T9" fmla="*/ 60 h 120"/>
              <a:gd name="T10" fmla="*/ 12 w 108"/>
              <a:gd name="T11" fmla="*/ 60 h 120"/>
              <a:gd name="T12" fmla="*/ 18 w 108"/>
              <a:gd name="T13" fmla="*/ 66 h 120"/>
              <a:gd name="T14" fmla="*/ 18 w 108"/>
              <a:gd name="T15" fmla="*/ 60 h 120"/>
              <a:gd name="T16" fmla="*/ 18 w 108"/>
              <a:gd name="T17" fmla="*/ 54 h 120"/>
              <a:gd name="T18" fmla="*/ 18 w 108"/>
              <a:gd name="T19" fmla="*/ 0 h 120"/>
              <a:gd name="T20" fmla="*/ 30 w 108"/>
              <a:gd name="T21" fmla="*/ 0 h 120"/>
              <a:gd name="T22" fmla="*/ 36 w 108"/>
              <a:gd name="T23" fmla="*/ 0 h 120"/>
              <a:gd name="T24" fmla="*/ 42 w 108"/>
              <a:gd name="T25" fmla="*/ 0 h 120"/>
              <a:gd name="T26" fmla="*/ 42 w 108"/>
              <a:gd name="T27" fmla="*/ 6 h 120"/>
              <a:gd name="T28" fmla="*/ 48 w 108"/>
              <a:gd name="T29" fmla="*/ 0 h 120"/>
              <a:gd name="T30" fmla="*/ 66 w 108"/>
              <a:gd name="T31" fmla="*/ 18 h 120"/>
              <a:gd name="T32" fmla="*/ 72 w 108"/>
              <a:gd name="T33" fmla="*/ 12 h 120"/>
              <a:gd name="T34" fmla="*/ 72 w 108"/>
              <a:gd name="T35" fmla="*/ 6 h 120"/>
              <a:gd name="T36" fmla="*/ 78 w 108"/>
              <a:gd name="T37" fmla="*/ 12 h 120"/>
              <a:gd name="T38" fmla="*/ 84 w 108"/>
              <a:gd name="T39" fmla="*/ 6 h 120"/>
              <a:gd name="T40" fmla="*/ 84 w 108"/>
              <a:gd name="T41" fmla="*/ 6 h 120"/>
              <a:gd name="T42" fmla="*/ 90 w 108"/>
              <a:gd name="T43" fmla="*/ 6 h 120"/>
              <a:gd name="T44" fmla="*/ 96 w 108"/>
              <a:gd name="T45" fmla="*/ 18 h 120"/>
              <a:gd name="T46" fmla="*/ 96 w 108"/>
              <a:gd name="T47" fmla="*/ 24 h 120"/>
              <a:gd name="T48" fmla="*/ 102 w 108"/>
              <a:gd name="T49" fmla="*/ 30 h 120"/>
              <a:gd name="T50" fmla="*/ 102 w 108"/>
              <a:gd name="T51" fmla="*/ 30 h 120"/>
              <a:gd name="T52" fmla="*/ 108 w 108"/>
              <a:gd name="T53" fmla="*/ 42 h 120"/>
              <a:gd name="T54" fmla="*/ 96 w 108"/>
              <a:gd name="T55" fmla="*/ 48 h 120"/>
              <a:gd name="T56" fmla="*/ 96 w 108"/>
              <a:gd name="T57" fmla="*/ 54 h 120"/>
              <a:gd name="T58" fmla="*/ 90 w 108"/>
              <a:gd name="T59" fmla="*/ 60 h 120"/>
              <a:gd name="T60" fmla="*/ 96 w 108"/>
              <a:gd name="T61" fmla="*/ 60 h 120"/>
              <a:gd name="T62" fmla="*/ 84 w 108"/>
              <a:gd name="T63" fmla="*/ 66 h 120"/>
              <a:gd name="T64" fmla="*/ 84 w 108"/>
              <a:gd name="T65" fmla="*/ 66 h 120"/>
              <a:gd name="T66" fmla="*/ 84 w 108"/>
              <a:gd name="T67" fmla="*/ 72 h 120"/>
              <a:gd name="T68" fmla="*/ 78 w 108"/>
              <a:gd name="T69" fmla="*/ 78 h 120"/>
              <a:gd name="T70" fmla="*/ 78 w 108"/>
              <a:gd name="T71" fmla="*/ 84 h 120"/>
              <a:gd name="T72" fmla="*/ 72 w 108"/>
              <a:gd name="T73" fmla="*/ 90 h 120"/>
              <a:gd name="T74" fmla="*/ 72 w 108"/>
              <a:gd name="T75" fmla="*/ 96 h 120"/>
              <a:gd name="T76" fmla="*/ 72 w 108"/>
              <a:gd name="T77" fmla="*/ 102 h 120"/>
              <a:gd name="T78" fmla="*/ 72 w 108"/>
              <a:gd name="T79" fmla="*/ 102 h 120"/>
              <a:gd name="T80" fmla="*/ 72 w 108"/>
              <a:gd name="T81" fmla="*/ 114 h 120"/>
              <a:gd name="T82" fmla="*/ 66 w 108"/>
              <a:gd name="T83" fmla="*/ 114 h 120"/>
              <a:gd name="T84" fmla="*/ 66 w 108"/>
              <a:gd name="T85" fmla="*/ 114 h 120"/>
              <a:gd name="T86" fmla="*/ 60 w 108"/>
              <a:gd name="T87" fmla="*/ 120 h 120"/>
              <a:gd name="T88" fmla="*/ 60 w 108"/>
              <a:gd name="T89" fmla="*/ 114 h 120"/>
              <a:gd name="T90" fmla="*/ 48 w 108"/>
              <a:gd name="T91" fmla="*/ 114 h 120"/>
              <a:gd name="T92" fmla="*/ 48 w 108"/>
              <a:gd name="T93" fmla="*/ 114 h 120"/>
              <a:gd name="T94" fmla="*/ 36 w 108"/>
              <a:gd name="T95" fmla="*/ 108 h 120"/>
              <a:gd name="T96" fmla="*/ 36 w 108"/>
              <a:gd name="T97" fmla="*/ 108 h 120"/>
              <a:gd name="T98" fmla="*/ 36 w 108"/>
              <a:gd name="T99" fmla="*/ 102 h 120"/>
              <a:gd name="T100" fmla="*/ 30 w 108"/>
              <a:gd name="T101" fmla="*/ 96 h 120"/>
              <a:gd name="T102" fmla="*/ 24 w 108"/>
              <a:gd name="T103" fmla="*/ 90 h 120"/>
              <a:gd name="T104" fmla="*/ 12 w 108"/>
              <a:gd name="T105" fmla="*/ 84 h 120"/>
              <a:gd name="T106" fmla="*/ 6 w 108"/>
              <a:gd name="T107" fmla="*/ 78 h 120"/>
              <a:gd name="T108" fmla="*/ 0 w 108"/>
              <a:gd name="T109" fmla="*/ 78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08" h="120">
                <a:moveTo>
                  <a:pt x="0" y="78"/>
                </a:move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12" y="72"/>
                </a:lnTo>
                <a:lnTo>
                  <a:pt x="12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12" y="60"/>
                </a:lnTo>
                <a:lnTo>
                  <a:pt x="12" y="60"/>
                </a:lnTo>
                <a:lnTo>
                  <a:pt x="6" y="60"/>
                </a:lnTo>
                <a:lnTo>
                  <a:pt x="6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18"/>
                </a:lnTo>
                <a:lnTo>
                  <a:pt x="18" y="6"/>
                </a:lnTo>
                <a:lnTo>
                  <a:pt x="18" y="6"/>
                </a:lnTo>
                <a:lnTo>
                  <a:pt x="18" y="0"/>
                </a:lnTo>
                <a:lnTo>
                  <a:pt x="24" y="0"/>
                </a:lnTo>
                <a:lnTo>
                  <a:pt x="24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42" y="0"/>
                </a:lnTo>
                <a:lnTo>
                  <a:pt x="42" y="0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6"/>
                </a:lnTo>
                <a:lnTo>
                  <a:pt x="54" y="6"/>
                </a:lnTo>
                <a:lnTo>
                  <a:pt x="66" y="18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6"/>
                </a:lnTo>
                <a:lnTo>
                  <a:pt x="78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12"/>
                </a:lnTo>
                <a:lnTo>
                  <a:pt x="90" y="18"/>
                </a:lnTo>
                <a:lnTo>
                  <a:pt x="96" y="18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30"/>
                </a:lnTo>
                <a:lnTo>
                  <a:pt x="96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6"/>
                </a:lnTo>
                <a:lnTo>
                  <a:pt x="108" y="36"/>
                </a:lnTo>
                <a:lnTo>
                  <a:pt x="108" y="42"/>
                </a:lnTo>
                <a:lnTo>
                  <a:pt x="96" y="42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0" y="66"/>
                </a:lnTo>
                <a:lnTo>
                  <a:pt x="90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84" y="78"/>
                </a:lnTo>
                <a:lnTo>
                  <a:pt x="84" y="78"/>
                </a:lnTo>
                <a:lnTo>
                  <a:pt x="78" y="78"/>
                </a:lnTo>
                <a:lnTo>
                  <a:pt x="78" y="78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90"/>
                </a:lnTo>
                <a:lnTo>
                  <a:pt x="78" y="90"/>
                </a:lnTo>
                <a:lnTo>
                  <a:pt x="72" y="90"/>
                </a:lnTo>
                <a:lnTo>
                  <a:pt x="72" y="90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8" y="102"/>
                </a:lnTo>
                <a:lnTo>
                  <a:pt x="78" y="102"/>
                </a:lnTo>
                <a:lnTo>
                  <a:pt x="72" y="102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14"/>
                </a:lnTo>
                <a:lnTo>
                  <a:pt x="72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54" y="108"/>
                </a:lnTo>
                <a:lnTo>
                  <a:pt x="54" y="108"/>
                </a:lnTo>
                <a:lnTo>
                  <a:pt x="54" y="114"/>
                </a:lnTo>
                <a:lnTo>
                  <a:pt x="48" y="114"/>
                </a:lnTo>
                <a:lnTo>
                  <a:pt x="48" y="114"/>
                </a:lnTo>
                <a:lnTo>
                  <a:pt x="48" y="114"/>
                </a:lnTo>
                <a:lnTo>
                  <a:pt x="48" y="114"/>
                </a:lnTo>
                <a:lnTo>
                  <a:pt x="48" y="114"/>
                </a:lnTo>
                <a:lnTo>
                  <a:pt x="48" y="108"/>
                </a:lnTo>
                <a:lnTo>
                  <a:pt x="42" y="108"/>
                </a:lnTo>
                <a:lnTo>
                  <a:pt x="42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0"/>
                </a:lnTo>
                <a:lnTo>
                  <a:pt x="30" y="90"/>
                </a:lnTo>
                <a:lnTo>
                  <a:pt x="24" y="90"/>
                </a:lnTo>
                <a:lnTo>
                  <a:pt x="24" y="90"/>
                </a:lnTo>
                <a:lnTo>
                  <a:pt x="18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6" y="84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0" y="78"/>
                </a:lnTo>
                <a:lnTo>
                  <a:pt x="0" y="7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45" name="Freeform 178"/>
          <p:cNvSpPr>
            <a:spLocks/>
          </p:cNvSpPr>
          <p:nvPr/>
        </p:nvSpPr>
        <p:spPr bwMode="auto">
          <a:xfrm>
            <a:off x="8528531" y="2201351"/>
            <a:ext cx="211994" cy="128482"/>
          </a:xfrm>
          <a:custGeom>
            <a:avLst/>
            <a:gdLst>
              <a:gd name="T0" fmla="*/ 12 w 198"/>
              <a:gd name="T1" fmla="*/ 42 h 120"/>
              <a:gd name="T2" fmla="*/ 24 w 198"/>
              <a:gd name="T3" fmla="*/ 42 h 120"/>
              <a:gd name="T4" fmla="*/ 30 w 198"/>
              <a:gd name="T5" fmla="*/ 36 h 120"/>
              <a:gd name="T6" fmla="*/ 36 w 198"/>
              <a:gd name="T7" fmla="*/ 36 h 120"/>
              <a:gd name="T8" fmla="*/ 42 w 198"/>
              <a:gd name="T9" fmla="*/ 30 h 120"/>
              <a:gd name="T10" fmla="*/ 42 w 198"/>
              <a:gd name="T11" fmla="*/ 24 h 120"/>
              <a:gd name="T12" fmla="*/ 48 w 198"/>
              <a:gd name="T13" fmla="*/ 12 h 120"/>
              <a:gd name="T14" fmla="*/ 48 w 198"/>
              <a:gd name="T15" fmla="*/ 6 h 120"/>
              <a:gd name="T16" fmla="*/ 54 w 198"/>
              <a:gd name="T17" fmla="*/ 0 h 120"/>
              <a:gd name="T18" fmla="*/ 66 w 198"/>
              <a:gd name="T19" fmla="*/ 6 h 120"/>
              <a:gd name="T20" fmla="*/ 78 w 198"/>
              <a:gd name="T21" fmla="*/ 6 h 120"/>
              <a:gd name="T22" fmla="*/ 78 w 198"/>
              <a:gd name="T23" fmla="*/ 12 h 120"/>
              <a:gd name="T24" fmla="*/ 84 w 198"/>
              <a:gd name="T25" fmla="*/ 12 h 120"/>
              <a:gd name="T26" fmla="*/ 96 w 198"/>
              <a:gd name="T27" fmla="*/ 12 h 120"/>
              <a:gd name="T28" fmla="*/ 102 w 198"/>
              <a:gd name="T29" fmla="*/ 12 h 120"/>
              <a:gd name="T30" fmla="*/ 108 w 198"/>
              <a:gd name="T31" fmla="*/ 12 h 120"/>
              <a:gd name="T32" fmla="*/ 108 w 198"/>
              <a:gd name="T33" fmla="*/ 12 h 120"/>
              <a:gd name="T34" fmla="*/ 114 w 198"/>
              <a:gd name="T35" fmla="*/ 12 h 120"/>
              <a:gd name="T36" fmla="*/ 114 w 198"/>
              <a:gd name="T37" fmla="*/ 18 h 120"/>
              <a:gd name="T38" fmla="*/ 126 w 198"/>
              <a:gd name="T39" fmla="*/ 12 h 120"/>
              <a:gd name="T40" fmla="*/ 132 w 198"/>
              <a:gd name="T41" fmla="*/ 12 h 120"/>
              <a:gd name="T42" fmla="*/ 138 w 198"/>
              <a:gd name="T43" fmla="*/ 18 h 120"/>
              <a:gd name="T44" fmla="*/ 144 w 198"/>
              <a:gd name="T45" fmla="*/ 18 h 120"/>
              <a:gd name="T46" fmla="*/ 144 w 198"/>
              <a:gd name="T47" fmla="*/ 12 h 120"/>
              <a:gd name="T48" fmla="*/ 156 w 198"/>
              <a:gd name="T49" fmla="*/ 12 h 120"/>
              <a:gd name="T50" fmla="*/ 156 w 198"/>
              <a:gd name="T51" fmla="*/ 12 h 120"/>
              <a:gd name="T52" fmla="*/ 156 w 198"/>
              <a:gd name="T53" fmla="*/ 18 h 120"/>
              <a:gd name="T54" fmla="*/ 150 w 198"/>
              <a:gd name="T55" fmla="*/ 24 h 120"/>
              <a:gd name="T56" fmla="*/ 150 w 198"/>
              <a:gd name="T57" fmla="*/ 24 h 120"/>
              <a:gd name="T58" fmla="*/ 174 w 198"/>
              <a:gd name="T59" fmla="*/ 30 h 120"/>
              <a:gd name="T60" fmla="*/ 192 w 198"/>
              <a:gd name="T61" fmla="*/ 30 h 120"/>
              <a:gd name="T62" fmla="*/ 192 w 198"/>
              <a:gd name="T63" fmla="*/ 42 h 120"/>
              <a:gd name="T64" fmla="*/ 192 w 198"/>
              <a:gd name="T65" fmla="*/ 42 h 120"/>
              <a:gd name="T66" fmla="*/ 186 w 198"/>
              <a:gd name="T67" fmla="*/ 54 h 120"/>
              <a:gd name="T68" fmla="*/ 186 w 198"/>
              <a:gd name="T69" fmla="*/ 60 h 120"/>
              <a:gd name="T70" fmla="*/ 174 w 198"/>
              <a:gd name="T71" fmla="*/ 48 h 120"/>
              <a:gd name="T72" fmla="*/ 162 w 198"/>
              <a:gd name="T73" fmla="*/ 42 h 120"/>
              <a:gd name="T74" fmla="*/ 156 w 198"/>
              <a:gd name="T75" fmla="*/ 54 h 120"/>
              <a:gd name="T76" fmla="*/ 156 w 198"/>
              <a:gd name="T77" fmla="*/ 60 h 120"/>
              <a:gd name="T78" fmla="*/ 150 w 198"/>
              <a:gd name="T79" fmla="*/ 66 h 120"/>
              <a:gd name="T80" fmla="*/ 144 w 198"/>
              <a:gd name="T81" fmla="*/ 66 h 120"/>
              <a:gd name="T82" fmla="*/ 138 w 198"/>
              <a:gd name="T83" fmla="*/ 66 h 120"/>
              <a:gd name="T84" fmla="*/ 132 w 198"/>
              <a:gd name="T85" fmla="*/ 66 h 120"/>
              <a:gd name="T86" fmla="*/ 126 w 198"/>
              <a:gd name="T87" fmla="*/ 66 h 120"/>
              <a:gd name="T88" fmla="*/ 126 w 198"/>
              <a:gd name="T89" fmla="*/ 66 h 120"/>
              <a:gd name="T90" fmla="*/ 120 w 198"/>
              <a:gd name="T91" fmla="*/ 66 h 120"/>
              <a:gd name="T92" fmla="*/ 114 w 198"/>
              <a:gd name="T93" fmla="*/ 66 h 120"/>
              <a:gd name="T94" fmla="*/ 96 w 198"/>
              <a:gd name="T95" fmla="*/ 78 h 120"/>
              <a:gd name="T96" fmla="*/ 90 w 198"/>
              <a:gd name="T97" fmla="*/ 90 h 120"/>
              <a:gd name="T98" fmla="*/ 66 w 198"/>
              <a:gd name="T99" fmla="*/ 102 h 120"/>
              <a:gd name="T100" fmla="*/ 60 w 198"/>
              <a:gd name="T101" fmla="*/ 108 h 120"/>
              <a:gd name="T102" fmla="*/ 60 w 198"/>
              <a:gd name="T103" fmla="*/ 114 h 120"/>
              <a:gd name="T104" fmla="*/ 60 w 198"/>
              <a:gd name="T105" fmla="*/ 120 h 120"/>
              <a:gd name="T106" fmla="*/ 60 w 198"/>
              <a:gd name="T107" fmla="*/ 120 h 120"/>
              <a:gd name="T108" fmla="*/ 54 w 198"/>
              <a:gd name="T109" fmla="*/ 114 h 120"/>
              <a:gd name="T110" fmla="*/ 42 w 198"/>
              <a:gd name="T111" fmla="*/ 114 h 120"/>
              <a:gd name="T112" fmla="*/ 30 w 198"/>
              <a:gd name="T113" fmla="*/ 96 h 120"/>
              <a:gd name="T114" fmla="*/ 24 w 198"/>
              <a:gd name="T115" fmla="*/ 96 h 120"/>
              <a:gd name="T116" fmla="*/ 18 w 198"/>
              <a:gd name="T117" fmla="*/ 84 h 120"/>
              <a:gd name="T118" fmla="*/ 18 w 198"/>
              <a:gd name="T119" fmla="*/ 72 h 120"/>
              <a:gd name="T120" fmla="*/ 12 w 198"/>
              <a:gd name="T121" fmla="*/ 72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98" h="120">
                <a:moveTo>
                  <a:pt x="6" y="66"/>
                </a:moveTo>
                <a:lnTo>
                  <a:pt x="6" y="54"/>
                </a:lnTo>
                <a:lnTo>
                  <a:pt x="6" y="48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18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30" y="42"/>
                </a:lnTo>
                <a:lnTo>
                  <a:pt x="30" y="42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6" y="36"/>
                </a:lnTo>
                <a:lnTo>
                  <a:pt x="30" y="36"/>
                </a:lnTo>
                <a:lnTo>
                  <a:pt x="30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18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48" y="6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12"/>
                </a:lnTo>
                <a:lnTo>
                  <a:pt x="78" y="12"/>
                </a:lnTo>
                <a:lnTo>
                  <a:pt x="78" y="6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90" y="6"/>
                </a:lnTo>
                <a:lnTo>
                  <a:pt x="90" y="6"/>
                </a:lnTo>
                <a:lnTo>
                  <a:pt x="90" y="12"/>
                </a:lnTo>
                <a:lnTo>
                  <a:pt x="90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6" y="18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8" y="12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44" y="18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74" y="30"/>
                </a:lnTo>
                <a:lnTo>
                  <a:pt x="174" y="30"/>
                </a:lnTo>
                <a:lnTo>
                  <a:pt x="180" y="24"/>
                </a:lnTo>
                <a:lnTo>
                  <a:pt x="186" y="24"/>
                </a:lnTo>
                <a:lnTo>
                  <a:pt x="192" y="24"/>
                </a:lnTo>
                <a:lnTo>
                  <a:pt x="198" y="30"/>
                </a:lnTo>
                <a:lnTo>
                  <a:pt x="192" y="30"/>
                </a:lnTo>
                <a:lnTo>
                  <a:pt x="198" y="30"/>
                </a:lnTo>
                <a:lnTo>
                  <a:pt x="198" y="36"/>
                </a:lnTo>
                <a:lnTo>
                  <a:pt x="198" y="36"/>
                </a:lnTo>
                <a:lnTo>
                  <a:pt x="198" y="36"/>
                </a:lnTo>
                <a:lnTo>
                  <a:pt x="198" y="36"/>
                </a:lnTo>
                <a:lnTo>
                  <a:pt x="192" y="42"/>
                </a:lnTo>
                <a:lnTo>
                  <a:pt x="192" y="42"/>
                </a:lnTo>
                <a:lnTo>
                  <a:pt x="192" y="42"/>
                </a:lnTo>
                <a:lnTo>
                  <a:pt x="192" y="42"/>
                </a:lnTo>
                <a:lnTo>
                  <a:pt x="192" y="42"/>
                </a:lnTo>
                <a:lnTo>
                  <a:pt x="192" y="42"/>
                </a:lnTo>
                <a:lnTo>
                  <a:pt x="192" y="42"/>
                </a:lnTo>
                <a:lnTo>
                  <a:pt x="192" y="42"/>
                </a:lnTo>
                <a:lnTo>
                  <a:pt x="192" y="54"/>
                </a:lnTo>
                <a:lnTo>
                  <a:pt x="192" y="54"/>
                </a:lnTo>
                <a:lnTo>
                  <a:pt x="192" y="54"/>
                </a:lnTo>
                <a:lnTo>
                  <a:pt x="192" y="54"/>
                </a:lnTo>
                <a:lnTo>
                  <a:pt x="186" y="54"/>
                </a:lnTo>
                <a:lnTo>
                  <a:pt x="186" y="54"/>
                </a:lnTo>
                <a:lnTo>
                  <a:pt x="186" y="54"/>
                </a:lnTo>
                <a:lnTo>
                  <a:pt x="186" y="54"/>
                </a:lnTo>
                <a:lnTo>
                  <a:pt x="186" y="60"/>
                </a:lnTo>
                <a:lnTo>
                  <a:pt x="186" y="60"/>
                </a:lnTo>
                <a:lnTo>
                  <a:pt x="186" y="60"/>
                </a:lnTo>
                <a:lnTo>
                  <a:pt x="186" y="60"/>
                </a:lnTo>
                <a:lnTo>
                  <a:pt x="174" y="66"/>
                </a:lnTo>
                <a:lnTo>
                  <a:pt x="180" y="60"/>
                </a:lnTo>
                <a:lnTo>
                  <a:pt x="174" y="54"/>
                </a:lnTo>
                <a:lnTo>
                  <a:pt x="174" y="54"/>
                </a:lnTo>
                <a:lnTo>
                  <a:pt x="174" y="48"/>
                </a:lnTo>
                <a:lnTo>
                  <a:pt x="174" y="42"/>
                </a:lnTo>
                <a:lnTo>
                  <a:pt x="168" y="42"/>
                </a:lnTo>
                <a:lnTo>
                  <a:pt x="168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8"/>
                </a:lnTo>
                <a:lnTo>
                  <a:pt x="162" y="48"/>
                </a:lnTo>
                <a:lnTo>
                  <a:pt x="162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60"/>
                </a:lnTo>
                <a:lnTo>
                  <a:pt x="156" y="60"/>
                </a:lnTo>
                <a:lnTo>
                  <a:pt x="150" y="60"/>
                </a:lnTo>
                <a:lnTo>
                  <a:pt x="150" y="60"/>
                </a:lnTo>
                <a:lnTo>
                  <a:pt x="150" y="60"/>
                </a:lnTo>
                <a:lnTo>
                  <a:pt x="150" y="60"/>
                </a:lnTo>
                <a:lnTo>
                  <a:pt x="150" y="60"/>
                </a:lnTo>
                <a:lnTo>
                  <a:pt x="150" y="66"/>
                </a:lnTo>
                <a:lnTo>
                  <a:pt x="150" y="66"/>
                </a:lnTo>
                <a:lnTo>
                  <a:pt x="150" y="66"/>
                </a:lnTo>
                <a:lnTo>
                  <a:pt x="150" y="66"/>
                </a:lnTo>
                <a:lnTo>
                  <a:pt x="150" y="66"/>
                </a:lnTo>
                <a:lnTo>
                  <a:pt x="144" y="66"/>
                </a:lnTo>
                <a:lnTo>
                  <a:pt x="144" y="66"/>
                </a:lnTo>
                <a:lnTo>
                  <a:pt x="144" y="66"/>
                </a:lnTo>
                <a:lnTo>
                  <a:pt x="144" y="66"/>
                </a:lnTo>
                <a:lnTo>
                  <a:pt x="144" y="66"/>
                </a:lnTo>
                <a:lnTo>
                  <a:pt x="144" y="66"/>
                </a:lnTo>
                <a:lnTo>
                  <a:pt x="144" y="66"/>
                </a:lnTo>
                <a:lnTo>
                  <a:pt x="138" y="66"/>
                </a:lnTo>
                <a:lnTo>
                  <a:pt x="138" y="66"/>
                </a:lnTo>
                <a:lnTo>
                  <a:pt x="138" y="66"/>
                </a:lnTo>
                <a:lnTo>
                  <a:pt x="138" y="66"/>
                </a:lnTo>
                <a:lnTo>
                  <a:pt x="138" y="66"/>
                </a:lnTo>
                <a:lnTo>
                  <a:pt x="132" y="66"/>
                </a:lnTo>
                <a:lnTo>
                  <a:pt x="132" y="66"/>
                </a:lnTo>
                <a:lnTo>
                  <a:pt x="132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0"/>
                </a:lnTo>
                <a:lnTo>
                  <a:pt x="126" y="66"/>
                </a:lnTo>
                <a:lnTo>
                  <a:pt x="126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96" y="78"/>
                </a:lnTo>
                <a:lnTo>
                  <a:pt x="96" y="78"/>
                </a:lnTo>
                <a:lnTo>
                  <a:pt x="96" y="84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84" y="96"/>
                </a:lnTo>
                <a:lnTo>
                  <a:pt x="78" y="96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8"/>
                </a:lnTo>
                <a:lnTo>
                  <a:pt x="66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54" y="120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48" y="114"/>
                </a:lnTo>
                <a:lnTo>
                  <a:pt x="48" y="114"/>
                </a:lnTo>
                <a:lnTo>
                  <a:pt x="48" y="114"/>
                </a:lnTo>
                <a:lnTo>
                  <a:pt x="48" y="114"/>
                </a:lnTo>
                <a:lnTo>
                  <a:pt x="42" y="114"/>
                </a:lnTo>
                <a:lnTo>
                  <a:pt x="36" y="108"/>
                </a:lnTo>
                <a:lnTo>
                  <a:pt x="36" y="102"/>
                </a:lnTo>
                <a:lnTo>
                  <a:pt x="30" y="102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24" y="96"/>
                </a:lnTo>
                <a:lnTo>
                  <a:pt x="24" y="96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84"/>
                </a:lnTo>
                <a:lnTo>
                  <a:pt x="18" y="84"/>
                </a:lnTo>
                <a:lnTo>
                  <a:pt x="18" y="78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6" y="72"/>
                </a:lnTo>
                <a:lnTo>
                  <a:pt x="6" y="72"/>
                </a:lnTo>
                <a:lnTo>
                  <a:pt x="0" y="66"/>
                </a:lnTo>
                <a:lnTo>
                  <a:pt x="6" y="6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46" name="Freeform 179"/>
          <p:cNvSpPr>
            <a:spLocks/>
          </p:cNvSpPr>
          <p:nvPr/>
        </p:nvSpPr>
        <p:spPr bwMode="auto">
          <a:xfrm>
            <a:off x="8734101" y="2130686"/>
            <a:ext cx="96361" cy="83513"/>
          </a:xfrm>
          <a:custGeom>
            <a:avLst/>
            <a:gdLst>
              <a:gd name="T0" fmla="*/ 0 w 90"/>
              <a:gd name="T1" fmla="*/ 12 h 78"/>
              <a:gd name="T2" fmla="*/ 6 w 90"/>
              <a:gd name="T3" fmla="*/ 12 h 78"/>
              <a:gd name="T4" fmla="*/ 12 w 90"/>
              <a:gd name="T5" fmla="*/ 12 h 78"/>
              <a:gd name="T6" fmla="*/ 18 w 90"/>
              <a:gd name="T7" fmla="*/ 6 h 78"/>
              <a:gd name="T8" fmla="*/ 18 w 90"/>
              <a:gd name="T9" fmla="*/ 6 h 78"/>
              <a:gd name="T10" fmla="*/ 24 w 90"/>
              <a:gd name="T11" fmla="*/ 6 h 78"/>
              <a:gd name="T12" fmla="*/ 24 w 90"/>
              <a:gd name="T13" fmla="*/ 6 h 78"/>
              <a:gd name="T14" fmla="*/ 36 w 90"/>
              <a:gd name="T15" fmla="*/ 0 h 78"/>
              <a:gd name="T16" fmla="*/ 42 w 90"/>
              <a:gd name="T17" fmla="*/ 0 h 78"/>
              <a:gd name="T18" fmla="*/ 48 w 90"/>
              <a:gd name="T19" fmla="*/ 6 h 78"/>
              <a:gd name="T20" fmla="*/ 54 w 90"/>
              <a:gd name="T21" fmla="*/ 6 h 78"/>
              <a:gd name="T22" fmla="*/ 54 w 90"/>
              <a:gd name="T23" fmla="*/ 6 h 78"/>
              <a:gd name="T24" fmla="*/ 66 w 90"/>
              <a:gd name="T25" fmla="*/ 12 h 78"/>
              <a:gd name="T26" fmla="*/ 66 w 90"/>
              <a:gd name="T27" fmla="*/ 18 h 78"/>
              <a:gd name="T28" fmla="*/ 72 w 90"/>
              <a:gd name="T29" fmla="*/ 24 h 78"/>
              <a:gd name="T30" fmla="*/ 78 w 90"/>
              <a:gd name="T31" fmla="*/ 24 h 78"/>
              <a:gd name="T32" fmla="*/ 78 w 90"/>
              <a:gd name="T33" fmla="*/ 24 h 78"/>
              <a:gd name="T34" fmla="*/ 84 w 90"/>
              <a:gd name="T35" fmla="*/ 24 h 78"/>
              <a:gd name="T36" fmla="*/ 84 w 90"/>
              <a:gd name="T37" fmla="*/ 24 h 78"/>
              <a:gd name="T38" fmla="*/ 84 w 90"/>
              <a:gd name="T39" fmla="*/ 24 h 78"/>
              <a:gd name="T40" fmla="*/ 90 w 90"/>
              <a:gd name="T41" fmla="*/ 30 h 78"/>
              <a:gd name="T42" fmla="*/ 90 w 90"/>
              <a:gd name="T43" fmla="*/ 36 h 78"/>
              <a:gd name="T44" fmla="*/ 84 w 90"/>
              <a:gd name="T45" fmla="*/ 42 h 78"/>
              <a:gd name="T46" fmla="*/ 78 w 90"/>
              <a:gd name="T47" fmla="*/ 42 h 78"/>
              <a:gd name="T48" fmla="*/ 78 w 90"/>
              <a:gd name="T49" fmla="*/ 42 h 78"/>
              <a:gd name="T50" fmla="*/ 78 w 90"/>
              <a:gd name="T51" fmla="*/ 42 h 78"/>
              <a:gd name="T52" fmla="*/ 72 w 90"/>
              <a:gd name="T53" fmla="*/ 42 h 78"/>
              <a:gd name="T54" fmla="*/ 66 w 90"/>
              <a:gd name="T55" fmla="*/ 48 h 78"/>
              <a:gd name="T56" fmla="*/ 54 w 90"/>
              <a:gd name="T57" fmla="*/ 48 h 78"/>
              <a:gd name="T58" fmla="*/ 48 w 90"/>
              <a:gd name="T59" fmla="*/ 54 h 78"/>
              <a:gd name="T60" fmla="*/ 54 w 90"/>
              <a:gd name="T61" fmla="*/ 66 h 78"/>
              <a:gd name="T62" fmla="*/ 54 w 90"/>
              <a:gd name="T63" fmla="*/ 66 h 78"/>
              <a:gd name="T64" fmla="*/ 60 w 90"/>
              <a:gd name="T65" fmla="*/ 72 h 78"/>
              <a:gd name="T66" fmla="*/ 66 w 90"/>
              <a:gd name="T67" fmla="*/ 72 h 78"/>
              <a:gd name="T68" fmla="*/ 60 w 90"/>
              <a:gd name="T69" fmla="*/ 72 h 78"/>
              <a:gd name="T70" fmla="*/ 60 w 90"/>
              <a:gd name="T71" fmla="*/ 72 h 78"/>
              <a:gd name="T72" fmla="*/ 54 w 90"/>
              <a:gd name="T73" fmla="*/ 78 h 78"/>
              <a:gd name="T74" fmla="*/ 48 w 90"/>
              <a:gd name="T75" fmla="*/ 78 h 78"/>
              <a:gd name="T76" fmla="*/ 42 w 90"/>
              <a:gd name="T77" fmla="*/ 78 h 78"/>
              <a:gd name="T78" fmla="*/ 36 w 90"/>
              <a:gd name="T79" fmla="*/ 78 h 78"/>
              <a:gd name="T80" fmla="*/ 24 w 90"/>
              <a:gd name="T81" fmla="*/ 72 h 78"/>
              <a:gd name="T82" fmla="*/ 18 w 90"/>
              <a:gd name="T83" fmla="*/ 66 h 78"/>
              <a:gd name="T84" fmla="*/ 12 w 90"/>
              <a:gd name="T85" fmla="*/ 60 h 78"/>
              <a:gd name="T86" fmla="*/ 12 w 90"/>
              <a:gd name="T87" fmla="*/ 54 h 78"/>
              <a:gd name="T88" fmla="*/ 6 w 90"/>
              <a:gd name="T89" fmla="*/ 42 h 78"/>
              <a:gd name="T90" fmla="*/ 6 w 90"/>
              <a:gd name="T91" fmla="*/ 36 h 78"/>
              <a:gd name="T92" fmla="*/ 6 w 90"/>
              <a:gd name="T93" fmla="*/ 30 h 78"/>
              <a:gd name="T94" fmla="*/ 6 w 90"/>
              <a:gd name="T95" fmla="*/ 24 h 78"/>
              <a:gd name="T96" fmla="*/ 6 w 90"/>
              <a:gd name="T97" fmla="*/ 24 h 78"/>
              <a:gd name="T98" fmla="*/ 0 w 90"/>
              <a:gd name="T99" fmla="*/ 18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90" h="78">
                <a:moveTo>
                  <a:pt x="0" y="18"/>
                </a:moveTo>
                <a:lnTo>
                  <a:pt x="0" y="18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8" y="12"/>
                </a:lnTo>
                <a:lnTo>
                  <a:pt x="18" y="12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0"/>
                </a:lnTo>
                <a:lnTo>
                  <a:pt x="30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8" y="0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0"/>
                </a:lnTo>
                <a:lnTo>
                  <a:pt x="54" y="0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72" y="24"/>
                </a:lnTo>
                <a:lnTo>
                  <a:pt x="72" y="24"/>
                </a:lnTo>
                <a:lnTo>
                  <a:pt x="72" y="18"/>
                </a:lnTo>
                <a:lnTo>
                  <a:pt x="72" y="18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6"/>
                </a:lnTo>
                <a:lnTo>
                  <a:pt x="90" y="36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0" y="48"/>
                </a:lnTo>
                <a:lnTo>
                  <a:pt x="60" y="48"/>
                </a:lnTo>
                <a:lnTo>
                  <a:pt x="54" y="42"/>
                </a:lnTo>
                <a:lnTo>
                  <a:pt x="54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54"/>
                </a:lnTo>
                <a:lnTo>
                  <a:pt x="48" y="54"/>
                </a:lnTo>
                <a:lnTo>
                  <a:pt x="48" y="60"/>
                </a:lnTo>
                <a:lnTo>
                  <a:pt x="48" y="60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54" y="72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36" y="78"/>
                </a:lnTo>
                <a:lnTo>
                  <a:pt x="36" y="78"/>
                </a:lnTo>
                <a:lnTo>
                  <a:pt x="30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54"/>
                </a:lnTo>
                <a:lnTo>
                  <a:pt x="12" y="54"/>
                </a:lnTo>
                <a:lnTo>
                  <a:pt x="6" y="48"/>
                </a:lnTo>
                <a:lnTo>
                  <a:pt x="12" y="48"/>
                </a:lnTo>
                <a:lnTo>
                  <a:pt x="12" y="48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47" name="Freeform 180"/>
          <p:cNvSpPr>
            <a:spLocks/>
          </p:cNvSpPr>
          <p:nvPr/>
        </p:nvSpPr>
        <p:spPr bwMode="auto">
          <a:xfrm>
            <a:off x="8515683" y="2297713"/>
            <a:ext cx="141329" cy="115634"/>
          </a:xfrm>
          <a:custGeom>
            <a:avLst/>
            <a:gdLst>
              <a:gd name="T0" fmla="*/ 6 w 132"/>
              <a:gd name="T1" fmla="*/ 90 h 108"/>
              <a:gd name="T2" fmla="*/ 12 w 132"/>
              <a:gd name="T3" fmla="*/ 90 h 108"/>
              <a:gd name="T4" fmla="*/ 12 w 132"/>
              <a:gd name="T5" fmla="*/ 78 h 108"/>
              <a:gd name="T6" fmla="*/ 12 w 132"/>
              <a:gd name="T7" fmla="*/ 78 h 108"/>
              <a:gd name="T8" fmla="*/ 12 w 132"/>
              <a:gd name="T9" fmla="*/ 72 h 108"/>
              <a:gd name="T10" fmla="*/ 18 w 132"/>
              <a:gd name="T11" fmla="*/ 60 h 108"/>
              <a:gd name="T12" fmla="*/ 18 w 132"/>
              <a:gd name="T13" fmla="*/ 54 h 108"/>
              <a:gd name="T14" fmla="*/ 24 w 132"/>
              <a:gd name="T15" fmla="*/ 48 h 108"/>
              <a:gd name="T16" fmla="*/ 24 w 132"/>
              <a:gd name="T17" fmla="*/ 42 h 108"/>
              <a:gd name="T18" fmla="*/ 36 w 132"/>
              <a:gd name="T19" fmla="*/ 36 h 108"/>
              <a:gd name="T20" fmla="*/ 30 w 132"/>
              <a:gd name="T21" fmla="*/ 36 h 108"/>
              <a:gd name="T22" fmla="*/ 36 w 132"/>
              <a:gd name="T23" fmla="*/ 24 h 108"/>
              <a:gd name="T24" fmla="*/ 36 w 132"/>
              <a:gd name="T25" fmla="*/ 24 h 108"/>
              <a:gd name="T26" fmla="*/ 60 w 132"/>
              <a:gd name="T27" fmla="*/ 24 h 108"/>
              <a:gd name="T28" fmla="*/ 66 w 132"/>
              <a:gd name="T29" fmla="*/ 24 h 108"/>
              <a:gd name="T30" fmla="*/ 72 w 132"/>
              <a:gd name="T31" fmla="*/ 30 h 108"/>
              <a:gd name="T32" fmla="*/ 72 w 132"/>
              <a:gd name="T33" fmla="*/ 30 h 108"/>
              <a:gd name="T34" fmla="*/ 72 w 132"/>
              <a:gd name="T35" fmla="*/ 24 h 108"/>
              <a:gd name="T36" fmla="*/ 72 w 132"/>
              <a:gd name="T37" fmla="*/ 18 h 108"/>
              <a:gd name="T38" fmla="*/ 78 w 132"/>
              <a:gd name="T39" fmla="*/ 18 h 108"/>
              <a:gd name="T40" fmla="*/ 78 w 132"/>
              <a:gd name="T41" fmla="*/ 12 h 108"/>
              <a:gd name="T42" fmla="*/ 102 w 132"/>
              <a:gd name="T43" fmla="*/ 0 h 108"/>
              <a:gd name="T44" fmla="*/ 108 w 132"/>
              <a:gd name="T45" fmla="*/ 12 h 108"/>
              <a:gd name="T46" fmla="*/ 120 w 132"/>
              <a:gd name="T47" fmla="*/ 18 h 108"/>
              <a:gd name="T48" fmla="*/ 126 w 132"/>
              <a:gd name="T49" fmla="*/ 18 h 108"/>
              <a:gd name="T50" fmla="*/ 126 w 132"/>
              <a:gd name="T51" fmla="*/ 30 h 108"/>
              <a:gd name="T52" fmla="*/ 126 w 132"/>
              <a:gd name="T53" fmla="*/ 36 h 108"/>
              <a:gd name="T54" fmla="*/ 126 w 132"/>
              <a:gd name="T55" fmla="*/ 48 h 108"/>
              <a:gd name="T56" fmla="*/ 120 w 132"/>
              <a:gd name="T57" fmla="*/ 54 h 108"/>
              <a:gd name="T58" fmla="*/ 126 w 132"/>
              <a:gd name="T59" fmla="*/ 60 h 108"/>
              <a:gd name="T60" fmla="*/ 120 w 132"/>
              <a:gd name="T61" fmla="*/ 60 h 108"/>
              <a:gd name="T62" fmla="*/ 114 w 132"/>
              <a:gd name="T63" fmla="*/ 60 h 108"/>
              <a:gd name="T64" fmla="*/ 114 w 132"/>
              <a:gd name="T65" fmla="*/ 66 h 108"/>
              <a:gd name="T66" fmla="*/ 102 w 132"/>
              <a:gd name="T67" fmla="*/ 66 h 108"/>
              <a:gd name="T68" fmla="*/ 102 w 132"/>
              <a:gd name="T69" fmla="*/ 72 h 108"/>
              <a:gd name="T70" fmla="*/ 108 w 132"/>
              <a:gd name="T71" fmla="*/ 78 h 108"/>
              <a:gd name="T72" fmla="*/ 102 w 132"/>
              <a:gd name="T73" fmla="*/ 78 h 108"/>
              <a:gd name="T74" fmla="*/ 102 w 132"/>
              <a:gd name="T75" fmla="*/ 78 h 108"/>
              <a:gd name="T76" fmla="*/ 96 w 132"/>
              <a:gd name="T77" fmla="*/ 78 h 108"/>
              <a:gd name="T78" fmla="*/ 96 w 132"/>
              <a:gd name="T79" fmla="*/ 84 h 108"/>
              <a:gd name="T80" fmla="*/ 90 w 132"/>
              <a:gd name="T81" fmla="*/ 84 h 108"/>
              <a:gd name="T82" fmla="*/ 84 w 132"/>
              <a:gd name="T83" fmla="*/ 84 h 108"/>
              <a:gd name="T84" fmla="*/ 84 w 132"/>
              <a:gd name="T85" fmla="*/ 84 h 108"/>
              <a:gd name="T86" fmla="*/ 78 w 132"/>
              <a:gd name="T87" fmla="*/ 84 h 108"/>
              <a:gd name="T88" fmla="*/ 78 w 132"/>
              <a:gd name="T89" fmla="*/ 84 h 108"/>
              <a:gd name="T90" fmla="*/ 72 w 132"/>
              <a:gd name="T91" fmla="*/ 90 h 108"/>
              <a:gd name="T92" fmla="*/ 66 w 132"/>
              <a:gd name="T93" fmla="*/ 96 h 108"/>
              <a:gd name="T94" fmla="*/ 60 w 132"/>
              <a:gd name="T95" fmla="*/ 102 h 108"/>
              <a:gd name="T96" fmla="*/ 60 w 132"/>
              <a:gd name="T97" fmla="*/ 96 h 108"/>
              <a:gd name="T98" fmla="*/ 54 w 132"/>
              <a:gd name="T99" fmla="*/ 96 h 108"/>
              <a:gd name="T100" fmla="*/ 54 w 132"/>
              <a:gd name="T101" fmla="*/ 96 h 108"/>
              <a:gd name="T102" fmla="*/ 42 w 132"/>
              <a:gd name="T103" fmla="*/ 90 h 108"/>
              <a:gd name="T104" fmla="*/ 30 w 132"/>
              <a:gd name="T105" fmla="*/ 90 h 108"/>
              <a:gd name="T106" fmla="*/ 24 w 132"/>
              <a:gd name="T107" fmla="*/ 90 h 108"/>
              <a:gd name="T108" fmla="*/ 18 w 132"/>
              <a:gd name="T109" fmla="*/ 102 h 108"/>
              <a:gd name="T110" fmla="*/ 18 w 132"/>
              <a:gd name="T111" fmla="*/ 102 h 108"/>
              <a:gd name="T112" fmla="*/ 6 w 132"/>
              <a:gd name="T113" fmla="*/ 102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32" h="108">
                <a:moveTo>
                  <a:pt x="0" y="96"/>
                </a:moveTo>
                <a:lnTo>
                  <a:pt x="0" y="96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12" y="90"/>
                </a:lnTo>
                <a:lnTo>
                  <a:pt x="12" y="90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78"/>
                </a:lnTo>
                <a:lnTo>
                  <a:pt x="18" y="78"/>
                </a:lnTo>
                <a:lnTo>
                  <a:pt x="18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66"/>
                </a:lnTo>
                <a:lnTo>
                  <a:pt x="12" y="66"/>
                </a:lnTo>
                <a:lnTo>
                  <a:pt x="18" y="66"/>
                </a:lnTo>
                <a:lnTo>
                  <a:pt x="18" y="66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54"/>
                </a:lnTo>
                <a:lnTo>
                  <a:pt x="18" y="54"/>
                </a:lnTo>
                <a:lnTo>
                  <a:pt x="24" y="54"/>
                </a:lnTo>
                <a:lnTo>
                  <a:pt x="24" y="54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30" y="42"/>
                </a:lnTo>
                <a:lnTo>
                  <a:pt x="30" y="42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0" y="36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6" y="30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18"/>
                </a:lnTo>
                <a:lnTo>
                  <a:pt x="48" y="18"/>
                </a:lnTo>
                <a:lnTo>
                  <a:pt x="54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8" y="18"/>
                </a:lnTo>
                <a:lnTo>
                  <a:pt x="78" y="18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90" y="6"/>
                </a:lnTo>
                <a:lnTo>
                  <a:pt x="96" y="6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6"/>
                </a:lnTo>
                <a:lnTo>
                  <a:pt x="102" y="6"/>
                </a:lnTo>
                <a:lnTo>
                  <a:pt x="108" y="12"/>
                </a:lnTo>
                <a:lnTo>
                  <a:pt x="114" y="18"/>
                </a:lnTo>
                <a:lnTo>
                  <a:pt x="114" y="18"/>
                </a:lnTo>
                <a:lnTo>
                  <a:pt x="114" y="12"/>
                </a:lnTo>
                <a:lnTo>
                  <a:pt x="120" y="18"/>
                </a:lnTo>
                <a:lnTo>
                  <a:pt x="120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24"/>
                </a:lnTo>
                <a:lnTo>
                  <a:pt x="126" y="18"/>
                </a:lnTo>
                <a:lnTo>
                  <a:pt x="126" y="24"/>
                </a:lnTo>
                <a:lnTo>
                  <a:pt x="126" y="24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6" y="36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54"/>
                </a:lnTo>
                <a:lnTo>
                  <a:pt x="120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60"/>
                </a:lnTo>
                <a:lnTo>
                  <a:pt x="126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6"/>
                </a:lnTo>
                <a:lnTo>
                  <a:pt x="114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72"/>
                </a:lnTo>
                <a:lnTo>
                  <a:pt x="108" y="66"/>
                </a:lnTo>
                <a:lnTo>
                  <a:pt x="102" y="66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90"/>
                </a:lnTo>
                <a:lnTo>
                  <a:pt x="78" y="84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48" y="96"/>
                </a:lnTo>
                <a:lnTo>
                  <a:pt x="48" y="90"/>
                </a:lnTo>
                <a:lnTo>
                  <a:pt x="48" y="90"/>
                </a:lnTo>
                <a:lnTo>
                  <a:pt x="42" y="90"/>
                </a:lnTo>
                <a:lnTo>
                  <a:pt x="42" y="90"/>
                </a:lnTo>
                <a:lnTo>
                  <a:pt x="36" y="96"/>
                </a:lnTo>
                <a:lnTo>
                  <a:pt x="30" y="96"/>
                </a:lnTo>
                <a:lnTo>
                  <a:pt x="30" y="90"/>
                </a:lnTo>
                <a:lnTo>
                  <a:pt x="30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8"/>
                </a:lnTo>
                <a:lnTo>
                  <a:pt x="12" y="108"/>
                </a:lnTo>
                <a:lnTo>
                  <a:pt x="12" y="102"/>
                </a:lnTo>
                <a:lnTo>
                  <a:pt x="12" y="102"/>
                </a:lnTo>
                <a:lnTo>
                  <a:pt x="6" y="102"/>
                </a:lnTo>
                <a:lnTo>
                  <a:pt x="6" y="96"/>
                </a:lnTo>
                <a:lnTo>
                  <a:pt x="0" y="96"/>
                </a:lnTo>
                <a:lnTo>
                  <a:pt x="0" y="9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48" name="Freeform 181"/>
          <p:cNvSpPr>
            <a:spLocks/>
          </p:cNvSpPr>
          <p:nvPr/>
        </p:nvSpPr>
        <p:spPr bwMode="auto">
          <a:xfrm>
            <a:off x="8785493" y="2175655"/>
            <a:ext cx="44968" cy="25696"/>
          </a:xfrm>
          <a:custGeom>
            <a:avLst/>
            <a:gdLst>
              <a:gd name="T0" fmla="*/ 0 w 42"/>
              <a:gd name="T1" fmla="*/ 12 h 24"/>
              <a:gd name="T2" fmla="*/ 0 w 42"/>
              <a:gd name="T3" fmla="*/ 6 h 24"/>
              <a:gd name="T4" fmla="*/ 6 w 42"/>
              <a:gd name="T5" fmla="*/ 6 h 24"/>
              <a:gd name="T6" fmla="*/ 12 w 42"/>
              <a:gd name="T7" fmla="*/ 6 h 24"/>
              <a:gd name="T8" fmla="*/ 18 w 42"/>
              <a:gd name="T9" fmla="*/ 6 h 24"/>
              <a:gd name="T10" fmla="*/ 18 w 42"/>
              <a:gd name="T11" fmla="*/ 6 h 24"/>
              <a:gd name="T12" fmla="*/ 24 w 42"/>
              <a:gd name="T13" fmla="*/ 0 h 24"/>
              <a:gd name="T14" fmla="*/ 24 w 42"/>
              <a:gd name="T15" fmla="*/ 0 h 24"/>
              <a:gd name="T16" fmla="*/ 30 w 42"/>
              <a:gd name="T17" fmla="*/ 0 h 24"/>
              <a:gd name="T18" fmla="*/ 30 w 42"/>
              <a:gd name="T19" fmla="*/ 0 h 24"/>
              <a:gd name="T20" fmla="*/ 30 w 42"/>
              <a:gd name="T21" fmla="*/ 0 h 24"/>
              <a:gd name="T22" fmla="*/ 30 w 42"/>
              <a:gd name="T23" fmla="*/ 0 h 24"/>
              <a:gd name="T24" fmla="*/ 30 w 42"/>
              <a:gd name="T25" fmla="*/ 0 h 24"/>
              <a:gd name="T26" fmla="*/ 36 w 42"/>
              <a:gd name="T27" fmla="*/ 0 h 24"/>
              <a:gd name="T28" fmla="*/ 36 w 42"/>
              <a:gd name="T29" fmla="*/ 0 h 24"/>
              <a:gd name="T30" fmla="*/ 36 w 42"/>
              <a:gd name="T31" fmla="*/ 0 h 24"/>
              <a:gd name="T32" fmla="*/ 36 w 42"/>
              <a:gd name="T33" fmla="*/ 6 h 24"/>
              <a:gd name="T34" fmla="*/ 42 w 42"/>
              <a:gd name="T35" fmla="*/ 6 h 24"/>
              <a:gd name="T36" fmla="*/ 36 w 42"/>
              <a:gd name="T37" fmla="*/ 12 h 24"/>
              <a:gd name="T38" fmla="*/ 36 w 42"/>
              <a:gd name="T39" fmla="*/ 18 h 24"/>
              <a:gd name="T40" fmla="*/ 36 w 42"/>
              <a:gd name="T41" fmla="*/ 18 h 24"/>
              <a:gd name="T42" fmla="*/ 36 w 42"/>
              <a:gd name="T43" fmla="*/ 18 h 24"/>
              <a:gd name="T44" fmla="*/ 36 w 42"/>
              <a:gd name="T45" fmla="*/ 24 h 24"/>
              <a:gd name="T46" fmla="*/ 36 w 42"/>
              <a:gd name="T47" fmla="*/ 24 h 24"/>
              <a:gd name="T48" fmla="*/ 36 w 42"/>
              <a:gd name="T49" fmla="*/ 24 h 24"/>
              <a:gd name="T50" fmla="*/ 36 w 42"/>
              <a:gd name="T51" fmla="*/ 24 h 24"/>
              <a:gd name="T52" fmla="*/ 30 w 42"/>
              <a:gd name="T53" fmla="*/ 24 h 24"/>
              <a:gd name="T54" fmla="*/ 30 w 42"/>
              <a:gd name="T55" fmla="*/ 24 h 24"/>
              <a:gd name="T56" fmla="*/ 30 w 42"/>
              <a:gd name="T57" fmla="*/ 24 h 24"/>
              <a:gd name="T58" fmla="*/ 24 w 42"/>
              <a:gd name="T59" fmla="*/ 24 h 24"/>
              <a:gd name="T60" fmla="*/ 18 w 42"/>
              <a:gd name="T61" fmla="*/ 24 h 24"/>
              <a:gd name="T62" fmla="*/ 6 w 42"/>
              <a:gd name="T63" fmla="*/ 12 h 24"/>
              <a:gd name="T64" fmla="*/ 6 w 42"/>
              <a:gd name="T65" fmla="*/ 12 h 24"/>
              <a:gd name="T66" fmla="*/ 6 w 42"/>
              <a:gd name="T67" fmla="*/ 12 h 24"/>
              <a:gd name="T68" fmla="*/ 0 w 42"/>
              <a:gd name="T69" fmla="*/ 12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2" h="24">
                <a:moveTo>
                  <a:pt x="0" y="12"/>
                </a:moveTo>
                <a:lnTo>
                  <a:pt x="0" y="12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6" y="6"/>
                </a:lnTo>
                <a:lnTo>
                  <a:pt x="6" y="0"/>
                </a:lnTo>
                <a:lnTo>
                  <a:pt x="12" y="6"/>
                </a:lnTo>
                <a:lnTo>
                  <a:pt x="12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18" y="24"/>
                </a:lnTo>
                <a:lnTo>
                  <a:pt x="12" y="24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8"/>
                </a:lnTo>
                <a:lnTo>
                  <a:pt x="0" y="1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49" name="Freeform 182"/>
          <p:cNvSpPr>
            <a:spLocks/>
          </p:cNvSpPr>
          <p:nvPr/>
        </p:nvSpPr>
        <p:spPr bwMode="auto">
          <a:xfrm>
            <a:off x="7995335" y="2124262"/>
            <a:ext cx="205570" cy="167026"/>
          </a:xfrm>
          <a:custGeom>
            <a:avLst/>
            <a:gdLst>
              <a:gd name="T0" fmla="*/ 6 w 192"/>
              <a:gd name="T1" fmla="*/ 120 h 156"/>
              <a:gd name="T2" fmla="*/ 12 w 192"/>
              <a:gd name="T3" fmla="*/ 114 h 156"/>
              <a:gd name="T4" fmla="*/ 18 w 192"/>
              <a:gd name="T5" fmla="*/ 108 h 156"/>
              <a:gd name="T6" fmla="*/ 24 w 192"/>
              <a:gd name="T7" fmla="*/ 108 h 156"/>
              <a:gd name="T8" fmla="*/ 24 w 192"/>
              <a:gd name="T9" fmla="*/ 102 h 156"/>
              <a:gd name="T10" fmla="*/ 30 w 192"/>
              <a:gd name="T11" fmla="*/ 84 h 156"/>
              <a:gd name="T12" fmla="*/ 30 w 192"/>
              <a:gd name="T13" fmla="*/ 66 h 156"/>
              <a:gd name="T14" fmla="*/ 18 w 192"/>
              <a:gd name="T15" fmla="*/ 54 h 156"/>
              <a:gd name="T16" fmla="*/ 18 w 192"/>
              <a:gd name="T17" fmla="*/ 36 h 156"/>
              <a:gd name="T18" fmla="*/ 12 w 192"/>
              <a:gd name="T19" fmla="*/ 18 h 156"/>
              <a:gd name="T20" fmla="*/ 18 w 192"/>
              <a:gd name="T21" fmla="*/ 18 h 156"/>
              <a:gd name="T22" fmla="*/ 60 w 192"/>
              <a:gd name="T23" fmla="*/ 6 h 156"/>
              <a:gd name="T24" fmla="*/ 96 w 192"/>
              <a:gd name="T25" fmla="*/ 12 h 156"/>
              <a:gd name="T26" fmla="*/ 114 w 192"/>
              <a:gd name="T27" fmla="*/ 0 h 156"/>
              <a:gd name="T28" fmla="*/ 126 w 192"/>
              <a:gd name="T29" fmla="*/ 0 h 156"/>
              <a:gd name="T30" fmla="*/ 150 w 192"/>
              <a:gd name="T31" fmla="*/ 0 h 156"/>
              <a:gd name="T32" fmla="*/ 156 w 192"/>
              <a:gd name="T33" fmla="*/ 0 h 156"/>
              <a:gd name="T34" fmla="*/ 168 w 192"/>
              <a:gd name="T35" fmla="*/ 12 h 156"/>
              <a:gd name="T36" fmla="*/ 180 w 192"/>
              <a:gd name="T37" fmla="*/ 18 h 156"/>
              <a:gd name="T38" fmla="*/ 192 w 192"/>
              <a:gd name="T39" fmla="*/ 24 h 156"/>
              <a:gd name="T40" fmla="*/ 180 w 192"/>
              <a:gd name="T41" fmla="*/ 42 h 156"/>
              <a:gd name="T42" fmla="*/ 168 w 192"/>
              <a:gd name="T43" fmla="*/ 42 h 156"/>
              <a:gd name="T44" fmla="*/ 168 w 192"/>
              <a:gd name="T45" fmla="*/ 54 h 156"/>
              <a:gd name="T46" fmla="*/ 162 w 192"/>
              <a:gd name="T47" fmla="*/ 54 h 156"/>
              <a:gd name="T48" fmla="*/ 156 w 192"/>
              <a:gd name="T49" fmla="*/ 54 h 156"/>
              <a:gd name="T50" fmla="*/ 162 w 192"/>
              <a:gd name="T51" fmla="*/ 60 h 156"/>
              <a:gd name="T52" fmla="*/ 162 w 192"/>
              <a:gd name="T53" fmla="*/ 66 h 156"/>
              <a:gd name="T54" fmla="*/ 108 w 192"/>
              <a:gd name="T55" fmla="*/ 108 h 156"/>
              <a:gd name="T56" fmla="*/ 114 w 192"/>
              <a:gd name="T57" fmla="*/ 114 h 156"/>
              <a:gd name="T58" fmla="*/ 114 w 192"/>
              <a:gd name="T59" fmla="*/ 114 h 156"/>
              <a:gd name="T60" fmla="*/ 114 w 192"/>
              <a:gd name="T61" fmla="*/ 114 h 156"/>
              <a:gd name="T62" fmla="*/ 108 w 192"/>
              <a:gd name="T63" fmla="*/ 114 h 156"/>
              <a:gd name="T64" fmla="*/ 102 w 192"/>
              <a:gd name="T65" fmla="*/ 114 h 156"/>
              <a:gd name="T66" fmla="*/ 96 w 192"/>
              <a:gd name="T67" fmla="*/ 108 h 156"/>
              <a:gd name="T68" fmla="*/ 90 w 192"/>
              <a:gd name="T69" fmla="*/ 108 h 156"/>
              <a:gd name="T70" fmla="*/ 78 w 192"/>
              <a:gd name="T71" fmla="*/ 108 h 156"/>
              <a:gd name="T72" fmla="*/ 84 w 192"/>
              <a:gd name="T73" fmla="*/ 132 h 156"/>
              <a:gd name="T74" fmla="*/ 78 w 192"/>
              <a:gd name="T75" fmla="*/ 144 h 156"/>
              <a:gd name="T76" fmla="*/ 72 w 192"/>
              <a:gd name="T77" fmla="*/ 156 h 156"/>
              <a:gd name="T78" fmla="*/ 66 w 192"/>
              <a:gd name="T79" fmla="*/ 156 h 156"/>
              <a:gd name="T80" fmla="*/ 60 w 192"/>
              <a:gd name="T81" fmla="*/ 156 h 156"/>
              <a:gd name="T82" fmla="*/ 54 w 192"/>
              <a:gd name="T83" fmla="*/ 150 h 156"/>
              <a:gd name="T84" fmla="*/ 54 w 192"/>
              <a:gd name="T85" fmla="*/ 144 h 156"/>
              <a:gd name="T86" fmla="*/ 54 w 192"/>
              <a:gd name="T87" fmla="*/ 144 h 156"/>
              <a:gd name="T88" fmla="*/ 48 w 192"/>
              <a:gd name="T89" fmla="*/ 138 h 156"/>
              <a:gd name="T90" fmla="*/ 42 w 192"/>
              <a:gd name="T91" fmla="*/ 132 h 156"/>
              <a:gd name="T92" fmla="*/ 36 w 192"/>
              <a:gd name="T93" fmla="*/ 138 h 156"/>
              <a:gd name="T94" fmla="*/ 30 w 192"/>
              <a:gd name="T95" fmla="*/ 138 h 156"/>
              <a:gd name="T96" fmla="*/ 24 w 192"/>
              <a:gd name="T97" fmla="*/ 138 h 156"/>
              <a:gd name="T98" fmla="*/ 18 w 192"/>
              <a:gd name="T99" fmla="*/ 138 h 156"/>
              <a:gd name="T100" fmla="*/ 18 w 192"/>
              <a:gd name="T101" fmla="*/ 138 h 156"/>
              <a:gd name="T102" fmla="*/ 12 w 192"/>
              <a:gd name="T103" fmla="*/ 132 h 156"/>
              <a:gd name="T104" fmla="*/ 6 w 192"/>
              <a:gd name="T105" fmla="*/ 132 h 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92" h="156">
                <a:moveTo>
                  <a:pt x="0" y="126"/>
                </a:moveTo>
                <a:lnTo>
                  <a:pt x="0" y="126"/>
                </a:lnTo>
                <a:lnTo>
                  <a:pt x="0" y="126"/>
                </a:lnTo>
                <a:lnTo>
                  <a:pt x="0" y="120"/>
                </a:lnTo>
                <a:lnTo>
                  <a:pt x="0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8" y="114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96"/>
                </a:lnTo>
                <a:lnTo>
                  <a:pt x="30" y="96"/>
                </a:lnTo>
                <a:lnTo>
                  <a:pt x="30" y="90"/>
                </a:lnTo>
                <a:lnTo>
                  <a:pt x="30" y="84"/>
                </a:lnTo>
                <a:lnTo>
                  <a:pt x="30" y="84"/>
                </a:lnTo>
                <a:lnTo>
                  <a:pt x="30" y="78"/>
                </a:lnTo>
                <a:lnTo>
                  <a:pt x="30" y="78"/>
                </a:lnTo>
                <a:lnTo>
                  <a:pt x="36" y="72"/>
                </a:lnTo>
                <a:lnTo>
                  <a:pt x="36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0"/>
                </a:lnTo>
                <a:lnTo>
                  <a:pt x="30" y="60"/>
                </a:lnTo>
                <a:lnTo>
                  <a:pt x="24" y="60"/>
                </a:lnTo>
                <a:lnTo>
                  <a:pt x="18" y="60"/>
                </a:lnTo>
                <a:lnTo>
                  <a:pt x="18" y="54"/>
                </a:lnTo>
                <a:lnTo>
                  <a:pt x="18" y="54"/>
                </a:lnTo>
                <a:lnTo>
                  <a:pt x="18" y="48"/>
                </a:lnTo>
                <a:lnTo>
                  <a:pt x="18" y="42"/>
                </a:lnTo>
                <a:lnTo>
                  <a:pt x="18" y="42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2" y="30"/>
                </a:lnTo>
                <a:lnTo>
                  <a:pt x="12" y="30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2"/>
                </a:lnTo>
                <a:lnTo>
                  <a:pt x="30" y="6"/>
                </a:lnTo>
                <a:lnTo>
                  <a:pt x="36" y="6"/>
                </a:lnTo>
                <a:lnTo>
                  <a:pt x="48" y="6"/>
                </a:lnTo>
                <a:lnTo>
                  <a:pt x="54" y="6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72" y="12"/>
                </a:lnTo>
                <a:lnTo>
                  <a:pt x="84" y="12"/>
                </a:lnTo>
                <a:lnTo>
                  <a:pt x="96" y="12"/>
                </a:lnTo>
                <a:lnTo>
                  <a:pt x="102" y="12"/>
                </a:lnTo>
                <a:lnTo>
                  <a:pt x="102" y="6"/>
                </a:lnTo>
                <a:lnTo>
                  <a:pt x="108" y="6"/>
                </a:lnTo>
                <a:lnTo>
                  <a:pt x="108" y="6"/>
                </a:lnTo>
                <a:lnTo>
                  <a:pt x="114" y="0"/>
                </a:lnTo>
                <a:lnTo>
                  <a:pt x="114" y="0"/>
                </a:lnTo>
                <a:lnTo>
                  <a:pt x="114" y="0"/>
                </a:lnTo>
                <a:lnTo>
                  <a:pt x="120" y="0"/>
                </a:lnTo>
                <a:lnTo>
                  <a:pt x="120" y="0"/>
                </a:lnTo>
                <a:lnTo>
                  <a:pt x="120" y="0"/>
                </a:lnTo>
                <a:lnTo>
                  <a:pt x="126" y="0"/>
                </a:lnTo>
                <a:lnTo>
                  <a:pt x="126" y="0"/>
                </a:lnTo>
                <a:lnTo>
                  <a:pt x="126" y="0"/>
                </a:lnTo>
                <a:lnTo>
                  <a:pt x="132" y="0"/>
                </a:lnTo>
                <a:lnTo>
                  <a:pt x="138" y="0"/>
                </a:lnTo>
                <a:lnTo>
                  <a:pt x="144" y="0"/>
                </a:lnTo>
                <a:lnTo>
                  <a:pt x="144" y="0"/>
                </a:lnTo>
                <a:lnTo>
                  <a:pt x="150" y="0"/>
                </a:lnTo>
                <a:lnTo>
                  <a:pt x="150" y="0"/>
                </a:lnTo>
                <a:lnTo>
                  <a:pt x="150" y="0"/>
                </a:lnTo>
                <a:lnTo>
                  <a:pt x="150" y="0"/>
                </a:lnTo>
                <a:lnTo>
                  <a:pt x="150" y="0"/>
                </a:lnTo>
                <a:lnTo>
                  <a:pt x="156" y="0"/>
                </a:lnTo>
                <a:lnTo>
                  <a:pt x="156" y="0"/>
                </a:lnTo>
                <a:lnTo>
                  <a:pt x="156" y="0"/>
                </a:lnTo>
                <a:lnTo>
                  <a:pt x="156" y="6"/>
                </a:lnTo>
                <a:lnTo>
                  <a:pt x="162" y="6"/>
                </a:lnTo>
                <a:lnTo>
                  <a:pt x="162" y="6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74" y="18"/>
                </a:lnTo>
                <a:lnTo>
                  <a:pt x="174" y="18"/>
                </a:lnTo>
                <a:lnTo>
                  <a:pt x="174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92" y="24"/>
                </a:lnTo>
                <a:lnTo>
                  <a:pt x="192" y="30"/>
                </a:lnTo>
                <a:lnTo>
                  <a:pt x="192" y="30"/>
                </a:lnTo>
                <a:lnTo>
                  <a:pt x="180" y="42"/>
                </a:lnTo>
                <a:lnTo>
                  <a:pt x="180" y="42"/>
                </a:lnTo>
                <a:lnTo>
                  <a:pt x="180" y="42"/>
                </a:lnTo>
                <a:lnTo>
                  <a:pt x="180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68" y="42"/>
                </a:lnTo>
                <a:lnTo>
                  <a:pt x="168" y="48"/>
                </a:lnTo>
                <a:lnTo>
                  <a:pt x="168" y="48"/>
                </a:lnTo>
                <a:lnTo>
                  <a:pt x="168" y="48"/>
                </a:lnTo>
                <a:lnTo>
                  <a:pt x="168" y="48"/>
                </a:lnTo>
                <a:lnTo>
                  <a:pt x="168" y="48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62" y="54"/>
                </a:lnTo>
                <a:lnTo>
                  <a:pt x="162" y="54"/>
                </a:lnTo>
                <a:lnTo>
                  <a:pt x="162" y="54"/>
                </a:lnTo>
                <a:lnTo>
                  <a:pt x="162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60"/>
                </a:lnTo>
                <a:lnTo>
                  <a:pt x="156" y="60"/>
                </a:lnTo>
                <a:lnTo>
                  <a:pt x="156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6"/>
                </a:lnTo>
                <a:lnTo>
                  <a:pt x="162" y="66"/>
                </a:lnTo>
                <a:lnTo>
                  <a:pt x="156" y="66"/>
                </a:lnTo>
                <a:lnTo>
                  <a:pt x="162" y="66"/>
                </a:lnTo>
                <a:lnTo>
                  <a:pt x="162" y="66"/>
                </a:lnTo>
                <a:lnTo>
                  <a:pt x="162" y="66"/>
                </a:lnTo>
                <a:lnTo>
                  <a:pt x="162" y="72"/>
                </a:lnTo>
                <a:lnTo>
                  <a:pt x="162" y="72"/>
                </a:lnTo>
                <a:lnTo>
                  <a:pt x="132" y="78"/>
                </a:lnTo>
                <a:lnTo>
                  <a:pt x="120" y="90"/>
                </a:lnTo>
                <a:lnTo>
                  <a:pt x="114" y="108"/>
                </a:lnTo>
                <a:lnTo>
                  <a:pt x="108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0" y="108"/>
                </a:lnTo>
                <a:lnTo>
                  <a:pt x="90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14"/>
                </a:lnTo>
                <a:lnTo>
                  <a:pt x="78" y="120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84" y="132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44"/>
                </a:lnTo>
                <a:lnTo>
                  <a:pt x="84" y="144"/>
                </a:lnTo>
                <a:lnTo>
                  <a:pt x="78" y="144"/>
                </a:lnTo>
                <a:lnTo>
                  <a:pt x="78" y="150"/>
                </a:lnTo>
                <a:lnTo>
                  <a:pt x="78" y="150"/>
                </a:lnTo>
                <a:lnTo>
                  <a:pt x="78" y="156"/>
                </a:lnTo>
                <a:lnTo>
                  <a:pt x="78" y="150"/>
                </a:lnTo>
                <a:lnTo>
                  <a:pt x="72" y="156"/>
                </a:lnTo>
                <a:lnTo>
                  <a:pt x="72" y="156"/>
                </a:lnTo>
                <a:lnTo>
                  <a:pt x="72" y="156"/>
                </a:lnTo>
                <a:lnTo>
                  <a:pt x="72" y="150"/>
                </a:lnTo>
                <a:lnTo>
                  <a:pt x="66" y="150"/>
                </a:lnTo>
                <a:lnTo>
                  <a:pt x="66" y="156"/>
                </a:lnTo>
                <a:lnTo>
                  <a:pt x="66" y="156"/>
                </a:lnTo>
                <a:lnTo>
                  <a:pt x="66" y="156"/>
                </a:lnTo>
                <a:lnTo>
                  <a:pt x="66" y="150"/>
                </a:lnTo>
                <a:lnTo>
                  <a:pt x="66" y="150"/>
                </a:lnTo>
                <a:lnTo>
                  <a:pt x="66" y="156"/>
                </a:lnTo>
                <a:lnTo>
                  <a:pt x="60" y="156"/>
                </a:lnTo>
                <a:lnTo>
                  <a:pt x="60" y="156"/>
                </a:lnTo>
                <a:lnTo>
                  <a:pt x="60" y="156"/>
                </a:lnTo>
                <a:lnTo>
                  <a:pt x="60" y="156"/>
                </a:lnTo>
                <a:lnTo>
                  <a:pt x="60" y="156"/>
                </a:lnTo>
                <a:lnTo>
                  <a:pt x="60" y="156"/>
                </a:lnTo>
                <a:lnTo>
                  <a:pt x="60" y="150"/>
                </a:lnTo>
                <a:lnTo>
                  <a:pt x="54" y="150"/>
                </a:lnTo>
                <a:lnTo>
                  <a:pt x="54" y="150"/>
                </a:lnTo>
                <a:lnTo>
                  <a:pt x="60" y="150"/>
                </a:lnTo>
                <a:lnTo>
                  <a:pt x="54" y="150"/>
                </a:lnTo>
                <a:lnTo>
                  <a:pt x="60" y="150"/>
                </a:lnTo>
                <a:lnTo>
                  <a:pt x="54" y="150"/>
                </a:lnTo>
                <a:lnTo>
                  <a:pt x="54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38"/>
                </a:lnTo>
                <a:lnTo>
                  <a:pt x="54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2" y="132"/>
                </a:lnTo>
                <a:lnTo>
                  <a:pt x="42" y="132"/>
                </a:lnTo>
                <a:lnTo>
                  <a:pt x="42" y="138"/>
                </a:lnTo>
                <a:lnTo>
                  <a:pt x="42" y="132"/>
                </a:lnTo>
                <a:lnTo>
                  <a:pt x="42" y="138"/>
                </a:lnTo>
                <a:lnTo>
                  <a:pt x="42" y="132"/>
                </a:lnTo>
                <a:lnTo>
                  <a:pt x="36" y="138"/>
                </a:lnTo>
                <a:lnTo>
                  <a:pt x="36" y="132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0" y="138"/>
                </a:lnTo>
                <a:lnTo>
                  <a:pt x="30" y="138"/>
                </a:lnTo>
                <a:lnTo>
                  <a:pt x="30" y="138"/>
                </a:lnTo>
                <a:lnTo>
                  <a:pt x="30" y="132"/>
                </a:lnTo>
                <a:lnTo>
                  <a:pt x="30" y="132"/>
                </a:lnTo>
                <a:lnTo>
                  <a:pt x="24" y="138"/>
                </a:lnTo>
                <a:lnTo>
                  <a:pt x="24" y="132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2" y="138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6" y="132"/>
                </a:lnTo>
                <a:lnTo>
                  <a:pt x="6" y="132"/>
                </a:lnTo>
                <a:lnTo>
                  <a:pt x="6" y="132"/>
                </a:lnTo>
                <a:lnTo>
                  <a:pt x="6" y="132"/>
                </a:lnTo>
                <a:lnTo>
                  <a:pt x="6" y="132"/>
                </a:lnTo>
                <a:lnTo>
                  <a:pt x="6" y="132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0" y="12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50" name="Freeform 183"/>
          <p:cNvSpPr>
            <a:spLocks/>
          </p:cNvSpPr>
          <p:nvPr/>
        </p:nvSpPr>
        <p:spPr bwMode="auto">
          <a:xfrm>
            <a:off x="8355082" y="2201351"/>
            <a:ext cx="186297" cy="160602"/>
          </a:xfrm>
          <a:custGeom>
            <a:avLst/>
            <a:gdLst>
              <a:gd name="T0" fmla="*/ 6 w 174"/>
              <a:gd name="T1" fmla="*/ 42 h 150"/>
              <a:gd name="T2" fmla="*/ 18 w 174"/>
              <a:gd name="T3" fmla="*/ 36 h 150"/>
              <a:gd name="T4" fmla="*/ 24 w 174"/>
              <a:gd name="T5" fmla="*/ 30 h 150"/>
              <a:gd name="T6" fmla="*/ 36 w 174"/>
              <a:gd name="T7" fmla="*/ 24 h 150"/>
              <a:gd name="T8" fmla="*/ 48 w 174"/>
              <a:gd name="T9" fmla="*/ 24 h 150"/>
              <a:gd name="T10" fmla="*/ 54 w 174"/>
              <a:gd name="T11" fmla="*/ 24 h 150"/>
              <a:gd name="T12" fmla="*/ 60 w 174"/>
              <a:gd name="T13" fmla="*/ 18 h 150"/>
              <a:gd name="T14" fmla="*/ 72 w 174"/>
              <a:gd name="T15" fmla="*/ 12 h 150"/>
              <a:gd name="T16" fmla="*/ 72 w 174"/>
              <a:gd name="T17" fmla="*/ 6 h 150"/>
              <a:gd name="T18" fmla="*/ 84 w 174"/>
              <a:gd name="T19" fmla="*/ 0 h 150"/>
              <a:gd name="T20" fmla="*/ 84 w 174"/>
              <a:gd name="T21" fmla="*/ 6 h 150"/>
              <a:gd name="T22" fmla="*/ 84 w 174"/>
              <a:gd name="T23" fmla="*/ 12 h 150"/>
              <a:gd name="T24" fmla="*/ 96 w 174"/>
              <a:gd name="T25" fmla="*/ 12 h 150"/>
              <a:gd name="T26" fmla="*/ 102 w 174"/>
              <a:gd name="T27" fmla="*/ 6 h 150"/>
              <a:gd name="T28" fmla="*/ 114 w 174"/>
              <a:gd name="T29" fmla="*/ 6 h 150"/>
              <a:gd name="T30" fmla="*/ 120 w 174"/>
              <a:gd name="T31" fmla="*/ 12 h 150"/>
              <a:gd name="T32" fmla="*/ 126 w 174"/>
              <a:gd name="T33" fmla="*/ 12 h 150"/>
              <a:gd name="T34" fmla="*/ 132 w 174"/>
              <a:gd name="T35" fmla="*/ 12 h 150"/>
              <a:gd name="T36" fmla="*/ 138 w 174"/>
              <a:gd name="T37" fmla="*/ 18 h 150"/>
              <a:gd name="T38" fmla="*/ 138 w 174"/>
              <a:gd name="T39" fmla="*/ 30 h 150"/>
              <a:gd name="T40" fmla="*/ 138 w 174"/>
              <a:gd name="T41" fmla="*/ 36 h 150"/>
              <a:gd name="T42" fmla="*/ 144 w 174"/>
              <a:gd name="T43" fmla="*/ 42 h 150"/>
              <a:gd name="T44" fmla="*/ 150 w 174"/>
              <a:gd name="T45" fmla="*/ 48 h 150"/>
              <a:gd name="T46" fmla="*/ 168 w 174"/>
              <a:gd name="T47" fmla="*/ 54 h 150"/>
              <a:gd name="T48" fmla="*/ 162 w 174"/>
              <a:gd name="T49" fmla="*/ 66 h 150"/>
              <a:gd name="T50" fmla="*/ 168 w 174"/>
              <a:gd name="T51" fmla="*/ 78 h 150"/>
              <a:gd name="T52" fmla="*/ 162 w 174"/>
              <a:gd name="T53" fmla="*/ 78 h 150"/>
              <a:gd name="T54" fmla="*/ 138 w 174"/>
              <a:gd name="T55" fmla="*/ 66 h 150"/>
              <a:gd name="T56" fmla="*/ 132 w 174"/>
              <a:gd name="T57" fmla="*/ 72 h 150"/>
              <a:gd name="T58" fmla="*/ 126 w 174"/>
              <a:gd name="T59" fmla="*/ 66 h 150"/>
              <a:gd name="T60" fmla="*/ 108 w 174"/>
              <a:gd name="T61" fmla="*/ 66 h 150"/>
              <a:gd name="T62" fmla="*/ 108 w 174"/>
              <a:gd name="T63" fmla="*/ 126 h 150"/>
              <a:gd name="T64" fmla="*/ 102 w 174"/>
              <a:gd name="T65" fmla="*/ 126 h 150"/>
              <a:gd name="T66" fmla="*/ 102 w 174"/>
              <a:gd name="T67" fmla="*/ 126 h 150"/>
              <a:gd name="T68" fmla="*/ 102 w 174"/>
              <a:gd name="T69" fmla="*/ 132 h 150"/>
              <a:gd name="T70" fmla="*/ 90 w 174"/>
              <a:gd name="T71" fmla="*/ 138 h 150"/>
              <a:gd name="T72" fmla="*/ 90 w 174"/>
              <a:gd name="T73" fmla="*/ 138 h 150"/>
              <a:gd name="T74" fmla="*/ 78 w 174"/>
              <a:gd name="T75" fmla="*/ 144 h 150"/>
              <a:gd name="T76" fmla="*/ 66 w 174"/>
              <a:gd name="T77" fmla="*/ 144 h 150"/>
              <a:gd name="T78" fmla="*/ 66 w 174"/>
              <a:gd name="T79" fmla="*/ 144 h 150"/>
              <a:gd name="T80" fmla="*/ 66 w 174"/>
              <a:gd name="T81" fmla="*/ 132 h 150"/>
              <a:gd name="T82" fmla="*/ 60 w 174"/>
              <a:gd name="T83" fmla="*/ 126 h 150"/>
              <a:gd name="T84" fmla="*/ 48 w 174"/>
              <a:gd name="T85" fmla="*/ 132 h 150"/>
              <a:gd name="T86" fmla="*/ 48 w 174"/>
              <a:gd name="T87" fmla="*/ 138 h 150"/>
              <a:gd name="T88" fmla="*/ 30 w 174"/>
              <a:gd name="T89" fmla="*/ 144 h 150"/>
              <a:gd name="T90" fmla="*/ 24 w 174"/>
              <a:gd name="T91" fmla="*/ 102 h 150"/>
              <a:gd name="T92" fmla="*/ 36 w 174"/>
              <a:gd name="T93" fmla="*/ 96 h 150"/>
              <a:gd name="T94" fmla="*/ 54 w 174"/>
              <a:gd name="T95" fmla="*/ 66 h 150"/>
              <a:gd name="T96" fmla="*/ 42 w 174"/>
              <a:gd name="T97" fmla="*/ 66 h 150"/>
              <a:gd name="T98" fmla="*/ 36 w 174"/>
              <a:gd name="T99" fmla="*/ 72 h 150"/>
              <a:gd name="T100" fmla="*/ 24 w 174"/>
              <a:gd name="T101" fmla="*/ 78 h 150"/>
              <a:gd name="T102" fmla="*/ 18 w 174"/>
              <a:gd name="T103" fmla="*/ 72 h 150"/>
              <a:gd name="T104" fmla="*/ 6 w 174"/>
              <a:gd name="T105" fmla="*/ 66 h 150"/>
              <a:gd name="T106" fmla="*/ 6 w 174"/>
              <a:gd name="T107" fmla="*/ 60 h 150"/>
              <a:gd name="T108" fmla="*/ 6 w 174"/>
              <a:gd name="T109" fmla="*/ 54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74" h="150">
                <a:moveTo>
                  <a:pt x="6" y="54"/>
                </a:move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24" y="36"/>
                </a:lnTo>
                <a:lnTo>
                  <a:pt x="24" y="36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30" y="24"/>
                </a:lnTo>
                <a:lnTo>
                  <a:pt x="30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60" y="18"/>
                </a:lnTo>
                <a:lnTo>
                  <a:pt x="60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6"/>
                </a:lnTo>
                <a:lnTo>
                  <a:pt x="96" y="12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8" y="12"/>
                </a:lnTo>
                <a:lnTo>
                  <a:pt x="108" y="12"/>
                </a:lnTo>
                <a:lnTo>
                  <a:pt x="114" y="12"/>
                </a:lnTo>
                <a:lnTo>
                  <a:pt x="114" y="6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44" y="36"/>
                </a:lnTo>
                <a:lnTo>
                  <a:pt x="144" y="36"/>
                </a:lnTo>
                <a:lnTo>
                  <a:pt x="144" y="36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44" y="48"/>
                </a:lnTo>
                <a:lnTo>
                  <a:pt x="144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6" y="54"/>
                </a:lnTo>
                <a:lnTo>
                  <a:pt x="162" y="54"/>
                </a:lnTo>
                <a:lnTo>
                  <a:pt x="162" y="54"/>
                </a:lnTo>
                <a:lnTo>
                  <a:pt x="162" y="54"/>
                </a:lnTo>
                <a:lnTo>
                  <a:pt x="162" y="54"/>
                </a:lnTo>
                <a:lnTo>
                  <a:pt x="162" y="54"/>
                </a:lnTo>
                <a:lnTo>
                  <a:pt x="168" y="54"/>
                </a:lnTo>
                <a:lnTo>
                  <a:pt x="162" y="54"/>
                </a:lnTo>
                <a:lnTo>
                  <a:pt x="168" y="54"/>
                </a:lnTo>
                <a:lnTo>
                  <a:pt x="168" y="48"/>
                </a:lnTo>
                <a:lnTo>
                  <a:pt x="168" y="48"/>
                </a:lnTo>
                <a:lnTo>
                  <a:pt x="168" y="54"/>
                </a:lnTo>
                <a:lnTo>
                  <a:pt x="168" y="66"/>
                </a:lnTo>
                <a:lnTo>
                  <a:pt x="162" y="66"/>
                </a:lnTo>
                <a:lnTo>
                  <a:pt x="168" y="72"/>
                </a:lnTo>
                <a:lnTo>
                  <a:pt x="168" y="72"/>
                </a:lnTo>
                <a:lnTo>
                  <a:pt x="174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8"/>
                </a:lnTo>
                <a:lnTo>
                  <a:pt x="168" y="78"/>
                </a:lnTo>
                <a:lnTo>
                  <a:pt x="168" y="78"/>
                </a:lnTo>
                <a:lnTo>
                  <a:pt x="168" y="72"/>
                </a:lnTo>
                <a:lnTo>
                  <a:pt x="162" y="72"/>
                </a:lnTo>
                <a:lnTo>
                  <a:pt x="162" y="72"/>
                </a:lnTo>
                <a:lnTo>
                  <a:pt x="162" y="72"/>
                </a:lnTo>
                <a:lnTo>
                  <a:pt x="162" y="72"/>
                </a:lnTo>
                <a:lnTo>
                  <a:pt x="162" y="78"/>
                </a:lnTo>
                <a:lnTo>
                  <a:pt x="162" y="78"/>
                </a:lnTo>
                <a:lnTo>
                  <a:pt x="162" y="78"/>
                </a:lnTo>
                <a:lnTo>
                  <a:pt x="156" y="78"/>
                </a:lnTo>
                <a:lnTo>
                  <a:pt x="156" y="84"/>
                </a:lnTo>
                <a:lnTo>
                  <a:pt x="144" y="72"/>
                </a:lnTo>
                <a:lnTo>
                  <a:pt x="138" y="72"/>
                </a:lnTo>
                <a:lnTo>
                  <a:pt x="138" y="66"/>
                </a:lnTo>
                <a:lnTo>
                  <a:pt x="138" y="66"/>
                </a:lnTo>
                <a:lnTo>
                  <a:pt x="138" y="66"/>
                </a:lnTo>
                <a:lnTo>
                  <a:pt x="138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66"/>
                </a:lnTo>
                <a:lnTo>
                  <a:pt x="132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14" y="66"/>
                </a:lnTo>
                <a:lnTo>
                  <a:pt x="114" y="66"/>
                </a:lnTo>
                <a:lnTo>
                  <a:pt x="108" y="66"/>
                </a:lnTo>
                <a:lnTo>
                  <a:pt x="108" y="72"/>
                </a:lnTo>
                <a:lnTo>
                  <a:pt x="108" y="72"/>
                </a:lnTo>
                <a:lnTo>
                  <a:pt x="108" y="84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32"/>
                </a:lnTo>
                <a:lnTo>
                  <a:pt x="108" y="132"/>
                </a:lnTo>
                <a:lnTo>
                  <a:pt x="108" y="132"/>
                </a:lnTo>
                <a:lnTo>
                  <a:pt x="102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26"/>
                </a:lnTo>
                <a:lnTo>
                  <a:pt x="96" y="126"/>
                </a:lnTo>
                <a:lnTo>
                  <a:pt x="96" y="126"/>
                </a:lnTo>
                <a:lnTo>
                  <a:pt x="102" y="126"/>
                </a:lnTo>
                <a:lnTo>
                  <a:pt x="102" y="126"/>
                </a:lnTo>
                <a:lnTo>
                  <a:pt x="96" y="132"/>
                </a:lnTo>
                <a:lnTo>
                  <a:pt x="96" y="132"/>
                </a:lnTo>
                <a:lnTo>
                  <a:pt x="96" y="132"/>
                </a:lnTo>
                <a:lnTo>
                  <a:pt x="96" y="132"/>
                </a:lnTo>
                <a:lnTo>
                  <a:pt x="96" y="132"/>
                </a:lnTo>
                <a:lnTo>
                  <a:pt x="102" y="132"/>
                </a:lnTo>
                <a:lnTo>
                  <a:pt x="102" y="138"/>
                </a:lnTo>
                <a:lnTo>
                  <a:pt x="96" y="138"/>
                </a:lnTo>
                <a:lnTo>
                  <a:pt x="96" y="138"/>
                </a:lnTo>
                <a:lnTo>
                  <a:pt x="96" y="138"/>
                </a:lnTo>
                <a:lnTo>
                  <a:pt x="96" y="138"/>
                </a:lnTo>
                <a:lnTo>
                  <a:pt x="96" y="138"/>
                </a:lnTo>
                <a:lnTo>
                  <a:pt x="90" y="138"/>
                </a:lnTo>
                <a:lnTo>
                  <a:pt x="90" y="138"/>
                </a:lnTo>
                <a:lnTo>
                  <a:pt x="90" y="138"/>
                </a:lnTo>
                <a:lnTo>
                  <a:pt x="90" y="138"/>
                </a:lnTo>
                <a:lnTo>
                  <a:pt x="90" y="144"/>
                </a:lnTo>
                <a:lnTo>
                  <a:pt x="90" y="138"/>
                </a:lnTo>
                <a:lnTo>
                  <a:pt x="90" y="138"/>
                </a:lnTo>
                <a:lnTo>
                  <a:pt x="90" y="138"/>
                </a:lnTo>
                <a:lnTo>
                  <a:pt x="84" y="144"/>
                </a:lnTo>
                <a:lnTo>
                  <a:pt x="84" y="144"/>
                </a:lnTo>
                <a:lnTo>
                  <a:pt x="78" y="144"/>
                </a:lnTo>
                <a:lnTo>
                  <a:pt x="78" y="144"/>
                </a:lnTo>
                <a:lnTo>
                  <a:pt x="78" y="144"/>
                </a:lnTo>
                <a:lnTo>
                  <a:pt x="78" y="144"/>
                </a:lnTo>
                <a:lnTo>
                  <a:pt x="78" y="144"/>
                </a:lnTo>
                <a:lnTo>
                  <a:pt x="78" y="150"/>
                </a:lnTo>
                <a:lnTo>
                  <a:pt x="72" y="150"/>
                </a:lnTo>
                <a:lnTo>
                  <a:pt x="72" y="144"/>
                </a:lnTo>
                <a:lnTo>
                  <a:pt x="72" y="144"/>
                </a:lnTo>
                <a:lnTo>
                  <a:pt x="72" y="144"/>
                </a:lnTo>
                <a:lnTo>
                  <a:pt x="72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72" y="144"/>
                </a:lnTo>
                <a:lnTo>
                  <a:pt x="66" y="138"/>
                </a:lnTo>
                <a:lnTo>
                  <a:pt x="66" y="138"/>
                </a:lnTo>
                <a:lnTo>
                  <a:pt x="66" y="138"/>
                </a:lnTo>
                <a:lnTo>
                  <a:pt x="66" y="138"/>
                </a:lnTo>
                <a:lnTo>
                  <a:pt x="66" y="132"/>
                </a:lnTo>
                <a:lnTo>
                  <a:pt x="66" y="132"/>
                </a:lnTo>
                <a:lnTo>
                  <a:pt x="66" y="132"/>
                </a:lnTo>
                <a:lnTo>
                  <a:pt x="60" y="132"/>
                </a:lnTo>
                <a:lnTo>
                  <a:pt x="60" y="132"/>
                </a:lnTo>
                <a:lnTo>
                  <a:pt x="60" y="132"/>
                </a:lnTo>
                <a:lnTo>
                  <a:pt x="60" y="132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54" y="126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48" y="132"/>
                </a:lnTo>
                <a:lnTo>
                  <a:pt x="48" y="132"/>
                </a:lnTo>
                <a:lnTo>
                  <a:pt x="54" y="132"/>
                </a:lnTo>
                <a:lnTo>
                  <a:pt x="54" y="132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2" y="138"/>
                </a:lnTo>
                <a:lnTo>
                  <a:pt x="42" y="138"/>
                </a:lnTo>
                <a:lnTo>
                  <a:pt x="36" y="144"/>
                </a:lnTo>
                <a:lnTo>
                  <a:pt x="36" y="144"/>
                </a:lnTo>
                <a:lnTo>
                  <a:pt x="30" y="144"/>
                </a:lnTo>
                <a:lnTo>
                  <a:pt x="30" y="150"/>
                </a:lnTo>
                <a:lnTo>
                  <a:pt x="30" y="144"/>
                </a:lnTo>
                <a:lnTo>
                  <a:pt x="30" y="144"/>
                </a:lnTo>
                <a:lnTo>
                  <a:pt x="30" y="138"/>
                </a:lnTo>
                <a:lnTo>
                  <a:pt x="30" y="120"/>
                </a:lnTo>
                <a:lnTo>
                  <a:pt x="30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96"/>
                </a:lnTo>
                <a:lnTo>
                  <a:pt x="36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8" y="90"/>
                </a:lnTo>
                <a:lnTo>
                  <a:pt x="54" y="72"/>
                </a:lnTo>
                <a:lnTo>
                  <a:pt x="54" y="72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0" y="78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24" y="72"/>
                </a:lnTo>
                <a:lnTo>
                  <a:pt x="24" y="78"/>
                </a:lnTo>
                <a:lnTo>
                  <a:pt x="24" y="78"/>
                </a:lnTo>
                <a:lnTo>
                  <a:pt x="24" y="72"/>
                </a:lnTo>
                <a:lnTo>
                  <a:pt x="24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2" y="66"/>
                </a:lnTo>
                <a:lnTo>
                  <a:pt x="12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0" y="54"/>
                </a:lnTo>
                <a:lnTo>
                  <a:pt x="0" y="54"/>
                </a:lnTo>
                <a:lnTo>
                  <a:pt x="6" y="54"/>
                </a:lnTo>
                <a:lnTo>
                  <a:pt x="0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51" name="Freeform 184"/>
          <p:cNvSpPr>
            <a:spLocks/>
          </p:cNvSpPr>
          <p:nvPr/>
        </p:nvSpPr>
        <p:spPr bwMode="auto">
          <a:xfrm>
            <a:off x="8207329" y="2246320"/>
            <a:ext cx="205570" cy="154178"/>
          </a:xfrm>
          <a:custGeom>
            <a:avLst/>
            <a:gdLst>
              <a:gd name="T0" fmla="*/ 6 w 192"/>
              <a:gd name="T1" fmla="*/ 42 h 144"/>
              <a:gd name="T2" fmla="*/ 12 w 192"/>
              <a:gd name="T3" fmla="*/ 42 h 144"/>
              <a:gd name="T4" fmla="*/ 18 w 192"/>
              <a:gd name="T5" fmla="*/ 36 h 144"/>
              <a:gd name="T6" fmla="*/ 18 w 192"/>
              <a:gd name="T7" fmla="*/ 36 h 144"/>
              <a:gd name="T8" fmla="*/ 24 w 192"/>
              <a:gd name="T9" fmla="*/ 36 h 144"/>
              <a:gd name="T10" fmla="*/ 24 w 192"/>
              <a:gd name="T11" fmla="*/ 30 h 144"/>
              <a:gd name="T12" fmla="*/ 24 w 192"/>
              <a:gd name="T13" fmla="*/ 30 h 144"/>
              <a:gd name="T14" fmla="*/ 30 w 192"/>
              <a:gd name="T15" fmla="*/ 24 h 144"/>
              <a:gd name="T16" fmla="*/ 36 w 192"/>
              <a:gd name="T17" fmla="*/ 24 h 144"/>
              <a:gd name="T18" fmla="*/ 36 w 192"/>
              <a:gd name="T19" fmla="*/ 18 h 144"/>
              <a:gd name="T20" fmla="*/ 42 w 192"/>
              <a:gd name="T21" fmla="*/ 18 h 144"/>
              <a:gd name="T22" fmla="*/ 54 w 192"/>
              <a:gd name="T23" fmla="*/ 12 h 144"/>
              <a:gd name="T24" fmla="*/ 72 w 192"/>
              <a:gd name="T25" fmla="*/ 6 h 144"/>
              <a:gd name="T26" fmla="*/ 78 w 192"/>
              <a:gd name="T27" fmla="*/ 12 h 144"/>
              <a:gd name="T28" fmla="*/ 90 w 192"/>
              <a:gd name="T29" fmla="*/ 12 h 144"/>
              <a:gd name="T30" fmla="*/ 102 w 192"/>
              <a:gd name="T31" fmla="*/ 12 h 144"/>
              <a:gd name="T32" fmla="*/ 102 w 192"/>
              <a:gd name="T33" fmla="*/ 18 h 144"/>
              <a:gd name="T34" fmla="*/ 96 w 192"/>
              <a:gd name="T35" fmla="*/ 30 h 144"/>
              <a:gd name="T36" fmla="*/ 102 w 192"/>
              <a:gd name="T37" fmla="*/ 30 h 144"/>
              <a:gd name="T38" fmla="*/ 108 w 192"/>
              <a:gd name="T39" fmla="*/ 24 h 144"/>
              <a:gd name="T40" fmla="*/ 114 w 192"/>
              <a:gd name="T41" fmla="*/ 12 h 144"/>
              <a:gd name="T42" fmla="*/ 120 w 192"/>
              <a:gd name="T43" fmla="*/ 12 h 144"/>
              <a:gd name="T44" fmla="*/ 126 w 192"/>
              <a:gd name="T45" fmla="*/ 12 h 144"/>
              <a:gd name="T46" fmla="*/ 138 w 192"/>
              <a:gd name="T47" fmla="*/ 6 h 144"/>
              <a:gd name="T48" fmla="*/ 144 w 192"/>
              <a:gd name="T49" fmla="*/ 12 h 144"/>
              <a:gd name="T50" fmla="*/ 144 w 192"/>
              <a:gd name="T51" fmla="*/ 18 h 144"/>
              <a:gd name="T52" fmla="*/ 144 w 192"/>
              <a:gd name="T53" fmla="*/ 24 h 144"/>
              <a:gd name="T54" fmla="*/ 156 w 192"/>
              <a:gd name="T55" fmla="*/ 30 h 144"/>
              <a:gd name="T56" fmla="*/ 162 w 192"/>
              <a:gd name="T57" fmla="*/ 30 h 144"/>
              <a:gd name="T58" fmla="*/ 168 w 192"/>
              <a:gd name="T59" fmla="*/ 30 h 144"/>
              <a:gd name="T60" fmla="*/ 174 w 192"/>
              <a:gd name="T61" fmla="*/ 30 h 144"/>
              <a:gd name="T62" fmla="*/ 186 w 192"/>
              <a:gd name="T63" fmla="*/ 24 h 144"/>
              <a:gd name="T64" fmla="*/ 192 w 192"/>
              <a:gd name="T65" fmla="*/ 30 h 144"/>
              <a:gd name="T66" fmla="*/ 174 w 192"/>
              <a:gd name="T67" fmla="*/ 54 h 144"/>
              <a:gd name="T68" fmla="*/ 168 w 192"/>
              <a:gd name="T69" fmla="*/ 60 h 144"/>
              <a:gd name="T70" fmla="*/ 168 w 192"/>
              <a:gd name="T71" fmla="*/ 96 h 144"/>
              <a:gd name="T72" fmla="*/ 174 w 192"/>
              <a:gd name="T73" fmla="*/ 102 h 144"/>
              <a:gd name="T74" fmla="*/ 186 w 192"/>
              <a:gd name="T75" fmla="*/ 102 h 144"/>
              <a:gd name="T76" fmla="*/ 180 w 192"/>
              <a:gd name="T77" fmla="*/ 108 h 144"/>
              <a:gd name="T78" fmla="*/ 174 w 192"/>
              <a:gd name="T79" fmla="*/ 114 h 144"/>
              <a:gd name="T80" fmla="*/ 168 w 192"/>
              <a:gd name="T81" fmla="*/ 126 h 144"/>
              <a:gd name="T82" fmla="*/ 162 w 192"/>
              <a:gd name="T83" fmla="*/ 126 h 144"/>
              <a:gd name="T84" fmla="*/ 150 w 192"/>
              <a:gd name="T85" fmla="*/ 132 h 144"/>
              <a:gd name="T86" fmla="*/ 144 w 192"/>
              <a:gd name="T87" fmla="*/ 144 h 144"/>
              <a:gd name="T88" fmla="*/ 132 w 192"/>
              <a:gd name="T89" fmla="*/ 132 h 144"/>
              <a:gd name="T90" fmla="*/ 126 w 192"/>
              <a:gd name="T91" fmla="*/ 114 h 144"/>
              <a:gd name="T92" fmla="*/ 126 w 192"/>
              <a:gd name="T93" fmla="*/ 108 h 144"/>
              <a:gd name="T94" fmla="*/ 120 w 192"/>
              <a:gd name="T95" fmla="*/ 102 h 144"/>
              <a:gd name="T96" fmla="*/ 108 w 192"/>
              <a:gd name="T97" fmla="*/ 108 h 144"/>
              <a:gd name="T98" fmla="*/ 96 w 192"/>
              <a:gd name="T99" fmla="*/ 96 h 144"/>
              <a:gd name="T100" fmla="*/ 102 w 192"/>
              <a:gd name="T101" fmla="*/ 84 h 144"/>
              <a:gd name="T102" fmla="*/ 90 w 192"/>
              <a:gd name="T103" fmla="*/ 90 h 144"/>
              <a:gd name="T104" fmla="*/ 78 w 192"/>
              <a:gd name="T105" fmla="*/ 102 h 144"/>
              <a:gd name="T106" fmla="*/ 78 w 192"/>
              <a:gd name="T107" fmla="*/ 90 h 144"/>
              <a:gd name="T108" fmla="*/ 60 w 192"/>
              <a:gd name="T109" fmla="*/ 78 h 144"/>
              <a:gd name="T110" fmla="*/ 42 w 192"/>
              <a:gd name="T111" fmla="*/ 78 h 144"/>
              <a:gd name="T112" fmla="*/ 36 w 192"/>
              <a:gd name="T113" fmla="*/ 72 h 144"/>
              <a:gd name="T114" fmla="*/ 18 w 192"/>
              <a:gd name="T115" fmla="*/ 66 h 144"/>
              <a:gd name="T116" fmla="*/ 12 w 192"/>
              <a:gd name="T117" fmla="*/ 66 h 144"/>
              <a:gd name="T118" fmla="*/ 6 w 192"/>
              <a:gd name="T119" fmla="*/ 60 h 144"/>
              <a:gd name="T120" fmla="*/ 0 w 192"/>
              <a:gd name="T121" fmla="*/ 54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92" h="144">
                <a:moveTo>
                  <a:pt x="0" y="48"/>
                </a:moveTo>
                <a:lnTo>
                  <a:pt x="0" y="48"/>
                </a:lnTo>
                <a:lnTo>
                  <a:pt x="0" y="48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8" y="36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24" y="36"/>
                </a:lnTo>
                <a:lnTo>
                  <a:pt x="18" y="36"/>
                </a:lnTo>
                <a:lnTo>
                  <a:pt x="18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30" y="24"/>
                </a:lnTo>
                <a:lnTo>
                  <a:pt x="24" y="24"/>
                </a:lnTo>
                <a:lnTo>
                  <a:pt x="30" y="24"/>
                </a:lnTo>
                <a:lnTo>
                  <a:pt x="24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54" y="12"/>
                </a:lnTo>
                <a:lnTo>
                  <a:pt x="54" y="12"/>
                </a:lnTo>
                <a:lnTo>
                  <a:pt x="60" y="6"/>
                </a:lnTo>
                <a:lnTo>
                  <a:pt x="54" y="6"/>
                </a:lnTo>
                <a:lnTo>
                  <a:pt x="60" y="6"/>
                </a:lnTo>
                <a:lnTo>
                  <a:pt x="60" y="0"/>
                </a:lnTo>
                <a:lnTo>
                  <a:pt x="60" y="0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8"/>
                </a:lnTo>
                <a:lnTo>
                  <a:pt x="102" y="12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96" y="24"/>
                </a:lnTo>
                <a:lnTo>
                  <a:pt x="102" y="24"/>
                </a:lnTo>
                <a:lnTo>
                  <a:pt x="96" y="30"/>
                </a:lnTo>
                <a:lnTo>
                  <a:pt x="96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24"/>
                </a:lnTo>
                <a:lnTo>
                  <a:pt x="102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8" y="6"/>
                </a:lnTo>
                <a:lnTo>
                  <a:pt x="138" y="12"/>
                </a:lnTo>
                <a:lnTo>
                  <a:pt x="138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38" y="12"/>
                </a:lnTo>
                <a:lnTo>
                  <a:pt x="144" y="12"/>
                </a:lnTo>
                <a:lnTo>
                  <a:pt x="138" y="12"/>
                </a:lnTo>
                <a:lnTo>
                  <a:pt x="138" y="12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50" y="24"/>
                </a:lnTo>
                <a:lnTo>
                  <a:pt x="150" y="24"/>
                </a:lnTo>
                <a:lnTo>
                  <a:pt x="156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30"/>
                </a:lnTo>
                <a:lnTo>
                  <a:pt x="162" y="30"/>
                </a:lnTo>
                <a:lnTo>
                  <a:pt x="162" y="30"/>
                </a:lnTo>
                <a:lnTo>
                  <a:pt x="162" y="36"/>
                </a:lnTo>
                <a:lnTo>
                  <a:pt x="162" y="36"/>
                </a:lnTo>
                <a:lnTo>
                  <a:pt x="162" y="30"/>
                </a:lnTo>
                <a:lnTo>
                  <a:pt x="168" y="30"/>
                </a:lnTo>
                <a:lnTo>
                  <a:pt x="168" y="30"/>
                </a:lnTo>
                <a:lnTo>
                  <a:pt x="168" y="30"/>
                </a:lnTo>
                <a:lnTo>
                  <a:pt x="168" y="36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92" y="24"/>
                </a:lnTo>
                <a:lnTo>
                  <a:pt x="192" y="24"/>
                </a:lnTo>
                <a:lnTo>
                  <a:pt x="192" y="24"/>
                </a:lnTo>
                <a:lnTo>
                  <a:pt x="192" y="24"/>
                </a:lnTo>
                <a:lnTo>
                  <a:pt x="192" y="30"/>
                </a:lnTo>
                <a:lnTo>
                  <a:pt x="192" y="30"/>
                </a:lnTo>
                <a:lnTo>
                  <a:pt x="186" y="48"/>
                </a:lnTo>
                <a:lnTo>
                  <a:pt x="180" y="54"/>
                </a:lnTo>
                <a:lnTo>
                  <a:pt x="180" y="54"/>
                </a:lnTo>
                <a:lnTo>
                  <a:pt x="180" y="54"/>
                </a:lnTo>
                <a:lnTo>
                  <a:pt x="174" y="54"/>
                </a:lnTo>
                <a:lnTo>
                  <a:pt x="174" y="54"/>
                </a:lnTo>
                <a:lnTo>
                  <a:pt x="174" y="60"/>
                </a:lnTo>
                <a:lnTo>
                  <a:pt x="174" y="60"/>
                </a:lnTo>
                <a:lnTo>
                  <a:pt x="168" y="60"/>
                </a:lnTo>
                <a:lnTo>
                  <a:pt x="168" y="60"/>
                </a:lnTo>
                <a:lnTo>
                  <a:pt x="168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68" y="60"/>
                </a:lnTo>
                <a:lnTo>
                  <a:pt x="168" y="78"/>
                </a:lnTo>
                <a:lnTo>
                  <a:pt x="168" y="96"/>
                </a:lnTo>
                <a:lnTo>
                  <a:pt x="168" y="102"/>
                </a:lnTo>
                <a:lnTo>
                  <a:pt x="168" y="102"/>
                </a:lnTo>
                <a:lnTo>
                  <a:pt x="168" y="108"/>
                </a:lnTo>
                <a:lnTo>
                  <a:pt x="168" y="102"/>
                </a:lnTo>
                <a:lnTo>
                  <a:pt x="174" y="102"/>
                </a:lnTo>
                <a:lnTo>
                  <a:pt x="174" y="102"/>
                </a:lnTo>
                <a:lnTo>
                  <a:pt x="180" y="96"/>
                </a:lnTo>
                <a:lnTo>
                  <a:pt x="180" y="96"/>
                </a:lnTo>
                <a:lnTo>
                  <a:pt x="186" y="96"/>
                </a:lnTo>
                <a:lnTo>
                  <a:pt x="186" y="96"/>
                </a:lnTo>
                <a:lnTo>
                  <a:pt x="186" y="96"/>
                </a:lnTo>
                <a:lnTo>
                  <a:pt x="186" y="102"/>
                </a:lnTo>
                <a:lnTo>
                  <a:pt x="186" y="102"/>
                </a:lnTo>
                <a:lnTo>
                  <a:pt x="186" y="102"/>
                </a:lnTo>
                <a:lnTo>
                  <a:pt x="186" y="102"/>
                </a:lnTo>
                <a:lnTo>
                  <a:pt x="180" y="108"/>
                </a:lnTo>
                <a:lnTo>
                  <a:pt x="180" y="108"/>
                </a:lnTo>
                <a:lnTo>
                  <a:pt x="180" y="108"/>
                </a:lnTo>
                <a:lnTo>
                  <a:pt x="180" y="108"/>
                </a:lnTo>
                <a:lnTo>
                  <a:pt x="180" y="108"/>
                </a:lnTo>
                <a:lnTo>
                  <a:pt x="180" y="108"/>
                </a:lnTo>
                <a:lnTo>
                  <a:pt x="174" y="114"/>
                </a:lnTo>
                <a:lnTo>
                  <a:pt x="174" y="114"/>
                </a:lnTo>
                <a:lnTo>
                  <a:pt x="174" y="114"/>
                </a:lnTo>
                <a:lnTo>
                  <a:pt x="174" y="120"/>
                </a:lnTo>
                <a:lnTo>
                  <a:pt x="174" y="120"/>
                </a:lnTo>
                <a:lnTo>
                  <a:pt x="174" y="120"/>
                </a:lnTo>
                <a:lnTo>
                  <a:pt x="168" y="120"/>
                </a:lnTo>
                <a:lnTo>
                  <a:pt x="168" y="120"/>
                </a:lnTo>
                <a:lnTo>
                  <a:pt x="168" y="126"/>
                </a:lnTo>
                <a:lnTo>
                  <a:pt x="168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0" y="126"/>
                </a:lnTo>
                <a:lnTo>
                  <a:pt x="150" y="132"/>
                </a:lnTo>
                <a:lnTo>
                  <a:pt x="150" y="132"/>
                </a:lnTo>
                <a:lnTo>
                  <a:pt x="144" y="138"/>
                </a:lnTo>
                <a:lnTo>
                  <a:pt x="144" y="138"/>
                </a:lnTo>
                <a:lnTo>
                  <a:pt x="144" y="138"/>
                </a:lnTo>
                <a:lnTo>
                  <a:pt x="144" y="138"/>
                </a:lnTo>
                <a:lnTo>
                  <a:pt x="144" y="144"/>
                </a:lnTo>
                <a:lnTo>
                  <a:pt x="144" y="144"/>
                </a:lnTo>
                <a:lnTo>
                  <a:pt x="138" y="144"/>
                </a:lnTo>
                <a:lnTo>
                  <a:pt x="138" y="144"/>
                </a:lnTo>
                <a:lnTo>
                  <a:pt x="132" y="144"/>
                </a:lnTo>
                <a:lnTo>
                  <a:pt x="132" y="144"/>
                </a:lnTo>
                <a:lnTo>
                  <a:pt x="126" y="132"/>
                </a:lnTo>
                <a:lnTo>
                  <a:pt x="132" y="132"/>
                </a:lnTo>
                <a:lnTo>
                  <a:pt x="126" y="126"/>
                </a:lnTo>
                <a:lnTo>
                  <a:pt x="126" y="126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14"/>
                </a:lnTo>
                <a:lnTo>
                  <a:pt x="126" y="114"/>
                </a:lnTo>
                <a:lnTo>
                  <a:pt x="126" y="114"/>
                </a:lnTo>
                <a:lnTo>
                  <a:pt x="126" y="114"/>
                </a:lnTo>
                <a:lnTo>
                  <a:pt x="126" y="114"/>
                </a:lnTo>
                <a:lnTo>
                  <a:pt x="126" y="108"/>
                </a:lnTo>
                <a:lnTo>
                  <a:pt x="126" y="108"/>
                </a:lnTo>
                <a:lnTo>
                  <a:pt x="126" y="108"/>
                </a:lnTo>
                <a:lnTo>
                  <a:pt x="126" y="108"/>
                </a:lnTo>
                <a:lnTo>
                  <a:pt x="126" y="102"/>
                </a:lnTo>
                <a:lnTo>
                  <a:pt x="126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14" y="108"/>
                </a:lnTo>
                <a:lnTo>
                  <a:pt x="114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2" y="102"/>
                </a:lnTo>
                <a:lnTo>
                  <a:pt x="102" y="102"/>
                </a:lnTo>
                <a:lnTo>
                  <a:pt x="102" y="96"/>
                </a:lnTo>
                <a:lnTo>
                  <a:pt x="96" y="96"/>
                </a:lnTo>
                <a:lnTo>
                  <a:pt x="96" y="96"/>
                </a:lnTo>
                <a:lnTo>
                  <a:pt x="96" y="96"/>
                </a:lnTo>
                <a:lnTo>
                  <a:pt x="96" y="96"/>
                </a:lnTo>
                <a:lnTo>
                  <a:pt x="102" y="96"/>
                </a:lnTo>
                <a:lnTo>
                  <a:pt x="102" y="90"/>
                </a:lnTo>
                <a:lnTo>
                  <a:pt x="102" y="90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96" y="78"/>
                </a:lnTo>
                <a:lnTo>
                  <a:pt x="96" y="78"/>
                </a:lnTo>
                <a:lnTo>
                  <a:pt x="90" y="84"/>
                </a:lnTo>
                <a:lnTo>
                  <a:pt x="90" y="90"/>
                </a:lnTo>
                <a:lnTo>
                  <a:pt x="84" y="90"/>
                </a:lnTo>
                <a:lnTo>
                  <a:pt x="84" y="96"/>
                </a:lnTo>
                <a:lnTo>
                  <a:pt x="84" y="102"/>
                </a:lnTo>
                <a:lnTo>
                  <a:pt x="84" y="102"/>
                </a:lnTo>
                <a:lnTo>
                  <a:pt x="84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0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66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54" y="78"/>
                </a:lnTo>
                <a:lnTo>
                  <a:pt x="54" y="78"/>
                </a:lnTo>
                <a:lnTo>
                  <a:pt x="48" y="78"/>
                </a:lnTo>
                <a:lnTo>
                  <a:pt x="48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36" y="78"/>
                </a:lnTo>
                <a:lnTo>
                  <a:pt x="36" y="72"/>
                </a:lnTo>
                <a:lnTo>
                  <a:pt x="36" y="72"/>
                </a:lnTo>
                <a:lnTo>
                  <a:pt x="30" y="72"/>
                </a:lnTo>
                <a:lnTo>
                  <a:pt x="30" y="72"/>
                </a:lnTo>
                <a:lnTo>
                  <a:pt x="30" y="66"/>
                </a:lnTo>
                <a:lnTo>
                  <a:pt x="24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4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52" name="Freeform 185"/>
          <p:cNvSpPr>
            <a:spLocks/>
          </p:cNvSpPr>
          <p:nvPr/>
        </p:nvSpPr>
        <p:spPr bwMode="auto">
          <a:xfrm>
            <a:off x="8689132" y="2149959"/>
            <a:ext cx="70665" cy="83513"/>
          </a:xfrm>
          <a:custGeom>
            <a:avLst/>
            <a:gdLst>
              <a:gd name="T0" fmla="*/ 0 w 66"/>
              <a:gd name="T1" fmla="*/ 72 h 78"/>
              <a:gd name="T2" fmla="*/ 0 w 66"/>
              <a:gd name="T3" fmla="*/ 72 h 78"/>
              <a:gd name="T4" fmla="*/ 0 w 66"/>
              <a:gd name="T5" fmla="*/ 66 h 78"/>
              <a:gd name="T6" fmla="*/ 6 w 66"/>
              <a:gd name="T7" fmla="*/ 66 h 78"/>
              <a:gd name="T8" fmla="*/ 6 w 66"/>
              <a:gd name="T9" fmla="*/ 66 h 78"/>
              <a:gd name="T10" fmla="*/ 6 w 66"/>
              <a:gd name="T11" fmla="*/ 60 h 78"/>
              <a:gd name="T12" fmla="*/ 6 w 66"/>
              <a:gd name="T13" fmla="*/ 60 h 78"/>
              <a:gd name="T14" fmla="*/ 12 w 66"/>
              <a:gd name="T15" fmla="*/ 60 h 78"/>
              <a:gd name="T16" fmla="*/ 18 w 66"/>
              <a:gd name="T17" fmla="*/ 60 h 78"/>
              <a:gd name="T18" fmla="*/ 24 w 66"/>
              <a:gd name="T19" fmla="*/ 54 h 78"/>
              <a:gd name="T20" fmla="*/ 18 w 66"/>
              <a:gd name="T21" fmla="*/ 54 h 78"/>
              <a:gd name="T22" fmla="*/ 18 w 66"/>
              <a:gd name="T23" fmla="*/ 54 h 78"/>
              <a:gd name="T24" fmla="*/ 18 w 66"/>
              <a:gd name="T25" fmla="*/ 48 h 78"/>
              <a:gd name="T26" fmla="*/ 18 w 66"/>
              <a:gd name="T27" fmla="*/ 48 h 78"/>
              <a:gd name="T28" fmla="*/ 18 w 66"/>
              <a:gd name="T29" fmla="*/ 42 h 78"/>
              <a:gd name="T30" fmla="*/ 18 w 66"/>
              <a:gd name="T31" fmla="*/ 42 h 78"/>
              <a:gd name="T32" fmla="*/ 12 w 66"/>
              <a:gd name="T33" fmla="*/ 42 h 78"/>
              <a:gd name="T34" fmla="*/ 12 w 66"/>
              <a:gd name="T35" fmla="*/ 36 h 78"/>
              <a:gd name="T36" fmla="*/ 18 w 66"/>
              <a:gd name="T37" fmla="*/ 30 h 78"/>
              <a:gd name="T38" fmla="*/ 24 w 66"/>
              <a:gd name="T39" fmla="*/ 30 h 78"/>
              <a:gd name="T40" fmla="*/ 24 w 66"/>
              <a:gd name="T41" fmla="*/ 30 h 78"/>
              <a:gd name="T42" fmla="*/ 18 w 66"/>
              <a:gd name="T43" fmla="*/ 30 h 78"/>
              <a:gd name="T44" fmla="*/ 18 w 66"/>
              <a:gd name="T45" fmla="*/ 24 h 78"/>
              <a:gd name="T46" fmla="*/ 24 w 66"/>
              <a:gd name="T47" fmla="*/ 24 h 78"/>
              <a:gd name="T48" fmla="*/ 24 w 66"/>
              <a:gd name="T49" fmla="*/ 24 h 78"/>
              <a:gd name="T50" fmla="*/ 24 w 66"/>
              <a:gd name="T51" fmla="*/ 18 h 78"/>
              <a:gd name="T52" fmla="*/ 30 w 66"/>
              <a:gd name="T53" fmla="*/ 18 h 78"/>
              <a:gd name="T54" fmla="*/ 36 w 66"/>
              <a:gd name="T55" fmla="*/ 18 h 78"/>
              <a:gd name="T56" fmla="*/ 36 w 66"/>
              <a:gd name="T57" fmla="*/ 18 h 78"/>
              <a:gd name="T58" fmla="*/ 36 w 66"/>
              <a:gd name="T59" fmla="*/ 12 h 78"/>
              <a:gd name="T60" fmla="*/ 36 w 66"/>
              <a:gd name="T61" fmla="*/ 12 h 78"/>
              <a:gd name="T62" fmla="*/ 42 w 66"/>
              <a:gd name="T63" fmla="*/ 12 h 78"/>
              <a:gd name="T64" fmla="*/ 36 w 66"/>
              <a:gd name="T65" fmla="*/ 12 h 78"/>
              <a:gd name="T66" fmla="*/ 36 w 66"/>
              <a:gd name="T67" fmla="*/ 6 h 78"/>
              <a:gd name="T68" fmla="*/ 42 w 66"/>
              <a:gd name="T69" fmla="*/ 0 h 78"/>
              <a:gd name="T70" fmla="*/ 42 w 66"/>
              <a:gd name="T71" fmla="*/ 0 h 78"/>
              <a:gd name="T72" fmla="*/ 42 w 66"/>
              <a:gd name="T73" fmla="*/ 6 h 78"/>
              <a:gd name="T74" fmla="*/ 48 w 66"/>
              <a:gd name="T75" fmla="*/ 6 h 78"/>
              <a:gd name="T76" fmla="*/ 48 w 66"/>
              <a:gd name="T77" fmla="*/ 6 h 78"/>
              <a:gd name="T78" fmla="*/ 48 w 66"/>
              <a:gd name="T79" fmla="*/ 12 h 78"/>
              <a:gd name="T80" fmla="*/ 48 w 66"/>
              <a:gd name="T81" fmla="*/ 18 h 78"/>
              <a:gd name="T82" fmla="*/ 48 w 66"/>
              <a:gd name="T83" fmla="*/ 18 h 78"/>
              <a:gd name="T84" fmla="*/ 54 w 66"/>
              <a:gd name="T85" fmla="*/ 30 h 78"/>
              <a:gd name="T86" fmla="*/ 54 w 66"/>
              <a:gd name="T87" fmla="*/ 36 h 78"/>
              <a:gd name="T88" fmla="*/ 54 w 66"/>
              <a:gd name="T89" fmla="*/ 42 h 78"/>
              <a:gd name="T90" fmla="*/ 60 w 66"/>
              <a:gd name="T91" fmla="*/ 48 h 78"/>
              <a:gd name="T92" fmla="*/ 66 w 66"/>
              <a:gd name="T93" fmla="*/ 54 h 78"/>
              <a:gd name="T94" fmla="*/ 66 w 66"/>
              <a:gd name="T95" fmla="*/ 60 h 78"/>
              <a:gd name="T96" fmla="*/ 48 w 66"/>
              <a:gd name="T97" fmla="*/ 60 h 78"/>
              <a:gd name="T98" fmla="*/ 48 w 66"/>
              <a:gd name="T99" fmla="*/ 66 h 78"/>
              <a:gd name="T100" fmla="*/ 48 w 66"/>
              <a:gd name="T101" fmla="*/ 66 h 78"/>
              <a:gd name="T102" fmla="*/ 48 w 66"/>
              <a:gd name="T103" fmla="*/ 78 h 78"/>
              <a:gd name="T104" fmla="*/ 30 w 66"/>
              <a:gd name="T105" fmla="*/ 72 h 78"/>
              <a:gd name="T106" fmla="*/ 0 w 66"/>
              <a:gd name="T107" fmla="*/ 78 h 78"/>
              <a:gd name="T108" fmla="*/ 0 w 66"/>
              <a:gd name="T109" fmla="*/ 78 h 78"/>
              <a:gd name="T110" fmla="*/ 0 w 66"/>
              <a:gd name="T111" fmla="*/ 72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6" h="78">
                <a:moveTo>
                  <a:pt x="0" y="72"/>
                </a:move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8" y="36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18" y="30"/>
                </a:lnTo>
                <a:lnTo>
                  <a:pt x="18" y="30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42" y="18"/>
                </a:lnTo>
                <a:lnTo>
                  <a:pt x="36" y="12"/>
                </a:lnTo>
                <a:lnTo>
                  <a:pt x="36" y="12"/>
                </a:lnTo>
                <a:lnTo>
                  <a:pt x="42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42" y="12"/>
                </a:lnTo>
                <a:lnTo>
                  <a:pt x="42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24"/>
                </a:lnTo>
                <a:lnTo>
                  <a:pt x="54" y="30"/>
                </a:lnTo>
                <a:lnTo>
                  <a:pt x="54" y="30"/>
                </a:lnTo>
                <a:lnTo>
                  <a:pt x="48" y="30"/>
                </a:lnTo>
                <a:lnTo>
                  <a:pt x="54" y="36"/>
                </a:lnTo>
                <a:lnTo>
                  <a:pt x="54" y="36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60"/>
                </a:lnTo>
                <a:lnTo>
                  <a:pt x="54" y="66"/>
                </a:lnTo>
                <a:lnTo>
                  <a:pt x="54" y="66"/>
                </a:lnTo>
                <a:lnTo>
                  <a:pt x="48" y="60"/>
                </a:lnTo>
                <a:lnTo>
                  <a:pt x="48" y="60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72"/>
                </a:lnTo>
                <a:lnTo>
                  <a:pt x="48" y="78"/>
                </a:lnTo>
                <a:lnTo>
                  <a:pt x="48" y="78"/>
                </a:lnTo>
                <a:lnTo>
                  <a:pt x="42" y="72"/>
                </a:lnTo>
                <a:lnTo>
                  <a:pt x="36" y="72"/>
                </a:lnTo>
                <a:lnTo>
                  <a:pt x="30" y="72"/>
                </a:lnTo>
                <a:lnTo>
                  <a:pt x="24" y="78"/>
                </a:lnTo>
                <a:lnTo>
                  <a:pt x="24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53" name="Freeform 186"/>
          <p:cNvSpPr>
            <a:spLocks/>
          </p:cNvSpPr>
          <p:nvPr/>
        </p:nvSpPr>
        <p:spPr bwMode="auto">
          <a:xfrm>
            <a:off x="8766221" y="2246320"/>
            <a:ext cx="51392" cy="57817"/>
          </a:xfrm>
          <a:custGeom>
            <a:avLst/>
            <a:gdLst>
              <a:gd name="T0" fmla="*/ 6 w 48"/>
              <a:gd name="T1" fmla="*/ 0 h 54"/>
              <a:gd name="T2" fmla="*/ 6 w 48"/>
              <a:gd name="T3" fmla="*/ 0 h 54"/>
              <a:gd name="T4" fmla="*/ 6 w 48"/>
              <a:gd name="T5" fmla="*/ 0 h 54"/>
              <a:gd name="T6" fmla="*/ 12 w 48"/>
              <a:gd name="T7" fmla="*/ 0 h 54"/>
              <a:gd name="T8" fmla="*/ 18 w 48"/>
              <a:gd name="T9" fmla="*/ 0 h 54"/>
              <a:gd name="T10" fmla="*/ 18 w 48"/>
              <a:gd name="T11" fmla="*/ 0 h 54"/>
              <a:gd name="T12" fmla="*/ 18 w 48"/>
              <a:gd name="T13" fmla="*/ 0 h 54"/>
              <a:gd name="T14" fmla="*/ 18 w 48"/>
              <a:gd name="T15" fmla="*/ 0 h 54"/>
              <a:gd name="T16" fmla="*/ 24 w 48"/>
              <a:gd name="T17" fmla="*/ 0 h 54"/>
              <a:gd name="T18" fmla="*/ 24 w 48"/>
              <a:gd name="T19" fmla="*/ 0 h 54"/>
              <a:gd name="T20" fmla="*/ 36 w 48"/>
              <a:gd name="T21" fmla="*/ 0 h 54"/>
              <a:gd name="T22" fmla="*/ 36 w 48"/>
              <a:gd name="T23" fmla="*/ 0 h 54"/>
              <a:gd name="T24" fmla="*/ 36 w 48"/>
              <a:gd name="T25" fmla="*/ 6 h 54"/>
              <a:gd name="T26" fmla="*/ 36 w 48"/>
              <a:gd name="T27" fmla="*/ 0 h 54"/>
              <a:gd name="T28" fmla="*/ 42 w 48"/>
              <a:gd name="T29" fmla="*/ 6 h 54"/>
              <a:gd name="T30" fmla="*/ 42 w 48"/>
              <a:gd name="T31" fmla="*/ 6 h 54"/>
              <a:gd name="T32" fmla="*/ 48 w 48"/>
              <a:gd name="T33" fmla="*/ 0 h 54"/>
              <a:gd name="T34" fmla="*/ 42 w 48"/>
              <a:gd name="T35" fmla="*/ 12 h 54"/>
              <a:gd name="T36" fmla="*/ 42 w 48"/>
              <a:gd name="T37" fmla="*/ 18 h 54"/>
              <a:gd name="T38" fmla="*/ 42 w 48"/>
              <a:gd name="T39" fmla="*/ 18 h 54"/>
              <a:gd name="T40" fmla="*/ 42 w 48"/>
              <a:gd name="T41" fmla="*/ 24 h 54"/>
              <a:gd name="T42" fmla="*/ 36 w 48"/>
              <a:gd name="T43" fmla="*/ 36 h 54"/>
              <a:gd name="T44" fmla="*/ 36 w 48"/>
              <a:gd name="T45" fmla="*/ 36 h 54"/>
              <a:gd name="T46" fmla="*/ 36 w 48"/>
              <a:gd name="T47" fmla="*/ 42 h 54"/>
              <a:gd name="T48" fmla="*/ 36 w 48"/>
              <a:gd name="T49" fmla="*/ 48 h 54"/>
              <a:gd name="T50" fmla="*/ 30 w 48"/>
              <a:gd name="T51" fmla="*/ 48 h 54"/>
              <a:gd name="T52" fmla="*/ 30 w 48"/>
              <a:gd name="T53" fmla="*/ 48 h 54"/>
              <a:gd name="T54" fmla="*/ 30 w 48"/>
              <a:gd name="T55" fmla="*/ 54 h 54"/>
              <a:gd name="T56" fmla="*/ 24 w 48"/>
              <a:gd name="T57" fmla="*/ 54 h 54"/>
              <a:gd name="T58" fmla="*/ 24 w 48"/>
              <a:gd name="T59" fmla="*/ 48 h 54"/>
              <a:gd name="T60" fmla="*/ 24 w 48"/>
              <a:gd name="T61" fmla="*/ 48 h 54"/>
              <a:gd name="T62" fmla="*/ 24 w 48"/>
              <a:gd name="T63" fmla="*/ 42 h 54"/>
              <a:gd name="T64" fmla="*/ 18 w 48"/>
              <a:gd name="T65" fmla="*/ 42 h 54"/>
              <a:gd name="T66" fmla="*/ 18 w 48"/>
              <a:gd name="T67" fmla="*/ 36 h 54"/>
              <a:gd name="T68" fmla="*/ 12 w 48"/>
              <a:gd name="T69" fmla="*/ 36 h 54"/>
              <a:gd name="T70" fmla="*/ 6 w 48"/>
              <a:gd name="T71" fmla="*/ 30 h 54"/>
              <a:gd name="T72" fmla="*/ 12 w 48"/>
              <a:gd name="T73" fmla="*/ 18 h 54"/>
              <a:gd name="T74" fmla="*/ 12 w 48"/>
              <a:gd name="T75" fmla="*/ 18 h 54"/>
              <a:gd name="T76" fmla="*/ 18 w 48"/>
              <a:gd name="T77" fmla="*/ 12 h 54"/>
              <a:gd name="T78" fmla="*/ 12 w 48"/>
              <a:gd name="T79" fmla="*/ 12 h 54"/>
              <a:gd name="T80" fmla="*/ 6 w 48"/>
              <a:gd name="T81" fmla="*/ 12 h 54"/>
              <a:gd name="T82" fmla="*/ 6 w 48"/>
              <a:gd name="T83" fmla="*/ 12 h 54"/>
              <a:gd name="T84" fmla="*/ 6 w 48"/>
              <a:gd name="T85" fmla="*/ 12 h 54"/>
              <a:gd name="T86" fmla="*/ 0 w 48"/>
              <a:gd name="T87" fmla="*/ 6 h 54"/>
              <a:gd name="T88" fmla="*/ 0 w 48"/>
              <a:gd name="T89" fmla="*/ 6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48" h="54">
                <a:moveTo>
                  <a:pt x="0" y="6"/>
                </a:moveTo>
                <a:lnTo>
                  <a:pt x="0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6"/>
                </a:lnTo>
                <a:lnTo>
                  <a:pt x="36" y="6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42" y="0"/>
                </a:lnTo>
                <a:lnTo>
                  <a:pt x="42" y="0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0"/>
                </a:lnTo>
                <a:lnTo>
                  <a:pt x="42" y="0"/>
                </a:lnTo>
                <a:lnTo>
                  <a:pt x="48" y="0"/>
                </a:lnTo>
                <a:lnTo>
                  <a:pt x="42" y="6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24"/>
                </a:lnTo>
                <a:lnTo>
                  <a:pt x="42" y="24"/>
                </a:lnTo>
                <a:lnTo>
                  <a:pt x="36" y="30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24" y="54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18" y="42"/>
                </a:lnTo>
                <a:lnTo>
                  <a:pt x="18" y="42"/>
                </a:lnTo>
                <a:lnTo>
                  <a:pt x="18" y="36"/>
                </a:lnTo>
                <a:lnTo>
                  <a:pt x="18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12" y="24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2" y="12"/>
                </a:lnTo>
                <a:lnTo>
                  <a:pt x="12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6"/>
                </a:lnTo>
                <a:lnTo>
                  <a:pt x="0" y="12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54" name="Freeform 187"/>
          <p:cNvSpPr>
            <a:spLocks/>
          </p:cNvSpPr>
          <p:nvPr/>
        </p:nvSpPr>
        <p:spPr bwMode="auto">
          <a:xfrm>
            <a:off x="8599196" y="2175655"/>
            <a:ext cx="115633" cy="44969"/>
          </a:xfrm>
          <a:custGeom>
            <a:avLst/>
            <a:gdLst>
              <a:gd name="T0" fmla="*/ 6 w 108"/>
              <a:gd name="T1" fmla="*/ 24 h 42"/>
              <a:gd name="T2" fmla="*/ 6 w 108"/>
              <a:gd name="T3" fmla="*/ 24 h 42"/>
              <a:gd name="T4" fmla="*/ 6 w 108"/>
              <a:gd name="T5" fmla="*/ 18 h 42"/>
              <a:gd name="T6" fmla="*/ 12 w 108"/>
              <a:gd name="T7" fmla="*/ 12 h 42"/>
              <a:gd name="T8" fmla="*/ 24 w 108"/>
              <a:gd name="T9" fmla="*/ 12 h 42"/>
              <a:gd name="T10" fmla="*/ 24 w 108"/>
              <a:gd name="T11" fmla="*/ 18 h 42"/>
              <a:gd name="T12" fmla="*/ 30 w 108"/>
              <a:gd name="T13" fmla="*/ 12 h 42"/>
              <a:gd name="T14" fmla="*/ 36 w 108"/>
              <a:gd name="T15" fmla="*/ 12 h 42"/>
              <a:gd name="T16" fmla="*/ 42 w 108"/>
              <a:gd name="T17" fmla="*/ 12 h 42"/>
              <a:gd name="T18" fmla="*/ 54 w 108"/>
              <a:gd name="T19" fmla="*/ 12 h 42"/>
              <a:gd name="T20" fmla="*/ 54 w 108"/>
              <a:gd name="T21" fmla="*/ 12 h 42"/>
              <a:gd name="T22" fmla="*/ 60 w 108"/>
              <a:gd name="T23" fmla="*/ 12 h 42"/>
              <a:gd name="T24" fmla="*/ 66 w 108"/>
              <a:gd name="T25" fmla="*/ 12 h 42"/>
              <a:gd name="T26" fmla="*/ 78 w 108"/>
              <a:gd name="T27" fmla="*/ 6 h 42"/>
              <a:gd name="T28" fmla="*/ 84 w 108"/>
              <a:gd name="T29" fmla="*/ 6 h 42"/>
              <a:gd name="T30" fmla="*/ 90 w 108"/>
              <a:gd name="T31" fmla="*/ 6 h 42"/>
              <a:gd name="T32" fmla="*/ 96 w 108"/>
              <a:gd name="T33" fmla="*/ 6 h 42"/>
              <a:gd name="T34" fmla="*/ 96 w 108"/>
              <a:gd name="T35" fmla="*/ 0 h 42"/>
              <a:gd name="T36" fmla="*/ 102 w 108"/>
              <a:gd name="T37" fmla="*/ 0 h 42"/>
              <a:gd name="T38" fmla="*/ 102 w 108"/>
              <a:gd name="T39" fmla="*/ 0 h 42"/>
              <a:gd name="T40" fmla="*/ 108 w 108"/>
              <a:gd name="T41" fmla="*/ 6 h 42"/>
              <a:gd name="T42" fmla="*/ 108 w 108"/>
              <a:gd name="T43" fmla="*/ 6 h 42"/>
              <a:gd name="T44" fmla="*/ 102 w 108"/>
              <a:gd name="T45" fmla="*/ 12 h 42"/>
              <a:gd name="T46" fmla="*/ 96 w 108"/>
              <a:gd name="T47" fmla="*/ 18 h 42"/>
              <a:gd name="T48" fmla="*/ 102 w 108"/>
              <a:gd name="T49" fmla="*/ 18 h 42"/>
              <a:gd name="T50" fmla="*/ 102 w 108"/>
              <a:gd name="T51" fmla="*/ 24 h 42"/>
              <a:gd name="T52" fmla="*/ 102 w 108"/>
              <a:gd name="T53" fmla="*/ 24 h 42"/>
              <a:gd name="T54" fmla="*/ 102 w 108"/>
              <a:gd name="T55" fmla="*/ 30 h 42"/>
              <a:gd name="T56" fmla="*/ 108 w 108"/>
              <a:gd name="T57" fmla="*/ 30 h 42"/>
              <a:gd name="T58" fmla="*/ 102 w 108"/>
              <a:gd name="T59" fmla="*/ 36 h 42"/>
              <a:gd name="T60" fmla="*/ 96 w 108"/>
              <a:gd name="T61" fmla="*/ 36 h 42"/>
              <a:gd name="T62" fmla="*/ 90 w 108"/>
              <a:gd name="T63" fmla="*/ 36 h 42"/>
              <a:gd name="T64" fmla="*/ 84 w 108"/>
              <a:gd name="T65" fmla="*/ 36 h 42"/>
              <a:gd name="T66" fmla="*/ 78 w 108"/>
              <a:gd name="T67" fmla="*/ 36 h 42"/>
              <a:gd name="T68" fmla="*/ 78 w 108"/>
              <a:gd name="T69" fmla="*/ 36 h 42"/>
              <a:gd name="T70" fmla="*/ 72 w 108"/>
              <a:gd name="T71" fmla="*/ 42 h 42"/>
              <a:gd name="T72" fmla="*/ 72 w 108"/>
              <a:gd name="T73" fmla="*/ 36 h 42"/>
              <a:gd name="T74" fmla="*/ 66 w 108"/>
              <a:gd name="T75" fmla="*/ 36 h 42"/>
              <a:gd name="T76" fmla="*/ 60 w 108"/>
              <a:gd name="T77" fmla="*/ 36 h 42"/>
              <a:gd name="T78" fmla="*/ 60 w 108"/>
              <a:gd name="T79" fmla="*/ 42 h 42"/>
              <a:gd name="T80" fmla="*/ 48 w 108"/>
              <a:gd name="T81" fmla="*/ 42 h 42"/>
              <a:gd name="T82" fmla="*/ 48 w 108"/>
              <a:gd name="T83" fmla="*/ 42 h 42"/>
              <a:gd name="T84" fmla="*/ 48 w 108"/>
              <a:gd name="T85" fmla="*/ 36 h 42"/>
              <a:gd name="T86" fmla="*/ 42 w 108"/>
              <a:gd name="T87" fmla="*/ 36 h 42"/>
              <a:gd name="T88" fmla="*/ 42 w 108"/>
              <a:gd name="T89" fmla="*/ 36 h 42"/>
              <a:gd name="T90" fmla="*/ 42 w 108"/>
              <a:gd name="T91" fmla="*/ 36 h 42"/>
              <a:gd name="T92" fmla="*/ 36 w 108"/>
              <a:gd name="T93" fmla="*/ 36 h 42"/>
              <a:gd name="T94" fmla="*/ 30 w 108"/>
              <a:gd name="T95" fmla="*/ 36 h 42"/>
              <a:gd name="T96" fmla="*/ 30 w 108"/>
              <a:gd name="T97" fmla="*/ 36 h 42"/>
              <a:gd name="T98" fmla="*/ 24 w 108"/>
              <a:gd name="T99" fmla="*/ 30 h 42"/>
              <a:gd name="T100" fmla="*/ 18 w 108"/>
              <a:gd name="T101" fmla="*/ 36 h 42"/>
              <a:gd name="T102" fmla="*/ 12 w 108"/>
              <a:gd name="T103" fmla="*/ 36 h 42"/>
              <a:gd name="T104" fmla="*/ 12 w 108"/>
              <a:gd name="T105" fmla="*/ 36 h 42"/>
              <a:gd name="T106" fmla="*/ 6 w 108"/>
              <a:gd name="T107" fmla="*/ 30 h 42"/>
              <a:gd name="T108" fmla="*/ 0 w 108"/>
              <a:gd name="T109" fmla="*/ 30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08" h="42">
                <a:moveTo>
                  <a:pt x="0" y="30"/>
                </a:moveTo>
                <a:lnTo>
                  <a:pt x="0" y="30"/>
                </a:lnTo>
                <a:lnTo>
                  <a:pt x="0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8" y="12"/>
                </a:lnTo>
                <a:lnTo>
                  <a:pt x="24" y="12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30" y="18"/>
                </a:lnTo>
                <a:lnTo>
                  <a:pt x="30" y="18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6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42" y="12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60" y="12"/>
                </a:lnTo>
                <a:lnTo>
                  <a:pt x="60" y="18"/>
                </a:lnTo>
                <a:lnTo>
                  <a:pt x="60" y="18"/>
                </a:lnTo>
                <a:lnTo>
                  <a:pt x="60" y="12"/>
                </a:lnTo>
                <a:lnTo>
                  <a:pt x="60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78" y="12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6" y="6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6"/>
                </a:lnTo>
                <a:lnTo>
                  <a:pt x="102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12"/>
                </a:lnTo>
                <a:lnTo>
                  <a:pt x="96" y="12"/>
                </a:lnTo>
                <a:lnTo>
                  <a:pt x="96" y="12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2" y="30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24" y="36"/>
                </a:lnTo>
                <a:lnTo>
                  <a:pt x="24" y="36"/>
                </a:lnTo>
                <a:lnTo>
                  <a:pt x="24" y="30"/>
                </a:lnTo>
                <a:lnTo>
                  <a:pt x="24" y="30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0"/>
                </a:lnTo>
                <a:lnTo>
                  <a:pt x="12" y="36"/>
                </a:lnTo>
                <a:lnTo>
                  <a:pt x="12" y="36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6" y="30"/>
                </a:lnTo>
                <a:lnTo>
                  <a:pt x="6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55" name="Freeform 188"/>
          <p:cNvSpPr>
            <a:spLocks/>
          </p:cNvSpPr>
          <p:nvPr/>
        </p:nvSpPr>
        <p:spPr bwMode="auto">
          <a:xfrm>
            <a:off x="8078848" y="2156383"/>
            <a:ext cx="231266" cy="122058"/>
          </a:xfrm>
          <a:custGeom>
            <a:avLst/>
            <a:gdLst>
              <a:gd name="T0" fmla="*/ 12 w 216"/>
              <a:gd name="T1" fmla="*/ 78 h 114"/>
              <a:gd name="T2" fmla="*/ 18 w 216"/>
              <a:gd name="T3" fmla="*/ 78 h 114"/>
              <a:gd name="T4" fmla="*/ 24 w 216"/>
              <a:gd name="T5" fmla="*/ 84 h 114"/>
              <a:gd name="T6" fmla="*/ 30 w 216"/>
              <a:gd name="T7" fmla="*/ 84 h 114"/>
              <a:gd name="T8" fmla="*/ 36 w 216"/>
              <a:gd name="T9" fmla="*/ 84 h 114"/>
              <a:gd name="T10" fmla="*/ 36 w 216"/>
              <a:gd name="T11" fmla="*/ 84 h 114"/>
              <a:gd name="T12" fmla="*/ 36 w 216"/>
              <a:gd name="T13" fmla="*/ 78 h 114"/>
              <a:gd name="T14" fmla="*/ 84 w 216"/>
              <a:gd name="T15" fmla="*/ 36 h 114"/>
              <a:gd name="T16" fmla="*/ 84 w 216"/>
              <a:gd name="T17" fmla="*/ 30 h 114"/>
              <a:gd name="T18" fmla="*/ 78 w 216"/>
              <a:gd name="T19" fmla="*/ 24 h 114"/>
              <a:gd name="T20" fmla="*/ 90 w 216"/>
              <a:gd name="T21" fmla="*/ 24 h 114"/>
              <a:gd name="T22" fmla="*/ 90 w 216"/>
              <a:gd name="T23" fmla="*/ 18 h 114"/>
              <a:gd name="T24" fmla="*/ 96 w 216"/>
              <a:gd name="T25" fmla="*/ 12 h 114"/>
              <a:gd name="T26" fmla="*/ 120 w 216"/>
              <a:gd name="T27" fmla="*/ 6 h 114"/>
              <a:gd name="T28" fmla="*/ 114 w 216"/>
              <a:gd name="T29" fmla="*/ 12 h 114"/>
              <a:gd name="T30" fmla="*/ 120 w 216"/>
              <a:gd name="T31" fmla="*/ 18 h 114"/>
              <a:gd name="T32" fmla="*/ 126 w 216"/>
              <a:gd name="T33" fmla="*/ 18 h 114"/>
              <a:gd name="T34" fmla="*/ 144 w 216"/>
              <a:gd name="T35" fmla="*/ 24 h 114"/>
              <a:gd name="T36" fmla="*/ 144 w 216"/>
              <a:gd name="T37" fmla="*/ 36 h 114"/>
              <a:gd name="T38" fmla="*/ 156 w 216"/>
              <a:gd name="T39" fmla="*/ 36 h 114"/>
              <a:gd name="T40" fmla="*/ 162 w 216"/>
              <a:gd name="T41" fmla="*/ 36 h 114"/>
              <a:gd name="T42" fmla="*/ 162 w 216"/>
              <a:gd name="T43" fmla="*/ 30 h 114"/>
              <a:gd name="T44" fmla="*/ 168 w 216"/>
              <a:gd name="T45" fmla="*/ 24 h 114"/>
              <a:gd name="T46" fmla="*/ 174 w 216"/>
              <a:gd name="T47" fmla="*/ 24 h 114"/>
              <a:gd name="T48" fmla="*/ 180 w 216"/>
              <a:gd name="T49" fmla="*/ 18 h 114"/>
              <a:gd name="T50" fmla="*/ 186 w 216"/>
              <a:gd name="T51" fmla="*/ 12 h 114"/>
              <a:gd name="T52" fmla="*/ 192 w 216"/>
              <a:gd name="T53" fmla="*/ 12 h 114"/>
              <a:gd name="T54" fmla="*/ 192 w 216"/>
              <a:gd name="T55" fmla="*/ 6 h 114"/>
              <a:gd name="T56" fmla="*/ 204 w 216"/>
              <a:gd name="T57" fmla="*/ 18 h 114"/>
              <a:gd name="T58" fmla="*/ 204 w 216"/>
              <a:gd name="T59" fmla="*/ 24 h 114"/>
              <a:gd name="T60" fmla="*/ 216 w 216"/>
              <a:gd name="T61" fmla="*/ 48 h 114"/>
              <a:gd name="T62" fmla="*/ 216 w 216"/>
              <a:gd name="T63" fmla="*/ 84 h 114"/>
              <a:gd name="T64" fmla="*/ 216 w 216"/>
              <a:gd name="T65" fmla="*/ 90 h 114"/>
              <a:gd name="T66" fmla="*/ 210 w 216"/>
              <a:gd name="T67" fmla="*/ 96 h 114"/>
              <a:gd name="T68" fmla="*/ 198 w 216"/>
              <a:gd name="T69" fmla="*/ 96 h 114"/>
              <a:gd name="T70" fmla="*/ 180 w 216"/>
              <a:gd name="T71" fmla="*/ 84 h 114"/>
              <a:gd name="T72" fmla="*/ 168 w 216"/>
              <a:gd name="T73" fmla="*/ 102 h 114"/>
              <a:gd name="T74" fmla="*/ 162 w 216"/>
              <a:gd name="T75" fmla="*/ 102 h 114"/>
              <a:gd name="T76" fmla="*/ 156 w 216"/>
              <a:gd name="T77" fmla="*/ 108 h 114"/>
              <a:gd name="T78" fmla="*/ 126 w 216"/>
              <a:gd name="T79" fmla="*/ 84 h 114"/>
              <a:gd name="T80" fmla="*/ 114 w 216"/>
              <a:gd name="T81" fmla="*/ 78 h 114"/>
              <a:gd name="T82" fmla="*/ 120 w 216"/>
              <a:gd name="T83" fmla="*/ 72 h 114"/>
              <a:gd name="T84" fmla="*/ 114 w 216"/>
              <a:gd name="T85" fmla="*/ 66 h 114"/>
              <a:gd name="T86" fmla="*/ 102 w 216"/>
              <a:gd name="T87" fmla="*/ 66 h 114"/>
              <a:gd name="T88" fmla="*/ 102 w 216"/>
              <a:gd name="T89" fmla="*/ 72 h 114"/>
              <a:gd name="T90" fmla="*/ 102 w 216"/>
              <a:gd name="T91" fmla="*/ 78 h 114"/>
              <a:gd name="T92" fmla="*/ 90 w 216"/>
              <a:gd name="T93" fmla="*/ 84 h 114"/>
              <a:gd name="T94" fmla="*/ 96 w 216"/>
              <a:gd name="T95" fmla="*/ 84 h 114"/>
              <a:gd name="T96" fmla="*/ 90 w 216"/>
              <a:gd name="T97" fmla="*/ 90 h 114"/>
              <a:gd name="T98" fmla="*/ 84 w 216"/>
              <a:gd name="T99" fmla="*/ 90 h 114"/>
              <a:gd name="T100" fmla="*/ 66 w 216"/>
              <a:gd name="T101" fmla="*/ 108 h 114"/>
              <a:gd name="T102" fmla="*/ 66 w 216"/>
              <a:gd name="T103" fmla="*/ 114 h 114"/>
              <a:gd name="T104" fmla="*/ 60 w 216"/>
              <a:gd name="T105" fmla="*/ 108 h 114"/>
              <a:gd name="T106" fmla="*/ 54 w 216"/>
              <a:gd name="T107" fmla="*/ 102 h 114"/>
              <a:gd name="T108" fmla="*/ 42 w 216"/>
              <a:gd name="T109" fmla="*/ 102 h 114"/>
              <a:gd name="T110" fmla="*/ 24 w 216"/>
              <a:gd name="T111" fmla="*/ 102 h 114"/>
              <a:gd name="T112" fmla="*/ 18 w 216"/>
              <a:gd name="T113" fmla="*/ 102 h 114"/>
              <a:gd name="T114" fmla="*/ 12 w 216"/>
              <a:gd name="T115" fmla="*/ 102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16" h="114">
                <a:moveTo>
                  <a:pt x="0" y="84"/>
                </a:moveTo>
                <a:lnTo>
                  <a:pt x="0" y="78"/>
                </a:lnTo>
                <a:lnTo>
                  <a:pt x="0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12" y="78"/>
                </a:lnTo>
                <a:lnTo>
                  <a:pt x="12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0" y="78"/>
                </a:lnTo>
                <a:lnTo>
                  <a:pt x="36" y="78"/>
                </a:lnTo>
                <a:lnTo>
                  <a:pt x="42" y="60"/>
                </a:lnTo>
                <a:lnTo>
                  <a:pt x="54" y="48"/>
                </a:lnTo>
                <a:lnTo>
                  <a:pt x="84" y="42"/>
                </a:lnTo>
                <a:lnTo>
                  <a:pt x="84" y="42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78" y="36"/>
                </a:lnTo>
                <a:lnTo>
                  <a:pt x="84" y="36"/>
                </a:lnTo>
                <a:lnTo>
                  <a:pt x="84" y="36"/>
                </a:lnTo>
                <a:lnTo>
                  <a:pt x="84" y="30"/>
                </a:lnTo>
                <a:lnTo>
                  <a:pt x="84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14" y="0"/>
                </a:lnTo>
                <a:lnTo>
                  <a:pt x="114" y="0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14" y="6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8"/>
                </a:lnTo>
                <a:lnTo>
                  <a:pt x="126" y="18"/>
                </a:lnTo>
                <a:lnTo>
                  <a:pt x="126" y="18"/>
                </a:lnTo>
                <a:lnTo>
                  <a:pt x="120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8" y="18"/>
                </a:lnTo>
                <a:lnTo>
                  <a:pt x="138" y="24"/>
                </a:lnTo>
                <a:lnTo>
                  <a:pt x="138" y="24"/>
                </a:lnTo>
                <a:lnTo>
                  <a:pt x="144" y="24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6"/>
                </a:lnTo>
                <a:lnTo>
                  <a:pt x="144" y="36"/>
                </a:lnTo>
                <a:lnTo>
                  <a:pt x="144" y="36"/>
                </a:lnTo>
                <a:lnTo>
                  <a:pt x="144" y="36"/>
                </a:lnTo>
                <a:lnTo>
                  <a:pt x="144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0"/>
                </a:lnTo>
                <a:lnTo>
                  <a:pt x="162" y="30"/>
                </a:lnTo>
                <a:lnTo>
                  <a:pt x="162" y="30"/>
                </a:lnTo>
                <a:lnTo>
                  <a:pt x="162" y="30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74" y="24"/>
                </a:lnTo>
                <a:lnTo>
                  <a:pt x="174" y="24"/>
                </a:lnTo>
                <a:lnTo>
                  <a:pt x="174" y="18"/>
                </a:lnTo>
                <a:lnTo>
                  <a:pt x="174" y="18"/>
                </a:lnTo>
                <a:lnTo>
                  <a:pt x="174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2"/>
                </a:lnTo>
                <a:lnTo>
                  <a:pt x="180" y="12"/>
                </a:lnTo>
                <a:lnTo>
                  <a:pt x="180" y="12"/>
                </a:lnTo>
                <a:lnTo>
                  <a:pt x="180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12"/>
                </a:lnTo>
                <a:lnTo>
                  <a:pt x="192" y="12"/>
                </a:lnTo>
                <a:lnTo>
                  <a:pt x="192" y="12"/>
                </a:lnTo>
                <a:lnTo>
                  <a:pt x="192" y="12"/>
                </a:lnTo>
                <a:lnTo>
                  <a:pt x="192" y="12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204" y="12"/>
                </a:lnTo>
                <a:lnTo>
                  <a:pt x="204" y="18"/>
                </a:lnTo>
                <a:lnTo>
                  <a:pt x="204" y="18"/>
                </a:lnTo>
                <a:lnTo>
                  <a:pt x="204" y="18"/>
                </a:lnTo>
                <a:lnTo>
                  <a:pt x="204" y="18"/>
                </a:lnTo>
                <a:lnTo>
                  <a:pt x="204" y="18"/>
                </a:lnTo>
                <a:lnTo>
                  <a:pt x="204" y="18"/>
                </a:lnTo>
                <a:lnTo>
                  <a:pt x="204" y="24"/>
                </a:lnTo>
                <a:lnTo>
                  <a:pt x="204" y="24"/>
                </a:lnTo>
                <a:lnTo>
                  <a:pt x="210" y="24"/>
                </a:lnTo>
                <a:lnTo>
                  <a:pt x="210" y="24"/>
                </a:lnTo>
                <a:lnTo>
                  <a:pt x="204" y="30"/>
                </a:lnTo>
                <a:lnTo>
                  <a:pt x="204" y="36"/>
                </a:lnTo>
                <a:lnTo>
                  <a:pt x="210" y="42"/>
                </a:lnTo>
                <a:lnTo>
                  <a:pt x="216" y="48"/>
                </a:lnTo>
                <a:lnTo>
                  <a:pt x="216" y="48"/>
                </a:lnTo>
                <a:lnTo>
                  <a:pt x="210" y="60"/>
                </a:lnTo>
                <a:lnTo>
                  <a:pt x="204" y="60"/>
                </a:lnTo>
                <a:lnTo>
                  <a:pt x="204" y="72"/>
                </a:lnTo>
                <a:lnTo>
                  <a:pt x="210" y="72"/>
                </a:lnTo>
                <a:lnTo>
                  <a:pt x="210" y="72"/>
                </a:lnTo>
                <a:lnTo>
                  <a:pt x="210" y="78"/>
                </a:lnTo>
                <a:lnTo>
                  <a:pt x="216" y="84"/>
                </a:lnTo>
                <a:lnTo>
                  <a:pt x="216" y="90"/>
                </a:lnTo>
                <a:lnTo>
                  <a:pt x="216" y="90"/>
                </a:lnTo>
                <a:lnTo>
                  <a:pt x="216" y="90"/>
                </a:lnTo>
                <a:lnTo>
                  <a:pt x="216" y="90"/>
                </a:lnTo>
                <a:lnTo>
                  <a:pt x="216" y="90"/>
                </a:lnTo>
                <a:lnTo>
                  <a:pt x="216" y="90"/>
                </a:lnTo>
                <a:lnTo>
                  <a:pt x="216" y="90"/>
                </a:lnTo>
                <a:lnTo>
                  <a:pt x="216" y="90"/>
                </a:lnTo>
                <a:lnTo>
                  <a:pt x="216" y="90"/>
                </a:lnTo>
                <a:lnTo>
                  <a:pt x="216" y="90"/>
                </a:lnTo>
                <a:lnTo>
                  <a:pt x="216" y="90"/>
                </a:lnTo>
                <a:lnTo>
                  <a:pt x="216" y="96"/>
                </a:lnTo>
                <a:lnTo>
                  <a:pt x="210" y="96"/>
                </a:lnTo>
                <a:lnTo>
                  <a:pt x="210" y="96"/>
                </a:lnTo>
                <a:lnTo>
                  <a:pt x="210" y="96"/>
                </a:lnTo>
                <a:lnTo>
                  <a:pt x="204" y="96"/>
                </a:lnTo>
                <a:lnTo>
                  <a:pt x="204" y="96"/>
                </a:lnTo>
                <a:lnTo>
                  <a:pt x="204" y="96"/>
                </a:lnTo>
                <a:lnTo>
                  <a:pt x="204" y="96"/>
                </a:lnTo>
                <a:lnTo>
                  <a:pt x="204" y="96"/>
                </a:lnTo>
                <a:lnTo>
                  <a:pt x="198" y="96"/>
                </a:lnTo>
                <a:lnTo>
                  <a:pt x="198" y="96"/>
                </a:lnTo>
                <a:lnTo>
                  <a:pt x="198" y="96"/>
                </a:lnTo>
                <a:lnTo>
                  <a:pt x="198" y="90"/>
                </a:lnTo>
                <a:lnTo>
                  <a:pt x="192" y="90"/>
                </a:lnTo>
                <a:lnTo>
                  <a:pt x="192" y="90"/>
                </a:lnTo>
                <a:lnTo>
                  <a:pt x="192" y="90"/>
                </a:lnTo>
                <a:lnTo>
                  <a:pt x="180" y="84"/>
                </a:lnTo>
                <a:lnTo>
                  <a:pt x="180" y="84"/>
                </a:lnTo>
                <a:lnTo>
                  <a:pt x="180" y="90"/>
                </a:lnTo>
                <a:lnTo>
                  <a:pt x="174" y="90"/>
                </a:lnTo>
                <a:lnTo>
                  <a:pt x="180" y="90"/>
                </a:lnTo>
                <a:lnTo>
                  <a:pt x="174" y="96"/>
                </a:lnTo>
                <a:lnTo>
                  <a:pt x="174" y="96"/>
                </a:lnTo>
                <a:lnTo>
                  <a:pt x="168" y="102"/>
                </a:lnTo>
                <a:lnTo>
                  <a:pt x="168" y="102"/>
                </a:lnTo>
                <a:lnTo>
                  <a:pt x="168" y="102"/>
                </a:lnTo>
                <a:lnTo>
                  <a:pt x="168" y="102"/>
                </a:lnTo>
                <a:lnTo>
                  <a:pt x="162" y="102"/>
                </a:lnTo>
                <a:lnTo>
                  <a:pt x="162" y="102"/>
                </a:lnTo>
                <a:lnTo>
                  <a:pt x="162" y="102"/>
                </a:lnTo>
                <a:lnTo>
                  <a:pt x="162" y="102"/>
                </a:lnTo>
                <a:lnTo>
                  <a:pt x="156" y="102"/>
                </a:lnTo>
                <a:lnTo>
                  <a:pt x="156" y="102"/>
                </a:lnTo>
                <a:lnTo>
                  <a:pt x="156" y="102"/>
                </a:lnTo>
                <a:lnTo>
                  <a:pt x="156" y="102"/>
                </a:lnTo>
                <a:lnTo>
                  <a:pt x="156" y="102"/>
                </a:lnTo>
                <a:lnTo>
                  <a:pt x="156" y="108"/>
                </a:lnTo>
                <a:lnTo>
                  <a:pt x="156" y="108"/>
                </a:lnTo>
                <a:lnTo>
                  <a:pt x="156" y="108"/>
                </a:lnTo>
                <a:lnTo>
                  <a:pt x="156" y="108"/>
                </a:lnTo>
                <a:lnTo>
                  <a:pt x="150" y="108"/>
                </a:lnTo>
                <a:lnTo>
                  <a:pt x="150" y="108"/>
                </a:lnTo>
                <a:lnTo>
                  <a:pt x="150" y="108"/>
                </a:lnTo>
                <a:lnTo>
                  <a:pt x="132" y="90"/>
                </a:lnTo>
                <a:lnTo>
                  <a:pt x="126" y="84"/>
                </a:lnTo>
                <a:lnTo>
                  <a:pt x="126" y="84"/>
                </a:lnTo>
                <a:lnTo>
                  <a:pt x="120" y="84"/>
                </a:lnTo>
                <a:lnTo>
                  <a:pt x="120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20" y="78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6" y="72"/>
                </a:lnTo>
                <a:lnTo>
                  <a:pt x="126" y="72"/>
                </a:lnTo>
                <a:lnTo>
                  <a:pt x="126" y="66"/>
                </a:lnTo>
                <a:lnTo>
                  <a:pt x="120" y="66"/>
                </a:lnTo>
                <a:lnTo>
                  <a:pt x="120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0" y="78"/>
                </a:lnTo>
                <a:lnTo>
                  <a:pt x="84" y="84"/>
                </a:lnTo>
                <a:lnTo>
                  <a:pt x="84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6" y="84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66" y="102"/>
                </a:lnTo>
                <a:lnTo>
                  <a:pt x="66" y="102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72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0" y="108"/>
                </a:lnTo>
                <a:lnTo>
                  <a:pt x="66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2"/>
                </a:lnTo>
                <a:lnTo>
                  <a:pt x="60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8"/>
                </a:lnTo>
                <a:lnTo>
                  <a:pt x="36" y="108"/>
                </a:lnTo>
                <a:lnTo>
                  <a:pt x="36" y="102"/>
                </a:lnTo>
                <a:lnTo>
                  <a:pt x="30" y="108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8"/>
                </a:lnTo>
                <a:lnTo>
                  <a:pt x="24" y="108"/>
                </a:lnTo>
                <a:lnTo>
                  <a:pt x="18" y="102"/>
                </a:lnTo>
                <a:lnTo>
                  <a:pt x="18" y="102"/>
                </a:lnTo>
                <a:lnTo>
                  <a:pt x="18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0" y="90"/>
                </a:lnTo>
                <a:lnTo>
                  <a:pt x="0" y="8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56" name="Freeform 189"/>
          <p:cNvSpPr>
            <a:spLocks/>
          </p:cNvSpPr>
          <p:nvPr/>
        </p:nvSpPr>
        <p:spPr bwMode="auto">
          <a:xfrm>
            <a:off x="8734101" y="2207775"/>
            <a:ext cx="44968" cy="51393"/>
          </a:xfrm>
          <a:custGeom>
            <a:avLst/>
            <a:gdLst>
              <a:gd name="T0" fmla="*/ 0 w 42"/>
              <a:gd name="T1" fmla="*/ 36 h 48"/>
              <a:gd name="T2" fmla="*/ 0 w 42"/>
              <a:gd name="T3" fmla="*/ 36 h 48"/>
              <a:gd name="T4" fmla="*/ 0 w 42"/>
              <a:gd name="T5" fmla="*/ 36 h 48"/>
              <a:gd name="T6" fmla="*/ 0 w 42"/>
              <a:gd name="T7" fmla="*/ 36 h 48"/>
              <a:gd name="T8" fmla="*/ 6 w 42"/>
              <a:gd name="T9" fmla="*/ 30 h 48"/>
              <a:gd name="T10" fmla="*/ 6 w 42"/>
              <a:gd name="T11" fmla="*/ 30 h 48"/>
              <a:gd name="T12" fmla="*/ 0 w 42"/>
              <a:gd name="T13" fmla="*/ 24 h 48"/>
              <a:gd name="T14" fmla="*/ 6 w 42"/>
              <a:gd name="T15" fmla="*/ 24 h 48"/>
              <a:gd name="T16" fmla="*/ 6 w 42"/>
              <a:gd name="T17" fmla="*/ 12 h 48"/>
              <a:gd name="T18" fmla="*/ 6 w 42"/>
              <a:gd name="T19" fmla="*/ 12 h 48"/>
              <a:gd name="T20" fmla="*/ 6 w 42"/>
              <a:gd name="T21" fmla="*/ 12 h 48"/>
              <a:gd name="T22" fmla="*/ 6 w 42"/>
              <a:gd name="T23" fmla="*/ 6 h 48"/>
              <a:gd name="T24" fmla="*/ 12 w 42"/>
              <a:gd name="T25" fmla="*/ 12 h 48"/>
              <a:gd name="T26" fmla="*/ 24 w 42"/>
              <a:gd name="T27" fmla="*/ 0 h 48"/>
              <a:gd name="T28" fmla="*/ 24 w 42"/>
              <a:gd name="T29" fmla="*/ 0 h 48"/>
              <a:gd name="T30" fmla="*/ 30 w 42"/>
              <a:gd name="T31" fmla="*/ 0 h 48"/>
              <a:gd name="T32" fmla="*/ 36 w 42"/>
              <a:gd name="T33" fmla="*/ 6 h 48"/>
              <a:gd name="T34" fmla="*/ 42 w 42"/>
              <a:gd name="T35" fmla="*/ 6 h 48"/>
              <a:gd name="T36" fmla="*/ 42 w 42"/>
              <a:gd name="T37" fmla="*/ 6 h 48"/>
              <a:gd name="T38" fmla="*/ 42 w 42"/>
              <a:gd name="T39" fmla="*/ 6 h 48"/>
              <a:gd name="T40" fmla="*/ 42 w 42"/>
              <a:gd name="T41" fmla="*/ 6 h 48"/>
              <a:gd name="T42" fmla="*/ 42 w 42"/>
              <a:gd name="T43" fmla="*/ 6 h 48"/>
              <a:gd name="T44" fmla="*/ 36 w 42"/>
              <a:gd name="T45" fmla="*/ 12 h 48"/>
              <a:gd name="T46" fmla="*/ 36 w 42"/>
              <a:gd name="T47" fmla="*/ 12 h 48"/>
              <a:gd name="T48" fmla="*/ 42 w 42"/>
              <a:gd name="T49" fmla="*/ 18 h 48"/>
              <a:gd name="T50" fmla="*/ 36 w 42"/>
              <a:gd name="T51" fmla="*/ 24 h 48"/>
              <a:gd name="T52" fmla="*/ 36 w 42"/>
              <a:gd name="T53" fmla="*/ 30 h 48"/>
              <a:gd name="T54" fmla="*/ 36 w 42"/>
              <a:gd name="T55" fmla="*/ 30 h 48"/>
              <a:gd name="T56" fmla="*/ 36 w 42"/>
              <a:gd name="T57" fmla="*/ 36 h 48"/>
              <a:gd name="T58" fmla="*/ 36 w 42"/>
              <a:gd name="T59" fmla="*/ 36 h 48"/>
              <a:gd name="T60" fmla="*/ 36 w 42"/>
              <a:gd name="T61" fmla="*/ 36 h 48"/>
              <a:gd name="T62" fmla="*/ 36 w 42"/>
              <a:gd name="T63" fmla="*/ 36 h 48"/>
              <a:gd name="T64" fmla="*/ 30 w 42"/>
              <a:gd name="T65" fmla="*/ 36 h 48"/>
              <a:gd name="T66" fmla="*/ 30 w 42"/>
              <a:gd name="T67" fmla="*/ 42 h 48"/>
              <a:gd name="T68" fmla="*/ 30 w 42"/>
              <a:gd name="T69" fmla="*/ 48 h 48"/>
              <a:gd name="T70" fmla="*/ 24 w 42"/>
              <a:gd name="T71" fmla="*/ 48 h 48"/>
              <a:gd name="T72" fmla="*/ 18 w 42"/>
              <a:gd name="T73" fmla="*/ 48 h 48"/>
              <a:gd name="T74" fmla="*/ 18 w 42"/>
              <a:gd name="T75" fmla="*/ 48 h 48"/>
              <a:gd name="T76" fmla="*/ 18 w 42"/>
              <a:gd name="T77" fmla="*/ 48 h 48"/>
              <a:gd name="T78" fmla="*/ 18 w 42"/>
              <a:gd name="T79" fmla="*/ 48 h 48"/>
              <a:gd name="T80" fmla="*/ 18 w 42"/>
              <a:gd name="T81" fmla="*/ 48 h 48"/>
              <a:gd name="T82" fmla="*/ 12 w 42"/>
              <a:gd name="T83" fmla="*/ 42 h 48"/>
              <a:gd name="T84" fmla="*/ 12 w 42"/>
              <a:gd name="T85" fmla="*/ 42 h 48"/>
              <a:gd name="T86" fmla="*/ 12 w 42"/>
              <a:gd name="T87" fmla="*/ 42 h 48"/>
              <a:gd name="T88" fmla="*/ 6 w 42"/>
              <a:gd name="T89" fmla="*/ 42 h 48"/>
              <a:gd name="T90" fmla="*/ 6 w 42"/>
              <a:gd name="T91" fmla="*/ 42 h 48"/>
              <a:gd name="T92" fmla="*/ 6 w 42"/>
              <a:gd name="T93" fmla="*/ 42 h 48"/>
              <a:gd name="T94" fmla="*/ 6 w 42"/>
              <a:gd name="T95" fmla="*/ 42 h 48"/>
              <a:gd name="T96" fmla="*/ 0 w 42"/>
              <a:gd name="T97" fmla="*/ 48 h 48"/>
              <a:gd name="T98" fmla="*/ 0 w 42"/>
              <a:gd name="T99" fmla="*/ 48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42" h="48">
                <a:moveTo>
                  <a:pt x="0" y="36"/>
                </a:move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0" y="24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6"/>
                </a:lnTo>
                <a:lnTo>
                  <a:pt x="6" y="6"/>
                </a:lnTo>
                <a:lnTo>
                  <a:pt x="12" y="12"/>
                </a:lnTo>
                <a:lnTo>
                  <a:pt x="12" y="12"/>
                </a:lnTo>
                <a:lnTo>
                  <a:pt x="24" y="6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30" y="0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8"/>
                </a:lnTo>
                <a:lnTo>
                  <a:pt x="42" y="18"/>
                </a:lnTo>
                <a:lnTo>
                  <a:pt x="36" y="24"/>
                </a:lnTo>
                <a:lnTo>
                  <a:pt x="36" y="24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0" y="36"/>
                </a:lnTo>
                <a:lnTo>
                  <a:pt x="30" y="42"/>
                </a:lnTo>
                <a:lnTo>
                  <a:pt x="30" y="42"/>
                </a:lnTo>
                <a:lnTo>
                  <a:pt x="30" y="48"/>
                </a:lnTo>
                <a:lnTo>
                  <a:pt x="30" y="48"/>
                </a:lnTo>
                <a:lnTo>
                  <a:pt x="24" y="48"/>
                </a:lnTo>
                <a:lnTo>
                  <a:pt x="24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3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58" name="Freeform 191"/>
          <p:cNvSpPr>
            <a:spLocks/>
          </p:cNvSpPr>
          <p:nvPr/>
        </p:nvSpPr>
        <p:spPr bwMode="auto">
          <a:xfrm>
            <a:off x="8361506" y="2336257"/>
            <a:ext cx="109209" cy="77089"/>
          </a:xfrm>
          <a:custGeom>
            <a:avLst/>
            <a:gdLst>
              <a:gd name="T0" fmla="*/ 6 w 102"/>
              <a:gd name="T1" fmla="*/ 48 h 72"/>
              <a:gd name="T2" fmla="*/ 12 w 102"/>
              <a:gd name="T3" fmla="*/ 42 h 72"/>
              <a:gd name="T4" fmla="*/ 18 w 102"/>
              <a:gd name="T5" fmla="*/ 42 h 72"/>
              <a:gd name="T6" fmla="*/ 18 w 102"/>
              <a:gd name="T7" fmla="*/ 42 h 72"/>
              <a:gd name="T8" fmla="*/ 24 w 102"/>
              <a:gd name="T9" fmla="*/ 42 h 72"/>
              <a:gd name="T10" fmla="*/ 30 w 102"/>
              <a:gd name="T11" fmla="*/ 36 h 72"/>
              <a:gd name="T12" fmla="*/ 30 w 102"/>
              <a:gd name="T13" fmla="*/ 30 h 72"/>
              <a:gd name="T14" fmla="*/ 36 w 102"/>
              <a:gd name="T15" fmla="*/ 24 h 72"/>
              <a:gd name="T16" fmla="*/ 36 w 102"/>
              <a:gd name="T17" fmla="*/ 24 h 72"/>
              <a:gd name="T18" fmla="*/ 42 w 102"/>
              <a:gd name="T19" fmla="*/ 18 h 72"/>
              <a:gd name="T20" fmla="*/ 42 w 102"/>
              <a:gd name="T21" fmla="*/ 18 h 72"/>
              <a:gd name="T22" fmla="*/ 48 w 102"/>
              <a:gd name="T23" fmla="*/ 6 h 72"/>
              <a:gd name="T24" fmla="*/ 42 w 102"/>
              <a:gd name="T25" fmla="*/ 6 h 72"/>
              <a:gd name="T26" fmla="*/ 48 w 102"/>
              <a:gd name="T27" fmla="*/ 6 h 72"/>
              <a:gd name="T28" fmla="*/ 54 w 102"/>
              <a:gd name="T29" fmla="*/ 0 h 72"/>
              <a:gd name="T30" fmla="*/ 54 w 102"/>
              <a:gd name="T31" fmla="*/ 6 h 72"/>
              <a:gd name="T32" fmla="*/ 54 w 102"/>
              <a:gd name="T33" fmla="*/ 6 h 72"/>
              <a:gd name="T34" fmla="*/ 60 w 102"/>
              <a:gd name="T35" fmla="*/ 6 h 72"/>
              <a:gd name="T36" fmla="*/ 60 w 102"/>
              <a:gd name="T37" fmla="*/ 12 h 72"/>
              <a:gd name="T38" fmla="*/ 60 w 102"/>
              <a:gd name="T39" fmla="*/ 18 h 72"/>
              <a:gd name="T40" fmla="*/ 60 w 102"/>
              <a:gd name="T41" fmla="*/ 18 h 72"/>
              <a:gd name="T42" fmla="*/ 60 w 102"/>
              <a:gd name="T43" fmla="*/ 18 h 72"/>
              <a:gd name="T44" fmla="*/ 66 w 102"/>
              <a:gd name="T45" fmla="*/ 18 h 72"/>
              <a:gd name="T46" fmla="*/ 66 w 102"/>
              <a:gd name="T47" fmla="*/ 24 h 72"/>
              <a:gd name="T48" fmla="*/ 72 w 102"/>
              <a:gd name="T49" fmla="*/ 18 h 72"/>
              <a:gd name="T50" fmla="*/ 72 w 102"/>
              <a:gd name="T51" fmla="*/ 18 h 72"/>
              <a:gd name="T52" fmla="*/ 84 w 102"/>
              <a:gd name="T53" fmla="*/ 12 h 72"/>
              <a:gd name="T54" fmla="*/ 84 w 102"/>
              <a:gd name="T55" fmla="*/ 18 h 72"/>
              <a:gd name="T56" fmla="*/ 90 w 102"/>
              <a:gd name="T57" fmla="*/ 18 h 72"/>
              <a:gd name="T58" fmla="*/ 90 w 102"/>
              <a:gd name="T59" fmla="*/ 24 h 72"/>
              <a:gd name="T60" fmla="*/ 96 w 102"/>
              <a:gd name="T61" fmla="*/ 24 h 72"/>
              <a:gd name="T62" fmla="*/ 96 w 102"/>
              <a:gd name="T63" fmla="*/ 30 h 72"/>
              <a:gd name="T64" fmla="*/ 96 w 102"/>
              <a:gd name="T65" fmla="*/ 36 h 72"/>
              <a:gd name="T66" fmla="*/ 96 w 102"/>
              <a:gd name="T67" fmla="*/ 42 h 72"/>
              <a:gd name="T68" fmla="*/ 90 w 102"/>
              <a:gd name="T69" fmla="*/ 48 h 72"/>
              <a:gd name="T70" fmla="*/ 90 w 102"/>
              <a:gd name="T71" fmla="*/ 48 h 72"/>
              <a:gd name="T72" fmla="*/ 90 w 102"/>
              <a:gd name="T73" fmla="*/ 48 h 72"/>
              <a:gd name="T74" fmla="*/ 84 w 102"/>
              <a:gd name="T75" fmla="*/ 54 h 72"/>
              <a:gd name="T76" fmla="*/ 78 w 102"/>
              <a:gd name="T77" fmla="*/ 54 h 72"/>
              <a:gd name="T78" fmla="*/ 78 w 102"/>
              <a:gd name="T79" fmla="*/ 60 h 72"/>
              <a:gd name="T80" fmla="*/ 72 w 102"/>
              <a:gd name="T81" fmla="*/ 66 h 72"/>
              <a:gd name="T82" fmla="*/ 60 w 102"/>
              <a:gd name="T83" fmla="*/ 66 h 72"/>
              <a:gd name="T84" fmla="*/ 48 w 102"/>
              <a:gd name="T85" fmla="*/ 60 h 72"/>
              <a:gd name="T86" fmla="*/ 42 w 102"/>
              <a:gd name="T87" fmla="*/ 66 h 72"/>
              <a:gd name="T88" fmla="*/ 42 w 102"/>
              <a:gd name="T89" fmla="*/ 66 h 72"/>
              <a:gd name="T90" fmla="*/ 42 w 102"/>
              <a:gd name="T91" fmla="*/ 72 h 72"/>
              <a:gd name="T92" fmla="*/ 36 w 102"/>
              <a:gd name="T93" fmla="*/ 72 h 72"/>
              <a:gd name="T94" fmla="*/ 18 w 102"/>
              <a:gd name="T95" fmla="*/ 66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02" h="72">
                <a:moveTo>
                  <a:pt x="0" y="54"/>
                </a:moveTo>
                <a:lnTo>
                  <a:pt x="0" y="54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24" y="42"/>
                </a:lnTo>
                <a:lnTo>
                  <a:pt x="24" y="42"/>
                </a:lnTo>
                <a:lnTo>
                  <a:pt x="24" y="36"/>
                </a:lnTo>
                <a:lnTo>
                  <a:pt x="24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2"/>
                </a:lnTo>
                <a:lnTo>
                  <a:pt x="42" y="12"/>
                </a:lnTo>
                <a:lnTo>
                  <a:pt x="48" y="6"/>
                </a:lnTo>
                <a:lnTo>
                  <a:pt x="48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6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24"/>
                </a:lnTo>
                <a:lnTo>
                  <a:pt x="72" y="24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8" y="18"/>
                </a:lnTo>
                <a:lnTo>
                  <a:pt x="78" y="18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8"/>
                </a:lnTo>
                <a:lnTo>
                  <a:pt x="84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102" y="24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6"/>
                </a:lnTo>
                <a:lnTo>
                  <a:pt x="96" y="36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60"/>
                </a:lnTo>
                <a:lnTo>
                  <a:pt x="72" y="60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66" y="72"/>
                </a:lnTo>
                <a:lnTo>
                  <a:pt x="60" y="66"/>
                </a:lnTo>
                <a:lnTo>
                  <a:pt x="54" y="60"/>
                </a:lnTo>
                <a:lnTo>
                  <a:pt x="48" y="60"/>
                </a:lnTo>
                <a:lnTo>
                  <a:pt x="48" y="60"/>
                </a:lnTo>
                <a:lnTo>
                  <a:pt x="48" y="66"/>
                </a:lnTo>
                <a:lnTo>
                  <a:pt x="48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18" y="66"/>
                </a:lnTo>
                <a:lnTo>
                  <a:pt x="0" y="5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59" name="Freeform 192"/>
          <p:cNvSpPr>
            <a:spLocks/>
          </p:cNvSpPr>
          <p:nvPr/>
        </p:nvSpPr>
        <p:spPr bwMode="auto">
          <a:xfrm>
            <a:off x="8586348" y="2439043"/>
            <a:ext cx="89937" cy="96361"/>
          </a:xfrm>
          <a:custGeom>
            <a:avLst/>
            <a:gdLst>
              <a:gd name="T0" fmla="*/ 6 w 84"/>
              <a:gd name="T1" fmla="*/ 30 h 90"/>
              <a:gd name="T2" fmla="*/ 18 w 84"/>
              <a:gd name="T3" fmla="*/ 24 h 90"/>
              <a:gd name="T4" fmla="*/ 24 w 84"/>
              <a:gd name="T5" fmla="*/ 24 h 90"/>
              <a:gd name="T6" fmla="*/ 24 w 84"/>
              <a:gd name="T7" fmla="*/ 24 h 90"/>
              <a:gd name="T8" fmla="*/ 30 w 84"/>
              <a:gd name="T9" fmla="*/ 24 h 90"/>
              <a:gd name="T10" fmla="*/ 24 w 84"/>
              <a:gd name="T11" fmla="*/ 12 h 90"/>
              <a:gd name="T12" fmla="*/ 24 w 84"/>
              <a:gd name="T13" fmla="*/ 6 h 90"/>
              <a:gd name="T14" fmla="*/ 24 w 84"/>
              <a:gd name="T15" fmla="*/ 6 h 90"/>
              <a:gd name="T16" fmla="*/ 24 w 84"/>
              <a:gd name="T17" fmla="*/ 0 h 90"/>
              <a:gd name="T18" fmla="*/ 24 w 84"/>
              <a:gd name="T19" fmla="*/ 0 h 90"/>
              <a:gd name="T20" fmla="*/ 36 w 84"/>
              <a:gd name="T21" fmla="*/ 0 h 90"/>
              <a:gd name="T22" fmla="*/ 48 w 84"/>
              <a:gd name="T23" fmla="*/ 0 h 90"/>
              <a:gd name="T24" fmla="*/ 54 w 84"/>
              <a:gd name="T25" fmla="*/ 6 h 90"/>
              <a:gd name="T26" fmla="*/ 54 w 84"/>
              <a:gd name="T27" fmla="*/ 6 h 90"/>
              <a:gd name="T28" fmla="*/ 60 w 84"/>
              <a:gd name="T29" fmla="*/ 6 h 90"/>
              <a:gd name="T30" fmla="*/ 60 w 84"/>
              <a:gd name="T31" fmla="*/ 6 h 90"/>
              <a:gd name="T32" fmla="*/ 60 w 84"/>
              <a:gd name="T33" fmla="*/ 6 h 90"/>
              <a:gd name="T34" fmla="*/ 60 w 84"/>
              <a:gd name="T35" fmla="*/ 12 h 90"/>
              <a:gd name="T36" fmla="*/ 72 w 84"/>
              <a:gd name="T37" fmla="*/ 12 h 90"/>
              <a:gd name="T38" fmla="*/ 72 w 84"/>
              <a:gd name="T39" fmla="*/ 18 h 90"/>
              <a:gd name="T40" fmla="*/ 66 w 84"/>
              <a:gd name="T41" fmla="*/ 30 h 90"/>
              <a:gd name="T42" fmla="*/ 72 w 84"/>
              <a:gd name="T43" fmla="*/ 30 h 90"/>
              <a:gd name="T44" fmla="*/ 78 w 84"/>
              <a:gd name="T45" fmla="*/ 30 h 90"/>
              <a:gd name="T46" fmla="*/ 78 w 84"/>
              <a:gd name="T47" fmla="*/ 36 h 90"/>
              <a:gd name="T48" fmla="*/ 84 w 84"/>
              <a:gd name="T49" fmla="*/ 36 h 90"/>
              <a:gd name="T50" fmla="*/ 84 w 84"/>
              <a:gd name="T51" fmla="*/ 36 h 90"/>
              <a:gd name="T52" fmla="*/ 78 w 84"/>
              <a:gd name="T53" fmla="*/ 48 h 90"/>
              <a:gd name="T54" fmla="*/ 66 w 84"/>
              <a:gd name="T55" fmla="*/ 60 h 90"/>
              <a:gd name="T56" fmla="*/ 66 w 84"/>
              <a:gd name="T57" fmla="*/ 66 h 90"/>
              <a:gd name="T58" fmla="*/ 60 w 84"/>
              <a:gd name="T59" fmla="*/ 72 h 90"/>
              <a:gd name="T60" fmla="*/ 54 w 84"/>
              <a:gd name="T61" fmla="*/ 72 h 90"/>
              <a:gd name="T62" fmla="*/ 54 w 84"/>
              <a:gd name="T63" fmla="*/ 78 h 90"/>
              <a:gd name="T64" fmla="*/ 42 w 84"/>
              <a:gd name="T65" fmla="*/ 84 h 90"/>
              <a:gd name="T66" fmla="*/ 24 w 84"/>
              <a:gd name="T67" fmla="*/ 84 h 90"/>
              <a:gd name="T68" fmla="*/ 24 w 84"/>
              <a:gd name="T69" fmla="*/ 84 h 90"/>
              <a:gd name="T70" fmla="*/ 24 w 84"/>
              <a:gd name="T71" fmla="*/ 84 h 90"/>
              <a:gd name="T72" fmla="*/ 30 w 84"/>
              <a:gd name="T73" fmla="*/ 78 h 90"/>
              <a:gd name="T74" fmla="*/ 24 w 84"/>
              <a:gd name="T75" fmla="*/ 72 h 90"/>
              <a:gd name="T76" fmla="*/ 24 w 84"/>
              <a:gd name="T77" fmla="*/ 66 h 90"/>
              <a:gd name="T78" fmla="*/ 18 w 84"/>
              <a:gd name="T79" fmla="*/ 66 h 90"/>
              <a:gd name="T80" fmla="*/ 18 w 84"/>
              <a:gd name="T81" fmla="*/ 66 h 90"/>
              <a:gd name="T82" fmla="*/ 12 w 84"/>
              <a:gd name="T83" fmla="*/ 60 h 90"/>
              <a:gd name="T84" fmla="*/ 12 w 84"/>
              <a:gd name="T85" fmla="*/ 60 h 90"/>
              <a:gd name="T86" fmla="*/ 12 w 84"/>
              <a:gd name="T87" fmla="*/ 60 h 90"/>
              <a:gd name="T88" fmla="*/ 12 w 84"/>
              <a:gd name="T89" fmla="*/ 54 h 90"/>
              <a:gd name="T90" fmla="*/ 12 w 84"/>
              <a:gd name="T91" fmla="*/ 48 h 90"/>
              <a:gd name="T92" fmla="*/ 12 w 84"/>
              <a:gd name="T93" fmla="*/ 48 h 90"/>
              <a:gd name="T94" fmla="*/ 6 w 84"/>
              <a:gd name="T95" fmla="*/ 42 h 90"/>
              <a:gd name="T96" fmla="*/ 6 w 84"/>
              <a:gd name="T97" fmla="*/ 36 h 90"/>
              <a:gd name="T98" fmla="*/ 6 w 84"/>
              <a:gd name="T99" fmla="*/ 36 h 90"/>
              <a:gd name="T100" fmla="*/ 0 w 84"/>
              <a:gd name="T101" fmla="*/ 36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84" h="90">
                <a:moveTo>
                  <a:pt x="0" y="30"/>
                </a:moveTo>
                <a:lnTo>
                  <a:pt x="6" y="30"/>
                </a:lnTo>
                <a:lnTo>
                  <a:pt x="6" y="30"/>
                </a:lnTo>
                <a:lnTo>
                  <a:pt x="12" y="30"/>
                </a:lnTo>
                <a:lnTo>
                  <a:pt x="12" y="24"/>
                </a:lnTo>
                <a:lnTo>
                  <a:pt x="18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18"/>
                </a:lnTo>
                <a:lnTo>
                  <a:pt x="30" y="24"/>
                </a:lnTo>
                <a:lnTo>
                  <a:pt x="30" y="18"/>
                </a:lnTo>
                <a:lnTo>
                  <a:pt x="30" y="18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0"/>
                </a:lnTo>
                <a:lnTo>
                  <a:pt x="24" y="0"/>
                </a:lnTo>
                <a:lnTo>
                  <a:pt x="30" y="0"/>
                </a:lnTo>
                <a:lnTo>
                  <a:pt x="30" y="0"/>
                </a:lnTo>
                <a:lnTo>
                  <a:pt x="24" y="0"/>
                </a:lnTo>
                <a:lnTo>
                  <a:pt x="30" y="0"/>
                </a:lnTo>
                <a:lnTo>
                  <a:pt x="36" y="0"/>
                </a:lnTo>
                <a:lnTo>
                  <a:pt x="36" y="0"/>
                </a:lnTo>
                <a:lnTo>
                  <a:pt x="42" y="6"/>
                </a:lnTo>
                <a:lnTo>
                  <a:pt x="36" y="0"/>
                </a:lnTo>
                <a:lnTo>
                  <a:pt x="48" y="0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72" y="18"/>
                </a:lnTo>
                <a:lnTo>
                  <a:pt x="72" y="18"/>
                </a:lnTo>
                <a:lnTo>
                  <a:pt x="72" y="24"/>
                </a:lnTo>
                <a:lnTo>
                  <a:pt x="66" y="30"/>
                </a:lnTo>
                <a:lnTo>
                  <a:pt x="66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6"/>
                </a:lnTo>
                <a:lnTo>
                  <a:pt x="78" y="36"/>
                </a:lnTo>
                <a:lnTo>
                  <a:pt x="84" y="30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78" y="42"/>
                </a:lnTo>
                <a:lnTo>
                  <a:pt x="78" y="48"/>
                </a:lnTo>
                <a:lnTo>
                  <a:pt x="78" y="48"/>
                </a:lnTo>
                <a:lnTo>
                  <a:pt x="72" y="54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0" y="66"/>
                </a:lnTo>
                <a:lnTo>
                  <a:pt x="60" y="72"/>
                </a:lnTo>
                <a:lnTo>
                  <a:pt x="60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8"/>
                </a:lnTo>
                <a:lnTo>
                  <a:pt x="48" y="78"/>
                </a:lnTo>
                <a:lnTo>
                  <a:pt x="48" y="78"/>
                </a:lnTo>
                <a:lnTo>
                  <a:pt x="42" y="84"/>
                </a:lnTo>
                <a:lnTo>
                  <a:pt x="42" y="84"/>
                </a:lnTo>
                <a:lnTo>
                  <a:pt x="36" y="90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78"/>
                </a:lnTo>
                <a:lnTo>
                  <a:pt x="30" y="78"/>
                </a:lnTo>
                <a:lnTo>
                  <a:pt x="30" y="78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0"/>
                </a:lnTo>
                <a:lnTo>
                  <a:pt x="18" y="66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6" y="54"/>
                </a:lnTo>
                <a:lnTo>
                  <a:pt x="12" y="54"/>
                </a:lnTo>
                <a:lnTo>
                  <a:pt x="12" y="54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60" name="Freeform 193"/>
          <p:cNvSpPr>
            <a:spLocks/>
          </p:cNvSpPr>
          <p:nvPr/>
        </p:nvSpPr>
        <p:spPr bwMode="auto">
          <a:xfrm>
            <a:off x="8528531" y="2432619"/>
            <a:ext cx="89937" cy="77089"/>
          </a:xfrm>
          <a:custGeom>
            <a:avLst/>
            <a:gdLst>
              <a:gd name="T0" fmla="*/ 0 w 84"/>
              <a:gd name="T1" fmla="*/ 18 h 72"/>
              <a:gd name="T2" fmla="*/ 0 w 84"/>
              <a:gd name="T3" fmla="*/ 12 h 72"/>
              <a:gd name="T4" fmla="*/ 6 w 84"/>
              <a:gd name="T5" fmla="*/ 12 h 72"/>
              <a:gd name="T6" fmla="*/ 6 w 84"/>
              <a:gd name="T7" fmla="*/ 12 h 72"/>
              <a:gd name="T8" fmla="*/ 12 w 84"/>
              <a:gd name="T9" fmla="*/ 6 h 72"/>
              <a:gd name="T10" fmla="*/ 12 w 84"/>
              <a:gd name="T11" fmla="*/ 6 h 72"/>
              <a:gd name="T12" fmla="*/ 18 w 84"/>
              <a:gd name="T13" fmla="*/ 6 h 72"/>
              <a:gd name="T14" fmla="*/ 24 w 84"/>
              <a:gd name="T15" fmla="*/ 0 h 72"/>
              <a:gd name="T16" fmla="*/ 30 w 84"/>
              <a:gd name="T17" fmla="*/ 0 h 72"/>
              <a:gd name="T18" fmla="*/ 30 w 84"/>
              <a:gd name="T19" fmla="*/ 6 h 72"/>
              <a:gd name="T20" fmla="*/ 36 w 84"/>
              <a:gd name="T21" fmla="*/ 6 h 72"/>
              <a:gd name="T22" fmla="*/ 36 w 84"/>
              <a:gd name="T23" fmla="*/ 6 h 72"/>
              <a:gd name="T24" fmla="*/ 36 w 84"/>
              <a:gd name="T25" fmla="*/ 12 h 72"/>
              <a:gd name="T26" fmla="*/ 42 w 84"/>
              <a:gd name="T27" fmla="*/ 12 h 72"/>
              <a:gd name="T28" fmla="*/ 48 w 84"/>
              <a:gd name="T29" fmla="*/ 12 h 72"/>
              <a:gd name="T30" fmla="*/ 48 w 84"/>
              <a:gd name="T31" fmla="*/ 12 h 72"/>
              <a:gd name="T32" fmla="*/ 42 w 84"/>
              <a:gd name="T33" fmla="*/ 12 h 72"/>
              <a:gd name="T34" fmla="*/ 48 w 84"/>
              <a:gd name="T35" fmla="*/ 12 h 72"/>
              <a:gd name="T36" fmla="*/ 48 w 84"/>
              <a:gd name="T37" fmla="*/ 6 h 72"/>
              <a:gd name="T38" fmla="*/ 48 w 84"/>
              <a:gd name="T39" fmla="*/ 6 h 72"/>
              <a:gd name="T40" fmla="*/ 48 w 84"/>
              <a:gd name="T41" fmla="*/ 6 h 72"/>
              <a:gd name="T42" fmla="*/ 54 w 84"/>
              <a:gd name="T43" fmla="*/ 6 h 72"/>
              <a:gd name="T44" fmla="*/ 54 w 84"/>
              <a:gd name="T45" fmla="*/ 0 h 72"/>
              <a:gd name="T46" fmla="*/ 54 w 84"/>
              <a:gd name="T47" fmla="*/ 0 h 72"/>
              <a:gd name="T48" fmla="*/ 60 w 84"/>
              <a:gd name="T49" fmla="*/ 0 h 72"/>
              <a:gd name="T50" fmla="*/ 60 w 84"/>
              <a:gd name="T51" fmla="*/ 6 h 72"/>
              <a:gd name="T52" fmla="*/ 66 w 84"/>
              <a:gd name="T53" fmla="*/ 12 h 72"/>
              <a:gd name="T54" fmla="*/ 72 w 84"/>
              <a:gd name="T55" fmla="*/ 12 h 72"/>
              <a:gd name="T56" fmla="*/ 72 w 84"/>
              <a:gd name="T57" fmla="*/ 12 h 72"/>
              <a:gd name="T58" fmla="*/ 78 w 84"/>
              <a:gd name="T59" fmla="*/ 12 h 72"/>
              <a:gd name="T60" fmla="*/ 78 w 84"/>
              <a:gd name="T61" fmla="*/ 18 h 72"/>
              <a:gd name="T62" fmla="*/ 84 w 84"/>
              <a:gd name="T63" fmla="*/ 24 h 72"/>
              <a:gd name="T64" fmla="*/ 78 w 84"/>
              <a:gd name="T65" fmla="*/ 24 h 72"/>
              <a:gd name="T66" fmla="*/ 78 w 84"/>
              <a:gd name="T67" fmla="*/ 30 h 72"/>
              <a:gd name="T68" fmla="*/ 78 w 84"/>
              <a:gd name="T69" fmla="*/ 30 h 72"/>
              <a:gd name="T70" fmla="*/ 66 w 84"/>
              <a:gd name="T71" fmla="*/ 30 h 72"/>
              <a:gd name="T72" fmla="*/ 60 w 84"/>
              <a:gd name="T73" fmla="*/ 36 h 72"/>
              <a:gd name="T74" fmla="*/ 54 w 84"/>
              <a:gd name="T75" fmla="*/ 42 h 72"/>
              <a:gd name="T76" fmla="*/ 60 w 84"/>
              <a:gd name="T77" fmla="*/ 42 h 72"/>
              <a:gd name="T78" fmla="*/ 60 w 84"/>
              <a:gd name="T79" fmla="*/ 42 h 72"/>
              <a:gd name="T80" fmla="*/ 60 w 84"/>
              <a:gd name="T81" fmla="*/ 48 h 72"/>
              <a:gd name="T82" fmla="*/ 66 w 84"/>
              <a:gd name="T83" fmla="*/ 54 h 72"/>
              <a:gd name="T84" fmla="*/ 66 w 84"/>
              <a:gd name="T85" fmla="*/ 54 h 72"/>
              <a:gd name="T86" fmla="*/ 66 w 84"/>
              <a:gd name="T87" fmla="*/ 60 h 72"/>
              <a:gd name="T88" fmla="*/ 66 w 84"/>
              <a:gd name="T89" fmla="*/ 66 h 72"/>
              <a:gd name="T90" fmla="*/ 66 w 84"/>
              <a:gd name="T91" fmla="*/ 66 h 72"/>
              <a:gd name="T92" fmla="*/ 60 w 84"/>
              <a:gd name="T93" fmla="*/ 66 h 72"/>
              <a:gd name="T94" fmla="*/ 42 w 84"/>
              <a:gd name="T95" fmla="*/ 66 h 72"/>
              <a:gd name="T96" fmla="*/ 42 w 84"/>
              <a:gd name="T97" fmla="*/ 60 h 72"/>
              <a:gd name="T98" fmla="*/ 42 w 84"/>
              <a:gd name="T99" fmla="*/ 60 h 72"/>
              <a:gd name="T100" fmla="*/ 42 w 84"/>
              <a:gd name="T101" fmla="*/ 60 h 72"/>
              <a:gd name="T102" fmla="*/ 36 w 84"/>
              <a:gd name="T103" fmla="*/ 60 h 72"/>
              <a:gd name="T104" fmla="*/ 36 w 84"/>
              <a:gd name="T105" fmla="*/ 66 h 72"/>
              <a:gd name="T106" fmla="*/ 24 w 84"/>
              <a:gd name="T107" fmla="*/ 60 h 72"/>
              <a:gd name="T108" fmla="*/ 24 w 84"/>
              <a:gd name="T109" fmla="*/ 60 h 72"/>
              <a:gd name="T110" fmla="*/ 18 w 84"/>
              <a:gd name="T111" fmla="*/ 60 h 72"/>
              <a:gd name="T112" fmla="*/ 18 w 84"/>
              <a:gd name="T113" fmla="*/ 60 h 72"/>
              <a:gd name="T114" fmla="*/ 24 w 84"/>
              <a:gd name="T115" fmla="*/ 54 h 72"/>
              <a:gd name="T116" fmla="*/ 18 w 84"/>
              <a:gd name="T117" fmla="*/ 54 h 72"/>
              <a:gd name="T118" fmla="*/ 18 w 84"/>
              <a:gd name="T119" fmla="*/ 48 h 72"/>
              <a:gd name="T120" fmla="*/ 6 w 84"/>
              <a:gd name="T121" fmla="*/ 42 h 72"/>
              <a:gd name="T122" fmla="*/ 12 w 84"/>
              <a:gd name="T123" fmla="*/ 24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4" h="72">
                <a:moveTo>
                  <a:pt x="0" y="18"/>
                </a:move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2"/>
                </a:lnTo>
                <a:lnTo>
                  <a:pt x="0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12" y="12"/>
                </a:lnTo>
                <a:lnTo>
                  <a:pt x="6" y="12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0"/>
                </a:lnTo>
                <a:lnTo>
                  <a:pt x="18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30" y="0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42" y="12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2" y="12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60" y="0"/>
                </a:lnTo>
                <a:lnTo>
                  <a:pt x="60" y="0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6" y="12"/>
                </a:lnTo>
                <a:lnTo>
                  <a:pt x="66" y="6"/>
                </a:lnTo>
                <a:lnTo>
                  <a:pt x="66" y="6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84" y="24"/>
                </a:lnTo>
                <a:lnTo>
                  <a:pt x="84" y="24"/>
                </a:lnTo>
                <a:lnTo>
                  <a:pt x="84" y="30"/>
                </a:lnTo>
                <a:lnTo>
                  <a:pt x="78" y="24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2" y="30"/>
                </a:lnTo>
                <a:lnTo>
                  <a:pt x="66" y="30"/>
                </a:lnTo>
                <a:lnTo>
                  <a:pt x="66" y="36"/>
                </a:lnTo>
                <a:lnTo>
                  <a:pt x="60" y="36"/>
                </a:lnTo>
                <a:lnTo>
                  <a:pt x="60" y="36"/>
                </a:lnTo>
                <a:lnTo>
                  <a:pt x="54" y="36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6" y="48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60"/>
                </a:lnTo>
                <a:lnTo>
                  <a:pt x="66" y="60"/>
                </a:lnTo>
                <a:lnTo>
                  <a:pt x="60" y="60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0" y="72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36" y="54"/>
                </a:lnTo>
                <a:lnTo>
                  <a:pt x="36" y="54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6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24" y="54"/>
                </a:lnTo>
                <a:lnTo>
                  <a:pt x="24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48"/>
                </a:lnTo>
                <a:lnTo>
                  <a:pt x="18" y="48"/>
                </a:lnTo>
                <a:lnTo>
                  <a:pt x="12" y="48"/>
                </a:lnTo>
                <a:lnTo>
                  <a:pt x="6" y="48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12" y="24"/>
                </a:lnTo>
                <a:lnTo>
                  <a:pt x="0" y="1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61" name="Freeform 194"/>
          <p:cNvSpPr>
            <a:spLocks/>
          </p:cNvSpPr>
          <p:nvPr/>
        </p:nvSpPr>
        <p:spPr bwMode="auto">
          <a:xfrm>
            <a:off x="8631316" y="2329833"/>
            <a:ext cx="128481" cy="115634"/>
          </a:xfrm>
          <a:custGeom>
            <a:avLst/>
            <a:gdLst>
              <a:gd name="T0" fmla="*/ 6 w 120"/>
              <a:gd name="T1" fmla="*/ 72 h 108"/>
              <a:gd name="T2" fmla="*/ 12 w 120"/>
              <a:gd name="T3" fmla="*/ 54 h 108"/>
              <a:gd name="T4" fmla="*/ 18 w 120"/>
              <a:gd name="T5" fmla="*/ 54 h 108"/>
              <a:gd name="T6" fmla="*/ 24 w 120"/>
              <a:gd name="T7" fmla="*/ 54 h 108"/>
              <a:gd name="T8" fmla="*/ 48 w 120"/>
              <a:gd name="T9" fmla="*/ 36 h 108"/>
              <a:gd name="T10" fmla="*/ 54 w 120"/>
              <a:gd name="T11" fmla="*/ 6 h 108"/>
              <a:gd name="T12" fmla="*/ 60 w 120"/>
              <a:gd name="T13" fmla="*/ 6 h 108"/>
              <a:gd name="T14" fmla="*/ 60 w 120"/>
              <a:gd name="T15" fmla="*/ 6 h 108"/>
              <a:gd name="T16" fmla="*/ 60 w 120"/>
              <a:gd name="T17" fmla="*/ 12 h 108"/>
              <a:gd name="T18" fmla="*/ 66 w 120"/>
              <a:gd name="T19" fmla="*/ 12 h 108"/>
              <a:gd name="T20" fmla="*/ 72 w 120"/>
              <a:gd name="T21" fmla="*/ 12 h 108"/>
              <a:gd name="T22" fmla="*/ 78 w 120"/>
              <a:gd name="T23" fmla="*/ 12 h 108"/>
              <a:gd name="T24" fmla="*/ 78 w 120"/>
              <a:gd name="T25" fmla="*/ 6 h 108"/>
              <a:gd name="T26" fmla="*/ 84 w 120"/>
              <a:gd name="T27" fmla="*/ 6 h 108"/>
              <a:gd name="T28" fmla="*/ 90 w 120"/>
              <a:gd name="T29" fmla="*/ 6 h 108"/>
              <a:gd name="T30" fmla="*/ 96 w 120"/>
              <a:gd name="T31" fmla="*/ 0 h 108"/>
              <a:gd name="T32" fmla="*/ 96 w 120"/>
              <a:gd name="T33" fmla="*/ 0 h 108"/>
              <a:gd name="T34" fmla="*/ 96 w 120"/>
              <a:gd name="T35" fmla="*/ 0 h 108"/>
              <a:gd name="T36" fmla="*/ 102 w 120"/>
              <a:gd name="T37" fmla="*/ 0 h 108"/>
              <a:gd name="T38" fmla="*/ 102 w 120"/>
              <a:gd name="T39" fmla="*/ 6 h 108"/>
              <a:gd name="T40" fmla="*/ 108 w 120"/>
              <a:gd name="T41" fmla="*/ 6 h 108"/>
              <a:gd name="T42" fmla="*/ 114 w 120"/>
              <a:gd name="T43" fmla="*/ 12 h 108"/>
              <a:gd name="T44" fmla="*/ 114 w 120"/>
              <a:gd name="T45" fmla="*/ 12 h 108"/>
              <a:gd name="T46" fmla="*/ 114 w 120"/>
              <a:gd name="T47" fmla="*/ 24 h 108"/>
              <a:gd name="T48" fmla="*/ 120 w 120"/>
              <a:gd name="T49" fmla="*/ 24 h 108"/>
              <a:gd name="T50" fmla="*/ 120 w 120"/>
              <a:gd name="T51" fmla="*/ 30 h 108"/>
              <a:gd name="T52" fmla="*/ 120 w 120"/>
              <a:gd name="T53" fmla="*/ 30 h 108"/>
              <a:gd name="T54" fmla="*/ 120 w 120"/>
              <a:gd name="T55" fmla="*/ 42 h 108"/>
              <a:gd name="T56" fmla="*/ 120 w 120"/>
              <a:gd name="T57" fmla="*/ 42 h 108"/>
              <a:gd name="T58" fmla="*/ 114 w 120"/>
              <a:gd name="T59" fmla="*/ 42 h 108"/>
              <a:gd name="T60" fmla="*/ 114 w 120"/>
              <a:gd name="T61" fmla="*/ 42 h 108"/>
              <a:gd name="T62" fmla="*/ 114 w 120"/>
              <a:gd name="T63" fmla="*/ 42 h 108"/>
              <a:gd name="T64" fmla="*/ 114 w 120"/>
              <a:gd name="T65" fmla="*/ 42 h 108"/>
              <a:gd name="T66" fmla="*/ 114 w 120"/>
              <a:gd name="T67" fmla="*/ 36 h 108"/>
              <a:gd name="T68" fmla="*/ 114 w 120"/>
              <a:gd name="T69" fmla="*/ 36 h 108"/>
              <a:gd name="T70" fmla="*/ 108 w 120"/>
              <a:gd name="T71" fmla="*/ 36 h 108"/>
              <a:gd name="T72" fmla="*/ 102 w 120"/>
              <a:gd name="T73" fmla="*/ 36 h 108"/>
              <a:gd name="T74" fmla="*/ 96 w 120"/>
              <a:gd name="T75" fmla="*/ 36 h 108"/>
              <a:gd name="T76" fmla="*/ 96 w 120"/>
              <a:gd name="T77" fmla="*/ 42 h 108"/>
              <a:gd name="T78" fmla="*/ 102 w 120"/>
              <a:gd name="T79" fmla="*/ 48 h 108"/>
              <a:gd name="T80" fmla="*/ 102 w 120"/>
              <a:gd name="T81" fmla="*/ 48 h 108"/>
              <a:gd name="T82" fmla="*/ 90 w 120"/>
              <a:gd name="T83" fmla="*/ 66 h 108"/>
              <a:gd name="T84" fmla="*/ 90 w 120"/>
              <a:gd name="T85" fmla="*/ 72 h 108"/>
              <a:gd name="T86" fmla="*/ 66 w 120"/>
              <a:gd name="T87" fmla="*/ 72 h 108"/>
              <a:gd name="T88" fmla="*/ 42 w 120"/>
              <a:gd name="T89" fmla="*/ 72 h 108"/>
              <a:gd name="T90" fmla="*/ 36 w 120"/>
              <a:gd name="T91" fmla="*/ 90 h 108"/>
              <a:gd name="T92" fmla="*/ 30 w 120"/>
              <a:gd name="T93" fmla="*/ 102 h 108"/>
              <a:gd name="T94" fmla="*/ 18 w 120"/>
              <a:gd name="T95" fmla="*/ 102 h 108"/>
              <a:gd name="T96" fmla="*/ 12 w 120"/>
              <a:gd name="T97" fmla="*/ 108 h 108"/>
              <a:gd name="T98" fmla="*/ 6 w 120"/>
              <a:gd name="T99" fmla="*/ 108 h 108"/>
              <a:gd name="T100" fmla="*/ 0 w 120"/>
              <a:gd name="T101" fmla="*/ 90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20" h="108">
                <a:moveTo>
                  <a:pt x="0" y="90"/>
                </a:moveTo>
                <a:lnTo>
                  <a:pt x="0" y="84"/>
                </a:ln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6" y="54"/>
                </a:lnTo>
                <a:lnTo>
                  <a:pt x="6" y="54"/>
                </a:lnTo>
                <a:lnTo>
                  <a:pt x="12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30" y="54"/>
                </a:lnTo>
                <a:lnTo>
                  <a:pt x="48" y="42"/>
                </a:lnTo>
                <a:lnTo>
                  <a:pt x="48" y="36"/>
                </a:lnTo>
                <a:lnTo>
                  <a:pt x="48" y="30"/>
                </a:lnTo>
                <a:lnTo>
                  <a:pt x="54" y="18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90" y="6"/>
                </a:lnTo>
                <a:lnTo>
                  <a:pt x="90" y="6"/>
                </a:lnTo>
                <a:lnTo>
                  <a:pt x="90" y="0"/>
                </a:lnTo>
                <a:lnTo>
                  <a:pt x="90" y="0"/>
                </a:lnTo>
                <a:lnTo>
                  <a:pt x="90" y="6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6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14" y="6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8"/>
                </a:lnTo>
                <a:lnTo>
                  <a:pt x="114" y="18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20" y="24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14" y="30"/>
                </a:lnTo>
                <a:lnTo>
                  <a:pt x="114" y="30"/>
                </a:lnTo>
                <a:lnTo>
                  <a:pt x="120" y="30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14" y="42"/>
                </a:lnTo>
                <a:lnTo>
                  <a:pt x="120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36"/>
                </a:lnTo>
                <a:lnTo>
                  <a:pt x="114" y="42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96" y="36"/>
                </a:lnTo>
                <a:lnTo>
                  <a:pt x="96" y="36"/>
                </a:lnTo>
                <a:lnTo>
                  <a:pt x="90" y="42"/>
                </a:lnTo>
                <a:lnTo>
                  <a:pt x="90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90" y="54"/>
                </a:lnTo>
                <a:lnTo>
                  <a:pt x="84" y="60"/>
                </a:lnTo>
                <a:lnTo>
                  <a:pt x="96" y="66"/>
                </a:lnTo>
                <a:lnTo>
                  <a:pt x="90" y="66"/>
                </a:lnTo>
                <a:lnTo>
                  <a:pt x="96" y="72"/>
                </a:lnTo>
                <a:lnTo>
                  <a:pt x="96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84" y="72"/>
                </a:lnTo>
                <a:lnTo>
                  <a:pt x="72" y="72"/>
                </a:lnTo>
                <a:lnTo>
                  <a:pt x="66" y="72"/>
                </a:lnTo>
                <a:lnTo>
                  <a:pt x="66" y="78"/>
                </a:lnTo>
                <a:lnTo>
                  <a:pt x="60" y="78"/>
                </a:lnTo>
                <a:lnTo>
                  <a:pt x="48" y="78"/>
                </a:lnTo>
                <a:lnTo>
                  <a:pt x="42" y="72"/>
                </a:lnTo>
                <a:lnTo>
                  <a:pt x="36" y="78"/>
                </a:lnTo>
                <a:lnTo>
                  <a:pt x="36" y="84"/>
                </a:lnTo>
                <a:lnTo>
                  <a:pt x="42" y="90"/>
                </a:lnTo>
                <a:lnTo>
                  <a:pt x="36" y="90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24" y="102"/>
                </a:lnTo>
                <a:lnTo>
                  <a:pt x="18" y="102"/>
                </a:lnTo>
                <a:lnTo>
                  <a:pt x="18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2"/>
                </a:lnTo>
                <a:lnTo>
                  <a:pt x="0" y="102"/>
                </a:lnTo>
                <a:lnTo>
                  <a:pt x="0" y="90"/>
                </a:lnTo>
                <a:lnTo>
                  <a:pt x="0" y="9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62" name="Freeform 195"/>
          <p:cNvSpPr>
            <a:spLocks/>
          </p:cNvSpPr>
          <p:nvPr/>
        </p:nvSpPr>
        <p:spPr bwMode="auto">
          <a:xfrm>
            <a:off x="8637740" y="2400498"/>
            <a:ext cx="102785" cy="77089"/>
          </a:xfrm>
          <a:custGeom>
            <a:avLst/>
            <a:gdLst>
              <a:gd name="T0" fmla="*/ 0 w 96"/>
              <a:gd name="T1" fmla="*/ 42 h 72"/>
              <a:gd name="T2" fmla="*/ 6 w 96"/>
              <a:gd name="T3" fmla="*/ 42 h 72"/>
              <a:gd name="T4" fmla="*/ 6 w 96"/>
              <a:gd name="T5" fmla="*/ 36 h 72"/>
              <a:gd name="T6" fmla="*/ 12 w 96"/>
              <a:gd name="T7" fmla="*/ 36 h 72"/>
              <a:gd name="T8" fmla="*/ 18 w 96"/>
              <a:gd name="T9" fmla="*/ 36 h 72"/>
              <a:gd name="T10" fmla="*/ 24 w 96"/>
              <a:gd name="T11" fmla="*/ 36 h 72"/>
              <a:gd name="T12" fmla="*/ 30 w 96"/>
              <a:gd name="T13" fmla="*/ 30 h 72"/>
              <a:gd name="T14" fmla="*/ 30 w 96"/>
              <a:gd name="T15" fmla="*/ 30 h 72"/>
              <a:gd name="T16" fmla="*/ 36 w 96"/>
              <a:gd name="T17" fmla="*/ 24 h 72"/>
              <a:gd name="T18" fmla="*/ 30 w 96"/>
              <a:gd name="T19" fmla="*/ 12 h 72"/>
              <a:gd name="T20" fmla="*/ 42 w 96"/>
              <a:gd name="T21" fmla="*/ 12 h 72"/>
              <a:gd name="T22" fmla="*/ 60 w 96"/>
              <a:gd name="T23" fmla="*/ 12 h 72"/>
              <a:gd name="T24" fmla="*/ 66 w 96"/>
              <a:gd name="T25" fmla="*/ 6 h 72"/>
              <a:gd name="T26" fmla="*/ 84 w 96"/>
              <a:gd name="T27" fmla="*/ 6 h 72"/>
              <a:gd name="T28" fmla="*/ 84 w 96"/>
              <a:gd name="T29" fmla="*/ 6 h 72"/>
              <a:gd name="T30" fmla="*/ 90 w 96"/>
              <a:gd name="T31" fmla="*/ 6 h 72"/>
              <a:gd name="T32" fmla="*/ 90 w 96"/>
              <a:gd name="T33" fmla="*/ 0 h 72"/>
              <a:gd name="T34" fmla="*/ 96 w 96"/>
              <a:gd name="T35" fmla="*/ 6 h 72"/>
              <a:gd name="T36" fmla="*/ 90 w 96"/>
              <a:gd name="T37" fmla="*/ 12 h 72"/>
              <a:gd name="T38" fmla="*/ 90 w 96"/>
              <a:gd name="T39" fmla="*/ 12 h 72"/>
              <a:gd name="T40" fmla="*/ 84 w 96"/>
              <a:gd name="T41" fmla="*/ 18 h 72"/>
              <a:gd name="T42" fmla="*/ 84 w 96"/>
              <a:gd name="T43" fmla="*/ 18 h 72"/>
              <a:gd name="T44" fmla="*/ 84 w 96"/>
              <a:gd name="T45" fmla="*/ 24 h 72"/>
              <a:gd name="T46" fmla="*/ 78 w 96"/>
              <a:gd name="T47" fmla="*/ 30 h 72"/>
              <a:gd name="T48" fmla="*/ 72 w 96"/>
              <a:gd name="T49" fmla="*/ 30 h 72"/>
              <a:gd name="T50" fmla="*/ 72 w 96"/>
              <a:gd name="T51" fmla="*/ 30 h 72"/>
              <a:gd name="T52" fmla="*/ 72 w 96"/>
              <a:gd name="T53" fmla="*/ 36 h 72"/>
              <a:gd name="T54" fmla="*/ 66 w 96"/>
              <a:gd name="T55" fmla="*/ 36 h 72"/>
              <a:gd name="T56" fmla="*/ 66 w 96"/>
              <a:gd name="T57" fmla="*/ 42 h 72"/>
              <a:gd name="T58" fmla="*/ 66 w 96"/>
              <a:gd name="T59" fmla="*/ 48 h 72"/>
              <a:gd name="T60" fmla="*/ 60 w 96"/>
              <a:gd name="T61" fmla="*/ 48 h 72"/>
              <a:gd name="T62" fmla="*/ 60 w 96"/>
              <a:gd name="T63" fmla="*/ 48 h 72"/>
              <a:gd name="T64" fmla="*/ 60 w 96"/>
              <a:gd name="T65" fmla="*/ 48 h 72"/>
              <a:gd name="T66" fmla="*/ 54 w 96"/>
              <a:gd name="T67" fmla="*/ 54 h 72"/>
              <a:gd name="T68" fmla="*/ 48 w 96"/>
              <a:gd name="T69" fmla="*/ 54 h 72"/>
              <a:gd name="T70" fmla="*/ 48 w 96"/>
              <a:gd name="T71" fmla="*/ 54 h 72"/>
              <a:gd name="T72" fmla="*/ 42 w 96"/>
              <a:gd name="T73" fmla="*/ 60 h 72"/>
              <a:gd name="T74" fmla="*/ 36 w 96"/>
              <a:gd name="T75" fmla="*/ 66 h 72"/>
              <a:gd name="T76" fmla="*/ 36 w 96"/>
              <a:gd name="T77" fmla="*/ 72 h 72"/>
              <a:gd name="T78" fmla="*/ 36 w 96"/>
              <a:gd name="T79" fmla="*/ 72 h 72"/>
              <a:gd name="T80" fmla="*/ 30 w 96"/>
              <a:gd name="T81" fmla="*/ 72 h 72"/>
              <a:gd name="T82" fmla="*/ 30 w 96"/>
              <a:gd name="T83" fmla="*/ 66 h 72"/>
              <a:gd name="T84" fmla="*/ 30 w 96"/>
              <a:gd name="T85" fmla="*/ 66 h 72"/>
              <a:gd name="T86" fmla="*/ 24 w 96"/>
              <a:gd name="T87" fmla="*/ 66 h 72"/>
              <a:gd name="T88" fmla="*/ 24 w 96"/>
              <a:gd name="T89" fmla="*/ 66 h 72"/>
              <a:gd name="T90" fmla="*/ 18 w 96"/>
              <a:gd name="T91" fmla="*/ 66 h 72"/>
              <a:gd name="T92" fmla="*/ 24 w 96"/>
              <a:gd name="T93" fmla="*/ 60 h 72"/>
              <a:gd name="T94" fmla="*/ 24 w 96"/>
              <a:gd name="T95" fmla="*/ 54 h 72"/>
              <a:gd name="T96" fmla="*/ 24 w 96"/>
              <a:gd name="T97" fmla="*/ 48 h 72"/>
              <a:gd name="T98" fmla="*/ 18 w 96"/>
              <a:gd name="T99" fmla="*/ 48 h 72"/>
              <a:gd name="T100" fmla="*/ 12 w 96"/>
              <a:gd name="T101" fmla="*/ 48 h 72"/>
              <a:gd name="T102" fmla="*/ 12 w 96"/>
              <a:gd name="T103" fmla="*/ 42 h 72"/>
              <a:gd name="T104" fmla="*/ 12 w 96"/>
              <a:gd name="T105" fmla="*/ 42 h 72"/>
              <a:gd name="T106" fmla="*/ 12 w 96"/>
              <a:gd name="T107" fmla="*/ 42 h 72"/>
              <a:gd name="T108" fmla="*/ 12 w 96"/>
              <a:gd name="T109" fmla="*/ 42 h 72"/>
              <a:gd name="T110" fmla="*/ 6 w 96"/>
              <a:gd name="T111" fmla="*/ 42 h 72"/>
              <a:gd name="T112" fmla="*/ 6 w 96"/>
              <a:gd name="T113" fmla="*/ 42 h 72"/>
              <a:gd name="T114" fmla="*/ 6 w 96"/>
              <a:gd name="T115" fmla="*/ 42 h 72"/>
              <a:gd name="T116" fmla="*/ 0 w 96"/>
              <a:gd name="T11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96" h="72">
                <a:moveTo>
                  <a:pt x="0" y="42"/>
                </a:moveTo>
                <a:lnTo>
                  <a:pt x="0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12" y="36"/>
                </a:lnTo>
                <a:lnTo>
                  <a:pt x="12" y="36"/>
                </a:lnTo>
                <a:lnTo>
                  <a:pt x="18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24"/>
                </a:lnTo>
                <a:lnTo>
                  <a:pt x="36" y="24"/>
                </a:lnTo>
                <a:lnTo>
                  <a:pt x="30" y="18"/>
                </a:lnTo>
                <a:lnTo>
                  <a:pt x="30" y="12"/>
                </a:lnTo>
                <a:lnTo>
                  <a:pt x="36" y="6"/>
                </a:lnTo>
                <a:lnTo>
                  <a:pt x="42" y="12"/>
                </a:lnTo>
                <a:lnTo>
                  <a:pt x="54" y="12"/>
                </a:lnTo>
                <a:lnTo>
                  <a:pt x="60" y="12"/>
                </a:lnTo>
                <a:lnTo>
                  <a:pt x="60" y="6"/>
                </a:lnTo>
                <a:lnTo>
                  <a:pt x="66" y="6"/>
                </a:lnTo>
                <a:lnTo>
                  <a:pt x="78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90" y="6"/>
                </a:lnTo>
                <a:lnTo>
                  <a:pt x="90" y="6"/>
                </a:lnTo>
                <a:lnTo>
                  <a:pt x="84" y="0"/>
                </a:lnTo>
                <a:lnTo>
                  <a:pt x="90" y="0"/>
                </a:lnTo>
                <a:lnTo>
                  <a:pt x="90" y="0"/>
                </a:lnTo>
                <a:lnTo>
                  <a:pt x="96" y="6"/>
                </a:lnTo>
                <a:lnTo>
                  <a:pt x="90" y="6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24"/>
                </a:lnTo>
                <a:lnTo>
                  <a:pt x="84" y="24"/>
                </a:lnTo>
                <a:lnTo>
                  <a:pt x="78" y="24"/>
                </a:lnTo>
                <a:lnTo>
                  <a:pt x="78" y="30"/>
                </a:lnTo>
                <a:lnTo>
                  <a:pt x="78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6"/>
                </a:lnTo>
                <a:lnTo>
                  <a:pt x="72" y="36"/>
                </a:lnTo>
                <a:lnTo>
                  <a:pt x="66" y="36"/>
                </a:lnTo>
                <a:lnTo>
                  <a:pt x="66" y="36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54" y="48"/>
                </a:lnTo>
                <a:lnTo>
                  <a:pt x="54" y="54"/>
                </a:lnTo>
                <a:lnTo>
                  <a:pt x="54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2" y="60"/>
                </a:lnTo>
                <a:lnTo>
                  <a:pt x="42" y="66"/>
                </a:lnTo>
                <a:lnTo>
                  <a:pt x="36" y="66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66"/>
                </a:lnTo>
                <a:lnTo>
                  <a:pt x="30" y="72"/>
                </a:lnTo>
                <a:lnTo>
                  <a:pt x="30" y="72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18" y="66"/>
                </a:lnTo>
                <a:lnTo>
                  <a:pt x="18" y="66"/>
                </a:lnTo>
                <a:lnTo>
                  <a:pt x="24" y="60"/>
                </a:lnTo>
                <a:lnTo>
                  <a:pt x="24" y="54"/>
                </a:lnTo>
                <a:lnTo>
                  <a:pt x="24" y="54"/>
                </a:lnTo>
                <a:lnTo>
                  <a:pt x="24" y="48"/>
                </a:lnTo>
                <a:lnTo>
                  <a:pt x="24" y="48"/>
                </a:lnTo>
                <a:lnTo>
                  <a:pt x="18" y="48"/>
                </a:lnTo>
                <a:lnTo>
                  <a:pt x="18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0" y="42"/>
                </a:lnTo>
                <a:lnTo>
                  <a:pt x="0" y="4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63" name="Freeform 196"/>
          <p:cNvSpPr>
            <a:spLocks/>
          </p:cNvSpPr>
          <p:nvPr/>
        </p:nvSpPr>
        <p:spPr bwMode="auto">
          <a:xfrm>
            <a:off x="8470715" y="2413346"/>
            <a:ext cx="77089" cy="70665"/>
          </a:xfrm>
          <a:custGeom>
            <a:avLst/>
            <a:gdLst>
              <a:gd name="T0" fmla="*/ 6 w 72"/>
              <a:gd name="T1" fmla="*/ 12 h 66"/>
              <a:gd name="T2" fmla="*/ 18 w 72"/>
              <a:gd name="T3" fmla="*/ 6 h 66"/>
              <a:gd name="T4" fmla="*/ 18 w 72"/>
              <a:gd name="T5" fmla="*/ 6 h 66"/>
              <a:gd name="T6" fmla="*/ 24 w 72"/>
              <a:gd name="T7" fmla="*/ 6 h 66"/>
              <a:gd name="T8" fmla="*/ 24 w 72"/>
              <a:gd name="T9" fmla="*/ 6 h 66"/>
              <a:gd name="T10" fmla="*/ 30 w 72"/>
              <a:gd name="T11" fmla="*/ 6 h 66"/>
              <a:gd name="T12" fmla="*/ 36 w 72"/>
              <a:gd name="T13" fmla="*/ 6 h 66"/>
              <a:gd name="T14" fmla="*/ 48 w 72"/>
              <a:gd name="T15" fmla="*/ 0 h 66"/>
              <a:gd name="T16" fmla="*/ 48 w 72"/>
              <a:gd name="T17" fmla="*/ 0 h 66"/>
              <a:gd name="T18" fmla="*/ 48 w 72"/>
              <a:gd name="T19" fmla="*/ 6 h 66"/>
              <a:gd name="T20" fmla="*/ 48 w 72"/>
              <a:gd name="T21" fmla="*/ 6 h 66"/>
              <a:gd name="T22" fmla="*/ 54 w 72"/>
              <a:gd name="T23" fmla="*/ 12 h 66"/>
              <a:gd name="T24" fmla="*/ 54 w 72"/>
              <a:gd name="T25" fmla="*/ 12 h 66"/>
              <a:gd name="T26" fmla="*/ 66 w 72"/>
              <a:gd name="T27" fmla="*/ 18 h 66"/>
              <a:gd name="T28" fmla="*/ 72 w 72"/>
              <a:gd name="T29" fmla="*/ 18 h 66"/>
              <a:gd name="T30" fmla="*/ 72 w 72"/>
              <a:gd name="T31" fmla="*/ 18 h 66"/>
              <a:gd name="T32" fmla="*/ 72 w 72"/>
              <a:gd name="T33" fmla="*/ 24 h 66"/>
              <a:gd name="T34" fmla="*/ 66 w 72"/>
              <a:gd name="T35" fmla="*/ 24 h 66"/>
              <a:gd name="T36" fmla="*/ 66 w 72"/>
              <a:gd name="T37" fmla="*/ 24 h 66"/>
              <a:gd name="T38" fmla="*/ 60 w 72"/>
              <a:gd name="T39" fmla="*/ 30 h 66"/>
              <a:gd name="T40" fmla="*/ 60 w 72"/>
              <a:gd name="T41" fmla="*/ 30 h 66"/>
              <a:gd name="T42" fmla="*/ 60 w 72"/>
              <a:gd name="T43" fmla="*/ 30 h 66"/>
              <a:gd name="T44" fmla="*/ 60 w 72"/>
              <a:gd name="T45" fmla="*/ 30 h 66"/>
              <a:gd name="T46" fmla="*/ 54 w 72"/>
              <a:gd name="T47" fmla="*/ 30 h 66"/>
              <a:gd name="T48" fmla="*/ 54 w 72"/>
              <a:gd name="T49" fmla="*/ 36 h 66"/>
              <a:gd name="T50" fmla="*/ 54 w 72"/>
              <a:gd name="T51" fmla="*/ 36 h 66"/>
              <a:gd name="T52" fmla="*/ 54 w 72"/>
              <a:gd name="T53" fmla="*/ 36 h 66"/>
              <a:gd name="T54" fmla="*/ 54 w 72"/>
              <a:gd name="T55" fmla="*/ 42 h 66"/>
              <a:gd name="T56" fmla="*/ 54 w 72"/>
              <a:gd name="T57" fmla="*/ 42 h 66"/>
              <a:gd name="T58" fmla="*/ 54 w 72"/>
              <a:gd name="T59" fmla="*/ 42 h 66"/>
              <a:gd name="T60" fmla="*/ 48 w 72"/>
              <a:gd name="T61" fmla="*/ 42 h 66"/>
              <a:gd name="T62" fmla="*/ 48 w 72"/>
              <a:gd name="T63" fmla="*/ 48 h 66"/>
              <a:gd name="T64" fmla="*/ 48 w 72"/>
              <a:gd name="T65" fmla="*/ 48 h 66"/>
              <a:gd name="T66" fmla="*/ 48 w 72"/>
              <a:gd name="T67" fmla="*/ 48 h 66"/>
              <a:gd name="T68" fmla="*/ 48 w 72"/>
              <a:gd name="T69" fmla="*/ 54 h 66"/>
              <a:gd name="T70" fmla="*/ 36 w 72"/>
              <a:gd name="T71" fmla="*/ 60 h 66"/>
              <a:gd name="T72" fmla="*/ 36 w 72"/>
              <a:gd name="T73" fmla="*/ 60 h 66"/>
              <a:gd name="T74" fmla="*/ 36 w 72"/>
              <a:gd name="T75" fmla="*/ 66 h 66"/>
              <a:gd name="T76" fmla="*/ 36 w 72"/>
              <a:gd name="T77" fmla="*/ 66 h 66"/>
              <a:gd name="T78" fmla="*/ 36 w 72"/>
              <a:gd name="T79" fmla="*/ 66 h 66"/>
              <a:gd name="T80" fmla="*/ 30 w 72"/>
              <a:gd name="T81" fmla="*/ 66 h 66"/>
              <a:gd name="T82" fmla="*/ 18 w 72"/>
              <a:gd name="T83" fmla="*/ 66 h 66"/>
              <a:gd name="T84" fmla="*/ 18 w 72"/>
              <a:gd name="T85" fmla="*/ 66 h 66"/>
              <a:gd name="T86" fmla="*/ 18 w 72"/>
              <a:gd name="T87" fmla="*/ 60 h 66"/>
              <a:gd name="T88" fmla="*/ 12 w 72"/>
              <a:gd name="T89" fmla="*/ 54 h 66"/>
              <a:gd name="T90" fmla="*/ 12 w 72"/>
              <a:gd name="T91" fmla="*/ 54 h 66"/>
              <a:gd name="T92" fmla="*/ 12 w 72"/>
              <a:gd name="T93" fmla="*/ 48 h 66"/>
              <a:gd name="T94" fmla="*/ 12 w 72"/>
              <a:gd name="T95" fmla="*/ 48 h 66"/>
              <a:gd name="T96" fmla="*/ 12 w 72"/>
              <a:gd name="T97" fmla="*/ 48 h 66"/>
              <a:gd name="T98" fmla="*/ 12 w 72"/>
              <a:gd name="T99" fmla="*/ 48 h 66"/>
              <a:gd name="T100" fmla="*/ 18 w 72"/>
              <a:gd name="T101" fmla="*/ 42 h 66"/>
              <a:gd name="T102" fmla="*/ 12 w 72"/>
              <a:gd name="T103" fmla="*/ 36 h 66"/>
              <a:gd name="T104" fmla="*/ 6 w 72"/>
              <a:gd name="T105" fmla="*/ 30 h 66"/>
              <a:gd name="T106" fmla="*/ 12 w 72"/>
              <a:gd name="T107" fmla="*/ 18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72" h="66">
                <a:moveTo>
                  <a:pt x="0" y="18"/>
                </a:moveTo>
                <a:lnTo>
                  <a:pt x="6" y="12"/>
                </a:lnTo>
                <a:lnTo>
                  <a:pt x="12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60" y="18"/>
                </a:lnTo>
                <a:lnTo>
                  <a:pt x="66" y="18"/>
                </a:lnTo>
                <a:lnTo>
                  <a:pt x="66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0" y="30"/>
                </a:lnTo>
                <a:lnTo>
                  <a:pt x="66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54" y="30"/>
                </a:lnTo>
                <a:lnTo>
                  <a:pt x="54" y="30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48" y="42"/>
                </a:lnTo>
                <a:lnTo>
                  <a:pt x="48" y="42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54"/>
                </a:lnTo>
                <a:lnTo>
                  <a:pt x="48" y="54"/>
                </a:lnTo>
                <a:lnTo>
                  <a:pt x="42" y="54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0" y="66"/>
                </a:lnTo>
                <a:lnTo>
                  <a:pt x="36" y="66"/>
                </a:lnTo>
                <a:lnTo>
                  <a:pt x="30" y="66"/>
                </a:lnTo>
                <a:lnTo>
                  <a:pt x="30" y="66"/>
                </a:lnTo>
                <a:lnTo>
                  <a:pt x="24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8" y="48"/>
                </a:lnTo>
                <a:lnTo>
                  <a:pt x="18" y="42"/>
                </a:lnTo>
                <a:lnTo>
                  <a:pt x="18" y="42"/>
                </a:lnTo>
                <a:lnTo>
                  <a:pt x="12" y="36"/>
                </a:lnTo>
                <a:lnTo>
                  <a:pt x="12" y="30"/>
                </a:lnTo>
                <a:lnTo>
                  <a:pt x="6" y="30"/>
                </a:lnTo>
                <a:lnTo>
                  <a:pt x="6" y="30"/>
                </a:lnTo>
                <a:lnTo>
                  <a:pt x="12" y="18"/>
                </a:lnTo>
                <a:lnTo>
                  <a:pt x="0" y="1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64" name="Freeform 197"/>
          <p:cNvSpPr>
            <a:spLocks/>
          </p:cNvSpPr>
          <p:nvPr/>
        </p:nvSpPr>
        <p:spPr bwMode="auto">
          <a:xfrm>
            <a:off x="8522107" y="2387650"/>
            <a:ext cx="115633" cy="57817"/>
          </a:xfrm>
          <a:custGeom>
            <a:avLst/>
            <a:gdLst>
              <a:gd name="T0" fmla="*/ 6 w 108"/>
              <a:gd name="T1" fmla="*/ 18 h 54"/>
              <a:gd name="T2" fmla="*/ 12 w 108"/>
              <a:gd name="T3" fmla="*/ 24 h 54"/>
              <a:gd name="T4" fmla="*/ 12 w 108"/>
              <a:gd name="T5" fmla="*/ 18 h 54"/>
              <a:gd name="T6" fmla="*/ 12 w 108"/>
              <a:gd name="T7" fmla="*/ 12 h 54"/>
              <a:gd name="T8" fmla="*/ 18 w 108"/>
              <a:gd name="T9" fmla="*/ 6 h 54"/>
              <a:gd name="T10" fmla="*/ 24 w 108"/>
              <a:gd name="T11" fmla="*/ 6 h 54"/>
              <a:gd name="T12" fmla="*/ 36 w 108"/>
              <a:gd name="T13" fmla="*/ 6 h 54"/>
              <a:gd name="T14" fmla="*/ 42 w 108"/>
              <a:gd name="T15" fmla="*/ 12 h 54"/>
              <a:gd name="T16" fmla="*/ 48 w 108"/>
              <a:gd name="T17" fmla="*/ 12 h 54"/>
              <a:gd name="T18" fmla="*/ 54 w 108"/>
              <a:gd name="T19" fmla="*/ 12 h 54"/>
              <a:gd name="T20" fmla="*/ 54 w 108"/>
              <a:gd name="T21" fmla="*/ 12 h 54"/>
              <a:gd name="T22" fmla="*/ 54 w 108"/>
              <a:gd name="T23" fmla="*/ 18 h 54"/>
              <a:gd name="T24" fmla="*/ 60 w 108"/>
              <a:gd name="T25" fmla="*/ 12 h 54"/>
              <a:gd name="T26" fmla="*/ 60 w 108"/>
              <a:gd name="T27" fmla="*/ 12 h 54"/>
              <a:gd name="T28" fmla="*/ 66 w 108"/>
              <a:gd name="T29" fmla="*/ 6 h 54"/>
              <a:gd name="T30" fmla="*/ 72 w 108"/>
              <a:gd name="T31" fmla="*/ 0 h 54"/>
              <a:gd name="T32" fmla="*/ 72 w 108"/>
              <a:gd name="T33" fmla="*/ 0 h 54"/>
              <a:gd name="T34" fmla="*/ 78 w 108"/>
              <a:gd name="T35" fmla="*/ 0 h 54"/>
              <a:gd name="T36" fmla="*/ 78 w 108"/>
              <a:gd name="T37" fmla="*/ 0 h 54"/>
              <a:gd name="T38" fmla="*/ 84 w 108"/>
              <a:gd name="T39" fmla="*/ 24 h 54"/>
              <a:gd name="T40" fmla="*/ 84 w 108"/>
              <a:gd name="T41" fmla="*/ 18 h 54"/>
              <a:gd name="T42" fmla="*/ 96 w 108"/>
              <a:gd name="T43" fmla="*/ 36 h 54"/>
              <a:gd name="T44" fmla="*/ 96 w 108"/>
              <a:gd name="T45" fmla="*/ 42 h 54"/>
              <a:gd name="T46" fmla="*/ 102 w 108"/>
              <a:gd name="T47" fmla="*/ 48 h 54"/>
              <a:gd name="T48" fmla="*/ 96 w 108"/>
              <a:gd name="T49" fmla="*/ 48 h 54"/>
              <a:gd name="T50" fmla="*/ 90 w 108"/>
              <a:gd name="T51" fmla="*/ 48 h 54"/>
              <a:gd name="T52" fmla="*/ 84 w 108"/>
              <a:gd name="T53" fmla="*/ 54 h 54"/>
              <a:gd name="T54" fmla="*/ 78 w 108"/>
              <a:gd name="T55" fmla="*/ 54 h 54"/>
              <a:gd name="T56" fmla="*/ 78 w 108"/>
              <a:gd name="T57" fmla="*/ 54 h 54"/>
              <a:gd name="T58" fmla="*/ 72 w 108"/>
              <a:gd name="T59" fmla="*/ 48 h 54"/>
              <a:gd name="T60" fmla="*/ 66 w 108"/>
              <a:gd name="T61" fmla="*/ 42 h 54"/>
              <a:gd name="T62" fmla="*/ 60 w 108"/>
              <a:gd name="T63" fmla="*/ 42 h 54"/>
              <a:gd name="T64" fmla="*/ 60 w 108"/>
              <a:gd name="T65" fmla="*/ 48 h 54"/>
              <a:gd name="T66" fmla="*/ 54 w 108"/>
              <a:gd name="T67" fmla="*/ 48 h 54"/>
              <a:gd name="T68" fmla="*/ 54 w 108"/>
              <a:gd name="T69" fmla="*/ 48 h 54"/>
              <a:gd name="T70" fmla="*/ 54 w 108"/>
              <a:gd name="T71" fmla="*/ 48 h 54"/>
              <a:gd name="T72" fmla="*/ 54 w 108"/>
              <a:gd name="T73" fmla="*/ 54 h 54"/>
              <a:gd name="T74" fmla="*/ 54 w 108"/>
              <a:gd name="T75" fmla="*/ 54 h 54"/>
              <a:gd name="T76" fmla="*/ 54 w 108"/>
              <a:gd name="T77" fmla="*/ 54 h 54"/>
              <a:gd name="T78" fmla="*/ 42 w 108"/>
              <a:gd name="T79" fmla="*/ 54 h 54"/>
              <a:gd name="T80" fmla="*/ 42 w 108"/>
              <a:gd name="T81" fmla="*/ 48 h 54"/>
              <a:gd name="T82" fmla="*/ 36 w 108"/>
              <a:gd name="T83" fmla="*/ 48 h 54"/>
              <a:gd name="T84" fmla="*/ 36 w 108"/>
              <a:gd name="T85" fmla="*/ 48 h 54"/>
              <a:gd name="T86" fmla="*/ 30 w 108"/>
              <a:gd name="T87" fmla="*/ 42 h 54"/>
              <a:gd name="T88" fmla="*/ 24 w 108"/>
              <a:gd name="T89" fmla="*/ 42 h 54"/>
              <a:gd name="T90" fmla="*/ 6 w 108"/>
              <a:gd name="T91" fmla="*/ 36 h 54"/>
              <a:gd name="T92" fmla="*/ 0 w 108"/>
              <a:gd name="T93" fmla="*/ 30 h 54"/>
              <a:gd name="T94" fmla="*/ 0 w 108"/>
              <a:gd name="T95" fmla="*/ 24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08" h="54">
                <a:moveTo>
                  <a:pt x="0" y="24"/>
                </a:moveTo>
                <a:lnTo>
                  <a:pt x="0" y="24"/>
                </a:lnTo>
                <a:lnTo>
                  <a:pt x="0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24"/>
                </a:lnTo>
                <a:lnTo>
                  <a:pt x="12" y="24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24" y="6"/>
                </a:lnTo>
                <a:lnTo>
                  <a:pt x="24" y="6"/>
                </a:lnTo>
                <a:lnTo>
                  <a:pt x="24" y="12"/>
                </a:lnTo>
                <a:lnTo>
                  <a:pt x="30" y="12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72" y="0"/>
                </a:lnTo>
                <a:lnTo>
                  <a:pt x="72" y="6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90" y="6"/>
                </a:lnTo>
                <a:lnTo>
                  <a:pt x="84" y="18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18"/>
                </a:lnTo>
                <a:lnTo>
                  <a:pt x="84" y="18"/>
                </a:lnTo>
                <a:lnTo>
                  <a:pt x="84" y="24"/>
                </a:lnTo>
                <a:lnTo>
                  <a:pt x="84" y="30"/>
                </a:lnTo>
                <a:lnTo>
                  <a:pt x="84" y="30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42"/>
                </a:lnTo>
                <a:lnTo>
                  <a:pt x="96" y="42"/>
                </a:lnTo>
                <a:lnTo>
                  <a:pt x="102" y="36"/>
                </a:lnTo>
                <a:lnTo>
                  <a:pt x="102" y="36"/>
                </a:lnTo>
                <a:lnTo>
                  <a:pt x="102" y="48"/>
                </a:lnTo>
                <a:lnTo>
                  <a:pt x="108" y="48"/>
                </a:lnTo>
                <a:lnTo>
                  <a:pt x="96" y="48"/>
                </a:lnTo>
                <a:lnTo>
                  <a:pt x="102" y="54"/>
                </a:lnTo>
                <a:lnTo>
                  <a:pt x="96" y="48"/>
                </a:lnTo>
                <a:lnTo>
                  <a:pt x="96" y="48"/>
                </a:lnTo>
                <a:lnTo>
                  <a:pt x="90" y="48"/>
                </a:lnTo>
                <a:lnTo>
                  <a:pt x="84" y="48"/>
                </a:lnTo>
                <a:lnTo>
                  <a:pt x="90" y="48"/>
                </a:lnTo>
                <a:lnTo>
                  <a:pt x="90" y="48"/>
                </a:lnTo>
                <a:lnTo>
                  <a:pt x="84" y="48"/>
                </a:lnTo>
                <a:lnTo>
                  <a:pt x="84" y="48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2" y="48"/>
                </a:lnTo>
                <a:lnTo>
                  <a:pt x="72" y="48"/>
                </a:lnTo>
                <a:lnTo>
                  <a:pt x="72" y="54"/>
                </a:lnTo>
                <a:lnTo>
                  <a:pt x="72" y="48"/>
                </a:lnTo>
                <a:lnTo>
                  <a:pt x="72" y="48"/>
                </a:lnTo>
                <a:lnTo>
                  <a:pt x="66" y="48"/>
                </a:lnTo>
                <a:lnTo>
                  <a:pt x="66" y="48"/>
                </a:lnTo>
                <a:lnTo>
                  <a:pt x="66" y="42"/>
                </a:lnTo>
                <a:lnTo>
                  <a:pt x="66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48" y="54"/>
                </a:lnTo>
                <a:lnTo>
                  <a:pt x="48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48" y="54"/>
                </a:lnTo>
                <a:lnTo>
                  <a:pt x="48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18" y="42"/>
                </a:lnTo>
                <a:lnTo>
                  <a:pt x="18" y="42"/>
                </a:lnTo>
                <a:lnTo>
                  <a:pt x="12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24"/>
                </a:lnTo>
                <a:lnTo>
                  <a:pt x="0" y="2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65" name="Freeform 198"/>
          <p:cNvSpPr>
            <a:spLocks/>
          </p:cNvSpPr>
          <p:nvPr/>
        </p:nvSpPr>
        <p:spPr bwMode="auto">
          <a:xfrm>
            <a:off x="8432170" y="2361954"/>
            <a:ext cx="96361" cy="109210"/>
          </a:xfrm>
          <a:custGeom>
            <a:avLst/>
            <a:gdLst>
              <a:gd name="T0" fmla="*/ 0 w 90"/>
              <a:gd name="T1" fmla="*/ 60 h 102"/>
              <a:gd name="T2" fmla="*/ 0 w 90"/>
              <a:gd name="T3" fmla="*/ 60 h 102"/>
              <a:gd name="T4" fmla="*/ 0 w 90"/>
              <a:gd name="T5" fmla="*/ 54 h 102"/>
              <a:gd name="T6" fmla="*/ 0 w 90"/>
              <a:gd name="T7" fmla="*/ 48 h 102"/>
              <a:gd name="T8" fmla="*/ 6 w 90"/>
              <a:gd name="T9" fmla="*/ 42 h 102"/>
              <a:gd name="T10" fmla="*/ 12 w 90"/>
              <a:gd name="T11" fmla="*/ 30 h 102"/>
              <a:gd name="T12" fmla="*/ 12 w 90"/>
              <a:gd name="T13" fmla="*/ 30 h 102"/>
              <a:gd name="T14" fmla="*/ 18 w 90"/>
              <a:gd name="T15" fmla="*/ 30 h 102"/>
              <a:gd name="T16" fmla="*/ 24 w 90"/>
              <a:gd name="T17" fmla="*/ 24 h 102"/>
              <a:gd name="T18" fmla="*/ 24 w 90"/>
              <a:gd name="T19" fmla="*/ 24 h 102"/>
              <a:gd name="T20" fmla="*/ 24 w 90"/>
              <a:gd name="T21" fmla="*/ 24 h 102"/>
              <a:gd name="T22" fmla="*/ 30 w 90"/>
              <a:gd name="T23" fmla="*/ 18 h 102"/>
              <a:gd name="T24" fmla="*/ 30 w 90"/>
              <a:gd name="T25" fmla="*/ 12 h 102"/>
              <a:gd name="T26" fmla="*/ 30 w 90"/>
              <a:gd name="T27" fmla="*/ 6 h 102"/>
              <a:gd name="T28" fmla="*/ 42 w 90"/>
              <a:gd name="T29" fmla="*/ 6 h 102"/>
              <a:gd name="T30" fmla="*/ 48 w 90"/>
              <a:gd name="T31" fmla="*/ 12 h 102"/>
              <a:gd name="T32" fmla="*/ 54 w 90"/>
              <a:gd name="T33" fmla="*/ 18 h 102"/>
              <a:gd name="T34" fmla="*/ 54 w 90"/>
              <a:gd name="T35" fmla="*/ 18 h 102"/>
              <a:gd name="T36" fmla="*/ 54 w 90"/>
              <a:gd name="T37" fmla="*/ 24 h 102"/>
              <a:gd name="T38" fmla="*/ 54 w 90"/>
              <a:gd name="T39" fmla="*/ 24 h 102"/>
              <a:gd name="T40" fmla="*/ 60 w 90"/>
              <a:gd name="T41" fmla="*/ 24 h 102"/>
              <a:gd name="T42" fmla="*/ 66 w 90"/>
              <a:gd name="T43" fmla="*/ 30 h 102"/>
              <a:gd name="T44" fmla="*/ 66 w 90"/>
              <a:gd name="T45" fmla="*/ 30 h 102"/>
              <a:gd name="T46" fmla="*/ 72 w 90"/>
              <a:gd name="T47" fmla="*/ 24 h 102"/>
              <a:gd name="T48" fmla="*/ 78 w 90"/>
              <a:gd name="T49" fmla="*/ 30 h 102"/>
              <a:gd name="T50" fmla="*/ 78 w 90"/>
              <a:gd name="T51" fmla="*/ 36 h 102"/>
              <a:gd name="T52" fmla="*/ 84 w 90"/>
              <a:gd name="T53" fmla="*/ 36 h 102"/>
              <a:gd name="T54" fmla="*/ 90 w 90"/>
              <a:gd name="T55" fmla="*/ 42 h 102"/>
              <a:gd name="T56" fmla="*/ 84 w 90"/>
              <a:gd name="T57" fmla="*/ 48 h 102"/>
              <a:gd name="T58" fmla="*/ 72 w 90"/>
              <a:gd name="T59" fmla="*/ 54 h 102"/>
              <a:gd name="T60" fmla="*/ 60 w 90"/>
              <a:gd name="T61" fmla="*/ 54 h 102"/>
              <a:gd name="T62" fmla="*/ 60 w 90"/>
              <a:gd name="T63" fmla="*/ 54 h 102"/>
              <a:gd name="T64" fmla="*/ 54 w 90"/>
              <a:gd name="T65" fmla="*/ 54 h 102"/>
              <a:gd name="T66" fmla="*/ 42 w 90"/>
              <a:gd name="T67" fmla="*/ 60 h 102"/>
              <a:gd name="T68" fmla="*/ 42 w 90"/>
              <a:gd name="T69" fmla="*/ 78 h 102"/>
              <a:gd name="T70" fmla="*/ 48 w 90"/>
              <a:gd name="T71" fmla="*/ 84 h 102"/>
              <a:gd name="T72" fmla="*/ 54 w 90"/>
              <a:gd name="T73" fmla="*/ 96 h 102"/>
              <a:gd name="T74" fmla="*/ 48 w 90"/>
              <a:gd name="T75" fmla="*/ 96 h 102"/>
              <a:gd name="T76" fmla="*/ 48 w 90"/>
              <a:gd name="T77" fmla="*/ 96 h 102"/>
              <a:gd name="T78" fmla="*/ 48 w 90"/>
              <a:gd name="T79" fmla="*/ 102 h 102"/>
              <a:gd name="T80" fmla="*/ 42 w 90"/>
              <a:gd name="T81" fmla="*/ 102 h 102"/>
              <a:gd name="T82" fmla="*/ 36 w 90"/>
              <a:gd name="T83" fmla="*/ 96 h 102"/>
              <a:gd name="T84" fmla="*/ 30 w 90"/>
              <a:gd name="T85" fmla="*/ 96 h 102"/>
              <a:gd name="T86" fmla="*/ 12 w 90"/>
              <a:gd name="T87" fmla="*/ 90 h 102"/>
              <a:gd name="T88" fmla="*/ 0 w 90"/>
              <a:gd name="T89" fmla="*/ 84 h 102"/>
              <a:gd name="T90" fmla="*/ 0 w 90"/>
              <a:gd name="T91" fmla="*/ 78 h 102"/>
              <a:gd name="T92" fmla="*/ 0 w 90"/>
              <a:gd name="T93" fmla="*/ 66 h 102"/>
              <a:gd name="T94" fmla="*/ 0 w 90"/>
              <a:gd name="T95" fmla="*/ 66 h 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90" h="102">
                <a:moveTo>
                  <a:pt x="0" y="66"/>
                </a:moveTo>
                <a:lnTo>
                  <a:pt x="0" y="66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48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12" y="36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2"/>
                </a:lnTo>
                <a:lnTo>
                  <a:pt x="30" y="12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0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60" y="24"/>
                </a:lnTo>
                <a:lnTo>
                  <a:pt x="60" y="24"/>
                </a:lnTo>
                <a:lnTo>
                  <a:pt x="66" y="24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72" y="30"/>
                </a:lnTo>
                <a:lnTo>
                  <a:pt x="72" y="24"/>
                </a:lnTo>
                <a:lnTo>
                  <a:pt x="72" y="24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84" y="36"/>
                </a:lnTo>
                <a:lnTo>
                  <a:pt x="84" y="42"/>
                </a:lnTo>
                <a:lnTo>
                  <a:pt x="90" y="42"/>
                </a:lnTo>
                <a:lnTo>
                  <a:pt x="90" y="42"/>
                </a:lnTo>
                <a:lnTo>
                  <a:pt x="84" y="42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66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48" y="54"/>
                </a:lnTo>
                <a:lnTo>
                  <a:pt x="42" y="60"/>
                </a:lnTo>
                <a:lnTo>
                  <a:pt x="36" y="66"/>
                </a:lnTo>
                <a:lnTo>
                  <a:pt x="48" y="66"/>
                </a:lnTo>
                <a:lnTo>
                  <a:pt x="42" y="78"/>
                </a:lnTo>
                <a:lnTo>
                  <a:pt x="42" y="78"/>
                </a:lnTo>
                <a:lnTo>
                  <a:pt x="48" y="78"/>
                </a:lnTo>
                <a:lnTo>
                  <a:pt x="48" y="84"/>
                </a:lnTo>
                <a:lnTo>
                  <a:pt x="54" y="90"/>
                </a:lnTo>
                <a:lnTo>
                  <a:pt x="54" y="90"/>
                </a:lnTo>
                <a:lnTo>
                  <a:pt x="54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0" y="96"/>
                </a:lnTo>
                <a:lnTo>
                  <a:pt x="30" y="96"/>
                </a:lnTo>
                <a:lnTo>
                  <a:pt x="24" y="96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78"/>
                </a:lnTo>
                <a:lnTo>
                  <a:pt x="6" y="72"/>
                </a:lnTo>
                <a:lnTo>
                  <a:pt x="0" y="72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66" name="Freeform 199"/>
          <p:cNvSpPr>
            <a:spLocks/>
          </p:cNvSpPr>
          <p:nvPr/>
        </p:nvSpPr>
        <p:spPr bwMode="auto">
          <a:xfrm>
            <a:off x="8605620" y="2336257"/>
            <a:ext cx="83513" cy="96361"/>
          </a:xfrm>
          <a:custGeom>
            <a:avLst/>
            <a:gdLst>
              <a:gd name="T0" fmla="*/ 0 w 78"/>
              <a:gd name="T1" fmla="*/ 48 h 90"/>
              <a:gd name="T2" fmla="*/ 6 w 78"/>
              <a:gd name="T3" fmla="*/ 48 h 90"/>
              <a:gd name="T4" fmla="*/ 6 w 78"/>
              <a:gd name="T5" fmla="*/ 48 h 90"/>
              <a:gd name="T6" fmla="*/ 12 w 78"/>
              <a:gd name="T7" fmla="*/ 48 h 90"/>
              <a:gd name="T8" fmla="*/ 12 w 78"/>
              <a:gd name="T9" fmla="*/ 42 h 90"/>
              <a:gd name="T10" fmla="*/ 12 w 78"/>
              <a:gd name="T11" fmla="*/ 42 h 90"/>
              <a:gd name="T12" fmla="*/ 18 w 78"/>
              <a:gd name="T13" fmla="*/ 42 h 90"/>
              <a:gd name="T14" fmla="*/ 18 w 78"/>
              <a:gd name="T15" fmla="*/ 42 h 90"/>
              <a:gd name="T16" fmla="*/ 18 w 78"/>
              <a:gd name="T17" fmla="*/ 42 h 90"/>
              <a:gd name="T18" fmla="*/ 24 w 78"/>
              <a:gd name="T19" fmla="*/ 42 h 90"/>
              <a:gd name="T20" fmla="*/ 24 w 78"/>
              <a:gd name="T21" fmla="*/ 42 h 90"/>
              <a:gd name="T22" fmla="*/ 24 w 78"/>
              <a:gd name="T23" fmla="*/ 36 h 90"/>
              <a:gd name="T24" fmla="*/ 18 w 78"/>
              <a:gd name="T25" fmla="*/ 36 h 90"/>
              <a:gd name="T26" fmla="*/ 18 w 78"/>
              <a:gd name="T27" fmla="*/ 36 h 90"/>
              <a:gd name="T28" fmla="*/ 24 w 78"/>
              <a:gd name="T29" fmla="*/ 36 h 90"/>
              <a:gd name="T30" fmla="*/ 30 w 78"/>
              <a:gd name="T31" fmla="*/ 30 h 90"/>
              <a:gd name="T32" fmla="*/ 30 w 78"/>
              <a:gd name="T33" fmla="*/ 24 h 90"/>
              <a:gd name="T34" fmla="*/ 30 w 78"/>
              <a:gd name="T35" fmla="*/ 24 h 90"/>
              <a:gd name="T36" fmla="*/ 36 w 78"/>
              <a:gd name="T37" fmla="*/ 24 h 90"/>
              <a:gd name="T38" fmla="*/ 36 w 78"/>
              <a:gd name="T39" fmla="*/ 24 h 90"/>
              <a:gd name="T40" fmla="*/ 42 w 78"/>
              <a:gd name="T41" fmla="*/ 24 h 90"/>
              <a:gd name="T42" fmla="*/ 42 w 78"/>
              <a:gd name="T43" fmla="*/ 18 h 90"/>
              <a:gd name="T44" fmla="*/ 36 w 78"/>
              <a:gd name="T45" fmla="*/ 18 h 90"/>
              <a:gd name="T46" fmla="*/ 42 w 78"/>
              <a:gd name="T47" fmla="*/ 12 h 90"/>
              <a:gd name="T48" fmla="*/ 48 w 78"/>
              <a:gd name="T49" fmla="*/ 6 h 90"/>
              <a:gd name="T50" fmla="*/ 54 w 78"/>
              <a:gd name="T51" fmla="*/ 6 h 90"/>
              <a:gd name="T52" fmla="*/ 60 w 78"/>
              <a:gd name="T53" fmla="*/ 6 h 90"/>
              <a:gd name="T54" fmla="*/ 60 w 78"/>
              <a:gd name="T55" fmla="*/ 6 h 90"/>
              <a:gd name="T56" fmla="*/ 66 w 78"/>
              <a:gd name="T57" fmla="*/ 6 h 90"/>
              <a:gd name="T58" fmla="*/ 66 w 78"/>
              <a:gd name="T59" fmla="*/ 0 h 90"/>
              <a:gd name="T60" fmla="*/ 66 w 78"/>
              <a:gd name="T61" fmla="*/ 0 h 90"/>
              <a:gd name="T62" fmla="*/ 72 w 78"/>
              <a:gd name="T63" fmla="*/ 0 h 90"/>
              <a:gd name="T64" fmla="*/ 78 w 78"/>
              <a:gd name="T65" fmla="*/ 0 h 90"/>
              <a:gd name="T66" fmla="*/ 72 w 78"/>
              <a:gd name="T67" fmla="*/ 30 h 90"/>
              <a:gd name="T68" fmla="*/ 48 w 78"/>
              <a:gd name="T69" fmla="*/ 48 h 90"/>
              <a:gd name="T70" fmla="*/ 48 w 78"/>
              <a:gd name="T71" fmla="*/ 48 h 90"/>
              <a:gd name="T72" fmla="*/ 42 w 78"/>
              <a:gd name="T73" fmla="*/ 48 h 90"/>
              <a:gd name="T74" fmla="*/ 36 w 78"/>
              <a:gd name="T75" fmla="*/ 48 h 90"/>
              <a:gd name="T76" fmla="*/ 30 w 78"/>
              <a:gd name="T77" fmla="*/ 60 h 90"/>
              <a:gd name="T78" fmla="*/ 24 w 78"/>
              <a:gd name="T79" fmla="*/ 78 h 90"/>
              <a:gd name="T80" fmla="*/ 18 w 78"/>
              <a:gd name="T81" fmla="*/ 90 h 90"/>
              <a:gd name="T82" fmla="*/ 18 w 78"/>
              <a:gd name="T83" fmla="*/ 84 h 90"/>
              <a:gd name="T84" fmla="*/ 6 w 78"/>
              <a:gd name="T85" fmla="*/ 78 h 90"/>
              <a:gd name="T86" fmla="*/ 6 w 78"/>
              <a:gd name="T87" fmla="*/ 66 h 90"/>
              <a:gd name="T88" fmla="*/ 6 w 78"/>
              <a:gd name="T89" fmla="*/ 72 h 90"/>
              <a:gd name="T90" fmla="*/ 0 w 78"/>
              <a:gd name="T91" fmla="*/ 48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78" h="90">
                <a:moveTo>
                  <a:pt x="0" y="48"/>
                </a:moveTo>
                <a:lnTo>
                  <a:pt x="0" y="48"/>
                </a:lnTo>
                <a:lnTo>
                  <a:pt x="0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36"/>
                </a:lnTo>
                <a:lnTo>
                  <a:pt x="24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0"/>
                </a:lnTo>
                <a:lnTo>
                  <a:pt x="24" y="30"/>
                </a:lnTo>
                <a:lnTo>
                  <a:pt x="24" y="36"/>
                </a:lnTo>
                <a:lnTo>
                  <a:pt x="24" y="30"/>
                </a:lnTo>
                <a:lnTo>
                  <a:pt x="24" y="30"/>
                </a:lnTo>
                <a:lnTo>
                  <a:pt x="30" y="30"/>
                </a:lnTo>
                <a:lnTo>
                  <a:pt x="30" y="30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42" y="24"/>
                </a:lnTo>
                <a:lnTo>
                  <a:pt x="42" y="24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36" y="18"/>
                </a:lnTo>
                <a:lnTo>
                  <a:pt x="36" y="18"/>
                </a:lnTo>
                <a:lnTo>
                  <a:pt x="36" y="12"/>
                </a:lnTo>
                <a:lnTo>
                  <a:pt x="36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8" y="0"/>
                </a:lnTo>
                <a:lnTo>
                  <a:pt x="78" y="0"/>
                </a:lnTo>
                <a:lnTo>
                  <a:pt x="78" y="12"/>
                </a:lnTo>
                <a:lnTo>
                  <a:pt x="72" y="24"/>
                </a:lnTo>
                <a:lnTo>
                  <a:pt x="72" y="30"/>
                </a:lnTo>
                <a:lnTo>
                  <a:pt x="72" y="36"/>
                </a:lnTo>
                <a:lnTo>
                  <a:pt x="54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36" y="48"/>
                </a:lnTo>
                <a:lnTo>
                  <a:pt x="30" y="48"/>
                </a:lnTo>
                <a:lnTo>
                  <a:pt x="30" y="48"/>
                </a:lnTo>
                <a:lnTo>
                  <a:pt x="30" y="60"/>
                </a:lnTo>
                <a:lnTo>
                  <a:pt x="30" y="66"/>
                </a:lnTo>
                <a:lnTo>
                  <a:pt x="30" y="66"/>
                </a:lnTo>
                <a:lnTo>
                  <a:pt x="24" y="78"/>
                </a:lnTo>
                <a:lnTo>
                  <a:pt x="24" y="84"/>
                </a:lnTo>
                <a:lnTo>
                  <a:pt x="18" y="90"/>
                </a:lnTo>
                <a:lnTo>
                  <a:pt x="18" y="90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6" y="78"/>
                </a:lnTo>
                <a:lnTo>
                  <a:pt x="6" y="78"/>
                </a:lnTo>
                <a:lnTo>
                  <a:pt x="6" y="72"/>
                </a:lnTo>
                <a:lnTo>
                  <a:pt x="6" y="66"/>
                </a:lnTo>
                <a:lnTo>
                  <a:pt x="6" y="66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12" y="54"/>
                </a:lnTo>
                <a:lnTo>
                  <a:pt x="0" y="4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67" name="Freeform 200"/>
          <p:cNvSpPr>
            <a:spLocks/>
          </p:cNvSpPr>
          <p:nvPr/>
        </p:nvSpPr>
        <p:spPr bwMode="auto">
          <a:xfrm>
            <a:off x="8355082" y="2394074"/>
            <a:ext cx="83513" cy="57817"/>
          </a:xfrm>
          <a:custGeom>
            <a:avLst/>
            <a:gdLst>
              <a:gd name="T0" fmla="*/ 0 w 78"/>
              <a:gd name="T1" fmla="*/ 6 h 54"/>
              <a:gd name="T2" fmla="*/ 6 w 78"/>
              <a:gd name="T3" fmla="*/ 6 h 54"/>
              <a:gd name="T4" fmla="*/ 6 w 78"/>
              <a:gd name="T5" fmla="*/ 0 h 54"/>
              <a:gd name="T6" fmla="*/ 24 w 78"/>
              <a:gd name="T7" fmla="*/ 12 h 54"/>
              <a:gd name="T8" fmla="*/ 42 w 78"/>
              <a:gd name="T9" fmla="*/ 18 h 54"/>
              <a:gd name="T10" fmla="*/ 48 w 78"/>
              <a:gd name="T11" fmla="*/ 18 h 54"/>
              <a:gd name="T12" fmla="*/ 48 w 78"/>
              <a:gd name="T13" fmla="*/ 18 h 54"/>
              <a:gd name="T14" fmla="*/ 48 w 78"/>
              <a:gd name="T15" fmla="*/ 12 h 54"/>
              <a:gd name="T16" fmla="*/ 48 w 78"/>
              <a:gd name="T17" fmla="*/ 12 h 54"/>
              <a:gd name="T18" fmla="*/ 48 w 78"/>
              <a:gd name="T19" fmla="*/ 12 h 54"/>
              <a:gd name="T20" fmla="*/ 54 w 78"/>
              <a:gd name="T21" fmla="*/ 12 h 54"/>
              <a:gd name="T22" fmla="*/ 54 w 78"/>
              <a:gd name="T23" fmla="*/ 6 h 54"/>
              <a:gd name="T24" fmla="*/ 66 w 78"/>
              <a:gd name="T25" fmla="*/ 12 h 54"/>
              <a:gd name="T26" fmla="*/ 72 w 78"/>
              <a:gd name="T27" fmla="*/ 24 h 54"/>
              <a:gd name="T28" fmla="*/ 72 w 78"/>
              <a:gd name="T29" fmla="*/ 24 h 54"/>
              <a:gd name="T30" fmla="*/ 72 w 78"/>
              <a:gd name="T31" fmla="*/ 30 h 54"/>
              <a:gd name="T32" fmla="*/ 72 w 78"/>
              <a:gd name="T33" fmla="*/ 30 h 54"/>
              <a:gd name="T34" fmla="*/ 72 w 78"/>
              <a:gd name="T35" fmla="*/ 30 h 54"/>
              <a:gd name="T36" fmla="*/ 72 w 78"/>
              <a:gd name="T37" fmla="*/ 36 h 54"/>
              <a:gd name="T38" fmla="*/ 72 w 78"/>
              <a:gd name="T39" fmla="*/ 36 h 54"/>
              <a:gd name="T40" fmla="*/ 72 w 78"/>
              <a:gd name="T41" fmla="*/ 42 h 54"/>
              <a:gd name="T42" fmla="*/ 72 w 78"/>
              <a:gd name="T43" fmla="*/ 48 h 54"/>
              <a:gd name="T44" fmla="*/ 72 w 78"/>
              <a:gd name="T45" fmla="*/ 54 h 54"/>
              <a:gd name="T46" fmla="*/ 72 w 78"/>
              <a:gd name="T47" fmla="*/ 54 h 54"/>
              <a:gd name="T48" fmla="*/ 66 w 78"/>
              <a:gd name="T49" fmla="*/ 48 h 54"/>
              <a:gd name="T50" fmla="*/ 66 w 78"/>
              <a:gd name="T51" fmla="*/ 48 h 54"/>
              <a:gd name="T52" fmla="*/ 60 w 78"/>
              <a:gd name="T53" fmla="*/ 48 h 54"/>
              <a:gd name="T54" fmla="*/ 54 w 78"/>
              <a:gd name="T55" fmla="*/ 48 h 54"/>
              <a:gd name="T56" fmla="*/ 54 w 78"/>
              <a:gd name="T57" fmla="*/ 48 h 54"/>
              <a:gd name="T58" fmla="*/ 48 w 78"/>
              <a:gd name="T59" fmla="*/ 42 h 54"/>
              <a:gd name="T60" fmla="*/ 48 w 78"/>
              <a:gd name="T61" fmla="*/ 42 h 54"/>
              <a:gd name="T62" fmla="*/ 48 w 78"/>
              <a:gd name="T63" fmla="*/ 42 h 54"/>
              <a:gd name="T64" fmla="*/ 42 w 78"/>
              <a:gd name="T65" fmla="*/ 36 h 54"/>
              <a:gd name="T66" fmla="*/ 36 w 78"/>
              <a:gd name="T67" fmla="*/ 36 h 54"/>
              <a:gd name="T68" fmla="*/ 30 w 78"/>
              <a:gd name="T69" fmla="*/ 36 h 54"/>
              <a:gd name="T70" fmla="*/ 30 w 78"/>
              <a:gd name="T71" fmla="*/ 30 h 54"/>
              <a:gd name="T72" fmla="*/ 24 w 78"/>
              <a:gd name="T73" fmla="*/ 30 h 54"/>
              <a:gd name="T74" fmla="*/ 24 w 78"/>
              <a:gd name="T75" fmla="*/ 24 h 54"/>
              <a:gd name="T76" fmla="*/ 18 w 78"/>
              <a:gd name="T77" fmla="*/ 24 h 54"/>
              <a:gd name="T78" fmla="*/ 18 w 78"/>
              <a:gd name="T79" fmla="*/ 24 h 54"/>
              <a:gd name="T80" fmla="*/ 18 w 78"/>
              <a:gd name="T81" fmla="*/ 24 h 54"/>
              <a:gd name="T82" fmla="*/ 12 w 78"/>
              <a:gd name="T83" fmla="*/ 24 h 54"/>
              <a:gd name="T84" fmla="*/ 12 w 78"/>
              <a:gd name="T85" fmla="*/ 24 h 54"/>
              <a:gd name="T86" fmla="*/ 6 w 78"/>
              <a:gd name="T87" fmla="*/ 18 h 54"/>
              <a:gd name="T88" fmla="*/ 0 w 78"/>
              <a:gd name="T89" fmla="*/ 18 h 54"/>
              <a:gd name="T90" fmla="*/ 0 w 78"/>
              <a:gd name="T91" fmla="*/ 18 h 54"/>
              <a:gd name="T92" fmla="*/ 0 w 78"/>
              <a:gd name="T93" fmla="*/ 12 h 54"/>
              <a:gd name="T94" fmla="*/ 0 w 78"/>
              <a:gd name="T95" fmla="*/ 6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78" h="54">
                <a:moveTo>
                  <a:pt x="0" y="6"/>
                </a:moveTo>
                <a:lnTo>
                  <a:pt x="0" y="6"/>
                </a:lnTo>
                <a:lnTo>
                  <a:pt x="6" y="6"/>
                </a:lnTo>
                <a:lnTo>
                  <a:pt x="6" y="6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24" y="12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6" y="12"/>
                </a:lnTo>
                <a:lnTo>
                  <a:pt x="72" y="18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42"/>
                </a:lnTo>
                <a:lnTo>
                  <a:pt x="78" y="42"/>
                </a:lnTo>
                <a:lnTo>
                  <a:pt x="72" y="48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0" y="48"/>
                </a:lnTo>
                <a:lnTo>
                  <a:pt x="60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36" y="36"/>
                </a:lnTo>
                <a:lnTo>
                  <a:pt x="36" y="36"/>
                </a:lnTo>
                <a:lnTo>
                  <a:pt x="30" y="36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24" y="30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6" y="24"/>
                </a:lnTo>
                <a:lnTo>
                  <a:pt x="6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2"/>
                </a:lnTo>
                <a:lnTo>
                  <a:pt x="0" y="12"/>
                </a:lnTo>
                <a:lnTo>
                  <a:pt x="0" y="6"/>
                </a:lnTo>
                <a:lnTo>
                  <a:pt x="0" y="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68" name="Freeform 201"/>
          <p:cNvSpPr>
            <a:spLocks/>
          </p:cNvSpPr>
          <p:nvPr/>
        </p:nvSpPr>
        <p:spPr bwMode="auto">
          <a:xfrm>
            <a:off x="8547803" y="2490436"/>
            <a:ext cx="77089" cy="77089"/>
          </a:xfrm>
          <a:custGeom>
            <a:avLst/>
            <a:gdLst>
              <a:gd name="T0" fmla="*/ 0 w 72"/>
              <a:gd name="T1" fmla="*/ 24 h 72"/>
              <a:gd name="T2" fmla="*/ 6 w 72"/>
              <a:gd name="T3" fmla="*/ 24 h 72"/>
              <a:gd name="T4" fmla="*/ 12 w 72"/>
              <a:gd name="T5" fmla="*/ 18 h 72"/>
              <a:gd name="T6" fmla="*/ 12 w 72"/>
              <a:gd name="T7" fmla="*/ 18 h 72"/>
              <a:gd name="T8" fmla="*/ 12 w 72"/>
              <a:gd name="T9" fmla="*/ 12 h 72"/>
              <a:gd name="T10" fmla="*/ 18 w 72"/>
              <a:gd name="T11" fmla="*/ 12 h 72"/>
              <a:gd name="T12" fmla="*/ 18 w 72"/>
              <a:gd name="T13" fmla="*/ 6 h 72"/>
              <a:gd name="T14" fmla="*/ 24 w 72"/>
              <a:gd name="T15" fmla="*/ 6 h 72"/>
              <a:gd name="T16" fmla="*/ 24 w 72"/>
              <a:gd name="T17" fmla="*/ 6 h 72"/>
              <a:gd name="T18" fmla="*/ 24 w 72"/>
              <a:gd name="T19" fmla="*/ 6 h 72"/>
              <a:gd name="T20" fmla="*/ 24 w 72"/>
              <a:gd name="T21" fmla="*/ 12 h 72"/>
              <a:gd name="T22" fmla="*/ 42 w 72"/>
              <a:gd name="T23" fmla="*/ 12 h 72"/>
              <a:gd name="T24" fmla="*/ 48 w 72"/>
              <a:gd name="T25" fmla="*/ 12 h 72"/>
              <a:gd name="T26" fmla="*/ 48 w 72"/>
              <a:gd name="T27" fmla="*/ 12 h 72"/>
              <a:gd name="T28" fmla="*/ 54 w 72"/>
              <a:gd name="T29" fmla="*/ 18 h 72"/>
              <a:gd name="T30" fmla="*/ 54 w 72"/>
              <a:gd name="T31" fmla="*/ 18 h 72"/>
              <a:gd name="T32" fmla="*/ 60 w 72"/>
              <a:gd name="T33" fmla="*/ 18 h 72"/>
              <a:gd name="T34" fmla="*/ 60 w 72"/>
              <a:gd name="T35" fmla="*/ 24 h 72"/>
              <a:gd name="T36" fmla="*/ 66 w 72"/>
              <a:gd name="T37" fmla="*/ 30 h 72"/>
              <a:gd name="T38" fmla="*/ 60 w 72"/>
              <a:gd name="T39" fmla="*/ 36 h 72"/>
              <a:gd name="T40" fmla="*/ 60 w 72"/>
              <a:gd name="T41" fmla="*/ 36 h 72"/>
              <a:gd name="T42" fmla="*/ 60 w 72"/>
              <a:gd name="T43" fmla="*/ 36 h 72"/>
              <a:gd name="T44" fmla="*/ 72 w 72"/>
              <a:gd name="T45" fmla="*/ 48 h 72"/>
              <a:gd name="T46" fmla="*/ 72 w 72"/>
              <a:gd name="T47" fmla="*/ 54 h 72"/>
              <a:gd name="T48" fmla="*/ 66 w 72"/>
              <a:gd name="T49" fmla="*/ 54 h 72"/>
              <a:gd name="T50" fmla="*/ 60 w 72"/>
              <a:gd name="T51" fmla="*/ 72 h 72"/>
              <a:gd name="T52" fmla="*/ 54 w 72"/>
              <a:gd name="T53" fmla="*/ 72 h 72"/>
              <a:gd name="T54" fmla="*/ 54 w 72"/>
              <a:gd name="T55" fmla="*/ 60 h 72"/>
              <a:gd name="T56" fmla="*/ 48 w 72"/>
              <a:gd name="T57" fmla="*/ 60 h 72"/>
              <a:gd name="T58" fmla="*/ 42 w 72"/>
              <a:gd name="T59" fmla="*/ 60 h 72"/>
              <a:gd name="T60" fmla="*/ 42 w 72"/>
              <a:gd name="T61" fmla="*/ 60 h 72"/>
              <a:gd name="T62" fmla="*/ 36 w 72"/>
              <a:gd name="T63" fmla="*/ 60 h 72"/>
              <a:gd name="T64" fmla="*/ 36 w 72"/>
              <a:gd name="T65" fmla="*/ 60 h 72"/>
              <a:gd name="T66" fmla="*/ 36 w 72"/>
              <a:gd name="T67" fmla="*/ 48 h 72"/>
              <a:gd name="T68" fmla="*/ 30 w 72"/>
              <a:gd name="T69" fmla="*/ 48 h 72"/>
              <a:gd name="T70" fmla="*/ 30 w 72"/>
              <a:gd name="T71" fmla="*/ 42 h 72"/>
              <a:gd name="T72" fmla="*/ 24 w 72"/>
              <a:gd name="T73" fmla="*/ 42 h 72"/>
              <a:gd name="T74" fmla="*/ 24 w 72"/>
              <a:gd name="T75" fmla="*/ 42 h 72"/>
              <a:gd name="T76" fmla="*/ 18 w 72"/>
              <a:gd name="T77" fmla="*/ 42 h 72"/>
              <a:gd name="T78" fmla="*/ 18 w 72"/>
              <a:gd name="T79" fmla="*/ 42 h 72"/>
              <a:gd name="T80" fmla="*/ 12 w 72"/>
              <a:gd name="T81" fmla="*/ 42 h 72"/>
              <a:gd name="T82" fmla="*/ 12 w 72"/>
              <a:gd name="T83" fmla="*/ 36 h 72"/>
              <a:gd name="T84" fmla="*/ 12 w 72"/>
              <a:gd name="T85" fmla="*/ 36 h 72"/>
              <a:gd name="T86" fmla="*/ 6 w 72"/>
              <a:gd name="T87" fmla="*/ 36 h 72"/>
              <a:gd name="T88" fmla="*/ 0 w 72"/>
              <a:gd name="T89" fmla="*/ 30 h 72"/>
              <a:gd name="T90" fmla="*/ 0 w 72"/>
              <a:gd name="T91" fmla="*/ 30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72" h="72">
                <a:moveTo>
                  <a:pt x="0" y="30"/>
                </a:moveTo>
                <a:lnTo>
                  <a:pt x="0" y="30"/>
                </a:lnTo>
                <a:lnTo>
                  <a:pt x="0" y="24"/>
                </a:lnTo>
                <a:lnTo>
                  <a:pt x="0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2"/>
                </a:lnTo>
                <a:lnTo>
                  <a:pt x="12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0"/>
                </a:lnTo>
                <a:lnTo>
                  <a:pt x="18" y="0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8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54" y="18"/>
                </a:lnTo>
                <a:lnTo>
                  <a:pt x="54" y="12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6" y="30"/>
                </a:lnTo>
                <a:lnTo>
                  <a:pt x="66" y="30"/>
                </a:lnTo>
                <a:lnTo>
                  <a:pt x="60" y="30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72" y="42"/>
                </a:lnTo>
                <a:lnTo>
                  <a:pt x="72" y="42"/>
                </a:lnTo>
                <a:lnTo>
                  <a:pt x="72" y="48"/>
                </a:lnTo>
                <a:lnTo>
                  <a:pt x="66" y="48"/>
                </a:lnTo>
                <a:lnTo>
                  <a:pt x="72" y="48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66" y="54"/>
                </a:lnTo>
                <a:lnTo>
                  <a:pt x="66" y="60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54" y="72"/>
                </a:lnTo>
                <a:lnTo>
                  <a:pt x="54" y="66"/>
                </a:lnTo>
                <a:lnTo>
                  <a:pt x="54" y="60"/>
                </a:lnTo>
                <a:lnTo>
                  <a:pt x="54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54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0" y="48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24" y="42"/>
                </a:lnTo>
                <a:lnTo>
                  <a:pt x="24" y="42"/>
                </a:lnTo>
                <a:lnTo>
                  <a:pt x="24" y="36"/>
                </a:lnTo>
                <a:lnTo>
                  <a:pt x="24" y="36"/>
                </a:lnTo>
                <a:lnTo>
                  <a:pt x="24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6" y="36"/>
                </a:lnTo>
                <a:lnTo>
                  <a:pt x="6" y="36"/>
                </a:lnTo>
                <a:lnTo>
                  <a:pt x="0" y="36"/>
                </a:lnTo>
                <a:lnTo>
                  <a:pt x="0" y="36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69" name="Freeform 202"/>
          <p:cNvSpPr>
            <a:spLocks/>
          </p:cNvSpPr>
          <p:nvPr/>
        </p:nvSpPr>
        <p:spPr bwMode="auto">
          <a:xfrm>
            <a:off x="8721253" y="2336257"/>
            <a:ext cx="57816" cy="70665"/>
          </a:xfrm>
          <a:custGeom>
            <a:avLst/>
            <a:gdLst>
              <a:gd name="T0" fmla="*/ 18 w 54"/>
              <a:gd name="T1" fmla="*/ 42 h 66"/>
              <a:gd name="T2" fmla="*/ 18 w 54"/>
              <a:gd name="T3" fmla="*/ 42 h 66"/>
              <a:gd name="T4" fmla="*/ 12 w 54"/>
              <a:gd name="T5" fmla="*/ 42 h 66"/>
              <a:gd name="T6" fmla="*/ 12 w 54"/>
              <a:gd name="T7" fmla="*/ 36 h 66"/>
              <a:gd name="T8" fmla="*/ 12 w 54"/>
              <a:gd name="T9" fmla="*/ 30 h 66"/>
              <a:gd name="T10" fmla="*/ 18 w 54"/>
              <a:gd name="T11" fmla="*/ 30 h 66"/>
              <a:gd name="T12" fmla="*/ 24 w 54"/>
              <a:gd name="T13" fmla="*/ 30 h 66"/>
              <a:gd name="T14" fmla="*/ 24 w 54"/>
              <a:gd name="T15" fmla="*/ 30 h 66"/>
              <a:gd name="T16" fmla="*/ 30 w 54"/>
              <a:gd name="T17" fmla="*/ 30 h 66"/>
              <a:gd name="T18" fmla="*/ 30 w 54"/>
              <a:gd name="T19" fmla="*/ 30 h 66"/>
              <a:gd name="T20" fmla="*/ 30 w 54"/>
              <a:gd name="T21" fmla="*/ 36 h 66"/>
              <a:gd name="T22" fmla="*/ 30 w 54"/>
              <a:gd name="T23" fmla="*/ 36 h 66"/>
              <a:gd name="T24" fmla="*/ 30 w 54"/>
              <a:gd name="T25" fmla="*/ 36 h 66"/>
              <a:gd name="T26" fmla="*/ 30 w 54"/>
              <a:gd name="T27" fmla="*/ 36 h 66"/>
              <a:gd name="T28" fmla="*/ 30 w 54"/>
              <a:gd name="T29" fmla="*/ 36 h 66"/>
              <a:gd name="T30" fmla="*/ 36 w 54"/>
              <a:gd name="T31" fmla="*/ 36 h 66"/>
              <a:gd name="T32" fmla="*/ 36 w 54"/>
              <a:gd name="T33" fmla="*/ 36 h 66"/>
              <a:gd name="T34" fmla="*/ 36 w 54"/>
              <a:gd name="T35" fmla="*/ 36 h 66"/>
              <a:gd name="T36" fmla="*/ 30 w 54"/>
              <a:gd name="T37" fmla="*/ 30 h 66"/>
              <a:gd name="T38" fmla="*/ 30 w 54"/>
              <a:gd name="T39" fmla="*/ 24 h 66"/>
              <a:gd name="T40" fmla="*/ 36 w 54"/>
              <a:gd name="T41" fmla="*/ 24 h 66"/>
              <a:gd name="T42" fmla="*/ 36 w 54"/>
              <a:gd name="T43" fmla="*/ 24 h 66"/>
              <a:gd name="T44" fmla="*/ 30 w 54"/>
              <a:gd name="T45" fmla="*/ 18 h 66"/>
              <a:gd name="T46" fmla="*/ 30 w 54"/>
              <a:gd name="T47" fmla="*/ 18 h 66"/>
              <a:gd name="T48" fmla="*/ 30 w 54"/>
              <a:gd name="T49" fmla="*/ 6 h 66"/>
              <a:gd name="T50" fmla="*/ 30 w 54"/>
              <a:gd name="T51" fmla="*/ 6 h 66"/>
              <a:gd name="T52" fmla="*/ 36 w 54"/>
              <a:gd name="T53" fmla="*/ 6 h 66"/>
              <a:gd name="T54" fmla="*/ 42 w 54"/>
              <a:gd name="T55" fmla="*/ 6 h 66"/>
              <a:gd name="T56" fmla="*/ 48 w 54"/>
              <a:gd name="T57" fmla="*/ 6 h 66"/>
              <a:gd name="T58" fmla="*/ 54 w 54"/>
              <a:gd name="T59" fmla="*/ 6 h 66"/>
              <a:gd name="T60" fmla="*/ 54 w 54"/>
              <a:gd name="T61" fmla="*/ 6 h 66"/>
              <a:gd name="T62" fmla="*/ 54 w 54"/>
              <a:gd name="T63" fmla="*/ 12 h 66"/>
              <a:gd name="T64" fmla="*/ 48 w 54"/>
              <a:gd name="T65" fmla="*/ 18 h 66"/>
              <a:gd name="T66" fmla="*/ 48 w 54"/>
              <a:gd name="T67" fmla="*/ 24 h 66"/>
              <a:gd name="T68" fmla="*/ 48 w 54"/>
              <a:gd name="T69" fmla="*/ 30 h 66"/>
              <a:gd name="T70" fmla="*/ 42 w 54"/>
              <a:gd name="T71" fmla="*/ 30 h 66"/>
              <a:gd name="T72" fmla="*/ 42 w 54"/>
              <a:gd name="T73" fmla="*/ 36 h 66"/>
              <a:gd name="T74" fmla="*/ 42 w 54"/>
              <a:gd name="T75" fmla="*/ 36 h 66"/>
              <a:gd name="T76" fmla="*/ 36 w 54"/>
              <a:gd name="T77" fmla="*/ 42 h 66"/>
              <a:gd name="T78" fmla="*/ 36 w 54"/>
              <a:gd name="T79" fmla="*/ 48 h 66"/>
              <a:gd name="T80" fmla="*/ 36 w 54"/>
              <a:gd name="T81" fmla="*/ 48 h 66"/>
              <a:gd name="T82" fmla="*/ 30 w 54"/>
              <a:gd name="T83" fmla="*/ 54 h 66"/>
              <a:gd name="T84" fmla="*/ 24 w 54"/>
              <a:gd name="T85" fmla="*/ 60 h 66"/>
              <a:gd name="T86" fmla="*/ 24 w 54"/>
              <a:gd name="T87" fmla="*/ 60 h 66"/>
              <a:gd name="T88" fmla="*/ 18 w 54"/>
              <a:gd name="T89" fmla="*/ 60 h 66"/>
              <a:gd name="T90" fmla="*/ 18 w 54"/>
              <a:gd name="T91" fmla="*/ 66 h 66"/>
              <a:gd name="T92" fmla="*/ 0 w 54"/>
              <a:gd name="T93" fmla="*/ 54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4" h="66">
                <a:moveTo>
                  <a:pt x="0" y="54"/>
                </a:moveTo>
                <a:lnTo>
                  <a:pt x="6" y="48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6" y="36"/>
                </a:lnTo>
                <a:lnTo>
                  <a:pt x="6" y="36"/>
                </a:lnTo>
                <a:lnTo>
                  <a:pt x="12" y="30"/>
                </a:lnTo>
                <a:lnTo>
                  <a:pt x="12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6"/>
                </a:lnTo>
                <a:lnTo>
                  <a:pt x="30" y="30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6" y="36"/>
                </a:lnTo>
                <a:lnTo>
                  <a:pt x="30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6" y="24"/>
                </a:lnTo>
                <a:lnTo>
                  <a:pt x="30" y="24"/>
                </a:lnTo>
                <a:lnTo>
                  <a:pt x="30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2"/>
                </a:lnTo>
                <a:lnTo>
                  <a:pt x="30" y="12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0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8"/>
                </a:lnTo>
                <a:lnTo>
                  <a:pt x="54" y="18"/>
                </a:lnTo>
                <a:lnTo>
                  <a:pt x="48" y="18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0" y="48"/>
                </a:lnTo>
                <a:lnTo>
                  <a:pt x="30" y="48"/>
                </a:lnTo>
                <a:lnTo>
                  <a:pt x="30" y="54"/>
                </a:lnTo>
                <a:lnTo>
                  <a:pt x="30" y="54"/>
                </a:lnTo>
                <a:lnTo>
                  <a:pt x="24" y="54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18" y="60"/>
                </a:lnTo>
                <a:lnTo>
                  <a:pt x="18" y="60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2" y="60"/>
                </a:lnTo>
                <a:lnTo>
                  <a:pt x="12" y="60"/>
                </a:lnTo>
                <a:lnTo>
                  <a:pt x="0" y="5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70" name="Freeform 203"/>
          <p:cNvSpPr>
            <a:spLocks/>
          </p:cNvSpPr>
          <p:nvPr/>
        </p:nvSpPr>
        <p:spPr bwMode="auto">
          <a:xfrm>
            <a:off x="8502835" y="2451891"/>
            <a:ext cx="64240" cy="70665"/>
          </a:xfrm>
          <a:custGeom>
            <a:avLst/>
            <a:gdLst>
              <a:gd name="T0" fmla="*/ 6 w 60"/>
              <a:gd name="T1" fmla="*/ 30 h 66"/>
              <a:gd name="T2" fmla="*/ 6 w 60"/>
              <a:gd name="T3" fmla="*/ 30 h 66"/>
              <a:gd name="T4" fmla="*/ 6 w 60"/>
              <a:gd name="T5" fmla="*/ 30 h 66"/>
              <a:gd name="T6" fmla="*/ 6 w 60"/>
              <a:gd name="T7" fmla="*/ 24 h 66"/>
              <a:gd name="T8" fmla="*/ 6 w 60"/>
              <a:gd name="T9" fmla="*/ 24 h 66"/>
              <a:gd name="T10" fmla="*/ 18 w 60"/>
              <a:gd name="T11" fmla="*/ 18 h 66"/>
              <a:gd name="T12" fmla="*/ 18 w 60"/>
              <a:gd name="T13" fmla="*/ 12 h 66"/>
              <a:gd name="T14" fmla="*/ 18 w 60"/>
              <a:gd name="T15" fmla="*/ 12 h 66"/>
              <a:gd name="T16" fmla="*/ 18 w 60"/>
              <a:gd name="T17" fmla="*/ 12 h 66"/>
              <a:gd name="T18" fmla="*/ 18 w 60"/>
              <a:gd name="T19" fmla="*/ 6 h 66"/>
              <a:gd name="T20" fmla="*/ 24 w 60"/>
              <a:gd name="T21" fmla="*/ 6 h 66"/>
              <a:gd name="T22" fmla="*/ 24 w 60"/>
              <a:gd name="T23" fmla="*/ 6 h 66"/>
              <a:gd name="T24" fmla="*/ 24 w 60"/>
              <a:gd name="T25" fmla="*/ 6 h 66"/>
              <a:gd name="T26" fmla="*/ 24 w 60"/>
              <a:gd name="T27" fmla="*/ 0 h 66"/>
              <a:gd name="T28" fmla="*/ 36 w 60"/>
              <a:gd name="T29" fmla="*/ 6 h 66"/>
              <a:gd name="T30" fmla="*/ 30 w 60"/>
              <a:gd name="T31" fmla="*/ 18 h 66"/>
              <a:gd name="T32" fmla="*/ 30 w 60"/>
              <a:gd name="T33" fmla="*/ 30 h 66"/>
              <a:gd name="T34" fmla="*/ 42 w 60"/>
              <a:gd name="T35" fmla="*/ 30 h 66"/>
              <a:gd name="T36" fmla="*/ 42 w 60"/>
              <a:gd name="T37" fmla="*/ 36 h 66"/>
              <a:gd name="T38" fmla="*/ 42 w 60"/>
              <a:gd name="T39" fmla="*/ 36 h 66"/>
              <a:gd name="T40" fmla="*/ 48 w 60"/>
              <a:gd name="T41" fmla="*/ 36 h 66"/>
              <a:gd name="T42" fmla="*/ 42 w 60"/>
              <a:gd name="T43" fmla="*/ 42 h 66"/>
              <a:gd name="T44" fmla="*/ 42 w 60"/>
              <a:gd name="T45" fmla="*/ 42 h 66"/>
              <a:gd name="T46" fmla="*/ 42 w 60"/>
              <a:gd name="T47" fmla="*/ 42 h 66"/>
              <a:gd name="T48" fmla="*/ 42 w 60"/>
              <a:gd name="T49" fmla="*/ 42 h 66"/>
              <a:gd name="T50" fmla="*/ 48 w 60"/>
              <a:gd name="T51" fmla="*/ 42 h 66"/>
              <a:gd name="T52" fmla="*/ 48 w 60"/>
              <a:gd name="T53" fmla="*/ 42 h 66"/>
              <a:gd name="T54" fmla="*/ 48 w 60"/>
              <a:gd name="T55" fmla="*/ 42 h 66"/>
              <a:gd name="T56" fmla="*/ 60 w 60"/>
              <a:gd name="T57" fmla="*/ 48 h 66"/>
              <a:gd name="T58" fmla="*/ 54 w 60"/>
              <a:gd name="T59" fmla="*/ 48 h 66"/>
              <a:gd name="T60" fmla="*/ 54 w 60"/>
              <a:gd name="T61" fmla="*/ 54 h 66"/>
              <a:gd name="T62" fmla="*/ 54 w 60"/>
              <a:gd name="T63" fmla="*/ 54 h 66"/>
              <a:gd name="T64" fmla="*/ 54 w 60"/>
              <a:gd name="T65" fmla="*/ 54 h 66"/>
              <a:gd name="T66" fmla="*/ 48 w 60"/>
              <a:gd name="T67" fmla="*/ 60 h 66"/>
              <a:gd name="T68" fmla="*/ 48 w 60"/>
              <a:gd name="T69" fmla="*/ 60 h 66"/>
              <a:gd name="T70" fmla="*/ 42 w 60"/>
              <a:gd name="T71" fmla="*/ 60 h 66"/>
              <a:gd name="T72" fmla="*/ 42 w 60"/>
              <a:gd name="T73" fmla="*/ 66 h 66"/>
              <a:gd name="T74" fmla="*/ 42 w 60"/>
              <a:gd name="T75" fmla="*/ 60 h 66"/>
              <a:gd name="T76" fmla="*/ 36 w 60"/>
              <a:gd name="T77" fmla="*/ 60 h 66"/>
              <a:gd name="T78" fmla="*/ 30 w 60"/>
              <a:gd name="T79" fmla="*/ 60 h 66"/>
              <a:gd name="T80" fmla="*/ 30 w 60"/>
              <a:gd name="T81" fmla="*/ 60 h 66"/>
              <a:gd name="T82" fmla="*/ 30 w 60"/>
              <a:gd name="T83" fmla="*/ 54 h 66"/>
              <a:gd name="T84" fmla="*/ 24 w 60"/>
              <a:gd name="T85" fmla="*/ 54 h 66"/>
              <a:gd name="T86" fmla="*/ 24 w 60"/>
              <a:gd name="T87" fmla="*/ 48 h 66"/>
              <a:gd name="T88" fmla="*/ 24 w 60"/>
              <a:gd name="T89" fmla="*/ 48 h 66"/>
              <a:gd name="T90" fmla="*/ 24 w 60"/>
              <a:gd name="T91" fmla="*/ 42 h 66"/>
              <a:gd name="T92" fmla="*/ 24 w 60"/>
              <a:gd name="T93" fmla="*/ 42 h 66"/>
              <a:gd name="T94" fmla="*/ 18 w 60"/>
              <a:gd name="T95" fmla="*/ 36 h 66"/>
              <a:gd name="T96" fmla="*/ 18 w 60"/>
              <a:gd name="T97" fmla="*/ 42 h 66"/>
              <a:gd name="T98" fmla="*/ 12 w 60"/>
              <a:gd name="T99" fmla="*/ 42 h 66"/>
              <a:gd name="T100" fmla="*/ 6 w 60"/>
              <a:gd name="T101" fmla="*/ 30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60" h="66">
                <a:moveTo>
                  <a:pt x="0" y="30"/>
                </a:moveTo>
                <a:lnTo>
                  <a:pt x="6" y="30"/>
                </a:lnTo>
                <a:lnTo>
                  <a:pt x="0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12" y="18"/>
                </a:lnTo>
                <a:lnTo>
                  <a:pt x="18" y="18"/>
                </a:lnTo>
                <a:lnTo>
                  <a:pt x="18" y="18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6"/>
                </a:lnTo>
                <a:lnTo>
                  <a:pt x="18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36" y="6"/>
                </a:lnTo>
                <a:lnTo>
                  <a:pt x="30" y="18"/>
                </a:lnTo>
                <a:lnTo>
                  <a:pt x="30" y="18"/>
                </a:lnTo>
                <a:lnTo>
                  <a:pt x="30" y="24"/>
                </a:lnTo>
                <a:lnTo>
                  <a:pt x="30" y="30"/>
                </a:lnTo>
                <a:lnTo>
                  <a:pt x="36" y="30"/>
                </a:lnTo>
                <a:lnTo>
                  <a:pt x="42" y="30"/>
                </a:lnTo>
                <a:lnTo>
                  <a:pt x="42" y="30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8" y="36"/>
                </a:lnTo>
                <a:lnTo>
                  <a:pt x="48" y="36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54" y="48"/>
                </a:lnTo>
                <a:lnTo>
                  <a:pt x="54" y="48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2" y="60"/>
                </a:lnTo>
                <a:lnTo>
                  <a:pt x="42" y="60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54"/>
                </a:lnTo>
                <a:lnTo>
                  <a:pt x="30" y="54"/>
                </a:lnTo>
                <a:lnTo>
                  <a:pt x="24" y="54"/>
                </a:lnTo>
                <a:lnTo>
                  <a:pt x="24" y="54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36"/>
                </a:lnTo>
                <a:lnTo>
                  <a:pt x="18" y="36"/>
                </a:lnTo>
                <a:lnTo>
                  <a:pt x="18" y="36"/>
                </a:lnTo>
                <a:lnTo>
                  <a:pt x="18" y="42"/>
                </a:lnTo>
                <a:lnTo>
                  <a:pt x="18" y="42"/>
                </a:lnTo>
                <a:lnTo>
                  <a:pt x="12" y="42"/>
                </a:lnTo>
                <a:lnTo>
                  <a:pt x="12" y="36"/>
                </a:lnTo>
                <a:lnTo>
                  <a:pt x="6" y="30"/>
                </a:lnTo>
                <a:lnTo>
                  <a:pt x="0" y="3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71" name="Freeform 204"/>
          <p:cNvSpPr>
            <a:spLocks/>
          </p:cNvSpPr>
          <p:nvPr/>
        </p:nvSpPr>
        <p:spPr bwMode="auto">
          <a:xfrm>
            <a:off x="8348658" y="2580373"/>
            <a:ext cx="83513" cy="102786"/>
          </a:xfrm>
          <a:custGeom>
            <a:avLst/>
            <a:gdLst>
              <a:gd name="T0" fmla="*/ 6 w 78"/>
              <a:gd name="T1" fmla="*/ 18 h 96"/>
              <a:gd name="T2" fmla="*/ 6 w 78"/>
              <a:gd name="T3" fmla="*/ 12 h 96"/>
              <a:gd name="T4" fmla="*/ 12 w 78"/>
              <a:gd name="T5" fmla="*/ 12 h 96"/>
              <a:gd name="T6" fmla="*/ 18 w 78"/>
              <a:gd name="T7" fmla="*/ 12 h 96"/>
              <a:gd name="T8" fmla="*/ 24 w 78"/>
              <a:gd name="T9" fmla="*/ 12 h 96"/>
              <a:gd name="T10" fmla="*/ 30 w 78"/>
              <a:gd name="T11" fmla="*/ 18 h 96"/>
              <a:gd name="T12" fmla="*/ 36 w 78"/>
              <a:gd name="T13" fmla="*/ 24 h 96"/>
              <a:gd name="T14" fmla="*/ 54 w 78"/>
              <a:gd name="T15" fmla="*/ 0 h 96"/>
              <a:gd name="T16" fmla="*/ 60 w 78"/>
              <a:gd name="T17" fmla="*/ 0 h 96"/>
              <a:gd name="T18" fmla="*/ 66 w 78"/>
              <a:gd name="T19" fmla="*/ 0 h 96"/>
              <a:gd name="T20" fmla="*/ 66 w 78"/>
              <a:gd name="T21" fmla="*/ 0 h 96"/>
              <a:gd name="T22" fmla="*/ 72 w 78"/>
              <a:gd name="T23" fmla="*/ 6 h 96"/>
              <a:gd name="T24" fmla="*/ 72 w 78"/>
              <a:gd name="T25" fmla="*/ 6 h 96"/>
              <a:gd name="T26" fmla="*/ 72 w 78"/>
              <a:gd name="T27" fmla="*/ 12 h 96"/>
              <a:gd name="T28" fmla="*/ 72 w 78"/>
              <a:gd name="T29" fmla="*/ 12 h 96"/>
              <a:gd name="T30" fmla="*/ 78 w 78"/>
              <a:gd name="T31" fmla="*/ 12 h 96"/>
              <a:gd name="T32" fmla="*/ 72 w 78"/>
              <a:gd name="T33" fmla="*/ 18 h 96"/>
              <a:gd name="T34" fmla="*/ 72 w 78"/>
              <a:gd name="T35" fmla="*/ 24 h 96"/>
              <a:gd name="T36" fmla="*/ 60 w 78"/>
              <a:gd name="T37" fmla="*/ 36 h 96"/>
              <a:gd name="T38" fmla="*/ 48 w 78"/>
              <a:gd name="T39" fmla="*/ 36 h 96"/>
              <a:gd name="T40" fmla="*/ 42 w 78"/>
              <a:gd name="T41" fmla="*/ 36 h 96"/>
              <a:gd name="T42" fmla="*/ 42 w 78"/>
              <a:gd name="T43" fmla="*/ 42 h 96"/>
              <a:gd name="T44" fmla="*/ 42 w 78"/>
              <a:gd name="T45" fmla="*/ 48 h 96"/>
              <a:gd name="T46" fmla="*/ 42 w 78"/>
              <a:gd name="T47" fmla="*/ 54 h 96"/>
              <a:gd name="T48" fmla="*/ 48 w 78"/>
              <a:gd name="T49" fmla="*/ 54 h 96"/>
              <a:gd name="T50" fmla="*/ 60 w 78"/>
              <a:gd name="T51" fmla="*/ 72 h 96"/>
              <a:gd name="T52" fmla="*/ 48 w 78"/>
              <a:gd name="T53" fmla="*/ 78 h 96"/>
              <a:gd name="T54" fmla="*/ 54 w 78"/>
              <a:gd name="T55" fmla="*/ 78 h 96"/>
              <a:gd name="T56" fmla="*/ 48 w 78"/>
              <a:gd name="T57" fmla="*/ 78 h 96"/>
              <a:gd name="T58" fmla="*/ 36 w 78"/>
              <a:gd name="T59" fmla="*/ 96 h 96"/>
              <a:gd name="T60" fmla="*/ 36 w 78"/>
              <a:gd name="T61" fmla="*/ 96 h 96"/>
              <a:gd name="T62" fmla="*/ 36 w 78"/>
              <a:gd name="T63" fmla="*/ 96 h 96"/>
              <a:gd name="T64" fmla="*/ 36 w 78"/>
              <a:gd name="T65" fmla="*/ 90 h 96"/>
              <a:gd name="T66" fmla="*/ 36 w 78"/>
              <a:gd name="T67" fmla="*/ 84 h 96"/>
              <a:gd name="T68" fmla="*/ 36 w 78"/>
              <a:gd name="T69" fmla="*/ 84 h 96"/>
              <a:gd name="T70" fmla="*/ 36 w 78"/>
              <a:gd name="T71" fmla="*/ 84 h 96"/>
              <a:gd name="T72" fmla="*/ 36 w 78"/>
              <a:gd name="T73" fmla="*/ 78 h 96"/>
              <a:gd name="T74" fmla="*/ 36 w 78"/>
              <a:gd name="T75" fmla="*/ 78 h 96"/>
              <a:gd name="T76" fmla="*/ 36 w 78"/>
              <a:gd name="T77" fmla="*/ 78 h 96"/>
              <a:gd name="T78" fmla="*/ 30 w 78"/>
              <a:gd name="T79" fmla="*/ 78 h 96"/>
              <a:gd name="T80" fmla="*/ 24 w 78"/>
              <a:gd name="T81" fmla="*/ 72 h 96"/>
              <a:gd name="T82" fmla="*/ 24 w 78"/>
              <a:gd name="T83" fmla="*/ 66 h 96"/>
              <a:gd name="T84" fmla="*/ 24 w 78"/>
              <a:gd name="T85" fmla="*/ 66 h 96"/>
              <a:gd name="T86" fmla="*/ 24 w 78"/>
              <a:gd name="T87" fmla="*/ 60 h 96"/>
              <a:gd name="T88" fmla="*/ 24 w 78"/>
              <a:gd name="T89" fmla="*/ 60 h 96"/>
              <a:gd name="T90" fmla="*/ 18 w 78"/>
              <a:gd name="T91" fmla="*/ 54 h 96"/>
              <a:gd name="T92" fmla="*/ 18 w 78"/>
              <a:gd name="T93" fmla="*/ 54 h 96"/>
              <a:gd name="T94" fmla="*/ 18 w 78"/>
              <a:gd name="T95" fmla="*/ 54 h 96"/>
              <a:gd name="T96" fmla="*/ 12 w 78"/>
              <a:gd name="T97" fmla="*/ 48 h 96"/>
              <a:gd name="T98" fmla="*/ 12 w 78"/>
              <a:gd name="T99" fmla="*/ 42 h 96"/>
              <a:gd name="T100" fmla="*/ 6 w 78"/>
              <a:gd name="T101" fmla="*/ 42 h 96"/>
              <a:gd name="T102" fmla="*/ 6 w 78"/>
              <a:gd name="T103" fmla="*/ 36 h 96"/>
              <a:gd name="T104" fmla="*/ 0 w 78"/>
              <a:gd name="T105" fmla="*/ 30 h 96"/>
              <a:gd name="T106" fmla="*/ 0 w 78"/>
              <a:gd name="T107" fmla="*/ 3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78" h="96">
                <a:moveTo>
                  <a:pt x="6" y="24"/>
                </a:move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2"/>
                </a:lnTo>
                <a:lnTo>
                  <a:pt x="6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8"/>
                </a:lnTo>
                <a:lnTo>
                  <a:pt x="18" y="18"/>
                </a:lnTo>
                <a:lnTo>
                  <a:pt x="18" y="18"/>
                </a:lnTo>
                <a:lnTo>
                  <a:pt x="18" y="12"/>
                </a:lnTo>
                <a:lnTo>
                  <a:pt x="18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30" y="12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24"/>
                </a:lnTo>
                <a:lnTo>
                  <a:pt x="36" y="24"/>
                </a:lnTo>
                <a:lnTo>
                  <a:pt x="36" y="18"/>
                </a:lnTo>
                <a:lnTo>
                  <a:pt x="42" y="18"/>
                </a:lnTo>
                <a:lnTo>
                  <a:pt x="60" y="12"/>
                </a:lnTo>
                <a:lnTo>
                  <a:pt x="54" y="0"/>
                </a:lnTo>
                <a:lnTo>
                  <a:pt x="54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6"/>
                </a:lnTo>
                <a:lnTo>
                  <a:pt x="66" y="0"/>
                </a:lnTo>
                <a:lnTo>
                  <a:pt x="66" y="0"/>
                </a:lnTo>
                <a:lnTo>
                  <a:pt x="66" y="6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8" y="12"/>
                </a:lnTo>
                <a:lnTo>
                  <a:pt x="72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24"/>
                </a:lnTo>
                <a:lnTo>
                  <a:pt x="66" y="30"/>
                </a:lnTo>
                <a:lnTo>
                  <a:pt x="60" y="30"/>
                </a:lnTo>
                <a:lnTo>
                  <a:pt x="60" y="30"/>
                </a:lnTo>
                <a:lnTo>
                  <a:pt x="60" y="36"/>
                </a:lnTo>
                <a:lnTo>
                  <a:pt x="54" y="36"/>
                </a:lnTo>
                <a:lnTo>
                  <a:pt x="54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36" y="36"/>
                </a:lnTo>
                <a:lnTo>
                  <a:pt x="36" y="36"/>
                </a:lnTo>
                <a:lnTo>
                  <a:pt x="42" y="42"/>
                </a:lnTo>
                <a:lnTo>
                  <a:pt x="42" y="42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8" y="54"/>
                </a:lnTo>
                <a:lnTo>
                  <a:pt x="48" y="60"/>
                </a:lnTo>
                <a:lnTo>
                  <a:pt x="48" y="60"/>
                </a:lnTo>
                <a:lnTo>
                  <a:pt x="54" y="66"/>
                </a:lnTo>
                <a:lnTo>
                  <a:pt x="60" y="72"/>
                </a:lnTo>
                <a:lnTo>
                  <a:pt x="54" y="72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54" y="78"/>
                </a:lnTo>
                <a:lnTo>
                  <a:pt x="54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2" y="84"/>
                </a:lnTo>
                <a:lnTo>
                  <a:pt x="42" y="84"/>
                </a:lnTo>
                <a:lnTo>
                  <a:pt x="42" y="90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0" y="72"/>
                </a:lnTo>
                <a:lnTo>
                  <a:pt x="30" y="78"/>
                </a:lnTo>
                <a:lnTo>
                  <a:pt x="30" y="78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18" y="60"/>
                </a:lnTo>
                <a:lnTo>
                  <a:pt x="18" y="60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2" y="54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0"/>
                </a:lnTo>
                <a:lnTo>
                  <a:pt x="6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24"/>
                </a:lnTo>
                <a:lnTo>
                  <a:pt x="6" y="2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72" name="Freeform 205"/>
          <p:cNvSpPr>
            <a:spLocks/>
          </p:cNvSpPr>
          <p:nvPr/>
        </p:nvSpPr>
        <p:spPr bwMode="auto">
          <a:xfrm>
            <a:off x="8387202" y="2631766"/>
            <a:ext cx="83513" cy="83513"/>
          </a:xfrm>
          <a:custGeom>
            <a:avLst/>
            <a:gdLst>
              <a:gd name="T0" fmla="*/ 6 w 78"/>
              <a:gd name="T1" fmla="*/ 36 h 78"/>
              <a:gd name="T2" fmla="*/ 12 w 78"/>
              <a:gd name="T3" fmla="*/ 30 h 78"/>
              <a:gd name="T4" fmla="*/ 18 w 78"/>
              <a:gd name="T5" fmla="*/ 30 h 78"/>
              <a:gd name="T6" fmla="*/ 12 w 78"/>
              <a:gd name="T7" fmla="*/ 30 h 78"/>
              <a:gd name="T8" fmla="*/ 12 w 78"/>
              <a:gd name="T9" fmla="*/ 30 h 78"/>
              <a:gd name="T10" fmla="*/ 24 w 78"/>
              <a:gd name="T11" fmla="*/ 24 h 78"/>
              <a:gd name="T12" fmla="*/ 30 w 78"/>
              <a:gd name="T13" fmla="*/ 24 h 78"/>
              <a:gd name="T14" fmla="*/ 36 w 78"/>
              <a:gd name="T15" fmla="*/ 24 h 78"/>
              <a:gd name="T16" fmla="*/ 42 w 78"/>
              <a:gd name="T17" fmla="*/ 24 h 78"/>
              <a:gd name="T18" fmla="*/ 48 w 78"/>
              <a:gd name="T19" fmla="*/ 12 h 78"/>
              <a:gd name="T20" fmla="*/ 48 w 78"/>
              <a:gd name="T21" fmla="*/ 18 h 78"/>
              <a:gd name="T22" fmla="*/ 48 w 78"/>
              <a:gd name="T23" fmla="*/ 12 h 78"/>
              <a:gd name="T24" fmla="*/ 60 w 78"/>
              <a:gd name="T25" fmla="*/ 0 h 78"/>
              <a:gd name="T26" fmla="*/ 72 w 78"/>
              <a:gd name="T27" fmla="*/ 0 h 78"/>
              <a:gd name="T28" fmla="*/ 72 w 78"/>
              <a:gd name="T29" fmla="*/ 6 h 78"/>
              <a:gd name="T30" fmla="*/ 78 w 78"/>
              <a:gd name="T31" fmla="*/ 6 h 78"/>
              <a:gd name="T32" fmla="*/ 72 w 78"/>
              <a:gd name="T33" fmla="*/ 18 h 78"/>
              <a:gd name="T34" fmla="*/ 72 w 78"/>
              <a:gd name="T35" fmla="*/ 18 h 78"/>
              <a:gd name="T36" fmla="*/ 54 w 78"/>
              <a:gd name="T37" fmla="*/ 24 h 78"/>
              <a:gd name="T38" fmla="*/ 54 w 78"/>
              <a:gd name="T39" fmla="*/ 30 h 78"/>
              <a:gd name="T40" fmla="*/ 60 w 78"/>
              <a:gd name="T41" fmla="*/ 30 h 78"/>
              <a:gd name="T42" fmla="*/ 60 w 78"/>
              <a:gd name="T43" fmla="*/ 36 h 78"/>
              <a:gd name="T44" fmla="*/ 60 w 78"/>
              <a:gd name="T45" fmla="*/ 36 h 78"/>
              <a:gd name="T46" fmla="*/ 60 w 78"/>
              <a:gd name="T47" fmla="*/ 36 h 78"/>
              <a:gd name="T48" fmla="*/ 60 w 78"/>
              <a:gd name="T49" fmla="*/ 42 h 78"/>
              <a:gd name="T50" fmla="*/ 60 w 78"/>
              <a:gd name="T51" fmla="*/ 42 h 78"/>
              <a:gd name="T52" fmla="*/ 60 w 78"/>
              <a:gd name="T53" fmla="*/ 42 h 78"/>
              <a:gd name="T54" fmla="*/ 54 w 78"/>
              <a:gd name="T55" fmla="*/ 48 h 78"/>
              <a:gd name="T56" fmla="*/ 48 w 78"/>
              <a:gd name="T57" fmla="*/ 48 h 78"/>
              <a:gd name="T58" fmla="*/ 36 w 78"/>
              <a:gd name="T59" fmla="*/ 42 h 78"/>
              <a:gd name="T60" fmla="*/ 42 w 78"/>
              <a:gd name="T61" fmla="*/ 66 h 78"/>
              <a:gd name="T62" fmla="*/ 42 w 78"/>
              <a:gd name="T63" fmla="*/ 72 h 78"/>
              <a:gd name="T64" fmla="*/ 48 w 78"/>
              <a:gd name="T65" fmla="*/ 72 h 78"/>
              <a:gd name="T66" fmla="*/ 42 w 78"/>
              <a:gd name="T67" fmla="*/ 72 h 78"/>
              <a:gd name="T68" fmla="*/ 42 w 78"/>
              <a:gd name="T69" fmla="*/ 72 h 78"/>
              <a:gd name="T70" fmla="*/ 42 w 78"/>
              <a:gd name="T71" fmla="*/ 78 h 78"/>
              <a:gd name="T72" fmla="*/ 36 w 78"/>
              <a:gd name="T73" fmla="*/ 78 h 78"/>
              <a:gd name="T74" fmla="*/ 36 w 78"/>
              <a:gd name="T75" fmla="*/ 72 h 78"/>
              <a:gd name="T76" fmla="*/ 36 w 78"/>
              <a:gd name="T77" fmla="*/ 78 h 78"/>
              <a:gd name="T78" fmla="*/ 30 w 78"/>
              <a:gd name="T79" fmla="*/ 72 h 78"/>
              <a:gd name="T80" fmla="*/ 30 w 78"/>
              <a:gd name="T81" fmla="*/ 72 h 78"/>
              <a:gd name="T82" fmla="*/ 24 w 78"/>
              <a:gd name="T83" fmla="*/ 72 h 78"/>
              <a:gd name="T84" fmla="*/ 24 w 78"/>
              <a:gd name="T85" fmla="*/ 66 h 78"/>
              <a:gd name="T86" fmla="*/ 18 w 78"/>
              <a:gd name="T87" fmla="*/ 66 h 78"/>
              <a:gd name="T88" fmla="*/ 18 w 78"/>
              <a:gd name="T89" fmla="*/ 66 h 78"/>
              <a:gd name="T90" fmla="*/ 18 w 78"/>
              <a:gd name="T91" fmla="*/ 66 h 78"/>
              <a:gd name="T92" fmla="*/ 18 w 78"/>
              <a:gd name="T93" fmla="*/ 60 h 78"/>
              <a:gd name="T94" fmla="*/ 18 w 78"/>
              <a:gd name="T95" fmla="*/ 60 h 78"/>
              <a:gd name="T96" fmla="*/ 12 w 78"/>
              <a:gd name="T97" fmla="*/ 60 h 78"/>
              <a:gd name="T98" fmla="*/ 12 w 78"/>
              <a:gd name="T99" fmla="*/ 60 h 78"/>
              <a:gd name="T100" fmla="*/ 12 w 78"/>
              <a:gd name="T101" fmla="*/ 60 h 78"/>
              <a:gd name="T102" fmla="*/ 12 w 78"/>
              <a:gd name="T103" fmla="*/ 60 h 78"/>
              <a:gd name="T104" fmla="*/ 6 w 78"/>
              <a:gd name="T105" fmla="*/ 54 h 78"/>
              <a:gd name="T106" fmla="*/ 6 w 78"/>
              <a:gd name="T107" fmla="*/ 60 h 78"/>
              <a:gd name="T108" fmla="*/ 6 w 78"/>
              <a:gd name="T109" fmla="*/ 60 h 78"/>
              <a:gd name="T110" fmla="*/ 6 w 78"/>
              <a:gd name="T111" fmla="*/ 54 h 78"/>
              <a:gd name="T112" fmla="*/ 6 w 78"/>
              <a:gd name="T113" fmla="*/ 54 h 78"/>
              <a:gd name="T114" fmla="*/ 0 w 78"/>
              <a:gd name="T115" fmla="*/ 54 h 78"/>
              <a:gd name="T116" fmla="*/ 0 w 78"/>
              <a:gd name="T117" fmla="*/ 54 h 78"/>
              <a:gd name="T118" fmla="*/ 0 w 78"/>
              <a:gd name="T119" fmla="*/ 54 h 78"/>
              <a:gd name="T120" fmla="*/ 0 w 78"/>
              <a:gd name="T121" fmla="*/ 48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78" h="78">
                <a:moveTo>
                  <a:pt x="0" y="48"/>
                </a:move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8" y="30"/>
                </a:lnTo>
                <a:lnTo>
                  <a:pt x="18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8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42" y="24"/>
                </a:lnTo>
                <a:lnTo>
                  <a:pt x="42" y="24"/>
                </a:lnTo>
                <a:lnTo>
                  <a:pt x="42" y="18"/>
                </a:lnTo>
                <a:lnTo>
                  <a:pt x="48" y="12"/>
                </a:lnTo>
                <a:lnTo>
                  <a:pt x="48" y="18"/>
                </a:lnTo>
                <a:lnTo>
                  <a:pt x="48" y="12"/>
                </a:lnTo>
                <a:lnTo>
                  <a:pt x="48" y="18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60" y="6"/>
                </a:lnTo>
                <a:lnTo>
                  <a:pt x="60" y="0"/>
                </a:lnTo>
                <a:lnTo>
                  <a:pt x="66" y="0"/>
                </a:lnTo>
                <a:lnTo>
                  <a:pt x="66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78" y="6"/>
                </a:lnTo>
                <a:lnTo>
                  <a:pt x="78" y="12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66" y="24"/>
                </a:lnTo>
                <a:lnTo>
                  <a:pt x="54" y="24"/>
                </a:lnTo>
                <a:lnTo>
                  <a:pt x="54" y="24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54" y="42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2" y="42"/>
                </a:lnTo>
                <a:lnTo>
                  <a:pt x="36" y="42"/>
                </a:lnTo>
                <a:lnTo>
                  <a:pt x="48" y="54"/>
                </a:lnTo>
                <a:lnTo>
                  <a:pt x="42" y="66"/>
                </a:lnTo>
                <a:lnTo>
                  <a:pt x="42" y="66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2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66"/>
                </a:lnTo>
                <a:lnTo>
                  <a:pt x="24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8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6" y="54"/>
                </a:lnTo>
                <a:lnTo>
                  <a:pt x="6" y="54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4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73" name="Freeform 206"/>
          <p:cNvSpPr>
            <a:spLocks/>
          </p:cNvSpPr>
          <p:nvPr/>
        </p:nvSpPr>
        <p:spPr bwMode="auto">
          <a:xfrm>
            <a:off x="8425746" y="2612493"/>
            <a:ext cx="77089" cy="102786"/>
          </a:xfrm>
          <a:custGeom>
            <a:avLst/>
            <a:gdLst>
              <a:gd name="T0" fmla="*/ 12 w 72"/>
              <a:gd name="T1" fmla="*/ 66 h 96"/>
              <a:gd name="T2" fmla="*/ 18 w 72"/>
              <a:gd name="T3" fmla="*/ 66 h 96"/>
              <a:gd name="T4" fmla="*/ 18 w 72"/>
              <a:gd name="T5" fmla="*/ 60 h 96"/>
              <a:gd name="T6" fmla="*/ 24 w 72"/>
              <a:gd name="T7" fmla="*/ 60 h 96"/>
              <a:gd name="T8" fmla="*/ 24 w 72"/>
              <a:gd name="T9" fmla="*/ 60 h 96"/>
              <a:gd name="T10" fmla="*/ 24 w 72"/>
              <a:gd name="T11" fmla="*/ 54 h 96"/>
              <a:gd name="T12" fmla="*/ 24 w 72"/>
              <a:gd name="T13" fmla="*/ 54 h 96"/>
              <a:gd name="T14" fmla="*/ 24 w 72"/>
              <a:gd name="T15" fmla="*/ 54 h 96"/>
              <a:gd name="T16" fmla="*/ 24 w 72"/>
              <a:gd name="T17" fmla="*/ 48 h 96"/>
              <a:gd name="T18" fmla="*/ 18 w 72"/>
              <a:gd name="T19" fmla="*/ 48 h 96"/>
              <a:gd name="T20" fmla="*/ 18 w 72"/>
              <a:gd name="T21" fmla="*/ 48 h 96"/>
              <a:gd name="T22" fmla="*/ 30 w 72"/>
              <a:gd name="T23" fmla="*/ 42 h 96"/>
              <a:gd name="T24" fmla="*/ 36 w 72"/>
              <a:gd name="T25" fmla="*/ 36 h 96"/>
              <a:gd name="T26" fmla="*/ 42 w 72"/>
              <a:gd name="T27" fmla="*/ 30 h 96"/>
              <a:gd name="T28" fmla="*/ 36 w 72"/>
              <a:gd name="T29" fmla="*/ 24 h 96"/>
              <a:gd name="T30" fmla="*/ 36 w 72"/>
              <a:gd name="T31" fmla="*/ 18 h 96"/>
              <a:gd name="T32" fmla="*/ 24 w 72"/>
              <a:gd name="T33" fmla="*/ 12 h 96"/>
              <a:gd name="T34" fmla="*/ 30 w 72"/>
              <a:gd name="T35" fmla="*/ 6 h 96"/>
              <a:gd name="T36" fmla="*/ 48 w 72"/>
              <a:gd name="T37" fmla="*/ 0 h 96"/>
              <a:gd name="T38" fmla="*/ 48 w 72"/>
              <a:gd name="T39" fmla="*/ 12 h 96"/>
              <a:gd name="T40" fmla="*/ 48 w 72"/>
              <a:gd name="T41" fmla="*/ 18 h 96"/>
              <a:gd name="T42" fmla="*/ 54 w 72"/>
              <a:gd name="T43" fmla="*/ 18 h 96"/>
              <a:gd name="T44" fmla="*/ 54 w 72"/>
              <a:gd name="T45" fmla="*/ 24 h 96"/>
              <a:gd name="T46" fmla="*/ 60 w 72"/>
              <a:gd name="T47" fmla="*/ 30 h 96"/>
              <a:gd name="T48" fmla="*/ 66 w 72"/>
              <a:gd name="T49" fmla="*/ 30 h 96"/>
              <a:gd name="T50" fmla="*/ 72 w 72"/>
              <a:gd name="T51" fmla="*/ 36 h 96"/>
              <a:gd name="T52" fmla="*/ 72 w 72"/>
              <a:gd name="T53" fmla="*/ 42 h 96"/>
              <a:gd name="T54" fmla="*/ 72 w 72"/>
              <a:gd name="T55" fmla="*/ 42 h 96"/>
              <a:gd name="T56" fmla="*/ 54 w 72"/>
              <a:gd name="T57" fmla="*/ 66 h 96"/>
              <a:gd name="T58" fmla="*/ 48 w 72"/>
              <a:gd name="T59" fmla="*/ 78 h 96"/>
              <a:gd name="T60" fmla="*/ 48 w 72"/>
              <a:gd name="T61" fmla="*/ 78 h 96"/>
              <a:gd name="T62" fmla="*/ 42 w 72"/>
              <a:gd name="T63" fmla="*/ 84 h 96"/>
              <a:gd name="T64" fmla="*/ 36 w 72"/>
              <a:gd name="T65" fmla="*/ 90 h 96"/>
              <a:gd name="T66" fmla="*/ 30 w 72"/>
              <a:gd name="T67" fmla="*/ 90 h 96"/>
              <a:gd name="T68" fmla="*/ 24 w 72"/>
              <a:gd name="T69" fmla="*/ 96 h 96"/>
              <a:gd name="T70" fmla="*/ 18 w 72"/>
              <a:gd name="T71" fmla="*/ 96 h 96"/>
              <a:gd name="T72" fmla="*/ 18 w 72"/>
              <a:gd name="T73" fmla="*/ 90 h 96"/>
              <a:gd name="T74" fmla="*/ 18 w 72"/>
              <a:gd name="T75" fmla="*/ 96 h 96"/>
              <a:gd name="T76" fmla="*/ 18 w 72"/>
              <a:gd name="T77" fmla="*/ 90 h 96"/>
              <a:gd name="T78" fmla="*/ 12 w 72"/>
              <a:gd name="T79" fmla="*/ 90 h 96"/>
              <a:gd name="T80" fmla="*/ 12 w 72"/>
              <a:gd name="T81" fmla="*/ 90 h 96"/>
              <a:gd name="T82" fmla="*/ 12 w 72"/>
              <a:gd name="T83" fmla="*/ 90 h 96"/>
              <a:gd name="T84" fmla="*/ 6 w 72"/>
              <a:gd name="T85" fmla="*/ 90 h 96"/>
              <a:gd name="T86" fmla="*/ 12 w 72"/>
              <a:gd name="T87" fmla="*/ 7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2" h="96">
                <a:moveTo>
                  <a:pt x="0" y="60"/>
                </a:moveTo>
                <a:lnTo>
                  <a:pt x="6" y="60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2"/>
                </a:lnTo>
                <a:lnTo>
                  <a:pt x="18" y="42"/>
                </a:lnTo>
                <a:lnTo>
                  <a:pt x="30" y="42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42" y="30"/>
                </a:lnTo>
                <a:lnTo>
                  <a:pt x="42" y="24"/>
                </a:lnTo>
                <a:lnTo>
                  <a:pt x="42" y="24"/>
                </a:lnTo>
                <a:lnTo>
                  <a:pt x="36" y="24"/>
                </a:lnTo>
                <a:lnTo>
                  <a:pt x="36" y="24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0" y="18"/>
                </a:lnTo>
                <a:lnTo>
                  <a:pt x="24" y="12"/>
                </a:lnTo>
                <a:lnTo>
                  <a:pt x="30" y="12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42" y="0"/>
                </a:lnTo>
                <a:lnTo>
                  <a:pt x="48" y="0"/>
                </a:lnTo>
                <a:lnTo>
                  <a:pt x="48" y="0"/>
                </a:lnTo>
                <a:lnTo>
                  <a:pt x="48" y="12"/>
                </a:lnTo>
                <a:lnTo>
                  <a:pt x="48" y="12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54" y="18"/>
                </a:lnTo>
                <a:lnTo>
                  <a:pt x="54" y="18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60" y="30"/>
                </a:lnTo>
                <a:lnTo>
                  <a:pt x="60" y="30"/>
                </a:lnTo>
                <a:lnTo>
                  <a:pt x="66" y="30"/>
                </a:lnTo>
                <a:lnTo>
                  <a:pt x="66" y="30"/>
                </a:lnTo>
                <a:lnTo>
                  <a:pt x="66" y="36"/>
                </a:lnTo>
                <a:lnTo>
                  <a:pt x="66" y="36"/>
                </a:lnTo>
                <a:lnTo>
                  <a:pt x="72" y="36"/>
                </a:lnTo>
                <a:lnTo>
                  <a:pt x="72" y="36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66" y="48"/>
                </a:lnTo>
                <a:lnTo>
                  <a:pt x="60" y="60"/>
                </a:lnTo>
                <a:lnTo>
                  <a:pt x="54" y="66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36" y="84"/>
                </a:lnTo>
                <a:lnTo>
                  <a:pt x="36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24" y="90"/>
                </a:lnTo>
                <a:lnTo>
                  <a:pt x="24" y="90"/>
                </a:lnTo>
                <a:lnTo>
                  <a:pt x="24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6"/>
                </a:lnTo>
                <a:lnTo>
                  <a:pt x="18" y="96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84"/>
                </a:lnTo>
                <a:lnTo>
                  <a:pt x="6" y="84"/>
                </a:lnTo>
                <a:lnTo>
                  <a:pt x="12" y="72"/>
                </a:lnTo>
                <a:lnTo>
                  <a:pt x="0" y="6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74" name="Freeform 207"/>
          <p:cNvSpPr>
            <a:spLocks/>
          </p:cNvSpPr>
          <p:nvPr/>
        </p:nvSpPr>
        <p:spPr bwMode="auto">
          <a:xfrm>
            <a:off x="8387202" y="2593221"/>
            <a:ext cx="70665" cy="64241"/>
          </a:xfrm>
          <a:custGeom>
            <a:avLst/>
            <a:gdLst>
              <a:gd name="T0" fmla="*/ 6 w 66"/>
              <a:gd name="T1" fmla="*/ 24 h 60"/>
              <a:gd name="T2" fmla="*/ 6 w 66"/>
              <a:gd name="T3" fmla="*/ 24 h 60"/>
              <a:gd name="T4" fmla="*/ 12 w 66"/>
              <a:gd name="T5" fmla="*/ 24 h 60"/>
              <a:gd name="T6" fmla="*/ 12 w 66"/>
              <a:gd name="T7" fmla="*/ 24 h 60"/>
              <a:gd name="T8" fmla="*/ 18 w 66"/>
              <a:gd name="T9" fmla="*/ 24 h 60"/>
              <a:gd name="T10" fmla="*/ 24 w 66"/>
              <a:gd name="T11" fmla="*/ 18 h 60"/>
              <a:gd name="T12" fmla="*/ 30 w 66"/>
              <a:gd name="T13" fmla="*/ 18 h 60"/>
              <a:gd name="T14" fmla="*/ 36 w 66"/>
              <a:gd name="T15" fmla="*/ 6 h 60"/>
              <a:gd name="T16" fmla="*/ 36 w 66"/>
              <a:gd name="T17" fmla="*/ 6 h 60"/>
              <a:gd name="T18" fmla="*/ 42 w 66"/>
              <a:gd name="T19" fmla="*/ 6 h 60"/>
              <a:gd name="T20" fmla="*/ 42 w 66"/>
              <a:gd name="T21" fmla="*/ 0 h 60"/>
              <a:gd name="T22" fmla="*/ 42 w 66"/>
              <a:gd name="T23" fmla="*/ 0 h 60"/>
              <a:gd name="T24" fmla="*/ 42 w 66"/>
              <a:gd name="T25" fmla="*/ 0 h 60"/>
              <a:gd name="T26" fmla="*/ 48 w 66"/>
              <a:gd name="T27" fmla="*/ 0 h 60"/>
              <a:gd name="T28" fmla="*/ 48 w 66"/>
              <a:gd name="T29" fmla="*/ 0 h 60"/>
              <a:gd name="T30" fmla="*/ 48 w 66"/>
              <a:gd name="T31" fmla="*/ 6 h 60"/>
              <a:gd name="T32" fmla="*/ 48 w 66"/>
              <a:gd name="T33" fmla="*/ 6 h 60"/>
              <a:gd name="T34" fmla="*/ 48 w 66"/>
              <a:gd name="T35" fmla="*/ 6 h 60"/>
              <a:gd name="T36" fmla="*/ 48 w 66"/>
              <a:gd name="T37" fmla="*/ 12 h 60"/>
              <a:gd name="T38" fmla="*/ 48 w 66"/>
              <a:gd name="T39" fmla="*/ 12 h 60"/>
              <a:gd name="T40" fmla="*/ 48 w 66"/>
              <a:gd name="T41" fmla="*/ 18 h 60"/>
              <a:gd name="T42" fmla="*/ 48 w 66"/>
              <a:gd name="T43" fmla="*/ 18 h 60"/>
              <a:gd name="T44" fmla="*/ 54 w 66"/>
              <a:gd name="T45" fmla="*/ 18 h 60"/>
              <a:gd name="T46" fmla="*/ 54 w 66"/>
              <a:gd name="T47" fmla="*/ 18 h 60"/>
              <a:gd name="T48" fmla="*/ 60 w 66"/>
              <a:gd name="T49" fmla="*/ 18 h 60"/>
              <a:gd name="T50" fmla="*/ 60 w 66"/>
              <a:gd name="T51" fmla="*/ 18 h 60"/>
              <a:gd name="T52" fmla="*/ 60 w 66"/>
              <a:gd name="T53" fmla="*/ 18 h 60"/>
              <a:gd name="T54" fmla="*/ 66 w 66"/>
              <a:gd name="T55" fmla="*/ 18 h 60"/>
              <a:gd name="T56" fmla="*/ 66 w 66"/>
              <a:gd name="T57" fmla="*/ 18 h 60"/>
              <a:gd name="T58" fmla="*/ 66 w 66"/>
              <a:gd name="T59" fmla="*/ 18 h 60"/>
              <a:gd name="T60" fmla="*/ 66 w 66"/>
              <a:gd name="T61" fmla="*/ 24 h 60"/>
              <a:gd name="T62" fmla="*/ 66 w 66"/>
              <a:gd name="T63" fmla="*/ 24 h 60"/>
              <a:gd name="T64" fmla="*/ 66 w 66"/>
              <a:gd name="T65" fmla="*/ 24 h 60"/>
              <a:gd name="T66" fmla="*/ 66 w 66"/>
              <a:gd name="T67" fmla="*/ 24 h 60"/>
              <a:gd name="T68" fmla="*/ 66 w 66"/>
              <a:gd name="T69" fmla="*/ 24 h 60"/>
              <a:gd name="T70" fmla="*/ 60 w 66"/>
              <a:gd name="T71" fmla="*/ 30 h 60"/>
              <a:gd name="T72" fmla="*/ 66 w 66"/>
              <a:gd name="T73" fmla="*/ 36 h 60"/>
              <a:gd name="T74" fmla="*/ 60 w 66"/>
              <a:gd name="T75" fmla="*/ 42 h 60"/>
              <a:gd name="T76" fmla="*/ 48 w 66"/>
              <a:gd name="T77" fmla="*/ 48 h 60"/>
              <a:gd name="T78" fmla="*/ 48 w 66"/>
              <a:gd name="T79" fmla="*/ 48 h 60"/>
              <a:gd name="T80" fmla="*/ 48 w 66"/>
              <a:gd name="T81" fmla="*/ 48 h 60"/>
              <a:gd name="T82" fmla="*/ 48 w 66"/>
              <a:gd name="T83" fmla="*/ 48 h 60"/>
              <a:gd name="T84" fmla="*/ 42 w 66"/>
              <a:gd name="T85" fmla="*/ 60 h 60"/>
              <a:gd name="T86" fmla="*/ 36 w 66"/>
              <a:gd name="T87" fmla="*/ 60 h 60"/>
              <a:gd name="T88" fmla="*/ 36 w 66"/>
              <a:gd name="T89" fmla="*/ 60 h 60"/>
              <a:gd name="T90" fmla="*/ 30 w 66"/>
              <a:gd name="T91" fmla="*/ 60 h 60"/>
              <a:gd name="T92" fmla="*/ 30 w 66"/>
              <a:gd name="T93" fmla="*/ 60 h 60"/>
              <a:gd name="T94" fmla="*/ 24 w 66"/>
              <a:gd name="T95" fmla="*/ 60 h 60"/>
              <a:gd name="T96" fmla="*/ 18 w 66"/>
              <a:gd name="T97" fmla="*/ 54 h 60"/>
              <a:gd name="T98" fmla="*/ 12 w 66"/>
              <a:gd name="T99" fmla="*/ 48 h 60"/>
              <a:gd name="T100" fmla="*/ 6 w 66"/>
              <a:gd name="T101" fmla="*/ 42 h 60"/>
              <a:gd name="T102" fmla="*/ 6 w 66"/>
              <a:gd name="T103" fmla="*/ 42 h 60"/>
              <a:gd name="T104" fmla="*/ 6 w 66"/>
              <a:gd name="T105" fmla="*/ 42 h 60"/>
              <a:gd name="T106" fmla="*/ 6 w 66"/>
              <a:gd name="T107" fmla="*/ 36 h 60"/>
              <a:gd name="T108" fmla="*/ 6 w 66"/>
              <a:gd name="T109" fmla="*/ 36 h 60"/>
              <a:gd name="T110" fmla="*/ 6 w 66"/>
              <a:gd name="T111" fmla="*/ 30 h 60"/>
              <a:gd name="T112" fmla="*/ 0 w 66"/>
              <a:gd name="T113" fmla="*/ 24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6" h="60">
                <a:moveTo>
                  <a:pt x="0" y="24"/>
                </a:move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8" y="24"/>
                </a:lnTo>
                <a:lnTo>
                  <a:pt x="18" y="24"/>
                </a:lnTo>
                <a:lnTo>
                  <a:pt x="24" y="24"/>
                </a:lnTo>
                <a:lnTo>
                  <a:pt x="24" y="18"/>
                </a:lnTo>
                <a:lnTo>
                  <a:pt x="24" y="18"/>
                </a:lnTo>
                <a:lnTo>
                  <a:pt x="30" y="18"/>
                </a:lnTo>
                <a:lnTo>
                  <a:pt x="36" y="12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0"/>
                </a:lnTo>
                <a:lnTo>
                  <a:pt x="42" y="0"/>
                </a:lnTo>
                <a:lnTo>
                  <a:pt x="42" y="6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24"/>
                </a:lnTo>
                <a:lnTo>
                  <a:pt x="66" y="24"/>
                </a:lnTo>
                <a:lnTo>
                  <a:pt x="66" y="18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30"/>
                </a:lnTo>
                <a:lnTo>
                  <a:pt x="60" y="30"/>
                </a:lnTo>
                <a:lnTo>
                  <a:pt x="66" y="36"/>
                </a:lnTo>
                <a:lnTo>
                  <a:pt x="66" y="36"/>
                </a:lnTo>
                <a:lnTo>
                  <a:pt x="60" y="36"/>
                </a:lnTo>
                <a:lnTo>
                  <a:pt x="60" y="42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54"/>
                </a:lnTo>
                <a:lnTo>
                  <a:pt x="48" y="48"/>
                </a:lnTo>
                <a:lnTo>
                  <a:pt x="48" y="54"/>
                </a:lnTo>
                <a:lnTo>
                  <a:pt x="48" y="48"/>
                </a:lnTo>
                <a:lnTo>
                  <a:pt x="42" y="54"/>
                </a:lnTo>
                <a:lnTo>
                  <a:pt x="42" y="60"/>
                </a:lnTo>
                <a:lnTo>
                  <a:pt x="42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18" y="54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0" y="24"/>
                </a:lnTo>
                <a:lnTo>
                  <a:pt x="0" y="2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75" name="Freeform 208"/>
          <p:cNvSpPr>
            <a:spLocks/>
          </p:cNvSpPr>
          <p:nvPr/>
        </p:nvSpPr>
        <p:spPr bwMode="auto">
          <a:xfrm>
            <a:off x="8464291" y="2522556"/>
            <a:ext cx="77089" cy="64241"/>
          </a:xfrm>
          <a:custGeom>
            <a:avLst/>
            <a:gdLst>
              <a:gd name="T0" fmla="*/ 6 w 72"/>
              <a:gd name="T1" fmla="*/ 18 h 60"/>
              <a:gd name="T2" fmla="*/ 0 w 72"/>
              <a:gd name="T3" fmla="*/ 6 h 60"/>
              <a:gd name="T4" fmla="*/ 6 w 72"/>
              <a:gd name="T5" fmla="*/ 12 h 60"/>
              <a:gd name="T6" fmla="*/ 6 w 72"/>
              <a:gd name="T7" fmla="*/ 18 h 60"/>
              <a:gd name="T8" fmla="*/ 6 w 72"/>
              <a:gd name="T9" fmla="*/ 18 h 60"/>
              <a:gd name="T10" fmla="*/ 6 w 72"/>
              <a:gd name="T11" fmla="*/ 18 h 60"/>
              <a:gd name="T12" fmla="*/ 12 w 72"/>
              <a:gd name="T13" fmla="*/ 18 h 60"/>
              <a:gd name="T14" fmla="*/ 12 w 72"/>
              <a:gd name="T15" fmla="*/ 24 h 60"/>
              <a:gd name="T16" fmla="*/ 12 w 72"/>
              <a:gd name="T17" fmla="*/ 24 h 60"/>
              <a:gd name="T18" fmla="*/ 12 w 72"/>
              <a:gd name="T19" fmla="*/ 24 h 60"/>
              <a:gd name="T20" fmla="*/ 12 w 72"/>
              <a:gd name="T21" fmla="*/ 24 h 60"/>
              <a:gd name="T22" fmla="*/ 18 w 72"/>
              <a:gd name="T23" fmla="*/ 18 h 60"/>
              <a:gd name="T24" fmla="*/ 18 w 72"/>
              <a:gd name="T25" fmla="*/ 18 h 60"/>
              <a:gd name="T26" fmla="*/ 24 w 72"/>
              <a:gd name="T27" fmla="*/ 12 h 60"/>
              <a:gd name="T28" fmla="*/ 24 w 72"/>
              <a:gd name="T29" fmla="*/ 12 h 60"/>
              <a:gd name="T30" fmla="*/ 24 w 72"/>
              <a:gd name="T31" fmla="*/ 6 h 60"/>
              <a:gd name="T32" fmla="*/ 24 w 72"/>
              <a:gd name="T33" fmla="*/ 12 h 60"/>
              <a:gd name="T34" fmla="*/ 30 w 72"/>
              <a:gd name="T35" fmla="*/ 12 h 60"/>
              <a:gd name="T36" fmla="*/ 30 w 72"/>
              <a:gd name="T37" fmla="*/ 18 h 60"/>
              <a:gd name="T38" fmla="*/ 36 w 72"/>
              <a:gd name="T39" fmla="*/ 18 h 60"/>
              <a:gd name="T40" fmla="*/ 36 w 72"/>
              <a:gd name="T41" fmla="*/ 18 h 60"/>
              <a:gd name="T42" fmla="*/ 36 w 72"/>
              <a:gd name="T43" fmla="*/ 18 h 60"/>
              <a:gd name="T44" fmla="*/ 36 w 72"/>
              <a:gd name="T45" fmla="*/ 18 h 60"/>
              <a:gd name="T46" fmla="*/ 36 w 72"/>
              <a:gd name="T47" fmla="*/ 18 h 60"/>
              <a:gd name="T48" fmla="*/ 36 w 72"/>
              <a:gd name="T49" fmla="*/ 12 h 60"/>
              <a:gd name="T50" fmla="*/ 36 w 72"/>
              <a:gd name="T51" fmla="*/ 12 h 60"/>
              <a:gd name="T52" fmla="*/ 36 w 72"/>
              <a:gd name="T53" fmla="*/ 6 h 60"/>
              <a:gd name="T54" fmla="*/ 36 w 72"/>
              <a:gd name="T55" fmla="*/ 0 h 60"/>
              <a:gd name="T56" fmla="*/ 54 w 72"/>
              <a:gd name="T57" fmla="*/ 0 h 60"/>
              <a:gd name="T58" fmla="*/ 66 w 72"/>
              <a:gd name="T59" fmla="*/ 6 h 60"/>
              <a:gd name="T60" fmla="*/ 66 w 72"/>
              <a:gd name="T61" fmla="*/ 18 h 60"/>
              <a:gd name="T62" fmla="*/ 66 w 72"/>
              <a:gd name="T63" fmla="*/ 24 h 60"/>
              <a:gd name="T64" fmla="*/ 66 w 72"/>
              <a:gd name="T65" fmla="*/ 30 h 60"/>
              <a:gd name="T66" fmla="*/ 66 w 72"/>
              <a:gd name="T67" fmla="*/ 30 h 60"/>
              <a:gd name="T68" fmla="*/ 66 w 72"/>
              <a:gd name="T69" fmla="*/ 36 h 60"/>
              <a:gd name="T70" fmla="*/ 60 w 72"/>
              <a:gd name="T71" fmla="*/ 36 h 60"/>
              <a:gd name="T72" fmla="*/ 60 w 72"/>
              <a:gd name="T73" fmla="*/ 24 h 60"/>
              <a:gd name="T74" fmla="*/ 60 w 72"/>
              <a:gd name="T75" fmla="*/ 24 h 60"/>
              <a:gd name="T76" fmla="*/ 54 w 72"/>
              <a:gd name="T77" fmla="*/ 24 h 60"/>
              <a:gd name="T78" fmla="*/ 54 w 72"/>
              <a:gd name="T79" fmla="*/ 18 h 60"/>
              <a:gd name="T80" fmla="*/ 54 w 72"/>
              <a:gd name="T81" fmla="*/ 18 h 60"/>
              <a:gd name="T82" fmla="*/ 48 w 72"/>
              <a:gd name="T83" fmla="*/ 18 h 60"/>
              <a:gd name="T84" fmla="*/ 42 w 72"/>
              <a:gd name="T85" fmla="*/ 24 h 60"/>
              <a:gd name="T86" fmla="*/ 42 w 72"/>
              <a:gd name="T87" fmla="*/ 24 h 60"/>
              <a:gd name="T88" fmla="*/ 36 w 72"/>
              <a:gd name="T89" fmla="*/ 24 h 60"/>
              <a:gd name="T90" fmla="*/ 42 w 72"/>
              <a:gd name="T91" fmla="*/ 30 h 60"/>
              <a:gd name="T92" fmla="*/ 36 w 72"/>
              <a:gd name="T93" fmla="*/ 36 h 60"/>
              <a:gd name="T94" fmla="*/ 36 w 72"/>
              <a:gd name="T95" fmla="*/ 48 h 60"/>
              <a:gd name="T96" fmla="*/ 30 w 72"/>
              <a:gd name="T97" fmla="*/ 54 h 60"/>
              <a:gd name="T98" fmla="*/ 30 w 72"/>
              <a:gd name="T99" fmla="*/ 54 h 60"/>
              <a:gd name="T100" fmla="*/ 24 w 72"/>
              <a:gd name="T101" fmla="*/ 54 h 60"/>
              <a:gd name="T102" fmla="*/ 18 w 72"/>
              <a:gd name="T103" fmla="*/ 48 h 60"/>
              <a:gd name="T104" fmla="*/ 18 w 72"/>
              <a:gd name="T105" fmla="*/ 48 h 60"/>
              <a:gd name="T106" fmla="*/ 12 w 72"/>
              <a:gd name="T107" fmla="*/ 42 h 60"/>
              <a:gd name="T108" fmla="*/ 6 w 72"/>
              <a:gd name="T109" fmla="*/ 36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72" h="60">
                <a:moveTo>
                  <a:pt x="0" y="30"/>
                </a:moveTo>
                <a:lnTo>
                  <a:pt x="0" y="24"/>
                </a:lnTo>
                <a:lnTo>
                  <a:pt x="0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2"/>
                </a:lnTo>
                <a:lnTo>
                  <a:pt x="0" y="6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8" y="24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24" y="18"/>
                </a:lnTo>
                <a:lnTo>
                  <a:pt x="24" y="18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18" y="12"/>
                </a:lnTo>
                <a:lnTo>
                  <a:pt x="24" y="6"/>
                </a:lnTo>
                <a:lnTo>
                  <a:pt x="24" y="6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30" y="18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48" y="0"/>
                </a:lnTo>
                <a:lnTo>
                  <a:pt x="54" y="0"/>
                </a:lnTo>
                <a:lnTo>
                  <a:pt x="54" y="0"/>
                </a:lnTo>
                <a:lnTo>
                  <a:pt x="60" y="0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0" y="12"/>
                </a:lnTo>
                <a:lnTo>
                  <a:pt x="66" y="12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72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36" y="24"/>
                </a:lnTo>
                <a:lnTo>
                  <a:pt x="42" y="24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36" y="36"/>
                </a:lnTo>
                <a:lnTo>
                  <a:pt x="36" y="36"/>
                </a:lnTo>
                <a:lnTo>
                  <a:pt x="36" y="42"/>
                </a:lnTo>
                <a:lnTo>
                  <a:pt x="30" y="48"/>
                </a:lnTo>
                <a:lnTo>
                  <a:pt x="36" y="48"/>
                </a:lnTo>
                <a:lnTo>
                  <a:pt x="36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60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18" y="54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12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0" y="3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76" name="Freeform 209"/>
          <p:cNvSpPr>
            <a:spLocks/>
          </p:cNvSpPr>
          <p:nvPr/>
        </p:nvSpPr>
        <p:spPr bwMode="auto">
          <a:xfrm>
            <a:off x="8432170" y="2573949"/>
            <a:ext cx="57816" cy="44969"/>
          </a:xfrm>
          <a:custGeom>
            <a:avLst/>
            <a:gdLst>
              <a:gd name="T0" fmla="*/ 0 w 54"/>
              <a:gd name="T1" fmla="*/ 18 h 42"/>
              <a:gd name="T2" fmla="*/ 0 w 54"/>
              <a:gd name="T3" fmla="*/ 18 h 42"/>
              <a:gd name="T4" fmla="*/ 0 w 54"/>
              <a:gd name="T5" fmla="*/ 18 h 42"/>
              <a:gd name="T6" fmla="*/ 0 w 54"/>
              <a:gd name="T7" fmla="*/ 12 h 42"/>
              <a:gd name="T8" fmla="*/ 0 w 54"/>
              <a:gd name="T9" fmla="*/ 6 h 42"/>
              <a:gd name="T10" fmla="*/ 18 w 54"/>
              <a:gd name="T11" fmla="*/ 12 h 42"/>
              <a:gd name="T12" fmla="*/ 24 w 54"/>
              <a:gd name="T13" fmla="*/ 0 h 42"/>
              <a:gd name="T14" fmla="*/ 30 w 54"/>
              <a:gd name="T15" fmla="*/ 0 h 42"/>
              <a:gd name="T16" fmla="*/ 36 w 54"/>
              <a:gd name="T17" fmla="*/ 0 h 42"/>
              <a:gd name="T18" fmla="*/ 36 w 54"/>
              <a:gd name="T19" fmla="*/ 0 h 42"/>
              <a:gd name="T20" fmla="*/ 42 w 54"/>
              <a:gd name="T21" fmla="*/ 0 h 42"/>
              <a:gd name="T22" fmla="*/ 42 w 54"/>
              <a:gd name="T23" fmla="*/ 0 h 42"/>
              <a:gd name="T24" fmla="*/ 42 w 54"/>
              <a:gd name="T25" fmla="*/ 0 h 42"/>
              <a:gd name="T26" fmla="*/ 48 w 54"/>
              <a:gd name="T27" fmla="*/ 0 h 42"/>
              <a:gd name="T28" fmla="*/ 48 w 54"/>
              <a:gd name="T29" fmla="*/ 0 h 42"/>
              <a:gd name="T30" fmla="*/ 48 w 54"/>
              <a:gd name="T31" fmla="*/ 0 h 42"/>
              <a:gd name="T32" fmla="*/ 48 w 54"/>
              <a:gd name="T33" fmla="*/ 6 h 42"/>
              <a:gd name="T34" fmla="*/ 54 w 54"/>
              <a:gd name="T35" fmla="*/ 6 h 42"/>
              <a:gd name="T36" fmla="*/ 54 w 54"/>
              <a:gd name="T37" fmla="*/ 6 h 42"/>
              <a:gd name="T38" fmla="*/ 48 w 54"/>
              <a:gd name="T39" fmla="*/ 6 h 42"/>
              <a:gd name="T40" fmla="*/ 48 w 54"/>
              <a:gd name="T41" fmla="*/ 6 h 42"/>
              <a:gd name="T42" fmla="*/ 48 w 54"/>
              <a:gd name="T43" fmla="*/ 6 h 42"/>
              <a:gd name="T44" fmla="*/ 48 w 54"/>
              <a:gd name="T45" fmla="*/ 12 h 42"/>
              <a:gd name="T46" fmla="*/ 54 w 54"/>
              <a:gd name="T47" fmla="*/ 12 h 42"/>
              <a:gd name="T48" fmla="*/ 54 w 54"/>
              <a:gd name="T49" fmla="*/ 12 h 42"/>
              <a:gd name="T50" fmla="*/ 54 w 54"/>
              <a:gd name="T51" fmla="*/ 18 h 42"/>
              <a:gd name="T52" fmla="*/ 54 w 54"/>
              <a:gd name="T53" fmla="*/ 18 h 42"/>
              <a:gd name="T54" fmla="*/ 54 w 54"/>
              <a:gd name="T55" fmla="*/ 18 h 42"/>
              <a:gd name="T56" fmla="*/ 54 w 54"/>
              <a:gd name="T57" fmla="*/ 18 h 42"/>
              <a:gd name="T58" fmla="*/ 54 w 54"/>
              <a:gd name="T59" fmla="*/ 18 h 42"/>
              <a:gd name="T60" fmla="*/ 54 w 54"/>
              <a:gd name="T61" fmla="*/ 18 h 42"/>
              <a:gd name="T62" fmla="*/ 54 w 54"/>
              <a:gd name="T63" fmla="*/ 18 h 42"/>
              <a:gd name="T64" fmla="*/ 54 w 54"/>
              <a:gd name="T65" fmla="*/ 18 h 42"/>
              <a:gd name="T66" fmla="*/ 48 w 54"/>
              <a:gd name="T67" fmla="*/ 18 h 42"/>
              <a:gd name="T68" fmla="*/ 48 w 54"/>
              <a:gd name="T69" fmla="*/ 24 h 42"/>
              <a:gd name="T70" fmla="*/ 48 w 54"/>
              <a:gd name="T71" fmla="*/ 24 h 42"/>
              <a:gd name="T72" fmla="*/ 48 w 54"/>
              <a:gd name="T73" fmla="*/ 24 h 42"/>
              <a:gd name="T74" fmla="*/ 42 w 54"/>
              <a:gd name="T75" fmla="*/ 36 h 42"/>
              <a:gd name="T76" fmla="*/ 36 w 54"/>
              <a:gd name="T77" fmla="*/ 36 h 42"/>
              <a:gd name="T78" fmla="*/ 24 w 54"/>
              <a:gd name="T79" fmla="*/ 42 h 42"/>
              <a:gd name="T80" fmla="*/ 24 w 54"/>
              <a:gd name="T81" fmla="*/ 42 h 42"/>
              <a:gd name="T82" fmla="*/ 24 w 54"/>
              <a:gd name="T83" fmla="*/ 36 h 42"/>
              <a:gd name="T84" fmla="*/ 24 w 54"/>
              <a:gd name="T85" fmla="*/ 42 h 42"/>
              <a:gd name="T86" fmla="*/ 24 w 54"/>
              <a:gd name="T87" fmla="*/ 36 h 42"/>
              <a:gd name="T88" fmla="*/ 24 w 54"/>
              <a:gd name="T89" fmla="*/ 36 h 42"/>
              <a:gd name="T90" fmla="*/ 18 w 54"/>
              <a:gd name="T91" fmla="*/ 36 h 42"/>
              <a:gd name="T92" fmla="*/ 18 w 54"/>
              <a:gd name="T93" fmla="*/ 36 h 42"/>
              <a:gd name="T94" fmla="*/ 18 w 54"/>
              <a:gd name="T95" fmla="*/ 36 h 42"/>
              <a:gd name="T96" fmla="*/ 12 w 54"/>
              <a:gd name="T97" fmla="*/ 36 h 42"/>
              <a:gd name="T98" fmla="*/ 12 w 54"/>
              <a:gd name="T99" fmla="*/ 36 h 42"/>
              <a:gd name="T100" fmla="*/ 6 w 54"/>
              <a:gd name="T101" fmla="*/ 36 h 42"/>
              <a:gd name="T102" fmla="*/ 6 w 54"/>
              <a:gd name="T103" fmla="*/ 36 h 42"/>
              <a:gd name="T104" fmla="*/ 6 w 54"/>
              <a:gd name="T105" fmla="*/ 30 h 42"/>
              <a:gd name="T106" fmla="*/ 6 w 54"/>
              <a:gd name="T107" fmla="*/ 30 h 42"/>
              <a:gd name="T108" fmla="*/ 6 w 54"/>
              <a:gd name="T109" fmla="*/ 24 h 42"/>
              <a:gd name="T110" fmla="*/ 6 w 54"/>
              <a:gd name="T111" fmla="*/ 24 h 42"/>
              <a:gd name="T112" fmla="*/ 6 w 54"/>
              <a:gd name="T113" fmla="*/ 24 h 42"/>
              <a:gd name="T114" fmla="*/ 6 w 54"/>
              <a:gd name="T115" fmla="*/ 18 h 42"/>
              <a:gd name="T116" fmla="*/ 6 w 54"/>
              <a:gd name="T117" fmla="*/ 18 h 42"/>
              <a:gd name="T118" fmla="*/ 0 w 54"/>
              <a:gd name="T119" fmla="*/ 18 h 42"/>
              <a:gd name="T120" fmla="*/ 0 w 54"/>
              <a:gd name="T121" fmla="*/ 18 h 42"/>
              <a:gd name="T122" fmla="*/ 0 w 54"/>
              <a:gd name="T123" fmla="*/ 24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4" h="42">
                <a:moveTo>
                  <a:pt x="0" y="24"/>
                </a:move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2"/>
                </a:lnTo>
                <a:lnTo>
                  <a:pt x="0" y="12"/>
                </a:lnTo>
                <a:lnTo>
                  <a:pt x="0" y="6"/>
                </a:lnTo>
                <a:lnTo>
                  <a:pt x="0" y="6"/>
                </a:lnTo>
                <a:lnTo>
                  <a:pt x="12" y="6"/>
                </a:lnTo>
                <a:lnTo>
                  <a:pt x="18" y="12"/>
                </a:lnTo>
                <a:lnTo>
                  <a:pt x="18" y="6"/>
                </a:lnTo>
                <a:lnTo>
                  <a:pt x="24" y="0"/>
                </a:lnTo>
                <a:lnTo>
                  <a:pt x="24" y="6"/>
                </a:lnTo>
                <a:lnTo>
                  <a:pt x="30" y="0"/>
                </a:lnTo>
                <a:lnTo>
                  <a:pt x="36" y="6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48" y="18"/>
                </a:lnTo>
                <a:lnTo>
                  <a:pt x="48" y="18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54" y="30"/>
                </a:lnTo>
                <a:lnTo>
                  <a:pt x="42" y="36"/>
                </a:lnTo>
                <a:lnTo>
                  <a:pt x="42" y="36"/>
                </a:lnTo>
                <a:lnTo>
                  <a:pt x="36" y="36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36"/>
                </a:lnTo>
                <a:lnTo>
                  <a:pt x="24" y="42"/>
                </a:lnTo>
                <a:lnTo>
                  <a:pt x="24" y="42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2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77" name="Freeform 210"/>
          <p:cNvSpPr>
            <a:spLocks/>
          </p:cNvSpPr>
          <p:nvPr/>
        </p:nvSpPr>
        <p:spPr bwMode="auto">
          <a:xfrm>
            <a:off x="8406474" y="2522556"/>
            <a:ext cx="70665" cy="77089"/>
          </a:xfrm>
          <a:custGeom>
            <a:avLst/>
            <a:gdLst>
              <a:gd name="T0" fmla="*/ 0 w 66"/>
              <a:gd name="T1" fmla="*/ 54 h 72"/>
              <a:gd name="T2" fmla="*/ 0 w 66"/>
              <a:gd name="T3" fmla="*/ 48 h 72"/>
              <a:gd name="T4" fmla="*/ 0 w 66"/>
              <a:gd name="T5" fmla="*/ 48 h 72"/>
              <a:gd name="T6" fmla="*/ 0 w 66"/>
              <a:gd name="T7" fmla="*/ 48 h 72"/>
              <a:gd name="T8" fmla="*/ 6 w 66"/>
              <a:gd name="T9" fmla="*/ 42 h 72"/>
              <a:gd name="T10" fmla="*/ 6 w 66"/>
              <a:gd name="T11" fmla="*/ 36 h 72"/>
              <a:gd name="T12" fmla="*/ 0 w 66"/>
              <a:gd name="T13" fmla="*/ 30 h 72"/>
              <a:gd name="T14" fmla="*/ 0 w 66"/>
              <a:gd name="T15" fmla="*/ 30 h 72"/>
              <a:gd name="T16" fmla="*/ 0 w 66"/>
              <a:gd name="T17" fmla="*/ 24 h 72"/>
              <a:gd name="T18" fmla="*/ 0 w 66"/>
              <a:gd name="T19" fmla="*/ 24 h 72"/>
              <a:gd name="T20" fmla="*/ 6 w 66"/>
              <a:gd name="T21" fmla="*/ 24 h 72"/>
              <a:gd name="T22" fmla="*/ 12 w 66"/>
              <a:gd name="T23" fmla="*/ 18 h 72"/>
              <a:gd name="T24" fmla="*/ 12 w 66"/>
              <a:gd name="T25" fmla="*/ 18 h 72"/>
              <a:gd name="T26" fmla="*/ 12 w 66"/>
              <a:gd name="T27" fmla="*/ 0 h 72"/>
              <a:gd name="T28" fmla="*/ 18 w 66"/>
              <a:gd name="T29" fmla="*/ 0 h 72"/>
              <a:gd name="T30" fmla="*/ 24 w 66"/>
              <a:gd name="T31" fmla="*/ 0 h 72"/>
              <a:gd name="T32" fmla="*/ 24 w 66"/>
              <a:gd name="T33" fmla="*/ 6 h 72"/>
              <a:gd name="T34" fmla="*/ 30 w 66"/>
              <a:gd name="T35" fmla="*/ 6 h 72"/>
              <a:gd name="T36" fmla="*/ 30 w 66"/>
              <a:gd name="T37" fmla="*/ 6 h 72"/>
              <a:gd name="T38" fmla="*/ 30 w 66"/>
              <a:gd name="T39" fmla="*/ 6 h 72"/>
              <a:gd name="T40" fmla="*/ 36 w 66"/>
              <a:gd name="T41" fmla="*/ 6 h 72"/>
              <a:gd name="T42" fmla="*/ 36 w 66"/>
              <a:gd name="T43" fmla="*/ 12 h 72"/>
              <a:gd name="T44" fmla="*/ 36 w 66"/>
              <a:gd name="T45" fmla="*/ 12 h 72"/>
              <a:gd name="T46" fmla="*/ 42 w 66"/>
              <a:gd name="T47" fmla="*/ 12 h 72"/>
              <a:gd name="T48" fmla="*/ 42 w 66"/>
              <a:gd name="T49" fmla="*/ 12 h 72"/>
              <a:gd name="T50" fmla="*/ 42 w 66"/>
              <a:gd name="T51" fmla="*/ 12 h 72"/>
              <a:gd name="T52" fmla="*/ 42 w 66"/>
              <a:gd name="T53" fmla="*/ 12 h 72"/>
              <a:gd name="T54" fmla="*/ 42 w 66"/>
              <a:gd name="T55" fmla="*/ 12 h 72"/>
              <a:gd name="T56" fmla="*/ 48 w 66"/>
              <a:gd name="T57" fmla="*/ 12 h 72"/>
              <a:gd name="T58" fmla="*/ 48 w 66"/>
              <a:gd name="T59" fmla="*/ 12 h 72"/>
              <a:gd name="T60" fmla="*/ 48 w 66"/>
              <a:gd name="T61" fmla="*/ 12 h 72"/>
              <a:gd name="T62" fmla="*/ 48 w 66"/>
              <a:gd name="T63" fmla="*/ 12 h 72"/>
              <a:gd name="T64" fmla="*/ 48 w 66"/>
              <a:gd name="T65" fmla="*/ 12 h 72"/>
              <a:gd name="T66" fmla="*/ 54 w 66"/>
              <a:gd name="T67" fmla="*/ 12 h 72"/>
              <a:gd name="T68" fmla="*/ 54 w 66"/>
              <a:gd name="T69" fmla="*/ 12 h 72"/>
              <a:gd name="T70" fmla="*/ 54 w 66"/>
              <a:gd name="T71" fmla="*/ 18 h 72"/>
              <a:gd name="T72" fmla="*/ 54 w 66"/>
              <a:gd name="T73" fmla="*/ 18 h 72"/>
              <a:gd name="T74" fmla="*/ 54 w 66"/>
              <a:gd name="T75" fmla="*/ 18 h 72"/>
              <a:gd name="T76" fmla="*/ 60 w 66"/>
              <a:gd name="T77" fmla="*/ 18 h 72"/>
              <a:gd name="T78" fmla="*/ 54 w 66"/>
              <a:gd name="T79" fmla="*/ 18 h 72"/>
              <a:gd name="T80" fmla="*/ 60 w 66"/>
              <a:gd name="T81" fmla="*/ 36 h 72"/>
              <a:gd name="T82" fmla="*/ 60 w 66"/>
              <a:gd name="T83" fmla="*/ 36 h 72"/>
              <a:gd name="T84" fmla="*/ 66 w 66"/>
              <a:gd name="T85" fmla="*/ 48 h 72"/>
              <a:gd name="T86" fmla="*/ 66 w 66"/>
              <a:gd name="T87" fmla="*/ 48 h 72"/>
              <a:gd name="T88" fmla="*/ 60 w 66"/>
              <a:gd name="T89" fmla="*/ 48 h 72"/>
              <a:gd name="T90" fmla="*/ 60 w 66"/>
              <a:gd name="T91" fmla="*/ 54 h 72"/>
              <a:gd name="T92" fmla="*/ 48 w 66"/>
              <a:gd name="T93" fmla="*/ 48 h 72"/>
              <a:gd name="T94" fmla="*/ 36 w 66"/>
              <a:gd name="T95" fmla="*/ 54 h 72"/>
              <a:gd name="T96" fmla="*/ 24 w 66"/>
              <a:gd name="T97" fmla="*/ 60 h 72"/>
              <a:gd name="T98" fmla="*/ 24 w 66"/>
              <a:gd name="T99" fmla="*/ 66 h 72"/>
              <a:gd name="T100" fmla="*/ 24 w 66"/>
              <a:gd name="T101" fmla="*/ 66 h 72"/>
              <a:gd name="T102" fmla="*/ 24 w 66"/>
              <a:gd name="T103" fmla="*/ 66 h 72"/>
              <a:gd name="T104" fmla="*/ 24 w 66"/>
              <a:gd name="T105" fmla="*/ 66 h 72"/>
              <a:gd name="T106" fmla="*/ 18 w 66"/>
              <a:gd name="T107" fmla="*/ 66 h 72"/>
              <a:gd name="T108" fmla="*/ 18 w 66"/>
              <a:gd name="T109" fmla="*/ 66 h 72"/>
              <a:gd name="T110" fmla="*/ 18 w 66"/>
              <a:gd name="T111" fmla="*/ 60 h 72"/>
              <a:gd name="T112" fmla="*/ 18 w 66"/>
              <a:gd name="T113" fmla="*/ 60 h 72"/>
              <a:gd name="T114" fmla="*/ 18 w 66"/>
              <a:gd name="T115" fmla="*/ 60 h 72"/>
              <a:gd name="T116" fmla="*/ 12 w 66"/>
              <a:gd name="T117" fmla="*/ 60 h 72"/>
              <a:gd name="T118" fmla="*/ 12 w 66"/>
              <a:gd name="T119" fmla="*/ 60 h 72"/>
              <a:gd name="T120" fmla="*/ 12 w 66"/>
              <a:gd name="T121" fmla="*/ 54 h 72"/>
              <a:gd name="T122" fmla="*/ 6 w 66"/>
              <a:gd name="T123" fmla="*/ 54 h 72"/>
              <a:gd name="T124" fmla="*/ 0 w 66"/>
              <a:gd name="T125" fmla="*/ 54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6" h="72">
                <a:moveTo>
                  <a:pt x="0" y="54"/>
                </a:moveTo>
                <a:lnTo>
                  <a:pt x="0" y="54"/>
                </a:lnTo>
                <a:lnTo>
                  <a:pt x="0" y="54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0"/>
                </a:lnTo>
                <a:lnTo>
                  <a:pt x="12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24" y="0"/>
                </a:lnTo>
                <a:lnTo>
                  <a:pt x="24" y="6"/>
                </a:lnTo>
                <a:lnTo>
                  <a:pt x="24" y="0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60" y="12"/>
                </a:lnTo>
                <a:lnTo>
                  <a:pt x="60" y="12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54" y="18"/>
                </a:lnTo>
                <a:lnTo>
                  <a:pt x="54" y="24"/>
                </a:lnTo>
                <a:lnTo>
                  <a:pt x="54" y="30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6" y="36"/>
                </a:lnTo>
                <a:lnTo>
                  <a:pt x="66" y="42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54"/>
                </a:lnTo>
                <a:lnTo>
                  <a:pt x="54" y="48"/>
                </a:lnTo>
                <a:lnTo>
                  <a:pt x="48" y="54"/>
                </a:lnTo>
                <a:lnTo>
                  <a:pt x="48" y="48"/>
                </a:lnTo>
                <a:lnTo>
                  <a:pt x="42" y="54"/>
                </a:lnTo>
                <a:lnTo>
                  <a:pt x="42" y="60"/>
                </a:lnTo>
                <a:lnTo>
                  <a:pt x="36" y="54"/>
                </a:lnTo>
                <a:lnTo>
                  <a:pt x="24" y="54"/>
                </a:lnTo>
                <a:lnTo>
                  <a:pt x="24" y="54"/>
                </a:lnTo>
                <a:lnTo>
                  <a:pt x="24" y="60"/>
                </a:lnTo>
                <a:lnTo>
                  <a:pt x="24" y="60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72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18" y="66"/>
                </a:lnTo>
                <a:lnTo>
                  <a:pt x="24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2" y="60"/>
                </a:lnTo>
                <a:lnTo>
                  <a:pt x="12" y="60"/>
                </a:lnTo>
                <a:lnTo>
                  <a:pt x="12" y="54"/>
                </a:lnTo>
                <a:lnTo>
                  <a:pt x="12" y="54"/>
                </a:lnTo>
                <a:lnTo>
                  <a:pt x="12" y="60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0" y="54"/>
                </a:lnTo>
                <a:lnTo>
                  <a:pt x="0" y="5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78" name="Freeform 211"/>
          <p:cNvSpPr>
            <a:spLocks/>
          </p:cNvSpPr>
          <p:nvPr/>
        </p:nvSpPr>
        <p:spPr bwMode="auto">
          <a:xfrm>
            <a:off x="8380778" y="2426195"/>
            <a:ext cx="147753" cy="122058"/>
          </a:xfrm>
          <a:custGeom>
            <a:avLst/>
            <a:gdLst>
              <a:gd name="T0" fmla="*/ 0 w 138"/>
              <a:gd name="T1" fmla="*/ 12 h 114"/>
              <a:gd name="T2" fmla="*/ 0 w 138"/>
              <a:gd name="T3" fmla="*/ 6 h 114"/>
              <a:gd name="T4" fmla="*/ 12 w 138"/>
              <a:gd name="T5" fmla="*/ 6 h 114"/>
              <a:gd name="T6" fmla="*/ 24 w 138"/>
              <a:gd name="T7" fmla="*/ 12 h 114"/>
              <a:gd name="T8" fmla="*/ 30 w 138"/>
              <a:gd name="T9" fmla="*/ 18 h 114"/>
              <a:gd name="T10" fmla="*/ 42 w 138"/>
              <a:gd name="T11" fmla="*/ 18 h 114"/>
              <a:gd name="T12" fmla="*/ 60 w 138"/>
              <a:gd name="T13" fmla="*/ 30 h 114"/>
              <a:gd name="T14" fmla="*/ 84 w 138"/>
              <a:gd name="T15" fmla="*/ 36 h 114"/>
              <a:gd name="T16" fmla="*/ 96 w 138"/>
              <a:gd name="T17" fmla="*/ 42 h 114"/>
              <a:gd name="T18" fmla="*/ 102 w 138"/>
              <a:gd name="T19" fmla="*/ 54 h 114"/>
              <a:gd name="T20" fmla="*/ 126 w 138"/>
              <a:gd name="T21" fmla="*/ 66 h 114"/>
              <a:gd name="T22" fmla="*/ 138 w 138"/>
              <a:gd name="T23" fmla="*/ 66 h 114"/>
              <a:gd name="T24" fmla="*/ 132 w 138"/>
              <a:gd name="T25" fmla="*/ 72 h 114"/>
              <a:gd name="T26" fmla="*/ 126 w 138"/>
              <a:gd name="T27" fmla="*/ 84 h 114"/>
              <a:gd name="T28" fmla="*/ 114 w 138"/>
              <a:gd name="T29" fmla="*/ 96 h 114"/>
              <a:gd name="T30" fmla="*/ 114 w 138"/>
              <a:gd name="T31" fmla="*/ 102 h 114"/>
              <a:gd name="T32" fmla="*/ 114 w 138"/>
              <a:gd name="T33" fmla="*/ 108 h 114"/>
              <a:gd name="T34" fmla="*/ 114 w 138"/>
              <a:gd name="T35" fmla="*/ 108 h 114"/>
              <a:gd name="T36" fmla="*/ 114 w 138"/>
              <a:gd name="T37" fmla="*/ 108 h 114"/>
              <a:gd name="T38" fmla="*/ 108 w 138"/>
              <a:gd name="T39" fmla="*/ 108 h 114"/>
              <a:gd name="T40" fmla="*/ 108 w 138"/>
              <a:gd name="T41" fmla="*/ 102 h 114"/>
              <a:gd name="T42" fmla="*/ 102 w 138"/>
              <a:gd name="T43" fmla="*/ 102 h 114"/>
              <a:gd name="T44" fmla="*/ 102 w 138"/>
              <a:gd name="T45" fmla="*/ 102 h 114"/>
              <a:gd name="T46" fmla="*/ 102 w 138"/>
              <a:gd name="T47" fmla="*/ 108 h 114"/>
              <a:gd name="T48" fmla="*/ 96 w 138"/>
              <a:gd name="T49" fmla="*/ 108 h 114"/>
              <a:gd name="T50" fmla="*/ 90 w 138"/>
              <a:gd name="T51" fmla="*/ 114 h 114"/>
              <a:gd name="T52" fmla="*/ 90 w 138"/>
              <a:gd name="T53" fmla="*/ 114 h 114"/>
              <a:gd name="T54" fmla="*/ 90 w 138"/>
              <a:gd name="T55" fmla="*/ 114 h 114"/>
              <a:gd name="T56" fmla="*/ 84 w 138"/>
              <a:gd name="T57" fmla="*/ 108 h 114"/>
              <a:gd name="T58" fmla="*/ 84 w 138"/>
              <a:gd name="T59" fmla="*/ 108 h 114"/>
              <a:gd name="T60" fmla="*/ 84 w 138"/>
              <a:gd name="T61" fmla="*/ 102 h 114"/>
              <a:gd name="T62" fmla="*/ 84 w 138"/>
              <a:gd name="T63" fmla="*/ 102 h 114"/>
              <a:gd name="T64" fmla="*/ 78 w 138"/>
              <a:gd name="T65" fmla="*/ 108 h 114"/>
              <a:gd name="T66" fmla="*/ 78 w 138"/>
              <a:gd name="T67" fmla="*/ 102 h 114"/>
              <a:gd name="T68" fmla="*/ 72 w 138"/>
              <a:gd name="T69" fmla="*/ 102 h 114"/>
              <a:gd name="T70" fmla="*/ 72 w 138"/>
              <a:gd name="T71" fmla="*/ 102 h 114"/>
              <a:gd name="T72" fmla="*/ 66 w 138"/>
              <a:gd name="T73" fmla="*/ 102 h 114"/>
              <a:gd name="T74" fmla="*/ 66 w 138"/>
              <a:gd name="T75" fmla="*/ 102 h 114"/>
              <a:gd name="T76" fmla="*/ 66 w 138"/>
              <a:gd name="T77" fmla="*/ 102 h 114"/>
              <a:gd name="T78" fmla="*/ 60 w 138"/>
              <a:gd name="T79" fmla="*/ 102 h 114"/>
              <a:gd name="T80" fmla="*/ 60 w 138"/>
              <a:gd name="T81" fmla="*/ 96 h 114"/>
              <a:gd name="T82" fmla="*/ 54 w 138"/>
              <a:gd name="T83" fmla="*/ 96 h 114"/>
              <a:gd name="T84" fmla="*/ 48 w 138"/>
              <a:gd name="T85" fmla="*/ 96 h 114"/>
              <a:gd name="T86" fmla="*/ 42 w 138"/>
              <a:gd name="T87" fmla="*/ 90 h 114"/>
              <a:gd name="T88" fmla="*/ 36 w 138"/>
              <a:gd name="T89" fmla="*/ 84 h 114"/>
              <a:gd name="T90" fmla="*/ 24 w 138"/>
              <a:gd name="T91" fmla="*/ 66 h 114"/>
              <a:gd name="T92" fmla="*/ 12 w 138"/>
              <a:gd name="T93" fmla="*/ 60 h 114"/>
              <a:gd name="T94" fmla="*/ 12 w 138"/>
              <a:gd name="T95" fmla="*/ 60 h 114"/>
              <a:gd name="T96" fmla="*/ 6 w 138"/>
              <a:gd name="T97" fmla="*/ 48 h 114"/>
              <a:gd name="T98" fmla="*/ 6 w 138"/>
              <a:gd name="T99" fmla="*/ 42 h 114"/>
              <a:gd name="T100" fmla="*/ 0 w 138"/>
              <a:gd name="T101" fmla="*/ 36 h 114"/>
              <a:gd name="T102" fmla="*/ 0 w 138"/>
              <a:gd name="T103" fmla="*/ 24 h 114"/>
              <a:gd name="T104" fmla="*/ 6 w 138"/>
              <a:gd name="T105" fmla="*/ 18 h 114"/>
              <a:gd name="T106" fmla="*/ 0 w 138"/>
              <a:gd name="T107" fmla="*/ 18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38" h="114">
                <a:moveTo>
                  <a:pt x="0" y="12"/>
                </a:move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6" y="0"/>
                </a:lnTo>
                <a:lnTo>
                  <a:pt x="6" y="0"/>
                </a:lnTo>
                <a:lnTo>
                  <a:pt x="6" y="6"/>
                </a:lnTo>
                <a:lnTo>
                  <a:pt x="12" y="6"/>
                </a:lnTo>
                <a:lnTo>
                  <a:pt x="12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30" y="12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6" y="18"/>
                </a:lnTo>
                <a:lnTo>
                  <a:pt x="36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72" y="36"/>
                </a:lnTo>
                <a:lnTo>
                  <a:pt x="78" y="36"/>
                </a:lnTo>
                <a:lnTo>
                  <a:pt x="78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90" y="36"/>
                </a:lnTo>
                <a:lnTo>
                  <a:pt x="90" y="42"/>
                </a:lnTo>
                <a:lnTo>
                  <a:pt x="90" y="42"/>
                </a:lnTo>
                <a:lnTo>
                  <a:pt x="96" y="42"/>
                </a:lnTo>
                <a:lnTo>
                  <a:pt x="96" y="42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8" y="54"/>
                </a:lnTo>
                <a:lnTo>
                  <a:pt x="114" y="54"/>
                </a:lnTo>
                <a:lnTo>
                  <a:pt x="114" y="54"/>
                </a:lnTo>
                <a:lnTo>
                  <a:pt x="120" y="54"/>
                </a:lnTo>
                <a:lnTo>
                  <a:pt x="126" y="60"/>
                </a:lnTo>
                <a:lnTo>
                  <a:pt x="126" y="66"/>
                </a:lnTo>
                <a:lnTo>
                  <a:pt x="132" y="66"/>
                </a:lnTo>
                <a:lnTo>
                  <a:pt x="132" y="66"/>
                </a:lnTo>
                <a:lnTo>
                  <a:pt x="132" y="60"/>
                </a:lnTo>
                <a:lnTo>
                  <a:pt x="132" y="60"/>
                </a:lnTo>
                <a:lnTo>
                  <a:pt x="138" y="60"/>
                </a:lnTo>
                <a:lnTo>
                  <a:pt x="138" y="66"/>
                </a:lnTo>
                <a:lnTo>
                  <a:pt x="138" y="66"/>
                </a:lnTo>
                <a:lnTo>
                  <a:pt x="138" y="66"/>
                </a:lnTo>
                <a:lnTo>
                  <a:pt x="138" y="66"/>
                </a:lnTo>
                <a:lnTo>
                  <a:pt x="138" y="72"/>
                </a:lnTo>
                <a:lnTo>
                  <a:pt x="138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26" y="72"/>
                </a:lnTo>
                <a:lnTo>
                  <a:pt x="126" y="72"/>
                </a:lnTo>
                <a:lnTo>
                  <a:pt x="126" y="78"/>
                </a:lnTo>
                <a:lnTo>
                  <a:pt x="126" y="84"/>
                </a:lnTo>
                <a:lnTo>
                  <a:pt x="114" y="90"/>
                </a:lnTo>
                <a:lnTo>
                  <a:pt x="114" y="90"/>
                </a:lnTo>
                <a:lnTo>
                  <a:pt x="114" y="90"/>
                </a:lnTo>
                <a:lnTo>
                  <a:pt x="114" y="90"/>
                </a:lnTo>
                <a:lnTo>
                  <a:pt x="114" y="90"/>
                </a:lnTo>
                <a:lnTo>
                  <a:pt x="114" y="96"/>
                </a:lnTo>
                <a:lnTo>
                  <a:pt x="114" y="96"/>
                </a:lnTo>
                <a:lnTo>
                  <a:pt x="114" y="96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8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96"/>
                </a:lnTo>
                <a:lnTo>
                  <a:pt x="102" y="96"/>
                </a:lnTo>
                <a:lnTo>
                  <a:pt x="96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8"/>
                </a:lnTo>
                <a:lnTo>
                  <a:pt x="102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2"/>
                </a:lnTo>
                <a:lnTo>
                  <a:pt x="84" y="102"/>
                </a:lnTo>
                <a:lnTo>
                  <a:pt x="84" y="102"/>
                </a:lnTo>
                <a:lnTo>
                  <a:pt x="84" y="102"/>
                </a:lnTo>
                <a:lnTo>
                  <a:pt x="84" y="102"/>
                </a:lnTo>
                <a:lnTo>
                  <a:pt x="84" y="102"/>
                </a:lnTo>
                <a:lnTo>
                  <a:pt x="78" y="96"/>
                </a:lnTo>
                <a:lnTo>
                  <a:pt x="84" y="102"/>
                </a:lnTo>
                <a:lnTo>
                  <a:pt x="84" y="102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48" y="96"/>
                </a:lnTo>
                <a:lnTo>
                  <a:pt x="48" y="96"/>
                </a:lnTo>
                <a:lnTo>
                  <a:pt x="48" y="90"/>
                </a:lnTo>
                <a:lnTo>
                  <a:pt x="48" y="96"/>
                </a:lnTo>
                <a:lnTo>
                  <a:pt x="48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36" y="90"/>
                </a:lnTo>
                <a:lnTo>
                  <a:pt x="36" y="90"/>
                </a:lnTo>
                <a:lnTo>
                  <a:pt x="30" y="90"/>
                </a:lnTo>
                <a:lnTo>
                  <a:pt x="30" y="90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0" y="78"/>
                </a:lnTo>
                <a:lnTo>
                  <a:pt x="30" y="72"/>
                </a:lnTo>
                <a:lnTo>
                  <a:pt x="24" y="72"/>
                </a:lnTo>
                <a:lnTo>
                  <a:pt x="24" y="72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18" y="66"/>
                </a:lnTo>
                <a:lnTo>
                  <a:pt x="18" y="66"/>
                </a:lnTo>
                <a:lnTo>
                  <a:pt x="18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0"/>
                </a:lnTo>
                <a:lnTo>
                  <a:pt x="0" y="30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6" y="18"/>
                </a:lnTo>
                <a:lnTo>
                  <a:pt x="6" y="18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2"/>
                </a:lnTo>
                <a:lnTo>
                  <a:pt x="0" y="1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79" name="Freeform 212"/>
          <p:cNvSpPr>
            <a:spLocks/>
          </p:cNvSpPr>
          <p:nvPr/>
        </p:nvSpPr>
        <p:spPr bwMode="auto">
          <a:xfrm>
            <a:off x="8477139" y="2599645"/>
            <a:ext cx="70665" cy="57817"/>
          </a:xfrm>
          <a:custGeom>
            <a:avLst/>
            <a:gdLst>
              <a:gd name="T0" fmla="*/ 0 w 66"/>
              <a:gd name="T1" fmla="*/ 12 h 54"/>
              <a:gd name="T2" fmla="*/ 12 w 66"/>
              <a:gd name="T3" fmla="*/ 12 h 54"/>
              <a:gd name="T4" fmla="*/ 18 w 66"/>
              <a:gd name="T5" fmla="*/ 12 h 54"/>
              <a:gd name="T6" fmla="*/ 18 w 66"/>
              <a:gd name="T7" fmla="*/ 18 h 54"/>
              <a:gd name="T8" fmla="*/ 24 w 66"/>
              <a:gd name="T9" fmla="*/ 12 h 54"/>
              <a:gd name="T10" fmla="*/ 24 w 66"/>
              <a:gd name="T11" fmla="*/ 12 h 54"/>
              <a:gd name="T12" fmla="*/ 24 w 66"/>
              <a:gd name="T13" fmla="*/ 12 h 54"/>
              <a:gd name="T14" fmla="*/ 30 w 66"/>
              <a:gd name="T15" fmla="*/ 12 h 54"/>
              <a:gd name="T16" fmla="*/ 36 w 66"/>
              <a:gd name="T17" fmla="*/ 12 h 54"/>
              <a:gd name="T18" fmla="*/ 42 w 66"/>
              <a:gd name="T19" fmla="*/ 12 h 54"/>
              <a:gd name="T20" fmla="*/ 42 w 66"/>
              <a:gd name="T21" fmla="*/ 18 h 54"/>
              <a:gd name="T22" fmla="*/ 42 w 66"/>
              <a:gd name="T23" fmla="*/ 18 h 54"/>
              <a:gd name="T24" fmla="*/ 42 w 66"/>
              <a:gd name="T25" fmla="*/ 18 h 54"/>
              <a:gd name="T26" fmla="*/ 42 w 66"/>
              <a:gd name="T27" fmla="*/ 18 h 54"/>
              <a:gd name="T28" fmla="*/ 42 w 66"/>
              <a:gd name="T29" fmla="*/ 18 h 54"/>
              <a:gd name="T30" fmla="*/ 42 w 66"/>
              <a:gd name="T31" fmla="*/ 12 h 54"/>
              <a:gd name="T32" fmla="*/ 48 w 66"/>
              <a:gd name="T33" fmla="*/ 12 h 54"/>
              <a:gd name="T34" fmla="*/ 48 w 66"/>
              <a:gd name="T35" fmla="*/ 12 h 54"/>
              <a:gd name="T36" fmla="*/ 48 w 66"/>
              <a:gd name="T37" fmla="*/ 12 h 54"/>
              <a:gd name="T38" fmla="*/ 48 w 66"/>
              <a:gd name="T39" fmla="*/ 12 h 54"/>
              <a:gd name="T40" fmla="*/ 48 w 66"/>
              <a:gd name="T41" fmla="*/ 12 h 54"/>
              <a:gd name="T42" fmla="*/ 48 w 66"/>
              <a:gd name="T43" fmla="*/ 12 h 54"/>
              <a:gd name="T44" fmla="*/ 48 w 66"/>
              <a:gd name="T45" fmla="*/ 12 h 54"/>
              <a:gd name="T46" fmla="*/ 54 w 66"/>
              <a:gd name="T47" fmla="*/ 6 h 54"/>
              <a:gd name="T48" fmla="*/ 54 w 66"/>
              <a:gd name="T49" fmla="*/ 6 h 54"/>
              <a:gd name="T50" fmla="*/ 54 w 66"/>
              <a:gd name="T51" fmla="*/ 6 h 54"/>
              <a:gd name="T52" fmla="*/ 60 w 66"/>
              <a:gd name="T53" fmla="*/ 0 h 54"/>
              <a:gd name="T54" fmla="*/ 60 w 66"/>
              <a:gd name="T55" fmla="*/ 0 h 54"/>
              <a:gd name="T56" fmla="*/ 60 w 66"/>
              <a:gd name="T57" fmla="*/ 0 h 54"/>
              <a:gd name="T58" fmla="*/ 54 w 66"/>
              <a:gd name="T59" fmla="*/ 12 h 54"/>
              <a:gd name="T60" fmla="*/ 42 w 66"/>
              <a:gd name="T61" fmla="*/ 24 h 54"/>
              <a:gd name="T62" fmla="*/ 42 w 66"/>
              <a:gd name="T63" fmla="*/ 30 h 54"/>
              <a:gd name="T64" fmla="*/ 30 w 66"/>
              <a:gd name="T65" fmla="*/ 48 h 54"/>
              <a:gd name="T66" fmla="*/ 24 w 66"/>
              <a:gd name="T67" fmla="*/ 54 h 54"/>
              <a:gd name="T68" fmla="*/ 24 w 66"/>
              <a:gd name="T69" fmla="*/ 54 h 54"/>
              <a:gd name="T70" fmla="*/ 24 w 66"/>
              <a:gd name="T71" fmla="*/ 48 h 54"/>
              <a:gd name="T72" fmla="*/ 18 w 66"/>
              <a:gd name="T73" fmla="*/ 48 h 54"/>
              <a:gd name="T74" fmla="*/ 18 w 66"/>
              <a:gd name="T75" fmla="*/ 42 h 54"/>
              <a:gd name="T76" fmla="*/ 12 w 66"/>
              <a:gd name="T77" fmla="*/ 42 h 54"/>
              <a:gd name="T78" fmla="*/ 6 w 66"/>
              <a:gd name="T79" fmla="*/ 36 h 54"/>
              <a:gd name="T80" fmla="*/ 6 w 66"/>
              <a:gd name="T81" fmla="*/ 36 h 54"/>
              <a:gd name="T82" fmla="*/ 6 w 66"/>
              <a:gd name="T83" fmla="*/ 30 h 54"/>
              <a:gd name="T84" fmla="*/ 0 w 66"/>
              <a:gd name="T85" fmla="*/ 30 h 54"/>
              <a:gd name="T86" fmla="*/ 0 w 66"/>
              <a:gd name="T87" fmla="*/ 30 h 54"/>
              <a:gd name="T88" fmla="*/ 0 w 66"/>
              <a:gd name="T89" fmla="*/ 24 h 54"/>
              <a:gd name="T90" fmla="*/ 0 w 66"/>
              <a:gd name="T91" fmla="*/ 12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66" h="54">
                <a:moveTo>
                  <a:pt x="0" y="12"/>
                </a:moveTo>
                <a:lnTo>
                  <a:pt x="0" y="12"/>
                </a:lnTo>
                <a:lnTo>
                  <a:pt x="12" y="12"/>
                </a:lnTo>
                <a:lnTo>
                  <a:pt x="12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8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6" y="12"/>
                </a:lnTo>
                <a:lnTo>
                  <a:pt x="36" y="12"/>
                </a:lnTo>
                <a:lnTo>
                  <a:pt x="42" y="12"/>
                </a:lnTo>
                <a:lnTo>
                  <a:pt x="42" y="18"/>
                </a:lnTo>
                <a:lnTo>
                  <a:pt x="42" y="18"/>
                </a:lnTo>
                <a:lnTo>
                  <a:pt x="36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2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6"/>
                </a:lnTo>
                <a:lnTo>
                  <a:pt x="48" y="12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6" y="0"/>
                </a:lnTo>
                <a:lnTo>
                  <a:pt x="54" y="12"/>
                </a:lnTo>
                <a:lnTo>
                  <a:pt x="48" y="18"/>
                </a:lnTo>
                <a:lnTo>
                  <a:pt x="42" y="24"/>
                </a:lnTo>
                <a:lnTo>
                  <a:pt x="42" y="30"/>
                </a:lnTo>
                <a:lnTo>
                  <a:pt x="42" y="30"/>
                </a:lnTo>
                <a:lnTo>
                  <a:pt x="36" y="36"/>
                </a:lnTo>
                <a:lnTo>
                  <a:pt x="30" y="48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48"/>
                </a:lnTo>
                <a:lnTo>
                  <a:pt x="24" y="48"/>
                </a:lnTo>
                <a:lnTo>
                  <a:pt x="18" y="48"/>
                </a:lnTo>
                <a:lnTo>
                  <a:pt x="18" y="48"/>
                </a:lnTo>
                <a:lnTo>
                  <a:pt x="18" y="42"/>
                </a:lnTo>
                <a:lnTo>
                  <a:pt x="18" y="42"/>
                </a:lnTo>
                <a:lnTo>
                  <a:pt x="12" y="42"/>
                </a:lnTo>
                <a:lnTo>
                  <a:pt x="12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24"/>
                </a:lnTo>
                <a:lnTo>
                  <a:pt x="0" y="24"/>
                </a:lnTo>
                <a:lnTo>
                  <a:pt x="0" y="12"/>
                </a:lnTo>
                <a:lnTo>
                  <a:pt x="0" y="1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80" name="Freeform 213"/>
          <p:cNvSpPr>
            <a:spLocks/>
          </p:cNvSpPr>
          <p:nvPr/>
        </p:nvSpPr>
        <p:spPr bwMode="auto">
          <a:xfrm>
            <a:off x="8483563" y="2541828"/>
            <a:ext cx="51392" cy="57817"/>
          </a:xfrm>
          <a:custGeom>
            <a:avLst/>
            <a:gdLst>
              <a:gd name="T0" fmla="*/ 0 w 48"/>
              <a:gd name="T1" fmla="*/ 36 h 54"/>
              <a:gd name="T2" fmla="*/ 0 w 48"/>
              <a:gd name="T3" fmla="*/ 36 h 54"/>
              <a:gd name="T4" fmla="*/ 6 w 48"/>
              <a:gd name="T5" fmla="*/ 36 h 54"/>
              <a:gd name="T6" fmla="*/ 6 w 48"/>
              <a:gd name="T7" fmla="*/ 36 h 54"/>
              <a:gd name="T8" fmla="*/ 6 w 48"/>
              <a:gd name="T9" fmla="*/ 36 h 54"/>
              <a:gd name="T10" fmla="*/ 12 w 48"/>
              <a:gd name="T11" fmla="*/ 36 h 54"/>
              <a:gd name="T12" fmla="*/ 12 w 48"/>
              <a:gd name="T13" fmla="*/ 36 h 54"/>
              <a:gd name="T14" fmla="*/ 12 w 48"/>
              <a:gd name="T15" fmla="*/ 36 h 54"/>
              <a:gd name="T16" fmla="*/ 12 w 48"/>
              <a:gd name="T17" fmla="*/ 36 h 54"/>
              <a:gd name="T18" fmla="*/ 18 w 48"/>
              <a:gd name="T19" fmla="*/ 30 h 54"/>
              <a:gd name="T20" fmla="*/ 18 w 48"/>
              <a:gd name="T21" fmla="*/ 24 h 54"/>
              <a:gd name="T22" fmla="*/ 18 w 48"/>
              <a:gd name="T23" fmla="*/ 18 h 54"/>
              <a:gd name="T24" fmla="*/ 24 w 48"/>
              <a:gd name="T25" fmla="*/ 12 h 54"/>
              <a:gd name="T26" fmla="*/ 24 w 48"/>
              <a:gd name="T27" fmla="*/ 12 h 54"/>
              <a:gd name="T28" fmla="*/ 24 w 48"/>
              <a:gd name="T29" fmla="*/ 12 h 54"/>
              <a:gd name="T30" fmla="*/ 18 w 48"/>
              <a:gd name="T31" fmla="*/ 6 h 54"/>
              <a:gd name="T32" fmla="*/ 24 w 48"/>
              <a:gd name="T33" fmla="*/ 6 h 54"/>
              <a:gd name="T34" fmla="*/ 24 w 48"/>
              <a:gd name="T35" fmla="*/ 6 h 54"/>
              <a:gd name="T36" fmla="*/ 24 w 48"/>
              <a:gd name="T37" fmla="*/ 6 h 54"/>
              <a:gd name="T38" fmla="*/ 24 w 48"/>
              <a:gd name="T39" fmla="*/ 6 h 54"/>
              <a:gd name="T40" fmla="*/ 30 w 48"/>
              <a:gd name="T41" fmla="*/ 0 h 54"/>
              <a:gd name="T42" fmla="*/ 30 w 48"/>
              <a:gd name="T43" fmla="*/ 0 h 54"/>
              <a:gd name="T44" fmla="*/ 30 w 48"/>
              <a:gd name="T45" fmla="*/ 0 h 54"/>
              <a:gd name="T46" fmla="*/ 36 w 48"/>
              <a:gd name="T47" fmla="*/ 0 h 54"/>
              <a:gd name="T48" fmla="*/ 36 w 48"/>
              <a:gd name="T49" fmla="*/ 0 h 54"/>
              <a:gd name="T50" fmla="*/ 36 w 48"/>
              <a:gd name="T51" fmla="*/ 0 h 54"/>
              <a:gd name="T52" fmla="*/ 36 w 48"/>
              <a:gd name="T53" fmla="*/ 0 h 54"/>
              <a:gd name="T54" fmla="*/ 36 w 48"/>
              <a:gd name="T55" fmla="*/ 6 h 54"/>
              <a:gd name="T56" fmla="*/ 42 w 48"/>
              <a:gd name="T57" fmla="*/ 6 h 54"/>
              <a:gd name="T58" fmla="*/ 42 w 48"/>
              <a:gd name="T59" fmla="*/ 6 h 54"/>
              <a:gd name="T60" fmla="*/ 42 w 48"/>
              <a:gd name="T61" fmla="*/ 6 h 54"/>
              <a:gd name="T62" fmla="*/ 42 w 48"/>
              <a:gd name="T63" fmla="*/ 6 h 54"/>
              <a:gd name="T64" fmla="*/ 42 w 48"/>
              <a:gd name="T65" fmla="*/ 12 h 54"/>
              <a:gd name="T66" fmla="*/ 42 w 48"/>
              <a:gd name="T67" fmla="*/ 18 h 54"/>
              <a:gd name="T68" fmla="*/ 42 w 48"/>
              <a:gd name="T69" fmla="*/ 18 h 54"/>
              <a:gd name="T70" fmla="*/ 48 w 48"/>
              <a:gd name="T71" fmla="*/ 18 h 54"/>
              <a:gd name="T72" fmla="*/ 48 w 48"/>
              <a:gd name="T73" fmla="*/ 18 h 54"/>
              <a:gd name="T74" fmla="*/ 42 w 48"/>
              <a:gd name="T75" fmla="*/ 24 h 54"/>
              <a:gd name="T76" fmla="*/ 42 w 48"/>
              <a:gd name="T77" fmla="*/ 30 h 54"/>
              <a:gd name="T78" fmla="*/ 36 w 48"/>
              <a:gd name="T79" fmla="*/ 42 h 54"/>
              <a:gd name="T80" fmla="*/ 30 w 48"/>
              <a:gd name="T81" fmla="*/ 36 h 54"/>
              <a:gd name="T82" fmla="*/ 30 w 48"/>
              <a:gd name="T83" fmla="*/ 42 h 54"/>
              <a:gd name="T84" fmla="*/ 24 w 48"/>
              <a:gd name="T85" fmla="*/ 42 h 54"/>
              <a:gd name="T86" fmla="*/ 24 w 48"/>
              <a:gd name="T87" fmla="*/ 48 h 54"/>
              <a:gd name="T88" fmla="*/ 18 w 48"/>
              <a:gd name="T89" fmla="*/ 48 h 54"/>
              <a:gd name="T90" fmla="*/ 18 w 48"/>
              <a:gd name="T91" fmla="*/ 54 h 54"/>
              <a:gd name="T92" fmla="*/ 18 w 48"/>
              <a:gd name="T93" fmla="*/ 54 h 54"/>
              <a:gd name="T94" fmla="*/ 18 w 48"/>
              <a:gd name="T95" fmla="*/ 54 h 54"/>
              <a:gd name="T96" fmla="*/ 18 w 48"/>
              <a:gd name="T97" fmla="*/ 54 h 54"/>
              <a:gd name="T98" fmla="*/ 18 w 48"/>
              <a:gd name="T99" fmla="*/ 54 h 54"/>
              <a:gd name="T100" fmla="*/ 18 w 48"/>
              <a:gd name="T101" fmla="*/ 54 h 54"/>
              <a:gd name="T102" fmla="*/ 12 w 48"/>
              <a:gd name="T103" fmla="*/ 54 h 54"/>
              <a:gd name="T104" fmla="*/ 12 w 48"/>
              <a:gd name="T105" fmla="*/ 54 h 54"/>
              <a:gd name="T106" fmla="*/ 12 w 48"/>
              <a:gd name="T107" fmla="*/ 54 h 54"/>
              <a:gd name="T108" fmla="*/ 12 w 48"/>
              <a:gd name="T109" fmla="*/ 48 h 54"/>
              <a:gd name="T110" fmla="*/ 12 w 48"/>
              <a:gd name="T111" fmla="*/ 48 h 54"/>
              <a:gd name="T112" fmla="*/ 12 w 48"/>
              <a:gd name="T113" fmla="*/ 48 h 54"/>
              <a:gd name="T114" fmla="*/ 6 w 48"/>
              <a:gd name="T115" fmla="*/ 48 h 54"/>
              <a:gd name="T116" fmla="*/ 6 w 48"/>
              <a:gd name="T117" fmla="*/ 42 h 54"/>
              <a:gd name="T118" fmla="*/ 6 w 48"/>
              <a:gd name="T119" fmla="*/ 42 h 54"/>
              <a:gd name="T120" fmla="*/ 0 w 48"/>
              <a:gd name="T121" fmla="*/ 42 h 54"/>
              <a:gd name="T122" fmla="*/ 0 w 48"/>
              <a:gd name="T123" fmla="*/ 36 h 54"/>
              <a:gd name="T124" fmla="*/ 0 w 48"/>
              <a:gd name="T125" fmla="*/ 36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8" h="54">
                <a:moveTo>
                  <a:pt x="0" y="36"/>
                </a:move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8" y="36"/>
                </a:lnTo>
                <a:lnTo>
                  <a:pt x="18" y="30"/>
                </a:lnTo>
                <a:lnTo>
                  <a:pt x="12" y="30"/>
                </a:lnTo>
                <a:lnTo>
                  <a:pt x="18" y="24"/>
                </a:lnTo>
                <a:lnTo>
                  <a:pt x="18" y="18"/>
                </a:lnTo>
                <a:lnTo>
                  <a:pt x="18" y="18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6"/>
                </a:lnTo>
                <a:lnTo>
                  <a:pt x="18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2" y="24"/>
                </a:lnTo>
                <a:lnTo>
                  <a:pt x="42" y="24"/>
                </a:lnTo>
                <a:lnTo>
                  <a:pt x="42" y="30"/>
                </a:lnTo>
                <a:lnTo>
                  <a:pt x="42" y="30"/>
                </a:lnTo>
                <a:lnTo>
                  <a:pt x="42" y="36"/>
                </a:lnTo>
                <a:lnTo>
                  <a:pt x="36" y="42"/>
                </a:lnTo>
                <a:lnTo>
                  <a:pt x="36" y="42"/>
                </a:lnTo>
                <a:lnTo>
                  <a:pt x="30" y="36"/>
                </a:lnTo>
                <a:lnTo>
                  <a:pt x="30" y="42"/>
                </a:lnTo>
                <a:lnTo>
                  <a:pt x="30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8"/>
                </a:lnTo>
                <a:lnTo>
                  <a:pt x="24" y="48"/>
                </a:lnTo>
                <a:lnTo>
                  <a:pt x="18" y="48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0" y="42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81" name="Freeform 214"/>
          <p:cNvSpPr>
            <a:spLocks/>
          </p:cNvSpPr>
          <p:nvPr/>
        </p:nvSpPr>
        <p:spPr bwMode="auto">
          <a:xfrm>
            <a:off x="8522107" y="2535404"/>
            <a:ext cx="77089" cy="64241"/>
          </a:xfrm>
          <a:custGeom>
            <a:avLst/>
            <a:gdLst>
              <a:gd name="T0" fmla="*/ 6 w 72"/>
              <a:gd name="T1" fmla="*/ 42 h 60"/>
              <a:gd name="T2" fmla="*/ 6 w 72"/>
              <a:gd name="T3" fmla="*/ 36 h 60"/>
              <a:gd name="T4" fmla="*/ 6 w 72"/>
              <a:gd name="T5" fmla="*/ 30 h 60"/>
              <a:gd name="T6" fmla="*/ 12 w 72"/>
              <a:gd name="T7" fmla="*/ 18 h 60"/>
              <a:gd name="T8" fmla="*/ 12 w 72"/>
              <a:gd name="T9" fmla="*/ 18 h 60"/>
              <a:gd name="T10" fmla="*/ 12 w 72"/>
              <a:gd name="T11" fmla="*/ 18 h 60"/>
              <a:gd name="T12" fmla="*/ 12 w 72"/>
              <a:gd name="T13" fmla="*/ 18 h 60"/>
              <a:gd name="T14" fmla="*/ 12 w 72"/>
              <a:gd name="T15" fmla="*/ 12 h 60"/>
              <a:gd name="T16" fmla="*/ 12 w 72"/>
              <a:gd name="T17" fmla="*/ 12 h 60"/>
              <a:gd name="T18" fmla="*/ 12 w 72"/>
              <a:gd name="T19" fmla="*/ 6 h 60"/>
              <a:gd name="T20" fmla="*/ 18 w 72"/>
              <a:gd name="T21" fmla="*/ 0 h 60"/>
              <a:gd name="T22" fmla="*/ 18 w 72"/>
              <a:gd name="T23" fmla="*/ 0 h 60"/>
              <a:gd name="T24" fmla="*/ 24 w 72"/>
              <a:gd name="T25" fmla="*/ 0 h 60"/>
              <a:gd name="T26" fmla="*/ 24 w 72"/>
              <a:gd name="T27" fmla="*/ 0 h 60"/>
              <a:gd name="T28" fmla="*/ 24 w 72"/>
              <a:gd name="T29" fmla="*/ 0 h 60"/>
              <a:gd name="T30" fmla="*/ 30 w 72"/>
              <a:gd name="T31" fmla="*/ 0 h 60"/>
              <a:gd name="T32" fmla="*/ 30 w 72"/>
              <a:gd name="T33" fmla="*/ 0 h 60"/>
              <a:gd name="T34" fmla="*/ 30 w 72"/>
              <a:gd name="T35" fmla="*/ 6 h 60"/>
              <a:gd name="T36" fmla="*/ 30 w 72"/>
              <a:gd name="T37" fmla="*/ 6 h 60"/>
              <a:gd name="T38" fmla="*/ 36 w 72"/>
              <a:gd name="T39" fmla="*/ 6 h 60"/>
              <a:gd name="T40" fmla="*/ 36 w 72"/>
              <a:gd name="T41" fmla="*/ 6 h 60"/>
              <a:gd name="T42" fmla="*/ 42 w 72"/>
              <a:gd name="T43" fmla="*/ 12 h 60"/>
              <a:gd name="T44" fmla="*/ 48 w 72"/>
              <a:gd name="T45" fmla="*/ 18 h 60"/>
              <a:gd name="T46" fmla="*/ 54 w 72"/>
              <a:gd name="T47" fmla="*/ 18 h 60"/>
              <a:gd name="T48" fmla="*/ 54 w 72"/>
              <a:gd name="T49" fmla="*/ 18 h 60"/>
              <a:gd name="T50" fmla="*/ 54 w 72"/>
              <a:gd name="T51" fmla="*/ 18 h 60"/>
              <a:gd name="T52" fmla="*/ 54 w 72"/>
              <a:gd name="T53" fmla="*/ 30 h 60"/>
              <a:gd name="T54" fmla="*/ 72 w 72"/>
              <a:gd name="T55" fmla="*/ 30 h 60"/>
              <a:gd name="T56" fmla="*/ 54 w 72"/>
              <a:gd name="T57" fmla="*/ 36 h 60"/>
              <a:gd name="T58" fmla="*/ 48 w 72"/>
              <a:gd name="T59" fmla="*/ 42 h 60"/>
              <a:gd name="T60" fmla="*/ 36 w 72"/>
              <a:gd name="T61" fmla="*/ 48 h 60"/>
              <a:gd name="T62" fmla="*/ 24 w 72"/>
              <a:gd name="T63" fmla="*/ 60 h 60"/>
              <a:gd name="T64" fmla="*/ 18 w 72"/>
              <a:gd name="T65" fmla="*/ 60 h 60"/>
              <a:gd name="T66" fmla="*/ 18 w 72"/>
              <a:gd name="T67" fmla="*/ 60 h 60"/>
              <a:gd name="T68" fmla="*/ 18 w 72"/>
              <a:gd name="T69" fmla="*/ 60 h 60"/>
              <a:gd name="T70" fmla="*/ 18 w 72"/>
              <a:gd name="T71" fmla="*/ 60 h 60"/>
              <a:gd name="T72" fmla="*/ 18 w 72"/>
              <a:gd name="T73" fmla="*/ 54 h 60"/>
              <a:gd name="T74" fmla="*/ 18 w 72"/>
              <a:gd name="T75" fmla="*/ 54 h 60"/>
              <a:gd name="T76" fmla="*/ 18 w 72"/>
              <a:gd name="T77" fmla="*/ 54 h 60"/>
              <a:gd name="T78" fmla="*/ 18 w 72"/>
              <a:gd name="T79" fmla="*/ 54 h 60"/>
              <a:gd name="T80" fmla="*/ 18 w 72"/>
              <a:gd name="T81" fmla="*/ 54 h 60"/>
              <a:gd name="T82" fmla="*/ 18 w 72"/>
              <a:gd name="T83" fmla="*/ 54 h 60"/>
              <a:gd name="T84" fmla="*/ 12 w 72"/>
              <a:gd name="T85" fmla="*/ 54 h 60"/>
              <a:gd name="T86" fmla="*/ 12 w 72"/>
              <a:gd name="T87" fmla="*/ 54 h 60"/>
              <a:gd name="T88" fmla="*/ 6 w 72"/>
              <a:gd name="T89" fmla="*/ 48 h 60"/>
              <a:gd name="T90" fmla="*/ 6 w 72"/>
              <a:gd name="T91" fmla="*/ 48 h 60"/>
              <a:gd name="T92" fmla="*/ 0 w 72"/>
              <a:gd name="T93" fmla="*/ 48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72" h="60">
                <a:moveTo>
                  <a:pt x="0" y="48"/>
                </a:move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12" y="24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8" y="12"/>
                </a:lnTo>
                <a:lnTo>
                  <a:pt x="12" y="6"/>
                </a:lnTo>
                <a:lnTo>
                  <a:pt x="18" y="6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12"/>
                </a:lnTo>
                <a:lnTo>
                  <a:pt x="42" y="18"/>
                </a:lnTo>
                <a:lnTo>
                  <a:pt x="48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30"/>
                </a:lnTo>
                <a:lnTo>
                  <a:pt x="54" y="30"/>
                </a:lnTo>
                <a:lnTo>
                  <a:pt x="66" y="30"/>
                </a:lnTo>
                <a:lnTo>
                  <a:pt x="72" y="30"/>
                </a:lnTo>
                <a:lnTo>
                  <a:pt x="66" y="36"/>
                </a:lnTo>
                <a:lnTo>
                  <a:pt x="54" y="36"/>
                </a:lnTo>
                <a:lnTo>
                  <a:pt x="54" y="42"/>
                </a:lnTo>
                <a:lnTo>
                  <a:pt x="48" y="42"/>
                </a:lnTo>
                <a:lnTo>
                  <a:pt x="42" y="48"/>
                </a:lnTo>
                <a:lnTo>
                  <a:pt x="36" y="48"/>
                </a:lnTo>
                <a:lnTo>
                  <a:pt x="30" y="54"/>
                </a:lnTo>
                <a:lnTo>
                  <a:pt x="24" y="60"/>
                </a:lnTo>
                <a:lnTo>
                  <a:pt x="24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0" y="4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82" name="Freeform 215"/>
          <p:cNvSpPr>
            <a:spLocks/>
          </p:cNvSpPr>
          <p:nvPr/>
        </p:nvSpPr>
        <p:spPr bwMode="auto">
          <a:xfrm>
            <a:off x="8502835" y="2503284"/>
            <a:ext cx="109209" cy="70665"/>
          </a:xfrm>
          <a:custGeom>
            <a:avLst/>
            <a:gdLst>
              <a:gd name="T0" fmla="*/ 12 w 102"/>
              <a:gd name="T1" fmla="*/ 6 h 66"/>
              <a:gd name="T2" fmla="*/ 18 w 102"/>
              <a:gd name="T3" fmla="*/ 0 h 66"/>
              <a:gd name="T4" fmla="*/ 24 w 102"/>
              <a:gd name="T5" fmla="*/ 0 h 66"/>
              <a:gd name="T6" fmla="*/ 24 w 102"/>
              <a:gd name="T7" fmla="*/ 0 h 66"/>
              <a:gd name="T8" fmla="*/ 24 w 102"/>
              <a:gd name="T9" fmla="*/ 6 h 66"/>
              <a:gd name="T10" fmla="*/ 30 w 102"/>
              <a:gd name="T11" fmla="*/ 12 h 66"/>
              <a:gd name="T12" fmla="*/ 36 w 102"/>
              <a:gd name="T13" fmla="*/ 12 h 66"/>
              <a:gd name="T14" fmla="*/ 42 w 102"/>
              <a:gd name="T15" fmla="*/ 12 h 66"/>
              <a:gd name="T16" fmla="*/ 42 w 102"/>
              <a:gd name="T17" fmla="*/ 18 h 66"/>
              <a:gd name="T18" fmla="*/ 42 w 102"/>
              <a:gd name="T19" fmla="*/ 18 h 66"/>
              <a:gd name="T20" fmla="*/ 48 w 102"/>
              <a:gd name="T21" fmla="*/ 24 h 66"/>
              <a:gd name="T22" fmla="*/ 54 w 102"/>
              <a:gd name="T23" fmla="*/ 24 h 66"/>
              <a:gd name="T24" fmla="*/ 54 w 102"/>
              <a:gd name="T25" fmla="*/ 24 h 66"/>
              <a:gd name="T26" fmla="*/ 54 w 102"/>
              <a:gd name="T27" fmla="*/ 30 h 66"/>
              <a:gd name="T28" fmla="*/ 60 w 102"/>
              <a:gd name="T29" fmla="*/ 30 h 66"/>
              <a:gd name="T30" fmla="*/ 60 w 102"/>
              <a:gd name="T31" fmla="*/ 30 h 66"/>
              <a:gd name="T32" fmla="*/ 66 w 102"/>
              <a:gd name="T33" fmla="*/ 30 h 66"/>
              <a:gd name="T34" fmla="*/ 66 w 102"/>
              <a:gd name="T35" fmla="*/ 30 h 66"/>
              <a:gd name="T36" fmla="*/ 72 w 102"/>
              <a:gd name="T37" fmla="*/ 30 h 66"/>
              <a:gd name="T38" fmla="*/ 72 w 102"/>
              <a:gd name="T39" fmla="*/ 36 h 66"/>
              <a:gd name="T40" fmla="*/ 78 w 102"/>
              <a:gd name="T41" fmla="*/ 36 h 66"/>
              <a:gd name="T42" fmla="*/ 78 w 102"/>
              <a:gd name="T43" fmla="*/ 48 h 66"/>
              <a:gd name="T44" fmla="*/ 78 w 102"/>
              <a:gd name="T45" fmla="*/ 48 h 66"/>
              <a:gd name="T46" fmla="*/ 84 w 102"/>
              <a:gd name="T47" fmla="*/ 48 h 66"/>
              <a:gd name="T48" fmla="*/ 84 w 102"/>
              <a:gd name="T49" fmla="*/ 48 h 66"/>
              <a:gd name="T50" fmla="*/ 90 w 102"/>
              <a:gd name="T51" fmla="*/ 48 h 66"/>
              <a:gd name="T52" fmla="*/ 96 w 102"/>
              <a:gd name="T53" fmla="*/ 48 h 66"/>
              <a:gd name="T54" fmla="*/ 96 w 102"/>
              <a:gd name="T55" fmla="*/ 60 h 66"/>
              <a:gd name="T56" fmla="*/ 96 w 102"/>
              <a:gd name="T57" fmla="*/ 60 h 66"/>
              <a:gd name="T58" fmla="*/ 96 w 102"/>
              <a:gd name="T59" fmla="*/ 60 h 66"/>
              <a:gd name="T60" fmla="*/ 84 w 102"/>
              <a:gd name="T61" fmla="*/ 60 h 66"/>
              <a:gd name="T62" fmla="*/ 72 w 102"/>
              <a:gd name="T63" fmla="*/ 48 h 66"/>
              <a:gd name="T64" fmla="*/ 72 w 102"/>
              <a:gd name="T65" fmla="*/ 48 h 66"/>
              <a:gd name="T66" fmla="*/ 66 w 102"/>
              <a:gd name="T67" fmla="*/ 48 h 66"/>
              <a:gd name="T68" fmla="*/ 54 w 102"/>
              <a:gd name="T69" fmla="*/ 36 h 66"/>
              <a:gd name="T70" fmla="*/ 54 w 102"/>
              <a:gd name="T71" fmla="*/ 36 h 66"/>
              <a:gd name="T72" fmla="*/ 48 w 102"/>
              <a:gd name="T73" fmla="*/ 36 h 66"/>
              <a:gd name="T74" fmla="*/ 48 w 102"/>
              <a:gd name="T75" fmla="*/ 30 h 66"/>
              <a:gd name="T76" fmla="*/ 42 w 102"/>
              <a:gd name="T77" fmla="*/ 30 h 66"/>
              <a:gd name="T78" fmla="*/ 42 w 102"/>
              <a:gd name="T79" fmla="*/ 30 h 66"/>
              <a:gd name="T80" fmla="*/ 42 w 102"/>
              <a:gd name="T81" fmla="*/ 30 h 66"/>
              <a:gd name="T82" fmla="*/ 36 w 102"/>
              <a:gd name="T83" fmla="*/ 30 h 66"/>
              <a:gd name="T84" fmla="*/ 30 w 102"/>
              <a:gd name="T85" fmla="*/ 36 h 66"/>
              <a:gd name="T86" fmla="*/ 24 w 102"/>
              <a:gd name="T87" fmla="*/ 30 h 66"/>
              <a:gd name="T88" fmla="*/ 24 w 102"/>
              <a:gd name="T89" fmla="*/ 24 h 66"/>
              <a:gd name="T90" fmla="*/ 18 w 102"/>
              <a:gd name="T91" fmla="*/ 18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02" h="66">
                <a:moveTo>
                  <a:pt x="0" y="18"/>
                </a:moveTo>
                <a:lnTo>
                  <a:pt x="12" y="12"/>
                </a:lnTo>
                <a:lnTo>
                  <a:pt x="12" y="6"/>
                </a:lnTo>
                <a:lnTo>
                  <a:pt x="12" y="0"/>
                </a:lnTo>
                <a:lnTo>
                  <a:pt x="12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42" y="12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24"/>
                </a:lnTo>
                <a:lnTo>
                  <a:pt x="42" y="24"/>
                </a:lnTo>
                <a:lnTo>
                  <a:pt x="48" y="24"/>
                </a:lnTo>
                <a:lnTo>
                  <a:pt x="48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6" y="30"/>
                </a:lnTo>
                <a:lnTo>
                  <a:pt x="66" y="24"/>
                </a:lnTo>
                <a:lnTo>
                  <a:pt x="66" y="24"/>
                </a:lnTo>
                <a:lnTo>
                  <a:pt x="66" y="30"/>
                </a:lnTo>
                <a:lnTo>
                  <a:pt x="66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42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6" y="48"/>
                </a:lnTo>
                <a:lnTo>
                  <a:pt x="96" y="48"/>
                </a:lnTo>
                <a:lnTo>
                  <a:pt x="96" y="54"/>
                </a:lnTo>
                <a:lnTo>
                  <a:pt x="96" y="60"/>
                </a:lnTo>
                <a:lnTo>
                  <a:pt x="102" y="60"/>
                </a:lnTo>
                <a:lnTo>
                  <a:pt x="102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84" y="66"/>
                </a:lnTo>
                <a:lnTo>
                  <a:pt x="90" y="60"/>
                </a:lnTo>
                <a:lnTo>
                  <a:pt x="84" y="60"/>
                </a:lnTo>
                <a:lnTo>
                  <a:pt x="72" y="60"/>
                </a:lnTo>
                <a:lnTo>
                  <a:pt x="72" y="60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66" y="48"/>
                </a:lnTo>
                <a:lnTo>
                  <a:pt x="60" y="48"/>
                </a:lnTo>
                <a:lnTo>
                  <a:pt x="60" y="42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0"/>
                </a:lnTo>
                <a:lnTo>
                  <a:pt x="24" y="30"/>
                </a:lnTo>
                <a:lnTo>
                  <a:pt x="30" y="24"/>
                </a:lnTo>
                <a:lnTo>
                  <a:pt x="30" y="24"/>
                </a:lnTo>
                <a:lnTo>
                  <a:pt x="24" y="24"/>
                </a:lnTo>
                <a:lnTo>
                  <a:pt x="24" y="18"/>
                </a:lnTo>
                <a:lnTo>
                  <a:pt x="18" y="18"/>
                </a:lnTo>
                <a:lnTo>
                  <a:pt x="18" y="18"/>
                </a:lnTo>
                <a:lnTo>
                  <a:pt x="12" y="18"/>
                </a:lnTo>
                <a:lnTo>
                  <a:pt x="0" y="1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83" name="Freeform 216"/>
          <p:cNvSpPr>
            <a:spLocks/>
          </p:cNvSpPr>
          <p:nvPr/>
        </p:nvSpPr>
        <p:spPr bwMode="auto">
          <a:xfrm>
            <a:off x="8477139" y="2580373"/>
            <a:ext cx="64240" cy="38545"/>
          </a:xfrm>
          <a:custGeom>
            <a:avLst/>
            <a:gdLst>
              <a:gd name="T0" fmla="*/ 6 w 60"/>
              <a:gd name="T1" fmla="*/ 18 h 36"/>
              <a:gd name="T2" fmla="*/ 6 w 60"/>
              <a:gd name="T3" fmla="*/ 18 h 36"/>
              <a:gd name="T4" fmla="*/ 6 w 60"/>
              <a:gd name="T5" fmla="*/ 12 h 36"/>
              <a:gd name="T6" fmla="*/ 12 w 60"/>
              <a:gd name="T7" fmla="*/ 12 h 36"/>
              <a:gd name="T8" fmla="*/ 12 w 60"/>
              <a:gd name="T9" fmla="*/ 12 h 36"/>
              <a:gd name="T10" fmla="*/ 12 w 60"/>
              <a:gd name="T11" fmla="*/ 12 h 36"/>
              <a:gd name="T12" fmla="*/ 12 w 60"/>
              <a:gd name="T13" fmla="*/ 12 h 36"/>
              <a:gd name="T14" fmla="*/ 12 w 60"/>
              <a:gd name="T15" fmla="*/ 12 h 36"/>
              <a:gd name="T16" fmla="*/ 18 w 60"/>
              <a:gd name="T17" fmla="*/ 12 h 36"/>
              <a:gd name="T18" fmla="*/ 18 w 60"/>
              <a:gd name="T19" fmla="*/ 12 h 36"/>
              <a:gd name="T20" fmla="*/ 18 w 60"/>
              <a:gd name="T21" fmla="*/ 18 h 36"/>
              <a:gd name="T22" fmla="*/ 18 w 60"/>
              <a:gd name="T23" fmla="*/ 18 h 36"/>
              <a:gd name="T24" fmla="*/ 24 w 60"/>
              <a:gd name="T25" fmla="*/ 18 h 36"/>
              <a:gd name="T26" fmla="*/ 24 w 60"/>
              <a:gd name="T27" fmla="*/ 18 h 36"/>
              <a:gd name="T28" fmla="*/ 24 w 60"/>
              <a:gd name="T29" fmla="*/ 18 h 36"/>
              <a:gd name="T30" fmla="*/ 24 w 60"/>
              <a:gd name="T31" fmla="*/ 18 h 36"/>
              <a:gd name="T32" fmla="*/ 24 w 60"/>
              <a:gd name="T33" fmla="*/ 12 h 36"/>
              <a:gd name="T34" fmla="*/ 30 w 60"/>
              <a:gd name="T35" fmla="*/ 6 h 36"/>
              <a:gd name="T36" fmla="*/ 36 w 60"/>
              <a:gd name="T37" fmla="*/ 6 h 36"/>
              <a:gd name="T38" fmla="*/ 42 w 60"/>
              <a:gd name="T39" fmla="*/ 6 h 36"/>
              <a:gd name="T40" fmla="*/ 48 w 60"/>
              <a:gd name="T41" fmla="*/ 6 h 36"/>
              <a:gd name="T42" fmla="*/ 54 w 60"/>
              <a:gd name="T43" fmla="*/ 6 h 36"/>
              <a:gd name="T44" fmla="*/ 54 w 60"/>
              <a:gd name="T45" fmla="*/ 12 h 36"/>
              <a:gd name="T46" fmla="*/ 60 w 60"/>
              <a:gd name="T47" fmla="*/ 12 h 36"/>
              <a:gd name="T48" fmla="*/ 60 w 60"/>
              <a:gd name="T49" fmla="*/ 12 h 36"/>
              <a:gd name="T50" fmla="*/ 60 w 60"/>
              <a:gd name="T51" fmla="*/ 12 h 36"/>
              <a:gd name="T52" fmla="*/ 60 w 60"/>
              <a:gd name="T53" fmla="*/ 12 h 36"/>
              <a:gd name="T54" fmla="*/ 60 w 60"/>
              <a:gd name="T55" fmla="*/ 18 h 36"/>
              <a:gd name="T56" fmla="*/ 60 w 60"/>
              <a:gd name="T57" fmla="*/ 18 h 36"/>
              <a:gd name="T58" fmla="*/ 60 w 60"/>
              <a:gd name="T59" fmla="*/ 24 h 36"/>
              <a:gd name="T60" fmla="*/ 54 w 60"/>
              <a:gd name="T61" fmla="*/ 24 h 36"/>
              <a:gd name="T62" fmla="*/ 48 w 60"/>
              <a:gd name="T63" fmla="*/ 24 h 36"/>
              <a:gd name="T64" fmla="*/ 48 w 60"/>
              <a:gd name="T65" fmla="*/ 30 h 36"/>
              <a:gd name="T66" fmla="*/ 48 w 60"/>
              <a:gd name="T67" fmla="*/ 30 h 36"/>
              <a:gd name="T68" fmla="*/ 48 w 60"/>
              <a:gd name="T69" fmla="*/ 30 h 36"/>
              <a:gd name="T70" fmla="*/ 48 w 60"/>
              <a:gd name="T71" fmla="*/ 30 h 36"/>
              <a:gd name="T72" fmla="*/ 42 w 60"/>
              <a:gd name="T73" fmla="*/ 30 h 36"/>
              <a:gd name="T74" fmla="*/ 42 w 60"/>
              <a:gd name="T75" fmla="*/ 36 h 36"/>
              <a:gd name="T76" fmla="*/ 42 w 60"/>
              <a:gd name="T77" fmla="*/ 36 h 36"/>
              <a:gd name="T78" fmla="*/ 36 w 60"/>
              <a:gd name="T79" fmla="*/ 36 h 36"/>
              <a:gd name="T80" fmla="*/ 42 w 60"/>
              <a:gd name="T81" fmla="*/ 30 h 36"/>
              <a:gd name="T82" fmla="*/ 30 w 60"/>
              <a:gd name="T83" fmla="*/ 30 h 36"/>
              <a:gd name="T84" fmla="*/ 24 w 60"/>
              <a:gd name="T85" fmla="*/ 30 h 36"/>
              <a:gd name="T86" fmla="*/ 24 w 60"/>
              <a:gd name="T87" fmla="*/ 30 h 36"/>
              <a:gd name="T88" fmla="*/ 18 w 60"/>
              <a:gd name="T89" fmla="*/ 36 h 36"/>
              <a:gd name="T90" fmla="*/ 18 w 60"/>
              <a:gd name="T91" fmla="*/ 30 h 36"/>
              <a:gd name="T92" fmla="*/ 0 w 60"/>
              <a:gd name="T93" fmla="*/ 3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60" h="36">
                <a:moveTo>
                  <a:pt x="0" y="30"/>
                </a:moveTo>
                <a:lnTo>
                  <a:pt x="12" y="24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2"/>
                </a:lnTo>
                <a:lnTo>
                  <a:pt x="6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2"/>
                </a:lnTo>
                <a:lnTo>
                  <a:pt x="30" y="12"/>
                </a:lnTo>
                <a:lnTo>
                  <a:pt x="30" y="12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0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48" y="24"/>
                </a:lnTo>
                <a:lnTo>
                  <a:pt x="48" y="30"/>
                </a:lnTo>
                <a:lnTo>
                  <a:pt x="48" y="24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2" y="30"/>
                </a:lnTo>
                <a:lnTo>
                  <a:pt x="42" y="30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36" y="36"/>
                </a:lnTo>
                <a:lnTo>
                  <a:pt x="42" y="36"/>
                </a:lnTo>
                <a:lnTo>
                  <a:pt x="42" y="36"/>
                </a:lnTo>
                <a:lnTo>
                  <a:pt x="42" y="30"/>
                </a:lnTo>
                <a:lnTo>
                  <a:pt x="36" y="30"/>
                </a:lnTo>
                <a:lnTo>
                  <a:pt x="36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18" y="36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2" y="30"/>
                </a:lnTo>
                <a:lnTo>
                  <a:pt x="12" y="30"/>
                </a:lnTo>
                <a:lnTo>
                  <a:pt x="0" y="3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84" name="Freeform 217"/>
          <p:cNvSpPr>
            <a:spLocks/>
          </p:cNvSpPr>
          <p:nvPr/>
        </p:nvSpPr>
        <p:spPr bwMode="auto">
          <a:xfrm>
            <a:off x="7796189" y="2753824"/>
            <a:ext cx="205570" cy="301933"/>
          </a:xfrm>
          <a:custGeom>
            <a:avLst/>
            <a:gdLst>
              <a:gd name="T0" fmla="*/ 12 w 192"/>
              <a:gd name="T1" fmla="*/ 60 h 282"/>
              <a:gd name="T2" fmla="*/ 30 w 192"/>
              <a:gd name="T3" fmla="*/ 48 h 282"/>
              <a:gd name="T4" fmla="*/ 36 w 192"/>
              <a:gd name="T5" fmla="*/ 30 h 282"/>
              <a:gd name="T6" fmla="*/ 54 w 192"/>
              <a:gd name="T7" fmla="*/ 42 h 282"/>
              <a:gd name="T8" fmla="*/ 66 w 192"/>
              <a:gd name="T9" fmla="*/ 54 h 282"/>
              <a:gd name="T10" fmla="*/ 72 w 192"/>
              <a:gd name="T11" fmla="*/ 54 h 282"/>
              <a:gd name="T12" fmla="*/ 72 w 192"/>
              <a:gd name="T13" fmla="*/ 66 h 282"/>
              <a:gd name="T14" fmla="*/ 90 w 192"/>
              <a:gd name="T15" fmla="*/ 66 h 282"/>
              <a:gd name="T16" fmla="*/ 96 w 192"/>
              <a:gd name="T17" fmla="*/ 66 h 282"/>
              <a:gd name="T18" fmla="*/ 102 w 192"/>
              <a:gd name="T19" fmla="*/ 72 h 282"/>
              <a:gd name="T20" fmla="*/ 102 w 192"/>
              <a:gd name="T21" fmla="*/ 60 h 282"/>
              <a:gd name="T22" fmla="*/ 114 w 192"/>
              <a:gd name="T23" fmla="*/ 42 h 282"/>
              <a:gd name="T24" fmla="*/ 108 w 192"/>
              <a:gd name="T25" fmla="*/ 24 h 282"/>
              <a:gd name="T26" fmla="*/ 102 w 192"/>
              <a:gd name="T27" fmla="*/ 12 h 282"/>
              <a:gd name="T28" fmla="*/ 120 w 192"/>
              <a:gd name="T29" fmla="*/ 0 h 282"/>
              <a:gd name="T30" fmla="*/ 168 w 192"/>
              <a:gd name="T31" fmla="*/ 42 h 282"/>
              <a:gd name="T32" fmla="*/ 138 w 192"/>
              <a:gd name="T33" fmla="*/ 72 h 282"/>
              <a:gd name="T34" fmla="*/ 138 w 192"/>
              <a:gd name="T35" fmla="*/ 72 h 282"/>
              <a:gd name="T36" fmla="*/ 138 w 192"/>
              <a:gd name="T37" fmla="*/ 78 h 282"/>
              <a:gd name="T38" fmla="*/ 132 w 192"/>
              <a:gd name="T39" fmla="*/ 78 h 282"/>
              <a:gd name="T40" fmla="*/ 132 w 192"/>
              <a:gd name="T41" fmla="*/ 84 h 282"/>
              <a:gd name="T42" fmla="*/ 162 w 192"/>
              <a:gd name="T43" fmla="*/ 144 h 282"/>
              <a:gd name="T44" fmla="*/ 168 w 192"/>
              <a:gd name="T45" fmla="*/ 156 h 282"/>
              <a:gd name="T46" fmla="*/ 174 w 192"/>
              <a:gd name="T47" fmla="*/ 150 h 282"/>
              <a:gd name="T48" fmla="*/ 180 w 192"/>
              <a:gd name="T49" fmla="*/ 156 h 282"/>
              <a:gd name="T50" fmla="*/ 192 w 192"/>
              <a:gd name="T51" fmla="*/ 156 h 282"/>
              <a:gd name="T52" fmla="*/ 144 w 192"/>
              <a:gd name="T53" fmla="*/ 192 h 282"/>
              <a:gd name="T54" fmla="*/ 132 w 192"/>
              <a:gd name="T55" fmla="*/ 204 h 282"/>
              <a:gd name="T56" fmla="*/ 156 w 192"/>
              <a:gd name="T57" fmla="*/ 228 h 282"/>
              <a:gd name="T58" fmla="*/ 186 w 192"/>
              <a:gd name="T59" fmla="*/ 258 h 282"/>
              <a:gd name="T60" fmla="*/ 168 w 192"/>
              <a:gd name="T61" fmla="*/ 270 h 282"/>
              <a:gd name="T62" fmla="*/ 162 w 192"/>
              <a:gd name="T63" fmla="*/ 270 h 282"/>
              <a:gd name="T64" fmla="*/ 162 w 192"/>
              <a:gd name="T65" fmla="*/ 276 h 282"/>
              <a:gd name="T66" fmla="*/ 150 w 192"/>
              <a:gd name="T67" fmla="*/ 282 h 282"/>
              <a:gd name="T68" fmla="*/ 138 w 192"/>
              <a:gd name="T69" fmla="*/ 276 h 282"/>
              <a:gd name="T70" fmla="*/ 132 w 192"/>
              <a:gd name="T71" fmla="*/ 252 h 282"/>
              <a:gd name="T72" fmla="*/ 120 w 192"/>
              <a:gd name="T73" fmla="*/ 240 h 282"/>
              <a:gd name="T74" fmla="*/ 78 w 192"/>
              <a:gd name="T75" fmla="*/ 234 h 282"/>
              <a:gd name="T76" fmla="*/ 84 w 192"/>
              <a:gd name="T77" fmla="*/ 246 h 282"/>
              <a:gd name="T78" fmla="*/ 90 w 192"/>
              <a:gd name="T79" fmla="*/ 252 h 282"/>
              <a:gd name="T80" fmla="*/ 90 w 192"/>
              <a:gd name="T81" fmla="*/ 258 h 282"/>
              <a:gd name="T82" fmla="*/ 90 w 192"/>
              <a:gd name="T83" fmla="*/ 264 h 282"/>
              <a:gd name="T84" fmla="*/ 90 w 192"/>
              <a:gd name="T85" fmla="*/ 270 h 282"/>
              <a:gd name="T86" fmla="*/ 78 w 192"/>
              <a:gd name="T87" fmla="*/ 252 h 282"/>
              <a:gd name="T88" fmla="*/ 72 w 192"/>
              <a:gd name="T89" fmla="*/ 246 h 282"/>
              <a:gd name="T90" fmla="*/ 66 w 192"/>
              <a:gd name="T91" fmla="*/ 240 h 282"/>
              <a:gd name="T92" fmla="*/ 54 w 192"/>
              <a:gd name="T93" fmla="*/ 234 h 282"/>
              <a:gd name="T94" fmla="*/ 48 w 192"/>
              <a:gd name="T95" fmla="*/ 228 h 282"/>
              <a:gd name="T96" fmla="*/ 36 w 192"/>
              <a:gd name="T97" fmla="*/ 222 h 282"/>
              <a:gd name="T98" fmla="*/ 42 w 192"/>
              <a:gd name="T99" fmla="*/ 192 h 282"/>
              <a:gd name="T100" fmla="*/ 36 w 192"/>
              <a:gd name="T101" fmla="*/ 174 h 282"/>
              <a:gd name="T102" fmla="*/ 18 w 192"/>
              <a:gd name="T103" fmla="*/ 162 h 282"/>
              <a:gd name="T104" fmla="*/ 24 w 192"/>
              <a:gd name="T105" fmla="*/ 132 h 282"/>
              <a:gd name="T106" fmla="*/ 24 w 192"/>
              <a:gd name="T107" fmla="*/ 108 h 282"/>
              <a:gd name="T108" fmla="*/ 24 w 192"/>
              <a:gd name="T109" fmla="*/ 90 h 282"/>
              <a:gd name="T110" fmla="*/ 18 w 192"/>
              <a:gd name="T111" fmla="*/ 84 h 282"/>
              <a:gd name="T112" fmla="*/ 12 w 192"/>
              <a:gd name="T113" fmla="*/ 72 h 282"/>
              <a:gd name="T114" fmla="*/ 0 w 192"/>
              <a:gd name="T115" fmla="*/ 60 h 2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2" h="282">
                <a:moveTo>
                  <a:pt x="6" y="48"/>
                </a:move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8" y="60"/>
                </a:lnTo>
                <a:lnTo>
                  <a:pt x="18" y="60"/>
                </a:lnTo>
                <a:lnTo>
                  <a:pt x="24" y="48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48"/>
                </a:lnTo>
                <a:lnTo>
                  <a:pt x="30" y="48"/>
                </a:lnTo>
                <a:lnTo>
                  <a:pt x="36" y="42"/>
                </a:lnTo>
                <a:lnTo>
                  <a:pt x="30" y="42"/>
                </a:lnTo>
                <a:lnTo>
                  <a:pt x="30" y="42"/>
                </a:lnTo>
                <a:lnTo>
                  <a:pt x="30" y="36"/>
                </a:lnTo>
                <a:lnTo>
                  <a:pt x="30" y="30"/>
                </a:lnTo>
                <a:lnTo>
                  <a:pt x="30" y="30"/>
                </a:lnTo>
                <a:lnTo>
                  <a:pt x="36" y="30"/>
                </a:lnTo>
                <a:lnTo>
                  <a:pt x="36" y="30"/>
                </a:lnTo>
                <a:lnTo>
                  <a:pt x="42" y="36"/>
                </a:lnTo>
                <a:lnTo>
                  <a:pt x="42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54" y="36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60" y="42"/>
                </a:lnTo>
                <a:lnTo>
                  <a:pt x="60" y="48"/>
                </a:lnTo>
                <a:lnTo>
                  <a:pt x="60" y="48"/>
                </a:lnTo>
                <a:lnTo>
                  <a:pt x="60" y="54"/>
                </a:lnTo>
                <a:lnTo>
                  <a:pt x="66" y="54"/>
                </a:lnTo>
                <a:lnTo>
                  <a:pt x="66" y="54"/>
                </a:lnTo>
                <a:lnTo>
                  <a:pt x="66" y="48"/>
                </a:lnTo>
                <a:lnTo>
                  <a:pt x="66" y="48"/>
                </a:lnTo>
                <a:lnTo>
                  <a:pt x="66" y="42"/>
                </a:lnTo>
                <a:lnTo>
                  <a:pt x="72" y="42"/>
                </a:lnTo>
                <a:lnTo>
                  <a:pt x="72" y="48"/>
                </a:lnTo>
                <a:lnTo>
                  <a:pt x="72" y="48"/>
                </a:lnTo>
                <a:lnTo>
                  <a:pt x="72" y="54"/>
                </a:lnTo>
                <a:lnTo>
                  <a:pt x="72" y="54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72"/>
                </a:lnTo>
                <a:lnTo>
                  <a:pt x="90" y="66"/>
                </a:lnTo>
                <a:lnTo>
                  <a:pt x="90" y="66"/>
                </a:lnTo>
                <a:lnTo>
                  <a:pt x="96" y="72"/>
                </a:lnTo>
                <a:lnTo>
                  <a:pt x="96" y="66"/>
                </a:lnTo>
                <a:lnTo>
                  <a:pt x="96" y="72"/>
                </a:lnTo>
                <a:lnTo>
                  <a:pt x="96" y="66"/>
                </a:lnTo>
                <a:lnTo>
                  <a:pt x="96" y="66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54"/>
                </a:lnTo>
                <a:lnTo>
                  <a:pt x="108" y="54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36"/>
                </a:lnTo>
                <a:lnTo>
                  <a:pt x="108" y="36"/>
                </a:lnTo>
                <a:lnTo>
                  <a:pt x="114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24"/>
                </a:lnTo>
                <a:lnTo>
                  <a:pt x="102" y="24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8" y="12"/>
                </a:lnTo>
                <a:lnTo>
                  <a:pt x="108" y="6"/>
                </a:lnTo>
                <a:lnTo>
                  <a:pt x="114" y="6"/>
                </a:lnTo>
                <a:lnTo>
                  <a:pt x="114" y="6"/>
                </a:lnTo>
                <a:lnTo>
                  <a:pt x="114" y="0"/>
                </a:lnTo>
                <a:lnTo>
                  <a:pt x="114" y="0"/>
                </a:lnTo>
                <a:lnTo>
                  <a:pt x="120" y="0"/>
                </a:lnTo>
                <a:lnTo>
                  <a:pt x="120" y="0"/>
                </a:lnTo>
                <a:lnTo>
                  <a:pt x="126" y="0"/>
                </a:lnTo>
                <a:lnTo>
                  <a:pt x="126" y="6"/>
                </a:lnTo>
                <a:lnTo>
                  <a:pt x="132" y="6"/>
                </a:lnTo>
                <a:lnTo>
                  <a:pt x="144" y="12"/>
                </a:lnTo>
                <a:lnTo>
                  <a:pt x="162" y="18"/>
                </a:lnTo>
                <a:lnTo>
                  <a:pt x="174" y="18"/>
                </a:lnTo>
                <a:lnTo>
                  <a:pt x="174" y="36"/>
                </a:lnTo>
                <a:lnTo>
                  <a:pt x="168" y="42"/>
                </a:lnTo>
                <a:lnTo>
                  <a:pt x="162" y="36"/>
                </a:lnTo>
                <a:lnTo>
                  <a:pt x="144" y="36"/>
                </a:lnTo>
                <a:lnTo>
                  <a:pt x="150" y="54"/>
                </a:lnTo>
                <a:lnTo>
                  <a:pt x="150" y="60"/>
                </a:lnTo>
                <a:lnTo>
                  <a:pt x="138" y="66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8"/>
                </a:lnTo>
                <a:lnTo>
                  <a:pt x="138" y="72"/>
                </a:lnTo>
                <a:lnTo>
                  <a:pt x="138" y="78"/>
                </a:lnTo>
                <a:lnTo>
                  <a:pt x="138" y="78"/>
                </a:lnTo>
                <a:lnTo>
                  <a:pt x="138" y="78"/>
                </a:lnTo>
                <a:lnTo>
                  <a:pt x="138" y="78"/>
                </a:lnTo>
                <a:lnTo>
                  <a:pt x="138" y="78"/>
                </a:lnTo>
                <a:lnTo>
                  <a:pt x="138" y="78"/>
                </a:lnTo>
                <a:lnTo>
                  <a:pt x="138" y="78"/>
                </a:lnTo>
                <a:lnTo>
                  <a:pt x="138" y="78"/>
                </a:lnTo>
                <a:lnTo>
                  <a:pt x="138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84"/>
                </a:lnTo>
                <a:lnTo>
                  <a:pt x="132" y="84"/>
                </a:lnTo>
                <a:lnTo>
                  <a:pt x="132" y="84"/>
                </a:lnTo>
                <a:lnTo>
                  <a:pt x="132" y="84"/>
                </a:lnTo>
                <a:lnTo>
                  <a:pt x="132" y="84"/>
                </a:lnTo>
                <a:lnTo>
                  <a:pt x="132" y="84"/>
                </a:lnTo>
                <a:lnTo>
                  <a:pt x="132" y="84"/>
                </a:lnTo>
                <a:lnTo>
                  <a:pt x="132" y="84"/>
                </a:lnTo>
                <a:lnTo>
                  <a:pt x="138" y="84"/>
                </a:lnTo>
                <a:lnTo>
                  <a:pt x="150" y="84"/>
                </a:lnTo>
                <a:lnTo>
                  <a:pt x="162" y="78"/>
                </a:lnTo>
                <a:lnTo>
                  <a:pt x="162" y="84"/>
                </a:lnTo>
                <a:lnTo>
                  <a:pt x="162" y="96"/>
                </a:lnTo>
                <a:lnTo>
                  <a:pt x="162" y="120"/>
                </a:lnTo>
                <a:lnTo>
                  <a:pt x="162" y="144"/>
                </a:lnTo>
                <a:lnTo>
                  <a:pt x="162" y="144"/>
                </a:lnTo>
                <a:lnTo>
                  <a:pt x="162" y="150"/>
                </a:lnTo>
                <a:lnTo>
                  <a:pt x="162" y="150"/>
                </a:lnTo>
                <a:lnTo>
                  <a:pt x="162" y="150"/>
                </a:lnTo>
                <a:lnTo>
                  <a:pt x="162" y="150"/>
                </a:lnTo>
                <a:lnTo>
                  <a:pt x="162" y="150"/>
                </a:lnTo>
                <a:lnTo>
                  <a:pt x="162" y="150"/>
                </a:lnTo>
                <a:lnTo>
                  <a:pt x="168" y="156"/>
                </a:lnTo>
                <a:lnTo>
                  <a:pt x="168" y="156"/>
                </a:lnTo>
                <a:lnTo>
                  <a:pt x="168" y="156"/>
                </a:lnTo>
                <a:lnTo>
                  <a:pt x="168" y="156"/>
                </a:lnTo>
                <a:lnTo>
                  <a:pt x="168" y="156"/>
                </a:lnTo>
                <a:lnTo>
                  <a:pt x="168" y="156"/>
                </a:lnTo>
                <a:lnTo>
                  <a:pt x="168" y="156"/>
                </a:lnTo>
                <a:lnTo>
                  <a:pt x="168" y="156"/>
                </a:lnTo>
                <a:lnTo>
                  <a:pt x="174" y="150"/>
                </a:lnTo>
                <a:lnTo>
                  <a:pt x="174" y="150"/>
                </a:lnTo>
                <a:lnTo>
                  <a:pt x="174" y="150"/>
                </a:lnTo>
                <a:lnTo>
                  <a:pt x="174" y="150"/>
                </a:lnTo>
                <a:lnTo>
                  <a:pt x="174" y="150"/>
                </a:lnTo>
                <a:lnTo>
                  <a:pt x="174" y="150"/>
                </a:lnTo>
                <a:lnTo>
                  <a:pt x="180" y="150"/>
                </a:lnTo>
                <a:lnTo>
                  <a:pt x="180" y="150"/>
                </a:lnTo>
                <a:lnTo>
                  <a:pt x="180" y="150"/>
                </a:lnTo>
                <a:lnTo>
                  <a:pt x="180" y="156"/>
                </a:lnTo>
                <a:lnTo>
                  <a:pt x="186" y="156"/>
                </a:lnTo>
                <a:lnTo>
                  <a:pt x="186" y="156"/>
                </a:lnTo>
                <a:lnTo>
                  <a:pt x="186" y="156"/>
                </a:lnTo>
                <a:lnTo>
                  <a:pt x="186" y="156"/>
                </a:lnTo>
                <a:lnTo>
                  <a:pt x="186" y="156"/>
                </a:lnTo>
                <a:lnTo>
                  <a:pt x="192" y="156"/>
                </a:lnTo>
                <a:lnTo>
                  <a:pt x="192" y="156"/>
                </a:lnTo>
                <a:lnTo>
                  <a:pt x="192" y="156"/>
                </a:lnTo>
                <a:lnTo>
                  <a:pt x="168" y="180"/>
                </a:lnTo>
                <a:lnTo>
                  <a:pt x="150" y="186"/>
                </a:lnTo>
                <a:lnTo>
                  <a:pt x="144" y="186"/>
                </a:lnTo>
                <a:lnTo>
                  <a:pt x="144" y="192"/>
                </a:lnTo>
                <a:lnTo>
                  <a:pt x="144" y="192"/>
                </a:lnTo>
                <a:lnTo>
                  <a:pt x="144" y="192"/>
                </a:lnTo>
                <a:lnTo>
                  <a:pt x="144" y="192"/>
                </a:lnTo>
                <a:lnTo>
                  <a:pt x="144" y="192"/>
                </a:lnTo>
                <a:lnTo>
                  <a:pt x="144" y="198"/>
                </a:lnTo>
                <a:lnTo>
                  <a:pt x="138" y="198"/>
                </a:lnTo>
                <a:lnTo>
                  <a:pt x="138" y="204"/>
                </a:lnTo>
                <a:lnTo>
                  <a:pt x="138" y="204"/>
                </a:lnTo>
                <a:lnTo>
                  <a:pt x="138" y="204"/>
                </a:lnTo>
                <a:lnTo>
                  <a:pt x="138" y="204"/>
                </a:lnTo>
                <a:lnTo>
                  <a:pt x="132" y="204"/>
                </a:lnTo>
                <a:lnTo>
                  <a:pt x="132" y="204"/>
                </a:lnTo>
                <a:lnTo>
                  <a:pt x="132" y="204"/>
                </a:lnTo>
                <a:lnTo>
                  <a:pt x="132" y="204"/>
                </a:lnTo>
                <a:lnTo>
                  <a:pt x="132" y="204"/>
                </a:lnTo>
                <a:lnTo>
                  <a:pt x="132" y="204"/>
                </a:lnTo>
                <a:lnTo>
                  <a:pt x="126" y="204"/>
                </a:lnTo>
                <a:lnTo>
                  <a:pt x="126" y="210"/>
                </a:lnTo>
                <a:lnTo>
                  <a:pt x="156" y="222"/>
                </a:lnTo>
                <a:lnTo>
                  <a:pt x="156" y="228"/>
                </a:lnTo>
                <a:lnTo>
                  <a:pt x="174" y="240"/>
                </a:lnTo>
                <a:lnTo>
                  <a:pt x="186" y="246"/>
                </a:lnTo>
                <a:lnTo>
                  <a:pt x="186" y="246"/>
                </a:lnTo>
                <a:lnTo>
                  <a:pt x="186" y="252"/>
                </a:lnTo>
                <a:lnTo>
                  <a:pt x="186" y="252"/>
                </a:lnTo>
                <a:lnTo>
                  <a:pt x="186" y="252"/>
                </a:lnTo>
                <a:lnTo>
                  <a:pt x="186" y="258"/>
                </a:lnTo>
                <a:lnTo>
                  <a:pt x="186" y="258"/>
                </a:lnTo>
                <a:lnTo>
                  <a:pt x="180" y="264"/>
                </a:lnTo>
                <a:lnTo>
                  <a:pt x="174" y="258"/>
                </a:lnTo>
                <a:lnTo>
                  <a:pt x="174" y="264"/>
                </a:lnTo>
                <a:lnTo>
                  <a:pt x="174" y="264"/>
                </a:lnTo>
                <a:lnTo>
                  <a:pt x="168" y="264"/>
                </a:lnTo>
                <a:lnTo>
                  <a:pt x="168" y="264"/>
                </a:lnTo>
                <a:lnTo>
                  <a:pt x="168" y="270"/>
                </a:lnTo>
                <a:lnTo>
                  <a:pt x="168" y="270"/>
                </a:lnTo>
                <a:lnTo>
                  <a:pt x="168" y="270"/>
                </a:lnTo>
                <a:lnTo>
                  <a:pt x="168" y="270"/>
                </a:lnTo>
                <a:lnTo>
                  <a:pt x="168" y="270"/>
                </a:lnTo>
                <a:lnTo>
                  <a:pt x="168" y="270"/>
                </a:lnTo>
                <a:lnTo>
                  <a:pt x="168" y="270"/>
                </a:lnTo>
                <a:lnTo>
                  <a:pt x="162" y="270"/>
                </a:lnTo>
                <a:lnTo>
                  <a:pt x="162" y="270"/>
                </a:lnTo>
                <a:lnTo>
                  <a:pt x="162" y="270"/>
                </a:lnTo>
                <a:lnTo>
                  <a:pt x="162" y="276"/>
                </a:lnTo>
                <a:lnTo>
                  <a:pt x="162" y="276"/>
                </a:lnTo>
                <a:lnTo>
                  <a:pt x="162" y="276"/>
                </a:lnTo>
                <a:lnTo>
                  <a:pt x="162" y="276"/>
                </a:lnTo>
                <a:lnTo>
                  <a:pt x="162" y="276"/>
                </a:lnTo>
                <a:lnTo>
                  <a:pt x="162" y="276"/>
                </a:lnTo>
                <a:lnTo>
                  <a:pt x="162" y="276"/>
                </a:lnTo>
                <a:lnTo>
                  <a:pt x="162" y="276"/>
                </a:lnTo>
                <a:lnTo>
                  <a:pt x="162" y="276"/>
                </a:lnTo>
                <a:lnTo>
                  <a:pt x="162" y="276"/>
                </a:lnTo>
                <a:lnTo>
                  <a:pt x="156" y="276"/>
                </a:lnTo>
                <a:lnTo>
                  <a:pt x="156" y="276"/>
                </a:lnTo>
                <a:lnTo>
                  <a:pt x="156" y="276"/>
                </a:lnTo>
                <a:lnTo>
                  <a:pt x="150" y="276"/>
                </a:lnTo>
                <a:lnTo>
                  <a:pt x="150" y="282"/>
                </a:lnTo>
                <a:lnTo>
                  <a:pt x="150" y="282"/>
                </a:lnTo>
                <a:lnTo>
                  <a:pt x="144" y="282"/>
                </a:lnTo>
                <a:lnTo>
                  <a:pt x="144" y="282"/>
                </a:lnTo>
                <a:lnTo>
                  <a:pt x="144" y="282"/>
                </a:lnTo>
                <a:lnTo>
                  <a:pt x="144" y="282"/>
                </a:lnTo>
                <a:lnTo>
                  <a:pt x="144" y="282"/>
                </a:lnTo>
                <a:lnTo>
                  <a:pt x="138" y="276"/>
                </a:lnTo>
                <a:lnTo>
                  <a:pt x="138" y="276"/>
                </a:lnTo>
                <a:lnTo>
                  <a:pt x="138" y="276"/>
                </a:lnTo>
                <a:lnTo>
                  <a:pt x="138" y="276"/>
                </a:lnTo>
                <a:lnTo>
                  <a:pt x="138" y="276"/>
                </a:lnTo>
                <a:lnTo>
                  <a:pt x="138" y="270"/>
                </a:lnTo>
                <a:lnTo>
                  <a:pt x="132" y="264"/>
                </a:lnTo>
                <a:lnTo>
                  <a:pt x="132" y="264"/>
                </a:lnTo>
                <a:lnTo>
                  <a:pt x="132" y="258"/>
                </a:lnTo>
                <a:lnTo>
                  <a:pt x="132" y="252"/>
                </a:lnTo>
                <a:lnTo>
                  <a:pt x="132" y="252"/>
                </a:lnTo>
                <a:lnTo>
                  <a:pt x="132" y="246"/>
                </a:lnTo>
                <a:lnTo>
                  <a:pt x="132" y="246"/>
                </a:lnTo>
                <a:lnTo>
                  <a:pt x="132" y="240"/>
                </a:lnTo>
                <a:lnTo>
                  <a:pt x="132" y="240"/>
                </a:lnTo>
                <a:lnTo>
                  <a:pt x="126" y="246"/>
                </a:lnTo>
                <a:lnTo>
                  <a:pt x="126" y="246"/>
                </a:lnTo>
                <a:lnTo>
                  <a:pt x="120" y="240"/>
                </a:lnTo>
                <a:lnTo>
                  <a:pt x="120" y="240"/>
                </a:lnTo>
                <a:lnTo>
                  <a:pt x="120" y="240"/>
                </a:lnTo>
                <a:lnTo>
                  <a:pt x="120" y="240"/>
                </a:lnTo>
                <a:lnTo>
                  <a:pt x="120" y="240"/>
                </a:lnTo>
                <a:lnTo>
                  <a:pt x="120" y="240"/>
                </a:lnTo>
                <a:lnTo>
                  <a:pt x="120" y="240"/>
                </a:lnTo>
                <a:lnTo>
                  <a:pt x="108" y="240"/>
                </a:lnTo>
                <a:lnTo>
                  <a:pt x="96" y="240"/>
                </a:lnTo>
                <a:lnTo>
                  <a:pt x="78" y="234"/>
                </a:lnTo>
                <a:lnTo>
                  <a:pt x="78" y="240"/>
                </a:lnTo>
                <a:lnTo>
                  <a:pt x="84" y="240"/>
                </a:lnTo>
                <a:lnTo>
                  <a:pt x="84" y="240"/>
                </a:lnTo>
                <a:lnTo>
                  <a:pt x="84" y="240"/>
                </a:lnTo>
                <a:lnTo>
                  <a:pt x="84" y="246"/>
                </a:lnTo>
                <a:lnTo>
                  <a:pt x="84" y="240"/>
                </a:lnTo>
                <a:lnTo>
                  <a:pt x="84" y="246"/>
                </a:lnTo>
                <a:lnTo>
                  <a:pt x="84" y="246"/>
                </a:lnTo>
                <a:lnTo>
                  <a:pt x="84" y="246"/>
                </a:lnTo>
                <a:lnTo>
                  <a:pt x="84" y="246"/>
                </a:lnTo>
                <a:lnTo>
                  <a:pt x="84" y="246"/>
                </a:lnTo>
                <a:lnTo>
                  <a:pt x="84" y="252"/>
                </a:lnTo>
                <a:lnTo>
                  <a:pt x="90" y="252"/>
                </a:lnTo>
                <a:lnTo>
                  <a:pt x="90" y="252"/>
                </a:lnTo>
                <a:lnTo>
                  <a:pt x="90" y="252"/>
                </a:lnTo>
                <a:lnTo>
                  <a:pt x="90" y="252"/>
                </a:lnTo>
                <a:lnTo>
                  <a:pt x="90" y="252"/>
                </a:lnTo>
                <a:lnTo>
                  <a:pt x="90" y="252"/>
                </a:lnTo>
                <a:lnTo>
                  <a:pt x="90" y="252"/>
                </a:lnTo>
                <a:lnTo>
                  <a:pt x="90" y="252"/>
                </a:lnTo>
                <a:lnTo>
                  <a:pt x="90" y="258"/>
                </a:lnTo>
                <a:lnTo>
                  <a:pt x="90" y="258"/>
                </a:lnTo>
                <a:lnTo>
                  <a:pt x="90" y="258"/>
                </a:lnTo>
                <a:lnTo>
                  <a:pt x="90" y="258"/>
                </a:lnTo>
                <a:lnTo>
                  <a:pt x="90" y="258"/>
                </a:lnTo>
                <a:lnTo>
                  <a:pt x="90" y="258"/>
                </a:lnTo>
                <a:lnTo>
                  <a:pt x="90" y="258"/>
                </a:lnTo>
                <a:lnTo>
                  <a:pt x="90" y="264"/>
                </a:lnTo>
                <a:lnTo>
                  <a:pt x="90" y="264"/>
                </a:lnTo>
                <a:lnTo>
                  <a:pt x="90" y="264"/>
                </a:lnTo>
                <a:lnTo>
                  <a:pt x="90" y="264"/>
                </a:lnTo>
                <a:lnTo>
                  <a:pt x="90" y="264"/>
                </a:lnTo>
                <a:lnTo>
                  <a:pt x="90" y="264"/>
                </a:lnTo>
                <a:lnTo>
                  <a:pt x="90" y="264"/>
                </a:lnTo>
                <a:lnTo>
                  <a:pt x="96" y="270"/>
                </a:lnTo>
                <a:lnTo>
                  <a:pt x="96" y="270"/>
                </a:lnTo>
                <a:lnTo>
                  <a:pt x="96" y="270"/>
                </a:lnTo>
                <a:lnTo>
                  <a:pt x="96" y="270"/>
                </a:lnTo>
                <a:lnTo>
                  <a:pt x="96" y="270"/>
                </a:lnTo>
                <a:lnTo>
                  <a:pt x="90" y="270"/>
                </a:lnTo>
                <a:lnTo>
                  <a:pt x="84" y="276"/>
                </a:lnTo>
                <a:lnTo>
                  <a:pt x="84" y="270"/>
                </a:lnTo>
                <a:lnTo>
                  <a:pt x="84" y="264"/>
                </a:lnTo>
                <a:lnTo>
                  <a:pt x="84" y="264"/>
                </a:lnTo>
                <a:lnTo>
                  <a:pt x="84" y="258"/>
                </a:lnTo>
                <a:lnTo>
                  <a:pt x="78" y="258"/>
                </a:lnTo>
                <a:lnTo>
                  <a:pt x="78" y="258"/>
                </a:lnTo>
                <a:lnTo>
                  <a:pt x="78" y="252"/>
                </a:lnTo>
                <a:lnTo>
                  <a:pt x="78" y="252"/>
                </a:lnTo>
                <a:lnTo>
                  <a:pt x="78" y="252"/>
                </a:lnTo>
                <a:lnTo>
                  <a:pt x="78" y="252"/>
                </a:lnTo>
                <a:lnTo>
                  <a:pt x="72" y="252"/>
                </a:lnTo>
                <a:lnTo>
                  <a:pt x="72" y="252"/>
                </a:lnTo>
                <a:lnTo>
                  <a:pt x="72" y="246"/>
                </a:lnTo>
                <a:lnTo>
                  <a:pt x="72" y="246"/>
                </a:lnTo>
                <a:lnTo>
                  <a:pt x="72" y="246"/>
                </a:lnTo>
                <a:lnTo>
                  <a:pt x="72" y="246"/>
                </a:lnTo>
                <a:lnTo>
                  <a:pt x="72" y="246"/>
                </a:lnTo>
                <a:lnTo>
                  <a:pt x="66" y="240"/>
                </a:lnTo>
                <a:lnTo>
                  <a:pt x="66" y="240"/>
                </a:lnTo>
                <a:lnTo>
                  <a:pt x="66" y="240"/>
                </a:lnTo>
                <a:lnTo>
                  <a:pt x="66" y="240"/>
                </a:lnTo>
                <a:lnTo>
                  <a:pt x="66" y="240"/>
                </a:lnTo>
                <a:lnTo>
                  <a:pt x="66" y="240"/>
                </a:lnTo>
                <a:lnTo>
                  <a:pt x="66" y="240"/>
                </a:lnTo>
                <a:lnTo>
                  <a:pt x="66" y="240"/>
                </a:lnTo>
                <a:lnTo>
                  <a:pt x="60" y="240"/>
                </a:lnTo>
                <a:lnTo>
                  <a:pt x="60" y="240"/>
                </a:lnTo>
                <a:lnTo>
                  <a:pt x="60" y="234"/>
                </a:lnTo>
                <a:lnTo>
                  <a:pt x="60" y="234"/>
                </a:lnTo>
                <a:lnTo>
                  <a:pt x="54" y="234"/>
                </a:lnTo>
                <a:lnTo>
                  <a:pt x="54" y="234"/>
                </a:lnTo>
                <a:lnTo>
                  <a:pt x="54" y="228"/>
                </a:lnTo>
                <a:lnTo>
                  <a:pt x="54" y="228"/>
                </a:lnTo>
                <a:lnTo>
                  <a:pt x="54" y="228"/>
                </a:lnTo>
                <a:lnTo>
                  <a:pt x="54" y="228"/>
                </a:lnTo>
                <a:lnTo>
                  <a:pt x="54" y="228"/>
                </a:lnTo>
                <a:lnTo>
                  <a:pt x="48" y="228"/>
                </a:lnTo>
                <a:lnTo>
                  <a:pt x="48" y="228"/>
                </a:lnTo>
                <a:lnTo>
                  <a:pt x="48" y="228"/>
                </a:lnTo>
                <a:lnTo>
                  <a:pt x="48" y="222"/>
                </a:lnTo>
                <a:lnTo>
                  <a:pt x="48" y="222"/>
                </a:lnTo>
                <a:lnTo>
                  <a:pt x="42" y="222"/>
                </a:lnTo>
                <a:lnTo>
                  <a:pt x="36" y="222"/>
                </a:lnTo>
                <a:lnTo>
                  <a:pt x="36" y="222"/>
                </a:lnTo>
                <a:lnTo>
                  <a:pt x="36" y="222"/>
                </a:lnTo>
                <a:lnTo>
                  <a:pt x="36" y="222"/>
                </a:lnTo>
                <a:lnTo>
                  <a:pt x="36" y="222"/>
                </a:lnTo>
                <a:lnTo>
                  <a:pt x="36" y="222"/>
                </a:lnTo>
                <a:lnTo>
                  <a:pt x="36" y="222"/>
                </a:lnTo>
                <a:lnTo>
                  <a:pt x="36" y="222"/>
                </a:lnTo>
                <a:lnTo>
                  <a:pt x="36" y="216"/>
                </a:lnTo>
                <a:lnTo>
                  <a:pt x="36" y="210"/>
                </a:lnTo>
                <a:lnTo>
                  <a:pt x="42" y="192"/>
                </a:lnTo>
                <a:lnTo>
                  <a:pt x="42" y="192"/>
                </a:lnTo>
                <a:lnTo>
                  <a:pt x="42" y="192"/>
                </a:lnTo>
                <a:lnTo>
                  <a:pt x="42" y="192"/>
                </a:lnTo>
                <a:lnTo>
                  <a:pt x="42" y="186"/>
                </a:lnTo>
                <a:lnTo>
                  <a:pt x="42" y="186"/>
                </a:lnTo>
                <a:lnTo>
                  <a:pt x="42" y="186"/>
                </a:lnTo>
                <a:lnTo>
                  <a:pt x="42" y="186"/>
                </a:lnTo>
                <a:lnTo>
                  <a:pt x="36" y="180"/>
                </a:lnTo>
                <a:lnTo>
                  <a:pt x="36" y="174"/>
                </a:lnTo>
                <a:lnTo>
                  <a:pt x="36" y="174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2"/>
                </a:lnTo>
                <a:lnTo>
                  <a:pt x="24" y="162"/>
                </a:lnTo>
                <a:lnTo>
                  <a:pt x="18" y="162"/>
                </a:lnTo>
                <a:lnTo>
                  <a:pt x="18" y="162"/>
                </a:lnTo>
                <a:lnTo>
                  <a:pt x="18" y="156"/>
                </a:lnTo>
                <a:lnTo>
                  <a:pt x="18" y="156"/>
                </a:lnTo>
                <a:lnTo>
                  <a:pt x="18" y="150"/>
                </a:lnTo>
                <a:lnTo>
                  <a:pt x="18" y="150"/>
                </a:lnTo>
                <a:lnTo>
                  <a:pt x="24" y="138"/>
                </a:lnTo>
                <a:lnTo>
                  <a:pt x="30" y="132"/>
                </a:lnTo>
                <a:lnTo>
                  <a:pt x="24" y="132"/>
                </a:lnTo>
                <a:lnTo>
                  <a:pt x="24" y="126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08"/>
                </a:lnTo>
                <a:lnTo>
                  <a:pt x="24" y="108"/>
                </a:lnTo>
                <a:lnTo>
                  <a:pt x="24" y="102"/>
                </a:lnTo>
                <a:lnTo>
                  <a:pt x="24" y="102"/>
                </a:lnTo>
                <a:lnTo>
                  <a:pt x="24" y="96"/>
                </a:lnTo>
                <a:lnTo>
                  <a:pt x="24" y="96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2" y="84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6" y="4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85" name="Freeform 218"/>
          <p:cNvSpPr>
            <a:spLocks/>
          </p:cNvSpPr>
          <p:nvPr/>
        </p:nvSpPr>
        <p:spPr bwMode="auto">
          <a:xfrm>
            <a:off x="8168784" y="2291289"/>
            <a:ext cx="218418" cy="167026"/>
          </a:xfrm>
          <a:custGeom>
            <a:avLst/>
            <a:gdLst>
              <a:gd name="T0" fmla="*/ 6 w 204"/>
              <a:gd name="T1" fmla="*/ 30 h 156"/>
              <a:gd name="T2" fmla="*/ 24 w 204"/>
              <a:gd name="T3" fmla="*/ 6 h 156"/>
              <a:gd name="T4" fmla="*/ 36 w 204"/>
              <a:gd name="T5" fmla="*/ 6 h 156"/>
              <a:gd name="T6" fmla="*/ 36 w 204"/>
              <a:gd name="T7" fmla="*/ 12 h 156"/>
              <a:gd name="T8" fmla="*/ 42 w 204"/>
              <a:gd name="T9" fmla="*/ 12 h 156"/>
              <a:gd name="T10" fmla="*/ 42 w 204"/>
              <a:gd name="T11" fmla="*/ 18 h 156"/>
              <a:gd name="T12" fmla="*/ 42 w 204"/>
              <a:gd name="T13" fmla="*/ 24 h 156"/>
              <a:gd name="T14" fmla="*/ 48 w 204"/>
              <a:gd name="T15" fmla="*/ 24 h 156"/>
              <a:gd name="T16" fmla="*/ 54 w 204"/>
              <a:gd name="T17" fmla="*/ 24 h 156"/>
              <a:gd name="T18" fmla="*/ 66 w 204"/>
              <a:gd name="T19" fmla="*/ 30 h 156"/>
              <a:gd name="T20" fmla="*/ 72 w 204"/>
              <a:gd name="T21" fmla="*/ 36 h 156"/>
              <a:gd name="T22" fmla="*/ 78 w 204"/>
              <a:gd name="T23" fmla="*/ 36 h 156"/>
              <a:gd name="T24" fmla="*/ 90 w 204"/>
              <a:gd name="T25" fmla="*/ 36 h 156"/>
              <a:gd name="T26" fmla="*/ 102 w 204"/>
              <a:gd name="T27" fmla="*/ 36 h 156"/>
              <a:gd name="T28" fmla="*/ 114 w 204"/>
              <a:gd name="T29" fmla="*/ 48 h 156"/>
              <a:gd name="T30" fmla="*/ 114 w 204"/>
              <a:gd name="T31" fmla="*/ 54 h 156"/>
              <a:gd name="T32" fmla="*/ 120 w 204"/>
              <a:gd name="T33" fmla="*/ 60 h 156"/>
              <a:gd name="T34" fmla="*/ 126 w 204"/>
              <a:gd name="T35" fmla="*/ 48 h 156"/>
              <a:gd name="T36" fmla="*/ 138 w 204"/>
              <a:gd name="T37" fmla="*/ 42 h 156"/>
              <a:gd name="T38" fmla="*/ 138 w 204"/>
              <a:gd name="T39" fmla="*/ 48 h 156"/>
              <a:gd name="T40" fmla="*/ 132 w 204"/>
              <a:gd name="T41" fmla="*/ 54 h 156"/>
              <a:gd name="T42" fmla="*/ 138 w 204"/>
              <a:gd name="T43" fmla="*/ 60 h 156"/>
              <a:gd name="T44" fmla="*/ 150 w 204"/>
              <a:gd name="T45" fmla="*/ 66 h 156"/>
              <a:gd name="T46" fmla="*/ 156 w 204"/>
              <a:gd name="T47" fmla="*/ 60 h 156"/>
              <a:gd name="T48" fmla="*/ 162 w 204"/>
              <a:gd name="T49" fmla="*/ 66 h 156"/>
              <a:gd name="T50" fmla="*/ 162 w 204"/>
              <a:gd name="T51" fmla="*/ 72 h 156"/>
              <a:gd name="T52" fmla="*/ 162 w 204"/>
              <a:gd name="T53" fmla="*/ 72 h 156"/>
              <a:gd name="T54" fmla="*/ 162 w 204"/>
              <a:gd name="T55" fmla="*/ 84 h 156"/>
              <a:gd name="T56" fmla="*/ 168 w 204"/>
              <a:gd name="T57" fmla="*/ 102 h 156"/>
              <a:gd name="T58" fmla="*/ 174 w 204"/>
              <a:gd name="T59" fmla="*/ 108 h 156"/>
              <a:gd name="T60" fmla="*/ 174 w 204"/>
              <a:gd name="T61" fmla="*/ 114 h 156"/>
              <a:gd name="T62" fmla="*/ 180 w 204"/>
              <a:gd name="T63" fmla="*/ 120 h 156"/>
              <a:gd name="T64" fmla="*/ 186 w 204"/>
              <a:gd name="T65" fmla="*/ 120 h 156"/>
              <a:gd name="T66" fmla="*/ 192 w 204"/>
              <a:gd name="T67" fmla="*/ 120 h 156"/>
              <a:gd name="T68" fmla="*/ 198 w 204"/>
              <a:gd name="T69" fmla="*/ 120 h 156"/>
              <a:gd name="T70" fmla="*/ 204 w 204"/>
              <a:gd name="T71" fmla="*/ 126 h 156"/>
              <a:gd name="T72" fmla="*/ 198 w 204"/>
              <a:gd name="T73" fmla="*/ 132 h 156"/>
              <a:gd name="T74" fmla="*/ 198 w 204"/>
              <a:gd name="T75" fmla="*/ 138 h 156"/>
              <a:gd name="T76" fmla="*/ 198 w 204"/>
              <a:gd name="T77" fmla="*/ 138 h 156"/>
              <a:gd name="T78" fmla="*/ 192 w 204"/>
              <a:gd name="T79" fmla="*/ 138 h 156"/>
              <a:gd name="T80" fmla="*/ 192 w 204"/>
              <a:gd name="T81" fmla="*/ 138 h 156"/>
              <a:gd name="T82" fmla="*/ 186 w 204"/>
              <a:gd name="T83" fmla="*/ 144 h 156"/>
              <a:gd name="T84" fmla="*/ 186 w 204"/>
              <a:gd name="T85" fmla="*/ 144 h 156"/>
              <a:gd name="T86" fmla="*/ 180 w 204"/>
              <a:gd name="T87" fmla="*/ 150 h 156"/>
              <a:gd name="T88" fmla="*/ 174 w 204"/>
              <a:gd name="T89" fmla="*/ 150 h 156"/>
              <a:gd name="T90" fmla="*/ 168 w 204"/>
              <a:gd name="T91" fmla="*/ 144 h 156"/>
              <a:gd name="T92" fmla="*/ 162 w 204"/>
              <a:gd name="T93" fmla="*/ 150 h 156"/>
              <a:gd name="T94" fmla="*/ 156 w 204"/>
              <a:gd name="T95" fmla="*/ 156 h 156"/>
              <a:gd name="T96" fmla="*/ 126 w 204"/>
              <a:gd name="T97" fmla="*/ 150 h 156"/>
              <a:gd name="T98" fmla="*/ 54 w 204"/>
              <a:gd name="T99" fmla="*/ 144 h 156"/>
              <a:gd name="T100" fmla="*/ 54 w 204"/>
              <a:gd name="T101" fmla="*/ 144 h 156"/>
              <a:gd name="T102" fmla="*/ 48 w 204"/>
              <a:gd name="T103" fmla="*/ 144 h 156"/>
              <a:gd name="T104" fmla="*/ 42 w 204"/>
              <a:gd name="T105" fmla="*/ 144 h 156"/>
              <a:gd name="T106" fmla="*/ 36 w 204"/>
              <a:gd name="T107" fmla="*/ 144 h 156"/>
              <a:gd name="T108" fmla="*/ 30 w 204"/>
              <a:gd name="T109" fmla="*/ 144 h 156"/>
              <a:gd name="T110" fmla="*/ 36 w 204"/>
              <a:gd name="T111" fmla="*/ 120 h 156"/>
              <a:gd name="T112" fmla="*/ 36 w 204"/>
              <a:gd name="T113" fmla="*/ 114 h 156"/>
              <a:gd name="T114" fmla="*/ 30 w 204"/>
              <a:gd name="T115" fmla="*/ 108 h 156"/>
              <a:gd name="T116" fmla="*/ 24 w 204"/>
              <a:gd name="T117" fmla="*/ 102 h 156"/>
              <a:gd name="T118" fmla="*/ 24 w 204"/>
              <a:gd name="T119" fmla="*/ 102 h 156"/>
              <a:gd name="T120" fmla="*/ 24 w 204"/>
              <a:gd name="T121" fmla="*/ 96 h 156"/>
              <a:gd name="T122" fmla="*/ 24 w 204"/>
              <a:gd name="T123" fmla="*/ 84 h 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04" h="156">
                <a:moveTo>
                  <a:pt x="24" y="84"/>
                </a:moveTo>
                <a:lnTo>
                  <a:pt x="6" y="60"/>
                </a:lnTo>
                <a:lnTo>
                  <a:pt x="0" y="48"/>
                </a:lnTo>
                <a:lnTo>
                  <a:pt x="6" y="30"/>
                </a:lnTo>
                <a:lnTo>
                  <a:pt x="18" y="12"/>
                </a:lnTo>
                <a:lnTo>
                  <a:pt x="24" y="6"/>
                </a:lnTo>
                <a:lnTo>
                  <a:pt x="24" y="0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42" y="12"/>
                </a:lnTo>
                <a:lnTo>
                  <a:pt x="42" y="12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60" y="24"/>
                </a:lnTo>
                <a:lnTo>
                  <a:pt x="66" y="24"/>
                </a:lnTo>
                <a:lnTo>
                  <a:pt x="66" y="30"/>
                </a:lnTo>
                <a:lnTo>
                  <a:pt x="66" y="30"/>
                </a:lnTo>
                <a:lnTo>
                  <a:pt x="72" y="30"/>
                </a:lnTo>
                <a:lnTo>
                  <a:pt x="72" y="30"/>
                </a:lnTo>
                <a:lnTo>
                  <a:pt x="72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84" y="36"/>
                </a:lnTo>
                <a:lnTo>
                  <a:pt x="84" y="36"/>
                </a:lnTo>
                <a:lnTo>
                  <a:pt x="90" y="36"/>
                </a:lnTo>
                <a:lnTo>
                  <a:pt x="90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102" y="36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14" y="48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60"/>
                </a:lnTo>
                <a:lnTo>
                  <a:pt x="114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54"/>
                </a:lnTo>
                <a:lnTo>
                  <a:pt x="120" y="48"/>
                </a:lnTo>
                <a:lnTo>
                  <a:pt x="126" y="48"/>
                </a:lnTo>
                <a:lnTo>
                  <a:pt x="126" y="42"/>
                </a:lnTo>
                <a:lnTo>
                  <a:pt x="132" y="36"/>
                </a:lnTo>
                <a:lnTo>
                  <a:pt x="132" y="36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8"/>
                </a:lnTo>
                <a:lnTo>
                  <a:pt x="138" y="48"/>
                </a:lnTo>
                <a:lnTo>
                  <a:pt x="138" y="54"/>
                </a:lnTo>
                <a:lnTo>
                  <a:pt x="132" y="54"/>
                </a:lnTo>
                <a:lnTo>
                  <a:pt x="132" y="54"/>
                </a:lnTo>
                <a:lnTo>
                  <a:pt x="132" y="54"/>
                </a:lnTo>
                <a:lnTo>
                  <a:pt x="132" y="54"/>
                </a:lnTo>
                <a:lnTo>
                  <a:pt x="138" y="54"/>
                </a:lnTo>
                <a:lnTo>
                  <a:pt x="138" y="60"/>
                </a:lnTo>
                <a:lnTo>
                  <a:pt x="138" y="60"/>
                </a:lnTo>
                <a:lnTo>
                  <a:pt x="144" y="66"/>
                </a:lnTo>
                <a:lnTo>
                  <a:pt x="144" y="66"/>
                </a:lnTo>
                <a:lnTo>
                  <a:pt x="144" y="66"/>
                </a:lnTo>
                <a:lnTo>
                  <a:pt x="150" y="66"/>
                </a:lnTo>
                <a:lnTo>
                  <a:pt x="150" y="66"/>
                </a:lnTo>
                <a:lnTo>
                  <a:pt x="156" y="60"/>
                </a:lnTo>
                <a:lnTo>
                  <a:pt x="156" y="60"/>
                </a:lnTo>
                <a:lnTo>
                  <a:pt x="156" y="60"/>
                </a:lnTo>
                <a:lnTo>
                  <a:pt x="156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6"/>
                </a:lnTo>
                <a:lnTo>
                  <a:pt x="162" y="66"/>
                </a:lnTo>
                <a:lnTo>
                  <a:pt x="162" y="66"/>
                </a:lnTo>
                <a:lnTo>
                  <a:pt x="162" y="66"/>
                </a:lnTo>
                <a:lnTo>
                  <a:pt x="162" y="72"/>
                </a:lnTo>
                <a:lnTo>
                  <a:pt x="162" y="72"/>
                </a:lnTo>
                <a:lnTo>
                  <a:pt x="162" y="72"/>
                </a:lnTo>
                <a:lnTo>
                  <a:pt x="162" y="72"/>
                </a:lnTo>
                <a:lnTo>
                  <a:pt x="162" y="72"/>
                </a:lnTo>
                <a:lnTo>
                  <a:pt x="162" y="78"/>
                </a:lnTo>
                <a:lnTo>
                  <a:pt x="162" y="78"/>
                </a:lnTo>
                <a:lnTo>
                  <a:pt x="162" y="78"/>
                </a:lnTo>
                <a:lnTo>
                  <a:pt x="162" y="84"/>
                </a:lnTo>
                <a:lnTo>
                  <a:pt x="162" y="84"/>
                </a:lnTo>
                <a:lnTo>
                  <a:pt x="168" y="90"/>
                </a:lnTo>
                <a:lnTo>
                  <a:pt x="162" y="90"/>
                </a:lnTo>
                <a:lnTo>
                  <a:pt x="168" y="102"/>
                </a:lnTo>
                <a:lnTo>
                  <a:pt x="168" y="102"/>
                </a:lnTo>
                <a:lnTo>
                  <a:pt x="174" y="102"/>
                </a:lnTo>
                <a:lnTo>
                  <a:pt x="174" y="102"/>
                </a:lnTo>
                <a:lnTo>
                  <a:pt x="174" y="108"/>
                </a:lnTo>
                <a:lnTo>
                  <a:pt x="174" y="108"/>
                </a:lnTo>
                <a:lnTo>
                  <a:pt x="174" y="114"/>
                </a:lnTo>
                <a:lnTo>
                  <a:pt x="174" y="114"/>
                </a:lnTo>
                <a:lnTo>
                  <a:pt x="174" y="114"/>
                </a:lnTo>
                <a:lnTo>
                  <a:pt x="174" y="114"/>
                </a:lnTo>
                <a:lnTo>
                  <a:pt x="174" y="114"/>
                </a:lnTo>
                <a:lnTo>
                  <a:pt x="180" y="114"/>
                </a:lnTo>
                <a:lnTo>
                  <a:pt x="180" y="120"/>
                </a:lnTo>
                <a:lnTo>
                  <a:pt x="186" y="120"/>
                </a:lnTo>
                <a:lnTo>
                  <a:pt x="186" y="120"/>
                </a:lnTo>
                <a:lnTo>
                  <a:pt x="186" y="120"/>
                </a:lnTo>
                <a:lnTo>
                  <a:pt x="186" y="120"/>
                </a:lnTo>
                <a:lnTo>
                  <a:pt x="192" y="120"/>
                </a:lnTo>
                <a:lnTo>
                  <a:pt x="192" y="120"/>
                </a:lnTo>
                <a:lnTo>
                  <a:pt x="192" y="120"/>
                </a:lnTo>
                <a:lnTo>
                  <a:pt x="192" y="120"/>
                </a:lnTo>
                <a:lnTo>
                  <a:pt x="192" y="120"/>
                </a:lnTo>
                <a:lnTo>
                  <a:pt x="198" y="120"/>
                </a:lnTo>
                <a:lnTo>
                  <a:pt x="198" y="120"/>
                </a:lnTo>
                <a:lnTo>
                  <a:pt x="198" y="120"/>
                </a:lnTo>
                <a:lnTo>
                  <a:pt x="198" y="126"/>
                </a:lnTo>
                <a:lnTo>
                  <a:pt x="204" y="126"/>
                </a:lnTo>
                <a:lnTo>
                  <a:pt x="204" y="126"/>
                </a:lnTo>
                <a:lnTo>
                  <a:pt x="204" y="126"/>
                </a:lnTo>
                <a:lnTo>
                  <a:pt x="204" y="126"/>
                </a:lnTo>
                <a:lnTo>
                  <a:pt x="198" y="132"/>
                </a:lnTo>
                <a:lnTo>
                  <a:pt x="198" y="132"/>
                </a:lnTo>
                <a:lnTo>
                  <a:pt x="198" y="132"/>
                </a:lnTo>
                <a:lnTo>
                  <a:pt x="198" y="132"/>
                </a:lnTo>
                <a:lnTo>
                  <a:pt x="198" y="132"/>
                </a:lnTo>
                <a:lnTo>
                  <a:pt x="198" y="138"/>
                </a:lnTo>
                <a:lnTo>
                  <a:pt x="198" y="138"/>
                </a:lnTo>
                <a:lnTo>
                  <a:pt x="198" y="138"/>
                </a:lnTo>
                <a:lnTo>
                  <a:pt x="198" y="138"/>
                </a:lnTo>
                <a:lnTo>
                  <a:pt x="198" y="138"/>
                </a:lnTo>
                <a:lnTo>
                  <a:pt x="198" y="138"/>
                </a:lnTo>
                <a:lnTo>
                  <a:pt x="198" y="138"/>
                </a:lnTo>
                <a:lnTo>
                  <a:pt x="198" y="138"/>
                </a:lnTo>
                <a:lnTo>
                  <a:pt x="198" y="138"/>
                </a:lnTo>
                <a:lnTo>
                  <a:pt x="192" y="138"/>
                </a:lnTo>
                <a:lnTo>
                  <a:pt x="192" y="138"/>
                </a:lnTo>
                <a:lnTo>
                  <a:pt x="192" y="138"/>
                </a:lnTo>
                <a:lnTo>
                  <a:pt x="192" y="138"/>
                </a:lnTo>
                <a:lnTo>
                  <a:pt x="192" y="138"/>
                </a:lnTo>
                <a:lnTo>
                  <a:pt x="192" y="144"/>
                </a:lnTo>
                <a:lnTo>
                  <a:pt x="186" y="138"/>
                </a:lnTo>
                <a:lnTo>
                  <a:pt x="186" y="144"/>
                </a:lnTo>
                <a:lnTo>
                  <a:pt x="186" y="144"/>
                </a:lnTo>
                <a:lnTo>
                  <a:pt x="186" y="144"/>
                </a:lnTo>
                <a:lnTo>
                  <a:pt x="186" y="144"/>
                </a:lnTo>
                <a:lnTo>
                  <a:pt x="186" y="144"/>
                </a:lnTo>
                <a:lnTo>
                  <a:pt x="186" y="144"/>
                </a:lnTo>
                <a:lnTo>
                  <a:pt x="186" y="144"/>
                </a:lnTo>
                <a:lnTo>
                  <a:pt x="186" y="144"/>
                </a:lnTo>
                <a:lnTo>
                  <a:pt x="186" y="150"/>
                </a:lnTo>
                <a:lnTo>
                  <a:pt x="180" y="150"/>
                </a:lnTo>
                <a:lnTo>
                  <a:pt x="180" y="150"/>
                </a:lnTo>
                <a:lnTo>
                  <a:pt x="180" y="150"/>
                </a:lnTo>
                <a:lnTo>
                  <a:pt x="174" y="150"/>
                </a:lnTo>
                <a:lnTo>
                  <a:pt x="174" y="150"/>
                </a:lnTo>
                <a:lnTo>
                  <a:pt x="168" y="150"/>
                </a:lnTo>
                <a:lnTo>
                  <a:pt x="168" y="144"/>
                </a:lnTo>
                <a:lnTo>
                  <a:pt x="168" y="144"/>
                </a:lnTo>
                <a:lnTo>
                  <a:pt x="168" y="144"/>
                </a:lnTo>
                <a:lnTo>
                  <a:pt x="162" y="150"/>
                </a:lnTo>
                <a:lnTo>
                  <a:pt x="162" y="150"/>
                </a:lnTo>
                <a:lnTo>
                  <a:pt x="162" y="150"/>
                </a:lnTo>
                <a:lnTo>
                  <a:pt x="162" y="150"/>
                </a:lnTo>
                <a:lnTo>
                  <a:pt x="162" y="150"/>
                </a:lnTo>
                <a:lnTo>
                  <a:pt x="162" y="156"/>
                </a:lnTo>
                <a:lnTo>
                  <a:pt x="156" y="156"/>
                </a:lnTo>
                <a:lnTo>
                  <a:pt x="156" y="156"/>
                </a:lnTo>
                <a:lnTo>
                  <a:pt x="156" y="156"/>
                </a:lnTo>
                <a:lnTo>
                  <a:pt x="144" y="156"/>
                </a:lnTo>
                <a:lnTo>
                  <a:pt x="138" y="150"/>
                </a:lnTo>
                <a:lnTo>
                  <a:pt x="126" y="150"/>
                </a:lnTo>
                <a:lnTo>
                  <a:pt x="90" y="144"/>
                </a:lnTo>
                <a:lnTo>
                  <a:pt x="72" y="144"/>
                </a:lnTo>
                <a:lnTo>
                  <a:pt x="60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36" y="144"/>
                </a:lnTo>
                <a:lnTo>
                  <a:pt x="36" y="144"/>
                </a:lnTo>
                <a:lnTo>
                  <a:pt x="36" y="144"/>
                </a:lnTo>
                <a:lnTo>
                  <a:pt x="36" y="144"/>
                </a:lnTo>
                <a:lnTo>
                  <a:pt x="36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38"/>
                </a:lnTo>
                <a:lnTo>
                  <a:pt x="30" y="138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0"/>
                </a:lnTo>
                <a:lnTo>
                  <a:pt x="24" y="90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86" name="Freeform 219"/>
          <p:cNvSpPr>
            <a:spLocks/>
          </p:cNvSpPr>
          <p:nvPr/>
        </p:nvSpPr>
        <p:spPr bwMode="auto">
          <a:xfrm>
            <a:off x="8271569" y="2683158"/>
            <a:ext cx="147753" cy="128482"/>
          </a:xfrm>
          <a:custGeom>
            <a:avLst/>
            <a:gdLst>
              <a:gd name="T0" fmla="*/ 42 w 138"/>
              <a:gd name="T1" fmla="*/ 18 h 120"/>
              <a:gd name="T2" fmla="*/ 72 w 138"/>
              <a:gd name="T3" fmla="*/ 6 h 120"/>
              <a:gd name="T4" fmla="*/ 78 w 138"/>
              <a:gd name="T5" fmla="*/ 6 h 120"/>
              <a:gd name="T6" fmla="*/ 84 w 138"/>
              <a:gd name="T7" fmla="*/ 6 h 120"/>
              <a:gd name="T8" fmla="*/ 90 w 138"/>
              <a:gd name="T9" fmla="*/ 12 h 120"/>
              <a:gd name="T10" fmla="*/ 96 w 138"/>
              <a:gd name="T11" fmla="*/ 18 h 120"/>
              <a:gd name="T12" fmla="*/ 96 w 138"/>
              <a:gd name="T13" fmla="*/ 18 h 120"/>
              <a:gd name="T14" fmla="*/ 102 w 138"/>
              <a:gd name="T15" fmla="*/ 12 h 120"/>
              <a:gd name="T16" fmla="*/ 108 w 138"/>
              <a:gd name="T17" fmla="*/ 12 h 120"/>
              <a:gd name="T18" fmla="*/ 114 w 138"/>
              <a:gd name="T19" fmla="*/ 12 h 120"/>
              <a:gd name="T20" fmla="*/ 114 w 138"/>
              <a:gd name="T21" fmla="*/ 6 h 120"/>
              <a:gd name="T22" fmla="*/ 120 w 138"/>
              <a:gd name="T23" fmla="*/ 12 h 120"/>
              <a:gd name="T24" fmla="*/ 120 w 138"/>
              <a:gd name="T25" fmla="*/ 12 h 120"/>
              <a:gd name="T26" fmla="*/ 126 w 138"/>
              <a:gd name="T27" fmla="*/ 12 h 120"/>
              <a:gd name="T28" fmla="*/ 126 w 138"/>
              <a:gd name="T29" fmla="*/ 12 h 120"/>
              <a:gd name="T30" fmla="*/ 126 w 138"/>
              <a:gd name="T31" fmla="*/ 12 h 120"/>
              <a:gd name="T32" fmla="*/ 126 w 138"/>
              <a:gd name="T33" fmla="*/ 18 h 120"/>
              <a:gd name="T34" fmla="*/ 126 w 138"/>
              <a:gd name="T35" fmla="*/ 18 h 120"/>
              <a:gd name="T36" fmla="*/ 132 w 138"/>
              <a:gd name="T37" fmla="*/ 24 h 120"/>
              <a:gd name="T38" fmla="*/ 132 w 138"/>
              <a:gd name="T39" fmla="*/ 24 h 120"/>
              <a:gd name="T40" fmla="*/ 126 w 138"/>
              <a:gd name="T41" fmla="*/ 30 h 120"/>
              <a:gd name="T42" fmla="*/ 132 w 138"/>
              <a:gd name="T43" fmla="*/ 36 h 120"/>
              <a:gd name="T44" fmla="*/ 138 w 138"/>
              <a:gd name="T45" fmla="*/ 42 h 120"/>
              <a:gd name="T46" fmla="*/ 138 w 138"/>
              <a:gd name="T47" fmla="*/ 48 h 120"/>
              <a:gd name="T48" fmla="*/ 132 w 138"/>
              <a:gd name="T49" fmla="*/ 54 h 120"/>
              <a:gd name="T50" fmla="*/ 126 w 138"/>
              <a:gd name="T51" fmla="*/ 54 h 120"/>
              <a:gd name="T52" fmla="*/ 126 w 138"/>
              <a:gd name="T53" fmla="*/ 48 h 120"/>
              <a:gd name="T54" fmla="*/ 120 w 138"/>
              <a:gd name="T55" fmla="*/ 48 h 120"/>
              <a:gd name="T56" fmla="*/ 102 w 138"/>
              <a:gd name="T57" fmla="*/ 42 h 120"/>
              <a:gd name="T58" fmla="*/ 78 w 138"/>
              <a:gd name="T59" fmla="*/ 72 h 120"/>
              <a:gd name="T60" fmla="*/ 78 w 138"/>
              <a:gd name="T61" fmla="*/ 90 h 120"/>
              <a:gd name="T62" fmla="*/ 78 w 138"/>
              <a:gd name="T63" fmla="*/ 90 h 120"/>
              <a:gd name="T64" fmla="*/ 78 w 138"/>
              <a:gd name="T65" fmla="*/ 96 h 120"/>
              <a:gd name="T66" fmla="*/ 84 w 138"/>
              <a:gd name="T67" fmla="*/ 102 h 120"/>
              <a:gd name="T68" fmla="*/ 90 w 138"/>
              <a:gd name="T69" fmla="*/ 102 h 120"/>
              <a:gd name="T70" fmla="*/ 96 w 138"/>
              <a:gd name="T71" fmla="*/ 108 h 120"/>
              <a:gd name="T72" fmla="*/ 96 w 138"/>
              <a:gd name="T73" fmla="*/ 114 h 120"/>
              <a:gd name="T74" fmla="*/ 102 w 138"/>
              <a:gd name="T75" fmla="*/ 120 h 120"/>
              <a:gd name="T76" fmla="*/ 78 w 138"/>
              <a:gd name="T77" fmla="*/ 114 h 120"/>
              <a:gd name="T78" fmla="*/ 54 w 138"/>
              <a:gd name="T79" fmla="*/ 120 h 120"/>
              <a:gd name="T80" fmla="*/ 42 w 138"/>
              <a:gd name="T81" fmla="*/ 120 h 120"/>
              <a:gd name="T82" fmla="*/ 30 w 138"/>
              <a:gd name="T83" fmla="*/ 114 h 120"/>
              <a:gd name="T84" fmla="*/ 30 w 138"/>
              <a:gd name="T85" fmla="*/ 108 h 120"/>
              <a:gd name="T86" fmla="*/ 30 w 138"/>
              <a:gd name="T87" fmla="*/ 96 h 120"/>
              <a:gd name="T88" fmla="*/ 30 w 138"/>
              <a:gd name="T89" fmla="*/ 90 h 120"/>
              <a:gd name="T90" fmla="*/ 24 w 138"/>
              <a:gd name="T91" fmla="*/ 84 h 120"/>
              <a:gd name="T92" fmla="*/ 36 w 138"/>
              <a:gd name="T93" fmla="*/ 78 h 120"/>
              <a:gd name="T94" fmla="*/ 24 w 138"/>
              <a:gd name="T95" fmla="*/ 48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38" h="120">
                <a:moveTo>
                  <a:pt x="0" y="6"/>
                </a:moveTo>
                <a:lnTo>
                  <a:pt x="36" y="18"/>
                </a:lnTo>
                <a:lnTo>
                  <a:pt x="36" y="18"/>
                </a:lnTo>
                <a:lnTo>
                  <a:pt x="42" y="18"/>
                </a:lnTo>
                <a:lnTo>
                  <a:pt x="42" y="24"/>
                </a:lnTo>
                <a:lnTo>
                  <a:pt x="66" y="30"/>
                </a:lnTo>
                <a:lnTo>
                  <a:pt x="72" y="12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78" y="0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8" y="12"/>
                </a:lnTo>
                <a:lnTo>
                  <a:pt x="108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6"/>
                </a:lnTo>
                <a:lnTo>
                  <a:pt x="114" y="6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6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8"/>
                </a:lnTo>
                <a:lnTo>
                  <a:pt x="138" y="48"/>
                </a:lnTo>
                <a:lnTo>
                  <a:pt x="138" y="48"/>
                </a:lnTo>
                <a:lnTo>
                  <a:pt x="132" y="48"/>
                </a:lnTo>
                <a:lnTo>
                  <a:pt x="132" y="54"/>
                </a:lnTo>
                <a:lnTo>
                  <a:pt x="132" y="54"/>
                </a:lnTo>
                <a:lnTo>
                  <a:pt x="126" y="54"/>
                </a:lnTo>
                <a:lnTo>
                  <a:pt x="126" y="48"/>
                </a:lnTo>
                <a:lnTo>
                  <a:pt x="126" y="48"/>
                </a:lnTo>
                <a:lnTo>
                  <a:pt x="126" y="54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2"/>
                </a:lnTo>
                <a:lnTo>
                  <a:pt x="102" y="54"/>
                </a:lnTo>
                <a:lnTo>
                  <a:pt x="102" y="54"/>
                </a:lnTo>
                <a:lnTo>
                  <a:pt x="102" y="42"/>
                </a:lnTo>
                <a:lnTo>
                  <a:pt x="84" y="60"/>
                </a:lnTo>
                <a:lnTo>
                  <a:pt x="84" y="60"/>
                </a:lnTo>
                <a:lnTo>
                  <a:pt x="78" y="72"/>
                </a:lnTo>
                <a:lnTo>
                  <a:pt x="78" y="72"/>
                </a:lnTo>
                <a:lnTo>
                  <a:pt x="72" y="84"/>
                </a:lnTo>
                <a:lnTo>
                  <a:pt x="72" y="84"/>
                </a:lnTo>
                <a:lnTo>
                  <a:pt x="72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6"/>
                </a:lnTo>
                <a:lnTo>
                  <a:pt x="78" y="96"/>
                </a:lnTo>
                <a:lnTo>
                  <a:pt x="78" y="102"/>
                </a:lnTo>
                <a:lnTo>
                  <a:pt x="84" y="102"/>
                </a:lnTo>
                <a:lnTo>
                  <a:pt x="84" y="102"/>
                </a:lnTo>
                <a:lnTo>
                  <a:pt x="84" y="102"/>
                </a:lnTo>
                <a:lnTo>
                  <a:pt x="84" y="102"/>
                </a:lnTo>
                <a:lnTo>
                  <a:pt x="90" y="102"/>
                </a:lnTo>
                <a:lnTo>
                  <a:pt x="90" y="102"/>
                </a:lnTo>
                <a:lnTo>
                  <a:pt x="90" y="102"/>
                </a:lnTo>
                <a:lnTo>
                  <a:pt x="90" y="102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14"/>
                </a:lnTo>
                <a:lnTo>
                  <a:pt x="96" y="120"/>
                </a:lnTo>
                <a:lnTo>
                  <a:pt x="96" y="114"/>
                </a:lnTo>
                <a:lnTo>
                  <a:pt x="96" y="120"/>
                </a:lnTo>
                <a:lnTo>
                  <a:pt x="102" y="120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78" y="114"/>
                </a:lnTo>
                <a:lnTo>
                  <a:pt x="78" y="114"/>
                </a:lnTo>
                <a:lnTo>
                  <a:pt x="72" y="120"/>
                </a:lnTo>
                <a:lnTo>
                  <a:pt x="66" y="120"/>
                </a:lnTo>
                <a:lnTo>
                  <a:pt x="54" y="120"/>
                </a:lnTo>
                <a:lnTo>
                  <a:pt x="54" y="120"/>
                </a:lnTo>
                <a:lnTo>
                  <a:pt x="54" y="120"/>
                </a:lnTo>
                <a:lnTo>
                  <a:pt x="48" y="120"/>
                </a:lnTo>
                <a:lnTo>
                  <a:pt x="42" y="120"/>
                </a:lnTo>
                <a:lnTo>
                  <a:pt x="42" y="120"/>
                </a:lnTo>
                <a:lnTo>
                  <a:pt x="36" y="120"/>
                </a:lnTo>
                <a:lnTo>
                  <a:pt x="36" y="120"/>
                </a:lnTo>
                <a:lnTo>
                  <a:pt x="30" y="114"/>
                </a:lnTo>
                <a:lnTo>
                  <a:pt x="30" y="114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0"/>
                </a:lnTo>
                <a:lnTo>
                  <a:pt x="30" y="90"/>
                </a:lnTo>
                <a:lnTo>
                  <a:pt x="24" y="90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78"/>
                </a:lnTo>
                <a:lnTo>
                  <a:pt x="30" y="78"/>
                </a:lnTo>
                <a:lnTo>
                  <a:pt x="36" y="7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18" y="48"/>
                </a:lnTo>
                <a:lnTo>
                  <a:pt x="12" y="30"/>
                </a:lnTo>
                <a:lnTo>
                  <a:pt x="0" y="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87" name="Freeform 220"/>
          <p:cNvSpPr>
            <a:spLocks/>
          </p:cNvSpPr>
          <p:nvPr/>
        </p:nvSpPr>
        <p:spPr bwMode="auto">
          <a:xfrm>
            <a:off x="8271569" y="2535404"/>
            <a:ext cx="141329" cy="179875"/>
          </a:xfrm>
          <a:custGeom>
            <a:avLst/>
            <a:gdLst>
              <a:gd name="T0" fmla="*/ 30 w 132"/>
              <a:gd name="T1" fmla="*/ 114 h 168"/>
              <a:gd name="T2" fmla="*/ 30 w 132"/>
              <a:gd name="T3" fmla="*/ 102 h 168"/>
              <a:gd name="T4" fmla="*/ 18 w 132"/>
              <a:gd name="T5" fmla="*/ 54 h 168"/>
              <a:gd name="T6" fmla="*/ 12 w 132"/>
              <a:gd name="T7" fmla="*/ 48 h 168"/>
              <a:gd name="T8" fmla="*/ 12 w 132"/>
              <a:gd name="T9" fmla="*/ 42 h 168"/>
              <a:gd name="T10" fmla="*/ 36 w 132"/>
              <a:gd name="T11" fmla="*/ 30 h 168"/>
              <a:gd name="T12" fmla="*/ 42 w 132"/>
              <a:gd name="T13" fmla="*/ 24 h 168"/>
              <a:gd name="T14" fmla="*/ 48 w 132"/>
              <a:gd name="T15" fmla="*/ 6 h 168"/>
              <a:gd name="T16" fmla="*/ 54 w 132"/>
              <a:gd name="T17" fmla="*/ 0 h 168"/>
              <a:gd name="T18" fmla="*/ 78 w 132"/>
              <a:gd name="T19" fmla="*/ 12 h 168"/>
              <a:gd name="T20" fmla="*/ 90 w 132"/>
              <a:gd name="T21" fmla="*/ 24 h 168"/>
              <a:gd name="T22" fmla="*/ 96 w 132"/>
              <a:gd name="T23" fmla="*/ 18 h 168"/>
              <a:gd name="T24" fmla="*/ 108 w 132"/>
              <a:gd name="T25" fmla="*/ 18 h 168"/>
              <a:gd name="T26" fmla="*/ 108 w 132"/>
              <a:gd name="T27" fmla="*/ 18 h 168"/>
              <a:gd name="T28" fmla="*/ 108 w 132"/>
              <a:gd name="T29" fmla="*/ 18 h 168"/>
              <a:gd name="T30" fmla="*/ 114 w 132"/>
              <a:gd name="T31" fmla="*/ 24 h 168"/>
              <a:gd name="T32" fmla="*/ 120 w 132"/>
              <a:gd name="T33" fmla="*/ 24 h 168"/>
              <a:gd name="T34" fmla="*/ 120 w 132"/>
              <a:gd name="T35" fmla="*/ 30 h 168"/>
              <a:gd name="T36" fmla="*/ 114 w 132"/>
              <a:gd name="T37" fmla="*/ 36 h 168"/>
              <a:gd name="T38" fmla="*/ 120 w 132"/>
              <a:gd name="T39" fmla="*/ 30 h 168"/>
              <a:gd name="T40" fmla="*/ 126 w 132"/>
              <a:gd name="T41" fmla="*/ 36 h 168"/>
              <a:gd name="T42" fmla="*/ 126 w 132"/>
              <a:gd name="T43" fmla="*/ 36 h 168"/>
              <a:gd name="T44" fmla="*/ 126 w 132"/>
              <a:gd name="T45" fmla="*/ 42 h 168"/>
              <a:gd name="T46" fmla="*/ 102 w 132"/>
              <a:gd name="T47" fmla="*/ 66 h 168"/>
              <a:gd name="T48" fmla="*/ 102 w 132"/>
              <a:gd name="T49" fmla="*/ 54 h 168"/>
              <a:gd name="T50" fmla="*/ 90 w 132"/>
              <a:gd name="T51" fmla="*/ 54 h 168"/>
              <a:gd name="T52" fmla="*/ 84 w 132"/>
              <a:gd name="T53" fmla="*/ 54 h 168"/>
              <a:gd name="T54" fmla="*/ 78 w 132"/>
              <a:gd name="T55" fmla="*/ 60 h 168"/>
              <a:gd name="T56" fmla="*/ 78 w 132"/>
              <a:gd name="T57" fmla="*/ 66 h 168"/>
              <a:gd name="T58" fmla="*/ 72 w 132"/>
              <a:gd name="T59" fmla="*/ 72 h 168"/>
              <a:gd name="T60" fmla="*/ 72 w 132"/>
              <a:gd name="T61" fmla="*/ 78 h 168"/>
              <a:gd name="T62" fmla="*/ 78 w 132"/>
              <a:gd name="T63" fmla="*/ 84 h 168"/>
              <a:gd name="T64" fmla="*/ 84 w 132"/>
              <a:gd name="T65" fmla="*/ 90 h 168"/>
              <a:gd name="T66" fmla="*/ 84 w 132"/>
              <a:gd name="T67" fmla="*/ 96 h 168"/>
              <a:gd name="T68" fmla="*/ 90 w 132"/>
              <a:gd name="T69" fmla="*/ 96 h 168"/>
              <a:gd name="T70" fmla="*/ 90 w 132"/>
              <a:gd name="T71" fmla="*/ 96 h 168"/>
              <a:gd name="T72" fmla="*/ 96 w 132"/>
              <a:gd name="T73" fmla="*/ 102 h 168"/>
              <a:gd name="T74" fmla="*/ 96 w 132"/>
              <a:gd name="T75" fmla="*/ 108 h 168"/>
              <a:gd name="T76" fmla="*/ 96 w 132"/>
              <a:gd name="T77" fmla="*/ 108 h 168"/>
              <a:gd name="T78" fmla="*/ 96 w 132"/>
              <a:gd name="T79" fmla="*/ 114 h 168"/>
              <a:gd name="T80" fmla="*/ 102 w 132"/>
              <a:gd name="T81" fmla="*/ 114 h 168"/>
              <a:gd name="T82" fmla="*/ 108 w 132"/>
              <a:gd name="T83" fmla="*/ 120 h 168"/>
              <a:gd name="T84" fmla="*/ 108 w 132"/>
              <a:gd name="T85" fmla="*/ 120 h 168"/>
              <a:gd name="T86" fmla="*/ 108 w 132"/>
              <a:gd name="T87" fmla="*/ 126 h 168"/>
              <a:gd name="T88" fmla="*/ 108 w 132"/>
              <a:gd name="T89" fmla="*/ 126 h 168"/>
              <a:gd name="T90" fmla="*/ 108 w 132"/>
              <a:gd name="T91" fmla="*/ 132 h 168"/>
              <a:gd name="T92" fmla="*/ 108 w 132"/>
              <a:gd name="T93" fmla="*/ 138 h 168"/>
              <a:gd name="T94" fmla="*/ 108 w 132"/>
              <a:gd name="T95" fmla="*/ 138 h 168"/>
              <a:gd name="T96" fmla="*/ 108 w 132"/>
              <a:gd name="T97" fmla="*/ 144 h 168"/>
              <a:gd name="T98" fmla="*/ 108 w 132"/>
              <a:gd name="T99" fmla="*/ 144 h 168"/>
              <a:gd name="T100" fmla="*/ 114 w 132"/>
              <a:gd name="T101" fmla="*/ 144 h 168"/>
              <a:gd name="T102" fmla="*/ 114 w 132"/>
              <a:gd name="T103" fmla="*/ 150 h 168"/>
              <a:gd name="T104" fmla="*/ 102 w 132"/>
              <a:gd name="T105" fmla="*/ 150 h 168"/>
              <a:gd name="T106" fmla="*/ 96 w 132"/>
              <a:gd name="T107" fmla="*/ 150 h 168"/>
              <a:gd name="T108" fmla="*/ 96 w 132"/>
              <a:gd name="T109" fmla="*/ 156 h 168"/>
              <a:gd name="T110" fmla="*/ 90 w 132"/>
              <a:gd name="T111" fmla="*/ 150 h 168"/>
              <a:gd name="T112" fmla="*/ 84 w 132"/>
              <a:gd name="T113" fmla="*/ 144 h 168"/>
              <a:gd name="T114" fmla="*/ 72 w 132"/>
              <a:gd name="T115" fmla="*/ 144 h 168"/>
              <a:gd name="T116" fmla="*/ 42 w 132"/>
              <a:gd name="T117" fmla="*/ 156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32" h="168">
                <a:moveTo>
                  <a:pt x="0" y="144"/>
                </a:moveTo>
                <a:lnTo>
                  <a:pt x="18" y="120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2"/>
                </a:lnTo>
                <a:lnTo>
                  <a:pt x="36" y="96"/>
                </a:lnTo>
                <a:lnTo>
                  <a:pt x="36" y="96"/>
                </a:lnTo>
                <a:lnTo>
                  <a:pt x="36" y="90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48"/>
                </a:lnTo>
                <a:lnTo>
                  <a:pt x="18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0" y="24"/>
                </a:lnTo>
                <a:lnTo>
                  <a:pt x="36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36" y="24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0"/>
                </a:lnTo>
                <a:lnTo>
                  <a:pt x="48" y="0"/>
                </a:lnTo>
                <a:lnTo>
                  <a:pt x="54" y="0"/>
                </a:lnTo>
                <a:lnTo>
                  <a:pt x="54" y="0"/>
                </a:lnTo>
                <a:lnTo>
                  <a:pt x="60" y="0"/>
                </a:lnTo>
                <a:lnTo>
                  <a:pt x="66" y="6"/>
                </a:lnTo>
                <a:lnTo>
                  <a:pt x="72" y="6"/>
                </a:lnTo>
                <a:lnTo>
                  <a:pt x="78" y="12"/>
                </a:lnTo>
                <a:lnTo>
                  <a:pt x="78" y="12"/>
                </a:lnTo>
                <a:lnTo>
                  <a:pt x="84" y="24"/>
                </a:lnTo>
                <a:lnTo>
                  <a:pt x="84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24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24"/>
                </a:lnTo>
                <a:lnTo>
                  <a:pt x="114" y="18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14" y="24"/>
                </a:lnTo>
                <a:lnTo>
                  <a:pt x="120" y="30"/>
                </a:lnTo>
                <a:lnTo>
                  <a:pt x="114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14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6" y="30"/>
                </a:lnTo>
                <a:lnTo>
                  <a:pt x="132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32" y="54"/>
                </a:lnTo>
                <a:lnTo>
                  <a:pt x="114" y="60"/>
                </a:lnTo>
                <a:lnTo>
                  <a:pt x="108" y="60"/>
                </a:lnTo>
                <a:lnTo>
                  <a:pt x="108" y="66"/>
                </a:lnTo>
                <a:lnTo>
                  <a:pt x="102" y="66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0" y="54"/>
                </a:lnTo>
                <a:lnTo>
                  <a:pt x="90" y="54"/>
                </a:lnTo>
                <a:lnTo>
                  <a:pt x="90" y="60"/>
                </a:lnTo>
                <a:lnTo>
                  <a:pt x="90" y="60"/>
                </a:lnTo>
                <a:lnTo>
                  <a:pt x="84" y="60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78" y="54"/>
                </a:lnTo>
                <a:lnTo>
                  <a:pt x="78" y="54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2" y="66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8" y="72"/>
                </a:lnTo>
                <a:lnTo>
                  <a:pt x="72" y="72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8" y="78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84" y="84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6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90" y="102"/>
                </a:lnTo>
                <a:lnTo>
                  <a:pt x="90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102" y="120"/>
                </a:lnTo>
                <a:lnTo>
                  <a:pt x="102" y="120"/>
                </a:lnTo>
                <a:lnTo>
                  <a:pt x="102" y="114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32"/>
                </a:lnTo>
                <a:lnTo>
                  <a:pt x="108" y="132"/>
                </a:lnTo>
                <a:lnTo>
                  <a:pt x="108" y="132"/>
                </a:lnTo>
                <a:lnTo>
                  <a:pt x="108" y="132"/>
                </a:lnTo>
                <a:lnTo>
                  <a:pt x="108" y="132"/>
                </a:lnTo>
                <a:lnTo>
                  <a:pt x="108" y="138"/>
                </a:lnTo>
                <a:lnTo>
                  <a:pt x="108" y="138"/>
                </a:lnTo>
                <a:lnTo>
                  <a:pt x="108" y="138"/>
                </a:lnTo>
                <a:lnTo>
                  <a:pt x="108" y="138"/>
                </a:lnTo>
                <a:lnTo>
                  <a:pt x="108" y="138"/>
                </a:lnTo>
                <a:lnTo>
                  <a:pt x="108" y="138"/>
                </a:lnTo>
                <a:lnTo>
                  <a:pt x="108" y="138"/>
                </a:lnTo>
                <a:lnTo>
                  <a:pt x="108" y="138"/>
                </a:lnTo>
                <a:lnTo>
                  <a:pt x="108" y="138"/>
                </a:lnTo>
                <a:lnTo>
                  <a:pt x="108" y="138"/>
                </a:lnTo>
                <a:lnTo>
                  <a:pt x="108" y="144"/>
                </a:lnTo>
                <a:lnTo>
                  <a:pt x="108" y="144"/>
                </a:lnTo>
                <a:lnTo>
                  <a:pt x="108" y="144"/>
                </a:lnTo>
                <a:lnTo>
                  <a:pt x="108" y="144"/>
                </a:lnTo>
                <a:lnTo>
                  <a:pt x="108" y="144"/>
                </a:lnTo>
                <a:lnTo>
                  <a:pt x="108" y="144"/>
                </a:lnTo>
                <a:lnTo>
                  <a:pt x="108" y="144"/>
                </a:lnTo>
                <a:lnTo>
                  <a:pt x="108" y="144"/>
                </a:lnTo>
                <a:lnTo>
                  <a:pt x="108" y="144"/>
                </a:lnTo>
                <a:lnTo>
                  <a:pt x="108" y="144"/>
                </a:lnTo>
                <a:lnTo>
                  <a:pt x="114" y="144"/>
                </a:lnTo>
                <a:lnTo>
                  <a:pt x="114" y="144"/>
                </a:lnTo>
                <a:lnTo>
                  <a:pt x="114" y="144"/>
                </a:lnTo>
                <a:lnTo>
                  <a:pt x="114" y="144"/>
                </a:lnTo>
                <a:lnTo>
                  <a:pt x="114" y="144"/>
                </a:lnTo>
                <a:lnTo>
                  <a:pt x="114" y="150"/>
                </a:lnTo>
                <a:lnTo>
                  <a:pt x="114" y="150"/>
                </a:lnTo>
                <a:lnTo>
                  <a:pt x="114" y="150"/>
                </a:lnTo>
                <a:lnTo>
                  <a:pt x="108" y="150"/>
                </a:lnTo>
                <a:lnTo>
                  <a:pt x="108" y="150"/>
                </a:lnTo>
                <a:lnTo>
                  <a:pt x="102" y="150"/>
                </a:lnTo>
                <a:lnTo>
                  <a:pt x="102" y="150"/>
                </a:lnTo>
                <a:lnTo>
                  <a:pt x="102" y="150"/>
                </a:lnTo>
                <a:lnTo>
                  <a:pt x="96" y="150"/>
                </a:lnTo>
                <a:lnTo>
                  <a:pt x="96" y="150"/>
                </a:lnTo>
                <a:lnTo>
                  <a:pt x="96" y="150"/>
                </a:lnTo>
                <a:lnTo>
                  <a:pt x="96" y="156"/>
                </a:lnTo>
                <a:lnTo>
                  <a:pt x="96" y="156"/>
                </a:lnTo>
                <a:lnTo>
                  <a:pt x="96" y="156"/>
                </a:lnTo>
                <a:lnTo>
                  <a:pt x="96" y="156"/>
                </a:lnTo>
                <a:lnTo>
                  <a:pt x="96" y="156"/>
                </a:lnTo>
                <a:lnTo>
                  <a:pt x="96" y="150"/>
                </a:lnTo>
                <a:lnTo>
                  <a:pt x="96" y="150"/>
                </a:lnTo>
                <a:lnTo>
                  <a:pt x="96" y="150"/>
                </a:lnTo>
                <a:lnTo>
                  <a:pt x="90" y="150"/>
                </a:lnTo>
                <a:lnTo>
                  <a:pt x="90" y="150"/>
                </a:lnTo>
                <a:lnTo>
                  <a:pt x="90" y="150"/>
                </a:lnTo>
                <a:lnTo>
                  <a:pt x="84" y="144"/>
                </a:lnTo>
                <a:lnTo>
                  <a:pt x="84" y="144"/>
                </a:lnTo>
                <a:lnTo>
                  <a:pt x="84" y="144"/>
                </a:lnTo>
                <a:lnTo>
                  <a:pt x="84" y="144"/>
                </a:lnTo>
                <a:lnTo>
                  <a:pt x="78" y="138"/>
                </a:lnTo>
                <a:lnTo>
                  <a:pt x="78" y="144"/>
                </a:lnTo>
                <a:lnTo>
                  <a:pt x="72" y="144"/>
                </a:lnTo>
                <a:lnTo>
                  <a:pt x="72" y="144"/>
                </a:lnTo>
                <a:lnTo>
                  <a:pt x="72" y="144"/>
                </a:lnTo>
                <a:lnTo>
                  <a:pt x="72" y="144"/>
                </a:lnTo>
                <a:lnTo>
                  <a:pt x="72" y="150"/>
                </a:lnTo>
                <a:lnTo>
                  <a:pt x="66" y="168"/>
                </a:lnTo>
                <a:lnTo>
                  <a:pt x="42" y="162"/>
                </a:lnTo>
                <a:lnTo>
                  <a:pt x="42" y="156"/>
                </a:lnTo>
                <a:lnTo>
                  <a:pt x="36" y="156"/>
                </a:lnTo>
                <a:lnTo>
                  <a:pt x="36" y="156"/>
                </a:lnTo>
                <a:lnTo>
                  <a:pt x="0" y="144"/>
                </a:lnTo>
                <a:lnTo>
                  <a:pt x="0" y="14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88" name="Freeform 221"/>
          <p:cNvSpPr>
            <a:spLocks/>
          </p:cNvSpPr>
          <p:nvPr/>
        </p:nvSpPr>
        <p:spPr bwMode="auto">
          <a:xfrm>
            <a:off x="8233025" y="2439043"/>
            <a:ext cx="186297" cy="134906"/>
          </a:xfrm>
          <a:custGeom>
            <a:avLst/>
            <a:gdLst>
              <a:gd name="T0" fmla="*/ 66 w 174"/>
              <a:gd name="T1" fmla="*/ 12 h 126"/>
              <a:gd name="T2" fmla="*/ 96 w 174"/>
              <a:gd name="T3" fmla="*/ 18 h 126"/>
              <a:gd name="T4" fmla="*/ 102 w 174"/>
              <a:gd name="T5" fmla="*/ 12 h 126"/>
              <a:gd name="T6" fmla="*/ 108 w 174"/>
              <a:gd name="T7" fmla="*/ 6 h 126"/>
              <a:gd name="T8" fmla="*/ 114 w 174"/>
              <a:gd name="T9" fmla="*/ 12 h 126"/>
              <a:gd name="T10" fmla="*/ 120 w 174"/>
              <a:gd name="T11" fmla="*/ 12 h 126"/>
              <a:gd name="T12" fmla="*/ 126 w 174"/>
              <a:gd name="T13" fmla="*/ 6 h 126"/>
              <a:gd name="T14" fmla="*/ 126 w 174"/>
              <a:gd name="T15" fmla="*/ 6 h 126"/>
              <a:gd name="T16" fmla="*/ 132 w 174"/>
              <a:gd name="T17" fmla="*/ 0 h 126"/>
              <a:gd name="T18" fmla="*/ 132 w 174"/>
              <a:gd name="T19" fmla="*/ 0 h 126"/>
              <a:gd name="T20" fmla="*/ 138 w 174"/>
              <a:gd name="T21" fmla="*/ 6 h 126"/>
              <a:gd name="T22" fmla="*/ 138 w 174"/>
              <a:gd name="T23" fmla="*/ 6 h 126"/>
              <a:gd name="T24" fmla="*/ 144 w 174"/>
              <a:gd name="T25" fmla="*/ 6 h 126"/>
              <a:gd name="T26" fmla="*/ 138 w 174"/>
              <a:gd name="T27" fmla="*/ 12 h 126"/>
              <a:gd name="T28" fmla="*/ 138 w 174"/>
              <a:gd name="T29" fmla="*/ 18 h 126"/>
              <a:gd name="T30" fmla="*/ 138 w 174"/>
              <a:gd name="T31" fmla="*/ 24 h 126"/>
              <a:gd name="T32" fmla="*/ 144 w 174"/>
              <a:gd name="T33" fmla="*/ 30 h 126"/>
              <a:gd name="T34" fmla="*/ 144 w 174"/>
              <a:gd name="T35" fmla="*/ 36 h 126"/>
              <a:gd name="T36" fmla="*/ 144 w 174"/>
              <a:gd name="T37" fmla="*/ 42 h 126"/>
              <a:gd name="T38" fmla="*/ 150 w 174"/>
              <a:gd name="T39" fmla="*/ 48 h 126"/>
              <a:gd name="T40" fmla="*/ 150 w 174"/>
              <a:gd name="T41" fmla="*/ 48 h 126"/>
              <a:gd name="T42" fmla="*/ 156 w 174"/>
              <a:gd name="T43" fmla="*/ 54 h 126"/>
              <a:gd name="T44" fmla="*/ 162 w 174"/>
              <a:gd name="T45" fmla="*/ 54 h 126"/>
              <a:gd name="T46" fmla="*/ 168 w 174"/>
              <a:gd name="T47" fmla="*/ 66 h 126"/>
              <a:gd name="T48" fmla="*/ 168 w 174"/>
              <a:gd name="T49" fmla="*/ 78 h 126"/>
              <a:gd name="T50" fmla="*/ 174 w 174"/>
              <a:gd name="T51" fmla="*/ 96 h 126"/>
              <a:gd name="T52" fmla="*/ 168 w 174"/>
              <a:gd name="T53" fmla="*/ 96 h 126"/>
              <a:gd name="T54" fmla="*/ 168 w 174"/>
              <a:gd name="T55" fmla="*/ 102 h 126"/>
              <a:gd name="T56" fmla="*/ 162 w 174"/>
              <a:gd name="T57" fmla="*/ 102 h 126"/>
              <a:gd name="T58" fmla="*/ 162 w 174"/>
              <a:gd name="T59" fmla="*/ 108 h 126"/>
              <a:gd name="T60" fmla="*/ 162 w 174"/>
              <a:gd name="T61" fmla="*/ 108 h 126"/>
              <a:gd name="T62" fmla="*/ 168 w 174"/>
              <a:gd name="T63" fmla="*/ 120 h 126"/>
              <a:gd name="T64" fmla="*/ 156 w 174"/>
              <a:gd name="T65" fmla="*/ 120 h 126"/>
              <a:gd name="T66" fmla="*/ 156 w 174"/>
              <a:gd name="T67" fmla="*/ 126 h 126"/>
              <a:gd name="T68" fmla="*/ 156 w 174"/>
              <a:gd name="T69" fmla="*/ 120 h 126"/>
              <a:gd name="T70" fmla="*/ 156 w 174"/>
              <a:gd name="T71" fmla="*/ 120 h 126"/>
              <a:gd name="T72" fmla="*/ 156 w 174"/>
              <a:gd name="T73" fmla="*/ 114 h 126"/>
              <a:gd name="T74" fmla="*/ 150 w 174"/>
              <a:gd name="T75" fmla="*/ 114 h 126"/>
              <a:gd name="T76" fmla="*/ 150 w 174"/>
              <a:gd name="T77" fmla="*/ 108 h 126"/>
              <a:gd name="T78" fmla="*/ 144 w 174"/>
              <a:gd name="T79" fmla="*/ 108 h 126"/>
              <a:gd name="T80" fmla="*/ 144 w 174"/>
              <a:gd name="T81" fmla="*/ 108 h 126"/>
              <a:gd name="T82" fmla="*/ 144 w 174"/>
              <a:gd name="T83" fmla="*/ 108 h 126"/>
              <a:gd name="T84" fmla="*/ 138 w 174"/>
              <a:gd name="T85" fmla="*/ 114 h 126"/>
              <a:gd name="T86" fmla="*/ 126 w 174"/>
              <a:gd name="T87" fmla="*/ 114 h 126"/>
              <a:gd name="T88" fmla="*/ 126 w 174"/>
              <a:gd name="T89" fmla="*/ 114 h 126"/>
              <a:gd name="T90" fmla="*/ 114 w 174"/>
              <a:gd name="T91" fmla="*/ 102 h 126"/>
              <a:gd name="T92" fmla="*/ 90 w 174"/>
              <a:gd name="T93" fmla="*/ 90 h 126"/>
              <a:gd name="T94" fmla="*/ 84 w 174"/>
              <a:gd name="T95" fmla="*/ 96 h 126"/>
              <a:gd name="T96" fmla="*/ 18 w 174"/>
              <a:gd name="T97" fmla="*/ 36 h 126"/>
              <a:gd name="T98" fmla="*/ 12 w 174"/>
              <a:gd name="T99" fmla="*/ 30 h 126"/>
              <a:gd name="T100" fmla="*/ 12 w 174"/>
              <a:gd name="T101" fmla="*/ 24 h 126"/>
              <a:gd name="T102" fmla="*/ 12 w 174"/>
              <a:gd name="T103" fmla="*/ 24 h 126"/>
              <a:gd name="T104" fmla="*/ 6 w 174"/>
              <a:gd name="T105" fmla="*/ 18 h 126"/>
              <a:gd name="T106" fmla="*/ 6 w 174"/>
              <a:gd name="T107" fmla="*/ 12 h 126"/>
              <a:gd name="T108" fmla="*/ 6 w 174"/>
              <a:gd name="T109" fmla="*/ 12 h 126"/>
              <a:gd name="T110" fmla="*/ 0 w 174"/>
              <a:gd name="T111" fmla="*/ 12 h 126"/>
              <a:gd name="T112" fmla="*/ 0 w 174"/>
              <a:gd name="T113" fmla="*/ 12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74" h="126">
                <a:moveTo>
                  <a:pt x="0" y="6"/>
                </a:moveTo>
                <a:lnTo>
                  <a:pt x="12" y="6"/>
                </a:lnTo>
                <a:lnTo>
                  <a:pt x="30" y="6"/>
                </a:lnTo>
                <a:lnTo>
                  <a:pt x="66" y="12"/>
                </a:lnTo>
                <a:lnTo>
                  <a:pt x="78" y="12"/>
                </a:lnTo>
                <a:lnTo>
                  <a:pt x="84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102" y="18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12"/>
                </a:lnTo>
                <a:lnTo>
                  <a:pt x="114" y="12"/>
                </a:lnTo>
                <a:lnTo>
                  <a:pt x="114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6" y="12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0"/>
                </a:lnTo>
                <a:lnTo>
                  <a:pt x="132" y="6"/>
                </a:lnTo>
                <a:lnTo>
                  <a:pt x="132" y="0"/>
                </a:lnTo>
                <a:lnTo>
                  <a:pt x="132" y="0"/>
                </a:lnTo>
                <a:lnTo>
                  <a:pt x="132" y="0"/>
                </a:lnTo>
                <a:lnTo>
                  <a:pt x="132" y="0"/>
                </a:lnTo>
                <a:lnTo>
                  <a:pt x="132" y="0"/>
                </a:lnTo>
                <a:lnTo>
                  <a:pt x="138" y="0"/>
                </a:lnTo>
                <a:lnTo>
                  <a:pt x="138" y="0"/>
                </a:lnTo>
                <a:lnTo>
                  <a:pt x="138" y="0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44" y="6"/>
                </a:lnTo>
                <a:lnTo>
                  <a:pt x="144" y="6"/>
                </a:lnTo>
                <a:lnTo>
                  <a:pt x="144" y="12"/>
                </a:lnTo>
                <a:lnTo>
                  <a:pt x="144" y="6"/>
                </a:lnTo>
                <a:lnTo>
                  <a:pt x="144" y="6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8"/>
                </a:lnTo>
                <a:lnTo>
                  <a:pt x="138" y="18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6"/>
                </a:lnTo>
                <a:lnTo>
                  <a:pt x="144" y="36"/>
                </a:lnTo>
                <a:lnTo>
                  <a:pt x="144" y="36"/>
                </a:lnTo>
                <a:lnTo>
                  <a:pt x="144" y="36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44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6" y="48"/>
                </a:lnTo>
                <a:lnTo>
                  <a:pt x="156" y="54"/>
                </a:lnTo>
                <a:lnTo>
                  <a:pt x="156" y="54"/>
                </a:lnTo>
                <a:lnTo>
                  <a:pt x="162" y="54"/>
                </a:lnTo>
                <a:lnTo>
                  <a:pt x="162" y="54"/>
                </a:lnTo>
                <a:lnTo>
                  <a:pt x="162" y="54"/>
                </a:lnTo>
                <a:lnTo>
                  <a:pt x="162" y="60"/>
                </a:lnTo>
                <a:lnTo>
                  <a:pt x="162" y="60"/>
                </a:lnTo>
                <a:lnTo>
                  <a:pt x="168" y="60"/>
                </a:lnTo>
                <a:lnTo>
                  <a:pt x="168" y="66"/>
                </a:lnTo>
                <a:lnTo>
                  <a:pt x="174" y="72"/>
                </a:lnTo>
                <a:lnTo>
                  <a:pt x="174" y="72"/>
                </a:lnTo>
                <a:lnTo>
                  <a:pt x="174" y="72"/>
                </a:lnTo>
                <a:lnTo>
                  <a:pt x="168" y="78"/>
                </a:lnTo>
                <a:lnTo>
                  <a:pt x="168" y="78"/>
                </a:lnTo>
                <a:lnTo>
                  <a:pt x="174" y="78"/>
                </a:lnTo>
                <a:lnTo>
                  <a:pt x="174" y="96"/>
                </a:lnTo>
                <a:lnTo>
                  <a:pt x="174" y="96"/>
                </a:lnTo>
                <a:lnTo>
                  <a:pt x="174" y="96"/>
                </a:lnTo>
                <a:lnTo>
                  <a:pt x="174" y="96"/>
                </a:lnTo>
                <a:lnTo>
                  <a:pt x="174" y="96"/>
                </a:lnTo>
                <a:lnTo>
                  <a:pt x="168" y="96"/>
                </a:lnTo>
                <a:lnTo>
                  <a:pt x="168" y="102"/>
                </a:lnTo>
                <a:lnTo>
                  <a:pt x="168" y="102"/>
                </a:lnTo>
                <a:lnTo>
                  <a:pt x="168" y="102"/>
                </a:lnTo>
                <a:lnTo>
                  <a:pt x="168" y="102"/>
                </a:lnTo>
                <a:lnTo>
                  <a:pt x="162" y="102"/>
                </a:lnTo>
                <a:lnTo>
                  <a:pt x="162" y="102"/>
                </a:lnTo>
                <a:lnTo>
                  <a:pt x="162" y="102"/>
                </a:lnTo>
                <a:lnTo>
                  <a:pt x="162" y="102"/>
                </a:lnTo>
                <a:lnTo>
                  <a:pt x="162" y="102"/>
                </a:lnTo>
                <a:lnTo>
                  <a:pt x="162" y="102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8" y="114"/>
                </a:lnTo>
                <a:lnTo>
                  <a:pt x="168" y="120"/>
                </a:lnTo>
                <a:lnTo>
                  <a:pt x="168" y="120"/>
                </a:lnTo>
                <a:lnTo>
                  <a:pt x="168" y="120"/>
                </a:lnTo>
                <a:lnTo>
                  <a:pt x="168" y="120"/>
                </a:lnTo>
                <a:lnTo>
                  <a:pt x="168" y="126"/>
                </a:lnTo>
                <a:lnTo>
                  <a:pt x="162" y="120"/>
                </a:lnTo>
                <a:lnTo>
                  <a:pt x="156" y="120"/>
                </a:lnTo>
                <a:lnTo>
                  <a:pt x="156" y="120"/>
                </a:lnTo>
                <a:lnTo>
                  <a:pt x="156" y="120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0" y="126"/>
                </a:lnTo>
                <a:lnTo>
                  <a:pt x="156" y="120"/>
                </a:lnTo>
                <a:lnTo>
                  <a:pt x="156" y="120"/>
                </a:lnTo>
                <a:lnTo>
                  <a:pt x="156" y="120"/>
                </a:lnTo>
                <a:lnTo>
                  <a:pt x="156" y="120"/>
                </a:lnTo>
                <a:lnTo>
                  <a:pt x="156" y="120"/>
                </a:lnTo>
                <a:lnTo>
                  <a:pt x="156" y="120"/>
                </a:lnTo>
                <a:lnTo>
                  <a:pt x="150" y="120"/>
                </a:lnTo>
                <a:lnTo>
                  <a:pt x="156" y="120"/>
                </a:lnTo>
                <a:lnTo>
                  <a:pt x="150" y="114"/>
                </a:lnTo>
                <a:lnTo>
                  <a:pt x="156" y="114"/>
                </a:lnTo>
                <a:lnTo>
                  <a:pt x="156" y="114"/>
                </a:lnTo>
                <a:lnTo>
                  <a:pt x="156" y="114"/>
                </a:lnTo>
                <a:lnTo>
                  <a:pt x="156" y="114"/>
                </a:lnTo>
                <a:lnTo>
                  <a:pt x="150" y="114"/>
                </a:lnTo>
                <a:lnTo>
                  <a:pt x="150" y="114"/>
                </a:lnTo>
                <a:lnTo>
                  <a:pt x="150" y="114"/>
                </a:lnTo>
                <a:lnTo>
                  <a:pt x="150" y="114"/>
                </a:lnTo>
                <a:lnTo>
                  <a:pt x="150" y="108"/>
                </a:lnTo>
                <a:lnTo>
                  <a:pt x="144" y="114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14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38" y="108"/>
                </a:lnTo>
                <a:lnTo>
                  <a:pt x="138" y="114"/>
                </a:lnTo>
                <a:lnTo>
                  <a:pt x="138" y="114"/>
                </a:lnTo>
                <a:lnTo>
                  <a:pt x="138" y="114"/>
                </a:lnTo>
                <a:lnTo>
                  <a:pt x="132" y="108"/>
                </a:lnTo>
                <a:lnTo>
                  <a:pt x="132" y="108"/>
                </a:lnTo>
                <a:lnTo>
                  <a:pt x="132" y="108"/>
                </a:lnTo>
                <a:lnTo>
                  <a:pt x="126" y="114"/>
                </a:lnTo>
                <a:lnTo>
                  <a:pt x="126" y="114"/>
                </a:lnTo>
                <a:lnTo>
                  <a:pt x="126" y="114"/>
                </a:lnTo>
                <a:lnTo>
                  <a:pt x="126" y="114"/>
                </a:lnTo>
                <a:lnTo>
                  <a:pt x="126" y="114"/>
                </a:lnTo>
                <a:lnTo>
                  <a:pt x="120" y="114"/>
                </a:lnTo>
                <a:lnTo>
                  <a:pt x="120" y="114"/>
                </a:lnTo>
                <a:lnTo>
                  <a:pt x="114" y="102"/>
                </a:lnTo>
                <a:lnTo>
                  <a:pt x="114" y="102"/>
                </a:lnTo>
                <a:lnTo>
                  <a:pt x="108" y="96"/>
                </a:lnTo>
                <a:lnTo>
                  <a:pt x="102" y="96"/>
                </a:lnTo>
                <a:lnTo>
                  <a:pt x="96" y="90"/>
                </a:lnTo>
                <a:lnTo>
                  <a:pt x="90" y="90"/>
                </a:lnTo>
                <a:lnTo>
                  <a:pt x="90" y="90"/>
                </a:lnTo>
                <a:lnTo>
                  <a:pt x="84" y="90"/>
                </a:lnTo>
                <a:lnTo>
                  <a:pt x="84" y="90"/>
                </a:lnTo>
                <a:lnTo>
                  <a:pt x="84" y="96"/>
                </a:lnTo>
                <a:lnTo>
                  <a:pt x="84" y="96"/>
                </a:lnTo>
                <a:lnTo>
                  <a:pt x="60" y="84"/>
                </a:lnTo>
                <a:lnTo>
                  <a:pt x="24" y="54"/>
                </a:lnTo>
                <a:lnTo>
                  <a:pt x="18" y="36"/>
                </a:lnTo>
                <a:lnTo>
                  <a:pt x="18" y="36"/>
                </a:lnTo>
                <a:lnTo>
                  <a:pt x="18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6" y="18"/>
                </a:lnTo>
                <a:lnTo>
                  <a:pt x="12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6"/>
                </a:lnTo>
                <a:lnTo>
                  <a:pt x="0" y="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89" name="Freeform 222"/>
          <p:cNvSpPr>
            <a:spLocks/>
          </p:cNvSpPr>
          <p:nvPr/>
        </p:nvSpPr>
        <p:spPr bwMode="auto">
          <a:xfrm>
            <a:off x="7931095" y="2895154"/>
            <a:ext cx="295506" cy="199147"/>
          </a:xfrm>
          <a:custGeom>
            <a:avLst/>
            <a:gdLst>
              <a:gd name="T0" fmla="*/ 6 w 276"/>
              <a:gd name="T1" fmla="*/ 72 h 186"/>
              <a:gd name="T2" fmla="*/ 18 w 276"/>
              <a:gd name="T3" fmla="*/ 60 h 186"/>
              <a:gd name="T4" fmla="*/ 66 w 276"/>
              <a:gd name="T5" fmla="*/ 24 h 186"/>
              <a:gd name="T6" fmla="*/ 84 w 276"/>
              <a:gd name="T7" fmla="*/ 18 h 186"/>
              <a:gd name="T8" fmla="*/ 96 w 276"/>
              <a:gd name="T9" fmla="*/ 12 h 186"/>
              <a:gd name="T10" fmla="*/ 102 w 276"/>
              <a:gd name="T11" fmla="*/ 12 h 186"/>
              <a:gd name="T12" fmla="*/ 102 w 276"/>
              <a:gd name="T13" fmla="*/ 18 h 186"/>
              <a:gd name="T14" fmla="*/ 144 w 276"/>
              <a:gd name="T15" fmla="*/ 18 h 186"/>
              <a:gd name="T16" fmla="*/ 162 w 276"/>
              <a:gd name="T17" fmla="*/ 18 h 186"/>
              <a:gd name="T18" fmla="*/ 204 w 276"/>
              <a:gd name="T19" fmla="*/ 6 h 186"/>
              <a:gd name="T20" fmla="*/ 222 w 276"/>
              <a:gd name="T21" fmla="*/ 18 h 186"/>
              <a:gd name="T22" fmla="*/ 228 w 276"/>
              <a:gd name="T23" fmla="*/ 18 h 186"/>
              <a:gd name="T24" fmla="*/ 234 w 276"/>
              <a:gd name="T25" fmla="*/ 12 h 186"/>
              <a:gd name="T26" fmla="*/ 240 w 276"/>
              <a:gd name="T27" fmla="*/ 18 h 186"/>
              <a:gd name="T28" fmla="*/ 252 w 276"/>
              <a:gd name="T29" fmla="*/ 24 h 186"/>
              <a:gd name="T30" fmla="*/ 258 w 276"/>
              <a:gd name="T31" fmla="*/ 24 h 186"/>
              <a:gd name="T32" fmla="*/ 270 w 276"/>
              <a:gd name="T33" fmla="*/ 30 h 186"/>
              <a:gd name="T34" fmla="*/ 270 w 276"/>
              <a:gd name="T35" fmla="*/ 30 h 186"/>
              <a:gd name="T36" fmla="*/ 276 w 276"/>
              <a:gd name="T37" fmla="*/ 36 h 186"/>
              <a:gd name="T38" fmla="*/ 258 w 276"/>
              <a:gd name="T39" fmla="*/ 42 h 186"/>
              <a:gd name="T40" fmla="*/ 270 w 276"/>
              <a:gd name="T41" fmla="*/ 42 h 186"/>
              <a:gd name="T42" fmla="*/ 264 w 276"/>
              <a:gd name="T43" fmla="*/ 48 h 186"/>
              <a:gd name="T44" fmla="*/ 264 w 276"/>
              <a:gd name="T45" fmla="*/ 54 h 186"/>
              <a:gd name="T46" fmla="*/ 258 w 276"/>
              <a:gd name="T47" fmla="*/ 48 h 186"/>
              <a:gd name="T48" fmla="*/ 252 w 276"/>
              <a:gd name="T49" fmla="*/ 48 h 186"/>
              <a:gd name="T50" fmla="*/ 246 w 276"/>
              <a:gd name="T51" fmla="*/ 54 h 186"/>
              <a:gd name="T52" fmla="*/ 240 w 276"/>
              <a:gd name="T53" fmla="*/ 48 h 186"/>
              <a:gd name="T54" fmla="*/ 240 w 276"/>
              <a:gd name="T55" fmla="*/ 60 h 186"/>
              <a:gd name="T56" fmla="*/ 234 w 276"/>
              <a:gd name="T57" fmla="*/ 60 h 186"/>
              <a:gd name="T58" fmla="*/ 234 w 276"/>
              <a:gd name="T59" fmla="*/ 66 h 186"/>
              <a:gd name="T60" fmla="*/ 228 w 276"/>
              <a:gd name="T61" fmla="*/ 72 h 186"/>
              <a:gd name="T62" fmla="*/ 222 w 276"/>
              <a:gd name="T63" fmla="*/ 78 h 186"/>
              <a:gd name="T64" fmla="*/ 216 w 276"/>
              <a:gd name="T65" fmla="*/ 78 h 186"/>
              <a:gd name="T66" fmla="*/ 204 w 276"/>
              <a:gd name="T67" fmla="*/ 90 h 186"/>
              <a:gd name="T68" fmla="*/ 186 w 276"/>
              <a:gd name="T69" fmla="*/ 90 h 186"/>
              <a:gd name="T70" fmla="*/ 192 w 276"/>
              <a:gd name="T71" fmla="*/ 96 h 186"/>
              <a:gd name="T72" fmla="*/ 198 w 276"/>
              <a:gd name="T73" fmla="*/ 102 h 186"/>
              <a:gd name="T74" fmla="*/ 198 w 276"/>
              <a:gd name="T75" fmla="*/ 120 h 186"/>
              <a:gd name="T76" fmla="*/ 204 w 276"/>
              <a:gd name="T77" fmla="*/ 126 h 186"/>
              <a:gd name="T78" fmla="*/ 204 w 276"/>
              <a:gd name="T79" fmla="*/ 132 h 186"/>
              <a:gd name="T80" fmla="*/ 198 w 276"/>
              <a:gd name="T81" fmla="*/ 138 h 186"/>
              <a:gd name="T82" fmla="*/ 192 w 276"/>
              <a:gd name="T83" fmla="*/ 150 h 186"/>
              <a:gd name="T84" fmla="*/ 192 w 276"/>
              <a:gd name="T85" fmla="*/ 156 h 186"/>
              <a:gd name="T86" fmla="*/ 186 w 276"/>
              <a:gd name="T87" fmla="*/ 162 h 186"/>
              <a:gd name="T88" fmla="*/ 180 w 276"/>
              <a:gd name="T89" fmla="*/ 168 h 186"/>
              <a:gd name="T90" fmla="*/ 174 w 276"/>
              <a:gd name="T91" fmla="*/ 174 h 186"/>
              <a:gd name="T92" fmla="*/ 168 w 276"/>
              <a:gd name="T93" fmla="*/ 174 h 186"/>
              <a:gd name="T94" fmla="*/ 156 w 276"/>
              <a:gd name="T95" fmla="*/ 186 h 186"/>
              <a:gd name="T96" fmla="*/ 150 w 276"/>
              <a:gd name="T97" fmla="*/ 186 h 186"/>
              <a:gd name="T98" fmla="*/ 150 w 276"/>
              <a:gd name="T99" fmla="*/ 180 h 186"/>
              <a:gd name="T100" fmla="*/ 144 w 276"/>
              <a:gd name="T101" fmla="*/ 180 h 186"/>
              <a:gd name="T102" fmla="*/ 138 w 276"/>
              <a:gd name="T103" fmla="*/ 174 h 186"/>
              <a:gd name="T104" fmla="*/ 138 w 276"/>
              <a:gd name="T105" fmla="*/ 168 h 186"/>
              <a:gd name="T106" fmla="*/ 138 w 276"/>
              <a:gd name="T107" fmla="*/ 156 h 186"/>
              <a:gd name="T108" fmla="*/ 120 w 276"/>
              <a:gd name="T109" fmla="*/ 150 h 186"/>
              <a:gd name="T110" fmla="*/ 120 w 276"/>
              <a:gd name="T111" fmla="*/ 156 h 186"/>
              <a:gd name="T112" fmla="*/ 96 w 276"/>
              <a:gd name="T113" fmla="*/ 138 h 186"/>
              <a:gd name="T114" fmla="*/ 96 w 276"/>
              <a:gd name="T115" fmla="*/ 132 h 186"/>
              <a:gd name="T116" fmla="*/ 78 w 276"/>
              <a:gd name="T117" fmla="*/ 132 h 186"/>
              <a:gd name="T118" fmla="*/ 72 w 276"/>
              <a:gd name="T119" fmla="*/ 126 h 186"/>
              <a:gd name="T120" fmla="*/ 60 w 276"/>
              <a:gd name="T121" fmla="*/ 114 h 1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76" h="186">
                <a:moveTo>
                  <a:pt x="0" y="78"/>
                </a:moveTo>
                <a:lnTo>
                  <a:pt x="0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66"/>
                </a:lnTo>
                <a:lnTo>
                  <a:pt x="18" y="66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54"/>
                </a:lnTo>
                <a:lnTo>
                  <a:pt x="24" y="54"/>
                </a:lnTo>
                <a:lnTo>
                  <a:pt x="42" y="48"/>
                </a:lnTo>
                <a:lnTo>
                  <a:pt x="66" y="24"/>
                </a:lnTo>
                <a:lnTo>
                  <a:pt x="66" y="24"/>
                </a:lnTo>
                <a:lnTo>
                  <a:pt x="72" y="18"/>
                </a:lnTo>
                <a:lnTo>
                  <a:pt x="72" y="18"/>
                </a:lnTo>
                <a:lnTo>
                  <a:pt x="72" y="24"/>
                </a:lnTo>
                <a:lnTo>
                  <a:pt x="72" y="24"/>
                </a:lnTo>
                <a:lnTo>
                  <a:pt x="78" y="18"/>
                </a:lnTo>
                <a:lnTo>
                  <a:pt x="78" y="18"/>
                </a:lnTo>
                <a:lnTo>
                  <a:pt x="84" y="18"/>
                </a:lnTo>
                <a:lnTo>
                  <a:pt x="84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30"/>
                </a:lnTo>
                <a:lnTo>
                  <a:pt x="126" y="24"/>
                </a:lnTo>
                <a:lnTo>
                  <a:pt x="144" y="24"/>
                </a:lnTo>
                <a:lnTo>
                  <a:pt x="144" y="18"/>
                </a:lnTo>
                <a:lnTo>
                  <a:pt x="144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62" y="18"/>
                </a:lnTo>
                <a:lnTo>
                  <a:pt x="162" y="12"/>
                </a:lnTo>
                <a:lnTo>
                  <a:pt x="162" y="12"/>
                </a:lnTo>
                <a:lnTo>
                  <a:pt x="174" y="0"/>
                </a:lnTo>
                <a:lnTo>
                  <a:pt x="180" y="0"/>
                </a:lnTo>
                <a:lnTo>
                  <a:pt x="180" y="0"/>
                </a:lnTo>
                <a:lnTo>
                  <a:pt x="192" y="0"/>
                </a:lnTo>
                <a:lnTo>
                  <a:pt x="204" y="6"/>
                </a:lnTo>
                <a:lnTo>
                  <a:pt x="204" y="6"/>
                </a:lnTo>
                <a:lnTo>
                  <a:pt x="210" y="6"/>
                </a:lnTo>
                <a:lnTo>
                  <a:pt x="216" y="12"/>
                </a:lnTo>
                <a:lnTo>
                  <a:pt x="216" y="12"/>
                </a:lnTo>
                <a:lnTo>
                  <a:pt x="216" y="12"/>
                </a:lnTo>
                <a:lnTo>
                  <a:pt x="216" y="12"/>
                </a:lnTo>
                <a:lnTo>
                  <a:pt x="222" y="18"/>
                </a:lnTo>
                <a:lnTo>
                  <a:pt x="222" y="18"/>
                </a:lnTo>
                <a:lnTo>
                  <a:pt x="222" y="18"/>
                </a:lnTo>
                <a:lnTo>
                  <a:pt x="222" y="18"/>
                </a:lnTo>
                <a:lnTo>
                  <a:pt x="222" y="18"/>
                </a:lnTo>
                <a:lnTo>
                  <a:pt x="222" y="18"/>
                </a:lnTo>
                <a:lnTo>
                  <a:pt x="222" y="24"/>
                </a:lnTo>
                <a:lnTo>
                  <a:pt x="228" y="18"/>
                </a:lnTo>
                <a:lnTo>
                  <a:pt x="228" y="18"/>
                </a:lnTo>
                <a:lnTo>
                  <a:pt x="228" y="18"/>
                </a:lnTo>
                <a:lnTo>
                  <a:pt x="228" y="18"/>
                </a:lnTo>
                <a:lnTo>
                  <a:pt x="228" y="18"/>
                </a:lnTo>
                <a:lnTo>
                  <a:pt x="234" y="18"/>
                </a:lnTo>
                <a:lnTo>
                  <a:pt x="234" y="18"/>
                </a:lnTo>
                <a:lnTo>
                  <a:pt x="234" y="18"/>
                </a:lnTo>
                <a:lnTo>
                  <a:pt x="234" y="12"/>
                </a:lnTo>
                <a:lnTo>
                  <a:pt x="234" y="12"/>
                </a:lnTo>
                <a:lnTo>
                  <a:pt x="234" y="12"/>
                </a:lnTo>
                <a:lnTo>
                  <a:pt x="234" y="12"/>
                </a:lnTo>
                <a:lnTo>
                  <a:pt x="234" y="12"/>
                </a:lnTo>
                <a:lnTo>
                  <a:pt x="234" y="18"/>
                </a:lnTo>
                <a:lnTo>
                  <a:pt x="234" y="18"/>
                </a:lnTo>
                <a:lnTo>
                  <a:pt x="240" y="18"/>
                </a:lnTo>
                <a:lnTo>
                  <a:pt x="240" y="18"/>
                </a:lnTo>
                <a:lnTo>
                  <a:pt x="240" y="18"/>
                </a:lnTo>
                <a:lnTo>
                  <a:pt x="240" y="18"/>
                </a:lnTo>
                <a:lnTo>
                  <a:pt x="240" y="18"/>
                </a:lnTo>
                <a:lnTo>
                  <a:pt x="246" y="24"/>
                </a:lnTo>
                <a:lnTo>
                  <a:pt x="246" y="24"/>
                </a:lnTo>
                <a:lnTo>
                  <a:pt x="246" y="24"/>
                </a:lnTo>
                <a:lnTo>
                  <a:pt x="246" y="24"/>
                </a:lnTo>
                <a:lnTo>
                  <a:pt x="252" y="24"/>
                </a:lnTo>
                <a:lnTo>
                  <a:pt x="252" y="24"/>
                </a:lnTo>
                <a:lnTo>
                  <a:pt x="252" y="24"/>
                </a:lnTo>
                <a:lnTo>
                  <a:pt x="252" y="24"/>
                </a:lnTo>
                <a:lnTo>
                  <a:pt x="252" y="24"/>
                </a:lnTo>
                <a:lnTo>
                  <a:pt x="252" y="24"/>
                </a:lnTo>
                <a:lnTo>
                  <a:pt x="252" y="30"/>
                </a:lnTo>
                <a:lnTo>
                  <a:pt x="258" y="24"/>
                </a:lnTo>
                <a:lnTo>
                  <a:pt x="258" y="24"/>
                </a:lnTo>
                <a:lnTo>
                  <a:pt x="258" y="24"/>
                </a:lnTo>
                <a:lnTo>
                  <a:pt x="258" y="24"/>
                </a:lnTo>
                <a:lnTo>
                  <a:pt x="258" y="24"/>
                </a:lnTo>
                <a:lnTo>
                  <a:pt x="258" y="30"/>
                </a:lnTo>
                <a:lnTo>
                  <a:pt x="258" y="30"/>
                </a:lnTo>
                <a:lnTo>
                  <a:pt x="264" y="30"/>
                </a:lnTo>
                <a:lnTo>
                  <a:pt x="264" y="30"/>
                </a:lnTo>
                <a:lnTo>
                  <a:pt x="264" y="30"/>
                </a:lnTo>
                <a:lnTo>
                  <a:pt x="264" y="30"/>
                </a:lnTo>
                <a:lnTo>
                  <a:pt x="264" y="30"/>
                </a:lnTo>
                <a:lnTo>
                  <a:pt x="270" y="30"/>
                </a:lnTo>
                <a:lnTo>
                  <a:pt x="270" y="30"/>
                </a:lnTo>
                <a:lnTo>
                  <a:pt x="270" y="30"/>
                </a:lnTo>
                <a:lnTo>
                  <a:pt x="270" y="30"/>
                </a:lnTo>
                <a:lnTo>
                  <a:pt x="270" y="30"/>
                </a:lnTo>
                <a:lnTo>
                  <a:pt x="270" y="30"/>
                </a:lnTo>
                <a:lnTo>
                  <a:pt x="270" y="30"/>
                </a:lnTo>
                <a:lnTo>
                  <a:pt x="270" y="30"/>
                </a:lnTo>
                <a:lnTo>
                  <a:pt x="270" y="30"/>
                </a:lnTo>
                <a:lnTo>
                  <a:pt x="270" y="30"/>
                </a:lnTo>
                <a:lnTo>
                  <a:pt x="276" y="30"/>
                </a:lnTo>
                <a:lnTo>
                  <a:pt x="276" y="30"/>
                </a:lnTo>
                <a:lnTo>
                  <a:pt x="276" y="30"/>
                </a:lnTo>
                <a:lnTo>
                  <a:pt x="276" y="30"/>
                </a:lnTo>
                <a:lnTo>
                  <a:pt x="276" y="30"/>
                </a:lnTo>
                <a:lnTo>
                  <a:pt x="276" y="30"/>
                </a:lnTo>
                <a:lnTo>
                  <a:pt x="276" y="36"/>
                </a:lnTo>
                <a:lnTo>
                  <a:pt x="258" y="36"/>
                </a:lnTo>
                <a:lnTo>
                  <a:pt x="258" y="42"/>
                </a:lnTo>
                <a:lnTo>
                  <a:pt x="258" y="42"/>
                </a:lnTo>
                <a:lnTo>
                  <a:pt x="258" y="42"/>
                </a:lnTo>
                <a:lnTo>
                  <a:pt x="258" y="42"/>
                </a:lnTo>
                <a:lnTo>
                  <a:pt x="258" y="42"/>
                </a:lnTo>
                <a:lnTo>
                  <a:pt x="258" y="42"/>
                </a:lnTo>
                <a:lnTo>
                  <a:pt x="258" y="42"/>
                </a:lnTo>
                <a:lnTo>
                  <a:pt x="258" y="42"/>
                </a:lnTo>
                <a:lnTo>
                  <a:pt x="258" y="42"/>
                </a:lnTo>
                <a:lnTo>
                  <a:pt x="264" y="42"/>
                </a:lnTo>
                <a:lnTo>
                  <a:pt x="258" y="42"/>
                </a:lnTo>
                <a:lnTo>
                  <a:pt x="258" y="48"/>
                </a:lnTo>
                <a:lnTo>
                  <a:pt x="264" y="42"/>
                </a:lnTo>
                <a:lnTo>
                  <a:pt x="264" y="48"/>
                </a:lnTo>
                <a:lnTo>
                  <a:pt x="270" y="42"/>
                </a:lnTo>
                <a:lnTo>
                  <a:pt x="270" y="48"/>
                </a:lnTo>
                <a:lnTo>
                  <a:pt x="270" y="48"/>
                </a:lnTo>
                <a:lnTo>
                  <a:pt x="270" y="48"/>
                </a:lnTo>
                <a:lnTo>
                  <a:pt x="270" y="48"/>
                </a:lnTo>
                <a:lnTo>
                  <a:pt x="270" y="48"/>
                </a:lnTo>
                <a:lnTo>
                  <a:pt x="270" y="48"/>
                </a:lnTo>
                <a:lnTo>
                  <a:pt x="270" y="48"/>
                </a:lnTo>
                <a:lnTo>
                  <a:pt x="264" y="48"/>
                </a:lnTo>
                <a:lnTo>
                  <a:pt x="264" y="48"/>
                </a:lnTo>
                <a:lnTo>
                  <a:pt x="264" y="54"/>
                </a:lnTo>
                <a:lnTo>
                  <a:pt x="264" y="54"/>
                </a:lnTo>
                <a:lnTo>
                  <a:pt x="264" y="54"/>
                </a:lnTo>
                <a:lnTo>
                  <a:pt x="264" y="54"/>
                </a:lnTo>
                <a:lnTo>
                  <a:pt x="270" y="54"/>
                </a:lnTo>
                <a:lnTo>
                  <a:pt x="264" y="60"/>
                </a:lnTo>
                <a:lnTo>
                  <a:pt x="264" y="54"/>
                </a:lnTo>
                <a:lnTo>
                  <a:pt x="264" y="54"/>
                </a:lnTo>
                <a:lnTo>
                  <a:pt x="264" y="54"/>
                </a:lnTo>
                <a:lnTo>
                  <a:pt x="264" y="54"/>
                </a:lnTo>
                <a:lnTo>
                  <a:pt x="264" y="54"/>
                </a:lnTo>
                <a:lnTo>
                  <a:pt x="258" y="54"/>
                </a:lnTo>
                <a:lnTo>
                  <a:pt x="258" y="54"/>
                </a:lnTo>
                <a:lnTo>
                  <a:pt x="258" y="48"/>
                </a:lnTo>
                <a:lnTo>
                  <a:pt x="258" y="48"/>
                </a:lnTo>
                <a:lnTo>
                  <a:pt x="258" y="48"/>
                </a:lnTo>
                <a:lnTo>
                  <a:pt x="258" y="48"/>
                </a:lnTo>
                <a:lnTo>
                  <a:pt x="258" y="48"/>
                </a:lnTo>
                <a:lnTo>
                  <a:pt x="252" y="48"/>
                </a:lnTo>
                <a:lnTo>
                  <a:pt x="252" y="48"/>
                </a:lnTo>
                <a:lnTo>
                  <a:pt x="252" y="48"/>
                </a:lnTo>
                <a:lnTo>
                  <a:pt x="252" y="48"/>
                </a:lnTo>
                <a:lnTo>
                  <a:pt x="252" y="48"/>
                </a:lnTo>
                <a:lnTo>
                  <a:pt x="252" y="48"/>
                </a:lnTo>
                <a:lnTo>
                  <a:pt x="252" y="48"/>
                </a:lnTo>
                <a:lnTo>
                  <a:pt x="252" y="48"/>
                </a:lnTo>
                <a:lnTo>
                  <a:pt x="252" y="48"/>
                </a:lnTo>
                <a:lnTo>
                  <a:pt x="252" y="54"/>
                </a:lnTo>
                <a:lnTo>
                  <a:pt x="252" y="54"/>
                </a:lnTo>
                <a:lnTo>
                  <a:pt x="246" y="54"/>
                </a:lnTo>
                <a:lnTo>
                  <a:pt x="246" y="54"/>
                </a:lnTo>
                <a:lnTo>
                  <a:pt x="246" y="48"/>
                </a:lnTo>
                <a:lnTo>
                  <a:pt x="240" y="48"/>
                </a:lnTo>
                <a:lnTo>
                  <a:pt x="240" y="48"/>
                </a:lnTo>
                <a:lnTo>
                  <a:pt x="240" y="48"/>
                </a:lnTo>
                <a:lnTo>
                  <a:pt x="240" y="48"/>
                </a:lnTo>
                <a:lnTo>
                  <a:pt x="240" y="48"/>
                </a:lnTo>
                <a:lnTo>
                  <a:pt x="240" y="48"/>
                </a:lnTo>
                <a:lnTo>
                  <a:pt x="240" y="48"/>
                </a:lnTo>
                <a:lnTo>
                  <a:pt x="240" y="48"/>
                </a:lnTo>
                <a:lnTo>
                  <a:pt x="240" y="48"/>
                </a:lnTo>
                <a:lnTo>
                  <a:pt x="234" y="48"/>
                </a:lnTo>
                <a:lnTo>
                  <a:pt x="240" y="54"/>
                </a:lnTo>
                <a:lnTo>
                  <a:pt x="240" y="54"/>
                </a:lnTo>
                <a:lnTo>
                  <a:pt x="240" y="54"/>
                </a:lnTo>
                <a:lnTo>
                  <a:pt x="240" y="54"/>
                </a:lnTo>
                <a:lnTo>
                  <a:pt x="240" y="60"/>
                </a:lnTo>
                <a:lnTo>
                  <a:pt x="240" y="60"/>
                </a:lnTo>
                <a:lnTo>
                  <a:pt x="234" y="54"/>
                </a:lnTo>
                <a:lnTo>
                  <a:pt x="234" y="54"/>
                </a:lnTo>
                <a:lnTo>
                  <a:pt x="234" y="60"/>
                </a:lnTo>
                <a:lnTo>
                  <a:pt x="234" y="60"/>
                </a:lnTo>
                <a:lnTo>
                  <a:pt x="234" y="60"/>
                </a:lnTo>
                <a:lnTo>
                  <a:pt x="234" y="60"/>
                </a:lnTo>
                <a:lnTo>
                  <a:pt x="234" y="60"/>
                </a:lnTo>
                <a:lnTo>
                  <a:pt x="234" y="60"/>
                </a:lnTo>
                <a:lnTo>
                  <a:pt x="228" y="60"/>
                </a:lnTo>
                <a:lnTo>
                  <a:pt x="228" y="60"/>
                </a:lnTo>
                <a:lnTo>
                  <a:pt x="228" y="66"/>
                </a:lnTo>
                <a:lnTo>
                  <a:pt x="228" y="66"/>
                </a:lnTo>
                <a:lnTo>
                  <a:pt x="234" y="66"/>
                </a:lnTo>
                <a:lnTo>
                  <a:pt x="234" y="66"/>
                </a:lnTo>
                <a:lnTo>
                  <a:pt x="234" y="66"/>
                </a:lnTo>
                <a:lnTo>
                  <a:pt x="234" y="66"/>
                </a:lnTo>
                <a:lnTo>
                  <a:pt x="234" y="66"/>
                </a:lnTo>
                <a:lnTo>
                  <a:pt x="228" y="66"/>
                </a:lnTo>
                <a:lnTo>
                  <a:pt x="228" y="72"/>
                </a:lnTo>
                <a:lnTo>
                  <a:pt x="228" y="72"/>
                </a:lnTo>
                <a:lnTo>
                  <a:pt x="228" y="72"/>
                </a:lnTo>
                <a:lnTo>
                  <a:pt x="228" y="72"/>
                </a:lnTo>
                <a:lnTo>
                  <a:pt x="228" y="72"/>
                </a:lnTo>
                <a:lnTo>
                  <a:pt x="228" y="72"/>
                </a:lnTo>
                <a:lnTo>
                  <a:pt x="228" y="72"/>
                </a:lnTo>
                <a:lnTo>
                  <a:pt x="228" y="72"/>
                </a:lnTo>
                <a:lnTo>
                  <a:pt x="228" y="72"/>
                </a:lnTo>
                <a:lnTo>
                  <a:pt x="228" y="72"/>
                </a:lnTo>
                <a:lnTo>
                  <a:pt x="228" y="72"/>
                </a:lnTo>
                <a:lnTo>
                  <a:pt x="222" y="78"/>
                </a:lnTo>
                <a:lnTo>
                  <a:pt x="222" y="78"/>
                </a:lnTo>
                <a:lnTo>
                  <a:pt x="222" y="78"/>
                </a:lnTo>
                <a:lnTo>
                  <a:pt x="222" y="78"/>
                </a:lnTo>
                <a:lnTo>
                  <a:pt x="222" y="78"/>
                </a:lnTo>
                <a:lnTo>
                  <a:pt x="222" y="78"/>
                </a:lnTo>
                <a:lnTo>
                  <a:pt x="216" y="78"/>
                </a:lnTo>
                <a:lnTo>
                  <a:pt x="216" y="78"/>
                </a:lnTo>
                <a:lnTo>
                  <a:pt x="216" y="78"/>
                </a:lnTo>
                <a:lnTo>
                  <a:pt x="216" y="78"/>
                </a:lnTo>
                <a:lnTo>
                  <a:pt x="216" y="78"/>
                </a:lnTo>
                <a:lnTo>
                  <a:pt x="216" y="78"/>
                </a:lnTo>
                <a:lnTo>
                  <a:pt x="210" y="84"/>
                </a:lnTo>
                <a:lnTo>
                  <a:pt x="210" y="84"/>
                </a:lnTo>
                <a:lnTo>
                  <a:pt x="210" y="84"/>
                </a:lnTo>
                <a:lnTo>
                  <a:pt x="210" y="84"/>
                </a:lnTo>
                <a:lnTo>
                  <a:pt x="204" y="90"/>
                </a:lnTo>
                <a:lnTo>
                  <a:pt x="204" y="90"/>
                </a:lnTo>
                <a:lnTo>
                  <a:pt x="204" y="84"/>
                </a:lnTo>
                <a:lnTo>
                  <a:pt x="204" y="84"/>
                </a:lnTo>
                <a:lnTo>
                  <a:pt x="204" y="84"/>
                </a:lnTo>
                <a:lnTo>
                  <a:pt x="198" y="84"/>
                </a:lnTo>
                <a:lnTo>
                  <a:pt x="198" y="84"/>
                </a:lnTo>
                <a:lnTo>
                  <a:pt x="192" y="90"/>
                </a:lnTo>
                <a:lnTo>
                  <a:pt x="192" y="90"/>
                </a:lnTo>
                <a:lnTo>
                  <a:pt x="186" y="90"/>
                </a:lnTo>
                <a:lnTo>
                  <a:pt x="186" y="96"/>
                </a:lnTo>
                <a:lnTo>
                  <a:pt x="186" y="96"/>
                </a:lnTo>
                <a:lnTo>
                  <a:pt x="192" y="96"/>
                </a:lnTo>
                <a:lnTo>
                  <a:pt x="192" y="96"/>
                </a:lnTo>
                <a:lnTo>
                  <a:pt x="192" y="96"/>
                </a:lnTo>
                <a:lnTo>
                  <a:pt x="192" y="96"/>
                </a:lnTo>
                <a:lnTo>
                  <a:pt x="192" y="96"/>
                </a:lnTo>
                <a:lnTo>
                  <a:pt x="192" y="96"/>
                </a:lnTo>
                <a:lnTo>
                  <a:pt x="192" y="96"/>
                </a:lnTo>
                <a:lnTo>
                  <a:pt x="192" y="96"/>
                </a:lnTo>
                <a:lnTo>
                  <a:pt x="192" y="96"/>
                </a:lnTo>
                <a:lnTo>
                  <a:pt x="192" y="102"/>
                </a:lnTo>
                <a:lnTo>
                  <a:pt x="192" y="102"/>
                </a:lnTo>
                <a:lnTo>
                  <a:pt x="192" y="102"/>
                </a:lnTo>
                <a:lnTo>
                  <a:pt x="192" y="102"/>
                </a:lnTo>
                <a:lnTo>
                  <a:pt x="198" y="102"/>
                </a:lnTo>
                <a:lnTo>
                  <a:pt x="192" y="102"/>
                </a:lnTo>
                <a:lnTo>
                  <a:pt x="198" y="108"/>
                </a:lnTo>
                <a:lnTo>
                  <a:pt x="198" y="108"/>
                </a:lnTo>
                <a:lnTo>
                  <a:pt x="198" y="108"/>
                </a:lnTo>
                <a:lnTo>
                  <a:pt x="198" y="114"/>
                </a:lnTo>
                <a:lnTo>
                  <a:pt x="198" y="114"/>
                </a:lnTo>
                <a:lnTo>
                  <a:pt x="198" y="114"/>
                </a:lnTo>
                <a:lnTo>
                  <a:pt x="198" y="120"/>
                </a:lnTo>
                <a:lnTo>
                  <a:pt x="198" y="120"/>
                </a:lnTo>
                <a:lnTo>
                  <a:pt x="204" y="120"/>
                </a:lnTo>
                <a:lnTo>
                  <a:pt x="204" y="120"/>
                </a:lnTo>
                <a:lnTo>
                  <a:pt x="204" y="120"/>
                </a:lnTo>
                <a:lnTo>
                  <a:pt x="204" y="120"/>
                </a:lnTo>
                <a:lnTo>
                  <a:pt x="204" y="120"/>
                </a:lnTo>
                <a:lnTo>
                  <a:pt x="204" y="120"/>
                </a:lnTo>
                <a:lnTo>
                  <a:pt x="204" y="126"/>
                </a:lnTo>
                <a:lnTo>
                  <a:pt x="204" y="126"/>
                </a:lnTo>
                <a:lnTo>
                  <a:pt x="204" y="126"/>
                </a:lnTo>
                <a:lnTo>
                  <a:pt x="204" y="126"/>
                </a:lnTo>
                <a:lnTo>
                  <a:pt x="204" y="126"/>
                </a:lnTo>
                <a:lnTo>
                  <a:pt x="204" y="126"/>
                </a:lnTo>
                <a:lnTo>
                  <a:pt x="204" y="132"/>
                </a:lnTo>
                <a:lnTo>
                  <a:pt x="204" y="132"/>
                </a:lnTo>
                <a:lnTo>
                  <a:pt x="204" y="132"/>
                </a:lnTo>
                <a:lnTo>
                  <a:pt x="204" y="132"/>
                </a:lnTo>
                <a:lnTo>
                  <a:pt x="204" y="132"/>
                </a:lnTo>
                <a:lnTo>
                  <a:pt x="204" y="132"/>
                </a:lnTo>
                <a:lnTo>
                  <a:pt x="204" y="132"/>
                </a:lnTo>
                <a:lnTo>
                  <a:pt x="204" y="138"/>
                </a:lnTo>
                <a:lnTo>
                  <a:pt x="204" y="138"/>
                </a:lnTo>
                <a:lnTo>
                  <a:pt x="204" y="138"/>
                </a:lnTo>
                <a:lnTo>
                  <a:pt x="198" y="138"/>
                </a:lnTo>
                <a:lnTo>
                  <a:pt x="198" y="138"/>
                </a:lnTo>
                <a:lnTo>
                  <a:pt x="198" y="144"/>
                </a:lnTo>
                <a:lnTo>
                  <a:pt x="198" y="144"/>
                </a:lnTo>
                <a:lnTo>
                  <a:pt x="198" y="144"/>
                </a:lnTo>
                <a:lnTo>
                  <a:pt x="198" y="144"/>
                </a:lnTo>
                <a:lnTo>
                  <a:pt x="198" y="150"/>
                </a:lnTo>
                <a:lnTo>
                  <a:pt x="198" y="150"/>
                </a:lnTo>
                <a:lnTo>
                  <a:pt x="192" y="150"/>
                </a:lnTo>
                <a:lnTo>
                  <a:pt x="192" y="150"/>
                </a:lnTo>
                <a:lnTo>
                  <a:pt x="192" y="150"/>
                </a:lnTo>
                <a:lnTo>
                  <a:pt x="192" y="150"/>
                </a:lnTo>
                <a:lnTo>
                  <a:pt x="192" y="150"/>
                </a:lnTo>
                <a:lnTo>
                  <a:pt x="192" y="156"/>
                </a:lnTo>
                <a:lnTo>
                  <a:pt x="192" y="156"/>
                </a:lnTo>
                <a:lnTo>
                  <a:pt x="192" y="156"/>
                </a:lnTo>
                <a:lnTo>
                  <a:pt x="192" y="156"/>
                </a:lnTo>
                <a:lnTo>
                  <a:pt x="192" y="156"/>
                </a:lnTo>
                <a:lnTo>
                  <a:pt x="192" y="156"/>
                </a:lnTo>
                <a:lnTo>
                  <a:pt x="186" y="156"/>
                </a:lnTo>
                <a:lnTo>
                  <a:pt x="186" y="156"/>
                </a:lnTo>
                <a:lnTo>
                  <a:pt x="186" y="162"/>
                </a:lnTo>
                <a:lnTo>
                  <a:pt x="186" y="162"/>
                </a:lnTo>
                <a:lnTo>
                  <a:pt x="186" y="162"/>
                </a:lnTo>
                <a:lnTo>
                  <a:pt x="186" y="162"/>
                </a:lnTo>
                <a:lnTo>
                  <a:pt x="186" y="162"/>
                </a:lnTo>
                <a:lnTo>
                  <a:pt x="186" y="168"/>
                </a:lnTo>
                <a:lnTo>
                  <a:pt x="180" y="168"/>
                </a:lnTo>
                <a:lnTo>
                  <a:pt x="180" y="168"/>
                </a:lnTo>
                <a:lnTo>
                  <a:pt x="180" y="168"/>
                </a:lnTo>
                <a:lnTo>
                  <a:pt x="180" y="168"/>
                </a:lnTo>
                <a:lnTo>
                  <a:pt x="180" y="168"/>
                </a:lnTo>
                <a:lnTo>
                  <a:pt x="180" y="168"/>
                </a:lnTo>
                <a:lnTo>
                  <a:pt x="180" y="168"/>
                </a:lnTo>
                <a:lnTo>
                  <a:pt x="180" y="168"/>
                </a:lnTo>
                <a:lnTo>
                  <a:pt x="180" y="168"/>
                </a:lnTo>
                <a:lnTo>
                  <a:pt x="174" y="168"/>
                </a:lnTo>
                <a:lnTo>
                  <a:pt x="174" y="174"/>
                </a:lnTo>
                <a:lnTo>
                  <a:pt x="174" y="174"/>
                </a:lnTo>
                <a:lnTo>
                  <a:pt x="174" y="168"/>
                </a:lnTo>
                <a:lnTo>
                  <a:pt x="174" y="174"/>
                </a:lnTo>
                <a:lnTo>
                  <a:pt x="174" y="174"/>
                </a:lnTo>
                <a:lnTo>
                  <a:pt x="174" y="174"/>
                </a:lnTo>
                <a:lnTo>
                  <a:pt x="168" y="168"/>
                </a:lnTo>
                <a:lnTo>
                  <a:pt x="168" y="168"/>
                </a:lnTo>
                <a:lnTo>
                  <a:pt x="168" y="174"/>
                </a:lnTo>
                <a:lnTo>
                  <a:pt x="162" y="174"/>
                </a:lnTo>
                <a:lnTo>
                  <a:pt x="168" y="174"/>
                </a:lnTo>
                <a:lnTo>
                  <a:pt x="168" y="174"/>
                </a:lnTo>
                <a:lnTo>
                  <a:pt x="162" y="180"/>
                </a:lnTo>
                <a:lnTo>
                  <a:pt x="162" y="186"/>
                </a:lnTo>
                <a:lnTo>
                  <a:pt x="162" y="186"/>
                </a:lnTo>
                <a:lnTo>
                  <a:pt x="162" y="186"/>
                </a:lnTo>
                <a:lnTo>
                  <a:pt x="162" y="186"/>
                </a:lnTo>
                <a:lnTo>
                  <a:pt x="162" y="186"/>
                </a:lnTo>
                <a:lnTo>
                  <a:pt x="156" y="186"/>
                </a:lnTo>
                <a:lnTo>
                  <a:pt x="156" y="186"/>
                </a:lnTo>
                <a:lnTo>
                  <a:pt x="156" y="180"/>
                </a:lnTo>
                <a:lnTo>
                  <a:pt x="156" y="180"/>
                </a:lnTo>
                <a:lnTo>
                  <a:pt x="156" y="180"/>
                </a:lnTo>
                <a:lnTo>
                  <a:pt x="156" y="180"/>
                </a:lnTo>
                <a:lnTo>
                  <a:pt x="150" y="180"/>
                </a:lnTo>
                <a:lnTo>
                  <a:pt x="150" y="180"/>
                </a:lnTo>
                <a:lnTo>
                  <a:pt x="150" y="180"/>
                </a:lnTo>
                <a:lnTo>
                  <a:pt x="150" y="186"/>
                </a:lnTo>
                <a:lnTo>
                  <a:pt x="150" y="186"/>
                </a:lnTo>
                <a:lnTo>
                  <a:pt x="150" y="186"/>
                </a:lnTo>
                <a:lnTo>
                  <a:pt x="150" y="180"/>
                </a:lnTo>
                <a:lnTo>
                  <a:pt x="150" y="180"/>
                </a:lnTo>
                <a:lnTo>
                  <a:pt x="150" y="180"/>
                </a:lnTo>
                <a:lnTo>
                  <a:pt x="150" y="180"/>
                </a:lnTo>
                <a:lnTo>
                  <a:pt x="150" y="180"/>
                </a:lnTo>
                <a:lnTo>
                  <a:pt x="150" y="180"/>
                </a:lnTo>
                <a:lnTo>
                  <a:pt x="150" y="180"/>
                </a:lnTo>
                <a:lnTo>
                  <a:pt x="144" y="180"/>
                </a:lnTo>
                <a:lnTo>
                  <a:pt x="144" y="180"/>
                </a:lnTo>
                <a:lnTo>
                  <a:pt x="144" y="180"/>
                </a:lnTo>
                <a:lnTo>
                  <a:pt x="144" y="180"/>
                </a:lnTo>
                <a:lnTo>
                  <a:pt x="144" y="180"/>
                </a:lnTo>
                <a:lnTo>
                  <a:pt x="144" y="180"/>
                </a:lnTo>
                <a:lnTo>
                  <a:pt x="144" y="180"/>
                </a:lnTo>
                <a:lnTo>
                  <a:pt x="138" y="180"/>
                </a:lnTo>
                <a:lnTo>
                  <a:pt x="138" y="180"/>
                </a:lnTo>
                <a:lnTo>
                  <a:pt x="138" y="180"/>
                </a:lnTo>
                <a:lnTo>
                  <a:pt x="138" y="174"/>
                </a:lnTo>
                <a:lnTo>
                  <a:pt x="138" y="174"/>
                </a:lnTo>
                <a:lnTo>
                  <a:pt x="138" y="174"/>
                </a:lnTo>
                <a:lnTo>
                  <a:pt x="138" y="174"/>
                </a:lnTo>
                <a:lnTo>
                  <a:pt x="138" y="174"/>
                </a:lnTo>
                <a:lnTo>
                  <a:pt x="138" y="174"/>
                </a:lnTo>
                <a:lnTo>
                  <a:pt x="138" y="168"/>
                </a:lnTo>
                <a:lnTo>
                  <a:pt x="138" y="168"/>
                </a:lnTo>
                <a:lnTo>
                  <a:pt x="138" y="168"/>
                </a:lnTo>
                <a:lnTo>
                  <a:pt x="138" y="162"/>
                </a:lnTo>
                <a:lnTo>
                  <a:pt x="138" y="162"/>
                </a:lnTo>
                <a:lnTo>
                  <a:pt x="138" y="168"/>
                </a:lnTo>
                <a:lnTo>
                  <a:pt x="138" y="168"/>
                </a:lnTo>
                <a:lnTo>
                  <a:pt x="138" y="162"/>
                </a:lnTo>
                <a:lnTo>
                  <a:pt x="138" y="162"/>
                </a:lnTo>
                <a:lnTo>
                  <a:pt x="132" y="162"/>
                </a:lnTo>
                <a:lnTo>
                  <a:pt x="138" y="162"/>
                </a:lnTo>
                <a:lnTo>
                  <a:pt x="138" y="162"/>
                </a:lnTo>
                <a:lnTo>
                  <a:pt x="132" y="156"/>
                </a:lnTo>
                <a:lnTo>
                  <a:pt x="132" y="156"/>
                </a:lnTo>
                <a:lnTo>
                  <a:pt x="138" y="156"/>
                </a:lnTo>
                <a:lnTo>
                  <a:pt x="138" y="156"/>
                </a:lnTo>
                <a:lnTo>
                  <a:pt x="138" y="156"/>
                </a:lnTo>
                <a:lnTo>
                  <a:pt x="138" y="156"/>
                </a:lnTo>
                <a:lnTo>
                  <a:pt x="132" y="150"/>
                </a:lnTo>
                <a:lnTo>
                  <a:pt x="132" y="156"/>
                </a:lnTo>
                <a:lnTo>
                  <a:pt x="132" y="156"/>
                </a:lnTo>
                <a:lnTo>
                  <a:pt x="126" y="150"/>
                </a:lnTo>
                <a:lnTo>
                  <a:pt x="120" y="150"/>
                </a:lnTo>
                <a:lnTo>
                  <a:pt x="120" y="150"/>
                </a:lnTo>
                <a:lnTo>
                  <a:pt x="120" y="150"/>
                </a:lnTo>
                <a:lnTo>
                  <a:pt x="120" y="150"/>
                </a:lnTo>
                <a:lnTo>
                  <a:pt x="120" y="150"/>
                </a:lnTo>
                <a:lnTo>
                  <a:pt x="120" y="150"/>
                </a:lnTo>
                <a:lnTo>
                  <a:pt x="120" y="156"/>
                </a:lnTo>
                <a:lnTo>
                  <a:pt x="120" y="156"/>
                </a:lnTo>
                <a:lnTo>
                  <a:pt x="120" y="156"/>
                </a:lnTo>
                <a:lnTo>
                  <a:pt x="114" y="156"/>
                </a:lnTo>
                <a:lnTo>
                  <a:pt x="114" y="156"/>
                </a:lnTo>
                <a:lnTo>
                  <a:pt x="114" y="156"/>
                </a:lnTo>
                <a:lnTo>
                  <a:pt x="114" y="156"/>
                </a:lnTo>
                <a:lnTo>
                  <a:pt x="114" y="156"/>
                </a:lnTo>
                <a:lnTo>
                  <a:pt x="96" y="144"/>
                </a:lnTo>
                <a:lnTo>
                  <a:pt x="96" y="138"/>
                </a:lnTo>
                <a:lnTo>
                  <a:pt x="96" y="138"/>
                </a:lnTo>
                <a:lnTo>
                  <a:pt x="96" y="138"/>
                </a:lnTo>
                <a:lnTo>
                  <a:pt x="96" y="138"/>
                </a:lnTo>
                <a:lnTo>
                  <a:pt x="96" y="138"/>
                </a:lnTo>
                <a:lnTo>
                  <a:pt x="96" y="138"/>
                </a:lnTo>
                <a:lnTo>
                  <a:pt x="96" y="132"/>
                </a:lnTo>
                <a:lnTo>
                  <a:pt x="96" y="132"/>
                </a:lnTo>
                <a:lnTo>
                  <a:pt x="96" y="132"/>
                </a:lnTo>
                <a:lnTo>
                  <a:pt x="96" y="132"/>
                </a:lnTo>
                <a:lnTo>
                  <a:pt x="96" y="132"/>
                </a:lnTo>
                <a:lnTo>
                  <a:pt x="96" y="132"/>
                </a:lnTo>
                <a:lnTo>
                  <a:pt x="96" y="132"/>
                </a:lnTo>
                <a:lnTo>
                  <a:pt x="90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78" y="132"/>
                </a:lnTo>
                <a:lnTo>
                  <a:pt x="78" y="126"/>
                </a:lnTo>
                <a:lnTo>
                  <a:pt x="78" y="126"/>
                </a:lnTo>
                <a:lnTo>
                  <a:pt x="78" y="126"/>
                </a:lnTo>
                <a:lnTo>
                  <a:pt x="78" y="132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66" y="126"/>
                </a:lnTo>
                <a:lnTo>
                  <a:pt x="66" y="126"/>
                </a:lnTo>
                <a:lnTo>
                  <a:pt x="66" y="126"/>
                </a:lnTo>
                <a:lnTo>
                  <a:pt x="60" y="126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14"/>
                </a:lnTo>
                <a:lnTo>
                  <a:pt x="60" y="114"/>
                </a:lnTo>
                <a:lnTo>
                  <a:pt x="48" y="108"/>
                </a:lnTo>
                <a:lnTo>
                  <a:pt x="30" y="96"/>
                </a:lnTo>
                <a:lnTo>
                  <a:pt x="30" y="90"/>
                </a:lnTo>
                <a:lnTo>
                  <a:pt x="0" y="7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90" name="Freeform 223"/>
          <p:cNvSpPr>
            <a:spLocks/>
          </p:cNvSpPr>
          <p:nvPr/>
        </p:nvSpPr>
        <p:spPr bwMode="auto">
          <a:xfrm>
            <a:off x="8021031" y="3331992"/>
            <a:ext cx="231266" cy="327629"/>
          </a:xfrm>
          <a:custGeom>
            <a:avLst/>
            <a:gdLst>
              <a:gd name="T0" fmla="*/ 0 w 216"/>
              <a:gd name="T1" fmla="*/ 174 h 306"/>
              <a:gd name="T2" fmla="*/ 6 w 216"/>
              <a:gd name="T3" fmla="*/ 162 h 306"/>
              <a:gd name="T4" fmla="*/ 6 w 216"/>
              <a:gd name="T5" fmla="*/ 156 h 306"/>
              <a:gd name="T6" fmla="*/ 6 w 216"/>
              <a:gd name="T7" fmla="*/ 138 h 306"/>
              <a:gd name="T8" fmla="*/ 12 w 216"/>
              <a:gd name="T9" fmla="*/ 126 h 306"/>
              <a:gd name="T10" fmla="*/ 18 w 216"/>
              <a:gd name="T11" fmla="*/ 120 h 306"/>
              <a:gd name="T12" fmla="*/ 30 w 216"/>
              <a:gd name="T13" fmla="*/ 120 h 306"/>
              <a:gd name="T14" fmla="*/ 36 w 216"/>
              <a:gd name="T15" fmla="*/ 120 h 306"/>
              <a:gd name="T16" fmla="*/ 42 w 216"/>
              <a:gd name="T17" fmla="*/ 120 h 306"/>
              <a:gd name="T18" fmla="*/ 48 w 216"/>
              <a:gd name="T19" fmla="*/ 114 h 306"/>
              <a:gd name="T20" fmla="*/ 42 w 216"/>
              <a:gd name="T21" fmla="*/ 108 h 306"/>
              <a:gd name="T22" fmla="*/ 42 w 216"/>
              <a:gd name="T23" fmla="*/ 96 h 306"/>
              <a:gd name="T24" fmla="*/ 42 w 216"/>
              <a:gd name="T25" fmla="*/ 84 h 306"/>
              <a:gd name="T26" fmla="*/ 48 w 216"/>
              <a:gd name="T27" fmla="*/ 78 h 306"/>
              <a:gd name="T28" fmla="*/ 54 w 216"/>
              <a:gd name="T29" fmla="*/ 78 h 306"/>
              <a:gd name="T30" fmla="*/ 60 w 216"/>
              <a:gd name="T31" fmla="*/ 72 h 306"/>
              <a:gd name="T32" fmla="*/ 60 w 216"/>
              <a:gd name="T33" fmla="*/ 72 h 306"/>
              <a:gd name="T34" fmla="*/ 66 w 216"/>
              <a:gd name="T35" fmla="*/ 60 h 306"/>
              <a:gd name="T36" fmla="*/ 66 w 216"/>
              <a:gd name="T37" fmla="*/ 60 h 306"/>
              <a:gd name="T38" fmla="*/ 72 w 216"/>
              <a:gd name="T39" fmla="*/ 54 h 306"/>
              <a:gd name="T40" fmla="*/ 78 w 216"/>
              <a:gd name="T41" fmla="*/ 42 h 306"/>
              <a:gd name="T42" fmla="*/ 84 w 216"/>
              <a:gd name="T43" fmla="*/ 42 h 306"/>
              <a:gd name="T44" fmla="*/ 90 w 216"/>
              <a:gd name="T45" fmla="*/ 36 h 306"/>
              <a:gd name="T46" fmla="*/ 90 w 216"/>
              <a:gd name="T47" fmla="*/ 30 h 306"/>
              <a:gd name="T48" fmla="*/ 96 w 216"/>
              <a:gd name="T49" fmla="*/ 18 h 306"/>
              <a:gd name="T50" fmla="*/ 96 w 216"/>
              <a:gd name="T51" fmla="*/ 12 h 306"/>
              <a:gd name="T52" fmla="*/ 90 w 216"/>
              <a:gd name="T53" fmla="*/ 6 h 306"/>
              <a:gd name="T54" fmla="*/ 102 w 216"/>
              <a:gd name="T55" fmla="*/ 0 h 306"/>
              <a:gd name="T56" fmla="*/ 120 w 216"/>
              <a:gd name="T57" fmla="*/ 0 h 306"/>
              <a:gd name="T58" fmla="*/ 150 w 216"/>
              <a:gd name="T59" fmla="*/ 12 h 306"/>
              <a:gd name="T60" fmla="*/ 174 w 216"/>
              <a:gd name="T61" fmla="*/ 18 h 306"/>
              <a:gd name="T62" fmla="*/ 192 w 216"/>
              <a:gd name="T63" fmla="*/ 12 h 306"/>
              <a:gd name="T64" fmla="*/ 216 w 216"/>
              <a:gd name="T65" fmla="*/ 24 h 306"/>
              <a:gd name="T66" fmla="*/ 204 w 216"/>
              <a:gd name="T67" fmla="*/ 36 h 306"/>
              <a:gd name="T68" fmla="*/ 210 w 216"/>
              <a:gd name="T69" fmla="*/ 48 h 306"/>
              <a:gd name="T70" fmla="*/ 204 w 216"/>
              <a:gd name="T71" fmla="*/ 60 h 306"/>
              <a:gd name="T72" fmla="*/ 198 w 216"/>
              <a:gd name="T73" fmla="*/ 72 h 306"/>
              <a:gd name="T74" fmla="*/ 198 w 216"/>
              <a:gd name="T75" fmla="*/ 90 h 306"/>
              <a:gd name="T76" fmla="*/ 192 w 216"/>
              <a:gd name="T77" fmla="*/ 102 h 306"/>
              <a:gd name="T78" fmla="*/ 192 w 216"/>
              <a:gd name="T79" fmla="*/ 120 h 306"/>
              <a:gd name="T80" fmla="*/ 186 w 216"/>
              <a:gd name="T81" fmla="*/ 144 h 306"/>
              <a:gd name="T82" fmla="*/ 180 w 216"/>
              <a:gd name="T83" fmla="*/ 162 h 306"/>
              <a:gd name="T84" fmla="*/ 186 w 216"/>
              <a:gd name="T85" fmla="*/ 204 h 306"/>
              <a:gd name="T86" fmla="*/ 186 w 216"/>
              <a:gd name="T87" fmla="*/ 228 h 306"/>
              <a:gd name="T88" fmla="*/ 174 w 216"/>
              <a:gd name="T89" fmla="*/ 246 h 306"/>
              <a:gd name="T90" fmla="*/ 162 w 216"/>
              <a:gd name="T91" fmla="*/ 252 h 306"/>
              <a:gd name="T92" fmla="*/ 138 w 216"/>
              <a:gd name="T93" fmla="*/ 270 h 306"/>
              <a:gd name="T94" fmla="*/ 138 w 216"/>
              <a:gd name="T95" fmla="*/ 276 h 306"/>
              <a:gd name="T96" fmla="*/ 126 w 216"/>
              <a:gd name="T97" fmla="*/ 294 h 306"/>
              <a:gd name="T98" fmla="*/ 120 w 216"/>
              <a:gd name="T99" fmla="*/ 306 h 306"/>
              <a:gd name="T100" fmla="*/ 48 w 216"/>
              <a:gd name="T101" fmla="*/ 258 h 306"/>
              <a:gd name="T102" fmla="*/ 54 w 216"/>
              <a:gd name="T103" fmla="*/ 246 h 306"/>
              <a:gd name="T104" fmla="*/ 54 w 216"/>
              <a:gd name="T105" fmla="*/ 240 h 306"/>
              <a:gd name="T106" fmla="*/ 48 w 216"/>
              <a:gd name="T107" fmla="*/ 228 h 306"/>
              <a:gd name="T108" fmla="*/ 42 w 216"/>
              <a:gd name="T109" fmla="*/ 222 h 306"/>
              <a:gd name="T110" fmla="*/ 36 w 216"/>
              <a:gd name="T111" fmla="*/ 210 h 306"/>
              <a:gd name="T112" fmla="*/ 30 w 216"/>
              <a:gd name="T113" fmla="*/ 210 h 306"/>
              <a:gd name="T114" fmla="*/ 24 w 216"/>
              <a:gd name="T115" fmla="*/ 210 h 306"/>
              <a:gd name="T116" fmla="*/ 18 w 216"/>
              <a:gd name="T117" fmla="*/ 198 h 306"/>
              <a:gd name="T118" fmla="*/ 12 w 216"/>
              <a:gd name="T119" fmla="*/ 192 h 306"/>
              <a:gd name="T120" fmla="*/ 6 w 216"/>
              <a:gd name="T121" fmla="*/ 186 h 306"/>
              <a:gd name="T122" fmla="*/ 0 w 216"/>
              <a:gd name="T123" fmla="*/ 180 h 3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16" h="306">
                <a:moveTo>
                  <a:pt x="0" y="180"/>
                </a:moveTo>
                <a:lnTo>
                  <a:pt x="0" y="174"/>
                </a:lnTo>
                <a:lnTo>
                  <a:pt x="0" y="174"/>
                </a:lnTo>
                <a:lnTo>
                  <a:pt x="0" y="174"/>
                </a:lnTo>
                <a:lnTo>
                  <a:pt x="0" y="174"/>
                </a:lnTo>
                <a:lnTo>
                  <a:pt x="0" y="174"/>
                </a:lnTo>
                <a:lnTo>
                  <a:pt x="0" y="174"/>
                </a:lnTo>
                <a:lnTo>
                  <a:pt x="6" y="174"/>
                </a:lnTo>
                <a:lnTo>
                  <a:pt x="6" y="168"/>
                </a:lnTo>
                <a:lnTo>
                  <a:pt x="6" y="168"/>
                </a:lnTo>
                <a:lnTo>
                  <a:pt x="6" y="168"/>
                </a:lnTo>
                <a:lnTo>
                  <a:pt x="6" y="168"/>
                </a:lnTo>
                <a:lnTo>
                  <a:pt x="6" y="162"/>
                </a:lnTo>
                <a:lnTo>
                  <a:pt x="6" y="162"/>
                </a:lnTo>
                <a:lnTo>
                  <a:pt x="6" y="162"/>
                </a:lnTo>
                <a:lnTo>
                  <a:pt x="6" y="162"/>
                </a:lnTo>
                <a:lnTo>
                  <a:pt x="6" y="162"/>
                </a:lnTo>
                <a:lnTo>
                  <a:pt x="6" y="162"/>
                </a:lnTo>
                <a:lnTo>
                  <a:pt x="6" y="156"/>
                </a:lnTo>
                <a:lnTo>
                  <a:pt x="6" y="156"/>
                </a:lnTo>
                <a:lnTo>
                  <a:pt x="6" y="156"/>
                </a:lnTo>
                <a:lnTo>
                  <a:pt x="6" y="150"/>
                </a:lnTo>
                <a:lnTo>
                  <a:pt x="6" y="150"/>
                </a:lnTo>
                <a:lnTo>
                  <a:pt x="6" y="150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38"/>
                </a:lnTo>
                <a:lnTo>
                  <a:pt x="6" y="138"/>
                </a:lnTo>
                <a:lnTo>
                  <a:pt x="6" y="132"/>
                </a:lnTo>
                <a:lnTo>
                  <a:pt x="6" y="132"/>
                </a:lnTo>
                <a:lnTo>
                  <a:pt x="6" y="132"/>
                </a:lnTo>
                <a:lnTo>
                  <a:pt x="6" y="132"/>
                </a:lnTo>
                <a:lnTo>
                  <a:pt x="12" y="126"/>
                </a:lnTo>
                <a:lnTo>
                  <a:pt x="12" y="126"/>
                </a:lnTo>
                <a:lnTo>
                  <a:pt x="12" y="120"/>
                </a:lnTo>
                <a:lnTo>
                  <a:pt x="18" y="120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14"/>
                </a:lnTo>
                <a:lnTo>
                  <a:pt x="24" y="114"/>
                </a:lnTo>
                <a:lnTo>
                  <a:pt x="24" y="120"/>
                </a:lnTo>
                <a:lnTo>
                  <a:pt x="24" y="120"/>
                </a:lnTo>
                <a:lnTo>
                  <a:pt x="30" y="120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6" y="114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42" y="120"/>
                </a:lnTo>
                <a:lnTo>
                  <a:pt x="42" y="120"/>
                </a:lnTo>
                <a:lnTo>
                  <a:pt x="42" y="120"/>
                </a:lnTo>
                <a:lnTo>
                  <a:pt x="42" y="120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8" y="114"/>
                </a:lnTo>
                <a:lnTo>
                  <a:pt x="48" y="114"/>
                </a:lnTo>
                <a:lnTo>
                  <a:pt x="48" y="114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2" y="102"/>
                </a:lnTo>
                <a:lnTo>
                  <a:pt x="42" y="108"/>
                </a:lnTo>
                <a:lnTo>
                  <a:pt x="42" y="102"/>
                </a:lnTo>
                <a:lnTo>
                  <a:pt x="36" y="108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42" y="84"/>
                </a:lnTo>
                <a:lnTo>
                  <a:pt x="42" y="84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54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66"/>
                </a:lnTo>
                <a:lnTo>
                  <a:pt x="60" y="66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54"/>
                </a:lnTo>
                <a:lnTo>
                  <a:pt x="66" y="54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54"/>
                </a:lnTo>
                <a:lnTo>
                  <a:pt x="72" y="54"/>
                </a:lnTo>
                <a:lnTo>
                  <a:pt x="78" y="54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90" y="42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6" y="24"/>
                </a:lnTo>
                <a:lnTo>
                  <a:pt x="96" y="24"/>
                </a:lnTo>
                <a:lnTo>
                  <a:pt x="96" y="18"/>
                </a:lnTo>
                <a:lnTo>
                  <a:pt x="96" y="18"/>
                </a:lnTo>
                <a:lnTo>
                  <a:pt x="90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8" y="0"/>
                </a:lnTo>
                <a:lnTo>
                  <a:pt x="108" y="0"/>
                </a:lnTo>
                <a:lnTo>
                  <a:pt x="114" y="0"/>
                </a:lnTo>
                <a:lnTo>
                  <a:pt x="114" y="0"/>
                </a:lnTo>
                <a:lnTo>
                  <a:pt x="120" y="0"/>
                </a:lnTo>
                <a:lnTo>
                  <a:pt x="132" y="6"/>
                </a:lnTo>
                <a:lnTo>
                  <a:pt x="138" y="6"/>
                </a:lnTo>
                <a:lnTo>
                  <a:pt x="144" y="12"/>
                </a:lnTo>
                <a:lnTo>
                  <a:pt x="144" y="6"/>
                </a:lnTo>
                <a:lnTo>
                  <a:pt x="150" y="6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6" y="12"/>
                </a:lnTo>
                <a:lnTo>
                  <a:pt x="156" y="12"/>
                </a:lnTo>
                <a:lnTo>
                  <a:pt x="162" y="12"/>
                </a:lnTo>
                <a:lnTo>
                  <a:pt x="162" y="18"/>
                </a:lnTo>
                <a:lnTo>
                  <a:pt x="174" y="18"/>
                </a:lnTo>
                <a:lnTo>
                  <a:pt x="174" y="18"/>
                </a:lnTo>
                <a:lnTo>
                  <a:pt x="174" y="12"/>
                </a:lnTo>
                <a:lnTo>
                  <a:pt x="180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6"/>
                </a:lnTo>
                <a:lnTo>
                  <a:pt x="192" y="12"/>
                </a:lnTo>
                <a:lnTo>
                  <a:pt x="216" y="12"/>
                </a:lnTo>
                <a:lnTo>
                  <a:pt x="216" y="12"/>
                </a:lnTo>
                <a:lnTo>
                  <a:pt x="216" y="18"/>
                </a:lnTo>
                <a:lnTo>
                  <a:pt x="216" y="18"/>
                </a:lnTo>
                <a:lnTo>
                  <a:pt x="216" y="24"/>
                </a:lnTo>
                <a:lnTo>
                  <a:pt x="216" y="24"/>
                </a:lnTo>
                <a:lnTo>
                  <a:pt x="216" y="24"/>
                </a:lnTo>
                <a:lnTo>
                  <a:pt x="216" y="24"/>
                </a:lnTo>
                <a:lnTo>
                  <a:pt x="210" y="30"/>
                </a:lnTo>
                <a:lnTo>
                  <a:pt x="210" y="30"/>
                </a:lnTo>
                <a:lnTo>
                  <a:pt x="210" y="30"/>
                </a:lnTo>
                <a:lnTo>
                  <a:pt x="210" y="36"/>
                </a:lnTo>
                <a:lnTo>
                  <a:pt x="210" y="36"/>
                </a:lnTo>
                <a:lnTo>
                  <a:pt x="204" y="36"/>
                </a:lnTo>
                <a:lnTo>
                  <a:pt x="204" y="36"/>
                </a:lnTo>
                <a:lnTo>
                  <a:pt x="210" y="36"/>
                </a:lnTo>
                <a:lnTo>
                  <a:pt x="204" y="42"/>
                </a:lnTo>
                <a:lnTo>
                  <a:pt x="210" y="42"/>
                </a:lnTo>
                <a:lnTo>
                  <a:pt x="210" y="42"/>
                </a:lnTo>
                <a:lnTo>
                  <a:pt x="210" y="42"/>
                </a:lnTo>
                <a:lnTo>
                  <a:pt x="210" y="48"/>
                </a:lnTo>
                <a:lnTo>
                  <a:pt x="210" y="48"/>
                </a:lnTo>
                <a:lnTo>
                  <a:pt x="210" y="48"/>
                </a:lnTo>
                <a:lnTo>
                  <a:pt x="204" y="48"/>
                </a:lnTo>
                <a:lnTo>
                  <a:pt x="204" y="54"/>
                </a:lnTo>
                <a:lnTo>
                  <a:pt x="204" y="54"/>
                </a:lnTo>
                <a:lnTo>
                  <a:pt x="204" y="60"/>
                </a:lnTo>
                <a:lnTo>
                  <a:pt x="204" y="60"/>
                </a:lnTo>
                <a:lnTo>
                  <a:pt x="204" y="60"/>
                </a:lnTo>
                <a:lnTo>
                  <a:pt x="204" y="60"/>
                </a:lnTo>
                <a:lnTo>
                  <a:pt x="204" y="60"/>
                </a:lnTo>
                <a:lnTo>
                  <a:pt x="204" y="60"/>
                </a:lnTo>
                <a:lnTo>
                  <a:pt x="204" y="66"/>
                </a:lnTo>
                <a:lnTo>
                  <a:pt x="198" y="66"/>
                </a:lnTo>
                <a:lnTo>
                  <a:pt x="198" y="72"/>
                </a:lnTo>
                <a:lnTo>
                  <a:pt x="198" y="72"/>
                </a:lnTo>
                <a:lnTo>
                  <a:pt x="198" y="78"/>
                </a:lnTo>
                <a:lnTo>
                  <a:pt x="198" y="78"/>
                </a:lnTo>
                <a:lnTo>
                  <a:pt x="198" y="84"/>
                </a:lnTo>
                <a:lnTo>
                  <a:pt x="198" y="84"/>
                </a:lnTo>
                <a:lnTo>
                  <a:pt x="198" y="84"/>
                </a:lnTo>
                <a:lnTo>
                  <a:pt x="198" y="90"/>
                </a:lnTo>
                <a:lnTo>
                  <a:pt x="198" y="90"/>
                </a:lnTo>
                <a:lnTo>
                  <a:pt x="198" y="96"/>
                </a:lnTo>
                <a:lnTo>
                  <a:pt x="192" y="96"/>
                </a:lnTo>
                <a:lnTo>
                  <a:pt x="192" y="96"/>
                </a:lnTo>
                <a:lnTo>
                  <a:pt x="192" y="96"/>
                </a:lnTo>
                <a:lnTo>
                  <a:pt x="192" y="96"/>
                </a:lnTo>
                <a:lnTo>
                  <a:pt x="192" y="102"/>
                </a:lnTo>
                <a:lnTo>
                  <a:pt x="192" y="96"/>
                </a:lnTo>
                <a:lnTo>
                  <a:pt x="192" y="102"/>
                </a:lnTo>
                <a:lnTo>
                  <a:pt x="192" y="108"/>
                </a:lnTo>
                <a:lnTo>
                  <a:pt x="192" y="114"/>
                </a:lnTo>
                <a:lnTo>
                  <a:pt x="192" y="114"/>
                </a:lnTo>
                <a:lnTo>
                  <a:pt x="198" y="120"/>
                </a:lnTo>
                <a:lnTo>
                  <a:pt x="192" y="120"/>
                </a:lnTo>
                <a:lnTo>
                  <a:pt x="192" y="126"/>
                </a:lnTo>
                <a:lnTo>
                  <a:pt x="192" y="126"/>
                </a:lnTo>
                <a:lnTo>
                  <a:pt x="186" y="132"/>
                </a:lnTo>
                <a:lnTo>
                  <a:pt x="186" y="138"/>
                </a:lnTo>
                <a:lnTo>
                  <a:pt x="186" y="138"/>
                </a:lnTo>
                <a:lnTo>
                  <a:pt x="186" y="138"/>
                </a:lnTo>
                <a:lnTo>
                  <a:pt x="186" y="144"/>
                </a:lnTo>
                <a:lnTo>
                  <a:pt x="186" y="144"/>
                </a:lnTo>
                <a:lnTo>
                  <a:pt x="186" y="144"/>
                </a:lnTo>
                <a:lnTo>
                  <a:pt x="186" y="150"/>
                </a:lnTo>
                <a:lnTo>
                  <a:pt x="180" y="150"/>
                </a:lnTo>
                <a:lnTo>
                  <a:pt x="180" y="156"/>
                </a:lnTo>
                <a:lnTo>
                  <a:pt x="180" y="162"/>
                </a:lnTo>
                <a:lnTo>
                  <a:pt x="180" y="162"/>
                </a:lnTo>
                <a:lnTo>
                  <a:pt x="180" y="168"/>
                </a:lnTo>
                <a:lnTo>
                  <a:pt x="180" y="174"/>
                </a:lnTo>
                <a:lnTo>
                  <a:pt x="180" y="180"/>
                </a:lnTo>
                <a:lnTo>
                  <a:pt x="186" y="186"/>
                </a:lnTo>
                <a:lnTo>
                  <a:pt x="186" y="192"/>
                </a:lnTo>
                <a:lnTo>
                  <a:pt x="186" y="198"/>
                </a:lnTo>
                <a:lnTo>
                  <a:pt x="186" y="204"/>
                </a:lnTo>
                <a:lnTo>
                  <a:pt x="186" y="204"/>
                </a:lnTo>
                <a:lnTo>
                  <a:pt x="186" y="204"/>
                </a:lnTo>
                <a:lnTo>
                  <a:pt x="186" y="210"/>
                </a:lnTo>
                <a:lnTo>
                  <a:pt x="192" y="222"/>
                </a:lnTo>
                <a:lnTo>
                  <a:pt x="192" y="222"/>
                </a:lnTo>
                <a:lnTo>
                  <a:pt x="192" y="222"/>
                </a:lnTo>
                <a:lnTo>
                  <a:pt x="186" y="228"/>
                </a:lnTo>
                <a:lnTo>
                  <a:pt x="186" y="228"/>
                </a:lnTo>
                <a:lnTo>
                  <a:pt x="186" y="234"/>
                </a:lnTo>
                <a:lnTo>
                  <a:pt x="180" y="234"/>
                </a:lnTo>
                <a:lnTo>
                  <a:pt x="174" y="240"/>
                </a:lnTo>
                <a:lnTo>
                  <a:pt x="174" y="240"/>
                </a:lnTo>
                <a:lnTo>
                  <a:pt x="174" y="240"/>
                </a:lnTo>
                <a:lnTo>
                  <a:pt x="174" y="246"/>
                </a:lnTo>
                <a:lnTo>
                  <a:pt x="174" y="246"/>
                </a:lnTo>
                <a:lnTo>
                  <a:pt x="168" y="246"/>
                </a:lnTo>
                <a:lnTo>
                  <a:pt x="168" y="246"/>
                </a:lnTo>
                <a:lnTo>
                  <a:pt x="168" y="246"/>
                </a:lnTo>
                <a:lnTo>
                  <a:pt x="162" y="246"/>
                </a:lnTo>
                <a:lnTo>
                  <a:pt x="162" y="252"/>
                </a:lnTo>
                <a:lnTo>
                  <a:pt x="162" y="252"/>
                </a:lnTo>
                <a:lnTo>
                  <a:pt x="156" y="252"/>
                </a:lnTo>
                <a:lnTo>
                  <a:pt x="150" y="252"/>
                </a:lnTo>
                <a:lnTo>
                  <a:pt x="150" y="258"/>
                </a:lnTo>
                <a:lnTo>
                  <a:pt x="144" y="264"/>
                </a:lnTo>
                <a:lnTo>
                  <a:pt x="144" y="264"/>
                </a:lnTo>
                <a:lnTo>
                  <a:pt x="138" y="276"/>
                </a:lnTo>
                <a:lnTo>
                  <a:pt x="138" y="270"/>
                </a:lnTo>
                <a:lnTo>
                  <a:pt x="138" y="270"/>
                </a:lnTo>
                <a:lnTo>
                  <a:pt x="138" y="276"/>
                </a:lnTo>
                <a:lnTo>
                  <a:pt x="138" y="270"/>
                </a:lnTo>
                <a:lnTo>
                  <a:pt x="132" y="270"/>
                </a:lnTo>
                <a:lnTo>
                  <a:pt x="138" y="276"/>
                </a:lnTo>
                <a:lnTo>
                  <a:pt x="138" y="276"/>
                </a:lnTo>
                <a:lnTo>
                  <a:pt x="138" y="276"/>
                </a:lnTo>
                <a:lnTo>
                  <a:pt x="138" y="276"/>
                </a:lnTo>
                <a:lnTo>
                  <a:pt x="138" y="276"/>
                </a:lnTo>
                <a:lnTo>
                  <a:pt x="138" y="276"/>
                </a:lnTo>
                <a:lnTo>
                  <a:pt x="138" y="276"/>
                </a:lnTo>
                <a:lnTo>
                  <a:pt x="132" y="282"/>
                </a:lnTo>
                <a:lnTo>
                  <a:pt x="126" y="294"/>
                </a:lnTo>
                <a:lnTo>
                  <a:pt x="126" y="294"/>
                </a:lnTo>
                <a:lnTo>
                  <a:pt x="126" y="300"/>
                </a:lnTo>
                <a:lnTo>
                  <a:pt x="126" y="300"/>
                </a:lnTo>
                <a:lnTo>
                  <a:pt x="126" y="306"/>
                </a:lnTo>
                <a:lnTo>
                  <a:pt x="126" y="306"/>
                </a:lnTo>
                <a:lnTo>
                  <a:pt x="120" y="306"/>
                </a:lnTo>
                <a:lnTo>
                  <a:pt x="120" y="306"/>
                </a:lnTo>
                <a:lnTo>
                  <a:pt x="120" y="306"/>
                </a:lnTo>
                <a:lnTo>
                  <a:pt x="120" y="306"/>
                </a:lnTo>
                <a:lnTo>
                  <a:pt x="120" y="306"/>
                </a:lnTo>
                <a:lnTo>
                  <a:pt x="90" y="282"/>
                </a:lnTo>
                <a:lnTo>
                  <a:pt x="90" y="282"/>
                </a:lnTo>
                <a:lnTo>
                  <a:pt x="84" y="282"/>
                </a:lnTo>
                <a:lnTo>
                  <a:pt x="72" y="270"/>
                </a:lnTo>
                <a:lnTo>
                  <a:pt x="48" y="258"/>
                </a:lnTo>
                <a:lnTo>
                  <a:pt x="48" y="258"/>
                </a:lnTo>
                <a:lnTo>
                  <a:pt x="48" y="258"/>
                </a:lnTo>
                <a:lnTo>
                  <a:pt x="48" y="252"/>
                </a:lnTo>
                <a:lnTo>
                  <a:pt x="48" y="252"/>
                </a:lnTo>
                <a:lnTo>
                  <a:pt x="48" y="252"/>
                </a:lnTo>
                <a:lnTo>
                  <a:pt x="54" y="246"/>
                </a:lnTo>
                <a:lnTo>
                  <a:pt x="54" y="246"/>
                </a:lnTo>
                <a:lnTo>
                  <a:pt x="54" y="240"/>
                </a:lnTo>
                <a:lnTo>
                  <a:pt x="54" y="240"/>
                </a:lnTo>
                <a:lnTo>
                  <a:pt x="54" y="240"/>
                </a:lnTo>
                <a:lnTo>
                  <a:pt x="54" y="240"/>
                </a:lnTo>
                <a:lnTo>
                  <a:pt x="54" y="240"/>
                </a:lnTo>
                <a:lnTo>
                  <a:pt x="54" y="240"/>
                </a:lnTo>
                <a:lnTo>
                  <a:pt x="54" y="240"/>
                </a:lnTo>
                <a:lnTo>
                  <a:pt x="54" y="234"/>
                </a:lnTo>
                <a:lnTo>
                  <a:pt x="54" y="234"/>
                </a:lnTo>
                <a:lnTo>
                  <a:pt x="54" y="234"/>
                </a:lnTo>
                <a:lnTo>
                  <a:pt x="54" y="228"/>
                </a:lnTo>
                <a:lnTo>
                  <a:pt x="54" y="228"/>
                </a:lnTo>
                <a:lnTo>
                  <a:pt x="48" y="228"/>
                </a:lnTo>
                <a:lnTo>
                  <a:pt x="48" y="228"/>
                </a:lnTo>
                <a:lnTo>
                  <a:pt x="48" y="228"/>
                </a:lnTo>
                <a:lnTo>
                  <a:pt x="48" y="228"/>
                </a:lnTo>
                <a:lnTo>
                  <a:pt x="42" y="228"/>
                </a:lnTo>
                <a:lnTo>
                  <a:pt x="42" y="228"/>
                </a:lnTo>
                <a:lnTo>
                  <a:pt x="42" y="222"/>
                </a:lnTo>
                <a:lnTo>
                  <a:pt x="42" y="222"/>
                </a:lnTo>
                <a:lnTo>
                  <a:pt x="42" y="222"/>
                </a:lnTo>
                <a:lnTo>
                  <a:pt x="42" y="222"/>
                </a:lnTo>
                <a:lnTo>
                  <a:pt x="42" y="216"/>
                </a:lnTo>
                <a:lnTo>
                  <a:pt x="36" y="216"/>
                </a:lnTo>
                <a:lnTo>
                  <a:pt x="36" y="216"/>
                </a:lnTo>
                <a:lnTo>
                  <a:pt x="36" y="216"/>
                </a:lnTo>
                <a:lnTo>
                  <a:pt x="36" y="216"/>
                </a:lnTo>
                <a:lnTo>
                  <a:pt x="36" y="210"/>
                </a:lnTo>
                <a:lnTo>
                  <a:pt x="36" y="210"/>
                </a:lnTo>
                <a:lnTo>
                  <a:pt x="36" y="210"/>
                </a:lnTo>
                <a:lnTo>
                  <a:pt x="36" y="210"/>
                </a:lnTo>
                <a:lnTo>
                  <a:pt x="36" y="216"/>
                </a:lnTo>
                <a:lnTo>
                  <a:pt x="36" y="216"/>
                </a:lnTo>
                <a:lnTo>
                  <a:pt x="30" y="216"/>
                </a:lnTo>
                <a:lnTo>
                  <a:pt x="30" y="210"/>
                </a:lnTo>
                <a:lnTo>
                  <a:pt x="30" y="210"/>
                </a:lnTo>
                <a:lnTo>
                  <a:pt x="30" y="210"/>
                </a:lnTo>
                <a:lnTo>
                  <a:pt x="24" y="210"/>
                </a:lnTo>
                <a:lnTo>
                  <a:pt x="24" y="210"/>
                </a:lnTo>
                <a:lnTo>
                  <a:pt x="24" y="210"/>
                </a:lnTo>
                <a:lnTo>
                  <a:pt x="24" y="210"/>
                </a:lnTo>
                <a:lnTo>
                  <a:pt x="24" y="210"/>
                </a:lnTo>
                <a:lnTo>
                  <a:pt x="24" y="210"/>
                </a:lnTo>
                <a:lnTo>
                  <a:pt x="24" y="204"/>
                </a:lnTo>
                <a:lnTo>
                  <a:pt x="24" y="204"/>
                </a:lnTo>
                <a:lnTo>
                  <a:pt x="24" y="204"/>
                </a:lnTo>
                <a:lnTo>
                  <a:pt x="24" y="204"/>
                </a:lnTo>
                <a:lnTo>
                  <a:pt x="18" y="204"/>
                </a:lnTo>
                <a:lnTo>
                  <a:pt x="18" y="198"/>
                </a:lnTo>
                <a:lnTo>
                  <a:pt x="18" y="198"/>
                </a:lnTo>
                <a:lnTo>
                  <a:pt x="18" y="198"/>
                </a:lnTo>
                <a:lnTo>
                  <a:pt x="18" y="198"/>
                </a:lnTo>
                <a:lnTo>
                  <a:pt x="18" y="198"/>
                </a:lnTo>
                <a:lnTo>
                  <a:pt x="12" y="192"/>
                </a:lnTo>
                <a:lnTo>
                  <a:pt x="12" y="192"/>
                </a:lnTo>
                <a:lnTo>
                  <a:pt x="12" y="192"/>
                </a:lnTo>
                <a:lnTo>
                  <a:pt x="12" y="192"/>
                </a:lnTo>
                <a:lnTo>
                  <a:pt x="12" y="192"/>
                </a:lnTo>
                <a:lnTo>
                  <a:pt x="12" y="192"/>
                </a:lnTo>
                <a:lnTo>
                  <a:pt x="6" y="186"/>
                </a:lnTo>
                <a:lnTo>
                  <a:pt x="6" y="186"/>
                </a:lnTo>
                <a:lnTo>
                  <a:pt x="6" y="186"/>
                </a:lnTo>
                <a:lnTo>
                  <a:pt x="6" y="186"/>
                </a:lnTo>
                <a:lnTo>
                  <a:pt x="0" y="186"/>
                </a:lnTo>
                <a:lnTo>
                  <a:pt x="0" y="186"/>
                </a:lnTo>
                <a:lnTo>
                  <a:pt x="0" y="186"/>
                </a:lnTo>
                <a:lnTo>
                  <a:pt x="0" y="186"/>
                </a:lnTo>
                <a:lnTo>
                  <a:pt x="0" y="180"/>
                </a:lnTo>
                <a:lnTo>
                  <a:pt x="0" y="180"/>
                </a:lnTo>
                <a:lnTo>
                  <a:pt x="0" y="180"/>
                </a:lnTo>
                <a:lnTo>
                  <a:pt x="0" y="180"/>
                </a:lnTo>
                <a:lnTo>
                  <a:pt x="0" y="180"/>
                </a:lnTo>
                <a:lnTo>
                  <a:pt x="0" y="18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91" name="Freeform 224"/>
          <p:cNvSpPr>
            <a:spLocks/>
          </p:cNvSpPr>
          <p:nvPr/>
        </p:nvSpPr>
        <p:spPr bwMode="auto">
          <a:xfrm>
            <a:off x="8104544" y="2978667"/>
            <a:ext cx="160601" cy="372598"/>
          </a:xfrm>
          <a:custGeom>
            <a:avLst/>
            <a:gdLst>
              <a:gd name="T0" fmla="*/ 12 w 150"/>
              <a:gd name="T1" fmla="*/ 180 h 348"/>
              <a:gd name="T2" fmla="*/ 18 w 150"/>
              <a:gd name="T3" fmla="*/ 174 h 348"/>
              <a:gd name="T4" fmla="*/ 30 w 150"/>
              <a:gd name="T5" fmla="*/ 168 h 348"/>
              <a:gd name="T6" fmla="*/ 36 w 150"/>
              <a:gd name="T7" fmla="*/ 162 h 348"/>
              <a:gd name="T8" fmla="*/ 36 w 150"/>
              <a:gd name="T9" fmla="*/ 150 h 348"/>
              <a:gd name="T10" fmla="*/ 36 w 150"/>
              <a:gd name="T11" fmla="*/ 132 h 348"/>
              <a:gd name="T12" fmla="*/ 42 w 150"/>
              <a:gd name="T13" fmla="*/ 126 h 348"/>
              <a:gd name="T14" fmla="*/ 36 w 150"/>
              <a:gd name="T15" fmla="*/ 120 h 348"/>
              <a:gd name="T16" fmla="*/ 24 w 150"/>
              <a:gd name="T17" fmla="*/ 120 h 348"/>
              <a:gd name="T18" fmla="*/ 18 w 150"/>
              <a:gd name="T19" fmla="*/ 120 h 348"/>
              <a:gd name="T20" fmla="*/ 0 w 150"/>
              <a:gd name="T21" fmla="*/ 108 h 348"/>
              <a:gd name="T22" fmla="*/ 12 w 150"/>
              <a:gd name="T23" fmla="*/ 96 h 348"/>
              <a:gd name="T24" fmla="*/ 18 w 150"/>
              <a:gd name="T25" fmla="*/ 90 h 348"/>
              <a:gd name="T26" fmla="*/ 24 w 150"/>
              <a:gd name="T27" fmla="*/ 78 h 348"/>
              <a:gd name="T28" fmla="*/ 30 w 150"/>
              <a:gd name="T29" fmla="*/ 72 h 348"/>
              <a:gd name="T30" fmla="*/ 36 w 150"/>
              <a:gd name="T31" fmla="*/ 60 h 348"/>
              <a:gd name="T32" fmla="*/ 42 w 150"/>
              <a:gd name="T33" fmla="*/ 54 h 348"/>
              <a:gd name="T34" fmla="*/ 42 w 150"/>
              <a:gd name="T35" fmla="*/ 42 h 348"/>
              <a:gd name="T36" fmla="*/ 36 w 150"/>
              <a:gd name="T37" fmla="*/ 30 h 348"/>
              <a:gd name="T38" fmla="*/ 30 w 150"/>
              <a:gd name="T39" fmla="*/ 18 h 348"/>
              <a:gd name="T40" fmla="*/ 30 w 150"/>
              <a:gd name="T41" fmla="*/ 12 h 348"/>
              <a:gd name="T42" fmla="*/ 48 w 150"/>
              <a:gd name="T43" fmla="*/ 6 h 348"/>
              <a:gd name="T44" fmla="*/ 60 w 150"/>
              <a:gd name="T45" fmla="*/ 6 h 348"/>
              <a:gd name="T46" fmla="*/ 66 w 150"/>
              <a:gd name="T47" fmla="*/ 12 h 348"/>
              <a:gd name="T48" fmla="*/ 78 w 150"/>
              <a:gd name="T49" fmla="*/ 6 h 348"/>
              <a:gd name="T50" fmla="*/ 84 w 150"/>
              <a:gd name="T51" fmla="*/ 18 h 348"/>
              <a:gd name="T52" fmla="*/ 84 w 150"/>
              <a:gd name="T53" fmla="*/ 30 h 348"/>
              <a:gd name="T54" fmla="*/ 78 w 150"/>
              <a:gd name="T55" fmla="*/ 24 h 348"/>
              <a:gd name="T56" fmla="*/ 72 w 150"/>
              <a:gd name="T57" fmla="*/ 30 h 348"/>
              <a:gd name="T58" fmla="*/ 78 w 150"/>
              <a:gd name="T59" fmla="*/ 42 h 348"/>
              <a:gd name="T60" fmla="*/ 78 w 150"/>
              <a:gd name="T61" fmla="*/ 60 h 348"/>
              <a:gd name="T62" fmla="*/ 84 w 150"/>
              <a:gd name="T63" fmla="*/ 60 h 348"/>
              <a:gd name="T64" fmla="*/ 78 w 150"/>
              <a:gd name="T65" fmla="*/ 72 h 348"/>
              <a:gd name="T66" fmla="*/ 84 w 150"/>
              <a:gd name="T67" fmla="*/ 72 h 348"/>
              <a:gd name="T68" fmla="*/ 90 w 150"/>
              <a:gd name="T69" fmla="*/ 78 h 348"/>
              <a:gd name="T70" fmla="*/ 84 w 150"/>
              <a:gd name="T71" fmla="*/ 84 h 348"/>
              <a:gd name="T72" fmla="*/ 72 w 150"/>
              <a:gd name="T73" fmla="*/ 102 h 348"/>
              <a:gd name="T74" fmla="*/ 90 w 150"/>
              <a:gd name="T75" fmla="*/ 108 h 348"/>
              <a:gd name="T76" fmla="*/ 132 w 150"/>
              <a:gd name="T77" fmla="*/ 102 h 348"/>
              <a:gd name="T78" fmla="*/ 132 w 150"/>
              <a:gd name="T79" fmla="*/ 108 h 348"/>
              <a:gd name="T80" fmla="*/ 126 w 150"/>
              <a:gd name="T81" fmla="*/ 138 h 348"/>
              <a:gd name="T82" fmla="*/ 126 w 150"/>
              <a:gd name="T83" fmla="*/ 174 h 348"/>
              <a:gd name="T84" fmla="*/ 126 w 150"/>
              <a:gd name="T85" fmla="*/ 174 h 348"/>
              <a:gd name="T86" fmla="*/ 132 w 150"/>
              <a:gd name="T87" fmla="*/ 198 h 348"/>
              <a:gd name="T88" fmla="*/ 138 w 150"/>
              <a:gd name="T89" fmla="*/ 264 h 348"/>
              <a:gd name="T90" fmla="*/ 150 w 150"/>
              <a:gd name="T91" fmla="*/ 306 h 348"/>
              <a:gd name="T92" fmla="*/ 144 w 150"/>
              <a:gd name="T93" fmla="*/ 330 h 348"/>
              <a:gd name="T94" fmla="*/ 96 w 150"/>
              <a:gd name="T95" fmla="*/ 348 h 348"/>
              <a:gd name="T96" fmla="*/ 66 w 150"/>
              <a:gd name="T97" fmla="*/ 336 h 348"/>
              <a:gd name="T98" fmla="*/ 24 w 150"/>
              <a:gd name="T99" fmla="*/ 330 h 348"/>
              <a:gd name="T100" fmla="*/ 12 w 150"/>
              <a:gd name="T101" fmla="*/ 324 h 348"/>
              <a:gd name="T102" fmla="*/ 18 w 150"/>
              <a:gd name="T103" fmla="*/ 318 h 348"/>
              <a:gd name="T104" fmla="*/ 30 w 150"/>
              <a:gd name="T105" fmla="*/ 312 h 348"/>
              <a:gd name="T106" fmla="*/ 36 w 150"/>
              <a:gd name="T107" fmla="*/ 300 h 348"/>
              <a:gd name="T108" fmla="*/ 48 w 150"/>
              <a:gd name="T109" fmla="*/ 300 h 348"/>
              <a:gd name="T110" fmla="*/ 60 w 150"/>
              <a:gd name="T111" fmla="*/ 300 h 348"/>
              <a:gd name="T112" fmla="*/ 60 w 150"/>
              <a:gd name="T113" fmla="*/ 288 h 348"/>
              <a:gd name="T114" fmla="*/ 54 w 150"/>
              <a:gd name="T115" fmla="*/ 282 h 348"/>
              <a:gd name="T116" fmla="*/ 42 w 150"/>
              <a:gd name="T117" fmla="*/ 282 h 348"/>
              <a:gd name="T118" fmla="*/ 42 w 150"/>
              <a:gd name="T119" fmla="*/ 276 h 348"/>
              <a:gd name="T120" fmla="*/ 30 w 150"/>
              <a:gd name="T121" fmla="*/ 276 h 348"/>
              <a:gd name="T122" fmla="*/ 12 w 150"/>
              <a:gd name="T123" fmla="*/ 204 h 3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0" h="348">
                <a:moveTo>
                  <a:pt x="6" y="198"/>
                </a:moveTo>
                <a:lnTo>
                  <a:pt x="6" y="198"/>
                </a:lnTo>
                <a:lnTo>
                  <a:pt x="6" y="186"/>
                </a:lnTo>
                <a:lnTo>
                  <a:pt x="6" y="186"/>
                </a:lnTo>
                <a:lnTo>
                  <a:pt x="12" y="186"/>
                </a:lnTo>
                <a:lnTo>
                  <a:pt x="6" y="186"/>
                </a:lnTo>
                <a:lnTo>
                  <a:pt x="12" y="180"/>
                </a:lnTo>
                <a:lnTo>
                  <a:pt x="12" y="180"/>
                </a:lnTo>
                <a:lnTo>
                  <a:pt x="12" y="180"/>
                </a:lnTo>
                <a:lnTo>
                  <a:pt x="12" y="180"/>
                </a:lnTo>
                <a:lnTo>
                  <a:pt x="12" y="174"/>
                </a:lnTo>
                <a:lnTo>
                  <a:pt x="12" y="174"/>
                </a:lnTo>
                <a:lnTo>
                  <a:pt x="12" y="180"/>
                </a:lnTo>
                <a:lnTo>
                  <a:pt x="18" y="180"/>
                </a:lnTo>
                <a:lnTo>
                  <a:pt x="18" y="180"/>
                </a:lnTo>
                <a:lnTo>
                  <a:pt x="18" y="174"/>
                </a:lnTo>
                <a:lnTo>
                  <a:pt x="18" y="174"/>
                </a:lnTo>
                <a:lnTo>
                  <a:pt x="18" y="174"/>
                </a:lnTo>
                <a:lnTo>
                  <a:pt x="18" y="174"/>
                </a:lnTo>
                <a:lnTo>
                  <a:pt x="18" y="174"/>
                </a:lnTo>
                <a:lnTo>
                  <a:pt x="24" y="174"/>
                </a:lnTo>
                <a:lnTo>
                  <a:pt x="24" y="174"/>
                </a:lnTo>
                <a:lnTo>
                  <a:pt x="24" y="174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36" y="168"/>
                </a:lnTo>
                <a:lnTo>
                  <a:pt x="36" y="168"/>
                </a:lnTo>
                <a:lnTo>
                  <a:pt x="36" y="168"/>
                </a:lnTo>
                <a:lnTo>
                  <a:pt x="36" y="168"/>
                </a:lnTo>
                <a:lnTo>
                  <a:pt x="36" y="162"/>
                </a:lnTo>
                <a:lnTo>
                  <a:pt x="30" y="162"/>
                </a:lnTo>
                <a:lnTo>
                  <a:pt x="36" y="162"/>
                </a:lnTo>
                <a:lnTo>
                  <a:pt x="36" y="162"/>
                </a:lnTo>
                <a:lnTo>
                  <a:pt x="36" y="156"/>
                </a:lnTo>
                <a:lnTo>
                  <a:pt x="36" y="156"/>
                </a:lnTo>
                <a:lnTo>
                  <a:pt x="36" y="156"/>
                </a:lnTo>
                <a:lnTo>
                  <a:pt x="36" y="156"/>
                </a:lnTo>
                <a:lnTo>
                  <a:pt x="36" y="156"/>
                </a:lnTo>
                <a:lnTo>
                  <a:pt x="36" y="156"/>
                </a:lnTo>
                <a:lnTo>
                  <a:pt x="36" y="150"/>
                </a:lnTo>
                <a:lnTo>
                  <a:pt x="36" y="150"/>
                </a:lnTo>
                <a:lnTo>
                  <a:pt x="36" y="150"/>
                </a:lnTo>
                <a:lnTo>
                  <a:pt x="36" y="150"/>
                </a:lnTo>
                <a:lnTo>
                  <a:pt x="36" y="150"/>
                </a:lnTo>
                <a:lnTo>
                  <a:pt x="36" y="144"/>
                </a:lnTo>
                <a:lnTo>
                  <a:pt x="36" y="144"/>
                </a:lnTo>
                <a:lnTo>
                  <a:pt x="36" y="144"/>
                </a:lnTo>
                <a:lnTo>
                  <a:pt x="36" y="144"/>
                </a:lnTo>
                <a:lnTo>
                  <a:pt x="36" y="144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2"/>
                </a:lnTo>
                <a:lnTo>
                  <a:pt x="36" y="132"/>
                </a:lnTo>
                <a:lnTo>
                  <a:pt x="36" y="132"/>
                </a:lnTo>
                <a:lnTo>
                  <a:pt x="36" y="132"/>
                </a:lnTo>
                <a:lnTo>
                  <a:pt x="36" y="132"/>
                </a:lnTo>
                <a:lnTo>
                  <a:pt x="42" y="126"/>
                </a:lnTo>
                <a:lnTo>
                  <a:pt x="42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6"/>
                </a:lnTo>
                <a:lnTo>
                  <a:pt x="42" y="126"/>
                </a:lnTo>
                <a:lnTo>
                  <a:pt x="36" y="120"/>
                </a:lnTo>
                <a:lnTo>
                  <a:pt x="42" y="120"/>
                </a:lnTo>
                <a:lnTo>
                  <a:pt x="42" y="120"/>
                </a:lnTo>
                <a:lnTo>
                  <a:pt x="42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14"/>
                </a:lnTo>
                <a:lnTo>
                  <a:pt x="30" y="120"/>
                </a:lnTo>
                <a:lnTo>
                  <a:pt x="30" y="114"/>
                </a:lnTo>
                <a:lnTo>
                  <a:pt x="30" y="114"/>
                </a:lnTo>
                <a:lnTo>
                  <a:pt x="30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6" y="120"/>
                </a:lnTo>
                <a:lnTo>
                  <a:pt x="6" y="120"/>
                </a:lnTo>
                <a:lnTo>
                  <a:pt x="0" y="108"/>
                </a:lnTo>
                <a:lnTo>
                  <a:pt x="0" y="108"/>
                </a:lnTo>
                <a:lnTo>
                  <a:pt x="0" y="102"/>
                </a:lnTo>
                <a:lnTo>
                  <a:pt x="6" y="96"/>
                </a:lnTo>
                <a:lnTo>
                  <a:pt x="6" y="96"/>
                </a:lnTo>
                <a:lnTo>
                  <a:pt x="0" y="96"/>
                </a:lnTo>
                <a:lnTo>
                  <a:pt x="6" y="96"/>
                </a:lnTo>
                <a:lnTo>
                  <a:pt x="6" y="90"/>
                </a:lnTo>
                <a:lnTo>
                  <a:pt x="6" y="90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0"/>
                </a:lnTo>
                <a:lnTo>
                  <a:pt x="12" y="96"/>
                </a:lnTo>
                <a:lnTo>
                  <a:pt x="12" y="96"/>
                </a:lnTo>
                <a:lnTo>
                  <a:pt x="12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24" y="90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78"/>
                </a:lnTo>
                <a:lnTo>
                  <a:pt x="24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6" y="72"/>
                </a:lnTo>
                <a:lnTo>
                  <a:pt x="36" y="72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0"/>
                </a:lnTo>
                <a:lnTo>
                  <a:pt x="36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36" y="42"/>
                </a:lnTo>
                <a:lnTo>
                  <a:pt x="36" y="42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0" y="24"/>
                </a:lnTo>
                <a:lnTo>
                  <a:pt x="36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24" y="18"/>
                </a:lnTo>
                <a:lnTo>
                  <a:pt x="24" y="18"/>
                </a:lnTo>
                <a:lnTo>
                  <a:pt x="24" y="12"/>
                </a:lnTo>
                <a:lnTo>
                  <a:pt x="30" y="12"/>
                </a:lnTo>
                <a:lnTo>
                  <a:pt x="30" y="12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12"/>
                </a:lnTo>
                <a:lnTo>
                  <a:pt x="42" y="12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30"/>
                </a:lnTo>
                <a:lnTo>
                  <a:pt x="84" y="30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2" y="30"/>
                </a:lnTo>
                <a:lnTo>
                  <a:pt x="72" y="24"/>
                </a:lnTo>
                <a:lnTo>
                  <a:pt x="72" y="30"/>
                </a:lnTo>
                <a:lnTo>
                  <a:pt x="72" y="24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2" y="54"/>
                </a:lnTo>
                <a:lnTo>
                  <a:pt x="72" y="54"/>
                </a:lnTo>
                <a:lnTo>
                  <a:pt x="72" y="60"/>
                </a:lnTo>
                <a:lnTo>
                  <a:pt x="72" y="54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60"/>
                </a:lnTo>
                <a:lnTo>
                  <a:pt x="78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84" y="72"/>
                </a:lnTo>
                <a:lnTo>
                  <a:pt x="84" y="78"/>
                </a:lnTo>
                <a:lnTo>
                  <a:pt x="84" y="72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90" y="84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6"/>
                </a:lnTo>
                <a:lnTo>
                  <a:pt x="72" y="96"/>
                </a:lnTo>
                <a:lnTo>
                  <a:pt x="72" y="96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8" y="102"/>
                </a:lnTo>
                <a:lnTo>
                  <a:pt x="84" y="102"/>
                </a:lnTo>
                <a:lnTo>
                  <a:pt x="90" y="96"/>
                </a:lnTo>
                <a:lnTo>
                  <a:pt x="96" y="96"/>
                </a:lnTo>
                <a:lnTo>
                  <a:pt x="90" y="102"/>
                </a:lnTo>
                <a:lnTo>
                  <a:pt x="90" y="102"/>
                </a:lnTo>
                <a:lnTo>
                  <a:pt x="90" y="108"/>
                </a:lnTo>
                <a:lnTo>
                  <a:pt x="90" y="108"/>
                </a:lnTo>
                <a:lnTo>
                  <a:pt x="96" y="108"/>
                </a:lnTo>
                <a:lnTo>
                  <a:pt x="96" y="108"/>
                </a:lnTo>
                <a:lnTo>
                  <a:pt x="102" y="108"/>
                </a:lnTo>
                <a:lnTo>
                  <a:pt x="114" y="102"/>
                </a:lnTo>
                <a:lnTo>
                  <a:pt x="120" y="102"/>
                </a:lnTo>
                <a:lnTo>
                  <a:pt x="126" y="102"/>
                </a:lnTo>
                <a:lnTo>
                  <a:pt x="126" y="102"/>
                </a:lnTo>
                <a:lnTo>
                  <a:pt x="126" y="102"/>
                </a:lnTo>
                <a:lnTo>
                  <a:pt x="132" y="102"/>
                </a:lnTo>
                <a:lnTo>
                  <a:pt x="132" y="102"/>
                </a:lnTo>
                <a:lnTo>
                  <a:pt x="132" y="102"/>
                </a:lnTo>
                <a:lnTo>
                  <a:pt x="132" y="102"/>
                </a:lnTo>
                <a:lnTo>
                  <a:pt x="132" y="102"/>
                </a:lnTo>
                <a:lnTo>
                  <a:pt x="132" y="108"/>
                </a:lnTo>
                <a:lnTo>
                  <a:pt x="132" y="108"/>
                </a:lnTo>
                <a:lnTo>
                  <a:pt x="132" y="108"/>
                </a:lnTo>
                <a:lnTo>
                  <a:pt x="132" y="108"/>
                </a:lnTo>
                <a:lnTo>
                  <a:pt x="132" y="108"/>
                </a:lnTo>
                <a:lnTo>
                  <a:pt x="132" y="108"/>
                </a:lnTo>
                <a:lnTo>
                  <a:pt x="132" y="108"/>
                </a:lnTo>
                <a:lnTo>
                  <a:pt x="132" y="108"/>
                </a:lnTo>
                <a:lnTo>
                  <a:pt x="132" y="108"/>
                </a:lnTo>
                <a:lnTo>
                  <a:pt x="132" y="114"/>
                </a:lnTo>
                <a:lnTo>
                  <a:pt x="132" y="114"/>
                </a:lnTo>
                <a:lnTo>
                  <a:pt x="132" y="114"/>
                </a:lnTo>
                <a:lnTo>
                  <a:pt x="132" y="114"/>
                </a:lnTo>
                <a:lnTo>
                  <a:pt x="132" y="120"/>
                </a:lnTo>
                <a:lnTo>
                  <a:pt x="132" y="126"/>
                </a:lnTo>
                <a:lnTo>
                  <a:pt x="126" y="132"/>
                </a:lnTo>
                <a:lnTo>
                  <a:pt x="126" y="138"/>
                </a:lnTo>
                <a:lnTo>
                  <a:pt x="126" y="138"/>
                </a:lnTo>
                <a:lnTo>
                  <a:pt x="126" y="144"/>
                </a:lnTo>
                <a:lnTo>
                  <a:pt x="126" y="144"/>
                </a:lnTo>
                <a:lnTo>
                  <a:pt x="126" y="144"/>
                </a:lnTo>
                <a:lnTo>
                  <a:pt x="126" y="144"/>
                </a:lnTo>
                <a:lnTo>
                  <a:pt x="126" y="156"/>
                </a:lnTo>
                <a:lnTo>
                  <a:pt x="126" y="162"/>
                </a:lnTo>
                <a:lnTo>
                  <a:pt x="126" y="162"/>
                </a:lnTo>
                <a:lnTo>
                  <a:pt x="126" y="168"/>
                </a:lnTo>
                <a:lnTo>
                  <a:pt x="126" y="174"/>
                </a:lnTo>
                <a:lnTo>
                  <a:pt x="126" y="174"/>
                </a:lnTo>
                <a:lnTo>
                  <a:pt x="126" y="174"/>
                </a:lnTo>
                <a:lnTo>
                  <a:pt x="126" y="174"/>
                </a:lnTo>
                <a:lnTo>
                  <a:pt x="126" y="174"/>
                </a:lnTo>
                <a:lnTo>
                  <a:pt x="126" y="174"/>
                </a:lnTo>
                <a:lnTo>
                  <a:pt x="126" y="174"/>
                </a:lnTo>
                <a:lnTo>
                  <a:pt x="126" y="174"/>
                </a:lnTo>
                <a:lnTo>
                  <a:pt x="126" y="174"/>
                </a:lnTo>
                <a:lnTo>
                  <a:pt x="126" y="174"/>
                </a:lnTo>
                <a:lnTo>
                  <a:pt x="126" y="174"/>
                </a:lnTo>
                <a:lnTo>
                  <a:pt x="126" y="174"/>
                </a:lnTo>
                <a:lnTo>
                  <a:pt x="126" y="174"/>
                </a:lnTo>
                <a:lnTo>
                  <a:pt x="126" y="180"/>
                </a:lnTo>
                <a:lnTo>
                  <a:pt x="126" y="186"/>
                </a:lnTo>
                <a:lnTo>
                  <a:pt x="126" y="186"/>
                </a:lnTo>
                <a:lnTo>
                  <a:pt x="126" y="186"/>
                </a:lnTo>
                <a:lnTo>
                  <a:pt x="132" y="192"/>
                </a:lnTo>
                <a:lnTo>
                  <a:pt x="132" y="192"/>
                </a:lnTo>
                <a:lnTo>
                  <a:pt x="132" y="192"/>
                </a:lnTo>
                <a:lnTo>
                  <a:pt x="132" y="198"/>
                </a:lnTo>
                <a:lnTo>
                  <a:pt x="132" y="216"/>
                </a:lnTo>
                <a:lnTo>
                  <a:pt x="132" y="228"/>
                </a:lnTo>
                <a:lnTo>
                  <a:pt x="132" y="228"/>
                </a:lnTo>
                <a:lnTo>
                  <a:pt x="132" y="234"/>
                </a:lnTo>
                <a:lnTo>
                  <a:pt x="132" y="240"/>
                </a:lnTo>
                <a:lnTo>
                  <a:pt x="132" y="240"/>
                </a:lnTo>
                <a:lnTo>
                  <a:pt x="132" y="240"/>
                </a:lnTo>
                <a:lnTo>
                  <a:pt x="138" y="252"/>
                </a:lnTo>
                <a:lnTo>
                  <a:pt x="138" y="258"/>
                </a:lnTo>
                <a:lnTo>
                  <a:pt x="138" y="264"/>
                </a:lnTo>
                <a:lnTo>
                  <a:pt x="138" y="264"/>
                </a:lnTo>
                <a:lnTo>
                  <a:pt x="138" y="270"/>
                </a:lnTo>
                <a:lnTo>
                  <a:pt x="138" y="276"/>
                </a:lnTo>
                <a:lnTo>
                  <a:pt x="138" y="288"/>
                </a:lnTo>
                <a:lnTo>
                  <a:pt x="144" y="294"/>
                </a:lnTo>
                <a:lnTo>
                  <a:pt x="144" y="294"/>
                </a:lnTo>
                <a:lnTo>
                  <a:pt x="144" y="300"/>
                </a:lnTo>
                <a:lnTo>
                  <a:pt x="144" y="300"/>
                </a:lnTo>
                <a:lnTo>
                  <a:pt x="144" y="300"/>
                </a:lnTo>
                <a:lnTo>
                  <a:pt x="150" y="306"/>
                </a:lnTo>
                <a:lnTo>
                  <a:pt x="150" y="312"/>
                </a:lnTo>
                <a:lnTo>
                  <a:pt x="150" y="312"/>
                </a:lnTo>
                <a:lnTo>
                  <a:pt x="150" y="312"/>
                </a:lnTo>
                <a:lnTo>
                  <a:pt x="150" y="312"/>
                </a:lnTo>
                <a:lnTo>
                  <a:pt x="150" y="312"/>
                </a:lnTo>
                <a:lnTo>
                  <a:pt x="150" y="312"/>
                </a:lnTo>
                <a:lnTo>
                  <a:pt x="150" y="312"/>
                </a:lnTo>
                <a:lnTo>
                  <a:pt x="150" y="318"/>
                </a:lnTo>
                <a:lnTo>
                  <a:pt x="144" y="318"/>
                </a:lnTo>
                <a:lnTo>
                  <a:pt x="144" y="330"/>
                </a:lnTo>
                <a:lnTo>
                  <a:pt x="138" y="336"/>
                </a:lnTo>
                <a:lnTo>
                  <a:pt x="138" y="342"/>
                </a:lnTo>
                <a:lnTo>
                  <a:pt x="114" y="342"/>
                </a:lnTo>
                <a:lnTo>
                  <a:pt x="108" y="336"/>
                </a:lnTo>
                <a:lnTo>
                  <a:pt x="108" y="342"/>
                </a:lnTo>
                <a:lnTo>
                  <a:pt x="108" y="342"/>
                </a:lnTo>
                <a:lnTo>
                  <a:pt x="102" y="342"/>
                </a:lnTo>
                <a:lnTo>
                  <a:pt x="96" y="342"/>
                </a:lnTo>
                <a:lnTo>
                  <a:pt x="96" y="348"/>
                </a:lnTo>
                <a:lnTo>
                  <a:pt x="96" y="348"/>
                </a:lnTo>
                <a:lnTo>
                  <a:pt x="84" y="348"/>
                </a:lnTo>
                <a:lnTo>
                  <a:pt x="84" y="342"/>
                </a:lnTo>
                <a:lnTo>
                  <a:pt x="78" y="342"/>
                </a:lnTo>
                <a:lnTo>
                  <a:pt x="78" y="342"/>
                </a:lnTo>
                <a:lnTo>
                  <a:pt x="72" y="342"/>
                </a:lnTo>
                <a:lnTo>
                  <a:pt x="72" y="342"/>
                </a:lnTo>
                <a:lnTo>
                  <a:pt x="72" y="342"/>
                </a:lnTo>
                <a:lnTo>
                  <a:pt x="72" y="342"/>
                </a:lnTo>
                <a:lnTo>
                  <a:pt x="72" y="336"/>
                </a:lnTo>
                <a:lnTo>
                  <a:pt x="66" y="336"/>
                </a:lnTo>
                <a:lnTo>
                  <a:pt x="66" y="342"/>
                </a:lnTo>
                <a:lnTo>
                  <a:pt x="60" y="336"/>
                </a:lnTo>
                <a:lnTo>
                  <a:pt x="54" y="336"/>
                </a:lnTo>
                <a:lnTo>
                  <a:pt x="42" y="330"/>
                </a:lnTo>
                <a:lnTo>
                  <a:pt x="36" y="330"/>
                </a:lnTo>
                <a:lnTo>
                  <a:pt x="36" y="330"/>
                </a:lnTo>
                <a:lnTo>
                  <a:pt x="30" y="330"/>
                </a:lnTo>
                <a:lnTo>
                  <a:pt x="30" y="330"/>
                </a:lnTo>
                <a:lnTo>
                  <a:pt x="24" y="330"/>
                </a:lnTo>
                <a:lnTo>
                  <a:pt x="24" y="330"/>
                </a:lnTo>
                <a:lnTo>
                  <a:pt x="24" y="330"/>
                </a:lnTo>
                <a:lnTo>
                  <a:pt x="18" y="324"/>
                </a:lnTo>
                <a:lnTo>
                  <a:pt x="18" y="324"/>
                </a:lnTo>
                <a:lnTo>
                  <a:pt x="18" y="324"/>
                </a:lnTo>
                <a:lnTo>
                  <a:pt x="18" y="324"/>
                </a:lnTo>
                <a:lnTo>
                  <a:pt x="18" y="324"/>
                </a:lnTo>
                <a:lnTo>
                  <a:pt x="12" y="324"/>
                </a:lnTo>
                <a:lnTo>
                  <a:pt x="12" y="324"/>
                </a:lnTo>
                <a:lnTo>
                  <a:pt x="12" y="324"/>
                </a:lnTo>
                <a:lnTo>
                  <a:pt x="12" y="324"/>
                </a:lnTo>
                <a:lnTo>
                  <a:pt x="12" y="324"/>
                </a:lnTo>
                <a:lnTo>
                  <a:pt x="6" y="318"/>
                </a:lnTo>
                <a:lnTo>
                  <a:pt x="6" y="318"/>
                </a:lnTo>
                <a:lnTo>
                  <a:pt x="6" y="312"/>
                </a:lnTo>
                <a:lnTo>
                  <a:pt x="6" y="312"/>
                </a:lnTo>
                <a:lnTo>
                  <a:pt x="6" y="312"/>
                </a:lnTo>
                <a:lnTo>
                  <a:pt x="12" y="318"/>
                </a:lnTo>
                <a:lnTo>
                  <a:pt x="12" y="312"/>
                </a:lnTo>
                <a:lnTo>
                  <a:pt x="12" y="312"/>
                </a:lnTo>
                <a:lnTo>
                  <a:pt x="18" y="318"/>
                </a:lnTo>
                <a:lnTo>
                  <a:pt x="18" y="318"/>
                </a:lnTo>
                <a:lnTo>
                  <a:pt x="18" y="318"/>
                </a:lnTo>
                <a:lnTo>
                  <a:pt x="18" y="318"/>
                </a:lnTo>
                <a:lnTo>
                  <a:pt x="24" y="312"/>
                </a:lnTo>
                <a:lnTo>
                  <a:pt x="24" y="318"/>
                </a:lnTo>
                <a:lnTo>
                  <a:pt x="24" y="318"/>
                </a:lnTo>
                <a:lnTo>
                  <a:pt x="24" y="312"/>
                </a:lnTo>
                <a:lnTo>
                  <a:pt x="24" y="312"/>
                </a:lnTo>
                <a:lnTo>
                  <a:pt x="24" y="312"/>
                </a:lnTo>
                <a:lnTo>
                  <a:pt x="30" y="312"/>
                </a:lnTo>
                <a:lnTo>
                  <a:pt x="30" y="312"/>
                </a:lnTo>
                <a:lnTo>
                  <a:pt x="30" y="312"/>
                </a:lnTo>
                <a:lnTo>
                  <a:pt x="30" y="306"/>
                </a:lnTo>
                <a:lnTo>
                  <a:pt x="30" y="306"/>
                </a:lnTo>
                <a:lnTo>
                  <a:pt x="30" y="306"/>
                </a:lnTo>
                <a:lnTo>
                  <a:pt x="30" y="306"/>
                </a:lnTo>
                <a:lnTo>
                  <a:pt x="36" y="306"/>
                </a:lnTo>
                <a:lnTo>
                  <a:pt x="36" y="306"/>
                </a:lnTo>
                <a:lnTo>
                  <a:pt x="36" y="300"/>
                </a:lnTo>
                <a:lnTo>
                  <a:pt x="36" y="300"/>
                </a:lnTo>
                <a:lnTo>
                  <a:pt x="42" y="300"/>
                </a:lnTo>
                <a:lnTo>
                  <a:pt x="42" y="300"/>
                </a:lnTo>
                <a:lnTo>
                  <a:pt x="42" y="300"/>
                </a:lnTo>
                <a:lnTo>
                  <a:pt x="42" y="300"/>
                </a:lnTo>
                <a:lnTo>
                  <a:pt x="42" y="300"/>
                </a:lnTo>
                <a:lnTo>
                  <a:pt x="48" y="300"/>
                </a:lnTo>
                <a:lnTo>
                  <a:pt x="48" y="300"/>
                </a:lnTo>
                <a:lnTo>
                  <a:pt x="48" y="300"/>
                </a:lnTo>
                <a:lnTo>
                  <a:pt x="48" y="300"/>
                </a:lnTo>
                <a:lnTo>
                  <a:pt x="48" y="300"/>
                </a:lnTo>
                <a:lnTo>
                  <a:pt x="48" y="300"/>
                </a:lnTo>
                <a:lnTo>
                  <a:pt x="54" y="300"/>
                </a:lnTo>
                <a:lnTo>
                  <a:pt x="54" y="300"/>
                </a:lnTo>
                <a:lnTo>
                  <a:pt x="54" y="300"/>
                </a:lnTo>
                <a:lnTo>
                  <a:pt x="54" y="300"/>
                </a:lnTo>
                <a:lnTo>
                  <a:pt x="54" y="300"/>
                </a:lnTo>
                <a:lnTo>
                  <a:pt x="60" y="300"/>
                </a:lnTo>
                <a:lnTo>
                  <a:pt x="54" y="300"/>
                </a:lnTo>
                <a:lnTo>
                  <a:pt x="60" y="300"/>
                </a:lnTo>
                <a:lnTo>
                  <a:pt x="60" y="300"/>
                </a:lnTo>
                <a:lnTo>
                  <a:pt x="60" y="300"/>
                </a:lnTo>
                <a:lnTo>
                  <a:pt x="60" y="300"/>
                </a:lnTo>
                <a:lnTo>
                  <a:pt x="60" y="300"/>
                </a:lnTo>
                <a:lnTo>
                  <a:pt x="60" y="300"/>
                </a:lnTo>
                <a:lnTo>
                  <a:pt x="60" y="294"/>
                </a:lnTo>
                <a:lnTo>
                  <a:pt x="60" y="294"/>
                </a:lnTo>
                <a:lnTo>
                  <a:pt x="60" y="294"/>
                </a:lnTo>
                <a:lnTo>
                  <a:pt x="60" y="294"/>
                </a:lnTo>
                <a:lnTo>
                  <a:pt x="60" y="288"/>
                </a:lnTo>
                <a:lnTo>
                  <a:pt x="60" y="288"/>
                </a:lnTo>
                <a:lnTo>
                  <a:pt x="60" y="282"/>
                </a:lnTo>
                <a:lnTo>
                  <a:pt x="60" y="282"/>
                </a:lnTo>
                <a:lnTo>
                  <a:pt x="60" y="282"/>
                </a:lnTo>
                <a:lnTo>
                  <a:pt x="60" y="282"/>
                </a:lnTo>
                <a:lnTo>
                  <a:pt x="66" y="282"/>
                </a:lnTo>
                <a:lnTo>
                  <a:pt x="60" y="282"/>
                </a:lnTo>
                <a:lnTo>
                  <a:pt x="60" y="282"/>
                </a:lnTo>
                <a:lnTo>
                  <a:pt x="54" y="276"/>
                </a:lnTo>
                <a:lnTo>
                  <a:pt x="54" y="276"/>
                </a:lnTo>
                <a:lnTo>
                  <a:pt x="54" y="282"/>
                </a:lnTo>
                <a:lnTo>
                  <a:pt x="54" y="282"/>
                </a:lnTo>
                <a:lnTo>
                  <a:pt x="54" y="282"/>
                </a:lnTo>
                <a:lnTo>
                  <a:pt x="48" y="282"/>
                </a:lnTo>
                <a:lnTo>
                  <a:pt x="48" y="282"/>
                </a:lnTo>
                <a:lnTo>
                  <a:pt x="48" y="282"/>
                </a:lnTo>
                <a:lnTo>
                  <a:pt x="48" y="276"/>
                </a:lnTo>
                <a:lnTo>
                  <a:pt x="48" y="276"/>
                </a:lnTo>
                <a:lnTo>
                  <a:pt x="48" y="276"/>
                </a:lnTo>
                <a:lnTo>
                  <a:pt x="48" y="282"/>
                </a:lnTo>
                <a:lnTo>
                  <a:pt x="42" y="282"/>
                </a:lnTo>
                <a:lnTo>
                  <a:pt x="42" y="282"/>
                </a:lnTo>
                <a:lnTo>
                  <a:pt x="42" y="282"/>
                </a:lnTo>
                <a:lnTo>
                  <a:pt x="42" y="282"/>
                </a:lnTo>
                <a:lnTo>
                  <a:pt x="42" y="282"/>
                </a:lnTo>
                <a:lnTo>
                  <a:pt x="42" y="282"/>
                </a:lnTo>
                <a:lnTo>
                  <a:pt x="42" y="282"/>
                </a:lnTo>
                <a:lnTo>
                  <a:pt x="42" y="282"/>
                </a:lnTo>
                <a:lnTo>
                  <a:pt x="42" y="282"/>
                </a:lnTo>
                <a:lnTo>
                  <a:pt x="42" y="282"/>
                </a:lnTo>
                <a:lnTo>
                  <a:pt x="42" y="276"/>
                </a:lnTo>
                <a:lnTo>
                  <a:pt x="36" y="276"/>
                </a:lnTo>
                <a:lnTo>
                  <a:pt x="42" y="276"/>
                </a:lnTo>
                <a:lnTo>
                  <a:pt x="36" y="276"/>
                </a:lnTo>
                <a:lnTo>
                  <a:pt x="36" y="276"/>
                </a:lnTo>
                <a:lnTo>
                  <a:pt x="36" y="276"/>
                </a:lnTo>
                <a:lnTo>
                  <a:pt x="36" y="276"/>
                </a:lnTo>
                <a:lnTo>
                  <a:pt x="36" y="276"/>
                </a:lnTo>
                <a:lnTo>
                  <a:pt x="36" y="276"/>
                </a:lnTo>
                <a:lnTo>
                  <a:pt x="30" y="276"/>
                </a:lnTo>
                <a:lnTo>
                  <a:pt x="30" y="276"/>
                </a:lnTo>
                <a:lnTo>
                  <a:pt x="30" y="276"/>
                </a:lnTo>
                <a:lnTo>
                  <a:pt x="24" y="240"/>
                </a:lnTo>
                <a:lnTo>
                  <a:pt x="24" y="240"/>
                </a:lnTo>
                <a:lnTo>
                  <a:pt x="18" y="216"/>
                </a:lnTo>
                <a:lnTo>
                  <a:pt x="18" y="216"/>
                </a:lnTo>
                <a:lnTo>
                  <a:pt x="18" y="210"/>
                </a:lnTo>
                <a:lnTo>
                  <a:pt x="12" y="210"/>
                </a:lnTo>
                <a:lnTo>
                  <a:pt x="12" y="204"/>
                </a:lnTo>
                <a:lnTo>
                  <a:pt x="12" y="204"/>
                </a:lnTo>
                <a:lnTo>
                  <a:pt x="12" y="204"/>
                </a:lnTo>
                <a:lnTo>
                  <a:pt x="12" y="204"/>
                </a:lnTo>
                <a:lnTo>
                  <a:pt x="6" y="198"/>
                </a:lnTo>
                <a:lnTo>
                  <a:pt x="6" y="198"/>
                </a:lnTo>
                <a:lnTo>
                  <a:pt x="6" y="19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92" name="Freeform 225"/>
          <p:cNvSpPr>
            <a:spLocks/>
          </p:cNvSpPr>
          <p:nvPr/>
        </p:nvSpPr>
        <p:spPr bwMode="auto">
          <a:xfrm>
            <a:off x="8265145" y="2798792"/>
            <a:ext cx="134905" cy="64241"/>
          </a:xfrm>
          <a:custGeom>
            <a:avLst/>
            <a:gdLst>
              <a:gd name="T0" fmla="*/ 6 w 126"/>
              <a:gd name="T1" fmla="*/ 24 h 60"/>
              <a:gd name="T2" fmla="*/ 6 w 126"/>
              <a:gd name="T3" fmla="*/ 18 h 60"/>
              <a:gd name="T4" fmla="*/ 12 w 126"/>
              <a:gd name="T5" fmla="*/ 18 h 60"/>
              <a:gd name="T6" fmla="*/ 12 w 126"/>
              <a:gd name="T7" fmla="*/ 18 h 60"/>
              <a:gd name="T8" fmla="*/ 18 w 126"/>
              <a:gd name="T9" fmla="*/ 18 h 60"/>
              <a:gd name="T10" fmla="*/ 18 w 126"/>
              <a:gd name="T11" fmla="*/ 18 h 60"/>
              <a:gd name="T12" fmla="*/ 24 w 126"/>
              <a:gd name="T13" fmla="*/ 18 h 60"/>
              <a:gd name="T14" fmla="*/ 30 w 126"/>
              <a:gd name="T15" fmla="*/ 24 h 60"/>
              <a:gd name="T16" fmla="*/ 36 w 126"/>
              <a:gd name="T17" fmla="*/ 18 h 60"/>
              <a:gd name="T18" fmla="*/ 42 w 126"/>
              <a:gd name="T19" fmla="*/ 24 h 60"/>
              <a:gd name="T20" fmla="*/ 42 w 126"/>
              <a:gd name="T21" fmla="*/ 12 h 60"/>
              <a:gd name="T22" fmla="*/ 60 w 126"/>
              <a:gd name="T23" fmla="*/ 12 h 60"/>
              <a:gd name="T24" fmla="*/ 78 w 126"/>
              <a:gd name="T25" fmla="*/ 12 h 60"/>
              <a:gd name="T26" fmla="*/ 90 w 126"/>
              <a:gd name="T27" fmla="*/ 6 h 60"/>
              <a:gd name="T28" fmla="*/ 102 w 126"/>
              <a:gd name="T29" fmla="*/ 6 h 60"/>
              <a:gd name="T30" fmla="*/ 102 w 126"/>
              <a:gd name="T31" fmla="*/ 0 h 60"/>
              <a:gd name="T32" fmla="*/ 108 w 126"/>
              <a:gd name="T33" fmla="*/ 0 h 60"/>
              <a:gd name="T34" fmla="*/ 108 w 126"/>
              <a:gd name="T35" fmla="*/ 6 h 60"/>
              <a:gd name="T36" fmla="*/ 114 w 126"/>
              <a:gd name="T37" fmla="*/ 24 h 60"/>
              <a:gd name="T38" fmla="*/ 120 w 126"/>
              <a:gd name="T39" fmla="*/ 24 h 60"/>
              <a:gd name="T40" fmla="*/ 126 w 126"/>
              <a:gd name="T41" fmla="*/ 30 h 60"/>
              <a:gd name="T42" fmla="*/ 126 w 126"/>
              <a:gd name="T43" fmla="*/ 30 h 60"/>
              <a:gd name="T44" fmla="*/ 120 w 126"/>
              <a:gd name="T45" fmla="*/ 42 h 60"/>
              <a:gd name="T46" fmla="*/ 108 w 126"/>
              <a:gd name="T47" fmla="*/ 54 h 60"/>
              <a:gd name="T48" fmla="*/ 108 w 126"/>
              <a:gd name="T49" fmla="*/ 54 h 60"/>
              <a:gd name="T50" fmla="*/ 108 w 126"/>
              <a:gd name="T51" fmla="*/ 54 h 60"/>
              <a:gd name="T52" fmla="*/ 102 w 126"/>
              <a:gd name="T53" fmla="*/ 48 h 60"/>
              <a:gd name="T54" fmla="*/ 102 w 126"/>
              <a:gd name="T55" fmla="*/ 42 h 60"/>
              <a:gd name="T56" fmla="*/ 102 w 126"/>
              <a:gd name="T57" fmla="*/ 42 h 60"/>
              <a:gd name="T58" fmla="*/ 96 w 126"/>
              <a:gd name="T59" fmla="*/ 42 h 60"/>
              <a:gd name="T60" fmla="*/ 96 w 126"/>
              <a:gd name="T61" fmla="*/ 42 h 60"/>
              <a:gd name="T62" fmla="*/ 96 w 126"/>
              <a:gd name="T63" fmla="*/ 42 h 60"/>
              <a:gd name="T64" fmla="*/ 90 w 126"/>
              <a:gd name="T65" fmla="*/ 42 h 60"/>
              <a:gd name="T66" fmla="*/ 90 w 126"/>
              <a:gd name="T67" fmla="*/ 42 h 60"/>
              <a:gd name="T68" fmla="*/ 90 w 126"/>
              <a:gd name="T69" fmla="*/ 36 h 60"/>
              <a:gd name="T70" fmla="*/ 84 w 126"/>
              <a:gd name="T71" fmla="*/ 36 h 60"/>
              <a:gd name="T72" fmla="*/ 78 w 126"/>
              <a:gd name="T73" fmla="*/ 42 h 60"/>
              <a:gd name="T74" fmla="*/ 78 w 126"/>
              <a:gd name="T75" fmla="*/ 42 h 60"/>
              <a:gd name="T76" fmla="*/ 84 w 126"/>
              <a:gd name="T77" fmla="*/ 48 h 60"/>
              <a:gd name="T78" fmla="*/ 84 w 126"/>
              <a:gd name="T79" fmla="*/ 54 h 60"/>
              <a:gd name="T80" fmla="*/ 84 w 126"/>
              <a:gd name="T81" fmla="*/ 54 h 60"/>
              <a:gd name="T82" fmla="*/ 78 w 126"/>
              <a:gd name="T83" fmla="*/ 54 h 60"/>
              <a:gd name="T84" fmla="*/ 78 w 126"/>
              <a:gd name="T85" fmla="*/ 54 h 60"/>
              <a:gd name="T86" fmla="*/ 72 w 126"/>
              <a:gd name="T87" fmla="*/ 54 h 60"/>
              <a:gd name="T88" fmla="*/ 72 w 126"/>
              <a:gd name="T89" fmla="*/ 54 h 60"/>
              <a:gd name="T90" fmla="*/ 66 w 126"/>
              <a:gd name="T91" fmla="*/ 48 h 60"/>
              <a:gd name="T92" fmla="*/ 60 w 126"/>
              <a:gd name="T93" fmla="*/ 48 h 60"/>
              <a:gd name="T94" fmla="*/ 60 w 126"/>
              <a:gd name="T95" fmla="*/ 54 h 60"/>
              <a:gd name="T96" fmla="*/ 60 w 126"/>
              <a:gd name="T97" fmla="*/ 54 h 60"/>
              <a:gd name="T98" fmla="*/ 60 w 126"/>
              <a:gd name="T99" fmla="*/ 54 h 60"/>
              <a:gd name="T100" fmla="*/ 54 w 126"/>
              <a:gd name="T101" fmla="*/ 54 h 60"/>
              <a:gd name="T102" fmla="*/ 48 w 126"/>
              <a:gd name="T103" fmla="*/ 60 h 60"/>
              <a:gd name="T104" fmla="*/ 48 w 126"/>
              <a:gd name="T105" fmla="*/ 54 h 60"/>
              <a:gd name="T106" fmla="*/ 42 w 126"/>
              <a:gd name="T107" fmla="*/ 60 h 60"/>
              <a:gd name="T108" fmla="*/ 30 w 126"/>
              <a:gd name="T109" fmla="*/ 54 h 60"/>
              <a:gd name="T110" fmla="*/ 24 w 126"/>
              <a:gd name="T111" fmla="*/ 48 h 60"/>
              <a:gd name="T112" fmla="*/ 24 w 126"/>
              <a:gd name="T113" fmla="*/ 36 h 60"/>
              <a:gd name="T114" fmla="*/ 24 w 126"/>
              <a:gd name="T115" fmla="*/ 30 h 60"/>
              <a:gd name="T116" fmla="*/ 18 w 126"/>
              <a:gd name="T117" fmla="*/ 30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26" h="60">
                <a:moveTo>
                  <a:pt x="0" y="24"/>
                </a:moveTo>
                <a:lnTo>
                  <a:pt x="0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12" y="18"/>
                </a:lnTo>
                <a:lnTo>
                  <a:pt x="6" y="18"/>
                </a:lnTo>
                <a:lnTo>
                  <a:pt x="6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24"/>
                </a:lnTo>
                <a:lnTo>
                  <a:pt x="24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18"/>
                </a:lnTo>
                <a:lnTo>
                  <a:pt x="30" y="18"/>
                </a:lnTo>
                <a:lnTo>
                  <a:pt x="36" y="18"/>
                </a:lnTo>
                <a:lnTo>
                  <a:pt x="36" y="18"/>
                </a:lnTo>
                <a:lnTo>
                  <a:pt x="36" y="24"/>
                </a:lnTo>
                <a:lnTo>
                  <a:pt x="42" y="24"/>
                </a:lnTo>
                <a:lnTo>
                  <a:pt x="42" y="24"/>
                </a:lnTo>
                <a:lnTo>
                  <a:pt x="42" y="18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72" y="12"/>
                </a:lnTo>
                <a:lnTo>
                  <a:pt x="78" y="12"/>
                </a:lnTo>
                <a:lnTo>
                  <a:pt x="84" y="6"/>
                </a:lnTo>
                <a:lnTo>
                  <a:pt x="84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108" y="12"/>
                </a:lnTo>
                <a:lnTo>
                  <a:pt x="102" y="12"/>
                </a:lnTo>
                <a:lnTo>
                  <a:pt x="102" y="6"/>
                </a:lnTo>
                <a:lnTo>
                  <a:pt x="102" y="12"/>
                </a:lnTo>
                <a:lnTo>
                  <a:pt x="102" y="6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6"/>
                </a:lnTo>
                <a:lnTo>
                  <a:pt x="120" y="18"/>
                </a:lnTo>
                <a:lnTo>
                  <a:pt x="120" y="24"/>
                </a:lnTo>
                <a:lnTo>
                  <a:pt x="120" y="24"/>
                </a:lnTo>
                <a:lnTo>
                  <a:pt x="114" y="24"/>
                </a:lnTo>
                <a:lnTo>
                  <a:pt x="120" y="24"/>
                </a:lnTo>
                <a:lnTo>
                  <a:pt x="120" y="30"/>
                </a:lnTo>
                <a:lnTo>
                  <a:pt x="120" y="24"/>
                </a:lnTo>
                <a:lnTo>
                  <a:pt x="120" y="24"/>
                </a:lnTo>
                <a:lnTo>
                  <a:pt x="120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0" y="36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14" y="48"/>
                </a:lnTo>
                <a:lnTo>
                  <a:pt x="114" y="48"/>
                </a:lnTo>
                <a:lnTo>
                  <a:pt x="114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2" y="54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96" y="42"/>
                </a:lnTo>
                <a:lnTo>
                  <a:pt x="96" y="42"/>
                </a:lnTo>
                <a:lnTo>
                  <a:pt x="102" y="42"/>
                </a:lnTo>
                <a:lnTo>
                  <a:pt x="102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36"/>
                </a:lnTo>
                <a:lnTo>
                  <a:pt x="90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60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66" y="54"/>
                </a:lnTo>
                <a:lnTo>
                  <a:pt x="66" y="54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54"/>
                </a:lnTo>
                <a:lnTo>
                  <a:pt x="60" y="54"/>
                </a:lnTo>
                <a:lnTo>
                  <a:pt x="66" y="54"/>
                </a:lnTo>
                <a:lnTo>
                  <a:pt x="66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60"/>
                </a:lnTo>
                <a:lnTo>
                  <a:pt x="60" y="54"/>
                </a:lnTo>
                <a:lnTo>
                  <a:pt x="60" y="54"/>
                </a:lnTo>
                <a:lnTo>
                  <a:pt x="54" y="60"/>
                </a:lnTo>
                <a:lnTo>
                  <a:pt x="54" y="60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60"/>
                </a:lnTo>
                <a:lnTo>
                  <a:pt x="48" y="60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2" y="54"/>
                </a:lnTo>
                <a:lnTo>
                  <a:pt x="42" y="60"/>
                </a:lnTo>
                <a:lnTo>
                  <a:pt x="36" y="60"/>
                </a:lnTo>
                <a:lnTo>
                  <a:pt x="36" y="60"/>
                </a:lnTo>
                <a:lnTo>
                  <a:pt x="30" y="48"/>
                </a:lnTo>
                <a:lnTo>
                  <a:pt x="30" y="54"/>
                </a:lnTo>
                <a:lnTo>
                  <a:pt x="30" y="54"/>
                </a:lnTo>
                <a:lnTo>
                  <a:pt x="30" y="48"/>
                </a:lnTo>
                <a:lnTo>
                  <a:pt x="24" y="48"/>
                </a:lnTo>
                <a:lnTo>
                  <a:pt x="24" y="48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18" y="36"/>
                </a:lnTo>
                <a:lnTo>
                  <a:pt x="24" y="30"/>
                </a:lnTo>
                <a:lnTo>
                  <a:pt x="30" y="30"/>
                </a:lnTo>
                <a:lnTo>
                  <a:pt x="24" y="24"/>
                </a:lnTo>
                <a:lnTo>
                  <a:pt x="18" y="24"/>
                </a:lnTo>
                <a:lnTo>
                  <a:pt x="18" y="30"/>
                </a:lnTo>
                <a:lnTo>
                  <a:pt x="6" y="24"/>
                </a:lnTo>
                <a:lnTo>
                  <a:pt x="0" y="2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93" name="Freeform 226"/>
          <p:cNvSpPr>
            <a:spLocks/>
          </p:cNvSpPr>
          <p:nvPr/>
        </p:nvSpPr>
        <p:spPr bwMode="auto">
          <a:xfrm>
            <a:off x="7699829" y="2599645"/>
            <a:ext cx="224842" cy="231267"/>
          </a:xfrm>
          <a:custGeom>
            <a:avLst/>
            <a:gdLst>
              <a:gd name="T0" fmla="*/ 12 w 210"/>
              <a:gd name="T1" fmla="*/ 66 h 216"/>
              <a:gd name="T2" fmla="*/ 12 w 210"/>
              <a:gd name="T3" fmla="*/ 60 h 216"/>
              <a:gd name="T4" fmla="*/ 18 w 210"/>
              <a:gd name="T5" fmla="*/ 48 h 216"/>
              <a:gd name="T6" fmla="*/ 18 w 210"/>
              <a:gd name="T7" fmla="*/ 42 h 216"/>
              <a:gd name="T8" fmla="*/ 18 w 210"/>
              <a:gd name="T9" fmla="*/ 36 h 216"/>
              <a:gd name="T10" fmla="*/ 30 w 210"/>
              <a:gd name="T11" fmla="*/ 36 h 216"/>
              <a:gd name="T12" fmla="*/ 42 w 210"/>
              <a:gd name="T13" fmla="*/ 42 h 216"/>
              <a:gd name="T14" fmla="*/ 54 w 210"/>
              <a:gd name="T15" fmla="*/ 48 h 216"/>
              <a:gd name="T16" fmla="*/ 60 w 210"/>
              <a:gd name="T17" fmla="*/ 60 h 216"/>
              <a:gd name="T18" fmla="*/ 60 w 210"/>
              <a:gd name="T19" fmla="*/ 72 h 216"/>
              <a:gd name="T20" fmla="*/ 84 w 210"/>
              <a:gd name="T21" fmla="*/ 54 h 216"/>
              <a:gd name="T22" fmla="*/ 126 w 210"/>
              <a:gd name="T23" fmla="*/ 30 h 216"/>
              <a:gd name="T24" fmla="*/ 162 w 210"/>
              <a:gd name="T25" fmla="*/ 12 h 216"/>
              <a:gd name="T26" fmla="*/ 174 w 210"/>
              <a:gd name="T27" fmla="*/ 24 h 216"/>
              <a:gd name="T28" fmla="*/ 180 w 210"/>
              <a:gd name="T29" fmla="*/ 30 h 216"/>
              <a:gd name="T30" fmla="*/ 192 w 210"/>
              <a:gd name="T31" fmla="*/ 30 h 216"/>
              <a:gd name="T32" fmla="*/ 192 w 210"/>
              <a:gd name="T33" fmla="*/ 36 h 216"/>
              <a:gd name="T34" fmla="*/ 198 w 210"/>
              <a:gd name="T35" fmla="*/ 48 h 216"/>
              <a:gd name="T36" fmla="*/ 204 w 210"/>
              <a:gd name="T37" fmla="*/ 54 h 216"/>
              <a:gd name="T38" fmla="*/ 204 w 210"/>
              <a:gd name="T39" fmla="*/ 66 h 216"/>
              <a:gd name="T40" fmla="*/ 204 w 210"/>
              <a:gd name="T41" fmla="*/ 72 h 216"/>
              <a:gd name="T42" fmla="*/ 198 w 210"/>
              <a:gd name="T43" fmla="*/ 78 h 216"/>
              <a:gd name="T44" fmla="*/ 198 w 210"/>
              <a:gd name="T45" fmla="*/ 84 h 216"/>
              <a:gd name="T46" fmla="*/ 198 w 210"/>
              <a:gd name="T47" fmla="*/ 90 h 216"/>
              <a:gd name="T48" fmla="*/ 192 w 210"/>
              <a:gd name="T49" fmla="*/ 96 h 216"/>
              <a:gd name="T50" fmla="*/ 186 w 210"/>
              <a:gd name="T51" fmla="*/ 96 h 216"/>
              <a:gd name="T52" fmla="*/ 186 w 210"/>
              <a:gd name="T53" fmla="*/ 102 h 216"/>
              <a:gd name="T54" fmla="*/ 180 w 210"/>
              <a:gd name="T55" fmla="*/ 102 h 216"/>
              <a:gd name="T56" fmla="*/ 210 w 210"/>
              <a:gd name="T57" fmla="*/ 126 h 216"/>
              <a:gd name="T58" fmla="*/ 210 w 210"/>
              <a:gd name="T59" fmla="*/ 144 h 216"/>
              <a:gd name="T60" fmla="*/ 198 w 210"/>
              <a:gd name="T61" fmla="*/ 156 h 216"/>
              <a:gd name="T62" fmla="*/ 192 w 210"/>
              <a:gd name="T63" fmla="*/ 162 h 216"/>
              <a:gd name="T64" fmla="*/ 204 w 210"/>
              <a:gd name="T65" fmla="*/ 180 h 216"/>
              <a:gd name="T66" fmla="*/ 192 w 210"/>
              <a:gd name="T67" fmla="*/ 204 h 216"/>
              <a:gd name="T68" fmla="*/ 192 w 210"/>
              <a:gd name="T69" fmla="*/ 210 h 216"/>
              <a:gd name="T70" fmla="*/ 192 w 210"/>
              <a:gd name="T71" fmla="*/ 216 h 216"/>
              <a:gd name="T72" fmla="*/ 186 w 210"/>
              <a:gd name="T73" fmla="*/ 216 h 216"/>
              <a:gd name="T74" fmla="*/ 180 w 210"/>
              <a:gd name="T75" fmla="*/ 210 h 216"/>
              <a:gd name="T76" fmla="*/ 180 w 210"/>
              <a:gd name="T77" fmla="*/ 210 h 216"/>
              <a:gd name="T78" fmla="*/ 162 w 210"/>
              <a:gd name="T79" fmla="*/ 204 h 216"/>
              <a:gd name="T80" fmla="*/ 156 w 210"/>
              <a:gd name="T81" fmla="*/ 186 h 216"/>
              <a:gd name="T82" fmla="*/ 150 w 210"/>
              <a:gd name="T83" fmla="*/ 192 h 216"/>
              <a:gd name="T84" fmla="*/ 138 w 210"/>
              <a:gd name="T85" fmla="*/ 180 h 216"/>
              <a:gd name="T86" fmla="*/ 120 w 210"/>
              <a:gd name="T87" fmla="*/ 174 h 216"/>
              <a:gd name="T88" fmla="*/ 120 w 210"/>
              <a:gd name="T89" fmla="*/ 192 h 216"/>
              <a:gd name="T90" fmla="*/ 102 w 210"/>
              <a:gd name="T91" fmla="*/ 204 h 216"/>
              <a:gd name="T92" fmla="*/ 108 w 210"/>
              <a:gd name="T93" fmla="*/ 192 h 216"/>
              <a:gd name="T94" fmla="*/ 96 w 210"/>
              <a:gd name="T95" fmla="*/ 162 h 216"/>
              <a:gd name="T96" fmla="*/ 96 w 210"/>
              <a:gd name="T97" fmla="*/ 156 h 216"/>
              <a:gd name="T98" fmla="*/ 72 w 210"/>
              <a:gd name="T99" fmla="*/ 126 h 216"/>
              <a:gd name="T100" fmla="*/ 66 w 210"/>
              <a:gd name="T101" fmla="*/ 132 h 216"/>
              <a:gd name="T102" fmla="*/ 54 w 210"/>
              <a:gd name="T103" fmla="*/ 138 h 216"/>
              <a:gd name="T104" fmla="*/ 42 w 210"/>
              <a:gd name="T105" fmla="*/ 126 h 216"/>
              <a:gd name="T106" fmla="*/ 30 w 210"/>
              <a:gd name="T107" fmla="*/ 126 h 216"/>
              <a:gd name="T108" fmla="*/ 12 w 210"/>
              <a:gd name="T109" fmla="*/ 102 h 2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10" h="216">
                <a:moveTo>
                  <a:pt x="0" y="72"/>
                </a:move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30" y="36"/>
                </a:lnTo>
                <a:lnTo>
                  <a:pt x="30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8"/>
                </a:lnTo>
                <a:lnTo>
                  <a:pt x="48" y="42"/>
                </a:lnTo>
                <a:lnTo>
                  <a:pt x="54" y="42"/>
                </a:lnTo>
                <a:lnTo>
                  <a:pt x="54" y="42"/>
                </a:lnTo>
                <a:lnTo>
                  <a:pt x="54" y="48"/>
                </a:lnTo>
                <a:lnTo>
                  <a:pt x="54" y="48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72"/>
                </a:lnTo>
                <a:lnTo>
                  <a:pt x="66" y="72"/>
                </a:lnTo>
                <a:lnTo>
                  <a:pt x="66" y="72"/>
                </a:lnTo>
                <a:lnTo>
                  <a:pt x="72" y="72"/>
                </a:lnTo>
                <a:lnTo>
                  <a:pt x="78" y="72"/>
                </a:lnTo>
                <a:lnTo>
                  <a:pt x="84" y="66"/>
                </a:lnTo>
                <a:lnTo>
                  <a:pt x="90" y="66"/>
                </a:lnTo>
                <a:lnTo>
                  <a:pt x="84" y="54"/>
                </a:lnTo>
                <a:lnTo>
                  <a:pt x="96" y="42"/>
                </a:lnTo>
                <a:lnTo>
                  <a:pt x="102" y="42"/>
                </a:lnTo>
                <a:lnTo>
                  <a:pt x="102" y="36"/>
                </a:lnTo>
                <a:lnTo>
                  <a:pt x="108" y="36"/>
                </a:lnTo>
                <a:lnTo>
                  <a:pt x="120" y="36"/>
                </a:lnTo>
                <a:lnTo>
                  <a:pt x="120" y="36"/>
                </a:lnTo>
                <a:lnTo>
                  <a:pt x="126" y="30"/>
                </a:lnTo>
                <a:lnTo>
                  <a:pt x="132" y="18"/>
                </a:lnTo>
                <a:lnTo>
                  <a:pt x="144" y="6"/>
                </a:lnTo>
                <a:lnTo>
                  <a:pt x="150" y="0"/>
                </a:lnTo>
                <a:lnTo>
                  <a:pt x="162" y="6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8" y="12"/>
                </a:lnTo>
                <a:lnTo>
                  <a:pt x="174" y="18"/>
                </a:lnTo>
                <a:lnTo>
                  <a:pt x="174" y="18"/>
                </a:lnTo>
                <a:lnTo>
                  <a:pt x="174" y="24"/>
                </a:lnTo>
                <a:lnTo>
                  <a:pt x="174" y="24"/>
                </a:lnTo>
                <a:lnTo>
                  <a:pt x="174" y="24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92" y="30"/>
                </a:lnTo>
                <a:lnTo>
                  <a:pt x="192" y="30"/>
                </a:lnTo>
                <a:lnTo>
                  <a:pt x="192" y="30"/>
                </a:lnTo>
                <a:lnTo>
                  <a:pt x="192" y="30"/>
                </a:lnTo>
                <a:lnTo>
                  <a:pt x="192" y="36"/>
                </a:lnTo>
                <a:lnTo>
                  <a:pt x="192" y="36"/>
                </a:lnTo>
                <a:lnTo>
                  <a:pt x="192" y="36"/>
                </a:lnTo>
                <a:lnTo>
                  <a:pt x="192" y="36"/>
                </a:lnTo>
                <a:lnTo>
                  <a:pt x="192" y="42"/>
                </a:lnTo>
                <a:lnTo>
                  <a:pt x="192" y="42"/>
                </a:lnTo>
                <a:lnTo>
                  <a:pt x="198" y="42"/>
                </a:lnTo>
                <a:lnTo>
                  <a:pt x="198" y="42"/>
                </a:lnTo>
                <a:lnTo>
                  <a:pt x="198" y="42"/>
                </a:lnTo>
                <a:lnTo>
                  <a:pt x="198" y="48"/>
                </a:lnTo>
                <a:lnTo>
                  <a:pt x="198" y="48"/>
                </a:lnTo>
                <a:lnTo>
                  <a:pt x="198" y="48"/>
                </a:lnTo>
                <a:lnTo>
                  <a:pt x="198" y="48"/>
                </a:lnTo>
                <a:lnTo>
                  <a:pt x="198" y="48"/>
                </a:lnTo>
                <a:lnTo>
                  <a:pt x="198" y="54"/>
                </a:lnTo>
                <a:lnTo>
                  <a:pt x="198" y="54"/>
                </a:lnTo>
                <a:lnTo>
                  <a:pt x="204" y="54"/>
                </a:lnTo>
                <a:lnTo>
                  <a:pt x="204" y="54"/>
                </a:lnTo>
                <a:lnTo>
                  <a:pt x="204" y="54"/>
                </a:lnTo>
                <a:lnTo>
                  <a:pt x="204" y="54"/>
                </a:lnTo>
                <a:lnTo>
                  <a:pt x="204" y="60"/>
                </a:lnTo>
                <a:lnTo>
                  <a:pt x="204" y="60"/>
                </a:lnTo>
                <a:lnTo>
                  <a:pt x="204" y="60"/>
                </a:lnTo>
                <a:lnTo>
                  <a:pt x="204" y="60"/>
                </a:lnTo>
                <a:lnTo>
                  <a:pt x="204" y="66"/>
                </a:lnTo>
                <a:lnTo>
                  <a:pt x="204" y="66"/>
                </a:lnTo>
                <a:lnTo>
                  <a:pt x="204" y="66"/>
                </a:lnTo>
                <a:lnTo>
                  <a:pt x="204" y="66"/>
                </a:lnTo>
                <a:lnTo>
                  <a:pt x="204" y="66"/>
                </a:lnTo>
                <a:lnTo>
                  <a:pt x="204" y="66"/>
                </a:lnTo>
                <a:lnTo>
                  <a:pt x="198" y="72"/>
                </a:lnTo>
                <a:lnTo>
                  <a:pt x="204" y="72"/>
                </a:lnTo>
                <a:lnTo>
                  <a:pt x="204" y="72"/>
                </a:lnTo>
                <a:lnTo>
                  <a:pt x="204" y="72"/>
                </a:lnTo>
                <a:lnTo>
                  <a:pt x="198" y="72"/>
                </a:lnTo>
                <a:lnTo>
                  <a:pt x="198" y="72"/>
                </a:lnTo>
                <a:lnTo>
                  <a:pt x="198" y="78"/>
                </a:lnTo>
                <a:lnTo>
                  <a:pt x="198" y="78"/>
                </a:lnTo>
                <a:lnTo>
                  <a:pt x="198" y="78"/>
                </a:lnTo>
                <a:lnTo>
                  <a:pt x="198" y="78"/>
                </a:lnTo>
                <a:lnTo>
                  <a:pt x="198" y="78"/>
                </a:lnTo>
                <a:lnTo>
                  <a:pt x="198" y="78"/>
                </a:lnTo>
                <a:lnTo>
                  <a:pt x="198" y="84"/>
                </a:lnTo>
                <a:lnTo>
                  <a:pt x="198" y="84"/>
                </a:lnTo>
                <a:lnTo>
                  <a:pt x="198" y="84"/>
                </a:lnTo>
                <a:lnTo>
                  <a:pt x="198" y="84"/>
                </a:lnTo>
                <a:lnTo>
                  <a:pt x="198" y="84"/>
                </a:lnTo>
                <a:lnTo>
                  <a:pt x="198" y="84"/>
                </a:lnTo>
                <a:lnTo>
                  <a:pt x="198" y="90"/>
                </a:lnTo>
                <a:lnTo>
                  <a:pt x="198" y="90"/>
                </a:lnTo>
                <a:lnTo>
                  <a:pt x="198" y="90"/>
                </a:lnTo>
                <a:lnTo>
                  <a:pt x="198" y="90"/>
                </a:lnTo>
                <a:lnTo>
                  <a:pt x="198" y="90"/>
                </a:lnTo>
                <a:lnTo>
                  <a:pt x="198" y="90"/>
                </a:lnTo>
                <a:lnTo>
                  <a:pt x="192" y="90"/>
                </a:lnTo>
                <a:lnTo>
                  <a:pt x="192" y="90"/>
                </a:lnTo>
                <a:lnTo>
                  <a:pt x="192" y="90"/>
                </a:lnTo>
                <a:lnTo>
                  <a:pt x="192" y="96"/>
                </a:lnTo>
                <a:lnTo>
                  <a:pt x="192" y="96"/>
                </a:lnTo>
                <a:lnTo>
                  <a:pt x="192" y="96"/>
                </a:lnTo>
                <a:lnTo>
                  <a:pt x="192" y="96"/>
                </a:lnTo>
                <a:lnTo>
                  <a:pt x="192" y="96"/>
                </a:lnTo>
                <a:lnTo>
                  <a:pt x="192" y="96"/>
                </a:lnTo>
                <a:lnTo>
                  <a:pt x="186" y="96"/>
                </a:lnTo>
                <a:lnTo>
                  <a:pt x="186" y="96"/>
                </a:lnTo>
                <a:lnTo>
                  <a:pt x="186" y="96"/>
                </a:lnTo>
                <a:lnTo>
                  <a:pt x="186" y="96"/>
                </a:lnTo>
                <a:lnTo>
                  <a:pt x="186" y="102"/>
                </a:lnTo>
                <a:lnTo>
                  <a:pt x="186" y="102"/>
                </a:lnTo>
                <a:lnTo>
                  <a:pt x="186" y="102"/>
                </a:lnTo>
                <a:lnTo>
                  <a:pt x="186" y="102"/>
                </a:lnTo>
                <a:lnTo>
                  <a:pt x="186" y="102"/>
                </a:lnTo>
                <a:lnTo>
                  <a:pt x="186" y="102"/>
                </a:lnTo>
                <a:lnTo>
                  <a:pt x="186" y="102"/>
                </a:lnTo>
                <a:lnTo>
                  <a:pt x="186" y="102"/>
                </a:lnTo>
                <a:lnTo>
                  <a:pt x="180" y="102"/>
                </a:lnTo>
                <a:lnTo>
                  <a:pt x="180" y="102"/>
                </a:lnTo>
                <a:lnTo>
                  <a:pt x="180" y="102"/>
                </a:lnTo>
                <a:lnTo>
                  <a:pt x="180" y="102"/>
                </a:lnTo>
                <a:lnTo>
                  <a:pt x="180" y="102"/>
                </a:lnTo>
                <a:lnTo>
                  <a:pt x="180" y="102"/>
                </a:lnTo>
                <a:lnTo>
                  <a:pt x="180" y="108"/>
                </a:lnTo>
                <a:lnTo>
                  <a:pt x="180" y="108"/>
                </a:lnTo>
                <a:lnTo>
                  <a:pt x="180" y="108"/>
                </a:lnTo>
                <a:lnTo>
                  <a:pt x="192" y="114"/>
                </a:lnTo>
                <a:lnTo>
                  <a:pt x="204" y="126"/>
                </a:lnTo>
                <a:lnTo>
                  <a:pt x="204" y="126"/>
                </a:lnTo>
                <a:lnTo>
                  <a:pt x="210" y="126"/>
                </a:lnTo>
                <a:lnTo>
                  <a:pt x="210" y="126"/>
                </a:lnTo>
                <a:lnTo>
                  <a:pt x="210" y="126"/>
                </a:lnTo>
                <a:lnTo>
                  <a:pt x="210" y="132"/>
                </a:lnTo>
                <a:lnTo>
                  <a:pt x="210" y="132"/>
                </a:lnTo>
                <a:lnTo>
                  <a:pt x="210" y="138"/>
                </a:lnTo>
                <a:lnTo>
                  <a:pt x="210" y="144"/>
                </a:lnTo>
                <a:lnTo>
                  <a:pt x="210" y="144"/>
                </a:lnTo>
                <a:lnTo>
                  <a:pt x="210" y="144"/>
                </a:lnTo>
                <a:lnTo>
                  <a:pt x="204" y="144"/>
                </a:lnTo>
                <a:lnTo>
                  <a:pt x="204" y="144"/>
                </a:lnTo>
                <a:lnTo>
                  <a:pt x="204" y="150"/>
                </a:lnTo>
                <a:lnTo>
                  <a:pt x="204" y="150"/>
                </a:lnTo>
                <a:lnTo>
                  <a:pt x="198" y="150"/>
                </a:lnTo>
                <a:lnTo>
                  <a:pt x="198" y="156"/>
                </a:lnTo>
                <a:lnTo>
                  <a:pt x="192" y="156"/>
                </a:lnTo>
                <a:lnTo>
                  <a:pt x="192" y="156"/>
                </a:lnTo>
                <a:lnTo>
                  <a:pt x="192" y="156"/>
                </a:lnTo>
                <a:lnTo>
                  <a:pt x="192" y="162"/>
                </a:lnTo>
                <a:lnTo>
                  <a:pt x="192" y="162"/>
                </a:lnTo>
                <a:lnTo>
                  <a:pt x="192" y="162"/>
                </a:lnTo>
                <a:lnTo>
                  <a:pt x="192" y="162"/>
                </a:lnTo>
                <a:lnTo>
                  <a:pt x="192" y="168"/>
                </a:lnTo>
                <a:lnTo>
                  <a:pt x="198" y="168"/>
                </a:lnTo>
                <a:lnTo>
                  <a:pt x="198" y="174"/>
                </a:lnTo>
                <a:lnTo>
                  <a:pt x="198" y="174"/>
                </a:lnTo>
                <a:lnTo>
                  <a:pt x="204" y="174"/>
                </a:lnTo>
                <a:lnTo>
                  <a:pt x="198" y="180"/>
                </a:lnTo>
                <a:lnTo>
                  <a:pt x="204" y="180"/>
                </a:lnTo>
                <a:lnTo>
                  <a:pt x="204" y="186"/>
                </a:lnTo>
                <a:lnTo>
                  <a:pt x="204" y="186"/>
                </a:lnTo>
                <a:lnTo>
                  <a:pt x="204" y="186"/>
                </a:lnTo>
                <a:lnTo>
                  <a:pt x="204" y="186"/>
                </a:lnTo>
                <a:lnTo>
                  <a:pt x="198" y="198"/>
                </a:lnTo>
                <a:lnTo>
                  <a:pt x="192" y="198"/>
                </a:lnTo>
                <a:lnTo>
                  <a:pt x="192" y="204"/>
                </a:lnTo>
                <a:lnTo>
                  <a:pt x="192" y="204"/>
                </a:lnTo>
                <a:lnTo>
                  <a:pt x="192" y="204"/>
                </a:lnTo>
                <a:lnTo>
                  <a:pt x="192" y="204"/>
                </a:lnTo>
                <a:lnTo>
                  <a:pt x="192" y="204"/>
                </a:lnTo>
                <a:lnTo>
                  <a:pt x="192" y="204"/>
                </a:lnTo>
                <a:lnTo>
                  <a:pt x="192" y="210"/>
                </a:lnTo>
                <a:lnTo>
                  <a:pt x="192" y="210"/>
                </a:lnTo>
                <a:lnTo>
                  <a:pt x="192" y="210"/>
                </a:lnTo>
                <a:lnTo>
                  <a:pt x="192" y="216"/>
                </a:lnTo>
                <a:lnTo>
                  <a:pt x="192" y="216"/>
                </a:lnTo>
                <a:lnTo>
                  <a:pt x="192" y="216"/>
                </a:lnTo>
                <a:lnTo>
                  <a:pt x="192" y="216"/>
                </a:lnTo>
                <a:lnTo>
                  <a:pt x="192" y="216"/>
                </a:lnTo>
                <a:lnTo>
                  <a:pt x="192" y="216"/>
                </a:lnTo>
                <a:lnTo>
                  <a:pt x="192" y="216"/>
                </a:lnTo>
                <a:lnTo>
                  <a:pt x="192" y="216"/>
                </a:lnTo>
                <a:lnTo>
                  <a:pt x="192" y="216"/>
                </a:lnTo>
                <a:lnTo>
                  <a:pt x="192" y="216"/>
                </a:lnTo>
                <a:lnTo>
                  <a:pt x="186" y="210"/>
                </a:lnTo>
                <a:lnTo>
                  <a:pt x="186" y="210"/>
                </a:lnTo>
                <a:lnTo>
                  <a:pt x="186" y="216"/>
                </a:lnTo>
                <a:lnTo>
                  <a:pt x="186" y="210"/>
                </a:lnTo>
                <a:lnTo>
                  <a:pt x="186" y="216"/>
                </a:lnTo>
                <a:lnTo>
                  <a:pt x="180" y="210"/>
                </a:lnTo>
                <a:lnTo>
                  <a:pt x="180" y="210"/>
                </a:lnTo>
                <a:lnTo>
                  <a:pt x="180" y="216"/>
                </a:lnTo>
                <a:lnTo>
                  <a:pt x="180" y="210"/>
                </a:lnTo>
                <a:lnTo>
                  <a:pt x="180" y="210"/>
                </a:lnTo>
                <a:lnTo>
                  <a:pt x="180" y="210"/>
                </a:lnTo>
                <a:lnTo>
                  <a:pt x="180" y="210"/>
                </a:lnTo>
                <a:lnTo>
                  <a:pt x="180" y="210"/>
                </a:lnTo>
                <a:lnTo>
                  <a:pt x="180" y="210"/>
                </a:lnTo>
                <a:lnTo>
                  <a:pt x="180" y="210"/>
                </a:lnTo>
                <a:lnTo>
                  <a:pt x="180" y="210"/>
                </a:lnTo>
                <a:lnTo>
                  <a:pt x="180" y="210"/>
                </a:lnTo>
                <a:lnTo>
                  <a:pt x="162" y="210"/>
                </a:lnTo>
                <a:lnTo>
                  <a:pt x="162" y="210"/>
                </a:lnTo>
                <a:lnTo>
                  <a:pt x="162" y="210"/>
                </a:lnTo>
                <a:lnTo>
                  <a:pt x="162" y="210"/>
                </a:lnTo>
                <a:lnTo>
                  <a:pt x="162" y="210"/>
                </a:lnTo>
                <a:lnTo>
                  <a:pt x="162" y="204"/>
                </a:lnTo>
                <a:lnTo>
                  <a:pt x="162" y="204"/>
                </a:lnTo>
                <a:lnTo>
                  <a:pt x="162" y="204"/>
                </a:lnTo>
                <a:lnTo>
                  <a:pt x="162" y="198"/>
                </a:lnTo>
                <a:lnTo>
                  <a:pt x="162" y="198"/>
                </a:lnTo>
                <a:lnTo>
                  <a:pt x="162" y="192"/>
                </a:lnTo>
                <a:lnTo>
                  <a:pt x="162" y="192"/>
                </a:lnTo>
                <a:lnTo>
                  <a:pt x="162" y="186"/>
                </a:lnTo>
                <a:lnTo>
                  <a:pt x="156" y="186"/>
                </a:lnTo>
                <a:lnTo>
                  <a:pt x="156" y="192"/>
                </a:lnTo>
                <a:lnTo>
                  <a:pt x="156" y="192"/>
                </a:lnTo>
                <a:lnTo>
                  <a:pt x="156" y="198"/>
                </a:lnTo>
                <a:lnTo>
                  <a:pt x="156" y="198"/>
                </a:lnTo>
                <a:lnTo>
                  <a:pt x="150" y="198"/>
                </a:lnTo>
                <a:lnTo>
                  <a:pt x="150" y="192"/>
                </a:lnTo>
                <a:lnTo>
                  <a:pt x="150" y="192"/>
                </a:lnTo>
                <a:lnTo>
                  <a:pt x="150" y="186"/>
                </a:lnTo>
                <a:lnTo>
                  <a:pt x="144" y="186"/>
                </a:lnTo>
                <a:lnTo>
                  <a:pt x="144" y="186"/>
                </a:lnTo>
                <a:lnTo>
                  <a:pt x="144" y="186"/>
                </a:lnTo>
                <a:lnTo>
                  <a:pt x="144" y="180"/>
                </a:lnTo>
                <a:lnTo>
                  <a:pt x="138" y="180"/>
                </a:lnTo>
                <a:lnTo>
                  <a:pt x="138" y="180"/>
                </a:lnTo>
                <a:lnTo>
                  <a:pt x="138" y="180"/>
                </a:lnTo>
                <a:lnTo>
                  <a:pt x="138" y="180"/>
                </a:lnTo>
                <a:lnTo>
                  <a:pt x="132" y="180"/>
                </a:lnTo>
                <a:lnTo>
                  <a:pt x="132" y="180"/>
                </a:lnTo>
                <a:lnTo>
                  <a:pt x="126" y="174"/>
                </a:lnTo>
                <a:lnTo>
                  <a:pt x="126" y="174"/>
                </a:lnTo>
                <a:lnTo>
                  <a:pt x="120" y="174"/>
                </a:lnTo>
                <a:lnTo>
                  <a:pt x="120" y="174"/>
                </a:lnTo>
                <a:lnTo>
                  <a:pt x="120" y="180"/>
                </a:lnTo>
                <a:lnTo>
                  <a:pt x="120" y="186"/>
                </a:lnTo>
                <a:lnTo>
                  <a:pt x="120" y="186"/>
                </a:lnTo>
                <a:lnTo>
                  <a:pt x="126" y="186"/>
                </a:lnTo>
                <a:lnTo>
                  <a:pt x="120" y="192"/>
                </a:lnTo>
                <a:lnTo>
                  <a:pt x="120" y="192"/>
                </a:lnTo>
                <a:lnTo>
                  <a:pt x="120" y="198"/>
                </a:lnTo>
                <a:lnTo>
                  <a:pt x="120" y="198"/>
                </a:lnTo>
                <a:lnTo>
                  <a:pt x="120" y="198"/>
                </a:lnTo>
                <a:lnTo>
                  <a:pt x="114" y="192"/>
                </a:lnTo>
                <a:lnTo>
                  <a:pt x="108" y="204"/>
                </a:lnTo>
                <a:lnTo>
                  <a:pt x="108" y="204"/>
                </a:lnTo>
                <a:lnTo>
                  <a:pt x="102" y="204"/>
                </a:lnTo>
                <a:lnTo>
                  <a:pt x="102" y="204"/>
                </a:lnTo>
                <a:lnTo>
                  <a:pt x="102" y="204"/>
                </a:lnTo>
                <a:lnTo>
                  <a:pt x="102" y="198"/>
                </a:lnTo>
                <a:lnTo>
                  <a:pt x="102" y="198"/>
                </a:lnTo>
                <a:lnTo>
                  <a:pt x="102" y="198"/>
                </a:lnTo>
                <a:lnTo>
                  <a:pt x="102" y="198"/>
                </a:lnTo>
                <a:lnTo>
                  <a:pt x="108" y="192"/>
                </a:lnTo>
                <a:lnTo>
                  <a:pt x="108" y="192"/>
                </a:lnTo>
                <a:lnTo>
                  <a:pt x="108" y="186"/>
                </a:lnTo>
                <a:lnTo>
                  <a:pt x="108" y="186"/>
                </a:lnTo>
                <a:lnTo>
                  <a:pt x="108" y="186"/>
                </a:lnTo>
                <a:lnTo>
                  <a:pt x="96" y="174"/>
                </a:lnTo>
                <a:lnTo>
                  <a:pt x="90" y="156"/>
                </a:lnTo>
                <a:lnTo>
                  <a:pt x="96" y="162"/>
                </a:lnTo>
                <a:lnTo>
                  <a:pt x="96" y="162"/>
                </a:lnTo>
                <a:lnTo>
                  <a:pt x="96" y="162"/>
                </a:lnTo>
                <a:lnTo>
                  <a:pt x="96" y="162"/>
                </a:lnTo>
                <a:lnTo>
                  <a:pt x="96" y="162"/>
                </a:lnTo>
                <a:lnTo>
                  <a:pt x="96" y="156"/>
                </a:lnTo>
                <a:lnTo>
                  <a:pt x="96" y="156"/>
                </a:lnTo>
                <a:lnTo>
                  <a:pt x="96" y="156"/>
                </a:lnTo>
                <a:lnTo>
                  <a:pt x="90" y="156"/>
                </a:lnTo>
                <a:lnTo>
                  <a:pt x="90" y="156"/>
                </a:lnTo>
                <a:lnTo>
                  <a:pt x="96" y="156"/>
                </a:lnTo>
                <a:lnTo>
                  <a:pt x="96" y="150"/>
                </a:lnTo>
                <a:lnTo>
                  <a:pt x="84" y="138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66" y="132"/>
                </a:lnTo>
                <a:lnTo>
                  <a:pt x="66" y="132"/>
                </a:lnTo>
                <a:lnTo>
                  <a:pt x="66" y="132"/>
                </a:lnTo>
                <a:lnTo>
                  <a:pt x="60" y="132"/>
                </a:lnTo>
                <a:lnTo>
                  <a:pt x="60" y="132"/>
                </a:lnTo>
                <a:lnTo>
                  <a:pt x="60" y="132"/>
                </a:lnTo>
                <a:lnTo>
                  <a:pt x="60" y="126"/>
                </a:lnTo>
                <a:lnTo>
                  <a:pt x="60" y="132"/>
                </a:lnTo>
                <a:lnTo>
                  <a:pt x="54" y="138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2" y="126"/>
                </a:lnTo>
                <a:lnTo>
                  <a:pt x="42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32"/>
                </a:lnTo>
                <a:lnTo>
                  <a:pt x="24" y="132"/>
                </a:lnTo>
                <a:lnTo>
                  <a:pt x="18" y="120"/>
                </a:lnTo>
                <a:lnTo>
                  <a:pt x="12" y="102"/>
                </a:lnTo>
                <a:lnTo>
                  <a:pt x="0" y="7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94" name="Freeform 227"/>
          <p:cNvSpPr>
            <a:spLocks/>
          </p:cNvSpPr>
          <p:nvPr/>
        </p:nvSpPr>
        <p:spPr bwMode="auto">
          <a:xfrm>
            <a:off x="7898974" y="3030060"/>
            <a:ext cx="250538" cy="237692"/>
          </a:xfrm>
          <a:custGeom>
            <a:avLst/>
            <a:gdLst>
              <a:gd name="T0" fmla="*/ 18 w 234"/>
              <a:gd name="T1" fmla="*/ 168 h 222"/>
              <a:gd name="T2" fmla="*/ 30 w 234"/>
              <a:gd name="T3" fmla="*/ 156 h 222"/>
              <a:gd name="T4" fmla="*/ 36 w 234"/>
              <a:gd name="T5" fmla="*/ 150 h 222"/>
              <a:gd name="T6" fmla="*/ 30 w 234"/>
              <a:gd name="T7" fmla="*/ 144 h 222"/>
              <a:gd name="T8" fmla="*/ 30 w 234"/>
              <a:gd name="T9" fmla="*/ 132 h 222"/>
              <a:gd name="T10" fmla="*/ 30 w 234"/>
              <a:gd name="T11" fmla="*/ 126 h 222"/>
              <a:gd name="T12" fmla="*/ 30 w 234"/>
              <a:gd name="T13" fmla="*/ 120 h 222"/>
              <a:gd name="T14" fmla="*/ 36 w 234"/>
              <a:gd name="T15" fmla="*/ 120 h 222"/>
              <a:gd name="T16" fmla="*/ 36 w 234"/>
              <a:gd name="T17" fmla="*/ 108 h 222"/>
              <a:gd name="T18" fmla="*/ 42 w 234"/>
              <a:gd name="T19" fmla="*/ 102 h 222"/>
              <a:gd name="T20" fmla="*/ 48 w 234"/>
              <a:gd name="T21" fmla="*/ 96 h 222"/>
              <a:gd name="T22" fmla="*/ 48 w 234"/>
              <a:gd name="T23" fmla="*/ 90 h 222"/>
              <a:gd name="T24" fmla="*/ 54 w 234"/>
              <a:gd name="T25" fmla="*/ 78 h 222"/>
              <a:gd name="T26" fmla="*/ 54 w 234"/>
              <a:gd name="T27" fmla="*/ 66 h 222"/>
              <a:gd name="T28" fmla="*/ 54 w 234"/>
              <a:gd name="T29" fmla="*/ 54 h 222"/>
              <a:gd name="T30" fmla="*/ 60 w 234"/>
              <a:gd name="T31" fmla="*/ 54 h 222"/>
              <a:gd name="T32" fmla="*/ 60 w 234"/>
              <a:gd name="T33" fmla="*/ 48 h 222"/>
              <a:gd name="T34" fmla="*/ 60 w 234"/>
              <a:gd name="T35" fmla="*/ 42 h 222"/>
              <a:gd name="T36" fmla="*/ 60 w 234"/>
              <a:gd name="T37" fmla="*/ 30 h 222"/>
              <a:gd name="T38" fmla="*/ 66 w 234"/>
              <a:gd name="T39" fmla="*/ 24 h 222"/>
              <a:gd name="T40" fmla="*/ 66 w 234"/>
              <a:gd name="T41" fmla="*/ 18 h 222"/>
              <a:gd name="T42" fmla="*/ 72 w 234"/>
              <a:gd name="T43" fmla="*/ 12 h 222"/>
              <a:gd name="T44" fmla="*/ 84 w 234"/>
              <a:gd name="T45" fmla="*/ 6 h 222"/>
              <a:gd name="T46" fmla="*/ 102 w 234"/>
              <a:gd name="T47" fmla="*/ 0 h 222"/>
              <a:gd name="T48" fmla="*/ 120 w 234"/>
              <a:gd name="T49" fmla="*/ 6 h 222"/>
              <a:gd name="T50" fmla="*/ 126 w 234"/>
              <a:gd name="T51" fmla="*/ 12 h 222"/>
              <a:gd name="T52" fmla="*/ 144 w 234"/>
              <a:gd name="T53" fmla="*/ 30 h 222"/>
              <a:gd name="T54" fmla="*/ 150 w 234"/>
              <a:gd name="T55" fmla="*/ 24 h 222"/>
              <a:gd name="T56" fmla="*/ 168 w 234"/>
              <a:gd name="T57" fmla="*/ 30 h 222"/>
              <a:gd name="T58" fmla="*/ 168 w 234"/>
              <a:gd name="T59" fmla="*/ 42 h 222"/>
              <a:gd name="T60" fmla="*/ 168 w 234"/>
              <a:gd name="T61" fmla="*/ 48 h 222"/>
              <a:gd name="T62" fmla="*/ 174 w 234"/>
              <a:gd name="T63" fmla="*/ 54 h 222"/>
              <a:gd name="T64" fmla="*/ 180 w 234"/>
              <a:gd name="T65" fmla="*/ 54 h 222"/>
              <a:gd name="T66" fmla="*/ 186 w 234"/>
              <a:gd name="T67" fmla="*/ 54 h 222"/>
              <a:gd name="T68" fmla="*/ 192 w 234"/>
              <a:gd name="T69" fmla="*/ 60 h 222"/>
              <a:gd name="T70" fmla="*/ 210 w 234"/>
              <a:gd name="T71" fmla="*/ 72 h 222"/>
              <a:gd name="T72" fmla="*/ 216 w 234"/>
              <a:gd name="T73" fmla="*/ 72 h 222"/>
              <a:gd name="T74" fmla="*/ 222 w 234"/>
              <a:gd name="T75" fmla="*/ 72 h 222"/>
              <a:gd name="T76" fmla="*/ 234 w 234"/>
              <a:gd name="T77" fmla="*/ 72 h 222"/>
              <a:gd name="T78" fmla="*/ 234 w 234"/>
              <a:gd name="T79" fmla="*/ 78 h 222"/>
              <a:gd name="T80" fmla="*/ 228 w 234"/>
              <a:gd name="T81" fmla="*/ 96 h 222"/>
              <a:gd name="T82" fmla="*/ 228 w 234"/>
              <a:gd name="T83" fmla="*/ 102 h 222"/>
              <a:gd name="T84" fmla="*/ 222 w 234"/>
              <a:gd name="T85" fmla="*/ 114 h 222"/>
              <a:gd name="T86" fmla="*/ 222 w 234"/>
              <a:gd name="T87" fmla="*/ 120 h 222"/>
              <a:gd name="T88" fmla="*/ 210 w 234"/>
              <a:gd name="T89" fmla="*/ 126 h 222"/>
              <a:gd name="T90" fmla="*/ 204 w 234"/>
              <a:gd name="T91" fmla="*/ 126 h 222"/>
              <a:gd name="T92" fmla="*/ 198 w 234"/>
              <a:gd name="T93" fmla="*/ 150 h 222"/>
              <a:gd name="T94" fmla="*/ 186 w 234"/>
              <a:gd name="T95" fmla="*/ 156 h 222"/>
              <a:gd name="T96" fmla="*/ 174 w 234"/>
              <a:gd name="T97" fmla="*/ 156 h 222"/>
              <a:gd name="T98" fmla="*/ 180 w 234"/>
              <a:gd name="T99" fmla="*/ 168 h 222"/>
              <a:gd name="T100" fmla="*/ 174 w 234"/>
              <a:gd name="T101" fmla="*/ 162 h 222"/>
              <a:gd name="T102" fmla="*/ 174 w 234"/>
              <a:gd name="T103" fmla="*/ 156 h 222"/>
              <a:gd name="T104" fmla="*/ 84 w 234"/>
              <a:gd name="T105" fmla="*/ 168 h 222"/>
              <a:gd name="T106" fmla="*/ 84 w 234"/>
              <a:gd name="T107" fmla="*/ 192 h 222"/>
              <a:gd name="T108" fmla="*/ 78 w 234"/>
              <a:gd name="T109" fmla="*/ 192 h 222"/>
              <a:gd name="T110" fmla="*/ 72 w 234"/>
              <a:gd name="T111" fmla="*/ 204 h 222"/>
              <a:gd name="T112" fmla="*/ 72 w 234"/>
              <a:gd name="T113" fmla="*/ 210 h 222"/>
              <a:gd name="T114" fmla="*/ 60 w 234"/>
              <a:gd name="T115" fmla="*/ 216 h 222"/>
              <a:gd name="T116" fmla="*/ 54 w 234"/>
              <a:gd name="T117" fmla="*/ 216 h 222"/>
              <a:gd name="T118" fmla="*/ 48 w 234"/>
              <a:gd name="T119" fmla="*/ 222 h 222"/>
              <a:gd name="T120" fmla="*/ 42 w 234"/>
              <a:gd name="T121" fmla="*/ 222 h 222"/>
              <a:gd name="T122" fmla="*/ 36 w 234"/>
              <a:gd name="T123" fmla="*/ 216 h 222"/>
              <a:gd name="T124" fmla="*/ 24 w 234"/>
              <a:gd name="T12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34" h="222">
                <a:moveTo>
                  <a:pt x="0" y="204"/>
                </a:moveTo>
                <a:lnTo>
                  <a:pt x="6" y="192"/>
                </a:lnTo>
                <a:lnTo>
                  <a:pt x="6" y="186"/>
                </a:lnTo>
                <a:lnTo>
                  <a:pt x="12" y="180"/>
                </a:lnTo>
                <a:lnTo>
                  <a:pt x="18" y="168"/>
                </a:lnTo>
                <a:lnTo>
                  <a:pt x="18" y="168"/>
                </a:lnTo>
                <a:lnTo>
                  <a:pt x="18" y="168"/>
                </a:lnTo>
                <a:lnTo>
                  <a:pt x="18" y="168"/>
                </a:lnTo>
                <a:lnTo>
                  <a:pt x="18" y="168"/>
                </a:lnTo>
                <a:lnTo>
                  <a:pt x="18" y="168"/>
                </a:lnTo>
                <a:lnTo>
                  <a:pt x="24" y="168"/>
                </a:lnTo>
                <a:lnTo>
                  <a:pt x="24" y="168"/>
                </a:lnTo>
                <a:lnTo>
                  <a:pt x="30" y="168"/>
                </a:lnTo>
                <a:lnTo>
                  <a:pt x="30" y="168"/>
                </a:lnTo>
                <a:lnTo>
                  <a:pt x="24" y="162"/>
                </a:lnTo>
                <a:lnTo>
                  <a:pt x="24" y="162"/>
                </a:lnTo>
                <a:lnTo>
                  <a:pt x="24" y="162"/>
                </a:lnTo>
                <a:lnTo>
                  <a:pt x="30" y="156"/>
                </a:lnTo>
                <a:lnTo>
                  <a:pt x="30" y="156"/>
                </a:lnTo>
                <a:lnTo>
                  <a:pt x="30" y="156"/>
                </a:lnTo>
                <a:lnTo>
                  <a:pt x="30" y="156"/>
                </a:lnTo>
                <a:lnTo>
                  <a:pt x="30" y="156"/>
                </a:lnTo>
                <a:lnTo>
                  <a:pt x="30" y="156"/>
                </a:lnTo>
                <a:lnTo>
                  <a:pt x="36" y="156"/>
                </a:lnTo>
                <a:lnTo>
                  <a:pt x="36" y="156"/>
                </a:lnTo>
                <a:lnTo>
                  <a:pt x="36" y="150"/>
                </a:lnTo>
                <a:lnTo>
                  <a:pt x="36" y="150"/>
                </a:lnTo>
                <a:lnTo>
                  <a:pt x="36" y="150"/>
                </a:lnTo>
                <a:lnTo>
                  <a:pt x="36" y="150"/>
                </a:lnTo>
                <a:lnTo>
                  <a:pt x="30" y="150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38"/>
                </a:lnTo>
                <a:lnTo>
                  <a:pt x="30" y="138"/>
                </a:lnTo>
                <a:lnTo>
                  <a:pt x="30" y="138"/>
                </a:lnTo>
                <a:lnTo>
                  <a:pt x="30" y="138"/>
                </a:lnTo>
                <a:lnTo>
                  <a:pt x="30" y="138"/>
                </a:lnTo>
                <a:lnTo>
                  <a:pt x="30" y="138"/>
                </a:lnTo>
                <a:lnTo>
                  <a:pt x="30" y="138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0"/>
                </a:lnTo>
                <a:lnTo>
                  <a:pt x="24" y="120"/>
                </a:lnTo>
                <a:lnTo>
                  <a:pt x="24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14"/>
                </a:lnTo>
                <a:lnTo>
                  <a:pt x="30" y="114"/>
                </a:lnTo>
                <a:lnTo>
                  <a:pt x="30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42" y="102"/>
                </a:lnTo>
                <a:lnTo>
                  <a:pt x="36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2" y="102"/>
                </a:lnTo>
                <a:lnTo>
                  <a:pt x="42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2"/>
                </a:lnTo>
                <a:lnTo>
                  <a:pt x="54" y="72"/>
                </a:lnTo>
                <a:lnTo>
                  <a:pt x="48" y="72"/>
                </a:lnTo>
                <a:lnTo>
                  <a:pt x="48" y="72"/>
                </a:lnTo>
                <a:lnTo>
                  <a:pt x="48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54" y="60"/>
                </a:lnTo>
                <a:lnTo>
                  <a:pt x="48" y="60"/>
                </a:lnTo>
                <a:lnTo>
                  <a:pt x="54" y="60"/>
                </a:lnTo>
                <a:lnTo>
                  <a:pt x="54" y="60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6" y="48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6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6" y="30"/>
                </a:lnTo>
                <a:lnTo>
                  <a:pt x="66" y="24"/>
                </a:lnTo>
                <a:lnTo>
                  <a:pt x="66" y="24"/>
                </a:lnTo>
                <a:lnTo>
                  <a:pt x="60" y="24"/>
                </a:lnTo>
                <a:lnTo>
                  <a:pt x="66" y="24"/>
                </a:lnTo>
                <a:lnTo>
                  <a:pt x="66" y="24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78" y="6"/>
                </a:lnTo>
                <a:lnTo>
                  <a:pt x="78" y="0"/>
                </a:lnTo>
                <a:lnTo>
                  <a:pt x="84" y="6"/>
                </a:lnTo>
                <a:lnTo>
                  <a:pt x="90" y="0"/>
                </a:lnTo>
                <a:lnTo>
                  <a:pt x="90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8" y="6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20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8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6" y="24"/>
                </a:lnTo>
                <a:lnTo>
                  <a:pt x="162" y="30"/>
                </a:lnTo>
                <a:lnTo>
                  <a:pt x="162" y="30"/>
                </a:lnTo>
                <a:lnTo>
                  <a:pt x="162" y="24"/>
                </a:lnTo>
                <a:lnTo>
                  <a:pt x="168" y="30"/>
                </a:lnTo>
                <a:lnTo>
                  <a:pt x="168" y="30"/>
                </a:lnTo>
                <a:lnTo>
                  <a:pt x="168" y="30"/>
                </a:lnTo>
                <a:lnTo>
                  <a:pt x="168" y="30"/>
                </a:lnTo>
                <a:lnTo>
                  <a:pt x="162" y="30"/>
                </a:lnTo>
                <a:lnTo>
                  <a:pt x="162" y="30"/>
                </a:lnTo>
                <a:lnTo>
                  <a:pt x="168" y="36"/>
                </a:lnTo>
                <a:lnTo>
                  <a:pt x="168" y="36"/>
                </a:lnTo>
                <a:lnTo>
                  <a:pt x="162" y="36"/>
                </a:lnTo>
                <a:lnTo>
                  <a:pt x="168" y="36"/>
                </a:lnTo>
                <a:lnTo>
                  <a:pt x="168" y="36"/>
                </a:lnTo>
                <a:lnTo>
                  <a:pt x="168" y="42"/>
                </a:lnTo>
                <a:lnTo>
                  <a:pt x="168" y="42"/>
                </a:lnTo>
                <a:lnTo>
                  <a:pt x="168" y="36"/>
                </a:lnTo>
                <a:lnTo>
                  <a:pt x="168" y="36"/>
                </a:lnTo>
                <a:lnTo>
                  <a:pt x="168" y="42"/>
                </a:lnTo>
                <a:lnTo>
                  <a:pt x="168" y="42"/>
                </a:lnTo>
                <a:lnTo>
                  <a:pt x="168" y="42"/>
                </a:lnTo>
                <a:lnTo>
                  <a:pt x="168" y="48"/>
                </a:lnTo>
                <a:lnTo>
                  <a:pt x="168" y="48"/>
                </a:lnTo>
                <a:lnTo>
                  <a:pt x="168" y="48"/>
                </a:lnTo>
                <a:lnTo>
                  <a:pt x="168" y="48"/>
                </a:lnTo>
                <a:lnTo>
                  <a:pt x="168" y="48"/>
                </a:lnTo>
                <a:lnTo>
                  <a:pt x="168" y="48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74" y="54"/>
                </a:lnTo>
                <a:lnTo>
                  <a:pt x="174" y="54"/>
                </a:lnTo>
                <a:lnTo>
                  <a:pt x="174" y="54"/>
                </a:lnTo>
                <a:lnTo>
                  <a:pt x="174" y="54"/>
                </a:lnTo>
                <a:lnTo>
                  <a:pt x="174" y="54"/>
                </a:lnTo>
                <a:lnTo>
                  <a:pt x="174" y="54"/>
                </a:lnTo>
                <a:lnTo>
                  <a:pt x="174" y="54"/>
                </a:lnTo>
                <a:lnTo>
                  <a:pt x="180" y="54"/>
                </a:lnTo>
                <a:lnTo>
                  <a:pt x="180" y="54"/>
                </a:lnTo>
                <a:lnTo>
                  <a:pt x="180" y="54"/>
                </a:lnTo>
                <a:lnTo>
                  <a:pt x="180" y="54"/>
                </a:lnTo>
                <a:lnTo>
                  <a:pt x="180" y="54"/>
                </a:lnTo>
                <a:lnTo>
                  <a:pt x="180" y="54"/>
                </a:lnTo>
                <a:lnTo>
                  <a:pt x="180" y="54"/>
                </a:lnTo>
                <a:lnTo>
                  <a:pt x="180" y="60"/>
                </a:lnTo>
                <a:lnTo>
                  <a:pt x="180" y="60"/>
                </a:lnTo>
                <a:lnTo>
                  <a:pt x="180" y="60"/>
                </a:lnTo>
                <a:lnTo>
                  <a:pt x="180" y="54"/>
                </a:lnTo>
                <a:lnTo>
                  <a:pt x="180" y="54"/>
                </a:lnTo>
                <a:lnTo>
                  <a:pt x="180" y="54"/>
                </a:lnTo>
                <a:lnTo>
                  <a:pt x="186" y="54"/>
                </a:lnTo>
                <a:lnTo>
                  <a:pt x="186" y="54"/>
                </a:lnTo>
                <a:lnTo>
                  <a:pt x="186" y="54"/>
                </a:lnTo>
                <a:lnTo>
                  <a:pt x="186" y="54"/>
                </a:lnTo>
                <a:lnTo>
                  <a:pt x="186" y="60"/>
                </a:lnTo>
                <a:lnTo>
                  <a:pt x="186" y="60"/>
                </a:lnTo>
                <a:lnTo>
                  <a:pt x="192" y="60"/>
                </a:lnTo>
                <a:lnTo>
                  <a:pt x="192" y="60"/>
                </a:lnTo>
                <a:lnTo>
                  <a:pt x="192" y="60"/>
                </a:lnTo>
                <a:lnTo>
                  <a:pt x="192" y="60"/>
                </a:lnTo>
                <a:lnTo>
                  <a:pt x="192" y="60"/>
                </a:lnTo>
                <a:lnTo>
                  <a:pt x="192" y="60"/>
                </a:lnTo>
                <a:lnTo>
                  <a:pt x="198" y="72"/>
                </a:lnTo>
                <a:lnTo>
                  <a:pt x="198" y="72"/>
                </a:lnTo>
                <a:lnTo>
                  <a:pt x="204" y="72"/>
                </a:lnTo>
                <a:lnTo>
                  <a:pt x="204" y="72"/>
                </a:lnTo>
                <a:lnTo>
                  <a:pt x="204" y="72"/>
                </a:lnTo>
                <a:lnTo>
                  <a:pt x="204" y="72"/>
                </a:lnTo>
                <a:lnTo>
                  <a:pt x="204" y="72"/>
                </a:lnTo>
                <a:lnTo>
                  <a:pt x="210" y="72"/>
                </a:lnTo>
                <a:lnTo>
                  <a:pt x="210" y="72"/>
                </a:lnTo>
                <a:lnTo>
                  <a:pt x="210" y="72"/>
                </a:lnTo>
                <a:lnTo>
                  <a:pt x="210" y="72"/>
                </a:lnTo>
                <a:lnTo>
                  <a:pt x="210" y="72"/>
                </a:lnTo>
                <a:lnTo>
                  <a:pt x="210" y="72"/>
                </a:lnTo>
                <a:lnTo>
                  <a:pt x="216" y="72"/>
                </a:lnTo>
                <a:lnTo>
                  <a:pt x="216" y="72"/>
                </a:lnTo>
                <a:lnTo>
                  <a:pt x="216" y="72"/>
                </a:lnTo>
                <a:lnTo>
                  <a:pt x="216" y="72"/>
                </a:lnTo>
                <a:lnTo>
                  <a:pt x="216" y="72"/>
                </a:lnTo>
                <a:lnTo>
                  <a:pt x="216" y="72"/>
                </a:lnTo>
                <a:lnTo>
                  <a:pt x="216" y="72"/>
                </a:lnTo>
                <a:lnTo>
                  <a:pt x="216" y="72"/>
                </a:lnTo>
                <a:lnTo>
                  <a:pt x="216" y="72"/>
                </a:lnTo>
                <a:lnTo>
                  <a:pt x="222" y="72"/>
                </a:lnTo>
                <a:lnTo>
                  <a:pt x="222" y="66"/>
                </a:lnTo>
                <a:lnTo>
                  <a:pt x="222" y="66"/>
                </a:lnTo>
                <a:lnTo>
                  <a:pt x="222" y="72"/>
                </a:lnTo>
                <a:lnTo>
                  <a:pt x="228" y="66"/>
                </a:lnTo>
                <a:lnTo>
                  <a:pt x="228" y="72"/>
                </a:lnTo>
                <a:lnTo>
                  <a:pt x="228" y="72"/>
                </a:lnTo>
                <a:lnTo>
                  <a:pt x="228" y="72"/>
                </a:lnTo>
                <a:lnTo>
                  <a:pt x="228" y="72"/>
                </a:lnTo>
                <a:lnTo>
                  <a:pt x="228" y="72"/>
                </a:lnTo>
                <a:lnTo>
                  <a:pt x="228" y="72"/>
                </a:lnTo>
                <a:lnTo>
                  <a:pt x="228" y="72"/>
                </a:lnTo>
                <a:lnTo>
                  <a:pt x="234" y="72"/>
                </a:lnTo>
                <a:lnTo>
                  <a:pt x="234" y="72"/>
                </a:lnTo>
                <a:lnTo>
                  <a:pt x="234" y="72"/>
                </a:lnTo>
                <a:lnTo>
                  <a:pt x="228" y="72"/>
                </a:lnTo>
                <a:lnTo>
                  <a:pt x="234" y="78"/>
                </a:lnTo>
                <a:lnTo>
                  <a:pt x="228" y="78"/>
                </a:lnTo>
                <a:lnTo>
                  <a:pt x="228" y="78"/>
                </a:lnTo>
                <a:lnTo>
                  <a:pt x="228" y="78"/>
                </a:lnTo>
                <a:lnTo>
                  <a:pt x="234" y="78"/>
                </a:lnTo>
                <a:lnTo>
                  <a:pt x="234" y="78"/>
                </a:lnTo>
                <a:lnTo>
                  <a:pt x="228" y="84"/>
                </a:lnTo>
                <a:lnTo>
                  <a:pt x="228" y="84"/>
                </a:lnTo>
                <a:lnTo>
                  <a:pt x="228" y="84"/>
                </a:lnTo>
                <a:lnTo>
                  <a:pt x="228" y="84"/>
                </a:lnTo>
                <a:lnTo>
                  <a:pt x="228" y="84"/>
                </a:lnTo>
                <a:lnTo>
                  <a:pt x="228" y="90"/>
                </a:lnTo>
                <a:lnTo>
                  <a:pt x="228" y="90"/>
                </a:lnTo>
                <a:lnTo>
                  <a:pt x="228" y="90"/>
                </a:lnTo>
                <a:lnTo>
                  <a:pt x="228" y="96"/>
                </a:lnTo>
                <a:lnTo>
                  <a:pt x="228" y="96"/>
                </a:lnTo>
                <a:lnTo>
                  <a:pt x="228" y="96"/>
                </a:lnTo>
                <a:lnTo>
                  <a:pt x="228" y="96"/>
                </a:lnTo>
                <a:lnTo>
                  <a:pt x="228" y="96"/>
                </a:lnTo>
                <a:lnTo>
                  <a:pt x="228" y="102"/>
                </a:lnTo>
                <a:lnTo>
                  <a:pt x="228" y="102"/>
                </a:lnTo>
                <a:lnTo>
                  <a:pt x="228" y="102"/>
                </a:lnTo>
                <a:lnTo>
                  <a:pt x="228" y="102"/>
                </a:lnTo>
                <a:lnTo>
                  <a:pt x="228" y="102"/>
                </a:lnTo>
                <a:lnTo>
                  <a:pt x="228" y="108"/>
                </a:lnTo>
                <a:lnTo>
                  <a:pt x="228" y="108"/>
                </a:lnTo>
                <a:lnTo>
                  <a:pt x="228" y="108"/>
                </a:lnTo>
                <a:lnTo>
                  <a:pt x="228" y="108"/>
                </a:lnTo>
                <a:lnTo>
                  <a:pt x="228" y="108"/>
                </a:lnTo>
                <a:lnTo>
                  <a:pt x="228" y="108"/>
                </a:lnTo>
                <a:lnTo>
                  <a:pt x="228" y="114"/>
                </a:lnTo>
                <a:lnTo>
                  <a:pt x="228" y="114"/>
                </a:lnTo>
                <a:lnTo>
                  <a:pt x="222" y="114"/>
                </a:lnTo>
                <a:lnTo>
                  <a:pt x="228" y="114"/>
                </a:lnTo>
                <a:lnTo>
                  <a:pt x="228" y="120"/>
                </a:lnTo>
                <a:lnTo>
                  <a:pt x="228" y="120"/>
                </a:lnTo>
                <a:lnTo>
                  <a:pt x="228" y="120"/>
                </a:lnTo>
                <a:lnTo>
                  <a:pt x="228" y="120"/>
                </a:lnTo>
                <a:lnTo>
                  <a:pt x="222" y="120"/>
                </a:lnTo>
                <a:lnTo>
                  <a:pt x="222" y="120"/>
                </a:lnTo>
                <a:lnTo>
                  <a:pt x="222" y="120"/>
                </a:lnTo>
                <a:lnTo>
                  <a:pt x="222" y="120"/>
                </a:lnTo>
                <a:lnTo>
                  <a:pt x="222" y="120"/>
                </a:lnTo>
                <a:lnTo>
                  <a:pt x="222" y="120"/>
                </a:lnTo>
                <a:lnTo>
                  <a:pt x="216" y="120"/>
                </a:lnTo>
                <a:lnTo>
                  <a:pt x="216" y="120"/>
                </a:lnTo>
                <a:lnTo>
                  <a:pt x="216" y="120"/>
                </a:lnTo>
                <a:lnTo>
                  <a:pt x="216" y="126"/>
                </a:lnTo>
                <a:lnTo>
                  <a:pt x="216" y="126"/>
                </a:lnTo>
                <a:lnTo>
                  <a:pt x="216" y="126"/>
                </a:lnTo>
                <a:lnTo>
                  <a:pt x="210" y="126"/>
                </a:lnTo>
                <a:lnTo>
                  <a:pt x="210" y="126"/>
                </a:lnTo>
                <a:lnTo>
                  <a:pt x="210" y="126"/>
                </a:lnTo>
                <a:lnTo>
                  <a:pt x="210" y="126"/>
                </a:lnTo>
                <a:lnTo>
                  <a:pt x="210" y="126"/>
                </a:lnTo>
                <a:lnTo>
                  <a:pt x="210" y="132"/>
                </a:lnTo>
                <a:lnTo>
                  <a:pt x="210" y="132"/>
                </a:lnTo>
                <a:lnTo>
                  <a:pt x="204" y="132"/>
                </a:lnTo>
                <a:lnTo>
                  <a:pt x="204" y="126"/>
                </a:lnTo>
                <a:lnTo>
                  <a:pt x="204" y="126"/>
                </a:lnTo>
                <a:lnTo>
                  <a:pt x="204" y="132"/>
                </a:lnTo>
                <a:lnTo>
                  <a:pt x="204" y="132"/>
                </a:lnTo>
                <a:lnTo>
                  <a:pt x="204" y="132"/>
                </a:lnTo>
                <a:lnTo>
                  <a:pt x="204" y="132"/>
                </a:lnTo>
                <a:lnTo>
                  <a:pt x="198" y="138"/>
                </a:lnTo>
                <a:lnTo>
                  <a:pt x="204" y="138"/>
                </a:lnTo>
                <a:lnTo>
                  <a:pt x="198" y="138"/>
                </a:lnTo>
                <a:lnTo>
                  <a:pt x="198" y="138"/>
                </a:lnTo>
                <a:lnTo>
                  <a:pt x="198" y="150"/>
                </a:lnTo>
                <a:lnTo>
                  <a:pt x="198" y="150"/>
                </a:lnTo>
                <a:lnTo>
                  <a:pt x="198" y="144"/>
                </a:lnTo>
                <a:lnTo>
                  <a:pt x="192" y="144"/>
                </a:lnTo>
                <a:lnTo>
                  <a:pt x="192" y="150"/>
                </a:lnTo>
                <a:lnTo>
                  <a:pt x="192" y="150"/>
                </a:lnTo>
                <a:lnTo>
                  <a:pt x="186" y="150"/>
                </a:lnTo>
                <a:lnTo>
                  <a:pt x="186" y="144"/>
                </a:lnTo>
                <a:lnTo>
                  <a:pt x="186" y="150"/>
                </a:lnTo>
                <a:lnTo>
                  <a:pt x="186" y="156"/>
                </a:lnTo>
                <a:lnTo>
                  <a:pt x="186" y="156"/>
                </a:lnTo>
                <a:lnTo>
                  <a:pt x="180" y="156"/>
                </a:lnTo>
                <a:lnTo>
                  <a:pt x="180" y="156"/>
                </a:lnTo>
                <a:lnTo>
                  <a:pt x="180" y="156"/>
                </a:lnTo>
                <a:lnTo>
                  <a:pt x="180" y="156"/>
                </a:lnTo>
                <a:lnTo>
                  <a:pt x="180" y="156"/>
                </a:lnTo>
                <a:lnTo>
                  <a:pt x="180" y="156"/>
                </a:lnTo>
                <a:lnTo>
                  <a:pt x="174" y="156"/>
                </a:lnTo>
                <a:lnTo>
                  <a:pt x="174" y="156"/>
                </a:lnTo>
                <a:lnTo>
                  <a:pt x="174" y="156"/>
                </a:lnTo>
                <a:lnTo>
                  <a:pt x="174" y="156"/>
                </a:lnTo>
                <a:lnTo>
                  <a:pt x="180" y="162"/>
                </a:lnTo>
                <a:lnTo>
                  <a:pt x="180" y="162"/>
                </a:lnTo>
                <a:lnTo>
                  <a:pt x="180" y="162"/>
                </a:lnTo>
                <a:lnTo>
                  <a:pt x="180" y="162"/>
                </a:lnTo>
                <a:lnTo>
                  <a:pt x="180" y="162"/>
                </a:lnTo>
                <a:lnTo>
                  <a:pt x="180" y="168"/>
                </a:lnTo>
                <a:lnTo>
                  <a:pt x="180" y="168"/>
                </a:lnTo>
                <a:lnTo>
                  <a:pt x="180" y="168"/>
                </a:lnTo>
                <a:lnTo>
                  <a:pt x="180" y="168"/>
                </a:lnTo>
                <a:lnTo>
                  <a:pt x="180" y="168"/>
                </a:lnTo>
                <a:lnTo>
                  <a:pt x="180" y="168"/>
                </a:lnTo>
                <a:lnTo>
                  <a:pt x="180" y="168"/>
                </a:lnTo>
                <a:lnTo>
                  <a:pt x="174" y="168"/>
                </a:lnTo>
                <a:lnTo>
                  <a:pt x="174" y="168"/>
                </a:lnTo>
                <a:lnTo>
                  <a:pt x="174" y="168"/>
                </a:lnTo>
                <a:lnTo>
                  <a:pt x="174" y="162"/>
                </a:lnTo>
                <a:lnTo>
                  <a:pt x="174" y="162"/>
                </a:lnTo>
                <a:lnTo>
                  <a:pt x="174" y="162"/>
                </a:lnTo>
                <a:lnTo>
                  <a:pt x="174" y="162"/>
                </a:lnTo>
                <a:lnTo>
                  <a:pt x="174" y="162"/>
                </a:lnTo>
                <a:lnTo>
                  <a:pt x="174" y="162"/>
                </a:lnTo>
                <a:lnTo>
                  <a:pt x="174" y="156"/>
                </a:lnTo>
                <a:lnTo>
                  <a:pt x="174" y="156"/>
                </a:lnTo>
                <a:lnTo>
                  <a:pt x="174" y="156"/>
                </a:lnTo>
                <a:lnTo>
                  <a:pt x="174" y="156"/>
                </a:lnTo>
                <a:lnTo>
                  <a:pt x="174" y="156"/>
                </a:lnTo>
                <a:lnTo>
                  <a:pt x="150" y="168"/>
                </a:lnTo>
                <a:lnTo>
                  <a:pt x="132" y="162"/>
                </a:lnTo>
                <a:lnTo>
                  <a:pt x="132" y="162"/>
                </a:lnTo>
                <a:lnTo>
                  <a:pt x="120" y="162"/>
                </a:lnTo>
                <a:lnTo>
                  <a:pt x="102" y="162"/>
                </a:lnTo>
                <a:lnTo>
                  <a:pt x="102" y="162"/>
                </a:lnTo>
                <a:lnTo>
                  <a:pt x="84" y="162"/>
                </a:lnTo>
                <a:lnTo>
                  <a:pt x="84" y="168"/>
                </a:lnTo>
                <a:lnTo>
                  <a:pt x="84" y="180"/>
                </a:lnTo>
                <a:lnTo>
                  <a:pt x="84" y="186"/>
                </a:lnTo>
                <a:lnTo>
                  <a:pt x="84" y="192"/>
                </a:lnTo>
                <a:lnTo>
                  <a:pt x="90" y="192"/>
                </a:lnTo>
                <a:lnTo>
                  <a:pt x="84" y="192"/>
                </a:lnTo>
                <a:lnTo>
                  <a:pt x="90" y="192"/>
                </a:lnTo>
                <a:lnTo>
                  <a:pt x="84" y="192"/>
                </a:lnTo>
                <a:lnTo>
                  <a:pt x="84" y="192"/>
                </a:lnTo>
                <a:lnTo>
                  <a:pt x="84" y="192"/>
                </a:lnTo>
                <a:lnTo>
                  <a:pt x="84" y="192"/>
                </a:lnTo>
                <a:lnTo>
                  <a:pt x="84" y="192"/>
                </a:lnTo>
                <a:lnTo>
                  <a:pt x="84" y="192"/>
                </a:lnTo>
                <a:lnTo>
                  <a:pt x="84" y="192"/>
                </a:lnTo>
                <a:lnTo>
                  <a:pt x="84" y="192"/>
                </a:lnTo>
                <a:lnTo>
                  <a:pt x="78" y="192"/>
                </a:lnTo>
                <a:lnTo>
                  <a:pt x="78" y="192"/>
                </a:lnTo>
                <a:lnTo>
                  <a:pt x="78" y="192"/>
                </a:lnTo>
                <a:lnTo>
                  <a:pt x="78" y="192"/>
                </a:lnTo>
                <a:lnTo>
                  <a:pt x="78" y="192"/>
                </a:lnTo>
                <a:lnTo>
                  <a:pt x="78" y="192"/>
                </a:lnTo>
                <a:lnTo>
                  <a:pt x="72" y="198"/>
                </a:lnTo>
                <a:lnTo>
                  <a:pt x="72" y="198"/>
                </a:lnTo>
                <a:lnTo>
                  <a:pt x="72" y="198"/>
                </a:lnTo>
                <a:lnTo>
                  <a:pt x="72" y="198"/>
                </a:lnTo>
                <a:lnTo>
                  <a:pt x="72" y="198"/>
                </a:lnTo>
                <a:lnTo>
                  <a:pt x="72" y="204"/>
                </a:lnTo>
                <a:lnTo>
                  <a:pt x="72" y="204"/>
                </a:lnTo>
                <a:lnTo>
                  <a:pt x="72" y="204"/>
                </a:lnTo>
                <a:lnTo>
                  <a:pt x="72" y="204"/>
                </a:lnTo>
                <a:lnTo>
                  <a:pt x="72" y="204"/>
                </a:lnTo>
                <a:lnTo>
                  <a:pt x="72" y="204"/>
                </a:lnTo>
                <a:lnTo>
                  <a:pt x="72" y="210"/>
                </a:lnTo>
                <a:lnTo>
                  <a:pt x="72" y="210"/>
                </a:lnTo>
                <a:lnTo>
                  <a:pt x="72" y="210"/>
                </a:lnTo>
                <a:lnTo>
                  <a:pt x="72" y="210"/>
                </a:lnTo>
                <a:lnTo>
                  <a:pt x="72" y="210"/>
                </a:lnTo>
                <a:lnTo>
                  <a:pt x="72" y="210"/>
                </a:lnTo>
                <a:lnTo>
                  <a:pt x="66" y="216"/>
                </a:lnTo>
                <a:lnTo>
                  <a:pt x="66" y="216"/>
                </a:lnTo>
                <a:lnTo>
                  <a:pt x="66" y="216"/>
                </a:lnTo>
                <a:lnTo>
                  <a:pt x="66" y="216"/>
                </a:lnTo>
                <a:lnTo>
                  <a:pt x="66" y="216"/>
                </a:lnTo>
                <a:lnTo>
                  <a:pt x="66" y="216"/>
                </a:lnTo>
                <a:lnTo>
                  <a:pt x="60" y="216"/>
                </a:lnTo>
                <a:lnTo>
                  <a:pt x="60" y="216"/>
                </a:lnTo>
                <a:lnTo>
                  <a:pt x="60" y="216"/>
                </a:lnTo>
                <a:lnTo>
                  <a:pt x="60" y="216"/>
                </a:lnTo>
                <a:lnTo>
                  <a:pt x="60" y="216"/>
                </a:lnTo>
                <a:lnTo>
                  <a:pt x="54" y="216"/>
                </a:lnTo>
                <a:lnTo>
                  <a:pt x="54" y="216"/>
                </a:lnTo>
                <a:lnTo>
                  <a:pt x="54" y="222"/>
                </a:lnTo>
                <a:lnTo>
                  <a:pt x="54" y="222"/>
                </a:lnTo>
                <a:lnTo>
                  <a:pt x="54" y="216"/>
                </a:lnTo>
                <a:lnTo>
                  <a:pt x="54" y="216"/>
                </a:lnTo>
                <a:lnTo>
                  <a:pt x="54" y="222"/>
                </a:lnTo>
                <a:lnTo>
                  <a:pt x="54" y="222"/>
                </a:lnTo>
                <a:lnTo>
                  <a:pt x="48" y="222"/>
                </a:lnTo>
                <a:lnTo>
                  <a:pt x="48" y="222"/>
                </a:lnTo>
                <a:lnTo>
                  <a:pt x="48" y="222"/>
                </a:lnTo>
                <a:lnTo>
                  <a:pt x="48" y="222"/>
                </a:lnTo>
                <a:lnTo>
                  <a:pt x="48" y="222"/>
                </a:lnTo>
                <a:lnTo>
                  <a:pt x="48" y="222"/>
                </a:lnTo>
                <a:lnTo>
                  <a:pt x="48" y="222"/>
                </a:lnTo>
                <a:lnTo>
                  <a:pt x="48" y="222"/>
                </a:lnTo>
                <a:lnTo>
                  <a:pt x="48" y="222"/>
                </a:lnTo>
                <a:lnTo>
                  <a:pt x="42" y="222"/>
                </a:lnTo>
                <a:lnTo>
                  <a:pt x="42" y="222"/>
                </a:lnTo>
                <a:lnTo>
                  <a:pt x="42" y="222"/>
                </a:lnTo>
                <a:lnTo>
                  <a:pt x="42" y="222"/>
                </a:lnTo>
                <a:lnTo>
                  <a:pt x="42" y="222"/>
                </a:lnTo>
                <a:lnTo>
                  <a:pt x="42" y="222"/>
                </a:lnTo>
                <a:lnTo>
                  <a:pt x="42" y="222"/>
                </a:lnTo>
                <a:lnTo>
                  <a:pt x="42" y="222"/>
                </a:lnTo>
                <a:lnTo>
                  <a:pt x="42" y="222"/>
                </a:lnTo>
                <a:lnTo>
                  <a:pt x="36" y="222"/>
                </a:lnTo>
                <a:lnTo>
                  <a:pt x="36" y="222"/>
                </a:lnTo>
                <a:lnTo>
                  <a:pt x="36" y="222"/>
                </a:lnTo>
                <a:lnTo>
                  <a:pt x="36" y="216"/>
                </a:lnTo>
                <a:lnTo>
                  <a:pt x="36" y="216"/>
                </a:lnTo>
                <a:lnTo>
                  <a:pt x="36" y="216"/>
                </a:lnTo>
                <a:lnTo>
                  <a:pt x="36" y="216"/>
                </a:lnTo>
                <a:lnTo>
                  <a:pt x="36" y="216"/>
                </a:lnTo>
                <a:lnTo>
                  <a:pt x="36" y="222"/>
                </a:lnTo>
                <a:lnTo>
                  <a:pt x="30" y="222"/>
                </a:lnTo>
                <a:lnTo>
                  <a:pt x="30" y="222"/>
                </a:lnTo>
                <a:lnTo>
                  <a:pt x="30" y="222"/>
                </a:lnTo>
                <a:lnTo>
                  <a:pt x="30" y="222"/>
                </a:lnTo>
                <a:lnTo>
                  <a:pt x="30" y="222"/>
                </a:lnTo>
                <a:lnTo>
                  <a:pt x="30" y="222"/>
                </a:lnTo>
                <a:lnTo>
                  <a:pt x="24" y="222"/>
                </a:lnTo>
                <a:lnTo>
                  <a:pt x="24" y="222"/>
                </a:lnTo>
                <a:lnTo>
                  <a:pt x="24" y="222"/>
                </a:lnTo>
                <a:lnTo>
                  <a:pt x="18" y="216"/>
                </a:lnTo>
                <a:lnTo>
                  <a:pt x="18" y="216"/>
                </a:lnTo>
                <a:lnTo>
                  <a:pt x="18" y="216"/>
                </a:lnTo>
                <a:lnTo>
                  <a:pt x="12" y="216"/>
                </a:lnTo>
                <a:lnTo>
                  <a:pt x="0" y="20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95" name="Freeform 228"/>
          <p:cNvSpPr>
            <a:spLocks/>
          </p:cNvSpPr>
          <p:nvPr/>
        </p:nvSpPr>
        <p:spPr bwMode="auto">
          <a:xfrm>
            <a:off x="7898974" y="2471163"/>
            <a:ext cx="256962" cy="160602"/>
          </a:xfrm>
          <a:custGeom>
            <a:avLst/>
            <a:gdLst>
              <a:gd name="T0" fmla="*/ 0 w 240"/>
              <a:gd name="T1" fmla="*/ 120 h 150"/>
              <a:gd name="T2" fmla="*/ 0 w 240"/>
              <a:gd name="T3" fmla="*/ 114 h 150"/>
              <a:gd name="T4" fmla="*/ 0 w 240"/>
              <a:gd name="T5" fmla="*/ 108 h 150"/>
              <a:gd name="T6" fmla="*/ 12 w 240"/>
              <a:gd name="T7" fmla="*/ 96 h 150"/>
              <a:gd name="T8" fmla="*/ 6 w 240"/>
              <a:gd name="T9" fmla="*/ 90 h 150"/>
              <a:gd name="T10" fmla="*/ 6 w 240"/>
              <a:gd name="T11" fmla="*/ 84 h 150"/>
              <a:gd name="T12" fmla="*/ 12 w 240"/>
              <a:gd name="T13" fmla="*/ 78 h 150"/>
              <a:gd name="T14" fmla="*/ 18 w 240"/>
              <a:gd name="T15" fmla="*/ 72 h 150"/>
              <a:gd name="T16" fmla="*/ 24 w 240"/>
              <a:gd name="T17" fmla="*/ 72 h 150"/>
              <a:gd name="T18" fmla="*/ 30 w 240"/>
              <a:gd name="T19" fmla="*/ 66 h 150"/>
              <a:gd name="T20" fmla="*/ 42 w 240"/>
              <a:gd name="T21" fmla="*/ 54 h 150"/>
              <a:gd name="T22" fmla="*/ 42 w 240"/>
              <a:gd name="T23" fmla="*/ 54 h 150"/>
              <a:gd name="T24" fmla="*/ 42 w 240"/>
              <a:gd name="T25" fmla="*/ 48 h 150"/>
              <a:gd name="T26" fmla="*/ 48 w 240"/>
              <a:gd name="T27" fmla="*/ 42 h 150"/>
              <a:gd name="T28" fmla="*/ 54 w 240"/>
              <a:gd name="T29" fmla="*/ 30 h 150"/>
              <a:gd name="T30" fmla="*/ 60 w 240"/>
              <a:gd name="T31" fmla="*/ 24 h 150"/>
              <a:gd name="T32" fmla="*/ 54 w 240"/>
              <a:gd name="T33" fmla="*/ 18 h 150"/>
              <a:gd name="T34" fmla="*/ 90 w 240"/>
              <a:gd name="T35" fmla="*/ 6 h 150"/>
              <a:gd name="T36" fmla="*/ 150 w 240"/>
              <a:gd name="T37" fmla="*/ 12 h 150"/>
              <a:gd name="T38" fmla="*/ 222 w 240"/>
              <a:gd name="T39" fmla="*/ 18 h 150"/>
              <a:gd name="T40" fmla="*/ 222 w 240"/>
              <a:gd name="T41" fmla="*/ 18 h 150"/>
              <a:gd name="T42" fmla="*/ 222 w 240"/>
              <a:gd name="T43" fmla="*/ 42 h 150"/>
              <a:gd name="T44" fmla="*/ 228 w 240"/>
              <a:gd name="T45" fmla="*/ 54 h 150"/>
              <a:gd name="T46" fmla="*/ 228 w 240"/>
              <a:gd name="T47" fmla="*/ 66 h 150"/>
              <a:gd name="T48" fmla="*/ 228 w 240"/>
              <a:gd name="T49" fmla="*/ 78 h 150"/>
              <a:gd name="T50" fmla="*/ 228 w 240"/>
              <a:gd name="T51" fmla="*/ 84 h 150"/>
              <a:gd name="T52" fmla="*/ 222 w 240"/>
              <a:gd name="T53" fmla="*/ 90 h 150"/>
              <a:gd name="T54" fmla="*/ 228 w 240"/>
              <a:gd name="T55" fmla="*/ 108 h 150"/>
              <a:gd name="T56" fmla="*/ 234 w 240"/>
              <a:gd name="T57" fmla="*/ 114 h 150"/>
              <a:gd name="T58" fmla="*/ 234 w 240"/>
              <a:gd name="T59" fmla="*/ 120 h 150"/>
              <a:gd name="T60" fmla="*/ 240 w 240"/>
              <a:gd name="T61" fmla="*/ 126 h 150"/>
              <a:gd name="T62" fmla="*/ 240 w 240"/>
              <a:gd name="T63" fmla="*/ 138 h 150"/>
              <a:gd name="T64" fmla="*/ 240 w 240"/>
              <a:gd name="T65" fmla="*/ 138 h 150"/>
              <a:gd name="T66" fmla="*/ 234 w 240"/>
              <a:gd name="T67" fmla="*/ 150 h 150"/>
              <a:gd name="T68" fmla="*/ 222 w 240"/>
              <a:gd name="T69" fmla="*/ 150 h 150"/>
              <a:gd name="T70" fmla="*/ 216 w 240"/>
              <a:gd name="T71" fmla="*/ 144 h 150"/>
              <a:gd name="T72" fmla="*/ 210 w 240"/>
              <a:gd name="T73" fmla="*/ 144 h 150"/>
              <a:gd name="T74" fmla="*/ 204 w 240"/>
              <a:gd name="T75" fmla="*/ 144 h 150"/>
              <a:gd name="T76" fmla="*/ 198 w 240"/>
              <a:gd name="T77" fmla="*/ 138 h 150"/>
              <a:gd name="T78" fmla="*/ 192 w 240"/>
              <a:gd name="T79" fmla="*/ 138 h 150"/>
              <a:gd name="T80" fmla="*/ 186 w 240"/>
              <a:gd name="T81" fmla="*/ 138 h 150"/>
              <a:gd name="T82" fmla="*/ 180 w 240"/>
              <a:gd name="T83" fmla="*/ 132 h 150"/>
              <a:gd name="T84" fmla="*/ 174 w 240"/>
              <a:gd name="T85" fmla="*/ 132 h 150"/>
              <a:gd name="T86" fmla="*/ 168 w 240"/>
              <a:gd name="T87" fmla="*/ 132 h 150"/>
              <a:gd name="T88" fmla="*/ 168 w 240"/>
              <a:gd name="T89" fmla="*/ 132 h 150"/>
              <a:gd name="T90" fmla="*/ 162 w 240"/>
              <a:gd name="T91" fmla="*/ 132 h 150"/>
              <a:gd name="T92" fmla="*/ 156 w 240"/>
              <a:gd name="T93" fmla="*/ 132 h 150"/>
              <a:gd name="T94" fmla="*/ 156 w 240"/>
              <a:gd name="T95" fmla="*/ 132 h 150"/>
              <a:gd name="T96" fmla="*/ 144 w 240"/>
              <a:gd name="T97" fmla="*/ 132 h 150"/>
              <a:gd name="T98" fmla="*/ 132 w 240"/>
              <a:gd name="T99" fmla="*/ 120 h 150"/>
              <a:gd name="T100" fmla="*/ 132 w 240"/>
              <a:gd name="T101" fmla="*/ 120 h 150"/>
              <a:gd name="T102" fmla="*/ 120 w 240"/>
              <a:gd name="T103" fmla="*/ 114 h 150"/>
              <a:gd name="T104" fmla="*/ 36 w 240"/>
              <a:gd name="T105" fmla="*/ 114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40" h="150">
                <a:moveTo>
                  <a:pt x="6" y="126"/>
                </a:moveTo>
                <a:lnTo>
                  <a:pt x="0" y="126"/>
                </a:lnTo>
                <a:lnTo>
                  <a:pt x="0" y="126"/>
                </a:lnTo>
                <a:lnTo>
                  <a:pt x="0" y="126"/>
                </a:lnTo>
                <a:lnTo>
                  <a:pt x="0" y="126"/>
                </a:lnTo>
                <a:lnTo>
                  <a:pt x="0" y="120"/>
                </a:lnTo>
                <a:lnTo>
                  <a:pt x="0" y="120"/>
                </a:lnTo>
                <a:lnTo>
                  <a:pt x="0" y="120"/>
                </a:lnTo>
                <a:lnTo>
                  <a:pt x="0" y="120"/>
                </a:lnTo>
                <a:lnTo>
                  <a:pt x="0" y="114"/>
                </a:lnTo>
                <a:lnTo>
                  <a:pt x="0" y="114"/>
                </a:lnTo>
                <a:lnTo>
                  <a:pt x="0" y="114"/>
                </a:lnTo>
                <a:lnTo>
                  <a:pt x="0" y="108"/>
                </a:lnTo>
                <a:lnTo>
                  <a:pt x="0" y="108"/>
                </a:lnTo>
                <a:lnTo>
                  <a:pt x="0" y="102"/>
                </a:lnTo>
                <a:lnTo>
                  <a:pt x="0" y="102"/>
                </a:lnTo>
                <a:lnTo>
                  <a:pt x="0" y="108"/>
                </a:lnTo>
                <a:lnTo>
                  <a:pt x="0" y="108"/>
                </a:lnTo>
                <a:lnTo>
                  <a:pt x="0" y="102"/>
                </a:lnTo>
                <a:lnTo>
                  <a:pt x="6" y="102"/>
                </a:lnTo>
                <a:lnTo>
                  <a:pt x="6" y="102"/>
                </a:lnTo>
                <a:lnTo>
                  <a:pt x="6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0" y="84"/>
                </a:lnTo>
                <a:lnTo>
                  <a:pt x="0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8" y="78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24" y="72"/>
                </a:lnTo>
                <a:lnTo>
                  <a:pt x="24" y="66"/>
                </a:lnTo>
                <a:lnTo>
                  <a:pt x="24" y="72"/>
                </a:lnTo>
                <a:lnTo>
                  <a:pt x="24" y="66"/>
                </a:lnTo>
                <a:lnTo>
                  <a:pt x="24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36"/>
                </a:lnTo>
                <a:lnTo>
                  <a:pt x="48" y="36"/>
                </a:lnTo>
                <a:lnTo>
                  <a:pt x="54" y="36"/>
                </a:lnTo>
                <a:lnTo>
                  <a:pt x="54" y="30"/>
                </a:lnTo>
                <a:lnTo>
                  <a:pt x="54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2"/>
                </a:lnTo>
                <a:lnTo>
                  <a:pt x="54" y="12"/>
                </a:lnTo>
                <a:lnTo>
                  <a:pt x="84" y="6"/>
                </a:lnTo>
                <a:lnTo>
                  <a:pt x="90" y="6"/>
                </a:lnTo>
                <a:lnTo>
                  <a:pt x="90" y="6"/>
                </a:lnTo>
                <a:lnTo>
                  <a:pt x="90" y="0"/>
                </a:lnTo>
                <a:lnTo>
                  <a:pt x="96" y="0"/>
                </a:lnTo>
                <a:lnTo>
                  <a:pt x="108" y="6"/>
                </a:lnTo>
                <a:lnTo>
                  <a:pt x="114" y="6"/>
                </a:lnTo>
                <a:lnTo>
                  <a:pt x="150" y="12"/>
                </a:lnTo>
                <a:lnTo>
                  <a:pt x="156" y="12"/>
                </a:lnTo>
                <a:lnTo>
                  <a:pt x="168" y="6"/>
                </a:lnTo>
                <a:lnTo>
                  <a:pt x="180" y="6"/>
                </a:lnTo>
                <a:lnTo>
                  <a:pt x="180" y="0"/>
                </a:lnTo>
                <a:lnTo>
                  <a:pt x="204" y="0"/>
                </a:lnTo>
                <a:lnTo>
                  <a:pt x="222" y="18"/>
                </a:lnTo>
                <a:lnTo>
                  <a:pt x="222" y="18"/>
                </a:lnTo>
                <a:lnTo>
                  <a:pt x="216" y="18"/>
                </a:lnTo>
                <a:lnTo>
                  <a:pt x="222" y="18"/>
                </a:lnTo>
                <a:lnTo>
                  <a:pt x="222" y="18"/>
                </a:lnTo>
                <a:lnTo>
                  <a:pt x="222" y="18"/>
                </a:lnTo>
                <a:lnTo>
                  <a:pt x="222" y="18"/>
                </a:lnTo>
                <a:lnTo>
                  <a:pt x="222" y="24"/>
                </a:lnTo>
                <a:lnTo>
                  <a:pt x="222" y="30"/>
                </a:lnTo>
                <a:lnTo>
                  <a:pt x="222" y="30"/>
                </a:lnTo>
                <a:lnTo>
                  <a:pt x="222" y="36"/>
                </a:lnTo>
                <a:lnTo>
                  <a:pt x="222" y="36"/>
                </a:lnTo>
                <a:lnTo>
                  <a:pt x="222" y="42"/>
                </a:lnTo>
                <a:lnTo>
                  <a:pt x="222" y="48"/>
                </a:lnTo>
                <a:lnTo>
                  <a:pt x="222" y="48"/>
                </a:lnTo>
                <a:lnTo>
                  <a:pt x="222" y="48"/>
                </a:lnTo>
                <a:lnTo>
                  <a:pt x="222" y="48"/>
                </a:lnTo>
                <a:lnTo>
                  <a:pt x="222" y="54"/>
                </a:lnTo>
                <a:lnTo>
                  <a:pt x="228" y="54"/>
                </a:lnTo>
                <a:lnTo>
                  <a:pt x="222" y="54"/>
                </a:lnTo>
                <a:lnTo>
                  <a:pt x="228" y="60"/>
                </a:lnTo>
                <a:lnTo>
                  <a:pt x="228" y="60"/>
                </a:lnTo>
                <a:lnTo>
                  <a:pt x="228" y="60"/>
                </a:lnTo>
                <a:lnTo>
                  <a:pt x="228" y="66"/>
                </a:lnTo>
                <a:lnTo>
                  <a:pt x="228" y="66"/>
                </a:lnTo>
                <a:lnTo>
                  <a:pt x="228" y="66"/>
                </a:lnTo>
                <a:lnTo>
                  <a:pt x="228" y="72"/>
                </a:lnTo>
                <a:lnTo>
                  <a:pt x="228" y="72"/>
                </a:lnTo>
                <a:lnTo>
                  <a:pt x="228" y="72"/>
                </a:lnTo>
                <a:lnTo>
                  <a:pt x="228" y="78"/>
                </a:lnTo>
                <a:lnTo>
                  <a:pt x="228" y="78"/>
                </a:lnTo>
                <a:lnTo>
                  <a:pt x="228" y="78"/>
                </a:lnTo>
                <a:lnTo>
                  <a:pt x="228" y="78"/>
                </a:lnTo>
                <a:lnTo>
                  <a:pt x="228" y="78"/>
                </a:lnTo>
                <a:lnTo>
                  <a:pt x="228" y="84"/>
                </a:lnTo>
                <a:lnTo>
                  <a:pt x="228" y="84"/>
                </a:lnTo>
                <a:lnTo>
                  <a:pt x="228" y="84"/>
                </a:lnTo>
                <a:lnTo>
                  <a:pt x="228" y="84"/>
                </a:lnTo>
                <a:lnTo>
                  <a:pt x="222" y="84"/>
                </a:lnTo>
                <a:lnTo>
                  <a:pt x="222" y="90"/>
                </a:lnTo>
                <a:lnTo>
                  <a:pt x="228" y="90"/>
                </a:lnTo>
                <a:lnTo>
                  <a:pt x="222" y="90"/>
                </a:lnTo>
                <a:lnTo>
                  <a:pt x="222" y="90"/>
                </a:lnTo>
                <a:lnTo>
                  <a:pt x="222" y="90"/>
                </a:lnTo>
                <a:lnTo>
                  <a:pt x="222" y="96"/>
                </a:lnTo>
                <a:lnTo>
                  <a:pt x="222" y="96"/>
                </a:lnTo>
                <a:lnTo>
                  <a:pt x="222" y="96"/>
                </a:lnTo>
                <a:lnTo>
                  <a:pt x="222" y="102"/>
                </a:lnTo>
                <a:lnTo>
                  <a:pt x="228" y="108"/>
                </a:lnTo>
                <a:lnTo>
                  <a:pt x="228" y="108"/>
                </a:lnTo>
                <a:lnTo>
                  <a:pt x="228" y="108"/>
                </a:lnTo>
                <a:lnTo>
                  <a:pt x="228" y="108"/>
                </a:lnTo>
                <a:lnTo>
                  <a:pt x="234" y="114"/>
                </a:lnTo>
                <a:lnTo>
                  <a:pt x="234" y="114"/>
                </a:lnTo>
                <a:lnTo>
                  <a:pt x="234" y="114"/>
                </a:lnTo>
                <a:lnTo>
                  <a:pt x="234" y="114"/>
                </a:lnTo>
                <a:lnTo>
                  <a:pt x="234" y="120"/>
                </a:lnTo>
                <a:lnTo>
                  <a:pt x="234" y="120"/>
                </a:lnTo>
                <a:lnTo>
                  <a:pt x="234" y="120"/>
                </a:lnTo>
                <a:lnTo>
                  <a:pt x="234" y="120"/>
                </a:lnTo>
                <a:lnTo>
                  <a:pt x="234" y="120"/>
                </a:lnTo>
                <a:lnTo>
                  <a:pt x="234" y="120"/>
                </a:lnTo>
                <a:lnTo>
                  <a:pt x="234" y="126"/>
                </a:lnTo>
                <a:lnTo>
                  <a:pt x="234" y="126"/>
                </a:lnTo>
                <a:lnTo>
                  <a:pt x="234" y="126"/>
                </a:lnTo>
                <a:lnTo>
                  <a:pt x="234" y="126"/>
                </a:lnTo>
                <a:lnTo>
                  <a:pt x="240" y="126"/>
                </a:lnTo>
                <a:lnTo>
                  <a:pt x="240" y="132"/>
                </a:lnTo>
                <a:lnTo>
                  <a:pt x="234" y="132"/>
                </a:lnTo>
                <a:lnTo>
                  <a:pt x="234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8"/>
                </a:lnTo>
                <a:lnTo>
                  <a:pt x="240" y="138"/>
                </a:lnTo>
                <a:lnTo>
                  <a:pt x="240" y="138"/>
                </a:lnTo>
                <a:lnTo>
                  <a:pt x="240" y="138"/>
                </a:lnTo>
                <a:lnTo>
                  <a:pt x="240" y="138"/>
                </a:lnTo>
                <a:lnTo>
                  <a:pt x="240" y="138"/>
                </a:lnTo>
                <a:lnTo>
                  <a:pt x="240" y="138"/>
                </a:lnTo>
                <a:lnTo>
                  <a:pt x="240" y="144"/>
                </a:lnTo>
                <a:lnTo>
                  <a:pt x="240" y="144"/>
                </a:lnTo>
                <a:lnTo>
                  <a:pt x="240" y="144"/>
                </a:lnTo>
                <a:lnTo>
                  <a:pt x="234" y="150"/>
                </a:lnTo>
                <a:lnTo>
                  <a:pt x="234" y="150"/>
                </a:lnTo>
                <a:lnTo>
                  <a:pt x="234" y="150"/>
                </a:lnTo>
                <a:lnTo>
                  <a:pt x="228" y="150"/>
                </a:lnTo>
                <a:lnTo>
                  <a:pt x="228" y="150"/>
                </a:lnTo>
                <a:lnTo>
                  <a:pt x="228" y="150"/>
                </a:lnTo>
                <a:lnTo>
                  <a:pt x="228" y="150"/>
                </a:lnTo>
                <a:lnTo>
                  <a:pt x="228" y="150"/>
                </a:lnTo>
                <a:lnTo>
                  <a:pt x="222" y="150"/>
                </a:lnTo>
                <a:lnTo>
                  <a:pt x="222" y="150"/>
                </a:lnTo>
                <a:lnTo>
                  <a:pt x="222" y="150"/>
                </a:lnTo>
                <a:lnTo>
                  <a:pt x="222" y="150"/>
                </a:lnTo>
                <a:lnTo>
                  <a:pt x="222" y="144"/>
                </a:lnTo>
                <a:lnTo>
                  <a:pt x="216" y="144"/>
                </a:lnTo>
                <a:lnTo>
                  <a:pt x="216" y="144"/>
                </a:lnTo>
                <a:lnTo>
                  <a:pt x="216" y="144"/>
                </a:lnTo>
                <a:lnTo>
                  <a:pt x="216" y="144"/>
                </a:lnTo>
                <a:lnTo>
                  <a:pt x="216" y="144"/>
                </a:lnTo>
                <a:lnTo>
                  <a:pt x="216" y="144"/>
                </a:lnTo>
                <a:lnTo>
                  <a:pt x="210" y="144"/>
                </a:lnTo>
                <a:lnTo>
                  <a:pt x="210" y="144"/>
                </a:lnTo>
                <a:lnTo>
                  <a:pt x="210" y="144"/>
                </a:lnTo>
                <a:lnTo>
                  <a:pt x="210" y="144"/>
                </a:lnTo>
                <a:lnTo>
                  <a:pt x="210" y="144"/>
                </a:lnTo>
                <a:lnTo>
                  <a:pt x="210" y="144"/>
                </a:lnTo>
                <a:lnTo>
                  <a:pt x="204" y="144"/>
                </a:lnTo>
                <a:lnTo>
                  <a:pt x="204" y="144"/>
                </a:lnTo>
                <a:lnTo>
                  <a:pt x="204" y="144"/>
                </a:lnTo>
                <a:lnTo>
                  <a:pt x="204" y="144"/>
                </a:lnTo>
                <a:lnTo>
                  <a:pt x="198" y="144"/>
                </a:lnTo>
                <a:lnTo>
                  <a:pt x="198" y="138"/>
                </a:lnTo>
                <a:lnTo>
                  <a:pt x="198" y="138"/>
                </a:lnTo>
                <a:lnTo>
                  <a:pt x="198" y="138"/>
                </a:lnTo>
                <a:lnTo>
                  <a:pt x="198" y="138"/>
                </a:lnTo>
                <a:lnTo>
                  <a:pt x="198" y="138"/>
                </a:lnTo>
                <a:lnTo>
                  <a:pt x="192" y="138"/>
                </a:lnTo>
                <a:lnTo>
                  <a:pt x="192" y="138"/>
                </a:lnTo>
                <a:lnTo>
                  <a:pt x="192" y="138"/>
                </a:lnTo>
                <a:lnTo>
                  <a:pt x="192" y="138"/>
                </a:lnTo>
                <a:lnTo>
                  <a:pt x="192" y="138"/>
                </a:lnTo>
                <a:lnTo>
                  <a:pt x="192" y="138"/>
                </a:lnTo>
                <a:lnTo>
                  <a:pt x="192" y="138"/>
                </a:lnTo>
                <a:lnTo>
                  <a:pt x="192" y="138"/>
                </a:lnTo>
                <a:lnTo>
                  <a:pt x="186" y="138"/>
                </a:lnTo>
                <a:lnTo>
                  <a:pt x="186" y="138"/>
                </a:lnTo>
                <a:lnTo>
                  <a:pt x="186" y="138"/>
                </a:lnTo>
                <a:lnTo>
                  <a:pt x="186" y="138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74" y="138"/>
                </a:lnTo>
                <a:lnTo>
                  <a:pt x="174" y="138"/>
                </a:lnTo>
                <a:lnTo>
                  <a:pt x="174" y="138"/>
                </a:lnTo>
                <a:lnTo>
                  <a:pt x="174" y="138"/>
                </a:lnTo>
                <a:lnTo>
                  <a:pt x="174" y="132"/>
                </a:lnTo>
                <a:lnTo>
                  <a:pt x="174" y="138"/>
                </a:lnTo>
                <a:lnTo>
                  <a:pt x="168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32"/>
                </a:lnTo>
                <a:lnTo>
                  <a:pt x="162" y="132"/>
                </a:lnTo>
                <a:lnTo>
                  <a:pt x="162" y="132"/>
                </a:lnTo>
                <a:lnTo>
                  <a:pt x="162" y="132"/>
                </a:lnTo>
                <a:lnTo>
                  <a:pt x="162" y="132"/>
                </a:lnTo>
                <a:lnTo>
                  <a:pt x="162" y="132"/>
                </a:lnTo>
                <a:lnTo>
                  <a:pt x="162" y="132"/>
                </a:lnTo>
                <a:lnTo>
                  <a:pt x="156" y="132"/>
                </a:lnTo>
                <a:lnTo>
                  <a:pt x="156" y="132"/>
                </a:lnTo>
                <a:lnTo>
                  <a:pt x="156" y="132"/>
                </a:lnTo>
                <a:lnTo>
                  <a:pt x="156" y="132"/>
                </a:lnTo>
                <a:lnTo>
                  <a:pt x="156" y="132"/>
                </a:lnTo>
                <a:lnTo>
                  <a:pt x="156" y="132"/>
                </a:lnTo>
                <a:lnTo>
                  <a:pt x="156" y="132"/>
                </a:lnTo>
                <a:lnTo>
                  <a:pt x="156" y="132"/>
                </a:lnTo>
                <a:lnTo>
                  <a:pt x="156" y="132"/>
                </a:lnTo>
                <a:lnTo>
                  <a:pt x="156" y="132"/>
                </a:lnTo>
                <a:lnTo>
                  <a:pt x="156" y="132"/>
                </a:lnTo>
                <a:lnTo>
                  <a:pt x="150" y="132"/>
                </a:lnTo>
                <a:lnTo>
                  <a:pt x="150" y="132"/>
                </a:lnTo>
                <a:lnTo>
                  <a:pt x="150" y="132"/>
                </a:lnTo>
                <a:lnTo>
                  <a:pt x="150" y="132"/>
                </a:lnTo>
                <a:lnTo>
                  <a:pt x="150" y="132"/>
                </a:lnTo>
                <a:lnTo>
                  <a:pt x="144" y="132"/>
                </a:lnTo>
                <a:lnTo>
                  <a:pt x="144" y="126"/>
                </a:lnTo>
                <a:lnTo>
                  <a:pt x="144" y="126"/>
                </a:lnTo>
                <a:lnTo>
                  <a:pt x="138" y="126"/>
                </a:lnTo>
                <a:lnTo>
                  <a:pt x="138" y="126"/>
                </a:lnTo>
                <a:lnTo>
                  <a:pt x="138" y="120"/>
                </a:lnTo>
                <a:lnTo>
                  <a:pt x="132" y="120"/>
                </a:lnTo>
                <a:lnTo>
                  <a:pt x="132" y="120"/>
                </a:lnTo>
                <a:lnTo>
                  <a:pt x="132" y="126"/>
                </a:lnTo>
                <a:lnTo>
                  <a:pt x="132" y="126"/>
                </a:lnTo>
                <a:lnTo>
                  <a:pt x="132" y="120"/>
                </a:lnTo>
                <a:lnTo>
                  <a:pt x="132" y="120"/>
                </a:lnTo>
                <a:lnTo>
                  <a:pt x="132" y="120"/>
                </a:lnTo>
                <a:lnTo>
                  <a:pt x="132" y="120"/>
                </a:lnTo>
                <a:lnTo>
                  <a:pt x="132" y="120"/>
                </a:lnTo>
                <a:lnTo>
                  <a:pt x="132" y="114"/>
                </a:lnTo>
                <a:lnTo>
                  <a:pt x="132" y="114"/>
                </a:lnTo>
                <a:lnTo>
                  <a:pt x="132" y="114"/>
                </a:lnTo>
                <a:lnTo>
                  <a:pt x="120" y="114"/>
                </a:lnTo>
                <a:lnTo>
                  <a:pt x="108" y="108"/>
                </a:lnTo>
                <a:lnTo>
                  <a:pt x="72" y="102"/>
                </a:lnTo>
                <a:lnTo>
                  <a:pt x="48" y="108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08"/>
                </a:lnTo>
                <a:lnTo>
                  <a:pt x="24" y="108"/>
                </a:lnTo>
                <a:lnTo>
                  <a:pt x="24" y="120"/>
                </a:lnTo>
                <a:lnTo>
                  <a:pt x="6" y="12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96" name="Freeform 229"/>
          <p:cNvSpPr>
            <a:spLocks/>
          </p:cNvSpPr>
          <p:nvPr/>
        </p:nvSpPr>
        <p:spPr bwMode="auto">
          <a:xfrm>
            <a:off x="7410746" y="2573949"/>
            <a:ext cx="231266" cy="308357"/>
          </a:xfrm>
          <a:custGeom>
            <a:avLst/>
            <a:gdLst>
              <a:gd name="T0" fmla="*/ 0 w 216"/>
              <a:gd name="T1" fmla="*/ 72 h 288"/>
              <a:gd name="T2" fmla="*/ 0 w 216"/>
              <a:gd name="T3" fmla="*/ 72 h 288"/>
              <a:gd name="T4" fmla="*/ 0 w 216"/>
              <a:gd name="T5" fmla="*/ 60 h 288"/>
              <a:gd name="T6" fmla="*/ 12 w 216"/>
              <a:gd name="T7" fmla="*/ 48 h 288"/>
              <a:gd name="T8" fmla="*/ 18 w 216"/>
              <a:gd name="T9" fmla="*/ 42 h 288"/>
              <a:gd name="T10" fmla="*/ 24 w 216"/>
              <a:gd name="T11" fmla="*/ 36 h 288"/>
              <a:gd name="T12" fmla="*/ 36 w 216"/>
              <a:gd name="T13" fmla="*/ 30 h 288"/>
              <a:gd name="T14" fmla="*/ 42 w 216"/>
              <a:gd name="T15" fmla="*/ 24 h 288"/>
              <a:gd name="T16" fmla="*/ 42 w 216"/>
              <a:gd name="T17" fmla="*/ 18 h 288"/>
              <a:gd name="T18" fmla="*/ 54 w 216"/>
              <a:gd name="T19" fmla="*/ 12 h 288"/>
              <a:gd name="T20" fmla="*/ 66 w 216"/>
              <a:gd name="T21" fmla="*/ 12 h 288"/>
              <a:gd name="T22" fmla="*/ 72 w 216"/>
              <a:gd name="T23" fmla="*/ 6 h 288"/>
              <a:gd name="T24" fmla="*/ 84 w 216"/>
              <a:gd name="T25" fmla="*/ 0 h 288"/>
              <a:gd name="T26" fmla="*/ 96 w 216"/>
              <a:gd name="T27" fmla="*/ 12 h 288"/>
              <a:gd name="T28" fmla="*/ 108 w 216"/>
              <a:gd name="T29" fmla="*/ 12 h 288"/>
              <a:gd name="T30" fmla="*/ 114 w 216"/>
              <a:gd name="T31" fmla="*/ 6 h 288"/>
              <a:gd name="T32" fmla="*/ 120 w 216"/>
              <a:gd name="T33" fmla="*/ 6 h 288"/>
              <a:gd name="T34" fmla="*/ 132 w 216"/>
              <a:gd name="T35" fmla="*/ 18 h 288"/>
              <a:gd name="T36" fmla="*/ 144 w 216"/>
              <a:gd name="T37" fmla="*/ 42 h 288"/>
              <a:gd name="T38" fmla="*/ 132 w 216"/>
              <a:gd name="T39" fmla="*/ 48 h 288"/>
              <a:gd name="T40" fmla="*/ 126 w 216"/>
              <a:gd name="T41" fmla="*/ 54 h 288"/>
              <a:gd name="T42" fmla="*/ 144 w 216"/>
              <a:gd name="T43" fmla="*/ 78 h 288"/>
              <a:gd name="T44" fmla="*/ 150 w 216"/>
              <a:gd name="T45" fmla="*/ 102 h 288"/>
              <a:gd name="T46" fmla="*/ 150 w 216"/>
              <a:gd name="T47" fmla="*/ 108 h 288"/>
              <a:gd name="T48" fmla="*/ 162 w 216"/>
              <a:gd name="T49" fmla="*/ 144 h 288"/>
              <a:gd name="T50" fmla="*/ 174 w 216"/>
              <a:gd name="T51" fmla="*/ 174 h 288"/>
              <a:gd name="T52" fmla="*/ 162 w 216"/>
              <a:gd name="T53" fmla="*/ 186 h 288"/>
              <a:gd name="T54" fmla="*/ 156 w 216"/>
              <a:gd name="T55" fmla="*/ 192 h 288"/>
              <a:gd name="T56" fmla="*/ 150 w 216"/>
              <a:gd name="T57" fmla="*/ 198 h 288"/>
              <a:gd name="T58" fmla="*/ 150 w 216"/>
              <a:gd name="T59" fmla="*/ 210 h 288"/>
              <a:gd name="T60" fmla="*/ 138 w 216"/>
              <a:gd name="T61" fmla="*/ 216 h 288"/>
              <a:gd name="T62" fmla="*/ 138 w 216"/>
              <a:gd name="T63" fmla="*/ 222 h 288"/>
              <a:gd name="T64" fmla="*/ 156 w 216"/>
              <a:gd name="T65" fmla="*/ 222 h 288"/>
              <a:gd name="T66" fmla="*/ 162 w 216"/>
              <a:gd name="T67" fmla="*/ 234 h 288"/>
              <a:gd name="T68" fmla="*/ 168 w 216"/>
              <a:gd name="T69" fmla="*/ 234 h 288"/>
              <a:gd name="T70" fmla="*/ 132 w 216"/>
              <a:gd name="T71" fmla="*/ 288 h 288"/>
              <a:gd name="T72" fmla="*/ 96 w 216"/>
              <a:gd name="T73" fmla="*/ 270 h 288"/>
              <a:gd name="T74" fmla="*/ 90 w 216"/>
              <a:gd name="T75" fmla="*/ 228 h 288"/>
              <a:gd name="T76" fmla="*/ 72 w 216"/>
              <a:gd name="T77" fmla="*/ 228 h 288"/>
              <a:gd name="T78" fmla="*/ 66 w 216"/>
              <a:gd name="T79" fmla="*/ 228 h 288"/>
              <a:gd name="T80" fmla="*/ 54 w 216"/>
              <a:gd name="T81" fmla="*/ 210 h 288"/>
              <a:gd name="T82" fmla="*/ 30 w 216"/>
              <a:gd name="T83" fmla="*/ 204 h 288"/>
              <a:gd name="T84" fmla="*/ 18 w 216"/>
              <a:gd name="T85" fmla="*/ 198 h 288"/>
              <a:gd name="T86" fmla="*/ 12 w 216"/>
              <a:gd name="T87" fmla="*/ 192 h 288"/>
              <a:gd name="T88" fmla="*/ 6 w 216"/>
              <a:gd name="T89" fmla="*/ 192 h 288"/>
              <a:gd name="T90" fmla="*/ 12 w 216"/>
              <a:gd name="T91" fmla="*/ 186 h 288"/>
              <a:gd name="T92" fmla="*/ 12 w 216"/>
              <a:gd name="T93" fmla="*/ 186 h 288"/>
              <a:gd name="T94" fmla="*/ 18 w 216"/>
              <a:gd name="T95" fmla="*/ 180 h 288"/>
              <a:gd name="T96" fmla="*/ 18 w 216"/>
              <a:gd name="T97" fmla="*/ 180 h 288"/>
              <a:gd name="T98" fmla="*/ 18 w 216"/>
              <a:gd name="T99" fmla="*/ 180 h 288"/>
              <a:gd name="T100" fmla="*/ 24 w 216"/>
              <a:gd name="T101" fmla="*/ 174 h 288"/>
              <a:gd name="T102" fmla="*/ 30 w 216"/>
              <a:gd name="T103" fmla="*/ 174 h 288"/>
              <a:gd name="T104" fmla="*/ 30 w 216"/>
              <a:gd name="T105" fmla="*/ 168 h 288"/>
              <a:gd name="T106" fmla="*/ 36 w 216"/>
              <a:gd name="T107" fmla="*/ 168 h 288"/>
              <a:gd name="T108" fmla="*/ 36 w 216"/>
              <a:gd name="T109" fmla="*/ 162 h 288"/>
              <a:gd name="T110" fmla="*/ 42 w 216"/>
              <a:gd name="T111" fmla="*/ 162 h 288"/>
              <a:gd name="T112" fmla="*/ 42 w 216"/>
              <a:gd name="T113" fmla="*/ 156 h 288"/>
              <a:gd name="T114" fmla="*/ 42 w 216"/>
              <a:gd name="T115" fmla="*/ 114 h 288"/>
              <a:gd name="T116" fmla="*/ 30 w 216"/>
              <a:gd name="T117" fmla="*/ 108 h 288"/>
              <a:gd name="T118" fmla="*/ 18 w 216"/>
              <a:gd name="T119" fmla="*/ 108 h 288"/>
              <a:gd name="T120" fmla="*/ 12 w 216"/>
              <a:gd name="T121" fmla="*/ 102 h 288"/>
              <a:gd name="T122" fmla="*/ 0 w 216"/>
              <a:gd name="T123" fmla="*/ 102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16" h="288">
                <a:moveTo>
                  <a:pt x="0" y="102"/>
                </a:moveTo>
                <a:lnTo>
                  <a:pt x="0" y="90"/>
                </a:lnTo>
                <a:lnTo>
                  <a:pt x="0" y="84"/>
                </a:lnTo>
                <a:lnTo>
                  <a:pt x="0" y="78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66"/>
                </a:lnTo>
                <a:lnTo>
                  <a:pt x="6" y="66"/>
                </a:lnTo>
                <a:lnTo>
                  <a:pt x="6" y="66"/>
                </a:lnTo>
                <a:lnTo>
                  <a:pt x="0" y="66"/>
                </a:lnTo>
                <a:lnTo>
                  <a:pt x="0" y="66"/>
                </a:lnTo>
                <a:lnTo>
                  <a:pt x="0" y="60"/>
                </a:lnTo>
                <a:lnTo>
                  <a:pt x="0" y="42"/>
                </a:lnTo>
                <a:lnTo>
                  <a:pt x="0" y="48"/>
                </a:lnTo>
                <a:lnTo>
                  <a:pt x="6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36"/>
                </a:lnTo>
                <a:lnTo>
                  <a:pt x="24" y="36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42" y="30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78" y="6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0" y="6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102" y="6"/>
                </a:lnTo>
                <a:lnTo>
                  <a:pt x="102" y="6"/>
                </a:lnTo>
                <a:lnTo>
                  <a:pt x="102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6" y="12"/>
                </a:lnTo>
                <a:lnTo>
                  <a:pt x="126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8"/>
                </a:lnTo>
                <a:lnTo>
                  <a:pt x="132" y="18"/>
                </a:lnTo>
                <a:lnTo>
                  <a:pt x="138" y="18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6"/>
                </a:lnTo>
                <a:lnTo>
                  <a:pt x="144" y="42"/>
                </a:lnTo>
                <a:lnTo>
                  <a:pt x="138" y="42"/>
                </a:lnTo>
                <a:lnTo>
                  <a:pt x="138" y="48"/>
                </a:lnTo>
                <a:lnTo>
                  <a:pt x="138" y="48"/>
                </a:lnTo>
                <a:lnTo>
                  <a:pt x="138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32" y="60"/>
                </a:lnTo>
                <a:lnTo>
                  <a:pt x="132" y="66"/>
                </a:lnTo>
                <a:lnTo>
                  <a:pt x="138" y="66"/>
                </a:lnTo>
                <a:lnTo>
                  <a:pt x="138" y="72"/>
                </a:lnTo>
                <a:lnTo>
                  <a:pt x="138" y="72"/>
                </a:lnTo>
                <a:lnTo>
                  <a:pt x="144" y="78"/>
                </a:lnTo>
                <a:lnTo>
                  <a:pt x="144" y="84"/>
                </a:lnTo>
                <a:lnTo>
                  <a:pt x="144" y="90"/>
                </a:lnTo>
                <a:lnTo>
                  <a:pt x="144" y="90"/>
                </a:lnTo>
                <a:lnTo>
                  <a:pt x="144" y="90"/>
                </a:lnTo>
                <a:lnTo>
                  <a:pt x="150" y="96"/>
                </a:lnTo>
                <a:lnTo>
                  <a:pt x="150" y="102"/>
                </a:lnTo>
                <a:lnTo>
                  <a:pt x="150" y="102"/>
                </a:lnTo>
                <a:lnTo>
                  <a:pt x="150" y="102"/>
                </a:lnTo>
                <a:lnTo>
                  <a:pt x="150" y="102"/>
                </a:lnTo>
                <a:lnTo>
                  <a:pt x="150" y="102"/>
                </a:lnTo>
                <a:lnTo>
                  <a:pt x="150" y="108"/>
                </a:lnTo>
                <a:lnTo>
                  <a:pt x="150" y="108"/>
                </a:lnTo>
                <a:lnTo>
                  <a:pt x="150" y="108"/>
                </a:lnTo>
                <a:lnTo>
                  <a:pt x="156" y="114"/>
                </a:lnTo>
                <a:lnTo>
                  <a:pt x="156" y="120"/>
                </a:lnTo>
                <a:lnTo>
                  <a:pt x="156" y="138"/>
                </a:lnTo>
                <a:lnTo>
                  <a:pt x="162" y="144"/>
                </a:lnTo>
                <a:lnTo>
                  <a:pt x="162" y="144"/>
                </a:lnTo>
                <a:lnTo>
                  <a:pt x="168" y="156"/>
                </a:lnTo>
                <a:lnTo>
                  <a:pt x="168" y="156"/>
                </a:lnTo>
                <a:lnTo>
                  <a:pt x="168" y="162"/>
                </a:lnTo>
                <a:lnTo>
                  <a:pt x="174" y="168"/>
                </a:lnTo>
                <a:lnTo>
                  <a:pt x="174" y="174"/>
                </a:lnTo>
                <a:lnTo>
                  <a:pt x="174" y="174"/>
                </a:lnTo>
                <a:lnTo>
                  <a:pt x="174" y="174"/>
                </a:lnTo>
                <a:lnTo>
                  <a:pt x="168" y="174"/>
                </a:lnTo>
                <a:lnTo>
                  <a:pt x="168" y="174"/>
                </a:lnTo>
                <a:lnTo>
                  <a:pt x="168" y="180"/>
                </a:lnTo>
                <a:lnTo>
                  <a:pt x="162" y="186"/>
                </a:lnTo>
                <a:lnTo>
                  <a:pt x="162" y="186"/>
                </a:lnTo>
                <a:lnTo>
                  <a:pt x="162" y="186"/>
                </a:lnTo>
                <a:lnTo>
                  <a:pt x="162" y="186"/>
                </a:lnTo>
                <a:lnTo>
                  <a:pt x="162" y="192"/>
                </a:lnTo>
                <a:lnTo>
                  <a:pt x="156" y="192"/>
                </a:lnTo>
                <a:lnTo>
                  <a:pt x="156" y="192"/>
                </a:lnTo>
                <a:lnTo>
                  <a:pt x="156" y="192"/>
                </a:lnTo>
                <a:lnTo>
                  <a:pt x="156" y="192"/>
                </a:lnTo>
                <a:lnTo>
                  <a:pt x="156" y="192"/>
                </a:lnTo>
                <a:lnTo>
                  <a:pt x="156" y="198"/>
                </a:lnTo>
                <a:lnTo>
                  <a:pt x="156" y="198"/>
                </a:lnTo>
                <a:lnTo>
                  <a:pt x="150" y="198"/>
                </a:lnTo>
                <a:lnTo>
                  <a:pt x="150" y="198"/>
                </a:lnTo>
                <a:lnTo>
                  <a:pt x="150" y="204"/>
                </a:lnTo>
                <a:lnTo>
                  <a:pt x="150" y="204"/>
                </a:lnTo>
                <a:lnTo>
                  <a:pt x="150" y="204"/>
                </a:lnTo>
                <a:lnTo>
                  <a:pt x="150" y="204"/>
                </a:lnTo>
                <a:lnTo>
                  <a:pt x="150" y="204"/>
                </a:lnTo>
                <a:lnTo>
                  <a:pt x="150" y="210"/>
                </a:lnTo>
                <a:lnTo>
                  <a:pt x="150" y="210"/>
                </a:lnTo>
                <a:lnTo>
                  <a:pt x="144" y="210"/>
                </a:lnTo>
                <a:lnTo>
                  <a:pt x="144" y="210"/>
                </a:lnTo>
                <a:lnTo>
                  <a:pt x="144" y="210"/>
                </a:lnTo>
                <a:lnTo>
                  <a:pt x="144" y="216"/>
                </a:lnTo>
                <a:lnTo>
                  <a:pt x="138" y="216"/>
                </a:lnTo>
                <a:lnTo>
                  <a:pt x="138" y="216"/>
                </a:lnTo>
                <a:lnTo>
                  <a:pt x="144" y="216"/>
                </a:lnTo>
                <a:lnTo>
                  <a:pt x="144" y="216"/>
                </a:lnTo>
                <a:lnTo>
                  <a:pt x="138" y="216"/>
                </a:lnTo>
                <a:lnTo>
                  <a:pt x="138" y="222"/>
                </a:lnTo>
                <a:lnTo>
                  <a:pt x="138" y="222"/>
                </a:lnTo>
                <a:lnTo>
                  <a:pt x="144" y="222"/>
                </a:lnTo>
                <a:lnTo>
                  <a:pt x="144" y="222"/>
                </a:lnTo>
                <a:lnTo>
                  <a:pt x="150" y="222"/>
                </a:lnTo>
                <a:lnTo>
                  <a:pt x="150" y="222"/>
                </a:lnTo>
                <a:lnTo>
                  <a:pt x="150" y="222"/>
                </a:lnTo>
                <a:lnTo>
                  <a:pt x="156" y="222"/>
                </a:lnTo>
                <a:lnTo>
                  <a:pt x="162" y="228"/>
                </a:lnTo>
                <a:lnTo>
                  <a:pt x="162" y="228"/>
                </a:lnTo>
                <a:lnTo>
                  <a:pt x="162" y="228"/>
                </a:lnTo>
                <a:lnTo>
                  <a:pt x="168" y="228"/>
                </a:lnTo>
                <a:lnTo>
                  <a:pt x="168" y="234"/>
                </a:lnTo>
                <a:lnTo>
                  <a:pt x="162" y="234"/>
                </a:lnTo>
                <a:lnTo>
                  <a:pt x="168" y="234"/>
                </a:lnTo>
                <a:lnTo>
                  <a:pt x="162" y="234"/>
                </a:lnTo>
                <a:lnTo>
                  <a:pt x="162" y="234"/>
                </a:lnTo>
                <a:lnTo>
                  <a:pt x="168" y="234"/>
                </a:lnTo>
                <a:lnTo>
                  <a:pt x="168" y="234"/>
                </a:lnTo>
                <a:lnTo>
                  <a:pt x="168" y="234"/>
                </a:lnTo>
                <a:lnTo>
                  <a:pt x="168" y="234"/>
                </a:lnTo>
                <a:lnTo>
                  <a:pt x="168" y="234"/>
                </a:lnTo>
                <a:lnTo>
                  <a:pt x="216" y="258"/>
                </a:lnTo>
                <a:lnTo>
                  <a:pt x="198" y="264"/>
                </a:lnTo>
                <a:lnTo>
                  <a:pt x="186" y="270"/>
                </a:lnTo>
                <a:lnTo>
                  <a:pt x="132" y="288"/>
                </a:lnTo>
                <a:lnTo>
                  <a:pt x="126" y="282"/>
                </a:lnTo>
                <a:lnTo>
                  <a:pt x="120" y="288"/>
                </a:lnTo>
                <a:lnTo>
                  <a:pt x="114" y="288"/>
                </a:lnTo>
                <a:lnTo>
                  <a:pt x="108" y="282"/>
                </a:lnTo>
                <a:lnTo>
                  <a:pt x="102" y="282"/>
                </a:lnTo>
                <a:lnTo>
                  <a:pt x="96" y="270"/>
                </a:lnTo>
                <a:lnTo>
                  <a:pt x="96" y="270"/>
                </a:lnTo>
                <a:lnTo>
                  <a:pt x="90" y="258"/>
                </a:lnTo>
                <a:lnTo>
                  <a:pt x="84" y="234"/>
                </a:lnTo>
                <a:lnTo>
                  <a:pt x="90" y="228"/>
                </a:lnTo>
                <a:lnTo>
                  <a:pt x="90" y="228"/>
                </a:lnTo>
                <a:lnTo>
                  <a:pt x="90" y="228"/>
                </a:lnTo>
                <a:lnTo>
                  <a:pt x="84" y="228"/>
                </a:lnTo>
                <a:lnTo>
                  <a:pt x="84" y="228"/>
                </a:lnTo>
                <a:lnTo>
                  <a:pt x="78" y="228"/>
                </a:lnTo>
                <a:lnTo>
                  <a:pt x="78" y="228"/>
                </a:lnTo>
                <a:lnTo>
                  <a:pt x="78" y="228"/>
                </a:lnTo>
                <a:lnTo>
                  <a:pt x="72" y="228"/>
                </a:lnTo>
                <a:lnTo>
                  <a:pt x="72" y="228"/>
                </a:lnTo>
                <a:lnTo>
                  <a:pt x="72" y="228"/>
                </a:lnTo>
                <a:lnTo>
                  <a:pt x="72" y="228"/>
                </a:lnTo>
                <a:lnTo>
                  <a:pt x="72" y="228"/>
                </a:lnTo>
                <a:lnTo>
                  <a:pt x="72" y="228"/>
                </a:lnTo>
                <a:lnTo>
                  <a:pt x="66" y="228"/>
                </a:lnTo>
                <a:lnTo>
                  <a:pt x="66" y="228"/>
                </a:lnTo>
                <a:lnTo>
                  <a:pt x="66" y="228"/>
                </a:lnTo>
                <a:lnTo>
                  <a:pt x="66" y="228"/>
                </a:lnTo>
                <a:lnTo>
                  <a:pt x="60" y="228"/>
                </a:lnTo>
                <a:lnTo>
                  <a:pt x="60" y="216"/>
                </a:lnTo>
                <a:lnTo>
                  <a:pt x="54" y="210"/>
                </a:lnTo>
                <a:lnTo>
                  <a:pt x="36" y="204"/>
                </a:lnTo>
                <a:lnTo>
                  <a:pt x="36" y="204"/>
                </a:lnTo>
                <a:lnTo>
                  <a:pt x="36" y="204"/>
                </a:lnTo>
                <a:lnTo>
                  <a:pt x="36" y="204"/>
                </a:lnTo>
                <a:lnTo>
                  <a:pt x="30" y="204"/>
                </a:lnTo>
                <a:lnTo>
                  <a:pt x="30" y="204"/>
                </a:lnTo>
                <a:lnTo>
                  <a:pt x="30" y="204"/>
                </a:lnTo>
                <a:lnTo>
                  <a:pt x="24" y="204"/>
                </a:lnTo>
                <a:lnTo>
                  <a:pt x="24" y="198"/>
                </a:lnTo>
                <a:lnTo>
                  <a:pt x="24" y="198"/>
                </a:lnTo>
                <a:lnTo>
                  <a:pt x="18" y="198"/>
                </a:lnTo>
                <a:lnTo>
                  <a:pt x="18" y="198"/>
                </a:lnTo>
                <a:lnTo>
                  <a:pt x="18" y="198"/>
                </a:lnTo>
                <a:lnTo>
                  <a:pt x="18" y="198"/>
                </a:lnTo>
                <a:lnTo>
                  <a:pt x="18" y="198"/>
                </a:lnTo>
                <a:lnTo>
                  <a:pt x="12" y="198"/>
                </a:lnTo>
                <a:lnTo>
                  <a:pt x="12" y="192"/>
                </a:lnTo>
                <a:lnTo>
                  <a:pt x="12" y="192"/>
                </a:lnTo>
                <a:lnTo>
                  <a:pt x="12" y="192"/>
                </a:lnTo>
                <a:lnTo>
                  <a:pt x="6" y="192"/>
                </a:lnTo>
                <a:lnTo>
                  <a:pt x="6" y="192"/>
                </a:lnTo>
                <a:lnTo>
                  <a:pt x="6" y="192"/>
                </a:lnTo>
                <a:lnTo>
                  <a:pt x="6" y="192"/>
                </a:lnTo>
                <a:lnTo>
                  <a:pt x="6" y="192"/>
                </a:lnTo>
                <a:lnTo>
                  <a:pt x="6" y="192"/>
                </a:lnTo>
                <a:lnTo>
                  <a:pt x="6" y="192"/>
                </a:lnTo>
                <a:lnTo>
                  <a:pt x="6" y="192"/>
                </a:lnTo>
                <a:lnTo>
                  <a:pt x="12" y="186"/>
                </a:lnTo>
                <a:lnTo>
                  <a:pt x="12" y="192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0"/>
                </a:lnTo>
                <a:lnTo>
                  <a:pt x="12" y="180"/>
                </a:lnTo>
                <a:lnTo>
                  <a:pt x="18" y="180"/>
                </a:lnTo>
                <a:lnTo>
                  <a:pt x="18" y="180"/>
                </a:lnTo>
                <a:lnTo>
                  <a:pt x="18" y="180"/>
                </a:lnTo>
                <a:lnTo>
                  <a:pt x="18" y="180"/>
                </a:lnTo>
                <a:lnTo>
                  <a:pt x="18" y="180"/>
                </a:lnTo>
                <a:lnTo>
                  <a:pt x="18" y="180"/>
                </a:lnTo>
                <a:lnTo>
                  <a:pt x="18" y="180"/>
                </a:lnTo>
                <a:lnTo>
                  <a:pt x="18" y="180"/>
                </a:lnTo>
                <a:lnTo>
                  <a:pt x="18" y="180"/>
                </a:lnTo>
                <a:lnTo>
                  <a:pt x="18" y="180"/>
                </a:lnTo>
                <a:lnTo>
                  <a:pt x="18" y="180"/>
                </a:lnTo>
                <a:lnTo>
                  <a:pt x="18" y="180"/>
                </a:lnTo>
                <a:lnTo>
                  <a:pt x="18" y="180"/>
                </a:lnTo>
                <a:lnTo>
                  <a:pt x="18" y="180"/>
                </a:lnTo>
                <a:lnTo>
                  <a:pt x="18" y="174"/>
                </a:lnTo>
                <a:lnTo>
                  <a:pt x="18" y="174"/>
                </a:lnTo>
                <a:lnTo>
                  <a:pt x="18" y="174"/>
                </a:lnTo>
                <a:lnTo>
                  <a:pt x="18" y="174"/>
                </a:lnTo>
                <a:lnTo>
                  <a:pt x="24" y="174"/>
                </a:lnTo>
                <a:lnTo>
                  <a:pt x="24" y="174"/>
                </a:lnTo>
                <a:lnTo>
                  <a:pt x="24" y="174"/>
                </a:lnTo>
                <a:lnTo>
                  <a:pt x="24" y="174"/>
                </a:lnTo>
                <a:lnTo>
                  <a:pt x="24" y="174"/>
                </a:lnTo>
                <a:lnTo>
                  <a:pt x="30" y="174"/>
                </a:lnTo>
                <a:lnTo>
                  <a:pt x="30" y="174"/>
                </a:lnTo>
                <a:lnTo>
                  <a:pt x="30" y="174"/>
                </a:lnTo>
                <a:lnTo>
                  <a:pt x="30" y="174"/>
                </a:lnTo>
                <a:lnTo>
                  <a:pt x="30" y="174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36" y="168"/>
                </a:lnTo>
                <a:lnTo>
                  <a:pt x="36" y="168"/>
                </a:lnTo>
                <a:lnTo>
                  <a:pt x="36" y="168"/>
                </a:lnTo>
                <a:lnTo>
                  <a:pt x="36" y="168"/>
                </a:lnTo>
                <a:lnTo>
                  <a:pt x="36" y="168"/>
                </a:lnTo>
                <a:lnTo>
                  <a:pt x="36" y="168"/>
                </a:lnTo>
                <a:lnTo>
                  <a:pt x="36" y="162"/>
                </a:lnTo>
                <a:lnTo>
                  <a:pt x="36" y="162"/>
                </a:lnTo>
                <a:lnTo>
                  <a:pt x="36" y="162"/>
                </a:lnTo>
                <a:lnTo>
                  <a:pt x="36" y="162"/>
                </a:lnTo>
                <a:lnTo>
                  <a:pt x="36" y="162"/>
                </a:lnTo>
                <a:lnTo>
                  <a:pt x="36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36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56"/>
                </a:lnTo>
                <a:lnTo>
                  <a:pt x="36" y="156"/>
                </a:lnTo>
                <a:lnTo>
                  <a:pt x="42" y="156"/>
                </a:lnTo>
                <a:lnTo>
                  <a:pt x="42" y="156"/>
                </a:lnTo>
                <a:lnTo>
                  <a:pt x="42" y="156"/>
                </a:lnTo>
                <a:lnTo>
                  <a:pt x="42" y="156"/>
                </a:lnTo>
                <a:lnTo>
                  <a:pt x="42" y="156"/>
                </a:lnTo>
                <a:lnTo>
                  <a:pt x="42" y="156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36" y="114"/>
                </a:lnTo>
                <a:lnTo>
                  <a:pt x="36" y="108"/>
                </a:lnTo>
                <a:lnTo>
                  <a:pt x="36" y="108"/>
                </a:lnTo>
                <a:lnTo>
                  <a:pt x="30" y="108"/>
                </a:lnTo>
                <a:lnTo>
                  <a:pt x="30" y="114"/>
                </a:lnTo>
                <a:lnTo>
                  <a:pt x="24" y="114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2"/>
                </a:lnTo>
                <a:lnTo>
                  <a:pt x="18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0" y="10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97" name="Freeform 230"/>
          <p:cNvSpPr>
            <a:spLocks/>
          </p:cNvSpPr>
          <p:nvPr/>
        </p:nvSpPr>
        <p:spPr bwMode="auto">
          <a:xfrm>
            <a:off x="7789765" y="3004363"/>
            <a:ext cx="179873" cy="244116"/>
          </a:xfrm>
          <a:custGeom>
            <a:avLst/>
            <a:gdLst>
              <a:gd name="T0" fmla="*/ 0 w 168"/>
              <a:gd name="T1" fmla="*/ 180 h 228"/>
              <a:gd name="T2" fmla="*/ 18 w 168"/>
              <a:gd name="T3" fmla="*/ 150 h 228"/>
              <a:gd name="T4" fmla="*/ 24 w 168"/>
              <a:gd name="T5" fmla="*/ 156 h 228"/>
              <a:gd name="T6" fmla="*/ 30 w 168"/>
              <a:gd name="T7" fmla="*/ 150 h 228"/>
              <a:gd name="T8" fmla="*/ 12 w 168"/>
              <a:gd name="T9" fmla="*/ 132 h 228"/>
              <a:gd name="T10" fmla="*/ 6 w 168"/>
              <a:gd name="T11" fmla="*/ 72 h 228"/>
              <a:gd name="T12" fmla="*/ 12 w 168"/>
              <a:gd name="T13" fmla="*/ 66 h 228"/>
              <a:gd name="T14" fmla="*/ 36 w 168"/>
              <a:gd name="T15" fmla="*/ 54 h 228"/>
              <a:gd name="T16" fmla="*/ 48 w 168"/>
              <a:gd name="T17" fmla="*/ 54 h 228"/>
              <a:gd name="T18" fmla="*/ 48 w 168"/>
              <a:gd name="T19" fmla="*/ 54 h 228"/>
              <a:gd name="T20" fmla="*/ 54 w 168"/>
              <a:gd name="T21" fmla="*/ 48 h 228"/>
              <a:gd name="T22" fmla="*/ 60 w 168"/>
              <a:gd name="T23" fmla="*/ 42 h 228"/>
              <a:gd name="T24" fmla="*/ 60 w 168"/>
              <a:gd name="T25" fmla="*/ 48 h 228"/>
              <a:gd name="T26" fmla="*/ 72 w 168"/>
              <a:gd name="T27" fmla="*/ 42 h 228"/>
              <a:gd name="T28" fmla="*/ 78 w 168"/>
              <a:gd name="T29" fmla="*/ 48 h 228"/>
              <a:gd name="T30" fmla="*/ 102 w 168"/>
              <a:gd name="T31" fmla="*/ 36 h 228"/>
              <a:gd name="T32" fmla="*/ 96 w 168"/>
              <a:gd name="T33" fmla="*/ 30 h 228"/>
              <a:gd name="T34" fmla="*/ 96 w 168"/>
              <a:gd name="T35" fmla="*/ 24 h 228"/>
              <a:gd name="T36" fmla="*/ 96 w 168"/>
              <a:gd name="T37" fmla="*/ 18 h 228"/>
              <a:gd name="T38" fmla="*/ 90 w 168"/>
              <a:gd name="T39" fmla="*/ 12 h 228"/>
              <a:gd name="T40" fmla="*/ 84 w 168"/>
              <a:gd name="T41" fmla="*/ 0 h 228"/>
              <a:gd name="T42" fmla="*/ 126 w 168"/>
              <a:gd name="T43" fmla="*/ 6 h 228"/>
              <a:gd name="T44" fmla="*/ 138 w 168"/>
              <a:gd name="T45" fmla="*/ 12 h 228"/>
              <a:gd name="T46" fmla="*/ 144 w 168"/>
              <a:gd name="T47" fmla="*/ 36 h 228"/>
              <a:gd name="T48" fmla="*/ 150 w 168"/>
              <a:gd name="T49" fmla="*/ 48 h 228"/>
              <a:gd name="T50" fmla="*/ 162 w 168"/>
              <a:gd name="T51" fmla="*/ 42 h 228"/>
              <a:gd name="T52" fmla="*/ 168 w 168"/>
              <a:gd name="T53" fmla="*/ 42 h 228"/>
              <a:gd name="T54" fmla="*/ 168 w 168"/>
              <a:gd name="T55" fmla="*/ 54 h 228"/>
              <a:gd name="T56" fmla="*/ 162 w 168"/>
              <a:gd name="T57" fmla="*/ 54 h 228"/>
              <a:gd name="T58" fmla="*/ 162 w 168"/>
              <a:gd name="T59" fmla="*/ 66 h 228"/>
              <a:gd name="T60" fmla="*/ 162 w 168"/>
              <a:gd name="T61" fmla="*/ 66 h 228"/>
              <a:gd name="T62" fmla="*/ 162 w 168"/>
              <a:gd name="T63" fmla="*/ 72 h 228"/>
              <a:gd name="T64" fmla="*/ 162 w 168"/>
              <a:gd name="T65" fmla="*/ 78 h 228"/>
              <a:gd name="T66" fmla="*/ 162 w 168"/>
              <a:gd name="T67" fmla="*/ 78 h 228"/>
              <a:gd name="T68" fmla="*/ 156 w 168"/>
              <a:gd name="T69" fmla="*/ 84 h 228"/>
              <a:gd name="T70" fmla="*/ 150 w 168"/>
              <a:gd name="T71" fmla="*/ 90 h 228"/>
              <a:gd name="T72" fmla="*/ 156 w 168"/>
              <a:gd name="T73" fmla="*/ 102 h 228"/>
              <a:gd name="T74" fmla="*/ 150 w 168"/>
              <a:gd name="T75" fmla="*/ 108 h 228"/>
              <a:gd name="T76" fmla="*/ 150 w 168"/>
              <a:gd name="T77" fmla="*/ 120 h 228"/>
              <a:gd name="T78" fmla="*/ 150 w 168"/>
              <a:gd name="T79" fmla="*/ 126 h 228"/>
              <a:gd name="T80" fmla="*/ 144 w 168"/>
              <a:gd name="T81" fmla="*/ 126 h 228"/>
              <a:gd name="T82" fmla="*/ 138 w 168"/>
              <a:gd name="T83" fmla="*/ 132 h 228"/>
              <a:gd name="T84" fmla="*/ 138 w 168"/>
              <a:gd name="T85" fmla="*/ 144 h 228"/>
              <a:gd name="T86" fmla="*/ 132 w 168"/>
              <a:gd name="T87" fmla="*/ 144 h 228"/>
              <a:gd name="T88" fmla="*/ 132 w 168"/>
              <a:gd name="T89" fmla="*/ 144 h 228"/>
              <a:gd name="T90" fmla="*/ 132 w 168"/>
              <a:gd name="T91" fmla="*/ 150 h 228"/>
              <a:gd name="T92" fmla="*/ 132 w 168"/>
              <a:gd name="T93" fmla="*/ 156 h 228"/>
              <a:gd name="T94" fmla="*/ 132 w 168"/>
              <a:gd name="T95" fmla="*/ 162 h 228"/>
              <a:gd name="T96" fmla="*/ 132 w 168"/>
              <a:gd name="T97" fmla="*/ 168 h 228"/>
              <a:gd name="T98" fmla="*/ 138 w 168"/>
              <a:gd name="T99" fmla="*/ 180 h 228"/>
              <a:gd name="T100" fmla="*/ 132 w 168"/>
              <a:gd name="T101" fmla="*/ 180 h 228"/>
              <a:gd name="T102" fmla="*/ 126 w 168"/>
              <a:gd name="T103" fmla="*/ 192 h 228"/>
              <a:gd name="T104" fmla="*/ 114 w 168"/>
              <a:gd name="T105" fmla="*/ 204 h 228"/>
              <a:gd name="T106" fmla="*/ 60 w 168"/>
              <a:gd name="T107" fmla="*/ 192 h 228"/>
              <a:gd name="T108" fmla="*/ 48 w 168"/>
              <a:gd name="T109" fmla="*/ 198 h 228"/>
              <a:gd name="T110" fmla="*/ 36 w 168"/>
              <a:gd name="T111" fmla="*/ 198 h 228"/>
              <a:gd name="T112" fmla="*/ 24 w 168"/>
              <a:gd name="T113" fmla="*/ 198 h 228"/>
              <a:gd name="T114" fmla="*/ 12 w 168"/>
              <a:gd name="T115" fmla="*/ 192 h 228"/>
              <a:gd name="T116" fmla="*/ 6 w 168"/>
              <a:gd name="T117" fmla="*/ 192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68" h="228">
                <a:moveTo>
                  <a:pt x="0" y="192"/>
                </a:moveTo>
                <a:lnTo>
                  <a:pt x="0" y="192"/>
                </a:lnTo>
                <a:lnTo>
                  <a:pt x="0" y="186"/>
                </a:lnTo>
                <a:lnTo>
                  <a:pt x="0" y="186"/>
                </a:lnTo>
                <a:lnTo>
                  <a:pt x="0" y="186"/>
                </a:lnTo>
                <a:lnTo>
                  <a:pt x="0" y="186"/>
                </a:lnTo>
                <a:lnTo>
                  <a:pt x="0" y="180"/>
                </a:lnTo>
                <a:lnTo>
                  <a:pt x="6" y="186"/>
                </a:lnTo>
                <a:lnTo>
                  <a:pt x="6" y="180"/>
                </a:lnTo>
                <a:lnTo>
                  <a:pt x="12" y="150"/>
                </a:lnTo>
                <a:lnTo>
                  <a:pt x="18" y="150"/>
                </a:lnTo>
                <a:lnTo>
                  <a:pt x="18" y="150"/>
                </a:lnTo>
                <a:lnTo>
                  <a:pt x="18" y="150"/>
                </a:lnTo>
                <a:lnTo>
                  <a:pt x="18" y="150"/>
                </a:lnTo>
                <a:lnTo>
                  <a:pt x="18" y="150"/>
                </a:lnTo>
                <a:lnTo>
                  <a:pt x="18" y="150"/>
                </a:lnTo>
                <a:lnTo>
                  <a:pt x="18" y="156"/>
                </a:lnTo>
                <a:lnTo>
                  <a:pt x="18" y="156"/>
                </a:lnTo>
                <a:lnTo>
                  <a:pt x="24" y="156"/>
                </a:lnTo>
                <a:lnTo>
                  <a:pt x="24" y="156"/>
                </a:lnTo>
                <a:lnTo>
                  <a:pt x="24" y="156"/>
                </a:lnTo>
                <a:lnTo>
                  <a:pt x="24" y="156"/>
                </a:lnTo>
                <a:lnTo>
                  <a:pt x="24" y="156"/>
                </a:lnTo>
                <a:lnTo>
                  <a:pt x="24" y="156"/>
                </a:lnTo>
                <a:lnTo>
                  <a:pt x="30" y="156"/>
                </a:lnTo>
                <a:lnTo>
                  <a:pt x="30" y="156"/>
                </a:lnTo>
                <a:lnTo>
                  <a:pt x="30" y="150"/>
                </a:lnTo>
                <a:lnTo>
                  <a:pt x="30" y="150"/>
                </a:lnTo>
                <a:lnTo>
                  <a:pt x="30" y="144"/>
                </a:lnTo>
                <a:lnTo>
                  <a:pt x="30" y="144"/>
                </a:lnTo>
                <a:lnTo>
                  <a:pt x="30" y="138"/>
                </a:lnTo>
                <a:lnTo>
                  <a:pt x="30" y="138"/>
                </a:lnTo>
                <a:lnTo>
                  <a:pt x="30" y="132"/>
                </a:lnTo>
                <a:lnTo>
                  <a:pt x="30" y="132"/>
                </a:lnTo>
                <a:lnTo>
                  <a:pt x="12" y="132"/>
                </a:lnTo>
                <a:lnTo>
                  <a:pt x="12" y="114"/>
                </a:lnTo>
                <a:lnTo>
                  <a:pt x="12" y="108"/>
                </a:lnTo>
                <a:lnTo>
                  <a:pt x="12" y="102"/>
                </a:lnTo>
                <a:lnTo>
                  <a:pt x="6" y="96"/>
                </a:lnTo>
                <a:lnTo>
                  <a:pt x="12" y="84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36" y="72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48"/>
                </a:lnTo>
                <a:lnTo>
                  <a:pt x="48" y="54"/>
                </a:lnTo>
                <a:lnTo>
                  <a:pt x="48" y="54"/>
                </a:lnTo>
                <a:lnTo>
                  <a:pt x="48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6" y="48"/>
                </a:lnTo>
                <a:lnTo>
                  <a:pt x="66" y="42"/>
                </a:lnTo>
                <a:lnTo>
                  <a:pt x="66" y="48"/>
                </a:lnTo>
                <a:lnTo>
                  <a:pt x="66" y="48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90" y="42"/>
                </a:lnTo>
                <a:lnTo>
                  <a:pt x="96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0" y="18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6"/>
                </a:lnTo>
                <a:lnTo>
                  <a:pt x="90" y="12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84" y="6"/>
                </a:lnTo>
                <a:lnTo>
                  <a:pt x="84" y="0"/>
                </a:lnTo>
                <a:lnTo>
                  <a:pt x="102" y="6"/>
                </a:lnTo>
                <a:lnTo>
                  <a:pt x="114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32" y="12"/>
                </a:lnTo>
                <a:lnTo>
                  <a:pt x="132" y="12"/>
                </a:lnTo>
                <a:lnTo>
                  <a:pt x="138" y="6"/>
                </a:lnTo>
                <a:lnTo>
                  <a:pt x="138" y="6"/>
                </a:lnTo>
                <a:lnTo>
                  <a:pt x="138" y="12"/>
                </a:lnTo>
                <a:lnTo>
                  <a:pt x="138" y="12"/>
                </a:lnTo>
                <a:lnTo>
                  <a:pt x="138" y="18"/>
                </a:lnTo>
                <a:lnTo>
                  <a:pt x="138" y="18"/>
                </a:lnTo>
                <a:lnTo>
                  <a:pt x="138" y="24"/>
                </a:lnTo>
                <a:lnTo>
                  <a:pt x="138" y="30"/>
                </a:lnTo>
                <a:lnTo>
                  <a:pt x="138" y="30"/>
                </a:lnTo>
                <a:lnTo>
                  <a:pt x="144" y="36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8" y="42"/>
                </a:lnTo>
                <a:lnTo>
                  <a:pt x="168" y="42"/>
                </a:lnTo>
                <a:lnTo>
                  <a:pt x="168" y="42"/>
                </a:lnTo>
                <a:lnTo>
                  <a:pt x="168" y="42"/>
                </a:lnTo>
                <a:lnTo>
                  <a:pt x="168" y="42"/>
                </a:lnTo>
                <a:lnTo>
                  <a:pt x="168" y="42"/>
                </a:lnTo>
                <a:lnTo>
                  <a:pt x="168" y="48"/>
                </a:lnTo>
                <a:lnTo>
                  <a:pt x="168" y="48"/>
                </a:lnTo>
                <a:lnTo>
                  <a:pt x="162" y="48"/>
                </a:lnTo>
                <a:lnTo>
                  <a:pt x="168" y="48"/>
                </a:lnTo>
                <a:lnTo>
                  <a:pt x="168" y="48"/>
                </a:lnTo>
                <a:lnTo>
                  <a:pt x="168" y="54"/>
                </a:lnTo>
                <a:lnTo>
                  <a:pt x="162" y="54"/>
                </a:lnTo>
                <a:lnTo>
                  <a:pt x="162" y="54"/>
                </a:lnTo>
                <a:lnTo>
                  <a:pt x="162" y="54"/>
                </a:lnTo>
                <a:lnTo>
                  <a:pt x="162" y="54"/>
                </a:lnTo>
                <a:lnTo>
                  <a:pt x="168" y="54"/>
                </a:lnTo>
                <a:lnTo>
                  <a:pt x="162" y="54"/>
                </a:lnTo>
                <a:lnTo>
                  <a:pt x="162" y="54"/>
                </a:lnTo>
                <a:lnTo>
                  <a:pt x="162" y="54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6"/>
                </a:lnTo>
                <a:lnTo>
                  <a:pt x="162" y="66"/>
                </a:lnTo>
                <a:lnTo>
                  <a:pt x="162" y="66"/>
                </a:lnTo>
                <a:lnTo>
                  <a:pt x="162" y="66"/>
                </a:lnTo>
                <a:lnTo>
                  <a:pt x="162" y="66"/>
                </a:lnTo>
                <a:lnTo>
                  <a:pt x="162" y="66"/>
                </a:lnTo>
                <a:lnTo>
                  <a:pt x="162" y="66"/>
                </a:lnTo>
                <a:lnTo>
                  <a:pt x="162" y="66"/>
                </a:lnTo>
                <a:lnTo>
                  <a:pt x="162" y="66"/>
                </a:lnTo>
                <a:lnTo>
                  <a:pt x="162" y="66"/>
                </a:lnTo>
                <a:lnTo>
                  <a:pt x="162" y="66"/>
                </a:lnTo>
                <a:lnTo>
                  <a:pt x="168" y="72"/>
                </a:lnTo>
                <a:lnTo>
                  <a:pt x="162" y="72"/>
                </a:lnTo>
                <a:lnTo>
                  <a:pt x="162" y="72"/>
                </a:lnTo>
                <a:lnTo>
                  <a:pt x="162" y="72"/>
                </a:lnTo>
                <a:lnTo>
                  <a:pt x="162" y="72"/>
                </a:lnTo>
                <a:lnTo>
                  <a:pt x="162" y="72"/>
                </a:lnTo>
                <a:lnTo>
                  <a:pt x="162" y="72"/>
                </a:lnTo>
                <a:lnTo>
                  <a:pt x="162" y="72"/>
                </a:lnTo>
                <a:lnTo>
                  <a:pt x="162" y="78"/>
                </a:lnTo>
                <a:lnTo>
                  <a:pt x="162" y="78"/>
                </a:lnTo>
                <a:lnTo>
                  <a:pt x="162" y="78"/>
                </a:lnTo>
                <a:lnTo>
                  <a:pt x="162" y="78"/>
                </a:lnTo>
                <a:lnTo>
                  <a:pt x="162" y="78"/>
                </a:lnTo>
                <a:lnTo>
                  <a:pt x="162" y="78"/>
                </a:lnTo>
                <a:lnTo>
                  <a:pt x="162" y="78"/>
                </a:lnTo>
                <a:lnTo>
                  <a:pt x="162" y="78"/>
                </a:lnTo>
                <a:lnTo>
                  <a:pt x="162" y="78"/>
                </a:lnTo>
                <a:lnTo>
                  <a:pt x="162" y="78"/>
                </a:lnTo>
                <a:lnTo>
                  <a:pt x="156" y="78"/>
                </a:lnTo>
                <a:lnTo>
                  <a:pt x="156" y="78"/>
                </a:lnTo>
                <a:lnTo>
                  <a:pt x="156" y="78"/>
                </a:lnTo>
                <a:lnTo>
                  <a:pt x="156" y="84"/>
                </a:lnTo>
                <a:lnTo>
                  <a:pt x="156" y="84"/>
                </a:lnTo>
                <a:lnTo>
                  <a:pt x="150" y="84"/>
                </a:lnTo>
                <a:lnTo>
                  <a:pt x="156" y="84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56" y="90"/>
                </a:lnTo>
                <a:lnTo>
                  <a:pt x="156" y="90"/>
                </a:lnTo>
                <a:lnTo>
                  <a:pt x="156" y="90"/>
                </a:lnTo>
                <a:lnTo>
                  <a:pt x="150" y="90"/>
                </a:lnTo>
                <a:lnTo>
                  <a:pt x="150" y="96"/>
                </a:lnTo>
                <a:lnTo>
                  <a:pt x="150" y="96"/>
                </a:lnTo>
                <a:lnTo>
                  <a:pt x="156" y="96"/>
                </a:lnTo>
                <a:lnTo>
                  <a:pt x="156" y="96"/>
                </a:lnTo>
                <a:lnTo>
                  <a:pt x="156" y="102"/>
                </a:lnTo>
                <a:lnTo>
                  <a:pt x="156" y="102"/>
                </a:lnTo>
                <a:lnTo>
                  <a:pt x="156" y="102"/>
                </a:lnTo>
                <a:lnTo>
                  <a:pt x="156" y="102"/>
                </a:lnTo>
                <a:lnTo>
                  <a:pt x="156" y="102"/>
                </a:lnTo>
                <a:lnTo>
                  <a:pt x="156" y="108"/>
                </a:lnTo>
                <a:lnTo>
                  <a:pt x="156" y="108"/>
                </a:lnTo>
                <a:lnTo>
                  <a:pt x="156" y="108"/>
                </a:lnTo>
                <a:lnTo>
                  <a:pt x="156" y="108"/>
                </a:lnTo>
                <a:lnTo>
                  <a:pt x="150" y="108"/>
                </a:lnTo>
                <a:lnTo>
                  <a:pt x="150" y="114"/>
                </a:lnTo>
                <a:lnTo>
                  <a:pt x="150" y="114"/>
                </a:lnTo>
                <a:lnTo>
                  <a:pt x="150" y="114"/>
                </a:lnTo>
                <a:lnTo>
                  <a:pt x="150" y="114"/>
                </a:lnTo>
                <a:lnTo>
                  <a:pt x="150" y="114"/>
                </a:lnTo>
                <a:lnTo>
                  <a:pt x="150" y="120"/>
                </a:lnTo>
                <a:lnTo>
                  <a:pt x="150" y="120"/>
                </a:lnTo>
                <a:lnTo>
                  <a:pt x="150" y="120"/>
                </a:lnTo>
                <a:lnTo>
                  <a:pt x="150" y="120"/>
                </a:lnTo>
                <a:lnTo>
                  <a:pt x="150" y="120"/>
                </a:lnTo>
                <a:lnTo>
                  <a:pt x="144" y="120"/>
                </a:lnTo>
                <a:lnTo>
                  <a:pt x="144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44" y="126"/>
                </a:lnTo>
                <a:lnTo>
                  <a:pt x="144" y="126"/>
                </a:lnTo>
                <a:lnTo>
                  <a:pt x="144" y="126"/>
                </a:lnTo>
                <a:lnTo>
                  <a:pt x="144" y="126"/>
                </a:lnTo>
                <a:lnTo>
                  <a:pt x="144" y="126"/>
                </a:lnTo>
                <a:lnTo>
                  <a:pt x="144" y="126"/>
                </a:lnTo>
                <a:lnTo>
                  <a:pt x="138" y="126"/>
                </a:lnTo>
                <a:lnTo>
                  <a:pt x="144" y="126"/>
                </a:lnTo>
                <a:lnTo>
                  <a:pt x="138" y="132"/>
                </a:lnTo>
                <a:lnTo>
                  <a:pt x="138" y="132"/>
                </a:lnTo>
                <a:lnTo>
                  <a:pt x="138" y="132"/>
                </a:lnTo>
                <a:lnTo>
                  <a:pt x="138" y="132"/>
                </a:lnTo>
                <a:lnTo>
                  <a:pt x="138" y="132"/>
                </a:lnTo>
                <a:lnTo>
                  <a:pt x="138" y="138"/>
                </a:lnTo>
                <a:lnTo>
                  <a:pt x="138" y="138"/>
                </a:lnTo>
                <a:lnTo>
                  <a:pt x="138" y="138"/>
                </a:lnTo>
                <a:lnTo>
                  <a:pt x="138" y="138"/>
                </a:lnTo>
                <a:lnTo>
                  <a:pt x="138" y="138"/>
                </a:lnTo>
                <a:lnTo>
                  <a:pt x="138" y="138"/>
                </a:lnTo>
                <a:lnTo>
                  <a:pt x="138" y="144"/>
                </a:lnTo>
                <a:lnTo>
                  <a:pt x="138" y="144"/>
                </a:lnTo>
                <a:lnTo>
                  <a:pt x="138" y="144"/>
                </a:lnTo>
                <a:lnTo>
                  <a:pt x="138" y="144"/>
                </a:lnTo>
                <a:lnTo>
                  <a:pt x="132" y="144"/>
                </a:lnTo>
                <a:lnTo>
                  <a:pt x="132" y="138"/>
                </a:lnTo>
                <a:lnTo>
                  <a:pt x="132" y="138"/>
                </a:lnTo>
                <a:lnTo>
                  <a:pt x="132" y="144"/>
                </a:lnTo>
                <a:lnTo>
                  <a:pt x="132" y="144"/>
                </a:lnTo>
                <a:lnTo>
                  <a:pt x="132" y="144"/>
                </a:lnTo>
                <a:lnTo>
                  <a:pt x="132" y="144"/>
                </a:lnTo>
                <a:lnTo>
                  <a:pt x="132" y="144"/>
                </a:lnTo>
                <a:lnTo>
                  <a:pt x="132" y="144"/>
                </a:lnTo>
                <a:lnTo>
                  <a:pt x="132" y="144"/>
                </a:lnTo>
                <a:lnTo>
                  <a:pt x="132" y="144"/>
                </a:lnTo>
                <a:lnTo>
                  <a:pt x="132" y="144"/>
                </a:lnTo>
                <a:lnTo>
                  <a:pt x="126" y="144"/>
                </a:lnTo>
                <a:lnTo>
                  <a:pt x="126" y="144"/>
                </a:lnTo>
                <a:lnTo>
                  <a:pt x="132" y="144"/>
                </a:lnTo>
                <a:lnTo>
                  <a:pt x="132" y="150"/>
                </a:lnTo>
                <a:lnTo>
                  <a:pt x="132" y="150"/>
                </a:lnTo>
                <a:lnTo>
                  <a:pt x="132" y="150"/>
                </a:lnTo>
                <a:lnTo>
                  <a:pt x="132" y="150"/>
                </a:lnTo>
                <a:lnTo>
                  <a:pt x="132" y="150"/>
                </a:lnTo>
                <a:lnTo>
                  <a:pt x="132" y="150"/>
                </a:lnTo>
                <a:lnTo>
                  <a:pt x="132" y="150"/>
                </a:lnTo>
                <a:lnTo>
                  <a:pt x="132" y="150"/>
                </a:lnTo>
                <a:lnTo>
                  <a:pt x="132" y="156"/>
                </a:lnTo>
                <a:lnTo>
                  <a:pt x="132" y="156"/>
                </a:lnTo>
                <a:lnTo>
                  <a:pt x="132" y="156"/>
                </a:lnTo>
                <a:lnTo>
                  <a:pt x="132" y="162"/>
                </a:lnTo>
                <a:lnTo>
                  <a:pt x="132" y="162"/>
                </a:lnTo>
                <a:lnTo>
                  <a:pt x="132" y="162"/>
                </a:lnTo>
                <a:lnTo>
                  <a:pt x="132" y="162"/>
                </a:lnTo>
                <a:lnTo>
                  <a:pt x="132" y="162"/>
                </a:lnTo>
                <a:lnTo>
                  <a:pt x="132" y="162"/>
                </a:lnTo>
                <a:lnTo>
                  <a:pt x="132" y="162"/>
                </a:lnTo>
                <a:lnTo>
                  <a:pt x="132" y="168"/>
                </a:lnTo>
                <a:lnTo>
                  <a:pt x="132" y="168"/>
                </a:lnTo>
                <a:lnTo>
                  <a:pt x="132" y="168"/>
                </a:lnTo>
                <a:lnTo>
                  <a:pt x="132" y="168"/>
                </a:lnTo>
                <a:lnTo>
                  <a:pt x="132" y="168"/>
                </a:lnTo>
                <a:lnTo>
                  <a:pt x="132" y="168"/>
                </a:lnTo>
                <a:lnTo>
                  <a:pt x="132" y="168"/>
                </a:lnTo>
                <a:lnTo>
                  <a:pt x="132" y="174"/>
                </a:lnTo>
                <a:lnTo>
                  <a:pt x="138" y="174"/>
                </a:lnTo>
                <a:lnTo>
                  <a:pt x="138" y="174"/>
                </a:lnTo>
                <a:lnTo>
                  <a:pt x="138" y="174"/>
                </a:lnTo>
                <a:lnTo>
                  <a:pt x="138" y="174"/>
                </a:lnTo>
                <a:lnTo>
                  <a:pt x="138" y="180"/>
                </a:lnTo>
                <a:lnTo>
                  <a:pt x="138" y="180"/>
                </a:lnTo>
                <a:lnTo>
                  <a:pt x="132" y="180"/>
                </a:lnTo>
                <a:lnTo>
                  <a:pt x="132" y="180"/>
                </a:lnTo>
                <a:lnTo>
                  <a:pt x="132" y="180"/>
                </a:lnTo>
                <a:lnTo>
                  <a:pt x="132" y="180"/>
                </a:lnTo>
                <a:lnTo>
                  <a:pt x="132" y="180"/>
                </a:lnTo>
                <a:lnTo>
                  <a:pt x="132" y="180"/>
                </a:lnTo>
                <a:lnTo>
                  <a:pt x="126" y="186"/>
                </a:lnTo>
                <a:lnTo>
                  <a:pt x="126" y="186"/>
                </a:lnTo>
                <a:lnTo>
                  <a:pt x="126" y="186"/>
                </a:lnTo>
                <a:lnTo>
                  <a:pt x="132" y="192"/>
                </a:lnTo>
                <a:lnTo>
                  <a:pt x="132" y="192"/>
                </a:lnTo>
                <a:lnTo>
                  <a:pt x="126" y="192"/>
                </a:lnTo>
                <a:lnTo>
                  <a:pt x="126" y="192"/>
                </a:lnTo>
                <a:lnTo>
                  <a:pt x="120" y="192"/>
                </a:lnTo>
                <a:lnTo>
                  <a:pt x="120" y="192"/>
                </a:lnTo>
                <a:lnTo>
                  <a:pt x="120" y="192"/>
                </a:lnTo>
                <a:lnTo>
                  <a:pt x="120" y="192"/>
                </a:lnTo>
                <a:lnTo>
                  <a:pt x="120" y="192"/>
                </a:lnTo>
                <a:lnTo>
                  <a:pt x="120" y="192"/>
                </a:lnTo>
                <a:lnTo>
                  <a:pt x="114" y="204"/>
                </a:lnTo>
                <a:lnTo>
                  <a:pt x="108" y="210"/>
                </a:lnTo>
                <a:lnTo>
                  <a:pt x="108" y="216"/>
                </a:lnTo>
                <a:lnTo>
                  <a:pt x="102" y="228"/>
                </a:lnTo>
                <a:lnTo>
                  <a:pt x="90" y="216"/>
                </a:lnTo>
                <a:lnTo>
                  <a:pt x="60" y="192"/>
                </a:lnTo>
                <a:lnTo>
                  <a:pt x="60" y="192"/>
                </a:lnTo>
                <a:lnTo>
                  <a:pt x="60" y="192"/>
                </a:lnTo>
                <a:lnTo>
                  <a:pt x="54" y="192"/>
                </a:lnTo>
                <a:lnTo>
                  <a:pt x="54" y="192"/>
                </a:lnTo>
                <a:lnTo>
                  <a:pt x="54" y="192"/>
                </a:lnTo>
                <a:lnTo>
                  <a:pt x="48" y="192"/>
                </a:lnTo>
                <a:lnTo>
                  <a:pt x="48" y="198"/>
                </a:lnTo>
                <a:lnTo>
                  <a:pt x="48" y="198"/>
                </a:lnTo>
                <a:lnTo>
                  <a:pt x="48" y="198"/>
                </a:lnTo>
                <a:lnTo>
                  <a:pt x="48" y="198"/>
                </a:lnTo>
                <a:lnTo>
                  <a:pt x="42" y="198"/>
                </a:lnTo>
                <a:lnTo>
                  <a:pt x="42" y="198"/>
                </a:lnTo>
                <a:lnTo>
                  <a:pt x="42" y="198"/>
                </a:lnTo>
                <a:lnTo>
                  <a:pt x="36" y="198"/>
                </a:lnTo>
                <a:lnTo>
                  <a:pt x="36" y="198"/>
                </a:lnTo>
                <a:lnTo>
                  <a:pt x="36" y="198"/>
                </a:lnTo>
                <a:lnTo>
                  <a:pt x="30" y="198"/>
                </a:lnTo>
                <a:lnTo>
                  <a:pt x="24" y="198"/>
                </a:lnTo>
                <a:lnTo>
                  <a:pt x="24" y="204"/>
                </a:lnTo>
                <a:lnTo>
                  <a:pt x="24" y="204"/>
                </a:lnTo>
                <a:lnTo>
                  <a:pt x="24" y="198"/>
                </a:lnTo>
                <a:lnTo>
                  <a:pt x="24" y="198"/>
                </a:lnTo>
                <a:lnTo>
                  <a:pt x="24" y="198"/>
                </a:lnTo>
                <a:lnTo>
                  <a:pt x="18" y="198"/>
                </a:lnTo>
                <a:lnTo>
                  <a:pt x="18" y="192"/>
                </a:lnTo>
                <a:lnTo>
                  <a:pt x="18" y="192"/>
                </a:lnTo>
                <a:lnTo>
                  <a:pt x="18" y="192"/>
                </a:lnTo>
                <a:lnTo>
                  <a:pt x="12" y="192"/>
                </a:lnTo>
                <a:lnTo>
                  <a:pt x="18" y="192"/>
                </a:lnTo>
                <a:lnTo>
                  <a:pt x="12" y="192"/>
                </a:lnTo>
                <a:lnTo>
                  <a:pt x="12" y="186"/>
                </a:lnTo>
                <a:lnTo>
                  <a:pt x="12" y="186"/>
                </a:lnTo>
                <a:lnTo>
                  <a:pt x="12" y="192"/>
                </a:lnTo>
                <a:lnTo>
                  <a:pt x="12" y="192"/>
                </a:lnTo>
                <a:lnTo>
                  <a:pt x="6" y="192"/>
                </a:lnTo>
                <a:lnTo>
                  <a:pt x="6" y="192"/>
                </a:lnTo>
                <a:lnTo>
                  <a:pt x="6" y="192"/>
                </a:lnTo>
                <a:lnTo>
                  <a:pt x="0" y="192"/>
                </a:lnTo>
                <a:lnTo>
                  <a:pt x="0" y="192"/>
                </a:lnTo>
                <a:lnTo>
                  <a:pt x="0" y="192"/>
                </a:lnTo>
                <a:lnTo>
                  <a:pt x="0" y="19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98" name="Freeform 231"/>
          <p:cNvSpPr>
            <a:spLocks/>
          </p:cNvSpPr>
          <p:nvPr/>
        </p:nvSpPr>
        <p:spPr bwMode="auto">
          <a:xfrm>
            <a:off x="8117392" y="2631766"/>
            <a:ext cx="173449" cy="147754"/>
          </a:xfrm>
          <a:custGeom>
            <a:avLst/>
            <a:gdLst>
              <a:gd name="T0" fmla="*/ 0 w 162"/>
              <a:gd name="T1" fmla="*/ 66 h 138"/>
              <a:gd name="T2" fmla="*/ 6 w 162"/>
              <a:gd name="T3" fmla="*/ 66 h 138"/>
              <a:gd name="T4" fmla="*/ 12 w 162"/>
              <a:gd name="T5" fmla="*/ 66 h 138"/>
              <a:gd name="T6" fmla="*/ 12 w 162"/>
              <a:gd name="T7" fmla="*/ 66 h 138"/>
              <a:gd name="T8" fmla="*/ 12 w 162"/>
              <a:gd name="T9" fmla="*/ 66 h 138"/>
              <a:gd name="T10" fmla="*/ 18 w 162"/>
              <a:gd name="T11" fmla="*/ 66 h 138"/>
              <a:gd name="T12" fmla="*/ 18 w 162"/>
              <a:gd name="T13" fmla="*/ 60 h 138"/>
              <a:gd name="T14" fmla="*/ 6 w 162"/>
              <a:gd name="T15" fmla="*/ 42 h 138"/>
              <a:gd name="T16" fmla="*/ 12 w 162"/>
              <a:gd name="T17" fmla="*/ 42 h 138"/>
              <a:gd name="T18" fmla="*/ 24 w 162"/>
              <a:gd name="T19" fmla="*/ 36 h 138"/>
              <a:gd name="T20" fmla="*/ 36 w 162"/>
              <a:gd name="T21" fmla="*/ 30 h 138"/>
              <a:gd name="T22" fmla="*/ 42 w 162"/>
              <a:gd name="T23" fmla="*/ 24 h 138"/>
              <a:gd name="T24" fmla="*/ 48 w 162"/>
              <a:gd name="T25" fmla="*/ 18 h 138"/>
              <a:gd name="T26" fmla="*/ 54 w 162"/>
              <a:gd name="T27" fmla="*/ 18 h 138"/>
              <a:gd name="T28" fmla="*/ 60 w 162"/>
              <a:gd name="T29" fmla="*/ 12 h 138"/>
              <a:gd name="T30" fmla="*/ 66 w 162"/>
              <a:gd name="T31" fmla="*/ 6 h 138"/>
              <a:gd name="T32" fmla="*/ 66 w 162"/>
              <a:gd name="T33" fmla="*/ 6 h 138"/>
              <a:gd name="T34" fmla="*/ 72 w 162"/>
              <a:gd name="T35" fmla="*/ 6 h 138"/>
              <a:gd name="T36" fmla="*/ 72 w 162"/>
              <a:gd name="T37" fmla="*/ 0 h 138"/>
              <a:gd name="T38" fmla="*/ 78 w 162"/>
              <a:gd name="T39" fmla="*/ 0 h 138"/>
              <a:gd name="T40" fmla="*/ 84 w 162"/>
              <a:gd name="T41" fmla="*/ 0 h 138"/>
              <a:gd name="T42" fmla="*/ 90 w 162"/>
              <a:gd name="T43" fmla="*/ 6 h 138"/>
              <a:gd name="T44" fmla="*/ 96 w 162"/>
              <a:gd name="T45" fmla="*/ 6 h 138"/>
              <a:gd name="T46" fmla="*/ 108 w 162"/>
              <a:gd name="T47" fmla="*/ 6 h 138"/>
              <a:gd name="T48" fmla="*/ 114 w 162"/>
              <a:gd name="T49" fmla="*/ 6 h 138"/>
              <a:gd name="T50" fmla="*/ 120 w 162"/>
              <a:gd name="T51" fmla="*/ 12 h 138"/>
              <a:gd name="T52" fmla="*/ 126 w 162"/>
              <a:gd name="T53" fmla="*/ 12 h 138"/>
              <a:gd name="T54" fmla="*/ 144 w 162"/>
              <a:gd name="T55" fmla="*/ 54 h 138"/>
              <a:gd name="T56" fmla="*/ 162 w 162"/>
              <a:gd name="T57" fmla="*/ 96 h 138"/>
              <a:gd name="T58" fmla="*/ 156 w 162"/>
              <a:gd name="T59" fmla="*/ 96 h 138"/>
              <a:gd name="T60" fmla="*/ 150 w 162"/>
              <a:gd name="T61" fmla="*/ 96 h 138"/>
              <a:gd name="T62" fmla="*/ 144 w 162"/>
              <a:gd name="T63" fmla="*/ 102 h 138"/>
              <a:gd name="T64" fmla="*/ 144 w 162"/>
              <a:gd name="T65" fmla="*/ 102 h 138"/>
              <a:gd name="T66" fmla="*/ 132 w 162"/>
              <a:gd name="T67" fmla="*/ 126 h 138"/>
              <a:gd name="T68" fmla="*/ 132 w 162"/>
              <a:gd name="T69" fmla="*/ 120 h 138"/>
              <a:gd name="T70" fmla="*/ 126 w 162"/>
              <a:gd name="T71" fmla="*/ 114 h 138"/>
              <a:gd name="T72" fmla="*/ 108 w 162"/>
              <a:gd name="T73" fmla="*/ 114 h 138"/>
              <a:gd name="T74" fmla="*/ 108 w 162"/>
              <a:gd name="T75" fmla="*/ 114 h 138"/>
              <a:gd name="T76" fmla="*/ 102 w 162"/>
              <a:gd name="T77" fmla="*/ 126 h 138"/>
              <a:gd name="T78" fmla="*/ 102 w 162"/>
              <a:gd name="T79" fmla="*/ 126 h 138"/>
              <a:gd name="T80" fmla="*/ 96 w 162"/>
              <a:gd name="T81" fmla="*/ 132 h 138"/>
              <a:gd name="T82" fmla="*/ 96 w 162"/>
              <a:gd name="T83" fmla="*/ 132 h 138"/>
              <a:gd name="T84" fmla="*/ 48 w 162"/>
              <a:gd name="T85" fmla="*/ 138 h 138"/>
              <a:gd name="T86" fmla="*/ 42 w 162"/>
              <a:gd name="T87" fmla="*/ 138 h 138"/>
              <a:gd name="T88" fmla="*/ 36 w 162"/>
              <a:gd name="T89" fmla="*/ 132 h 138"/>
              <a:gd name="T90" fmla="*/ 36 w 162"/>
              <a:gd name="T91" fmla="*/ 126 h 138"/>
              <a:gd name="T92" fmla="*/ 24 w 162"/>
              <a:gd name="T93" fmla="*/ 120 h 138"/>
              <a:gd name="T94" fmla="*/ 0 w 162"/>
              <a:gd name="T95" fmla="*/ 96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62" h="138">
                <a:moveTo>
                  <a:pt x="0" y="96"/>
                </a:moveTo>
                <a:lnTo>
                  <a:pt x="0" y="90"/>
                </a:lnTo>
                <a:lnTo>
                  <a:pt x="0" y="72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72"/>
                </a:lnTo>
                <a:lnTo>
                  <a:pt x="12" y="72"/>
                </a:lnTo>
                <a:lnTo>
                  <a:pt x="12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6" y="42"/>
                </a:lnTo>
                <a:lnTo>
                  <a:pt x="6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8" y="42"/>
                </a:lnTo>
                <a:lnTo>
                  <a:pt x="18" y="42"/>
                </a:lnTo>
                <a:lnTo>
                  <a:pt x="24" y="36"/>
                </a:lnTo>
                <a:lnTo>
                  <a:pt x="24" y="36"/>
                </a:lnTo>
                <a:lnTo>
                  <a:pt x="30" y="36"/>
                </a:lnTo>
                <a:lnTo>
                  <a:pt x="30" y="36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8" y="24"/>
                </a:lnTo>
                <a:lnTo>
                  <a:pt x="48" y="18"/>
                </a:lnTo>
                <a:lnTo>
                  <a:pt x="48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102" y="6"/>
                </a:lnTo>
                <a:lnTo>
                  <a:pt x="102" y="6"/>
                </a:lnTo>
                <a:lnTo>
                  <a:pt x="108" y="6"/>
                </a:lnTo>
                <a:lnTo>
                  <a:pt x="108" y="6"/>
                </a:lnTo>
                <a:lnTo>
                  <a:pt x="108" y="12"/>
                </a:lnTo>
                <a:lnTo>
                  <a:pt x="108" y="12"/>
                </a:lnTo>
                <a:lnTo>
                  <a:pt x="114" y="6"/>
                </a:lnTo>
                <a:lnTo>
                  <a:pt x="114" y="6"/>
                </a:lnTo>
                <a:lnTo>
                  <a:pt x="120" y="6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38" y="48"/>
                </a:lnTo>
                <a:lnTo>
                  <a:pt x="144" y="54"/>
                </a:lnTo>
                <a:lnTo>
                  <a:pt x="144" y="54"/>
                </a:lnTo>
                <a:lnTo>
                  <a:pt x="144" y="54"/>
                </a:lnTo>
                <a:lnTo>
                  <a:pt x="156" y="78"/>
                </a:lnTo>
                <a:lnTo>
                  <a:pt x="162" y="96"/>
                </a:lnTo>
                <a:lnTo>
                  <a:pt x="162" y="96"/>
                </a:lnTo>
                <a:lnTo>
                  <a:pt x="162" y="96"/>
                </a:lnTo>
                <a:lnTo>
                  <a:pt x="162" y="96"/>
                </a:lnTo>
                <a:lnTo>
                  <a:pt x="156" y="96"/>
                </a:lnTo>
                <a:lnTo>
                  <a:pt x="156" y="96"/>
                </a:lnTo>
                <a:lnTo>
                  <a:pt x="156" y="96"/>
                </a:lnTo>
                <a:lnTo>
                  <a:pt x="150" y="96"/>
                </a:lnTo>
                <a:lnTo>
                  <a:pt x="150" y="96"/>
                </a:lnTo>
                <a:lnTo>
                  <a:pt x="150" y="96"/>
                </a:lnTo>
                <a:lnTo>
                  <a:pt x="150" y="96"/>
                </a:lnTo>
                <a:lnTo>
                  <a:pt x="144" y="96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38" y="102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20"/>
                </a:lnTo>
                <a:lnTo>
                  <a:pt x="132" y="120"/>
                </a:lnTo>
                <a:lnTo>
                  <a:pt x="132" y="120"/>
                </a:lnTo>
                <a:lnTo>
                  <a:pt x="132" y="114"/>
                </a:lnTo>
                <a:lnTo>
                  <a:pt x="126" y="114"/>
                </a:lnTo>
                <a:lnTo>
                  <a:pt x="126" y="114"/>
                </a:lnTo>
                <a:lnTo>
                  <a:pt x="126" y="114"/>
                </a:lnTo>
                <a:lnTo>
                  <a:pt x="120" y="114"/>
                </a:lnTo>
                <a:lnTo>
                  <a:pt x="114" y="114"/>
                </a:lnTo>
                <a:lnTo>
                  <a:pt x="114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2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26"/>
                </a:lnTo>
                <a:lnTo>
                  <a:pt x="96" y="126"/>
                </a:lnTo>
                <a:lnTo>
                  <a:pt x="96" y="132"/>
                </a:lnTo>
                <a:lnTo>
                  <a:pt x="96" y="132"/>
                </a:lnTo>
                <a:lnTo>
                  <a:pt x="96" y="132"/>
                </a:lnTo>
                <a:lnTo>
                  <a:pt x="96" y="132"/>
                </a:lnTo>
                <a:lnTo>
                  <a:pt x="96" y="132"/>
                </a:lnTo>
                <a:lnTo>
                  <a:pt x="78" y="132"/>
                </a:lnTo>
                <a:lnTo>
                  <a:pt x="72" y="132"/>
                </a:lnTo>
                <a:lnTo>
                  <a:pt x="60" y="138"/>
                </a:lnTo>
                <a:lnTo>
                  <a:pt x="48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36" y="138"/>
                </a:lnTo>
                <a:lnTo>
                  <a:pt x="36" y="132"/>
                </a:lnTo>
                <a:lnTo>
                  <a:pt x="36" y="132"/>
                </a:lnTo>
                <a:lnTo>
                  <a:pt x="36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24" y="120"/>
                </a:lnTo>
                <a:lnTo>
                  <a:pt x="24" y="120"/>
                </a:lnTo>
                <a:lnTo>
                  <a:pt x="0" y="102"/>
                </a:lnTo>
                <a:lnTo>
                  <a:pt x="0" y="102"/>
                </a:lnTo>
                <a:lnTo>
                  <a:pt x="0" y="96"/>
                </a:lnTo>
                <a:lnTo>
                  <a:pt x="0" y="9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499" name="Freeform 232"/>
          <p:cNvSpPr>
            <a:spLocks/>
          </p:cNvSpPr>
          <p:nvPr/>
        </p:nvSpPr>
        <p:spPr bwMode="auto">
          <a:xfrm>
            <a:off x="8175208" y="2824489"/>
            <a:ext cx="122057" cy="128482"/>
          </a:xfrm>
          <a:custGeom>
            <a:avLst/>
            <a:gdLst>
              <a:gd name="T0" fmla="*/ 0 w 114"/>
              <a:gd name="T1" fmla="*/ 60 h 120"/>
              <a:gd name="T2" fmla="*/ 0 w 114"/>
              <a:gd name="T3" fmla="*/ 48 h 120"/>
              <a:gd name="T4" fmla="*/ 6 w 114"/>
              <a:gd name="T5" fmla="*/ 42 h 120"/>
              <a:gd name="T6" fmla="*/ 6 w 114"/>
              <a:gd name="T7" fmla="*/ 42 h 120"/>
              <a:gd name="T8" fmla="*/ 6 w 114"/>
              <a:gd name="T9" fmla="*/ 36 h 120"/>
              <a:gd name="T10" fmla="*/ 18 w 114"/>
              <a:gd name="T11" fmla="*/ 30 h 120"/>
              <a:gd name="T12" fmla="*/ 24 w 114"/>
              <a:gd name="T13" fmla="*/ 30 h 120"/>
              <a:gd name="T14" fmla="*/ 30 w 114"/>
              <a:gd name="T15" fmla="*/ 24 h 120"/>
              <a:gd name="T16" fmla="*/ 36 w 114"/>
              <a:gd name="T17" fmla="*/ 24 h 120"/>
              <a:gd name="T18" fmla="*/ 36 w 114"/>
              <a:gd name="T19" fmla="*/ 24 h 120"/>
              <a:gd name="T20" fmla="*/ 54 w 114"/>
              <a:gd name="T21" fmla="*/ 18 h 120"/>
              <a:gd name="T22" fmla="*/ 60 w 114"/>
              <a:gd name="T23" fmla="*/ 24 h 120"/>
              <a:gd name="T24" fmla="*/ 60 w 114"/>
              <a:gd name="T25" fmla="*/ 24 h 120"/>
              <a:gd name="T26" fmla="*/ 84 w 114"/>
              <a:gd name="T27" fmla="*/ 18 h 120"/>
              <a:gd name="T28" fmla="*/ 84 w 114"/>
              <a:gd name="T29" fmla="*/ 6 h 120"/>
              <a:gd name="T30" fmla="*/ 84 w 114"/>
              <a:gd name="T31" fmla="*/ 0 h 120"/>
              <a:gd name="T32" fmla="*/ 108 w 114"/>
              <a:gd name="T33" fmla="*/ 0 h 120"/>
              <a:gd name="T34" fmla="*/ 108 w 114"/>
              <a:gd name="T35" fmla="*/ 12 h 120"/>
              <a:gd name="T36" fmla="*/ 114 w 114"/>
              <a:gd name="T37" fmla="*/ 18 h 120"/>
              <a:gd name="T38" fmla="*/ 108 w 114"/>
              <a:gd name="T39" fmla="*/ 24 h 120"/>
              <a:gd name="T40" fmla="*/ 102 w 114"/>
              <a:gd name="T41" fmla="*/ 36 h 120"/>
              <a:gd name="T42" fmla="*/ 108 w 114"/>
              <a:gd name="T43" fmla="*/ 42 h 120"/>
              <a:gd name="T44" fmla="*/ 108 w 114"/>
              <a:gd name="T45" fmla="*/ 54 h 120"/>
              <a:gd name="T46" fmla="*/ 102 w 114"/>
              <a:gd name="T47" fmla="*/ 66 h 120"/>
              <a:gd name="T48" fmla="*/ 102 w 114"/>
              <a:gd name="T49" fmla="*/ 72 h 120"/>
              <a:gd name="T50" fmla="*/ 96 w 114"/>
              <a:gd name="T51" fmla="*/ 84 h 120"/>
              <a:gd name="T52" fmla="*/ 90 w 114"/>
              <a:gd name="T53" fmla="*/ 90 h 120"/>
              <a:gd name="T54" fmla="*/ 90 w 114"/>
              <a:gd name="T55" fmla="*/ 102 h 120"/>
              <a:gd name="T56" fmla="*/ 90 w 114"/>
              <a:gd name="T57" fmla="*/ 102 h 120"/>
              <a:gd name="T58" fmla="*/ 78 w 114"/>
              <a:gd name="T59" fmla="*/ 108 h 120"/>
              <a:gd name="T60" fmla="*/ 72 w 114"/>
              <a:gd name="T61" fmla="*/ 114 h 120"/>
              <a:gd name="T62" fmla="*/ 72 w 114"/>
              <a:gd name="T63" fmla="*/ 114 h 120"/>
              <a:gd name="T64" fmla="*/ 72 w 114"/>
              <a:gd name="T65" fmla="*/ 114 h 120"/>
              <a:gd name="T66" fmla="*/ 66 w 114"/>
              <a:gd name="T67" fmla="*/ 114 h 120"/>
              <a:gd name="T68" fmla="*/ 66 w 114"/>
              <a:gd name="T69" fmla="*/ 114 h 120"/>
              <a:gd name="T70" fmla="*/ 66 w 114"/>
              <a:gd name="T71" fmla="*/ 114 h 120"/>
              <a:gd name="T72" fmla="*/ 54 w 114"/>
              <a:gd name="T73" fmla="*/ 114 h 120"/>
              <a:gd name="T74" fmla="*/ 54 w 114"/>
              <a:gd name="T75" fmla="*/ 120 h 120"/>
              <a:gd name="T76" fmla="*/ 54 w 114"/>
              <a:gd name="T77" fmla="*/ 120 h 120"/>
              <a:gd name="T78" fmla="*/ 48 w 114"/>
              <a:gd name="T79" fmla="*/ 114 h 120"/>
              <a:gd name="T80" fmla="*/ 42 w 114"/>
              <a:gd name="T81" fmla="*/ 114 h 120"/>
              <a:gd name="T82" fmla="*/ 36 w 114"/>
              <a:gd name="T83" fmla="*/ 108 h 120"/>
              <a:gd name="T84" fmla="*/ 30 w 114"/>
              <a:gd name="T85" fmla="*/ 108 h 120"/>
              <a:gd name="T86" fmla="*/ 30 w 114"/>
              <a:gd name="T87" fmla="*/ 108 h 120"/>
              <a:gd name="T88" fmla="*/ 30 w 114"/>
              <a:gd name="T89" fmla="*/ 108 h 120"/>
              <a:gd name="T90" fmla="*/ 48 w 114"/>
              <a:gd name="T91" fmla="*/ 96 h 120"/>
              <a:gd name="T92" fmla="*/ 48 w 114"/>
              <a:gd name="T93" fmla="*/ 96 h 120"/>
              <a:gd name="T94" fmla="*/ 42 w 114"/>
              <a:gd name="T95" fmla="*/ 96 h 120"/>
              <a:gd name="T96" fmla="*/ 42 w 114"/>
              <a:gd name="T97" fmla="*/ 96 h 120"/>
              <a:gd name="T98" fmla="*/ 36 w 114"/>
              <a:gd name="T99" fmla="*/ 96 h 120"/>
              <a:gd name="T100" fmla="*/ 30 w 114"/>
              <a:gd name="T101" fmla="*/ 96 h 120"/>
              <a:gd name="T102" fmla="*/ 30 w 114"/>
              <a:gd name="T103" fmla="*/ 90 h 120"/>
              <a:gd name="T104" fmla="*/ 24 w 114"/>
              <a:gd name="T105" fmla="*/ 90 h 120"/>
              <a:gd name="T106" fmla="*/ 24 w 114"/>
              <a:gd name="T107" fmla="*/ 90 h 120"/>
              <a:gd name="T108" fmla="*/ 18 w 114"/>
              <a:gd name="T109" fmla="*/ 90 h 120"/>
              <a:gd name="T110" fmla="*/ 12 w 114"/>
              <a:gd name="T111" fmla="*/ 84 h 120"/>
              <a:gd name="T112" fmla="*/ 6 w 114"/>
              <a:gd name="T113" fmla="*/ 84 h 120"/>
              <a:gd name="T114" fmla="*/ 6 w 114"/>
              <a:gd name="T115" fmla="*/ 78 h 120"/>
              <a:gd name="T116" fmla="*/ 6 w 114"/>
              <a:gd name="T117" fmla="*/ 78 h 120"/>
              <a:gd name="T118" fmla="*/ 6 w 114"/>
              <a:gd name="T119" fmla="*/ 66 h 120"/>
              <a:gd name="T120" fmla="*/ 6 w 114"/>
              <a:gd name="T121" fmla="*/ 66 h 120"/>
              <a:gd name="T122" fmla="*/ 0 w 114"/>
              <a:gd name="T123" fmla="*/ 60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14" h="120">
                <a:moveTo>
                  <a:pt x="0" y="60"/>
                </a:move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54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12" y="42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12" y="36"/>
                </a:lnTo>
                <a:lnTo>
                  <a:pt x="12" y="30"/>
                </a:lnTo>
                <a:lnTo>
                  <a:pt x="12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24" y="30"/>
                </a:lnTo>
                <a:lnTo>
                  <a:pt x="24" y="30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42" y="18"/>
                </a:lnTo>
                <a:lnTo>
                  <a:pt x="42" y="18"/>
                </a:lnTo>
                <a:lnTo>
                  <a:pt x="48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6" y="30"/>
                </a:lnTo>
                <a:lnTo>
                  <a:pt x="66" y="24"/>
                </a:lnTo>
                <a:lnTo>
                  <a:pt x="84" y="18"/>
                </a:lnTo>
                <a:lnTo>
                  <a:pt x="90" y="18"/>
                </a:lnTo>
                <a:lnTo>
                  <a:pt x="90" y="18"/>
                </a:lnTo>
                <a:lnTo>
                  <a:pt x="84" y="18"/>
                </a:lnTo>
                <a:lnTo>
                  <a:pt x="84" y="6"/>
                </a:lnTo>
                <a:lnTo>
                  <a:pt x="90" y="6"/>
                </a:lnTo>
                <a:lnTo>
                  <a:pt x="90" y="6"/>
                </a:lnTo>
                <a:lnTo>
                  <a:pt x="84" y="6"/>
                </a:lnTo>
                <a:lnTo>
                  <a:pt x="84" y="0"/>
                </a:lnTo>
                <a:lnTo>
                  <a:pt x="90" y="0"/>
                </a:lnTo>
                <a:lnTo>
                  <a:pt x="102" y="6"/>
                </a:lnTo>
                <a:lnTo>
                  <a:pt x="102" y="0"/>
                </a:lnTo>
                <a:lnTo>
                  <a:pt x="108" y="0"/>
                </a:lnTo>
                <a:lnTo>
                  <a:pt x="114" y="6"/>
                </a:lnTo>
                <a:lnTo>
                  <a:pt x="108" y="6"/>
                </a:lnTo>
                <a:lnTo>
                  <a:pt x="102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2" y="30"/>
                </a:lnTo>
                <a:lnTo>
                  <a:pt x="102" y="30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8" y="42"/>
                </a:lnTo>
                <a:lnTo>
                  <a:pt x="108" y="42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54"/>
                </a:lnTo>
                <a:lnTo>
                  <a:pt x="102" y="60"/>
                </a:lnTo>
                <a:lnTo>
                  <a:pt x="108" y="60"/>
                </a:lnTo>
                <a:lnTo>
                  <a:pt x="102" y="60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72"/>
                </a:lnTo>
                <a:lnTo>
                  <a:pt x="102" y="78"/>
                </a:lnTo>
                <a:lnTo>
                  <a:pt x="102" y="78"/>
                </a:lnTo>
                <a:lnTo>
                  <a:pt x="96" y="78"/>
                </a:lnTo>
                <a:lnTo>
                  <a:pt x="96" y="84"/>
                </a:lnTo>
                <a:lnTo>
                  <a:pt x="96" y="84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0" y="96"/>
                </a:lnTo>
                <a:lnTo>
                  <a:pt x="90" y="96"/>
                </a:lnTo>
                <a:lnTo>
                  <a:pt x="90" y="102"/>
                </a:lnTo>
                <a:lnTo>
                  <a:pt x="90" y="102"/>
                </a:lnTo>
                <a:lnTo>
                  <a:pt x="90" y="102"/>
                </a:lnTo>
                <a:lnTo>
                  <a:pt x="90" y="102"/>
                </a:lnTo>
                <a:lnTo>
                  <a:pt x="90" y="102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78" y="108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20"/>
                </a:lnTo>
                <a:lnTo>
                  <a:pt x="66" y="120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54" y="114"/>
                </a:lnTo>
                <a:lnTo>
                  <a:pt x="54" y="120"/>
                </a:lnTo>
                <a:lnTo>
                  <a:pt x="54" y="120"/>
                </a:lnTo>
                <a:lnTo>
                  <a:pt x="54" y="120"/>
                </a:lnTo>
                <a:lnTo>
                  <a:pt x="54" y="120"/>
                </a:lnTo>
                <a:lnTo>
                  <a:pt x="54" y="114"/>
                </a:lnTo>
                <a:lnTo>
                  <a:pt x="54" y="114"/>
                </a:lnTo>
                <a:lnTo>
                  <a:pt x="54" y="120"/>
                </a:lnTo>
                <a:lnTo>
                  <a:pt x="54" y="120"/>
                </a:lnTo>
                <a:lnTo>
                  <a:pt x="48" y="120"/>
                </a:lnTo>
                <a:lnTo>
                  <a:pt x="48" y="114"/>
                </a:lnTo>
                <a:lnTo>
                  <a:pt x="48" y="114"/>
                </a:lnTo>
                <a:lnTo>
                  <a:pt x="48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08"/>
                </a:lnTo>
                <a:lnTo>
                  <a:pt x="36" y="114"/>
                </a:lnTo>
                <a:lnTo>
                  <a:pt x="36" y="108"/>
                </a:lnTo>
                <a:lnTo>
                  <a:pt x="30" y="114"/>
                </a:lnTo>
                <a:lnTo>
                  <a:pt x="30" y="108"/>
                </a:lnTo>
                <a:lnTo>
                  <a:pt x="36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2"/>
                </a:lnTo>
                <a:lnTo>
                  <a:pt x="48" y="102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0" y="96"/>
                </a:lnTo>
                <a:lnTo>
                  <a:pt x="30" y="96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24" y="96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6" y="84"/>
                </a:lnTo>
                <a:lnTo>
                  <a:pt x="6" y="84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0" y="66"/>
                </a:lnTo>
                <a:lnTo>
                  <a:pt x="0" y="66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00" name="Freeform 233"/>
          <p:cNvSpPr>
            <a:spLocks/>
          </p:cNvSpPr>
          <p:nvPr/>
        </p:nvSpPr>
        <p:spPr bwMode="auto">
          <a:xfrm>
            <a:off x="7185905" y="2509708"/>
            <a:ext cx="340475" cy="456111"/>
          </a:xfrm>
          <a:custGeom>
            <a:avLst/>
            <a:gdLst>
              <a:gd name="T0" fmla="*/ 18 w 318"/>
              <a:gd name="T1" fmla="*/ 132 h 426"/>
              <a:gd name="T2" fmla="*/ 42 w 318"/>
              <a:gd name="T3" fmla="*/ 102 h 426"/>
              <a:gd name="T4" fmla="*/ 54 w 318"/>
              <a:gd name="T5" fmla="*/ 78 h 426"/>
              <a:gd name="T6" fmla="*/ 66 w 318"/>
              <a:gd name="T7" fmla="*/ 66 h 426"/>
              <a:gd name="T8" fmla="*/ 84 w 318"/>
              <a:gd name="T9" fmla="*/ 54 h 426"/>
              <a:gd name="T10" fmla="*/ 102 w 318"/>
              <a:gd name="T11" fmla="*/ 36 h 426"/>
              <a:gd name="T12" fmla="*/ 114 w 318"/>
              <a:gd name="T13" fmla="*/ 12 h 426"/>
              <a:gd name="T14" fmla="*/ 132 w 318"/>
              <a:gd name="T15" fmla="*/ 0 h 426"/>
              <a:gd name="T16" fmla="*/ 144 w 318"/>
              <a:gd name="T17" fmla="*/ 30 h 426"/>
              <a:gd name="T18" fmla="*/ 150 w 318"/>
              <a:gd name="T19" fmla="*/ 60 h 426"/>
              <a:gd name="T20" fmla="*/ 162 w 318"/>
              <a:gd name="T21" fmla="*/ 78 h 426"/>
              <a:gd name="T22" fmla="*/ 192 w 318"/>
              <a:gd name="T23" fmla="*/ 96 h 426"/>
              <a:gd name="T24" fmla="*/ 210 w 318"/>
              <a:gd name="T25" fmla="*/ 102 h 426"/>
              <a:gd name="T26" fmla="*/ 210 w 318"/>
              <a:gd name="T27" fmla="*/ 132 h 426"/>
              <a:gd name="T28" fmla="*/ 222 w 318"/>
              <a:gd name="T29" fmla="*/ 162 h 426"/>
              <a:gd name="T30" fmla="*/ 246 w 318"/>
              <a:gd name="T31" fmla="*/ 174 h 426"/>
              <a:gd name="T32" fmla="*/ 252 w 318"/>
              <a:gd name="T33" fmla="*/ 216 h 426"/>
              <a:gd name="T34" fmla="*/ 246 w 318"/>
              <a:gd name="T35" fmla="*/ 228 h 426"/>
              <a:gd name="T36" fmla="*/ 240 w 318"/>
              <a:gd name="T37" fmla="*/ 234 h 426"/>
              <a:gd name="T38" fmla="*/ 228 w 318"/>
              <a:gd name="T39" fmla="*/ 240 h 426"/>
              <a:gd name="T40" fmla="*/ 222 w 318"/>
              <a:gd name="T41" fmla="*/ 240 h 426"/>
              <a:gd name="T42" fmla="*/ 216 w 318"/>
              <a:gd name="T43" fmla="*/ 252 h 426"/>
              <a:gd name="T44" fmla="*/ 228 w 318"/>
              <a:gd name="T45" fmla="*/ 258 h 426"/>
              <a:gd name="T46" fmla="*/ 246 w 318"/>
              <a:gd name="T47" fmla="*/ 264 h 426"/>
              <a:gd name="T48" fmla="*/ 282 w 318"/>
              <a:gd name="T49" fmla="*/ 288 h 426"/>
              <a:gd name="T50" fmla="*/ 312 w 318"/>
              <a:gd name="T51" fmla="*/ 342 h 426"/>
              <a:gd name="T52" fmla="*/ 312 w 318"/>
              <a:gd name="T53" fmla="*/ 360 h 426"/>
              <a:gd name="T54" fmla="*/ 300 w 318"/>
              <a:gd name="T55" fmla="*/ 378 h 426"/>
              <a:gd name="T56" fmla="*/ 258 w 318"/>
              <a:gd name="T57" fmla="*/ 372 h 426"/>
              <a:gd name="T58" fmla="*/ 240 w 318"/>
              <a:gd name="T59" fmla="*/ 384 h 426"/>
              <a:gd name="T60" fmla="*/ 228 w 318"/>
              <a:gd name="T61" fmla="*/ 378 h 426"/>
              <a:gd name="T62" fmla="*/ 216 w 318"/>
              <a:gd name="T63" fmla="*/ 384 h 426"/>
              <a:gd name="T64" fmla="*/ 192 w 318"/>
              <a:gd name="T65" fmla="*/ 390 h 426"/>
              <a:gd name="T66" fmla="*/ 162 w 318"/>
              <a:gd name="T67" fmla="*/ 396 h 426"/>
              <a:gd name="T68" fmla="*/ 132 w 318"/>
              <a:gd name="T69" fmla="*/ 402 h 426"/>
              <a:gd name="T70" fmla="*/ 84 w 318"/>
              <a:gd name="T71" fmla="*/ 420 h 426"/>
              <a:gd name="T72" fmla="*/ 54 w 318"/>
              <a:gd name="T73" fmla="*/ 420 h 426"/>
              <a:gd name="T74" fmla="*/ 36 w 318"/>
              <a:gd name="T75" fmla="*/ 414 h 426"/>
              <a:gd name="T76" fmla="*/ 42 w 318"/>
              <a:gd name="T77" fmla="*/ 396 h 426"/>
              <a:gd name="T78" fmla="*/ 42 w 318"/>
              <a:gd name="T79" fmla="*/ 378 h 426"/>
              <a:gd name="T80" fmla="*/ 60 w 318"/>
              <a:gd name="T81" fmla="*/ 372 h 426"/>
              <a:gd name="T82" fmla="*/ 36 w 318"/>
              <a:gd name="T83" fmla="*/ 372 h 426"/>
              <a:gd name="T84" fmla="*/ 42 w 318"/>
              <a:gd name="T85" fmla="*/ 348 h 426"/>
              <a:gd name="T86" fmla="*/ 42 w 318"/>
              <a:gd name="T87" fmla="*/ 336 h 426"/>
              <a:gd name="T88" fmla="*/ 42 w 318"/>
              <a:gd name="T89" fmla="*/ 318 h 426"/>
              <a:gd name="T90" fmla="*/ 48 w 318"/>
              <a:gd name="T91" fmla="*/ 306 h 426"/>
              <a:gd name="T92" fmla="*/ 42 w 318"/>
              <a:gd name="T93" fmla="*/ 300 h 426"/>
              <a:gd name="T94" fmla="*/ 36 w 318"/>
              <a:gd name="T95" fmla="*/ 288 h 426"/>
              <a:gd name="T96" fmla="*/ 30 w 318"/>
              <a:gd name="T97" fmla="*/ 276 h 426"/>
              <a:gd name="T98" fmla="*/ 30 w 318"/>
              <a:gd name="T99" fmla="*/ 264 h 426"/>
              <a:gd name="T100" fmla="*/ 30 w 318"/>
              <a:gd name="T101" fmla="*/ 252 h 426"/>
              <a:gd name="T102" fmla="*/ 54 w 318"/>
              <a:gd name="T103" fmla="*/ 234 h 426"/>
              <a:gd name="T104" fmla="*/ 30 w 318"/>
              <a:gd name="T105" fmla="*/ 234 h 426"/>
              <a:gd name="T106" fmla="*/ 36 w 318"/>
              <a:gd name="T107" fmla="*/ 216 h 426"/>
              <a:gd name="T108" fmla="*/ 36 w 318"/>
              <a:gd name="T109" fmla="*/ 204 h 426"/>
              <a:gd name="T110" fmla="*/ 60 w 318"/>
              <a:gd name="T111" fmla="*/ 204 h 426"/>
              <a:gd name="T112" fmla="*/ 60 w 318"/>
              <a:gd name="T113" fmla="*/ 198 h 426"/>
              <a:gd name="T114" fmla="*/ 36 w 318"/>
              <a:gd name="T115" fmla="*/ 186 h 426"/>
              <a:gd name="T116" fmla="*/ 12 w 318"/>
              <a:gd name="T117" fmla="*/ 186 h 426"/>
              <a:gd name="T118" fmla="*/ 0 w 318"/>
              <a:gd name="T119" fmla="*/ 168 h 4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18" h="426">
                <a:moveTo>
                  <a:pt x="0" y="156"/>
                </a:moveTo>
                <a:lnTo>
                  <a:pt x="0" y="156"/>
                </a:lnTo>
                <a:lnTo>
                  <a:pt x="0" y="156"/>
                </a:lnTo>
                <a:lnTo>
                  <a:pt x="0" y="156"/>
                </a:lnTo>
                <a:lnTo>
                  <a:pt x="0" y="150"/>
                </a:lnTo>
                <a:lnTo>
                  <a:pt x="0" y="150"/>
                </a:lnTo>
                <a:lnTo>
                  <a:pt x="0" y="150"/>
                </a:lnTo>
                <a:lnTo>
                  <a:pt x="12" y="144"/>
                </a:lnTo>
                <a:lnTo>
                  <a:pt x="12" y="144"/>
                </a:lnTo>
                <a:lnTo>
                  <a:pt x="18" y="144"/>
                </a:lnTo>
                <a:lnTo>
                  <a:pt x="18" y="138"/>
                </a:lnTo>
                <a:lnTo>
                  <a:pt x="18" y="132"/>
                </a:lnTo>
                <a:lnTo>
                  <a:pt x="18" y="132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6" y="108"/>
                </a:lnTo>
                <a:lnTo>
                  <a:pt x="36" y="108"/>
                </a:lnTo>
                <a:lnTo>
                  <a:pt x="42" y="108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8" y="96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84"/>
                </a:lnTo>
                <a:lnTo>
                  <a:pt x="48" y="84"/>
                </a:lnTo>
                <a:lnTo>
                  <a:pt x="54" y="84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2"/>
                </a:lnTo>
                <a:lnTo>
                  <a:pt x="48" y="72"/>
                </a:lnTo>
                <a:lnTo>
                  <a:pt x="48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66"/>
                </a:lnTo>
                <a:lnTo>
                  <a:pt x="54" y="66"/>
                </a:lnTo>
                <a:lnTo>
                  <a:pt x="60" y="72"/>
                </a:lnTo>
                <a:lnTo>
                  <a:pt x="60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72" y="66"/>
                </a:lnTo>
                <a:lnTo>
                  <a:pt x="72" y="66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8" y="60"/>
                </a:lnTo>
                <a:lnTo>
                  <a:pt x="78" y="60"/>
                </a:lnTo>
                <a:lnTo>
                  <a:pt x="78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6" y="42"/>
                </a:lnTo>
                <a:lnTo>
                  <a:pt x="102" y="48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8" y="36"/>
                </a:lnTo>
                <a:lnTo>
                  <a:pt x="108" y="36"/>
                </a:lnTo>
                <a:lnTo>
                  <a:pt x="114" y="30"/>
                </a:lnTo>
                <a:lnTo>
                  <a:pt x="114" y="30"/>
                </a:lnTo>
                <a:lnTo>
                  <a:pt x="114" y="24"/>
                </a:lnTo>
                <a:lnTo>
                  <a:pt x="114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18"/>
                </a:lnTo>
                <a:lnTo>
                  <a:pt x="120" y="18"/>
                </a:lnTo>
                <a:lnTo>
                  <a:pt x="114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14" y="12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20" y="6"/>
                </a:lnTo>
                <a:lnTo>
                  <a:pt x="120" y="6"/>
                </a:lnTo>
                <a:lnTo>
                  <a:pt x="126" y="6"/>
                </a:lnTo>
                <a:lnTo>
                  <a:pt x="126" y="6"/>
                </a:lnTo>
                <a:lnTo>
                  <a:pt x="132" y="0"/>
                </a:lnTo>
                <a:lnTo>
                  <a:pt x="132" y="0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12"/>
                </a:lnTo>
                <a:lnTo>
                  <a:pt x="132" y="12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24"/>
                </a:lnTo>
                <a:lnTo>
                  <a:pt x="138" y="24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50" y="30"/>
                </a:lnTo>
                <a:lnTo>
                  <a:pt x="150" y="36"/>
                </a:lnTo>
                <a:lnTo>
                  <a:pt x="150" y="36"/>
                </a:lnTo>
                <a:lnTo>
                  <a:pt x="150" y="42"/>
                </a:lnTo>
                <a:lnTo>
                  <a:pt x="156" y="42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50" y="54"/>
                </a:lnTo>
                <a:lnTo>
                  <a:pt x="150" y="54"/>
                </a:lnTo>
                <a:lnTo>
                  <a:pt x="150" y="54"/>
                </a:lnTo>
                <a:lnTo>
                  <a:pt x="150" y="60"/>
                </a:lnTo>
                <a:lnTo>
                  <a:pt x="150" y="60"/>
                </a:lnTo>
                <a:lnTo>
                  <a:pt x="150" y="60"/>
                </a:lnTo>
                <a:lnTo>
                  <a:pt x="150" y="66"/>
                </a:lnTo>
                <a:lnTo>
                  <a:pt x="150" y="72"/>
                </a:lnTo>
                <a:lnTo>
                  <a:pt x="150" y="72"/>
                </a:lnTo>
                <a:lnTo>
                  <a:pt x="156" y="72"/>
                </a:lnTo>
                <a:lnTo>
                  <a:pt x="156" y="72"/>
                </a:lnTo>
                <a:lnTo>
                  <a:pt x="156" y="72"/>
                </a:lnTo>
                <a:lnTo>
                  <a:pt x="156" y="72"/>
                </a:lnTo>
                <a:lnTo>
                  <a:pt x="156" y="72"/>
                </a:lnTo>
                <a:lnTo>
                  <a:pt x="156" y="72"/>
                </a:lnTo>
                <a:lnTo>
                  <a:pt x="162" y="72"/>
                </a:lnTo>
                <a:lnTo>
                  <a:pt x="162" y="78"/>
                </a:lnTo>
                <a:lnTo>
                  <a:pt x="162" y="84"/>
                </a:lnTo>
                <a:lnTo>
                  <a:pt x="168" y="84"/>
                </a:lnTo>
                <a:lnTo>
                  <a:pt x="168" y="90"/>
                </a:lnTo>
                <a:lnTo>
                  <a:pt x="174" y="90"/>
                </a:lnTo>
                <a:lnTo>
                  <a:pt x="174" y="90"/>
                </a:lnTo>
                <a:lnTo>
                  <a:pt x="174" y="96"/>
                </a:lnTo>
                <a:lnTo>
                  <a:pt x="174" y="96"/>
                </a:lnTo>
                <a:lnTo>
                  <a:pt x="180" y="96"/>
                </a:lnTo>
                <a:lnTo>
                  <a:pt x="180" y="96"/>
                </a:lnTo>
                <a:lnTo>
                  <a:pt x="180" y="96"/>
                </a:lnTo>
                <a:lnTo>
                  <a:pt x="180" y="96"/>
                </a:lnTo>
                <a:lnTo>
                  <a:pt x="186" y="96"/>
                </a:lnTo>
                <a:lnTo>
                  <a:pt x="192" y="96"/>
                </a:lnTo>
                <a:lnTo>
                  <a:pt x="192" y="96"/>
                </a:lnTo>
                <a:lnTo>
                  <a:pt x="192" y="96"/>
                </a:lnTo>
                <a:lnTo>
                  <a:pt x="198" y="96"/>
                </a:lnTo>
                <a:lnTo>
                  <a:pt x="198" y="96"/>
                </a:lnTo>
                <a:lnTo>
                  <a:pt x="198" y="96"/>
                </a:lnTo>
                <a:lnTo>
                  <a:pt x="204" y="96"/>
                </a:lnTo>
                <a:lnTo>
                  <a:pt x="204" y="102"/>
                </a:lnTo>
                <a:lnTo>
                  <a:pt x="204" y="102"/>
                </a:lnTo>
                <a:lnTo>
                  <a:pt x="204" y="102"/>
                </a:lnTo>
                <a:lnTo>
                  <a:pt x="210" y="102"/>
                </a:lnTo>
                <a:lnTo>
                  <a:pt x="210" y="102"/>
                </a:lnTo>
                <a:lnTo>
                  <a:pt x="210" y="102"/>
                </a:lnTo>
                <a:lnTo>
                  <a:pt x="210" y="102"/>
                </a:lnTo>
                <a:lnTo>
                  <a:pt x="210" y="120"/>
                </a:lnTo>
                <a:lnTo>
                  <a:pt x="210" y="126"/>
                </a:lnTo>
                <a:lnTo>
                  <a:pt x="210" y="126"/>
                </a:lnTo>
                <a:lnTo>
                  <a:pt x="216" y="126"/>
                </a:lnTo>
                <a:lnTo>
                  <a:pt x="216" y="126"/>
                </a:lnTo>
                <a:lnTo>
                  <a:pt x="210" y="126"/>
                </a:lnTo>
                <a:lnTo>
                  <a:pt x="210" y="132"/>
                </a:lnTo>
                <a:lnTo>
                  <a:pt x="210" y="132"/>
                </a:lnTo>
                <a:lnTo>
                  <a:pt x="210" y="132"/>
                </a:lnTo>
                <a:lnTo>
                  <a:pt x="210" y="132"/>
                </a:lnTo>
                <a:lnTo>
                  <a:pt x="210" y="132"/>
                </a:lnTo>
                <a:lnTo>
                  <a:pt x="210" y="132"/>
                </a:lnTo>
                <a:lnTo>
                  <a:pt x="210" y="132"/>
                </a:lnTo>
                <a:lnTo>
                  <a:pt x="210" y="132"/>
                </a:lnTo>
                <a:lnTo>
                  <a:pt x="210" y="138"/>
                </a:lnTo>
                <a:lnTo>
                  <a:pt x="210" y="144"/>
                </a:lnTo>
                <a:lnTo>
                  <a:pt x="210" y="150"/>
                </a:lnTo>
                <a:lnTo>
                  <a:pt x="210" y="162"/>
                </a:lnTo>
                <a:lnTo>
                  <a:pt x="216" y="162"/>
                </a:lnTo>
                <a:lnTo>
                  <a:pt x="216" y="162"/>
                </a:lnTo>
                <a:lnTo>
                  <a:pt x="216" y="162"/>
                </a:lnTo>
                <a:lnTo>
                  <a:pt x="216" y="162"/>
                </a:lnTo>
                <a:lnTo>
                  <a:pt x="222" y="162"/>
                </a:lnTo>
                <a:lnTo>
                  <a:pt x="222" y="162"/>
                </a:lnTo>
                <a:lnTo>
                  <a:pt x="222" y="162"/>
                </a:lnTo>
                <a:lnTo>
                  <a:pt x="222" y="162"/>
                </a:lnTo>
                <a:lnTo>
                  <a:pt x="228" y="162"/>
                </a:lnTo>
                <a:lnTo>
                  <a:pt x="228" y="162"/>
                </a:lnTo>
                <a:lnTo>
                  <a:pt x="228" y="168"/>
                </a:lnTo>
                <a:lnTo>
                  <a:pt x="228" y="168"/>
                </a:lnTo>
                <a:lnTo>
                  <a:pt x="234" y="168"/>
                </a:lnTo>
                <a:lnTo>
                  <a:pt x="234" y="168"/>
                </a:lnTo>
                <a:lnTo>
                  <a:pt x="234" y="168"/>
                </a:lnTo>
                <a:lnTo>
                  <a:pt x="234" y="174"/>
                </a:lnTo>
                <a:lnTo>
                  <a:pt x="240" y="174"/>
                </a:lnTo>
                <a:lnTo>
                  <a:pt x="240" y="168"/>
                </a:lnTo>
                <a:lnTo>
                  <a:pt x="246" y="168"/>
                </a:lnTo>
                <a:lnTo>
                  <a:pt x="246" y="168"/>
                </a:lnTo>
                <a:lnTo>
                  <a:pt x="246" y="174"/>
                </a:lnTo>
                <a:lnTo>
                  <a:pt x="252" y="174"/>
                </a:lnTo>
                <a:lnTo>
                  <a:pt x="252" y="174"/>
                </a:lnTo>
                <a:lnTo>
                  <a:pt x="252" y="174"/>
                </a:lnTo>
                <a:lnTo>
                  <a:pt x="252" y="174"/>
                </a:lnTo>
                <a:lnTo>
                  <a:pt x="252" y="174"/>
                </a:lnTo>
                <a:lnTo>
                  <a:pt x="252" y="216"/>
                </a:lnTo>
                <a:lnTo>
                  <a:pt x="252" y="216"/>
                </a:lnTo>
                <a:lnTo>
                  <a:pt x="252" y="216"/>
                </a:lnTo>
                <a:lnTo>
                  <a:pt x="252" y="216"/>
                </a:lnTo>
                <a:lnTo>
                  <a:pt x="252" y="216"/>
                </a:lnTo>
                <a:lnTo>
                  <a:pt x="252" y="216"/>
                </a:lnTo>
                <a:lnTo>
                  <a:pt x="246" y="216"/>
                </a:lnTo>
                <a:lnTo>
                  <a:pt x="252" y="216"/>
                </a:lnTo>
                <a:lnTo>
                  <a:pt x="252" y="222"/>
                </a:lnTo>
                <a:lnTo>
                  <a:pt x="252" y="222"/>
                </a:lnTo>
                <a:lnTo>
                  <a:pt x="246" y="222"/>
                </a:lnTo>
                <a:lnTo>
                  <a:pt x="252" y="222"/>
                </a:lnTo>
                <a:lnTo>
                  <a:pt x="252" y="222"/>
                </a:lnTo>
                <a:lnTo>
                  <a:pt x="252" y="222"/>
                </a:lnTo>
                <a:lnTo>
                  <a:pt x="246" y="222"/>
                </a:lnTo>
                <a:lnTo>
                  <a:pt x="246" y="222"/>
                </a:lnTo>
                <a:lnTo>
                  <a:pt x="246" y="222"/>
                </a:lnTo>
                <a:lnTo>
                  <a:pt x="246" y="222"/>
                </a:lnTo>
                <a:lnTo>
                  <a:pt x="246" y="222"/>
                </a:lnTo>
                <a:lnTo>
                  <a:pt x="246" y="222"/>
                </a:lnTo>
                <a:lnTo>
                  <a:pt x="246" y="228"/>
                </a:lnTo>
                <a:lnTo>
                  <a:pt x="246" y="228"/>
                </a:lnTo>
                <a:lnTo>
                  <a:pt x="246" y="228"/>
                </a:lnTo>
                <a:lnTo>
                  <a:pt x="246" y="228"/>
                </a:lnTo>
                <a:lnTo>
                  <a:pt x="246" y="228"/>
                </a:lnTo>
                <a:lnTo>
                  <a:pt x="246" y="228"/>
                </a:lnTo>
                <a:lnTo>
                  <a:pt x="240" y="228"/>
                </a:lnTo>
                <a:lnTo>
                  <a:pt x="240" y="228"/>
                </a:lnTo>
                <a:lnTo>
                  <a:pt x="240" y="228"/>
                </a:lnTo>
                <a:lnTo>
                  <a:pt x="240" y="228"/>
                </a:lnTo>
                <a:lnTo>
                  <a:pt x="240" y="228"/>
                </a:lnTo>
                <a:lnTo>
                  <a:pt x="240" y="234"/>
                </a:lnTo>
                <a:lnTo>
                  <a:pt x="240" y="234"/>
                </a:lnTo>
                <a:lnTo>
                  <a:pt x="240" y="234"/>
                </a:lnTo>
                <a:lnTo>
                  <a:pt x="240" y="234"/>
                </a:lnTo>
                <a:lnTo>
                  <a:pt x="240" y="234"/>
                </a:lnTo>
                <a:lnTo>
                  <a:pt x="234" y="234"/>
                </a:lnTo>
                <a:lnTo>
                  <a:pt x="234" y="234"/>
                </a:lnTo>
                <a:lnTo>
                  <a:pt x="234" y="234"/>
                </a:lnTo>
                <a:lnTo>
                  <a:pt x="234" y="234"/>
                </a:lnTo>
                <a:lnTo>
                  <a:pt x="234" y="234"/>
                </a:lnTo>
                <a:lnTo>
                  <a:pt x="228" y="234"/>
                </a:lnTo>
                <a:lnTo>
                  <a:pt x="228" y="234"/>
                </a:lnTo>
                <a:lnTo>
                  <a:pt x="228" y="234"/>
                </a:lnTo>
                <a:lnTo>
                  <a:pt x="228" y="234"/>
                </a:lnTo>
                <a:lnTo>
                  <a:pt x="228" y="240"/>
                </a:lnTo>
                <a:lnTo>
                  <a:pt x="228" y="240"/>
                </a:lnTo>
                <a:lnTo>
                  <a:pt x="228" y="240"/>
                </a:lnTo>
                <a:lnTo>
                  <a:pt x="228" y="240"/>
                </a:lnTo>
                <a:lnTo>
                  <a:pt x="228" y="240"/>
                </a:lnTo>
                <a:lnTo>
                  <a:pt x="228" y="240"/>
                </a:lnTo>
                <a:lnTo>
                  <a:pt x="228" y="240"/>
                </a:lnTo>
                <a:lnTo>
                  <a:pt x="228" y="240"/>
                </a:lnTo>
                <a:lnTo>
                  <a:pt x="228" y="240"/>
                </a:lnTo>
                <a:lnTo>
                  <a:pt x="228" y="240"/>
                </a:lnTo>
                <a:lnTo>
                  <a:pt x="228" y="240"/>
                </a:lnTo>
                <a:lnTo>
                  <a:pt x="228" y="240"/>
                </a:lnTo>
                <a:lnTo>
                  <a:pt x="228" y="240"/>
                </a:lnTo>
                <a:lnTo>
                  <a:pt x="228" y="240"/>
                </a:lnTo>
                <a:lnTo>
                  <a:pt x="222" y="240"/>
                </a:lnTo>
                <a:lnTo>
                  <a:pt x="222" y="240"/>
                </a:lnTo>
                <a:lnTo>
                  <a:pt x="222" y="246"/>
                </a:lnTo>
                <a:lnTo>
                  <a:pt x="222" y="246"/>
                </a:lnTo>
                <a:lnTo>
                  <a:pt x="222" y="246"/>
                </a:lnTo>
                <a:lnTo>
                  <a:pt x="222" y="246"/>
                </a:lnTo>
                <a:lnTo>
                  <a:pt x="222" y="246"/>
                </a:lnTo>
                <a:lnTo>
                  <a:pt x="222" y="246"/>
                </a:lnTo>
                <a:lnTo>
                  <a:pt x="222" y="246"/>
                </a:lnTo>
                <a:lnTo>
                  <a:pt x="222" y="246"/>
                </a:lnTo>
                <a:lnTo>
                  <a:pt x="222" y="246"/>
                </a:lnTo>
                <a:lnTo>
                  <a:pt x="222" y="252"/>
                </a:lnTo>
                <a:lnTo>
                  <a:pt x="222" y="246"/>
                </a:lnTo>
                <a:lnTo>
                  <a:pt x="216" y="252"/>
                </a:lnTo>
                <a:lnTo>
                  <a:pt x="216" y="252"/>
                </a:lnTo>
                <a:lnTo>
                  <a:pt x="216" y="252"/>
                </a:lnTo>
                <a:lnTo>
                  <a:pt x="216" y="252"/>
                </a:lnTo>
                <a:lnTo>
                  <a:pt x="216" y="252"/>
                </a:lnTo>
                <a:lnTo>
                  <a:pt x="216" y="252"/>
                </a:lnTo>
                <a:lnTo>
                  <a:pt x="216" y="252"/>
                </a:lnTo>
                <a:lnTo>
                  <a:pt x="216" y="252"/>
                </a:lnTo>
                <a:lnTo>
                  <a:pt x="222" y="252"/>
                </a:lnTo>
                <a:lnTo>
                  <a:pt x="222" y="252"/>
                </a:lnTo>
                <a:lnTo>
                  <a:pt x="222" y="252"/>
                </a:lnTo>
                <a:lnTo>
                  <a:pt x="222" y="258"/>
                </a:lnTo>
                <a:lnTo>
                  <a:pt x="228" y="258"/>
                </a:lnTo>
                <a:lnTo>
                  <a:pt x="228" y="258"/>
                </a:lnTo>
                <a:lnTo>
                  <a:pt x="228" y="258"/>
                </a:lnTo>
                <a:lnTo>
                  <a:pt x="228" y="258"/>
                </a:lnTo>
                <a:lnTo>
                  <a:pt x="228" y="258"/>
                </a:lnTo>
                <a:lnTo>
                  <a:pt x="234" y="258"/>
                </a:lnTo>
                <a:lnTo>
                  <a:pt x="234" y="258"/>
                </a:lnTo>
                <a:lnTo>
                  <a:pt x="234" y="264"/>
                </a:lnTo>
                <a:lnTo>
                  <a:pt x="240" y="264"/>
                </a:lnTo>
                <a:lnTo>
                  <a:pt x="240" y="264"/>
                </a:lnTo>
                <a:lnTo>
                  <a:pt x="240" y="264"/>
                </a:lnTo>
                <a:lnTo>
                  <a:pt x="246" y="264"/>
                </a:lnTo>
                <a:lnTo>
                  <a:pt x="246" y="264"/>
                </a:lnTo>
                <a:lnTo>
                  <a:pt x="246" y="264"/>
                </a:lnTo>
                <a:lnTo>
                  <a:pt x="246" y="264"/>
                </a:lnTo>
                <a:lnTo>
                  <a:pt x="264" y="270"/>
                </a:lnTo>
                <a:lnTo>
                  <a:pt x="270" y="276"/>
                </a:lnTo>
                <a:lnTo>
                  <a:pt x="270" y="288"/>
                </a:lnTo>
                <a:lnTo>
                  <a:pt x="276" y="288"/>
                </a:lnTo>
                <a:lnTo>
                  <a:pt x="276" y="288"/>
                </a:lnTo>
                <a:lnTo>
                  <a:pt x="276" y="288"/>
                </a:lnTo>
                <a:lnTo>
                  <a:pt x="276" y="288"/>
                </a:lnTo>
                <a:lnTo>
                  <a:pt x="282" y="288"/>
                </a:lnTo>
                <a:lnTo>
                  <a:pt x="282" y="288"/>
                </a:lnTo>
                <a:lnTo>
                  <a:pt x="282" y="288"/>
                </a:lnTo>
                <a:lnTo>
                  <a:pt x="282" y="288"/>
                </a:lnTo>
                <a:lnTo>
                  <a:pt x="282" y="288"/>
                </a:lnTo>
                <a:lnTo>
                  <a:pt x="282" y="288"/>
                </a:lnTo>
                <a:lnTo>
                  <a:pt x="288" y="288"/>
                </a:lnTo>
                <a:lnTo>
                  <a:pt x="288" y="288"/>
                </a:lnTo>
                <a:lnTo>
                  <a:pt x="288" y="288"/>
                </a:lnTo>
                <a:lnTo>
                  <a:pt x="294" y="288"/>
                </a:lnTo>
                <a:lnTo>
                  <a:pt x="294" y="288"/>
                </a:lnTo>
                <a:lnTo>
                  <a:pt x="300" y="288"/>
                </a:lnTo>
                <a:lnTo>
                  <a:pt x="300" y="288"/>
                </a:lnTo>
                <a:lnTo>
                  <a:pt x="300" y="288"/>
                </a:lnTo>
                <a:lnTo>
                  <a:pt x="294" y="294"/>
                </a:lnTo>
                <a:lnTo>
                  <a:pt x="300" y="318"/>
                </a:lnTo>
                <a:lnTo>
                  <a:pt x="306" y="330"/>
                </a:lnTo>
                <a:lnTo>
                  <a:pt x="306" y="330"/>
                </a:lnTo>
                <a:lnTo>
                  <a:pt x="312" y="342"/>
                </a:lnTo>
                <a:lnTo>
                  <a:pt x="318" y="342"/>
                </a:lnTo>
                <a:lnTo>
                  <a:pt x="318" y="348"/>
                </a:lnTo>
                <a:lnTo>
                  <a:pt x="318" y="348"/>
                </a:lnTo>
                <a:lnTo>
                  <a:pt x="318" y="348"/>
                </a:lnTo>
                <a:lnTo>
                  <a:pt x="318" y="354"/>
                </a:lnTo>
                <a:lnTo>
                  <a:pt x="318" y="354"/>
                </a:lnTo>
                <a:lnTo>
                  <a:pt x="318" y="354"/>
                </a:lnTo>
                <a:lnTo>
                  <a:pt x="318" y="354"/>
                </a:lnTo>
                <a:lnTo>
                  <a:pt x="318" y="354"/>
                </a:lnTo>
                <a:lnTo>
                  <a:pt x="318" y="360"/>
                </a:lnTo>
                <a:lnTo>
                  <a:pt x="312" y="360"/>
                </a:lnTo>
                <a:lnTo>
                  <a:pt x="312" y="360"/>
                </a:lnTo>
                <a:lnTo>
                  <a:pt x="312" y="360"/>
                </a:lnTo>
                <a:lnTo>
                  <a:pt x="306" y="360"/>
                </a:lnTo>
                <a:lnTo>
                  <a:pt x="306" y="366"/>
                </a:lnTo>
                <a:lnTo>
                  <a:pt x="306" y="366"/>
                </a:lnTo>
                <a:lnTo>
                  <a:pt x="306" y="366"/>
                </a:lnTo>
                <a:lnTo>
                  <a:pt x="306" y="372"/>
                </a:lnTo>
                <a:lnTo>
                  <a:pt x="300" y="372"/>
                </a:lnTo>
                <a:lnTo>
                  <a:pt x="306" y="372"/>
                </a:lnTo>
                <a:lnTo>
                  <a:pt x="306" y="372"/>
                </a:lnTo>
                <a:lnTo>
                  <a:pt x="306" y="378"/>
                </a:lnTo>
                <a:lnTo>
                  <a:pt x="306" y="378"/>
                </a:lnTo>
                <a:lnTo>
                  <a:pt x="300" y="378"/>
                </a:lnTo>
                <a:lnTo>
                  <a:pt x="300" y="378"/>
                </a:lnTo>
                <a:lnTo>
                  <a:pt x="300" y="378"/>
                </a:lnTo>
                <a:lnTo>
                  <a:pt x="300" y="384"/>
                </a:lnTo>
                <a:lnTo>
                  <a:pt x="294" y="384"/>
                </a:lnTo>
                <a:lnTo>
                  <a:pt x="294" y="390"/>
                </a:lnTo>
                <a:lnTo>
                  <a:pt x="294" y="396"/>
                </a:lnTo>
                <a:lnTo>
                  <a:pt x="276" y="384"/>
                </a:lnTo>
                <a:lnTo>
                  <a:pt x="264" y="378"/>
                </a:lnTo>
                <a:lnTo>
                  <a:pt x="264" y="378"/>
                </a:lnTo>
                <a:lnTo>
                  <a:pt x="264" y="372"/>
                </a:lnTo>
                <a:lnTo>
                  <a:pt x="264" y="372"/>
                </a:lnTo>
                <a:lnTo>
                  <a:pt x="258" y="372"/>
                </a:lnTo>
                <a:lnTo>
                  <a:pt x="258" y="372"/>
                </a:lnTo>
                <a:lnTo>
                  <a:pt x="258" y="372"/>
                </a:lnTo>
                <a:lnTo>
                  <a:pt x="258" y="372"/>
                </a:lnTo>
                <a:lnTo>
                  <a:pt x="258" y="372"/>
                </a:lnTo>
                <a:lnTo>
                  <a:pt x="258" y="372"/>
                </a:lnTo>
                <a:lnTo>
                  <a:pt x="258" y="378"/>
                </a:lnTo>
                <a:lnTo>
                  <a:pt x="258" y="378"/>
                </a:lnTo>
                <a:lnTo>
                  <a:pt x="246" y="390"/>
                </a:lnTo>
                <a:lnTo>
                  <a:pt x="246" y="390"/>
                </a:lnTo>
                <a:lnTo>
                  <a:pt x="246" y="384"/>
                </a:lnTo>
                <a:lnTo>
                  <a:pt x="240" y="384"/>
                </a:lnTo>
                <a:lnTo>
                  <a:pt x="240" y="384"/>
                </a:lnTo>
                <a:lnTo>
                  <a:pt x="240" y="384"/>
                </a:lnTo>
                <a:lnTo>
                  <a:pt x="240" y="384"/>
                </a:lnTo>
                <a:lnTo>
                  <a:pt x="240" y="384"/>
                </a:lnTo>
                <a:lnTo>
                  <a:pt x="240" y="384"/>
                </a:lnTo>
                <a:lnTo>
                  <a:pt x="240" y="378"/>
                </a:lnTo>
                <a:lnTo>
                  <a:pt x="240" y="384"/>
                </a:lnTo>
                <a:lnTo>
                  <a:pt x="240" y="378"/>
                </a:lnTo>
                <a:lnTo>
                  <a:pt x="234" y="378"/>
                </a:lnTo>
                <a:lnTo>
                  <a:pt x="234" y="378"/>
                </a:lnTo>
                <a:lnTo>
                  <a:pt x="234" y="378"/>
                </a:lnTo>
                <a:lnTo>
                  <a:pt x="234" y="378"/>
                </a:lnTo>
                <a:lnTo>
                  <a:pt x="234" y="378"/>
                </a:lnTo>
                <a:lnTo>
                  <a:pt x="234" y="378"/>
                </a:lnTo>
                <a:lnTo>
                  <a:pt x="228" y="378"/>
                </a:lnTo>
                <a:lnTo>
                  <a:pt x="228" y="378"/>
                </a:lnTo>
                <a:lnTo>
                  <a:pt x="228" y="378"/>
                </a:lnTo>
                <a:lnTo>
                  <a:pt x="228" y="378"/>
                </a:lnTo>
                <a:lnTo>
                  <a:pt x="222" y="378"/>
                </a:lnTo>
                <a:lnTo>
                  <a:pt x="222" y="378"/>
                </a:lnTo>
                <a:lnTo>
                  <a:pt x="222" y="378"/>
                </a:lnTo>
                <a:lnTo>
                  <a:pt x="222" y="378"/>
                </a:lnTo>
                <a:lnTo>
                  <a:pt x="222" y="378"/>
                </a:lnTo>
                <a:lnTo>
                  <a:pt x="216" y="384"/>
                </a:lnTo>
                <a:lnTo>
                  <a:pt x="216" y="384"/>
                </a:lnTo>
                <a:lnTo>
                  <a:pt x="216" y="384"/>
                </a:lnTo>
                <a:lnTo>
                  <a:pt x="216" y="384"/>
                </a:lnTo>
                <a:lnTo>
                  <a:pt x="216" y="384"/>
                </a:lnTo>
                <a:lnTo>
                  <a:pt x="216" y="384"/>
                </a:lnTo>
                <a:lnTo>
                  <a:pt x="216" y="384"/>
                </a:lnTo>
                <a:lnTo>
                  <a:pt x="216" y="384"/>
                </a:lnTo>
                <a:lnTo>
                  <a:pt x="210" y="384"/>
                </a:lnTo>
                <a:lnTo>
                  <a:pt x="210" y="384"/>
                </a:lnTo>
                <a:lnTo>
                  <a:pt x="204" y="384"/>
                </a:lnTo>
                <a:lnTo>
                  <a:pt x="204" y="384"/>
                </a:lnTo>
                <a:lnTo>
                  <a:pt x="204" y="390"/>
                </a:lnTo>
                <a:lnTo>
                  <a:pt x="198" y="390"/>
                </a:lnTo>
                <a:lnTo>
                  <a:pt x="198" y="390"/>
                </a:lnTo>
                <a:lnTo>
                  <a:pt x="198" y="390"/>
                </a:lnTo>
                <a:lnTo>
                  <a:pt x="192" y="390"/>
                </a:lnTo>
                <a:lnTo>
                  <a:pt x="192" y="390"/>
                </a:lnTo>
                <a:lnTo>
                  <a:pt x="192" y="390"/>
                </a:lnTo>
                <a:lnTo>
                  <a:pt x="192" y="390"/>
                </a:lnTo>
                <a:lnTo>
                  <a:pt x="192" y="390"/>
                </a:lnTo>
                <a:lnTo>
                  <a:pt x="186" y="390"/>
                </a:lnTo>
                <a:lnTo>
                  <a:pt x="186" y="390"/>
                </a:lnTo>
                <a:lnTo>
                  <a:pt x="186" y="396"/>
                </a:lnTo>
                <a:lnTo>
                  <a:pt x="186" y="396"/>
                </a:lnTo>
                <a:lnTo>
                  <a:pt x="186" y="396"/>
                </a:lnTo>
                <a:lnTo>
                  <a:pt x="180" y="396"/>
                </a:lnTo>
                <a:lnTo>
                  <a:pt x="174" y="396"/>
                </a:lnTo>
                <a:lnTo>
                  <a:pt x="168" y="396"/>
                </a:lnTo>
                <a:lnTo>
                  <a:pt x="168" y="396"/>
                </a:lnTo>
                <a:lnTo>
                  <a:pt x="168" y="396"/>
                </a:lnTo>
                <a:lnTo>
                  <a:pt x="162" y="396"/>
                </a:lnTo>
                <a:lnTo>
                  <a:pt x="162" y="396"/>
                </a:lnTo>
                <a:lnTo>
                  <a:pt x="162" y="396"/>
                </a:lnTo>
                <a:lnTo>
                  <a:pt x="156" y="402"/>
                </a:lnTo>
                <a:lnTo>
                  <a:pt x="156" y="402"/>
                </a:lnTo>
                <a:lnTo>
                  <a:pt x="156" y="402"/>
                </a:lnTo>
                <a:lnTo>
                  <a:pt x="150" y="396"/>
                </a:lnTo>
                <a:lnTo>
                  <a:pt x="150" y="402"/>
                </a:lnTo>
                <a:lnTo>
                  <a:pt x="150" y="396"/>
                </a:lnTo>
                <a:lnTo>
                  <a:pt x="144" y="402"/>
                </a:lnTo>
                <a:lnTo>
                  <a:pt x="144" y="402"/>
                </a:lnTo>
                <a:lnTo>
                  <a:pt x="138" y="402"/>
                </a:lnTo>
                <a:lnTo>
                  <a:pt x="132" y="402"/>
                </a:lnTo>
                <a:lnTo>
                  <a:pt x="132" y="402"/>
                </a:lnTo>
                <a:lnTo>
                  <a:pt x="132" y="402"/>
                </a:lnTo>
                <a:lnTo>
                  <a:pt x="132" y="402"/>
                </a:lnTo>
                <a:lnTo>
                  <a:pt x="126" y="402"/>
                </a:lnTo>
                <a:lnTo>
                  <a:pt x="120" y="402"/>
                </a:lnTo>
                <a:lnTo>
                  <a:pt x="120" y="408"/>
                </a:lnTo>
                <a:lnTo>
                  <a:pt x="120" y="408"/>
                </a:lnTo>
                <a:lnTo>
                  <a:pt x="114" y="408"/>
                </a:lnTo>
                <a:lnTo>
                  <a:pt x="114" y="408"/>
                </a:lnTo>
                <a:lnTo>
                  <a:pt x="108" y="408"/>
                </a:lnTo>
                <a:lnTo>
                  <a:pt x="108" y="408"/>
                </a:lnTo>
                <a:lnTo>
                  <a:pt x="108" y="408"/>
                </a:lnTo>
                <a:lnTo>
                  <a:pt x="96" y="414"/>
                </a:lnTo>
                <a:lnTo>
                  <a:pt x="96" y="414"/>
                </a:lnTo>
                <a:lnTo>
                  <a:pt x="84" y="420"/>
                </a:lnTo>
                <a:lnTo>
                  <a:pt x="84" y="420"/>
                </a:lnTo>
                <a:lnTo>
                  <a:pt x="72" y="420"/>
                </a:lnTo>
                <a:lnTo>
                  <a:pt x="72" y="414"/>
                </a:lnTo>
                <a:lnTo>
                  <a:pt x="72" y="414"/>
                </a:lnTo>
                <a:lnTo>
                  <a:pt x="72" y="414"/>
                </a:lnTo>
                <a:lnTo>
                  <a:pt x="72" y="414"/>
                </a:lnTo>
                <a:lnTo>
                  <a:pt x="72" y="414"/>
                </a:lnTo>
                <a:lnTo>
                  <a:pt x="72" y="414"/>
                </a:lnTo>
                <a:lnTo>
                  <a:pt x="66" y="414"/>
                </a:lnTo>
                <a:lnTo>
                  <a:pt x="66" y="414"/>
                </a:lnTo>
                <a:lnTo>
                  <a:pt x="60" y="414"/>
                </a:lnTo>
                <a:lnTo>
                  <a:pt x="60" y="414"/>
                </a:lnTo>
                <a:lnTo>
                  <a:pt x="54" y="420"/>
                </a:lnTo>
                <a:lnTo>
                  <a:pt x="54" y="420"/>
                </a:lnTo>
                <a:lnTo>
                  <a:pt x="48" y="420"/>
                </a:lnTo>
                <a:lnTo>
                  <a:pt x="48" y="420"/>
                </a:lnTo>
                <a:lnTo>
                  <a:pt x="42" y="426"/>
                </a:lnTo>
                <a:lnTo>
                  <a:pt x="42" y="426"/>
                </a:lnTo>
                <a:lnTo>
                  <a:pt x="42" y="426"/>
                </a:lnTo>
                <a:lnTo>
                  <a:pt x="42" y="420"/>
                </a:lnTo>
                <a:lnTo>
                  <a:pt x="42" y="420"/>
                </a:lnTo>
                <a:lnTo>
                  <a:pt x="42" y="420"/>
                </a:lnTo>
                <a:lnTo>
                  <a:pt x="36" y="420"/>
                </a:lnTo>
                <a:lnTo>
                  <a:pt x="42" y="414"/>
                </a:lnTo>
                <a:lnTo>
                  <a:pt x="36" y="414"/>
                </a:lnTo>
                <a:lnTo>
                  <a:pt x="42" y="414"/>
                </a:lnTo>
                <a:lnTo>
                  <a:pt x="36" y="414"/>
                </a:lnTo>
                <a:lnTo>
                  <a:pt x="36" y="408"/>
                </a:lnTo>
                <a:lnTo>
                  <a:pt x="36" y="408"/>
                </a:lnTo>
                <a:lnTo>
                  <a:pt x="36" y="408"/>
                </a:lnTo>
                <a:lnTo>
                  <a:pt x="36" y="408"/>
                </a:lnTo>
                <a:lnTo>
                  <a:pt x="36" y="408"/>
                </a:lnTo>
                <a:lnTo>
                  <a:pt x="36" y="402"/>
                </a:lnTo>
                <a:lnTo>
                  <a:pt x="36" y="402"/>
                </a:lnTo>
                <a:lnTo>
                  <a:pt x="36" y="402"/>
                </a:lnTo>
                <a:lnTo>
                  <a:pt x="36" y="402"/>
                </a:lnTo>
                <a:lnTo>
                  <a:pt x="36" y="402"/>
                </a:lnTo>
                <a:lnTo>
                  <a:pt x="36" y="402"/>
                </a:lnTo>
                <a:lnTo>
                  <a:pt x="42" y="396"/>
                </a:lnTo>
                <a:lnTo>
                  <a:pt x="42" y="396"/>
                </a:lnTo>
                <a:lnTo>
                  <a:pt x="42" y="396"/>
                </a:lnTo>
                <a:lnTo>
                  <a:pt x="42" y="396"/>
                </a:lnTo>
                <a:lnTo>
                  <a:pt x="36" y="396"/>
                </a:lnTo>
                <a:lnTo>
                  <a:pt x="36" y="390"/>
                </a:lnTo>
                <a:lnTo>
                  <a:pt x="36" y="390"/>
                </a:lnTo>
                <a:lnTo>
                  <a:pt x="36" y="390"/>
                </a:lnTo>
                <a:lnTo>
                  <a:pt x="42" y="384"/>
                </a:lnTo>
                <a:lnTo>
                  <a:pt x="42" y="384"/>
                </a:lnTo>
                <a:lnTo>
                  <a:pt x="42" y="384"/>
                </a:lnTo>
                <a:lnTo>
                  <a:pt x="42" y="384"/>
                </a:lnTo>
                <a:lnTo>
                  <a:pt x="42" y="384"/>
                </a:lnTo>
                <a:lnTo>
                  <a:pt x="42" y="384"/>
                </a:lnTo>
                <a:lnTo>
                  <a:pt x="42" y="378"/>
                </a:lnTo>
                <a:lnTo>
                  <a:pt x="48" y="378"/>
                </a:lnTo>
                <a:lnTo>
                  <a:pt x="48" y="378"/>
                </a:lnTo>
                <a:lnTo>
                  <a:pt x="48" y="378"/>
                </a:lnTo>
                <a:lnTo>
                  <a:pt x="48" y="378"/>
                </a:lnTo>
                <a:lnTo>
                  <a:pt x="48" y="378"/>
                </a:lnTo>
                <a:lnTo>
                  <a:pt x="48" y="378"/>
                </a:lnTo>
                <a:lnTo>
                  <a:pt x="48" y="378"/>
                </a:lnTo>
                <a:lnTo>
                  <a:pt x="54" y="378"/>
                </a:lnTo>
                <a:lnTo>
                  <a:pt x="54" y="378"/>
                </a:lnTo>
                <a:lnTo>
                  <a:pt x="54" y="378"/>
                </a:lnTo>
                <a:lnTo>
                  <a:pt x="54" y="378"/>
                </a:lnTo>
                <a:lnTo>
                  <a:pt x="60" y="378"/>
                </a:lnTo>
                <a:lnTo>
                  <a:pt x="60" y="372"/>
                </a:lnTo>
                <a:lnTo>
                  <a:pt x="60" y="372"/>
                </a:lnTo>
                <a:lnTo>
                  <a:pt x="66" y="372"/>
                </a:lnTo>
                <a:lnTo>
                  <a:pt x="66" y="366"/>
                </a:lnTo>
                <a:lnTo>
                  <a:pt x="66" y="366"/>
                </a:lnTo>
                <a:lnTo>
                  <a:pt x="60" y="366"/>
                </a:lnTo>
                <a:lnTo>
                  <a:pt x="60" y="366"/>
                </a:lnTo>
                <a:lnTo>
                  <a:pt x="54" y="366"/>
                </a:lnTo>
                <a:lnTo>
                  <a:pt x="54" y="366"/>
                </a:lnTo>
                <a:lnTo>
                  <a:pt x="48" y="372"/>
                </a:lnTo>
                <a:lnTo>
                  <a:pt x="42" y="372"/>
                </a:lnTo>
                <a:lnTo>
                  <a:pt x="42" y="372"/>
                </a:lnTo>
                <a:lnTo>
                  <a:pt x="42" y="372"/>
                </a:lnTo>
                <a:lnTo>
                  <a:pt x="36" y="372"/>
                </a:lnTo>
                <a:lnTo>
                  <a:pt x="42" y="366"/>
                </a:lnTo>
                <a:lnTo>
                  <a:pt x="42" y="366"/>
                </a:lnTo>
                <a:lnTo>
                  <a:pt x="42" y="366"/>
                </a:lnTo>
                <a:lnTo>
                  <a:pt x="42" y="360"/>
                </a:lnTo>
                <a:lnTo>
                  <a:pt x="42" y="360"/>
                </a:lnTo>
                <a:lnTo>
                  <a:pt x="42" y="360"/>
                </a:lnTo>
                <a:lnTo>
                  <a:pt x="42" y="354"/>
                </a:lnTo>
                <a:lnTo>
                  <a:pt x="42" y="354"/>
                </a:lnTo>
                <a:lnTo>
                  <a:pt x="42" y="354"/>
                </a:lnTo>
                <a:lnTo>
                  <a:pt x="42" y="354"/>
                </a:lnTo>
                <a:lnTo>
                  <a:pt x="42" y="354"/>
                </a:lnTo>
                <a:lnTo>
                  <a:pt x="42" y="348"/>
                </a:lnTo>
                <a:lnTo>
                  <a:pt x="42" y="348"/>
                </a:lnTo>
                <a:lnTo>
                  <a:pt x="42" y="348"/>
                </a:lnTo>
                <a:lnTo>
                  <a:pt x="42" y="348"/>
                </a:lnTo>
                <a:lnTo>
                  <a:pt x="42" y="348"/>
                </a:lnTo>
                <a:lnTo>
                  <a:pt x="42" y="348"/>
                </a:lnTo>
                <a:lnTo>
                  <a:pt x="42" y="342"/>
                </a:lnTo>
                <a:lnTo>
                  <a:pt x="42" y="342"/>
                </a:lnTo>
                <a:lnTo>
                  <a:pt x="42" y="342"/>
                </a:lnTo>
                <a:lnTo>
                  <a:pt x="42" y="342"/>
                </a:lnTo>
                <a:lnTo>
                  <a:pt x="42" y="342"/>
                </a:lnTo>
                <a:lnTo>
                  <a:pt x="42" y="336"/>
                </a:lnTo>
                <a:lnTo>
                  <a:pt x="42" y="336"/>
                </a:lnTo>
                <a:lnTo>
                  <a:pt x="42" y="336"/>
                </a:lnTo>
                <a:lnTo>
                  <a:pt x="42" y="336"/>
                </a:lnTo>
                <a:lnTo>
                  <a:pt x="42" y="330"/>
                </a:lnTo>
                <a:lnTo>
                  <a:pt x="42" y="330"/>
                </a:lnTo>
                <a:lnTo>
                  <a:pt x="42" y="330"/>
                </a:lnTo>
                <a:lnTo>
                  <a:pt x="42" y="330"/>
                </a:lnTo>
                <a:lnTo>
                  <a:pt x="42" y="330"/>
                </a:lnTo>
                <a:lnTo>
                  <a:pt x="42" y="330"/>
                </a:lnTo>
                <a:lnTo>
                  <a:pt x="42" y="324"/>
                </a:lnTo>
                <a:lnTo>
                  <a:pt x="42" y="324"/>
                </a:lnTo>
                <a:lnTo>
                  <a:pt x="42" y="324"/>
                </a:lnTo>
                <a:lnTo>
                  <a:pt x="42" y="324"/>
                </a:lnTo>
                <a:lnTo>
                  <a:pt x="42" y="318"/>
                </a:lnTo>
                <a:lnTo>
                  <a:pt x="42" y="318"/>
                </a:lnTo>
                <a:lnTo>
                  <a:pt x="42" y="318"/>
                </a:lnTo>
                <a:lnTo>
                  <a:pt x="48" y="318"/>
                </a:lnTo>
                <a:lnTo>
                  <a:pt x="48" y="318"/>
                </a:lnTo>
                <a:lnTo>
                  <a:pt x="54" y="318"/>
                </a:lnTo>
                <a:lnTo>
                  <a:pt x="60" y="318"/>
                </a:lnTo>
                <a:lnTo>
                  <a:pt x="60" y="318"/>
                </a:lnTo>
                <a:lnTo>
                  <a:pt x="60" y="312"/>
                </a:lnTo>
                <a:lnTo>
                  <a:pt x="60" y="312"/>
                </a:lnTo>
                <a:lnTo>
                  <a:pt x="60" y="312"/>
                </a:lnTo>
                <a:lnTo>
                  <a:pt x="60" y="312"/>
                </a:lnTo>
                <a:lnTo>
                  <a:pt x="54" y="312"/>
                </a:lnTo>
                <a:lnTo>
                  <a:pt x="48" y="312"/>
                </a:lnTo>
                <a:lnTo>
                  <a:pt x="42" y="312"/>
                </a:lnTo>
                <a:lnTo>
                  <a:pt x="48" y="306"/>
                </a:lnTo>
                <a:lnTo>
                  <a:pt x="48" y="306"/>
                </a:lnTo>
                <a:lnTo>
                  <a:pt x="48" y="306"/>
                </a:lnTo>
                <a:lnTo>
                  <a:pt x="42" y="306"/>
                </a:lnTo>
                <a:lnTo>
                  <a:pt x="42" y="300"/>
                </a:lnTo>
                <a:lnTo>
                  <a:pt x="42" y="300"/>
                </a:lnTo>
                <a:lnTo>
                  <a:pt x="42" y="300"/>
                </a:lnTo>
                <a:lnTo>
                  <a:pt x="42" y="300"/>
                </a:lnTo>
                <a:lnTo>
                  <a:pt x="42" y="300"/>
                </a:lnTo>
                <a:lnTo>
                  <a:pt x="36" y="300"/>
                </a:lnTo>
                <a:lnTo>
                  <a:pt x="36" y="300"/>
                </a:lnTo>
                <a:lnTo>
                  <a:pt x="36" y="300"/>
                </a:lnTo>
                <a:lnTo>
                  <a:pt x="42" y="300"/>
                </a:lnTo>
                <a:lnTo>
                  <a:pt x="42" y="300"/>
                </a:lnTo>
                <a:lnTo>
                  <a:pt x="42" y="300"/>
                </a:lnTo>
                <a:lnTo>
                  <a:pt x="42" y="294"/>
                </a:lnTo>
                <a:lnTo>
                  <a:pt x="36" y="294"/>
                </a:lnTo>
                <a:lnTo>
                  <a:pt x="36" y="294"/>
                </a:lnTo>
                <a:lnTo>
                  <a:pt x="36" y="294"/>
                </a:lnTo>
                <a:lnTo>
                  <a:pt x="36" y="294"/>
                </a:lnTo>
                <a:lnTo>
                  <a:pt x="30" y="294"/>
                </a:lnTo>
                <a:lnTo>
                  <a:pt x="30" y="294"/>
                </a:lnTo>
                <a:lnTo>
                  <a:pt x="30" y="288"/>
                </a:lnTo>
                <a:lnTo>
                  <a:pt x="30" y="288"/>
                </a:lnTo>
                <a:lnTo>
                  <a:pt x="36" y="288"/>
                </a:lnTo>
                <a:lnTo>
                  <a:pt x="36" y="288"/>
                </a:lnTo>
                <a:lnTo>
                  <a:pt x="36" y="288"/>
                </a:lnTo>
                <a:lnTo>
                  <a:pt x="36" y="288"/>
                </a:lnTo>
                <a:lnTo>
                  <a:pt x="36" y="288"/>
                </a:lnTo>
                <a:lnTo>
                  <a:pt x="30" y="288"/>
                </a:lnTo>
                <a:lnTo>
                  <a:pt x="30" y="288"/>
                </a:lnTo>
                <a:lnTo>
                  <a:pt x="30" y="288"/>
                </a:lnTo>
                <a:lnTo>
                  <a:pt x="30" y="282"/>
                </a:lnTo>
                <a:lnTo>
                  <a:pt x="30" y="282"/>
                </a:lnTo>
                <a:lnTo>
                  <a:pt x="30" y="282"/>
                </a:lnTo>
                <a:lnTo>
                  <a:pt x="30" y="282"/>
                </a:lnTo>
                <a:lnTo>
                  <a:pt x="30" y="282"/>
                </a:lnTo>
                <a:lnTo>
                  <a:pt x="30" y="276"/>
                </a:lnTo>
                <a:lnTo>
                  <a:pt x="30" y="276"/>
                </a:lnTo>
                <a:lnTo>
                  <a:pt x="30" y="276"/>
                </a:lnTo>
                <a:lnTo>
                  <a:pt x="30" y="276"/>
                </a:lnTo>
                <a:lnTo>
                  <a:pt x="30" y="270"/>
                </a:lnTo>
                <a:lnTo>
                  <a:pt x="30" y="270"/>
                </a:lnTo>
                <a:lnTo>
                  <a:pt x="30" y="270"/>
                </a:lnTo>
                <a:lnTo>
                  <a:pt x="30" y="270"/>
                </a:lnTo>
                <a:lnTo>
                  <a:pt x="30" y="270"/>
                </a:lnTo>
                <a:lnTo>
                  <a:pt x="30" y="270"/>
                </a:lnTo>
                <a:lnTo>
                  <a:pt x="30" y="270"/>
                </a:lnTo>
                <a:lnTo>
                  <a:pt x="30" y="270"/>
                </a:lnTo>
                <a:lnTo>
                  <a:pt x="30" y="264"/>
                </a:lnTo>
                <a:lnTo>
                  <a:pt x="30" y="264"/>
                </a:lnTo>
                <a:lnTo>
                  <a:pt x="30" y="264"/>
                </a:lnTo>
                <a:lnTo>
                  <a:pt x="30" y="264"/>
                </a:lnTo>
                <a:lnTo>
                  <a:pt x="30" y="264"/>
                </a:lnTo>
                <a:lnTo>
                  <a:pt x="30" y="258"/>
                </a:lnTo>
                <a:lnTo>
                  <a:pt x="30" y="258"/>
                </a:lnTo>
                <a:lnTo>
                  <a:pt x="30" y="258"/>
                </a:lnTo>
                <a:lnTo>
                  <a:pt x="30" y="258"/>
                </a:lnTo>
                <a:lnTo>
                  <a:pt x="30" y="258"/>
                </a:lnTo>
                <a:lnTo>
                  <a:pt x="30" y="258"/>
                </a:lnTo>
                <a:lnTo>
                  <a:pt x="30" y="258"/>
                </a:lnTo>
                <a:lnTo>
                  <a:pt x="30" y="258"/>
                </a:lnTo>
                <a:lnTo>
                  <a:pt x="24" y="252"/>
                </a:lnTo>
                <a:lnTo>
                  <a:pt x="24" y="252"/>
                </a:lnTo>
                <a:lnTo>
                  <a:pt x="30" y="252"/>
                </a:lnTo>
                <a:lnTo>
                  <a:pt x="30" y="252"/>
                </a:lnTo>
                <a:lnTo>
                  <a:pt x="30" y="246"/>
                </a:lnTo>
                <a:lnTo>
                  <a:pt x="30" y="246"/>
                </a:lnTo>
                <a:lnTo>
                  <a:pt x="36" y="246"/>
                </a:lnTo>
                <a:lnTo>
                  <a:pt x="36" y="246"/>
                </a:lnTo>
                <a:lnTo>
                  <a:pt x="36" y="240"/>
                </a:lnTo>
                <a:lnTo>
                  <a:pt x="36" y="240"/>
                </a:lnTo>
                <a:lnTo>
                  <a:pt x="42" y="240"/>
                </a:lnTo>
                <a:lnTo>
                  <a:pt x="48" y="240"/>
                </a:lnTo>
                <a:lnTo>
                  <a:pt x="48" y="240"/>
                </a:lnTo>
                <a:lnTo>
                  <a:pt x="54" y="240"/>
                </a:lnTo>
                <a:lnTo>
                  <a:pt x="54" y="234"/>
                </a:lnTo>
                <a:lnTo>
                  <a:pt x="54" y="234"/>
                </a:lnTo>
                <a:lnTo>
                  <a:pt x="54" y="234"/>
                </a:lnTo>
                <a:lnTo>
                  <a:pt x="54" y="234"/>
                </a:lnTo>
                <a:lnTo>
                  <a:pt x="54" y="234"/>
                </a:lnTo>
                <a:lnTo>
                  <a:pt x="48" y="234"/>
                </a:lnTo>
                <a:lnTo>
                  <a:pt x="48" y="234"/>
                </a:lnTo>
                <a:lnTo>
                  <a:pt x="42" y="234"/>
                </a:lnTo>
                <a:lnTo>
                  <a:pt x="42" y="234"/>
                </a:lnTo>
                <a:lnTo>
                  <a:pt x="42" y="234"/>
                </a:lnTo>
                <a:lnTo>
                  <a:pt x="36" y="234"/>
                </a:lnTo>
                <a:lnTo>
                  <a:pt x="36" y="234"/>
                </a:lnTo>
                <a:lnTo>
                  <a:pt x="36" y="234"/>
                </a:lnTo>
                <a:lnTo>
                  <a:pt x="30" y="234"/>
                </a:lnTo>
                <a:lnTo>
                  <a:pt x="30" y="234"/>
                </a:lnTo>
                <a:lnTo>
                  <a:pt x="30" y="234"/>
                </a:lnTo>
                <a:lnTo>
                  <a:pt x="30" y="228"/>
                </a:lnTo>
                <a:lnTo>
                  <a:pt x="30" y="228"/>
                </a:lnTo>
                <a:lnTo>
                  <a:pt x="30" y="228"/>
                </a:lnTo>
                <a:lnTo>
                  <a:pt x="30" y="228"/>
                </a:lnTo>
                <a:lnTo>
                  <a:pt x="30" y="228"/>
                </a:lnTo>
                <a:lnTo>
                  <a:pt x="30" y="228"/>
                </a:lnTo>
                <a:lnTo>
                  <a:pt x="30" y="228"/>
                </a:lnTo>
                <a:lnTo>
                  <a:pt x="36" y="222"/>
                </a:lnTo>
                <a:lnTo>
                  <a:pt x="36" y="222"/>
                </a:lnTo>
                <a:lnTo>
                  <a:pt x="36" y="222"/>
                </a:lnTo>
                <a:lnTo>
                  <a:pt x="36" y="222"/>
                </a:lnTo>
                <a:lnTo>
                  <a:pt x="36" y="222"/>
                </a:lnTo>
                <a:lnTo>
                  <a:pt x="36" y="216"/>
                </a:lnTo>
                <a:lnTo>
                  <a:pt x="36" y="216"/>
                </a:lnTo>
                <a:lnTo>
                  <a:pt x="30" y="216"/>
                </a:lnTo>
                <a:lnTo>
                  <a:pt x="30" y="216"/>
                </a:lnTo>
                <a:lnTo>
                  <a:pt x="30" y="216"/>
                </a:lnTo>
                <a:lnTo>
                  <a:pt x="30" y="216"/>
                </a:lnTo>
                <a:lnTo>
                  <a:pt x="30" y="216"/>
                </a:lnTo>
                <a:lnTo>
                  <a:pt x="36" y="216"/>
                </a:lnTo>
                <a:lnTo>
                  <a:pt x="36" y="210"/>
                </a:lnTo>
                <a:lnTo>
                  <a:pt x="42" y="210"/>
                </a:lnTo>
                <a:lnTo>
                  <a:pt x="42" y="210"/>
                </a:lnTo>
                <a:lnTo>
                  <a:pt x="42" y="204"/>
                </a:lnTo>
                <a:lnTo>
                  <a:pt x="36" y="204"/>
                </a:lnTo>
                <a:lnTo>
                  <a:pt x="36" y="204"/>
                </a:lnTo>
                <a:lnTo>
                  <a:pt x="36" y="204"/>
                </a:lnTo>
                <a:lnTo>
                  <a:pt x="36" y="198"/>
                </a:lnTo>
                <a:lnTo>
                  <a:pt x="36" y="198"/>
                </a:lnTo>
                <a:lnTo>
                  <a:pt x="36" y="198"/>
                </a:lnTo>
                <a:lnTo>
                  <a:pt x="42" y="198"/>
                </a:lnTo>
                <a:lnTo>
                  <a:pt x="42" y="198"/>
                </a:lnTo>
                <a:lnTo>
                  <a:pt x="42" y="198"/>
                </a:lnTo>
                <a:lnTo>
                  <a:pt x="42" y="198"/>
                </a:lnTo>
                <a:lnTo>
                  <a:pt x="42" y="198"/>
                </a:lnTo>
                <a:lnTo>
                  <a:pt x="48" y="204"/>
                </a:lnTo>
                <a:lnTo>
                  <a:pt x="54" y="204"/>
                </a:lnTo>
                <a:lnTo>
                  <a:pt x="54" y="204"/>
                </a:lnTo>
                <a:lnTo>
                  <a:pt x="60" y="204"/>
                </a:lnTo>
                <a:lnTo>
                  <a:pt x="60" y="204"/>
                </a:lnTo>
                <a:lnTo>
                  <a:pt x="60" y="204"/>
                </a:lnTo>
                <a:lnTo>
                  <a:pt x="66" y="204"/>
                </a:lnTo>
                <a:lnTo>
                  <a:pt x="66" y="198"/>
                </a:lnTo>
                <a:lnTo>
                  <a:pt x="66" y="198"/>
                </a:lnTo>
                <a:lnTo>
                  <a:pt x="66" y="198"/>
                </a:lnTo>
                <a:lnTo>
                  <a:pt x="66" y="198"/>
                </a:lnTo>
                <a:lnTo>
                  <a:pt x="66" y="198"/>
                </a:lnTo>
                <a:lnTo>
                  <a:pt x="60" y="198"/>
                </a:lnTo>
                <a:lnTo>
                  <a:pt x="60" y="198"/>
                </a:lnTo>
                <a:lnTo>
                  <a:pt x="60" y="198"/>
                </a:lnTo>
                <a:lnTo>
                  <a:pt x="60" y="198"/>
                </a:lnTo>
                <a:lnTo>
                  <a:pt x="60" y="198"/>
                </a:lnTo>
                <a:lnTo>
                  <a:pt x="54" y="198"/>
                </a:lnTo>
                <a:lnTo>
                  <a:pt x="54" y="198"/>
                </a:lnTo>
                <a:lnTo>
                  <a:pt x="54" y="198"/>
                </a:lnTo>
                <a:lnTo>
                  <a:pt x="54" y="198"/>
                </a:lnTo>
                <a:lnTo>
                  <a:pt x="48" y="198"/>
                </a:lnTo>
                <a:lnTo>
                  <a:pt x="48" y="192"/>
                </a:lnTo>
                <a:lnTo>
                  <a:pt x="48" y="192"/>
                </a:lnTo>
                <a:lnTo>
                  <a:pt x="48" y="192"/>
                </a:lnTo>
                <a:lnTo>
                  <a:pt x="48" y="192"/>
                </a:lnTo>
                <a:lnTo>
                  <a:pt x="42" y="192"/>
                </a:lnTo>
                <a:lnTo>
                  <a:pt x="42" y="192"/>
                </a:lnTo>
                <a:lnTo>
                  <a:pt x="42" y="192"/>
                </a:lnTo>
                <a:lnTo>
                  <a:pt x="36" y="186"/>
                </a:lnTo>
                <a:lnTo>
                  <a:pt x="36" y="192"/>
                </a:lnTo>
                <a:lnTo>
                  <a:pt x="30" y="186"/>
                </a:lnTo>
                <a:lnTo>
                  <a:pt x="30" y="186"/>
                </a:lnTo>
                <a:lnTo>
                  <a:pt x="24" y="186"/>
                </a:lnTo>
                <a:lnTo>
                  <a:pt x="24" y="186"/>
                </a:lnTo>
                <a:lnTo>
                  <a:pt x="24" y="186"/>
                </a:lnTo>
                <a:lnTo>
                  <a:pt x="24" y="186"/>
                </a:lnTo>
                <a:lnTo>
                  <a:pt x="24" y="186"/>
                </a:lnTo>
                <a:lnTo>
                  <a:pt x="18" y="186"/>
                </a:lnTo>
                <a:lnTo>
                  <a:pt x="18" y="186"/>
                </a:lnTo>
                <a:lnTo>
                  <a:pt x="18" y="186"/>
                </a:lnTo>
                <a:lnTo>
                  <a:pt x="18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0"/>
                </a:lnTo>
                <a:lnTo>
                  <a:pt x="12" y="180"/>
                </a:lnTo>
                <a:lnTo>
                  <a:pt x="12" y="180"/>
                </a:lnTo>
                <a:lnTo>
                  <a:pt x="12" y="174"/>
                </a:lnTo>
                <a:lnTo>
                  <a:pt x="12" y="174"/>
                </a:lnTo>
                <a:lnTo>
                  <a:pt x="6" y="174"/>
                </a:lnTo>
                <a:lnTo>
                  <a:pt x="6" y="174"/>
                </a:lnTo>
                <a:lnTo>
                  <a:pt x="6" y="168"/>
                </a:lnTo>
                <a:lnTo>
                  <a:pt x="6" y="168"/>
                </a:lnTo>
                <a:lnTo>
                  <a:pt x="6" y="168"/>
                </a:lnTo>
                <a:lnTo>
                  <a:pt x="6" y="168"/>
                </a:lnTo>
                <a:lnTo>
                  <a:pt x="0" y="168"/>
                </a:lnTo>
                <a:lnTo>
                  <a:pt x="0" y="162"/>
                </a:lnTo>
                <a:lnTo>
                  <a:pt x="0" y="162"/>
                </a:lnTo>
                <a:lnTo>
                  <a:pt x="0" y="15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01" name="Freeform 234"/>
          <p:cNvSpPr>
            <a:spLocks/>
          </p:cNvSpPr>
          <p:nvPr/>
        </p:nvSpPr>
        <p:spPr bwMode="auto">
          <a:xfrm>
            <a:off x="7937519" y="2702431"/>
            <a:ext cx="199146" cy="224843"/>
          </a:xfrm>
          <a:custGeom>
            <a:avLst/>
            <a:gdLst>
              <a:gd name="T0" fmla="*/ 0 w 186"/>
              <a:gd name="T1" fmla="*/ 132 h 210"/>
              <a:gd name="T2" fmla="*/ 6 w 186"/>
              <a:gd name="T3" fmla="*/ 126 h 210"/>
              <a:gd name="T4" fmla="*/ 6 w 186"/>
              <a:gd name="T5" fmla="*/ 126 h 210"/>
              <a:gd name="T6" fmla="*/ 6 w 186"/>
              <a:gd name="T7" fmla="*/ 120 h 210"/>
              <a:gd name="T8" fmla="*/ 6 w 186"/>
              <a:gd name="T9" fmla="*/ 120 h 210"/>
              <a:gd name="T10" fmla="*/ 18 w 186"/>
              <a:gd name="T11" fmla="*/ 108 h 210"/>
              <a:gd name="T12" fmla="*/ 42 w 186"/>
              <a:gd name="T13" fmla="*/ 66 h 210"/>
              <a:gd name="T14" fmla="*/ 78 w 186"/>
              <a:gd name="T15" fmla="*/ 42 h 210"/>
              <a:gd name="T16" fmla="*/ 96 w 186"/>
              <a:gd name="T17" fmla="*/ 42 h 210"/>
              <a:gd name="T18" fmla="*/ 96 w 186"/>
              <a:gd name="T19" fmla="*/ 30 h 210"/>
              <a:gd name="T20" fmla="*/ 102 w 186"/>
              <a:gd name="T21" fmla="*/ 24 h 210"/>
              <a:gd name="T22" fmla="*/ 108 w 186"/>
              <a:gd name="T23" fmla="*/ 18 h 210"/>
              <a:gd name="T24" fmla="*/ 114 w 186"/>
              <a:gd name="T25" fmla="*/ 18 h 210"/>
              <a:gd name="T26" fmla="*/ 114 w 186"/>
              <a:gd name="T27" fmla="*/ 18 h 210"/>
              <a:gd name="T28" fmla="*/ 120 w 186"/>
              <a:gd name="T29" fmla="*/ 18 h 210"/>
              <a:gd name="T30" fmla="*/ 126 w 186"/>
              <a:gd name="T31" fmla="*/ 18 h 210"/>
              <a:gd name="T32" fmla="*/ 126 w 186"/>
              <a:gd name="T33" fmla="*/ 12 h 210"/>
              <a:gd name="T34" fmla="*/ 132 w 186"/>
              <a:gd name="T35" fmla="*/ 6 h 210"/>
              <a:gd name="T36" fmla="*/ 144 w 186"/>
              <a:gd name="T37" fmla="*/ 6 h 210"/>
              <a:gd name="T38" fmla="*/ 144 w 186"/>
              <a:gd name="T39" fmla="*/ 6 h 210"/>
              <a:gd name="T40" fmla="*/ 156 w 186"/>
              <a:gd name="T41" fmla="*/ 6 h 210"/>
              <a:gd name="T42" fmla="*/ 162 w 186"/>
              <a:gd name="T43" fmla="*/ 0 h 210"/>
              <a:gd name="T44" fmla="*/ 168 w 186"/>
              <a:gd name="T45" fmla="*/ 30 h 210"/>
              <a:gd name="T46" fmla="*/ 150 w 186"/>
              <a:gd name="T47" fmla="*/ 48 h 210"/>
              <a:gd name="T48" fmla="*/ 156 w 186"/>
              <a:gd name="T49" fmla="*/ 54 h 210"/>
              <a:gd name="T50" fmla="*/ 162 w 186"/>
              <a:gd name="T51" fmla="*/ 66 h 210"/>
              <a:gd name="T52" fmla="*/ 138 w 186"/>
              <a:gd name="T53" fmla="*/ 102 h 210"/>
              <a:gd name="T54" fmla="*/ 144 w 186"/>
              <a:gd name="T55" fmla="*/ 108 h 210"/>
              <a:gd name="T56" fmla="*/ 144 w 186"/>
              <a:gd name="T57" fmla="*/ 114 h 210"/>
              <a:gd name="T58" fmla="*/ 150 w 186"/>
              <a:gd name="T59" fmla="*/ 114 h 210"/>
              <a:gd name="T60" fmla="*/ 150 w 186"/>
              <a:gd name="T61" fmla="*/ 114 h 210"/>
              <a:gd name="T62" fmla="*/ 156 w 186"/>
              <a:gd name="T63" fmla="*/ 120 h 210"/>
              <a:gd name="T64" fmla="*/ 162 w 186"/>
              <a:gd name="T65" fmla="*/ 126 h 210"/>
              <a:gd name="T66" fmla="*/ 162 w 186"/>
              <a:gd name="T67" fmla="*/ 132 h 210"/>
              <a:gd name="T68" fmla="*/ 168 w 186"/>
              <a:gd name="T69" fmla="*/ 132 h 210"/>
              <a:gd name="T70" fmla="*/ 168 w 186"/>
              <a:gd name="T71" fmla="*/ 138 h 210"/>
              <a:gd name="T72" fmla="*/ 186 w 186"/>
              <a:gd name="T73" fmla="*/ 138 h 210"/>
              <a:gd name="T74" fmla="*/ 174 w 186"/>
              <a:gd name="T75" fmla="*/ 180 h 210"/>
              <a:gd name="T76" fmla="*/ 150 w 186"/>
              <a:gd name="T77" fmla="*/ 198 h 210"/>
              <a:gd name="T78" fmla="*/ 138 w 186"/>
              <a:gd name="T79" fmla="*/ 198 h 210"/>
              <a:gd name="T80" fmla="*/ 102 w 186"/>
              <a:gd name="T81" fmla="*/ 204 h 210"/>
              <a:gd name="T82" fmla="*/ 96 w 186"/>
              <a:gd name="T83" fmla="*/ 192 h 210"/>
              <a:gd name="T84" fmla="*/ 90 w 186"/>
              <a:gd name="T85" fmla="*/ 192 h 210"/>
              <a:gd name="T86" fmla="*/ 90 w 186"/>
              <a:gd name="T87" fmla="*/ 192 h 210"/>
              <a:gd name="T88" fmla="*/ 84 w 186"/>
              <a:gd name="T89" fmla="*/ 198 h 210"/>
              <a:gd name="T90" fmla="*/ 66 w 186"/>
              <a:gd name="T91" fmla="*/ 204 h 210"/>
              <a:gd name="T92" fmla="*/ 60 w 186"/>
              <a:gd name="T93" fmla="*/ 204 h 210"/>
              <a:gd name="T94" fmla="*/ 54 w 186"/>
              <a:gd name="T95" fmla="*/ 204 h 210"/>
              <a:gd name="T96" fmla="*/ 42 w 186"/>
              <a:gd name="T97" fmla="*/ 198 h 210"/>
              <a:gd name="T98" fmla="*/ 36 w 186"/>
              <a:gd name="T99" fmla="*/ 204 h 210"/>
              <a:gd name="T100" fmla="*/ 36 w 186"/>
              <a:gd name="T101" fmla="*/ 204 h 210"/>
              <a:gd name="T102" fmla="*/ 30 w 186"/>
              <a:gd name="T103" fmla="*/ 198 h 210"/>
              <a:gd name="T104" fmla="*/ 30 w 186"/>
              <a:gd name="T105" fmla="*/ 126 h 2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86" h="210">
                <a:moveTo>
                  <a:pt x="0" y="132"/>
                </a:moveTo>
                <a:lnTo>
                  <a:pt x="0" y="132"/>
                </a:lnTo>
                <a:lnTo>
                  <a:pt x="0" y="132"/>
                </a:lnTo>
                <a:lnTo>
                  <a:pt x="0" y="132"/>
                </a:lnTo>
                <a:lnTo>
                  <a:pt x="0" y="132"/>
                </a:lnTo>
                <a:lnTo>
                  <a:pt x="0" y="132"/>
                </a:lnTo>
                <a:lnTo>
                  <a:pt x="0" y="132"/>
                </a:lnTo>
                <a:lnTo>
                  <a:pt x="0" y="126"/>
                </a:lnTo>
                <a:lnTo>
                  <a:pt x="0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0"/>
                </a:lnTo>
                <a:lnTo>
                  <a:pt x="6" y="126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14"/>
                </a:lnTo>
                <a:lnTo>
                  <a:pt x="18" y="108"/>
                </a:lnTo>
                <a:lnTo>
                  <a:pt x="18" y="102"/>
                </a:lnTo>
                <a:lnTo>
                  <a:pt x="12" y="84"/>
                </a:lnTo>
                <a:lnTo>
                  <a:pt x="30" y="84"/>
                </a:lnTo>
                <a:lnTo>
                  <a:pt x="36" y="90"/>
                </a:lnTo>
                <a:lnTo>
                  <a:pt x="42" y="84"/>
                </a:lnTo>
                <a:lnTo>
                  <a:pt x="42" y="66"/>
                </a:lnTo>
                <a:lnTo>
                  <a:pt x="30" y="54"/>
                </a:lnTo>
                <a:lnTo>
                  <a:pt x="36" y="48"/>
                </a:lnTo>
                <a:lnTo>
                  <a:pt x="48" y="36"/>
                </a:lnTo>
                <a:lnTo>
                  <a:pt x="60" y="42"/>
                </a:lnTo>
                <a:lnTo>
                  <a:pt x="66" y="42"/>
                </a:lnTo>
                <a:lnTo>
                  <a:pt x="78" y="42"/>
                </a:lnTo>
                <a:lnTo>
                  <a:pt x="78" y="42"/>
                </a:lnTo>
                <a:lnTo>
                  <a:pt x="96" y="48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0"/>
                </a:lnTo>
                <a:lnTo>
                  <a:pt x="96" y="30"/>
                </a:lnTo>
                <a:lnTo>
                  <a:pt x="102" y="30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2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6"/>
                </a:lnTo>
                <a:lnTo>
                  <a:pt x="132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62" y="0"/>
                </a:lnTo>
                <a:lnTo>
                  <a:pt x="162" y="0"/>
                </a:lnTo>
                <a:lnTo>
                  <a:pt x="168" y="0"/>
                </a:lnTo>
                <a:lnTo>
                  <a:pt x="168" y="0"/>
                </a:lnTo>
                <a:lnTo>
                  <a:pt x="168" y="6"/>
                </a:lnTo>
                <a:lnTo>
                  <a:pt x="168" y="24"/>
                </a:lnTo>
                <a:lnTo>
                  <a:pt x="168" y="30"/>
                </a:lnTo>
                <a:lnTo>
                  <a:pt x="168" y="30"/>
                </a:lnTo>
                <a:lnTo>
                  <a:pt x="168" y="36"/>
                </a:lnTo>
                <a:lnTo>
                  <a:pt x="168" y="36"/>
                </a:lnTo>
                <a:lnTo>
                  <a:pt x="156" y="42"/>
                </a:lnTo>
                <a:lnTo>
                  <a:pt x="156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54"/>
                </a:lnTo>
                <a:lnTo>
                  <a:pt x="150" y="54"/>
                </a:lnTo>
                <a:lnTo>
                  <a:pt x="156" y="54"/>
                </a:lnTo>
                <a:lnTo>
                  <a:pt x="156" y="60"/>
                </a:lnTo>
                <a:lnTo>
                  <a:pt x="156" y="60"/>
                </a:lnTo>
                <a:lnTo>
                  <a:pt x="156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6"/>
                </a:lnTo>
                <a:lnTo>
                  <a:pt x="156" y="72"/>
                </a:lnTo>
                <a:lnTo>
                  <a:pt x="156" y="90"/>
                </a:lnTo>
                <a:lnTo>
                  <a:pt x="150" y="90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8"/>
                </a:lnTo>
                <a:lnTo>
                  <a:pt x="138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14"/>
                </a:lnTo>
                <a:lnTo>
                  <a:pt x="144" y="114"/>
                </a:lnTo>
                <a:lnTo>
                  <a:pt x="144" y="108"/>
                </a:lnTo>
                <a:lnTo>
                  <a:pt x="144" y="114"/>
                </a:lnTo>
                <a:lnTo>
                  <a:pt x="144" y="108"/>
                </a:lnTo>
                <a:lnTo>
                  <a:pt x="150" y="114"/>
                </a:lnTo>
                <a:lnTo>
                  <a:pt x="150" y="114"/>
                </a:lnTo>
                <a:lnTo>
                  <a:pt x="150" y="114"/>
                </a:lnTo>
                <a:lnTo>
                  <a:pt x="150" y="114"/>
                </a:lnTo>
                <a:lnTo>
                  <a:pt x="150" y="114"/>
                </a:lnTo>
                <a:lnTo>
                  <a:pt x="150" y="114"/>
                </a:lnTo>
                <a:lnTo>
                  <a:pt x="150" y="114"/>
                </a:lnTo>
                <a:lnTo>
                  <a:pt x="150" y="114"/>
                </a:lnTo>
                <a:lnTo>
                  <a:pt x="150" y="114"/>
                </a:lnTo>
                <a:lnTo>
                  <a:pt x="150" y="114"/>
                </a:lnTo>
                <a:lnTo>
                  <a:pt x="150" y="114"/>
                </a:lnTo>
                <a:lnTo>
                  <a:pt x="150" y="114"/>
                </a:lnTo>
                <a:lnTo>
                  <a:pt x="156" y="120"/>
                </a:lnTo>
                <a:lnTo>
                  <a:pt x="156" y="120"/>
                </a:lnTo>
                <a:lnTo>
                  <a:pt x="156" y="120"/>
                </a:lnTo>
                <a:lnTo>
                  <a:pt x="156" y="120"/>
                </a:lnTo>
                <a:lnTo>
                  <a:pt x="156" y="120"/>
                </a:lnTo>
                <a:lnTo>
                  <a:pt x="156" y="126"/>
                </a:lnTo>
                <a:lnTo>
                  <a:pt x="162" y="126"/>
                </a:lnTo>
                <a:lnTo>
                  <a:pt x="156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32"/>
                </a:lnTo>
                <a:lnTo>
                  <a:pt x="162" y="132"/>
                </a:lnTo>
                <a:lnTo>
                  <a:pt x="162" y="132"/>
                </a:lnTo>
                <a:lnTo>
                  <a:pt x="162" y="132"/>
                </a:lnTo>
                <a:lnTo>
                  <a:pt x="162" y="132"/>
                </a:lnTo>
                <a:lnTo>
                  <a:pt x="162" y="132"/>
                </a:lnTo>
                <a:lnTo>
                  <a:pt x="162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38"/>
                </a:lnTo>
                <a:lnTo>
                  <a:pt x="168" y="138"/>
                </a:lnTo>
                <a:lnTo>
                  <a:pt x="168" y="138"/>
                </a:lnTo>
                <a:lnTo>
                  <a:pt x="168" y="138"/>
                </a:lnTo>
                <a:lnTo>
                  <a:pt x="168" y="138"/>
                </a:lnTo>
                <a:lnTo>
                  <a:pt x="174" y="138"/>
                </a:lnTo>
                <a:lnTo>
                  <a:pt x="174" y="138"/>
                </a:lnTo>
                <a:lnTo>
                  <a:pt x="174" y="138"/>
                </a:lnTo>
                <a:lnTo>
                  <a:pt x="180" y="138"/>
                </a:lnTo>
                <a:lnTo>
                  <a:pt x="180" y="138"/>
                </a:lnTo>
                <a:lnTo>
                  <a:pt x="186" y="138"/>
                </a:lnTo>
                <a:lnTo>
                  <a:pt x="186" y="144"/>
                </a:lnTo>
                <a:lnTo>
                  <a:pt x="186" y="144"/>
                </a:lnTo>
                <a:lnTo>
                  <a:pt x="186" y="156"/>
                </a:lnTo>
                <a:lnTo>
                  <a:pt x="186" y="162"/>
                </a:lnTo>
                <a:lnTo>
                  <a:pt x="174" y="180"/>
                </a:lnTo>
                <a:lnTo>
                  <a:pt x="174" y="180"/>
                </a:lnTo>
                <a:lnTo>
                  <a:pt x="168" y="180"/>
                </a:lnTo>
                <a:lnTo>
                  <a:pt x="156" y="192"/>
                </a:lnTo>
                <a:lnTo>
                  <a:pt x="156" y="192"/>
                </a:lnTo>
                <a:lnTo>
                  <a:pt x="156" y="198"/>
                </a:lnTo>
                <a:lnTo>
                  <a:pt x="150" y="198"/>
                </a:lnTo>
                <a:lnTo>
                  <a:pt x="150" y="198"/>
                </a:lnTo>
                <a:lnTo>
                  <a:pt x="150" y="198"/>
                </a:lnTo>
                <a:lnTo>
                  <a:pt x="144" y="198"/>
                </a:lnTo>
                <a:lnTo>
                  <a:pt x="144" y="198"/>
                </a:lnTo>
                <a:lnTo>
                  <a:pt x="144" y="198"/>
                </a:lnTo>
                <a:lnTo>
                  <a:pt x="138" y="198"/>
                </a:lnTo>
                <a:lnTo>
                  <a:pt x="138" y="198"/>
                </a:lnTo>
                <a:lnTo>
                  <a:pt x="138" y="204"/>
                </a:lnTo>
                <a:lnTo>
                  <a:pt x="120" y="204"/>
                </a:lnTo>
                <a:lnTo>
                  <a:pt x="102" y="210"/>
                </a:lnTo>
                <a:lnTo>
                  <a:pt x="102" y="204"/>
                </a:lnTo>
                <a:lnTo>
                  <a:pt x="102" y="204"/>
                </a:lnTo>
                <a:lnTo>
                  <a:pt x="102" y="204"/>
                </a:lnTo>
                <a:lnTo>
                  <a:pt x="96" y="204"/>
                </a:lnTo>
                <a:lnTo>
                  <a:pt x="96" y="198"/>
                </a:lnTo>
                <a:lnTo>
                  <a:pt x="96" y="198"/>
                </a:lnTo>
                <a:lnTo>
                  <a:pt x="96" y="198"/>
                </a:lnTo>
                <a:lnTo>
                  <a:pt x="96" y="198"/>
                </a:lnTo>
                <a:lnTo>
                  <a:pt x="96" y="192"/>
                </a:lnTo>
                <a:lnTo>
                  <a:pt x="96" y="192"/>
                </a:lnTo>
                <a:lnTo>
                  <a:pt x="96" y="192"/>
                </a:lnTo>
                <a:lnTo>
                  <a:pt x="96" y="192"/>
                </a:lnTo>
                <a:lnTo>
                  <a:pt x="96" y="192"/>
                </a:lnTo>
                <a:lnTo>
                  <a:pt x="90" y="192"/>
                </a:lnTo>
                <a:lnTo>
                  <a:pt x="90" y="192"/>
                </a:lnTo>
                <a:lnTo>
                  <a:pt x="90" y="192"/>
                </a:lnTo>
                <a:lnTo>
                  <a:pt x="90" y="192"/>
                </a:lnTo>
                <a:lnTo>
                  <a:pt x="90" y="192"/>
                </a:lnTo>
                <a:lnTo>
                  <a:pt x="90" y="192"/>
                </a:lnTo>
                <a:lnTo>
                  <a:pt x="90" y="192"/>
                </a:lnTo>
                <a:lnTo>
                  <a:pt x="90" y="192"/>
                </a:lnTo>
                <a:lnTo>
                  <a:pt x="90" y="198"/>
                </a:lnTo>
                <a:lnTo>
                  <a:pt x="90" y="198"/>
                </a:lnTo>
                <a:lnTo>
                  <a:pt x="90" y="198"/>
                </a:lnTo>
                <a:lnTo>
                  <a:pt x="84" y="198"/>
                </a:lnTo>
                <a:lnTo>
                  <a:pt x="84" y="198"/>
                </a:lnTo>
                <a:lnTo>
                  <a:pt x="84" y="198"/>
                </a:lnTo>
                <a:lnTo>
                  <a:pt x="84" y="198"/>
                </a:lnTo>
                <a:lnTo>
                  <a:pt x="78" y="198"/>
                </a:lnTo>
                <a:lnTo>
                  <a:pt x="78" y="198"/>
                </a:lnTo>
                <a:lnTo>
                  <a:pt x="72" y="198"/>
                </a:lnTo>
                <a:lnTo>
                  <a:pt x="72" y="198"/>
                </a:lnTo>
                <a:lnTo>
                  <a:pt x="66" y="204"/>
                </a:lnTo>
                <a:lnTo>
                  <a:pt x="66" y="204"/>
                </a:lnTo>
                <a:lnTo>
                  <a:pt x="66" y="198"/>
                </a:lnTo>
                <a:lnTo>
                  <a:pt x="66" y="198"/>
                </a:lnTo>
                <a:lnTo>
                  <a:pt x="60" y="204"/>
                </a:lnTo>
                <a:lnTo>
                  <a:pt x="60" y="204"/>
                </a:lnTo>
                <a:lnTo>
                  <a:pt x="60" y="204"/>
                </a:lnTo>
                <a:lnTo>
                  <a:pt x="60" y="204"/>
                </a:lnTo>
                <a:lnTo>
                  <a:pt x="54" y="204"/>
                </a:lnTo>
                <a:lnTo>
                  <a:pt x="54" y="204"/>
                </a:lnTo>
                <a:lnTo>
                  <a:pt x="54" y="204"/>
                </a:lnTo>
                <a:lnTo>
                  <a:pt x="54" y="204"/>
                </a:lnTo>
                <a:lnTo>
                  <a:pt x="54" y="204"/>
                </a:lnTo>
                <a:lnTo>
                  <a:pt x="48" y="204"/>
                </a:lnTo>
                <a:lnTo>
                  <a:pt x="48" y="198"/>
                </a:lnTo>
                <a:lnTo>
                  <a:pt x="48" y="198"/>
                </a:lnTo>
                <a:lnTo>
                  <a:pt x="48" y="198"/>
                </a:lnTo>
                <a:lnTo>
                  <a:pt x="42" y="198"/>
                </a:lnTo>
                <a:lnTo>
                  <a:pt x="42" y="198"/>
                </a:lnTo>
                <a:lnTo>
                  <a:pt x="42" y="198"/>
                </a:lnTo>
                <a:lnTo>
                  <a:pt x="42" y="198"/>
                </a:lnTo>
                <a:lnTo>
                  <a:pt x="42" y="198"/>
                </a:lnTo>
                <a:lnTo>
                  <a:pt x="42" y="198"/>
                </a:lnTo>
                <a:lnTo>
                  <a:pt x="36" y="204"/>
                </a:lnTo>
                <a:lnTo>
                  <a:pt x="36" y="204"/>
                </a:lnTo>
                <a:lnTo>
                  <a:pt x="36" y="204"/>
                </a:lnTo>
                <a:lnTo>
                  <a:pt x="36" y="204"/>
                </a:lnTo>
                <a:lnTo>
                  <a:pt x="36" y="204"/>
                </a:lnTo>
                <a:lnTo>
                  <a:pt x="36" y="204"/>
                </a:lnTo>
                <a:lnTo>
                  <a:pt x="36" y="204"/>
                </a:lnTo>
                <a:lnTo>
                  <a:pt x="36" y="204"/>
                </a:lnTo>
                <a:lnTo>
                  <a:pt x="30" y="198"/>
                </a:lnTo>
                <a:lnTo>
                  <a:pt x="30" y="198"/>
                </a:lnTo>
                <a:lnTo>
                  <a:pt x="30" y="198"/>
                </a:lnTo>
                <a:lnTo>
                  <a:pt x="30" y="198"/>
                </a:lnTo>
                <a:lnTo>
                  <a:pt x="30" y="198"/>
                </a:lnTo>
                <a:lnTo>
                  <a:pt x="30" y="198"/>
                </a:lnTo>
                <a:lnTo>
                  <a:pt x="30" y="192"/>
                </a:lnTo>
                <a:lnTo>
                  <a:pt x="30" y="192"/>
                </a:lnTo>
                <a:lnTo>
                  <a:pt x="30" y="168"/>
                </a:lnTo>
                <a:lnTo>
                  <a:pt x="30" y="144"/>
                </a:lnTo>
                <a:lnTo>
                  <a:pt x="30" y="132"/>
                </a:lnTo>
                <a:lnTo>
                  <a:pt x="30" y="126"/>
                </a:lnTo>
                <a:lnTo>
                  <a:pt x="18" y="132"/>
                </a:lnTo>
                <a:lnTo>
                  <a:pt x="6" y="132"/>
                </a:lnTo>
                <a:lnTo>
                  <a:pt x="0" y="132"/>
                </a:lnTo>
                <a:lnTo>
                  <a:pt x="0" y="13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02" name="Freeform 235"/>
          <p:cNvSpPr>
            <a:spLocks/>
          </p:cNvSpPr>
          <p:nvPr/>
        </p:nvSpPr>
        <p:spPr bwMode="auto">
          <a:xfrm>
            <a:off x="7539227" y="2522556"/>
            <a:ext cx="301930" cy="346901"/>
          </a:xfrm>
          <a:custGeom>
            <a:avLst/>
            <a:gdLst>
              <a:gd name="T0" fmla="*/ 6 w 282"/>
              <a:gd name="T1" fmla="*/ 36 h 324"/>
              <a:gd name="T2" fmla="*/ 12 w 282"/>
              <a:gd name="T3" fmla="*/ 30 h 324"/>
              <a:gd name="T4" fmla="*/ 24 w 282"/>
              <a:gd name="T5" fmla="*/ 24 h 324"/>
              <a:gd name="T6" fmla="*/ 60 w 282"/>
              <a:gd name="T7" fmla="*/ 18 h 324"/>
              <a:gd name="T8" fmla="*/ 72 w 282"/>
              <a:gd name="T9" fmla="*/ 18 h 324"/>
              <a:gd name="T10" fmla="*/ 78 w 282"/>
              <a:gd name="T11" fmla="*/ 6 h 324"/>
              <a:gd name="T12" fmla="*/ 192 w 282"/>
              <a:gd name="T13" fmla="*/ 42 h 324"/>
              <a:gd name="T14" fmla="*/ 210 w 282"/>
              <a:gd name="T15" fmla="*/ 24 h 324"/>
              <a:gd name="T16" fmla="*/ 216 w 282"/>
              <a:gd name="T17" fmla="*/ 12 h 324"/>
              <a:gd name="T18" fmla="*/ 252 w 282"/>
              <a:gd name="T19" fmla="*/ 12 h 324"/>
              <a:gd name="T20" fmla="*/ 252 w 282"/>
              <a:gd name="T21" fmla="*/ 18 h 324"/>
              <a:gd name="T22" fmla="*/ 258 w 282"/>
              <a:gd name="T23" fmla="*/ 30 h 324"/>
              <a:gd name="T24" fmla="*/ 258 w 282"/>
              <a:gd name="T25" fmla="*/ 42 h 324"/>
              <a:gd name="T26" fmla="*/ 264 w 282"/>
              <a:gd name="T27" fmla="*/ 54 h 324"/>
              <a:gd name="T28" fmla="*/ 270 w 282"/>
              <a:gd name="T29" fmla="*/ 54 h 324"/>
              <a:gd name="T30" fmla="*/ 270 w 282"/>
              <a:gd name="T31" fmla="*/ 66 h 324"/>
              <a:gd name="T32" fmla="*/ 276 w 282"/>
              <a:gd name="T33" fmla="*/ 66 h 324"/>
              <a:gd name="T34" fmla="*/ 282 w 282"/>
              <a:gd name="T35" fmla="*/ 84 h 324"/>
              <a:gd name="T36" fmla="*/ 258 w 282"/>
              <a:gd name="T37" fmla="*/ 108 h 324"/>
              <a:gd name="T38" fmla="*/ 228 w 282"/>
              <a:gd name="T39" fmla="*/ 144 h 324"/>
              <a:gd name="T40" fmla="*/ 210 w 282"/>
              <a:gd name="T41" fmla="*/ 138 h 324"/>
              <a:gd name="T42" fmla="*/ 204 w 282"/>
              <a:gd name="T43" fmla="*/ 126 h 324"/>
              <a:gd name="T44" fmla="*/ 198 w 282"/>
              <a:gd name="T45" fmla="*/ 114 h 324"/>
              <a:gd name="T46" fmla="*/ 186 w 282"/>
              <a:gd name="T47" fmla="*/ 108 h 324"/>
              <a:gd name="T48" fmla="*/ 174 w 282"/>
              <a:gd name="T49" fmla="*/ 108 h 324"/>
              <a:gd name="T50" fmla="*/ 168 w 282"/>
              <a:gd name="T51" fmla="*/ 108 h 324"/>
              <a:gd name="T52" fmla="*/ 168 w 282"/>
              <a:gd name="T53" fmla="*/ 120 h 324"/>
              <a:gd name="T54" fmla="*/ 162 w 282"/>
              <a:gd name="T55" fmla="*/ 126 h 324"/>
              <a:gd name="T56" fmla="*/ 162 w 282"/>
              <a:gd name="T57" fmla="*/ 138 h 324"/>
              <a:gd name="T58" fmla="*/ 162 w 282"/>
              <a:gd name="T59" fmla="*/ 144 h 324"/>
              <a:gd name="T60" fmla="*/ 168 w 282"/>
              <a:gd name="T61" fmla="*/ 204 h 324"/>
              <a:gd name="T62" fmla="*/ 162 w 282"/>
              <a:gd name="T63" fmla="*/ 210 h 324"/>
              <a:gd name="T64" fmla="*/ 156 w 282"/>
              <a:gd name="T65" fmla="*/ 210 h 324"/>
              <a:gd name="T66" fmla="*/ 120 w 282"/>
              <a:gd name="T67" fmla="*/ 234 h 324"/>
              <a:gd name="T68" fmla="*/ 120 w 282"/>
              <a:gd name="T69" fmla="*/ 246 h 324"/>
              <a:gd name="T70" fmla="*/ 132 w 282"/>
              <a:gd name="T71" fmla="*/ 264 h 324"/>
              <a:gd name="T72" fmla="*/ 102 w 282"/>
              <a:gd name="T73" fmla="*/ 294 h 324"/>
              <a:gd name="T74" fmla="*/ 114 w 282"/>
              <a:gd name="T75" fmla="*/ 324 h 324"/>
              <a:gd name="T76" fmla="*/ 108 w 282"/>
              <a:gd name="T77" fmla="*/ 312 h 324"/>
              <a:gd name="T78" fmla="*/ 48 w 282"/>
              <a:gd name="T79" fmla="*/ 282 h 324"/>
              <a:gd name="T80" fmla="*/ 48 w 282"/>
              <a:gd name="T81" fmla="*/ 282 h 324"/>
              <a:gd name="T82" fmla="*/ 30 w 282"/>
              <a:gd name="T83" fmla="*/ 270 h 324"/>
              <a:gd name="T84" fmla="*/ 24 w 282"/>
              <a:gd name="T85" fmla="*/ 264 h 324"/>
              <a:gd name="T86" fmla="*/ 24 w 282"/>
              <a:gd name="T87" fmla="*/ 258 h 324"/>
              <a:gd name="T88" fmla="*/ 30 w 282"/>
              <a:gd name="T89" fmla="*/ 252 h 324"/>
              <a:gd name="T90" fmla="*/ 36 w 282"/>
              <a:gd name="T91" fmla="*/ 240 h 324"/>
              <a:gd name="T92" fmla="*/ 42 w 282"/>
              <a:gd name="T93" fmla="*/ 234 h 324"/>
              <a:gd name="T94" fmla="*/ 54 w 282"/>
              <a:gd name="T95" fmla="*/ 216 h 324"/>
              <a:gd name="T96" fmla="*/ 36 w 282"/>
              <a:gd name="T97" fmla="*/ 168 h 324"/>
              <a:gd name="T98" fmla="*/ 30 w 282"/>
              <a:gd name="T99" fmla="*/ 150 h 324"/>
              <a:gd name="T100" fmla="*/ 24 w 282"/>
              <a:gd name="T101" fmla="*/ 132 h 324"/>
              <a:gd name="T102" fmla="*/ 6 w 282"/>
              <a:gd name="T103" fmla="*/ 102 h 324"/>
              <a:gd name="T104" fmla="*/ 12 w 282"/>
              <a:gd name="T105" fmla="*/ 96 h 324"/>
              <a:gd name="T106" fmla="*/ 18 w 282"/>
              <a:gd name="T107" fmla="*/ 78 h 324"/>
              <a:gd name="T108" fmla="*/ 12 w 282"/>
              <a:gd name="T109" fmla="*/ 60 h 3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82" h="324">
                <a:moveTo>
                  <a:pt x="0" y="54"/>
                </a:moveTo>
                <a:lnTo>
                  <a:pt x="0" y="54"/>
                </a:lnTo>
                <a:lnTo>
                  <a:pt x="0" y="48"/>
                </a:lnTo>
                <a:lnTo>
                  <a:pt x="0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12" y="30"/>
                </a:lnTo>
                <a:lnTo>
                  <a:pt x="12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24"/>
                </a:lnTo>
                <a:lnTo>
                  <a:pt x="24" y="24"/>
                </a:lnTo>
                <a:lnTo>
                  <a:pt x="24" y="24"/>
                </a:lnTo>
                <a:lnTo>
                  <a:pt x="24" y="18"/>
                </a:lnTo>
                <a:lnTo>
                  <a:pt x="54" y="18"/>
                </a:lnTo>
                <a:lnTo>
                  <a:pt x="54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72" y="18"/>
                </a:lnTo>
                <a:lnTo>
                  <a:pt x="72" y="12"/>
                </a:lnTo>
                <a:lnTo>
                  <a:pt x="72" y="12"/>
                </a:lnTo>
                <a:lnTo>
                  <a:pt x="78" y="12"/>
                </a:lnTo>
                <a:lnTo>
                  <a:pt x="78" y="12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90" y="6"/>
                </a:lnTo>
                <a:lnTo>
                  <a:pt x="102" y="6"/>
                </a:lnTo>
                <a:lnTo>
                  <a:pt x="144" y="30"/>
                </a:lnTo>
                <a:lnTo>
                  <a:pt x="168" y="42"/>
                </a:lnTo>
                <a:lnTo>
                  <a:pt x="186" y="54"/>
                </a:lnTo>
                <a:lnTo>
                  <a:pt x="192" y="42"/>
                </a:lnTo>
                <a:lnTo>
                  <a:pt x="192" y="42"/>
                </a:lnTo>
                <a:lnTo>
                  <a:pt x="192" y="36"/>
                </a:lnTo>
                <a:lnTo>
                  <a:pt x="198" y="36"/>
                </a:lnTo>
                <a:lnTo>
                  <a:pt x="198" y="30"/>
                </a:lnTo>
                <a:lnTo>
                  <a:pt x="204" y="30"/>
                </a:lnTo>
                <a:lnTo>
                  <a:pt x="204" y="30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18"/>
                </a:lnTo>
                <a:lnTo>
                  <a:pt x="210" y="18"/>
                </a:lnTo>
                <a:lnTo>
                  <a:pt x="210" y="18"/>
                </a:lnTo>
                <a:lnTo>
                  <a:pt x="210" y="12"/>
                </a:lnTo>
                <a:lnTo>
                  <a:pt x="216" y="12"/>
                </a:lnTo>
                <a:lnTo>
                  <a:pt x="216" y="12"/>
                </a:lnTo>
                <a:lnTo>
                  <a:pt x="216" y="6"/>
                </a:lnTo>
                <a:lnTo>
                  <a:pt x="216" y="0"/>
                </a:lnTo>
                <a:lnTo>
                  <a:pt x="216" y="0"/>
                </a:lnTo>
                <a:lnTo>
                  <a:pt x="246" y="12"/>
                </a:lnTo>
                <a:lnTo>
                  <a:pt x="246" y="12"/>
                </a:lnTo>
                <a:lnTo>
                  <a:pt x="246" y="12"/>
                </a:lnTo>
                <a:lnTo>
                  <a:pt x="252" y="12"/>
                </a:lnTo>
                <a:lnTo>
                  <a:pt x="252" y="12"/>
                </a:lnTo>
                <a:lnTo>
                  <a:pt x="252" y="12"/>
                </a:lnTo>
                <a:lnTo>
                  <a:pt x="252" y="12"/>
                </a:lnTo>
                <a:lnTo>
                  <a:pt x="252" y="12"/>
                </a:lnTo>
                <a:lnTo>
                  <a:pt x="252" y="18"/>
                </a:lnTo>
                <a:lnTo>
                  <a:pt x="252" y="18"/>
                </a:lnTo>
                <a:lnTo>
                  <a:pt x="252" y="18"/>
                </a:lnTo>
                <a:lnTo>
                  <a:pt x="252" y="18"/>
                </a:lnTo>
                <a:lnTo>
                  <a:pt x="252" y="24"/>
                </a:lnTo>
                <a:lnTo>
                  <a:pt x="258" y="24"/>
                </a:lnTo>
                <a:lnTo>
                  <a:pt x="258" y="24"/>
                </a:lnTo>
                <a:lnTo>
                  <a:pt x="258" y="30"/>
                </a:lnTo>
                <a:lnTo>
                  <a:pt x="258" y="30"/>
                </a:lnTo>
                <a:lnTo>
                  <a:pt x="258" y="30"/>
                </a:lnTo>
                <a:lnTo>
                  <a:pt x="258" y="36"/>
                </a:lnTo>
                <a:lnTo>
                  <a:pt x="258" y="36"/>
                </a:lnTo>
                <a:lnTo>
                  <a:pt x="258" y="36"/>
                </a:lnTo>
                <a:lnTo>
                  <a:pt x="258" y="36"/>
                </a:lnTo>
                <a:lnTo>
                  <a:pt x="258" y="36"/>
                </a:lnTo>
                <a:lnTo>
                  <a:pt x="258" y="42"/>
                </a:lnTo>
                <a:lnTo>
                  <a:pt x="258" y="42"/>
                </a:lnTo>
                <a:lnTo>
                  <a:pt x="258" y="42"/>
                </a:lnTo>
                <a:lnTo>
                  <a:pt x="258" y="42"/>
                </a:lnTo>
                <a:lnTo>
                  <a:pt x="264" y="48"/>
                </a:lnTo>
                <a:lnTo>
                  <a:pt x="264" y="48"/>
                </a:lnTo>
                <a:lnTo>
                  <a:pt x="264" y="48"/>
                </a:lnTo>
                <a:lnTo>
                  <a:pt x="264" y="54"/>
                </a:lnTo>
                <a:lnTo>
                  <a:pt x="264" y="54"/>
                </a:lnTo>
                <a:lnTo>
                  <a:pt x="264" y="54"/>
                </a:lnTo>
                <a:lnTo>
                  <a:pt x="264" y="54"/>
                </a:lnTo>
                <a:lnTo>
                  <a:pt x="264" y="54"/>
                </a:lnTo>
                <a:lnTo>
                  <a:pt x="270" y="54"/>
                </a:lnTo>
                <a:lnTo>
                  <a:pt x="264" y="54"/>
                </a:lnTo>
                <a:lnTo>
                  <a:pt x="264" y="54"/>
                </a:lnTo>
                <a:lnTo>
                  <a:pt x="270" y="54"/>
                </a:lnTo>
                <a:lnTo>
                  <a:pt x="270" y="60"/>
                </a:lnTo>
                <a:lnTo>
                  <a:pt x="270" y="60"/>
                </a:lnTo>
                <a:lnTo>
                  <a:pt x="270" y="60"/>
                </a:lnTo>
                <a:lnTo>
                  <a:pt x="270" y="60"/>
                </a:lnTo>
                <a:lnTo>
                  <a:pt x="270" y="60"/>
                </a:lnTo>
                <a:lnTo>
                  <a:pt x="270" y="60"/>
                </a:lnTo>
                <a:lnTo>
                  <a:pt x="270" y="66"/>
                </a:lnTo>
                <a:lnTo>
                  <a:pt x="270" y="66"/>
                </a:lnTo>
                <a:lnTo>
                  <a:pt x="270" y="66"/>
                </a:lnTo>
                <a:lnTo>
                  <a:pt x="270" y="66"/>
                </a:lnTo>
                <a:lnTo>
                  <a:pt x="270" y="66"/>
                </a:lnTo>
                <a:lnTo>
                  <a:pt x="276" y="66"/>
                </a:lnTo>
                <a:lnTo>
                  <a:pt x="276" y="66"/>
                </a:lnTo>
                <a:lnTo>
                  <a:pt x="276" y="66"/>
                </a:lnTo>
                <a:lnTo>
                  <a:pt x="276" y="72"/>
                </a:lnTo>
                <a:lnTo>
                  <a:pt x="276" y="72"/>
                </a:lnTo>
                <a:lnTo>
                  <a:pt x="276" y="72"/>
                </a:lnTo>
                <a:lnTo>
                  <a:pt x="282" y="78"/>
                </a:lnTo>
                <a:lnTo>
                  <a:pt x="282" y="78"/>
                </a:lnTo>
                <a:lnTo>
                  <a:pt x="282" y="84"/>
                </a:lnTo>
                <a:lnTo>
                  <a:pt x="282" y="84"/>
                </a:lnTo>
                <a:lnTo>
                  <a:pt x="282" y="90"/>
                </a:lnTo>
                <a:lnTo>
                  <a:pt x="282" y="90"/>
                </a:lnTo>
                <a:lnTo>
                  <a:pt x="282" y="90"/>
                </a:lnTo>
                <a:lnTo>
                  <a:pt x="276" y="102"/>
                </a:lnTo>
                <a:lnTo>
                  <a:pt x="270" y="108"/>
                </a:lnTo>
                <a:lnTo>
                  <a:pt x="270" y="108"/>
                </a:lnTo>
                <a:lnTo>
                  <a:pt x="258" y="108"/>
                </a:lnTo>
                <a:lnTo>
                  <a:pt x="252" y="108"/>
                </a:lnTo>
                <a:lnTo>
                  <a:pt x="252" y="114"/>
                </a:lnTo>
                <a:lnTo>
                  <a:pt x="246" y="114"/>
                </a:lnTo>
                <a:lnTo>
                  <a:pt x="234" y="126"/>
                </a:lnTo>
                <a:lnTo>
                  <a:pt x="240" y="138"/>
                </a:lnTo>
                <a:lnTo>
                  <a:pt x="234" y="138"/>
                </a:lnTo>
                <a:lnTo>
                  <a:pt x="228" y="144"/>
                </a:lnTo>
                <a:lnTo>
                  <a:pt x="222" y="144"/>
                </a:lnTo>
                <a:lnTo>
                  <a:pt x="216" y="144"/>
                </a:lnTo>
                <a:lnTo>
                  <a:pt x="216" y="144"/>
                </a:lnTo>
                <a:lnTo>
                  <a:pt x="210" y="144"/>
                </a:lnTo>
                <a:lnTo>
                  <a:pt x="210" y="138"/>
                </a:lnTo>
                <a:lnTo>
                  <a:pt x="210" y="138"/>
                </a:lnTo>
                <a:lnTo>
                  <a:pt x="210" y="138"/>
                </a:lnTo>
                <a:lnTo>
                  <a:pt x="210" y="138"/>
                </a:lnTo>
                <a:lnTo>
                  <a:pt x="210" y="138"/>
                </a:lnTo>
                <a:lnTo>
                  <a:pt x="210" y="132"/>
                </a:lnTo>
                <a:lnTo>
                  <a:pt x="210" y="132"/>
                </a:lnTo>
                <a:lnTo>
                  <a:pt x="210" y="132"/>
                </a:lnTo>
                <a:lnTo>
                  <a:pt x="204" y="126"/>
                </a:lnTo>
                <a:lnTo>
                  <a:pt x="204" y="126"/>
                </a:lnTo>
                <a:lnTo>
                  <a:pt x="204" y="126"/>
                </a:lnTo>
                <a:lnTo>
                  <a:pt x="204" y="126"/>
                </a:lnTo>
                <a:lnTo>
                  <a:pt x="204" y="120"/>
                </a:lnTo>
                <a:lnTo>
                  <a:pt x="204" y="120"/>
                </a:lnTo>
                <a:lnTo>
                  <a:pt x="204" y="114"/>
                </a:lnTo>
                <a:lnTo>
                  <a:pt x="204" y="114"/>
                </a:lnTo>
                <a:lnTo>
                  <a:pt x="198" y="114"/>
                </a:lnTo>
                <a:lnTo>
                  <a:pt x="192" y="120"/>
                </a:lnTo>
                <a:lnTo>
                  <a:pt x="192" y="114"/>
                </a:lnTo>
                <a:lnTo>
                  <a:pt x="192" y="114"/>
                </a:lnTo>
                <a:lnTo>
                  <a:pt x="192" y="114"/>
                </a:lnTo>
                <a:lnTo>
                  <a:pt x="186" y="114"/>
                </a:lnTo>
                <a:lnTo>
                  <a:pt x="186" y="108"/>
                </a:lnTo>
                <a:lnTo>
                  <a:pt x="186" y="108"/>
                </a:lnTo>
                <a:lnTo>
                  <a:pt x="186" y="108"/>
                </a:lnTo>
                <a:lnTo>
                  <a:pt x="186" y="108"/>
                </a:lnTo>
                <a:lnTo>
                  <a:pt x="180" y="108"/>
                </a:lnTo>
                <a:lnTo>
                  <a:pt x="180" y="108"/>
                </a:lnTo>
                <a:lnTo>
                  <a:pt x="174" y="108"/>
                </a:lnTo>
                <a:lnTo>
                  <a:pt x="174" y="108"/>
                </a:lnTo>
                <a:lnTo>
                  <a:pt x="174" y="108"/>
                </a:lnTo>
                <a:lnTo>
                  <a:pt x="168" y="108"/>
                </a:lnTo>
                <a:lnTo>
                  <a:pt x="168" y="108"/>
                </a:lnTo>
                <a:lnTo>
                  <a:pt x="168" y="108"/>
                </a:lnTo>
                <a:lnTo>
                  <a:pt x="168" y="108"/>
                </a:lnTo>
                <a:lnTo>
                  <a:pt x="168" y="108"/>
                </a:lnTo>
                <a:lnTo>
                  <a:pt x="168" y="108"/>
                </a:lnTo>
                <a:lnTo>
                  <a:pt x="168" y="108"/>
                </a:lnTo>
                <a:lnTo>
                  <a:pt x="168" y="114"/>
                </a:lnTo>
                <a:lnTo>
                  <a:pt x="168" y="114"/>
                </a:lnTo>
                <a:lnTo>
                  <a:pt x="168" y="114"/>
                </a:lnTo>
                <a:lnTo>
                  <a:pt x="168" y="114"/>
                </a:lnTo>
                <a:lnTo>
                  <a:pt x="168" y="114"/>
                </a:lnTo>
                <a:lnTo>
                  <a:pt x="168" y="120"/>
                </a:lnTo>
                <a:lnTo>
                  <a:pt x="168" y="120"/>
                </a:lnTo>
                <a:lnTo>
                  <a:pt x="168" y="120"/>
                </a:lnTo>
                <a:lnTo>
                  <a:pt x="168" y="120"/>
                </a:lnTo>
                <a:lnTo>
                  <a:pt x="168" y="120"/>
                </a:lnTo>
                <a:lnTo>
                  <a:pt x="168" y="120"/>
                </a:lnTo>
                <a:lnTo>
                  <a:pt x="162" y="120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32"/>
                </a:lnTo>
                <a:lnTo>
                  <a:pt x="162" y="132"/>
                </a:lnTo>
                <a:lnTo>
                  <a:pt x="162" y="132"/>
                </a:lnTo>
                <a:lnTo>
                  <a:pt x="162" y="138"/>
                </a:lnTo>
                <a:lnTo>
                  <a:pt x="162" y="138"/>
                </a:lnTo>
                <a:lnTo>
                  <a:pt x="162" y="138"/>
                </a:lnTo>
                <a:lnTo>
                  <a:pt x="162" y="138"/>
                </a:lnTo>
                <a:lnTo>
                  <a:pt x="162" y="138"/>
                </a:lnTo>
                <a:lnTo>
                  <a:pt x="162" y="144"/>
                </a:lnTo>
                <a:lnTo>
                  <a:pt x="162" y="144"/>
                </a:lnTo>
                <a:lnTo>
                  <a:pt x="162" y="144"/>
                </a:lnTo>
                <a:lnTo>
                  <a:pt x="162" y="144"/>
                </a:lnTo>
                <a:lnTo>
                  <a:pt x="162" y="144"/>
                </a:lnTo>
                <a:lnTo>
                  <a:pt x="150" y="144"/>
                </a:lnTo>
                <a:lnTo>
                  <a:pt x="162" y="174"/>
                </a:lnTo>
                <a:lnTo>
                  <a:pt x="168" y="192"/>
                </a:lnTo>
                <a:lnTo>
                  <a:pt x="174" y="204"/>
                </a:lnTo>
                <a:lnTo>
                  <a:pt x="168" y="204"/>
                </a:lnTo>
                <a:lnTo>
                  <a:pt x="168" y="204"/>
                </a:lnTo>
                <a:lnTo>
                  <a:pt x="168" y="204"/>
                </a:lnTo>
                <a:lnTo>
                  <a:pt x="168" y="204"/>
                </a:lnTo>
                <a:lnTo>
                  <a:pt x="168" y="204"/>
                </a:lnTo>
                <a:lnTo>
                  <a:pt x="168" y="204"/>
                </a:lnTo>
                <a:lnTo>
                  <a:pt x="162" y="204"/>
                </a:lnTo>
                <a:lnTo>
                  <a:pt x="162" y="210"/>
                </a:lnTo>
                <a:lnTo>
                  <a:pt x="162" y="210"/>
                </a:lnTo>
                <a:lnTo>
                  <a:pt x="162" y="204"/>
                </a:lnTo>
                <a:lnTo>
                  <a:pt x="162" y="210"/>
                </a:lnTo>
                <a:lnTo>
                  <a:pt x="162" y="210"/>
                </a:lnTo>
                <a:lnTo>
                  <a:pt x="156" y="210"/>
                </a:lnTo>
                <a:lnTo>
                  <a:pt x="156" y="210"/>
                </a:lnTo>
                <a:lnTo>
                  <a:pt x="156" y="210"/>
                </a:lnTo>
                <a:lnTo>
                  <a:pt x="162" y="216"/>
                </a:lnTo>
                <a:lnTo>
                  <a:pt x="162" y="228"/>
                </a:lnTo>
                <a:lnTo>
                  <a:pt x="150" y="234"/>
                </a:lnTo>
                <a:lnTo>
                  <a:pt x="150" y="234"/>
                </a:lnTo>
                <a:lnTo>
                  <a:pt x="132" y="234"/>
                </a:lnTo>
                <a:lnTo>
                  <a:pt x="120" y="234"/>
                </a:lnTo>
                <a:lnTo>
                  <a:pt x="120" y="234"/>
                </a:lnTo>
                <a:lnTo>
                  <a:pt x="120" y="240"/>
                </a:lnTo>
                <a:lnTo>
                  <a:pt x="120" y="240"/>
                </a:lnTo>
                <a:lnTo>
                  <a:pt x="120" y="240"/>
                </a:lnTo>
                <a:lnTo>
                  <a:pt x="120" y="240"/>
                </a:lnTo>
                <a:lnTo>
                  <a:pt x="120" y="240"/>
                </a:lnTo>
                <a:lnTo>
                  <a:pt x="120" y="240"/>
                </a:lnTo>
                <a:lnTo>
                  <a:pt x="120" y="246"/>
                </a:lnTo>
                <a:lnTo>
                  <a:pt x="138" y="264"/>
                </a:lnTo>
                <a:lnTo>
                  <a:pt x="138" y="264"/>
                </a:lnTo>
                <a:lnTo>
                  <a:pt x="138" y="264"/>
                </a:lnTo>
                <a:lnTo>
                  <a:pt x="138" y="264"/>
                </a:lnTo>
                <a:lnTo>
                  <a:pt x="132" y="264"/>
                </a:lnTo>
                <a:lnTo>
                  <a:pt x="132" y="264"/>
                </a:lnTo>
                <a:lnTo>
                  <a:pt x="132" y="264"/>
                </a:lnTo>
                <a:lnTo>
                  <a:pt x="132" y="264"/>
                </a:lnTo>
                <a:lnTo>
                  <a:pt x="102" y="282"/>
                </a:lnTo>
                <a:lnTo>
                  <a:pt x="102" y="282"/>
                </a:lnTo>
                <a:lnTo>
                  <a:pt x="102" y="282"/>
                </a:lnTo>
                <a:lnTo>
                  <a:pt x="108" y="282"/>
                </a:lnTo>
                <a:lnTo>
                  <a:pt x="108" y="288"/>
                </a:lnTo>
                <a:lnTo>
                  <a:pt x="102" y="294"/>
                </a:lnTo>
                <a:lnTo>
                  <a:pt x="108" y="294"/>
                </a:lnTo>
                <a:lnTo>
                  <a:pt x="108" y="306"/>
                </a:lnTo>
                <a:lnTo>
                  <a:pt x="114" y="306"/>
                </a:lnTo>
                <a:lnTo>
                  <a:pt x="114" y="312"/>
                </a:lnTo>
                <a:lnTo>
                  <a:pt x="114" y="318"/>
                </a:lnTo>
                <a:lnTo>
                  <a:pt x="114" y="318"/>
                </a:lnTo>
                <a:lnTo>
                  <a:pt x="114" y="324"/>
                </a:lnTo>
                <a:lnTo>
                  <a:pt x="114" y="324"/>
                </a:lnTo>
                <a:lnTo>
                  <a:pt x="108" y="324"/>
                </a:lnTo>
                <a:lnTo>
                  <a:pt x="108" y="324"/>
                </a:lnTo>
                <a:lnTo>
                  <a:pt x="108" y="324"/>
                </a:lnTo>
                <a:lnTo>
                  <a:pt x="108" y="318"/>
                </a:lnTo>
                <a:lnTo>
                  <a:pt x="108" y="312"/>
                </a:lnTo>
                <a:lnTo>
                  <a:pt x="108" y="312"/>
                </a:lnTo>
                <a:lnTo>
                  <a:pt x="108" y="312"/>
                </a:lnTo>
                <a:lnTo>
                  <a:pt x="102" y="312"/>
                </a:lnTo>
                <a:lnTo>
                  <a:pt x="96" y="306"/>
                </a:lnTo>
                <a:lnTo>
                  <a:pt x="96" y="306"/>
                </a:lnTo>
                <a:lnTo>
                  <a:pt x="48" y="282"/>
                </a:lnTo>
                <a:lnTo>
                  <a:pt x="48" y="282"/>
                </a:lnTo>
                <a:lnTo>
                  <a:pt x="48" y="282"/>
                </a:lnTo>
                <a:lnTo>
                  <a:pt x="48" y="282"/>
                </a:lnTo>
                <a:lnTo>
                  <a:pt x="48" y="282"/>
                </a:lnTo>
                <a:lnTo>
                  <a:pt x="42" y="282"/>
                </a:lnTo>
                <a:lnTo>
                  <a:pt x="42" y="282"/>
                </a:lnTo>
                <a:lnTo>
                  <a:pt x="48" y="282"/>
                </a:lnTo>
                <a:lnTo>
                  <a:pt x="42" y="282"/>
                </a:lnTo>
                <a:lnTo>
                  <a:pt x="48" y="282"/>
                </a:lnTo>
                <a:lnTo>
                  <a:pt x="48" y="276"/>
                </a:lnTo>
                <a:lnTo>
                  <a:pt x="42" y="276"/>
                </a:lnTo>
                <a:lnTo>
                  <a:pt x="42" y="276"/>
                </a:lnTo>
                <a:lnTo>
                  <a:pt x="42" y="276"/>
                </a:lnTo>
                <a:lnTo>
                  <a:pt x="36" y="270"/>
                </a:lnTo>
                <a:lnTo>
                  <a:pt x="30" y="270"/>
                </a:lnTo>
                <a:lnTo>
                  <a:pt x="30" y="270"/>
                </a:lnTo>
                <a:lnTo>
                  <a:pt x="30" y="270"/>
                </a:lnTo>
                <a:lnTo>
                  <a:pt x="24" y="270"/>
                </a:lnTo>
                <a:lnTo>
                  <a:pt x="24" y="270"/>
                </a:lnTo>
                <a:lnTo>
                  <a:pt x="18" y="270"/>
                </a:lnTo>
                <a:lnTo>
                  <a:pt x="18" y="270"/>
                </a:lnTo>
                <a:lnTo>
                  <a:pt x="18" y="264"/>
                </a:lnTo>
                <a:lnTo>
                  <a:pt x="24" y="264"/>
                </a:lnTo>
                <a:lnTo>
                  <a:pt x="24" y="264"/>
                </a:lnTo>
                <a:lnTo>
                  <a:pt x="18" y="264"/>
                </a:lnTo>
                <a:lnTo>
                  <a:pt x="18" y="264"/>
                </a:lnTo>
                <a:lnTo>
                  <a:pt x="24" y="264"/>
                </a:lnTo>
                <a:lnTo>
                  <a:pt x="24" y="258"/>
                </a:lnTo>
                <a:lnTo>
                  <a:pt x="24" y="258"/>
                </a:lnTo>
                <a:lnTo>
                  <a:pt x="24" y="258"/>
                </a:lnTo>
                <a:lnTo>
                  <a:pt x="30" y="258"/>
                </a:lnTo>
                <a:lnTo>
                  <a:pt x="30" y="258"/>
                </a:lnTo>
                <a:lnTo>
                  <a:pt x="30" y="252"/>
                </a:lnTo>
                <a:lnTo>
                  <a:pt x="30" y="252"/>
                </a:lnTo>
                <a:lnTo>
                  <a:pt x="30" y="252"/>
                </a:lnTo>
                <a:lnTo>
                  <a:pt x="30" y="252"/>
                </a:lnTo>
                <a:lnTo>
                  <a:pt x="30" y="252"/>
                </a:lnTo>
                <a:lnTo>
                  <a:pt x="30" y="246"/>
                </a:lnTo>
                <a:lnTo>
                  <a:pt x="30" y="246"/>
                </a:lnTo>
                <a:lnTo>
                  <a:pt x="36" y="246"/>
                </a:lnTo>
                <a:lnTo>
                  <a:pt x="36" y="246"/>
                </a:lnTo>
                <a:lnTo>
                  <a:pt x="36" y="240"/>
                </a:lnTo>
                <a:lnTo>
                  <a:pt x="36" y="240"/>
                </a:lnTo>
                <a:lnTo>
                  <a:pt x="36" y="240"/>
                </a:lnTo>
                <a:lnTo>
                  <a:pt x="36" y="240"/>
                </a:lnTo>
                <a:lnTo>
                  <a:pt x="36" y="240"/>
                </a:lnTo>
                <a:lnTo>
                  <a:pt x="42" y="240"/>
                </a:lnTo>
                <a:lnTo>
                  <a:pt x="42" y="234"/>
                </a:lnTo>
                <a:lnTo>
                  <a:pt x="42" y="234"/>
                </a:lnTo>
                <a:lnTo>
                  <a:pt x="42" y="234"/>
                </a:lnTo>
                <a:lnTo>
                  <a:pt x="42" y="234"/>
                </a:lnTo>
                <a:lnTo>
                  <a:pt x="48" y="228"/>
                </a:lnTo>
                <a:lnTo>
                  <a:pt x="48" y="222"/>
                </a:lnTo>
                <a:lnTo>
                  <a:pt x="48" y="222"/>
                </a:lnTo>
                <a:lnTo>
                  <a:pt x="54" y="222"/>
                </a:lnTo>
                <a:lnTo>
                  <a:pt x="54" y="222"/>
                </a:lnTo>
                <a:lnTo>
                  <a:pt x="54" y="222"/>
                </a:lnTo>
                <a:lnTo>
                  <a:pt x="54" y="216"/>
                </a:lnTo>
                <a:lnTo>
                  <a:pt x="48" y="210"/>
                </a:lnTo>
                <a:lnTo>
                  <a:pt x="48" y="204"/>
                </a:lnTo>
                <a:lnTo>
                  <a:pt x="48" y="204"/>
                </a:lnTo>
                <a:lnTo>
                  <a:pt x="42" y="192"/>
                </a:lnTo>
                <a:lnTo>
                  <a:pt x="42" y="192"/>
                </a:lnTo>
                <a:lnTo>
                  <a:pt x="36" y="186"/>
                </a:lnTo>
                <a:lnTo>
                  <a:pt x="36" y="168"/>
                </a:lnTo>
                <a:lnTo>
                  <a:pt x="36" y="162"/>
                </a:lnTo>
                <a:lnTo>
                  <a:pt x="30" y="156"/>
                </a:lnTo>
                <a:lnTo>
                  <a:pt x="30" y="156"/>
                </a:lnTo>
                <a:lnTo>
                  <a:pt x="30" y="156"/>
                </a:lnTo>
                <a:lnTo>
                  <a:pt x="30" y="150"/>
                </a:lnTo>
                <a:lnTo>
                  <a:pt x="30" y="150"/>
                </a:lnTo>
                <a:lnTo>
                  <a:pt x="30" y="150"/>
                </a:lnTo>
                <a:lnTo>
                  <a:pt x="30" y="150"/>
                </a:lnTo>
                <a:lnTo>
                  <a:pt x="30" y="150"/>
                </a:lnTo>
                <a:lnTo>
                  <a:pt x="30" y="144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2"/>
                </a:lnTo>
                <a:lnTo>
                  <a:pt x="24" y="126"/>
                </a:lnTo>
                <a:lnTo>
                  <a:pt x="18" y="120"/>
                </a:lnTo>
                <a:lnTo>
                  <a:pt x="18" y="120"/>
                </a:lnTo>
                <a:lnTo>
                  <a:pt x="18" y="114"/>
                </a:lnTo>
                <a:lnTo>
                  <a:pt x="12" y="114"/>
                </a:lnTo>
                <a:lnTo>
                  <a:pt x="12" y="108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96"/>
                </a:lnTo>
                <a:lnTo>
                  <a:pt x="6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0"/>
                </a:lnTo>
                <a:lnTo>
                  <a:pt x="24" y="90"/>
                </a:lnTo>
                <a:lnTo>
                  <a:pt x="18" y="84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66"/>
                </a:lnTo>
                <a:lnTo>
                  <a:pt x="12" y="66"/>
                </a:lnTo>
                <a:lnTo>
                  <a:pt x="12" y="66"/>
                </a:lnTo>
                <a:lnTo>
                  <a:pt x="12" y="60"/>
                </a:lnTo>
                <a:lnTo>
                  <a:pt x="12" y="60"/>
                </a:lnTo>
                <a:lnTo>
                  <a:pt x="6" y="60"/>
                </a:lnTo>
                <a:lnTo>
                  <a:pt x="6" y="60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03" name="Freeform 236"/>
          <p:cNvSpPr>
            <a:spLocks/>
          </p:cNvSpPr>
          <p:nvPr/>
        </p:nvSpPr>
        <p:spPr bwMode="auto">
          <a:xfrm>
            <a:off x="7481411" y="2805216"/>
            <a:ext cx="224842" cy="295508"/>
          </a:xfrm>
          <a:custGeom>
            <a:avLst/>
            <a:gdLst>
              <a:gd name="T0" fmla="*/ 6 w 210"/>
              <a:gd name="T1" fmla="*/ 270 h 276"/>
              <a:gd name="T2" fmla="*/ 0 w 210"/>
              <a:gd name="T3" fmla="*/ 264 h 276"/>
              <a:gd name="T4" fmla="*/ 6 w 210"/>
              <a:gd name="T5" fmla="*/ 252 h 276"/>
              <a:gd name="T6" fmla="*/ 18 w 210"/>
              <a:gd name="T7" fmla="*/ 246 h 276"/>
              <a:gd name="T8" fmla="*/ 18 w 210"/>
              <a:gd name="T9" fmla="*/ 234 h 276"/>
              <a:gd name="T10" fmla="*/ 30 w 210"/>
              <a:gd name="T11" fmla="*/ 222 h 276"/>
              <a:gd name="T12" fmla="*/ 36 w 210"/>
              <a:gd name="T13" fmla="*/ 216 h 276"/>
              <a:gd name="T14" fmla="*/ 42 w 210"/>
              <a:gd name="T15" fmla="*/ 204 h 276"/>
              <a:gd name="T16" fmla="*/ 60 w 210"/>
              <a:gd name="T17" fmla="*/ 192 h 276"/>
              <a:gd name="T18" fmla="*/ 66 w 210"/>
              <a:gd name="T19" fmla="*/ 186 h 276"/>
              <a:gd name="T20" fmla="*/ 72 w 210"/>
              <a:gd name="T21" fmla="*/ 168 h 276"/>
              <a:gd name="T22" fmla="*/ 78 w 210"/>
              <a:gd name="T23" fmla="*/ 150 h 276"/>
              <a:gd name="T24" fmla="*/ 78 w 210"/>
              <a:gd name="T25" fmla="*/ 144 h 276"/>
              <a:gd name="T26" fmla="*/ 78 w 210"/>
              <a:gd name="T27" fmla="*/ 138 h 276"/>
              <a:gd name="T28" fmla="*/ 90 w 210"/>
              <a:gd name="T29" fmla="*/ 132 h 276"/>
              <a:gd name="T30" fmla="*/ 102 w 210"/>
              <a:gd name="T31" fmla="*/ 126 h 276"/>
              <a:gd name="T32" fmla="*/ 108 w 210"/>
              <a:gd name="T33" fmla="*/ 126 h 276"/>
              <a:gd name="T34" fmla="*/ 108 w 210"/>
              <a:gd name="T35" fmla="*/ 120 h 276"/>
              <a:gd name="T36" fmla="*/ 102 w 210"/>
              <a:gd name="T37" fmla="*/ 114 h 276"/>
              <a:gd name="T38" fmla="*/ 96 w 210"/>
              <a:gd name="T39" fmla="*/ 114 h 276"/>
              <a:gd name="T40" fmla="*/ 120 w 210"/>
              <a:gd name="T41" fmla="*/ 54 h 276"/>
              <a:gd name="T42" fmla="*/ 162 w 210"/>
              <a:gd name="T43" fmla="*/ 54 h 276"/>
              <a:gd name="T44" fmla="*/ 168 w 210"/>
              <a:gd name="T45" fmla="*/ 48 h 276"/>
              <a:gd name="T46" fmla="*/ 156 w 210"/>
              <a:gd name="T47" fmla="*/ 18 h 276"/>
              <a:gd name="T48" fmla="*/ 192 w 210"/>
              <a:gd name="T49" fmla="*/ 0 h 276"/>
              <a:gd name="T50" fmla="*/ 198 w 210"/>
              <a:gd name="T51" fmla="*/ 12 h 276"/>
              <a:gd name="T52" fmla="*/ 204 w 210"/>
              <a:gd name="T53" fmla="*/ 18 h 276"/>
              <a:gd name="T54" fmla="*/ 204 w 210"/>
              <a:gd name="T55" fmla="*/ 30 h 276"/>
              <a:gd name="T56" fmla="*/ 192 w 210"/>
              <a:gd name="T57" fmla="*/ 36 h 276"/>
              <a:gd name="T58" fmla="*/ 192 w 210"/>
              <a:gd name="T59" fmla="*/ 42 h 276"/>
              <a:gd name="T60" fmla="*/ 210 w 210"/>
              <a:gd name="T61" fmla="*/ 42 h 276"/>
              <a:gd name="T62" fmla="*/ 198 w 210"/>
              <a:gd name="T63" fmla="*/ 96 h 276"/>
              <a:gd name="T64" fmla="*/ 198 w 210"/>
              <a:gd name="T65" fmla="*/ 114 h 276"/>
              <a:gd name="T66" fmla="*/ 204 w 210"/>
              <a:gd name="T67" fmla="*/ 132 h 276"/>
              <a:gd name="T68" fmla="*/ 204 w 210"/>
              <a:gd name="T69" fmla="*/ 150 h 276"/>
              <a:gd name="T70" fmla="*/ 174 w 210"/>
              <a:gd name="T71" fmla="*/ 162 h 276"/>
              <a:gd name="T72" fmla="*/ 126 w 210"/>
              <a:gd name="T73" fmla="*/ 210 h 276"/>
              <a:gd name="T74" fmla="*/ 126 w 210"/>
              <a:gd name="T75" fmla="*/ 204 h 276"/>
              <a:gd name="T76" fmla="*/ 126 w 210"/>
              <a:gd name="T77" fmla="*/ 198 h 276"/>
              <a:gd name="T78" fmla="*/ 132 w 210"/>
              <a:gd name="T79" fmla="*/ 186 h 276"/>
              <a:gd name="T80" fmla="*/ 138 w 210"/>
              <a:gd name="T81" fmla="*/ 174 h 276"/>
              <a:gd name="T82" fmla="*/ 126 w 210"/>
              <a:gd name="T83" fmla="*/ 180 h 276"/>
              <a:gd name="T84" fmla="*/ 114 w 210"/>
              <a:gd name="T85" fmla="*/ 210 h 276"/>
              <a:gd name="T86" fmla="*/ 114 w 210"/>
              <a:gd name="T87" fmla="*/ 222 h 276"/>
              <a:gd name="T88" fmla="*/ 102 w 210"/>
              <a:gd name="T89" fmla="*/ 264 h 276"/>
              <a:gd name="T90" fmla="*/ 90 w 210"/>
              <a:gd name="T91" fmla="*/ 276 h 276"/>
              <a:gd name="T92" fmla="*/ 84 w 210"/>
              <a:gd name="T93" fmla="*/ 276 h 276"/>
              <a:gd name="T94" fmla="*/ 84 w 210"/>
              <a:gd name="T95" fmla="*/ 270 h 276"/>
              <a:gd name="T96" fmla="*/ 78 w 210"/>
              <a:gd name="T97" fmla="*/ 270 h 276"/>
              <a:gd name="T98" fmla="*/ 72 w 210"/>
              <a:gd name="T99" fmla="*/ 270 h 276"/>
              <a:gd name="T100" fmla="*/ 66 w 210"/>
              <a:gd name="T101" fmla="*/ 270 h 276"/>
              <a:gd name="T102" fmla="*/ 66 w 210"/>
              <a:gd name="T103" fmla="*/ 270 h 276"/>
              <a:gd name="T104" fmla="*/ 60 w 210"/>
              <a:gd name="T105" fmla="*/ 270 h 276"/>
              <a:gd name="T106" fmla="*/ 54 w 210"/>
              <a:gd name="T107" fmla="*/ 270 h 276"/>
              <a:gd name="T108" fmla="*/ 48 w 210"/>
              <a:gd name="T109" fmla="*/ 270 h 276"/>
              <a:gd name="T110" fmla="*/ 42 w 210"/>
              <a:gd name="T111" fmla="*/ 270 h 276"/>
              <a:gd name="T112" fmla="*/ 36 w 210"/>
              <a:gd name="T113" fmla="*/ 264 h 276"/>
              <a:gd name="T114" fmla="*/ 30 w 210"/>
              <a:gd name="T115" fmla="*/ 264 h 276"/>
              <a:gd name="T116" fmla="*/ 30 w 210"/>
              <a:gd name="T117" fmla="*/ 264 h 276"/>
              <a:gd name="T118" fmla="*/ 24 w 210"/>
              <a:gd name="T119" fmla="*/ 264 h 276"/>
              <a:gd name="T120" fmla="*/ 18 w 210"/>
              <a:gd name="T121" fmla="*/ 270 h 276"/>
              <a:gd name="T122" fmla="*/ 12 w 210"/>
              <a:gd name="T123" fmla="*/ 270 h 2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10" h="276">
                <a:moveTo>
                  <a:pt x="12" y="270"/>
                </a:moveTo>
                <a:lnTo>
                  <a:pt x="6" y="270"/>
                </a:lnTo>
                <a:lnTo>
                  <a:pt x="6" y="270"/>
                </a:lnTo>
                <a:lnTo>
                  <a:pt x="6" y="270"/>
                </a:lnTo>
                <a:lnTo>
                  <a:pt x="6" y="270"/>
                </a:lnTo>
                <a:lnTo>
                  <a:pt x="6" y="270"/>
                </a:lnTo>
                <a:lnTo>
                  <a:pt x="6" y="270"/>
                </a:lnTo>
                <a:lnTo>
                  <a:pt x="6" y="270"/>
                </a:lnTo>
                <a:lnTo>
                  <a:pt x="6" y="270"/>
                </a:lnTo>
                <a:lnTo>
                  <a:pt x="6" y="270"/>
                </a:lnTo>
                <a:lnTo>
                  <a:pt x="6" y="270"/>
                </a:lnTo>
                <a:lnTo>
                  <a:pt x="0" y="270"/>
                </a:lnTo>
                <a:lnTo>
                  <a:pt x="0" y="270"/>
                </a:lnTo>
                <a:lnTo>
                  <a:pt x="0" y="264"/>
                </a:lnTo>
                <a:lnTo>
                  <a:pt x="0" y="264"/>
                </a:lnTo>
                <a:lnTo>
                  <a:pt x="0" y="264"/>
                </a:lnTo>
                <a:lnTo>
                  <a:pt x="0" y="258"/>
                </a:lnTo>
                <a:lnTo>
                  <a:pt x="0" y="258"/>
                </a:lnTo>
                <a:lnTo>
                  <a:pt x="0" y="258"/>
                </a:lnTo>
                <a:lnTo>
                  <a:pt x="6" y="258"/>
                </a:lnTo>
                <a:lnTo>
                  <a:pt x="6" y="258"/>
                </a:lnTo>
                <a:lnTo>
                  <a:pt x="6" y="258"/>
                </a:lnTo>
                <a:lnTo>
                  <a:pt x="6" y="252"/>
                </a:lnTo>
                <a:lnTo>
                  <a:pt x="6" y="252"/>
                </a:lnTo>
                <a:lnTo>
                  <a:pt x="6" y="252"/>
                </a:lnTo>
                <a:lnTo>
                  <a:pt x="12" y="252"/>
                </a:lnTo>
                <a:lnTo>
                  <a:pt x="12" y="252"/>
                </a:lnTo>
                <a:lnTo>
                  <a:pt x="12" y="252"/>
                </a:lnTo>
                <a:lnTo>
                  <a:pt x="12" y="246"/>
                </a:lnTo>
                <a:lnTo>
                  <a:pt x="12" y="246"/>
                </a:lnTo>
                <a:lnTo>
                  <a:pt x="12" y="246"/>
                </a:lnTo>
                <a:lnTo>
                  <a:pt x="18" y="246"/>
                </a:lnTo>
                <a:lnTo>
                  <a:pt x="18" y="240"/>
                </a:lnTo>
                <a:lnTo>
                  <a:pt x="18" y="240"/>
                </a:lnTo>
                <a:lnTo>
                  <a:pt x="18" y="240"/>
                </a:lnTo>
                <a:lnTo>
                  <a:pt x="18" y="240"/>
                </a:lnTo>
                <a:lnTo>
                  <a:pt x="18" y="234"/>
                </a:lnTo>
                <a:lnTo>
                  <a:pt x="18" y="234"/>
                </a:lnTo>
                <a:lnTo>
                  <a:pt x="18" y="234"/>
                </a:lnTo>
                <a:lnTo>
                  <a:pt x="18" y="234"/>
                </a:lnTo>
                <a:lnTo>
                  <a:pt x="24" y="228"/>
                </a:lnTo>
                <a:lnTo>
                  <a:pt x="24" y="228"/>
                </a:lnTo>
                <a:lnTo>
                  <a:pt x="24" y="228"/>
                </a:lnTo>
                <a:lnTo>
                  <a:pt x="24" y="228"/>
                </a:lnTo>
                <a:lnTo>
                  <a:pt x="24" y="222"/>
                </a:lnTo>
                <a:lnTo>
                  <a:pt x="30" y="222"/>
                </a:lnTo>
                <a:lnTo>
                  <a:pt x="30" y="222"/>
                </a:lnTo>
                <a:lnTo>
                  <a:pt x="30" y="222"/>
                </a:lnTo>
                <a:lnTo>
                  <a:pt x="30" y="222"/>
                </a:lnTo>
                <a:lnTo>
                  <a:pt x="36" y="222"/>
                </a:lnTo>
                <a:lnTo>
                  <a:pt x="36" y="216"/>
                </a:lnTo>
                <a:lnTo>
                  <a:pt x="36" y="216"/>
                </a:lnTo>
                <a:lnTo>
                  <a:pt x="36" y="216"/>
                </a:lnTo>
                <a:lnTo>
                  <a:pt x="36" y="216"/>
                </a:lnTo>
                <a:lnTo>
                  <a:pt x="36" y="216"/>
                </a:lnTo>
                <a:lnTo>
                  <a:pt x="36" y="216"/>
                </a:lnTo>
                <a:lnTo>
                  <a:pt x="42" y="210"/>
                </a:lnTo>
                <a:lnTo>
                  <a:pt x="42" y="210"/>
                </a:lnTo>
                <a:lnTo>
                  <a:pt x="42" y="210"/>
                </a:lnTo>
                <a:lnTo>
                  <a:pt x="42" y="210"/>
                </a:lnTo>
                <a:lnTo>
                  <a:pt x="42" y="210"/>
                </a:lnTo>
                <a:lnTo>
                  <a:pt x="42" y="204"/>
                </a:lnTo>
                <a:lnTo>
                  <a:pt x="42" y="204"/>
                </a:lnTo>
                <a:lnTo>
                  <a:pt x="42" y="204"/>
                </a:lnTo>
                <a:lnTo>
                  <a:pt x="48" y="204"/>
                </a:lnTo>
                <a:lnTo>
                  <a:pt x="48" y="204"/>
                </a:lnTo>
                <a:lnTo>
                  <a:pt x="54" y="198"/>
                </a:lnTo>
                <a:lnTo>
                  <a:pt x="54" y="198"/>
                </a:lnTo>
                <a:lnTo>
                  <a:pt x="54" y="192"/>
                </a:lnTo>
                <a:lnTo>
                  <a:pt x="54" y="192"/>
                </a:lnTo>
                <a:lnTo>
                  <a:pt x="60" y="192"/>
                </a:lnTo>
                <a:lnTo>
                  <a:pt x="60" y="192"/>
                </a:lnTo>
                <a:lnTo>
                  <a:pt x="60" y="192"/>
                </a:lnTo>
                <a:lnTo>
                  <a:pt x="60" y="192"/>
                </a:lnTo>
                <a:lnTo>
                  <a:pt x="66" y="186"/>
                </a:lnTo>
                <a:lnTo>
                  <a:pt x="66" y="192"/>
                </a:lnTo>
                <a:lnTo>
                  <a:pt x="66" y="192"/>
                </a:lnTo>
                <a:lnTo>
                  <a:pt x="66" y="192"/>
                </a:lnTo>
                <a:lnTo>
                  <a:pt x="66" y="186"/>
                </a:lnTo>
                <a:lnTo>
                  <a:pt x="66" y="186"/>
                </a:lnTo>
                <a:lnTo>
                  <a:pt x="66" y="180"/>
                </a:lnTo>
                <a:lnTo>
                  <a:pt x="66" y="180"/>
                </a:lnTo>
                <a:lnTo>
                  <a:pt x="66" y="174"/>
                </a:lnTo>
                <a:lnTo>
                  <a:pt x="66" y="174"/>
                </a:lnTo>
                <a:lnTo>
                  <a:pt x="66" y="174"/>
                </a:lnTo>
                <a:lnTo>
                  <a:pt x="72" y="168"/>
                </a:lnTo>
                <a:lnTo>
                  <a:pt x="72" y="168"/>
                </a:lnTo>
                <a:lnTo>
                  <a:pt x="72" y="168"/>
                </a:lnTo>
                <a:lnTo>
                  <a:pt x="72" y="168"/>
                </a:lnTo>
                <a:lnTo>
                  <a:pt x="72" y="162"/>
                </a:lnTo>
                <a:lnTo>
                  <a:pt x="72" y="162"/>
                </a:lnTo>
                <a:lnTo>
                  <a:pt x="72" y="162"/>
                </a:lnTo>
                <a:lnTo>
                  <a:pt x="72" y="156"/>
                </a:lnTo>
                <a:lnTo>
                  <a:pt x="78" y="156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44"/>
                </a:lnTo>
                <a:lnTo>
                  <a:pt x="78" y="144"/>
                </a:lnTo>
                <a:lnTo>
                  <a:pt x="78" y="144"/>
                </a:lnTo>
                <a:lnTo>
                  <a:pt x="78" y="144"/>
                </a:lnTo>
                <a:lnTo>
                  <a:pt x="78" y="144"/>
                </a:lnTo>
                <a:lnTo>
                  <a:pt x="78" y="144"/>
                </a:lnTo>
                <a:lnTo>
                  <a:pt x="78" y="144"/>
                </a:lnTo>
                <a:lnTo>
                  <a:pt x="78" y="144"/>
                </a:lnTo>
                <a:lnTo>
                  <a:pt x="78" y="144"/>
                </a:lnTo>
                <a:lnTo>
                  <a:pt x="78" y="144"/>
                </a:lnTo>
                <a:lnTo>
                  <a:pt x="78" y="144"/>
                </a:lnTo>
                <a:lnTo>
                  <a:pt x="84" y="144"/>
                </a:lnTo>
                <a:lnTo>
                  <a:pt x="78" y="138"/>
                </a:lnTo>
                <a:lnTo>
                  <a:pt x="84" y="138"/>
                </a:lnTo>
                <a:lnTo>
                  <a:pt x="78" y="138"/>
                </a:lnTo>
                <a:lnTo>
                  <a:pt x="84" y="138"/>
                </a:lnTo>
                <a:lnTo>
                  <a:pt x="78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96" y="132"/>
                </a:lnTo>
                <a:lnTo>
                  <a:pt x="96" y="132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108" y="102"/>
                </a:lnTo>
                <a:lnTo>
                  <a:pt x="114" y="90"/>
                </a:lnTo>
                <a:lnTo>
                  <a:pt x="120" y="84"/>
                </a:lnTo>
                <a:lnTo>
                  <a:pt x="120" y="54"/>
                </a:lnTo>
                <a:lnTo>
                  <a:pt x="132" y="48"/>
                </a:lnTo>
                <a:lnTo>
                  <a:pt x="150" y="42"/>
                </a:lnTo>
                <a:lnTo>
                  <a:pt x="150" y="42"/>
                </a:lnTo>
                <a:lnTo>
                  <a:pt x="156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54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68" y="60"/>
                </a:lnTo>
                <a:lnTo>
                  <a:pt x="168" y="60"/>
                </a:lnTo>
                <a:lnTo>
                  <a:pt x="168" y="54"/>
                </a:lnTo>
                <a:lnTo>
                  <a:pt x="168" y="54"/>
                </a:lnTo>
                <a:lnTo>
                  <a:pt x="168" y="48"/>
                </a:lnTo>
                <a:lnTo>
                  <a:pt x="168" y="42"/>
                </a:lnTo>
                <a:lnTo>
                  <a:pt x="162" y="42"/>
                </a:lnTo>
                <a:lnTo>
                  <a:pt x="162" y="30"/>
                </a:lnTo>
                <a:lnTo>
                  <a:pt x="156" y="30"/>
                </a:lnTo>
                <a:lnTo>
                  <a:pt x="162" y="24"/>
                </a:lnTo>
                <a:lnTo>
                  <a:pt x="162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86" y="0"/>
                </a:lnTo>
                <a:lnTo>
                  <a:pt x="186" y="0"/>
                </a:lnTo>
                <a:lnTo>
                  <a:pt x="186" y="0"/>
                </a:lnTo>
                <a:lnTo>
                  <a:pt x="186" y="0"/>
                </a:lnTo>
                <a:lnTo>
                  <a:pt x="192" y="0"/>
                </a:lnTo>
                <a:lnTo>
                  <a:pt x="192" y="0"/>
                </a:lnTo>
                <a:lnTo>
                  <a:pt x="192" y="0"/>
                </a:lnTo>
                <a:lnTo>
                  <a:pt x="192" y="0"/>
                </a:lnTo>
                <a:lnTo>
                  <a:pt x="198" y="0"/>
                </a:lnTo>
                <a:lnTo>
                  <a:pt x="198" y="6"/>
                </a:lnTo>
                <a:lnTo>
                  <a:pt x="198" y="6"/>
                </a:lnTo>
                <a:lnTo>
                  <a:pt x="198" y="6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204" y="12"/>
                </a:lnTo>
                <a:lnTo>
                  <a:pt x="204" y="12"/>
                </a:lnTo>
                <a:lnTo>
                  <a:pt x="204" y="18"/>
                </a:lnTo>
                <a:lnTo>
                  <a:pt x="204" y="18"/>
                </a:lnTo>
                <a:lnTo>
                  <a:pt x="204" y="18"/>
                </a:lnTo>
                <a:lnTo>
                  <a:pt x="204" y="18"/>
                </a:lnTo>
                <a:lnTo>
                  <a:pt x="204" y="24"/>
                </a:lnTo>
                <a:lnTo>
                  <a:pt x="204" y="24"/>
                </a:lnTo>
                <a:lnTo>
                  <a:pt x="204" y="24"/>
                </a:lnTo>
                <a:lnTo>
                  <a:pt x="204" y="24"/>
                </a:lnTo>
                <a:lnTo>
                  <a:pt x="204" y="30"/>
                </a:lnTo>
                <a:lnTo>
                  <a:pt x="204" y="30"/>
                </a:lnTo>
                <a:lnTo>
                  <a:pt x="204" y="30"/>
                </a:lnTo>
                <a:lnTo>
                  <a:pt x="204" y="30"/>
                </a:lnTo>
                <a:lnTo>
                  <a:pt x="204" y="30"/>
                </a:lnTo>
                <a:lnTo>
                  <a:pt x="204" y="30"/>
                </a:lnTo>
                <a:lnTo>
                  <a:pt x="198" y="30"/>
                </a:lnTo>
                <a:lnTo>
                  <a:pt x="198" y="30"/>
                </a:lnTo>
                <a:lnTo>
                  <a:pt x="198" y="36"/>
                </a:lnTo>
                <a:lnTo>
                  <a:pt x="198" y="36"/>
                </a:lnTo>
                <a:lnTo>
                  <a:pt x="198" y="36"/>
                </a:lnTo>
                <a:lnTo>
                  <a:pt x="192" y="36"/>
                </a:lnTo>
                <a:lnTo>
                  <a:pt x="192" y="36"/>
                </a:lnTo>
                <a:lnTo>
                  <a:pt x="192" y="36"/>
                </a:lnTo>
                <a:lnTo>
                  <a:pt x="192" y="42"/>
                </a:lnTo>
                <a:lnTo>
                  <a:pt x="192" y="42"/>
                </a:lnTo>
                <a:lnTo>
                  <a:pt x="192" y="42"/>
                </a:lnTo>
                <a:lnTo>
                  <a:pt x="192" y="42"/>
                </a:lnTo>
                <a:lnTo>
                  <a:pt x="192" y="42"/>
                </a:lnTo>
                <a:lnTo>
                  <a:pt x="192" y="42"/>
                </a:lnTo>
                <a:lnTo>
                  <a:pt x="192" y="42"/>
                </a:lnTo>
                <a:lnTo>
                  <a:pt x="192" y="48"/>
                </a:lnTo>
                <a:lnTo>
                  <a:pt x="192" y="48"/>
                </a:lnTo>
                <a:lnTo>
                  <a:pt x="192" y="48"/>
                </a:lnTo>
                <a:lnTo>
                  <a:pt x="192" y="48"/>
                </a:lnTo>
                <a:lnTo>
                  <a:pt x="192" y="54"/>
                </a:lnTo>
                <a:lnTo>
                  <a:pt x="204" y="48"/>
                </a:lnTo>
                <a:lnTo>
                  <a:pt x="210" y="42"/>
                </a:lnTo>
                <a:lnTo>
                  <a:pt x="210" y="48"/>
                </a:lnTo>
                <a:lnTo>
                  <a:pt x="210" y="48"/>
                </a:lnTo>
                <a:lnTo>
                  <a:pt x="210" y="54"/>
                </a:lnTo>
                <a:lnTo>
                  <a:pt x="210" y="78"/>
                </a:lnTo>
                <a:lnTo>
                  <a:pt x="210" y="84"/>
                </a:lnTo>
                <a:lnTo>
                  <a:pt x="210" y="84"/>
                </a:lnTo>
                <a:lnTo>
                  <a:pt x="204" y="96"/>
                </a:lnTo>
                <a:lnTo>
                  <a:pt x="198" y="96"/>
                </a:lnTo>
                <a:lnTo>
                  <a:pt x="198" y="96"/>
                </a:lnTo>
                <a:lnTo>
                  <a:pt x="198" y="108"/>
                </a:lnTo>
                <a:lnTo>
                  <a:pt x="198" y="108"/>
                </a:lnTo>
                <a:lnTo>
                  <a:pt x="198" y="108"/>
                </a:lnTo>
                <a:lnTo>
                  <a:pt x="198" y="108"/>
                </a:lnTo>
                <a:lnTo>
                  <a:pt x="198" y="114"/>
                </a:lnTo>
                <a:lnTo>
                  <a:pt x="204" y="114"/>
                </a:lnTo>
                <a:lnTo>
                  <a:pt x="198" y="114"/>
                </a:lnTo>
                <a:lnTo>
                  <a:pt x="204" y="114"/>
                </a:lnTo>
                <a:lnTo>
                  <a:pt x="204" y="120"/>
                </a:lnTo>
                <a:lnTo>
                  <a:pt x="204" y="120"/>
                </a:lnTo>
                <a:lnTo>
                  <a:pt x="204" y="126"/>
                </a:lnTo>
                <a:lnTo>
                  <a:pt x="204" y="126"/>
                </a:lnTo>
                <a:lnTo>
                  <a:pt x="204" y="126"/>
                </a:lnTo>
                <a:lnTo>
                  <a:pt x="204" y="126"/>
                </a:lnTo>
                <a:lnTo>
                  <a:pt x="204" y="132"/>
                </a:lnTo>
                <a:lnTo>
                  <a:pt x="204" y="132"/>
                </a:lnTo>
                <a:lnTo>
                  <a:pt x="204" y="132"/>
                </a:lnTo>
                <a:lnTo>
                  <a:pt x="204" y="138"/>
                </a:lnTo>
                <a:lnTo>
                  <a:pt x="204" y="138"/>
                </a:lnTo>
                <a:lnTo>
                  <a:pt x="204" y="138"/>
                </a:lnTo>
                <a:lnTo>
                  <a:pt x="204" y="144"/>
                </a:lnTo>
                <a:lnTo>
                  <a:pt x="204" y="144"/>
                </a:lnTo>
                <a:lnTo>
                  <a:pt x="204" y="150"/>
                </a:lnTo>
                <a:lnTo>
                  <a:pt x="204" y="150"/>
                </a:lnTo>
                <a:lnTo>
                  <a:pt x="204" y="150"/>
                </a:lnTo>
                <a:lnTo>
                  <a:pt x="204" y="150"/>
                </a:lnTo>
                <a:lnTo>
                  <a:pt x="198" y="150"/>
                </a:lnTo>
                <a:lnTo>
                  <a:pt x="186" y="144"/>
                </a:lnTo>
                <a:lnTo>
                  <a:pt x="180" y="144"/>
                </a:lnTo>
                <a:lnTo>
                  <a:pt x="174" y="156"/>
                </a:lnTo>
                <a:lnTo>
                  <a:pt x="174" y="162"/>
                </a:lnTo>
                <a:lnTo>
                  <a:pt x="162" y="180"/>
                </a:lnTo>
                <a:lnTo>
                  <a:pt x="162" y="180"/>
                </a:lnTo>
                <a:lnTo>
                  <a:pt x="132" y="216"/>
                </a:lnTo>
                <a:lnTo>
                  <a:pt x="132" y="216"/>
                </a:lnTo>
                <a:lnTo>
                  <a:pt x="132" y="216"/>
                </a:lnTo>
                <a:lnTo>
                  <a:pt x="132" y="210"/>
                </a:lnTo>
                <a:lnTo>
                  <a:pt x="126" y="210"/>
                </a:lnTo>
                <a:lnTo>
                  <a:pt x="126" y="210"/>
                </a:lnTo>
                <a:lnTo>
                  <a:pt x="126" y="210"/>
                </a:lnTo>
                <a:lnTo>
                  <a:pt x="126" y="210"/>
                </a:lnTo>
                <a:lnTo>
                  <a:pt x="126" y="204"/>
                </a:lnTo>
                <a:lnTo>
                  <a:pt x="126" y="204"/>
                </a:lnTo>
                <a:lnTo>
                  <a:pt x="120" y="204"/>
                </a:lnTo>
                <a:lnTo>
                  <a:pt x="120" y="204"/>
                </a:lnTo>
                <a:lnTo>
                  <a:pt x="126" y="204"/>
                </a:lnTo>
                <a:lnTo>
                  <a:pt x="126" y="204"/>
                </a:lnTo>
                <a:lnTo>
                  <a:pt x="126" y="198"/>
                </a:lnTo>
                <a:lnTo>
                  <a:pt x="126" y="198"/>
                </a:lnTo>
                <a:lnTo>
                  <a:pt x="126" y="198"/>
                </a:lnTo>
                <a:lnTo>
                  <a:pt x="126" y="198"/>
                </a:lnTo>
                <a:lnTo>
                  <a:pt x="126" y="198"/>
                </a:lnTo>
                <a:lnTo>
                  <a:pt x="126" y="198"/>
                </a:lnTo>
                <a:lnTo>
                  <a:pt x="126" y="198"/>
                </a:lnTo>
                <a:lnTo>
                  <a:pt x="126" y="198"/>
                </a:lnTo>
                <a:lnTo>
                  <a:pt x="132" y="192"/>
                </a:lnTo>
                <a:lnTo>
                  <a:pt x="126" y="192"/>
                </a:lnTo>
                <a:lnTo>
                  <a:pt x="132" y="192"/>
                </a:lnTo>
                <a:lnTo>
                  <a:pt x="132" y="192"/>
                </a:lnTo>
                <a:lnTo>
                  <a:pt x="132" y="186"/>
                </a:lnTo>
                <a:lnTo>
                  <a:pt x="132" y="186"/>
                </a:lnTo>
                <a:lnTo>
                  <a:pt x="132" y="186"/>
                </a:lnTo>
                <a:lnTo>
                  <a:pt x="132" y="186"/>
                </a:lnTo>
                <a:lnTo>
                  <a:pt x="132" y="186"/>
                </a:lnTo>
                <a:lnTo>
                  <a:pt x="132" y="186"/>
                </a:lnTo>
                <a:lnTo>
                  <a:pt x="132" y="186"/>
                </a:lnTo>
                <a:lnTo>
                  <a:pt x="132" y="180"/>
                </a:lnTo>
                <a:lnTo>
                  <a:pt x="132" y="180"/>
                </a:lnTo>
                <a:lnTo>
                  <a:pt x="132" y="180"/>
                </a:lnTo>
                <a:lnTo>
                  <a:pt x="132" y="174"/>
                </a:lnTo>
                <a:lnTo>
                  <a:pt x="138" y="174"/>
                </a:lnTo>
                <a:lnTo>
                  <a:pt x="132" y="174"/>
                </a:lnTo>
                <a:lnTo>
                  <a:pt x="138" y="174"/>
                </a:lnTo>
                <a:lnTo>
                  <a:pt x="132" y="174"/>
                </a:lnTo>
                <a:lnTo>
                  <a:pt x="132" y="174"/>
                </a:lnTo>
                <a:lnTo>
                  <a:pt x="132" y="174"/>
                </a:lnTo>
                <a:lnTo>
                  <a:pt x="132" y="174"/>
                </a:lnTo>
                <a:lnTo>
                  <a:pt x="132" y="180"/>
                </a:lnTo>
                <a:lnTo>
                  <a:pt x="126" y="180"/>
                </a:lnTo>
                <a:lnTo>
                  <a:pt x="120" y="186"/>
                </a:lnTo>
                <a:lnTo>
                  <a:pt x="120" y="186"/>
                </a:lnTo>
                <a:lnTo>
                  <a:pt x="120" y="186"/>
                </a:lnTo>
                <a:lnTo>
                  <a:pt x="120" y="198"/>
                </a:lnTo>
                <a:lnTo>
                  <a:pt x="120" y="198"/>
                </a:lnTo>
                <a:lnTo>
                  <a:pt x="114" y="204"/>
                </a:lnTo>
                <a:lnTo>
                  <a:pt x="114" y="204"/>
                </a:lnTo>
                <a:lnTo>
                  <a:pt x="114" y="210"/>
                </a:lnTo>
                <a:lnTo>
                  <a:pt x="114" y="210"/>
                </a:lnTo>
                <a:lnTo>
                  <a:pt x="114" y="210"/>
                </a:lnTo>
                <a:lnTo>
                  <a:pt x="114" y="210"/>
                </a:lnTo>
                <a:lnTo>
                  <a:pt x="114" y="216"/>
                </a:lnTo>
                <a:lnTo>
                  <a:pt x="114" y="222"/>
                </a:lnTo>
                <a:lnTo>
                  <a:pt x="114" y="222"/>
                </a:lnTo>
                <a:lnTo>
                  <a:pt x="114" y="222"/>
                </a:lnTo>
                <a:lnTo>
                  <a:pt x="114" y="222"/>
                </a:lnTo>
                <a:lnTo>
                  <a:pt x="108" y="228"/>
                </a:lnTo>
                <a:lnTo>
                  <a:pt x="114" y="228"/>
                </a:lnTo>
                <a:lnTo>
                  <a:pt x="108" y="234"/>
                </a:lnTo>
                <a:lnTo>
                  <a:pt x="108" y="240"/>
                </a:lnTo>
                <a:lnTo>
                  <a:pt x="108" y="240"/>
                </a:lnTo>
                <a:lnTo>
                  <a:pt x="102" y="252"/>
                </a:lnTo>
                <a:lnTo>
                  <a:pt x="102" y="252"/>
                </a:lnTo>
                <a:lnTo>
                  <a:pt x="102" y="264"/>
                </a:lnTo>
                <a:lnTo>
                  <a:pt x="96" y="264"/>
                </a:lnTo>
                <a:lnTo>
                  <a:pt x="96" y="270"/>
                </a:lnTo>
                <a:lnTo>
                  <a:pt x="96" y="270"/>
                </a:lnTo>
                <a:lnTo>
                  <a:pt x="96" y="270"/>
                </a:lnTo>
                <a:lnTo>
                  <a:pt x="96" y="276"/>
                </a:lnTo>
                <a:lnTo>
                  <a:pt x="90" y="276"/>
                </a:lnTo>
                <a:lnTo>
                  <a:pt x="90" y="276"/>
                </a:lnTo>
                <a:lnTo>
                  <a:pt x="90" y="276"/>
                </a:lnTo>
                <a:lnTo>
                  <a:pt x="90" y="276"/>
                </a:lnTo>
                <a:lnTo>
                  <a:pt x="90" y="276"/>
                </a:lnTo>
                <a:lnTo>
                  <a:pt x="90" y="276"/>
                </a:lnTo>
                <a:lnTo>
                  <a:pt x="84" y="276"/>
                </a:lnTo>
                <a:lnTo>
                  <a:pt x="84" y="276"/>
                </a:lnTo>
                <a:lnTo>
                  <a:pt x="84" y="276"/>
                </a:lnTo>
                <a:lnTo>
                  <a:pt x="84" y="276"/>
                </a:lnTo>
                <a:lnTo>
                  <a:pt x="84" y="276"/>
                </a:lnTo>
                <a:lnTo>
                  <a:pt x="84" y="276"/>
                </a:lnTo>
                <a:lnTo>
                  <a:pt x="84" y="276"/>
                </a:lnTo>
                <a:lnTo>
                  <a:pt x="84" y="276"/>
                </a:lnTo>
                <a:lnTo>
                  <a:pt x="84" y="276"/>
                </a:lnTo>
                <a:lnTo>
                  <a:pt x="84" y="276"/>
                </a:lnTo>
                <a:lnTo>
                  <a:pt x="84" y="276"/>
                </a:lnTo>
                <a:lnTo>
                  <a:pt x="84" y="276"/>
                </a:lnTo>
                <a:lnTo>
                  <a:pt x="84" y="270"/>
                </a:lnTo>
                <a:lnTo>
                  <a:pt x="78" y="276"/>
                </a:lnTo>
                <a:lnTo>
                  <a:pt x="78" y="276"/>
                </a:lnTo>
                <a:lnTo>
                  <a:pt x="78" y="276"/>
                </a:lnTo>
                <a:lnTo>
                  <a:pt x="78" y="276"/>
                </a:lnTo>
                <a:lnTo>
                  <a:pt x="78" y="270"/>
                </a:lnTo>
                <a:lnTo>
                  <a:pt x="78" y="270"/>
                </a:lnTo>
                <a:lnTo>
                  <a:pt x="78" y="270"/>
                </a:lnTo>
                <a:lnTo>
                  <a:pt x="78" y="270"/>
                </a:lnTo>
                <a:lnTo>
                  <a:pt x="78" y="270"/>
                </a:lnTo>
                <a:lnTo>
                  <a:pt x="78" y="270"/>
                </a:lnTo>
                <a:lnTo>
                  <a:pt x="72" y="270"/>
                </a:lnTo>
                <a:lnTo>
                  <a:pt x="72" y="270"/>
                </a:lnTo>
                <a:lnTo>
                  <a:pt x="72" y="270"/>
                </a:lnTo>
                <a:lnTo>
                  <a:pt x="72" y="270"/>
                </a:lnTo>
                <a:lnTo>
                  <a:pt x="72" y="270"/>
                </a:lnTo>
                <a:lnTo>
                  <a:pt x="72" y="270"/>
                </a:lnTo>
                <a:lnTo>
                  <a:pt x="72" y="270"/>
                </a:lnTo>
                <a:lnTo>
                  <a:pt x="72" y="270"/>
                </a:lnTo>
                <a:lnTo>
                  <a:pt x="72" y="270"/>
                </a:lnTo>
                <a:lnTo>
                  <a:pt x="72" y="270"/>
                </a:lnTo>
                <a:lnTo>
                  <a:pt x="72" y="270"/>
                </a:lnTo>
                <a:lnTo>
                  <a:pt x="72" y="270"/>
                </a:lnTo>
                <a:lnTo>
                  <a:pt x="66" y="270"/>
                </a:lnTo>
                <a:lnTo>
                  <a:pt x="66" y="270"/>
                </a:lnTo>
                <a:lnTo>
                  <a:pt x="66" y="270"/>
                </a:lnTo>
                <a:lnTo>
                  <a:pt x="66" y="270"/>
                </a:lnTo>
                <a:lnTo>
                  <a:pt x="66" y="270"/>
                </a:lnTo>
                <a:lnTo>
                  <a:pt x="66" y="270"/>
                </a:lnTo>
                <a:lnTo>
                  <a:pt x="66" y="270"/>
                </a:lnTo>
                <a:lnTo>
                  <a:pt x="66" y="270"/>
                </a:lnTo>
                <a:lnTo>
                  <a:pt x="66" y="270"/>
                </a:lnTo>
                <a:lnTo>
                  <a:pt x="66" y="270"/>
                </a:lnTo>
                <a:lnTo>
                  <a:pt x="60" y="270"/>
                </a:lnTo>
                <a:lnTo>
                  <a:pt x="60" y="270"/>
                </a:lnTo>
                <a:lnTo>
                  <a:pt x="60" y="270"/>
                </a:lnTo>
                <a:lnTo>
                  <a:pt x="60" y="270"/>
                </a:lnTo>
                <a:lnTo>
                  <a:pt x="60" y="270"/>
                </a:lnTo>
                <a:lnTo>
                  <a:pt x="60" y="270"/>
                </a:lnTo>
                <a:lnTo>
                  <a:pt x="60" y="270"/>
                </a:lnTo>
                <a:lnTo>
                  <a:pt x="60" y="270"/>
                </a:lnTo>
                <a:lnTo>
                  <a:pt x="60" y="270"/>
                </a:lnTo>
                <a:lnTo>
                  <a:pt x="54" y="270"/>
                </a:lnTo>
                <a:lnTo>
                  <a:pt x="54" y="270"/>
                </a:lnTo>
                <a:lnTo>
                  <a:pt x="54" y="270"/>
                </a:lnTo>
                <a:lnTo>
                  <a:pt x="54" y="270"/>
                </a:lnTo>
                <a:lnTo>
                  <a:pt x="54" y="270"/>
                </a:lnTo>
                <a:lnTo>
                  <a:pt x="54" y="270"/>
                </a:lnTo>
                <a:lnTo>
                  <a:pt x="54" y="270"/>
                </a:lnTo>
                <a:lnTo>
                  <a:pt x="54" y="270"/>
                </a:lnTo>
                <a:lnTo>
                  <a:pt x="54" y="270"/>
                </a:lnTo>
                <a:lnTo>
                  <a:pt x="54" y="270"/>
                </a:lnTo>
                <a:lnTo>
                  <a:pt x="54" y="270"/>
                </a:lnTo>
                <a:lnTo>
                  <a:pt x="54" y="270"/>
                </a:lnTo>
                <a:lnTo>
                  <a:pt x="54" y="270"/>
                </a:lnTo>
                <a:lnTo>
                  <a:pt x="54" y="270"/>
                </a:lnTo>
                <a:lnTo>
                  <a:pt x="48" y="270"/>
                </a:lnTo>
                <a:lnTo>
                  <a:pt x="48" y="270"/>
                </a:lnTo>
                <a:lnTo>
                  <a:pt x="48" y="270"/>
                </a:lnTo>
                <a:lnTo>
                  <a:pt x="48" y="264"/>
                </a:lnTo>
                <a:lnTo>
                  <a:pt x="48" y="264"/>
                </a:lnTo>
                <a:lnTo>
                  <a:pt x="48" y="270"/>
                </a:lnTo>
                <a:lnTo>
                  <a:pt x="42" y="270"/>
                </a:lnTo>
                <a:lnTo>
                  <a:pt x="42" y="270"/>
                </a:lnTo>
                <a:lnTo>
                  <a:pt x="42" y="270"/>
                </a:lnTo>
                <a:lnTo>
                  <a:pt x="42" y="270"/>
                </a:lnTo>
                <a:lnTo>
                  <a:pt x="42" y="264"/>
                </a:lnTo>
                <a:lnTo>
                  <a:pt x="42" y="270"/>
                </a:lnTo>
                <a:lnTo>
                  <a:pt x="42" y="270"/>
                </a:lnTo>
                <a:lnTo>
                  <a:pt x="42" y="270"/>
                </a:lnTo>
                <a:lnTo>
                  <a:pt x="42" y="270"/>
                </a:lnTo>
                <a:lnTo>
                  <a:pt x="36" y="264"/>
                </a:lnTo>
                <a:lnTo>
                  <a:pt x="36" y="264"/>
                </a:lnTo>
                <a:lnTo>
                  <a:pt x="36" y="264"/>
                </a:lnTo>
                <a:lnTo>
                  <a:pt x="36" y="264"/>
                </a:lnTo>
                <a:lnTo>
                  <a:pt x="36" y="264"/>
                </a:lnTo>
                <a:lnTo>
                  <a:pt x="36" y="264"/>
                </a:lnTo>
                <a:lnTo>
                  <a:pt x="36" y="264"/>
                </a:lnTo>
                <a:lnTo>
                  <a:pt x="36" y="264"/>
                </a:lnTo>
                <a:lnTo>
                  <a:pt x="36" y="264"/>
                </a:lnTo>
                <a:lnTo>
                  <a:pt x="30" y="264"/>
                </a:lnTo>
                <a:lnTo>
                  <a:pt x="30" y="264"/>
                </a:lnTo>
                <a:lnTo>
                  <a:pt x="30" y="264"/>
                </a:lnTo>
                <a:lnTo>
                  <a:pt x="30" y="264"/>
                </a:lnTo>
                <a:lnTo>
                  <a:pt x="30" y="264"/>
                </a:lnTo>
                <a:lnTo>
                  <a:pt x="30" y="264"/>
                </a:lnTo>
                <a:lnTo>
                  <a:pt x="30" y="264"/>
                </a:lnTo>
                <a:lnTo>
                  <a:pt x="30" y="264"/>
                </a:lnTo>
                <a:lnTo>
                  <a:pt x="30" y="264"/>
                </a:lnTo>
                <a:lnTo>
                  <a:pt x="30" y="264"/>
                </a:lnTo>
                <a:lnTo>
                  <a:pt x="24" y="264"/>
                </a:lnTo>
                <a:lnTo>
                  <a:pt x="24" y="264"/>
                </a:lnTo>
                <a:lnTo>
                  <a:pt x="24" y="264"/>
                </a:lnTo>
                <a:lnTo>
                  <a:pt x="24" y="264"/>
                </a:lnTo>
                <a:lnTo>
                  <a:pt x="24" y="264"/>
                </a:lnTo>
                <a:lnTo>
                  <a:pt x="24" y="264"/>
                </a:lnTo>
                <a:lnTo>
                  <a:pt x="24" y="264"/>
                </a:lnTo>
                <a:lnTo>
                  <a:pt x="18" y="264"/>
                </a:lnTo>
                <a:lnTo>
                  <a:pt x="18" y="264"/>
                </a:lnTo>
                <a:lnTo>
                  <a:pt x="18" y="264"/>
                </a:lnTo>
                <a:lnTo>
                  <a:pt x="18" y="264"/>
                </a:lnTo>
                <a:lnTo>
                  <a:pt x="18" y="270"/>
                </a:lnTo>
                <a:lnTo>
                  <a:pt x="18" y="264"/>
                </a:lnTo>
                <a:lnTo>
                  <a:pt x="18" y="270"/>
                </a:lnTo>
                <a:lnTo>
                  <a:pt x="18" y="270"/>
                </a:lnTo>
                <a:lnTo>
                  <a:pt x="12" y="270"/>
                </a:lnTo>
                <a:lnTo>
                  <a:pt x="12" y="270"/>
                </a:lnTo>
                <a:lnTo>
                  <a:pt x="12" y="270"/>
                </a:lnTo>
                <a:lnTo>
                  <a:pt x="12" y="270"/>
                </a:lnTo>
                <a:lnTo>
                  <a:pt x="12" y="270"/>
                </a:lnTo>
                <a:lnTo>
                  <a:pt x="12" y="270"/>
                </a:lnTo>
                <a:lnTo>
                  <a:pt x="12" y="270"/>
                </a:lnTo>
                <a:lnTo>
                  <a:pt x="12" y="270"/>
                </a:lnTo>
                <a:lnTo>
                  <a:pt x="12" y="270"/>
                </a:lnTo>
                <a:lnTo>
                  <a:pt x="12" y="270"/>
                </a:lnTo>
                <a:lnTo>
                  <a:pt x="12" y="27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04" name="Freeform 237"/>
          <p:cNvSpPr>
            <a:spLocks/>
          </p:cNvSpPr>
          <p:nvPr/>
        </p:nvSpPr>
        <p:spPr bwMode="auto">
          <a:xfrm>
            <a:off x="7667708" y="2734551"/>
            <a:ext cx="160601" cy="276236"/>
          </a:xfrm>
          <a:custGeom>
            <a:avLst/>
            <a:gdLst>
              <a:gd name="T0" fmla="*/ 42 w 150"/>
              <a:gd name="T1" fmla="*/ 18 h 258"/>
              <a:gd name="T2" fmla="*/ 42 w 150"/>
              <a:gd name="T3" fmla="*/ 6 h 258"/>
              <a:gd name="T4" fmla="*/ 48 w 150"/>
              <a:gd name="T5" fmla="*/ 6 h 258"/>
              <a:gd name="T6" fmla="*/ 54 w 150"/>
              <a:gd name="T7" fmla="*/ 0 h 258"/>
              <a:gd name="T8" fmla="*/ 66 w 150"/>
              <a:gd name="T9" fmla="*/ 0 h 258"/>
              <a:gd name="T10" fmla="*/ 78 w 150"/>
              <a:gd name="T11" fmla="*/ 6 h 258"/>
              <a:gd name="T12" fmla="*/ 90 w 150"/>
              <a:gd name="T13" fmla="*/ 6 h 258"/>
              <a:gd name="T14" fmla="*/ 96 w 150"/>
              <a:gd name="T15" fmla="*/ 6 h 258"/>
              <a:gd name="T16" fmla="*/ 102 w 150"/>
              <a:gd name="T17" fmla="*/ 0 h 258"/>
              <a:gd name="T18" fmla="*/ 120 w 150"/>
              <a:gd name="T19" fmla="*/ 30 h 258"/>
              <a:gd name="T20" fmla="*/ 126 w 150"/>
              <a:gd name="T21" fmla="*/ 36 h 258"/>
              <a:gd name="T22" fmla="*/ 138 w 150"/>
              <a:gd name="T23" fmla="*/ 60 h 258"/>
              <a:gd name="T24" fmla="*/ 126 w 150"/>
              <a:gd name="T25" fmla="*/ 66 h 258"/>
              <a:gd name="T26" fmla="*/ 126 w 150"/>
              <a:gd name="T27" fmla="*/ 84 h 258"/>
              <a:gd name="T28" fmla="*/ 132 w 150"/>
              <a:gd name="T29" fmla="*/ 90 h 258"/>
              <a:gd name="T30" fmla="*/ 132 w 150"/>
              <a:gd name="T31" fmla="*/ 96 h 258"/>
              <a:gd name="T32" fmla="*/ 138 w 150"/>
              <a:gd name="T33" fmla="*/ 108 h 258"/>
              <a:gd name="T34" fmla="*/ 144 w 150"/>
              <a:gd name="T35" fmla="*/ 108 h 258"/>
              <a:gd name="T36" fmla="*/ 144 w 150"/>
              <a:gd name="T37" fmla="*/ 126 h 258"/>
              <a:gd name="T38" fmla="*/ 144 w 150"/>
              <a:gd name="T39" fmla="*/ 138 h 258"/>
              <a:gd name="T40" fmla="*/ 138 w 150"/>
              <a:gd name="T41" fmla="*/ 168 h 258"/>
              <a:gd name="T42" fmla="*/ 126 w 150"/>
              <a:gd name="T43" fmla="*/ 168 h 258"/>
              <a:gd name="T44" fmla="*/ 120 w 150"/>
              <a:gd name="T45" fmla="*/ 168 h 258"/>
              <a:gd name="T46" fmla="*/ 114 w 150"/>
              <a:gd name="T47" fmla="*/ 168 h 258"/>
              <a:gd name="T48" fmla="*/ 108 w 150"/>
              <a:gd name="T49" fmla="*/ 174 h 258"/>
              <a:gd name="T50" fmla="*/ 102 w 150"/>
              <a:gd name="T51" fmla="*/ 174 h 258"/>
              <a:gd name="T52" fmla="*/ 102 w 150"/>
              <a:gd name="T53" fmla="*/ 180 h 258"/>
              <a:gd name="T54" fmla="*/ 108 w 150"/>
              <a:gd name="T55" fmla="*/ 186 h 258"/>
              <a:gd name="T56" fmla="*/ 114 w 150"/>
              <a:gd name="T57" fmla="*/ 186 h 258"/>
              <a:gd name="T58" fmla="*/ 120 w 150"/>
              <a:gd name="T59" fmla="*/ 186 h 258"/>
              <a:gd name="T60" fmla="*/ 126 w 150"/>
              <a:gd name="T61" fmla="*/ 186 h 258"/>
              <a:gd name="T62" fmla="*/ 126 w 150"/>
              <a:gd name="T63" fmla="*/ 192 h 258"/>
              <a:gd name="T64" fmla="*/ 126 w 150"/>
              <a:gd name="T65" fmla="*/ 198 h 258"/>
              <a:gd name="T66" fmla="*/ 120 w 150"/>
              <a:gd name="T67" fmla="*/ 204 h 258"/>
              <a:gd name="T68" fmla="*/ 108 w 150"/>
              <a:gd name="T69" fmla="*/ 210 h 258"/>
              <a:gd name="T70" fmla="*/ 114 w 150"/>
              <a:gd name="T71" fmla="*/ 210 h 258"/>
              <a:gd name="T72" fmla="*/ 90 w 150"/>
              <a:gd name="T73" fmla="*/ 222 h 258"/>
              <a:gd name="T74" fmla="*/ 90 w 150"/>
              <a:gd name="T75" fmla="*/ 234 h 258"/>
              <a:gd name="T76" fmla="*/ 96 w 150"/>
              <a:gd name="T77" fmla="*/ 246 h 258"/>
              <a:gd name="T78" fmla="*/ 102 w 150"/>
              <a:gd name="T79" fmla="*/ 252 h 258"/>
              <a:gd name="T80" fmla="*/ 96 w 150"/>
              <a:gd name="T81" fmla="*/ 258 h 258"/>
              <a:gd name="T82" fmla="*/ 90 w 150"/>
              <a:gd name="T83" fmla="*/ 258 h 258"/>
              <a:gd name="T84" fmla="*/ 78 w 150"/>
              <a:gd name="T85" fmla="*/ 258 h 258"/>
              <a:gd name="T86" fmla="*/ 72 w 150"/>
              <a:gd name="T87" fmla="*/ 246 h 258"/>
              <a:gd name="T88" fmla="*/ 30 w 150"/>
              <a:gd name="T89" fmla="*/ 228 h 258"/>
              <a:gd name="T90" fmla="*/ 30 w 150"/>
              <a:gd name="T91" fmla="*/ 216 h 258"/>
              <a:gd name="T92" fmla="*/ 30 w 150"/>
              <a:gd name="T93" fmla="*/ 204 h 258"/>
              <a:gd name="T94" fmla="*/ 30 w 150"/>
              <a:gd name="T95" fmla="*/ 192 h 258"/>
              <a:gd name="T96" fmla="*/ 30 w 150"/>
              <a:gd name="T97" fmla="*/ 180 h 258"/>
              <a:gd name="T98" fmla="*/ 24 w 150"/>
              <a:gd name="T99" fmla="*/ 174 h 258"/>
              <a:gd name="T100" fmla="*/ 36 w 150"/>
              <a:gd name="T101" fmla="*/ 150 h 258"/>
              <a:gd name="T102" fmla="*/ 30 w 150"/>
              <a:gd name="T103" fmla="*/ 114 h 258"/>
              <a:gd name="T104" fmla="*/ 18 w 150"/>
              <a:gd name="T105" fmla="*/ 108 h 258"/>
              <a:gd name="T106" fmla="*/ 18 w 150"/>
              <a:gd name="T107" fmla="*/ 108 h 258"/>
              <a:gd name="T108" fmla="*/ 24 w 150"/>
              <a:gd name="T109" fmla="*/ 102 h 258"/>
              <a:gd name="T110" fmla="*/ 30 w 150"/>
              <a:gd name="T111" fmla="*/ 96 h 258"/>
              <a:gd name="T112" fmla="*/ 30 w 150"/>
              <a:gd name="T113" fmla="*/ 90 h 258"/>
              <a:gd name="T114" fmla="*/ 30 w 150"/>
              <a:gd name="T115" fmla="*/ 78 h 258"/>
              <a:gd name="T116" fmla="*/ 24 w 150"/>
              <a:gd name="T117" fmla="*/ 72 h 258"/>
              <a:gd name="T118" fmla="*/ 0 w 150"/>
              <a:gd name="T119" fmla="*/ 42 h 258"/>
              <a:gd name="T120" fmla="*/ 0 w 150"/>
              <a:gd name="T121" fmla="*/ 36 h 2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50" h="258">
                <a:moveTo>
                  <a:pt x="0" y="36"/>
                </a:moveTo>
                <a:lnTo>
                  <a:pt x="12" y="36"/>
                </a:lnTo>
                <a:lnTo>
                  <a:pt x="30" y="36"/>
                </a:lnTo>
                <a:lnTo>
                  <a:pt x="30" y="36"/>
                </a:lnTo>
                <a:lnTo>
                  <a:pt x="42" y="30"/>
                </a:lnTo>
                <a:lnTo>
                  <a:pt x="42" y="18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42" y="12"/>
                </a:lnTo>
                <a:lnTo>
                  <a:pt x="42" y="12"/>
                </a:lnTo>
                <a:lnTo>
                  <a:pt x="42" y="6"/>
                </a:lnTo>
                <a:lnTo>
                  <a:pt x="42" y="12"/>
                </a:lnTo>
                <a:lnTo>
                  <a:pt x="42" y="12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54" y="0"/>
                </a:lnTo>
                <a:lnTo>
                  <a:pt x="54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72" y="0"/>
                </a:lnTo>
                <a:lnTo>
                  <a:pt x="72" y="0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12"/>
                </a:lnTo>
                <a:lnTo>
                  <a:pt x="90" y="6"/>
                </a:lnTo>
                <a:lnTo>
                  <a:pt x="90" y="0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14" y="12"/>
                </a:lnTo>
                <a:lnTo>
                  <a:pt x="126" y="24"/>
                </a:lnTo>
                <a:lnTo>
                  <a:pt x="126" y="30"/>
                </a:lnTo>
                <a:lnTo>
                  <a:pt x="120" y="30"/>
                </a:lnTo>
                <a:lnTo>
                  <a:pt x="120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0" y="30"/>
                </a:lnTo>
                <a:lnTo>
                  <a:pt x="126" y="48"/>
                </a:lnTo>
                <a:lnTo>
                  <a:pt x="138" y="60"/>
                </a:lnTo>
                <a:lnTo>
                  <a:pt x="138" y="60"/>
                </a:lnTo>
                <a:lnTo>
                  <a:pt x="138" y="60"/>
                </a:lnTo>
                <a:lnTo>
                  <a:pt x="138" y="66"/>
                </a:lnTo>
                <a:lnTo>
                  <a:pt x="138" y="66"/>
                </a:lnTo>
                <a:lnTo>
                  <a:pt x="132" y="72"/>
                </a:lnTo>
                <a:lnTo>
                  <a:pt x="126" y="66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90"/>
                </a:lnTo>
                <a:lnTo>
                  <a:pt x="126" y="90"/>
                </a:lnTo>
                <a:lnTo>
                  <a:pt x="132" y="90"/>
                </a:lnTo>
                <a:lnTo>
                  <a:pt x="132" y="90"/>
                </a:lnTo>
                <a:lnTo>
                  <a:pt x="132" y="90"/>
                </a:lnTo>
                <a:lnTo>
                  <a:pt x="132" y="96"/>
                </a:lnTo>
                <a:lnTo>
                  <a:pt x="132" y="96"/>
                </a:lnTo>
                <a:lnTo>
                  <a:pt x="132" y="96"/>
                </a:lnTo>
                <a:lnTo>
                  <a:pt x="132" y="96"/>
                </a:lnTo>
                <a:lnTo>
                  <a:pt x="132" y="96"/>
                </a:lnTo>
                <a:lnTo>
                  <a:pt x="132" y="96"/>
                </a:lnTo>
                <a:lnTo>
                  <a:pt x="132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8"/>
                </a:lnTo>
                <a:lnTo>
                  <a:pt x="138" y="108"/>
                </a:lnTo>
                <a:lnTo>
                  <a:pt x="138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14"/>
                </a:lnTo>
                <a:lnTo>
                  <a:pt x="144" y="114"/>
                </a:lnTo>
                <a:lnTo>
                  <a:pt x="144" y="120"/>
                </a:lnTo>
                <a:lnTo>
                  <a:pt x="144" y="120"/>
                </a:lnTo>
                <a:lnTo>
                  <a:pt x="144" y="126"/>
                </a:lnTo>
                <a:lnTo>
                  <a:pt x="144" y="126"/>
                </a:lnTo>
                <a:lnTo>
                  <a:pt x="144" y="132"/>
                </a:lnTo>
                <a:lnTo>
                  <a:pt x="144" y="132"/>
                </a:lnTo>
                <a:lnTo>
                  <a:pt x="144" y="132"/>
                </a:lnTo>
                <a:lnTo>
                  <a:pt x="144" y="138"/>
                </a:lnTo>
                <a:lnTo>
                  <a:pt x="144" y="138"/>
                </a:lnTo>
                <a:lnTo>
                  <a:pt x="144" y="138"/>
                </a:lnTo>
                <a:lnTo>
                  <a:pt x="144" y="144"/>
                </a:lnTo>
                <a:lnTo>
                  <a:pt x="144" y="150"/>
                </a:lnTo>
                <a:lnTo>
                  <a:pt x="150" y="150"/>
                </a:lnTo>
                <a:lnTo>
                  <a:pt x="144" y="156"/>
                </a:lnTo>
                <a:lnTo>
                  <a:pt x="138" y="168"/>
                </a:lnTo>
                <a:lnTo>
                  <a:pt x="138" y="168"/>
                </a:lnTo>
                <a:lnTo>
                  <a:pt x="132" y="168"/>
                </a:lnTo>
                <a:lnTo>
                  <a:pt x="132" y="168"/>
                </a:lnTo>
                <a:lnTo>
                  <a:pt x="132" y="168"/>
                </a:lnTo>
                <a:lnTo>
                  <a:pt x="126" y="168"/>
                </a:lnTo>
                <a:lnTo>
                  <a:pt x="126" y="168"/>
                </a:lnTo>
                <a:lnTo>
                  <a:pt x="126" y="168"/>
                </a:lnTo>
                <a:lnTo>
                  <a:pt x="126" y="162"/>
                </a:lnTo>
                <a:lnTo>
                  <a:pt x="126" y="162"/>
                </a:lnTo>
                <a:lnTo>
                  <a:pt x="126" y="162"/>
                </a:lnTo>
                <a:lnTo>
                  <a:pt x="120" y="162"/>
                </a:lnTo>
                <a:lnTo>
                  <a:pt x="120" y="168"/>
                </a:lnTo>
                <a:lnTo>
                  <a:pt x="120" y="168"/>
                </a:lnTo>
                <a:lnTo>
                  <a:pt x="120" y="168"/>
                </a:lnTo>
                <a:lnTo>
                  <a:pt x="120" y="168"/>
                </a:lnTo>
                <a:lnTo>
                  <a:pt x="120" y="168"/>
                </a:lnTo>
                <a:lnTo>
                  <a:pt x="114" y="168"/>
                </a:lnTo>
                <a:lnTo>
                  <a:pt x="114" y="168"/>
                </a:lnTo>
                <a:lnTo>
                  <a:pt x="114" y="168"/>
                </a:lnTo>
                <a:lnTo>
                  <a:pt x="114" y="168"/>
                </a:lnTo>
                <a:lnTo>
                  <a:pt x="114" y="168"/>
                </a:lnTo>
                <a:lnTo>
                  <a:pt x="114" y="168"/>
                </a:lnTo>
                <a:lnTo>
                  <a:pt x="114" y="174"/>
                </a:lnTo>
                <a:lnTo>
                  <a:pt x="114" y="174"/>
                </a:lnTo>
                <a:lnTo>
                  <a:pt x="108" y="174"/>
                </a:lnTo>
                <a:lnTo>
                  <a:pt x="108" y="174"/>
                </a:lnTo>
                <a:lnTo>
                  <a:pt x="108" y="174"/>
                </a:lnTo>
                <a:lnTo>
                  <a:pt x="108" y="174"/>
                </a:lnTo>
                <a:lnTo>
                  <a:pt x="108" y="174"/>
                </a:lnTo>
                <a:lnTo>
                  <a:pt x="108" y="174"/>
                </a:lnTo>
                <a:lnTo>
                  <a:pt x="102" y="174"/>
                </a:lnTo>
                <a:lnTo>
                  <a:pt x="102" y="174"/>
                </a:lnTo>
                <a:lnTo>
                  <a:pt x="102" y="174"/>
                </a:lnTo>
                <a:lnTo>
                  <a:pt x="102" y="174"/>
                </a:lnTo>
                <a:lnTo>
                  <a:pt x="102" y="174"/>
                </a:lnTo>
                <a:lnTo>
                  <a:pt x="102" y="180"/>
                </a:lnTo>
                <a:lnTo>
                  <a:pt x="102" y="180"/>
                </a:lnTo>
                <a:lnTo>
                  <a:pt x="102" y="180"/>
                </a:lnTo>
                <a:lnTo>
                  <a:pt x="102" y="180"/>
                </a:lnTo>
                <a:lnTo>
                  <a:pt x="108" y="180"/>
                </a:lnTo>
                <a:lnTo>
                  <a:pt x="108" y="180"/>
                </a:lnTo>
                <a:lnTo>
                  <a:pt x="108" y="180"/>
                </a:lnTo>
                <a:lnTo>
                  <a:pt x="108" y="186"/>
                </a:lnTo>
                <a:lnTo>
                  <a:pt x="108" y="186"/>
                </a:lnTo>
                <a:lnTo>
                  <a:pt x="108" y="186"/>
                </a:lnTo>
                <a:lnTo>
                  <a:pt x="108" y="186"/>
                </a:lnTo>
                <a:lnTo>
                  <a:pt x="108" y="186"/>
                </a:lnTo>
                <a:lnTo>
                  <a:pt x="108" y="186"/>
                </a:lnTo>
                <a:lnTo>
                  <a:pt x="114" y="186"/>
                </a:lnTo>
                <a:lnTo>
                  <a:pt x="114" y="186"/>
                </a:lnTo>
                <a:lnTo>
                  <a:pt x="114" y="186"/>
                </a:lnTo>
                <a:lnTo>
                  <a:pt x="114" y="186"/>
                </a:lnTo>
                <a:lnTo>
                  <a:pt x="120" y="180"/>
                </a:lnTo>
                <a:lnTo>
                  <a:pt x="120" y="180"/>
                </a:lnTo>
                <a:lnTo>
                  <a:pt x="120" y="186"/>
                </a:lnTo>
                <a:lnTo>
                  <a:pt x="120" y="186"/>
                </a:lnTo>
                <a:lnTo>
                  <a:pt x="120" y="186"/>
                </a:lnTo>
                <a:lnTo>
                  <a:pt x="120" y="186"/>
                </a:lnTo>
                <a:lnTo>
                  <a:pt x="120" y="186"/>
                </a:lnTo>
                <a:lnTo>
                  <a:pt x="120" y="186"/>
                </a:lnTo>
                <a:lnTo>
                  <a:pt x="126" y="186"/>
                </a:lnTo>
                <a:lnTo>
                  <a:pt x="120" y="186"/>
                </a:lnTo>
                <a:lnTo>
                  <a:pt x="126" y="186"/>
                </a:lnTo>
                <a:lnTo>
                  <a:pt x="126" y="186"/>
                </a:lnTo>
                <a:lnTo>
                  <a:pt x="126" y="186"/>
                </a:lnTo>
                <a:lnTo>
                  <a:pt x="126" y="186"/>
                </a:lnTo>
                <a:lnTo>
                  <a:pt x="126" y="192"/>
                </a:lnTo>
                <a:lnTo>
                  <a:pt x="126" y="192"/>
                </a:lnTo>
                <a:lnTo>
                  <a:pt x="126" y="192"/>
                </a:lnTo>
                <a:lnTo>
                  <a:pt x="126" y="192"/>
                </a:lnTo>
                <a:lnTo>
                  <a:pt x="126" y="198"/>
                </a:lnTo>
                <a:lnTo>
                  <a:pt x="126" y="198"/>
                </a:lnTo>
                <a:lnTo>
                  <a:pt x="126" y="198"/>
                </a:lnTo>
                <a:lnTo>
                  <a:pt x="126" y="204"/>
                </a:lnTo>
                <a:lnTo>
                  <a:pt x="126" y="204"/>
                </a:lnTo>
                <a:lnTo>
                  <a:pt x="120" y="204"/>
                </a:lnTo>
                <a:lnTo>
                  <a:pt x="120" y="204"/>
                </a:lnTo>
                <a:lnTo>
                  <a:pt x="120" y="210"/>
                </a:lnTo>
                <a:lnTo>
                  <a:pt x="120" y="204"/>
                </a:lnTo>
                <a:lnTo>
                  <a:pt x="120" y="210"/>
                </a:lnTo>
                <a:lnTo>
                  <a:pt x="114" y="204"/>
                </a:lnTo>
                <a:lnTo>
                  <a:pt x="114" y="204"/>
                </a:lnTo>
                <a:lnTo>
                  <a:pt x="114" y="210"/>
                </a:lnTo>
                <a:lnTo>
                  <a:pt x="114" y="210"/>
                </a:lnTo>
                <a:lnTo>
                  <a:pt x="108" y="210"/>
                </a:lnTo>
                <a:lnTo>
                  <a:pt x="108" y="210"/>
                </a:lnTo>
                <a:lnTo>
                  <a:pt x="114" y="210"/>
                </a:lnTo>
                <a:lnTo>
                  <a:pt x="114" y="210"/>
                </a:lnTo>
                <a:lnTo>
                  <a:pt x="114" y="210"/>
                </a:lnTo>
                <a:lnTo>
                  <a:pt x="114" y="210"/>
                </a:lnTo>
                <a:lnTo>
                  <a:pt x="114" y="210"/>
                </a:lnTo>
                <a:lnTo>
                  <a:pt x="114" y="216"/>
                </a:lnTo>
                <a:lnTo>
                  <a:pt x="114" y="216"/>
                </a:lnTo>
                <a:lnTo>
                  <a:pt x="114" y="216"/>
                </a:lnTo>
                <a:lnTo>
                  <a:pt x="108" y="222"/>
                </a:lnTo>
                <a:lnTo>
                  <a:pt x="90" y="222"/>
                </a:lnTo>
                <a:lnTo>
                  <a:pt x="90" y="222"/>
                </a:lnTo>
                <a:lnTo>
                  <a:pt x="90" y="228"/>
                </a:lnTo>
                <a:lnTo>
                  <a:pt x="90" y="228"/>
                </a:lnTo>
                <a:lnTo>
                  <a:pt x="90" y="228"/>
                </a:lnTo>
                <a:lnTo>
                  <a:pt x="90" y="228"/>
                </a:lnTo>
                <a:lnTo>
                  <a:pt x="90" y="234"/>
                </a:lnTo>
                <a:lnTo>
                  <a:pt x="90" y="234"/>
                </a:lnTo>
                <a:lnTo>
                  <a:pt x="90" y="240"/>
                </a:lnTo>
                <a:lnTo>
                  <a:pt x="90" y="240"/>
                </a:lnTo>
                <a:lnTo>
                  <a:pt x="96" y="246"/>
                </a:lnTo>
                <a:lnTo>
                  <a:pt x="96" y="246"/>
                </a:lnTo>
                <a:lnTo>
                  <a:pt x="96" y="246"/>
                </a:lnTo>
                <a:lnTo>
                  <a:pt x="96" y="246"/>
                </a:lnTo>
                <a:lnTo>
                  <a:pt x="102" y="246"/>
                </a:lnTo>
                <a:lnTo>
                  <a:pt x="102" y="246"/>
                </a:lnTo>
                <a:lnTo>
                  <a:pt x="102" y="246"/>
                </a:lnTo>
                <a:lnTo>
                  <a:pt x="102" y="246"/>
                </a:lnTo>
                <a:lnTo>
                  <a:pt x="102" y="246"/>
                </a:lnTo>
                <a:lnTo>
                  <a:pt x="102" y="252"/>
                </a:lnTo>
                <a:lnTo>
                  <a:pt x="102" y="252"/>
                </a:lnTo>
                <a:lnTo>
                  <a:pt x="102" y="258"/>
                </a:lnTo>
                <a:lnTo>
                  <a:pt x="102" y="258"/>
                </a:lnTo>
                <a:lnTo>
                  <a:pt x="102" y="258"/>
                </a:lnTo>
                <a:lnTo>
                  <a:pt x="102" y="258"/>
                </a:lnTo>
                <a:lnTo>
                  <a:pt x="96" y="258"/>
                </a:lnTo>
                <a:lnTo>
                  <a:pt x="96" y="258"/>
                </a:lnTo>
                <a:lnTo>
                  <a:pt x="96" y="258"/>
                </a:lnTo>
                <a:lnTo>
                  <a:pt x="90" y="258"/>
                </a:lnTo>
                <a:lnTo>
                  <a:pt x="90" y="258"/>
                </a:lnTo>
                <a:lnTo>
                  <a:pt x="90" y="258"/>
                </a:lnTo>
                <a:lnTo>
                  <a:pt x="90" y="258"/>
                </a:lnTo>
                <a:lnTo>
                  <a:pt x="84" y="258"/>
                </a:lnTo>
                <a:lnTo>
                  <a:pt x="84" y="258"/>
                </a:lnTo>
                <a:lnTo>
                  <a:pt x="84" y="258"/>
                </a:lnTo>
                <a:lnTo>
                  <a:pt x="84" y="258"/>
                </a:lnTo>
                <a:lnTo>
                  <a:pt x="84" y="258"/>
                </a:lnTo>
                <a:lnTo>
                  <a:pt x="78" y="258"/>
                </a:lnTo>
                <a:lnTo>
                  <a:pt x="78" y="252"/>
                </a:lnTo>
                <a:lnTo>
                  <a:pt x="78" y="252"/>
                </a:lnTo>
                <a:lnTo>
                  <a:pt x="78" y="252"/>
                </a:lnTo>
                <a:lnTo>
                  <a:pt x="72" y="252"/>
                </a:lnTo>
                <a:lnTo>
                  <a:pt x="72" y="246"/>
                </a:lnTo>
                <a:lnTo>
                  <a:pt x="72" y="246"/>
                </a:lnTo>
                <a:lnTo>
                  <a:pt x="60" y="252"/>
                </a:lnTo>
                <a:lnTo>
                  <a:pt x="48" y="252"/>
                </a:lnTo>
                <a:lnTo>
                  <a:pt x="36" y="234"/>
                </a:lnTo>
                <a:lnTo>
                  <a:pt x="30" y="234"/>
                </a:lnTo>
                <a:lnTo>
                  <a:pt x="30" y="228"/>
                </a:lnTo>
                <a:lnTo>
                  <a:pt x="30" y="228"/>
                </a:lnTo>
                <a:lnTo>
                  <a:pt x="30" y="228"/>
                </a:lnTo>
                <a:lnTo>
                  <a:pt x="30" y="228"/>
                </a:lnTo>
                <a:lnTo>
                  <a:pt x="30" y="222"/>
                </a:lnTo>
                <a:lnTo>
                  <a:pt x="30" y="222"/>
                </a:lnTo>
                <a:lnTo>
                  <a:pt x="30" y="216"/>
                </a:lnTo>
                <a:lnTo>
                  <a:pt x="30" y="216"/>
                </a:lnTo>
                <a:lnTo>
                  <a:pt x="30" y="216"/>
                </a:lnTo>
                <a:lnTo>
                  <a:pt x="30" y="216"/>
                </a:lnTo>
                <a:lnTo>
                  <a:pt x="30" y="216"/>
                </a:lnTo>
                <a:lnTo>
                  <a:pt x="30" y="210"/>
                </a:lnTo>
                <a:lnTo>
                  <a:pt x="30" y="210"/>
                </a:lnTo>
                <a:lnTo>
                  <a:pt x="30" y="204"/>
                </a:lnTo>
                <a:lnTo>
                  <a:pt x="30" y="204"/>
                </a:lnTo>
                <a:lnTo>
                  <a:pt x="30" y="204"/>
                </a:lnTo>
                <a:lnTo>
                  <a:pt x="30" y="198"/>
                </a:lnTo>
                <a:lnTo>
                  <a:pt x="30" y="198"/>
                </a:lnTo>
                <a:lnTo>
                  <a:pt x="30" y="198"/>
                </a:lnTo>
                <a:lnTo>
                  <a:pt x="30" y="192"/>
                </a:lnTo>
                <a:lnTo>
                  <a:pt x="30" y="192"/>
                </a:lnTo>
                <a:lnTo>
                  <a:pt x="30" y="192"/>
                </a:lnTo>
                <a:lnTo>
                  <a:pt x="30" y="192"/>
                </a:lnTo>
                <a:lnTo>
                  <a:pt x="30" y="186"/>
                </a:lnTo>
                <a:lnTo>
                  <a:pt x="30" y="186"/>
                </a:lnTo>
                <a:lnTo>
                  <a:pt x="30" y="180"/>
                </a:lnTo>
                <a:lnTo>
                  <a:pt x="24" y="180"/>
                </a:lnTo>
                <a:lnTo>
                  <a:pt x="30" y="180"/>
                </a:lnTo>
                <a:lnTo>
                  <a:pt x="24" y="180"/>
                </a:lnTo>
                <a:lnTo>
                  <a:pt x="24" y="174"/>
                </a:lnTo>
                <a:lnTo>
                  <a:pt x="24" y="174"/>
                </a:lnTo>
                <a:lnTo>
                  <a:pt x="24" y="174"/>
                </a:lnTo>
                <a:lnTo>
                  <a:pt x="24" y="174"/>
                </a:lnTo>
                <a:lnTo>
                  <a:pt x="24" y="162"/>
                </a:lnTo>
                <a:lnTo>
                  <a:pt x="24" y="162"/>
                </a:lnTo>
                <a:lnTo>
                  <a:pt x="30" y="162"/>
                </a:lnTo>
                <a:lnTo>
                  <a:pt x="36" y="150"/>
                </a:lnTo>
                <a:lnTo>
                  <a:pt x="36" y="150"/>
                </a:lnTo>
                <a:lnTo>
                  <a:pt x="36" y="144"/>
                </a:lnTo>
                <a:lnTo>
                  <a:pt x="36" y="120"/>
                </a:lnTo>
                <a:lnTo>
                  <a:pt x="36" y="114"/>
                </a:lnTo>
                <a:lnTo>
                  <a:pt x="36" y="114"/>
                </a:lnTo>
                <a:lnTo>
                  <a:pt x="36" y="108"/>
                </a:lnTo>
                <a:lnTo>
                  <a:pt x="30" y="114"/>
                </a:lnTo>
                <a:lnTo>
                  <a:pt x="18" y="120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96"/>
                </a:lnTo>
                <a:lnTo>
                  <a:pt x="24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78"/>
                </a:lnTo>
                <a:lnTo>
                  <a:pt x="30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66"/>
                </a:lnTo>
                <a:lnTo>
                  <a:pt x="18" y="66"/>
                </a:lnTo>
                <a:lnTo>
                  <a:pt x="0" y="48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36"/>
                </a:lnTo>
                <a:lnTo>
                  <a:pt x="0" y="3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05" name="Freeform 238"/>
          <p:cNvSpPr>
            <a:spLocks/>
          </p:cNvSpPr>
          <p:nvPr/>
        </p:nvSpPr>
        <p:spPr bwMode="auto">
          <a:xfrm>
            <a:off x="7564924" y="2959395"/>
            <a:ext cx="263386" cy="250540"/>
          </a:xfrm>
          <a:custGeom>
            <a:avLst/>
            <a:gdLst>
              <a:gd name="T0" fmla="*/ 6 w 246"/>
              <a:gd name="T1" fmla="*/ 138 h 234"/>
              <a:gd name="T2" fmla="*/ 18 w 246"/>
              <a:gd name="T3" fmla="*/ 126 h 234"/>
              <a:gd name="T4" fmla="*/ 30 w 246"/>
              <a:gd name="T5" fmla="*/ 96 h 234"/>
              <a:gd name="T6" fmla="*/ 36 w 246"/>
              <a:gd name="T7" fmla="*/ 78 h 234"/>
              <a:gd name="T8" fmla="*/ 36 w 246"/>
              <a:gd name="T9" fmla="*/ 60 h 234"/>
              <a:gd name="T10" fmla="*/ 54 w 246"/>
              <a:gd name="T11" fmla="*/ 36 h 234"/>
              <a:gd name="T12" fmla="*/ 60 w 246"/>
              <a:gd name="T13" fmla="*/ 30 h 234"/>
              <a:gd name="T14" fmla="*/ 54 w 246"/>
              <a:gd name="T15" fmla="*/ 42 h 234"/>
              <a:gd name="T16" fmla="*/ 48 w 246"/>
              <a:gd name="T17" fmla="*/ 48 h 234"/>
              <a:gd name="T18" fmla="*/ 48 w 246"/>
              <a:gd name="T19" fmla="*/ 54 h 234"/>
              <a:gd name="T20" fmla="*/ 48 w 246"/>
              <a:gd name="T21" fmla="*/ 60 h 234"/>
              <a:gd name="T22" fmla="*/ 54 w 246"/>
              <a:gd name="T23" fmla="*/ 72 h 234"/>
              <a:gd name="T24" fmla="*/ 102 w 246"/>
              <a:gd name="T25" fmla="*/ 0 h 234"/>
              <a:gd name="T26" fmla="*/ 126 w 246"/>
              <a:gd name="T27" fmla="*/ 18 h 234"/>
              <a:gd name="T28" fmla="*/ 156 w 246"/>
              <a:gd name="T29" fmla="*/ 42 h 234"/>
              <a:gd name="T30" fmla="*/ 174 w 246"/>
              <a:gd name="T31" fmla="*/ 48 h 234"/>
              <a:gd name="T32" fmla="*/ 186 w 246"/>
              <a:gd name="T33" fmla="*/ 48 h 234"/>
              <a:gd name="T34" fmla="*/ 198 w 246"/>
              <a:gd name="T35" fmla="*/ 48 h 234"/>
              <a:gd name="T36" fmla="*/ 204 w 246"/>
              <a:gd name="T37" fmla="*/ 60 h 234"/>
              <a:gd name="T38" fmla="*/ 216 w 246"/>
              <a:gd name="T39" fmla="*/ 66 h 234"/>
              <a:gd name="T40" fmla="*/ 228 w 246"/>
              <a:gd name="T41" fmla="*/ 72 h 234"/>
              <a:gd name="T42" fmla="*/ 228 w 246"/>
              <a:gd name="T43" fmla="*/ 84 h 234"/>
              <a:gd name="T44" fmla="*/ 234 w 246"/>
              <a:gd name="T45" fmla="*/ 96 h 234"/>
              <a:gd name="T46" fmla="*/ 222 w 246"/>
              <a:gd name="T47" fmla="*/ 108 h 234"/>
              <a:gd name="T48" fmla="*/ 216 w 246"/>
              <a:gd name="T49" fmla="*/ 114 h 234"/>
              <a:gd name="T50" fmla="*/ 222 w 246"/>
              <a:gd name="T51" fmla="*/ 156 h 234"/>
              <a:gd name="T52" fmla="*/ 240 w 246"/>
              <a:gd name="T53" fmla="*/ 186 h 234"/>
              <a:gd name="T54" fmla="*/ 234 w 246"/>
              <a:gd name="T55" fmla="*/ 198 h 234"/>
              <a:gd name="T56" fmla="*/ 228 w 246"/>
              <a:gd name="T57" fmla="*/ 192 h 234"/>
              <a:gd name="T58" fmla="*/ 216 w 246"/>
              <a:gd name="T59" fmla="*/ 228 h 234"/>
              <a:gd name="T60" fmla="*/ 210 w 246"/>
              <a:gd name="T61" fmla="*/ 234 h 234"/>
              <a:gd name="T62" fmla="*/ 198 w 246"/>
              <a:gd name="T63" fmla="*/ 228 h 234"/>
              <a:gd name="T64" fmla="*/ 186 w 246"/>
              <a:gd name="T65" fmla="*/ 222 h 234"/>
              <a:gd name="T66" fmla="*/ 174 w 246"/>
              <a:gd name="T67" fmla="*/ 216 h 234"/>
              <a:gd name="T68" fmla="*/ 168 w 246"/>
              <a:gd name="T69" fmla="*/ 210 h 234"/>
              <a:gd name="T70" fmla="*/ 162 w 246"/>
              <a:gd name="T71" fmla="*/ 210 h 234"/>
              <a:gd name="T72" fmla="*/ 156 w 246"/>
              <a:gd name="T73" fmla="*/ 204 h 234"/>
              <a:gd name="T74" fmla="*/ 150 w 246"/>
              <a:gd name="T75" fmla="*/ 204 h 234"/>
              <a:gd name="T76" fmla="*/ 138 w 246"/>
              <a:gd name="T77" fmla="*/ 192 h 234"/>
              <a:gd name="T78" fmla="*/ 132 w 246"/>
              <a:gd name="T79" fmla="*/ 186 h 234"/>
              <a:gd name="T80" fmla="*/ 126 w 246"/>
              <a:gd name="T81" fmla="*/ 186 h 234"/>
              <a:gd name="T82" fmla="*/ 120 w 246"/>
              <a:gd name="T83" fmla="*/ 180 h 234"/>
              <a:gd name="T84" fmla="*/ 114 w 246"/>
              <a:gd name="T85" fmla="*/ 180 h 234"/>
              <a:gd name="T86" fmla="*/ 102 w 246"/>
              <a:gd name="T87" fmla="*/ 180 h 234"/>
              <a:gd name="T88" fmla="*/ 96 w 246"/>
              <a:gd name="T89" fmla="*/ 174 h 234"/>
              <a:gd name="T90" fmla="*/ 84 w 246"/>
              <a:gd name="T91" fmla="*/ 174 h 234"/>
              <a:gd name="T92" fmla="*/ 72 w 246"/>
              <a:gd name="T93" fmla="*/ 174 h 234"/>
              <a:gd name="T94" fmla="*/ 60 w 246"/>
              <a:gd name="T95" fmla="*/ 180 h 234"/>
              <a:gd name="T96" fmla="*/ 60 w 246"/>
              <a:gd name="T97" fmla="*/ 186 h 234"/>
              <a:gd name="T98" fmla="*/ 54 w 246"/>
              <a:gd name="T99" fmla="*/ 186 h 234"/>
              <a:gd name="T100" fmla="*/ 54 w 246"/>
              <a:gd name="T101" fmla="*/ 192 h 234"/>
              <a:gd name="T102" fmla="*/ 48 w 246"/>
              <a:gd name="T103" fmla="*/ 192 h 234"/>
              <a:gd name="T104" fmla="*/ 42 w 246"/>
              <a:gd name="T105" fmla="*/ 186 h 234"/>
              <a:gd name="T106" fmla="*/ 30 w 246"/>
              <a:gd name="T107" fmla="*/ 186 h 234"/>
              <a:gd name="T108" fmla="*/ 24 w 246"/>
              <a:gd name="T109" fmla="*/ 186 h 234"/>
              <a:gd name="T110" fmla="*/ 18 w 246"/>
              <a:gd name="T111" fmla="*/ 180 h 234"/>
              <a:gd name="T112" fmla="*/ 6 w 246"/>
              <a:gd name="T113" fmla="*/ 174 h 234"/>
              <a:gd name="T114" fmla="*/ 0 w 246"/>
              <a:gd name="T115" fmla="*/ 174 h 234"/>
              <a:gd name="T116" fmla="*/ 0 w 246"/>
              <a:gd name="T117" fmla="*/ 168 h 234"/>
              <a:gd name="T118" fmla="*/ 0 w 246"/>
              <a:gd name="T119" fmla="*/ 168 h 2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46" h="234">
                <a:moveTo>
                  <a:pt x="0" y="162"/>
                </a:moveTo>
                <a:lnTo>
                  <a:pt x="0" y="156"/>
                </a:lnTo>
                <a:lnTo>
                  <a:pt x="6" y="150"/>
                </a:lnTo>
                <a:lnTo>
                  <a:pt x="6" y="150"/>
                </a:lnTo>
                <a:lnTo>
                  <a:pt x="6" y="144"/>
                </a:lnTo>
                <a:lnTo>
                  <a:pt x="6" y="138"/>
                </a:lnTo>
                <a:lnTo>
                  <a:pt x="6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2"/>
                </a:lnTo>
                <a:lnTo>
                  <a:pt x="12" y="132"/>
                </a:lnTo>
                <a:lnTo>
                  <a:pt x="18" y="132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0"/>
                </a:lnTo>
                <a:lnTo>
                  <a:pt x="24" y="120"/>
                </a:lnTo>
                <a:lnTo>
                  <a:pt x="24" y="108"/>
                </a:lnTo>
                <a:lnTo>
                  <a:pt x="24" y="108"/>
                </a:lnTo>
                <a:lnTo>
                  <a:pt x="30" y="96"/>
                </a:lnTo>
                <a:lnTo>
                  <a:pt x="30" y="96"/>
                </a:lnTo>
                <a:lnTo>
                  <a:pt x="30" y="90"/>
                </a:lnTo>
                <a:lnTo>
                  <a:pt x="36" y="84"/>
                </a:lnTo>
                <a:lnTo>
                  <a:pt x="30" y="84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2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0"/>
                </a:lnTo>
                <a:lnTo>
                  <a:pt x="36" y="60"/>
                </a:lnTo>
                <a:lnTo>
                  <a:pt x="42" y="54"/>
                </a:lnTo>
                <a:lnTo>
                  <a:pt x="42" y="54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8" y="36"/>
                </a:lnTo>
                <a:lnTo>
                  <a:pt x="54" y="36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60" y="30"/>
                </a:lnTo>
                <a:lnTo>
                  <a:pt x="54" y="30"/>
                </a:lnTo>
                <a:lnTo>
                  <a:pt x="60" y="30"/>
                </a:lnTo>
                <a:lnTo>
                  <a:pt x="54" y="30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8"/>
                </a:lnTo>
                <a:lnTo>
                  <a:pt x="54" y="48"/>
                </a:lnTo>
                <a:lnTo>
                  <a:pt x="48" y="48"/>
                </a:lnTo>
                <a:lnTo>
                  <a:pt x="54" y="48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60"/>
                </a:lnTo>
                <a:lnTo>
                  <a:pt x="48" y="60"/>
                </a:lnTo>
                <a:lnTo>
                  <a:pt x="42" y="60"/>
                </a:lnTo>
                <a:lnTo>
                  <a:pt x="42" y="60"/>
                </a:lnTo>
                <a:lnTo>
                  <a:pt x="48" y="60"/>
                </a:lnTo>
                <a:lnTo>
                  <a:pt x="48" y="60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54" y="66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84" y="36"/>
                </a:lnTo>
                <a:lnTo>
                  <a:pt x="84" y="36"/>
                </a:lnTo>
                <a:lnTo>
                  <a:pt x="96" y="18"/>
                </a:lnTo>
                <a:lnTo>
                  <a:pt x="96" y="12"/>
                </a:lnTo>
                <a:lnTo>
                  <a:pt x="102" y="0"/>
                </a:lnTo>
                <a:lnTo>
                  <a:pt x="108" y="0"/>
                </a:lnTo>
                <a:lnTo>
                  <a:pt x="120" y="6"/>
                </a:lnTo>
                <a:lnTo>
                  <a:pt x="126" y="6"/>
                </a:lnTo>
                <a:lnTo>
                  <a:pt x="126" y="6"/>
                </a:lnTo>
                <a:lnTo>
                  <a:pt x="126" y="12"/>
                </a:lnTo>
                <a:lnTo>
                  <a:pt x="126" y="12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24"/>
                </a:lnTo>
                <a:lnTo>
                  <a:pt x="132" y="24"/>
                </a:lnTo>
                <a:lnTo>
                  <a:pt x="144" y="42"/>
                </a:lnTo>
                <a:lnTo>
                  <a:pt x="156" y="42"/>
                </a:lnTo>
                <a:lnTo>
                  <a:pt x="168" y="36"/>
                </a:lnTo>
                <a:lnTo>
                  <a:pt x="168" y="36"/>
                </a:lnTo>
                <a:lnTo>
                  <a:pt x="168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8"/>
                </a:lnTo>
                <a:lnTo>
                  <a:pt x="180" y="48"/>
                </a:lnTo>
                <a:lnTo>
                  <a:pt x="180" y="48"/>
                </a:lnTo>
                <a:lnTo>
                  <a:pt x="180" y="48"/>
                </a:lnTo>
                <a:lnTo>
                  <a:pt x="180" y="48"/>
                </a:lnTo>
                <a:lnTo>
                  <a:pt x="180" y="48"/>
                </a:lnTo>
                <a:lnTo>
                  <a:pt x="186" y="48"/>
                </a:lnTo>
                <a:lnTo>
                  <a:pt x="186" y="48"/>
                </a:lnTo>
                <a:lnTo>
                  <a:pt x="186" y="48"/>
                </a:lnTo>
                <a:lnTo>
                  <a:pt x="186" y="48"/>
                </a:lnTo>
                <a:lnTo>
                  <a:pt x="192" y="48"/>
                </a:lnTo>
                <a:lnTo>
                  <a:pt x="192" y="48"/>
                </a:lnTo>
                <a:lnTo>
                  <a:pt x="192" y="48"/>
                </a:lnTo>
                <a:lnTo>
                  <a:pt x="198" y="48"/>
                </a:lnTo>
                <a:lnTo>
                  <a:pt x="198" y="48"/>
                </a:lnTo>
                <a:lnTo>
                  <a:pt x="198" y="48"/>
                </a:lnTo>
                <a:lnTo>
                  <a:pt x="198" y="48"/>
                </a:lnTo>
                <a:lnTo>
                  <a:pt x="204" y="48"/>
                </a:lnTo>
                <a:lnTo>
                  <a:pt x="198" y="54"/>
                </a:lnTo>
                <a:lnTo>
                  <a:pt x="204" y="54"/>
                </a:lnTo>
                <a:lnTo>
                  <a:pt x="198" y="60"/>
                </a:lnTo>
                <a:lnTo>
                  <a:pt x="204" y="60"/>
                </a:lnTo>
                <a:lnTo>
                  <a:pt x="204" y="60"/>
                </a:lnTo>
                <a:lnTo>
                  <a:pt x="210" y="60"/>
                </a:lnTo>
                <a:lnTo>
                  <a:pt x="210" y="60"/>
                </a:lnTo>
                <a:lnTo>
                  <a:pt x="210" y="66"/>
                </a:lnTo>
                <a:lnTo>
                  <a:pt x="210" y="66"/>
                </a:lnTo>
                <a:lnTo>
                  <a:pt x="216" y="66"/>
                </a:lnTo>
                <a:lnTo>
                  <a:pt x="216" y="66"/>
                </a:lnTo>
                <a:lnTo>
                  <a:pt x="216" y="72"/>
                </a:lnTo>
                <a:lnTo>
                  <a:pt x="222" y="72"/>
                </a:lnTo>
                <a:lnTo>
                  <a:pt x="222" y="66"/>
                </a:lnTo>
                <a:lnTo>
                  <a:pt x="228" y="72"/>
                </a:lnTo>
                <a:lnTo>
                  <a:pt x="228" y="72"/>
                </a:lnTo>
                <a:lnTo>
                  <a:pt x="228" y="72"/>
                </a:lnTo>
                <a:lnTo>
                  <a:pt x="228" y="72"/>
                </a:lnTo>
                <a:lnTo>
                  <a:pt x="222" y="78"/>
                </a:lnTo>
                <a:lnTo>
                  <a:pt x="228" y="78"/>
                </a:lnTo>
                <a:lnTo>
                  <a:pt x="228" y="78"/>
                </a:lnTo>
                <a:lnTo>
                  <a:pt x="228" y="84"/>
                </a:lnTo>
                <a:lnTo>
                  <a:pt x="228" y="84"/>
                </a:lnTo>
                <a:lnTo>
                  <a:pt x="228" y="84"/>
                </a:lnTo>
                <a:lnTo>
                  <a:pt x="228" y="84"/>
                </a:lnTo>
                <a:lnTo>
                  <a:pt x="228" y="90"/>
                </a:lnTo>
                <a:lnTo>
                  <a:pt x="228" y="90"/>
                </a:lnTo>
                <a:lnTo>
                  <a:pt x="228" y="90"/>
                </a:lnTo>
                <a:lnTo>
                  <a:pt x="228" y="90"/>
                </a:lnTo>
                <a:lnTo>
                  <a:pt x="234" y="90"/>
                </a:lnTo>
                <a:lnTo>
                  <a:pt x="234" y="90"/>
                </a:lnTo>
                <a:lnTo>
                  <a:pt x="234" y="96"/>
                </a:lnTo>
                <a:lnTo>
                  <a:pt x="234" y="96"/>
                </a:lnTo>
                <a:lnTo>
                  <a:pt x="234" y="96"/>
                </a:lnTo>
                <a:lnTo>
                  <a:pt x="246" y="114"/>
                </a:lnTo>
                <a:lnTo>
                  <a:pt x="222" y="108"/>
                </a:lnTo>
                <a:lnTo>
                  <a:pt x="222" y="108"/>
                </a:lnTo>
                <a:lnTo>
                  <a:pt x="222" y="108"/>
                </a:lnTo>
                <a:lnTo>
                  <a:pt x="222" y="108"/>
                </a:lnTo>
                <a:lnTo>
                  <a:pt x="222" y="108"/>
                </a:lnTo>
                <a:lnTo>
                  <a:pt x="216" y="108"/>
                </a:lnTo>
                <a:lnTo>
                  <a:pt x="216" y="108"/>
                </a:lnTo>
                <a:lnTo>
                  <a:pt x="216" y="108"/>
                </a:lnTo>
                <a:lnTo>
                  <a:pt x="216" y="114"/>
                </a:lnTo>
                <a:lnTo>
                  <a:pt x="216" y="114"/>
                </a:lnTo>
                <a:lnTo>
                  <a:pt x="216" y="114"/>
                </a:lnTo>
                <a:lnTo>
                  <a:pt x="216" y="114"/>
                </a:lnTo>
                <a:lnTo>
                  <a:pt x="216" y="114"/>
                </a:lnTo>
                <a:lnTo>
                  <a:pt x="222" y="126"/>
                </a:lnTo>
                <a:lnTo>
                  <a:pt x="216" y="138"/>
                </a:lnTo>
                <a:lnTo>
                  <a:pt x="222" y="144"/>
                </a:lnTo>
                <a:lnTo>
                  <a:pt x="222" y="150"/>
                </a:lnTo>
                <a:lnTo>
                  <a:pt x="222" y="156"/>
                </a:lnTo>
                <a:lnTo>
                  <a:pt x="222" y="174"/>
                </a:lnTo>
                <a:lnTo>
                  <a:pt x="240" y="174"/>
                </a:lnTo>
                <a:lnTo>
                  <a:pt x="240" y="174"/>
                </a:lnTo>
                <a:lnTo>
                  <a:pt x="240" y="180"/>
                </a:lnTo>
                <a:lnTo>
                  <a:pt x="240" y="180"/>
                </a:lnTo>
                <a:lnTo>
                  <a:pt x="240" y="186"/>
                </a:lnTo>
                <a:lnTo>
                  <a:pt x="240" y="186"/>
                </a:lnTo>
                <a:lnTo>
                  <a:pt x="240" y="192"/>
                </a:lnTo>
                <a:lnTo>
                  <a:pt x="240" y="192"/>
                </a:lnTo>
                <a:lnTo>
                  <a:pt x="240" y="198"/>
                </a:lnTo>
                <a:lnTo>
                  <a:pt x="240" y="198"/>
                </a:lnTo>
                <a:lnTo>
                  <a:pt x="234" y="198"/>
                </a:lnTo>
                <a:lnTo>
                  <a:pt x="234" y="198"/>
                </a:lnTo>
                <a:lnTo>
                  <a:pt x="234" y="198"/>
                </a:lnTo>
                <a:lnTo>
                  <a:pt x="234" y="198"/>
                </a:lnTo>
                <a:lnTo>
                  <a:pt x="234" y="198"/>
                </a:lnTo>
                <a:lnTo>
                  <a:pt x="234" y="198"/>
                </a:lnTo>
                <a:lnTo>
                  <a:pt x="228" y="198"/>
                </a:lnTo>
                <a:lnTo>
                  <a:pt x="228" y="198"/>
                </a:lnTo>
                <a:lnTo>
                  <a:pt x="228" y="192"/>
                </a:lnTo>
                <a:lnTo>
                  <a:pt x="228" y="192"/>
                </a:lnTo>
                <a:lnTo>
                  <a:pt x="228" y="192"/>
                </a:lnTo>
                <a:lnTo>
                  <a:pt x="228" y="192"/>
                </a:lnTo>
                <a:lnTo>
                  <a:pt x="228" y="192"/>
                </a:lnTo>
                <a:lnTo>
                  <a:pt x="228" y="192"/>
                </a:lnTo>
                <a:lnTo>
                  <a:pt x="222" y="192"/>
                </a:lnTo>
                <a:lnTo>
                  <a:pt x="216" y="222"/>
                </a:lnTo>
                <a:lnTo>
                  <a:pt x="216" y="228"/>
                </a:lnTo>
                <a:lnTo>
                  <a:pt x="210" y="222"/>
                </a:lnTo>
                <a:lnTo>
                  <a:pt x="210" y="228"/>
                </a:lnTo>
                <a:lnTo>
                  <a:pt x="210" y="228"/>
                </a:lnTo>
                <a:lnTo>
                  <a:pt x="210" y="228"/>
                </a:lnTo>
                <a:lnTo>
                  <a:pt x="210" y="228"/>
                </a:lnTo>
                <a:lnTo>
                  <a:pt x="210" y="234"/>
                </a:lnTo>
                <a:lnTo>
                  <a:pt x="210" y="234"/>
                </a:lnTo>
                <a:lnTo>
                  <a:pt x="204" y="234"/>
                </a:lnTo>
                <a:lnTo>
                  <a:pt x="204" y="234"/>
                </a:lnTo>
                <a:lnTo>
                  <a:pt x="204" y="234"/>
                </a:lnTo>
                <a:lnTo>
                  <a:pt x="204" y="228"/>
                </a:lnTo>
                <a:lnTo>
                  <a:pt x="204" y="228"/>
                </a:lnTo>
                <a:lnTo>
                  <a:pt x="198" y="234"/>
                </a:lnTo>
                <a:lnTo>
                  <a:pt x="198" y="228"/>
                </a:lnTo>
                <a:lnTo>
                  <a:pt x="198" y="228"/>
                </a:lnTo>
                <a:lnTo>
                  <a:pt x="198" y="228"/>
                </a:lnTo>
                <a:lnTo>
                  <a:pt x="192" y="228"/>
                </a:lnTo>
                <a:lnTo>
                  <a:pt x="192" y="228"/>
                </a:lnTo>
                <a:lnTo>
                  <a:pt x="186" y="228"/>
                </a:lnTo>
                <a:lnTo>
                  <a:pt x="186" y="222"/>
                </a:lnTo>
                <a:lnTo>
                  <a:pt x="186" y="222"/>
                </a:lnTo>
                <a:lnTo>
                  <a:pt x="186" y="222"/>
                </a:lnTo>
                <a:lnTo>
                  <a:pt x="180" y="216"/>
                </a:lnTo>
                <a:lnTo>
                  <a:pt x="180" y="216"/>
                </a:lnTo>
                <a:lnTo>
                  <a:pt x="180" y="216"/>
                </a:lnTo>
                <a:lnTo>
                  <a:pt x="180" y="216"/>
                </a:lnTo>
                <a:lnTo>
                  <a:pt x="174" y="216"/>
                </a:lnTo>
                <a:lnTo>
                  <a:pt x="174" y="216"/>
                </a:lnTo>
                <a:lnTo>
                  <a:pt x="174" y="216"/>
                </a:lnTo>
                <a:lnTo>
                  <a:pt x="174" y="216"/>
                </a:lnTo>
                <a:lnTo>
                  <a:pt x="168" y="210"/>
                </a:lnTo>
                <a:lnTo>
                  <a:pt x="168" y="210"/>
                </a:lnTo>
                <a:lnTo>
                  <a:pt x="168" y="210"/>
                </a:lnTo>
                <a:lnTo>
                  <a:pt x="168" y="210"/>
                </a:lnTo>
                <a:lnTo>
                  <a:pt x="168" y="210"/>
                </a:lnTo>
                <a:lnTo>
                  <a:pt x="162" y="210"/>
                </a:lnTo>
                <a:lnTo>
                  <a:pt x="162" y="210"/>
                </a:lnTo>
                <a:lnTo>
                  <a:pt x="162" y="210"/>
                </a:lnTo>
                <a:lnTo>
                  <a:pt x="162" y="210"/>
                </a:lnTo>
                <a:lnTo>
                  <a:pt x="162" y="210"/>
                </a:lnTo>
                <a:lnTo>
                  <a:pt x="162" y="210"/>
                </a:lnTo>
                <a:lnTo>
                  <a:pt x="162" y="210"/>
                </a:lnTo>
                <a:lnTo>
                  <a:pt x="156" y="210"/>
                </a:lnTo>
                <a:lnTo>
                  <a:pt x="156" y="210"/>
                </a:lnTo>
                <a:lnTo>
                  <a:pt x="156" y="204"/>
                </a:lnTo>
                <a:lnTo>
                  <a:pt x="156" y="204"/>
                </a:lnTo>
                <a:lnTo>
                  <a:pt x="156" y="204"/>
                </a:lnTo>
                <a:lnTo>
                  <a:pt x="156" y="204"/>
                </a:lnTo>
                <a:lnTo>
                  <a:pt x="156" y="204"/>
                </a:lnTo>
                <a:lnTo>
                  <a:pt x="156" y="204"/>
                </a:lnTo>
                <a:lnTo>
                  <a:pt x="156" y="204"/>
                </a:lnTo>
                <a:lnTo>
                  <a:pt x="150" y="204"/>
                </a:lnTo>
                <a:lnTo>
                  <a:pt x="150" y="204"/>
                </a:lnTo>
                <a:lnTo>
                  <a:pt x="150" y="204"/>
                </a:lnTo>
                <a:lnTo>
                  <a:pt x="150" y="204"/>
                </a:lnTo>
                <a:lnTo>
                  <a:pt x="150" y="204"/>
                </a:lnTo>
                <a:lnTo>
                  <a:pt x="150" y="204"/>
                </a:lnTo>
                <a:lnTo>
                  <a:pt x="144" y="198"/>
                </a:lnTo>
                <a:lnTo>
                  <a:pt x="144" y="198"/>
                </a:lnTo>
                <a:lnTo>
                  <a:pt x="138" y="198"/>
                </a:lnTo>
                <a:lnTo>
                  <a:pt x="138" y="192"/>
                </a:lnTo>
                <a:lnTo>
                  <a:pt x="138" y="192"/>
                </a:lnTo>
                <a:lnTo>
                  <a:pt x="138" y="192"/>
                </a:lnTo>
                <a:lnTo>
                  <a:pt x="132" y="192"/>
                </a:lnTo>
                <a:lnTo>
                  <a:pt x="132" y="192"/>
                </a:lnTo>
                <a:lnTo>
                  <a:pt x="132" y="192"/>
                </a:lnTo>
                <a:lnTo>
                  <a:pt x="132" y="192"/>
                </a:lnTo>
                <a:lnTo>
                  <a:pt x="132" y="192"/>
                </a:lnTo>
                <a:lnTo>
                  <a:pt x="132" y="186"/>
                </a:lnTo>
                <a:lnTo>
                  <a:pt x="132" y="186"/>
                </a:lnTo>
                <a:lnTo>
                  <a:pt x="132" y="186"/>
                </a:lnTo>
                <a:lnTo>
                  <a:pt x="132" y="186"/>
                </a:lnTo>
                <a:lnTo>
                  <a:pt x="132" y="186"/>
                </a:lnTo>
                <a:lnTo>
                  <a:pt x="126" y="186"/>
                </a:lnTo>
                <a:lnTo>
                  <a:pt x="126" y="186"/>
                </a:lnTo>
                <a:lnTo>
                  <a:pt x="126" y="186"/>
                </a:lnTo>
                <a:lnTo>
                  <a:pt x="126" y="186"/>
                </a:lnTo>
                <a:lnTo>
                  <a:pt x="126" y="186"/>
                </a:lnTo>
                <a:lnTo>
                  <a:pt x="126" y="186"/>
                </a:lnTo>
                <a:lnTo>
                  <a:pt x="126" y="186"/>
                </a:lnTo>
                <a:lnTo>
                  <a:pt x="126" y="186"/>
                </a:lnTo>
                <a:lnTo>
                  <a:pt x="126" y="186"/>
                </a:lnTo>
                <a:lnTo>
                  <a:pt x="120" y="180"/>
                </a:lnTo>
                <a:lnTo>
                  <a:pt x="120" y="180"/>
                </a:lnTo>
                <a:lnTo>
                  <a:pt x="120" y="180"/>
                </a:lnTo>
                <a:lnTo>
                  <a:pt x="120" y="180"/>
                </a:lnTo>
                <a:lnTo>
                  <a:pt x="114" y="180"/>
                </a:lnTo>
                <a:lnTo>
                  <a:pt x="114" y="180"/>
                </a:lnTo>
                <a:lnTo>
                  <a:pt x="114" y="180"/>
                </a:lnTo>
                <a:lnTo>
                  <a:pt x="114" y="180"/>
                </a:lnTo>
                <a:lnTo>
                  <a:pt x="114" y="180"/>
                </a:lnTo>
                <a:lnTo>
                  <a:pt x="108" y="180"/>
                </a:lnTo>
                <a:lnTo>
                  <a:pt x="108" y="180"/>
                </a:lnTo>
                <a:lnTo>
                  <a:pt x="108" y="180"/>
                </a:lnTo>
                <a:lnTo>
                  <a:pt x="108" y="180"/>
                </a:lnTo>
                <a:lnTo>
                  <a:pt x="108" y="180"/>
                </a:lnTo>
                <a:lnTo>
                  <a:pt x="102" y="180"/>
                </a:lnTo>
                <a:lnTo>
                  <a:pt x="102" y="180"/>
                </a:lnTo>
                <a:lnTo>
                  <a:pt x="102" y="180"/>
                </a:lnTo>
                <a:lnTo>
                  <a:pt x="102" y="174"/>
                </a:lnTo>
                <a:lnTo>
                  <a:pt x="102" y="174"/>
                </a:lnTo>
                <a:lnTo>
                  <a:pt x="102" y="180"/>
                </a:lnTo>
                <a:lnTo>
                  <a:pt x="102" y="180"/>
                </a:lnTo>
                <a:lnTo>
                  <a:pt x="96" y="174"/>
                </a:lnTo>
                <a:lnTo>
                  <a:pt x="96" y="174"/>
                </a:lnTo>
                <a:lnTo>
                  <a:pt x="90" y="174"/>
                </a:lnTo>
                <a:lnTo>
                  <a:pt x="90" y="174"/>
                </a:lnTo>
                <a:lnTo>
                  <a:pt x="90" y="174"/>
                </a:lnTo>
                <a:lnTo>
                  <a:pt x="90" y="174"/>
                </a:lnTo>
                <a:lnTo>
                  <a:pt x="90" y="174"/>
                </a:lnTo>
                <a:lnTo>
                  <a:pt x="90" y="174"/>
                </a:lnTo>
                <a:lnTo>
                  <a:pt x="84" y="174"/>
                </a:lnTo>
                <a:lnTo>
                  <a:pt x="84" y="174"/>
                </a:lnTo>
                <a:lnTo>
                  <a:pt x="84" y="174"/>
                </a:lnTo>
                <a:lnTo>
                  <a:pt x="78" y="174"/>
                </a:lnTo>
                <a:lnTo>
                  <a:pt x="78" y="174"/>
                </a:lnTo>
                <a:lnTo>
                  <a:pt x="78" y="174"/>
                </a:lnTo>
                <a:lnTo>
                  <a:pt x="78" y="174"/>
                </a:lnTo>
                <a:lnTo>
                  <a:pt x="72" y="174"/>
                </a:lnTo>
                <a:lnTo>
                  <a:pt x="72" y="180"/>
                </a:lnTo>
                <a:lnTo>
                  <a:pt x="72" y="180"/>
                </a:lnTo>
                <a:lnTo>
                  <a:pt x="72" y="180"/>
                </a:lnTo>
                <a:lnTo>
                  <a:pt x="72" y="180"/>
                </a:lnTo>
                <a:lnTo>
                  <a:pt x="66" y="180"/>
                </a:lnTo>
                <a:lnTo>
                  <a:pt x="66" y="180"/>
                </a:lnTo>
                <a:lnTo>
                  <a:pt x="60" y="180"/>
                </a:lnTo>
                <a:lnTo>
                  <a:pt x="60" y="186"/>
                </a:lnTo>
                <a:lnTo>
                  <a:pt x="60" y="180"/>
                </a:lnTo>
                <a:lnTo>
                  <a:pt x="60" y="180"/>
                </a:lnTo>
                <a:lnTo>
                  <a:pt x="60" y="186"/>
                </a:lnTo>
                <a:lnTo>
                  <a:pt x="60" y="180"/>
                </a:lnTo>
                <a:lnTo>
                  <a:pt x="60" y="186"/>
                </a:lnTo>
                <a:lnTo>
                  <a:pt x="60" y="186"/>
                </a:lnTo>
                <a:lnTo>
                  <a:pt x="54" y="186"/>
                </a:lnTo>
                <a:lnTo>
                  <a:pt x="54" y="186"/>
                </a:lnTo>
                <a:lnTo>
                  <a:pt x="54" y="186"/>
                </a:lnTo>
                <a:lnTo>
                  <a:pt x="54" y="186"/>
                </a:lnTo>
                <a:lnTo>
                  <a:pt x="54" y="186"/>
                </a:lnTo>
                <a:lnTo>
                  <a:pt x="54" y="186"/>
                </a:lnTo>
                <a:lnTo>
                  <a:pt x="54" y="186"/>
                </a:lnTo>
                <a:lnTo>
                  <a:pt x="54" y="192"/>
                </a:lnTo>
                <a:lnTo>
                  <a:pt x="54" y="192"/>
                </a:lnTo>
                <a:lnTo>
                  <a:pt x="54" y="192"/>
                </a:lnTo>
                <a:lnTo>
                  <a:pt x="54" y="192"/>
                </a:lnTo>
                <a:lnTo>
                  <a:pt x="54" y="192"/>
                </a:lnTo>
                <a:lnTo>
                  <a:pt x="54" y="192"/>
                </a:lnTo>
                <a:lnTo>
                  <a:pt x="54" y="192"/>
                </a:lnTo>
                <a:lnTo>
                  <a:pt x="48" y="192"/>
                </a:lnTo>
                <a:lnTo>
                  <a:pt x="48" y="192"/>
                </a:lnTo>
                <a:lnTo>
                  <a:pt x="48" y="192"/>
                </a:lnTo>
                <a:lnTo>
                  <a:pt x="48" y="192"/>
                </a:lnTo>
                <a:lnTo>
                  <a:pt x="48" y="192"/>
                </a:lnTo>
                <a:lnTo>
                  <a:pt x="48" y="192"/>
                </a:lnTo>
                <a:lnTo>
                  <a:pt x="48" y="192"/>
                </a:lnTo>
                <a:lnTo>
                  <a:pt x="48" y="192"/>
                </a:lnTo>
                <a:lnTo>
                  <a:pt x="42" y="192"/>
                </a:lnTo>
                <a:lnTo>
                  <a:pt x="42" y="192"/>
                </a:lnTo>
                <a:lnTo>
                  <a:pt x="48" y="192"/>
                </a:lnTo>
                <a:lnTo>
                  <a:pt x="42" y="192"/>
                </a:lnTo>
                <a:lnTo>
                  <a:pt x="42" y="186"/>
                </a:lnTo>
                <a:lnTo>
                  <a:pt x="42" y="186"/>
                </a:lnTo>
                <a:lnTo>
                  <a:pt x="36" y="186"/>
                </a:lnTo>
                <a:lnTo>
                  <a:pt x="36" y="186"/>
                </a:lnTo>
                <a:lnTo>
                  <a:pt x="36" y="186"/>
                </a:lnTo>
                <a:lnTo>
                  <a:pt x="30" y="186"/>
                </a:lnTo>
                <a:lnTo>
                  <a:pt x="30" y="186"/>
                </a:lnTo>
                <a:lnTo>
                  <a:pt x="30" y="186"/>
                </a:lnTo>
                <a:lnTo>
                  <a:pt x="30" y="186"/>
                </a:lnTo>
                <a:lnTo>
                  <a:pt x="30" y="186"/>
                </a:lnTo>
                <a:lnTo>
                  <a:pt x="30" y="186"/>
                </a:lnTo>
                <a:lnTo>
                  <a:pt x="24" y="186"/>
                </a:lnTo>
                <a:lnTo>
                  <a:pt x="24" y="186"/>
                </a:lnTo>
                <a:lnTo>
                  <a:pt x="24" y="186"/>
                </a:lnTo>
                <a:lnTo>
                  <a:pt x="24" y="180"/>
                </a:lnTo>
                <a:lnTo>
                  <a:pt x="24" y="186"/>
                </a:lnTo>
                <a:lnTo>
                  <a:pt x="24" y="186"/>
                </a:lnTo>
                <a:lnTo>
                  <a:pt x="24" y="186"/>
                </a:lnTo>
                <a:lnTo>
                  <a:pt x="24" y="180"/>
                </a:lnTo>
                <a:lnTo>
                  <a:pt x="24" y="180"/>
                </a:lnTo>
                <a:lnTo>
                  <a:pt x="24" y="180"/>
                </a:lnTo>
                <a:lnTo>
                  <a:pt x="18" y="180"/>
                </a:lnTo>
                <a:lnTo>
                  <a:pt x="18" y="180"/>
                </a:lnTo>
                <a:lnTo>
                  <a:pt x="18" y="180"/>
                </a:lnTo>
                <a:lnTo>
                  <a:pt x="18" y="180"/>
                </a:lnTo>
                <a:lnTo>
                  <a:pt x="18" y="180"/>
                </a:lnTo>
                <a:lnTo>
                  <a:pt x="12" y="180"/>
                </a:lnTo>
                <a:lnTo>
                  <a:pt x="12" y="180"/>
                </a:lnTo>
                <a:lnTo>
                  <a:pt x="12" y="180"/>
                </a:lnTo>
                <a:lnTo>
                  <a:pt x="6" y="174"/>
                </a:lnTo>
                <a:lnTo>
                  <a:pt x="0" y="174"/>
                </a:lnTo>
                <a:lnTo>
                  <a:pt x="0" y="174"/>
                </a:lnTo>
                <a:lnTo>
                  <a:pt x="0" y="174"/>
                </a:lnTo>
                <a:lnTo>
                  <a:pt x="0" y="174"/>
                </a:lnTo>
                <a:lnTo>
                  <a:pt x="0" y="174"/>
                </a:lnTo>
                <a:lnTo>
                  <a:pt x="0" y="174"/>
                </a:lnTo>
                <a:lnTo>
                  <a:pt x="0" y="174"/>
                </a:lnTo>
                <a:lnTo>
                  <a:pt x="0" y="174"/>
                </a:lnTo>
                <a:lnTo>
                  <a:pt x="0" y="174"/>
                </a:lnTo>
                <a:lnTo>
                  <a:pt x="0" y="174"/>
                </a:lnTo>
                <a:lnTo>
                  <a:pt x="0" y="174"/>
                </a:lnTo>
                <a:lnTo>
                  <a:pt x="0" y="174"/>
                </a:lnTo>
                <a:lnTo>
                  <a:pt x="0" y="168"/>
                </a:lnTo>
                <a:lnTo>
                  <a:pt x="0" y="168"/>
                </a:lnTo>
                <a:lnTo>
                  <a:pt x="0" y="168"/>
                </a:lnTo>
                <a:lnTo>
                  <a:pt x="0" y="168"/>
                </a:lnTo>
                <a:lnTo>
                  <a:pt x="0" y="168"/>
                </a:lnTo>
                <a:lnTo>
                  <a:pt x="0" y="168"/>
                </a:lnTo>
                <a:lnTo>
                  <a:pt x="0" y="168"/>
                </a:lnTo>
                <a:lnTo>
                  <a:pt x="0" y="168"/>
                </a:lnTo>
                <a:lnTo>
                  <a:pt x="0" y="168"/>
                </a:lnTo>
                <a:lnTo>
                  <a:pt x="0" y="168"/>
                </a:lnTo>
                <a:lnTo>
                  <a:pt x="0" y="168"/>
                </a:lnTo>
                <a:lnTo>
                  <a:pt x="0" y="168"/>
                </a:lnTo>
                <a:lnTo>
                  <a:pt x="0" y="162"/>
                </a:lnTo>
                <a:lnTo>
                  <a:pt x="0" y="162"/>
                </a:lnTo>
                <a:lnTo>
                  <a:pt x="0" y="16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06" name="Freeform 239"/>
          <p:cNvSpPr>
            <a:spLocks/>
          </p:cNvSpPr>
          <p:nvPr/>
        </p:nvSpPr>
        <p:spPr bwMode="auto">
          <a:xfrm>
            <a:off x="7873278" y="2580373"/>
            <a:ext cx="263386" cy="192723"/>
          </a:xfrm>
          <a:custGeom>
            <a:avLst/>
            <a:gdLst>
              <a:gd name="T0" fmla="*/ 6 w 246"/>
              <a:gd name="T1" fmla="*/ 30 h 180"/>
              <a:gd name="T2" fmla="*/ 18 w 246"/>
              <a:gd name="T3" fmla="*/ 36 h 180"/>
              <a:gd name="T4" fmla="*/ 60 w 246"/>
              <a:gd name="T5" fmla="*/ 6 h 180"/>
              <a:gd name="T6" fmla="*/ 132 w 246"/>
              <a:gd name="T7" fmla="*/ 6 h 180"/>
              <a:gd name="T8" fmla="*/ 156 w 246"/>
              <a:gd name="T9" fmla="*/ 18 h 180"/>
              <a:gd name="T10" fmla="*/ 156 w 246"/>
              <a:gd name="T11" fmla="*/ 18 h 180"/>
              <a:gd name="T12" fmla="*/ 168 w 246"/>
              <a:gd name="T13" fmla="*/ 24 h 180"/>
              <a:gd name="T14" fmla="*/ 174 w 246"/>
              <a:gd name="T15" fmla="*/ 30 h 180"/>
              <a:gd name="T16" fmla="*/ 180 w 246"/>
              <a:gd name="T17" fmla="*/ 30 h 180"/>
              <a:gd name="T18" fmla="*/ 186 w 246"/>
              <a:gd name="T19" fmla="*/ 30 h 180"/>
              <a:gd name="T20" fmla="*/ 192 w 246"/>
              <a:gd name="T21" fmla="*/ 30 h 180"/>
              <a:gd name="T22" fmla="*/ 192 w 246"/>
              <a:gd name="T23" fmla="*/ 30 h 180"/>
              <a:gd name="T24" fmla="*/ 198 w 246"/>
              <a:gd name="T25" fmla="*/ 36 h 180"/>
              <a:gd name="T26" fmla="*/ 204 w 246"/>
              <a:gd name="T27" fmla="*/ 30 h 180"/>
              <a:gd name="T28" fmla="*/ 210 w 246"/>
              <a:gd name="T29" fmla="*/ 36 h 180"/>
              <a:gd name="T30" fmla="*/ 246 w 246"/>
              <a:gd name="T31" fmla="*/ 108 h 180"/>
              <a:gd name="T32" fmla="*/ 246 w 246"/>
              <a:gd name="T33" fmla="*/ 114 h 180"/>
              <a:gd name="T34" fmla="*/ 240 w 246"/>
              <a:gd name="T35" fmla="*/ 120 h 180"/>
              <a:gd name="T36" fmla="*/ 240 w 246"/>
              <a:gd name="T37" fmla="*/ 114 h 180"/>
              <a:gd name="T38" fmla="*/ 228 w 246"/>
              <a:gd name="T39" fmla="*/ 114 h 180"/>
              <a:gd name="T40" fmla="*/ 228 w 246"/>
              <a:gd name="T41" fmla="*/ 114 h 180"/>
              <a:gd name="T42" fmla="*/ 216 w 246"/>
              <a:gd name="T43" fmla="*/ 120 h 180"/>
              <a:gd name="T44" fmla="*/ 204 w 246"/>
              <a:gd name="T45" fmla="*/ 120 h 180"/>
              <a:gd name="T46" fmla="*/ 204 w 246"/>
              <a:gd name="T47" fmla="*/ 120 h 180"/>
              <a:gd name="T48" fmla="*/ 198 w 246"/>
              <a:gd name="T49" fmla="*/ 120 h 180"/>
              <a:gd name="T50" fmla="*/ 186 w 246"/>
              <a:gd name="T51" fmla="*/ 126 h 180"/>
              <a:gd name="T52" fmla="*/ 186 w 246"/>
              <a:gd name="T53" fmla="*/ 132 h 180"/>
              <a:gd name="T54" fmla="*/ 180 w 246"/>
              <a:gd name="T55" fmla="*/ 132 h 180"/>
              <a:gd name="T56" fmla="*/ 180 w 246"/>
              <a:gd name="T57" fmla="*/ 132 h 180"/>
              <a:gd name="T58" fmla="*/ 174 w 246"/>
              <a:gd name="T59" fmla="*/ 132 h 180"/>
              <a:gd name="T60" fmla="*/ 168 w 246"/>
              <a:gd name="T61" fmla="*/ 132 h 180"/>
              <a:gd name="T62" fmla="*/ 168 w 246"/>
              <a:gd name="T63" fmla="*/ 138 h 180"/>
              <a:gd name="T64" fmla="*/ 162 w 246"/>
              <a:gd name="T65" fmla="*/ 144 h 180"/>
              <a:gd name="T66" fmla="*/ 156 w 246"/>
              <a:gd name="T67" fmla="*/ 156 h 180"/>
              <a:gd name="T68" fmla="*/ 138 w 246"/>
              <a:gd name="T69" fmla="*/ 156 h 180"/>
              <a:gd name="T70" fmla="*/ 90 w 246"/>
              <a:gd name="T71" fmla="*/ 168 h 180"/>
              <a:gd name="T72" fmla="*/ 54 w 246"/>
              <a:gd name="T73" fmla="*/ 162 h 180"/>
              <a:gd name="T74" fmla="*/ 48 w 246"/>
              <a:gd name="T75" fmla="*/ 144 h 180"/>
              <a:gd name="T76" fmla="*/ 18 w 246"/>
              <a:gd name="T77" fmla="*/ 126 h 180"/>
              <a:gd name="T78" fmla="*/ 18 w 246"/>
              <a:gd name="T79" fmla="*/ 120 h 180"/>
              <a:gd name="T80" fmla="*/ 24 w 246"/>
              <a:gd name="T81" fmla="*/ 120 h 180"/>
              <a:gd name="T82" fmla="*/ 24 w 246"/>
              <a:gd name="T83" fmla="*/ 114 h 180"/>
              <a:gd name="T84" fmla="*/ 30 w 246"/>
              <a:gd name="T85" fmla="*/ 114 h 180"/>
              <a:gd name="T86" fmla="*/ 36 w 246"/>
              <a:gd name="T87" fmla="*/ 108 h 180"/>
              <a:gd name="T88" fmla="*/ 36 w 246"/>
              <a:gd name="T89" fmla="*/ 102 h 180"/>
              <a:gd name="T90" fmla="*/ 36 w 246"/>
              <a:gd name="T91" fmla="*/ 96 h 180"/>
              <a:gd name="T92" fmla="*/ 36 w 246"/>
              <a:gd name="T93" fmla="*/ 90 h 180"/>
              <a:gd name="T94" fmla="*/ 42 w 246"/>
              <a:gd name="T95" fmla="*/ 84 h 180"/>
              <a:gd name="T96" fmla="*/ 42 w 246"/>
              <a:gd name="T97" fmla="*/ 78 h 180"/>
              <a:gd name="T98" fmla="*/ 42 w 246"/>
              <a:gd name="T99" fmla="*/ 72 h 180"/>
              <a:gd name="T100" fmla="*/ 36 w 246"/>
              <a:gd name="T101" fmla="*/ 66 h 180"/>
              <a:gd name="T102" fmla="*/ 30 w 246"/>
              <a:gd name="T103" fmla="*/ 60 h 180"/>
              <a:gd name="T104" fmla="*/ 30 w 246"/>
              <a:gd name="T105" fmla="*/ 48 h 180"/>
              <a:gd name="T106" fmla="*/ 24 w 246"/>
              <a:gd name="T107" fmla="*/ 48 h 180"/>
              <a:gd name="T108" fmla="*/ 18 w 246"/>
              <a:gd name="T109" fmla="*/ 48 h 180"/>
              <a:gd name="T110" fmla="*/ 12 w 246"/>
              <a:gd name="T111" fmla="*/ 42 h 180"/>
              <a:gd name="T112" fmla="*/ 0 w 246"/>
              <a:gd name="T113" fmla="*/ 30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46" h="180">
                <a:moveTo>
                  <a:pt x="0" y="30"/>
                </a:moveTo>
                <a:lnTo>
                  <a:pt x="0" y="24"/>
                </a:lnTo>
                <a:lnTo>
                  <a:pt x="0" y="24"/>
                </a:lnTo>
                <a:lnTo>
                  <a:pt x="6" y="24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12" y="36"/>
                </a:lnTo>
                <a:lnTo>
                  <a:pt x="12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30" y="24"/>
                </a:lnTo>
                <a:lnTo>
                  <a:pt x="48" y="18"/>
                </a:lnTo>
                <a:lnTo>
                  <a:pt x="48" y="6"/>
                </a:lnTo>
                <a:lnTo>
                  <a:pt x="60" y="6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72" y="6"/>
                </a:lnTo>
                <a:lnTo>
                  <a:pt x="96" y="0"/>
                </a:lnTo>
                <a:lnTo>
                  <a:pt x="132" y="6"/>
                </a:lnTo>
                <a:lnTo>
                  <a:pt x="144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24"/>
                </a:lnTo>
                <a:lnTo>
                  <a:pt x="156" y="24"/>
                </a:lnTo>
                <a:lnTo>
                  <a:pt x="156" y="18"/>
                </a:lnTo>
                <a:lnTo>
                  <a:pt x="156" y="18"/>
                </a:lnTo>
                <a:lnTo>
                  <a:pt x="162" y="18"/>
                </a:lnTo>
                <a:lnTo>
                  <a:pt x="162" y="24"/>
                </a:lnTo>
                <a:lnTo>
                  <a:pt x="162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92" y="30"/>
                </a:lnTo>
                <a:lnTo>
                  <a:pt x="192" y="30"/>
                </a:lnTo>
                <a:lnTo>
                  <a:pt x="192" y="30"/>
                </a:lnTo>
                <a:lnTo>
                  <a:pt x="192" y="30"/>
                </a:lnTo>
                <a:lnTo>
                  <a:pt x="192" y="30"/>
                </a:lnTo>
                <a:lnTo>
                  <a:pt x="192" y="30"/>
                </a:lnTo>
                <a:lnTo>
                  <a:pt x="192" y="30"/>
                </a:lnTo>
                <a:lnTo>
                  <a:pt x="192" y="30"/>
                </a:lnTo>
                <a:lnTo>
                  <a:pt x="192" y="30"/>
                </a:lnTo>
                <a:lnTo>
                  <a:pt x="192" y="30"/>
                </a:lnTo>
                <a:lnTo>
                  <a:pt x="192" y="30"/>
                </a:lnTo>
                <a:lnTo>
                  <a:pt x="192" y="30"/>
                </a:lnTo>
                <a:lnTo>
                  <a:pt x="198" y="36"/>
                </a:lnTo>
                <a:lnTo>
                  <a:pt x="198" y="30"/>
                </a:lnTo>
                <a:lnTo>
                  <a:pt x="198" y="36"/>
                </a:lnTo>
                <a:lnTo>
                  <a:pt x="198" y="36"/>
                </a:lnTo>
                <a:lnTo>
                  <a:pt x="198" y="36"/>
                </a:lnTo>
                <a:lnTo>
                  <a:pt x="198" y="36"/>
                </a:lnTo>
                <a:lnTo>
                  <a:pt x="204" y="30"/>
                </a:lnTo>
                <a:lnTo>
                  <a:pt x="204" y="30"/>
                </a:lnTo>
                <a:lnTo>
                  <a:pt x="204" y="30"/>
                </a:lnTo>
                <a:lnTo>
                  <a:pt x="204" y="30"/>
                </a:lnTo>
                <a:lnTo>
                  <a:pt x="204" y="30"/>
                </a:lnTo>
                <a:lnTo>
                  <a:pt x="210" y="36"/>
                </a:lnTo>
                <a:lnTo>
                  <a:pt x="210" y="36"/>
                </a:lnTo>
                <a:lnTo>
                  <a:pt x="210" y="48"/>
                </a:lnTo>
                <a:lnTo>
                  <a:pt x="216" y="72"/>
                </a:lnTo>
                <a:lnTo>
                  <a:pt x="216" y="72"/>
                </a:lnTo>
                <a:lnTo>
                  <a:pt x="216" y="84"/>
                </a:lnTo>
                <a:lnTo>
                  <a:pt x="234" y="90"/>
                </a:lnTo>
                <a:lnTo>
                  <a:pt x="246" y="108"/>
                </a:lnTo>
                <a:lnTo>
                  <a:pt x="246" y="108"/>
                </a:lnTo>
                <a:lnTo>
                  <a:pt x="246" y="108"/>
                </a:lnTo>
                <a:lnTo>
                  <a:pt x="246" y="108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0" y="114"/>
                </a:lnTo>
                <a:lnTo>
                  <a:pt x="240" y="120"/>
                </a:lnTo>
                <a:lnTo>
                  <a:pt x="240" y="120"/>
                </a:lnTo>
                <a:lnTo>
                  <a:pt x="240" y="114"/>
                </a:lnTo>
                <a:lnTo>
                  <a:pt x="240" y="114"/>
                </a:lnTo>
                <a:lnTo>
                  <a:pt x="240" y="114"/>
                </a:lnTo>
                <a:lnTo>
                  <a:pt x="240" y="114"/>
                </a:lnTo>
                <a:lnTo>
                  <a:pt x="240" y="114"/>
                </a:lnTo>
                <a:lnTo>
                  <a:pt x="240" y="114"/>
                </a:lnTo>
                <a:lnTo>
                  <a:pt x="234" y="114"/>
                </a:lnTo>
                <a:lnTo>
                  <a:pt x="234" y="114"/>
                </a:lnTo>
                <a:lnTo>
                  <a:pt x="234" y="114"/>
                </a:lnTo>
                <a:lnTo>
                  <a:pt x="234" y="114"/>
                </a:lnTo>
                <a:lnTo>
                  <a:pt x="228" y="114"/>
                </a:lnTo>
                <a:lnTo>
                  <a:pt x="228" y="114"/>
                </a:lnTo>
                <a:lnTo>
                  <a:pt x="228" y="114"/>
                </a:lnTo>
                <a:lnTo>
                  <a:pt x="228" y="114"/>
                </a:lnTo>
                <a:lnTo>
                  <a:pt x="228" y="120"/>
                </a:lnTo>
                <a:lnTo>
                  <a:pt x="228" y="114"/>
                </a:lnTo>
                <a:lnTo>
                  <a:pt x="228" y="114"/>
                </a:lnTo>
                <a:lnTo>
                  <a:pt x="222" y="114"/>
                </a:lnTo>
                <a:lnTo>
                  <a:pt x="222" y="114"/>
                </a:lnTo>
                <a:lnTo>
                  <a:pt x="216" y="120"/>
                </a:lnTo>
                <a:lnTo>
                  <a:pt x="216" y="120"/>
                </a:lnTo>
                <a:lnTo>
                  <a:pt x="216" y="120"/>
                </a:lnTo>
                <a:lnTo>
                  <a:pt x="216" y="120"/>
                </a:lnTo>
                <a:lnTo>
                  <a:pt x="216" y="120"/>
                </a:lnTo>
                <a:lnTo>
                  <a:pt x="216" y="120"/>
                </a:lnTo>
                <a:lnTo>
                  <a:pt x="210" y="120"/>
                </a:lnTo>
                <a:lnTo>
                  <a:pt x="210" y="120"/>
                </a:lnTo>
                <a:lnTo>
                  <a:pt x="210" y="120"/>
                </a:lnTo>
                <a:lnTo>
                  <a:pt x="204" y="120"/>
                </a:lnTo>
                <a:lnTo>
                  <a:pt x="204" y="120"/>
                </a:lnTo>
                <a:lnTo>
                  <a:pt x="204" y="120"/>
                </a:lnTo>
                <a:lnTo>
                  <a:pt x="204" y="120"/>
                </a:lnTo>
                <a:lnTo>
                  <a:pt x="204" y="120"/>
                </a:lnTo>
                <a:lnTo>
                  <a:pt x="204" y="120"/>
                </a:lnTo>
                <a:lnTo>
                  <a:pt x="204" y="120"/>
                </a:lnTo>
                <a:lnTo>
                  <a:pt x="204" y="120"/>
                </a:lnTo>
                <a:lnTo>
                  <a:pt x="198" y="120"/>
                </a:lnTo>
                <a:lnTo>
                  <a:pt x="198" y="120"/>
                </a:lnTo>
                <a:lnTo>
                  <a:pt x="198" y="120"/>
                </a:lnTo>
                <a:lnTo>
                  <a:pt x="198" y="120"/>
                </a:lnTo>
                <a:lnTo>
                  <a:pt x="198" y="120"/>
                </a:lnTo>
                <a:lnTo>
                  <a:pt x="192" y="120"/>
                </a:lnTo>
                <a:lnTo>
                  <a:pt x="192" y="120"/>
                </a:lnTo>
                <a:lnTo>
                  <a:pt x="192" y="126"/>
                </a:lnTo>
                <a:lnTo>
                  <a:pt x="192" y="126"/>
                </a:lnTo>
                <a:lnTo>
                  <a:pt x="186" y="126"/>
                </a:lnTo>
                <a:lnTo>
                  <a:pt x="186" y="126"/>
                </a:lnTo>
                <a:lnTo>
                  <a:pt x="186" y="126"/>
                </a:lnTo>
                <a:lnTo>
                  <a:pt x="186" y="126"/>
                </a:lnTo>
                <a:lnTo>
                  <a:pt x="186" y="126"/>
                </a:lnTo>
                <a:lnTo>
                  <a:pt x="186" y="126"/>
                </a:lnTo>
                <a:lnTo>
                  <a:pt x="186" y="132"/>
                </a:lnTo>
                <a:lnTo>
                  <a:pt x="186" y="132"/>
                </a:lnTo>
                <a:lnTo>
                  <a:pt x="186" y="132"/>
                </a:lnTo>
                <a:lnTo>
                  <a:pt x="186" y="132"/>
                </a:lnTo>
                <a:lnTo>
                  <a:pt x="186" y="132"/>
                </a:lnTo>
                <a:lnTo>
                  <a:pt x="186" y="132"/>
                </a:lnTo>
                <a:lnTo>
                  <a:pt x="186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74" y="132"/>
                </a:lnTo>
                <a:lnTo>
                  <a:pt x="174" y="132"/>
                </a:lnTo>
                <a:lnTo>
                  <a:pt x="174" y="132"/>
                </a:lnTo>
                <a:lnTo>
                  <a:pt x="174" y="132"/>
                </a:lnTo>
                <a:lnTo>
                  <a:pt x="174" y="126"/>
                </a:lnTo>
                <a:lnTo>
                  <a:pt x="174" y="132"/>
                </a:lnTo>
                <a:lnTo>
                  <a:pt x="174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38"/>
                </a:lnTo>
                <a:lnTo>
                  <a:pt x="168" y="138"/>
                </a:lnTo>
                <a:lnTo>
                  <a:pt x="168" y="138"/>
                </a:lnTo>
                <a:lnTo>
                  <a:pt x="162" y="138"/>
                </a:lnTo>
                <a:lnTo>
                  <a:pt x="162" y="138"/>
                </a:lnTo>
                <a:lnTo>
                  <a:pt x="162" y="138"/>
                </a:lnTo>
                <a:lnTo>
                  <a:pt x="162" y="138"/>
                </a:lnTo>
                <a:lnTo>
                  <a:pt x="162" y="138"/>
                </a:lnTo>
                <a:lnTo>
                  <a:pt x="162" y="144"/>
                </a:lnTo>
                <a:lnTo>
                  <a:pt x="156" y="144"/>
                </a:lnTo>
                <a:lnTo>
                  <a:pt x="162" y="144"/>
                </a:lnTo>
                <a:lnTo>
                  <a:pt x="162" y="150"/>
                </a:lnTo>
                <a:lnTo>
                  <a:pt x="162" y="150"/>
                </a:lnTo>
                <a:lnTo>
                  <a:pt x="156" y="150"/>
                </a:lnTo>
                <a:lnTo>
                  <a:pt x="156" y="156"/>
                </a:lnTo>
                <a:lnTo>
                  <a:pt x="156" y="156"/>
                </a:lnTo>
                <a:lnTo>
                  <a:pt x="156" y="156"/>
                </a:lnTo>
                <a:lnTo>
                  <a:pt x="156" y="156"/>
                </a:lnTo>
                <a:lnTo>
                  <a:pt x="156" y="156"/>
                </a:lnTo>
                <a:lnTo>
                  <a:pt x="156" y="162"/>
                </a:lnTo>
                <a:lnTo>
                  <a:pt x="138" y="156"/>
                </a:lnTo>
                <a:lnTo>
                  <a:pt x="138" y="156"/>
                </a:lnTo>
                <a:lnTo>
                  <a:pt x="126" y="156"/>
                </a:lnTo>
                <a:lnTo>
                  <a:pt x="120" y="156"/>
                </a:lnTo>
                <a:lnTo>
                  <a:pt x="108" y="150"/>
                </a:lnTo>
                <a:lnTo>
                  <a:pt x="96" y="162"/>
                </a:lnTo>
                <a:lnTo>
                  <a:pt x="90" y="168"/>
                </a:lnTo>
                <a:lnTo>
                  <a:pt x="102" y="180"/>
                </a:lnTo>
                <a:lnTo>
                  <a:pt x="90" y="180"/>
                </a:lnTo>
                <a:lnTo>
                  <a:pt x="72" y="174"/>
                </a:lnTo>
                <a:lnTo>
                  <a:pt x="60" y="168"/>
                </a:lnTo>
                <a:lnTo>
                  <a:pt x="54" y="168"/>
                </a:lnTo>
                <a:lnTo>
                  <a:pt x="54" y="162"/>
                </a:lnTo>
                <a:lnTo>
                  <a:pt x="48" y="162"/>
                </a:lnTo>
                <a:lnTo>
                  <a:pt x="48" y="162"/>
                </a:lnTo>
                <a:lnTo>
                  <a:pt x="48" y="156"/>
                </a:lnTo>
                <a:lnTo>
                  <a:pt x="48" y="150"/>
                </a:lnTo>
                <a:lnTo>
                  <a:pt x="48" y="150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2" y="144"/>
                </a:lnTo>
                <a:lnTo>
                  <a:pt x="42" y="144"/>
                </a:lnTo>
                <a:lnTo>
                  <a:pt x="30" y="132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0"/>
                </a:lnTo>
                <a:lnTo>
                  <a:pt x="36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36" y="90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36" y="72"/>
                </a:lnTo>
                <a:lnTo>
                  <a:pt x="36" y="72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0" y="60"/>
                </a:lnTo>
                <a:lnTo>
                  <a:pt x="30" y="60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6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07" name="Freeform 240"/>
          <p:cNvSpPr>
            <a:spLocks/>
          </p:cNvSpPr>
          <p:nvPr/>
        </p:nvSpPr>
        <p:spPr bwMode="auto">
          <a:xfrm>
            <a:off x="8162360" y="2946546"/>
            <a:ext cx="96361" cy="147754"/>
          </a:xfrm>
          <a:custGeom>
            <a:avLst/>
            <a:gdLst>
              <a:gd name="T0" fmla="*/ 6 w 90"/>
              <a:gd name="T1" fmla="*/ 30 h 138"/>
              <a:gd name="T2" fmla="*/ 12 w 90"/>
              <a:gd name="T3" fmla="*/ 24 h 138"/>
              <a:gd name="T4" fmla="*/ 12 w 90"/>
              <a:gd name="T5" fmla="*/ 24 h 138"/>
              <a:gd name="T6" fmla="*/ 18 w 90"/>
              <a:gd name="T7" fmla="*/ 18 h 138"/>
              <a:gd name="T8" fmla="*/ 18 w 90"/>
              <a:gd name="T9" fmla="*/ 12 h 138"/>
              <a:gd name="T10" fmla="*/ 18 w 90"/>
              <a:gd name="T11" fmla="*/ 6 h 138"/>
              <a:gd name="T12" fmla="*/ 24 w 90"/>
              <a:gd name="T13" fmla="*/ 6 h 138"/>
              <a:gd name="T14" fmla="*/ 24 w 90"/>
              <a:gd name="T15" fmla="*/ 0 h 138"/>
              <a:gd name="T16" fmla="*/ 30 w 90"/>
              <a:gd name="T17" fmla="*/ 6 h 138"/>
              <a:gd name="T18" fmla="*/ 36 w 90"/>
              <a:gd name="T19" fmla="*/ 0 h 138"/>
              <a:gd name="T20" fmla="*/ 36 w 90"/>
              <a:gd name="T21" fmla="*/ 0 h 138"/>
              <a:gd name="T22" fmla="*/ 42 w 90"/>
              <a:gd name="T23" fmla="*/ 6 h 138"/>
              <a:gd name="T24" fmla="*/ 48 w 90"/>
              <a:gd name="T25" fmla="*/ 6 h 138"/>
              <a:gd name="T26" fmla="*/ 48 w 90"/>
              <a:gd name="T27" fmla="*/ 6 h 138"/>
              <a:gd name="T28" fmla="*/ 54 w 90"/>
              <a:gd name="T29" fmla="*/ 0 h 138"/>
              <a:gd name="T30" fmla="*/ 66 w 90"/>
              <a:gd name="T31" fmla="*/ 6 h 138"/>
              <a:gd name="T32" fmla="*/ 66 w 90"/>
              <a:gd name="T33" fmla="*/ 6 h 138"/>
              <a:gd name="T34" fmla="*/ 78 w 90"/>
              <a:gd name="T35" fmla="*/ 0 h 138"/>
              <a:gd name="T36" fmla="*/ 78 w 90"/>
              <a:gd name="T37" fmla="*/ 6 h 138"/>
              <a:gd name="T38" fmla="*/ 84 w 90"/>
              <a:gd name="T39" fmla="*/ 0 h 138"/>
              <a:gd name="T40" fmla="*/ 84 w 90"/>
              <a:gd name="T41" fmla="*/ 0 h 138"/>
              <a:gd name="T42" fmla="*/ 84 w 90"/>
              <a:gd name="T43" fmla="*/ 6 h 138"/>
              <a:gd name="T44" fmla="*/ 90 w 90"/>
              <a:gd name="T45" fmla="*/ 18 h 138"/>
              <a:gd name="T46" fmla="*/ 90 w 90"/>
              <a:gd name="T47" fmla="*/ 24 h 138"/>
              <a:gd name="T48" fmla="*/ 90 w 90"/>
              <a:gd name="T49" fmla="*/ 30 h 138"/>
              <a:gd name="T50" fmla="*/ 90 w 90"/>
              <a:gd name="T51" fmla="*/ 36 h 138"/>
              <a:gd name="T52" fmla="*/ 84 w 90"/>
              <a:gd name="T53" fmla="*/ 42 h 138"/>
              <a:gd name="T54" fmla="*/ 90 w 90"/>
              <a:gd name="T55" fmla="*/ 48 h 138"/>
              <a:gd name="T56" fmla="*/ 90 w 90"/>
              <a:gd name="T57" fmla="*/ 54 h 138"/>
              <a:gd name="T58" fmla="*/ 84 w 90"/>
              <a:gd name="T59" fmla="*/ 54 h 138"/>
              <a:gd name="T60" fmla="*/ 78 w 90"/>
              <a:gd name="T61" fmla="*/ 66 h 138"/>
              <a:gd name="T62" fmla="*/ 84 w 90"/>
              <a:gd name="T63" fmla="*/ 84 h 138"/>
              <a:gd name="T64" fmla="*/ 84 w 90"/>
              <a:gd name="T65" fmla="*/ 102 h 138"/>
              <a:gd name="T66" fmla="*/ 78 w 90"/>
              <a:gd name="T67" fmla="*/ 126 h 138"/>
              <a:gd name="T68" fmla="*/ 72 w 90"/>
              <a:gd name="T69" fmla="*/ 132 h 138"/>
              <a:gd name="T70" fmla="*/ 42 w 90"/>
              <a:gd name="T71" fmla="*/ 138 h 138"/>
              <a:gd name="T72" fmla="*/ 42 w 90"/>
              <a:gd name="T73" fmla="*/ 126 h 138"/>
              <a:gd name="T74" fmla="*/ 18 w 90"/>
              <a:gd name="T75" fmla="*/ 132 h 138"/>
              <a:gd name="T76" fmla="*/ 30 w 90"/>
              <a:gd name="T77" fmla="*/ 120 h 138"/>
              <a:gd name="T78" fmla="*/ 36 w 90"/>
              <a:gd name="T79" fmla="*/ 114 h 138"/>
              <a:gd name="T80" fmla="*/ 36 w 90"/>
              <a:gd name="T81" fmla="*/ 108 h 138"/>
              <a:gd name="T82" fmla="*/ 30 w 90"/>
              <a:gd name="T83" fmla="*/ 108 h 138"/>
              <a:gd name="T84" fmla="*/ 30 w 90"/>
              <a:gd name="T85" fmla="*/ 102 h 138"/>
              <a:gd name="T86" fmla="*/ 24 w 90"/>
              <a:gd name="T87" fmla="*/ 102 h 138"/>
              <a:gd name="T88" fmla="*/ 24 w 90"/>
              <a:gd name="T89" fmla="*/ 102 h 138"/>
              <a:gd name="T90" fmla="*/ 30 w 90"/>
              <a:gd name="T91" fmla="*/ 90 h 138"/>
              <a:gd name="T92" fmla="*/ 24 w 90"/>
              <a:gd name="T93" fmla="*/ 90 h 138"/>
              <a:gd name="T94" fmla="*/ 24 w 90"/>
              <a:gd name="T95" fmla="*/ 90 h 138"/>
              <a:gd name="T96" fmla="*/ 24 w 90"/>
              <a:gd name="T97" fmla="*/ 78 h 138"/>
              <a:gd name="T98" fmla="*/ 30 w 90"/>
              <a:gd name="T99" fmla="*/ 66 h 138"/>
              <a:gd name="T100" fmla="*/ 18 w 90"/>
              <a:gd name="T101" fmla="*/ 60 h 138"/>
              <a:gd name="T102" fmla="*/ 24 w 90"/>
              <a:gd name="T103" fmla="*/ 54 h 138"/>
              <a:gd name="T104" fmla="*/ 24 w 90"/>
              <a:gd name="T105" fmla="*/ 54 h 138"/>
              <a:gd name="T106" fmla="*/ 30 w 90"/>
              <a:gd name="T107" fmla="*/ 54 h 138"/>
              <a:gd name="T108" fmla="*/ 30 w 90"/>
              <a:gd name="T109" fmla="*/ 54 h 138"/>
              <a:gd name="T110" fmla="*/ 30 w 90"/>
              <a:gd name="T111" fmla="*/ 48 h 138"/>
              <a:gd name="T112" fmla="*/ 30 w 90"/>
              <a:gd name="T113" fmla="*/ 42 h 138"/>
              <a:gd name="T114" fmla="*/ 24 w 90"/>
              <a:gd name="T115" fmla="*/ 36 h 138"/>
              <a:gd name="T116" fmla="*/ 18 w 90"/>
              <a:gd name="T117" fmla="*/ 36 h 138"/>
              <a:gd name="T118" fmla="*/ 12 w 90"/>
              <a:gd name="T119" fmla="*/ 36 h 138"/>
              <a:gd name="T120" fmla="*/ 6 w 90"/>
              <a:gd name="T121" fmla="*/ 36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90" h="138">
                <a:moveTo>
                  <a:pt x="0" y="30"/>
                </a:move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2" y="18"/>
                </a:lnTo>
                <a:lnTo>
                  <a:pt x="12" y="18"/>
                </a:lnTo>
                <a:lnTo>
                  <a:pt x="12" y="12"/>
                </a:lnTo>
                <a:lnTo>
                  <a:pt x="12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6"/>
                </a:lnTo>
                <a:lnTo>
                  <a:pt x="18" y="6"/>
                </a:lnTo>
                <a:lnTo>
                  <a:pt x="24" y="12"/>
                </a:lnTo>
                <a:lnTo>
                  <a:pt x="24" y="12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18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30" y="0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12"/>
                </a:lnTo>
                <a:lnTo>
                  <a:pt x="54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0"/>
                </a:lnTo>
                <a:lnTo>
                  <a:pt x="48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6" y="0"/>
                </a:lnTo>
                <a:lnTo>
                  <a:pt x="66" y="0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6"/>
                </a:lnTo>
                <a:lnTo>
                  <a:pt x="78" y="6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90" y="0"/>
                </a:lnTo>
                <a:lnTo>
                  <a:pt x="84" y="0"/>
                </a:lnTo>
                <a:lnTo>
                  <a:pt x="84" y="0"/>
                </a:lnTo>
                <a:lnTo>
                  <a:pt x="84" y="6"/>
                </a:lnTo>
                <a:lnTo>
                  <a:pt x="84" y="6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24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84" y="36"/>
                </a:lnTo>
                <a:lnTo>
                  <a:pt x="84" y="42"/>
                </a:lnTo>
                <a:lnTo>
                  <a:pt x="84" y="42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60"/>
                </a:lnTo>
                <a:lnTo>
                  <a:pt x="90" y="60"/>
                </a:lnTo>
                <a:lnTo>
                  <a:pt x="90" y="54"/>
                </a:lnTo>
                <a:lnTo>
                  <a:pt x="84" y="54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78" y="66"/>
                </a:lnTo>
                <a:lnTo>
                  <a:pt x="78" y="66"/>
                </a:lnTo>
                <a:lnTo>
                  <a:pt x="78" y="72"/>
                </a:lnTo>
                <a:lnTo>
                  <a:pt x="78" y="78"/>
                </a:lnTo>
                <a:lnTo>
                  <a:pt x="84" y="78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90" y="90"/>
                </a:lnTo>
                <a:lnTo>
                  <a:pt x="84" y="90"/>
                </a:lnTo>
                <a:lnTo>
                  <a:pt x="90" y="90"/>
                </a:lnTo>
                <a:lnTo>
                  <a:pt x="84" y="102"/>
                </a:lnTo>
                <a:lnTo>
                  <a:pt x="84" y="102"/>
                </a:lnTo>
                <a:lnTo>
                  <a:pt x="84" y="108"/>
                </a:lnTo>
                <a:lnTo>
                  <a:pt x="84" y="108"/>
                </a:lnTo>
                <a:lnTo>
                  <a:pt x="84" y="114"/>
                </a:lnTo>
                <a:lnTo>
                  <a:pt x="78" y="120"/>
                </a:lnTo>
                <a:lnTo>
                  <a:pt x="78" y="120"/>
                </a:lnTo>
                <a:lnTo>
                  <a:pt x="78" y="126"/>
                </a:lnTo>
                <a:lnTo>
                  <a:pt x="78" y="126"/>
                </a:lnTo>
                <a:lnTo>
                  <a:pt x="78" y="132"/>
                </a:lnTo>
                <a:lnTo>
                  <a:pt x="78" y="132"/>
                </a:lnTo>
                <a:lnTo>
                  <a:pt x="78" y="132"/>
                </a:lnTo>
                <a:lnTo>
                  <a:pt x="78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66" y="132"/>
                </a:lnTo>
                <a:lnTo>
                  <a:pt x="60" y="132"/>
                </a:lnTo>
                <a:lnTo>
                  <a:pt x="48" y="138"/>
                </a:lnTo>
                <a:lnTo>
                  <a:pt x="42" y="138"/>
                </a:lnTo>
                <a:lnTo>
                  <a:pt x="42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2"/>
                </a:lnTo>
                <a:lnTo>
                  <a:pt x="36" y="132"/>
                </a:lnTo>
                <a:lnTo>
                  <a:pt x="42" y="126"/>
                </a:lnTo>
                <a:lnTo>
                  <a:pt x="36" y="126"/>
                </a:lnTo>
                <a:lnTo>
                  <a:pt x="30" y="132"/>
                </a:lnTo>
                <a:lnTo>
                  <a:pt x="24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26"/>
                </a:lnTo>
                <a:lnTo>
                  <a:pt x="18" y="126"/>
                </a:lnTo>
                <a:lnTo>
                  <a:pt x="30" y="126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6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2"/>
                </a:lnTo>
                <a:lnTo>
                  <a:pt x="30" y="108"/>
                </a:lnTo>
                <a:lnTo>
                  <a:pt x="30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24" y="90"/>
                </a:lnTo>
                <a:lnTo>
                  <a:pt x="24" y="90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18" y="84"/>
                </a:lnTo>
                <a:lnTo>
                  <a:pt x="18" y="90"/>
                </a:lnTo>
                <a:lnTo>
                  <a:pt x="18" y="84"/>
                </a:lnTo>
                <a:lnTo>
                  <a:pt x="18" y="84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18" y="66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54"/>
                </a:lnTo>
                <a:lnTo>
                  <a:pt x="18" y="60"/>
                </a:lnTo>
                <a:lnTo>
                  <a:pt x="18" y="54"/>
                </a:lnTo>
                <a:lnTo>
                  <a:pt x="18" y="60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60"/>
                </a:lnTo>
                <a:lnTo>
                  <a:pt x="30" y="60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24" y="42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0" y="3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08" name="Freeform 241"/>
          <p:cNvSpPr>
            <a:spLocks/>
          </p:cNvSpPr>
          <p:nvPr/>
        </p:nvSpPr>
        <p:spPr bwMode="auto">
          <a:xfrm>
            <a:off x="8271569" y="2837337"/>
            <a:ext cx="109209" cy="96361"/>
          </a:xfrm>
          <a:custGeom>
            <a:avLst/>
            <a:gdLst>
              <a:gd name="T0" fmla="*/ 0 w 102"/>
              <a:gd name="T1" fmla="*/ 84 h 90"/>
              <a:gd name="T2" fmla="*/ 0 w 102"/>
              <a:gd name="T3" fmla="*/ 78 h 90"/>
              <a:gd name="T4" fmla="*/ 12 w 102"/>
              <a:gd name="T5" fmla="*/ 66 h 90"/>
              <a:gd name="T6" fmla="*/ 12 w 102"/>
              <a:gd name="T7" fmla="*/ 54 h 90"/>
              <a:gd name="T8" fmla="*/ 18 w 102"/>
              <a:gd name="T9" fmla="*/ 48 h 90"/>
              <a:gd name="T10" fmla="*/ 18 w 102"/>
              <a:gd name="T11" fmla="*/ 36 h 90"/>
              <a:gd name="T12" fmla="*/ 12 w 102"/>
              <a:gd name="T13" fmla="*/ 24 h 90"/>
              <a:gd name="T14" fmla="*/ 12 w 102"/>
              <a:gd name="T15" fmla="*/ 18 h 90"/>
              <a:gd name="T16" fmla="*/ 18 w 102"/>
              <a:gd name="T17" fmla="*/ 12 h 90"/>
              <a:gd name="T18" fmla="*/ 24 w 102"/>
              <a:gd name="T19" fmla="*/ 18 h 90"/>
              <a:gd name="T20" fmla="*/ 36 w 102"/>
              <a:gd name="T21" fmla="*/ 24 h 90"/>
              <a:gd name="T22" fmla="*/ 42 w 102"/>
              <a:gd name="T23" fmla="*/ 18 h 90"/>
              <a:gd name="T24" fmla="*/ 42 w 102"/>
              <a:gd name="T25" fmla="*/ 24 h 90"/>
              <a:gd name="T26" fmla="*/ 48 w 102"/>
              <a:gd name="T27" fmla="*/ 18 h 90"/>
              <a:gd name="T28" fmla="*/ 54 w 102"/>
              <a:gd name="T29" fmla="*/ 18 h 90"/>
              <a:gd name="T30" fmla="*/ 54 w 102"/>
              <a:gd name="T31" fmla="*/ 18 h 90"/>
              <a:gd name="T32" fmla="*/ 54 w 102"/>
              <a:gd name="T33" fmla="*/ 18 h 90"/>
              <a:gd name="T34" fmla="*/ 54 w 102"/>
              <a:gd name="T35" fmla="*/ 12 h 90"/>
              <a:gd name="T36" fmla="*/ 60 w 102"/>
              <a:gd name="T37" fmla="*/ 12 h 90"/>
              <a:gd name="T38" fmla="*/ 66 w 102"/>
              <a:gd name="T39" fmla="*/ 18 h 90"/>
              <a:gd name="T40" fmla="*/ 66 w 102"/>
              <a:gd name="T41" fmla="*/ 18 h 90"/>
              <a:gd name="T42" fmla="*/ 72 w 102"/>
              <a:gd name="T43" fmla="*/ 18 h 90"/>
              <a:gd name="T44" fmla="*/ 72 w 102"/>
              <a:gd name="T45" fmla="*/ 18 h 90"/>
              <a:gd name="T46" fmla="*/ 78 w 102"/>
              <a:gd name="T47" fmla="*/ 18 h 90"/>
              <a:gd name="T48" fmla="*/ 78 w 102"/>
              <a:gd name="T49" fmla="*/ 18 h 90"/>
              <a:gd name="T50" fmla="*/ 78 w 102"/>
              <a:gd name="T51" fmla="*/ 12 h 90"/>
              <a:gd name="T52" fmla="*/ 72 w 102"/>
              <a:gd name="T53" fmla="*/ 6 h 90"/>
              <a:gd name="T54" fmla="*/ 72 w 102"/>
              <a:gd name="T55" fmla="*/ 6 h 90"/>
              <a:gd name="T56" fmla="*/ 78 w 102"/>
              <a:gd name="T57" fmla="*/ 0 h 90"/>
              <a:gd name="T58" fmla="*/ 84 w 102"/>
              <a:gd name="T59" fmla="*/ 0 h 90"/>
              <a:gd name="T60" fmla="*/ 84 w 102"/>
              <a:gd name="T61" fmla="*/ 6 h 90"/>
              <a:gd name="T62" fmla="*/ 84 w 102"/>
              <a:gd name="T63" fmla="*/ 6 h 90"/>
              <a:gd name="T64" fmla="*/ 90 w 102"/>
              <a:gd name="T65" fmla="*/ 6 h 90"/>
              <a:gd name="T66" fmla="*/ 90 w 102"/>
              <a:gd name="T67" fmla="*/ 6 h 90"/>
              <a:gd name="T68" fmla="*/ 90 w 102"/>
              <a:gd name="T69" fmla="*/ 6 h 90"/>
              <a:gd name="T70" fmla="*/ 96 w 102"/>
              <a:gd name="T71" fmla="*/ 6 h 90"/>
              <a:gd name="T72" fmla="*/ 96 w 102"/>
              <a:gd name="T73" fmla="*/ 6 h 90"/>
              <a:gd name="T74" fmla="*/ 96 w 102"/>
              <a:gd name="T75" fmla="*/ 12 h 90"/>
              <a:gd name="T76" fmla="*/ 102 w 102"/>
              <a:gd name="T77" fmla="*/ 18 h 90"/>
              <a:gd name="T78" fmla="*/ 102 w 102"/>
              <a:gd name="T79" fmla="*/ 18 h 90"/>
              <a:gd name="T80" fmla="*/ 102 w 102"/>
              <a:gd name="T81" fmla="*/ 24 h 90"/>
              <a:gd name="T82" fmla="*/ 96 w 102"/>
              <a:gd name="T83" fmla="*/ 30 h 90"/>
              <a:gd name="T84" fmla="*/ 78 w 102"/>
              <a:gd name="T85" fmla="*/ 48 h 90"/>
              <a:gd name="T86" fmla="*/ 72 w 102"/>
              <a:gd name="T87" fmla="*/ 54 h 90"/>
              <a:gd name="T88" fmla="*/ 60 w 102"/>
              <a:gd name="T89" fmla="*/ 66 h 90"/>
              <a:gd name="T90" fmla="*/ 54 w 102"/>
              <a:gd name="T91" fmla="*/ 66 h 90"/>
              <a:gd name="T92" fmla="*/ 42 w 102"/>
              <a:gd name="T93" fmla="*/ 72 h 90"/>
              <a:gd name="T94" fmla="*/ 36 w 102"/>
              <a:gd name="T95" fmla="*/ 72 h 90"/>
              <a:gd name="T96" fmla="*/ 30 w 102"/>
              <a:gd name="T97" fmla="*/ 60 h 90"/>
              <a:gd name="T98" fmla="*/ 24 w 102"/>
              <a:gd name="T99" fmla="*/ 72 h 90"/>
              <a:gd name="T100" fmla="*/ 18 w 102"/>
              <a:gd name="T101" fmla="*/ 78 h 90"/>
              <a:gd name="T102" fmla="*/ 12 w 102"/>
              <a:gd name="T103" fmla="*/ 78 h 90"/>
              <a:gd name="T104" fmla="*/ 12 w 102"/>
              <a:gd name="T105" fmla="*/ 84 h 90"/>
              <a:gd name="T106" fmla="*/ 6 w 102"/>
              <a:gd name="T107" fmla="*/ 90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02" h="90">
                <a:moveTo>
                  <a:pt x="0" y="90"/>
                </a:moveTo>
                <a:lnTo>
                  <a:pt x="0" y="90"/>
                </a:lnTo>
                <a:lnTo>
                  <a:pt x="0" y="84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12" y="66"/>
                </a:lnTo>
                <a:lnTo>
                  <a:pt x="12" y="66"/>
                </a:lnTo>
                <a:lnTo>
                  <a:pt x="12" y="60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48"/>
                </a:lnTo>
                <a:lnTo>
                  <a:pt x="18" y="48"/>
                </a:lnTo>
                <a:lnTo>
                  <a:pt x="12" y="48"/>
                </a:lnTo>
                <a:lnTo>
                  <a:pt x="18" y="42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0"/>
                </a:lnTo>
                <a:lnTo>
                  <a:pt x="18" y="30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18"/>
                </a:lnTo>
                <a:lnTo>
                  <a:pt x="12" y="18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24" y="12"/>
                </a:lnTo>
                <a:lnTo>
                  <a:pt x="24" y="18"/>
                </a:lnTo>
                <a:lnTo>
                  <a:pt x="24" y="18"/>
                </a:lnTo>
                <a:lnTo>
                  <a:pt x="24" y="12"/>
                </a:lnTo>
                <a:lnTo>
                  <a:pt x="30" y="24"/>
                </a:lnTo>
                <a:lnTo>
                  <a:pt x="30" y="24"/>
                </a:lnTo>
                <a:lnTo>
                  <a:pt x="36" y="24"/>
                </a:lnTo>
                <a:lnTo>
                  <a:pt x="36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24"/>
                </a:lnTo>
                <a:lnTo>
                  <a:pt x="48" y="24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24"/>
                </a:lnTo>
                <a:lnTo>
                  <a:pt x="48" y="24"/>
                </a:lnTo>
                <a:lnTo>
                  <a:pt x="54" y="18"/>
                </a:lnTo>
                <a:lnTo>
                  <a:pt x="54" y="18"/>
                </a:lnTo>
                <a:lnTo>
                  <a:pt x="54" y="24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60" y="18"/>
                </a:lnTo>
                <a:lnTo>
                  <a:pt x="60" y="18"/>
                </a:lnTo>
                <a:lnTo>
                  <a:pt x="54" y="18"/>
                </a:lnTo>
                <a:lnTo>
                  <a:pt x="54" y="18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8"/>
                </a:lnTo>
                <a:lnTo>
                  <a:pt x="60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72" y="24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2" y="12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84" y="0"/>
                </a:lnTo>
                <a:lnTo>
                  <a:pt x="84" y="0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6" y="6"/>
                </a:lnTo>
                <a:lnTo>
                  <a:pt x="96" y="6"/>
                </a:lnTo>
                <a:lnTo>
                  <a:pt x="90" y="6"/>
                </a:lnTo>
                <a:lnTo>
                  <a:pt x="90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96" y="24"/>
                </a:lnTo>
                <a:lnTo>
                  <a:pt x="96" y="24"/>
                </a:lnTo>
                <a:lnTo>
                  <a:pt x="96" y="30"/>
                </a:lnTo>
                <a:lnTo>
                  <a:pt x="96" y="30"/>
                </a:lnTo>
                <a:lnTo>
                  <a:pt x="90" y="36"/>
                </a:lnTo>
                <a:lnTo>
                  <a:pt x="84" y="42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66" y="60"/>
                </a:lnTo>
                <a:lnTo>
                  <a:pt x="66" y="60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48" y="72"/>
                </a:lnTo>
                <a:lnTo>
                  <a:pt x="48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36" y="72"/>
                </a:lnTo>
                <a:lnTo>
                  <a:pt x="30" y="72"/>
                </a:lnTo>
                <a:lnTo>
                  <a:pt x="36" y="66"/>
                </a:lnTo>
                <a:lnTo>
                  <a:pt x="36" y="66"/>
                </a:lnTo>
                <a:lnTo>
                  <a:pt x="30" y="60"/>
                </a:lnTo>
                <a:lnTo>
                  <a:pt x="24" y="66"/>
                </a:lnTo>
                <a:lnTo>
                  <a:pt x="30" y="66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2" y="78"/>
                </a:lnTo>
                <a:lnTo>
                  <a:pt x="12" y="78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6" y="84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0" y="9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09" name="Freeform 242"/>
          <p:cNvSpPr>
            <a:spLocks/>
          </p:cNvSpPr>
          <p:nvPr/>
        </p:nvSpPr>
        <p:spPr bwMode="auto">
          <a:xfrm>
            <a:off x="7564924" y="2291289"/>
            <a:ext cx="642405" cy="327629"/>
          </a:xfrm>
          <a:custGeom>
            <a:avLst/>
            <a:gdLst>
              <a:gd name="T0" fmla="*/ 12 w 600"/>
              <a:gd name="T1" fmla="*/ 204 h 306"/>
              <a:gd name="T2" fmla="*/ 24 w 600"/>
              <a:gd name="T3" fmla="*/ 186 h 306"/>
              <a:gd name="T4" fmla="*/ 30 w 600"/>
              <a:gd name="T5" fmla="*/ 168 h 306"/>
              <a:gd name="T6" fmla="*/ 12 w 600"/>
              <a:gd name="T7" fmla="*/ 150 h 306"/>
              <a:gd name="T8" fmla="*/ 12 w 600"/>
              <a:gd name="T9" fmla="*/ 120 h 306"/>
              <a:gd name="T10" fmla="*/ 42 w 600"/>
              <a:gd name="T11" fmla="*/ 102 h 306"/>
              <a:gd name="T12" fmla="*/ 72 w 600"/>
              <a:gd name="T13" fmla="*/ 108 h 306"/>
              <a:gd name="T14" fmla="*/ 90 w 600"/>
              <a:gd name="T15" fmla="*/ 114 h 306"/>
              <a:gd name="T16" fmla="*/ 102 w 600"/>
              <a:gd name="T17" fmla="*/ 114 h 306"/>
              <a:gd name="T18" fmla="*/ 114 w 600"/>
              <a:gd name="T19" fmla="*/ 114 h 306"/>
              <a:gd name="T20" fmla="*/ 120 w 600"/>
              <a:gd name="T21" fmla="*/ 132 h 306"/>
              <a:gd name="T22" fmla="*/ 138 w 600"/>
              <a:gd name="T23" fmla="*/ 138 h 306"/>
              <a:gd name="T24" fmla="*/ 150 w 600"/>
              <a:gd name="T25" fmla="*/ 132 h 306"/>
              <a:gd name="T26" fmla="*/ 174 w 600"/>
              <a:gd name="T27" fmla="*/ 126 h 306"/>
              <a:gd name="T28" fmla="*/ 192 w 600"/>
              <a:gd name="T29" fmla="*/ 114 h 306"/>
              <a:gd name="T30" fmla="*/ 216 w 600"/>
              <a:gd name="T31" fmla="*/ 102 h 306"/>
              <a:gd name="T32" fmla="*/ 240 w 600"/>
              <a:gd name="T33" fmla="*/ 96 h 306"/>
              <a:gd name="T34" fmla="*/ 264 w 600"/>
              <a:gd name="T35" fmla="*/ 90 h 306"/>
              <a:gd name="T36" fmla="*/ 282 w 600"/>
              <a:gd name="T37" fmla="*/ 66 h 306"/>
              <a:gd name="T38" fmla="*/ 300 w 600"/>
              <a:gd name="T39" fmla="*/ 54 h 306"/>
              <a:gd name="T40" fmla="*/ 312 w 600"/>
              <a:gd name="T41" fmla="*/ 42 h 306"/>
              <a:gd name="T42" fmla="*/ 330 w 600"/>
              <a:gd name="T43" fmla="*/ 24 h 306"/>
              <a:gd name="T44" fmla="*/ 354 w 600"/>
              <a:gd name="T45" fmla="*/ 24 h 306"/>
              <a:gd name="T46" fmla="*/ 360 w 600"/>
              <a:gd name="T47" fmla="*/ 30 h 306"/>
              <a:gd name="T48" fmla="*/ 372 w 600"/>
              <a:gd name="T49" fmla="*/ 42 h 306"/>
              <a:gd name="T50" fmla="*/ 390 w 600"/>
              <a:gd name="T51" fmla="*/ 42 h 306"/>
              <a:gd name="T52" fmla="*/ 396 w 600"/>
              <a:gd name="T53" fmla="*/ 66 h 306"/>
              <a:gd name="T54" fmla="*/ 408 w 600"/>
              <a:gd name="T55" fmla="*/ 78 h 306"/>
              <a:gd name="T56" fmla="*/ 414 w 600"/>
              <a:gd name="T57" fmla="*/ 90 h 306"/>
              <a:gd name="T58" fmla="*/ 414 w 600"/>
              <a:gd name="T59" fmla="*/ 102 h 306"/>
              <a:gd name="T60" fmla="*/ 408 w 600"/>
              <a:gd name="T61" fmla="*/ 114 h 306"/>
              <a:gd name="T62" fmla="*/ 432 w 600"/>
              <a:gd name="T63" fmla="*/ 120 h 306"/>
              <a:gd name="T64" fmla="*/ 444 w 600"/>
              <a:gd name="T65" fmla="*/ 114 h 306"/>
              <a:gd name="T66" fmla="*/ 462 w 600"/>
              <a:gd name="T67" fmla="*/ 96 h 306"/>
              <a:gd name="T68" fmla="*/ 480 w 600"/>
              <a:gd name="T69" fmla="*/ 72 h 306"/>
              <a:gd name="T70" fmla="*/ 510 w 600"/>
              <a:gd name="T71" fmla="*/ 66 h 306"/>
              <a:gd name="T72" fmla="*/ 522 w 600"/>
              <a:gd name="T73" fmla="*/ 36 h 306"/>
              <a:gd name="T74" fmla="*/ 546 w 600"/>
              <a:gd name="T75" fmla="*/ 30 h 306"/>
              <a:gd name="T76" fmla="*/ 570 w 600"/>
              <a:gd name="T77" fmla="*/ 12 h 306"/>
              <a:gd name="T78" fmla="*/ 588 w 600"/>
              <a:gd name="T79" fmla="*/ 0 h 306"/>
              <a:gd name="T80" fmla="*/ 588 w 600"/>
              <a:gd name="T81" fmla="*/ 96 h 306"/>
              <a:gd name="T82" fmla="*/ 600 w 600"/>
              <a:gd name="T83" fmla="*/ 108 h 306"/>
              <a:gd name="T84" fmla="*/ 492 w 600"/>
              <a:gd name="T85" fmla="*/ 168 h 306"/>
              <a:gd name="T86" fmla="*/ 366 w 600"/>
              <a:gd name="T87" fmla="*/ 180 h 306"/>
              <a:gd name="T88" fmla="*/ 372 w 600"/>
              <a:gd name="T89" fmla="*/ 198 h 306"/>
              <a:gd name="T90" fmla="*/ 354 w 600"/>
              <a:gd name="T91" fmla="*/ 210 h 306"/>
              <a:gd name="T92" fmla="*/ 354 w 600"/>
              <a:gd name="T93" fmla="*/ 222 h 306"/>
              <a:gd name="T94" fmla="*/ 336 w 600"/>
              <a:gd name="T95" fmla="*/ 234 h 306"/>
              <a:gd name="T96" fmla="*/ 324 w 600"/>
              <a:gd name="T97" fmla="*/ 246 h 306"/>
              <a:gd name="T98" fmla="*/ 324 w 600"/>
              <a:gd name="T99" fmla="*/ 258 h 306"/>
              <a:gd name="T100" fmla="*/ 312 w 600"/>
              <a:gd name="T101" fmla="*/ 276 h 306"/>
              <a:gd name="T102" fmla="*/ 318 w 600"/>
              <a:gd name="T103" fmla="*/ 294 h 306"/>
              <a:gd name="T104" fmla="*/ 288 w 600"/>
              <a:gd name="T105" fmla="*/ 294 h 306"/>
              <a:gd name="T106" fmla="*/ 252 w 600"/>
              <a:gd name="T107" fmla="*/ 282 h 306"/>
              <a:gd name="T108" fmla="*/ 246 w 600"/>
              <a:gd name="T109" fmla="*/ 276 h 306"/>
              <a:gd name="T110" fmla="*/ 234 w 600"/>
              <a:gd name="T111" fmla="*/ 258 h 306"/>
              <a:gd name="T112" fmla="*/ 234 w 600"/>
              <a:gd name="T113" fmla="*/ 240 h 306"/>
              <a:gd name="T114" fmla="*/ 222 w 600"/>
              <a:gd name="T115" fmla="*/ 228 h 306"/>
              <a:gd name="T116" fmla="*/ 180 w 600"/>
              <a:gd name="T117" fmla="*/ 246 h 306"/>
              <a:gd name="T118" fmla="*/ 54 w 600"/>
              <a:gd name="T119" fmla="*/ 222 h 306"/>
              <a:gd name="T120" fmla="*/ 36 w 600"/>
              <a:gd name="T121" fmla="*/ 234 h 3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00" h="306">
                <a:moveTo>
                  <a:pt x="0" y="234"/>
                </a:moveTo>
                <a:lnTo>
                  <a:pt x="0" y="234"/>
                </a:lnTo>
                <a:lnTo>
                  <a:pt x="6" y="234"/>
                </a:lnTo>
                <a:lnTo>
                  <a:pt x="6" y="234"/>
                </a:lnTo>
                <a:lnTo>
                  <a:pt x="6" y="228"/>
                </a:lnTo>
                <a:lnTo>
                  <a:pt x="6" y="228"/>
                </a:lnTo>
                <a:lnTo>
                  <a:pt x="6" y="228"/>
                </a:lnTo>
                <a:lnTo>
                  <a:pt x="6" y="222"/>
                </a:lnTo>
                <a:lnTo>
                  <a:pt x="6" y="222"/>
                </a:lnTo>
                <a:lnTo>
                  <a:pt x="12" y="222"/>
                </a:lnTo>
                <a:lnTo>
                  <a:pt x="12" y="216"/>
                </a:lnTo>
                <a:lnTo>
                  <a:pt x="12" y="210"/>
                </a:lnTo>
                <a:lnTo>
                  <a:pt x="12" y="204"/>
                </a:lnTo>
                <a:lnTo>
                  <a:pt x="12" y="204"/>
                </a:lnTo>
                <a:lnTo>
                  <a:pt x="18" y="204"/>
                </a:lnTo>
                <a:lnTo>
                  <a:pt x="18" y="204"/>
                </a:lnTo>
                <a:lnTo>
                  <a:pt x="18" y="204"/>
                </a:lnTo>
                <a:lnTo>
                  <a:pt x="24" y="204"/>
                </a:lnTo>
                <a:lnTo>
                  <a:pt x="24" y="198"/>
                </a:lnTo>
                <a:lnTo>
                  <a:pt x="24" y="198"/>
                </a:lnTo>
                <a:lnTo>
                  <a:pt x="30" y="198"/>
                </a:lnTo>
                <a:lnTo>
                  <a:pt x="30" y="192"/>
                </a:lnTo>
                <a:lnTo>
                  <a:pt x="30" y="192"/>
                </a:lnTo>
                <a:lnTo>
                  <a:pt x="30" y="192"/>
                </a:lnTo>
                <a:lnTo>
                  <a:pt x="24" y="192"/>
                </a:lnTo>
                <a:lnTo>
                  <a:pt x="24" y="186"/>
                </a:lnTo>
                <a:lnTo>
                  <a:pt x="24" y="186"/>
                </a:lnTo>
                <a:lnTo>
                  <a:pt x="24" y="180"/>
                </a:lnTo>
                <a:lnTo>
                  <a:pt x="24" y="180"/>
                </a:lnTo>
                <a:lnTo>
                  <a:pt x="24" y="180"/>
                </a:lnTo>
                <a:lnTo>
                  <a:pt x="24" y="180"/>
                </a:lnTo>
                <a:lnTo>
                  <a:pt x="24" y="180"/>
                </a:lnTo>
                <a:lnTo>
                  <a:pt x="24" y="180"/>
                </a:lnTo>
                <a:lnTo>
                  <a:pt x="24" y="180"/>
                </a:lnTo>
                <a:lnTo>
                  <a:pt x="24" y="180"/>
                </a:lnTo>
                <a:lnTo>
                  <a:pt x="30" y="174"/>
                </a:lnTo>
                <a:lnTo>
                  <a:pt x="30" y="174"/>
                </a:lnTo>
                <a:lnTo>
                  <a:pt x="30" y="174"/>
                </a:lnTo>
                <a:lnTo>
                  <a:pt x="30" y="168"/>
                </a:lnTo>
                <a:lnTo>
                  <a:pt x="30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18" y="162"/>
                </a:lnTo>
                <a:lnTo>
                  <a:pt x="18" y="162"/>
                </a:lnTo>
                <a:lnTo>
                  <a:pt x="12" y="162"/>
                </a:lnTo>
                <a:lnTo>
                  <a:pt x="12" y="162"/>
                </a:lnTo>
                <a:lnTo>
                  <a:pt x="12" y="156"/>
                </a:lnTo>
                <a:lnTo>
                  <a:pt x="12" y="156"/>
                </a:lnTo>
                <a:lnTo>
                  <a:pt x="12" y="156"/>
                </a:lnTo>
                <a:lnTo>
                  <a:pt x="12" y="150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38"/>
                </a:lnTo>
                <a:lnTo>
                  <a:pt x="6" y="132"/>
                </a:lnTo>
                <a:lnTo>
                  <a:pt x="6" y="132"/>
                </a:lnTo>
                <a:lnTo>
                  <a:pt x="6" y="126"/>
                </a:lnTo>
                <a:lnTo>
                  <a:pt x="12" y="126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8" y="120"/>
                </a:lnTo>
                <a:lnTo>
                  <a:pt x="24" y="114"/>
                </a:lnTo>
                <a:lnTo>
                  <a:pt x="30" y="114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8" y="102"/>
                </a:lnTo>
                <a:lnTo>
                  <a:pt x="48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60" y="96"/>
                </a:lnTo>
                <a:lnTo>
                  <a:pt x="60" y="96"/>
                </a:lnTo>
                <a:lnTo>
                  <a:pt x="60" y="102"/>
                </a:lnTo>
                <a:lnTo>
                  <a:pt x="66" y="102"/>
                </a:lnTo>
                <a:lnTo>
                  <a:pt x="66" y="108"/>
                </a:lnTo>
                <a:lnTo>
                  <a:pt x="66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6" y="108"/>
                </a:lnTo>
                <a:lnTo>
                  <a:pt x="96" y="108"/>
                </a:lnTo>
                <a:lnTo>
                  <a:pt x="96" y="114"/>
                </a:lnTo>
                <a:lnTo>
                  <a:pt x="96" y="114"/>
                </a:lnTo>
                <a:lnTo>
                  <a:pt x="96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14"/>
                </a:lnTo>
                <a:lnTo>
                  <a:pt x="102" y="108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20" y="114"/>
                </a:lnTo>
                <a:lnTo>
                  <a:pt x="120" y="114"/>
                </a:lnTo>
                <a:lnTo>
                  <a:pt x="120" y="114"/>
                </a:lnTo>
                <a:lnTo>
                  <a:pt x="120" y="120"/>
                </a:lnTo>
                <a:lnTo>
                  <a:pt x="120" y="120"/>
                </a:lnTo>
                <a:lnTo>
                  <a:pt x="120" y="120"/>
                </a:lnTo>
                <a:lnTo>
                  <a:pt x="120" y="120"/>
                </a:lnTo>
                <a:lnTo>
                  <a:pt x="120" y="120"/>
                </a:lnTo>
                <a:lnTo>
                  <a:pt x="120" y="126"/>
                </a:lnTo>
                <a:lnTo>
                  <a:pt x="120" y="126"/>
                </a:lnTo>
                <a:lnTo>
                  <a:pt x="120" y="132"/>
                </a:lnTo>
                <a:lnTo>
                  <a:pt x="126" y="132"/>
                </a:lnTo>
                <a:lnTo>
                  <a:pt x="126" y="132"/>
                </a:lnTo>
                <a:lnTo>
                  <a:pt x="126" y="132"/>
                </a:lnTo>
                <a:lnTo>
                  <a:pt x="126" y="132"/>
                </a:lnTo>
                <a:lnTo>
                  <a:pt x="132" y="132"/>
                </a:lnTo>
                <a:lnTo>
                  <a:pt x="132" y="138"/>
                </a:lnTo>
                <a:lnTo>
                  <a:pt x="132" y="138"/>
                </a:lnTo>
                <a:lnTo>
                  <a:pt x="132" y="132"/>
                </a:lnTo>
                <a:lnTo>
                  <a:pt x="132" y="132"/>
                </a:lnTo>
                <a:lnTo>
                  <a:pt x="132" y="132"/>
                </a:lnTo>
                <a:lnTo>
                  <a:pt x="138" y="132"/>
                </a:lnTo>
                <a:lnTo>
                  <a:pt x="138" y="132"/>
                </a:lnTo>
                <a:lnTo>
                  <a:pt x="138" y="138"/>
                </a:lnTo>
                <a:lnTo>
                  <a:pt x="138" y="138"/>
                </a:lnTo>
                <a:lnTo>
                  <a:pt x="138" y="144"/>
                </a:lnTo>
                <a:lnTo>
                  <a:pt x="138" y="144"/>
                </a:lnTo>
                <a:lnTo>
                  <a:pt x="144" y="144"/>
                </a:lnTo>
                <a:lnTo>
                  <a:pt x="144" y="138"/>
                </a:lnTo>
                <a:lnTo>
                  <a:pt x="144" y="138"/>
                </a:lnTo>
                <a:lnTo>
                  <a:pt x="150" y="138"/>
                </a:lnTo>
                <a:lnTo>
                  <a:pt x="150" y="138"/>
                </a:lnTo>
                <a:lnTo>
                  <a:pt x="150" y="132"/>
                </a:lnTo>
                <a:lnTo>
                  <a:pt x="150" y="132"/>
                </a:lnTo>
                <a:lnTo>
                  <a:pt x="150" y="132"/>
                </a:lnTo>
                <a:lnTo>
                  <a:pt x="150" y="132"/>
                </a:lnTo>
                <a:lnTo>
                  <a:pt x="150" y="132"/>
                </a:lnTo>
                <a:lnTo>
                  <a:pt x="156" y="132"/>
                </a:lnTo>
                <a:lnTo>
                  <a:pt x="156" y="132"/>
                </a:lnTo>
                <a:lnTo>
                  <a:pt x="156" y="132"/>
                </a:lnTo>
                <a:lnTo>
                  <a:pt x="156" y="132"/>
                </a:lnTo>
                <a:lnTo>
                  <a:pt x="162" y="132"/>
                </a:lnTo>
                <a:lnTo>
                  <a:pt x="162" y="132"/>
                </a:lnTo>
                <a:lnTo>
                  <a:pt x="162" y="132"/>
                </a:lnTo>
                <a:lnTo>
                  <a:pt x="162" y="132"/>
                </a:lnTo>
                <a:lnTo>
                  <a:pt x="168" y="126"/>
                </a:lnTo>
                <a:lnTo>
                  <a:pt x="168" y="126"/>
                </a:lnTo>
                <a:lnTo>
                  <a:pt x="168" y="126"/>
                </a:lnTo>
                <a:lnTo>
                  <a:pt x="168" y="126"/>
                </a:lnTo>
                <a:lnTo>
                  <a:pt x="174" y="126"/>
                </a:lnTo>
                <a:lnTo>
                  <a:pt x="180" y="126"/>
                </a:lnTo>
                <a:lnTo>
                  <a:pt x="180" y="126"/>
                </a:lnTo>
                <a:lnTo>
                  <a:pt x="180" y="126"/>
                </a:lnTo>
                <a:lnTo>
                  <a:pt x="180" y="120"/>
                </a:lnTo>
                <a:lnTo>
                  <a:pt x="180" y="120"/>
                </a:lnTo>
                <a:lnTo>
                  <a:pt x="180" y="120"/>
                </a:lnTo>
                <a:lnTo>
                  <a:pt x="186" y="120"/>
                </a:lnTo>
                <a:lnTo>
                  <a:pt x="186" y="120"/>
                </a:lnTo>
                <a:lnTo>
                  <a:pt x="186" y="120"/>
                </a:lnTo>
                <a:lnTo>
                  <a:pt x="186" y="120"/>
                </a:lnTo>
                <a:lnTo>
                  <a:pt x="192" y="120"/>
                </a:lnTo>
                <a:lnTo>
                  <a:pt x="192" y="114"/>
                </a:lnTo>
                <a:lnTo>
                  <a:pt x="192" y="114"/>
                </a:lnTo>
                <a:lnTo>
                  <a:pt x="192" y="114"/>
                </a:lnTo>
                <a:lnTo>
                  <a:pt x="198" y="114"/>
                </a:lnTo>
                <a:lnTo>
                  <a:pt x="198" y="114"/>
                </a:lnTo>
                <a:lnTo>
                  <a:pt x="198" y="108"/>
                </a:lnTo>
                <a:lnTo>
                  <a:pt x="198" y="108"/>
                </a:lnTo>
                <a:lnTo>
                  <a:pt x="204" y="108"/>
                </a:lnTo>
                <a:lnTo>
                  <a:pt x="204" y="102"/>
                </a:lnTo>
                <a:lnTo>
                  <a:pt x="204" y="102"/>
                </a:lnTo>
                <a:lnTo>
                  <a:pt x="204" y="102"/>
                </a:lnTo>
                <a:lnTo>
                  <a:pt x="210" y="102"/>
                </a:lnTo>
                <a:lnTo>
                  <a:pt x="210" y="102"/>
                </a:lnTo>
                <a:lnTo>
                  <a:pt x="210" y="102"/>
                </a:lnTo>
                <a:lnTo>
                  <a:pt x="216" y="102"/>
                </a:lnTo>
                <a:lnTo>
                  <a:pt x="216" y="96"/>
                </a:lnTo>
                <a:lnTo>
                  <a:pt x="216" y="96"/>
                </a:lnTo>
                <a:lnTo>
                  <a:pt x="216" y="96"/>
                </a:lnTo>
                <a:lnTo>
                  <a:pt x="216" y="102"/>
                </a:lnTo>
                <a:lnTo>
                  <a:pt x="222" y="102"/>
                </a:lnTo>
                <a:lnTo>
                  <a:pt x="222" y="96"/>
                </a:lnTo>
                <a:lnTo>
                  <a:pt x="228" y="96"/>
                </a:lnTo>
                <a:lnTo>
                  <a:pt x="228" y="96"/>
                </a:lnTo>
                <a:lnTo>
                  <a:pt x="234" y="96"/>
                </a:lnTo>
                <a:lnTo>
                  <a:pt x="234" y="96"/>
                </a:lnTo>
                <a:lnTo>
                  <a:pt x="234" y="96"/>
                </a:lnTo>
                <a:lnTo>
                  <a:pt x="240" y="96"/>
                </a:lnTo>
                <a:lnTo>
                  <a:pt x="240" y="96"/>
                </a:lnTo>
                <a:lnTo>
                  <a:pt x="240" y="96"/>
                </a:lnTo>
                <a:lnTo>
                  <a:pt x="240" y="96"/>
                </a:lnTo>
                <a:lnTo>
                  <a:pt x="246" y="96"/>
                </a:lnTo>
                <a:lnTo>
                  <a:pt x="246" y="96"/>
                </a:lnTo>
                <a:lnTo>
                  <a:pt x="252" y="96"/>
                </a:lnTo>
                <a:lnTo>
                  <a:pt x="252" y="96"/>
                </a:lnTo>
                <a:lnTo>
                  <a:pt x="252" y="96"/>
                </a:lnTo>
                <a:lnTo>
                  <a:pt x="252" y="96"/>
                </a:lnTo>
                <a:lnTo>
                  <a:pt x="258" y="96"/>
                </a:lnTo>
                <a:lnTo>
                  <a:pt x="258" y="96"/>
                </a:lnTo>
                <a:lnTo>
                  <a:pt x="258" y="96"/>
                </a:lnTo>
                <a:lnTo>
                  <a:pt x="258" y="96"/>
                </a:lnTo>
                <a:lnTo>
                  <a:pt x="264" y="90"/>
                </a:lnTo>
                <a:lnTo>
                  <a:pt x="264" y="90"/>
                </a:lnTo>
                <a:lnTo>
                  <a:pt x="264" y="96"/>
                </a:lnTo>
                <a:lnTo>
                  <a:pt x="264" y="96"/>
                </a:lnTo>
                <a:lnTo>
                  <a:pt x="270" y="84"/>
                </a:lnTo>
                <a:lnTo>
                  <a:pt x="270" y="84"/>
                </a:lnTo>
                <a:lnTo>
                  <a:pt x="270" y="78"/>
                </a:lnTo>
                <a:lnTo>
                  <a:pt x="276" y="78"/>
                </a:lnTo>
                <a:lnTo>
                  <a:pt x="276" y="78"/>
                </a:lnTo>
                <a:lnTo>
                  <a:pt x="276" y="78"/>
                </a:lnTo>
                <a:lnTo>
                  <a:pt x="282" y="72"/>
                </a:lnTo>
                <a:lnTo>
                  <a:pt x="282" y="72"/>
                </a:lnTo>
                <a:lnTo>
                  <a:pt x="282" y="66"/>
                </a:lnTo>
                <a:lnTo>
                  <a:pt x="282" y="66"/>
                </a:lnTo>
                <a:lnTo>
                  <a:pt x="282" y="66"/>
                </a:lnTo>
                <a:lnTo>
                  <a:pt x="288" y="66"/>
                </a:lnTo>
                <a:lnTo>
                  <a:pt x="288" y="60"/>
                </a:lnTo>
                <a:lnTo>
                  <a:pt x="288" y="60"/>
                </a:lnTo>
                <a:lnTo>
                  <a:pt x="294" y="60"/>
                </a:lnTo>
                <a:lnTo>
                  <a:pt x="294" y="60"/>
                </a:lnTo>
                <a:lnTo>
                  <a:pt x="294" y="60"/>
                </a:lnTo>
                <a:lnTo>
                  <a:pt x="294" y="60"/>
                </a:lnTo>
                <a:lnTo>
                  <a:pt x="294" y="54"/>
                </a:lnTo>
                <a:lnTo>
                  <a:pt x="300" y="54"/>
                </a:lnTo>
                <a:lnTo>
                  <a:pt x="300" y="54"/>
                </a:lnTo>
                <a:lnTo>
                  <a:pt x="300" y="54"/>
                </a:lnTo>
                <a:lnTo>
                  <a:pt x="300" y="54"/>
                </a:lnTo>
                <a:lnTo>
                  <a:pt x="300" y="60"/>
                </a:lnTo>
                <a:lnTo>
                  <a:pt x="300" y="60"/>
                </a:lnTo>
                <a:lnTo>
                  <a:pt x="306" y="54"/>
                </a:lnTo>
                <a:lnTo>
                  <a:pt x="306" y="54"/>
                </a:lnTo>
                <a:lnTo>
                  <a:pt x="306" y="54"/>
                </a:lnTo>
                <a:lnTo>
                  <a:pt x="306" y="48"/>
                </a:lnTo>
                <a:lnTo>
                  <a:pt x="306" y="48"/>
                </a:lnTo>
                <a:lnTo>
                  <a:pt x="312" y="48"/>
                </a:lnTo>
                <a:lnTo>
                  <a:pt x="306" y="48"/>
                </a:lnTo>
                <a:lnTo>
                  <a:pt x="312" y="42"/>
                </a:lnTo>
                <a:lnTo>
                  <a:pt x="312" y="42"/>
                </a:lnTo>
                <a:lnTo>
                  <a:pt x="312" y="42"/>
                </a:lnTo>
                <a:lnTo>
                  <a:pt x="312" y="42"/>
                </a:lnTo>
                <a:lnTo>
                  <a:pt x="312" y="42"/>
                </a:lnTo>
                <a:lnTo>
                  <a:pt x="318" y="42"/>
                </a:lnTo>
                <a:lnTo>
                  <a:pt x="318" y="36"/>
                </a:lnTo>
                <a:lnTo>
                  <a:pt x="318" y="36"/>
                </a:lnTo>
                <a:lnTo>
                  <a:pt x="324" y="30"/>
                </a:lnTo>
                <a:lnTo>
                  <a:pt x="324" y="30"/>
                </a:lnTo>
                <a:lnTo>
                  <a:pt x="324" y="24"/>
                </a:lnTo>
                <a:lnTo>
                  <a:pt x="324" y="24"/>
                </a:lnTo>
                <a:lnTo>
                  <a:pt x="324" y="24"/>
                </a:lnTo>
                <a:lnTo>
                  <a:pt x="324" y="24"/>
                </a:lnTo>
                <a:lnTo>
                  <a:pt x="330" y="24"/>
                </a:lnTo>
                <a:lnTo>
                  <a:pt x="330" y="24"/>
                </a:lnTo>
                <a:lnTo>
                  <a:pt x="330" y="24"/>
                </a:lnTo>
                <a:lnTo>
                  <a:pt x="336" y="24"/>
                </a:lnTo>
                <a:lnTo>
                  <a:pt x="336" y="30"/>
                </a:lnTo>
                <a:lnTo>
                  <a:pt x="336" y="30"/>
                </a:lnTo>
                <a:lnTo>
                  <a:pt x="342" y="24"/>
                </a:lnTo>
                <a:lnTo>
                  <a:pt x="342" y="24"/>
                </a:lnTo>
                <a:lnTo>
                  <a:pt x="342" y="24"/>
                </a:lnTo>
                <a:lnTo>
                  <a:pt x="342" y="24"/>
                </a:lnTo>
                <a:lnTo>
                  <a:pt x="348" y="24"/>
                </a:lnTo>
                <a:lnTo>
                  <a:pt x="348" y="24"/>
                </a:lnTo>
                <a:lnTo>
                  <a:pt x="348" y="24"/>
                </a:lnTo>
                <a:lnTo>
                  <a:pt x="348" y="24"/>
                </a:lnTo>
                <a:lnTo>
                  <a:pt x="348" y="24"/>
                </a:lnTo>
                <a:lnTo>
                  <a:pt x="354" y="24"/>
                </a:lnTo>
                <a:lnTo>
                  <a:pt x="354" y="24"/>
                </a:lnTo>
                <a:lnTo>
                  <a:pt x="354" y="24"/>
                </a:lnTo>
                <a:lnTo>
                  <a:pt x="354" y="24"/>
                </a:lnTo>
                <a:lnTo>
                  <a:pt x="360" y="24"/>
                </a:lnTo>
                <a:lnTo>
                  <a:pt x="360" y="24"/>
                </a:lnTo>
                <a:lnTo>
                  <a:pt x="360" y="24"/>
                </a:lnTo>
                <a:lnTo>
                  <a:pt x="360" y="24"/>
                </a:lnTo>
                <a:lnTo>
                  <a:pt x="360" y="24"/>
                </a:lnTo>
                <a:lnTo>
                  <a:pt x="360" y="24"/>
                </a:lnTo>
                <a:lnTo>
                  <a:pt x="360" y="30"/>
                </a:lnTo>
                <a:lnTo>
                  <a:pt x="360" y="30"/>
                </a:lnTo>
                <a:lnTo>
                  <a:pt x="360" y="30"/>
                </a:lnTo>
                <a:lnTo>
                  <a:pt x="360" y="30"/>
                </a:lnTo>
                <a:lnTo>
                  <a:pt x="360" y="30"/>
                </a:lnTo>
                <a:lnTo>
                  <a:pt x="360" y="30"/>
                </a:lnTo>
                <a:lnTo>
                  <a:pt x="360" y="36"/>
                </a:lnTo>
                <a:lnTo>
                  <a:pt x="366" y="36"/>
                </a:lnTo>
                <a:lnTo>
                  <a:pt x="366" y="36"/>
                </a:lnTo>
                <a:lnTo>
                  <a:pt x="366" y="36"/>
                </a:lnTo>
                <a:lnTo>
                  <a:pt x="366" y="36"/>
                </a:lnTo>
                <a:lnTo>
                  <a:pt x="366" y="36"/>
                </a:lnTo>
                <a:lnTo>
                  <a:pt x="372" y="36"/>
                </a:lnTo>
                <a:lnTo>
                  <a:pt x="372" y="36"/>
                </a:lnTo>
                <a:lnTo>
                  <a:pt x="372" y="36"/>
                </a:lnTo>
                <a:lnTo>
                  <a:pt x="372" y="42"/>
                </a:lnTo>
                <a:lnTo>
                  <a:pt x="372" y="42"/>
                </a:lnTo>
                <a:lnTo>
                  <a:pt x="378" y="42"/>
                </a:lnTo>
                <a:lnTo>
                  <a:pt x="378" y="42"/>
                </a:lnTo>
                <a:lnTo>
                  <a:pt x="378" y="36"/>
                </a:lnTo>
                <a:lnTo>
                  <a:pt x="378" y="42"/>
                </a:lnTo>
                <a:lnTo>
                  <a:pt x="378" y="42"/>
                </a:lnTo>
                <a:lnTo>
                  <a:pt x="378" y="42"/>
                </a:lnTo>
                <a:lnTo>
                  <a:pt x="378" y="42"/>
                </a:lnTo>
                <a:lnTo>
                  <a:pt x="384" y="42"/>
                </a:lnTo>
                <a:lnTo>
                  <a:pt x="384" y="42"/>
                </a:lnTo>
                <a:lnTo>
                  <a:pt x="384" y="42"/>
                </a:lnTo>
                <a:lnTo>
                  <a:pt x="390" y="42"/>
                </a:lnTo>
                <a:lnTo>
                  <a:pt x="390" y="42"/>
                </a:lnTo>
                <a:lnTo>
                  <a:pt x="390" y="42"/>
                </a:lnTo>
                <a:lnTo>
                  <a:pt x="390" y="42"/>
                </a:lnTo>
                <a:lnTo>
                  <a:pt x="390" y="48"/>
                </a:lnTo>
                <a:lnTo>
                  <a:pt x="390" y="48"/>
                </a:lnTo>
                <a:lnTo>
                  <a:pt x="390" y="48"/>
                </a:lnTo>
                <a:lnTo>
                  <a:pt x="390" y="54"/>
                </a:lnTo>
                <a:lnTo>
                  <a:pt x="396" y="54"/>
                </a:lnTo>
                <a:lnTo>
                  <a:pt x="396" y="54"/>
                </a:lnTo>
                <a:lnTo>
                  <a:pt x="396" y="60"/>
                </a:lnTo>
                <a:lnTo>
                  <a:pt x="396" y="60"/>
                </a:lnTo>
                <a:lnTo>
                  <a:pt x="396" y="60"/>
                </a:lnTo>
                <a:lnTo>
                  <a:pt x="396" y="66"/>
                </a:lnTo>
                <a:lnTo>
                  <a:pt x="396" y="66"/>
                </a:lnTo>
                <a:lnTo>
                  <a:pt x="396" y="66"/>
                </a:lnTo>
                <a:lnTo>
                  <a:pt x="396" y="66"/>
                </a:lnTo>
                <a:lnTo>
                  <a:pt x="396" y="72"/>
                </a:lnTo>
                <a:lnTo>
                  <a:pt x="396" y="72"/>
                </a:lnTo>
                <a:lnTo>
                  <a:pt x="396" y="72"/>
                </a:lnTo>
                <a:lnTo>
                  <a:pt x="402" y="72"/>
                </a:lnTo>
                <a:lnTo>
                  <a:pt x="402" y="72"/>
                </a:lnTo>
                <a:lnTo>
                  <a:pt x="402" y="72"/>
                </a:lnTo>
                <a:lnTo>
                  <a:pt x="402" y="78"/>
                </a:lnTo>
                <a:lnTo>
                  <a:pt x="402" y="72"/>
                </a:lnTo>
                <a:lnTo>
                  <a:pt x="402" y="72"/>
                </a:lnTo>
                <a:lnTo>
                  <a:pt x="408" y="78"/>
                </a:lnTo>
                <a:lnTo>
                  <a:pt x="408" y="78"/>
                </a:lnTo>
                <a:lnTo>
                  <a:pt x="408" y="78"/>
                </a:lnTo>
                <a:lnTo>
                  <a:pt x="408" y="78"/>
                </a:lnTo>
                <a:lnTo>
                  <a:pt x="408" y="78"/>
                </a:lnTo>
                <a:lnTo>
                  <a:pt x="414" y="78"/>
                </a:lnTo>
                <a:lnTo>
                  <a:pt x="414" y="78"/>
                </a:lnTo>
                <a:lnTo>
                  <a:pt x="414" y="78"/>
                </a:lnTo>
                <a:lnTo>
                  <a:pt x="414" y="78"/>
                </a:lnTo>
                <a:lnTo>
                  <a:pt x="420" y="84"/>
                </a:lnTo>
                <a:lnTo>
                  <a:pt x="420" y="84"/>
                </a:lnTo>
                <a:lnTo>
                  <a:pt x="420" y="84"/>
                </a:lnTo>
                <a:lnTo>
                  <a:pt x="420" y="84"/>
                </a:lnTo>
                <a:lnTo>
                  <a:pt x="420" y="84"/>
                </a:lnTo>
                <a:lnTo>
                  <a:pt x="414" y="90"/>
                </a:lnTo>
                <a:lnTo>
                  <a:pt x="414" y="90"/>
                </a:lnTo>
                <a:lnTo>
                  <a:pt x="414" y="90"/>
                </a:lnTo>
                <a:lnTo>
                  <a:pt x="414" y="90"/>
                </a:lnTo>
                <a:lnTo>
                  <a:pt x="414" y="96"/>
                </a:lnTo>
                <a:lnTo>
                  <a:pt x="414" y="96"/>
                </a:lnTo>
                <a:lnTo>
                  <a:pt x="414" y="96"/>
                </a:lnTo>
                <a:lnTo>
                  <a:pt x="414" y="96"/>
                </a:lnTo>
                <a:lnTo>
                  <a:pt x="414" y="96"/>
                </a:lnTo>
                <a:lnTo>
                  <a:pt x="414" y="96"/>
                </a:lnTo>
                <a:lnTo>
                  <a:pt x="414" y="96"/>
                </a:lnTo>
                <a:lnTo>
                  <a:pt x="414" y="96"/>
                </a:lnTo>
                <a:lnTo>
                  <a:pt x="414" y="102"/>
                </a:lnTo>
                <a:lnTo>
                  <a:pt x="414" y="102"/>
                </a:lnTo>
                <a:lnTo>
                  <a:pt x="414" y="102"/>
                </a:lnTo>
                <a:lnTo>
                  <a:pt x="408" y="102"/>
                </a:lnTo>
                <a:lnTo>
                  <a:pt x="408" y="102"/>
                </a:lnTo>
                <a:lnTo>
                  <a:pt x="408" y="102"/>
                </a:lnTo>
                <a:lnTo>
                  <a:pt x="408" y="102"/>
                </a:lnTo>
                <a:lnTo>
                  <a:pt x="408" y="108"/>
                </a:lnTo>
                <a:lnTo>
                  <a:pt x="408" y="108"/>
                </a:lnTo>
                <a:lnTo>
                  <a:pt x="408" y="108"/>
                </a:lnTo>
                <a:lnTo>
                  <a:pt x="408" y="108"/>
                </a:lnTo>
                <a:lnTo>
                  <a:pt x="408" y="114"/>
                </a:lnTo>
                <a:lnTo>
                  <a:pt x="408" y="114"/>
                </a:lnTo>
                <a:lnTo>
                  <a:pt x="408" y="114"/>
                </a:lnTo>
                <a:lnTo>
                  <a:pt x="408" y="114"/>
                </a:lnTo>
                <a:lnTo>
                  <a:pt x="408" y="114"/>
                </a:lnTo>
                <a:lnTo>
                  <a:pt x="408" y="120"/>
                </a:lnTo>
                <a:lnTo>
                  <a:pt x="408" y="120"/>
                </a:lnTo>
                <a:lnTo>
                  <a:pt x="402" y="120"/>
                </a:lnTo>
                <a:lnTo>
                  <a:pt x="408" y="120"/>
                </a:lnTo>
                <a:lnTo>
                  <a:pt x="414" y="120"/>
                </a:lnTo>
                <a:lnTo>
                  <a:pt x="414" y="120"/>
                </a:lnTo>
                <a:lnTo>
                  <a:pt x="414" y="120"/>
                </a:lnTo>
                <a:lnTo>
                  <a:pt x="420" y="126"/>
                </a:lnTo>
                <a:lnTo>
                  <a:pt x="426" y="126"/>
                </a:lnTo>
                <a:lnTo>
                  <a:pt x="426" y="120"/>
                </a:lnTo>
                <a:lnTo>
                  <a:pt x="432" y="120"/>
                </a:lnTo>
                <a:lnTo>
                  <a:pt x="432" y="120"/>
                </a:lnTo>
                <a:lnTo>
                  <a:pt x="432" y="120"/>
                </a:lnTo>
                <a:lnTo>
                  <a:pt x="432" y="120"/>
                </a:lnTo>
                <a:lnTo>
                  <a:pt x="432" y="120"/>
                </a:lnTo>
                <a:lnTo>
                  <a:pt x="432" y="120"/>
                </a:lnTo>
                <a:lnTo>
                  <a:pt x="432" y="120"/>
                </a:lnTo>
                <a:lnTo>
                  <a:pt x="438" y="114"/>
                </a:lnTo>
                <a:lnTo>
                  <a:pt x="438" y="114"/>
                </a:lnTo>
                <a:lnTo>
                  <a:pt x="438" y="114"/>
                </a:lnTo>
                <a:lnTo>
                  <a:pt x="438" y="114"/>
                </a:lnTo>
                <a:lnTo>
                  <a:pt x="438" y="114"/>
                </a:lnTo>
                <a:lnTo>
                  <a:pt x="438" y="114"/>
                </a:lnTo>
                <a:lnTo>
                  <a:pt x="438" y="114"/>
                </a:lnTo>
                <a:lnTo>
                  <a:pt x="444" y="114"/>
                </a:lnTo>
                <a:lnTo>
                  <a:pt x="444" y="114"/>
                </a:lnTo>
                <a:lnTo>
                  <a:pt x="444" y="114"/>
                </a:lnTo>
                <a:lnTo>
                  <a:pt x="444" y="114"/>
                </a:lnTo>
                <a:lnTo>
                  <a:pt x="450" y="108"/>
                </a:lnTo>
                <a:lnTo>
                  <a:pt x="450" y="108"/>
                </a:lnTo>
                <a:lnTo>
                  <a:pt x="450" y="108"/>
                </a:lnTo>
                <a:lnTo>
                  <a:pt x="456" y="108"/>
                </a:lnTo>
                <a:lnTo>
                  <a:pt x="456" y="108"/>
                </a:lnTo>
                <a:lnTo>
                  <a:pt x="456" y="108"/>
                </a:lnTo>
                <a:lnTo>
                  <a:pt x="462" y="108"/>
                </a:lnTo>
                <a:lnTo>
                  <a:pt x="462" y="102"/>
                </a:lnTo>
                <a:lnTo>
                  <a:pt x="462" y="102"/>
                </a:lnTo>
                <a:lnTo>
                  <a:pt x="462" y="102"/>
                </a:lnTo>
                <a:lnTo>
                  <a:pt x="462" y="96"/>
                </a:lnTo>
                <a:lnTo>
                  <a:pt x="468" y="96"/>
                </a:lnTo>
                <a:lnTo>
                  <a:pt x="468" y="90"/>
                </a:lnTo>
                <a:lnTo>
                  <a:pt x="468" y="84"/>
                </a:lnTo>
                <a:lnTo>
                  <a:pt x="468" y="84"/>
                </a:lnTo>
                <a:lnTo>
                  <a:pt x="468" y="78"/>
                </a:lnTo>
                <a:lnTo>
                  <a:pt x="468" y="72"/>
                </a:lnTo>
                <a:lnTo>
                  <a:pt x="474" y="72"/>
                </a:lnTo>
                <a:lnTo>
                  <a:pt x="474" y="72"/>
                </a:lnTo>
                <a:lnTo>
                  <a:pt x="474" y="66"/>
                </a:lnTo>
                <a:lnTo>
                  <a:pt x="474" y="66"/>
                </a:lnTo>
                <a:lnTo>
                  <a:pt x="480" y="72"/>
                </a:lnTo>
                <a:lnTo>
                  <a:pt x="480" y="72"/>
                </a:lnTo>
                <a:lnTo>
                  <a:pt x="480" y="72"/>
                </a:lnTo>
                <a:lnTo>
                  <a:pt x="480" y="72"/>
                </a:lnTo>
                <a:lnTo>
                  <a:pt x="480" y="72"/>
                </a:lnTo>
                <a:lnTo>
                  <a:pt x="486" y="78"/>
                </a:lnTo>
                <a:lnTo>
                  <a:pt x="486" y="78"/>
                </a:lnTo>
                <a:lnTo>
                  <a:pt x="486" y="78"/>
                </a:lnTo>
                <a:lnTo>
                  <a:pt x="492" y="72"/>
                </a:lnTo>
                <a:lnTo>
                  <a:pt x="498" y="72"/>
                </a:lnTo>
                <a:lnTo>
                  <a:pt x="498" y="72"/>
                </a:lnTo>
                <a:lnTo>
                  <a:pt x="498" y="72"/>
                </a:lnTo>
                <a:lnTo>
                  <a:pt x="504" y="72"/>
                </a:lnTo>
                <a:lnTo>
                  <a:pt x="504" y="72"/>
                </a:lnTo>
                <a:lnTo>
                  <a:pt x="510" y="66"/>
                </a:lnTo>
                <a:lnTo>
                  <a:pt x="510" y="66"/>
                </a:lnTo>
                <a:lnTo>
                  <a:pt x="516" y="60"/>
                </a:lnTo>
                <a:lnTo>
                  <a:pt x="516" y="60"/>
                </a:lnTo>
                <a:lnTo>
                  <a:pt x="516" y="60"/>
                </a:lnTo>
                <a:lnTo>
                  <a:pt x="522" y="60"/>
                </a:lnTo>
                <a:lnTo>
                  <a:pt x="522" y="54"/>
                </a:lnTo>
                <a:lnTo>
                  <a:pt x="522" y="48"/>
                </a:lnTo>
                <a:lnTo>
                  <a:pt x="516" y="42"/>
                </a:lnTo>
                <a:lnTo>
                  <a:pt x="516" y="42"/>
                </a:lnTo>
                <a:lnTo>
                  <a:pt x="516" y="42"/>
                </a:lnTo>
                <a:lnTo>
                  <a:pt x="516" y="42"/>
                </a:lnTo>
                <a:lnTo>
                  <a:pt x="522" y="42"/>
                </a:lnTo>
                <a:lnTo>
                  <a:pt x="522" y="42"/>
                </a:lnTo>
                <a:lnTo>
                  <a:pt x="522" y="36"/>
                </a:lnTo>
                <a:lnTo>
                  <a:pt x="528" y="36"/>
                </a:lnTo>
                <a:lnTo>
                  <a:pt x="534" y="36"/>
                </a:lnTo>
                <a:lnTo>
                  <a:pt x="534" y="36"/>
                </a:lnTo>
                <a:lnTo>
                  <a:pt x="540" y="36"/>
                </a:lnTo>
                <a:lnTo>
                  <a:pt x="546" y="36"/>
                </a:lnTo>
                <a:lnTo>
                  <a:pt x="546" y="36"/>
                </a:lnTo>
                <a:lnTo>
                  <a:pt x="546" y="36"/>
                </a:lnTo>
                <a:lnTo>
                  <a:pt x="546" y="36"/>
                </a:lnTo>
                <a:lnTo>
                  <a:pt x="546" y="36"/>
                </a:lnTo>
                <a:lnTo>
                  <a:pt x="546" y="30"/>
                </a:lnTo>
                <a:lnTo>
                  <a:pt x="546" y="30"/>
                </a:lnTo>
                <a:lnTo>
                  <a:pt x="546" y="30"/>
                </a:lnTo>
                <a:lnTo>
                  <a:pt x="546" y="30"/>
                </a:lnTo>
                <a:lnTo>
                  <a:pt x="546" y="24"/>
                </a:lnTo>
                <a:lnTo>
                  <a:pt x="546" y="18"/>
                </a:lnTo>
                <a:lnTo>
                  <a:pt x="546" y="18"/>
                </a:lnTo>
                <a:lnTo>
                  <a:pt x="552" y="18"/>
                </a:lnTo>
                <a:lnTo>
                  <a:pt x="552" y="18"/>
                </a:lnTo>
                <a:lnTo>
                  <a:pt x="552" y="18"/>
                </a:lnTo>
                <a:lnTo>
                  <a:pt x="552" y="18"/>
                </a:lnTo>
                <a:lnTo>
                  <a:pt x="558" y="18"/>
                </a:lnTo>
                <a:lnTo>
                  <a:pt x="564" y="12"/>
                </a:lnTo>
                <a:lnTo>
                  <a:pt x="564" y="12"/>
                </a:lnTo>
                <a:lnTo>
                  <a:pt x="564" y="12"/>
                </a:lnTo>
                <a:lnTo>
                  <a:pt x="564" y="12"/>
                </a:lnTo>
                <a:lnTo>
                  <a:pt x="570" y="12"/>
                </a:lnTo>
                <a:lnTo>
                  <a:pt x="570" y="12"/>
                </a:lnTo>
                <a:lnTo>
                  <a:pt x="576" y="6"/>
                </a:lnTo>
                <a:lnTo>
                  <a:pt x="576" y="6"/>
                </a:lnTo>
                <a:lnTo>
                  <a:pt x="576" y="6"/>
                </a:lnTo>
                <a:lnTo>
                  <a:pt x="576" y="6"/>
                </a:lnTo>
                <a:lnTo>
                  <a:pt x="576" y="6"/>
                </a:lnTo>
                <a:lnTo>
                  <a:pt x="582" y="6"/>
                </a:lnTo>
                <a:lnTo>
                  <a:pt x="582" y="0"/>
                </a:lnTo>
                <a:lnTo>
                  <a:pt x="582" y="0"/>
                </a:lnTo>
                <a:lnTo>
                  <a:pt x="588" y="0"/>
                </a:lnTo>
                <a:lnTo>
                  <a:pt x="588" y="0"/>
                </a:lnTo>
                <a:lnTo>
                  <a:pt x="588" y="0"/>
                </a:lnTo>
                <a:lnTo>
                  <a:pt x="588" y="0"/>
                </a:lnTo>
                <a:lnTo>
                  <a:pt x="588" y="0"/>
                </a:lnTo>
                <a:lnTo>
                  <a:pt x="588" y="6"/>
                </a:lnTo>
                <a:lnTo>
                  <a:pt x="582" y="12"/>
                </a:lnTo>
                <a:lnTo>
                  <a:pt x="570" y="30"/>
                </a:lnTo>
                <a:lnTo>
                  <a:pt x="564" y="48"/>
                </a:lnTo>
                <a:lnTo>
                  <a:pt x="570" y="60"/>
                </a:lnTo>
                <a:lnTo>
                  <a:pt x="588" y="84"/>
                </a:lnTo>
                <a:lnTo>
                  <a:pt x="588" y="84"/>
                </a:lnTo>
                <a:lnTo>
                  <a:pt x="588" y="84"/>
                </a:lnTo>
                <a:lnTo>
                  <a:pt x="588" y="84"/>
                </a:lnTo>
                <a:lnTo>
                  <a:pt x="588" y="90"/>
                </a:lnTo>
                <a:lnTo>
                  <a:pt x="588" y="90"/>
                </a:lnTo>
                <a:lnTo>
                  <a:pt x="588" y="96"/>
                </a:lnTo>
                <a:lnTo>
                  <a:pt x="588" y="96"/>
                </a:lnTo>
                <a:lnTo>
                  <a:pt x="588" y="96"/>
                </a:lnTo>
                <a:lnTo>
                  <a:pt x="588" y="96"/>
                </a:lnTo>
                <a:lnTo>
                  <a:pt x="588" y="102"/>
                </a:lnTo>
                <a:lnTo>
                  <a:pt x="588" y="102"/>
                </a:lnTo>
                <a:lnTo>
                  <a:pt x="588" y="102"/>
                </a:lnTo>
                <a:lnTo>
                  <a:pt x="588" y="102"/>
                </a:lnTo>
                <a:lnTo>
                  <a:pt x="588" y="102"/>
                </a:lnTo>
                <a:lnTo>
                  <a:pt x="594" y="108"/>
                </a:lnTo>
                <a:lnTo>
                  <a:pt x="594" y="108"/>
                </a:lnTo>
                <a:lnTo>
                  <a:pt x="594" y="108"/>
                </a:lnTo>
                <a:lnTo>
                  <a:pt x="594" y="108"/>
                </a:lnTo>
                <a:lnTo>
                  <a:pt x="600" y="108"/>
                </a:lnTo>
                <a:lnTo>
                  <a:pt x="600" y="114"/>
                </a:lnTo>
                <a:lnTo>
                  <a:pt x="600" y="114"/>
                </a:lnTo>
                <a:lnTo>
                  <a:pt x="600" y="114"/>
                </a:lnTo>
                <a:lnTo>
                  <a:pt x="600" y="120"/>
                </a:lnTo>
                <a:lnTo>
                  <a:pt x="600" y="120"/>
                </a:lnTo>
                <a:lnTo>
                  <a:pt x="600" y="120"/>
                </a:lnTo>
                <a:lnTo>
                  <a:pt x="600" y="120"/>
                </a:lnTo>
                <a:lnTo>
                  <a:pt x="594" y="138"/>
                </a:lnTo>
                <a:lnTo>
                  <a:pt x="564" y="150"/>
                </a:lnTo>
                <a:lnTo>
                  <a:pt x="552" y="156"/>
                </a:lnTo>
                <a:lnTo>
                  <a:pt x="534" y="186"/>
                </a:lnTo>
                <a:lnTo>
                  <a:pt x="516" y="168"/>
                </a:lnTo>
                <a:lnTo>
                  <a:pt x="492" y="168"/>
                </a:lnTo>
                <a:lnTo>
                  <a:pt x="492" y="174"/>
                </a:lnTo>
                <a:lnTo>
                  <a:pt x="480" y="174"/>
                </a:lnTo>
                <a:lnTo>
                  <a:pt x="468" y="180"/>
                </a:lnTo>
                <a:lnTo>
                  <a:pt x="462" y="180"/>
                </a:lnTo>
                <a:lnTo>
                  <a:pt x="426" y="174"/>
                </a:lnTo>
                <a:lnTo>
                  <a:pt x="420" y="174"/>
                </a:lnTo>
                <a:lnTo>
                  <a:pt x="408" y="168"/>
                </a:lnTo>
                <a:lnTo>
                  <a:pt x="402" y="168"/>
                </a:lnTo>
                <a:lnTo>
                  <a:pt x="402" y="174"/>
                </a:lnTo>
                <a:lnTo>
                  <a:pt x="402" y="174"/>
                </a:lnTo>
                <a:lnTo>
                  <a:pt x="396" y="174"/>
                </a:lnTo>
                <a:lnTo>
                  <a:pt x="366" y="180"/>
                </a:lnTo>
                <a:lnTo>
                  <a:pt x="366" y="180"/>
                </a:lnTo>
                <a:lnTo>
                  <a:pt x="366" y="186"/>
                </a:lnTo>
                <a:lnTo>
                  <a:pt x="366" y="186"/>
                </a:lnTo>
                <a:lnTo>
                  <a:pt x="366" y="186"/>
                </a:lnTo>
                <a:lnTo>
                  <a:pt x="372" y="186"/>
                </a:lnTo>
                <a:lnTo>
                  <a:pt x="372" y="192"/>
                </a:lnTo>
                <a:lnTo>
                  <a:pt x="372" y="192"/>
                </a:lnTo>
                <a:lnTo>
                  <a:pt x="372" y="192"/>
                </a:lnTo>
                <a:lnTo>
                  <a:pt x="372" y="192"/>
                </a:lnTo>
                <a:lnTo>
                  <a:pt x="372" y="192"/>
                </a:lnTo>
                <a:lnTo>
                  <a:pt x="372" y="192"/>
                </a:lnTo>
                <a:lnTo>
                  <a:pt x="372" y="198"/>
                </a:lnTo>
                <a:lnTo>
                  <a:pt x="372" y="198"/>
                </a:lnTo>
                <a:lnTo>
                  <a:pt x="372" y="198"/>
                </a:lnTo>
                <a:lnTo>
                  <a:pt x="372" y="198"/>
                </a:lnTo>
                <a:lnTo>
                  <a:pt x="366" y="198"/>
                </a:lnTo>
                <a:lnTo>
                  <a:pt x="366" y="198"/>
                </a:lnTo>
                <a:lnTo>
                  <a:pt x="366" y="204"/>
                </a:lnTo>
                <a:lnTo>
                  <a:pt x="360" y="204"/>
                </a:lnTo>
                <a:lnTo>
                  <a:pt x="360" y="204"/>
                </a:lnTo>
                <a:lnTo>
                  <a:pt x="360" y="210"/>
                </a:lnTo>
                <a:lnTo>
                  <a:pt x="360" y="210"/>
                </a:lnTo>
                <a:lnTo>
                  <a:pt x="360" y="210"/>
                </a:lnTo>
                <a:lnTo>
                  <a:pt x="360" y="210"/>
                </a:lnTo>
                <a:lnTo>
                  <a:pt x="360" y="210"/>
                </a:lnTo>
                <a:lnTo>
                  <a:pt x="360" y="210"/>
                </a:lnTo>
                <a:lnTo>
                  <a:pt x="354" y="210"/>
                </a:lnTo>
                <a:lnTo>
                  <a:pt x="354" y="216"/>
                </a:lnTo>
                <a:lnTo>
                  <a:pt x="354" y="216"/>
                </a:lnTo>
                <a:lnTo>
                  <a:pt x="354" y="216"/>
                </a:lnTo>
                <a:lnTo>
                  <a:pt x="354" y="216"/>
                </a:lnTo>
                <a:lnTo>
                  <a:pt x="354" y="216"/>
                </a:lnTo>
                <a:lnTo>
                  <a:pt x="354" y="222"/>
                </a:lnTo>
                <a:lnTo>
                  <a:pt x="354" y="222"/>
                </a:lnTo>
                <a:lnTo>
                  <a:pt x="354" y="222"/>
                </a:lnTo>
                <a:lnTo>
                  <a:pt x="354" y="222"/>
                </a:lnTo>
                <a:lnTo>
                  <a:pt x="354" y="222"/>
                </a:lnTo>
                <a:lnTo>
                  <a:pt x="354" y="222"/>
                </a:lnTo>
                <a:lnTo>
                  <a:pt x="354" y="222"/>
                </a:lnTo>
                <a:lnTo>
                  <a:pt x="354" y="222"/>
                </a:lnTo>
                <a:lnTo>
                  <a:pt x="348" y="228"/>
                </a:lnTo>
                <a:lnTo>
                  <a:pt x="348" y="228"/>
                </a:lnTo>
                <a:lnTo>
                  <a:pt x="348" y="228"/>
                </a:lnTo>
                <a:lnTo>
                  <a:pt x="348" y="228"/>
                </a:lnTo>
                <a:lnTo>
                  <a:pt x="342" y="234"/>
                </a:lnTo>
                <a:lnTo>
                  <a:pt x="342" y="234"/>
                </a:lnTo>
                <a:lnTo>
                  <a:pt x="342" y="234"/>
                </a:lnTo>
                <a:lnTo>
                  <a:pt x="342" y="234"/>
                </a:lnTo>
                <a:lnTo>
                  <a:pt x="342" y="234"/>
                </a:lnTo>
                <a:lnTo>
                  <a:pt x="336" y="234"/>
                </a:lnTo>
                <a:lnTo>
                  <a:pt x="336" y="234"/>
                </a:lnTo>
                <a:lnTo>
                  <a:pt x="336" y="240"/>
                </a:lnTo>
                <a:lnTo>
                  <a:pt x="336" y="234"/>
                </a:lnTo>
                <a:lnTo>
                  <a:pt x="336" y="240"/>
                </a:lnTo>
                <a:lnTo>
                  <a:pt x="330" y="240"/>
                </a:lnTo>
                <a:lnTo>
                  <a:pt x="330" y="240"/>
                </a:lnTo>
                <a:lnTo>
                  <a:pt x="330" y="240"/>
                </a:lnTo>
                <a:lnTo>
                  <a:pt x="330" y="240"/>
                </a:lnTo>
                <a:lnTo>
                  <a:pt x="330" y="240"/>
                </a:lnTo>
                <a:lnTo>
                  <a:pt x="330" y="240"/>
                </a:lnTo>
                <a:lnTo>
                  <a:pt x="330" y="240"/>
                </a:lnTo>
                <a:lnTo>
                  <a:pt x="330" y="240"/>
                </a:lnTo>
                <a:lnTo>
                  <a:pt x="330" y="246"/>
                </a:lnTo>
                <a:lnTo>
                  <a:pt x="324" y="246"/>
                </a:lnTo>
                <a:lnTo>
                  <a:pt x="324" y="246"/>
                </a:lnTo>
                <a:lnTo>
                  <a:pt x="324" y="246"/>
                </a:lnTo>
                <a:lnTo>
                  <a:pt x="318" y="246"/>
                </a:lnTo>
                <a:lnTo>
                  <a:pt x="318" y="252"/>
                </a:lnTo>
                <a:lnTo>
                  <a:pt x="318" y="252"/>
                </a:lnTo>
                <a:lnTo>
                  <a:pt x="318" y="252"/>
                </a:lnTo>
                <a:lnTo>
                  <a:pt x="318" y="252"/>
                </a:lnTo>
                <a:lnTo>
                  <a:pt x="312" y="252"/>
                </a:lnTo>
                <a:lnTo>
                  <a:pt x="312" y="252"/>
                </a:lnTo>
                <a:lnTo>
                  <a:pt x="318" y="258"/>
                </a:lnTo>
                <a:lnTo>
                  <a:pt x="318" y="258"/>
                </a:lnTo>
                <a:lnTo>
                  <a:pt x="318" y="258"/>
                </a:lnTo>
                <a:lnTo>
                  <a:pt x="324" y="258"/>
                </a:lnTo>
                <a:lnTo>
                  <a:pt x="324" y="258"/>
                </a:lnTo>
                <a:lnTo>
                  <a:pt x="324" y="258"/>
                </a:lnTo>
                <a:lnTo>
                  <a:pt x="324" y="264"/>
                </a:lnTo>
                <a:lnTo>
                  <a:pt x="324" y="264"/>
                </a:lnTo>
                <a:lnTo>
                  <a:pt x="324" y="264"/>
                </a:lnTo>
                <a:lnTo>
                  <a:pt x="324" y="264"/>
                </a:lnTo>
                <a:lnTo>
                  <a:pt x="318" y="264"/>
                </a:lnTo>
                <a:lnTo>
                  <a:pt x="318" y="270"/>
                </a:lnTo>
                <a:lnTo>
                  <a:pt x="318" y="270"/>
                </a:lnTo>
                <a:lnTo>
                  <a:pt x="312" y="270"/>
                </a:lnTo>
                <a:lnTo>
                  <a:pt x="312" y="276"/>
                </a:lnTo>
                <a:lnTo>
                  <a:pt x="312" y="276"/>
                </a:lnTo>
                <a:lnTo>
                  <a:pt x="312" y="270"/>
                </a:lnTo>
                <a:lnTo>
                  <a:pt x="312" y="270"/>
                </a:lnTo>
                <a:lnTo>
                  <a:pt x="312" y="276"/>
                </a:lnTo>
                <a:lnTo>
                  <a:pt x="312" y="276"/>
                </a:lnTo>
                <a:lnTo>
                  <a:pt x="312" y="282"/>
                </a:lnTo>
                <a:lnTo>
                  <a:pt x="312" y="282"/>
                </a:lnTo>
                <a:lnTo>
                  <a:pt x="312" y="282"/>
                </a:lnTo>
                <a:lnTo>
                  <a:pt x="312" y="288"/>
                </a:lnTo>
                <a:lnTo>
                  <a:pt x="312" y="288"/>
                </a:lnTo>
                <a:lnTo>
                  <a:pt x="312" y="288"/>
                </a:lnTo>
                <a:lnTo>
                  <a:pt x="312" y="288"/>
                </a:lnTo>
                <a:lnTo>
                  <a:pt x="312" y="294"/>
                </a:lnTo>
                <a:lnTo>
                  <a:pt x="312" y="294"/>
                </a:lnTo>
                <a:lnTo>
                  <a:pt x="312" y="294"/>
                </a:lnTo>
                <a:lnTo>
                  <a:pt x="312" y="294"/>
                </a:lnTo>
                <a:lnTo>
                  <a:pt x="318" y="294"/>
                </a:lnTo>
                <a:lnTo>
                  <a:pt x="306" y="306"/>
                </a:lnTo>
                <a:lnTo>
                  <a:pt x="306" y="306"/>
                </a:lnTo>
                <a:lnTo>
                  <a:pt x="306" y="306"/>
                </a:lnTo>
                <a:lnTo>
                  <a:pt x="306" y="306"/>
                </a:lnTo>
                <a:lnTo>
                  <a:pt x="306" y="306"/>
                </a:lnTo>
                <a:lnTo>
                  <a:pt x="300" y="306"/>
                </a:lnTo>
                <a:lnTo>
                  <a:pt x="300" y="306"/>
                </a:lnTo>
                <a:lnTo>
                  <a:pt x="294" y="300"/>
                </a:lnTo>
                <a:lnTo>
                  <a:pt x="294" y="300"/>
                </a:lnTo>
                <a:lnTo>
                  <a:pt x="294" y="300"/>
                </a:lnTo>
                <a:lnTo>
                  <a:pt x="294" y="294"/>
                </a:lnTo>
                <a:lnTo>
                  <a:pt x="288" y="294"/>
                </a:lnTo>
                <a:lnTo>
                  <a:pt x="288" y="294"/>
                </a:lnTo>
                <a:lnTo>
                  <a:pt x="276" y="288"/>
                </a:lnTo>
                <a:lnTo>
                  <a:pt x="270" y="294"/>
                </a:lnTo>
                <a:lnTo>
                  <a:pt x="258" y="306"/>
                </a:lnTo>
                <a:lnTo>
                  <a:pt x="258" y="306"/>
                </a:lnTo>
                <a:lnTo>
                  <a:pt x="258" y="306"/>
                </a:lnTo>
                <a:lnTo>
                  <a:pt x="258" y="300"/>
                </a:lnTo>
                <a:lnTo>
                  <a:pt x="258" y="300"/>
                </a:lnTo>
                <a:lnTo>
                  <a:pt x="258" y="294"/>
                </a:lnTo>
                <a:lnTo>
                  <a:pt x="258" y="294"/>
                </a:lnTo>
                <a:lnTo>
                  <a:pt x="252" y="288"/>
                </a:lnTo>
                <a:lnTo>
                  <a:pt x="252" y="288"/>
                </a:lnTo>
                <a:lnTo>
                  <a:pt x="252" y="288"/>
                </a:lnTo>
                <a:lnTo>
                  <a:pt x="252" y="282"/>
                </a:lnTo>
                <a:lnTo>
                  <a:pt x="252" y="282"/>
                </a:lnTo>
                <a:lnTo>
                  <a:pt x="252" y="282"/>
                </a:lnTo>
                <a:lnTo>
                  <a:pt x="246" y="282"/>
                </a:lnTo>
                <a:lnTo>
                  <a:pt x="246" y="282"/>
                </a:lnTo>
                <a:lnTo>
                  <a:pt x="246" y="282"/>
                </a:lnTo>
                <a:lnTo>
                  <a:pt x="246" y="282"/>
                </a:lnTo>
                <a:lnTo>
                  <a:pt x="246" y="282"/>
                </a:lnTo>
                <a:lnTo>
                  <a:pt x="246" y="276"/>
                </a:lnTo>
                <a:lnTo>
                  <a:pt x="246" y="276"/>
                </a:lnTo>
                <a:lnTo>
                  <a:pt x="246" y="276"/>
                </a:lnTo>
                <a:lnTo>
                  <a:pt x="246" y="276"/>
                </a:lnTo>
                <a:lnTo>
                  <a:pt x="246" y="276"/>
                </a:lnTo>
                <a:lnTo>
                  <a:pt x="246" y="276"/>
                </a:lnTo>
                <a:lnTo>
                  <a:pt x="246" y="270"/>
                </a:lnTo>
                <a:lnTo>
                  <a:pt x="240" y="270"/>
                </a:lnTo>
                <a:lnTo>
                  <a:pt x="240" y="270"/>
                </a:lnTo>
                <a:lnTo>
                  <a:pt x="246" y="270"/>
                </a:lnTo>
                <a:lnTo>
                  <a:pt x="240" y="270"/>
                </a:lnTo>
                <a:lnTo>
                  <a:pt x="240" y="270"/>
                </a:lnTo>
                <a:lnTo>
                  <a:pt x="240" y="270"/>
                </a:lnTo>
                <a:lnTo>
                  <a:pt x="240" y="270"/>
                </a:lnTo>
                <a:lnTo>
                  <a:pt x="240" y="270"/>
                </a:lnTo>
                <a:lnTo>
                  <a:pt x="240" y="264"/>
                </a:lnTo>
                <a:lnTo>
                  <a:pt x="240" y="264"/>
                </a:lnTo>
                <a:lnTo>
                  <a:pt x="240" y="264"/>
                </a:lnTo>
                <a:lnTo>
                  <a:pt x="234" y="258"/>
                </a:lnTo>
                <a:lnTo>
                  <a:pt x="234" y="258"/>
                </a:lnTo>
                <a:lnTo>
                  <a:pt x="234" y="258"/>
                </a:lnTo>
                <a:lnTo>
                  <a:pt x="234" y="258"/>
                </a:lnTo>
                <a:lnTo>
                  <a:pt x="234" y="252"/>
                </a:lnTo>
                <a:lnTo>
                  <a:pt x="234" y="252"/>
                </a:lnTo>
                <a:lnTo>
                  <a:pt x="234" y="252"/>
                </a:lnTo>
                <a:lnTo>
                  <a:pt x="234" y="252"/>
                </a:lnTo>
                <a:lnTo>
                  <a:pt x="234" y="252"/>
                </a:lnTo>
                <a:lnTo>
                  <a:pt x="234" y="246"/>
                </a:lnTo>
                <a:lnTo>
                  <a:pt x="234" y="246"/>
                </a:lnTo>
                <a:lnTo>
                  <a:pt x="234" y="246"/>
                </a:lnTo>
                <a:lnTo>
                  <a:pt x="234" y="240"/>
                </a:lnTo>
                <a:lnTo>
                  <a:pt x="234" y="240"/>
                </a:lnTo>
                <a:lnTo>
                  <a:pt x="228" y="240"/>
                </a:lnTo>
                <a:lnTo>
                  <a:pt x="228" y="234"/>
                </a:lnTo>
                <a:lnTo>
                  <a:pt x="228" y="234"/>
                </a:lnTo>
                <a:lnTo>
                  <a:pt x="228" y="234"/>
                </a:lnTo>
                <a:lnTo>
                  <a:pt x="228" y="234"/>
                </a:lnTo>
                <a:lnTo>
                  <a:pt x="228" y="228"/>
                </a:lnTo>
                <a:lnTo>
                  <a:pt x="228" y="228"/>
                </a:lnTo>
                <a:lnTo>
                  <a:pt x="228" y="228"/>
                </a:lnTo>
                <a:lnTo>
                  <a:pt x="228" y="228"/>
                </a:lnTo>
                <a:lnTo>
                  <a:pt x="228" y="228"/>
                </a:lnTo>
                <a:lnTo>
                  <a:pt x="222" y="228"/>
                </a:lnTo>
                <a:lnTo>
                  <a:pt x="222" y="228"/>
                </a:lnTo>
                <a:lnTo>
                  <a:pt x="222" y="228"/>
                </a:lnTo>
                <a:lnTo>
                  <a:pt x="192" y="216"/>
                </a:lnTo>
                <a:lnTo>
                  <a:pt x="192" y="216"/>
                </a:lnTo>
                <a:lnTo>
                  <a:pt x="192" y="222"/>
                </a:lnTo>
                <a:lnTo>
                  <a:pt x="192" y="228"/>
                </a:lnTo>
                <a:lnTo>
                  <a:pt x="192" y="228"/>
                </a:lnTo>
                <a:lnTo>
                  <a:pt x="186" y="228"/>
                </a:lnTo>
                <a:lnTo>
                  <a:pt x="186" y="234"/>
                </a:lnTo>
                <a:lnTo>
                  <a:pt x="186" y="234"/>
                </a:lnTo>
                <a:lnTo>
                  <a:pt x="186" y="234"/>
                </a:lnTo>
                <a:lnTo>
                  <a:pt x="186" y="240"/>
                </a:lnTo>
                <a:lnTo>
                  <a:pt x="186" y="240"/>
                </a:lnTo>
                <a:lnTo>
                  <a:pt x="186" y="240"/>
                </a:lnTo>
                <a:lnTo>
                  <a:pt x="180" y="246"/>
                </a:lnTo>
                <a:lnTo>
                  <a:pt x="180" y="246"/>
                </a:lnTo>
                <a:lnTo>
                  <a:pt x="174" y="246"/>
                </a:lnTo>
                <a:lnTo>
                  <a:pt x="174" y="252"/>
                </a:lnTo>
                <a:lnTo>
                  <a:pt x="168" y="252"/>
                </a:lnTo>
                <a:lnTo>
                  <a:pt x="168" y="258"/>
                </a:lnTo>
                <a:lnTo>
                  <a:pt x="168" y="258"/>
                </a:lnTo>
                <a:lnTo>
                  <a:pt x="162" y="270"/>
                </a:lnTo>
                <a:lnTo>
                  <a:pt x="144" y="258"/>
                </a:lnTo>
                <a:lnTo>
                  <a:pt x="120" y="246"/>
                </a:lnTo>
                <a:lnTo>
                  <a:pt x="78" y="222"/>
                </a:lnTo>
                <a:lnTo>
                  <a:pt x="66" y="222"/>
                </a:lnTo>
                <a:lnTo>
                  <a:pt x="54" y="222"/>
                </a:lnTo>
                <a:lnTo>
                  <a:pt x="54" y="222"/>
                </a:lnTo>
                <a:lnTo>
                  <a:pt x="54" y="222"/>
                </a:lnTo>
                <a:lnTo>
                  <a:pt x="54" y="228"/>
                </a:lnTo>
                <a:lnTo>
                  <a:pt x="54" y="228"/>
                </a:lnTo>
                <a:lnTo>
                  <a:pt x="48" y="228"/>
                </a:lnTo>
                <a:lnTo>
                  <a:pt x="48" y="228"/>
                </a:lnTo>
                <a:lnTo>
                  <a:pt x="48" y="234"/>
                </a:lnTo>
                <a:lnTo>
                  <a:pt x="42" y="228"/>
                </a:lnTo>
                <a:lnTo>
                  <a:pt x="42" y="228"/>
                </a:lnTo>
                <a:lnTo>
                  <a:pt x="42" y="228"/>
                </a:lnTo>
                <a:lnTo>
                  <a:pt x="42" y="228"/>
                </a:lnTo>
                <a:lnTo>
                  <a:pt x="36" y="228"/>
                </a:lnTo>
                <a:lnTo>
                  <a:pt x="36" y="234"/>
                </a:lnTo>
                <a:lnTo>
                  <a:pt x="36" y="234"/>
                </a:lnTo>
                <a:lnTo>
                  <a:pt x="36" y="234"/>
                </a:lnTo>
                <a:lnTo>
                  <a:pt x="36" y="234"/>
                </a:lnTo>
                <a:lnTo>
                  <a:pt x="36" y="234"/>
                </a:lnTo>
                <a:lnTo>
                  <a:pt x="30" y="234"/>
                </a:lnTo>
                <a:lnTo>
                  <a:pt x="30" y="234"/>
                </a:lnTo>
                <a:lnTo>
                  <a:pt x="0" y="23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10" name="Freeform 243"/>
          <p:cNvSpPr>
            <a:spLocks/>
          </p:cNvSpPr>
          <p:nvPr/>
        </p:nvSpPr>
        <p:spPr bwMode="auto">
          <a:xfrm>
            <a:off x="7230873" y="2863033"/>
            <a:ext cx="379019" cy="366173"/>
          </a:xfrm>
          <a:custGeom>
            <a:avLst/>
            <a:gdLst>
              <a:gd name="T0" fmla="*/ 6 w 354"/>
              <a:gd name="T1" fmla="*/ 162 h 342"/>
              <a:gd name="T2" fmla="*/ 0 w 354"/>
              <a:gd name="T3" fmla="*/ 144 h 342"/>
              <a:gd name="T4" fmla="*/ 18 w 354"/>
              <a:gd name="T5" fmla="*/ 126 h 342"/>
              <a:gd name="T6" fmla="*/ 6 w 354"/>
              <a:gd name="T7" fmla="*/ 114 h 342"/>
              <a:gd name="T8" fmla="*/ 18 w 354"/>
              <a:gd name="T9" fmla="*/ 96 h 342"/>
              <a:gd name="T10" fmla="*/ 72 w 354"/>
              <a:gd name="T11" fmla="*/ 78 h 342"/>
              <a:gd name="T12" fmla="*/ 108 w 354"/>
              <a:gd name="T13" fmla="*/ 72 h 342"/>
              <a:gd name="T14" fmla="*/ 144 w 354"/>
              <a:gd name="T15" fmla="*/ 66 h 342"/>
              <a:gd name="T16" fmla="*/ 162 w 354"/>
              <a:gd name="T17" fmla="*/ 54 h 342"/>
              <a:gd name="T18" fmla="*/ 180 w 354"/>
              <a:gd name="T19" fmla="*/ 48 h 342"/>
              <a:gd name="T20" fmla="*/ 198 w 354"/>
              <a:gd name="T21" fmla="*/ 48 h 342"/>
              <a:gd name="T22" fmla="*/ 216 w 354"/>
              <a:gd name="T23" fmla="*/ 42 h 342"/>
              <a:gd name="T24" fmla="*/ 258 w 354"/>
              <a:gd name="T25" fmla="*/ 48 h 342"/>
              <a:gd name="T26" fmla="*/ 270 w 354"/>
              <a:gd name="T27" fmla="*/ 30 h 342"/>
              <a:gd name="T28" fmla="*/ 300 w 354"/>
              <a:gd name="T29" fmla="*/ 18 h 342"/>
              <a:gd name="T30" fmla="*/ 336 w 354"/>
              <a:gd name="T31" fmla="*/ 60 h 342"/>
              <a:gd name="T32" fmla="*/ 342 w 354"/>
              <a:gd name="T33" fmla="*/ 66 h 342"/>
              <a:gd name="T34" fmla="*/ 336 w 354"/>
              <a:gd name="T35" fmla="*/ 72 h 342"/>
              <a:gd name="T36" fmla="*/ 318 w 354"/>
              <a:gd name="T37" fmla="*/ 84 h 342"/>
              <a:gd name="T38" fmla="*/ 312 w 354"/>
              <a:gd name="T39" fmla="*/ 90 h 342"/>
              <a:gd name="T40" fmla="*/ 300 w 354"/>
              <a:gd name="T41" fmla="*/ 120 h 342"/>
              <a:gd name="T42" fmla="*/ 294 w 354"/>
              <a:gd name="T43" fmla="*/ 138 h 342"/>
              <a:gd name="T44" fmla="*/ 276 w 354"/>
              <a:gd name="T45" fmla="*/ 156 h 342"/>
              <a:gd name="T46" fmla="*/ 258 w 354"/>
              <a:gd name="T47" fmla="*/ 174 h 342"/>
              <a:gd name="T48" fmla="*/ 246 w 354"/>
              <a:gd name="T49" fmla="*/ 192 h 342"/>
              <a:gd name="T50" fmla="*/ 234 w 354"/>
              <a:gd name="T51" fmla="*/ 210 h 342"/>
              <a:gd name="T52" fmla="*/ 246 w 354"/>
              <a:gd name="T53" fmla="*/ 216 h 342"/>
              <a:gd name="T54" fmla="*/ 228 w 354"/>
              <a:gd name="T55" fmla="*/ 222 h 342"/>
              <a:gd name="T56" fmla="*/ 222 w 354"/>
              <a:gd name="T57" fmla="*/ 222 h 342"/>
              <a:gd name="T58" fmla="*/ 210 w 354"/>
              <a:gd name="T59" fmla="*/ 228 h 342"/>
              <a:gd name="T60" fmla="*/ 204 w 354"/>
              <a:gd name="T61" fmla="*/ 234 h 342"/>
              <a:gd name="T62" fmla="*/ 198 w 354"/>
              <a:gd name="T63" fmla="*/ 240 h 342"/>
              <a:gd name="T64" fmla="*/ 186 w 354"/>
              <a:gd name="T65" fmla="*/ 246 h 342"/>
              <a:gd name="T66" fmla="*/ 186 w 354"/>
              <a:gd name="T67" fmla="*/ 252 h 342"/>
              <a:gd name="T68" fmla="*/ 180 w 354"/>
              <a:gd name="T69" fmla="*/ 258 h 342"/>
              <a:gd name="T70" fmla="*/ 162 w 354"/>
              <a:gd name="T71" fmla="*/ 270 h 342"/>
              <a:gd name="T72" fmla="*/ 144 w 354"/>
              <a:gd name="T73" fmla="*/ 276 h 342"/>
              <a:gd name="T74" fmla="*/ 132 w 354"/>
              <a:gd name="T75" fmla="*/ 282 h 342"/>
              <a:gd name="T76" fmla="*/ 120 w 354"/>
              <a:gd name="T77" fmla="*/ 294 h 342"/>
              <a:gd name="T78" fmla="*/ 108 w 354"/>
              <a:gd name="T79" fmla="*/ 300 h 342"/>
              <a:gd name="T80" fmla="*/ 96 w 354"/>
              <a:gd name="T81" fmla="*/ 300 h 342"/>
              <a:gd name="T82" fmla="*/ 84 w 354"/>
              <a:gd name="T83" fmla="*/ 312 h 342"/>
              <a:gd name="T84" fmla="*/ 78 w 354"/>
              <a:gd name="T85" fmla="*/ 318 h 342"/>
              <a:gd name="T86" fmla="*/ 72 w 354"/>
              <a:gd name="T87" fmla="*/ 324 h 342"/>
              <a:gd name="T88" fmla="*/ 66 w 354"/>
              <a:gd name="T89" fmla="*/ 324 h 342"/>
              <a:gd name="T90" fmla="*/ 54 w 354"/>
              <a:gd name="T91" fmla="*/ 330 h 342"/>
              <a:gd name="T92" fmla="*/ 30 w 354"/>
              <a:gd name="T93" fmla="*/ 336 h 342"/>
              <a:gd name="T94" fmla="*/ 24 w 354"/>
              <a:gd name="T95" fmla="*/ 342 h 342"/>
              <a:gd name="T96" fmla="*/ 30 w 354"/>
              <a:gd name="T97" fmla="*/ 324 h 342"/>
              <a:gd name="T98" fmla="*/ 36 w 354"/>
              <a:gd name="T99" fmla="*/ 300 h 342"/>
              <a:gd name="T100" fmla="*/ 36 w 354"/>
              <a:gd name="T101" fmla="*/ 282 h 342"/>
              <a:gd name="T102" fmla="*/ 36 w 354"/>
              <a:gd name="T103" fmla="*/ 270 h 342"/>
              <a:gd name="T104" fmla="*/ 36 w 354"/>
              <a:gd name="T105" fmla="*/ 258 h 342"/>
              <a:gd name="T106" fmla="*/ 36 w 354"/>
              <a:gd name="T107" fmla="*/ 246 h 342"/>
              <a:gd name="T108" fmla="*/ 36 w 354"/>
              <a:gd name="T109" fmla="*/ 234 h 342"/>
              <a:gd name="T110" fmla="*/ 48 w 354"/>
              <a:gd name="T111" fmla="*/ 228 h 342"/>
              <a:gd name="T112" fmla="*/ 36 w 354"/>
              <a:gd name="T113" fmla="*/ 210 h 342"/>
              <a:gd name="T114" fmla="*/ 24 w 354"/>
              <a:gd name="T115" fmla="*/ 204 h 342"/>
              <a:gd name="T116" fmla="*/ 0 w 354"/>
              <a:gd name="T117" fmla="*/ 192 h 3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54" h="342">
                <a:moveTo>
                  <a:pt x="6" y="186"/>
                </a:moveTo>
                <a:lnTo>
                  <a:pt x="6" y="186"/>
                </a:lnTo>
                <a:lnTo>
                  <a:pt x="6" y="180"/>
                </a:lnTo>
                <a:lnTo>
                  <a:pt x="6" y="180"/>
                </a:lnTo>
                <a:lnTo>
                  <a:pt x="6" y="180"/>
                </a:lnTo>
                <a:lnTo>
                  <a:pt x="6" y="174"/>
                </a:lnTo>
                <a:lnTo>
                  <a:pt x="6" y="174"/>
                </a:lnTo>
                <a:lnTo>
                  <a:pt x="6" y="174"/>
                </a:lnTo>
                <a:lnTo>
                  <a:pt x="6" y="174"/>
                </a:lnTo>
                <a:lnTo>
                  <a:pt x="6" y="174"/>
                </a:lnTo>
                <a:lnTo>
                  <a:pt x="0" y="174"/>
                </a:lnTo>
                <a:lnTo>
                  <a:pt x="0" y="168"/>
                </a:lnTo>
                <a:lnTo>
                  <a:pt x="0" y="168"/>
                </a:lnTo>
                <a:lnTo>
                  <a:pt x="6" y="162"/>
                </a:lnTo>
                <a:lnTo>
                  <a:pt x="6" y="162"/>
                </a:lnTo>
                <a:lnTo>
                  <a:pt x="6" y="156"/>
                </a:lnTo>
                <a:lnTo>
                  <a:pt x="6" y="156"/>
                </a:lnTo>
                <a:lnTo>
                  <a:pt x="0" y="156"/>
                </a:lnTo>
                <a:lnTo>
                  <a:pt x="0" y="156"/>
                </a:lnTo>
                <a:lnTo>
                  <a:pt x="0" y="156"/>
                </a:lnTo>
                <a:lnTo>
                  <a:pt x="0" y="150"/>
                </a:lnTo>
                <a:lnTo>
                  <a:pt x="0" y="150"/>
                </a:lnTo>
                <a:lnTo>
                  <a:pt x="6" y="150"/>
                </a:lnTo>
                <a:lnTo>
                  <a:pt x="6" y="150"/>
                </a:lnTo>
                <a:lnTo>
                  <a:pt x="6" y="144"/>
                </a:lnTo>
                <a:lnTo>
                  <a:pt x="0" y="144"/>
                </a:lnTo>
                <a:lnTo>
                  <a:pt x="0" y="144"/>
                </a:lnTo>
                <a:lnTo>
                  <a:pt x="0" y="144"/>
                </a:lnTo>
                <a:lnTo>
                  <a:pt x="6" y="144"/>
                </a:lnTo>
                <a:lnTo>
                  <a:pt x="6" y="144"/>
                </a:lnTo>
                <a:lnTo>
                  <a:pt x="6" y="138"/>
                </a:lnTo>
                <a:lnTo>
                  <a:pt x="6" y="138"/>
                </a:lnTo>
                <a:lnTo>
                  <a:pt x="6" y="138"/>
                </a:lnTo>
                <a:lnTo>
                  <a:pt x="0" y="138"/>
                </a:lnTo>
                <a:lnTo>
                  <a:pt x="0" y="138"/>
                </a:lnTo>
                <a:lnTo>
                  <a:pt x="6" y="138"/>
                </a:lnTo>
                <a:lnTo>
                  <a:pt x="6" y="132"/>
                </a:lnTo>
                <a:lnTo>
                  <a:pt x="6" y="132"/>
                </a:lnTo>
                <a:lnTo>
                  <a:pt x="6" y="132"/>
                </a:lnTo>
                <a:lnTo>
                  <a:pt x="6" y="132"/>
                </a:lnTo>
                <a:lnTo>
                  <a:pt x="12" y="126"/>
                </a:lnTo>
                <a:lnTo>
                  <a:pt x="18" y="126"/>
                </a:lnTo>
                <a:lnTo>
                  <a:pt x="12" y="126"/>
                </a:lnTo>
                <a:lnTo>
                  <a:pt x="12" y="120"/>
                </a:lnTo>
                <a:lnTo>
                  <a:pt x="6" y="126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6" y="108"/>
                </a:lnTo>
                <a:lnTo>
                  <a:pt x="6" y="108"/>
                </a:lnTo>
                <a:lnTo>
                  <a:pt x="12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12" y="102"/>
                </a:lnTo>
                <a:lnTo>
                  <a:pt x="12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24" y="96"/>
                </a:lnTo>
                <a:lnTo>
                  <a:pt x="24" y="90"/>
                </a:lnTo>
                <a:lnTo>
                  <a:pt x="24" y="90"/>
                </a:lnTo>
                <a:lnTo>
                  <a:pt x="30" y="90"/>
                </a:lnTo>
                <a:lnTo>
                  <a:pt x="42" y="90"/>
                </a:lnTo>
                <a:lnTo>
                  <a:pt x="42" y="90"/>
                </a:lnTo>
                <a:lnTo>
                  <a:pt x="54" y="84"/>
                </a:lnTo>
                <a:lnTo>
                  <a:pt x="54" y="84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72" y="78"/>
                </a:lnTo>
                <a:lnTo>
                  <a:pt x="72" y="78"/>
                </a:lnTo>
                <a:lnTo>
                  <a:pt x="78" y="78"/>
                </a:lnTo>
                <a:lnTo>
                  <a:pt x="78" y="78"/>
                </a:lnTo>
                <a:lnTo>
                  <a:pt x="78" y="72"/>
                </a:lnTo>
                <a:lnTo>
                  <a:pt x="84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6" y="72"/>
                </a:lnTo>
                <a:lnTo>
                  <a:pt x="102" y="72"/>
                </a:lnTo>
                <a:lnTo>
                  <a:pt x="102" y="72"/>
                </a:lnTo>
                <a:lnTo>
                  <a:pt x="108" y="66"/>
                </a:lnTo>
                <a:lnTo>
                  <a:pt x="108" y="72"/>
                </a:lnTo>
                <a:lnTo>
                  <a:pt x="108" y="66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32" y="66"/>
                </a:lnTo>
                <a:lnTo>
                  <a:pt x="138" y="66"/>
                </a:lnTo>
                <a:lnTo>
                  <a:pt x="144" y="66"/>
                </a:lnTo>
                <a:lnTo>
                  <a:pt x="144" y="66"/>
                </a:lnTo>
                <a:lnTo>
                  <a:pt x="144" y="66"/>
                </a:lnTo>
                <a:lnTo>
                  <a:pt x="144" y="60"/>
                </a:lnTo>
                <a:lnTo>
                  <a:pt x="144" y="60"/>
                </a:lnTo>
                <a:lnTo>
                  <a:pt x="150" y="60"/>
                </a:lnTo>
                <a:lnTo>
                  <a:pt x="150" y="60"/>
                </a:lnTo>
                <a:lnTo>
                  <a:pt x="150" y="60"/>
                </a:lnTo>
                <a:lnTo>
                  <a:pt x="150" y="60"/>
                </a:lnTo>
                <a:lnTo>
                  <a:pt x="150" y="60"/>
                </a:lnTo>
                <a:lnTo>
                  <a:pt x="156" y="60"/>
                </a:lnTo>
                <a:lnTo>
                  <a:pt x="156" y="60"/>
                </a:lnTo>
                <a:lnTo>
                  <a:pt x="156" y="60"/>
                </a:lnTo>
                <a:lnTo>
                  <a:pt x="162" y="60"/>
                </a:lnTo>
                <a:lnTo>
                  <a:pt x="162" y="54"/>
                </a:lnTo>
                <a:lnTo>
                  <a:pt x="162" y="54"/>
                </a:lnTo>
                <a:lnTo>
                  <a:pt x="168" y="54"/>
                </a:lnTo>
                <a:lnTo>
                  <a:pt x="168" y="54"/>
                </a:lnTo>
                <a:lnTo>
                  <a:pt x="174" y="54"/>
                </a:lnTo>
                <a:lnTo>
                  <a:pt x="174" y="54"/>
                </a:lnTo>
                <a:lnTo>
                  <a:pt x="174" y="54"/>
                </a:lnTo>
                <a:lnTo>
                  <a:pt x="174" y="54"/>
                </a:lnTo>
                <a:lnTo>
                  <a:pt x="174" y="54"/>
                </a:lnTo>
                <a:lnTo>
                  <a:pt x="174" y="54"/>
                </a:lnTo>
                <a:lnTo>
                  <a:pt x="174" y="54"/>
                </a:lnTo>
                <a:lnTo>
                  <a:pt x="174" y="54"/>
                </a:lnTo>
                <a:lnTo>
                  <a:pt x="180" y="48"/>
                </a:lnTo>
                <a:lnTo>
                  <a:pt x="180" y="48"/>
                </a:lnTo>
                <a:lnTo>
                  <a:pt x="180" y="48"/>
                </a:lnTo>
                <a:lnTo>
                  <a:pt x="180" y="48"/>
                </a:lnTo>
                <a:lnTo>
                  <a:pt x="180" y="48"/>
                </a:lnTo>
                <a:lnTo>
                  <a:pt x="186" y="48"/>
                </a:lnTo>
                <a:lnTo>
                  <a:pt x="186" y="48"/>
                </a:lnTo>
                <a:lnTo>
                  <a:pt x="186" y="48"/>
                </a:lnTo>
                <a:lnTo>
                  <a:pt x="186" y="48"/>
                </a:lnTo>
                <a:lnTo>
                  <a:pt x="192" y="48"/>
                </a:lnTo>
                <a:lnTo>
                  <a:pt x="192" y="48"/>
                </a:lnTo>
                <a:lnTo>
                  <a:pt x="192" y="48"/>
                </a:lnTo>
                <a:lnTo>
                  <a:pt x="192" y="48"/>
                </a:lnTo>
                <a:lnTo>
                  <a:pt x="192" y="48"/>
                </a:lnTo>
                <a:lnTo>
                  <a:pt x="192" y="48"/>
                </a:lnTo>
                <a:lnTo>
                  <a:pt x="198" y="48"/>
                </a:lnTo>
                <a:lnTo>
                  <a:pt x="198" y="54"/>
                </a:lnTo>
                <a:lnTo>
                  <a:pt x="198" y="48"/>
                </a:lnTo>
                <a:lnTo>
                  <a:pt x="198" y="54"/>
                </a:lnTo>
                <a:lnTo>
                  <a:pt x="198" y="54"/>
                </a:lnTo>
                <a:lnTo>
                  <a:pt x="198" y="54"/>
                </a:lnTo>
                <a:lnTo>
                  <a:pt x="198" y="54"/>
                </a:lnTo>
                <a:lnTo>
                  <a:pt x="198" y="54"/>
                </a:lnTo>
                <a:lnTo>
                  <a:pt x="198" y="54"/>
                </a:lnTo>
                <a:lnTo>
                  <a:pt x="204" y="54"/>
                </a:lnTo>
                <a:lnTo>
                  <a:pt x="204" y="60"/>
                </a:lnTo>
                <a:lnTo>
                  <a:pt x="204" y="60"/>
                </a:lnTo>
                <a:lnTo>
                  <a:pt x="216" y="48"/>
                </a:lnTo>
                <a:lnTo>
                  <a:pt x="216" y="48"/>
                </a:lnTo>
                <a:lnTo>
                  <a:pt x="216" y="42"/>
                </a:lnTo>
                <a:lnTo>
                  <a:pt x="216" y="42"/>
                </a:lnTo>
                <a:lnTo>
                  <a:pt x="216" y="42"/>
                </a:lnTo>
                <a:lnTo>
                  <a:pt x="216" y="42"/>
                </a:lnTo>
                <a:lnTo>
                  <a:pt x="216" y="42"/>
                </a:lnTo>
                <a:lnTo>
                  <a:pt x="216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48"/>
                </a:lnTo>
                <a:lnTo>
                  <a:pt x="222" y="48"/>
                </a:lnTo>
                <a:lnTo>
                  <a:pt x="234" y="54"/>
                </a:lnTo>
                <a:lnTo>
                  <a:pt x="252" y="66"/>
                </a:lnTo>
                <a:lnTo>
                  <a:pt x="252" y="60"/>
                </a:lnTo>
                <a:lnTo>
                  <a:pt x="252" y="54"/>
                </a:lnTo>
                <a:lnTo>
                  <a:pt x="258" y="54"/>
                </a:lnTo>
                <a:lnTo>
                  <a:pt x="258" y="48"/>
                </a:lnTo>
                <a:lnTo>
                  <a:pt x="258" y="48"/>
                </a:lnTo>
                <a:lnTo>
                  <a:pt x="258" y="48"/>
                </a:lnTo>
                <a:lnTo>
                  <a:pt x="264" y="48"/>
                </a:lnTo>
                <a:lnTo>
                  <a:pt x="264" y="48"/>
                </a:lnTo>
                <a:lnTo>
                  <a:pt x="264" y="42"/>
                </a:lnTo>
                <a:lnTo>
                  <a:pt x="264" y="42"/>
                </a:lnTo>
                <a:lnTo>
                  <a:pt x="258" y="42"/>
                </a:lnTo>
                <a:lnTo>
                  <a:pt x="264" y="42"/>
                </a:lnTo>
                <a:lnTo>
                  <a:pt x="264" y="36"/>
                </a:lnTo>
                <a:lnTo>
                  <a:pt x="264" y="36"/>
                </a:lnTo>
                <a:lnTo>
                  <a:pt x="264" y="36"/>
                </a:lnTo>
                <a:lnTo>
                  <a:pt x="264" y="30"/>
                </a:lnTo>
                <a:lnTo>
                  <a:pt x="270" y="30"/>
                </a:lnTo>
                <a:lnTo>
                  <a:pt x="270" y="30"/>
                </a:lnTo>
                <a:lnTo>
                  <a:pt x="270" y="30"/>
                </a:lnTo>
                <a:lnTo>
                  <a:pt x="276" y="30"/>
                </a:lnTo>
                <a:lnTo>
                  <a:pt x="276" y="24"/>
                </a:lnTo>
                <a:lnTo>
                  <a:pt x="276" y="24"/>
                </a:lnTo>
                <a:lnTo>
                  <a:pt x="276" y="24"/>
                </a:lnTo>
                <a:lnTo>
                  <a:pt x="276" y="24"/>
                </a:lnTo>
                <a:lnTo>
                  <a:pt x="276" y="24"/>
                </a:lnTo>
                <a:lnTo>
                  <a:pt x="276" y="18"/>
                </a:lnTo>
                <a:lnTo>
                  <a:pt x="276" y="18"/>
                </a:lnTo>
                <a:lnTo>
                  <a:pt x="276" y="18"/>
                </a:lnTo>
                <a:lnTo>
                  <a:pt x="276" y="12"/>
                </a:lnTo>
                <a:lnTo>
                  <a:pt x="282" y="18"/>
                </a:lnTo>
                <a:lnTo>
                  <a:pt x="288" y="18"/>
                </a:lnTo>
                <a:lnTo>
                  <a:pt x="294" y="12"/>
                </a:lnTo>
                <a:lnTo>
                  <a:pt x="300" y="18"/>
                </a:lnTo>
                <a:lnTo>
                  <a:pt x="354" y="0"/>
                </a:lnTo>
                <a:lnTo>
                  <a:pt x="354" y="30"/>
                </a:lnTo>
                <a:lnTo>
                  <a:pt x="348" y="36"/>
                </a:lnTo>
                <a:lnTo>
                  <a:pt x="342" y="48"/>
                </a:lnTo>
                <a:lnTo>
                  <a:pt x="330" y="54"/>
                </a:lnTo>
                <a:lnTo>
                  <a:pt x="330" y="54"/>
                </a:lnTo>
                <a:lnTo>
                  <a:pt x="330" y="54"/>
                </a:lnTo>
                <a:lnTo>
                  <a:pt x="330" y="60"/>
                </a:lnTo>
                <a:lnTo>
                  <a:pt x="330" y="60"/>
                </a:lnTo>
                <a:lnTo>
                  <a:pt x="336" y="60"/>
                </a:lnTo>
                <a:lnTo>
                  <a:pt x="336" y="60"/>
                </a:lnTo>
                <a:lnTo>
                  <a:pt x="336" y="60"/>
                </a:lnTo>
                <a:lnTo>
                  <a:pt x="336" y="60"/>
                </a:lnTo>
                <a:lnTo>
                  <a:pt x="336" y="60"/>
                </a:lnTo>
                <a:lnTo>
                  <a:pt x="336" y="60"/>
                </a:lnTo>
                <a:lnTo>
                  <a:pt x="336" y="60"/>
                </a:lnTo>
                <a:lnTo>
                  <a:pt x="336" y="60"/>
                </a:lnTo>
                <a:lnTo>
                  <a:pt x="336" y="66"/>
                </a:lnTo>
                <a:lnTo>
                  <a:pt x="336" y="66"/>
                </a:lnTo>
                <a:lnTo>
                  <a:pt x="336" y="66"/>
                </a:lnTo>
                <a:lnTo>
                  <a:pt x="336" y="66"/>
                </a:lnTo>
                <a:lnTo>
                  <a:pt x="336" y="66"/>
                </a:lnTo>
                <a:lnTo>
                  <a:pt x="336" y="66"/>
                </a:lnTo>
                <a:lnTo>
                  <a:pt x="336" y="66"/>
                </a:lnTo>
                <a:lnTo>
                  <a:pt x="342" y="66"/>
                </a:lnTo>
                <a:lnTo>
                  <a:pt x="342" y="66"/>
                </a:lnTo>
                <a:lnTo>
                  <a:pt x="342" y="66"/>
                </a:lnTo>
                <a:lnTo>
                  <a:pt x="342" y="66"/>
                </a:lnTo>
                <a:lnTo>
                  <a:pt x="342" y="66"/>
                </a:lnTo>
                <a:lnTo>
                  <a:pt x="342" y="66"/>
                </a:lnTo>
                <a:lnTo>
                  <a:pt x="342" y="66"/>
                </a:lnTo>
                <a:lnTo>
                  <a:pt x="342" y="66"/>
                </a:lnTo>
                <a:lnTo>
                  <a:pt x="342" y="72"/>
                </a:lnTo>
                <a:lnTo>
                  <a:pt x="342" y="72"/>
                </a:lnTo>
                <a:lnTo>
                  <a:pt x="342" y="72"/>
                </a:lnTo>
                <a:lnTo>
                  <a:pt x="342" y="72"/>
                </a:lnTo>
                <a:lnTo>
                  <a:pt x="342" y="72"/>
                </a:lnTo>
                <a:lnTo>
                  <a:pt x="336" y="72"/>
                </a:lnTo>
                <a:lnTo>
                  <a:pt x="336" y="72"/>
                </a:lnTo>
                <a:lnTo>
                  <a:pt x="336" y="72"/>
                </a:lnTo>
                <a:lnTo>
                  <a:pt x="336" y="72"/>
                </a:lnTo>
                <a:lnTo>
                  <a:pt x="336" y="72"/>
                </a:lnTo>
                <a:lnTo>
                  <a:pt x="330" y="72"/>
                </a:lnTo>
                <a:lnTo>
                  <a:pt x="330" y="72"/>
                </a:lnTo>
                <a:lnTo>
                  <a:pt x="330" y="72"/>
                </a:lnTo>
                <a:lnTo>
                  <a:pt x="330" y="72"/>
                </a:lnTo>
                <a:lnTo>
                  <a:pt x="330" y="78"/>
                </a:lnTo>
                <a:lnTo>
                  <a:pt x="330" y="78"/>
                </a:lnTo>
                <a:lnTo>
                  <a:pt x="324" y="78"/>
                </a:lnTo>
                <a:lnTo>
                  <a:pt x="324" y="78"/>
                </a:lnTo>
                <a:lnTo>
                  <a:pt x="324" y="78"/>
                </a:lnTo>
                <a:lnTo>
                  <a:pt x="318" y="78"/>
                </a:lnTo>
                <a:lnTo>
                  <a:pt x="318" y="84"/>
                </a:lnTo>
                <a:lnTo>
                  <a:pt x="318" y="84"/>
                </a:lnTo>
                <a:lnTo>
                  <a:pt x="312" y="84"/>
                </a:lnTo>
                <a:lnTo>
                  <a:pt x="318" y="84"/>
                </a:lnTo>
                <a:lnTo>
                  <a:pt x="312" y="84"/>
                </a:lnTo>
                <a:lnTo>
                  <a:pt x="318" y="84"/>
                </a:lnTo>
                <a:lnTo>
                  <a:pt x="312" y="84"/>
                </a:lnTo>
                <a:lnTo>
                  <a:pt x="318" y="90"/>
                </a:lnTo>
                <a:lnTo>
                  <a:pt x="312" y="90"/>
                </a:lnTo>
                <a:lnTo>
                  <a:pt x="312" y="90"/>
                </a:lnTo>
                <a:lnTo>
                  <a:pt x="312" y="90"/>
                </a:lnTo>
                <a:lnTo>
                  <a:pt x="312" y="90"/>
                </a:lnTo>
                <a:lnTo>
                  <a:pt x="312" y="90"/>
                </a:lnTo>
                <a:lnTo>
                  <a:pt x="312" y="90"/>
                </a:lnTo>
                <a:lnTo>
                  <a:pt x="312" y="90"/>
                </a:lnTo>
                <a:lnTo>
                  <a:pt x="312" y="90"/>
                </a:lnTo>
                <a:lnTo>
                  <a:pt x="312" y="90"/>
                </a:lnTo>
                <a:lnTo>
                  <a:pt x="312" y="90"/>
                </a:lnTo>
                <a:lnTo>
                  <a:pt x="312" y="90"/>
                </a:lnTo>
                <a:lnTo>
                  <a:pt x="312" y="96"/>
                </a:lnTo>
                <a:lnTo>
                  <a:pt x="312" y="96"/>
                </a:lnTo>
                <a:lnTo>
                  <a:pt x="312" y="96"/>
                </a:lnTo>
                <a:lnTo>
                  <a:pt x="312" y="102"/>
                </a:lnTo>
                <a:lnTo>
                  <a:pt x="306" y="102"/>
                </a:lnTo>
                <a:lnTo>
                  <a:pt x="306" y="108"/>
                </a:lnTo>
                <a:lnTo>
                  <a:pt x="306" y="108"/>
                </a:lnTo>
                <a:lnTo>
                  <a:pt x="306" y="108"/>
                </a:lnTo>
                <a:lnTo>
                  <a:pt x="306" y="114"/>
                </a:lnTo>
                <a:lnTo>
                  <a:pt x="306" y="114"/>
                </a:lnTo>
                <a:lnTo>
                  <a:pt x="306" y="114"/>
                </a:lnTo>
                <a:lnTo>
                  <a:pt x="306" y="114"/>
                </a:lnTo>
                <a:lnTo>
                  <a:pt x="300" y="120"/>
                </a:lnTo>
                <a:lnTo>
                  <a:pt x="300" y="120"/>
                </a:lnTo>
                <a:lnTo>
                  <a:pt x="300" y="120"/>
                </a:lnTo>
                <a:lnTo>
                  <a:pt x="300" y="126"/>
                </a:lnTo>
                <a:lnTo>
                  <a:pt x="300" y="126"/>
                </a:lnTo>
                <a:lnTo>
                  <a:pt x="300" y="132"/>
                </a:lnTo>
                <a:lnTo>
                  <a:pt x="300" y="132"/>
                </a:lnTo>
                <a:lnTo>
                  <a:pt x="300" y="138"/>
                </a:lnTo>
                <a:lnTo>
                  <a:pt x="300" y="138"/>
                </a:lnTo>
                <a:lnTo>
                  <a:pt x="300" y="138"/>
                </a:lnTo>
                <a:lnTo>
                  <a:pt x="300" y="132"/>
                </a:lnTo>
                <a:lnTo>
                  <a:pt x="294" y="138"/>
                </a:lnTo>
                <a:lnTo>
                  <a:pt x="294" y="138"/>
                </a:lnTo>
                <a:lnTo>
                  <a:pt x="294" y="138"/>
                </a:lnTo>
                <a:lnTo>
                  <a:pt x="294" y="138"/>
                </a:lnTo>
                <a:lnTo>
                  <a:pt x="288" y="138"/>
                </a:lnTo>
                <a:lnTo>
                  <a:pt x="288" y="138"/>
                </a:lnTo>
                <a:lnTo>
                  <a:pt x="288" y="144"/>
                </a:lnTo>
                <a:lnTo>
                  <a:pt x="288" y="144"/>
                </a:lnTo>
                <a:lnTo>
                  <a:pt x="282" y="150"/>
                </a:lnTo>
                <a:lnTo>
                  <a:pt x="282" y="150"/>
                </a:lnTo>
                <a:lnTo>
                  <a:pt x="276" y="150"/>
                </a:lnTo>
                <a:lnTo>
                  <a:pt x="276" y="150"/>
                </a:lnTo>
                <a:lnTo>
                  <a:pt x="276" y="150"/>
                </a:lnTo>
                <a:lnTo>
                  <a:pt x="276" y="156"/>
                </a:lnTo>
                <a:lnTo>
                  <a:pt x="276" y="156"/>
                </a:lnTo>
                <a:lnTo>
                  <a:pt x="276" y="156"/>
                </a:lnTo>
                <a:lnTo>
                  <a:pt x="276" y="156"/>
                </a:lnTo>
                <a:lnTo>
                  <a:pt x="276" y="156"/>
                </a:lnTo>
                <a:lnTo>
                  <a:pt x="270" y="162"/>
                </a:lnTo>
                <a:lnTo>
                  <a:pt x="270" y="162"/>
                </a:lnTo>
                <a:lnTo>
                  <a:pt x="270" y="162"/>
                </a:lnTo>
                <a:lnTo>
                  <a:pt x="270" y="162"/>
                </a:lnTo>
                <a:lnTo>
                  <a:pt x="270" y="162"/>
                </a:lnTo>
                <a:lnTo>
                  <a:pt x="270" y="162"/>
                </a:lnTo>
                <a:lnTo>
                  <a:pt x="270" y="168"/>
                </a:lnTo>
                <a:lnTo>
                  <a:pt x="264" y="168"/>
                </a:lnTo>
                <a:lnTo>
                  <a:pt x="264" y="168"/>
                </a:lnTo>
                <a:lnTo>
                  <a:pt x="264" y="168"/>
                </a:lnTo>
                <a:lnTo>
                  <a:pt x="264" y="168"/>
                </a:lnTo>
                <a:lnTo>
                  <a:pt x="258" y="168"/>
                </a:lnTo>
                <a:lnTo>
                  <a:pt x="258" y="174"/>
                </a:lnTo>
                <a:lnTo>
                  <a:pt x="258" y="174"/>
                </a:lnTo>
                <a:lnTo>
                  <a:pt x="258" y="174"/>
                </a:lnTo>
                <a:lnTo>
                  <a:pt x="258" y="174"/>
                </a:lnTo>
                <a:lnTo>
                  <a:pt x="252" y="180"/>
                </a:lnTo>
                <a:lnTo>
                  <a:pt x="252" y="180"/>
                </a:lnTo>
                <a:lnTo>
                  <a:pt x="252" y="180"/>
                </a:lnTo>
                <a:lnTo>
                  <a:pt x="252" y="180"/>
                </a:lnTo>
                <a:lnTo>
                  <a:pt x="252" y="186"/>
                </a:lnTo>
                <a:lnTo>
                  <a:pt x="252" y="186"/>
                </a:lnTo>
                <a:lnTo>
                  <a:pt x="252" y="186"/>
                </a:lnTo>
                <a:lnTo>
                  <a:pt x="252" y="186"/>
                </a:lnTo>
                <a:lnTo>
                  <a:pt x="252" y="192"/>
                </a:lnTo>
                <a:lnTo>
                  <a:pt x="246" y="192"/>
                </a:lnTo>
                <a:lnTo>
                  <a:pt x="246" y="192"/>
                </a:lnTo>
                <a:lnTo>
                  <a:pt x="246" y="192"/>
                </a:lnTo>
                <a:lnTo>
                  <a:pt x="246" y="198"/>
                </a:lnTo>
                <a:lnTo>
                  <a:pt x="246" y="198"/>
                </a:lnTo>
                <a:lnTo>
                  <a:pt x="246" y="198"/>
                </a:lnTo>
                <a:lnTo>
                  <a:pt x="240" y="198"/>
                </a:lnTo>
                <a:lnTo>
                  <a:pt x="240" y="198"/>
                </a:lnTo>
                <a:lnTo>
                  <a:pt x="240" y="198"/>
                </a:lnTo>
                <a:lnTo>
                  <a:pt x="240" y="204"/>
                </a:lnTo>
                <a:lnTo>
                  <a:pt x="240" y="204"/>
                </a:lnTo>
                <a:lnTo>
                  <a:pt x="240" y="204"/>
                </a:lnTo>
                <a:lnTo>
                  <a:pt x="234" y="204"/>
                </a:lnTo>
                <a:lnTo>
                  <a:pt x="234" y="204"/>
                </a:lnTo>
                <a:lnTo>
                  <a:pt x="234" y="204"/>
                </a:lnTo>
                <a:lnTo>
                  <a:pt x="234" y="210"/>
                </a:lnTo>
                <a:lnTo>
                  <a:pt x="234" y="210"/>
                </a:lnTo>
                <a:lnTo>
                  <a:pt x="234" y="210"/>
                </a:lnTo>
                <a:lnTo>
                  <a:pt x="234" y="216"/>
                </a:lnTo>
                <a:lnTo>
                  <a:pt x="234" y="216"/>
                </a:lnTo>
                <a:lnTo>
                  <a:pt x="240" y="216"/>
                </a:lnTo>
                <a:lnTo>
                  <a:pt x="240" y="216"/>
                </a:lnTo>
                <a:lnTo>
                  <a:pt x="240" y="216"/>
                </a:lnTo>
                <a:lnTo>
                  <a:pt x="240" y="216"/>
                </a:lnTo>
                <a:lnTo>
                  <a:pt x="240" y="216"/>
                </a:lnTo>
                <a:lnTo>
                  <a:pt x="240" y="216"/>
                </a:lnTo>
                <a:lnTo>
                  <a:pt x="240" y="216"/>
                </a:lnTo>
                <a:lnTo>
                  <a:pt x="240" y="216"/>
                </a:lnTo>
                <a:lnTo>
                  <a:pt x="240" y="216"/>
                </a:lnTo>
                <a:lnTo>
                  <a:pt x="240" y="216"/>
                </a:lnTo>
                <a:lnTo>
                  <a:pt x="246" y="216"/>
                </a:lnTo>
                <a:lnTo>
                  <a:pt x="240" y="216"/>
                </a:lnTo>
                <a:lnTo>
                  <a:pt x="240" y="216"/>
                </a:lnTo>
                <a:lnTo>
                  <a:pt x="240" y="216"/>
                </a:lnTo>
                <a:lnTo>
                  <a:pt x="240" y="222"/>
                </a:lnTo>
                <a:lnTo>
                  <a:pt x="234" y="222"/>
                </a:lnTo>
                <a:lnTo>
                  <a:pt x="234" y="222"/>
                </a:lnTo>
                <a:lnTo>
                  <a:pt x="234" y="222"/>
                </a:lnTo>
                <a:lnTo>
                  <a:pt x="234" y="222"/>
                </a:lnTo>
                <a:lnTo>
                  <a:pt x="234" y="222"/>
                </a:lnTo>
                <a:lnTo>
                  <a:pt x="234" y="222"/>
                </a:lnTo>
                <a:lnTo>
                  <a:pt x="234" y="222"/>
                </a:lnTo>
                <a:lnTo>
                  <a:pt x="234" y="222"/>
                </a:lnTo>
                <a:lnTo>
                  <a:pt x="234" y="222"/>
                </a:lnTo>
                <a:lnTo>
                  <a:pt x="228" y="222"/>
                </a:lnTo>
                <a:lnTo>
                  <a:pt x="228" y="222"/>
                </a:lnTo>
                <a:lnTo>
                  <a:pt x="228" y="222"/>
                </a:lnTo>
                <a:lnTo>
                  <a:pt x="228" y="222"/>
                </a:lnTo>
                <a:lnTo>
                  <a:pt x="228" y="222"/>
                </a:lnTo>
                <a:lnTo>
                  <a:pt x="228" y="222"/>
                </a:lnTo>
                <a:lnTo>
                  <a:pt x="222" y="222"/>
                </a:lnTo>
                <a:lnTo>
                  <a:pt x="222" y="222"/>
                </a:lnTo>
                <a:lnTo>
                  <a:pt x="222" y="222"/>
                </a:lnTo>
                <a:lnTo>
                  <a:pt x="222" y="222"/>
                </a:lnTo>
                <a:lnTo>
                  <a:pt x="222" y="222"/>
                </a:lnTo>
                <a:lnTo>
                  <a:pt x="222" y="222"/>
                </a:lnTo>
                <a:lnTo>
                  <a:pt x="222" y="222"/>
                </a:lnTo>
                <a:lnTo>
                  <a:pt x="222" y="222"/>
                </a:lnTo>
                <a:lnTo>
                  <a:pt x="222" y="222"/>
                </a:lnTo>
                <a:lnTo>
                  <a:pt x="222" y="222"/>
                </a:lnTo>
                <a:lnTo>
                  <a:pt x="216" y="228"/>
                </a:lnTo>
                <a:lnTo>
                  <a:pt x="216" y="228"/>
                </a:lnTo>
                <a:lnTo>
                  <a:pt x="216" y="228"/>
                </a:lnTo>
                <a:lnTo>
                  <a:pt x="216" y="228"/>
                </a:lnTo>
                <a:lnTo>
                  <a:pt x="216" y="228"/>
                </a:lnTo>
                <a:lnTo>
                  <a:pt x="216" y="228"/>
                </a:lnTo>
                <a:lnTo>
                  <a:pt x="216" y="228"/>
                </a:lnTo>
                <a:lnTo>
                  <a:pt x="216" y="228"/>
                </a:lnTo>
                <a:lnTo>
                  <a:pt x="210" y="228"/>
                </a:lnTo>
                <a:lnTo>
                  <a:pt x="216" y="228"/>
                </a:lnTo>
                <a:lnTo>
                  <a:pt x="210" y="228"/>
                </a:lnTo>
                <a:lnTo>
                  <a:pt x="210" y="228"/>
                </a:lnTo>
                <a:lnTo>
                  <a:pt x="210" y="228"/>
                </a:lnTo>
                <a:lnTo>
                  <a:pt x="210" y="228"/>
                </a:lnTo>
                <a:lnTo>
                  <a:pt x="210" y="234"/>
                </a:lnTo>
                <a:lnTo>
                  <a:pt x="210" y="234"/>
                </a:lnTo>
                <a:lnTo>
                  <a:pt x="210" y="234"/>
                </a:lnTo>
                <a:lnTo>
                  <a:pt x="210" y="234"/>
                </a:lnTo>
                <a:lnTo>
                  <a:pt x="210" y="234"/>
                </a:lnTo>
                <a:lnTo>
                  <a:pt x="210" y="234"/>
                </a:lnTo>
                <a:lnTo>
                  <a:pt x="204" y="234"/>
                </a:lnTo>
                <a:lnTo>
                  <a:pt x="204" y="234"/>
                </a:lnTo>
                <a:lnTo>
                  <a:pt x="204" y="234"/>
                </a:lnTo>
                <a:lnTo>
                  <a:pt x="204" y="234"/>
                </a:lnTo>
                <a:lnTo>
                  <a:pt x="204" y="234"/>
                </a:lnTo>
                <a:lnTo>
                  <a:pt x="204" y="240"/>
                </a:lnTo>
                <a:lnTo>
                  <a:pt x="204" y="234"/>
                </a:lnTo>
                <a:lnTo>
                  <a:pt x="204" y="240"/>
                </a:lnTo>
                <a:lnTo>
                  <a:pt x="204" y="234"/>
                </a:lnTo>
                <a:lnTo>
                  <a:pt x="204" y="240"/>
                </a:lnTo>
                <a:lnTo>
                  <a:pt x="204" y="240"/>
                </a:lnTo>
                <a:lnTo>
                  <a:pt x="204" y="240"/>
                </a:lnTo>
                <a:lnTo>
                  <a:pt x="198" y="240"/>
                </a:lnTo>
                <a:lnTo>
                  <a:pt x="198" y="240"/>
                </a:lnTo>
                <a:lnTo>
                  <a:pt x="198" y="240"/>
                </a:lnTo>
                <a:lnTo>
                  <a:pt x="198" y="240"/>
                </a:lnTo>
                <a:lnTo>
                  <a:pt x="198" y="240"/>
                </a:lnTo>
                <a:lnTo>
                  <a:pt x="198" y="240"/>
                </a:lnTo>
                <a:lnTo>
                  <a:pt x="198" y="240"/>
                </a:lnTo>
                <a:lnTo>
                  <a:pt x="198" y="240"/>
                </a:lnTo>
                <a:lnTo>
                  <a:pt x="198" y="240"/>
                </a:lnTo>
                <a:lnTo>
                  <a:pt x="192" y="240"/>
                </a:lnTo>
                <a:lnTo>
                  <a:pt x="192" y="240"/>
                </a:lnTo>
                <a:lnTo>
                  <a:pt x="192" y="240"/>
                </a:lnTo>
                <a:lnTo>
                  <a:pt x="192" y="246"/>
                </a:lnTo>
                <a:lnTo>
                  <a:pt x="192" y="246"/>
                </a:lnTo>
                <a:lnTo>
                  <a:pt x="192" y="240"/>
                </a:lnTo>
                <a:lnTo>
                  <a:pt x="192" y="246"/>
                </a:lnTo>
                <a:lnTo>
                  <a:pt x="192" y="246"/>
                </a:lnTo>
                <a:lnTo>
                  <a:pt x="186" y="246"/>
                </a:lnTo>
                <a:lnTo>
                  <a:pt x="186" y="246"/>
                </a:lnTo>
                <a:lnTo>
                  <a:pt x="192" y="246"/>
                </a:lnTo>
                <a:lnTo>
                  <a:pt x="192" y="246"/>
                </a:lnTo>
                <a:lnTo>
                  <a:pt x="186" y="246"/>
                </a:lnTo>
                <a:lnTo>
                  <a:pt x="186" y="246"/>
                </a:lnTo>
                <a:lnTo>
                  <a:pt x="186" y="246"/>
                </a:lnTo>
                <a:lnTo>
                  <a:pt x="186" y="246"/>
                </a:lnTo>
                <a:lnTo>
                  <a:pt x="186" y="246"/>
                </a:lnTo>
                <a:lnTo>
                  <a:pt x="192" y="246"/>
                </a:lnTo>
                <a:lnTo>
                  <a:pt x="186" y="252"/>
                </a:lnTo>
                <a:lnTo>
                  <a:pt x="186" y="252"/>
                </a:lnTo>
                <a:lnTo>
                  <a:pt x="186" y="252"/>
                </a:lnTo>
                <a:lnTo>
                  <a:pt x="186" y="252"/>
                </a:lnTo>
                <a:lnTo>
                  <a:pt x="186" y="252"/>
                </a:lnTo>
                <a:lnTo>
                  <a:pt x="186" y="252"/>
                </a:lnTo>
                <a:lnTo>
                  <a:pt x="186" y="252"/>
                </a:lnTo>
                <a:lnTo>
                  <a:pt x="186" y="252"/>
                </a:lnTo>
                <a:lnTo>
                  <a:pt x="186" y="252"/>
                </a:lnTo>
                <a:lnTo>
                  <a:pt x="186" y="252"/>
                </a:lnTo>
                <a:lnTo>
                  <a:pt x="186" y="252"/>
                </a:lnTo>
                <a:lnTo>
                  <a:pt x="186" y="252"/>
                </a:lnTo>
                <a:lnTo>
                  <a:pt x="186" y="252"/>
                </a:lnTo>
                <a:lnTo>
                  <a:pt x="186" y="252"/>
                </a:lnTo>
                <a:lnTo>
                  <a:pt x="186" y="252"/>
                </a:lnTo>
                <a:lnTo>
                  <a:pt x="180" y="258"/>
                </a:lnTo>
                <a:lnTo>
                  <a:pt x="180" y="258"/>
                </a:lnTo>
                <a:lnTo>
                  <a:pt x="180" y="258"/>
                </a:lnTo>
                <a:lnTo>
                  <a:pt x="180" y="258"/>
                </a:lnTo>
                <a:lnTo>
                  <a:pt x="180" y="258"/>
                </a:lnTo>
                <a:lnTo>
                  <a:pt x="180" y="258"/>
                </a:lnTo>
                <a:lnTo>
                  <a:pt x="180" y="258"/>
                </a:lnTo>
                <a:lnTo>
                  <a:pt x="180" y="258"/>
                </a:lnTo>
                <a:lnTo>
                  <a:pt x="180" y="258"/>
                </a:lnTo>
                <a:lnTo>
                  <a:pt x="174" y="258"/>
                </a:lnTo>
                <a:lnTo>
                  <a:pt x="174" y="258"/>
                </a:lnTo>
                <a:lnTo>
                  <a:pt x="174" y="258"/>
                </a:lnTo>
                <a:lnTo>
                  <a:pt x="174" y="258"/>
                </a:lnTo>
                <a:lnTo>
                  <a:pt x="174" y="264"/>
                </a:lnTo>
                <a:lnTo>
                  <a:pt x="174" y="264"/>
                </a:lnTo>
                <a:lnTo>
                  <a:pt x="168" y="264"/>
                </a:lnTo>
                <a:lnTo>
                  <a:pt x="168" y="264"/>
                </a:lnTo>
                <a:lnTo>
                  <a:pt x="168" y="264"/>
                </a:lnTo>
                <a:lnTo>
                  <a:pt x="168" y="264"/>
                </a:lnTo>
                <a:lnTo>
                  <a:pt x="168" y="264"/>
                </a:lnTo>
                <a:lnTo>
                  <a:pt x="168" y="264"/>
                </a:lnTo>
                <a:lnTo>
                  <a:pt x="168" y="264"/>
                </a:lnTo>
                <a:lnTo>
                  <a:pt x="162" y="270"/>
                </a:lnTo>
                <a:lnTo>
                  <a:pt x="162" y="270"/>
                </a:lnTo>
                <a:lnTo>
                  <a:pt x="162" y="270"/>
                </a:lnTo>
                <a:lnTo>
                  <a:pt x="162" y="270"/>
                </a:lnTo>
                <a:lnTo>
                  <a:pt x="162" y="270"/>
                </a:lnTo>
                <a:lnTo>
                  <a:pt x="156" y="276"/>
                </a:lnTo>
                <a:lnTo>
                  <a:pt x="156" y="276"/>
                </a:lnTo>
                <a:lnTo>
                  <a:pt x="156" y="276"/>
                </a:lnTo>
                <a:lnTo>
                  <a:pt x="156" y="276"/>
                </a:lnTo>
                <a:lnTo>
                  <a:pt x="156" y="276"/>
                </a:lnTo>
                <a:lnTo>
                  <a:pt x="144" y="276"/>
                </a:lnTo>
                <a:lnTo>
                  <a:pt x="144" y="276"/>
                </a:lnTo>
                <a:lnTo>
                  <a:pt x="144" y="276"/>
                </a:lnTo>
                <a:lnTo>
                  <a:pt x="144" y="276"/>
                </a:lnTo>
                <a:lnTo>
                  <a:pt x="144" y="276"/>
                </a:lnTo>
                <a:lnTo>
                  <a:pt x="144" y="276"/>
                </a:lnTo>
                <a:lnTo>
                  <a:pt x="144" y="276"/>
                </a:lnTo>
                <a:lnTo>
                  <a:pt x="144" y="276"/>
                </a:lnTo>
                <a:lnTo>
                  <a:pt x="138" y="276"/>
                </a:lnTo>
                <a:lnTo>
                  <a:pt x="138" y="276"/>
                </a:lnTo>
                <a:lnTo>
                  <a:pt x="138" y="276"/>
                </a:lnTo>
                <a:lnTo>
                  <a:pt x="138" y="276"/>
                </a:lnTo>
                <a:lnTo>
                  <a:pt x="138" y="282"/>
                </a:lnTo>
                <a:lnTo>
                  <a:pt x="132" y="282"/>
                </a:lnTo>
                <a:lnTo>
                  <a:pt x="132" y="282"/>
                </a:lnTo>
                <a:lnTo>
                  <a:pt x="132" y="282"/>
                </a:lnTo>
                <a:lnTo>
                  <a:pt x="132" y="282"/>
                </a:lnTo>
                <a:lnTo>
                  <a:pt x="132" y="282"/>
                </a:lnTo>
                <a:lnTo>
                  <a:pt x="132" y="282"/>
                </a:lnTo>
                <a:lnTo>
                  <a:pt x="126" y="288"/>
                </a:lnTo>
                <a:lnTo>
                  <a:pt x="126" y="288"/>
                </a:lnTo>
                <a:lnTo>
                  <a:pt x="126" y="288"/>
                </a:lnTo>
                <a:lnTo>
                  <a:pt x="132" y="288"/>
                </a:lnTo>
                <a:lnTo>
                  <a:pt x="126" y="288"/>
                </a:lnTo>
                <a:lnTo>
                  <a:pt x="126" y="288"/>
                </a:lnTo>
                <a:lnTo>
                  <a:pt x="126" y="288"/>
                </a:lnTo>
                <a:lnTo>
                  <a:pt x="126" y="288"/>
                </a:lnTo>
                <a:lnTo>
                  <a:pt x="126" y="288"/>
                </a:lnTo>
                <a:lnTo>
                  <a:pt x="126" y="288"/>
                </a:lnTo>
                <a:lnTo>
                  <a:pt x="126" y="288"/>
                </a:lnTo>
                <a:lnTo>
                  <a:pt x="126" y="288"/>
                </a:lnTo>
                <a:lnTo>
                  <a:pt x="126" y="288"/>
                </a:lnTo>
                <a:lnTo>
                  <a:pt x="120" y="294"/>
                </a:lnTo>
                <a:lnTo>
                  <a:pt x="120" y="294"/>
                </a:lnTo>
                <a:lnTo>
                  <a:pt x="120" y="294"/>
                </a:lnTo>
                <a:lnTo>
                  <a:pt x="120" y="294"/>
                </a:lnTo>
                <a:lnTo>
                  <a:pt x="120" y="294"/>
                </a:lnTo>
                <a:lnTo>
                  <a:pt x="120" y="294"/>
                </a:lnTo>
                <a:lnTo>
                  <a:pt x="120" y="294"/>
                </a:lnTo>
                <a:lnTo>
                  <a:pt x="120" y="294"/>
                </a:lnTo>
                <a:lnTo>
                  <a:pt x="120" y="294"/>
                </a:lnTo>
                <a:lnTo>
                  <a:pt x="114" y="294"/>
                </a:lnTo>
                <a:lnTo>
                  <a:pt x="114" y="300"/>
                </a:lnTo>
                <a:lnTo>
                  <a:pt x="114" y="300"/>
                </a:lnTo>
                <a:lnTo>
                  <a:pt x="114" y="300"/>
                </a:lnTo>
                <a:lnTo>
                  <a:pt x="108" y="300"/>
                </a:lnTo>
                <a:lnTo>
                  <a:pt x="108" y="300"/>
                </a:lnTo>
                <a:lnTo>
                  <a:pt x="108" y="300"/>
                </a:lnTo>
                <a:lnTo>
                  <a:pt x="108" y="300"/>
                </a:lnTo>
                <a:lnTo>
                  <a:pt x="108" y="300"/>
                </a:lnTo>
                <a:lnTo>
                  <a:pt x="108" y="300"/>
                </a:lnTo>
                <a:lnTo>
                  <a:pt x="108" y="300"/>
                </a:lnTo>
                <a:lnTo>
                  <a:pt x="108" y="306"/>
                </a:lnTo>
                <a:lnTo>
                  <a:pt x="108" y="300"/>
                </a:lnTo>
                <a:lnTo>
                  <a:pt x="108" y="300"/>
                </a:lnTo>
                <a:lnTo>
                  <a:pt x="102" y="306"/>
                </a:lnTo>
                <a:lnTo>
                  <a:pt x="102" y="300"/>
                </a:lnTo>
                <a:lnTo>
                  <a:pt x="102" y="300"/>
                </a:lnTo>
                <a:lnTo>
                  <a:pt x="96" y="300"/>
                </a:lnTo>
                <a:lnTo>
                  <a:pt x="96" y="300"/>
                </a:lnTo>
                <a:lnTo>
                  <a:pt x="96" y="300"/>
                </a:lnTo>
                <a:lnTo>
                  <a:pt x="96" y="300"/>
                </a:lnTo>
                <a:lnTo>
                  <a:pt x="96" y="300"/>
                </a:lnTo>
                <a:lnTo>
                  <a:pt x="90" y="300"/>
                </a:lnTo>
                <a:lnTo>
                  <a:pt x="90" y="300"/>
                </a:lnTo>
                <a:lnTo>
                  <a:pt x="90" y="306"/>
                </a:lnTo>
                <a:lnTo>
                  <a:pt x="90" y="306"/>
                </a:lnTo>
                <a:lnTo>
                  <a:pt x="90" y="306"/>
                </a:lnTo>
                <a:lnTo>
                  <a:pt x="90" y="306"/>
                </a:lnTo>
                <a:lnTo>
                  <a:pt x="90" y="306"/>
                </a:lnTo>
                <a:lnTo>
                  <a:pt x="90" y="306"/>
                </a:lnTo>
                <a:lnTo>
                  <a:pt x="90" y="306"/>
                </a:lnTo>
                <a:lnTo>
                  <a:pt x="90" y="306"/>
                </a:lnTo>
                <a:lnTo>
                  <a:pt x="84" y="312"/>
                </a:lnTo>
                <a:lnTo>
                  <a:pt x="84" y="312"/>
                </a:lnTo>
                <a:lnTo>
                  <a:pt x="84" y="312"/>
                </a:lnTo>
                <a:lnTo>
                  <a:pt x="84" y="312"/>
                </a:lnTo>
                <a:lnTo>
                  <a:pt x="84" y="312"/>
                </a:lnTo>
                <a:lnTo>
                  <a:pt x="84" y="312"/>
                </a:lnTo>
                <a:lnTo>
                  <a:pt x="84" y="312"/>
                </a:lnTo>
                <a:lnTo>
                  <a:pt x="84" y="312"/>
                </a:lnTo>
                <a:lnTo>
                  <a:pt x="84" y="312"/>
                </a:lnTo>
                <a:lnTo>
                  <a:pt x="84" y="312"/>
                </a:lnTo>
                <a:lnTo>
                  <a:pt x="84" y="312"/>
                </a:lnTo>
                <a:lnTo>
                  <a:pt x="78" y="312"/>
                </a:lnTo>
                <a:lnTo>
                  <a:pt x="78" y="312"/>
                </a:lnTo>
                <a:lnTo>
                  <a:pt x="78" y="312"/>
                </a:lnTo>
                <a:lnTo>
                  <a:pt x="78" y="318"/>
                </a:lnTo>
                <a:lnTo>
                  <a:pt x="78" y="318"/>
                </a:lnTo>
                <a:lnTo>
                  <a:pt x="78" y="318"/>
                </a:lnTo>
                <a:lnTo>
                  <a:pt x="78" y="318"/>
                </a:lnTo>
                <a:lnTo>
                  <a:pt x="78" y="318"/>
                </a:lnTo>
                <a:lnTo>
                  <a:pt x="78" y="318"/>
                </a:lnTo>
                <a:lnTo>
                  <a:pt x="78" y="318"/>
                </a:lnTo>
                <a:lnTo>
                  <a:pt x="78" y="318"/>
                </a:lnTo>
                <a:lnTo>
                  <a:pt x="78" y="318"/>
                </a:lnTo>
                <a:lnTo>
                  <a:pt x="78" y="318"/>
                </a:lnTo>
                <a:lnTo>
                  <a:pt x="72" y="324"/>
                </a:lnTo>
                <a:lnTo>
                  <a:pt x="72" y="324"/>
                </a:lnTo>
                <a:lnTo>
                  <a:pt x="72" y="324"/>
                </a:lnTo>
                <a:lnTo>
                  <a:pt x="72" y="324"/>
                </a:lnTo>
                <a:lnTo>
                  <a:pt x="72" y="324"/>
                </a:lnTo>
                <a:lnTo>
                  <a:pt x="72" y="324"/>
                </a:lnTo>
                <a:lnTo>
                  <a:pt x="72" y="324"/>
                </a:lnTo>
                <a:lnTo>
                  <a:pt x="72" y="324"/>
                </a:lnTo>
                <a:lnTo>
                  <a:pt x="72" y="324"/>
                </a:lnTo>
                <a:lnTo>
                  <a:pt x="72" y="324"/>
                </a:lnTo>
                <a:lnTo>
                  <a:pt x="72" y="324"/>
                </a:lnTo>
                <a:lnTo>
                  <a:pt x="72" y="324"/>
                </a:lnTo>
                <a:lnTo>
                  <a:pt x="72" y="324"/>
                </a:lnTo>
                <a:lnTo>
                  <a:pt x="72" y="324"/>
                </a:lnTo>
                <a:lnTo>
                  <a:pt x="66" y="324"/>
                </a:lnTo>
                <a:lnTo>
                  <a:pt x="66" y="324"/>
                </a:lnTo>
                <a:lnTo>
                  <a:pt x="66" y="324"/>
                </a:lnTo>
                <a:lnTo>
                  <a:pt x="66" y="324"/>
                </a:lnTo>
                <a:lnTo>
                  <a:pt x="66" y="324"/>
                </a:lnTo>
                <a:lnTo>
                  <a:pt x="66" y="324"/>
                </a:lnTo>
                <a:lnTo>
                  <a:pt x="66" y="324"/>
                </a:lnTo>
                <a:lnTo>
                  <a:pt x="60" y="324"/>
                </a:lnTo>
                <a:lnTo>
                  <a:pt x="60" y="324"/>
                </a:lnTo>
                <a:lnTo>
                  <a:pt x="60" y="324"/>
                </a:lnTo>
                <a:lnTo>
                  <a:pt x="60" y="324"/>
                </a:lnTo>
                <a:lnTo>
                  <a:pt x="60" y="324"/>
                </a:lnTo>
                <a:lnTo>
                  <a:pt x="60" y="324"/>
                </a:lnTo>
                <a:lnTo>
                  <a:pt x="60" y="324"/>
                </a:lnTo>
                <a:lnTo>
                  <a:pt x="60" y="324"/>
                </a:lnTo>
                <a:lnTo>
                  <a:pt x="54" y="330"/>
                </a:lnTo>
                <a:lnTo>
                  <a:pt x="54" y="330"/>
                </a:lnTo>
                <a:lnTo>
                  <a:pt x="54" y="330"/>
                </a:lnTo>
                <a:lnTo>
                  <a:pt x="54" y="330"/>
                </a:lnTo>
                <a:lnTo>
                  <a:pt x="54" y="330"/>
                </a:lnTo>
                <a:lnTo>
                  <a:pt x="54" y="330"/>
                </a:lnTo>
                <a:lnTo>
                  <a:pt x="48" y="324"/>
                </a:lnTo>
                <a:lnTo>
                  <a:pt x="42" y="330"/>
                </a:lnTo>
                <a:lnTo>
                  <a:pt x="42" y="330"/>
                </a:lnTo>
                <a:lnTo>
                  <a:pt x="42" y="330"/>
                </a:lnTo>
                <a:lnTo>
                  <a:pt x="36" y="330"/>
                </a:lnTo>
                <a:lnTo>
                  <a:pt x="42" y="330"/>
                </a:lnTo>
                <a:lnTo>
                  <a:pt x="36" y="336"/>
                </a:lnTo>
                <a:lnTo>
                  <a:pt x="36" y="336"/>
                </a:lnTo>
                <a:lnTo>
                  <a:pt x="36" y="336"/>
                </a:lnTo>
                <a:lnTo>
                  <a:pt x="36" y="336"/>
                </a:lnTo>
                <a:lnTo>
                  <a:pt x="36" y="336"/>
                </a:lnTo>
                <a:lnTo>
                  <a:pt x="30" y="336"/>
                </a:lnTo>
                <a:lnTo>
                  <a:pt x="30" y="336"/>
                </a:lnTo>
                <a:lnTo>
                  <a:pt x="30" y="336"/>
                </a:lnTo>
                <a:lnTo>
                  <a:pt x="30" y="336"/>
                </a:lnTo>
                <a:lnTo>
                  <a:pt x="30" y="342"/>
                </a:lnTo>
                <a:lnTo>
                  <a:pt x="30" y="342"/>
                </a:lnTo>
                <a:lnTo>
                  <a:pt x="30" y="342"/>
                </a:lnTo>
                <a:lnTo>
                  <a:pt x="30" y="342"/>
                </a:lnTo>
                <a:lnTo>
                  <a:pt x="30" y="342"/>
                </a:lnTo>
                <a:lnTo>
                  <a:pt x="30" y="342"/>
                </a:lnTo>
                <a:lnTo>
                  <a:pt x="30" y="342"/>
                </a:lnTo>
                <a:lnTo>
                  <a:pt x="24" y="342"/>
                </a:lnTo>
                <a:lnTo>
                  <a:pt x="24" y="342"/>
                </a:lnTo>
                <a:lnTo>
                  <a:pt x="24" y="342"/>
                </a:lnTo>
                <a:lnTo>
                  <a:pt x="24" y="342"/>
                </a:lnTo>
                <a:lnTo>
                  <a:pt x="24" y="342"/>
                </a:lnTo>
                <a:lnTo>
                  <a:pt x="24" y="342"/>
                </a:lnTo>
                <a:lnTo>
                  <a:pt x="24" y="336"/>
                </a:lnTo>
                <a:lnTo>
                  <a:pt x="18" y="336"/>
                </a:lnTo>
                <a:lnTo>
                  <a:pt x="18" y="336"/>
                </a:lnTo>
                <a:lnTo>
                  <a:pt x="24" y="336"/>
                </a:lnTo>
                <a:lnTo>
                  <a:pt x="24" y="336"/>
                </a:lnTo>
                <a:lnTo>
                  <a:pt x="24" y="330"/>
                </a:lnTo>
                <a:lnTo>
                  <a:pt x="24" y="330"/>
                </a:lnTo>
                <a:lnTo>
                  <a:pt x="30" y="330"/>
                </a:lnTo>
                <a:lnTo>
                  <a:pt x="30" y="330"/>
                </a:lnTo>
                <a:lnTo>
                  <a:pt x="30" y="330"/>
                </a:lnTo>
                <a:lnTo>
                  <a:pt x="30" y="330"/>
                </a:lnTo>
                <a:lnTo>
                  <a:pt x="30" y="330"/>
                </a:lnTo>
                <a:lnTo>
                  <a:pt x="30" y="324"/>
                </a:lnTo>
                <a:lnTo>
                  <a:pt x="30" y="324"/>
                </a:lnTo>
                <a:lnTo>
                  <a:pt x="30" y="324"/>
                </a:lnTo>
                <a:lnTo>
                  <a:pt x="30" y="324"/>
                </a:lnTo>
                <a:lnTo>
                  <a:pt x="30" y="324"/>
                </a:lnTo>
                <a:lnTo>
                  <a:pt x="36" y="324"/>
                </a:lnTo>
                <a:lnTo>
                  <a:pt x="36" y="318"/>
                </a:lnTo>
                <a:lnTo>
                  <a:pt x="36" y="318"/>
                </a:lnTo>
                <a:lnTo>
                  <a:pt x="42" y="312"/>
                </a:lnTo>
                <a:lnTo>
                  <a:pt x="42" y="312"/>
                </a:lnTo>
                <a:lnTo>
                  <a:pt x="36" y="306"/>
                </a:lnTo>
                <a:lnTo>
                  <a:pt x="42" y="306"/>
                </a:lnTo>
                <a:lnTo>
                  <a:pt x="42" y="306"/>
                </a:lnTo>
                <a:lnTo>
                  <a:pt x="42" y="300"/>
                </a:lnTo>
                <a:lnTo>
                  <a:pt x="36" y="300"/>
                </a:lnTo>
                <a:lnTo>
                  <a:pt x="36" y="300"/>
                </a:lnTo>
                <a:lnTo>
                  <a:pt x="36" y="300"/>
                </a:lnTo>
                <a:lnTo>
                  <a:pt x="36" y="300"/>
                </a:lnTo>
                <a:lnTo>
                  <a:pt x="36" y="294"/>
                </a:lnTo>
                <a:lnTo>
                  <a:pt x="36" y="294"/>
                </a:lnTo>
                <a:lnTo>
                  <a:pt x="30" y="294"/>
                </a:lnTo>
                <a:lnTo>
                  <a:pt x="30" y="294"/>
                </a:lnTo>
                <a:lnTo>
                  <a:pt x="30" y="288"/>
                </a:lnTo>
                <a:lnTo>
                  <a:pt x="30" y="288"/>
                </a:lnTo>
                <a:lnTo>
                  <a:pt x="30" y="288"/>
                </a:lnTo>
                <a:lnTo>
                  <a:pt x="30" y="288"/>
                </a:lnTo>
                <a:lnTo>
                  <a:pt x="30" y="288"/>
                </a:lnTo>
                <a:lnTo>
                  <a:pt x="36" y="288"/>
                </a:lnTo>
                <a:lnTo>
                  <a:pt x="36" y="282"/>
                </a:lnTo>
                <a:lnTo>
                  <a:pt x="36" y="282"/>
                </a:lnTo>
                <a:lnTo>
                  <a:pt x="36" y="282"/>
                </a:lnTo>
                <a:lnTo>
                  <a:pt x="36" y="282"/>
                </a:lnTo>
                <a:lnTo>
                  <a:pt x="36" y="276"/>
                </a:lnTo>
                <a:lnTo>
                  <a:pt x="36" y="276"/>
                </a:lnTo>
                <a:lnTo>
                  <a:pt x="36" y="276"/>
                </a:lnTo>
                <a:lnTo>
                  <a:pt x="36" y="276"/>
                </a:lnTo>
                <a:lnTo>
                  <a:pt x="36" y="276"/>
                </a:lnTo>
                <a:lnTo>
                  <a:pt x="36" y="276"/>
                </a:lnTo>
                <a:lnTo>
                  <a:pt x="36" y="270"/>
                </a:lnTo>
                <a:lnTo>
                  <a:pt x="36" y="270"/>
                </a:lnTo>
                <a:lnTo>
                  <a:pt x="36" y="270"/>
                </a:lnTo>
                <a:lnTo>
                  <a:pt x="36" y="270"/>
                </a:lnTo>
                <a:lnTo>
                  <a:pt x="36" y="270"/>
                </a:lnTo>
                <a:lnTo>
                  <a:pt x="30" y="270"/>
                </a:lnTo>
                <a:lnTo>
                  <a:pt x="30" y="270"/>
                </a:lnTo>
                <a:lnTo>
                  <a:pt x="36" y="264"/>
                </a:lnTo>
                <a:lnTo>
                  <a:pt x="30" y="264"/>
                </a:lnTo>
                <a:lnTo>
                  <a:pt x="36" y="264"/>
                </a:lnTo>
                <a:lnTo>
                  <a:pt x="36" y="264"/>
                </a:lnTo>
                <a:lnTo>
                  <a:pt x="36" y="264"/>
                </a:lnTo>
                <a:lnTo>
                  <a:pt x="36" y="264"/>
                </a:lnTo>
                <a:lnTo>
                  <a:pt x="36" y="264"/>
                </a:lnTo>
                <a:lnTo>
                  <a:pt x="36" y="264"/>
                </a:lnTo>
                <a:lnTo>
                  <a:pt x="36" y="264"/>
                </a:lnTo>
                <a:lnTo>
                  <a:pt x="36" y="264"/>
                </a:lnTo>
                <a:lnTo>
                  <a:pt x="36" y="258"/>
                </a:lnTo>
                <a:lnTo>
                  <a:pt x="36" y="258"/>
                </a:lnTo>
                <a:lnTo>
                  <a:pt x="36" y="258"/>
                </a:lnTo>
                <a:lnTo>
                  <a:pt x="36" y="258"/>
                </a:lnTo>
                <a:lnTo>
                  <a:pt x="36" y="252"/>
                </a:lnTo>
                <a:lnTo>
                  <a:pt x="36" y="252"/>
                </a:lnTo>
                <a:lnTo>
                  <a:pt x="36" y="252"/>
                </a:lnTo>
                <a:lnTo>
                  <a:pt x="36" y="252"/>
                </a:lnTo>
                <a:lnTo>
                  <a:pt x="36" y="252"/>
                </a:lnTo>
                <a:lnTo>
                  <a:pt x="36" y="252"/>
                </a:lnTo>
                <a:lnTo>
                  <a:pt x="36" y="252"/>
                </a:lnTo>
                <a:lnTo>
                  <a:pt x="36" y="252"/>
                </a:lnTo>
                <a:lnTo>
                  <a:pt x="36" y="252"/>
                </a:lnTo>
                <a:lnTo>
                  <a:pt x="36" y="252"/>
                </a:lnTo>
                <a:lnTo>
                  <a:pt x="42" y="246"/>
                </a:lnTo>
                <a:lnTo>
                  <a:pt x="36" y="246"/>
                </a:lnTo>
                <a:lnTo>
                  <a:pt x="36" y="246"/>
                </a:lnTo>
                <a:lnTo>
                  <a:pt x="36" y="246"/>
                </a:lnTo>
                <a:lnTo>
                  <a:pt x="36" y="246"/>
                </a:lnTo>
                <a:lnTo>
                  <a:pt x="36" y="246"/>
                </a:lnTo>
                <a:lnTo>
                  <a:pt x="36" y="246"/>
                </a:lnTo>
                <a:lnTo>
                  <a:pt x="36" y="246"/>
                </a:lnTo>
                <a:lnTo>
                  <a:pt x="36" y="240"/>
                </a:lnTo>
                <a:lnTo>
                  <a:pt x="36" y="240"/>
                </a:lnTo>
                <a:lnTo>
                  <a:pt x="36" y="240"/>
                </a:lnTo>
                <a:lnTo>
                  <a:pt x="36" y="240"/>
                </a:lnTo>
                <a:lnTo>
                  <a:pt x="36" y="240"/>
                </a:lnTo>
                <a:lnTo>
                  <a:pt x="36" y="234"/>
                </a:lnTo>
                <a:lnTo>
                  <a:pt x="36" y="234"/>
                </a:lnTo>
                <a:lnTo>
                  <a:pt x="36" y="234"/>
                </a:lnTo>
                <a:lnTo>
                  <a:pt x="36" y="234"/>
                </a:lnTo>
                <a:lnTo>
                  <a:pt x="36" y="234"/>
                </a:lnTo>
                <a:lnTo>
                  <a:pt x="36" y="234"/>
                </a:lnTo>
                <a:lnTo>
                  <a:pt x="36" y="234"/>
                </a:lnTo>
                <a:lnTo>
                  <a:pt x="36" y="234"/>
                </a:lnTo>
                <a:lnTo>
                  <a:pt x="42" y="234"/>
                </a:lnTo>
                <a:lnTo>
                  <a:pt x="42" y="234"/>
                </a:lnTo>
                <a:lnTo>
                  <a:pt x="42" y="234"/>
                </a:lnTo>
                <a:lnTo>
                  <a:pt x="42" y="234"/>
                </a:lnTo>
                <a:lnTo>
                  <a:pt x="42" y="234"/>
                </a:lnTo>
                <a:lnTo>
                  <a:pt x="48" y="234"/>
                </a:lnTo>
                <a:lnTo>
                  <a:pt x="48" y="228"/>
                </a:lnTo>
                <a:lnTo>
                  <a:pt x="48" y="228"/>
                </a:lnTo>
                <a:lnTo>
                  <a:pt x="48" y="228"/>
                </a:lnTo>
                <a:lnTo>
                  <a:pt x="48" y="228"/>
                </a:lnTo>
                <a:lnTo>
                  <a:pt x="48" y="228"/>
                </a:lnTo>
                <a:lnTo>
                  <a:pt x="48" y="222"/>
                </a:lnTo>
                <a:lnTo>
                  <a:pt x="48" y="222"/>
                </a:lnTo>
                <a:lnTo>
                  <a:pt x="48" y="222"/>
                </a:lnTo>
                <a:lnTo>
                  <a:pt x="42" y="222"/>
                </a:lnTo>
                <a:lnTo>
                  <a:pt x="42" y="222"/>
                </a:lnTo>
                <a:lnTo>
                  <a:pt x="42" y="222"/>
                </a:lnTo>
                <a:lnTo>
                  <a:pt x="42" y="222"/>
                </a:lnTo>
                <a:lnTo>
                  <a:pt x="42" y="216"/>
                </a:lnTo>
                <a:lnTo>
                  <a:pt x="42" y="216"/>
                </a:lnTo>
                <a:lnTo>
                  <a:pt x="36" y="216"/>
                </a:lnTo>
                <a:lnTo>
                  <a:pt x="36" y="210"/>
                </a:lnTo>
                <a:lnTo>
                  <a:pt x="36" y="210"/>
                </a:lnTo>
                <a:lnTo>
                  <a:pt x="36" y="210"/>
                </a:lnTo>
                <a:lnTo>
                  <a:pt x="36" y="210"/>
                </a:lnTo>
                <a:lnTo>
                  <a:pt x="36" y="210"/>
                </a:lnTo>
                <a:lnTo>
                  <a:pt x="36" y="210"/>
                </a:lnTo>
                <a:lnTo>
                  <a:pt x="30" y="210"/>
                </a:lnTo>
                <a:lnTo>
                  <a:pt x="30" y="210"/>
                </a:lnTo>
                <a:lnTo>
                  <a:pt x="30" y="210"/>
                </a:lnTo>
                <a:lnTo>
                  <a:pt x="30" y="210"/>
                </a:lnTo>
                <a:lnTo>
                  <a:pt x="30" y="204"/>
                </a:lnTo>
                <a:lnTo>
                  <a:pt x="30" y="204"/>
                </a:lnTo>
                <a:lnTo>
                  <a:pt x="30" y="204"/>
                </a:lnTo>
                <a:lnTo>
                  <a:pt x="24" y="204"/>
                </a:lnTo>
                <a:lnTo>
                  <a:pt x="24" y="204"/>
                </a:lnTo>
                <a:lnTo>
                  <a:pt x="24" y="204"/>
                </a:lnTo>
                <a:lnTo>
                  <a:pt x="24" y="204"/>
                </a:lnTo>
                <a:lnTo>
                  <a:pt x="24" y="204"/>
                </a:lnTo>
                <a:lnTo>
                  <a:pt x="24" y="204"/>
                </a:lnTo>
                <a:lnTo>
                  <a:pt x="24" y="204"/>
                </a:lnTo>
                <a:lnTo>
                  <a:pt x="18" y="198"/>
                </a:lnTo>
                <a:lnTo>
                  <a:pt x="18" y="198"/>
                </a:lnTo>
                <a:lnTo>
                  <a:pt x="18" y="198"/>
                </a:lnTo>
                <a:lnTo>
                  <a:pt x="12" y="198"/>
                </a:lnTo>
                <a:lnTo>
                  <a:pt x="12" y="198"/>
                </a:lnTo>
                <a:lnTo>
                  <a:pt x="12" y="198"/>
                </a:lnTo>
                <a:lnTo>
                  <a:pt x="12" y="192"/>
                </a:lnTo>
                <a:lnTo>
                  <a:pt x="6" y="192"/>
                </a:lnTo>
                <a:lnTo>
                  <a:pt x="6" y="192"/>
                </a:lnTo>
                <a:lnTo>
                  <a:pt x="0" y="192"/>
                </a:lnTo>
                <a:lnTo>
                  <a:pt x="0" y="192"/>
                </a:lnTo>
                <a:lnTo>
                  <a:pt x="6" y="192"/>
                </a:lnTo>
                <a:lnTo>
                  <a:pt x="6" y="192"/>
                </a:lnTo>
                <a:lnTo>
                  <a:pt x="6" y="192"/>
                </a:lnTo>
                <a:lnTo>
                  <a:pt x="6" y="186"/>
                </a:lnTo>
                <a:lnTo>
                  <a:pt x="6" y="186"/>
                </a:lnTo>
                <a:lnTo>
                  <a:pt x="6" y="186"/>
                </a:lnTo>
                <a:lnTo>
                  <a:pt x="6" y="18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11" name="Freeform 244"/>
          <p:cNvSpPr>
            <a:spLocks/>
          </p:cNvSpPr>
          <p:nvPr/>
        </p:nvSpPr>
        <p:spPr bwMode="auto">
          <a:xfrm>
            <a:off x="8098120" y="2439043"/>
            <a:ext cx="224842" cy="250540"/>
          </a:xfrm>
          <a:custGeom>
            <a:avLst/>
            <a:gdLst>
              <a:gd name="T0" fmla="*/ 6 w 210"/>
              <a:gd name="T1" fmla="*/ 168 h 234"/>
              <a:gd name="T2" fmla="*/ 6 w 210"/>
              <a:gd name="T3" fmla="*/ 168 h 234"/>
              <a:gd name="T4" fmla="*/ 12 w 210"/>
              <a:gd name="T5" fmla="*/ 168 h 234"/>
              <a:gd name="T6" fmla="*/ 18 w 210"/>
              <a:gd name="T7" fmla="*/ 174 h 234"/>
              <a:gd name="T8" fmla="*/ 24 w 210"/>
              <a:gd name="T9" fmla="*/ 174 h 234"/>
              <a:gd name="T10" fmla="*/ 30 w 210"/>
              <a:gd name="T11" fmla="*/ 174 h 234"/>
              <a:gd name="T12" fmla="*/ 36 w 210"/>
              <a:gd name="T13" fmla="*/ 180 h 234"/>
              <a:gd name="T14" fmla="*/ 42 w 210"/>
              <a:gd name="T15" fmla="*/ 180 h 234"/>
              <a:gd name="T16" fmla="*/ 48 w 210"/>
              <a:gd name="T17" fmla="*/ 180 h 234"/>
              <a:gd name="T18" fmla="*/ 54 w 210"/>
              <a:gd name="T19" fmla="*/ 168 h 234"/>
              <a:gd name="T20" fmla="*/ 54 w 210"/>
              <a:gd name="T21" fmla="*/ 168 h 234"/>
              <a:gd name="T22" fmla="*/ 48 w 210"/>
              <a:gd name="T23" fmla="*/ 162 h 234"/>
              <a:gd name="T24" fmla="*/ 48 w 210"/>
              <a:gd name="T25" fmla="*/ 156 h 234"/>
              <a:gd name="T26" fmla="*/ 48 w 210"/>
              <a:gd name="T27" fmla="*/ 150 h 234"/>
              <a:gd name="T28" fmla="*/ 48 w 210"/>
              <a:gd name="T29" fmla="*/ 144 h 234"/>
              <a:gd name="T30" fmla="*/ 42 w 210"/>
              <a:gd name="T31" fmla="*/ 138 h 234"/>
              <a:gd name="T32" fmla="*/ 36 w 210"/>
              <a:gd name="T33" fmla="*/ 120 h 234"/>
              <a:gd name="T34" fmla="*/ 36 w 210"/>
              <a:gd name="T35" fmla="*/ 114 h 234"/>
              <a:gd name="T36" fmla="*/ 42 w 210"/>
              <a:gd name="T37" fmla="*/ 108 h 234"/>
              <a:gd name="T38" fmla="*/ 42 w 210"/>
              <a:gd name="T39" fmla="*/ 102 h 234"/>
              <a:gd name="T40" fmla="*/ 42 w 210"/>
              <a:gd name="T41" fmla="*/ 96 h 234"/>
              <a:gd name="T42" fmla="*/ 42 w 210"/>
              <a:gd name="T43" fmla="*/ 84 h 234"/>
              <a:gd name="T44" fmla="*/ 36 w 210"/>
              <a:gd name="T45" fmla="*/ 78 h 234"/>
              <a:gd name="T46" fmla="*/ 36 w 210"/>
              <a:gd name="T47" fmla="*/ 60 h 234"/>
              <a:gd name="T48" fmla="*/ 36 w 210"/>
              <a:gd name="T49" fmla="*/ 48 h 234"/>
              <a:gd name="T50" fmla="*/ 66 w 210"/>
              <a:gd name="T51" fmla="*/ 12 h 234"/>
              <a:gd name="T52" fmla="*/ 96 w 210"/>
              <a:gd name="T53" fmla="*/ 6 h 234"/>
              <a:gd name="T54" fmla="*/ 102 w 210"/>
              <a:gd name="T55" fmla="*/ 6 h 234"/>
              <a:gd name="T56" fmla="*/ 114 w 210"/>
              <a:gd name="T57" fmla="*/ 6 h 234"/>
              <a:gd name="T58" fmla="*/ 120 w 210"/>
              <a:gd name="T59" fmla="*/ 6 h 234"/>
              <a:gd name="T60" fmla="*/ 126 w 210"/>
              <a:gd name="T61" fmla="*/ 6 h 234"/>
              <a:gd name="T62" fmla="*/ 126 w 210"/>
              <a:gd name="T63" fmla="*/ 12 h 234"/>
              <a:gd name="T64" fmla="*/ 132 w 210"/>
              <a:gd name="T65" fmla="*/ 12 h 234"/>
              <a:gd name="T66" fmla="*/ 132 w 210"/>
              <a:gd name="T67" fmla="*/ 18 h 234"/>
              <a:gd name="T68" fmla="*/ 138 w 210"/>
              <a:gd name="T69" fmla="*/ 18 h 234"/>
              <a:gd name="T70" fmla="*/ 138 w 210"/>
              <a:gd name="T71" fmla="*/ 24 h 234"/>
              <a:gd name="T72" fmla="*/ 138 w 210"/>
              <a:gd name="T73" fmla="*/ 30 h 234"/>
              <a:gd name="T74" fmla="*/ 150 w 210"/>
              <a:gd name="T75" fmla="*/ 54 h 234"/>
              <a:gd name="T76" fmla="*/ 198 w 210"/>
              <a:gd name="T77" fmla="*/ 114 h 234"/>
              <a:gd name="T78" fmla="*/ 192 w 210"/>
              <a:gd name="T79" fmla="*/ 114 h 234"/>
              <a:gd name="T80" fmla="*/ 192 w 210"/>
              <a:gd name="T81" fmla="*/ 120 h 234"/>
              <a:gd name="T82" fmla="*/ 174 w 210"/>
              <a:gd name="T83" fmla="*/ 132 h 234"/>
              <a:gd name="T84" fmla="*/ 180 w 210"/>
              <a:gd name="T85" fmla="*/ 144 h 234"/>
              <a:gd name="T86" fmla="*/ 198 w 210"/>
              <a:gd name="T87" fmla="*/ 186 h 234"/>
              <a:gd name="T88" fmla="*/ 192 w 210"/>
              <a:gd name="T89" fmla="*/ 198 h 234"/>
              <a:gd name="T90" fmla="*/ 180 w 210"/>
              <a:gd name="T91" fmla="*/ 210 h 234"/>
              <a:gd name="T92" fmla="*/ 144 w 210"/>
              <a:gd name="T93" fmla="*/ 192 h 234"/>
              <a:gd name="T94" fmla="*/ 138 w 210"/>
              <a:gd name="T95" fmla="*/ 192 h 234"/>
              <a:gd name="T96" fmla="*/ 126 w 210"/>
              <a:gd name="T97" fmla="*/ 192 h 234"/>
              <a:gd name="T98" fmla="*/ 114 w 210"/>
              <a:gd name="T99" fmla="*/ 186 h 234"/>
              <a:gd name="T100" fmla="*/ 108 w 210"/>
              <a:gd name="T101" fmla="*/ 186 h 234"/>
              <a:gd name="T102" fmla="*/ 102 w 210"/>
              <a:gd name="T103" fmla="*/ 180 h 234"/>
              <a:gd name="T104" fmla="*/ 90 w 210"/>
              <a:gd name="T105" fmla="*/ 180 h 234"/>
              <a:gd name="T106" fmla="*/ 90 w 210"/>
              <a:gd name="T107" fmla="*/ 186 h 234"/>
              <a:gd name="T108" fmla="*/ 84 w 210"/>
              <a:gd name="T109" fmla="*/ 186 h 234"/>
              <a:gd name="T110" fmla="*/ 78 w 210"/>
              <a:gd name="T111" fmla="*/ 192 h 234"/>
              <a:gd name="T112" fmla="*/ 72 w 210"/>
              <a:gd name="T113" fmla="*/ 198 h 234"/>
              <a:gd name="T114" fmla="*/ 66 w 210"/>
              <a:gd name="T115" fmla="*/ 198 h 234"/>
              <a:gd name="T116" fmla="*/ 60 w 210"/>
              <a:gd name="T117" fmla="*/ 204 h 234"/>
              <a:gd name="T118" fmla="*/ 54 w 210"/>
              <a:gd name="T119" fmla="*/ 210 h 234"/>
              <a:gd name="T120" fmla="*/ 36 w 210"/>
              <a:gd name="T121" fmla="*/ 222 h 234"/>
              <a:gd name="T122" fmla="*/ 24 w 210"/>
              <a:gd name="T123" fmla="*/ 222 h 234"/>
              <a:gd name="T124" fmla="*/ 0 w 210"/>
              <a:gd name="T125" fmla="*/ 180 h 2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10" h="234">
                <a:moveTo>
                  <a:pt x="0" y="168"/>
                </a:moveTo>
                <a:lnTo>
                  <a:pt x="0" y="168"/>
                </a:lnTo>
                <a:lnTo>
                  <a:pt x="0" y="168"/>
                </a:lnTo>
                <a:lnTo>
                  <a:pt x="6" y="168"/>
                </a:lnTo>
                <a:lnTo>
                  <a:pt x="6" y="168"/>
                </a:lnTo>
                <a:lnTo>
                  <a:pt x="6" y="168"/>
                </a:lnTo>
                <a:lnTo>
                  <a:pt x="6" y="168"/>
                </a:lnTo>
                <a:lnTo>
                  <a:pt x="6" y="168"/>
                </a:lnTo>
                <a:lnTo>
                  <a:pt x="6" y="168"/>
                </a:lnTo>
                <a:lnTo>
                  <a:pt x="6" y="168"/>
                </a:lnTo>
                <a:lnTo>
                  <a:pt x="6" y="168"/>
                </a:lnTo>
                <a:lnTo>
                  <a:pt x="12" y="168"/>
                </a:lnTo>
                <a:lnTo>
                  <a:pt x="12" y="168"/>
                </a:lnTo>
                <a:lnTo>
                  <a:pt x="12" y="168"/>
                </a:lnTo>
                <a:lnTo>
                  <a:pt x="12" y="168"/>
                </a:lnTo>
                <a:lnTo>
                  <a:pt x="12" y="168"/>
                </a:lnTo>
                <a:lnTo>
                  <a:pt x="12" y="174"/>
                </a:lnTo>
                <a:lnTo>
                  <a:pt x="18" y="174"/>
                </a:lnTo>
                <a:lnTo>
                  <a:pt x="18" y="174"/>
                </a:lnTo>
                <a:lnTo>
                  <a:pt x="18" y="174"/>
                </a:lnTo>
                <a:lnTo>
                  <a:pt x="18" y="174"/>
                </a:lnTo>
                <a:lnTo>
                  <a:pt x="24" y="174"/>
                </a:lnTo>
                <a:lnTo>
                  <a:pt x="24" y="174"/>
                </a:lnTo>
                <a:lnTo>
                  <a:pt x="24" y="174"/>
                </a:lnTo>
                <a:lnTo>
                  <a:pt x="24" y="174"/>
                </a:lnTo>
                <a:lnTo>
                  <a:pt x="24" y="174"/>
                </a:lnTo>
                <a:lnTo>
                  <a:pt x="24" y="174"/>
                </a:lnTo>
                <a:lnTo>
                  <a:pt x="30" y="174"/>
                </a:lnTo>
                <a:lnTo>
                  <a:pt x="30" y="174"/>
                </a:lnTo>
                <a:lnTo>
                  <a:pt x="30" y="174"/>
                </a:lnTo>
                <a:lnTo>
                  <a:pt x="30" y="174"/>
                </a:lnTo>
                <a:lnTo>
                  <a:pt x="30" y="174"/>
                </a:lnTo>
                <a:lnTo>
                  <a:pt x="30" y="174"/>
                </a:lnTo>
                <a:lnTo>
                  <a:pt x="36" y="174"/>
                </a:lnTo>
                <a:lnTo>
                  <a:pt x="36" y="180"/>
                </a:lnTo>
                <a:lnTo>
                  <a:pt x="36" y="180"/>
                </a:lnTo>
                <a:lnTo>
                  <a:pt x="36" y="180"/>
                </a:lnTo>
                <a:lnTo>
                  <a:pt x="36" y="180"/>
                </a:lnTo>
                <a:lnTo>
                  <a:pt x="42" y="180"/>
                </a:lnTo>
                <a:lnTo>
                  <a:pt x="42" y="180"/>
                </a:lnTo>
                <a:lnTo>
                  <a:pt x="42" y="180"/>
                </a:lnTo>
                <a:lnTo>
                  <a:pt x="42" y="180"/>
                </a:lnTo>
                <a:lnTo>
                  <a:pt x="42" y="180"/>
                </a:lnTo>
                <a:lnTo>
                  <a:pt x="48" y="180"/>
                </a:lnTo>
                <a:lnTo>
                  <a:pt x="48" y="180"/>
                </a:lnTo>
                <a:lnTo>
                  <a:pt x="48" y="180"/>
                </a:lnTo>
                <a:lnTo>
                  <a:pt x="54" y="174"/>
                </a:lnTo>
                <a:lnTo>
                  <a:pt x="54" y="174"/>
                </a:lnTo>
                <a:lnTo>
                  <a:pt x="54" y="174"/>
                </a:lnTo>
                <a:lnTo>
                  <a:pt x="54" y="168"/>
                </a:lnTo>
                <a:lnTo>
                  <a:pt x="54" y="168"/>
                </a:lnTo>
                <a:lnTo>
                  <a:pt x="54" y="168"/>
                </a:lnTo>
                <a:lnTo>
                  <a:pt x="54" y="168"/>
                </a:lnTo>
                <a:lnTo>
                  <a:pt x="54" y="168"/>
                </a:lnTo>
                <a:lnTo>
                  <a:pt x="54" y="168"/>
                </a:lnTo>
                <a:lnTo>
                  <a:pt x="54" y="168"/>
                </a:lnTo>
                <a:lnTo>
                  <a:pt x="54" y="162"/>
                </a:lnTo>
                <a:lnTo>
                  <a:pt x="54" y="162"/>
                </a:lnTo>
                <a:lnTo>
                  <a:pt x="48" y="162"/>
                </a:lnTo>
                <a:lnTo>
                  <a:pt x="48" y="162"/>
                </a:lnTo>
                <a:lnTo>
                  <a:pt x="54" y="162"/>
                </a:lnTo>
                <a:lnTo>
                  <a:pt x="54" y="156"/>
                </a:lnTo>
                <a:lnTo>
                  <a:pt x="48" y="156"/>
                </a:lnTo>
                <a:lnTo>
                  <a:pt x="48" y="156"/>
                </a:lnTo>
                <a:lnTo>
                  <a:pt x="48" y="156"/>
                </a:lnTo>
                <a:lnTo>
                  <a:pt x="48" y="156"/>
                </a:lnTo>
                <a:lnTo>
                  <a:pt x="48" y="150"/>
                </a:lnTo>
                <a:lnTo>
                  <a:pt x="48" y="150"/>
                </a:lnTo>
                <a:lnTo>
                  <a:pt x="48" y="150"/>
                </a:lnTo>
                <a:lnTo>
                  <a:pt x="48" y="150"/>
                </a:lnTo>
                <a:lnTo>
                  <a:pt x="48" y="150"/>
                </a:lnTo>
                <a:lnTo>
                  <a:pt x="48" y="150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36" y="132"/>
                </a:lnTo>
                <a:lnTo>
                  <a:pt x="36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42" y="120"/>
                </a:lnTo>
                <a:lnTo>
                  <a:pt x="36" y="120"/>
                </a:lnTo>
                <a:lnTo>
                  <a:pt x="36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36" y="84"/>
                </a:lnTo>
                <a:lnTo>
                  <a:pt x="42" y="84"/>
                </a:lnTo>
                <a:lnTo>
                  <a:pt x="36" y="84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2"/>
                </a:lnTo>
                <a:lnTo>
                  <a:pt x="36" y="66"/>
                </a:lnTo>
                <a:lnTo>
                  <a:pt x="36" y="66"/>
                </a:lnTo>
                <a:lnTo>
                  <a:pt x="36" y="60"/>
                </a:lnTo>
                <a:lnTo>
                  <a:pt x="36" y="60"/>
                </a:lnTo>
                <a:lnTo>
                  <a:pt x="36" y="54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0" y="48"/>
                </a:lnTo>
                <a:lnTo>
                  <a:pt x="36" y="48"/>
                </a:lnTo>
                <a:lnTo>
                  <a:pt x="36" y="48"/>
                </a:lnTo>
                <a:lnTo>
                  <a:pt x="54" y="18"/>
                </a:lnTo>
                <a:lnTo>
                  <a:pt x="66" y="12"/>
                </a:lnTo>
                <a:lnTo>
                  <a:pt x="96" y="0"/>
                </a:lnTo>
                <a:lnTo>
                  <a:pt x="96" y="0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6" y="6"/>
                </a:lnTo>
                <a:lnTo>
                  <a:pt x="126" y="6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8" y="18"/>
                </a:lnTo>
                <a:lnTo>
                  <a:pt x="132" y="18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44" y="30"/>
                </a:lnTo>
                <a:lnTo>
                  <a:pt x="144" y="36"/>
                </a:lnTo>
                <a:lnTo>
                  <a:pt x="144" y="36"/>
                </a:lnTo>
                <a:lnTo>
                  <a:pt x="150" y="54"/>
                </a:lnTo>
                <a:lnTo>
                  <a:pt x="186" y="84"/>
                </a:lnTo>
                <a:lnTo>
                  <a:pt x="210" y="96"/>
                </a:lnTo>
                <a:lnTo>
                  <a:pt x="204" y="96"/>
                </a:lnTo>
                <a:lnTo>
                  <a:pt x="204" y="96"/>
                </a:lnTo>
                <a:lnTo>
                  <a:pt x="198" y="114"/>
                </a:lnTo>
                <a:lnTo>
                  <a:pt x="204" y="114"/>
                </a:lnTo>
                <a:lnTo>
                  <a:pt x="204" y="114"/>
                </a:lnTo>
                <a:lnTo>
                  <a:pt x="204" y="114"/>
                </a:lnTo>
                <a:lnTo>
                  <a:pt x="198" y="114"/>
                </a:lnTo>
                <a:lnTo>
                  <a:pt x="192" y="114"/>
                </a:lnTo>
                <a:lnTo>
                  <a:pt x="198" y="120"/>
                </a:lnTo>
                <a:lnTo>
                  <a:pt x="198" y="120"/>
                </a:lnTo>
                <a:lnTo>
                  <a:pt x="198" y="120"/>
                </a:lnTo>
                <a:lnTo>
                  <a:pt x="192" y="120"/>
                </a:lnTo>
                <a:lnTo>
                  <a:pt x="192" y="120"/>
                </a:lnTo>
                <a:lnTo>
                  <a:pt x="192" y="120"/>
                </a:lnTo>
                <a:lnTo>
                  <a:pt x="174" y="132"/>
                </a:lnTo>
                <a:lnTo>
                  <a:pt x="174" y="132"/>
                </a:lnTo>
                <a:lnTo>
                  <a:pt x="174" y="132"/>
                </a:lnTo>
                <a:lnTo>
                  <a:pt x="174" y="132"/>
                </a:lnTo>
                <a:lnTo>
                  <a:pt x="174" y="132"/>
                </a:lnTo>
                <a:lnTo>
                  <a:pt x="174" y="138"/>
                </a:lnTo>
                <a:lnTo>
                  <a:pt x="180" y="138"/>
                </a:lnTo>
                <a:lnTo>
                  <a:pt x="180" y="138"/>
                </a:lnTo>
                <a:lnTo>
                  <a:pt x="180" y="144"/>
                </a:lnTo>
                <a:lnTo>
                  <a:pt x="180" y="144"/>
                </a:lnTo>
                <a:lnTo>
                  <a:pt x="180" y="144"/>
                </a:lnTo>
                <a:lnTo>
                  <a:pt x="180" y="144"/>
                </a:lnTo>
                <a:lnTo>
                  <a:pt x="198" y="180"/>
                </a:lnTo>
                <a:lnTo>
                  <a:pt x="198" y="186"/>
                </a:lnTo>
                <a:lnTo>
                  <a:pt x="198" y="186"/>
                </a:lnTo>
                <a:lnTo>
                  <a:pt x="192" y="192"/>
                </a:lnTo>
                <a:lnTo>
                  <a:pt x="192" y="198"/>
                </a:lnTo>
                <a:lnTo>
                  <a:pt x="192" y="198"/>
                </a:lnTo>
                <a:lnTo>
                  <a:pt x="192" y="198"/>
                </a:lnTo>
                <a:lnTo>
                  <a:pt x="192" y="198"/>
                </a:lnTo>
                <a:lnTo>
                  <a:pt x="192" y="204"/>
                </a:lnTo>
                <a:lnTo>
                  <a:pt x="192" y="204"/>
                </a:lnTo>
                <a:lnTo>
                  <a:pt x="192" y="204"/>
                </a:lnTo>
                <a:lnTo>
                  <a:pt x="180" y="210"/>
                </a:lnTo>
                <a:lnTo>
                  <a:pt x="162" y="234"/>
                </a:lnTo>
                <a:lnTo>
                  <a:pt x="162" y="234"/>
                </a:lnTo>
                <a:lnTo>
                  <a:pt x="156" y="228"/>
                </a:lnTo>
                <a:lnTo>
                  <a:pt x="144" y="192"/>
                </a:lnTo>
                <a:lnTo>
                  <a:pt x="144" y="192"/>
                </a:lnTo>
                <a:lnTo>
                  <a:pt x="144" y="192"/>
                </a:lnTo>
                <a:lnTo>
                  <a:pt x="144" y="192"/>
                </a:lnTo>
                <a:lnTo>
                  <a:pt x="138" y="192"/>
                </a:lnTo>
                <a:lnTo>
                  <a:pt x="138" y="192"/>
                </a:lnTo>
                <a:lnTo>
                  <a:pt x="138" y="192"/>
                </a:lnTo>
                <a:lnTo>
                  <a:pt x="138" y="186"/>
                </a:lnTo>
                <a:lnTo>
                  <a:pt x="132" y="186"/>
                </a:lnTo>
                <a:lnTo>
                  <a:pt x="132" y="186"/>
                </a:lnTo>
                <a:lnTo>
                  <a:pt x="126" y="192"/>
                </a:lnTo>
                <a:lnTo>
                  <a:pt x="126" y="192"/>
                </a:lnTo>
                <a:lnTo>
                  <a:pt x="126" y="186"/>
                </a:lnTo>
                <a:lnTo>
                  <a:pt x="126" y="186"/>
                </a:lnTo>
                <a:lnTo>
                  <a:pt x="120" y="186"/>
                </a:lnTo>
                <a:lnTo>
                  <a:pt x="120" y="186"/>
                </a:lnTo>
                <a:lnTo>
                  <a:pt x="114" y="186"/>
                </a:lnTo>
                <a:lnTo>
                  <a:pt x="114" y="186"/>
                </a:lnTo>
                <a:lnTo>
                  <a:pt x="114" y="186"/>
                </a:lnTo>
                <a:lnTo>
                  <a:pt x="114" y="186"/>
                </a:lnTo>
                <a:lnTo>
                  <a:pt x="108" y="186"/>
                </a:lnTo>
                <a:lnTo>
                  <a:pt x="108" y="186"/>
                </a:lnTo>
                <a:lnTo>
                  <a:pt x="108" y="186"/>
                </a:lnTo>
                <a:lnTo>
                  <a:pt x="102" y="186"/>
                </a:lnTo>
                <a:lnTo>
                  <a:pt x="102" y="180"/>
                </a:lnTo>
                <a:lnTo>
                  <a:pt x="102" y="180"/>
                </a:lnTo>
                <a:lnTo>
                  <a:pt x="102" y="180"/>
                </a:lnTo>
                <a:lnTo>
                  <a:pt x="96" y="180"/>
                </a:lnTo>
                <a:lnTo>
                  <a:pt x="96" y="180"/>
                </a:lnTo>
                <a:lnTo>
                  <a:pt x="96" y="180"/>
                </a:lnTo>
                <a:lnTo>
                  <a:pt x="96" y="180"/>
                </a:lnTo>
                <a:lnTo>
                  <a:pt x="90" y="180"/>
                </a:lnTo>
                <a:lnTo>
                  <a:pt x="90" y="180"/>
                </a:lnTo>
                <a:lnTo>
                  <a:pt x="90" y="180"/>
                </a:lnTo>
                <a:lnTo>
                  <a:pt x="90" y="180"/>
                </a:lnTo>
                <a:lnTo>
                  <a:pt x="90" y="180"/>
                </a:lnTo>
                <a:lnTo>
                  <a:pt x="90" y="186"/>
                </a:lnTo>
                <a:lnTo>
                  <a:pt x="90" y="186"/>
                </a:lnTo>
                <a:lnTo>
                  <a:pt x="90" y="186"/>
                </a:lnTo>
                <a:lnTo>
                  <a:pt x="90" y="186"/>
                </a:lnTo>
                <a:lnTo>
                  <a:pt x="90" y="186"/>
                </a:lnTo>
                <a:lnTo>
                  <a:pt x="84" y="186"/>
                </a:lnTo>
                <a:lnTo>
                  <a:pt x="84" y="186"/>
                </a:lnTo>
                <a:lnTo>
                  <a:pt x="84" y="186"/>
                </a:lnTo>
                <a:lnTo>
                  <a:pt x="84" y="186"/>
                </a:lnTo>
                <a:lnTo>
                  <a:pt x="84" y="186"/>
                </a:lnTo>
                <a:lnTo>
                  <a:pt x="78" y="192"/>
                </a:lnTo>
                <a:lnTo>
                  <a:pt x="78" y="192"/>
                </a:lnTo>
                <a:lnTo>
                  <a:pt x="78" y="192"/>
                </a:lnTo>
                <a:lnTo>
                  <a:pt x="78" y="192"/>
                </a:lnTo>
                <a:lnTo>
                  <a:pt x="78" y="192"/>
                </a:lnTo>
                <a:lnTo>
                  <a:pt x="72" y="198"/>
                </a:lnTo>
                <a:lnTo>
                  <a:pt x="72" y="198"/>
                </a:lnTo>
                <a:lnTo>
                  <a:pt x="72" y="198"/>
                </a:lnTo>
                <a:lnTo>
                  <a:pt x="72" y="198"/>
                </a:lnTo>
                <a:lnTo>
                  <a:pt x="72" y="198"/>
                </a:lnTo>
                <a:lnTo>
                  <a:pt x="66" y="198"/>
                </a:lnTo>
                <a:lnTo>
                  <a:pt x="66" y="198"/>
                </a:lnTo>
                <a:lnTo>
                  <a:pt x="66" y="204"/>
                </a:lnTo>
                <a:lnTo>
                  <a:pt x="60" y="204"/>
                </a:lnTo>
                <a:lnTo>
                  <a:pt x="60" y="204"/>
                </a:lnTo>
                <a:lnTo>
                  <a:pt x="60" y="204"/>
                </a:lnTo>
                <a:lnTo>
                  <a:pt x="60" y="204"/>
                </a:lnTo>
                <a:lnTo>
                  <a:pt x="60" y="204"/>
                </a:lnTo>
                <a:lnTo>
                  <a:pt x="54" y="210"/>
                </a:lnTo>
                <a:lnTo>
                  <a:pt x="54" y="210"/>
                </a:lnTo>
                <a:lnTo>
                  <a:pt x="54" y="210"/>
                </a:lnTo>
                <a:lnTo>
                  <a:pt x="48" y="216"/>
                </a:lnTo>
                <a:lnTo>
                  <a:pt x="48" y="216"/>
                </a:lnTo>
                <a:lnTo>
                  <a:pt x="42" y="216"/>
                </a:lnTo>
                <a:lnTo>
                  <a:pt x="42" y="216"/>
                </a:lnTo>
                <a:lnTo>
                  <a:pt x="36" y="222"/>
                </a:lnTo>
                <a:lnTo>
                  <a:pt x="36" y="222"/>
                </a:lnTo>
                <a:lnTo>
                  <a:pt x="30" y="222"/>
                </a:lnTo>
                <a:lnTo>
                  <a:pt x="30" y="222"/>
                </a:lnTo>
                <a:lnTo>
                  <a:pt x="30" y="222"/>
                </a:lnTo>
                <a:lnTo>
                  <a:pt x="24" y="222"/>
                </a:lnTo>
                <a:lnTo>
                  <a:pt x="24" y="222"/>
                </a:lnTo>
                <a:lnTo>
                  <a:pt x="6" y="216"/>
                </a:lnTo>
                <a:lnTo>
                  <a:pt x="6" y="204"/>
                </a:lnTo>
                <a:lnTo>
                  <a:pt x="6" y="204"/>
                </a:lnTo>
                <a:lnTo>
                  <a:pt x="0" y="180"/>
                </a:lnTo>
                <a:lnTo>
                  <a:pt x="0" y="16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12" name="Freeform 245"/>
          <p:cNvSpPr>
            <a:spLocks/>
          </p:cNvSpPr>
          <p:nvPr/>
        </p:nvSpPr>
        <p:spPr bwMode="auto">
          <a:xfrm>
            <a:off x="8348658" y="2696007"/>
            <a:ext cx="128481" cy="134906"/>
          </a:xfrm>
          <a:custGeom>
            <a:avLst/>
            <a:gdLst>
              <a:gd name="T0" fmla="*/ 6 w 120"/>
              <a:gd name="T1" fmla="*/ 60 h 126"/>
              <a:gd name="T2" fmla="*/ 30 w 120"/>
              <a:gd name="T3" fmla="*/ 30 h 126"/>
              <a:gd name="T4" fmla="*/ 48 w 120"/>
              <a:gd name="T5" fmla="*/ 30 h 126"/>
              <a:gd name="T6" fmla="*/ 54 w 120"/>
              <a:gd name="T7" fmla="*/ 36 h 126"/>
              <a:gd name="T8" fmla="*/ 54 w 120"/>
              <a:gd name="T9" fmla="*/ 36 h 126"/>
              <a:gd name="T10" fmla="*/ 54 w 120"/>
              <a:gd name="T11" fmla="*/ 42 h 126"/>
              <a:gd name="T12" fmla="*/ 54 w 120"/>
              <a:gd name="T13" fmla="*/ 42 h 126"/>
              <a:gd name="T14" fmla="*/ 60 w 120"/>
              <a:gd name="T15" fmla="*/ 36 h 126"/>
              <a:gd name="T16" fmla="*/ 66 w 120"/>
              <a:gd name="T17" fmla="*/ 36 h 126"/>
              <a:gd name="T18" fmla="*/ 66 w 120"/>
              <a:gd name="T19" fmla="*/ 30 h 126"/>
              <a:gd name="T20" fmla="*/ 60 w 120"/>
              <a:gd name="T21" fmla="*/ 24 h 126"/>
              <a:gd name="T22" fmla="*/ 60 w 120"/>
              <a:gd name="T23" fmla="*/ 24 h 126"/>
              <a:gd name="T24" fmla="*/ 54 w 120"/>
              <a:gd name="T25" fmla="*/ 18 h 126"/>
              <a:gd name="T26" fmla="*/ 60 w 120"/>
              <a:gd name="T27" fmla="*/ 12 h 126"/>
              <a:gd name="T28" fmla="*/ 60 w 120"/>
              <a:gd name="T29" fmla="*/ 12 h 126"/>
              <a:gd name="T30" fmla="*/ 66 w 120"/>
              <a:gd name="T31" fmla="*/ 12 h 126"/>
              <a:gd name="T32" fmla="*/ 72 w 120"/>
              <a:gd name="T33" fmla="*/ 12 h 126"/>
              <a:gd name="T34" fmla="*/ 72 w 120"/>
              <a:gd name="T35" fmla="*/ 18 h 126"/>
              <a:gd name="T36" fmla="*/ 72 w 120"/>
              <a:gd name="T37" fmla="*/ 18 h 126"/>
              <a:gd name="T38" fmla="*/ 78 w 120"/>
              <a:gd name="T39" fmla="*/ 18 h 126"/>
              <a:gd name="T40" fmla="*/ 78 w 120"/>
              <a:gd name="T41" fmla="*/ 18 h 126"/>
              <a:gd name="T42" fmla="*/ 78 w 120"/>
              <a:gd name="T43" fmla="*/ 12 h 126"/>
              <a:gd name="T44" fmla="*/ 78 w 120"/>
              <a:gd name="T45" fmla="*/ 12 h 126"/>
              <a:gd name="T46" fmla="*/ 84 w 120"/>
              <a:gd name="T47" fmla="*/ 12 h 126"/>
              <a:gd name="T48" fmla="*/ 84 w 120"/>
              <a:gd name="T49" fmla="*/ 12 h 126"/>
              <a:gd name="T50" fmla="*/ 90 w 120"/>
              <a:gd name="T51" fmla="*/ 12 h 126"/>
              <a:gd name="T52" fmla="*/ 90 w 120"/>
              <a:gd name="T53" fmla="*/ 18 h 126"/>
              <a:gd name="T54" fmla="*/ 90 w 120"/>
              <a:gd name="T55" fmla="*/ 12 h 126"/>
              <a:gd name="T56" fmla="*/ 90 w 120"/>
              <a:gd name="T57" fmla="*/ 18 h 126"/>
              <a:gd name="T58" fmla="*/ 96 w 120"/>
              <a:gd name="T59" fmla="*/ 18 h 126"/>
              <a:gd name="T60" fmla="*/ 102 w 120"/>
              <a:gd name="T61" fmla="*/ 12 h 126"/>
              <a:gd name="T62" fmla="*/ 108 w 120"/>
              <a:gd name="T63" fmla="*/ 12 h 126"/>
              <a:gd name="T64" fmla="*/ 114 w 120"/>
              <a:gd name="T65" fmla="*/ 6 h 126"/>
              <a:gd name="T66" fmla="*/ 120 w 120"/>
              <a:gd name="T67" fmla="*/ 0 h 126"/>
              <a:gd name="T68" fmla="*/ 120 w 120"/>
              <a:gd name="T69" fmla="*/ 0 h 126"/>
              <a:gd name="T70" fmla="*/ 114 w 120"/>
              <a:gd name="T71" fmla="*/ 12 h 126"/>
              <a:gd name="T72" fmla="*/ 96 w 120"/>
              <a:gd name="T73" fmla="*/ 42 h 126"/>
              <a:gd name="T74" fmla="*/ 84 w 120"/>
              <a:gd name="T75" fmla="*/ 72 h 126"/>
              <a:gd name="T76" fmla="*/ 72 w 120"/>
              <a:gd name="T77" fmla="*/ 84 h 126"/>
              <a:gd name="T78" fmla="*/ 66 w 120"/>
              <a:gd name="T79" fmla="*/ 102 h 126"/>
              <a:gd name="T80" fmla="*/ 54 w 120"/>
              <a:gd name="T81" fmla="*/ 114 h 126"/>
              <a:gd name="T82" fmla="*/ 48 w 120"/>
              <a:gd name="T83" fmla="*/ 126 h 126"/>
              <a:gd name="T84" fmla="*/ 48 w 120"/>
              <a:gd name="T85" fmla="*/ 126 h 126"/>
              <a:gd name="T86" fmla="*/ 48 w 120"/>
              <a:gd name="T87" fmla="*/ 126 h 126"/>
              <a:gd name="T88" fmla="*/ 42 w 120"/>
              <a:gd name="T89" fmla="*/ 126 h 126"/>
              <a:gd name="T90" fmla="*/ 42 w 120"/>
              <a:gd name="T91" fmla="*/ 126 h 126"/>
              <a:gd name="T92" fmla="*/ 42 w 120"/>
              <a:gd name="T93" fmla="*/ 120 h 126"/>
              <a:gd name="T94" fmla="*/ 30 w 120"/>
              <a:gd name="T95" fmla="*/ 102 h 126"/>
              <a:gd name="T96" fmla="*/ 30 w 120"/>
              <a:gd name="T97" fmla="*/ 96 h 126"/>
              <a:gd name="T98" fmla="*/ 24 w 120"/>
              <a:gd name="T99" fmla="*/ 96 h 126"/>
              <a:gd name="T100" fmla="*/ 18 w 120"/>
              <a:gd name="T101" fmla="*/ 90 h 126"/>
              <a:gd name="T102" fmla="*/ 18 w 120"/>
              <a:gd name="T103" fmla="*/ 90 h 126"/>
              <a:gd name="T104" fmla="*/ 12 w 120"/>
              <a:gd name="T105" fmla="*/ 90 h 126"/>
              <a:gd name="T106" fmla="*/ 6 w 120"/>
              <a:gd name="T107" fmla="*/ 84 h 126"/>
              <a:gd name="T108" fmla="*/ 6 w 120"/>
              <a:gd name="T109" fmla="*/ 78 h 126"/>
              <a:gd name="T110" fmla="*/ 6 w 120"/>
              <a:gd name="T111" fmla="*/ 78 h 126"/>
              <a:gd name="T112" fmla="*/ 0 w 120"/>
              <a:gd name="T113" fmla="*/ 78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20" h="126">
                <a:moveTo>
                  <a:pt x="0" y="72"/>
                </a:moveTo>
                <a:lnTo>
                  <a:pt x="6" y="60"/>
                </a:lnTo>
                <a:lnTo>
                  <a:pt x="6" y="60"/>
                </a:lnTo>
                <a:lnTo>
                  <a:pt x="12" y="48"/>
                </a:lnTo>
                <a:lnTo>
                  <a:pt x="12" y="48"/>
                </a:lnTo>
                <a:lnTo>
                  <a:pt x="30" y="30"/>
                </a:lnTo>
                <a:lnTo>
                  <a:pt x="30" y="42"/>
                </a:lnTo>
                <a:lnTo>
                  <a:pt x="30" y="42"/>
                </a:lnTo>
                <a:lnTo>
                  <a:pt x="48" y="30"/>
                </a:lnTo>
                <a:lnTo>
                  <a:pt x="48" y="36"/>
                </a:lnTo>
                <a:lnTo>
                  <a:pt x="48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42"/>
                </a:lnTo>
                <a:lnTo>
                  <a:pt x="54" y="36"/>
                </a:lnTo>
                <a:lnTo>
                  <a:pt x="54" y="36"/>
                </a:lnTo>
                <a:lnTo>
                  <a:pt x="54" y="42"/>
                </a:lnTo>
                <a:lnTo>
                  <a:pt x="60" y="42"/>
                </a:lnTo>
                <a:lnTo>
                  <a:pt x="60" y="42"/>
                </a:lnTo>
                <a:lnTo>
                  <a:pt x="60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2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8"/>
                </a:lnTo>
                <a:lnTo>
                  <a:pt x="90" y="18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6" y="18"/>
                </a:lnTo>
                <a:lnTo>
                  <a:pt x="96" y="12"/>
                </a:lnTo>
                <a:lnTo>
                  <a:pt x="96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8" y="12"/>
                </a:lnTo>
                <a:lnTo>
                  <a:pt x="108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20" y="0"/>
                </a:lnTo>
                <a:lnTo>
                  <a:pt x="120" y="0"/>
                </a:lnTo>
                <a:lnTo>
                  <a:pt x="120" y="0"/>
                </a:lnTo>
                <a:lnTo>
                  <a:pt x="120" y="0"/>
                </a:lnTo>
                <a:lnTo>
                  <a:pt x="120" y="0"/>
                </a:lnTo>
                <a:lnTo>
                  <a:pt x="120" y="6"/>
                </a:lnTo>
                <a:lnTo>
                  <a:pt x="114" y="12"/>
                </a:lnTo>
                <a:lnTo>
                  <a:pt x="108" y="12"/>
                </a:lnTo>
                <a:lnTo>
                  <a:pt x="102" y="36"/>
                </a:lnTo>
                <a:lnTo>
                  <a:pt x="96" y="42"/>
                </a:lnTo>
                <a:lnTo>
                  <a:pt x="90" y="54"/>
                </a:lnTo>
                <a:lnTo>
                  <a:pt x="84" y="72"/>
                </a:lnTo>
                <a:lnTo>
                  <a:pt x="84" y="72"/>
                </a:lnTo>
                <a:lnTo>
                  <a:pt x="78" y="78"/>
                </a:lnTo>
                <a:lnTo>
                  <a:pt x="78" y="84"/>
                </a:lnTo>
                <a:lnTo>
                  <a:pt x="72" y="84"/>
                </a:lnTo>
                <a:lnTo>
                  <a:pt x="72" y="90"/>
                </a:lnTo>
                <a:lnTo>
                  <a:pt x="72" y="90"/>
                </a:lnTo>
                <a:lnTo>
                  <a:pt x="66" y="102"/>
                </a:lnTo>
                <a:lnTo>
                  <a:pt x="66" y="102"/>
                </a:lnTo>
                <a:lnTo>
                  <a:pt x="60" y="108"/>
                </a:lnTo>
                <a:lnTo>
                  <a:pt x="54" y="114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2" y="126"/>
                </a:lnTo>
                <a:lnTo>
                  <a:pt x="42" y="120"/>
                </a:lnTo>
                <a:lnTo>
                  <a:pt x="42" y="120"/>
                </a:lnTo>
                <a:lnTo>
                  <a:pt x="42" y="126"/>
                </a:lnTo>
                <a:lnTo>
                  <a:pt x="42" y="120"/>
                </a:lnTo>
                <a:lnTo>
                  <a:pt x="36" y="120"/>
                </a:lnTo>
                <a:lnTo>
                  <a:pt x="42" y="120"/>
                </a:lnTo>
                <a:lnTo>
                  <a:pt x="42" y="120"/>
                </a:lnTo>
                <a:lnTo>
                  <a:pt x="42" y="114"/>
                </a:lnTo>
                <a:lnTo>
                  <a:pt x="30" y="102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6" y="90"/>
                </a:lnTo>
                <a:lnTo>
                  <a:pt x="6" y="84"/>
                </a:lnTo>
                <a:lnTo>
                  <a:pt x="6" y="84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0" y="78"/>
                </a:lnTo>
                <a:lnTo>
                  <a:pt x="0" y="72"/>
                </a:lnTo>
                <a:lnTo>
                  <a:pt x="0" y="7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13" name="Freeform 246"/>
          <p:cNvSpPr>
            <a:spLocks/>
          </p:cNvSpPr>
          <p:nvPr/>
        </p:nvSpPr>
        <p:spPr bwMode="auto">
          <a:xfrm>
            <a:off x="8085272" y="2734551"/>
            <a:ext cx="224842" cy="186299"/>
          </a:xfrm>
          <a:custGeom>
            <a:avLst/>
            <a:gdLst>
              <a:gd name="T0" fmla="*/ 24 w 210"/>
              <a:gd name="T1" fmla="*/ 30 h 174"/>
              <a:gd name="T2" fmla="*/ 12 w 210"/>
              <a:gd name="T3" fmla="*/ 24 h 174"/>
              <a:gd name="T4" fmla="*/ 12 w 210"/>
              <a:gd name="T5" fmla="*/ 18 h 174"/>
              <a:gd name="T6" fmla="*/ 60 w 210"/>
              <a:gd name="T7" fmla="*/ 30 h 174"/>
              <a:gd name="T8" fmla="*/ 66 w 210"/>
              <a:gd name="T9" fmla="*/ 30 h 174"/>
              <a:gd name="T10" fmla="*/ 72 w 210"/>
              <a:gd name="T11" fmla="*/ 42 h 174"/>
              <a:gd name="T12" fmla="*/ 108 w 210"/>
              <a:gd name="T13" fmla="*/ 36 h 174"/>
              <a:gd name="T14" fmla="*/ 126 w 210"/>
              <a:gd name="T15" fmla="*/ 30 h 174"/>
              <a:gd name="T16" fmla="*/ 132 w 210"/>
              <a:gd name="T17" fmla="*/ 30 h 174"/>
              <a:gd name="T18" fmla="*/ 138 w 210"/>
              <a:gd name="T19" fmla="*/ 18 h 174"/>
              <a:gd name="T20" fmla="*/ 150 w 210"/>
              <a:gd name="T21" fmla="*/ 18 h 174"/>
              <a:gd name="T22" fmla="*/ 162 w 210"/>
              <a:gd name="T23" fmla="*/ 24 h 174"/>
              <a:gd name="T24" fmla="*/ 168 w 210"/>
              <a:gd name="T25" fmla="*/ 6 h 174"/>
              <a:gd name="T26" fmla="*/ 174 w 210"/>
              <a:gd name="T27" fmla="*/ 6 h 174"/>
              <a:gd name="T28" fmla="*/ 186 w 210"/>
              <a:gd name="T29" fmla="*/ 0 h 174"/>
              <a:gd name="T30" fmla="*/ 192 w 210"/>
              <a:gd name="T31" fmla="*/ 0 h 174"/>
              <a:gd name="T32" fmla="*/ 204 w 210"/>
              <a:gd name="T33" fmla="*/ 30 h 174"/>
              <a:gd name="T34" fmla="*/ 198 w 210"/>
              <a:gd name="T35" fmla="*/ 42 h 174"/>
              <a:gd name="T36" fmla="*/ 204 w 210"/>
              <a:gd name="T37" fmla="*/ 54 h 174"/>
              <a:gd name="T38" fmla="*/ 204 w 210"/>
              <a:gd name="T39" fmla="*/ 66 h 174"/>
              <a:gd name="T40" fmla="*/ 210 w 210"/>
              <a:gd name="T41" fmla="*/ 78 h 174"/>
              <a:gd name="T42" fmla="*/ 198 w 210"/>
              <a:gd name="T43" fmla="*/ 78 h 174"/>
              <a:gd name="T44" fmla="*/ 192 w 210"/>
              <a:gd name="T45" fmla="*/ 84 h 174"/>
              <a:gd name="T46" fmla="*/ 186 w 210"/>
              <a:gd name="T47" fmla="*/ 78 h 174"/>
              <a:gd name="T48" fmla="*/ 180 w 210"/>
              <a:gd name="T49" fmla="*/ 78 h 174"/>
              <a:gd name="T50" fmla="*/ 180 w 210"/>
              <a:gd name="T51" fmla="*/ 78 h 174"/>
              <a:gd name="T52" fmla="*/ 174 w 210"/>
              <a:gd name="T53" fmla="*/ 84 h 174"/>
              <a:gd name="T54" fmla="*/ 174 w 210"/>
              <a:gd name="T55" fmla="*/ 90 h 174"/>
              <a:gd name="T56" fmla="*/ 168 w 210"/>
              <a:gd name="T57" fmla="*/ 102 h 174"/>
              <a:gd name="T58" fmla="*/ 144 w 210"/>
              <a:gd name="T59" fmla="*/ 108 h 174"/>
              <a:gd name="T60" fmla="*/ 138 w 210"/>
              <a:gd name="T61" fmla="*/ 102 h 174"/>
              <a:gd name="T62" fmla="*/ 120 w 210"/>
              <a:gd name="T63" fmla="*/ 108 h 174"/>
              <a:gd name="T64" fmla="*/ 114 w 210"/>
              <a:gd name="T65" fmla="*/ 108 h 174"/>
              <a:gd name="T66" fmla="*/ 102 w 210"/>
              <a:gd name="T67" fmla="*/ 114 h 174"/>
              <a:gd name="T68" fmla="*/ 90 w 210"/>
              <a:gd name="T69" fmla="*/ 120 h 174"/>
              <a:gd name="T70" fmla="*/ 96 w 210"/>
              <a:gd name="T71" fmla="*/ 126 h 174"/>
              <a:gd name="T72" fmla="*/ 84 w 210"/>
              <a:gd name="T73" fmla="*/ 132 h 174"/>
              <a:gd name="T74" fmla="*/ 84 w 210"/>
              <a:gd name="T75" fmla="*/ 144 h 174"/>
              <a:gd name="T76" fmla="*/ 90 w 210"/>
              <a:gd name="T77" fmla="*/ 150 h 174"/>
              <a:gd name="T78" fmla="*/ 90 w 210"/>
              <a:gd name="T79" fmla="*/ 156 h 174"/>
              <a:gd name="T80" fmla="*/ 90 w 210"/>
              <a:gd name="T81" fmla="*/ 162 h 174"/>
              <a:gd name="T82" fmla="*/ 84 w 210"/>
              <a:gd name="T83" fmla="*/ 168 h 174"/>
              <a:gd name="T84" fmla="*/ 78 w 210"/>
              <a:gd name="T85" fmla="*/ 168 h 174"/>
              <a:gd name="T86" fmla="*/ 72 w 210"/>
              <a:gd name="T87" fmla="*/ 162 h 174"/>
              <a:gd name="T88" fmla="*/ 48 w 210"/>
              <a:gd name="T89" fmla="*/ 150 h 174"/>
              <a:gd name="T90" fmla="*/ 48 w 210"/>
              <a:gd name="T91" fmla="*/ 108 h 174"/>
              <a:gd name="T92" fmla="*/ 30 w 210"/>
              <a:gd name="T93" fmla="*/ 108 h 174"/>
              <a:gd name="T94" fmla="*/ 30 w 210"/>
              <a:gd name="T95" fmla="*/ 102 h 174"/>
              <a:gd name="T96" fmla="*/ 24 w 210"/>
              <a:gd name="T97" fmla="*/ 102 h 174"/>
              <a:gd name="T98" fmla="*/ 24 w 210"/>
              <a:gd name="T99" fmla="*/ 96 h 174"/>
              <a:gd name="T100" fmla="*/ 18 w 210"/>
              <a:gd name="T101" fmla="*/ 90 h 174"/>
              <a:gd name="T102" fmla="*/ 12 w 210"/>
              <a:gd name="T103" fmla="*/ 84 h 174"/>
              <a:gd name="T104" fmla="*/ 12 w 210"/>
              <a:gd name="T105" fmla="*/ 84 h 174"/>
              <a:gd name="T106" fmla="*/ 6 w 210"/>
              <a:gd name="T107" fmla="*/ 84 h 174"/>
              <a:gd name="T108" fmla="*/ 6 w 210"/>
              <a:gd name="T109" fmla="*/ 78 h 174"/>
              <a:gd name="T110" fmla="*/ 0 w 210"/>
              <a:gd name="T111" fmla="*/ 72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10" h="174">
                <a:moveTo>
                  <a:pt x="0" y="72"/>
                </a:moveTo>
                <a:lnTo>
                  <a:pt x="12" y="60"/>
                </a:lnTo>
                <a:lnTo>
                  <a:pt x="18" y="60"/>
                </a:lnTo>
                <a:lnTo>
                  <a:pt x="18" y="42"/>
                </a:lnTo>
                <a:lnTo>
                  <a:pt x="24" y="36"/>
                </a:lnTo>
                <a:lnTo>
                  <a:pt x="24" y="30"/>
                </a:lnTo>
                <a:lnTo>
                  <a:pt x="24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24"/>
                </a:lnTo>
                <a:lnTo>
                  <a:pt x="12" y="24"/>
                </a:lnTo>
                <a:lnTo>
                  <a:pt x="12" y="24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8" y="18"/>
                </a:lnTo>
                <a:lnTo>
                  <a:pt x="18" y="12"/>
                </a:lnTo>
                <a:lnTo>
                  <a:pt x="30" y="6"/>
                </a:lnTo>
                <a:lnTo>
                  <a:pt x="54" y="24"/>
                </a:lnTo>
                <a:lnTo>
                  <a:pt x="54" y="24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6"/>
                </a:lnTo>
                <a:lnTo>
                  <a:pt x="66" y="36"/>
                </a:lnTo>
                <a:lnTo>
                  <a:pt x="66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8" y="42"/>
                </a:lnTo>
                <a:lnTo>
                  <a:pt x="90" y="42"/>
                </a:lnTo>
                <a:lnTo>
                  <a:pt x="102" y="36"/>
                </a:lnTo>
                <a:lnTo>
                  <a:pt x="108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44" y="18"/>
                </a:lnTo>
                <a:lnTo>
                  <a:pt x="144" y="18"/>
                </a:lnTo>
                <a:lnTo>
                  <a:pt x="150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62" y="18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30"/>
                </a:lnTo>
                <a:lnTo>
                  <a:pt x="162" y="30"/>
                </a:lnTo>
                <a:lnTo>
                  <a:pt x="162" y="30"/>
                </a:lnTo>
                <a:lnTo>
                  <a:pt x="162" y="30"/>
                </a:lnTo>
                <a:lnTo>
                  <a:pt x="168" y="6"/>
                </a:lnTo>
                <a:lnTo>
                  <a:pt x="174" y="6"/>
                </a:lnTo>
                <a:lnTo>
                  <a:pt x="174" y="6"/>
                </a:lnTo>
                <a:lnTo>
                  <a:pt x="174" y="6"/>
                </a:lnTo>
                <a:lnTo>
                  <a:pt x="174" y="6"/>
                </a:lnTo>
                <a:lnTo>
                  <a:pt x="174" y="6"/>
                </a:lnTo>
                <a:lnTo>
                  <a:pt x="174" y="6"/>
                </a:lnTo>
                <a:lnTo>
                  <a:pt x="174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6" y="0"/>
                </a:lnTo>
                <a:lnTo>
                  <a:pt x="186" y="0"/>
                </a:lnTo>
                <a:lnTo>
                  <a:pt x="186" y="0"/>
                </a:lnTo>
                <a:lnTo>
                  <a:pt x="192" y="0"/>
                </a:lnTo>
                <a:lnTo>
                  <a:pt x="192" y="0"/>
                </a:lnTo>
                <a:lnTo>
                  <a:pt x="192" y="0"/>
                </a:lnTo>
                <a:lnTo>
                  <a:pt x="192" y="0"/>
                </a:lnTo>
                <a:lnTo>
                  <a:pt x="198" y="0"/>
                </a:lnTo>
                <a:lnTo>
                  <a:pt x="198" y="0"/>
                </a:lnTo>
                <a:lnTo>
                  <a:pt x="198" y="0"/>
                </a:lnTo>
                <a:lnTo>
                  <a:pt x="198" y="0"/>
                </a:lnTo>
                <a:lnTo>
                  <a:pt x="210" y="30"/>
                </a:lnTo>
                <a:lnTo>
                  <a:pt x="204" y="30"/>
                </a:lnTo>
                <a:lnTo>
                  <a:pt x="198" y="30"/>
                </a:lnTo>
                <a:lnTo>
                  <a:pt x="198" y="36"/>
                </a:lnTo>
                <a:lnTo>
                  <a:pt x="198" y="36"/>
                </a:lnTo>
                <a:lnTo>
                  <a:pt x="198" y="36"/>
                </a:lnTo>
                <a:lnTo>
                  <a:pt x="198" y="36"/>
                </a:lnTo>
                <a:lnTo>
                  <a:pt x="198" y="42"/>
                </a:lnTo>
                <a:lnTo>
                  <a:pt x="204" y="42"/>
                </a:lnTo>
                <a:lnTo>
                  <a:pt x="204" y="42"/>
                </a:lnTo>
                <a:lnTo>
                  <a:pt x="204" y="48"/>
                </a:lnTo>
                <a:lnTo>
                  <a:pt x="204" y="48"/>
                </a:lnTo>
                <a:lnTo>
                  <a:pt x="204" y="48"/>
                </a:lnTo>
                <a:lnTo>
                  <a:pt x="204" y="54"/>
                </a:lnTo>
                <a:lnTo>
                  <a:pt x="204" y="54"/>
                </a:lnTo>
                <a:lnTo>
                  <a:pt x="204" y="54"/>
                </a:lnTo>
                <a:lnTo>
                  <a:pt x="204" y="60"/>
                </a:lnTo>
                <a:lnTo>
                  <a:pt x="204" y="60"/>
                </a:lnTo>
                <a:lnTo>
                  <a:pt x="204" y="60"/>
                </a:lnTo>
                <a:lnTo>
                  <a:pt x="204" y="66"/>
                </a:lnTo>
                <a:lnTo>
                  <a:pt x="204" y="66"/>
                </a:lnTo>
                <a:lnTo>
                  <a:pt x="210" y="72"/>
                </a:lnTo>
                <a:lnTo>
                  <a:pt x="210" y="72"/>
                </a:lnTo>
                <a:lnTo>
                  <a:pt x="210" y="72"/>
                </a:lnTo>
                <a:lnTo>
                  <a:pt x="210" y="72"/>
                </a:lnTo>
                <a:lnTo>
                  <a:pt x="210" y="78"/>
                </a:lnTo>
                <a:lnTo>
                  <a:pt x="210" y="84"/>
                </a:lnTo>
                <a:lnTo>
                  <a:pt x="210" y="84"/>
                </a:lnTo>
                <a:lnTo>
                  <a:pt x="204" y="84"/>
                </a:lnTo>
                <a:lnTo>
                  <a:pt x="204" y="78"/>
                </a:lnTo>
                <a:lnTo>
                  <a:pt x="204" y="78"/>
                </a:lnTo>
                <a:lnTo>
                  <a:pt x="198" y="78"/>
                </a:lnTo>
                <a:lnTo>
                  <a:pt x="198" y="78"/>
                </a:lnTo>
                <a:lnTo>
                  <a:pt x="198" y="84"/>
                </a:lnTo>
                <a:lnTo>
                  <a:pt x="198" y="84"/>
                </a:lnTo>
                <a:lnTo>
                  <a:pt x="198" y="84"/>
                </a:lnTo>
                <a:lnTo>
                  <a:pt x="192" y="84"/>
                </a:lnTo>
                <a:lnTo>
                  <a:pt x="192" y="84"/>
                </a:lnTo>
                <a:lnTo>
                  <a:pt x="192" y="78"/>
                </a:lnTo>
                <a:lnTo>
                  <a:pt x="192" y="78"/>
                </a:lnTo>
                <a:lnTo>
                  <a:pt x="192" y="78"/>
                </a:lnTo>
                <a:lnTo>
                  <a:pt x="192" y="78"/>
                </a:lnTo>
                <a:lnTo>
                  <a:pt x="186" y="78"/>
                </a:lnTo>
                <a:lnTo>
                  <a:pt x="186" y="78"/>
                </a:lnTo>
                <a:lnTo>
                  <a:pt x="186" y="78"/>
                </a:lnTo>
                <a:lnTo>
                  <a:pt x="186" y="78"/>
                </a:lnTo>
                <a:lnTo>
                  <a:pt x="186" y="78"/>
                </a:lnTo>
                <a:lnTo>
                  <a:pt x="186" y="78"/>
                </a:lnTo>
                <a:lnTo>
                  <a:pt x="180" y="78"/>
                </a:lnTo>
                <a:lnTo>
                  <a:pt x="180" y="78"/>
                </a:lnTo>
                <a:lnTo>
                  <a:pt x="180" y="78"/>
                </a:lnTo>
                <a:lnTo>
                  <a:pt x="180" y="78"/>
                </a:lnTo>
                <a:lnTo>
                  <a:pt x="180" y="78"/>
                </a:lnTo>
                <a:lnTo>
                  <a:pt x="180" y="78"/>
                </a:lnTo>
                <a:lnTo>
                  <a:pt x="180" y="78"/>
                </a:lnTo>
                <a:lnTo>
                  <a:pt x="180" y="78"/>
                </a:lnTo>
                <a:lnTo>
                  <a:pt x="180" y="78"/>
                </a:lnTo>
                <a:lnTo>
                  <a:pt x="180" y="78"/>
                </a:lnTo>
                <a:lnTo>
                  <a:pt x="174" y="78"/>
                </a:lnTo>
                <a:lnTo>
                  <a:pt x="174" y="78"/>
                </a:lnTo>
                <a:lnTo>
                  <a:pt x="180" y="78"/>
                </a:lnTo>
                <a:lnTo>
                  <a:pt x="174" y="84"/>
                </a:lnTo>
                <a:lnTo>
                  <a:pt x="174" y="84"/>
                </a:lnTo>
                <a:lnTo>
                  <a:pt x="174" y="84"/>
                </a:lnTo>
                <a:lnTo>
                  <a:pt x="168" y="84"/>
                </a:lnTo>
                <a:lnTo>
                  <a:pt x="168" y="84"/>
                </a:lnTo>
                <a:lnTo>
                  <a:pt x="168" y="90"/>
                </a:lnTo>
                <a:lnTo>
                  <a:pt x="174" y="90"/>
                </a:lnTo>
                <a:lnTo>
                  <a:pt x="174" y="90"/>
                </a:lnTo>
                <a:lnTo>
                  <a:pt x="168" y="90"/>
                </a:lnTo>
                <a:lnTo>
                  <a:pt x="168" y="102"/>
                </a:lnTo>
                <a:lnTo>
                  <a:pt x="174" y="102"/>
                </a:lnTo>
                <a:lnTo>
                  <a:pt x="174" y="102"/>
                </a:lnTo>
                <a:lnTo>
                  <a:pt x="168" y="102"/>
                </a:lnTo>
                <a:lnTo>
                  <a:pt x="150" y="108"/>
                </a:lnTo>
                <a:lnTo>
                  <a:pt x="150" y="114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2" y="102"/>
                </a:lnTo>
                <a:lnTo>
                  <a:pt x="126" y="102"/>
                </a:lnTo>
                <a:lnTo>
                  <a:pt x="126" y="102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14"/>
                </a:lnTo>
                <a:lnTo>
                  <a:pt x="108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6"/>
                </a:lnTo>
                <a:lnTo>
                  <a:pt x="90" y="126"/>
                </a:lnTo>
                <a:lnTo>
                  <a:pt x="96" y="126"/>
                </a:lnTo>
                <a:lnTo>
                  <a:pt x="90" y="126"/>
                </a:lnTo>
                <a:lnTo>
                  <a:pt x="90" y="126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8"/>
                </a:lnTo>
                <a:lnTo>
                  <a:pt x="84" y="144"/>
                </a:lnTo>
                <a:lnTo>
                  <a:pt x="84" y="144"/>
                </a:lnTo>
                <a:lnTo>
                  <a:pt x="84" y="144"/>
                </a:lnTo>
                <a:lnTo>
                  <a:pt x="84" y="144"/>
                </a:lnTo>
                <a:lnTo>
                  <a:pt x="84" y="144"/>
                </a:lnTo>
                <a:lnTo>
                  <a:pt x="84" y="144"/>
                </a:lnTo>
                <a:lnTo>
                  <a:pt x="84" y="150"/>
                </a:lnTo>
                <a:lnTo>
                  <a:pt x="84" y="150"/>
                </a:lnTo>
                <a:lnTo>
                  <a:pt x="90" y="150"/>
                </a:lnTo>
                <a:lnTo>
                  <a:pt x="90" y="150"/>
                </a:lnTo>
                <a:lnTo>
                  <a:pt x="90" y="150"/>
                </a:lnTo>
                <a:lnTo>
                  <a:pt x="90" y="150"/>
                </a:lnTo>
                <a:lnTo>
                  <a:pt x="90" y="150"/>
                </a:lnTo>
                <a:lnTo>
                  <a:pt x="90" y="150"/>
                </a:lnTo>
                <a:lnTo>
                  <a:pt x="90" y="156"/>
                </a:lnTo>
                <a:lnTo>
                  <a:pt x="90" y="156"/>
                </a:lnTo>
                <a:lnTo>
                  <a:pt x="90" y="162"/>
                </a:lnTo>
                <a:lnTo>
                  <a:pt x="90" y="162"/>
                </a:lnTo>
                <a:lnTo>
                  <a:pt x="90" y="162"/>
                </a:lnTo>
                <a:lnTo>
                  <a:pt x="90" y="162"/>
                </a:lnTo>
                <a:lnTo>
                  <a:pt x="90" y="162"/>
                </a:lnTo>
                <a:lnTo>
                  <a:pt x="90" y="162"/>
                </a:lnTo>
                <a:lnTo>
                  <a:pt x="90" y="168"/>
                </a:lnTo>
                <a:lnTo>
                  <a:pt x="90" y="168"/>
                </a:lnTo>
                <a:lnTo>
                  <a:pt x="90" y="168"/>
                </a:lnTo>
                <a:lnTo>
                  <a:pt x="84" y="168"/>
                </a:lnTo>
                <a:lnTo>
                  <a:pt x="84" y="168"/>
                </a:lnTo>
                <a:lnTo>
                  <a:pt x="84" y="168"/>
                </a:lnTo>
                <a:lnTo>
                  <a:pt x="84" y="168"/>
                </a:lnTo>
                <a:lnTo>
                  <a:pt x="84" y="168"/>
                </a:lnTo>
                <a:lnTo>
                  <a:pt x="78" y="174"/>
                </a:lnTo>
                <a:lnTo>
                  <a:pt x="78" y="168"/>
                </a:lnTo>
                <a:lnTo>
                  <a:pt x="78" y="168"/>
                </a:lnTo>
                <a:lnTo>
                  <a:pt x="78" y="168"/>
                </a:lnTo>
                <a:lnTo>
                  <a:pt x="78" y="168"/>
                </a:lnTo>
                <a:lnTo>
                  <a:pt x="78" y="168"/>
                </a:lnTo>
                <a:lnTo>
                  <a:pt x="78" y="168"/>
                </a:lnTo>
                <a:lnTo>
                  <a:pt x="72" y="162"/>
                </a:lnTo>
                <a:lnTo>
                  <a:pt x="72" y="162"/>
                </a:lnTo>
                <a:lnTo>
                  <a:pt x="72" y="162"/>
                </a:lnTo>
                <a:lnTo>
                  <a:pt x="72" y="162"/>
                </a:lnTo>
                <a:lnTo>
                  <a:pt x="66" y="156"/>
                </a:lnTo>
                <a:lnTo>
                  <a:pt x="60" y="156"/>
                </a:lnTo>
                <a:lnTo>
                  <a:pt x="60" y="156"/>
                </a:lnTo>
                <a:lnTo>
                  <a:pt x="48" y="150"/>
                </a:lnTo>
                <a:lnTo>
                  <a:pt x="36" y="150"/>
                </a:lnTo>
                <a:lnTo>
                  <a:pt x="48" y="132"/>
                </a:lnTo>
                <a:lnTo>
                  <a:pt x="48" y="126"/>
                </a:lnTo>
                <a:lnTo>
                  <a:pt x="48" y="114"/>
                </a:lnTo>
                <a:lnTo>
                  <a:pt x="48" y="114"/>
                </a:lnTo>
                <a:lnTo>
                  <a:pt x="48" y="108"/>
                </a:lnTo>
                <a:lnTo>
                  <a:pt x="42" y="108"/>
                </a:lnTo>
                <a:lnTo>
                  <a:pt x="42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18" y="96"/>
                </a:lnTo>
                <a:lnTo>
                  <a:pt x="24" y="96"/>
                </a:lnTo>
                <a:lnTo>
                  <a:pt x="18" y="96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6" y="78"/>
                </a:lnTo>
                <a:lnTo>
                  <a:pt x="6" y="84"/>
                </a:lnTo>
                <a:lnTo>
                  <a:pt x="6" y="78"/>
                </a:lnTo>
                <a:lnTo>
                  <a:pt x="6" y="84"/>
                </a:lnTo>
                <a:lnTo>
                  <a:pt x="6" y="84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0" y="78"/>
                </a:lnTo>
                <a:lnTo>
                  <a:pt x="0" y="78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14" name="Freeform 247"/>
          <p:cNvSpPr>
            <a:spLocks/>
          </p:cNvSpPr>
          <p:nvPr/>
        </p:nvSpPr>
        <p:spPr bwMode="auto">
          <a:xfrm>
            <a:off x="7764069" y="2908002"/>
            <a:ext cx="122057" cy="173451"/>
          </a:xfrm>
          <a:custGeom>
            <a:avLst/>
            <a:gdLst>
              <a:gd name="T0" fmla="*/ 24 w 114"/>
              <a:gd name="T1" fmla="*/ 54 h 162"/>
              <a:gd name="T2" fmla="*/ 24 w 114"/>
              <a:gd name="T3" fmla="*/ 48 h 162"/>
              <a:gd name="T4" fmla="*/ 24 w 114"/>
              <a:gd name="T5" fmla="*/ 42 h 162"/>
              <a:gd name="T6" fmla="*/ 30 w 114"/>
              <a:gd name="T7" fmla="*/ 42 h 162"/>
              <a:gd name="T8" fmla="*/ 36 w 114"/>
              <a:gd name="T9" fmla="*/ 36 h 162"/>
              <a:gd name="T10" fmla="*/ 36 w 114"/>
              <a:gd name="T11" fmla="*/ 30 h 162"/>
              <a:gd name="T12" fmla="*/ 30 w 114"/>
              <a:gd name="T13" fmla="*/ 24 h 162"/>
              <a:gd name="T14" fmla="*/ 30 w 114"/>
              <a:gd name="T15" fmla="*/ 24 h 162"/>
              <a:gd name="T16" fmla="*/ 24 w 114"/>
              <a:gd name="T17" fmla="*/ 24 h 162"/>
              <a:gd name="T18" fmla="*/ 18 w 114"/>
              <a:gd name="T19" fmla="*/ 24 h 162"/>
              <a:gd name="T20" fmla="*/ 18 w 114"/>
              <a:gd name="T21" fmla="*/ 18 h 162"/>
              <a:gd name="T22" fmla="*/ 12 w 114"/>
              <a:gd name="T23" fmla="*/ 18 h 162"/>
              <a:gd name="T24" fmla="*/ 12 w 114"/>
              <a:gd name="T25" fmla="*/ 12 h 162"/>
              <a:gd name="T26" fmla="*/ 18 w 114"/>
              <a:gd name="T27" fmla="*/ 12 h 162"/>
              <a:gd name="T28" fmla="*/ 24 w 114"/>
              <a:gd name="T29" fmla="*/ 6 h 162"/>
              <a:gd name="T30" fmla="*/ 24 w 114"/>
              <a:gd name="T31" fmla="*/ 6 h 162"/>
              <a:gd name="T32" fmla="*/ 30 w 114"/>
              <a:gd name="T33" fmla="*/ 6 h 162"/>
              <a:gd name="T34" fmla="*/ 36 w 114"/>
              <a:gd name="T35" fmla="*/ 6 h 162"/>
              <a:gd name="T36" fmla="*/ 42 w 114"/>
              <a:gd name="T37" fmla="*/ 6 h 162"/>
              <a:gd name="T38" fmla="*/ 48 w 114"/>
              <a:gd name="T39" fmla="*/ 12 h 162"/>
              <a:gd name="T40" fmla="*/ 54 w 114"/>
              <a:gd name="T41" fmla="*/ 24 h 162"/>
              <a:gd name="T42" fmla="*/ 66 w 114"/>
              <a:gd name="T43" fmla="*/ 30 h 162"/>
              <a:gd name="T44" fmla="*/ 72 w 114"/>
              <a:gd name="T45" fmla="*/ 42 h 162"/>
              <a:gd name="T46" fmla="*/ 72 w 114"/>
              <a:gd name="T47" fmla="*/ 48 h 162"/>
              <a:gd name="T48" fmla="*/ 66 w 114"/>
              <a:gd name="T49" fmla="*/ 78 h 162"/>
              <a:gd name="T50" fmla="*/ 66 w 114"/>
              <a:gd name="T51" fmla="*/ 78 h 162"/>
              <a:gd name="T52" fmla="*/ 78 w 114"/>
              <a:gd name="T53" fmla="*/ 84 h 162"/>
              <a:gd name="T54" fmla="*/ 84 w 114"/>
              <a:gd name="T55" fmla="*/ 84 h 162"/>
              <a:gd name="T56" fmla="*/ 90 w 114"/>
              <a:gd name="T57" fmla="*/ 90 h 162"/>
              <a:gd name="T58" fmla="*/ 96 w 114"/>
              <a:gd name="T59" fmla="*/ 96 h 162"/>
              <a:gd name="T60" fmla="*/ 96 w 114"/>
              <a:gd name="T61" fmla="*/ 96 h 162"/>
              <a:gd name="T62" fmla="*/ 102 w 114"/>
              <a:gd name="T63" fmla="*/ 102 h 162"/>
              <a:gd name="T64" fmla="*/ 108 w 114"/>
              <a:gd name="T65" fmla="*/ 108 h 162"/>
              <a:gd name="T66" fmla="*/ 114 w 114"/>
              <a:gd name="T67" fmla="*/ 120 h 162"/>
              <a:gd name="T68" fmla="*/ 102 w 114"/>
              <a:gd name="T69" fmla="*/ 138 h 162"/>
              <a:gd name="T70" fmla="*/ 96 w 114"/>
              <a:gd name="T71" fmla="*/ 132 h 162"/>
              <a:gd name="T72" fmla="*/ 90 w 114"/>
              <a:gd name="T73" fmla="*/ 138 h 162"/>
              <a:gd name="T74" fmla="*/ 84 w 114"/>
              <a:gd name="T75" fmla="*/ 132 h 162"/>
              <a:gd name="T76" fmla="*/ 84 w 114"/>
              <a:gd name="T77" fmla="*/ 132 h 162"/>
              <a:gd name="T78" fmla="*/ 78 w 114"/>
              <a:gd name="T79" fmla="*/ 138 h 162"/>
              <a:gd name="T80" fmla="*/ 78 w 114"/>
              <a:gd name="T81" fmla="*/ 138 h 162"/>
              <a:gd name="T82" fmla="*/ 72 w 114"/>
              <a:gd name="T83" fmla="*/ 144 h 162"/>
              <a:gd name="T84" fmla="*/ 72 w 114"/>
              <a:gd name="T85" fmla="*/ 144 h 162"/>
              <a:gd name="T86" fmla="*/ 66 w 114"/>
              <a:gd name="T87" fmla="*/ 144 h 162"/>
              <a:gd name="T88" fmla="*/ 60 w 114"/>
              <a:gd name="T89" fmla="*/ 162 h 162"/>
              <a:gd name="T90" fmla="*/ 48 w 114"/>
              <a:gd name="T91" fmla="*/ 138 h 162"/>
              <a:gd name="T92" fmla="*/ 42 w 114"/>
              <a:gd name="T93" fmla="*/ 132 h 162"/>
              <a:gd name="T94" fmla="*/ 42 w 114"/>
              <a:gd name="T95" fmla="*/ 126 h 162"/>
              <a:gd name="T96" fmla="*/ 42 w 114"/>
              <a:gd name="T97" fmla="*/ 120 h 162"/>
              <a:gd name="T98" fmla="*/ 30 w 114"/>
              <a:gd name="T99" fmla="*/ 114 h 162"/>
              <a:gd name="T100" fmla="*/ 18 w 114"/>
              <a:gd name="T101" fmla="*/ 108 h 162"/>
              <a:gd name="T102" fmla="*/ 18 w 114"/>
              <a:gd name="T103" fmla="*/ 96 h 162"/>
              <a:gd name="T104" fmla="*/ 12 w 114"/>
              <a:gd name="T105" fmla="*/ 90 h 162"/>
              <a:gd name="T106" fmla="*/ 12 w 114"/>
              <a:gd name="T107" fmla="*/ 84 h 162"/>
              <a:gd name="T108" fmla="*/ 0 w 114"/>
              <a:gd name="T109" fmla="*/ 78 h 162"/>
              <a:gd name="T110" fmla="*/ 0 w 114"/>
              <a:gd name="T111" fmla="*/ 66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14" h="162">
                <a:moveTo>
                  <a:pt x="0" y="60"/>
                </a:moveTo>
                <a:lnTo>
                  <a:pt x="18" y="60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18" y="48"/>
                </a:lnTo>
                <a:lnTo>
                  <a:pt x="18" y="48"/>
                </a:lnTo>
                <a:lnTo>
                  <a:pt x="24" y="48"/>
                </a:lnTo>
                <a:lnTo>
                  <a:pt x="24" y="48"/>
                </a:lnTo>
                <a:lnTo>
                  <a:pt x="24" y="42"/>
                </a:lnTo>
                <a:lnTo>
                  <a:pt x="24" y="42"/>
                </a:lnTo>
                <a:lnTo>
                  <a:pt x="30" y="48"/>
                </a:lnTo>
                <a:lnTo>
                  <a:pt x="30" y="42"/>
                </a:lnTo>
                <a:lnTo>
                  <a:pt x="30" y="48"/>
                </a:lnTo>
                <a:lnTo>
                  <a:pt x="30" y="42"/>
                </a:lnTo>
                <a:lnTo>
                  <a:pt x="30" y="42"/>
                </a:lnTo>
                <a:lnTo>
                  <a:pt x="36" y="42"/>
                </a:lnTo>
                <a:lnTo>
                  <a:pt x="36" y="42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0" y="24"/>
                </a:lnTo>
                <a:lnTo>
                  <a:pt x="36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18"/>
                </a:lnTo>
                <a:lnTo>
                  <a:pt x="30" y="18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24" y="12"/>
                </a:lnTo>
                <a:lnTo>
                  <a:pt x="24" y="12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12"/>
                </a:lnTo>
                <a:lnTo>
                  <a:pt x="48" y="12"/>
                </a:lnTo>
                <a:lnTo>
                  <a:pt x="48" y="18"/>
                </a:lnTo>
                <a:lnTo>
                  <a:pt x="48" y="18"/>
                </a:lnTo>
                <a:lnTo>
                  <a:pt x="54" y="18"/>
                </a:lnTo>
                <a:lnTo>
                  <a:pt x="54" y="18"/>
                </a:lnTo>
                <a:lnTo>
                  <a:pt x="54" y="24"/>
                </a:lnTo>
                <a:lnTo>
                  <a:pt x="54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6" y="30"/>
                </a:lnTo>
                <a:lnTo>
                  <a:pt x="66" y="30"/>
                </a:lnTo>
                <a:lnTo>
                  <a:pt x="66" y="36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66" y="66"/>
                </a:lnTo>
                <a:lnTo>
                  <a:pt x="66" y="72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72" y="78"/>
                </a:lnTo>
                <a:lnTo>
                  <a:pt x="78" y="78"/>
                </a:lnTo>
                <a:lnTo>
                  <a:pt x="78" y="78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90"/>
                </a:lnTo>
                <a:lnTo>
                  <a:pt x="84" y="90"/>
                </a:lnTo>
                <a:lnTo>
                  <a:pt x="90" y="90"/>
                </a:lnTo>
                <a:lnTo>
                  <a:pt x="90" y="90"/>
                </a:lnTo>
                <a:lnTo>
                  <a:pt x="90" y="96"/>
                </a:lnTo>
                <a:lnTo>
                  <a:pt x="90" y="96"/>
                </a:lnTo>
                <a:lnTo>
                  <a:pt x="96" y="96"/>
                </a:lnTo>
                <a:lnTo>
                  <a:pt x="96" y="96"/>
                </a:lnTo>
                <a:lnTo>
                  <a:pt x="96" y="96"/>
                </a:lnTo>
                <a:lnTo>
                  <a:pt x="96" y="96"/>
                </a:lnTo>
                <a:lnTo>
                  <a:pt x="96" y="96"/>
                </a:lnTo>
                <a:lnTo>
                  <a:pt x="96" y="96"/>
                </a:lnTo>
                <a:lnTo>
                  <a:pt x="96" y="96"/>
                </a:lnTo>
                <a:lnTo>
                  <a:pt x="96" y="96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8"/>
                </a:lnTo>
                <a:lnTo>
                  <a:pt x="102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14"/>
                </a:lnTo>
                <a:lnTo>
                  <a:pt x="108" y="114"/>
                </a:lnTo>
                <a:lnTo>
                  <a:pt x="114" y="114"/>
                </a:lnTo>
                <a:lnTo>
                  <a:pt x="114" y="120"/>
                </a:lnTo>
                <a:lnTo>
                  <a:pt x="114" y="120"/>
                </a:lnTo>
                <a:lnTo>
                  <a:pt x="114" y="126"/>
                </a:lnTo>
                <a:lnTo>
                  <a:pt x="114" y="132"/>
                </a:lnTo>
                <a:lnTo>
                  <a:pt x="102" y="138"/>
                </a:lnTo>
                <a:lnTo>
                  <a:pt x="102" y="138"/>
                </a:lnTo>
                <a:lnTo>
                  <a:pt x="102" y="138"/>
                </a:lnTo>
                <a:lnTo>
                  <a:pt x="102" y="138"/>
                </a:lnTo>
                <a:lnTo>
                  <a:pt x="102" y="138"/>
                </a:lnTo>
                <a:lnTo>
                  <a:pt x="96" y="132"/>
                </a:lnTo>
                <a:lnTo>
                  <a:pt x="96" y="132"/>
                </a:lnTo>
                <a:lnTo>
                  <a:pt x="96" y="132"/>
                </a:lnTo>
                <a:lnTo>
                  <a:pt x="90" y="138"/>
                </a:lnTo>
                <a:lnTo>
                  <a:pt x="90" y="138"/>
                </a:lnTo>
                <a:lnTo>
                  <a:pt x="90" y="132"/>
                </a:lnTo>
                <a:lnTo>
                  <a:pt x="90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78" y="132"/>
                </a:lnTo>
                <a:lnTo>
                  <a:pt x="78" y="132"/>
                </a:lnTo>
                <a:lnTo>
                  <a:pt x="78" y="132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2" y="138"/>
                </a:lnTo>
                <a:lnTo>
                  <a:pt x="72" y="144"/>
                </a:lnTo>
                <a:lnTo>
                  <a:pt x="72" y="144"/>
                </a:lnTo>
                <a:lnTo>
                  <a:pt x="72" y="138"/>
                </a:lnTo>
                <a:lnTo>
                  <a:pt x="72" y="144"/>
                </a:lnTo>
                <a:lnTo>
                  <a:pt x="72" y="144"/>
                </a:lnTo>
                <a:lnTo>
                  <a:pt x="72" y="144"/>
                </a:lnTo>
                <a:lnTo>
                  <a:pt x="72" y="144"/>
                </a:lnTo>
                <a:lnTo>
                  <a:pt x="72" y="144"/>
                </a:lnTo>
                <a:lnTo>
                  <a:pt x="72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62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38"/>
                </a:lnTo>
                <a:lnTo>
                  <a:pt x="48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26"/>
                </a:lnTo>
                <a:lnTo>
                  <a:pt x="42" y="126"/>
                </a:lnTo>
                <a:lnTo>
                  <a:pt x="36" y="126"/>
                </a:lnTo>
                <a:lnTo>
                  <a:pt x="42" y="120"/>
                </a:lnTo>
                <a:lnTo>
                  <a:pt x="42" y="120"/>
                </a:lnTo>
                <a:lnTo>
                  <a:pt x="42" y="120"/>
                </a:lnTo>
                <a:lnTo>
                  <a:pt x="42" y="120"/>
                </a:lnTo>
                <a:lnTo>
                  <a:pt x="36" y="114"/>
                </a:lnTo>
                <a:lnTo>
                  <a:pt x="36" y="120"/>
                </a:lnTo>
                <a:lnTo>
                  <a:pt x="30" y="120"/>
                </a:lnTo>
                <a:lnTo>
                  <a:pt x="30" y="114"/>
                </a:lnTo>
                <a:lnTo>
                  <a:pt x="30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08"/>
                </a:lnTo>
                <a:lnTo>
                  <a:pt x="24" y="108"/>
                </a:lnTo>
                <a:lnTo>
                  <a:pt x="18" y="108"/>
                </a:lnTo>
                <a:lnTo>
                  <a:pt x="18" y="108"/>
                </a:lnTo>
                <a:lnTo>
                  <a:pt x="12" y="108"/>
                </a:lnTo>
                <a:lnTo>
                  <a:pt x="18" y="102"/>
                </a:lnTo>
                <a:lnTo>
                  <a:pt x="12" y="102"/>
                </a:lnTo>
                <a:lnTo>
                  <a:pt x="18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0"/>
                </a:lnTo>
                <a:lnTo>
                  <a:pt x="12" y="90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0" y="78"/>
                </a:lnTo>
                <a:lnTo>
                  <a:pt x="0" y="78"/>
                </a:lnTo>
                <a:lnTo>
                  <a:pt x="0" y="72"/>
                </a:lnTo>
                <a:lnTo>
                  <a:pt x="0" y="72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0"/>
                </a:lnTo>
                <a:lnTo>
                  <a:pt x="0" y="6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15" name="Freeform 248"/>
          <p:cNvSpPr>
            <a:spLocks/>
          </p:cNvSpPr>
          <p:nvPr/>
        </p:nvSpPr>
        <p:spPr bwMode="auto">
          <a:xfrm>
            <a:off x="7918246" y="3184238"/>
            <a:ext cx="256962" cy="147754"/>
          </a:xfrm>
          <a:custGeom>
            <a:avLst/>
            <a:gdLst>
              <a:gd name="T0" fmla="*/ 12 w 240"/>
              <a:gd name="T1" fmla="*/ 78 h 138"/>
              <a:gd name="T2" fmla="*/ 18 w 240"/>
              <a:gd name="T3" fmla="*/ 72 h 138"/>
              <a:gd name="T4" fmla="*/ 24 w 240"/>
              <a:gd name="T5" fmla="*/ 78 h 138"/>
              <a:gd name="T6" fmla="*/ 30 w 240"/>
              <a:gd name="T7" fmla="*/ 78 h 138"/>
              <a:gd name="T8" fmla="*/ 36 w 240"/>
              <a:gd name="T9" fmla="*/ 78 h 138"/>
              <a:gd name="T10" fmla="*/ 42 w 240"/>
              <a:gd name="T11" fmla="*/ 72 h 138"/>
              <a:gd name="T12" fmla="*/ 48 w 240"/>
              <a:gd name="T13" fmla="*/ 72 h 138"/>
              <a:gd name="T14" fmla="*/ 54 w 240"/>
              <a:gd name="T15" fmla="*/ 66 h 138"/>
              <a:gd name="T16" fmla="*/ 54 w 240"/>
              <a:gd name="T17" fmla="*/ 54 h 138"/>
              <a:gd name="T18" fmla="*/ 60 w 240"/>
              <a:gd name="T19" fmla="*/ 48 h 138"/>
              <a:gd name="T20" fmla="*/ 66 w 240"/>
              <a:gd name="T21" fmla="*/ 48 h 138"/>
              <a:gd name="T22" fmla="*/ 66 w 240"/>
              <a:gd name="T23" fmla="*/ 24 h 138"/>
              <a:gd name="T24" fmla="*/ 156 w 240"/>
              <a:gd name="T25" fmla="*/ 12 h 138"/>
              <a:gd name="T26" fmla="*/ 156 w 240"/>
              <a:gd name="T27" fmla="*/ 18 h 138"/>
              <a:gd name="T28" fmla="*/ 162 w 240"/>
              <a:gd name="T29" fmla="*/ 24 h 138"/>
              <a:gd name="T30" fmla="*/ 162 w 240"/>
              <a:gd name="T31" fmla="*/ 18 h 138"/>
              <a:gd name="T32" fmla="*/ 162 w 240"/>
              <a:gd name="T33" fmla="*/ 12 h 138"/>
              <a:gd name="T34" fmla="*/ 168 w 240"/>
              <a:gd name="T35" fmla="*/ 6 h 138"/>
              <a:gd name="T36" fmla="*/ 186 w 240"/>
              <a:gd name="T37" fmla="*/ 12 h 138"/>
              <a:gd name="T38" fmla="*/ 198 w 240"/>
              <a:gd name="T39" fmla="*/ 48 h 138"/>
              <a:gd name="T40" fmla="*/ 210 w 240"/>
              <a:gd name="T41" fmla="*/ 84 h 138"/>
              <a:gd name="T42" fmla="*/ 216 w 240"/>
              <a:gd name="T43" fmla="*/ 90 h 138"/>
              <a:gd name="T44" fmla="*/ 222 w 240"/>
              <a:gd name="T45" fmla="*/ 90 h 138"/>
              <a:gd name="T46" fmla="*/ 228 w 240"/>
              <a:gd name="T47" fmla="*/ 90 h 138"/>
              <a:gd name="T48" fmla="*/ 234 w 240"/>
              <a:gd name="T49" fmla="*/ 90 h 138"/>
              <a:gd name="T50" fmla="*/ 234 w 240"/>
              <a:gd name="T51" fmla="*/ 102 h 138"/>
              <a:gd name="T52" fmla="*/ 234 w 240"/>
              <a:gd name="T53" fmla="*/ 108 h 138"/>
              <a:gd name="T54" fmla="*/ 222 w 240"/>
              <a:gd name="T55" fmla="*/ 108 h 138"/>
              <a:gd name="T56" fmla="*/ 216 w 240"/>
              <a:gd name="T57" fmla="*/ 108 h 138"/>
              <a:gd name="T58" fmla="*/ 204 w 240"/>
              <a:gd name="T59" fmla="*/ 114 h 138"/>
              <a:gd name="T60" fmla="*/ 198 w 240"/>
              <a:gd name="T61" fmla="*/ 126 h 138"/>
              <a:gd name="T62" fmla="*/ 186 w 240"/>
              <a:gd name="T63" fmla="*/ 126 h 138"/>
              <a:gd name="T64" fmla="*/ 186 w 240"/>
              <a:gd name="T65" fmla="*/ 132 h 138"/>
              <a:gd name="T66" fmla="*/ 198 w 240"/>
              <a:gd name="T67" fmla="*/ 138 h 138"/>
              <a:gd name="T68" fmla="*/ 180 w 240"/>
              <a:gd name="T69" fmla="*/ 138 h 138"/>
              <a:gd name="T70" fmla="*/ 174 w 240"/>
              <a:gd name="T71" fmla="*/ 138 h 138"/>
              <a:gd name="T72" fmla="*/ 168 w 240"/>
              <a:gd name="T73" fmla="*/ 138 h 138"/>
              <a:gd name="T74" fmla="*/ 168 w 240"/>
              <a:gd name="T75" fmla="*/ 132 h 138"/>
              <a:gd name="T76" fmla="*/ 168 w 240"/>
              <a:gd name="T77" fmla="*/ 132 h 138"/>
              <a:gd name="T78" fmla="*/ 162 w 240"/>
              <a:gd name="T79" fmla="*/ 126 h 138"/>
              <a:gd name="T80" fmla="*/ 156 w 240"/>
              <a:gd name="T81" fmla="*/ 126 h 138"/>
              <a:gd name="T82" fmla="*/ 150 w 240"/>
              <a:gd name="T83" fmla="*/ 126 h 138"/>
              <a:gd name="T84" fmla="*/ 150 w 240"/>
              <a:gd name="T85" fmla="*/ 120 h 138"/>
              <a:gd name="T86" fmla="*/ 144 w 240"/>
              <a:gd name="T87" fmla="*/ 114 h 138"/>
              <a:gd name="T88" fmla="*/ 138 w 240"/>
              <a:gd name="T89" fmla="*/ 114 h 138"/>
              <a:gd name="T90" fmla="*/ 132 w 240"/>
              <a:gd name="T91" fmla="*/ 114 h 138"/>
              <a:gd name="T92" fmla="*/ 126 w 240"/>
              <a:gd name="T93" fmla="*/ 114 h 138"/>
              <a:gd name="T94" fmla="*/ 120 w 240"/>
              <a:gd name="T95" fmla="*/ 114 h 138"/>
              <a:gd name="T96" fmla="*/ 114 w 240"/>
              <a:gd name="T97" fmla="*/ 108 h 138"/>
              <a:gd name="T98" fmla="*/ 102 w 240"/>
              <a:gd name="T99" fmla="*/ 108 h 138"/>
              <a:gd name="T100" fmla="*/ 96 w 240"/>
              <a:gd name="T101" fmla="*/ 102 h 138"/>
              <a:gd name="T102" fmla="*/ 84 w 240"/>
              <a:gd name="T103" fmla="*/ 96 h 138"/>
              <a:gd name="T104" fmla="*/ 78 w 240"/>
              <a:gd name="T105" fmla="*/ 102 h 138"/>
              <a:gd name="T106" fmla="*/ 72 w 240"/>
              <a:gd name="T107" fmla="*/ 96 h 138"/>
              <a:gd name="T108" fmla="*/ 66 w 240"/>
              <a:gd name="T109" fmla="*/ 96 h 138"/>
              <a:gd name="T110" fmla="*/ 54 w 240"/>
              <a:gd name="T111" fmla="*/ 96 h 138"/>
              <a:gd name="T112" fmla="*/ 42 w 240"/>
              <a:gd name="T113" fmla="*/ 102 h 138"/>
              <a:gd name="T114" fmla="*/ 30 w 240"/>
              <a:gd name="T115" fmla="*/ 108 h 138"/>
              <a:gd name="T116" fmla="*/ 12 w 240"/>
              <a:gd name="T117" fmla="*/ 108 h 138"/>
              <a:gd name="T118" fmla="*/ 0 w 240"/>
              <a:gd name="T119" fmla="*/ 72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40" h="138">
                <a:moveTo>
                  <a:pt x="0" y="72"/>
                </a:moveTo>
                <a:lnTo>
                  <a:pt x="0" y="72"/>
                </a:lnTo>
                <a:lnTo>
                  <a:pt x="0" y="72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8" y="78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6" y="78"/>
                </a:lnTo>
                <a:lnTo>
                  <a:pt x="36" y="78"/>
                </a:lnTo>
                <a:lnTo>
                  <a:pt x="36" y="72"/>
                </a:lnTo>
                <a:lnTo>
                  <a:pt x="36" y="72"/>
                </a:lnTo>
                <a:lnTo>
                  <a:pt x="36" y="78"/>
                </a:lnTo>
                <a:lnTo>
                  <a:pt x="36" y="78"/>
                </a:lnTo>
                <a:lnTo>
                  <a:pt x="36" y="72"/>
                </a:lnTo>
                <a:lnTo>
                  <a:pt x="36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72" y="48"/>
                </a:lnTo>
                <a:lnTo>
                  <a:pt x="66" y="48"/>
                </a:lnTo>
                <a:lnTo>
                  <a:pt x="72" y="48"/>
                </a:lnTo>
                <a:lnTo>
                  <a:pt x="66" y="48"/>
                </a:lnTo>
                <a:lnTo>
                  <a:pt x="66" y="42"/>
                </a:lnTo>
                <a:lnTo>
                  <a:pt x="66" y="36"/>
                </a:lnTo>
                <a:lnTo>
                  <a:pt x="66" y="24"/>
                </a:lnTo>
                <a:lnTo>
                  <a:pt x="66" y="18"/>
                </a:lnTo>
                <a:lnTo>
                  <a:pt x="84" y="18"/>
                </a:lnTo>
                <a:lnTo>
                  <a:pt x="84" y="18"/>
                </a:lnTo>
                <a:lnTo>
                  <a:pt x="102" y="18"/>
                </a:lnTo>
                <a:lnTo>
                  <a:pt x="114" y="18"/>
                </a:lnTo>
                <a:lnTo>
                  <a:pt x="114" y="18"/>
                </a:lnTo>
                <a:lnTo>
                  <a:pt x="132" y="24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6"/>
                </a:lnTo>
                <a:lnTo>
                  <a:pt x="168" y="0"/>
                </a:lnTo>
                <a:lnTo>
                  <a:pt x="168" y="6"/>
                </a:lnTo>
                <a:lnTo>
                  <a:pt x="174" y="6"/>
                </a:lnTo>
                <a:lnTo>
                  <a:pt x="174" y="6"/>
                </a:lnTo>
                <a:lnTo>
                  <a:pt x="174" y="0"/>
                </a:lnTo>
                <a:lnTo>
                  <a:pt x="180" y="0"/>
                </a:lnTo>
                <a:lnTo>
                  <a:pt x="180" y="6"/>
                </a:lnTo>
                <a:lnTo>
                  <a:pt x="180" y="6"/>
                </a:lnTo>
                <a:lnTo>
                  <a:pt x="180" y="6"/>
                </a:lnTo>
                <a:lnTo>
                  <a:pt x="186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18"/>
                </a:lnTo>
                <a:lnTo>
                  <a:pt x="192" y="18"/>
                </a:lnTo>
                <a:lnTo>
                  <a:pt x="192" y="24"/>
                </a:lnTo>
                <a:lnTo>
                  <a:pt x="192" y="24"/>
                </a:lnTo>
                <a:lnTo>
                  <a:pt x="198" y="48"/>
                </a:lnTo>
                <a:lnTo>
                  <a:pt x="198" y="48"/>
                </a:lnTo>
                <a:lnTo>
                  <a:pt x="204" y="84"/>
                </a:lnTo>
                <a:lnTo>
                  <a:pt x="204" y="84"/>
                </a:lnTo>
                <a:lnTo>
                  <a:pt x="204" y="84"/>
                </a:lnTo>
                <a:lnTo>
                  <a:pt x="210" y="84"/>
                </a:lnTo>
                <a:lnTo>
                  <a:pt x="210" y="84"/>
                </a:lnTo>
                <a:lnTo>
                  <a:pt x="210" y="84"/>
                </a:lnTo>
                <a:lnTo>
                  <a:pt x="210" y="84"/>
                </a:lnTo>
                <a:lnTo>
                  <a:pt x="210" y="84"/>
                </a:lnTo>
                <a:lnTo>
                  <a:pt x="210" y="84"/>
                </a:lnTo>
                <a:lnTo>
                  <a:pt x="216" y="84"/>
                </a:lnTo>
                <a:lnTo>
                  <a:pt x="210" y="84"/>
                </a:lnTo>
                <a:lnTo>
                  <a:pt x="216" y="84"/>
                </a:lnTo>
                <a:lnTo>
                  <a:pt x="216" y="90"/>
                </a:lnTo>
                <a:lnTo>
                  <a:pt x="216" y="90"/>
                </a:lnTo>
                <a:lnTo>
                  <a:pt x="216" y="90"/>
                </a:lnTo>
                <a:lnTo>
                  <a:pt x="216" y="90"/>
                </a:lnTo>
                <a:lnTo>
                  <a:pt x="216" y="90"/>
                </a:lnTo>
                <a:lnTo>
                  <a:pt x="216" y="90"/>
                </a:lnTo>
                <a:lnTo>
                  <a:pt x="216" y="90"/>
                </a:lnTo>
                <a:lnTo>
                  <a:pt x="216" y="90"/>
                </a:lnTo>
                <a:lnTo>
                  <a:pt x="216" y="90"/>
                </a:lnTo>
                <a:lnTo>
                  <a:pt x="216" y="90"/>
                </a:lnTo>
                <a:lnTo>
                  <a:pt x="222" y="90"/>
                </a:lnTo>
                <a:lnTo>
                  <a:pt x="222" y="84"/>
                </a:lnTo>
                <a:lnTo>
                  <a:pt x="222" y="84"/>
                </a:lnTo>
                <a:lnTo>
                  <a:pt x="222" y="84"/>
                </a:lnTo>
                <a:lnTo>
                  <a:pt x="222" y="90"/>
                </a:lnTo>
                <a:lnTo>
                  <a:pt x="222" y="90"/>
                </a:lnTo>
                <a:lnTo>
                  <a:pt x="222" y="90"/>
                </a:lnTo>
                <a:lnTo>
                  <a:pt x="228" y="90"/>
                </a:lnTo>
                <a:lnTo>
                  <a:pt x="228" y="90"/>
                </a:lnTo>
                <a:lnTo>
                  <a:pt x="228" y="90"/>
                </a:lnTo>
                <a:lnTo>
                  <a:pt x="228" y="84"/>
                </a:lnTo>
                <a:lnTo>
                  <a:pt x="228" y="84"/>
                </a:lnTo>
                <a:lnTo>
                  <a:pt x="234" y="90"/>
                </a:lnTo>
                <a:lnTo>
                  <a:pt x="234" y="90"/>
                </a:lnTo>
                <a:lnTo>
                  <a:pt x="240" y="90"/>
                </a:lnTo>
                <a:lnTo>
                  <a:pt x="234" y="90"/>
                </a:lnTo>
                <a:lnTo>
                  <a:pt x="234" y="90"/>
                </a:lnTo>
                <a:lnTo>
                  <a:pt x="234" y="90"/>
                </a:lnTo>
                <a:lnTo>
                  <a:pt x="234" y="90"/>
                </a:lnTo>
                <a:lnTo>
                  <a:pt x="234" y="96"/>
                </a:lnTo>
                <a:lnTo>
                  <a:pt x="234" y="96"/>
                </a:lnTo>
                <a:lnTo>
                  <a:pt x="234" y="102"/>
                </a:lnTo>
                <a:lnTo>
                  <a:pt x="234" y="102"/>
                </a:lnTo>
                <a:lnTo>
                  <a:pt x="234" y="102"/>
                </a:lnTo>
                <a:lnTo>
                  <a:pt x="234" y="102"/>
                </a:lnTo>
                <a:lnTo>
                  <a:pt x="234" y="108"/>
                </a:lnTo>
                <a:lnTo>
                  <a:pt x="234" y="108"/>
                </a:lnTo>
                <a:lnTo>
                  <a:pt x="234" y="108"/>
                </a:lnTo>
                <a:lnTo>
                  <a:pt x="234" y="108"/>
                </a:lnTo>
                <a:lnTo>
                  <a:pt x="234" y="108"/>
                </a:lnTo>
                <a:lnTo>
                  <a:pt x="234" y="108"/>
                </a:lnTo>
                <a:lnTo>
                  <a:pt x="228" y="108"/>
                </a:lnTo>
                <a:lnTo>
                  <a:pt x="234" y="108"/>
                </a:lnTo>
                <a:lnTo>
                  <a:pt x="228" y="108"/>
                </a:lnTo>
                <a:lnTo>
                  <a:pt x="228" y="108"/>
                </a:lnTo>
                <a:lnTo>
                  <a:pt x="228" y="108"/>
                </a:lnTo>
                <a:lnTo>
                  <a:pt x="228" y="108"/>
                </a:lnTo>
                <a:lnTo>
                  <a:pt x="228" y="108"/>
                </a:lnTo>
                <a:lnTo>
                  <a:pt x="222" y="108"/>
                </a:lnTo>
                <a:lnTo>
                  <a:pt x="222" y="108"/>
                </a:lnTo>
                <a:lnTo>
                  <a:pt x="222" y="108"/>
                </a:lnTo>
                <a:lnTo>
                  <a:pt x="222" y="108"/>
                </a:lnTo>
                <a:lnTo>
                  <a:pt x="222" y="108"/>
                </a:lnTo>
                <a:lnTo>
                  <a:pt x="222" y="108"/>
                </a:lnTo>
                <a:lnTo>
                  <a:pt x="216" y="108"/>
                </a:lnTo>
                <a:lnTo>
                  <a:pt x="216" y="108"/>
                </a:lnTo>
                <a:lnTo>
                  <a:pt x="216" y="108"/>
                </a:lnTo>
                <a:lnTo>
                  <a:pt x="216" y="108"/>
                </a:lnTo>
                <a:lnTo>
                  <a:pt x="216" y="108"/>
                </a:lnTo>
                <a:lnTo>
                  <a:pt x="210" y="108"/>
                </a:lnTo>
                <a:lnTo>
                  <a:pt x="210" y="108"/>
                </a:lnTo>
                <a:lnTo>
                  <a:pt x="210" y="114"/>
                </a:lnTo>
                <a:lnTo>
                  <a:pt x="210" y="114"/>
                </a:lnTo>
                <a:lnTo>
                  <a:pt x="204" y="114"/>
                </a:lnTo>
                <a:lnTo>
                  <a:pt x="204" y="114"/>
                </a:lnTo>
                <a:lnTo>
                  <a:pt x="204" y="114"/>
                </a:lnTo>
                <a:lnTo>
                  <a:pt x="204" y="114"/>
                </a:lnTo>
                <a:lnTo>
                  <a:pt x="204" y="120"/>
                </a:lnTo>
                <a:lnTo>
                  <a:pt x="204" y="120"/>
                </a:lnTo>
                <a:lnTo>
                  <a:pt x="204" y="120"/>
                </a:lnTo>
                <a:lnTo>
                  <a:pt x="198" y="120"/>
                </a:lnTo>
                <a:lnTo>
                  <a:pt x="198" y="120"/>
                </a:lnTo>
                <a:lnTo>
                  <a:pt x="198" y="120"/>
                </a:lnTo>
                <a:lnTo>
                  <a:pt x="198" y="126"/>
                </a:lnTo>
                <a:lnTo>
                  <a:pt x="198" y="126"/>
                </a:lnTo>
                <a:lnTo>
                  <a:pt x="198" y="120"/>
                </a:lnTo>
                <a:lnTo>
                  <a:pt x="192" y="126"/>
                </a:lnTo>
                <a:lnTo>
                  <a:pt x="192" y="126"/>
                </a:lnTo>
                <a:lnTo>
                  <a:pt x="192" y="126"/>
                </a:lnTo>
                <a:lnTo>
                  <a:pt x="192" y="126"/>
                </a:lnTo>
                <a:lnTo>
                  <a:pt x="186" y="120"/>
                </a:lnTo>
                <a:lnTo>
                  <a:pt x="186" y="120"/>
                </a:lnTo>
                <a:lnTo>
                  <a:pt x="186" y="126"/>
                </a:lnTo>
                <a:lnTo>
                  <a:pt x="180" y="120"/>
                </a:lnTo>
                <a:lnTo>
                  <a:pt x="180" y="120"/>
                </a:lnTo>
                <a:lnTo>
                  <a:pt x="180" y="120"/>
                </a:lnTo>
                <a:lnTo>
                  <a:pt x="180" y="126"/>
                </a:lnTo>
                <a:lnTo>
                  <a:pt x="180" y="126"/>
                </a:lnTo>
                <a:lnTo>
                  <a:pt x="186" y="132"/>
                </a:lnTo>
                <a:lnTo>
                  <a:pt x="186" y="132"/>
                </a:lnTo>
                <a:lnTo>
                  <a:pt x="186" y="132"/>
                </a:lnTo>
                <a:lnTo>
                  <a:pt x="186" y="132"/>
                </a:lnTo>
                <a:lnTo>
                  <a:pt x="186" y="132"/>
                </a:lnTo>
                <a:lnTo>
                  <a:pt x="192" y="132"/>
                </a:lnTo>
                <a:lnTo>
                  <a:pt x="192" y="132"/>
                </a:lnTo>
                <a:lnTo>
                  <a:pt x="192" y="132"/>
                </a:lnTo>
                <a:lnTo>
                  <a:pt x="192" y="132"/>
                </a:lnTo>
                <a:lnTo>
                  <a:pt x="192" y="132"/>
                </a:lnTo>
                <a:lnTo>
                  <a:pt x="198" y="138"/>
                </a:lnTo>
                <a:lnTo>
                  <a:pt x="192" y="138"/>
                </a:lnTo>
                <a:lnTo>
                  <a:pt x="192" y="138"/>
                </a:lnTo>
                <a:lnTo>
                  <a:pt x="192" y="138"/>
                </a:lnTo>
                <a:lnTo>
                  <a:pt x="186" y="138"/>
                </a:lnTo>
                <a:lnTo>
                  <a:pt x="186" y="138"/>
                </a:lnTo>
                <a:lnTo>
                  <a:pt x="180" y="138"/>
                </a:lnTo>
                <a:lnTo>
                  <a:pt x="180" y="138"/>
                </a:lnTo>
                <a:lnTo>
                  <a:pt x="180" y="138"/>
                </a:lnTo>
                <a:lnTo>
                  <a:pt x="180" y="138"/>
                </a:lnTo>
                <a:lnTo>
                  <a:pt x="180" y="138"/>
                </a:lnTo>
                <a:lnTo>
                  <a:pt x="180" y="138"/>
                </a:lnTo>
                <a:lnTo>
                  <a:pt x="174" y="138"/>
                </a:lnTo>
                <a:lnTo>
                  <a:pt x="174" y="138"/>
                </a:lnTo>
                <a:lnTo>
                  <a:pt x="174" y="138"/>
                </a:lnTo>
                <a:lnTo>
                  <a:pt x="174" y="138"/>
                </a:lnTo>
                <a:lnTo>
                  <a:pt x="174" y="138"/>
                </a:lnTo>
                <a:lnTo>
                  <a:pt x="174" y="138"/>
                </a:lnTo>
                <a:lnTo>
                  <a:pt x="174" y="138"/>
                </a:lnTo>
                <a:lnTo>
                  <a:pt x="174" y="138"/>
                </a:lnTo>
                <a:lnTo>
                  <a:pt x="174" y="138"/>
                </a:lnTo>
                <a:lnTo>
                  <a:pt x="174" y="138"/>
                </a:lnTo>
                <a:lnTo>
                  <a:pt x="174" y="138"/>
                </a:lnTo>
                <a:lnTo>
                  <a:pt x="174" y="138"/>
                </a:lnTo>
                <a:lnTo>
                  <a:pt x="168" y="138"/>
                </a:lnTo>
                <a:lnTo>
                  <a:pt x="168" y="138"/>
                </a:lnTo>
                <a:lnTo>
                  <a:pt x="168" y="138"/>
                </a:lnTo>
                <a:lnTo>
                  <a:pt x="168" y="138"/>
                </a:lnTo>
                <a:lnTo>
                  <a:pt x="168" y="138"/>
                </a:lnTo>
                <a:lnTo>
                  <a:pt x="168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26"/>
                </a:lnTo>
                <a:lnTo>
                  <a:pt x="168" y="126"/>
                </a:lnTo>
                <a:lnTo>
                  <a:pt x="168" y="126"/>
                </a:lnTo>
                <a:lnTo>
                  <a:pt x="162" y="132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0" y="126"/>
                </a:lnTo>
                <a:lnTo>
                  <a:pt x="150" y="126"/>
                </a:lnTo>
                <a:lnTo>
                  <a:pt x="156" y="126"/>
                </a:lnTo>
                <a:lnTo>
                  <a:pt x="156" y="120"/>
                </a:lnTo>
                <a:lnTo>
                  <a:pt x="150" y="120"/>
                </a:lnTo>
                <a:lnTo>
                  <a:pt x="150" y="120"/>
                </a:lnTo>
                <a:lnTo>
                  <a:pt x="150" y="120"/>
                </a:lnTo>
                <a:lnTo>
                  <a:pt x="150" y="120"/>
                </a:lnTo>
                <a:lnTo>
                  <a:pt x="150" y="120"/>
                </a:lnTo>
                <a:lnTo>
                  <a:pt x="150" y="120"/>
                </a:lnTo>
                <a:lnTo>
                  <a:pt x="150" y="120"/>
                </a:lnTo>
                <a:lnTo>
                  <a:pt x="150" y="120"/>
                </a:lnTo>
                <a:lnTo>
                  <a:pt x="144" y="120"/>
                </a:lnTo>
                <a:lnTo>
                  <a:pt x="150" y="114"/>
                </a:lnTo>
                <a:lnTo>
                  <a:pt x="144" y="114"/>
                </a:lnTo>
                <a:lnTo>
                  <a:pt x="144" y="114"/>
                </a:lnTo>
                <a:lnTo>
                  <a:pt x="144" y="114"/>
                </a:lnTo>
                <a:lnTo>
                  <a:pt x="144" y="114"/>
                </a:lnTo>
                <a:lnTo>
                  <a:pt x="144" y="114"/>
                </a:lnTo>
                <a:lnTo>
                  <a:pt x="144" y="114"/>
                </a:lnTo>
                <a:lnTo>
                  <a:pt x="144" y="114"/>
                </a:lnTo>
                <a:lnTo>
                  <a:pt x="144" y="114"/>
                </a:lnTo>
                <a:lnTo>
                  <a:pt x="144" y="114"/>
                </a:lnTo>
                <a:lnTo>
                  <a:pt x="144" y="114"/>
                </a:lnTo>
                <a:lnTo>
                  <a:pt x="138" y="114"/>
                </a:lnTo>
                <a:lnTo>
                  <a:pt x="138" y="114"/>
                </a:lnTo>
                <a:lnTo>
                  <a:pt x="138" y="114"/>
                </a:lnTo>
                <a:lnTo>
                  <a:pt x="138" y="114"/>
                </a:lnTo>
                <a:lnTo>
                  <a:pt x="138" y="114"/>
                </a:lnTo>
                <a:lnTo>
                  <a:pt x="132" y="114"/>
                </a:lnTo>
                <a:lnTo>
                  <a:pt x="132" y="114"/>
                </a:lnTo>
                <a:lnTo>
                  <a:pt x="132" y="114"/>
                </a:lnTo>
                <a:lnTo>
                  <a:pt x="132" y="114"/>
                </a:lnTo>
                <a:lnTo>
                  <a:pt x="132" y="114"/>
                </a:lnTo>
                <a:lnTo>
                  <a:pt x="132" y="114"/>
                </a:lnTo>
                <a:lnTo>
                  <a:pt x="132" y="114"/>
                </a:lnTo>
                <a:lnTo>
                  <a:pt x="132" y="114"/>
                </a:lnTo>
                <a:lnTo>
                  <a:pt x="132" y="114"/>
                </a:lnTo>
                <a:lnTo>
                  <a:pt x="126" y="114"/>
                </a:lnTo>
                <a:lnTo>
                  <a:pt x="126" y="114"/>
                </a:lnTo>
                <a:lnTo>
                  <a:pt x="126" y="114"/>
                </a:lnTo>
                <a:lnTo>
                  <a:pt x="126" y="114"/>
                </a:lnTo>
                <a:lnTo>
                  <a:pt x="126" y="114"/>
                </a:lnTo>
                <a:lnTo>
                  <a:pt x="126" y="114"/>
                </a:lnTo>
                <a:lnTo>
                  <a:pt x="126" y="114"/>
                </a:lnTo>
                <a:lnTo>
                  <a:pt x="126" y="114"/>
                </a:lnTo>
                <a:lnTo>
                  <a:pt x="120" y="114"/>
                </a:lnTo>
                <a:lnTo>
                  <a:pt x="120" y="114"/>
                </a:lnTo>
                <a:lnTo>
                  <a:pt x="120" y="114"/>
                </a:lnTo>
                <a:lnTo>
                  <a:pt x="120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14"/>
                </a:lnTo>
                <a:lnTo>
                  <a:pt x="108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0" y="102"/>
                </a:lnTo>
                <a:lnTo>
                  <a:pt x="90" y="102"/>
                </a:lnTo>
                <a:lnTo>
                  <a:pt x="90" y="102"/>
                </a:lnTo>
                <a:lnTo>
                  <a:pt x="90" y="102"/>
                </a:lnTo>
                <a:lnTo>
                  <a:pt x="84" y="102"/>
                </a:lnTo>
                <a:lnTo>
                  <a:pt x="84" y="102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0" y="102"/>
                </a:lnTo>
                <a:lnTo>
                  <a:pt x="60" y="96"/>
                </a:lnTo>
                <a:lnTo>
                  <a:pt x="60" y="102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102"/>
                </a:lnTo>
                <a:lnTo>
                  <a:pt x="48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2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0" y="108"/>
                </a:lnTo>
                <a:lnTo>
                  <a:pt x="0" y="108"/>
                </a:lnTo>
                <a:lnTo>
                  <a:pt x="0" y="90"/>
                </a:lnTo>
                <a:lnTo>
                  <a:pt x="0" y="72"/>
                </a:lnTo>
                <a:lnTo>
                  <a:pt x="0" y="7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16" name="Freeform 249"/>
          <p:cNvSpPr>
            <a:spLocks/>
          </p:cNvSpPr>
          <p:nvPr/>
        </p:nvSpPr>
        <p:spPr bwMode="auto">
          <a:xfrm>
            <a:off x="7006031" y="3601804"/>
            <a:ext cx="205570" cy="199147"/>
          </a:xfrm>
          <a:custGeom>
            <a:avLst/>
            <a:gdLst>
              <a:gd name="T0" fmla="*/ 12 w 192"/>
              <a:gd name="T1" fmla="*/ 90 h 186"/>
              <a:gd name="T2" fmla="*/ 18 w 192"/>
              <a:gd name="T3" fmla="*/ 84 h 186"/>
              <a:gd name="T4" fmla="*/ 12 w 192"/>
              <a:gd name="T5" fmla="*/ 78 h 186"/>
              <a:gd name="T6" fmla="*/ 6 w 192"/>
              <a:gd name="T7" fmla="*/ 72 h 186"/>
              <a:gd name="T8" fmla="*/ 6 w 192"/>
              <a:gd name="T9" fmla="*/ 66 h 186"/>
              <a:gd name="T10" fmla="*/ 12 w 192"/>
              <a:gd name="T11" fmla="*/ 60 h 186"/>
              <a:gd name="T12" fmla="*/ 18 w 192"/>
              <a:gd name="T13" fmla="*/ 60 h 186"/>
              <a:gd name="T14" fmla="*/ 24 w 192"/>
              <a:gd name="T15" fmla="*/ 54 h 186"/>
              <a:gd name="T16" fmla="*/ 36 w 192"/>
              <a:gd name="T17" fmla="*/ 54 h 186"/>
              <a:gd name="T18" fmla="*/ 36 w 192"/>
              <a:gd name="T19" fmla="*/ 42 h 186"/>
              <a:gd name="T20" fmla="*/ 42 w 192"/>
              <a:gd name="T21" fmla="*/ 42 h 186"/>
              <a:gd name="T22" fmla="*/ 48 w 192"/>
              <a:gd name="T23" fmla="*/ 42 h 186"/>
              <a:gd name="T24" fmla="*/ 54 w 192"/>
              <a:gd name="T25" fmla="*/ 36 h 186"/>
              <a:gd name="T26" fmla="*/ 60 w 192"/>
              <a:gd name="T27" fmla="*/ 30 h 186"/>
              <a:gd name="T28" fmla="*/ 66 w 192"/>
              <a:gd name="T29" fmla="*/ 24 h 186"/>
              <a:gd name="T30" fmla="*/ 78 w 192"/>
              <a:gd name="T31" fmla="*/ 18 h 186"/>
              <a:gd name="T32" fmla="*/ 90 w 192"/>
              <a:gd name="T33" fmla="*/ 6 h 186"/>
              <a:gd name="T34" fmla="*/ 96 w 192"/>
              <a:gd name="T35" fmla="*/ 12 h 186"/>
              <a:gd name="T36" fmla="*/ 102 w 192"/>
              <a:gd name="T37" fmla="*/ 18 h 186"/>
              <a:gd name="T38" fmla="*/ 108 w 192"/>
              <a:gd name="T39" fmla="*/ 36 h 186"/>
              <a:gd name="T40" fmla="*/ 120 w 192"/>
              <a:gd name="T41" fmla="*/ 36 h 186"/>
              <a:gd name="T42" fmla="*/ 126 w 192"/>
              <a:gd name="T43" fmla="*/ 42 h 186"/>
              <a:gd name="T44" fmla="*/ 120 w 192"/>
              <a:gd name="T45" fmla="*/ 48 h 186"/>
              <a:gd name="T46" fmla="*/ 120 w 192"/>
              <a:gd name="T47" fmla="*/ 54 h 186"/>
              <a:gd name="T48" fmla="*/ 120 w 192"/>
              <a:gd name="T49" fmla="*/ 60 h 186"/>
              <a:gd name="T50" fmla="*/ 126 w 192"/>
              <a:gd name="T51" fmla="*/ 72 h 186"/>
              <a:gd name="T52" fmla="*/ 144 w 192"/>
              <a:gd name="T53" fmla="*/ 84 h 186"/>
              <a:gd name="T54" fmla="*/ 138 w 192"/>
              <a:gd name="T55" fmla="*/ 96 h 186"/>
              <a:gd name="T56" fmla="*/ 138 w 192"/>
              <a:gd name="T57" fmla="*/ 108 h 186"/>
              <a:gd name="T58" fmla="*/ 144 w 192"/>
              <a:gd name="T59" fmla="*/ 120 h 186"/>
              <a:gd name="T60" fmla="*/ 150 w 192"/>
              <a:gd name="T61" fmla="*/ 132 h 186"/>
              <a:gd name="T62" fmla="*/ 162 w 192"/>
              <a:gd name="T63" fmla="*/ 126 h 186"/>
              <a:gd name="T64" fmla="*/ 162 w 192"/>
              <a:gd name="T65" fmla="*/ 132 h 186"/>
              <a:gd name="T66" fmla="*/ 174 w 192"/>
              <a:gd name="T67" fmla="*/ 138 h 186"/>
              <a:gd name="T68" fmla="*/ 180 w 192"/>
              <a:gd name="T69" fmla="*/ 132 h 186"/>
              <a:gd name="T70" fmla="*/ 186 w 192"/>
              <a:gd name="T71" fmla="*/ 138 h 186"/>
              <a:gd name="T72" fmla="*/ 186 w 192"/>
              <a:gd name="T73" fmla="*/ 138 h 186"/>
              <a:gd name="T74" fmla="*/ 192 w 192"/>
              <a:gd name="T75" fmla="*/ 144 h 186"/>
              <a:gd name="T76" fmla="*/ 186 w 192"/>
              <a:gd name="T77" fmla="*/ 156 h 186"/>
              <a:gd name="T78" fmla="*/ 174 w 192"/>
              <a:gd name="T79" fmla="*/ 168 h 186"/>
              <a:gd name="T80" fmla="*/ 180 w 192"/>
              <a:gd name="T81" fmla="*/ 180 h 186"/>
              <a:gd name="T82" fmla="*/ 174 w 192"/>
              <a:gd name="T83" fmla="*/ 186 h 186"/>
              <a:gd name="T84" fmla="*/ 168 w 192"/>
              <a:gd name="T85" fmla="*/ 180 h 186"/>
              <a:gd name="T86" fmla="*/ 162 w 192"/>
              <a:gd name="T87" fmla="*/ 180 h 186"/>
              <a:gd name="T88" fmla="*/ 156 w 192"/>
              <a:gd name="T89" fmla="*/ 180 h 186"/>
              <a:gd name="T90" fmla="*/ 144 w 192"/>
              <a:gd name="T91" fmla="*/ 180 h 186"/>
              <a:gd name="T92" fmla="*/ 138 w 192"/>
              <a:gd name="T93" fmla="*/ 180 h 186"/>
              <a:gd name="T94" fmla="*/ 126 w 192"/>
              <a:gd name="T95" fmla="*/ 174 h 186"/>
              <a:gd name="T96" fmla="*/ 120 w 192"/>
              <a:gd name="T97" fmla="*/ 174 h 186"/>
              <a:gd name="T98" fmla="*/ 114 w 192"/>
              <a:gd name="T99" fmla="*/ 168 h 186"/>
              <a:gd name="T100" fmla="*/ 108 w 192"/>
              <a:gd name="T101" fmla="*/ 168 h 186"/>
              <a:gd name="T102" fmla="*/ 102 w 192"/>
              <a:gd name="T103" fmla="*/ 162 h 186"/>
              <a:gd name="T104" fmla="*/ 96 w 192"/>
              <a:gd name="T105" fmla="*/ 162 h 186"/>
              <a:gd name="T106" fmla="*/ 90 w 192"/>
              <a:gd name="T107" fmla="*/ 162 h 186"/>
              <a:gd name="T108" fmla="*/ 84 w 192"/>
              <a:gd name="T109" fmla="*/ 156 h 186"/>
              <a:gd name="T110" fmla="*/ 72 w 192"/>
              <a:gd name="T111" fmla="*/ 156 h 186"/>
              <a:gd name="T112" fmla="*/ 66 w 192"/>
              <a:gd name="T113" fmla="*/ 156 h 186"/>
              <a:gd name="T114" fmla="*/ 54 w 192"/>
              <a:gd name="T115" fmla="*/ 156 h 186"/>
              <a:gd name="T116" fmla="*/ 48 w 192"/>
              <a:gd name="T117" fmla="*/ 156 h 186"/>
              <a:gd name="T118" fmla="*/ 42 w 192"/>
              <a:gd name="T119" fmla="*/ 144 h 186"/>
              <a:gd name="T120" fmla="*/ 24 w 192"/>
              <a:gd name="T121" fmla="*/ 126 h 186"/>
              <a:gd name="T122" fmla="*/ 6 w 192"/>
              <a:gd name="T123" fmla="*/ 120 h 186"/>
              <a:gd name="T124" fmla="*/ 0 w 192"/>
              <a:gd name="T125" fmla="*/ 96 h 1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92" h="186">
                <a:moveTo>
                  <a:pt x="0" y="96"/>
                </a:move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12" y="96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2" y="84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24" y="54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54"/>
                </a:lnTo>
                <a:lnTo>
                  <a:pt x="24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0" y="48"/>
                </a:lnTo>
                <a:lnTo>
                  <a:pt x="36" y="48"/>
                </a:lnTo>
                <a:lnTo>
                  <a:pt x="36" y="48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36"/>
                </a:lnTo>
                <a:lnTo>
                  <a:pt x="42" y="42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0"/>
                </a:lnTo>
                <a:lnTo>
                  <a:pt x="54" y="36"/>
                </a:lnTo>
                <a:lnTo>
                  <a:pt x="54" y="30"/>
                </a:lnTo>
                <a:lnTo>
                  <a:pt x="54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0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72" y="24"/>
                </a:lnTo>
                <a:lnTo>
                  <a:pt x="72" y="24"/>
                </a:lnTo>
                <a:lnTo>
                  <a:pt x="66" y="24"/>
                </a:lnTo>
                <a:lnTo>
                  <a:pt x="72" y="18"/>
                </a:lnTo>
                <a:lnTo>
                  <a:pt x="72" y="24"/>
                </a:lnTo>
                <a:lnTo>
                  <a:pt x="72" y="18"/>
                </a:lnTo>
                <a:lnTo>
                  <a:pt x="72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84" y="12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8"/>
                </a:lnTo>
                <a:lnTo>
                  <a:pt x="96" y="18"/>
                </a:lnTo>
                <a:lnTo>
                  <a:pt x="102" y="12"/>
                </a:lnTo>
                <a:lnTo>
                  <a:pt x="102" y="12"/>
                </a:lnTo>
                <a:lnTo>
                  <a:pt x="102" y="18"/>
                </a:lnTo>
                <a:lnTo>
                  <a:pt x="102" y="18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20" y="42"/>
                </a:lnTo>
                <a:lnTo>
                  <a:pt x="120" y="42"/>
                </a:lnTo>
                <a:lnTo>
                  <a:pt x="120" y="36"/>
                </a:lnTo>
                <a:lnTo>
                  <a:pt x="120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8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0" y="48"/>
                </a:lnTo>
                <a:lnTo>
                  <a:pt x="120" y="42"/>
                </a:lnTo>
                <a:lnTo>
                  <a:pt x="120" y="42"/>
                </a:lnTo>
                <a:lnTo>
                  <a:pt x="120" y="48"/>
                </a:lnTo>
                <a:lnTo>
                  <a:pt x="120" y="42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14" y="48"/>
                </a:lnTo>
                <a:lnTo>
                  <a:pt x="120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54"/>
                </a:lnTo>
                <a:lnTo>
                  <a:pt x="114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6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8"/>
                </a:lnTo>
                <a:lnTo>
                  <a:pt x="138" y="78"/>
                </a:lnTo>
                <a:lnTo>
                  <a:pt x="138" y="78"/>
                </a:lnTo>
                <a:lnTo>
                  <a:pt x="138" y="78"/>
                </a:lnTo>
                <a:lnTo>
                  <a:pt x="138" y="78"/>
                </a:lnTo>
                <a:lnTo>
                  <a:pt x="138" y="78"/>
                </a:lnTo>
                <a:lnTo>
                  <a:pt x="138" y="78"/>
                </a:lnTo>
                <a:lnTo>
                  <a:pt x="144" y="78"/>
                </a:lnTo>
                <a:lnTo>
                  <a:pt x="144" y="84"/>
                </a:lnTo>
                <a:lnTo>
                  <a:pt x="144" y="84"/>
                </a:lnTo>
                <a:lnTo>
                  <a:pt x="138" y="84"/>
                </a:lnTo>
                <a:lnTo>
                  <a:pt x="138" y="84"/>
                </a:lnTo>
                <a:lnTo>
                  <a:pt x="138" y="84"/>
                </a:lnTo>
                <a:lnTo>
                  <a:pt x="138" y="84"/>
                </a:lnTo>
                <a:lnTo>
                  <a:pt x="138" y="90"/>
                </a:lnTo>
                <a:lnTo>
                  <a:pt x="138" y="90"/>
                </a:lnTo>
                <a:lnTo>
                  <a:pt x="138" y="90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2" y="96"/>
                </a:lnTo>
                <a:lnTo>
                  <a:pt x="132" y="102"/>
                </a:lnTo>
                <a:lnTo>
                  <a:pt x="132" y="102"/>
                </a:lnTo>
                <a:lnTo>
                  <a:pt x="132" y="108"/>
                </a:lnTo>
                <a:lnTo>
                  <a:pt x="132" y="108"/>
                </a:lnTo>
                <a:lnTo>
                  <a:pt x="138" y="102"/>
                </a:lnTo>
                <a:lnTo>
                  <a:pt x="138" y="102"/>
                </a:lnTo>
                <a:lnTo>
                  <a:pt x="138" y="108"/>
                </a:lnTo>
                <a:lnTo>
                  <a:pt x="138" y="108"/>
                </a:lnTo>
                <a:lnTo>
                  <a:pt x="138" y="108"/>
                </a:lnTo>
                <a:lnTo>
                  <a:pt x="138" y="108"/>
                </a:lnTo>
                <a:lnTo>
                  <a:pt x="138" y="114"/>
                </a:lnTo>
                <a:lnTo>
                  <a:pt x="138" y="114"/>
                </a:lnTo>
                <a:lnTo>
                  <a:pt x="138" y="114"/>
                </a:lnTo>
                <a:lnTo>
                  <a:pt x="138" y="114"/>
                </a:lnTo>
                <a:lnTo>
                  <a:pt x="138" y="114"/>
                </a:lnTo>
                <a:lnTo>
                  <a:pt x="138" y="114"/>
                </a:lnTo>
                <a:lnTo>
                  <a:pt x="138" y="114"/>
                </a:lnTo>
                <a:lnTo>
                  <a:pt x="144" y="114"/>
                </a:lnTo>
                <a:lnTo>
                  <a:pt x="144" y="120"/>
                </a:lnTo>
                <a:lnTo>
                  <a:pt x="144" y="120"/>
                </a:lnTo>
                <a:lnTo>
                  <a:pt x="144" y="120"/>
                </a:lnTo>
                <a:lnTo>
                  <a:pt x="144" y="120"/>
                </a:lnTo>
                <a:lnTo>
                  <a:pt x="138" y="120"/>
                </a:lnTo>
                <a:lnTo>
                  <a:pt x="138" y="120"/>
                </a:lnTo>
                <a:lnTo>
                  <a:pt x="138" y="126"/>
                </a:lnTo>
                <a:lnTo>
                  <a:pt x="144" y="126"/>
                </a:lnTo>
                <a:lnTo>
                  <a:pt x="144" y="132"/>
                </a:lnTo>
                <a:lnTo>
                  <a:pt x="144" y="132"/>
                </a:lnTo>
                <a:lnTo>
                  <a:pt x="144" y="132"/>
                </a:lnTo>
                <a:lnTo>
                  <a:pt x="144" y="132"/>
                </a:lnTo>
                <a:lnTo>
                  <a:pt x="150" y="132"/>
                </a:lnTo>
                <a:lnTo>
                  <a:pt x="150" y="132"/>
                </a:lnTo>
                <a:lnTo>
                  <a:pt x="150" y="132"/>
                </a:lnTo>
                <a:lnTo>
                  <a:pt x="150" y="132"/>
                </a:lnTo>
                <a:lnTo>
                  <a:pt x="150" y="132"/>
                </a:lnTo>
                <a:lnTo>
                  <a:pt x="156" y="132"/>
                </a:lnTo>
                <a:lnTo>
                  <a:pt x="156" y="132"/>
                </a:lnTo>
                <a:lnTo>
                  <a:pt x="156" y="132"/>
                </a:lnTo>
                <a:lnTo>
                  <a:pt x="156" y="132"/>
                </a:lnTo>
                <a:lnTo>
                  <a:pt x="156" y="132"/>
                </a:lnTo>
                <a:lnTo>
                  <a:pt x="156" y="132"/>
                </a:lnTo>
                <a:lnTo>
                  <a:pt x="162" y="132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8" y="132"/>
                </a:lnTo>
                <a:lnTo>
                  <a:pt x="162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38"/>
                </a:lnTo>
                <a:lnTo>
                  <a:pt x="168" y="138"/>
                </a:lnTo>
                <a:lnTo>
                  <a:pt x="168" y="144"/>
                </a:lnTo>
                <a:lnTo>
                  <a:pt x="168" y="144"/>
                </a:lnTo>
                <a:lnTo>
                  <a:pt x="168" y="138"/>
                </a:lnTo>
                <a:lnTo>
                  <a:pt x="168" y="138"/>
                </a:lnTo>
                <a:lnTo>
                  <a:pt x="174" y="138"/>
                </a:lnTo>
                <a:lnTo>
                  <a:pt x="174" y="138"/>
                </a:lnTo>
                <a:lnTo>
                  <a:pt x="174" y="138"/>
                </a:lnTo>
                <a:lnTo>
                  <a:pt x="174" y="138"/>
                </a:lnTo>
                <a:lnTo>
                  <a:pt x="174" y="138"/>
                </a:lnTo>
                <a:lnTo>
                  <a:pt x="174" y="138"/>
                </a:lnTo>
                <a:lnTo>
                  <a:pt x="174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6" y="132"/>
                </a:lnTo>
                <a:lnTo>
                  <a:pt x="186" y="132"/>
                </a:lnTo>
                <a:lnTo>
                  <a:pt x="186" y="132"/>
                </a:lnTo>
                <a:lnTo>
                  <a:pt x="186" y="132"/>
                </a:lnTo>
                <a:lnTo>
                  <a:pt x="186" y="132"/>
                </a:lnTo>
                <a:lnTo>
                  <a:pt x="186" y="138"/>
                </a:lnTo>
                <a:lnTo>
                  <a:pt x="186" y="138"/>
                </a:lnTo>
                <a:lnTo>
                  <a:pt x="186" y="138"/>
                </a:lnTo>
                <a:lnTo>
                  <a:pt x="186" y="138"/>
                </a:lnTo>
                <a:lnTo>
                  <a:pt x="186" y="138"/>
                </a:lnTo>
                <a:lnTo>
                  <a:pt x="186" y="138"/>
                </a:lnTo>
                <a:lnTo>
                  <a:pt x="186" y="138"/>
                </a:lnTo>
                <a:lnTo>
                  <a:pt x="186" y="138"/>
                </a:lnTo>
                <a:lnTo>
                  <a:pt x="186" y="138"/>
                </a:lnTo>
                <a:lnTo>
                  <a:pt x="186" y="138"/>
                </a:lnTo>
                <a:lnTo>
                  <a:pt x="186" y="138"/>
                </a:lnTo>
                <a:lnTo>
                  <a:pt x="186" y="138"/>
                </a:lnTo>
                <a:lnTo>
                  <a:pt x="186" y="138"/>
                </a:lnTo>
                <a:lnTo>
                  <a:pt x="186" y="138"/>
                </a:lnTo>
                <a:lnTo>
                  <a:pt x="186" y="138"/>
                </a:lnTo>
                <a:lnTo>
                  <a:pt x="186" y="138"/>
                </a:lnTo>
                <a:lnTo>
                  <a:pt x="192" y="144"/>
                </a:lnTo>
                <a:lnTo>
                  <a:pt x="192" y="144"/>
                </a:lnTo>
                <a:lnTo>
                  <a:pt x="192" y="144"/>
                </a:lnTo>
                <a:lnTo>
                  <a:pt x="192" y="144"/>
                </a:lnTo>
                <a:lnTo>
                  <a:pt x="186" y="144"/>
                </a:lnTo>
                <a:lnTo>
                  <a:pt x="186" y="144"/>
                </a:lnTo>
                <a:lnTo>
                  <a:pt x="186" y="144"/>
                </a:lnTo>
                <a:lnTo>
                  <a:pt x="186" y="144"/>
                </a:lnTo>
                <a:lnTo>
                  <a:pt x="192" y="144"/>
                </a:lnTo>
                <a:lnTo>
                  <a:pt x="192" y="144"/>
                </a:lnTo>
                <a:lnTo>
                  <a:pt x="192" y="144"/>
                </a:lnTo>
                <a:lnTo>
                  <a:pt x="192" y="150"/>
                </a:lnTo>
                <a:lnTo>
                  <a:pt x="192" y="150"/>
                </a:lnTo>
                <a:lnTo>
                  <a:pt x="192" y="150"/>
                </a:lnTo>
                <a:lnTo>
                  <a:pt x="192" y="150"/>
                </a:lnTo>
                <a:lnTo>
                  <a:pt x="192" y="150"/>
                </a:lnTo>
                <a:lnTo>
                  <a:pt x="192" y="150"/>
                </a:lnTo>
                <a:lnTo>
                  <a:pt x="186" y="150"/>
                </a:lnTo>
                <a:lnTo>
                  <a:pt x="186" y="156"/>
                </a:lnTo>
                <a:lnTo>
                  <a:pt x="186" y="156"/>
                </a:lnTo>
                <a:lnTo>
                  <a:pt x="186" y="156"/>
                </a:lnTo>
                <a:lnTo>
                  <a:pt x="186" y="156"/>
                </a:lnTo>
                <a:lnTo>
                  <a:pt x="186" y="156"/>
                </a:lnTo>
                <a:lnTo>
                  <a:pt x="186" y="162"/>
                </a:lnTo>
                <a:lnTo>
                  <a:pt x="180" y="162"/>
                </a:lnTo>
                <a:lnTo>
                  <a:pt x="180" y="162"/>
                </a:lnTo>
                <a:lnTo>
                  <a:pt x="180" y="162"/>
                </a:lnTo>
                <a:lnTo>
                  <a:pt x="174" y="162"/>
                </a:lnTo>
                <a:lnTo>
                  <a:pt x="174" y="162"/>
                </a:lnTo>
                <a:lnTo>
                  <a:pt x="174" y="168"/>
                </a:lnTo>
                <a:lnTo>
                  <a:pt x="174" y="168"/>
                </a:lnTo>
                <a:lnTo>
                  <a:pt x="180" y="168"/>
                </a:lnTo>
                <a:lnTo>
                  <a:pt x="180" y="174"/>
                </a:lnTo>
                <a:lnTo>
                  <a:pt x="180" y="174"/>
                </a:lnTo>
                <a:lnTo>
                  <a:pt x="180" y="174"/>
                </a:lnTo>
                <a:lnTo>
                  <a:pt x="180" y="174"/>
                </a:lnTo>
                <a:lnTo>
                  <a:pt x="180" y="180"/>
                </a:lnTo>
                <a:lnTo>
                  <a:pt x="180" y="180"/>
                </a:lnTo>
                <a:lnTo>
                  <a:pt x="180" y="180"/>
                </a:lnTo>
                <a:lnTo>
                  <a:pt x="180" y="180"/>
                </a:lnTo>
                <a:lnTo>
                  <a:pt x="180" y="180"/>
                </a:lnTo>
                <a:lnTo>
                  <a:pt x="180" y="180"/>
                </a:lnTo>
                <a:lnTo>
                  <a:pt x="180" y="180"/>
                </a:lnTo>
                <a:lnTo>
                  <a:pt x="180" y="180"/>
                </a:lnTo>
                <a:lnTo>
                  <a:pt x="180" y="180"/>
                </a:lnTo>
                <a:lnTo>
                  <a:pt x="174" y="180"/>
                </a:lnTo>
                <a:lnTo>
                  <a:pt x="174" y="180"/>
                </a:lnTo>
                <a:lnTo>
                  <a:pt x="174" y="186"/>
                </a:lnTo>
                <a:lnTo>
                  <a:pt x="174" y="186"/>
                </a:lnTo>
                <a:lnTo>
                  <a:pt x="174" y="186"/>
                </a:lnTo>
                <a:lnTo>
                  <a:pt x="174" y="186"/>
                </a:lnTo>
                <a:lnTo>
                  <a:pt x="174" y="186"/>
                </a:lnTo>
                <a:lnTo>
                  <a:pt x="174" y="186"/>
                </a:lnTo>
                <a:lnTo>
                  <a:pt x="174" y="186"/>
                </a:lnTo>
                <a:lnTo>
                  <a:pt x="174" y="180"/>
                </a:lnTo>
                <a:lnTo>
                  <a:pt x="174" y="180"/>
                </a:lnTo>
                <a:lnTo>
                  <a:pt x="174" y="180"/>
                </a:lnTo>
                <a:lnTo>
                  <a:pt x="168" y="180"/>
                </a:lnTo>
                <a:lnTo>
                  <a:pt x="168" y="180"/>
                </a:lnTo>
                <a:lnTo>
                  <a:pt x="168" y="180"/>
                </a:lnTo>
                <a:lnTo>
                  <a:pt x="168" y="180"/>
                </a:lnTo>
                <a:lnTo>
                  <a:pt x="168" y="180"/>
                </a:lnTo>
                <a:lnTo>
                  <a:pt x="168" y="180"/>
                </a:lnTo>
                <a:lnTo>
                  <a:pt x="168" y="180"/>
                </a:lnTo>
                <a:lnTo>
                  <a:pt x="168" y="180"/>
                </a:lnTo>
                <a:lnTo>
                  <a:pt x="162" y="180"/>
                </a:lnTo>
                <a:lnTo>
                  <a:pt x="168" y="180"/>
                </a:lnTo>
                <a:lnTo>
                  <a:pt x="162" y="180"/>
                </a:lnTo>
                <a:lnTo>
                  <a:pt x="162" y="180"/>
                </a:lnTo>
                <a:lnTo>
                  <a:pt x="162" y="180"/>
                </a:lnTo>
                <a:lnTo>
                  <a:pt x="162" y="180"/>
                </a:lnTo>
                <a:lnTo>
                  <a:pt x="162" y="180"/>
                </a:lnTo>
                <a:lnTo>
                  <a:pt x="162" y="180"/>
                </a:lnTo>
                <a:lnTo>
                  <a:pt x="162" y="180"/>
                </a:lnTo>
                <a:lnTo>
                  <a:pt x="162" y="180"/>
                </a:lnTo>
                <a:lnTo>
                  <a:pt x="162" y="180"/>
                </a:lnTo>
                <a:lnTo>
                  <a:pt x="156" y="180"/>
                </a:lnTo>
                <a:lnTo>
                  <a:pt x="156" y="180"/>
                </a:lnTo>
                <a:lnTo>
                  <a:pt x="156" y="180"/>
                </a:lnTo>
                <a:lnTo>
                  <a:pt x="156" y="180"/>
                </a:lnTo>
                <a:lnTo>
                  <a:pt x="156" y="180"/>
                </a:lnTo>
                <a:lnTo>
                  <a:pt x="156" y="180"/>
                </a:lnTo>
                <a:lnTo>
                  <a:pt x="156" y="180"/>
                </a:lnTo>
                <a:lnTo>
                  <a:pt x="156" y="180"/>
                </a:lnTo>
                <a:lnTo>
                  <a:pt x="156" y="180"/>
                </a:lnTo>
                <a:lnTo>
                  <a:pt x="156" y="180"/>
                </a:lnTo>
                <a:lnTo>
                  <a:pt x="150" y="180"/>
                </a:lnTo>
                <a:lnTo>
                  <a:pt x="150" y="180"/>
                </a:lnTo>
                <a:lnTo>
                  <a:pt x="150" y="180"/>
                </a:lnTo>
                <a:lnTo>
                  <a:pt x="150" y="180"/>
                </a:lnTo>
                <a:lnTo>
                  <a:pt x="150" y="180"/>
                </a:lnTo>
                <a:lnTo>
                  <a:pt x="150" y="180"/>
                </a:lnTo>
                <a:lnTo>
                  <a:pt x="150" y="180"/>
                </a:lnTo>
                <a:lnTo>
                  <a:pt x="150" y="180"/>
                </a:lnTo>
                <a:lnTo>
                  <a:pt x="150" y="180"/>
                </a:lnTo>
                <a:lnTo>
                  <a:pt x="150" y="180"/>
                </a:lnTo>
                <a:lnTo>
                  <a:pt x="144" y="180"/>
                </a:lnTo>
                <a:lnTo>
                  <a:pt x="144" y="180"/>
                </a:lnTo>
                <a:lnTo>
                  <a:pt x="144" y="180"/>
                </a:lnTo>
                <a:lnTo>
                  <a:pt x="144" y="180"/>
                </a:lnTo>
                <a:lnTo>
                  <a:pt x="144" y="180"/>
                </a:lnTo>
                <a:lnTo>
                  <a:pt x="144" y="180"/>
                </a:lnTo>
                <a:lnTo>
                  <a:pt x="144" y="180"/>
                </a:lnTo>
                <a:lnTo>
                  <a:pt x="138" y="180"/>
                </a:lnTo>
                <a:lnTo>
                  <a:pt x="138" y="180"/>
                </a:lnTo>
                <a:lnTo>
                  <a:pt x="138" y="180"/>
                </a:lnTo>
                <a:lnTo>
                  <a:pt x="138" y="180"/>
                </a:lnTo>
                <a:lnTo>
                  <a:pt x="138" y="180"/>
                </a:lnTo>
                <a:lnTo>
                  <a:pt x="138" y="180"/>
                </a:lnTo>
                <a:lnTo>
                  <a:pt x="132" y="180"/>
                </a:lnTo>
                <a:lnTo>
                  <a:pt x="138" y="180"/>
                </a:lnTo>
                <a:lnTo>
                  <a:pt x="132" y="180"/>
                </a:lnTo>
                <a:lnTo>
                  <a:pt x="132" y="180"/>
                </a:lnTo>
                <a:lnTo>
                  <a:pt x="132" y="180"/>
                </a:lnTo>
                <a:lnTo>
                  <a:pt x="132" y="180"/>
                </a:lnTo>
                <a:lnTo>
                  <a:pt x="132" y="174"/>
                </a:lnTo>
                <a:lnTo>
                  <a:pt x="132" y="174"/>
                </a:lnTo>
                <a:lnTo>
                  <a:pt x="132" y="174"/>
                </a:lnTo>
                <a:lnTo>
                  <a:pt x="126" y="174"/>
                </a:lnTo>
                <a:lnTo>
                  <a:pt x="126" y="180"/>
                </a:lnTo>
                <a:lnTo>
                  <a:pt x="126" y="174"/>
                </a:lnTo>
                <a:lnTo>
                  <a:pt x="126" y="180"/>
                </a:lnTo>
                <a:lnTo>
                  <a:pt x="120" y="180"/>
                </a:lnTo>
                <a:lnTo>
                  <a:pt x="120" y="174"/>
                </a:lnTo>
                <a:lnTo>
                  <a:pt x="120" y="174"/>
                </a:lnTo>
                <a:lnTo>
                  <a:pt x="120" y="174"/>
                </a:lnTo>
                <a:lnTo>
                  <a:pt x="120" y="174"/>
                </a:lnTo>
                <a:lnTo>
                  <a:pt x="120" y="174"/>
                </a:lnTo>
                <a:lnTo>
                  <a:pt x="120" y="174"/>
                </a:lnTo>
                <a:lnTo>
                  <a:pt x="120" y="174"/>
                </a:lnTo>
                <a:lnTo>
                  <a:pt x="120" y="174"/>
                </a:lnTo>
                <a:lnTo>
                  <a:pt x="120" y="174"/>
                </a:lnTo>
                <a:lnTo>
                  <a:pt x="120" y="174"/>
                </a:lnTo>
                <a:lnTo>
                  <a:pt x="114" y="174"/>
                </a:lnTo>
                <a:lnTo>
                  <a:pt x="114" y="174"/>
                </a:lnTo>
                <a:lnTo>
                  <a:pt x="114" y="174"/>
                </a:lnTo>
                <a:lnTo>
                  <a:pt x="114" y="174"/>
                </a:lnTo>
                <a:lnTo>
                  <a:pt x="114" y="174"/>
                </a:lnTo>
                <a:lnTo>
                  <a:pt x="114" y="174"/>
                </a:lnTo>
                <a:lnTo>
                  <a:pt x="114" y="168"/>
                </a:lnTo>
                <a:lnTo>
                  <a:pt x="114" y="168"/>
                </a:lnTo>
                <a:lnTo>
                  <a:pt x="114" y="168"/>
                </a:lnTo>
                <a:lnTo>
                  <a:pt x="114" y="168"/>
                </a:lnTo>
                <a:lnTo>
                  <a:pt x="114" y="168"/>
                </a:lnTo>
                <a:lnTo>
                  <a:pt x="114" y="168"/>
                </a:lnTo>
                <a:lnTo>
                  <a:pt x="114" y="168"/>
                </a:lnTo>
                <a:lnTo>
                  <a:pt x="114" y="168"/>
                </a:lnTo>
                <a:lnTo>
                  <a:pt x="108" y="168"/>
                </a:lnTo>
                <a:lnTo>
                  <a:pt x="108" y="168"/>
                </a:lnTo>
                <a:lnTo>
                  <a:pt x="108" y="168"/>
                </a:lnTo>
                <a:lnTo>
                  <a:pt x="108" y="168"/>
                </a:lnTo>
                <a:lnTo>
                  <a:pt x="108" y="168"/>
                </a:lnTo>
                <a:lnTo>
                  <a:pt x="108" y="168"/>
                </a:lnTo>
                <a:lnTo>
                  <a:pt x="102" y="168"/>
                </a:lnTo>
                <a:lnTo>
                  <a:pt x="102" y="168"/>
                </a:lnTo>
                <a:lnTo>
                  <a:pt x="102" y="168"/>
                </a:lnTo>
                <a:lnTo>
                  <a:pt x="102" y="168"/>
                </a:lnTo>
                <a:lnTo>
                  <a:pt x="102" y="162"/>
                </a:lnTo>
                <a:lnTo>
                  <a:pt x="108" y="162"/>
                </a:lnTo>
                <a:lnTo>
                  <a:pt x="102" y="162"/>
                </a:lnTo>
                <a:lnTo>
                  <a:pt x="102" y="162"/>
                </a:lnTo>
                <a:lnTo>
                  <a:pt x="102" y="162"/>
                </a:lnTo>
                <a:lnTo>
                  <a:pt x="102" y="162"/>
                </a:lnTo>
                <a:lnTo>
                  <a:pt x="102" y="162"/>
                </a:lnTo>
                <a:lnTo>
                  <a:pt x="102" y="162"/>
                </a:lnTo>
                <a:lnTo>
                  <a:pt x="102" y="162"/>
                </a:lnTo>
                <a:lnTo>
                  <a:pt x="102" y="162"/>
                </a:lnTo>
                <a:lnTo>
                  <a:pt x="102" y="162"/>
                </a:lnTo>
                <a:lnTo>
                  <a:pt x="102" y="162"/>
                </a:lnTo>
                <a:lnTo>
                  <a:pt x="102" y="162"/>
                </a:lnTo>
                <a:lnTo>
                  <a:pt x="96" y="162"/>
                </a:lnTo>
                <a:lnTo>
                  <a:pt x="96" y="162"/>
                </a:lnTo>
                <a:lnTo>
                  <a:pt x="96" y="162"/>
                </a:lnTo>
                <a:lnTo>
                  <a:pt x="96" y="162"/>
                </a:lnTo>
                <a:lnTo>
                  <a:pt x="96" y="162"/>
                </a:lnTo>
                <a:lnTo>
                  <a:pt x="96" y="162"/>
                </a:lnTo>
                <a:lnTo>
                  <a:pt x="96" y="162"/>
                </a:lnTo>
                <a:lnTo>
                  <a:pt x="96" y="162"/>
                </a:lnTo>
                <a:lnTo>
                  <a:pt x="96" y="162"/>
                </a:lnTo>
                <a:lnTo>
                  <a:pt x="96" y="162"/>
                </a:lnTo>
                <a:lnTo>
                  <a:pt x="90" y="162"/>
                </a:lnTo>
                <a:lnTo>
                  <a:pt x="90" y="162"/>
                </a:lnTo>
                <a:lnTo>
                  <a:pt x="90" y="162"/>
                </a:lnTo>
                <a:lnTo>
                  <a:pt x="90" y="162"/>
                </a:lnTo>
                <a:lnTo>
                  <a:pt x="90" y="162"/>
                </a:lnTo>
                <a:lnTo>
                  <a:pt x="90" y="162"/>
                </a:lnTo>
                <a:lnTo>
                  <a:pt x="90" y="162"/>
                </a:lnTo>
                <a:lnTo>
                  <a:pt x="90" y="156"/>
                </a:lnTo>
                <a:lnTo>
                  <a:pt x="90" y="156"/>
                </a:lnTo>
                <a:lnTo>
                  <a:pt x="90" y="156"/>
                </a:lnTo>
                <a:lnTo>
                  <a:pt x="84" y="162"/>
                </a:lnTo>
                <a:lnTo>
                  <a:pt x="84" y="162"/>
                </a:lnTo>
                <a:lnTo>
                  <a:pt x="84" y="162"/>
                </a:lnTo>
                <a:lnTo>
                  <a:pt x="84" y="162"/>
                </a:lnTo>
                <a:lnTo>
                  <a:pt x="84" y="162"/>
                </a:lnTo>
                <a:lnTo>
                  <a:pt x="84" y="156"/>
                </a:lnTo>
                <a:lnTo>
                  <a:pt x="78" y="162"/>
                </a:lnTo>
                <a:lnTo>
                  <a:pt x="78" y="162"/>
                </a:lnTo>
                <a:lnTo>
                  <a:pt x="78" y="162"/>
                </a:lnTo>
                <a:lnTo>
                  <a:pt x="78" y="162"/>
                </a:lnTo>
                <a:lnTo>
                  <a:pt x="72" y="162"/>
                </a:lnTo>
                <a:lnTo>
                  <a:pt x="78" y="162"/>
                </a:lnTo>
                <a:lnTo>
                  <a:pt x="78" y="162"/>
                </a:lnTo>
                <a:lnTo>
                  <a:pt x="78" y="162"/>
                </a:lnTo>
                <a:lnTo>
                  <a:pt x="78" y="156"/>
                </a:lnTo>
                <a:lnTo>
                  <a:pt x="78" y="156"/>
                </a:lnTo>
                <a:lnTo>
                  <a:pt x="72" y="156"/>
                </a:lnTo>
                <a:lnTo>
                  <a:pt x="72" y="156"/>
                </a:lnTo>
                <a:lnTo>
                  <a:pt x="72" y="156"/>
                </a:lnTo>
                <a:lnTo>
                  <a:pt x="72" y="156"/>
                </a:lnTo>
                <a:lnTo>
                  <a:pt x="72" y="156"/>
                </a:lnTo>
                <a:lnTo>
                  <a:pt x="72" y="156"/>
                </a:lnTo>
                <a:lnTo>
                  <a:pt x="72" y="156"/>
                </a:lnTo>
                <a:lnTo>
                  <a:pt x="72" y="156"/>
                </a:lnTo>
                <a:lnTo>
                  <a:pt x="66" y="156"/>
                </a:lnTo>
                <a:lnTo>
                  <a:pt x="66" y="156"/>
                </a:lnTo>
                <a:lnTo>
                  <a:pt x="66" y="156"/>
                </a:lnTo>
                <a:lnTo>
                  <a:pt x="66" y="156"/>
                </a:lnTo>
                <a:lnTo>
                  <a:pt x="66" y="156"/>
                </a:lnTo>
                <a:lnTo>
                  <a:pt x="60" y="156"/>
                </a:lnTo>
                <a:lnTo>
                  <a:pt x="60" y="156"/>
                </a:lnTo>
                <a:lnTo>
                  <a:pt x="60" y="156"/>
                </a:lnTo>
                <a:lnTo>
                  <a:pt x="60" y="156"/>
                </a:lnTo>
                <a:lnTo>
                  <a:pt x="60" y="156"/>
                </a:lnTo>
                <a:lnTo>
                  <a:pt x="60" y="156"/>
                </a:lnTo>
                <a:lnTo>
                  <a:pt x="60" y="156"/>
                </a:lnTo>
                <a:lnTo>
                  <a:pt x="54" y="156"/>
                </a:lnTo>
                <a:lnTo>
                  <a:pt x="54" y="156"/>
                </a:lnTo>
                <a:lnTo>
                  <a:pt x="54" y="156"/>
                </a:lnTo>
                <a:lnTo>
                  <a:pt x="54" y="156"/>
                </a:lnTo>
                <a:lnTo>
                  <a:pt x="48" y="156"/>
                </a:lnTo>
                <a:lnTo>
                  <a:pt x="54" y="156"/>
                </a:lnTo>
                <a:lnTo>
                  <a:pt x="48" y="156"/>
                </a:lnTo>
                <a:lnTo>
                  <a:pt x="54" y="156"/>
                </a:lnTo>
                <a:lnTo>
                  <a:pt x="54" y="156"/>
                </a:lnTo>
                <a:lnTo>
                  <a:pt x="48" y="156"/>
                </a:lnTo>
                <a:lnTo>
                  <a:pt x="48" y="156"/>
                </a:lnTo>
                <a:lnTo>
                  <a:pt x="48" y="156"/>
                </a:lnTo>
                <a:lnTo>
                  <a:pt x="48" y="150"/>
                </a:lnTo>
                <a:lnTo>
                  <a:pt x="48" y="156"/>
                </a:lnTo>
                <a:lnTo>
                  <a:pt x="42" y="156"/>
                </a:lnTo>
                <a:lnTo>
                  <a:pt x="42" y="150"/>
                </a:lnTo>
                <a:lnTo>
                  <a:pt x="42" y="150"/>
                </a:lnTo>
                <a:lnTo>
                  <a:pt x="42" y="156"/>
                </a:lnTo>
                <a:lnTo>
                  <a:pt x="42" y="156"/>
                </a:lnTo>
                <a:lnTo>
                  <a:pt x="42" y="150"/>
                </a:lnTo>
                <a:lnTo>
                  <a:pt x="36" y="150"/>
                </a:lnTo>
                <a:lnTo>
                  <a:pt x="36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36" y="144"/>
                </a:lnTo>
                <a:lnTo>
                  <a:pt x="36" y="144"/>
                </a:lnTo>
                <a:lnTo>
                  <a:pt x="36" y="138"/>
                </a:lnTo>
                <a:lnTo>
                  <a:pt x="36" y="138"/>
                </a:lnTo>
                <a:lnTo>
                  <a:pt x="30" y="138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18" y="120"/>
                </a:lnTo>
                <a:lnTo>
                  <a:pt x="18" y="120"/>
                </a:lnTo>
                <a:lnTo>
                  <a:pt x="12" y="120"/>
                </a:lnTo>
                <a:lnTo>
                  <a:pt x="12" y="120"/>
                </a:lnTo>
                <a:lnTo>
                  <a:pt x="6" y="120"/>
                </a:lnTo>
                <a:lnTo>
                  <a:pt x="6" y="120"/>
                </a:lnTo>
                <a:lnTo>
                  <a:pt x="0" y="120"/>
                </a:lnTo>
                <a:lnTo>
                  <a:pt x="0" y="114"/>
                </a:lnTo>
                <a:lnTo>
                  <a:pt x="0" y="114"/>
                </a:lnTo>
                <a:lnTo>
                  <a:pt x="0" y="114"/>
                </a:lnTo>
                <a:lnTo>
                  <a:pt x="0" y="108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9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17" name="Freeform 250"/>
          <p:cNvSpPr>
            <a:spLocks/>
          </p:cNvSpPr>
          <p:nvPr/>
        </p:nvSpPr>
        <p:spPr bwMode="auto">
          <a:xfrm>
            <a:off x="7301538" y="3601804"/>
            <a:ext cx="154177" cy="218419"/>
          </a:xfrm>
          <a:custGeom>
            <a:avLst/>
            <a:gdLst>
              <a:gd name="T0" fmla="*/ 0 w 144"/>
              <a:gd name="T1" fmla="*/ 156 h 204"/>
              <a:gd name="T2" fmla="*/ 6 w 144"/>
              <a:gd name="T3" fmla="*/ 150 h 204"/>
              <a:gd name="T4" fmla="*/ 6 w 144"/>
              <a:gd name="T5" fmla="*/ 144 h 204"/>
              <a:gd name="T6" fmla="*/ 6 w 144"/>
              <a:gd name="T7" fmla="*/ 138 h 204"/>
              <a:gd name="T8" fmla="*/ 6 w 144"/>
              <a:gd name="T9" fmla="*/ 132 h 204"/>
              <a:gd name="T10" fmla="*/ 12 w 144"/>
              <a:gd name="T11" fmla="*/ 132 h 204"/>
              <a:gd name="T12" fmla="*/ 12 w 144"/>
              <a:gd name="T13" fmla="*/ 126 h 204"/>
              <a:gd name="T14" fmla="*/ 12 w 144"/>
              <a:gd name="T15" fmla="*/ 120 h 204"/>
              <a:gd name="T16" fmla="*/ 18 w 144"/>
              <a:gd name="T17" fmla="*/ 114 h 204"/>
              <a:gd name="T18" fmla="*/ 12 w 144"/>
              <a:gd name="T19" fmla="*/ 114 h 204"/>
              <a:gd name="T20" fmla="*/ 12 w 144"/>
              <a:gd name="T21" fmla="*/ 96 h 204"/>
              <a:gd name="T22" fmla="*/ 18 w 144"/>
              <a:gd name="T23" fmla="*/ 78 h 204"/>
              <a:gd name="T24" fmla="*/ 18 w 144"/>
              <a:gd name="T25" fmla="*/ 72 h 204"/>
              <a:gd name="T26" fmla="*/ 18 w 144"/>
              <a:gd name="T27" fmla="*/ 66 h 204"/>
              <a:gd name="T28" fmla="*/ 18 w 144"/>
              <a:gd name="T29" fmla="*/ 66 h 204"/>
              <a:gd name="T30" fmla="*/ 24 w 144"/>
              <a:gd name="T31" fmla="*/ 60 h 204"/>
              <a:gd name="T32" fmla="*/ 30 w 144"/>
              <a:gd name="T33" fmla="*/ 54 h 204"/>
              <a:gd name="T34" fmla="*/ 36 w 144"/>
              <a:gd name="T35" fmla="*/ 54 h 204"/>
              <a:gd name="T36" fmla="*/ 54 w 144"/>
              <a:gd name="T37" fmla="*/ 42 h 204"/>
              <a:gd name="T38" fmla="*/ 72 w 144"/>
              <a:gd name="T39" fmla="*/ 30 h 204"/>
              <a:gd name="T40" fmla="*/ 78 w 144"/>
              <a:gd name="T41" fmla="*/ 24 h 204"/>
              <a:gd name="T42" fmla="*/ 78 w 144"/>
              <a:gd name="T43" fmla="*/ 12 h 204"/>
              <a:gd name="T44" fmla="*/ 84 w 144"/>
              <a:gd name="T45" fmla="*/ 6 h 204"/>
              <a:gd name="T46" fmla="*/ 96 w 144"/>
              <a:gd name="T47" fmla="*/ 6 h 204"/>
              <a:gd name="T48" fmla="*/ 102 w 144"/>
              <a:gd name="T49" fmla="*/ 18 h 204"/>
              <a:gd name="T50" fmla="*/ 108 w 144"/>
              <a:gd name="T51" fmla="*/ 18 h 204"/>
              <a:gd name="T52" fmla="*/ 120 w 144"/>
              <a:gd name="T53" fmla="*/ 24 h 204"/>
              <a:gd name="T54" fmla="*/ 138 w 144"/>
              <a:gd name="T55" fmla="*/ 30 h 204"/>
              <a:gd name="T56" fmla="*/ 120 w 144"/>
              <a:gd name="T57" fmla="*/ 42 h 204"/>
              <a:gd name="T58" fmla="*/ 120 w 144"/>
              <a:gd name="T59" fmla="*/ 60 h 204"/>
              <a:gd name="T60" fmla="*/ 120 w 144"/>
              <a:gd name="T61" fmla="*/ 72 h 204"/>
              <a:gd name="T62" fmla="*/ 108 w 144"/>
              <a:gd name="T63" fmla="*/ 78 h 204"/>
              <a:gd name="T64" fmla="*/ 96 w 144"/>
              <a:gd name="T65" fmla="*/ 78 h 204"/>
              <a:gd name="T66" fmla="*/ 90 w 144"/>
              <a:gd name="T67" fmla="*/ 78 h 204"/>
              <a:gd name="T68" fmla="*/ 78 w 144"/>
              <a:gd name="T69" fmla="*/ 90 h 204"/>
              <a:gd name="T70" fmla="*/ 72 w 144"/>
              <a:gd name="T71" fmla="*/ 90 h 204"/>
              <a:gd name="T72" fmla="*/ 72 w 144"/>
              <a:gd name="T73" fmla="*/ 114 h 204"/>
              <a:gd name="T74" fmla="*/ 84 w 144"/>
              <a:gd name="T75" fmla="*/ 120 h 204"/>
              <a:gd name="T76" fmla="*/ 102 w 144"/>
              <a:gd name="T77" fmla="*/ 120 h 204"/>
              <a:gd name="T78" fmla="*/ 120 w 144"/>
              <a:gd name="T79" fmla="*/ 120 h 204"/>
              <a:gd name="T80" fmla="*/ 126 w 144"/>
              <a:gd name="T81" fmla="*/ 126 h 204"/>
              <a:gd name="T82" fmla="*/ 126 w 144"/>
              <a:gd name="T83" fmla="*/ 132 h 204"/>
              <a:gd name="T84" fmla="*/ 132 w 144"/>
              <a:gd name="T85" fmla="*/ 138 h 204"/>
              <a:gd name="T86" fmla="*/ 138 w 144"/>
              <a:gd name="T87" fmla="*/ 144 h 204"/>
              <a:gd name="T88" fmla="*/ 138 w 144"/>
              <a:gd name="T89" fmla="*/ 156 h 204"/>
              <a:gd name="T90" fmla="*/ 144 w 144"/>
              <a:gd name="T91" fmla="*/ 162 h 204"/>
              <a:gd name="T92" fmla="*/ 138 w 144"/>
              <a:gd name="T93" fmla="*/ 168 h 204"/>
              <a:gd name="T94" fmla="*/ 132 w 144"/>
              <a:gd name="T95" fmla="*/ 180 h 204"/>
              <a:gd name="T96" fmla="*/ 126 w 144"/>
              <a:gd name="T97" fmla="*/ 198 h 204"/>
              <a:gd name="T98" fmla="*/ 114 w 144"/>
              <a:gd name="T99" fmla="*/ 204 h 204"/>
              <a:gd name="T100" fmla="*/ 108 w 144"/>
              <a:gd name="T101" fmla="*/ 198 h 204"/>
              <a:gd name="T102" fmla="*/ 102 w 144"/>
              <a:gd name="T103" fmla="*/ 198 h 204"/>
              <a:gd name="T104" fmla="*/ 90 w 144"/>
              <a:gd name="T105" fmla="*/ 186 h 204"/>
              <a:gd name="T106" fmla="*/ 84 w 144"/>
              <a:gd name="T107" fmla="*/ 174 h 204"/>
              <a:gd name="T108" fmla="*/ 78 w 144"/>
              <a:gd name="T109" fmla="*/ 168 h 204"/>
              <a:gd name="T110" fmla="*/ 66 w 144"/>
              <a:gd name="T111" fmla="*/ 174 h 204"/>
              <a:gd name="T112" fmla="*/ 54 w 144"/>
              <a:gd name="T113" fmla="*/ 180 h 204"/>
              <a:gd name="T114" fmla="*/ 42 w 144"/>
              <a:gd name="T115" fmla="*/ 174 h 204"/>
              <a:gd name="T116" fmla="*/ 30 w 144"/>
              <a:gd name="T117" fmla="*/ 168 h 204"/>
              <a:gd name="T118" fmla="*/ 12 w 144"/>
              <a:gd name="T119" fmla="*/ 168 h 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44" h="204">
                <a:moveTo>
                  <a:pt x="0" y="162"/>
                </a:moveTo>
                <a:lnTo>
                  <a:pt x="0" y="162"/>
                </a:lnTo>
                <a:lnTo>
                  <a:pt x="0" y="162"/>
                </a:lnTo>
                <a:lnTo>
                  <a:pt x="0" y="162"/>
                </a:lnTo>
                <a:lnTo>
                  <a:pt x="0" y="162"/>
                </a:lnTo>
                <a:lnTo>
                  <a:pt x="0" y="156"/>
                </a:lnTo>
                <a:lnTo>
                  <a:pt x="0" y="156"/>
                </a:lnTo>
                <a:lnTo>
                  <a:pt x="0" y="156"/>
                </a:lnTo>
                <a:lnTo>
                  <a:pt x="0" y="156"/>
                </a:lnTo>
                <a:lnTo>
                  <a:pt x="0" y="156"/>
                </a:lnTo>
                <a:lnTo>
                  <a:pt x="0" y="156"/>
                </a:lnTo>
                <a:lnTo>
                  <a:pt x="0" y="156"/>
                </a:lnTo>
                <a:lnTo>
                  <a:pt x="0" y="156"/>
                </a:lnTo>
                <a:lnTo>
                  <a:pt x="0" y="156"/>
                </a:lnTo>
                <a:lnTo>
                  <a:pt x="0" y="156"/>
                </a:lnTo>
                <a:lnTo>
                  <a:pt x="0" y="156"/>
                </a:lnTo>
                <a:lnTo>
                  <a:pt x="0" y="156"/>
                </a:lnTo>
                <a:lnTo>
                  <a:pt x="0" y="156"/>
                </a:lnTo>
                <a:lnTo>
                  <a:pt x="0" y="150"/>
                </a:lnTo>
                <a:lnTo>
                  <a:pt x="0" y="150"/>
                </a:lnTo>
                <a:lnTo>
                  <a:pt x="0" y="150"/>
                </a:lnTo>
                <a:lnTo>
                  <a:pt x="6" y="150"/>
                </a:lnTo>
                <a:lnTo>
                  <a:pt x="6" y="150"/>
                </a:lnTo>
                <a:lnTo>
                  <a:pt x="0" y="150"/>
                </a:lnTo>
                <a:lnTo>
                  <a:pt x="0" y="150"/>
                </a:lnTo>
                <a:lnTo>
                  <a:pt x="0" y="150"/>
                </a:lnTo>
                <a:lnTo>
                  <a:pt x="6" y="150"/>
                </a:lnTo>
                <a:lnTo>
                  <a:pt x="6" y="150"/>
                </a:lnTo>
                <a:lnTo>
                  <a:pt x="6" y="150"/>
                </a:lnTo>
                <a:lnTo>
                  <a:pt x="6" y="150"/>
                </a:lnTo>
                <a:lnTo>
                  <a:pt x="6" y="150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38"/>
                </a:lnTo>
                <a:lnTo>
                  <a:pt x="6" y="138"/>
                </a:lnTo>
                <a:lnTo>
                  <a:pt x="6" y="138"/>
                </a:lnTo>
                <a:lnTo>
                  <a:pt x="6" y="138"/>
                </a:lnTo>
                <a:lnTo>
                  <a:pt x="6" y="138"/>
                </a:lnTo>
                <a:lnTo>
                  <a:pt x="12" y="138"/>
                </a:lnTo>
                <a:lnTo>
                  <a:pt x="6" y="138"/>
                </a:lnTo>
                <a:lnTo>
                  <a:pt x="12" y="138"/>
                </a:lnTo>
                <a:lnTo>
                  <a:pt x="12" y="138"/>
                </a:lnTo>
                <a:lnTo>
                  <a:pt x="6" y="138"/>
                </a:lnTo>
                <a:lnTo>
                  <a:pt x="6" y="138"/>
                </a:lnTo>
                <a:lnTo>
                  <a:pt x="6" y="138"/>
                </a:lnTo>
                <a:lnTo>
                  <a:pt x="6" y="138"/>
                </a:lnTo>
                <a:lnTo>
                  <a:pt x="6" y="138"/>
                </a:lnTo>
                <a:lnTo>
                  <a:pt x="6" y="138"/>
                </a:lnTo>
                <a:lnTo>
                  <a:pt x="6" y="132"/>
                </a:lnTo>
                <a:lnTo>
                  <a:pt x="6" y="132"/>
                </a:lnTo>
                <a:lnTo>
                  <a:pt x="6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0"/>
                </a:lnTo>
                <a:lnTo>
                  <a:pt x="12" y="126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8" y="120"/>
                </a:lnTo>
                <a:lnTo>
                  <a:pt x="12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2" y="108"/>
                </a:lnTo>
                <a:lnTo>
                  <a:pt x="12" y="114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96"/>
                </a:lnTo>
                <a:lnTo>
                  <a:pt x="12" y="96"/>
                </a:lnTo>
                <a:lnTo>
                  <a:pt x="18" y="96"/>
                </a:lnTo>
                <a:lnTo>
                  <a:pt x="18" y="96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84"/>
                </a:lnTo>
                <a:lnTo>
                  <a:pt x="18" y="84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54"/>
                </a:lnTo>
                <a:lnTo>
                  <a:pt x="24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6" y="54"/>
                </a:lnTo>
                <a:lnTo>
                  <a:pt x="36" y="48"/>
                </a:lnTo>
                <a:lnTo>
                  <a:pt x="36" y="48"/>
                </a:lnTo>
                <a:lnTo>
                  <a:pt x="36" y="54"/>
                </a:lnTo>
                <a:lnTo>
                  <a:pt x="42" y="54"/>
                </a:lnTo>
                <a:lnTo>
                  <a:pt x="42" y="54"/>
                </a:lnTo>
                <a:lnTo>
                  <a:pt x="42" y="48"/>
                </a:lnTo>
                <a:lnTo>
                  <a:pt x="42" y="54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54" y="48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60" y="42"/>
                </a:lnTo>
                <a:lnTo>
                  <a:pt x="60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66" y="30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8" y="18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2" y="12"/>
                </a:lnTo>
                <a:lnTo>
                  <a:pt x="72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90" y="0"/>
                </a:lnTo>
                <a:lnTo>
                  <a:pt x="84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8"/>
                </a:lnTo>
                <a:lnTo>
                  <a:pt x="96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8" y="18"/>
                </a:lnTo>
                <a:lnTo>
                  <a:pt x="108" y="24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6" y="30"/>
                </a:lnTo>
                <a:lnTo>
                  <a:pt x="126" y="24"/>
                </a:lnTo>
                <a:lnTo>
                  <a:pt x="126" y="24"/>
                </a:lnTo>
                <a:lnTo>
                  <a:pt x="126" y="30"/>
                </a:lnTo>
                <a:lnTo>
                  <a:pt x="126" y="30"/>
                </a:lnTo>
                <a:lnTo>
                  <a:pt x="132" y="30"/>
                </a:lnTo>
                <a:lnTo>
                  <a:pt x="132" y="30"/>
                </a:lnTo>
                <a:lnTo>
                  <a:pt x="138" y="30"/>
                </a:lnTo>
                <a:lnTo>
                  <a:pt x="138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6"/>
                </a:lnTo>
                <a:lnTo>
                  <a:pt x="126" y="36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0" y="48"/>
                </a:lnTo>
                <a:lnTo>
                  <a:pt x="120" y="54"/>
                </a:lnTo>
                <a:lnTo>
                  <a:pt x="120" y="54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8"/>
                </a:lnTo>
                <a:lnTo>
                  <a:pt x="120" y="78"/>
                </a:lnTo>
                <a:lnTo>
                  <a:pt x="120" y="84"/>
                </a:lnTo>
                <a:lnTo>
                  <a:pt x="120" y="78"/>
                </a:lnTo>
                <a:lnTo>
                  <a:pt x="120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2"/>
                </a:lnTo>
                <a:lnTo>
                  <a:pt x="108" y="72"/>
                </a:lnTo>
                <a:lnTo>
                  <a:pt x="108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78" y="84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2" y="96"/>
                </a:lnTo>
                <a:lnTo>
                  <a:pt x="72" y="96"/>
                </a:lnTo>
                <a:lnTo>
                  <a:pt x="72" y="90"/>
                </a:lnTo>
                <a:lnTo>
                  <a:pt x="72" y="90"/>
                </a:lnTo>
                <a:lnTo>
                  <a:pt x="66" y="90"/>
                </a:lnTo>
                <a:lnTo>
                  <a:pt x="66" y="90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102"/>
                </a:lnTo>
                <a:lnTo>
                  <a:pt x="78" y="102"/>
                </a:lnTo>
                <a:lnTo>
                  <a:pt x="78" y="108"/>
                </a:lnTo>
                <a:lnTo>
                  <a:pt x="72" y="108"/>
                </a:lnTo>
                <a:lnTo>
                  <a:pt x="72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20"/>
                </a:lnTo>
                <a:lnTo>
                  <a:pt x="84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102" y="120"/>
                </a:lnTo>
                <a:lnTo>
                  <a:pt x="102" y="114"/>
                </a:lnTo>
                <a:lnTo>
                  <a:pt x="102" y="114"/>
                </a:lnTo>
                <a:lnTo>
                  <a:pt x="102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14" y="126"/>
                </a:lnTo>
                <a:lnTo>
                  <a:pt x="114" y="126"/>
                </a:lnTo>
                <a:lnTo>
                  <a:pt x="114" y="120"/>
                </a:lnTo>
                <a:lnTo>
                  <a:pt x="114" y="120"/>
                </a:lnTo>
                <a:lnTo>
                  <a:pt x="114" y="120"/>
                </a:lnTo>
                <a:lnTo>
                  <a:pt x="120" y="120"/>
                </a:lnTo>
                <a:lnTo>
                  <a:pt x="120" y="120"/>
                </a:lnTo>
                <a:lnTo>
                  <a:pt x="120" y="120"/>
                </a:lnTo>
                <a:lnTo>
                  <a:pt x="120" y="120"/>
                </a:lnTo>
                <a:lnTo>
                  <a:pt x="120" y="120"/>
                </a:lnTo>
                <a:lnTo>
                  <a:pt x="120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6"/>
                </a:lnTo>
                <a:lnTo>
                  <a:pt x="132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32"/>
                </a:lnTo>
                <a:lnTo>
                  <a:pt x="132" y="132"/>
                </a:lnTo>
                <a:lnTo>
                  <a:pt x="132" y="132"/>
                </a:lnTo>
                <a:lnTo>
                  <a:pt x="132" y="132"/>
                </a:lnTo>
                <a:lnTo>
                  <a:pt x="132" y="132"/>
                </a:lnTo>
                <a:lnTo>
                  <a:pt x="132" y="138"/>
                </a:lnTo>
                <a:lnTo>
                  <a:pt x="132" y="138"/>
                </a:lnTo>
                <a:lnTo>
                  <a:pt x="132" y="132"/>
                </a:lnTo>
                <a:lnTo>
                  <a:pt x="126" y="132"/>
                </a:lnTo>
                <a:lnTo>
                  <a:pt x="126" y="138"/>
                </a:lnTo>
                <a:lnTo>
                  <a:pt x="126" y="138"/>
                </a:lnTo>
                <a:lnTo>
                  <a:pt x="126" y="138"/>
                </a:lnTo>
                <a:lnTo>
                  <a:pt x="126" y="138"/>
                </a:lnTo>
                <a:lnTo>
                  <a:pt x="126" y="138"/>
                </a:lnTo>
                <a:lnTo>
                  <a:pt x="126" y="138"/>
                </a:lnTo>
                <a:lnTo>
                  <a:pt x="126" y="138"/>
                </a:lnTo>
                <a:lnTo>
                  <a:pt x="126" y="138"/>
                </a:lnTo>
                <a:lnTo>
                  <a:pt x="126" y="138"/>
                </a:lnTo>
                <a:lnTo>
                  <a:pt x="132" y="138"/>
                </a:lnTo>
                <a:lnTo>
                  <a:pt x="132" y="138"/>
                </a:lnTo>
                <a:lnTo>
                  <a:pt x="132" y="138"/>
                </a:lnTo>
                <a:lnTo>
                  <a:pt x="132" y="138"/>
                </a:lnTo>
                <a:lnTo>
                  <a:pt x="132" y="138"/>
                </a:lnTo>
                <a:lnTo>
                  <a:pt x="132" y="138"/>
                </a:lnTo>
                <a:lnTo>
                  <a:pt x="132" y="138"/>
                </a:lnTo>
                <a:lnTo>
                  <a:pt x="132" y="138"/>
                </a:lnTo>
                <a:lnTo>
                  <a:pt x="132" y="138"/>
                </a:lnTo>
                <a:lnTo>
                  <a:pt x="132" y="144"/>
                </a:lnTo>
                <a:lnTo>
                  <a:pt x="132" y="144"/>
                </a:lnTo>
                <a:lnTo>
                  <a:pt x="138" y="144"/>
                </a:lnTo>
                <a:lnTo>
                  <a:pt x="138" y="144"/>
                </a:lnTo>
                <a:lnTo>
                  <a:pt x="138" y="144"/>
                </a:lnTo>
                <a:lnTo>
                  <a:pt x="138" y="144"/>
                </a:lnTo>
                <a:lnTo>
                  <a:pt x="138" y="144"/>
                </a:lnTo>
                <a:lnTo>
                  <a:pt x="138" y="144"/>
                </a:lnTo>
                <a:lnTo>
                  <a:pt x="138" y="144"/>
                </a:lnTo>
                <a:lnTo>
                  <a:pt x="138" y="144"/>
                </a:lnTo>
                <a:lnTo>
                  <a:pt x="138" y="144"/>
                </a:lnTo>
                <a:lnTo>
                  <a:pt x="144" y="150"/>
                </a:lnTo>
                <a:lnTo>
                  <a:pt x="144" y="150"/>
                </a:lnTo>
                <a:lnTo>
                  <a:pt x="138" y="150"/>
                </a:lnTo>
                <a:lnTo>
                  <a:pt x="138" y="156"/>
                </a:lnTo>
                <a:lnTo>
                  <a:pt x="138" y="156"/>
                </a:lnTo>
                <a:lnTo>
                  <a:pt x="138" y="156"/>
                </a:lnTo>
                <a:lnTo>
                  <a:pt x="138" y="156"/>
                </a:lnTo>
                <a:lnTo>
                  <a:pt x="138" y="156"/>
                </a:lnTo>
                <a:lnTo>
                  <a:pt x="144" y="156"/>
                </a:lnTo>
                <a:lnTo>
                  <a:pt x="144" y="162"/>
                </a:lnTo>
                <a:lnTo>
                  <a:pt x="138" y="162"/>
                </a:lnTo>
                <a:lnTo>
                  <a:pt x="138" y="162"/>
                </a:lnTo>
                <a:lnTo>
                  <a:pt x="138" y="162"/>
                </a:lnTo>
                <a:lnTo>
                  <a:pt x="138" y="162"/>
                </a:lnTo>
                <a:lnTo>
                  <a:pt x="144" y="162"/>
                </a:lnTo>
                <a:lnTo>
                  <a:pt x="144" y="162"/>
                </a:lnTo>
                <a:lnTo>
                  <a:pt x="144" y="162"/>
                </a:lnTo>
                <a:lnTo>
                  <a:pt x="144" y="162"/>
                </a:lnTo>
                <a:lnTo>
                  <a:pt x="144" y="162"/>
                </a:lnTo>
                <a:lnTo>
                  <a:pt x="144" y="162"/>
                </a:lnTo>
                <a:lnTo>
                  <a:pt x="138" y="168"/>
                </a:lnTo>
                <a:lnTo>
                  <a:pt x="138" y="168"/>
                </a:lnTo>
                <a:lnTo>
                  <a:pt x="138" y="168"/>
                </a:lnTo>
                <a:lnTo>
                  <a:pt x="138" y="168"/>
                </a:lnTo>
                <a:lnTo>
                  <a:pt x="138" y="168"/>
                </a:lnTo>
                <a:lnTo>
                  <a:pt x="138" y="168"/>
                </a:lnTo>
                <a:lnTo>
                  <a:pt x="138" y="168"/>
                </a:lnTo>
                <a:lnTo>
                  <a:pt x="138" y="168"/>
                </a:lnTo>
                <a:lnTo>
                  <a:pt x="138" y="168"/>
                </a:lnTo>
                <a:lnTo>
                  <a:pt x="138" y="168"/>
                </a:lnTo>
                <a:lnTo>
                  <a:pt x="138" y="174"/>
                </a:lnTo>
                <a:lnTo>
                  <a:pt x="138" y="174"/>
                </a:lnTo>
                <a:lnTo>
                  <a:pt x="138" y="174"/>
                </a:lnTo>
                <a:lnTo>
                  <a:pt x="138" y="174"/>
                </a:lnTo>
                <a:lnTo>
                  <a:pt x="138" y="174"/>
                </a:lnTo>
                <a:lnTo>
                  <a:pt x="132" y="174"/>
                </a:lnTo>
                <a:lnTo>
                  <a:pt x="132" y="180"/>
                </a:lnTo>
                <a:lnTo>
                  <a:pt x="132" y="180"/>
                </a:lnTo>
                <a:lnTo>
                  <a:pt x="132" y="180"/>
                </a:lnTo>
                <a:lnTo>
                  <a:pt x="132" y="186"/>
                </a:lnTo>
                <a:lnTo>
                  <a:pt x="132" y="186"/>
                </a:lnTo>
                <a:lnTo>
                  <a:pt x="132" y="186"/>
                </a:lnTo>
                <a:lnTo>
                  <a:pt x="126" y="186"/>
                </a:lnTo>
                <a:lnTo>
                  <a:pt x="126" y="186"/>
                </a:lnTo>
                <a:lnTo>
                  <a:pt x="126" y="192"/>
                </a:lnTo>
                <a:lnTo>
                  <a:pt x="126" y="192"/>
                </a:lnTo>
                <a:lnTo>
                  <a:pt x="126" y="192"/>
                </a:lnTo>
                <a:lnTo>
                  <a:pt x="126" y="198"/>
                </a:lnTo>
                <a:lnTo>
                  <a:pt x="126" y="198"/>
                </a:lnTo>
                <a:lnTo>
                  <a:pt x="120" y="198"/>
                </a:lnTo>
                <a:lnTo>
                  <a:pt x="120" y="198"/>
                </a:lnTo>
                <a:lnTo>
                  <a:pt x="120" y="198"/>
                </a:lnTo>
                <a:lnTo>
                  <a:pt x="120" y="198"/>
                </a:lnTo>
                <a:lnTo>
                  <a:pt x="120" y="198"/>
                </a:lnTo>
                <a:lnTo>
                  <a:pt x="114" y="204"/>
                </a:lnTo>
                <a:lnTo>
                  <a:pt x="114" y="204"/>
                </a:lnTo>
                <a:lnTo>
                  <a:pt x="114" y="204"/>
                </a:lnTo>
                <a:lnTo>
                  <a:pt x="114" y="204"/>
                </a:lnTo>
                <a:lnTo>
                  <a:pt x="114" y="204"/>
                </a:lnTo>
                <a:lnTo>
                  <a:pt x="114" y="204"/>
                </a:lnTo>
                <a:lnTo>
                  <a:pt x="114" y="204"/>
                </a:lnTo>
                <a:lnTo>
                  <a:pt x="108" y="204"/>
                </a:lnTo>
                <a:lnTo>
                  <a:pt x="114" y="198"/>
                </a:lnTo>
                <a:lnTo>
                  <a:pt x="114" y="198"/>
                </a:lnTo>
                <a:lnTo>
                  <a:pt x="108" y="198"/>
                </a:lnTo>
                <a:lnTo>
                  <a:pt x="108" y="198"/>
                </a:lnTo>
                <a:lnTo>
                  <a:pt x="108" y="198"/>
                </a:lnTo>
                <a:lnTo>
                  <a:pt x="108" y="198"/>
                </a:lnTo>
                <a:lnTo>
                  <a:pt x="108" y="198"/>
                </a:lnTo>
                <a:lnTo>
                  <a:pt x="108" y="198"/>
                </a:lnTo>
                <a:lnTo>
                  <a:pt x="108" y="198"/>
                </a:lnTo>
                <a:lnTo>
                  <a:pt x="108" y="198"/>
                </a:lnTo>
                <a:lnTo>
                  <a:pt x="108" y="198"/>
                </a:lnTo>
                <a:lnTo>
                  <a:pt x="108" y="198"/>
                </a:lnTo>
                <a:lnTo>
                  <a:pt x="108" y="198"/>
                </a:lnTo>
                <a:lnTo>
                  <a:pt x="102" y="198"/>
                </a:lnTo>
                <a:lnTo>
                  <a:pt x="102" y="198"/>
                </a:lnTo>
                <a:lnTo>
                  <a:pt x="102" y="198"/>
                </a:lnTo>
                <a:lnTo>
                  <a:pt x="102" y="198"/>
                </a:lnTo>
                <a:lnTo>
                  <a:pt x="102" y="198"/>
                </a:lnTo>
                <a:lnTo>
                  <a:pt x="102" y="198"/>
                </a:lnTo>
                <a:lnTo>
                  <a:pt x="102" y="198"/>
                </a:lnTo>
                <a:lnTo>
                  <a:pt x="102" y="198"/>
                </a:lnTo>
                <a:lnTo>
                  <a:pt x="102" y="198"/>
                </a:lnTo>
                <a:lnTo>
                  <a:pt x="96" y="198"/>
                </a:lnTo>
                <a:lnTo>
                  <a:pt x="96" y="192"/>
                </a:lnTo>
                <a:lnTo>
                  <a:pt x="96" y="192"/>
                </a:lnTo>
                <a:lnTo>
                  <a:pt x="96" y="192"/>
                </a:lnTo>
                <a:lnTo>
                  <a:pt x="90" y="186"/>
                </a:lnTo>
                <a:lnTo>
                  <a:pt x="90" y="186"/>
                </a:lnTo>
                <a:lnTo>
                  <a:pt x="90" y="186"/>
                </a:lnTo>
                <a:lnTo>
                  <a:pt x="90" y="186"/>
                </a:lnTo>
                <a:lnTo>
                  <a:pt x="90" y="180"/>
                </a:lnTo>
                <a:lnTo>
                  <a:pt x="90" y="180"/>
                </a:lnTo>
                <a:lnTo>
                  <a:pt x="96" y="180"/>
                </a:lnTo>
                <a:lnTo>
                  <a:pt x="96" y="180"/>
                </a:lnTo>
                <a:lnTo>
                  <a:pt x="96" y="180"/>
                </a:lnTo>
                <a:lnTo>
                  <a:pt x="90" y="180"/>
                </a:lnTo>
                <a:lnTo>
                  <a:pt x="90" y="180"/>
                </a:lnTo>
                <a:lnTo>
                  <a:pt x="90" y="180"/>
                </a:lnTo>
                <a:lnTo>
                  <a:pt x="90" y="174"/>
                </a:lnTo>
                <a:lnTo>
                  <a:pt x="90" y="180"/>
                </a:lnTo>
                <a:lnTo>
                  <a:pt x="84" y="174"/>
                </a:lnTo>
                <a:lnTo>
                  <a:pt x="84" y="174"/>
                </a:lnTo>
                <a:lnTo>
                  <a:pt x="84" y="174"/>
                </a:lnTo>
                <a:lnTo>
                  <a:pt x="84" y="174"/>
                </a:lnTo>
                <a:lnTo>
                  <a:pt x="84" y="168"/>
                </a:lnTo>
                <a:lnTo>
                  <a:pt x="84" y="168"/>
                </a:lnTo>
                <a:lnTo>
                  <a:pt x="84" y="168"/>
                </a:lnTo>
                <a:lnTo>
                  <a:pt x="84" y="168"/>
                </a:lnTo>
                <a:lnTo>
                  <a:pt x="84" y="168"/>
                </a:lnTo>
                <a:lnTo>
                  <a:pt x="78" y="168"/>
                </a:lnTo>
                <a:lnTo>
                  <a:pt x="78" y="168"/>
                </a:lnTo>
                <a:lnTo>
                  <a:pt x="78" y="168"/>
                </a:lnTo>
                <a:lnTo>
                  <a:pt x="78" y="168"/>
                </a:lnTo>
                <a:lnTo>
                  <a:pt x="78" y="174"/>
                </a:lnTo>
                <a:lnTo>
                  <a:pt x="78" y="174"/>
                </a:lnTo>
                <a:lnTo>
                  <a:pt x="72" y="168"/>
                </a:lnTo>
                <a:lnTo>
                  <a:pt x="72" y="168"/>
                </a:lnTo>
                <a:lnTo>
                  <a:pt x="72" y="168"/>
                </a:lnTo>
                <a:lnTo>
                  <a:pt x="72" y="174"/>
                </a:lnTo>
                <a:lnTo>
                  <a:pt x="72" y="174"/>
                </a:lnTo>
                <a:lnTo>
                  <a:pt x="72" y="174"/>
                </a:lnTo>
                <a:lnTo>
                  <a:pt x="66" y="174"/>
                </a:lnTo>
                <a:lnTo>
                  <a:pt x="66" y="174"/>
                </a:lnTo>
                <a:lnTo>
                  <a:pt x="66" y="174"/>
                </a:lnTo>
                <a:lnTo>
                  <a:pt x="60" y="174"/>
                </a:lnTo>
                <a:lnTo>
                  <a:pt x="60" y="180"/>
                </a:lnTo>
                <a:lnTo>
                  <a:pt x="60" y="180"/>
                </a:lnTo>
                <a:lnTo>
                  <a:pt x="60" y="180"/>
                </a:lnTo>
                <a:lnTo>
                  <a:pt x="60" y="180"/>
                </a:lnTo>
                <a:lnTo>
                  <a:pt x="54" y="180"/>
                </a:lnTo>
                <a:lnTo>
                  <a:pt x="54" y="180"/>
                </a:lnTo>
                <a:lnTo>
                  <a:pt x="54" y="180"/>
                </a:lnTo>
                <a:lnTo>
                  <a:pt x="54" y="180"/>
                </a:lnTo>
                <a:lnTo>
                  <a:pt x="54" y="180"/>
                </a:lnTo>
                <a:lnTo>
                  <a:pt x="54" y="180"/>
                </a:lnTo>
                <a:lnTo>
                  <a:pt x="54" y="180"/>
                </a:lnTo>
                <a:lnTo>
                  <a:pt x="54" y="180"/>
                </a:lnTo>
                <a:lnTo>
                  <a:pt x="48" y="180"/>
                </a:lnTo>
                <a:lnTo>
                  <a:pt x="48" y="180"/>
                </a:lnTo>
                <a:lnTo>
                  <a:pt x="48" y="174"/>
                </a:lnTo>
                <a:lnTo>
                  <a:pt x="48" y="174"/>
                </a:lnTo>
                <a:lnTo>
                  <a:pt x="48" y="174"/>
                </a:lnTo>
                <a:lnTo>
                  <a:pt x="48" y="174"/>
                </a:lnTo>
                <a:lnTo>
                  <a:pt x="48" y="174"/>
                </a:lnTo>
                <a:lnTo>
                  <a:pt x="42" y="174"/>
                </a:lnTo>
                <a:lnTo>
                  <a:pt x="42" y="174"/>
                </a:lnTo>
                <a:lnTo>
                  <a:pt x="42" y="174"/>
                </a:lnTo>
                <a:lnTo>
                  <a:pt x="36" y="174"/>
                </a:lnTo>
                <a:lnTo>
                  <a:pt x="36" y="174"/>
                </a:lnTo>
                <a:lnTo>
                  <a:pt x="30" y="174"/>
                </a:lnTo>
                <a:lnTo>
                  <a:pt x="36" y="168"/>
                </a:lnTo>
                <a:lnTo>
                  <a:pt x="36" y="168"/>
                </a:lnTo>
                <a:lnTo>
                  <a:pt x="36" y="168"/>
                </a:lnTo>
                <a:lnTo>
                  <a:pt x="36" y="168"/>
                </a:lnTo>
                <a:lnTo>
                  <a:pt x="30" y="168"/>
                </a:lnTo>
                <a:lnTo>
                  <a:pt x="30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18" y="168"/>
                </a:lnTo>
                <a:lnTo>
                  <a:pt x="18" y="168"/>
                </a:lnTo>
                <a:lnTo>
                  <a:pt x="18" y="168"/>
                </a:lnTo>
                <a:lnTo>
                  <a:pt x="12" y="168"/>
                </a:lnTo>
                <a:lnTo>
                  <a:pt x="18" y="168"/>
                </a:lnTo>
                <a:lnTo>
                  <a:pt x="12" y="168"/>
                </a:lnTo>
                <a:lnTo>
                  <a:pt x="12" y="168"/>
                </a:lnTo>
                <a:lnTo>
                  <a:pt x="12" y="168"/>
                </a:lnTo>
                <a:lnTo>
                  <a:pt x="12" y="168"/>
                </a:lnTo>
                <a:lnTo>
                  <a:pt x="6" y="168"/>
                </a:lnTo>
                <a:lnTo>
                  <a:pt x="6" y="168"/>
                </a:lnTo>
                <a:lnTo>
                  <a:pt x="6" y="168"/>
                </a:lnTo>
                <a:lnTo>
                  <a:pt x="0" y="168"/>
                </a:lnTo>
                <a:lnTo>
                  <a:pt x="0" y="168"/>
                </a:lnTo>
                <a:lnTo>
                  <a:pt x="0" y="168"/>
                </a:lnTo>
                <a:lnTo>
                  <a:pt x="0" y="162"/>
                </a:lnTo>
                <a:lnTo>
                  <a:pt x="0" y="162"/>
                </a:lnTo>
                <a:lnTo>
                  <a:pt x="0" y="16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18" name="Freeform 251"/>
          <p:cNvSpPr>
            <a:spLocks/>
          </p:cNvSpPr>
          <p:nvPr/>
        </p:nvSpPr>
        <p:spPr bwMode="auto">
          <a:xfrm>
            <a:off x="7751221" y="3865192"/>
            <a:ext cx="160601" cy="109210"/>
          </a:xfrm>
          <a:custGeom>
            <a:avLst/>
            <a:gdLst>
              <a:gd name="T0" fmla="*/ 0 w 150"/>
              <a:gd name="T1" fmla="*/ 54 h 102"/>
              <a:gd name="T2" fmla="*/ 6 w 150"/>
              <a:gd name="T3" fmla="*/ 48 h 102"/>
              <a:gd name="T4" fmla="*/ 12 w 150"/>
              <a:gd name="T5" fmla="*/ 48 h 102"/>
              <a:gd name="T6" fmla="*/ 12 w 150"/>
              <a:gd name="T7" fmla="*/ 48 h 102"/>
              <a:gd name="T8" fmla="*/ 18 w 150"/>
              <a:gd name="T9" fmla="*/ 42 h 102"/>
              <a:gd name="T10" fmla="*/ 24 w 150"/>
              <a:gd name="T11" fmla="*/ 42 h 102"/>
              <a:gd name="T12" fmla="*/ 30 w 150"/>
              <a:gd name="T13" fmla="*/ 42 h 102"/>
              <a:gd name="T14" fmla="*/ 30 w 150"/>
              <a:gd name="T15" fmla="*/ 42 h 102"/>
              <a:gd name="T16" fmla="*/ 36 w 150"/>
              <a:gd name="T17" fmla="*/ 36 h 102"/>
              <a:gd name="T18" fmla="*/ 48 w 150"/>
              <a:gd name="T19" fmla="*/ 30 h 102"/>
              <a:gd name="T20" fmla="*/ 48 w 150"/>
              <a:gd name="T21" fmla="*/ 24 h 102"/>
              <a:gd name="T22" fmla="*/ 54 w 150"/>
              <a:gd name="T23" fmla="*/ 24 h 102"/>
              <a:gd name="T24" fmla="*/ 60 w 150"/>
              <a:gd name="T25" fmla="*/ 18 h 102"/>
              <a:gd name="T26" fmla="*/ 72 w 150"/>
              <a:gd name="T27" fmla="*/ 12 h 102"/>
              <a:gd name="T28" fmla="*/ 72 w 150"/>
              <a:gd name="T29" fmla="*/ 12 h 102"/>
              <a:gd name="T30" fmla="*/ 78 w 150"/>
              <a:gd name="T31" fmla="*/ 6 h 102"/>
              <a:gd name="T32" fmla="*/ 84 w 150"/>
              <a:gd name="T33" fmla="*/ 12 h 102"/>
              <a:gd name="T34" fmla="*/ 96 w 150"/>
              <a:gd name="T35" fmla="*/ 0 h 102"/>
              <a:gd name="T36" fmla="*/ 96 w 150"/>
              <a:gd name="T37" fmla="*/ 6 h 102"/>
              <a:gd name="T38" fmla="*/ 96 w 150"/>
              <a:gd name="T39" fmla="*/ 12 h 102"/>
              <a:gd name="T40" fmla="*/ 90 w 150"/>
              <a:gd name="T41" fmla="*/ 12 h 102"/>
              <a:gd name="T42" fmla="*/ 90 w 150"/>
              <a:gd name="T43" fmla="*/ 18 h 102"/>
              <a:gd name="T44" fmla="*/ 96 w 150"/>
              <a:gd name="T45" fmla="*/ 24 h 102"/>
              <a:gd name="T46" fmla="*/ 102 w 150"/>
              <a:gd name="T47" fmla="*/ 24 h 102"/>
              <a:gd name="T48" fmla="*/ 108 w 150"/>
              <a:gd name="T49" fmla="*/ 24 h 102"/>
              <a:gd name="T50" fmla="*/ 114 w 150"/>
              <a:gd name="T51" fmla="*/ 18 h 102"/>
              <a:gd name="T52" fmla="*/ 120 w 150"/>
              <a:gd name="T53" fmla="*/ 24 h 102"/>
              <a:gd name="T54" fmla="*/ 132 w 150"/>
              <a:gd name="T55" fmla="*/ 24 h 102"/>
              <a:gd name="T56" fmla="*/ 132 w 150"/>
              <a:gd name="T57" fmla="*/ 30 h 102"/>
              <a:gd name="T58" fmla="*/ 138 w 150"/>
              <a:gd name="T59" fmla="*/ 36 h 102"/>
              <a:gd name="T60" fmla="*/ 138 w 150"/>
              <a:gd name="T61" fmla="*/ 42 h 102"/>
              <a:gd name="T62" fmla="*/ 144 w 150"/>
              <a:gd name="T63" fmla="*/ 48 h 102"/>
              <a:gd name="T64" fmla="*/ 114 w 150"/>
              <a:gd name="T65" fmla="*/ 54 h 102"/>
              <a:gd name="T66" fmla="*/ 102 w 150"/>
              <a:gd name="T67" fmla="*/ 54 h 102"/>
              <a:gd name="T68" fmla="*/ 102 w 150"/>
              <a:gd name="T69" fmla="*/ 60 h 102"/>
              <a:gd name="T70" fmla="*/ 90 w 150"/>
              <a:gd name="T71" fmla="*/ 66 h 102"/>
              <a:gd name="T72" fmla="*/ 90 w 150"/>
              <a:gd name="T73" fmla="*/ 72 h 102"/>
              <a:gd name="T74" fmla="*/ 96 w 150"/>
              <a:gd name="T75" fmla="*/ 78 h 102"/>
              <a:gd name="T76" fmla="*/ 90 w 150"/>
              <a:gd name="T77" fmla="*/ 90 h 102"/>
              <a:gd name="T78" fmla="*/ 90 w 150"/>
              <a:gd name="T79" fmla="*/ 96 h 102"/>
              <a:gd name="T80" fmla="*/ 78 w 150"/>
              <a:gd name="T81" fmla="*/ 96 h 102"/>
              <a:gd name="T82" fmla="*/ 72 w 150"/>
              <a:gd name="T83" fmla="*/ 96 h 102"/>
              <a:gd name="T84" fmla="*/ 60 w 150"/>
              <a:gd name="T85" fmla="*/ 90 h 102"/>
              <a:gd name="T86" fmla="*/ 54 w 150"/>
              <a:gd name="T87" fmla="*/ 90 h 102"/>
              <a:gd name="T88" fmla="*/ 48 w 150"/>
              <a:gd name="T89" fmla="*/ 84 h 102"/>
              <a:gd name="T90" fmla="*/ 48 w 150"/>
              <a:gd name="T91" fmla="*/ 78 h 102"/>
              <a:gd name="T92" fmla="*/ 42 w 150"/>
              <a:gd name="T93" fmla="*/ 84 h 102"/>
              <a:gd name="T94" fmla="*/ 36 w 150"/>
              <a:gd name="T95" fmla="*/ 90 h 102"/>
              <a:gd name="T96" fmla="*/ 36 w 150"/>
              <a:gd name="T97" fmla="*/ 96 h 102"/>
              <a:gd name="T98" fmla="*/ 30 w 150"/>
              <a:gd name="T99" fmla="*/ 96 h 102"/>
              <a:gd name="T100" fmla="*/ 24 w 150"/>
              <a:gd name="T101" fmla="*/ 96 h 102"/>
              <a:gd name="T102" fmla="*/ 24 w 150"/>
              <a:gd name="T103" fmla="*/ 102 h 102"/>
              <a:gd name="T104" fmla="*/ 18 w 150"/>
              <a:gd name="T105" fmla="*/ 96 h 102"/>
              <a:gd name="T106" fmla="*/ 18 w 150"/>
              <a:gd name="T107" fmla="*/ 90 h 102"/>
              <a:gd name="T108" fmla="*/ 12 w 150"/>
              <a:gd name="T109" fmla="*/ 78 h 102"/>
              <a:gd name="T110" fmla="*/ 6 w 150"/>
              <a:gd name="T111" fmla="*/ 78 h 102"/>
              <a:gd name="T112" fmla="*/ 6 w 150"/>
              <a:gd name="T113" fmla="*/ 78 h 102"/>
              <a:gd name="T114" fmla="*/ 6 w 150"/>
              <a:gd name="T115" fmla="*/ 72 h 102"/>
              <a:gd name="T116" fmla="*/ 0 w 150"/>
              <a:gd name="T117" fmla="*/ 72 h 102"/>
              <a:gd name="T118" fmla="*/ 0 w 150"/>
              <a:gd name="T119" fmla="*/ 60 h 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50" h="102">
                <a:moveTo>
                  <a:pt x="0" y="60"/>
                </a:move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6" y="54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8" y="48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0"/>
                </a:lnTo>
                <a:lnTo>
                  <a:pt x="48" y="30"/>
                </a:lnTo>
                <a:lnTo>
                  <a:pt x="42" y="30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60" y="24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6" y="18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8"/>
                </a:lnTo>
                <a:lnTo>
                  <a:pt x="72" y="18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6"/>
                </a:lnTo>
                <a:lnTo>
                  <a:pt x="78" y="12"/>
                </a:lnTo>
                <a:lnTo>
                  <a:pt x="78" y="12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84" y="12"/>
                </a:lnTo>
                <a:lnTo>
                  <a:pt x="84" y="6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18"/>
                </a:lnTo>
                <a:lnTo>
                  <a:pt x="108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26" y="30"/>
                </a:lnTo>
                <a:lnTo>
                  <a:pt x="126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8" y="30"/>
                </a:lnTo>
                <a:lnTo>
                  <a:pt x="132" y="30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42"/>
                </a:lnTo>
                <a:lnTo>
                  <a:pt x="138" y="42"/>
                </a:lnTo>
                <a:lnTo>
                  <a:pt x="138" y="36"/>
                </a:lnTo>
                <a:lnTo>
                  <a:pt x="138" y="42"/>
                </a:lnTo>
                <a:lnTo>
                  <a:pt x="138" y="42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50" y="54"/>
                </a:lnTo>
                <a:lnTo>
                  <a:pt x="144" y="54"/>
                </a:lnTo>
                <a:lnTo>
                  <a:pt x="114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96" y="60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6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84" y="96"/>
                </a:lnTo>
                <a:lnTo>
                  <a:pt x="84" y="96"/>
                </a:lnTo>
                <a:lnTo>
                  <a:pt x="84" y="102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66" y="96"/>
                </a:lnTo>
                <a:lnTo>
                  <a:pt x="66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84"/>
                </a:lnTo>
                <a:lnTo>
                  <a:pt x="54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78"/>
                </a:lnTo>
                <a:lnTo>
                  <a:pt x="42" y="78"/>
                </a:lnTo>
                <a:lnTo>
                  <a:pt x="42" y="78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2" y="78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78"/>
                </a:lnTo>
                <a:lnTo>
                  <a:pt x="12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19" name="Freeform 252"/>
          <p:cNvSpPr>
            <a:spLocks/>
          </p:cNvSpPr>
          <p:nvPr/>
        </p:nvSpPr>
        <p:spPr bwMode="auto">
          <a:xfrm>
            <a:off x="7661284" y="3871616"/>
            <a:ext cx="141329" cy="115634"/>
          </a:xfrm>
          <a:custGeom>
            <a:avLst/>
            <a:gdLst>
              <a:gd name="T0" fmla="*/ 6 w 132"/>
              <a:gd name="T1" fmla="*/ 54 h 108"/>
              <a:gd name="T2" fmla="*/ 6 w 132"/>
              <a:gd name="T3" fmla="*/ 42 h 108"/>
              <a:gd name="T4" fmla="*/ 6 w 132"/>
              <a:gd name="T5" fmla="*/ 42 h 108"/>
              <a:gd name="T6" fmla="*/ 12 w 132"/>
              <a:gd name="T7" fmla="*/ 42 h 108"/>
              <a:gd name="T8" fmla="*/ 24 w 132"/>
              <a:gd name="T9" fmla="*/ 36 h 108"/>
              <a:gd name="T10" fmla="*/ 24 w 132"/>
              <a:gd name="T11" fmla="*/ 36 h 108"/>
              <a:gd name="T12" fmla="*/ 30 w 132"/>
              <a:gd name="T13" fmla="*/ 30 h 108"/>
              <a:gd name="T14" fmla="*/ 36 w 132"/>
              <a:gd name="T15" fmla="*/ 24 h 108"/>
              <a:gd name="T16" fmla="*/ 42 w 132"/>
              <a:gd name="T17" fmla="*/ 18 h 108"/>
              <a:gd name="T18" fmla="*/ 54 w 132"/>
              <a:gd name="T19" fmla="*/ 18 h 108"/>
              <a:gd name="T20" fmla="*/ 60 w 132"/>
              <a:gd name="T21" fmla="*/ 18 h 108"/>
              <a:gd name="T22" fmla="*/ 72 w 132"/>
              <a:gd name="T23" fmla="*/ 6 h 108"/>
              <a:gd name="T24" fmla="*/ 84 w 132"/>
              <a:gd name="T25" fmla="*/ 6 h 108"/>
              <a:gd name="T26" fmla="*/ 90 w 132"/>
              <a:gd name="T27" fmla="*/ 6 h 108"/>
              <a:gd name="T28" fmla="*/ 102 w 132"/>
              <a:gd name="T29" fmla="*/ 0 h 108"/>
              <a:gd name="T30" fmla="*/ 108 w 132"/>
              <a:gd name="T31" fmla="*/ 6 h 108"/>
              <a:gd name="T32" fmla="*/ 114 w 132"/>
              <a:gd name="T33" fmla="*/ 6 h 108"/>
              <a:gd name="T34" fmla="*/ 120 w 132"/>
              <a:gd name="T35" fmla="*/ 12 h 108"/>
              <a:gd name="T36" fmla="*/ 132 w 132"/>
              <a:gd name="T37" fmla="*/ 12 h 108"/>
              <a:gd name="T38" fmla="*/ 132 w 132"/>
              <a:gd name="T39" fmla="*/ 18 h 108"/>
              <a:gd name="T40" fmla="*/ 120 w 132"/>
              <a:gd name="T41" fmla="*/ 30 h 108"/>
              <a:gd name="T42" fmla="*/ 114 w 132"/>
              <a:gd name="T43" fmla="*/ 36 h 108"/>
              <a:gd name="T44" fmla="*/ 108 w 132"/>
              <a:gd name="T45" fmla="*/ 36 h 108"/>
              <a:gd name="T46" fmla="*/ 102 w 132"/>
              <a:gd name="T47" fmla="*/ 36 h 108"/>
              <a:gd name="T48" fmla="*/ 96 w 132"/>
              <a:gd name="T49" fmla="*/ 42 h 108"/>
              <a:gd name="T50" fmla="*/ 90 w 132"/>
              <a:gd name="T51" fmla="*/ 42 h 108"/>
              <a:gd name="T52" fmla="*/ 84 w 132"/>
              <a:gd name="T53" fmla="*/ 48 h 108"/>
              <a:gd name="T54" fmla="*/ 84 w 132"/>
              <a:gd name="T55" fmla="*/ 54 h 108"/>
              <a:gd name="T56" fmla="*/ 84 w 132"/>
              <a:gd name="T57" fmla="*/ 66 h 108"/>
              <a:gd name="T58" fmla="*/ 84 w 132"/>
              <a:gd name="T59" fmla="*/ 72 h 108"/>
              <a:gd name="T60" fmla="*/ 90 w 132"/>
              <a:gd name="T61" fmla="*/ 72 h 108"/>
              <a:gd name="T62" fmla="*/ 102 w 132"/>
              <a:gd name="T63" fmla="*/ 78 h 108"/>
              <a:gd name="T64" fmla="*/ 102 w 132"/>
              <a:gd name="T65" fmla="*/ 90 h 108"/>
              <a:gd name="T66" fmla="*/ 102 w 132"/>
              <a:gd name="T67" fmla="*/ 96 h 108"/>
              <a:gd name="T68" fmla="*/ 90 w 132"/>
              <a:gd name="T69" fmla="*/ 90 h 108"/>
              <a:gd name="T70" fmla="*/ 90 w 132"/>
              <a:gd name="T71" fmla="*/ 96 h 108"/>
              <a:gd name="T72" fmla="*/ 84 w 132"/>
              <a:gd name="T73" fmla="*/ 96 h 108"/>
              <a:gd name="T74" fmla="*/ 72 w 132"/>
              <a:gd name="T75" fmla="*/ 96 h 108"/>
              <a:gd name="T76" fmla="*/ 72 w 132"/>
              <a:gd name="T77" fmla="*/ 90 h 108"/>
              <a:gd name="T78" fmla="*/ 60 w 132"/>
              <a:gd name="T79" fmla="*/ 84 h 108"/>
              <a:gd name="T80" fmla="*/ 54 w 132"/>
              <a:gd name="T81" fmla="*/ 84 h 108"/>
              <a:gd name="T82" fmla="*/ 54 w 132"/>
              <a:gd name="T83" fmla="*/ 78 h 108"/>
              <a:gd name="T84" fmla="*/ 48 w 132"/>
              <a:gd name="T85" fmla="*/ 78 h 108"/>
              <a:gd name="T86" fmla="*/ 48 w 132"/>
              <a:gd name="T87" fmla="*/ 84 h 108"/>
              <a:gd name="T88" fmla="*/ 42 w 132"/>
              <a:gd name="T89" fmla="*/ 84 h 108"/>
              <a:gd name="T90" fmla="*/ 36 w 132"/>
              <a:gd name="T91" fmla="*/ 96 h 108"/>
              <a:gd name="T92" fmla="*/ 30 w 132"/>
              <a:gd name="T93" fmla="*/ 96 h 108"/>
              <a:gd name="T94" fmla="*/ 36 w 132"/>
              <a:gd name="T95" fmla="*/ 102 h 108"/>
              <a:gd name="T96" fmla="*/ 30 w 132"/>
              <a:gd name="T97" fmla="*/ 102 h 108"/>
              <a:gd name="T98" fmla="*/ 24 w 132"/>
              <a:gd name="T99" fmla="*/ 102 h 108"/>
              <a:gd name="T100" fmla="*/ 18 w 132"/>
              <a:gd name="T101" fmla="*/ 96 h 108"/>
              <a:gd name="T102" fmla="*/ 6 w 132"/>
              <a:gd name="T103" fmla="*/ 90 h 108"/>
              <a:gd name="T104" fmla="*/ 6 w 132"/>
              <a:gd name="T105" fmla="*/ 84 h 108"/>
              <a:gd name="T106" fmla="*/ 6 w 132"/>
              <a:gd name="T107" fmla="*/ 84 h 108"/>
              <a:gd name="T108" fmla="*/ 18 w 132"/>
              <a:gd name="T109" fmla="*/ 78 h 108"/>
              <a:gd name="T110" fmla="*/ 12 w 132"/>
              <a:gd name="T111" fmla="*/ 78 h 108"/>
              <a:gd name="T112" fmla="*/ 6 w 132"/>
              <a:gd name="T113" fmla="*/ 66 h 108"/>
              <a:gd name="T114" fmla="*/ 6 w 132"/>
              <a:gd name="T115" fmla="*/ 60 h 108"/>
              <a:gd name="T116" fmla="*/ 0 w 132"/>
              <a:gd name="T117" fmla="*/ 54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32" h="108">
                <a:moveTo>
                  <a:pt x="0" y="54"/>
                </a:moveTo>
                <a:lnTo>
                  <a:pt x="0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24" y="42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30" y="36"/>
                </a:lnTo>
                <a:lnTo>
                  <a:pt x="30" y="36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54" y="24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60" y="24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72" y="18"/>
                </a:lnTo>
                <a:lnTo>
                  <a:pt x="72" y="12"/>
                </a:lnTo>
                <a:lnTo>
                  <a:pt x="72" y="12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6" y="6"/>
                </a:lnTo>
                <a:lnTo>
                  <a:pt x="96" y="6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14" y="6"/>
                </a:lnTo>
                <a:lnTo>
                  <a:pt x="114" y="12"/>
                </a:lnTo>
                <a:lnTo>
                  <a:pt x="114" y="6"/>
                </a:lnTo>
                <a:lnTo>
                  <a:pt x="114" y="6"/>
                </a:lnTo>
                <a:lnTo>
                  <a:pt x="114" y="12"/>
                </a:lnTo>
                <a:lnTo>
                  <a:pt x="114" y="12"/>
                </a:lnTo>
                <a:lnTo>
                  <a:pt x="120" y="6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6" y="6"/>
                </a:lnTo>
                <a:lnTo>
                  <a:pt x="126" y="6"/>
                </a:lnTo>
                <a:lnTo>
                  <a:pt x="126" y="12"/>
                </a:lnTo>
                <a:lnTo>
                  <a:pt x="132" y="6"/>
                </a:lnTo>
                <a:lnTo>
                  <a:pt x="132" y="6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26" y="24"/>
                </a:lnTo>
                <a:lnTo>
                  <a:pt x="132" y="24"/>
                </a:lnTo>
                <a:lnTo>
                  <a:pt x="126" y="24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14" y="30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72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6" y="72"/>
                </a:lnTo>
                <a:lnTo>
                  <a:pt x="96" y="72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2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0" y="90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60" y="84"/>
                </a:lnTo>
                <a:lnTo>
                  <a:pt x="60" y="78"/>
                </a:lnTo>
                <a:lnTo>
                  <a:pt x="54" y="78"/>
                </a:lnTo>
                <a:lnTo>
                  <a:pt x="60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6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2"/>
                </a:lnTo>
                <a:lnTo>
                  <a:pt x="30" y="102"/>
                </a:lnTo>
                <a:lnTo>
                  <a:pt x="24" y="102"/>
                </a:lnTo>
                <a:lnTo>
                  <a:pt x="30" y="102"/>
                </a:lnTo>
                <a:lnTo>
                  <a:pt x="24" y="108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96"/>
                </a:lnTo>
                <a:lnTo>
                  <a:pt x="24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2" y="96"/>
                </a:lnTo>
                <a:lnTo>
                  <a:pt x="12" y="96"/>
                </a:lnTo>
                <a:lnTo>
                  <a:pt x="6" y="96"/>
                </a:lnTo>
                <a:lnTo>
                  <a:pt x="12" y="96"/>
                </a:lnTo>
                <a:lnTo>
                  <a:pt x="6" y="96"/>
                </a:lnTo>
                <a:lnTo>
                  <a:pt x="6" y="96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2"/>
                </a:lnTo>
                <a:lnTo>
                  <a:pt x="12" y="72"/>
                </a:lnTo>
                <a:lnTo>
                  <a:pt x="12" y="78"/>
                </a:lnTo>
                <a:lnTo>
                  <a:pt x="12" y="78"/>
                </a:ln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0" y="72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0" y="60"/>
                </a:lnTo>
                <a:lnTo>
                  <a:pt x="0" y="60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20" name="Freeform 253"/>
          <p:cNvSpPr>
            <a:spLocks/>
          </p:cNvSpPr>
          <p:nvPr/>
        </p:nvSpPr>
        <p:spPr bwMode="auto">
          <a:xfrm>
            <a:off x="7680557" y="3743134"/>
            <a:ext cx="128481" cy="122058"/>
          </a:xfrm>
          <a:custGeom>
            <a:avLst/>
            <a:gdLst>
              <a:gd name="T0" fmla="*/ 0 w 120"/>
              <a:gd name="T1" fmla="*/ 72 h 114"/>
              <a:gd name="T2" fmla="*/ 0 w 120"/>
              <a:gd name="T3" fmla="*/ 66 h 114"/>
              <a:gd name="T4" fmla="*/ 6 w 120"/>
              <a:gd name="T5" fmla="*/ 66 h 114"/>
              <a:gd name="T6" fmla="*/ 6 w 120"/>
              <a:gd name="T7" fmla="*/ 66 h 114"/>
              <a:gd name="T8" fmla="*/ 12 w 120"/>
              <a:gd name="T9" fmla="*/ 66 h 114"/>
              <a:gd name="T10" fmla="*/ 24 w 120"/>
              <a:gd name="T11" fmla="*/ 66 h 114"/>
              <a:gd name="T12" fmla="*/ 36 w 120"/>
              <a:gd name="T13" fmla="*/ 60 h 114"/>
              <a:gd name="T14" fmla="*/ 42 w 120"/>
              <a:gd name="T15" fmla="*/ 48 h 114"/>
              <a:gd name="T16" fmla="*/ 42 w 120"/>
              <a:gd name="T17" fmla="*/ 42 h 114"/>
              <a:gd name="T18" fmla="*/ 36 w 120"/>
              <a:gd name="T19" fmla="*/ 36 h 114"/>
              <a:gd name="T20" fmla="*/ 36 w 120"/>
              <a:gd name="T21" fmla="*/ 30 h 114"/>
              <a:gd name="T22" fmla="*/ 42 w 120"/>
              <a:gd name="T23" fmla="*/ 30 h 114"/>
              <a:gd name="T24" fmla="*/ 48 w 120"/>
              <a:gd name="T25" fmla="*/ 24 h 114"/>
              <a:gd name="T26" fmla="*/ 48 w 120"/>
              <a:gd name="T27" fmla="*/ 24 h 114"/>
              <a:gd name="T28" fmla="*/ 54 w 120"/>
              <a:gd name="T29" fmla="*/ 18 h 114"/>
              <a:gd name="T30" fmla="*/ 54 w 120"/>
              <a:gd name="T31" fmla="*/ 12 h 114"/>
              <a:gd name="T32" fmla="*/ 54 w 120"/>
              <a:gd name="T33" fmla="*/ 6 h 114"/>
              <a:gd name="T34" fmla="*/ 60 w 120"/>
              <a:gd name="T35" fmla="*/ 0 h 114"/>
              <a:gd name="T36" fmla="*/ 66 w 120"/>
              <a:gd name="T37" fmla="*/ 0 h 114"/>
              <a:gd name="T38" fmla="*/ 72 w 120"/>
              <a:gd name="T39" fmla="*/ 0 h 114"/>
              <a:gd name="T40" fmla="*/ 84 w 120"/>
              <a:gd name="T41" fmla="*/ 0 h 114"/>
              <a:gd name="T42" fmla="*/ 90 w 120"/>
              <a:gd name="T43" fmla="*/ 0 h 114"/>
              <a:gd name="T44" fmla="*/ 96 w 120"/>
              <a:gd name="T45" fmla="*/ 6 h 114"/>
              <a:gd name="T46" fmla="*/ 96 w 120"/>
              <a:gd name="T47" fmla="*/ 6 h 114"/>
              <a:gd name="T48" fmla="*/ 102 w 120"/>
              <a:gd name="T49" fmla="*/ 6 h 114"/>
              <a:gd name="T50" fmla="*/ 102 w 120"/>
              <a:gd name="T51" fmla="*/ 6 h 114"/>
              <a:gd name="T52" fmla="*/ 108 w 120"/>
              <a:gd name="T53" fmla="*/ 6 h 114"/>
              <a:gd name="T54" fmla="*/ 114 w 120"/>
              <a:gd name="T55" fmla="*/ 6 h 114"/>
              <a:gd name="T56" fmla="*/ 114 w 120"/>
              <a:gd name="T57" fmla="*/ 12 h 114"/>
              <a:gd name="T58" fmla="*/ 120 w 120"/>
              <a:gd name="T59" fmla="*/ 12 h 114"/>
              <a:gd name="T60" fmla="*/ 114 w 120"/>
              <a:gd name="T61" fmla="*/ 18 h 114"/>
              <a:gd name="T62" fmla="*/ 108 w 120"/>
              <a:gd name="T63" fmla="*/ 30 h 114"/>
              <a:gd name="T64" fmla="*/ 96 w 120"/>
              <a:gd name="T65" fmla="*/ 36 h 114"/>
              <a:gd name="T66" fmla="*/ 96 w 120"/>
              <a:gd name="T67" fmla="*/ 42 h 114"/>
              <a:gd name="T68" fmla="*/ 90 w 120"/>
              <a:gd name="T69" fmla="*/ 48 h 114"/>
              <a:gd name="T70" fmla="*/ 84 w 120"/>
              <a:gd name="T71" fmla="*/ 54 h 114"/>
              <a:gd name="T72" fmla="*/ 84 w 120"/>
              <a:gd name="T73" fmla="*/ 60 h 114"/>
              <a:gd name="T74" fmla="*/ 78 w 120"/>
              <a:gd name="T75" fmla="*/ 66 h 114"/>
              <a:gd name="T76" fmla="*/ 72 w 120"/>
              <a:gd name="T77" fmla="*/ 72 h 114"/>
              <a:gd name="T78" fmla="*/ 66 w 120"/>
              <a:gd name="T79" fmla="*/ 84 h 114"/>
              <a:gd name="T80" fmla="*/ 72 w 120"/>
              <a:gd name="T81" fmla="*/ 90 h 114"/>
              <a:gd name="T82" fmla="*/ 72 w 120"/>
              <a:gd name="T83" fmla="*/ 96 h 114"/>
              <a:gd name="T84" fmla="*/ 72 w 120"/>
              <a:gd name="T85" fmla="*/ 108 h 114"/>
              <a:gd name="T86" fmla="*/ 60 w 120"/>
              <a:gd name="T87" fmla="*/ 114 h 114"/>
              <a:gd name="T88" fmla="*/ 48 w 120"/>
              <a:gd name="T89" fmla="*/ 108 h 114"/>
              <a:gd name="T90" fmla="*/ 48 w 120"/>
              <a:gd name="T91" fmla="*/ 108 h 114"/>
              <a:gd name="T92" fmla="*/ 42 w 120"/>
              <a:gd name="T93" fmla="*/ 108 h 114"/>
              <a:gd name="T94" fmla="*/ 30 w 120"/>
              <a:gd name="T95" fmla="*/ 108 h 114"/>
              <a:gd name="T96" fmla="*/ 36 w 120"/>
              <a:gd name="T97" fmla="*/ 102 h 114"/>
              <a:gd name="T98" fmla="*/ 24 w 120"/>
              <a:gd name="T99" fmla="*/ 102 h 114"/>
              <a:gd name="T100" fmla="*/ 18 w 120"/>
              <a:gd name="T101" fmla="*/ 108 h 114"/>
              <a:gd name="T102" fmla="*/ 18 w 120"/>
              <a:gd name="T103" fmla="*/ 102 h 114"/>
              <a:gd name="T104" fmla="*/ 12 w 120"/>
              <a:gd name="T105" fmla="*/ 96 h 114"/>
              <a:gd name="T106" fmla="*/ 12 w 120"/>
              <a:gd name="T107" fmla="*/ 96 h 114"/>
              <a:gd name="T108" fmla="*/ 6 w 120"/>
              <a:gd name="T109" fmla="*/ 90 h 114"/>
              <a:gd name="T110" fmla="*/ 6 w 120"/>
              <a:gd name="T111" fmla="*/ 78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20" h="114">
                <a:moveTo>
                  <a:pt x="0" y="84"/>
                </a:move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6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0"/>
                </a:lnTo>
                <a:lnTo>
                  <a:pt x="30" y="60"/>
                </a:lnTo>
                <a:lnTo>
                  <a:pt x="30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42" y="54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24"/>
                </a:lnTo>
                <a:lnTo>
                  <a:pt x="48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18"/>
                </a:lnTo>
                <a:lnTo>
                  <a:pt x="48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0"/>
                </a:lnTo>
                <a:lnTo>
                  <a:pt x="60" y="0"/>
                </a:lnTo>
                <a:lnTo>
                  <a:pt x="60" y="6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6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0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0"/>
                </a:lnTo>
                <a:lnTo>
                  <a:pt x="96" y="0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14" y="18"/>
                </a:lnTo>
                <a:lnTo>
                  <a:pt x="120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24"/>
                </a:lnTo>
                <a:lnTo>
                  <a:pt x="108" y="24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2" y="36"/>
                </a:lnTo>
                <a:lnTo>
                  <a:pt x="96" y="36"/>
                </a:lnTo>
                <a:lnTo>
                  <a:pt x="96" y="36"/>
                </a:lnTo>
                <a:lnTo>
                  <a:pt x="96" y="42"/>
                </a:lnTo>
                <a:lnTo>
                  <a:pt x="96" y="36"/>
                </a:lnTo>
                <a:lnTo>
                  <a:pt x="96" y="36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0" y="42"/>
                </a:lnTo>
                <a:lnTo>
                  <a:pt x="90" y="42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66" y="78"/>
                </a:lnTo>
                <a:lnTo>
                  <a:pt x="66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6"/>
                </a:lnTo>
                <a:lnTo>
                  <a:pt x="72" y="96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14"/>
                </a:lnTo>
                <a:lnTo>
                  <a:pt x="66" y="114"/>
                </a:lnTo>
                <a:lnTo>
                  <a:pt x="66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14"/>
                </a:lnTo>
                <a:lnTo>
                  <a:pt x="42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14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6" y="102"/>
                </a:lnTo>
                <a:lnTo>
                  <a:pt x="30" y="102"/>
                </a:lnTo>
                <a:lnTo>
                  <a:pt x="36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8"/>
                </a:lnTo>
                <a:lnTo>
                  <a:pt x="24" y="102"/>
                </a:lnTo>
                <a:lnTo>
                  <a:pt x="18" y="102"/>
                </a:lnTo>
                <a:lnTo>
                  <a:pt x="18" y="108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96"/>
                </a:lnTo>
                <a:lnTo>
                  <a:pt x="18" y="96"/>
                </a:lnTo>
                <a:lnTo>
                  <a:pt x="18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6" y="90"/>
                </a:lnTo>
                <a:lnTo>
                  <a:pt x="12" y="90"/>
                </a:lnTo>
                <a:lnTo>
                  <a:pt x="12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78"/>
                </a:lnTo>
                <a:lnTo>
                  <a:pt x="0" y="84"/>
                </a:lnTo>
                <a:lnTo>
                  <a:pt x="0" y="8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21" name="Freeform 254"/>
          <p:cNvSpPr>
            <a:spLocks/>
          </p:cNvSpPr>
          <p:nvPr/>
        </p:nvSpPr>
        <p:spPr bwMode="auto">
          <a:xfrm>
            <a:off x="7712677" y="3582532"/>
            <a:ext cx="109209" cy="134906"/>
          </a:xfrm>
          <a:custGeom>
            <a:avLst/>
            <a:gdLst>
              <a:gd name="T0" fmla="*/ 0 w 102"/>
              <a:gd name="T1" fmla="*/ 42 h 126"/>
              <a:gd name="T2" fmla="*/ 6 w 102"/>
              <a:gd name="T3" fmla="*/ 42 h 126"/>
              <a:gd name="T4" fmla="*/ 12 w 102"/>
              <a:gd name="T5" fmla="*/ 42 h 126"/>
              <a:gd name="T6" fmla="*/ 18 w 102"/>
              <a:gd name="T7" fmla="*/ 36 h 126"/>
              <a:gd name="T8" fmla="*/ 24 w 102"/>
              <a:gd name="T9" fmla="*/ 30 h 126"/>
              <a:gd name="T10" fmla="*/ 30 w 102"/>
              <a:gd name="T11" fmla="*/ 30 h 126"/>
              <a:gd name="T12" fmla="*/ 30 w 102"/>
              <a:gd name="T13" fmla="*/ 24 h 126"/>
              <a:gd name="T14" fmla="*/ 36 w 102"/>
              <a:gd name="T15" fmla="*/ 18 h 126"/>
              <a:gd name="T16" fmla="*/ 42 w 102"/>
              <a:gd name="T17" fmla="*/ 12 h 126"/>
              <a:gd name="T18" fmla="*/ 48 w 102"/>
              <a:gd name="T19" fmla="*/ 6 h 126"/>
              <a:gd name="T20" fmla="*/ 54 w 102"/>
              <a:gd name="T21" fmla="*/ 0 h 126"/>
              <a:gd name="T22" fmla="*/ 54 w 102"/>
              <a:gd name="T23" fmla="*/ 0 h 126"/>
              <a:gd name="T24" fmla="*/ 60 w 102"/>
              <a:gd name="T25" fmla="*/ 0 h 126"/>
              <a:gd name="T26" fmla="*/ 72 w 102"/>
              <a:gd name="T27" fmla="*/ 0 h 126"/>
              <a:gd name="T28" fmla="*/ 72 w 102"/>
              <a:gd name="T29" fmla="*/ 12 h 126"/>
              <a:gd name="T30" fmla="*/ 78 w 102"/>
              <a:gd name="T31" fmla="*/ 18 h 126"/>
              <a:gd name="T32" fmla="*/ 84 w 102"/>
              <a:gd name="T33" fmla="*/ 24 h 126"/>
              <a:gd name="T34" fmla="*/ 90 w 102"/>
              <a:gd name="T35" fmla="*/ 30 h 126"/>
              <a:gd name="T36" fmla="*/ 90 w 102"/>
              <a:gd name="T37" fmla="*/ 36 h 126"/>
              <a:gd name="T38" fmla="*/ 96 w 102"/>
              <a:gd name="T39" fmla="*/ 36 h 126"/>
              <a:gd name="T40" fmla="*/ 102 w 102"/>
              <a:gd name="T41" fmla="*/ 48 h 126"/>
              <a:gd name="T42" fmla="*/ 102 w 102"/>
              <a:gd name="T43" fmla="*/ 48 h 126"/>
              <a:gd name="T44" fmla="*/ 102 w 102"/>
              <a:gd name="T45" fmla="*/ 54 h 126"/>
              <a:gd name="T46" fmla="*/ 96 w 102"/>
              <a:gd name="T47" fmla="*/ 54 h 126"/>
              <a:gd name="T48" fmla="*/ 96 w 102"/>
              <a:gd name="T49" fmla="*/ 60 h 126"/>
              <a:gd name="T50" fmla="*/ 96 w 102"/>
              <a:gd name="T51" fmla="*/ 60 h 126"/>
              <a:gd name="T52" fmla="*/ 90 w 102"/>
              <a:gd name="T53" fmla="*/ 60 h 126"/>
              <a:gd name="T54" fmla="*/ 78 w 102"/>
              <a:gd name="T55" fmla="*/ 60 h 126"/>
              <a:gd name="T56" fmla="*/ 84 w 102"/>
              <a:gd name="T57" fmla="*/ 66 h 126"/>
              <a:gd name="T58" fmla="*/ 84 w 102"/>
              <a:gd name="T59" fmla="*/ 72 h 126"/>
              <a:gd name="T60" fmla="*/ 90 w 102"/>
              <a:gd name="T61" fmla="*/ 78 h 126"/>
              <a:gd name="T62" fmla="*/ 84 w 102"/>
              <a:gd name="T63" fmla="*/ 78 h 126"/>
              <a:gd name="T64" fmla="*/ 78 w 102"/>
              <a:gd name="T65" fmla="*/ 78 h 126"/>
              <a:gd name="T66" fmla="*/ 78 w 102"/>
              <a:gd name="T67" fmla="*/ 78 h 126"/>
              <a:gd name="T68" fmla="*/ 72 w 102"/>
              <a:gd name="T69" fmla="*/ 78 h 126"/>
              <a:gd name="T70" fmla="*/ 66 w 102"/>
              <a:gd name="T71" fmla="*/ 78 h 126"/>
              <a:gd name="T72" fmla="*/ 66 w 102"/>
              <a:gd name="T73" fmla="*/ 72 h 126"/>
              <a:gd name="T74" fmla="*/ 60 w 102"/>
              <a:gd name="T75" fmla="*/ 78 h 126"/>
              <a:gd name="T76" fmla="*/ 54 w 102"/>
              <a:gd name="T77" fmla="*/ 84 h 126"/>
              <a:gd name="T78" fmla="*/ 54 w 102"/>
              <a:gd name="T79" fmla="*/ 90 h 126"/>
              <a:gd name="T80" fmla="*/ 54 w 102"/>
              <a:gd name="T81" fmla="*/ 96 h 126"/>
              <a:gd name="T82" fmla="*/ 48 w 102"/>
              <a:gd name="T83" fmla="*/ 102 h 126"/>
              <a:gd name="T84" fmla="*/ 54 w 102"/>
              <a:gd name="T85" fmla="*/ 108 h 126"/>
              <a:gd name="T86" fmla="*/ 60 w 102"/>
              <a:gd name="T87" fmla="*/ 120 h 126"/>
              <a:gd name="T88" fmla="*/ 60 w 102"/>
              <a:gd name="T89" fmla="*/ 126 h 126"/>
              <a:gd name="T90" fmla="*/ 54 w 102"/>
              <a:gd name="T91" fmla="*/ 126 h 126"/>
              <a:gd name="T92" fmla="*/ 48 w 102"/>
              <a:gd name="T93" fmla="*/ 126 h 126"/>
              <a:gd name="T94" fmla="*/ 42 w 102"/>
              <a:gd name="T95" fmla="*/ 120 h 126"/>
              <a:gd name="T96" fmla="*/ 30 w 102"/>
              <a:gd name="T97" fmla="*/ 120 h 126"/>
              <a:gd name="T98" fmla="*/ 24 w 102"/>
              <a:gd name="T99" fmla="*/ 120 h 126"/>
              <a:gd name="T100" fmla="*/ 18 w 102"/>
              <a:gd name="T101" fmla="*/ 114 h 126"/>
              <a:gd name="T102" fmla="*/ 18 w 102"/>
              <a:gd name="T103" fmla="*/ 108 h 126"/>
              <a:gd name="T104" fmla="*/ 18 w 102"/>
              <a:gd name="T105" fmla="*/ 102 h 126"/>
              <a:gd name="T106" fmla="*/ 18 w 102"/>
              <a:gd name="T107" fmla="*/ 90 h 126"/>
              <a:gd name="T108" fmla="*/ 12 w 102"/>
              <a:gd name="T109" fmla="*/ 78 h 126"/>
              <a:gd name="T110" fmla="*/ 12 w 102"/>
              <a:gd name="T111" fmla="*/ 72 h 126"/>
              <a:gd name="T112" fmla="*/ 6 w 102"/>
              <a:gd name="T113" fmla="*/ 60 h 126"/>
              <a:gd name="T114" fmla="*/ 6 w 102"/>
              <a:gd name="T115" fmla="*/ 60 h 126"/>
              <a:gd name="T116" fmla="*/ 6 w 102"/>
              <a:gd name="T117" fmla="*/ 60 h 126"/>
              <a:gd name="T118" fmla="*/ 0 w 102"/>
              <a:gd name="T119" fmla="*/ 54 h 126"/>
              <a:gd name="T120" fmla="*/ 0 w 102"/>
              <a:gd name="T121" fmla="*/ 42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2" h="126">
                <a:moveTo>
                  <a:pt x="0" y="42"/>
                </a:move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42"/>
                </a:lnTo>
                <a:lnTo>
                  <a:pt x="18" y="42"/>
                </a:lnTo>
                <a:lnTo>
                  <a:pt x="18" y="42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0"/>
                </a:lnTo>
                <a:lnTo>
                  <a:pt x="24" y="36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6" y="24"/>
                </a:lnTo>
                <a:lnTo>
                  <a:pt x="30" y="24"/>
                </a:lnTo>
                <a:lnTo>
                  <a:pt x="36" y="24"/>
                </a:lnTo>
                <a:lnTo>
                  <a:pt x="36" y="24"/>
                </a:lnTo>
                <a:lnTo>
                  <a:pt x="36" y="18"/>
                </a:lnTo>
                <a:lnTo>
                  <a:pt x="36" y="18"/>
                </a:lnTo>
                <a:lnTo>
                  <a:pt x="36" y="24"/>
                </a:lnTo>
                <a:lnTo>
                  <a:pt x="36" y="18"/>
                </a:lnTo>
                <a:lnTo>
                  <a:pt x="36" y="18"/>
                </a:lnTo>
                <a:lnTo>
                  <a:pt x="42" y="24"/>
                </a:lnTo>
                <a:lnTo>
                  <a:pt x="42" y="24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6"/>
                </a:lnTo>
                <a:lnTo>
                  <a:pt x="60" y="6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54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30"/>
                </a:lnTo>
                <a:lnTo>
                  <a:pt x="84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6" y="36"/>
                </a:lnTo>
                <a:lnTo>
                  <a:pt x="90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42"/>
                </a:lnTo>
                <a:lnTo>
                  <a:pt x="96" y="36"/>
                </a:lnTo>
                <a:lnTo>
                  <a:pt x="96" y="36"/>
                </a:lnTo>
                <a:lnTo>
                  <a:pt x="96" y="42"/>
                </a:lnTo>
                <a:lnTo>
                  <a:pt x="96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8"/>
                </a:lnTo>
                <a:lnTo>
                  <a:pt x="102" y="42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84" y="60"/>
                </a:lnTo>
                <a:lnTo>
                  <a:pt x="84" y="60"/>
                </a:lnTo>
                <a:lnTo>
                  <a:pt x="84" y="54"/>
                </a:lnTo>
                <a:lnTo>
                  <a:pt x="84" y="54"/>
                </a:lnTo>
                <a:lnTo>
                  <a:pt x="78" y="60"/>
                </a:lnTo>
                <a:lnTo>
                  <a:pt x="78" y="60"/>
                </a:lnTo>
                <a:lnTo>
                  <a:pt x="84" y="60"/>
                </a:lnTo>
                <a:lnTo>
                  <a:pt x="78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90" y="72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84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78" y="84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2" y="78"/>
                </a:lnTo>
                <a:lnTo>
                  <a:pt x="78" y="78"/>
                </a:lnTo>
                <a:lnTo>
                  <a:pt x="78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6"/>
                </a:lnTo>
                <a:lnTo>
                  <a:pt x="54" y="96"/>
                </a:lnTo>
                <a:lnTo>
                  <a:pt x="60" y="96"/>
                </a:lnTo>
                <a:lnTo>
                  <a:pt x="60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54" y="126"/>
                </a:lnTo>
                <a:lnTo>
                  <a:pt x="54" y="126"/>
                </a:lnTo>
                <a:lnTo>
                  <a:pt x="54" y="126"/>
                </a:lnTo>
                <a:lnTo>
                  <a:pt x="54" y="126"/>
                </a:lnTo>
                <a:lnTo>
                  <a:pt x="54" y="126"/>
                </a:lnTo>
                <a:lnTo>
                  <a:pt x="54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2" y="120"/>
                </a:lnTo>
                <a:lnTo>
                  <a:pt x="42" y="120"/>
                </a:lnTo>
                <a:lnTo>
                  <a:pt x="42" y="120"/>
                </a:lnTo>
                <a:lnTo>
                  <a:pt x="42" y="120"/>
                </a:lnTo>
                <a:lnTo>
                  <a:pt x="42" y="120"/>
                </a:lnTo>
                <a:lnTo>
                  <a:pt x="42" y="120"/>
                </a:lnTo>
                <a:lnTo>
                  <a:pt x="42" y="120"/>
                </a:lnTo>
                <a:lnTo>
                  <a:pt x="36" y="126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2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2" y="96"/>
                </a:lnTo>
                <a:lnTo>
                  <a:pt x="18" y="90"/>
                </a:lnTo>
                <a:lnTo>
                  <a:pt x="18" y="90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0" y="60"/>
                </a:lnTo>
                <a:lnTo>
                  <a:pt x="0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0" y="54"/>
                </a:lnTo>
                <a:lnTo>
                  <a:pt x="0" y="54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22" name="Freeform 255"/>
          <p:cNvSpPr>
            <a:spLocks/>
          </p:cNvSpPr>
          <p:nvPr/>
        </p:nvSpPr>
        <p:spPr bwMode="auto">
          <a:xfrm>
            <a:off x="6871126" y="3762407"/>
            <a:ext cx="192721" cy="147754"/>
          </a:xfrm>
          <a:custGeom>
            <a:avLst/>
            <a:gdLst>
              <a:gd name="T0" fmla="*/ 12 w 180"/>
              <a:gd name="T1" fmla="*/ 66 h 138"/>
              <a:gd name="T2" fmla="*/ 12 w 180"/>
              <a:gd name="T3" fmla="*/ 60 h 138"/>
              <a:gd name="T4" fmla="*/ 24 w 180"/>
              <a:gd name="T5" fmla="*/ 60 h 138"/>
              <a:gd name="T6" fmla="*/ 36 w 180"/>
              <a:gd name="T7" fmla="*/ 60 h 138"/>
              <a:gd name="T8" fmla="*/ 42 w 180"/>
              <a:gd name="T9" fmla="*/ 60 h 138"/>
              <a:gd name="T10" fmla="*/ 54 w 180"/>
              <a:gd name="T11" fmla="*/ 60 h 138"/>
              <a:gd name="T12" fmla="*/ 60 w 180"/>
              <a:gd name="T13" fmla="*/ 54 h 138"/>
              <a:gd name="T14" fmla="*/ 60 w 180"/>
              <a:gd name="T15" fmla="*/ 42 h 138"/>
              <a:gd name="T16" fmla="*/ 66 w 180"/>
              <a:gd name="T17" fmla="*/ 42 h 138"/>
              <a:gd name="T18" fmla="*/ 72 w 180"/>
              <a:gd name="T19" fmla="*/ 30 h 138"/>
              <a:gd name="T20" fmla="*/ 72 w 180"/>
              <a:gd name="T21" fmla="*/ 24 h 138"/>
              <a:gd name="T22" fmla="*/ 84 w 180"/>
              <a:gd name="T23" fmla="*/ 18 h 138"/>
              <a:gd name="T24" fmla="*/ 90 w 180"/>
              <a:gd name="T25" fmla="*/ 12 h 138"/>
              <a:gd name="T26" fmla="*/ 102 w 180"/>
              <a:gd name="T27" fmla="*/ 18 h 138"/>
              <a:gd name="T28" fmla="*/ 108 w 180"/>
              <a:gd name="T29" fmla="*/ 24 h 138"/>
              <a:gd name="T30" fmla="*/ 114 w 180"/>
              <a:gd name="T31" fmla="*/ 36 h 138"/>
              <a:gd name="T32" fmla="*/ 120 w 180"/>
              <a:gd name="T33" fmla="*/ 24 h 138"/>
              <a:gd name="T34" fmla="*/ 126 w 180"/>
              <a:gd name="T35" fmla="*/ 18 h 138"/>
              <a:gd name="T36" fmla="*/ 126 w 180"/>
              <a:gd name="T37" fmla="*/ 0 h 138"/>
              <a:gd name="T38" fmla="*/ 132 w 180"/>
              <a:gd name="T39" fmla="*/ 0 h 138"/>
              <a:gd name="T40" fmla="*/ 132 w 180"/>
              <a:gd name="T41" fmla="*/ 12 h 138"/>
              <a:gd name="T42" fmla="*/ 138 w 180"/>
              <a:gd name="T43" fmla="*/ 18 h 138"/>
              <a:gd name="T44" fmla="*/ 138 w 180"/>
              <a:gd name="T45" fmla="*/ 24 h 138"/>
              <a:gd name="T46" fmla="*/ 138 w 180"/>
              <a:gd name="T47" fmla="*/ 30 h 138"/>
              <a:gd name="T48" fmla="*/ 138 w 180"/>
              <a:gd name="T49" fmla="*/ 36 h 138"/>
              <a:gd name="T50" fmla="*/ 138 w 180"/>
              <a:gd name="T51" fmla="*/ 42 h 138"/>
              <a:gd name="T52" fmla="*/ 144 w 180"/>
              <a:gd name="T53" fmla="*/ 54 h 138"/>
              <a:gd name="T54" fmla="*/ 144 w 180"/>
              <a:gd name="T55" fmla="*/ 54 h 138"/>
              <a:gd name="T56" fmla="*/ 150 w 180"/>
              <a:gd name="T57" fmla="*/ 66 h 138"/>
              <a:gd name="T58" fmla="*/ 162 w 180"/>
              <a:gd name="T59" fmla="*/ 66 h 138"/>
              <a:gd name="T60" fmla="*/ 162 w 180"/>
              <a:gd name="T61" fmla="*/ 78 h 138"/>
              <a:gd name="T62" fmla="*/ 168 w 180"/>
              <a:gd name="T63" fmla="*/ 90 h 138"/>
              <a:gd name="T64" fmla="*/ 174 w 180"/>
              <a:gd name="T65" fmla="*/ 96 h 138"/>
              <a:gd name="T66" fmla="*/ 174 w 180"/>
              <a:gd name="T67" fmla="*/ 102 h 138"/>
              <a:gd name="T68" fmla="*/ 174 w 180"/>
              <a:gd name="T69" fmla="*/ 108 h 138"/>
              <a:gd name="T70" fmla="*/ 174 w 180"/>
              <a:gd name="T71" fmla="*/ 114 h 138"/>
              <a:gd name="T72" fmla="*/ 180 w 180"/>
              <a:gd name="T73" fmla="*/ 114 h 138"/>
              <a:gd name="T74" fmla="*/ 168 w 180"/>
              <a:gd name="T75" fmla="*/ 120 h 138"/>
              <a:gd name="T76" fmla="*/ 156 w 180"/>
              <a:gd name="T77" fmla="*/ 126 h 138"/>
              <a:gd name="T78" fmla="*/ 144 w 180"/>
              <a:gd name="T79" fmla="*/ 120 h 138"/>
              <a:gd name="T80" fmla="*/ 132 w 180"/>
              <a:gd name="T81" fmla="*/ 120 h 138"/>
              <a:gd name="T82" fmla="*/ 132 w 180"/>
              <a:gd name="T83" fmla="*/ 126 h 138"/>
              <a:gd name="T84" fmla="*/ 126 w 180"/>
              <a:gd name="T85" fmla="*/ 138 h 138"/>
              <a:gd name="T86" fmla="*/ 114 w 180"/>
              <a:gd name="T87" fmla="*/ 126 h 138"/>
              <a:gd name="T88" fmla="*/ 114 w 180"/>
              <a:gd name="T89" fmla="*/ 132 h 138"/>
              <a:gd name="T90" fmla="*/ 96 w 180"/>
              <a:gd name="T91" fmla="*/ 138 h 138"/>
              <a:gd name="T92" fmla="*/ 90 w 180"/>
              <a:gd name="T93" fmla="*/ 132 h 138"/>
              <a:gd name="T94" fmla="*/ 78 w 180"/>
              <a:gd name="T95" fmla="*/ 126 h 138"/>
              <a:gd name="T96" fmla="*/ 84 w 180"/>
              <a:gd name="T97" fmla="*/ 138 h 138"/>
              <a:gd name="T98" fmla="*/ 72 w 180"/>
              <a:gd name="T99" fmla="*/ 132 h 138"/>
              <a:gd name="T100" fmla="*/ 60 w 180"/>
              <a:gd name="T101" fmla="*/ 138 h 138"/>
              <a:gd name="T102" fmla="*/ 42 w 180"/>
              <a:gd name="T103" fmla="*/ 138 h 138"/>
              <a:gd name="T104" fmla="*/ 42 w 180"/>
              <a:gd name="T105" fmla="*/ 132 h 138"/>
              <a:gd name="T106" fmla="*/ 42 w 180"/>
              <a:gd name="T107" fmla="*/ 114 h 138"/>
              <a:gd name="T108" fmla="*/ 30 w 180"/>
              <a:gd name="T109" fmla="*/ 102 h 138"/>
              <a:gd name="T110" fmla="*/ 12 w 180"/>
              <a:gd name="T111" fmla="*/ 102 h 138"/>
              <a:gd name="T112" fmla="*/ 12 w 180"/>
              <a:gd name="T113" fmla="*/ 96 h 138"/>
              <a:gd name="T114" fmla="*/ 6 w 180"/>
              <a:gd name="T115" fmla="*/ 96 h 138"/>
              <a:gd name="T116" fmla="*/ 6 w 180"/>
              <a:gd name="T117" fmla="*/ 90 h 138"/>
              <a:gd name="T118" fmla="*/ 6 w 180"/>
              <a:gd name="T119" fmla="*/ 78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80" h="138">
                <a:moveTo>
                  <a:pt x="0" y="66"/>
                </a:moveTo>
                <a:lnTo>
                  <a:pt x="0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8" y="66"/>
                </a:lnTo>
                <a:lnTo>
                  <a:pt x="18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0"/>
                </a:lnTo>
                <a:lnTo>
                  <a:pt x="72" y="30"/>
                </a:lnTo>
                <a:lnTo>
                  <a:pt x="72" y="30"/>
                </a:lnTo>
                <a:lnTo>
                  <a:pt x="66" y="30"/>
                </a:lnTo>
                <a:lnTo>
                  <a:pt x="66" y="24"/>
                </a:lnTo>
                <a:lnTo>
                  <a:pt x="66" y="30"/>
                </a:lnTo>
                <a:lnTo>
                  <a:pt x="72" y="24"/>
                </a:lnTo>
                <a:lnTo>
                  <a:pt x="72" y="30"/>
                </a:lnTo>
                <a:lnTo>
                  <a:pt x="72" y="24"/>
                </a:lnTo>
                <a:lnTo>
                  <a:pt x="72" y="24"/>
                </a:lnTo>
                <a:lnTo>
                  <a:pt x="78" y="24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24"/>
                </a:lnTo>
                <a:lnTo>
                  <a:pt x="102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30"/>
                </a:lnTo>
                <a:lnTo>
                  <a:pt x="114" y="30"/>
                </a:lnTo>
                <a:lnTo>
                  <a:pt x="114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0"/>
                </a:lnTo>
                <a:lnTo>
                  <a:pt x="120" y="30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0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2"/>
                </a:lnTo>
                <a:lnTo>
                  <a:pt x="120" y="6"/>
                </a:lnTo>
                <a:lnTo>
                  <a:pt x="126" y="6"/>
                </a:lnTo>
                <a:lnTo>
                  <a:pt x="120" y="0"/>
                </a:lnTo>
                <a:lnTo>
                  <a:pt x="126" y="0"/>
                </a:lnTo>
                <a:lnTo>
                  <a:pt x="126" y="0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0"/>
                </a:lnTo>
                <a:lnTo>
                  <a:pt x="126" y="0"/>
                </a:lnTo>
                <a:lnTo>
                  <a:pt x="132" y="0"/>
                </a:lnTo>
                <a:lnTo>
                  <a:pt x="132" y="0"/>
                </a:lnTo>
                <a:lnTo>
                  <a:pt x="132" y="0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12"/>
                </a:lnTo>
                <a:lnTo>
                  <a:pt x="132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8"/>
                </a:lnTo>
                <a:lnTo>
                  <a:pt x="138" y="48"/>
                </a:lnTo>
                <a:lnTo>
                  <a:pt x="144" y="54"/>
                </a:lnTo>
                <a:lnTo>
                  <a:pt x="144" y="54"/>
                </a:lnTo>
                <a:lnTo>
                  <a:pt x="144" y="54"/>
                </a:lnTo>
                <a:lnTo>
                  <a:pt x="138" y="54"/>
                </a:lnTo>
                <a:lnTo>
                  <a:pt x="138" y="54"/>
                </a:lnTo>
                <a:lnTo>
                  <a:pt x="138" y="54"/>
                </a:lnTo>
                <a:lnTo>
                  <a:pt x="138" y="54"/>
                </a:lnTo>
                <a:lnTo>
                  <a:pt x="144" y="54"/>
                </a:lnTo>
                <a:lnTo>
                  <a:pt x="144" y="60"/>
                </a:lnTo>
                <a:lnTo>
                  <a:pt x="144" y="60"/>
                </a:lnTo>
                <a:lnTo>
                  <a:pt x="144" y="60"/>
                </a:lnTo>
                <a:lnTo>
                  <a:pt x="144" y="60"/>
                </a:lnTo>
                <a:lnTo>
                  <a:pt x="144" y="60"/>
                </a:lnTo>
                <a:lnTo>
                  <a:pt x="150" y="60"/>
                </a:lnTo>
                <a:lnTo>
                  <a:pt x="150" y="66"/>
                </a:lnTo>
                <a:lnTo>
                  <a:pt x="150" y="66"/>
                </a:lnTo>
                <a:lnTo>
                  <a:pt x="156" y="66"/>
                </a:lnTo>
                <a:lnTo>
                  <a:pt x="156" y="66"/>
                </a:lnTo>
                <a:lnTo>
                  <a:pt x="156" y="66"/>
                </a:lnTo>
                <a:lnTo>
                  <a:pt x="162" y="60"/>
                </a:lnTo>
                <a:lnTo>
                  <a:pt x="162" y="60"/>
                </a:lnTo>
                <a:lnTo>
                  <a:pt x="162" y="66"/>
                </a:lnTo>
                <a:lnTo>
                  <a:pt x="162" y="66"/>
                </a:lnTo>
                <a:lnTo>
                  <a:pt x="162" y="66"/>
                </a:lnTo>
                <a:lnTo>
                  <a:pt x="168" y="72"/>
                </a:lnTo>
                <a:lnTo>
                  <a:pt x="168" y="72"/>
                </a:lnTo>
                <a:lnTo>
                  <a:pt x="162" y="72"/>
                </a:lnTo>
                <a:lnTo>
                  <a:pt x="162" y="78"/>
                </a:lnTo>
                <a:lnTo>
                  <a:pt x="162" y="78"/>
                </a:lnTo>
                <a:lnTo>
                  <a:pt x="162" y="78"/>
                </a:lnTo>
                <a:lnTo>
                  <a:pt x="162" y="84"/>
                </a:lnTo>
                <a:lnTo>
                  <a:pt x="168" y="84"/>
                </a:lnTo>
                <a:lnTo>
                  <a:pt x="168" y="84"/>
                </a:lnTo>
                <a:lnTo>
                  <a:pt x="168" y="90"/>
                </a:lnTo>
                <a:lnTo>
                  <a:pt x="168" y="90"/>
                </a:lnTo>
                <a:lnTo>
                  <a:pt x="168" y="90"/>
                </a:lnTo>
                <a:lnTo>
                  <a:pt x="168" y="90"/>
                </a:lnTo>
                <a:lnTo>
                  <a:pt x="168" y="90"/>
                </a:lnTo>
                <a:lnTo>
                  <a:pt x="168" y="90"/>
                </a:lnTo>
                <a:lnTo>
                  <a:pt x="174" y="90"/>
                </a:lnTo>
                <a:lnTo>
                  <a:pt x="174" y="90"/>
                </a:lnTo>
                <a:lnTo>
                  <a:pt x="174" y="96"/>
                </a:lnTo>
                <a:lnTo>
                  <a:pt x="174" y="96"/>
                </a:lnTo>
                <a:lnTo>
                  <a:pt x="174" y="96"/>
                </a:lnTo>
                <a:lnTo>
                  <a:pt x="174" y="96"/>
                </a:lnTo>
                <a:lnTo>
                  <a:pt x="168" y="96"/>
                </a:lnTo>
                <a:lnTo>
                  <a:pt x="174" y="102"/>
                </a:lnTo>
                <a:lnTo>
                  <a:pt x="168" y="102"/>
                </a:lnTo>
                <a:lnTo>
                  <a:pt x="174" y="102"/>
                </a:lnTo>
                <a:lnTo>
                  <a:pt x="174" y="102"/>
                </a:lnTo>
                <a:lnTo>
                  <a:pt x="174" y="102"/>
                </a:lnTo>
                <a:lnTo>
                  <a:pt x="168" y="108"/>
                </a:lnTo>
                <a:lnTo>
                  <a:pt x="174" y="108"/>
                </a:lnTo>
                <a:lnTo>
                  <a:pt x="174" y="108"/>
                </a:lnTo>
                <a:lnTo>
                  <a:pt x="174" y="108"/>
                </a:lnTo>
                <a:lnTo>
                  <a:pt x="174" y="108"/>
                </a:lnTo>
                <a:lnTo>
                  <a:pt x="174" y="108"/>
                </a:lnTo>
                <a:lnTo>
                  <a:pt x="174" y="108"/>
                </a:lnTo>
                <a:lnTo>
                  <a:pt x="174" y="114"/>
                </a:lnTo>
                <a:lnTo>
                  <a:pt x="174" y="114"/>
                </a:lnTo>
                <a:lnTo>
                  <a:pt x="174" y="114"/>
                </a:lnTo>
                <a:lnTo>
                  <a:pt x="174" y="114"/>
                </a:lnTo>
                <a:lnTo>
                  <a:pt x="174" y="114"/>
                </a:lnTo>
                <a:lnTo>
                  <a:pt x="174" y="114"/>
                </a:lnTo>
                <a:lnTo>
                  <a:pt x="174" y="114"/>
                </a:lnTo>
                <a:lnTo>
                  <a:pt x="180" y="114"/>
                </a:lnTo>
                <a:lnTo>
                  <a:pt x="180" y="114"/>
                </a:lnTo>
                <a:lnTo>
                  <a:pt x="180" y="114"/>
                </a:lnTo>
                <a:lnTo>
                  <a:pt x="180" y="114"/>
                </a:lnTo>
                <a:lnTo>
                  <a:pt x="180" y="114"/>
                </a:lnTo>
                <a:lnTo>
                  <a:pt x="180" y="114"/>
                </a:lnTo>
                <a:lnTo>
                  <a:pt x="174" y="120"/>
                </a:lnTo>
                <a:lnTo>
                  <a:pt x="174" y="120"/>
                </a:lnTo>
                <a:lnTo>
                  <a:pt x="168" y="120"/>
                </a:lnTo>
                <a:lnTo>
                  <a:pt x="168" y="120"/>
                </a:lnTo>
                <a:lnTo>
                  <a:pt x="168" y="120"/>
                </a:lnTo>
                <a:lnTo>
                  <a:pt x="168" y="120"/>
                </a:lnTo>
                <a:lnTo>
                  <a:pt x="168" y="120"/>
                </a:lnTo>
                <a:lnTo>
                  <a:pt x="162" y="120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0"/>
                </a:lnTo>
                <a:lnTo>
                  <a:pt x="156" y="120"/>
                </a:lnTo>
                <a:lnTo>
                  <a:pt x="156" y="120"/>
                </a:lnTo>
                <a:lnTo>
                  <a:pt x="150" y="120"/>
                </a:lnTo>
                <a:lnTo>
                  <a:pt x="150" y="120"/>
                </a:lnTo>
                <a:lnTo>
                  <a:pt x="144" y="120"/>
                </a:lnTo>
                <a:lnTo>
                  <a:pt x="144" y="120"/>
                </a:lnTo>
                <a:lnTo>
                  <a:pt x="144" y="120"/>
                </a:lnTo>
                <a:lnTo>
                  <a:pt x="144" y="120"/>
                </a:lnTo>
                <a:lnTo>
                  <a:pt x="138" y="120"/>
                </a:lnTo>
                <a:lnTo>
                  <a:pt x="132" y="120"/>
                </a:lnTo>
                <a:lnTo>
                  <a:pt x="132" y="120"/>
                </a:lnTo>
                <a:lnTo>
                  <a:pt x="132" y="120"/>
                </a:lnTo>
                <a:lnTo>
                  <a:pt x="132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26" y="126"/>
                </a:lnTo>
                <a:lnTo>
                  <a:pt x="126" y="132"/>
                </a:lnTo>
                <a:lnTo>
                  <a:pt x="126" y="132"/>
                </a:lnTo>
                <a:lnTo>
                  <a:pt x="126" y="132"/>
                </a:lnTo>
                <a:lnTo>
                  <a:pt x="126" y="138"/>
                </a:lnTo>
                <a:lnTo>
                  <a:pt x="126" y="138"/>
                </a:lnTo>
                <a:lnTo>
                  <a:pt x="126" y="138"/>
                </a:lnTo>
                <a:lnTo>
                  <a:pt x="126" y="138"/>
                </a:lnTo>
                <a:lnTo>
                  <a:pt x="120" y="132"/>
                </a:lnTo>
                <a:lnTo>
                  <a:pt x="120" y="132"/>
                </a:lnTo>
                <a:lnTo>
                  <a:pt x="120" y="126"/>
                </a:lnTo>
                <a:lnTo>
                  <a:pt x="114" y="126"/>
                </a:lnTo>
                <a:lnTo>
                  <a:pt x="114" y="126"/>
                </a:lnTo>
                <a:lnTo>
                  <a:pt x="114" y="126"/>
                </a:lnTo>
                <a:lnTo>
                  <a:pt x="114" y="126"/>
                </a:lnTo>
                <a:lnTo>
                  <a:pt x="114" y="126"/>
                </a:lnTo>
                <a:lnTo>
                  <a:pt x="114" y="132"/>
                </a:lnTo>
                <a:lnTo>
                  <a:pt x="114" y="132"/>
                </a:lnTo>
                <a:lnTo>
                  <a:pt x="114" y="132"/>
                </a:lnTo>
                <a:lnTo>
                  <a:pt x="108" y="138"/>
                </a:lnTo>
                <a:lnTo>
                  <a:pt x="108" y="138"/>
                </a:lnTo>
                <a:lnTo>
                  <a:pt x="108" y="138"/>
                </a:lnTo>
                <a:lnTo>
                  <a:pt x="102" y="138"/>
                </a:lnTo>
                <a:lnTo>
                  <a:pt x="102" y="138"/>
                </a:lnTo>
                <a:lnTo>
                  <a:pt x="96" y="138"/>
                </a:lnTo>
                <a:lnTo>
                  <a:pt x="96" y="138"/>
                </a:lnTo>
                <a:lnTo>
                  <a:pt x="96" y="138"/>
                </a:lnTo>
                <a:lnTo>
                  <a:pt x="90" y="138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78" y="126"/>
                </a:lnTo>
                <a:lnTo>
                  <a:pt x="78" y="126"/>
                </a:lnTo>
                <a:lnTo>
                  <a:pt x="78" y="126"/>
                </a:lnTo>
                <a:lnTo>
                  <a:pt x="78" y="126"/>
                </a:lnTo>
                <a:lnTo>
                  <a:pt x="78" y="132"/>
                </a:lnTo>
                <a:lnTo>
                  <a:pt x="78" y="132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2"/>
                </a:lnTo>
                <a:lnTo>
                  <a:pt x="72" y="132"/>
                </a:lnTo>
                <a:lnTo>
                  <a:pt x="66" y="132"/>
                </a:lnTo>
                <a:lnTo>
                  <a:pt x="66" y="132"/>
                </a:lnTo>
                <a:lnTo>
                  <a:pt x="66" y="138"/>
                </a:lnTo>
                <a:lnTo>
                  <a:pt x="66" y="138"/>
                </a:lnTo>
                <a:lnTo>
                  <a:pt x="66" y="138"/>
                </a:lnTo>
                <a:lnTo>
                  <a:pt x="60" y="138"/>
                </a:lnTo>
                <a:lnTo>
                  <a:pt x="60" y="132"/>
                </a:lnTo>
                <a:lnTo>
                  <a:pt x="54" y="138"/>
                </a:lnTo>
                <a:lnTo>
                  <a:pt x="54" y="138"/>
                </a:lnTo>
                <a:lnTo>
                  <a:pt x="48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26"/>
                </a:lnTo>
                <a:lnTo>
                  <a:pt x="42" y="126"/>
                </a:lnTo>
                <a:lnTo>
                  <a:pt x="42" y="120"/>
                </a:lnTo>
                <a:lnTo>
                  <a:pt x="42" y="120"/>
                </a:lnTo>
                <a:lnTo>
                  <a:pt x="36" y="120"/>
                </a:lnTo>
                <a:lnTo>
                  <a:pt x="36" y="114"/>
                </a:lnTo>
                <a:lnTo>
                  <a:pt x="42" y="114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0" y="102"/>
                </a:lnTo>
                <a:lnTo>
                  <a:pt x="24" y="108"/>
                </a:lnTo>
                <a:lnTo>
                  <a:pt x="24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0"/>
                </a:lnTo>
                <a:lnTo>
                  <a:pt x="6" y="90"/>
                </a:lnTo>
                <a:lnTo>
                  <a:pt x="0" y="90"/>
                </a:lnTo>
                <a:lnTo>
                  <a:pt x="0" y="90"/>
                </a:lnTo>
                <a:lnTo>
                  <a:pt x="0" y="84"/>
                </a:lnTo>
                <a:lnTo>
                  <a:pt x="0" y="78"/>
                </a:lnTo>
                <a:lnTo>
                  <a:pt x="6" y="78"/>
                </a:lnTo>
                <a:lnTo>
                  <a:pt x="6" y="78"/>
                </a:lnTo>
                <a:lnTo>
                  <a:pt x="0" y="72"/>
                </a:lnTo>
                <a:lnTo>
                  <a:pt x="0" y="72"/>
                </a:lnTo>
                <a:lnTo>
                  <a:pt x="0" y="66"/>
                </a:lnTo>
                <a:lnTo>
                  <a:pt x="0" y="6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23" name="Freeform 256"/>
          <p:cNvSpPr>
            <a:spLocks/>
          </p:cNvSpPr>
          <p:nvPr/>
        </p:nvSpPr>
        <p:spPr bwMode="auto">
          <a:xfrm>
            <a:off x="7307962" y="3980826"/>
            <a:ext cx="109209" cy="77089"/>
          </a:xfrm>
          <a:custGeom>
            <a:avLst/>
            <a:gdLst>
              <a:gd name="T0" fmla="*/ 6 w 102"/>
              <a:gd name="T1" fmla="*/ 6 h 72"/>
              <a:gd name="T2" fmla="*/ 18 w 102"/>
              <a:gd name="T3" fmla="*/ 6 h 72"/>
              <a:gd name="T4" fmla="*/ 24 w 102"/>
              <a:gd name="T5" fmla="*/ 6 h 72"/>
              <a:gd name="T6" fmla="*/ 30 w 102"/>
              <a:gd name="T7" fmla="*/ 6 h 72"/>
              <a:gd name="T8" fmla="*/ 30 w 102"/>
              <a:gd name="T9" fmla="*/ 6 h 72"/>
              <a:gd name="T10" fmla="*/ 30 w 102"/>
              <a:gd name="T11" fmla="*/ 6 h 72"/>
              <a:gd name="T12" fmla="*/ 36 w 102"/>
              <a:gd name="T13" fmla="*/ 0 h 72"/>
              <a:gd name="T14" fmla="*/ 42 w 102"/>
              <a:gd name="T15" fmla="*/ 0 h 72"/>
              <a:gd name="T16" fmla="*/ 48 w 102"/>
              <a:gd name="T17" fmla="*/ 6 h 72"/>
              <a:gd name="T18" fmla="*/ 48 w 102"/>
              <a:gd name="T19" fmla="*/ 6 h 72"/>
              <a:gd name="T20" fmla="*/ 54 w 102"/>
              <a:gd name="T21" fmla="*/ 6 h 72"/>
              <a:gd name="T22" fmla="*/ 60 w 102"/>
              <a:gd name="T23" fmla="*/ 0 h 72"/>
              <a:gd name="T24" fmla="*/ 60 w 102"/>
              <a:gd name="T25" fmla="*/ 0 h 72"/>
              <a:gd name="T26" fmla="*/ 66 w 102"/>
              <a:gd name="T27" fmla="*/ 0 h 72"/>
              <a:gd name="T28" fmla="*/ 78 w 102"/>
              <a:gd name="T29" fmla="*/ 6 h 72"/>
              <a:gd name="T30" fmla="*/ 78 w 102"/>
              <a:gd name="T31" fmla="*/ 6 h 72"/>
              <a:gd name="T32" fmla="*/ 78 w 102"/>
              <a:gd name="T33" fmla="*/ 6 h 72"/>
              <a:gd name="T34" fmla="*/ 78 w 102"/>
              <a:gd name="T35" fmla="*/ 12 h 72"/>
              <a:gd name="T36" fmla="*/ 84 w 102"/>
              <a:gd name="T37" fmla="*/ 12 h 72"/>
              <a:gd name="T38" fmla="*/ 84 w 102"/>
              <a:gd name="T39" fmla="*/ 18 h 72"/>
              <a:gd name="T40" fmla="*/ 84 w 102"/>
              <a:gd name="T41" fmla="*/ 24 h 72"/>
              <a:gd name="T42" fmla="*/ 90 w 102"/>
              <a:gd name="T43" fmla="*/ 24 h 72"/>
              <a:gd name="T44" fmla="*/ 96 w 102"/>
              <a:gd name="T45" fmla="*/ 30 h 72"/>
              <a:gd name="T46" fmla="*/ 96 w 102"/>
              <a:gd name="T47" fmla="*/ 30 h 72"/>
              <a:gd name="T48" fmla="*/ 90 w 102"/>
              <a:gd name="T49" fmla="*/ 36 h 72"/>
              <a:gd name="T50" fmla="*/ 84 w 102"/>
              <a:gd name="T51" fmla="*/ 36 h 72"/>
              <a:gd name="T52" fmla="*/ 84 w 102"/>
              <a:gd name="T53" fmla="*/ 42 h 72"/>
              <a:gd name="T54" fmla="*/ 84 w 102"/>
              <a:gd name="T55" fmla="*/ 42 h 72"/>
              <a:gd name="T56" fmla="*/ 84 w 102"/>
              <a:gd name="T57" fmla="*/ 48 h 72"/>
              <a:gd name="T58" fmla="*/ 90 w 102"/>
              <a:gd name="T59" fmla="*/ 54 h 72"/>
              <a:gd name="T60" fmla="*/ 96 w 102"/>
              <a:gd name="T61" fmla="*/ 54 h 72"/>
              <a:gd name="T62" fmla="*/ 102 w 102"/>
              <a:gd name="T63" fmla="*/ 54 h 72"/>
              <a:gd name="T64" fmla="*/ 102 w 102"/>
              <a:gd name="T65" fmla="*/ 54 h 72"/>
              <a:gd name="T66" fmla="*/ 102 w 102"/>
              <a:gd name="T67" fmla="*/ 60 h 72"/>
              <a:gd name="T68" fmla="*/ 96 w 102"/>
              <a:gd name="T69" fmla="*/ 66 h 72"/>
              <a:gd name="T70" fmla="*/ 90 w 102"/>
              <a:gd name="T71" fmla="*/ 66 h 72"/>
              <a:gd name="T72" fmla="*/ 90 w 102"/>
              <a:gd name="T73" fmla="*/ 66 h 72"/>
              <a:gd name="T74" fmla="*/ 84 w 102"/>
              <a:gd name="T75" fmla="*/ 66 h 72"/>
              <a:gd name="T76" fmla="*/ 84 w 102"/>
              <a:gd name="T77" fmla="*/ 66 h 72"/>
              <a:gd name="T78" fmla="*/ 78 w 102"/>
              <a:gd name="T79" fmla="*/ 66 h 72"/>
              <a:gd name="T80" fmla="*/ 78 w 102"/>
              <a:gd name="T81" fmla="*/ 72 h 72"/>
              <a:gd name="T82" fmla="*/ 72 w 102"/>
              <a:gd name="T83" fmla="*/ 72 h 72"/>
              <a:gd name="T84" fmla="*/ 72 w 102"/>
              <a:gd name="T85" fmla="*/ 66 h 72"/>
              <a:gd name="T86" fmla="*/ 72 w 102"/>
              <a:gd name="T87" fmla="*/ 60 h 72"/>
              <a:gd name="T88" fmla="*/ 66 w 102"/>
              <a:gd name="T89" fmla="*/ 54 h 72"/>
              <a:gd name="T90" fmla="*/ 66 w 102"/>
              <a:gd name="T91" fmla="*/ 60 h 72"/>
              <a:gd name="T92" fmla="*/ 66 w 102"/>
              <a:gd name="T93" fmla="*/ 66 h 72"/>
              <a:gd name="T94" fmla="*/ 60 w 102"/>
              <a:gd name="T95" fmla="*/ 66 h 72"/>
              <a:gd name="T96" fmla="*/ 60 w 102"/>
              <a:gd name="T97" fmla="*/ 60 h 72"/>
              <a:gd name="T98" fmla="*/ 60 w 102"/>
              <a:gd name="T99" fmla="*/ 54 h 72"/>
              <a:gd name="T100" fmla="*/ 60 w 102"/>
              <a:gd name="T101" fmla="*/ 54 h 72"/>
              <a:gd name="T102" fmla="*/ 48 w 102"/>
              <a:gd name="T103" fmla="*/ 54 h 72"/>
              <a:gd name="T104" fmla="*/ 42 w 102"/>
              <a:gd name="T105" fmla="*/ 54 h 72"/>
              <a:gd name="T106" fmla="*/ 42 w 102"/>
              <a:gd name="T107" fmla="*/ 48 h 72"/>
              <a:gd name="T108" fmla="*/ 30 w 102"/>
              <a:gd name="T109" fmla="*/ 48 h 72"/>
              <a:gd name="T110" fmla="*/ 24 w 102"/>
              <a:gd name="T111" fmla="*/ 36 h 72"/>
              <a:gd name="T112" fmla="*/ 18 w 102"/>
              <a:gd name="T113" fmla="*/ 36 h 72"/>
              <a:gd name="T114" fmla="*/ 12 w 102"/>
              <a:gd name="T115" fmla="*/ 30 h 72"/>
              <a:gd name="T116" fmla="*/ 6 w 102"/>
              <a:gd name="T117" fmla="*/ 24 h 72"/>
              <a:gd name="T118" fmla="*/ 0 w 102"/>
              <a:gd name="T119" fmla="*/ 18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2" h="72">
                <a:moveTo>
                  <a:pt x="0" y="12"/>
                </a:moveTo>
                <a:lnTo>
                  <a:pt x="0" y="12"/>
                </a:lnTo>
                <a:lnTo>
                  <a:pt x="6" y="12"/>
                </a:lnTo>
                <a:lnTo>
                  <a:pt x="6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8" y="6"/>
                </a:lnTo>
                <a:lnTo>
                  <a:pt x="18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0"/>
                </a:lnTo>
                <a:lnTo>
                  <a:pt x="36" y="6"/>
                </a:lnTo>
                <a:lnTo>
                  <a:pt x="36" y="0"/>
                </a:lnTo>
                <a:lnTo>
                  <a:pt x="36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6"/>
                </a:lnTo>
                <a:lnTo>
                  <a:pt x="48" y="6"/>
                </a:lnTo>
                <a:lnTo>
                  <a:pt x="48" y="0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0"/>
                </a:lnTo>
                <a:lnTo>
                  <a:pt x="48" y="6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6"/>
                </a:lnTo>
                <a:lnTo>
                  <a:pt x="54" y="6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6" y="0"/>
                </a:lnTo>
                <a:lnTo>
                  <a:pt x="66" y="6"/>
                </a:lnTo>
                <a:lnTo>
                  <a:pt x="66" y="0"/>
                </a:lnTo>
                <a:lnTo>
                  <a:pt x="72" y="6"/>
                </a:lnTo>
                <a:lnTo>
                  <a:pt x="72" y="0"/>
                </a:lnTo>
                <a:lnTo>
                  <a:pt x="72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24"/>
                </a:lnTo>
                <a:lnTo>
                  <a:pt x="84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6" y="30"/>
                </a:lnTo>
                <a:lnTo>
                  <a:pt x="90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0" y="30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96" y="60"/>
                </a:lnTo>
                <a:lnTo>
                  <a:pt x="96" y="60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0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0"/>
                </a:lnTo>
                <a:lnTo>
                  <a:pt x="90" y="60"/>
                </a:lnTo>
                <a:lnTo>
                  <a:pt x="84" y="60"/>
                </a:lnTo>
                <a:lnTo>
                  <a:pt x="84" y="66"/>
                </a:lnTo>
                <a:lnTo>
                  <a:pt x="84" y="66"/>
                </a:lnTo>
                <a:lnTo>
                  <a:pt x="84" y="60"/>
                </a:lnTo>
                <a:lnTo>
                  <a:pt x="84" y="60"/>
                </a:lnTo>
                <a:lnTo>
                  <a:pt x="84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2" y="72"/>
                </a:lnTo>
                <a:lnTo>
                  <a:pt x="72" y="72"/>
                </a:lnTo>
                <a:lnTo>
                  <a:pt x="72" y="66"/>
                </a:lnTo>
                <a:lnTo>
                  <a:pt x="78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6"/>
                </a:lnTo>
                <a:lnTo>
                  <a:pt x="66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48" y="54"/>
                </a:lnTo>
                <a:lnTo>
                  <a:pt x="48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48"/>
                </a:lnTo>
                <a:lnTo>
                  <a:pt x="42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0" y="48"/>
                </a:lnTo>
                <a:lnTo>
                  <a:pt x="30" y="42"/>
                </a:lnTo>
                <a:lnTo>
                  <a:pt x="24" y="42"/>
                </a:lnTo>
                <a:lnTo>
                  <a:pt x="24" y="42"/>
                </a:lnTo>
                <a:lnTo>
                  <a:pt x="24" y="36"/>
                </a:lnTo>
                <a:lnTo>
                  <a:pt x="24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0" y="18"/>
                </a:lnTo>
                <a:lnTo>
                  <a:pt x="0" y="18"/>
                </a:lnTo>
                <a:lnTo>
                  <a:pt x="0" y="1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24" name="Freeform 257"/>
          <p:cNvSpPr>
            <a:spLocks/>
          </p:cNvSpPr>
          <p:nvPr/>
        </p:nvSpPr>
        <p:spPr bwMode="auto">
          <a:xfrm>
            <a:off x="7937519" y="3441202"/>
            <a:ext cx="141329" cy="173451"/>
          </a:xfrm>
          <a:custGeom>
            <a:avLst/>
            <a:gdLst>
              <a:gd name="T0" fmla="*/ 12 w 132"/>
              <a:gd name="T1" fmla="*/ 114 h 162"/>
              <a:gd name="T2" fmla="*/ 18 w 132"/>
              <a:gd name="T3" fmla="*/ 108 h 162"/>
              <a:gd name="T4" fmla="*/ 30 w 132"/>
              <a:gd name="T5" fmla="*/ 108 h 162"/>
              <a:gd name="T6" fmla="*/ 36 w 132"/>
              <a:gd name="T7" fmla="*/ 108 h 162"/>
              <a:gd name="T8" fmla="*/ 36 w 132"/>
              <a:gd name="T9" fmla="*/ 96 h 162"/>
              <a:gd name="T10" fmla="*/ 30 w 132"/>
              <a:gd name="T11" fmla="*/ 84 h 162"/>
              <a:gd name="T12" fmla="*/ 36 w 132"/>
              <a:gd name="T13" fmla="*/ 78 h 162"/>
              <a:gd name="T14" fmla="*/ 30 w 132"/>
              <a:gd name="T15" fmla="*/ 72 h 162"/>
              <a:gd name="T16" fmla="*/ 24 w 132"/>
              <a:gd name="T17" fmla="*/ 72 h 162"/>
              <a:gd name="T18" fmla="*/ 18 w 132"/>
              <a:gd name="T19" fmla="*/ 72 h 162"/>
              <a:gd name="T20" fmla="*/ 6 w 132"/>
              <a:gd name="T21" fmla="*/ 66 h 162"/>
              <a:gd name="T22" fmla="*/ 0 w 132"/>
              <a:gd name="T23" fmla="*/ 60 h 162"/>
              <a:gd name="T24" fmla="*/ 6 w 132"/>
              <a:gd name="T25" fmla="*/ 54 h 162"/>
              <a:gd name="T26" fmla="*/ 6 w 132"/>
              <a:gd name="T27" fmla="*/ 48 h 162"/>
              <a:gd name="T28" fmla="*/ 6 w 132"/>
              <a:gd name="T29" fmla="*/ 36 h 162"/>
              <a:gd name="T30" fmla="*/ 0 w 132"/>
              <a:gd name="T31" fmla="*/ 36 h 162"/>
              <a:gd name="T32" fmla="*/ 12 w 132"/>
              <a:gd name="T33" fmla="*/ 30 h 162"/>
              <a:gd name="T34" fmla="*/ 18 w 132"/>
              <a:gd name="T35" fmla="*/ 24 h 162"/>
              <a:gd name="T36" fmla="*/ 24 w 132"/>
              <a:gd name="T37" fmla="*/ 18 h 162"/>
              <a:gd name="T38" fmla="*/ 36 w 132"/>
              <a:gd name="T39" fmla="*/ 12 h 162"/>
              <a:gd name="T40" fmla="*/ 42 w 132"/>
              <a:gd name="T41" fmla="*/ 6 h 162"/>
              <a:gd name="T42" fmla="*/ 48 w 132"/>
              <a:gd name="T43" fmla="*/ 12 h 162"/>
              <a:gd name="T44" fmla="*/ 60 w 132"/>
              <a:gd name="T45" fmla="*/ 6 h 162"/>
              <a:gd name="T46" fmla="*/ 66 w 132"/>
              <a:gd name="T47" fmla="*/ 6 h 162"/>
              <a:gd name="T48" fmla="*/ 78 w 132"/>
              <a:gd name="T49" fmla="*/ 0 h 162"/>
              <a:gd name="T50" fmla="*/ 84 w 132"/>
              <a:gd name="T51" fmla="*/ 6 h 162"/>
              <a:gd name="T52" fmla="*/ 90 w 132"/>
              <a:gd name="T53" fmla="*/ 6 h 162"/>
              <a:gd name="T54" fmla="*/ 102 w 132"/>
              <a:gd name="T55" fmla="*/ 18 h 162"/>
              <a:gd name="T56" fmla="*/ 90 w 132"/>
              <a:gd name="T57" fmla="*/ 24 h 162"/>
              <a:gd name="T58" fmla="*/ 84 w 132"/>
              <a:gd name="T59" fmla="*/ 42 h 162"/>
              <a:gd name="T60" fmla="*/ 84 w 132"/>
              <a:gd name="T61" fmla="*/ 60 h 162"/>
              <a:gd name="T62" fmla="*/ 84 w 132"/>
              <a:gd name="T63" fmla="*/ 72 h 162"/>
              <a:gd name="T64" fmla="*/ 78 w 132"/>
              <a:gd name="T65" fmla="*/ 78 h 162"/>
              <a:gd name="T66" fmla="*/ 84 w 132"/>
              <a:gd name="T67" fmla="*/ 84 h 162"/>
              <a:gd name="T68" fmla="*/ 96 w 132"/>
              <a:gd name="T69" fmla="*/ 96 h 162"/>
              <a:gd name="T70" fmla="*/ 102 w 132"/>
              <a:gd name="T71" fmla="*/ 102 h 162"/>
              <a:gd name="T72" fmla="*/ 108 w 132"/>
              <a:gd name="T73" fmla="*/ 108 h 162"/>
              <a:gd name="T74" fmla="*/ 114 w 132"/>
              <a:gd name="T75" fmla="*/ 114 h 162"/>
              <a:gd name="T76" fmla="*/ 120 w 132"/>
              <a:gd name="T77" fmla="*/ 126 h 162"/>
              <a:gd name="T78" fmla="*/ 132 w 132"/>
              <a:gd name="T79" fmla="*/ 132 h 162"/>
              <a:gd name="T80" fmla="*/ 132 w 132"/>
              <a:gd name="T81" fmla="*/ 144 h 162"/>
              <a:gd name="T82" fmla="*/ 120 w 132"/>
              <a:gd name="T83" fmla="*/ 156 h 162"/>
              <a:gd name="T84" fmla="*/ 108 w 132"/>
              <a:gd name="T85" fmla="*/ 150 h 162"/>
              <a:gd name="T86" fmla="*/ 96 w 132"/>
              <a:gd name="T87" fmla="*/ 150 h 162"/>
              <a:gd name="T88" fmla="*/ 84 w 132"/>
              <a:gd name="T89" fmla="*/ 150 h 162"/>
              <a:gd name="T90" fmla="*/ 78 w 132"/>
              <a:gd name="T91" fmla="*/ 156 h 162"/>
              <a:gd name="T92" fmla="*/ 66 w 132"/>
              <a:gd name="T93" fmla="*/ 162 h 162"/>
              <a:gd name="T94" fmla="*/ 54 w 132"/>
              <a:gd name="T95" fmla="*/ 156 h 162"/>
              <a:gd name="T96" fmla="*/ 48 w 132"/>
              <a:gd name="T97" fmla="*/ 156 h 162"/>
              <a:gd name="T98" fmla="*/ 42 w 132"/>
              <a:gd name="T99" fmla="*/ 156 h 162"/>
              <a:gd name="T100" fmla="*/ 36 w 132"/>
              <a:gd name="T101" fmla="*/ 156 h 162"/>
              <a:gd name="T102" fmla="*/ 24 w 132"/>
              <a:gd name="T103" fmla="*/ 156 h 162"/>
              <a:gd name="T104" fmla="*/ 18 w 132"/>
              <a:gd name="T105" fmla="*/ 162 h 162"/>
              <a:gd name="T106" fmla="*/ 6 w 132"/>
              <a:gd name="T107" fmla="*/ 150 h 162"/>
              <a:gd name="T108" fmla="*/ 12 w 132"/>
              <a:gd name="T109" fmla="*/ 144 h 162"/>
              <a:gd name="T110" fmla="*/ 18 w 132"/>
              <a:gd name="T111" fmla="*/ 138 h 162"/>
              <a:gd name="T112" fmla="*/ 12 w 132"/>
              <a:gd name="T113" fmla="*/ 132 h 162"/>
              <a:gd name="T114" fmla="*/ 12 w 132"/>
              <a:gd name="T115" fmla="*/ 126 h 162"/>
              <a:gd name="T116" fmla="*/ 6 w 132"/>
              <a:gd name="T117" fmla="*/ 114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32" h="162">
                <a:moveTo>
                  <a:pt x="0" y="114"/>
                </a:moveTo>
                <a:lnTo>
                  <a:pt x="0" y="108"/>
                </a:lnTo>
                <a:lnTo>
                  <a:pt x="0" y="108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2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2"/>
                </a:lnTo>
                <a:lnTo>
                  <a:pt x="36" y="102"/>
                </a:lnTo>
                <a:lnTo>
                  <a:pt x="30" y="102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0" y="84"/>
                </a:lnTo>
                <a:lnTo>
                  <a:pt x="30" y="78"/>
                </a:lnTo>
                <a:lnTo>
                  <a:pt x="36" y="78"/>
                </a:lnTo>
                <a:lnTo>
                  <a:pt x="36" y="78"/>
                </a:lnTo>
                <a:lnTo>
                  <a:pt x="30" y="78"/>
                </a:lnTo>
                <a:lnTo>
                  <a:pt x="30" y="72"/>
                </a:lnTo>
                <a:lnTo>
                  <a:pt x="36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8"/>
                </a:lnTo>
                <a:lnTo>
                  <a:pt x="30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66"/>
                </a:lnTo>
                <a:lnTo>
                  <a:pt x="12" y="72"/>
                </a:lnTo>
                <a:lnTo>
                  <a:pt x="6" y="72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0"/>
                </a:lnTo>
                <a:lnTo>
                  <a:pt x="6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12" y="30"/>
                </a:lnTo>
                <a:lnTo>
                  <a:pt x="12" y="30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24" y="24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2"/>
                </a:lnTo>
                <a:lnTo>
                  <a:pt x="30" y="12"/>
                </a:lnTo>
                <a:lnTo>
                  <a:pt x="36" y="12"/>
                </a:lnTo>
                <a:lnTo>
                  <a:pt x="36" y="12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12"/>
                </a:lnTo>
                <a:lnTo>
                  <a:pt x="66" y="12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6"/>
                </a:lnTo>
                <a:lnTo>
                  <a:pt x="84" y="6"/>
                </a:lnTo>
                <a:lnTo>
                  <a:pt x="84" y="6"/>
                </a:lnTo>
                <a:lnTo>
                  <a:pt x="84" y="0"/>
                </a:lnTo>
                <a:lnTo>
                  <a:pt x="84" y="0"/>
                </a:lnTo>
                <a:lnTo>
                  <a:pt x="84" y="6"/>
                </a:lnTo>
                <a:lnTo>
                  <a:pt x="84" y="0"/>
                </a:lnTo>
                <a:lnTo>
                  <a:pt x="84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12"/>
                </a:lnTo>
                <a:lnTo>
                  <a:pt x="102" y="12"/>
                </a:lnTo>
                <a:lnTo>
                  <a:pt x="102" y="12"/>
                </a:lnTo>
                <a:lnTo>
                  <a:pt x="96" y="12"/>
                </a:lnTo>
                <a:lnTo>
                  <a:pt x="102" y="12"/>
                </a:lnTo>
                <a:lnTo>
                  <a:pt x="102" y="18"/>
                </a:lnTo>
                <a:lnTo>
                  <a:pt x="102" y="18"/>
                </a:lnTo>
                <a:lnTo>
                  <a:pt x="96" y="18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8"/>
                </a:lnTo>
                <a:lnTo>
                  <a:pt x="90" y="18"/>
                </a:lnTo>
                <a:lnTo>
                  <a:pt x="90" y="24"/>
                </a:lnTo>
                <a:lnTo>
                  <a:pt x="90" y="24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6"/>
                </a:lnTo>
                <a:lnTo>
                  <a:pt x="84" y="36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6" y="96"/>
                </a:lnTo>
                <a:lnTo>
                  <a:pt x="96" y="96"/>
                </a:lnTo>
                <a:lnTo>
                  <a:pt x="96" y="96"/>
                </a:lnTo>
                <a:lnTo>
                  <a:pt x="96" y="96"/>
                </a:lnTo>
                <a:lnTo>
                  <a:pt x="96" y="96"/>
                </a:lnTo>
                <a:lnTo>
                  <a:pt x="96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20" y="114"/>
                </a:lnTo>
                <a:lnTo>
                  <a:pt x="120" y="120"/>
                </a:lnTo>
                <a:lnTo>
                  <a:pt x="120" y="120"/>
                </a:lnTo>
                <a:lnTo>
                  <a:pt x="120" y="120"/>
                </a:lnTo>
                <a:lnTo>
                  <a:pt x="120" y="120"/>
                </a:lnTo>
                <a:lnTo>
                  <a:pt x="120" y="126"/>
                </a:lnTo>
                <a:lnTo>
                  <a:pt x="120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32"/>
                </a:lnTo>
                <a:lnTo>
                  <a:pt x="132" y="132"/>
                </a:lnTo>
                <a:lnTo>
                  <a:pt x="132" y="132"/>
                </a:lnTo>
                <a:lnTo>
                  <a:pt x="132" y="138"/>
                </a:lnTo>
                <a:lnTo>
                  <a:pt x="132" y="138"/>
                </a:lnTo>
                <a:lnTo>
                  <a:pt x="132" y="138"/>
                </a:lnTo>
                <a:lnTo>
                  <a:pt x="132" y="138"/>
                </a:lnTo>
                <a:lnTo>
                  <a:pt x="132" y="138"/>
                </a:lnTo>
                <a:lnTo>
                  <a:pt x="132" y="138"/>
                </a:lnTo>
                <a:lnTo>
                  <a:pt x="132" y="138"/>
                </a:lnTo>
                <a:lnTo>
                  <a:pt x="132" y="144"/>
                </a:lnTo>
                <a:lnTo>
                  <a:pt x="132" y="144"/>
                </a:lnTo>
                <a:lnTo>
                  <a:pt x="126" y="150"/>
                </a:lnTo>
                <a:lnTo>
                  <a:pt x="126" y="150"/>
                </a:lnTo>
                <a:lnTo>
                  <a:pt x="126" y="150"/>
                </a:lnTo>
                <a:lnTo>
                  <a:pt x="126" y="156"/>
                </a:lnTo>
                <a:lnTo>
                  <a:pt x="126" y="156"/>
                </a:lnTo>
                <a:lnTo>
                  <a:pt x="126" y="156"/>
                </a:lnTo>
                <a:lnTo>
                  <a:pt x="126" y="156"/>
                </a:lnTo>
                <a:lnTo>
                  <a:pt x="120" y="156"/>
                </a:lnTo>
                <a:lnTo>
                  <a:pt x="120" y="156"/>
                </a:lnTo>
                <a:lnTo>
                  <a:pt x="120" y="156"/>
                </a:lnTo>
                <a:lnTo>
                  <a:pt x="120" y="150"/>
                </a:lnTo>
                <a:lnTo>
                  <a:pt x="120" y="150"/>
                </a:lnTo>
                <a:lnTo>
                  <a:pt x="114" y="150"/>
                </a:lnTo>
                <a:lnTo>
                  <a:pt x="114" y="150"/>
                </a:lnTo>
                <a:lnTo>
                  <a:pt x="114" y="150"/>
                </a:lnTo>
                <a:lnTo>
                  <a:pt x="114" y="150"/>
                </a:lnTo>
                <a:lnTo>
                  <a:pt x="114" y="150"/>
                </a:lnTo>
                <a:lnTo>
                  <a:pt x="108" y="150"/>
                </a:lnTo>
                <a:lnTo>
                  <a:pt x="108" y="150"/>
                </a:lnTo>
                <a:lnTo>
                  <a:pt x="108" y="150"/>
                </a:lnTo>
                <a:lnTo>
                  <a:pt x="108" y="150"/>
                </a:lnTo>
                <a:lnTo>
                  <a:pt x="102" y="150"/>
                </a:lnTo>
                <a:lnTo>
                  <a:pt x="102" y="150"/>
                </a:lnTo>
                <a:lnTo>
                  <a:pt x="96" y="150"/>
                </a:lnTo>
                <a:lnTo>
                  <a:pt x="96" y="150"/>
                </a:lnTo>
                <a:lnTo>
                  <a:pt x="96" y="150"/>
                </a:lnTo>
                <a:lnTo>
                  <a:pt x="96" y="150"/>
                </a:lnTo>
                <a:lnTo>
                  <a:pt x="90" y="150"/>
                </a:lnTo>
                <a:lnTo>
                  <a:pt x="90" y="144"/>
                </a:lnTo>
                <a:lnTo>
                  <a:pt x="90" y="144"/>
                </a:lnTo>
                <a:lnTo>
                  <a:pt x="90" y="144"/>
                </a:lnTo>
                <a:lnTo>
                  <a:pt x="84" y="150"/>
                </a:lnTo>
                <a:lnTo>
                  <a:pt x="84" y="150"/>
                </a:lnTo>
                <a:lnTo>
                  <a:pt x="84" y="150"/>
                </a:lnTo>
                <a:lnTo>
                  <a:pt x="84" y="150"/>
                </a:lnTo>
                <a:lnTo>
                  <a:pt x="84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6"/>
                </a:lnTo>
                <a:lnTo>
                  <a:pt x="78" y="156"/>
                </a:lnTo>
                <a:lnTo>
                  <a:pt x="78" y="156"/>
                </a:lnTo>
                <a:lnTo>
                  <a:pt x="78" y="156"/>
                </a:lnTo>
                <a:lnTo>
                  <a:pt x="78" y="156"/>
                </a:lnTo>
                <a:lnTo>
                  <a:pt x="78" y="156"/>
                </a:lnTo>
                <a:lnTo>
                  <a:pt x="72" y="156"/>
                </a:lnTo>
                <a:lnTo>
                  <a:pt x="72" y="162"/>
                </a:lnTo>
                <a:lnTo>
                  <a:pt x="72" y="162"/>
                </a:lnTo>
                <a:lnTo>
                  <a:pt x="72" y="162"/>
                </a:lnTo>
                <a:lnTo>
                  <a:pt x="72" y="162"/>
                </a:lnTo>
                <a:lnTo>
                  <a:pt x="66" y="162"/>
                </a:lnTo>
                <a:lnTo>
                  <a:pt x="66" y="162"/>
                </a:lnTo>
                <a:lnTo>
                  <a:pt x="66" y="162"/>
                </a:lnTo>
                <a:lnTo>
                  <a:pt x="66" y="162"/>
                </a:lnTo>
                <a:lnTo>
                  <a:pt x="66" y="162"/>
                </a:lnTo>
                <a:lnTo>
                  <a:pt x="60" y="162"/>
                </a:lnTo>
                <a:lnTo>
                  <a:pt x="60" y="162"/>
                </a:lnTo>
                <a:lnTo>
                  <a:pt x="60" y="162"/>
                </a:lnTo>
                <a:lnTo>
                  <a:pt x="60" y="162"/>
                </a:lnTo>
                <a:lnTo>
                  <a:pt x="54" y="162"/>
                </a:lnTo>
                <a:lnTo>
                  <a:pt x="54" y="162"/>
                </a:lnTo>
                <a:lnTo>
                  <a:pt x="60" y="156"/>
                </a:lnTo>
                <a:lnTo>
                  <a:pt x="54" y="156"/>
                </a:lnTo>
                <a:lnTo>
                  <a:pt x="54" y="156"/>
                </a:lnTo>
                <a:lnTo>
                  <a:pt x="54" y="156"/>
                </a:lnTo>
                <a:lnTo>
                  <a:pt x="54" y="156"/>
                </a:lnTo>
                <a:lnTo>
                  <a:pt x="54" y="156"/>
                </a:lnTo>
                <a:lnTo>
                  <a:pt x="54" y="156"/>
                </a:lnTo>
                <a:lnTo>
                  <a:pt x="54" y="156"/>
                </a:lnTo>
                <a:lnTo>
                  <a:pt x="54" y="156"/>
                </a:lnTo>
                <a:lnTo>
                  <a:pt x="54" y="156"/>
                </a:lnTo>
                <a:lnTo>
                  <a:pt x="48" y="156"/>
                </a:lnTo>
                <a:lnTo>
                  <a:pt x="48" y="156"/>
                </a:lnTo>
                <a:lnTo>
                  <a:pt x="48" y="156"/>
                </a:lnTo>
                <a:lnTo>
                  <a:pt x="48" y="156"/>
                </a:lnTo>
                <a:lnTo>
                  <a:pt x="48" y="156"/>
                </a:lnTo>
                <a:lnTo>
                  <a:pt x="42" y="156"/>
                </a:lnTo>
                <a:lnTo>
                  <a:pt x="42" y="156"/>
                </a:lnTo>
                <a:lnTo>
                  <a:pt x="42" y="156"/>
                </a:lnTo>
                <a:lnTo>
                  <a:pt x="42" y="156"/>
                </a:lnTo>
                <a:lnTo>
                  <a:pt x="42" y="156"/>
                </a:lnTo>
                <a:lnTo>
                  <a:pt x="42" y="156"/>
                </a:lnTo>
                <a:lnTo>
                  <a:pt x="42" y="156"/>
                </a:lnTo>
                <a:lnTo>
                  <a:pt x="42" y="156"/>
                </a:lnTo>
                <a:lnTo>
                  <a:pt x="36" y="156"/>
                </a:lnTo>
                <a:lnTo>
                  <a:pt x="36" y="156"/>
                </a:lnTo>
                <a:lnTo>
                  <a:pt x="36" y="156"/>
                </a:lnTo>
                <a:lnTo>
                  <a:pt x="36" y="156"/>
                </a:lnTo>
                <a:lnTo>
                  <a:pt x="36" y="156"/>
                </a:lnTo>
                <a:lnTo>
                  <a:pt x="36" y="156"/>
                </a:lnTo>
                <a:lnTo>
                  <a:pt x="30" y="156"/>
                </a:lnTo>
                <a:lnTo>
                  <a:pt x="30" y="156"/>
                </a:lnTo>
                <a:lnTo>
                  <a:pt x="30" y="156"/>
                </a:lnTo>
                <a:lnTo>
                  <a:pt x="24" y="156"/>
                </a:lnTo>
                <a:lnTo>
                  <a:pt x="24" y="156"/>
                </a:lnTo>
                <a:lnTo>
                  <a:pt x="24" y="156"/>
                </a:lnTo>
                <a:lnTo>
                  <a:pt x="24" y="156"/>
                </a:lnTo>
                <a:lnTo>
                  <a:pt x="24" y="156"/>
                </a:lnTo>
                <a:lnTo>
                  <a:pt x="24" y="156"/>
                </a:lnTo>
                <a:lnTo>
                  <a:pt x="24" y="156"/>
                </a:lnTo>
                <a:lnTo>
                  <a:pt x="24" y="156"/>
                </a:lnTo>
                <a:lnTo>
                  <a:pt x="18" y="156"/>
                </a:lnTo>
                <a:lnTo>
                  <a:pt x="18" y="162"/>
                </a:lnTo>
                <a:lnTo>
                  <a:pt x="18" y="162"/>
                </a:lnTo>
                <a:lnTo>
                  <a:pt x="18" y="162"/>
                </a:lnTo>
                <a:lnTo>
                  <a:pt x="18" y="162"/>
                </a:lnTo>
                <a:lnTo>
                  <a:pt x="18" y="162"/>
                </a:lnTo>
                <a:lnTo>
                  <a:pt x="18" y="162"/>
                </a:lnTo>
                <a:lnTo>
                  <a:pt x="18" y="156"/>
                </a:lnTo>
                <a:lnTo>
                  <a:pt x="12" y="156"/>
                </a:lnTo>
                <a:lnTo>
                  <a:pt x="12" y="156"/>
                </a:lnTo>
                <a:lnTo>
                  <a:pt x="12" y="150"/>
                </a:lnTo>
                <a:lnTo>
                  <a:pt x="12" y="150"/>
                </a:lnTo>
                <a:lnTo>
                  <a:pt x="12" y="156"/>
                </a:lnTo>
                <a:lnTo>
                  <a:pt x="6" y="150"/>
                </a:lnTo>
                <a:lnTo>
                  <a:pt x="12" y="150"/>
                </a:lnTo>
                <a:lnTo>
                  <a:pt x="6" y="150"/>
                </a:lnTo>
                <a:lnTo>
                  <a:pt x="6" y="150"/>
                </a:lnTo>
                <a:lnTo>
                  <a:pt x="6" y="150"/>
                </a:lnTo>
                <a:lnTo>
                  <a:pt x="6" y="150"/>
                </a:lnTo>
                <a:lnTo>
                  <a:pt x="6" y="144"/>
                </a:lnTo>
                <a:lnTo>
                  <a:pt x="6" y="144"/>
                </a:lnTo>
                <a:lnTo>
                  <a:pt x="12" y="144"/>
                </a:lnTo>
                <a:lnTo>
                  <a:pt x="12" y="144"/>
                </a:lnTo>
                <a:lnTo>
                  <a:pt x="12" y="144"/>
                </a:lnTo>
                <a:lnTo>
                  <a:pt x="12" y="144"/>
                </a:lnTo>
                <a:lnTo>
                  <a:pt x="12" y="144"/>
                </a:lnTo>
                <a:lnTo>
                  <a:pt x="12" y="138"/>
                </a:lnTo>
                <a:lnTo>
                  <a:pt x="12" y="138"/>
                </a:lnTo>
                <a:lnTo>
                  <a:pt x="18" y="144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6" y="132"/>
                </a:lnTo>
                <a:lnTo>
                  <a:pt x="6" y="132"/>
                </a:lnTo>
                <a:lnTo>
                  <a:pt x="6" y="132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0"/>
                </a:lnTo>
                <a:lnTo>
                  <a:pt x="12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0" y="114"/>
                </a:lnTo>
                <a:lnTo>
                  <a:pt x="0" y="11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25" name="Freeform 258"/>
          <p:cNvSpPr>
            <a:spLocks/>
          </p:cNvSpPr>
          <p:nvPr/>
        </p:nvSpPr>
        <p:spPr bwMode="auto">
          <a:xfrm>
            <a:off x="7712677" y="3190662"/>
            <a:ext cx="205570" cy="211995"/>
          </a:xfrm>
          <a:custGeom>
            <a:avLst/>
            <a:gdLst>
              <a:gd name="T0" fmla="*/ 6 w 192"/>
              <a:gd name="T1" fmla="*/ 72 h 198"/>
              <a:gd name="T2" fmla="*/ 6 w 192"/>
              <a:gd name="T3" fmla="*/ 66 h 198"/>
              <a:gd name="T4" fmla="*/ 6 w 192"/>
              <a:gd name="T5" fmla="*/ 60 h 198"/>
              <a:gd name="T6" fmla="*/ 6 w 192"/>
              <a:gd name="T7" fmla="*/ 48 h 198"/>
              <a:gd name="T8" fmla="*/ 0 w 192"/>
              <a:gd name="T9" fmla="*/ 36 h 198"/>
              <a:gd name="T10" fmla="*/ 6 w 192"/>
              <a:gd name="T11" fmla="*/ 30 h 198"/>
              <a:gd name="T12" fmla="*/ 6 w 192"/>
              <a:gd name="T13" fmla="*/ 24 h 198"/>
              <a:gd name="T14" fmla="*/ 12 w 192"/>
              <a:gd name="T15" fmla="*/ 18 h 198"/>
              <a:gd name="T16" fmla="*/ 24 w 192"/>
              <a:gd name="T17" fmla="*/ 6 h 198"/>
              <a:gd name="T18" fmla="*/ 30 w 192"/>
              <a:gd name="T19" fmla="*/ 12 h 198"/>
              <a:gd name="T20" fmla="*/ 36 w 192"/>
              <a:gd name="T21" fmla="*/ 6 h 198"/>
              <a:gd name="T22" fmla="*/ 48 w 192"/>
              <a:gd name="T23" fmla="*/ 6 h 198"/>
              <a:gd name="T24" fmla="*/ 60 w 192"/>
              <a:gd name="T25" fmla="*/ 12 h 198"/>
              <a:gd name="T26" fmla="*/ 72 w 192"/>
              <a:gd name="T27" fmla="*/ 18 h 198"/>
              <a:gd name="T28" fmla="*/ 84 w 192"/>
              <a:gd name="T29" fmla="*/ 18 h 198"/>
              <a:gd name="T30" fmla="*/ 90 w 192"/>
              <a:gd name="T31" fmla="*/ 18 h 198"/>
              <a:gd name="T32" fmla="*/ 96 w 192"/>
              <a:gd name="T33" fmla="*/ 30 h 198"/>
              <a:gd name="T34" fmla="*/ 114 w 192"/>
              <a:gd name="T35" fmla="*/ 24 h 198"/>
              <a:gd name="T36" fmla="*/ 120 w 192"/>
              <a:gd name="T37" fmla="*/ 18 h 198"/>
              <a:gd name="T38" fmla="*/ 162 w 192"/>
              <a:gd name="T39" fmla="*/ 42 h 198"/>
              <a:gd name="T40" fmla="*/ 192 w 192"/>
              <a:gd name="T41" fmla="*/ 102 h 198"/>
              <a:gd name="T42" fmla="*/ 186 w 192"/>
              <a:gd name="T43" fmla="*/ 108 h 198"/>
              <a:gd name="T44" fmla="*/ 180 w 192"/>
              <a:gd name="T45" fmla="*/ 114 h 198"/>
              <a:gd name="T46" fmla="*/ 174 w 192"/>
              <a:gd name="T47" fmla="*/ 114 h 198"/>
              <a:gd name="T48" fmla="*/ 168 w 192"/>
              <a:gd name="T49" fmla="*/ 120 h 198"/>
              <a:gd name="T50" fmla="*/ 156 w 192"/>
              <a:gd name="T51" fmla="*/ 126 h 198"/>
              <a:gd name="T52" fmla="*/ 150 w 192"/>
              <a:gd name="T53" fmla="*/ 138 h 198"/>
              <a:gd name="T54" fmla="*/ 144 w 192"/>
              <a:gd name="T55" fmla="*/ 144 h 198"/>
              <a:gd name="T56" fmla="*/ 150 w 192"/>
              <a:gd name="T57" fmla="*/ 150 h 198"/>
              <a:gd name="T58" fmla="*/ 150 w 192"/>
              <a:gd name="T59" fmla="*/ 156 h 198"/>
              <a:gd name="T60" fmla="*/ 138 w 192"/>
              <a:gd name="T61" fmla="*/ 156 h 198"/>
              <a:gd name="T62" fmla="*/ 132 w 192"/>
              <a:gd name="T63" fmla="*/ 156 h 198"/>
              <a:gd name="T64" fmla="*/ 126 w 192"/>
              <a:gd name="T65" fmla="*/ 156 h 198"/>
              <a:gd name="T66" fmla="*/ 120 w 192"/>
              <a:gd name="T67" fmla="*/ 162 h 198"/>
              <a:gd name="T68" fmla="*/ 114 w 192"/>
              <a:gd name="T69" fmla="*/ 168 h 198"/>
              <a:gd name="T70" fmla="*/ 120 w 192"/>
              <a:gd name="T71" fmla="*/ 174 h 198"/>
              <a:gd name="T72" fmla="*/ 114 w 192"/>
              <a:gd name="T73" fmla="*/ 186 h 198"/>
              <a:gd name="T74" fmla="*/ 102 w 192"/>
              <a:gd name="T75" fmla="*/ 180 h 198"/>
              <a:gd name="T76" fmla="*/ 90 w 192"/>
              <a:gd name="T77" fmla="*/ 192 h 198"/>
              <a:gd name="T78" fmla="*/ 84 w 192"/>
              <a:gd name="T79" fmla="*/ 192 h 198"/>
              <a:gd name="T80" fmla="*/ 78 w 192"/>
              <a:gd name="T81" fmla="*/ 192 h 198"/>
              <a:gd name="T82" fmla="*/ 66 w 192"/>
              <a:gd name="T83" fmla="*/ 198 h 198"/>
              <a:gd name="T84" fmla="*/ 48 w 192"/>
              <a:gd name="T85" fmla="*/ 198 h 198"/>
              <a:gd name="T86" fmla="*/ 42 w 192"/>
              <a:gd name="T87" fmla="*/ 192 h 198"/>
              <a:gd name="T88" fmla="*/ 42 w 192"/>
              <a:gd name="T89" fmla="*/ 180 h 198"/>
              <a:gd name="T90" fmla="*/ 42 w 192"/>
              <a:gd name="T91" fmla="*/ 174 h 198"/>
              <a:gd name="T92" fmla="*/ 36 w 192"/>
              <a:gd name="T93" fmla="*/ 168 h 198"/>
              <a:gd name="T94" fmla="*/ 36 w 192"/>
              <a:gd name="T95" fmla="*/ 162 h 198"/>
              <a:gd name="T96" fmla="*/ 30 w 192"/>
              <a:gd name="T97" fmla="*/ 156 h 198"/>
              <a:gd name="T98" fmla="*/ 24 w 192"/>
              <a:gd name="T99" fmla="*/ 156 h 198"/>
              <a:gd name="T100" fmla="*/ 18 w 192"/>
              <a:gd name="T101" fmla="*/ 156 h 198"/>
              <a:gd name="T102" fmla="*/ 18 w 192"/>
              <a:gd name="T103" fmla="*/ 156 h 198"/>
              <a:gd name="T104" fmla="*/ 18 w 192"/>
              <a:gd name="T105" fmla="*/ 156 h 198"/>
              <a:gd name="T106" fmla="*/ 18 w 192"/>
              <a:gd name="T107" fmla="*/ 150 h 198"/>
              <a:gd name="T108" fmla="*/ 12 w 192"/>
              <a:gd name="T109" fmla="*/ 144 h 198"/>
              <a:gd name="T110" fmla="*/ 12 w 192"/>
              <a:gd name="T111" fmla="*/ 138 h 198"/>
              <a:gd name="T112" fmla="*/ 12 w 192"/>
              <a:gd name="T113" fmla="*/ 132 h 198"/>
              <a:gd name="T114" fmla="*/ 6 w 192"/>
              <a:gd name="T115" fmla="*/ 126 h 198"/>
              <a:gd name="T116" fmla="*/ 0 w 192"/>
              <a:gd name="T117" fmla="*/ 120 h 198"/>
              <a:gd name="T118" fmla="*/ 6 w 192"/>
              <a:gd name="T119" fmla="*/ 108 h 198"/>
              <a:gd name="T120" fmla="*/ 6 w 192"/>
              <a:gd name="T121" fmla="*/ 96 h 198"/>
              <a:gd name="T122" fmla="*/ 0 w 192"/>
              <a:gd name="T123" fmla="*/ 90 h 1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92" h="198">
                <a:moveTo>
                  <a:pt x="0" y="84"/>
                </a:moveTo>
                <a:lnTo>
                  <a:pt x="0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12" y="66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0" y="36"/>
                </a:lnTo>
                <a:lnTo>
                  <a:pt x="6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0"/>
                </a:lnTo>
                <a:lnTo>
                  <a:pt x="0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12" y="24"/>
                </a:lnTo>
                <a:lnTo>
                  <a:pt x="12" y="24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8" y="18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6"/>
                </a:lnTo>
                <a:lnTo>
                  <a:pt x="36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0"/>
                </a:lnTo>
                <a:lnTo>
                  <a:pt x="36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8"/>
                </a:lnTo>
                <a:lnTo>
                  <a:pt x="66" y="12"/>
                </a:lnTo>
                <a:lnTo>
                  <a:pt x="66" y="12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84" y="18"/>
                </a:lnTo>
                <a:lnTo>
                  <a:pt x="84" y="18"/>
                </a:lnTo>
                <a:lnTo>
                  <a:pt x="84" y="12"/>
                </a:lnTo>
                <a:lnTo>
                  <a:pt x="84" y="12"/>
                </a:lnTo>
                <a:lnTo>
                  <a:pt x="84" y="18"/>
                </a:lnTo>
                <a:lnTo>
                  <a:pt x="90" y="18"/>
                </a:lnTo>
                <a:lnTo>
                  <a:pt x="84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30"/>
                </a:lnTo>
                <a:lnTo>
                  <a:pt x="96" y="30"/>
                </a:lnTo>
                <a:lnTo>
                  <a:pt x="96" y="24"/>
                </a:lnTo>
                <a:lnTo>
                  <a:pt x="102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62" y="42"/>
                </a:lnTo>
                <a:lnTo>
                  <a:pt x="174" y="54"/>
                </a:lnTo>
                <a:lnTo>
                  <a:pt x="186" y="66"/>
                </a:lnTo>
                <a:lnTo>
                  <a:pt x="192" y="66"/>
                </a:lnTo>
                <a:lnTo>
                  <a:pt x="192" y="66"/>
                </a:lnTo>
                <a:lnTo>
                  <a:pt x="192" y="84"/>
                </a:lnTo>
                <a:lnTo>
                  <a:pt x="192" y="102"/>
                </a:lnTo>
                <a:lnTo>
                  <a:pt x="192" y="102"/>
                </a:lnTo>
                <a:lnTo>
                  <a:pt x="192" y="102"/>
                </a:lnTo>
                <a:lnTo>
                  <a:pt x="192" y="108"/>
                </a:lnTo>
                <a:lnTo>
                  <a:pt x="192" y="108"/>
                </a:lnTo>
                <a:lnTo>
                  <a:pt x="192" y="108"/>
                </a:lnTo>
                <a:lnTo>
                  <a:pt x="192" y="108"/>
                </a:lnTo>
                <a:lnTo>
                  <a:pt x="186" y="108"/>
                </a:lnTo>
                <a:lnTo>
                  <a:pt x="186" y="108"/>
                </a:lnTo>
                <a:lnTo>
                  <a:pt x="186" y="114"/>
                </a:lnTo>
                <a:lnTo>
                  <a:pt x="186" y="114"/>
                </a:lnTo>
                <a:lnTo>
                  <a:pt x="186" y="114"/>
                </a:lnTo>
                <a:lnTo>
                  <a:pt x="186" y="114"/>
                </a:lnTo>
                <a:lnTo>
                  <a:pt x="180" y="114"/>
                </a:lnTo>
                <a:lnTo>
                  <a:pt x="180" y="114"/>
                </a:lnTo>
                <a:lnTo>
                  <a:pt x="180" y="114"/>
                </a:lnTo>
                <a:lnTo>
                  <a:pt x="180" y="114"/>
                </a:lnTo>
                <a:lnTo>
                  <a:pt x="180" y="120"/>
                </a:lnTo>
                <a:lnTo>
                  <a:pt x="174" y="120"/>
                </a:lnTo>
                <a:lnTo>
                  <a:pt x="174" y="120"/>
                </a:lnTo>
                <a:lnTo>
                  <a:pt x="174" y="114"/>
                </a:lnTo>
                <a:lnTo>
                  <a:pt x="174" y="114"/>
                </a:lnTo>
                <a:lnTo>
                  <a:pt x="174" y="114"/>
                </a:lnTo>
                <a:lnTo>
                  <a:pt x="174" y="114"/>
                </a:lnTo>
                <a:lnTo>
                  <a:pt x="168" y="114"/>
                </a:lnTo>
                <a:lnTo>
                  <a:pt x="168" y="120"/>
                </a:lnTo>
                <a:lnTo>
                  <a:pt x="168" y="120"/>
                </a:lnTo>
                <a:lnTo>
                  <a:pt x="168" y="120"/>
                </a:lnTo>
                <a:lnTo>
                  <a:pt x="168" y="120"/>
                </a:lnTo>
                <a:lnTo>
                  <a:pt x="168" y="120"/>
                </a:lnTo>
                <a:lnTo>
                  <a:pt x="168" y="120"/>
                </a:lnTo>
                <a:lnTo>
                  <a:pt x="162" y="120"/>
                </a:lnTo>
                <a:lnTo>
                  <a:pt x="162" y="120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32"/>
                </a:lnTo>
                <a:lnTo>
                  <a:pt x="156" y="132"/>
                </a:lnTo>
                <a:lnTo>
                  <a:pt x="156" y="132"/>
                </a:lnTo>
                <a:lnTo>
                  <a:pt x="150" y="132"/>
                </a:lnTo>
                <a:lnTo>
                  <a:pt x="150" y="132"/>
                </a:lnTo>
                <a:lnTo>
                  <a:pt x="150" y="138"/>
                </a:lnTo>
                <a:lnTo>
                  <a:pt x="150" y="138"/>
                </a:lnTo>
                <a:lnTo>
                  <a:pt x="150" y="138"/>
                </a:lnTo>
                <a:lnTo>
                  <a:pt x="144" y="138"/>
                </a:lnTo>
                <a:lnTo>
                  <a:pt x="144" y="138"/>
                </a:lnTo>
                <a:lnTo>
                  <a:pt x="144" y="138"/>
                </a:lnTo>
                <a:lnTo>
                  <a:pt x="144" y="138"/>
                </a:lnTo>
                <a:lnTo>
                  <a:pt x="144" y="144"/>
                </a:lnTo>
                <a:lnTo>
                  <a:pt x="144" y="144"/>
                </a:lnTo>
                <a:lnTo>
                  <a:pt x="144" y="144"/>
                </a:lnTo>
                <a:lnTo>
                  <a:pt x="144" y="144"/>
                </a:lnTo>
                <a:lnTo>
                  <a:pt x="144" y="144"/>
                </a:lnTo>
                <a:lnTo>
                  <a:pt x="144" y="150"/>
                </a:lnTo>
                <a:lnTo>
                  <a:pt x="144" y="150"/>
                </a:lnTo>
                <a:lnTo>
                  <a:pt x="150" y="150"/>
                </a:lnTo>
                <a:lnTo>
                  <a:pt x="150" y="150"/>
                </a:lnTo>
                <a:lnTo>
                  <a:pt x="150" y="150"/>
                </a:lnTo>
                <a:lnTo>
                  <a:pt x="150" y="150"/>
                </a:lnTo>
                <a:lnTo>
                  <a:pt x="150" y="150"/>
                </a:lnTo>
                <a:lnTo>
                  <a:pt x="150" y="150"/>
                </a:lnTo>
                <a:lnTo>
                  <a:pt x="144" y="150"/>
                </a:lnTo>
                <a:lnTo>
                  <a:pt x="144" y="150"/>
                </a:lnTo>
                <a:lnTo>
                  <a:pt x="150" y="156"/>
                </a:lnTo>
                <a:lnTo>
                  <a:pt x="144" y="156"/>
                </a:lnTo>
                <a:lnTo>
                  <a:pt x="144" y="156"/>
                </a:lnTo>
                <a:lnTo>
                  <a:pt x="144" y="156"/>
                </a:lnTo>
                <a:lnTo>
                  <a:pt x="144" y="156"/>
                </a:lnTo>
                <a:lnTo>
                  <a:pt x="144" y="156"/>
                </a:lnTo>
                <a:lnTo>
                  <a:pt x="144" y="156"/>
                </a:lnTo>
                <a:lnTo>
                  <a:pt x="138" y="156"/>
                </a:lnTo>
                <a:lnTo>
                  <a:pt x="138" y="156"/>
                </a:lnTo>
                <a:lnTo>
                  <a:pt x="138" y="156"/>
                </a:lnTo>
                <a:lnTo>
                  <a:pt x="138" y="156"/>
                </a:lnTo>
                <a:lnTo>
                  <a:pt x="132" y="156"/>
                </a:lnTo>
                <a:lnTo>
                  <a:pt x="132" y="156"/>
                </a:lnTo>
                <a:lnTo>
                  <a:pt x="132" y="156"/>
                </a:lnTo>
                <a:lnTo>
                  <a:pt x="132" y="156"/>
                </a:lnTo>
                <a:lnTo>
                  <a:pt x="132" y="156"/>
                </a:lnTo>
                <a:lnTo>
                  <a:pt x="132" y="150"/>
                </a:lnTo>
                <a:lnTo>
                  <a:pt x="132" y="156"/>
                </a:lnTo>
                <a:lnTo>
                  <a:pt x="132" y="156"/>
                </a:lnTo>
                <a:lnTo>
                  <a:pt x="132" y="156"/>
                </a:lnTo>
                <a:lnTo>
                  <a:pt x="126" y="156"/>
                </a:lnTo>
                <a:lnTo>
                  <a:pt x="126" y="156"/>
                </a:lnTo>
                <a:lnTo>
                  <a:pt x="126" y="156"/>
                </a:lnTo>
                <a:lnTo>
                  <a:pt x="126" y="156"/>
                </a:lnTo>
                <a:lnTo>
                  <a:pt x="126" y="156"/>
                </a:lnTo>
                <a:lnTo>
                  <a:pt x="126" y="156"/>
                </a:lnTo>
                <a:lnTo>
                  <a:pt x="126" y="156"/>
                </a:lnTo>
                <a:lnTo>
                  <a:pt x="120" y="156"/>
                </a:lnTo>
                <a:lnTo>
                  <a:pt x="120" y="162"/>
                </a:lnTo>
                <a:lnTo>
                  <a:pt x="120" y="162"/>
                </a:lnTo>
                <a:lnTo>
                  <a:pt x="120" y="162"/>
                </a:lnTo>
                <a:lnTo>
                  <a:pt x="120" y="162"/>
                </a:lnTo>
                <a:lnTo>
                  <a:pt x="120" y="168"/>
                </a:lnTo>
                <a:lnTo>
                  <a:pt x="120" y="168"/>
                </a:lnTo>
                <a:lnTo>
                  <a:pt x="120" y="168"/>
                </a:lnTo>
                <a:lnTo>
                  <a:pt x="114" y="168"/>
                </a:lnTo>
                <a:lnTo>
                  <a:pt x="114" y="174"/>
                </a:lnTo>
                <a:lnTo>
                  <a:pt x="120" y="174"/>
                </a:lnTo>
                <a:lnTo>
                  <a:pt x="120" y="174"/>
                </a:lnTo>
                <a:lnTo>
                  <a:pt x="120" y="174"/>
                </a:lnTo>
                <a:lnTo>
                  <a:pt x="120" y="174"/>
                </a:lnTo>
                <a:lnTo>
                  <a:pt x="120" y="174"/>
                </a:lnTo>
                <a:lnTo>
                  <a:pt x="120" y="174"/>
                </a:lnTo>
                <a:lnTo>
                  <a:pt x="120" y="180"/>
                </a:lnTo>
                <a:lnTo>
                  <a:pt x="120" y="180"/>
                </a:lnTo>
                <a:lnTo>
                  <a:pt x="120" y="180"/>
                </a:lnTo>
                <a:lnTo>
                  <a:pt x="114" y="180"/>
                </a:lnTo>
                <a:lnTo>
                  <a:pt x="114" y="186"/>
                </a:lnTo>
                <a:lnTo>
                  <a:pt x="114" y="186"/>
                </a:lnTo>
                <a:lnTo>
                  <a:pt x="114" y="186"/>
                </a:lnTo>
                <a:lnTo>
                  <a:pt x="108" y="186"/>
                </a:lnTo>
                <a:lnTo>
                  <a:pt x="108" y="186"/>
                </a:lnTo>
                <a:lnTo>
                  <a:pt x="108" y="186"/>
                </a:lnTo>
                <a:lnTo>
                  <a:pt x="108" y="186"/>
                </a:lnTo>
                <a:lnTo>
                  <a:pt x="108" y="186"/>
                </a:lnTo>
                <a:lnTo>
                  <a:pt x="108" y="186"/>
                </a:lnTo>
                <a:lnTo>
                  <a:pt x="102" y="180"/>
                </a:lnTo>
                <a:lnTo>
                  <a:pt x="102" y="186"/>
                </a:lnTo>
                <a:lnTo>
                  <a:pt x="96" y="180"/>
                </a:lnTo>
                <a:lnTo>
                  <a:pt x="96" y="186"/>
                </a:lnTo>
                <a:lnTo>
                  <a:pt x="96" y="186"/>
                </a:lnTo>
                <a:lnTo>
                  <a:pt x="96" y="186"/>
                </a:lnTo>
                <a:lnTo>
                  <a:pt x="96" y="192"/>
                </a:lnTo>
                <a:lnTo>
                  <a:pt x="90" y="192"/>
                </a:lnTo>
                <a:lnTo>
                  <a:pt x="90" y="192"/>
                </a:lnTo>
                <a:lnTo>
                  <a:pt x="90" y="192"/>
                </a:lnTo>
                <a:lnTo>
                  <a:pt x="90" y="192"/>
                </a:lnTo>
                <a:lnTo>
                  <a:pt x="84" y="192"/>
                </a:lnTo>
                <a:lnTo>
                  <a:pt x="84" y="198"/>
                </a:lnTo>
                <a:lnTo>
                  <a:pt x="84" y="198"/>
                </a:lnTo>
                <a:lnTo>
                  <a:pt x="84" y="192"/>
                </a:lnTo>
                <a:lnTo>
                  <a:pt x="84" y="192"/>
                </a:lnTo>
                <a:lnTo>
                  <a:pt x="78" y="192"/>
                </a:lnTo>
                <a:lnTo>
                  <a:pt x="78" y="192"/>
                </a:lnTo>
                <a:lnTo>
                  <a:pt x="78" y="192"/>
                </a:lnTo>
                <a:lnTo>
                  <a:pt x="78" y="198"/>
                </a:lnTo>
                <a:lnTo>
                  <a:pt x="78" y="198"/>
                </a:lnTo>
                <a:lnTo>
                  <a:pt x="78" y="192"/>
                </a:lnTo>
                <a:lnTo>
                  <a:pt x="78" y="198"/>
                </a:lnTo>
                <a:lnTo>
                  <a:pt x="72" y="192"/>
                </a:lnTo>
                <a:lnTo>
                  <a:pt x="72" y="192"/>
                </a:lnTo>
                <a:lnTo>
                  <a:pt x="72" y="192"/>
                </a:lnTo>
                <a:lnTo>
                  <a:pt x="72" y="198"/>
                </a:lnTo>
                <a:lnTo>
                  <a:pt x="66" y="198"/>
                </a:lnTo>
                <a:lnTo>
                  <a:pt x="66" y="198"/>
                </a:lnTo>
                <a:lnTo>
                  <a:pt x="60" y="198"/>
                </a:lnTo>
                <a:lnTo>
                  <a:pt x="60" y="192"/>
                </a:lnTo>
                <a:lnTo>
                  <a:pt x="54" y="192"/>
                </a:lnTo>
                <a:lnTo>
                  <a:pt x="54" y="192"/>
                </a:lnTo>
                <a:lnTo>
                  <a:pt x="48" y="198"/>
                </a:lnTo>
                <a:lnTo>
                  <a:pt x="48" y="198"/>
                </a:lnTo>
                <a:lnTo>
                  <a:pt x="48" y="198"/>
                </a:lnTo>
                <a:lnTo>
                  <a:pt x="48" y="198"/>
                </a:lnTo>
                <a:lnTo>
                  <a:pt x="42" y="198"/>
                </a:lnTo>
                <a:lnTo>
                  <a:pt x="42" y="192"/>
                </a:lnTo>
                <a:lnTo>
                  <a:pt x="48" y="192"/>
                </a:lnTo>
                <a:lnTo>
                  <a:pt x="42" y="192"/>
                </a:lnTo>
                <a:lnTo>
                  <a:pt x="42" y="192"/>
                </a:lnTo>
                <a:lnTo>
                  <a:pt x="42" y="192"/>
                </a:lnTo>
                <a:lnTo>
                  <a:pt x="48" y="186"/>
                </a:lnTo>
                <a:lnTo>
                  <a:pt x="48" y="186"/>
                </a:lnTo>
                <a:lnTo>
                  <a:pt x="48" y="186"/>
                </a:lnTo>
                <a:lnTo>
                  <a:pt x="42" y="180"/>
                </a:lnTo>
                <a:lnTo>
                  <a:pt x="48" y="180"/>
                </a:lnTo>
                <a:lnTo>
                  <a:pt x="42" y="180"/>
                </a:lnTo>
                <a:lnTo>
                  <a:pt x="42" y="180"/>
                </a:lnTo>
                <a:lnTo>
                  <a:pt x="42" y="180"/>
                </a:lnTo>
                <a:lnTo>
                  <a:pt x="42" y="174"/>
                </a:lnTo>
                <a:lnTo>
                  <a:pt x="42" y="174"/>
                </a:lnTo>
                <a:lnTo>
                  <a:pt x="42" y="174"/>
                </a:lnTo>
                <a:lnTo>
                  <a:pt x="42" y="174"/>
                </a:lnTo>
                <a:lnTo>
                  <a:pt x="42" y="174"/>
                </a:lnTo>
                <a:lnTo>
                  <a:pt x="42" y="174"/>
                </a:lnTo>
                <a:lnTo>
                  <a:pt x="42" y="168"/>
                </a:lnTo>
                <a:lnTo>
                  <a:pt x="42" y="168"/>
                </a:lnTo>
                <a:lnTo>
                  <a:pt x="42" y="168"/>
                </a:lnTo>
                <a:lnTo>
                  <a:pt x="42" y="168"/>
                </a:lnTo>
                <a:lnTo>
                  <a:pt x="36" y="168"/>
                </a:lnTo>
                <a:lnTo>
                  <a:pt x="36" y="168"/>
                </a:lnTo>
                <a:lnTo>
                  <a:pt x="36" y="168"/>
                </a:lnTo>
                <a:lnTo>
                  <a:pt x="36" y="162"/>
                </a:lnTo>
                <a:lnTo>
                  <a:pt x="36" y="162"/>
                </a:lnTo>
                <a:lnTo>
                  <a:pt x="36" y="162"/>
                </a:lnTo>
                <a:lnTo>
                  <a:pt x="36" y="162"/>
                </a:lnTo>
                <a:lnTo>
                  <a:pt x="36" y="162"/>
                </a:lnTo>
                <a:lnTo>
                  <a:pt x="36" y="162"/>
                </a:lnTo>
                <a:lnTo>
                  <a:pt x="36" y="162"/>
                </a:lnTo>
                <a:lnTo>
                  <a:pt x="30" y="162"/>
                </a:lnTo>
                <a:lnTo>
                  <a:pt x="30" y="156"/>
                </a:lnTo>
                <a:lnTo>
                  <a:pt x="30" y="156"/>
                </a:lnTo>
                <a:lnTo>
                  <a:pt x="30" y="156"/>
                </a:lnTo>
                <a:lnTo>
                  <a:pt x="30" y="156"/>
                </a:lnTo>
                <a:lnTo>
                  <a:pt x="30" y="156"/>
                </a:lnTo>
                <a:lnTo>
                  <a:pt x="30" y="156"/>
                </a:lnTo>
                <a:lnTo>
                  <a:pt x="30" y="156"/>
                </a:lnTo>
                <a:lnTo>
                  <a:pt x="30" y="156"/>
                </a:lnTo>
                <a:lnTo>
                  <a:pt x="24" y="156"/>
                </a:lnTo>
                <a:lnTo>
                  <a:pt x="24" y="156"/>
                </a:lnTo>
                <a:lnTo>
                  <a:pt x="24" y="156"/>
                </a:lnTo>
                <a:lnTo>
                  <a:pt x="24" y="156"/>
                </a:lnTo>
                <a:lnTo>
                  <a:pt x="24" y="156"/>
                </a:lnTo>
                <a:lnTo>
                  <a:pt x="24" y="156"/>
                </a:lnTo>
                <a:lnTo>
                  <a:pt x="24" y="156"/>
                </a:lnTo>
                <a:lnTo>
                  <a:pt x="24" y="156"/>
                </a:lnTo>
                <a:lnTo>
                  <a:pt x="24" y="156"/>
                </a:lnTo>
                <a:lnTo>
                  <a:pt x="24" y="156"/>
                </a:lnTo>
                <a:lnTo>
                  <a:pt x="18" y="156"/>
                </a:lnTo>
                <a:lnTo>
                  <a:pt x="18" y="156"/>
                </a:lnTo>
                <a:lnTo>
                  <a:pt x="18" y="156"/>
                </a:lnTo>
                <a:lnTo>
                  <a:pt x="18" y="156"/>
                </a:lnTo>
                <a:lnTo>
                  <a:pt x="18" y="156"/>
                </a:lnTo>
                <a:lnTo>
                  <a:pt x="18" y="156"/>
                </a:lnTo>
                <a:lnTo>
                  <a:pt x="18" y="156"/>
                </a:lnTo>
                <a:lnTo>
                  <a:pt x="18" y="156"/>
                </a:lnTo>
                <a:lnTo>
                  <a:pt x="18" y="156"/>
                </a:lnTo>
                <a:lnTo>
                  <a:pt x="18" y="156"/>
                </a:lnTo>
                <a:lnTo>
                  <a:pt x="18" y="156"/>
                </a:lnTo>
                <a:lnTo>
                  <a:pt x="18" y="156"/>
                </a:lnTo>
                <a:lnTo>
                  <a:pt x="18" y="156"/>
                </a:lnTo>
                <a:lnTo>
                  <a:pt x="18" y="156"/>
                </a:lnTo>
                <a:lnTo>
                  <a:pt x="18" y="156"/>
                </a:lnTo>
                <a:lnTo>
                  <a:pt x="18" y="156"/>
                </a:lnTo>
                <a:lnTo>
                  <a:pt x="18" y="156"/>
                </a:lnTo>
                <a:lnTo>
                  <a:pt x="12" y="150"/>
                </a:lnTo>
                <a:lnTo>
                  <a:pt x="18" y="150"/>
                </a:lnTo>
                <a:lnTo>
                  <a:pt x="12" y="150"/>
                </a:lnTo>
                <a:lnTo>
                  <a:pt x="12" y="150"/>
                </a:lnTo>
                <a:lnTo>
                  <a:pt x="12" y="150"/>
                </a:lnTo>
                <a:lnTo>
                  <a:pt x="18" y="150"/>
                </a:lnTo>
                <a:lnTo>
                  <a:pt x="12" y="150"/>
                </a:lnTo>
                <a:lnTo>
                  <a:pt x="18" y="150"/>
                </a:lnTo>
                <a:lnTo>
                  <a:pt x="18" y="150"/>
                </a:lnTo>
                <a:lnTo>
                  <a:pt x="18" y="144"/>
                </a:lnTo>
                <a:lnTo>
                  <a:pt x="12" y="144"/>
                </a:lnTo>
                <a:lnTo>
                  <a:pt x="12" y="144"/>
                </a:lnTo>
                <a:lnTo>
                  <a:pt x="12" y="144"/>
                </a:lnTo>
                <a:lnTo>
                  <a:pt x="12" y="144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6" y="132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0" y="120"/>
                </a:lnTo>
                <a:lnTo>
                  <a:pt x="0" y="120"/>
                </a:lnTo>
                <a:lnTo>
                  <a:pt x="0" y="120"/>
                </a:lnTo>
                <a:lnTo>
                  <a:pt x="0" y="120"/>
                </a:lnTo>
                <a:lnTo>
                  <a:pt x="0" y="120"/>
                </a:lnTo>
                <a:lnTo>
                  <a:pt x="0" y="120"/>
                </a:lnTo>
                <a:lnTo>
                  <a:pt x="0" y="114"/>
                </a:lnTo>
                <a:lnTo>
                  <a:pt x="0" y="114"/>
                </a:lnTo>
                <a:lnTo>
                  <a:pt x="0" y="114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2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0" y="90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26" name="Freeform 259"/>
          <p:cNvSpPr>
            <a:spLocks/>
          </p:cNvSpPr>
          <p:nvPr/>
        </p:nvSpPr>
        <p:spPr bwMode="auto">
          <a:xfrm>
            <a:off x="7847582" y="3730286"/>
            <a:ext cx="134905" cy="192723"/>
          </a:xfrm>
          <a:custGeom>
            <a:avLst/>
            <a:gdLst>
              <a:gd name="T0" fmla="*/ 6 w 126"/>
              <a:gd name="T1" fmla="*/ 138 h 180"/>
              <a:gd name="T2" fmla="*/ 6 w 126"/>
              <a:gd name="T3" fmla="*/ 126 h 180"/>
              <a:gd name="T4" fmla="*/ 6 w 126"/>
              <a:gd name="T5" fmla="*/ 120 h 180"/>
              <a:gd name="T6" fmla="*/ 6 w 126"/>
              <a:gd name="T7" fmla="*/ 114 h 180"/>
              <a:gd name="T8" fmla="*/ 0 w 126"/>
              <a:gd name="T9" fmla="*/ 108 h 180"/>
              <a:gd name="T10" fmla="*/ 6 w 126"/>
              <a:gd name="T11" fmla="*/ 108 h 180"/>
              <a:gd name="T12" fmla="*/ 6 w 126"/>
              <a:gd name="T13" fmla="*/ 102 h 180"/>
              <a:gd name="T14" fmla="*/ 12 w 126"/>
              <a:gd name="T15" fmla="*/ 96 h 180"/>
              <a:gd name="T16" fmla="*/ 18 w 126"/>
              <a:gd name="T17" fmla="*/ 96 h 180"/>
              <a:gd name="T18" fmla="*/ 24 w 126"/>
              <a:gd name="T19" fmla="*/ 84 h 180"/>
              <a:gd name="T20" fmla="*/ 18 w 126"/>
              <a:gd name="T21" fmla="*/ 84 h 180"/>
              <a:gd name="T22" fmla="*/ 12 w 126"/>
              <a:gd name="T23" fmla="*/ 84 h 180"/>
              <a:gd name="T24" fmla="*/ 6 w 126"/>
              <a:gd name="T25" fmla="*/ 78 h 180"/>
              <a:gd name="T26" fmla="*/ 12 w 126"/>
              <a:gd name="T27" fmla="*/ 72 h 180"/>
              <a:gd name="T28" fmla="*/ 24 w 126"/>
              <a:gd name="T29" fmla="*/ 60 h 180"/>
              <a:gd name="T30" fmla="*/ 24 w 126"/>
              <a:gd name="T31" fmla="*/ 48 h 180"/>
              <a:gd name="T32" fmla="*/ 24 w 126"/>
              <a:gd name="T33" fmla="*/ 48 h 180"/>
              <a:gd name="T34" fmla="*/ 30 w 126"/>
              <a:gd name="T35" fmla="*/ 36 h 180"/>
              <a:gd name="T36" fmla="*/ 36 w 126"/>
              <a:gd name="T37" fmla="*/ 30 h 180"/>
              <a:gd name="T38" fmla="*/ 36 w 126"/>
              <a:gd name="T39" fmla="*/ 30 h 180"/>
              <a:gd name="T40" fmla="*/ 42 w 126"/>
              <a:gd name="T41" fmla="*/ 24 h 180"/>
              <a:gd name="T42" fmla="*/ 54 w 126"/>
              <a:gd name="T43" fmla="*/ 18 h 180"/>
              <a:gd name="T44" fmla="*/ 60 w 126"/>
              <a:gd name="T45" fmla="*/ 24 h 180"/>
              <a:gd name="T46" fmla="*/ 66 w 126"/>
              <a:gd name="T47" fmla="*/ 18 h 180"/>
              <a:gd name="T48" fmla="*/ 72 w 126"/>
              <a:gd name="T49" fmla="*/ 6 h 180"/>
              <a:gd name="T50" fmla="*/ 78 w 126"/>
              <a:gd name="T51" fmla="*/ 0 h 180"/>
              <a:gd name="T52" fmla="*/ 84 w 126"/>
              <a:gd name="T53" fmla="*/ 0 h 180"/>
              <a:gd name="T54" fmla="*/ 90 w 126"/>
              <a:gd name="T55" fmla="*/ 6 h 180"/>
              <a:gd name="T56" fmla="*/ 96 w 126"/>
              <a:gd name="T57" fmla="*/ 12 h 180"/>
              <a:gd name="T58" fmla="*/ 102 w 126"/>
              <a:gd name="T59" fmla="*/ 18 h 180"/>
              <a:gd name="T60" fmla="*/ 108 w 126"/>
              <a:gd name="T61" fmla="*/ 18 h 180"/>
              <a:gd name="T62" fmla="*/ 102 w 126"/>
              <a:gd name="T63" fmla="*/ 24 h 180"/>
              <a:gd name="T64" fmla="*/ 108 w 126"/>
              <a:gd name="T65" fmla="*/ 30 h 180"/>
              <a:gd name="T66" fmla="*/ 114 w 126"/>
              <a:gd name="T67" fmla="*/ 36 h 180"/>
              <a:gd name="T68" fmla="*/ 120 w 126"/>
              <a:gd name="T69" fmla="*/ 42 h 180"/>
              <a:gd name="T70" fmla="*/ 120 w 126"/>
              <a:gd name="T71" fmla="*/ 48 h 180"/>
              <a:gd name="T72" fmla="*/ 120 w 126"/>
              <a:gd name="T73" fmla="*/ 54 h 180"/>
              <a:gd name="T74" fmla="*/ 120 w 126"/>
              <a:gd name="T75" fmla="*/ 60 h 180"/>
              <a:gd name="T76" fmla="*/ 120 w 126"/>
              <a:gd name="T77" fmla="*/ 66 h 180"/>
              <a:gd name="T78" fmla="*/ 114 w 126"/>
              <a:gd name="T79" fmla="*/ 78 h 180"/>
              <a:gd name="T80" fmla="*/ 114 w 126"/>
              <a:gd name="T81" fmla="*/ 84 h 180"/>
              <a:gd name="T82" fmla="*/ 108 w 126"/>
              <a:gd name="T83" fmla="*/ 90 h 180"/>
              <a:gd name="T84" fmla="*/ 102 w 126"/>
              <a:gd name="T85" fmla="*/ 96 h 180"/>
              <a:gd name="T86" fmla="*/ 90 w 126"/>
              <a:gd name="T87" fmla="*/ 108 h 180"/>
              <a:gd name="T88" fmla="*/ 90 w 126"/>
              <a:gd name="T89" fmla="*/ 114 h 180"/>
              <a:gd name="T90" fmla="*/ 90 w 126"/>
              <a:gd name="T91" fmla="*/ 126 h 180"/>
              <a:gd name="T92" fmla="*/ 84 w 126"/>
              <a:gd name="T93" fmla="*/ 138 h 180"/>
              <a:gd name="T94" fmla="*/ 72 w 126"/>
              <a:gd name="T95" fmla="*/ 144 h 180"/>
              <a:gd name="T96" fmla="*/ 66 w 126"/>
              <a:gd name="T97" fmla="*/ 156 h 180"/>
              <a:gd name="T98" fmla="*/ 66 w 126"/>
              <a:gd name="T99" fmla="*/ 168 h 180"/>
              <a:gd name="T100" fmla="*/ 60 w 126"/>
              <a:gd name="T101" fmla="*/ 180 h 180"/>
              <a:gd name="T102" fmla="*/ 48 w 126"/>
              <a:gd name="T103" fmla="*/ 168 h 180"/>
              <a:gd name="T104" fmla="*/ 48 w 126"/>
              <a:gd name="T105" fmla="*/ 156 h 180"/>
              <a:gd name="T106" fmla="*/ 42 w 126"/>
              <a:gd name="T107" fmla="*/ 150 h 180"/>
              <a:gd name="T108" fmla="*/ 30 w 126"/>
              <a:gd name="T109" fmla="*/ 150 h 180"/>
              <a:gd name="T110" fmla="*/ 18 w 126"/>
              <a:gd name="T111" fmla="*/ 150 h 180"/>
              <a:gd name="T112" fmla="*/ 12 w 126"/>
              <a:gd name="T113" fmla="*/ 150 h 180"/>
              <a:gd name="T114" fmla="*/ 6 w 126"/>
              <a:gd name="T115" fmla="*/ 14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26" h="180">
                <a:moveTo>
                  <a:pt x="0" y="138"/>
                </a:moveTo>
                <a:lnTo>
                  <a:pt x="0" y="138"/>
                </a:lnTo>
                <a:lnTo>
                  <a:pt x="0" y="138"/>
                </a:lnTo>
                <a:lnTo>
                  <a:pt x="0" y="138"/>
                </a:lnTo>
                <a:lnTo>
                  <a:pt x="0" y="138"/>
                </a:lnTo>
                <a:lnTo>
                  <a:pt x="6" y="138"/>
                </a:lnTo>
                <a:lnTo>
                  <a:pt x="6" y="138"/>
                </a:lnTo>
                <a:lnTo>
                  <a:pt x="6" y="138"/>
                </a:lnTo>
                <a:lnTo>
                  <a:pt x="6" y="138"/>
                </a:lnTo>
                <a:lnTo>
                  <a:pt x="6" y="138"/>
                </a:lnTo>
                <a:lnTo>
                  <a:pt x="6" y="138"/>
                </a:lnTo>
                <a:lnTo>
                  <a:pt x="6" y="132"/>
                </a:lnTo>
                <a:lnTo>
                  <a:pt x="6" y="132"/>
                </a:lnTo>
                <a:lnTo>
                  <a:pt x="6" y="132"/>
                </a:lnTo>
                <a:lnTo>
                  <a:pt x="6" y="132"/>
                </a:lnTo>
                <a:lnTo>
                  <a:pt x="6" y="132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12" y="126"/>
                </a:lnTo>
                <a:lnTo>
                  <a:pt x="6" y="126"/>
                </a:lnTo>
                <a:lnTo>
                  <a:pt x="12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12" y="120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6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0" y="102"/>
                </a:lnTo>
                <a:lnTo>
                  <a:pt x="0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78"/>
                </a:lnTo>
                <a:lnTo>
                  <a:pt x="24" y="78"/>
                </a:lnTo>
                <a:lnTo>
                  <a:pt x="24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78"/>
                </a:lnTo>
                <a:lnTo>
                  <a:pt x="6" y="84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0" y="78"/>
                </a:lnTo>
                <a:lnTo>
                  <a:pt x="0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66"/>
                </a:lnTo>
                <a:lnTo>
                  <a:pt x="12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54"/>
                </a:lnTo>
                <a:lnTo>
                  <a:pt x="18" y="54"/>
                </a:lnTo>
                <a:lnTo>
                  <a:pt x="18" y="54"/>
                </a:lnTo>
                <a:lnTo>
                  <a:pt x="24" y="54"/>
                </a:lnTo>
                <a:lnTo>
                  <a:pt x="24" y="54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18" y="48"/>
                </a:lnTo>
                <a:lnTo>
                  <a:pt x="18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30" y="48"/>
                </a:lnTo>
                <a:lnTo>
                  <a:pt x="30" y="48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6" y="36"/>
                </a:lnTo>
                <a:lnTo>
                  <a:pt x="36" y="36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42" y="30"/>
                </a:lnTo>
                <a:lnTo>
                  <a:pt x="42" y="30"/>
                </a:lnTo>
                <a:lnTo>
                  <a:pt x="36" y="30"/>
                </a:lnTo>
                <a:lnTo>
                  <a:pt x="42" y="30"/>
                </a:lnTo>
                <a:lnTo>
                  <a:pt x="42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18"/>
                </a:lnTo>
                <a:lnTo>
                  <a:pt x="48" y="18"/>
                </a:lnTo>
                <a:lnTo>
                  <a:pt x="48" y="24"/>
                </a:lnTo>
                <a:lnTo>
                  <a:pt x="54" y="18"/>
                </a:lnTo>
                <a:lnTo>
                  <a:pt x="54" y="24"/>
                </a:lnTo>
                <a:lnTo>
                  <a:pt x="54" y="18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6" y="24"/>
                </a:lnTo>
                <a:lnTo>
                  <a:pt x="66" y="24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72" y="18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84" y="0"/>
                </a:lnTo>
                <a:lnTo>
                  <a:pt x="84" y="6"/>
                </a:lnTo>
                <a:lnTo>
                  <a:pt x="84" y="6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6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84"/>
                </a:lnTo>
                <a:lnTo>
                  <a:pt x="120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2" y="84"/>
                </a:lnTo>
                <a:lnTo>
                  <a:pt x="108" y="84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6"/>
                </a:lnTo>
                <a:lnTo>
                  <a:pt x="108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96" y="96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6"/>
                </a:lnTo>
                <a:lnTo>
                  <a:pt x="90" y="126"/>
                </a:lnTo>
                <a:lnTo>
                  <a:pt x="90" y="126"/>
                </a:lnTo>
                <a:lnTo>
                  <a:pt x="84" y="126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78" y="138"/>
                </a:lnTo>
                <a:lnTo>
                  <a:pt x="78" y="144"/>
                </a:lnTo>
                <a:lnTo>
                  <a:pt x="78" y="144"/>
                </a:lnTo>
                <a:lnTo>
                  <a:pt x="78" y="144"/>
                </a:lnTo>
                <a:lnTo>
                  <a:pt x="78" y="144"/>
                </a:lnTo>
                <a:lnTo>
                  <a:pt x="72" y="144"/>
                </a:lnTo>
                <a:lnTo>
                  <a:pt x="72" y="144"/>
                </a:lnTo>
                <a:lnTo>
                  <a:pt x="72" y="144"/>
                </a:lnTo>
                <a:lnTo>
                  <a:pt x="72" y="150"/>
                </a:lnTo>
                <a:lnTo>
                  <a:pt x="72" y="150"/>
                </a:lnTo>
                <a:lnTo>
                  <a:pt x="72" y="150"/>
                </a:lnTo>
                <a:lnTo>
                  <a:pt x="72" y="150"/>
                </a:lnTo>
                <a:lnTo>
                  <a:pt x="72" y="156"/>
                </a:lnTo>
                <a:lnTo>
                  <a:pt x="72" y="156"/>
                </a:lnTo>
                <a:lnTo>
                  <a:pt x="72" y="156"/>
                </a:lnTo>
                <a:lnTo>
                  <a:pt x="72" y="156"/>
                </a:lnTo>
                <a:lnTo>
                  <a:pt x="66" y="156"/>
                </a:lnTo>
                <a:lnTo>
                  <a:pt x="66" y="156"/>
                </a:lnTo>
                <a:lnTo>
                  <a:pt x="66" y="156"/>
                </a:lnTo>
                <a:lnTo>
                  <a:pt x="66" y="162"/>
                </a:lnTo>
                <a:lnTo>
                  <a:pt x="66" y="162"/>
                </a:lnTo>
                <a:lnTo>
                  <a:pt x="66" y="162"/>
                </a:lnTo>
                <a:lnTo>
                  <a:pt x="66" y="168"/>
                </a:lnTo>
                <a:lnTo>
                  <a:pt x="66" y="168"/>
                </a:lnTo>
                <a:lnTo>
                  <a:pt x="66" y="168"/>
                </a:lnTo>
                <a:lnTo>
                  <a:pt x="66" y="168"/>
                </a:lnTo>
                <a:lnTo>
                  <a:pt x="66" y="168"/>
                </a:lnTo>
                <a:lnTo>
                  <a:pt x="66" y="168"/>
                </a:lnTo>
                <a:lnTo>
                  <a:pt x="60" y="174"/>
                </a:lnTo>
                <a:lnTo>
                  <a:pt x="60" y="174"/>
                </a:lnTo>
                <a:lnTo>
                  <a:pt x="60" y="174"/>
                </a:lnTo>
                <a:lnTo>
                  <a:pt x="60" y="174"/>
                </a:lnTo>
                <a:lnTo>
                  <a:pt x="60" y="174"/>
                </a:lnTo>
                <a:lnTo>
                  <a:pt x="60" y="174"/>
                </a:lnTo>
                <a:lnTo>
                  <a:pt x="60" y="180"/>
                </a:lnTo>
                <a:lnTo>
                  <a:pt x="54" y="174"/>
                </a:lnTo>
                <a:lnTo>
                  <a:pt x="54" y="174"/>
                </a:lnTo>
                <a:lnTo>
                  <a:pt x="54" y="174"/>
                </a:lnTo>
                <a:lnTo>
                  <a:pt x="54" y="174"/>
                </a:lnTo>
                <a:lnTo>
                  <a:pt x="54" y="174"/>
                </a:lnTo>
                <a:lnTo>
                  <a:pt x="54" y="168"/>
                </a:lnTo>
                <a:lnTo>
                  <a:pt x="54" y="168"/>
                </a:lnTo>
                <a:lnTo>
                  <a:pt x="54" y="168"/>
                </a:lnTo>
                <a:lnTo>
                  <a:pt x="48" y="168"/>
                </a:lnTo>
                <a:lnTo>
                  <a:pt x="48" y="168"/>
                </a:lnTo>
                <a:lnTo>
                  <a:pt x="48" y="162"/>
                </a:lnTo>
                <a:lnTo>
                  <a:pt x="48" y="168"/>
                </a:lnTo>
                <a:lnTo>
                  <a:pt x="48" y="168"/>
                </a:lnTo>
                <a:lnTo>
                  <a:pt x="48" y="162"/>
                </a:lnTo>
                <a:lnTo>
                  <a:pt x="48" y="162"/>
                </a:lnTo>
                <a:lnTo>
                  <a:pt x="48" y="162"/>
                </a:lnTo>
                <a:lnTo>
                  <a:pt x="42" y="156"/>
                </a:lnTo>
                <a:lnTo>
                  <a:pt x="48" y="156"/>
                </a:lnTo>
                <a:lnTo>
                  <a:pt x="42" y="156"/>
                </a:lnTo>
                <a:lnTo>
                  <a:pt x="42" y="156"/>
                </a:lnTo>
                <a:lnTo>
                  <a:pt x="42" y="156"/>
                </a:lnTo>
                <a:lnTo>
                  <a:pt x="42" y="156"/>
                </a:lnTo>
                <a:lnTo>
                  <a:pt x="42" y="156"/>
                </a:lnTo>
                <a:lnTo>
                  <a:pt x="42" y="156"/>
                </a:lnTo>
                <a:lnTo>
                  <a:pt x="36" y="156"/>
                </a:lnTo>
                <a:lnTo>
                  <a:pt x="36" y="156"/>
                </a:lnTo>
                <a:lnTo>
                  <a:pt x="42" y="150"/>
                </a:lnTo>
                <a:lnTo>
                  <a:pt x="42" y="150"/>
                </a:lnTo>
                <a:lnTo>
                  <a:pt x="42" y="150"/>
                </a:lnTo>
                <a:lnTo>
                  <a:pt x="36" y="150"/>
                </a:lnTo>
                <a:lnTo>
                  <a:pt x="36" y="150"/>
                </a:lnTo>
                <a:lnTo>
                  <a:pt x="36" y="150"/>
                </a:lnTo>
                <a:lnTo>
                  <a:pt x="30" y="150"/>
                </a:lnTo>
                <a:lnTo>
                  <a:pt x="30" y="150"/>
                </a:lnTo>
                <a:lnTo>
                  <a:pt x="30" y="150"/>
                </a:lnTo>
                <a:lnTo>
                  <a:pt x="30" y="150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18" y="144"/>
                </a:lnTo>
                <a:lnTo>
                  <a:pt x="18" y="144"/>
                </a:lnTo>
                <a:lnTo>
                  <a:pt x="18" y="150"/>
                </a:lnTo>
                <a:lnTo>
                  <a:pt x="18" y="150"/>
                </a:lnTo>
                <a:lnTo>
                  <a:pt x="18" y="150"/>
                </a:lnTo>
                <a:lnTo>
                  <a:pt x="18" y="150"/>
                </a:lnTo>
                <a:lnTo>
                  <a:pt x="18" y="150"/>
                </a:lnTo>
                <a:lnTo>
                  <a:pt x="18" y="150"/>
                </a:lnTo>
                <a:lnTo>
                  <a:pt x="12" y="150"/>
                </a:lnTo>
                <a:lnTo>
                  <a:pt x="12" y="150"/>
                </a:lnTo>
                <a:lnTo>
                  <a:pt x="12" y="150"/>
                </a:lnTo>
                <a:lnTo>
                  <a:pt x="12" y="150"/>
                </a:lnTo>
                <a:lnTo>
                  <a:pt x="12" y="150"/>
                </a:lnTo>
                <a:lnTo>
                  <a:pt x="6" y="150"/>
                </a:lnTo>
                <a:lnTo>
                  <a:pt x="6" y="150"/>
                </a:lnTo>
                <a:lnTo>
                  <a:pt x="6" y="150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0" y="144"/>
                </a:lnTo>
                <a:lnTo>
                  <a:pt x="0" y="144"/>
                </a:lnTo>
                <a:lnTo>
                  <a:pt x="0" y="144"/>
                </a:lnTo>
                <a:lnTo>
                  <a:pt x="0" y="144"/>
                </a:lnTo>
                <a:lnTo>
                  <a:pt x="0" y="138"/>
                </a:lnTo>
                <a:lnTo>
                  <a:pt x="0" y="13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27" name="Freeform 260"/>
          <p:cNvSpPr>
            <a:spLocks/>
          </p:cNvSpPr>
          <p:nvPr/>
        </p:nvSpPr>
        <p:spPr bwMode="auto">
          <a:xfrm>
            <a:off x="7423595" y="4102884"/>
            <a:ext cx="128481" cy="122058"/>
          </a:xfrm>
          <a:custGeom>
            <a:avLst/>
            <a:gdLst>
              <a:gd name="T0" fmla="*/ 6 w 120"/>
              <a:gd name="T1" fmla="*/ 36 h 114"/>
              <a:gd name="T2" fmla="*/ 0 w 120"/>
              <a:gd name="T3" fmla="*/ 30 h 114"/>
              <a:gd name="T4" fmla="*/ 0 w 120"/>
              <a:gd name="T5" fmla="*/ 18 h 114"/>
              <a:gd name="T6" fmla="*/ 6 w 120"/>
              <a:gd name="T7" fmla="*/ 12 h 114"/>
              <a:gd name="T8" fmla="*/ 12 w 120"/>
              <a:gd name="T9" fmla="*/ 12 h 114"/>
              <a:gd name="T10" fmla="*/ 18 w 120"/>
              <a:gd name="T11" fmla="*/ 12 h 114"/>
              <a:gd name="T12" fmla="*/ 30 w 120"/>
              <a:gd name="T13" fmla="*/ 12 h 114"/>
              <a:gd name="T14" fmla="*/ 42 w 120"/>
              <a:gd name="T15" fmla="*/ 12 h 114"/>
              <a:gd name="T16" fmla="*/ 48 w 120"/>
              <a:gd name="T17" fmla="*/ 6 h 114"/>
              <a:gd name="T18" fmla="*/ 54 w 120"/>
              <a:gd name="T19" fmla="*/ 6 h 114"/>
              <a:gd name="T20" fmla="*/ 54 w 120"/>
              <a:gd name="T21" fmla="*/ 6 h 114"/>
              <a:gd name="T22" fmla="*/ 54 w 120"/>
              <a:gd name="T23" fmla="*/ 0 h 114"/>
              <a:gd name="T24" fmla="*/ 60 w 120"/>
              <a:gd name="T25" fmla="*/ 6 h 114"/>
              <a:gd name="T26" fmla="*/ 72 w 120"/>
              <a:gd name="T27" fmla="*/ 12 h 114"/>
              <a:gd name="T28" fmla="*/ 72 w 120"/>
              <a:gd name="T29" fmla="*/ 12 h 114"/>
              <a:gd name="T30" fmla="*/ 84 w 120"/>
              <a:gd name="T31" fmla="*/ 12 h 114"/>
              <a:gd name="T32" fmla="*/ 90 w 120"/>
              <a:gd name="T33" fmla="*/ 6 h 114"/>
              <a:gd name="T34" fmla="*/ 96 w 120"/>
              <a:gd name="T35" fmla="*/ 6 h 114"/>
              <a:gd name="T36" fmla="*/ 96 w 120"/>
              <a:gd name="T37" fmla="*/ 6 h 114"/>
              <a:gd name="T38" fmla="*/ 96 w 120"/>
              <a:gd name="T39" fmla="*/ 6 h 114"/>
              <a:gd name="T40" fmla="*/ 96 w 120"/>
              <a:gd name="T41" fmla="*/ 12 h 114"/>
              <a:gd name="T42" fmla="*/ 96 w 120"/>
              <a:gd name="T43" fmla="*/ 18 h 114"/>
              <a:gd name="T44" fmla="*/ 102 w 120"/>
              <a:gd name="T45" fmla="*/ 18 h 114"/>
              <a:gd name="T46" fmla="*/ 108 w 120"/>
              <a:gd name="T47" fmla="*/ 18 h 114"/>
              <a:gd name="T48" fmla="*/ 108 w 120"/>
              <a:gd name="T49" fmla="*/ 24 h 114"/>
              <a:gd name="T50" fmla="*/ 108 w 120"/>
              <a:gd name="T51" fmla="*/ 30 h 114"/>
              <a:gd name="T52" fmla="*/ 108 w 120"/>
              <a:gd name="T53" fmla="*/ 30 h 114"/>
              <a:gd name="T54" fmla="*/ 102 w 120"/>
              <a:gd name="T55" fmla="*/ 36 h 114"/>
              <a:gd name="T56" fmla="*/ 102 w 120"/>
              <a:gd name="T57" fmla="*/ 42 h 114"/>
              <a:gd name="T58" fmla="*/ 102 w 120"/>
              <a:gd name="T59" fmla="*/ 48 h 114"/>
              <a:gd name="T60" fmla="*/ 114 w 120"/>
              <a:gd name="T61" fmla="*/ 54 h 114"/>
              <a:gd name="T62" fmla="*/ 120 w 120"/>
              <a:gd name="T63" fmla="*/ 60 h 114"/>
              <a:gd name="T64" fmla="*/ 114 w 120"/>
              <a:gd name="T65" fmla="*/ 66 h 114"/>
              <a:gd name="T66" fmla="*/ 102 w 120"/>
              <a:gd name="T67" fmla="*/ 60 h 114"/>
              <a:gd name="T68" fmla="*/ 96 w 120"/>
              <a:gd name="T69" fmla="*/ 66 h 114"/>
              <a:gd name="T70" fmla="*/ 90 w 120"/>
              <a:gd name="T71" fmla="*/ 66 h 114"/>
              <a:gd name="T72" fmla="*/ 90 w 120"/>
              <a:gd name="T73" fmla="*/ 72 h 114"/>
              <a:gd name="T74" fmla="*/ 90 w 120"/>
              <a:gd name="T75" fmla="*/ 78 h 114"/>
              <a:gd name="T76" fmla="*/ 90 w 120"/>
              <a:gd name="T77" fmla="*/ 84 h 114"/>
              <a:gd name="T78" fmla="*/ 90 w 120"/>
              <a:gd name="T79" fmla="*/ 84 h 114"/>
              <a:gd name="T80" fmla="*/ 90 w 120"/>
              <a:gd name="T81" fmla="*/ 96 h 114"/>
              <a:gd name="T82" fmla="*/ 84 w 120"/>
              <a:gd name="T83" fmla="*/ 96 h 114"/>
              <a:gd name="T84" fmla="*/ 84 w 120"/>
              <a:gd name="T85" fmla="*/ 96 h 114"/>
              <a:gd name="T86" fmla="*/ 72 w 120"/>
              <a:gd name="T87" fmla="*/ 96 h 114"/>
              <a:gd name="T88" fmla="*/ 66 w 120"/>
              <a:gd name="T89" fmla="*/ 96 h 114"/>
              <a:gd name="T90" fmla="*/ 60 w 120"/>
              <a:gd name="T91" fmla="*/ 96 h 114"/>
              <a:gd name="T92" fmla="*/ 60 w 120"/>
              <a:gd name="T93" fmla="*/ 96 h 114"/>
              <a:gd name="T94" fmla="*/ 54 w 120"/>
              <a:gd name="T95" fmla="*/ 102 h 114"/>
              <a:gd name="T96" fmla="*/ 42 w 120"/>
              <a:gd name="T97" fmla="*/ 108 h 114"/>
              <a:gd name="T98" fmla="*/ 36 w 120"/>
              <a:gd name="T99" fmla="*/ 108 h 114"/>
              <a:gd name="T100" fmla="*/ 30 w 120"/>
              <a:gd name="T101" fmla="*/ 108 h 114"/>
              <a:gd name="T102" fmla="*/ 36 w 120"/>
              <a:gd name="T103" fmla="*/ 102 h 114"/>
              <a:gd name="T104" fmla="*/ 36 w 120"/>
              <a:gd name="T105" fmla="*/ 90 h 114"/>
              <a:gd name="T106" fmla="*/ 42 w 120"/>
              <a:gd name="T107" fmla="*/ 84 h 114"/>
              <a:gd name="T108" fmla="*/ 36 w 120"/>
              <a:gd name="T109" fmla="*/ 84 h 114"/>
              <a:gd name="T110" fmla="*/ 30 w 120"/>
              <a:gd name="T111" fmla="*/ 78 h 114"/>
              <a:gd name="T112" fmla="*/ 30 w 120"/>
              <a:gd name="T113" fmla="*/ 72 h 114"/>
              <a:gd name="T114" fmla="*/ 24 w 120"/>
              <a:gd name="T115" fmla="*/ 66 h 114"/>
              <a:gd name="T116" fmla="*/ 18 w 120"/>
              <a:gd name="T117" fmla="*/ 54 h 114"/>
              <a:gd name="T118" fmla="*/ 18 w 120"/>
              <a:gd name="T119" fmla="*/ 48 h 114"/>
              <a:gd name="T120" fmla="*/ 12 w 120"/>
              <a:gd name="T121" fmla="*/ 48 h 114"/>
              <a:gd name="T122" fmla="*/ 6 w 120"/>
              <a:gd name="T123" fmla="*/ 48 h 114"/>
              <a:gd name="T124" fmla="*/ 0 w 120"/>
              <a:gd name="T125" fmla="*/ 42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20" h="114">
                <a:moveTo>
                  <a:pt x="0" y="42"/>
                </a:moveTo>
                <a:lnTo>
                  <a:pt x="0" y="42"/>
                </a:lnTo>
                <a:lnTo>
                  <a:pt x="0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0" y="36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12" y="12"/>
                </a:lnTo>
                <a:lnTo>
                  <a:pt x="12" y="12"/>
                </a:lnTo>
                <a:lnTo>
                  <a:pt x="12" y="6"/>
                </a:lnTo>
                <a:lnTo>
                  <a:pt x="12" y="6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8" y="12"/>
                </a:lnTo>
                <a:lnTo>
                  <a:pt x="24" y="12"/>
                </a:lnTo>
                <a:lnTo>
                  <a:pt x="24" y="12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2"/>
                </a:lnTo>
                <a:lnTo>
                  <a:pt x="30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8" y="12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6"/>
                </a:lnTo>
                <a:lnTo>
                  <a:pt x="66" y="6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90" y="12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0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8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8"/>
                </a:lnTo>
                <a:lnTo>
                  <a:pt x="108" y="48"/>
                </a:lnTo>
                <a:lnTo>
                  <a:pt x="102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14" y="48"/>
                </a:lnTo>
                <a:lnTo>
                  <a:pt x="114" y="54"/>
                </a:lnTo>
                <a:lnTo>
                  <a:pt x="114" y="48"/>
                </a:lnTo>
                <a:lnTo>
                  <a:pt x="114" y="48"/>
                </a:lnTo>
                <a:lnTo>
                  <a:pt x="114" y="54"/>
                </a:lnTo>
                <a:lnTo>
                  <a:pt x="114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60"/>
                </a:lnTo>
                <a:lnTo>
                  <a:pt x="120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0"/>
                </a:lnTo>
                <a:lnTo>
                  <a:pt x="108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6"/>
                </a:lnTo>
                <a:lnTo>
                  <a:pt x="102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6" y="90"/>
                </a:lnTo>
                <a:lnTo>
                  <a:pt x="90" y="90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102"/>
                </a:lnTo>
                <a:lnTo>
                  <a:pt x="54" y="96"/>
                </a:lnTo>
                <a:lnTo>
                  <a:pt x="54" y="102"/>
                </a:lnTo>
                <a:lnTo>
                  <a:pt x="54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8"/>
                </a:lnTo>
                <a:lnTo>
                  <a:pt x="48" y="108"/>
                </a:lnTo>
                <a:lnTo>
                  <a:pt x="48" y="102"/>
                </a:lnTo>
                <a:lnTo>
                  <a:pt x="42" y="108"/>
                </a:lnTo>
                <a:lnTo>
                  <a:pt x="42" y="102"/>
                </a:lnTo>
                <a:lnTo>
                  <a:pt x="42" y="108"/>
                </a:lnTo>
                <a:lnTo>
                  <a:pt x="42" y="102"/>
                </a:lnTo>
                <a:lnTo>
                  <a:pt x="36" y="102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2"/>
                </a:lnTo>
                <a:lnTo>
                  <a:pt x="30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0"/>
                </a:lnTo>
                <a:lnTo>
                  <a:pt x="36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78"/>
                </a:lnTo>
                <a:lnTo>
                  <a:pt x="36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2"/>
                </a:lnTo>
                <a:lnTo>
                  <a:pt x="18" y="42"/>
                </a:lnTo>
                <a:lnTo>
                  <a:pt x="18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0" y="42"/>
                </a:lnTo>
                <a:lnTo>
                  <a:pt x="0" y="4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28" name="Freeform 261"/>
          <p:cNvSpPr>
            <a:spLocks/>
          </p:cNvSpPr>
          <p:nvPr/>
        </p:nvSpPr>
        <p:spPr bwMode="auto">
          <a:xfrm>
            <a:off x="7340082" y="4135004"/>
            <a:ext cx="128481" cy="102786"/>
          </a:xfrm>
          <a:custGeom>
            <a:avLst/>
            <a:gdLst>
              <a:gd name="T0" fmla="*/ 6 w 120"/>
              <a:gd name="T1" fmla="*/ 30 h 96"/>
              <a:gd name="T2" fmla="*/ 12 w 120"/>
              <a:gd name="T3" fmla="*/ 24 h 96"/>
              <a:gd name="T4" fmla="*/ 18 w 120"/>
              <a:gd name="T5" fmla="*/ 18 h 96"/>
              <a:gd name="T6" fmla="*/ 18 w 120"/>
              <a:gd name="T7" fmla="*/ 18 h 96"/>
              <a:gd name="T8" fmla="*/ 18 w 120"/>
              <a:gd name="T9" fmla="*/ 6 h 96"/>
              <a:gd name="T10" fmla="*/ 24 w 120"/>
              <a:gd name="T11" fmla="*/ 6 h 96"/>
              <a:gd name="T12" fmla="*/ 30 w 120"/>
              <a:gd name="T13" fmla="*/ 12 h 96"/>
              <a:gd name="T14" fmla="*/ 36 w 120"/>
              <a:gd name="T15" fmla="*/ 6 h 96"/>
              <a:gd name="T16" fmla="*/ 36 w 120"/>
              <a:gd name="T17" fmla="*/ 6 h 96"/>
              <a:gd name="T18" fmla="*/ 42 w 120"/>
              <a:gd name="T19" fmla="*/ 6 h 96"/>
              <a:gd name="T20" fmla="*/ 42 w 120"/>
              <a:gd name="T21" fmla="*/ 6 h 96"/>
              <a:gd name="T22" fmla="*/ 48 w 120"/>
              <a:gd name="T23" fmla="*/ 12 h 96"/>
              <a:gd name="T24" fmla="*/ 48 w 120"/>
              <a:gd name="T25" fmla="*/ 6 h 96"/>
              <a:gd name="T26" fmla="*/ 54 w 120"/>
              <a:gd name="T27" fmla="*/ 0 h 96"/>
              <a:gd name="T28" fmla="*/ 60 w 120"/>
              <a:gd name="T29" fmla="*/ 6 h 96"/>
              <a:gd name="T30" fmla="*/ 66 w 120"/>
              <a:gd name="T31" fmla="*/ 12 h 96"/>
              <a:gd name="T32" fmla="*/ 66 w 120"/>
              <a:gd name="T33" fmla="*/ 12 h 96"/>
              <a:gd name="T34" fmla="*/ 72 w 120"/>
              <a:gd name="T35" fmla="*/ 12 h 96"/>
              <a:gd name="T36" fmla="*/ 72 w 120"/>
              <a:gd name="T37" fmla="*/ 12 h 96"/>
              <a:gd name="T38" fmla="*/ 78 w 120"/>
              <a:gd name="T39" fmla="*/ 12 h 96"/>
              <a:gd name="T40" fmla="*/ 78 w 120"/>
              <a:gd name="T41" fmla="*/ 12 h 96"/>
              <a:gd name="T42" fmla="*/ 84 w 120"/>
              <a:gd name="T43" fmla="*/ 18 h 96"/>
              <a:gd name="T44" fmla="*/ 90 w 120"/>
              <a:gd name="T45" fmla="*/ 18 h 96"/>
              <a:gd name="T46" fmla="*/ 96 w 120"/>
              <a:gd name="T47" fmla="*/ 12 h 96"/>
              <a:gd name="T48" fmla="*/ 96 w 120"/>
              <a:gd name="T49" fmla="*/ 18 h 96"/>
              <a:gd name="T50" fmla="*/ 96 w 120"/>
              <a:gd name="T51" fmla="*/ 24 h 96"/>
              <a:gd name="T52" fmla="*/ 102 w 120"/>
              <a:gd name="T53" fmla="*/ 30 h 96"/>
              <a:gd name="T54" fmla="*/ 102 w 120"/>
              <a:gd name="T55" fmla="*/ 36 h 96"/>
              <a:gd name="T56" fmla="*/ 108 w 120"/>
              <a:gd name="T57" fmla="*/ 42 h 96"/>
              <a:gd name="T58" fmla="*/ 108 w 120"/>
              <a:gd name="T59" fmla="*/ 48 h 96"/>
              <a:gd name="T60" fmla="*/ 108 w 120"/>
              <a:gd name="T61" fmla="*/ 48 h 96"/>
              <a:gd name="T62" fmla="*/ 114 w 120"/>
              <a:gd name="T63" fmla="*/ 54 h 96"/>
              <a:gd name="T64" fmla="*/ 120 w 120"/>
              <a:gd name="T65" fmla="*/ 54 h 96"/>
              <a:gd name="T66" fmla="*/ 120 w 120"/>
              <a:gd name="T67" fmla="*/ 60 h 96"/>
              <a:gd name="T68" fmla="*/ 114 w 120"/>
              <a:gd name="T69" fmla="*/ 66 h 96"/>
              <a:gd name="T70" fmla="*/ 114 w 120"/>
              <a:gd name="T71" fmla="*/ 66 h 96"/>
              <a:gd name="T72" fmla="*/ 108 w 120"/>
              <a:gd name="T73" fmla="*/ 72 h 96"/>
              <a:gd name="T74" fmla="*/ 108 w 120"/>
              <a:gd name="T75" fmla="*/ 84 h 96"/>
              <a:gd name="T76" fmla="*/ 102 w 120"/>
              <a:gd name="T77" fmla="*/ 78 h 96"/>
              <a:gd name="T78" fmla="*/ 90 w 120"/>
              <a:gd name="T79" fmla="*/ 84 h 96"/>
              <a:gd name="T80" fmla="*/ 90 w 120"/>
              <a:gd name="T81" fmla="*/ 90 h 96"/>
              <a:gd name="T82" fmla="*/ 84 w 120"/>
              <a:gd name="T83" fmla="*/ 90 h 96"/>
              <a:gd name="T84" fmla="*/ 78 w 120"/>
              <a:gd name="T85" fmla="*/ 90 h 96"/>
              <a:gd name="T86" fmla="*/ 66 w 120"/>
              <a:gd name="T87" fmla="*/ 96 h 96"/>
              <a:gd name="T88" fmla="*/ 60 w 120"/>
              <a:gd name="T89" fmla="*/ 96 h 96"/>
              <a:gd name="T90" fmla="*/ 54 w 120"/>
              <a:gd name="T91" fmla="*/ 96 h 96"/>
              <a:gd name="T92" fmla="*/ 54 w 120"/>
              <a:gd name="T93" fmla="*/ 90 h 96"/>
              <a:gd name="T94" fmla="*/ 60 w 120"/>
              <a:gd name="T95" fmla="*/ 90 h 96"/>
              <a:gd name="T96" fmla="*/ 54 w 120"/>
              <a:gd name="T97" fmla="*/ 84 h 96"/>
              <a:gd name="T98" fmla="*/ 60 w 120"/>
              <a:gd name="T99" fmla="*/ 78 h 96"/>
              <a:gd name="T100" fmla="*/ 60 w 120"/>
              <a:gd name="T101" fmla="*/ 72 h 96"/>
              <a:gd name="T102" fmla="*/ 60 w 120"/>
              <a:gd name="T103" fmla="*/ 66 h 96"/>
              <a:gd name="T104" fmla="*/ 54 w 120"/>
              <a:gd name="T105" fmla="*/ 54 h 96"/>
              <a:gd name="T106" fmla="*/ 48 w 120"/>
              <a:gd name="T107" fmla="*/ 54 h 96"/>
              <a:gd name="T108" fmla="*/ 42 w 120"/>
              <a:gd name="T109" fmla="*/ 60 h 96"/>
              <a:gd name="T110" fmla="*/ 36 w 120"/>
              <a:gd name="T111" fmla="*/ 54 h 96"/>
              <a:gd name="T112" fmla="*/ 36 w 120"/>
              <a:gd name="T113" fmla="*/ 48 h 96"/>
              <a:gd name="T114" fmla="*/ 24 w 120"/>
              <a:gd name="T115" fmla="*/ 48 h 96"/>
              <a:gd name="T116" fmla="*/ 18 w 120"/>
              <a:gd name="T117" fmla="*/ 48 h 96"/>
              <a:gd name="T118" fmla="*/ 18 w 120"/>
              <a:gd name="T119" fmla="*/ 42 h 96"/>
              <a:gd name="T120" fmla="*/ 6 w 120"/>
              <a:gd name="T121" fmla="*/ 42 h 96"/>
              <a:gd name="T122" fmla="*/ 6 w 120"/>
              <a:gd name="T123" fmla="*/ 36 h 96"/>
              <a:gd name="T124" fmla="*/ 0 w 120"/>
              <a:gd name="T125" fmla="*/ 3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20" h="96">
                <a:moveTo>
                  <a:pt x="0" y="30"/>
                </a:moveTo>
                <a:lnTo>
                  <a:pt x="0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12" y="30"/>
                </a:lnTo>
                <a:lnTo>
                  <a:pt x="12" y="30"/>
                </a:lnTo>
                <a:lnTo>
                  <a:pt x="12" y="24"/>
                </a:lnTo>
                <a:lnTo>
                  <a:pt x="12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6"/>
                </a:lnTo>
                <a:lnTo>
                  <a:pt x="18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12"/>
                </a:lnTo>
                <a:lnTo>
                  <a:pt x="30" y="6"/>
                </a:lnTo>
                <a:lnTo>
                  <a:pt x="30" y="12"/>
                </a:lnTo>
                <a:lnTo>
                  <a:pt x="30" y="12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0"/>
                </a:lnTo>
                <a:lnTo>
                  <a:pt x="36" y="0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8" y="18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54" y="0"/>
                </a:lnTo>
                <a:lnTo>
                  <a:pt x="54" y="0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12"/>
                </a:lnTo>
                <a:lnTo>
                  <a:pt x="60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84" y="12"/>
                </a:lnTo>
                <a:lnTo>
                  <a:pt x="84" y="12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6" y="18"/>
                </a:lnTo>
                <a:lnTo>
                  <a:pt x="96" y="12"/>
                </a:lnTo>
                <a:lnTo>
                  <a:pt x="96" y="12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84"/>
                </a:lnTo>
                <a:lnTo>
                  <a:pt x="108" y="84"/>
                </a:lnTo>
                <a:lnTo>
                  <a:pt x="102" y="78"/>
                </a:lnTo>
                <a:lnTo>
                  <a:pt x="102" y="84"/>
                </a:lnTo>
                <a:lnTo>
                  <a:pt x="102" y="78"/>
                </a:lnTo>
                <a:lnTo>
                  <a:pt x="102" y="78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0" y="96"/>
                </a:lnTo>
                <a:lnTo>
                  <a:pt x="60" y="96"/>
                </a:lnTo>
                <a:lnTo>
                  <a:pt x="60" y="90"/>
                </a:lnTo>
                <a:lnTo>
                  <a:pt x="60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48" y="96"/>
                </a:lnTo>
                <a:lnTo>
                  <a:pt x="48" y="96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60" y="90"/>
                </a:lnTo>
                <a:lnTo>
                  <a:pt x="60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2"/>
                </a:lnTo>
                <a:lnTo>
                  <a:pt x="66" y="72"/>
                </a:lnTo>
                <a:lnTo>
                  <a:pt x="60" y="72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54" y="66"/>
                </a:lnTo>
                <a:lnTo>
                  <a:pt x="54" y="66"/>
                </a:lnTo>
                <a:lnTo>
                  <a:pt x="54" y="60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24" y="48"/>
                </a:lnTo>
                <a:lnTo>
                  <a:pt x="24" y="48"/>
                </a:lnTo>
                <a:lnTo>
                  <a:pt x="18" y="48"/>
                </a:lnTo>
                <a:lnTo>
                  <a:pt x="24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29" name="Freeform 262"/>
          <p:cNvSpPr>
            <a:spLocks/>
          </p:cNvSpPr>
          <p:nvPr/>
        </p:nvSpPr>
        <p:spPr bwMode="auto">
          <a:xfrm>
            <a:off x="7166633" y="4102884"/>
            <a:ext cx="89937" cy="141330"/>
          </a:xfrm>
          <a:custGeom>
            <a:avLst/>
            <a:gdLst>
              <a:gd name="T0" fmla="*/ 6 w 84"/>
              <a:gd name="T1" fmla="*/ 96 h 132"/>
              <a:gd name="T2" fmla="*/ 6 w 84"/>
              <a:gd name="T3" fmla="*/ 96 h 132"/>
              <a:gd name="T4" fmla="*/ 6 w 84"/>
              <a:gd name="T5" fmla="*/ 84 h 132"/>
              <a:gd name="T6" fmla="*/ 18 w 84"/>
              <a:gd name="T7" fmla="*/ 84 h 132"/>
              <a:gd name="T8" fmla="*/ 12 w 84"/>
              <a:gd name="T9" fmla="*/ 78 h 132"/>
              <a:gd name="T10" fmla="*/ 6 w 84"/>
              <a:gd name="T11" fmla="*/ 72 h 132"/>
              <a:gd name="T12" fmla="*/ 0 w 84"/>
              <a:gd name="T13" fmla="*/ 72 h 132"/>
              <a:gd name="T14" fmla="*/ 6 w 84"/>
              <a:gd name="T15" fmla="*/ 72 h 132"/>
              <a:gd name="T16" fmla="*/ 6 w 84"/>
              <a:gd name="T17" fmla="*/ 66 h 132"/>
              <a:gd name="T18" fmla="*/ 12 w 84"/>
              <a:gd name="T19" fmla="*/ 66 h 132"/>
              <a:gd name="T20" fmla="*/ 18 w 84"/>
              <a:gd name="T21" fmla="*/ 66 h 132"/>
              <a:gd name="T22" fmla="*/ 12 w 84"/>
              <a:gd name="T23" fmla="*/ 60 h 132"/>
              <a:gd name="T24" fmla="*/ 6 w 84"/>
              <a:gd name="T25" fmla="*/ 48 h 132"/>
              <a:gd name="T26" fmla="*/ 12 w 84"/>
              <a:gd name="T27" fmla="*/ 48 h 132"/>
              <a:gd name="T28" fmla="*/ 6 w 84"/>
              <a:gd name="T29" fmla="*/ 42 h 132"/>
              <a:gd name="T30" fmla="*/ 12 w 84"/>
              <a:gd name="T31" fmla="*/ 30 h 132"/>
              <a:gd name="T32" fmla="*/ 18 w 84"/>
              <a:gd name="T33" fmla="*/ 24 h 132"/>
              <a:gd name="T34" fmla="*/ 18 w 84"/>
              <a:gd name="T35" fmla="*/ 18 h 132"/>
              <a:gd name="T36" fmla="*/ 24 w 84"/>
              <a:gd name="T37" fmla="*/ 18 h 132"/>
              <a:gd name="T38" fmla="*/ 30 w 84"/>
              <a:gd name="T39" fmla="*/ 12 h 132"/>
              <a:gd name="T40" fmla="*/ 30 w 84"/>
              <a:gd name="T41" fmla="*/ 6 h 132"/>
              <a:gd name="T42" fmla="*/ 36 w 84"/>
              <a:gd name="T43" fmla="*/ 6 h 132"/>
              <a:gd name="T44" fmla="*/ 42 w 84"/>
              <a:gd name="T45" fmla="*/ 6 h 132"/>
              <a:gd name="T46" fmla="*/ 54 w 84"/>
              <a:gd name="T47" fmla="*/ 6 h 132"/>
              <a:gd name="T48" fmla="*/ 60 w 84"/>
              <a:gd name="T49" fmla="*/ 6 h 132"/>
              <a:gd name="T50" fmla="*/ 66 w 84"/>
              <a:gd name="T51" fmla="*/ 6 h 132"/>
              <a:gd name="T52" fmla="*/ 72 w 84"/>
              <a:gd name="T53" fmla="*/ 6 h 132"/>
              <a:gd name="T54" fmla="*/ 84 w 84"/>
              <a:gd name="T55" fmla="*/ 18 h 132"/>
              <a:gd name="T56" fmla="*/ 84 w 84"/>
              <a:gd name="T57" fmla="*/ 24 h 132"/>
              <a:gd name="T58" fmla="*/ 78 w 84"/>
              <a:gd name="T59" fmla="*/ 30 h 132"/>
              <a:gd name="T60" fmla="*/ 78 w 84"/>
              <a:gd name="T61" fmla="*/ 36 h 132"/>
              <a:gd name="T62" fmla="*/ 84 w 84"/>
              <a:gd name="T63" fmla="*/ 42 h 132"/>
              <a:gd name="T64" fmla="*/ 78 w 84"/>
              <a:gd name="T65" fmla="*/ 54 h 132"/>
              <a:gd name="T66" fmla="*/ 78 w 84"/>
              <a:gd name="T67" fmla="*/ 60 h 132"/>
              <a:gd name="T68" fmla="*/ 72 w 84"/>
              <a:gd name="T69" fmla="*/ 66 h 132"/>
              <a:gd name="T70" fmla="*/ 72 w 84"/>
              <a:gd name="T71" fmla="*/ 66 h 132"/>
              <a:gd name="T72" fmla="*/ 66 w 84"/>
              <a:gd name="T73" fmla="*/ 78 h 132"/>
              <a:gd name="T74" fmla="*/ 66 w 84"/>
              <a:gd name="T75" fmla="*/ 84 h 132"/>
              <a:gd name="T76" fmla="*/ 60 w 84"/>
              <a:gd name="T77" fmla="*/ 90 h 132"/>
              <a:gd name="T78" fmla="*/ 66 w 84"/>
              <a:gd name="T79" fmla="*/ 96 h 132"/>
              <a:gd name="T80" fmla="*/ 66 w 84"/>
              <a:gd name="T81" fmla="*/ 96 h 132"/>
              <a:gd name="T82" fmla="*/ 66 w 84"/>
              <a:gd name="T83" fmla="*/ 102 h 132"/>
              <a:gd name="T84" fmla="*/ 66 w 84"/>
              <a:gd name="T85" fmla="*/ 108 h 132"/>
              <a:gd name="T86" fmla="*/ 60 w 84"/>
              <a:gd name="T87" fmla="*/ 120 h 132"/>
              <a:gd name="T88" fmla="*/ 60 w 84"/>
              <a:gd name="T89" fmla="*/ 114 h 132"/>
              <a:gd name="T90" fmla="*/ 54 w 84"/>
              <a:gd name="T91" fmla="*/ 114 h 132"/>
              <a:gd name="T92" fmla="*/ 48 w 84"/>
              <a:gd name="T93" fmla="*/ 114 h 132"/>
              <a:gd name="T94" fmla="*/ 42 w 84"/>
              <a:gd name="T95" fmla="*/ 120 h 132"/>
              <a:gd name="T96" fmla="*/ 36 w 84"/>
              <a:gd name="T97" fmla="*/ 132 h 132"/>
              <a:gd name="T98" fmla="*/ 30 w 84"/>
              <a:gd name="T99" fmla="*/ 132 h 132"/>
              <a:gd name="T100" fmla="*/ 24 w 84"/>
              <a:gd name="T101" fmla="*/ 126 h 132"/>
              <a:gd name="T102" fmla="*/ 24 w 84"/>
              <a:gd name="T103" fmla="*/ 120 h 132"/>
              <a:gd name="T104" fmla="*/ 12 w 84"/>
              <a:gd name="T105" fmla="*/ 120 h 132"/>
              <a:gd name="T106" fmla="*/ 12 w 84"/>
              <a:gd name="T107" fmla="*/ 114 h 132"/>
              <a:gd name="T108" fmla="*/ 6 w 84"/>
              <a:gd name="T109" fmla="*/ 108 h 132"/>
              <a:gd name="T110" fmla="*/ 6 w 84"/>
              <a:gd name="T111" fmla="*/ 108 h 132"/>
              <a:gd name="T112" fmla="*/ 6 w 84"/>
              <a:gd name="T113" fmla="*/ 102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84" h="132">
                <a:moveTo>
                  <a:pt x="0" y="102"/>
                </a:moveTo>
                <a:lnTo>
                  <a:pt x="0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8" y="84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2" y="78"/>
                </a:lnTo>
                <a:lnTo>
                  <a:pt x="12" y="78"/>
                </a:lnTo>
                <a:lnTo>
                  <a:pt x="12" y="72"/>
                </a:lnTo>
                <a:lnTo>
                  <a:pt x="12" y="72"/>
                </a:ln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12" y="72"/>
                </a:lnTo>
                <a:lnTo>
                  <a:pt x="12" y="72"/>
                </a:ln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0"/>
                </a:lnTo>
                <a:lnTo>
                  <a:pt x="18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6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8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8" y="18"/>
                </a:lnTo>
                <a:lnTo>
                  <a:pt x="18" y="24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12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0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12"/>
                </a:lnTo>
                <a:lnTo>
                  <a:pt x="66" y="6"/>
                </a:lnTo>
                <a:lnTo>
                  <a:pt x="66" y="12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24"/>
                </a:lnTo>
                <a:lnTo>
                  <a:pt x="84" y="24"/>
                </a:lnTo>
                <a:lnTo>
                  <a:pt x="78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78" y="30"/>
                </a:lnTo>
                <a:lnTo>
                  <a:pt x="78" y="30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2" y="60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8"/>
                </a:lnTo>
                <a:lnTo>
                  <a:pt x="66" y="78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6" y="90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54" y="114"/>
                </a:lnTo>
                <a:lnTo>
                  <a:pt x="60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48" y="114"/>
                </a:lnTo>
                <a:lnTo>
                  <a:pt x="48" y="114"/>
                </a:lnTo>
                <a:lnTo>
                  <a:pt x="48" y="114"/>
                </a:lnTo>
                <a:lnTo>
                  <a:pt x="48" y="114"/>
                </a:lnTo>
                <a:lnTo>
                  <a:pt x="48" y="114"/>
                </a:lnTo>
                <a:lnTo>
                  <a:pt x="48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20"/>
                </a:lnTo>
                <a:lnTo>
                  <a:pt x="42" y="120"/>
                </a:lnTo>
                <a:lnTo>
                  <a:pt x="42" y="120"/>
                </a:lnTo>
                <a:lnTo>
                  <a:pt x="42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32"/>
                </a:lnTo>
                <a:lnTo>
                  <a:pt x="36" y="132"/>
                </a:lnTo>
                <a:lnTo>
                  <a:pt x="36" y="132"/>
                </a:lnTo>
                <a:lnTo>
                  <a:pt x="36" y="132"/>
                </a:lnTo>
                <a:lnTo>
                  <a:pt x="36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26"/>
                </a:lnTo>
                <a:lnTo>
                  <a:pt x="24" y="126"/>
                </a:lnTo>
                <a:lnTo>
                  <a:pt x="24" y="126"/>
                </a:lnTo>
                <a:lnTo>
                  <a:pt x="30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08"/>
                </a:lnTo>
                <a:lnTo>
                  <a:pt x="12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0" y="102"/>
                </a:lnTo>
                <a:lnTo>
                  <a:pt x="0" y="10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30" name="Freeform 263"/>
          <p:cNvSpPr>
            <a:spLocks/>
          </p:cNvSpPr>
          <p:nvPr/>
        </p:nvSpPr>
        <p:spPr bwMode="auto">
          <a:xfrm>
            <a:off x="7699829" y="4057915"/>
            <a:ext cx="96361" cy="109210"/>
          </a:xfrm>
          <a:custGeom>
            <a:avLst/>
            <a:gdLst>
              <a:gd name="T0" fmla="*/ 0 w 90"/>
              <a:gd name="T1" fmla="*/ 96 h 102"/>
              <a:gd name="T2" fmla="*/ 6 w 90"/>
              <a:gd name="T3" fmla="*/ 90 h 102"/>
              <a:gd name="T4" fmla="*/ 6 w 90"/>
              <a:gd name="T5" fmla="*/ 90 h 102"/>
              <a:gd name="T6" fmla="*/ 6 w 90"/>
              <a:gd name="T7" fmla="*/ 84 h 102"/>
              <a:gd name="T8" fmla="*/ 0 w 90"/>
              <a:gd name="T9" fmla="*/ 84 h 102"/>
              <a:gd name="T10" fmla="*/ 6 w 90"/>
              <a:gd name="T11" fmla="*/ 78 h 102"/>
              <a:gd name="T12" fmla="*/ 6 w 90"/>
              <a:gd name="T13" fmla="*/ 72 h 102"/>
              <a:gd name="T14" fmla="*/ 6 w 90"/>
              <a:gd name="T15" fmla="*/ 66 h 102"/>
              <a:gd name="T16" fmla="*/ 0 w 90"/>
              <a:gd name="T17" fmla="*/ 66 h 102"/>
              <a:gd name="T18" fmla="*/ 0 w 90"/>
              <a:gd name="T19" fmla="*/ 60 h 102"/>
              <a:gd name="T20" fmla="*/ 6 w 90"/>
              <a:gd name="T21" fmla="*/ 54 h 102"/>
              <a:gd name="T22" fmla="*/ 6 w 90"/>
              <a:gd name="T23" fmla="*/ 48 h 102"/>
              <a:gd name="T24" fmla="*/ 6 w 90"/>
              <a:gd name="T25" fmla="*/ 42 h 102"/>
              <a:gd name="T26" fmla="*/ 6 w 90"/>
              <a:gd name="T27" fmla="*/ 42 h 102"/>
              <a:gd name="T28" fmla="*/ 6 w 90"/>
              <a:gd name="T29" fmla="*/ 36 h 102"/>
              <a:gd name="T30" fmla="*/ 6 w 90"/>
              <a:gd name="T31" fmla="*/ 36 h 102"/>
              <a:gd name="T32" fmla="*/ 0 w 90"/>
              <a:gd name="T33" fmla="*/ 30 h 102"/>
              <a:gd name="T34" fmla="*/ 0 w 90"/>
              <a:gd name="T35" fmla="*/ 30 h 102"/>
              <a:gd name="T36" fmla="*/ 6 w 90"/>
              <a:gd name="T37" fmla="*/ 24 h 102"/>
              <a:gd name="T38" fmla="*/ 6 w 90"/>
              <a:gd name="T39" fmla="*/ 24 h 102"/>
              <a:gd name="T40" fmla="*/ 12 w 90"/>
              <a:gd name="T41" fmla="*/ 24 h 102"/>
              <a:gd name="T42" fmla="*/ 12 w 90"/>
              <a:gd name="T43" fmla="*/ 18 h 102"/>
              <a:gd name="T44" fmla="*/ 12 w 90"/>
              <a:gd name="T45" fmla="*/ 12 h 102"/>
              <a:gd name="T46" fmla="*/ 18 w 90"/>
              <a:gd name="T47" fmla="*/ 12 h 102"/>
              <a:gd name="T48" fmla="*/ 18 w 90"/>
              <a:gd name="T49" fmla="*/ 6 h 102"/>
              <a:gd name="T50" fmla="*/ 18 w 90"/>
              <a:gd name="T51" fmla="*/ 0 h 102"/>
              <a:gd name="T52" fmla="*/ 24 w 90"/>
              <a:gd name="T53" fmla="*/ 6 h 102"/>
              <a:gd name="T54" fmla="*/ 30 w 90"/>
              <a:gd name="T55" fmla="*/ 6 h 102"/>
              <a:gd name="T56" fmla="*/ 36 w 90"/>
              <a:gd name="T57" fmla="*/ 6 h 102"/>
              <a:gd name="T58" fmla="*/ 42 w 90"/>
              <a:gd name="T59" fmla="*/ 6 h 102"/>
              <a:gd name="T60" fmla="*/ 48 w 90"/>
              <a:gd name="T61" fmla="*/ 0 h 102"/>
              <a:gd name="T62" fmla="*/ 48 w 90"/>
              <a:gd name="T63" fmla="*/ 0 h 102"/>
              <a:gd name="T64" fmla="*/ 48 w 90"/>
              <a:gd name="T65" fmla="*/ 6 h 102"/>
              <a:gd name="T66" fmla="*/ 54 w 90"/>
              <a:gd name="T67" fmla="*/ 6 h 102"/>
              <a:gd name="T68" fmla="*/ 66 w 90"/>
              <a:gd name="T69" fmla="*/ 6 h 102"/>
              <a:gd name="T70" fmla="*/ 66 w 90"/>
              <a:gd name="T71" fmla="*/ 12 h 102"/>
              <a:gd name="T72" fmla="*/ 78 w 90"/>
              <a:gd name="T73" fmla="*/ 18 h 102"/>
              <a:gd name="T74" fmla="*/ 84 w 90"/>
              <a:gd name="T75" fmla="*/ 18 h 102"/>
              <a:gd name="T76" fmla="*/ 84 w 90"/>
              <a:gd name="T77" fmla="*/ 18 h 102"/>
              <a:gd name="T78" fmla="*/ 90 w 90"/>
              <a:gd name="T79" fmla="*/ 24 h 102"/>
              <a:gd name="T80" fmla="*/ 90 w 90"/>
              <a:gd name="T81" fmla="*/ 24 h 102"/>
              <a:gd name="T82" fmla="*/ 84 w 90"/>
              <a:gd name="T83" fmla="*/ 30 h 102"/>
              <a:gd name="T84" fmla="*/ 84 w 90"/>
              <a:gd name="T85" fmla="*/ 30 h 102"/>
              <a:gd name="T86" fmla="*/ 84 w 90"/>
              <a:gd name="T87" fmla="*/ 36 h 102"/>
              <a:gd name="T88" fmla="*/ 84 w 90"/>
              <a:gd name="T89" fmla="*/ 42 h 102"/>
              <a:gd name="T90" fmla="*/ 78 w 90"/>
              <a:gd name="T91" fmla="*/ 48 h 102"/>
              <a:gd name="T92" fmla="*/ 72 w 90"/>
              <a:gd name="T93" fmla="*/ 48 h 102"/>
              <a:gd name="T94" fmla="*/ 72 w 90"/>
              <a:gd name="T95" fmla="*/ 54 h 102"/>
              <a:gd name="T96" fmla="*/ 72 w 90"/>
              <a:gd name="T97" fmla="*/ 60 h 102"/>
              <a:gd name="T98" fmla="*/ 72 w 90"/>
              <a:gd name="T99" fmla="*/ 60 h 102"/>
              <a:gd name="T100" fmla="*/ 78 w 90"/>
              <a:gd name="T101" fmla="*/ 60 h 102"/>
              <a:gd name="T102" fmla="*/ 84 w 90"/>
              <a:gd name="T103" fmla="*/ 66 h 102"/>
              <a:gd name="T104" fmla="*/ 84 w 90"/>
              <a:gd name="T105" fmla="*/ 66 h 102"/>
              <a:gd name="T106" fmla="*/ 78 w 90"/>
              <a:gd name="T107" fmla="*/ 72 h 102"/>
              <a:gd name="T108" fmla="*/ 66 w 90"/>
              <a:gd name="T109" fmla="*/ 72 h 102"/>
              <a:gd name="T110" fmla="*/ 42 w 90"/>
              <a:gd name="T111" fmla="*/ 84 h 102"/>
              <a:gd name="T112" fmla="*/ 36 w 90"/>
              <a:gd name="T113" fmla="*/ 90 h 102"/>
              <a:gd name="T114" fmla="*/ 18 w 90"/>
              <a:gd name="T115" fmla="*/ 96 h 102"/>
              <a:gd name="T116" fmla="*/ 0 w 90"/>
              <a:gd name="T117" fmla="*/ 102 h 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90" h="102">
                <a:moveTo>
                  <a:pt x="0" y="102"/>
                </a:move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0" y="90"/>
                </a:lnTo>
                <a:lnTo>
                  <a:pt x="6" y="90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6" y="90"/>
                </a:lnTo>
                <a:lnTo>
                  <a:pt x="6" y="90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0" y="84"/>
                </a:lnTo>
                <a:lnTo>
                  <a:pt x="6" y="84"/>
                </a:lnTo>
                <a:lnTo>
                  <a:pt x="0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30"/>
                </a:lnTo>
                <a:lnTo>
                  <a:pt x="6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6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0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0"/>
                </a:lnTo>
                <a:lnTo>
                  <a:pt x="48" y="6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12"/>
                </a:lnTo>
                <a:lnTo>
                  <a:pt x="60" y="12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84" y="24"/>
                </a:lnTo>
                <a:lnTo>
                  <a:pt x="84" y="24"/>
                </a:lnTo>
                <a:lnTo>
                  <a:pt x="90" y="24"/>
                </a:lnTo>
                <a:lnTo>
                  <a:pt x="90" y="24"/>
                </a:lnTo>
                <a:lnTo>
                  <a:pt x="84" y="30"/>
                </a:lnTo>
                <a:lnTo>
                  <a:pt x="84" y="30"/>
                </a:lnTo>
                <a:lnTo>
                  <a:pt x="84" y="24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78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2" y="48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6"/>
                </a:lnTo>
                <a:lnTo>
                  <a:pt x="84" y="60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66" y="72"/>
                </a:lnTo>
                <a:lnTo>
                  <a:pt x="60" y="78"/>
                </a:lnTo>
                <a:lnTo>
                  <a:pt x="60" y="78"/>
                </a:lnTo>
                <a:lnTo>
                  <a:pt x="48" y="78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36" y="84"/>
                </a:lnTo>
                <a:lnTo>
                  <a:pt x="36" y="90"/>
                </a:lnTo>
                <a:lnTo>
                  <a:pt x="30" y="90"/>
                </a:lnTo>
                <a:lnTo>
                  <a:pt x="30" y="90"/>
                </a:lnTo>
                <a:lnTo>
                  <a:pt x="24" y="90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6" y="96"/>
                </a:lnTo>
                <a:lnTo>
                  <a:pt x="6" y="102"/>
                </a:lnTo>
                <a:lnTo>
                  <a:pt x="6" y="102"/>
                </a:lnTo>
                <a:lnTo>
                  <a:pt x="0" y="10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31" name="Freeform 264"/>
          <p:cNvSpPr>
            <a:spLocks/>
          </p:cNvSpPr>
          <p:nvPr/>
        </p:nvSpPr>
        <p:spPr bwMode="auto">
          <a:xfrm>
            <a:off x="7218025" y="4000098"/>
            <a:ext cx="96361" cy="160602"/>
          </a:xfrm>
          <a:custGeom>
            <a:avLst/>
            <a:gdLst>
              <a:gd name="T0" fmla="*/ 12 w 90"/>
              <a:gd name="T1" fmla="*/ 90 h 150"/>
              <a:gd name="T2" fmla="*/ 18 w 90"/>
              <a:gd name="T3" fmla="*/ 84 h 150"/>
              <a:gd name="T4" fmla="*/ 18 w 90"/>
              <a:gd name="T5" fmla="*/ 78 h 150"/>
              <a:gd name="T6" fmla="*/ 24 w 90"/>
              <a:gd name="T7" fmla="*/ 72 h 150"/>
              <a:gd name="T8" fmla="*/ 18 w 90"/>
              <a:gd name="T9" fmla="*/ 66 h 150"/>
              <a:gd name="T10" fmla="*/ 12 w 90"/>
              <a:gd name="T11" fmla="*/ 60 h 150"/>
              <a:gd name="T12" fmla="*/ 6 w 90"/>
              <a:gd name="T13" fmla="*/ 54 h 150"/>
              <a:gd name="T14" fmla="*/ 6 w 90"/>
              <a:gd name="T15" fmla="*/ 54 h 150"/>
              <a:gd name="T16" fmla="*/ 6 w 90"/>
              <a:gd name="T17" fmla="*/ 48 h 150"/>
              <a:gd name="T18" fmla="*/ 12 w 90"/>
              <a:gd name="T19" fmla="*/ 42 h 150"/>
              <a:gd name="T20" fmla="*/ 6 w 90"/>
              <a:gd name="T21" fmla="*/ 42 h 150"/>
              <a:gd name="T22" fmla="*/ 6 w 90"/>
              <a:gd name="T23" fmla="*/ 36 h 150"/>
              <a:gd name="T24" fmla="*/ 0 w 90"/>
              <a:gd name="T25" fmla="*/ 24 h 150"/>
              <a:gd name="T26" fmla="*/ 6 w 90"/>
              <a:gd name="T27" fmla="*/ 24 h 150"/>
              <a:gd name="T28" fmla="*/ 12 w 90"/>
              <a:gd name="T29" fmla="*/ 18 h 150"/>
              <a:gd name="T30" fmla="*/ 18 w 90"/>
              <a:gd name="T31" fmla="*/ 12 h 150"/>
              <a:gd name="T32" fmla="*/ 18 w 90"/>
              <a:gd name="T33" fmla="*/ 6 h 150"/>
              <a:gd name="T34" fmla="*/ 24 w 90"/>
              <a:gd name="T35" fmla="*/ 0 h 150"/>
              <a:gd name="T36" fmla="*/ 30 w 90"/>
              <a:gd name="T37" fmla="*/ 6 h 150"/>
              <a:gd name="T38" fmla="*/ 42 w 90"/>
              <a:gd name="T39" fmla="*/ 12 h 150"/>
              <a:gd name="T40" fmla="*/ 54 w 90"/>
              <a:gd name="T41" fmla="*/ 12 h 150"/>
              <a:gd name="T42" fmla="*/ 54 w 90"/>
              <a:gd name="T43" fmla="*/ 18 h 150"/>
              <a:gd name="T44" fmla="*/ 60 w 90"/>
              <a:gd name="T45" fmla="*/ 18 h 150"/>
              <a:gd name="T46" fmla="*/ 60 w 90"/>
              <a:gd name="T47" fmla="*/ 24 h 150"/>
              <a:gd name="T48" fmla="*/ 60 w 90"/>
              <a:gd name="T49" fmla="*/ 30 h 150"/>
              <a:gd name="T50" fmla="*/ 54 w 90"/>
              <a:gd name="T51" fmla="*/ 36 h 150"/>
              <a:gd name="T52" fmla="*/ 54 w 90"/>
              <a:gd name="T53" fmla="*/ 60 h 150"/>
              <a:gd name="T54" fmla="*/ 72 w 90"/>
              <a:gd name="T55" fmla="*/ 72 h 150"/>
              <a:gd name="T56" fmla="*/ 72 w 90"/>
              <a:gd name="T57" fmla="*/ 78 h 150"/>
              <a:gd name="T58" fmla="*/ 84 w 90"/>
              <a:gd name="T59" fmla="*/ 84 h 150"/>
              <a:gd name="T60" fmla="*/ 90 w 90"/>
              <a:gd name="T61" fmla="*/ 84 h 150"/>
              <a:gd name="T62" fmla="*/ 90 w 90"/>
              <a:gd name="T63" fmla="*/ 90 h 150"/>
              <a:gd name="T64" fmla="*/ 90 w 90"/>
              <a:gd name="T65" fmla="*/ 96 h 150"/>
              <a:gd name="T66" fmla="*/ 90 w 90"/>
              <a:gd name="T67" fmla="*/ 102 h 150"/>
              <a:gd name="T68" fmla="*/ 90 w 90"/>
              <a:gd name="T69" fmla="*/ 108 h 150"/>
              <a:gd name="T70" fmla="*/ 90 w 90"/>
              <a:gd name="T71" fmla="*/ 114 h 150"/>
              <a:gd name="T72" fmla="*/ 84 w 90"/>
              <a:gd name="T73" fmla="*/ 114 h 150"/>
              <a:gd name="T74" fmla="*/ 84 w 90"/>
              <a:gd name="T75" fmla="*/ 120 h 150"/>
              <a:gd name="T76" fmla="*/ 84 w 90"/>
              <a:gd name="T77" fmla="*/ 126 h 150"/>
              <a:gd name="T78" fmla="*/ 90 w 90"/>
              <a:gd name="T79" fmla="*/ 126 h 150"/>
              <a:gd name="T80" fmla="*/ 78 w 90"/>
              <a:gd name="T81" fmla="*/ 132 h 150"/>
              <a:gd name="T82" fmla="*/ 72 w 90"/>
              <a:gd name="T83" fmla="*/ 132 h 150"/>
              <a:gd name="T84" fmla="*/ 66 w 90"/>
              <a:gd name="T85" fmla="*/ 138 h 150"/>
              <a:gd name="T86" fmla="*/ 66 w 90"/>
              <a:gd name="T87" fmla="*/ 144 h 150"/>
              <a:gd name="T88" fmla="*/ 60 w 90"/>
              <a:gd name="T89" fmla="*/ 150 h 150"/>
              <a:gd name="T90" fmla="*/ 54 w 90"/>
              <a:gd name="T91" fmla="*/ 150 h 150"/>
              <a:gd name="T92" fmla="*/ 48 w 90"/>
              <a:gd name="T93" fmla="*/ 144 h 150"/>
              <a:gd name="T94" fmla="*/ 42 w 90"/>
              <a:gd name="T95" fmla="*/ 144 h 150"/>
              <a:gd name="T96" fmla="*/ 36 w 90"/>
              <a:gd name="T97" fmla="*/ 138 h 150"/>
              <a:gd name="T98" fmla="*/ 30 w 90"/>
              <a:gd name="T99" fmla="*/ 132 h 150"/>
              <a:gd name="T100" fmla="*/ 30 w 90"/>
              <a:gd name="T101" fmla="*/ 126 h 150"/>
              <a:gd name="T102" fmla="*/ 36 w 90"/>
              <a:gd name="T103" fmla="*/ 120 h 150"/>
              <a:gd name="T104" fmla="*/ 36 w 90"/>
              <a:gd name="T105" fmla="*/ 114 h 150"/>
              <a:gd name="T106" fmla="*/ 24 w 90"/>
              <a:gd name="T107" fmla="*/ 102 h 150"/>
              <a:gd name="T108" fmla="*/ 18 w 90"/>
              <a:gd name="T109" fmla="*/ 102 h 150"/>
              <a:gd name="T110" fmla="*/ 12 w 90"/>
              <a:gd name="T111" fmla="*/ 102 h 150"/>
              <a:gd name="T112" fmla="*/ 6 w 90"/>
              <a:gd name="T113" fmla="*/ 102 h 150"/>
              <a:gd name="T114" fmla="*/ 0 w 90"/>
              <a:gd name="T115" fmla="*/ 102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90" h="150">
                <a:moveTo>
                  <a:pt x="6" y="96"/>
                </a:move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8" y="90"/>
                </a:lnTo>
                <a:lnTo>
                  <a:pt x="18" y="90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2"/>
                </a:lnTo>
                <a:lnTo>
                  <a:pt x="18" y="72"/>
                </a:lnTo>
                <a:lnTo>
                  <a:pt x="24" y="72"/>
                </a:lnTo>
                <a:lnTo>
                  <a:pt x="24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0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6" y="36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24"/>
                </a:lnTo>
                <a:lnTo>
                  <a:pt x="6" y="24"/>
                </a:lnTo>
                <a:lnTo>
                  <a:pt x="0" y="24"/>
                </a:lnTo>
                <a:lnTo>
                  <a:pt x="0" y="18"/>
                </a:lnTo>
                <a:lnTo>
                  <a:pt x="0" y="18"/>
                </a:lnTo>
                <a:lnTo>
                  <a:pt x="6" y="18"/>
                </a:lnTo>
                <a:lnTo>
                  <a:pt x="6" y="24"/>
                </a:lnTo>
                <a:lnTo>
                  <a:pt x="12" y="24"/>
                </a:lnTo>
                <a:lnTo>
                  <a:pt x="12" y="24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2"/>
                </a:lnTo>
                <a:lnTo>
                  <a:pt x="12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2" y="12"/>
                </a:lnTo>
                <a:lnTo>
                  <a:pt x="12" y="12"/>
                </a:lnTo>
                <a:lnTo>
                  <a:pt x="12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6"/>
                </a:lnTo>
                <a:lnTo>
                  <a:pt x="54" y="36"/>
                </a:lnTo>
                <a:lnTo>
                  <a:pt x="54" y="36"/>
                </a:lnTo>
                <a:lnTo>
                  <a:pt x="54" y="48"/>
                </a:lnTo>
                <a:lnTo>
                  <a:pt x="54" y="48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60" y="60"/>
                </a:lnTo>
                <a:lnTo>
                  <a:pt x="60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84"/>
                </a:lnTo>
                <a:lnTo>
                  <a:pt x="72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90"/>
                </a:lnTo>
                <a:lnTo>
                  <a:pt x="90" y="90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90" y="102"/>
                </a:lnTo>
                <a:lnTo>
                  <a:pt x="90" y="102"/>
                </a:lnTo>
                <a:lnTo>
                  <a:pt x="90" y="102"/>
                </a:lnTo>
                <a:lnTo>
                  <a:pt x="90" y="102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90" y="126"/>
                </a:lnTo>
                <a:lnTo>
                  <a:pt x="90" y="126"/>
                </a:lnTo>
                <a:lnTo>
                  <a:pt x="90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78" y="132"/>
                </a:lnTo>
                <a:lnTo>
                  <a:pt x="78" y="132"/>
                </a:lnTo>
                <a:lnTo>
                  <a:pt x="78" y="132"/>
                </a:lnTo>
                <a:lnTo>
                  <a:pt x="78" y="132"/>
                </a:lnTo>
                <a:lnTo>
                  <a:pt x="78" y="138"/>
                </a:lnTo>
                <a:lnTo>
                  <a:pt x="72" y="138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66" y="132"/>
                </a:lnTo>
                <a:lnTo>
                  <a:pt x="72" y="132"/>
                </a:lnTo>
                <a:lnTo>
                  <a:pt x="66" y="132"/>
                </a:lnTo>
                <a:lnTo>
                  <a:pt x="66" y="132"/>
                </a:lnTo>
                <a:lnTo>
                  <a:pt x="66" y="138"/>
                </a:lnTo>
                <a:lnTo>
                  <a:pt x="66" y="138"/>
                </a:lnTo>
                <a:lnTo>
                  <a:pt x="66" y="138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0" y="144"/>
                </a:lnTo>
                <a:lnTo>
                  <a:pt x="60" y="150"/>
                </a:lnTo>
                <a:lnTo>
                  <a:pt x="60" y="150"/>
                </a:lnTo>
                <a:lnTo>
                  <a:pt x="60" y="150"/>
                </a:lnTo>
                <a:lnTo>
                  <a:pt x="60" y="150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36" y="144"/>
                </a:lnTo>
                <a:lnTo>
                  <a:pt x="36" y="144"/>
                </a:lnTo>
                <a:lnTo>
                  <a:pt x="36" y="144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0" y="138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26"/>
                </a:lnTo>
                <a:lnTo>
                  <a:pt x="30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0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18" y="108"/>
                </a:lnTo>
                <a:lnTo>
                  <a:pt x="18" y="102"/>
                </a:lnTo>
                <a:lnTo>
                  <a:pt x="18" y="108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96"/>
                </a:lnTo>
                <a:lnTo>
                  <a:pt x="0" y="96"/>
                </a:lnTo>
                <a:lnTo>
                  <a:pt x="6" y="9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32" name="Freeform 265"/>
          <p:cNvSpPr>
            <a:spLocks/>
          </p:cNvSpPr>
          <p:nvPr/>
        </p:nvSpPr>
        <p:spPr bwMode="auto">
          <a:xfrm>
            <a:off x="7532803" y="4006522"/>
            <a:ext cx="96361" cy="102786"/>
          </a:xfrm>
          <a:custGeom>
            <a:avLst/>
            <a:gdLst>
              <a:gd name="T0" fmla="*/ 6 w 90"/>
              <a:gd name="T1" fmla="*/ 78 h 96"/>
              <a:gd name="T2" fmla="*/ 12 w 90"/>
              <a:gd name="T3" fmla="*/ 72 h 96"/>
              <a:gd name="T4" fmla="*/ 12 w 90"/>
              <a:gd name="T5" fmla="*/ 66 h 96"/>
              <a:gd name="T6" fmla="*/ 12 w 90"/>
              <a:gd name="T7" fmla="*/ 60 h 96"/>
              <a:gd name="T8" fmla="*/ 12 w 90"/>
              <a:gd name="T9" fmla="*/ 60 h 96"/>
              <a:gd name="T10" fmla="*/ 12 w 90"/>
              <a:gd name="T11" fmla="*/ 60 h 96"/>
              <a:gd name="T12" fmla="*/ 12 w 90"/>
              <a:gd name="T13" fmla="*/ 54 h 96"/>
              <a:gd name="T14" fmla="*/ 12 w 90"/>
              <a:gd name="T15" fmla="*/ 54 h 96"/>
              <a:gd name="T16" fmla="*/ 12 w 90"/>
              <a:gd name="T17" fmla="*/ 42 h 96"/>
              <a:gd name="T18" fmla="*/ 18 w 90"/>
              <a:gd name="T19" fmla="*/ 42 h 96"/>
              <a:gd name="T20" fmla="*/ 18 w 90"/>
              <a:gd name="T21" fmla="*/ 42 h 96"/>
              <a:gd name="T22" fmla="*/ 24 w 90"/>
              <a:gd name="T23" fmla="*/ 36 h 96"/>
              <a:gd name="T24" fmla="*/ 18 w 90"/>
              <a:gd name="T25" fmla="*/ 30 h 96"/>
              <a:gd name="T26" fmla="*/ 18 w 90"/>
              <a:gd name="T27" fmla="*/ 18 h 96"/>
              <a:gd name="T28" fmla="*/ 18 w 90"/>
              <a:gd name="T29" fmla="*/ 18 h 96"/>
              <a:gd name="T30" fmla="*/ 24 w 90"/>
              <a:gd name="T31" fmla="*/ 12 h 96"/>
              <a:gd name="T32" fmla="*/ 24 w 90"/>
              <a:gd name="T33" fmla="*/ 12 h 96"/>
              <a:gd name="T34" fmla="*/ 30 w 90"/>
              <a:gd name="T35" fmla="*/ 6 h 96"/>
              <a:gd name="T36" fmla="*/ 36 w 90"/>
              <a:gd name="T37" fmla="*/ 6 h 96"/>
              <a:gd name="T38" fmla="*/ 42 w 90"/>
              <a:gd name="T39" fmla="*/ 6 h 96"/>
              <a:gd name="T40" fmla="*/ 48 w 90"/>
              <a:gd name="T41" fmla="*/ 0 h 96"/>
              <a:gd name="T42" fmla="*/ 54 w 90"/>
              <a:gd name="T43" fmla="*/ 0 h 96"/>
              <a:gd name="T44" fmla="*/ 60 w 90"/>
              <a:gd name="T45" fmla="*/ 0 h 96"/>
              <a:gd name="T46" fmla="*/ 66 w 90"/>
              <a:gd name="T47" fmla="*/ 6 h 96"/>
              <a:gd name="T48" fmla="*/ 72 w 90"/>
              <a:gd name="T49" fmla="*/ 6 h 96"/>
              <a:gd name="T50" fmla="*/ 78 w 90"/>
              <a:gd name="T51" fmla="*/ 12 h 96"/>
              <a:gd name="T52" fmla="*/ 72 w 90"/>
              <a:gd name="T53" fmla="*/ 18 h 96"/>
              <a:gd name="T54" fmla="*/ 72 w 90"/>
              <a:gd name="T55" fmla="*/ 18 h 96"/>
              <a:gd name="T56" fmla="*/ 78 w 90"/>
              <a:gd name="T57" fmla="*/ 24 h 96"/>
              <a:gd name="T58" fmla="*/ 78 w 90"/>
              <a:gd name="T59" fmla="*/ 30 h 96"/>
              <a:gd name="T60" fmla="*/ 78 w 90"/>
              <a:gd name="T61" fmla="*/ 36 h 96"/>
              <a:gd name="T62" fmla="*/ 84 w 90"/>
              <a:gd name="T63" fmla="*/ 36 h 96"/>
              <a:gd name="T64" fmla="*/ 90 w 90"/>
              <a:gd name="T65" fmla="*/ 42 h 96"/>
              <a:gd name="T66" fmla="*/ 84 w 90"/>
              <a:gd name="T67" fmla="*/ 48 h 96"/>
              <a:gd name="T68" fmla="*/ 90 w 90"/>
              <a:gd name="T69" fmla="*/ 54 h 96"/>
              <a:gd name="T70" fmla="*/ 84 w 90"/>
              <a:gd name="T71" fmla="*/ 60 h 96"/>
              <a:gd name="T72" fmla="*/ 72 w 90"/>
              <a:gd name="T73" fmla="*/ 66 h 96"/>
              <a:gd name="T74" fmla="*/ 66 w 90"/>
              <a:gd name="T75" fmla="*/ 66 h 96"/>
              <a:gd name="T76" fmla="*/ 66 w 90"/>
              <a:gd name="T77" fmla="*/ 72 h 96"/>
              <a:gd name="T78" fmla="*/ 54 w 90"/>
              <a:gd name="T79" fmla="*/ 72 h 96"/>
              <a:gd name="T80" fmla="*/ 54 w 90"/>
              <a:gd name="T81" fmla="*/ 78 h 96"/>
              <a:gd name="T82" fmla="*/ 60 w 90"/>
              <a:gd name="T83" fmla="*/ 84 h 96"/>
              <a:gd name="T84" fmla="*/ 60 w 90"/>
              <a:gd name="T85" fmla="*/ 90 h 96"/>
              <a:gd name="T86" fmla="*/ 54 w 90"/>
              <a:gd name="T87" fmla="*/ 96 h 96"/>
              <a:gd name="T88" fmla="*/ 54 w 90"/>
              <a:gd name="T89" fmla="*/ 96 h 96"/>
              <a:gd name="T90" fmla="*/ 48 w 90"/>
              <a:gd name="T91" fmla="*/ 90 h 96"/>
              <a:gd name="T92" fmla="*/ 36 w 90"/>
              <a:gd name="T93" fmla="*/ 90 h 96"/>
              <a:gd name="T94" fmla="*/ 36 w 90"/>
              <a:gd name="T95" fmla="*/ 90 h 96"/>
              <a:gd name="T96" fmla="*/ 30 w 90"/>
              <a:gd name="T97" fmla="*/ 90 h 96"/>
              <a:gd name="T98" fmla="*/ 24 w 90"/>
              <a:gd name="T99" fmla="*/ 90 h 96"/>
              <a:gd name="T100" fmla="*/ 12 w 90"/>
              <a:gd name="T101" fmla="*/ 90 h 96"/>
              <a:gd name="T102" fmla="*/ 12 w 90"/>
              <a:gd name="T103" fmla="*/ 90 h 96"/>
              <a:gd name="T104" fmla="*/ 6 w 90"/>
              <a:gd name="T105" fmla="*/ 84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90" h="96">
                <a:moveTo>
                  <a:pt x="0" y="78"/>
                </a:move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8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24" y="42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24"/>
                </a:lnTo>
                <a:lnTo>
                  <a:pt x="18" y="24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24" y="18"/>
                </a:lnTo>
                <a:lnTo>
                  <a:pt x="18" y="18"/>
                </a:lnTo>
                <a:lnTo>
                  <a:pt x="24" y="18"/>
                </a:lnTo>
                <a:lnTo>
                  <a:pt x="24" y="18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30" y="12"/>
                </a:lnTo>
                <a:lnTo>
                  <a:pt x="30" y="12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0"/>
                </a:lnTo>
                <a:lnTo>
                  <a:pt x="48" y="6"/>
                </a:lnTo>
                <a:lnTo>
                  <a:pt x="48" y="0"/>
                </a:lnTo>
                <a:lnTo>
                  <a:pt x="54" y="6"/>
                </a:lnTo>
                <a:lnTo>
                  <a:pt x="54" y="0"/>
                </a:lnTo>
                <a:lnTo>
                  <a:pt x="54" y="0"/>
                </a:lnTo>
                <a:lnTo>
                  <a:pt x="54" y="6"/>
                </a:lnTo>
                <a:lnTo>
                  <a:pt x="54" y="0"/>
                </a:lnTo>
                <a:lnTo>
                  <a:pt x="54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12"/>
                </a:lnTo>
                <a:lnTo>
                  <a:pt x="72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2" y="12"/>
                </a:lnTo>
                <a:lnTo>
                  <a:pt x="72" y="12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24"/>
                </a:lnTo>
                <a:lnTo>
                  <a:pt x="78" y="24"/>
                </a:lnTo>
                <a:lnTo>
                  <a:pt x="72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30"/>
                </a:lnTo>
                <a:lnTo>
                  <a:pt x="78" y="30"/>
                </a:lnTo>
                <a:lnTo>
                  <a:pt x="72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84" y="36"/>
                </a:lnTo>
                <a:lnTo>
                  <a:pt x="84" y="36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84" y="42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90" y="54"/>
                </a:lnTo>
                <a:lnTo>
                  <a:pt x="84" y="54"/>
                </a:lnTo>
                <a:lnTo>
                  <a:pt x="90" y="54"/>
                </a:lnTo>
                <a:lnTo>
                  <a:pt x="84" y="54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78" y="60"/>
                </a:lnTo>
                <a:lnTo>
                  <a:pt x="78" y="60"/>
                </a:lnTo>
                <a:lnTo>
                  <a:pt x="78" y="66"/>
                </a:lnTo>
                <a:lnTo>
                  <a:pt x="72" y="66"/>
                </a:lnTo>
                <a:lnTo>
                  <a:pt x="72" y="66"/>
                </a:lnTo>
                <a:lnTo>
                  <a:pt x="72" y="60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60" y="78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54" y="90"/>
                </a:lnTo>
                <a:lnTo>
                  <a:pt x="54" y="90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2" y="90"/>
                </a:lnTo>
                <a:lnTo>
                  <a:pt x="42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0" y="90"/>
                </a:lnTo>
                <a:lnTo>
                  <a:pt x="30" y="84"/>
                </a:lnTo>
                <a:lnTo>
                  <a:pt x="30" y="90"/>
                </a:lnTo>
                <a:lnTo>
                  <a:pt x="30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18" y="90"/>
                </a:lnTo>
                <a:lnTo>
                  <a:pt x="18" y="90"/>
                </a:lnTo>
                <a:lnTo>
                  <a:pt x="18" y="96"/>
                </a:lnTo>
                <a:lnTo>
                  <a:pt x="12" y="96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0" y="7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33" name="Freeform 266"/>
          <p:cNvSpPr>
            <a:spLocks/>
          </p:cNvSpPr>
          <p:nvPr/>
        </p:nvSpPr>
        <p:spPr bwMode="auto">
          <a:xfrm>
            <a:off x="7898974" y="3287023"/>
            <a:ext cx="224842" cy="192723"/>
          </a:xfrm>
          <a:custGeom>
            <a:avLst/>
            <a:gdLst>
              <a:gd name="T0" fmla="*/ 12 w 210"/>
              <a:gd name="T1" fmla="*/ 90 h 180"/>
              <a:gd name="T2" fmla="*/ 24 w 210"/>
              <a:gd name="T3" fmla="*/ 84 h 180"/>
              <a:gd name="T4" fmla="*/ 24 w 210"/>
              <a:gd name="T5" fmla="*/ 72 h 180"/>
              <a:gd name="T6" fmla="*/ 30 w 210"/>
              <a:gd name="T7" fmla="*/ 60 h 180"/>
              <a:gd name="T8" fmla="*/ 36 w 210"/>
              <a:gd name="T9" fmla="*/ 54 h 180"/>
              <a:gd name="T10" fmla="*/ 54 w 210"/>
              <a:gd name="T11" fmla="*/ 54 h 180"/>
              <a:gd name="T12" fmla="*/ 72 w 210"/>
              <a:gd name="T13" fmla="*/ 54 h 180"/>
              <a:gd name="T14" fmla="*/ 78 w 210"/>
              <a:gd name="T15" fmla="*/ 42 h 180"/>
              <a:gd name="T16" fmla="*/ 66 w 210"/>
              <a:gd name="T17" fmla="*/ 30 h 180"/>
              <a:gd name="T18" fmla="*/ 60 w 210"/>
              <a:gd name="T19" fmla="*/ 18 h 180"/>
              <a:gd name="T20" fmla="*/ 42 w 210"/>
              <a:gd name="T21" fmla="*/ 18 h 180"/>
              <a:gd name="T22" fmla="*/ 60 w 210"/>
              <a:gd name="T23" fmla="*/ 6 h 180"/>
              <a:gd name="T24" fmla="*/ 72 w 210"/>
              <a:gd name="T25" fmla="*/ 0 h 180"/>
              <a:gd name="T26" fmla="*/ 84 w 210"/>
              <a:gd name="T27" fmla="*/ 0 h 180"/>
              <a:gd name="T28" fmla="*/ 90 w 210"/>
              <a:gd name="T29" fmla="*/ 6 h 180"/>
              <a:gd name="T30" fmla="*/ 102 w 210"/>
              <a:gd name="T31" fmla="*/ 0 h 180"/>
              <a:gd name="T32" fmla="*/ 114 w 210"/>
              <a:gd name="T33" fmla="*/ 6 h 180"/>
              <a:gd name="T34" fmla="*/ 120 w 210"/>
              <a:gd name="T35" fmla="*/ 18 h 180"/>
              <a:gd name="T36" fmla="*/ 132 w 210"/>
              <a:gd name="T37" fmla="*/ 12 h 180"/>
              <a:gd name="T38" fmla="*/ 144 w 210"/>
              <a:gd name="T39" fmla="*/ 18 h 180"/>
              <a:gd name="T40" fmla="*/ 150 w 210"/>
              <a:gd name="T41" fmla="*/ 18 h 180"/>
              <a:gd name="T42" fmla="*/ 162 w 210"/>
              <a:gd name="T43" fmla="*/ 18 h 180"/>
              <a:gd name="T44" fmla="*/ 162 w 210"/>
              <a:gd name="T45" fmla="*/ 24 h 180"/>
              <a:gd name="T46" fmla="*/ 174 w 210"/>
              <a:gd name="T47" fmla="*/ 30 h 180"/>
              <a:gd name="T48" fmla="*/ 174 w 210"/>
              <a:gd name="T49" fmla="*/ 30 h 180"/>
              <a:gd name="T50" fmla="*/ 180 w 210"/>
              <a:gd name="T51" fmla="*/ 30 h 180"/>
              <a:gd name="T52" fmla="*/ 186 w 210"/>
              <a:gd name="T53" fmla="*/ 36 h 180"/>
              <a:gd name="T54" fmla="*/ 186 w 210"/>
              <a:gd name="T55" fmla="*/ 42 h 180"/>
              <a:gd name="T56" fmla="*/ 192 w 210"/>
              <a:gd name="T57" fmla="*/ 42 h 180"/>
              <a:gd name="T58" fmla="*/ 198 w 210"/>
              <a:gd name="T59" fmla="*/ 42 h 180"/>
              <a:gd name="T60" fmla="*/ 210 w 210"/>
              <a:gd name="T61" fmla="*/ 54 h 180"/>
              <a:gd name="T62" fmla="*/ 210 w 210"/>
              <a:gd name="T63" fmla="*/ 60 h 180"/>
              <a:gd name="T64" fmla="*/ 204 w 210"/>
              <a:gd name="T65" fmla="*/ 78 h 180"/>
              <a:gd name="T66" fmla="*/ 198 w 210"/>
              <a:gd name="T67" fmla="*/ 84 h 180"/>
              <a:gd name="T68" fmla="*/ 192 w 210"/>
              <a:gd name="T69" fmla="*/ 90 h 180"/>
              <a:gd name="T70" fmla="*/ 186 w 210"/>
              <a:gd name="T71" fmla="*/ 102 h 180"/>
              <a:gd name="T72" fmla="*/ 180 w 210"/>
              <a:gd name="T73" fmla="*/ 102 h 180"/>
              <a:gd name="T74" fmla="*/ 174 w 210"/>
              <a:gd name="T75" fmla="*/ 114 h 180"/>
              <a:gd name="T76" fmla="*/ 168 w 210"/>
              <a:gd name="T77" fmla="*/ 120 h 180"/>
              <a:gd name="T78" fmla="*/ 156 w 210"/>
              <a:gd name="T79" fmla="*/ 120 h 180"/>
              <a:gd name="T80" fmla="*/ 156 w 210"/>
              <a:gd name="T81" fmla="*/ 138 h 180"/>
              <a:gd name="T82" fmla="*/ 162 w 210"/>
              <a:gd name="T83" fmla="*/ 150 h 180"/>
              <a:gd name="T84" fmla="*/ 156 w 210"/>
              <a:gd name="T85" fmla="*/ 162 h 180"/>
              <a:gd name="T86" fmla="*/ 150 w 210"/>
              <a:gd name="T87" fmla="*/ 156 h 180"/>
              <a:gd name="T88" fmla="*/ 132 w 210"/>
              <a:gd name="T89" fmla="*/ 156 h 180"/>
              <a:gd name="T90" fmla="*/ 126 w 210"/>
              <a:gd name="T91" fmla="*/ 150 h 180"/>
              <a:gd name="T92" fmla="*/ 120 w 210"/>
              <a:gd name="T93" fmla="*/ 150 h 180"/>
              <a:gd name="T94" fmla="*/ 108 w 210"/>
              <a:gd name="T95" fmla="*/ 150 h 180"/>
              <a:gd name="T96" fmla="*/ 102 w 210"/>
              <a:gd name="T97" fmla="*/ 150 h 180"/>
              <a:gd name="T98" fmla="*/ 90 w 210"/>
              <a:gd name="T99" fmla="*/ 156 h 180"/>
              <a:gd name="T100" fmla="*/ 78 w 210"/>
              <a:gd name="T101" fmla="*/ 150 h 180"/>
              <a:gd name="T102" fmla="*/ 72 w 210"/>
              <a:gd name="T103" fmla="*/ 156 h 180"/>
              <a:gd name="T104" fmla="*/ 60 w 210"/>
              <a:gd name="T105" fmla="*/ 162 h 180"/>
              <a:gd name="T106" fmla="*/ 54 w 210"/>
              <a:gd name="T107" fmla="*/ 168 h 180"/>
              <a:gd name="T108" fmla="*/ 42 w 210"/>
              <a:gd name="T109" fmla="*/ 174 h 180"/>
              <a:gd name="T110" fmla="*/ 30 w 210"/>
              <a:gd name="T111" fmla="*/ 180 h 180"/>
              <a:gd name="T112" fmla="*/ 24 w 210"/>
              <a:gd name="T113" fmla="*/ 174 h 180"/>
              <a:gd name="T114" fmla="*/ 18 w 210"/>
              <a:gd name="T115" fmla="*/ 162 h 180"/>
              <a:gd name="T116" fmla="*/ 24 w 210"/>
              <a:gd name="T117" fmla="*/ 156 h 180"/>
              <a:gd name="T118" fmla="*/ 18 w 210"/>
              <a:gd name="T119" fmla="*/ 144 h 180"/>
              <a:gd name="T120" fmla="*/ 24 w 210"/>
              <a:gd name="T121" fmla="*/ 126 h 180"/>
              <a:gd name="T122" fmla="*/ 12 w 210"/>
              <a:gd name="T123" fmla="*/ 120 h 180"/>
              <a:gd name="T124" fmla="*/ 0 w 210"/>
              <a:gd name="T125" fmla="*/ 11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10" h="180">
                <a:moveTo>
                  <a:pt x="6" y="102"/>
                </a:moveTo>
                <a:lnTo>
                  <a:pt x="0" y="102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12" y="96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78"/>
                </a:lnTo>
                <a:lnTo>
                  <a:pt x="24" y="78"/>
                </a:lnTo>
                <a:lnTo>
                  <a:pt x="30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0"/>
                </a:lnTo>
                <a:lnTo>
                  <a:pt x="30" y="60"/>
                </a:lnTo>
                <a:lnTo>
                  <a:pt x="30" y="66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42" y="54"/>
                </a:lnTo>
                <a:lnTo>
                  <a:pt x="42" y="48"/>
                </a:lnTo>
                <a:lnTo>
                  <a:pt x="42" y="48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8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54" y="18"/>
                </a:lnTo>
                <a:lnTo>
                  <a:pt x="54" y="18"/>
                </a:lnTo>
                <a:lnTo>
                  <a:pt x="48" y="18"/>
                </a:lnTo>
                <a:lnTo>
                  <a:pt x="48" y="18"/>
                </a:lnTo>
                <a:lnTo>
                  <a:pt x="42" y="18"/>
                </a:lnTo>
                <a:lnTo>
                  <a:pt x="48" y="18"/>
                </a:lnTo>
                <a:lnTo>
                  <a:pt x="42" y="12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8" y="6"/>
                </a:lnTo>
                <a:lnTo>
                  <a:pt x="78" y="0"/>
                </a:lnTo>
                <a:lnTo>
                  <a:pt x="78" y="6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0" y="6"/>
                </a:lnTo>
                <a:lnTo>
                  <a:pt x="90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6"/>
                </a:lnTo>
                <a:lnTo>
                  <a:pt x="102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20" y="12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2"/>
                </a:lnTo>
                <a:lnTo>
                  <a:pt x="126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8" y="12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8" y="18"/>
                </a:lnTo>
                <a:lnTo>
                  <a:pt x="162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74" y="24"/>
                </a:lnTo>
                <a:lnTo>
                  <a:pt x="174" y="30"/>
                </a:lnTo>
                <a:lnTo>
                  <a:pt x="168" y="30"/>
                </a:lnTo>
                <a:lnTo>
                  <a:pt x="168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6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86" y="36"/>
                </a:lnTo>
                <a:lnTo>
                  <a:pt x="186" y="36"/>
                </a:lnTo>
                <a:lnTo>
                  <a:pt x="186" y="36"/>
                </a:lnTo>
                <a:lnTo>
                  <a:pt x="186" y="36"/>
                </a:lnTo>
                <a:lnTo>
                  <a:pt x="186" y="36"/>
                </a:lnTo>
                <a:lnTo>
                  <a:pt x="186" y="36"/>
                </a:lnTo>
                <a:lnTo>
                  <a:pt x="186" y="36"/>
                </a:lnTo>
                <a:lnTo>
                  <a:pt x="186" y="36"/>
                </a:lnTo>
                <a:lnTo>
                  <a:pt x="186" y="36"/>
                </a:lnTo>
                <a:lnTo>
                  <a:pt x="186" y="36"/>
                </a:lnTo>
                <a:lnTo>
                  <a:pt x="186" y="36"/>
                </a:lnTo>
                <a:lnTo>
                  <a:pt x="186" y="36"/>
                </a:lnTo>
                <a:lnTo>
                  <a:pt x="186" y="36"/>
                </a:lnTo>
                <a:lnTo>
                  <a:pt x="186" y="42"/>
                </a:lnTo>
                <a:lnTo>
                  <a:pt x="186" y="42"/>
                </a:lnTo>
                <a:lnTo>
                  <a:pt x="186" y="42"/>
                </a:lnTo>
                <a:lnTo>
                  <a:pt x="186" y="42"/>
                </a:lnTo>
                <a:lnTo>
                  <a:pt x="186" y="42"/>
                </a:lnTo>
                <a:lnTo>
                  <a:pt x="192" y="42"/>
                </a:lnTo>
                <a:lnTo>
                  <a:pt x="192" y="42"/>
                </a:lnTo>
                <a:lnTo>
                  <a:pt x="192" y="42"/>
                </a:lnTo>
                <a:lnTo>
                  <a:pt x="192" y="42"/>
                </a:lnTo>
                <a:lnTo>
                  <a:pt x="192" y="42"/>
                </a:lnTo>
                <a:lnTo>
                  <a:pt x="192" y="42"/>
                </a:lnTo>
                <a:lnTo>
                  <a:pt x="192" y="42"/>
                </a:lnTo>
                <a:lnTo>
                  <a:pt x="192" y="42"/>
                </a:lnTo>
                <a:lnTo>
                  <a:pt x="192" y="42"/>
                </a:lnTo>
                <a:lnTo>
                  <a:pt x="192" y="42"/>
                </a:lnTo>
                <a:lnTo>
                  <a:pt x="192" y="42"/>
                </a:lnTo>
                <a:lnTo>
                  <a:pt x="192" y="42"/>
                </a:lnTo>
                <a:lnTo>
                  <a:pt x="198" y="42"/>
                </a:lnTo>
                <a:lnTo>
                  <a:pt x="198" y="42"/>
                </a:lnTo>
                <a:lnTo>
                  <a:pt x="198" y="42"/>
                </a:lnTo>
                <a:lnTo>
                  <a:pt x="198" y="42"/>
                </a:lnTo>
                <a:lnTo>
                  <a:pt x="198" y="42"/>
                </a:lnTo>
                <a:lnTo>
                  <a:pt x="198" y="42"/>
                </a:lnTo>
                <a:lnTo>
                  <a:pt x="204" y="42"/>
                </a:lnTo>
                <a:lnTo>
                  <a:pt x="204" y="42"/>
                </a:lnTo>
                <a:lnTo>
                  <a:pt x="204" y="42"/>
                </a:lnTo>
                <a:lnTo>
                  <a:pt x="204" y="42"/>
                </a:lnTo>
                <a:lnTo>
                  <a:pt x="204" y="48"/>
                </a:lnTo>
                <a:lnTo>
                  <a:pt x="204" y="48"/>
                </a:lnTo>
                <a:lnTo>
                  <a:pt x="204" y="48"/>
                </a:lnTo>
                <a:lnTo>
                  <a:pt x="204" y="48"/>
                </a:lnTo>
                <a:lnTo>
                  <a:pt x="204" y="48"/>
                </a:lnTo>
                <a:lnTo>
                  <a:pt x="210" y="54"/>
                </a:lnTo>
                <a:lnTo>
                  <a:pt x="210" y="54"/>
                </a:lnTo>
                <a:lnTo>
                  <a:pt x="210" y="54"/>
                </a:lnTo>
                <a:lnTo>
                  <a:pt x="210" y="54"/>
                </a:lnTo>
                <a:lnTo>
                  <a:pt x="210" y="54"/>
                </a:lnTo>
                <a:lnTo>
                  <a:pt x="210" y="60"/>
                </a:lnTo>
                <a:lnTo>
                  <a:pt x="210" y="60"/>
                </a:lnTo>
                <a:lnTo>
                  <a:pt x="210" y="60"/>
                </a:lnTo>
                <a:lnTo>
                  <a:pt x="210" y="60"/>
                </a:lnTo>
                <a:lnTo>
                  <a:pt x="210" y="60"/>
                </a:lnTo>
                <a:lnTo>
                  <a:pt x="210" y="60"/>
                </a:lnTo>
                <a:lnTo>
                  <a:pt x="204" y="60"/>
                </a:lnTo>
                <a:lnTo>
                  <a:pt x="210" y="60"/>
                </a:lnTo>
                <a:lnTo>
                  <a:pt x="210" y="60"/>
                </a:lnTo>
                <a:lnTo>
                  <a:pt x="210" y="66"/>
                </a:lnTo>
                <a:lnTo>
                  <a:pt x="210" y="66"/>
                </a:lnTo>
                <a:lnTo>
                  <a:pt x="204" y="72"/>
                </a:lnTo>
                <a:lnTo>
                  <a:pt x="204" y="72"/>
                </a:lnTo>
                <a:lnTo>
                  <a:pt x="204" y="72"/>
                </a:lnTo>
                <a:lnTo>
                  <a:pt x="204" y="72"/>
                </a:lnTo>
                <a:lnTo>
                  <a:pt x="204" y="78"/>
                </a:lnTo>
                <a:lnTo>
                  <a:pt x="204" y="78"/>
                </a:lnTo>
                <a:lnTo>
                  <a:pt x="204" y="78"/>
                </a:lnTo>
                <a:lnTo>
                  <a:pt x="204" y="78"/>
                </a:lnTo>
                <a:lnTo>
                  <a:pt x="204" y="78"/>
                </a:lnTo>
                <a:lnTo>
                  <a:pt x="204" y="78"/>
                </a:lnTo>
                <a:lnTo>
                  <a:pt x="204" y="84"/>
                </a:lnTo>
                <a:lnTo>
                  <a:pt x="198" y="84"/>
                </a:lnTo>
                <a:lnTo>
                  <a:pt x="198" y="84"/>
                </a:lnTo>
                <a:lnTo>
                  <a:pt x="198" y="84"/>
                </a:lnTo>
                <a:lnTo>
                  <a:pt x="198" y="84"/>
                </a:lnTo>
                <a:lnTo>
                  <a:pt x="198" y="84"/>
                </a:lnTo>
                <a:lnTo>
                  <a:pt x="198" y="84"/>
                </a:lnTo>
                <a:lnTo>
                  <a:pt x="198" y="84"/>
                </a:lnTo>
                <a:lnTo>
                  <a:pt x="198" y="84"/>
                </a:lnTo>
                <a:lnTo>
                  <a:pt x="198" y="84"/>
                </a:lnTo>
                <a:lnTo>
                  <a:pt x="192" y="84"/>
                </a:lnTo>
                <a:lnTo>
                  <a:pt x="192" y="84"/>
                </a:lnTo>
                <a:lnTo>
                  <a:pt x="192" y="84"/>
                </a:lnTo>
                <a:lnTo>
                  <a:pt x="192" y="90"/>
                </a:lnTo>
                <a:lnTo>
                  <a:pt x="192" y="90"/>
                </a:lnTo>
                <a:lnTo>
                  <a:pt x="192" y="90"/>
                </a:lnTo>
                <a:lnTo>
                  <a:pt x="192" y="90"/>
                </a:lnTo>
                <a:lnTo>
                  <a:pt x="192" y="96"/>
                </a:lnTo>
                <a:lnTo>
                  <a:pt x="186" y="96"/>
                </a:lnTo>
                <a:lnTo>
                  <a:pt x="186" y="96"/>
                </a:lnTo>
                <a:lnTo>
                  <a:pt x="186" y="102"/>
                </a:lnTo>
                <a:lnTo>
                  <a:pt x="186" y="102"/>
                </a:lnTo>
                <a:lnTo>
                  <a:pt x="186" y="102"/>
                </a:lnTo>
                <a:lnTo>
                  <a:pt x="186" y="102"/>
                </a:lnTo>
                <a:lnTo>
                  <a:pt x="186" y="102"/>
                </a:lnTo>
                <a:lnTo>
                  <a:pt x="180" y="102"/>
                </a:lnTo>
                <a:lnTo>
                  <a:pt x="180" y="102"/>
                </a:lnTo>
                <a:lnTo>
                  <a:pt x="180" y="102"/>
                </a:lnTo>
                <a:lnTo>
                  <a:pt x="180" y="102"/>
                </a:lnTo>
                <a:lnTo>
                  <a:pt x="180" y="96"/>
                </a:lnTo>
                <a:lnTo>
                  <a:pt x="180" y="96"/>
                </a:lnTo>
                <a:lnTo>
                  <a:pt x="180" y="102"/>
                </a:lnTo>
                <a:lnTo>
                  <a:pt x="180" y="102"/>
                </a:lnTo>
                <a:lnTo>
                  <a:pt x="180" y="102"/>
                </a:lnTo>
                <a:lnTo>
                  <a:pt x="180" y="102"/>
                </a:lnTo>
                <a:lnTo>
                  <a:pt x="180" y="102"/>
                </a:lnTo>
                <a:lnTo>
                  <a:pt x="174" y="108"/>
                </a:lnTo>
                <a:lnTo>
                  <a:pt x="174" y="108"/>
                </a:lnTo>
                <a:lnTo>
                  <a:pt x="174" y="114"/>
                </a:lnTo>
                <a:lnTo>
                  <a:pt x="174" y="114"/>
                </a:lnTo>
                <a:lnTo>
                  <a:pt x="174" y="114"/>
                </a:lnTo>
                <a:lnTo>
                  <a:pt x="174" y="114"/>
                </a:lnTo>
                <a:lnTo>
                  <a:pt x="168" y="114"/>
                </a:lnTo>
                <a:lnTo>
                  <a:pt x="174" y="114"/>
                </a:lnTo>
                <a:lnTo>
                  <a:pt x="174" y="114"/>
                </a:lnTo>
                <a:lnTo>
                  <a:pt x="174" y="114"/>
                </a:lnTo>
                <a:lnTo>
                  <a:pt x="174" y="114"/>
                </a:lnTo>
                <a:lnTo>
                  <a:pt x="174" y="114"/>
                </a:lnTo>
                <a:lnTo>
                  <a:pt x="174" y="120"/>
                </a:lnTo>
                <a:lnTo>
                  <a:pt x="174" y="120"/>
                </a:lnTo>
                <a:lnTo>
                  <a:pt x="174" y="120"/>
                </a:lnTo>
                <a:lnTo>
                  <a:pt x="168" y="120"/>
                </a:lnTo>
                <a:lnTo>
                  <a:pt x="168" y="120"/>
                </a:lnTo>
                <a:lnTo>
                  <a:pt x="168" y="120"/>
                </a:lnTo>
                <a:lnTo>
                  <a:pt x="168" y="120"/>
                </a:lnTo>
                <a:lnTo>
                  <a:pt x="168" y="120"/>
                </a:lnTo>
                <a:lnTo>
                  <a:pt x="162" y="114"/>
                </a:lnTo>
                <a:lnTo>
                  <a:pt x="162" y="114"/>
                </a:lnTo>
                <a:lnTo>
                  <a:pt x="162" y="114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56" y="120"/>
                </a:lnTo>
                <a:lnTo>
                  <a:pt x="156" y="120"/>
                </a:lnTo>
                <a:lnTo>
                  <a:pt x="156" y="120"/>
                </a:lnTo>
                <a:lnTo>
                  <a:pt x="156" y="126"/>
                </a:lnTo>
                <a:lnTo>
                  <a:pt x="156" y="126"/>
                </a:lnTo>
                <a:lnTo>
                  <a:pt x="150" y="132"/>
                </a:lnTo>
                <a:lnTo>
                  <a:pt x="150" y="132"/>
                </a:lnTo>
                <a:lnTo>
                  <a:pt x="150" y="132"/>
                </a:lnTo>
                <a:lnTo>
                  <a:pt x="156" y="132"/>
                </a:lnTo>
                <a:lnTo>
                  <a:pt x="156" y="138"/>
                </a:lnTo>
                <a:lnTo>
                  <a:pt x="156" y="138"/>
                </a:lnTo>
                <a:lnTo>
                  <a:pt x="156" y="138"/>
                </a:lnTo>
                <a:lnTo>
                  <a:pt x="150" y="138"/>
                </a:lnTo>
                <a:lnTo>
                  <a:pt x="150" y="144"/>
                </a:lnTo>
                <a:lnTo>
                  <a:pt x="150" y="144"/>
                </a:lnTo>
                <a:lnTo>
                  <a:pt x="150" y="144"/>
                </a:lnTo>
                <a:lnTo>
                  <a:pt x="150" y="150"/>
                </a:lnTo>
                <a:lnTo>
                  <a:pt x="156" y="144"/>
                </a:lnTo>
                <a:lnTo>
                  <a:pt x="156" y="150"/>
                </a:lnTo>
                <a:lnTo>
                  <a:pt x="156" y="144"/>
                </a:lnTo>
                <a:lnTo>
                  <a:pt x="162" y="150"/>
                </a:lnTo>
                <a:lnTo>
                  <a:pt x="162" y="150"/>
                </a:lnTo>
                <a:lnTo>
                  <a:pt x="162" y="150"/>
                </a:lnTo>
                <a:lnTo>
                  <a:pt x="162" y="150"/>
                </a:lnTo>
                <a:lnTo>
                  <a:pt x="162" y="156"/>
                </a:lnTo>
                <a:lnTo>
                  <a:pt x="162" y="156"/>
                </a:lnTo>
                <a:lnTo>
                  <a:pt x="162" y="156"/>
                </a:lnTo>
                <a:lnTo>
                  <a:pt x="156" y="156"/>
                </a:lnTo>
                <a:lnTo>
                  <a:pt x="156" y="156"/>
                </a:lnTo>
                <a:lnTo>
                  <a:pt x="156" y="156"/>
                </a:lnTo>
                <a:lnTo>
                  <a:pt x="156" y="156"/>
                </a:lnTo>
                <a:lnTo>
                  <a:pt x="156" y="162"/>
                </a:lnTo>
                <a:lnTo>
                  <a:pt x="156" y="162"/>
                </a:lnTo>
                <a:lnTo>
                  <a:pt x="156" y="162"/>
                </a:lnTo>
                <a:lnTo>
                  <a:pt x="156" y="162"/>
                </a:lnTo>
                <a:lnTo>
                  <a:pt x="150" y="162"/>
                </a:lnTo>
                <a:lnTo>
                  <a:pt x="150" y="162"/>
                </a:lnTo>
                <a:lnTo>
                  <a:pt x="150" y="162"/>
                </a:lnTo>
                <a:lnTo>
                  <a:pt x="150" y="162"/>
                </a:lnTo>
                <a:lnTo>
                  <a:pt x="150" y="162"/>
                </a:lnTo>
                <a:lnTo>
                  <a:pt x="150" y="162"/>
                </a:lnTo>
                <a:lnTo>
                  <a:pt x="150" y="156"/>
                </a:lnTo>
                <a:lnTo>
                  <a:pt x="144" y="156"/>
                </a:lnTo>
                <a:lnTo>
                  <a:pt x="144" y="156"/>
                </a:lnTo>
                <a:lnTo>
                  <a:pt x="144" y="156"/>
                </a:lnTo>
                <a:lnTo>
                  <a:pt x="144" y="156"/>
                </a:lnTo>
                <a:lnTo>
                  <a:pt x="144" y="162"/>
                </a:lnTo>
                <a:lnTo>
                  <a:pt x="138" y="162"/>
                </a:lnTo>
                <a:lnTo>
                  <a:pt x="138" y="162"/>
                </a:lnTo>
                <a:lnTo>
                  <a:pt x="138" y="156"/>
                </a:lnTo>
                <a:lnTo>
                  <a:pt x="138" y="156"/>
                </a:lnTo>
                <a:lnTo>
                  <a:pt x="132" y="156"/>
                </a:lnTo>
                <a:lnTo>
                  <a:pt x="138" y="156"/>
                </a:lnTo>
                <a:lnTo>
                  <a:pt x="138" y="156"/>
                </a:lnTo>
                <a:lnTo>
                  <a:pt x="132" y="156"/>
                </a:lnTo>
                <a:lnTo>
                  <a:pt x="132" y="150"/>
                </a:lnTo>
                <a:lnTo>
                  <a:pt x="132" y="150"/>
                </a:lnTo>
                <a:lnTo>
                  <a:pt x="132" y="150"/>
                </a:lnTo>
                <a:lnTo>
                  <a:pt x="126" y="150"/>
                </a:lnTo>
                <a:lnTo>
                  <a:pt x="126" y="150"/>
                </a:lnTo>
                <a:lnTo>
                  <a:pt x="126" y="150"/>
                </a:lnTo>
                <a:lnTo>
                  <a:pt x="126" y="150"/>
                </a:lnTo>
                <a:lnTo>
                  <a:pt x="126" y="150"/>
                </a:lnTo>
                <a:lnTo>
                  <a:pt x="126" y="150"/>
                </a:lnTo>
                <a:lnTo>
                  <a:pt x="126" y="150"/>
                </a:lnTo>
                <a:lnTo>
                  <a:pt x="120" y="150"/>
                </a:lnTo>
                <a:lnTo>
                  <a:pt x="120" y="144"/>
                </a:lnTo>
                <a:lnTo>
                  <a:pt x="120" y="150"/>
                </a:lnTo>
                <a:lnTo>
                  <a:pt x="120" y="144"/>
                </a:lnTo>
                <a:lnTo>
                  <a:pt x="120" y="144"/>
                </a:lnTo>
                <a:lnTo>
                  <a:pt x="120" y="150"/>
                </a:lnTo>
                <a:lnTo>
                  <a:pt x="120" y="150"/>
                </a:lnTo>
                <a:lnTo>
                  <a:pt x="114" y="150"/>
                </a:lnTo>
                <a:lnTo>
                  <a:pt x="114" y="144"/>
                </a:lnTo>
                <a:lnTo>
                  <a:pt x="114" y="144"/>
                </a:lnTo>
                <a:lnTo>
                  <a:pt x="114" y="144"/>
                </a:lnTo>
                <a:lnTo>
                  <a:pt x="114" y="144"/>
                </a:lnTo>
                <a:lnTo>
                  <a:pt x="114" y="144"/>
                </a:lnTo>
                <a:lnTo>
                  <a:pt x="114" y="144"/>
                </a:lnTo>
                <a:lnTo>
                  <a:pt x="108" y="150"/>
                </a:lnTo>
                <a:lnTo>
                  <a:pt x="108" y="150"/>
                </a:lnTo>
                <a:lnTo>
                  <a:pt x="108" y="150"/>
                </a:lnTo>
                <a:lnTo>
                  <a:pt x="108" y="150"/>
                </a:lnTo>
                <a:lnTo>
                  <a:pt x="108" y="150"/>
                </a:lnTo>
                <a:lnTo>
                  <a:pt x="108" y="150"/>
                </a:lnTo>
                <a:lnTo>
                  <a:pt x="102" y="150"/>
                </a:lnTo>
                <a:lnTo>
                  <a:pt x="102" y="150"/>
                </a:lnTo>
                <a:lnTo>
                  <a:pt x="102" y="150"/>
                </a:lnTo>
                <a:lnTo>
                  <a:pt x="102" y="156"/>
                </a:lnTo>
                <a:lnTo>
                  <a:pt x="102" y="156"/>
                </a:lnTo>
                <a:lnTo>
                  <a:pt x="102" y="150"/>
                </a:lnTo>
                <a:lnTo>
                  <a:pt x="102" y="150"/>
                </a:lnTo>
                <a:lnTo>
                  <a:pt x="102" y="150"/>
                </a:lnTo>
                <a:lnTo>
                  <a:pt x="96" y="150"/>
                </a:lnTo>
                <a:lnTo>
                  <a:pt x="96" y="150"/>
                </a:lnTo>
                <a:lnTo>
                  <a:pt x="96" y="150"/>
                </a:lnTo>
                <a:lnTo>
                  <a:pt x="96" y="150"/>
                </a:lnTo>
                <a:lnTo>
                  <a:pt x="90" y="150"/>
                </a:lnTo>
                <a:lnTo>
                  <a:pt x="90" y="150"/>
                </a:lnTo>
                <a:lnTo>
                  <a:pt x="90" y="150"/>
                </a:lnTo>
                <a:lnTo>
                  <a:pt x="90" y="150"/>
                </a:lnTo>
                <a:lnTo>
                  <a:pt x="90" y="156"/>
                </a:lnTo>
                <a:lnTo>
                  <a:pt x="84" y="156"/>
                </a:lnTo>
                <a:lnTo>
                  <a:pt x="84" y="156"/>
                </a:lnTo>
                <a:lnTo>
                  <a:pt x="84" y="156"/>
                </a:lnTo>
                <a:lnTo>
                  <a:pt x="84" y="156"/>
                </a:lnTo>
                <a:lnTo>
                  <a:pt x="84" y="156"/>
                </a:lnTo>
                <a:lnTo>
                  <a:pt x="84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2" y="150"/>
                </a:lnTo>
                <a:lnTo>
                  <a:pt x="72" y="150"/>
                </a:lnTo>
                <a:lnTo>
                  <a:pt x="72" y="150"/>
                </a:lnTo>
                <a:lnTo>
                  <a:pt x="72" y="156"/>
                </a:lnTo>
                <a:lnTo>
                  <a:pt x="72" y="156"/>
                </a:lnTo>
                <a:lnTo>
                  <a:pt x="66" y="156"/>
                </a:lnTo>
                <a:lnTo>
                  <a:pt x="66" y="156"/>
                </a:lnTo>
                <a:lnTo>
                  <a:pt x="66" y="162"/>
                </a:lnTo>
                <a:lnTo>
                  <a:pt x="66" y="162"/>
                </a:lnTo>
                <a:lnTo>
                  <a:pt x="66" y="162"/>
                </a:lnTo>
                <a:lnTo>
                  <a:pt x="66" y="162"/>
                </a:lnTo>
                <a:lnTo>
                  <a:pt x="66" y="162"/>
                </a:lnTo>
                <a:lnTo>
                  <a:pt x="60" y="162"/>
                </a:lnTo>
                <a:lnTo>
                  <a:pt x="60" y="162"/>
                </a:lnTo>
                <a:lnTo>
                  <a:pt x="60" y="162"/>
                </a:lnTo>
                <a:lnTo>
                  <a:pt x="60" y="162"/>
                </a:lnTo>
                <a:lnTo>
                  <a:pt x="60" y="162"/>
                </a:lnTo>
                <a:lnTo>
                  <a:pt x="60" y="162"/>
                </a:lnTo>
                <a:lnTo>
                  <a:pt x="60" y="162"/>
                </a:lnTo>
                <a:lnTo>
                  <a:pt x="60" y="168"/>
                </a:lnTo>
                <a:lnTo>
                  <a:pt x="54" y="168"/>
                </a:lnTo>
                <a:lnTo>
                  <a:pt x="54" y="168"/>
                </a:lnTo>
                <a:lnTo>
                  <a:pt x="54" y="168"/>
                </a:lnTo>
                <a:lnTo>
                  <a:pt x="54" y="168"/>
                </a:lnTo>
                <a:lnTo>
                  <a:pt x="54" y="168"/>
                </a:lnTo>
                <a:lnTo>
                  <a:pt x="54" y="168"/>
                </a:lnTo>
                <a:lnTo>
                  <a:pt x="54" y="168"/>
                </a:lnTo>
                <a:lnTo>
                  <a:pt x="54" y="168"/>
                </a:lnTo>
                <a:lnTo>
                  <a:pt x="48" y="168"/>
                </a:lnTo>
                <a:lnTo>
                  <a:pt x="48" y="168"/>
                </a:lnTo>
                <a:lnTo>
                  <a:pt x="48" y="168"/>
                </a:lnTo>
                <a:lnTo>
                  <a:pt x="48" y="174"/>
                </a:lnTo>
                <a:lnTo>
                  <a:pt x="48" y="174"/>
                </a:lnTo>
                <a:lnTo>
                  <a:pt x="42" y="174"/>
                </a:lnTo>
                <a:lnTo>
                  <a:pt x="42" y="174"/>
                </a:lnTo>
                <a:lnTo>
                  <a:pt x="42" y="174"/>
                </a:lnTo>
                <a:lnTo>
                  <a:pt x="42" y="174"/>
                </a:lnTo>
                <a:lnTo>
                  <a:pt x="36" y="174"/>
                </a:lnTo>
                <a:lnTo>
                  <a:pt x="36" y="180"/>
                </a:lnTo>
                <a:lnTo>
                  <a:pt x="36" y="180"/>
                </a:lnTo>
                <a:lnTo>
                  <a:pt x="36" y="180"/>
                </a:lnTo>
                <a:lnTo>
                  <a:pt x="36" y="180"/>
                </a:lnTo>
                <a:lnTo>
                  <a:pt x="36" y="180"/>
                </a:lnTo>
                <a:lnTo>
                  <a:pt x="30" y="180"/>
                </a:lnTo>
                <a:lnTo>
                  <a:pt x="30" y="180"/>
                </a:lnTo>
                <a:lnTo>
                  <a:pt x="30" y="180"/>
                </a:lnTo>
                <a:lnTo>
                  <a:pt x="30" y="180"/>
                </a:lnTo>
                <a:lnTo>
                  <a:pt x="30" y="180"/>
                </a:lnTo>
                <a:lnTo>
                  <a:pt x="30" y="180"/>
                </a:lnTo>
                <a:lnTo>
                  <a:pt x="30" y="180"/>
                </a:lnTo>
                <a:lnTo>
                  <a:pt x="30" y="174"/>
                </a:lnTo>
                <a:lnTo>
                  <a:pt x="30" y="174"/>
                </a:lnTo>
                <a:lnTo>
                  <a:pt x="24" y="174"/>
                </a:lnTo>
                <a:lnTo>
                  <a:pt x="24" y="174"/>
                </a:lnTo>
                <a:lnTo>
                  <a:pt x="24" y="174"/>
                </a:lnTo>
                <a:lnTo>
                  <a:pt x="24" y="174"/>
                </a:lnTo>
                <a:lnTo>
                  <a:pt x="18" y="168"/>
                </a:lnTo>
                <a:lnTo>
                  <a:pt x="18" y="168"/>
                </a:lnTo>
                <a:lnTo>
                  <a:pt x="18" y="168"/>
                </a:lnTo>
                <a:lnTo>
                  <a:pt x="18" y="168"/>
                </a:lnTo>
                <a:lnTo>
                  <a:pt x="18" y="168"/>
                </a:lnTo>
                <a:lnTo>
                  <a:pt x="18" y="168"/>
                </a:lnTo>
                <a:lnTo>
                  <a:pt x="18" y="162"/>
                </a:lnTo>
                <a:lnTo>
                  <a:pt x="18" y="162"/>
                </a:lnTo>
                <a:lnTo>
                  <a:pt x="18" y="162"/>
                </a:lnTo>
                <a:lnTo>
                  <a:pt x="18" y="162"/>
                </a:lnTo>
                <a:lnTo>
                  <a:pt x="18" y="162"/>
                </a:lnTo>
                <a:lnTo>
                  <a:pt x="18" y="162"/>
                </a:lnTo>
                <a:lnTo>
                  <a:pt x="12" y="156"/>
                </a:lnTo>
                <a:lnTo>
                  <a:pt x="18" y="156"/>
                </a:lnTo>
                <a:lnTo>
                  <a:pt x="18" y="156"/>
                </a:lnTo>
                <a:lnTo>
                  <a:pt x="18" y="156"/>
                </a:lnTo>
                <a:lnTo>
                  <a:pt x="18" y="156"/>
                </a:lnTo>
                <a:lnTo>
                  <a:pt x="18" y="156"/>
                </a:lnTo>
                <a:lnTo>
                  <a:pt x="24" y="156"/>
                </a:lnTo>
                <a:lnTo>
                  <a:pt x="24" y="150"/>
                </a:lnTo>
                <a:lnTo>
                  <a:pt x="24" y="150"/>
                </a:lnTo>
                <a:lnTo>
                  <a:pt x="24" y="150"/>
                </a:lnTo>
                <a:lnTo>
                  <a:pt x="24" y="150"/>
                </a:lnTo>
                <a:lnTo>
                  <a:pt x="24" y="150"/>
                </a:lnTo>
                <a:lnTo>
                  <a:pt x="24" y="150"/>
                </a:lnTo>
                <a:lnTo>
                  <a:pt x="24" y="150"/>
                </a:lnTo>
                <a:lnTo>
                  <a:pt x="24" y="144"/>
                </a:lnTo>
                <a:lnTo>
                  <a:pt x="24" y="144"/>
                </a:lnTo>
                <a:lnTo>
                  <a:pt x="18" y="144"/>
                </a:lnTo>
                <a:lnTo>
                  <a:pt x="24" y="138"/>
                </a:lnTo>
                <a:lnTo>
                  <a:pt x="24" y="144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6" y="120"/>
                </a:lnTo>
                <a:lnTo>
                  <a:pt x="6" y="120"/>
                </a:lnTo>
                <a:lnTo>
                  <a:pt x="6" y="114"/>
                </a:lnTo>
                <a:lnTo>
                  <a:pt x="6" y="120"/>
                </a:lnTo>
                <a:lnTo>
                  <a:pt x="6" y="114"/>
                </a:lnTo>
                <a:lnTo>
                  <a:pt x="0" y="114"/>
                </a:lnTo>
                <a:lnTo>
                  <a:pt x="0" y="114"/>
                </a:lnTo>
                <a:lnTo>
                  <a:pt x="6" y="114"/>
                </a:lnTo>
                <a:lnTo>
                  <a:pt x="0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34" name="Freeform 267"/>
          <p:cNvSpPr>
            <a:spLocks/>
          </p:cNvSpPr>
          <p:nvPr/>
        </p:nvSpPr>
        <p:spPr bwMode="auto">
          <a:xfrm>
            <a:off x="7764069" y="3595380"/>
            <a:ext cx="167025" cy="199147"/>
          </a:xfrm>
          <a:custGeom>
            <a:avLst/>
            <a:gdLst>
              <a:gd name="T0" fmla="*/ 12 w 156"/>
              <a:gd name="T1" fmla="*/ 66 h 186"/>
              <a:gd name="T2" fmla="*/ 18 w 156"/>
              <a:gd name="T3" fmla="*/ 66 h 186"/>
              <a:gd name="T4" fmla="*/ 24 w 156"/>
              <a:gd name="T5" fmla="*/ 66 h 186"/>
              <a:gd name="T6" fmla="*/ 30 w 156"/>
              <a:gd name="T7" fmla="*/ 66 h 186"/>
              <a:gd name="T8" fmla="*/ 36 w 156"/>
              <a:gd name="T9" fmla="*/ 72 h 186"/>
              <a:gd name="T10" fmla="*/ 42 w 156"/>
              <a:gd name="T11" fmla="*/ 60 h 186"/>
              <a:gd name="T12" fmla="*/ 36 w 156"/>
              <a:gd name="T13" fmla="*/ 48 h 186"/>
              <a:gd name="T14" fmla="*/ 42 w 156"/>
              <a:gd name="T15" fmla="*/ 48 h 186"/>
              <a:gd name="T16" fmla="*/ 48 w 156"/>
              <a:gd name="T17" fmla="*/ 48 h 186"/>
              <a:gd name="T18" fmla="*/ 48 w 156"/>
              <a:gd name="T19" fmla="*/ 42 h 186"/>
              <a:gd name="T20" fmla="*/ 54 w 156"/>
              <a:gd name="T21" fmla="*/ 36 h 186"/>
              <a:gd name="T22" fmla="*/ 60 w 156"/>
              <a:gd name="T23" fmla="*/ 30 h 186"/>
              <a:gd name="T24" fmla="*/ 72 w 156"/>
              <a:gd name="T25" fmla="*/ 30 h 186"/>
              <a:gd name="T26" fmla="*/ 78 w 156"/>
              <a:gd name="T27" fmla="*/ 18 h 186"/>
              <a:gd name="T28" fmla="*/ 84 w 156"/>
              <a:gd name="T29" fmla="*/ 12 h 186"/>
              <a:gd name="T30" fmla="*/ 90 w 156"/>
              <a:gd name="T31" fmla="*/ 6 h 186"/>
              <a:gd name="T32" fmla="*/ 102 w 156"/>
              <a:gd name="T33" fmla="*/ 6 h 186"/>
              <a:gd name="T34" fmla="*/ 114 w 156"/>
              <a:gd name="T35" fmla="*/ 12 h 186"/>
              <a:gd name="T36" fmla="*/ 114 w 156"/>
              <a:gd name="T37" fmla="*/ 18 h 186"/>
              <a:gd name="T38" fmla="*/ 108 w 156"/>
              <a:gd name="T39" fmla="*/ 30 h 186"/>
              <a:gd name="T40" fmla="*/ 102 w 156"/>
              <a:gd name="T41" fmla="*/ 36 h 186"/>
              <a:gd name="T42" fmla="*/ 114 w 156"/>
              <a:gd name="T43" fmla="*/ 48 h 186"/>
              <a:gd name="T44" fmla="*/ 126 w 156"/>
              <a:gd name="T45" fmla="*/ 48 h 186"/>
              <a:gd name="T46" fmla="*/ 138 w 156"/>
              <a:gd name="T47" fmla="*/ 48 h 186"/>
              <a:gd name="T48" fmla="*/ 150 w 156"/>
              <a:gd name="T49" fmla="*/ 60 h 186"/>
              <a:gd name="T50" fmla="*/ 150 w 156"/>
              <a:gd name="T51" fmla="*/ 66 h 186"/>
              <a:gd name="T52" fmla="*/ 150 w 156"/>
              <a:gd name="T53" fmla="*/ 78 h 186"/>
              <a:gd name="T54" fmla="*/ 144 w 156"/>
              <a:gd name="T55" fmla="*/ 78 h 186"/>
              <a:gd name="T56" fmla="*/ 132 w 156"/>
              <a:gd name="T57" fmla="*/ 84 h 186"/>
              <a:gd name="T58" fmla="*/ 120 w 156"/>
              <a:gd name="T59" fmla="*/ 90 h 186"/>
              <a:gd name="T60" fmla="*/ 120 w 156"/>
              <a:gd name="T61" fmla="*/ 96 h 186"/>
              <a:gd name="T62" fmla="*/ 126 w 156"/>
              <a:gd name="T63" fmla="*/ 108 h 186"/>
              <a:gd name="T64" fmla="*/ 138 w 156"/>
              <a:gd name="T65" fmla="*/ 114 h 186"/>
              <a:gd name="T66" fmla="*/ 144 w 156"/>
              <a:gd name="T67" fmla="*/ 126 h 186"/>
              <a:gd name="T68" fmla="*/ 156 w 156"/>
              <a:gd name="T69" fmla="*/ 126 h 186"/>
              <a:gd name="T70" fmla="*/ 150 w 156"/>
              <a:gd name="T71" fmla="*/ 138 h 186"/>
              <a:gd name="T72" fmla="*/ 144 w 156"/>
              <a:gd name="T73" fmla="*/ 150 h 186"/>
              <a:gd name="T74" fmla="*/ 132 w 156"/>
              <a:gd name="T75" fmla="*/ 144 h 186"/>
              <a:gd name="T76" fmla="*/ 120 w 156"/>
              <a:gd name="T77" fmla="*/ 150 h 186"/>
              <a:gd name="T78" fmla="*/ 114 w 156"/>
              <a:gd name="T79" fmla="*/ 156 h 186"/>
              <a:gd name="T80" fmla="*/ 108 w 156"/>
              <a:gd name="T81" fmla="*/ 162 h 186"/>
              <a:gd name="T82" fmla="*/ 108 w 156"/>
              <a:gd name="T83" fmla="*/ 174 h 186"/>
              <a:gd name="T84" fmla="*/ 102 w 156"/>
              <a:gd name="T85" fmla="*/ 174 h 186"/>
              <a:gd name="T86" fmla="*/ 90 w 156"/>
              <a:gd name="T87" fmla="*/ 180 h 186"/>
              <a:gd name="T88" fmla="*/ 78 w 156"/>
              <a:gd name="T89" fmla="*/ 174 h 186"/>
              <a:gd name="T90" fmla="*/ 72 w 156"/>
              <a:gd name="T91" fmla="*/ 174 h 186"/>
              <a:gd name="T92" fmla="*/ 66 w 156"/>
              <a:gd name="T93" fmla="*/ 168 h 186"/>
              <a:gd name="T94" fmla="*/ 60 w 156"/>
              <a:gd name="T95" fmla="*/ 174 h 186"/>
              <a:gd name="T96" fmla="*/ 48 w 156"/>
              <a:gd name="T97" fmla="*/ 180 h 186"/>
              <a:gd name="T98" fmla="*/ 36 w 156"/>
              <a:gd name="T99" fmla="*/ 186 h 186"/>
              <a:gd name="T100" fmla="*/ 36 w 156"/>
              <a:gd name="T101" fmla="*/ 174 h 186"/>
              <a:gd name="T102" fmla="*/ 30 w 156"/>
              <a:gd name="T103" fmla="*/ 168 h 186"/>
              <a:gd name="T104" fmla="*/ 36 w 156"/>
              <a:gd name="T105" fmla="*/ 156 h 186"/>
              <a:gd name="T106" fmla="*/ 36 w 156"/>
              <a:gd name="T107" fmla="*/ 150 h 186"/>
              <a:gd name="T108" fmla="*/ 36 w 156"/>
              <a:gd name="T109" fmla="*/ 144 h 186"/>
              <a:gd name="T110" fmla="*/ 24 w 156"/>
              <a:gd name="T111" fmla="*/ 144 h 186"/>
              <a:gd name="T112" fmla="*/ 18 w 156"/>
              <a:gd name="T113" fmla="*/ 144 h 186"/>
              <a:gd name="T114" fmla="*/ 12 w 156"/>
              <a:gd name="T115" fmla="*/ 138 h 186"/>
              <a:gd name="T116" fmla="*/ 18 w 156"/>
              <a:gd name="T117" fmla="*/ 120 h 186"/>
              <a:gd name="T118" fmla="*/ 18 w 156"/>
              <a:gd name="T119" fmla="*/ 114 h 186"/>
              <a:gd name="T120" fmla="*/ 12 w 156"/>
              <a:gd name="T121" fmla="*/ 108 h 186"/>
              <a:gd name="T122" fmla="*/ 0 w 156"/>
              <a:gd name="T123" fmla="*/ 90 h 186"/>
              <a:gd name="T124" fmla="*/ 12 w 156"/>
              <a:gd name="T125" fmla="*/ 84 h 1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56" h="186">
                <a:moveTo>
                  <a:pt x="6" y="78"/>
                </a:move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8" y="60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30" y="66"/>
                </a:lnTo>
                <a:lnTo>
                  <a:pt x="30" y="66"/>
                </a:lnTo>
                <a:lnTo>
                  <a:pt x="24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72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72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0" y="48"/>
                </a:lnTo>
                <a:lnTo>
                  <a:pt x="36" y="48"/>
                </a:lnTo>
                <a:lnTo>
                  <a:pt x="30" y="48"/>
                </a:lnTo>
                <a:lnTo>
                  <a:pt x="30" y="48"/>
                </a:lnTo>
                <a:lnTo>
                  <a:pt x="36" y="42"/>
                </a:lnTo>
                <a:lnTo>
                  <a:pt x="36" y="42"/>
                </a:lnTo>
                <a:lnTo>
                  <a:pt x="36" y="48"/>
                </a:lnTo>
                <a:lnTo>
                  <a:pt x="36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6"/>
                </a:lnTo>
                <a:lnTo>
                  <a:pt x="84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54"/>
                </a:lnTo>
                <a:lnTo>
                  <a:pt x="132" y="54"/>
                </a:lnTo>
                <a:lnTo>
                  <a:pt x="138" y="48"/>
                </a:lnTo>
                <a:lnTo>
                  <a:pt x="144" y="54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54"/>
                </a:lnTo>
                <a:lnTo>
                  <a:pt x="144" y="54"/>
                </a:lnTo>
                <a:lnTo>
                  <a:pt x="150" y="54"/>
                </a:lnTo>
                <a:lnTo>
                  <a:pt x="150" y="54"/>
                </a:lnTo>
                <a:lnTo>
                  <a:pt x="150" y="54"/>
                </a:lnTo>
                <a:lnTo>
                  <a:pt x="150" y="54"/>
                </a:lnTo>
                <a:lnTo>
                  <a:pt x="150" y="60"/>
                </a:lnTo>
                <a:lnTo>
                  <a:pt x="150" y="60"/>
                </a:lnTo>
                <a:lnTo>
                  <a:pt x="150" y="60"/>
                </a:lnTo>
                <a:lnTo>
                  <a:pt x="150" y="60"/>
                </a:lnTo>
                <a:lnTo>
                  <a:pt x="150" y="60"/>
                </a:lnTo>
                <a:lnTo>
                  <a:pt x="144" y="60"/>
                </a:lnTo>
                <a:lnTo>
                  <a:pt x="150" y="60"/>
                </a:lnTo>
                <a:lnTo>
                  <a:pt x="150" y="60"/>
                </a:lnTo>
                <a:lnTo>
                  <a:pt x="150" y="60"/>
                </a:lnTo>
                <a:lnTo>
                  <a:pt x="150" y="60"/>
                </a:lnTo>
                <a:lnTo>
                  <a:pt x="150" y="66"/>
                </a:lnTo>
                <a:lnTo>
                  <a:pt x="150" y="66"/>
                </a:lnTo>
                <a:lnTo>
                  <a:pt x="150" y="66"/>
                </a:lnTo>
                <a:lnTo>
                  <a:pt x="150" y="66"/>
                </a:lnTo>
                <a:lnTo>
                  <a:pt x="150" y="66"/>
                </a:lnTo>
                <a:lnTo>
                  <a:pt x="144" y="66"/>
                </a:lnTo>
                <a:lnTo>
                  <a:pt x="144" y="72"/>
                </a:lnTo>
                <a:lnTo>
                  <a:pt x="144" y="72"/>
                </a:lnTo>
                <a:lnTo>
                  <a:pt x="144" y="72"/>
                </a:lnTo>
                <a:lnTo>
                  <a:pt x="150" y="72"/>
                </a:lnTo>
                <a:lnTo>
                  <a:pt x="144" y="78"/>
                </a:lnTo>
                <a:lnTo>
                  <a:pt x="150" y="78"/>
                </a:lnTo>
                <a:lnTo>
                  <a:pt x="150" y="78"/>
                </a:lnTo>
                <a:lnTo>
                  <a:pt x="150" y="78"/>
                </a:lnTo>
                <a:lnTo>
                  <a:pt x="150" y="78"/>
                </a:lnTo>
                <a:lnTo>
                  <a:pt x="150" y="78"/>
                </a:lnTo>
                <a:lnTo>
                  <a:pt x="150" y="78"/>
                </a:lnTo>
                <a:lnTo>
                  <a:pt x="150" y="78"/>
                </a:lnTo>
                <a:lnTo>
                  <a:pt x="150" y="78"/>
                </a:lnTo>
                <a:lnTo>
                  <a:pt x="150" y="84"/>
                </a:lnTo>
                <a:lnTo>
                  <a:pt x="144" y="78"/>
                </a:lnTo>
                <a:lnTo>
                  <a:pt x="144" y="84"/>
                </a:lnTo>
                <a:lnTo>
                  <a:pt x="144" y="78"/>
                </a:lnTo>
                <a:lnTo>
                  <a:pt x="144" y="78"/>
                </a:lnTo>
                <a:lnTo>
                  <a:pt x="138" y="84"/>
                </a:lnTo>
                <a:lnTo>
                  <a:pt x="144" y="84"/>
                </a:lnTo>
                <a:lnTo>
                  <a:pt x="138" y="84"/>
                </a:lnTo>
                <a:lnTo>
                  <a:pt x="138" y="84"/>
                </a:lnTo>
                <a:lnTo>
                  <a:pt x="138" y="84"/>
                </a:lnTo>
                <a:lnTo>
                  <a:pt x="138" y="84"/>
                </a:lnTo>
                <a:lnTo>
                  <a:pt x="132" y="84"/>
                </a:lnTo>
                <a:lnTo>
                  <a:pt x="138" y="84"/>
                </a:lnTo>
                <a:lnTo>
                  <a:pt x="138" y="84"/>
                </a:lnTo>
                <a:lnTo>
                  <a:pt x="132" y="84"/>
                </a:lnTo>
                <a:lnTo>
                  <a:pt x="132" y="84"/>
                </a:lnTo>
                <a:lnTo>
                  <a:pt x="132" y="84"/>
                </a:lnTo>
                <a:lnTo>
                  <a:pt x="132" y="84"/>
                </a:lnTo>
                <a:lnTo>
                  <a:pt x="132" y="84"/>
                </a:lnTo>
                <a:lnTo>
                  <a:pt x="132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0" y="84"/>
                </a:lnTo>
                <a:lnTo>
                  <a:pt x="126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6"/>
                </a:lnTo>
                <a:lnTo>
                  <a:pt x="126" y="96"/>
                </a:lnTo>
                <a:lnTo>
                  <a:pt x="126" y="96"/>
                </a:lnTo>
                <a:lnTo>
                  <a:pt x="126" y="96"/>
                </a:lnTo>
                <a:lnTo>
                  <a:pt x="126" y="96"/>
                </a:lnTo>
                <a:lnTo>
                  <a:pt x="126" y="102"/>
                </a:lnTo>
                <a:lnTo>
                  <a:pt x="126" y="102"/>
                </a:lnTo>
                <a:lnTo>
                  <a:pt x="126" y="102"/>
                </a:lnTo>
                <a:lnTo>
                  <a:pt x="126" y="102"/>
                </a:lnTo>
                <a:lnTo>
                  <a:pt x="132" y="102"/>
                </a:lnTo>
                <a:lnTo>
                  <a:pt x="132" y="102"/>
                </a:lnTo>
                <a:lnTo>
                  <a:pt x="126" y="108"/>
                </a:lnTo>
                <a:lnTo>
                  <a:pt x="132" y="108"/>
                </a:lnTo>
                <a:lnTo>
                  <a:pt x="132" y="108"/>
                </a:lnTo>
                <a:lnTo>
                  <a:pt x="132" y="108"/>
                </a:lnTo>
                <a:lnTo>
                  <a:pt x="132" y="108"/>
                </a:lnTo>
                <a:lnTo>
                  <a:pt x="132" y="108"/>
                </a:lnTo>
                <a:lnTo>
                  <a:pt x="138" y="108"/>
                </a:lnTo>
                <a:lnTo>
                  <a:pt x="138" y="108"/>
                </a:lnTo>
                <a:lnTo>
                  <a:pt x="138" y="108"/>
                </a:lnTo>
                <a:lnTo>
                  <a:pt x="138" y="108"/>
                </a:lnTo>
                <a:lnTo>
                  <a:pt x="138" y="108"/>
                </a:lnTo>
                <a:lnTo>
                  <a:pt x="138" y="114"/>
                </a:lnTo>
                <a:lnTo>
                  <a:pt x="138" y="114"/>
                </a:lnTo>
                <a:lnTo>
                  <a:pt x="138" y="114"/>
                </a:lnTo>
                <a:lnTo>
                  <a:pt x="144" y="114"/>
                </a:lnTo>
                <a:lnTo>
                  <a:pt x="144" y="114"/>
                </a:lnTo>
                <a:lnTo>
                  <a:pt x="144" y="114"/>
                </a:lnTo>
                <a:lnTo>
                  <a:pt x="144" y="120"/>
                </a:lnTo>
                <a:lnTo>
                  <a:pt x="144" y="120"/>
                </a:lnTo>
                <a:lnTo>
                  <a:pt x="144" y="120"/>
                </a:lnTo>
                <a:lnTo>
                  <a:pt x="144" y="120"/>
                </a:lnTo>
                <a:lnTo>
                  <a:pt x="144" y="120"/>
                </a:lnTo>
                <a:lnTo>
                  <a:pt x="144" y="126"/>
                </a:lnTo>
                <a:lnTo>
                  <a:pt x="144" y="126"/>
                </a:lnTo>
                <a:lnTo>
                  <a:pt x="144" y="126"/>
                </a:lnTo>
                <a:lnTo>
                  <a:pt x="144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32"/>
                </a:lnTo>
                <a:lnTo>
                  <a:pt x="156" y="132"/>
                </a:lnTo>
                <a:lnTo>
                  <a:pt x="156" y="132"/>
                </a:lnTo>
                <a:lnTo>
                  <a:pt x="156" y="132"/>
                </a:lnTo>
                <a:lnTo>
                  <a:pt x="150" y="132"/>
                </a:lnTo>
                <a:lnTo>
                  <a:pt x="150" y="132"/>
                </a:lnTo>
                <a:lnTo>
                  <a:pt x="150" y="138"/>
                </a:lnTo>
                <a:lnTo>
                  <a:pt x="150" y="138"/>
                </a:lnTo>
                <a:lnTo>
                  <a:pt x="150" y="138"/>
                </a:lnTo>
                <a:lnTo>
                  <a:pt x="150" y="138"/>
                </a:lnTo>
                <a:lnTo>
                  <a:pt x="150" y="138"/>
                </a:lnTo>
                <a:lnTo>
                  <a:pt x="150" y="144"/>
                </a:lnTo>
                <a:lnTo>
                  <a:pt x="144" y="144"/>
                </a:lnTo>
                <a:lnTo>
                  <a:pt x="144" y="144"/>
                </a:lnTo>
                <a:lnTo>
                  <a:pt x="144" y="144"/>
                </a:lnTo>
                <a:lnTo>
                  <a:pt x="144" y="144"/>
                </a:lnTo>
                <a:lnTo>
                  <a:pt x="144" y="144"/>
                </a:lnTo>
                <a:lnTo>
                  <a:pt x="144" y="144"/>
                </a:lnTo>
                <a:lnTo>
                  <a:pt x="144" y="150"/>
                </a:lnTo>
                <a:lnTo>
                  <a:pt x="144" y="150"/>
                </a:lnTo>
                <a:lnTo>
                  <a:pt x="138" y="150"/>
                </a:lnTo>
                <a:lnTo>
                  <a:pt x="138" y="150"/>
                </a:lnTo>
                <a:lnTo>
                  <a:pt x="138" y="150"/>
                </a:lnTo>
                <a:lnTo>
                  <a:pt x="138" y="150"/>
                </a:lnTo>
                <a:lnTo>
                  <a:pt x="138" y="150"/>
                </a:lnTo>
                <a:lnTo>
                  <a:pt x="138" y="150"/>
                </a:lnTo>
                <a:lnTo>
                  <a:pt x="138" y="150"/>
                </a:lnTo>
                <a:lnTo>
                  <a:pt x="138" y="150"/>
                </a:lnTo>
                <a:lnTo>
                  <a:pt x="138" y="150"/>
                </a:lnTo>
                <a:lnTo>
                  <a:pt x="138" y="150"/>
                </a:lnTo>
                <a:lnTo>
                  <a:pt x="132" y="144"/>
                </a:lnTo>
                <a:lnTo>
                  <a:pt x="132" y="150"/>
                </a:lnTo>
                <a:lnTo>
                  <a:pt x="132" y="144"/>
                </a:lnTo>
                <a:lnTo>
                  <a:pt x="126" y="150"/>
                </a:lnTo>
                <a:lnTo>
                  <a:pt x="126" y="144"/>
                </a:lnTo>
                <a:lnTo>
                  <a:pt x="126" y="144"/>
                </a:lnTo>
                <a:lnTo>
                  <a:pt x="126" y="150"/>
                </a:lnTo>
                <a:lnTo>
                  <a:pt x="126" y="150"/>
                </a:lnTo>
                <a:lnTo>
                  <a:pt x="126" y="150"/>
                </a:lnTo>
                <a:lnTo>
                  <a:pt x="126" y="150"/>
                </a:lnTo>
                <a:lnTo>
                  <a:pt x="120" y="150"/>
                </a:lnTo>
                <a:lnTo>
                  <a:pt x="120" y="150"/>
                </a:lnTo>
                <a:lnTo>
                  <a:pt x="120" y="150"/>
                </a:lnTo>
                <a:lnTo>
                  <a:pt x="120" y="150"/>
                </a:lnTo>
                <a:lnTo>
                  <a:pt x="120" y="150"/>
                </a:lnTo>
                <a:lnTo>
                  <a:pt x="120" y="156"/>
                </a:lnTo>
                <a:lnTo>
                  <a:pt x="120" y="156"/>
                </a:lnTo>
                <a:lnTo>
                  <a:pt x="120" y="156"/>
                </a:lnTo>
                <a:lnTo>
                  <a:pt x="120" y="156"/>
                </a:lnTo>
                <a:lnTo>
                  <a:pt x="120" y="156"/>
                </a:lnTo>
                <a:lnTo>
                  <a:pt x="114" y="156"/>
                </a:lnTo>
                <a:lnTo>
                  <a:pt x="114" y="156"/>
                </a:lnTo>
                <a:lnTo>
                  <a:pt x="114" y="156"/>
                </a:lnTo>
                <a:lnTo>
                  <a:pt x="120" y="156"/>
                </a:lnTo>
                <a:lnTo>
                  <a:pt x="120" y="156"/>
                </a:lnTo>
                <a:lnTo>
                  <a:pt x="114" y="156"/>
                </a:lnTo>
                <a:lnTo>
                  <a:pt x="120" y="156"/>
                </a:lnTo>
                <a:lnTo>
                  <a:pt x="120" y="156"/>
                </a:lnTo>
                <a:lnTo>
                  <a:pt x="114" y="156"/>
                </a:lnTo>
                <a:lnTo>
                  <a:pt x="114" y="156"/>
                </a:lnTo>
                <a:lnTo>
                  <a:pt x="114" y="156"/>
                </a:lnTo>
                <a:lnTo>
                  <a:pt x="114" y="162"/>
                </a:lnTo>
                <a:lnTo>
                  <a:pt x="114" y="162"/>
                </a:lnTo>
                <a:lnTo>
                  <a:pt x="108" y="162"/>
                </a:lnTo>
                <a:lnTo>
                  <a:pt x="108" y="162"/>
                </a:lnTo>
                <a:lnTo>
                  <a:pt x="108" y="162"/>
                </a:lnTo>
                <a:lnTo>
                  <a:pt x="108" y="162"/>
                </a:lnTo>
                <a:lnTo>
                  <a:pt x="108" y="162"/>
                </a:lnTo>
                <a:lnTo>
                  <a:pt x="108" y="162"/>
                </a:lnTo>
                <a:lnTo>
                  <a:pt x="108" y="162"/>
                </a:lnTo>
                <a:lnTo>
                  <a:pt x="108" y="168"/>
                </a:lnTo>
                <a:lnTo>
                  <a:pt x="108" y="168"/>
                </a:lnTo>
                <a:lnTo>
                  <a:pt x="108" y="168"/>
                </a:lnTo>
                <a:lnTo>
                  <a:pt x="108" y="168"/>
                </a:lnTo>
                <a:lnTo>
                  <a:pt x="108" y="174"/>
                </a:lnTo>
                <a:lnTo>
                  <a:pt x="108" y="174"/>
                </a:lnTo>
                <a:lnTo>
                  <a:pt x="102" y="174"/>
                </a:lnTo>
                <a:lnTo>
                  <a:pt x="102" y="174"/>
                </a:lnTo>
                <a:lnTo>
                  <a:pt x="102" y="174"/>
                </a:lnTo>
                <a:lnTo>
                  <a:pt x="102" y="174"/>
                </a:lnTo>
                <a:lnTo>
                  <a:pt x="102" y="174"/>
                </a:lnTo>
                <a:lnTo>
                  <a:pt x="102" y="174"/>
                </a:lnTo>
                <a:lnTo>
                  <a:pt x="102" y="174"/>
                </a:lnTo>
                <a:lnTo>
                  <a:pt x="96" y="174"/>
                </a:lnTo>
                <a:lnTo>
                  <a:pt x="96" y="174"/>
                </a:lnTo>
                <a:lnTo>
                  <a:pt x="102" y="174"/>
                </a:lnTo>
                <a:lnTo>
                  <a:pt x="102" y="174"/>
                </a:lnTo>
                <a:lnTo>
                  <a:pt x="102" y="174"/>
                </a:lnTo>
                <a:lnTo>
                  <a:pt x="102" y="180"/>
                </a:lnTo>
                <a:lnTo>
                  <a:pt x="102" y="180"/>
                </a:lnTo>
                <a:lnTo>
                  <a:pt x="96" y="180"/>
                </a:lnTo>
                <a:lnTo>
                  <a:pt x="96" y="180"/>
                </a:lnTo>
                <a:lnTo>
                  <a:pt x="96" y="180"/>
                </a:lnTo>
                <a:lnTo>
                  <a:pt x="96" y="180"/>
                </a:lnTo>
                <a:lnTo>
                  <a:pt x="90" y="180"/>
                </a:lnTo>
                <a:lnTo>
                  <a:pt x="90" y="180"/>
                </a:lnTo>
                <a:lnTo>
                  <a:pt x="90" y="180"/>
                </a:lnTo>
                <a:lnTo>
                  <a:pt x="90" y="180"/>
                </a:lnTo>
                <a:lnTo>
                  <a:pt x="90" y="180"/>
                </a:lnTo>
                <a:lnTo>
                  <a:pt x="90" y="180"/>
                </a:lnTo>
                <a:lnTo>
                  <a:pt x="90" y="174"/>
                </a:lnTo>
                <a:lnTo>
                  <a:pt x="90" y="174"/>
                </a:lnTo>
                <a:lnTo>
                  <a:pt x="84" y="174"/>
                </a:lnTo>
                <a:lnTo>
                  <a:pt x="84" y="174"/>
                </a:lnTo>
                <a:lnTo>
                  <a:pt x="84" y="174"/>
                </a:lnTo>
                <a:lnTo>
                  <a:pt x="84" y="174"/>
                </a:lnTo>
                <a:lnTo>
                  <a:pt x="78" y="174"/>
                </a:lnTo>
                <a:lnTo>
                  <a:pt x="78" y="174"/>
                </a:lnTo>
                <a:lnTo>
                  <a:pt x="78" y="174"/>
                </a:lnTo>
                <a:lnTo>
                  <a:pt x="78" y="174"/>
                </a:lnTo>
                <a:lnTo>
                  <a:pt x="78" y="174"/>
                </a:lnTo>
                <a:lnTo>
                  <a:pt x="72" y="174"/>
                </a:lnTo>
                <a:lnTo>
                  <a:pt x="72" y="174"/>
                </a:lnTo>
                <a:lnTo>
                  <a:pt x="72" y="174"/>
                </a:lnTo>
                <a:lnTo>
                  <a:pt x="72" y="174"/>
                </a:lnTo>
                <a:lnTo>
                  <a:pt x="72" y="180"/>
                </a:lnTo>
                <a:lnTo>
                  <a:pt x="72" y="180"/>
                </a:lnTo>
                <a:lnTo>
                  <a:pt x="72" y="174"/>
                </a:lnTo>
                <a:lnTo>
                  <a:pt x="72" y="174"/>
                </a:lnTo>
                <a:lnTo>
                  <a:pt x="66" y="174"/>
                </a:lnTo>
                <a:lnTo>
                  <a:pt x="66" y="180"/>
                </a:lnTo>
                <a:lnTo>
                  <a:pt x="66" y="174"/>
                </a:lnTo>
                <a:lnTo>
                  <a:pt x="66" y="174"/>
                </a:lnTo>
                <a:lnTo>
                  <a:pt x="66" y="174"/>
                </a:lnTo>
                <a:lnTo>
                  <a:pt x="66" y="174"/>
                </a:lnTo>
                <a:lnTo>
                  <a:pt x="66" y="168"/>
                </a:lnTo>
                <a:lnTo>
                  <a:pt x="66" y="168"/>
                </a:lnTo>
                <a:lnTo>
                  <a:pt x="66" y="168"/>
                </a:lnTo>
                <a:lnTo>
                  <a:pt x="66" y="168"/>
                </a:lnTo>
                <a:lnTo>
                  <a:pt x="66" y="168"/>
                </a:lnTo>
                <a:lnTo>
                  <a:pt x="66" y="162"/>
                </a:lnTo>
                <a:lnTo>
                  <a:pt x="66" y="162"/>
                </a:lnTo>
                <a:lnTo>
                  <a:pt x="66" y="162"/>
                </a:lnTo>
                <a:lnTo>
                  <a:pt x="60" y="162"/>
                </a:lnTo>
                <a:lnTo>
                  <a:pt x="60" y="168"/>
                </a:lnTo>
                <a:lnTo>
                  <a:pt x="60" y="168"/>
                </a:lnTo>
                <a:lnTo>
                  <a:pt x="60" y="168"/>
                </a:lnTo>
                <a:lnTo>
                  <a:pt x="60" y="168"/>
                </a:lnTo>
                <a:lnTo>
                  <a:pt x="60" y="168"/>
                </a:lnTo>
                <a:lnTo>
                  <a:pt x="60" y="174"/>
                </a:lnTo>
                <a:lnTo>
                  <a:pt x="60" y="174"/>
                </a:lnTo>
                <a:lnTo>
                  <a:pt x="60" y="174"/>
                </a:lnTo>
                <a:lnTo>
                  <a:pt x="60" y="174"/>
                </a:lnTo>
                <a:lnTo>
                  <a:pt x="54" y="180"/>
                </a:lnTo>
                <a:lnTo>
                  <a:pt x="54" y="180"/>
                </a:lnTo>
                <a:lnTo>
                  <a:pt x="54" y="180"/>
                </a:lnTo>
                <a:lnTo>
                  <a:pt x="54" y="180"/>
                </a:lnTo>
                <a:lnTo>
                  <a:pt x="48" y="180"/>
                </a:lnTo>
                <a:lnTo>
                  <a:pt x="48" y="180"/>
                </a:lnTo>
                <a:lnTo>
                  <a:pt x="48" y="180"/>
                </a:lnTo>
                <a:lnTo>
                  <a:pt x="48" y="180"/>
                </a:lnTo>
                <a:lnTo>
                  <a:pt x="48" y="180"/>
                </a:lnTo>
                <a:lnTo>
                  <a:pt x="48" y="180"/>
                </a:lnTo>
                <a:lnTo>
                  <a:pt x="48" y="186"/>
                </a:lnTo>
                <a:lnTo>
                  <a:pt x="48" y="186"/>
                </a:lnTo>
                <a:lnTo>
                  <a:pt x="42" y="186"/>
                </a:lnTo>
                <a:lnTo>
                  <a:pt x="42" y="186"/>
                </a:lnTo>
                <a:lnTo>
                  <a:pt x="42" y="186"/>
                </a:lnTo>
                <a:lnTo>
                  <a:pt x="42" y="186"/>
                </a:lnTo>
                <a:lnTo>
                  <a:pt x="42" y="186"/>
                </a:lnTo>
                <a:lnTo>
                  <a:pt x="36" y="186"/>
                </a:lnTo>
                <a:lnTo>
                  <a:pt x="36" y="186"/>
                </a:lnTo>
                <a:lnTo>
                  <a:pt x="36" y="186"/>
                </a:lnTo>
                <a:lnTo>
                  <a:pt x="36" y="186"/>
                </a:lnTo>
                <a:lnTo>
                  <a:pt x="36" y="186"/>
                </a:lnTo>
                <a:lnTo>
                  <a:pt x="36" y="180"/>
                </a:lnTo>
                <a:lnTo>
                  <a:pt x="36" y="180"/>
                </a:lnTo>
                <a:lnTo>
                  <a:pt x="36" y="180"/>
                </a:lnTo>
                <a:lnTo>
                  <a:pt x="36" y="180"/>
                </a:lnTo>
                <a:lnTo>
                  <a:pt x="36" y="180"/>
                </a:lnTo>
                <a:lnTo>
                  <a:pt x="36" y="174"/>
                </a:lnTo>
                <a:lnTo>
                  <a:pt x="36" y="174"/>
                </a:lnTo>
                <a:lnTo>
                  <a:pt x="36" y="174"/>
                </a:lnTo>
                <a:lnTo>
                  <a:pt x="36" y="174"/>
                </a:lnTo>
                <a:lnTo>
                  <a:pt x="36" y="174"/>
                </a:lnTo>
                <a:lnTo>
                  <a:pt x="36" y="174"/>
                </a:lnTo>
                <a:lnTo>
                  <a:pt x="30" y="174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30" y="162"/>
                </a:lnTo>
                <a:lnTo>
                  <a:pt x="36" y="162"/>
                </a:lnTo>
                <a:lnTo>
                  <a:pt x="36" y="156"/>
                </a:lnTo>
                <a:lnTo>
                  <a:pt x="36" y="156"/>
                </a:lnTo>
                <a:lnTo>
                  <a:pt x="42" y="156"/>
                </a:lnTo>
                <a:lnTo>
                  <a:pt x="36" y="156"/>
                </a:lnTo>
                <a:lnTo>
                  <a:pt x="42" y="156"/>
                </a:lnTo>
                <a:lnTo>
                  <a:pt x="42" y="156"/>
                </a:lnTo>
                <a:lnTo>
                  <a:pt x="42" y="156"/>
                </a:lnTo>
                <a:lnTo>
                  <a:pt x="42" y="150"/>
                </a:lnTo>
                <a:lnTo>
                  <a:pt x="42" y="150"/>
                </a:lnTo>
                <a:lnTo>
                  <a:pt x="42" y="150"/>
                </a:lnTo>
                <a:lnTo>
                  <a:pt x="36" y="150"/>
                </a:lnTo>
                <a:lnTo>
                  <a:pt x="36" y="150"/>
                </a:lnTo>
                <a:lnTo>
                  <a:pt x="36" y="150"/>
                </a:lnTo>
                <a:lnTo>
                  <a:pt x="36" y="150"/>
                </a:lnTo>
                <a:lnTo>
                  <a:pt x="36" y="150"/>
                </a:lnTo>
                <a:lnTo>
                  <a:pt x="36" y="150"/>
                </a:lnTo>
                <a:lnTo>
                  <a:pt x="36" y="150"/>
                </a:lnTo>
                <a:lnTo>
                  <a:pt x="36" y="144"/>
                </a:lnTo>
                <a:lnTo>
                  <a:pt x="36" y="144"/>
                </a:lnTo>
                <a:lnTo>
                  <a:pt x="36" y="144"/>
                </a:lnTo>
                <a:lnTo>
                  <a:pt x="36" y="144"/>
                </a:lnTo>
                <a:lnTo>
                  <a:pt x="36" y="144"/>
                </a:lnTo>
                <a:lnTo>
                  <a:pt x="36" y="144"/>
                </a:lnTo>
                <a:lnTo>
                  <a:pt x="36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18" y="144"/>
                </a:lnTo>
                <a:lnTo>
                  <a:pt x="18" y="144"/>
                </a:lnTo>
                <a:lnTo>
                  <a:pt x="18" y="144"/>
                </a:lnTo>
                <a:lnTo>
                  <a:pt x="18" y="138"/>
                </a:lnTo>
                <a:lnTo>
                  <a:pt x="18" y="138"/>
                </a:lnTo>
                <a:lnTo>
                  <a:pt x="18" y="144"/>
                </a:lnTo>
                <a:lnTo>
                  <a:pt x="18" y="144"/>
                </a:lnTo>
                <a:lnTo>
                  <a:pt x="18" y="144"/>
                </a:lnTo>
                <a:lnTo>
                  <a:pt x="18" y="144"/>
                </a:lnTo>
                <a:lnTo>
                  <a:pt x="18" y="144"/>
                </a:lnTo>
                <a:lnTo>
                  <a:pt x="18" y="144"/>
                </a:lnTo>
                <a:lnTo>
                  <a:pt x="18" y="144"/>
                </a:lnTo>
                <a:lnTo>
                  <a:pt x="18" y="144"/>
                </a:lnTo>
                <a:lnTo>
                  <a:pt x="12" y="144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2" y="120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12" y="84"/>
                </a:lnTo>
                <a:lnTo>
                  <a:pt x="12" y="84"/>
                </a:lnTo>
                <a:lnTo>
                  <a:pt x="6" y="84"/>
                </a:lnTo>
                <a:lnTo>
                  <a:pt x="6" y="84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35" name="Freeform 268"/>
          <p:cNvSpPr>
            <a:spLocks/>
          </p:cNvSpPr>
          <p:nvPr/>
        </p:nvSpPr>
        <p:spPr bwMode="auto">
          <a:xfrm>
            <a:off x="7089544" y="3916585"/>
            <a:ext cx="186297" cy="128482"/>
          </a:xfrm>
          <a:custGeom>
            <a:avLst/>
            <a:gdLst>
              <a:gd name="T0" fmla="*/ 0 w 174"/>
              <a:gd name="T1" fmla="*/ 24 h 120"/>
              <a:gd name="T2" fmla="*/ 0 w 174"/>
              <a:gd name="T3" fmla="*/ 24 h 120"/>
              <a:gd name="T4" fmla="*/ 0 w 174"/>
              <a:gd name="T5" fmla="*/ 18 h 120"/>
              <a:gd name="T6" fmla="*/ 6 w 174"/>
              <a:gd name="T7" fmla="*/ 12 h 120"/>
              <a:gd name="T8" fmla="*/ 12 w 174"/>
              <a:gd name="T9" fmla="*/ 6 h 120"/>
              <a:gd name="T10" fmla="*/ 24 w 174"/>
              <a:gd name="T11" fmla="*/ 12 h 120"/>
              <a:gd name="T12" fmla="*/ 24 w 174"/>
              <a:gd name="T13" fmla="*/ 6 h 120"/>
              <a:gd name="T14" fmla="*/ 36 w 174"/>
              <a:gd name="T15" fmla="*/ 0 h 120"/>
              <a:gd name="T16" fmla="*/ 42 w 174"/>
              <a:gd name="T17" fmla="*/ 0 h 120"/>
              <a:gd name="T18" fmla="*/ 54 w 174"/>
              <a:gd name="T19" fmla="*/ 0 h 120"/>
              <a:gd name="T20" fmla="*/ 66 w 174"/>
              <a:gd name="T21" fmla="*/ 6 h 120"/>
              <a:gd name="T22" fmla="*/ 66 w 174"/>
              <a:gd name="T23" fmla="*/ 12 h 120"/>
              <a:gd name="T24" fmla="*/ 78 w 174"/>
              <a:gd name="T25" fmla="*/ 12 h 120"/>
              <a:gd name="T26" fmla="*/ 90 w 174"/>
              <a:gd name="T27" fmla="*/ 18 h 120"/>
              <a:gd name="T28" fmla="*/ 102 w 174"/>
              <a:gd name="T29" fmla="*/ 24 h 120"/>
              <a:gd name="T30" fmla="*/ 108 w 174"/>
              <a:gd name="T31" fmla="*/ 30 h 120"/>
              <a:gd name="T32" fmla="*/ 114 w 174"/>
              <a:gd name="T33" fmla="*/ 30 h 120"/>
              <a:gd name="T34" fmla="*/ 114 w 174"/>
              <a:gd name="T35" fmla="*/ 42 h 120"/>
              <a:gd name="T36" fmla="*/ 120 w 174"/>
              <a:gd name="T37" fmla="*/ 48 h 120"/>
              <a:gd name="T38" fmla="*/ 132 w 174"/>
              <a:gd name="T39" fmla="*/ 42 h 120"/>
              <a:gd name="T40" fmla="*/ 138 w 174"/>
              <a:gd name="T41" fmla="*/ 42 h 120"/>
              <a:gd name="T42" fmla="*/ 144 w 174"/>
              <a:gd name="T43" fmla="*/ 48 h 120"/>
              <a:gd name="T44" fmla="*/ 156 w 174"/>
              <a:gd name="T45" fmla="*/ 48 h 120"/>
              <a:gd name="T46" fmla="*/ 162 w 174"/>
              <a:gd name="T47" fmla="*/ 48 h 120"/>
              <a:gd name="T48" fmla="*/ 168 w 174"/>
              <a:gd name="T49" fmla="*/ 48 h 120"/>
              <a:gd name="T50" fmla="*/ 168 w 174"/>
              <a:gd name="T51" fmla="*/ 54 h 120"/>
              <a:gd name="T52" fmla="*/ 168 w 174"/>
              <a:gd name="T53" fmla="*/ 66 h 120"/>
              <a:gd name="T54" fmla="*/ 156 w 174"/>
              <a:gd name="T55" fmla="*/ 66 h 120"/>
              <a:gd name="T56" fmla="*/ 144 w 174"/>
              <a:gd name="T57" fmla="*/ 78 h 120"/>
              <a:gd name="T58" fmla="*/ 138 w 174"/>
              <a:gd name="T59" fmla="*/ 84 h 120"/>
              <a:gd name="T60" fmla="*/ 138 w 174"/>
              <a:gd name="T61" fmla="*/ 90 h 120"/>
              <a:gd name="T62" fmla="*/ 132 w 174"/>
              <a:gd name="T63" fmla="*/ 96 h 120"/>
              <a:gd name="T64" fmla="*/ 126 w 174"/>
              <a:gd name="T65" fmla="*/ 102 h 120"/>
              <a:gd name="T66" fmla="*/ 120 w 174"/>
              <a:gd name="T67" fmla="*/ 102 h 120"/>
              <a:gd name="T68" fmla="*/ 114 w 174"/>
              <a:gd name="T69" fmla="*/ 102 h 120"/>
              <a:gd name="T70" fmla="*/ 108 w 174"/>
              <a:gd name="T71" fmla="*/ 108 h 120"/>
              <a:gd name="T72" fmla="*/ 114 w 174"/>
              <a:gd name="T73" fmla="*/ 114 h 120"/>
              <a:gd name="T74" fmla="*/ 102 w 174"/>
              <a:gd name="T75" fmla="*/ 114 h 120"/>
              <a:gd name="T76" fmla="*/ 96 w 174"/>
              <a:gd name="T77" fmla="*/ 114 h 120"/>
              <a:gd name="T78" fmla="*/ 84 w 174"/>
              <a:gd name="T79" fmla="*/ 108 h 120"/>
              <a:gd name="T80" fmla="*/ 84 w 174"/>
              <a:gd name="T81" fmla="*/ 102 h 120"/>
              <a:gd name="T82" fmla="*/ 90 w 174"/>
              <a:gd name="T83" fmla="*/ 102 h 120"/>
              <a:gd name="T84" fmla="*/ 84 w 174"/>
              <a:gd name="T85" fmla="*/ 96 h 120"/>
              <a:gd name="T86" fmla="*/ 84 w 174"/>
              <a:gd name="T87" fmla="*/ 96 h 120"/>
              <a:gd name="T88" fmla="*/ 78 w 174"/>
              <a:gd name="T89" fmla="*/ 96 h 120"/>
              <a:gd name="T90" fmla="*/ 72 w 174"/>
              <a:gd name="T91" fmla="*/ 96 h 120"/>
              <a:gd name="T92" fmla="*/ 66 w 174"/>
              <a:gd name="T93" fmla="*/ 102 h 120"/>
              <a:gd name="T94" fmla="*/ 66 w 174"/>
              <a:gd name="T95" fmla="*/ 102 h 120"/>
              <a:gd name="T96" fmla="*/ 60 w 174"/>
              <a:gd name="T97" fmla="*/ 96 h 120"/>
              <a:gd name="T98" fmla="*/ 54 w 174"/>
              <a:gd name="T99" fmla="*/ 90 h 120"/>
              <a:gd name="T100" fmla="*/ 54 w 174"/>
              <a:gd name="T101" fmla="*/ 90 h 120"/>
              <a:gd name="T102" fmla="*/ 48 w 174"/>
              <a:gd name="T103" fmla="*/ 84 h 120"/>
              <a:gd name="T104" fmla="*/ 36 w 174"/>
              <a:gd name="T105" fmla="*/ 72 h 120"/>
              <a:gd name="T106" fmla="*/ 30 w 174"/>
              <a:gd name="T107" fmla="*/ 72 h 120"/>
              <a:gd name="T108" fmla="*/ 24 w 174"/>
              <a:gd name="T109" fmla="*/ 66 h 120"/>
              <a:gd name="T110" fmla="*/ 24 w 174"/>
              <a:gd name="T111" fmla="*/ 60 h 120"/>
              <a:gd name="T112" fmla="*/ 24 w 174"/>
              <a:gd name="T113" fmla="*/ 54 h 120"/>
              <a:gd name="T114" fmla="*/ 18 w 174"/>
              <a:gd name="T115" fmla="*/ 54 h 120"/>
              <a:gd name="T116" fmla="*/ 18 w 174"/>
              <a:gd name="T117" fmla="*/ 42 h 120"/>
              <a:gd name="T118" fmla="*/ 6 w 174"/>
              <a:gd name="T119" fmla="*/ 36 h 120"/>
              <a:gd name="T120" fmla="*/ 0 w 174"/>
              <a:gd name="T121" fmla="*/ 30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74" h="120">
                <a:moveTo>
                  <a:pt x="0" y="30"/>
                </a:move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2"/>
                </a:lnTo>
                <a:lnTo>
                  <a:pt x="0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6"/>
                </a:lnTo>
                <a:lnTo>
                  <a:pt x="6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30" y="12"/>
                </a:lnTo>
                <a:lnTo>
                  <a:pt x="24" y="12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60" y="0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78" y="12"/>
                </a:lnTo>
                <a:lnTo>
                  <a:pt x="78" y="12"/>
                </a:lnTo>
                <a:lnTo>
                  <a:pt x="78" y="18"/>
                </a:lnTo>
                <a:lnTo>
                  <a:pt x="78" y="18"/>
                </a:lnTo>
                <a:lnTo>
                  <a:pt x="84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6" y="18"/>
                </a:lnTo>
                <a:lnTo>
                  <a:pt x="96" y="24"/>
                </a:lnTo>
                <a:lnTo>
                  <a:pt x="96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6" y="48"/>
                </a:lnTo>
                <a:lnTo>
                  <a:pt x="126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2"/>
                </a:lnTo>
                <a:lnTo>
                  <a:pt x="132" y="48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44" y="42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8" y="48"/>
                </a:lnTo>
                <a:lnTo>
                  <a:pt x="168" y="48"/>
                </a:lnTo>
                <a:lnTo>
                  <a:pt x="168" y="48"/>
                </a:lnTo>
                <a:lnTo>
                  <a:pt x="174" y="48"/>
                </a:lnTo>
                <a:lnTo>
                  <a:pt x="174" y="54"/>
                </a:lnTo>
                <a:lnTo>
                  <a:pt x="174" y="54"/>
                </a:lnTo>
                <a:lnTo>
                  <a:pt x="174" y="54"/>
                </a:lnTo>
                <a:lnTo>
                  <a:pt x="168" y="54"/>
                </a:lnTo>
                <a:lnTo>
                  <a:pt x="168" y="54"/>
                </a:lnTo>
                <a:lnTo>
                  <a:pt x="168" y="60"/>
                </a:lnTo>
                <a:lnTo>
                  <a:pt x="168" y="60"/>
                </a:lnTo>
                <a:lnTo>
                  <a:pt x="168" y="60"/>
                </a:lnTo>
                <a:lnTo>
                  <a:pt x="168" y="60"/>
                </a:lnTo>
                <a:lnTo>
                  <a:pt x="168" y="66"/>
                </a:lnTo>
                <a:lnTo>
                  <a:pt x="168" y="66"/>
                </a:lnTo>
                <a:lnTo>
                  <a:pt x="162" y="66"/>
                </a:lnTo>
                <a:lnTo>
                  <a:pt x="162" y="66"/>
                </a:lnTo>
                <a:lnTo>
                  <a:pt x="156" y="66"/>
                </a:lnTo>
                <a:lnTo>
                  <a:pt x="156" y="66"/>
                </a:lnTo>
                <a:lnTo>
                  <a:pt x="156" y="66"/>
                </a:lnTo>
                <a:lnTo>
                  <a:pt x="156" y="66"/>
                </a:lnTo>
                <a:lnTo>
                  <a:pt x="150" y="72"/>
                </a:lnTo>
                <a:lnTo>
                  <a:pt x="150" y="72"/>
                </a:lnTo>
                <a:lnTo>
                  <a:pt x="150" y="72"/>
                </a:lnTo>
                <a:lnTo>
                  <a:pt x="150" y="78"/>
                </a:lnTo>
                <a:lnTo>
                  <a:pt x="144" y="78"/>
                </a:lnTo>
                <a:lnTo>
                  <a:pt x="144" y="78"/>
                </a:lnTo>
                <a:lnTo>
                  <a:pt x="144" y="78"/>
                </a:lnTo>
                <a:lnTo>
                  <a:pt x="144" y="78"/>
                </a:lnTo>
                <a:lnTo>
                  <a:pt x="138" y="84"/>
                </a:lnTo>
                <a:lnTo>
                  <a:pt x="138" y="84"/>
                </a:lnTo>
                <a:lnTo>
                  <a:pt x="138" y="84"/>
                </a:lnTo>
                <a:lnTo>
                  <a:pt x="138" y="84"/>
                </a:lnTo>
                <a:lnTo>
                  <a:pt x="132" y="84"/>
                </a:lnTo>
                <a:lnTo>
                  <a:pt x="132" y="90"/>
                </a:lnTo>
                <a:lnTo>
                  <a:pt x="132" y="90"/>
                </a:lnTo>
                <a:lnTo>
                  <a:pt x="138" y="90"/>
                </a:lnTo>
                <a:lnTo>
                  <a:pt x="138" y="90"/>
                </a:lnTo>
                <a:lnTo>
                  <a:pt x="138" y="90"/>
                </a:lnTo>
                <a:lnTo>
                  <a:pt x="138" y="90"/>
                </a:lnTo>
                <a:lnTo>
                  <a:pt x="132" y="90"/>
                </a:lnTo>
                <a:lnTo>
                  <a:pt x="132" y="90"/>
                </a:lnTo>
                <a:lnTo>
                  <a:pt x="132" y="96"/>
                </a:lnTo>
                <a:lnTo>
                  <a:pt x="132" y="96"/>
                </a:lnTo>
                <a:lnTo>
                  <a:pt x="132" y="96"/>
                </a:lnTo>
                <a:lnTo>
                  <a:pt x="132" y="96"/>
                </a:lnTo>
                <a:lnTo>
                  <a:pt x="132" y="96"/>
                </a:lnTo>
                <a:lnTo>
                  <a:pt x="132" y="102"/>
                </a:lnTo>
                <a:lnTo>
                  <a:pt x="132" y="102"/>
                </a:lnTo>
                <a:lnTo>
                  <a:pt x="126" y="102"/>
                </a:lnTo>
                <a:lnTo>
                  <a:pt x="126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102"/>
                </a:lnTo>
                <a:lnTo>
                  <a:pt x="126" y="102"/>
                </a:lnTo>
                <a:lnTo>
                  <a:pt x="120" y="102"/>
                </a:lnTo>
                <a:lnTo>
                  <a:pt x="120" y="108"/>
                </a:lnTo>
                <a:lnTo>
                  <a:pt x="120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14" y="108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96" y="114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2"/>
                </a:lnTo>
                <a:lnTo>
                  <a:pt x="84" y="102"/>
                </a:lnTo>
                <a:lnTo>
                  <a:pt x="84" y="102"/>
                </a:lnTo>
                <a:lnTo>
                  <a:pt x="90" y="102"/>
                </a:lnTo>
                <a:lnTo>
                  <a:pt x="90" y="102"/>
                </a:lnTo>
                <a:lnTo>
                  <a:pt x="90" y="102"/>
                </a:lnTo>
                <a:lnTo>
                  <a:pt x="90" y="102"/>
                </a:lnTo>
                <a:lnTo>
                  <a:pt x="90" y="102"/>
                </a:lnTo>
                <a:lnTo>
                  <a:pt x="90" y="102"/>
                </a:lnTo>
                <a:lnTo>
                  <a:pt x="84" y="102"/>
                </a:lnTo>
                <a:lnTo>
                  <a:pt x="90" y="102"/>
                </a:lnTo>
                <a:lnTo>
                  <a:pt x="84" y="102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0" y="102"/>
                </a:lnTo>
                <a:lnTo>
                  <a:pt x="60" y="96"/>
                </a:lnTo>
                <a:lnTo>
                  <a:pt x="66" y="96"/>
                </a:lnTo>
                <a:lnTo>
                  <a:pt x="66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54" y="96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18" y="54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36" name="Freeform 269"/>
          <p:cNvSpPr>
            <a:spLocks/>
          </p:cNvSpPr>
          <p:nvPr/>
        </p:nvSpPr>
        <p:spPr bwMode="auto">
          <a:xfrm>
            <a:off x="7603468" y="3955129"/>
            <a:ext cx="173449" cy="96361"/>
          </a:xfrm>
          <a:custGeom>
            <a:avLst/>
            <a:gdLst>
              <a:gd name="T0" fmla="*/ 0 w 162"/>
              <a:gd name="T1" fmla="*/ 48 h 90"/>
              <a:gd name="T2" fmla="*/ 6 w 162"/>
              <a:gd name="T3" fmla="*/ 42 h 90"/>
              <a:gd name="T4" fmla="*/ 12 w 162"/>
              <a:gd name="T5" fmla="*/ 42 h 90"/>
              <a:gd name="T6" fmla="*/ 12 w 162"/>
              <a:gd name="T7" fmla="*/ 36 h 90"/>
              <a:gd name="T8" fmla="*/ 24 w 162"/>
              <a:gd name="T9" fmla="*/ 36 h 90"/>
              <a:gd name="T10" fmla="*/ 24 w 162"/>
              <a:gd name="T11" fmla="*/ 24 h 90"/>
              <a:gd name="T12" fmla="*/ 24 w 162"/>
              <a:gd name="T13" fmla="*/ 18 h 90"/>
              <a:gd name="T14" fmla="*/ 30 w 162"/>
              <a:gd name="T15" fmla="*/ 12 h 90"/>
              <a:gd name="T16" fmla="*/ 42 w 162"/>
              <a:gd name="T17" fmla="*/ 6 h 90"/>
              <a:gd name="T18" fmla="*/ 48 w 162"/>
              <a:gd name="T19" fmla="*/ 12 h 90"/>
              <a:gd name="T20" fmla="*/ 60 w 162"/>
              <a:gd name="T21" fmla="*/ 6 h 90"/>
              <a:gd name="T22" fmla="*/ 60 w 162"/>
              <a:gd name="T23" fmla="*/ 12 h 90"/>
              <a:gd name="T24" fmla="*/ 72 w 162"/>
              <a:gd name="T25" fmla="*/ 18 h 90"/>
              <a:gd name="T26" fmla="*/ 78 w 162"/>
              <a:gd name="T27" fmla="*/ 24 h 90"/>
              <a:gd name="T28" fmla="*/ 84 w 162"/>
              <a:gd name="T29" fmla="*/ 30 h 90"/>
              <a:gd name="T30" fmla="*/ 84 w 162"/>
              <a:gd name="T31" fmla="*/ 24 h 90"/>
              <a:gd name="T32" fmla="*/ 90 w 162"/>
              <a:gd name="T33" fmla="*/ 18 h 90"/>
              <a:gd name="T34" fmla="*/ 96 w 162"/>
              <a:gd name="T35" fmla="*/ 12 h 90"/>
              <a:gd name="T36" fmla="*/ 96 w 162"/>
              <a:gd name="T37" fmla="*/ 6 h 90"/>
              <a:gd name="T38" fmla="*/ 102 w 162"/>
              <a:gd name="T39" fmla="*/ 0 h 90"/>
              <a:gd name="T40" fmla="*/ 108 w 162"/>
              <a:gd name="T41" fmla="*/ 0 h 90"/>
              <a:gd name="T42" fmla="*/ 108 w 162"/>
              <a:gd name="T43" fmla="*/ 6 h 90"/>
              <a:gd name="T44" fmla="*/ 120 w 162"/>
              <a:gd name="T45" fmla="*/ 12 h 90"/>
              <a:gd name="T46" fmla="*/ 126 w 162"/>
              <a:gd name="T47" fmla="*/ 12 h 90"/>
              <a:gd name="T48" fmla="*/ 132 w 162"/>
              <a:gd name="T49" fmla="*/ 18 h 90"/>
              <a:gd name="T50" fmla="*/ 138 w 162"/>
              <a:gd name="T51" fmla="*/ 18 h 90"/>
              <a:gd name="T52" fmla="*/ 144 w 162"/>
              <a:gd name="T53" fmla="*/ 12 h 90"/>
              <a:gd name="T54" fmla="*/ 156 w 162"/>
              <a:gd name="T55" fmla="*/ 18 h 90"/>
              <a:gd name="T56" fmla="*/ 156 w 162"/>
              <a:gd name="T57" fmla="*/ 18 h 90"/>
              <a:gd name="T58" fmla="*/ 156 w 162"/>
              <a:gd name="T59" fmla="*/ 30 h 90"/>
              <a:gd name="T60" fmla="*/ 144 w 162"/>
              <a:gd name="T61" fmla="*/ 36 h 90"/>
              <a:gd name="T62" fmla="*/ 144 w 162"/>
              <a:gd name="T63" fmla="*/ 48 h 90"/>
              <a:gd name="T64" fmla="*/ 138 w 162"/>
              <a:gd name="T65" fmla="*/ 54 h 90"/>
              <a:gd name="T66" fmla="*/ 132 w 162"/>
              <a:gd name="T67" fmla="*/ 66 h 90"/>
              <a:gd name="T68" fmla="*/ 126 w 162"/>
              <a:gd name="T69" fmla="*/ 66 h 90"/>
              <a:gd name="T70" fmla="*/ 120 w 162"/>
              <a:gd name="T71" fmla="*/ 60 h 90"/>
              <a:gd name="T72" fmla="*/ 114 w 162"/>
              <a:gd name="T73" fmla="*/ 54 h 90"/>
              <a:gd name="T74" fmla="*/ 108 w 162"/>
              <a:gd name="T75" fmla="*/ 54 h 90"/>
              <a:gd name="T76" fmla="*/ 102 w 162"/>
              <a:gd name="T77" fmla="*/ 54 h 90"/>
              <a:gd name="T78" fmla="*/ 96 w 162"/>
              <a:gd name="T79" fmla="*/ 54 h 90"/>
              <a:gd name="T80" fmla="*/ 90 w 162"/>
              <a:gd name="T81" fmla="*/ 54 h 90"/>
              <a:gd name="T82" fmla="*/ 84 w 162"/>
              <a:gd name="T83" fmla="*/ 66 h 90"/>
              <a:gd name="T84" fmla="*/ 84 w 162"/>
              <a:gd name="T85" fmla="*/ 66 h 90"/>
              <a:gd name="T86" fmla="*/ 78 w 162"/>
              <a:gd name="T87" fmla="*/ 60 h 90"/>
              <a:gd name="T88" fmla="*/ 72 w 162"/>
              <a:gd name="T89" fmla="*/ 54 h 90"/>
              <a:gd name="T90" fmla="*/ 72 w 162"/>
              <a:gd name="T91" fmla="*/ 48 h 90"/>
              <a:gd name="T92" fmla="*/ 60 w 162"/>
              <a:gd name="T93" fmla="*/ 54 h 90"/>
              <a:gd name="T94" fmla="*/ 54 w 162"/>
              <a:gd name="T95" fmla="*/ 60 h 90"/>
              <a:gd name="T96" fmla="*/ 48 w 162"/>
              <a:gd name="T97" fmla="*/ 72 h 90"/>
              <a:gd name="T98" fmla="*/ 48 w 162"/>
              <a:gd name="T99" fmla="*/ 84 h 90"/>
              <a:gd name="T100" fmla="*/ 36 w 162"/>
              <a:gd name="T101" fmla="*/ 84 h 90"/>
              <a:gd name="T102" fmla="*/ 30 w 162"/>
              <a:gd name="T103" fmla="*/ 90 h 90"/>
              <a:gd name="T104" fmla="*/ 18 w 162"/>
              <a:gd name="T105" fmla="*/ 90 h 90"/>
              <a:gd name="T106" fmla="*/ 12 w 162"/>
              <a:gd name="T107" fmla="*/ 84 h 90"/>
              <a:gd name="T108" fmla="*/ 12 w 162"/>
              <a:gd name="T109" fmla="*/ 78 h 90"/>
              <a:gd name="T110" fmla="*/ 6 w 162"/>
              <a:gd name="T111" fmla="*/ 66 h 90"/>
              <a:gd name="T112" fmla="*/ 6 w 162"/>
              <a:gd name="T113" fmla="*/ 60 h 90"/>
              <a:gd name="T114" fmla="*/ 6 w 162"/>
              <a:gd name="T115" fmla="*/ 54 h 90"/>
              <a:gd name="T116" fmla="*/ 0 w 162"/>
              <a:gd name="T117" fmla="*/ 54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62" h="90">
                <a:moveTo>
                  <a:pt x="0" y="54"/>
                </a:moveTo>
                <a:lnTo>
                  <a:pt x="0" y="54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6" y="42"/>
                </a:lnTo>
                <a:lnTo>
                  <a:pt x="12" y="36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18" y="30"/>
                </a:lnTo>
                <a:lnTo>
                  <a:pt x="24" y="30"/>
                </a:lnTo>
                <a:lnTo>
                  <a:pt x="24" y="30"/>
                </a:lnTo>
                <a:lnTo>
                  <a:pt x="18" y="30"/>
                </a:lnTo>
                <a:lnTo>
                  <a:pt x="24" y="30"/>
                </a:lnTo>
                <a:lnTo>
                  <a:pt x="24" y="30"/>
                </a:lnTo>
                <a:lnTo>
                  <a:pt x="24" y="24"/>
                </a:lnTo>
                <a:lnTo>
                  <a:pt x="24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24" y="18"/>
                </a:lnTo>
                <a:lnTo>
                  <a:pt x="24" y="18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8"/>
                </a:lnTo>
                <a:lnTo>
                  <a:pt x="60" y="18"/>
                </a:lnTo>
                <a:lnTo>
                  <a:pt x="66" y="18"/>
                </a:lnTo>
                <a:lnTo>
                  <a:pt x="60" y="18"/>
                </a:lnTo>
                <a:lnTo>
                  <a:pt x="66" y="18"/>
                </a:lnTo>
                <a:lnTo>
                  <a:pt x="66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8" y="18"/>
                </a:lnTo>
                <a:lnTo>
                  <a:pt x="78" y="18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30"/>
                </a:lnTo>
                <a:lnTo>
                  <a:pt x="84" y="24"/>
                </a:lnTo>
                <a:lnTo>
                  <a:pt x="78" y="24"/>
                </a:lnTo>
                <a:lnTo>
                  <a:pt x="84" y="24"/>
                </a:lnTo>
                <a:lnTo>
                  <a:pt x="84" y="24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90" y="30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90" y="24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14" y="0"/>
                </a:lnTo>
                <a:lnTo>
                  <a:pt x="108" y="0"/>
                </a:lnTo>
                <a:lnTo>
                  <a:pt x="114" y="0"/>
                </a:lnTo>
                <a:lnTo>
                  <a:pt x="114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6" y="12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62" y="18"/>
                </a:lnTo>
                <a:lnTo>
                  <a:pt x="162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30"/>
                </a:lnTo>
                <a:lnTo>
                  <a:pt x="156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44" y="30"/>
                </a:lnTo>
                <a:lnTo>
                  <a:pt x="150" y="36"/>
                </a:lnTo>
                <a:lnTo>
                  <a:pt x="144" y="36"/>
                </a:lnTo>
                <a:lnTo>
                  <a:pt x="144" y="36"/>
                </a:lnTo>
                <a:lnTo>
                  <a:pt x="150" y="36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54"/>
                </a:lnTo>
                <a:lnTo>
                  <a:pt x="144" y="54"/>
                </a:lnTo>
                <a:lnTo>
                  <a:pt x="144" y="54"/>
                </a:lnTo>
                <a:lnTo>
                  <a:pt x="144" y="54"/>
                </a:lnTo>
                <a:lnTo>
                  <a:pt x="138" y="54"/>
                </a:lnTo>
                <a:lnTo>
                  <a:pt x="138" y="54"/>
                </a:lnTo>
                <a:lnTo>
                  <a:pt x="138" y="54"/>
                </a:lnTo>
                <a:lnTo>
                  <a:pt x="138" y="54"/>
                </a:lnTo>
                <a:lnTo>
                  <a:pt x="138" y="60"/>
                </a:lnTo>
                <a:lnTo>
                  <a:pt x="138" y="60"/>
                </a:lnTo>
                <a:lnTo>
                  <a:pt x="138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66"/>
                </a:lnTo>
                <a:lnTo>
                  <a:pt x="132" y="66"/>
                </a:lnTo>
                <a:lnTo>
                  <a:pt x="132" y="66"/>
                </a:lnTo>
                <a:lnTo>
                  <a:pt x="132" y="66"/>
                </a:lnTo>
                <a:lnTo>
                  <a:pt x="132" y="66"/>
                </a:lnTo>
                <a:lnTo>
                  <a:pt x="132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54"/>
                </a:lnTo>
                <a:lnTo>
                  <a:pt x="126" y="54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54"/>
                </a:lnTo>
                <a:lnTo>
                  <a:pt x="120" y="60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2" y="54"/>
                </a:lnTo>
                <a:lnTo>
                  <a:pt x="108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48"/>
                </a:lnTo>
                <a:lnTo>
                  <a:pt x="96" y="48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90" y="60"/>
                </a:lnTo>
                <a:lnTo>
                  <a:pt x="90" y="66"/>
                </a:lnTo>
                <a:lnTo>
                  <a:pt x="90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66" y="54"/>
                </a:lnTo>
                <a:lnTo>
                  <a:pt x="66" y="54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0" y="48"/>
                </a:lnTo>
                <a:lnTo>
                  <a:pt x="60" y="48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60"/>
                </a:lnTo>
                <a:lnTo>
                  <a:pt x="60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84"/>
                </a:lnTo>
                <a:lnTo>
                  <a:pt x="48" y="84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36" y="78"/>
                </a:lnTo>
                <a:lnTo>
                  <a:pt x="36" y="78"/>
                </a:lnTo>
                <a:lnTo>
                  <a:pt x="36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84"/>
                </a:lnTo>
                <a:lnTo>
                  <a:pt x="18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6" y="78"/>
                </a:lnTo>
                <a:lnTo>
                  <a:pt x="12" y="78"/>
                </a:lnTo>
                <a:lnTo>
                  <a:pt x="12" y="78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6" y="72"/>
                </a:lnTo>
                <a:lnTo>
                  <a:pt x="12" y="72"/>
                </a:lnTo>
                <a:lnTo>
                  <a:pt x="6" y="72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0"/>
                </a:lnTo>
                <a:lnTo>
                  <a:pt x="6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37" name="Freeform 270"/>
          <p:cNvSpPr>
            <a:spLocks/>
          </p:cNvSpPr>
          <p:nvPr/>
        </p:nvSpPr>
        <p:spPr bwMode="auto">
          <a:xfrm>
            <a:off x="7577772" y="3762407"/>
            <a:ext cx="186297" cy="160602"/>
          </a:xfrm>
          <a:custGeom>
            <a:avLst/>
            <a:gdLst>
              <a:gd name="T0" fmla="*/ 6 w 174"/>
              <a:gd name="T1" fmla="*/ 60 h 150"/>
              <a:gd name="T2" fmla="*/ 18 w 174"/>
              <a:gd name="T3" fmla="*/ 66 h 150"/>
              <a:gd name="T4" fmla="*/ 24 w 174"/>
              <a:gd name="T5" fmla="*/ 60 h 150"/>
              <a:gd name="T6" fmla="*/ 30 w 174"/>
              <a:gd name="T7" fmla="*/ 54 h 150"/>
              <a:gd name="T8" fmla="*/ 36 w 174"/>
              <a:gd name="T9" fmla="*/ 48 h 150"/>
              <a:gd name="T10" fmla="*/ 42 w 174"/>
              <a:gd name="T11" fmla="*/ 48 h 150"/>
              <a:gd name="T12" fmla="*/ 54 w 174"/>
              <a:gd name="T13" fmla="*/ 48 h 150"/>
              <a:gd name="T14" fmla="*/ 54 w 174"/>
              <a:gd name="T15" fmla="*/ 54 h 150"/>
              <a:gd name="T16" fmla="*/ 60 w 174"/>
              <a:gd name="T17" fmla="*/ 54 h 150"/>
              <a:gd name="T18" fmla="*/ 66 w 174"/>
              <a:gd name="T19" fmla="*/ 54 h 150"/>
              <a:gd name="T20" fmla="*/ 72 w 174"/>
              <a:gd name="T21" fmla="*/ 48 h 150"/>
              <a:gd name="T22" fmla="*/ 84 w 174"/>
              <a:gd name="T23" fmla="*/ 42 h 150"/>
              <a:gd name="T24" fmla="*/ 84 w 174"/>
              <a:gd name="T25" fmla="*/ 36 h 150"/>
              <a:gd name="T26" fmla="*/ 84 w 174"/>
              <a:gd name="T27" fmla="*/ 24 h 150"/>
              <a:gd name="T28" fmla="*/ 90 w 174"/>
              <a:gd name="T29" fmla="*/ 18 h 150"/>
              <a:gd name="T30" fmla="*/ 84 w 174"/>
              <a:gd name="T31" fmla="*/ 6 h 150"/>
              <a:gd name="T32" fmla="*/ 90 w 174"/>
              <a:gd name="T33" fmla="*/ 6 h 150"/>
              <a:gd name="T34" fmla="*/ 96 w 174"/>
              <a:gd name="T35" fmla="*/ 0 h 150"/>
              <a:gd name="T36" fmla="*/ 108 w 174"/>
              <a:gd name="T37" fmla="*/ 6 h 150"/>
              <a:gd name="T38" fmla="*/ 120 w 174"/>
              <a:gd name="T39" fmla="*/ 6 h 150"/>
              <a:gd name="T40" fmla="*/ 138 w 174"/>
              <a:gd name="T41" fmla="*/ 12 h 150"/>
              <a:gd name="T42" fmla="*/ 132 w 174"/>
              <a:gd name="T43" fmla="*/ 18 h 150"/>
              <a:gd name="T44" fmla="*/ 138 w 174"/>
              <a:gd name="T45" fmla="*/ 24 h 150"/>
              <a:gd name="T46" fmla="*/ 132 w 174"/>
              <a:gd name="T47" fmla="*/ 42 h 150"/>
              <a:gd name="T48" fmla="*/ 114 w 174"/>
              <a:gd name="T49" fmla="*/ 48 h 150"/>
              <a:gd name="T50" fmla="*/ 102 w 174"/>
              <a:gd name="T51" fmla="*/ 54 h 150"/>
              <a:gd name="T52" fmla="*/ 96 w 174"/>
              <a:gd name="T53" fmla="*/ 48 h 150"/>
              <a:gd name="T54" fmla="*/ 96 w 174"/>
              <a:gd name="T55" fmla="*/ 60 h 150"/>
              <a:gd name="T56" fmla="*/ 102 w 174"/>
              <a:gd name="T57" fmla="*/ 72 h 150"/>
              <a:gd name="T58" fmla="*/ 108 w 174"/>
              <a:gd name="T59" fmla="*/ 78 h 150"/>
              <a:gd name="T60" fmla="*/ 114 w 174"/>
              <a:gd name="T61" fmla="*/ 78 h 150"/>
              <a:gd name="T62" fmla="*/ 120 w 174"/>
              <a:gd name="T63" fmla="*/ 84 h 150"/>
              <a:gd name="T64" fmla="*/ 126 w 174"/>
              <a:gd name="T65" fmla="*/ 90 h 150"/>
              <a:gd name="T66" fmla="*/ 138 w 174"/>
              <a:gd name="T67" fmla="*/ 90 h 150"/>
              <a:gd name="T68" fmla="*/ 144 w 174"/>
              <a:gd name="T69" fmla="*/ 90 h 150"/>
              <a:gd name="T70" fmla="*/ 162 w 174"/>
              <a:gd name="T71" fmla="*/ 96 h 150"/>
              <a:gd name="T72" fmla="*/ 168 w 174"/>
              <a:gd name="T73" fmla="*/ 96 h 150"/>
              <a:gd name="T74" fmla="*/ 156 w 174"/>
              <a:gd name="T75" fmla="*/ 108 h 150"/>
              <a:gd name="T76" fmla="*/ 144 w 174"/>
              <a:gd name="T77" fmla="*/ 120 h 150"/>
              <a:gd name="T78" fmla="*/ 132 w 174"/>
              <a:gd name="T79" fmla="*/ 120 h 150"/>
              <a:gd name="T80" fmla="*/ 120 w 174"/>
              <a:gd name="T81" fmla="*/ 126 h 150"/>
              <a:gd name="T82" fmla="*/ 108 w 174"/>
              <a:gd name="T83" fmla="*/ 126 h 150"/>
              <a:gd name="T84" fmla="*/ 102 w 174"/>
              <a:gd name="T85" fmla="*/ 138 h 150"/>
              <a:gd name="T86" fmla="*/ 102 w 174"/>
              <a:gd name="T87" fmla="*/ 138 h 150"/>
              <a:gd name="T88" fmla="*/ 90 w 174"/>
              <a:gd name="T89" fmla="*/ 144 h 150"/>
              <a:gd name="T90" fmla="*/ 84 w 174"/>
              <a:gd name="T91" fmla="*/ 144 h 150"/>
              <a:gd name="T92" fmla="*/ 72 w 174"/>
              <a:gd name="T93" fmla="*/ 144 h 150"/>
              <a:gd name="T94" fmla="*/ 66 w 174"/>
              <a:gd name="T95" fmla="*/ 150 h 150"/>
              <a:gd name="T96" fmla="*/ 54 w 174"/>
              <a:gd name="T97" fmla="*/ 144 h 150"/>
              <a:gd name="T98" fmla="*/ 48 w 174"/>
              <a:gd name="T99" fmla="*/ 138 h 150"/>
              <a:gd name="T100" fmla="*/ 36 w 174"/>
              <a:gd name="T101" fmla="*/ 138 h 150"/>
              <a:gd name="T102" fmla="*/ 30 w 174"/>
              <a:gd name="T103" fmla="*/ 144 h 150"/>
              <a:gd name="T104" fmla="*/ 18 w 174"/>
              <a:gd name="T105" fmla="*/ 138 h 150"/>
              <a:gd name="T106" fmla="*/ 12 w 174"/>
              <a:gd name="T107" fmla="*/ 132 h 150"/>
              <a:gd name="T108" fmla="*/ 24 w 174"/>
              <a:gd name="T109" fmla="*/ 114 h 150"/>
              <a:gd name="T110" fmla="*/ 36 w 174"/>
              <a:gd name="T111" fmla="*/ 108 h 150"/>
              <a:gd name="T112" fmla="*/ 36 w 174"/>
              <a:gd name="T113" fmla="*/ 96 h 150"/>
              <a:gd name="T114" fmla="*/ 30 w 174"/>
              <a:gd name="T115" fmla="*/ 84 h 150"/>
              <a:gd name="T116" fmla="*/ 24 w 174"/>
              <a:gd name="T117" fmla="*/ 84 h 150"/>
              <a:gd name="T118" fmla="*/ 12 w 174"/>
              <a:gd name="T119" fmla="*/ 84 h 150"/>
              <a:gd name="T120" fmla="*/ 6 w 174"/>
              <a:gd name="T121" fmla="*/ 84 h 150"/>
              <a:gd name="T122" fmla="*/ 6 w 174"/>
              <a:gd name="T123" fmla="*/ 78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4" h="150">
                <a:moveTo>
                  <a:pt x="0" y="72"/>
                </a:moveTo>
                <a:lnTo>
                  <a:pt x="0" y="72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6" y="66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12" y="60"/>
                </a:lnTo>
                <a:lnTo>
                  <a:pt x="12" y="60"/>
                </a:lnTo>
                <a:lnTo>
                  <a:pt x="12" y="66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8" y="60"/>
                </a:lnTo>
                <a:lnTo>
                  <a:pt x="18" y="66"/>
                </a:lnTo>
                <a:lnTo>
                  <a:pt x="18" y="66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6" y="60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2"/>
                </a:lnTo>
                <a:lnTo>
                  <a:pt x="42" y="42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60" y="48"/>
                </a:lnTo>
                <a:lnTo>
                  <a:pt x="60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8" y="48"/>
                </a:lnTo>
                <a:lnTo>
                  <a:pt x="72" y="48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84" y="42"/>
                </a:lnTo>
                <a:lnTo>
                  <a:pt x="84" y="42"/>
                </a:lnTo>
                <a:lnTo>
                  <a:pt x="90" y="42"/>
                </a:lnTo>
                <a:lnTo>
                  <a:pt x="90" y="42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0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0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18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18"/>
                </a:lnTo>
                <a:lnTo>
                  <a:pt x="84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78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102" y="0"/>
                </a:lnTo>
                <a:lnTo>
                  <a:pt x="102" y="6"/>
                </a:lnTo>
                <a:lnTo>
                  <a:pt x="102" y="0"/>
                </a:lnTo>
                <a:lnTo>
                  <a:pt x="102" y="0"/>
                </a:lnTo>
                <a:lnTo>
                  <a:pt x="102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12"/>
                </a:lnTo>
                <a:lnTo>
                  <a:pt x="114" y="6"/>
                </a:lnTo>
                <a:lnTo>
                  <a:pt x="108" y="6"/>
                </a:lnTo>
                <a:lnTo>
                  <a:pt x="108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6" y="6"/>
                </a:lnTo>
                <a:lnTo>
                  <a:pt x="126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6"/>
                </a:lnTo>
                <a:lnTo>
                  <a:pt x="138" y="12"/>
                </a:lnTo>
                <a:lnTo>
                  <a:pt x="138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6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26" y="42"/>
                </a:lnTo>
                <a:lnTo>
                  <a:pt x="126" y="42"/>
                </a:lnTo>
                <a:lnTo>
                  <a:pt x="120" y="42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54"/>
                </a:lnTo>
                <a:lnTo>
                  <a:pt x="102" y="54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6"/>
                </a:lnTo>
                <a:lnTo>
                  <a:pt x="96" y="66"/>
                </a:lnTo>
                <a:lnTo>
                  <a:pt x="102" y="60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8" y="72"/>
                </a:lnTo>
                <a:lnTo>
                  <a:pt x="108" y="72"/>
                </a:lnTo>
                <a:lnTo>
                  <a:pt x="102" y="72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14" y="84"/>
                </a:lnTo>
                <a:lnTo>
                  <a:pt x="114" y="78"/>
                </a:lnTo>
                <a:lnTo>
                  <a:pt x="114" y="78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90"/>
                </a:lnTo>
                <a:lnTo>
                  <a:pt x="114" y="84"/>
                </a:lnTo>
                <a:lnTo>
                  <a:pt x="120" y="84"/>
                </a:lnTo>
                <a:lnTo>
                  <a:pt x="120" y="90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32" y="84"/>
                </a:lnTo>
                <a:lnTo>
                  <a:pt x="126" y="84"/>
                </a:lnTo>
                <a:lnTo>
                  <a:pt x="132" y="84"/>
                </a:lnTo>
                <a:lnTo>
                  <a:pt x="126" y="90"/>
                </a:lnTo>
                <a:lnTo>
                  <a:pt x="126" y="90"/>
                </a:lnTo>
                <a:lnTo>
                  <a:pt x="126" y="90"/>
                </a:lnTo>
                <a:lnTo>
                  <a:pt x="126" y="90"/>
                </a:lnTo>
                <a:lnTo>
                  <a:pt x="132" y="96"/>
                </a:lnTo>
                <a:lnTo>
                  <a:pt x="132" y="90"/>
                </a:lnTo>
                <a:lnTo>
                  <a:pt x="132" y="90"/>
                </a:lnTo>
                <a:lnTo>
                  <a:pt x="132" y="90"/>
                </a:lnTo>
                <a:lnTo>
                  <a:pt x="132" y="90"/>
                </a:lnTo>
                <a:lnTo>
                  <a:pt x="138" y="90"/>
                </a:lnTo>
                <a:lnTo>
                  <a:pt x="138" y="96"/>
                </a:lnTo>
                <a:lnTo>
                  <a:pt x="138" y="90"/>
                </a:lnTo>
                <a:lnTo>
                  <a:pt x="138" y="90"/>
                </a:lnTo>
                <a:lnTo>
                  <a:pt x="138" y="90"/>
                </a:lnTo>
                <a:lnTo>
                  <a:pt x="138" y="90"/>
                </a:lnTo>
                <a:lnTo>
                  <a:pt x="144" y="90"/>
                </a:lnTo>
                <a:lnTo>
                  <a:pt x="144" y="90"/>
                </a:lnTo>
                <a:lnTo>
                  <a:pt x="144" y="90"/>
                </a:lnTo>
                <a:lnTo>
                  <a:pt x="144" y="90"/>
                </a:lnTo>
                <a:lnTo>
                  <a:pt x="144" y="90"/>
                </a:lnTo>
                <a:lnTo>
                  <a:pt x="144" y="90"/>
                </a:lnTo>
                <a:lnTo>
                  <a:pt x="144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56" y="96"/>
                </a:lnTo>
                <a:lnTo>
                  <a:pt x="156" y="96"/>
                </a:lnTo>
                <a:lnTo>
                  <a:pt x="156" y="96"/>
                </a:lnTo>
                <a:lnTo>
                  <a:pt x="156" y="96"/>
                </a:lnTo>
                <a:lnTo>
                  <a:pt x="162" y="96"/>
                </a:lnTo>
                <a:lnTo>
                  <a:pt x="162" y="96"/>
                </a:lnTo>
                <a:lnTo>
                  <a:pt x="168" y="96"/>
                </a:lnTo>
                <a:lnTo>
                  <a:pt x="168" y="90"/>
                </a:lnTo>
                <a:lnTo>
                  <a:pt x="168" y="90"/>
                </a:lnTo>
                <a:lnTo>
                  <a:pt x="168" y="90"/>
                </a:lnTo>
                <a:lnTo>
                  <a:pt x="168" y="90"/>
                </a:lnTo>
                <a:lnTo>
                  <a:pt x="174" y="90"/>
                </a:lnTo>
                <a:lnTo>
                  <a:pt x="168" y="90"/>
                </a:lnTo>
                <a:lnTo>
                  <a:pt x="168" y="96"/>
                </a:lnTo>
                <a:lnTo>
                  <a:pt x="168" y="96"/>
                </a:lnTo>
                <a:lnTo>
                  <a:pt x="168" y="96"/>
                </a:lnTo>
                <a:lnTo>
                  <a:pt x="168" y="96"/>
                </a:lnTo>
                <a:lnTo>
                  <a:pt x="168" y="96"/>
                </a:lnTo>
                <a:lnTo>
                  <a:pt x="162" y="102"/>
                </a:lnTo>
                <a:lnTo>
                  <a:pt x="162" y="102"/>
                </a:lnTo>
                <a:lnTo>
                  <a:pt x="162" y="102"/>
                </a:lnTo>
                <a:lnTo>
                  <a:pt x="162" y="102"/>
                </a:lnTo>
                <a:lnTo>
                  <a:pt x="162" y="108"/>
                </a:lnTo>
                <a:lnTo>
                  <a:pt x="162" y="108"/>
                </a:lnTo>
                <a:lnTo>
                  <a:pt x="156" y="108"/>
                </a:lnTo>
                <a:lnTo>
                  <a:pt x="156" y="108"/>
                </a:lnTo>
                <a:lnTo>
                  <a:pt x="156" y="108"/>
                </a:lnTo>
                <a:lnTo>
                  <a:pt x="156" y="108"/>
                </a:lnTo>
                <a:lnTo>
                  <a:pt x="150" y="108"/>
                </a:lnTo>
                <a:lnTo>
                  <a:pt x="150" y="108"/>
                </a:lnTo>
                <a:lnTo>
                  <a:pt x="150" y="114"/>
                </a:lnTo>
                <a:lnTo>
                  <a:pt x="150" y="114"/>
                </a:lnTo>
                <a:lnTo>
                  <a:pt x="150" y="120"/>
                </a:lnTo>
                <a:lnTo>
                  <a:pt x="144" y="120"/>
                </a:lnTo>
                <a:lnTo>
                  <a:pt x="144" y="120"/>
                </a:lnTo>
                <a:lnTo>
                  <a:pt x="144" y="120"/>
                </a:lnTo>
                <a:lnTo>
                  <a:pt x="138" y="120"/>
                </a:lnTo>
                <a:lnTo>
                  <a:pt x="138" y="120"/>
                </a:lnTo>
                <a:lnTo>
                  <a:pt x="138" y="120"/>
                </a:lnTo>
                <a:lnTo>
                  <a:pt x="138" y="120"/>
                </a:lnTo>
                <a:lnTo>
                  <a:pt x="138" y="120"/>
                </a:lnTo>
                <a:lnTo>
                  <a:pt x="138" y="120"/>
                </a:lnTo>
                <a:lnTo>
                  <a:pt x="138" y="126"/>
                </a:lnTo>
                <a:lnTo>
                  <a:pt x="132" y="120"/>
                </a:lnTo>
                <a:lnTo>
                  <a:pt x="132" y="120"/>
                </a:lnTo>
                <a:lnTo>
                  <a:pt x="132" y="120"/>
                </a:lnTo>
                <a:lnTo>
                  <a:pt x="132" y="126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0" y="120"/>
                </a:lnTo>
                <a:lnTo>
                  <a:pt x="120" y="126"/>
                </a:lnTo>
                <a:lnTo>
                  <a:pt x="120" y="126"/>
                </a:lnTo>
                <a:lnTo>
                  <a:pt x="120" y="126"/>
                </a:lnTo>
                <a:lnTo>
                  <a:pt x="120" y="126"/>
                </a:lnTo>
                <a:lnTo>
                  <a:pt x="114" y="126"/>
                </a:lnTo>
                <a:lnTo>
                  <a:pt x="114" y="126"/>
                </a:lnTo>
                <a:lnTo>
                  <a:pt x="114" y="126"/>
                </a:lnTo>
                <a:lnTo>
                  <a:pt x="114" y="126"/>
                </a:lnTo>
                <a:lnTo>
                  <a:pt x="114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32"/>
                </a:lnTo>
                <a:lnTo>
                  <a:pt x="108" y="132"/>
                </a:lnTo>
                <a:lnTo>
                  <a:pt x="108" y="132"/>
                </a:lnTo>
                <a:lnTo>
                  <a:pt x="108" y="132"/>
                </a:lnTo>
                <a:lnTo>
                  <a:pt x="108" y="132"/>
                </a:lnTo>
                <a:lnTo>
                  <a:pt x="108" y="132"/>
                </a:lnTo>
                <a:lnTo>
                  <a:pt x="108" y="138"/>
                </a:lnTo>
                <a:lnTo>
                  <a:pt x="108" y="138"/>
                </a:lnTo>
                <a:lnTo>
                  <a:pt x="102" y="138"/>
                </a:lnTo>
                <a:lnTo>
                  <a:pt x="102" y="138"/>
                </a:lnTo>
                <a:lnTo>
                  <a:pt x="102" y="138"/>
                </a:lnTo>
                <a:lnTo>
                  <a:pt x="102" y="138"/>
                </a:lnTo>
                <a:lnTo>
                  <a:pt x="102" y="138"/>
                </a:lnTo>
                <a:lnTo>
                  <a:pt x="102" y="138"/>
                </a:lnTo>
                <a:lnTo>
                  <a:pt x="102" y="138"/>
                </a:lnTo>
                <a:lnTo>
                  <a:pt x="102" y="138"/>
                </a:lnTo>
                <a:lnTo>
                  <a:pt x="102" y="138"/>
                </a:lnTo>
                <a:lnTo>
                  <a:pt x="102" y="138"/>
                </a:lnTo>
                <a:lnTo>
                  <a:pt x="102" y="138"/>
                </a:lnTo>
                <a:lnTo>
                  <a:pt x="102" y="144"/>
                </a:lnTo>
                <a:lnTo>
                  <a:pt x="96" y="144"/>
                </a:lnTo>
                <a:lnTo>
                  <a:pt x="96" y="144"/>
                </a:lnTo>
                <a:lnTo>
                  <a:pt x="96" y="144"/>
                </a:lnTo>
                <a:lnTo>
                  <a:pt x="96" y="144"/>
                </a:lnTo>
                <a:lnTo>
                  <a:pt x="96" y="144"/>
                </a:lnTo>
                <a:lnTo>
                  <a:pt x="90" y="144"/>
                </a:lnTo>
                <a:lnTo>
                  <a:pt x="90" y="144"/>
                </a:lnTo>
                <a:lnTo>
                  <a:pt x="90" y="144"/>
                </a:lnTo>
                <a:lnTo>
                  <a:pt x="90" y="144"/>
                </a:lnTo>
                <a:lnTo>
                  <a:pt x="90" y="144"/>
                </a:lnTo>
                <a:lnTo>
                  <a:pt x="90" y="144"/>
                </a:lnTo>
                <a:lnTo>
                  <a:pt x="90" y="144"/>
                </a:lnTo>
                <a:lnTo>
                  <a:pt x="84" y="144"/>
                </a:lnTo>
                <a:lnTo>
                  <a:pt x="84" y="144"/>
                </a:lnTo>
                <a:lnTo>
                  <a:pt x="84" y="144"/>
                </a:lnTo>
                <a:lnTo>
                  <a:pt x="84" y="144"/>
                </a:lnTo>
                <a:lnTo>
                  <a:pt x="84" y="144"/>
                </a:lnTo>
                <a:lnTo>
                  <a:pt x="84" y="144"/>
                </a:lnTo>
                <a:lnTo>
                  <a:pt x="84" y="144"/>
                </a:lnTo>
                <a:lnTo>
                  <a:pt x="84" y="144"/>
                </a:lnTo>
                <a:lnTo>
                  <a:pt x="78" y="144"/>
                </a:lnTo>
                <a:lnTo>
                  <a:pt x="78" y="144"/>
                </a:lnTo>
                <a:lnTo>
                  <a:pt x="78" y="144"/>
                </a:lnTo>
                <a:lnTo>
                  <a:pt x="78" y="144"/>
                </a:lnTo>
                <a:lnTo>
                  <a:pt x="78" y="144"/>
                </a:lnTo>
                <a:lnTo>
                  <a:pt x="72" y="144"/>
                </a:lnTo>
                <a:lnTo>
                  <a:pt x="72" y="150"/>
                </a:lnTo>
                <a:lnTo>
                  <a:pt x="72" y="150"/>
                </a:lnTo>
                <a:lnTo>
                  <a:pt x="72" y="144"/>
                </a:lnTo>
                <a:lnTo>
                  <a:pt x="72" y="144"/>
                </a:lnTo>
                <a:lnTo>
                  <a:pt x="72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50"/>
                </a:lnTo>
                <a:lnTo>
                  <a:pt x="66" y="150"/>
                </a:lnTo>
                <a:lnTo>
                  <a:pt x="66" y="150"/>
                </a:lnTo>
                <a:lnTo>
                  <a:pt x="60" y="150"/>
                </a:lnTo>
                <a:lnTo>
                  <a:pt x="60" y="150"/>
                </a:lnTo>
                <a:lnTo>
                  <a:pt x="60" y="144"/>
                </a:lnTo>
                <a:lnTo>
                  <a:pt x="60" y="150"/>
                </a:lnTo>
                <a:lnTo>
                  <a:pt x="60" y="150"/>
                </a:lnTo>
                <a:lnTo>
                  <a:pt x="60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38"/>
                </a:lnTo>
                <a:lnTo>
                  <a:pt x="60" y="138"/>
                </a:lnTo>
                <a:lnTo>
                  <a:pt x="60" y="138"/>
                </a:lnTo>
                <a:lnTo>
                  <a:pt x="60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50"/>
                </a:lnTo>
                <a:lnTo>
                  <a:pt x="30" y="150"/>
                </a:lnTo>
                <a:lnTo>
                  <a:pt x="24" y="150"/>
                </a:lnTo>
                <a:lnTo>
                  <a:pt x="24" y="144"/>
                </a:lnTo>
                <a:lnTo>
                  <a:pt x="18" y="144"/>
                </a:lnTo>
                <a:lnTo>
                  <a:pt x="24" y="144"/>
                </a:lnTo>
                <a:lnTo>
                  <a:pt x="18" y="144"/>
                </a:lnTo>
                <a:lnTo>
                  <a:pt x="18" y="144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26"/>
                </a:lnTo>
                <a:lnTo>
                  <a:pt x="18" y="120"/>
                </a:lnTo>
                <a:lnTo>
                  <a:pt x="18" y="120"/>
                </a:lnTo>
                <a:lnTo>
                  <a:pt x="18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08"/>
                </a:lnTo>
                <a:lnTo>
                  <a:pt x="30" y="108"/>
                </a:lnTo>
                <a:lnTo>
                  <a:pt x="30" y="114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0" y="90"/>
                </a:lnTo>
                <a:lnTo>
                  <a:pt x="36" y="90"/>
                </a:lnTo>
                <a:lnTo>
                  <a:pt x="30" y="90"/>
                </a:lnTo>
                <a:lnTo>
                  <a:pt x="30" y="90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18" y="78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90"/>
                </a:lnTo>
                <a:lnTo>
                  <a:pt x="12" y="90"/>
                </a:lnTo>
                <a:lnTo>
                  <a:pt x="12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0" y="66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38" name="Freeform 271"/>
          <p:cNvSpPr>
            <a:spLocks/>
          </p:cNvSpPr>
          <p:nvPr/>
        </p:nvSpPr>
        <p:spPr bwMode="auto">
          <a:xfrm>
            <a:off x="7564924" y="3621076"/>
            <a:ext cx="141329" cy="199147"/>
          </a:xfrm>
          <a:custGeom>
            <a:avLst/>
            <a:gdLst>
              <a:gd name="T0" fmla="*/ 6 w 132"/>
              <a:gd name="T1" fmla="*/ 72 h 186"/>
              <a:gd name="T2" fmla="*/ 18 w 132"/>
              <a:gd name="T3" fmla="*/ 72 h 186"/>
              <a:gd name="T4" fmla="*/ 24 w 132"/>
              <a:gd name="T5" fmla="*/ 78 h 186"/>
              <a:gd name="T6" fmla="*/ 30 w 132"/>
              <a:gd name="T7" fmla="*/ 78 h 186"/>
              <a:gd name="T8" fmla="*/ 42 w 132"/>
              <a:gd name="T9" fmla="*/ 84 h 186"/>
              <a:gd name="T10" fmla="*/ 48 w 132"/>
              <a:gd name="T11" fmla="*/ 84 h 186"/>
              <a:gd name="T12" fmla="*/ 48 w 132"/>
              <a:gd name="T13" fmla="*/ 72 h 186"/>
              <a:gd name="T14" fmla="*/ 42 w 132"/>
              <a:gd name="T15" fmla="*/ 66 h 186"/>
              <a:gd name="T16" fmla="*/ 36 w 132"/>
              <a:gd name="T17" fmla="*/ 60 h 186"/>
              <a:gd name="T18" fmla="*/ 42 w 132"/>
              <a:gd name="T19" fmla="*/ 48 h 186"/>
              <a:gd name="T20" fmla="*/ 48 w 132"/>
              <a:gd name="T21" fmla="*/ 42 h 186"/>
              <a:gd name="T22" fmla="*/ 54 w 132"/>
              <a:gd name="T23" fmla="*/ 36 h 186"/>
              <a:gd name="T24" fmla="*/ 60 w 132"/>
              <a:gd name="T25" fmla="*/ 30 h 186"/>
              <a:gd name="T26" fmla="*/ 72 w 132"/>
              <a:gd name="T27" fmla="*/ 30 h 186"/>
              <a:gd name="T28" fmla="*/ 78 w 132"/>
              <a:gd name="T29" fmla="*/ 30 h 186"/>
              <a:gd name="T30" fmla="*/ 78 w 132"/>
              <a:gd name="T31" fmla="*/ 24 h 186"/>
              <a:gd name="T32" fmla="*/ 84 w 132"/>
              <a:gd name="T33" fmla="*/ 24 h 186"/>
              <a:gd name="T34" fmla="*/ 84 w 132"/>
              <a:gd name="T35" fmla="*/ 18 h 186"/>
              <a:gd name="T36" fmla="*/ 96 w 132"/>
              <a:gd name="T37" fmla="*/ 6 h 186"/>
              <a:gd name="T38" fmla="*/ 108 w 132"/>
              <a:gd name="T39" fmla="*/ 0 h 186"/>
              <a:gd name="T40" fmla="*/ 114 w 132"/>
              <a:gd name="T41" fmla="*/ 12 h 186"/>
              <a:gd name="T42" fmla="*/ 126 w 132"/>
              <a:gd name="T43" fmla="*/ 6 h 186"/>
              <a:gd name="T44" fmla="*/ 132 w 132"/>
              <a:gd name="T45" fmla="*/ 6 h 186"/>
              <a:gd name="T46" fmla="*/ 120 w 132"/>
              <a:gd name="T47" fmla="*/ 18 h 186"/>
              <a:gd name="T48" fmla="*/ 132 w 132"/>
              <a:gd name="T49" fmla="*/ 30 h 186"/>
              <a:gd name="T50" fmla="*/ 132 w 132"/>
              <a:gd name="T51" fmla="*/ 42 h 186"/>
              <a:gd name="T52" fmla="*/ 120 w 132"/>
              <a:gd name="T53" fmla="*/ 42 h 186"/>
              <a:gd name="T54" fmla="*/ 108 w 132"/>
              <a:gd name="T55" fmla="*/ 42 h 186"/>
              <a:gd name="T56" fmla="*/ 102 w 132"/>
              <a:gd name="T57" fmla="*/ 42 h 186"/>
              <a:gd name="T58" fmla="*/ 102 w 132"/>
              <a:gd name="T59" fmla="*/ 54 h 186"/>
              <a:gd name="T60" fmla="*/ 96 w 132"/>
              <a:gd name="T61" fmla="*/ 66 h 186"/>
              <a:gd name="T62" fmla="*/ 90 w 132"/>
              <a:gd name="T63" fmla="*/ 72 h 186"/>
              <a:gd name="T64" fmla="*/ 90 w 132"/>
              <a:gd name="T65" fmla="*/ 78 h 186"/>
              <a:gd name="T66" fmla="*/ 90 w 132"/>
              <a:gd name="T67" fmla="*/ 84 h 186"/>
              <a:gd name="T68" fmla="*/ 90 w 132"/>
              <a:gd name="T69" fmla="*/ 90 h 186"/>
              <a:gd name="T70" fmla="*/ 90 w 132"/>
              <a:gd name="T71" fmla="*/ 102 h 186"/>
              <a:gd name="T72" fmla="*/ 90 w 132"/>
              <a:gd name="T73" fmla="*/ 114 h 186"/>
              <a:gd name="T74" fmla="*/ 84 w 132"/>
              <a:gd name="T75" fmla="*/ 120 h 186"/>
              <a:gd name="T76" fmla="*/ 84 w 132"/>
              <a:gd name="T77" fmla="*/ 132 h 186"/>
              <a:gd name="T78" fmla="*/ 78 w 132"/>
              <a:gd name="T79" fmla="*/ 138 h 186"/>
              <a:gd name="T80" fmla="*/ 90 w 132"/>
              <a:gd name="T81" fmla="*/ 138 h 186"/>
              <a:gd name="T82" fmla="*/ 96 w 132"/>
              <a:gd name="T83" fmla="*/ 138 h 186"/>
              <a:gd name="T84" fmla="*/ 102 w 132"/>
              <a:gd name="T85" fmla="*/ 150 h 186"/>
              <a:gd name="T86" fmla="*/ 96 w 132"/>
              <a:gd name="T87" fmla="*/ 156 h 186"/>
              <a:gd name="T88" fmla="*/ 102 w 132"/>
              <a:gd name="T89" fmla="*/ 162 h 186"/>
              <a:gd name="T90" fmla="*/ 90 w 132"/>
              <a:gd name="T91" fmla="*/ 174 h 186"/>
              <a:gd name="T92" fmla="*/ 84 w 132"/>
              <a:gd name="T93" fmla="*/ 180 h 186"/>
              <a:gd name="T94" fmla="*/ 78 w 132"/>
              <a:gd name="T95" fmla="*/ 186 h 186"/>
              <a:gd name="T96" fmla="*/ 72 w 132"/>
              <a:gd name="T97" fmla="*/ 186 h 186"/>
              <a:gd name="T98" fmla="*/ 66 w 132"/>
              <a:gd name="T99" fmla="*/ 186 h 186"/>
              <a:gd name="T100" fmla="*/ 66 w 132"/>
              <a:gd name="T101" fmla="*/ 180 h 186"/>
              <a:gd name="T102" fmla="*/ 54 w 132"/>
              <a:gd name="T103" fmla="*/ 180 h 186"/>
              <a:gd name="T104" fmla="*/ 48 w 132"/>
              <a:gd name="T105" fmla="*/ 168 h 186"/>
              <a:gd name="T106" fmla="*/ 48 w 132"/>
              <a:gd name="T107" fmla="*/ 156 h 186"/>
              <a:gd name="T108" fmla="*/ 48 w 132"/>
              <a:gd name="T109" fmla="*/ 150 h 186"/>
              <a:gd name="T110" fmla="*/ 42 w 132"/>
              <a:gd name="T111" fmla="*/ 144 h 186"/>
              <a:gd name="T112" fmla="*/ 36 w 132"/>
              <a:gd name="T113" fmla="*/ 138 h 186"/>
              <a:gd name="T114" fmla="*/ 24 w 132"/>
              <a:gd name="T115" fmla="*/ 126 h 186"/>
              <a:gd name="T116" fmla="*/ 18 w 132"/>
              <a:gd name="T117" fmla="*/ 120 h 186"/>
              <a:gd name="T118" fmla="*/ 18 w 132"/>
              <a:gd name="T119" fmla="*/ 108 h 186"/>
              <a:gd name="T120" fmla="*/ 12 w 132"/>
              <a:gd name="T121" fmla="*/ 102 h 186"/>
              <a:gd name="T122" fmla="*/ 6 w 132"/>
              <a:gd name="T123" fmla="*/ 84 h 1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32" h="186">
                <a:moveTo>
                  <a:pt x="0" y="78"/>
                </a:moveTo>
                <a:lnTo>
                  <a:pt x="0" y="78"/>
                </a:lnTo>
                <a:lnTo>
                  <a:pt x="0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54" y="84"/>
                </a:lnTo>
                <a:lnTo>
                  <a:pt x="54" y="84"/>
                </a:lnTo>
                <a:lnTo>
                  <a:pt x="48" y="84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36" y="66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54" y="42"/>
                </a:lnTo>
                <a:lnTo>
                  <a:pt x="54" y="42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72" y="30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84" y="30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2"/>
                </a:lnTo>
                <a:lnTo>
                  <a:pt x="96" y="12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0"/>
                </a:lnTo>
                <a:lnTo>
                  <a:pt x="102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6"/>
                </a:lnTo>
                <a:lnTo>
                  <a:pt x="108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12"/>
                </a:lnTo>
                <a:lnTo>
                  <a:pt x="114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12"/>
                </a:lnTo>
                <a:lnTo>
                  <a:pt x="132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96" y="54"/>
                </a:lnTo>
                <a:lnTo>
                  <a:pt x="90" y="54"/>
                </a:lnTo>
                <a:lnTo>
                  <a:pt x="96" y="54"/>
                </a:lnTo>
                <a:lnTo>
                  <a:pt x="96" y="60"/>
                </a:lnTo>
                <a:lnTo>
                  <a:pt x="96" y="60"/>
                </a:lnTo>
                <a:lnTo>
                  <a:pt x="90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6"/>
                </a:lnTo>
                <a:lnTo>
                  <a:pt x="96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84" y="72"/>
                </a:lnTo>
                <a:lnTo>
                  <a:pt x="84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8"/>
                </a:lnTo>
                <a:lnTo>
                  <a:pt x="84" y="78"/>
                </a:lnTo>
                <a:lnTo>
                  <a:pt x="90" y="78"/>
                </a:lnTo>
                <a:lnTo>
                  <a:pt x="90" y="78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90" y="90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84" y="96"/>
                </a:lnTo>
                <a:lnTo>
                  <a:pt x="90" y="102"/>
                </a:lnTo>
                <a:lnTo>
                  <a:pt x="90" y="102"/>
                </a:lnTo>
                <a:lnTo>
                  <a:pt x="90" y="102"/>
                </a:lnTo>
                <a:lnTo>
                  <a:pt x="90" y="102"/>
                </a:lnTo>
                <a:lnTo>
                  <a:pt x="90" y="102"/>
                </a:lnTo>
                <a:lnTo>
                  <a:pt x="90" y="102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6" y="114"/>
                </a:lnTo>
                <a:lnTo>
                  <a:pt x="96" y="120"/>
                </a:lnTo>
                <a:lnTo>
                  <a:pt x="90" y="120"/>
                </a:lnTo>
                <a:lnTo>
                  <a:pt x="90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78" y="132"/>
                </a:lnTo>
                <a:lnTo>
                  <a:pt x="78" y="132"/>
                </a:lnTo>
                <a:lnTo>
                  <a:pt x="78" y="132"/>
                </a:lnTo>
                <a:lnTo>
                  <a:pt x="78" y="132"/>
                </a:lnTo>
                <a:lnTo>
                  <a:pt x="78" y="132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90" y="138"/>
                </a:lnTo>
                <a:lnTo>
                  <a:pt x="90" y="138"/>
                </a:lnTo>
                <a:lnTo>
                  <a:pt x="90" y="138"/>
                </a:lnTo>
                <a:lnTo>
                  <a:pt x="90" y="138"/>
                </a:lnTo>
                <a:lnTo>
                  <a:pt x="90" y="138"/>
                </a:lnTo>
                <a:lnTo>
                  <a:pt x="90" y="138"/>
                </a:lnTo>
                <a:lnTo>
                  <a:pt x="96" y="138"/>
                </a:lnTo>
                <a:lnTo>
                  <a:pt x="96" y="138"/>
                </a:lnTo>
                <a:lnTo>
                  <a:pt x="96" y="138"/>
                </a:lnTo>
                <a:lnTo>
                  <a:pt x="90" y="138"/>
                </a:lnTo>
                <a:lnTo>
                  <a:pt x="96" y="138"/>
                </a:lnTo>
                <a:lnTo>
                  <a:pt x="96" y="138"/>
                </a:lnTo>
                <a:lnTo>
                  <a:pt x="96" y="138"/>
                </a:lnTo>
                <a:lnTo>
                  <a:pt x="96" y="138"/>
                </a:lnTo>
                <a:lnTo>
                  <a:pt x="96" y="138"/>
                </a:lnTo>
                <a:lnTo>
                  <a:pt x="96" y="144"/>
                </a:lnTo>
                <a:lnTo>
                  <a:pt x="96" y="144"/>
                </a:lnTo>
                <a:lnTo>
                  <a:pt x="96" y="144"/>
                </a:lnTo>
                <a:lnTo>
                  <a:pt x="96" y="144"/>
                </a:lnTo>
                <a:lnTo>
                  <a:pt x="96" y="144"/>
                </a:lnTo>
                <a:lnTo>
                  <a:pt x="102" y="150"/>
                </a:lnTo>
                <a:lnTo>
                  <a:pt x="102" y="150"/>
                </a:lnTo>
                <a:lnTo>
                  <a:pt x="102" y="150"/>
                </a:lnTo>
                <a:lnTo>
                  <a:pt x="96" y="150"/>
                </a:lnTo>
                <a:lnTo>
                  <a:pt x="102" y="150"/>
                </a:lnTo>
                <a:lnTo>
                  <a:pt x="102" y="156"/>
                </a:lnTo>
                <a:lnTo>
                  <a:pt x="102" y="156"/>
                </a:lnTo>
                <a:lnTo>
                  <a:pt x="102" y="156"/>
                </a:lnTo>
                <a:lnTo>
                  <a:pt x="102" y="156"/>
                </a:lnTo>
                <a:lnTo>
                  <a:pt x="96" y="156"/>
                </a:lnTo>
                <a:lnTo>
                  <a:pt x="96" y="156"/>
                </a:lnTo>
                <a:lnTo>
                  <a:pt x="96" y="156"/>
                </a:lnTo>
                <a:lnTo>
                  <a:pt x="96" y="150"/>
                </a:lnTo>
                <a:lnTo>
                  <a:pt x="96" y="156"/>
                </a:lnTo>
                <a:lnTo>
                  <a:pt x="96" y="156"/>
                </a:lnTo>
                <a:lnTo>
                  <a:pt x="96" y="156"/>
                </a:lnTo>
                <a:lnTo>
                  <a:pt x="96" y="156"/>
                </a:lnTo>
                <a:lnTo>
                  <a:pt x="96" y="162"/>
                </a:lnTo>
                <a:lnTo>
                  <a:pt x="96" y="168"/>
                </a:lnTo>
                <a:lnTo>
                  <a:pt x="96" y="168"/>
                </a:lnTo>
                <a:lnTo>
                  <a:pt x="96" y="168"/>
                </a:lnTo>
                <a:lnTo>
                  <a:pt x="102" y="162"/>
                </a:lnTo>
                <a:lnTo>
                  <a:pt x="102" y="168"/>
                </a:lnTo>
                <a:lnTo>
                  <a:pt x="102" y="168"/>
                </a:lnTo>
                <a:lnTo>
                  <a:pt x="102" y="168"/>
                </a:lnTo>
                <a:lnTo>
                  <a:pt x="102" y="168"/>
                </a:lnTo>
                <a:lnTo>
                  <a:pt x="102" y="168"/>
                </a:lnTo>
                <a:lnTo>
                  <a:pt x="102" y="174"/>
                </a:lnTo>
                <a:lnTo>
                  <a:pt x="102" y="174"/>
                </a:lnTo>
                <a:lnTo>
                  <a:pt x="96" y="174"/>
                </a:lnTo>
                <a:lnTo>
                  <a:pt x="96" y="174"/>
                </a:lnTo>
                <a:lnTo>
                  <a:pt x="90" y="174"/>
                </a:lnTo>
                <a:lnTo>
                  <a:pt x="90" y="174"/>
                </a:lnTo>
                <a:lnTo>
                  <a:pt x="90" y="174"/>
                </a:lnTo>
                <a:lnTo>
                  <a:pt x="90" y="174"/>
                </a:lnTo>
                <a:lnTo>
                  <a:pt x="90" y="174"/>
                </a:lnTo>
                <a:lnTo>
                  <a:pt x="90" y="174"/>
                </a:lnTo>
                <a:lnTo>
                  <a:pt x="90" y="174"/>
                </a:lnTo>
                <a:lnTo>
                  <a:pt x="84" y="180"/>
                </a:lnTo>
                <a:lnTo>
                  <a:pt x="90" y="180"/>
                </a:lnTo>
                <a:lnTo>
                  <a:pt x="84" y="180"/>
                </a:lnTo>
                <a:lnTo>
                  <a:pt x="84" y="180"/>
                </a:lnTo>
                <a:lnTo>
                  <a:pt x="84" y="180"/>
                </a:lnTo>
                <a:lnTo>
                  <a:pt x="84" y="180"/>
                </a:lnTo>
                <a:lnTo>
                  <a:pt x="84" y="180"/>
                </a:lnTo>
                <a:lnTo>
                  <a:pt x="84" y="180"/>
                </a:lnTo>
                <a:lnTo>
                  <a:pt x="84" y="180"/>
                </a:lnTo>
                <a:lnTo>
                  <a:pt x="78" y="180"/>
                </a:lnTo>
                <a:lnTo>
                  <a:pt x="78" y="180"/>
                </a:lnTo>
                <a:lnTo>
                  <a:pt x="78" y="180"/>
                </a:lnTo>
                <a:lnTo>
                  <a:pt x="78" y="186"/>
                </a:lnTo>
                <a:lnTo>
                  <a:pt x="78" y="186"/>
                </a:lnTo>
                <a:lnTo>
                  <a:pt x="78" y="186"/>
                </a:lnTo>
                <a:lnTo>
                  <a:pt x="78" y="186"/>
                </a:lnTo>
                <a:lnTo>
                  <a:pt x="78" y="186"/>
                </a:lnTo>
                <a:lnTo>
                  <a:pt x="78" y="186"/>
                </a:lnTo>
                <a:lnTo>
                  <a:pt x="78" y="186"/>
                </a:lnTo>
                <a:lnTo>
                  <a:pt x="78" y="186"/>
                </a:lnTo>
                <a:lnTo>
                  <a:pt x="78" y="186"/>
                </a:lnTo>
                <a:lnTo>
                  <a:pt x="72" y="186"/>
                </a:lnTo>
                <a:lnTo>
                  <a:pt x="72" y="186"/>
                </a:lnTo>
                <a:lnTo>
                  <a:pt x="72" y="186"/>
                </a:lnTo>
                <a:lnTo>
                  <a:pt x="72" y="186"/>
                </a:lnTo>
                <a:lnTo>
                  <a:pt x="72" y="186"/>
                </a:lnTo>
                <a:lnTo>
                  <a:pt x="72" y="186"/>
                </a:lnTo>
                <a:lnTo>
                  <a:pt x="72" y="186"/>
                </a:lnTo>
                <a:lnTo>
                  <a:pt x="72" y="186"/>
                </a:lnTo>
                <a:lnTo>
                  <a:pt x="72" y="186"/>
                </a:lnTo>
                <a:lnTo>
                  <a:pt x="72" y="186"/>
                </a:lnTo>
                <a:lnTo>
                  <a:pt x="72" y="186"/>
                </a:lnTo>
                <a:lnTo>
                  <a:pt x="66" y="186"/>
                </a:lnTo>
                <a:lnTo>
                  <a:pt x="66" y="186"/>
                </a:lnTo>
                <a:lnTo>
                  <a:pt x="66" y="186"/>
                </a:lnTo>
                <a:lnTo>
                  <a:pt x="66" y="186"/>
                </a:lnTo>
                <a:lnTo>
                  <a:pt x="66" y="180"/>
                </a:lnTo>
                <a:lnTo>
                  <a:pt x="66" y="180"/>
                </a:lnTo>
                <a:lnTo>
                  <a:pt x="66" y="180"/>
                </a:lnTo>
                <a:lnTo>
                  <a:pt x="66" y="180"/>
                </a:lnTo>
                <a:lnTo>
                  <a:pt x="72" y="180"/>
                </a:lnTo>
                <a:lnTo>
                  <a:pt x="72" y="180"/>
                </a:lnTo>
                <a:lnTo>
                  <a:pt x="66" y="180"/>
                </a:lnTo>
                <a:lnTo>
                  <a:pt x="66" y="180"/>
                </a:lnTo>
                <a:lnTo>
                  <a:pt x="66" y="180"/>
                </a:lnTo>
                <a:lnTo>
                  <a:pt x="60" y="180"/>
                </a:lnTo>
                <a:lnTo>
                  <a:pt x="60" y="180"/>
                </a:lnTo>
                <a:lnTo>
                  <a:pt x="60" y="180"/>
                </a:lnTo>
                <a:lnTo>
                  <a:pt x="60" y="180"/>
                </a:lnTo>
                <a:lnTo>
                  <a:pt x="54" y="180"/>
                </a:lnTo>
                <a:lnTo>
                  <a:pt x="54" y="180"/>
                </a:lnTo>
                <a:lnTo>
                  <a:pt x="54" y="180"/>
                </a:lnTo>
                <a:lnTo>
                  <a:pt x="54" y="180"/>
                </a:lnTo>
                <a:lnTo>
                  <a:pt x="54" y="180"/>
                </a:lnTo>
                <a:lnTo>
                  <a:pt x="54" y="174"/>
                </a:lnTo>
                <a:lnTo>
                  <a:pt x="54" y="174"/>
                </a:lnTo>
                <a:lnTo>
                  <a:pt x="54" y="174"/>
                </a:lnTo>
                <a:lnTo>
                  <a:pt x="54" y="174"/>
                </a:lnTo>
                <a:lnTo>
                  <a:pt x="54" y="174"/>
                </a:lnTo>
                <a:lnTo>
                  <a:pt x="48" y="174"/>
                </a:lnTo>
                <a:lnTo>
                  <a:pt x="54" y="168"/>
                </a:lnTo>
                <a:lnTo>
                  <a:pt x="54" y="168"/>
                </a:lnTo>
                <a:lnTo>
                  <a:pt x="48" y="168"/>
                </a:lnTo>
                <a:lnTo>
                  <a:pt x="48" y="168"/>
                </a:lnTo>
                <a:lnTo>
                  <a:pt x="48" y="168"/>
                </a:lnTo>
                <a:lnTo>
                  <a:pt x="48" y="168"/>
                </a:lnTo>
                <a:lnTo>
                  <a:pt x="48" y="168"/>
                </a:lnTo>
                <a:lnTo>
                  <a:pt x="48" y="168"/>
                </a:lnTo>
                <a:lnTo>
                  <a:pt x="48" y="162"/>
                </a:lnTo>
                <a:lnTo>
                  <a:pt x="48" y="162"/>
                </a:lnTo>
                <a:lnTo>
                  <a:pt x="48" y="162"/>
                </a:lnTo>
                <a:lnTo>
                  <a:pt x="48" y="162"/>
                </a:lnTo>
                <a:lnTo>
                  <a:pt x="42" y="156"/>
                </a:lnTo>
                <a:lnTo>
                  <a:pt x="48" y="156"/>
                </a:lnTo>
                <a:lnTo>
                  <a:pt x="42" y="156"/>
                </a:lnTo>
                <a:lnTo>
                  <a:pt x="48" y="156"/>
                </a:lnTo>
                <a:lnTo>
                  <a:pt x="48" y="150"/>
                </a:lnTo>
                <a:lnTo>
                  <a:pt x="48" y="150"/>
                </a:lnTo>
                <a:lnTo>
                  <a:pt x="48" y="150"/>
                </a:lnTo>
                <a:lnTo>
                  <a:pt x="48" y="150"/>
                </a:lnTo>
                <a:lnTo>
                  <a:pt x="48" y="150"/>
                </a:lnTo>
                <a:lnTo>
                  <a:pt x="48" y="150"/>
                </a:lnTo>
                <a:lnTo>
                  <a:pt x="48" y="150"/>
                </a:lnTo>
                <a:lnTo>
                  <a:pt x="48" y="150"/>
                </a:lnTo>
                <a:lnTo>
                  <a:pt x="48" y="150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2"/>
                </a:lnTo>
                <a:lnTo>
                  <a:pt x="36" y="138"/>
                </a:lnTo>
                <a:lnTo>
                  <a:pt x="36" y="132"/>
                </a:lnTo>
                <a:lnTo>
                  <a:pt x="36" y="132"/>
                </a:lnTo>
                <a:lnTo>
                  <a:pt x="30" y="132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24" y="120"/>
                </a:lnTo>
                <a:lnTo>
                  <a:pt x="24" y="120"/>
                </a:lnTo>
                <a:lnTo>
                  <a:pt x="18" y="114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0"/>
                </a:lnTo>
                <a:lnTo>
                  <a:pt x="6" y="84"/>
                </a:lnTo>
                <a:lnTo>
                  <a:pt x="6" y="84"/>
                </a:lnTo>
                <a:lnTo>
                  <a:pt x="0" y="84"/>
                </a:lnTo>
                <a:lnTo>
                  <a:pt x="0" y="84"/>
                </a:lnTo>
                <a:lnTo>
                  <a:pt x="0" y="7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39" name="Freeform 272"/>
          <p:cNvSpPr>
            <a:spLocks/>
          </p:cNvSpPr>
          <p:nvPr/>
        </p:nvSpPr>
        <p:spPr bwMode="auto">
          <a:xfrm>
            <a:off x="7654860" y="3428354"/>
            <a:ext cx="160601" cy="205571"/>
          </a:xfrm>
          <a:custGeom>
            <a:avLst/>
            <a:gdLst>
              <a:gd name="T0" fmla="*/ 0 w 150"/>
              <a:gd name="T1" fmla="*/ 102 h 192"/>
              <a:gd name="T2" fmla="*/ 6 w 150"/>
              <a:gd name="T3" fmla="*/ 96 h 192"/>
              <a:gd name="T4" fmla="*/ 0 w 150"/>
              <a:gd name="T5" fmla="*/ 84 h 192"/>
              <a:gd name="T6" fmla="*/ 6 w 150"/>
              <a:gd name="T7" fmla="*/ 78 h 192"/>
              <a:gd name="T8" fmla="*/ 12 w 150"/>
              <a:gd name="T9" fmla="*/ 84 h 192"/>
              <a:gd name="T10" fmla="*/ 18 w 150"/>
              <a:gd name="T11" fmla="*/ 78 h 192"/>
              <a:gd name="T12" fmla="*/ 24 w 150"/>
              <a:gd name="T13" fmla="*/ 72 h 192"/>
              <a:gd name="T14" fmla="*/ 30 w 150"/>
              <a:gd name="T15" fmla="*/ 60 h 192"/>
              <a:gd name="T16" fmla="*/ 36 w 150"/>
              <a:gd name="T17" fmla="*/ 54 h 192"/>
              <a:gd name="T18" fmla="*/ 42 w 150"/>
              <a:gd name="T19" fmla="*/ 48 h 192"/>
              <a:gd name="T20" fmla="*/ 54 w 150"/>
              <a:gd name="T21" fmla="*/ 48 h 192"/>
              <a:gd name="T22" fmla="*/ 60 w 150"/>
              <a:gd name="T23" fmla="*/ 42 h 192"/>
              <a:gd name="T24" fmla="*/ 60 w 150"/>
              <a:gd name="T25" fmla="*/ 24 h 192"/>
              <a:gd name="T26" fmla="*/ 66 w 150"/>
              <a:gd name="T27" fmla="*/ 18 h 192"/>
              <a:gd name="T28" fmla="*/ 78 w 150"/>
              <a:gd name="T29" fmla="*/ 12 h 192"/>
              <a:gd name="T30" fmla="*/ 90 w 150"/>
              <a:gd name="T31" fmla="*/ 6 h 192"/>
              <a:gd name="T32" fmla="*/ 96 w 150"/>
              <a:gd name="T33" fmla="*/ 0 h 192"/>
              <a:gd name="T34" fmla="*/ 102 w 150"/>
              <a:gd name="T35" fmla="*/ 12 h 192"/>
              <a:gd name="T36" fmla="*/ 108 w 150"/>
              <a:gd name="T37" fmla="*/ 18 h 192"/>
              <a:gd name="T38" fmla="*/ 108 w 150"/>
              <a:gd name="T39" fmla="*/ 24 h 192"/>
              <a:gd name="T40" fmla="*/ 114 w 150"/>
              <a:gd name="T41" fmla="*/ 30 h 192"/>
              <a:gd name="T42" fmla="*/ 114 w 150"/>
              <a:gd name="T43" fmla="*/ 24 h 192"/>
              <a:gd name="T44" fmla="*/ 126 w 150"/>
              <a:gd name="T45" fmla="*/ 24 h 192"/>
              <a:gd name="T46" fmla="*/ 132 w 150"/>
              <a:gd name="T47" fmla="*/ 24 h 192"/>
              <a:gd name="T48" fmla="*/ 138 w 150"/>
              <a:gd name="T49" fmla="*/ 24 h 192"/>
              <a:gd name="T50" fmla="*/ 144 w 150"/>
              <a:gd name="T51" fmla="*/ 30 h 192"/>
              <a:gd name="T52" fmla="*/ 138 w 150"/>
              <a:gd name="T53" fmla="*/ 36 h 192"/>
              <a:gd name="T54" fmla="*/ 132 w 150"/>
              <a:gd name="T55" fmla="*/ 36 h 192"/>
              <a:gd name="T56" fmla="*/ 126 w 150"/>
              <a:gd name="T57" fmla="*/ 42 h 192"/>
              <a:gd name="T58" fmla="*/ 132 w 150"/>
              <a:gd name="T59" fmla="*/ 48 h 192"/>
              <a:gd name="T60" fmla="*/ 138 w 150"/>
              <a:gd name="T61" fmla="*/ 60 h 192"/>
              <a:gd name="T62" fmla="*/ 150 w 150"/>
              <a:gd name="T63" fmla="*/ 78 h 192"/>
              <a:gd name="T64" fmla="*/ 150 w 150"/>
              <a:gd name="T65" fmla="*/ 90 h 192"/>
              <a:gd name="T66" fmla="*/ 132 w 150"/>
              <a:gd name="T67" fmla="*/ 96 h 192"/>
              <a:gd name="T68" fmla="*/ 132 w 150"/>
              <a:gd name="T69" fmla="*/ 108 h 192"/>
              <a:gd name="T70" fmla="*/ 126 w 150"/>
              <a:gd name="T71" fmla="*/ 120 h 192"/>
              <a:gd name="T72" fmla="*/ 132 w 150"/>
              <a:gd name="T73" fmla="*/ 132 h 192"/>
              <a:gd name="T74" fmla="*/ 132 w 150"/>
              <a:gd name="T75" fmla="*/ 144 h 192"/>
              <a:gd name="T76" fmla="*/ 120 w 150"/>
              <a:gd name="T77" fmla="*/ 144 h 192"/>
              <a:gd name="T78" fmla="*/ 114 w 150"/>
              <a:gd name="T79" fmla="*/ 144 h 192"/>
              <a:gd name="T80" fmla="*/ 108 w 150"/>
              <a:gd name="T81" fmla="*/ 144 h 192"/>
              <a:gd name="T82" fmla="*/ 102 w 150"/>
              <a:gd name="T83" fmla="*/ 150 h 192"/>
              <a:gd name="T84" fmla="*/ 96 w 150"/>
              <a:gd name="T85" fmla="*/ 162 h 192"/>
              <a:gd name="T86" fmla="*/ 90 w 150"/>
              <a:gd name="T87" fmla="*/ 168 h 192"/>
              <a:gd name="T88" fmla="*/ 84 w 150"/>
              <a:gd name="T89" fmla="*/ 168 h 192"/>
              <a:gd name="T90" fmla="*/ 78 w 150"/>
              <a:gd name="T91" fmla="*/ 174 h 192"/>
              <a:gd name="T92" fmla="*/ 72 w 150"/>
              <a:gd name="T93" fmla="*/ 180 h 192"/>
              <a:gd name="T94" fmla="*/ 72 w 150"/>
              <a:gd name="T95" fmla="*/ 186 h 192"/>
              <a:gd name="T96" fmla="*/ 60 w 150"/>
              <a:gd name="T97" fmla="*/ 186 h 192"/>
              <a:gd name="T98" fmla="*/ 54 w 150"/>
              <a:gd name="T99" fmla="*/ 186 h 192"/>
              <a:gd name="T100" fmla="*/ 48 w 150"/>
              <a:gd name="T101" fmla="*/ 186 h 192"/>
              <a:gd name="T102" fmla="*/ 42 w 150"/>
              <a:gd name="T103" fmla="*/ 186 h 192"/>
              <a:gd name="T104" fmla="*/ 36 w 150"/>
              <a:gd name="T105" fmla="*/ 186 h 192"/>
              <a:gd name="T106" fmla="*/ 30 w 150"/>
              <a:gd name="T107" fmla="*/ 186 h 192"/>
              <a:gd name="T108" fmla="*/ 24 w 150"/>
              <a:gd name="T109" fmla="*/ 180 h 192"/>
              <a:gd name="T110" fmla="*/ 12 w 150"/>
              <a:gd name="T111" fmla="*/ 186 h 192"/>
              <a:gd name="T112" fmla="*/ 18 w 150"/>
              <a:gd name="T113" fmla="*/ 180 h 192"/>
              <a:gd name="T114" fmla="*/ 12 w 150"/>
              <a:gd name="T115" fmla="*/ 180 h 192"/>
              <a:gd name="T116" fmla="*/ 12 w 150"/>
              <a:gd name="T117" fmla="*/ 174 h 192"/>
              <a:gd name="T118" fmla="*/ 18 w 150"/>
              <a:gd name="T119" fmla="*/ 162 h 192"/>
              <a:gd name="T120" fmla="*/ 12 w 150"/>
              <a:gd name="T121" fmla="*/ 150 h 192"/>
              <a:gd name="T122" fmla="*/ 12 w 150"/>
              <a:gd name="T123" fmla="*/ 144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0" h="192">
                <a:moveTo>
                  <a:pt x="0" y="114"/>
                </a:moveTo>
                <a:lnTo>
                  <a:pt x="0" y="114"/>
                </a:lnTo>
                <a:lnTo>
                  <a:pt x="0" y="114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2"/>
                </a:lnTo>
                <a:lnTo>
                  <a:pt x="0" y="102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6" y="96"/>
                </a:lnTo>
                <a:lnTo>
                  <a:pt x="6" y="96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0" y="90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78"/>
                </a:lnTo>
                <a:lnTo>
                  <a:pt x="12" y="78"/>
                </a:lnTo>
                <a:lnTo>
                  <a:pt x="12" y="84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2"/>
                </a:lnTo>
                <a:lnTo>
                  <a:pt x="18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66"/>
                </a:lnTo>
                <a:lnTo>
                  <a:pt x="24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42" y="54"/>
                </a:lnTo>
                <a:lnTo>
                  <a:pt x="42" y="54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54" y="48"/>
                </a:lnTo>
                <a:lnTo>
                  <a:pt x="54" y="42"/>
                </a:lnTo>
                <a:lnTo>
                  <a:pt x="54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54" y="42"/>
                </a:lnTo>
                <a:lnTo>
                  <a:pt x="60" y="36"/>
                </a:lnTo>
                <a:lnTo>
                  <a:pt x="60" y="42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0"/>
                </a:lnTo>
                <a:lnTo>
                  <a:pt x="60" y="30"/>
                </a:lnTo>
                <a:lnTo>
                  <a:pt x="66" y="30"/>
                </a:lnTo>
                <a:lnTo>
                  <a:pt x="60" y="24"/>
                </a:lnTo>
                <a:lnTo>
                  <a:pt x="60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72" y="18"/>
                </a:lnTo>
                <a:lnTo>
                  <a:pt x="72" y="12"/>
                </a:lnTo>
                <a:lnTo>
                  <a:pt x="72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90" y="6"/>
                </a:lnTo>
                <a:lnTo>
                  <a:pt x="90" y="6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102" y="0"/>
                </a:lnTo>
                <a:lnTo>
                  <a:pt x="102" y="0"/>
                </a:lnTo>
                <a:lnTo>
                  <a:pt x="96" y="0"/>
                </a:lnTo>
                <a:lnTo>
                  <a:pt x="96" y="0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8" y="24"/>
                </a:lnTo>
                <a:lnTo>
                  <a:pt x="138" y="30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44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6"/>
                </a:lnTo>
                <a:lnTo>
                  <a:pt x="138" y="30"/>
                </a:lnTo>
                <a:lnTo>
                  <a:pt x="138" y="36"/>
                </a:lnTo>
                <a:lnTo>
                  <a:pt x="132" y="30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26" y="36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54"/>
                </a:lnTo>
                <a:lnTo>
                  <a:pt x="132" y="54"/>
                </a:lnTo>
                <a:lnTo>
                  <a:pt x="132" y="54"/>
                </a:lnTo>
                <a:lnTo>
                  <a:pt x="132" y="54"/>
                </a:lnTo>
                <a:lnTo>
                  <a:pt x="138" y="60"/>
                </a:lnTo>
                <a:lnTo>
                  <a:pt x="138" y="60"/>
                </a:lnTo>
                <a:lnTo>
                  <a:pt x="138" y="60"/>
                </a:lnTo>
                <a:lnTo>
                  <a:pt x="150" y="66"/>
                </a:lnTo>
                <a:lnTo>
                  <a:pt x="150" y="72"/>
                </a:lnTo>
                <a:lnTo>
                  <a:pt x="150" y="72"/>
                </a:lnTo>
                <a:lnTo>
                  <a:pt x="150" y="72"/>
                </a:lnTo>
                <a:lnTo>
                  <a:pt x="150" y="72"/>
                </a:lnTo>
                <a:lnTo>
                  <a:pt x="150" y="78"/>
                </a:lnTo>
                <a:lnTo>
                  <a:pt x="150" y="78"/>
                </a:lnTo>
                <a:lnTo>
                  <a:pt x="144" y="78"/>
                </a:lnTo>
                <a:lnTo>
                  <a:pt x="144" y="84"/>
                </a:lnTo>
                <a:lnTo>
                  <a:pt x="144" y="84"/>
                </a:lnTo>
                <a:lnTo>
                  <a:pt x="150" y="84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44" y="90"/>
                </a:lnTo>
                <a:lnTo>
                  <a:pt x="144" y="96"/>
                </a:lnTo>
                <a:lnTo>
                  <a:pt x="138" y="96"/>
                </a:lnTo>
                <a:lnTo>
                  <a:pt x="132" y="96"/>
                </a:lnTo>
                <a:lnTo>
                  <a:pt x="132" y="96"/>
                </a:lnTo>
                <a:lnTo>
                  <a:pt x="132" y="96"/>
                </a:lnTo>
                <a:lnTo>
                  <a:pt x="132" y="96"/>
                </a:lnTo>
                <a:lnTo>
                  <a:pt x="138" y="102"/>
                </a:lnTo>
                <a:lnTo>
                  <a:pt x="138" y="96"/>
                </a:lnTo>
                <a:lnTo>
                  <a:pt x="138" y="102"/>
                </a:lnTo>
                <a:lnTo>
                  <a:pt x="132" y="102"/>
                </a:lnTo>
                <a:lnTo>
                  <a:pt x="132" y="102"/>
                </a:lnTo>
                <a:lnTo>
                  <a:pt x="132" y="102"/>
                </a:lnTo>
                <a:lnTo>
                  <a:pt x="132" y="108"/>
                </a:lnTo>
                <a:lnTo>
                  <a:pt x="132" y="108"/>
                </a:lnTo>
                <a:lnTo>
                  <a:pt x="126" y="108"/>
                </a:lnTo>
                <a:lnTo>
                  <a:pt x="126" y="114"/>
                </a:lnTo>
                <a:lnTo>
                  <a:pt x="126" y="114"/>
                </a:lnTo>
                <a:lnTo>
                  <a:pt x="126" y="114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6"/>
                </a:lnTo>
                <a:lnTo>
                  <a:pt x="126" y="126"/>
                </a:lnTo>
                <a:lnTo>
                  <a:pt x="132" y="126"/>
                </a:lnTo>
                <a:lnTo>
                  <a:pt x="132" y="132"/>
                </a:lnTo>
                <a:lnTo>
                  <a:pt x="132" y="132"/>
                </a:lnTo>
                <a:lnTo>
                  <a:pt x="132" y="132"/>
                </a:lnTo>
                <a:lnTo>
                  <a:pt x="132" y="132"/>
                </a:lnTo>
                <a:lnTo>
                  <a:pt x="132" y="132"/>
                </a:lnTo>
                <a:lnTo>
                  <a:pt x="132" y="132"/>
                </a:lnTo>
                <a:lnTo>
                  <a:pt x="132" y="132"/>
                </a:lnTo>
                <a:lnTo>
                  <a:pt x="132" y="138"/>
                </a:lnTo>
                <a:lnTo>
                  <a:pt x="132" y="138"/>
                </a:lnTo>
                <a:lnTo>
                  <a:pt x="132" y="144"/>
                </a:lnTo>
                <a:lnTo>
                  <a:pt x="132" y="144"/>
                </a:lnTo>
                <a:lnTo>
                  <a:pt x="132" y="144"/>
                </a:lnTo>
                <a:lnTo>
                  <a:pt x="132" y="144"/>
                </a:lnTo>
                <a:lnTo>
                  <a:pt x="126" y="144"/>
                </a:lnTo>
                <a:lnTo>
                  <a:pt x="126" y="144"/>
                </a:lnTo>
                <a:lnTo>
                  <a:pt x="126" y="144"/>
                </a:lnTo>
                <a:lnTo>
                  <a:pt x="126" y="144"/>
                </a:lnTo>
                <a:lnTo>
                  <a:pt x="126" y="144"/>
                </a:lnTo>
                <a:lnTo>
                  <a:pt x="120" y="144"/>
                </a:lnTo>
                <a:lnTo>
                  <a:pt x="120" y="144"/>
                </a:lnTo>
                <a:lnTo>
                  <a:pt x="120" y="144"/>
                </a:lnTo>
                <a:lnTo>
                  <a:pt x="120" y="144"/>
                </a:lnTo>
                <a:lnTo>
                  <a:pt x="114" y="144"/>
                </a:lnTo>
                <a:lnTo>
                  <a:pt x="114" y="144"/>
                </a:lnTo>
                <a:lnTo>
                  <a:pt x="114" y="144"/>
                </a:lnTo>
                <a:lnTo>
                  <a:pt x="114" y="144"/>
                </a:lnTo>
                <a:lnTo>
                  <a:pt x="114" y="144"/>
                </a:lnTo>
                <a:lnTo>
                  <a:pt x="114" y="144"/>
                </a:lnTo>
                <a:lnTo>
                  <a:pt x="114" y="144"/>
                </a:lnTo>
                <a:lnTo>
                  <a:pt x="108" y="144"/>
                </a:lnTo>
                <a:lnTo>
                  <a:pt x="114" y="144"/>
                </a:lnTo>
                <a:lnTo>
                  <a:pt x="114" y="144"/>
                </a:lnTo>
                <a:lnTo>
                  <a:pt x="114" y="144"/>
                </a:lnTo>
                <a:lnTo>
                  <a:pt x="114" y="150"/>
                </a:lnTo>
                <a:lnTo>
                  <a:pt x="108" y="150"/>
                </a:lnTo>
                <a:lnTo>
                  <a:pt x="108" y="144"/>
                </a:lnTo>
                <a:lnTo>
                  <a:pt x="108" y="144"/>
                </a:lnTo>
                <a:lnTo>
                  <a:pt x="108" y="144"/>
                </a:lnTo>
                <a:lnTo>
                  <a:pt x="108" y="144"/>
                </a:lnTo>
                <a:lnTo>
                  <a:pt x="108" y="144"/>
                </a:lnTo>
                <a:lnTo>
                  <a:pt x="108" y="144"/>
                </a:lnTo>
                <a:lnTo>
                  <a:pt x="108" y="144"/>
                </a:lnTo>
                <a:lnTo>
                  <a:pt x="102" y="150"/>
                </a:lnTo>
                <a:lnTo>
                  <a:pt x="102" y="150"/>
                </a:lnTo>
                <a:lnTo>
                  <a:pt x="102" y="150"/>
                </a:lnTo>
                <a:lnTo>
                  <a:pt x="102" y="150"/>
                </a:lnTo>
                <a:lnTo>
                  <a:pt x="102" y="150"/>
                </a:lnTo>
                <a:lnTo>
                  <a:pt x="102" y="150"/>
                </a:lnTo>
                <a:lnTo>
                  <a:pt x="96" y="156"/>
                </a:lnTo>
                <a:lnTo>
                  <a:pt x="96" y="156"/>
                </a:lnTo>
                <a:lnTo>
                  <a:pt x="96" y="156"/>
                </a:lnTo>
                <a:lnTo>
                  <a:pt x="96" y="162"/>
                </a:lnTo>
                <a:lnTo>
                  <a:pt x="96" y="162"/>
                </a:lnTo>
                <a:lnTo>
                  <a:pt x="96" y="162"/>
                </a:lnTo>
                <a:lnTo>
                  <a:pt x="96" y="162"/>
                </a:lnTo>
                <a:lnTo>
                  <a:pt x="96" y="168"/>
                </a:lnTo>
                <a:lnTo>
                  <a:pt x="96" y="168"/>
                </a:lnTo>
                <a:lnTo>
                  <a:pt x="90" y="162"/>
                </a:lnTo>
                <a:lnTo>
                  <a:pt x="90" y="162"/>
                </a:lnTo>
                <a:lnTo>
                  <a:pt x="90" y="168"/>
                </a:lnTo>
                <a:lnTo>
                  <a:pt x="90" y="162"/>
                </a:lnTo>
                <a:lnTo>
                  <a:pt x="90" y="162"/>
                </a:lnTo>
                <a:lnTo>
                  <a:pt x="90" y="168"/>
                </a:lnTo>
                <a:lnTo>
                  <a:pt x="90" y="168"/>
                </a:lnTo>
                <a:lnTo>
                  <a:pt x="84" y="168"/>
                </a:lnTo>
                <a:lnTo>
                  <a:pt x="90" y="168"/>
                </a:lnTo>
                <a:lnTo>
                  <a:pt x="84" y="168"/>
                </a:lnTo>
                <a:lnTo>
                  <a:pt x="84" y="168"/>
                </a:lnTo>
                <a:lnTo>
                  <a:pt x="84" y="168"/>
                </a:lnTo>
                <a:lnTo>
                  <a:pt x="84" y="168"/>
                </a:lnTo>
                <a:lnTo>
                  <a:pt x="84" y="168"/>
                </a:lnTo>
                <a:lnTo>
                  <a:pt x="84" y="174"/>
                </a:lnTo>
                <a:lnTo>
                  <a:pt x="84" y="174"/>
                </a:lnTo>
                <a:lnTo>
                  <a:pt x="84" y="174"/>
                </a:lnTo>
                <a:lnTo>
                  <a:pt x="78" y="174"/>
                </a:lnTo>
                <a:lnTo>
                  <a:pt x="78" y="174"/>
                </a:lnTo>
                <a:lnTo>
                  <a:pt x="78" y="174"/>
                </a:lnTo>
                <a:lnTo>
                  <a:pt x="78" y="180"/>
                </a:lnTo>
                <a:lnTo>
                  <a:pt x="78" y="174"/>
                </a:lnTo>
                <a:lnTo>
                  <a:pt x="78" y="180"/>
                </a:lnTo>
                <a:lnTo>
                  <a:pt x="78" y="180"/>
                </a:lnTo>
                <a:lnTo>
                  <a:pt x="78" y="180"/>
                </a:lnTo>
                <a:lnTo>
                  <a:pt x="72" y="180"/>
                </a:lnTo>
                <a:lnTo>
                  <a:pt x="72" y="180"/>
                </a:lnTo>
                <a:lnTo>
                  <a:pt x="72" y="180"/>
                </a:lnTo>
                <a:lnTo>
                  <a:pt x="72" y="180"/>
                </a:lnTo>
                <a:lnTo>
                  <a:pt x="72" y="180"/>
                </a:lnTo>
                <a:lnTo>
                  <a:pt x="72" y="180"/>
                </a:lnTo>
                <a:lnTo>
                  <a:pt x="72" y="180"/>
                </a:lnTo>
                <a:lnTo>
                  <a:pt x="72" y="180"/>
                </a:lnTo>
                <a:lnTo>
                  <a:pt x="72" y="186"/>
                </a:lnTo>
                <a:lnTo>
                  <a:pt x="72" y="186"/>
                </a:lnTo>
                <a:lnTo>
                  <a:pt x="66" y="186"/>
                </a:lnTo>
                <a:lnTo>
                  <a:pt x="66" y="180"/>
                </a:lnTo>
                <a:lnTo>
                  <a:pt x="66" y="180"/>
                </a:lnTo>
                <a:lnTo>
                  <a:pt x="66" y="180"/>
                </a:lnTo>
                <a:lnTo>
                  <a:pt x="66" y="186"/>
                </a:lnTo>
                <a:lnTo>
                  <a:pt x="60" y="180"/>
                </a:lnTo>
                <a:lnTo>
                  <a:pt x="60" y="180"/>
                </a:lnTo>
                <a:lnTo>
                  <a:pt x="60" y="186"/>
                </a:lnTo>
                <a:lnTo>
                  <a:pt x="60" y="186"/>
                </a:lnTo>
                <a:lnTo>
                  <a:pt x="60" y="186"/>
                </a:lnTo>
                <a:lnTo>
                  <a:pt x="60" y="186"/>
                </a:lnTo>
                <a:lnTo>
                  <a:pt x="60" y="186"/>
                </a:lnTo>
                <a:lnTo>
                  <a:pt x="60" y="186"/>
                </a:lnTo>
                <a:lnTo>
                  <a:pt x="60" y="186"/>
                </a:lnTo>
                <a:lnTo>
                  <a:pt x="54" y="186"/>
                </a:lnTo>
                <a:lnTo>
                  <a:pt x="54" y="186"/>
                </a:lnTo>
                <a:lnTo>
                  <a:pt x="54" y="186"/>
                </a:lnTo>
                <a:lnTo>
                  <a:pt x="54" y="186"/>
                </a:lnTo>
                <a:lnTo>
                  <a:pt x="54" y="186"/>
                </a:lnTo>
                <a:lnTo>
                  <a:pt x="54" y="186"/>
                </a:lnTo>
                <a:lnTo>
                  <a:pt x="54" y="186"/>
                </a:lnTo>
                <a:lnTo>
                  <a:pt x="54" y="186"/>
                </a:lnTo>
                <a:lnTo>
                  <a:pt x="54" y="186"/>
                </a:lnTo>
                <a:lnTo>
                  <a:pt x="48" y="186"/>
                </a:lnTo>
                <a:lnTo>
                  <a:pt x="48" y="186"/>
                </a:lnTo>
                <a:lnTo>
                  <a:pt x="48" y="186"/>
                </a:lnTo>
                <a:lnTo>
                  <a:pt x="48" y="186"/>
                </a:lnTo>
                <a:lnTo>
                  <a:pt x="48" y="186"/>
                </a:lnTo>
                <a:lnTo>
                  <a:pt x="48" y="186"/>
                </a:lnTo>
                <a:lnTo>
                  <a:pt x="42" y="186"/>
                </a:lnTo>
                <a:lnTo>
                  <a:pt x="42" y="186"/>
                </a:lnTo>
                <a:lnTo>
                  <a:pt x="42" y="186"/>
                </a:lnTo>
                <a:lnTo>
                  <a:pt x="42" y="186"/>
                </a:lnTo>
                <a:lnTo>
                  <a:pt x="42" y="186"/>
                </a:lnTo>
                <a:lnTo>
                  <a:pt x="42" y="186"/>
                </a:lnTo>
                <a:lnTo>
                  <a:pt x="42" y="186"/>
                </a:lnTo>
                <a:lnTo>
                  <a:pt x="42" y="186"/>
                </a:lnTo>
                <a:lnTo>
                  <a:pt x="36" y="186"/>
                </a:lnTo>
                <a:lnTo>
                  <a:pt x="36" y="186"/>
                </a:lnTo>
                <a:lnTo>
                  <a:pt x="36" y="186"/>
                </a:lnTo>
                <a:lnTo>
                  <a:pt x="36" y="186"/>
                </a:lnTo>
                <a:lnTo>
                  <a:pt x="36" y="192"/>
                </a:lnTo>
                <a:lnTo>
                  <a:pt x="36" y="192"/>
                </a:lnTo>
                <a:lnTo>
                  <a:pt x="36" y="192"/>
                </a:lnTo>
                <a:lnTo>
                  <a:pt x="30" y="192"/>
                </a:lnTo>
                <a:lnTo>
                  <a:pt x="30" y="192"/>
                </a:lnTo>
                <a:lnTo>
                  <a:pt x="30" y="186"/>
                </a:lnTo>
                <a:lnTo>
                  <a:pt x="30" y="186"/>
                </a:lnTo>
                <a:lnTo>
                  <a:pt x="30" y="186"/>
                </a:lnTo>
                <a:lnTo>
                  <a:pt x="30" y="186"/>
                </a:lnTo>
                <a:lnTo>
                  <a:pt x="24" y="186"/>
                </a:lnTo>
                <a:lnTo>
                  <a:pt x="24" y="186"/>
                </a:lnTo>
                <a:lnTo>
                  <a:pt x="24" y="180"/>
                </a:lnTo>
                <a:lnTo>
                  <a:pt x="24" y="180"/>
                </a:lnTo>
                <a:lnTo>
                  <a:pt x="24" y="180"/>
                </a:lnTo>
                <a:lnTo>
                  <a:pt x="24" y="180"/>
                </a:lnTo>
                <a:lnTo>
                  <a:pt x="18" y="180"/>
                </a:lnTo>
                <a:lnTo>
                  <a:pt x="18" y="180"/>
                </a:lnTo>
                <a:lnTo>
                  <a:pt x="18" y="186"/>
                </a:lnTo>
                <a:lnTo>
                  <a:pt x="18" y="186"/>
                </a:lnTo>
                <a:lnTo>
                  <a:pt x="18" y="186"/>
                </a:lnTo>
                <a:lnTo>
                  <a:pt x="18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8" y="180"/>
                </a:lnTo>
                <a:lnTo>
                  <a:pt x="18" y="180"/>
                </a:lnTo>
                <a:lnTo>
                  <a:pt x="18" y="180"/>
                </a:lnTo>
                <a:lnTo>
                  <a:pt x="18" y="180"/>
                </a:lnTo>
                <a:lnTo>
                  <a:pt x="18" y="180"/>
                </a:lnTo>
                <a:lnTo>
                  <a:pt x="18" y="180"/>
                </a:lnTo>
                <a:lnTo>
                  <a:pt x="18" y="180"/>
                </a:lnTo>
                <a:lnTo>
                  <a:pt x="18" y="180"/>
                </a:lnTo>
                <a:lnTo>
                  <a:pt x="12" y="180"/>
                </a:lnTo>
                <a:lnTo>
                  <a:pt x="12" y="180"/>
                </a:lnTo>
                <a:lnTo>
                  <a:pt x="12" y="180"/>
                </a:lnTo>
                <a:lnTo>
                  <a:pt x="12" y="180"/>
                </a:lnTo>
                <a:lnTo>
                  <a:pt x="12" y="174"/>
                </a:lnTo>
                <a:lnTo>
                  <a:pt x="12" y="174"/>
                </a:lnTo>
                <a:lnTo>
                  <a:pt x="12" y="174"/>
                </a:lnTo>
                <a:lnTo>
                  <a:pt x="12" y="174"/>
                </a:lnTo>
                <a:lnTo>
                  <a:pt x="12" y="174"/>
                </a:lnTo>
                <a:lnTo>
                  <a:pt x="12" y="174"/>
                </a:lnTo>
                <a:lnTo>
                  <a:pt x="12" y="174"/>
                </a:lnTo>
                <a:lnTo>
                  <a:pt x="12" y="174"/>
                </a:lnTo>
                <a:lnTo>
                  <a:pt x="18" y="174"/>
                </a:lnTo>
                <a:lnTo>
                  <a:pt x="18" y="174"/>
                </a:lnTo>
                <a:lnTo>
                  <a:pt x="18" y="168"/>
                </a:lnTo>
                <a:lnTo>
                  <a:pt x="12" y="168"/>
                </a:lnTo>
                <a:lnTo>
                  <a:pt x="12" y="168"/>
                </a:lnTo>
                <a:lnTo>
                  <a:pt x="18" y="162"/>
                </a:lnTo>
                <a:lnTo>
                  <a:pt x="12" y="162"/>
                </a:lnTo>
                <a:lnTo>
                  <a:pt x="18" y="162"/>
                </a:lnTo>
                <a:lnTo>
                  <a:pt x="18" y="162"/>
                </a:lnTo>
                <a:lnTo>
                  <a:pt x="18" y="162"/>
                </a:lnTo>
                <a:lnTo>
                  <a:pt x="12" y="156"/>
                </a:lnTo>
                <a:lnTo>
                  <a:pt x="18" y="156"/>
                </a:lnTo>
                <a:lnTo>
                  <a:pt x="18" y="156"/>
                </a:lnTo>
                <a:lnTo>
                  <a:pt x="12" y="150"/>
                </a:lnTo>
                <a:lnTo>
                  <a:pt x="12" y="150"/>
                </a:lnTo>
                <a:lnTo>
                  <a:pt x="12" y="150"/>
                </a:lnTo>
                <a:lnTo>
                  <a:pt x="12" y="150"/>
                </a:lnTo>
                <a:lnTo>
                  <a:pt x="12" y="150"/>
                </a:lnTo>
                <a:lnTo>
                  <a:pt x="12" y="144"/>
                </a:lnTo>
                <a:lnTo>
                  <a:pt x="12" y="144"/>
                </a:lnTo>
                <a:lnTo>
                  <a:pt x="12" y="144"/>
                </a:lnTo>
                <a:lnTo>
                  <a:pt x="12" y="144"/>
                </a:lnTo>
                <a:lnTo>
                  <a:pt x="12" y="144"/>
                </a:lnTo>
                <a:lnTo>
                  <a:pt x="12" y="144"/>
                </a:lnTo>
                <a:lnTo>
                  <a:pt x="12" y="144"/>
                </a:lnTo>
                <a:lnTo>
                  <a:pt x="12" y="144"/>
                </a:lnTo>
                <a:lnTo>
                  <a:pt x="0" y="11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40" name="Freeform 273"/>
          <p:cNvSpPr>
            <a:spLocks/>
          </p:cNvSpPr>
          <p:nvPr/>
        </p:nvSpPr>
        <p:spPr bwMode="auto">
          <a:xfrm>
            <a:off x="7719101" y="3948705"/>
            <a:ext cx="134905" cy="128482"/>
          </a:xfrm>
          <a:custGeom>
            <a:avLst/>
            <a:gdLst>
              <a:gd name="T0" fmla="*/ 6 w 126"/>
              <a:gd name="T1" fmla="*/ 96 h 120"/>
              <a:gd name="T2" fmla="*/ 12 w 126"/>
              <a:gd name="T3" fmla="*/ 90 h 120"/>
              <a:gd name="T4" fmla="*/ 18 w 126"/>
              <a:gd name="T5" fmla="*/ 84 h 120"/>
              <a:gd name="T6" fmla="*/ 18 w 126"/>
              <a:gd name="T7" fmla="*/ 78 h 120"/>
              <a:gd name="T8" fmla="*/ 24 w 126"/>
              <a:gd name="T9" fmla="*/ 72 h 120"/>
              <a:gd name="T10" fmla="*/ 24 w 126"/>
              <a:gd name="T11" fmla="*/ 66 h 120"/>
              <a:gd name="T12" fmla="*/ 30 w 126"/>
              <a:gd name="T13" fmla="*/ 60 h 120"/>
              <a:gd name="T14" fmla="*/ 36 w 126"/>
              <a:gd name="T15" fmla="*/ 54 h 120"/>
              <a:gd name="T16" fmla="*/ 36 w 126"/>
              <a:gd name="T17" fmla="*/ 48 h 120"/>
              <a:gd name="T18" fmla="*/ 36 w 126"/>
              <a:gd name="T19" fmla="*/ 42 h 120"/>
              <a:gd name="T20" fmla="*/ 42 w 126"/>
              <a:gd name="T21" fmla="*/ 36 h 120"/>
              <a:gd name="T22" fmla="*/ 48 w 126"/>
              <a:gd name="T23" fmla="*/ 30 h 120"/>
              <a:gd name="T24" fmla="*/ 48 w 126"/>
              <a:gd name="T25" fmla="*/ 24 h 120"/>
              <a:gd name="T26" fmla="*/ 54 w 126"/>
              <a:gd name="T27" fmla="*/ 18 h 120"/>
              <a:gd name="T28" fmla="*/ 54 w 126"/>
              <a:gd name="T29" fmla="*/ 18 h 120"/>
              <a:gd name="T30" fmla="*/ 60 w 126"/>
              <a:gd name="T31" fmla="*/ 18 h 120"/>
              <a:gd name="T32" fmla="*/ 66 w 126"/>
              <a:gd name="T33" fmla="*/ 12 h 120"/>
              <a:gd name="T34" fmla="*/ 72 w 126"/>
              <a:gd name="T35" fmla="*/ 6 h 120"/>
              <a:gd name="T36" fmla="*/ 72 w 126"/>
              <a:gd name="T37" fmla="*/ 0 h 120"/>
              <a:gd name="T38" fmla="*/ 78 w 126"/>
              <a:gd name="T39" fmla="*/ 6 h 120"/>
              <a:gd name="T40" fmla="*/ 84 w 126"/>
              <a:gd name="T41" fmla="*/ 12 h 120"/>
              <a:gd name="T42" fmla="*/ 90 w 126"/>
              <a:gd name="T43" fmla="*/ 12 h 120"/>
              <a:gd name="T44" fmla="*/ 102 w 126"/>
              <a:gd name="T45" fmla="*/ 18 h 120"/>
              <a:gd name="T46" fmla="*/ 108 w 126"/>
              <a:gd name="T47" fmla="*/ 18 h 120"/>
              <a:gd name="T48" fmla="*/ 114 w 126"/>
              <a:gd name="T49" fmla="*/ 18 h 120"/>
              <a:gd name="T50" fmla="*/ 120 w 126"/>
              <a:gd name="T51" fmla="*/ 12 h 120"/>
              <a:gd name="T52" fmla="*/ 126 w 126"/>
              <a:gd name="T53" fmla="*/ 12 h 120"/>
              <a:gd name="T54" fmla="*/ 126 w 126"/>
              <a:gd name="T55" fmla="*/ 18 h 120"/>
              <a:gd name="T56" fmla="*/ 120 w 126"/>
              <a:gd name="T57" fmla="*/ 24 h 120"/>
              <a:gd name="T58" fmla="*/ 126 w 126"/>
              <a:gd name="T59" fmla="*/ 30 h 120"/>
              <a:gd name="T60" fmla="*/ 126 w 126"/>
              <a:gd name="T61" fmla="*/ 30 h 120"/>
              <a:gd name="T62" fmla="*/ 120 w 126"/>
              <a:gd name="T63" fmla="*/ 36 h 120"/>
              <a:gd name="T64" fmla="*/ 120 w 126"/>
              <a:gd name="T65" fmla="*/ 42 h 120"/>
              <a:gd name="T66" fmla="*/ 120 w 126"/>
              <a:gd name="T67" fmla="*/ 42 h 120"/>
              <a:gd name="T68" fmla="*/ 120 w 126"/>
              <a:gd name="T69" fmla="*/ 48 h 120"/>
              <a:gd name="T70" fmla="*/ 114 w 126"/>
              <a:gd name="T71" fmla="*/ 48 h 120"/>
              <a:gd name="T72" fmla="*/ 108 w 126"/>
              <a:gd name="T73" fmla="*/ 54 h 120"/>
              <a:gd name="T74" fmla="*/ 108 w 126"/>
              <a:gd name="T75" fmla="*/ 60 h 120"/>
              <a:gd name="T76" fmla="*/ 102 w 126"/>
              <a:gd name="T77" fmla="*/ 66 h 120"/>
              <a:gd name="T78" fmla="*/ 96 w 126"/>
              <a:gd name="T79" fmla="*/ 66 h 120"/>
              <a:gd name="T80" fmla="*/ 84 w 126"/>
              <a:gd name="T81" fmla="*/ 72 h 120"/>
              <a:gd name="T82" fmla="*/ 84 w 126"/>
              <a:gd name="T83" fmla="*/ 72 h 120"/>
              <a:gd name="T84" fmla="*/ 84 w 126"/>
              <a:gd name="T85" fmla="*/ 78 h 120"/>
              <a:gd name="T86" fmla="*/ 90 w 126"/>
              <a:gd name="T87" fmla="*/ 78 h 120"/>
              <a:gd name="T88" fmla="*/ 84 w 126"/>
              <a:gd name="T89" fmla="*/ 84 h 120"/>
              <a:gd name="T90" fmla="*/ 84 w 126"/>
              <a:gd name="T91" fmla="*/ 90 h 120"/>
              <a:gd name="T92" fmla="*/ 78 w 126"/>
              <a:gd name="T93" fmla="*/ 96 h 120"/>
              <a:gd name="T94" fmla="*/ 78 w 126"/>
              <a:gd name="T95" fmla="*/ 96 h 120"/>
              <a:gd name="T96" fmla="*/ 78 w 126"/>
              <a:gd name="T97" fmla="*/ 108 h 120"/>
              <a:gd name="T98" fmla="*/ 72 w 126"/>
              <a:gd name="T99" fmla="*/ 114 h 120"/>
              <a:gd name="T100" fmla="*/ 72 w 126"/>
              <a:gd name="T101" fmla="*/ 120 h 120"/>
              <a:gd name="T102" fmla="*/ 66 w 126"/>
              <a:gd name="T103" fmla="*/ 120 h 120"/>
              <a:gd name="T104" fmla="*/ 60 w 126"/>
              <a:gd name="T105" fmla="*/ 120 h 120"/>
              <a:gd name="T106" fmla="*/ 54 w 126"/>
              <a:gd name="T107" fmla="*/ 114 h 120"/>
              <a:gd name="T108" fmla="*/ 48 w 126"/>
              <a:gd name="T109" fmla="*/ 114 h 120"/>
              <a:gd name="T110" fmla="*/ 42 w 126"/>
              <a:gd name="T111" fmla="*/ 108 h 120"/>
              <a:gd name="T112" fmla="*/ 30 w 126"/>
              <a:gd name="T113" fmla="*/ 108 h 120"/>
              <a:gd name="T114" fmla="*/ 30 w 126"/>
              <a:gd name="T115" fmla="*/ 102 h 120"/>
              <a:gd name="T116" fmla="*/ 30 w 126"/>
              <a:gd name="T117" fmla="*/ 108 h 120"/>
              <a:gd name="T118" fmla="*/ 18 w 126"/>
              <a:gd name="T119" fmla="*/ 108 h 120"/>
              <a:gd name="T120" fmla="*/ 12 w 126"/>
              <a:gd name="T121" fmla="*/ 108 h 120"/>
              <a:gd name="T122" fmla="*/ 6 w 126"/>
              <a:gd name="T123" fmla="*/ 108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26" h="120">
                <a:moveTo>
                  <a:pt x="0" y="102"/>
                </a:move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12" y="96"/>
                </a:lnTo>
                <a:lnTo>
                  <a:pt x="12" y="96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66"/>
                </a:lnTo>
                <a:lnTo>
                  <a:pt x="24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42" y="42"/>
                </a:lnTo>
                <a:lnTo>
                  <a:pt x="36" y="42"/>
                </a:lnTo>
                <a:lnTo>
                  <a:pt x="36" y="42"/>
                </a:lnTo>
                <a:lnTo>
                  <a:pt x="42" y="42"/>
                </a:lnTo>
                <a:lnTo>
                  <a:pt x="36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8" y="36"/>
                </a:lnTo>
                <a:lnTo>
                  <a:pt x="48" y="36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24"/>
                </a:lnTo>
                <a:lnTo>
                  <a:pt x="48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0"/>
                </a:lnTo>
                <a:lnTo>
                  <a:pt x="72" y="0"/>
                </a:lnTo>
                <a:lnTo>
                  <a:pt x="78" y="0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84" y="6"/>
                </a:lnTo>
                <a:lnTo>
                  <a:pt x="84" y="6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6" y="12"/>
                </a:lnTo>
                <a:lnTo>
                  <a:pt x="96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14" y="24"/>
                </a:lnTo>
                <a:lnTo>
                  <a:pt x="114" y="18"/>
                </a:lnTo>
                <a:lnTo>
                  <a:pt x="114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6" y="12"/>
                </a:lnTo>
                <a:lnTo>
                  <a:pt x="126" y="6"/>
                </a:lnTo>
                <a:lnTo>
                  <a:pt x="126" y="6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14" y="42"/>
                </a:lnTo>
                <a:lnTo>
                  <a:pt x="114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84"/>
                </a:lnTo>
                <a:lnTo>
                  <a:pt x="90" y="78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78" y="90"/>
                </a:lnTo>
                <a:lnTo>
                  <a:pt x="78" y="90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2" y="102"/>
                </a:lnTo>
                <a:lnTo>
                  <a:pt x="78" y="102"/>
                </a:lnTo>
                <a:lnTo>
                  <a:pt x="72" y="102"/>
                </a:lnTo>
                <a:lnTo>
                  <a:pt x="72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2" y="108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54" y="114"/>
                </a:lnTo>
                <a:lnTo>
                  <a:pt x="54" y="114"/>
                </a:lnTo>
                <a:lnTo>
                  <a:pt x="48" y="114"/>
                </a:lnTo>
                <a:lnTo>
                  <a:pt x="48" y="114"/>
                </a:lnTo>
                <a:lnTo>
                  <a:pt x="48" y="114"/>
                </a:lnTo>
                <a:lnTo>
                  <a:pt x="48" y="114"/>
                </a:lnTo>
                <a:lnTo>
                  <a:pt x="48" y="114"/>
                </a:lnTo>
                <a:lnTo>
                  <a:pt x="48" y="108"/>
                </a:lnTo>
                <a:lnTo>
                  <a:pt x="48" y="108"/>
                </a:lnTo>
                <a:lnTo>
                  <a:pt x="42" y="108"/>
                </a:lnTo>
                <a:lnTo>
                  <a:pt x="42" y="114"/>
                </a:lnTo>
                <a:lnTo>
                  <a:pt x="42" y="114"/>
                </a:lnTo>
                <a:lnTo>
                  <a:pt x="42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8"/>
                </a:lnTo>
                <a:lnTo>
                  <a:pt x="24" y="102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2" y="102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6" y="108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0" y="10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41" name="Freeform 274"/>
          <p:cNvSpPr>
            <a:spLocks/>
          </p:cNvSpPr>
          <p:nvPr/>
        </p:nvSpPr>
        <p:spPr bwMode="auto">
          <a:xfrm>
            <a:off x="7423595" y="3698166"/>
            <a:ext cx="199146" cy="154178"/>
          </a:xfrm>
          <a:custGeom>
            <a:avLst/>
            <a:gdLst>
              <a:gd name="T0" fmla="*/ 12 w 186"/>
              <a:gd name="T1" fmla="*/ 108 h 144"/>
              <a:gd name="T2" fmla="*/ 18 w 186"/>
              <a:gd name="T3" fmla="*/ 90 h 144"/>
              <a:gd name="T4" fmla="*/ 24 w 186"/>
              <a:gd name="T5" fmla="*/ 78 h 144"/>
              <a:gd name="T6" fmla="*/ 24 w 186"/>
              <a:gd name="T7" fmla="*/ 78 h 144"/>
              <a:gd name="T8" fmla="*/ 36 w 186"/>
              <a:gd name="T9" fmla="*/ 78 h 144"/>
              <a:gd name="T10" fmla="*/ 48 w 186"/>
              <a:gd name="T11" fmla="*/ 72 h 144"/>
              <a:gd name="T12" fmla="*/ 60 w 186"/>
              <a:gd name="T13" fmla="*/ 66 h 144"/>
              <a:gd name="T14" fmla="*/ 66 w 186"/>
              <a:gd name="T15" fmla="*/ 60 h 144"/>
              <a:gd name="T16" fmla="*/ 78 w 186"/>
              <a:gd name="T17" fmla="*/ 54 h 144"/>
              <a:gd name="T18" fmla="*/ 90 w 186"/>
              <a:gd name="T19" fmla="*/ 42 h 144"/>
              <a:gd name="T20" fmla="*/ 96 w 186"/>
              <a:gd name="T21" fmla="*/ 42 h 144"/>
              <a:gd name="T22" fmla="*/ 108 w 186"/>
              <a:gd name="T23" fmla="*/ 36 h 144"/>
              <a:gd name="T24" fmla="*/ 114 w 186"/>
              <a:gd name="T25" fmla="*/ 36 h 144"/>
              <a:gd name="T26" fmla="*/ 120 w 186"/>
              <a:gd name="T27" fmla="*/ 36 h 144"/>
              <a:gd name="T28" fmla="*/ 126 w 186"/>
              <a:gd name="T29" fmla="*/ 30 h 144"/>
              <a:gd name="T30" fmla="*/ 120 w 186"/>
              <a:gd name="T31" fmla="*/ 24 h 144"/>
              <a:gd name="T32" fmla="*/ 120 w 186"/>
              <a:gd name="T33" fmla="*/ 24 h 144"/>
              <a:gd name="T34" fmla="*/ 120 w 186"/>
              <a:gd name="T35" fmla="*/ 18 h 144"/>
              <a:gd name="T36" fmla="*/ 120 w 186"/>
              <a:gd name="T37" fmla="*/ 18 h 144"/>
              <a:gd name="T38" fmla="*/ 120 w 186"/>
              <a:gd name="T39" fmla="*/ 12 h 144"/>
              <a:gd name="T40" fmla="*/ 120 w 186"/>
              <a:gd name="T41" fmla="*/ 6 h 144"/>
              <a:gd name="T42" fmla="*/ 126 w 186"/>
              <a:gd name="T43" fmla="*/ 0 h 144"/>
              <a:gd name="T44" fmla="*/ 138 w 186"/>
              <a:gd name="T45" fmla="*/ 12 h 144"/>
              <a:gd name="T46" fmla="*/ 144 w 186"/>
              <a:gd name="T47" fmla="*/ 30 h 144"/>
              <a:gd name="T48" fmla="*/ 150 w 186"/>
              <a:gd name="T49" fmla="*/ 36 h 144"/>
              <a:gd name="T50" fmla="*/ 150 w 186"/>
              <a:gd name="T51" fmla="*/ 48 h 144"/>
              <a:gd name="T52" fmla="*/ 156 w 186"/>
              <a:gd name="T53" fmla="*/ 54 h 144"/>
              <a:gd name="T54" fmla="*/ 162 w 186"/>
              <a:gd name="T55" fmla="*/ 54 h 144"/>
              <a:gd name="T56" fmla="*/ 174 w 186"/>
              <a:gd name="T57" fmla="*/ 66 h 144"/>
              <a:gd name="T58" fmla="*/ 180 w 186"/>
              <a:gd name="T59" fmla="*/ 72 h 144"/>
              <a:gd name="T60" fmla="*/ 180 w 186"/>
              <a:gd name="T61" fmla="*/ 78 h 144"/>
              <a:gd name="T62" fmla="*/ 180 w 186"/>
              <a:gd name="T63" fmla="*/ 90 h 144"/>
              <a:gd name="T64" fmla="*/ 180 w 186"/>
              <a:gd name="T65" fmla="*/ 96 h 144"/>
              <a:gd name="T66" fmla="*/ 186 w 186"/>
              <a:gd name="T67" fmla="*/ 102 h 144"/>
              <a:gd name="T68" fmla="*/ 180 w 186"/>
              <a:gd name="T69" fmla="*/ 114 h 144"/>
              <a:gd name="T70" fmla="*/ 174 w 186"/>
              <a:gd name="T71" fmla="*/ 114 h 144"/>
              <a:gd name="T72" fmla="*/ 168 w 186"/>
              <a:gd name="T73" fmla="*/ 120 h 144"/>
              <a:gd name="T74" fmla="*/ 162 w 186"/>
              <a:gd name="T75" fmla="*/ 126 h 144"/>
              <a:gd name="T76" fmla="*/ 150 w 186"/>
              <a:gd name="T77" fmla="*/ 120 h 144"/>
              <a:gd name="T78" fmla="*/ 144 w 186"/>
              <a:gd name="T79" fmla="*/ 126 h 144"/>
              <a:gd name="T80" fmla="*/ 138 w 186"/>
              <a:gd name="T81" fmla="*/ 126 h 144"/>
              <a:gd name="T82" fmla="*/ 132 w 186"/>
              <a:gd name="T83" fmla="*/ 126 h 144"/>
              <a:gd name="T84" fmla="*/ 126 w 186"/>
              <a:gd name="T85" fmla="*/ 120 h 144"/>
              <a:gd name="T86" fmla="*/ 126 w 186"/>
              <a:gd name="T87" fmla="*/ 120 h 144"/>
              <a:gd name="T88" fmla="*/ 120 w 186"/>
              <a:gd name="T89" fmla="*/ 114 h 144"/>
              <a:gd name="T90" fmla="*/ 114 w 186"/>
              <a:gd name="T91" fmla="*/ 120 h 144"/>
              <a:gd name="T92" fmla="*/ 102 w 186"/>
              <a:gd name="T93" fmla="*/ 132 h 144"/>
              <a:gd name="T94" fmla="*/ 90 w 186"/>
              <a:gd name="T95" fmla="*/ 132 h 144"/>
              <a:gd name="T96" fmla="*/ 84 w 186"/>
              <a:gd name="T97" fmla="*/ 126 h 144"/>
              <a:gd name="T98" fmla="*/ 78 w 186"/>
              <a:gd name="T99" fmla="*/ 126 h 144"/>
              <a:gd name="T100" fmla="*/ 66 w 186"/>
              <a:gd name="T101" fmla="*/ 126 h 144"/>
              <a:gd name="T102" fmla="*/ 66 w 186"/>
              <a:gd name="T103" fmla="*/ 132 h 144"/>
              <a:gd name="T104" fmla="*/ 54 w 186"/>
              <a:gd name="T105" fmla="*/ 132 h 144"/>
              <a:gd name="T106" fmla="*/ 54 w 186"/>
              <a:gd name="T107" fmla="*/ 132 h 144"/>
              <a:gd name="T108" fmla="*/ 48 w 186"/>
              <a:gd name="T109" fmla="*/ 132 h 144"/>
              <a:gd name="T110" fmla="*/ 36 w 186"/>
              <a:gd name="T111" fmla="*/ 138 h 144"/>
              <a:gd name="T112" fmla="*/ 30 w 186"/>
              <a:gd name="T113" fmla="*/ 138 h 144"/>
              <a:gd name="T114" fmla="*/ 24 w 186"/>
              <a:gd name="T115" fmla="*/ 132 h 144"/>
              <a:gd name="T116" fmla="*/ 12 w 186"/>
              <a:gd name="T117" fmla="*/ 120 h 144"/>
              <a:gd name="T118" fmla="*/ 6 w 186"/>
              <a:gd name="T119" fmla="*/ 114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86" h="144">
                <a:moveTo>
                  <a:pt x="0" y="114"/>
                </a:moveTo>
                <a:lnTo>
                  <a:pt x="0" y="114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96"/>
                </a:lnTo>
                <a:lnTo>
                  <a:pt x="12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42" y="78"/>
                </a:lnTo>
                <a:lnTo>
                  <a:pt x="42" y="78"/>
                </a:lnTo>
                <a:lnTo>
                  <a:pt x="42" y="72"/>
                </a:lnTo>
                <a:lnTo>
                  <a:pt x="42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90" y="48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8" y="42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42"/>
                </a:lnTo>
                <a:lnTo>
                  <a:pt x="114" y="42"/>
                </a:lnTo>
                <a:lnTo>
                  <a:pt x="120" y="42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14" y="6"/>
                </a:lnTo>
                <a:lnTo>
                  <a:pt x="120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0"/>
                </a:lnTo>
                <a:lnTo>
                  <a:pt x="120" y="0"/>
                </a:lnTo>
                <a:lnTo>
                  <a:pt x="126" y="0"/>
                </a:lnTo>
                <a:lnTo>
                  <a:pt x="126" y="0"/>
                </a:lnTo>
                <a:lnTo>
                  <a:pt x="126" y="0"/>
                </a:lnTo>
                <a:lnTo>
                  <a:pt x="126" y="0"/>
                </a:lnTo>
                <a:lnTo>
                  <a:pt x="126" y="0"/>
                </a:lnTo>
                <a:lnTo>
                  <a:pt x="126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12"/>
                </a:lnTo>
                <a:lnTo>
                  <a:pt x="132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8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50" y="30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42"/>
                </a:lnTo>
                <a:lnTo>
                  <a:pt x="156" y="48"/>
                </a:lnTo>
                <a:lnTo>
                  <a:pt x="156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54"/>
                </a:lnTo>
                <a:lnTo>
                  <a:pt x="150" y="54"/>
                </a:lnTo>
                <a:lnTo>
                  <a:pt x="150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62" y="54"/>
                </a:lnTo>
                <a:lnTo>
                  <a:pt x="162" y="54"/>
                </a:lnTo>
                <a:lnTo>
                  <a:pt x="162" y="54"/>
                </a:lnTo>
                <a:lnTo>
                  <a:pt x="162" y="54"/>
                </a:lnTo>
                <a:lnTo>
                  <a:pt x="162" y="54"/>
                </a:lnTo>
                <a:lnTo>
                  <a:pt x="162" y="54"/>
                </a:lnTo>
                <a:lnTo>
                  <a:pt x="162" y="60"/>
                </a:lnTo>
                <a:lnTo>
                  <a:pt x="168" y="60"/>
                </a:lnTo>
                <a:lnTo>
                  <a:pt x="168" y="60"/>
                </a:lnTo>
                <a:lnTo>
                  <a:pt x="168" y="66"/>
                </a:lnTo>
                <a:lnTo>
                  <a:pt x="168" y="60"/>
                </a:lnTo>
                <a:lnTo>
                  <a:pt x="168" y="66"/>
                </a:lnTo>
                <a:lnTo>
                  <a:pt x="168" y="66"/>
                </a:lnTo>
                <a:lnTo>
                  <a:pt x="174" y="66"/>
                </a:lnTo>
                <a:lnTo>
                  <a:pt x="174" y="66"/>
                </a:lnTo>
                <a:lnTo>
                  <a:pt x="174" y="66"/>
                </a:lnTo>
                <a:lnTo>
                  <a:pt x="174" y="66"/>
                </a:lnTo>
                <a:lnTo>
                  <a:pt x="174" y="72"/>
                </a:lnTo>
                <a:lnTo>
                  <a:pt x="174" y="72"/>
                </a:lnTo>
                <a:lnTo>
                  <a:pt x="174" y="72"/>
                </a:lnTo>
                <a:lnTo>
                  <a:pt x="180" y="72"/>
                </a:lnTo>
                <a:lnTo>
                  <a:pt x="180" y="72"/>
                </a:lnTo>
                <a:lnTo>
                  <a:pt x="180" y="72"/>
                </a:lnTo>
                <a:lnTo>
                  <a:pt x="180" y="72"/>
                </a:lnTo>
                <a:lnTo>
                  <a:pt x="180" y="72"/>
                </a:lnTo>
                <a:lnTo>
                  <a:pt x="180" y="72"/>
                </a:lnTo>
                <a:lnTo>
                  <a:pt x="180" y="72"/>
                </a:lnTo>
                <a:lnTo>
                  <a:pt x="180" y="72"/>
                </a:lnTo>
                <a:lnTo>
                  <a:pt x="180" y="78"/>
                </a:lnTo>
                <a:lnTo>
                  <a:pt x="180" y="78"/>
                </a:lnTo>
                <a:lnTo>
                  <a:pt x="180" y="78"/>
                </a:lnTo>
                <a:lnTo>
                  <a:pt x="180" y="78"/>
                </a:lnTo>
                <a:lnTo>
                  <a:pt x="180" y="78"/>
                </a:lnTo>
                <a:lnTo>
                  <a:pt x="180" y="78"/>
                </a:lnTo>
                <a:lnTo>
                  <a:pt x="180" y="78"/>
                </a:lnTo>
                <a:lnTo>
                  <a:pt x="180" y="78"/>
                </a:lnTo>
                <a:lnTo>
                  <a:pt x="180" y="78"/>
                </a:lnTo>
                <a:lnTo>
                  <a:pt x="180" y="84"/>
                </a:lnTo>
                <a:lnTo>
                  <a:pt x="174" y="84"/>
                </a:lnTo>
                <a:lnTo>
                  <a:pt x="180" y="84"/>
                </a:lnTo>
                <a:lnTo>
                  <a:pt x="174" y="84"/>
                </a:lnTo>
                <a:lnTo>
                  <a:pt x="180" y="90"/>
                </a:lnTo>
                <a:lnTo>
                  <a:pt x="180" y="90"/>
                </a:lnTo>
                <a:lnTo>
                  <a:pt x="180" y="90"/>
                </a:lnTo>
                <a:lnTo>
                  <a:pt x="180" y="90"/>
                </a:lnTo>
                <a:lnTo>
                  <a:pt x="180" y="96"/>
                </a:lnTo>
                <a:lnTo>
                  <a:pt x="180" y="96"/>
                </a:lnTo>
                <a:lnTo>
                  <a:pt x="180" y="96"/>
                </a:lnTo>
                <a:lnTo>
                  <a:pt x="180" y="96"/>
                </a:lnTo>
                <a:lnTo>
                  <a:pt x="180" y="96"/>
                </a:lnTo>
                <a:lnTo>
                  <a:pt x="180" y="96"/>
                </a:lnTo>
                <a:lnTo>
                  <a:pt x="186" y="96"/>
                </a:lnTo>
                <a:lnTo>
                  <a:pt x="186" y="96"/>
                </a:lnTo>
                <a:lnTo>
                  <a:pt x="180" y="102"/>
                </a:lnTo>
                <a:lnTo>
                  <a:pt x="186" y="102"/>
                </a:lnTo>
                <a:lnTo>
                  <a:pt x="186" y="102"/>
                </a:lnTo>
                <a:lnTo>
                  <a:pt x="186" y="102"/>
                </a:lnTo>
                <a:lnTo>
                  <a:pt x="186" y="102"/>
                </a:lnTo>
                <a:lnTo>
                  <a:pt x="186" y="102"/>
                </a:lnTo>
                <a:lnTo>
                  <a:pt x="186" y="102"/>
                </a:lnTo>
                <a:lnTo>
                  <a:pt x="186" y="108"/>
                </a:lnTo>
                <a:lnTo>
                  <a:pt x="186" y="108"/>
                </a:lnTo>
                <a:lnTo>
                  <a:pt x="186" y="108"/>
                </a:lnTo>
                <a:lnTo>
                  <a:pt x="186" y="108"/>
                </a:lnTo>
                <a:lnTo>
                  <a:pt x="186" y="108"/>
                </a:lnTo>
                <a:lnTo>
                  <a:pt x="186" y="108"/>
                </a:lnTo>
                <a:lnTo>
                  <a:pt x="180" y="108"/>
                </a:lnTo>
                <a:lnTo>
                  <a:pt x="180" y="114"/>
                </a:lnTo>
                <a:lnTo>
                  <a:pt x="180" y="114"/>
                </a:lnTo>
                <a:lnTo>
                  <a:pt x="180" y="114"/>
                </a:lnTo>
                <a:lnTo>
                  <a:pt x="180" y="114"/>
                </a:lnTo>
                <a:lnTo>
                  <a:pt x="180" y="120"/>
                </a:lnTo>
                <a:lnTo>
                  <a:pt x="174" y="120"/>
                </a:lnTo>
                <a:lnTo>
                  <a:pt x="174" y="120"/>
                </a:lnTo>
                <a:lnTo>
                  <a:pt x="174" y="120"/>
                </a:lnTo>
                <a:lnTo>
                  <a:pt x="174" y="120"/>
                </a:lnTo>
                <a:lnTo>
                  <a:pt x="174" y="114"/>
                </a:lnTo>
                <a:lnTo>
                  <a:pt x="174" y="114"/>
                </a:lnTo>
                <a:lnTo>
                  <a:pt x="174" y="114"/>
                </a:lnTo>
                <a:lnTo>
                  <a:pt x="174" y="114"/>
                </a:lnTo>
                <a:lnTo>
                  <a:pt x="174" y="114"/>
                </a:lnTo>
                <a:lnTo>
                  <a:pt x="174" y="114"/>
                </a:lnTo>
                <a:lnTo>
                  <a:pt x="174" y="114"/>
                </a:lnTo>
                <a:lnTo>
                  <a:pt x="168" y="114"/>
                </a:lnTo>
                <a:lnTo>
                  <a:pt x="168" y="114"/>
                </a:lnTo>
                <a:lnTo>
                  <a:pt x="168" y="114"/>
                </a:lnTo>
                <a:lnTo>
                  <a:pt x="168" y="120"/>
                </a:lnTo>
                <a:lnTo>
                  <a:pt x="168" y="120"/>
                </a:lnTo>
                <a:lnTo>
                  <a:pt x="168" y="120"/>
                </a:lnTo>
                <a:lnTo>
                  <a:pt x="168" y="120"/>
                </a:lnTo>
                <a:lnTo>
                  <a:pt x="168" y="120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62" y="126"/>
                </a:lnTo>
                <a:lnTo>
                  <a:pt x="162" y="126"/>
                </a:lnTo>
                <a:lnTo>
                  <a:pt x="162" y="120"/>
                </a:lnTo>
                <a:lnTo>
                  <a:pt x="156" y="120"/>
                </a:lnTo>
                <a:lnTo>
                  <a:pt x="156" y="120"/>
                </a:lnTo>
                <a:lnTo>
                  <a:pt x="156" y="120"/>
                </a:lnTo>
                <a:lnTo>
                  <a:pt x="156" y="126"/>
                </a:lnTo>
                <a:lnTo>
                  <a:pt x="156" y="120"/>
                </a:lnTo>
                <a:lnTo>
                  <a:pt x="156" y="120"/>
                </a:lnTo>
                <a:lnTo>
                  <a:pt x="150" y="120"/>
                </a:lnTo>
                <a:lnTo>
                  <a:pt x="150" y="120"/>
                </a:lnTo>
                <a:lnTo>
                  <a:pt x="150" y="120"/>
                </a:lnTo>
                <a:lnTo>
                  <a:pt x="150" y="120"/>
                </a:lnTo>
                <a:lnTo>
                  <a:pt x="150" y="126"/>
                </a:lnTo>
                <a:lnTo>
                  <a:pt x="144" y="126"/>
                </a:lnTo>
                <a:lnTo>
                  <a:pt x="144" y="126"/>
                </a:lnTo>
                <a:lnTo>
                  <a:pt x="144" y="126"/>
                </a:lnTo>
                <a:lnTo>
                  <a:pt x="144" y="126"/>
                </a:lnTo>
                <a:lnTo>
                  <a:pt x="144" y="126"/>
                </a:lnTo>
                <a:lnTo>
                  <a:pt x="144" y="132"/>
                </a:lnTo>
                <a:lnTo>
                  <a:pt x="144" y="132"/>
                </a:lnTo>
                <a:lnTo>
                  <a:pt x="144" y="132"/>
                </a:lnTo>
                <a:lnTo>
                  <a:pt x="144" y="132"/>
                </a:lnTo>
                <a:lnTo>
                  <a:pt x="144" y="132"/>
                </a:lnTo>
                <a:lnTo>
                  <a:pt x="144" y="132"/>
                </a:lnTo>
                <a:lnTo>
                  <a:pt x="138" y="132"/>
                </a:lnTo>
                <a:lnTo>
                  <a:pt x="144" y="126"/>
                </a:lnTo>
                <a:lnTo>
                  <a:pt x="138" y="126"/>
                </a:lnTo>
                <a:lnTo>
                  <a:pt x="138" y="126"/>
                </a:lnTo>
                <a:lnTo>
                  <a:pt x="138" y="126"/>
                </a:lnTo>
                <a:lnTo>
                  <a:pt x="138" y="126"/>
                </a:lnTo>
                <a:lnTo>
                  <a:pt x="138" y="126"/>
                </a:lnTo>
                <a:lnTo>
                  <a:pt x="138" y="126"/>
                </a:lnTo>
                <a:lnTo>
                  <a:pt x="138" y="126"/>
                </a:lnTo>
                <a:lnTo>
                  <a:pt x="138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20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32" y="120"/>
                </a:lnTo>
                <a:lnTo>
                  <a:pt x="132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14"/>
                </a:lnTo>
                <a:lnTo>
                  <a:pt x="126" y="114"/>
                </a:lnTo>
                <a:lnTo>
                  <a:pt x="126" y="114"/>
                </a:lnTo>
                <a:lnTo>
                  <a:pt x="126" y="114"/>
                </a:lnTo>
                <a:lnTo>
                  <a:pt x="126" y="114"/>
                </a:lnTo>
                <a:lnTo>
                  <a:pt x="126" y="114"/>
                </a:lnTo>
                <a:lnTo>
                  <a:pt x="120" y="114"/>
                </a:lnTo>
                <a:lnTo>
                  <a:pt x="120" y="114"/>
                </a:lnTo>
                <a:lnTo>
                  <a:pt x="120" y="120"/>
                </a:lnTo>
                <a:lnTo>
                  <a:pt x="120" y="120"/>
                </a:lnTo>
                <a:lnTo>
                  <a:pt x="120" y="120"/>
                </a:lnTo>
                <a:lnTo>
                  <a:pt x="114" y="120"/>
                </a:lnTo>
                <a:lnTo>
                  <a:pt x="114" y="120"/>
                </a:lnTo>
                <a:lnTo>
                  <a:pt x="114" y="120"/>
                </a:lnTo>
                <a:lnTo>
                  <a:pt x="114" y="120"/>
                </a:lnTo>
                <a:lnTo>
                  <a:pt x="114" y="120"/>
                </a:lnTo>
                <a:lnTo>
                  <a:pt x="114" y="120"/>
                </a:lnTo>
                <a:lnTo>
                  <a:pt x="108" y="120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2" y="132"/>
                </a:lnTo>
                <a:lnTo>
                  <a:pt x="102" y="132"/>
                </a:lnTo>
                <a:lnTo>
                  <a:pt x="102" y="132"/>
                </a:lnTo>
                <a:lnTo>
                  <a:pt x="96" y="132"/>
                </a:lnTo>
                <a:lnTo>
                  <a:pt x="96" y="132"/>
                </a:lnTo>
                <a:lnTo>
                  <a:pt x="96" y="138"/>
                </a:lnTo>
                <a:lnTo>
                  <a:pt x="96" y="138"/>
                </a:lnTo>
                <a:lnTo>
                  <a:pt x="96" y="138"/>
                </a:lnTo>
                <a:lnTo>
                  <a:pt x="90" y="138"/>
                </a:lnTo>
                <a:lnTo>
                  <a:pt x="90" y="138"/>
                </a:lnTo>
                <a:lnTo>
                  <a:pt x="90" y="138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78" y="126"/>
                </a:lnTo>
                <a:lnTo>
                  <a:pt x="78" y="126"/>
                </a:lnTo>
                <a:lnTo>
                  <a:pt x="78" y="126"/>
                </a:lnTo>
                <a:lnTo>
                  <a:pt x="78" y="126"/>
                </a:lnTo>
                <a:lnTo>
                  <a:pt x="78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66" y="126"/>
                </a:lnTo>
                <a:lnTo>
                  <a:pt x="66" y="126"/>
                </a:lnTo>
                <a:lnTo>
                  <a:pt x="66" y="126"/>
                </a:lnTo>
                <a:lnTo>
                  <a:pt x="66" y="126"/>
                </a:lnTo>
                <a:lnTo>
                  <a:pt x="66" y="126"/>
                </a:lnTo>
                <a:lnTo>
                  <a:pt x="66" y="126"/>
                </a:lnTo>
                <a:lnTo>
                  <a:pt x="66" y="126"/>
                </a:lnTo>
                <a:lnTo>
                  <a:pt x="60" y="126"/>
                </a:lnTo>
                <a:lnTo>
                  <a:pt x="66" y="132"/>
                </a:lnTo>
                <a:lnTo>
                  <a:pt x="66" y="132"/>
                </a:lnTo>
                <a:lnTo>
                  <a:pt x="66" y="132"/>
                </a:lnTo>
                <a:lnTo>
                  <a:pt x="60" y="132"/>
                </a:lnTo>
                <a:lnTo>
                  <a:pt x="60" y="132"/>
                </a:lnTo>
                <a:lnTo>
                  <a:pt x="60" y="132"/>
                </a:lnTo>
                <a:lnTo>
                  <a:pt x="60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48" y="132"/>
                </a:lnTo>
                <a:lnTo>
                  <a:pt x="48" y="126"/>
                </a:lnTo>
                <a:lnTo>
                  <a:pt x="48" y="126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2" y="132"/>
                </a:lnTo>
                <a:lnTo>
                  <a:pt x="42" y="126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36" y="132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44"/>
                </a:lnTo>
                <a:lnTo>
                  <a:pt x="36" y="144"/>
                </a:lnTo>
                <a:lnTo>
                  <a:pt x="30" y="144"/>
                </a:lnTo>
                <a:lnTo>
                  <a:pt x="30" y="138"/>
                </a:lnTo>
                <a:lnTo>
                  <a:pt x="30" y="138"/>
                </a:lnTo>
                <a:lnTo>
                  <a:pt x="30" y="138"/>
                </a:lnTo>
                <a:lnTo>
                  <a:pt x="30" y="138"/>
                </a:lnTo>
                <a:lnTo>
                  <a:pt x="30" y="138"/>
                </a:lnTo>
                <a:lnTo>
                  <a:pt x="30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14"/>
                </a:lnTo>
                <a:lnTo>
                  <a:pt x="12" y="114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0" y="11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42" name="Freeform 275"/>
          <p:cNvSpPr>
            <a:spLocks/>
          </p:cNvSpPr>
          <p:nvPr/>
        </p:nvSpPr>
        <p:spPr bwMode="auto">
          <a:xfrm>
            <a:off x="7519955" y="4064339"/>
            <a:ext cx="186297" cy="134906"/>
          </a:xfrm>
          <a:custGeom>
            <a:avLst/>
            <a:gdLst>
              <a:gd name="T0" fmla="*/ 0 w 174"/>
              <a:gd name="T1" fmla="*/ 102 h 126"/>
              <a:gd name="T2" fmla="*/ 12 w 174"/>
              <a:gd name="T3" fmla="*/ 96 h 126"/>
              <a:gd name="T4" fmla="*/ 24 w 174"/>
              <a:gd name="T5" fmla="*/ 102 h 126"/>
              <a:gd name="T6" fmla="*/ 24 w 174"/>
              <a:gd name="T7" fmla="*/ 90 h 126"/>
              <a:gd name="T8" fmla="*/ 18 w 174"/>
              <a:gd name="T9" fmla="*/ 84 h 126"/>
              <a:gd name="T10" fmla="*/ 12 w 174"/>
              <a:gd name="T11" fmla="*/ 78 h 126"/>
              <a:gd name="T12" fmla="*/ 18 w 174"/>
              <a:gd name="T13" fmla="*/ 72 h 126"/>
              <a:gd name="T14" fmla="*/ 18 w 174"/>
              <a:gd name="T15" fmla="*/ 66 h 126"/>
              <a:gd name="T16" fmla="*/ 24 w 174"/>
              <a:gd name="T17" fmla="*/ 60 h 126"/>
              <a:gd name="T18" fmla="*/ 30 w 174"/>
              <a:gd name="T19" fmla="*/ 54 h 126"/>
              <a:gd name="T20" fmla="*/ 30 w 174"/>
              <a:gd name="T21" fmla="*/ 48 h 126"/>
              <a:gd name="T22" fmla="*/ 18 w 174"/>
              <a:gd name="T23" fmla="*/ 42 h 126"/>
              <a:gd name="T24" fmla="*/ 18 w 174"/>
              <a:gd name="T25" fmla="*/ 36 h 126"/>
              <a:gd name="T26" fmla="*/ 24 w 174"/>
              <a:gd name="T27" fmla="*/ 36 h 126"/>
              <a:gd name="T28" fmla="*/ 36 w 174"/>
              <a:gd name="T29" fmla="*/ 36 h 126"/>
              <a:gd name="T30" fmla="*/ 48 w 174"/>
              <a:gd name="T31" fmla="*/ 36 h 126"/>
              <a:gd name="T32" fmla="*/ 60 w 174"/>
              <a:gd name="T33" fmla="*/ 36 h 126"/>
              <a:gd name="T34" fmla="*/ 66 w 174"/>
              <a:gd name="T35" fmla="*/ 42 h 126"/>
              <a:gd name="T36" fmla="*/ 72 w 174"/>
              <a:gd name="T37" fmla="*/ 36 h 126"/>
              <a:gd name="T38" fmla="*/ 66 w 174"/>
              <a:gd name="T39" fmla="*/ 24 h 126"/>
              <a:gd name="T40" fmla="*/ 72 w 174"/>
              <a:gd name="T41" fmla="*/ 18 h 126"/>
              <a:gd name="T42" fmla="*/ 78 w 174"/>
              <a:gd name="T43" fmla="*/ 12 h 126"/>
              <a:gd name="T44" fmla="*/ 90 w 174"/>
              <a:gd name="T45" fmla="*/ 6 h 126"/>
              <a:gd name="T46" fmla="*/ 102 w 174"/>
              <a:gd name="T47" fmla="*/ 0 h 126"/>
              <a:gd name="T48" fmla="*/ 114 w 174"/>
              <a:gd name="T49" fmla="*/ 6 h 126"/>
              <a:gd name="T50" fmla="*/ 114 w 174"/>
              <a:gd name="T51" fmla="*/ 18 h 126"/>
              <a:gd name="T52" fmla="*/ 120 w 174"/>
              <a:gd name="T53" fmla="*/ 24 h 126"/>
              <a:gd name="T54" fmla="*/ 132 w 174"/>
              <a:gd name="T55" fmla="*/ 24 h 126"/>
              <a:gd name="T56" fmla="*/ 138 w 174"/>
              <a:gd name="T57" fmla="*/ 18 h 126"/>
              <a:gd name="T58" fmla="*/ 150 w 174"/>
              <a:gd name="T59" fmla="*/ 24 h 126"/>
              <a:gd name="T60" fmla="*/ 162 w 174"/>
              <a:gd name="T61" fmla="*/ 18 h 126"/>
              <a:gd name="T62" fmla="*/ 168 w 174"/>
              <a:gd name="T63" fmla="*/ 24 h 126"/>
              <a:gd name="T64" fmla="*/ 174 w 174"/>
              <a:gd name="T65" fmla="*/ 30 h 126"/>
              <a:gd name="T66" fmla="*/ 174 w 174"/>
              <a:gd name="T67" fmla="*/ 36 h 126"/>
              <a:gd name="T68" fmla="*/ 174 w 174"/>
              <a:gd name="T69" fmla="*/ 42 h 126"/>
              <a:gd name="T70" fmla="*/ 168 w 174"/>
              <a:gd name="T71" fmla="*/ 54 h 126"/>
              <a:gd name="T72" fmla="*/ 174 w 174"/>
              <a:gd name="T73" fmla="*/ 60 h 126"/>
              <a:gd name="T74" fmla="*/ 174 w 174"/>
              <a:gd name="T75" fmla="*/ 72 h 126"/>
              <a:gd name="T76" fmla="*/ 174 w 174"/>
              <a:gd name="T77" fmla="*/ 78 h 126"/>
              <a:gd name="T78" fmla="*/ 174 w 174"/>
              <a:gd name="T79" fmla="*/ 84 h 126"/>
              <a:gd name="T80" fmla="*/ 162 w 174"/>
              <a:gd name="T81" fmla="*/ 102 h 126"/>
              <a:gd name="T82" fmla="*/ 150 w 174"/>
              <a:gd name="T83" fmla="*/ 108 h 126"/>
              <a:gd name="T84" fmla="*/ 138 w 174"/>
              <a:gd name="T85" fmla="*/ 114 h 126"/>
              <a:gd name="T86" fmla="*/ 138 w 174"/>
              <a:gd name="T87" fmla="*/ 102 h 126"/>
              <a:gd name="T88" fmla="*/ 126 w 174"/>
              <a:gd name="T89" fmla="*/ 102 h 126"/>
              <a:gd name="T90" fmla="*/ 114 w 174"/>
              <a:gd name="T91" fmla="*/ 102 h 126"/>
              <a:gd name="T92" fmla="*/ 108 w 174"/>
              <a:gd name="T93" fmla="*/ 102 h 126"/>
              <a:gd name="T94" fmla="*/ 90 w 174"/>
              <a:gd name="T95" fmla="*/ 108 h 126"/>
              <a:gd name="T96" fmla="*/ 84 w 174"/>
              <a:gd name="T97" fmla="*/ 108 h 126"/>
              <a:gd name="T98" fmla="*/ 78 w 174"/>
              <a:gd name="T99" fmla="*/ 108 h 126"/>
              <a:gd name="T100" fmla="*/ 72 w 174"/>
              <a:gd name="T101" fmla="*/ 108 h 126"/>
              <a:gd name="T102" fmla="*/ 60 w 174"/>
              <a:gd name="T103" fmla="*/ 108 h 126"/>
              <a:gd name="T104" fmla="*/ 54 w 174"/>
              <a:gd name="T105" fmla="*/ 108 h 126"/>
              <a:gd name="T106" fmla="*/ 42 w 174"/>
              <a:gd name="T107" fmla="*/ 114 h 126"/>
              <a:gd name="T108" fmla="*/ 30 w 174"/>
              <a:gd name="T109" fmla="*/ 120 h 126"/>
              <a:gd name="T110" fmla="*/ 18 w 174"/>
              <a:gd name="T111" fmla="*/ 120 h 126"/>
              <a:gd name="T112" fmla="*/ 12 w 174"/>
              <a:gd name="T113" fmla="*/ 126 h 126"/>
              <a:gd name="T114" fmla="*/ 6 w 174"/>
              <a:gd name="T115" fmla="*/ 126 h 126"/>
              <a:gd name="T116" fmla="*/ 0 w 174"/>
              <a:gd name="T117" fmla="*/ 120 h 126"/>
              <a:gd name="T118" fmla="*/ 0 w 174"/>
              <a:gd name="T119" fmla="*/ 114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74" h="126">
                <a:moveTo>
                  <a:pt x="0" y="108"/>
                </a:moveTo>
                <a:lnTo>
                  <a:pt x="0" y="108"/>
                </a:lnTo>
                <a:lnTo>
                  <a:pt x="0" y="108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8" y="96"/>
                </a:lnTo>
                <a:lnTo>
                  <a:pt x="18" y="96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30" y="96"/>
                </a:lnTo>
                <a:lnTo>
                  <a:pt x="30" y="96"/>
                </a:lnTo>
                <a:lnTo>
                  <a:pt x="30" y="90"/>
                </a:lnTo>
                <a:lnTo>
                  <a:pt x="30" y="90"/>
                </a:lnTo>
                <a:lnTo>
                  <a:pt x="24" y="90"/>
                </a:lnTo>
                <a:lnTo>
                  <a:pt x="24" y="90"/>
                </a:lnTo>
                <a:lnTo>
                  <a:pt x="24" y="84"/>
                </a:lnTo>
                <a:lnTo>
                  <a:pt x="24" y="84"/>
                </a:lnTo>
                <a:lnTo>
                  <a:pt x="24" y="90"/>
                </a:lnTo>
                <a:lnTo>
                  <a:pt x="24" y="84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84"/>
                </a:lnTo>
                <a:lnTo>
                  <a:pt x="18" y="84"/>
                </a:lnTo>
                <a:lnTo>
                  <a:pt x="12" y="84"/>
                </a:lnTo>
                <a:lnTo>
                  <a:pt x="18" y="84"/>
                </a:lnTo>
                <a:lnTo>
                  <a:pt x="12" y="84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8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30" y="60"/>
                </a:lnTo>
                <a:lnTo>
                  <a:pt x="30" y="60"/>
                </a:lnTo>
                <a:lnTo>
                  <a:pt x="30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6" y="54"/>
                </a:lnTo>
                <a:lnTo>
                  <a:pt x="36" y="54"/>
                </a:lnTo>
                <a:lnTo>
                  <a:pt x="30" y="54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2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42"/>
                </a:lnTo>
                <a:lnTo>
                  <a:pt x="30" y="42"/>
                </a:lnTo>
                <a:lnTo>
                  <a:pt x="30" y="36"/>
                </a:lnTo>
                <a:lnTo>
                  <a:pt x="30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42" y="36"/>
                </a:lnTo>
                <a:lnTo>
                  <a:pt x="42" y="36"/>
                </a:lnTo>
                <a:lnTo>
                  <a:pt x="42" y="30"/>
                </a:lnTo>
                <a:lnTo>
                  <a:pt x="42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54" y="36"/>
                </a:lnTo>
                <a:lnTo>
                  <a:pt x="54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36"/>
                </a:lnTo>
                <a:lnTo>
                  <a:pt x="66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8" y="18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6"/>
                </a:lnTo>
                <a:lnTo>
                  <a:pt x="84" y="12"/>
                </a:lnTo>
                <a:lnTo>
                  <a:pt x="84" y="12"/>
                </a:lnTo>
                <a:lnTo>
                  <a:pt x="90" y="12"/>
                </a:lnTo>
                <a:lnTo>
                  <a:pt x="90" y="6"/>
                </a:lnTo>
                <a:lnTo>
                  <a:pt x="90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8" y="0"/>
                </a:lnTo>
                <a:lnTo>
                  <a:pt x="108" y="0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08" y="12"/>
                </a:lnTo>
                <a:lnTo>
                  <a:pt x="108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6" y="24"/>
                </a:lnTo>
                <a:lnTo>
                  <a:pt x="120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6" y="24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74" y="24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68" y="36"/>
                </a:lnTo>
                <a:lnTo>
                  <a:pt x="168" y="36"/>
                </a:lnTo>
                <a:lnTo>
                  <a:pt x="168" y="36"/>
                </a:lnTo>
                <a:lnTo>
                  <a:pt x="168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68" y="60"/>
                </a:lnTo>
                <a:lnTo>
                  <a:pt x="168" y="60"/>
                </a:lnTo>
                <a:lnTo>
                  <a:pt x="168" y="60"/>
                </a:lnTo>
                <a:lnTo>
                  <a:pt x="168" y="60"/>
                </a:lnTo>
                <a:lnTo>
                  <a:pt x="174" y="60"/>
                </a:lnTo>
                <a:lnTo>
                  <a:pt x="174" y="60"/>
                </a:lnTo>
                <a:lnTo>
                  <a:pt x="174" y="60"/>
                </a:lnTo>
                <a:lnTo>
                  <a:pt x="174" y="60"/>
                </a:lnTo>
                <a:lnTo>
                  <a:pt x="174" y="60"/>
                </a:lnTo>
                <a:lnTo>
                  <a:pt x="174" y="60"/>
                </a:lnTo>
                <a:lnTo>
                  <a:pt x="174" y="66"/>
                </a:lnTo>
                <a:lnTo>
                  <a:pt x="174" y="66"/>
                </a:lnTo>
                <a:lnTo>
                  <a:pt x="174" y="66"/>
                </a:lnTo>
                <a:lnTo>
                  <a:pt x="174" y="66"/>
                </a:lnTo>
                <a:lnTo>
                  <a:pt x="174" y="66"/>
                </a:lnTo>
                <a:lnTo>
                  <a:pt x="174" y="72"/>
                </a:lnTo>
                <a:lnTo>
                  <a:pt x="174" y="72"/>
                </a:lnTo>
                <a:lnTo>
                  <a:pt x="174" y="72"/>
                </a:lnTo>
                <a:lnTo>
                  <a:pt x="174" y="72"/>
                </a:lnTo>
                <a:lnTo>
                  <a:pt x="174" y="72"/>
                </a:lnTo>
                <a:lnTo>
                  <a:pt x="174" y="72"/>
                </a:lnTo>
                <a:lnTo>
                  <a:pt x="168" y="72"/>
                </a:lnTo>
                <a:lnTo>
                  <a:pt x="174" y="78"/>
                </a:lnTo>
                <a:lnTo>
                  <a:pt x="168" y="78"/>
                </a:lnTo>
                <a:lnTo>
                  <a:pt x="174" y="78"/>
                </a:lnTo>
                <a:lnTo>
                  <a:pt x="174" y="78"/>
                </a:lnTo>
                <a:lnTo>
                  <a:pt x="174" y="78"/>
                </a:lnTo>
                <a:lnTo>
                  <a:pt x="174" y="78"/>
                </a:lnTo>
                <a:lnTo>
                  <a:pt x="174" y="78"/>
                </a:lnTo>
                <a:lnTo>
                  <a:pt x="174" y="78"/>
                </a:lnTo>
                <a:lnTo>
                  <a:pt x="174" y="78"/>
                </a:lnTo>
                <a:lnTo>
                  <a:pt x="174" y="78"/>
                </a:lnTo>
                <a:lnTo>
                  <a:pt x="174" y="84"/>
                </a:lnTo>
                <a:lnTo>
                  <a:pt x="174" y="84"/>
                </a:lnTo>
                <a:lnTo>
                  <a:pt x="168" y="84"/>
                </a:lnTo>
                <a:lnTo>
                  <a:pt x="168" y="84"/>
                </a:lnTo>
                <a:lnTo>
                  <a:pt x="168" y="84"/>
                </a:lnTo>
                <a:lnTo>
                  <a:pt x="168" y="84"/>
                </a:lnTo>
                <a:lnTo>
                  <a:pt x="174" y="84"/>
                </a:lnTo>
                <a:lnTo>
                  <a:pt x="168" y="84"/>
                </a:lnTo>
                <a:lnTo>
                  <a:pt x="168" y="90"/>
                </a:lnTo>
                <a:lnTo>
                  <a:pt x="168" y="90"/>
                </a:lnTo>
                <a:lnTo>
                  <a:pt x="168" y="90"/>
                </a:lnTo>
                <a:lnTo>
                  <a:pt x="168" y="90"/>
                </a:lnTo>
                <a:lnTo>
                  <a:pt x="168" y="96"/>
                </a:lnTo>
                <a:lnTo>
                  <a:pt x="168" y="96"/>
                </a:lnTo>
                <a:lnTo>
                  <a:pt x="168" y="96"/>
                </a:lnTo>
                <a:lnTo>
                  <a:pt x="168" y="96"/>
                </a:lnTo>
                <a:lnTo>
                  <a:pt x="162" y="102"/>
                </a:lnTo>
                <a:lnTo>
                  <a:pt x="162" y="102"/>
                </a:lnTo>
                <a:lnTo>
                  <a:pt x="162" y="102"/>
                </a:lnTo>
                <a:lnTo>
                  <a:pt x="162" y="102"/>
                </a:lnTo>
                <a:lnTo>
                  <a:pt x="156" y="102"/>
                </a:lnTo>
                <a:lnTo>
                  <a:pt x="156" y="102"/>
                </a:lnTo>
                <a:lnTo>
                  <a:pt x="156" y="102"/>
                </a:lnTo>
                <a:lnTo>
                  <a:pt x="156" y="102"/>
                </a:lnTo>
                <a:lnTo>
                  <a:pt x="150" y="102"/>
                </a:lnTo>
                <a:lnTo>
                  <a:pt x="150" y="102"/>
                </a:lnTo>
                <a:lnTo>
                  <a:pt x="150" y="108"/>
                </a:lnTo>
                <a:lnTo>
                  <a:pt x="150" y="108"/>
                </a:lnTo>
                <a:lnTo>
                  <a:pt x="150" y="108"/>
                </a:lnTo>
                <a:lnTo>
                  <a:pt x="150" y="108"/>
                </a:lnTo>
                <a:lnTo>
                  <a:pt x="150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38" y="108"/>
                </a:lnTo>
                <a:lnTo>
                  <a:pt x="138" y="114"/>
                </a:lnTo>
                <a:lnTo>
                  <a:pt x="138" y="114"/>
                </a:lnTo>
                <a:lnTo>
                  <a:pt x="138" y="114"/>
                </a:lnTo>
                <a:lnTo>
                  <a:pt x="138" y="108"/>
                </a:lnTo>
                <a:lnTo>
                  <a:pt x="138" y="108"/>
                </a:lnTo>
                <a:lnTo>
                  <a:pt x="138" y="108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2" y="102"/>
                </a:lnTo>
                <a:lnTo>
                  <a:pt x="132" y="102"/>
                </a:lnTo>
                <a:lnTo>
                  <a:pt x="132" y="102"/>
                </a:lnTo>
                <a:lnTo>
                  <a:pt x="132" y="102"/>
                </a:lnTo>
                <a:lnTo>
                  <a:pt x="132" y="102"/>
                </a:lnTo>
                <a:lnTo>
                  <a:pt x="126" y="102"/>
                </a:lnTo>
                <a:lnTo>
                  <a:pt x="126" y="102"/>
                </a:lnTo>
                <a:lnTo>
                  <a:pt x="126" y="102"/>
                </a:lnTo>
                <a:lnTo>
                  <a:pt x="126" y="102"/>
                </a:lnTo>
                <a:lnTo>
                  <a:pt x="126" y="102"/>
                </a:lnTo>
                <a:lnTo>
                  <a:pt x="126" y="102"/>
                </a:lnTo>
                <a:lnTo>
                  <a:pt x="126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0" y="114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48" y="108"/>
                </a:lnTo>
                <a:lnTo>
                  <a:pt x="54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14"/>
                </a:lnTo>
                <a:lnTo>
                  <a:pt x="48" y="108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36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6"/>
                </a:lnTo>
                <a:lnTo>
                  <a:pt x="12" y="120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0" y="126"/>
                </a:lnTo>
                <a:lnTo>
                  <a:pt x="0" y="126"/>
                </a:lnTo>
                <a:lnTo>
                  <a:pt x="0" y="126"/>
                </a:lnTo>
                <a:lnTo>
                  <a:pt x="0" y="120"/>
                </a:lnTo>
                <a:lnTo>
                  <a:pt x="0" y="120"/>
                </a:lnTo>
                <a:lnTo>
                  <a:pt x="0" y="120"/>
                </a:lnTo>
                <a:lnTo>
                  <a:pt x="0" y="120"/>
                </a:lnTo>
                <a:lnTo>
                  <a:pt x="0" y="120"/>
                </a:lnTo>
                <a:lnTo>
                  <a:pt x="0" y="120"/>
                </a:lnTo>
                <a:lnTo>
                  <a:pt x="0" y="120"/>
                </a:lnTo>
                <a:lnTo>
                  <a:pt x="0" y="120"/>
                </a:lnTo>
                <a:lnTo>
                  <a:pt x="0" y="120"/>
                </a:lnTo>
                <a:lnTo>
                  <a:pt x="0" y="114"/>
                </a:lnTo>
                <a:lnTo>
                  <a:pt x="0" y="114"/>
                </a:lnTo>
                <a:lnTo>
                  <a:pt x="0" y="114"/>
                </a:lnTo>
                <a:lnTo>
                  <a:pt x="0" y="114"/>
                </a:lnTo>
                <a:lnTo>
                  <a:pt x="0" y="114"/>
                </a:lnTo>
                <a:lnTo>
                  <a:pt x="0" y="114"/>
                </a:lnTo>
                <a:lnTo>
                  <a:pt x="0" y="114"/>
                </a:lnTo>
                <a:lnTo>
                  <a:pt x="0" y="114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43" name="Freeform 276"/>
          <p:cNvSpPr>
            <a:spLocks/>
          </p:cNvSpPr>
          <p:nvPr/>
        </p:nvSpPr>
        <p:spPr bwMode="auto">
          <a:xfrm>
            <a:off x="7757645" y="3383385"/>
            <a:ext cx="173449" cy="179875"/>
          </a:xfrm>
          <a:custGeom>
            <a:avLst/>
            <a:gdLst>
              <a:gd name="T0" fmla="*/ 0 w 162"/>
              <a:gd name="T1" fmla="*/ 48 h 168"/>
              <a:gd name="T2" fmla="*/ 12 w 162"/>
              <a:gd name="T3" fmla="*/ 36 h 168"/>
              <a:gd name="T4" fmla="*/ 6 w 162"/>
              <a:gd name="T5" fmla="*/ 30 h 168"/>
              <a:gd name="T6" fmla="*/ 6 w 162"/>
              <a:gd name="T7" fmla="*/ 18 h 168"/>
              <a:gd name="T8" fmla="*/ 12 w 162"/>
              <a:gd name="T9" fmla="*/ 12 h 168"/>
              <a:gd name="T10" fmla="*/ 36 w 162"/>
              <a:gd name="T11" fmla="*/ 18 h 168"/>
              <a:gd name="T12" fmla="*/ 42 w 162"/>
              <a:gd name="T13" fmla="*/ 18 h 168"/>
              <a:gd name="T14" fmla="*/ 54 w 162"/>
              <a:gd name="T15" fmla="*/ 6 h 168"/>
              <a:gd name="T16" fmla="*/ 66 w 162"/>
              <a:gd name="T17" fmla="*/ 6 h 168"/>
              <a:gd name="T18" fmla="*/ 78 w 162"/>
              <a:gd name="T19" fmla="*/ 0 h 168"/>
              <a:gd name="T20" fmla="*/ 90 w 162"/>
              <a:gd name="T21" fmla="*/ 0 h 168"/>
              <a:gd name="T22" fmla="*/ 96 w 162"/>
              <a:gd name="T23" fmla="*/ 6 h 168"/>
              <a:gd name="T24" fmla="*/ 102 w 162"/>
              <a:gd name="T25" fmla="*/ 18 h 168"/>
              <a:gd name="T26" fmla="*/ 114 w 162"/>
              <a:gd name="T27" fmla="*/ 36 h 168"/>
              <a:gd name="T28" fmla="*/ 120 w 162"/>
              <a:gd name="T29" fmla="*/ 48 h 168"/>
              <a:gd name="T30" fmla="*/ 132 w 162"/>
              <a:gd name="T31" fmla="*/ 48 h 168"/>
              <a:gd name="T32" fmla="*/ 150 w 162"/>
              <a:gd name="T33" fmla="*/ 36 h 168"/>
              <a:gd name="T34" fmla="*/ 156 w 162"/>
              <a:gd name="T35" fmla="*/ 42 h 168"/>
              <a:gd name="T36" fmla="*/ 156 w 162"/>
              <a:gd name="T37" fmla="*/ 54 h 168"/>
              <a:gd name="T38" fmla="*/ 150 w 162"/>
              <a:gd name="T39" fmla="*/ 66 h 168"/>
              <a:gd name="T40" fmla="*/ 150 w 162"/>
              <a:gd name="T41" fmla="*/ 72 h 168"/>
              <a:gd name="T42" fmla="*/ 156 w 162"/>
              <a:gd name="T43" fmla="*/ 84 h 168"/>
              <a:gd name="T44" fmla="*/ 156 w 162"/>
              <a:gd name="T45" fmla="*/ 90 h 168"/>
              <a:gd name="T46" fmla="*/ 150 w 162"/>
              <a:gd name="T47" fmla="*/ 96 h 168"/>
              <a:gd name="T48" fmla="*/ 150 w 162"/>
              <a:gd name="T49" fmla="*/ 102 h 168"/>
              <a:gd name="T50" fmla="*/ 150 w 162"/>
              <a:gd name="T51" fmla="*/ 108 h 168"/>
              <a:gd name="T52" fmla="*/ 156 w 162"/>
              <a:gd name="T53" fmla="*/ 114 h 168"/>
              <a:gd name="T54" fmla="*/ 150 w 162"/>
              <a:gd name="T55" fmla="*/ 126 h 168"/>
              <a:gd name="T56" fmla="*/ 144 w 162"/>
              <a:gd name="T57" fmla="*/ 120 h 168"/>
              <a:gd name="T58" fmla="*/ 138 w 162"/>
              <a:gd name="T59" fmla="*/ 126 h 168"/>
              <a:gd name="T60" fmla="*/ 126 w 162"/>
              <a:gd name="T61" fmla="*/ 120 h 168"/>
              <a:gd name="T62" fmla="*/ 114 w 162"/>
              <a:gd name="T63" fmla="*/ 114 h 168"/>
              <a:gd name="T64" fmla="*/ 108 w 162"/>
              <a:gd name="T65" fmla="*/ 120 h 168"/>
              <a:gd name="T66" fmla="*/ 102 w 162"/>
              <a:gd name="T67" fmla="*/ 126 h 168"/>
              <a:gd name="T68" fmla="*/ 96 w 162"/>
              <a:gd name="T69" fmla="*/ 132 h 168"/>
              <a:gd name="T70" fmla="*/ 96 w 162"/>
              <a:gd name="T71" fmla="*/ 144 h 168"/>
              <a:gd name="T72" fmla="*/ 90 w 162"/>
              <a:gd name="T73" fmla="*/ 150 h 168"/>
              <a:gd name="T74" fmla="*/ 78 w 162"/>
              <a:gd name="T75" fmla="*/ 150 h 168"/>
              <a:gd name="T76" fmla="*/ 72 w 162"/>
              <a:gd name="T77" fmla="*/ 156 h 168"/>
              <a:gd name="T78" fmla="*/ 66 w 162"/>
              <a:gd name="T79" fmla="*/ 168 h 168"/>
              <a:gd name="T80" fmla="*/ 54 w 162"/>
              <a:gd name="T81" fmla="*/ 162 h 168"/>
              <a:gd name="T82" fmla="*/ 48 w 162"/>
              <a:gd name="T83" fmla="*/ 156 h 168"/>
              <a:gd name="T84" fmla="*/ 42 w 162"/>
              <a:gd name="T85" fmla="*/ 150 h 168"/>
              <a:gd name="T86" fmla="*/ 42 w 162"/>
              <a:gd name="T87" fmla="*/ 144 h 168"/>
              <a:gd name="T88" fmla="*/ 48 w 162"/>
              <a:gd name="T89" fmla="*/ 132 h 168"/>
              <a:gd name="T90" fmla="*/ 48 w 162"/>
              <a:gd name="T91" fmla="*/ 120 h 168"/>
              <a:gd name="T92" fmla="*/ 42 w 162"/>
              <a:gd name="T93" fmla="*/ 102 h 168"/>
              <a:gd name="T94" fmla="*/ 36 w 162"/>
              <a:gd name="T95" fmla="*/ 84 h 168"/>
              <a:gd name="T96" fmla="*/ 36 w 162"/>
              <a:gd name="T97" fmla="*/ 78 h 168"/>
              <a:gd name="T98" fmla="*/ 36 w 162"/>
              <a:gd name="T99" fmla="*/ 78 h 168"/>
              <a:gd name="T100" fmla="*/ 42 w 162"/>
              <a:gd name="T101" fmla="*/ 72 h 168"/>
              <a:gd name="T102" fmla="*/ 42 w 162"/>
              <a:gd name="T103" fmla="*/ 66 h 168"/>
              <a:gd name="T104" fmla="*/ 36 w 162"/>
              <a:gd name="T105" fmla="*/ 66 h 168"/>
              <a:gd name="T106" fmla="*/ 30 w 162"/>
              <a:gd name="T107" fmla="*/ 66 h 168"/>
              <a:gd name="T108" fmla="*/ 18 w 162"/>
              <a:gd name="T109" fmla="*/ 66 h 168"/>
              <a:gd name="T110" fmla="*/ 18 w 162"/>
              <a:gd name="T111" fmla="*/ 72 h 168"/>
              <a:gd name="T112" fmla="*/ 12 w 162"/>
              <a:gd name="T113" fmla="*/ 66 h 168"/>
              <a:gd name="T114" fmla="*/ 12 w 162"/>
              <a:gd name="T115" fmla="*/ 54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62" h="168">
                <a:moveTo>
                  <a:pt x="6" y="54"/>
                </a:move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2"/>
                </a:lnTo>
                <a:lnTo>
                  <a:pt x="0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6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0"/>
                </a:lnTo>
                <a:lnTo>
                  <a:pt x="12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12" y="12"/>
                </a:lnTo>
                <a:lnTo>
                  <a:pt x="12" y="12"/>
                </a:lnTo>
                <a:lnTo>
                  <a:pt x="18" y="12"/>
                </a:lnTo>
                <a:lnTo>
                  <a:pt x="18" y="18"/>
                </a:lnTo>
                <a:lnTo>
                  <a:pt x="24" y="18"/>
                </a:lnTo>
                <a:lnTo>
                  <a:pt x="24" y="18"/>
                </a:lnTo>
                <a:lnTo>
                  <a:pt x="30" y="18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6" y="18"/>
                </a:lnTo>
                <a:lnTo>
                  <a:pt x="36" y="12"/>
                </a:lnTo>
                <a:lnTo>
                  <a:pt x="36" y="18"/>
                </a:lnTo>
                <a:lnTo>
                  <a:pt x="36" y="18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42" y="12"/>
                </a:lnTo>
                <a:lnTo>
                  <a:pt x="42" y="12"/>
                </a:lnTo>
                <a:lnTo>
                  <a:pt x="42" y="18"/>
                </a:lnTo>
                <a:lnTo>
                  <a:pt x="42" y="18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0"/>
                </a:lnTo>
                <a:lnTo>
                  <a:pt x="60" y="6"/>
                </a:lnTo>
                <a:lnTo>
                  <a:pt x="60" y="0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0" y="6"/>
                </a:lnTo>
                <a:lnTo>
                  <a:pt x="90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102" y="6"/>
                </a:lnTo>
                <a:lnTo>
                  <a:pt x="102" y="6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24"/>
                </a:lnTo>
                <a:lnTo>
                  <a:pt x="108" y="24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20" y="42"/>
                </a:lnTo>
                <a:lnTo>
                  <a:pt x="120" y="48"/>
                </a:lnTo>
                <a:lnTo>
                  <a:pt x="120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8" y="48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44" y="36"/>
                </a:lnTo>
                <a:lnTo>
                  <a:pt x="144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54"/>
                </a:lnTo>
                <a:lnTo>
                  <a:pt x="156" y="48"/>
                </a:lnTo>
                <a:lnTo>
                  <a:pt x="150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60"/>
                </a:lnTo>
                <a:lnTo>
                  <a:pt x="156" y="60"/>
                </a:lnTo>
                <a:lnTo>
                  <a:pt x="156" y="60"/>
                </a:lnTo>
                <a:lnTo>
                  <a:pt x="156" y="60"/>
                </a:lnTo>
                <a:lnTo>
                  <a:pt x="156" y="60"/>
                </a:lnTo>
                <a:lnTo>
                  <a:pt x="156" y="60"/>
                </a:lnTo>
                <a:lnTo>
                  <a:pt x="156" y="60"/>
                </a:lnTo>
                <a:lnTo>
                  <a:pt x="156" y="66"/>
                </a:lnTo>
                <a:lnTo>
                  <a:pt x="150" y="66"/>
                </a:lnTo>
                <a:lnTo>
                  <a:pt x="150" y="66"/>
                </a:lnTo>
                <a:lnTo>
                  <a:pt x="150" y="66"/>
                </a:lnTo>
                <a:lnTo>
                  <a:pt x="150" y="66"/>
                </a:lnTo>
                <a:lnTo>
                  <a:pt x="150" y="66"/>
                </a:lnTo>
                <a:lnTo>
                  <a:pt x="144" y="66"/>
                </a:lnTo>
                <a:lnTo>
                  <a:pt x="150" y="72"/>
                </a:lnTo>
                <a:lnTo>
                  <a:pt x="150" y="72"/>
                </a:lnTo>
                <a:lnTo>
                  <a:pt x="150" y="72"/>
                </a:lnTo>
                <a:lnTo>
                  <a:pt x="150" y="72"/>
                </a:lnTo>
                <a:lnTo>
                  <a:pt x="150" y="72"/>
                </a:lnTo>
                <a:lnTo>
                  <a:pt x="150" y="72"/>
                </a:lnTo>
                <a:lnTo>
                  <a:pt x="150" y="78"/>
                </a:lnTo>
                <a:lnTo>
                  <a:pt x="150" y="78"/>
                </a:lnTo>
                <a:lnTo>
                  <a:pt x="150" y="78"/>
                </a:lnTo>
                <a:lnTo>
                  <a:pt x="150" y="78"/>
                </a:lnTo>
                <a:lnTo>
                  <a:pt x="150" y="78"/>
                </a:lnTo>
                <a:lnTo>
                  <a:pt x="150" y="78"/>
                </a:lnTo>
                <a:lnTo>
                  <a:pt x="156" y="84"/>
                </a:lnTo>
                <a:lnTo>
                  <a:pt x="156" y="84"/>
                </a:lnTo>
                <a:lnTo>
                  <a:pt x="156" y="84"/>
                </a:lnTo>
                <a:lnTo>
                  <a:pt x="156" y="84"/>
                </a:lnTo>
                <a:lnTo>
                  <a:pt x="162" y="84"/>
                </a:lnTo>
                <a:lnTo>
                  <a:pt x="162" y="84"/>
                </a:lnTo>
                <a:lnTo>
                  <a:pt x="162" y="90"/>
                </a:lnTo>
                <a:lnTo>
                  <a:pt x="156" y="90"/>
                </a:lnTo>
                <a:lnTo>
                  <a:pt x="156" y="90"/>
                </a:lnTo>
                <a:lnTo>
                  <a:pt x="156" y="90"/>
                </a:lnTo>
                <a:lnTo>
                  <a:pt x="156" y="90"/>
                </a:lnTo>
                <a:lnTo>
                  <a:pt x="156" y="90"/>
                </a:lnTo>
                <a:lnTo>
                  <a:pt x="156" y="90"/>
                </a:lnTo>
                <a:lnTo>
                  <a:pt x="156" y="90"/>
                </a:lnTo>
                <a:lnTo>
                  <a:pt x="156" y="90"/>
                </a:lnTo>
                <a:lnTo>
                  <a:pt x="150" y="96"/>
                </a:lnTo>
                <a:lnTo>
                  <a:pt x="156" y="96"/>
                </a:lnTo>
                <a:lnTo>
                  <a:pt x="150" y="96"/>
                </a:lnTo>
                <a:lnTo>
                  <a:pt x="150" y="96"/>
                </a:lnTo>
                <a:lnTo>
                  <a:pt x="150" y="96"/>
                </a:lnTo>
                <a:lnTo>
                  <a:pt x="150" y="96"/>
                </a:lnTo>
                <a:lnTo>
                  <a:pt x="150" y="102"/>
                </a:lnTo>
                <a:lnTo>
                  <a:pt x="150" y="102"/>
                </a:lnTo>
                <a:lnTo>
                  <a:pt x="150" y="102"/>
                </a:lnTo>
                <a:lnTo>
                  <a:pt x="156" y="102"/>
                </a:lnTo>
                <a:lnTo>
                  <a:pt x="150" y="102"/>
                </a:lnTo>
                <a:lnTo>
                  <a:pt x="150" y="102"/>
                </a:lnTo>
                <a:lnTo>
                  <a:pt x="150" y="102"/>
                </a:lnTo>
                <a:lnTo>
                  <a:pt x="150" y="102"/>
                </a:lnTo>
                <a:lnTo>
                  <a:pt x="150" y="102"/>
                </a:lnTo>
                <a:lnTo>
                  <a:pt x="150" y="108"/>
                </a:lnTo>
                <a:lnTo>
                  <a:pt x="150" y="108"/>
                </a:lnTo>
                <a:lnTo>
                  <a:pt x="150" y="108"/>
                </a:lnTo>
                <a:lnTo>
                  <a:pt x="150" y="108"/>
                </a:lnTo>
                <a:lnTo>
                  <a:pt x="150" y="108"/>
                </a:lnTo>
                <a:lnTo>
                  <a:pt x="150" y="108"/>
                </a:lnTo>
                <a:lnTo>
                  <a:pt x="150" y="108"/>
                </a:lnTo>
                <a:lnTo>
                  <a:pt x="150" y="108"/>
                </a:lnTo>
                <a:lnTo>
                  <a:pt x="150" y="114"/>
                </a:lnTo>
                <a:lnTo>
                  <a:pt x="150" y="114"/>
                </a:lnTo>
                <a:lnTo>
                  <a:pt x="150" y="114"/>
                </a:lnTo>
                <a:lnTo>
                  <a:pt x="150" y="114"/>
                </a:lnTo>
                <a:lnTo>
                  <a:pt x="150" y="114"/>
                </a:lnTo>
                <a:lnTo>
                  <a:pt x="156" y="114"/>
                </a:lnTo>
                <a:lnTo>
                  <a:pt x="150" y="114"/>
                </a:lnTo>
                <a:lnTo>
                  <a:pt x="156" y="114"/>
                </a:lnTo>
                <a:lnTo>
                  <a:pt x="156" y="120"/>
                </a:lnTo>
                <a:lnTo>
                  <a:pt x="156" y="120"/>
                </a:lnTo>
                <a:lnTo>
                  <a:pt x="156" y="120"/>
                </a:lnTo>
                <a:lnTo>
                  <a:pt x="156" y="120"/>
                </a:lnTo>
                <a:lnTo>
                  <a:pt x="156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0"/>
                </a:lnTo>
                <a:lnTo>
                  <a:pt x="144" y="120"/>
                </a:lnTo>
                <a:lnTo>
                  <a:pt x="144" y="120"/>
                </a:lnTo>
                <a:lnTo>
                  <a:pt x="144" y="120"/>
                </a:lnTo>
                <a:lnTo>
                  <a:pt x="144" y="120"/>
                </a:lnTo>
                <a:lnTo>
                  <a:pt x="144" y="126"/>
                </a:lnTo>
                <a:lnTo>
                  <a:pt x="144" y="126"/>
                </a:lnTo>
                <a:lnTo>
                  <a:pt x="144" y="120"/>
                </a:lnTo>
                <a:lnTo>
                  <a:pt x="144" y="120"/>
                </a:lnTo>
                <a:lnTo>
                  <a:pt x="144" y="126"/>
                </a:lnTo>
                <a:lnTo>
                  <a:pt x="138" y="126"/>
                </a:lnTo>
                <a:lnTo>
                  <a:pt x="138" y="126"/>
                </a:lnTo>
                <a:lnTo>
                  <a:pt x="138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0" y="120"/>
                </a:lnTo>
                <a:lnTo>
                  <a:pt x="120" y="120"/>
                </a:lnTo>
                <a:lnTo>
                  <a:pt x="120" y="120"/>
                </a:lnTo>
                <a:lnTo>
                  <a:pt x="120" y="120"/>
                </a:lnTo>
                <a:lnTo>
                  <a:pt x="114" y="114"/>
                </a:lnTo>
                <a:lnTo>
                  <a:pt x="114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32"/>
                </a:lnTo>
                <a:lnTo>
                  <a:pt x="102" y="132"/>
                </a:lnTo>
                <a:lnTo>
                  <a:pt x="102" y="132"/>
                </a:lnTo>
                <a:lnTo>
                  <a:pt x="102" y="132"/>
                </a:lnTo>
                <a:lnTo>
                  <a:pt x="96" y="132"/>
                </a:lnTo>
                <a:lnTo>
                  <a:pt x="96" y="132"/>
                </a:lnTo>
                <a:lnTo>
                  <a:pt x="96" y="138"/>
                </a:lnTo>
                <a:lnTo>
                  <a:pt x="96" y="138"/>
                </a:lnTo>
                <a:lnTo>
                  <a:pt x="96" y="138"/>
                </a:lnTo>
                <a:lnTo>
                  <a:pt x="96" y="138"/>
                </a:lnTo>
                <a:lnTo>
                  <a:pt x="96" y="138"/>
                </a:lnTo>
                <a:lnTo>
                  <a:pt x="96" y="144"/>
                </a:lnTo>
                <a:lnTo>
                  <a:pt x="96" y="144"/>
                </a:lnTo>
                <a:lnTo>
                  <a:pt x="96" y="144"/>
                </a:lnTo>
                <a:lnTo>
                  <a:pt x="96" y="144"/>
                </a:lnTo>
                <a:lnTo>
                  <a:pt x="96" y="144"/>
                </a:lnTo>
                <a:lnTo>
                  <a:pt x="96" y="144"/>
                </a:lnTo>
                <a:lnTo>
                  <a:pt x="96" y="144"/>
                </a:lnTo>
                <a:lnTo>
                  <a:pt x="96" y="144"/>
                </a:lnTo>
                <a:lnTo>
                  <a:pt x="90" y="144"/>
                </a:lnTo>
                <a:lnTo>
                  <a:pt x="90" y="150"/>
                </a:lnTo>
                <a:lnTo>
                  <a:pt x="90" y="150"/>
                </a:lnTo>
                <a:lnTo>
                  <a:pt x="90" y="150"/>
                </a:lnTo>
                <a:lnTo>
                  <a:pt x="90" y="150"/>
                </a:lnTo>
                <a:lnTo>
                  <a:pt x="84" y="150"/>
                </a:lnTo>
                <a:lnTo>
                  <a:pt x="84" y="150"/>
                </a:lnTo>
                <a:lnTo>
                  <a:pt x="84" y="150"/>
                </a:lnTo>
                <a:lnTo>
                  <a:pt x="84" y="150"/>
                </a:lnTo>
                <a:lnTo>
                  <a:pt x="84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6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6"/>
                </a:lnTo>
                <a:lnTo>
                  <a:pt x="78" y="156"/>
                </a:lnTo>
                <a:lnTo>
                  <a:pt x="78" y="156"/>
                </a:lnTo>
                <a:lnTo>
                  <a:pt x="78" y="156"/>
                </a:lnTo>
                <a:lnTo>
                  <a:pt x="72" y="156"/>
                </a:lnTo>
                <a:lnTo>
                  <a:pt x="72" y="156"/>
                </a:lnTo>
                <a:lnTo>
                  <a:pt x="72" y="162"/>
                </a:lnTo>
                <a:lnTo>
                  <a:pt x="72" y="162"/>
                </a:lnTo>
                <a:lnTo>
                  <a:pt x="72" y="162"/>
                </a:lnTo>
                <a:lnTo>
                  <a:pt x="72" y="162"/>
                </a:lnTo>
                <a:lnTo>
                  <a:pt x="72" y="162"/>
                </a:lnTo>
                <a:lnTo>
                  <a:pt x="66" y="162"/>
                </a:lnTo>
                <a:lnTo>
                  <a:pt x="66" y="168"/>
                </a:lnTo>
                <a:lnTo>
                  <a:pt x="66" y="168"/>
                </a:lnTo>
                <a:lnTo>
                  <a:pt x="66" y="168"/>
                </a:lnTo>
                <a:lnTo>
                  <a:pt x="66" y="168"/>
                </a:lnTo>
                <a:lnTo>
                  <a:pt x="66" y="168"/>
                </a:lnTo>
                <a:lnTo>
                  <a:pt x="66" y="162"/>
                </a:lnTo>
                <a:lnTo>
                  <a:pt x="60" y="162"/>
                </a:lnTo>
                <a:lnTo>
                  <a:pt x="60" y="162"/>
                </a:lnTo>
                <a:lnTo>
                  <a:pt x="60" y="162"/>
                </a:lnTo>
                <a:lnTo>
                  <a:pt x="60" y="162"/>
                </a:lnTo>
                <a:lnTo>
                  <a:pt x="54" y="162"/>
                </a:lnTo>
                <a:lnTo>
                  <a:pt x="54" y="162"/>
                </a:lnTo>
                <a:lnTo>
                  <a:pt x="48" y="162"/>
                </a:lnTo>
                <a:lnTo>
                  <a:pt x="48" y="162"/>
                </a:lnTo>
                <a:lnTo>
                  <a:pt x="48" y="162"/>
                </a:lnTo>
                <a:lnTo>
                  <a:pt x="48" y="156"/>
                </a:lnTo>
                <a:lnTo>
                  <a:pt x="48" y="156"/>
                </a:lnTo>
                <a:lnTo>
                  <a:pt x="48" y="156"/>
                </a:lnTo>
                <a:lnTo>
                  <a:pt x="48" y="156"/>
                </a:lnTo>
                <a:lnTo>
                  <a:pt x="48" y="156"/>
                </a:lnTo>
                <a:lnTo>
                  <a:pt x="48" y="156"/>
                </a:lnTo>
                <a:lnTo>
                  <a:pt x="48" y="150"/>
                </a:lnTo>
                <a:lnTo>
                  <a:pt x="48" y="150"/>
                </a:lnTo>
                <a:lnTo>
                  <a:pt x="48" y="150"/>
                </a:lnTo>
                <a:lnTo>
                  <a:pt x="48" y="150"/>
                </a:lnTo>
                <a:lnTo>
                  <a:pt x="42" y="150"/>
                </a:lnTo>
                <a:lnTo>
                  <a:pt x="48" y="150"/>
                </a:lnTo>
                <a:lnTo>
                  <a:pt x="42" y="150"/>
                </a:lnTo>
                <a:lnTo>
                  <a:pt x="42" y="150"/>
                </a:lnTo>
                <a:lnTo>
                  <a:pt x="42" y="150"/>
                </a:lnTo>
                <a:lnTo>
                  <a:pt x="42" y="150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38"/>
                </a:lnTo>
                <a:lnTo>
                  <a:pt x="42" y="144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42" y="138"/>
                </a:lnTo>
                <a:lnTo>
                  <a:pt x="48" y="138"/>
                </a:lnTo>
                <a:lnTo>
                  <a:pt x="48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0"/>
                </a:lnTo>
                <a:lnTo>
                  <a:pt x="54" y="120"/>
                </a:lnTo>
                <a:lnTo>
                  <a:pt x="54" y="120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08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2"/>
                </a:lnTo>
                <a:lnTo>
                  <a:pt x="42" y="78"/>
                </a:lnTo>
                <a:lnTo>
                  <a:pt x="42" y="72"/>
                </a:lnTo>
                <a:lnTo>
                  <a:pt x="42" y="78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8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72"/>
                </a:lnTo>
                <a:lnTo>
                  <a:pt x="42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6" y="54"/>
                </a:lnTo>
                <a:lnTo>
                  <a:pt x="6" y="5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44" name="Freeform 277"/>
          <p:cNvSpPr>
            <a:spLocks/>
          </p:cNvSpPr>
          <p:nvPr/>
        </p:nvSpPr>
        <p:spPr bwMode="auto">
          <a:xfrm>
            <a:off x="6787614" y="3653197"/>
            <a:ext cx="250538" cy="186299"/>
          </a:xfrm>
          <a:custGeom>
            <a:avLst/>
            <a:gdLst>
              <a:gd name="T0" fmla="*/ 6 w 234"/>
              <a:gd name="T1" fmla="*/ 120 h 174"/>
              <a:gd name="T2" fmla="*/ 18 w 234"/>
              <a:gd name="T3" fmla="*/ 108 h 174"/>
              <a:gd name="T4" fmla="*/ 30 w 234"/>
              <a:gd name="T5" fmla="*/ 108 h 174"/>
              <a:gd name="T6" fmla="*/ 30 w 234"/>
              <a:gd name="T7" fmla="*/ 96 h 174"/>
              <a:gd name="T8" fmla="*/ 24 w 234"/>
              <a:gd name="T9" fmla="*/ 84 h 174"/>
              <a:gd name="T10" fmla="*/ 18 w 234"/>
              <a:gd name="T11" fmla="*/ 72 h 174"/>
              <a:gd name="T12" fmla="*/ 6 w 234"/>
              <a:gd name="T13" fmla="*/ 72 h 174"/>
              <a:gd name="T14" fmla="*/ 12 w 234"/>
              <a:gd name="T15" fmla="*/ 54 h 174"/>
              <a:gd name="T16" fmla="*/ 18 w 234"/>
              <a:gd name="T17" fmla="*/ 36 h 174"/>
              <a:gd name="T18" fmla="*/ 30 w 234"/>
              <a:gd name="T19" fmla="*/ 24 h 174"/>
              <a:gd name="T20" fmla="*/ 42 w 234"/>
              <a:gd name="T21" fmla="*/ 12 h 174"/>
              <a:gd name="T22" fmla="*/ 48 w 234"/>
              <a:gd name="T23" fmla="*/ 18 h 174"/>
              <a:gd name="T24" fmla="*/ 60 w 234"/>
              <a:gd name="T25" fmla="*/ 6 h 174"/>
              <a:gd name="T26" fmla="*/ 84 w 234"/>
              <a:gd name="T27" fmla="*/ 12 h 174"/>
              <a:gd name="T28" fmla="*/ 102 w 234"/>
              <a:gd name="T29" fmla="*/ 6 h 174"/>
              <a:gd name="T30" fmla="*/ 114 w 234"/>
              <a:gd name="T31" fmla="*/ 6 h 174"/>
              <a:gd name="T32" fmla="*/ 126 w 234"/>
              <a:gd name="T33" fmla="*/ 12 h 174"/>
              <a:gd name="T34" fmla="*/ 144 w 234"/>
              <a:gd name="T35" fmla="*/ 12 h 174"/>
              <a:gd name="T36" fmla="*/ 150 w 234"/>
              <a:gd name="T37" fmla="*/ 12 h 174"/>
              <a:gd name="T38" fmla="*/ 168 w 234"/>
              <a:gd name="T39" fmla="*/ 12 h 174"/>
              <a:gd name="T40" fmla="*/ 180 w 234"/>
              <a:gd name="T41" fmla="*/ 18 h 174"/>
              <a:gd name="T42" fmla="*/ 186 w 234"/>
              <a:gd name="T43" fmla="*/ 18 h 174"/>
              <a:gd name="T44" fmla="*/ 198 w 234"/>
              <a:gd name="T45" fmla="*/ 24 h 174"/>
              <a:gd name="T46" fmla="*/ 210 w 234"/>
              <a:gd name="T47" fmla="*/ 24 h 174"/>
              <a:gd name="T48" fmla="*/ 210 w 234"/>
              <a:gd name="T49" fmla="*/ 24 h 174"/>
              <a:gd name="T50" fmla="*/ 210 w 234"/>
              <a:gd name="T51" fmla="*/ 24 h 174"/>
              <a:gd name="T52" fmla="*/ 216 w 234"/>
              <a:gd name="T53" fmla="*/ 30 h 174"/>
              <a:gd name="T54" fmla="*/ 222 w 234"/>
              <a:gd name="T55" fmla="*/ 36 h 174"/>
              <a:gd name="T56" fmla="*/ 216 w 234"/>
              <a:gd name="T57" fmla="*/ 42 h 174"/>
              <a:gd name="T58" fmla="*/ 204 w 234"/>
              <a:gd name="T59" fmla="*/ 54 h 174"/>
              <a:gd name="T60" fmla="*/ 216 w 234"/>
              <a:gd name="T61" fmla="*/ 72 h 174"/>
              <a:gd name="T62" fmla="*/ 228 w 234"/>
              <a:gd name="T63" fmla="*/ 78 h 174"/>
              <a:gd name="T64" fmla="*/ 228 w 234"/>
              <a:gd name="T65" fmla="*/ 96 h 174"/>
              <a:gd name="T66" fmla="*/ 216 w 234"/>
              <a:gd name="T67" fmla="*/ 96 h 174"/>
              <a:gd name="T68" fmla="*/ 210 w 234"/>
              <a:gd name="T69" fmla="*/ 102 h 174"/>
              <a:gd name="T70" fmla="*/ 198 w 234"/>
              <a:gd name="T71" fmla="*/ 108 h 174"/>
              <a:gd name="T72" fmla="*/ 198 w 234"/>
              <a:gd name="T73" fmla="*/ 126 h 174"/>
              <a:gd name="T74" fmla="*/ 192 w 234"/>
              <a:gd name="T75" fmla="*/ 132 h 174"/>
              <a:gd name="T76" fmla="*/ 180 w 234"/>
              <a:gd name="T77" fmla="*/ 120 h 174"/>
              <a:gd name="T78" fmla="*/ 168 w 234"/>
              <a:gd name="T79" fmla="*/ 114 h 174"/>
              <a:gd name="T80" fmla="*/ 156 w 234"/>
              <a:gd name="T81" fmla="*/ 120 h 174"/>
              <a:gd name="T82" fmla="*/ 150 w 234"/>
              <a:gd name="T83" fmla="*/ 132 h 174"/>
              <a:gd name="T84" fmla="*/ 144 w 234"/>
              <a:gd name="T85" fmla="*/ 144 h 174"/>
              <a:gd name="T86" fmla="*/ 138 w 234"/>
              <a:gd name="T87" fmla="*/ 156 h 174"/>
              <a:gd name="T88" fmla="*/ 126 w 234"/>
              <a:gd name="T89" fmla="*/ 162 h 174"/>
              <a:gd name="T90" fmla="*/ 114 w 234"/>
              <a:gd name="T91" fmla="*/ 162 h 174"/>
              <a:gd name="T92" fmla="*/ 102 w 234"/>
              <a:gd name="T93" fmla="*/ 162 h 174"/>
              <a:gd name="T94" fmla="*/ 96 w 234"/>
              <a:gd name="T95" fmla="*/ 168 h 174"/>
              <a:gd name="T96" fmla="*/ 78 w 234"/>
              <a:gd name="T97" fmla="*/ 168 h 174"/>
              <a:gd name="T98" fmla="*/ 66 w 234"/>
              <a:gd name="T99" fmla="*/ 168 h 174"/>
              <a:gd name="T100" fmla="*/ 48 w 234"/>
              <a:gd name="T101" fmla="*/ 168 h 174"/>
              <a:gd name="T102" fmla="*/ 42 w 234"/>
              <a:gd name="T103" fmla="*/ 168 h 174"/>
              <a:gd name="T104" fmla="*/ 30 w 234"/>
              <a:gd name="T105" fmla="*/ 168 h 174"/>
              <a:gd name="T106" fmla="*/ 18 w 234"/>
              <a:gd name="T107" fmla="*/ 162 h 174"/>
              <a:gd name="T108" fmla="*/ 12 w 234"/>
              <a:gd name="T109" fmla="*/ 162 h 174"/>
              <a:gd name="T110" fmla="*/ 18 w 234"/>
              <a:gd name="T111" fmla="*/ 150 h 174"/>
              <a:gd name="T112" fmla="*/ 12 w 234"/>
              <a:gd name="T113" fmla="*/ 138 h 174"/>
              <a:gd name="T114" fmla="*/ 6 w 234"/>
              <a:gd name="T115" fmla="*/ 126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34" h="174">
                <a:moveTo>
                  <a:pt x="6" y="126"/>
                </a:move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0"/>
                </a:lnTo>
                <a:lnTo>
                  <a:pt x="6" y="120"/>
                </a:lnTo>
                <a:lnTo>
                  <a:pt x="6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96"/>
                </a:lnTo>
                <a:lnTo>
                  <a:pt x="36" y="96"/>
                </a:lnTo>
                <a:lnTo>
                  <a:pt x="30" y="96"/>
                </a:lnTo>
                <a:lnTo>
                  <a:pt x="30" y="96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2"/>
                </a:lnTo>
                <a:lnTo>
                  <a:pt x="12" y="72"/>
                </a:lnTo>
                <a:lnTo>
                  <a:pt x="12" y="78"/>
                </a:lnTo>
                <a:lnTo>
                  <a:pt x="12" y="78"/>
                </a:lnTo>
                <a:lnTo>
                  <a:pt x="12" y="72"/>
                </a:lnTo>
                <a:lnTo>
                  <a:pt x="12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0" y="72"/>
                </a:lnTo>
                <a:lnTo>
                  <a:pt x="6" y="72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12" y="54"/>
                </a:lnTo>
                <a:lnTo>
                  <a:pt x="12" y="54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24" y="36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30" y="30"/>
                </a:lnTo>
                <a:lnTo>
                  <a:pt x="30" y="24"/>
                </a:lnTo>
                <a:lnTo>
                  <a:pt x="30" y="24"/>
                </a:lnTo>
                <a:lnTo>
                  <a:pt x="36" y="24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6" y="18"/>
                </a:lnTo>
                <a:lnTo>
                  <a:pt x="36" y="18"/>
                </a:lnTo>
                <a:lnTo>
                  <a:pt x="42" y="12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42" y="12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6" y="0"/>
                </a:lnTo>
                <a:lnTo>
                  <a:pt x="72" y="0"/>
                </a:lnTo>
                <a:lnTo>
                  <a:pt x="72" y="0"/>
                </a:lnTo>
                <a:lnTo>
                  <a:pt x="72" y="6"/>
                </a:lnTo>
                <a:lnTo>
                  <a:pt x="78" y="6"/>
                </a:lnTo>
                <a:lnTo>
                  <a:pt x="78" y="6"/>
                </a:lnTo>
                <a:lnTo>
                  <a:pt x="84" y="6"/>
                </a:lnTo>
                <a:lnTo>
                  <a:pt x="84" y="12"/>
                </a:lnTo>
                <a:lnTo>
                  <a:pt x="84" y="12"/>
                </a:lnTo>
                <a:lnTo>
                  <a:pt x="84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12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32" y="6"/>
                </a:lnTo>
                <a:lnTo>
                  <a:pt x="132" y="12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12"/>
                </a:lnTo>
                <a:lnTo>
                  <a:pt x="138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6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62" y="6"/>
                </a:lnTo>
                <a:lnTo>
                  <a:pt x="162" y="6"/>
                </a:lnTo>
                <a:lnTo>
                  <a:pt x="162" y="6"/>
                </a:lnTo>
                <a:lnTo>
                  <a:pt x="162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74" y="18"/>
                </a:lnTo>
                <a:lnTo>
                  <a:pt x="174" y="18"/>
                </a:lnTo>
                <a:lnTo>
                  <a:pt x="174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92" y="18"/>
                </a:lnTo>
                <a:lnTo>
                  <a:pt x="192" y="18"/>
                </a:lnTo>
                <a:lnTo>
                  <a:pt x="192" y="18"/>
                </a:lnTo>
                <a:lnTo>
                  <a:pt x="192" y="24"/>
                </a:lnTo>
                <a:lnTo>
                  <a:pt x="192" y="24"/>
                </a:lnTo>
                <a:lnTo>
                  <a:pt x="192" y="24"/>
                </a:lnTo>
                <a:lnTo>
                  <a:pt x="192" y="24"/>
                </a:lnTo>
                <a:lnTo>
                  <a:pt x="192" y="24"/>
                </a:lnTo>
                <a:lnTo>
                  <a:pt x="192" y="24"/>
                </a:lnTo>
                <a:lnTo>
                  <a:pt x="198" y="24"/>
                </a:lnTo>
                <a:lnTo>
                  <a:pt x="198" y="24"/>
                </a:lnTo>
                <a:lnTo>
                  <a:pt x="198" y="24"/>
                </a:lnTo>
                <a:lnTo>
                  <a:pt x="198" y="24"/>
                </a:lnTo>
                <a:lnTo>
                  <a:pt x="198" y="24"/>
                </a:lnTo>
                <a:lnTo>
                  <a:pt x="198" y="24"/>
                </a:lnTo>
                <a:lnTo>
                  <a:pt x="204" y="24"/>
                </a:lnTo>
                <a:lnTo>
                  <a:pt x="204" y="24"/>
                </a:lnTo>
                <a:lnTo>
                  <a:pt x="204" y="24"/>
                </a:lnTo>
                <a:lnTo>
                  <a:pt x="204" y="24"/>
                </a:lnTo>
                <a:lnTo>
                  <a:pt x="210" y="24"/>
                </a:lnTo>
                <a:lnTo>
                  <a:pt x="210" y="24"/>
                </a:lnTo>
                <a:lnTo>
                  <a:pt x="204" y="24"/>
                </a:lnTo>
                <a:lnTo>
                  <a:pt x="204" y="24"/>
                </a:lnTo>
                <a:lnTo>
                  <a:pt x="204" y="24"/>
                </a:lnTo>
                <a:lnTo>
                  <a:pt x="210" y="18"/>
                </a:lnTo>
                <a:lnTo>
                  <a:pt x="210" y="18"/>
                </a:lnTo>
                <a:lnTo>
                  <a:pt x="210" y="18"/>
                </a:lnTo>
                <a:lnTo>
                  <a:pt x="210" y="18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6" y="24"/>
                </a:lnTo>
                <a:lnTo>
                  <a:pt x="216" y="24"/>
                </a:lnTo>
                <a:lnTo>
                  <a:pt x="216" y="24"/>
                </a:lnTo>
                <a:lnTo>
                  <a:pt x="216" y="24"/>
                </a:lnTo>
                <a:lnTo>
                  <a:pt x="216" y="30"/>
                </a:lnTo>
                <a:lnTo>
                  <a:pt x="216" y="30"/>
                </a:lnTo>
                <a:lnTo>
                  <a:pt x="216" y="30"/>
                </a:lnTo>
                <a:lnTo>
                  <a:pt x="216" y="30"/>
                </a:lnTo>
                <a:lnTo>
                  <a:pt x="216" y="30"/>
                </a:lnTo>
                <a:lnTo>
                  <a:pt x="216" y="30"/>
                </a:lnTo>
                <a:lnTo>
                  <a:pt x="216" y="30"/>
                </a:lnTo>
                <a:lnTo>
                  <a:pt x="216" y="30"/>
                </a:lnTo>
                <a:lnTo>
                  <a:pt x="216" y="30"/>
                </a:lnTo>
                <a:lnTo>
                  <a:pt x="216" y="30"/>
                </a:lnTo>
                <a:lnTo>
                  <a:pt x="216" y="30"/>
                </a:lnTo>
                <a:lnTo>
                  <a:pt x="216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16" y="36"/>
                </a:lnTo>
                <a:lnTo>
                  <a:pt x="216" y="42"/>
                </a:lnTo>
                <a:lnTo>
                  <a:pt x="216" y="42"/>
                </a:lnTo>
                <a:lnTo>
                  <a:pt x="216" y="42"/>
                </a:lnTo>
                <a:lnTo>
                  <a:pt x="216" y="42"/>
                </a:lnTo>
                <a:lnTo>
                  <a:pt x="216" y="42"/>
                </a:lnTo>
                <a:lnTo>
                  <a:pt x="216" y="42"/>
                </a:lnTo>
                <a:lnTo>
                  <a:pt x="216" y="48"/>
                </a:lnTo>
                <a:lnTo>
                  <a:pt x="210" y="48"/>
                </a:lnTo>
                <a:lnTo>
                  <a:pt x="210" y="48"/>
                </a:lnTo>
                <a:lnTo>
                  <a:pt x="210" y="48"/>
                </a:lnTo>
                <a:lnTo>
                  <a:pt x="204" y="48"/>
                </a:lnTo>
                <a:lnTo>
                  <a:pt x="204" y="54"/>
                </a:lnTo>
                <a:lnTo>
                  <a:pt x="204" y="54"/>
                </a:lnTo>
                <a:lnTo>
                  <a:pt x="204" y="54"/>
                </a:lnTo>
                <a:lnTo>
                  <a:pt x="204" y="54"/>
                </a:lnTo>
                <a:lnTo>
                  <a:pt x="204" y="60"/>
                </a:lnTo>
                <a:lnTo>
                  <a:pt x="204" y="66"/>
                </a:lnTo>
                <a:lnTo>
                  <a:pt x="204" y="66"/>
                </a:lnTo>
                <a:lnTo>
                  <a:pt x="204" y="66"/>
                </a:lnTo>
                <a:lnTo>
                  <a:pt x="204" y="72"/>
                </a:lnTo>
                <a:lnTo>
                  <a:pt x="210" y="72"/>
                </a:lnTo>
                <a:lnTo>
                  <a:pt x="210" y="72"/>
                </a:lnTo>
                <a:lnTo>
                  <a:pt x="216" y="72"/>
                </a:lnTo>
                <a:lnTo>
                  <a:pt x="216" y="72"/>
                </a:lnTo>
                <a:lnTo>
                  <a:pt x="222" y="72"/>
                </a:lnTo>
                <a:lnTo>
                  <a:pt x="222" y="72"/>
                </a:lnTo>
                <a:lnTo>
                  <a:pt x="228" y="72"/>
                </a:lnTo>
                <a:lnTo>
                  <a:pt x="228" y="72"/>
                </a:lnTo>
                <a:lnTo>
                  <a:pt x="228" y="72"/>
                </a:lnTo>
                <a:lnTo>
                  <a:pt x="228" y="72"/>
                </a:lnTo>
                <a:lnTo>
                  <a:pt x="228" y="78"/>
                </a:lnTo>
                <a:lnTo>
                  <a:pt x="228" y="78"/>
                </a:lnTo>
                <a:lnTo>
                  <a:pt x="228" y="78"/>
                </a:lnTo>
                <a:lnTo>
                  <a:pt x="228" y="84"/>
                </a:lnTo>
                <a:lnTo>
                  <a:pt x="228" y="84"/>
                </a:lnTo>
                <a:lnTo>
                  <a:pt x="228" y="84"/>
                </a:lnTo>
                <a:lnTo>
                  <a:pt x="228" y="84"/>
                </a:lnTo>
                <a:lnTo>
                  <a:pt x="228" y="84"/>
                </a:lnTo>
                <a:lnTo>
                  <a:pt x="228" y="90"/>
                </a:lnTo>
                <a:lnTo>
                  <a:pt x="234" y="90"/>
                </a:lnTo>
                <a:lnTo>
                  <a:pt x="234" y="90"/>
                </a:lnTo>
                <a:lnTo>
                  <a:pt x="234" y="96"/>
                </a:lnTo>
                <a:lnTo>
                  <a:pt x="228" y="96"/>
                </a:lnTo>
                <a:lnTo>
                  <a:pt x="228" y="102"/>
                </a:lnTo>
                <a:lnTo>
                  <a:pt x="228" y="96"/>
                </a:lnTo>
                <a:lnTo>
                  <a:pt x="228" y="96"/>
                </a:lnTo>
                <a:lnTo>
                  <a:pt x="222" y="96"/>
                </a:lnTo>
                <a:lnTo>
                  <a:pt x="222" y="96"/>
                </a:lnTo>
                <a:lnTo>
                  <a:pt x="222" y="96"/>
                </a:lnTo>
                <a:lnTo>
                  <a:pt x="222" y="96"/>
                </a:lnTo>
                <a:lnTo>
                  <a:pt x="222" y="96"/>
                </a:lnTo>
                <a:lnTo>
                  <a:pt x="216" y="96"/>
                </a:lnTo>
                <a:lnTo>
                  <a:pt x="216" y="96"/>
                </a:lnTo>
                <a:lnTo>
                  <a:pt x="216" y="102"/>
                </a:lnTo>
                <a:lnTo>
                  <a:pt x="216" y="102"/>
                </a:lnTo>
                <a:lnTo>
                  <a:pt x="216" y="102"/>
                </a:lnTo>
                <a:lnTo>
                  <a:pt x="216" y="102"/>
                </a:lnTo>
                <a:lnTo>
                  <a:pt x="216" y="102"/>
                </a:lnTo>
                <a:lnTo>
                  <a:pt x="210" y="102"/>
                </a:lnTo>
                <a:lnTo>
                  <a:pt x="210" y="102"/>
                </a:lnTo>
                <a:lnTo>
                  <a:pt x="210" y="102"/>
                </a:lnTo>
                <a:lnTo>
                  <a:pt x="210" y="102"/>
                </a:lnTo>
                <a:lnTo>
                  <a:pt x="210" y="102"/>
                </a:lnTo>
                <a:lnTo>
                  <a:pt x="204" y="102"/>
                </a:lnTo>
                <a:lnTo>
                  <a:pt x="204" y="102"/>
                </a:lnTo>
                <a:lnTo>
                  <a:pt x="204" y="108"/>
                </a:lnTo>
                <a:lnTo>
                  <a:pt x="204" y="108"/>
                </a:lnTo>
                <a:lnTo>
                  <a:pt x="204" y="108"/>
                </a:lnTo>
                <a:lnTo>
                  <a:pt x="204" y="102"/>
                </a:lnTo>
                <a:lnTo>
                  <a:pt x="204" y="102"/>
                </a:lnTo>
                <a:lnTo>
                  <a:pt x="198" y="102"/>
                </a:lnTo>
                <a:lnTo>
                  <a:pt x="204" y="108"/>
                </a:lnTo>
                <a:lnTo>
                  <a:pt x="198" y="108"/>
                </a:lnTo>
                <a:lnTo>
                  <a:pt x="204" y="114"/>
                </a:lnTo>
                <a:lnTo>
                  <a:pt x="204" y="120"/>
                </a:lnTo>
                <a:lnTo>
                  <a:pt x="204" y="120"/>
                </a:lnTo>
                <a:lnTo>
                  <a:pt x="204" y="120"/>
                </a:lnTo>
                <a:lnTo>
                  <a:pt x="198" y="120"/>
                </a:lnTo>
                <a:lnTo>
                  <a:pt x="204" y="126"/>
                </a:lnTo>
                <a:lnTo>
                  <a:pt x="204" y="126"/>
                </a:lnTo>
                <a:lnTo>
                  <a:pt x="204" y="126"/>
                </a:lnTo>
                <a:lnTo>
                  <a:pt x="204" y="126"/>
                </a:lnTo>
                <a:lnTo>
                  <a:pt x="198" y="126"/>
                </a:lnTo>
                <a:lnTo>
                  <a:pt x="198" y="126"/>
                </a:lnTo>
                <a:lnTo>
                  <a:pt x="198" y="126"/>
                </a:lnTo>
                <a:lnTo>
                  <a:pt x="198" y="126"/>
                </a:lnTo>
                <a:lnTo>
                  <a:pt x="198" y="132"/>
                </a:lnTo>
                <a:lnTo>
                  <a:pt x="198" y="132"/>
                </a:lnTo>
                <a:lnTo>
                  <a:pt x="198" y="138"/>
                </a:lnTo>
                <a:lnTo>
                  <a:pt x="198" y="138"/>
                </a:lnTo>
                <a:lnTo>
                  <a:pt x="192" y="138"/>
                </a:lnTo>
                <a:lnTo>
                  <a:pt x="192" y="132"/>
                </a:lnTo>
                <a:lnTo>
                  <a:pt x="192" y="132"/>
                </a:lnTo>
                <a:lnTo>
                  <a:pt x="192" y="126"/>
                </a:lnTo>
                <a:lnTo>
                  <a:pt x="192" y="126"/>
                </a:lnTo>
                <a:lnTo>
                  <a:pt x="192" y="126"/>
                </a:lnTo>
                <a:lnTo>
                  <a:pt x="192" y="126"/>
                </a:lnTo>
                <a:lnTo>
                  <a:pt x="186" y="126"/>
                </a:lnTo>
                <a:lnTo>
                  <a:pt x="186" y="126"/>
                </a:lnTo>
                <a:lnTo>
                  <a:pt x="186" y="126"/>
                </a:lnTo>
                <a:lnTo>
                  <a:pt x="180" y="126"/>
                </a:lnTo>
                <a:lnTo>
                  <a:pt x="180" y="126"/>
                </a:lnTo>
                <a:lnTo>
                  <a:pt x="180" y="120"/>
                </a:lnTo>
                <a:lnTo>
                  <a:pt x="180" y="120"/>
                </a:lnTo>
                <a:lnTo>
                  <a:pt x="180" y="120"/>
                </a:lnTo>
                <a:lnTo>
                  <a:pt x="174" y="120"/>
                </a:lnTo>
                <a:lnTo>
                  <a:pt x="174" y="114"/>
                </a:lnTo>
                <a:lnTo>
                  <a:pt x="174" y="114"/>
                </a:lnTo>
                <a:lnTo>
                  <a:pt x="174" y="114"/>
                </a:lnTo>
                <a:lnTo>
                  <a:pt x="174" y="114"/>
                </a:lnTo>
                <a:lnTo>
                  <a:pt x="168" y="114"/>
                </a:lnTo>
                <a:lnTo>
                  <a:pt x="168" y="114"/>
                </a:lnTo>
                <a:lnTo>
                  <a:pt x="168" y="114"/>
                </a:lnTo>
                <a:lnTo>
                  <a:pt x="168" y="114"/>
                </a:lnTo>
                <a:lnTo>
                  <a:pt x="168" y="114"/>
                </a:lnTo>
                <a:lnTo>
                  <a:pt x="168" y="114"/>
                </a:lnTo>
                <a:lnTo>
                  <a:pt x="168" y="114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56" y="120"/>
                </a:lnTo>
                <a:lnTo>
                  <a:pt x="156" y="120"/>
                </a:lnTo>
                <a:lnTo>
                  <a:pt x="156" y="120"/>
                </a:lnTo>
                <a:lnTo>
                  <a:pt x="156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32"/>
                </a:lnTo>
                <a:lnTo>
                  <a:pt x="150" y="126"/>
                </a:lnTo>
                <a:lnTo>
                  <a:pt x="144" y="132"/>
                </a:lnTo>
                <a:lnTo>
                  <a:pt x="144" y="126"/>
                </a:lnTo>
                <a:lnTo>
                  <a:pt x="144" y="132"/>
                </a:lnTo>
                <a:lnTo>
                  <a:pt x="150" y="132"/>
                </a:lnTo>
                <a:lnTo>
                  <a:pt x="150" y="132"/>
                </a:lnTo>
                <a:lnTo>
                  <a:pt x="144" y="132"/>
                </a:lnTo>
                <a:lnTo>
                  <a:pt x="144" y="138"/>
                </a:lnTo>
                <a:lnTo>
                  <a:pt x="144" y="138"/>
                </a:lnTo>
                <a:lnTo>
                  <a:pt x="144" y="138"/>
                </a:lnTo>
                <a:lnTo>
                  <a:pt x="144" y="144"/>
                </a:lnTo>
                <a:lnTo>
                  <a:pt x="144" y="144"/>
                </a:lnTo>
                <a:lnTo>
                  <a:pt x="144" y="144"/>
                </a:lnTo>
                <a:lnTo>
                  <a:pt x="144" y="144"/>
                </a:lnTo>
                <a:lnTo>
                  <a:pt x="144" y="144"/>
                </a:lnTo>
                <a:lnTo>
                  <a:pt x="144" y="144"/>
                </a:lnTo>
                <a:lnTo>
                  <a:pt x="144" y="144"/>
                </a:lnTo>
                <a:lnTo>
                  <a:pt x="138" y="144"/>
                </a:lnTo>
                <a:lnTo>
                  <a:pt x="138" y="144"/>
                </a:lnTo>
                <a:lnTo>
                  <a:pt x="138" y="144"/>
                </a:lnTo>
                <a:lnTo>
                  <a:pt x="138" y="150"/>
                </a:lnTo>
                <a:lnTo>
                  <a:pt x="138" y="150"/>
                </a:lnTo>
                <a:lnTo>
                  <a:pt x="138" y="150"/>
                </a:lnTo>
                <a:lnTo>
                  <a:pt x="138" y="150"/>
                </a:lnTo>
                <a:lnTo>
                  <a:pt x="138" y="156"/>
                </a:lnTo>
                <a:lnTo>
                  <a:pt x="138" y="156"/>
                </a:lnTo>
                <a:lnTo>
                  <a:pt x="138" y="156"/>
                </a:lnTo>
                <a:lnTo>
                  <a:pt x="138" y="156"/>
                </a:lnTo>
                <a:lnTo>
                  <a:pt x="138" y="156"/>
                </a:lnTo>
                <a:lnTo>
                  <a:pt x="132" y="156"/>
                </a:lnTo>
                <a:lnTo>
                  <a:pt x="132" y="162"/>
                </a:lnTo>
                <a:lnTo>
                  <a:pt x="132" y="162"/>
                </a:lnTo>
                <a:lnTo>
                  <a:pt x="132" y="162"/>
                </a:lnTo>
                <a:lnTo>
                  <a:pt x="126" y="162"/>
                </a:lnTo>
                <a:lnTo>
                  <a:pt x="126" y="162"/>
                </a:lnTo>
                <a:lnTo>
                  <a:pt x="126" y="162"/>
                </a:lnTo>
                <a:lnTo>
                  <a:pt x="120" y="162"/>
                </a:lnTo>
                <a:lnTo>
                  <a:pt x="120" y="162"/>
                </a:lnTo>
                <a:lnTo>
                  <a:pt x="120" y="162"/>
                </a:lnTo>
                <a:lnTo>
                  <a:pt x="120" y="162"/>
                </a:lnTo>
                <a:lnTo>
                  <a:pt x="120" y="162"/>
                </a:lnTo>
                <a:lnTo>
                  <a:pt x="114" y="162"/>
                </a:lnTo>
                <a:lnTo>
                  <a:pt x="114" y="162"/>
                </a:lnTo>
                <a:lnTo>
                  <a:pt x="114" y="162"/>
                </a:lnTo>
                <a:lnTo>
                  <a:pt x="114" y="162"/>
                </a:lnTo>
                <a:lnTo>
                  <a:pt x="114" y="162"/>
                </a:lnTo>
                <a:lnTo>
                  <a:pt x="114" y="162"/>
                </a:lnTo>
                <a:lnTo>
                  <a:pt x="108" y="162"/>
                </a:lnTo>
                <a:lnTo>
                  <a:pt x="108" y="162"/>
                </a:lnTo>
                <a:lnTo>
                  <a:pt x="108" y="162"/>
                </a:lnTo>
                <a:lnTo>
                  <a:pt x="108" y="162"/>
                </a:lnTo>
                <a:lnTo>
                  <a:pt x="102" y="162"/>
                </a:lnTo>
                <a:lnTo>
                  <a:pt x="102" y="162"/>
                </a:lnTo>
                <a:lnTo>
                  <a:pt x="102" y="162"/>
                </a:lnTo>
                <a:lnTo>
                  <a:pt x="102" y="162"/>
                </a:lnTo>
                <a:lnTo>
                  <a:pt x="102" y="162"/>
                </a:lnTo>
                <a:lnTo>
                  <a:pt x="96" y="162"/>
                </a:lnTo>
                <a:lnTo>
                  <a:pt x="96" y="162"/>
                </a:lnTo>
                <a:lnTo>
                  <a:pt x="96" y="162"/>
                </a:lnTo>
                <a:lnTo>
                  <a:pt x="96" y="162"/>
                </a:lnTo>
                <a:lnTo>
                  <a:pt x="90" y="162"/>
                </a:lnTo>
                <a:lnTo>
                  <a:pt x="90" y="168"/>
                </a:lnTo>
                <a:lnTo>
                  <a:pt x="90" y="168"/>
                </a:lnTo>
                <a:lnTo>
                  <a:pt x="90" y="168"/>
                </a:lnTo>
                <a:lnTo>
                  <a:pt x="96" y="168"/>
                </a:lnTo>
                <a:lnTo>
                  <a:pt x="96" y="168"/>
                </a:lnTo>
                <a:lnTo>
                  <a:pt x="90" y="168"/>
                </a:lnTo>
                <a:lnTo>
                  <a:pt x="90" y="168"/>
                </a:lnTo>
                <a:lnTo>
                  <a:pt x="90" y="168"/>
                </a:lnTo>
                <a:lnTo>
                  <a:pt x="84" y="168"/>
                </a:lnTo>
                <a:lnTo>
                  <a:pt x="84" y="168"/>
                </a:lnTo>
                <a:lnTo>
                  <a:pt x="84" y="168"/>
                </a:lnTo>
                <a:lnTo>
                  <a:pt x="78" y="168"/>
                </a:lnTo>
                <a:lnTo>
                  <a:pt x="78" y="168"/>
                </a:lnTo>
                <a:lnTo>
                  <a:pt x="78" y="168"/>
                </a:lnTo>
                <a:lnTo>
                  <a:pt x="78" y="174"/>
                </a:lnTo>
                <a:lnTo>
                  <a:pt x="72" y="174"/>
                </a:lnTo>
                <a:lnTo>
                  <a:pt x="72" y="174"/>
                </a:lnTo>
                <a:lnTo>
                  <a:pt x="72" y="168"/>
                </a:lnTo>
                <a:lnTo>
                  <a:pt x="72" y="168"/>
                </a:lnTo>
                <a:lnTo>
                  <a:pt x="72" y="168"/>
                </a:lnTo>
                <a:lnTo>
                  <a:pt x="72" y="168"/>
                </a:lnTo>
                <a:lnTo>
                  <a:pt x="72" y="168"/>
                </a:lnTo>
                <a:lnTo>
                  <a:pt x="66" y="168"/>
                </a:lnTo>
                <a:lnTo>
                  <a:pt x="66" y="168"/>
                </a:lnTo>
                <a:lnTo>
                  <a:pt x="66" y="168"/>
                </a:lnTo>
                <a:lnTo>
                  <a:pt x="66" y="168"/>
                </a:lnTo>
                <a:lnTo>
                  <a:pt x="66" y="168"/>
                </a:lnTo>
                <a:lnTo>
                  <a:pt x="60" y="168"/>
                </a:lnTo>
                <a:lnTo>
                  <a:pt x="60" y="168"/>
                </a:lnTo>
                <a:lnTo>
                  <a:pt x="54" y="168"/>
                </a:lnTo>
                <a:lnTo>
                  <a:pt x="54" y="168"/>
                </a:lnTo>
                <a:lnTo>
                  <a:pt x="54" y="168"/>
                </a:lnTo>
                <a:lnTo>
                  <a:pt x="48" y="168"/>
                </a:lnTo>
                <a:lnTo>
                  <a:pt x="48" y="168"/>
                </a:lnTo>
                <a:lnTo>
                  <a:pt x="48" y="168"/>
                </a:lnTo>
                <a:lnTo>
                  <a:pt x="48" y="168"/>
                </a:lnTo>
                <a:lnTo>
                  <a:pt x="48" y="168"/>
                </a:lnTo>
                <a:lnTo>
                  <a:pt x="48" y="168"/>
                </a:lnTo>
                <a:lnTo>
                  <a:pt x="48" y="168"/>
                </a:lnTo>
                <a:lnTo>
                  <a:pt x="42" y="168"/>
                </a:lnTo>
                <a:lnTo>
                  <a:pt x="42" y="168"/>
                </a:lnTo>
                <a:lnTo>
                  <a:pt x="42" y="168"/>
                </a:lnTo>
                <a:lnTo>
                  <a:pt x="42" y="168"/>
                </a:lnTo>
                <a:lnTo>
                  <a:pt x="42" y="168"/>
                </a:lnTo>
                <a:lnTo>
                  <a:pt x="42" y="168"/>
                </a:lnTo>
                <a:lnTo>
                  <a:pt x="36" y="168"/>
                </a:lnTo>
                <a:lnTo>
                  <a:pt x="36" y="168"/>
                </a:lnTo>
                <a:lnTo>
                  <a:pt x="36" y="168"/>
                </a:lnTo>
                <a:lnTo>
                  <a:pt x="36" y="168"/>
                </a:lnTo>
                <a:lnTo>
                  <a:pt x="36" y="168"/>
                </a:lnTo>
                <a:lnTo>
                  <a:pt x="36" y="168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24" y="168"/>
                </a:lnTo>
                <a:lnTo>
                  <a:pt x="24" y="162"/>
                </a:lnTo>
                <a:lnTo>
                  <a:pt x="24" y="162"/>
                </a:lnTo>
                <a:lnTo>
                  <a:pt x="18" y="162"/>
                </a:lnTo>
                <a:lnTo>
                  <a:pt x="18" y="162"/>
                </a:lnTo>
                <a:lnTo>
                  <a:pt x="18" y="162"/>
                </a:lnTo>
                <a:lnTo>
                  <a:pt x="18" y="162"/>
                </a:lnTo>
                <a:lnTo>
                  <a:pt x="18" y="162"/>
                </a:lnTo>
                <a:lnTo>
                  <a:pt x="18" y="162"/>
                </a:lnTo>
                <a:lnTo>
                  <a:pt x="18" y="162"/>
                </a:lnTo>
                <a:lnTo>
                  <a:pt x="12" y="162"/>
                </a:lnTo>
                <a:lnTo>
                  <a:pt x="12" y="162"/>
                </a:lnTo>
                <a:lnTo>
                  <a:pt x="12" y="162"/>
                </a:lnTo>
                <a:lnTo>
                  <a:pt x="12" y="162"/>
                </a:lnTo>
                <a:lnTo>
                  <a:pt x="12" y="162"/>
                </a:lnTo>
                <a:lnTo>
                  <a:pt x="12" y="156"/>
                </a:lnTo>
                <a:lnTo>
                  <a:pt x="12" y="156"/>
                </a:lnTo>
                <a:lnTo>
                  <a:pt x="12" y="156"/>
                </a:lnTo>
                <a:lnTo>
                  <a:pt x="12" y="156"/>
                </a:lnTo>
                <a:lnTo>
                  <a:pt x="12" y="156"/>
                </a:lnTo>
                <a:lnTo>
                  <a:pt x="12" y="156"/>
                </a:lnTo>
                <a:lnTo>
                  <a:pt x="18" y="156"/>
                </a:lnTo>
                <a:lnTo>
                  <a:pt x="18" y="150"/>
                </a:lnTo>
                <a:lnTo>
                  <a:pt x="18" y="150"/>
                </a:lnTo>
                <a:lnTo>
                  <a:pt x="18" y="150"/>
                </a:lnTo>
                <a:lnTo>
                  <a:pt x="18" y="150"/>
                </a:lnTo>
                <a:lnTo>
                  <a:pt x="18" y="150"/>
                </a:lnTo>
                <a:lnTo>
                  <a:pt x="18" y="144"/>
                </a:lnTo>
                <a:lnTo>
                  <a:pt x="18" y="144"/>
                </a:lnTo>
                <a:lnTo>
                  <a:pt x="12" y="144"/>
                </a:lnTo>
                <a:lnTo>
                  <a:pt x="12" y="144"/>
                </a:lnTo>
                <a:lnTo>
                  <a:pt x="12" y="144"/>
                </a:lnTo>
                <a:lnTo>
                  <a:pt x="12" y="144"/>
                </a:lnTo>
                <a:lnTo>
                  <a:pt x="12" y="144"/>
                </a:lnTo>
                <a:lnTo>
                  <a:pt x="12" y="138"/>
                </a:lnTo>
                <a:lnTo>
                  <a:pt x="12" y="138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6" y="132"/>
                </a:lnTo>
                <a:lnTo>
                  <a:pt x="6" y="132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45" name="Freeform 278"/>
          <p:cNvSpPr>
            <a:spLocks/>
          </p:cNvSpPr>
          <p:nvPr/>
        </p:nvSpPr>
        <p:spPr bwMode="auto">
          <a:xfrm>
            <a:off x="7128088" y="3646773"/>
            <a:ext cx="192721" cy="199147"/>
          </a:xfrm>
          <a:custGeom>
            <a:avLst/>
            <a:gdLst>
              <a:gd name="T0" fmla="*/ 6 w 180"/>
              <a:gd name="T1" fmla="*/ 0 h 186"/>
              <a:gd name="T2" fmla="*/ 12 w 180"/>
              <a:gd name="T3" fmla="*/ 0 h 186"/>
              <a:gd name="T4" fmla="*/ 18 w 180"/>
              <a:gd name="T5" fmla="*/ 6 h 186"/>
              <a:gd name="T6" fmla="*/ 30 w 180"/>
              <a:gd name="T7" fmla="*/ 6 h 186"/>
              <a:gd name="T8" fmla="*/ 36 w 180"/>
              <a:gd name="T9" fmla="*/ 12 h 186"/>
              <a:gd name="T10" fmla="*/ 36 w 180"/>
              <a:gd name="T11" fmla="*/ 12 h 186"/>
              <a:gd name="T12" fmla="*/ 42 w 180"/>
              <a:gd name="T13" fmla="*/ 18 h 186"/>
              <a:gd name="T14" fmla="*/ 54 w 180"/>
              <a:gd name="T15" fmla="*/ 18 h 186"/>
              <a:gd name="T16" fmla="*/ 60 w 180"/>
              <a:gd name="T17" fmla="*/ 24 h 186"/>
              <a:gd name="T18" fmla="*/ 72 w 180"/>
              <a:gd name="T19" fmla="*/ 36 h 186"/>
              <a:gd name="T20" fmla="*/ 90 w 180"/>
              <a:gd name="T21" fmla="*/ 42 h 186"/>
              <a:gd name="T22" fmla="*/ 102 w 180"/>
              <a:gd name="T23" fmla="*/ 36 h 186"/>
              <a:gd name="T24" fmla="*/ 114 w 180"/>
              <a:gd name="T25" fmla="*/ 36 h 186"/>
              <a:gd name="T26" fmla="*/ 126 w 180"/>
              <a:gd name="T27" fmla="*/ 36 h 186"/>
              <a:gd name="T28" fmla="*/ 138 w 180"/>
              <a:gd name="T29" fmla="*/ 36 h 186"/>
              <a:gd name="T30" fmla="*/ 150 w 180"/>
              <a:gd name="T31" fmla="*/ 42 h 186"/>
              <a:gd name="T32" fmla="*/ 156 w 180"/>
              <a:gd name="T33" fmla="*/ 42 h 186"/>
              <a:gd name="T34" fmla="*/ 162 w 180"/>
              <a:gd name="T35" fmla="*/ 30 h 186"/>
              <a:gd name="T36" fmla="*/ 168 w 180"/>
              <a:gd name="T37" fmla="*/ 36 h 186"/>
              <a:gd name="T38" fmla="*/ 180 w 180"/>
              <a:gd name="T39" fmla="*/ 30 h 186"/>
              <a:gd name="T40" fmla="*/ 180 w 180"/>
              <a:gd name="T41" fmla="*/ 42 h 186"/>
              <a:gd name="T42" fmla="*/ 174 w 180"/>
              <a:gd name="T43" fmla="*/ 60 h 186"/>
              <a:gd name="T44" fmla="*/ 180 w 180"/>
              <a:gd name="T45" fmla="*/ 66 h 186"/>
              <a:gd name="T46" fmla="*/ 180 w 180"/>
              <a:gd name="T47" fmla="*/ 72 h 186"/>
              <a:gd name="T48" fmla="*/ 174 w 180"/>
              <a:gd name="T49" fmla="*/ 84 h 186"/>
              <a:gd name="T50" fmla="*/ 174 w 180"/>
              <a:gd name="T51" fmla="*/ 84 h 186"/>
              <a:gd name="T52" fmla="*/ 174 w 180"/>
              <a:gd name="T53" fmla="*/ 90 h 186"/>
              <a:gd name="T54" fmla="*/ 168 w 180"/>
              <a:gd name="T55" fmla="*/ 96 h 186"/>
              <a:gd name="T56" fmla="*/ 168 w 180"/>
              <a:gd name="T57" fmla="*/ 102 h 186"/>
              <a:gd name="T58" fmla="*/ 168 w 180"/>
              <a:gd name="T59" fmla="*/ 108 h 186"/>
              <a:gd name="T60" fmla="*/ 162 w 180"/>
              <a:gd name="T61" fmla="*/ 114 h 186"/>
              <a:gd name="T62" fmla="*/ 156 w 180"/>
              <a:gd name="T63" fmla="*/ 120 h 186"/>
              <a:gd name="T64" fmla="*/ 156 w 180"/>
              <a:gd name="T65" fmla="*/ 126 h 186"/>
              <a:gd name="T66" fmla="*/ 150 w 180"/>
              <a:gd name="T67" fmla="*/ 138 h 186"/>
              <a:gd name="T68" fmla="*/ 150 w 180"/>
              <a:gd name="T69" fmla="*/ 144 h 186"/>
              <a:gd name="T70" fmla="*/ 150 w 180"/>
              <a:gd name="T71" fmla="*/ 144 h 186"/>
              <a:gd name="T72" fmla="*/ 144 w 180"/>
              <a:gd name="T73" fmla="*/ 150 h 186"/>
              <a:gd name="T74" fmla="*/ 144 w 180"/>
              <a:gd name="T75" fmla="*/ 156 h 186"/>
              <a:gd name="T76" fmla="*/ 144 w 180"/>
              <a:gd name="T77" fmla="*/ 162 h 186"/>
              <a:gd name="T78" fmla="*/ 144 w 180"/>
              <a:gd name="T79" fmla="*/ 168 h 186"/>
              <a:gd name="T80" fmla="*/ 144 w 180"/>
              <a:gd name="T81" fmla="*/ 174 h 186"/>
              <a:gd name="T82" fmla="*/ 138 w 180"/>
              <a:gd name="T83" fmla="*/ 180 h 186"/>
              <a:gd name="T84" fmla="*/ 126 w 180"/>
              <a:gd name="T85" fmla="*/ 186 h 186"/>
              <a:gd name="T86" fmla="*/ 114 w 180"/>
              <a:gd name="T87" fmla="*/ 168 h 186"/>
              <a:gd name="T88" fmla="*/ 120 w 180"/>
              <a:gd name="T89" fmla="*/ 162 h 186"/>
              <a:gd name="T90" fmla="*/ 102 w 180"/>
              <a:gd name="T91" fmla="*/ 156 h 186"/>
              <a:gd name="T92" fmla="*/ 78 w 180"/>
              <a:gd name="T93" fmla="*/ 144 h 186"/>
              <a:gd name="T94" fmla="*/ 66 w 180"/>
              <a:gd name="T95" fmla="*/ 132 h 186"/>
              <a:gd name="T96" fmla="*/ 72 w 180"/>
              <a:gd name="T97" fmla="*/ 120 h 186"/>
              <a:gd name="T98" fmla="*/ 78 w 180"/>
              <a:gd name="T99" fmla="*/ 108 h 186"/>
              <a:gd name="T100" fmla="*/ 72 w 180"/>
              <a:gd name="T101" fmla="*/ 96 h 186"/>
              <a:gd name="T102" fmla="*/ 72 w 180"/>
              <a:gd name="T103" fmla="*/ 96 h 186"/>
              <a:gd name="T104" fmla="*/ 66 w 180"/>
              <a:gd name="T105" fmla="*/ 90 h 186"/>
              <a:gd name="T106" fmla="*/ 60 w 180"/>
              <a:gd name="T107" fmla="*/ 96 h 186"/>
              <a:gd name="T108" fmla="*/ 48 w 180"/>
              <a:gd name="T109" fmla="*/ 84 h 186"/>
              <a:gd name="T110" fmla="*/ 42 w 180"/>
              <a:gd name="T111" fmla="*/ 90 h 186"/>
              <a:gd name="T112" fmla="*/ 30 w 180"/>
              <a:gd name="T113" fmla="*/ 90 h 186"/>
              <a:gd name="T114" fmla="*/ 24 w 180"/>
              <a:gd name="T115" fmla="*/ 72 h 186"/>
              <a:gd name="T116" fmla="*/ 18 w 180"/>
              <a:gd name="T117" fmla="*/ 66 h 186"/>
              <a:gd name="T118" fmla="*/ 24 w 180"/>
              <a:gd name="T119" fmla="*/ 42 h 186"/>
              <a:gd name="T120" fmla="*/ 18 w 180"/>
              <a:gd name="T121" fmla="*/ 36 h 186"/>
              <a:gd name="T122" fmla="*/ 6 w 180"/>
              <a:gd name="T123" fmla="*/ 24 h 186"/>
              <a:gd name="T124" fmla="*/ 6 w 180"/>
              <a:gd name="T125" fmla="*/ 12 h 1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0" h="186">
                <a:moveTo>
                  <a:pt x="0" y="6"/>
                </a:moveTo>
                <a:lnTo>
                  <a:pt x="0" y="6"/>
                </a:lnTo>
                <a:lnTo>
                  <a:pt x="0" y="6"/>
                </a:lnTo>
                <a:lnTo>
                  <a:pt x="6" y="6"/>
                </a:lnTo>
                <a:lnTo>
                  <a:pt x="0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0"/>
                </a:lnTo>
                <a:lnTo>
                  <a:pt x="6" y="6"/>
                </a:lnTo>
                <a:lnTo>
                  <a:pt x="6" y="0"/>
                </a:lnTo>
                <a:lnTo>
                  <a:pt x="6" y="0"/>
                </a:lnTo>
                <a:lnTo>
                  <a:pt x="6" y="6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2" y="6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24" y="6"/>
                </a:lnTo>
                <a:lnTo>
                  <a:pt x="18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12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12"/>
                </a:lnTo>
                <a:lnTo>
                  <a:pt x="30" y="12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8"/>
                </a:lnTo>
                <a:lnTo>
                  <a:pt x="42" y="12"/>
                </a:lnTo>
                <a:lnTo>
                  <a:pt x="42" y="12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8" y="18"/>
                </a:lnTo>
                <a:lnTo>
                  <a:pt x="48" y="24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24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30"/>
                </a:lnTo>
                <a:lnTo>
                  <a:pt x="66" y="30"/>
                </a:lnTo>
                <a:lnTo>
                  <a:pt x="66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6"/>
                </a:lnTo>
                <a:lnTo>
                  <a:pt x="78" y="36"/>
                </a:lnTo>
                <a:lnTo>
                  <a:pt x="78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90" y="42"/>
                </a:lnTo>
                <a:lnTo>
                  <a:pt x="90" y="48"/>
                </a:lnTo>
                <a:lnTo>
                  <a:pt x="90" y="42"/>
                </a:lnTo>
                <a:lnTo>
                  <a:pt x="90" y="42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42"/>
                </a:lnTo>
                <a:lnTo>
                  <a:pt x="108" y="42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32" y="36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48"/>
                </a:lnTo>
                <a:lnTo>
                  <a:pt x="150" y="48"/>
                </a:lnTo>
                <a:lnTo>
                  <a:pt x="156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62" y="36"/>
                </a:lnTo>
                <a:lnTo>
                  <a:pt x="162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30"/>
                </a:lnTo>
                <a:lnTo>
                  <a:pt x="162" y="30"/>
                </a:lnTo>
                <a:lnTo>
                  <a:pt x="162" y="30"/>
                </a:lnTo>
                <a:lnTo>
                  <a:pt x="162" y="30"/>
                </a:lnTo>
                <a:lnTo>
                  <a:pt x="162" y="30"/>
                </a:lnTo>
                <a:lnTo>
                  <a:pt x="162" y="30"/>
                </a:lnTo>
                <a:lnTo>
                  <a:pt x="168" y="30"/>
                </a:lnTo>
                <a:lnTo>
                  <a:pt x="168" y="36"/>
                </a:lnTo>
                <a:lnTo>
                  <a:pt x="168" y="36"/>
                </a:lnTo>
                <a:lnTo>
                  <a:pt x="168" y="36"/>
                </a:lnTo>
                <a:lnTo>
                  <a:pt x="168" y="30"/>
                </a:lnTo>
                <a:lnTo>
                  <a:pt x="168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42"/>
                </a:lnTo>
                <a:lnTo>
                  <a:pt x="180" y="42"/>
                </a:lnTo>
                <a:lnTo>
                  <a:pt x="180" y="48"/>
                </a:lnTo>
                <a:lnTo>
                  <a:pt x="180" y="48"/>
                </a:lnTo>
                <a:lnTo>
                  <a:pt x="180" y="48"/>
                </a:lnTo>
                <a:lnTo>
                  <a:pt x="180" y="48"/>
                </a:lnTo>
                <a:lnTo>
                  <a:pt x="180" y="48"/>
                </a:lnTo>
                <a:lnTo>
                  <a:pt x="180" y="54"/>
                </a:lnTo>
                <a:lnTo>
                  <a:pt x="180" y="54"/>
                </a:lnTo>
                <a:lnTo>
                  <a:pt x="174" y="54"/>
                </a:lnTo>
                <a:lnTo>
                  <a:pt x="174" y="54"/>
                </a:lnTo>
                <a:lnTo>
                  <a:pt x="174" y="60"/>
                </a:lnTo>
                <a:lnTo>
                  <a:pt x="174" y="60"/>
                </a:lnTo>
                <a:lnTo>
                  <a:pt x="174" y="60"/>
                </a:lnTo>
                <a:lnTo>
                  <a:pt x="174" y="60"/>
                </a:lnTo>
                <a:lnTo>
                  <a:pt x="174" y="60"/>
                </a:lnTo>
                <a:lnTo>
                  <a:pt x="174" y="66"/>
                </a:lnTo>
                <a:lnTo>
                  <a:pt x="174" y="66"/>
                </a:lnTo>
                <a:lnTo>
                  <a:pt x="174" y="66"/>
                </a:lnTo>
                <a:lnTo>
                  <a:pt x="174" y="66"/>
                </a:lnTo>
                <a:lnTo>
                  <a:pt x="174" y="72"/>
                </a:lnTo>
                <a:lnTo>
                  <a:pt x="174" y="66"/>
                </a:lnTo>
                <a:lnTo>
                  <a:pt x="180" y="66"/>
                </a:lnTo>
                <a:lnTo>
                  <a:pt x="180" y="66"/>
                </a:lnTo>
                <a:lnTo>
                  <a:pt x="180" y="66"/>
                </a:lnTo>
                <a:lnTo>
                  <a:pt x="180" y="72"/>
                </a:lnTo>
                <a:lnTo>
                  <a:pt x="180" y="72"/>
                </a:lnTo>
                <a:lnTo>
                  <a:pt x="180" y="72"/>
                </a:lnTo>
                <a:lnTo>
                  <a:pt x="180" y="72"/>
                </a:lnTo>
                <a:lnTo>
                  <a:pt x="180" y="72"/>
                </a:lnTo>
                <a:lnTo>
                  <a:pt x="180" y="72"/>
                </a:lnTo>
                <a:lnTo>
                  <a:pt x="180" y="72"/>
                </a:lnTo>
                <a:lnTo>
                  <a:pt x="180" y="72"/>
                </a:lnTo>
                <a:lnTo>
                  <a:pt x="180" y="72"/>
                </a:lnTo>
                <a:lnTo>
                  <a:pt x="180" y="72"/>
                </a:lnTo>
                <a:lnTo>
                  <a:pt x="180" y="72"/>
                </a:lnTo>
                <a:lnTo>
                  <a:pt x="180" y="72"/>
                </a:lnTo>
                <a:lnTo>
                  <a:pt x="180" y="78"/>
                </a:lnTo>
                <a:lnTo>
                  <a:pt x="180" y="78"/>
                </a:lnTo>
                <a:lnTo>
                  <a:pt x="180" y="78"/>
                </a:lnTo>
                <a:lnTo>
                  <a:pt x="174" y="78"/>
                </a:lnTo>
                <a:lnTo>
                  <a:pt x="180" y="78"/>
                </a:lnTo>
                <a:lnTo>
                  <a:pt x="174" y="78"/>
                </a:lnTo>
                <a:lnTo>
                  <a:pt x="174" y="78"/>
                </a:lnTo>
                <a:lnTo>
                  <a:pt x="174" y="78"/>
                </a:lnTo>
                <a:lnTo>
                  <a:pt x="174" y="78"/>
                </a:lnTo>
                <a:lnTo>
                  <a:pt x="174" y="78"/>
                </a:lnTo>
                <a:lnTo>
                  <a:pt x="174" y="78"/>
                </a:lnTo>
                <a:lnTo>
                  <a:pt x="174" y="84"/>
                </a:lnTo>
                <a:lnTo>
                  <a:pt x="174" y="78"/>
                </a:lnTo>
                <a:lnTo>
                  <a:pt x="174" y="84"/>
                </a:lnTo>
                <a:lnTo>
                  <a:pt x="174" y="84"/>
                </a:lnTo>
                <a:lnTo>
                  <a:pt x="174" y="84"/>
                </a:lnTo>
                <a:lnTo>
                  <a:pt x="174" y="84"/>
                </a:lnTo>
                <a:lnTo>
                  <a:pt x="174" y="84"/>
                </a:lnTo>
                <a:lnTo>
                  <a:pt x="174" y="84"/>
                </a:lnTo>
                <a:lnTo>
                  <a:pt x="174" y="84"/>
                </a:lnTo>
                <a:lnTo>
                  <a:pt x="174" y="84"/>
                </a:lnTo>
                <a:lnTo>
                  <a:pt x="174" y="84"/>
                </a:lnTo>
                <a:lnTo>
                  <a:pt x="174" y="84"/>
                </a:lnTo>
                <a:lnTo>
                  <a:pt x="174" y="84"/>
                </a:lnTo>
                <a:lnTo>
                  <a:pt x="174" y="84"/>
                </a:lnTo>
                <a:lnTo>
                  <a:pt x="174" y="84"/>
                </a:lnTo>
                <a:lnTo>
                  <a:pt x="174" y="90"/>
                </a:lnTo>
                <a:lnTo>
                  <a:pt x="174" y="90"/>
                </a:lnTo>
                <a:lnTo>
                  <a:pt x="174" y="90"/>
                </a:lnTo>
                <a:lnTo>
                  <a:pt x="174" y="90"/>
                </a:lnTo>
                <a:lnTo>
                  <a:pt x="174" y="90"/>
                </a:lnTo>
                <a:lnTo>
                  <a:pt x="174" y="90"/>
                </a:lnTo>
                <a:lnTo>
                  <a:pt x="174" y="90"/>
                </a:lnTo>
                <a:lnTo>
                  <a:pt x="174" y="90"/>
                </a:lnTo>
                <a:lnTo>
                  <a:pt x="174" y="90"/>
                </a:lnTo>
                <a:lnTo>
                  <a:pt x="174" y="90"/>
                </a:lnTo>
                <a:lnTo>
                  <a:pt x="168" y="90"/>
                </a:lnTo>
                <a:lnTo>
                  <a:pt x="168" y="90"/>
                </a:lnTo>
                <a:lnTo>
                  <a:pt x="168" y="90"/>
                </a:lnTo>
                <a:lnTo>
                  <a:pt x="168" y="96"/>
                </a:lnTo>
                <a:lnTo>
                  <a:pt x="168" y="96"/>
                </a:lnTo>
                <a:lnTo>
                  <a:pt x="168" y="96"/>
                </a:lnTo>
                <a:lnTo>
                  <a:pt x="168" y="96"/>
                </a:lnTo>
                <a:lnTo>
                  <a:pt x="168" y="96"/>
                </a:lnTo>
                <a:lnTo>
                  <a:pt x="168" y="96"/>
                </a:lnTo>
                <a:lnTo>
                  <a:pt x="174" y="96"/>
                </a:lnTo>
                <a:lnTo>
                  <a:pt x="174" y="96"/>
                </a:lnTo>
                <a:lnTo>
                  <a:pt x="168" y="96"/>
                </a:lnTo>
                <a:lnTo>
                  <a:pt x="174" y="96"/>
                </a:lnTo>
                <a:lnTo>
                  <a:pt x="168" y="96"/>
                </a:lnTo>
                <a:lnTo>
                  <a:pt x="168" y="96"/>
                </a:lnTo>
                <a:lnTo>
                  <a:pt x="168" y="96"/>
                </a:lnTo>
                <a:lnTo>
                  <a:pt x="168" y="96"/>
                </a:lnTo>
                <a:lnTo>
                  <a:pt x="168" y="96"/>
                </a:lnTo>
                <a:lnTo>
                  <a:pt x="168" y="102"/>
                </a:lnTo>
                <a:lnTo>
                  <a:pt x="168" y="102"/>
                </a:lnTo>
                <a:lnTo>
                  <a:pt x="168" y="102"/>
                </a:lnTo>
                <a:lnTo>
                  <a:pt x="168" y="102"/>
                </a:lnTo>
                <a:lnTo>
                  <a:pt x="168" y="102"/>
                </a:lnTo>
                <a:lnTo>
                  <a:pt x="168" y="102"/>
                </a:lnTo>
                <a:lnTo>
                  <a:pt x="168" y="102"/>
                </a:lnTo>
                <a:lnTo>
                  <a:pt x="168" y="102"/>
                </a:lnTo>
                <a:lnTo>
                  <a:pt x="168" y="108"/>
                </a:lnTo>
                <a:lnTo>
                  <a:pt x="168" y="108"/>
                </a:lnTo>
                <a:lnTo>
                  <a:pt x="168" y="108"/>
                </a:lnTo>
                <a:lnTo>
                  <a:pt x="168" y="108"/>
                </a:lnTo>
                <a:lnTo>
                  <a:pt x="168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8" y="108"/>
                </a:lnTo>
                <a:lnTo>
                  <a:pt x="168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14"/>
                </a:lnTo>
                <a:lnTo>
                  <a:pt x="162" y="114"/>
                </a:lnTo>
                <a:lnTo>
                  <a:pt x="162" y="114"/>
                </a:lnTo>
                <a:lnTo>
                  <a:pt x="162" y="114"/>
                </a:lnTo>
                <a:lnTo>
                  <a:pt x="162" y="114"/>
                </a:lnTo>
                <a:lnTo>
                  <a:pt x="162" y="114"/>
                </a:lnTo>
                <a:lnTo>
                  <a:pt x="162" y="114"/>
                </a:lnTo>
                <a:lnTo>
                  <a:pt x="162" y="114"/>
                </a:lnTo>
                <a:lnTo>
                  <a:pt x="162" y="114"/>
                </a:lnTo>
                <a:lnTo>
                  <a:pt x="162" y="114"/>
                </a:lnTo>
                <a:lnTo>
                  <a:pt x="162" y="114"/>
                </a:lnTo>
                <a:lnTo>
                  <a:pt x="162" y="114"/>
                </a:lnTo>
                <a:lnTo>
                  <a:pt x="162" y="114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56" y="120"/>
                </a:lnTo>
                <a:lnTo>
                  <a:pt x="156" y="120"/>
                </a:lnTo>
                <a:lnTo>
                  <a:pt x="156" y="120"/>
                </a:lnTo>
                <a:lnTo>
                  <a:pt x="156" y="120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32"/>
                </a:lnTo>
                <a:lnTo>
                  <a:pt x="156" y="132"/>
                </a:lnTo>
                <a:lnTo>
                  <a:pt x="156" y="132"/>
                </a:lnTo>
                <a:lnTo>
                  <a:pt x="156" y="132"/>
                </a:lnTo>
                <a:lnTo>
                  <a:pt x="156" y="132"/>
                </a:lnTo>
                <a:lnTo>
                  <a:pt x="156" y="132"/>
                </a:lnTo>
                <a:lnTo>
                  <a:pt x="156" y="132"/>
                </a:lnTo>
                <a:lnTo>
                  <a:pt x="156" y="132"/>
                </a:lnTo>
                <a:lnTo>
                  <a:pt x="150" y="138"/>
                </a:lnTo>
                <a:lnTo>
                  <a:pt x="156" y="138"/>
                </a:lnTo>
                <a:lnTo>
                  <a:pt x="150" y="138"/>
                </a:lnTo>
                <a:lnTo>
                  <a:pt x="150" y="138"/>
                </a:lnTo>
                <a:lnTo>
                  <a:pt x="150" y="138"/>
                </a:lnTo>
                <a:lnTo>
                  <a:pt x="150" y="138"/>
                </a:lnTo>
                <a:lnTo>
                  <a:pt x="150" y="138"/>
                </a:lnTo>
                <a:lnTo>
                  <a:pt x="150" y="138"/>
                </a:lnTo>
                <a:lnTo>
                  <a:pt x="150" y="138"/>
                </a:lnTo>
                <a:lnTo>
                  <a:pt x="150" y="138"/>
                </a:lnTo>
                <a:lnTo>
                  <a:pt x="150" y="138"/>
                </a:lnTo>
                <a:lnTo>
                  <a:pt x="150" y="138"/>
                </a:lnTo>
                <a:lnTo>
                  <a:pt x="150" y="138"/>
                </a:lnTo>
                <a:lnTo>
                  <a:pt x="150" y="138"/>
                </a:lnTo>
                <a:lnTo>
                  <a:pt x="150" y="138"/>
                </a:lnTo>
                <a:lnTo>
                  <a:pt x="150" y="144"/>
                </a:lnTo>
                <a:lnTo>
                  <a:pt x="150" y="144"/>
                </a:lnTo>
                <a:lnTo>
                  <a:pt x="150" y="144"/>
                </a:lnTo>
                <a:lnTo>
                  <a:pt x="150" y="144"/>
                </a:lnTo>
                <a:lnTo>
                  <a:pt x="150" y="144"/>
                </a:lnTo>
                <a:lnTo>
                  <a:pt x="150" y="144"/>
                </a:lnTo>
                <a:lnTo>
                  <a:pt x="150" y="144"/>
                </a:lnTo>
                <a:lnTo>
                  <a:pt x="150" y="144"/>
                </a:lnTo>
                <a:lnTo>
                  <a:pt x="150" y="144"/>
                </a:lnTo>
                <a:lnTo>
                  <a:pt x="150" y="144"/>
                </a:lnTo>
                <a:lnTo>
                  <a:pt x="150" y="144"/>
                </a:lnTo>
                <a:lnTo>
                  <a:pt x="150" y="144"/>
                </a:lnTo>
                <a:lnTo>
                  <a:pt x="150" y="144"/>
                </a:lnTo>
                <a:lnTo>
                  <a:pt x="150" y="144"/>
                </a:lnTo>
                <a:lnTo>
                  <a:pt x="150" y="144"/>
                </a:lnTo>
                <a:lnTo>
                  <a:pt x="150" y="144"/>
                </a:lnTo>
                <a:lnTo>
                  <a:pt x="150" y="144"/>
                </a:lnTo>
                <a:lnTo>
                  <a:pt x="150" y="150"/>
                </a:lnTo>
                <a:lnTo>
                  <a:pt x="150" y="150"/>
                </a:lnTo>
                <a:lnTo>
                  <a:pt x="144" y="150"/>
                </a:lnTo>
                <a:lnTo>
                  <a:pt x="150" y="150"/>
                </a:lnTo>
                <a:lnTo>
                  <a:pt x="144" y="150"/>
                </a:lnTo>
                <a:lnTo>
                  <a:pt x="144" y="150"/>
                </a:lnTo>
                <a:lnTo>
                  <a:pt x="150" y="150"/>
                </a:lnTo>
                <a:lnTo>
                  <a:pt x="144" y="150"/>
                </a:lnTo>
                <a:lnTo>
                  <a:pt x="150" y="150"/>
                </a:lnTo>
                <a:lnTo>
                  <a:pt x="144" y="150"/>
                </a:lnTo>
                <a:lnTo>
                  <a:pt x="144" y="150"/>
                </a:lnTo>
                <a:lnTo>
                  <a:pt x="144" y="156"/>
                </a:lnTo>
                <a:lnTo>
                  <a:pt x="144" y="156"/>
                </a:lnTo>
                <a:lnTo>
                  <a:pt x="144" y="156"/>
                </a:lnTo>
                <a:lnTo>
                  <a:pt x="144" y="156"/>
                </a:lnTo>
                <a:lnTo>
                  <a:pt x="144" y="156"/>
                </a:lnTo>
                <a:lnTo>
                  <a:pt x="144" y="156"/>
                </a:lnTo>
                <a:lnTo>
                  <a:pt x="144" y="156"/>
                </a:lnTo>
                <a:lnTo>
                  <a:pt x="144" y="156"/>
                </a:lnTo>
                <a:lnTo>
                  <a:pt x="144" y="156"/>
                </a:lnTo>
                <a:lnTo>
                  <a:pt x="144" y="156"/>
                </a:lnTo>
                <a:lnTo>
                  <a:pt x="144" y="156"/>
                </a:lnTo>
                <a:lnTo>
                  <a:pt x="144" y="156"/>
                </a:lnTo>
                <a:lnTo>
                  <a:pt x="144" y="156"/>
                </a:lnTo>
                <a:lnTo>
                  <a:pt x="144" y="156"/>
                </a:lnTo>
                <a:lnTo>
                  <a:pt x="144" y="156"/>
                </a:lnTo>
                <a:lnTo>
                  <a:pt x="144" y="156"/>
                </a:lnTo>
                <a:lnTo>
                  <a:pt x="144" y="162"/>
                </a:lnTo>
                <a:lnTo>
                  <a:pt x="144" y="162"/>
                </a:lnTo>
                <a:lnTo>
                  <a:pt x="144" y="162"/>
                </a:lnTo>
                <a:lnTo>
                  <a:pt x="144" y="162"/>
                </a:lnTo>
                <a:lnTo>
                  <a:pt x="144" y="162"/>
                </a:lnTo>
                <a:lnTo>
                  <a:pt x="150" y="162"/>
                </a:lnTo>
                <a:lnTo>
                  <a:pt x="144" y="162"/>
                </a:lnTo>
                <a:lnTo>
                  <a:pt x="144" y="162"/>
                </a:lnTo>
                <a:lnTo>
                  <a:pt x="144" y="162"/>
                </a:lnTo>
                <a:lnTo>
                  <a:pt x="144" y="162"/>
                </a:lnTo>
                <a:lnTo>
                  <a:pt x="144" y="162"/>
                </a:lnTo>
                <a:lnTo>
                  <a:pt x="144" y="162"/>
                </a:lnTo>
                <a:lnTo>
                  <a:pt x="144" y="162"/>
                </a:lnTo>
                <a:lnTo>
                  <a:pt x="144" y="168"/>
                </a:lnTo>
                <a:lnTo>
                  <a:pt x="144" y="168"/>
                </a:lnTo>
                <a:lnTo>
                  <a:pt x="144" y="168"/>
                </a:lnTo>
                <a:lnTo>
                  <a:pt x="144" y="168"/>
                </a:lnTo>
                <a:lnTo>
                  <a:pt x="144" y="168"/>
                </a:lnTo>
                <a:lnTo>
                  <a:pt x="144" y="168"/>
                </a:lnTo>
                <a:lnTo>
                  <a:pt x="144" y="168"/>
                </a:lnTo>
                <a:lnTo>
                  <a:pt x="144" y="168"/>
                </a:lnTo>
                <a:lnTo>
                  <a:pt x="144" y="168"/>
                </a:lnTo>
                <a:lnTo>
                  <a:pt x="144" y="168"/>
                </a:lnTo>
                <a:lnTo>
                  <a:pt x="144" y="168"/>
                </a:lnTo>
                <a:lnTo>
                  <a:pt x="144" y="168"/>
                </a:lnTo>
                <a:lnTo>
                  <a:pt x="144" y="168"/>
                </a:lnTo>
                <a:lnTo>
                  <a:pt x="144" y="168"/>
                </a:lnTo>
                <a:lnTo>
                  <a:pt x="144" y="174"/>
                </a:lnTo>
                <a:lnTo>
                  <a:pt x="144" y="174"/>
                </a:lnTo>
                <a:lnTo>
                  <a:pt x="144" y="174"/>
                </a:lnTo>
                <a:lnTo>
                  <a:pt x="144" y="174"/>
                </a:lnTo>
                <a:lnTo>
                  <a:pt x="144" y="174"/>
                </a:lnTo>
                <a:lnTo>
                  <a:pt x="138" y="174"/>
                </a:lnTo>
                <a:lnTo>
                  <a:pt x="138" y="174"/>
                </a:lnTo>
                <a:lnTo>
                  <a:pt x="138" y="174"/>
                </a:lnTo>
                <a:lnTo>
                  <a:pt x="138" y="174"/>
                </a:lnTo>
                <a:lnTo>
                  <a:pt x="138" y="174"/>
                </a:lnTo>
                <a:lnTo>
                  <a:pt x="138" y="174"/>
                </a:lnTo>
                <a:lnTo>
                  <a:pt x="138" y="174"/>
                </a:lnTo>
                <a:lnTo>
                  <a:pt x="138" y="180"/>
                </a:lnTo>
                <a:lnTo>
                  <a:pt x="138" y="180"/>
                </a:lnTo>
                <a:lnTo>
                  <a:pt x="138" y="180"/>
                </a:lnTo>
                <a:lnTo>
                  <a:pt x="138" y="180"/>
                </a:lnTo>
                <a:lnTo>
                  <a:pt x="132" y="180"/>
                </a:lnTo>
                <a:lnTo>
                  <a:pt x="132" y="180"/>
                </a:lnTo>
                <a:lnTo>
                  <a:pt x="132" y="180"/>
                </a:lnTo>
                <a:lnTo>
                  <a:pt x="132" y="186"/>
                </a:lnTo>
                <a:lnTo>
                  <a:pt x="132" y="180"/>
                </a:lnTo>
                <a:lnTo>
                  <a:pt x="132" y="186"/>
                </a:lnTo>
                <a:lnTo>
                  <a:pt x="126" y="180"/>
                </a:lnTo>
                <a:lnTo>
                  <a:pt x="126" y="180"/>
                </a:lnTo>
                <a:lnTo>
                  <a:pt x="126" y="186"/>
                </a:lnTo>
                <a:lnTo>
                  <a:pt x="126" y="186"/>
                </a:lnTo>
                <a:lnTo>
                  <a:pt x="120" y="180"/>
                </a:lnTo>
                <a:lnTo>
                  <a:pt x="126" y="180"/>
                </a:lnTo>
                <a:lnTo>
                  <a:pt x="126" y="180"/>
                </a:lnTo>
                <a:lnTo>
                  <a:pt x="120" y="180"/>
                </a:lnTo>
                <a:lnTo>
                  <a:pt x="120" y="180"/>
                </a:lnTo>
                <a:lnTo>
                  <a:pt x="120" y="180"/>
                </a:lnTo>
                <a:lnTo>
                  <a:pt x="120" y="174"/>
                </a:lnTo>
                <a:lnTo>
                  <a:pt x="120" y="174"/>
                </a:lnTo>
                <a:lnTo>
                  <a:pt x="120" y="174"/>
                </a:lnTo>
                <a:lnTo>
                  <a:pt x="114" y="174"/>
                </a:lnTo>
                <a:lnTo>
                  <a:pt x="114" y="168"/>
                </a:lnTo>
                <a:lnTo>
                  <a:pt x="114" y="168"/>
                </a:lnTo>
                <a:lnTo>
                  <a:pt x="114" y="168"/>
                </a:lnTo>
                <a:lnTo>
                  <a:pt x="114" y="168"/>
                </a:lnTo>
                <a:lnTo>
                  <a:pt x="120" y="168"/>
                </a:lnTo>
                <a:lnTo>
                  <a:pt x="120" y="168"/>
                </a:lnTo>
                <a:lnTo>
                  <a:pt x="120" y="168"/>
                </a:lnTo>
                <a:lnTo>
                  <a:pt x="114" y="162"/>
                </a:lnTo>
                <a:lnTo>
                  <a:pt x="114" y="162"/>
                </a:lnTo>
                <a:lnTo>
                  <a:pt x="114" y="162"/>
                </a:lnTo>
                <a:lnTo>
                  <a:pt x="114" y="162"/>
                </a:lnTo>
                <a:lnTo>
                  <a:pt x="114" y="162"/>
                </a:lnTo>
                <a:lnTo>
                  <a:pt x="114" y="162"/>
                </a:lnTo>
                <a:lnTo>
                  <a:pt x="120" y="162"/>
                </a:lnTo>
                <a:lnTo>
                  <a:pt x="120" y="156"/>
                </a:lnTo>
                <a:lnTo>
                  <a:pt x="114" y="156"/>
                </a:lnTo>
                <a:lnTo>
                  <a:pt x="114" y="156"/>
                </a:lnTo>
                <a:lnTo>
                  <a:pt x="114" y="156"/>
                </a:lnTo>
                <a:lnTo>
                  <a:pt x="114" y="150"/>
                </a:lnTo>
                <a:lnTo>
                  <a:pt x="114" y="150"/>
                </a:lnTo>
                <a:lnTo>
                  <a:pt x="108" y="150"/>
                </a:lnTo>
                <a:lnTo>
                  <a:pt x="108" y="156"/>
                </a:lnTo>
                <a:lnTo>
                  <a:pt x="108" y="156"/>
                </a:lnTo>
                <a:lnTo>
                  <a:pt x="102" y="156"/>
                </a:lnTo>
                <a:lnTo>
                  <a:pt x="102" y="156"/>
                </a:lnTo>
                <a:lnTo>
                  <a:pt x="102" y="156"/>
                </a:lnTo>
                <a:lnTo>
                  <a:pt x="102" y="156"/>
                </a:lnTo>
                <a:lnTo>
                  <a:pt x="96" y="156"/>
                </a:lnTo>
                <a:lnTo>
                  <a:pt x="96" y="156"/>
                </a:lnTo>
                <a:lnTo>
                  <a:pt x="96" y="156"/>
                </a:lnTo>
                <a:lnTo>
                  <a:pt x="90" y="150"/>
                </a:lnTo>
                <a:lnTo>
                  <a:pt x="90" y="150"/>
                </a:lnTo>
                <a:lnTo>
                  <a:pt x="90" y="150"/>
                </a:lnTo>
                <a:lnTo>
                  <a:pt x="90" y="150"/>
                </a:lnTo>
                <a:lnTo>
                  <a:pt x="84" y="150"/>
                </a:lnTo>
                <a:lnTo>
                  <a:pt x="84" y="150"/>
                </a:lnTo>
                <a:lnTo>
                  <a:pt x="84" y="150"/>
                </a:lnTo>
                <a:lnTo>
                  <a:pt x="78" y="144"/>
                </a:lnTo>
                <a:lnTo>
                  <a:pt x="78" y="144"/>
                </a:lnTo>
                <a:lnTo>
                  <a:pt x="78" y="144"/>
                </a:lnTo>
                <a:lnTo>
                  <a:pt x="78" y="138"/>
                </a:lnTo>
                <a:lnTo>
                  <a:pt x="72" y="138"/>
                </a:lnTo>
                <a:lnTo>
                  <a:pt x="72" y="138"/>
                </a:lnTo>
                <a:lnTo>
                  <a:pt x="66" y="138"/>
                </a:lnTo>
                <a:lnTo>
                  <a:pt x="66" y="138"/>
                </a:lnTo>
                <a:lnTo>
                  <a:pt x="66" y="138"/>
                </a:lnTo>
                <a:lnTo>
                  <a:pt x="66" y="138"/>
                </a:lnTo>
                <a:lnTo>
                  <a:pt x="66" y="138"/>
                </a:lnTo>
                <a:lnTo>
                  <a:pt x="66" y="138"/>
                </a:lnTo>
                <a:lnTo>
                  <a:pt x="66" y="132"/>
                </a:lnTo>
                <a:lnTo>
                  <a:pt x="66" y="132"/>
                </a:lnTo>
                <a:lnTo>
                  <a:pt x="66" y="132"/>
                </a:lnTo>
                <a:lnTo>
                  <a:pt x="66" y="132"/>
                </a:lnTo>
                <a:lnTo>
                  <a:pt x="66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0"/>
                </a:lnTo>
                <a:lnTo>
                  <a:pt x="60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72" y="120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0" y="90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54" y="96"/>
                </a:lnTo>
                <a:lnTo>
                  <a:pt x="54" y="96"/>
                </a:lnTo>
                <a:lnTo>
                  <a:pt x="54" y="102"/>
                </a:lnTo>
                <a:lnTo>
                  <a:pt x="54" y="102"/>
                </a:lnTo>
                <a:lnTo>
                  <a:pt x="54" y="96"/>
                </a:lnTo>
                <a:lnTo>
                  <a:pt x="54" y="96"/>
                </a:lnTo>
                <a:lnTo>
                  <a:pt x="54" y="90"/>
                </a:lnTo>
                <a:lnTo>
                  <a:pt x="54" y="90"/>
                </a:lnTo>
                <a:lnTo>
                  <a:pt x="48" y="90"/>
                </a:lnTo>
                <a:lnTo>
                  <a:pt x="54" y="90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84"/>
                </a:lnTo>
                <a:lnTo>
                  <a:pt x="24" y="84"/>
                </a:lnTo>
                <a:lnTo>
                  <a:pt x="24" y="78"/>
                </a:lnTo>
                <a:lnTo>
                  <a:pt x="24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0"/>
                </a:lnTo>
                <a:lnTo>
                  <a:pt x="24" y="60"/>
                </a:lnTo>
                <a:lnTo>
                  <a:pt x="18" y="66"/>
                </a:lnTo>
                <a:lnTo>
                  <a:pt x="18" y="66"/>
                </a:lnTo>
                <a:lnTo>
                  <a:pt x="18" y="60"/>
                </a:lnTo>
                <a:lnTo>
                  <a:pt x="18" y="60"/>
                </a:lnTo>
                <a:lnTo>
                  <a:pt x="18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30" y="42"/>
                </a:lnTo>
                <a:lnTo>
                  <a:pt x="30" y="42"/>
                </a:lnTo>
                <a:lnTo>
                  <a:pt x="30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18" y="36"/>
                </a:lnTo>
                <a:lnTo>
                  <a:pt x="18" y="30"/>
                </a:lnTo>
                <a:lnTo>
                  <a:pt x="18" y="30"/>
                </a:lnTo>
                <a:lnTo>
                  <a:pt x="12" y="30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0" y="12"/>
                </a:lnTo>
                <a:lnTo>
                  <a:pt x="0" y="12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46" name="Freeform 279"/>
          <p:cNvSpPr>
            <a:spLocks/>
          </p:cNvSpPr>
          <p:nvPr/>
        </p:nvSpPr>
        <p:spPr bwMode="auto">
          <a:xfrm>
            <a:off x="7275841" y="3775255"/>
            <a:ext cx="141329" cy="141330"/>
          </a:xfrm>
          <a:custGeom>
            <a:avLst/>
            <a:gdLst>
              <a:gd name="T0" fmla="*/ 6 w 132"/>
              <a:gd name="T1" fmla="*/ 54 h 132"/>
              <a:gd name="T2" fmla="*/ 6 w 132"/>
              <a:gd name="T3" fmla="*/ 48 h 132"/>
              <a:gd name="T4" fmla="*/ 6 w 132"/>
              <a:gd name="T5" fmla="*/ 42 h 132"/>
              <a:gd name="T6" fmla="*/ 6 w 132"/>
              <a:gd name="T7" fmla="*/ 42 h 132"/>
              <a:gd name="T8" fmla="*/ 6 w 132"/>
              <a:gd name="T9" fmla="*/ 36 h 132"/>
              <a:gd name="T10" fmla="*/ 6 w 132"/>
              <a:gd name="T11" fmla="*/ 36 h 132"/>
              <a:gd name="T12" fmla="*/ 12 w 132"/>
              <a:gd name="T13" fmla="*/ 30 h 132"/>
              <a:gd name="T14" fmla="*/ 12 w 132"/>
              <a:gd name="T15" fmla="*/ 24 h 132"/>
              <a:gd name="T16" fmla="*/ 12 w 132"/>
              <a:gd name="T17" fmla="*/ 24 h 132"/>
              <a:gd name="T18" fmla="*/ 12 w 132"/>
              <a:gd name="T19" fmla="*/ 18 h 132"/>
              <a:gd name="T20" fmla="*/ 18 w 132"/>
              <a:gd name="T21" fmla="*/ 12 h 132"/>
              <a:gd name="T22" fmla="*/ 18 w 132"/>
              <a:gd name="T23" fmla="*/ 6 h 132"/>
              <a:gd name="T24" fmla="*/ 18 w 132"/>
              <a:gd name="T25" fmla="*/ 0 h 132"/>
              <a:gd name="T26" fmla="*/ 24 w 132"/>
              <a:gd name="T27" fmla="*/ 6 h 132"/>
              <a:gd name="T28" fmla="*/ 42 w 132"/>
              <a:gd name="T29" fmla="*/ 6 h 132"/>
              <a:gd name="T30" fmla="*/ 54 w 132"/>
              <a:gd name="T31" fmla="*/ 6 h 132"/>
              <a:gd name="T32" fmla="*/ 66 w 132"/>
              <a:gd name="T33" fmla="*/ 12 h 132"/>
              <a:gd name="T34" fmla="*/ 78 w 132"/>
              <a:gd name="T35" fmla="*/ 18 h 132"/>
              <a:gd name="T36" fmla="*/ 84 w 132"/>
              <a:gd name="T37" fmla="*/ 18 h 132"/>
              <a:gd name="T38" fmla="*/ 96 w 132"/>
              <a:gd name="T39" fmla="*/ 12 h 132"/>
              <a:gd name="T40" fmla="*/ 102 w 132"/>
              <a:gd name="T41" fmla="*/ 6 h 132"/>
              <a:gd name="T42" fmla="*/ 108 w 132"/>
              <a:gd name="T43" fmla="*/ 12 h 132"/>
              <a:gd name="T44" fmla="*/ 114 w 132"/>
              <a:gd name="T45" fmla="*/ 18 h 132"/>
              <a:gd name="T46" fmla="*/ 120 w 132"/>
              <a:gd name="T47" fmla="*/ 36 h 132"/>
              <a:gd name="T48" fmla="*/ 120 w 132"/>
              <a:gd name="T49" fmla="*/ 42 h 132"/>
              <a:gd name="T50" fmla="*/ 126 w 132"/>
              <a:gd name="T51" fmla="*/ 48 h 132"/>
              <a:gd name="T52" fmla="*/ 126 w 132"/>
              <a:gd name="T53" fmla="*/ 60 h 132"/>
              <a:gd name="T54" fmla="*/ 132 w 132"/>
              <a:gd name="T55" fmla="*/ 66 h 132"/>
              <a:gd name="T56" fmla="*/ 126 w 132"/>
              <a:gd name="T57" fmla="*/ 78 h 132"/>
              <a:gd name="T58" fmla="*/ 120 w 132"/>
              <a:gd name="T59" fmla="*/ 78 h 132"/>
              <a:gd name="T60" fmla="*/ 108 w 132"/>
              <a:gd name="T61" fmla="*/ 84 h 132"/>
              <a:gd name="T62" fmla="*/ 108 w 132"/>
              <a:gd name="T63" fmla="*/ 90 h 132"/>
              <a:gd name="T64" fmla="*/ 108 w 132"/>
              <a:gd name="T65" fmla="*/ 96 h 132"/>
              <a:gd name="T66" fmla="*/ 108 w 132"/>
              <a:gd name="T67" fmla="*/ 96 h 132"/>
              <a:gd name="T68" fmla="*/ 108 w 132"/>
              <a:gd name="T69" fmla="*/ 102 h 132"/>
              <a:gd name="T70" fmla="*/ 96 w 132"/>
              <a:gd name="T71" fmla="*/ 102 h 132"/>
              <a:gd name="T72" fmla="*/ 84 w 132"/>
              <a:gd name="T73" fmla="*/ 96 h 132"/>
              <a:gd name="T74" fmla="*/ 72 w 132"/>
              <a:gd name="T75" fmla="*/ 96 h 132"/>
              <a:gd name="T76" fmla="*/ 60 w 132"/>
              <a:gd name="T77" fmla="*/ 90 h 132"/>
              <a:gd name="T78" fmla="*/ 60 w 132"/>
              <a:gd name="T79" fmla="*/ 96 h 132"/>
              <a:gd name="T80" fmla="*/ 66 w 132"/>
              <a:gd name="T81" fmla="*/ 102 h 132"/>
              <a:gd name="T82" fmla="*/ 72 w 132"/>
              <a:gd name="T83" fmla="*/ 114 h 132"/>
              <a:gd name="T84" fmla="*/ 72 w 132"/>
              <a:gd name="T85" fmla="*/ 126 h 132"/>
              <a:gd name="T86" fmla="*/ 66 w 132"/>
              <a:gd name="T87" fmla="*/ 126 h 132"/>
              <a:gd name="T88" fmla="*/ 66 w 132"/>
              <a:gd name="T89" fmla="*/ 132 h 132"/>
              <a:gd name="T90" fmla="*/ 54 w 132"/>
              <a:gd name="T91" fmla="*/ 132 h 132"/>
              <a:gd name="T92" fmla="*/ 42 w 132"/>
              <a:gd name="T93" fmla="*/ 126 h 132"/>
              <a:gd name="T94" fmla="*/ 42 w 132"/>
              <a:gd name="T95" fmla="*/ 120 h 132"/>
              <a:gd name="T96" fmla="*/ 36 w 132"/>
              <a:gd name="T97" fmla="*/ 114 h 132"/>
              <a:gd name="T98" fmla="*/ 36 w 132"/>
              <a:gd name="T99" fmla="*/ 114 h 132"/>
              <a:gd name="T100" fmla="*/ 30 w 132"/>
              <a:gd name="T101" fmla="*/ 108 h 132"/>
              <a:gd name="T102" fmla="*/ 30 w 132"/>
              <a:gd name="T103" fmla="*/ 108 h 132"/>
              <a:gd name="T104" fmla="*/ 30 w 132"/>
              <a:gd name="T105" fmla="*/ 102 h 132"/>
              <a:gd name="T106" fmla="*/ 24 w 132"/>
              <a:gd name="T107" fmla="*/ 102 h 132"/>
              <a:gd name="T108" fmla="*/ 24 w 132"/>
              <a:gd name="T109" fmla="*/ 102 h 132"/>
              <a:gd name="T110" fmla="*/ 18 w 132"/>
              <a:gd name="T111" fmla="*/ 96 h 132"/>
              <a:gd name="T112" fmla="*/ 18 w 132"/>
              <a:gd name="T113" fmla="*/ 90 h 132"/>
              <a:gd name="T114" fmla="*/ 12 w 132"/>
              <a:gd name="T115" fmla="*/ 78 h 132"/>
              <a:gd name="T116" fmla="*/ 6 w 132"/>
              <a:gd name="T117" fmla="*/ 72 h 132"/>
              <a:gd name="T118" fmla="*/ 0 w 132"/>
              <a:gd name="T119" fmla="*/ 66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32" h="132">
                <a:moveTo>
                  <a:pt x="0" y="54"/>
                </a:move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12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12" y="30"/>
                </a:lnTo>
                <a:lnTo>
                  <a:pt x="6" y="30"/>
                </a:lnTo>
                <a:lnTo>
                  <a:pt x="12" y="30"/>
                </a:lnTo>
                <a:lnTo>
                  <a:pt x="6" y="30"/>
                </a:lnTo>
                <a:lnTo>
                  <a:pt x="6" y="30"/>
                </a:lnTo>
                <a:lnTo>
                  <a:pt x="12" y="30"/>
                </a:lnTo>
                <a:lnTo>
                  <a:pt x="6" y="30"/>
                </a:lnTo>
                <a:lnTo>
                  <a:pt x="12" y="30"/>
                </a:lnTo>
                <a:lnTo>
                  <a:pt x="12" y="30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8" y="18"/>
                </a:lnTo>
                <a:lnTo>
                  <a:pt x="12" y="18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8"/>
                </a:lnTo>
                <a:lnTo>
                  <a:pt x="72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102" y="12"/>
                </a:lnTo>
                <a:lnTo>
                  <a:pt x="102" y="12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14" y="18"/>
                </a:lnTo>
                <a:lnTo>
                  <a:pt x="114" y="12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0" y="42"/>
                </a:lnTo>
                <a:lnTo>
                  <a:pt x="126" y="42"/>
                </a:lnTo>
                <a:lnTo>
                  <a:pt x="120" y="42"/>
                </a:lnTo>
                <a:lnTo>
                  <a:pt x="126" y="42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6"/>
                </a:lnTo>
                <a:lnTo>
                  <a:pt x="126" y="66"/>
                </a:lnTo>
                <a:lnTo>
                  <a:pt x="132" y="66"/>
                </a:lnTo>
                <a:lnTo>
                  <a:pt x="132" y="66"/>
                </a:lnTo>
                <a:lnTo>
                  <a:pt x="132" y="66"/>
                </a:lnTo>
                <a:lnTo>
                  <a:pt x="132" y="66"/>
                </a:lnTo>
                <a:lnTo>
                  <a:pt x="132" y="66"/>
                </a:lnTo>
                <a:lnTo>
                  <a:pt x="132" y="66"/>
                </a:lnTo>
                <a:lnTo>
                  <a:pt x="126" y="72"/>
                </a:lnTo>
                <a:lnTo>
                  <a:pt x="126" y="72"/>
                </a:lnTo>
                <a:lnTo>
                  <a:pt x="126" y="72"/>
                </a:lnTo>
                <a:lnTo>
                  <a:pt x="126" y="72"/>
                </a:lnTo>
                <a:lnTo>
                  <a:pt x="132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84"/>
                </a:lnTo>
                <a:lnTo>
                  <a:pt x="126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84"/>
                </a:lnTo>
                <a:lnTo>
                  <a:pt x="114" y="84"/>
                </a:lnTo>
                <a:lnTo>
                  <a:pt x="114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14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8" y="102"/>
                </a:lnTo>
                <a:lnTo>
                  <a:pt x="108" y="108"/>
                </a:lnTo>
                <a:lnTo>
                  <a:pt x="108" y="108"/>
                </a:lnTo>
                <a:lnTo>
                  <a:pt x="102" y="108"/>
                </a:lnTo>
                <a:lnTo>
                  <a:pt x="102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0" y="102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102"/>
                </a:lnTo>
                <a:lnTo>
                  <a:pt x="84" y="96"/>
                </a:lnTo>
                <a:lnTo>
                  <a:pt x="78" y="102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2" y="96"/>
                </a:lnTo>
                <a:lnTo>
                  <a:pt x="72" y="90"/>
                </a:lnTo>
                <a:lnTo>
                  <a:pt x="72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6" y="96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8" y="126"/>
                </a:lnTo>
                <a:lnTo>
                  <a:pt x="78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66" y="126"/>
                </a:lnTo>
                <a:lnTo>
                  <a:pt x="66" y="126"/>
                </a:lnTo>
                <a:lnTo>
                  <a:pt x="66" y="126"/>
                </a:lnTo>
                <a:lnTo>
                  <a:pt x="66" y="126"/>
                </a:lnTo>
                <a:lnTo>
                  <a:pt x="66" y="126"/>
                </a:lnTo>
                <a:lnTo>
                  <a:pt x="66" y="126"/>
                </a:lnTo>
                <a:lnTo>
                  <a:pt x="66" y="132"/>
                </a:lnTo>
                <a:lnTo>
                  <a:pt x="66" y="132"/>
                </a:lnTo>
                <a:lnTo>
                  <a:pt x="66" y="132"/>
                </a:lnTo>
                <a:lnTo>
                  <a:pt x="66" y="132"/>
                </a:lnTo>
                <a:lnTo>
                  <a:pt x="66" y="132"/>
                </a:lnTo>
                <a:lnTo>
                  <a:pt x="66" y="132"/>
                </a:lnTo>
                <a:lnTo>
                  <a:pt x="66" y="132"/>
                </a:lnTo>
                <a:lnTo>
                  <a:pt x="66" y="132"/>
                </a:lnTo>
                <a:lnTo>
                  <a:pt x="66" y="132"/>
                </a:lnTo>
                <a:lnTo>
                  <a:pt x="66" y="132"/>
                </a:lnTo>
                <a:lnTo>
                  <a:pt x="60" y="132"/>
                </a:lnTo>
                <a:lnTo>
                  <a:pt x="60" y="132"/>
                </a:lnTo>
                <a:lnTo>
                  <a:pt x="60" y="132"/>
                </a:lnTo>
                <a:lnTo>
                  <a:pt x="60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48" y="126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8" y="120"/>
                </a:lnTo>
                <a:lnTo>
                  <a:pt x="42" y="120"/>
                </a:lnTo>
                <a:lnTo>
                  <a:pt x="42" y="120"/>
                </a:lnTo>
                <a:lnTo>
                  <a:pt x="42" y="120"/>
                </a:lnTo>
                <a:lnTo>
                  <a:pt x="42" y="120"/>
                </a:lnTo>
                <a:lnTo>
                  <a:pt x="42" y="120"/>
                </a:lnTo>
                <a:lnTo>
                  <a:pt x="42" y="120"/>
                </a:lnTo>
                <a:lnTo>
                  <a:pt x="42" y="120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0" y="114"/>
                </a:lnTo>
                <a:lnTo>
                  <a:pt x="36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2"/>
                </a:lnTo>
                <a:lnTo>
                  <a:pt x="30" y="102"/>
                </a:lnTo>
                <a:lnTo>
                  <a:pt x="30" y="108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18" y="96"/>
                </a:lnTo>
                <a:lnTo>
                  <a:pt x="24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6" y="78"/>
                </a:ln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5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47" name="Freeform 280"/>
          <p:cNvSpPr>
            <a:spLocks/>
          </p:cNvSpPr>
          <p:nvPr/>
        </p:nvSpPr>
        <p:spPr bwMode="auto">
          <a:xfrm>
            <a:off x="7012455" y="3743134"/>
            <a:ext cx="250538" cy="186299"/>
          </a:xfrm>
          <a:custGeom>
            <a:avLst/>
            <a:gdLst>
              <a:gd name="T0" fmla="*/ 6 w 234"/>
              <a:gd name="T1" fmla="*/ 12 h 174"/>
              <a:gd name="T2" fmla="*/ 24 w 234"/>
              <a:gd name="T3" fmla="*/ 12 h 174"/>
              <a:gd name="T4" fmla="*/ 24 w 234"/>
              <a:gd name="T5" fmla="*/ 0 h 174"/>
              <a:gd name="T6" fmla="*/ 36 w 234"/>
              <a:gd name="T7" fmla="*/ 12 h 174"/>
              <a:gd name="T8" fmla="*/ 42 w 234"/>
              <a:gd name="T9" fmla="*/ 18 h 174"/>
              <a:gd name="T10" fmla="*/ 48 w 234"/>
              <a:gd name="T11" fmla="*/ 24 h 174"/>
              <a:gd name="T12" fmla="*/ 60 w 234"/>
              <a:gd name="T13" fmla="*/ 24 h 174"/>
              <a:gd name="T14" fmla="*/ 66 w 234"/>
              <a:gd name="T15" fmla="*/ 24 h 174"/>
              <a:gd name="T16" fmla="*/ 72 w 234"/>
              <a:gd name="T17" fmla="*/ 30 h 174"/>
              <a:gd name="T18" fmla="*/ 84 w 234"/>
              <a:gd name="T19" fmla="*/ 24 h 174"/>
              <a:gd name="T20" fmla="*/ 90 w 234"/>
              <a:gd name="T21" fmla="*/ 30 h 174"/>
              <a:gd name="T22" fmla="*/ 96 w 234"/>
              <a:gd name="T23" fmla="*/ 30 h 174"/>
              <a:gd name="T24" fmla="*/ 102 w 234"/>
              <a:gd name="T25" fmla="*/ 30 h 174"/>
              <a:gd name="T26" fmla="*/ 102 w 234"/>
              <a:gd name="T27" fmla="*/ 36 h 174"/>
              <a:gd name="T28" fmla="*/ 108 w 234"/>
              <a:gd name="T29" fmla="*/ 42 h 174"/>
              <a:gd name="T30" fmla="*/ 114 w 234"/>
              <a:gd name="T31" fmla="*/ 42 h 174"/>
              <a:gd name="T32" fmla="*/ 120 w 234"/>
              <a:gd name="T33" fmla="*/ 42 h 174"/>
              <a:gd name="T34" fmla="*/ 132 w 234"/>
              <a:gd name="T35" fmla="*/ 48 h 174"/>
              <a:gd name="T36" fmla="*/ 138 w 234"/>
              <a:gd name="T37" fmla="*/ 48 h 174"/>
              <a:gd name="T38" fmla="*/ 144 w 234"/>
              <a:gd name="T39" fmla="*/ 48 h 174"/>
              <a:gd name="T40" fmla="*/ 150 w 234"/>
              <a:gd name="T41" fmla="*/ 48 h 174"/>
              <a:gd name="T42" fmla="*/ 156 w 234"/>
              <a:gd name="T43" fmla="*/ 48 h 174"/>
              <a:gd name="T44" fmla="*/ 162 w 234"/>
              <a:gd name="T45" fmla="*/ 48 h 174"/>
              <a:gd name="T46" fmla="*/ 168 w 234"/>
              <a:gd name="T47" fmla="*/ 54 h 174"/>
              <a:gd name="T48" fmla="*/ 180 w 234"/>
              <a:gd name="T49" fmla="*/ 48 h 174"/>
              <a:gd name="T50" fmla="*/ 198 w 234"/>
              <a:gd name="T51" fmla="*/ 60 h 174"/>
              <a:gd name="T52" fmla="*/ 216 w 234"/>
              <a:gd name="T53" fmla="*/ 66 h 174"/>
              <a:gd name="T54" fmla="*/ 222 w 234"/>
              <a:gd name="T55" fmla="*/ 72 h 174"/>
              <a:gd name="T56" fmla="*/ 222 w 234"/>
              <a:gd name="T57" fmla="*/ 78 h 174"/>
              <a:gd name="T58" fmla="*/ 234 w 234"/>
              <a:gd name="T59" fmla="*/ 90 h 174"/>
              <a:gd name="T60" fmla="*/ 228 w 234"/>
              <a:gd name="T61" fmla="*/ 102 h 174"/>
              <a:gd name="T62" fmla="*/ 222 w 234"/>
              <a:gd name="T63" fmla="*/ 114 h 174"/>
              <a:gd name="T64" fmla="*/ 210 w 234"/>
              <a:gd name="T65" fmla="*/ 108 h 174"/>
              <a:gd name="T66" fmla="*/ 198 w 234"/>
              <a:gd name="T67" fmla="*/ 114 h 174"/>
              <a:gd name="T68" fmla="*/ 192 w 234"/>
              <a:gd name="T69" fmla="*/ 120 h 174"/>
              <a:gd name="T70" fmla="*/ 174 w 234"/>
              <a:gd name="T71" fmla="*/ 120 h 174"/>
              <a:gd name="T72" fmla="*/ 162 w 234"/>
              <a:gd name="T73" fmla="*/ 126 h 174"/>
              <a:gd name="T74" fmla="*/ 162 w 234"/>
              <a:gd name="T75" fmla="*/ 138 h 174"/>
              <a:gd name="T76" fmla="*/ 150 w 234"/>
              <a:gd name="T77" fmla="*/ 144 h 174"/>
              <a:gd name="T78" fmla="*/ 144 w 234"/>
              <a:gd name="T79" fmla="*/ 144 h 174"/>
              <a:gd name="T80" fmla="*/ 144 w 234"/>
              <a:gd name="T81" fmla="*/ 144 h 174"/>
              <a:gd name="T82" fmla="*/ 138 w 234"/>
              <a:gd name="T83" fmla="*/ 144 h 174"/>
              <a:gd name="T84" fmla="*/ 132 w 234"/>
              <a:gd name="T85" fmla="*/ 144 h 174"/>
              <a:gd name="T86" fmla="*/ 132 w 234"/>
              <a:gd name="T87" fmla="*/ 156 h 174"/>
              <a:gd name="T88" fmla="*/ 120 w 234"/>
              <a:gd name="T89" fmla="*/ 156 h 174"/>
              <a:gd name="T90" fmla="*/ 120 w 234"/>
              <a:gd name="T91" fmla="*/ 162 h 174"/>
              <a:gd name="T92" fmla="*/ 108 w 234"/>
              <a:gd name="T93" fmla="*/ 162 h 174"/>
              <a:gd name="T94" fmla="*/ 102 w 234"/>
              <a:gd name="T95" fmla="*/ 174 h 174"/>
              <a:gd name="T96" fmla="*/ 84 w 234"/>
              <a:gd name="T97" fmla="*/ 168 h 174"/>
              <a:gd name="T98" fmla="*/ 72 w 234"/>
              <a:gd name="T99" fmla="*/ 156 h 174"/>
              <a:gd name="T100" fmla="*/ 54 w 234"/>
              <a:gd name="T101" fmla="*/ 144 h 174"/>
              <a:gd name="T102" fmla="*/ 48 w 234"/>
              <a:gd name="T103" fmla="*/ 132 h 174"/>
              <a:gd name="T104" fmla="*/ 42 w 234"/>
              <a:gd name="T105" fmla="*/ 132 h 174"/>
              <a:gd name="T106" fmla="*/ 42 w 234"/>
              <a:gd name="T107" fmla="*/ 126 h 174"/>
              <a:gd name="T108" fmla="*/ 42 w 234"/>
              <a:gd name="T109" fmla="*/ 114 h 174"/>
              <a:gd name="T110" fmla="*/ 36 w 234"/>
              <a:gd name="T111" fmla="*/ 102 h 174"/>
              <a:gd name="T112" fmla="*/ 30 w 234"/>
              <a:gd name="T113" fmla="*/ 84 h 174"/>
              <a:gd name="T114" fmla="*/ 12 w 234"/>
              <a:gd name="T115" fmla="*/ 78 h 174"/>
              <a:gd name="T116" fmla="*/ 12 w 234"/>
              <a:gd name="T117" fmla="*/ 72 h 174"/>
              <a:gd name="T118" fmla="*/ 6 w 234"/>
              <a:gd name="T119" fmla="*/ 60 h 174"/>
              <a:gd name="T120" fmla="*/ 6 w 234"/>
              <a:gd name="T121" fmla="*/ 48 h 174"/>
              <a:gd name="T122" fmla="*/ 6 w 234"/>
              <a:gd name="T123" fmla="*/ 42 h 174"/>
              <a:gd name="T124" fmla="*/ 6 w 234"/>
              <a:gd name="T125" fmla="*/ 30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34" h="174">
                <a:moveTo>
                  <a:pt x="0" y="18"/>
                </a:moveTo>
                <a:lnTo>
                  <a:pt x="0" y="18"/>
                </a:lnTo>
                <a:lnTo>
                  <a:pt x="0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2"/>
                </a:lnTo>
                <a:lnTo>
                  <a:pt x="6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8" y="12"/>
                </a:lnTo>
                <a:lnTo>
                  <a:pt x="18" y="12"/>
                </a:lnTo>
                <a:lnTo>
                  <a:pt x="18" y="18"/>
                </a:lnTo>
                <a:lnTo>
                  <a:pt x="18" y="12"/>
                </a:lnTo>
                <a:lnTo>
                  <a:pt x="24" y="12"/>
                </a:lnTo>
                <a:lnTo>
                  <a:pt x="24" y="6"/>
                </a:lnTo>
                <a:lnTo>
                  <a:pt x="24" y="6"/>
                </a:lnTo>
                <a:lnTo>
                  <a:pt x="18" y="6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12"/>
                </a:lnTo>
                <a:lnTo>
                  <a:pt x="30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0" y="12"/>
                </a:lnTo>
                <a:lnTo>
                  <a:pt x="30" y="18"/>
                </a:lnTo>
                <a:lnTo>
                  <a:pt x="36" y="18"/>
                </a:lnTo>
                <a:lnTo>
                  <a:pt x="36" y="24"/>
                </a:lnTo>
                <a:lnTo>
                  <a:pt x="36" y="24"/>
                </a:lnTo>
                <a:lnTo>
                  <a:pt x="36" y="18"/>
                </a:lnTo>
                <a:lnTo>
                  <a:pt x="36" y="18"/>
                </a:lnTo>
                <a:lnTo>
                  <a:pt x="36" y="24"/>
                </a:lnTo>
                <a:lnTo>
                  <a:pt x="42" y="24"/>
                </a:lnTo>
                <a:lnTo>
                  <a:pt x="42" y="18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8" y="24"/>
                </a:lnTo>
                <a:lnTo>
                  <a:pt x="48" y="24"/>
                </a:lnTo>
                <a:lnTo>
                  <a:pt x="42" y="24"/>
                </a:lnTo>
                <a:lnTo>
                  <a:pt x="48" y="24"/>
                </a:lnTo>
                <a:lnTo>
                  <a:pt x="42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72" y="24"/>
                </a:lnTo>
                <a:lnTo>
                  <a:pt x="72" y="24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66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8" y="24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102" y="30"/>
                </a:lnTo>
                <a:lnTo>
                  <a:pt x="96" y="30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8"/>
                </a:lnTo>
                <a:lnTo>
                  <a:pt x="120" y="48"/>
                </a:lnTo>
                <a:lnTo>
                  <a:pt x="120" y="42"/>
                </a:lnTo>
                <a:lnTo>
                  <a:pt x="120" y="48"/>
                </a:lnTo>
                <a:lnTo>
                  <a:pt x="120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32" y="48"/>
                </a:lnTo>
                <a:lnTo>
                  <a:pt x="126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8" y="48"/>
                </a:lnTo>
                <a:lnTo>
                  <a:pt x="138" y="48"/>
                </a:lnTo>
                <a:lnTo>
                  <a:pt x="138" y="48"/>
                </a:lnTo>
                <a:lnTo>
                  <a:pt x="138" y="48"/>
                </a:lnTo>
                <a:lnTo>
                  <a:pt x="138" y="48"/>
                </a:lnTo>
                <a:lnTo>
                  <a:pt x="138" y="48"/>
                </a:lnTo>
                <a:lnTo>
                  <a:pt x="138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62" y="48"/>
                </a:lnTo>
                <a:lnTo>
                  <a:pt x="156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8" y="48"/>
                </a:lnTo>
                <a:lnTo>
                  <a:pt x="168" y="48"/>
                </a:lnTo>
                <a:lnTo>
                  <a:pt x="168" y="48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68" y="48"/>
                </a:lnTo>
                <a:lnTo>
                  <a:pt x="168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80" y="48"/>
                </a:lnTo>
                <a:lnTo>
                  <a:pt x="180" y="48"/>
                </a:lnTo>
                <a:lnTo>
                  <a:pt x="186" y="48"/>
                </a:lnTo>
                <a:lnTo>
                  <a:pt x="186" y="54"/>
                </a:lnTo>
                <a:lnTo>
                  <a:pt x="186" y="54"/>
                </a:lnTo>
                <a:lnTo>
                  <a:pt x="186" y="54"/>
                </a:lnTo>
                <a:lnTo>
                  <a:pt x="192" y="60"/>
                </a:lnTo>
                <a:lnTo>
                  <a:pt x="192" y="60"/>
                </a:lnTo>
                <a:lnTo>
                  <a:pt x="192" y="60"/>
                </a:lnTo>
                <a:lnTo>
                  <a:pt x="198" y="60"/>
                </a:lnTo>
                <a:lnTo>
                  <a:pt x="198" y="60"/>
                </a:lnTo>
                <a:lnTo>
                  <a:pt x="198" y="60"/>
                </a:lnTo>
                <a:lnTo>
                  <a:pt x="198" y="60"/>
                </a:lnTo>
                <a:lnTo>
                  <a:pt x="204" y="66"/>
                </a:lnTo>
                <a:lnTo>
                  <a:pt x="204" y="66"/>
                </a:lnTo>
                <a:lnTo>
                  <a:pt x="204" y="66"/>
                </a:lnTo>
                <a:lnTo>
                  <a:pt x="210" y="66"/>
                </a:lnTo>
                <a:lnTo>
                  <a:pt x="210" y="66"/>
                </a:lnTo>
                <a:lnTo>
                  <a:pt x="210" y="66"/>
                </a:lnTo>
                <a:lnTo>
                  <a:pt x="210" y="66"/>
                </a:lnTo>
                <a:lnTo>
                  <a:pt x="216" y="66"/>
                </a:lnTo>
                <a:lnTo>
                  <a:pt x="216" y="66"/>
                </a:lnTo>
                <a:lnTo>
                  <a:pt x="216" y="60"/>
                </a:lnTo>
                <a:lnTo>
                  <a:pt x="222" y="60"/>
                </a:lnTo>
                <a:lnTo>
                  <a:pt x="222" y="60"/>
                </a:lnTo>
                <a:lnTo>
                  <a:pt x="222" y="66"/>
                </a:lnTo>
                <a:lnTo>
                  <a:pt x="222" y="66"/>
                </a:lnTo>
                <a:lnTo>
                  <a:pt x="222" y="66"/>
                </a:lnTo>
                <a:lnTo>
                  <a:pt x="228" y="66"/>
                </a:lnTo>
                <a:lnTo>
                  <a:pt x="228" y="72"/>
                </a:lnTo>
                <a:lnTo>
                  <a:pt x="222" y="72"/>
                </a:lnTo>
                <a:lnTo>
                  <a:pt x="222" y="72"/>
                </a:lnTo>
                <a:lnTo>
                  <a:pt x="222" y="72"/>
                </a:lnTo>
                <a:lnTo>
                  <a:pt x="222" y="72"/>
                </a:lnTo>
                <a:lnTo>
                  <a:pt x="222" y="72"/>
                </a:lnTo>
                <a:lnTo>
                  <a:pt x="222" y="72"/>
                </a:lnTo>
                <a:lnTo>
                  <a:pt x="228" y="78"/>
                </a:lnTo>
                <a:lnTo>
                  <a:pt x="228" y="78"/>
                </a:lnTo>
                <a:lnTo>
                  <a:pt x="228" y="78"/>
                </a:lnTo>
                <a:lnTo>
                  <a:pt x="222" y="78"/>
                </a:lnTo>
                <a:lnTo>
                  <a:pt x="222" y="78"/>
                </a:lnTo>
                <a:lnTo>
                  <a:pt x="222" y="78"/>
                </a:lnTo>
                <a:lnTo>
                  <a:pt x="222" y="78"/>
                </a:lnTo>
                <a:lnTo>
                  <a:pt x="222" y="84"/>
                </a:lnTo>
                <a:lnTo>
                  <a:pt x="228" y="84"/>
                </a:lnTo>
                <a:lnTo>
                  <a:pt x="228" y="84"/>
                </a:lnTo>
                <a:lnTo>
                  <a:pt x="228" y="84"/>
                </a:lnTo>
                <a:lnTo>
                  <a:pt x="228" y="90"/>
                </a:lnTo>
                <a:lnTo>
                  <a:pt x="228" y="90"/>
                </a:lnTo>
                <a:lnTo>
                  <a:pt x="228" y="90"/>
                </a:lnTo>
                <a:lnTo>
                  <a:pt x="234" y="90"/>
                </a:lnTo>
                <a:lnTo>
                  <a:pt x="234" y="90"/>
                </a:lnTo>
                <a:lnTo>
                  <a:pt x="228" y="90"/>
                </a:lnTo>
                <a:lnTo>
                  <a:pt x="228" y="96"/>
                </a:lnTo>
                <a:lnTo>
                  <a:pt x="228" y="96"/>
                </a:lnTo>
                <a:lnTo>
                  <a:pt x="228" y="96"/>
                </a:lnTo>
                <a:lnTo>
                  <a:pt x="228" y="96"/>
                </a:lnTo>
                <a:lnTo>
                  <a:pt x="228" y="102"/>
                </a:lnTo>
                <a:lnTo>
                  <a:pt x="228" y="102"/>
                </a:lnTo>
                <a:lnTo>
                  <a:pt x="228" y="102"/>
                </a:lnTo>
                <a:lnTo>
                  <a:pt x="228" y="102"/>
                </a:lnTo>
                <a:lnTo>
                  <a:pt x="228" y="102"/>
                </a:lnTo>
                <a:lnTo>
                  <a:pt x="228" y="102"/>
                </a:lnTo>
                <a:lnTo>
                  <a:pt x="228" y="102"/>
                </a:lnTo>
                <a:lnTo>
                  <a:pt x="222" y="102"/>
                </a:lnTo>
                <a:lnTo>
                  <a:pt x="222" y="108"/>
                </a:lnTo>
                <a:lnTo>
                  <a:pt x="222" y="108"/>
                </a:lnTo>
                <a:lnTo>
                  <a:pt x="222" y="108"/>
                </a:lnTo>
                <a:lnTo>
                  <a:pt x="222" y="108"/>
                </a:lnTo>
                <a:lnTo>
                  <a:pt x="222" y="114"/>
                </a:lnTo>
                <a:lnTo>
                  <a:pt x="222" y="114"/>
                </a:lnTo>
                <a:lnTo>
                  <a:pt x="222" y="114"/>
                </a:lnTo>
                <a:lnTo>
                  <a:pt x="222" y="114"/>
                </a:lnTo>
                <a:lnTo>
                  <a:pt x="222" y="114"/>
                </a:lnTo>
                <a:lnTo>
                  <a:pt x="216" y="114"/>
                </a:lnTo>
                <a:lnTo>
                  <a:pt x="216" y="114"/>
                </a:lnTo>
                <a:lnTo>
                  <a:pt x="210" y="114"/>
                </a:lnTo>
                <a:lnTo>
                  <a:pt x="210" y="114"/>
                </a:lnTo>
                <a:lnTo>
                  <a:pt x="210" y="114"/>
                </a:lnTo>
                <a:lnTo>
                  <a:pt x="210" y="108"/>
                </a:lnTo>
                <a:lnTo>
                  <a:pt x="210" y="108"/>
                </a:lnTo>
                <a:lnTo>
                  <a:pt x="210" y="108"/>
                </a:lnTo>
                <a:lnTo>
                  <a:pt x="204" y="114"/>
                </a:lnTo>
                <a:lnTo>
                  <a:pt x="204" y="114"/>
                </a:lnTo>
                <a:lnTo>
                  <a:pt x="204" y="114"/>
                </a:lnTo>
                <a:lnTo>
                  <a:pt x="204" y="114"/>
                </a:lnTo>
                <a:lnTo>
                  <a:pt x="198" y="114"/>
                </a:lnTo>
                <a:lnTo>
                  <a:pt x="198" y="114"/>
                </a:lnTo>
                <a:lnTo>
                  <a:pt x="198" y="114"/>
                </a:lnTo>
                <a:lnTo>
                  <a:pt x="198" y="114"/>
                </a:lnTo>
                <a:lnTo>
                  <a:pt x="198" y="114"/>
                </a:lnTo>
                <a:lnTo>
                  <a:pt x="198" y="120"/>
                </a:lnTo>
                <a:lnTo>
                  <a:pt x="198" y="120"/>
                </a:lnTo>
                <a:lnTo>
                  <a:pt x="198" y="120"/>
                </a:lnTo>
                <a:lnTo>
                  <a:pt x="198" y="120"/>
                </a:lnTo>
                <a:lnTo>
                  <a:pt x="198" y="120"/>
                </a:lnTo>
                <a:lnTo>
                  <a:pt x="198" y="120"/>
                </a:lnTo>
                <a:lnTo>
                  <a:pt x="192" y="120"/>
                </a:lnTo>
                <a:lnTo>
                  <a:pt x="192" y="120"/>
                </a:lnTo>
                <a:lnTo>
                  <a:pt x="192" y="120"/>
                </a:lnTo>
                <a:lnTo>
                  <a:pt x="192" y="120"/>
                </a:lnTo>
                <a:lnTo>
                  <a:pt x="186" y="120"/>
                </a:lnTo>
                <a:lnTo>
                  <a:pt x="186" y="126"/>
                </a:lnTo>
                <a:lnTo>
                  <a:pt x="186" y="120"/>
                </a:lnTo>
                <a:lnTo>
                  <a:pt x="186" y="120"/>
                </a:lnTo>
                <a:lnTo>
                  <a:pt x="180" y="120"/>
                </a:lnTo>
                <a:lnTo>
                  <a:pt x="180" y="126"/>
                </a:lnTo>
                <a:lnTo>
                  <a:pt x="180" y="120"/>
                </a:lnTo>
                <a:lnTo>
                  <a:pt x="174" y="120"/>
                </a:lnTo>
                <a:lnTo>
                  <a:pt x="174" y="120"/>
                </a:lnTo>
                <a:lnTo>
                  <a:pt x="174" y="120"/>
                </a:lnTo>
                <a:lnTo>
                  <a:pt x="174" y="120"/>
                </a:lnTo>
                <a:lnTo>
                  <a:pt x="174" y="120"/>
                </a:lnTo>
                <a:lnTo>
                  <a:pt x="168" y="120"/>
                </a:lnTo>
                <a:lnTo>
                  <a:pt x="168" y="120"/>
                </a:lnTo>
                <a:lnTo>
                  <a:pt x="168" y="126"/>
                </a:lnTo>
                <a:lnTo>
                  <a:pt x="168" y="126"/>
                </a:lnTo>
                <a:lnTo>
                  <a:pt x="168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32"/>
                </a:lnTo>
                <a:lnTo>
                  <a:pt x="156" y="132"/>
                </a:lnTo>
                <a:lnTo>
                  <a:pt x="156" y="132"/>
                </a:lnTo>
                <a:lnTo>
                  <a:pt x="156" y="132"/>
                </a:lnTo>
                <a:lnTo>
                  <a:pt x="156" y="132"/>
                </a:lnTo>
                <a:lnTo>
                  <a:pt x="156" y="132"/>
                </a:lnTo>
                <a:lnTo>
                  <a:pt x="162" y="138"/>
                </a:lnTo>
                <a:lnTo>
                  <a:pt x="162" y="138"/>
                </a:lnTo>
                <a:lnTo>
                  <a:pt x="162" y="138"/>
                </a:lnTo>
                <a:lnTo>
                  <a:pt x="156" y="138"/>
                </a:lnTo>
                <a:lnTo>
                  <a:pt x="156" y="138"/>
                </a:lnTo>
                <a:lnTo>
                  <a:pt x="156" y="138"/>
                </a:lnTo>
                <a:lnTo>
                  <a:pt x="162" y="138"/>
                </a:lnTo>
                <a:lnTo>
                  <a:pt x="156" y="138"/>
                </a:lnTo>
                <a:lnTo>
                  <a:pt x="156" y="144"/>
                </a:lnTo>
                <a:lnTo>
                  <a:pt x="156" y="144"/>
                </a:lnTo>
                <a:lnTo>
                  <a:pt x="156" y="144"/>
                </a:lnTo>
                <a:lnTo>
                  <a:pt x="150" y="144"/>
                </a:lnTo>
                <a:lnTo>
                  <a:pt x="150" y="144"/>
                </a:lnTo>
                <a:lnTo>
                  <a:pt x="150" y="144"/>
                </a:lnTo>
                <a:lnTo>
                  <a:pt x="150" y="144"/>
                </a:lnTo>
                <a:lnTo>
                  <a:pt x="150" y="144"/>
                </a:lnTo>
                <a:lnTo>
                  <a:pt x="150" y="144"/>
                </a:lnTo>
                <a:lnTo>
                  <a:pt x="150" y="144"/>
                </a:lnTo>
                <a:lnTo>
                  <a:pt x="150" y="144"/>
                </a:lnTo>
                <a:lnTo>
                  <a:pt x="150" y="144"/>
                </a:lnTo>
                <a:lnTo>
                  <a:pt x="144" y="144"/>
                </a:lnTo>
                <a:lnTo>
                  <a:pt x="144" y="144"/>
                </a:lnTo>
                <a:lnTo>
                  <a:pt x="144" y="144"/>
                </a:lnTo>
                <a:lnTo>
                  <a:pt x="144" y="144"/>
                </a:lnTo>
                <a:lnTo>
                  <a:pt x="144" y="144"/>
                </a:lnTo>
                <a:lnTo>
                  <a:pt x="144" y="144"/>
                </a:lnTo>
                <a:lnTo>
                  <a:pt x="144" y="144"/>
                </a:lnTo>
                <a:lnTo>
                  <a:pt x="144" y="144"/>
                </a:lnTo>
                <a:lnTo>
                  <a:pt x="144" y="144"/>
                </a:lnTo>
                <a:lnTo>
                  <a:pt x="144" y="144"/>
                </a:lnTo>
                <a:lnTo>
                  <a:pt x="144" y="144"/>
                </a:lnTo>
                <a:lnTo>
                  <a:pt x="144" y="144"/>
                </a:lnTo>
                <a:lnTo>
                  <a:pt x="144" y="144"/>
                </a:lnTo>
                <a:lnTo>
                  <a:pt x="138" y="144"/>
                </a:lnTo>
                <a:lnTo>
                  <a:pt x="138" y="144"/>
                </a:lnTo>
                <a:lnTo>
                  <a:pt x="138" y="144"/>
                </a:lnTo>
                <a:lnTo>
                  <a:pt x="138" y="144"/>
                </a:lnTo>
                <a:lnTo>
                  <a:pt x="138" y="144"/>
                </a:lnTo>
                <a:lnTo>
                  <a:pt x="138" y="144"/>
                </a:lnTo>
                <a:lnTo>
                  <a:pt x="138" y="144"/>
                </a:lnTo>
                <a:lnTo>
                  <a:pt x="138" y="144"/>
                </a:lnTo>
                <a:lnTo>
                  <a:pt x="138" y="144"/>
                </a:lnTo>
                <a:lnTo>
                  <a:pt x="138" y="144"/>
                </a:lnTo>
                <a:lnTo>
                  <a:pt x="138" y="144"/>
                </a:lnTo>
                <a:lnTo>
                  <a:pt x="132" y="144"/>
                </a:lnTo>
                <a:lnTo>
                  <a:pt x="132" y="144"/>
                </a:lnTo>
                <a:lnTo>
                  <a:pt x="138" y="144"/>
                </a:lnTo>
                <a:lnTo>
                  <a:pt x="132" y="144"/>
                </a:lnTo>
                <a:lnTo>
                  <a:pt x="132" y="144"/>
                </a:lnTo>
                <a:lnTo>
                  <a:pt x="132" y="144"/>
                </a:lnTo>
                <a:lnTo>
                  <a:pt x="132" y="144"/>
                </a:lnTo>
                <a:lnTo>
                  <a:pt x="132" y="144"/>
                </a:lnTo>
                <a:lnTo>
                  <a:pt x="132" y="144"/>
                </a:lnTo>
                <a:lnTo>
                  <a:pt x="132" y="144"/>
                </a:lnTo>
                <a:lnTo>
                  <a:pt x="132" y="144"/>
                </a:lnTo>
                <a:lnTo>
                  <a:pt x="132" y="150"/>
                </a:lnTo>
                <a:lnTo>
                  <a:pt x="132" y="150"/>
                </a:lnTo>
                <a:lnTo>
                  <a:pt x="132" y="150"/>
                </a:lnTo>
                <a:lnTo>
                  <a:pt x="132" y="150"/>
                </a:lnTo>
                <a:lnTo>
                  <a:pt x="132" y="150"/>
                </a:lnTo>
                <a:lnTo>
                  <a:pt x="132" y="150"/>
                </a:lnTo>
                <a:lnTo>
                  <a:pt x="132" y="156"/>
                </a:lnTo>
                <a:lnTo>
                  <a:pt x="132" y="156"/>
                </a:lnTo>
                <a:lnTo>
                  <a:pt x="132" y="156"/>
                </a:lnTo>
                <a:lnTo>
                  <a:pt x="132" y="156"/>
                </a:lnTo>
                <a:lnTo>
                  <a:pt x="132" y="156"/>
                </a:lnTo>
                <a:lnTo>
                  <a:pt x="132" y="156"/>
                </a:lnTo>
                <a:lnTo>
                  <a:pt x="132" y="156"/>
                </a:lnTo>
                <a:lnTo>
                  <a:pt x="132" y="156"/>
                </a:lnTo>
                <a:lnTo>
                  <a:pt x="132" y="156"/>
                </a:lnTo>
                <a:lnTo>
                  <a:pt x="126" y="156"/>
                </a:lnTo>
                <a:lnTo>
                  <a:pt x="126" y="156"/>
                </a:lnTo>
                <a:lnTo>
                  <a:pt x="120" y="156"/>
                </a:lnTo>
                <a:lnTo>
                  <a:pt x="120" y="156"/>
                </a:lnTo>
                <a:lnTo>
                  <a:pt x="120" y="156"/>
                </a:lnTo>
                <a:lnTo>
                  <a:pt x="120" y="156"/>
                </a:lnTo>
                <a:lnTo>
                  <a:pt x="120" y="156"/>
                </a:lnTo>
                <a:lnTo>
                  <a:pt x="120" y="162"/>
                </a:lnTo>
                <a:lnTo>
                  <a:pt x="120" y="162"/>
                </a:lnTo>
                <a:lnTo>
                  <a:pt x="126" y="162"/>
                </a:lnTo>
                <a:lnTo>
                  <a:pt x="126" y="162"/>
                </a:lnTo>
                <a:lnTo>
                  <a:pt x="120" y="162"/>
                </a:lnTo>
                <a:lnTo>
                  <a:pt x="120" y="162"/>
                </a:lnTo>
                <a:lnTo>
                  <a:pt x="120" y="162"/>
                </a:lnTo>
                <a:lnTo>
                  <a:pt x="120" y="162"/>
                </a:lnTo>
                <a:lnTo>
                  <a:pt x="120" y="162"/>
                </a:lnTo>
                <a:lnTo>
                  <a:pt x="114" y="162"/>
                </a:lnTo>
                <a:lnTo>
                  <a:pt x="114" y="162"/>
                </a:lnTo>
                <a:lnTo>
                  <a:pt x="114" y="162"/>
                </a:lnTo>
                <a:lnTo>
                  <a:pt x="114" y="162"/>
                </a:lnTo>
                <a:lnTo>
                  <a:pt x="108" y="162"/>
                </a:lnTo>
                <a:lnTo>
                  <a:pt x="108" y="162"/>
                </a:lnTo>
                <a:lnTo>
                  <a:pt x="108" y="162"/>
                </a:lnTo>
                <a:lnTo>
                  <a:pt x="108" y="162"/>
                </a:lnTo>
                <a:lnTo>
                  <a:pt x="102" y="162"/>
                </a:lnTo>
                <a:lnTo>
                  <a:pt x="102" y="162"/>
                </a:lnTo>
                <a:lnTo>
                  <a:pt x="102" y="162"/>
                </a:lnTo>
                <a:lnTo>
                  <a:pt x="96" y="162"/>
                </a:lnTo>
                <a:lnTo>
                  <a:pt x="96" y="168"/>
                </a:lnTo>
                <a:lnTo>
                  <a:pt x="96" y="168"/>
                </a:lnTo>
                <a:lnTo>
                  <a:pt x="96" y="168"/>
                </a:lnTo>
                <a:lnTo>
                  <a:pt x="96" y="174"/>
                </a:lnTo>
                <a:lnTo>
                  <a:pt x="102" y="174"/>
                </a:lnTo>
                <a:lnTo>
                  <a:pt x="96" y="174"/>
                </a:lnTo>
                <a:lnTo>
                  <a:pt x="96" y="174"/>
                </a:lnTo>
                <a:lnTo>
                  <a:pt x="96" y="174"/>
                </a:lnTo>
                <a:lnTo>
                  <a:pt x="96" y="174"/>
                </a:lnTo>
                <a:lnTo>
                  <a:pt x="90" y="174"/>
                </a:lnTo>
                <a:lnTo>
                  <a:pt x="90" y="168"/>
                </a:lnTo>
                <a:lnTo>
                  <a:pt x="90" y="168"/>
                </a:lnTo>
                <a:lnTo>
                  <a:pt x="90" y="168"/>
                </a:lnTo>
                <a:lnTo>
                  <a:pt x="84" y="168"/>
                </a:lnTo>
                <a:lnTo>
                  <a:pt x="84" y="168"/>
                </a:lnTo>
                <a:lnTo>
                  <a:pt x="84" y="168"/>
                </a:lnTo>
                <a:lnTo>
                  <a:pt x="84" y="168"/>
                </a:lnTo>
                <a:lnTo>
                  <a:pt x="78" y="168"/>
                </a:lnTo>
                <a:lnTo>
                  <a:pt x="78" y="162"/>
                </a:lnTo>
                <a:lnTo>
                  <a:pt x="78" y="162"/>
                </a:lnTo>
                <a:lnTo>
                  <a:pt x="78" y="162"/>
                </a:lnTo>
                <a:lnTo>
                  <a:pt x="78" y="162"/>
                </a:lnTo>
                <a:lnTo>
                  <a:pt x="78" y="156"/>
                </a:lnTo>
                <a:lnTo>
                  <a:pt x="72" y="156"/>
                </a:lnTo>
                <a:lnTo>
                  <a:pt x="72" y="156"/>
                </a:lnTo>
                <a:lnTo>
                  <a:pt x="72" y="156"/>
                </a:lnTo>
                <a:lnTo>
                  <a:pt x="66" y="150"/>
                </a:lnTo>
                <a:lnTo>
                  <a:pt x="66" y="150"/>
                </a:lnTo>
                <a:lnTo>
                  <a:pt x="66" y="150"/>
                </a:lnTo>
                <a:lnTo>
                  <a:pt x="60" y="150"/>
                </a:lnTo>
                <a:lnTo>
                  <a:pt x="60" y="150"/>
                </a:lnTo>
                <a:lnTo>
                  <a:pt x="60" y="150"/>
                </a:lnTo>
                <a:lnTo>
                  <a:pt x="54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36" y="126"/>
                </a:lnTo>
                <a:lnTo>
                  <a:pt x="42" y="120"/>
                </a:lnTo>
                <a:lnTo>
                  <a:pt x="42" y="120"/>
                </a:lnTo>
                <a:lnTo>
                  <a:pt x="42" y="120"/>
                </a:lnTo>
                <a:lnTo>
                  <a:pt x="36" y="120"/>
                </a:lnTo>
                <a:lnTo>
                  <a:pt x="42" y="120"/>
                </a:lnTo>
                <a:lnTo>
                  <a:pt x="36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08"/>
                </a:lnTo>
                <a:lnTo>
                  <a:pt x="42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2"/>
                </a:lnTo>
                <a:lnTo>
                  <a:pt x="36" y="102"/>
                </a:lnTo>
                <a:lnTo>
                  <a:pt x="30" y="102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0"/>
                </a:lnTo>
                <a:lnTo>
                  <a:pt x="36" y="90"/>
                </a:lnTo>
                <a:lnTo>
                  <a:pt x="36" y="90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78"/>
                </a:lnTo>
                <a:lnTo>
                  <a:pt x="30" y="78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18" y="84"/>
                </a:lnTo>
                <a:lnTo>
                  <a:pt x="18" y="84"/>
                </a:lnTo>
                <a:lnTo>
                  <a:pt x="18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6" y="66"/>
                </a:lnTo>
                <a:lnTo>
                  <a:pt x="6" y="66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0" y="30"/>
                </a:lnTo>
                <a:lnTo>
                  <a:pt x="0" y="30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1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48" name="Freeform 281"/>
          <p:cNvSpPr>
            <a:spLocks/>
          </p:cNvSpPr>
          <p:nvPr/>
        </p:nvSpPr>
        <p:spPr bwMode="auto">
          <a:xfrm>
            <a:off x="7095968" y="3987250"/>
            <a:ext cx="147753" cy="128482"/>
          </a:xfrm>
          <a:custGeom>
            <a:avLst/>
            <a:gdLst>
              <a:gd name="T0" fmla="*/ 6 w 138"/>
              <a:gd name="T1" fmla="*/ 12 h 120"/>
              <a:gd name="T2" fmla="*/ 12 w 138"/>
              <a:gd name="T3" fmla="*/ 0 h 120"/>
              <a:gd name="T4" fmla="*/ 18 w 138"/>
              <a:gd name="T5" fmla="*/ 0 h 120"/>
              <a:gd name="T6" fmla="*/ 24 w 138"/>
              <a:gd name="T7" fmla="*/ 6 h 120"/>
              <a:gd name="T8" fmla="*/ 30 w 138"/>
              <a:gd name="T9" fmla="*/ 6 h 120"/>
              <a:gd name="T10" fmla="*/ 42 w 138"/>
              <a:gd name="T11" fmla="*/ 18 h 120"/>
              <a:gd name="T12" fmla="*/ 48 w 138"/>
              <a:gd name="T13" fmla="*/ 24 h 120"/>
              <a:gd name="T14" fmla="*/ 48 w 138"/>
              <a:gd name="T15" fmla="*/ 30 h 120"/>
              <a:gd name="T16" fmla="*/ 54 w 138"/>
              <a:gd name="T17" fmla="*/ 30 h 120"/>
              <a:gd name="T18" fmla="*/ 60 w 138"/>
              <a:gd name="T19" fmla="*/ 36 h 120"/>
              <a:gd name="T20" fmla="*/ 66 w 138"/>
              <a:gd name="T21" fmla="*/ 30 h 120"/>
              <a:gd name="T22" fmla="*/ 72 w 138"/>
              <a:gd name="T23" fmla="*/ 30 h 120"/>
              <a:gd name="T24" fmla="*/ 78 w 138"/>
              <a:gd name="T25" fmla="*/ 30 h 120"/>
              <a:gd name="T26" fmla="*/ 78 w 138"/>
              <a:gd name="T27" fmla="*/ 36 h 120"/>
              <a:gd name="T28" fmla="*/ 84 w 138"/>
              <a:gd name="T29" fmla="*/ 36 h 120"/>
              <a:gd name="T30" fmla="*/ 78 w 138"/>
              <a:gd name="T31" fmla="*/ 42 h 120"/>
              <a:gd name="T32" fmla="*/ 90 w 138"/>
              <a:gd name="T33" fmla="*/ 48 h 120"/>
              <a:gd name="T34" fmla="*/ 96 w 138"/>
              <a:gd name="T35" fmla="*/ 48 h 120"/>
              <a:gd name="T36" fmla="*/ 108 w 138"/>
              <a:gd name="T37" fmla="*/ 48 h 120"/>
              <a:gd name="T38" fmla="*/ 102 w 138"/>
              <a:gd name="T39" fmla="*/ 36 h 120"/>
              <a:gd name="T40" fmla="*/ 114 w 138"/>
              <a:gd name="T41" fmla="*/ 36 h 120"/>
              <a:gd name="T42" fmla="*/ 114 w 138"/>
              <a:gd name="T43" fmla="*/ 48 h 120"/>
              <a:gd name="T44" fmla="*/ 120 w 138"/>
              <a:gd name="T45" fmla="*/ 54 h 120"/>
              <a:gd name="T46" fmla="*/ 126 w 138"/>
              <a:gd name="T47" fmla="*/ 60 h 120"/>
              <a:gd name="T48" fmla="*/ 120 w 138"/>
              <a:gd name="T49" fmla="*/ 66 h 120"/>
              <a:gd name="T50" fmla="*/ 120 w 138"/>
              <a:gd name="T51" fmla="*/ 66 h 120"/>
              <a:gd name="T52" fmla="*/ 126 w 138"/>
              <a:gd name="T53" fmla="*/ 72 h 120"/>
              <a:gd name="T54" fmla="*/ 132 w 138"/>
              <a:gd name="T55" fmla="*/ 84 h 120"/>
              <a:gd name="T56" fmla="*/ 132 w 138"/>
              <a:gd name="T57" fmla="*/ 84 h 120"/>
              <a:gd name="T58" fmla="*/ 132 w 138"/>
              <a:gd name="T59" fmla="*/ 96 h 120"/>
              <a:gd name="T60" fmla="*/ 126 w 138"/>
              <a:gd name="T61" fmla="*/ 102 h 120"/>
              <a:gd name="T62" fmla="*/ 120 w 138"/>
              <a:gd name="T63" fmla="*/ 108 h 120"/>
              <a:gd name="T64" fmla="*/ 120 w 138"/>
              <a:gd name="T65" fmla="*/ 114 h 120"/>
              <a:gd name="T66" fmla="*/ 114 w 138"/>
              <a:gd name="T67" fmla="*/ 114 h 120"/>
              <a:gd name="T68" fmla="*/ 102 w 138"/>
              <a:gd name="T69" fmla="*/ 114 h 120"/>
              <a:gd name="T70" fmla="*/ 96 w 138"/>
              <a:gd name="T71" fmla="*/ 114 h 120"/>
              <a:gd name="T72" fmla="*/ 96 w 138"/>
              <a:gd name="T73" fmla="*/ 108 h 120"/>
              <a:gd name="T74" fmla="*/ 96 w 138"/>
              <a:gd name="T75" fmla="*/ 102 h 120"/>
              <a:gd name="T76" fmla="*/ 90 w 138"/>
              <a:gd name="T77" fmla="*/ 96 h 120"/>
              <a:gd name="T78" fmla="*/ 84 w 138"/>
              <a:gd name="T79" fmla="*/ 96 h 120"/>
              <a:gd name="T80" fmla="*/ 78 w 138"/>
              <a:gd name="T81" fmla="*/ 90 h 120"/>
              <a:gd name="T82" fmla="*/ 72 w 138"/>
              <a:gd name="T83" fmla="*/ 90 h 120"/>
              <a:gd name="T84" fmla="*/ 66 w 138"/>
              <a:gd name="T85" fmla="*/ 90 h 120"/>
              <a:gd name="T86" fmla="*/ 60 w 138"/>
              <a:gd name="T87" fmla="*/ 90 h 120"/>
              <a:gd name="T88" fmla="*/ 54 w 138"/>
              <a:gd name="T89" fmla="*/ 90 h 120"/>
              <a:gd name="T90" fmla="*/ 48 w 138"/>
              <a:gd name="T91" fmla="*/ 96 h 120"/>
              <a:gd name="T92" fmla="*/ 36 w 138"/>
              <a:gd name="T93" fmla="*/ 96 h 120"/>
              <a:gd name="T94" fmla="*/ 36 w 138"/>
              <a:gd name="T95" fmla="*/ 96 h 120"/>
              <a:gd name="T96" fmla="*/ 30 w 138"/>
              <a:gd name="T97" fmla="*/ 96 h 120"/>
              <a:gd name="T98" fmla="*/ 30 w 138"/>
              <a:gd name="T99" fmla="*/ 90 h 120"/>
              <a:gd name="T100" fmla="*/ 30 w 138"/>
              <a:gd name="T101" fmla="*/ 78 h 120"/>
              <a:gd name="T102" fmla="*/ 24 w 138"/>
              <a:gd name="T103" fmla="*/ 72 h 120"/>
              <a:gd name="T104" fmla="*/ 24 w 138"/>
              <a:gd name="T105" fmla="*/ 66 h 120"/>
              <a:gd name="T106" fmla="*/ 18 w 138"/>
              <a:gd name="T107" fmla="*/ 66 h 120"/>
              <a:gd name="T108" fmla="*/ 18 w 138"/>
              <a:gd name="T109" fmla="*/ 54 h 120"/>
              <a:gd name="T110" fmla="*/ 12 w 138"/>
              <a:gd name="T111" fmla="*/ 48 h 120"/>
              <a:gd name="T112" fmla="*/ 12 w 138"/>
              <a:gd name="T113" fmla="*/ 36 h 120"/>
              <a:gd name="T114" fmla="*/ 6 w 138"/>
              <a:gd name="T115" fmla="*/ 30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38" h="120">
                <a:moveTo>
                  <a:pt x="0" y="24"/>
                </a:moveTo>
                <a:lnTo>
                  <a:pt x="6" y="18"/>
                </a:lnTo>
                <a:lnTo>
                  <a:pt x="0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6"/>
                </a:lnTo>
                <a:lnTo>
                  <a:pt x="12" y="6"/>
                </a:lnTo>
                <a:lnTo>
                  <a:pt x="6" y="6"/>
                </a:lnTo>
                <a:lnTo>
                  <a:pt x="12" y="6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60" y="30"/>
                </a:lnTo>
                <a:lnTo>
                  <a:pt x="60" y="30"/>
                </a:lnTo>
                <a:lnTo>
                  <a:pt x="54" y="30"/>
                </a:lnTo>
                <a:lnTo>
                  <a:pt x="54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6"/>
                </a:lnTo>
                <a:lnTo>
                  <a:pt x="84" y="36"/>
                </a:lnTo>
                <a:lnTo>
                  <a:pt x="78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84" y="42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14" y="36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20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0" y="60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14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6" y="66"/>
                </a:lnTo>
                <a:lnTo>
                  <a:pt x="126" y="72"/>
                </a:lnTo>
                <a:lnTo>
                  <a:pt x="126" y="72"/>
                </a:lnTo>
                <a:lnTo>
                  <a:pt x="126" y="72"/>
                </a:lnTo>
                <a:lnTo>
                  <a:pt x="126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84"/>
                </a:lnTo>
                <a:lnTo>
                  <a:pt x="132" y="84"/>
                </a:lnTo>
                <a:lnTo>
                  <a:pt x="132" y="84"/>
                </a:lnTo>
                <a:lnTo>
                  <a:pt x="132" y="84"/>
                </a:lnTo>
                <a:lnTo>
                  <a:pt x="138" y="84"/>
                </a:lnTo>
                <a:lnTo>
                  <a:pt x="138" y="84"/>
                </a:lnTo>
                <a:lnTo>
                  <a:pt x="132" y="84"/>
                </a:lnTo>
                <a:lnTo>
                  <a:pt x="132" y="84"/>
                </a:lnTo>
                <a:lnTo>
                  <a:pt x="132" y="90"/>
                </a:lnTo>
                <a:lnTo>
                  <a:pt x="132" y="90"/>
                </a:lnTo>
                <a:lnTo>
                  <a:pt x="132" y="90"/>
                </a:lnTo>
                <a:lnTo>
                  <a:pt x="132" y="90"/>
                </a:lnTo>
                <a:lnTo>
                  <a:pt x="132" y="90"/>
                </a:lnTo>
                <a:lnTo>
                  <a:pt x="132" y="90"/>
                </a:lnTo>
                <a:lnTo>
                  <a:pt x="132" y="96"/>
                </a:lnTo>
                <a:lnTo>
                  <a:pt x="132" y="96"/>
                </a:lnTo>
                <a:lnTo>
                  <a:pt x="132" y="96"/>
                </a:lnTo>
                <a:lnTo>
                  <a:pt x="132" y="96"/>
                </a:lnTo>
                <a:lnTo>
                  <a:pt x="132" y="96"/>
                </a:lnTo>
                <a:lnTo>
                  <a:pt x="132" y="102"/>
                </a:lnTo>
                <a:lnTo>
                  <a:pt x="132" y="102"/>
                </a:lnTo>
                <a:lnTo>
                  <a:pt x="126" y="102"/>
                </a:lnTo>
                <a:lnTo>
                  <a:pt x="126" y="102"/>
                </a:lnTo>
                <a:lnTo>
                  <a:pt x="126" y="102"/>
                </a:lnTo>
                <a:lnTo>
                  <a:pt x="120" y="102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20" y="114"/>
                </a:lnTo>
                <a:lnTo>
                  <a:pt x="120" y="114"/>
                </a:lnTo>
                <a:lnTo>
                  <a:pt x="120" y="114"/>
                </a:lnTo>
                <a:lnTo>
                  <a:pt x="120" y="114"/>
                </a:lnTo>
                <a:lnTo>
                  <a:pt x="120" y="114"/>
                </a:lnTo>
                <a:lnTo>
                  <a:pt x="120" y="114"/>
                </a:lnTo>
                <a:lnTo>
                  <a:pt x="120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08"/>
                </a:lnTo>
                <a:lnTo>
                  <a:pt x="108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96" y="120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96"/>
                </a:lnTo>
                <a:lnTo>
                  <a:pt x="96" y="96"/>
                </a:lnTo>
                <a:lnTo>
                  <a:pt x="96" y="96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78" y="96"/>
                </a:lnTo>
                <a:lnTo>
                  <a:pt x="78" y="96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6"/>
                </a:lnTo>
                <a:lnTo>
                  <a:pt x="72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0" y="90"/>
                </a:lnTo>
                <a:lnTo>
                  <a:pt x="66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24" y="78"/>
                </a:lnTo>
                <a:lnTo>
                  <a:pt x="24" y="78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0"/>
                </a:lnTo>
                <a:lnTo>
                  <a:pt x="18" y="60"/>
                </a:lnTo>
                <a:lnTo>
                  <a:pt x="12" y="60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2" y="54"/>
                </a:lnTo>
                <a:lnTo>
                  <a:pt x="12" y="54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0" y="30"/>
                </a:lnTo>
                <a:lnTo>
                  <a:pt x="0" y="24"/>
                </a:lnTo>
                <a:lnTo>
                  <a:pt x="0" y="2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49" name="Freeform 282"/>
          <p:cNvSpPr>
            <a:spLocks/>
          </p:cNvSpPr>
          <p:nvPr/>
        </p:nvSpPr>
        <p:spPr bwMode="auto">
          <a:xfrm>
            <a:off x="7275841" y="3903737"/>
            <a:ext cx="147753" cy="89937"/>
          </a:xfrm>
          <a:custGeom>
            <a:avLst/>
            <a:gdLst>
              <a:gd name="T0" fmla="*/ 0 w 138"/>
              <a:gd name="T1" fmla="*/ 60 h 84"/>
              <a:gd name="T2" fmla="*/ 6 w 138"/>
              <a:gd name="T3" fmla="*/ 60 h 84"/>
              <a:gd name="T4" fmla="*/ 12 w 138"/>
              <a:gd name="T5" fmla="*/ 48 h 84"/>
              <a:gd name="T6" fmla="*/ 18 w 138"/>
              <a:gd name="T7" fmla="*/ 42 h 84"/>
              <a:gd name="T8" fmla="*/ 18 w 138"/>
              <a:gd name="T9" fmla="*/ 36 h 84"/>
              <a:gd name="T10" fmla="*/ 18 w 138"/>
              <a:gd name="T11" fmla="*/ 30 h 84"/>
              <a:gd name="T12" fmla="*/ 18 w 138"/>
              <a:gd name="T13" fmla="*/ 30 h 84"/>
              <a:gd name="T14" fmla="*/ 24 w 138"/>
              <a:gd name="T15" fmla="*/ 24 h 84"/>
              <a:gd name="T16" fmla="*/ 30 w 138"/>
              <a:gd name="T17" fmla="*/ 24 h 84"/>
              <a:gd name="T18" fmla="*/ 36 w 138"/>
              <a:gd name="T19" fmla="*/ 24 h 84"/>
              <a:gd name="T20" fmla="*/ 36 w 138"/>
              <a:gd name="T21" fmla="*/ 24 h 84"/>
              <a:gd name="T22" fmla="*/ 36 w 138"/>
              <a:gd name="T23" fmla="*/ 18 h 84"/>
              <a:gd name="T24" fmla="*/ 36 w 138"/>
              <a:gd name="T25" fmla="*/ 12 h 84"/>
              <a:gd name="T26" fmla="*/ 42 w 138"/>
              <a:gd name="T27" fmla="*/ 6 h 84"/>
              <a:gd name="T28" fmla="*/ 42 w 138"/>
              <a:gd name="T29" fmla="*/ 0 h 84"/>
              <a:gd name="T30" fmla="*/ 42 w 138"/>
              <a:gd name="T31" fmla="*/ 0 h 84"/>
              <a:gd name="T32" fmla="*/ 42 w 138"/>
              <a:gd name="T33" fmla="*/ 0 h 84"/>
              <a:gd name="T34" fmla="*/ 48 w 138"/>
              <a:gd name="T35" fmla="*/ 12 h 84"/>
              <a:gd name="T36" fmla="*/ 54 w 138"/>
              <a:gd name="T37" fmla="*/ 12 h 84"/>
              <a:gd name="T38" fmla="*/ 60 w 138"/>
              <a:gd name="T39" fmla="*/ 12 h 84"/>
              <a:gd name="T40" fmla="*/ 66 w 138"/>
              <a:gd name="T41" fmla="*/ 18 h 84"/>
              <a:gd name="T42" fmla="*/ 72 w 138"/>
              <a:gd name="T43" fmla="*/ 30 h 84"/>
              <a:gd name="T44" fmla="*/ 78 w 138"/>
              <a:gd name="T45" fmla="*/ 24 h 84"/>
              <a:gd name="T46" fmla="*/ 84 w 138"/>
              <a:gd name="T47" fmla="*/ 18 h 84"/>
              <a:gd name="T48" fmla="*/ 90 w 138"/>
              <a:gd name="T49" fmla="*/ 12 h 84"/>
              <a:gd name="T50" fmla="*/ 96 w 138"/>
              <a:gd name="T51" fmla="*/ 18 h 84"/>
              <a:gd name="T52" fmla="*/ 102 w 138"/>
              <a:gd name="T53" fmla="*/ 12 h 84"/>
              <a:gd name="T54" fmla="*/ 108 w 138"/>
              <a:gd name="T55" fmla="*/ 18 h 84"/>
              <a:gd name="T56" fmla="*/ 108 w 138"/>
              <a:gd name="T57" fmla="*/ 24 h 84"/>
              <a:gd name="T58" fmla="*/ 108 w 138"/>
              <a:gd name="T59" fmla="*/ 30 h 84"/>
              <a:gd name="T60" fmla="*/ 108 w 138"/>
              <a:gd name="T61" fmla="*/ 36 h 84"/>
              <a:gd name="T62" fmla="*/ 120 w 138"/>
              <a:gd name="T63" fmla="*/ 36 h 84"/>
              <a:gd name="T64" fmla="*/ 126 w 138"/>
              <a:gd name="T65" fmla="*/ 30 h 84"/>
              <a:gd name="T66" fmla="*/ 132 w 138"/>
              <a:gd name="T67" fmla="*/ 30 h 84"/>
              <a:gd name="T68" fmla="*/ 132 w 138"/>
              <a:gd name="T69" fmla="*/ 24 h 84"/>
              <a:gd name="T70" fmla="*/ 138 w 138"/>
              <a:gd name="T71" fmla="*/ 24 h 84"/>
              <a:gd name="T72" fmla="*/ 138 w 138"/>
              <a:gd name="T73" fmla="*/ 30 h 84"/>
              <a:gd name="T74" fmla="*/ 138 w 138"/>
              <a:gd name="T75" fmla="*/ 36 h 84"/>
              <a:gd name="T76" fmla="*/ 138 w 138"/>
              <a:gd name="T77" fmla="*/ 42 h 84"/>
              <a:gd name="T78" fmla="*/ 138 w 138"/>
              <a:gd name="T79" fmla="*/ 48 h 84"/>
              <a:gd name="T80" fmla="*/ 132 w 138"/>
              <a:gd name="T81" fmla="*/ 54 h 84"/>
              <a:gd name="T82" fmla="*/ 120 w 138"/>
              <a:gd name="T83" fmla="*/ 54 h 84"/>
              <a:gd name="T84" fmla="*/ 120 w 138"/>
              <a:gd name="T85" fmla="*/ 60 h 84"/>
              <a:gd name="T86" fmla="*/ 120 w 138"/>
              <a:gd name="T87" fmla="*/ 72 h 84"/>
              <a:gd name="T88" fmla="*/ 114 w 138"/>
              <a:gd name="T89" fmla="*/ 78 h 84"/>
              <a:gd name="T90" fmla="*/ 114 w 138"/>
              <a:gd name="T91" fmla="*/ 84 h 84"/>
              <a:gd name="T92" fmla="*/ 108 w 138"/>
              <a:gd name="T93" fmla="*/ 84 h 84"/>
              <a:gd name="T94" fmla="*/ 108 w 138"/>
              <a:gd name="T95" fmla="*/ 78 h 84"/>
              <a:gd name="T96" fmla="*/ 102 w 138"/>
              <a:gd name="T97" fmla="*/ 72 h 84"/>
              <a:gd name="T98" fmla="*/ 90 w 138"/>
              <a:gd name="T99" fmla="*/ 72 h 84"/>
              <a:gd name="T100" fmla="*/ 90 w 138"/>
              <a:gd name="T101" fmla="*/ 72 h 84"/>
              <a:gd name="T102" fmla="*/ 78 w 138"/>
              <a:gd name="T103" fmla="*/ 78 h 84"/>
              <a:gd name="T104" fmla="*/ 78 w 138"/>
              <a:gd name="T105" fmla="*/ 78 h 84"/>
              <a:gd name="T106" fmla="*/ 66 w 138"/>
              <a:gd name="T107" fmla="*/ 72 h 84"/>
              <a:gd name="T108" fmla="*/ 60 w 138"/>
              <a:gd name="T109" fmla="*/ 78 h 84"/>
              <a:gd name="T110" fmla="*/ 60 w 138"/>
              <a:gd name="T111" fmla="*/ 78 h 84"/>
              <a:gd name="T112" fmla="*/ 54 w 138"/>
              <a:gd name="T113" fmla="*/ 78 h 84"/>
              <a:gd name="T114" fmla="*/ 36 w 138"/>
              <a:gd name="T115" fmla="*/ 78 h 84"/>
              <a:gd name="T116" fmla="*/ 24 w 138"/>
              <a:gd name="T117" fmla="*/ 78 h 84"/>
              <a:gd name="T118" fmla="*/ 18 w 138"/>
              <a:gd name="T119" fmla="*/ 78 h 84"/>
              <a:gd name="T120" fmla="*/ 12 w 138"/>
              <a:gd name="T121" fmla="*/ 72 h 84"/>
              <a:gd name="T122" fmla="*/ 6 w 138"/>
              <a:gd name="T123" fmla="*/ 66 h 84"/>
              <a:gd name="T124" fmla="*/ 0 w 138"/>
              <a:gd name="T125" fmla="*/ 66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38" h="84">
                <a:moveTo>
                  <a:pt x="0" y="66"/>
                </a:moveTo>
                <a:lnTo>
                  <a:pt x="0" y="66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48"/>
                </a:lnTo>
                <a:lnTo>
                  <a:pt x="6" y="48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24" y="30"/>
                </a:lnTo>
                <a:lnTo>
                  <a:pt x="24" y="30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30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30"/>
                </a:lnTo>
                <a:lnTo>
                  <a:pt x="30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42" y="18"/>
                </a:lnTo>
                <a:lnTo>
                  <a:pt x="42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42" y="12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36" y="6"/>
                </a:lnTo>
                <a:lnTo>
                  <a:pt x="42" y="6"/>
                </a:lnTo>
                <a:lnTo>
                  <a:pt x="36" y="6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8" y="0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6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6" y="12"/>
                </a:lnTo>
                <a:lnTo>
                  <a:pt x="66" y="12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24"/>
                </a:lnTo>
                <a:lnTo>
                  <a:pt x="72" y="24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84" y="30"/>
                </a:lnTo>
                <a:lnTo>
                  <a:pt x="78" y="24"/>
                </a:lnTo>
                <a:lnTo>
                  <a:pt x="78" y="24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2"/>
                </a:lnTo>
                <a:lnTo>
                  <a:pt x="90" y="12"/>
                </a:lnTo>
                <a:lnTo>
                  <a:pt x="96" y="12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8" y="12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6" y="30"/>
                </a:lnTo>
                <a:lnTo>
                  <a:pt x="126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8"/>
                </a:lnTo>
                <a:lnTo>
                  <a:pt x="138" y="48"/>
                </a:lnTo>
                <a:lnTo>
                  <a:pt x="138" y="48"/>
                </a:lnTo>
                <a:lnTo>
                  <a:pt x="138" y="48"/>
                </a:lnTo>
                <a:lnTo>
                  <a:pt x="138" y="48"/>
                </a:lnTo>
                <a:lnTo>
                  <a:pt x="138" y="48"/>
                </a:lnTo>
                <a:lnTo>
                  <a:pt x="138" y="54"/>
                </a:lnTo>
                <a:lnTo>
                  <a:pt x="132" y="54"/>
                </a:lnTo>
                <a:lnTo>
                  <a:pt x="132" y="54"/>
                </a:lnTo>
                <a:lnTo>
                  <a:pt x="132" y="54"/>
                </a:lnTo>
                <a:lnTo>
                  <a:pt x="132" y="54"/>
                </a:lnTo>
                <a:lnTo>
                  <a:pt x="132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2" y="78"/>
                </a:lnTo>
                <a:lnTo>
                  <a:pt x="102" y="72"/>
                </a:lnTo>
                <a:lnTo>
                  <a:pt x="102" y="78"/>
                </a:lnTo>
                <a:lnTo>
                  <a:pt x="96" y="72"/>
                </a:lnTo>
                <a:lnTo>
                  <a:pt x="96" y="78"/>
                </a:lnTo>
                <a:lnTo>
                  <a:pt x="96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84" y="78"/>
                </a:lnTo>
                <a:lnTo>
                  <a:pt x="84" y="78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78" y="78"/>
                </a:lnTo>
                <a:lnTo>
                  <a:pt x="78" y="72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2"/>
                </a:lnTo>
                <a:lnTo>
                  <a:pt x="78" y="78"/>
                </a:lnTo>
                <a:lnTo>
                  <a:pt x="72" y="78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66" y="72"/>
                </a:lnTo>
                <a:lnTo>
                  <a:pt x="66" y="72"/>
                </a:lnTo>
                <a:lnTo>
                  <a:pt x="66" y="78"/>
                </a:lnTo>
                <a:lnTo>
                  <a:pt x="60" y="72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48" y="78"/>
                </a:lnTo>
                <a:lnTo>
                  <a:pt x="48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36" y="78"/>
                </a:lnTo>
                <a:lnTo>
                  <a:pt x="36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24" y="78"/>
                </a:lnTo>
                <a:lnTo>
                  <a:pt x="24" y="78"/>
                </a:lnTo>
                <a:lnTo>
                  <a:pt x="24" y="84"/>
                </a:lnTo>
                <a:lnTo>
                  <a:pt x="24" y="84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2" y="78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50" name="Freeform 283"/>
          <p:cNvSpPr>
            <a:spLocks/>
          </p:cNvSpPr>
          <p:nvPr/>
        </p:nvSpPr>
        <p:spPr bwMode="auto">
          <a:xfrm>
            <a:off x="7063848" y="3152117"/>
            <a:ext cx="269810" cy="321205"/>
          </a:xfrm>
          <a:custGeom>
            <a:avLst/>
            <a:gdLst>
              <a:gd name="T0" fmla="*/ 12 w 252"/>
              <a:gd name="T1" fmla="*/ 210 h 300"/>
              <a:gd name="T2" fmla="*/ 18 w 252"/>
              <a:gd name="T3" fmla="*/ 192 h 300"/>
              <a:gd name="T4" fmla="*/ 18 w 252"/>
              <a:gd name="T5" fmla="*/ 186 h 300"/>
              <a:gd name="T6" fmla="*/ 24 w 252"/>
              <a:gd name="T7" fmla="*/ 174 h 300"/>
              <a:gd name="T8" fmla="*/ 30 w 252"/>
              <a:gd name="T9" fmla="*/ 174 h 300"/>
              <a:gd name="T10" fmla="*/ 36 w 252"/>
              <a:gd name="T11" fmla="*/ 168 h 300"/>
              <a:gd name="T12" fmla="*/ 42 w 252"/>
              <a:gd name="T13" fmla="*/ 162 h 300"/>
              <a:gd name="T14" fmla="*/ 48 w 252"/>
              <a:gd name="T15" fmla="*/ 162 h 300"/>
              <a:gd name="T16" fmla="*/ 84 w 252"/>
              <a:gd name="T17" fmla="*/ 132 h 300"/>
              <a:gd name="T18" fmla="*/ 72 w 252"/>
              <a:gd name="T19" fmla="*/ 96 h 300"/>
              <a:gd name="T20" fmla="*/ 78 w 252"/>
              <a:gd name="T21" fmla="*/ 72 h 300"/>
              <a:gd name="T22" fmla="*/ 72 w 252"/>
              <a:gd name="T23" fmla="*/ 48 h 300"/>
              <a:gd name="T24" fmla="*/ 120 w 252"/>
              <a:gd name="T25" fmla="*/ 48 h 300"/>
              <a:gd name="T26" fmla="*/ 120 w 252"/>
              <a:gd name="T27" fmla="*/ 36 h 300"/>
              <a:gd name="T28" fmla="*/ 120 w 252"/>
              <a:gd name="T29" fmla="*/ 6 h 300"/>
              <a:gd name="T30" fmla="*/ 144 w 252"/>
              <a:gd name="T31" fmla="*/ 12 h 300"/>
              <a:gd name="T32" fmla="*/ 156 w 252"/>
              <a:gd name="T33" fmla="*/ 30 h 300"/>
              <a:gd name="T34" fmla="*/ 174 w 252"/>
              <a:gd name="T35" fmla="*/ 30 h 300"/>
              <a:gd name="T36" fmla="*/ 192 w 252"/>
              <a:gd name="T37" fmla="*/ 30 h 300"/>
              <a:gd name="T38" fmla="*/ 186 w 252"/>
              <a:gd name="T39" fmla="*/ 60 h 300"/>
              <a:gd name="T40" fmla="*/ 186 w 252"/>
              <a:gd name="T41" fmla="*/ 72 h 300"/>
              <a:gd name="T42" fmla="*/ 192 w 252"/>
              <a:gd name="T43" fmla="*/ 60 h 300"/>
              <a:gd name="T44" fmla="*/ 216 w 252"/>
              <a:gd name="T45" fmla="*/ 54 h 300"/>
              <a:gd name="T46" fmla="*/ 222 w 252"/>
              <a:gd name="T47" fmla="*/ 60 h 300"/>
              <a:gd name="T48" fmla="*/ 240 w 252"/>
              <a:gd name="T49" fmla="*/ 66 h 300"/>
              <a:gd name="T50" fmla="*/ 228 w 252"/>
              <a:gd name="T51" fmla="*/ 84 h 300"/>
              <a:gd name="T52" fmla="*/ 246 w 252"/>
              <a:gd name="T53" fmla="*/ 102 h 300"/>
              <a:gd name="T54" fmla="*/ 246 w 252"/>
              <a:gd name="T55" fmla="*/ 114 h 300"/>
              <a:gd name="T56" fmla="*/ 252 w 252"/>
              <a:gd name="T57" fmla="*/ 126 h 300"/>
              <a:gd name="T58" fmla="*/ 240 w 252"/>
              <a:gd name="T59" fmla="*/ 138 h 300"/>
              <a:gd name="T60" fmla="*/ 234 w 252"/>
              <a:gd name="T61" fmla="*/ 144 h 300"/>
              <a:gd name="T62" fmla="*/ 222 w 252"/>
              <a:gd name="T63" fmla="*/ 168 h 300"/>
              <a:gd name="T64" fmla="*/ 204 w 252"/>
              <a:gd name="T65" fmla="*/ 180 h 300"/>
              <a:gd name="T66" fmla="*/ 198 w 252"/>
              <a:gd name="T67" fmla="*/ 180 h 300"/>
              <a:gd name="T68" fmla="*/ 198 w 252"/>
              <a:gd name="T69" fmla="*/ 174 h 300"/>
              <a:gd name="T70" fmla="*/ 186 w 252"/>
              <a:gd name="T71" fmla="*/ 174 h 300"/>
              <a:gd name="T72" fmla="*/ 174 w 252"/>
              <a:gd name="T73" fmla="*/ 198 h 300"/>
              <a:gd name="T74" fmla="*/ 168 w 252"/>
              <a:gd name="T75" fmla="*/ 216 h 300"/>
              <a:gd name="T76" fmla="*/ 192 w 252"/>
              <a:gd name="T77" fmla="*/ 222 h 300"/>
              <a:gd name="T78" fmla="*/ 204 w 252"/>
              <a:gd name="T79" fmla="*/ 240 h 300"/>
              <a:gd name="T80" fmla="*/ 192 w 252"/>
              <a:gd name="T81" fmla="*/ 252 h 300"/>
              <a:gd name="T82" fmla="*/ 186 w 252"/>
              <a:gd name="T83" fmla="*/ 264 h 300"/>
              <a:gd name="T84" fmla="*/ 174 w 252"/>
              <a:gd name="T85" fmla="*/ 270 h 300"/>
              <a:gd name="T86" fmla="*/ 168 w 252"/>
              <a:gd name="T87" fmla="*/ 282 h 300"/>
              <a:gd name="T88" fmla="*/ 168 w 252"/>
              <a:gd name="T89" fmla="*/ 294 h 300"/>
              <a:gd name="T90" fmla="*/ 156 w 252"/>
              <a:gd name="T91" fmla="*/ 294 h 300"/>
              <a:gd name="T92" fmla="*/ 150 w 252"/>
              <a:gd name="T93" fmla="*/ 294 h 300"/>
              <a:gd name="T94" fmla="*/ 144 w 252"/>
              <a:gd name="T95" fmla="*/ 288 h 300"/>
              <a:gd name="T96" fmla="*/ 132 w 252"/>
              <a:gd name="T97" fmla="*/ 288 h 300"/>
              <a:gd name="T98" fmla="*/ 120 w 252"/>
              <a:gd name="T99" fmla="*/ 288 h 300"/>
              <a:gd name="T100" fmla="*/ 114 w 252"/>
              <a:gd name="T101" fmla="*/ 282 h 300"/>
              <a:gd name="T102" fmla="*/ 102 w 252"/>
              <a:gd name="T103" fmla="*/ 276 h 300"/>
              <a:gd name="T104" fmla="*/ 90 w 252"/>
              <a:gd name="T105" fmla="*/ 282 h 300"/>
              <a:gd name="T106" fmla="*/ 84 w 252"/>
              <a:gd name="T107" fmla="*/ 288 h 300"/>
              <a:gd name="T108" fmla="*/ 72 w 252"/>
              <a:gd name="T109" fmla="*/ 282 h 300"/>
              <a:gd name="T110" fmla="*/ 72 w 252"/>
              <a:gd name="T111" fmla="*/ 270 h 300"/>
              <a:gd name="T112" fmla="*/ 72 w 252"/>
              <a:gd name="T113" fmla="*/ 258 h 300"/>
              <a:gd name="T114" fmla="*/ 60 w 252"/>
              <a:gd name="T115" fmla="*/ 246 h 300"/>
              <a:gd name="T116" fmla="*/ 30 w 252"/>
              <a:gd name="T117" fmla="*/ 264 h 300"/>
              <a:gd name="T118" fmla="*/ 24 w 252"/>
              <a:gd name="T119" fmla="*/ 252 h 300"/>
              <a:gd name="T120" fmla="*/ 18 w 252"/>
              <a:gd name="T121" fmla="*/ 246 h 300"/>
              <a:gd name="T122" fmla="*/ 6 w 252"/>
              <a:gd name="T123" fmla="*/ 246 h 300"/>
              <a:gd name="T124" fmla="*/ 6 w 252"/>
              <a:gd name="T125" fmla="*/ 234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52" h="300">
                <a:moveTo>
                  <a:pt x="0" y="234"/>
                </a:moveTo>
                <a:lnTo>
                  <a:pt x="0" y="234"/>
                </a:lnTo>
                <a:lnTo>
                  <a:pt x="0" y="234"/>
                </a:lnTo>
                <a:lnTo>
                  <a:pt x="0" y="234"/>
                </a:lnTo>
                <a:lnTo>
                  <a:pt x="0" y="228"/>
                </a:lnTo>
                <a:lnTo>
                  <a:pt x="6" y="228"/>
                </a:lnTo>
                <a:lnTo>
                  <a:pt x="6" y="228"/>
                </a:lnTo>
                <a:lnTo>
                  <a:pt x="6" y="228"/>
                </a:lnTo>
                <a:lnTo>
                  <a:pt x="6" y="228"/>
                </a:lnTo>
                <a:lnTo>
                  <a:pt x="6" y="222"/>
                </a:lnTo>
                <a:lnTo>
                  <a:pt x="6" y="222"/>
                </a:lnTo>
                <a:lnTo>
                  <a:pt x="6" y="222"/>
                </a:lnTo>
                <a:lnTo>
                  <a:pt x="6" y="216"/>
                </a:lnTo>
                <a:lnTo>
                  <a:pt x="12" y="216"/>
                </a:lnTo>
                <a:lnTo>
                  <a:pt x="12" y="216"/>
                </a:lnTo>
                <a:lnTo>
                  <a:pt x="12" y="210"/>
                </a:lnTo>
                <a:lnTo>
                  <a:pt x="12" y="210"/>
                </a:lnTo>
                <a:lnTo>
                  <a:pt x="18" y="210"/>
                </a:lnTo>
                <a:lnTo>
                  <a:pt x="18" y="210"/>
                </a:lnTo>
                <a:lnTo>
                  <a:pt x="18" y="210"/>
                </a:lnTo>
                <a:lnTo>
                  <a:pt x="18" y="204"/>
                </a:lnTo>
                <a:lnTo>
                  <a:pt x="18" y="204"/>
                </a:lnTo>
                <a:lnTo>
                  <a:pt x="18" y="204"/>
                </a:lnTo>
                <a:lnTo>
                  <a:pt x="18" y="204"/>
                </a:lnTo>
                <a:lnTo>
                  <a:pt x="18" y="204"/>
                </a:lnTo>
                <a:lnTo>
                  <a:pt x="18" y="204"/>
                </a:lnTo>
                <a:lnTo>
                  <a:pt x="18" y="198"/>
                </a:lnTo>
                <a:lnTo>
                  <a:pt x="18" y="198"/>
                </a:lnTo>
                <a:lnTo>
                  <a:pt x="18" y="198"/>
                </a:lnTo>
                <a:lnTo>
                  <a:pt x="18" y="198"/>
                </a:lnTo>
                <a:lnTo>
                  <a:pt x="18" y="198"/>
                </a:lnTo>
                <a:lnTo>
                  <a:pt x="18" y="198"/>
                </a:lnTo>
                <a:lnTo>
                  <a:pt x="18" y="198"/>
                </a:lnTo>
                <a:lnTo>
                  <a:pt x="18" y="192"/>
                </a:lnTo>
                <a:lnTo>
                  <a:pt x="18" y="192"/>
                </a:lnTo>
                <a:lnTo>
                  <a:pt x="18" y="192"/>
                </a:lnTo>
                <a:lnTo>
                  <a:pt x="18" y="192"/>
                </a:lnTo>
                <a:lnTo>
                  <a:pt x="18" y="192"/>
                </a:lnTo>
                <a:lnTo>
                  <a:pt x="18" y="192"/>
                </a:lnTo>
                <a:lnTo>
                  <a:pt x="18" y="192"/>
                </a:lnTo>
                <a:lnTo>
                  <a:pt x="18" y="192"/>
                </a:lnTo>
                <a:lnTo>
                  <a:pt x="18" y="192"/>
                </a:lnTo>
                <a:lnTo>
                  <a:pt x="18" y="186"/>
                </a:lnTo>
                <a:lnTo>
                  <a:pt x="18" y="186"/>
                </a:lnTo>
                <a:lnTo>
                  <a:pt x="18" y="186"/>
                </a:lnTo>
                <a:lnTo>
                  <a:pt x="18" y="186"/>
                </a:lnTo>
                <a:lnTo>
                  <a:pt x="18" y="186"/>
                </a:lnTo>
                <a:lnTo>
                  <a:pt x="18" y="186"/>
                </a:lnTo>
                <a:lnTo>
                  <a:pt x="18" y="186"/>
                </a:lnTo>
                <a:lnTo>
                  <a:pt x="18" y="186"/>
                </a:lnTo>
                <a:lnTo>
                  <a:pt x="18" y="186"/>
                </a:lnTo>
                <a:lnTo>
                  <a:pt x="18" y="180"/>
                </a:lnTo>
                <a:lnTo>
                  <a:pt x="18" y="180"/>
                </a:lnTo>
                <a:lnTo>
                  <a:pt x="18" y="180"/>
                </a:lnTo>
                <a:lnTo>
                  <a:pt x="18" y="180"/>
                </a:lnTo>
                <a:lnTo>
                  <a:pt x="18" y="180"/>
                </a:lnTo>
                <a:lnTo>
                  <a:pt x="18" y="180"/>
                </a:lnTo>
                <a:lnTo>
                  <a:pt x="18" y="180"/>
                </a:lnTo>
                <a:lnTo>
                  <a:pt x="18" y="180"/>
                </a:lnTo>
                <a:lnTo>
                  <a:pt x="24" y="180"/>
                </a:lnTo>
                <a:lnTo>
                  <a:pt x="24" y="180"/>
                </a:lnTo>
                <a:lnTo>
                  <a:pt x="18" y="180"/>
                </a:lnTo>
                <a:lnTo>
                  <a:pt x="24" y="180"/>
                </a:lnTo>
                <a:lnTo>
                  <a:pt x="24" y="180"/>
                </a:lnTo>
                <a:lnTo>
                  <a:pt x="24" y="180"/>
                </a:lnTo>
                <a:lnTo>
                  <a:pt x="18" y="180"/>
                </a:lnTo>
                <a:lnTo>
                  <a:pt x="24" y="180"/>
                </a:lnTo>
                <a:lnTo>
                  <a:pt x="24" y="174"/>
                </a:lnTo>
                <a:lnTo>
                  <a:pt x="24" y="174"/>
                </a:lnTo>
                <a:lnTo>
                  <a:pt x="24" y="174"/>
                </a:lnTo>
                <a:lnTo>
                  <a:pt x="24" y="174"/>
                </a:lnTo>
                <a:lnTo>
                  <a:pt x="24" y="174"/>
                </a:lnTo>
                <a:lnTo>
                  <a:pt x="24" y="174"/>
                </a:lnTo>
                <a:lnTo>
                  <a:pt x="24" y="174"/>
                </a:lnTo>
                <a:lnTo>
                  <a:pt x="24" y="174"/>
                </a:lnTo>
                <a:lnTo>
                  <a:pt x="24" y="174"/>
                </a:lnTo>
                <a:lnTo>
                  <a:pt x="24" y="174"/>
                </a:lnTo>
                <a:lnTo>
                  <a:pt x="24" y="168"/>
                </a:lnTo>
                <a:lnTo>
                  <a:pt x="24" y="174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30" y="174"/>
                </a:lnTo>
                <a:lnTo>
                  <a:pt x="30" y="174"/>
                </a:lnTo>
                <a:lnTo>
                  <a:pt x="30" y="168"/>
                </a:lnTo>
                <a:lnTo>
                  <a:pt x="30" y="174"/>
                </a:lnTo>
                <a:lnTo>
                  <a:pt x="30" y="168"/>
                </a:lnTo>
                <a:lnTo>
                  <a:pt x="30" y="174"/>
                </a:lnTo>
                <a:lnTo>
                  <a:pt x="36" y="168"/>
                </a:lnTo>
                <a:lnTo>
                  <a:pt x="36" y="174"/>
                </a:lnTo>
                <a:lnTo>
                  <a:pt x="36" y="168"/>
                </a:lnTo>
                <a:lnTo>
                  <a:pt x="36" y="168"/>
                </a:lnTo>
                <a:lnTo>
                  <a:pt x="36" y="168"/>
                </a:lnTo>
                <a:lnTo>
                  <a:pt x="36" y="168"/>
                </a:lnTo>
                <a:lnTo>
                  <a:pt x="36" y="168"/>
                </a:lnTo>
                <a:lnTo>
                  <a:pt x="36" y="168"/>
                </a:lnTo>
                <a:lnTo>
                  <a:pt x="36" y="168"/>
                </a:lnTo>
                <a:lnTo>
                  <a:pt x="36" y="168"/>
                </a:lnTo>
                <a:lnTo>
                  <a:pt x="36" y="168"/>
                </a:lnTo>
                <a:lnTo>
                  <a:pt x="36" y="168"/>
                </a:lnTo>
                <a:lnTo>
                  <a:pt x="36" y="168"/>
                </a:lnTo>
                <a:lnTo>
                  <a:pt x="36" y="168"/>
                </a:lnTo>
                <a:lnTo>
                  <a:pt x="36" y="168"/>
                </a:lnTo>
                <a:lnTo>
                  <a:pt x="36" y="168"/>
                </a:lnTo>
                <a:lnTo>
                  <a:pt x="42" y="168"/>
                </a:lnTo>
                <a:lnTo>
                  <a:pt x="42" y="168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8" y="162"/>
                </a:lnTo>
                <a:lnTo>
                  <a:pt x="48" y="162"/>
                </a:lnTo>
                <a:lnTo>
                  <a:pt x="48" y="162"/>
                </a:lnTo>
                <a:lnTo>
                  <a:pt x="48" y="162"/>
                </a:lnTo>
                <a:lnTo>
                  <a:pt x="48" y="162"/>
                </a:lnTo>
                <a:lnTo>
                  <a:pt x="54" y="162"/>
                </a:lnTo>
                <a:lnTo>
                  <a:pt x="54" y="162"/>
                </a:lnTo>
                <a:lnTo>
                  <a:pt x="66" y="156"/>
                </a:lnTo>
                <a:lnTo>
                  <a:pt x="84" y="156"/>
                </a:lnTo>
                <a:lnTo>
                  <a:pt x="84" y="156"/>
                </a:lnTo>
                <a:lnTo>
                  <a:pt x="84" y="156"/>
                </a:lnTo>
                <a:lnTo>
                  <a:pt x="84" y="156"/>
                </a:lnTo>
                <a:lnTo>
                  <a:pt x="84" y="156"/>
                </a:lnTo>
                <a:lnTo>
                  <a:pt x="84" y="150"/>
                </a:lnTo>
                <a:lnTo>
                  <a:pt x="90" y="150"/>
                </a:lnTo>
                <a:lnTo>
                  <a:pt x="84" y="144"/>
                </a:lnTo>
                <a:lnTo>
                  <a:pt x="84" y="144"/>
                </a:lnTo>
                <a:lnTo>
                  <a:pt x="84" y="144"/>
                </a:lnTo>
                <a:lnTo>
                  <a:pt x="84" y="144"/>
                </a:lnTo>
                <a:lnTo>
                  <a:pt x="84" y="138"/>
                </a:lnTo>
                <a:lnTo>
                  <a:pt x="84" y="132"/>
                </a:lnTo>
                <a:lnTo>
                  <a:pt x="84" y="132"/>
                </a:lnTo>
                <a:lnTo>
                  <a:pt x="78" y="126"/>
                </a:lnTo>
                <a:lnTo>
                  <a:pt x="84" y="126"/>
                </a:lnTo>
                <a:lnTo>
                  <a:pt x="84" y="126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14"/>
                </a:lnTo>
                <a:lnTo>
                  <a:pt x="72" y="114"/>
                </a:lnTo>
                <a:lnTo>
                  <a:pt x="72" y="114"/>
                </a:lnTo>
                <a:lnTo>
                  <a:pt x="66" y="114"/>
                </a:lnTo>
                <a:lnTo>
                  <a:pt x="72" y="108"/>
                </a:lnTo>
                <a:lnTo>
                  <a:pt x="72" y="102"/>
                </a:lnTo>
                <a:lnTo>
                  <a:pt x="72" y="96"/>
                </a:lnTo>
                <a:lnTo>
                  <a:pt x="72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84" y="90"/>
                </a:lnTo>
                <a:lnTo>
                  <a:pt x="84" y="84"/>
                </a:lnTo>
                <a:lnTo>
                  <a:pt x="78" y="84"/>
                </a:lnTo>
                <a:lnTo>
                  <a:pt x="78" y="84"/>
                </a:lnTo>
                <a:lnTo>
                  <a:pt x="84" y="84"/>
                </a:lnTo>
                <a:lnTo>
                  <a:pt x="84" y="84"/>
                </a:lnTo>
                <a:lnTo>
                  <a:pt x="84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0"/>
                </a:lnTo>
                <a:lnTo>
                  <a:pt x="72" y="60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8" y="42"/>
                </a:lnTo>
                <a:lnTo>
                  <a:pt x="78" y="42"/>
                </a:lnTo>
                <a:lnTo>
                  <a:pt x="84" y="42"/>
                </a:lnTo>
                <a:lnTo>
                  <a:pt x="90" y="42"/>
                </a:lnTo>
                <a:lnTo>
                  <a:pt x="96" y="42"/>
                </a:lnTo>
                <a:lnTo>
                  <a:pt x="96" y="42"/>
                </a:lnTo>
                <a:lnTo>
                  <a:pt x="102" y="48"/>
                </a:lnTo>
                <a:lnTo>
                  <a:pt x="102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0" y="42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24"/>
                </a:lnTo>
                <a:lnTo>
                  <a:pt x="126" y="24"/>
                </a:lnTo>
                <a:lnTo>
                  <a:pt x="126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0"/>
                </a:lnTo>
                <a:lnTo>
                  <a:pt x="126" y="0"/>
                </a:lnTo>
                <a:lnTo>
                  <a:pt x="126" y="0"/>
                </a:lnTo>
                <a:lnTo>
                  <a:pt x="126" y="0"/>
                </a:lnTo>
                <a:lnTo>
                  <a:pt x="132" y="0"/>
                </a:lnTo>
                <a:lnTo>
                  <a:pt x="132" y="0"/>
                </a:lnTo>
                <a:lnTo>
                  <a:pt x="132" y="6"/>
                </a:lnTo>
                <a:lnTo>
                  <a:pt x="132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30"/>
                </a:lnTo>
                <a:lnTo>
                  <a:pt x="162" y="30"/>
                </a:lnTo>
                <a:lnTo>
                  <a:pt x="162" y="30"/>
                </a:lnTo>
                <a:lnTo>
                  <a:pt x="162" y="30"/>
                </a:lnTo>
                <a:lnTo>
                  <a:pt x="162" y="30"/>
                </a:lnTo>
                <a:lnTo>
                  <a:pt x="162" y="30"/>
                </a:lnTo>
                <a:lnTo>
                  <a:pt x="168" y="30"/>
                </a:lnTo>
                <a:lnTo>
                  <a:pt x="168" y="30"/>
                </a:lnTo>
                <a:lnTo>
                  <a:pt x="174" y="30"/>
                </a:lnTo>
                <a:lnTo>
                  <a:pt x="168" y="30"/>
                </a:lnTo>
                <a:lnTo>
                  <a:pt x="174" y="24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24"/>
                </a:lnTo>
                <a:lnTo>
                  <a:pt x="186" y="30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92" y="24"/>
                </a:lnTo>
                <a:lnTo>
                  <a:pt x="192" y="24"/>
                </a:lnTo>
                <a:lnTo>
                  <a:pt x="192" y="30"/>
                </a:lnTo>
                <a:lnTo>
                  <a:pt x="192" y="30"/>
                </a:lnTo>
                <a:lnTo>
                  <a:pt x="192" y="30"/>
                </a:lnTo>
                <a:lnTo>
                  <a:pt x="192" y="30"/>
                </a:lnTo>
                <a:lnTo>
                  <a:pt x="198" y="30"/>
                </a:lnTo>
                <a:lnTo>
                  <a:pt x="198" y="36"/>
                </a:lnTo>
                <a:lnTo>
                  <a:pt x="198" y="36"/>
                </a:lnTo>
                <a:lnTo>
                  <a:pt x="192" y="36"/>
                </a:lnTo>
                <a:lnTo>
                  <a:pt x="198" y="42"/>
                </a:lnTo>
                <a:lnTo>
                  <a:pt x="198" y="42"/>
                </a:lnTo>
                <a:lnTo>
                  <a:pt x="192" y="48"/>
                </a:lnTo>
                <a:lnTo>
                  <a:pt x="192" y="48"/>
                </a:lnTo>
                <a:lnTo>
                  <a:pt x="192" y="54"/>
                </a:lnTo>
                <a:lnTo>
                  <a:pt x="186" y="54"/>
                </a:lnTo>
                <a:lnTo>
                  <a:pt x="186" y="54"/>
                </a:lnTo>
                <a:lnTo>
                  <a:pt x="186" y="54"/>
                </a:lnTo>
                <a:lnTo>
                  <a:pt x="186" y="54"/>
                </a:lnTo>
                <a:lnTo>
                  <a:pt x="186" y="54"/>
                </a:lnTo>
                <a:lnTo>
                  <a:pt x="186" y="60"/>
                </a:lnTo>
                <a:lnTo>
                  <a:pt x="186" y="60"/>
                </a:lnTo>
                <a:lnTo>
                  <a:pt x="186" y="60"/>
                </a:lnTo>
                <a:lnTo>
                  <a:pt x="186" y="60"/>
                </a:lnTo>
                <a:lnTo>
                  <a:pt x="186" y="60"/>
                </a:lnTo>
                <a:lnTo>
                  <a:pt x="180" y="60"/>
                </a:lnTo>
                <a:lnTo>
                  <a:pt x="180" y="60"/>
                </a:lnTo>
                <a:lnTo>
                  <a:pt x="180" y="66"/>
                </a:lnTo>
                <a:lnTo>
                  <a:pt x="180" y="66"/>
                </a:lnTo>
                <a:lnTo>
                  <a:pt x="174" y="66"/>
                </a:lnTo>
                <a:lnTo>
                  <a:pt x="174" y="66"/>
                </a:lnTo>
                <a:lnTo>
                  <a:pt x="180" y="66"/>
                </a:lnTo>
                <a:lnTo>
                  <a:pt x="180" y="72"/>
                </a:lnTo>
                <a:lnTo>
                  <a:pt x="180" y="72"/>
                </a:lnTo>
                <a:lnTo>
                  <a:pt x="180" y="72"/>
                </a:lnTo>
                <a:lnTo>
                  <a:pt x="180" y="72"/>
                </a:lnTo>
                <a:lnTo>
                  <a:pt x="180" y="72"/>
                </a:lnTo>
                <a:lnTo>
                  <a:pt x="180" y="72"/>
                </a:lnTo>
                <a:lnTo>
                  <a:pt x="186" y="72"/>
                </a:lnTo>
                <a:lnTo>
                  <a:pt x="186" y="72"/>
                </a:lnTo>
                <a:lnTo>
                  <a:pt x="186" y="72"/>
                </a:lnTo>
                <a:lnTo>
                  <a:pt x="186" y="72"/>
                </a:lnTo>
                <a:lnTo>
                  <a:pt x="186" y="72"/>
                </a:lnTo>
                <a:lnTo>
                  <a:pt x="186" y="72"/>
                </a:lnTo>
                <a:lnTo>
                  <a:pt x="186" y="72"/>
                </a:lnTo>
                <a:lnTo>
                  <a:pt x="186" y="66"/>
                </a:lnTo>
                <a:lnTo>
                  <a:pt x="186" y="66"/>
                </a:lnTo>
                <a:lnTo>
                  <a:pt x="186" y="66"/>
                </a:lnTo>
                <a:lnTo>
                  <a:pt x="186" y="66"/>
                </a:lnTo>
                <a:lnTo>
                  <a:pt x="192" y="66"/>
                </a:lnTo>
                <a:lnTo>
                  <a:pt x="192" y="66"/>
                </a:lnTo>
                <a:lnTo>
                  <a:pt x="192" y="66"/>
                </a:lnTo>
                <a:lnTo>
                  <a:pt x="192" y="66"/>
                </a:lnTo>
                <a:lnTo>
                  <a:pt x="192" y="66"/>
                </a:lnTo>
                <a:lnTo>
                  <a:pt x="198" y="60"/>
                </a:lnTo>
                <a:lnTo>
                  <a:pt x="192" y="60"/>
                </a:lnTo>
                <a:lnTo>
                  <a:pt x="198" y="60"/>
                </a:lnTo>
                <a:lnTo>
                  <a:pt x="198" y="60"/>
                </a:lnTo>
                <a:lnTo>
                  <a:pt x="198" y="60"/>
                </a:lnTo>
                <a:lnTo>
                  <a:pt x="204" y="54"/>
                </a:lnTo>
                <a:lnTo>
                  <a:pt x="210" y="60"/>
                </a:lnTo>
                <a:lnTo>
                  <a:pt x="210" y="60"/>
                </a:lnTo>
                <a:lnTo>
                  <a:pt x="210" y="60"/>
                </a:lnTo>
                <a:lnTo>
                  <a:pt x="210" y="60"/>
                </a:lnTo>
                <a:lnTo>
                  <a:pt x="210" y="60"/>
                </a:lnTo>
                <a:lnTo>
                  <a:pt x="210" y="60"/>
                </a:lnTo>
                <a:lnTo>
                  <a:pt x="216" y="54"/>
                </a:lnTo>
                <a:lnTo>
                  <a:pt x="216" y="54"/>
                </a:lnTo>
                <a:lnTo>
                  <a:pt x="216" y="54"/>
                </a:lnTo>
                <a:lnTo>
                  <a:pt x="216" y="54"/>
                </a:lnTo>
                <a:lnTo>
                  <a:pt x="216" y="54"/>
                </a:lnTo>
                <a:lnTo>
                  <a:pt x="216" y="54"/>
                </a:lnTo>
                <a:lnTo>
                  <a:pt x="216" y="54"/>
                </a:lnTo>
                <a:lnTo>
                  <a:pt x="216" y="54"/>
                </a:lnTo>
                <a:lnTo>
                  <a:pt x="222" y="54"/>
                </a:lnTo>
                <a:lnTo>
                  <a:pt x="222" y="54"/>
                </a:lnTo>
                <a:lnTo>
                  <a:pt x="222" y="54"/>
                </a:lnTo>
                <a:lnTo>
                  <a:pt x="222" y="54"/>
                </a:lnTo>
                <a:lnTo>
                  <a:pt x="222" y="54"/>
                </a:lnTo>
                <a:lnTo>
                  <a:pt x="222" y="54"/>
                </a:lnTo>
                <a:lnTo>
                  <a:pt x="222" y="54"/>
                </a:lnTo>
                <a:lnTo>
                  <a:pt x="228" y="54"/>
                </a:lnTo>
                <a:lnTo>
                  <a:pt x="228" y="54"/>
                </a:lnTo>
                <a:lnTo>
                  <a:pt x="222" y="60"/>
                </a:lnTo>
                <a:lnTo>
                  <a:pt x="222" y="60"/>
                </a:lnTo>
                <a:lnTo>
                  <a:pt x="222" y="60"/>
                </a:lnTo>
                <a:lnTo>
                  <a:pt x="222" y="60"/>
                </a:lnTo>
                <a:lnTo>
                  <a:pt x="222" y="60"/>
                </a:lnTo>
                <a:lnTo>
                  <a:pt x="222" y="60"/>
                </a:lnTo>
                <a:lnTo>
                  <a:pt x="222" y="60"/>
                </a:lnTo>
                <a:lnTo>
                  <a:pt x="222" y="66"/>
                </a:lnTo>
                <a:lnTo>
                  <a:pt x="222" y="66"/>
                </a:lnTo>
                <a:lnTo>
                  <a:pt x="222" y="66"/>
                </a:lnTo>
                <a:lnTo>
                  <a:pt x="222" y="66"/>
                </a:lnTo>
                <a:lnTo>
                  <a:pt x="228" y="66"/>
                </a:lnTo>
                <a:lnTo>
                  <a:pt x="228" y="72"/>
                </a:lnTo>
                <a:lnTo>
                  <a:pt x="228" y="72"/>
                </a:lnTo>
                <a:lnTo>
                  <a:pt x="234" y="72"/>
                </a:lnTo>
                <a:lnTo>
                  <a:pt x="234" y="72"/>
                </a:lnTo>
                <a:lnTo>
                  <a:pt x="234" y="66"/>
                </a:lnTo>
                <a:lnTo>
                  <a:pt x="234" y="66"/>
                </a:lnTo>
                <a:lnTo>
                  <a:pt x="234" y="72"/>
                </a:lnTo>
                <a:lnTo>
                  <a:pt x="240" y="72"/>
                </a:lnTo>
                <a:lnTo>
                  <a:pt x="240" y="72"/>
                </a:lnTo>
                <a:lnTo>
                  <a:pt x="240" y="66"/>
                </a:lnTo>
                <a:lnTo>
                  <a:pt x="240" y="66"/>
                </a:lnTo>
                <a:lnTo>
                  <a:pt x="240" y="66"/>
                </a:lnTo>
                <a:lnTo>
                  <a:pt x="246" y="66"/>
                </a:lnTo>
                <a:lnTo>
                  <a:pt x="246" y="66"/>
                </a:lnTo>
                <a:lnTo>
                  <a:pt x="246" y="66"/>
                </a:lnTo>
                <a:lnTo>
                  <a:pt x="246" y="66"/>
                </a:lnTo>
                <a:lnTo>
                  <a:pt x="246" y="72"/>
                </a:lnTo>
                <a:lnTo>
                  <a:pt x="240" y="72"/>
                </a:lnTo>
                <a:lnTo>
                  <a:pt x="240" y="72"/>
                </a:lnTo>
                <a:lnTo>
                  <a:pt x="240" y="72"/>
                </a:lnTo>
                <a:lnTo>
                  <a:pt x="240" y="78"/>
                </a:lnTo>
                <a:lnTo>
                  <a:pt x="234" y="78"/>
                </a:lnTo>
                <a:lnTo>
                  <a:pt x="234" y="78"/>
                </a:lnTo>
                <a:lnTo>
                  <a:pt x="234" y="78"/>
                </a:lnTo>
                <a:lnTo>
                  <a:pt x="228" y="84"/>
                </a:lnTo>
                <a:lnTo>
                  <a:pt x="228" y="84"/>
                </a:lnTo>
                <a:lnTo>
                  <a:pt x="228" y="84"/>
                </a:lnTo>
                <a:lnTo>
                  <a:pt x="228" y="84"/>
                </a:lnTo>
                <a:lnTo>
                  <a:pt x="228" y="84"/>
                </a:lnTo>
                <a:lnTo>
                  <a:pt x="228" y="84"/>
                </a:lnTo>
                <a:lnTo>
                  <a:pt x="222" y="84"/>
                </a:lnTo>
                <a:lnTo>
                  <a:pt x="222" y="90"/>
                </a:lnTo>
                <a:lnTo>
                  <a:pt x="222" y="90"/>
                </a:lnTo>
                <a:lnTo>
                  <a:pt x="222" y="90"/>
                </a:lnTo>
                <a:lnTo>
                  <a:pt x="228" y="96"/>
                </a:lnTo>
                <a:lnTo>
                  <a:pt x="228" y="96"/>
                </a:lnTo>
                <a:lnTo>
                  <a:pt x="228" y="96"/>
                </a:lnTo>
                <a:lnTo>
                  <a:pt x="228" y="96"/>
                </a:lnTo>
                <a:lnTo>
                  <a:pt x="234" y="96"/>
                </a:lnTo>
                <a:lnTo>
                  <a:pt x="234" y="96"/>
                </a:lnTo>
                <a:lnTo>
                  <a:pt x="240" y="96"/>
                </a:lnTo>
                <a:lnTo>
                  <a:pt x="246" y="96"/>
                </a:lnTo>
                <a:lnTo>
                  <a:pt x="246" y="96"/>
                </a:lnTo>
                <a:lnTo>
                  <a:pt x="246" y="96"/>
                </a:lnTo>
                <a:lnTo>
                  <a:pt x="246" y="102"/>
                </a:lnTo>
                <a:lnTo>
                  <a:pt x="246" y="102"/>
                </a:lnTo>
                <a:lnTo>
                  <a:pt x="246" y="102"/>
                </a:lnTo>
                <a:lnTo>
                  <a:pt x="246" y="102"/>
                </a:lnTo>
                <a:lnTo>
                  <a:pt x="246" y="102"/>
                </a:lnTo>
                <a:lnTo>
                  <a:pt x="246" y="102"/>
                </a:lnTo>
                <a:lnTo>
                  <a:pt x="246" y="102"/>
                </a:lnTo>
                <a:lnTo>
                  <a:pt x="246" y="102"/>
                </a:lnTo>
                <a:lnTo>
                  <a:pt x="246" y="108"/>
                </a:lnTo>
                <a:lnTo>
                  <a:pt x="246" y="108"/>
                </a:lnTo>
                <a:lnTo>
                  <a:pt x="246" y="108"/>
                </a:lnTo>
                <a:lnTo>
                  <a:pt x="246" y="108"/>
                </a:lnTo>
                <a:lnTo>
                  <a:pt x="246" y="108"/>
                </a:lnTo>
                <a:lnTo>
                  <a:pt x="246" y="108"/>
                </a:lnTo>
                <a:lnTo>
                  <a:pt x="246" y="108"/>
                </a:lnTo>
                <a:lnTo>
                  <a:pt x="246" y="108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6"/>
                </a:lnTo>
                <a:lnTo>
                  <a:pt x="246" y="126"/>
                </a:lnTo>
                <a:lnTo>
                  <a:pt x="246" y="126"/>
                </a:lnTo>
                <a:lnTo>
                  <a:pt x="246" y="126"/>
                </a:lnTo>
                <a:lnTo>
                  <a:pt x="246" y="126"/>
                </a:lnTo>
                <a:lnTo>
                  <a:pt x="246" y="126"/>
                </a:lnTo>
                <a:lnTo>
                  <a:pt x="246" y="126"/>
                </a:lnTo>
                <a:lnTo>
                  <a:pt x="252" y="126"/>
                </a:lnTo>
                <a:lnTo>
                  <a:pt x="246" y="126"/>
                </a:lnTo>
                <a:lnTo>
                  <a:pt x="252" y="126"/>
                </a:lnTo>
                <a:lnTo>
                  <a:pt x="252" y="126"/>
                </a:lnTo>
                <a:lnTo>
                  <a:pt x="252" y="126"/>
                </a:lnTo>
                <a:lnTo>
                  <a:pt x="246" y="126"/>
                </a:lnTo>
                <a:lnTo>
                  <a:pt x="252" y="126"/>
                </a:lnTo>
                <a:lnTo>
                  <a:pt x="246" y="132"/>
                </a:lnTo>
                <a:lnTo>
                  <a:pt x="246" y="132"/>
                </a:lnTo>
                <a:lnTo>
                  <a:pt x="246" y="132"/>
                </a:lnTo>
                <a:lnTo>
                  <a:pt x="246" y="132"/>
                </a:lnTo>
                <a:lnTo>
                  <a:pt x="246" y="132"/>
                </a:lnTo>
                <a:lnTo>
                  <a:pt x="246" y="132"/>
                </a:lnTo>
                <a:lnTo>
                  <a:pt x="246" y="132"/>
                </a:lnTo>
                <a:lnTo>
                  <a:pt x="246" y="132"/>
                </a:lnTo>
                <a:lnTo>
                  <a:pt x="246" y="132"/>
                </a:lnTo>
                <a:lnTo>
                  <a:pt x="246" y="138"/>
                </a:lnTo>
                <a:lnTo>
                  <a:pt x="240" y="132"/>
                </a:lnTo>
                <a:lnTo>
                  <a:pt x="240" y="138"/>
                </a:lnTo>
                <a:lnTo>
                  <a:pt x="240" y="138"/>
                </a:lnTo>
                <a:lnTo>
                  <a:pt x="240" y="138"/>
                </a:lnTo>
                <a:lnTo>
                  <a:pt x="240" y="138"/>
                </a:lnTo>
                <a:lnTo>
                  <a:pt x="240" y="138"/>
                </a:lnTo>
                <a:lnTo>
                  <a:pt x="240" y="138"/>
                </a:lnTo>
                <a:lnTo>
                  <a:pt x="240" y="138"/>
                </a:lnTo>
                <a:lnTo>
                  <a:pt x="240" y="138"/>
                </a:lnTo>
                <a:lnTo>
                  <a:pt x="240" y="138"/>
                </a:lnTo>
                <a:lnTo>
                  <a:pt x="240" y="138"/>
                </a:lnTo>
                <a:lnTo>
                  <a:pt x="240" y="138"/>
                </a:lnTo>
                <a:lnTo>
                  <a:pt x="240" y="138"/>
                </a:lnTo>
                <a:lnTo>
                  <a:pt x="240" y="144"/>
                </a:lnTo>
                <a:lnTo>
                  <a:pt x="240" y="144"/>
                </a:lnTo>
                <a:lnTo>
                  <a:pt x="234" y="144"/>
                </a:lnTo>
                <a:lnTo>
                  <a:pt x="234" y="144"/>
                </a:lnTo>
                <a:lnTo>
                  <a:pt x="234" y="144"/>
                </a:lnTo>
                <a:lnTo>
                  <a:pt x="234" y="144"/>
                </a:lnTo>
                <a:lnTo>
                  <a:pt x="234" y="144"/>
                </a:lnTo>
                <a:lnTo>
                  <a:pt x="234" y="144"/>
                </a:lnTo>
                <a:lnTo>
                  <a:pt x="234" y="144"/>
                </a:lnTo>
                <a:lnTo>
                  <a:pt x="234" y="150"/>
                </a:lnTo>
                <a:lnTo>
                  <a:pt x="228" y="150"/>
                </a:lnTo>
                <a:lnTo>
                  <a:pt x="228" y="150"/>
                </a:lnTo>
                <a:lnTo>
                  <a:pt x="228" y="150"/>
                </a:lnTo>
                <a:lnTo>
                  <a:pt x="228" y="156"/>
                </a:lnTo>
                <a:lnTo>
                  <a:pt x="228" y="156"/>
                </a:lnTo>
                <a:lnTo>
                  <a:pt x="228" y="156"/>
                </a:lnTo>
                <a:lnTo>
                  <a:pt x="228" y="156"/>
                </a:lnTo>
                <a:lnTo>
                  <a:pt x="228" y="156"/>
                </a:lnTo>
                <a:lnTo>
                  <a:pt x="222" y="156"/>
                </a:lnTo>
                <a:lnTo>
                  <a:pt x="222" y="162"/>
                </a:lnTo>
                <a:lnTo>
                  <a:pt x="222" y="162"/>
                </a:lnTo>
                <a:lnTo>
                  <a:pt x="222" y="168"/>
                </a:lnTo>
                <a:lnTo>
                  <a:pt x="222" y="168"/>
                </a:lnTo>
                <a:lnTo>
                  <a:pt x="222" y="168"/>
                </a:lnTo>
                <a:lnTo>
                  <a:pt x="222" y="168"/>
                </a:lnTo>
                <a:lnTo>
                  <a:pt x="222" y="168"/>
                </a:lnTo>
                <a:lnTo>
                  <a:pt x="222" y="168"/>
                </a:lnTo>
                <a:lnTo>
                  <a:pt x="216" y="174"/>
                </a:lnTo>
                <a:lnTo>
                  <a:pt x="216" y="174"/>
                </a:lnTo>
                <a:lnTo>
                  <a:pt x="216" y="174"/>
                </a:lnTo>
                <a:lnTo>
                  <a:pt x="216" y="174"/>
                </a:lnTo>
                <a:lnTo>
                  <a:pt x="216" y="180"/>
                </a:lnTo>
                <a:lnTo>
                  <a:pt x="216" y="180"/>
                </a:lnTo>
                <a:lnTo>
                  <a:pt x="216" y="180"/>
                </a:lnTo>
                <a:lnTo>
                  <a:pt x="216" y="180"/>
                </a:lnTo>
                <a:lnTo>
                  <a:pt x="216" y="180"/>
                </a:lnTo>
                <a:lnTo>
                  <a:pt x="216" y="180"/>
                </a:lnTo>
                <a:lnTo>
                  <a:pt x="210" y="180"/>
                </a:lnTo>
                <a:lnTo>
                  <a:pt x="210" y="180"/>
                </a:lnTo>
                <a:lnTo>
                  <a:pt x="210" y="180"/>
                </a:lnTo>
                <a:lnTo>
                  <a:pt x="210" y="180"/>
                </a:lnTo>
                <a:lnTo>
                  <a:pt x="210" y="180"/>
                </a:lnTo>
                <a:lnTo>
                  <a:pt x="204" y="180"/>
                </a:lnTo>
                <a:lnTo>
                  <a:pt x="204" y="186"/>
                </a:lnTo>
                <a:lnTo>
                  <a:pt x="204" y="180"/>
                </a:lnTo>
                <a:lnTo>
                  <a:pt x="204" y="186"/>
                </a:lnTo>
                <a:lnTo>
                  <a:pt x="204" y="180"/>
                </a:lnTo>
                <a:lnTo>
                  <a:pt x="204" y="180"/>
                </a:lnTo>
                <a:lnTo>
                  <a:pt x="204" y="180"/>
                </a:lnTo>
                <a:lnTo>
                  <a:pt x="204" y="180"/>
                </a:lnTo>
                <a:lnTo>
                  <a:pt x="204" y="180"/>
                </a:lnTo>
                <a:lnTo>
                  <a:pt x="204" y="180"/>
                </a:lnTo>
                <a:lnTo>
                  <a:pt x="204" y="180"/>
                </a:lnTo>
                <a:lnTo>
                  <a:pt x="204" y="180"/>
                </a:lnTo>
                <a:lnTo>
                  <a:pt x="204" y="180"/>
                </a:lnTo>
                <a:lnTo>
                  <a:pt x="204" y="180"/>
                </a:lnTo>
                <a:lnTo>
                  <a:pt x="204" y="180"/>
                </a:lnTo>
                <a:lnTo>
                  <a:pt x="204" y="180"/>
                </a:lnTo>
                <a:lnTo>
                  <a:pt x="204" y="180"/>
                </a:lnTo>
                <a:lnTo>
                  <a:pt x="198" y="180"/>
                </a:lnTo>
                <a:lnTo>
                  <a:pt x="198" y="180"/>
                </a:lnTo>
                <a:lnTo>
                  <a:pt x="198" y="180"/>
                </a:lnTo>
                <a:lnTo>
                  <a:pt x="198" y="180"/>
                </a:lnTo>
                <a:lnTo>
                  <a:pt x="198" y="180"/>
                </a:lnTo>
                <a:lnTo>
                  <a:pt x="198" y="180"/>
                </a:lnTo>
                <a:lnTo>
                  <a:pt x="198" y="180"/>
                </a:lnTo>
                <a:lnTo>
                  <a:pt x="198" y="180"/>
                </a:lnTo>
                <a:lnTo>
                  <a:pt x="198" y="180"/>
                </a:lnTo>
                <a:lnTo>
                  <a:pt x="198" y="180"/>
                </a:lnTo>
                <a:lnTo>
                  <a:pt x="204" y="180"/>
                </a:lnTo>
                <a:lnTo>
                  <a:pt x="198" y="180"/>
                </a:lnTo>
                <a:lnTo>
                  <a:pt x="198" y="174"/>
                </a:lnTo>
                <a:lnTo>
                  <a:pt x="198" y="174"/>
                </a:lnTo>
                <a:lnTo>
                  <a:pt x="198" y="174"/>
                </a:lnTo>
                <a:lnTo>
                  <a:pt x="198" y="174"/>
                </a:lnTo>
                <a:lnTo>
                  <a:pt x="198" y="174"/>
                </a:lnTo>
                <a:lnTo>
                  <a:pt x="198" y="174"/>
                </a:lnTo>
                <a:lnTo>
                  <a:pt x="192" y="174"/>
                </a:lnTo>
                <a:lnTo>
                  <a:pt x="192" y="174"/>
                </a:lnTo>
                <a:lnTo>
                  <a:pt x="192" y="174"/>
                </a:lnTo>
                <a:lnTo>
                  <a:pt x="192" y="174"/>
                </a:lnTo>
                <a:lnTo>
                  <a:pt x="192" y="174"/>
                </a:lnTo>
                <a:lnTo>
                  <a:pt x="192" y="174"/>
                </a:lnTo>
                <a:lnTo>
                  <a:pt x="192" y="174"/>
                </a:lnTo>
                <a:lnTo>
                  <a:pt x="192" y="174"/>
                </a:lnTo>
                <a:lnTo>
                  <a:pt x="192" y="174"/>
                </a:lnTo>
                <a:lnTo>
                  <a:pt x="192" y="174"/>
                </a:lnTo>
                <a:lnTo>
                  <a:pt x="192" y="174"/>
                </a:lnTo>
                <a:lnTo>
                  <a:pt x="192" y="174"/>
                </a:lnTo>
                <a:lnTo>
                  <a:pt x="192" y="174"/>
                </a:lnTo>
                <a:lnTo>
                  <a:pt x="192" y="174"/>
                </a:lnTo>
                <a:lnTo>
                  <a:pt x="186" y="174"/>
                </a:lnTo>
                <a:lnTo>
                  <a:pt x="186" y="174"/>
                </a:lnTo>
                <a:lnTo>
                  <a:pt x="186" y="174"/>
                </a:lnTo>
                <a:lnTo>
                  <a:pt x="186" y="174"/>
                </a:lnTo>
                <a:lnTo>
                  <a:pt x="186" y="180"/>
                </a:lnTo>
                <a:lnTo>
                  <a:pt x="186" y="180"/>
                </a:lnTo>
                <a:lnTo>
                  <a:pt x="186" y="180"/>
                </a:lnTo>
                <a:lnTo>
                  <a:pt x="186" y="186"/>
                </a:lnTo>
                <a:lnTo>
                  <a:pt x="186" y="186"/>
                </a:lnTo>
                <a:lnTo>
                  <a:pt x="180" y="192"/>
                </a:lnTo>
                <a:lnTo>
                  <a:pt x="180" y="192"/>
                </a:lnTo>
                <a:lnTo>
                  <a:pt x="180" y="192"/>
                </a:lnTo>
                <a:lnTo>
                  <a:pt x="180" y="198"/>
                </a:lnTo>
                <a:lnTo>
                  <a:pt x="180" y="198"/>
                </a:lnTo>
                <a:lnTo>
                  <a:pt x="180" y="198"/>
                </a:lnTo>
                <a:lnTo>
                  <a:pt x="180" y="198"/>
                </a:lnTo>
                <a:lnTo>
                  <a:pt x="180" y="198"/>
                </a:lnTo>
                <a:lnTo>
                  <a:pt x="180" y="198"/>
                </a:lnTo>
                <a:lnTo>
                  <a:pt x="180" y="198"/>
                </a:lnTo>
                <a:lnTo>
                  <a:pt x="174" y="198"/>
                </a:lnTo>
                <a:lnTo>
                  <a:pt x="174" y="204"/>
                </a:lnTo>
                <a:lnTo>
                  <a:pt x="174" y="204"/>
                </a:lnTo>
                <a:lnTo>
                  <a:pt x="174" y="198"/>
                </a:lnTo>
                <a:lnTo>
                  <a:pt x="168" y="198"/>
                </a:lnTo>
                <a:lnTo>
                  <a:pt x="168" y="198"/>
                </a:lnTo>
                <a:lnTo>
                  <a:pt x="162" y="198"/>
                </a:lnTo>
                <a:lnTo>
                  <a:pt x="162" y="198"/>
                </a:lnTo>
                <a:lnTo>
                  <a:pt x="162" y="204"/>
                </a:lnTo>
                <a:lnTo>
                  <a:pt x="162" y="204"/>
                </a:lnTo>
                <a:lnTo>
                  <a:pt x="162" y="204"/>
                </a:lnTo>
                <a:lnTo>
                  <a:pt x="162" y="204"/>
                </a:lnTo>
                <a:lnTo>
                  <a:pt x="156" y="210"/>
                </a:lnTo>
                <a:lnTo>
                  <a:pt x="156" y="210"/>
                </a:lnTo>
                <a:lnTo>
                  <a:pt x="156" y="210"/>
                </a:lnTo>
                <a:lnTo>
                  <a:pt x="156" y="210"/>
                </a:lnTo>
                <a:lnTo>
                  <a:pt x="162" y="216"/>
                </a:lnTo>
                <a:lnTo>
                  <a:pt x="168" y="216"/>
                </a:lnTo>
                <a:lnTo>
                  <a:pt x="168" y="216"/>
                </a:lnTo>
                <a:lnTo>
                  <a:pt x="168" y="216"/>
                </a:lnTo>
                <a:lnTo>
                  <a:pt x="168" y="216"/>
                </a:lnTo>
                <a:lnTo>
                  <a:pt x="168" y="216"/>
                </a:lnTo>
                <a:lnTo>
                  <a:pt x="174" y="216"/>
                </a:lnTo>
                <a:lnTo>
                  <a:pt x="174" y="216"/>
                </a:lnTo>
                <a:lnTo>
                  <a:pt x="174" y="216"/>
                </a:lnTo>
                <a:lnTo>
                  <a:pt x="180" y="216"/>
                </a:lnTo>
                <a:lnTo>
                  <a:pt x="180" y="216"/>
                </a:lnTo>
                <a:lnTo>
                  <a:pt x="180" y="216"/>
                </a:lnTo>
                <a:lnTo>
                  <a:pt x="180" y="216"/>
                </a:lnTo>
                <a:lnTo>
                  <a:pt x="186" y="222"/>
                </a:lnTo>
                <a:lnTo>
                  <a:pt x="186" y="222"/>
                </a:lnTo>
                <a:lnTo>
                  <a:pt x="192" y="222"/>
                </a:lnTo>
                <a:lnTo>
                  <a:pt x="192" y="216"/>
                </a:lnTo>
                <a:lnTo>
                  <a:pt x="192" y="222"/>
                </a:lnTo>
                <a:lnTo>
                  <a:pt x="192" y="222"/>
                </a:lnTo>
                <a:lnTo>
                  <a:pt x="198" y="222"/>
                </a:lnTo>
                <a:lnTo>
                  <a:pt x="198" y="222"/>
                </a:lnTo>
                <a:lnTo>
                  <a:pt x="198" y="222"/>
                </a:lnTo>
                <a:lnTo>
                  <a:pt x="198" y="228"/>
                </a:lnTo>
                <a:lnTo>
                  <a:pt x="198" y="228"/>
                </a:lnTo>
                <a:lnTo>
                  <a:pt x="198" y="228"/>
                </a:lnTo>
                <a:lnTo>
                  <a:pt x="198" y="234"/>
                </a:lnTo>
                <a:lnTo>
                  <a:pt x="204" y="234"/>
                </a:lnTo>
                <a:lnTo>
                  <a:pt x="204" y="234"/>
                </a:lnTo>
                <a:lnTo>
                  <a:pt x="204" y="234"/>
                </a:lnTo>
                <a:lnTo>
                  <a:pt x="204" y="240"/>
                </a:lnTo>
                <a:lnTo>
                  <a:pt x="204" y="240"/>
                </a:lnTo>
                <a:lnTo>
                  <a:pt x="204" y="240"/>
                </a:lnTo>
                <a:lnTo>
                  <a:pt x="204" y="240"/>
                </a:lnTo>
                <a:lnTo>
                  <a:pt x="204" y="240"/>
                </a:lnTo>
                <a:lnTo>
                  <a:pt x="204" y="240"/>
                </a:lnTo>
                <a:lnTo>
                  <a:pt x="204" y="240"/>
                </a:lnTo>
                <a:lnTo>
                  <a:pt x="204" y="240"/>
                </a:lnTo>
                <a:lnTo>
                  <a:pt x="198" y="240"/>
                </a:lnTo>
                <a:lnTo>
                  <a:pt x="198" y="240"/>
                </a:lnTo>
                <a:lnTo>
                  <a:pt x="198" y="240"/>
                </a:lnTo>
                <a:lnTo>
                  <a:pt x="198" y="240"/>
                </a:lnTo>
                <a:lnTo>
                  <a:pt x="198" y="240"/>
                </a:lnTo>
                <a:lnTo>
                  <a:pt x="198" y="246"/>
                </a:lnTo>
                <a:lnTo>
                  <a:pt x="198" y="246"/>
                </a:lnTo>
                <a:lnTo>
                  <a:pt x="198" y="246"/>
                </a:lnTo>
                <a:lnTo>
                  <a:pt x="198" y="246"/>
                </a:lnTo>
                <a:lnTo>
                  <a:pt x="198" y="246"/>
                </a:lnTo>
                <a:lnTo>
                  <a:pt x="198" y="246"/>
                </a:lnTo>
                <a:lnTo>
                  <a:pt x="198" y="246"/>
                </a:lnTo>
                <a:lnTo>
                  <a:pt x="198" y="246"/>
                </a:lnTo>
                <a:lnTo>
                  <a:pt x="198" y="246"/>
                </a:lnTo>
                <a:lnTo>
                  <a:pt x="192" y="252"/>
                </a:lnTo>
                <a:lnTo>
                  <a:pt x="192" y="252"/>
                </a:lnTo>
                <a:lnTo>
                  <a:pt x="192" y="252"/>
                </a:lnTo>
                <a:lnTo>
                  <a:pt x="192" y="252"/>
                </a:lnTo>
                <a:lnTo>
                  <a:pt x="192" y="252"/>
                </a:lnTo>
                <a:lnTo>
                  <a:pt x="192" y="252"/>
                </a:lnTo>
                <a:lnTo>
                  <a:pt x="192" y="252"/>
                </a:lnTo>
                <a:lnTo>
                  <a:pt x="192" y="252"/>
                </a:lnTo>
                <a:lnTo>
                  <a:pt x="192" y="252"/>
                </a:lnTo>
                <a:lnTo>
                  <a:pt x="192" y="258"/>
                </a:lnTo>
                <a:lnTo>
                  <a:pt x="192" y="258"/>
                </a:lnTo>
                <a:lnTo>
                  <a:pt x="192" y="258"/>
                </a:lnTo>
                <a:lnTo>
                  <a:pt x="192" y="258"/>
                </a:lnTo>
                <a:lnTo>
                  <a:pt x="192" y="258"/>
                </a:lnTo>
                <a:lnTo>
                  <a:pt x="192" y="264"/>
                </a:lnTo>
                <a:lnTo>
                  <a:pt x="192" y="258"/>
                </a:lnTo>
                <a:lnTo>
                  <a:pt x="186" y="264"/>
                </a:lnTo>
                <a:lnTo>
                  <a:pt x="186" y="264"/>
                </a:lnTo>
                <a:lnTo>
                  <a:pt x="186" y="264"/>
                </a:lnTo>
                <a:lnTo>
                  <a:pt x="186" y="264"/>
                </a:lnTo>
                <a:lnTo>
                  <a:pt x="186" y="264"/>
                </a:lnTo>
                <a:lnTo>
                  <a:pt x="180" y="264"/>
                </a:lnTo>
                <a:lnTo>
                  <a:pt x="180" y="258"/>
                </a:lnTo>
                <a:lnTo>
                  <a:pt x="180" y="258"/>
                </a:lnTo>
                <a:lnTo>
                  <a:pt x="180" y="264"/>
                </a:lnTo>
                <a:lnTo>
                  <a:pt x="180" y="264"/>
                </a:lnTo>
                <a:lnTo>
                  <a:pt x="180" y="264"/>
                </a:lnTo>
                <a:lnTo>
                  <a:pt x="180" y="264"/>
                </a:lnTo>
                <a:lnTo>
                  <a:pt x="180" y="264"/>
                </a:lnTo>
                <a:lnTo>
                  <a:pt x="180" y="264"/>
                </a:lnTo>
                <a:lnTo>
                  <a:pt x="180" y="264"/>
                </a:lnTo>
                <a:lnTo>
                  <a:pt x="180" y="264"/>
                </a:lnTo>
                <a:lnTo>
                  <a:pt x="180" y="270"/>
                </a:lnTo>
                <a:lnTo>
                  <a:pt x="180" y="270"/>
                </a:lnTo>
                <a:lnTo>
                  <a:pt x="180" y="270"/>
                </a:lnTo>
                <a:lnTo>
                  <a:pt x="174" y="270"/>
                </a:lnTo>
                <a:lnTo>
                  <a:pt x="174" y="270"/>
                </a:lnTo>
                <a:lnTo>
                  <a:pt x="174" y="270"/>
                </a:lnTo>
                <a:lnTo>
                  <a:pt x="174" y="270"/>
                </a:lnTo>
                <a:lnTo>
                  <a:pt x="174" y="270"/>
                </a:lnTo>
                <a:lnTo>
                  <a:pt x="168" y="270"/>
                </a:lnTo>
                <a:lnTo>
                  <a:pt x="168" y="270"/>
                </a:lnTo>
                <a:lnTo>
                  <a:pt x="168" y="270"/>
                </a:lnTo>
                <a:lnTo>
                  <a:pt x="168" y="276"/>
                </a:lnTo>
                <a:lnTo>
                  <a:pt x="168" y="276"/>
                </a:lnTo>
                <a:lnTo>
                  <a:pt x="168" y="276"/>
                </a:lnTo>
                <a:lnTo>
                  <a:pt x="168" y="276"/>
                </a:lnTo>
                <a:lnTo>
                  <a:pt x="168" y="276"/>
                </a:lnTo>
                <a:lnTo>
                  <a:pt x="168" y="276"/>
                </a:lnTo>
                <a:lnTo>
                  <a:pt x="168" y="276"/>
                </a:lnTo>
                <a:lnTo>
                  <a:pt x="168" y="282"/>
                </a:lnTo>
                <a:lnTo>
                  <a:pt x="168" y="282"/>
                </a:lnTo>
                <a:lnTo>
                  <a:pt x="168" y="282"/>
                </a:lnTo>
                <a:lnTo>
                  <a:pt x="168" y="282"/>
                </a:lnTo>
                <a:lnTo>
                  <a:pt x="168" y="282"/>
                </a:lnTo>
                <a:lnTo>
                  <a:pt x="168" y="282"/>
                </a:lnTo>
                <a:lnTo>
                  <a:pt x="168" y="288"/>
                </a:lnTo>
                <a:lnTo>
                  <a:pt x="168" y="288"/>
                </a:lnTo>
                <a:lnTo>
                  <a:pt x="168" y="288"/>
                </a:lnTo>
                <a:lnTo>
                  <a:pt x="168" y="288"/>
                </a:lnTo>
                <a:lnTo>
                  <a:pt x="168" y="288"/>
                </a:lnTo>
                <a:lnTo>
                  <a:pt x="168" y="288"/>
                </a:lnTo>
                <a:lnTo>
                  <a:pt x="168" y="288"/>
                </a:lnTo>
                <a:lnTo>
                  <a:pt x="168" y="288"/>
                </a:lnTo>
                <a:lnTo>
                  <a:pt x="168" y="294"/>
                </a:lnTo>
                <a:lnTo>
                  <a:pt x="168" y="294"/>
                </a:lnTo>
                <a:lnTo>
                  <a:pt x="162" y="294"/>
                </a:lnTo>
                <a:lnTo>
                  <a:pt x="162" y="294"/>
                </a:lnTo>
                <a:lnTo>
                  <a:pt x="168" y="294"/>
                </a:lnTo>
                <a:lnTo>
                  <a:pt x="168" y="294"/>
                </a:lnTo>
                <a:lnTo>
                  <a:pt x="168" y="294"/>
                </a:lnTo>
                <a:lnTo>
                  <a:pt x="162" y="294"/>
                </a:lnTo>
                <a:lnTo>
                  <a:pt x="162" y="294"/>
                </a:lnTo>
                <a:lnTo>
                  <a:pt x="162" y="300"/>
                </a:lnTo>
                <a:lnTo>
                  <a:pt x="162" y="300"/>
                </a:lnTo>
                <a:lnTo>
                  <a:pt x="162" y="294"/>
                </a:lnTo>
                <a:lnTo>
                  <a:pt x="162" y="300"/>
                </a:lnTo>
                <a:lnTo>
                  <a:pt x="162" y="294"/>
                </a:lnTo>
                <a:lnTo>
                  <a:pt x="162" y="294"/>
                </a:lnTo>
                <a:lnTo>
                  <a:pt x="156" y="294"/>
                </a:lnTo>
                <a:lnTo>
                  <a:pt x="156" y="294"/>
                </a:lnTo>
                <a:lnTo>
                  <a:pt x="156" y="294"/>
                </a:lnTo>
                <a:lnTo>
                  <a:pt x="156" y="294"/>
                </a:lnTo>
                <a:lnTo>
                  <a:pt x="156" y="294"/>
                </a:lnTo>
                <a:lnTo>
                  <a:pt x="156" y="294"/>
                </a:lnTo>
                <a:lnTo>
                  <a:pt x="156" y="294"/>
                </a:lnTo>
                <a:lnTo>
                  <a:pt x="156" y="294"/>
                </a:lnTo>
                <a:lnTo>
                  <a:pt x="156" y="294"/>
                </a:lnTo>
                <a:lnTo>
                  <a:pt x="156" y="294"/>
                </a:lnTo>
                <a:lnTo>
                  <a:pt x="156" y="294"/>
                </a:lnTo>
                <a:lnTo>
                  <a:pt x="156" y="294"/>
                </a:lnTo>
                <a:lnTo>
                  <a:pt x="156" y="294"/>
                </a:lnTo>
                <a:lnTo>
                  <a:pt x="150" y="294"/>
                </a:lnTo>
                <a:lnTo>
                  <a:pt x="156" y="294"/>
                </a:lnTo>
                <a:lnTo>
                  <a:pt x="150" y="294"/>
                </a:lnTo>
                <a:lnTo>
                  <a:pt x="150" y="294"/>
                </a:lnTo>
                <a:lnTo>
                  <a:pt x="150" y="294"/>
                </a:lnTo>
                <a:lnTo>
                  <a:pt x="150" y="294"/>
                </a:lnTo>
                <a:lnTo>
                  <a:pt x="150" y="294"/>
                </a:lnTo>
                <a:lnTo>
                  <a:pt x="150" y="294"/>
                </a:lnTo>
                <a:lnTo>
                  <a:pt x="150" y="294"/>
                </a:lnTo>
                <a:lnTo>
                  <a:pt x="150" y="294"/>
                </a:lnTo>
                <a:lnTo>
                  <a:pt x="150" y="294"/>
                </a:lnTo>
                <a:lnTo>
                  <a:pt x="150" y="294"/>
                </a:lnTo>
                <a:lnTo>
                  <a:pt x="150" y="294"/>
                </a:lnTo>
                <a:lnTo>
                  <a:pt x="144" y="294"/>
                </a:lnTo>
                <a:lnTo>
                  <a:pt x="144" y="288"/>
                </a:lnTo>
                <a:lnTo>
                  <a:pt x="144" y="294"/>
                </a:lnTo>
                <a:lnTo>
                  <a:pt x="144" y="288"/>
                </a:lnTo>
                <a:lnTo>
                  <a:pt x="144" y="288"/>
                </a:lnTo>
                <a:lnTo>
                  <a:pt x="144" y="288"/>
                </a:lnTo>
                <a:lnTo>
                  <a:pt x="144" y="288"/>
                </a:lnTo>
                <a:lnTo>
                  <a:pt x="144" y="288"/>
                </a:lnTo>
                <a:lnTo>
                  <a:pt x="144" y="288"/>
                </a:lnTo>
                <a:lnTo>
                  <a:pt x="144" y="288"/>
                </a:lnTo>
                <a:lnTo>
                  <a:pt x="144" y="288"/>
                </a:lnTo>
                <a:lnTo>
                  <a:pt x="144" y="288"/>
                </a:lnTo>
                <a:lnTo>
                  <a:pt x="144" y="288"/>
                </a:lnTo>
                <a:lnTo>
                  <a:pt x="144" y="288"/>
                </a:lnTo>
                <a:lnTo>
                  <a:pt x="144" y="288"/>
                </a:lnTo>
                <a:lnTo>
                  <a:pt x="144" y="288"/>
                </a:lnTo>
                <a:lnTo>
                  <a:pt x="144" y="288"/>
                </a:lnTo>
                <a:lnTo>
                  <a:pt x="144" y="288"/>
                </a:lnTo>
                <a:lnTo>
                  <a:pt x="138" y="288"/>
                </a:lnTo>
                <a:lnTo>
                  <a:pt x="138" y="288"/>
                </a:lnTo>
                <a:lnTo>
                  <a:pt x="138" y="288"/>
                </a:lnTo>
                <a:lnTo>
                  <a:pt x="138" y="288"/>
                </a:lnTo>
                <a:lnTo>
                  <a:pt x="138" y="288"/>
                </a:lnTo>
                <a:lnTo>
                  <a:pt x="138" y="288"/>
                </a:lnTo>
                <a:lnTo>
                  <a:pt x="138" y="288"/>
                </a:lnTo>
                <a:lnTo>
                  <a:pt x="132" y="288"/>
                </a:lnTo>
                <a:lnTo>
                  <a:pt x="138" y="288"/>
                </a:lnTo>
                <a:lnTo>
                  <a:pt x="132" y="288"/>
                </a:lnTo>
                <a:lnTo>
                  <a:pt x="132" y="288"/>
                </a:lnTo>
                <a:lnTo>
                  <a:pt x="132" y="288"/>
                </a:lnTo>
                <a:lnTo>
                  <a:pt x="132" y="288"/>
                </a:lnTo>
                <a:lnTo>
                  <a:pt x="132" y="288"/>
                </a:lnTo>
                <a:lnTo>
                  <a:pt x="132" y="288"/>
                </a:lnTo>
                <a:lnTo>
                  <a:pt x="132" y="288"/>
                </a:lnTo>
                <a:lnTo>
                  <a:pt x="132" y="288"/>
                </a:lnTo>
                <a:lnTo>
                  <a:pt x="132" y="288"/>
                </a:lnTo>
                <a:lnTo>
                  <a:pt x="132" y="288"/>
                </a:lnTo>
                <a:lnTo>
                  <a:pt x="132" y="288"/>
                </a:lnTo>
                <a:lnTo>
                  <a:pt x="132" y="288"/>
                </a:lnTo>
                <a:lnTo>
                  <a:pt x="126" y="288"/>
                </a:lnTo>
                <a:lnTo>
                  <a:pt x="126" y="282"/>
                </a:lnTo>
                <a:lnTo>
                  <a:pt x="126" y="282"/>
                </a:lnTo>
                <a:lnTo>
                  <a:pt x="126" y="282"/>
                </a:lnTo>
                <a:lnTo>
                  <a:pt x="126" y="282"/>
                </a:lnTo>
                <a:lnTo>
                  <a:pt x="126" y="282"/>
                </a:lnTo>
                <a:lnTo>
                  <a:pt x="126" y="282"/>
                </a:lnTo>
                <a:lnTo>
                  <a:pt x="126" y="282"/>
                </a:lnTo>
                <a:lnTo>
                  <a:pt x="126" y="282"/>
                </a:lnTo>
                <a:lnTo>
                  <a:pt x="126" y="282"/>
                </a:lnTo>
                <a:lnTo>
                  <a:pt x="120" y="288"/>
                </a:lnTo>
                <a:lnTo>
                  <a:pt x="120" y="282"/>
                </a:lnTo>
                <a:lnTo>
                  <a:pt x="120" y="288"/>
                </a:lnTo>
                <a:lnTo>
                  <a:pt x="120" y="282"/>
                </a:lnTo>
                <a:lnTo>
                  <a:pt x="120" y="282"/>
                </a:lnTo>
                <a:lnTo>
                  <a:pt x="120" y="282"/>
                </a:lnTo>
                <a:lnTo>
                  <a:pt x="120" y="282"/>
                </a:lnTo>
                <a:lnTo>
                  <a:pt x="120" y="282"/>
                </a:lnTo>
                <a:lnTo>
                  <a:pt x="114" y="282"/>
                </a:lnTo>
                <a:lnTo>
                  <a:pt x="114" y="282"/>
                </a:lnTo>
                <a:lnTo>
                  <a:pt x="114" y="282"/>
                </a:lnTo>
                <a:lnTo>
                  <a:pt x="114" y="282"/>
                </a:lnTo>
                <a:lnTo>
                  <a:pt x="114" y="282"/>
                </a:lnTo>
                <a:lnTo>
                  <a:pt x="114" y="282"/>
                </a:lnTo>
                <a:lnTo>
                  <a:pt x="114" y="282"/>
                </a:lnTo>
                <a:lnTo>
                  <a:pt x="114" y="282"/>
                </a:lnTo>
                <a:lnTo>
                  <a:pt x="114" y="282"/>
                </a:lnTo>
                <a:lnTo>
                  <a:pt x="114" y="282"/>
                </a:lnTo>
                <a:lnTo>
                  <a:pt x="114" y="276"/>
                </a:lnTo>
                <a:lnTo>
                  <a:pt x="108" y="276"/>
                </a:lnTo>
                <a:lnTo>
                  <a:pt x="108" y="276"/>
                </a:lnTo>
                <a:lnTo>
                  <a:pt x="108" y="276"/>
                </a:lnTo>
                <a:lnTo>
                  <a:pt x="108" y="276"/>
                </a:lnTo>
                <a:lnTo>
                  <a:pt x="108" y="276"/>
                </a:lnTo>
                <a:lnTo>
                  <a:pt x="108" y="276"/>
                </a:lnTo>
                <a:lnTo>
                  <a:pt x="108" y="276"/>
                </a:lnTo>
                <a:lnTo>
                  <a:pt x="108" y="276"/>
                </a:lnTo>
                <a:lnTo>
                  <a:pt x="108" y="276"/>
                </a:lnTo>
                <a:lnTo>
                  <a:pt x="108" y="276"/>
                </a:lnTo>
                <a:lnTo>
                  <a:pt x="108" y="276"/>
                </a:lnTo>
                <a:lnTo>
                  <a:pt x="108" y="276"/>
                </a:lnTo>
                <a:lnTo>
                  <a:pt x="108" y="270"/>
                </a:lnTo>
                <a:lnTo>
                  <a:pt x="108" y="276"/>
                </a:lnTo>
                <a:lnTo>
                  <a:pt x="102" y="270"/>
                </a:lnTo>
                <a:lnTo>
                  <a:pt x="102" y="276"/>
                </a:lnTo>
                <a:lnTo>
                  <a:pt x="102" y="276"/>
                </a:lnTo>
                <a:lnTo>
                  <a:pt x="102" y="276"/>
                </a:lnTo>
                <a:lnTo>
                  <a:pt x="102" y="276"/>
                </a:lnTo>
                <a:lnTo>
                  <a:pt x="96" y="276"/>
                </a:lnTo>
                <a:lnTo>
                  <a:pt x="96" y="276"/>
                </a:lnTo>
                <a:lnTo>
                  <a:pt x="96" y="276"/>
                </a:lnTo>
                <a:lnTo>
                  <a:pt x="96" y="276"/>
                </a:lnTo>
                <a:lnTo>
                  <a:pt x="96" y="276"/>
                </a:lnTo>
                <a:lnTo>
                  <a:pt x="96" y="282"/>
                </a:lnTo>
                <a:lnTo>
                  <a:pt x="96" y="282"/>
                </a:lnTo>
                <a:lnTo>
                  <a:pt x="96" y="282"/>
                </a:lnTo>
                <a:lnTo>
                  <a:pt x="96" y="282"/>
                </a:lnTo>
                <a:lnTo>
                  <a:pt x="96" y="282"/>
                </a:lnTo>
                <a:lnTo>
                  <a:pt x="96" y="282"/>
                </a:lnTo>
                <a:lnTo>
                  <a:pt x="96" y="282"/>
                </a:lnTo>
                <a:lnTo>
                  <a:pt x="96" y="282"/>
                </a:lnTo>
                <a:lnTo>
                  <a:pt x="90" y="282"/>
                </a:lnTo>
                <a:lnTo>
                  <a:pt x="90" y="282"/>
                </a:lnTo>
                <a:lnTo>
                  <a:pt x="90" y="282"/>
                </a:lnTo>
                <a:lnTo>
                  <a:pt x="90" y="282"/>
                </a:lnTo>
                <a:lnTo>
                  <a:pt x="90" y="282"/>
                </a:lnTo>
                <a:lnTo>
                  <a:pt x="90" y="282"/>
                </a:lnTo>
                <a:lnTo>
                  <a:pt x="90" y="282"/>
                </a:lnTo>
                <a:lnTo>
                  <a:pt x="90" y="282"/>
                </a:lnTo>
                <a:lnTo>
                  <a:pt x="84" y="282"/>
                </a:lnTo>
                <a:lnTo>
                  <a:pt x="84" y="282"/>
                </a:lnTo>
                <a:lnTo>
                  <a:pt x="84" y="282"/>
                </a:lnTo>
                <a:lnTo>
                  <a:pt x="84" y="288"/>
                </a:lnTo>
                <a:lnTo>
                  <a:pt x="84" y="288"/>
                </a:lnTo>
                <a:lnTo>
                  <a:pt x="84" y="288"/>
                </a:lnTo>
                <a:lnTo>
                  <a:pt x="84" y="288"/>
                </a:lnTo>
                <a:lnTo>
                  <a:pt x="84" y="288"/>
                </a:lnTo>
                <a:lnTo>
                  <a:pt x="84" y="288"/>
                </a:lnTo>
                <a:lnTo>
                  <a:pt x="84" y="288"/>
                </a:lnTo>
                <a:lnTo>
                  <a:pt x="78" y="288"/>
                </a:lnTo>
                <a:lnTo>
                  <a:pt x="78" y="288"/>
                </a:lnTo>
                <a:lnTo>
                  <a:pt x="78" y="288"/>
                </a:lnTo>
                <a:lnTo>
                  <a:pt x="78" y="288"/>
                </a:lnTo>
                <a:lnTo>
                  <a:pt x="78" y="282"/>
                </a:lnTo>
                <a:lnTo>
                  <a:pt x="78" y="282"/>
                </a:lnTo>
                <a:lnTo>
                  <a:pt x="78" y="282"/>
                </a:lnTo>
                <a:lnTo>
                  <a:pt x="78" y="282"/>
                </a:lnTo>
                <a:lnTo>
                  <a:pt x="78" y="282"/>
                </a:lnTo>
                <a:lnTo>
                  <a:pt x="78" y="282"/>
                </a:lnTo>
                <a:lnTo>
                  <a:pt x="78" y="282"/>
                </a:lnTo>
                <a:lnTo>
                  <a:pt x="78" y="282"/>
                </a:lnTo>
                <a:lnTo>
                  <a:pt x="78" y="282"/>
                </a:lnTo>
                <a:lnTo>
                  <a:pt x="78" y="282"/>
                </a:lnTo>
                <a:lnTo>
                  <a:pt x="78" y="282"/>
                </a:lnTo>
                <a:lnTo>
                  <a:pt x="78" y="282"/>
                </a:lnTo>
                <a:lnTo>
                  <a:pt x="72" y="282"/>
                </a:lnTo>
                <a:lnTo>
                  <a:pt x="72" y="282"/>
                </a:lnTo>
                <a:lnTo>
                  <a:pt x="72" y="282"/>
                </a:lnTo>
                <a:lnTo>
                  <a:pt x="72" y="282"/>
                </a:lnTo>
                <a:lnTo>
                  <a:pt x="72" y="282"/>
                </a:lnTo>
                <a:lnTo>
                  <a:pt x="72" y="282"/>
                </a:lnTo>
                <a:lnTo>
                  <a:pt x="72" y="276"/>
                </a:lnTo>
                <a:lnTo>
                  <a:pt x="72" y="276"/>
                </a:lnTo>
                <a:lnTo>
                  <a:pt x="72" y="276"/>
                </a:lnTo>
                <a:lnTo>
                  <a:pt x="72" y="276"/>
                </a:lnTo>
                <a:lnTo>
                  <a:pt x="72" y="276"/>
                </a:lnTo>
                <a:lnTo>
                  <a:pt x="72" y="276"/>
                </a:lnTo>
                <a:lnTo>
                  <a:pt x="72" y="276"/>
                </a:lnTo>
                <a:lnTo>
                  <a:pt x="72" y="276"/>
                </a:lnTo>
                <a:lnTo>
                  <a:pt x="72" y="270"/>
                </a:lnTo>
                <a:lnTo>
                  <a:pt x="72" y="270"/>
                </a:lnTo>
                <a:lnTo>
                  <a:pt x="72" y="270"/>
                </a:lnTo>
                <a:lnTo>
                  <a:pt x="72" y="270"/>
                </a:lnTo>
                <a:lnTo>
                  <a:pt x="72" y="270"/>
                </a:lnTo>
                <a:lnTo>
                  <a:pt x="72" y="270"/>
                </a:lnTo>
                <a:lnTo>
                  <a:pt x="72" y="270"/>
                </a:lnTo>
                <a:lnTo>
                  <a:pt x="72" y="270"/>
                </a:lnTo>
                <a:lnTo>
                  <a:pt x="66" y="270"/>
                </a:lnTo>
                <a:lnTo>
                  <a:pt x="66" y="264"/>
                </a:lnTo>
                <a:lnTo>
                  <a:pt x="66" y="264"/>
                </a:lnTo>
                <a:lnTo>
                  <a:pt x="72" y="264"/>
                </a:lnTo>
                <a:lnTo>
                  <a:pt x="72" y="264"/>
                </a:lnTo>
                <a:lnTo>
                  <a:pt x="72" y="264"/>
                </a:lnTo>
                <a:lnTo>
                  <a:pt x="72" y="264"/>
                </a:lnTo>
                <a:lnTo>
                  <a:pt x="72" y="264"/>
                </a:lnTo>
                <a:lnTo>
                  <a:pt x="72" y="264"/>
                </a:lnTo>
                <a:lnTo>
                  <a:pt x="72" y="258"/>
                </a:lnTo>
                <a:lnTo>
                  <a:pt x="72" y="258"/>
                </a:lnTo>
                <a:lnTo>
                  <a:pt x="66" y="258"/>
                </a:lnTo>
                <a:lnTo>
                  <a:pt x="72" y="258"/>
                </a:lnTo>
                <a:lnTo>
                  <a:pt x="66" y="258"/>
                </a:lnTo>
                <a:lnTo>
                  <a:pt x="66" y="258"/>
                </a:lnTo>
                <a:lnTo>
                  <a:pt x="72" y="258"/>
                </a:lnTo>
                <a:lnTo>
                  <a:pt x="66" y="252"/>
                </a:lnTo>
                <a:lnTo>
                  <a:pt x="66" y="252"/>
                </a:lnTo>
                <a:lnTo>
                  <a:pt x="66" y="252"/>
                </a:lnTo>
                <a:lnTo>
                  <a:pt x="66" y="252"/>
                </a:lnTo>
                <a:lnTo>
                  <a:pt x="66" y="252"/>
                </a:lnTo>
                <a:lnTo>
                  <a:pt x="66" y="252"/>
                </a:lnTo>
                <a:lnTo>
                  <a:pt x="66" y="258"/>
                </a:lnTo>
                <a:lnTo>
                  <a:pt x="66" y="258"/>
                </a:lnTo>
                <a:lnTo>
                  <a:pt x="60" y="252"/>
                </a:lnTo>
                <a:lnTo>
                  <a:pt x="60" y="252"/>
                </a:lnTo>
                <a:lnTo>
                  <a:pt x="60" y="252"/>
                </a:lnTo>
                <a:lnTo>
                  <a:pt x="60" y="246"/>
                </a:lnTo>
                <a:lnTo>
                  <a:pt x="60" y="246"/>
                </a:lnTo>
                <a:lnTo>
                  <a:pt x="60" y="246"/>
                </a:lnTo>
                <a:lnTo>
                  <a:pt x="60" y="246"/>
                </a:lnTo>
                <a:lnTo>
                  <a:pt x="60" y="246"/>
                </a:lnTo>
                <a:lnTo>
                  <a:pt x="54" y="252"/>
                </a:lnTo>
                <a:lnTo>
                  <a:pt x="54" y="252"/>
                </a:lnTo>
                <a:lnTo>
                  <a:pt x="54" y="252"/>
                </a:lnTo>
                <a:lnTo>
                  <a:pt x="48" y="252"/>
                </a:lnTo>
                <a:lnTo>
                  <a:pt x="48" y="252"/>
                </a:lnTo>
                <a:lnTo>
                  <a:pt x="42" y="258"/>
                </a:lnTo>
                <a:lnTo>
                  <a:pt x="42" y="258"/>
                </a:lnTo>
                <a:lnTo>
                  <a:pt x="42" y="258"/>
                </a:lnTo>
                <a:lnTo>
                  <a:pt x="36" y="264"/>
                </a:lnTo>
                <a:lnTo>
                  <a:pt x="36" y="264"/>
                </a:lnTo>
                <a:lnTo>
                  <a:pt x="30" y="264"/>
                </a:lnTo>
                <a:lnTo>
                  <a:pt x="30" y="264"/>
                </a:lnTo>
                <a:lnTo>
                  <a:pt x="30" y="264"/>
                </a:lnTo>
                <a:lnTo>
                  <a:pt x="30" y="258"/>
                </a:lnTo>
                <a:lnTo>
                  <a:pt x="30" y="264"/>
                </a:lnTo>
                <a:lnTo>
                  <a:pt x="30" y="264"/>
                </a:lnTo>
                <a:lnTo>
                  <a:pt x="30" y="258"/>
                </a:lnTo>
                <a:lnTo>
                  <a:pt x="30" y="258"/>
                </a:lnTo>
                <a:lnTo>
                  <a:pt x="30" y="258"/>
                </a:lnTo>
                <a:lnTo>
                  <a:pt x="30" y="258"/>
                </a:lnTo>
                <a:lnTo>
                  <a:pt x="30" y="258"/>
                </a:lnTo>
                <a:lnTo>
                  <a:pt x="30" y="258"/>
                </a:lnTo>
                <a:lnTo>
                  <a:pt x="30" y="258"/>
                </a:lnTo>
                <a:lnTo>
                  <a:pt x="30" y="258"/>
                </a:lnTo>
                <a:lnTo>
                  <a:pt x="30" y="252"/>
                </a:lnTo>
                <a:lnTo>
                  <a:pt x="30" y="252"/>
                </a:lnTo>
                <a:lnTo>
                  <a:pt x="30" y="258"/>
                </a:lnTo>
                <a:lnTo>
                  <a:pt x="30" y="258"/>
                </a:lnTo>
                <a:lnTo>
                  <a:pt x="24" y="258"/>
                </a:lnTo>
                <a:lnTo>
                  <a:pt x="24" y="258"/>
                </a:lnTo>
                <a:lnTo>
                  <a:pt x="24" y="252"/>
                </a:lnTo>
                <a:lnTo>
                  <a:pt x="24" y="252"/>
                </a:lnTo>
                <a:lnTo>
                  <a:pt x="24" y="252"/>
                </a:lnTo>
                <a:lnTo>
                  <a:pt x="24" y="252"/>
                </a:lnTo>
                <a:lnTo>
                  <a:pt x="24" y="252"/>
                </a:lnTo>
                <a:lnTo>
                  <a:pt x="24" y="252"/>
                </a:lnTo>
                <a:lnTo>
                  <a:pt x="24" y="252"/>
                </a:lnTo>
                <a:lnTo>
                  <a:pt x="24" y="252"/>
                </a:lnTo>
                <a:lnTo>
                  <a:pt x="24" y="252"/>
                </a:lnTo>
                <a:lnTo>
                  <a:pt x="24" y="252"/>
                </a:lnTo>
                <a:lnTo>
                  <a:pt x="18" y="252"/>
                </a:lnTo>
                <a:lnTo>
                  <a:pt x="18" y="252"/>
                </a:lnTo>
                <a:lnTo>
                  <a:pt x="18" y="246"/>
                </a:lnTo>
                <a:lnTo>
                  <a:pt x="18" y="246"/>
                </a:lnTo>
                <a:lnTo>
                  <a:pt x="18" y="246"/>
                </a:lnTo>
                <a:lnTo>
                  <a:pt x="18" y="252"/>
                </a:lnTo>
                <a:lnTo>
                  <a:pt x="18" y="246"/>
                </a:lnTo>
                <a:lnTo>
                  <a:pt x="18" y="246"/>
                </a:lnTo>
                <a:lnTo>
                  <a:pt x="18" y="246"/>
                </a:lnTo>
                <a:lnTo>
                  <a:pt x="18" y="246"/>
                </a:lnTo>
                <a:lnTo>
                  <a:pt x="18" y="246"/>
                </a:lnTo>
                <a:lnTo>
                  <a:pt x="18" y="246"/>
                </a:lnTo>
                <a:lnTo>
                  <a:pt x="18" y="246"/>
                </a:lnTo>
                <a:lnTo>
                  <a:pt x="18" y="246"/>
                </a:lnTo>
                <a:lnTo>
                  <a:pt x="12" y="246"/>
                </a:lnTo>
                <a:lnTo>
                  <a:pt x="12" y="246"/>
                </a:lnTo>
                <a:lnTo>
                  <a:pt x="12" y="246"/>
                </a:lnTo>
                <a:lnTo>
                  <a:pt x="12" y="246"/>
                </a:lnTo>
                <a:lnTo>
                  <a:pt x="12" y="246"/>
                </a:lnTo>
                <a:lnTo>
                  <a:pt x="12" y="246"/>
                </a:lnTo>
                <a:lnTo>
                  <a:pt x="12" y="246"/>
                </a:lnTo>
                <a:lnTo>
                  <a:pt x="12" y="246"/>
                </a:lnTo>
                <a:lnTo>
                  <a:pt x="12" y="246"/>
                </a:lnTo>
                <a:lnTo>
                  <a:pt x="12" y="246"/>
                </a:lnTo>
                <a:lnTo>
                  <a:pt x="12" y="246"/>
                </a:lnTo>
                <a:lnTo>
                  <a:pt x="6" y="246"/>
                </a:lnTo>
                <a:lnTo>
                  <a:pt x="6" y="246"/>
                </a:lnTo>
                <a:lnTo>
                  <a:pt x="6" y="240"/>
                </a:lnTo>
                <a:lnTo>
                  <a:pt x="6" y="240"/>
                </a:lnTo>
                <a:lnTo>
                  <a:pt x="6" y="240"/>
                </a:lnTo>
                <a:lnTo>
                  <a:pt x="6" y="240"/>
                </a:lnTo>
                <a:lnTo>
                  <a:pt x="12" y="240"/>
                </a:lnTo>
                <a:lnTo>
                  <a:pt x="12" y="240"/>
                </a:lnTo>
                <a:lnTo>
                  <a:pt x="6" y="240"/>
                </a:lnTo>
                <a:lnTo>
                  <a:pt x="6" y="240"/>
                </a:lnTo>
                <a:lnTo>
                  <a:pt x="6" y="240"/>
                </a:lnTo>
                <a:lnTo>
                  <a:pt x="6" y="240"/>
                </a:lnTo>
                <a:lnTo>
                  <a:pt x="6" y="240"/>
                </a:lnTo>
                <a:lnTo>
                  <a:pt x="6" y="240"/>
                </a:lnTo>
                <a:lnTo>
                  <a:pt x="6" y="240"/>
                </a:lnTo>
                <a:lnTo>
                  <a:pt x="6" y="240"/>
                </a:lnTo>
                <a:lnTo>
                  <a:pt x="6" y="240"/>
                </a:lnTo>
                <a:lnTo>
                  <a:pt x="6" y="234"/>
                </a:lnTo>
                <a:lnTo>
                  <a:pt x="0" y="234"/>
                </a:lnTo>
                <a:lnTo>
                  <a:pt x="0" y="234"/>
                </a:lnTo>
                <a:lnTo>
                  <a:pt x="0" y="23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51" name="Freeform 284"/>
          <p:cNvSpPr>
            <a:spLocks/>
          </p:cNvSpPr>
          <p:nvPr/>
        </p:nvSpPr>
        <p:spPr bwMode="auto">
          <a:xfrm>
            <a:off x="7622740" y="4006522"/>
            <a:ext cx="122057" cy="83513"/>
          </a:xfrm>
          <a:custGeom>
            <a:avLst/>
            <a:gdLst>
              <a:gd name="T0" fmla="*/ 6 w 114"/>
              <a:gd name="T1" fmla="*/ 42 h 78"/>
              <a:gd name="T2" fmla="*/ 12 w 114"/>
              <a:gd name="T3" fmla="*/ 42 h 78"/>
              <a:gd name="T4" fmla="*/ 12 w 114"/>
              <a:gd name="T5" fmla="*/ 36 h 78"/>
              <a:gd name="T6" fmla="*/ 24 w 114"/>
              <a:gd name="T7" fmla="*/ 30 h 78"/>
              <a:gd name="T8" fmla="*/ 30 w 114"/>
              <a:gd name="T9" fmla="*/ 30 h 78"/>
              <a:gd name="T10" fmla="*/ 30 w 114"/>
              <a:gd name="T11" fmla="*/ 24 h 78"/>
              <a:gd name="T12" fmla="*/ 30 w 114"/>
              <a:gd name="T13" fmla="*/ 18 h 78"/>
              <a:gd name="T14" fmla="*/ 36 w 114"/>
              <a:gd name="T15" fmla="*/ 12 h 78"/>
              <a:gd name="T16" fmla="*/ 42 w 114"/>
              <a:gd name="T17" fmla="*/ 6 h 78"/>
              <a:gd name="T18" fmla="*/ 48 w 114"/>
              <a:gd name="T19" fmla="*/ 0 h 78"/>
              <a:gd name="T20" fmla="*/ 54 w 114"/>
              <a:gd name="T21" fmla="*/ 0 h 78"/>
              <a:gd name="T22" fmla="*/ 48 w 114"/>
              <a:gd name="T23" fmla="*/ 6 h 78"/>
              <a:gd name="T24" fmla="*/ 54 w 114"/>
              <a:gd name="T25" fmla="*/ 6 h 78"/>
              <a:gd name="T26" fmla="*/ 60 w 114"/>
              <a:gd name="T27" fmla="*/ 12 h 78"/>
              <a:gd name="T28" fmla="*/ 66 w 114"/>
              <a:gd name="T29" fmla="*/ 18 h 78"/>
              <a:gd name="T30" fmla="*/ 66 w 114"/>
              <a:gd name="T31" fmla="*/ 18 h 78"/>
              <a:gd name="T32" fmla="*/ 72 w 114"/>
              <a:gd name="T33" fmla="*/ 18 h 78"/>
              <a:gd name="T34" fmla="*/ 66 w 114"/>
              <a:gd name="T35" fmla="*/ 12 h 78"/>
              <a:gd name="T36" fmla="*/ 72 w 114"/>
              <a:gd name="T37" fmla="*/ 6 h 78"/>
              <a:gd name="T38" fmla="*/ 78 w 114"/>
              <a:gd name="T39" fmla="*/ 6 h 78"/>
              <a:gd name="T40" fmla="*/ 84 w 114"/>
              <a:gd name="T41" fmla="*/ 6 h 78"/>
              <a:gd name="T42" fmla="*/ 84 w 114"/>
              <a:gd name="T43" fmla="*/ 6 h 78"/>
              <a:gd name="T44" fmla="*/ 90 w 114"/>
              <a:gd name="T45" fmla="*/ 6 h 78"/>
              <a:gd name="T46" fmla="*/ 96 w 114"/>
              <a:gd name="T47" fmla="*/ 6 h 78"/>
              <a:gd name="T48" fmla="*/ 96 w 114"/>
              <a:gd name="T49" fmla="*/ 6 h 78"/>
              <a:gd name="T50" fmla="*/ 102 w 114"/>
              <a:gd name="T51" fmla="*/ 12 h 78"/>
              <a:gd name="T52" fmla="*/ 108 w 114"/>
              <a:gd name="T53" fmla="*/ 12 h 78"/>
              <a:gd name="T54" fmla="*/ 108 w 114"/>
              <a:gd name="T55" fmla="*/ 18 h 78"/>
              <a:gd name="T56" fmla="*/ 108 w 114"/>
              <a:gd name="T57" fmla="*/ 24 h 78"/>
              <a:gd name="T58" fmla="*/ 108 w 114"/>
              <a:gd name="T59" fmla="*/ 30 h 78"/>
              <a:gd name="T60" fmla="*/ 102 w 114"/>
              <a:gd name="T61" fmla="*/ 36 h 78"/>
              <a:gd name="T62" fmla="*/ 96 w 114"/>
              <a:gd name="T63" fmla="*/ 42 h 78"/>
              <a:gd name="T64" fmla="*/ 90 w 114"/>
              <a:gd name="T65" fmla="*/ 48 h 78"/>
              <a:gd name="T66" fmla="*/ 90 w 114"/>
              <a:gd name="T67" fmla="*/ 54 h 78"/>
              <a:gd name="T68" fmla="*/ 84 w 114"/>
              <a:gd name="T69" fmla="*/ 60 h 78"/>
              <a:gd name="T70" fmla="*/ 84 w 114"/>
              <a:gd name="T71" fmla="*/ 66 h 78"/>
              <a:gd name="T72" fmla="*/ 84 w 114"/>
              <a:gd name="T73" fmla="*/ 72 h 78"/>
              <a:gd name="T74" fmla="*/ 78 w 114"/>
              <a:gd name="T75" fmla="*/ 78 h 78"/>
              <a:gd name="T76" fmla="*/ 72 w 114"/>
              <a:gd name="T77" fmla="*/ 72 h 78"/>
              <a:gd name="T78" fmla="*/ 66 w 114"/>
              <a:gd name="T79" fmla="*/ 72 h 78"/>
              <a:gd name="T80" fmla="*/ 60 w 114"/>
              <a:gd name="T81" fmla="*/ 72 h 78"/>
              <a:gd name="T82" fmla="*/ 54 w 114"/>
              <a:gd name="T83" fmla="*/ 78 h 78"/>
              <a:gd name="T84" fmla="*/ 42 w 114"/>
              <a:gd name="T85" fmla="*/ 78 h 78"/>
              <a:gd name="T86" fmla="*/ 42 w 114"/>
              <a:gd name="T87" fmla="*/ 78 h 78"/>
              <a:gd name="T88" fmla="*/ 36 w 114"/>
              <a:gd name="T89" fmla="*/ 78 h 78"/>
              <a:gd name="T90" fmla="*/ 30 w 114"/>
              <a:gd name="T91" fmla="*/ 78 h 78"/>
              <a:gd name="T92" fmla="*/ 24 w 114"/>
              <a:gd name="T93" fmla="*/ 78 h 78"/>
              <a:gd name="T94" fmla="*/ 18 w 114"/>
              <a:gd name="T95" fmla="*/ 72 h 78"/>
              <a:gd name="T96" fmla="*/ 18 w 114"/>
              <a:gd name="T97" fmla="*/ 66 h 78"/>
              <a:gd name="T98" fmla="*/ 18 w 114"/>
              <a:gd name="T99" fmla="*/ 66 h 78"/>
              <a:gd name="T100" fmla="*/ 12 w 114"/>
              <a:gd name="T101" fmla="*/ 60 h 78"/>
              <a:gd name="T102" fmla="*/ 6 w 114"/>
              <a:gd name="T103" fmla="*/ 54 h 78"/>
              <a:gd name="T104" fmla="*/ 0 w 114"/>
              <a:gd name="T105" fmla="*/ 54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14" h="78">
                <a:moveTo>
                  <a:pt x="0" y="48"/>
                </a:moveTo>
                <a:lnTo>
                  <a:pt x="0" y="48"/>
                </a:lnTo>
                <a:lnTo>
                  <a:pt x="0" y="48"/>
                </a:lnTo>
                <a:lnTo>
                  <a:pt x="0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8" y="36"/>
                </a:lnTo>
                <a:lnTo>
                  <a:pt x="18" y="30"/>
                </a:lnTo>
                <a:lnTo>
                  <a:pt x="18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30" y="36"/>
                </a:lnTo>
                <a:lnTo>
                  <a:pt x="30" y="36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42" y="12"/>
                </a:lnTo>
                <a:lnTo>
                  <a:pt x="42" y="12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0"/>
                </a:lnTo>
                <a:lnTo>
                  <a:pt x="42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72" y="18"/>
                </a:lnTo>
                <a:lnTo>
                  <a:pt x="72" y="18"/>
                </a:lnTo>
                <a:lnTo>
                  <a:pt x="72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8" y="0"/>
                </a:lnTo>
                <a:lnTo>
                  <a:pt x="78" y="0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90" y="6"/>
                </a:lnTo>
                <a:lnTo>
                  <a:pt x="84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102" y="12"/>
                </a:lnTo>
                <a:lnTo>
                  <a:pt x="102" y="6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8" y="6"/>
                </a:lnTo>
                <a:lnTo>
                  <a:pt x="108" y="6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14" y="18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42"/>
                </a:lnTo>
                <a:lnTo>
                  <a:pt x="102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84" y="54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78" y="72"/>
                </a:lnTo>
                <a:lnTo>
                  <a:pt x="78" y="78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8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8"/>
                </a:lnTo>
                <a:lnTo>
                  <a:pt x="54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2" y="78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24" y="78"/>
                </a:lnTo>
                <a:lnTo>
                  <a:pt x="30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2" y="72"/>
                </a:lnTo>
                <a:lnTo>
                  <a:pt x="12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54"/>
                </a:lnTo>
                <a:lnTo>
                  <a:pt x="12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0" y="54"/>
                </a:lnTo>
                <a:lnTo>
                  <a:pt x="6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4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52" name="Freeform 285"/>
          <p:cNvSpPr>
            <a:spLocks/>
          </p:cNvSpPr>
          <p:nvPr/>
        </p:nvSpPr>
        <p:spPr bwMode="auto">
          <a:xfrm>
            <a:off x="7789765" y="3479746"/>
            <a:ext cx="211994" cy="199147"/>
          </a:xfrm>
          <a:custGeom>
            <a:avLst/>
            <a:gdLst>
              <a:gd name="T0" fmla="*/ 12 w 198"/>
              <a:gd name="T1" fmla="*/ 54 h 186"/>
              <a:gd name="T2" fmla="*/ 18 w 198"/>
              <a:gd name="T3" fmla="*/ 60 h 186"/>
              <a:gd name="T4" fmla="*/ 30 w 198"/>
              <a:gd name="T5" fmla="*/ 72 h 186"/>
              <a:gd name="T6" fmla="*/ 42 w 198"/>
              <a:gd name="T7" fmla="*/ 72 h 186"/>
              <a:gd name="T8" fmla="*/ 48 w 198"/>
              <a:gd name="T9" fmla="*/ 60 h 186"/>
              <a:gd name="T10" fmla="*/ 60 w 198"/>
              <a:gd name="T11" fmla="*/ 54 h 186"/>
              <a:gd name="T12" fmla="*/ 66 w 198"/>
              <a:gd name="T13" fmla="*/ 48 h 186"/>
              <a:gd name="T14" fmla="*/ 72 w 198"/>
              <a:gd name="T15" fmla="*/ 30 h 186"/>
              <a:gd name="T16" fmla="*/ 78 w 198"/>
              <a:gd name="T17" fmla="*/ 24 h 186"/>
              <a:gd name="T18" fmla="*/ 96 w 198"/>
              <a:gd name="T19" fmla="*/ 30 h 186"/>
              <a:gd name="T20" fmla="*/ 114 w 198"/>
              <a:gd name="T21" fmla="*/ 36 h 186"/>
              <a:gd name="T22" fmla="*/ 120 w 198"/>
              <a:gd name="T23" fmla="*/ 36 h 186"/>
              <a:gd name="T24" fmla="*/ 120 w 198"/>
              <a:gd name="T25" fmla="*/ 24 h 186"/>
              <a:gd name="T26" fmla="*/ 120 w 198"/>
              <a:gd name="T27" fmla="*/ 12 h 186"/>
              <a:gd name="T28" fmla="*/ 126 w 198"/>
              <a:gd name="T29" fmla="*/ 0 h 186"/>
              <a:gd name="T30" fmla="*/ 132 w 198"/>
              <a:gd name="T31" fmla="*/ 0 h 186"/>
              <a:gd name="T32" fmla="*/ 144 w 198"/>
              <a:gd name="T33" fmla="*/ 0 h 186"/>
              <a:gd name="T34" fmla="*/ 144 w 198"/>
              <a:gd name="T35" fmla="*/ 12 h 186"/>
              <a:gd name="T36" fmla="*/ 138 w 198"/>
              <a:gd name="T37" fmla="*/ 24 h 186"/>
              <a:gd name="T38" fmla="*/ 144 w 198"/>
              <a:gd name="T39" fmla="*/ 36 h 186"/>
              <a:gd name="T40" fmla="*/ 162 w 198"/>
              <a:gd name="T41" fmla="*/ 36 h 186"/>
              <a:gd name="T42" fmla="*/ 168 w 198"/>
              <a:gd name="T43" fmla="*/ 36 h 186"/>
              <a:gd name="T44" fmla="*/ 174 w 198"/>
              <a:gd name="T45" fmla="*/ 48 h 186"/>
              <a:gd name="T46" fmla="*/ 174 w 198"/>
              <a:gd name="T47" fmla="*/ 54 h 186"/>
              <a:gd name="T48" fmla="*/ 168 w 198"/>
              <a:gd name="T49" fmla="*/ 72 h 186"/>
              <a:gd name="T50" fmla="*/ 156 w 198"/>
              <a:gd name="T51" fmla="*/ 72 h 186"/>
              <a:gd name="T52" fmla="*/ 144 w 198"/>
              <a:gd name="T53" fmla="*/ 78 h 186"/>
              <a:gd name="T54" fmla="*/ 144 w 198"/>
              <a:gd name="T55" fmla="*/ 84 h 186"/>
              <a:gd name="T56" fmla="*/ 144 w 198"/>
              <a:gd name="T57" fmla="*/ 96 h 186"/>
              <a:gd name="T58" fmla="*/ 156 w 198"/>
              <a:gd name="T59" fmla="*/ 102 h 186"/>
              <a:gd name="T60" fmla="*/ 144 w 198"/>
              <a:gd name="T61" fmla="*/ 108 h 186"/>
              <a:gd name="T62" fmla="*/ 156 w 198"/>
              <a:gd name="T63" fmla="*/ 126 h 186"/>
              <a:gd name="T64" fmla="*/ 162 w 198"/>
              <a:gd name="T65" fmla="*/ 120 h 186"/>
              <a:gd name="T66" fmla="*/ 192 w 198"/>
              <a:gd name="T67" fmla="*/ 138 h 186"/>
              <a:gd name="T68" fmla="*/ 180 w 198"/>
              <a:gd name="T69" fmla="*/ 138 h 186"/>
              <a:gd name="T70" fmla="*/ 174 w 198"/>
              <a:gd name="T71" fmla="*/ 144 h 186"/>
              <a:gd name="T72" fmla="*/ 162 w 198"/>
              <a:gd name="T73" fmla="*/ 144 h 186"/>
              <a:gd name="T74" fmla="*/ 156 w 198"/>
              <a:gd name="T75" fmla="*/ 156 h 186"/>
              <a:gd name="T76" fmla="*/ 144 w 198"/>
              <a:gd name="T77" fmla="*/ 174 h 186"/>
              <a:gd name="T78" fmla="*/ 138 w 198"/>
              <a:gd name="T79" fmla="*/ 180 h 186"/>
              <a:gd name="T80" fmla="*/ 126 w 198"/>
              <a:gd name="T81" fmla="*/ 186 h 186"/>
              <a:gd name="T82" fmla="*/ 120 w 198"/>
              <a:gd name="T83" fmla="*/ 180 h 186"/>
              <a:gd name="T84" fmla="*/ 120 w 198"/>
              <a:gd name="T85" fmla="*/ 168 h 186"/>
              <a:gd name="T86" fmla="*/ 120 w 198"/>
              <a:gd name="T87" fmla="*/ 156 h 186"/>
              <a:gd name="T88" fmla="*/ 102 w 198"/>
              <a:gd name="T89" fmla="*/ 156 h 186"/>
              <a:gd name="T90" fmla="*/ 90 w 198"/>
              <a:gd name="T91" fmla="*/ 156 h 186"/>
              <a:gd name="T92" fmla="*/ 78 w 198"/>
              <a:gd name="T93" fmla="*/ 144 h 186"/>
              <a:gd name="T94" fmla="*/ 84 w 198"/>
              <a:gd name="T95" fmla="*/ 132 h 186"/>
              <a:gd name="T96" fmla="*/ 90 w 198"/>
              <a:gd name="T97" fmla="*/ 120 h 186"/>
              <a:gd name="T98" fmla="*/ 78 w 198"/>
              <a:gd name="T99" fmla="*/ 114 h 186"/>
              <a:gd name="T100" fmla="*/ 66 w 198"/>
              <a:gd name="T101" fmla="*/ 114 h 186"/>
              <a:gd name="T102" fmla="*/ 60 w 198"/>
              <a:gd name="T103" fmla="*/ 120 h 186"/>
              <a:gd name="T104" fmla="*/ 54 w 198"/>
              <a:gd name="T105" fmla="*/ 132 h 186"/>
              <a:gd name="T106" fmla="*/ 42 w 198"/>
              <a:gd name="T107" fmla="*/ 138 h 186"/>
              <a:gd name="T108" fmla="*/ 30 w 198"/>
              <a:gd name="T109" fmla="*/ 138 h 186"/>
              <a:gd name="T110" fmla="*/ 18 w 198"/>
              <a:gd name="T111" fmla="*/ 132 h 186"/>
              <a:gd name="T112" fmla="*/ 12 w 198"/>
              <a:gd name="T113" fmla="*/ 120 h 186"/>
              <a:gd name="T114" fmla="*/ 0 w 198"/>
              <a:gd name="T115" fmla="*/ 108 h 186"/>
              <a:gd name="T116" fmla="*/ 6 w 198"/>
              <a:gd name="T117" fmla="*/ 96 h 186"/>
              <a:gd name="T118" fmla="*/ 0 w 198"/>
              <a:gd name="T119" fmla="*/ 78 h 1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98" h="186">
                <a:moveTo>
                  <a:pt x="0" y="72"/>
                </a:move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0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8" y="60"/>
                </a:lnTo>
                <a:lnTo>
                  <a:pt x="12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24" y="72"/>
                </a:lnTo>
                <a:lnTo>
                  <a:pt x="24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6" y="72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66"/>
                </a:lnTo>
                <a:lnTo>
                  <a:pt x="42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6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2"/>
                </a:lnTo>
                <a:lnTo>
                  <a:pt x="66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84" y="24"/>
                </a:lnTo>
                <a:lnTo>
                  <a:pt x="84" y="24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14" y="36"/>
                </a:lnTo>
                <a:lnTo>
                  <a:pt x="114" y="30"/>
                </a:lnTo>
                <a:lnTo>
                  <a:pt x="114" y="30"/>
                </a:lnTo>
                <a:lnTo>
                  <a:pt x="114" y="36"/>
                </a:lnTo>
                <a:lnTo>
                  <a:pt x="114" y="36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20" y="30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6" y="36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24"/>
                </a:lnTo>
                <a:lnTo>
                  <a:pt x="120" y="24"/>
                </a:lnTo>
                <a:lnTo>
                  <a:pt x="126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6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6" y="6"/>
                </a:lnTo>
                <a:lnTo>
                  <a:pt x="120" y="6"/>
                </a:lnTo>
                <a:lnTo>
                  <a:pt x="126" y="0"/>
                </a:lnTo>
                <a:lnTo>
                  <a:pt x="126" y="0"/>
                </a:lnTo>
                <a:lnTo>
                  <a:pt x="126" y="0"/>
                </a:lnTo>
                <a:lnTo>
                  <a:pt x="126" y="0"/>
                </a:lnTo>
                <a:lnTo>
                  <a:pt x="126" y="0"/>
                </a:lnTo>
                <a:lnTo>
                  <a:pt x="126" y="0"/>
                </a:lnTo>
                <a:lnTo>
                  <a:pt x="126" y="0"/>
                </a:lnTo>
                <a:lnTo>
                  <a:pt x="126" y="0"/>
                </a:lnTo>
                <a:lnTo>
                  <a:pt x="132" y="0"/>
                </a:lnTo>
                <a:lnTo>
                  <a:pt x="132" y="0"/>
                </a:lnTo>
                <a:lnTo>
                  <a:pt x="132" y="0"/>
                </a:lnTo>
                <a:lnTo>
                  <a:pt x="132" y="0"/>
                </a:lnTo>
                <a:lnTo>
                  <a:pt x="132" y="0"/>
                </a:lnTo>
                <a:lnTo>
                  <a:pt x="132" y="0"/>
                </a:lnTo>
                <a:lnTo>
                  <a:pt x="132" y="0"/>
                </a:lnTo>
                <a:lnTo>
                  <a:pt x="138" y="0"/>
                </a:lnTo>
                <a:lnTo>
                  <a:pt x="138" y="0"/>
                </a:lnTo>
                <a:lnTo>
                  <a:pt x="138" y="0"/>
                </a:lnTo>
                <a:lnTo>
                  <a:pt x="138" y="0"/>
                </a:lnTo>
                <a:lnTo>
                  <a:pt x="138" y="0"/>
                </a:lnTo>
                <a:lnTo>
                  <a:pt x="138" y="0"/>
                </a:lnTo>
                <a:lnTo>
                  <a:pt x="138" y="0"/>
                </a:lnTo>
                <a:lnTo>
                  <a:pt x="144" y="0"/>
                </a:lnTo>
                <a:lnTo>
                  <a:pt x="144" y="0"/>
                </a:lnTo>
                <a:lnTo>
                  <a:pt x="144" y="0"/>
                </a:lnTo>
                <a:lnTo>
                  <a:pt x="144" y="0"/>
                </a:lnTo>
                <a:lnTo>
                  <a:pt x="144" y="0"/>
                </a:lnTo>
                <a:lnTo>
                  <a:pt x="144" y="0"/>
                </a:lnTo>
                <a:lnTo>
                  <a:pt x="144" y="0"/>
                </a:lnTo>
                <a:lnTo>
                  <a:pt x="144" y="6"/>
                </a:lnTo>
                <a:lnTo>
                  <a:pt x="150" y="6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6"/>
                </a:lnTo>
                <a:lnTo>
                  <a:pt x="150" y="36"/>
                </a:lnTo>
                <a:lnTo>
                  <a:pt x="150" y="30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8" y="42"/>
                </a:lnTo>
                <a:lnTo>
                  <a:pt x="168" y="42"/>
                </a:lnTo>
                <a:lnTo>
                  <a:pt x="168" y="36"/>
                </a:lnTo>
                <a:lnTo>
                  <a:pt x="168" y="36"/>
                </a:lnTo>
                <a:lnTo>
                  <a:pt x="168" y="36"/>
                </a:lnTo>
                <a:lnTo>
                  <a:pt x="168" y="36"/>
                </a:lnTo>
                <a:lnTo>
                  <a:pt x="168" y="36"/>
                </a:lnTo>
                <a:lnTo>
                  <a:pt x="174" y="36"/>
                </a:lnTo>
                <a:lnTo>
                  <a:pt x="168" y="36"/>
                </a:lnTo>
                <a:lnTo>
                  <a:pt x="168" y="42"/>
                </a:lnTo>
                <a:lnTo>
                  <a:pt x="174" y="42"/>
                </a:lnTo>
                <a:lnTo>
                  <a:pt x="174" y="42"/>
                </a:lnTo>
                <a:lnTo>
                  <a:pt x="168" y="42"/>
                </a:lnTo>
                <a:lnTo>
                  <a:pt x="168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68" y="48"/>
                </a:lnTo>
                <a:lnTo>
                  <a:pt x="168" y="48"/>
                </a:lnTo>
                <a:lnTo>
                  <a:pt x="168" y="48"/>
                </a:lnTo>
                <a:lnTo>
                  <a:pt x="168" y="48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74" y="54"/>
                </a:lnTo>
                <a:lnTo>
                  <a:pt x="174" y="54"/>
                </a:lnTo>
                <a:lnTo>
                  <a:pt x="174" y="54"/>
                </a:lnTo>
                <a:lnTo>
                  <a:pt x="174" y="60"/>
                </a:lnTo>
                <a:lnTo>
                  <a:pt x="174" y="60"/>
                </a:lnTo>
                <a:lnTo>
                  <a:pt x="174" y="60"/>
                </a:lnTo>
                <a:lnTo>
                  <a:pt x="174" y="60"/>
                </a:lnTo>
                <a:lnTo>
                  <a:pt x="174" y="60"/>
                </a:lnTo>
                <a:lnTo>
                  <a:pt x="174" y="60"/>
                </a:lnTo>
                <a:lnTo>
                  <a:pt x="168" y="66"/>
                </a:lnTo>
                <a:lnTo>
                  <a:pt x="174" y="66"/>
                </a:lnTo>
                <a:lnTo>
                  <a:pt x="174" y="66"/>
                </a:lnTo>
                <a:lnTo>
                  <a:pt x="174" y="72"/>
                </a:lnTo>
                <a:lnTo>
                  <a:pt x="174" y="72"/>
                </a:lnTo>
                <a:lnTo>
                  <a:pt x="174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66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2" y="72"/>
                </a:lnTo>
                <a:lnTo>
                  <a:pt x="162" y="72"/>
                </a:lnTo>
                <a:lnTo>
                  <a:pt x="162" y="72"/>
                </a:lnTo>
                <a:lnTo>
                  <a:pt x="162" y="72"/>
                </a:lnTo>
                <a:lnTo>
                  <a:pt x="156" y="72"/>
                </a:lnTo>
                <a:lnTo>
                  <a:pt x="156" y="72"/>
                </a:lnTo>
                <a:lnTo>
                  <a:pt x="156" y="72"/>
                </a:lnTo>
                <a:lnTo>
                  <a:pt x="156" y="72"/>
                </a:lnTo>
                <a:lnTo>
                  <a:pt x="156" y="72"/>
                </a:lnTo>
                <a:lnTo>
                  <a:pt x="156" y="72"/>
                </a:lnTo>
                <a:lnTo>
                  <a:pt x="156" y="72"/>
                </a:lnTo>
                <a:lnTo>
                  <a:pt x="156" y="72"/>
                </a:lnTo>
                <a:lnTo>
                  <a:pt x="150" y="72"/>
                </a:lnTo>
                <a:lnTo>
                  <a:pt x="150" y="72"/>
                </a:lnTo>
                <a:lnTo>
                  <a:pt x="150" y="72"/>
                </a:lnTo>
                <a:lnTo>
                  <a:pt x="150" y="72"/>
                </a:lnTo>
                <a:lnTo>
                  <a:pt x="150" y="78"/>
                </a:lnTo>
                <a:lnTo>
                  <a:pt x="150" y="78"/>
                </a:lnTo>
                <a:lnTo>
                  <a:pt x="150" y="78"/>
                </a:lnTo>
                <a:lnTo>
                  <a:pt x="144" y="78"/>
                </a:lnTo>
                <a:lnTo>
                  <a:pt x="144" y="78"/>
                </a:lnTo>
                <a:lnTo>
                  <a:pt x="144" y="78"/>
                </a:lnTo>
                <a:lnTo>
                  <a:pt x="144" y="78"/>
                </a:lnTo>
                <a:lnTo>
                  <a:pt x="138" y="72"/>
                </a:lnTo>
                <a:lnTo>
                  <a:pt x="138" y="72"/>
                </a:lnTo>
                <a:lnTo>
                  <a:pt x="138" y="78"/>
                </a:lnTo>
                <a:lnTo>
                  <a:pt x="138" y="78"/>
                </a:lnTo>
                <a:lnTo>
                  <a:pt x="144" y="78"/>
                </a:lnTo>
                <a:lnTo>
                  <a:pt x="144" y="78"/>
                </a:lnTo>
                <a:lnTo>
                  <a:pt x="144" y="78"/>
                </a:lnTo>
                <a:lnTo>
                  <a:pt x="144" y="78"/>
                </a:lnTo>
                <a:lnTo>
                  <a:pt x="144" y="84"/>
                </a:lnTo>
                <a:lnTo>
                  <a:pt x="144" y="84"/>
                </a:lnTo>
                <a:lnTo>
                  <a:pt x="144" y="84"/>
                </a:lnTo>
                <a:lnTo>
                  <a:pt x="144" y="84"/>
                </a:lnTo>
                <a:lnTo>
                  <a:pt x="144" y="84"/>
                </a:lnTo>
                <a:lnTo>
                  <a:pt x="150" y="84"/>
                </a:lnTo>
                <a:lnTo>
                  <a:pt x="150" y="84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44" y="96"/>
                </a:lnTo>
                <a:lnTo>
                  <a:pt x="144" y="96"/>
                </a:lnTo>
                <a:lnTo>
                  <a:pt x="144" y="96"/>
                </a:lnTo>
                <a:lnTo>
                  <a:pt x="150" y="96"/>
                </a:lnTo>
                <a:lnTo>
                  <a:pt x="150" y="96"/>
                </a:lnTo>
                <a:lnTo>
                  <a:pt x="150" y="96"/>
                </a:lnTo>
                <a:lnTo>
                  <a:pt x="150" y="96"/>
                </a:lnTo>
                <a:lnTo>
                  <a:pt x="150" y="96"/>
                </a:lnTo>
                <a:lnTo>
                  <a:pt x="150" y="96"/>
                </a:lnTo>
                <a:lnTo>
                  <a:pt x="150" y="102"/>
                </a:lnTo>
                <a:lnTo>
                  <a:pt x="150" y="102"/>
                </a:lnTo>
                <a:lnTo>
                  <a:pt x="156" y="102"/>
                </a:lnTo>
                <a:lnTo>
                  <a:pt x="156" y="102"/>
                </a:lnTo>
                <a:lnTo>
                  <a:pt x="156" y="102"/>
                </a:lnTo>
                <a:lnTo>
                  <a:pt x="156" y="102"/>
                </a:lnTo>
                <a:lnTo>
                  <a:pt x="156" y="102"/>
                </a:lnTo>
                <a:lnTo>
                  <a:pt x="156" y="102"/>
                </a:lnTo>
                <a:lnTo>
                  <a:pt x="156" y="102"/>
                </a:lnTo>
                <a:lnTo>
                  <a:pt x="156" y="108"/>
                </a:lnTo>
                <a:lnTo>
                  <a:pt x="150" y="102"/>
                </a:lnTo>
                <a:lnTo>
                  <a:pt x="150" y="102"/>
                </a:lnTo>
                <a:lnTo>
                  <a:pt x="150" y="108"/>
                </a:lnTo>
                <a:lnTo>
                  <a:pt x="150" y="108"/>
                </a:lnTo>
                <a:lnTo>
                  <a:pt x="150" y="108"/>
                </a:lnTo>
                <a:lnTo>
                  <a:pt x="150" y="108"/>
                </a:lnTo>
                <a:lnTo>
                  <a:pt x="150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14"/>
                </a:lnTo>
                <a:lnTo>
                  <a:pt x="144" y="114"/>
                </a:lnTo>
                <a:lnTo>
                  <a:pt x="144" y="114"/>
                </a:lnTo>
                <a:lnTo>
                  <a:pt x="144" y="114"/>
                </a:lnTo>
                <a:lnTo>
                  <a:pt x="150" y="114"/>
                </a:lnTo>
                <a:lnTo>
                  <a:pt x="144" y="114"/>
                </a:lnTo>
                <a:lnTo>
                  <a:pt x="150" y="120"/>
                </a:lnTo>
                <a:lnTo>
                  <a:pt x="150" y="114"/>
                </a:lnTo>
                <a:lnTo>
                  <a:pt x="150" y="114"/>
                </a:lnTo>
                <a:lnTo>
                  <a:pt x="150" y="120"/>
                </a:lnTo>
                <a:lnTo>
                  <a:pt x="150" y="120"/>
                </a:lnTo>
                <a:lnTo>
                  <a:pt x="156" y="120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0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68" y="120"/>
                </a:lnTo>
                <a:lnTo>
                  <a:pt x="168" y="120"/>
                </a:lnTo>
                <a:lnTo>
                  <a:pt x="168" y="120"/>
                </a:lnTo>
                <a:lnTo>
                  <a:pt x="174" y="120"/>
                </a:lnTo>
                <a:lnTo>
                  <a:pt x="174" y="120"/>
                </a:lnTo>
                <a:lnTo>
                  <a:pt x="174" y="120"/>
                </a:lnTo>
                <a:lnTo>
                  <a:pt x="174" y="120"/>
                </a:lnTo>
                <a:lnTo>
                  <a:pt x="174" y="120"/>
                </a:lnTo>
                <a:lnTo>
                  <a:pt x="174" y="120"/>
                </a:lnTo>
                <a:lnTo>
                  <a:pt x="180" y="120"/>
                </a:lnTo>
                <a:lnTo>
                  <a:pt x="180" y="120"/>
                </a:lnTo>
                <a:lnTo>
                  <a:pt x="192" y="138"/>
                </a:lnTo>
                <a:lnTo>
                  <a:pt x="198" y="144"/>
                </a:lnTo>
                <a:lnTo>
                  <a:pt x="192" y="144"/>
                </a:lnTo>
                <a:lnTo>
                  <a:pt x="192" y="144"/>
                </a:lnTo>
                <a:lnTo>
                  <a:pt x="186" y="144"/>
                </a:lnTo>
                <a:lnTo>
                  <a:pt x="186" y="144"/>
                </a:lnTo>
                <a:lnTo>
                  <a:pt x="186" y="144"/>
                </a:lnTo>
                <a:lnTo>
                  <a:pt x="186" y="144"/>
                </a:lnTo>
                <a:lnTo>
                  <a:pt x="186" y="144"/>
                </a:lnTo>
                <a:lnTo>
                  <a:pt x="186" y="144"/>
                </a:lnTo>
                <a:lnTo>
                  <a:pt x="186" y="144"/>
                </a:lnTo>
                <a:lnTo>
                  <a:pt x="180" y="138"/>
                </a:lnTo>
                <a:lnTo>
                  <a:pt x="180" y="138"/>
                </a:lnTo>
                <a:lnTo>
                  <a:pt x="180" y="138"/>
                </a:lnTo>
                <a:lnTo>
                  <a:pt x="180" y="138"/>
                </a:lnTo>
                <a:lnTo>
                  <a:pt x="180" y="138"/>
                </a:lnTo>
                <a:lnTo>
                  <a:pt x="180" y="138"/>
                </a:lnTo>
                <a:lnTo>
                  <a:pt x="180" y="138"/>
                </a:lnTo>
                <a:lnTo>
                  <a:pt x="180" y="138"/>
                </a:lnTo>
                <a:lnTo>
                  <a:pt x="180" y="138"/>
                </a:lnTo>
                <a:lnTo>
                  <a:pt x="180" y="138"/>
                </a:lnTo>
                <a:lnTo>
                  <a:pt x="174" y="138"/>
                </a:lnTo>
                <a:lnTo>
                  <a:pt x="174" y="144"/>
                </a:lnTo>
                <a:lnTo>
                  <a:pt x="174" y="144"/>
                </a:lnTo>
                <a:lnTo>
                  <a:pt x="174" y="138"/>
                </a:lnTo>
                <a:lnTo>
                  <a:pt x="174" y="138"/>
                </a:lnTo>
                <a:lnTo>
                  <a:pt x="174" y="144"/>
                </a:lnTo>
                <a:lnTo>
                  <a:pt x="174" y="144"/>
                </a:lnTo>
                <a:lnTo>
                  <a:pt x="174" y="144"/>
                </a:lnTo>
                <a:lnTo>
                  <a:pt x="168" y="144"/>
                </a:lnTo>
                <a:lnTo>
                  <a:pt x="168" y="144"/>
                </a:lnTo>
                <a:lnTo>
                  <a:pt x="168" y="144"/>
                </a:lnTo>
                <a:lnTo>
                  <a:pt x="168" y="144"/>
                </a:lnTo>
                <a:lnTo>
                  <a:pt x="168" y="144"/>
                </a:lnTo>
                <a:lnTo>
                  <a:pt x="168" y="144"/>
                </a:lnTo>
                <a:lnTo>
                  <a:pt x="162" y="144"/>
                </a:lnTo>
                <a:lnTo>
                  <a:pt x="162" y="144"/>
                </a:lnTo>
                <a:lnTo>
                  <a:pt x="162" y="144"/>
                </a:lnTo>
                <a:lnTo>
                  <a:pt x="162" y="144"/>
                </a:lnTo>
                <a:lnTo>
                  <a:pt x="162" y="144"/>
                </a:lnTo>
                <a:lnTo>
                  <a:pt x="162" y="144"/>
                </a:lnTo>
                <a:lnTo>
                  <a:pt x="156" y="144"/>
                </a:lnTo>
                <a:lnTo>
                  <a:pt x="156" y="144"/>
                </a:lnTo>
                <a:lnTo>
                  <a:pt x="156" y="144"/>
                </a:lnTo>
                <a:lnTo>
                  <a:pt x="156" y="144"/>
                </a:lnTo>
                <a:lnTo>
                  <a:pt x="156" y="150"/>
                </a:lnTo>
                <a:lnTo>
                  <a:pt x="156" y="150"/>
                </a:lnTo>
                <a:lnTo>
                  <a:pt x="156" y="150"/>
                </a:lnTo>
                <a:lnTo>
                  <a:pt x="156" y="150"/>
                </a:lnTo>
                <a:lnTo>
                  <a:pt x="150" y="150"/>
                </a:lnTo>
                <a:lnTo>
                  <a:pt x="150" y="150"/>
                </a:lnTo>
                <a:lnTo>
                  <a:pt x="150" y="150"/>
                </a:lnTo>
                <a:lnTo>
                  <a:pt x="156" y="156"/>
                </a:lnTo>
                <a:lnTo>
                  <a:pt x="156" y="156"/>
                </a:lnTo>
                <a:lnTo>
                  <a:pt x="150" y="156"/>
                </a:lnTo>
                <a:lnTo>
                  <a:pt x="150" y="156"/>
                </a:lnTo>
                <a:lnTo>
                  <a:pt x="150" y="156"/>
                </a:lnTo>
                <a:lnTo>
                  <a:pt x="150" y="156"/>
                </a:lnTo>
                <a:lnTo>
                  <a:pt x="150" y="156"/>
                </a:lnTo>
                <a:lnTo>
                  <a:pt x="150" y="162"/>
                </a:lnTo>
                <a:lnTo>
                  <a:pt x="144" y="162"/>
                </a:lnTo>
                <a:lnTo>
                  <a:pt x="144" y="162"/>
                </a:lnTo>
                <a:lnTo>
                  <a:pt x="144" y="168"/>
                </a:lnTo>
                <a:lnTo>
                  <a:pt x="144" y="168"/>
                </a:lnTo>
                <a:lnTo>
                  <a:pt x="144" y="168"/>
                </a:lnTo>
                <a:lnTo>
                  <a:pt x="144" y="174"/>
                </a:lnTo>
                <a:lnTo>
                  <a:pt x="144" y="174"/>
                </a:lnTo>
                <a:lnTo>
                  <a:pt x="144" y="174"/>
                </a:lnTo>
                <a:lnTo>
                  <a:pt x="144" y="174"/>
                </a:lnTo>
                <a:lnTo>
                  <a:pt x="144" y="174"/>
                </a:lnTo>
                <a:lnTo>
                  <a:pt x="144" y="174"/>
                </a:lnTo>
                <a:lnTo>
                  <a:pt x="144" y="174"/>
                </a:lnTo>
                <a:lnTo>
                  <a:pt x="144" y="180"/>
                </a:lnTo>
                <a:lnTo>
                  <a:pt x="144" y="180"/>
                </a:lnTo>
                <a:lnTo>
                  <a:pt x="144" y="180"/>
                </a:lnTo>
                <a:lnTo>
                  <a:pt x="144" y="180"/>
                </a:lnTo>
                <a:lnTo>
                  <a:pt x="144" y="180"/>
                </a:lnTo>
                <a:lnTo>
                  <a:pt x="144" y="180"/>
                </a:lnTo>
                <a:lnTo>
                  <a:pt x="138" y="180"/>
                </a:lnTo>
                <a:lnTo>
                  <a:pt x="138" y="186"/>
                </a:lnTo>
                <a:lnTo>
                  <a:pt x="138" y="186"/>
                </a:lnTo>
                <a:lnTo>
                  <a:pt x="138" y="186"/>
                </a:lnTo>
                <a:lnTo>
                  <a:pt x="138" y="186"/>
                </a:lnTo>
                <a:lnTo>
                  <a:pt x="138" y="186"/>
                </a:lnTo>
                <a:lnTo>
                  <a:pt x="138" y="186"/>
                </a:lnTo>
                <a:lnTo>
                  <a:pt x="132" y="186"/>
                </a:lnTo>
                <a:lnTo>
                  <a:pt x="132" y="186"/>
                </a:lnTo>
                <a:lnTo>
                  <a:pt x="132" y="186"/>
                </a:lnTo>
                <a:lnTo>
                  <a:pt x="132" y="186"/>
                </a:lnTo>
                <a:lnTo>
                  <a:pt x="126" y="186"/>
                </a:lnTo>
                <a:lnTo>
                  <a:pt x="126" y="186"/>
                </a:lnTo>
                <a:lnTo>
                  <a:pt x="126" y="186"/>
                </a:lnTo>
                <a:lnTo>
                  <a:pt x="126" y="186"/>
                </a:lnTo>
                <a:lnTo>
                  <a:pt x="126" y="186"/>
                </a:lnTo>
                <a:lnTo>
                  <a:pt x="126" y="186"/>
                </a:lnTo>
                <a:lnTo>
                  <a:pt x="126" y="180"/>
                </a:lnTo>
                <a:lnTo>
                  <a:pt x="126" y="180"/>
                </a:lnTo>
                <a:lnTo>
                  <a:pt x="126" y="186"/>
                </a:lnTo>
                <a:lnTo>
                  <a:pt x="126" y="186"/>
                </a:lnTo>
                <a:lnTo>
                  <a:pt x="126" y="186"/>
                </a:lnTo>
                <a:lnTo>
                  <a:pt x="126" y="186"/>
                </a:lnTo>
                <a:lnTo>
                  <a:pt x="126" y="186"/>
                </a:lnTo>
                <a:lnTo>
                  <a:pt x="120" y="186"/>
                </a:lnTo>
                <a:lnTo>
                  <a:pt x="126" y="180"/>
                </a:lnTo>
                <a:lnTo>
                  <a:pt x="120" y="180"/>
                </a:lnTo>
                <a:lnTo>
                  <a:pt x="120" y="180"/>
                </a:lnTo>
                <a:lnTo>
                  <a:pt x="120" y="180"/>
                </a:lnTo>
                <a:lnTo>
                  <a:pt x="120" y="174"/>
                </a:lnTo>
                <a:lnTo>
                  <a:pt x="126" y="174"/>
                </a:lnTo>
                <a:lnTo>
                  <a:pt x="126" y="174"/>
                </a:lnTo>
                <a:lnTo>
                  <a:pt x="126" y="174"/>
                </a:lnTo>
                <a:lnTo>
                  <a:pt x="126" y="174"/>
                </a:lnTo>
                <a:lnTo>
                  <a:pt x="126" y="174"/>
                </a:lnTo>
                <a:lnTo>
                  <a:pt x="126" y="168"/>
                </a:lnTo>
                <a:lnTo>
                  <a:pt x="126" y="168"/>
                </a:lnTo>
                <a:lnTo>
                  <a:pt x="126" y="168"/>
                </a:lnTo>
                <a:lnTo>
                  <a:pt x="126" y="168"/>
                </a:lnTo>
                <a:lnTo>
                  <a:pt x="120" y="168"/>
                </a:lnTo>
                <a:lnTo>
                  <a:pt x="126" y="168"/>
                </a:lnTo>
                <a:lnTo>
                  <a:pt x="126" y="168"/>
                </a:lnTo>
                <a:lnTo>
                  <a:pt x="126" y="168"/>
                </a:lnTo>
                <a:lnTo>
                  <a:pt x="126" y="168"/>
                </a:lnTo>
                <a:lnTo>
                  <a:pt x="126" y="168"/>
                </a:lnTo>
                <a:lnTo>
                  <a:pt x="126" y="162"/>
                </a:lnTo>
                <a:lnTo>
                  <a:pt x="126" y="162"/>
                </a:lnTo>
                <a:lnTo>
                  <a:pt x="126" y="162"/>
                </a:lnTo>
                <a:lnTo>
                  <a:pt x="126" y="162"/>
                </a:lnTo>
                <a:lnTo>
                  <a:pt x="120" y="162"/>
                </a:lnTo>
                <a:lnTo>
                  <a:pt x="120" y="162"/>
                </a:lnTo>
                <a:lnTo>
                  <a:pt x="120" y="156"/>
                </a:lnTo>
                <a:lnTo>
                  <a:pt x="120" y="156"/>
                </a:lnTo>
                <a:lnTo>
                  <a:pt x="120" y="156"/>
                </a:lnTo>
                <a:lnTo>
                  <a:pt x="120" y="162"/>
                </a:lnTo>
                <a:lnTo>
                  <a:pt x="114" y="156"/>
                </a:lnTo>
                <a:lnTo>
                  <a:pt x="108" y="162"/>
                </a:lnTo>
                <a:lnTo>
                  <a:pt x="108" y="162"/>
                </a:lnTo>
                <a:lnTo>
                  <a:pt x="108" y="156"/>
                </a:lnTo>
                <a:lnTo>
                  <a:pt x="108" y="156"/>
                </a:lnTo>
                <a:lnTo>
                  <a:pt x="108" y="156"/>
                </a:lnTo>
                <a:lnTo>
                  <a:pt x="108" y="156"/>
                </a:lnTo>
                <a:lnTo>
                  <a:pt x="108" y="156"/>
                </a:lnTo>
                <a:lnTo>
                  <a:pt x="108" y="156"/>
                </a:lnTo>
                <a:lnTo>
                  <a:pt x="102" y="156"/>
                </a:lnTo>
                <a:lnTo>
                  <a:pt x="102" y="156"/>
                </a:lnTo>
                <a:lnTo>
                  <a:pt x="102" y="156"/>
                </a:lnTo>
                <a:lnTo>
                  <a:pt x="102" y="156"/>
                </a:lnTo>
                <a:lnTo>
                  <a:pt x="96" y="156"/>
                </a:lnTo>
                <a:lnTo>
                  <a:pt x="96" y="156"/>
                </a:lnTo>
                <a:lnTo>
                  <a:pt x="96" y="156"/>
                </a:lnTo>
                <a:lnTo>
                  <a:pt x="96" y="156"/>
                </a:lnTo>
                <a:lnTo>
                  <a:pt x="96" y="156"/>
                </a:lnTo>
                <a:lnTo>
                  <a:pt x="96" y="156"/>
                </a:lnTo>
                <a:lnTo>
                  <a:pt x="96" y="156"/>
                </a:lnTo>
                <a:lnTo>
                  <a:pt x="90" y="156"/>
                </a:lnTo>
                <a:lnTo>
                  <a:pt x="90" y="156"/>
                </a:lnTo>
                <a:lnTo>
                  <a:pt x="90" y="156"/>
                </a:lnTo>
                <a:lnTo>
                  <a:pt x="90" y="156"/>
                </a:lnTo>
                <a:lnTo>
                  <a:pt x="90" y="156"/>
                </a:lnTo>
                <a:lnTo>
                  <a:pt x="90" y="156"/>
                </a:lnTo>
                <a:lnTo>
                  <a:pt x="84" y="150"/>
                </a:lnTo>
                <a:lnTo>
                  <a:pt x="84" y="150"/>
                </a:lnTo>
                <a:lnTo>
                  <a:pt x="84" y="150"/>
                </a:lnTo>
                <a:lnTo>
                  <a:pt x="84" y="150"/>
                </a:lnTo>
                <a:lnTo>
                  <a:pt x="84" y="150"/>
                </a:lnTo>
                <a:lnTo>
                  <a:pt x="78" y="150"/>
                </a:lnTo>
                <a:lnTo>
                  <a:pt x="78" y="144"/>
                </a:lnTo>
                <a:lnTo>
                  <a:pt x="78" y="144"/>
                </a:lnTo>
                <a:lnTo>
                  <a:pt x="78" y="144"/>
                </a:lnTo>
                <a:lnTo>
                  <a:pt x="78" y="144"/>
                </a:lnTo>
                <a:lnTo>
                  <a:pt x="78" y="144"/>
                </a:lnTo>
                <a:lnTo>
                  <a:pt x="78" y="144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90" y="132"/>
                </a:lnTo>
                <a:lnTo>
                  <a:pt x="90" y="126"/>
                </a:lnTo>
                <a:lnTo>
                  <a:pt x="90" y="126"/>
                </a:lnTo>
                <a:lnTo>
                  <a:pt x="90" y="126"/>
                </a:lnTo>
                <a:lnTo>
                  <a:pt x="90" y="126"/>
                </a:lnTo>
                <a:lnTo>
                  <a:pt x="90" y="126"/>
                </a:lnTo>
                <a:lnTo>
                  <a:pt x="90" y="126"/>
                </a:lnTo>
                <a:lnTo>
                  <a:pt x="90" y="126"/>
                </a:lnTo>
                <a:lnTo>
                  <a:pt x="90" y="126"/>
                </a:lnTo>
                <a:lnTo>
                  <a:pt x="90" y="126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54" y="126"/>
                </a:lnTo>
                <a:lnTo>
                  <a:pt x="54" y="126"/>
                </a:lnTo>
                <a:lnTo>
                  <a:pt x="54" y="126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38"/>
                </a:lnTo>
                <a:lnTo>
                  <a:pt x="30" y="144"/>
                </a:lnTo>
                <a:lnTo>
                  <a:pt x="30" y="138"/>
                </a:lnTo>
                <a:lnTo>
                  <a:pt x="30" y="138"/>
                </a:lnTo>
                <a:lnTo>
                  <a:pt x="30" y="138"/>
                </a:lnTo>
                <a:lnTo>
                  <a:pt x="30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2"/>
                </a:lnTo>
                <a:lnTo>
                  <a:pt x="24" y="132"/>
                </a:lnTo>
                <a:lnTo>
                  <a:pt x="24" y="138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18" y="132"/>
                </a:lnTo>
                <a:lnTo>
                  <a:pt x="24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6" y="120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0" y="114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0"/>
                </a:lnTo>
                <a:lnTo>
                  <a:pt x="6" y="90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78"/>
                </a:lnTo>
                <a:lnTo>
                  <a:pt x="0" y="78"/>
                </a:lnTo>
                <a:lnTo>
                  <a:pt x="0" y="78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53" name="Freeform 286"/>
          <p:cNvSpPr>
            <a:spLocks/>
          </p:cNvSpPr>
          <p:nvPr/>
        </p:nvSpPr>
        <p:spPr bwMode="auto">
          <a:xfrm>
            <a:off x="7372202" y="3531139"/>
            <a:ext cx="211994" cy="250540"/>
          </a:xfrm>
          <a:custGeom>
            <a:avLst/>
            <a:gdLst>
              <a:gd name="T0" fmla="*/ 12 w 198"/>
              <a:gd name="T1" fmla="*/ 156 h 234"/>
              <a:gd name="T2" fmla="*/ 24 w 198"/>
              <a:gd name="T3" fmla="*/ 144 h 234"/>
              <a:gd name="T4" fmla="*/ 36 w 198"/>
              <a:gd name="T5" fmla="*/ 144 h 234"/>
              <a:gd name="T6" fmla="*/ 48 w 198"/>
              <a:gd name="T7" fmla="*/ 144 h 234"/>
              <a:gd name="T8" fmla="*/ 54 w 198"/>
              <a:gd name="T9" fmla="*/ 138 h 234"/>
              <a:gd name="T10" fmla="*/ 54 w 198"/>
              <a:gd name="T11" fmla="*/ 120 h 234"/>
              <a:gd name="T12" fmla="*/ 60 w 198"/>
              <a:gd name="T13" fmla="*/ 96 h 234"/>
              <a:gd name="T14" fmla="*/ 72 w 198"/>
              <a:gd name="T15" fmla="*/ 90 h 234"/>
              <a:gd name="T16" fmla="*/ 78 w 198"/>
              <a:gd name="T17" fmla="*/ 84 h 234"/>
              <a:gd name="T18" fmla="*/ 90 w 198"/>
              <a:gd name="T19" fmla="*/ 78 h 234"/>
              <a:gd name="T20" fmla="*/ 96 w 198"/>
              <a:gd name="T21" fmla="*/ 72 h 234"/>
              <a:gd name="T22" fmla="*/ 108 w 198"/>
              <a:gd name="T23" fmla="*/ 84 h 234"/>
              <a:gd name="T24" fmla="*/ 126 w 198"/>
              <a:gd name="T25" fmla="*/ 66 h 234"/>
              <a:gd name="T26" fmla="*/ 126 w 198"/>
              <a:gd name="T27" fmla="*/ 48 h 234"/>
              <a:gd name="T28" fmla="*/ 126 w 198"/>
              <a:gd name="T29" fmla="*/ 36 h 234"/>
              <a:gd name="T30" fmla="*/ 150 w 198"/>
              <a:gd name="T31" fmla="*/ 24 h 234"/>
              <a:gd name="T32" fmla="*/ 150 w 198"/>
              <a:gd name="T33" fmla="*/ 12 h 234"/>
              <a:gd name="T34" fmla="*/ 156 w 198"/>
              <a:gd name="T35" fmla="*/ 0 h 234"/>
              <a:gd name="T36" fmla="*/ 162 w 198"/>
              <a:gd name="T37" fmla="*/ 6 h 234"/>
              <a:gd name="T38" fmla="*/ 168 w 198"/>
              <a:gd name="T39" fmla="*/ 18 h 234"/>
              <a:gd name="T40" fmla="*/ 180 w 198"/>
              <a:gd name="T41" fmla="*/ 24 h 234"/>
              <a:gd name="T42" fmla="*/ 180 w 198"/>
              <a:gd name="T43" fmla="*/ 36 h 234"/>
              <a:gd name="T44" fmla="*/ 180 w 198"/>
              <a:gd name="T45" fmla="*/ 48 h 234"/>
              <a:gd name="T46" fmla="*/ 192 w 198"/>
              <a:gd name="T47" fmla="*/ 60 h 234"/>
              <a:gd name="T48" fmla="*/ 192 w 198"/>
              <a:gd name="T49" fmla="*/ 72 h 234"/>
              <a:gd name="T50" fmla="*/ 180 w 198"/>
              <a:gd name="T51" fmla="*/ 84 h 234"/>
              <a:gd name="T52" fmla="*/ 174 w 198"/>
              <a:gd name="T53" fmla="*/ 96 h 234"/>
              <a:gd name="T54" fmla="*/ 168 w 198"/>
              <a:gd name="T55" fmla="*/ 102 h 234"/>
              <a:gd name="T56" fmla="*/ 156 w 198"/>
              <a:gd name="T57" fmla="*/ 108 h 234"/>
              <a:gd name="T58" fmla="*/ 162 w 198"/>
              <a:gd name="T59" fmla="*/ 114 h 234"/>
              <a:gd name="T60" fmla="*/ 162 w 198"/>
              <a:gd name="T61" fmla="*/ 120 h 234"/>
              <a:gd name="T62" fmla="*/ 174 w 198"/>
              <a:gd name="T63" fmla="*/ 126 h 234"/>
              <a:gd name="T64" fmla="*/ 186 w 198"/>
              <a:gd name="T65" fmla="*/ 126 h 234"/>
              <a:gd name="T66" fmla="*/ 180 w 198"/>
              <a:gd name="T67" fmla="*/ 132 h 234"/>
              <a:gd name="T68" fmla="*/ 180 w 198"/>
              <a:gd name="T69" fmla="*/ 144 h 234"/>
              <a:gd name="T70" fmla="*/ 162 w 198"/>
              <a:gd name="T71" fmla="*/ 144 h 234"/>
              <a:gd name="T72" fmla="*/ 156 w 198"/>
              <a:gd name="T73" fmla="*/ 150 h 234"/>
              <a:gd name="T74" fmla="*/ 156 w 198"/>
              <a:gd name="T75" fmla="*/ 162 h 234"/>
              <a:gd name="T76" fmla="*/ 168 w 198"/>
              <a:gd name="T77" fmla="*/ 162 h 234"/>
              <a:gd name="T78" fmla="*/ 168 w 198"/>
              <a:gd name="T79" fmla="*/ 174 h 234"/>
              <a:gd name="T80" fmla="*/ 168 w 198"/>
              <a:gd name="T81" fmla="*/ 174 h 234"/>
              <a:gd name="T82" fmla="*/ 168 w 198"/>
              <a:gd name="T83" fmla="*/ 180 h 234"/>
              <a:gd name="T84" fmla="*/ 174 w 198"/>
              <a:gd name="T85" fmla="*/ 186 h 234"/>
              <a:gd name="T86" fmla="*/ 168 w 198"/>
              <a:gd name="T87" fmla="*/ 192 h 234"/>
              <a:gd name="T88" fmla="*/ 156 w 198"/>
              <a:gd name="T89" fmla="*/ 192 h 234"/>
              <a:gd name="T90" fmla="*/ 144 w 198"/>
              <a:gd name="T91" fmla="*/ 198 h 234"/>
              <a:gd name="T92" fmla="*/ 138 w 198"/>
              <a:gd name="T93" fmla="*/ 204 h 234"/>
              <a:gd name="T94" fmla="*/ 120 w 198"/>
              <a:gd name="T95" fmla="*/ 216 h 234"/>
              <a:gd name="T96" fmla="*/ 108 w 198"/>
              <a:gd name="T97" fmla="*/ 222 h 234"/>
              <a:gd name="T98" fmla="*/ 90 w 198"/>
              <a:gd name="T99" fmla="*/ 228 h 234"/>
              <a:gd name="T100" fmla="*/ 78 w 198"/>
              <a:gd name="T101" fmla="*/ 234 h 234"/>
              <a:gd name="T102" fmla="*/ 72 w 198"/>
              <a:gd name="T103" fmla="*/ 228 h 234"/>
              <a:gd name="T104" fmla="*/ 78 w 198"/>
              <a:gd name="T105" fmla="*/ 216 h 234"/>
              <a:gd name="T106" fmla="*/ 66 w 198"/>
              <a:gd name="T107" fmla="*/ 210 h 234"/>
              <a:gd name="T108" fmla="*/ 60 w 198"/>
              <a:gd name="T109" fmla="*/ 204 h 234"/>
              <a:gd name="T110" fmla="*/ 66 w 198"/>
              <a:gd name="T111" fmla="*/ 198 h 234"/>
              <a:gd name="T112" fmla="*/ 60 w 198"/>
              <a:gd name="T113" fmla="*/ 186 h 234"/>
              <a:gd name="T114" fmla="*/ 48 w 198"/>
              <a:gd name="T115" fmla="*/ 192 h 234"/>
              <a:gd name="T116" fmla="*/ 24 w 198"/>
              <a:gd name="T117" fmla="*/ 186 h 234"/>
              <a:gd name="T118" fmla="*/ 12 w 198"/>
              <a:gd name="T119" fmla="*/ 180 h 234"/>
              <a:gd name="T120" fmla="*/ 6 w 198"/>
              <a:gd name="T121" fmla="*/ 156 h 2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98" h="234">
                <a:moveTo>
                  <a:pt x="6" y="156"/>
                </a:moveTo>
                <a:lnTo>
                  <a:pt x="6" y="156"/>
                </a:lnTo>
                <a:lnTo>
                  <a:pt x="6" y="162"/>
                </a:lnTo>
                <a:lnTo>
                  <a:pt x="6" y="162"/>
                </a:lnTo>
                <a:lnTo>
                  <a:pt x="12" y="162"/>
                </a:lnTo>
                <a:lnTo>
                  <a:pt x="12" y="162"/>
                </a:lnTo>
                <a:lnTo>
                  <a:pt x="12" y="162"/>
                </a:lnTo>
                <a:lnTo>
                  <a:pt x="18" y="162"/>
                </a:lnTo>
                <a:lnTo>
                  <a:pt x="18" y="162"/>
                </a:lnTo>
                <a:lnTo>
                  <a:pt x="18" y="162"/>
                </a:lnTo>
                <a:lnTo>
                  <a:pt x="12" y="156"/>
                </a:lnTo>
                <a:lnTo>
                  <a:pt x="12" y="156"/>
                </a:lnTo>
                <a:lnTo>
                  <a:pt x="12" y="156"/>
                </a:lnTo>
                <a:lnTo>
                  <a:pt x="12" y="150"/>
                </a:lnTo>
                <a:lnTo>
                  <a:pt x="18" y="150"/>
                </a:lnTo>
                <a:lnTo>
                  <a:pt x="18" y="150"/>
                </a:lnTo>
                <a:lnTo>
                  <a:pt x="18" y="150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6" y="144"/>
                </a:lnTo>
                <a:lnTo>
                  <a:pt x="36" y="144"/>
                </a:lnTo>
                <a:lnTo>
                  <a:pt x="36" y="144"/>
                </a:lnTo>
                <a:lnTo>
                  <a:pt x="36" y="144"/>
                </a:lnTo>
                <a:lnTo>
                  <a:pt x="36" y="144"/>
                </a:lnTo>
                <a:lnTo>
                  <a:pt x="42" y="144"/>
                </a:lnTo>
                <a:lnTo>
                  <a:pt x="42" y="138"/>
                </a:lnTo>
                <a:lnTo>
                  <a:pt x="42" y="138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50"/>
                </a:lnTo>
                <a:lnTo>
                  <a:pt x="54" y="144"/>
                </a:lnTo>
                <a:lnTo>
                  <a:pt x="54" y="144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26"/>
                </a:lnTo>
                <a:lnTo>
                  <a:pt x="54" y="126"/>
                </a:lnTo>
                <a:lnTo>
                  <a:pt x="54" y="126"/>
                </a:lnTo>
                <a:lnTo>
                  <a:pt x="54" y="126"/>
                </a:lnTo>
                <a:lnTo>
                  <a:pt x="54" y="120"/>
                </a:lnTo>
                <a:lnTo>
                  <a:pt x="54" y="120"/>
                </a:lnTo>
                <a:lnTo>
                  <a:pt x="54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60" y="102"/>
                </a:lnTo>
                <a:lnTo>
                  <a:pt x="60" y="102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72" y="96"/>
                </a:lnTo>
                <a:lnTo>
                  <a:pt x="72" y="96"/>
                </a:lnTo>
                <a:lnTo>
                  <a:pt x="66" y="96"/>
                </a:lnTo>
                <a:lnTo>
                  <a:pt x="66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84"/>
                </a:lnTo>
                <a:lnTo>
                  <a:pt x="72" y="84"/>
                </a:lnTo>
                <a:lnTo>
                  <a:pt x="78" y="90"/>
                </a:lnTo>
                <a:lnTo>
                  <a:pt x="78" y="84"/>
                </a:lnTo>
                <a:lnTo>
                  <a:pt x="78" y="90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2"/>
                </a:lnTo>
                <a:lnTo>
                  <a:pt x="90" y="72"/>
                </a:lnTo>
                <a:lnTo>
                  <a:pt x="90" y="78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6" y="72"/>
                </a:lnTo>
                <a:lnTo>
                  <a:pt x="96" y="72"/>
                </a:lnTo>
                <a:lnTo>
                  <a:pt x="90" y="66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8"/>
                </a:lnTo>
                <a:lnTo>
                  <a:pt x="96" y="78"/>
                </a:lnTo>
                <a:lnTo>
                  <a:pt x="96" y="84"/>
                </a:lnTo>
                <a:lnTo>
                  <a:pt x="96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78"/>
                </a:lnTo>
                <a:lnTo>
                  <a:pt x="108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72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20" y="66"/>
                </a:lnTo>
                <a:lnTo>
                  <a:pt x="120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32" y="36"/>
                </a:lnTo>
                <a:lnTo>
                  <a:pt x="132" y="36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6" y="6"/>
                </a:lnTo>
                <a:lnTo>
                  <a:pt x="156" y="6"/>
                </a:lnTo>
                <a:lnTo>
                  <a:pt x="150" y="0"/>
                </a:lnTo>
                <a:lnTo>
                  <a:pt x="156" y="0"/>
                </a:lnTo>
                <a:lnTo>
                  <a:pt x="156" y="0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62" y="6"/>
                </a:lnTo>
                <a:lnTo>
                  <a:pt x="156" y="6"/>
                </a:lnTo>
                <a:lnTo>
                  <a:pt x="162" y="6"/>
                </a:lnTo>
                <a:lnTo>
                  <a:pt x="162" y="6"/>
                </a:lnTo>
                <a:lnTo>
                  <a:pt x="162" y="6"/>
                </a:lnTo>
                <a:lnTo>
                  <a:pt x="162" y="6"/>
                </a:lnTo>
                <a:lnTo>
                  <a:pt x="162" y="6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74" y="18"/>
                </a:lnTo>
                <a:lnTo>
                  <a:pt x="174" y="18"/>
                </a:lnTo>
                <a:lnTo>
                  <a:pt x="174" y="18"/>
                </a:lnTo>
                <a:lnTo>
                  <a:pt x="174" y="18"/>
                </a:lnTo>
                <a:lnTo>
                  <a:pt x="174" y="18"/>
                </a:lnTo>
                <a:lnTo>
                  <a:pt x="174" y="18"/>
                </a:lnTo>
                <a:lnTo>
                  <a:pt x="174" y="18"/>
                </a:lnTo>
                <a:lnTo>
                  <a:pt x="174" y="24"/>
                </a:lnTo>
                <a:lnTo>
                  <a:pt x="174" y="24"/>
                </a:lnTo>
                <a:lnTo>
                  <a:pt x="180" y="24"/>
                </a:lnTo>
                <a:lnTo>
                  <a:pt x="174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42"/>
                </a:lnTo>
                <a:lnTo>
                  <a:pt x="180" y="42"/>
                </a:lnTo>
                <a:lnTo>
                  <a:pt x="180" y="42"/>
                </a:lnTo>
                <a:lnTo>
                  <a:pt x="180" y="42"/>
                </a:lnTo>
                <a:lnTo>
                  <a:pt x="180" y="42"/>
                </a:lnTo>
                <a:lnTo>
                  <a:pt x="180" y="48"/>
                </a:lnTo>
                <a:lnTo>
                  <a:pt x="180" y="48"/>
                </a:lnTo>
                <a:lnTo>
                  <a:pt x="180" y="48"/>
                </a:lnTo>
                <a:lnTo>
                  <a:pt x="186" y="48"/>
                </a:lnTo>
                <a:lnTo>
                  <a:pt x="186" y="48"/>
                </a:lnTo>
                <a:lnTo>
                  <a:pt x="186" y="48"/>
                </a:lnTo>
                <a:lnTo>
                  <a:pt x="186" y="54"/>
                </a:lnTo>
                <a:lnTo>
                  <a:pt x="186" y="54"/>
                </a:lnTo>
                <a:lnTo>
                  <a:pt x="186" y="54"/>
                </a:lnTo>
                <a:lnTo>
                  <a:pt x="186" y="54"/>
                </a:lnTo>
                <a:lnTo>
                  <a:pt x="186" y="54"/>
                </a:lnTo>
                <a:lnTo>
                  <a:pt x="186" y="60"/>
                </a:lnTo>
                <a:lnTo>
                  <a:pt x="192" y="60"/>
                </a:lnTo>
                <a:lnTo>
                  <a:pt x="192" y="60"/>
                </a:lnTo>
                <a:lnTo>
                  <a:pt x="192" y="60"/>
                </a:lnTo>
                <a:lnTo>
                  <a:pt x="192" y="60"/>
                </a:lnTo>
                <a:lnTo>
                  <a:pt x="192" y="60"/>
                </a:lnTo>
                <a:lnTo>
                  <a:pt x="198" y="66"/>
                </a:lnTo>
                <a:lnTo>
                  <a:pt x="192" y="66"/>
                </a:lnTo>
                <a:lnTo>
                  <a:pt x="192" y="66"/>
                </a:lnTo>
                <a:lnTo>
                  <a:pt x="192" y="66"/>
                </a:lnTo>
                <a:lnTo>
                  <a:pt x="192" y="72"/>
                </a:lnTo>
                <a:lnTo>
                  <a:pt x="192" y="72"/>
                </a:lnTo>
                <a:lnTo>
                  <a:pt x="192" y="72"/>
                </a:lnTo>
                <a:lnTo>
                  <a:pt x="192" y="72"/>
                </a:lnTo>
                <a:lnTo>
                  <a:pt x="192" y="72"/>
                </a:lnTo>
                <a:lnTo>
                  <a:pt x="192" y="78"/>
                </a:lnTo>
                <a:lnTo>
                  <a:pt x="186" y="78"/>
                </a:lnTo>
                <a:lnTo>
                  <a:pt x="186" y="78"/>
                </a:lnTo>
                <a:lnTo>
                  <a:pt x="186" y="78"/>
                </a:lnTo>
                <a:lnTo>
                  <a:pt x="180" y="78"/>
                </a:lnTo>
                <a:lnTo>
                  <a:pt x="186" y="84"/>
                </a:lnTo>
                <a:lnTo>
                  <a:pt x="180" y="84"/>
                </a:lnTo>
                <a:lnTo>
                  <a:pt x="180" y="84"/>
                </a:lnTo>
                <a:lnTo>
                  <a:pt x="180" y="84"/>
                </a:lnTo>
                <a:lnTo>
                  <a:pt x="180" y="84"/>
                </a:lnTo>
                <a:lnTo>
                  <a:pt x="180" y="84"/>
                </a:lnTo>
                <a:lnTo>
                  <a:pt x="180" y="84"/>
                </a:lnTo>
                <a:lnTo>
                  <a:pt x="180" y="84"/>
                </a:lnTo>
                <a:lnTo>
                  <a:pt x="174" y="84"/>
                </a:lnTo>
                <a:lnTo>
                  <a:pt x="174" y="84"/>
                </a:lnTo>
                <a:lnTo>
                  <a:pt x="174" y="84"/>
                </a:lnTo>
                <a:lnTo>
                  <a:pt x="174" y="84"/>
                </a:lnTo>
                <a:lnTo>
                  <a:pt x="174" y="84"/>
                </a:lnTo>
                <a:lnTo>
                  <a:pt x="174" y="90"/>
                </a:lnTo>
                <a:lnTo>
                  <a:pt x="174" y="90"/>
                </a:lnTo>
                <a:lnTo>
                  <a:pt x="174" y="90"/>
                </a:lnTo>
                <a:lnTo>
                  <a:pt x="174" y="96"/>
                </a:lnTo>
                <a:lnTo>
                  <a:pt x="174" y="96"/>
                </a:lnTo>
                <a:lnTo>
                  <a:pt x="174" y="96"/>
                </a:lnTo>
                <a:lnTo>
                  <a:pt x="174" y="96"/>
                </a:lnTo>
                <a:lnTo>
                  <a:pt x="174" y="96"/>
                </a:lnTo>
                <a:lnTo>
                  <a:pt x="174" y="96"/>
                </a:lnTo>
                <a:lnTo>
                  <a:pt x="168" y="96"/>
                </a:lnTo>
                <a:lnTo>
                  <a:pt x="168" y="96"/>
                </a:lnTo>
                <a:lnTo>
                  <a:pt x="168" y="96"/>
                </a:lnTo>
                <a:lnTo>
                  <a:pt x="168" y="96"/>
                </a:lnTo>
                <a:lnTo>
                  <a:pt x="168" y="96"/>
                </a:lnTo>
                <a:lnTo>
                  <a:pt x="168" y="102"/>
                </a:lnTo>
                <a:lnTo>
                  <a:pt x="168" y="102"/>
                </a:lnTo>
                <a:lnTo>
                  <a:pt x="168" y="102"/>
                </a:lnTo>
                <a:lnTo>
                  <a:pt x="162" y="102"/>
                </a:lnTo>
                <a:lnTo>
                  <a:pt x="162" y="102"/>
                </a:lnTo>
                <a:lnTo>
                  <a:pt x="162" y="102"/>
                </a:lnTo>
                <a:lnTo>
                  <a:pt x="162" y="102"/>
                </a:lnTo>
                <a:lnTo>
                  <a:pt x="156" y="102"/>
                </a:lnTo>
                <a:lnTo>
                  <a:pt x="156" y="102"/>
                </a:lnTo>
                <a:lnTo>
                  <a:pt x="156" y="102"/>
                </a:lnTo>
                <a:lnTo>
                  <a:pt x="156" y="102"/>
                </a:lnTo>
                <a:lnTo>
                  <a:pt x="156" y="102"/>
                </a:lnTo>
                <a:lnTo>
                  <a:pt x="156" y="102"/>
                </a:lnTo>
                <a:lnTo>
                  <a:pt x="156" y="108"/>
                </a:lnTo>
                <a:lnTo>
                  <a:pt x="156" y="108"/>
                </a:lnTo>
                <a:lnTo>
                  <a:pt x="156" y="108"/>
                </a:lnTo>
                <a:lnTo>
                  <a:pt x="156" y="108"/>
                </a:lnTo>
                <a:lnTo>
                  <a:pt x="156" y="108"/>
                </a:lnTo>
                <a:lnTo>
                  <a:pt x="156" y="108"/>
                </a:lnTo>
                <a:lnTo>
                  <a:pt x="156" y="108"/>
                </a:lnTo>
                <a:lnTo>
                  <a:pt x="156" y="108"/>
                </a:lnTo>
                <a:lnTo>
                  <a:pt x="156" y="108"/>
                </a:lnTo>
                <a:lnTo>
                  <a:pt x="156" y="114"/>
                </a:lnTo>
                <a:lnTo>
                  <a:pt x="156" y="114"/>
                </a:lnTo>
                <a:lnTo>
                  <a:pt x="162" y="114"/>
                </a:lnTo>
                <a:lnTo>
                  <a:pt x="162" y="114"/>
                </a:lnTo>
                <a:lnTo>
                  <a:pt x="162" y="114"/>
                </a:lnTo>
                <a:lnTo>
                  <a:pt x="162" y="114"/>
                </a:lnTo>
                <a:lnTo>
                  <a:pt x="162" y="114"/>
                </a:lnTo>
                <a:lnTo>
                  <a:pt x="168" y="120"/>
                </a:lnTo>
                <a:lnTo>
                  <a:pt x="168" y="120"/>
                </a:lnTo>
                <a:lnTo>
                  <a:pt x="168" y="120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68" y="120"/>
                </a:lnTo>
                <a:lnTo>
                  <a:pt x="168" y="120"/>
                </a:lnTo>
                <a:lnTo>
                  <a:pt x="168" y="120"/>
                </a:lnTo>
                <a:lnTo>
                  <a:pt x="168" y="120"/>
                </a:lnTo>
                <a:lnTo>
                  <a:pt x="168" y="120"/>
                </a:lnTo>
                <a:lnTo>
                  <a:pt x="168" y="126"/>
                </a:lnTo>
                <a:lnTo>
                  <a:pt x="168" y="126"/>
                </a:lnTo>
                <a:lnTo>
                  <a:pt x="174" y="126"/>
                </a:lnTo>
                <a:lnTo>
                  <a:pt x="174" y="126"/>
                </a:lnTo>
                <a:lnTo>
                  <a:pt x="174" y="126"/>
                </a:lnTo>
                <a:lnTo>
                  <a:pt x="174" y="126"/>
                </a:lnTo>
                <a:lnTo>
                  <a:pt x="174" y="126"/>
                </a:lnTo>
                <a:lnTo>
                  <a:pt x="174" y="126"/>
                </a:lnTo>
                <a:lnTo>
                  <a:pt x="174" y="126"/>
                </a:lnTo>
                <a:lnTo>
                  <a:pt x="180" y="126"/>
                </a:lnTo>
                <a:lnTo>
                  <a:pt x="180" y="126"/>
                </a:lnTo>
                <a:lnTo>
                  <a:pt x="180" y="120"/>
                </a:lnTo>
                <a:lnTo>
                  <a:pt x="180" y="120"/>
                </a:lnTo>
                <a:lnTo>
                  <a:pt x="180" y="126"/>
                </a:lnTo>
                <a:lnTo>
                  <a:pt x="180" y="126"/>
                </a:lnTo>
                <a:lnTo>
                  <a:pt x="180" y="126"/>
                </a:lnTo>
                <a:lnTo>
                  <a:pt x="180" y="126"/>
                </a:lnTo>
                <a:lnTo>
                  <a:pt x="186" y="126"/>
                </a:lnTo>
                <a:lnTo>
                  <a:pt x="186" y="126"/>
                </a:lnTo>
                <a:lnTo>
                  <a:pt x="186" y="126"/>
                </a:lnTo>
                <a:lnTo>
                  <a:pt x="186" y="126"/>
                </a:lnTo>
                <a:lnTo>
                  <a:pt x="186" y="126"/>
                </a:lnTo>
                <a:lnTo>
                  <a:pt x="186" y="126"/>
                </a:lnTo>
                <a:lnTo>
                  <a:pt x="186" y="132"/>
                </a:lnTo>
                <a:lnTo>
                  <a:pt x="186" y="132"/>
                </a:lnTo>
                <a:lnTo>
                  <a:pt x="186" y="132"/>
                </a:lnTo>
                <a:lnTo>
                  <a:pt x="186" y="132"/>
                </a:lnTo>
                <a:lnTo>
                  <a:pt x="186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8"/>
                </a:lnTo>
                <a:lnTo>
                  <a:pt x="180" y="138"/>
                </a:lnTo>
                <a:lnTo>
                  <a:pt x="180" y="138"/>
                </a:lnTo>
                <a:lnTo>
                  <a:pt x="180" y="138"/>
                </a:lnTo>
                <a:lnTo>
                  <a:pt x="180" y="138"/>
                </a:lnTo>
                <a:lnTo>
                  <a:pt x="180" y="138"/>
                </a:lnTo>
                <a:lnTo>
                  <a:pt x="180" y="138"/>
                </a:lnTo>
                <a:lnTo>
                  <a:pt x="180" y="138"/>
                </a:lnTo>
                <a:lnTo>
                  <a:pt x="180" y="138"/>
                </a:lnTo>
                <a:lnTo>
                  <a:pt x="180" y="144"/>
                </a:lnTo>
                <a:lnTo>
                  <a:pt x="174" y="144"/>
                </a:lnTo>
                <a:lnTo>
                  <a:pt x="174" y="144"/>
                </a:lnTo>
                <a:lnTo>
                  <a:pt x="174" y="144"/>
                </a:lnTo>
                <a:lnTo>
                  <a:pt x="174" y="144"/>
                </a:lnTo>
                <a:lnTo>
                  <a:pt x="174" y="144"/>
                </a:lnTo>
                <a:lnTo>
                  <a:pt x="168" y="144"/>
                </a:lnTo>
                <a:lnTo>
                  <a:pt x="168" y="144"/>
                </a:lnTo>
                <a:lnTo>
                  <a:pt x="168" y="144"/>
                </a:lnTo>
                <a:lnTo>
                  <a:pt x="168" y="144"/>
                </a:lnTo>
                <a:lnTo>
                  <a:pt x="168" y="144"/>
                </a:lnTo>
                <a:lnTo>
                  <a:pt x="168" y="144"/>
                </a:lnTo>
                <a:lnTo>
                  <a:pt x="162" y="144"/>
                </a:lnTo>
                <a:lnTo>
                  <a:pt x="162" y="144"/>
                </a:lnTo>
                <a:lnTo>
                  <a:pt x="162" y="144"/>
                </a:lnTo>
                <a:lnTo>
                  <a:pt x="162" y="150"/>
                </a:lnTo>
                <a:lnTo>
                  <a:pt x="156" y="150"/>
                </a:lnTo>
                <a:lnTo>
                  <a:pt x="156" y="150"/>
                </a:lnTo>
                <a:lnTo>
                  <a:pt x="156" y="150"/>
                </a:lnTo>
                <a:lnTo>
                  <a:pt x="156" y="150"/>
                </a:lnTo>
                <a:lnTo>
                  <a:pt x="156" y="150"/>
                </a:lnTo>
                <a:lnTo>
                  <a:pt x="156" y="150"/>
                </a:lnTo>
                <a:lnTo>
                  <a:pt x="156" y="150"/>
                </a:lnTo>
                <a:lnTo>
                  <a:pt x="156" y="150"/>
                </a:lnTo>
                <a:lnTo>
                  <a:pt x="156" y="150"/>
                </a:lnTo>
                <a:lnTo>
                  <a:pt x="156" y="150"/>
                </a:lnTo>
                <a:lnTo>
                  <a:pt x="156" y="156"/>
                </a:lnTo>
                <a:lnTo>
                  <a:pt x="156" y="156"/>
                </a:lnTo>
                <a:lnTo>
                  <a:pt x="156" y="156"/>
                </a:lnTo>
                <a:lnTo>
                  <a:pt x="156" y="156"/>
                </a:lnTo>
                <a:lnTo>
                  <a:pt x="156" y="156"/>
                </a:lnTo>
                <a:lnTo>
                  <a:pt x="156" y="156"/>
                </a:lnTo>
                <a:lnTo>
                  <a:pt x="156" y="156"/>
                </a:lnTo>
                <a:lnTo>
                  <a:pt x="156" y="156"/>
                </a:lnTo>
                <a:lnTo>
                  <a:pt x="156" y="156"/>
                </a:lnTo>
                <a:lnTo>
                  <a:pt x="156" y="156"/>
                </a:lnTo>
                <a:lnTo>
                  <a:pt x="156" y="162"/>
                </a:lnTo>
                <a:lnTo>
                  <a:pt x="162" y="156"/>
                </a:lnTo>
                <a:lnTo>
                  <a:pt x="162" y="162"/>
                </a:lnTo>
                <a:lnTo>
                  <a:pt x="162" y="162"/>
                </a:lnTo>
                <a:lnTo>
                  <a:pt x="162" y="162"/>
                </a:lnTo>
                <a:lnTo>
                  <a:pt x="162" y="162"/>
                </a:lnTo>
                <a:lnTo>
                  <a:pt x="162" y="162"/>
                </a:lnTo>
                <a:lnTo>
                  <a:pt x="162" y="162"/>
                </a:lnTo>
                <a:lnTo>
                  <a:pt x="162" y="162"/>
                </a:lnTo>
                <a:lnTo>
                  <a:pt x="162" y="162"/>
                </a:lnTo>
                <a:lnTo>
                  <a:pt x="162" y="162"/>
                </a:lnTo>
                <a:lnTo>
                  <a:pt x="162" y="162"/>
                </a:lnTo>
                <a:lnTo>
                  <a:pt x="168" y="162"/>
                </a:lnTo>
                <a:lnTo>
                  <a:pt x="162" y="162"/>
                </a:lnTo>
                <a:lnTo>
                  <a:pt x="168" y="168"/>
                </a:lnTo>
                <a:lnTo>
                  <a:pt x="168" y="168"/>
                </a:lnTo>
                <a:lnTo>
                  <a:pt x="168" y="168"/>
                </a:lnTo>
                <a:lnTo>
                  <a:pt x="168" y="168"/>
                </a:lnTo>
                <a:lnTo>
                  <a:pt x="168" y="168"/>
                </a:lnTo>
                <a:lnTo>
                  <a:pt x="168" y="168"/>
                </a:lnTo>
                <a:lnTo>
                  <a:pt x="168" y="168"/>
                </a:lnTo>
                <a:lnTo>
                  <a:pt x="168" y="168"/>
                </a:lnTo>
                <a:lnTo>
                  <a:pt x="168" y="174"/>
                </a:lnTo>
                <a:lnTo>
                  <a:pt x="168" y="174"/>
                </a:lnTo>
                <a:lnTo>
                  <a:pt x="168" y="174"/>
                </a:lnTo>
                <a:lnTo>
                  <a:pt x="168" y="174"/>
                </a:lnTo>
                <a:lnTo>
                  <a:pt x="168" y="174"/>
                </a:lnTo>
                <a:lnTo>
                  <a:pt x="168" y="174"/>
                </a:lnTo>
                <a:lnTo>
                  <a:pt x="168" y="174"/>
                </a:lnTo>
                <a:lnTo>
                  <a:pt x="168" y="174"/>
                </a:lnTo>
                <a:lnTo>
                  <a:pt x="168" y="174"/>
                </a:lnTo>
                <a:lnTo>
                  <a:pt x="168" y="174"/>
                </a:lnTo>
                <a:lnTo>
                  <a:pt x="168" y="174"/>
                </a:lnTo>
                <a:lnTo>
                  <a:pt x="168" y="174"/>
                </a:lnTo>
                <a:lnTo>
                  <a:pt x="168" y="174"/>
                </a:lnTo>
                <a:lnTo>
                  <a:pt x="168" y="174"/>
                </a:lnTo>
                <a:lnTo>
                  <a:pt x="168" y="174"/>
                </a:lnTo>
                <a:lnTo>
                  <a:pt x="168" y="174"/>
                </a:lnTo>
                <a:lnTo>
                  <a:pt x="168" y="180"/>
                </a:lnTo>
                <a:lnTo>
                  <a:pt x="168" y="180"/>
                </a:lnTo>
                <a:lnTo>
                  <a:pt x="168" y="180"/>
                </a:lnTo>
                <a:lnTo>
                  <a:pt x="168" y="180"/>
                </a:lnTo>
                <a:lnTo>
                  <a:pt x="168" y="180"/>
                </a:lnTo>
                <a:lnTo>
                  <a:pt x="168" y="180"/>
                </a:lnTo>
                <a:lnTo>
                  <a:pt x="168" y="180"/>
                </a:lnTo>
                <a:lnTo>
                  <a:pt x="168" y="180"/>
                </a:lnTo>
                <a:lnTo>
                  <a:pt x="168" y="180"/>
                </a:lnTo>
                <a:lnTo>
                  <a:pt x="168" y="180"/>
                </a:lnTo>
                <a:lnTo>
                  <a:pt x="168" y="180"/>
                </a:lnTo>
                <a:lnTo>
                  <a:pt x="168" y="180"/>
                </a:lnTo>
                <a:lnTo>
                  <a:pt x="168" y="180"/>
                </a:lnTo>
                <a:lnTo>
                  <a:pt x="168" y="180"/>
                </a:lnTo>
                <a:lnTo>
                  <a:pt x="168" y="180"/>
                </a:lnTo>
                <a:lnTo>
                  <a:pt x="168" y="180"/>
                </a:lnTo>
                <a:lnTo>
                  <a:pt x="168" y="186"/>
                </a:lnTo>
                <a:lnTo>
                  <a:pt x="168" y="186"/>
                </a:lnTo>
                <a:lnTo>
                  <a:pt x="168" y="186"/>
                </a:lnTo>
                <a:lnTo>
                  <a:pt x="168" y="186"/>
                </a:lnTo>
                <a:lnTo>
                  <a:pt x="174" y="186"/>
                </a:lnTo>
                <a:lnTo>
                  <a:pt x="174" y="186"/>
                </a:lnTo>
                <a:lnTo>
                  <a:pt x="174" y="186"/>
                </a:lnTo>
                <a:lnTo>
                  <a:pt x="174" y="186"/>
                </a:lnTo>
                <a:lnTo>
                  <a:pt x="168" y="186"/>
                </a:lnTo>
                <a:lnTo>
                  <a:pt x="168" y="186"/>
                </a:lnTo>
                <a:lnTo>
                  <a:pt x="168" y="186"/>
                </a:lnTo>
                <a:lnTo>
                  <a:pt x="168" y="186"/>
                </a:lnTo>
                <a:lnTo>
                  <a:pt x="168" y="186"/>
                </a:lnTo>
                <a:lnTo>
                  <a:pt x="168" y="186"/>
                </a:lnTo>
                <a:lnTo>
                  <a:pt x="168" y="192"/>
                </a:lnTo>
                <a:lnTo>
                  <a:pt x="168" y="192"/>
                </a:lnTo>
                <a:lnTo>
                  <a:pt x="168" y="192"/>
                </a:lnTo>
                <a:lnTo>
                  <a:pt x="168" y="192"/>
                </a:lnTo>
                <a:lnTo>
                  <a:pt x="168" y="192"/>
                </a:lnTo>
                <a:lnTo>
                  <a:pt x="168" y="192"/>
                </a:lnTo>
                <a:lnTo>
                  <a:pt x="168" y="198"/>
                </a:lnTo>
                <a:lnTo>
                  <a:pt x="162" y="198"/>
                </a:lnTo>
                <a:lnTo>
                  <a:pt x="162" y="198"/>
                </a:lnTo>
                <a:lnTo>
                  <a:pt x="162" y="192"/>
                </a:lnTo>
                <a:lnTo>
                  <a:pt x="162" y="192"/>
                </a:lnTo>
                <a:lnTo>
                  <a:pt x="162" y="192"/>
                </a:lnTo>
                <a:lnTo>
                  <a:pt x="162" y="192"/>
                </a:lnTo>
                <a:lnTo>
                  <a:pt x="156" y="192"/>
                </a:lnTo>
                <a:lnTo>
                  <a:pt x="156" y="192"/>
                </a:lnTo>
                <a:lnTo>
                  <a:pt x="156" y="192"/>
                </a:lnTo>
                <a:lnTo>
                  <a:pt x="156" y="192"/>
                </a:lnTo>
                <a:lnTo>
                  <a:pt x="156" y="192"/>
                </a:lnTo>
                <a:lnTo>
                  <a:pt x="156" y="192"/>
                </a:lnTo>
                <a:lnTo>
                  <a:pt x="156" y="192"/>
                </a:lnTo>
                <a:lnTo>
                  <a:pt x="156" y="198"/>
                </a:lnTo>
                <a:lnTo>
                  <a:pt x="150" y="198"/>
                </a:lnTo>
                <a:lnTo>
                  <a:pt x="150" y="198"/>
                </a:lnTo>
                <a:lnTo>
                  <a:pt x="150" y="198"/>
                </a:lnTo>
                <a:lnTo>
                  <a:pt x="150" y="198"/>
                </a:lnTo>
                <a:lnTo>
                  <a:pt x="144" y="198"/>
                </a:lnTo>
                <a:lnTo>
                  <a:pt x="144" y="198"/>
                </a:lnTo>
                <a:lnTo>
                  <a:pt x="144" y="198"/>
                </a:lnTo>
                <a:lnTo>
                  <a:pt x="144" y="198"/>
                </a:lnTo>
                <a:lnTo>
                  <a:pt x="144" y="198"/>
                </a:lnTo>
                <a:lnTo>
                  <a:pt x="144" y="198"/>
                </a:lnTo>
                <a:lnTo>
                  <a:pt x="144" y="198"/>
                </a:lnTo>
                <a:lnTo>
                  <a:pt x="144" y="198"/>
                </a:lnTo>
                <a:lnTo>
                  <a:pt x="138" y="198"/>
                </a:lnTo>
                <a:lnTo>
                  <a:pt x="138" y="198"/>
                </a:lnTo>
                <a:lnTo>
                  <a:pt x="138" y="198"/>
                </a:lnTo>
                <a:lnTo>
                  <a:pt x="138" y="198"/>
                </a:lnTo>
                <a:lnTo>
                  <a:pt x="138" y="198"/>
                </a:lnTo>
                <a:lnTo>
                  <a:pt x="138" y="198"/>
                </a:lnTo>
                <a:lnTo>
                  <a:pt x="138" y="198"/>
                </a:lnTo>
                <a:lnTo>
                  <a:pt x="138" y="204"/>
                </a:lnTo>
                <a:lnTo>
                  <a:pt x="132" y="204"/>
                </a:lnTo>
                <a:lnTo>
                  <a:pt x="132" y="204"/>
                </a:lnTo>
                <a:lnTo>
                  <a:pt x="132" y="204"/>
                </a:lnTo>
                <a:lnTo>
                  <a:pt x="132" y="204"/>
                </a:lnTo>
                <a:lnTo>
                  <a:pt x="132" y="204"/>
                </a:lnTo>
                <a:lnTo>
                  <a:pt x="126" y="210"/>
                </a:lnTo>
                <a:lnTo>
                  <a:pt x="126" y="210"/>
                </a:lnTo>
                <a:lnTo>
                  <a:pt x="126" y="210"/>
                </a:lnTo>
                <a:lnTo>
                  <a:pt x="126" y="210"/>
                </a:lnTo>
                <a:lnTo>
                  <a:pt x="120" y="210"/>
                </a:lnTo>
                <a:lnTo>
                  <a:pt x="120" y="216"/>
                </a:lnTo>
                <a:lnTo>
                  <a:pt x="120" y="216"/>
                </a:lnTo>
                <a:lnTo>
                  <a:pt x="120" y="216"/>
                </a:lnTo>
                <a:lnTo>
                  <a:pt x="114" y="216"/>
                </a:lnTo>
                <a:lnTo>
                  <a:pt x="114" y="216"/>
                </a:lnTo>
                <a:lnTo>
                  <a:pt x="114" y="216"/>
                </a:lnTo>
                <a:lnTo>
                  <a:pt x="114" y="222"/>
                </a:lnTo>
                <a:lnTo>
                  <a:pt x="114" y="222"/>
                </a:lnTo>
                <a:lnTo>
                  <a:pt x="114" y="222"/>
                </a:lnTo>
                <a:lnTo>
                  <a:pt x="114" y="222"/>
                </a:lnTo>
                <a:lnTo>
                  <a:pt x="114" y="222"/>
                </a:lnTo>
                <a:lnTo>
                  <a:pt x="108" y="222"/>
                </a:lnTo>
                <a:lnTo>
                  <a:pt x="108" y="222"/>
                </a:lnTo>
                <a:lnTo>
                  <a:pt x="108" y="222"/>
                </a:lnTo>
                <a:lnTo>
                  <a:pt x="102" y="228"/>
                </a:lnTo>
                <a:lnTo>
                  <a:pt x="102" y="228"/>
                </a:lnTo>
                <a:lnTo>
                  <a:pt x="102" y="228"/>
                </a:lnTo>
                <a:lnTo>
                  <a:pt x="102" y="228"/>
                </a:lnTo>
                <a:lnTo>
                  <a:pt x="102" y="228"/>
                </a:lnTo>
                <a:lnTo>
                  <a:pt x="96" y="228"/>
                </a:lnTo>
                <a:lnTo>
                  <a:pt x="96" y="228"/>
                </a:lnTo>
                <a:lnTo>
                  <a:pt x="96" y="228"/>
                </a:lnTo>
                <a:lnTo>
                  <a:pt x="96" y="228"/>
                </a:lnTo>
                <a:lnTo>
                  <a:pt x="96" y="228"/>
                </a:lnTo>
                <a:lnTo>
                  <a:pt x="90" y="228"/>
                </a:lnTo>
                <a:lnTo>
                  <a:pt x="90" y="228"/>
                </a:lnTo>
                <a:lnTo>
                  <a:pt x="90" y="234"/>
                </a:lnTo>
                <a:lnTo>
                  <a:pt x="90" y="234"/>
                </a:lnTo>
                <a:lnTo>
                  <a:pt x="84" y="234"/>
                </a:lnTo>
                <a:lnTo>
                  <a:pt x="84" y="234"/>
                </a:lnTo>
                <a:lnTo>
                  <a:pt x="84" y="234"/>
                </a:lnTo>
                <a:lnTo>
                  <a:pt x="84" y="234"/>
                </a:lnTo>
                <a:lnTo>
                  <a:pt x="84" y="234"/>
                </a:lnTo>
                <a:lnTo>
                  <a:pt x="84" y="234"/>
                </a:lnTo>
                <a:lnTo>
                  <a:pt x="84" y="234"/>
                </a:lnTo>
                <a:lnTo>
                  <a:pt x="84" y="234"/>
                </a:lnTo>
                <a:lnTo>
                  <a:pt x="78" y="234"/>
                </a:lnTo>
                <a:lnTo>
                  <a:pt x="78" y="234"/>
                </a:lnTo>
                <a:lnTo>
                  <a:pt x="78" y="234"/>
                </a:lnTo>
                <a:lnTo>
                  <a:pt x="72" y="234"/>
                </a:lnTo>
                <a:lnTo>
                  <a:pt x="72" y="234"/>
                </a:lnTo>
                <a:lnTo>
                  <a:pt x="72" y="234"/>
                </a:lnTo>
                <a:lnTo>
                  <a:pt x="72" y="234"/>
                </a:lnTo>
                <a:lnTo>
                  <a:pt x="78" y="228"/>
                </a:lnTo>
                <a:lnTo>
                  <a:pt x="78" y="228"/>
                </a:lnTo>
                <a:lnTo>
                  <a:pt x="78" y="228"/>
                </a:lnTo>
                <a:lnTo>
                  <a:pt x="78" y="228"/>
                </a:lnTo>
                <a:lnTo>
                  <a:pt x="78" y="228"/>
                </a:lnTo>
                <a:lnTo>
                  <a:pt x="78" y="228"/>
                </a:lnTo>
                <a:lnTo>
                  <a:pt x="72" y="228"/>
                </a:lnTo>
                <a:lnTo>
                  <a:pt x="72" y="228"/>
                </a:lnTo>
                <a:lnTo>
                  <a:pt x="72" y="228"/>
                </a:lnTo>
                <a:lnTo>
                  <a:pt x="72" y="228"/>
                </a:lnTo>
                <a:lnTo>
                  <a:pt x="78" y="228"/>
                </a:lnTo>
                <a:lnTo>
                  <a:pt x="78" y="222"/>
                </a:lnTo>
                <a:lnTo>
                  <a:pt x="72" y="222"/>
                </a:lnTo>
                <a:lnTo>
                  <a:pt x="72" y="222"/>
                </a:lnTo>
                <a:lnTo>
                  <a:pt x="72" y="222"/>
                </a:lnTo>
                <a:lnTo>
                  <a:pt x="72" y="222"/>
                </a:lnTo>
                <a:lnTo>
                  <a:pt x="72" y="222"/>
                </a:lnTo>
                <a:lnTo>
                  <a:pt x="72" y="216"/>
                </a:lnTo>
                <a:lnTo>
                  <a:pt x="78" y="216"/>
                </a:lnTo>
                <a:lnTo>
                  <a:pt x="78" y="216"/>
                </a:lnTo>
                <a:lnTo>
                  <a:pt x="72" y="210"/>
                </a:lnTo>
                <a:lnTo>
                  <a:pt x="72" y="210"/>
                </a:lnTo>
                <a:lnTo>
                  <a:pt x="72" y="210"/>
                </a:lnTo>
                <a:lnTo>
                  <a:pt x="72" y="210"/>
                </a:lnTo>
                <a:lnTo>
                  <a:pt x="72" y="210"/>
                </a:lnTo>
                <a:lnTo>
                  <a:pt x="72" y="210"/>
                </a:lnTo>
                <a:lnTo>
                  <a:pt x="72" y="210"/>
                </a:lnTo>
                <a:lnTo>
                  <a:pt x="72" y="210"/>
                </a:lnTo>
                <a:lnTo>
                  <a:pt x="72" y="210"/>
                </a:lnTo>
                <a:lnTo>
                  <a:pt x="66" y="210"/>
                </a:lnTo>
                <a:lnTo>
                  <a:pt x="66" y="210"/>
                </a:lnTo>
                <a:lnTo>
                  <a:pt x="66" y="204"/>
                </a:lnTo>
                <a:lnTo>
                  <a:pt x="66" y="204"/>
                </a:lnTo>
                <a:lnTo>
                  <a:pt x="66" y="204"/>
                </a:lnTo>
                <a:lnTo>
                  <a:pt x="66" y="204"/>
                </a:lnTo>
                <a:lnTo>
                  <a:pt x="66" y="204"/>
                </a:lnTo>
                <a:lnTo>
                  <a:pt x="66" y="204"/>
                </a:lnTo>
                <a:lnTo>
                  <a:pt x="66" y="204"/>
                </a:lnTo>
                <a:lnTo>
                  <a:pt x="66" y="204"/>
                </a:lnTo>
                <a:lnTo>
                  <a:pt x="66" y="204"/>
                </a:lnTo>
                <a:lnTo>
                  <a:pt x="60" y="204"/>
                </a:lnTo>
                <a:lnTo>
                  <a:pt x="60" y="204"/>
                </a:lnTo>
                <a:lnTo>
                  <a:pt x="60" y="204"/>
                </a:lnTo>
                <a:lnTo>
                  <a:pt x="60" y="204"/>
                </a:lnTo>
                <a:lnTo>
                  <a:pt x="60" y="204"/>
                </a:lnTo>
                <a:lnTo>
                  <a:pt x="60" y="204"/>
                </a:lnTo>
                <a:lnTo>
                  <a:pt x="60" y="204"/>
                </a:lnTo>
                <a:lnTo>
                  <a:pt x="60" y="204"/>
                </a:lnTo>
                <a:lnTo>
                  <a:pt x="60" y="204"/>
                </a:lnTo>
                <a:lnTo>
                  <a:pt x="60" y="198"/>
                </a:lnTo>
                <a:lnTo>
                  <a:pt x="66" y="198"/>
                </a:lnTo>
                <a:lnTo>
                  <a:pt x="66" y="204"/>
                </a:lnTo>
                <a:lnTo>
                  <a:pt x="66" y="204"/>
                </a:lnTo>
                <a:lnTo>
                  <a:pt x="66" y="198"/>
                </a:lnTo>
                <a:lnTo>
                  <a:pt x="66" y="198"/>
                </a:lnTo>
                <a:lnTo>
                  <a:pt x="66" y="198"/>
                </a:lnTo>
                <a:lnTo>
                  <a:pt x="66" y="198"/>
                </a:lnTo>
                <a:lnTo>
                  <a:pt x="60" y="198"/>
                </a:lnTo>
                <a:lnTo>
                  <a:pt x="60" y="192"/>
                </a:lnTo>
                <a:lnTo>
                  <a:pt x="60" y="192"/>
                </a:lnTo>
                <a:lnTo>
                  <a:pt x="60" y="192"/>
                </a:lnTo>
                <a:lnTo>
                  <a:pt x="60" y="192"/>
                </a:lnTo>
                <a:lnTo>
                  <a:pt x="66" y="192"/>
                </a:lnTo>
                <a:lnTo>
                  <a:pt x="60" y="192"/>
                </a:lnTo>
                <a:lnTo>
                  <a:pt x="60" y="186"/>
                </a:lnTo>
                <a:lnTo>
                  <a:pt x="60" y="186"/>
                </a:lnTo>
                <a:lnTo>
                  <a:pt x="60" y="186"/>
                </a:lnTo>
                <a:lnTo>
                  <a:pt x="60" y="186"/>
                </a:lnTo>
                <a:lnTo>
                  <a:pt x="54" y="186"/>
                </a:lnTo>
                <a:lnTo>
                  <a:pt x="54" y="186"/>
                </a:lnTo>
                <a:lnTo>
                  <a:pt x="54" y="186"/>
                </a:lnTo>
                <a:lnTo>
                  <a:pt x="54" y="186"/>
                </a:lnTo>
                <a:lnTo>
                  <a:pt x="54" y="186"/>
                </a:lnTo>
                <a:lnTo>
                  <a:pt x="54" y="186"/>
                </a:lnTo>
                <a:lnTo>
                  <a:pt x="48" y="186"/>
                </a:lnTo>
                <a:lnTo>
                  <a:pt x="48" y="186"/>
                </a:lnTo>
                <a:lnTo>
                  <a:pt x="48" y="186"/>
                </a:lnTo>
                <a:lnTo>
                  <a:pt x="48" y="192"/>
                </a:lnTo>
                <a:lnTo>
                  <a:pt x="48" y="192"/>
                </a:lnTo>
                <a:lnTo>
                  <a:pt x="42" y="186"/>
                </a:lnTo>
                <a:lnTo>
                  <a:pt x="42" y="186"/>
                </a:lnTo>
                <a:lnTo>
                  <a:pt x="42" y="186"/>
                </a:lnTo>
                <a:lnTo>
                  <a:pt x="36" y="186"/>
                </a:lnTo>
                <a:lnTo>
                  <a:pt x="36" y="180"/>
                </a:lnTo>
                <a:lnTo>
                  <a:pt x="36" y="180"/>
                </a:lnTo>
                <a:lnTo>
                  <a:pt x="36" y="186"/>
                </a:lnTo>
                <a:lnTo>
                  <a:pt x="30" y="180"/>
                </a:lnTo>
                <a:lnTo>
                  <a:pt x="30" y="180"/>
                </a:lnTo>
                <a:lnTo>
                  <a:pt x="30" y="180"/>
                </a:lnTo>
                <a:lnTo>
                  <a:pt x="24" y="186"/>
                </a:lnTo>
                <a:lnTo>
                  <a:pt x="24" y="186"/>
                </a:lnTo>
                <a:lnTo>
                  <a:pt x="24" y="186"/>
                </a:lnTo>
                <a:lnTo>
                  <a:pt x="18" y="186"/>
                </a:lnTo>
                <a:lnTo>
                  <a:pt x="18" y="186"/>
                </a:lnTo>
                <a:lnTo>
                  <a:pt x="18" y="180"/>
                </a:lnTo>
                <a:lnTo>
                  <a:pt x="18" y="180"/>
                </a:lnTo>
                <a:lnTo>
                  <a:pt x="18" y="180"/>
                </a:lnTo>
                <a:lnTo>
                  <a:pt x="18" y="186"/>
                </a:lnTo>
                <a:lnTo>
                  <a:pt x="18" y="186"/>
                </a:lnTo>
                <a:lnTo>
                  <a:pt x="18" y="186"/>
                </a:lnTo>
                <a:lnTo>
                  <a:pt x="12" y="180"/>
                </a:lnTo>
                <a:lnTo>
                  <a:pt x="12" y="180"/>
                </a:lnTo>
                <a:lnTo>
                  <a:pt x="12" y="180"/>
                </a:lnTo>
                <a:lnTo>
                  <a:pt x="12" y="180"/>
                </a:lnTo>
                <a:lnTo>
                  <a:pt x="6" y="180"/>
                </a:lnTo>
                <a:lnTo>
                  <a:pt x="6" y="174"/>
                </a:lnTo>
                <a:lnTo>
                  <a:pt x="12" y="174"/>
                </a:lnTo>
                <a:lnTo>
                  <a:pt x="12" y="168"/>
                </a:lnTo>
                <a:lnTo>
                  <a:pt x="6" y="168"/>
                </a:lnTo>
                <a:lnTo>
                  <a:pt x="6" y="162"/>
                </a:lnTo>
                <a:lnTo>
                  <a:pt x="6" y="162"/>
                </a:lnTo>
                <a:lnTo>
                  <a:pt x="6" y="162"/>
                </a:lnTo>
                <a:lnTo>
                  <a:pt x="0" y="156"/>
                </a:lnTo>
                <a:lnTo>
                  <a:pt x="0" y="156"/>
                </a:lnTo>
                <a:lnTo>
                  <a:pt x="6" y="15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54" name="Freeform 287"/>
          <p:cNvSpPr>
            <a:spLocks/>
          </p:cNvSpPr>
          <p:nvPr/>
        </p:nvSpPr>
        <p:spPr bwMode="auto">
          <a:xfrm>
            <a:off x="7140936" y="3833072"/>
            <a:ext cx="179873" cy="141330"/>
          </a:xfrm>
          <a:custGeom>
            <a:avLst/>
            <a:gdLst>
              <a:gd name="T0" fmla="*/ 0 w 168"/>
              <a:gd name="T1" fmla="*/ 72 h 132"/>
              <a:gd name="T2" fmla="*/ 12 w 168"/>
              <a:gd name="T3" fmla="*/ 72 h 132"/>
              <a:gd name="T4" fmla="*/ 12 w 168"/>
              <a:gd name="T5" fmla="*/ 66 h 132"/>
              <a:gd name="T6" fmla="*/ 12 w 168"/>
              <a:gd name="T7" fmla="*/ 60 h 132"/>
              <a:gd name="T8" fmla="*/ 12 w 168"/>
              <a:gd name="T9" fmla="*/ 60 h 132"/>
              <a:gd name="T10" fmla="*/ 18 w 168"/>
              <a:gd name="T11" fmla="*/ 60 h 132"/>
              <a:gd name="T12" fmla="*/ 24 w 168"/>
              <a:gd name="T13" fmla="*/ 60 h 132"/>
              <a:gd name="T14" fmla="*/ 24 w 168"/>
              <a:gd name="T15" fmla="*/ 60 h 132"/>
              <a:gd name="T16" fmla="*/ 30 w 168"/>
              <a:gd name="T17" fmla="*/ 60 h 132"/>
              <a:gd name="T18" fmla="*/ 36 w 168"/>
              <a:gd name="T19" fmla="*/ 54 h 132"/>
              <a:gd name="T20" fmla="*/ 36 w 168"/>
              <a:gd name="T21" fmla="*/ 48 h 132"/>
              <a:gd name="T22" fmla="*/ 48 w 168"/>
              <a:gd name="T23" fmla="*/ 42 h 132"/>
              <a:gd name="T24" fmla="*/ 54 w 168"/>
              <a:gd name="T25" fmla="*/ 36 h 132"/>
              <a:gd name="T26" fmla="*/ 72 w 168"/>
              <a:gd name="T27" fmla="*/ 36 h 132"/>
              <a:gd name="T28" fmla="*/ 78 w 168"/>
              <a:gd name="T29" fmla="*/ 36 h 132"/>
              <a:gd name="T30" fmla="*/ 84 w 168"/>
              <a:gd name="T31" fmla="*/ 30 h 132"/>
              <a:gd name="T32" fmla="*/ 90 w 168"/>
              <a:gd name="T33" fmla="*/ 30 h 132"/>
              <a:gd name="T34" fmla="*/ 102 w 168"/>
              <a:gd name="T35" fmla="*/ 24 h 132"/>
              <a:gd name="T36" fmla="*/ 108 w 168"/>
              <a:gd name="T37" fmla="*/ 18 h 132"/>
              <a:gd name="T38" fmla="*/ 108 w 168"/>
              <a:gd name="T39" fmla="*/ 6 h 132"/>
              <a:gd name="T40" fmla="*/ 120 w 168"/>
              <a:gd name="T41" fmla="*/ 6 h 132"/>
              <a:gd name="T42" fmla="*/ 126 w 168"/>
              <a:gd name="T43" fmla="*/ 6 h 132"/>
              <a:gd name="T44" fmla="*/ 126 w 168"/>
              <a:gd name="T45" fmla="*/ 12 h 132"/>
              <a:gd name="T46" fmla="*/ 132 w 168"/>
              <a:gd name="T47" fmla="*/ 18 h 132"/>
              <a:gd name="T48" fmla="*/ 138 w 168"/>
              <a:gd name="T49" fmla="*/ 24 h 132"/>
              <a:gd name="T50" fmla="*/ 144 w 168"/>
              <a:gd name="T51" fmla="*/ 36 h 132"/>
              <a:gd name="T52" fmla="*/ 144 w 168"/>
              <a:gd name="T53" fmla="*/ 42 h 132"/>
              <a:gd name="T54" fmla="*/ 150 w 168"/>
              <a:gd name="T55" fmla="*/ 42 h 132"/>
              <a:gd name="T56" fmla="*/ 150 w 168"/>
              <a:gd name="T57" fmla="*/ 48 h 132"/>
              <a:gd name="T58" fmla="*/ 150 w 168"/>
              <a:gd name="T59" fmla="*/ 48 h 132"/>
              <a:gd name="T60" fmla="*/ 156 w 168"/>
              <a:gd name="T61" fmla="*/ 54 h 132"/>
              <a:gd name="T62" fmla="*/ 156 w 168"/>
              <a:gd name="T63" fmla="*/ 54 h 132"/>
              <a:gd name="T64" fmla="*/ 156 w 168"/>
              <a:gd name="T65" fmla="*/ 54 h 132"/>
              <a:gd name="T66" fmla="*/ 162 w 168"/>
              <a:gd name="T67" fmla="*/ 60 h 132"/>
              <a:gd name="T68" fmla="*/ 162 w 168"/>
              <a:gd name="T69" fmla="*/ 60 h 132"/>
              <a:gd name="T70" fmla="*/ 168 w 168"/>
              <a:gd name="T71" fmla="*/ 60 h 132"/>
              <a:gd name="T72" fmla="*/ 168 w 168"/>
              <a:gd name="T73" fmla="*/ 66 h 132"/>
              <a:gd name="T74" fmla="*/ 168 w 168"/>
              <a:gd name="T75" fmla="*/ 72 h 132"/>
              <a:gd name="T76" fmla="*/ 168 w 168"/>
              <a:gd name="T77" fmla="*/ 78 h 132"/>
              <a:gd name="T78" fmla="*/ 162 w 168"/>
              <a:gd name="T79" fmla="*/ 90 h 132"/>
              <a:gd name="T80" fmla="*/ 162 w 168"/>
              <a:gd name="T81" fmla="*/ 90 h 132"/>
              <a:gd name="T82" fmla="*/ 150 w 168"/>
              <a:gd name="T83" fmla="*/ 96 h 132"/>
              <a:gd name="T84" fmla="*/ 144 w 168"/>
              <a:gd name="T85" fmla="*/ 90 h 132"/>
              <a:gd name="T86" fmla="*/ 144 w 168"/>
              <a:gd name="T87" fmla="*/ 96 h 132"/>
              <a:gd name="T88" fmla="*/ 144 w 168"/>
              <a:gd name="T89" fmla="*/ 102 h 132"/>
              <a:gd name="T90" fmla="*/ 138 w 168"/>
              <a:gd name="T91" fmla="*/ 108 h 132"/>
              <a:gd name="T92" fmla="*/ 132 w 168"/>
              <a:gd name="T93" fmla="*/ 126 h 132"/>
              <a:gd name="T94" fmla="*/ 126 w 168"/>
              <a:gd name="T95" fmla="*/ 126 h 132"/>
              <a:gd name="T96" fmla="*/ 114 w 168"/>
              <a:gd name="T97" fmla="*/ 126 h 132"/>
              <a:gd name="T98" fmla="*/ 108 w 168"/>
              <a:gd name="T99" fmla="*/ 126 h 132"/>
              <a:gd name="T100" fmla="*/ 96 w 168"/>
              <a:gd name="T101" fmla="*/ 126 h 132"/>
              <a:gd name="T102" fmla="*/ 90 w 168"/>
              <a:gd name="T103" fmla="*/ 120 h 132"/>
              <a:gd name="T104" fmla="*/ 78 w 168"/>
              <a:gd name="T105" fmla="*/ 126 h 132"/>
              <a:gd name="T106" fmla="*/ 66 w 168"/>
              <a:gd name="T107" fmla="*/ 120 h 132"/>
              <a:gd name="T108" fmla="*/ 66 w 168"/>
              <a:gd name="T109" fmla="*/ 108 h 132"/>
              <a:gd name="T110" fmla="*/ 54 w 168"/>
              <a:gd name="T111" fmla="*/ 102 h 132"/>
              <a:gd name="T112" fmla="*/ 42 w 168"/>
              <a:gd name="T113" fmla="*/ 96 h 132"/>
              <a:gd name="T114" fmla="*/ 24 w 168"/>
              <a:gd name="T115" fmla="*/ 90 h 132"/>
              <a:gd name="T116" fmla="*/ 18 w 168"/>
              <a:gd name="T117" fmla="*/ 84 h 132"/>
              <a:gd name="T118" fmla="*/ 6 w 168"/>
              <a:gd name="T119" fmla="*/ 78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68" h="132">
                <a:moveTo>
                  <a:pt x="0" y="78"/>
                </a:moveTo>
                <a:lnTo>
                  <a:pt x="0" y="78"/>
                </a:lnTo>
                <a:lnTo>
                  <a:pt x="0" y="78"/>
                </a:lnTo>
                <a:lnTo>
                  <a:pt x="6" y="78"/>
                </a:lnTo>
                <a:lnTo>
                  <a:pt x="6" y="78"/>
                </a:lnTo>
                <a:lnTo>
                  <a:pt x="0" y="78"/>
                </a:lnTo>
                <a:lnTo>
                  <a:pt x="0" y="78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6" y="72"/>
                </a:lnTo>
                <a:lnTo>
                  <a:pt x="6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8" y="60"/>
                </a:lnTo>
                <a:lnTo>
                  <a:pt x="12" y="60"/>
                </a:lnTo>
                <a:lnTo>
                  <a:pt x="12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54"/>
                </a:lnTo>
                <a:lnTo>
                  <a:pt x="42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42" y="48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36"/>
                </a:lnTo>
                <a:lnTo>
                  <a:pt x="48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60" y="36"/>
                </a:lnTo>
                <a:lnTo>
                  <a:pt x="60" y="42"/>
                </a:lnTo>
                <a:lnTo>
                  <a:pt x="60" y="36"/>
                </a:lnTo>
                <a:lnTo>
                  <a:pt x="66" y="36"/>
                </a:lnTo>
                <a:lnTo>
                  <a:pt x="66" y="36"/>
                </a:lnTo>
                <a:lnTo>
                  <a:pt x="66" y="42"/>
                </a:lnTo>
                <a:lnTo>
                  <a:pt x="66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6" y="30"/>
                </a:lnTo>
                <a:lnTo>
                  <a:pt x="96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6"/>
                </a:lnTo>
                <a:lnTo>
                  <a:pt x="114" y="12"/>
                </a:lnTo>
                <a:lnTo>
                  <a:pt x="114" y="12"/>
                </a:lnTo>
                <a:lnTo>
                  <a:pt x="114" y="6"/>
                </a:lnTo>
                <a:lnTo>
                  <a:pt x="114" y="6"/>
                </a:lnTo>
                <a:lnTo>
                  <a:pt x="120" y="12"/>
                </a:lnTo>
                <a:lnTo>
                  <a:pt x="120" y="6"/>
                </a:lnTo>
                <a:lnTo>
                  <a:pt x="120" y="12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0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24"/>
                </a:lnTo>
                <a:lnTo>
                  <a:pt x="132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44" y="30"/>
                </a:lnTo>
                <a:lnTo>
                  <a:pt x="144" y="36"/>
                </a:lnTo>
                <a:lnTo>
                  <a:pt x="144" y="36"/>
                </a:lnTo>
                <a:lnTo>
                  <a:pt x="144" y="36"/>
                </a:lnTo>
                <a:lnTo>
                  <a:pt x="144" y="36"/>
                </a:lnTo>
                <a:lnTo>
                  <a:pt x="144" y="36"/>
                </a:lnTo>
                <a:lnTo>
                  <a:pt x="144" y="36"/>
                </a:lnTo>
                <a:lnTo>
                  <a:pt x="144" y="36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50" y="42"/>
                </a:lnTo>
                <a:lnTo>
                  <a:pt x="144" y="42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6" y="54"/>
                </a:lnTo>
                <a:lnTo>
                  <a:pt x="156" y="48"/>
                </a:lnTo>
                <a:lnTo>
                  <a:pt x="156" y="48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62" y="54"/>
                </a:lnTo>
                <a:lnTo>
                  <a:pt x="156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68" y="60"/>
                </a:lnTo>
                <a:lnTo>
                  <a:pt x="168" y="60"/>
                </a:lnTo>
                <a:lnTo>
                  <a:pt x="168" y="60"/>
                </a:lnTo>
                <a:lnTo>
                  <a:pt x="168" y="60"/>
                </a:lnTo>
                <a:lnTo>
                  <a:pt x="168" y="60"/>
                </a:lnTo>
                <a:lnTo>
                  <a:pt x="168" y="60"/>
                </a:lnTo>
                <a:lnTo>
                  <a:pt x="168" y="66"/>
                </a:lnTo>
                <a:lnTo>
                  <a:pt x="168" y="66"/>
                </a:lnTo>
                <a:lnTo>
                  <a:pt x="168" y="66"/>
                </a:lnTo>
                <a:lnTo>
                  <a:pt x="168" y="66"/>
                </a:lnTo>
                <a:lnTo>
                  <a:pt x="168" y="66"/>
                </a:lnTo>
                <a:lnTo>
                  <a:pt x="168" y="66"/>
                </a:lnTo>
                <a:lnTo>
                  <a:pt x="168" y="66"/>
                </a:lnTo>
                <a:lnTo>
                  <a:pt x="168" y="66"/>
                </a:lnTo>
                <a:lnTo>
                  <a:pt x="168" y="66"/>
                </a:lnTo>
                <a:lnTo>
                  <a:pt x="168" y="66"/>
                </a:lnTo>
                <a:lnTo>
                  <a:pt x="162" y="72"/>
                </a:lnTo>
                <a:lnTo>
                  <a:pt x="168" y="72"/>
                </a:lnTo>
                <a:lnTo>
                  <a:pt x="162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2" y="72"/>
                </a:lnTo>
                <a:lnTo>
                  <a:pt x="168" y="78"/>
                </a:lnTo>
                <a:lnTo>
                  <a:pt x="162" y="78"/>
                </a:lnTo>
                <a:lnTo>
                  <a:pt x="162" y="78"/>
                </a:lnTo>
                <a:lnTo>
                  <a:pt x="162" y="78"/>
                </a:lnTo>
                <a:lnTo>
                  <a:pt x="168" y="78"/>
                </a:lnTo>
                <a:lnTo>
                  <a:pt x="168" y="84"/>
                </a:lnTo>
                <a:lnTo>
                  <a:pt x="162" y="84"/>
                </a:lnTo>
                <a:lnTo>
                  <a:pt x="162" y="84"/>
                </a:lnTo>
                <a:lnTo>
                  <a:pt x="162" y="84"/>
                </a:lnTo>
                <a:lnTo>
                  <a:pt x="162" y="84"/>
                </a:lnTo>
                <a:lnTo>
                  <a:pt x="162" y="84"/>
                </a:lnTo>
                <a:lnTo>
                  <a:pt x="162" y="84"/>
                </a:lnTo>
                <a:lnTo>
                  <a:pt x="162" y="90"/>
                </a:lnTo>
                <a:lnTo>
                  <a:pt x="162" y="90"/>
                </a:lnTo>
                <a:lnTo>
                  <a:pt x="162" y="90"/>
                </a:lnTo>
                <a:lnTo>
                  <a:pt x="162" y="90"/>
                </a:lnTo>
                <a:lnTo>
                  <a:pt x="162" y="90"/>
                </a:lnTo>
                <a:lnTo>
                  <a:pt x="162" y="90"/>
                </a:lnTo>
                <a:lnTo>
                  <a:pt x="162" y="90"/>
                </a:lnTo>
                <a:lnTo>
                  <a:pt x="162" y="90"/>
                </a:lnTo>
                <a:lnTo>
                  <a:pt x="162" y="90"/>
                </a:lnTo>
                <a:lnTo>
                  <a:pt x="162" y="90"/>
                </a:lnTo>
                <a:lnTo>
                  <a:pt x="162" y="90"/>
                </a:lnTo>
                <a:lnTo>
                  <a:pt x="156" y="90"/>
                </a:lnTo>
                <a:lnTo>
                  <a:pt x="156" y="96"/>
                </a:lnTo>
                <a:lnTo>
                  <a:pt x="156" y="90"/>
                </a:lnTo>
                <a:lnTo>
                  <a:pt x="156" y="90"/>
                </a:lnTo>
                <a:lnTo>
                  <a:pt x="156" y="90"/>
                </a:lnTo>
                <a:lnTo>
                  <a:pt x="150" y="96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6"/>
                </a:lnTo>
                <a:lnTo>
                  <a:pt x="150" y="96"/>
                </a:lnTo>
                <a:lnTo>
                  <a:pt x="144" y="90"/>
                </a:lnTo>
                <a:lnTo>
                  <a:pt x="144" y="90"/>
                </a:lnTo>
                <a:lnTo>
                  <a:pt x="144" y="90"/>
                </a:lnTo>
                <a:lnTo>
                  <a:pt x="144" y="96"/>
                </a:lnTo>
                <a:lnTo>
                  <a:pt x="144" y="96"/>
                </a:lnTo>
                <a:lnTo>
                  <a:pt x="144" y="96"/>
                </a:lnTo>
                <a:lnTo>
                  <a:pt x="144" y="96"/>
                </a:lnTo>
                <a:lnTo>
                  <a:pt x="144" y="96"/>
                </a:lnTo>
                <a:lnTo>
                  <a:pt x="144" y="96"/>
                </a:lnTo>
                <a:lnTo>
                  <a:pt x="144" y="96"/>
                </a:lnTo>
                <a:lnTo>
                  <a:pt x="144" y="96"/>
                </a:lnTo>
                <a:lnTo>
                  <a:pt x="144" y="96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38" y="108"/>
                </a:lnTo>
                <a:lnTo>
                  <a:pt x="138" y="108"/>
                </a:lnTo>
                <a:lnTo>
                  <a:pt x="138" y="108"/>
                </a:lnTo>
                <a:lnTo>
                  <a:pt x="138" y="114"/>
                </a:lnTo>
                <a:lnTo>
                  <a:pt x="138" y="114"/>
                </a:lnTo>
                <a:lnTo>
                  <a:pt x="132" y="114"/>
                </a:lnTo>
                <a:lnTo>
                  <a:pt x="132" y="114"/>
                </a:lnTo>
                <a:lnTo>
                  <a:pt x="132" y="120"/>
                </a:lnTo>
                <a:lnTo>
                  <a:pt x="132" y="120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32"/>
                </a:lnTo>
                <a:lnTo>
                  <a:pt x="126" y="132"/>
                </a:lnTo>
                <a:lnTo>
                  <a:pt x="126" y="132"/>
                </a:lnTo>
                <a:lnTo>
                  <a:pt x="126" y="126"/>
                </a:lnTo>
                <a:lnTo>
                  <a:pt x="120" y="126"/>
                </a:lnTo>
                <a:lnTo>
                  <a:pt x="120" y="126"/>
                </a:lnTo>
                <a:lnTo>
                  <a:pt x="120" y="126"/>
                </a:lnTo>
                <a:lnTo>
                  <a:pt x="114" y="126"/>
                </a:lnTo>
                <a:lnTo>
                  <a:pt x="114" y="126"/>
                </a:lnTo>
                <a:lnTo>
                  <a:pt x="114" y="126"/>
                </a:lnTo>
                <a:lnTo>
                  <a:pt x="114" y="126"/>
                </a:lnTo>
                <a:lnTo>
                  <a:pt x="114" y="126"/>
                </a:lnTo>
                <a:lnTo>
                  <a:pt x="114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84" y="126"/>
                </a:lnTo>
                <a:lnTo>
                  <a:pt x="84" y="120"/>
                </a:lnTo>
                <a:lnTo>
                  <a:pt x="84" y="126"/>
                </a:lnTo>
                <a:lnTo>
                  <a:pt x="84" y="126"/>
                </a:lnTo>
                <a:lnTo>
                  <a:pt x="78" y="126"/>
                </a:lnTo>
                <a:lnTo>
                  <a:pt x="78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0"/>
                </a:lnTo>
                <a:lnTo>
                  <a:pt x="72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36" y="96"/>
                </a:lnTo>
                <a:lnTo>
                  <a:pt x="30" y="96"/>
                </a:lnTo>
                <a:lnTo>
                  <a:pt x="30" y="96"/>
                </a:lnTo>
                <a:lnTo>
                  <a:pt x="30" y="90"/>
                </a:lnTo>
                <a:lnTo>
                  <a:pt x="30" y="90"/>
                </a:lnTo>
                <a:lnTo>
                  <a:pt x="24" y="90"/>
                </a:lnTo>
                <a:lnTo>
                  <a:pt x="24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2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0" y="7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55" name="Freeform 288"/>
          <p:cNvSpPr>
            <a:spLocks/>
          </p:cNvSpPr>
          <p:nvPr/>
        </p:nvSpPr>
        <p:spPr bwMode="auto">
          <a:xfrm>
            <a:off x="7474987" y="3820223"/>
            <a:ext cx="141329" cy="115634"/>
          </a:xfrm>
          <a:custGeom>
            <a:avLst/>
            <a:gdLst>
              <a:gd name="T0" fmla="*/ 0 w 132"/>
              <a:gd name="T1" fmla="*/ 54 h 108"/>
              <a:gd name="T2" fmla="*/ 12 w 132"/>
              <a:gd name="T3" fmla="*/ 54 h 108"/>
              <a:gd name="T4" fmla="*/ 18 w 132"/>
              <a:gd name="T5" fmla="*/ 54 h 108"/>
              <a:gd name="T6" fmla="*/ 24 w 132"/>
              <a:gd name="T7" fmla="*/ 48 h 108"/>
              <a:gd name="T8" fmla="*/ 18 w 132"/>
              <a:gd name="T9" fmla="*/ 48 h 108"/>
              <a:gd name="T10" fmla="*/ 18 w 132"/>
              <a:gd name="T11" fmla="*/ 42 h 108"/>
              <a:gd name="T12" fmla="*/ 12 w 132"/>
              <a:gd name="T13" fmla="*/ 42 h 108"/>
              <a:gd name="T14" fmla="*/ 12 w 132"/>
              <a:gd name="T15" fmla="*/ 36 h 108"/>
              <a:gd name="T16" fmla="*/ 6 w 132"/>
              <a:gd name="T17" fmla="*/ 30 h 108"/>
              <a:gd name="T18" fmla="*/ 6 w 132"/>
              <a:gd name="T19" fmla="*/ 24 h 108"/>
              <a:gd name="T20" fmla="*/ 0 w 132"/>
              <a:gd name="T21" fmla="*/ 24 h 108"/>
              <a:gd name="T22" fmla="*/ 6 w 132"/>
              <a:gd name="T23" fmla="*/ 18 h 108"/>
              <a:gd name="T24" fmla="*/ 12 w 132"/>
              <a:gd name="T25" fmla="*/ 18 h 108"/>
              <a:gd name="T26" fmla="*/ 18 w 132"/>
              <a:gd name="T27" fmla="*/ 12 h 108"/>
              <a:gd name="T28" fmla="*/ 24 w 132"/>
              <a:gd name="T29" fmla="*/ 12 h 108"/>
              <a:gd name="T30" fmla="*/ 30 w 132"/>
              <a:gd name="T31" fmla="*/ 12 h 108"/>
              <a:gd name="T32" fmla="*/ 36 w 132"/>
              <a:gd name="T33" fmla="*/ 12 h 108"/>
              <a:gd name="T34" fmla="*/ 42 w 132"/>
              <a:gd name="T35" fmla="*/ 18 h 108"/>
              <a:gd name="T36" fmla="*/ 48 w 132"/>
              <a:gd name="T37" fmla="*/ 24 h 108"/>
              <a:gd name="T38" fmla="*/ 54 w 132"/>
              <a:gd name="T39" fmla="*/ 18 h 108"/>
              <a:gd name="T40" fmla="*/ 66 w 132"/>
              <a:gd name="T41" fmla="*/ 6 h 108"/>
              <a:gd name="T42" fmla="*/ 72 w 132"/>
              <a:gd name="T43" fmla="*/ 6 h 108"/>
              <a:gd name="T44" fmla="*/ 78 w 132"/>
              <a:gd name="T45" fmla="*/ 0 h 108"/>
              <a:gd name="T46" fmla="*/ 78 w 132"/>
              <a:gd name="T47" fmla="*/ 6 h 108"/>
              <a:gd name="T48" fmla="*/ 84 w 132"/>
              <a:gd name="T49" fmla="*/ 6 h 108"/>
              <a:gd name="T50" fmla="*/ 84 w 132"/>
              <a:gd name="T51" fmla="*/ 12 h 108"/>
              <a:gd name="T52" fmla="*/ 90 w 132"/>
              <a:gd name="T53" fmla="*/ 12 h 108"/>
              <a:gd name="T54" fmla="*/ 96 w 132"/>
              <a:gd name="T55" fmla="*/ 18 h 108"/>
              <a:gd name="T56" fmla="*/ 96 w 132"/>
              <a:gd name="T57" fmla="*/ 12 h 108"/>
              <a:gd name="T58" fmla="*/ 96 w 132"/>
              <a:gd name="T59" fmla="*/ 24 h 108"/>
              <a:gd name="T60" fmla="*/ 102 w 132"/>
              <a:gd name="T61" fmla="*/ 30 h 108"/>
              <a:gd name="T62" fmla="*/ 108 w 132"/>
              <a:gd name="T63" fmla="*/ 30 h 108"/>
              <a:gd name="T64" fmla="*/ 114 w 132"/>
              <a:gd name="T65" fmla="*/ 30 h 108"/>
              <a:gd name="T66" fmla="*/ 120 w 132"/>
              <a:gd name="T67" fmla="*/ 30 h 108"/>
              <a:gd name="T68" fmla="*/ 126 w 132"/>
              <a:gd name="T69" fmla="*/ 36 h 108"/>
              <a:gd name="T70" fmla="*/ 126 w 132"/>
              <a:gd name="T71" fmla="*/ 36 h 108"/>
              <a:gd name="T72" fmla="*/ 132 w 132"/>
              <a:gd name="T73" fmla="*/ 48 h 108"/>
              <a:gd name="T74" fmla="*/ 132 w 132"/>
              <a:gd name="T75" fmla="*/ 54 h 108"/>
              <a:gd name="T76" fmla="*/ 126 w 132"/>
              <a:gd name="T77" fmla="*/ 54 h 108"/>
              <a:gd name="T78" fmla="*/ 114 w 132"/>
              <a:gd name="T79" fmla="*/ 60 h 108"/>
              <a:gd name="T80" fmla="*/ 108 w 132"/>
              <a:gd name="T81" fmla="*/ 78 h 108"/>
              <a:gd name="T82" fmla="*/ 108 w 132"/>
              <a:gd name="T83" fmla="*/ 84 h 108"/>
              <a:gd name="T84" fmla="*/ 96 w 132"/>
              <a:gd name="T85" fmla="*/ 84 h 108"/>
              <a:gd name="T86" fmla="*/ 96 w 132"/>
              <a:gd name="T87" fmla="*/ 90 h 108"/>
              <a:gd name="T88" fmla="*/ 90 w 132"/>
              <a:gd name="T89" fmla="*/ 90 h 108"/>
              <a:gd name="T90" fmla="*/ 72 w 132"/>
              <a:gd name="T91" fmla="*/ 96 h 108"/>
              <a:gd name="T92" fmla="*/ 72 w 132"/>
              <a:gd name="T93" fmla="*/ 102 h 108"/>
              <a:gd name="T94" fmla="*/ 66 w 132"/>
              <a:gd name="T95" fmla="*/ 102 h 108"/>
              <a:gd name="T96" fmla="*/ 60 w 132"/>
              <a:gd name="T97" fmla="*/ 108 h 108"/>
              <a:gd name="T98" fmla="*/ 54 w 132"/>
              <a:gd name="T99" fmla="*/ 108 h 108"/>
              <a:gd name="T100" fmla="*/ 54 w 132"/>
              <a:gd name="T101" fmla="*/ 102 h 108"/>
              <a:gd name="T102" fmla="*/ 54 w 132"/>
              <a:gd name="T103" fmla="*/ 96 h 108"/>
              <a:gd name="T104" fmla="*/ 48 w 132"/>
              <a:gd name="T105" fmla="*/ 96 h 108"/>
              <a:gd name="T106" fmla="*/ 42 w 132"/>
              <a:gd name="T107" fmla="*/ 96 h 108"/>
              <a:gd name="T108" fmla="*/ 30 w 132"/>
              <a:gd name="T109" fmla="*/ 96 h 108"/>
              <a:gd name="T110" fmla="*/ 24 w 132"/>
              <a:gd name="T111" fmla="*/ 90 h 108"/>
              <a:gd name="T112" fmla="*/ 24 w 132"/>
              <a:gd name="T113" fmla="*/ 84 h 108"/>
              <a:gd name="T114" fmla="*/ 18 w 132"/>
              <a:gd name="T115" fmla="*/ 84 h 108"/>
              <a:gd name="T116" fmla="*/ 6 w 132"/>
              <a:gd name="T117" fmla="*/ 78 h 108"/>
              <a:gd name="T118" fmla="*/ 0 w 132"/>
              <a:gd name="T119" fmla="*/ 72 h 108"/>
              <a:gd name="T120" fmla="*/ 6 w 132"/>
              <a:gd name="T121" fmla="*/ 66 h 108"/>
              <a:gd name="T122" fmla="*/ 0 w 132"/>
              <a:gd name="T123" fmla="*/ 60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32" h="108">
                <a:moveTo>
                  <a:pt x="0" y="60"/>
                </a:move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54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12" y="54"/>
                </a:lnTo>
                <a:lnTo>
                  <a:pt x="12" y="60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0" y="24"/>
                </a:lnTo>
                <a:lnTo>
                  <a:pt x="0" y="24"/>
                </a:lnTo>
                <a:lnTo>
                  <a:pt x="0" y="18"/>
                </a:lnTo>
                <a:lnTo>
                  <a:pt x="0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2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42" y="12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18"/>
                </a:lnTo>
                <a:lnTo>
                  <a:pt x="48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0"/>
                </a:lnTo>
                <a:lnTo>
                  <a:pt x="72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84" y="6"/>
                </a:lnTo>
                <a:lnTo>
                  <a:pt x="84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84" y="6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6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6" y="12"/>
                </a:lnTo>
                <a:lnTo>
                  <a:pt x="90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2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96" y="24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8" y="30"/>
                </a:lnTo>
                <a:lnTo>
                  <a:pt x="108" y="36"/>
                </a:lnTo>
                <a:lnTo>
                  <a:pt x="108" y="36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24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6" y="36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6"/>
                </a:lnTo>
                <a:lnTo>
                  <a:pt x="126" y="36"/>
                </a:lnTo>
                <a:lnTo>
                  <a:pt x="132" y="36"/>
                </a:lnTo>
                <a:lnTo>
                  <a:pt x="126" y="36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54"/>
                </a:lnTo>
                <a:lnTo>
                  <a:pt x="132" y="54"/>
                </a:lnTo>
                <a:lnTo>
                  <a:pt x="132" y="54"/>
                </a:lnTo>
                <a:lnTo>
                  <a:pt x="132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60"/>
                </a:lnTo>
                <a:lnTo>
                  <a:pt x="126" y="54"/>
                </a:lnTo>
                <a:lnTo>
                  <a:pt x="120" y="54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14" y="60"/>
                </a:lnTo>
                <a:lnTo>
                  <a:pt x="114" y="66"/>
                </a:lnTo>
                <a:lnTo>
                  <a:pt x="114" y="66"/>
                </a:lnTo>
                <a:lnTo>
                  <a:pt x="108" y="72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14" y="78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84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102"/>
                </a:lnTo>
                <a:lnTo>
                  <a:pt x="72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36" y="96"/>
                </a:lnTo>
                <a:lnTo>
                  <a:pt x="36" y="96"/>
                </a:lnTo>
                <a:lnTo>
                  <a:pt x="36" y="102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0" y="96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18" y="84"/>
                </a:lnTo>
                <a:lnTo>
                  <a:pt x="18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6" y="84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0" y="72"/>
                </a:lnTo>
                <a:lnTo>
                  <a:pt x="0" y="72"/>
                </a:lnTo>
                <a:lnTo>
                  <a:pt x="6" y="72"/>
                </a:lnTo>
                <a:lnTo>
                  <a:pt x="0" y="72"/>
                </a:lnTo>
                <a:lnTo>
                  <a:pt x="0" y="72"/>
                </a:ln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56" name="Freeform 289"/>
          <p:cNvSpPr>
            <a:spLocks/>
          </p:cNvSpPr>
          <p:nvPr/>
        </p:nvSpPr>
        <p:spPr bwMode="auto">
          <a:xfrm>
            <a:off x="7455715" y="3910161"/>
            <a:ext cx="102785" cy="70665"/>
          </a:xfrm>
          <a:custGeom>
            <a:avLst/>
            <a:gdLst>
              <a:gd name="T0" fmla="*/ 6 w 96"/>
              <a:gd name="T1" fmla="*/ 24 h 66"/>
              <a:gd name="T2" fmla="*/ 6 w 96"/>
              <a:gd name="T3" fmla="*/ 24 h 66"/>
              <a:gd name="T4" fmla="*/ 12 w 96"/>
              <a:gd name="T5" fmla="*/ 18 h 66"/>
              <a:gd name="T6" fmla="*/ 12 w 96"/>
              <a:gd name="T7" fmla="*/ 18 h 66"/>
              <a:gd name="T8" fmla="*/ 12 w 96"/>
              <a:gd name="T9" fmla="*/ 12 h 66"/>
              <a:gd name="T10" fmla="*/ 18 w 96"/>
              <a:gd name="T11" fmla="*/ 6 h 66"/>
              <a:gd name="T12" fmla="*/ 18 w 96"/>
              <a:gd name="T13" fmla="*/ 6 h 66"/>
              <a:gd name="T14" fmla="*/ 30 w 96"/>
              <a:gd name="T15" fmla="*/ 0 h 66"/>
              <a:gd name="T16" fmla="*/ 42 w 96"/>
              <a:gd name="T17" fmla="*/ 0 h 66"/>
              <a:gd name="T18" fmla="*/ 42 w 96"/>
              <a:gd name="T19" fmla="*/ 0 h 66"/>
              <a:gd name="T20" fmla="*/ 42 w 96"/>
              <a:gd name="T21" fmla="*/ 6 h 66"/>
              <a:gd name="T22" fmla="*/ 48 w 96"/>
              <a:gd name="T23" fmla="*/ 6 h 66"/>
              <a:gd name="T24" fmla="*/ 48 w 96"/>
              <a:gd name="T25" fmla="*/ 12 h 66"/>
              <a:gd name="T26" fmla="*/ 54 w 96"/>
              <a:gd name="T27" fmla="*/ 12 h 66"/>
              <a:gd name="T28" fmla="*/ 60 w 96"/>
              <a:gd name="T29" fmla="*/ 12 h 66"/>
              <a:gd name="T30" fmla="*/ 66 w 96"/>
              <a:gd name="T31" fmla="*/ 12 h 66"/>
              <a:gd name="T32" fmla="*/ 72 w 96"/>
              <a:gd name="T33" fmla="*/ 12 h 66"/>
              <a:gd name="T34" fmla="*/ 72 w 96"/>
              <a:gd name="T35" fmla="*/ 18 h 66"/>
              <a:gd name="T36" fmla="*/ 72 w 96"/>
              <a:gd name="T37" fmla="*/ 18 h 66"/>
              <a:gd name="T38" fmla="*/ 72 w 96"/>
              <a:gd name="T39" fmla="*/ 24 h 66"/>
              <a:gd name="T40" fmla="*/ 78 w 96"/>
              <a:gd name="T41" fmla="*/ 24 h 66"/>
              <a:gd name="T42" fmla="*/ 78 w 96"/>
              <a:gd name="T43" fmla="*/ 24 h 66"/>
              <a:gd name="T44" fmla="*/ 84 w 96"/>
              <a:gd name="T45" fmla="*/ 18 h 66"/>
              <a:gd name="T46" fmla="*/ 84 w 96"/>
              <a:gd name="T47" fmla="*/ 18 h 66"/>
              <a:gd name="T48" fmla="*/ 96 w 96"/>
              <a:gd name="T49" fmla="*/ 18 h 66"/>
              <a:gd name="T50" fmla="*/ 96 w 96"/>
              <a:gd name="T51" fmla="*/ 30 h 66"/>
              <a:gd name="T52" fmla="*/ 96 w 96"/>
              <a:gd name="T53" fmla="*/ 36 h 66"/>
              <a:gd name="T54" fmla="*/ 90 w 96"/>
              <a:gd name="T55" fmla="*/ 48 h 66"/>
              <a:gd name="T56" fmla="*/ 90 w 96"/>
              <a:gd name="T57" fmla="*/ 54 h 66"/>
              <a:gd name="T58" fmla="*/ 90 w 96"/>
              <a:gd name="T59" fmla="*/ 54 h 66"/>
              <a:gd name="T60" fmla="*/ 96 w 96"/>
              <a:gd name="T61" fmla="*/ 54 h 66"/>
              <a:gd name="T62" fmla="*/ 96 w 96"/>
              <a:gd name="T63" fmla="*/ 54 h 66"/>
              <a:gd name="T64" fmla="*/ 96 w 96"/>
              <a:gd name="T65" fmla="*/ 60 h 66"/>
              <a:gd name="T66" fmla="*/ 96 w 96"/>
              <a:gd name="T67" fmla="*/ 60 h 66"/>
              <a:gd name="T68" fmla="*/ 90 w 96"/>
              <a:gd name="T69" fmla="*/ 60 h 66"/>
              <a:gd name="T70" fmla="*/ 84 w 96"/>
              <a:gd name="T71" fmla="*/ 54 h 66"/>
              <a:gd name="T72" fmla="*/ 84 w 96"/>
              <a:gd name="T73" fmla="*/ 60 h 66"/>
              <a:gd name="T74" fmla="*/ 84 w 96"/>
              <a:gd name="T75" fmla="*/ 60 h 66"/>
              <a:gd name="T76" fmla="*/ 78 w 96"/>
              <a:gd name="T77" fmla="*/ 60 h 66"/>
              <a:gd name="T78" fmla="*/ 72 w 96"/>
              <a:gd name="T79" fmla="*/ 60 h 66"/>
              <a:gd name="T80" fmla="*/ 66 w 96"/>
              <a:gd name="T81" fmla="*/ 60 h 66"/>
              <a:gd name="T82" fmla="*/ 72 w 96"/>
              <a:gd name="T83" fmla="*/ 60 h 66"/>
              <a:gd name="T84" fmla="*/ 66 w 96"/>
              <a:gd name="T85" fmla="*/ 54 h 66"/>
              <a:gd name="T86" fmla="*/ 60 w 96"/>
              <a:gd name="T87" fmla="*/ 48 h 66"/>
              <a:gd name="T88" fmla="*/ 54 w 96"/>
              <a:gd name="T89" fmla="*/ 54 h 66"/>
              <a:gd name="T90" fmla="*/ 48 w 96"/>
              <a:gd name="T91" fmla="*/ 54 h 66"/>
              <a:gd name="T92" fmla="*/ 42 w 96"/>
              <a:gd name="T93" fmla="*/ 54 h 66"/>
              <a:gd name="T94" fmla="*/ 42 w 96"/>
              <a:gd name="T95" fmla="*/ 54 h 66"/>
              <a:gd name="T96" fmla="*/ 42 w 96"/>
              <a:gd name="T97" fmla="*/ 48 h 66"/>
              <a:gd name="T98" fmla="*/ 36 w 96"/>
              <a:gd name="T99" fmla="*/ 42 h 66"/>
              <a:gd name="T100" fmla="*/ 36 w 96"/>
              <a:gd name="T101" fmla="*/ 42 h 66"/>
              <a:gd name="T102" fmla="*/ 30 w 96"/>
              <a:gd name="T103" fmla="*/ 42 h 66"/>
              <a:gd name="T104" fmla="*/ 24 w 96"/>
              <a:gd name="T105" fmla="*/ 42 h 66"/>
              <a:gd name="T106" fmla="*/ 18 w 96"/>
              <a:gd name="T107" fmla="*/ 42 h 66"/>
              <a:gd name="T108" fmla="*/ 12 w 96"/>
              <a:gd name="T109" fmla="*/ 42 h 66"/>
              <a:gd name="T110" fmla="*/ 12 w 96"/>
              <a:gd name="T111" fmla="*/ 42 h 66"/>
              <a:gd name="T112" fmla="*/ 6 w 96"/>
              <a:gd name="T113" fmla="*/ 36 h 66"/>
              <a:gd name="T114" fmla="*/ 6 w 96"/>
              <a:gd name="T115" fmla="*/ 30 h 66"/>
              <a:gd name="T116" fmla="*/ 0 w 96"/>
              <a:gd name="T117" fmla="*/ 30 h 66"/>
              <a:gd name="T118" fmla="*/ 0 w 96"/>
              <a:gd name="T119" fmla="*/ 24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6" h="66">
                <a:moveTo>
                  <a:pt x="0" y="24"/>
                </a:moveTo>
                <a:lnTo>
                  <a:pt x="0" y="24"/>
                </a:lnTo>
                <a:lnTo>
                  <a:pt x="0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6" y="24"/>
                </a:lnTo>
                <a:lnTo>
                  <a:pt x="6" y="24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24" y="0"/>
                </a:lnTo>
                <a:lnTo>
                  <a:pt x="24" y="6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6" y="0"/>
                </a:lnTo>
                <a:lnTo>
                  <a:pt x="36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8"/>
                </a:lnTo>
                <a:lnTo>
                  <a:pt x="54" y="12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84" y="24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6" y="18"/>
                </a:lnTo>
                <a:lnTo>
                  <a:pt x="96" y="24"/>
                </a:lnTo>
                <a:lnTo>
                  <a:pt x="96" y="24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78" y="66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72" y="54"/>
                </a:lnTo>
                <a:lnTo>
                  <a:pt x="72" y="60"/>
                </a:lnTo>
                <a:lnTo>
                  <a:pt x="72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48"/>
                </a:lnTo>
                <a:lnTo>
                  <a:pt x="66" y="48"/>
                </a:lnTo>
                <a:lnTo>
                  <a:pt x="60" y="54"/>
                </a:lnTo>
                <a:lnTo>
                  <a:pt x="60" y="54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54" y="54"/>
                </a:lnTo>
                <a:lnTo>
                  <a:pt x="54" y="54"/>
                </a:lnTo>
                <a:lnTo>
                  <a:pt x="54" y="48"/>
                </a:lnTo>
                <a:lnTo>
                  <a:pt x="54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60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36" y="48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36"/>
                </a:lnTo>
                <a:lnTo>
                  <a:pt x="36" y="36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8"/>
                </a:lnTo>
                <a:lnTo>
                  <a:pt x="18" y="48"/>
                </a:lnTo>
                <a:lnTo>
                  <a:pt x="18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0" y="30"/>
                </a:lnTo>
                <a:lnTo>
                  <a:pt x="6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57" name="Freeform 290"/>
          <p:cNvSpPr>
            <a:spLocks/>
          </p:cNvSpPr>
          <p:nvPr/>
        </p:nvSpPr>
        <p:spPr bwMode="auto">
          <a:xfrm>
            <a:off x="7243721" y="3974402"/>
            <a:ext cx="186297" cy="192723"/>
          </a:xfrm>
          <a:custGeom>
            <a:avLst/>
            <a:gdLst>
              <a:gd name="T0" fmla="*/ 12 w 174"/>
              <a:gd name="T1" fmla="*/ 12 h 180"/>
              <a:gd name="T2" fmla="*/ 24 w 174"/>
              <a:gd name="T3" fmla="*/ 6 h 180"/>
              <a:gd name="T4" fmla="*/ 30 w 174"/>
              <a:gd name="T5" fmla="*/ 0 h 180"/>
              <a:gd name="T6" fmla="*/ 36 w 174"/>
              <a:gd name="T7" fmla="*/ 6 h 180"/>
              <a:gd name="T8" fmla="*/ 42 w 174"/>
              <a:gd name="T9" fmla="*/ 12 h 180"/>
              <a:gd name="T10" fmla="*/ 54 w 174"/>
              <a:gd name="T11" fmla="*/ 12 h 180"/>
              <a:gd name="T12" fmla="*/ 66 w 174"/>
              <a:gd name="T13" fmla="*/ 36 h 180"/>
              <a:gd name="T14" fmla="*/ 78 w 174"/>
              <a:gd name="T15" fmla="*/ 42 h 180"/>
              <a:gd name="T16" fmla="*/ 96 w 174"/>
              <a:gd name="T17" fmla="*/ 54 h 180"/>
              <a:gd name="T18" fmla="*/ 102 w 174"/>
              <a:gd name="T19" fmla="*/ 60 h 180"/>
              <a:gd name="T20" fmla="*/ 108 w 174"/>
              <a:gd name="T21" fmla="*/ 66 h 180"/>
              <a:gd name="T22" fmla="*/ 114 w 174"/>
              <a:gd name="T23" fmla="*/ 72 h 180"/>
              <a:gd name="T24" fmla="*/ 108 w 174"/>
              <a:gd name="T25" fmla="*/ 78 h 180"/>
              <a:gd name="T26" fmla="*/ 108 w 174"/>
              <a:gd name="T27" fmla="*/ 84 h 180"/>
              <a:gd name="T28" fmla="*/ 108 w 174"/>
              <a:gd name="T29" fmla="*/ 96 h 180"/>
              <a:gd name="T30" fmla="*/ 120 w 174"/>
              <a:gd name="T31" fmla="*/ 102 h 180"/>
              <a:gd name="T32" fmla="*/ 126 w 174"/>
              <a:gd name="T33" fmla="*/ 102 h 180"/>
              <a:gd name="T34" fmla="*/ 132 w 174"/>
              <a:gd name="T35" fmla="*/ 102 h 180"/>
              <a:gd name="T36" fmla="*/ 138 w 174"/>
              <a:gd name="T37" fmla="*/ 102 h 180"/>
              <a:gd name="T38" fmla="*/ 144 w 174"/>
              <a:gd name="T39" fmla="*/ 102 h 180"/>
              <a:gd name="T40" fmla="*/ 150 w 174"/>
              <a:gd name="T41" fmla="*/ 108 h 180"/>
              <a:gd name="T42" fmla="*/ 144 w 174"/>
              <a:gd name="T43" fmla="*/ 120 h 180"/>
              <a:gd name="T44" fmla="*/ 150 w 174"/>
              <a:gd name="T45" fmla="*/ 126 h 180"/>
              <a:gd name="T46" fmla="*/ 156 w 174"/>
              <a:gd name="T47" fmla="*/ 132 h 180"/>
              <a:gd name="T48" fmla="*/ 168 w 174"/>
              <a:gd name="T49" fmla="*/ 138 h 180"/>
              <a:gd name="T50" fmla="*/ 168 w 174"/>
              <a:gd name="T51" fmla="*/ 144 h 180"/>
              <a:gd name="T52" fmla="*/ 168 w 174"/>
              <a:gd name="T53" fmla="*/ 156 h 180"/>
              <a:gd name="T54" fmla="*/ 168 w 174"/>
              <a:gd name="T55" fmla="*/ 162 h 180"/>
              <a:gd name="T56" fmla="*/ 162 w 174"/>
              <a:gd name="T57" fmla="*/ 162 h 180"/>
              <a:gd name="T58" fmla="*/ 162 w 174"/>
              <a:gd name="T59" fmla="*/ 162 h 180"/>
              <a:gd name="T60" fmla="*/ 156 w 174"/>
              <a:gd name="T61" fmla="*/ 162 h 180"/>
              <a:gd name="T62" fmla="*/ 150 w 174"/>
              <a:gd name="T63" fmla="*/ 156 h 180"/>
              <a:gd name="T64" fmla="*/ 138 w 174"/>
              <a:gd name="T65" fmla="*/ 156 h 180"/>
              <a:gd name="T66" fmla="*/ 132 w 174"/>
              <a:gd name="T67" fmla="*/ 162 h 180"/>
              <a:gd name="T68" fmla="*/ 126 w 174"/>
              <a:gd name="T69" fmla="*/ 156 h 180"/>
              <a:gd name="T70" fmla="*/ 126 w 174"/>
              <a:gd name="T71" fmla="*/ 156 h 180"/>
              <a:gd name="T72" fmla="*/ 114 w 174"/>
              <a:gd name="T73" fmla="*/ 162 h 180"/>
              <a:gd name="T74" fmla="*/ 108 w 174"/>
              <a:gd name="T75" fmla="*/ 162 h 180"/>
              <a:gd name="T76" fmla="*/ 108 w 174"/>
              <a:gd name="T77" fmla="*/ 168 h 180"/>
              <a:gd name="T78" fmla="*/ 102 w 174"/>
              <a:gd name="T79" fmla="*/ 180 h 180"/>
              <a:gd name="T80" fmla="*/ 90 w 174"/>
              <a:gd name="T81" fmla="*/ 168 h 180"/>
              <a:gd name="T82" fmla="*/ 90 w 174"/>
              <a:gd name="T83" fmla="*/ 162 h 180"/>
              <a:gd name="T84" fmla="*/ 78 w 174"/>
              <a:gd name="T85" fmla="*/ 150 h 180"/>
              <a:gd name="T86" fmla="*/ 72 w 174"/>
              <a:gd name="T87" fmla="*/ 150 h 180"/>
              <a:gd name="T88" fmla="*/ 66 w 174"/>
              <a:gd name="T89" fmla="*/ 144 h 180"/>
              <a:gd name="T90" fmla="*/ 66 w 174"/>
              <a:gd name="T91" fmla="*/ 138 h 180"/>
              <a:gd name="T92" fmla="*/ 66 w 174"/>
              <a:gd name="T93" fmla="*/ 132 h 180"/>
              <a:gd name="T94" fmla="*/ 66 w 174"/>
              <a:gd name="T95" fmla="*/ 126 h 180"/>
              <a:gd name="T96" fmla="*/ 66 w 174"/>
              <a:gd name="T97" fmla="*/ 114 h 180"/>
              <a:gd name="T98" fmla="*/ 66 w 174"/>
              <a:gd name="T99" fmla="*/ 108 h 180"/>
              <a:gd name="T100" fmla="*/ 54 w 174"/>
              <a:gd name="T101" fmla="*/ 108 h 180"/>
              <a:gd name="T102" fmla="*/ 48 w 174"/>
              <a:gd name="T103" fmla="*/ 96 h 180"/>
              <a:gd name="T104" fmla="*/ 30 w 174"/>
              <a:gd name="T105" fmla="*/ 84 h 180"/>
              <a:gd name="T106" fmla="*/ 36 w 174"/>
              <a:gd name="T107" fmla="*/ 60 h 180"/>
              <a:gd name="T108" fmla="*/ 36 w 174"/>
              <a:gd name="T109" fmla="*/ 48 h 180"/>
              <a:gd name="T110" fmla="*/ 36 w 174"/>
              <a:gd name="T111" fmla="*/ 42 h 180"/>
              <a:gd name="T112" fmla="*/ 30 w 174"/>
              <a:gd name="T113" fmla="*/ 42 h 180"/>
              <a:gd name="T114" fmla="*/ 24 w 174"/>
              <a:gd name="T115" fmla="*/ 36 h 180"/>
              <a:gd name="T116" fmla="*/ 6 w 174"/>
              <a:gd name="T117" fmla="*/ 30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74" h="180">
                <a:moveTo>
                  <a:pt x="0" y="24"/>
                </a:moveTo>
                <a:lnTo>
                  <a:pt x="0" y="24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8" y="12"/>
                </a:lnTo>
                <a:lnTo>
                  <a:pt x="18" y="12"/>
                </a:lnTo>
                <a:lnTo>
                  <a:pt x="24" y="12"/>
                </a:lnTo>
                <a:lnTo>
                  <a:pt x="24" y="12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0"/>
                </a:lnTo>
                <a:lnTo>
                  <a:pt x="24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54" y="18"/>
                </a:lnTo>
                <a:lnTo>
                  <a:pt x="54" y="18"/>
                </a:lnTo>
                <a:lnTo>
                  <a:pt x="54" y="12"/>
                </a:lnTo>
                <a:lnTo>
                  <a:pt x="54" y="12"/>
                </a:lnTo>
                <a:lnTo>
                  <a:pt x="60" y="18"/>
                </a:lnTo>
                <a:lnTo>
                  <a:pt x="60" y="18"/>
                </a:lnTo>
                <a:lnTo>
                  <a:pt x="60" y="24"/>
                </a:lnTo>
                <a:lnTo>
                  <a:pt x="60" y="24"/>
                </a:lnTo>
                <a:lnTo>
                  <a:pt x="66" y="24"/>
                </a:lnTo>
                <a:lnTo>
                  <a:pt x="66" y="30"/>
                </a:lnTo>
                <a:lnTo>
                  <a:pt x="66" y="30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8" y="36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84" y="42"/>
                </a:lnTo>
                <a:lnTo>
                  <a:pt x="84" y="42"/>
                </a:lnTo>
                <a:lnTo>
                  <a:pt x="84" y="48"/>
                </a:lnTo>
                <a:lnTo>
                  <a:pt x="84" y="48"/>
                </a:lnTo>
                <a:lnTo>
                  <a:pt x="90" y="48"/>
                </a:lnTo>
                <a:lnTo>
                  <a:pt x="90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8" y="84"/>
                </a:lnTo>
                <a:lnTo>
                  <a:pt x="102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90"/>
                </a:lnTo>
                <a:lnTo>
                  <a:pt x="108" y="90"/>
                </a:lnTo>
                <a:lnTo>
                  <a:pt x="108" y="96"/>
                </a:lnTo>
                <a:lnTo>
                  <a:pt x="108" y="96"/>
                </a:lnTo>
                <a:lnTo>
                  <a:pt x="114" y="96"/>
                </a:lnTo>
                <a:lnTo>
                  <a:pt x="114" y="96"/>
                </a:lnTo>
                <a:lnTo>
                  <a:pt x="114" y="96"/>
                </a:lnTo>
                <a:lnTo>
                  <a:pt x="114" y="96"/>
                </a:lnTo>
                <a:lnTo>
                  <a:pt x="114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26" y="102"/>
                </a:lnTo>
                <a:lnTo>
                  <a:pt x="126" y="102"/>
                </a:lnTo>
                <a:lnTo>
                  <a:pt x="126" y="102"/>
                </a:lnTo>
                <a:lnTo>
                  <a:pt x="126" y="102"/>
                </a:lnTo>
                <a:lnTo>
                  <a:pt x="126" y="102"/>
                </a:lnTo>
                <a:lnTo>
                  <a:pt x="126" y="96"/>
                </a:lnTo>
                <a:lnTo>
                  <a:pt x="126" y="96"/>
                </a:lnTo>
                <a:lnTo>
                  <a:pt x="126" y="102"/>
                </a:lnTo>
                <a:lnTo>
                  <a:pt x="132" y="96"/>
                </a:lnTo>
                <a:lnTo>
                  <a:pt x="132" y="96"/>
                </a:lnTo>
                <a:lnTo>
                  <a:pt x="132" y="96"/>
                </a:lnTo>
                <a:lnTo>
                  <a:pt x="132" y="102"/>
                </a:lnTo>
                <a:lnTo>
                  <a:pt x="138" y="102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50" y="108"/>
                </a:lnTo>
                <a:lnTo>
                  <a:pt x="144" y="108"/>
                </a:lnTo>
                <a:lnTo>
                  <a:pt x="150" y="108"/>
                </a:lnTo>
                <a:lnTo>
                  <a:pt x="150" y="108"/>
                </a:lnTo>
                <a:lnTo>
                  <a:pt x="150" y="108"/>
                </a:lnTo>
                <a:lnTo>
                  <a:pt x="150" y="108"/>
                </a:lnTo>
                <a:lnTo>
                  <a:pt x="150" y="114"/>
                </a:lnTo>
                <a:lnTo>
                  <a:pt x="150" y="114"/>
                </a:lnTo>
                <a:lnTo>
                  <a:pt x="150" y="114"/>
                </a:lnTo>
                <a:lnTo>
                  <a:pt x="150" y="114"/>
                </a:lnTo>
                <a:lnTo>
                  <a:pt x="150" y="114"/>
                </a:lnTo>
                <a:lnTo>
                  <a:pt x="150" y="120"/>
                </a:lnTo>
                <a:lnTo>
                  <a:pt x="144" y="120"/>
                </a:lnTo>
                <a:lnTo>
                  <a:pt x="144" y="120"/>
                </a:lnTo>
                <a:lnTo>
                  <a:pt x="144" y="120"/>
                </a:lnTo>
                <a:lnTo>
                  <a:pt x="144" y="120"/>
                </a:lnTo>
                <a:lnTo>
                  <a:pt x="144" y="120"/>
                </a:lnTo>
                <a:lnTo>
                  <a:pt x="144" y="120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32"/>
                </a:lnTo>
                <a:lnTo>
                  <a:pt x="150" y="132"/>
                </a:lnTo>
                <a:lnTo>
                  <a:pt x="150" y="132"/>
                </a:lnTo>
                <a:lnTo>
                  <a:pt x="150" y="132"/>
                </a:lnTo>
                <a:lnTo>
                  <a:pt x="156" y="132"/>
                </a:lnTo>
                <a:lnTo>
                  <a:pt x="156" y="132"/>
                </a:lnTo>
                <a:lnTo>
                  <a:pt x="156" y="132"/>
                </a:lnTo>
                <a:lnTo>
                  <a:pt x="156" y="132"/>
                </a:lnTo>
                <a:lnTo>
                  <a:pt x="162" y="132"/>
                </a:lnTo>
                <a:lnTo>
                  <a:pt x="162" y="138"/>
                </a:lnTo>
                <a:lnTo>
                  <a:pt x="162" y="138"/>
                </a:lnTo>
                <a:lnTo>
                  <a:pt x="162" y="138"/>
                </a:lnTo>
                <a:lnTo>
                  <a:pt x="168" y="138"/>
                </a:lnTo>
                <a:lnTo>
                  <a:pt x="168" y="138"/>
                </a:lnTo>
                <a:lnTo>
                  <a:pt x="168" y="138"/>
                </a:lnTo>
                <a:lnTo>
                  <a:pt x="168" y="132"/>
                </a:lnTo>
                <a:lnTo>
                  <a:pt x="168" y="132"/>
                </a:lnTo>
                <a:lnTo>
                  <a:pt x="168" y="138"/>
                </a:lnTo>
                <a:lnTo>
                  <a:pt x="168" y="138"/>
                </a:lnTo>
                <a:lnTo>
                  <a:pt x="168" y="138"/>
                </a:lnTo>
                <a:lnTo>
                  <a:pt x="168" y="144"/>
                </a:lnTo>
                <a:lnTo>
                  <a:pt x="168" y="144"/>
                </a:lnTo>
                <a:lnTo>
                  <a:pt x="168" y="144"/>
                </a:lnTo>
                <a:lnTo>
                  <a:pt x="168" y="150"/>
                </a:lnTo>
                <a:lnTo>
                  <a:pt x="168" y="150"/>
                </a:lnTo>
                <a:lnTo>
                  <a:pt x="168" y="150"/>
                </a:lnTo>
                <a:lnTo>
                  <a:pt x="168" y="150"/>
                </a:lnTo>
                <a:lnTo>
                  <a:pt x="168" y="150"/>
                </a:lnTo>
                <a:lnTo>
                  <a:pt x="168" y="150"/>
                </a:lnTo>
                <a:lnTo>
                  <a:pt x="168" y="156"/>
                </a:lnTo>
                <a:lnTo>
                  <a:pt x="174" y="156"/>
                </a:lnTo>
                <a:lnTo>
                  <a:pt x="174" y="156"/>
                </a:lnTo>
                <a:lnTo>
                  <a:pt x="174" y="156"/>
                </a:lnTo>
                <a:lnTo>
                  <a:pt x="174" y="156"/>
                </a:lnTo>
                <a:lnTo>
                  <a:pt x="174" y="156"/>
                </a:lnTo>
                <a:lnTo>
                  <a:pt x="168" y="156"/>
                </a:lnTo>
                <a:lnTo>
                  <a:pt x="168" y="162"/>
                </a:lnTo>
                <a:lnTo>
                  <a:pt x="168" y="162"/>
                </a:lnTo>
                <a:lnTo>
                  <a:pt x="168" y="162"/>
                </a:lnTo>
                <a:lnTo>
                  <a:pt x="168" y="162"/>
                </a:lnTo>
                <a:lnTo>
                  <a:pt x="168" y="162"/>
                </a:lnTo>
                <a:lnTo>
                  <a:pt x="168" y="162"/>
                </a:lnTo>
                <a:lnTo>
                  <a:pt x="168" y="162"/>
                </a:lnTo>
                <a:lnTo>
                  <a:pt x="168" y="162"/>
                </a:lnTo>
                <a:lnTo>
                  <a:pt x="168" y="162"/>
                </a:lnTo>
                <a:lnTo>
                  <a:pt x="162" y="162"/>
                </a:lnTo>
                <a:lnTo>
                  <a:pt x="162" y="162"/>
                </a:lnTo>
                <a:lnTo>
                  <a:pt x="162" y="162"/>
                </a:lnTo>
                <a:lnTo>
                  <a:pt x="162" y="162"/>
                </a:lnTo>
                <a:lnTo>
                  <a:pt x="162" y="162"/>
                </a:lnTo>
                <a:lnTo>
                  <a:pt x="162" y="162"/>
                </a:lnTo>
                <a:lnTo>
                  <a:pt x="162" y="162"/>
                </a:lnTo>
                <a:lnTo>
                  <a:pt x="162" y="162"/>
                </a:lnTo>
                <a:lnTo>
                  <a:pt x="162" y="162"/>
                </a:lnTo>
                <a:lnTo>
                  <a:pt x="162" y="162"/>
                </a:lnTo>
                <a:lnTo>
                  <a:pt x="162" y="162"/>
                </a:lnTo>
                <a:lnTo>
                  <a:pt x="156" y="162"/>
                </a:lnTo>
                <a:lnTo>
                  <a:pt x="156" y="162"/>
                </a:lnTo>
                <a:lnTo>
                  <a:pt x="156" y="162"/>
                </a:lnTo>
                <a:lnTo>
                  <a:pt x="156" y="162"/>
                </a:lnTo>
                <a:lnTo>
                  <a:pt x="156" y="162"/>
                </a:lnTo>
                <a:lnTo>
                  <a:pt x="156" y="162"/>
                </a:lnTo>
                <a:lnTo>
                  <a:pt x="150" y="162"/>
                </a:lnTo>
                <a:lnTo>
                  <a:pt x="150" y="162"/>
                </a:lnTo>
                <a:lnTo>
                  <a:pt x="150" y="156"/>
                </a:lnTo>
                <a:lnTo>
                  <a:pt x="150" y="156"/>
                </a:lnTo>
                <a:lnTo>
                  <a:pt x="150" y="156"/>
                </a:lnTo>
                <a:lnTo>
                  <a:pt x="150" y="156"/>
                </a:lnTo>
                <a:lnTo>
                  <a:pt x="150" y="156"/>
                </a:lnTo>
                <a:lnTo>
                  <a:pt x="150" y="156"/>
                </a:lnTo>
                <a:lnTo>
                  <a:pt x="144" y="150"/>
                </a:lnTo>
                <a:lnTo>
                  <a:pt x="144" y="150"/>
                </a:lnTo>
                <a:lnTo>
                  <a:pt x="144" y="156"/>
                </a:lnTo>
                <a:lnTo>
                  <a:pt x="144" y="156"/>
                </a:lnTo>
                <a:lnTo>
                  <a:pt x="138" y="156"/>
                </a:lnTo>
                <a:lnTo>
                  <a:pt x="138" y="156"/>
                </a:lnTo>
                <a:lnTo>
                  <a:pt x="138" y="156"/>
                </a:lnTo>
                <a:lnTo>
                  <a:pt x="138" y="156"/>
                </a:lnTo>
                <a:lnTo>
                  <a:pt x="138" y="156"/>
                </a:lnTo>
                <a:lnTo>
                  <a:pt x="138" y="162"/>
                </a:lnTo>
                <a:lnTo>
                  <a:pt x="138" y="162"/>
                </a:lnTo>
                <a:lnTo>
                  <a:pt x="138" y="162"/>
                </a:lnTo>
                <a:lnTo>
                  <a:pt x="138" y="168"/>
                </a:lnTo>
                <a:lnTo>
                  <a:pt x="132" y="162"/>
                </a:lnTo>
                <a:lnTo>
                  <a:pt x="132" y="162"/>
                </a:lnTo>
                <a:lnTo>
                  <a:pt x="132" y="162"/>
                </a:lnTo>
                <a:lnTo>
                  <a:pt x="132" y="156"/>
                </a:lnTo>
                <a:lnTo>
                  <a:pt x="132" y="156"/>
                </a:lnTo>
                <a:lnTo>
                  <a:pt x="132" y="156"/>
                </a:lnTo>
                <a:lnTo>
                  <a:pt x="132" y="156"/>
                </a:lnTo>
                <a:lnTo>
                  <a:pt x="132" y="156"/>
                </a:lnTo>
                <a:lnTo>
                  <a:pt x="132" y="156"/>
                </a:lnTo>
                <a:lnTo>
                  <a:pt x="126" y="156"/>
                </a:lnTo>
                <a:lnTo>
                  <a:pt x="126" y="156"/>
                </a:lnTo>
                <a:lnTo>
                  <a:pt x="126" y="156"/>
                </a:lnTo>
                <a:lnTo>
                  <a:pt x="126" y="156"/>
                </a:lnTo>
                <a:lnTo>
                  <a:pt x="126" y="156"/>
                </a:lnTo>
                <a:lnTo>
                  <a:pt x="126" y="156"/>
                </a:lnTo>
                <a:lnTo>
                  <a:pt x="126" y="156"/>
                </a:lnTo>
                <a:lnTo>
                  <a:pt x="126" y="150"/>
                </a:lnTo>
                <a:lnTo>
                  <a:pt x="126" y="150"/>
                </a:lnTo>
                <a:lnTo>
                  <a:pt x="126" y="156"/>
                </a:lnTo>
                <a:lnTo>
                  <a:pt x="126" y="156"/>
                </a:lnTo>
                <a:lnTo>
                  <a:pt x="126" y="156"/>
                </a:lnTo>
                <a:lnTo>
                  <a:pt x="120" y="156"/>
                </a:lnTo>
                <a:lnTo>
                  <a:pt x="120" y="156"/>
                </a:lnTo>
                <a:lnTo>
                  <a:pt x="120" y="162"/>
                </a:lnTo>
                <a:lnTo>
                  <a:pt x="120" y="162"/>
                </a:lnTo>
                <a:lnTo>
                  <a:pt x="120" y="156"/>
                </a:lnTo>
                <a:lnTo>
                  <a:pt x="114" y="162"/>
                </a:lnTo>
                <a:lnTo>
                  <a:pt x="114" y="156"/>
                </a:lnTo>
                <a:lnTo>
                  <a:pt x="114" y="156"/>
                </a:lnTo>
                <a:lnTo>
                  <a:pt x="114" y="156"/>
                </a:lnTo>
                <a:lnTo>
                  <a:pt x="114" y="156"/>
                </a:lnTo>
                <a:lnTo>
                  <a:pt x="114" y="156"/>
                </a:lnTo>
                <a:lnTo>
                  <a:pt x="108" y="156"/>
                </a:lnTo>
                <a:lnTo>
                  <a:pt x="108" y="156"/>
                </a:lnTo>
                <a:lnTo>
                  <a:pt x="108" y="162"/>
                </a:lnTo>
                <a:lnTo>
                  <a:pt x="108" y="162"/>
                </a:lnTo>
                <a:lnTo>
                  <a:pt x="108" y="162"/>
                </a:lnTo>
                <a:lnTo>
                  <a:pt x="108" y="168"/>
                </a:lnTo>
                <a:lnTo>
                  <a:pt x="108" y="168"/>
                </a:lnTo>
                <a:lnTo>
                  <a:pt x="108" y="168"/>
                </a:lnTo>
                <a:lnTo>
                  <a:pt x="108" y="168"/>
                </a:lnTo>
                <a:lnTo>
                  <a:pt x="108" y="168"/>
                </a:lnTo>
                <a:lnTo>
                  <a:pt x="108" y="168"/>
                </a:lnTo>
                <a:lnTo>
                  <a:pt x="108" y="168"/>
                </a:lnTo>
                <a:lnTo>
                  <a:pt x="108" y="168"/>
                </a:lnTo>
                <a:lnTo>
                  <a:pt x="108" y="174"/>
                </a:lnTo>
                <a:lnTo>
                  <a:pt x="108" y="174"/>
                </a:lnTo>
                <a:lnTo>
                  <a:pt x="108" y="174"/>
                </a:lnTo>
                <a:lnTo>
                  <a:pt x="102" y="174"/>
                </a:lnTo>
                <a:lnTo>
                  <a:pt x="102" y="174"/>
                </a:lnTo>
                <a:lnTo>
                  <a:pt x="102" y="180"/>
                </a:lnTo>
                <a:lnTo>
                  <a:pt x="102" y="180"/>
                </a:lnTo>
                <a:lnTo>
                  <a:pt x="96" y="180"/>
                </a:lnTo>
                <a:lnTo>
                  <a:pt x="96" y="180"/>
                </a:lnTo>
                <a:lnTo>
                  <a:pt x="96" y="180"/>
                </a:lnTo>
                <a:lnTo>
                  <a:pt x="96" y="174"/>
                </a:lnTo>
                <a:lnTo>
                  <a:pt x="90" y="174"/>
                </a:lnTo>
                <a:lnTo>
                  <a:pt x="90" y="168"/>
                </a:lnTo>
                <a:lnTo>
                  <a:pt x="90" y="168"/>
                </a:lnTo>
                <a:lnTo>
                  <a:pt x="90" y="168"/>
                </a:lnTo>
                <a:lnTo>
                  <a:pt x="90" y="168"/>
                </a:lnTo>
                <a:lnTo>
                  <a:pt x="90" y="162"/>
                </a:lnTo>
                <a:lnTo>
                  <a:pt x="90" y="162"/>
                </a:lnTo>
                <a:lnTo>
                  <a:pt x="90" y="162"/>
                </a:lnTo>
                <a:lnTo>
                  <a:pt x="90" y="162"/>
                </a:lnTo>
                <a:lnTo>
                  <a:pt x="90" y="162"/>
                </a:lnTo>
                <a:lnTo>
                  <a:pt x="90" y="162"/>
                </a:lnTo>
                <a:lnTo>
                  <a:pt x="90" y="156"/>
                </a:lnTo>
                <a:lnTo>
                  <a:pt x="90" y="156"/>
                </a:lnTo>
                <a:lnTo>
                  <a:pt x="90" y="156"/>
                </a:lnTo>
                <a:lnTo>
                  <a:pt x="90" y="156"/>
                </a:lnTo>
                <a:lnTo>
                  <a:pt x="84" y="156"/>
                </a:lnTo>
                <a:lnTo>
                  <a:pt x="84" y="156"/>
                </a:lnTo>
                <a:lnTo>
                  <a:pt x="78" y="156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2" y="150"/>
                </a:lnTo>
                <a:lnTo>
                  <a:pt x="72" y="150"/>
                </a:lnTo>
                <a:lnTo>
                  <a:pt x="72" y="150"/>
                </a:lnTo>
                <a:lnTo>
                  <a:pt x="66" y="150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0" y="138"/>
                </a:lnTo>
                <a:lnTo>
                  <a:pt x="60" y="138"/>
                </a:lnTo>
                <a:lnTo>
                  <a:pt x="60" y="138"/>
                </a:lnTo>
                <a:lnTo>
                  <a:pt x="60" y="138"/>
                </a:lnTo>
                <a:lnTo>
                  <a:pt x="60" y="138"/>
                </a:lnTo>
                <a:lnTo>
                  <a:pt x="60" y="138"/>
                </a:lnTo>
                <a:lnTo>
                  <a:pt x="60" y="138"/>
                </a:lnTo>
                <a:lnTo>
                  <a:pt x="66" y="138"/>
                </a:lnTo>
                <a:lnTo>
                  <a:pt x="66" y="138"/>
                </a:lnTo>
                <a:lnTo>
                  <a:pt x="66" y="138"/>
                </a:lnTo>
                <a:lnTo>
                  <a:pt x="66" y="138"/>
                </a:lnTo>
                <a:lnTo>
                  <a:pt x="66" y="132"/>
                </a:lnTo>
                <a:lnTo>
                  <a:pt x="66" y="132"/>
                </a:lnTo>
                <a:lnTo>
                  <a:pt x="66" y="132"/>
                </a:lnTo>
                <a:lnTo>
                  <a:pt x="66" y="132"/>
                </a:lnTo>
                <a:lnTo>
                  <a:pt x="66" y="132"/>
                </a:lnTo>
                <a:lnTo>
                  <a:pt x="66" y="132"/>
                </a:lnTo>
                <a:lnTo>
                  <a:pt x="66" y="132"/>
                </a:lnTo>
                <a:lnTo>
                  <a:pt x="66" y="132"/>
                </a:lnTo>
                <a:lnTo>
                  <a:pt x="66" y="132"/>
                </a:lnTo>
                <a:lnTo>
                  <a:pt x="66" y="126"/>
                </a:lnTo>
                <a:lnTo>
                  <a:pt x="66" y="126"/>
                </a:lnTo>
                <a:lnTo>
                  <a:pt x="66" y="126"/>
                </a:lnTo>
                <a:lnTo>
                  <a:pt x="66" y="126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14"/>
                </a:lnTo>
                <a:lnTo>
                  <a:pt x="60" y="114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36" y="90"/>
                </a:lnTo>
                <a:lnTo>
                  <a:pt x="36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72"/>
                </a:lnTo>
                <a:lnTo>
                  <a:pt x="30" y="72"/>
                </a:lnTo>
                <a:lnTo>
                  <a:pt x="30" y="60"/>
                </a:lnTo>
                <a:lnTo>
                  <a:pt x="30" y="60"/>
                </a:lnTo>
                <a:lnTo>
                  <a:pt x="36" y="60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24" y="36"/>
                </a:lnTo>
                <a:lnTo>
                  <a:pt x="24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0"/>
                </a:lnTo>
                <a:lnTo>
                  <a:pt x="18" y="30"/>
                </a:lnTo>
                <a:lnTo>
                  <a:pt x="12" y="30"/>
                </a:lnTo>
                <a:lnTo>
                  <a:pt x="6" y="30"/>
                </a:lnTo>
                <a:lnTo>
                  <a:pt x="6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24"/>
                </a:lnTo>
                <a:lnTo>
                  <a:pt x="0" y="2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58" name="Freeform 291"/>
          <p:cNvSpPr>
            <a:spLocks/>
          </p:cNvSpPr>
          <p:nvPr/>
        </p:nvSpPr>
        <p:spPr bwMode="auto">
          <a:xfrm>
            <a:off x="7481411" y="3454050"/>
            <a:ext cx="199146" cy="147754"/>
          </a:xfrm>
          <a:custGeom>
            <a:avLst/>
            <a:gdLst>
              <a:gd name="T0" fmla="*/ 6 w 186"/>
              <a:gd name="T1" fmla="*/ 78 h 138"/>
              <a:gd name="T2" fmla="*/ 12 w 186"/>
              <a:gd name="T3" fmla="*/ 54 h 138"/>
              <a:gd name="T4" fmla="*/ 18 w 186"/>
              <a:gd name="T5" fmla="*/ 48 h 138"/>
              <a:gd name="T6" fmla="*/ 24 w 186"/>
              <a:gd name="T7" fmla="*/ 54 h 138"/>
              <a:gd name="T8" fmla="*/ 30 w 186"/>
              <a:gd name="T9" fmla="*/ 54 h 138"/>
              <a:gd name="T10" fmla="*/ 30 w 186"/>
              <a:gd name="T11" fmla="*/ 54 h 138"/>
              <a:gd name="T12" fmla="*/ 36 w 186"/>
              <a:gd name="T13" fmla="*/ 48 h 138"/>
              <a:gd name="T14" fmla="*/ 42 w 186"/>
              <a:gd name="T15" fmla="*/ 42 h 138"/>
              <a:gd name="T16" fmla="*/ 60 w 186"/>
              <a:gd name="T17" fmla="*/ 36 h 138"/>
              <a:gd name="T18" fmla="*/ 66 w 186"/>
              <a:gd name="T19" fmla="*/ 24 h 138"/>
              <a:gd name="T20" fmla="*/ 72 w 186"/>
              <a:gd name="T21" fmla="*/ 12 h 138"/>
              <a:gd name="T22" fmla="*/ 78 w 186"/>
              <a:gd name="T23" fmla="*/ 6 h 138"/>
              <a:gd name="T24" fmla="*/ 96 w 186"/>
              <a:gd name="T25" fmla="*/ 6 h 138"/>
              <a:gd name="T26" fmla="*/ 102 w 186"/>
              <a:gd name="T27" fmla="*/ 0 h 138"/>
              <a:gd name="T28" fmla="*/ 102 w 186"/>
              <a:gd name="T29" fmla="*/ 0 h 138"/>
              <a:gd name="T30" fmla="*/ 102 w 186"/>
              <a:gd name="T31" fmla="*/ 6 h 138"/>
              <a:gd name="T32" fmla="*/ 114 w 186"/>
              <a:gd name="T33" fmla="*/ 18 h 138"/>
              <a:gd name="T34" fmla="*/ 120 w 186"/>
              <a:gd name="T35" fmla="*/ 18 h 138"/>
              <a:gd name="T36" fmla="*/ 126 w 186"/>
              <a:gd name="T37" fmla="*/ 36 h 138"/>
              <a:gd name="T38" fmla="*/ 132 w 186"/>
              <a:gd name="T39" fmla="*/ 42 h 138"/>
              <a:gd name="T40" fmla="*/ 138 w 186"/>
              <a:gd name="T41" fmla="*/ 36 h 138"/>
              <a:gd name="T42" fmla="*/ 156 w 186"/>
              <a:gd name="T43" fmla="*/ 36 h 138"/>
              <a:gd name="T44" fmla="*/ 168 w 186"/>
              <a:gd name="T45" fmla="*/ 30 h 138"/>
              <a:gd name="T46" fmla="*/ 174 w 186"/>
              <a:gd name="T47" fmla="*/ 36 h 138"/>
              <a:gd name="T48" fmla="*/ 180 w 186"/>
              <a:gd name="T49" fmla="*/ 42 h 138"/>
              <a:gd name="T50" fmla="*/ 186 w 186"/>
              <a:gd name="T51" fmla="*/ 48 h 138"/>
              <a:gd name="T52" fmla="*/ 174 w 186"/>
              <a:gd name="T53" fmla="*/ 54 h 138"/>
              <a:gd name="T54" fmla="*/ 174 w 186"/>
              <a:gd name="T55" fmla="*/ 54 h 138"/>
              <a:gd name="T56" fmla="*/ 168 w 186"/>
              <a:gd name="T57" fmla="*/ 60 h 138"/>
              <a:gd name="T58" fmla="*/ 168 w 186"/>
              <a:gd name="T59" fmla="*/ 72 h 138"/>
              <a:gd name="T60" fmla="*/ 156 w 186"/>
              <a:gd name="T61" fmla="*/ 72 h 138"/>
              <a:gd name="T62" fmla="*/ 156 w 186"/>
              <a:gd name="T63" fmla="*/ 72 h 138"/>
              <a:gd name="T64" fmla="*/ 150 w 186"/>
              <a:gd name="T65" fmla="*/ 78 h 138"/>
              <a:gd name="T66" fmla="*/ 150 w 186"/>
              <a:gd name="T67" fmla="*/ 84 h 138"/>
              <a:gd name="T68" fmla="*/ 144 w 186"/>
              <a:gd name="T69" fmla="*/ 84 h 138"/>
              <a:gd name="T70" fmla="*/ 138 w 186"/>
              <a:gd name="T71" fmla="*/ 84 h 138"/>
              <a:gd name="T72" fmla="*/ 132 w 186"/>
              <a:gd name="T73" fmla="*/ 90 h 138"/>
              <a:gd name="T74" fmla="*/ 126 w 186"/>
              <a:gd name="T75" fmla="*/ 84 h 138"/>
              <a:gd name="T76" fmla="*/ 120 w 186"/>
              <a:gd name="T77" fmla="*/ 90 h 138"/>
              <a:gd name="T78" fmla="*/ 120 w 186"/>
              <a:gd name="T79" fmla="*/ 96 h 138"/>
              <a:gd name="T80" fmla="*/ 114 w 186"/>
              <a:gd name="T81" fmla="*/ 108 h 138"/>
              <a:gd name="T82" fmla="*/ 114 w 186"/>
              <a:gd name="T83" fmla="*/ 114 h 138"/>
              <a:gd name="T84" fmla="*/ 108 w 186"/>
              <a:gd name="T85" fmla="*/ 120 h 138"/>
              <a:gd name="T86" fmla="*/ 96 w 186"/>
              <a:gd name="T87" fmla="*/ 132 h 138"/>
              <a:gd name="T88" fmla="*/ 90 w 186"/>
              <a:gd name="T89" fmla="*/ 132 h 138"/>
              <a:gd name="T90" fmla="*/ 84 w 186"/>
              <a:gd name="T91" fmla="*/ 120 h 138"/>
              <a:gd name="T92" fmla="*/ 78 w 186"/>
              <a:gd name="T93" fmla="*/ 108 h 138"/>
              <a:gd name="T94" fmla="*/ 78 w 186"/>
              <a:gd name="T95" fmla="*/ 102 h 138"/>
              <a:gd name="T96" fmla="*/ 78 w 186"/>
              <a:gd name="T97" fmla="*/ 96 h 138"/>
              <a:gd name="T98" fmla="*/ 72 w 186"/>
              <a:gd name="T99" fmla="*/ 90 h 138"/>
              <a:gd name="T100" fmla="*/ 66 w 186"/>
              <a:gd name="T101" fmla="*/ 84 h 138"/>
              <a:gd name="T102" fmla="*/ 60 w 186"/>
              <a:gd name="T103" fmla="*/ 78 h 138"/>
              <a:gd name="T104" fmla="*/ 54 w 186"/>
              <a:gd name="T105" fmla="*/ 72 h 138"/>
              <a:gd name="T106" fmla="*/ 48 w 186"/>
              <a:gd name="T107" fmla="*/ 84 h 138"/>
              <a:gd name="T108" fmla="*/ 48 w 186"/>
              <a:gd name="T109" fmla="*/ 90 h 138"/>
              <a:gd name="T110" fmla="*/ 42 w 186"/>
              <a:gd name="T111" fmla="*/ 102 h 138"/>
              <a:gd name="T112" fmla="*/ 24 w 186"/>
              <a:gd name="T113" fmla="*/ 108 h 138"/>
              <a:gd name="T114" fmla="*/ 12 w 186"/>
              <a:gd name="T115" fmla="*/ 108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86" h="138">
                <a:moveTo>
                  <a:pt x="0" y="96"/>
                </a:moveTo>
                <a:lnTo>
                  <a:pt x="0" y="96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6" y="84"/>
                </a:lnTo>
                <a:lnTo>
                  <a:pt x="6" y="84"/>
                </a:lnTo>
                <a:lnTo>
                  <a:pt x="0" y="84"/>
                </a:lnTo>
                <a:lnTo>
                  <a:pt x="6" y="78"/>
                </a:ln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12" y="60"/>
                </a:lnTo>
                <a:lnTo>
                  <a:pt x="12" y="60"/>
                </a:lnTo>
                <a:lnTo>
                  <a:pt x="12" y="54"/>
                </a:lnTo>
                <a:lnTo>
                  <a:pt x="12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48"/>
                </a:lnTo>
                <a:lnTo>
                  <a:pt x="30" y="48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42" y="48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8" y="42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60" y="36"/>
                </a:lnTo>
                <a:lnTo>
                  <a:pt x="60" y="36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18"/>
                </a:lnTo>
                <a:lnTo>
                  <a:pt x="66" y="18"/>
                </a:lnTo>
                <a:lnTo>
                  <a:pt x="72" y="18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84" y="12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90" y="6"/>
                </a:lnTo>
                <a:lnTo>
                  <a:pt x="90" y="6"/>
                </a:lnTo>
                <a:lnTo>
                  <a:pt x="90" y="0"/>
                </a:lnTo>
                <a:lnTo>
                  <a:pt x="90" y="0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102" y="6"/>
                </a:lnTo>
                <a:lnTo>
                  <a:pt x="102" y="6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14" y="18"/>
                </a:lnTo>
                <a:lnTo>
                  <a:pt x="114" y="18"/>
                </a:lnTo>
                <a:lnTo>
                  <a:pt x="114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30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36"/>
                </a:lnTo>
                <a:lnTo>
                  <a:pt x="138" y="36"/>
                </a:lnTo>
                <a:lnTo>
                  <a:pt x="144" y="36"/>
                </a:lnTo>
                <a:lnTo>
                  <a:pt x="144" y="36"/>
                </a:lnTo>
                <a:lnTo>
                  <a:pt x="144" y="36"/>
                </a:lnTo>
                <a:lnTo>
                  <a:pt x="144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0"/>
                </a:lnTo>
                <a:lnTo>
                  <a:pt x="156" y="36"/>
                </a:lnTo>
                <a:lnTo>
                  <a:pt x="156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0"/>
                </a:lnTo>
                <a:lnTo>
                  <a:pt x="168" y="30"/>
                </a:lnTo>
                <a:lnTo>
                  <a:pt x="168" y="30"/>
                </a:lnTo>
                <a:lnTo>
                  <a:pt x="168" y="30"/>
                </a:lnTo>
                <a:lnTo>
                  <a:pt x="168" y="30"/>
                </a:lnTo>
                <a:lnTo>
                  <a:pt x="168" y="36"/>
                </a:lnTo>
                <a:lnTo>
                  <a:pt x="174" y="30"/>
                </a:lnTo>
                <a:lnTo>
                  <a:pt x="174" y="30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42"/>
                </a:lnTo>
                <a:lnTo>
                  <a:pt x="180" y="42"/>
                </a:lnTo>
                <a:lnTo>
                  <a:pt x="180" y="42"/>
                </a:lnTo>
                <a:lnTo>
                  <a:pt x="180" y="42"/>
                </a:lnTo>
                <a:lnTo>
                  <a:pt x="180" y="42"/>
                </a:lnTo>
                <a:lnTo>
                  <a:pt x="180" y="48"/>
                </a:lnTo>
                <a:lnTo>
                  <a:pt x="186" y="48"/>
                </a:lnTo>
                <a:lnTo>
                  <a:pt x="186" y="48"/>
                </a:lnTo>
                <a:lnTo>
                  <a:pt x="186" y="48"/>
                </a:lnTo>
                <a:lnTo>
                  <a:pt x="186" y="48"/>
                </a:lnTo>
                <a:lnTo>
                  <a:pt x="186" y="48"/>
                </a:lnTo>
                <a:lnTo>
                  <a:pt x="180" y="48"/>
                </a:lnTo>
                <a:lnTo>
                  <a:pt x="180" y="48"/>
                </a:lnTo>
                <a:lnTo>
                  <a:pt x="180" y="54"/>
                </a:lnTo>
                <a:lnTo>
                  <a:pt x="180" y="54"/>
                </a:lnTo>
                <a:lnTo>
                  <a:pt x="180" y="54"/>
                </a:lnTo>
                <a:lnTo>
                  <a:pt x="180" y="54"/>
                </a:lnTo>
                <a:lnTo>
                  <a:pt x="174" y="54"/>
                </a:lnTo>
                <a:lnTo>
                  <a:pt x="174" y="54"/>
                </a:lnTo>
                <a:lnTo>
                  <a:pt x="174" y="54"/>
                </a:lnTo>
                <a:lnTo>
                  <a:pt x="174" y="60"/>
                </a:lnTo>
                <a:lnTo>
                  <a:pt x="174" y="54"/>
                </a:lnTo>
                <a:lnTo>
                  <a:pt x="174" y="54"/>
                </a:lnTo>
                <a:lnTo>
                  <a:pt x="174" y="60"/>
                </a:lnTo>
                <a:lnTo>
                  <a:pt x="174" y="60"/>
                </a:lnTo>
                <a:lnTo>
                  <a:pt x="174" y="60"/>
                </a:lnTo>
                <a:lnTo>
                  <a:pt x="174" y="60"/>
                </a:lnTo>
                <a:lnTo>
                  <a:pt x="174" y="54"/>
                </a:lnTo>
                <a:lnTo>
                  <a:pt x="174" y="54"/>
                </a:lnTo>
                <a:lnTo>
                  <a:pt x="174" y="54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68" y="60"/>
                </a:lnTo>
                <a:lnTo>
                  <a:pt x="168" y="60"/>
                </a:lnTo>
                <a:lnTo>
                  <a:pt x="168" y="60"/>
                </a:lnTo>
                <a:lnTo>
                  <a:pt x="168" y="60"/>
                </a:lnTo>
                <a:lnTo>
                  <a:pt x="168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6"/>
                </a:lnTo>
                <a:lnTo>
                  <a:pt x="168" y="66"/>
                </a:lnTo>
                <a:lnTo>
                  <a:pt x="168" y="66"/>
                </a:lnTo>
                <a:lnTo>
                  <a:pt x="168" y="66"/>
                </a:lnTo>
                <a:lnTo>
                  <a:pt x="168" y="72"/>
                </a:lnTo>
                <a:lnTo>
                  <a:pt x="168" y="72"/>
                </a:lnTo>
                <a:lnTo>
                  <a:pt x="162" y="72"/>
                </a:lnTo>
                <a:lnTo>
                  <a:pt x="162" y="72"/>
                </a:lnTo>
                <a:lnTo>
                  <a:pt x="162" y="72"/>
                </a:lnTo>
                <a:lnTo>
                  <a:pt x="162" y="72"/>
                </a:lnTo>
                <a:lnTo>
                  <a:pt x="162" y="72"/>
                </a:lnTo>
                <a:lnTo>
                  <a:pt x="162" y="72"/>
                </a:lnTo>
                <a:lnTo>
                  <a:pt x="162" y="72"/>
                </a:lnTo>
                <a:lnTo>
                  <a:pt x="156" y="72"/>
                </a:lnTo>
                <a:lnTo>
                  <a:pt x="156" y="72"/>
                </a:lnTo>
                <a:lnTo>
                  <a:pt x="156" y="66"/>
                </a:lnTo>
                <a:lnTo>
                  <a:pt x="156" y="66"/>
                </a:lnTo>
                <a:lnTo>
                  <a:pt x="156" y="66"/>
                </a:lnTo>
                <a:lnTo>
                  <a:pt x="156" y="72"/>
                </a:lnTo>
                <a:lnTo>
                  <a:pt x="156" y="72"/>
                </a:lnTo>
                <a:lnTo>
                  <a:pt x="156" y="72"/>
                </a:lnTo>
                <a:lnTo>
                  <a:pt x="156" y="72"/>
                </a:lnTo>
                <a:lnTo>
                  <a:pt x="156" y="72"/>
                </a:lnTo>
                <a:lnTo>
                  <a:pt x="156" y="78"/>
                </a:lnTo>
                <a:lnTo>
                  <a:pt x="156" y="78"/>
                </a:lnTo>
                <a:lnTo>
                  <a:pt x="156" y="78"/>
                </a:lnTo>
                <a:lnTo>
                  <a:pt x="156" y="78"/>
                </a:lnTo>
                <a:lnTo>
                  <a:pt x="156" y="78"/>
                </a:lnTo>
                <a:lnTo>
                  <a:pt x="156" y="78"/>
                </a:lnTo>
                <a:lnTo>
                  <a:pt x="156" y="78"/>
                </a:lnTo>
                <a:lnTo>
                  <a:pt x="156" y="78"/>
                </a:lnTo>
                <a:lnTo>
                  <a:pt x="150" y="78"/>
                </a:lnTo>
                <a:lnTo>
                  <a:pt x="150" y="78"/>
                </a:lnTo>
                <a:lnTo>
                  <a:pt x="150" y="84"/>
                </a:lnTo>
                <a:lnTo>
                  <a:pt x="150" y="84"/>
                </a:lnTo>
                <a:lnTo>
                  <a:pt x="150" y="84"/>
                </a:lnTo>
                <a:lnTo>
                  <a:pt x="150" y="84"/>
                </a:lnTo>
                <a:lnTo>
                  <a:pt x="150" y="84"/>
                </a:lnTo>
                <a:lnTo>
                  <a:pt x="150" y="84"/>
                </a:lnTo>
                <a:lnTo>
                  <a:pt x="150" y="84"/>
                </a:lnTo>
                <a:lnTo>
                  <a:pt x="150" y="84"/>
                </a:lnTo>
                <a:lnTo>
                  <a:pt x="150" y="84"/>
                </a:lnTo>
                <a:lnTo>
                  <a:pt x="144" y="84"/>
                </a:lnTo>
                <a:lnTo>
                  <a:pt x="150" y="84"/>
                </a:lnTo>
                <a:lnTo>
                  <a:pt x="144" y="84"/>
                </a:lnTo>
                <a:lnTo>
                  <a:pt x="144" y="84"/>
                </a:lnTo>
                <a:lnTo>
                  <a:pt x="144" y="84"/>
                </a:lnTo>
                <a:lnTo>
                  <a:pt x="144" y="84"/>
                </a:lnTo>
                <a:lnTo>
                  <a:pt x="144" y="84"/>
                </a:lnTo>
                <a:lnTo>
                  <a:pt x="144" y="84"/>
                </a:lnTo>
                <a:lnTo>
                  <a:pt x="144" y="84"/>
                </a:lnTo>
                <a:lnTo>
                  <a:pt x="144" y="84"/>
                </a:lnTo>
                <a:lnTo>
                  <a:pt x="144" y="84"/>
                </a:lnTo>
                <a:lnTo>
                  <a:pt x="144" y="90"/>
                </a:lnTo>
                <a:lnTo>
                  <a:pt x="144" y="90"/>
                </a:lnTo>
                <a:lnTo>
                  <a:pt x="144" y="90"/>
                </a:lnTo>
                <a:lnTo>
                  <a:pt x="138" y="90"/>
                </a:lnTo>
                <a:lnTo>
                  <a:pt x="138" y="84"/>
                </a:lnTo>
                <a:lnTo>
                  <a:pt x="138" y="84"/>
                </a:lnTo>
                <a:lnTo>
                  <a:pt x="138" y="84"/>
                </a:lnTo>
                <a:lnTo>
                  <a:pt x="138" y="90"/>
                </a:lnTo>
                <a:lnTo>
                  <a:pt x="138" y="90"/>
                </a:lnTo>
                <a:lnTo>
                  <a:pt x="132" y="90"/>
                </a:lnTo>
                <a:lnTo>
                  <a:pt x="138" y="90"/>
                </a:lnTo>
                <a:lnTo>
                  <a:pt x="132" y="90"/>
                </a:lnTo>
                <a:lnTo>
                  <a:pt x="132" y="90"/>
                </a:lnTo>
                <a:lnTo>
                  <a:pt x="132" y="90"/>
                </a:lnTo>
                <a:lnTo>
                  <a:pt x="132" y="90"/>
                </a:lnTo>
                <a:lnTo>
                  <a:pt x="132" y="90"/>
                </a:lnTo>
                <a:lnTo>
                  <a:pt x="132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90"/>
                </a:lnTo>
                <a:lnTo>
                  <a:pt x="126" y="90"/>
                </a:lnTo>
                <a:lnTo>
                  <a:pt x="126" y="90"/>
                </a:lnTo>
                <a:lnTo>
                  <a:pt x="126" y="90"/>
                </a:lnTo>
                <a:lnTo>
                  <a:pt x="126" y="90"/>
                </a:lnTo>
                <a:lnTo>
                  <a:pt x="126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96"/>
                </a:lnTo>
                <a:lnTo>
                  <a:pt x="114" y="96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32"/>
                </a:lnTo>
                <a:lnTo>
                  <a:pt x="102" y="132"/>
                </a:lnTo>
                <a:lnTo>
                  <a:pt x="96" y="132"/>
                </a:lnTo>
                <a:lnTo>
                  <a:pt x="96" y="132"/>
                </a:lnTo>
                <a:lnTo>
                  <a:pt x="96" y="132"/>
                </a:lnTo>
                <a:lnTo>
                  <a:pt x="96" y="132"/>
                </a:lnTo>
                <a:lnTo>
                  <a:pt x="96" y="138"/>
                </a:lnTo>
                <a:lnTo>
                  <a:pt x="96" y="138"/>
                </a:lnTo>
                <a:lnTo>
                  <a:pt x="96" y="138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84" y="132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2" y="96"/>
                </a:lnTo>
                <a:lnTo>
                  <a:pt x="78" y="96"/>
                </a:lnTo>
                <a:lnTo>
                  <a:pt x="72" y="96"/>
                </a:lnTo>
                <a:lnTo>
                  <a:pt x="72" y="96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54" y="78"/>
                </a:lnTo>
                <a:lnTo>
                  <a:pt x="60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2"/>
                </a:lnTo>
                <a:lnTo>
                  <a:pt x="54" y="72"/>
                </a:lnTo>
                <a:lnTo>
                  <a:pt x="48" y="72"/>
                </a:lnTo>
                <a:lnTo>
                  <a:pt x="54" y="78"/>
                </a:lnTo>
                <a:lnTo>
                  <a:pt x="54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0" y="108"/>
                </a:lnTo>
                <a:lnTo>
                  <a:pt x="30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18" y="108"/>
                </a:lnTo>
                <a:lnTo>
                  <a:pt x="18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96"/>
                </a:lnTo>
                <a:lnTo>
                  <a:pt x="6" y="96"/>
                </a:lnTo>
                <a:lnTo>
                  <a:pt x="0" y="9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59" name="Freeform 292"/>
          <p:cNvSpPr>
            <a:spLocks/>
          </p:cNvSpPr>
          <p:nvPr/>
        </p:nvSpPr>
        <p:spPr bwMode="auto">
          <a:xfrm>
            <a:off x="7751221" y="3768831"/>
            <a:ext cx="122057" cy="122058"/>
          </a:xfrm>
          <a:custGeom>
            <a:avLst/>
            <a:gdLst>
              <a:gd name="T0" fmla="*/ 6 w 114"/>
              <a:gd name="T1" fmla="*/ 90 h 114"/>
              <a:gd name="T2" fmla="*/ 6 w 114"/>
              <a:gd name="T3" fmla="*/ 84 h 114"/>
              <a:gd name="T4" fmla="*/ 6 w 114"/>
              <a:gd name="T5" fmla="*/ 66 h 114"/>
              <a:gd name="T6" fmla="*/ 6 w 114"/>
              <a:gd name="T7" fmla="*/ 60 h 114"/>
              <a:gd name="T8" fmla="*/ 6 w 114"/>
              <a:gd name="T9" fmla="*/ 54 h 114"/>
              <a:gd name="T10" fmla="*/ 12 w 114"/>
              <a:gd name="T11" fmla="*/ 42 h 114"/>
              <a:gd name="T12" fmla="*/ 18 w 114"/>
              <a:gd name="T13" fmla="*/ 36 h 114"/>
              <a:gd name="T14" fmla="*/ 18 w 114"/>
              <a:gd name="T15" fmla="*/ 30 h 114"/>
              <a:gd name="T16" fmla="*/ 24 w 114"/>
              <a:gd name="T17" fmla="*/ 18 h 114"/>
              <a:gd name="T18" fmla="*/ 30 w 114"/>
              <a:gd name="T19" fmla="*/ 18 h 114"/>
              <a:gd name="T20" fmla="*/ 42 w 114"/>
              <a:gd name="T21" fmla="*/ 6 h 114"/>
              <a:gd name="T22" fmla="*/ 42 w 114"/>
              <a:gd name="T23" fmla="*/ 6 h 114"/>
              <a:gd name="T24" fmla="*/ 42 w 114"/>
              <a:gd name="T25" fmla="*/ 12 h 114"/>
              <a:gd name="T26" fmla="*/ 48 w 114"/>
              <a:gd name="T27" fmla="*/ 18 h 114"/>
              <a:gd name="T28" fmla="*/ 48 w 114"/>
              <a:gd name="T29" fmla="*/ 24 h 114"/>
              <a:gd name="T30" fmla="*/ 54 w 114"/>
              <a:gd name="T31" fmla="*/ 24 h 114"/>
              <a:gd name="T32" fmla="*/ 60 w 114"/>
              <a:gd name="T33" fmla="*/ 18 h 114"/>
              <a:gd name="T34" fmla="*/ 72 w 114"/>
              <a:gd name="T35" fmla="*/ 12 h 114"/>
              <a:gd name="T36" fmla="*/ 72 w 114"/>
              <a:gd name="T37" fmla="*/ 6 h 114"/>
              <a:gd name="T38" fmla="*/ 78 w 114"/>
              <a:gd name="T39" fmla="*/ 6 h 114"/>
              <a:gd name="T40" fmla="*/ 78 w 114"/>
              <a:gd name="T41" fmla="*/ 18 h 114"/>
              <a:gd name="T42" fmla="*/ 84 w 114"/>
              <a:gd name="T43" fmla="*/ 12 h 114"/>
              <a:gd name="T44" fmla="*/ 90 w 114"/>
              <a:gd name="T45" fmla="*/ 12 h 114"/>
              <a:gd name="T46" fmla="*/ 102 w 114"/>
              <a:gd name="T47" fmla="*/ 18 h 114"/>
              <a:gd name="T48" fmla="*/ 108 w 114"/>
              <a:gd name="T49" fmla="*/ 18 h 114"/>
              <a:gd name="T50" fmla="*/ 108 w 114"/>
              <a:gd name="T51" fmla="*/ 30 h 114"/>
              <a:gd name="T52" fmla="*/ 102 w 114"/>
              <a:gd name="T53" fmla="*/ 36 h 114"/>
              <a:gd name="T54" fmla="*/ 96 w 114"/>
              <a:gd name="T55" fmla="*/ 42 h 114"/>
              <a:gd name="T56" fmla="*/ 96 w 114"/>
              <a:gd name="T57" fmla="*/ 42 h 114"/>
              <a:gd name="T58" fmla="*/ 102 w 114"/>
              <a:gd name="T59" fmla="*/ 48 h 114"/>
              <a:gd name="T60" fmla="*/ 108 w 114"/>
              <a:gd name="T61" fmla="*/ 48 h 114"/>
              <a:gd name="T62" fmla="*/ 114 w 114"/>
              <a:gd name="T63" fmla="*/ 48 h 114"/>
              <a:gd name="T64" fmla="*/ 114 w 114"/>
              <a:gd name="T65" fmla="*/ 54 h 114"/>
              <a:gd name="T66" fmla="*/ 108 w 114"/>
              <a:gd name="T67" fmla="*/ 60 h 114"/>
              <a:gd name="T68" fmla="*/ 102 w 114"/>
              <a:gd name="T69" fmla="*/ 60 h 114"/>
              <a:gd name="T70" fmla="*/ 96 w 114"/>
              <a:gd name="T71" fmla="*/ 66 h 114"/>
              <a:gd name="T72" fmla="*/ 96 w 114"/>
              <a:gd name="T73" fmla="*/ 66 h 114"/>
              <a:gd name="T74" fmla="*/ 90 w 114"/>
              <a:gd name="T75" fmla="*/ 72 h 114"/>
              <a:gd name="T76" fmla="*/ 96 w 114"/>
              <a:gd name="T77" fmla="*/ 78 h 114"/>
              <a:gd name="T78" fmla="*/ 102 w 114"/>
              <a:gd name="T79" fmla="*/ 84 h 114"/>
              <a:gd name="T80" fmla="*/ 96 w 114"/>
              <a:gd name="T81" fmla="*/ 84 h 114"/>
              <a:gd name="T82" fmla="*/ 96 w 114"/>
              <a:gd name="T83" fmla="*/ 90 h 114"/>
              <a:gd name="T84" fmla="*/ 90 w 114"/>
              <a:gd name="T85" fmla="*/ 96 h 114"/>
              <a:gd name="T86" fmla="*/ 78 w 114"/>
              <a:gd name="T87" fmla="*/ 96 h 114"/>
              <a:gd name="T88" fmla="*/ 72 w 114"/>
              <a:gd name="T89" fmla="*/ 102 h 114"/>
              <a:gd name="T90" fmla="*/ 72 w 114"/>
              <a:gd name="T91" fmla="*/ 102 h 114"/>
              <a:gd name="T92" fmla="*/ 60 w 114"/>
              <a:gd name="T93" fmla="*/ 108 h 114"/>
              <a:gd name="T94" fmla="*/ 54 w 114"/>
              <a:gd name="T95" fmla="*/ 114 h 114"/>
              <a:gd name="T96" fmla="*/ 48 w 114"/>
              <a:gd name="T97" fmla="*/ 108 h 114"/>
              <a:gd name="T98" fmla="*/ 36 w 114"/>
              <a:gd name="T99" fmla="*/ 108 h 114"/>
              <a:gd name="T100" fmla="*/ 30 w 114"/>
              <a:gd name="T101" fmla="*/ 102 h 114"/>
              <a:gd name="T102" fmla="*/ 24 w 114"/>
              <a:gd name="T103" fmla="*/ 102 h 114"/>
              <a:gd name="T104" fmla="*/ 24 w 114"/>
              <a:gd name="T105" fmla="*/ 96 h 114"/>
              <a:gd name="T106" fmla="*/ 12 w 114"/>
              <a:gd name="T107" fmla="*/ 96 h 114"/>
              <a:gd name="T108" fmla="*/ 6 w 114"/>
              <a:gd name="T109" fmla="*/ 102 h 114"/>
              <a:gd name="T110" fmla="*/ 0 w 114"/>
              <a:gd name="T111" fmla="*/ 102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14" h="114">
                <a:moveTo>
                  <a:pt x="0" y="102"/>
                </a:move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84"/>
                </a:lnTo>
                <a:lnTo>
                  <a:pt x="12" y="84"/>
                </a:lnTo>
                <a:lnTo>
                  <a:pt x="6" y="84"/>
                </a:lnTo>
                <a:lnTo>
                  <a:pt x="6" y="84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0" y="60"/>
                </a:lnTo>
                <a:lnTo>
                  <a:pt x="0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18"/>
                </a:lnTo>
                <a:lnTo>
                  <a:pt x="24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2"/>
                </a:lnTo>
                <a:lnTo>
                  <a:pt x="30" y="12"/>
                </a:lnTo>
                <a:lnTo>
                  <a:pt x="30" y="18"/>
                </a:lnTo>
                <a:lnTo>
                  <a:pt x="30" y="12"/>
                </a:lnTo>
                <a:lnTo>
                  <a:pt x="30" y="12"/>
                </a:lnTo>
                <a:lnTo>
                  <a:pt x="36" y="12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60" y="24"/>
                </a:lnTo>
                <a:lnTo>
                  <a:pt x="60" y="24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8"/>
                </a:lnTo>
                <a:lnTo>
                  <a:pt x="78" y="12"/>
                </a:lnTo>
                <a:lnTo>
                  <a:pt x="84" y="12"/>
                </a:lnTo>
                <a:lnTo>
                  <a:pt x="84" y="12"/>
                </a:lnTo>
                <a:lnTo>
                  <a:pt x="84" y="18"/>
                </a:lnTo>
                <a:lnTo>
                  <a:pt x="84" y="18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14" y="18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0" y="42"/>
                </a:lnTo>
                <a:lnTo>
                  <a:pt x="90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8"/>
                </a:lnTo>
                <a:lnTo>
                  <a:pt x="102" y="42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14" y="48"/>
                </a:lnTo>
                <a:lnTo>
                  <a:pt x="114" y="42"/>
                </a:lnTo>
                <a:lnTo>
                  <a:pt x="114" y="42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0" y="66"/>
                </a:lnTo>
                <a:lnTo>
                  <a:pt x="90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6" y="72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102" y="84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102" y="84"/>
                </a:lnTo>
                <a:lnTo>
                  <a:pt x="96" y="90"/>
                </a:lnTo>
                <a:lnTo>
                  <a:pt x="102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0" y="90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84" y="102"/>
                </a:lnTo>
                <a:lnTo>
                  <a:pt x="84" y="102"/>
                </a:lnTo>
                <a:lnTo>
                  <a:pt x="84" y="102"/>
                </a:lnTo>
                <a:lnTo>
                  <a:pt x="84" y="96"/>
                </a:lnTo>
                <a:lnTo>
                  <a:pt x="84" y="102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102"/>
                </a:lnTo>
                <a:lnTo>
                  <a:pt x="78" y="102"/>
                </a:lnTo>
                <a:lnTo>
                  <a:pt x="72" y="96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8"/>
                </a:lnTo>
                <a:lnTo>
                  <a:pt x="72" y="108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48" y="114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2"/>
                </a:lnTo>
                <a:lnTo>
                  <a:pt x="48" y="102"/>
                </a:lnTo>
                <a:lnTo>
                  <a:pt x="42" y="108"/>
                </a:lnTo>
                <a:lnTo>
                  <a:pt x="42" y="102"/>
                </a:lnTo>
                <a:lnTo>
                  <a:pt x="42" y="102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2"/>
                </a:lnTo>
                <a:lnTo>
                  <a:pt x="30" y="108"/>
                </a:lnTo>
                <a:lnTo>
                  <a:pt x="30" y="108"/>
                </a:lnTo>
                <a:lnTo>
                  <a:pt x="30" y="102"/>
                </a:lnTo>
                <a:lnTo>
                  <a:pt x="30" y="102"/>
                </a:lnTo>
                <a:lnTo>
                  <a:pt x="30" y="108"/>
                </a:lnTo>
                <a:lnTo>
                  <a:pt x="30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102"/>
                </a:lnTo>
                <a:lnTo>
                  <a:pt x="12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60" name="Freeform 293"/>
          <p:cNvSpPr>
            <a:spLocks/>
          </p:cNvSpPr>
          <p:nvPr/>
        </p:nvSpPr>
        <p:spPr bwMode="auto">
          <a:xfrm>
            <a:off x="7205177" y="4147852"/>
            <a:ext cx="109209" cy="147754"/>
          </a:xfrm>
          <a:custGeom>
            <a:avLst/>
            <a:gdLst>
              <a:gd name="T0" fmla="*/ 0 w 102"/>
              <a:gd name="T1" fmla="*/ 108 h 138"/>
              <a:gd name="T2" fmla="*/ 6 w 102"/>
              <a:gd name="T3" fmla="*/ 108 h 138"/>
              <a:gd name="T4" fmla="*/ 6 w 102"/>
              <a:gd name="T5" fmla="*/ 102 h 138"/>
              <a:gd name="T6" fmla="*/ 6 w 102"/>
              <a:gd name="T7" fmla="*/ 90 h 138"/>
              <a:gd name="T8" fmla="*/ 0 w 102"/>
              <a:gd name="T9" fmla="*/ 90 h 138"/>
              <a:gd name="T10" fmla="*/ 6 w 102"/>
              <a:gd name="T11" fmla="*/ 72 h 138"/>
              <a:gd name="T12" fmla="*/ 12 w 102"/>
              <a:gd name="T13" fmla="*/ 72 h 138"/>
              <a:gd name="T14" fmla="*/ 18 w 102"/>
              <a:gd name="T15" fmla="*/ 72 h 138"/>
              <a:gd name="T16" fmla="*/ 30 w 102"/>
              <a:gd name="T17" fmla="*/ 72 h 138"/>
              <a:gd name="T18" fmla="*/ 30 w 102"/>
              <a:gd name="T19" fmla="*/ 60 h 138"/>
              <a:gd name="T20" fmla="*/ 30 w 102"/>
              <a:gd name="T21" fmla="*/ 54 h 138"/>
              <a:gd name="T22" fmla="*/ 30 w 102"/>
              <a:gd name="T23" fmla="*/ 48 h 138"/>
              <a:gd name="T24" fmla="*/ 30 w 102"/>
              <a:gd name="T25" fmla="*/ 42 h 138"/>
              <a:gd name="T26" fmla="*/ 24 w 102"/>
              <a:gd name="T27" fmla="*/ 42 h 138"/>
              <a:gd name="T28" fmla="*/ 36 w 102"/>
              <a:gd name="T29" fmla="*/ 24 h 138"/>
              <a:gd name="T30" fmla="*/ 42 w 102"/>
              <a:gd name="T31" fmla="*/ 18 h 138"/>
              <a:gd name="T32" fmla="*/ 42 w 102"/>
              <a:gd name="T33" fmla="*/ 12 h 138"/>
              <a:gd name="T34" fmla="*/ 48 w 102"/>
              <a:gd name="T35" fmla="*/ 6 h 138"/>
              <a:gd name="T36" fmla="*/ 60 w 102"/>
              <a:gd name="T37" fmla="*/ 6 h 138"/>
              <a:gd name="T38" fmla="*/ 66 w 102"/>
              <a:gd name="T39" fmla="*/ 18 h 138"/>
              <a:gd name="T40" fmla="*/ 72 w 102"/>
              <a:gd name="T41" fmla="*/ 18 h 138"/>
              <a:gd name="T42" fmla="*/ 72 w 102"/>
              <a:gd name="T43" fmla="*/ 30 h 138"/>
              <a:gd name="T44" fmla="*/ 72 w 102"/>
              <a:gd name="T45" fmla="*/ 36 h 138"/>
              <a:gd name="T46" fmla="*/ 84 w 102"/>
              <a:gd name="T47" fmla="*/ 36 h 138"/>
              <a:gd name="T48" fmla="*/ 84 w 102"/>
              <a:gd name="T49" fmla="*/ 42 h 138"/>
              <a:gd name="T50" fmla="*/ 78 w 102"/>
              <a:gd name="T51" fmla="*/ 48 h 138"/>
              <a:gd name="T52" fmla="*/ 78 w 102"/>
              <a:gd name="T53" fmla="*/ 48 h 138"/>
              <a:gd name="T54" fmla="*/ 78 w 102"/>
              <a:gd name="T55" fmla="*/ 60 h 138"/>
              <a:gd name="T56" fmla="*/ 78 w 102"/>
              <a:gd name="T57" fmla="*/ 66 h 138"/>
              <a:gd name="T58" fmla="*/ 72 w 102"/>
              <a:gd name="T59" fmla="*/ 72 h 138"/>
              <a:gd name="T60" fmla="*/ 66 w 102"/>
              <a:gd name="T61" fmla="*/ 84 h 138"/>
              <a:gd name="T62" fmla="*/ 66 w 102"/>
              <a:gd name="T63" fmla="*/ 96 h 138"/>
              <a:gd name="T64" fmla="*/ 66 w 102"/>
              <a:gd name="T65" fmla="*/ 102 h 138"/>
              <a:gd name="T66" fmla="*/ 66 w 102"/>
              <a:gd name="T67" fmla="*/ 108 h 138"/>
              <a:gd name="T68" fmla="*/ 78 w 102"/>
              <a:gd name="T69" fmla="*/ 108 h 138"/>
              <a:gd name="T70" fmla="*/ 78 w 102"/>
              <a:gd name="T71" fmla="*/ 102 h 138"/>
              <a:gd name="T72" fmla="*/ 84 w 102"/>
              <a:gd name="T73" fmla="*/ 102 h 138"/>
              <a:gd name="T74" fmla="*/ 96 w 102"/>
              <a:gd name="T75" fmla="*/ 102 h 138"/>
              <a:gd name="T76" fmla="*/ 96 w 102"/>
              <a:gd name="T77" fmla="*/ 108 h 138"/>
              <a:gd name="T78" fmla="*/ 84 w 102"/>
              <a:gd name="T79" fmla="*/ 114 h 138"/>
              <a:gd name="T80" fmla="*/ 90 w 102"/>
              <a:gd name="T81" fmla="*/ 114 h 138"/>
              <a:gd name="T82" fmla="*/ 96 w 102"/>
              <a:gd name="T83" fmla="*/ 120 h 138"/>
              <a:gd name="T84" fmla="*/ 96 w 102"/>
              <a:gd name="T85" fmla="*/ 126 h 138"/>
              <a:gd name="T86" fmla="*/ 90 w 102"/>
              <a:gd name="T87" fmla="*/ 132 h 138"/>
              <a:gd name="T88" fmla="*/ 84 w 102"/>
              <a:gd name="T89" fmla="*/ 126 h 138"/>
              <a:gd name="T90" fmla="*/ 78 w 102"/>
              <a:gd name="T91" fmla="*/ 132 h 138"/>
              <a:gd name="T92" fmla="*/ 72 w 102"/>
              <a:gd name="T93" fmla="*/ 132 h 138"/>
              <a:gd name="T94" fmla="*/ 72 w 102"/>
              <a:gd name="T95" fmla="*/ 126 h 138"/>
              <a:gd name="T96" fmla="*/ 60 w 102"/>
              <a:gd name="T97" fmla="*/ 132 h 138"/>
              <a:gd name="T98" fmla="*/ 42 w 102"/>
              <a:gd name="T99" fmla="*/ 138 h 138"/>
              <a:gd name="T100" fmla="*/ 42 w 102"/>
              <a:gd name="T101" fmla="*/ 132 h 138"/>
              <a:gd name="T102" fmla="*/ 24 w 102"/>
              <a:gd name="T103" fmla="*/ 132 h 138"/>
              <a:gd name="T104" fmla="*/ 18 w 102"/>
              <a:gd name="T105" fmla="*/ 138 h 138"/>
              <a:gd name="T106" fmla="*/ 12 w 102"/>
              <a:gd name="T107" fmla="*/ 132 h 138"/>
              <a:gd name="T108" fmla="*/ 12 w 102"/>
              <a:gd name="T109" fmla="*/ 120 h 138"/>
              <a:gd name="T110" fmla="*/ 12 w 102"/>
              <a:gd name="T111" fmla="*/ 120 h 138"/>
              <a:gd name="T112" fmla="*/ 0 w 102"/>
              <a:gd name="T113" fmla="*/ 114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2" h="138">
                <a:moveTo>
                  <a:pt x="0" y="114"/>
                </a:moveTo>
                <a:lnTo>
                  <a:pt x="0" y="114"/>
                </a:lnTo>
                <a:lnTo>
                  <a:pt x="0" y="114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12" y="108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0" y="84"/>
                </a:lnTo>
                <a:lnTo>
                  <a:pt x="0" y="84"/>
                </a:lnTo>
                <a:lnTo>
                  <a:pt x="6" y="84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24" y="72"/>
                </a:lnTo>
                <a:lnTo>
                  <a:pt x="18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30" y="36"/>
                </a:lnTo>
                <a:lnTo>
                  <a:pt x="30" y="36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0"/>
                </a:lnTo>
                <a:lnTo>
                  <a:pt x="48" y="0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72" y="18"/>
                </a:lnTo>
                <a:lnTo>
                  <a:pt x="72" y="18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78" y="36"/>
                </a:lnTo>
                <a:lnTo>
                  <a:pt x="84" y="36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78" y="42"/>
                </a:lnTo>
                <a:lnTo>
                  <a:pt x="78" y="42"/>
                </a:lnTo>
                <a:lnTo>
                  <a:pt x="78" y="48"/>
                </a:lnTo>
                <a:lnTo>
                  <a:pt x="78" y="42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8"/>
                </a:lnTo>
                <a:lnTo>
                  <a:pt x="72" y="78"/>
                </a:lnTo>
                <a:lnTo>
                  <a:pt x="66" y="78"/>
                </a:lnTo>
                <a:lnTo>
                  <a:pt x="72" y="84"/>
                </a:lnTo>
                <a:lnTo>
                  <a:pt x="66" y="84"/>
                </a:lnTo>
                <a:lnTo>
                  <a:pt x="66" y="84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14"/>
                </a:lnTo>
                <a:lnTo>
                  <a:pt x="72" y="108"/>
                </a:lnTo>
                <a:lnTo>
                  <a:pt x="72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2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84" y="102"/>
                </a:lnTo>
                <a:lnTo>
                  <a:pt x="84" y="102"/>
                </a:lnTo>
                <a:lnTo>
                  <a:pt x="84" y="102"/>
                </a:lnTo>
                <a:lnTo>
                  <a:pt x="84" y="102"/>
                </a:lnTo>
                <a:lnTo>
                  <a:pt x="90" y="102"/>
                </a:lnTo>
                <a:lnTo>
                  <a:pt x="90" y="102"/>
                </a:lnTo>
                <a:lnTo>
                  <a:pt x="90" y="102"/>
                </a:lnTo>
                <a:lnTo>
                  <a:pt x="90" y="102"/>
                </a:lnTo>
                <a:lnTo>
                  <a:pt x="90" y="102"/>
                </a:lnTo>
                <a:lnTo>
                  <a:pt x="90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102" y="102"/>
                </a:lnTo>
                <a:lnTo>
                  <a:pt x="102" y="108"/>
                </a:lnTo>
                <a:lnTo>
                  <a:pt x="102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0" y="126"/>
                </a:lnTo>
                <a:lnTo>
                  <a:pt x="90" y="126"/>
                </a:lnTo>
                <a:lnTo>
                  <a:pt x="90" y="126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26"/>
                </a:lnTo>
                <a:lnTo>
                  <a:pt x="84" y="132"/>
                </a:lnTo>
                <a:lnTo>
                  <a:pt x="84" y="126"/>
                </a:lnTo>
                <a:lnTo>
                  <a:pt x="84" y="132"/>
                </a:lnTo>
                <a:lnTo>
                  <a:pt x="84" y="132"/>
                </a:lnTo>
                <a:lnTo>
                  <a:pt x="78" y="132"/>
                </a:lnTo>
                <a:lnTo>
                  <a:pt x="78" y="132"/>
                </a:lnTo>
                <a:lnTo>
                  <a:pt x="78" y="132"/>
                </a:lnTo>
                <a:lnTo>
                  <a:pt x="78" y="132"/>
                </a:lnTo>
                <a:lnTo>
                  <a:pt x="78" y="132"/>
                </a:lnTo>
                <a:lnTo>
                  <a:pt x="78" y="132"/>
                </a:lnTo>
                <a:lnTo>
                  <a:pt x="78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66" y="132"/>
                </a:lnTo>
                <a:lnTo>
                  <a:pt x="66" y="132"/>
                </a:lnTo>
                <a:lnTo>
                  <a:pt x="66" y="132"/>
                </a:lnTo>
                <a:lnTo>
                  <a:pt x="66" y="132"/>
                </a:lnTo>
                <a:lnTo>
                  <a:pt x="66" y="132"/>
                </a:lnTo>
                <a:lnTo>
                  <a:pt x="66" y="132"/>
                </a:lnTo>
                <a:lnTo>
                  <a:pt x="60" y="132"/>
                </a:lnTo>
                <a:lnTo>
                  <a:pt x="60" y="132"/>
                </a:lnTo>
                <a:lnTo>
                  <a:pt x="60" y="138"/>
                </a:lnTo>
                <a:lnTo>
                  <a:pt x="60" y="138"/>
                </a:lnTo>
                <a:lnTo>
                  <a:pt x="54" y="138"/>
                </a:lnTo>
                <a:lnTo>
                  <a:pt x="54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36" y="132"/>
                </a:lnTo>
                <a:lnTo>
                  <a:pt x="36" y="132"/>
                </a:lnTo>
                <a:lnTo>
                  <a:pt x="36" y="132"/>
                </a:lnTo>
                <a:lnTo>
                  <a:pt x="30" y="138"/>
                </a:lnTo>
                <a:lnTo>
                  <a:pt x="30" y="138"/>
                </a:lnTo>
                <a:lnTo>
                  <a:pt x="30" y="138"/>
                </a:lnTo>
                <a:lnTo>
                  <a:pt x="24" y="138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8"/>
                </a:lnTo>
                <a:lnTo>
                  <a:pt x="24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0"/>
                </a:lnTo>
                <a:lnTo>
                  <a:pt x="12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14"/>
                </a:lnTo>
                <a:lnTo>
                  <a:pt x="6" y="120"/>
                </a:lnTo>
                <a:lnTo>
                  <a:pt x="6" y="120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0" y="114"/>
                </a:lnTo>
                <a:lnTo>
                  <a:pt x="0" y="114"/>
                </a:lnTo>
                <a:lnTo>
                  <a:pt x="0" y="114"/>
                </a:lnTo>
                <a:lnTo>
                  <a:pt x="0" y="114"/>
                </a:lnTo>
                <a:lnTo>
                  <a:pt x="0" y="11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61" name="Freeform 294"/>
          <p:cNvSpPr>
            <a:spLocks/>
          </p:cNvSpPr>
          <p:nvPr/>
        </p:nvSpPr>
        <p:spPr bwMode="auto">
          <a:xfrm>
            <a:off x="7397898" y="3948705"/>
            <a:ext cx="109209" cy="115634"/>
          </a:xfrm>
          <a:custGeom>
            <a:avLst/>
            <a:gdLst>
              <a:gd name="T0" fmla="*/ 0 w 102"/>
              <a:gd name="T1" fmla="*/ 66 h 108"/>
              <a:gd name="T2" fmla="*/ 12 w 102"/>
              <a:gd name="T3" fmla="*/ 60 h 108"/>
              <a:gd name="T4" fmla="*/ 6 w 102"/>
              <a:gd name="T5" fmla="*/ 54 h 108"/>
              <a:gd name="T6" fmla="*/ 0 w 102"/>
              <a:gd name="T7" fmla="*/ 54 h 108"/>
              <a:gd name="T8" fmla="*/ 0 w 102"/>
              <a:gd name="T9" fmla="*/ 48 h 108"/>
              <a:gd name="T10" fmla="*/ 0 w 102"/>
              <a:gd name="T11" fmla="*/ 42 h 108"/>
              <a:gd name="T12" fmla="*/ 6 w 102"/>
              <a:gd name="T13" fmla="*/ 30 h 108"/>
              <a:gd name="T14" fmla="*/ 6 w 102"/>
              <a:gd name="T15" fmla="*/ 24 h 108"/>
              <a:gd name="T16" fmla="*/ 6 w 102"/>
              <a:gd name="T17" fmla="*/ 18 h 108"/>
              <a:gd name="T18" fmla="*/ 12 w 102"/>
              <a:gd name="T19" fmla="*/ 12 h 108"/>
              <a:gd name="T20" fmla="*/ 18 w 102"/>
              <a:gd name="T21" fmla="*/ 12 h 108"/>
              <a:gd name="T22" fmla="*/ 30 w 102"/>
              <a:gd name="T23" fmla="*/ 12 h 108"/>
              <a:gd name="T24" fmla="*/ 36 w 102"/>
              <a:gd name="T25" fmla="*/ 12 h 108"/>
              <a:gd name="T26" fmla="*/ 42 w 102"/>
              <a:gd name="T27" fmla="*/ 18 h 108"/>
              <a:gd name="T28" fmla="*/ 48 w 102"/>
              <a:gd name="T29" fmla="*/ 18 h 108"/>
              <a:gd name="T30" fmla="*/ 48 w 102"/>
              <a:gd name="T31" fmla="*/ 6 h 108"/>
              <a:gd name="T32" fmla="*/ 54 w 102"/>
              <a:gd name="T33" fmla="*/ 6 h 108"/>
              <a:gd name="T34" fmla="*/ 60 w 102"/>
              <a:gd name="T35" fmla="*/ 6 h 108"/>
              <a:gd name="T36" fmla="*/ 60 w 102"/>
              <a:gd name="T37" fmla="*/ 0 h 108"/>
              <a:gd name="T38" fmla="*/ 66 w 102"/>
              <a:gd name="T39" fmla="*/ 6 h 108"/>
              <a:gd name="T40" fmla="*/ 72 w 102"/>
              <a:gd name="T41" fmla="*/ 6 h 108"/>
              <a:gd name="T42" fmla="*/ 78 w 102"/>
              <a:gd name="T43" fmla="*/ 6 h 108"/>
              <a:gd name="T44" fmla="*/ 78 w 102"/>
              <a:gd name="T45" fmla="*/ 6 h 108"/>
              <a:gd name="T46" fmla="*/ 90 w 102"/>
              <a:gd name="T47" fmla="*/ 6 h 108"/>
              <a:gd name="T48" fmla="*/ 90 w 102"/>
              <a:gd name="T49" fmla="*/ 6 h 108"/>
              <a:gd name="T50" fmla="*/ 96 w 102"/>
              <a:gd name="T51" fmla="*/ 12 h 108"/>
              <a:gd name="T52" fmla="*/ 96 w 102"/>
              <a:gd name="T53" fmla="*/ 18 h 108"/>
              <a:gd name="T54" fmla="*/ 102 w 102"/>
              <a:gd name="T55" fmla="*/ 24 h 108"/>
              <a:gd name="T56" fmla="*/ 96 w 102"/>
              <a:gd name="T57" fmla="*/ 24 h 108"/>
              <a:gd name="T58" fmla="*/ 90 w 102"/>
              <a:gd name="T59" fmla="*/ 30 h 108"/>
              <a:gd name="T60" fmla="*/ 90 w 102"/>
              <a:gd name="T61" fmla="*/ 36 h 108"/>
              <a:gd name="T62" fmla="*/ 84 w 102"/>
              <a:gd name="T63" fmla="*/ 42 h 108"/>
              <a:gd name="T64" fmla="*/ 78 w 102"/>
              <a:gd name="T65" fmla="*/ 48 h 108"/>
              <a:gd name="T66" fmla="*/ 72 w 102"/>
              <a:gd name="T67" fmla="*/ 54 h 108"/>
              <a:gd name="T68" fmla="*/ 60 w 102"/>
              <a:gd name="T69" fmla="*/ 54 h 108"/>
              <a:gd name="T70" fmla="*/ 54 w 102"/>
              <a:gd name="T71" fmla="*/ 60 h 108"/>
              <a:gd name="T72" fmla="*/ 48 w 102"/>
              <a:gd name="T73" fmla="*/ 54 h 108"/>
              <a:gd name="T74" fmla="*/ 54 w 102"/>
              <a:gd name="T75" fmla="*/ 60 h 108"/>
              <a:gd name="T76" fmla="*/ 54 w 102"/>
              <a:gd name="T77" fmla="*/ 66 h 108"/>
              <a:gd name="T78" fmla="*/ 60 w 102"/>
              <a:gd name="T79" fmla="*/ 78 h 108"/>
              <a:gd name="T80" fmla="*/ 60 w 102"/>
              <a:gd name="T81" fmla="*/ 84 h 108"/>
              <a:gd name="T82" fmla="*/ 60 w 102"/>
              <a:gd name="T83" fmla="*/ 90 h 108"/>
              <a:gd name="T84" fmla="*/ 54 w 102"/>
              <a:gd name="T85" fmla="*/ 90 h 108"/>
              <a:gd name="T86" fmla="*/ 48 w 102"/>
              <a:gd name="T87" fmla="*/ 96 h 108"/>
              <a:gd name="T88" fmla="*/ 48 w 102"/>
              <a:gd name="T89" fmla="*/ 102 h 108"/>
              <a:gd name="T90" fmla="*/ 42 w 102"/>
              <a:gd name="T91" fmla="*/ 102 h 108"/>
              <a:gd name="T92" fmla="*/ 42 w 102"/>
              <a:gd name="T93" fmla="*/ 102 h 108"/>
              <a:gd name="T94" fmla="*/ 36 w 102"/>
              <a:gd name="T95" fmla="*/ 102 h 108"/>
              <a:gd name="T96" fmla="*/ 30 w 102"/>
              <a:gd name="T97" fmla="*/ 96 h 108"/>
              <a:gd name="T98" fmla="*/ 24 w 102"/>
              <a:gd name="T99" fmla="*/ 102 h 108"/>
              <a:gd name="T100" fmla="*/ 24 w 102"/>
              <a:gd name="T101" fmla="*/ 96 h 108"/>
              <a:gd name="T102" fmla="*/ 18 w 102"/>
              <a:gd name="T103" fmla="*/ 90 h 108"/>
              <a:gd name="T104" fmla="*/ 18 w 102"/>
              <a:gd name="T105" fmla="*/ 84 h 108"/>
              <a:gd name="T106" fmla="*/ 12 w 102"/>
              <a:gd name="T107" fmla="*/ 84 h 108"/>
              <a:gd name="T108" fmla="*/ 6 w 102"/>
              <a:gd name="T109" fmla="*/ 84 h 108"/>
              <a:gd name="T110" fmla="*/ 0 w 102"/>
              <a:gd name="T111" fmla="*/ 78 h 108"/>
              <a:gd name="T112" fmla="*/ 0 w 102"/>
              <a:gd name="T113" fmla="*/ 72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2" h="108">
                <a:moveTo>
                  <a:pt x="0" y="66"/>
                </a:move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6" y="60"/>
                </a:lnTo>
                <a:lnTo>
                  <a:pt x="12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0" y="54"/>
                </a:lnTo>
                <a:lnTo>
                  <a:pt x="0" y="54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2"/>
                </a:lnTo>
                <a:lnTo>
                  <a:pt x="6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24" y="12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2"/>
                </a:lnTo>
                <a:lnTo>
                  <a:pt x="48" y="12"/>
                </a:lnTo>
                <a:lnTo>
                  <a:pt x="48" y="6"/>
                </a:lnTo>
                <a:lnTo>
                  <a:pt x="48" y="6"/>
                </a:lnTo>
                <a:lnTo>
                  <a:pt x="48" y="12"/>
                </a:lnTo>
                <a:lnTo>
                  <a:pt x="48" y="12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54" y="6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72" y="6"/>
                </a:lnTo>
                <a:lnTo>
                  <a:pt x="72" y="12"/>
                </a:lnTo>
                <a:lnTo>
                  <a:pt x="72" y="12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90" y="0"/>
                </a:lnTo>
                <a:lnTo>
                  <a:pt x="90" y="0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96" y="24"/>
                </a:lnTo>
                <a:lnTo>
                  <a:pt x="96" y="24"/>
                </a:lnTo>
                <a:lnTo>
                  <a:pt x="96" y="30"/>
                </a:lnTo>
                <a:lnTo>
                  <a:pt x="96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84" y="36"/>
                </a:lnTo>
                <a:lnTo>
                  <a:pt x="84" y="36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78" y="48"/>
                </a:lnTo>
                <a:lnTo>
                  <a:pt x="78" y="48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66" y="48"/>
                </a:lnTo>
                <a:lnTo>
                  <a:pt x="66" y="48"/>
                </a:lnTo>
                <a:lnTo>
                  <a:pt x="66" y="54"/>
                </a:lnTo>
                <a:lnTo>
                  <a:pt x="66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54" y="54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54"/>
                </a:lnTo>
                <a:lnTo>
                  <a:pt x="54" y="60"/>
                </a:lnTo>
                <a:lnTo>
                  <a:pt x="48" y="54"/>
                </a:lnTo>
                <a:lnTo>
                  <a:pt x="48" y="54"/>
                </a:lnTo>
                <a:lnTo>
                  <a:pt x="48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8"/>
                </a:lnTo>
                <a:lnTo>
                  <a:pt x="60" y="78"/>
                </a:lnTo>
                <a:lnTo>
                  <a:pt x="54" y="78"/>
                </a:lnTo>
                <a:lnTo>
                  <a:pt x="60" y="78"/>
                </a:lnTo>
                <a:lnTo>
                  <a:pt x="54" y="78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48" y="90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2"/>
                </a:lnTo>
                <a:lnTo>
                  <a:pt x="42" y="102"/>
                </a:lnTo>
                <a:lnTo>
                  <a:pt x="36" y="102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2"/>
                </a:lnTo>
                <a:lnTo>
                  <a:pt x="36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96"/>
                </a:lnTo>
                <a:lnTo>
                  <a:pt x="30" y="102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24" y="96"/>
                </a:lnTo>
                <a:lnTo>
                  <a:pt x="24" y="96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6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62" name="Freeform 295"/>
          <p:cNvSpPr>
            <a:spLocks/>
          </p:cNvSpPr>
          <p:nvPr/>
        </p:nvSpPr>
        <p:spPr bwMode="auto">
          <a:xfrm>
            <a:off x="7282265" y="3087877"/>
            <a:ext cx="334051" cy="301933"/>
          </a:xfrm>
          <a:custGeom>
            <a:avLst/>
            <a:gdLst>
              <a:gd name="T0" fmla="*/ 12 w 312"/>
              <a:gd name="T1" fmla="*/ 234 h 282"/>
              <a:gd name="T2" fmla="*/ 24 w 312"/>
              <a:gd name="T3" fmla="*/ 210 h 282"/>
              <a:gd name="T4" fmla="*/ 36 w 312"/>
              <a:gd name="T5" fmla="*/ 198 h 282"/>
              <a:gd name="T6" fmla="*/ 42 w 312"/>
              <a:gd name="T7" fmla="*/ 192 h 282"/>
              <a:gd name="T8" fmla="*/ 42 w 312"/>
              <a:gd name="T9" fmla="*/ 180 h 282"/>
              <a:gd name="T10" fmla="*/ 42 w 312"/>
              <a:gd name="T11" fmla="*/ 162 h 282"/>
              <a:gd name="T12" fmla="*/ 18 w 312"/>
              <a:gd name="T13" fmla="*/ 150 h 282"/>
              <a:gd name="T14" fmla="*/ 42 w 312"/>
              <a:gd name="T15" fmla="*/ 126 h 282"/>
              <a:gd name="T16" fmla="*/ 18 w 312"/>
              <a:gd name="T17" fmla="*/ 126 h 282"/>
              <a:gd name="T18" fmla="*/ 24 w 312"/>
              <a:gd name="T19" fmla="*/ 114 h 282"/>
              <a:gd name="T20" fmla="*/ 30 w 312"/>
              <a:gd name="T21" fmla="*/ 108 h 282"/>
              <a:gd name="T22" fmla="*/ 42 w 312"/>
              <a:gd name="T23" fmla="*/ 96 h 282"/>
              <a:gd name="T24" fmla="*/ 60 w 312"/>
              <a:gd name="T25" fmla="*/ 90 h 282"/>
              <a:gd name="T26" fmla="*/ 72 w 312"/>
              <a:gd name="T27" fmla="*/ 84 h 282"/>
              <a:gd name="T28" fmla="*/ 78 w 312"/>
              <a:gd name="T29" fmla="*/ 78 h 282"/>
              <a:gd name="T30" fmla="*/ 96 w 312"/>
              <a:gd name="T31" fmla="*/ 66 h 282"/>
              <a:gd name="T32" fmla="*/ 120 w 312"/>
              <a:gd name="T33" fmla="*/ 54 h 282"/>
              <a:gd name="T34" fmla="*/ 132 w 312"/>
              <a:gd name="T35" fmla="*/ 48 h 282"/>
              <a:gd name="T36" fmla="*/ 144 w 312"/>
              <a:gd name="T37" fmla="*/ 36 h 282"/>
              <a:gd name="T38" fmla="*/ 144 w 312"/>
              <a:gd name="T39" fmla="*/ 30 h 282"/>
              <a:gd name="T40" fmla="*/ 156 w 312"/>
              <a:gd name="T41" fmla="*/ 24 h 282"/>
              <a:gd name="T42" fmla="*/ 168 w 312"/>
              <a:gd name="T43" fmla="*/ 18 h 282"/>
              <a:gd name="T44" fmla="*/ 174 w 312"/>
              <a:gd name="T45" fmla="*/ 12 h 282"/>
              <a:gd name="T46" fmla="*/ 192 w 312"/>
              <a:gd name="T47" fmla="*/ 6 h 282"/>
              <a:gd name="T48" fmla="*/ 204 w 312"/>
              <a:gd name="T49" fmla="*/ 6 h 282"/>
              <a:gd name="T50" fmla="*/ 216 w 312"/>
              <a:gd name="T51" fmla="*/ 0 h 282"/>
              <a:gd name="T52" fmla="*/ 228 w 312"/>
              <a:gd name="T53" fmla="*/ 6 h 282"/>
              <a:gd name="T54" fmla="*/ 240 w 312"/>
              <a:gd name="T55" fmla="*/ 6 h 282"/>
              <a:gd name="T56" fmla="*/ 246 w 312"/>
              <a:gd name="T57" fmla="*/ 6 h 282"/>
              <a:gd name="T58" fmla="*/ 258 w 312"/>
              <a:gd name="T59" fmla="*/ 6 h 282"/>
              <a:gd name="T60" fmla="*/ 270 w 312"/>
              <a:gd name="T61" fmla="*/ 12 h 282"/>
              <a:gd name="T62" fmla="*/ 276 w 312"/>
              <a:gd name="T63" fmla="*/ 18 h 282"/>
              <a:gd name="T64" fmla="*/ 264 w 312"/>
              <a:gd name="T65" fmla="*/ 48 h 282"/>
              <a:gd name="T66" fmla="*/ 264 w 312"/>
              <a:gd name="T67" fmla="*/ 54 h 282"/>
              <a:gd name="T68" fmla="*/ 288 w 312"/>
              <a:gd name="T69" fmla="*/ 66 h 282"/>
              <a:gd name="T70" fmla="*/ 306 w 312"/>
              <a:gd name="T71" fmla="*/ 72 h 282"/>
              <a:gd name="T72" fmla="*/ 312 w 312"/>
              <a:gd name="T73" fmla="*/ 96 h 282"/>
              <a:gd name="T74" fmla="*/ 300 w 312"/>
              <a:gd name="T75" fmla="*/ 102 h 282"/>
              <a:gd name="T76" fmla="*/ 294 w 312"/>
              <a:gd name="T77" fmla="*/ 108 h 282"/>
              <a:gd name="T78" fmla="*/ 246 w 312"/>
              <a:gd name="T79" fmla="*/ 114 h 282"/>
              <a:gd name="T80" fmla="*/ 246 w 312"/>
              <a:gd name="T81" fmla="*/ 132 h 282"/>
              <a:gd name="T82" fmla="*/ 258 w 312"/>
              <a:gd name="T83" fmla="*/ 144 h 282"/>
              <a:gd name="T84" fmla="*/ 252 w 312"/>
              <a:gd name="T85" fmla="*/ 168 h 282"/>
              <a:gd name="T86" fmla="*/ 240 w 312"/>
              <a:gd name="T87" fmla="*/ 168 h 282"/>
              <a:gd name="T88" fmla="*/ 228 w 312"/>
              <a:gd name="T89" fmla="*/ 180 h 282"/>
              <a:gd name="T90" fmla="*/ 216 w 312"/>
              <a:gd name="T91" fmla="*/ 192 h 282"/>
              <a:gd name="T92" fmla="*/ 204 w 312"/>
              <a:gd name="T93" fmla="*/ 204 h 282"/>
              <a:gd name="T94" fmla="*/ 192 w 312"/>
              <a:gd name="T95" fmla="*/ 210 h 282"/>
              <a:gd name="T96" fmla="*/ 192 w 312"/>
              <a:gd name="T97" fmla="*/ 228 h 282"/>
              <a:gd name="T98" fmla="*/ 168 w 312"/>
              <a:gd name="T99" fmla="*/ 240 h 282"/>
              <a:gd name="T100" fmla="*/ 156 w 312"/>
              <a:gd name="T101" fmla="*/ 252 h 282"/>
              <a:gd name="T102" fmla="*/ 132 w 312"/>
              <a:gd name="T103" fmla="*/ 264 h 282"/>
              <a:gd name="T104" fmla="*/ 126 w 312"/>
              <a:gd name="T105" fmla="*/ 276 h 282"/>
              <a:gd name="T106" fmla="*/ 108 w 312"/>
              <a:gd name="T107" fmla="*/ 270 h 282"/>
              <a:gd name="T108" fmla="*/ 102 w 312"/>
              <a:gd name="T109" fmla="*/ 246 h 282"/>
              <a:gd name="T110" fmla="*/ 96 w 312"/>
              <a:gd name="T111" fmla="*/ 258 h 282"/>
              <a:gd name="T112" fmla="*/ 72 w 312"/>
              <a:gd name="T113" fmla="*/ 270 h 282"/>
              <a:gd name="T114" fmla="*/ 48 w 312"/>
              <a:gd name="T115" fmla="*/ 258 h 282"/>
              <a:gd name="T116" fmla="*/ 30 w 312"/>
              <a:gd name="T117" fmla="*/ 252 h 282"/>
              <a:gd name="T118" fmla="*/ 12 w 312"/>
              <a:gd name="T119" fmla="*/ 252 h 282"/>
              <a:gd name="T120" fmla="*/ 0 w 312"/>
              <a:gd name="T121" fmla="*/ 246 h 2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12" h="282">
                <a:moveTo>
                  <a:pt x="0" y="246"/>
                </a:moveTo>
                <a:lnTo>
                  <a:pt x="0" y="240"/>
                </a:lnTo>
                <a:lnTo>
                  <a:pt x="0" y="246"/>
                </a:lnTo>
                <a:lnTo>
                  <a:pt x="0" y="240"/>
                </a:lnTo>
                <a:lnTo>
                  <a:pt x="6" y="240"/>
                </a:lnTo>
                <a:lnTo>
                  <a:pt x="6" y="240"/>
                </a:lnTo>
                <a:lnTo>
                  <a:pt x="6" y="240"/>
                </a:lnTo>
                <a:lnTo>
                  <a:pt x="6" y="240"/>
                </a:lnTo>
                <a:lnTo>
                  <a:pt x="6" y="240"/>
                </a:lnTo>
                <a:lnTo>
                  <a:pt x="12" y="240"/>
                </a:lnTo>
                <a:lnTo>
                  <a:pt x="12" y="240"/>
                </a:lnTo>
                <a:lnTo>
                  <a:pt x="12" y="240"/>
                </a:lnTo>
                <a:lnTo>
                  <a:pt x="12" y="240"/>
                </a:lnTo>
                <a:lnTo>
                  <a:pt x="12" y="240"/>
                </a:lnTo>
                <a:lnTo>
                  <a:pt x="12" y="240"/>
                </a:lnTo>
                <a:lnTo>
                  <a:pt x="12" y="234"/>
                </a:lnTo>
                <a:lnTo>
                  <a:pt x="12" y="234"/>
                </a:lnTo>
                <a:lnTo>
                  <a:pt x="12" y="234"/>
                </a:lnTo>
                <a:lnTo>
                  <a:pt x="12" y="234"/>
                </a:lnTo>
                <a:lnTo>
                  <a:pt x="18" y="228"/>
                </a:lnTo>
                <a:lnTo>
                  <a:pt x="18" y="228"/>
                </a:lnTo>
                <a:lnTo>
                  <a:pt x="18" y="228"/>
                </a:lnTo>
                <a:lnTo>
                  <a:pt x="18" y="228"/>
                </a:lnTo>
                <a:lnTo>
                  <a:pt x="18" y="228"/>
                </a:lnTo>
                <a:lnTo>
                  <a:pt x="18" y="228"/>
                </a:lnTo>
                <a:lnTo>
                  <a:pt x="18" y="222"/>
                </a:lnTo>
                <a:lnTo>
                  <a:pt x="18" y="222"/>
                </a:lnTo>
                <a:lnTo>
                  <a:pt x="18" y="216"/>
                </a:lnTo>
                <a:lnTo>
                  <a:pt x="24" y="216"/>
                </a:lnTo>
                <a:lnTo>
                  <a:pt x="24" y="216"/>
                </a:lnTo>
                <a:lnTo>
                  <a:pt x="24" y="216"/>
                </a:lnTo>
                <a:lnTo>
                  <a:pt x="24" y="216"/>
                </a:lnTo>
                <a:lnTo>
                  <a:pt x="24" y="216"/>
                </a:lnTo>
                <a:lnTo>
                  <a:pt x="24" y="210"/>
                </a:lnTo>
                <a:lnTo>
                  <a:pt x="24" y="210"/>
                </a:lnTo>
                <a:lnTo>
                  <a:pt x="24" y="210"/>
                </a:lnTo>
                <a:lnTo>
                  <a:pt x="30" y="210"/>
                </a:lnTo>
                <a:lnTo>
                  <a:pt x="30" y="204"/>
                </a:lnTo>
                <a:lnTo>
                  <a:pt x="30" y="204"/>
                </a:lnTo>
                <a:lnTo>
                  <a:pt x="30" y="204"/>
                </a:lnTo>
                <a:lnTo>
                  <a:pt x="30" y="204"/>
                </a:lnTo>
                <a:lnTo>
                  <a:pt x="30" y="204"/>
                </a:lnTo>
                <a:lnTo>
                  <a:pt x="30" y="204"/>
                </a:lnTo>
                <a:lnTo>
                  <a:pt x="30" y="204"/>
                </a:lnTo>
                <a:lnTo>
                  <a:pt x="36" y="204"/>
                </a:lnTo>
                <a:lnTo>
                  <a:pt x="36" y="204"/>
                </a:lnTo>
                <a:lnTo>
                  <a:pt x="36" y="198"/>
                </a:lnTo>
                <a:lnTo>
                  <a:pt x="36" y="198"/>
                </a:lnTo>
                <a:lnTo>
                  <a:pt x="36" y="198"/>
                </a:lnTo>
                <a:lnTo>
                  <a:pt x="36" y="198"/>
                </a:lnTo>
                <a:lnTo>
                  <a:pt x="36" y="198"/>
                </a:lnTo>
                <a:lnTo>
                  <a:pt x="36" y="198"/>
                </a:lnTo>
                <a:lnTo>
                  <a:pt x="36" y="198"/>
                </a:lnTo>
                <a:lnTo>
                  <a:pt x="36" y="198"/>
                </a:lnTo>
                <a:lnTo>
                  <a:pt x="36" y="198"/>
                </a:lnTo>
                <a:lnTo>
                  <a:pt x="36" y="198"/>
                </a:lnTo>
                <a:lnTo>
                  <a:pt x="36" y="198"/>
                </a:lnTo>
                <a:lnTo>
                  <a:pt x="36" y="198"/>
                </a:lnTo>
                <a:lnTo>
                  <a:pt x="36" y="192"/>
                </a:lnTo>
                <a:lnTo>
                  <a:pt x="42" y="198"/>
                </a:lnTo>
                <a:lnTo>
                  <a:pt x="42" y="192"/>
                </a:lnTo>
                <a:lnTo>
                  <a:pt x="42" y="192"/>
                </a:lnTo>
                <a:lnTo>
                  <a:pt x="42" y="192"/>
                </a:lnTo>
                <a:lnTo>
                  <a:pt x="42" y="192"/>
                </a:lnTo>
                <a:lnTo>
                  <a:pt x="42" y="192"/>
                </a:lnTo>
                <a:lnTo>
                  <a:pt x="42" y="192"/>
                </a:lnTo>
                <a:lnTo>
                  <a:pt x="42" y="192"/>
                </a:lnTo>
                <a:lnTo>
                  <a:pt x="42" y="192"/>
                </a:lnTo>
                <a:lnTo>
                  <a:pt x="42" y="192"/>
                </a:lnTo>
                <a:lnTo>
                  <a:pt x="48" y="186"/>
                </a:lnTo>
                <a:lnTo>
                  <a:pt x="42" y="186"/>
                </a:lnTo>
                <a:lnTo>
                  <a:pt x="48" y="186"/>
                </a:lnTo>
                <a:lnTo>
                  <a:pt x="48" y="186"/>
                </a:lnTo>
                <a:lnTo>
                  <a:pt x="48" y="186"/>
                </a:lnTo>
                <a:lnTo>
                  <a:pt x="42" y="186"/>
                </a:lnTo>
                <a:lnTo>
                  <a:pt x="48" y="186"/>
                </a:lnTo>
                <a:lnTo>
                  <a:pt x="42" y="186"/>
                </a:lnTo>
                <a:lnTo>
                  <a:pt x="42" y="186"/>
                </a:lnTo>
                <a:lnTo>
                  <a:pt x="42" y="186"/>
                </a:lnTo>
                <a:lnTo>
                  <a:pt x="42" y="186"/>
                </a:lnTo>
                <a:lnTo>
                  <a:pt x="42" y="186"/>
                </a:lnTo>
                <a:lnTo>
                  <a:pt x="42" y="186"/>
                </a:lnTo>
                <a:lnTo>
                  <a:pt x="42" y="186"/>
                </a:lnTo>
                <a:lnTo>
                  <a:pt x="42" y="180"/>
                </a:lnTo>
                <a:lnTo>
                  <a:pt x="42" y="180"/>
                </a:lnTo>
                <a:lnTo>
                  <a:pt x="42" y="180"/>
                </a:lnTo>
                <a:lnTo>
                  <a:pt x="42" y="180"/>
                </a:lnTo>
                <a:lnTo>
                  <a:pt x="42" y="174"/>
                </a:lnTo>
                <a:lnTo>
                  <a:pt x="42" y="174"/>
                </a:lnTo>
                <a:lnTo>
                  <a:pt x="42" y="174"/>
                </a:lnTo>
                <a:lnTo>
                  <a:pt x="42" y="174"/>
                </a:lnTo>
                <a:lnTo>
                  <a:pt x="42" y="168"/>
                </a:lnTo>
                <a:lnTo>
                  <a:pt x="42" y="168"/>
                </a:lnTo>
                <a:lnTo>
                  <a:pt x="42" y="168"/>
                </a:lnTo>
                <a:lnTo>
                  <a:pt x="42" y="168"/>
                </a:lnTo>
                <a:lnTo>
                  <a:pt x="42" y="168"/>
                </a:lnTo>
                <a:lnTo>
                  <a:pt x="42" y="168"/>
                </a:lnTo>
                <a:lnTo>
                  <a:pt x="42" y="168"/>
                </a:lnTo>
                <a:lnTo>
                  <a:pt x="42" y="168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56"/>
                </a:lnTo>
                <a:lnTo>
                  <a:pt x="42" y="156"/>
                </a:lnTo>
                <a:lnTo>
                  <a:pt x="42" y="156"/>
                </a:lnTo>
                <a:lnTo>
                  <a:pt x="36" y="156"/>
                </a:lnTo>
                <a:lnTo>
                  <a:pt x="30" y="156"/>
                </a:lnTo>
                <a:lnTo>
                  <a:pt x="30" y="156"/>
                </a:lnTo>
                <a:lnTo>
                  <a:pt x="24" y="156"/>
                </a:lnTo>
                <a:lnTo>
                  <a:pt x="24" y="156"/>
                </a:lnTo>
                <a:lnTo>
                  <a:pt x="24" y="156"/>
                </a:lnTo>
                <a:lnTo>
                  <a:pt x="24" y="156"/>
                </a:lnTo>
                <a:lnTo>
                  <a:pt x="18" y="150"/>
                </a:lnTo>
                <a:lnTo>
                  <a:pt x="18" y="150"/>
                </a:lnTo>
                <a:lnTo>
                  <a:pt x="18" y="150"/>
                </a:lnTo>
                <a:lnTo>
                  <a:pt x="18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30" y="138"/>
                </a:lnTo>
                <a:lnTo>
                  <a:pt x="30" y="138"/>
                </a:lnTo>
                <a:lnTo>
                  <a:pt x="30" y="138"/>
                </a:lnTo>
                <a:lnTo>
                  <a:pt x="36" y="138"/>
                </a:lnTo>
                <a:lnTo>
                  <a:pt x="36" y="132"/>
                </a:lnTo>
                <a:lnTo>
                  <a:pt x="36" y="132"/>
                </a:lnTo>
                <a:lnTo>
                  <a:pt x="36" y="132"/>
                </a:lnTo>
                <a:lnTo>
                  <a:pt x="42" y="132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32"/>
                </a:lnTo>
                <a:lnTo>
                  <a:pt x="36" y="132"/>
                </a:lnTo>
                <a:lnTo>
                  <a:pt x="30" y="132"/>
                </a:lnTo>
                <a:lnTo>
                  <a:pt x="30" y="126"/>
                </a:lnTo>
                <a:lnTo>
                  <a:pt x="30" y="126"/>
                </a:lnTo>
                <a:lnTo>
                  <a:pt x="30" y="132"/>
                </a:lnTo>
                <a:lnTo>
                  <a:pt x="30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0"/>
                </a:lnTo>
                <a:lnTo>
                  <a:pt x="42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54" y="90"/>
                </a:lnTo>
                <a:lnTo>
                  <a:pt x="54" y="90"/>
                </a:lnTo>
                <a:lnTo>
                  <a:pt x="54" y="96"/>
                </a:lnTo>
                <a:lnTo>
                  <a:pt x="60" y="90"/>
                </a:lnTo>
                <a:lnTo>
                  <a:pt x="60" y="90"/>
                </a:lnTo>
                <a:lnTo>
                  <a:pt x="60" y="96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84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90" y="72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44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44" y="36"/>
                </a:lnTo>
                <a:lnTo>
                  <a:pt x="144" y="36"/>
                </a:lnTo>
                <a:lnTo>
                  <a:pt x="138" y="36"/>
                </a:lnTo>
                <a:lnTo>
                  <a:pt x="138" y="36"/>
                </a:lnTo>
                <a:lnTo>
                  <a:pt x="144" y="36"/>
                </a:lnTo>
                <a:lnTo>
                  <a:pt x="144" y="36"/>
                </a:lnTo>
                <a:lnTo>
                  <a:pt x="144" y="30"/>
                </a:lnTo>
                <a:lnTo>
                  <a:pt x="144" y="36"/>
                </a:lnTo>
                <a:lnTo>
                  <a:pt x="144" y="36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24"/>
                </a:lnTo>
                <a:lnTo>
                  <a:pt x="156" y="30"/>
                </a:lnTo>
                <a:lnTo>
                  <a:pt x="156" y="24"/>
                </a:lnTo>
                <a:lnTo>
                  <a:pt x="156" y="30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8" y="18"/>
                </a:lnTo>
                <a:lnTo>
                  <a:pt x="162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80" y="12"/>
                </a:lnTo>
                <a:lnTo>
                  <a:pt x="180" y="12"/>
                </a:lnTo>
                <a:lnTo>
                  <a:pt x="180" y="12"/>
                </a:lnTo>
                <a:lnTo>
                  <a:pt x="180" y="12"/>
                </a:lnTo>
                <a:lnTo>
                  <a:pt x="180" y="12"/>
                </a:lnTo>
                <a:lnTo>
                  <a:pt x="180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12"/>
                </a:lnTo>
                <a:lnTo>
                  <a:pt x="192" y="12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8" y="6"/>
                </a:lnTo>
                <a:lnTo>
                  <a:pt x="198" y="6"/>
                </a:lnTo>
                <a:lnTo>
                  <a:pt x="198" y="6"/>
                </a:lnTo>
                <a:lnTo>
                  <a:pt x="198" y="6"/>
                </a:lnTo>
                <a:lnTo>
                  <a:pt x="198" y="6"/>
                </a:lnTo>
                <a:lnTo>
                  <a:pt x="198" y="6"/>
                </a:lnTo>
                <a:lnTo>
                  <a:pt x="198" y="6"/>
                </a:lnTo>
                <a:lnTo>
                  <a:pt x="198" y="6"/>
                </a:lnTo>
                <a:lnTo>
                  <a:pt x="198" y="6"/>
                </a:lnTo>
                <a:lnTo>
                  <a:pt x="198" y="6"/>
                </a:lnTo>
                <a:lnTo>
                  <a:pt x="198" y="6"/>
                </a:lnTo>
                <a:lnTo>
                  <a:pt x="204" y="6"/>
                </a:lnTo>
                <a:lnTo>
                  <a:pt x="204" y="6"/>
                </a:lnTo>
                <a:lnTo>
                  <a:pt x="204" y="0"/>
                </a:lnTo>
                <a:lnTo>
                  <a:pt x="204" y="6"/>
                </a:lnTo>
                <a:lnTo>
                  <a:pt x="204" y="0"/>
                </a:lnTo>
                <a:lnTo>
                  <a:pt x="204" y="0"/>
                </a:lnTo>
                <a:lnTo>
                  <a:pt x="204" y="0"/>
                </a:lnTo>
                <a:lnTo>
                  <a:pt x="204" y="0"/>
                </a:lnTo>
                <a:lnTo>
                  <a:pt x="210" y="0"/>
                </a:lnTo>
                <a:lnTo>
                  <a:pt x="210" y="0"/>
                </a:lnTo>
                <a:lnTo>
                  <a:pt x="210" y="0"/>
                </a:lnTo>
                <a:lnTo>
                  <a:pt x="210" y="0"/>
                </a:lnTo>
                <a:lnTo>
                  <a:pt x="210" y="0"/>
                </a:lnTo>
                <a:lnTo>
                  <a:pt x="210" y="0"/>
                </a:lnTo>
                <a:lnTo>
                  <a:pt x="210" y="0"/>
                </a:lnTo>
                <a:lnTo>
                  <a:pt x="216" y="0"/>
                </a:lnTo>
                <a:lnTo>
                  <a:pt x="216" y="0"/>
                </a:lnTo>
                <a:lnTo>
                  <a:pt x="216" y="0"/>
                </a:lnTo>
                <a:lnTo>
                  <a:pt x="216" y="0"/>
                </a:lnTo>
                <a:lnTo>
                  <a:pt x="216" y="0"/>
                </a:lnTo>
                <a:lnTo>
                  <a:pt x="216" y="0"/>
                </a:lnTo>
                <a:lnTo>
                  <a:pt x="216" y="0"/>
                </a:lnTo>
                <a:lnTo>
                  <a:pt x="216" y="0"/>
                </a:lnTo>
                <a:lnTo>
                  <a:pt x="216" y="0"/>
                </a:lnTo>
                <a:lnTo>
                  <a:pt x="216" y="0"/>
                </a:lnTo>
                <a:lnTo>
                  <a:pt x="222" y="0"/>
                </a:lnTo>
                <a:lnTo>
                  <a:pt x="222" y="0"/>
                </a:lnTo>
                <a:lnTo>
                  <a:pt x="222" y="0"/>
                </a:lnTo>
                <a:lnTo>
                  <a:pt x="222" y="0"/>
                </a:lnTo>
                <a:lnTo>
                  <a:pt x="222" y="0"/>
                </a:lnTo>
                <a:lnTo>
                  <a:pt x="222" y="0"/>
                </a:lnTo>
                <a:lnTo>
                  <a:pt x="222" y="0"/>
                </a:lnTo>
                <a:lnTo>
                  <a:pt x="222" y="0"/>
                </a:lnTo>
                <a:lnTo>
                  <a:pt x="222" y="0"/>
                </a:lnTo>
                <a:lnTo>
                  <a:pt x="228" y="6"/>
                </a:lnTo>
                <a:lnTo>
                  <a:pt x="228" y="6"/>
                </a:lnTo>
                <a:lnTo>
                  <a:pt x="228" y="6"/>
                </a:lnTo>
                <a:lnTo>
                  <a:pt x="228" y="6"/>
                </a:lnTo>
                <a:lnTo>
                  <a:pt x="228" y="0"/>
                </a:lnTo>
                <a:lnTo>
                  <a:pt x="228" y="6"/>
                </a:lnTo>
                <a:lnTo>
                  <a:pt x="228" y="6"/>
                </a:lnTo>
                <a:lnTo>
                  <a:pt x="228" y="6"/>
                </a:lnTo>
                <a:lnTo>
                  <a:pt x="228" y="6"/>
                </a:lnTo>
                <a:lnTo>
                  <a:pt x="234" y="6"/>
                </a:lnTo>
                <a:lnTo>
                  <a:pt x="234" y="0"/>
                </a:lnTo>
                <a:lnTo>
                  <a:pt x="234" y="0"/>
                </a:lnTo>
                <a:lnTo>
                  <a:pt x="234" y="6"/>
                </a:lnTo>
                <a:lnTo>
                  <a:pt x="234" y="6"/>
                </a:lnTo>
                <a:lnTo>
                  <a:pt x="234" y="6"/>
                </a:lnTo>
                <a:lnTo>
                  <a:pt x="240" y="6"/>
                </a:lnTo>
                <a:lnTo>
                  <a:pt x="240" y="6"/>
                </a:lnTo>
                <a:lnTo>
                  <a:pt x="240" y="6"/>
                </a:lnTo>
                <a:lnTo>
                  <a:pt x="240" y="6"/>
                </a:lnTo>
                <a:lnTo>
                  <a:pt x="240" y="6"/>
                </a:lnTo>
                <a:lnTo>
                  <a:pt x="240" y="6"/>
                </a:lnTo>
                <a:lnTo>
                  <a:pt x="240" y="6"/>
                </a:lnTo>
                <a:lnTo>
                  <a:pt x="240" y="6"/>
                </a:lnTo>
                <a:lnTo>
                  <a:pt x="240" y="6"/>
                </a:lnTo>
                <a:lnTo>
                  <a:pt x="240" y="6"/>
                </a:lnTo>
                <a:lnTo>
                  <a:pt x="240" y="6"/>
                </a:lnTo>
                <a:lnTo>
                  <a:pt x="240" y="6"/>
                </a:lnTo>
                <a:lnTo>
                  <a:pt x="240" y="6"/>
                </a:lnTo>
                <a:lnTo>
                  <a:pt x="240" y="6"/>
                </a:lnTo>
                <a:lnTo>
                  <a:pt x="246" y="6"/>
                </a:lnTo>
                <a:lnTo>
                  <a:pt x="246" y="6"/>
                </a:lnTo>
                <a:lnTo>
                  <a:pt x="246" y="6"/>
                </a:lnTo>
                <a:lnTo>
                  <a:pt x="246" y="6"/>
                </a:lnTo>
                <a:lnTo>
                  <a:pt x="246" y="6"/>
                </a:lnTo>
                <a:lnTo>
                  <a:pt x="246" y="6"/>
                </a:lnTo>
                <a:lnTo>
                  <a:pt x="246" y="6"/>
                </a:lnTo>
                <a:lnTo>
                  <a:pt x="246" y="6"/>
                </a:lnTo>
                <a:lnTo>
                  <a:pt x="246" y="6"/>
                </a:lnTo>
                <a:lnTo>
                  <a:pt x="252" y="6"/>
                </a:lnTo>
                <a:lnTo>
                  <a:pt x="252" y="6"/>
                </a:lnTo>
                <a:lnTo>
                  <a:pt x="252" y="6"/>
                </a:lnTo>
                <a:lnTo>
                  <a:pt x="252" y="6"/>
                </a:lnTo>
                <a:lnTo>
                  <a:pt x="252" y="6"/>
                </a:lnTo>
                <a:lnTo>
                  <a:pt x="252" y="6"/>
                </a:lnTo>
                <a:lnTo>
                  <a:pt x="252" y="6"/>
                </a:lnTo>
                <a:lnTo>
                  <a:pt x="252" y="6"/>
                </a:lnTo>
                <a:lnTo>
                  <a:pt x="252" y="6"/>
                </a:lnTo>
                <a:lnTo>
                  <a:pt x="252" y="6"/>
                </a:lnTo>
                <a:lnTo>
                  <a:pt x="258" y="6"/>
                </a:lnTo>
                <a:lnTo>
                  <a:pt x="258" y="6"/>
                </a:lnTo>
                <a:lnTo>
                  <a:pt x="258" y="6"/>
                </a:lnTo>
                <a:lnTo>
                  <a:pt x="258" y="6"/>
                </a:lnTo>
                <a:lnTo>
                  <a:pt x="258" y="6"/>
                </a:lnTo>
                <a:lnTo>
                  <a:pt x="258" y="6"/>
                </a:lnTo>
                <a:lnTo>
                  <a:pt x="258" y="6"/>
                </a:lnTo>
                <a:lnTo>
                  <a:pt x="258" y="6"/>
                </a:lnTo>
                <a:lnTo>
                  <a:pt x="258" y="6"/>
                </a:lnTo>
                <a:lnTo>
                  <a:pt x="258" y="6"/>
                </a:lnTo>
                <a:lnTo>
                  <a:pt x="258" y="6"/>
                </a:lnTo>
                <a:lnTo>
                  <a:pt x="258" y="6"/>
                </a:lnTo>
                <a:lnTo>
                  <a:pt x="264" y="6"/>
                </a:lnTo>
                <a:lnTo>
                  <a:pt x="264" y="6"/>
                </a:lnTo>
                <a:lnTo>
                  <a:pt x="264" y="6"/>
                </a:lnTo>
                <a:lnTo>
                  <a:pt x="264" y="6"/>
                </a:lnTo>
                <a:lnTo>
                  <a:pt x="264" y="6"/>
                </a:lnTo>
                <a:lnTo>
                  <a:pt x="264" y="6"/>
                </a:lnTo>
                <a:lnTo>
                  <a:pt x="264" y="12"/>
                </a:lnTo>
                <a:lnTo>
                  <a:pt x="264" y="12"/>
                </a:lnTo>
                <a:lnTo>
                  <a:pt x="264" y="12"/>
                </a:lnTo>
                <a:lnTo>
                  <a:pt x="264" y="12"/>
                </a:lnTo>
                <a:lnTo>
                  <a:pt x="270" y="6"/>
                </a:lnTo>
                <a:lnTo>
                  <a:pt x="270" y="12"/>
                </a:lnTo>
                <a:lnTo>
                  <a:pt x="270" y="12"/>
                </a:lnTo>
                <a:lnTo>
                  <a:pt x="270" y="12"/>
                </a:lnTo>
                <a:lnTo>
                  <a:pt x="270" y="12"/>
                </a:lnTo>
                <a:lnTo>
                  <a:pt x="270" y="12"/>
                </a:lnTo>
                <a:lnTo>
                  <a:pt x="270" y="12"/>
                </a:lnTo>
                <a:lnTo>
                  <a:pt x="270" y="12"/>
                </a:lnTo>
                <a:lnTo>
                  <a:pt x="270" y="12"/>
                </a:lnTo>
                <a:lnTo>
                  <a:pt x="270" y="12"/>
                </a:lnTo>
                <a:lnTo>
                  <a:pt x="270" y="12"/>
                </a:lnTo>
                <a:lnTo>
                  <a:pt x="270" y="12"/>
                </a:lnTo>
                <a:lnTo>
                  <a:pt x="270" y="12"/>
                </a:lnTo>
                <a:lnTo>
                  <a:pt x="276" y="12"/>
                </a:lnTo>
                <a:lnTo>
                  <a:pt x="276" y="12"/>
                </a:lnTo>
                <a:lnTo>
                  <a:pt x="276" y="12"/>
                </a:lnTo>
                <a:lnTo>
                  <a:pt x="276" y="12"/>
                </a:lnTo>
                <a:lnTo>
                  <a:pt x="276" y="12"/>
                </a:lnTo>
                <a:lnTo>
                  <a:pt x="276" y="18"/>
                </a:lnTo>
                <a:lnTo>
                  <a:pt x="276" y="18"/>
                </a:lnTo>
                <a:lnTo>
                  <a:pt x="270" y="18"/>
                </a:lnTo>
                <a:lnTo>
                  <a:pt x="270" y="18"/>
                </a:lnTo>
                <a:lnTo>
                  <a:pt x="270" y="24"/>
                </a:lnTo>
                <a:lnTo>
                  <a:pt x="270" y="30"/>
                </a:lnTo>
                <a:lnTo>
                  <a:pt x="270" y="30"/>
                </a:lnTo>
                <a:lnTo>
                  <a:pt x="264" y="36"/>
                </a:lnTo>
                <a:lnTo>
                  <a:pt x="264" y="42"/>
                </a:lnTo>
                <a:lnTo>
                  <a:pt x="264" y="42"/>
                </a:lnTo>
                <a:lnTo>
                  <a:pt x="264" y="42"/>
                </a:lnTo>
                <a:lnTo>
                  <a:pt x="264" y="48"/>
                </a:lnTo>
                <a:lnTo>
                  <a:pt x="264" y="48"/>
                </a:lnTo>
                <a:lnTo>
                  <a:pt x="264" y="48"/>
                </a:lnTo>
                <a:lnTo>
                  <a:pt x="264" y="48"/>
                </a:lnTo>
                <a:lnTo>
                  <a:pt x="264" y="48"/>
                </a:lnTo>
                <a:lnTo>
                  <a:pt x="264" y="48"/>
                </a:lnTo>
                <a:lnTo>
                  <a:pt x="264" y="48"/>
                </a:lnTo>
                <a:lnTo>
                  <a:pt x="264" y="48"/>
                </a:lnTo>
                <a:lnTo>
                  <a:pt x="264" y="48"/>
                </a:lnTo>
                <a:lnTo>
                  <a:pt x="264" y="48"/>
                </a:lnTo>
                <a:lnTo>
                  <a:pt x="264" y="48"/>
                </a:lnTo>
                <a:lnTo>
                  <a:pt x="264" y="48"/>
                </a:lnTo>
                <a:lnTo>
                  <a:pt x="264" y="54"/>
                </a:lnTo>
                <a:lnTo>
                  <a:pt x="264" y="54"/>
                </a:lnTo>
                <a:lnTo>
                  <a:pt x="264" y="54"/>
                </a:lnTo>
                <a:lnTo>
                  <a:pt x="264" y="54"/>
                </a:lnTo>
                <a:lnTo>
                  <a:pt x="264" y="54"/>
                </a:lnTo>
                <a:lnTo>
                  <a:pt x="264" y="54"/>
                </a:lnTo>
                <a:lnTo>
                  <a:pt x="264" y="54"/>
                </a:lnTo>
                <a:lnTo>
                  <a:pt x="264" y="54"/>
                </a:lnTo>
                <a:lnTo>
                  <a:pt x="264" y="54"/>
                </a:lnTo>
                <a:lnTo>
                  <a:pt x="264" y="54"/>
                </a:lnTo>
                <a:lnTo>
                  <a:pt x="264" y="54"/>
                </a:lnTo>
                <a:lnTo>
                  <a:pt x="264" y="54"/>
                </a:lnTo>
                <a:lnTo>
                  <a:pt x="270" y="54"/>
                </a:lnTo>
                <a:lnTo>
                  <a:pt x="276" y="60"/>
                </a:lnTo>
                <a:lnTo>
                  <a:pt x="276" y="60"/>
                </a:lnTo>
                <a:lnTo>
                  <a:pt x="276" y="60"/>
                </a:lnTo>
                <a:lnTo>
                  <a:pt x="282" y="60"/>
                </a:lnTo>
                <a:lnTo>
                  <a:pt x="282" y="60"/>
                </a:lnTo>
                <a:lnTo>
                  <a:pt x="282" y="60"/>
                </a:lnTo>
                <a:lnTo>
                  <a:pt x="282" y="60"/>
                </a:lnTo>
                <a:lnTo>
                  <a:pt x="282" y="60"/>
                </a:lnTo>
                <a:lnTo>
                  <a:pt x="288" y="60"/>
                </a:lnTo>
                <a:lnTo>
                  <a:pt x="288" y="60"/>
                </a:lnTo>
                <a:lnTo>
                  <a:pt x="288" y="60"/>
                </a:lnTo>
                <a:lnTo>
                  <a:pt x="288" y="66"/>
                </a:lnTo>
                <a:lnTo>
                  <a:pt x="288" y="66"/>
                </a:lnTo>
                <a:lnTo>
                  <a:pt x="288" y="66"/>
                </a:lnTo>
                <a:lnTo>
                  <a:pt x="288" y="60"/>
                </a:lnTo>
                <a:lnTo>
                  <a:pt x="288" y="66"/>
                </a:lnTo>
                <a:lnTo>
                  <a:pt x="288" y="66"/>
                </a:lnTo>
                <a:lnTo>
                  <a:pt x="288" y="66"/>
                </a:lnTo>
                <a:lnTo>
                  <a:pt x="294" y="66"/>
                </a:lnTo>
                <a:lnTo>
                  <a:pt x="294" y="66"/>
                </a:lnTo>
                <a:lnTo>
                  <a:pt x="294" y="66"/>
                </a:lnTo>
                <a:lnTo>
                  <a:pt x="294" y="66"/>
                </a:lnTo>
                <a:lnTo>
                  <a:pt x="294" y="66"/>
                </a:lnTo>
                <a:lnTo>
                  <a:pt x="294" y="66"/>
                </a:lnTo>
                <a:lnTo>
                  <a:pt x="300" y="66"/>
                </a:lnTo>
                <a:lnTo>
                  <a:pt x="300" y="66"/>
                </a:lnTo>
                <a:lnTo>
                  <a:pt x="300" y="66"/>
                </a:lnTo>
                <a:lnTo>
                  <a:pt x="306" y="66"/>
                </a:lnTo>
                <a:lnTo>
                  <a:pt x="306" y="66"/>
                </a:lnTo>
                <a:lnTo>
                  <a:pt x="306" y="72"/>
                </a:lnTo>
                <a:lnTo>
                  <a:pt x="312" y="72"/>
                </a:lnTo>
                <a:lnTo>
                  <a:pt x="306" y="72"/>
                </a:lnTo>
                <a:lnTo>
                  <a:pt x="306" y="72"/>
                </a:lnTo>
                <a:lnTo>
                  <a:pt x="312" y="72"/>
                </a:lnTo>
                <a:lnTo>
                  <a:pt x="312" y="78"/>
                </a:lnTo>
                <a:lnTo>
                  <a:pt x="312" y="78"/>
                </a:lnTo>
                <a:lnTo>
                  <a:pt x="312" y="78"/>
                </a:lnTo>
                <a:lnTo>
                  <a:pt x="312" y="84"/>
                </a:lnTo>
                <a:lnTo>
                  <a:pt x="312" y="84"/>
                </a:lnTo>
                <a:lnTo>
                  <a:pt x="312" y="84"/>
                </a:lnTo>
                <a:lnTo>
                  <a:pt x="312" y="84"/>
                </a:lnTo>
                <a:lnTo>
                  <a:pt x="312" y="84"/>
                </a:lnTo>
                <a:lnTo>
                  <a:pt x="312" y="90"/>
                </a:lnTo>
                <a:lnTo>
                  <a:pt x="312" y="90"/>
                </a:lnTo>
                <a:lnTo>
                  <a:pt x="312" y="90"/>
                </a:lnTo>
                <a:lnTo>
                  <a:pt x="312" y="90"/>
                </a:lnTo>
                <a:lnTo>
                  <a:pt x="312" y="90"/>
                </a:lnTo>
                <a:lnTo>
                  <a:pt x="306" y="96"/>
                </a:lnTo>
                <a:lnTo>
                  <a:pt x="312" y="96"/>
                </a:lnTo>
                <a:lnTo>
                  <a:pt x="312" y="96"/>
                </a:lnTo>
                <a:lnTo>
                  <a:pt x="312" y="96"/>
                </a:lnTo>
                <a:lnTo>
                  <a:pt x="312" y="96"/>
                </a:lnTo>
                <a:lnTo>
                  <a:pt x="312" y="96"/>
                </a:lnTo>
                <a:lnTo>
                  <a:pt x="306" y="96"/>
                </a:lnTo>
                <a:lnTo>
                  <a:pt x="306" y="96"/>
                </a:lnTo>
                <a:lnTo>
                  <a:pt x="306" y="96"/>
                </a:lnTo>
                <a:lnTo>
                  <a:pt x="306" y="96"/>
                </a:lnTo>
                <a:lnTo>
                  <a:pt x="306" y="96"/>
                </a:lnTo>
                <a:lnTo>
                  <a:pt x="306" y="96"/>
                </a:lnTo>
                <a:lnTo>
                  <a:pt x="306" y="96"/>
                </a:lnTo>
                <a:lnTo>
                  <a:pt x="306" y="102"/>
                </a:lnTo>
                <a:lnTo>
                  <a:pt x="306" y="102"/>
                </a:lnTo>
                <a:lnTo>
                  <a:pt x="306" y="102"/>
                </a:lnTo>
                <a:lnTo>
                  <a:pt x="306" y="102"/>
                </a:lnTo>
                <a:lnTo>
                  <a:pt x="306" y="102"/>
                </a:lnTo>
                <a:lnTo>
                  <a:pt x="306" y="102"/>
                </a:lnTo>
                <a:lnTo>
                  <a:pt x="300" y="102"/>
                </a:lnTo>
                <a:lnTo>
                  <a:pt x="300" y="102"/>
                </a:lnTo>
                <a:lnTo>
                  <a:pt x="306" y="102"/>
                </a:lnTo>
                <a:lnTo>
                  <a:pt x="306" y="102"/>
                </a:lnTo>
                <a:lnTo>
                  <a:pt x="306" y="102"/>
                </a:lnTo>
                <a:lnTo>
                  <a:pt x="306" y="102"/>
                </a:lnTo>
                <a:lnTo>
                  <a:pt x="306" y="102"/>
                </a:lnTo>
                <a:lnTo>
                  <a:pt x="300" y="102"/>
                </a:lnTo>
                <a:lnTo>
                  <a:pt x="300" y="102"/>
                </a:lnTo>
                <a:lnTo>
                  <a:pt x="300" y="108"/>
                </a:lnTo>
                <a:lnTo>
                  <a:pt x="300" y="108"/>
                </a:lnTo>
                <a:lnTo>
                  <a:pt x="300" y="108"/>
                </a:lnTo>
                <a:lnTo>
                  <a:pt x="300" y="108"/>
                </a:lnTo>
                <a:lnTo>
                  <a:pt x="300" y="102"/>
                </a:lnTo>
                <a:lnTo>
                  <a:pt x="300" y="102"/>
                </a:lnTo>
                <a:lnTo>
                  <a:pt x="300" y="102"/>
                </a:lnTo>
                <a:lnTo>
                  <a:pt x="294" y="108"/>
                </a:lnTo>
                <a:lnTo>
                  <a:pt x="294" y="108"/>
                </a:lnTo>
                <a:lnTo>
                  <a:pt x="294" y="108"/>
                </a:lnTo>
                <a:lnTo>
                  <a:pt x="294" y="108"/>
                </a:lnTo>
                <a:lnTo>
                  <a:pt x="300" y="108"/>
                </a:lnTo>
                <a:lnTo>
                  <a:pt x="300" y="108"/>
                </a:lnTo>
                <a:lnTo>
                  <a:pt x="300" y="114"/>
                </a:lnTo>
                <a:lnTo>
                  <a:pt x="300" y="114"/>
                </a:lnTo>
                <a:lnTo>
                  <a:pt x="294" y="114"/>
                </a:lnTo>
                <a:lnTo>
                  <a:pt x="294" y="114"/>
                </a:lnTo>
                <a:lnTo>
                  <a:pt x="288" y="114"/>
                </a:lnTo>
                <a:lnTo>
                  <a:pt x="276" y="114"/>
                </a:lnTo>
                <a:lnTo>
                  <a:pt x="264" y="108"/>
                </a:lnTo>
                <a:lnTo>
                  <a:pt x="252" y="108"/>
                </a:lnTo>
                <a:lnTo>
                  <a:pt x="252" y="108"/>
                </a:lnTo>
                <a:lnTo>
                  <a:pt x="246" y="108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0" y="120"/>
                </a:lnTo>
                <a:lnTo>
                  <a:pt x="246" y="120"/>
                </a:lnTo>
                <a:lnTo>
                  <a:pt x="240" y="120"/>
                </a:lnTo>
                <a:lnTo>
                  <a:pt x="240" y="120"/>
                </a:lnTo>
                <a:lnTo>
                  <a:pt x="240" y="120"/>
                </a:lnTo>
                <a:lnTo>
                  <a:pt x="240" y="126"/>
                </a:lnTo>
                <a:lnTo>
                  <a:pt x="240" y="126"/>
                </a:lnTo>
                <a:lnTo>
                  <a:pt x="240" y="126"/>
                </a:lnTo>
                <a:lnTo>
                  <a:pt x="240" y="126"/>
                </a:lnTo>
                <a:lnTo>
                  <a:pt x="240" y="126"/>
                </a:lnTo>
                <a:lnTo>
                  <a:pt x="246" y="126"/>
                </a:lnTo>
                <a:lnTo>
                  <a:pt x="240" y="126"/>
                </a:lnTo>
                <a:lnTo>
                  <a:pt x="246" y="132"/>
                </a:lnTo>
                <a:lnTo>
                  <a:pt x="246" y="132"/>
                </a:lnTo>
                <a:lnTo>
                  <a:pt x="246" y="132"/>
                </a:lnTo>
                <a:lnTo>
                  <a:pt x="246" y="132"/>
                </a:lnTo>
                <a:lnTo>
                  <a:pt x="246" y="132"/>
                </a:lnTo>
                <a:lnTo>
                  <a:pt x="246" y="132"/>
                </a:lnTo>
                <a:lnTo>
                  <a:pt x="252" y="132"/>
                </a:lnTo>
                <a:lnTo>
                  <a:pt x="252" y="132"/>
                </a:lnTo>
                <a:lnTo>
                  <a:pt x="252" y="132"/>
                </a:lnTo>
                <a:lnTo>
                  <a:pt x="252" y="132"/>
                </a:lnTo>
                <a:lnTo>
                  <a:pt x="252" y="138"/>
                </a:lnTo>
                <a:lnTo>
                  <a:pt x="252" y="138"/>
                </a:lnTo>
                <a:lnTo>
                  <a:pt x="252" y="138"/>
                </a:lnTo>
                <a:lnTo>
                  <a:pt x="252" y="138"/>
                </a:lnTo>
                <a:lnTo>
                  <a:pt x="258" y="138"/>
                </a:lnTo>
                <a:lnTo>
                  <a:pt x="258" y="138"/>
                </a:lnTo>
                <a:lnTo>
                  <a:pt x="258" y="138"/>
                </a:lnTo>
                <a:lnTo>
                  <a:pt x="258" y="144"/>
                </a:lnTo>
                <a:lnTo>
                  <a:pt x="258" y="144"/>
                </a:lnTo>
                <a:lnTo>
                  <a:pt x="258" y="144"/>
                </a:lnTo>
                <a:lnTo>
                  <a:pt x="258" y="150"/>
                </a:lnTo>
                <a:lnTo>
                  <a:pt x="258" y="156"/>
                </a:lnTo>
                <a:lnTo>
                  <a:pt x="258" y="156"/>
                </a:lnTo>
                <a:lnTo>
                  <a:pt x="258" y="156"/>
                </a:lnTo>
                <a:lnTo>
                  <a:pt x="258" y="156"/>
                </a:lnTo>
                <a:lnTo>
                  <a:pt x="258" y="162"/>
                </a:lnTo>
                <a:lnTo>
                  <a:pt x="258" y="162"/>
                </a:lnTo>
                <a:lnTo>
                  <a:pt x="258" y="162"/>
                </a:lnTo>
                <a:lnTo>
                  <a:pt x="258" y="162"/>
                </a:lnTo>
                <a:lnTo>
                  <a:pt x="252" y="168"/>
                </a:lnTo>
                <a:lnTo>
                  <a:pt x="252" y="168"/>
                </a:lnTo>
                <a:lnTo>
                  <a:pt x="252" y="168"/>
                </a:lnTo>
                <a:lnTo>
                  <a:pt x="252" y="168"/>
                </a:lnTo>
                <a:lnTo>
                  <a:pt x="252" y="168"/>
                </a:lnTo>
                <a:lnTo>
                  <a:pt x="252" y="168"/>
                </a:lnTo>
                <a:lnTo>
                  <a:pt x="252" y="168"/>
                </a:lnTo>
                <a:lnTo>
                  <a:pt x="246" y="168"/>
                </a:lnTo>
                <a:lnTo>
                  <a:pt x="246" y="162"/>
                </a:lnTo>
                <a:lnTo>
                  <a:pt x="246" y="162"/>
                </a:lnTo>
                <a:lnTo>
                  <a:pt x="246" y="162"/>
                </a:lnTo>
                <a:lnTo>
                  <a:pt x="246" y="162"/>
                </a:lnTo>
                <a:lnTo>
                  <a:pt x="246" y="162"/>
                </a:lnTo>
                <a:lnTo>
                  <a:pt x="240" y="162"/>
                </a:lnTo>
                <a:lnTo>
                  <a:pt x="240" y="162"/>
                </a:lnTo>
                <a:lnTo>
                  <a:pt x="240" y="162"/>
                </a:lnTo>
                <a:lnTo>
                  <a:pt x="240" y="162"/>
                </a:lnTo>
                <a:lnTo>
                  <a:pt x="240" y="162"/>
                </a:lnTo>
                <a:lnTo>
                  <a:pt x="240" y="168"/>
                </a:lnTo>
                <a:lnTo>
                  <a:pt x="240" y="168"/>
                </a:lnTo>
                <a:lnTo>
                  <a:pt x="240" y="168"/>
                </a:lnTo>
                <a:lnTo>
                  <a:pt x="240" y="168"/>
                </a:lnTo>
                <a:lnTo>
                  <a:pt x="240" y="168"/>
                </a:lnTo>
                <a:lnTo>
                  <a:pt x="234" y="168"/>
                </a:lnTo>
                <a:lnTo>
                  <a:pt x="234" y="168"/>
                </a:lnTo>
                <a:lnTo>
                  <a:pt x="234" y="174"/>
                </a:lnTo>
                <a:lnTo>
                  <a:pt x="234" y="174"/>
                </a:lnTo>
                <a:lnTo>
                  <a:pt x="234" y="180"/>
                </a:lnTo>
                <a:lnTo>
                  <a:pt x="234" y="180"/>
                </a:lnTo>
                <a:lnTo>
                  <a:pt x="234" y="180"/>
                </a:lnTo>
                <a:lnTo>
                  <a:pt x="234" y="180"/>
                </a:lnTo>
                <a:lnTo>
                  <a:pt x="234" y="180"/>
                </a:lnTo>
                <a:lnTo>
                  <a:pt x="234" y="180"/>
                </a:lnTo>
                <a:lnTo>
                  <a:pt x="234" y="186"/>
                </a:lnTo>
                <a:lnTo>
                  <a:pt x="234" y="186"/>
                </a:lnTo>
                <a:lnTo>
                  <a:pt x="234" y="186"/>
                </a:lnTo>
                <a:lnTo>
                  <a:pt x="234" y="186"/>
                </a:lnTo>
                <a:lnTo>
                  <a:pt x="228" y="186"/>
                </a:lnTo>
                <a:lnTo>
                  <a:pt x="228" y="180"/>
                </a:lnTo>
                <a:lnTo>
                  <a:pt x="228" y="180"/>
                </a:lnTo>
                <a:lnTo>
                  <a:pt x="228" y="180"/>
                </a:lnTo>
                <a:lnTo>
                  <a:pt x="222" y="180"/>
                </a:lnTo>
                <a:lnTo>
                  <a:pt x="222" y="186"/>
                </a:lnTo>
                <a:lnTo>
                  <a:pt x="222" y="186"/>
                </a:lnTo>
                <a:lnTo>
                  <a:pt x="222" y="186"/>
                </a:lnTo>
                <a:lnTo>
                  <a:pt x="222" y="186"/>
                </a:lnTo>
                <a:lnTo>
                  <a:pt x="222" y="186"/>
                </a:lnTo>
                <a:lnTo>
                  <a:pt x="222" y="186"/>
                </a:lnTo>
                <a:lnTo>
                  <a:pt x="222" y="186"/>
                </a:lnTo>
                <a:lnTo>
                  <a:pt x="216" y="186"/>
                </a:lnTo>
                <a:lnTo>
                  <a:pt x="216" y="192"/>
                </a:lnTo>
                <a:lnTo>
                  <a:pt x="216" y="192"/>
                </a:lnTo>
                <a:lnTo>
                  <a:pt x="216" y="192"/>
                </a:lnTo>
                <a:lnTo>
                  <a:pt x="216" y="192"/>
                </a:lnTo>
                <a:lnTo>
                  <a:pt x="216" y="192"/>
                </a:lnTo>
                <a:lnTo>
                  <a:pt x="216" y="192"/>
                </a:lnTo>
                <a:lnTo>
                  <a:pt x="216" y="192"/>
                </a:lnTo>
                <a:lnTo>
                  <a:pt x="216" y="192"/>
                </a:lnTo>
                <a:lnTo>
                  <a:pt x="210" y="198"/>
                </a:lnTo>
                <a:lnTo>
                  <a:pt x="210" y="198"/>
                </a:lnTo>
                <a:lnTo>
                  <a:pt x="210" y="198"/>
                </a:lnTo>
                <a:lnTo>
                  <a:pt x="210" y="198"/>
                </a:lnTo>
                <a:lnTo>
                  <a:pt x="210" y="198"/>
                </a:lnTo>
                <a:lnTo>
                  <a:pt x="210" y="198"/>
                </a:lnTo>
                <a:lnTo>
                  <a:pt x="210" y="198"/>
                </a:lnTo>
                <a:lnTo>
                  <a:pt x="210" y="204"/>
                </a:lnTo>
                <a:lnTo>
                  <a:pt x="210" y="204"/>
                </a:lnTo>
                <a:lnTo>
                  <a:pt x="210" y="210"/>
                </a:lnTo>
                <a:lnTo>
                  <a:pt x="210" y="210"/>
                </a:lnTo>
                <a:lnTo>
                  <a:pt x="210" y="210"/>
                </a:lnTo>
                <a:lnTo>
                  <a:pt x="210" y="210"/>
                </a:lnTo>
                <a:lnTo>
                  <a:pt x="204" y="204"/>
                </a:lnTo>
                <a:lnTo>
                  <a:pt x="204" y="204"/>
                </a:lnTo>
                <a:lnTo>
                  <a:pt x="204" y="204"/>
                </a:lnTo>
                <a:lnTo>
                  <a:pt x="204" y="204"/>
                </a:lnTo>
                <a:lnTo>
                  <a:pt x="204" y="204"/>
                </a:lnTo>
                <a:lnTo>
                  <a:pt x="198" y="204"/>
                </a:lnTo>
                <a:lnTo>
                  <a:pt x="198" y="204"/>
                </a:lnTo>
                <a:lnTo>
                  <a:pt x="198" y="204"/>
                </a:lnTo>
                <a:lnTo>
                  <a:pt x="192" y="204"/>
                </a:lnTo>
                <a:lnTo>
                  <a:pt x="192" y="204"/>
                </a:lnTo>
                <a:lnTo>
                  <a:pt x="192" y="204"/>
                </a:lnTo>
                <a:lnTo>
                  <a:pt x="192" y="204"/>
                </a:lnTo>
                <a:lnTo>
                  <a:pt x="192" y="204"/>
                </a:lnTo>
                <a:lnTo>
                  <a:pt x="192" y="210"/>
                </a:lnTo>
                <a:lnTo>
                  <a:pt x="192" y="210"/>
                </a:lnTo>
                <a:lnTo>
                  <a:pt x="192" y="210"/>
                </a:lnTo>
                <a:lnTo>
                  <a:pt x="192" y="210"/>
                </a:lnTo>
                <a:lnTo>
                  <a:pt x="192" y="210"/>
                </a:lnTo>
                <a:lnTo>
                  <a:pt x="192" y="210"/>
                </a:lnTo>
                <a:lnTo>
                  <a:pt x="192" y="210"/>
                </a:lnTo>
                <a:lnTo>
                  <a:pt x="192" y="216"/>
                </a:lnTo>
                <a:lnTo>
                  <a:pt x="198" y="216"/>
                </a:lnTo>
                <a:lnTo>
                  <a:pt x="192" y="216"/>
                </a:lnTo>
                <a:lnTo>
                  <a:pt x="192" y="216"/>
                </a:lnTo>
                <a:lnTo>
                  <a:pt x="192" y="216"/>
                </a:lnTo>
                <a:lnTo>
                  <a:pt x="192" y="222"/>
                </a:lnTo>
                <a:lnTo>
                  <a:pt x="192" y="222"/>
                </a:lnTo>
                <a:lnTo>
                  <a:pt x="192" y="222"/>
                </a:lnTo>
                <a:lnTo>
                  <a:pt x="192" y="222"/>
                </a:lnTo>
                <a:lnTo>
                  <a:pt x="192" y="222"/>
                </a:lnTo>
                <a:lnTo>
                  <a:pt x="192" y="228"/>
                </a:lnTo>
                <a:lnTo>
                  <a:pt x="192" y="228"/>
                </a:lnTo>
                <a:lnTo>
                  <a:pt x="192" y="228"/>
                </a:lnTo>
                <a:lnTo>
                  <a:pt x="192" y="228"/>
                </a:lnTo>
                <a:lnTo>
                  <a:pt x="192" y="228"/>
                </a:lnTo>
                <a:lnTo>
                  <a:pt x="192" y="228"/>
                </a:lnTo>
                <a:lnTo>
                  <a:pt x="192" y="228"/>
                </a:lnTo>
                <a:lnTo>
                  <a:pt x="186" y="228"/>
                </a:lnTo>
                <a:lnTo>
                  <a:pt x="186" y="228"/>
                </a:lnTo>
                <a:lnTo>
                  <a:pt x="186" y="228"/>
                </a:lnTo>
                <a:lnTo>
                  <a:pt x="186" y="234"/>
                </a:lnTo>
                <a:lnTo>
                  <a:pt x="186" y="234"/>
                </a:lnTo>
                <a:lnTo>
                  <a:pt x="186" y="234"/>
                </a:lnTo>
                <a:lnTo>
                  <a:pt x="186" y="234"/>
                </a:lnTo>
                <a:lnTo>
                  <a:pt x="186" y="234"/>
                </a:lnTo>
                <a:lnTo>
                  <a:pt x="180" y="234"/>
                </a:lnTo>
                <a:lnTo>
                  <a:pt x="180" y="234"/>
                </a:lnTo>
                <a:lnTo>
                  <a:pt x="180" y="240"/>
                </a:lnTo>
                <a:lnTo>
                  <a:pt x="180" y="240"/>
                </a:lnTo>
                <a:lnTo>
                  <a:pt x="174" y="240"/>
                </a:lnTo>
                <a:lnTo>
                  <a:pt x="174" y="240"/>
                </a:lnTo>
                <a:lnTo>
                  <a:pt x="174" y="240"/>
                </a:lnTo>
                <a:lnTo>
                  <a:pt x="168" y="240"/>
                </a:lnTo>
                <a:lnTo>
                  <a:pt x="168" y="240"/>
                </a:lnTo>
                <a:lnTo>
                  <a:pt x="168" y="240"/>
                </a:lnTo>
                <a:lnTo>
                  <a:pt x="168" y="246"/>
                </a:lnTo>
                <a:lnTo>
                  <a:pt x="162" y="246"/>
                </a:lnTo>
                <a:lnTo>
                  <a:pt x="162" y="246"/>
                </a:lnTo>
                <a:lnTo>
                  <a:pt x="162" y="246"/>
                </a:lnTo>
                <a:lnTo>
                  <a:pt x="162" y="246"/>
                </a:lnTo>
                <a:lnTo>
                  <a:pt x="162" y="246"/>
                </a:lnTo>
                <a:lnTo>
                  <a:pt x="162" y="246"/>
                </a:lnTo>
                <a:lnTo>
                  <a:pt x="162" y="246"/>
                </a:lnTo>
                <a:lnTo>
                  <a:pt x="162" y="246"/>
                </a:lnTo>
                <a:lnTo>
                  <a:pt x="162" y="246"/>
                </a:lnTo>
                <a:lnTo>
                  <a:pt x="162" y="246"/>
                </a:lnTo>
                <a:lnTo>
                  <a:pt x="162" y="252"/>
                </a:lnTo>
                <a:lnTo>
                  <a:pt x="156" y="252"/>
                </a:lnTo>
                <a:lnTo>
                  <a:pt x="156" y="252"/>
                </a:lnTo>
                <a:lnTo>
                  <a:pt x="156" y="252"/>
                </a:lnTo>
                <a:lnTo>
                  <a:pt x="156" y="252"/>
                </a:lnTo>
                <a:lnTo>
                  <a:pt x="156" y="252"/>
                </a:lnTo>
                <a:lnTo>
                  <a:pt x="156" y="252"/>
                </a:lnTo>
                <a:lnTo>
                  <a:pt x="156" y="252"/>
                </a:lnTo>
                <a:lnTo>
                  <a:pt x="156" y="252"/>
                </a:lnTo>
                <a:lnTo>
                  <a:pt x="150" y="252"/>
                </a:lnTo>
                <a:lnTo>
                  <a:pt x="150" y="258"/>
                </a:lnTo>
                <a:lnTo>
                  <a:pt x="150" y="258"/>
                </a:lnTo>
                <a:lnTo>
                  <a:pt x="144" y="258"/>
                </a:lnTo>
                <a:lnTo>
                  <a:pt x="144" y="258"/>
                </a:lnTo>
                <a:lnTo>
                  <a:pt x="144" y="258"/>
                </a:lnTo>
                <a:lnTo>
                  <a:pt x="144" y="264"/>
                </a:lnTo>
                <a:lnTo>
                  <a:pt x="144" y="264"/>
                </a:lnTo>
                <a:lnTo>
                  <a:pt x="138" y="264"/>
                </a:lnTo>
                <a:lnTo>
                  <a:pt x="138" y="264"/>
                </a:lnTo>
                <a:lnTo>
                  <a:pt x="138" y="264"/>
                </a:lnTo>
                <a:lnTo>
                  <a:pt x="138" y="264"/>
                </a:lnTo>
                <a:lnTo>
                  <a:pt x="132" y="264"/>
                </a:lnTo>
                <a:lnTo>
                  <a:pt x="132" y="270"/>
                </a:lnTo>
                <a:lnTo>
                  <a:pt x="132" y="270"/>
                </a:lnTo>
                <a:lnTo>
                  <a:pt x="132" y="270"/>
                </a:lnTo>
                <a:lnTo>
                  <a:pt x="132" y="270"/>
                </a:lnTo>
                <a:lnTo>
                  <a:pt x="132" y="270"/>
                </a:lnTo>
                <a:lnTo>
                  <a:pt x="132" y="270"/>
                </a:lnTo>
                <a:lnTo>
                  <a:pt x="132" y="270"/>
                </a:lnTo>
                <a:lnTo>
                  <a:pt x="132" y="270"/>
                </a:lnTo>
                <a:lnTo>
                  <a:pt x="132" y="270"/>
                </a:lnTo>
                <a:lnTo>
                  <a:pt x="132" y="270"/>
                </a:lnTo>
                <a:lnTo>
                  <a:pt x="132" y="270"/>
                </a:lnTo>
                <a:lnTo>
                  <a:pt x="126" y="270"/>
                </a:lnTo>
                <a:lnTo>
                  <a:pt x="126" y="270"/>
                </a:lnTo>
                <a:lnTo>
                  <a:pt x="126" y="270"/>
                </a:lnTo>
                <a:lnTo>
                  <a:pt x="126" y="270"/>
                </a:lnTo>
                <a:lnTo>
                  <a:pt x="126" y="270"/>
                </a:lnTo>
                <a:lnTo>
                  <a:pt x="126" y="276"/>
                </a:lnTo>
                <a:lnTo>
                  <a:pt x="126" y="276"/>
                </a:lnTo>
                <a:lnTo>
                  <a:pt x="126" y="276"/>
                </a:lnTo>
                <a:lnTo>
                  <a:pt x="120" y="276"/>
                </a:lnTo>
                <a:lnTo>
                  <a:pt x="120" y="276"/>
                </a:lnTo>
                <a:lnTo>
                  <a:pt x="120" y="276"/>
                </a:lnTo>
                <a:lnTo>
                  <a:pt x="120" y="276"/>
                </a:lnTo>
                <a:lnTo>
                  <a:pt x="114" y="276"/>
                </a:lnTo>
                <a:lnTo>
                  <a:pt x="114" y="276"/>
                </a:lnTo>
                <a:lnTo>
                  <a:pt x="114" y="276"/>
                </a:lnTo>
                <a:lnTo>
                  <a:pt x="114" y="282"/>
                </a:lnTo>
                <a:lnTo>
                  <a:pt x="114" y="276"/>
                </a:lnTo>
                <a:lnTo>
                  <a:pt x="114" y="276"/>
                </a:lnTo>
                <a:lnTo>
                  <a:pt x="114" y="276"/>
                </a:lnTo>
                <a:lnTo>
                  <a:pt x="114" y="276"/>
                </a:lnTo>
                <a:lnTo>
                  <a:pt x="114" y="276"/>
                </a:lnTo>
                <a:lnTo>
                  <a:pt x="114" y="276"/>
                </a:lnTo>
                <a:lnTo>
                  <a:pt x="108" y="270"/>
                </a:lnTo>
                <a:lnTo>
                  <a:pt x="108" y="270"/>
                </a:lnTo>
                <a:lnTo>
                  <a:pt x="114" y="264"/>
                </a:lnTo>
                <a:lnTo>
                  <a:pt x="114" y="258"/>
                </a:lnTo>
                <a:lnTo>
                  <a:pt x="114" y="258"/>
                </a:lnTo>
                <a:lnTo>
                  <a:pt x="108" y="252"/>
                </a:lnTo>
                <a:lnTo>
                  <a:pt x="108" y="246"/>
                </a:lnTo>
                <a:lnTo>
                  <a:pt x="108" y="246"/>
                </a:lnTo>
                <a:lnTo>
                  <a:pt x="108" y="246"/>
                </a:lnTo>
                <a:lnTo>
                  <a:pt x="108" y="246"/>
                </a:lnTo>
                <a:lnTo>
                  <a:pt x="108" y="246"/>
                </a:lnTo>
                <a:lnTo>
                  <a:pt x="102" y="240"/>
                </a:lnTo>
                <a:lnTo>
                  <a:pt x="102" y="246"/>
                </a:lnTo>
                <a:lnTo>
                  <a:pt x="102" y="246"/>
                </a:lnTo>
                <a:lnTo>
                  <a:pt x="108" y="246"/>
                </a:lnTo>
                <a:lnTo>
                  <a:pt x="102" y="246"/>
                </a:lnTo>
                <a:lnTo>
                  <a:pt x="108" y="246"/>
                </a:lnTo>
                <a:lnTo>
                  <a:pt x="102" y="246"/>
                </a:lnTo>
                <a:lnTo>
                  <a:pt x="102" y="246"/>
                </a:lnTo>
                <a:lnTo>
                  <a:pt x="102" y="246"/>
                </a:lnTo>
                <a:lnTo>
                  <a:pt x="108" y="246"/>
                </a:lnTo>
                <a:lnTo>
                  <a:pt x="102" y="252"/>
                </a:lnTo>
                <a:lnTo>
                  <a:pt x="102" y="252"/>
                </a:lnTo>
                <a:lnTo>
                  <a:pt x="102" y="252"/>
                </a:lnTo>
                <a:lnTo>
                  <a:pt x="102" y="252"/>
                </a:lnTo>
                <a:lnTo>
                  <a:pt x="96" y="252"/>
                </a:lnTo>
                <a:lnTo>
                  <a:pt x="96" y="252"/>
                </a:lnTo>
                <a:lnTo>
                  <a:pt x="96" y="252"/>
                </a:lnTo>
                <a:lnTo>
                  <a:pt x="96" y="252"/>
                </a:lnTo>
                <a:lnTo>
                  <a:pt x="96" y="258"/>
                </a:lnTo>
                <a:lnTo>
                  <a:pt x="96" y="258"/>
                </a:lnTo>
                <a:lnTo>
                  <a:pt x="96" y="252"/>
                </a:lnTo>
                <a:lnTo>
                  <a:pt x="96" y="258"/>
                </a:lnTo>
                <a:lnTo>
                  <a:pt x="96" y="258"/>
                </a:lnTo>
                <a:lnTo>
                  <a:pt x="96" y="258"/>
                </a:lnTo>
                <a:lnTo>
                  <a:pt x="90" y="258"/>
                </a:lnTo>
                <a:lnTo>
                  <a:pt x="90" y="258"/>
                </a:lnTo>
                <a:lnTo>
                  <a:pt x="90" y="264"/>
                </a:lnTo>
                <a:lnTo>
                  <a:pt x="90" y="264"/>
                </a:lnTo>
                <a:lnTo>
                  <a:pt x="90" y="264"/>
                </a:lnTo>
                <a:lnTo>
                  <a:pt x="84" y="264"/>
                </a:lnTo>
                <a:lnTo>
                  <a:pt x="84" y="264"/>
                </a:lnTo>
                <a:lnTo>
                  <a:pt x="78" y="264"/>
                </a:lnTo>
                <a:lnTo>
                  <a:pt x="78" y="264"/>
                </a:lnTo>
                <a:lnTo>
                  <a:pt x="78" y="264"/>
                </a:lnTo>
                <a:lnTo>
                  <a:pt x="78" y="264"/>
                </a:lnTo>
                <a:lnTo>
                  <a:pt x="78" y="264"/>
                </a:lnTo>
                <a:lnTo>
                  <a:pt x="78" y="264"/>
                </a:lnTo>
                <a:lnTo>
                  <a:pt x="78" y="270"/>
                </a:lnTo>
                <a:lnTo>
                  <a:pt x="72" y="270"/>
                </a:lnTo>
                <a:lnTo>
                  <a:pt x="72" y="270"/>
                </a:lnTo>
                <a:lnTo>
                  <a:pt x="72" y="270"/>
                </a:lnTo>
                <a:lnTo>
                  <a:pt x="72" y="270"/>
                </a:lnTo>
                <a:lnTo>
                  <a:pt x="72" y="270"/>
                </a:lnTo>
                <a:lnTo>
                  <a:pt x="72" y="270"/>
                </a:lnTo>
                <a:lnTo>
                  <a:pt x="72" y="270"/>
                </a:lnTo>
                <a:lnTo>
                  <a:pt x="72" y="270"/>
                </a:lnTo>
                <a:lnTo>
                  <a:pt x="72" y="270"/>
                </a:lnTo>
                <a:lnTo>
                  <a:pt x="66" y="270"/>
                </a:lnTo>
                <a:lnTo>
                  <a:pt x="66" y="270"/>
                </a:lnTo>
                <a:lnTo>
                  <a:pt x="66" y="264"/>
                </a:lnTo>
                <a:lnTo>
                  <a:pt x="66" y="264"/>
                </a:lnTo>
                <a:lnTo>
                  <a:pt x="60" y="270"/>
                </a:lnTo>
                <a:lnTo>
                  <a:pt x="54" y="270"/>
                </a:lnTo>
                <a:lnTo>
                  <a:pt x="54" y="270"/>
                </a:lnTo>
                <a:lnTo>
                  <a:pt x="54" y="264"/>
                </a:lnTo>
                <a:lnTo>
                  <a:pt x="54" y="264"/>
                </a:lnTo>
                <a:lnTo>
                  <a:pt x="48" y="258"/>
                </a:lnTo>
                <a:lnTo>
                  <a:pt x="48" y="258"/>
                </a:lnTo>
                <a:lnTo>
                  <a:pt x="42" y="258"/>
                </a:lnTo>
                <a:lnTo>
                  <a:pt x="42" y="258"/>
                </a:lnTo>
                <a:lnTo>
                  <a:pt x="42" y="252"/>
                </a:lnTo>
                <a:lnTo>
                  <a:pt x="42" y="252"/>
                </a:lnTo>
                <a:lnTo>
                  <a:pt x="36" y="252"/>
                </a:lnTo>
                <a:lnTo>
                  <a:pt x="36" y="252"/>
                </a:lnTo>
                <a:lnTo>
                  <a:pt x="36" y="252"/>
                </a:lnTo>
                <a:lnTo>
                  <a:pt x="36" y="252"/>
                </a:lnTo>
                <a:lnTo>
                  <a:pt x="30" y="252"/>
                </a:lnTo>
                <a:lnTo>
                  <a:pt x="36" y="252"/>
                </a:lnTo>
                <a:lnTo>
                  <a:pt x="30" y="252"/>
                </a:lnTo>
                <a:lnTo>
                  <a:pt x="30" y="252"/>
                </a:lnTo>
                <a:lnTo>
                  <a:pt x="30" y="252"/>
                </a:lnTo>
                <a:lnTo>
                  <a:pt x="30" y="252"/>
                </a:lnTo>
                <a:lnTo>
                  <a:pt x="30" y="252"/>
                </a:lnTo>
                <a:lnTo>
                  <a:pt x="30" y="252"/>
                </a:lnTo>
                <a:lnTo>
                  <a:pt x="30" y="252"/>
                </a:lnTo>
                <a:lnTo>
                  <a:pt x="30" y="252"/>
                </a:lnTo>
                <a:lnTo>
                  <a:pt x="30" y="252"/>
                </a:lnTo>
                <a:lnTo>
                  <a:pt x="30" y="252"/>
                </a:lnTo>
                <a:lnTo>
                  <a:pt x="30" y="246"/>
                </a:lnTo>
                <a:lnTo>
                  <a:pt x="24" y="252"/>
                </a:lnTo>
                <a:lnTo>
                  <a:pt x="24" y="246"/>
                </a:lnTo>
                <a:lnTo>
                  <a:pt x="24" y="246"/>
                </a:lnTo>
                <a:lnTo>
                  <a:pt x="24" y="246"/>
                </a:lnTo>
                <a:lnTo>
                  <a:pt x="24" y="246"/>
                </a:lnTo>
                <a:lnTo>
                  <a:pt x="24" y="246"/>
                </a:lnTo>
                <a:lnTo>
                  <a:pt x="24" y="246"/>
                </a:lnTo>
                <a:lnTo>
                  <a:pt x="24" y="246"/>
                </a:lnTo>
                <a:lnTo>
                  <a:pt x="18" y="246"/>
                </a:lnTo>
                <a:lnTo>
                  <a:pt x="18" y="246"/>
                </a:lnTo>
                <a:lnTo>
                  <a:pt x="18" y="246"/>
                </a:lnTo>
                <a:lnTo>
                  <a:pt x="18" y="246"/>
                </a:lnTo>
                <a:lnTo>
                  <a:pt x="12" y="252"/>
                </a:lnTo>
                <a:lnTo>
                  <a:pt x="12" y="252"/>
                </a:lnTo>
                <a:lnTo>
                  <a:pt x="12" y="252"/>
                </a:lnTo>
                <a:lnTo>
                  <a:pt x="12" y="252"/>
                </a:lnTo>
                <a:lnTo>
                  <a:pt x="6" y="252"/>
                </a:lnTo>
                <a:lnTo>
                  <a:pt x="6" y="252"/>
                </a:lnTo>
                <a:lnTo>
                  <a:pt x="6" y="252"/>
                </a:lnTo>
                <a:lnTo>
                  <a:pt x="6" y="252"/>
                </a:lnTo>
                <a:lnTo>
                  <a:pt x="0" y="246"/>
                </a:lnTo>
                <a:lnTo>
                  <a:pt x="0" y="246"/>
                </a:lnTo>
                <a:lnTo>
                  <a:pt x="0" y="246"/>
                </a:lnTo>
                <a:lnTo>
                  <a:pt x="0" y="246"/>
                </a:lnTo>
                <a:lnTo>
                  <a:pt x="0" y="246"/>
                </a:lnTo>
                <a:lnTo>
                  <a:pt x="0" y="246"/>
                </a:lnTo>
                <a:lnTo>
                  <a:pt x="0" y="246"/>
                </a:lnTo>
                <a:lnTo>
                  <a:pt x="0" y="246"/>
                </a:lnTo>
                <a:lnTo>
                  <a:pt x="0" y="246"/>
                </a:lnTo>
                <a:lnTo>
                  <a:pt x="0" y="246"/>
                </a:lnTo>
                <a:lnTo>
                  <a:pt x="0" y="246"/>
                </a:lnTo>
                <a:lnTo>
                  <a:pt x="0" y="24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63" name="Freeform 296"/>
          <p:cNvSpPr>
            <a:spLocks/>
          </p:cNvSpPr>
          <p:nvPr/>
        </p:nvSpPr>
        <p:spPr bwMode="auto">
          <a:xfrm>
            <a:off x="7609892" y="3351264"/>
            <a:ext cx="160601" cy="154178"/>
          </a:xfrm>
          <a:custGeom>
            <a:avLst/>
            <a:gdLst>
              <a:gd name="T0" fmla="*/ 6 w 150"/>
              <a:gd name="T1" fmla="*/ 108 h 144"/>
              <a:gd name="T2" fmla="*/ 12 w 150"/>
              <a:gd name="T3" fmla="*/ 102 h 144"/>
              <a:gd name="T4" fmla="*/ 12 w 150"/>
              <a:gd name="T5" fmla="*/ 96 h 144"/>
              <a:gd name="T6" fmla="*/ 12 w 150"/>
              <a:gd name="T7" fmla="*/ 78 h 144"/>
              <a:gd name="T8" fmla="*/ 18 w 150"/>
              <a:gd name="T9" fmla="*/ 60 h 144"/>
              <a:gd name="T10" fmla="*/ 18 w 150"/>
              <a:gd name="T11" fmla="*/ 48 h 144"/>
              <a:gd name="T12" fmla="*/ 24 w 150"/>
              <a:gd name="T13" fmla="*/ 42 h 144"/>
              <a:gd name="T14" fmla="*/ 30 w 150"/>
              <a:gd name="T15" fmla="*/ 42 h 144"/>
              <a:gd name="T16" fmla="*/ 36 w 150"/>
              <a:gd name="T17" fmla="*/ 36 h 144"/>
              <a:gd name="T18" fmla="*/ 48 w 150"/>
              <a:gd name="T19" fmla="*/ 36 h 144"/>
              <a:gd name="T20" fmla="*/ 54 w 150"/>
              <a:gd name="T21" fmla="*/ 24 h 144"/>
              <a:gd name="T22" fmla="*/ 54 w 150"/>
              <a:gd name="T23" fmla="*/ 18 h 144"/>
              <a:gd name="T24" fmla="*/ 66 w 150"/>
              <a:gd name="T25" fmla="*/ 12 h 144"/>
              <a:gd name="T26" fmla="*/ 78 w 150"/>
              <a:gd name="T27" fmla="*/ 6 h 144"/>
              <a:gd name="T28" fmla="*/ 90 w 150"/>
              <a:gd name="T29" fmla="*/ 6 h 144"/>
              <a:gd name="T30" fmla="*/ 96 w 150"/>
              <a:gd name="T31" fmla="*/ 0 h 144"/>
              <a:gd name="T32" fmla="*/ 102 w 150"/>
              <a:gd name="T33" fmla="*/ 0 h 144"/>
              <a:gd name="T34" fmla="*/ 102 w 150"/>
              <a:gd name="T35" fmla="*/ 0 h 144"/>
              <a:gd name="T36" fmla="*/ 108 w 150"/>
              <a:gd name="T37" fmla="*/ 0 h 144"/>
              <a:gd name="T38" fmla="*/ 108 w 150"/>
              <a:gd name="T39" fmla="*/ 0 h 144"/>
              <a:gd name="T40" fmla="*/ 114 w 150"/>
              <a:gd name="T41" fmla="*/ 6 h 144"/>
              <a:gd name="T42" fmla="*/ 114 w 150"/>
              <a:gd name="T43" fmla="*/ 6 h 144"/>
              <a:gd name="T44" fmla="*/ 114 w 150"/>
              <a:gd name="T45" fmla="*/ 6 h 144"/>
              <a:gd name="T46" fmla="*/ 120 w 150"/>
              <a:gd name="T47" fmla="*/ 6 h 144"/>
              <a:gd name="T48" fmla="*/ 126 w 150"/>
              <a:gd name="T49" fmla="*/ 6 h 144"/>
              <a:gd name="T50" fmla="*/ 132 w 150"/>
              <a:gd name="T51" fmla="*/ 12 h 144"/>
              <a:gd name="T52" fmla="*/ 132 w 150"/>
              <a:gd name="T53" fmla="*/ 18 h 144"/>
              <a:gd name="T54" fmla="*/ 138 w 150"/>
              <a:gd name="T55" fmla="*/ 24 h 144"/>
              <a:gd name="T56" fmla="*/ 138 w 150"/>
              <a:gd name="T57" fmla="*/ 30 h 144"/>
              <a:gd name="T58" fmla="*/ 138 w 150"/>
              <a:gd name="T59" fmla="*/ 42 h 144"/>
              <a:gd name="T60" fmla="*/ 144 w 150"/>
              <a:gd name="T61" fmla="*/ 48 h 144"/>
              <a:gd name="T62" fmla="*/ 144 w 150"/>
              <a:gd name="T63" fmla="*/ 54 h 144"/>
              <a:gd name="T64" fmla="*/ 144 w 150"/>
              <a:gd name="T65" fmla="*/ 54 h 144"/>
              <a:gd name="T66" fmla="*/ 150 w 150"/>
              <a:gd name="T67" fmla="*/ 66 h 144"/>
              <a:gd name="T68" fmla="*/ 144 w 150"/>
              <a:gd name="T69" fmla="*/ 72 h 144"/>
              <a:gd name="T70" fmla="*/ 126 w 150"/>
              <a:gd name="T71" fmla="*/ 78 h 144"/>
              <a:gd name="T72" fmla="*/ 120 w 150"/>
              <a:gd name="T73" fmla="*/ 84 h 144"/>
              <a:gd name="T74" fmla="*/ 114 w 150"/>
              <a:gd name="T75" fmla="*/ 90 h 144"/>
              <a:gd name="T76" fmla="*/ 108 w 150"/>
              <a:gd name="T77" fmla="*/ 96 h 144"/>
              <a:gd name="T78" fmla="*/ 102 w 150"/>
              <a:gd name="T79" fmla="*/ 108 h 144"/>
              <a:gd name="T80" fmla="*/ 102 w 150"/>
              <a:gd name="T81" fmla="*/ 114 h 144"/>
              <a:gd name="T82" fmla="*/ 90 w 150"/>
              <a:gd name="T83" fmla="*/ 120 h 144"/>
              <a:gd name="T84" fmla="*/ 84 w 150"/>
              <a:gd name="T85" fmla="*/ 120 h 144"/>
              <a:gd name="T86" fmla="*/ 78 w 150"/>
              <a:gd name="T87" fmla="*/ 126 h 144"/>
              <a:gd name="T88" fmla="*/ 72 w 150"/>
              <a:gd name="T89" fmla="*/ 132 h 144"/>
              <a:gd name="T90" fmla="*/ 66 w 150"/>
              <a:gd name="T91" fmla="*/ 138 h 144"/>
              <a:gd name="T92" fmla="*/ 60 w 150"/>
              <a:gd name="T93" fmla="*/ 138 h 144"/>
              <a:gd name="T94" fmla="*/ 60 w 150"/>
              <a:gd name="T95" fmla="*/ 132 h 144"/>
              <a:gd name="T96" fmla="*/ 54 w 150"/>
              <a:gd name="T97" fmla="*/ 126 h 144"/>
              <a:gd name="T98" fmla="*/ 42 w 150"/>
              <a:gd name="T99" fmla="*/ 126 h 144"/>
              <a:gd name="T100" fmla="*/ 36 w 150"/>
              <a:gd name="T101" fmla="*/ 132 h 144"/>
              <a:gd name="T102" fmla="*/ 24 w 150"/>
              <a:gd name="T103" fmla="*/ 132 h 144"/>
              <a:gd name="T104" fmla="*/ 18 w 150"/>
              <a:gd name="T105" fmla="*/ 138 h 144"/>
              <a:gd name="T106" fmla="*/ 12 w 150"/>
              <a:gd name="T107" fmla="*/ 138 h 144"/>
              <a:gd name="T108" fmla="*/ 6 w 150"/>
              <a:gd name="T109" fmla="*/ 132 h 144"/>
              <a:gd name="T110" fmla="*/ 0 w 150"/>
              <a:gd name="T111" fmla="*/ 120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50" h="144">
                <a:moveTo>
                  <a:pt x="0" y="108"/>
                </a:moveTo>
                <a:lnTo>
                  <a:pt x="0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12" y="108"/>
                </a:lnTo>
                <a:lnTo>
                  <a:pt x="12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8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0"/>
                </a:lnTo>
                <a:lnTo>
                  <a:pt x="12" y="90"/>
                </a:lnTo>
                <a:lnTo>
                  <a:pt x="12" y="84"/>
                </a:lnTo>
                <a:lnTo>
                  <a:pt x="6" y="84"/>
                </a:lnTo>
                <a:lnTo>
                  <a:pt x="6" y="78"/>
                </a:lnTo>
                <a:lnTo>
                  <a:pt x="6" y="78"/>
                </a:lnTo>
                <a:lnTo>
                  <a:pt x="12" y="78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66"/>
                </a:lnTo>
                <a:lnTo>
                  <a:pt x="18" y="66"/>
                </a:lnTo>
                <a:lnTo>
                  <a:pt x="12" y="66"/>
                </a:lnTo>
                <a:lnTo>
                  <a:pt x="18" y="60"/>
                </a:lnTo>
                <a:lnTo>
                  <a:pt x="18" y="60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2"/>
                </a:lnTo>
                <a:lnTo>
                  <a:pt x="18" y="42"/>
                </a:lnTo>
                <a:lnTo>
                  <a:pt x="24" y="42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30" y="42"/>
                </a:lnTo>
                <a:lnTo>
                  <a:pt x="30" y="42"/>
                </a:lnTo>
                <a:lnTo>
                  <a:pt x="30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8" y="36"/>
                </a:lnTo>
                <a:lnTo>
                  <a:pt x="48" y="36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54" y="30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60" y="18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84" y="6"/>
                </a:lnTo>
                <a:lnTo>
                  <a:pt x="84" y="0"/>
                </a:lnTo>
                <a:lnTo>
                  <a:pt x="90" y="6"/>
                </a:lnTo>
                <a:lnTo>
                  <a:pt x="90" y="6"/>
                </a:lnTo>
                <a:lnTo>
                  <a:pt x="90" y="0"/>
                </a:lnTo>
                <a:lnTo>
                  <a:pt x="90" y="6"/>
                </a:lnTo>
                <a:lnTo>
                  <a:pt x="90" y="6"/>
                </a:lnTo>
                <a:lnTo>
                  <a:pt x="90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44" y="30"/>
                </a:lnTo>
                <a:lnTo>
                  <a:pt x="138" y="30"/>
                </a:lnTo>
                <a:lnTo>
                  <a:pt x="144" y="36"/>
                </a:lnTo>
                <a:lnTo>
                  <a:pt x="144" y="36"/>
                </a:lnTo>
                <a:lnTo>
                  <a:pt x="144" y="36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44" y="42"/>
                </a:lnTo>
                <a:lnTo>
                  <a:pt x="138" y="42"/>
                </a:lnTo>
                <a:lnTo>
                  <a:pt x="138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54"/>
                </a:lnTo>
                <a:lnTo>
                  <a:pt x="144" y="54"/>
                </a:lnTo>
                <a:lnTo>
                  <a:pt x="144" y="54"/>
                </a:lnTo>
                <a:lnTo>
                  <a:pt x="144" y="54"/>
                </a:lnTo>
                <a:lnTo>
                  <a:pt x="144" y="54"/>
                </a:lnTo>
                <a:lnTo>
                  <a:pt x="144" y="54"/>
                </a:lnTo>
                <a:lnTo>
                  <a:pt x="144" y="54"/>
                </a:lnTo>
                <a:lnTo>
                  <a:pt x="144" y="54"/>
                </a:lnTo>
                <a:lnTo>
                  <a:pt x="144" y="60"/>
                </a:lnTo>
                <a:lnTo>
                  <a:pt x="144" y="60"/>
                </a:lnTo>
                <a:lnTo>
                  <a:pt x="144" y="60"/>
                </a:lnTo>
                <a:lnTo>
                  <a:pt x="150" y="60"/>
                </a:lnTo>
                <a:lnTo>
                  <a:pt x="150" y="60"/>
                </a:lnTo>
                <a:lnTo>
                  <a:pt x="150" y="66"/>
                </a:lnTo>
                <a:lnTo>
                  <a:pt x="150" y="66"/>
                </a:lnTo>
                <a:lnTo>
                  <a:pt x="150" y="66"/>
                </a:lnTo>
                <a:lnTo>
                  <a:pt x="150" y="66"/>
                </a:lnTo>
                <a:lnTo>
                  <a:pt x="150" y="66"/>
                </a:lnTo>
                <a:lnTo>
                  <a:pt x="144" y="72"/>
                </a:lnTo>
                <a:lnTo>
                  <a:pt x="144" y="66"/>
                </a:lnTo>
                <a:lnTo>
                  <a:pt x="144" y="72"/>
                </a:lnTo>
                <a:lnTo>
                  <a:pt x="144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2" y="78"/>
                </a:lnTo>
                <a:lnTo>
                  <a:pt x="132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78"/>
                </a:lnTo>
                <a:lnTo>
                  <a:pt x="120" y="78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2" y="96"/>
                </a:lnTo>
                <a:lnTo>
                  <a:pt x="102" y="96"/>
                </a:lnTo>
                <a:lnTo>
                  <a:pt x="108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14"/>
                </a:lnTo>
                <a:lnTo>
                  <a:pt x="102" y="108"/>
                </a:lnTo>
                <a:lnTo>
                  <a:pt x="96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6"/>
                </a:lnTo>
                <a:lnTo>
                  <a:pt x="84" y="126"/>
                </a:lnTo>
                <a:lnTo>
                  <a:pt x="78" y="126"/>
                </a:lnTo>
                <a:lnTo>
                  <a:pt x="78" y="126"/>
                </a:lnTo>
                <a:lnTo>
                  <a:pt x="78" y="126"/>
                </a:lnTo>
                <a:lnTo>
                  <a:pt x="78" y="126"/>
                </a:lnTo>
                <a:lnTo>
                  <a:pt x="78" y="126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66" y="138"/>
                </a:lnTo>
                <a:lnTo>
                  <a:pt x="66" y="138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0" y="144"/>
                </a:lnTo>
                <a:lnTo>
                  <a:pt x="60" y="138"/>
                </a:lnTo>
                <a:lnTo>
                  <a:pt x="60" y="138"/>
                </a:lnTo>
                <a:lnTo>
                  <a:pt x="60" y="138"/>
                </a:lnTo>
                <a:lnTo>
                  <a:pt x="60" y="138"/>
                </a:lnTo>
                <a:lnTo>
                  <a:pt x="60" y="138"/>
                </a:lnTo>
                <a:lnTo>
                  <a:pt x="60" y="132"/>
                </a:lnTo>
                <a:lnTo>
                  <a:pt x="60" y="132"/>
                </a:lnTo>
                <a:lnTo>
                  <a:pt x="60" y="132"/>
                </a:lnTo>
                <a:lnTo>
                  <a:pt x="60" y="132"/>
                </a:lnTo>
                <a:lnTo>
                  <a:pt x="60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26"/>
                </a:lnTo>
                <a:lnTo>
                  <a:pt x="54" y="126"/>
                </a:lnTo>
                <a:lnTo>
                  <a:pt x="48" y="132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2" y="126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36" y="132"/>
                </a:lnTo>
                <a:lnTo>
                  <a:pt x="36" y="132"/>
                </a:lnTo>
                <a:lnTo>
                  <a:pt x="36" y="126"/>
                </a:lnTo>
                <a:lnTo>
                  <a:pt x="36" y="132"/>
                </a:lnTo>
                <a:lnTo>
                  <a:pt x="36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6" y="138"/>
                </a:lnTo>
                <a:lnTo>
                  <a:pt x="6" y="138"/>
                </a:lnTo>
                <a:lnTo>
                  <a:pt x="6" y="138"/>
                </a:lnTo>
                <a:lnTo>
                  <a:pt x="6" y="132"/>
                </a:lnTo>
                <a:lnTo>
                  <a:pt x="6" y="132"/>
                </a:lnTo>
                <a:lnTo>
                  <a:pt x="6" y="132"/>
                </a:lnTo>
                <a:lnTo>
                  <a:pt x="6" y="132"/>
                </a:lnTo>
                <a:lnTo>
                  <a:pt x="6" y="132"/>
                </a:lnTo>
                <a:lnTo>
                  <a:pt x="6" y="132"/>
                </a:lnTo>
                <a:lnTo>
                  <a:pt x="0" y="126"/>
                </a:lnTo>
                <a:lnTo>
                  <a:pt x="0" y="120"/>
                </a:lnTo>
                <a:lnTo>
                  <a:pt x="0" y="120"/>
                </a:lnTo>
                <a:lnTo>
                  <a:pt x="0" y="120"/>
                </a:lnTo>
                <a:lnTo>
                  <a:pt x="0" y="120"/>
                </a:lnTo>
                <a:lnTo>
                  <a:pt x="0" y="114"/>
                </a:lnTo>
                <a:lnTo>
                  <a:pt x="0" y="114"/>
                </a:lnTo>
                <a:lnTo>
                  <a:pt x="0" y="114"/>
                </a:lnTo>
                <a:lnTo>
                  <a:pt x="0" y="108"/>
                </a:lnTo>
                <a:lnTo>
                  <a:pt x="0" y="10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64" name="Freeform 297"/>
          <p:cNvSpPr>
            <a:spLocks/>
          </p:cNvSpPr>
          <p:nvPr/>
        </p:nvSpPr>
        <p:spPr bwMode="auto">
          <a:xfrm>
            <a:off x="7057424" y="3415505"/>
            <a:ext cx="327627" cy="282660"/>
          </a:xfrm>
          <a:custGeom>
            <a:avLst/>
            <a:gdLst>
              <a:gd name="T0" fmla="*/ 0 w 306"/>
              <a:gd name="T1" fmla="*/ 102 h 264"/>
              <a:gd name="T2" fmla="*/ 6 w 306"/>
              <a:gd name="T3" fmla="*/ 102 h 264"/>
              <a:gd name="T4" fmla="*/ 12 w 306"/>
              <a:gd name="T5" fmla="*/ 90 h 264"/>
              <a:gd name="T6" fmla="*/ 18 w 306"/>
              <a:gd name="T7" fmla="*/ 84 h 264"/>
              <a:gd name="T8" fmla="*/ 30 w 306"/>
              <a:gd name="T9" fmla="*/ 72 h 264"/>
              <a:gd name="T10" fmla="*/ 36 w 306"/>
              <a:gd name="T11" fmla="*/ 66 h 264"/>
              <a:gd name="T12" fmla="*/ 42 w 306"/>
              <a:gd name="T13" fmla="*/ 60 h 264"/>
              <a:gd name="T14" fmla="*/ 48 w 306"/>
              <a:gd name="T15" fmla="*/ 54 h 264"/>
              <a:gd name="T16" fmla="*/ 48 w 306"/>
              <a:gd name="T17" fmla="*/ 48 h 264"/>
              <a:gd name="T18" fmla="*/ 42 w 306"/>
              <a:gd name="T19" fmla="*/ 36 h 264"/>
              <a:gd name="T20" fmla="*/ 36 w 306"/>
              <a:gd name="T21" fmla="*/ 24 h 264"/>
              <a:gd name="T22" fmla="*/ 66 w 306"/>
              <a:gd name="T23" fmla="*/ 0 h 264"/>
              <a:gd name="T24" fmla="*/ 78 w 306"/>
              <a:gd name="T25" fmla="*/ 18 h 264"/>
              <a:gd name="T26" fmla="*/ 78 w 306"/>
              <a:gd name="T27" fmla="*/ 30 h 264"/>
              <a:gd name="T28" fmla="*/ 84 w 306"/>
              <a:gd name="T29" fmla="*/ 36 h 264"/>
              <a:gd name="T30" fmla="*/ 96 w 306"/>
              <a:gd name="T31" fmla="*/ 36 h 264"/>
              <a:gd name="T32" fmla="*/ 108 w 306"/>
              <a:gd name="T33" fmla="*/ 30 h 264"/>
              <a:gd name="T34" fmla="*/ 120 w 306"/>
              <a:gd name="T35" fmla="*/ 36 h 264"/>
              <a:gd name="T36" fmla="*/ 132 w 306"/>
              <a:gd name="T37" fmla="*/ 36 h 264"/>
              <a:gd name="T38" fmla="*/ 144 w 306"/>
              <a:gd name="T39" fmla="*/ 42 h 264"/>
              <a:gd name="T40" fmla="*/ 150 w 306"/>
              <a:gd name="T41" fmla="*/ 42 h 264"/>
              <a:gd name="T42" fmla="*/ 162 w 306"/>
              <a:gd name="T43" fmla="*/ 48 h 264"/>
              <a:gd name="T44" fmla="*/ 174 w 306"/>
              <a:gd name="T45" fmla="*/ 48 h 264"/>
              <a:gd name="T46" fmla="*/ 174 w 306"/>
              <a:gd name="T47" fmla="*/ 30 h 264"/>
              <a:gd name="T48" fmla="*/ 186 w 306"/>
              <a:gd name="T49" fmla="*/ 18 h 264"/>
              <a:gd name="T50" fmla="*/ 204 w 306"/>
              <a:gd name="T51" fmla="*/ 12 h 264"/>
              <a:gd name="T52" fmla="*/ 222 w 306"/>
              <a:gd name="T53" fmla="*/ 30 h 264"/>
              <a:gd name="T54" fmla="*/ 240 w 306"/>
              <a:gd name="T55" fmla="*/ 42 h 264"/>
              <a:gd name="T56" fmla="*/ 264 w 306"/>
              <a:gd name="T57" fmla="*/ 48 h 264"/>
              <a:gd name="T58" fmla="*/ 258 w 306"/>
              <a:gd name="T59" fmla="*/ 66 h 264"/>
              <a:gd name="T60" fmla="*/ 264 w 306"/>
              <a:gd name="T61" fmla="*/ 78 h 264"/>
              <a:gd name="T62" fmla="*/ 258 w 306"/>
              <a:gd name="T63" fmla="*/ 108 h 264"/>
              <a:gd name="T64" fmla="*/ 276 w 306"/>
              <a:gd name="T65" fmla="*/ 120 h 264"/>
              <a:gd name="T66" fmla="*/ 270 w 306"/>
              <a:gd name="T67" fmla="*/ 132 h 264"/>
              <a:gd name="T68" fmla="*/ 276 w 306"/>
              <a:gd name="T69" fmla="*/ 144 h 264"/>
              <a:gd name="T70" fmla="*/ 276 w 306"/>
              <a:gd name="T71" fmla="*/ 156 h 264"/>
              <a:gd name="T72" fmla="*/ 270 w 306"/>
              <a:gd name="T73" fmla="*/ 168 h 264"/>
              <a:gd name="T74" fmla="*/ 282 w 306"/>
              <a:gd name="T75" fmla="*/ 174 h 264"/>
              <a:gd name="T76" fmla="*/ 300 w 306"/>
              <a:gd name="T77" fmla="*/ 180 h 264"/>
              <a:gd name="T78" fmla="*/ 294 w 306"/>
              <a:gd name="T79" fmla="*/ 198 h 264"/>
              <a:gd name="T80" fmla="*/ 276 w 306"/>
              <a:gd name="T81" fmla="*/ 222 h 264"/>
              <a:gd name="T82" fmla="*/ 252 w 306"/>
              <a:gd name="T83" fmla="*/ 228 h 264"/>
              <a:gd name="T84" fmla="*/ 246 w 306"/>
              <a:gd name="T85" fmla="*/ 240 h 264"/>
              <a:gd name="T86" fmla="*/ 246 w 306"/>
              <a:gd name="T87" fmla="*/ 246 h 264"/>
              <a:gd name="T88" fmla="*/ 222 w 306"/>
              <a:gd name="T89" fmla="*/ 246 h 264"/>
              <a:gd name="T90" fmla="*/ 222 w 306"/>
              <a:gd name="T91" fmla="*/ 258 h 264"/>
              <a:gd name="T92" fmla="*/ 198 w 306"/>
              <a:gd name="T93" fmla="*/ 258 h 264"/>
              <a:gd name="T94" fmla="*/ 180 w 306"/>
              <a:gd name="T95" fmla="*/ 252 h 264"/>
              <a:gd name="T96" fmla="*/ 162 w 306"/>
              <a:gd name="T97" fmla="*/ 252 h 264"/>
              <a:gd name="T98" fmla="*/ 138 w 306"/>
              <a:gd name="T99" fmla="*/ 246 h 264"/>
              <a:gd name="T100" fmla="*/ 120 w 306"/>
              <a:gd name="T101" fmla="*/ 234 h 264"/>
              <a:gd name="T102" fmla="*/ 108 w 306"/>
              <a:gd name="T103" fmla="*/ 228 h 264"/>
              <a:gd name="T104" fmla="*/ 102 w 306"/>
              <a:gd name="T105" fmla="*/ 222 h 264"/>
              <a:gd name="T106" fmla="*/ 90 w 306"/>
              <a:gd name="T107" fmla="*/ 222 h 264"/>
              <a:gd name="T108" fmla="*/ 78 w 306"/>
              <a:gd name="T109" fmla="*/ 210 h 264"/>
              <a:gd name="T110" fmla="*/ 54 w 306"/>
              <a:gd name="T111" fmla="*/ 198 h 264"/>
              <a:gd name="T112" fmla="*/ 48 w 306"/>
              <a:gd name="T113" fmla="*/ 174 h 264"/>
              <a:gd name="T114" fmla="*/ 30 w 306"/>
              <a:gd name="T115" fmla="*/ 186 h 264"/>
              <a:gd name="T116" fmla="*/ 24 w 306"/>
              <a:gd name="T117" fmla="*/ 174 h 264"/>
              <a:gd name="T118" fmla="*/ 24 w 306"/>
              <a:gd name="T119" fmla="*/ 156 h 264"/>
              <a:gd name="T120" fmla="*/ 30 w 306"/>
              <a:gd name="T121" fmla="*/ 138 h 264"/>
              <a:gd name="T122" fmla="*/ 6 w 306"/>
              <a:gd name="T123" fmla="*/ 126 h 2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06" h="264">
                <a:moveTo>
                  <a:pt x="0" y="114"/>
                </a:moveTo>
                <a:lnTo>
                  <a:pt x="0" y="114"/>
                </a:lnTo>
                <a:lnTo>
                  <a:pt x="0" y="114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6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18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42" y="66"/>
                </a:lnTo>
                <a:lnTo>
                  <a:pt x="42" y="66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54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54" y="48"/>
                </a:lnTo>
                <a:lnTo>
                  <a:pt x="54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42" y="18"/>
                </a:lnTo>
                <a:lnTo>
                  <a:pt x="42" y="18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72" y="12"/>
                </a:lnTo>
                <a:lnTo>
                  <a:pt x="72" y="12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8" y="12"/>
                </a:lnTo>
                <a:lnTo>
                  <a:pt x="72" y="12"/>
                </a:lnTo>
                <a:lnTo>
                  <a:pt x="72" y="12"/>
                </a:lnTo>
                <a:lnTo>
                  <a:pt x="78" y="12"/>
                </a:lnTo>
                <a:lnTo>
                  <a:pt x="72" y="12"/>
                </a:lnTo>
                <a:lnTo>
                  <a:pt x="78" y="12"/>
                </a:lnTo>
                <a:lnTo>
                  <a:pt x="78" y="12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2" y="18"/>
                </a:lnTo>
                <a:lnTo>
                  <a:pt x="72" y="18"/>
                </a:lnTo>
                <a:lnTo>
                  <a:pt x="72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24"/>
                </a:lnTo>
                <a:lnTo>
                  <a:pt x="114" y="30"/>
                </a:lnTo>
                <a:lnTo>
                  <a:pt x="114" y="24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20" y="30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42"/>
                </a:lnTo>
                <a:lnTo>
                  <a:pt x="126" y="36"/>
                </a:lnTo>
                <a:lnTo>
                  <a:pt x="126" y="42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44" y="42"/>
                </a:lnTo>
                <a:lnTo>
                  <a:pt x="138" y="42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48"/>
                </a:lnTo>
                <a:lnTo>
                  <a:pt x="150" y="42"/>
                </a:lnTo>
                <a:lnTo>
                  <a:pt x="150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62" y="48"/>
                </a:lnTo>
                <a:lnTo>
                  <a:pt x="156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8" y="48"/>
                </a:lnTo>
                <a:lnTo>
                  <a:pt x="168" y="48"/>
                </a:lnTo>
                <a:lnTo>
                  <a:pt x="168" y="54"/>
                </a:lnTo>
                <a:lnTo>
                  <a:pt x="168" y="48"/>
                </a:lnTo>
                <a:lnTo>
                  <a:pt x="168" y="54"/>
                </a:lnTo>
                <a:lnTo>
                  <a:pt x="168" y="54"/>
                </a:lnTo>
                <a:lnTo>
                  <a:pt x="168" y="48"/>
                </a:lnTo>
                <a:lnTo>
                  <a:pt x="168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68" y="48"/>
                </a:lnTo>
                <a:lnTo>
                  <a:pt x="168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24"/>
                </a:lnTo>
                <a:lnTo>
                  <a:pt x="174" y="24"/>
                </a:lnTo>
                <a:lnTo>
                  <a:pt x="174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86" y="12"/>
                </a:lnTo>
                <a:lnTo>
                  <a:pt x="186" y="12"/>
                </a:lnTo>
                <a:lnTo>
                  <a:pt x="186" y="18"/>
                </a:lnTo>
                <a:lnTo>
                  <a:pt x="192" y="18"/>
                </a:lnTo>
                <a:lnTo>
                  <a:pt x="192" y="18"/>
                </a:lnTo>
                <a:lnTo>
                  <a:pt x="192" y="18"/>
                </a:lnTo>
                <a:lnTo>
                  <a:pt x="192" y="18"/>
                </a:lnTo>
                <a:lnTo>
                  <a:pt x="192" y="18"/>
                </a:lnTo>
                <a:lnTo>
                  <a:pt x="198" y="12"/>
                </a:lnTo>
                <a:lnTo>
                  <a:pt x="198" y="18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204" y="12"/>
                </a:lnTo>
                <a:lnTo>
                  <a:pt x="204" y="12"/>
                </a:lnTo>
                <a:lnTo>
                  <a:pt x="204" y="12"/>
                </a:lnTo>
                <a:lnTo>
                  <a:pt x="204" y="12"/>
                </a:lnTo>
                <a:lnTo>
                  <a:pt x="204" y="18"/>
                </a:lnTo>
                <a:lnTo>
                  <a:pt x="204" y="18"/>
                </a:lnTo>
                <a:lnTo>
                  <a:pt x="204" y="18"/>
                </a:lnTo>
                <a:lnTo>
                  <a:pt x="210" y="18"/>
                </a:lnTo>
                <a:lnTo>
                  <a:pt x="210" y="18"/>
                </a:lnTo>
                <a:lnTo>
                  <a:pt x="210" y="12"/>
                </a:lnTo>
                <a:lnTo>
                  <a:pt x="210" y="18"/>
                </a:lnTo>
                <a:lnTo>
                  <a:pt x="210" y="18"/>
                </a:lnTo>
                <a:lnTo>
                  <a:pt x="210" y="18"/>
                </a:lnTo>
                <a:lnTo>
                  <a:pt x="216" y="18"/>
                </a:lnTo>
                <a:lnTo>
                  <a:pt x="210" y="18"/>
                </a:lnTo>
                <a:lnTo>
                  <a:pt x="210" y="18"/>
                </a:lnTo>
                <a:lnTo>
                  <a:pt x="216" y="24"/>
                </a:lnTo>
                <a:lnTo>
                  <a:pt x="216" y="24"/>
                </a:lnTo>
                <a:lnTo>
                  <a:pt x="216" y="30"/>
                </a:lnTo>
                <a:lnTo>
                  <a:pt x="222" y="30"/>
                </a:lnTo>
                <a:lnTo>
                  <a:pt x="222" y="30"/>
                </a:lnTo>
                <a:lnTo>
                  <a:pt x="222" y="30"/>
                </a:lnTo>
                <a:lnTo>
                  <a:pt x="222" y="30"/>
                </a:lnTo>
                <a:lnTo>
                  <a:pt x="228" y="30"/>
                </a:lnTo>
                <a:lnTo>
                  <a:pt x="228" y="30"/>
                </a:lnTo>
                <a:lnTo>
                  <a:pt x="228" y="30"/>
                </a:lnTo>
                <a:lnTo>
                  <a:pt x="228" y="36"/>
                </a:lnTo>
                <a:lnTo>
                  <a:pt x="228" y="36"/>
                </a:lnTo>
                <a:lnTo>
                  <a:pt x="228" y="36"/>
                </a:lnTo>
                <a:lnTo>
                  <a:pt x="228" y="36"/>
                </a:lnTo>
                <a:lnTo>
                  <a:pt x="228" y="36"/>
                </a:lnTo>
                <a:lnTo>
                  <a:pt x="228" y="36"/>
                </a:lnTo>
                <a:lnTo>
                  <a:pt x="234" y="36"/>
                </a:lnTo>
                <a:lnTo>
                  <a:pt x="234" y="36"/>
                </a:lnTo>
                <a:lnTo>
                  <a:pt x="234" y="36"/>
                </a:lnTo>
                <a:lnTo>
                  <a:pt x="234" y="42"/>
                </a:lnTo>
                <a:lnTo>
                  <a:pt x="234" y="42"/>
                </a:lnTo>
                <a:lnTo>
                  <a:pt x="240" y="36"/>
                </a:lnTo>
                <a:lnTo>
                  <a:pt x="240" y="36"/>
                </a:lnTo>
                <a:lnTo>
                  <a:pt x="240" y="36"/>
                </a:lnTo>
                <a:lnTo>
                  <a:pt x="240" y="42"/>
                </a:lnTo>
                <a:lnTo>
                  <a:pt x="240" y="36"/>
                </a:lnTo>
                <a:lnTo>
                  <a:pt x="246" y="36"/>
                </a:lnTo>
                <a:lnTo>
                  <a:pt x="246" y="36"/>
                </a:lnTo>
                <a:lnTo>
                  <a:pt x="252" y="36"/>
                </a:lnTo>
                <a:lnTo>
                  <a:pt x="252" y="36"/>
                </a:lnTo>
                <a:lnTo>
                  <a:pt x="252" y="42"/>
                </a:lnTo>
                <a:lnTo>
                  <a:pt x="252" y="42"/>
                </a:lnTo>
                <a:lnTo>
                  <a:pt x="252" y="42"/>
                </a:lnTo>
                <a:lnTo>
                  <a:pt x="252" y="42"/>
                </a:lnTo>
                <a:lnTo>
                  <a:pt x="252" y="48"/>
                </a:lnTo>
                <a:lnTo>
                  <a:pt x="252" y="48"/>
                </a:lnTo>
                <a:lnTo>
                  <a:pt x="258" y="48"/>
                </a:lnTo>
                <a:lnTo>
                  <a:pt x="258" y="42"/>
                </a:lnTo>
                <a:lnTo>
                  <a:pt x="258" y="48"/>
                </a:lnTo>
                <a:lnTo>
                  <a:pt x="258" y="48"/>
                </a:lnTo>
                <a:lnTo>
                  <a:pt x="258" y="48"/>
                </a:lnTo>
                <a:lnTo>
                  <a:pt x="258" y="48"/>
                </a:lnTo>
                <a:lnTo>
                  <a:pt x="264" y="48"/>
                </a:lnTo>
                <a:lnTo>
                  <a:pt x="264" y="48"/>
                </a:lnTo>
                <a:lnTo>
                  <a:pt x="264" y="48"/>
                </a:lnTo>
                <a:lnTo>
                  <a:pt x="264" y="54"/>
                </a:lnTo>
                <a:lnTo>
                  <a:pt x="264" y="54"/>
                </a:lnTo>
                <a:lnTo>
                  <a:pt x="264" y="54"/>
                </a:lnTo>
                <a:lnTo>
                  <a:pt x="264" y="60"/>
                </a:lnTo>
                <a:lnTo>
                  <a:pt x="258" y="60"/>
                </a:lnTo>
                <a:lnTo>
                  <a:pt x="258" y="60"/>
                </a:lnTo>
                <a:lnTo>
                  <a:pt x="258" y="60"/>
                </a:lnTo>
                <a:lnTo>
                  <a:pt x="258" y="60"/>
                </a:lnTo>
                <a:lnTo>
                  <a:pt x="258" y="60"/>
                </a:lnTo>
                <a:lnTo>
                  <a:pt x="258" y="60"/>
                </a:lnTo>
                <a:lnTo>
                  <a:pt x="258" y="60"/>
                </a:lnTo>
                <a:lnTo>
                  <a:pt x="258" y="60"/>
                </a:lnTo>
                <a:lnTo>
                  <a:pt x="258" y="60"/>
                </a:lnTo>
                <a:lnTo>
                  <a:pt x="258" y="60"/>
                </a:lnTo>
                <a:lnTo>
                  <a:pt x="258" y="60"/>
                </a:lnTo>
                <a:lnTo>
                  <a:pt x="258" y="60"/>
                </a:lnTo>
                <a:lnTo>
                  <a:pt x="258" y="66"/>
                </a:lnTo>
                <a:lnTo>
                  <a:pt x="258" y="66"/>
                </a:lnTo>
                <a:lnTo>
                  <a:pt x="258" y="66"/>
                </a:lnTo>
                <a:lnTo>
                  <a:pt x="258" y="66"/>
                </a:lnTo>
                <a:lnTo>
                  <a:pt x="258" y="66"/>
                </a:lnTo>
                <a:lnTo>
                  <a:pt x="258" y="66"/>
                </a:lnTo>
                <a:lnTo>
                  <a:pt x="264" y="66"/>
                </a:lnTo>
                <a:lnTo>
                  <a:pt x="264" y="66"/>
                </a:lnTo>
                <a:lnTo>
                  <a:pt x="264" y="66"/>
                </a:lnTo>
                <a:lnTo>
                  <a:pt x="270" y="66"/>
                </a:lnTo>
                <a:lnTo>
                  <a:pt x="270" y="66"/>
                </a:lnTo>
                <a:lnTo>
                  <a:pt x="270" y="66"/>
                </a:lnTo>
                <a:lnTo>
                  <a:pt x="270" y="66"/>
                </a:lnTo>
                <a:lnTo>
                  <a:pt x="270" y="72"/>
                </a:lnTo>
                <a:lnTo>
                  <a:pt x="270" y="72"/>
                </a:lnTo>
                <a:lnTo>
                  <a:pt x="270" y="72"/>
                </a:lnTo>
                <a:lnTo>
                  <a:pt x="270" y="72"/>
                </a:lnTo>
                <a:lnTo>
                  <a:pt x="270" y="72"/>
                </a:lnTo>
                <a:lnTo>
                  <a:pt x="270" y="72"/>
                </a:lnTo>
                <a:lnTo>
                  <a:pt x="264" y="78"/>
                </a:lnTo>
                <a:lnTo>
                  <a:pt x="264" y="78"/>
                </a:lnTo>
                <a:lnTo>
                  <a:pt x="264" y="78"/>
                </a:lnTo>
                <a:lnTo>
                  <a:pt x="264" y="78"/>
                </a:lnTo>
                <a:lnTo>
                  <a:pt x="264" y="78"/>
                </a:lnTo>
                <a:lnTo>
                  <a:pt x="264" y="84"/>
                </a:lnTo>
                <a:lnTo>
                  <a:pt x="264" y="84"/>
                </a:lnTo>
                <a:lnTo>
                  <a:pt x="264" y="84"/>
                </a:lnTo>
                <a:lnTo>
                  <a:pt x="264" y="84"/>
                </a:lnTo>
                <a:lnTo>
                  <a:pt x="264" y="96"/>
                </a:lnTo>
                <a:lnTo>
                  <a:pt x="258" y="96"/>
                </a:lnTo>
                <a:lnTo>
                  <a:pt x="258" y="96"/>
                </a:lnTo>
                <a:lnTo>
                  <a:pt x="258" y="96"/>
                </a:lnTo>
                <a:lnTo>
                  <a:pt x="258" y="102"/>
                </a:lnTo>
                <a:lnTo>
                  <a:pt x="258" y="102"/>
                </a:lnTo>
                <a:lnTo>
                  <a:pt x="258" y="102"/>
                </a:lnTo>
                <a:lnTo>
                  <a:pt x="258" y="102"/>
                </a:lnTo>
                <a:lnTo>
                  <a:pt x="258" y="102"/>
                </a:lnTo>
                <a:lnTo>
                  <a:pt x="258" y="102"/>
                </a:lnTo>
                <a:lnTo>
                  <a:pt x="258" y="102"/>
                </a:lnTo>
                <a:lnTo>
                  <a:pt x="258" y="102"/>
                </a:lnTo>
                <a:lnTo>
                  <a:pt x="258" y="102"/>
                </a:lnTo>
                <a:lnTo>
                  <a:pt x="258" y="102"/>
                </a:lnTo>
                <a:lnTo>
                  <a:pt x="258" y="108"/>
                </a:lnTo>
                <a:lnTo>
                  <a:pt x="258" y="108"/>
                </a:lnTo>
                <a:lnTo>
                  <a:pt x="258" y="108"/>
                </a:lnTo>
                <a:lnTo>
                  <a:pt x="258" y="108"/>
                </a:lnTo>
                <a:lnTo>
                  <a:pt x="264" y="108"/>
                </a:lnTo>
                <a:lnTo>
                  <a:pt x="258" y="108"/>
                </a:lnTo>
                <a:lnTo>
                  <a:pt x="264" y="108"/>
                </a:lnTo>
                <a:lnTo>
                  <a:pt x="264" y="108"/>
                </a:lnTo>
                <a:lnTo>
                  <a:pt x="264" y="108"/>
                </a:lnTo>
                <a:lnTo>
                  <a:pt x="264" y="114"/>
                </a:lnTo>
                <a:lnTo>
                  <a:pt x="264" y="114"/>
                </a:lnTo>
                <a:lnTo>
                  <a:pt x="264" y="114"/>
                </a:lnTo>
                <a:lnTo>
                  <a:pt x="264" y="114"/>
                </a:lnTo>
                <a:lnTo>
                  <a:pt x="264" y="114"/>
                </a:lnTo>
                <a:lnTo>
                  <a:pt x="264" y="114"/>
                </a:lnTo>
                <a:lnTo>
                  <a:pt x="270" y="114"/>
                </a:lnTo>
                <a:lnTo>
                  <a:pt x="270" y="114"/>
                </a:lnTo>
                <a:lnTo>
                  <a:pt x="270" y="114"/>
                </a:lnTo>
                <a:lnTo>
                  <a:pt x="270" y="114"/>
                </a:lnTo>
                <a:lnTo>
                  <a:pt x="270" y="120"/>
                </a:lnTo>
                <a:lnTo>
                  <a:pt x="276" y="114"/>
                </a:lnTo>
                <a:lnTo>
                  <a:pt x="276" y="120"/>
                </a:lnTo>
                <a:lnTo>
                  <a:pt x="276" y="120"/>
                </a:lnTo>
                <a:lnTo>
                  <a:pt x="276" y="120"/>
                </a:lnTo>
                <a:lnTo>
                  <a:pt x="276" y="120"/>
                </a:lnTo>
                <a:lnTo>
                  <a:pt x="276" y="120"/>
                </a:lnTo>
                <a:lnTo>
                  <a:pt x="276" y="120"/>
                </a:lnTo>
                <a:lnTo>
                  <a:pt x="276" y="120"/>
                </a:lnTo>
                <a:lnTo>
                  <a:pt x="276" y="126"/>
                </a:lnTo>
                <a:lnTo>
                  <a:pt x="276" y="126"/>
                </a:lnTo>
                <a:lnTo>
                  <a:pt x="276" y="126"/>
                </a:lnTo>
                <a:lnTo>
                  <a:pt x="276" y="126"/>
                </a:lnTo>
                <a:lnTo>
                  <a:pt x="276" y="132"/>
                </a:lnTo>
                <a:lnTo>
                  <a:pt x="276" y="132"/>
                </a:lnTo>
                <a:lnTo>
                  <a:pt x="276" y="132"/>
                </a:lnTo>
                <a:lnTo>
                  <a:pt x="276" y="132"/>
                </a:lnTo>
                <a:lnTo>
                  <a:pt x="276" y="132"/>
                </a:lnTo>
                <a:lnTo>
                  <a:pt x="276" y="132"/>
                </a:lnTo>
                <a:lnTo>
                  <a:pt x="276" y="132"/>
                </a:lnTo>
                <a:lnTo>
                  <a:pt x="270" y="132"/>
                </a:lnTo>
                <a:lnTo>
                  <a:pt x="270" y="132"/>
                </a:lnTo>
                <a:lnTo>
                  <a:pt x="270" y="132"/>
                </a:lnTo>
                <a:lnTo>
                  <a:pt x="270" y="132"/>
                </a:lnTo>
                <a:lnTo>
                  <a:pt x="270" y="132"/>
                </a:lnTo>
                <a:lnTo>
                  <a:pt x="270" y="132"/>
                </a:lnTo>
                <a:lnTo>
                  <a:pt x="270" y="132"/>
                </a:lnTo>
                <a:lnTo>
                  <a:pt x="270" y="132"/>
                </a:lnTo>
                <a:lnTo>
                  <a:pt x="270" y="138"/>
                </a:lnTo>
                <a:lnTo>
                  <a:pt x="270" y="138"/>
                </a:lnTo>
                <a:lnTo>
                  <a:pt x="270" y="138"/>
                </a:lnTo>
                <a:lnTo>
                  <a:pt x="270" y="138"/>
                </a:lnTo>
                <a:lnTo>
                  <a:pt x="276" y="138"/>
                </a:lnTo>
                <a:lnTo>
                  <a:pt x="276" y="138"/>
                </a:lnTo>
                <a:lnTo>
                  <a:pt x="276" y="138"/>
                </a:lnTo>
                <a:lnTo>
                  <a:pt x="276" y="138"/>
                </a:lnTo>
                <a:lnTo>
                  <a:pt x="276" y="138"/>
                </a:lnTo>
                <a:lnTo>
                  <a:pt x="276" y="144"/>
                </a:lnTo>
                <a:lnTo>
                  <a:pt x="276" y="138"/>
                </a:lnTo>
                <a:lnTo>
                  <a:pt x="276" y="144"/>
                </a:lnTo>
                <a:lnTo>
                  <a:pt x="276" y="144"/>
                </a:lnTo>
                <a:lnTo>
                  <a:pt x="276" y="144"/>
                </a:lnTo>
                <a:lnTo>
                  <a:pt x="276" y="144"/>
                </a:lnTo>
                <a:lnTo>
                  <a:pt x="276" y="144"/>
                </a:lnTo>
                <a:lnTo>
                  <a:pt x="276" y="144"/>
                </a:lnTo>
                <a:lnTo>
                  <a:pt x="276" y="144"/>
                </a:lnTo>
                <a:lnTo>
                  <a:pt x="276" y="144"/>
                </a:lnTo>
                <a:lnTo>
                  <a:pt x="276" y="144"/>
                </a:lnTo>
                <a:lnTo>
                  <a:pt x="276" y="144"/>
                </a:lnTo>
                <a:lnTo>
                  <a:pt x="276" y="150"/>
                </a:lnTo>
                <a:lnTo>
                  <a:pt x="270" y="150"/>
                </a:lnTo>
                <a:lnTo>
                  <a:pt x="270" y="150"/>
                </a:lnTo>
                <a:lnTo>
                  <a:pt x="270" y="150"/>
                </a:lnTo>
                <a:lnTo>
                  <a:pt x="270" y="150"/>
                </a:lnTo>
                <a:lnTo>
                  <a:pt x="270" y="150"/>
                </a:lnTo>
                <a:lnTo>
                  <a:pt x="270" y="150"/>
                </a:lnTo>
                <a:lnTo>
                  <a:pt x="270" y="150"/>
                </a:lnTo>
                <a:lnTo>
                  <a:pt x="270" y="150"/>
                </a:lnTo>
                <a:lnTo>
                  <a:pt x="270" y="150"/>
                </a:lnTo>
                <a:lnTo>
                  <a:pt x="270" y="150"/>
                </a:lnTo>
                <a:lnTo>
                  <a:pt x="270" y="150"/>
                </a:lnTo>
                <a:lnTo>
                  <a:pt x="270" y="156"/>
                </a:lnTo>
                <a:lnTo>
                  <a:pt x="276" y="156"/>
                </a:lnTo>
                <a:lnTo>
                  <a:pt x="276" y="156"/>
                </a:lnTo>
                <a:lnTo>
                  <a:pt x="276" y="156"/>
                </a:lnTo>
                <a:lnTo>
                  <a:pt x="276" y="156"/>
                </a:lnTo>
                <a:lnTo>
                  <a:pt x="276" y="156"/>
                </a:lnTo>
                <a:lnTo>
                  <a:pt x="276" y="156"/>
                </a:lnTo>
                <a:lnTo>
                  <a:pt x="270" y="156"/>
                </a:lnTo>
                <a:lnTo>
                  <a:pt x="270" y="156"/>
                </a:lnTo>
                <a:lnTo>
                  <a:pt x="270" y="156"/>
                </a:lnTo>
                <a:lnTo>
                  <a:pt x="270" y="156"/>
                </a:lnTo>
                <a:lnTo>
                  <a:pt x="270" y="156"/>
                </a:lnTo>
                <a:lnTo>
                  <a:pt x="270" y="156"/>
                </a:lnTo>
                <a:lnTo>
                  <a:pt x="270" y="156"/>
                </a:lnTo>
                <a:lnTo>
                  <a:pt x="270" y="156"/>
                </a:lnTo>
                <a:lnTo>
                  <a:pt x="270" y="162"/>
                </a:lnTo>
                <a:lnTo>
                  <a:pt x="270" y="162"/>
                </a:lnTo>
                <a:lnTo>
                  <a:pt x="270" y="162"/>
                </a:lnTo>
                <a:lnTo>
                  <a:pt x="270" y="162"/>
                </a:lnTo>
                <a:lnTo>
                  <a:pt x="270" y="162"/>
                </a:lnTo>
                <a:lnTo>
                  <a:pt x="270" y="162"/>
                </a:lnTo>
                <a:lnTo>
                  <a:pt x="270" y="168"/>
                </a:lnTo>
                <a:lnTo>
                  <a:pt x="270" y="168"/>
                </a:lnTo>
                <a:lnTo>
                  <a:pt x="270" y="168"/>
                </a:lnTo>
                <a:lnTo>
                  <a:pt x="270" y="168"/>
                </a:lnTo>
                <a:lnTo>
                  <a:pt x="270" y="168"/>
                </a:lnTo>
                <a:lnTo>
                  <a:pt x="264" y="168"/>
                </a:lnTo>
                <a:lnTo>
                  <a:pt x="270" y="168"/>
                </a:lnTo>
                <a:lnTo>
                  <a:pt x="264" y="174"/>
                </a:lnTo>
                <a:lnTo>
                  <a:pt x="270" y="174"/>
                </a:lnTo>
                <a:lnTo>
                  <a:pt x="270" y="174"/>
                </a:lnTo>
                <a:lnTo>
                  <a:pt x="270" y="174"/>
                </a:lnTo>
                <a:lnTo>
                  <a:pt x="270" y="174"/>
                </a:lnTo>
                <a:lnTo>
                  <a:pt x="270" y="174"/>
                </a:lnTo>
                <a:lnTo>
                  <a:pt x="276" y="174"/>
                </a:lnTo>
                <a:lnTo>
                  <a:pt x="276" y="174"/>
                </a:lnTo>
                <a:lnTo>
                  <a:pt x="276" y="168"/>
                </a:lnTo>
                <a:lnTo>
                  <a:pt x="282" y="174"/>
                </a:lnTo>
                <a:lnTo>
                  <a:pt x="282" y="174"/>
                </a:lnTo>
                <a:lnTo>
                  <a:pt x="282" y="174"/>
                </a:lnTo>
                <a:lnTo>
                  <a:pt x="282" y="174"/>
                </a:lnTo>
                <a:lnTo>
                  <a:pt x="282" y="174"/>
                </a:lnTo>
                <a:lnTo>
                  <a:pt x="282" y="174"/>
                </a:lnTo>
                <a:lnTo>
                  <a:pt x="282" y="174"/>
                </a:lnTo>
                <a:lnTo>
                  <a:pt x="288" y="174"/>
                </a:lnTo>
                <a:lnTo>
                  <a:pt x="288" y="180"/>
                </a:lnTo>
                <a:lnTo>
                  <a:pt x="288" y="180"/>
                </a:lnTo>
                <a:lnTo>
                  <a:pt x="294" y="180"/>
                </a:lnTo>
                <a:lnTo>
                  <a:pt x="294" y="186"/>
                </a:lnTo>
                <a:lnTo>
                  <a:pt x="294" y="180"/>
                </a:lnTo>
                <a:lnTo>
                  <a:pt x="294" y="180"/>
                </a:lnTo>
                <a:lnTo>
                  <a:pt x="294" y="180"/>
                </a:lnTo>
                <a:lnTo>
                  <a:pt x="300" y="180"/>
                </a:lnTo>
                <a:lnTo>
                  <a:pt x="300" y="180"/>
                </a:lnTo>
                <a:lnTo>
                  <a:pt x="300" y="180"/>
                </a:lnTo>
                <a:lnTo>
                  <a:pt x="300" y="180"/>
                </a:lnTo>
                <a:lnTo>
                  <a:pt x="300" y="180"/>
                </a:lnTo>
                <a:lnTo>
                  <a:pt x="300" y="180"/>
                </a:lnTo>
                <a:lnTo>
                  <a:pt x="300" y="186"/>
                </a:lnTo>
                <a:lnTo>
                  <a:pt x="300" y="180"/>
                </a:lnTo>
                <a:lnTo>
                  <a:pt x="300" y="180"/>
                </a:lnTo>
                <a:lnTo>
                  <a:pt x="300" y="180"/>
                </a:lnTo>
                <a:lnTo>
                  <a:pt x="300" y="186"/>
                </a:lnTo>
                <a:lnTo>
                  <a:pt x="306" y="186"/>
                </a:lnTo>
                <a:lnTo>
                  <a:pt x="306" y="186"/>
                </a:lnTo>
                <a:lnTo>
                  <a:pt x="306" y="186"/>
                </a:lnTo>
                <a:lnTo>
                  <a:pt x="306" y="186"/>
                </a:lnTo>
                <a:lnTo>
                  <a:pt x="306" y="192"/>
                </a:lnTo>
                <a:lnTo>
                  <a:pt x="300" y="192"/>
                </a:lnTo>
                <a:lnTo>
                  <a:pt x="300" y="192"/>
                </a:lnTo>
                <a:lnTo>
                  <a:pt x="300" y="192"/>
                </a:lnTo>
                <a:lnTo>
                  <a:pt x="306" y="198"/>
                </a:lnTo>
                <a:lnTo>
                  <a:pt x="306" y="198"/>
                </a:lnTo>
                <a:lnTo>
                  <a:pt x="306" y="198"/>
                </a:lnTo>
                <a:lnTo>
                  <a:pt x="306" y="198"/>
                </a:lnTo>
                <a:lnTo>
                  <a:pt x="306" y="198"/>
                </a:lnTo>
                <a:lnTo>
                  <a:pt x="300" y="198"/>
                </a:lnTo>
                <a:lnTo>
                  <a:pt x="300" y="198"/>
                </a:lnTo>
                <a:lnTo>
                  <a:pt x="300" y="198"/>
                </a:lnTo>
                <a:lnTo>
                  <a:pt x="300" y="198"/>
                </a:lnTo>
                <a:lnTo>
                  <a:pt x="294" y="198"/>
                </a:lnTo>
                <a:lnTo>
                  <a:pt x="294" y="198"/>
                </a:lnTo>
                <a:lnTo>
                  <a:pt x="294" y="198"/>
                </a:lnTo>
                <a:lnTo>
                  <a:pt x="294" y="204"/>
                </a:lnTo>
                <a:lnTo>
                  <a:pt x="300" y="204"/>
                </a:lnTo>
                <a:lnTo>
                  <a:pt x="300" y="204"/>
                </a:lnTo>
                <a:lnTo>
                  <a:pt x="300" y="204"/>
                </a:lnTo>
                <a:lnTo>
                  <a:pt x="300" y="204"/>
                </a:lnTo>
                <a:lnTo>
                  <a:pt x="294" y="204"/>
                </a:lnTo>
                <a:lnTo>
                  <a:pt x="294" y="210"/>
                </a:lnTo>
                <a:lnTo>
                  <a:pt x="294" y="210"/>
                </a:lnTo>
                <a:lnTo>
                  <a:pt x="294" y="210"/>
                </a:lnTo>
                <a:lnTo>
                  <a:pt x="294" y="210"/>
                </a:lnTo>
                <a:lnTo>
                  <a:pt x="288" y="210"/>
                </a:lnTo>
                <a:lnTo>
                  <a:pt x="288" y="216"/>
                </a:lnTo>
                <a:lnTo>
                  <a:pt x="282" y="216"/>
                </a:lnTo>
                <a:lnTo>
                  <a:pt x="282" y="216"/>
                </a:lnTo>
                <a:lnTo>
                  <a:pt x="282" y="216"/>
                </a:lnTo>
                <a:lnTo>
                  <a:pt x="282" y="222"/>
                </a:lnTo>
                <a:lnTo>
                  <a:pt x="276" y="222"/>
                </a:lnTo>
                <a:lnTo>
                  <a:pt x="276" y="222"/>
                </a:lnTo>
                <a:lnTo>
                  <a:pt x="276" y="222"/>
                </a:lnTo>
                <a:lnTo>
                  <a:pt x="276" y="222"/>
                </a:lnTo>
                <a:lnTo>
                  <a:pt x="276" y="222"/>
                </a:lnTo>
                <a:lnTo>
                  <a:pt x="270" y="228"/>
                </a:lnTo>
                <a:lnTo>
                  <a:pt x="270" y="222"/>
                </a:lnTo>
                <a:lnTo>
                  <a:pt x="270" y="228"/>
                </a:lnTo>
                <a:lnTo>
                  <a:pt x="270" y="228"/>
                </a:lnTo>
                <a:lnTo>
                  <a:pt x="264" y="228"/>
                </a:lnTo>
                <a:lnTo>
                  <a:pt x="264" y="222"/>
                </a:lnTo>
                <a:lnTo>
                  <a:pt x="264" y="222"/>
                </a:lnTo>
                <a:lnTo>
                  <a:pt x="264" y="228"/>
                </a:lnTo>
                <a:lnTo>
                  <a:pt x="258" y="228"/>
                </a:lnTo>
                <a:lnTo>
                  <a:pt x="258" y="228"/>
                </a:lnTo>
                <a:lnTo>
                  <a:pt x="258" y="228"/>
                </a:lnTo>
                <a:lnTo>
                  <a:pt x="258" y="228"/>
                </a:lnTo>
                <a:lnTo>
                  <a:pt x="258" y="228"/>
                </a:lnTo>
                <a:lnTo>
                  <a:pt x="258" y="228"/>
                </a:lnTo>
                <a:lnTo>
                  <a:pt x="258" y="228"/>
                </a:lnTo>
                <a:lnTo>
                  <a:pt x="258" y="228"/>
                </a:lnTo>
                <a:lnTo>
                  <a:pt x="252" y="228"/>
                </a:lnTo>
                <a:lnTo>
                  <a:pt x="252" y="228"/>
                </a:lnTo>
                <a:lnTo>
                  <a:pt x="252" y="234"/>
                </a:lnTo>
                <a:lnTo>
                  <a:pt x="252" y="234"/>
                </a:lnTo>
                <a:lnTo>
                  <a:pt x="252" y="234"/>
                </a:lnTo>
                <a:lnTo>
                  <a:pt x="252" y="234"/>
                </a:lnTo>
                <a:lnTo>
                  <a:pt x="252" y="234"/>
                </a:lnTo>
                <a:lnTo>
                  <a:pt x="252" y="234"/>
                </a:lnTo>
                <a:lnTo>
                  <a:pt x="252" y="234"/>
                </a:lnTo>
                <a:lnTo>
                  <a:pt x="252" y="234"/>
                </a:lnTo>
                <a:lnTo>
                  <a:pt x="252" y="234"/>
                </a:lnTo>
                <a:lnTo>
                  <a:pt x="252" y="234"/>
                </a:lnTo>
                <a:lnTo>
                  <a:pt x="252" y="234"/>
                </a:lnTo>
                <a:lnTo>
                  <a:pt x="246" y="234"/>
                </a:lnTo>
                <a:lnTo>
                  <a:pt x="246" y="234"/>
                </a:lnTo>
                <a:lnTo>
                  <a:pt x="246" y="234"/>
                </a:lnTo>
                <a:lnTo>
                  <a:pt x="246" y="234"/>
                </a:lnTo>
                <a:lnTo>
                  <a:pt x="246" y="240"/>
                </a:lnTo>
                <a:lnTo>
                  <a:pt x="246" y="240"/>
                </a:lnTo>
                <a:lnTo>
                  <a:pt x="246" y="240"/>
                </a:lnTo>
                <a:lnTo>
                  <a:pt x="246" y="240"/>
                </a:lnTo>
                <a:lnTo>
                  <a:pt x="246" y="240"/>
                </a:lnTo>
                <a:lnTo>
                  <a:pt x="246" y="240"/>
                </a:lnTo>
                <a:lnTo>
                  <a:pt x="246" y="240"/>
                </a:lnTo>
                <a:lnTo>
                  <a:pt x="246" y="240"/>
                </a:lnTo>
                <a:lnTo>
                  <a:pt x="246" y="240"/>
                </a:lnTo>
                <a:lnTo>
                  <a:pt x="246" y="240"/>
                </a:lnTo>
                <a:lnTo>
                  <a:pt x="246" y="240"/>
                </a:lnTo>
                <a:lnTo>
                  <a:pt x="246" y="240"/>
                </a:lnTo>
                <a:lnTo>
                  <a:pt x="246" y="240"/>
                </a:lnTo>
                <a:lnTo>
                  <a:pt x="246" y="240"/>
                </a:lnTo>
                <a:lnTo>
                  <a:pt x="246" y="240"/>
                </a:lnTo>
                <a:lnTo>
                  <a:pt x="246" y="240"/>
                </a:lnTo>
                <a:lnTo>
                  <a:pt x="246" y="240"/>
                </a:lnTo>
                <a:lnTo>
                  <a:pt x="246" y="240"/>
                </a:lnTo>
                <a:lnTo>
                  <a:pt x="246" y="246"/>
                </a:lnTo>
                <a:lnTo>
                  <a:pt x="246" y="246"/>
                </a:lnTo>
                <a:lnTo>
                  <a:pt x="246" y="246"/>
                </a:lnTo>
                <a:lnTo>
                  <a:pt x="246" y="246"/>
                </a:lnTo>
                <a:lnTo>
                  <a:pt x="246" y="246"/>
                </a:lnTo>
                <a:lnTo>
                  <a:pt x="246" y="246"/>
                </a:lnTo>
                <a:lnTo>
                  <a:pt x="246" y="246"/>
                </a:lnTo>
                <a:lnTo>
                  <a:pt x="246" y="246"/>
                </a:lnTo>
                <a:lnTo>
                  <a:pt x="240" y="246"/>
                </a:lnTo>
                <a:lnTo>
                  <a:pt x="240" y="246"/>
                </a:lnTo>
                <a:lnTo>
                  <a:pt x="240" y="246"/>
                </a:lnTo>
                <a:lnTo>
                  <a:pt x="240" y="246"/>
                </a:lnTo>
                <a:lnTo>
                  <a:pt x="240" y="246"/>
                </a:lnTo>
                <a:lnTo>
                  <a:pt x="234" y="246"/>
                </a:lnTo>
                <a:lnTo>
                  <a:pt x="234" y="246"/>
                </a:lnTo>
                <a:lnTo>
                  <a:pt x="234" y="252"/>
                </a:lnTo>
                <a:lnTo>
                  <a:pt x="234" y="252"/>
                </a:lnTo>
                <a:lnTo>
                  <a:pt x="234" y="252"/>
                </a:lnTo>
                <a:lnTo>
                  <a:pt x="234" y="246"/>
                </a:lnTo>
                <a:lnTo>
                  <a:pt x="228" y="246"/>
                </a:lnTo>
                <a:lnTo>
                  <a:pt x="228" y="246"/>
                </a:lnTo>
                <a:lnTo>
                  <a:pt x="228" y="246"/>
                </a:lnTo>
                <a:lnTo>
                  <a:pt x="228" y="246"/>
                </a:lnTo>
                <a:lnTo>
                  <a:pt x="228" y="246"/>
                </a:lnTo>
                <a:lnTo>
                  <a:pt x="222" y="246"/>
                </a:lnTo>
                <a:lnTo>
                  <a:pt x="222" y="246"/>
                </a:lnTo>
                <a:lnTo>
                  <a:pt x="222" y="246"/>
                </a:lnTo>
                <a:lnTo>
                  <a:pt x="228" y="246"/>
                </a:lnTo>
                <a:lnTo>
                  <a:pt x="228" y="252"/>
                </a:lnTo>
                <a:lnTo>
                  <a:pt x="222" y="252"/>
                </a:lnTo>
                <a:lnTo>
                  <a:pt x="222" y="252"/>
                </a:lnTo>
                <a:lnTo>
                  <a:pt x="222" y="252"/>
                </a:lnTo>
                <a:lnTo>
                  <a:pt x="222" y="252"/>
                </a:lnTo>
                <a:lnTo>
                  <a:pt x="222" y="252"/>
                </a:lnTo>
                <a:lnTo>
                  <a:pt x="222" y="252"/>
                </a:lnTo>
                <a:lnTo>
                  <a:pt x="222" y="252"/>
                </a:lnTo>
                <a:lnTo>
                  <a:pt x="222" y="252"/>
                </a:lnTo>
                <a:lnTo>
                  <a:pt x="222" y="258"/>
                </a:lnTo>
                <a:lnTo>
                  <a:pt x="222" y="258"/>
                </a:lnTo>
                <a:lnTo>
                  <a:pt x="222" y="258"/>
                </a:lnTo>
                <a:lnTo>
                  <a:pt x="222" y="258"/>
                </a:lnTo>
                <a:lnTo>
                  <a:pt x="222" y="258"/>
                </a:lnTo>
                <a:lnTo>
                  <a:pt x="222" y="258"/>
                </a:lnTo>
                <a:lnTo>
                  <a:pt x="222" y="258"/>
                </a:lnTo>
                <a:lnTo>
                  <a:pt x="222" y="258"/>
                </a:lnTo>
                <a:lnTo>
                  <a:pt x="222" y="258"/>
                </a:lnTo>
                <a:lnTo>
                  <a:pt x="222" y="258"/>
                </a:lnTo>
                <a:lnTo>
                  <a:pt x="216" y="264"/>
                </a:lnTo>
                <a:lnTo>
                  <a:pt x="216" y="264"/>
                </a:lnTo>
                <a:lnTo>
                  <a:pt x="216" y="258"/>
                </a:lnTo>
                <a:lnTo>
                  <a:pt x="216" y="258"/>
                </a:lnTo>
                <a:lnTo>
                  <a:pt x="216" y="258"/>
                </a:lnTo>
                <a:lnTo>
                  <a:pt x="216" y="258"/>
                </a:lnTo>
                <a:lnTo>
                  <a:pt x="210" y="258"/>
                </a:lnTo>
                <a:lnTo>
                  <a:pt x="210" y="258"/>
                </a:lnTo>
                <a:lnTo>
                  <a:pt x="210" y="258"/>
                </a:lnTo>
                <a:lnTo>
                  <a:pt x="210" y="258"/>
                </a:lnTo>
                <a:lnTo>
                  <a:pt x="210" y="258"/>
                </a:lnTo>
                <a:lnTo>
                  <a:pt x="210" y="258"/>
                </a:lnTo>
                <a:lnTo>
                  <a:pt x="204" y="258"/>
                </a:lnTo>
                <a:lnTo>
                  <a:pt x="204" y="258"/>
                </a:lnTo>
                <a:lnTo>
                  <a:pt x="204" y="258"/>
                </a:lnTo>
                <a:lnTo>
                  <a:pt x="204" y="252"/>
                </a:lnTo>
                <a:lnTo>
                  <a:pt x="204" y="252"/>
                </a:lnTo>
                <a:lnTo>
                  <a:pt x="198" y="252"/>
                </a:lnTo>
                <a:lnTo>
                  <a:pt x="198" y="258"/>
                </a:lnTo>
                <a:lnTo>
                  <a:pt x="198" y="258"/>
                </a:lnTo>
                <a:lnTo>
                  <a:pt x="198" y="258"/>
                </a:lnTo>
                <a:lnTo>
                  <a:pt x="198" y="258"/>
                </a:lnTo>
                <a:lnTo>
                  <a:pt x="198" y="252"/>
                </a:lnTo>
                <a:lnTo>
                  <a:pt x="192" y="252"/>
                </a:lnTo>
                <a:lnTo>
                  <a:pt x="192" y="252"/>
                </a:lnTo>
                <a:lnTo>
                  <a:pt x="192" y="252"/>
                </a:lnTo>
                <a:lnTo>
                  <a:pt x="192" y="252"/>
                </a:lnTo>
                <a:lnTo>
                  <a:pt x="192" y="252"/>
                </a:lnTo>
                <a:lnTo>
                  <a:pt x="192" y="252"/>
                </a:lnTo>
                <a:lnTo>
                  <a:pt x="186" y="252"/>
                </a:lnTo>
                <a:lnTo>
                  <a:pt x="186" y="252"/>
                </a:lnTo>
                <a:lnTo>
                  <a:pt x="186" y="252"/>
                </a:lnTo>
                <a:lnTo>
                  <a:pt x="186" y="252"/>
                </a:lnTo>
                <a:lnTo>
                  <a:pt x="186" y="252"/>
                </a:lnTo>
                <a:lnTo>
                  <a:pt x="186" y="252"/>
                </a:lnTo>
                <a:lnTo>
                  <a:pt x="186" y="252"/>
                </a:lnTo>
                <a:lnTo>
                  <a:pt x="186" y="252"/>
                </a:lnTo>
                <a:lnTo>
                  <a:pt x="180" y="252"/>
                </a:lnTo>
                <a:lnTo>
                  <a:pt x="180" y="252"/>
                </a:lnTo>
                <a:lnTo>
                  <a:pt x="180" y="252"/>
                </a:lnTo>
                <a:lnTo>
                  <a:pt x="180" y="252"/>
                </a:lnTo>
                <a:lnTo>
                  <a:pt x="174" y="252"/>
                </a:lnTo>
                <a:lnTo>
                  <a:pt x="174" y="252"/>
                </a:lnTo>
                <a:lnTo>
                  <a:pt x="174" y="252"/>
                </a:lnTo>
                <a:lnTo>
                  <a:pt x="174" y="252"/>
                </a:lnTo>
                <a:lnTo>
                  <a:pt x="174" y="252"/>
                </a:lnTo>
                <a:lnTo>
                  <a:pt x="174" y="252"/>
                </a:lnTo>
                <a:lnTo>
                  <a:pt x="174" y="258"/>
                </a:lnTo>
                <a:lnTo>
                  <a:pt x="168" y="258"/>
                </a:lnTo>
                <a:lnTo>
                  <a:pt x="168" y="252"/>
                </a:lnTo>
                <a:lnTo>
                  <a:pt x="168" y="252"/>
                </a:lnTo>
                <a:lnTo>
                  <a:pt x="168" y="252"/>
                </a:lnTo>
                <a:lnTo>
                  <a:pt x="168" y="252"/>
                </a:lnTo>
                <a:lnTo>
                  <a:pt x="168" y="252"/>
                </a:lnTo>
                <a:lnTo>
                  <a:pt x="168" y="252"/>
                </a:lnTo>
                <a:lnTo>
                  <a:pt x="168" y="252"/>
                </a:lnTo>
                <a:lnTo>
                  <a:pt x="168" y="252"/>
                </a:lnTo>
                <a:lnTo>
                  <a:pt x="168" y="252"/>
                </a:lnTo>
                <a:lnTo>
                  <a:pt x="162" y="252"/>
                </a:lnTo>
                <a:lnTo>
                  <a:pt x="162" y="252"/>
                </a:lnTo>
                <a:lnTo>
                  <a:pt x="162" y="252"/>
                </a:lnTo>
                <a:lnTo>
                  <a:pt x="156" y="258"/>
                </a:lnTo>
                <a:lnTo>
                  <a:pt x="156" y="258"/>
                </a:lnTo>
                <a:lnTo>
                  <a:pt x="156" y="264"/>
                </a:lnTo>
                <a:lnTo>
                  <a:pt x="156" y="258"/>
                </a:lnTo>
                <a:lnTo>
                  <a:pt x="150" y="258"/>
                </a:lnTo>
                <a:lnTo>
                  <a:pt x="150" y="258"/>
                </a:lnTo>
                <a:lnTo>
                  <a:pt x="150" y="258"/>
                </a:lnTo>
                <a:lnTo>
                  <a:pt x="150" y="252"/>
                </a:lnTo>
                <a:lnTo>
                  <a:pt x="150" y="252"/>
                </a:lnTo>
                <a:lnTo>
                  <a:pt x="150" y="252"/>
                </a:lnTo>
                <a:lnTo>
                  <a:pt x="150" y="252"/>
                </a:lnTo>
                <a:lnTo>
                  <a:pt x="150" y="252"/>
                </a:lnTo>
                <a:lnTo>
                  <a:pt x="150" y="252"/>
                </a:lnTo>
                <a:lnTo>
                  <a:pt x="144" y="252"/>
                </a:lnTo>
                <a:lnTo>
                  <a:pt x="144" y="252"/>
                </a:lnTo>
                <a:lnTo>
                  <a:pt x="138" y="252"/>
                </a:lnTo>
                <a:lnTo>
                  <a:pt x="138" y="246"/>
                </a:lnTo>
                <a:lnTo>
                  <a:pt x="138" y="246"/>
                </a:lnTo>
                <a:lnTo>
                  <a:pt x="138" y="246"/>
                </a:lnTo>
                <a:lnTo>
                  <a:pt x="132" y="246"/>
                </a:lnTo>
                <a:lnTo>
                  <a:pt x="132" y="246"/>
                </a:lnTo>
                <a:lnTo>
                  <a:pt x="126" y="246"/>
                </a:lnTo>
                <a:lnTo>
                  <a:pt x="126" y="240"/>
                </a:lnTo>
                <a:lnTo>
                  <a:pt x="126" y="240"/>
                </a:lnTo>
                <a:lnTo>
                  <a:pt x="126" y="240"/>
                </a:lnTo>
                <a:lnTo>
                  <a:pt x="126" y="240"/>
                </a:lnTo>
                <a:lnTo>
                  <a:pt x="126" y="240"/>
                </a:lnTo>
                <a:lnTo>
                  <a:pt x="126" y="240"/>
                </a:lnTo>
                <a:lnTo>
                  <a:pt x="126" y="240"/>
                </a:lnTo>
                <a:lnTo>
                  <a:pt x="120" y="240"/>
                </a:lnTo>
                <a:lnTo>
                  <a:pt x="120" y="240"/>
                </a:lnTo>
                <a:lnTo>
                  <a:pt x="120" y="240"/>
                </a:lnTo>
                <a:lnTo>
                  <a:pt x="120" y="240"/>
                </a:lnTo>
                <a:lnTo>
                  <a:pt x="120" y="240"/>
                </a:lnTo>
                <a:lnTo>
                  <a:pt x="120" y="240"/>
                </a:lnTo>
                <a:lnTo>
                  <a:pt x="120" y="240"/>
                </a:lnTo>
                <a:lnTo>
                  <a:pt x="120" y="240"/>
                </a:lnTo>
                <a:lnTo>
                  <a:pt x="120" y="234"/>
                </a:lnTo>
                <a:lnTo>
                  <a:pt x="120" y="234"/>
                </a:lnTo>
                <a:lnTo>
                  <a:pt x="120" y="234"/>
                </a:lnTo>
                <a:lnTo>
                  <a:pt x="120" y="234"/>
                </a:lnTo>
                <a:lnTo>
                  <a:pt x="114" y="240"/>
                </a:lnTo>
                <a:lnTo>
                  <a:pt x="114" y="234"/>
                </a:lnTo>
                <a:lnTo>
                  <a:pt x="114" y="234"/>
                </a:lnTo>
                <a:lnTo>
                  <a:pt x="114" y="234"/>
                </a:lnTo>
                <a:lnTo>
                  <a:pt x="114" y="234"/>
                </a:lnTo>
                <a:lnTo>
                  <a:pt x="114" y="234"/>
                </a:lnTo>
                <a:lnTo>
                  <a:pt x="114" y="240"/>
                </a:lnTo>
                <a:lnTo>
                  <a:pt x="114" y="234"/>
                </a:lnTo>
                <a:lnTo>
                  <a:pt x="108" y="234"/>
                </a:lnTo>
                <a:lnTo>
                  <a:pt x="108" y="234"/>
                </a:lnTo>
                <a:lnTo>
                  <a:pt x="108" y="234"/>
                </a:lnTo>
                <a:lnTo>
                  <a:pt x="108" y="234"/>
                </a:lnTo>
                <a:lnTo>
                  <a:pt x="108" y="228"/>
                </a:lnTo>
                <a:lnTo>
                  <a:pt x="108" y="228"/>
                </a:lnTo>
                <a:lnTo>
                  <a:pt x="108" y="234"/>
                </a:lnTo>
                <a:lnTo>
                  <a:pt x="108" y="228"/>
                </a:lnTo>
                <a:lnTo>
                  <a:pt x="108" y="228"/>
                </a:lnTo>
                <a:lnTo>
                  <a:pt x="108" y="228"/>
                </a:lnTo>
                <a:lnTo>
                  <a:pt x="108" y="228"/>
                </a:lnTo>
                <a:lnTo>
                  <a:pt x="102" y="228"/>
                </a:lnTo>
                <a:lnTo>
                  <a:pt x="102" y="228"/>
                </a:lnTo>
                <a:lnTo>
                  <a:pt x="102" y="228"/>
                </a:lnTo>
                <a:lnTo>
                  <a:pt x="102" y="228"/>
                </a:lnTo>
                <a:lnTo>
                  <a:pt x="102" y="228"/>
                </a:lnTo>
                <a:lnTo>
                  <a:pt x="102" y="228"/>
                </a:lnTo>
                <a:lnTo>
                  <a:pt x="102" y="228"/>
                </a:lnTo>
                <a:lnTo>
                  <a:pt x="102" y="228"/>
                </a:lnTo>
                <a:lnTo>
                  <a:pt x="102" y="228"/>
                </a:lnTo>
                <a:lnTo>
                  <a:pt x="102" y="228"/>
                </a:lnTo>
                <a:lnTo>
                  <a:pt x="102" y="228"/>
                </a:lnTo>
                <a:lnTo>
                  <a:pt x="102" y="228"/>
                </a:lnTo>
                <a:lnTo>
                  <a:pt x="102" y="228"/>
                </a:lnTo>
                <a:lnTo>
                  <a:pt x="102" y="228"/>
                </a:lnTo>
                <a:lnTo>
                  <a:pt x="102" y="228"/>
                </a:lnTo>
                <a:lnTo>
                  <a:pt x="102" y="228"/>
                </a:lnTo>
                <a:lnTo>
                  <a:pt x="102" y="228"/>
                </a:lnTo>
                <a:lnTo>
                  <a:pt x="102" y="228"/>
                </a:lnTo>
                <a:lnTo>
                  <a:pt x="102" y="222"/>
                </a:lnTo>
                <a:lnTo>
                  <a:pt x="96" y="222"/>
                </a:lnTo>
                <a:lnTo>
                  <a:pt x="96" y="222"/>
                </a:lnTo>
                <a:lnTo>
                  <a:pt x="96" y="222"/>
                </a:lnTo>
                <a:lnTo>
                  <a:pt x="96" y="228"/>
                </a:lnTo>
                <a:lnTo>
                  <a:pt x="96" y="228"/>
                </a:lnTo>
                <a:lnTo>
                  <a:pt x="96" y="222"/>
                </a:lnTo>
                <a:lnTo>
                  <a:pt x="96" y="222"/>
                </a:lnTo>
                <a:lnTo>
                  <a:pt x="96" y="222"/>
                </a:lnTo>
                <a:lnTo>
                  <a:pt x="96" y="222"/>
                </a:lnTo>
                <a:lnTo>
                  <a:pt x="96" y="222"/>
                </a:lnTo>
                <a:lnTo>
                  <a:pt x="96" y="222"/>
                </a:lnTo>
                <a:lnTo>
                  <a:pt x="96" y="222"/>
                </a:lnTo>
                <a:lnTo>
                  <a:pt x="90" y="222"/>
                </a:lnTo>
                <a:lnTo>
                  <a:pt x="90" y="228"/>
                </a:lnTo>
                <a:lnTo>
                  <a:pt x="90" y="222"/>
                </a:lnTo>
                <a:lnTo>
                  <a:pt x="90" y="222"/>
                </a:lnTo>
                <a:lnTo>
                  <a:pt x="90" y="222"/>
                </a:lnTo>
                <a:lnTo>
                  <a:pt x="90" y="222"/>
                </a:lnTo>
                <a:lnTo>
                  <a:pt x="84" y="222"/>
                </a:lnTo>
                <a:lnTo>
                  <a:pt x="90" y="222"/>
                </a:lnTo>
                <a:lnTo>
                  <a:pt x="84" y="222"/>
                </a:lnTo>
                <a:lnTo>
                  <a:pt x="84" y="222"/>
                </a:lnTo>
                <a:lnTo>
                  <a:pt x="84" y="222"/>
                </a:lnTo>
                <a:lnTo>
                  <a:pt x="84" y="222"/>
                </a:lnTo>
                <a:lnTo>
                  <a:pt x="84" y="222"/>
                </a:lnTo>
                <a:lnTo>
                  <a:pt x="84" y="222"/>
                </a:lnTo>
                <a:lnTo>
                  <a:pt x="84" y="222"/>
                </a:lnTo>
                <a:lnTo>
                  <a:pt x="84" y="222"/>
                </a:lnTo>
                <a:lnTo>
                  <a:pt x="78" y="222"/>
                </a:lnTo>
                <a:lnTo>
                  <a:pt x="78" y="222"/>
                </a:lnTo>
                <a:lnTo>
                  <a:pt x="78" y="222"/>
                </a:lnTo>
                <a:lnTo>
                  <a:pt x="78" y="216"/>
                </a:lnTo>
                <a:lnTo>
                  <a:pt x="78" y="216"/>
                </a:lnTo>
                <a:lnTo>
                  <a:pt x="78" y="216"/>
                </a:lnTo>
                <a:lnTo>
                  <a:pt x="78" y="216"/>
                </a:lnTo>
                <a:lnTo>
                  <a:pt x="78" y="216"/>
                </a:lnTo>
                <a:lnTo>
                  <a:pt x="78" y="216"/>
                </a:lnTo>
                <a:lnTo>
                  <a:pt x="78" y="216"/>
                </a:lnTo>
                <a:lnTo>
                  <a:pt x="78" y="210"/>
                </a:lnTo>
                <a:lnTo>
                  <a:pt x="78" y="210"/>
                </a:lnTo>
                <a:lnTo>
                  <a:pt x="78" y="210"/>
                </a:lnTo>
                <a:lnTo>
                  <a:pt x="72" y="210"/>
                </a:lnTo>
                <a:lnTo>
                  <a:pt x="72" y="210"/>
                </a:lnTo>
                <a:lnTo>
                  <a:pt x="72" y="216"/>
                </a:lnTo>
                <a:lnTo>
                  <a:pt x="72" y="216"/>
                </a:lnTo>
                <a:lnTo>
                  <a:pt x="66" y="210"/>
                </a:lnTo>
                <a:lnTo>
                  <a:pt x="66" y="210"/>
                </a:lnTo>
                <a:lnTo>
                  <a:pt x="66" y="210"/>
                </a:lnTo>
                <a:lnTo>
                  <a:pt x="66" y="210"/>
                </a:lnTo>
                <a:lnTo>
                  <a:pt x="66" y="210"/>
                </a:lnTo>
                <a:lnTo>
                  <a:pt x="60" y="210"/>
                </a:lnTo>
                <a:lnTo>
                  <a:pt x="60" y="210"/>
                </a:lnTo>
                <a:lnTo>
                  <a:pt x="60" y="210"/>
                </a:lnTo>
                <a:lnTo>
                  <a:pt x="60" y="210"/>
                </a:lnTo>
                <a:lnTo>
                  <a:pt x="60" y="210"/>
                </a:lnTo>
                <a:lnTo>
                  <a:pt x="60" y="210"/>
                </a:lnTo>
                <a:lnTo>
                  <a:pt x="54" y="204"/>
                </a:lnTo>
                <a:lnTo>
                  <a:pt x="54" y="204"/>
                </a:lnTo>
                <a:lnTo>
                  <a:pt x="54" y="204"/>
                </a:lnTo>
                <a:lnTo>
                  <a:pt x="54" y="198"/>
                </a:lnTo>
                <a:lnTo>
                  <a:pt x="54" y="198"/>
                </a:lnTo>
                <a:lnTo>
                  <a:pt x="54" y="198"/>
                </a:lnTo>
                <a:lnTo>
                  <a:pt x="54" y="198"/>
                </a:lnTo>
                <a:lnTo>
                  <a:pt x="54" y="192"/>
                </a:lnTo>
                <a:lnTo>
                  <a:pt x="54" y="192"/>
                </a:lnTo>
                <a:lnTo>
                  <a:pt x="54" y="186"/>
                </a:lnTo>
                <a:lnTo>
                  <a:pt x="54" y="186"/>
                </a:lnTo>
                <a:lnTo>
                  <a:pt x="48" y="192"/>
                </a:lnTo>
                <a:lnTo>
                  <a:pt x="48" y="192"/>
                </a:lnTo>
                <a:lnTo>
                  <a:pt x="48" y="186"/>
                </a:lnTo>
                <a:lnTo>
                  <a:pt x="48" y="186"/>
                </a:lnTo>
                <a:lnTo>
                  <a:pt x="48" y="186"/>
                </a:lnTo>
                <a:lnTo>
                  <a:pt x="48" y="186"/>
                </a:lnTo>
                <a:lnTo>
                  <a:pt x="48" y="186"/>
                </a:lnTo>
                <a:lnTo>
                  <a:pt x="48" y="186"/>
                </a:lnTo>
                <a:lnTo>
                  <a:pt x="48" y="180"/>
                </a:lnTo>
                <a:lnTo>
                  <a:pt x="48" y="180"/>
                </a:lnTo>
                <a:lnTo>
                  <a:pt x="48" y="180"/>
                </a:lnTo>
                <a:lnTo>
                  <a:pt x="48" y="180"/>
                </a:lnTo>
                <a:lnTo>
                  <a:pt x="48" y="174"/>
                </a:lnTo>
                <a:lnTo>
                  <a:pt x="48" y="174"/>
                </a:lnTo>
                <a:lnTo>
                  <a:pt x="48" y="174"/>
                </a:lnTo>
                <a:lnTo>
                  <a:pt x="48" y="174"/>
                </a:lnTo>
                <a:lnTo>
                  <a:pt x="48" y="174"/>
                </a:lnTo>
                <a:lnTo>
                  <a:pt x="42" y="180"/>
                </a:lnTo>
                <a:lnTo>
                  <a:pt x="42" y="180"/>
                </a:lnTo>
                <a:lnTo>
                  <a:pt x="42" y="180"/>
                </a:lnTo>
                <a:lnTo>
                  <a:pt x="42" y="180"/>
                </a:lnTo>
                <a:lnTo>
                  <a:pt x="36" y="186"/>
                </a:lnTo>
                <a:lnTo>
                  <a:pt x="30" y="186"/>
                </a:lnTo>
                <a:lnTo>
                  <a:pt x="30" y="186"/>
                </a:lnTo>
                <a:lnTo>
                  <a:pt x="30" y="186"/>
                </a:lnTo>
                <a:lnTo>
                  <a:pt x="30" y="186"/>
                </a:lnTo>
                <a:lnTo>
                  <a:pt x="30" y="192"/>
                </a:lnTo>
                <a:lnTo>
                  <a:pt x="30" y="186"/>
                </a:lnTo>
                <a:lnTo>
                  <a:pt x="30" y="186"/>
                </a:lnTo>
                <a:lnTo>
                  <a:pt x="30" y="186"/>
                </a:lnTo>
                <a:lnTo>
                  <a:pt x="30" y="186"/>
                </a:lnTo>
                <a:lnTo>
                  <a:pt x="30" y="186"/>
                </a:lnTo>
                <a:lnTo>
                  <a:pt x="30" y="186"/>
                </a:lnTo>
                <a:lnTo>
                  <a:pt x="30" y="186"/>
                </a:lnTo>
                <a:lnTo>
                  <a:pt x="24" y="186"/>
                </a:lnTo>
                <a:lnTo>
                  <a:pt x="24" y="186"/>
                </a:lnTo>
                <a:lnTo>
                  <a:pt x="24" y="180"/>
                </a:lnTo>
                <a:lnTo>
                  <a:pt x="24" y="180"/>
                </a:lnTo>
                <a:lnTo>
                  <a:pt x="24" y="180"/>
                </a:lnTo>
                <a:lnTo>
                  <a:pt x="30" y="180"/>
                </a:lnTo>
                <a:lnTo>
                  <a:pt x="30" y="180"/>
                </a:lnTo>
                <a:lnTo>
                  <a:pt x="24" y="180"/>
                </a:lnTo>
                <a:lnTo>
                  <a:pt x="24" y="174"/>
                </a:lnTo>
                <a:lnTo>
                  <a:pt x="24" y="174"/>
                </a:lnTo>
                <a:lnTo>
                  <a:pt x="24" y="174"/>
                </a:lnTo>
                <a:lnTo>
                  <a:pt x="24" y="174"/>
                </a:lnTo>
                <a:lnTo>
                  <a:pt x="24" y="174"/>
                </a:lnTo>
                <a:lnTo>
                  <a:pt x="24" y="174"/>
                </a:lnTo>
                <a:lnTo>
                  <a:pt x="24" y="174"/>
                </a:lnTo>
                <a:lnTo>
                  <a:pt x="24" y="174"/>
                </a:lnTo>
                <a:lnTo>
                  <a:pt x="24" y="174"/>
                </a:lnTo>
                <a:lnTo>
                  <a:pt x="24" y="174"/>
                </a:lnTo>
                <a:lnTo>
                  <a:pt x="24" y="174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18" y="162"/>
                </a:lnTo>
                <a:lnTo>
                  <a:pt x="18" y="162"/>
                </a:lnTo>
                <a:lnTo>
                  <a:pt x="18" y="162"/>
                </a:lnTo>
                <a:lnTo>
                  <a:pt x="18" y="162"/>
                </a:lnTo>
                <a:lnTo>
                  <a:pt x="18" y="162"/>
                </a:lnTo>
                <a:lnTo>
                  <a:pt x="24" y="162"/>
                </a:lnTo>
                <a:lnTo>
                  <a:pt x="24" y="162"/>
                </a:lnTo>
                <a:lnTo>
                  <a:pt x="24" y="156"/>
                </a:lnTo>
                <a:lnTo>
                  <a:pt x="24" y="156"/>
                </a:lnTo>
                <a:lnTo>
                  <a:pt x="24" y="156"/>
                </a:lnTo>
                <a:lnTo>
                  <a:pt x="24" y="156"/>
                </a:lnTo>
                <a:lnTo>
                  <a:pt x="24" y="156"/>
                </a:lnTo>
                <a:lnTo>
                  <a:pt x="24" y="156"/>
                </a:lnTo>
                <a:lnTo>
                  <a:pt x="24" y="156"/>
                </a:lnTo>
                <a:lnTo>
                  <a:pt x="24" y="156"/>
                </a:lnTo>
                <a:lnTo>
                  <a:pt x="24" y="150"/>
                </a:lnTo>
                <a:lnTo>
                  <a:pt x="24" y="150"/>
                </a:lnTo>
                <a:lnTo>
                  <a:pt x="24" y="150"/>
                </a:lnTo>
                <a:lnTo>
                  <a:pt x="24" y="150"/>
                </a:lnTo>
                <a:lnTo>
                  <a:pt x="24" y="150"/>
                </a:lnTo>
                <a:lnTo>
                  <a:pt x="24" y="150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38"/>
                </a:lnTo>
                <a:lnTo>
                  <a:pt x="30" y="138"/>
                </a:lnTo>
                <a:lnTo>
                  <a:pt x="30" y="138"/>
                </a:lnTo>
                <a:lnTo>
                  <a:pt x="30" y="138"/>
                </a:lnTo>
                <a:lnTo>
                  <a:pt x="30" y="138"/>
                </a:lnTo>
                <a:lnTo>
                  <a:pt x="30" y="138"/>
                </a:lnTo>
                <a:lnTo>
                  <a:pt x="30" y="138"/>
                </a:lnTo>
                <a:lnTo>
                  <a:pt x="36" y="132"/>
                </a:lnTo>
                <a:lnTo>
                  <a:pt x="36" y="132"/>
                </a:lnTo>
                <a:lnTo>
                  <a:pt x="30" y="132"/>
                </a:lnTo>
                <a:lnTo>
                  <a:pt x="30" y="126"/>
                </a:lnTo>
                <a:lnTo>
                  <a:pt x="30" y="126"/>
                </a:lnTo>
                <a:lnTo>
                  <a:pt x="24" y="126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2" y="120"/>
                </a:lnTo>
                <a:lnTo>
                  <a:pt x="12" y="120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0" y="120"/>
                </a:lnTo>
                <a:lnTo>
                  <a:pt x="0" y="120"/>
                </a:lnTo>
                <a:lnTo>
                  <a:pt x="0" y="120"/>
                </a:lnTo>
                <a:lnTo>
                  <a:pt x="0" y="114"/>
                </a:lnTo>
                <a:lnTo>
                  <a:pt x="0" y="114"/>
                </a:lnTo>
                <a:lnTo>
                  <a:pt x="0" y="114"/>
                </a:lnTo>
                <a:lnTo>
                  <a:pt x="0" y="11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65" name="Freeform 298"/>
          <p:cNvSpPr>
            <a:spLocks/>
          </p:cNvSpPr>
          <p:nvPr/>
        </p:nvSpPr>
        <p:spPr bwMode="auto">
          <a:xfrm>
            <a:off x="7391474" y="3242055"/>
            <a:ext cx="276234" cy="269812"/>
          </a:xfrm>
          <a:custGeom>
            <a:avLst/>
            <a:gdLst>
              <a:gd name="T0" fmla="*/ 6 w 258"/>
              <a:gd name="T1" fmla="*/ 138 h 252"/>
              <a:gd name="T2" fmla="*/ 18 w 258"/>
              <a:gd name="T3" fmla="*/ 132 h 252"/>
              <a:gd name="T4" fmla="*/ 30 w 258"/>
              <a:gd name="T5" fmla="*/ 126 h 252"/>
              <a:gd name="T6" fmla="*/ 36 w 258"/>
              <a:gd name="T7" fmla="*/ 120 h 252"/>
              <a:gd name="T8" fmla="*/ 54 w 258"/>
              <a:gd name="T9" fmla="*/ 108 h 252"/>
              <a:gd name="T10" fmla="*/ 60 w 258"/>
              <a:gd name="T11" fmla="*/ 102 h 252"/>
              <a:gd name="T12" fmla="*/ 78 w 258"/>
              <a:gd name="T13" fmla="*/ 90 h 252"/>
              <a:gd name="T14" fmla="*/ 90 w 258"/>
              <a:gd name="T15" fmla="*/ 84 h 252"/>
              <a:gd name="T16" fmla="*/ 90 w 258"/>
              <a:gd name="T17" fmla="*/ 66 h 252"/>
              <a:gd name="T18" fmla="*/ 96 w 258"/>
              <a:gd name="T19" fmla="*/ 60 h 252"/>
              <a:gd name="T20" fmla="*/ 108 w 258"/>
              <a:gd name="T21" fmla="*/ 54 h 252"/>
              <a:gd name="T22" fmla="*/ 114 w 258"/>
              <a:gd name="T23" fmla="*/ 48 h 252"/>
              <a:gd name="T24" fmla="*/ 126 w 258"/>
              <a:gd name="T25" fmla="*/ 36 h 252"/>
              <a:gd name="T26" fmla="*/ 132 w 258"/>
              <a:gd name="T27" fmla="*/ 30 h 252"/>
              <a:gd name="T28" fmla="*/ 144 w 258"/>
              <a:gd name="T29" fmla="*/ 18 h 252"/>
              <a:gd name="T30" fmla="*/ 150 w 258"/>
              <a:gd name="T31" fmla="*/ 24 h 252"/>
              <a:gd name="T32" fmla="*/ 174 w 258"/>
              <a:gd name="T33" fmla="*/ 12 h 252"/>
              <a:gd name="T34" fmla="*/ 192 w 258"/>
              <a:gd name="T35" fmla="*/ 0 h 252"/>
              <a:gd name="T36" fmla="*/ 192 w 258"/>
              <a:gd name="T37" fmla="*/ 12 h 252"/>
              <a:gd name="T38" fmla="*/ 222 w 258"/>
              <a:gd name="T39" fmla="*/ 6 h 252"/>
              <a:gd name="T40" fmla="*/ 198 w 258"/>
              <a:gd name="T41" fmla="*/ 48 h 252"/>
              <a:gd name="T42" fmla="*/ 192 w 258"/>
              <a:gd name="T43" fmla="*/ 60 h 252"/>
              <a:gd name="T44" fmla="*/ 204 w 258"/>
              <a:gd name="T45" fmla="*/ 72 h 252"/>
              <a:gd name="T46" fmla="*/ 204 w 258"/>
              <a:gd name="T47" fmla="*/ 78 h 252"/>
              <a:gd name="T48" fmla="*/ 204 w 258"/>
              <a:gd name="T49" fmla="*/ 90 h 252"/>
              <a:gd name="T50" fmla="*/ 210 w 258"/>
              <a:gd name="T51" fmla="*/ 96 h 252"/>
              <a:gd name="T52" fmla="*/ 228 w 258"/>
              <a:gd name="T53" fmla="*/ 96 h 252"/>
              <a:gd name="T54" fmla="*/ 240 w 258"/>
              <a:gd name="T55" fmla="*/ 102 h 252"/>
              <a:gd name="T56" fmla="*/ 246 w 258"/>
              <a:gd name="T57" fmla="*/ 102 h 252"/>
              <a:gd name="T58" fmla="*/ 258 w 258"/>
              <a:gd name="T59" fmla="*/ 120 h 252"/>
              <a:gd name="T60" fmla="*/ 252 w 258"/>
              <a:gd name="T61" fmla="*/ 138 h 252"/>
              <a:gd name="T62" fmla="*/ 234 w 258"/>
              <a:gd name="T63" fmla="*/ 144 h 252"/>
              <a:gd name="T64" fmla="*/ 222 w 258"/>
              <a:gd name="T65" fmla="*/ 150 h 252"/>
              <a:gd name="T66" fmla="*/ 216 w 258"/>
              <a:gd name="T67" fmla="*/ 174 h 252"/>
              <a:gd name="T68" fmla="*/ 222 w 258"/>
              <a:gd name="T69" fmla="*/ 198 h 252"/>
              <a:gd name="T70" fmla="*/ 210 w 258"/>
              <a:gd name="T71" fmla="*/ 210 h 252"/>
              <a:gd name="T72" fmla="*/ 192 w 258"/>
              <a:gd name="T73" fmla="*/ 210 h 252"/>
              <a:gd name="T74" fmla="*/ 186 w 258"/>
              <a:gd name="T75" fmla="*/ 204 h 252"/>
              <a:gd name="T76" fmla="*/ 186 w 258"/>
              <a:gd name="T77" fmla="*/ 198 h 252"/>
              <a:gd name="T78" fmla="*/ 168 w 258"/>
              <a:gd name="T79" fmla="*/ 204 h 252"/>
              <a:gd name="T80" fmla="*/ 156 w 258"/>
              <a:gd name="T81" fmla="*/ 210 h 252"/>
              <a:gd name="T82" fmla="*/ 144 w 258"/>
              <a:gd name="T83" fmla="*/ 228 h 252"/>
              <a:gd name="T84" fmla="*/ 126 w 258"/>
              <a:gd name="T85" fmla="*/ 240 h 252"/>
              <a:gd name="T86" fmla="*/ 120 w 258"/>
              <a:gd name="T87" fmla="*/ 252 h 252"/>
              <a:gd name="T88" fmla="*/ 114 w 258"/>
              <a:gd name="T89" fmla="*/ 252 h 252"/>
              <a:gd name="T90" fmla="*/ 102 w 258"/>
              <a:gd name="T91" fmla="*/ 252 h 252"/>
              <a:gd name="T92" fmla="*/ 108 w 258"/>
              <a:gd name="T93" fmla="*/ 240 h 252"/>
              <a:gd name="T94" fmla="*/ 108 w 258"/>
              <a:gd name="T95" fmla="*/ 234 h 252"/>
              <a:gd name="T96" fmla="*/ 108 w 258"/>
              <a:gd name="T97" fmla="*/ 216 h 252"/>
              <a:gd name="T98" fmla="*/ 96 w 258"/>
              <a:gd name="T99" fmla="*/ 216 h 252"/>
              <a:gd name="T100" fmla="*/ 84 w 258"/>
              <a:gd name="T101" fmla="*/ 222 h 252"/>
              <a:gd name="T102" fmla="*/ 72 w 258"/>
              <a:gd name="T103" fmla="*/ 228 h 252"/>
              <a:gd name="T104" fmla="*/ 78 w 258"/>
              <a:gd name="T105" fmla="*/ 210 h 252"/>
              <a:gd name="T106" fmla="*/ 72 w 258"/>
              <a:gd name="T107" fmla="*/ 198 h 252"/>
              <a:gd name="T108" fmla="*/ 66 w 258"/>
              <a:gd name="T109" fmla="*/ 192 h 252"/>
              <a:gd name="T110" fmla="*/ 60 w 258"/>
              <a:gd name="T111" fmla="*/ 186 h 252"/>
              <a:gd name="T112" fmla="*/ 48 w 258"/>
              <a:gd name="T113" fmla="*/ 174 h 252"/>
              <a:gd name="T114" fmla="*/ 48 w 258"/>
              <a:gd name="T115" fmla="*/ 180 h 252"/>
              <a:gd name="T116" fmla="*/ 30 w 258"/>
              <a:gd name="T117" fmla="*/ 180 h 252"/>
              <a:gd name="T118" fmla="*/ 18 w 258"/>
              <a:gd name="T119" fmla="*/ 180 h 252"/>
              <a:gd name="T120" fmla="*/ 18 w 258"/>
              <a:gd name="T121" fmla="*/ 186 h 252"/>
              <a:gd name="T122" fmla="*/ 6 w 258"/>
              <a:gd name="T123" fmla="*/ 168 h 2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58" h="252">
                <a:moveTo>
                  <a:pt x="0" y="150"/>
                </a:moveTo>
                <a:lnTo>
                  <a:pt x="0" y="150"/>
                </a:lnTo>
                <a:lnTo>
                  <a:pt x="0" y="150"/>
                </a:lnTo>
                <a:lnTo>
                  <a:pt x="0" y="150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12" y="144"/>
                </a:lnTo>
                <a:lnTo>
                  <a:pt x="12" y="144"/>
                </a:lnTo>
                <a:lnTo>
                  <a:pt x="12" y="138"/>
                </a:lnTo>
                <a:lnTo>
                  <a:pt x="12" y="138"/>
                </a:lnTo>
                <a:lnTo>
                  <a:pt x="6" y="138"/>
                </a:lnTo>
                <a:lnTo>
                  <a:pt x="6" y="138"/>
                </a:lnTo>
                <a:lnTo>
                  <a:pt x="6" y="132"/>
                </a:lnTo>
                <a:lnTo>
                  <a:pt x="6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8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42" y="120"/>
                </a:lnTo>
                <a:lnTo>
                  <a:pt x="42" y="120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8" y="114"/>
                </a:lnTo>
                <a:lnTo>
                  <a:pt x="48" y="114"/>
                </a:lnTo>
                <a:lnTo>
                  <a:pt x="48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60" y="108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6" y="102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8" y="96"/>
                </a:lnTo>
                <a:lnTo>
                  <a:pt x="78" y="96"/>
                </a:lnTo>
                <a:lnTo>
                  <a:pt x="78" y="90"/>
                </a:lnTo>
                <a:lnTo>
                  <a:pt x="78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6" y="72"/>
                </a:lnTo>
                <a:lnTo>
                  <a:pt x="90" y="72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0"/>
                </a:lnTo>
                <a:lnTo>
                  <a:pt x="108" y="60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0"/>
                </a:lnTo>
                <a:lnTo>
                  <a:pt x="132" y="30"/>
                </a:lnTo>
                <a:lnTo>
                  <a:pt x="132" y="24"/>
                </a:lnTo>
                <a:lnTo>
                  <a:pt x="132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74" y="12"/>
                </a:lnTo>
                <a:lnTo>
                  <a:pt x="174" y="12"/>
                </a:lnTo>
                <a:lnTo>
                  <a:pt x="180" y="12"/>
                </a:lnTo>
                <a:lnTo>
                  <a:pt x="180" y="6"/>
                </a:lnTo>
                <a:lnTo>
                  <a:pt x="180" y="6"/>
                </a:lnTo>
                <a:lnTo>
                  <a:pt x="186" y="6"/>
                </a:lnTo>
                <a:lnTo>
                  <a:pt x="186" y="6"/>
                </a:lnTo>
                <a:lnTo>
                  <a:pt x="186" y="6"/>
                </a:lnTo>
                <a:lnTo>
                  <a:pt x="186" y="0"/>
                </a:lnTo>
                <a:lnTo>
                  <a:pt x="186" y="0"/>
                </a:lnTo>
                <a:lnTo>
                  <a:pt x="186" y="0"/>
                </a:lnTo>
                <a:lnTo>
                  <a:pt x="186" y="0"/>
                </a:lnTo>
                <a:lnTo>
                  <a:pt x="192" y="0"/>
                </a:lnTo>
                <a:lnTo>
                  <a:pt x="192" y="0"/>
                </a:lnTo>
                <a:lnTo>
                  <a:pt x="186" y="0"/>
                </a:lnTo>
                <a:lnTo>
                  <a:pt x="186" y="0"/>
                </a:lnTo>
                <a:lnTo>
                  <a:pt x="186" y="6"/>
                </a:lnTo>
                <a:lnTo>
                  <a:pt x="186" y="6"/>
                </a:lnTo>
                <a:lnTo>
                  <a:pt x="186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12"/>
                </a:lnTo>
                <a:lnTo>
                  <a:pt x="192" y="12"/>
                </a:lnTo>
                <a:lnTo>
                  <a:pt x="192" y="12"/>
                </a:lnTo>
                <a:lnTo>
                  <a:pt x="192" y="18"/>
                </a:lnTo>
                <a:lnTo>
                  <a:pt x="192" y="18"/>
                </a:lnTo>
                <a:lnTo>
                  <a:pt x="192" y="18"/>
                </a:lnTo>
                <a:lnTo>
                  <a:pt x="192" y="18"/>
                </a:lnTo>
                <a:lnTo>
                  <a:pt x="210" y="6"/>
                </a:lnTo>
                <a:lnTo>
                  <a:pt x="222" y="6"/>
                </a:lnTo>
                <a:lnTo>
                  <a:pt x="222" y="6"/>
                </a:lnTo>
                <a:lnTo>
                  <a:pt x="222" y="6"/>
                </a:lnTo>
                <a:lnTo>
                  <a:pt x="222" y="6"/>
                </a:lnTo>
                <a:lnTo>
                  <a:pt x="222" y="6"/>
                </a:lnTo>
                <a:lnTo>
                  <a:pt x="222" y="6"/>
                </a:lnTo>
                <a:lnTo>
                  <a:pt x="228" y="6"/>
                </a:lnTo>
                <a:lnTo>
                  <a:pt x="228" y="12"/>
                </a:lnTo>
                <a:lnTo>
                  <a:pt x="228" y="12"/>
                </a:lnTo>
                <a:lnTo>
                  <a:pt x="228" y="12"/>
                </a:lnTo>
                <a:lnTo>
                  <a:pt x="228" y="18"/>
                </a:lnTo>
                <a:lnTo>
                  <a:pt x="228" y="18"/>
                </a:lnTo>
                <a:lnTo>
                  <a:pt x="228" y="18"/>
                </a:lnTo>
                <a:lnTo>
                  <a:pt x="228" y="24"/>
                </a:lnTo>
                <a:lnTo>
                  <a:pt x="228" y="24"/>
                </a:lnTo>
                <a:lnTo>
                  <a:pt x="222" y="24"/>
                </a:lnTo>
                <a:lnTo>
                  <a:pt x="210" y="42"/>
                </a:lnTo>
                <a:lnTo>
                  <a:pt x="198" y="48"/>
                </a:lnTo>
                <a:lnTo>
                  <a:pt x="198" y="48"/>
                </a:lnTo>
                <a:lnTo>
                  <a:pt x="198" y="48"/>
                </a:lnTo>
                <a:lnTo>
                  <a:pt x="198" y="54"/>
                </a:lnTo>
                <a:lnTo>
                  <a:pt x="198" y="54"/>
                </a:lnTo>
                <a:lnTo>
                  <a:pt x="198" y="54"/>
                </a:lnTo>
                <a:lnTo>
                  <a:pt x="198" y="54"/>
                </a:lnTo>
                <a:lnTo>
                  <a:pt x="198" y="54"/>
                </a:lnTo>
                <a:lnTo>
                  <a:pt x="198" y="60"/>
                </a:lnTo>
                <a:lnTo>
                  <a:pt x="198" y="60"/>
                </a:lnTo>
                <a:lnTo>
                  <a:pt x="198" y="60"/>
                </a:lnTo>
                <a:lnTo>
                  <a:pt x="198" y="60"/>
                </a:lnTo>
                <a:lnTo>
                  <a:pt x="198" y="60"/>
                </a:lnTo>
                <a:lnTo>
                  <a:pt x="192" y="60"/>
                </a:lnTo>
                <a:lnTo>
                  <a:pt x="192" y="60"/>
                </a:lnTo>
                <a:lnTo>
                  <a:pt x="198" y="60"/>
                </a:lnTo>
                <a:lnTo>
                  <a:pt x="198" y="60"/>
                </a:lnTo>
                <a:lnTo>
                  <a:pt x="198" y="60"/>
                </a:lnTo>
                <a:lnTo>
                  <a:pt x="198" y="66"/>
                </a:lnTo>
                <a:lnTo>
                  <a:pt x="198" y="66"/>
                </a:lnTo>
                <a:lnTo>
                  <a:pt x="198" y="66"/>
                </a:lnTo>
                <a:lnTo>
                  <a:pt x="198" y="66"/>
                </a:lnTo>
                <a:lnTo>
                  <a:pt x="198" y="66"/>
                </a:lnTo>
                <a:lnTo>
                  <a:pt x="198" y="66"/>
                </a:lnTo>
                <a:lnTo>
                  <a:pt x="198" y="72"/>
                </a:lnTo>
                <a:lnTo>
                  <a:pt x="198" y="72"/>
                </a:lnTo>
                <a:lnTo>
                  <a:pt x="204" y="72"/>
                </a:lnTo>
                <a:lnTo>
                  <a:pt x="204" y="72"/>
                </a:lnTo>
                <a:lnTo>
                  <a:pt x="204" y="72"/>
                </a:lnTo>
                <a:lnTo>
                  <a:pt x="204" y="72"/>
                </a:lnTo>
                <a:lnTo>
                  <a:pt x="204" y="72"/>
                </a:lnTo>
                <a:lnTo>
                  <a:pt x="204" y="72"/>
                </a:lnTo>
                <a:lnTo>
                  <a:pt x="204" y="72"/>
                </a:lnTo>
                <a:lnTo>
                  <a:pt x="204" y="72"/>
                </a:lnTo>
                <a:lnTo>
                  <a:pt x="204" y="78"/>
                </a:lnTo>
                <a:lnTo>
                  <a:pt x="204" y="78"/>
                </a:lnTo>
                <a:lnTo>
                  <a:pt x="204" y="78"/>
                </a:lnTo>
                <a:lnTo>
                  <a:pt x="204" y="78"/>
                </a:lnTo>
                <a:lnTo>
                  <a:pt x="204" y="78"/>
                </a:lnTo>
                <a:lnTo>
                  <a:pt x="204" y="78"/>
                </a:lnTo>
                <a:lnTo>
                  <a:pt x="204" y="78"/>
                </a:lnTo>
                <a:lnTo>
                  <a:pt x="204" y="84"/>
                </a:lnTo>
                <a:lnTo>
                  <a:pt x="204" y="84"/>
                </a:lnTo>
                <a:lnTo>
                  <a:pt x="204" y="84"/>
                </a:lnTo>
                <a:lnTo>
                  <a:pt x="204" y="84"/>
                </a:lnTo>
                <a:lnTo>
                  <a:pt x="204" y="84"/>
                </a:lnTo>
                <a:lnTo>
                  <a:pt x="204" y="84"/>
                </a:lnTo>
                <a:lnTo>
                  <a:pt x="204" y="84"/>
                </a:lnTo>
                <a:lnTo>
                  <a:pt x="204" y="84"/>
                </a:lnTo>
                <a:lnTo>
                  <a:pt x="204" y="84"/>
                </a:lnTo>
                <a:lnTo>
                  <a:pt x="204" y="90"/>
                </a:lnTo>
                <a:lnTo>
                  <a:pt x="204" y="90"/>
                </a:lnTo>
                <a:lnTo>
                  <a:pt x="210" y="90"/>
                </a:lnTo>
                <a:lnTo>
                  <a:pt x="204" y="90"/>
                </a:lnTo>
                <a:lnTo>
                  <a:pt x="204" y="90"/>
                </a:lnTo>
                <a:lnTo>
                  <a:pt x="204" y="90"/>
                </a:lnTo>
                <a:lnTo>
                  <a:pt x="204" y="90"/>
                </a:lnTo>
                <a:lnTo>
                  <a:pt x="204" y="90"/>
                </a:lnTo>
                <a:lnTo>
                  <a:pt x="204" y="90"/>
                </a:lnTo>
                <a:lnTo>
                  <a:pt x="204" y="90"/>
                </a:lnTo>
                <a:lnTo>
                  <a:pt x="204" y="96"/>
                </a:lnTo>
                <a:lnTo>
                  <a:pt x="210" y="96"/>
                </a:lnTo>
                <a:lnTo>
                  <a:pt x="210" y="96"/>
                </a:lnTo>
                <a:lnTo>
                  <a:pt x="210" y="96"/>
                </a:lnTo>
                <a:lnTo>
                  <a:pt x="210" y="96"/>
                </a:lnTo>
                <a:lnTo>
                  <a:pt x="210" y="96"/>
                </a:lnTo>
                <a:lnTo>
                  <a:pt x="210" y="96"/>
                </a:lnTo>
                <a:lnTo>
                  <a:pt x="210" y="96"/>
                </a:lnTo>
                <a:lnTo>
                  <a:pt x="216" y="96"/>
                </a:lnTo>
                <a:lnTo>
                  <a:pt x="216" y="96"/>
                </a:lnTo>
                <a:lnTo>
                  <a:pt x="216" y="96"/>
                </a:lnTo>
                <a:lnTo>
                  <a:pt x="216" y="96"/>
                </a:lnTo>
                <a:lnTo>
                  <a:pt x="216" y="96"/>
                </a:lnTo>
                <a:lnTo>
                  <a:pt x="216" y="96"/>
                </a:lnTo>
                <a:lnTo>
                  <a:pt x="216" y="96"/>
                </a:lnTo>
                <a:lnTo>
                  <a:pt x="216" y="96"/>
                </a:lnTo>
                <a:lnTo>
                  <a:pt x="216" y="96"/>
                </a:lnTo>
                <a:lnTo>
                  <a:pt x="222" y="96"/>
                </a:lnTo>
                <a:lnTo>
                  <a:pt x="222" y="96"/>
                </a:lnTo>
                <a:lnTo>
                  <a:pt x="228" y="96"/>
                </a:lnTo>
                <a:lnTo>
                  <a:pt x="228" y="102"/>
                </a:lnTo>
                <a:lnTo>
                  <a:pt x="228" y="102"/>
                </a:lnTo>
                <a:lnTo>
                  <a:pt x="228" y="102"/>
                </a:lnTo>
                <a:lnTo>
                  <a:pt x="228" y="102"/>
                </a:lnTo>
                <a:lnTo>
                  <a:pt x="228" y="102"/>
                </a:lnTo>
                <a:lnTo>
                  <a:pt x="234" y="102"/>
                </a:lnTo>
                <a:lnTo>
                  <a:pt x="234" y="102"/>
                </a:lnTo>
                <a:lnTo>
                  <a:pt x="234" y="102"/>
                </a:lnTo>
                <a:lnTo>
                  <a:pt x="234" y="102"/>
                </a:lnTo>
                <a:lnTo>
                  <a:pt x="234" y="102"/>
                </a:lnTo>
                <a:lnTo>
                  <a:pt x="234" y="102"/>
                </a:lnTo>
                <a:lnTo>
                  <a:pt x="240" y="102"/>
                </a:lnTo>
                <a:lnTo>
                  <a:pt x="240" y="102"/>
                </a:lnTo>
                <a:lnTo>
                  <a:pt x="240" y="102"/>
                </a:lnTo>
                <a:lnTo>
                  <a:pt x="240" y="102"/>
                </a:lnTo>
                <a:lnTo>
                  <a:pt x="240" y="102"/>
                </a:lnTo>
                <a:lnTo>
                  <a:pt x="240" y="102"/>
                </a:lnTo>
                <a:lnTo>
                  <a:pt x="240" y="102"/>
                </a:lnTo>
                <a:lnTo>
                  <a:pt x="246" y="102"/>
                </a:lnTo>
                <a:lnTo>
                  <a:pt x="246" y="102"/>
                </a:lnTo>
                <a:lnTo>
                  <a:pt x="246" y="102"/>
                </a:lnTo>
                <a:lnTo>
                  <a:pt x="246" y="102"/>
                </a:lnTo>
                <a:lnTo>
                  <a:pt x="246" y="102"/>
                </a:lnTo>
                <a:lnTo>
                  <a:pt x="246" y="102"/>
                </a:lnTo>
                <a:lnTo>
                  <a:pt x="246" y="102"/>
                </a:lnTo>
                <a:lnTo>
                  <a:pt x="246" y="102"/>
                </a:lnTo>
                <a:lnTo>
                  <a:pt x="246" y="108"/>
                </a:lnTo>
                <a:lnTo>
                  <a:pt x="246" y="108"/>
                </a:lnTo>
                <a:lnTo>
                  <a:pt x="246" y="108"/>
                </a:lnTo>
                <a:lnTo>
                  <a:pt x="246" y="108"/>
                </a:lnTo>
                <a:lnTo>
                  <a:pt x="246" y="108"/>
                </a:lnTo>
                <a:lnTo>
                  <a:pt x="246" y="108"/>
                </a:lnTo>
                <a:lnTo>
                  <a:pt x="252" y="108"/>
                </a:lnTo>
                <a:lnTo>
                  <a:pt x="258" y="114"/>
                </a:lnTo>
                <a:lnTo>
                  <a:pt x="258" y="114"/>
                </a:lnTo>
                <a:lnTo>
                  <a:pt x="258" y="114"/>
                </a:lnTo>
                <a:lnTo>
                  <a:pt x="258" y="114"/>
                </a:lnTo>
                <a:lnTo>
                  <a:pt x="258" y="114"/>
                </a:lnTo>
                <a:lnTo>
                  <a:pt x="258" y="120"/>
                </a:lnTo>
                <a:lnTo>
                  <a:pt x="258" y="120"/>
                </a:lnTo>
                <a:lnTo>
                  <a:pt x="258" y="120"/>
                </a:lnTo>
                <a:lnTo>
                  <a:pt x="258" y="126"/>
                </a:lnTo>
                <a:lnTo>
                  <a:pt x="258" y="126"/>
                </a:lnTo>
                <a:lnTo>
                  <a:pt x="258" y="126"/>
                </a:lnTo>
                <a:lnTo>
                  <a:pt x="258" y="126"/>
                </a:lnTo>
                <a:lnTo>
                  <a:pt x="258" y="126"/>
                </a:lnTo>
                <a:lnTo>
                  <a:pt x="258" y="126"/>
                </a:lnTo>
                <a:lnTo>
                  <a:pt x="258" y="132"/>
                </a:lnTo>
                <a:lnTo>
                  <a:pt x="252" y="132"/>
                </a:lnTo>
                <a:lnTo>
                  <a:pt x="252" y="132"/>
                </a:lnTo>
                <a:lnTo>
                  <a:pt x="252" y="132"/>
                </a:lnTo>
                <a:lnTo>
                  <a:pt x="252" y="138"/>
                </a:lnTo>
                <a:lnTo>
                  <a:pt x="252" y="138"/>
                </a:lnTo>
                <a:lnTo>
                  <a:pt x="246" y="138"/>
                </a:lnTo>
                <a:lnTo>
                  <a:pt x="246" y="138"/>
                </a:lnTo>
                <a:lnTo>
                  <a:pt x="246" y="138"/>
                </a:lnTo>
                <a:lnTo>
                  <a:pt x="246" y="138"/>
                </a:lnTo>
                <a:lnTo>
                  <a:pt x="240" y="138"/>
                </a:lnTo>
                <a:lnTo>
                  <a:pt x="240" y="138"/>
                </a:lnTo>
                <a:lnTo>
                  <a:pt x="240" y="138"/>
                </a:lnTo>
                <a:lnTo>
                  <a:pt x="240" y="138"/>
                </a:lnTo>
                <a:lnTo>
                  <a:pt x="240" y="138"/>
                </a:lnTo>
                <a:lnTo>
                  <a:pt x="240" y="138"/>
                </a:lnTo>
                <a:lnTo>
                  <a:pt x="234" y="138"/>
                </a:lnTo>
                <a:lnTo>
                  <a:pt x="234" y="144"/>
                </a:lnTo>
                <a:lnTo>
                  <a:pt x="234" y="144"/>
                </a:lnTo>
                <a:lnTo>
                  <a:pt x="228" y="138"/>
                </a:lnTo>
                <a:lnTo>
                  <a:pt x="228" y="138"/>
                </a:lnTo>
                <a:lnTo>
                  <a:pt x="228" y="138"/>
                </a:lnTo>
                <a:lnTo>
                  <a:pt x="228" y="138"/>
                </a:lnTo>
                <a:lnTo>
                  <a:pt x="228" y="138"/>
                </a:lnTo>
                <a:lnTo>
                  <a:pt x="228" y="138"/>
                </a:lnTo>
                <a:lnTo>
                  <a:pt x="228" y="144"/>
                </a:lnTo>
                <a:lnTo>
                  <a:pt x="222" y="144"/>
                </a:lnTo>
                <a:lnTo>
                  <a:pt x="222" y="144"/>
                </a:lnTo>
                <a:lnTo>
                  <a:pt x="222" y="150"/>
                </a:lnTo>
                <a:lnTo>
                  <a:pt x="222" y="150"/>
                </a:lnTo>
                <a:lnTo>
                  <a:pt x="222" y="150"/>
                </a:lnTo>
                <a:lnTo>
                  <a:pt x="222" y="150"/>
                </a:lnTo>
                <a:lnTo>
                  <a:pt x="222" y="150"/>
                </a:lnTo>
                <a:lnTo>
                  <a:pt x="222" y="156"/>
                </a:lnTo>
                <a:lnTo>
                  <a:pt x="222" y="156"/>
                </a:lnTo>
                <a:lnTo>
                  <a:pt x="222" y="156"/>
                </a:lnTo>
                <a:lnTo>
                  <a:pt x="222" y="156"/>
                </a:lnTo>
                <a:lnTo>
                  <a:pt x="222" y="156"/>
                </a:lnTo>
                <a:lnTo>
                  <a:pt x="222" y="162"/>
                </a:lnTo>
                <a:lnTo>
                  <a:pt x="222" y="162"/>
                </a:lnTo>
                <a:lnTo>
                  <a:pt x="216" y="168"/>
                </a:lnTo>
                <a:lnTo>
                  <a:pt x="222" y="168"/>
                </a:lnTo>
                <a:lnTo>
                  <a:pt x="216" y="168"/>
                </a:lnTo>
                <a:lnTo>
                  <a:pt x="216" y="174"/>
                </a:lnTo>
                <a:lnTo>
                  <a:pt x="216" y="174"/>
                </a:lnTo>
                <a:lnTo>
                  <a:pt x="216" y="174"/>
                </a:lnTo>
                <a:lnTo>
                  <a:pt x="216" y="180"/>
                </a:lnTo>
                <a:lnTo>
                  <a:pt x="210" y="180"/>
                </a:lnTo>
                <a:lnTo>
                  <a:pt x="210" y="180"/>
                </a:lnTo>
                <a:lnTo>
                  <a:pt x="210" y="186"/>
                </a:lnTo>
                <a:lnTo>
                  <a:pt x="216" y="186"/>
                </a:lnTo>
                <a:lnTo>
                  <a:pt x="216" y="192"/>
                </a:lnTo>
                <a:lnTo>
                  <a:pt x="216" y="192"/>
                </a:lnTo>
                <a:lnTo>
                  <a:pt x="216" y="198"/>
                </a:lnTo>
                <a:lnTo>
                  <a:pt x="216" y="198"/>
                </a:lnTo>
                <a:lnTo>
                  <a:pt x="216" y="198"/>
                </a:lnTo>
                <a:lnTo>
                  <a:pt x="222" y="198"/>
                </a:lnTo>
                <a:lnTo>
                  <a:pt x="216" y="204"/>
                </a:lnTo>
                <a:lnTo>
                  <a:pt x="216" y="204"/>
                </a:lnTo>
                <a:lnTo>
                  <a:pt x="216" y="204"/>
                </a:lnTo>
                <a:lnTo>
                  <a:pt x="216" y="204"/>
                </a:lnTo>
                <a:lnTo>
                  <a:pt x="222" y="204"/>
                </a:lnTo>
                <a:lnTo>
                  <a:pt x="222" y="210"/>
                </a:lnTo>
                <a:lnTo>
                  <a:pt x="222" y="210"/>
                </a:lnTo>
                <a:lnTo>
                  <a:pt x="222" y="210"/>
                </a:lnTo>
                <a:lnTo>
                  <a:pt x="216" y="210"/>
                </a:lnTo>
                <a:lnTo>
                  <a:pt x="216" y="210"/>
                </a:lnTo>
                <a:lnTo>
                  <a:pt x="210" y="210"/>
                </a:lnTo>
                <a:lnTo>
                  <a:pt x="210" y="210"/>
                </a:lnTo>
                <a:lnTo>
                  <a:pt x="210" y="210"/>
                </a:lnTo>
                <a:lnTo>
                  <a:pt x="210" y="210"/>
                </a:lnTo>
                <a:lnTo>
                  <a:pt x="210" y="210"/>
                </a:lnTo>
                <a:lnTo>
                  <a:pt x="204" y="210"/>
                </a:lnTo>
                <a:lnTo>
                  <a:pt x="204" y="210"/>
                </a:lnTo>
                <a:lnTo>
                  <a:pt x="204" y="210"/>
                </a:lnTo>
                <a:lnTo>
                  <a:pt x="204" y="210"/>
                </a:lnTo>
                <a:lnTo>
                  <a:pt x="204" y="210"/>
                </a:lnTo>
                <a:lnTo>
                  <a:pt x="198" y="210"/>
                </a:lnTo>
                <a:lnTo>
                  <a:pt x="198" y="216"/>
                </a:lnTo>
                <a:lnTo>
                  <a:pt x="198" y="216"/>
                </a:lnTo>
                <a:lnTo>
                  <a:pt x="192" y="210"/>
                </a:lnTo>
                <a:lnTo>
                  <a:pt x="192" y="210"/>
                </a:lnTo>
                <a:lnTo>
                  <a:pt x="192" y="210"/>
                </a:lnTo>
                <a:lnTo>
                  <a:pt x="192" y="210"/>
                </a:lnTo>
                <a:lnTo>
                  <a:pt x="192" y="210"/>
                </a:lnTo>
                <a:lnTo>
                  <a:pt x="192" y="210"/>
                </a:lnTo>
                <a:lnTo>
                  <a:pt x="186" y="204"/>
                </a:lnTo>
                <a:lnTo>
                  <a:pt x="186" y="204"/>
                </a:lnTo>
                <a:lnTo>
                  <a:pt x="186" y="204"/>
                </a:lnTo>
                <a:lnTo>
                  <a:pt x="186" y="204"/>
                </a:lnTo>
                <a:lnTo>
                  <a:pt x="186" y="204"/>
                </a:lnTo>
                <a:lnTo>
                  <a:pt x="186" y="204"/>
                </a:lnTo>
                <a:lnTo>
                  <a:pt x="186" y="204"/>
                </a:lnTo>
                <a:lnTo>
                  <a:pt x="186" y="204"/>
                </a:lnTo>
                <a:lnTo>
                  <a:pt x="186" y="204"/>
                </a:lnTo>
                <a:lnTo>
                  <a:pt x="186" y="204"/>
                </a:lnTo>
                <a:lnTo>
                  <a:pt x="186" y="204"/>
                </a:lnTo>
                <a:lnTo>
                  <a:pt x="186" y="198"/>
                </a:lnTo>
                <a:lnTo>
                  <a:pt x="186" y="198"/>
                </a:lnTo>
                <a:lnTo>
                  <a:pt x="186" y="198"/>
                </a:lnTo>
                <a:lnTo>
                  <a:pt x="186" y="198"/>
                </a:lnTo>
                <a:lnTo>
                  <a:pt x="186" y="198"/>
                </a:lnTo>
                <a:lnTo>
                  <a:pt x="186" y="198"/>
                </a:lnTo>
                <a:lnTo>
                  <a:pt x="186" y="198"/>
                </a:lnTo>
                <a:lnTo>
                  <a:pt x="186" y="198"/>
                </a:lnTo>
                <a:lnTo>
                  <a:pt x="186" y="198"/>
                </a:lnTo>
                <a:lnTo>
                  <a:pt x="186" y="198"/>
                </a:lnTo>
                <a:lnTo>
                  <a:pt x="186" y="198"/>
                </a:lnTo>
                <a:lnTo>
                  <a:pt x="186" y="198"/>
                </a:lnTo>
                <a:lnTo>
                  <a:pt x="186" y="198"/>
                </a:lnTo>
                <a:lnTo>
                  <a:pt x="186" y="204"/>
                </a:lnTo>
                <a:lnTo>
                  <a:pt x="186" y="204"/>
                </a:lnTo>
                <a:lnTo>
                  <a:pt x="180" y="204"/>
                </a:lnTo>
                <a:lnTo>
                  <a:pt x="180" y="204"/>
                </a:lnTo>
                <a:lnTo>
                  <a:pt x="180" y="204"/>
                </a:lnTo>
                <a:lnTo>
                  <a:pt x="180" y="204"/>
                </a:lnTo>
                <a:lnTo>
                  <a:pt x="174" y="198"/>
                </a:lnTo>
                <a:lnTo>
                  <a:pt x="174" y="198"/>
                </a:lnTo>
                <a:lnTo>
                  <a:pt x="174" y="204"/>
                </a:lnTo>
                <a:lnTo>
                  <a:pt x="174" y="204"/>
                </a:lnTo>
                <a:lnTo>
                  <a:pt x="168" y="204"/>
                </a:lnTo>
                <a:lnTo>
                  <a:pt x="168" y="204"/>
                </a:lnTo>
                <a:lnTo>
                  <a:pt x="168" y="204"/>
                </a:lnTo>
                <a:lnTo>
                  <a:pt x="162" y="204"/>
                </a:lnTo>
                <a:lnTo>
                  <a:pt x="162" y="204"/>
                </a:lnTo>
                <a:lnTo>
                  <a:pt x="162" y="204"/>
                </a:lnTo>
                <a:lnTo>
                  <a:pt x="162" y="204"/>
                </a:lnTo>
                <a:lnTo>
                  <a:pt x="168" y="210"/>
                </a:lnTo>
                <a:lnTo>
                  <a:pt x="162" y="210"/>
                </a:lnTo>
                <a:lnTo>
                  <a:pt x="162" y="210"/>
                </a:lnTo>
                <a:lnTo>
                  <a:pt x="162" y="210"/>
                </a:lnTo>
                <a:lnTo>
                  <a:pt x="162" y="210"/>
                </a:lnTo>
                <a:lnTo>
                  <a:pt x="162" y="210"/>
                </a:lnTo>
                <a:lnTo>
                  <a:pt x="156" y="210"/>
                </a:lnTo>
                <a:lnTo>
                  <a:pt x="156" y="210"/>
                </a:lnTo>
                <a:lnTo>
                  <a:pt x="156" y="210"/>
                </a:lnTo>
                <a:lnTo>
                  <a:pt x="156" y="210"/>
                </a:lnTo>
                <a:lnTo>
                  <a:pt x="156" y="216"/>
                </a:lnTo>
                <a:lnTo>
                  <a:pt x="150" y="216"/>
                </a:lnTo>
                <a:lnTo>
                  <a:pt x="150" y="216"/>
                </a:lnTo>
                <a:lnTo>
                  <a:pt x="150" y="222"/>
                </a:lnTo>
                <a:lnTo>
                  <a:pt x="150" y="222"/>
                </a:lnTo>
                <a:lnTo>
                  <a:pt x="150" y="222"/>
                </a:lnTo>
                <a:lnTo>
                  <a:pt x="144" y="222"/>
                </a:lnTo>
                <a:lnTo>
                  <a:pt x="144" y="222"/>
                </a:lnTo>
                <a:lnTo>
                  <a:pt x="144" y="222"/>
                </a:lnTo>
                <a:lnTo>
                  <a:pt x="144" y="222"/>
                </a:lnTo>
                <a:lnTo>
                  <a:pt x="144" y="228"/>
                </a:lnTo>
                <a:lnTo>
                  <a:pt x="144" y="228"/>
                </a:lnTo>
                <a:lnTo>
                  <a:pt x="144" y="228"/>
                </a:lnTo>
                <a:lnTo>
                  <a:pt x="144" y="234"/>
                </a:lnTo>
                <a:lnTo>
                  <a:pt x="144" y="234"/>
                </a:lnTo>
                <a:lnTo>
                  <a:pt x="138" y="234"/>
                </a:lnTo>
                <a:lnTo>
                  <a:pt x="138" y="234"/>
                </a:lnTo>
                <a:lnTo>
                  <a:pt x="138" y="234"/>
                </a:lnTo>
                <a:lnTo>
                  <a:pt x="132" y="234"/>
                </a:lnTo>
                <a:lnTo>
                  <a:pt x="132" y="234"/>
                </a:lnTo>
                <a:lnTo>
                  <a:pt x="132" y="234"/>
                </a:lnTo>
                <a:lnTo>
                  <a:pt x="132" y="240"/>
                </a:lnTo>
                <a:lnTo>
                  <a:pt x="126" y="240"/>
                </a:lnTo>
                <a:lnTo>
                  <a:pt x="126" y="240"/>
                </a:lnTo>
                <a:lnTo>
                  <a:pt x="126" y="240"/>
                </a:lnTo>
                <a:lnTo>
                  <a:pt x="126" y="240"/>
                </a:lnTo>
                <a:lnTo>
                  <a:pt x="126" y="240"/>
                </a:lnTo>
                <a:lnTo>
                  <a:pt x="126" y="240"/>
                </a:lnTo>
                <a:lnTo>
                  <a:pt x="126" y="246"/>
                </a:lnTo>
                <a:lnTo>
                  <a:pt x="120" y="246"/>
                </a:lnTo>
                <a:lnTo>
                  <a:pt x="120" y="246"/>
                </a:lnTo>
                <a:lnTo>
                  <a:pt x="120" y="246"/>
                </a:lnTo>
                <a:lnTo>
                  <a:pt x="120" y="246"/>
                </a:lnTo>
                <a:lnTo>
                  <a:pt x="120" y="252"/>
                </a:lnTo>
                <a:lnTo>
                  <a:pt x="120" y="252"/>
                </a:lnTo>
                <a:lnTo>
                  <a:pt x="120" y="252"/>
                </a:lnTo>
                <a:lnTo>
                  <a:pt x="120" y="252"/>
                </a:lnTo>
                <a:lnTo>
                  <a:pt x="120" y="252"/>
                </a:lnTo>
                <a:lnTo>
                  <a:pt x="120" y="252"/>
                </a:lnTo>
                <a:lnTo>
                  <a:pt x="120" y="252"/>
                </a:lnTo>
                <a:lnTo>
                  <a:pt x="120" y="252"/>
                </a:lnTo>
                <a:lnTo>
                  <a:pt x="114" y="252"/>
                </a:lnTo>
                <a:lnTo>
                  <a:pt x="114" y="252"/>
                </a:lnTo>
                <a:lnTo>
                  <a:pt x="114" y="252"/>
                </a:lnTo>
                <a:lnTo>
                  <a:pt x="114" y="252"/>
                </a:lnTo>
                <a:lnTo>
                  <a:pt x="114" y="252"/>
                </a:lnTo>
                <a:lnTo>
                  <a:pt x="114" y="246"/>
                </a:lnTo>
                <a:lnTo>
                  <a:pt x="114" y="246"/>
                </a:lnTo>
                <a:lnTo>
                  <a:pt x="114" y="252"/>
                </a:lnTo>
                <a:lnTo>
                  <a:pt x="114" y="252"/>
                </a:lnTo>
                <a:lnTo>
                  <a:pt x="114" y="252"/>
                </a:lnTo>
                <a:lnTo>
                  <a:pt x="114" y="252"/>
                </a:lnTo>
                <a:lnTo>
                  <a:pt x="108" y="252"/>
                </a:lnTo>
                <a:lnTo>
                  <a:pt x="108" y="252"/>
                </a:lnTo>
                <a:lnTo>
                  <a:pt x="108" y="252"/>
                </a:lnTo>
                <a:lnTo>
                  <a:pt x="108" y="252"/>
                </a:lnTo>
                <a:lnTo>
                  <a:pt x="108" y="252"/>
                </a:lnTo>
                <a:lnTo>
                  <a:pt x="108" y="252"/>
                </a:lnTo>
                <a:lnTo>
                  <a:pt x="108" y="252"/>
                </a:lnTo>
                <a:lnTo>
                  <a:pt x="108" y="252"/>
                </a:lnTo>
                <a:lnTo>
                  <a:pt x="102" y="252"/>
                </a:lnTo>
                <a:lnTo>
                  <a:pt x="102" y="252"/>
                </a:lnTo>
                <a:lnTo>
                  <a:pt x="102" y="252"/>
                </a:lnTo>
                <a:lnTo>
                  <a:pt x="102" y="252"/>
                </a:lnTo>
                <a:lnTo>
                  <a:pt x="102" y="246"/>
                </a:lnTo>
                <a:lnTo>
                  <a:pt x="102" y="246"/>
                </a:lnTo>
                <a:lnTo>
                  <a:pt x="102" y="246"/>
                </a:lnTo>
                <a:lnTo>
                  <a:pt x="102" y="246"/>
                </a:lnTo>
                <a:lnTo>
                  <a:pt x="102" y="246"/>
                </a:lnTo>
                <a:lnTo>
                  <a:pt x="102" y="246"/>
                </a:lnTo>
                <a:lnTo>
                  <a:pt x="102" y="246"/>
                </a:lnTo>
                <a:lnTo>
                  <a:pt x="102" y="246"/>
                </a:lnTo>
                <a:lnTo>
                  <a:pt x="108" y="246"/>
                </a:lnTo>
                <a:lnTo>
                  <a:pt x="108" y="240"/>
                </a:lnTo>
                <a:lnTo>
                  <a:pt x="108" y="240"/>
                </a:lnTo>
                <a:lnTo>
                  <a:pt x="108" y="240"/>
                </a:lnTo>
                <a:lnTo>
                  <a:pt x="108" y="240"/>
                </a:lnTo>
                <a:lnTo>
                  <a:pt x="108" y="240"/>
                </a:lnTo>
                <a:lnTo>
                  <a:pt x="108" y="240"/>
                </a:lnTo>
                <a:lnTo>
                  <a:pt x="108" y="240"/>
                </a:lnTo>
                <a:lnTo>
                  <a:pt x="108" y="240"/>
                </a:lnTo>
                <a:lnTo>
                  <a:pt x="114" y="240"/>
                </a:lnTo>
                <a:lnTo>
                  <a:pt x="108" y="240"/>
                </a:lnTo>
                <a:lnTo>
                  <a:pt x="114" y="240"/>
                </a:lnTo>
                <a:lnTo>
                  <a:pt x="114" y="234"/>
                </a:lnTo>
                <a:lnTo>
                  <a:pt x="108" y="234"/>
                </a:lnTo>
                <a:lnTo>
                  <a:pt x="108" y="234"/>
                </a:lnTo>
                <a:lnTo>
                  <a:pt x="108" y="234"/>
                </a:lnTo>
                <a:lnTo>
                  <a:pt x="108" y="234"/>
                </a:lnTo>
                <a:lnTo>
                  <a:pt x="102" y="234"/>
                </a:lnTo>
                <a:lnTo>
                  <a:pt x="102" y="234"/>
                </a:lnTo>
                <a:lnTo>
                  <a:pt x="102" y="228"/>
                </a:lnTo>
                <a:lnTo>
                  <a:pt x="102" y="228"/>
                </a:lnTo>
                <a:lnTo>
                  <a:pt x="102" y="228"/>
                </a:lnTo>
                <a:lnTo>
                  <a:pt x="102" y="222"/>
                </a:lnTo>
                <a:lnTo>
                  <a:pt x="102" y="222"/>
                </a:lnTo>
                <a:lnTo>
                  <a:pt x="108" y="222"/>
                </a:lnTo>
                <a:lnTo>
                  <a:pt x="108" y="216"/>
                </a:lnTo>
                <a:lnTo>
                  <a:pt x="108" y="216"/>
                </a:lnTo>
                <a:lnTo>
                  <a:pt x="108" y="216"/>
                </a:lnTo>
                <a:lnTo>
                  <a:pt x="108" y="216"/>
                </a:lnTo>
                <a:lnTo>
                  <a:pt x="108" y="216"/>
                </a:lnTo>
                <a:lnTo>
                  <a:pt x="108" y="210"/>
                </a:lnTo>
                <a:lnTo>
                  <a:pt x="108" y="210"/>
                </a:lnTo>
                <a:lnTo>
                  <a:pt x="102" y="210"/>
                </a:lnTo>
                <a:lnTo>
                  <a:pt x="102" y="210"/>
                </a:lnTo>
                <a:lnTo>
                  <a:pt x="102" y="210"/>
                </a:lnTo>
                <a:lnTo>
                  <a:pt x="102" y="210"/>
                </a:lnTo>
                <a:lnTo>
                  <a:pt x="102" y="210"/>
                </a:lnTo>
                <a:lnTo>
                  <a:pt x="102" y="210"/>
                </a:lnTo>
                <a:lnTo>
                  <a:pt x="96" y="210"/>
                </a:lnTo>
                <a:lnTo>
                  <a:pt x="96" y="216"/>
                </a:lnTo>
                <a:lnTo>
                  <a:pt x="96" y="216"/>
                </a:lnTo>
                <a:lnTo>
                  <a:pt x="96" y="216"/>
                </a:lnTo>
                <a:lnTo>
                  <a:pt x="96" y="216"/>
                </a:lnTo>
                <a:lnTo>
                  <a:pt x="96" y="222"/>
                </a:lnTo>
                <a:lnTo>
                  <a:pt x="90" y="222"/>
                </a:lnTo>
                <a:lnTo>
                  <a:pt x="90" y="222"/>
                </a:lnTo>
                <a:lnTo>
                  <a:pt x="90" y="222"/>
                </a:lnTo>
                <a:lnTo>
                  <a:pt x="90" y="222"/>
                </a:lnTo>
                <a:lnTo>
                  <a:pt x="90" y="222"/>
                </a:lnTo>
                <a:lnTo>
                  <a:pt x="90" y="222"/>
                </a:lnTo>
                <a:lnTo>
                  <a:pt x="90" y="222"/>
                </a:lnTo>
                <a:lnTo>
                  <a:pt x="90" y="222"/>
                </a:lnTo>
                <a:lnTo>
                  <a:pt x="90" y="222"/>
                </a:lnTo>
                <a:lnTo>
                  <a:pt x="90" y="222"/>
                </a:lnTo>
                <a:lnTo>
                  <a:pt x="84" y="222"/>
                </a:lnTo>
                <a:lnTo>
                  <a:pt x="84" y="222"/>
                </a:lnTo>
                <a:lnTo>
                  <a:pt x="84" y="222"/>
                </a:lnTo>
                <a:lnTo>
                  <a:pt x="78" y="222"/>
                </a:lnTo>
                <a:lnTo>
                  <a:pt x="78" y="228"/>
                </a:lnTo>
                <a:lnTo>
                  <a:pt x="78" y="222"/>
                </a:lnTo>
                <a:lnTo>
                  <a:pt x="78" y="222"/>
                </a:lnTo>
                <a:lnTo>
                  <a:pt x="78" y="222"/>
                </a:lnTo>
                <a:lnTo>
                  <a:pt x="78" y="222"/>
                </a:lnTo>
                <a:lnTo>
                  <a:pt x="78" y="222"/>
                </a:lnTo>
                <a:lnTo>
                  <a:pt x="78" y="222"/>
                </a:lnTo>
                <a:lnTo>
                  <a:pt x="78" y="222"/>
                </a:lnTo>
                <a:lnTo>
                  <a:pt x="72" y="222"/>
                </a:lnTo>
                <a:lnTo>
                  <a:pt x="72" y="222"/>
                </a:lnTo>
                <a:lnTo>
                  <a:pt x="72" y="228"/>
                </a:lnTo>
                <a:lnTo>
                  <a:pt x="72" y="228"/>
                </a:lnTo>
                <a:lnTo>
                  <a:pt x="72" y="222"/>
                </a:lnTo>
                <a:lnTo>
                  <a:pt x="72" y="222"/>
                </a:lnTo>
                <a:lnTo>
                  <a:pt x="72" y="222"/>
                </a:lnTo>
                <a:lnTo>
                  <a:pt x="72" y="222"/>
                </a:lnTo>
                <a:lnTo>
                  <a:pt x="78" y="222"/>
                </a:lnTo>
                <a:lnTo>
                  <a:pt x="78" y="222"/>
                </a:lnTo>
                <a:lnTo>
                  <a:pt x="84" y="216"/>
                </a:lnTo>
                <a:lnTo>
                  <a:pt x="84" y="210"/>
                </a:lnTo>
                <a:lnTo>
                  <a:pt x="84" y="210"/>
                </a:lnTo>
                <a:lnTo>
                  <a:pt x="78" y="210"/>
                </a:lnTo>
                <a:lnTo>
                  <a:pt x="78" y="210"/>
                </a:lnTo>
                <a:lnTo>
                  <a:pt x="78" y="210"/>
                </a:lnTo>
                <a:lnTo>
                  <a:pt x="78" y="210"/>
                </a:lnTo>
                <a:lnTo>
                  <a:pt x="72" y="198"/>
                </a:lnTo>
                <a:lnTo>
                  <a:pt x="72" y="198"/>
                </a:lnTo>
                <a:lnTo>
                  <a:pt x="72" y="198"/>
                </a:lnTo>
                <a:lnTo>
                  <a:pt x="72" y="198"/>
                </a:lnTo>
                <a:lnTo>
                  <a:pt x="72" y="198"/>
                </a:lnTo>
                <a:lnTo>
                  <a:pt x="72" y="198"/>
                </a:lnTo>
                <a:lnTo>
                  <a:pt x="72" y="198"/>
                </a:lnTo>
                <a:lnTo>
                  <a:pt x="72" y="198"/>
                </a:lnTo>
                <a:lnTo>
                  <a:pt x="72" y="198"/>
                </a:lnTo>
                <a:lnTo>
                  <a:pt x="72" y="198"/>
                </a:lnTo>
                <a:lnTo>
                  <a:pt x="72" y="198"/>
                </a:lnTo>
                <a:lnTo>
                  <a:pt x="72" y="198"/>
                </a:lnTo>
                <a:lnTo>
                  <a:pt x="66" y="198"/>
                </a:lnTo>
                <a:lnTo>
                  <a:pt x="66" y="198"/>
                </a:lnTo>
                <a:lnTo>
                  <a:pt x="66" y="198"/>
                </a:lnTo>
                <a:lnTo>
                  <a:pt x="66" y="198"/>
                </a:lnTo>
                <a:lnTo>
                  <a:pt x="66" y="198"/>
                </a:lnTo>
                <a:lnTo>
                  <a:pt x="66" y="198"/>
                </a:lnTo>
                <a:lnTo>
                  <a:pt x="66" y="198"/>
                </a:lnTo>
                <a:lnTo>
                  <a:pt x="66" y="198"/>
                </a:lnTo>
                <a:lnTo>
                  <a:pt x="66" y="192"/>
                </a:lnTo>
                <a:lnTo>
                  <a:pt x="66" y="192"/>
                </a:lnTo>
                <a:lnTo>
                  <a:pt x="66" y="192"/>
                </a:lnTo>
                <a:lnTo>
                  <a:pt x="66" y="192"/>
                </a:lnTo>
                <a:lnTo>
                  <a:pt x="66" y="192"/>
                </a:lnTo>
                <a:lnTo>
                  <a:pt x="66" y="186"/>
                </a:lnTo>
                <a:lnTo>
                  <a:pt x="66" y="186"/>
                </a:lnTo>
                <a:lnTo>
                  <a:pt x="66" y="186"/>
                </a:lnTo>
                <a:lnTo>
                  <a:pt x="66" y="186"/>
                </a:lnTo>
                <a:lnTo>
                  <a:pt x="60" y="186"/>
                </a:lnTo>
                <a:lnTo>
                  <a:pt x="60" y="186"/>
                </a:lnTo>
                <a:lnTo>
                  <a:pt x="60" y="186"/>
                </a:lnTo>
                <a:lnTo>
                  <a:pt x="60" y="186"/>
                </a:lnTo>
                <a:lnTo>
                  <a:pt x="60" y="192"/>
                </a:lnTo>
                <a:lnTo>
                  <a:pt x="60" y="192"/>
                </a:lnTo>
                <a:lnTo>
                  <a:pt x="60" y="186"/>
                </a:lnTo>
                <a:lnTo>
                  <a:pt x="60" y="186"/>
                </a:lnTo>
                <a:lnTo>
                  <a:pt x="60" y="186"/>
                </a:lnTo>
                <a:lnTo>
                  <a:pt x="60" y="186"/>
                </a:lnTo>
                <a:lnTo>
                  <a:pt x="60" y="180"/>
                </a:lnTo>
                <a:lnTo>
                  <a:pt x="60" y="180"/>
                </a:lnTo>
                <a:lnTo>
                  <a:pt x="60" y="174"/>
                </a:lnTo>
                <a:lnTo>
                  <a:pt x="60" y="174"/>
                </a:lnTo>
                <a:lnTo>
                  <a:pt x="54" y="174"/>
                </a:lnTo>
                <a:lnTo>
                  <a:pt x="54" y="174"/>
                </a:lnTo>
                <a:lnTo>
                  <a:pt x="54" y="174"/>
                </a:lnTo>
                <a:lnTo>
                  <a:pt x="54" y="174"/>
                </a:lnTo>
                <a:lnTo>
                  <a:pt x="54" y="174"/>
                </a:lnTo>
                <a:lnTo>
                  <a:pt x="54" y="174"/>
                </a:lnTo>
                <a:lnTo>
                  <a:pt x="54" y="174"/>
                </a:lnTo>
                <a:lnTo>
                  <a:pt x="48" y="174"/>
                </a:lnTo>
                <a:lnTo>
                  <a:pt x="48" y="174"/>
                </a:lnTo>
                <a:lnTo>
                  <a:pt x="48" y="174"/>
                </a:lnTo>
                <a:lnTo>
                  <a:pt x="48" y="180"/>
                </a:lnTo>
                <a:lnTo>
                  <a:pt x="48" y="180"/>
                </a:lnTo>
                <a:lnTo>
                  <a:pt x="48" y="180"/>
                </a:lnTo>
                <a:lnTo>
                  <a:pt x="48" y="180"/>
                </a:lnTo>
                <a:lnTo>
                  <a:pt x="48" y="180"/>
                </a:lnTo>
                <a:lnTo>
                  <a:pt x="42" y="180"/>
                </a:lnTo>
                <a:lnTo>
                  <a:pt x="42" y="180"/>
                </a:lnTo>
                <a:lnTo>
                  <a:pt x="42" y="180"/>
                </a:lnTo>
                <a:lnTo>
                  <a:pt x="42" y="180"/>
                </a:lnTo>
                <a:lnTo>
                  <a:pt x="48" y="180"/>
                </a:lnTo>
                <a:lnTo>
                  <a:pt x="48" y="180"/>
                </a:lnTo>
                <a:lnTo>
                  <a:pt x="42" y="174"/>
                </a:lnTo>
                <a:lnTo>
                  <a:pt x="42" y="174"/>
                </a:lnTo>
                <a:lnTo>
                  <a:pt x="42" y="174"/>
                </a:lnTo>
                <a:lnTo>
                  <a:pt x="42" y="174"/>
                </a:lnTo>
                <a:lnTo>
                  <a:pt x="36" y="174"/>
                </a:lnTo>
                <a:lnTo>
                  <a:pt x="36" y="174"/>
                </a:lnTo>
                <a:lnTo>
                  <a:pt x="36" y="174"/>
                </a:lnTo>
                <a:lnTo>
                  <a:pt x="36" y="174"/>
                </a:lnTo>
                <a:lnTo>
                  <a:pt x="30" y="174"/>
                </a:lnTo>
                <a:lnTo>
                  <a:pt x="30" y="180"/>
                </a:lnTo>
                <a:lnTo>
                  <a:pt x="30" y="180"/>
                </a:lnTo>
                <a:lnTo>
                  <a:pt x="30" y="180"/>
                </a:lnTo>
                <a:lnTo>
                  <a:pt x="30" y="180"/>
                </a:lnTo>
                <a:lnTo>
                  <a:pt x="30" y="180"/>
                </a:lnTo>
                <a:lnTo>
                  <a:pt x="24" y="180"/>
                </a:lnTo>
                <a:lnTo>
                  <a:pt x="24" y="180"/>
                </a:lnTo>
                <a:lnTo>
                  <a:pt x="24" y="180"/>
                </a:lnTo>
                <a:lnTo>
                  <a:pt x="24" y="180"/>
                </a:lnTo>
                <a:lnTo>
                  <a:pt x="24" y="180"/>
                </a:lnTo>
                <a:lnTo>
                  <a:pt x="24" y="180"/>
                </a:lnTo>
                <a:lnTo>
                  <a:pt x="24" y="180"/>
                </a:lnTo>
                <a:lnTo>
                  <a:pt x="24" y="180"/>
                </a:lnTo>
                <a:lnTo>
                  <a:pt x="24" y="180"/>
                </a:lnTo>
                <a:lnTo>
                  <a:pt x="24" y="180"/>
                </a:lnTo>
                <a:lnTo>
                  <a:pt x="18" y="180"/>
                </a:lnTo>
                <a:lnTo>
                  <a:pt x="18" y="180"/>
                </a:lnTo>
                <a:lnTo>
                  <a:pt x="18" y="180"/>
                </a:lnTo>
                <a:lnTo>
                  <a:pt x="18" y="180"/>
                </a:lnTo>
                <a:lnTo>
                  <a:pt x="18" y="186"/>
                </a:lnTo>
                <a:lnTo>
                  <a:pt x="18" y="180"/>
                </a:lnTo>
                <a:lnTo>
                  <a:pt x="18" y="186"/>
                </a:lnTo>
                <a:lnTo>
                  <a:pt x="18" y="180"/>
                </a:lnTo>
                <a:lnTo>
                  <a:pt x="18" y="180"/>
                </a:lnTo>
                <a:lnTo>
                  <a:pt x="18" y="180"/>
                </a:lnTo>
                <a:lnTo>
                  <a:pt x="18" y="180"/>
                </a:lnTo>
                <a:lnTo>
                  <a:pt x="18" y="186"/>
                </a:lnTo>
                <a:lnTo>
                  <a:pt x="18" y="180"/>
                </a:lnTo>
                <a:lnTo>
                  <a:pt x="18" y="186"/>
                </a:lnTo>
                <a:lnTo>
                  <a:pt x="18" y="186"/>
                </a:lnTo>
                <a:lnTo>
                  <a:pt x="18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0"/>
                </a:lnTo>
                <a:lnTo>
                  <a:pt x="18" y="180"/>
                </a:lnTo>
                <a:lnTo>
                  <a:pt x="18" y="180"/>
                </a:lnTo>
                <a:lnTo>
                  <a:pt x="18" y="180"/>
                </a:lnTo>
                <a:lnTo>
                  <a:pt x="12" y="174"/>
                </a:lnTo>
                <a:lnTo>
                  <a:pt x="6" y="174"/>
                </a:lnTo>
                <a:lnTo>
                  <a:pt x="6" y="174"/>
                </a:lnTo>
                <a:lnTo>
                  <a:pt x="6" y="168"/>
                </a:lnTo>
                <a:lnTo>
                  <a:pt x="6" y="168"/>
                </a:lnTo>
                <a:lnTo>
                  <a:pt x="6" y="168"/>
                </a:lnTo>
                <a:lnTo>
                  <a:pt x="6" y="162"/>
                </a:lnTo>
                <a:lnTo>
                  <a:pt x="0" y="162"/>
                </a:lnTo>
                <a:lnTo>
                  <a:pt x="0" y="156"/>
                </a:lnTo>
                <a:lnTo>
                  <a:pt x="6" y="156"/>
                </a:lnTo>
                <a:lnTo>
                  <a:pt x="0" y="15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66" name="Freeform 299"/>
          <p:cNvSpPr>
            <a:spLocks/>
          </p:cNvSpPr>
          <p:nvPr/>
        </p:nvSpPr>
        <p:spPr bwMode="auto">
          <a:xfrm>
            <a:off x="7275841" y="4186397"/>
            <a:ext cx="134905" cy="83513"/>
          </a:xfrm>
          <a:custGeom>
            <a:avLst/>
            <a:gdLst>
              <a:gd name="T0" fmla="*/ 0 w 126"/>
              <a:gd name="T1" fmla="*/ 72 h 78"/>
              <a:gd name="T2" fmla="*/ 0 w 126"/>
              <a:gd name="T3" fmla="*/ 66 h 78"/>
              <a:gd name="T4" fmla="*/ 0 w 126"/>
              <a:gd name="T5" fmla="*/ 60 h 78"/>
              <a:gd name="T6" fmla="*/ 0 w 126"/>
              <a:gd name="T7" fmla="*/ 54 h 78"/>
              <a:gd name="T8" fmla="*/ 6 w 126"/>
              <a:gd name="T9" fmla="*/ 48 h 78"/>
              <a:gd name="T10" fmla="*/ 6 w 126"/>
              <a:gd name="T11" fmla="*/ 48 h 78"/>
              <a:gd name="T12" fmla="*/ 12 w 126"/>
              <a:gd name="T13" fmla="*/ 48 h 78"/>
              <a:gd name="T14" fmla="*/ 18 w 126"/>
              <a:gd name="T15" fmla="*/ 48 h 78"/>
              <a:gd name="T16" fmla="*/ 24 w 126"/>
              <a:gd name="T17" fmla="*/ 48 h 78"/>
              <a:gd name="T18" fmla="*/ 36 w 126"/>
              <a:gd name="T19" fmla="*/ 48 h 78"/>
              <a:gd name="T20" fmla="*/ 36 w 126"/>
              <a:gd name="T21" fmla="*/ 36 h 78"/>
              <a:gd name="T22" fmla="*/ 36 w 126"/>
              <a:gd name="T23" fmla="*/ 24 h 78"/>
              <a:gd name="T24" fmla="*/ 36 w 126"/>
              <a:gd name="T25" fmla="*/ 18 h 78"/>
              <a:gd name="T26" fmla="*/ 42 w 126"/>
              <a:gd name="T27" fmla="*/ 24 h 78"/>
              <a:gd name="T28" fmla="*/ 48 w 126"/>
              <a:gd name="T29" fmla="*/ 24 h 78"/>
              <a:gd name="T30" fmla="*/ 48 w 126"/>
              <a:gd name="T31" fmla="*/ 24 h 78"/>
              <a:gd name="T32" fmla="*/ 48 w 126"/>
              <a:gd name="T33" fmla="*/ 30 h 78"/>
              <a:gd name="T34" fmla="*/ 48 w 126"/>
              <a:gd name="T35" fmla="*/ 30 h 78"/>
              <a:gd name="T36" fmla="*/ 54 w 126"/>
              <a:gd name="T37" fmla="*/ 36 h 78"/>
              <a:gd name="T38" fmla="*/ 60 w 126"/>
              <a:gd name="T39" fmla="*/ 30 h 78"/>
              <a:gd name="T40" fmla="*/ 60 w 126"/>
              <a:gd name="T41" fmla="*/ 30 h 78"/>
              <a:gd name="T42" fmla="*/ 66 w 126"/>
              <a:gd name="T43" fmla="*/ 30 h 78"/>
              <a:gd name="T44" fmla="*/ 72 w 126"/>
              <a:gd name="T45" fmla="*/ 24 h 78"/>
              <a:gd name="T46" fmla="*/ 78 w 126"/>
              <a:gd name="T47" fmla="*/ 18 h 78"/>
              <a:gd name="T48" fmla="*/ 72 w 126"/>
              <a:gd name="T49" fmla="*/ 12 h 78"/>
              <a:gd name="T50" fmla="*/ 78 w 126"/>
              <a:gd name="T51" fmla="*/ 6 h 78"/>
              <a:gd name="T52" fmla="*/ 84 w 126"/>
              <a:gd name="T53" fmla="*/ 0 h 78"/>
              <a:gd name="T54" fmla="*/ 96 w 126"/>
              <a:gd name="T55" fmla="*/ 0 h 78"/>
              <a:gd name="T56" fmla="*/ 96 w 126"/>
              <a:gd name="T57" fmla="*/ 6 h 78"/>
              <a:gd name="T58" fmla="*/ 102 w 126"/>
              <a:gd name="T59" fmla="*/ 12 h 78"/>
              <a:gd name="T60" fmla="*/ 114 w 126"/>
              <a:gd name="T61" fmla="*/ 6 h 78"/>
              <a:gd name="T62" fmla="*/ 120 w 126"/>
              <a:gd name="T63" fmla="*/ 18 h 78"/>
              <a:gd name="T64" fmla="*/ 126 w 126"/>
              <a:gd name="T65" fmla="*/ 24 h 78"/>
              <a:gd name="T66" fmla="*/ 120 w 126"/>
              <a:gd name="T67" fmla="*/ 30 h 78"/>
              <a:gd name="T68" fmla="*/ 114 w 126"/>
              <a:gd name="T69" fmla="*/ 36 h 78"/>
              <a:gd name="T70" fmla="*/ 114 w 126"/>
              <a:gd name="T71" fmla="*/ 42 h 78"/>
              <a:gd name="T72" fmla="*/ 108 w 126"/>
              <a:gd name="T73" fmla="*/ 48 h 78"/>
              <a:gd name="T74" fmla="*/ 102 w 126"/>
              <a:gd name="T75" fmla="*/ 54 h 78"/>
              <a:gd name="T76" fmla="*/ 96 w 126"/>
              <a:gd name="T77" fmla="*/ 60 h 78"/>
              <a:gd name="T78" fmla="*/ 90 w 126"/>
              <a:gd name="T79" fmla="*/ 66 h 78"/>
              <a:gd name="T80" fmla="*/ 78 w 126"/>
              <a:gd name="T81" fmla="*/ 66 h 78"/>
              <a:gd name="T82" fmla="*/ 72 w 126"/>
              <a:gd name="T83" fmla="*/ 72 h 78"/>
              <a:gd name="T84" fmla="*/ 66 w 126"/>
              <a:gd name="T85" fmla="*/ 66 h 78"/>
              <a:gd name="T86" fmla="*/ 60 w 126"/>
              <a:gd name="T87" fmla="*/ 60 h 78"/>
              <a:gd name="T88" fmla="*/ 54 w 126"/>
              <a:gd name="T89" fmla="*/ 66 h 78"/>
              <a:gd name="T90" fmla="*/ 48 w 126"/>
              <a:gd name="T91" fmla="*/ 66 h 78"/>
              <a:gd name="T92" fmla="*/ 48 w 126"/>
              <a:gd name="T93" fmla="*/ 60 h 78"/>
              <a:gd name="T94" fmla="*/ 42 w 126"/>
              <a:gd name="T95" fmla="*/ 66 h 78"/>
              <a:gd name="T96" fmla="*/ 36 w 126"/>
              <a:gd name="T97" fmla="*/ 66 h 78"/>
              <a:gd name="T98" fmla="*/ 36 w 126"/>
              <a:gd name="T99" fmla="*/ 60 h 78"/>
              <a:gd name="T100" fmla="*/ 30 w 126"/>
              <a:gd name="T101" fmla="*/ 60 h 78"/>
              <a:gd name="T102" fmla="*/ 30 w 126"/>
              <a:gd name="T103" fmla="*/ 66 h 78"/>
              <a:gd name="T104" fmla="*/ 24 w 126"/>
              <a:gd name="T105" fmla="*/ 66 h 78"/>
              <a:gd name="T106" fmla="*/ 12 w 126"/>
              <a:gd name="T107" fmla="*/ 66 h 78"/>
              <a:gd name="T108" fmla="*/ 12 w 126"/>
              <a:gd name="T109" fmla="*/ 66 h 78"/>
              <a:gd name="T110" fmla="*/ 6 w 126"/>
              <a:gd name="T111" fmla="*/ 72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26" h="78">
                <a:moveTo>
                  <a:pt x="0" y="72"/>
                </a:move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48"/>
                </a:lnTo>
                <a:lnTo>
                  <a:pt x="0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6" y="48"/>
                </a:lnTo>
                <a:lnTo>
                  <a:pt x="30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36"/>
                </a:lnTo>
                <a:lnTo>
                  <a:pt x="36" y="36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18"/>
                </a:lnTo>
                <a:lnTo>
                  <a:pt x="42" y="18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54" y="30"/>
                </a:lnTo>
                <a:lnTo>
                  <a:pt x="48" y="30"/>
                </a:lnTo>
                <a:lnTo>
                  <a:pt x="54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6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60" y="30"/>
                </a:lnTo>
                <a:lnTo>
                  <a:pt x="60" y="36"/>
                </a:lnTo>
                <a:lnTo>
                  <a:pt x="60" y="30"/>
                </a:lnTo>
                <a:lnTo>
                  <a:pt x="60" y="36"/>
                </a:lnTo>
                <a:lnTo>
                  <a:pt x="60" y="36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2"/>
                </a:lnTo>
                <a:lnTo>
                  <a:pt x="78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8" y="12"/>
                </a:lnTo>
                <a:lnTo>
                  <a:pt x="72" y="12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0"/>
                </a:lnTo>
                <a:lnTo>
                  <a:pt x="78" y="0"/>
                </a:lnTo>
                <a:lnTo>
                  <a:pt x="84" y="0"/>
                </a:lnTo>
                <a:lnTo>
                  <a:pt x="84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102" y="6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12"/>
                </a:lnTo>
                <a:lnTo>
                  <a:pt x="114" y="18"/>
                </a:lnTo>
                <a:lnTo>
                  <a:pt x="114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24"/>
                </a:lnTo>
                <a:lnTo>
                  <a:pt x="126" y="24"/>
                </a:lnTo>
                <a:lnTo>
                  <a:pt x="120" y="24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20" y="36"/>
                </a:lnTo>
                <a:lnTo>
                  <a:pt x="120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2" y="48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0" y="60"/>
                </a:lnTo>
                <a:lnTo>
                  <a:pt x="90" y="60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84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6"/>
                </a:lnTo>
                <a:lnTo>
                  <a:pt x="60" y="66"/>
                </a:lnTo>
                <a:lnTo>
                  <a:pt x="54" y="66"/>
                </a:lnTo>
                <a:lnTo>
                  <a:pt x="54" y="66"/>
                </a:lnTo>
                <a:lnTo>
                  <a:pt x="54" y="72"/>
                </a:lnTo>
                <a:lnTo>
                  <a:pt x="54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54" y="66"/>
                </a:lnTo>
                <a:lnTo>
                  <a:pt x="48" y="66"/>
                </a:lnTo>
                <a:lnTo>
                  <a:pt x="48" y="66"/>
                </a:lnTo>
                <a:lnTo>
                  <a:pt x="48" y="60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2" y="66"/>
                </a:lnTo>
                <a:lnTo>
                  <a:pt x="42" y="66"/>
                </a:lnTo>
                <a:lnTo>
                  <a:pt x="36" y="72"/>
                </a:lnTo>
                <a:lnTo>
                  <a:pt x="36" y="72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6" y="66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6" y="72"/>
                </a:lnTo>
                <a:lnTo>
                  <a:pt x="6" y="72"/>
                </a:lnTo>
                <a:lnTo>
                  <a:pt x="0" y="78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67" name="Freeform 300"/>
          <p:cNvSpPr>
            <a:spLocks/>
          </p:cNvSpPr>
          <p:nvPr/>
        </p:nvSpPr>
        <p:spPr bwMode="auto">
          <a:xfrm>
            <a:off x="7648436" y="3627501"/>
            <a:ext cx="134905" cy="147754"/>
          </a:xfrm>
          <a:custGeom>
            <a:avLst/>
            <a:gdLst>
              <a:gd name="T0" fmla="*/ 6 w 126"/>
              <a:gd name="T1" fmla="*/ 126 h 138"/>
              <a:gd name="T2" fmla="*/ 6 w 126"/>
              <a:gd name="T3" fmla="*/ 120 h 138"/>
              <a:gd name="T4" fmla="*/ 6 w 126"/>
              <a:gd name="T5" fmla="*/ 114 h 138"/>
              <a:gd name="T6" fmla="*/ 12 w 126"/>
              <a:gd name="T7" fmla="*/ 108 h 138"/>
              <a:gd name="T8" fmla="*/ 12 w 126"/>
              <a:gd name="T9" fmla="*/ 102 h 138"/>
              <a:gd name="T10" fmla="*/ 12 w 126"/>
              <a:gd name="T11" fmla="*/ 96 h 138"/>
              <a:gd name="T12" fmla="*/ 12 w 126"/>
              <a:gd name="T13" fmla="*/ 84 h 138"/>
              <a:gd name="T14" fmla="*/ 6 w 126"/>
              <a:gd name="T15" fmla="*/ 84 h 138"/>
              <a:gd name="T16" fmla="*/ 12 w 126"/>
              <a:gd name="T17" fmla="*/ 78 h 138"/>
              <a:gd name="T18" fmla="*/ 6 w 126"/>
              <a:gd name="T19" fmla="*/ 72 h 138"/>
              <a:gd name="T20" fmla="*/ 12 w 126"/>
              <a:gd name="T21" fmla="*/ 66 h 138"/>
              <a:gd name="T22" fmla="*/ 12 w 126"/>
              <a:gd name="T23" fmla="*/ 66 h 138"/>
              <a:gd name="T24" fmla="*/ 18 w 126"/>
              <a:gd name="T25" fmla="*/ 54 h 138"/>
              <a:gd name="T26" fmla="*/ 18 w 126"/>
              <a:gd name="T27" fmla="*/ 48 h 138"/>
              <a:gd name="T28" fmla="*/ 24 w 126"/>
              <a:gd name="T29" fmla="*/ 42 h 138"/>
              <a:gd name="T30" fmla="*/ 30 w 126"/>
              <a:gd name="T31" fmla="*/ 36 h 138"/>
              <a:gd name="T32" fmla="*/ 30 w 126"/>
              <a:gd name="T33" fmla="*/ 36 h 138"/>
              <a:gd name="T34" fmla="*/ 42 w 126"/>
              <a:gd name="T35" fmla="*/ 36 h 138"/>
              <a:gd name="T36" fmla="*/ 48 w 126"/>
              <a:gd name="T37" fmla="*/ 36 h 138"/>
              <a:gd name="T38" fmla="*/ 54 w 126"/>
              <a:gd name="T39" fmla="*/ 30 h 138"/>
              <a:gd name="T40" fmla="*/ 54 w 126"/>
              <a:gd name="T41" fmla="*/ 24 h 138"/>
              <a:gd name="T42" fmla="*/ 48 w 126"/>
              <a:gd name="T43" fmla="*/ 18 h 138"/>
              <a:gd name="T44" fmla="*/ 48 w 126"/>
              <a:gd name="T45" fmla="*/ 12 h 138"/>
              <a:gd name="T46" fmla="*/ 54 w 126"/>
              <a:gd name="T47" fmla="*/ 6 h 138"/>
              <a:gd name="T48" fmla="*/ 60 w 126"/>
              <a:gd name="T49" fmla="*/ 0 h 138"/>
              <a:gd name="T50" fmla="*/ 60 w 126"/>
              <a:gd name="T51" fmla="*/ 12 h 138"/>
              <a:gd name="T52" fmla="*/ 66 w 126"/>
              <a:gd name="T53" fmla="*/ 12 h 138"/>
              <a:gd name="T54" fmla="*/ 66 w 126"/>
              <a:gd name="T55" fmla="*/ 18 h 138"/>
              <a:gd name="T56" fmla="*/ 66 w 126"/>
              <a:gd name="T57" fmla="*/ 18 h 138"/>
              <a:gd name="T58" fmla="*/ 72 w 126"/>
              <a:gd name="T59" fmla="*/ 30 h 138"/>
              <a:gd name="T60" fmla="*/ 72 w 126"/>
              <a:gd name="T61" fmla="*/ 36 h 138"/>
              <a:gd name="T62" fmla="*/ 78 w 126"/>
              <a:gd name="T63" fmla="*/ 48 h 138"/>
              <a:gd name="T64" fmla="*/ 72 w 126"/>
              <a:gd name="T65" fmla="*/ 54 h 138"/>
              <a:gd name="T66" fmla="*/ 78 w 126"/>
              <a:gd name="T67" fmla="*/ 66 h 138"/>
              <a:gd name="T68" fmla="*/ 78 w 126"/>
              <a:gd name="T69" fmla="*/ 72 h 138"/>
              <a:gd name="T70" fmla="*/ 84 w 126"/>
              <a:gd name="T71" fmla="*/ 72 h 138"/>
              <a:gd name="T72" fmla="*/ 90 w 126"/>
              <a:gd name="T73" fmla="*/ 78 h 138"/>
              <a:gd name="T74" fmla="*/ 102 w 126"/>
              <a:gd name="T75" fmla="*/ 78 h 138"/>
              <a:gd name="T76" fmla="*/ 108 w 126"/>
              <a:gd name="T77" fmla="*/ 84 h 138"/>
              <a:gd name="T78" fmla="*/ 114 w 126"/>
              <a:gd name="T79" fmla="*/ 84 h 138"/>
              <a:gd name="T80" fmla="*/ 120 w 126"/>
              <a:gd name="T81" fmla="*/ 84 h 138"/>
              <a:gd name="T82" fmla="*/ 126 w 126"/>
              <a:gd name="T83" fmla="*/ 84 h 138"/>
              <a:gd name="T84" fmla="*/ 126 w 126"/>
              <a:gd name="T85" fmla="*/ 90 h 138"/>
              <a:gd name="T86" fmla="*/ 120 w 126"/>
              <a:gd name="T87" fmla="*/ 102 h 138"/>
              <a:gd name="T88" fmla="*/ 114 w 126"/>
              <a:gd name="T89" fmla="*/ 108 h 138"/>
              <a:gd name="T90" fmla="*/ 108 w 126"/>
              <a:gd name="T91" fmla="*/ 108 h 138"/>
              <a:gd name="T92" fmla="*/ 102 w 126"/>
              <a:gd name="T93" fmla="*/ 108 h 138"/>
              <a:gd name="T94" fmla="*/ 90 w 126"/>
              <a:gd name="T95" fmla="*/ 108 h 138"/>
              <a:gd name="T96" fmla="*/ 90 w 126"/>
              <a:gd name="T97" fmla="*/ 120 h 138"/>
              <a:gd name="T98" fmla="*/ 84 w 126"/>
              <a:gd name="T99" fmla="*/ 126 h 138"/>
              <a:gd name="T100" fmla="*/ 78 w 126"/>
              <a:gd name="T101" fmla="*/ 132 h 138"/>
              <a:gd name="T102" fmla="*/ 72 w 126"/>
              <a:gd name="T103" fmla="*/ 132 h 138"/>
              <a:gd name="T104" fmla="*/ 72 w 126"/>
              <a:gd name="T105" fmla="*/ 138 h 138"/>
              <a:gd name="T106" fmla="*/ 60 w 126"/>
              <a:gd name="T107" fmla="*/ 138 h 138"/>
              <a:gd name="T108" fmla="*/ 48 w 126"/>
              <a:gd name="T109" fmla="*/ 132 h 138"/>
              <a:gd name="T110" fmla="*/ 42 w 126"/>
              <a:gd name="T111" fmla="*/ 138 h 138"/>
              <a:gd name="T112" fmla="*/ 36 w 126"/>
              <a:gd name="T113" fmla="*/ 126 h 138"/>
              <a:gd name="T114" fmla="*/ 30 w 126"/>
              <a:gd name="T115" fmla="*/ 126 h 138"/>
              <a:gd name="T116" fmla="*/ 24 w 126"/>
              <a:gd name="T117" fmla="*/ 132 h 138"/>
              <a:gd name="T118" fmla="*/ 12 w 126"/>
              <a:gd name="T119" fmla="*/ 132 h 138"/>
              <a:gd name="T120" fmla="*/ 6 w 126"/>
              <a:gd name="T121" fmla="*/ 132 h 138"/>
              <a:gd name="T122" fmla="*/ 0 w 126"/>
              <a:gd name="T123" fmla="*/ 132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26" h="138">
                <a:moveTo>
                  <a:pt x="0" y="126"/>
                </a:moveTo>
                <a:lnTo>
                  <a:pt x="0" y="126"/>
                </a:lnTo>
                <a:lnTo>
                  <a:pt x="0" y="126"/>
                </a:lnTo>
                <a:lnTo>
                  <a:pt x="0" y="126"/>
                </a:lnTo>
                <a:lnTo>
                  <a:pt x="0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12" y="114"/>
                </a:lnTo>
                <a:lnTo>
                  <a:pt x="12" y="114"/>
                </a:lnTo>
                <a:lnTo>
                  <a:pt x="18" y="114"/>
                </a:lnTo>
                <a:lnTo>
                  <a:pt x="18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6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2"/>
                </a:lnTo>
                <a:lnTo>
                  <a:pt x="12" y="72"/>
                </a:lnTo>
                <a:lnTo>
                  <a:pt x="6" y="72"/>
                </a:lnTo>
                <a:lnTo>
                  <a:pt x="12" y="72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6" y="66"/>
                </a:lnTo>
                <a:lnTo>
                  <a:pt x="6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8" y="60"/>
                </a:lnTo>
                <a:lnTo>
                  <a:pt x="18" y="60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2" y="54"/>
                </a:lnTo>
                <a:lnTo>
                  <a:pt x="18" y="54"/>
                </a:lnTo>
                <a:lnTo>
                  <a:pt x="18" y="54"/>
                </a:lnTo>
                <a:lnTo>
                  <a:pt x="18" y="48"/>
                </a:lnTo>
                <a:lnTo>
                  <a:pt x="12" y="48"/>
                </a:lnTo>
                <a:lnTo>
                  <a:pt x="18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2" y="18"/>
                </a:lnTo>
                <a:lnTo>
                  <a:pt x="42" y="12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12"/>
                </a:lnTo>
                <a:lnTo>
                  <a:pt x="60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0" y="18"/>
                </a:lnTo>
                <a:lnTo>
                  <a:pt x="60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8" y="36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8"/>
                </a:lnTo>
                <a:lnTo>
                  <a:pt x="78" y="48"/>
                </a:lnTo>
                <a:lnTo>
                  <a:pt x="72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2" y="54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6"/>
                </a:lnTo>
                <a:lnTo>
                  <a:pt x="78" y="66"/>
                </a:lnTo>
                <a:lnTo>
                  <a:pt x="72" y="66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84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0" y="90"/>
                </a:lnTo>
                <a:lnTo>
                  <a:pt x="126" y="90"/>
                </a:lnTo>
                <a:lnTo>
                  <a:pt x="126" y="90"/>
                </a:lnTo>
                <a:lnTo>
                  <a:pt x="126" y="90"/>
                </a:lnTo>
                <a:lnTo>
                  <a:pt x="120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2" y="114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0" y="114"/>
                </a:lnTo>
                <a:lnTo>
                  <a:pt x="90" y="108"/>
                </a:lnTo>
                <a:lnTo>
                  <a:pt x="90" y="108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84" y="114"/>
                </a:lnTo>
                <a:lnTo>
                  <a:pt x="84" y="114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84" y="120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78" y="126"/>
                </a:lnTo>
                <a:lnTo>
                  <a:pt x="78" y="126"/>
                </a:lnTo>
                <a:lnTo>
                  <a:pt x="78" y="132"/>
                </a:lnTo>
                <a:lnTo>
                  <a:pt x="78" y="132"/>
                </a:lnTo>
                <a:lnTo>
                  <a:pt x="78" y="132"/>
                </a:lnTo>
                <a:lnTo>
                  <a:pt x="78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8" y="132"/>
                </a:lnTo>
                <a:lnTo>
                  <a:pt x="72" y="132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66" y="132"/>
                </a:lnTo>
                <a:lnTo>
                  <a:pt x="66" y="138"/>
                </a:lnTo>
                <a:lnTo>
                  <a:pt x="66" y="138"/>
                </a:lnTo>
                <a:lnTo>
                  <a:pt x="66" y="138"/>
                </a:lnTo>
                <a:lnTo>
                  <a:pt x="60" y="138"/>
                </a:lnTo>
                <a:lnTo>
                  <a:pt x="60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2" y="132"/>
                </a:lnTo>
                <a:lnTo>
                  <a:pt x="42" y="132"/>
                </a:lnTo>
                <a:lnTo>
                  <a:pt x="48" y="132"/>
                </a:lnTo>
                <a:lnTo>
                  <a:pt x="42" y="138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36" y="132"/>
                </a:lnTo>
                <a:lnTo>
                  <a:pt x="36" y="126"/>
                </a:lnTo>
                <a:lnTo>
                  <a:pt x="36" y="126"/>
                </a:lnTo>
                <a:lnTo>
                  <a:pt x="36" y="132"/>
                </a:lnTo>
                <a:lnTo>
                  <a:pt x="36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6" y="132"/>
                </a:lnTo>
                <a:lnTo>
                  <a:pt x="6" y="132"/>
                </a:lnTo>
                <a:lnTo>
                  <a:pt x="6" y="132"/>
                </a:lnTo>
                <a:lnTo>
                  <a:pt x="6" y="132"/>
                </a:lnTo>
                <a:lnTo>
                  <a:pt x="6" y="132"/>
                </a:lnTo>
                <a:lnTo>
                  <a:pt x="0" y="132"/>
                </a:lnTo>
                <a:lnTo>
                  <a:pt x="0" y="132"/>
                </a:lnTo>
                <a:lnTo>
                  <a:pt x="0" y="132"/>
                </a:lnTo>
                <a:lnTo>
                  <a:pt x="0" y="132"/>
                </a:lnTo>
                <a:lnTo>
                  <a:pt x="0" y="132"/>
                </a:lnTo>
                <a:lnTo>
                  <a:pt x="0" y="12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68" name="Freeform 301"/>
          <p:cNvSpPr>
            <a:spLocks/>
          </p:cNvSpPr>
          <p:nvPr/>
        </p:nvSpPr>
        <p:spPr bwMode="auto">
          <a:xfrm>
            <a:off x="7230873" y="3338416"/>
            <a:ext cx="282658" cy="295508"/>
          </a:xfrm>
          <a:custGeom>
            <a:avLst/>
            <a:gdLst>
              <a:gd name="T0" fmla="*/ 18 w 264"/>
              <a:gd name="T1" fmla="*/ 24 h 276"/>
              <a:gd name="T2" fmla="*/ 30 w 264"/>
              <a:gd name="T3" fmla="*/ 6 h 276"/>
              <a:gd name="T4" fmla="*/ 36 w 264"/>
              <a:gd name="T5" fmla="*/ 0 h 276"/>
              <a:gd name="T6" fmla="*/ 42 w 264"/>
              <a:gd name="T7" fmla="*/ 6 h 276"/>
              <a:gd name="T8" fmla="*/ 48 w 264"/>
              <a:gd name="T9" fmla="*/ 6 h 276"/>
              <a:gd name="T10" fmla="*/ 48 w 264"/>
              <a:gd name="T11" fmla="*/ 12 h 276"/>
              <a:gd name="T12" fmla="*/ 72 w 264"/>
              <a:gd name="T13" fmla="*/ 12 h 276"/>
              <a:gd name="T14" fmla="*/ 78 w 264"/>
              <a:gd name="T15" fmla="*/ 18 h 276"/>
              <a:gd name="T16" fmla="*/ 102 w 264"/>
              <a:gd name="T17" fmla="*/ 30 h 276"/>
              <a:gd name="T18" fmla="*/ 120 w 264"/>
              <a:gd name="T19" fmla="*/ 36 h 276"/>
              <a:gd name="T20" fmla="*/ 138 w 264"/>
              <a:gd name="T21" fmla="*/ 24 h 276"/>
              <a:gd name="T22" fmla="*/ 150 w 264"/>
              <a:gd name="T23" fmla="*/ 18 h 276"/>
              <a:gd name="T24" fmla="*/ 156 w 264"/>
              <a:gd name="T25" fmla="*/ 12 h 276"/>
              <a:gd name="T26" fmla="*/ 162 w 264"/>
              <a:gd name="T27" fmla="*/ 54 h 276"/>
              <a:gd name="T28" fmla="*/ 156 w 264"/>
              <a:gd name="T29" fmla="*/ 78 h 276"/>
              <a:gd name="T30" fmla="*/ 168 w 264"/>
              <a:gd name="T31" fmla="*/ 96 h 276"/>
              <a:gd name="T32" fmla="*/ 174 w 264"/>
              <a:gd name="T33" fmla="*/ 90 h 276"/>
              <a:gd name="T34" fmla="*/ 186 w 264"/>
              <a:gd name="T35" fmla="*/ 84 h 276"/>
              <a:gd name="T36" fmla="*/ 198 w 264"/>
              <a:gd name="T37" fmla="*/ 90 h 276"/>
              <a:gd name="T38" fmla="*/ 210 w 264"/>
              <a:gd name="T39" fmla="*/ 90 h 276"/>
              <a:gd name="T40" fmla="*/ 216 w 264"/>
              <a:gd name="T41" fmla="*/ 102 h 276"/>
              <a:gd name="T42" fmla="*/ 222 w 264"/>
              <a:gd name="T43" fmla="*/ 108 h 276"/>
              <a:gd name="T44" fmla="*/ 234 w 264"/>
              <a:gd name="T45" fmla="*/ 120 h 276"/>
              <a:gd name="T46" fmla="*/ 228 w 264"/>
              <a:gd name="T47" fmla="*/ 132 h 276"/>
              <a:gd name="T48" fmla="*/ 240 w 264"/>
              <a:gd name="T49" fmla="*/ 132 h 276"/>
              <a:gd name="T50" fmla="*/ 252 w 264"/>
              <a:gd name="T51" fmla="*/ 120 h 276"/>
              <a:gd name="T52" fmla="*/ 252 w 264"/>
              <a:gd name="T53" fmla="*/ 144 h 276"/>
              <a:gd name="T54" fmla="*/ 258 w 264"/>
              <a:gd name="T55" fmla="*/ 150 h 276"/>
              <a:gd name="T56" fmla="*/ 252 w 264"/>
              <a:gd name="T57" fmla="*/ 162 h 276"/>
              <a:gd name="T58" fmla="*/ 240 w 264"/>
              <a:gd name="T59" fmla="*/ 186 h 276"/>
              <a:gd name="T60" fmla="*/ 246 w 264"/>
              <a:gd name="T61" fmla="*/ 210 h 276"/>
              <a:gd name="T62" fmla="*/ 258 w 264"/>
              <a:gd name="T63" fmla="*/ 228 h 276"/>
              <a:gd name="T64" fmla="*/ 258 w 264"/>
              <a:gd name="T65" fmla="*/ 246 h 276"/>
              <a:gd name="T66" fmla="*/ 234 w 264"/>
              <a:gd name="T67" fmla="*/ 264 h 276"/>
              <a:gd name="T68" fmla="*/ 222 w 264"/>
              <a:gd name="T69" fmla="*/ 252 h 276"/>
              <a:gd name="T70" fmla="*/ 216 w 264"/>
              <a:gd name="T71" fmla="*/ 264 h 276"/>
              <a:gd name="T72" fmla="*/ 204 w 264"/>
              <a:gd name="T73" fmla="*/ 270 h 276"/>
              <a:gd name="T74" fmla="*/ 186 w 264"/>
              <a:gd name="T75" fmla="*/ 270 h 276"/>
              <a:gd name="T76" fmla="*/ 168 w 264"/>
              <a:gd name="T77" fmla="*/ 264 h 276"/>
              <a:gd name="T78" fmla="*/ 162 w 264"/>
              <a:gd name="T79" fmla="*/ 258 h 276"/>
              <a:gd name="T80" fmla="*/ 156 w 264"/>
              <a:gd name="T81" fmla="*/ 246 h 276"/>
              <a:gd name="T82" fmla="*/ 138 w 264"/>
              <a:gd name="T83" fmla="*/ 252 h 276"/>
              <a:gd name="T84" fmla="*/ 120 w 264"/>
              <a:gd name="T85" fmla="*/ 246 h 276"/>
              <a:gd name="T86" fmla="*/ 108 w 264"/>
              <a:gd name="T87" fmla="*/ 240 h 276"/>
              <a:gd name="T88" fmla="*/ 108 w 264"/>
              <a:gd name="T89" fmla="*/ 228 h 276"/>
              <a:gd name="T90" fmla="*/ 108 w 264"/>
              <a:gd name="T91" fmla="*/ 222 h 276"/>
              <a:gd name="T92" fmla="*/ 114 w 264"/>
              <a:gd name="T93" fmla="*/ 216 h 276"/>
              <a:gd name="T94" fmla="*/ 108 w 264"/>
              <a:gd name="T95" fmla="*/ 204 h 276"/>
              <a:gd name="T96" fmla="*/ 114 w 264"/>
              <a:gd name="T97" fmla="*/ 198 h 276"/>
              <a:gd name="T98" fmla="*/ 102 w 264"/>
              <a:gd name="T99" fmla="*/ 186 h 276"/>
              <a:gd name="T100" fmla="*/ 96 w 264"/>
              <a:gd name="T101" fmla="*/ 174 h 276"/>
              <a:gd name="T102" fmla="*/ 102 w 264"/>
              <a:gd name="T103" fmla="*/ 156 h 276"/>
              <a:gd name="T104" fmla="*/ 108 w 264"/>
              <a:gd name="T105" fmla="*/ 138 h 276"/>
              <a:gd name="T106" fmla="*/ 96 w 264"/>
              <a:gd name="T107" fmla="*/ 132 h 276"/>
              <a:gd name="T108" fmla="*/ 96 w 264"/>
              <a:gd name="T109" fmla="*/ 120 h 276"/>
              <a:gd name="T110" fmla="*/ 84 w 264"/>
              <a:gd name="T111" fmla="*/ 108 h 276"/>
              <a:gd name="T112" fmla="*/ 66 w 264"/>
              <a:gd name="T113" fmla="*/ 108 h 276"/>
              <a:gd name="T114" fmla="*/ 48 w 264"/>
              <a:gd name="T115" fmla="*/ 90 h 276"/>
              <a:gd name="T116" fmla="*/ 36 w 264"/>
              <a:gd name="T117" fmla="*/ 84 h 276"/>
              <a:gd name="T118" fmla="*/ 42 w 264"/>
              <a:gd name="T119" fmla="*/ 72 h 276"/>
              <a:gd name="T120" fmla="*/ 48 w 264"/>
              <a:gd name="T121" fmla="*/ 66 h 276"/>
              <a:gd name="T122" fmla="*/ 36 w 264"/>
              <a:gd name="T123" fmla="*/ 48 h 276"/>
              <a:gd name="T124" fmla="*/ 6 w 264"/>
              <a:gd name="T125" fmla="*/ 42 h 2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64" h="276">
                <a:moveTo>
                  <a:pt x="0" y="36"/>
                </a:moveTo>
                <a:lnTo>
                  <a:pt x="0" y="36"/>
                </a:lnTo>
                <a:lnTo>
                  <a:pt x="0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12" y="24"/>
                </a:lnTo>
                <a:lnTo>
                  <a:pt x="12" y="24"/>
                </a:lnTo>
                <a:lnTo>
                  <a:pt x="18" y="24"/>
                </a:lnTo>
                <a:lnTo>
                  <a:pt x="18" y="30"/>
                </a:lnTo>
                <a:lnTo>
                  <a:pt x="18" y="30"/>
                </a:lnTo>
                <a:lnTo>
                  <a:pt x="18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30" y="12"/>
                </a:lnTo>
                <a:lnTo>
                  <a:pt x="30" y="12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6"/>
                </a:lnTo>
                <a:lnTo>
                  <a:pt x="48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8"/>
                </a:lnTo>
                <a:lnTo>
                  <a:pt x="78" y="12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84" y="18"/>
                </a:lnTo>
                <a:lnTo>
                  <a:pt x="78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90" y="18"/>
                </a:lnTo>
                <a:lnTo>
                  <a:pt x="90" y="18"/>
                </a:lnTo>
                <a:lnTo>
                  <a:pt x="90" y="24"/>
                </a:lnTo>
                <a:lnTo>
                  <a:pt x="90" y="24"/>
                </a:lnTo>
                <a:lnTo>
                  <a:pt x="96" y="24"/>
                </a:lnTo>
                <a:lnTo>
                  <a:pt x="96" y="24"/>
                </a:lnTo>
                <a:lnTo>
                  <a:pt x="102" y="30"/>
                </a:lnTo>
                <a:lnTo>
                  <a:pt x="102" y="30"/>
                </a:lnTo>
                <a:lnTo>
                  <a:pt x="102" y="36"/>
                </a:lnTo>
                <a:lnTo>
                  <a:pt x="102" y="36"/>
                </a:lnTo>
                <a:lnTo>
                  <a:pt x="108" y="36"/>
                </a:lnTo>
                <a:lnTo>
                  <a:pt x="114" y="30"/>
                </a:lnTo>
                <a:lnTo>
                  <a:pt x="114" y="30"/>
                </a:lnTo>
                <a:lnTo>
                  <a:pt x="114" y="36"/>
                </a:lnTo>
                <a:lnTo>
                  <a:pt x="114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6" y="36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32" y="30"/>
                </a:lnTo>
                <a:lnTo>
                  <a:pt x="132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24"/>
                </a:lnTo>
                <a:lnTo>
                  <a:pt x="138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18"/>
                </a:lnTo>
                <a:lnTo>
                  <a:pt x="144" y="24"/>
                </a:lnTo>
                <a:lnTo>
                  <a:pt x="144" y="24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6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6" y="12"/>
                </a:lnTo>
                <a:lnTo>
                  <a:pt x="150" y="12"/>
                </a:lnTo>
                <a:lnTo>
                  <a:pt x="156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6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8"/>
                </a:lnTo>
                <a:lnTo>
                  <a:pt x="162" y="24"/>
                </a:lnTo>
                <a:lnTo>
                  <a:pt x="162" y="24"/>
                </a:lnTo>
                <a:lnTo>
                  <a:pt x="162" y="30"/>
                </a:lnTo>
                <a:lnTo>
                  <a:pt x="156" y="36"/>
                </a:lnTo>
                <a:lnTo>
                  <a:pt x="156" y="36"/>
                </a:lnTo>
                <a:lnTo>
                  <a:pt x="162" y="42"/>
                </a:lnTo>
                <a:lnTo>
                  <a:pt x="162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48"/>
                </a:lnTo>
                <a:lnTo>
                  <a:pt x="156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54"/>
                </a:lnTo>
                <a:lnTo>
                  <a:pt x="162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0" y="60"/>
                </a:lnTo>
                <a:lnTo>
                  <a:pt x="150" y="60"/>
                </a:lnTo>
                <a:lnTo>
                  <a:pt x="150" y="60"/>
                </a:lnTo>
                <a:lnTo>
                  <a:pt x="150" y="60"/>
                </a:lnTo>
                <a:lnTo>
                  <a:pt x="156" y="66"/>
                </a:lnTo>
                <a:lnTo>
                  <a:pt x="150" y="66"/>
                </a:lnTo>
                <a:lnTo>
                  <a:pt x="150" y="72"/>
                </a:lnTo>
                <a:lnTo>
                  <a:pt x="156" y="72"/>
                </a:lnTo>
                <a:lnTo>
                  <a:pt x="156" y="78"/>
                </a:lnTo>
                <a:lnTo>
                  <a:pt x="156" y="78"/>
                </a:lnTo>
                <a:lnTo>
                  <a:pt x="156" y="78"/>
                </a:lnTo>
                <a:lnTo>
                  <a:pt x="156" y="84"/>
                </a:lnTo>
                <a:lnTo>
                  <a:pt x="156" y="84"/>
                </a:lnTo>
                <a:lnTo>
                  <a:pt x="162" y="84"/>
                </a:lnTo>
                <a:lnTo>
                  <a:pt x="168" y="90"/>
                </a:lnTo>
                <a:lnTo>
                  <a:pt x="168" y="90"/>
                </a:lnTo>
                <a:lnTo>
                  <a:pt x="168" y="90"/>
                </a:lnTo>
                <a:lnTo>
                  <a:pt x="162" y="90"/>
                </a:lnTo>
                <a:lnTo>
                  <a:pt x="162" y="96"/>
                </a:lnTo>
                <a:lnTo>
                  <a:pt x="162" y="96"/>
                </a:lnTo>
                <a:lnTo>
                  <a:pt x="168" y="96"/>
                </a:lnTo>
                <a:lnTo>
                  <a:pt x="168" y="96"/>
                </a:lnTo>
                <a:lnTo>
                  <a:pt x="168" y="96"/>
                </a:lnTo>
                <a:lnTo>
                  <a:pt x="168" y="90"/>
                </a:lnTo>
                <a:lnTo>
                  <a:pt x="168" y="96"/>
                </a:lnTo>
                <a:lnTo>
                  <a:pt x="168" y="90"/>
                </a:lnTo>
                <a:lnTo>
                  <a:pt x="168" y="90"/>
                </a:lnTo>
                <a:lnTo>
                  <a:pt x="168" y="90"/>
                </a:lnTo>
                <a:lnTo>
                  <a:pt x="168" y="90"/>
                </a:lnTo>
                <a:lnTo>
                  <a:pt x="168" y="96"/>
                </a:lnTo>
                <a:lnTo>
                  <a:pt x="168" y="90"/>
                </a:lnTo>
                <a:lnTo>
                  <a:pt x="168" y="96"/>
                </a:lnTo>
                <a:lnTo>
                  <a:pt x="168" y="90"/>
                </a:lnTo>
                <a:lnTo>
                  <a:pt x="168" y="90"/>
                </a:lnTo>
                <a:lnTo>
                  <a:pt x="168" y="90"/>
                </a:lnTo>
                <a:lnTo>
                  <a:pt x="168" y="90"/>
                </a:lnTo>
                <a:lnTo>
                  <a:pt x="174" y="90"/>
                </a:lnTo>
                <a:lnTo>
                  <a:pt x="174" y="90"/>
                </a:lnTo>
                <a:lnTo>
                  <a:pt x="174" y="90"/>
                </a:lnTo>
                <a:lnTo>
                  <a:pt x="174" y="90"/>
                </a:lnTo>
                <a:lnTo>
                  <a:pt x="174" y="90"/>
                </a:lnTo>
                <a:lnTo>
                  <a:pt x="174" y="90"/>
                </a:lnTo>
                <a:lnTo>
                  <a:pt x="174" y="90"/>
                </a:lnTo>
                <a:lnTo>
                  <a:pt x="174" y="90"/>
                </a:lnTo>
                <a:lnTo>
                  <a:pt x="174" y="90"/>
                </a:lnTo>
                <a:lnTo>
                  <a:pt x="174" y="90"/>
                </a:lnTo>
                <a:lnTo>
                  <a:pt x="180" y="90"/>
                </a:lnTo>
                <a:lnTo>
                  <a:pt x="180" y="90"/>
                </a:lnTo>
                <a:lnTo>
                  <a:pt x="180" y="90"/>
                </a:lnTo>
                <a:lnTo>
                  <a:pt x="180" y="90"/>
                </a:lnTo>
                <a:lnTo>
                  <a:pt x="180" y="90"/>
                </a:lnTo>
                <a:lnTo>
                  <a:pt x="180" y="84"/>
                </a:lnTo>
                <a:lnTo>
                  <a:pt x="186" y="84"/>
                </a:lnTo>
                <a:lnTo>
                  <a:pt x="186" y="84"/>
                </a:lnTo>
                <a:lnTo>
                  <a:pt x="186" y="84"/>
                </a:lnTo>
                <a:lnTo>
                  <a:pt x="186" y="84"/>
                </a:lnTo>
                <a:lnTo>
                  <a:pt x="192" y="84"/>
                </a:lnTo>
                <a:lnTo>
                  <a:pt x="192" y="84"/>
                </a:lnTo>
                <a:lnTo>
                  <a:pt x="192" y="84"/>
                </a:lnTo>
                <a:lnTo>
                  <a:pt x="192" y="84"/>
                </a:lnTo>
                <a:lnTo>
                  <a:pt x="198" y="90"/>
                </a:lnTo>
                <a:lnTo>
                  <a:pt x="198" y="90"/>
                </a:lnTo>
                <a:lnTo>
                  <a:pt x="192" y="90"/>
                </a:lnTo>
                <a:lnTo>
                  <a:pt x="192" y="90"/>
                </a:lnTo>
                <a:lnTo>
                  <a:pt x="192" y="90"/>
                </a:lnTo>
                <a:lnTo>
                  <a:pt x="192" y="90"/>
                </a:lnTo>
                <a:lnTo>
                  <a:pt x="198" y="90"/>
                </a:lnTo>
                <a:lnTo>
                  <a:pt x="198" y="90"/>
                </a:lnTo>
                <a:lnTo>
                  <a:pt x="198" y="90"/>
                </a:lnTo>
                <a:lnTo>
                  <a:pt x="198" y="90"/>
                </a:lnTo>
                <a:lnTo>
                  <a:pt x="198" y="90"/>
                </a:lnTo>
                <a:lnTo>
                  <a:pt x="198" y="84"/>
                </a:lnTo>
                <a:lnTo>
                  <a:pt x="198" y="84"/>
                </a:lnTo>
                <a:lnTo>
                  <a:pt x="198" y="84"/>
                </a:lnTo>
                <a:lnTo>
                  <a:pt x="204" y="84"/>
                </a:lnTo>
                <a:lnTo>
                  <a:pt x="204" y="84"/>
                </a:lnTo>
                <a:lnTo>
                  <a:pt x="204" y="84"/>
                </a:lnTo>
                <a:lnTo>
                  <a:pt x="204" y="84"/>
                </a:lnTo>
                <a:lnTo>
                  <a:pt x="204" y="84"/>
                </a:lnTo>
                <a:lnTo>
                  <a:pt x="204" y="84"/>
                </a:lnTo>
                <a:lnTo>
                  <a:pt x="204" y="84"/>
                </a:lnTo>
                <a:lnTo>
                  <a:pt x="210" y="84"/>
                </a:lnTo>
                <a:lnTo>
                  <a:pt x="210" y="84"/>
                </a:lnTo>
                <a:lnTo>
                  <a:pt x="210" y="90"/>
                </a:lnTo>
                <a:lnTo>
                  <a:pt x="210" y="90"/>
                </a:lnTo>
                <a:lnTo>
                  <a:pt x="210" y="96"/>
                </a:lnTo>
                <a:lnTo>
                  <a:pt x="210" y="96"/>
                </a:lnTo>
                <a:lnTo>
                  <a:pt x="210" y="96"/>
                </a:lnTo>
                <a:lnTo>
                  <a:pt x="210" y="96"/>
                </a:lnTo>
                <a:lnTo>
                  <a:pt x="210" y="102"/>
                </a:lnTo>
                <a:lnTo>
                  <a:pt x="210" y="102"/>
                </a:lnTo>
                <a:lnTo>
                  <a:pt x="210" y="96"/>
                </a:lnTo>
                <a:lnTo>
                  <a:pt x="210" y="96"/>
                </a:lnTo>
                <a:lnTo>
                  <a:pt x="210" y="96"/>
                </a:lnTo>
                <a:lnTo>
                  <a:pt x="210" y="96"/>
                </a:lnTo>
                <a:lnTo>
                  <a:pt x="216" y="96"/>
                </a:lnTo>
                <a:lnTo>
                  <a:pt x="216" y="96"/>
                </a:lnTo>
                <a:lnTo>
                  <a:pt x="216" y="96"/>
                </a:lnTo>
                <a:lnTo>
                  <a:pt x="216" y="96"/>
                </a:lnTo>
                <a:lnTo>
                  <a:pt x="216" y="102"/>
                </a:lnTo>
                <a:lnTo>
                  <a:pt x="216" y="102"/>
                </a:lnTo>
                <a:lnTo>
                  <a:pt x="216" y="102"/>
                </a:lnTo>
                <a:lnTo>
                  <a:pt x="216" y="102"/>
                </a:lnTo>
                <a:lnTo>
                  <a:pt x="216" y="102"/>
                </a:lnTo>
                <a:lnTo>
                  <a:pt x="216" y="108"/>
                </a:lnTo>
                <a:lnTo>
                  <a:pt x="216" y="108"/>
                </a:lnTo>
                <a:lnTo>
                  <a:pt x="216" y="108"/>
                </a:lnTo>
                <a:lnTo>
                  <a:pt x="216" y="108"/>
                </a:lnTo>
                <a:lnTo>
                  <a:pt x="216" y="108"/>
                </a:lnTo>
                <a:lnTo>
                  <a:pt x="216" y="108"/>
                </a:lnTo>
                <a:lnTo>
                  <a:pt x="216" y="108"/>
                </a:lnTo>
                <a:lnTo>
                  <a:pt x="216" y="108"/>
                </a:lnTo>
                <a:lnTo>
                  <a:pt x="222" y="108"/>
                </a:lnTo>
                <a:lnTo>
                  <a:pt x="222" y="108"/>
                </a:lnTo>
                <a:lnTo>
                  <a:pt x="222" y="108"/>
                </a:lnTo>
                <a:lnTo>
                  <a:pt x="222" y="108"/>
                </a:lnTo>
                <a:lnTo>
                  <a:pt x="222" y="108"/>
                </a:lnTo>
                <a:lnTo>
                  <a:pt x="222" y="108"/>
                </a:lnTo>
                <a:lnTo>
                  <a:pt x="222" y="108"/>
                </a:lnTo>
                <a:lnTo>
                  <a:pt x="222" y="108"/>
                </a:lnTo>
                <a:lnTo>
                  <a:pt x="222" y="108"/>
                </a:lnTo>
                <a:lnTo>
                  <a:pt x="222" y="108"/>
                </a:lnTo>
                <a:lnTo>
                  <a:pt x="222" y="108"/>
                </a:lnTo>
                <a:lnTo>
                  <a:pt x="222" y="108"/>
                </a:lnTo>
                <a:lnTo>
                  <a:pt x="228" y="120"/>
                </a:lnTo>
                <a:lnTo>
                  <a:pt x="228" y="120"/>
                </a:lnTo>
                <a:lnTo>
                  <a:pt x="228" y="120"/>
                </a:lnTo>
                <a:lnTo>
                  <a:pt x="228" y="120"/>
                </a:lnTo>
                <a:lnTo>
                  <a:pt x="234" y="120"/>
                </a:lnTo>
                <a:lnTo>
                  <a:pt x="234" y="120"/>
                </a:lnTo>
                <a:lnTo>
                  <a:pt x="234" y="126"/>
                </a:lnTo>
                <a:lnTo>
                  <a:pt x="228" y="132"/>
                </a:lnTo>
                <a:lnTo>
                  <a:pt x="228" y="132"/>
                </a:lnTo>
                <a:lnTo>
                  <a:pt x="222" y="132"/>
                </a:lnTo>
                <a:lnTo>
                  <a:pt x="222" y="132"/>
                </a:lnTo>
                <a:lnTo>
                  <a:pt x="222" y="132"/>
                </a:lnTo>
                <a:lnTo>
                  <a:pt x="222" y="132"/>
                </a:lnTo>
                <a:lnTo>
                  <a:pt x="222" y="138"/>
                </a:lnTo>
                <a:lnTo>
                  <a:pt x="222" y="138"/>
                </a:lnTo>
                <a:lnTo>
                  <a:pt x="222" y="132"/>
                </a:lnTo>
                <a:lnTo>
                  <a:pt x="222" y="132"/>
                </a:lnTo>
                <a:lnTo>
                  <a:pt x="228" y="132"/>
                </a:lnTo>
                <a:lnTo>
                  <a:pt x="228" y="132"/>
                </a:lnTo>
                <a:lnTo>
                  <a:pt x="228" y="132"/>
                </a:lnTo>
                <a:lnTo>
                  <a:pt x="228" y="132"/>
                </a:lnTo>
                <a:lnTo>
                  <a:pt x="228" y="132"/>
                </a:lnTo>
                <a:lnTo>
                  <a:pt x="228" y="132"/>
                </a:lnTo>
                <a:lnTo>
                  <a:pt x="228" y="132"/>
                </a:lnTo>
                <a:lnTo>
                  <a:pt x="228" y="138"/>
                </a:lnTo>
                <a:lnTo>
                  <a:pt x="228" y="132"/>
                </a:lnTo>
                <a:lnTo>
                  <a:pt x="234" y="132"/>
                </a:lnTo>
                <a:lnTo>
                  <a:pt x="234" y="132"/>
                </a:lnTo>
                <a:lnTo>
                  <a:pt x="234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46" y="132"/>
                </a:lnTo>
                <a:lnTo>
                  <a:pt x="246" y="126"/>
                </a:lnTo>
                <a:lnTo>
                  <a:pt x="246" y="126"/>
                </a:lnTo>
                <a:lnTo>
                  <a:pt x="246" y="126"/>
                </a:lnTo>
                <a:lnTo>
                  <a:pt x="246" y="126"/>
                </a:lnTo>
                <a:lnTo>
                  <a:pt x="246" y="120"/>
                </a:lnTo>
                <a:lnTo>
                  <a:pt x="252" y="120"/>
                </a:lnTo>
                <a:lnTo>
                  <a:pt x="252" y="120"/>
                </a:lnTo>
                <a:lnTo>
                  <a:pt x="252" y="120"/>
                </a:lnTo>
                <a:lnTo>
                  <a:pt x="252" y="120"/>
                </a:lnTo>
                <a:lnTo>
                  <a:pt x="252" y="120"/>
                </a:lnTo>
                <a:lnTo>
                  <a:pt x="252" y="120"/>
                </a:lnTo>
                <a:lnTo>
                  <a:pt x="258" y="120"/>
                </a:lnTo>
                <a:lnTo>
                  <a:pt x="258" y="120"/>
                </a:lnTo>
                <a:lnTo>
                  <a:pt x="258" y="126"/>
                </a:lnTo>
                <a:lnTo>
                  <a:pt x="258" y="126"/>
                </a:lnTo>
                <a:lnTo>
                  <a:pt x="258" y="126"/>
                </a:lnTo>
                <a:lnTo>
                  <a:pt x="258" y="126"/>
                </a:lnTo>
                <a:lnTo>
                  <a:pt x="258" y="126"/>
                </a:lnTo>
                <a:lnTo>
                  <a:pt x="258" y="132"/>
                </a:lnTo>
                <a:lnTo>
                  <a:pt x="252" y="132"/>
                </a:lnTo>
                <a:lnTo>
                  <a:pt x="252" y="132"/>
                </a:lnTo>
                <a:lnTo>
                  <a:pt x="252" y="138"/>
                </a:lnTo>
                <a:lnTo>
                  <a:pt x="252" y="138"/>
                </a:lnTo>
                <a:lnTo>
                  <a:pt x="252" y="138"/>
                </a:lnTo>
                <a:lnTo>
                  <a:pt x="252" y="144"/>
                </a:lnTo>
                <a:lnTo>
                  <a:pt x="252" y="144"/>
                </a:lnTo>
                <a:lnTo>
                  <a:pt x="258" y="144"/>
                </a:lnTo>
                <a:lnTo>
                  <a:pt x="258" y="144"/>
                </a:lnTo>
                <a:lnTo>
                  <a:pt x="258" y="144"/>
                </a:lnTo>
                <a:lnTo>
                  <a:pt x="258" y="144"/>
                </a:lnTo>
                <a:lnTo>
                  <a:pt x="264" y="144"/>
                </a:lnTo>
                <a:lnTo>
                  <a:pt x="264" y="150"/>
                </a:lnTo>
                <a:lnTo>
                  <a:pt x="258" y="150"/>
                </a:lnTo>
                <a:lnTo>
                  <a:pt x="264" y="150"/>
                </a:lnTo>
                <a:lnTo>
                  <a:pt x="258" y="150"/>
                </a:lnTo>
                <a:lnTo>
                  <a:pt x="258" y="150"/>
                </a:lnTo>
                <a:lnTo>
                  <a:pt x="258" y="150"/>
                </a:lnTo>
                <a:lnTo>
                  <a:pt x="258" y="150"/>
                </a:lnTo>
                <a:lnTo>
                  <a:pt x="258" y="150"/>
                </a:lnTo>
                <a:lnTo>
                  <a:pt x="258" y="150"/>
                </a:lnTo>
                <a:lnTo>
                  <a:pt x="258" y="150"/>
                </a:lnTo>
                <a:lnTo>
                  <a:pt x="258" y="150"/>
                </a:lnTo>
                <a:lnTo>
                  <a:pt x="258" y="156"/>
                </a:lnTo>
                <a:lnTo>
                  <a:pt x="252" y="156"/>
                </a:lnTo>
                <a:lnTo>
                  <a:pt x="252" y="156"/>
                </a:lnTo>
                <a:lnTo>
                  <a:pt x="252" y="156"/>
                </a:lnTo>
                <a:lnTo>
                  <a:pt x="252" y="156"/>
                </a:lnTo>
                <a:lnTo>
                  <a:pt x="252" y="156"/>
                </a:lnTo>
                <a:lnTo>
                  <a:pt x="252" y="156"/>
                </a:lnTo>
                <a:lnTo>
                  <a:pt x="252" y="156"/>
                </a:lnTo>
                <a:lnTo>
                  <a:pt x="252" y="156"/>
                </a:lnTo>
                <a:lnTo>
                  <a:pt x="252" y="156"/>
                </a:lnTo>
                <a:lnTo>
                  <a:pt x="252" y="156"/>
                </a:lnTo>
                <a:lnTo>
                  <a:pt x="252" y="162"/>
                </a:lnTo>
                <a:lnTo>
                  <a:pt x="252" y="162"/>
                </a:lnTo>
                <a:lnTo>
                  <a:pt x="252" y="162"/>
                </a:lnTo>
                <a:lnTo>
                  <a:pt x="252" y="162"/>
                </a:lnTo>
                <a:lnTo>
                  <a:pt x="252" y="162"/>
                </a:lnTo>
                <a:lnTo>
                  <a:pt x="252" y="162"/>
                </a:lnTo>
                <a:lnTo>
                  <a:pt x="252" y="162"/>
                </a:lnTo>
                <a:lnTo>
                  <a:pt x="246" y="162"/>
                </a:lnTo>
                <a:lnTo>
                  <a:pt x="246" y="162"/>
                </a:lnTo>
                <a:lnTo>
                  <a:pt x="246" y="168"/>
                </a:lnTo>
                <a:lnTo>
                  <a:pt x="246" y="168"/>
                </a:lnTo>
                <a:lnTo>
                  <a:pt x="240" y="174"/>
                </a:lnTo>
                <a:lnTo>
                  <a:pt x="240" y="174"/>
                </a:lnTo>
                <a:lnTo>
                  <a:pt x="240" y="174"/>
                </a:lnTo>
                <a:lnTo>
                  <a:pt x="240" y="180"/>
                </a:lnTo>
                <a:lnTo>
                  <a:pt x="240" y="180"/>
                </a:lnTo>
                <a:lnTo>
                  <a:pt x="240" y="186"/>
                </a:lnTo>
                <a:lnTo>
                  <a:pt x="240" y="186"/>
                </a:lnTo>
                <a:lnTo>
                  <a:pt x="234" y="192"/>
                </a:lnTo>
                <a:lnTo>
                  <a:pt x="240" y="192"/>
                </a:lnTo>
                <a:lnTo>
                  <a:pt x="240" y="192"/>
                </a:lnTo>
                <a:lnTo>
                  <a:pt x="234" y="198"/>
                </a:lnTo>
                <a:lnTo>
                  <a:pt x="234" y="198"/>
                </a:lnTo>
                <a:lnTo>
                  <a:pt x="234" y="198"/>
                </a:lnTo>
                <a:lnTo>
                  <a:pt x="234" y="204"/>
                </a:lnTo>
                <a:lnTo>
                  <a:pt x="234" y="204"/>
                </a:lnTo>
                <a:lnTo>
                  <a:pt x="240" y="204"/>
                </a:lnTo>
                <a:lnTo>
                  <a:pt x="240" y="204"/>
                </a:lnTo>
                <a:lnTo>
                  <a:pt x="240" y="210"/>
                </a:lnTo>
                <a:lnTo>
                  <a:pt x="240" y="210"/>
                </a:lnTo>
                <a:lnTo>
                  <a:pt x="240" y="210"/>
                </a:lnTo>
                <a:lnTo>
                  <a:pt x="240" y="210"/>
                </a:lnTo>
                <a:lnTo>
                  <a:pt x="246" y="210"/>
                </a:lnTo>
                <a:lnTo>
                  <a:pt x="246" y="216"/>
                </a:lnTo>
                <a:lnTo>
                  <a:pt x="246" y="216"/>
                </a:lnTo>
                <a:lnTo>
                  <a:pt x="246" y="216"/>
                </a:lnTo>
                <a:lnTo>
                  <a:pt x="252" y="216"/>
                </a:lnTo>
                <a:lnTo>
                  <a:pt x="252" y="216"/>
                </a:lnTo>
                <a:lnTo>
                  <a:pt x="258" y="216"/>
                </a:lnTo>
                <a:lnTo>
                  <a:pt x="258" y="216"/>
                </a:lnTo>
                <a:lnTo>
                  <a:pt x="258" y="216"/>
                </a:lnTo>
                <a:lnTo>
                  <a:pt x="258" y="222"/>
                </a:lnTo>
                <a:lnTo>
                  <a:pt x="258" y="222"/>
                </a:lnTo>
                <a:lnTo>
                  <a:pt x="258" y="222"/>
                </a:lnTo>
                <a:lnTo>
                  <a:pt x="258" y="222"/>
                </a:lnTo>
                <a:lnTo>
                  <a:pt x="258" y="228"/>
                </a:lnTo>
                <a:lnTo>
                  <a:pt x="258" y="228"/>
                </a:lnTo>
                <a:lnTo>
                  <a:pt x="258" y="228"/>
                </a:lnTo>
                <a:lnTo>
                  <a:pt x="258" y="228"/>
                </a:lnTo>
                <a:lnTo>
                  <a:pt x="258" y="228"/>
                </a:lnTo>
                <a:lnTo>
                  <a:pt x="258" y="228"/>
                </a:lnTo>
                <a:lnTo>
                  <a:pt x="258" y="228"/>
                </a:lnTo>
                <a:lnTo>
                  <a:pt x="258" y="228"/>
                </a:lnTo>
                <a:lnTo>
                  <a:pt x="258" y="234"/>
                </a:lnTo>
                <a:lnTo>
                  <a:pt x="258" y="234"/>
                </a:lnTo>
                <a:lnTo>
                  <a:pt x="258" y="234"/>
                </a:lnTo>
                <a:lnTo>
                  <a:pt x="258" y="234"/>
                </a:lnTo>
                <a:lnTo>
                  <a:pt x="258" y="234"/>
                </a:lnTo>
                <a:lnTo>
                  <a:pt x="258" y="240"/>
                </a:lnTo>
                <a:lnTo>
                  <a:pt x="258" y="240"/>
                </a:lnTo>
                <a:lnTo>
                  <a:pt x="258" y="240"/>
                </a:lnTo>
                <a:lnTo>
                  <a:pt x="258" y="246"/>
                </a:lnTo>
                <a:lnTo>
                  <a:pt x="258" y="246"/>
                </a:lnTo>
                <a:lnTo>
                  <a:pt x="252" y="246"/>
                </a:lnTo>
                <a:lnTo>
                  <a:pt x="252" y="246"/>
                </a:lnTo>
                <a:lnTo>
                  <a:pt x="246" y="246"/>
                </a:lnTo>
                <a:lnTo>
                  <a:pt x="246" y="246"/>
                </a:lnTo>
                <a:lnTo>
                  <a:pt x="246" y="246"/>
                </a:lnTo>
                <a:lnTo>
                  <a:pt x="246" y="252"/>
                </a:lnTo>
                <a:lnTo>
                  <a:pt x="246" y="258"/>
                </a:lnTo>
                <a:lnTo>
                  <a:pt x="246" y="258"/>
                </a:lnTo>
                <a:lnTo>
                  <a:pt x="246" y="258"/>
                </a:lnTo>
                <a:lnTo>
                  <a:pt x="240" y="258"/>
                </a:lnTo>
                <a:lnTo>
                  <a:pt x="240" y="258"/>
                </a:lnTo>
                <a:lnTo>
                  <a:pt x="240" y="264"/>
                </a:lnTo>
                <a:lnTo>
                  <a:pt x="240" y="264"/>
                </a:lnTo>
                <a:lnTo>
                  <a:pt x="240" y="264"/>
                </a:lnTo>
                <a:lnTo>
                  <a:pt x="234" y="264"/>
                </a:lnTo>
                <a:lnTo>
                  <a:pt x="234" y="264"/>
                </a:lnTo>
                <a:lnTo>
                  <a:pt x="234" y="264"/>
                </a:lnTo>
                <a:lnTo>
                  <a:pt x="234" y="264"/>
                </a:lnTo>
                <a:lnTo>
                  <a:pt x="228" y="264"/>
                </a:lnTo>
                <a:lnTo>
                  <a:pt x="228" y="264"/>
                </a:lnTo>
                <a:lnTo>
                  <a:pt x="228" y="258"/>
                </a:lnTo>
                <a:lnTo>
                  <a:pt x="228" y="258"/>
                </a:lnTo>
                <a:lnTo>
                  <a:pt x="228" y="252"/>
                </a:lnTo>
                <a:lnTo>
                  <a:pt x="228" y="252"/>
                </a:lnTo>
                <a:lnTo>
                  <a:pt x="228" y="252"/>
                </a:lnTo>
                <a:lnTo>
                  <a:pt x="228" y="252"/>
                </a:lnTo>
                <a:lnTo>
                  <a:pt x="222" y="246"/>
                </a:lnTo>
                <a:lnTo>
                  <a:pt x="228" y="252"/>
                </a:lnTo>
                <a:lnTo>
                  <a:pt x="228" y="252"/>
                </a:lnTo>
                <a:lnTo>
                  <a:pt x="222" y="252"/>
                </a:lnTo>
                <a:lnTo>
                  <a:pt x="222" y="252"/>
                </a:lnTo>
                <a:lnTo>
                  <a:pt x="222" y="252"/>
                </a:lnTo>
                <a:lnTo>
                  <a:pt x="222" y="252"/>
                </a:lnTo>
                <a:lnTo>
                  <a:pt x="222" y="252"/>
                </a:lnTo>
                <a:lnTo>
                  <a:pt x="222" y="252"/>
                </a:lnTo>
                <a:lnTo>
                  <a:pt x="222" y="258"/>
                </a:lnTo>
                <a:lnTo>
                  <a:pt x="222" y="252"/>
                </a:lnTo>
                <a:lnTo>
                  <a:pt x="216" y="252"/>
                </a:lnTo>
                <a:lnTo>
                  <a:pt x="216" y="258"/>
                </a:lnTo>
                <a:lnTo>
                  <a:pt x="216" y="258"/>
                </a:lnTo>
                <a:lnTo>
                  <a:pt x="216" y="258"/>
                </a:lnTo>
                <a:lnTo>
                  <a:pt x="216" y="264"/>
                </a:lnTo>
                <a:lnTo>
                  <a:pt x="216" y="264"/>
                </a:lnTo>
                <a:lnTo>
                  <a:pt x="216" y="264"/>
                </a:lnTo>
                <a:lnTo>
                  <a:pt x="216" y="264"/>
                </a:lnTo>
                <a:lnTo>
                  <a:pt x="216" y="264"/>
                </a:lnTo>
                <a:lnTo>
                  <a:pt x="216" y="264"/>
                </a:lnTo>
                <a:lnTo>
                  <a:pt x="210" y="264"/>
                </a:lnTo>
                <a:lnTo>
                  <a:pt x="210" y="264"/>
                </a:lnTo>
                <a:lnTo>
                  <a:pt x="210" y="264"/>
                </a:lnTo>
                <a:lnTo>
                  <a:pt x="210" y="264"/>
                </a:lnTo>
                <a:lnTo>
                  <a:pt x="210" y="264"/>
                </a:lnTo>
                <a:lnTo>
                  <a:pt x="210" y="270"/>
                </a:lnTo>
                <a:lnTo>
                  <a:pt x="210" y="264"/>
                </a:lnTo>
                <a:lnTo>
                  <a:pt x="210" y="270"/>
                </a:lnTo>
                <a:lnTo>
                  <a:pt x="204" y="264"/>
                </a:lnTo>
                <a:lnTo>
                  <a:pt x="204" y="264"/>
                </a:lnTo>
                <a:lnTo>
                  <a:pt x="204" y="270"/>
                </a:lnTo>
                <a:lnTo>
                  <a:pt x="204" y="270"/>
                </a:lnTo>
                <a:lnTo>
                  <a:pt x="204" y="270"/>
                </a:lnTo>
                <a:lnTo>
                  <a:pt x="204" y="270"/>
                </a:lnTo>
                <a:lnTo>
                  <a:pt x="204" y="270"/>
                </a:lnTo>
                <a:lnTo>
                  <a:pt x="204" y="270"/>
                </a:lnTo>
                <a:lnTo>
                  <a:pt x="198" y="270"/>
                </a:lnTo>
                <a:lnTo>
                  <a:pt x="198" y="276"/>
                </a:lnTo>
                <a:lnTo>
                  <a:pt x="198" y="276"/>
                </a:lnTo>
                <a:lnTo>
                  <a:pt x="192" y="276"/>
                </a:lnTo>
                <a:lnTo>
                  <a:pt x="192" y="276"/>
                </a:lnTo>
                <a:lnTo>
                  <a:pt x="192" y="270"/>
                </a:lnTo>
                <a:lnTo>
                  <a:pt x="192" y="270"/>
                </a:lnTo>
                <a:lnTo>
                  <a:pt x="192" y="276"/>
                </a:lnTo>
                <a:lnTo>
                  <a:pt x="186" y="270"/>
                </a:lnTo>
                <a:lnTo>
                  <a:pt x="186" y="270"/>
                </a:lnTo>
                <a:lnTo>
                  <a:pt x="186" y="270"/>
                </a:lnTo>
                <a:lnTo>
                  <a:pt x="186" y="270"/>
                </a:lnTo>
                <a:lnTo>
                  <a:pt x="186" y="270"/>
                </a:lnTo>
                <a:lnTo>
                  <a:pt x="186" y="270"/>
                </a:lnTo>
                <a:lnTo>
                  <a:pt x="180" y="270"/>
                </a:lnTo>
                <a:lnTo>
                  <a:pt x="180" y="270"/>
                </a:lnTo>
                <a:lnTo>
                  <a:pt x="180" y="270"/>
                </a:lnTo>
                <a:lnTo>
                  <a:pt x="180" y="270"/>
                </a:lnTo>
                <a:lnTo>
                  <a:pt x="180" y="270"/>
                </a:lnTo>
                <a:lnTo>
                  <a:pt x="180" y="270"/>
                </a:lnTo>
                <a:lnTo>
                  <a:pt x="174" y="264"/>
                </a:lnTo>
                <a:lnTo>
                  <a:pt x="174" y="264"/>
                </a:lnTo>
                <a:lnTo>
                  <a:pt x="174" y="264"/>
                </a:lnTo>
                <a:lnTo>
                  <a:pt x="174" y="270"/>
                </a:lnTo>
                <a:lnTo>
                  <a:pt x="174" y="264"/>
                </a:lnTo>
                <a:lnTo>
                  <a:pt x="168" y="264"/>
                </a:lnTo>
                <a:lnTo>
                  <a:pt x="168" y="264"/>
                </a:lnTo>
                <a:lnTo>
                  <a:pt x="168" y="264"/>
                </a:lnTo>
                <a:lnTo>
                  <a:pt x="168" y="264"/>
                </a:lnTo>
                <a:lnTo>
                  <a:pt x="168" y="264"/>
                </a:lnTo>
                <a:lnTo>
                  <a:pt x="168" y="264"/>
                </a:lnTo>
                <a:lnTo>
                  <a:pt x="168" y="264"/>
                </a:lnTo>
                <a:lnTo>
                  <a:pt x="168" y="264"/>
                </a:lnTo>
                <a:lnTo>
                  <a:pt x="168" y="264"/>
                </a:lnTo>
                <a:lnTo>
                  <a:pt x="162" y="264"/>
                </a:lnTo>
                <a:lnTo>
                  <a:pt x="162" y="264"/>
                </a:lnTo>
                <a:lnTo>
                  <a:pt x="162" y="258"/>
                </a:lnTo>
                <a:lnTo>
                  <a:pt x="162" y="258"/>
                </a:lnTo>
                <a:lnTo>
                  <a:pt x="162" y="258"/>
                </a:lnTo>
                <a:lnTo>
                  <a:pt x="162" y="258"/>
                </a:lnTo>
                <a:lnTo>
                  <a:pt x="162" y="258"/>
                </a:lnTo>
                <a:lnTo>
                  <a:pt x="162" y="258"/>
                </a:lnTo>
                <a:lnTo>
                  <a:pt x="162" y="258"/>
                </a:lnTo>
                <a:lnTo>
                  <a:pt x="162" y="252"/>
                </a:lnTo>
                <a:lnTo>
                  <a:pt x="162" y="252"/>
                </a:lnTo>
                <a:lnTo>
                  <a:pt x="162" y="252"/>
                </a:lnTo>
                <a:lnTo>
                  <a:pt x="162" y="252"/>
                </a:lnTo>
                <a:lnTo>
                  <a:pt x="156" y="252"/>
                </a:lnTo>
                <a:lnTo>
                  <a:pt x="156" y="252"/>
                </a:lnTo>
                <a:lnTo>
                  <a:pt x="156" y="252"/>
                </a:lnTo>
                <a:lnTo>
                  <a:pt x="156" y="252"/>
                </a:lnTo>
                <a:lnTo>
                  <a:pt x="156" y="252"/>
                </a:lnTo>
                <a:lnTo>
                  <a:pt x="156" y="252"/>
                </a:lnTo>
                <a:lnTo>
                  <a:pt x="156" y="252"/>
                </a:lnTo>
                <a:lnTo>
                  <a:pt x="156" y="252"/>
                </a:lnTo>
                <a:lnTo>
                  <a:pt x="150" y="252"/>
                </a:lnTo>
                <a:lnTo>
                  <a:pt x="156" y="246"/>
                </a:lnTo>
                <a:lnTo>
                  <a:pt x="150" y="246"/>
                </a:lnTo>
                <a:lnTo>
                  <a:pt x="150" y="246"/>
                </a:lnTo>
                <a:lnTo>
                  <a:pt x="150" y="246"/>
                </a:lnTo>
                <a:lnTo>
                  <a:pt x="144" y="252"/>
                </a:lnTo>
                <a:lnTo>
                  <a:pt x="144" y="252"/>
                </a:lnTo>
                <a:lnTo>
                  <a:pt x="144" y="252"/>
                </a:lnTo>
                <a:lnTo>
                  <a:pt x="138" y="252"/>
                </a:lnTo>
                <a:lnTo>
                  <a:pt x="138" y="252"/>
                </a:lnTo>
                <a:lnTo>
                  <a:pt x="138" y="252"/>
                </a:lnTo>
                <a:lnTo>
                  <a:pt x="138" y="258"/>
                </a:lnTo>
                <a:lnTo>
                  <a:pt x="138" y="252"/>
                </a:lnTo>
                <a:lnTo>
                  <a:pt x="138" y="252"/>
                </a:lnTo>
                <a:lnTo>
                  <a:pt x="138" y="252"/>
                </a:lnTo>
                <a:lnTo>
                  <a:pt x="138" y="252"/>
                </a:lnTo>
                <a:lnTo>
                  <a:pt x="138" y="252"/>
                </a:lnTo>
                <a:lnTo>
                  <a:pt x="138" y="252"/>
                </a:lnTo>
                <a:lnTo>
                  <a:pt x="132" y="252"/>
                </a:lnTo>
                <a:lnTo>
                  <a:pt x="132" y="252"/>
                </a:lnTo>
                <a:lnTo>
                  <a:pt x="132" y="252"/>
                </a:lnTo>
                <a:lnTo>
                  <a:pt x="132" y="258"/>
                </a:lnTo>
                <a:lnTo>
                  <a:pt x="132" y="252"/>
                </a:lnTo>
                <a:lnTo>
                  <a:pt x="126" y="252"/>
                </a:lnTo>
                <a:lnTo>
                  <a:pt x="126" y="252"/>
                </a:lnTo>
                <a:lnTo>
                  <a:pt x="126" y="246"/>
                </a:lnTo>
                <a:lnTo>
                  <a:pt x="120" y="246"/>
                </a:lnTo>
                <a:lnTo>
                  <a:pt x="120" y="246"/>
                </a:lnTo>
                <a:lnTo>
                  <a:pt x="120" y="246"/>
                </a:lnTo>
                <a:lnTo>
                  <a:pt x="120" y="246"/>
                </a:lnTo>
                <a:lnTo>
                  <a:pt x="120" y="246"/>
                </a:lnTo>
                <a:lnTo>
                  <a:pt x="120" y="246"/>
                </a:lnTo>
                <a:lnTo>
                  <a:pt x="120" y="246"/>
                </a:lnTo>
                <a:lnTo>
                  <a:pt x="114" y="240"/>
                </a:lnTo>
                <a:lnTo>
                  <a:pt x="114" y="246"/>
                </a:lnTo>
                <a:lnTo>
                  <a:pt x="114" y="246"/>
                </a:lnTo>
                <a:lnTo>
                  <a:pt x="108" y="246"/>
                </a:lnTo>
                <a:lnTo>
                  <a:pt x="108" y="246"/>
                </a:lnTo>
                <a:lnTo>
                  <a:pt x="108" y="246"/>
                </a:lnTo>
                <a:lnTo>
                  <a:pt x="108" y="246"/>
                </a:lnTo>
                <a:lnTo>
                  <a:pt x="108" y="246"/>
                </a:lnTo>
                <a:lnTo>
                  <a:pt x="102" y="246"/>
                </a:lnTo>
                <a:lnTo>
                  <a:pt x="108" y="240"/>
                </a:lnTo>
                <a:lnTo>
                  <a:pt x="102" y="240"/>
                </a:lnTo>
                <a:lnTo>
                  <a:pt x="108" y="240"/>
                </a:lnTo>
                <a:lnTo>
                  <a:pt x="108" y="240"/>
                </a:lnTo>
                <a:lnTo>
                  <a:pt x="108" y="240"/>
                </a:lnTo>
                <a:lnTo>
                  <a:pt x="108" y="240"/>
                </a:lnTo>
                <a:lnTo>
                  <a:pt x="108" y="240"/>
                </a:lnTo>
                <a:lnTo>
                  <a:pt x="108" y="234"/>
                </a:lnTo>
                <a:lnTo>
                  <a:pt x="108" y="234"/>
                </a:lnTo>
                <a:lnTo>
                  <a:pt x="108" y="234"/>
                </a:lnTo>
                <a:lnTo>
                  <a:pt x="108" y="234"/>
                </a:lnTo>
                <a:lnTo>
                  <a:pt x="108" y="234"/>
                </a:lnTo>
                <a:lnTo>
                  <a:pt x="108" y="234"/>
                </a:lnTo>
                <a:lnTo>
                  <a:pt x="108" y="228"/>
                </a:lnTo>
                <a:lnTo>
                  <a:pt x="108" y="228"/>
                </a:lnTo>
                <a:lnTo>
                  <a:pt x="108" y="228"/>
                </a:lnTo>
                <a:lnTo>
                  <a:pt x="108" y="228"/>
                </a:lnTo>
                <a:lnTo>
                  <a:pt x="108" y="228"/>
                </a:lnTo>
                <a:lnTo>
                  <a:pt x="108" y="228"/>
                </a:lnTo>
                <a:lnTo>
                  <a:pt x="108" y="228"/>
                </a:lnTo>
                <a:lnTo>
                  <a:pt x="108" y="228"/>
                </a:lnTo>
                <a:lnTo>
                  <a:pt x="114" y="228"/>
                </a:lnTo>
                <a:lnTo>
                  <a:pt x="114" y="228"/>
                </a:lnTo>
                <a:lnTo>
                  <a:pt x="114" y="228"/>
                </a:lnTo>
                <a:lnTo>
                  <a:pt x="114" y="228"/>
                </a:lnTo>
                <a:lnTo>
                  <a:pt x="114" y="228"/>
                </a:lnTo>
                <a:lnTo>
                  <a:pt x="114" y="228"/>
                </a:lnTo>
                <a:lnTo>
                  <a:pt x="108" y="228"/>
                </a:lnTo>
                <a:lnTo>
                  <a:pt x="108" y="222"/>
                </a:lnTo>
                <a:lnTo>
                  <a:pt x="108" y="222"/>
                </a:lnTo>
                <a:lnTo>
                  <a:pt x="108" y="222"/>
                </a:lnTo>
                <a:lnTo>
                  <a:pt x="108" y="222"/>
                </a:lnTo>
                <a:lnTo>
                  <a:pt x="108" y="222"/>
                </a:lnTo>
                <a:lnTo>
                  <a:pt x="108" y="222"/>
                </a:lnTo>
                <a:lnTo>
                  <a:pt x="108" y="222"/>
                </a:lnTo>
                <a:lnTo>
                  <a:pt x="108" y="222"/>
                </a:lnTo>
                <a:lnTo>
                  <a:pt x="108" y="222"/>
                </a:lnTo>
                <a:lnTo>
                  <a:pt x="108" y="222"/>
                </a:lnTo>
                <a:lnTo>
                  <a:pt x="108" y="222"/>
                </a:lnTo>
                <a:lnTo>
                  <a:pt x="114" y="222"/>
                </a:lnTo>
                <a:lnTo>
                  <a:pt x="114" y="216"/>
                </a:lnTo>
                <a:lnTo>
                  <a:pt x="114" y="216"/>
                </a:lnTo>
                <a:lnTo>
                  <a:pt x="114" y="216"/>
                </a:lnTo>
                <a:lnTo>
                  <a:pt x="114" y="216"/>
                </a:lnTo>
                <a:lnTo>
                  <a:pt x="114" y="216"/>
                </a:lnTo>
                <a:lnTo>
                  <a:pt x="114" y="216"/>
                </a:lnTo>
                <a:lnTo>
                  <a:pt x="114" y="216"/>
                </a:lnTo>
                <a:lnTo>
                  <a:pt x="114" y="216"/>
                </a:lnTo>
                <a:lnTo>
                  <a:pt x="114" y="216"/>
                </a:lnTo>
                <a:lnTo>
                  <a:pt x="114" y="216"/>
                </a:lnTo>
                <a:lnTo>
                  <a:pt x="114" y="210"/>
                </a:lnTo>
                <a:lnTo>
                  <a:pt x="114" y="216"/>
                </a:lnTo>
                <a:lnTo>
                  <a:pt x="114" y="210"/>
                </a:lnTo>
                <a:lnTo>
                  <a:pt x="114" y="210"/>
                </a:lnTo>
                <a:lnTo>
                  <a:pt x="114" y="210"/>
                </a:lnTo>
                <a:lnTo>
                  <a:pt x="114" y="210"/>
                </a:lnTo>
                <a:lnTo>
                  <a:pt x="114" y="210"/>
                </a:lnTo>
                <a:lnTo>
                  <a:pt x="108" y="210"/>
                </a:lnTo>
                <a:lnTo>
                  <a:pt x="108" y="210"/>
                </a:lnTo>
                <a:lnTo>
                  <a:pt x="108" y="210"/>
                </a:lnTo>
                <a:lnTo>
                  <a:pt x="108" y="210"/>
                </a:lnTo>
                <a:lnTo>
                  <a:pt x="108" y="204"/>
                </a:lnTo>
                <a:lnTo>
                  <a:pt x="108" y="204"/>
                </a:lnTo>
                <a:lnTo>
                  <a:pt x="108" y="204"/>
                </a:lnTo>
                <a:lnTo>
                  <a:pt x="108" y="204"/>
                </a:lnTo>
                <a:lnTo>
                  <a:pt x="108" y="204"/>
                </a:lnTo>
                <a:lnTo>
                  <a:pt x="108" y="204"/>
                </a:lnTo>
                <a:lnTo>
                  <a:pt x="108" y="204"/>
                </a:lnTo>
                <a:lnTo>
                  <a:pt x="108" y="204"/>
                </a:lnTo>
                <a:lnTo>
                  <a:pt x="114" y="204"/>
                </a:lnTo>
                <a:lnTo>
                  <a:pt x="114" y="204"/>
                </a:lnTo>
                <a:lnTo>
                  <a:pt x="114" y="204"/>
                </a:lnTo>
                <a:lnTo>
                  <a:pt x="114" y="204"/>
                </a:lnTo>
                <a:lnTo>
                  <a:pt x="114" y="204"/>
                </a:lnTo>
                <a:lnTo>
                  <a:pt x="114" y="204"/>
                </a:lnTo>
                <a:lnTo>
                  <a:pt x="114" y="204"/>
                </a:lnTo>
                <a:lnTo>
                  <a:pt x="114" y="198"/>
                </a:lnTo>
                <a:lnTo>
                  <a:pt x="114" y="198"/>
                </a:lnTo>
                <a:lnTo>
                  <a:pt x="114" y="198"/>
                </a:lnTo>
                <a:lnTo>
                  <a:pt x="114" y="198"/>
                </a:lnTo>
                <a:lnTo>
                  <a:pt x="114" y="192"/>
                </a:lnTo>
                <a:lnTo>
                  <a:pt x="114" y="192"/>
                </a:lnTo>
                <a:lnTo>
                  <a:pt x="114" y="192"/>
                </a:lnTo>
                <a:lnTo>
                  <a:pt x="114" y="192"/>
                </a:lnTo>
                <a:lnTo>
                  <a:pt x="114" y="192"/>
                </a:lnTo>
                <a:lnTo>
                  <a:pt x="114" y="192"/>
                </a:lnTo>
                <a:lnTo>
                  <a:pt x="114" y="192"/>
                </a:lnTo>
                <a:lnTo>
                  <a:pt x="114" y="186"/>
                </a:lnTo>
                <a:lnTo>
                  <a:pt x="108" y="192"/>
                </a:lnTo>
                <a:lnTo>
                  <a:pt x="108" y="186"/>
                </a:lnTo>
                <a:lnTo>
                  <a:pt x="108" y="186"/>
                </a:lnTo>
                <a:lnTo>
                  <a:pt x="108" y="186"/>
                </a:lnTo>
                <a:lnTo>
                  <a:pt x="108" y="186"/>
                </a:lnTo>
                <a:lnTo>
                  <a:pt x="102" y="186"/>
                </a:lnTo>
                <a:lnTo>
                  <a:pt x="102" y="186"/>
                </a:lnTo>
                <a:lnTo>
                  <a:pt x="102" y="186"/>
                </a:lnTo>
                <a:lnTo>
                  <a:pt x="102" y="186"/>
                </a:lnTo>
                <a:lnTo>
                  <a:pt x="102" y="186"/>
                </a:lnTo>
                <a:lnTo>
                  <a:pt x="102" y="186"/>
                </a:lnTo>
                <a:lnTo>
                  <a:pt x="102" y="180"/>
                </a:lnTo>
                <a:lnTo>
                  <a:pt x="102" y="180"/>
                </a:lnTo>
                <a:lnTo>
                  <a:pt x="102" y="180"/>
                </a:lnTo>
                <a:lnTo>
                  <a:pt x="96" y="180"/>
                </a:lnTo>
                <a:lnTo>
                  <a:pt x="102" y="180"/>
                </a:lnTo>
                <a:lnTo>
                  <a:pt x="96" y="180"/>
                </a:lnTo>
                <a:lnTo>
                  <a:pt x="96" y="180"/>
                </a:lnTo>
                <a:lnTo>
                  <a:pt x="96" y="180"/>
                </a:lnTo>
                <a:lnTo>
                  <a:pt x="96" y="180"/>
                </a:lnTo>
                <a:lnTo>
                  <a:pt x="96" y="174"/>
                </a:lnTo>
                <a:lnTo>
                  <a:pt x="96" y="174"/>
                </a:lnTo>
                <a:lnTo>
                  <a:pt x="96" y="174"/>
                </a:lnTo>
                <a:lnTo>
                  <a:pt x="96" y="174"/>
                </a:lnTo>
                <a:lnTo>
                  <a:pt x="96" y="174"/>
                </a:lnTo>
                <a:lnTo>
                  <a:pt x="96" y="174"/>
                </a:lnTo>
                <a:lnTo>
                  <a:pt x="96" y="174"/>
                </a:lnTo>
                <a:lnTo>
                  <a:pt x="96" y="174"/>
                </a:lnTo>
                <a:lnTo>
                  <a:pt x="96" y="174"/>
                </a:lnTo>
                <a:lnTo>
                  <a:pt x="96" y="174"/>
                </a:lnTo>
                <a:lnTo>
                  <a:pt x="96" y="168"/>
                </a:lnTo>
                <a:lnTo>
                  <a:pt x="96" y="168"/>
                </a:lnTo>
                <a:lnTo>
                  <a:pt x="96" y="168"/>
                </a:lnTo>
                <a:lnTo>
                  <a:pt x="102" y="168"/>
                </a:lnTo>
                <a:lnTo>
                  <a:pt x="102" y="156"/>
                </a:lnTo>
                <a:lnTo>
                  <a:pt x="102" y="156"/>
                </a:lnTo>
                <a:lnTo>
                  <a:pt x="102" y="156"/>
                </a:lnTo>
                <a:lnTo>
                  <a:pt x="102" y="156"/>
                </a:lnTo>
                <a:lnTo>
                  <a:pt x="102" y="150"/>
                </a:lnTo>
                <a:lnTo>
                  <a:pt x="102" y="150"/>
                </a:lnTo>
                <a:lnTo>
                  <a:pt x="102" y="150"/>
                </a:lnTo>
                <a:lnTo>
                  <a:pt x="102" y="150"/>
                </a:lnTo>
                <a:lnTo>
                  <a:pt x="102" y="150"/>
                </a:lnTo>
                <a:lnTo>
                  <a:pt x="108" y="144"/>
                </a:lnTo>
                <a:lnTo>
                  <a:pt x="108" y="144"/>
                </a:lnTo>
                <a:lnTo>
                  <a:pt x="108" y="144"/>
                </a:lnTo>
                <a:lnTo>
                  <a:pt x="108" y="144"/>
                </a:lnTo>
                <a:lnTo>
                  <a:pt x="108" y="144"/>
                </a:lnTo>
                <a:lnTo>
                  <a:pt x="108" y="144"/>
                </a:lnTo>
                <a:lnTo>
                  <a:pt x="108" y="138"/>
                </a:lnTo>
                <a:lnTo>
                  <a:pt x="108" y="138"/>
                </a:lnTo>
                <a:lnTo>
                  <a:pt x="108" y="138"/>
                </a:lnTo>
                <a:lnTo>
                  <a:pt x="108" y="138"/>
                </a:lnTo>
                <a:lnTo>
                  <a:pt x="102" y="138"/>
                </a:lnTo>
                <a:lnTo>
                  <a:pt x="102" y="138"/>
                </a:lnTo>
                <a:lnTo>
                  <a:pt x="102" y="138"/>
                </a:lnTo>
                <a:lnTo>
                  <a:pt x="96" y="138"/>
                </a:lnTo>
                <a:lnTo>
                  <a:pt x="96" y="138"/>
                </a:lnTo>
                <a:lnTo>
                  <a:pt x="96" y="138"/>
                </a:lnTo>
                <a:lnTo>
                  <a:pt x="96" y="138"/>
                </a:lnTo>
                <a:lnTo>
                  <a:pt x="96" y="138"/>
                </a:lnTo>
                <a:lnTo>
                  <a:pt x="96" y="138"/>
                </a:lnTo>
                <a:lnTo>
                  <a:pt x="96" y="132"/>
                </a:lnTo>
                <a:lnTo>
                  <a:pt x="96" y="132"/>
                </a:lnTo>
                <a:lnTo>
                  <a:pt x="96" y="132"/>
                </a:lnTo>
                <a:lnTo>
                  <a:pt x="96" y="132"/>
                </a:lnTo>
                <a:lnTo>
                  <a:pt x="96" y="132"/>
                </a:lnTo>
                <a:lnTo>
                  <a:pt x="96" y="132"/>
                </a:lnTo>
                <a:lnTo>
                  <a:pt x="96" y="132"/>
                </a:lnTo>
                <a:lnTo>
                  <a:pt x="96" y="132"/>
                </a:lnTo>
                <a:lnTo>
                  <a:pt x="96" y="132"/>
                </a:lnTo>
                <a:lnTo>
                  <a:pt x="96" y="132"/>
                </a:lnTo>
                <a:lnTo>
                  <a:pt x="96" y="132"/>
                </a:lnTo>
                <a:lnTo>
                  <a:pt x="96" y="132"/>
                </a:lnTo>
                <a:lnTo>
                  <a:pt x="102" y="132"/>
                </a:lnTo>
                <a:lnTo>
                  <a:pt x="102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14"/>
                </a:lnTo>
                <a:lnTo>
                  <a:pt x="96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08"/>
                </a:lnTo>
                <a:lnTo>
                  <a:pt x="90" y="108"/>
                </a:lnTo>
                <a:lnTo>
                  <a:pt x="84" y="108"/>
                </a:lnTo>
                <a:lnTo>
                  <a:pt x="84" y="108"/>
                </a:lnTo>
                <a:lnTo>
                  <a:pt x="78" y="108"/>
                </a:lnTo>
                <a:lnTo>
                  <a:pt x="78" y="114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2" y="114"/>
                </a:lnTo>
                <a:lnTo>
                  <a:pt x="72" y="114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54" y="102"/>
                </a:lnTo>
                <a:lnTo>
                  <a:pt x="54" y="96"/>
                </a:lnTo>
                <a:lnTo>
                  <a:pt x="54" y="96"/>
                </a:lnTo>
                <a:lnTo>
                  <a:pt x="48" y="90"/>
                </a:lnTo>
                <a:lnTo>
                  <a:pt x="48" y="90"/>
                </a:lnTo>
                <a:lnTo>
                  <a:pt x="54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84"/>
                </a:lnTo>
                <a:lnTo>
                  <a:pt x="48" y="90"/>
                </a:lnTo>
                <a:lnTo>
                  <a:pt x="48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2" y="60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36" y="48"/>
                </a:lnTo>
                <a:lnTo>
                  <a:pt x="36" y="48"/>
                </a:lnTo>
                <a:lnTo>
                  <a:pt x="36" y="42"/>
                </a:lnTo>
                <a:lnTo>
                  <a:pt x="36" y="48"/>
                </a:lnTo>
                <a:lnTo>
                  <a:pt x="30" y="48"/>
                </a:lnTo>
                <a:lnTo>
                  <a:pt x="30" y="48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6" y="42"/>
                </a:lnTo>
                <a:lnTo>
                  <a:pt x="0" y="36"/>
                </a:lnTo>
                <a:lnTo>
                  <a:pt x="0" y="3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69" name="Freeform 302"/>
          <p:cNvSpPr>
            <a:spLocks/>
          </p:cNvSpPr>
          <p:nvPr/>
        </p:nvSpPr>
        <p:spPr bwMode="auto">
          <a:xfrm>
            <a:off x="7262993" y="4122156"/>
            <a:ext cx="102785" cy="115634"/>
          </a:xfrm>
          <a:custGeom>
            <a:avLst/>
            <a:gdLst>
              <a:gd name="T0" fmla="*/ 6 w 96"/>
              <a:gd name="T1" fmla="*/ 30 h 108"/>
              <a:gd name="T2" fmla="*/ 12 w 96"/>
              <a:gd name="T3" fmla="*/ 36 h 108"/>
              <a:gd name="T4" fmla="*/ 24 w 96"/>
              <a:gd name="T5" fmla="*/ 30 h 108"/>
              <a:gd name="T6" fmla="*/ 24 w 96"/>
              <a:gd name="T7" fmla="*/ 30 h 108"/>
              <a:gd name="T8" fmla="*/ 30 w 96"/>
              <a:gd name="T9" fmla="*/ 18 h 108"/>
              <a:gd name="T10" fmla="*/ 36 w 96"/>
              <a:gd name="T11" fmla="*/ 24 h 108"/>
              <a:gd name="T12" fmla="*/ 42 w 96"/>
              <a:gd name="T13" fmla="*/ 18 h 108"/>
              <a:gd name="T14" fmla="*/ 42 w 96"/>
              <a:gd name="T15" fmla="*/ 18 h 108"/>
              <a:gd name="T16" fmla="*/ 42 w 96"/>
              <a:gd name="T17" fmla="*/ 12 h 108"/>
              <a:gd name="T18" fmla="*/ 42 w 96"/>
              <a:gd name="T19" fmla="*/ 0 h 108"/>
              <a:gd name="T20" fmla="*/ 48 w 96"/>
              <a:gd name="T21" fmla="*/ 6 h 108"/>
              <a:gd name="T22" fmla="*/ 60 w 96"/>
              <a:gd name="T23" fmla="*/ 12 h 108"/>
              <a:gd name="T24" fmla="*/ 60 w 96"/>
              <a:gd name="T25" fmla="*/ 18 h 108"/>
              <a:gd name="T26" fmla="*/ 72 w 96"/>
              <a:gd name="T27" fmla="*/ 18 h 108"/>
              <a:gd name="T28" fmla="*/ 72 w 96"/>
              <a:gd name="T29" fmla="*/ 24 h 108"/>
              <a:gd name="T30" fmla="*/ 78 w 96"/>
              <a:gd name="T31" fmla="*/ 36 h 108"/>
              <a:gd name="T32" fmla="*/ 72 w 96"/>
              <a:gd name="T33" fmla="*/ 42 h 108"/>
              <a:gd name="T34" fmla="*/ 78 w 96"/>
              <a:gd name="T35" fmla="*/ 48 h 108"/>
              <a:gd name="T36" fmla="*/ 78 w 96"/>
              <a:gd name="T37" fmla="*/ 54 h 108"/>
              <a:gd name="T38" fmla="*/ 90 w 96"/>
              <a:gd name="T39" fmla="*/ 54 h 108"/>
              <a:gd name="T40" fmla="*/ 90 w 96"/>
              <a:gd name="T41" fmla="*/ 60 h 108"/>
              <a:gd name="T42" fmla="*/ 90 w 96"/>
              <a:gd name="T43" fmla="*/ 66 h 108"/>
              <a:gd name="T44" fmla="*/ 84 w 96"/>
              <a:gd name="T45" fmla="*/ 66 h 108"/>
              <a:gd name="T46" fmla="*/ 90 w 96"/>
              <a:gd name="T47" fmla="*/ 72 h 108"/>
              <a:gd name="T48" fmla="*/ 84 w 96"/>
              <a:gd name="T49" fmla="*/ 78 h 108"/>
              <a:gd name="T50" fmla="*/ 84 w 96"/>
              <a:gd name="T51" fmla="*/ 84 h 108"/>
              <a:gd name="T52" fmla="*/ 78 w 96"/>
              <a:gd name="T53" fmla="*/ 90 h 108"/>
              <a:gd name="T54" fmla="*/ 72 w 96"/>
              <a:gd name="T55" fmla="*/ 96 h 108"/>
              <a:gd name="T56" fmla="*/ 66 w 96"/>
              <a:gd name="T57" fmla="*/ 90 h 108"/>
              <a:gd name="T58" fmla="*/ 66 w 96"/>
              <a:gd name="T59" fmla="*/ 90 h 108"/>
              <a:gd name="T60" fmla="*/ 66 w 96"/>
              <a:gd name="T61" fmla="*/ 90 h 108"/>
              <a:gd name="T62" fmla="*/ 60 w 96"/>
              <a:gd name="T63" fmla="*/ 84 h 108"/>
              <a:gd name="T64" fmla="*/ 60 w 96"/>
              <a:gd name="T65" fmla="*/ 84 h 108"/>
              <a:gd name="T66" fmla="*/ 54 w 96"/>
              <a:gd name="T67" fmla="*/ 84 h 108"/>
              <a:gd name="T68" fmla="*/ 54 w 96"/>
              <a:gd name="T69" fmla="*/ 84 h 108"/>
              <a:gd name="T70" fmla="*/ 48 w 96"/>
              <a:gd name="T71" fmla="*/ 84 h 108"/>
              <a:gd name="T72" fmla="*/ 48 w 96"/>
              <a:gd name="T73" fmla="*/ 90 h 108"/>
              <a:gd name="T74" fmla="*/ 48 w 96"/>
              <a:gd name="T75" fmla="*/ 102 h 108"/>
              <a:gd name="T76" fmla="*/ 42 w 96"/>
              <a:gd name="T77" fmla="*/ 108 h 108"/>
              <a:gd name="T78" fmla="*/ 36 w 96"/>
              <a:gd name="T79" fmla="*/ 108 h 108"/>
              <a:gd name="T80" fmla="*/ 30 w 96"/>
              <a:gd name="T81" fmla="*/ 108 h 108"/>
              <a:gd name="T82" fmla="*/ 24 w 96"/>
              <a:gd name="T83" fmla="*/ 108 h 108"/>
              <a:gd name="T84" fmla="*/ 18 w 96"/>
              <a:gd name="T85" fmla="*/ 108 h 108"/>
              <a:gd name="T86" fmla="*/ 18 w 96"/>
              <a:gd name="T87" fmla="*/ 102 h 108"/>
              <a:gd name="T88" fmla="*/ 18 w 96"/>
              <a:gd name="T89" fmla="*/ 96 h 108"/>
              <a:gd name="T90" fmla="*/ 24 w 96"/>
              <a:gd name="T91" fmla="*/ 90 h 108"/>
              <a:gd name="T92" fmla="*/ 24 w 96"/>
              <a:gd name="T93" fmla="*/ 84 h 108"/>
              <a:gd name="T94" fmla="*/ 24 w 96"/>
              <a:gd name="T95" fmla="*/ 78 h 108"/>
              <a:gd name="T96" fmla="*/ 24 w 96"/>
              <a:gd name="T97" fmla="*/ 72 h 108"/>
              <a:gd name="T98" fmla="*/ 24 w 96"/>
              <a:gd name="T99" fmla="*/ 72 h 108"/>
              <a:gd name="T100" fmla="*/ 24 w 96"/>
              <a:gd name="T101" fmla="*/ 66 h 108"/>
              <a:gd name="T102" fmla="*/ 24 w 96"/>
              <a:gd name="T103" fmla="*/ 60 h 108"/>
              <a:gd name="T104" fmla="*/ 30 w 96"/>
              <a:gd name="T105" fmla="*/ 60 h 108"/>
              <a:gd name="T106" fmla="*/ 18 w 96"/>
              <a:gd name="T107" fmla="*/ 60 h 108"/>
              <a:gd name="T108" fmla="*/ 18 w 96"/>
              <a:gd name="T109" fmla="*/ 54 h 108"/>
              <a:gd name="T110" fmla="*/ 18 w 96"/>
              <a:gd name="T111" fmla="*/ 48 h 108"/>
              <a:gd name="T112" fmla="*/ 12 w 96"/>
              <a:gd name="T113" fmla="*/ 42 h 108"/>
              <a:gd name="T114" fmla="*/ 12 w 96"/>
              <a:gd name="T115" fmla="*/ 42 h 108"/>
              <a:gd name="T116" fmla="*/ 6 w 96"/>
              <a:gd name="T117" fmla="*/ 30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96" h="108">
                <a:moveTo>
                  <a:pt x="0" y="30"/>
                </a:moveTo>
                <a:lnTo>
                  <a:pt x="0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18"/>
                </a:lnTo>
                <a:lnTo>
                  <a:pt x="24" y="18"/>
                </a:lnTo>
                <a:lnTo>
                  <a:pt x="30" y="18"/>
                </a:lnTo>
                <a:lnTo>
                  <a:pt x="24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24"/>
                </a:lnTo>
                <a:lnTo>
                  <a:pt x="36" y="24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8" y="18"/>
                </a:lnTo>
                <a:lnTo>
                  <a:pt x="48" y="12"/>
                </a:lnTo>
                <a:lnTo>
                  <a:pt x="48" y="12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0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8"/>
                </a:lnTo>
                <a:lnTo>
                  <a:pt x="66" y="18"/>
                </a:lnTo>
                <a:lnTo>
                  <a:pt x="66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6"/>
                </a:lnTo>
                <a:lnTo>
                  <a:pt x="78" y="36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6" y="60"/>
                </a:lnTo>
                <a:lnTo>
                  <a:pt x="90" y="60"/>
                </a:lnTo>
                <a:lnTo>
                  <a:pt x="90" y="60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72"/>
                </a:lnTo>
                <a:lnTo>
                  <a:pt x="90" y="72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90" y="72"/>
                </a:lnTo>
                <a:lnTo>
                  <a:pt x="90" y="72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84" y="78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78" y="84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6"/>
                </a:lnTo>
                <a:lnTo>
                  <a:pt x="72" y="96"/>
                </a:lnTo>
                <a:lnTo>
                  <a:pt x="72" y="90"/>
                </a:lnTo>
                <a:lnTo>
                  <a:pt x="72" y="96"/>
                </a:lnTo>
                <a:lnTo>
                  <a:pt x="72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6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6" y="90"/>
                </a:lnTo>
                <a:lnTo>
                  <a:pt x="60" y="90"/>
                </a:lnTo>
                <a:lnTo>
                  <a:pt x="66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78"/>
                </a:lnTo>
                <a:lnTo>
                  <a:pt x="48" y="78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6"/>
                </a:lnTo>
                <a:lnTo>
                  <a:pt x="48" y="96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2" y="108"/>
                </a:lnTo>
                <a:lnTo>
                  <a:pt x="48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2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2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24" y="96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66"/>
                </a:lnTo>
                <a:lnTo>
                  <a:pt x="24" y="72"/>
                </a:lnTo>
                <a:lnTo>
                  <a:pt x="24" y="66"/>
                </a:lnTo>
                <a:lnTo>
                  <a:pt x="24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0"/>
                </a:lnTo>
                <a:lnTo>
                  <a:pt x="24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2"/>
                </a:lnTo>
                <a:lnTo>
                  <a:pt x="18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0" y="3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70" name="Freeform 303"/>
          <p:cNvSpPr>
            <a:spLocks/>
          </p:cNvSpPr>
          <p:nvPr/>
        </p:nvSpPr>
        <p:spPr bwMode="auto">
          <a:xfrm>
            <a:off x="7834734" y="3293448"/>
            <a:ext cx="147753" cy="141330"/>
          </a:xfrm>
          <a:custGeom>
            <a:avLst/>
            <a:gdLst>
              <a:gd name="T0" fmla="*/ 6 w 138"/>
              <a:gd name="T1" fmla="*/ 72 h 132"/>
              <a:gd name="T2" fmla="*/ 6 w 138"/>
              <a:gd name="T3" fmla="*/ 66 h 132"/>
              <a:gd name="T4" fmla="*/ 12 w 138"/>
              <a:gd name="T5" fmla="*/ 60 h 132"/>
              <a:gd name="T6" fmla="*/ 18 w 138"/>
              <a:gd name="T7" fmla="*/ 54 h 132"/>
              <a:gd name="T8" fmla="*/ 24 w 138"/>
              <a:gd name="T9" fmla="*/ 60 h 132"/>
              <a:gd name="T10" fmla="*/ 30 w 138"/>
              <a:gd name="T11" fmla="*/ 60 h 132"/>
              <a:gd name="T12" fmla="*/ 30 w 138"/>
              <a:gd name="T13" fmla="*/ 54 h 132"/>
              <a:gd name="T14" fmla="*/ 36 w 138"/>
              <a:gd name="T15" fmla="*/ 54 h 132"/>
              <a:gd name="T16" fmla="*/ 30 w 138"/>
              <a:gd name="T17" fmla="*/ 48 h 132"/>
              <a:gd name="T18" fmla="*/ 36 w 138"/>
              <a:gd name="T19" fmla="*/ 42 h 132"/>
              <a:gd name="T20" fmla="*/ 42 w 138"/>
              <a:gd name="T21" fmla="*/ 36 h 132"/>
              <a:gd name="T22" fmla="*/ 48 w 138"/>
              <a:gd name="T23" fmla="*/ 24 h 132"/>
              <a:gd name="T24" fmla="*/ 54 w 138"/>
              <a:gd name="T25" fmla="*/ 24 h 132"/>
              <a:gd name="T26" fmla="*/ 60 w 138"/>
              <a:gd name="T27" fmla="*/ 18 h 132"/>
              <a:gd name="T28" fmla="*/ 66 w 138"/>
              <a:gd name="T29" fmla="*/ 18 h 132"/>
              <a:gd name="T30" fmla="*/ 72 w 138"/>
              <a:gd name="T31" fmla="*/ 12 h 132"/>
              <a:gd name="T32" fmla="*/ 78 w 138"/>
              <a:gd name="T33" fmla="*/ 6 h 132"/>
              <a:gd name="T34" fmla="*/ 84 w 138"/>
              <a:gd name="T35" fmla="*/ 6 h 132"/>
              <a:gd name="T36" fmla="*/ 96 w 138"/>
              <a:gd name="T37" fmla="*/ 6 h 132"/>
              <a:gd name="T38" fmla="*/ 102 w 138"/>
              <a:gd name="T39" fmla="*/ 12 h 132"/>
              <a:gd name="T40" fmla="*/ 120 w 138"/>
              <a:gd name="T41" fmla="*/ 12 h 132"/>
              <a:gd name="T42" fmla="*/ 120 w 138"/>
              <a:gd name="T43" fmla="*/ 18 h 132"/>
              <a:gd name="T44" fmla="*/ 126 w 138"/>
              <a:gd name="T45" fmla="*/ 24 h 132"/>
              <a:gd name="T46" fmla="*/ 126 w 138"/>
              <a:gd name="T47" fmla="*/ 30 h 132"/>
              <a:gd name="T48" fmla="*/ 138 w 138"/>
              <a:gd name="T49" fmla="*/ 36 h 132"/>
              <a:gd name="T50" fmla="*/ 132 w 138"/>
              <a:gd name="T51" fmla="*/ 48 h 132"/>
              <a:gd name="T52" fmla="*/ 126 w 138"/>
              <a:gd name="T53" fmla="*/ 48 h 132"/>
              <a:gd name="T54" fmla="*/ 120 w 138"/>
              <a:gd name="T55" fmla="*/ 48 h 132"/>
              <a:gd name="T56" fmla="*/ 108 w 138"/>
              <a:gd name="T57" fmla="*/ 48 h 132"/>
              <a:gd name="T58" fmla="*/ 96 w 138"/>
              <a:gd name="T59" fmla="*/ 48 h 132"/>
              <a:gd name="T60" fmla="*/ 96 w 138"/>
              <a:gd name="T61" fmla="*/ 54 h 132"/>
              <a:gd name="T62" fmla="*/ 90 w 138"/>
              <a:gd name="T63" fmla="*/ 54 h 132"/>
              <a:gd name="T64" fmla="*/ 84 w 138"/>
              <a:gd name="T65" fmla="*/ 60 h 132"/>
              <a:gd name="T66" fmla="*/ 84 w 138"/>
              <a:gd name="T67" fmla="*/ 72 h 132"/>
              <a:gd name="T68" fmla="*/ 84 w 138"/>
              <a:gd name="T69" fmla="*/ 78 h 132"/>
              <a:gd name="T70" fmla="*/ 78 w 138"/>
              <a:gd name="T71" fmla="*/ 84 h 132"/>
              <a:gd name="T72" fmla="*/ 72 w 138"/>
              <a:gd name="T73" fmla="*/ 84 h 132"/>
              <a:gd name="T74" fmla="*/ 60 w 138"/>
              <a:gd name="T75" fmla="*/ 96 h 132"/>
              <a:gd name="T76" fmla="*/ 66 w 138"/>
              <a:gd name="T77" fmla="*/ 102 h 132"/>
              <a:gd name="T78" fmla="*/ 66 w 138"/>
              <a:gd name="T79" fmla="*/ 108 h 132"/>
              <a:gd name="T80" fmla="*/ 72 w 138"/>
              <a:gd name="T81" fmla="*/ 114 h 132"/>
              <a:gd name="T82" fmla="*/ 78 w 138"/>
              <a:gd name="T83" fmla="*/ 120 h 132"/>
              <a:gd name="T84" fmla="*/ 66 w 138"/>
              <a:gd name="T85" fmla="*/ 126 h 132"/>
              <a:gd name="T86" fmla="*/ 60 w 138"/>
              <a:gd name="T87" fmla="*/ 132 h 132"/>
              <a:gd name="T88" fmla="*/ 48 w 138"/>
              <a:gd name="T89" fmla="*/ 132 h 132"/>
              <a:gd name="T90" fmla="*/ 42 w 138"/>
              <a:gd name="T91" fmla="*/ 126 h 132"/>
              <a:gd name="T92" fmla="*/ 36 w 138"/>
              <a:gd name="T93" fmla="*/ 114 h 132"/>
              <a:gd name="T94" fmla="*/ 30 w 138"/>
              <a:gd name="T95" fmla="*/ 102 h 132"/>
              <a:gd name="T96" fmla="*/ 30 w 138"/>
              <a:gd name="T97" fmla="*/ 96 h 132"/>
              <a:gd name="T98" fmla="*/ 24 w 138"/>
              <a:gd name="T99" fmla="*/ 90 h 132"/>
              <a:gd name="T100" fmla="*/ 18 w 138"/>
              <a:gd name="T101" fmla="*/ 84 h 132"/>
              <a:gd name="T102" fmla="*/ 12 w 138"/>
              <a:gd name="T103" fmla="*/ 84 h 132"/>
              <a:gd name="T104" fmla="*/ 6 w 138"/>
              <a:gd name="T105" fmla="*/ 78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38" h="132">
                <a:moveTo>
                  <a:pt x="6" y="78"/>
                </a:moveTo>
                <a:lnTo>
                  <a:pt x="6" y="78"/>
                </a:lnTo>
                <a:lnTo>
                  <a:pt x="6" y="78"/>
                </a:lnTo>
                <a:lnTo>
                  <a:pt x="0" y="78"/>
                </a:lnTo>
                <a:lnTo>
                  <a:pt x="0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54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6" y="60"/>
                </a:lnTo>
                <a:lnTo>
                  <a:pt x="30" y="54"/>
                </a:lnTo>
                <a:lnTo>
                  <a:pt x="30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0" y="54"/>
                </a:lnTo>
                <a:lnTo>
                  <a:pt x="30" y="54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36"/>
                </a:lnTo>
                <a:lnTo>
                  <a:pt x="36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8" y="24"/>
                </a:lnTo>
                <a:lnTo>
                  <a:pt x="48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24"/>
                </a:lnTo>
                <a:lnTo>
                  <a:pt x="60" y="24"/>
                </a:lnTo>
                <a:lnTo>
                  <a:pt x="66" y="24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2"/>
                </a:lnTo>
                <a:lnTo>
                  <a:pt x="72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6" y="0"/>
                </a:lnTo>
                <a:lnTo>
                  <a:pt x="96" y="6"/>
                </a:lnTo>
                <a:lnTo>
                  <a:pt x="96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8" y="12"/>
                </a:lnTo>
                <a:lnTo>
                  <a:pt x="102" y="12"/>
                </a:lnTo>
                <a:lnTo>
                  <a:pt x="108" y="12"/>
                </a:lnTo>
                <a:lnTo>
                  <a:pt x="108" y="12"/>
                </a:lnTo>
                <a:lnTo>
                  <a:pt x="114" y="12"/>
                </a:lnTo>
                <a:lnTo>
                  <a:pt x="114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6" y="18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8" y="36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2" y="42"/>
                </a:lnTo>
                <a:lnTo>
                  <a:pt x="102" y="42"/>
                </a:lnTo>
                <a:lnTo>
                  <a:pt x="102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60"/>
                </a:lnTo>
                <a:lnTo>
                  <a:pt x="90" y="54"/>
                </a:lnTo>
                <a:lnTo>
                  <a:pt x="84" y="54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90" y="72"/>
                </a:lnTo>
                <a:lnTo>
                  <a:pt x="84" y="72"/>
                </a:lnTo>
                <a:lnTo>
                  <a:pt x="84" y="72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0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0" y="102"/>
                </a:lnTo>
                <a:lnTo>
                  <a:pt x="66" y="108"/>
                </a:lnTo>
                <a:lnTo>
                  <a:pt x="60" y="108"/>
                </a:lnTo>
                <a:lnTo>
                  <a:pt x="60" y="108"/>
                </a:lnTo>
                <a:lnTo>
                  <a:pt x="66" y="108"/>
                </a:lnTo>
                <a:lnTo>
                  <a:pt x="66" y="114"/>
                </a:lnTo>
                <a:lnTo>
                  <a:pt x="66" y="108"/>
                </a:lnTo>
                <a:lnTo>
                  <a:pt x="66" y="114"/>
                </a:lnTo>
                <a:lnTo>
                  <a:pt x="66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8" y="120"/>
                </a:lnTo>
                <a:lnTo>
                  <a:pt x="78" y="120"/>
                </a:lnTo>
                <a:lnTo>
                  <a:pt x="72" y="120"/>
                </a:lnTo>
                <a:lnTo>
                  <a:pt x="72" y="120"/>
                </a:lnTo>
                <a:lnTo>
                  <a:pt x="66" y="126"/>
                </a:lnTo>
                <a:lnTo>
                  <a:pt x="66" y="126"/>
                </a:lnTo>
                <a:lnTo>
                  <a:pt x="66" y="126"/>
                </a:lnTo>
                <a:lnTo>
                  <a:pt x="66" y="132"/>
                </a:lnTo>
                <a:lnTo>
                  <a:pt x="60" y="132"/>
                </a:lnTo>
                <a:lnTo>
                  <a:pt x="60" y="132"/>
                </a:lnTo>
                <a:lnTo>
                  <a:pt x="60" y="132"/>
                </a:lnTo>
                <a:lnTo>
                  <a:pt x="60" y="132"/>
                </a:lnTo>
                <a:lnTo>
                  <a:pt x="60" y="132"/>
                </a:lnTo>
                <a:lnTo>
                  <a:pt x="60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0"/>
                </a:lnTo>
                <a:lnTo>
                  <a:pt x="42" y="120"/>
                </a:lnTo>
                <a:lnTo>
                  <a:pt x="42" y="120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08"/>
                </a:lnTo>
                <a:lnTo>
                  <a:pt x="30" y="108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0"/>
                </a:lnTo>
                <a:lnTo>
                  <a:pt x="30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18" y="90"/>
                </a:lnTo>
                <a:lnTo>
                  <a:pt x="18" y="90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71" name="Freeform 304"/>
          <p:cNvSpPr>
            <a:spLocks/>
          </p:cNvSpPr>
          <p:nvPr/>
        </p:nvSpPr>
        <p:spPr bwMode="auto">
          <a:xfrm>
            <a:off x="6607740" y="3678893"/>
            <a:ext cx="218418" cy="122058"/>
          </a:xfrm>
          <a:custGeom>
            <a:avLst/>
            <a:gdLst>
              <a:gd name="T0" fmla="*/ 6 w 204"/>
              <a:gd name="T1" fmla="*/ 84 h 114"/>
              <a:gd name="T2" fmla="*/ 24 w 204"/>
              <a:gd name="T3" fmla="*/ 84 h 114"/>
              <a:gd name="T4" fmla="*/ 30 w 204"/>
              <a:gd name="T5" fmla="*/ 78 h 114"/>
              <a:gd name="T6" fmla="*/ 30 w 204"/>
              <a:gd name="T7" fmla="*/ 60 h 114"/>
              <a:gd name="T8" fmla="*/ 42 w 204"/>
              <a:gd name="T9" fmla="*/ 54 h 114"/>
              <a:gd name="T10" fmla="*/ 48 w 204"/>
              <a:gd name="T11" fmla="*/ 42 h 114"/>
              <a:gd name="T12" fmla="*/ 60 w 204"/>
              <a:gd name="T13" fmla="*/ 30 h 114"/>
              <a:gd name="T14" fmla="*/ 84 w 204"/>
              <a:gd name="T15" fmla="*/ 24 h 114"/>
              <a:gd name="T16" fmla="*/ 102 w 204"/>
              <a:gd name="T17" fmla="*/ 18 h 114"/>
              <a:gd name="T18" fmla="*/ 114 w 204"/>
              <a:gd name="T19" fmla="*/ 18 h 114"/>
              <a:gd name="T20" fmla="*/ 126 w 204"/>
              <a:gd name="T21" fmla="*/ 24 h 114"/>
              <a:gd name="T22" fmla="*/ 126 w 204"/>
              <a:gd name="T23" fmla="*/ 18 h 114"/>
              <a:gd name="T24" fmla="*/ 138 w 204"/>
              <a:gd name="T25" fmla="*/ 18 h 114"/>
              <a:gd name="T26" fmla="*/ 144 w 204"/>
              <a:gd name="T27" fmla="*/ 12 h 114"/>
              <a:gd name="T28" fmla="*/ 150 w 204"/>
              <a:gd name="T29" fmla="*/ 6 h 114"/>
              <a:gd name="T30" fmla="*/ 156 w 204"/>
              <a:gd name="T31" fmla="*/ 6 h 114"/>
              <a:gd name="T32" fmla="*/ 162 w 204"/>
              <a:gd name="T33" fmla="*/ 6 h 114"/>
              <a:gd name="T34" fmla="*/ 174 w 204"/>
              <a:gd name="T35" fmla="*/ 18 h 114"/>
              <a:gd name="T36" fmla="*/ 180 w 204"/>
              <a:gd name="T37" fmla="*/ 24 h 114"/>
              <a:gd name="T38" fmla="*/ 174 w 204"/>
              <a:gd name="T39" fmla="*/ 30 h 114"/>
              <a:gd name="T40" fmla="*/ 168 w 204"/>
              <a:gd name="T41" fmla="*/ 48 h 114"/>
              <a:gd name="T42" fmla="*/ 180 w 204"/>
              <a:gd name="T43" fmla="*/ 48 h 114"/>
              <a:gd name="T44" fmla="*/ 186 w 204"/>
              <a:gd name="T45" fmla="*/ 54 h 114"/>
              <a:gd name="T46" fmla="*/ 186 w 204"/>
              <a:gd name="T47" fmla="*/ 60 h 114"/>
              <a:gd name="T48" fmla="*/ 198 w 204"/>
              <a:gd name="T49" fmla="*/ 60 h 114"/>
              <a:gd name="T50" fmla="*/ 198 w 204"/>
              <a:gd name="T51" fmla="*/ 72 h 114"/>
              <a:gd name="T52" fmla="*/ 204 w 204"/>
              <a:gd name="T53" fmla="*/ 78 h 114"/>
              <a:gd name="T54" fmla="*/ 198 w 204"/>
              <a:gd name="T55" fmla="*/ 84 h 114"/>
              <a:gd name="T56" fmla="*/ 192 w 204"/>
              <a:gd name="T57" fmla="*/ 84 h 114"/>
              <a:gd name="T58" fmla="*/ 180 w 204"/>
              <a:gd name="T59" fmla="*/ 84 h 114"/>
              <a:gd name="T60" fmla="*/ 174 w 204"/>
              <a:gd name="T61" fmla="*/ 90 h 114"/>
              <a:gd name="T62" fmla="*/ 174 w 204"/>
              <a:gd name="T63" fmla="*/ 102 h 114"/>
              <a:gd name="T64" fmla="*/ 168 w 204"/>
              <a:gd name="T65" fmla="*/ 102 h 114"/>
              <a:gd name="T66" fmla="*/ 162 w 204"/>
              <a:gd name="T67" fmla="*/ 102 h 114"/>
              <a:gd name="T68" fmla="*/ 156 w 204"/>
              <a:gd name="T69" fmla="*/ 114 h 114"/>
              <a:gd name="T70" fmla="*/ 150 w 204"/>
              <a:gd name="T71" fmla="*/ 114 h 114"/>
              <a:gd name="T72" fmla="*/ 144 w 204"/>
              <a:gd name="T73" fmla="*/ 114 h 114"/>
              <a:gd name="T74" fmla="*/ 138 w 204"/>
              <a:gd name="T75" fmla="*/ 102 h 114"/>
              <a:gd name="T76" fmla="*/ 126 w 204"/>
              <a:gd name="T77" fmla="*/ 108 h 114"/>
              <a:gd name="T78" fmla="*/ 120 w 204"/>
              <a:gd name="T79" fmla="*/ 108 h 114"/>
              <a:gd name="T80" fmla="*/ 120 w 204"/>
              <a:gd name="T81" fmla="*/ 102 h 114"/>
              <a:gd name="T82" fmla="*/ 102 w 204"/>
              <a:gd name="T83" fmla="*/ 108 h 114"/>
              <a:gd name="T84" fmla="*/ 96 w 204"/>
              <a:gd name="T85" fmla="*/ 102 h 114"/>
              <a:gd name="T86" fmla="*/ 84 w 204"/>
              <a:gd name="T87" fmla="*/ 96 h 114"/>
              <a:gd name="T88" fmla="*/ 78 w 204"/>
              <a:gd name="T89" fmla="*/ 96 h 114"/>
              <a:gd name="T90" fmla="*/ 72 w 204"/>
              <a:gd name="T91" fmla="*/ 102 h 114"/>
              <a:gd name="T92" fmla="*/ 66 w 204"/>
              <a:gd name="T93" fmla="*/ 102 h 114"/>
              <a:gd name="T94" fmla="*/ 66 w 204"/>
              <a:gd name="T95" fmla="*/ 102 h 114"/>
              <a:gd name="T96" fmla="*/ 60 w 204"/>
              <a:gd name="T97" fmla="*/ 96 h 114"/>
              <a:gd name="T98" fmla="*/ 48 w 204"/>
              <a:gd name="T99" fmla="*/ 96 h 114"/>
              <a:gd name="T100" fmla="*/ 42 w 204"/>
              <a:gd name="T101" fmla="*/ 96 h 114"/>
              <a:gd name="T102" fmla="*/ 42 w 204"/>
              <a:gd name="T103" fmla="*/ 96 h 114"/>
              <a:gd name="T104" fmla="*/ 36 w 204"/>
              <a:gd name="T105" fmla="*/ 96 h 114"/>
              <a:gd name="T106" fmla="*/ 30 w 204"/>
              <a:gd name="T107" fmla="*/ 102 h 114"/>
              <a:gd name="T108" fmla="*/ 30 w 204"/>
              <a:gd name="T109" fmla="*/ 102 h 114"/>
              <a:gd name="T110" fmla="*/ 24 w 204"/>
              <a:gd name="T111" fmla="*/ 102 h 114"/>
              <a:gd name="T112" fmla="*/ 24 w 204"/>
              <a:gd name="T113" fmla="*/ 96 h 114"/>
              <a:gd name="T114" fmla="*/ 18 w 204"/>
              <a:gd name="T115" fmla="*/ 96 h 114"/>
              <a:gd name="T116" fmla="*/ 12 w 204"/>
              <a:gd name="T117" fmla="*/ 96 h 114"/>
              <a:gd name="T118" fmla="*/ 0 w 204"/>
              <a:gd name="T119" fmla="*/ 96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04" h="114">
                <a:moveTo>
                  <a:pt x="0" y="96"/>
                </a:moveTo>
                <a:lnTo>
                  <a:pt x="0" y="96"/>
                </a:lnTo>
                <a:lnTo>
                  <a:pt x="0" y="90"/>
                </a:lnTo>
                <a:lnTo>
                  <a:pt x="6" y="90"/>
                </a:lnTo>
                <a:lnTo>
                  <a:pt x="12" y="90"/>
                </a:lnTo>
                <a:lnTo>
                  <a:pt x="6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30" y="78"/>
                </a:lnTo>
                <a:lnTo>
                  <a:pt x="30" y="78"/>
                </a:lnTo>
                <a:lnTo>
                  <a:pt x="30" y="72"/>
                </a:lnTo>
                <a:lnTo>
                  <a:pt x="30" y="72"/>
                </a:lnTo>
                <a:lnTo>
                  <a:pt x="30" y="66"/>
                </a:lnTo>
                <a:lnTo>
                  <a:pt x="30" y="66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42" y="54"/>
                </a:lnTo>
                <a:lnTo>
                  <a:pt x="42" y="54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54" y="36"/>
                </a:lnTo>
                <a:lnTo>
                  <a:pt x="54" y="30"/>
                </a:lnTo>
                <a:lnTo>
                  <a:pt x="54" y="30"/>
                </a:lnTo>
                <a:lnTo>
                  <a:pt x="60" y="30"/>
                </a:lnTo>
                <a:lnTo>
                  <a:pt x="60" y="30"/>
                </a:lnTo>
                <a:lnTo>
                  <a:pt x="60" y="24"/>
                </a:lnTo>
                <a:lnTo>
                  <a:pt x="66" y="24"/>
                </a:lnTo>
                <a:lnTo>
                  <a:pt x="66" y="24"/>
                </a:lnTo>
                <a:lnTo>
                  <a:pt x="72" y="24"/>
                </a:lnTo>
                <a:lnTo>
                  <a:pt x="78" y="24"/>
                </a:lnTo>
                <a:lnTo>
                  <a:pt x="84" y="24"/>
                </a:lnTo>
                <a:lnTo>
                  <a:pt x="90" y="24"/>
                </a:lnTo>
                <a:lnTo>
                  <a:pt x="90" y="24"/>
                </a:lnTo>
                <a:lnTo>
                  <a:pt x="90" y="18"/>
                </a:lnTo>
                <a:lnTo>
                  <a:pt x="96" y="18"/>
                </a:lnTo>
                <a:lnTo>
                  <a:pt x="96" y="18"/>
                </a:lnTo>
                <a:lnTo>
                  <a:pt x="102" y="18"/>
                </a:lnTo>
                <a:lnTo>
                  <a:pt x="102" y="18"/>
                </a:lnTo>
                <a:lnTo>
                  <a:pt x="108" y="18"/>
                </a:lnTo>
                <a:lnTo>
                  <a:pt x="108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20" y="18"/>
                </a:lnTo>
                <a:lnTo>
                  <a:pt x="120" y="18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8" y="18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44" y="18"/>
                </a:lnTo>
                <a:lnTo>
                  <a:pt x="144" y="18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50" y="6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56" y="0"/>
                </a:lnTo>
                <a:lnTo>
                  <a:pt x="156" y="0"/>
                </a:lnTo>
                <a:lnTo>
                  <a:pt x="162" y="0"/>
                </a:lnTo>
                <a:lnTo>
                  <a:pt x="162" y="0"/>
                </a:lnTo>
                <a:lnTo>
                  <a:pt x="162" y="0"/>
                </a:lnTo>
                <a:lnTo>
                  <a:pt x="162" y="6"/>
                </a:lnTo>
                <a:lnTo>
                  <a:pt x="162" y="6"/>
                </a:lnTo>
                <a:lnTo>
                  <a:pt x="162" y="6"/>
                </a:lnTo>
                <a:lnTo>
                  <a:pt x="162" y="6"/>
                </a:lnTo>
                <a:lnTo>
                  <a:pt x="162" y="12"/>
                </a:lnTo>
                <a:lnTo>
                  <a:pt x="174" y="18"/>
                </a:lnTo>
                <a:lnTo>
                  <a:pt x="174" y="18"/>
                </a:lnTo>
                <a:lnTo>
                  <a:pt x="174" y="24"/>
                </a:lnTo>
                <a:lnTo>
                  <a:pt x="174" y="24"/>
                </a:lnTo>
                <a:lnTo>
                  <a:pt x="180" y="24"/>
                </a:lnTo>
                <a:lnTo>
                  <a:pt x="180" y="18"/>
                </a:lnTo>
                <a:lnTo>
                  <a:pt x="180" y="18"/>
                </a:lnTo>
                <a:lnTo>
                  <a:pt x="180" y="24"/>
                </a:lnTo>
                <a:lnTo>
                  <a:pt x="180" y="24"/>
                </a:lnTo>
                <a:lnTo>
                  <a:pt x="180" y="30"/>
                </a:lnTo>
                <a:lnTo>
                  <a:pt x="180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6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8"/>
                </a:lnTo>
                <a:lnTo>
                  <a:pt x="168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80" y="48"/>
                </a:lnTo>
                <a:lnTo>
                  <a:pt x="180" y="48"/>
                </a:lnTo>
                <a:lnTo>
                  <a:pt x="180" y="54"/>
                </a:lnTo>
                <a:lnTo>
                  <a:pt x="180" y="54"/>
                </a:lnTo>
                <a:lnTo>
                  <a:pt x="180" y="48"/>
                </a:lnTo>
                <a:lnTo>
                  <a:pt x="186" y="48"/>
                </a:lnTo>
                <a:lnTo>
                  <a:pt x="186" y="54"/>
                </a:lnTo>
                <a:lnTo>
                  <a:pt x="186" y="54"/>
                </a:lnTo>
                <a:lnTo>
                  <a:pt x="186" y="54"/>
                </a:lnTo>
                <a:lnTo>
                  <a:pt x="186" y="60"/>
                </a:lnTo>
                <a:lnTo>
                  <a:pt x="186" y="60"/>
                </a:lnTo>
                <a:lnTo>
                  <a:pt x="186" y="60"/>
                </a:lnTo>
                <a:lnTo>
                  <a:pt x="186" y="60"/>
                </a:lnTo>
                <a:lnTo>
                  <a:pt x="192" y="60"/>
                </a:lnTo>
                <a:lnTo>
                  <a:pt x="192" y="60"/>
                </a:lnTo>
                <a:lnTo>
                  <a:pt x="192" y="60"/>
                </a:lnTo>
                <a:lnTo>
                  <a:pt x="198" y="60"/>
                </a:lnTo>
                <a:lnTo>
                  <a:pt x="198" y="60"/>
                </a:lnTo>
                <a:lnTo>
                  <a:pt x="198" y="60"/>
                </a:lnTo>
                <a:lnTo>
                  <a:pt x="198" y="60"/>
                </a:lnTo>
                <a:lnTo>
                  <a:pt x="198" y="60"/>
                </a:lnTo>
                <a:lnTo>
                  <a:pt x="198" y="66"/>
                </a:lnTo>
                <a:lnTo>
                  <a:pt x="198" y="66"/>
                </a:lnTo>
                <a:lnTo>
                  <a:pt x="198" y="66"/>
                </a:lnTo>
                <a:lnTo>
                  <a:pt x="198" y="72"/>
                </a:lnTo>
                <a:lnTo>
                  <a:pt x="198" y="72"/>
                </a:lnTo>
                <a:lnTo>
                  <a:pt x="204" y="72"/>
                </a:lnTo>
                <a:lnTo>
                  <a:pt x="204" y="72"/>
                </a:lnTo>
                <a:lnTo>
                  <a:pt x="204" y="78"/>
                </a:lnTo>
                <a:lnTo>
                  <a:pt x="204" y="78"/>
                </a:lnTo>
                <a:lnTo>
                  <a:pt x="204" y="78"/>
                </a:lnTo>
                <a:lnTo>
                  <a:pt x="204" y="78"/>
                </a:lnTo>
                <a:lnTo>
                  <a:pt x="198" y="78"/>
                </a:lnTo>
                <a:lnTo>
                  <a:pt x="198" y="78"/>
                </a:lnTo>
                <a:lnTo>
                  <a:pt x="198" y="78"/>
                </a:lnTo>
                <a:lnTo>
                  <a:pt x="198" y="84"/>
                </a:lnTo>
                <a:lnTo>
                  <a:pt x="198" y="84"/>
                </a:lnTo>
                <a:lnTo>
                  <a:pt x="198" y="84"/>
                </a:lnTo>
                <a:lnTo>
                  <a:pt x="198" y="84"/>
                </a:lnTo>
                <a:lnTo>
                  <a:pt x="192" y="84"/>
                </a:lnTo>
                <a:lnTo>
                  <a:pt x="192" y="84"/>
                </a:lnTo>
                <a:lnTo>
                  <a:pt x="192" y="84"/>
                </a:lnTo>
                <a:lnTo>
                  <a:pt x="192" y="84"/>
                </a:lnTo>
                <a:lnTo>
                  <a:pt x="192" y="84"/>
                </a:lnTo>
                <a:lnTo>
                  <a:pt x="186" y="84"/>
                </a:lnTo>
                <a:lnTo>
                  <a:pt x="186" y="84"/>
                </a:lnTo>
                <a:lnTo>
                  <a:pt x="186" y="84"/>
                </a:lnTo>
                <a:lnTo>
                  <a:pt x="180" y="84"/>
                </a:lnTo>
                <a:lnTo>
                  <a:pt x="180" y="84"/>
                </a:lnTo>
                <a:lnTo>
                  <a:pt x="180" y="84"/>
                </a:lnTo>
                <a:lnTo>
                  <a:pt x="180" y="84"/>
                </a:lnTo>
                <a:lnTo>
                  <a:pt x="180" y="84"/>
                </a:lnTo>
                <a:lnTo>
                  <a:pt x="180" y="90"/>
                </a:lnTo>
                <a:lnTo>
                  <a:pt x="180" y="90"/>
                </a:lnTo>
                <a:lnTo>
                  <a:pt x="174" y="90"/>
                </a:lnTo>
                <a:lnTo>
                  <a:pt x="174" y="96"/>
                </a:lnTo>
                <a:lnTo>
                  <a:pt x="174" y="96"/>
                </a:lnTo>
                <a:lnTo>
                  <a:pt x="174" y="102"/>
                </a:lnTo>
                <a:lnTo>
                  <a:pt x="174" y="102"/>
                </a:lnTo>
                <a:lnTo>
                  <a:pt x="174" y="102"/>
                </a:lnTo>
                <a:lnTo>
                  <a:pt x="174" y="102"/>
                </a:lnTo>
                <a:lnTo>
                  <a:pt x="174" y="102"/>
                </a:lnTo>
                <a:lnTo>
                  <a:pt x="174" y="102"/>
                </a:lnTo>
                <a:lnTo>
                  <a:pt x="174" y="102"/>
                </a:lnTo>
                <a:lnTo>
                  <a:pt x="174" y="102"/>
                </a:lnTo>
                <a:lnTo>
                  <a:pt x="174" y="102"/>
                </a:lnTo>
                <a:lnTo>
                  <a:pt x="168" y="102"/>
                </a:lnTo>
                <a:lnTo>
                  <a:pt x="168" y="102"/>
                </a:lnTo>
                <a:lnTo>
                  <a:pt x="168" y="102"/>
                </a:lnTo>
                <a:lnTo>
                  <a:pt x="168" y="102"/>
                </a:lnTo>
                <a:lnTo>
                  <a:pt x="168" y="102"/>
                </a:lnTo>
                <a:lnTo>
                  <a:pt x="168" y="102"/>
                </a:lnTo>
                <a:lnTo>
                  <a:pt x="162" y="102"/>
                </a:lnTo>
                <a:lnTo>
                  <a:pt x="162" y="102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14"/>
                </a:lnTo>
                <a:lnTo>
                  <a:pt x="156" y="114"/>
                </a:lnTo>
                <a:lnTo>
                  <a:pt x="156" y="114"/>
                </a:lnTo>
                <a:lnTo>
                  <a:pt x="156" y="114"/>
                </a:lnTo>
                <a:lnTo>
                  <a:pt x="156" y="114"/>
                </a:lnTo>
                <a:lnTo>
                  <a:pt x="150" y="114"/>
                </a:lnTo>
                <a:lnTo>
                  <a:pt x="150" y="114"/>
                </a:lnTo>
                <a:lnTo>
                  <a:pt x="150" y="114"/>
                </a:lnTo>
                <a:lnTo>
                  <a:pt x="144" y="114"/>
                </a:lnTo>
                <a:lnTo>
                  <a:pt x="144" y="114"/>
                </a:lnTo>
                <a:lnTo>
                  <a:pt x="144" y="114"/>
                </a:lnTo>
                <a:lnTo>
                  <a:pt x="144" y="114"/>
                </a:lnTo>
                <a:lnTo>
                  <a:pt x="144" y="114"/>
                </a:lnTo>
                <a:lnTo>
                  <a:pt x="144" y="114"/>
                </a:lnTo>
                <a:lnTo>
                  <a:pt x="144" y="114"/>
                </a:lnTo>
                <a:lnTo>
                  <a:pt x="144" y="108"/>
                </a:lnTo>
                <a:lnTo>
                  <a:pt x="144" y="108"/>
                </a:lnTo>
                <a:lnTo>
                  <a:pt x="138" y="108"/>
                </a:lnTo>
                <a:lnTo>
                  <a:pt x="138" y="108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2" y="102"/>
                </a:lnTo>
                <a:lnTo>
                  <a:pt x="132" y="102"/>
                </a:lnTo>
                <a:lnTo>
                  <a:pt x="132" y="108"/>
                </a:lnTo>
                <a:lnTo>
                  <a:pt x="126" y="108"/>
                </a:lnTo>
                <a:lnTo>
                  <a:pt x="126" y="108"/>
                </a:lnTo>
                <a:lnTo>
                  <a:pt x="126" y="108"/>
                </a:lnTo>
                <a:lnTo>
                  <a:pt x="126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14" y="108"/>
                </a:lnTo>
                <a:lnTo>
                  <a:pt x="114" y="108"/>
                </a:lnTo>
                <a:lnTo>
                  <a:pt x="120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08" y="108"/>
                </a:lnTo>
                <a:lnTo>
                  <a:pt x="108" y="108"/>
                </a:lnTo>
                <a:lnTo>
                  <a:pt x="102" y="108"/>
                </a:lnTo>
                <a:lnTo>
                  <a:pt x="102" y="108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0" y="102"/>
                </a:lnTo>
                <a:lnTo>
                  <a:pt x="90" y="102"/>
                </a:lnTo>
                <a:lnTo>
                  <a:pt x="90" y="102"/>
                </a:lnTo>
                <a:lnTo>
                  <a:pt x="84" y="102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66" y="108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102"/>
                </a:lnTo>
                <a:lnTo>
                  <a:pt x="42" y="96"/>
                </a:lnTo>
                <a:lnTo>
                  <a:pt x="42" y="102"/>
                </a:lnTo>
                <a:lnTo>
                  <a:pt x="36" y="96"/>
                </a:lnTo>
                <a:lnTo>
                  <a:pt x="36" y="102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102"/>
                </a:lnTo>
                <a:lnTo>
                  <a:pt x="36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24" y="102"/>
                </a:lnTo>
                <a:lnTo>
                  <a:pt x="30" y="102"/>
                </a:lnTo>
                <a:lnTo>
                  <a:pt x="30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0" y="96"/>
                </a:lnTo>
                <a:lnTo>
                  <a:pt x="0" y="9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72" name="Freeform 305"/>
          <p:cNvSpPr>
            <a:spLocks/>
          </p:cNvSpPr>
          <p:nvPr/>
        </p:nvSpPr>
        <p:spPr bwMode="auto">
          <a:xfrm>
            <a:off x="6562772" y="3781679"/>
            <a:ext cx="353323" cy="173451"/>
          </a:xfrm>
          <a:custGeom>
            <a:avLst/>
            <a:gdLst>
              <a:gd name="T0" fmla="*/ 6 w 330"/>
              <a:gd name="T1" fmla="*/ 60 h 162"/>
              <a:gd name="T2" fmla="*/ 18 w 330"/>
              <a:gd name="T3" fmla="*/ 48 h 162"/>
              <a:gd name="T4" fmla="*/ 30 w 330"/>
              <a:gd name="T5" fmla="*/ 36 h 162"/>
              <a:gd name="T6" fmla="*/ 30 w 330"/>
              <a:gd name="T7" fmla="*/ 24 h 162"/>
              <a:gd name="T8" fmla="*/ 42 w 330"/>
              <a:gd name="T9" fmla="*/ 0 h 162"/>
              <a:gd name="T10" fmla="*/ 54 w 330"/>
              <a:gd name="T11" fmla="*/ 0 h 162"/>
              <a:gd name="T12" fmla="*/ 66 w 330"/>
              <a:gd name="T13" fmla="*/ 0 h 162"/>
              <a:gd name="T14" fmla="*/ 66 w 330"/>
              <a:gd name="T15" fmla="*/ 6 h 162"/>
              <a:gd name="T16" fmla="*/ 72 w 330"/>
              <a:gd name="T17" fmla="*/ 6 h 162"/>
              <a:gd name="T18" fmla="*/ 78 w 330"/>
              <a:gd name="T19" fmla="*/ 0 h 162"/>
              <a:gd name="T20" fmla="*/ 84 w 330"/>
              <a:gd name="T21" fmla="*/ 0 h 162"/>
              <a:gd name="T22" fmla="*/ 90 w 330"/>
              <a:gd name="T23" fmla="*/ 0 h 162"/>
              <a:gd name="T24" fmla="*/ 102 w 330"/>
              <a:gd name="T25" fmla="*/ 6 h 162"/>
              <a:gd name="T26" fmla="*/ 108 w 330"/>
              <a:gd name="T27" fmla="*/ 6 h 162"/>
              <a:gd name="T28" fmla="*/ 120 w 330"/>
              <a:gd name="T29" fmla="*/ 0 h 162"/>
              <a:gd name="T30" fmla="*/ 126 w 330"/>
              <a:gd name="T31" fmla="*/ 0 h 162"/>
              <a:gd name="T32" fmla="*/ 138 w 330"/>
              <a:gd name="T33" fmla="*/ 6 h 162"/>
              <a:gd name="T34" fmla="*/ 162 w 330"/>
              <a:gd name="T35" fmla="*/ 6 h 162"/>
              <a:gd name="T36" fmla="*/ 168 w 330"/>
              <a:gd name="T37" fmla="*/ 12 h 162"/>
              <a:gd name="T38" fmla="*/ 180 w 330"/>
              <a:gd name="T39" fmla="*/ 6 h 162"/>
              <a:gd name="T40" fmla="*/ 186 w 330"/>
              <a:gd name="T41" fmla="*/ 18 h 162"/>
              <a:gd name="T42" fmla="*/ 198 w 330"/>
              <a:gd name="T43" fmla="*/ 18 h 162"/>
              <a:gd name="T44" fmla="*/ 210 w 330"/>
              <a:gd name="T45" fmla="*/ 6 h 162"/>
              <a:gd name="T46" fmla="*/ 216 w 330"/>
              <a:gd name="T47" fmla="*/ 6 h 162"/>
              <a:gd name="T48" fmla="*/ 222 w 330"/>
              <a:gd name="T49" fmla="*/ 18 h 162"/>
              <a:gd name="T50" fmla="*/ 228 w 330"/>
              <a:gd name="T51" fmla="*/ 30 h 162"/>
              <a:gd name="T52" fmla="*/ 222 w 330"/>
              <a:gd name="T53" fmla="*/ 36 h 162"/>
              <a:gd name="T54" fmla="*/ 228 w 330"/>
              <a:gd name="T55" fmla="*/ 42 h 162"/>
              <a:gd name="T56" fmla="*/ 240 w 330"/>
              <a:gd name="T57" fmla="*/ 48 h 162"/>
              <a:gd name="T58" fmla="*/ 246 w 330"/>
              <a:gd name="T59" fmla="*/ 48 h 162"/>
              <a:gd name="T60" fmla="*/ 252 w 330"/>
              <a:gd name="T61" fmla="*/ 48 h 162"/>
              <a:gd name="T62" fmla="*/ 264 w 330"/>
              <a:gd name="T63" fmla="*/ 48 h 162"/>
              <a:gd name="T64" fmla="*/ 276 w 330"/>
              <a:gd name="T65" fmla="*/ 48 h 162"/>
              <a:gd name="T66" fmla="*/ 288 w 330"/>
              <a:gd name="T67" fmla="*/ 48 h 162"/>
              <a:gd name="T68" fmla="*/ 288 w 330"/>
              <a:gd name="T69" fmla="*/ 72 h 162"/>
              <a:gd name="T70" fmla="*/ 294 w 330"/>
              <a:gd name="T71" fmla="*/ 78 h 162"/>
              <a:gd name="T72" fmla="*/ 300 w 330"/>
              <a:gd name="T73" fmla="*/ 78 h 162"/>
              <a:gd name="T74" fmla="*/ 306 w 330"/>
              <a:gd name="T75" fmla="*/ 84 h 162"/>
              <a:gd name="T76" fmla="*/ 330 w 330"/>
              <a:gd name="T77" fmla="*/ 90 h 162"/>
              <a:gd name="T78" fmla="*/ 330 w 330"/>
              <a:gd name="T79" fmla="*/ 114 h 162"/>
              <a:gd name="T80" fmla="*/ 330 w 330"/>
              <a:gd name="T81" fmla="*/ 120 h 162"/>
              <a:gd name="T82" fmla="*/ 312 w 330"/>
              <a:gd name="T83" fmla="*/ 126 h 162"/>
              <a:gd name="T84" fmla="*/ 288 w 330"/>
              <a:gd name="T85" fmla="*/ 126 h 162"/>
              <a:gd name="T86" fmla="*/ 288 w 330"/>
              <a:gd name="T87" fmla="*/ 144 h 162"/>
              <a:gd name="T88" fmla="*/ 282 w 330"/>
              <a:gd name="T89" fmla="*/ 162 h 162"/>
              <a:gd name="T90" fmla="*/ 270 w 330"/>
              <a:gd name="T91" fmla="*/ 126 h 162"/>
              <a:gd name="T92" fmla="*/ 246 w 330"/>
              <a:gd name="T93" fmla="*/ 144 h 162"/>
              <a:gd name="T94" fmla="*/ 234 w 330"/>
              <a:gd name="T95" fmla="*/ 132 h 162"/>
              <a:gd name="T96" fmla="*/ 234 w 330"/>
              <a:gd name="T97" fmla="*/ 102 h 162"/>
              <a:gd name="T98" fmla="*/ 228 w 330"/>
              <a:gd name="T99" fmla="*/ 102 h 162"/>
              <a:gd name="T100" fmla="*/ 198 w 330"/>
              <a:gd name="T101" fmla="*/ 90 h 162"/>
              <a:gd name="T102" fmla="*/ 168 w 330"/>
              <a:gd name="T103" fmla="*/ 90 h 162"/>
              <a:gd name="T104" fmla="*/ 138 w 330"/>
              <a:gd name="T105" fmla="*/ 90 h 162"/>
              <a:gd name="T106" fmla="*/ 120 w 330"/>
              <a:gd name="T107" fmla="*/ 84 h 162"/>
              <a:gd name="T108" fmla="*/ 96 w 330"/>
              <a:gd name="T109" fmla="*/ 84 h 162"/>
              <a:gd name="T110" fmla="*/ 78 w 330"/>
              <a:gd name="T111" fmla="*/ 72 h 162"/>
              <a:gd name="T112" fmla="*/ 60 w 330"/>
              <a:gd name="T113" fmla="*/ 84 h 162"/>
              <a:gd name="T114" fmla="*/ 36 w 330"/>
              <a:gd name="T115" fmla="*/ 96 h 162"/>
              <a:gd name="T116" fmla="*/ 18 w 330"/>
              <a:gd name="T117" fmla="*/ 102 h 162"/>
              <a:gd name="T118" fmla="*/ 6 w 330"/>
              <a:gd name="T119" fmla="*/ 108 h 162"/>
              <a:gd name="T120" fmla="*/ 6 w 330"/>
              <a:gd name="T121" fmla="*/ 90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30" h="162">
                <a:moveTo>
                  <a:pt x="6" y="72"/>
                </a:move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0" y="66"/>
                </a:lnTo>
                <a:lnTo>
                  <a:pt x="6" y="66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2"/>
                </a:lnTo>
                <a:lnTo>
                  <a:pt x="18" y="42"/>
                </a:lnTo>
                <a:lnTo>
                  <a:pt x="12" y="36"/>
                </a:lnTo>
                <a:lnTo>
                  <a:pt x="12" y="36"/>
                </a:lnTo>
                <a:lnTo>
                  <a:pt x="18" y="36"/>
                </a:lnTo>
                <a:lnTo>
                  <a:pt x="18" y="30"/>
                </a:lnTo>
                <a:lnTo>
                  <a:pt x="24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0"/>
                </a:lnTo>
                <a:lnTo>
                  <a:pt x="24" y="30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30" y="24"/>
                </a:lnTo>
                <a:lnTo>
                  <a:pt x="30" y="18"/>
                </a:lnTo>
                <a:lnTo>
                  <a:pt x="30" y="18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6" y="6"/>
                </a:lnTo>
                <a:lnTo>
                  <a:pt x="36" y="6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78" y="6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6"/>
                </a:lnTo>
                <a:lnTo>
                  <a:pt x="78" y="0"/>
                </a:lnTo>
                <a:lnTo>
                  <a:pt x="84" y="6"/>
                </a:lnTo>
                <a:lnTo>
                  <a:pt x="84" y="0"/>
                </a:lnTo>
                <a:lnTo>
                  <a:pt x="84" y="6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102" y="0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20" y="0"/>
                </a:lnTo>
                <a:lnTo>
                  <a:pt x="120" y="0"/>
                </a:lnTo>
                <a:lnTo>
                  <a:pt x="120" y="0"/>
                </a:lnTo>
                <a:lnTo>
                  <a:pt x="120" y="0"/>
                </a:lnTo>
                <a:lnTo>
                  <a:pt x="120" y="0"/>
                </a:lnTo>
                <a:lnTo>
                  <a:pt x="120" y="0"/>
                </a:lnTo>
                <a:lnTo>
                  <a:pt x="126" y="0"/>
                </a:lnTo>
                <a:lnTo>
                  <a:pt x="126" y="0"/>
                </a:lnTo>
                <a:lnTo>
                  <a:pt x="126" y="0"/>
                </a:lnTo>
                <a:lnTo>
                  <a:pt x="126" y="0"/>
                </a:lnTo>
                <a:lnTo>
                  <a:pt x="126" y="0"/>
                </a:lnTo>
                <a:lnTo>
                  <a:pt x="126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44" y="12"/>
                </a:lnTo>
                <a:lnTo>
                  <a:pt x="144" y="12"/>
                </a:lnTo>
                <a:lnTo>
                  <a:pt x="150" y="12"/>
                </a:lnTo>
                <a:lnTo>
                  <a:pt x="150" y="12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62" y="6"/>
                </a:lnTo>
                <a:lnTo>
                  <a:pt x="156" y="12"/>
                </a:lnTo>
                <a:lnTo>
                  <a:pt x="156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74" y="12"/>
                </a:lnTo>
                <a:lnTo>
                  <a:pt x="174" y="6"/>
                </a:lnTo>
                <a:lnTo>
                  <a:pt x="174" y="6"/>
                </a:lnTo>
                <a:lnTo>
                  <a:pt x="180" y="6"/>
                </a:lnTo>
                <a:lnTo>
                  <a:pt x="180" y="6"/>
                </a:lnTo>
                <a:lnTo>
                  <a:pt x="180" y="6"/>
                </a:lnTo>
                <a:lnTo>
                  <a:pt x="180" y="12"/>
                </a:lnTo>
                <a:lnTo>
                  <a:pt x="180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92" y="18"/>
                </a:lnTo>
                <a:lnTo>
                  <a:pt x="192" y="18"/>
                </a:lnTo>
                <a:lnTo>
                  <a:pt x="192" y="18"/>
                </a:lnTo>
                <a:lnTo>
                  <a:pt x="198" y="18"/>
                </a:lnTo>
                <a:lnTo>
                  <a:pt x="198" y="18"/>
                </a:lnTo>
                <a:lnTo>
                  <a:pt x="198" y="18"/>
                </a:lnTo>
                <a:lnTo>
                  <a:pt x="198" y="18"/>
                </a:lnTo>
                <a:lnTo>
                  <a:pt x="204" y="18"/>
                </a:lnTo>
                <a:lnTo>
                  <a:pt x="204" y="12"/>
                </a:lnTo>
                <a:lnTo>
                  <a:pt x="204" y="12"/>
                </a:lnTo>
                <a:lnTo>
                  <a:pt x="204" y="12"/>
                </a:lnTo>
                <a:lnTo>
                  <a:pt x="204" y="6"/>
                </a:lnTo>
                <a:lnTo>
                  <a:pt x="204" y="6"/>
                </a:lnTo>
                <a:lnTo>
                  <a:pt x="210" y="6"/>
                </a:lnTo>
                <a:lnTo>
                  <a:pt x="210" y="6"/>
                </a:lnTo>
                <a:lnTo>
                  <a:pt x="210" y="6"/>
                </a:lnTo>
                <a:lnTo>
                  <a:pt x="210" y="6"/>
                </a:lnTo>
                <a:lnTo>
                  <a:pt x="210" y="6"/>
                </a:lnTo>
                <a:lnTo>
                  <a:pt x="210" y="6"/>
                </a:lnTo>
                <a:lnTo>
                  <a:pt x="216" y="6"/>
                </a:lnTo>
                <a:lnTo>
                  <a:pt x="216" y="6"/>
                </a:lnTo>
                <a:lnTo>
                  <a:pt x="216" y="6"/>
                </a:lnTo>
                <a:lnTo>
                  <a:pt x="216" y="6"/>
                </a:lnTo>
                <a:lnTo>
                  <a:pt x="216" y="6"/>
                </a:lnTo>
                <a:lnTo>
                  <a:pt x="216" y="6"/>
                </a:lnTo>
                <a:lnTo>
                  <a:pt x="216" y="6"/>
                </a:lnTo>
                <a:lnTo>
                  <a:pt x="216" y="6"/>
                </a:lnTo>
                <a:lnTo>
                  <a:pt x="216" y="12"/>
                </a:lnTo>
                <a:lnTo>
                  <a:pt x="216" y="12"/>
                </a:lnTo>
                <a:lnTo>
                  <a:pt x="222" y="12"/>
                </a:lnTo>
                <a:lnTo>
                  <a:pt x="222" y="12"/>
                </a:lnTo>
                <a:lnTo>
                  <a:pt x="222" y="12"/>
                </a:lnTo>
                <a:lnTo>
                  <a:pt x="222" y="12"/>
                </a:lnTo>
                <a:lnTo>
                  <a:pt x="222" y="18"/>
                </a:lnTo>
                <a:lnTo>
                  <a:pt x="222" y="18"/>
                </a:lnTo>
                <a:lnTo>
                  <a:pt x="222" y="24"/>
                </a:lnTo>
                <a:lnTo>
                  <a:pt x="222" y="24"/>
                </a:lnTo>
                <a:lnTo>
                  <a:pt x="222" y="24"/>
                </a:lnTo>
                <a:lnTo>
                  <a:pt x="222" y="24"/>
                </a:lnTo>
                <a:lnTo>
                  <a:pt x="222" y="24"/>
                </a:lnTo>
                <a:lnTo>
                  <a:pt x="228" y="24"/>
                </a:lnTo>
                <a:lnTo>
                  <a:pt x="228" y="24"/>
                </a:lnTo>
                <a:lnTo>
                  <a:pt x="228" y="30"/>
                </a:lnTo>
                <a:lnTo>
                  <a:pt x="228" y="30"/>
                </a:lnTo>
                <a:lnTo>
                  <a:pt x="228" y="30"/>
                </a:lnTo>
                <a:lnTo>
                  <a:pt x="228" y="30"/>
                </a:lnTo>
                <a:lnTo>
                  <a:pt x="228" y="30"/>
                </a:lnTo>
                <a:lnTo>
                  <a:pt x="228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8" y="42"/>
                </a:lnTo>
                <a:lnTo>
                  <a:pt x="228" y="42"/>
                </a:lnTo>
                <a:lnTo>
                  <a:pt x="228" y="42"/>
                </a:lnTo>
                <a:lnTo>
                  <a:pt x="228" y="42"/>
                </a:lnTo>
                <a:lnTo>
                  <a:pt x="228" y="42"/>
                </a:lnTo>
                <a:lnTo>
                  <a:pt x="228" y="42"/>
                </a:lnTo>
                <a:lnTo>
                  <a:pt x="228" y="42"/>
                </a:lnTo>
                <a:lnTo>
                  <a:pt x="234" y="42"/>
                </a:lnTo>
                <a:lnTo>
                  <a:pt x="234" y="42"/>
                </a:lnTo>
                <a:lnTo>
                  <a:pt x="234" y="48"/>
                </a:lnTo>
                <a:lnTo>
                  <a:pt x="240" y="48"/>
                </a:lnTo>
                <a:lnTo>
                  <a:pt x="240" y="48"/>
                </a:lnTo>
                <a:lnTo>
                  <a:pt x="240" y="48"/>
                </a:lnTo>
                <a:lnTo>
                  <a:pt x="240" y="48"/>
                </a:lnTo>
                <a:lnTo>
                  <a:pt x="240" y="48"/>
                </a:lnTo>
                <a:lnTo>
                  <a:pt x="240" y="48"/>
                </a:lnTo>
                <a:lnTo>
                  <a:pt x="240" y="48"/>
                </a:lnTo>
                <a:lnTo>
                  <a:pt x="240" y="48"/>
                </a:lnTo>
                <a:lnTo>
                  <a:pt x="246" y="48"/>
                </a:lnTo>
                <a:lnTo>
                  <a:pt x="246" y="48"/>
                </a:lnTo>
                <a:lnTo>
                  <a:pt x="246" y="48"/>
                </a:lnTo>
                <a:lnTo>
                  <a:pt x="246" y="48"/>
                </a:lnTo>
                <a:lnTo>
                  <a:pt x="246" y="48"/>
                </a:lnTo>
                <a:lnTo>
                  <a:pt x="246" y="48"/>
                </a:lnTo>
                <a:lnTo>
                  <a:pt x="252" y="48"/>
                </a:lnTo>
                <a:lnTo>
                  <a:pt x="252" y="48"/>
                </a:lnTo>
                <a:lnTo>
                  <a:pt x="252" y="48"/>
                </a:lnTo>
                <a:lnTo>
                  <a:pt x="252" y="48"/>
                </a:lnTo>
                <a:lnTo>
                  <a:pt x="252" y="48"/>
                </a:lnTo>
                <a:lnTo>
                  <a:pt x="252" y="48"/>
                </a:lnTo>
                <a:lnTo>
                  <a:pt x="258" y="48"/>
                </a:lnTo>
                <a:lnTo>
                  <a:pt x="258" y="48"/>
                </a:lnTo>
                <a:lnTo>
                  <a:pt x="258" y="48"/>
                </a:lnTo>
                <a:lnTo>
                  <a:pt x="258" y="48"/>
                </a:lnTo>
                <a:lnTo>
                  <a:pt x="258" y="48"/>
                </a:lnTo>
                <a:lnTo>
                  <a:pt x="258" y="48"/>
                </a:lnTo>
                <a:lnTo>
                  <a:pt x="258" y="48"/>
                </a:lnTo>
                <a:lnTo>
                  <a:pt x="264" y="48"/>
                </a:lnTo>
                <a:lnTo>
                  <a:pt x="264" y="48"/>
                </a:lnTo>
                <a:lnTo>
                  <a:pt x="264" y="48"/>
                </a:lnTo>
                <a:lnTo>
                  <a:pt x="270" y="48"/>
                </a:lnTo>
                <a:lnTo>
                  <a:pt x="270" y="48"/>
                </a:lnTo>
                <a:lnTo>
                  <a:pt x="276" y="48"/>
                </a:lnTo>
                <a:lnTo>
                  <a:pt x="276" y="48"/>
                </a:lnTo>
                <a:lnTo>
                  <a:pt x="276" y="48"/>
                </a:lnTo>
                <a:lnTo>
                  <a:pt x="276" y="48"/>
                </a:lnTo>
                <a:lnTo>
                  <a:pt x="276" y="48"/>
                </a:lnTo>
                <a:lnTo>
                  <a:pt x="282" y="48"/>
                </a:lnTo>
                <a:lnTo>
                  <a:pt x="282" y="48"/>
                </a:lnTo>
                <a:lnTo>
                  <a:pt x="282" y="48"/>
                </a:lnTo>
                <a:lnTo>
                  <a:pt x="282" y="48"/>
                </a:lnTo>
                <a:lnTo>
                  <a:pt x="282" y="48"/>
                </a:lnTo>
                <a:lnTo>
                  <a:pt x="282" y="54"/>
                </a:lnTo>
                <a:lnTo>
                  <a:pt x="282" y="54"/>
                </a:lnTo>
                <a:lnTo>
                  <a:pt x="288" y="54"/>
                </a:lnTo>
                <a:lnTo>
                  <a:pt x="288" y="48"/>
                </a:lnTo>
                <a:lnTo>
                  <a:pt x="288" y="48"/>
                </a:lnTo>
                <a:lnTo>
                  <a:pt x="288" y="48"/>
                </a:lnTo>
                <a:lnTo>
                  <a:pt x="288" y="54"/>
                </a:lnTo>
                <a:lnTo>
                  <a:pt x="288" y="54"/>
                </a:lnTo>
                <a:lnTo>
                  <a:pt x="294" y="60"/>
                </a:lnTo>
                <a:lnTo>
                  <a:pt x="294" y="60"/>
                </a:lnTo>
                <a:lnTo>
                  <a:pt x="288" y="60"/>
                </a:lnTo>
                <a:lnTo>
                  <a:pt x="288" y="66"/>
                </a:lnTo>
                <a:lnTo>
                  <a:pt x="288" y="72"/>
                </a:lnTo>
                <a:lnTo>
                  <a:pt x="288" y="72"/>
                </a:lnTo>
                <a:lnTo>
                  <a:pt x="294" y="72"/>
                </a:lnTo>
                <a:lnTo>
                  <a:pt x="294" y="72"/>
                </a:lnTo>
                <a:lnTo>
                  <a:pt x="294" y="78"/>
                </a:lnTo>
                <a:lnTo>
                  <a:pt x="294" y="78"/>
                </a:lnTo>
                <a:lnTo>
                  <a:pt x="294" y="78"/>
                </a:lnTo>
                <a:lnTo>
                  <a:pt x="294" y="78"/>
                </a:lnTo>
                <a:lnTo>
                  <a:pt x="294" y="78"/>
                </a:lnTo>
                <a:lnTo>
                  <a:pt x="294" y="78"/>
                </a:lnTo>
                <a:lnTo>
                  <a:pt x="294" y="78"/>
                </a:lnTo>
                <a:lnTo>
                  <a:pt x="294" y="78"/>
                </a:lnTo>
                <a:lnTo>
                  <a:pt x="294" y="78"/>
                </a:lnTo>
                <a:lnTo>
                  <a:pt x="294" y="78"/>
                </a:lnTo>
                <a:lnTo>
                  <a:pt x="294" y="78"/>
                </a:lnTo>
                <a:lnTo>
                  <a:pt x="294" y="78"/>
                </a:lnTo>
                <a:lnTo>
                  <a:pt x="300" y="78"/>
                </a:lnTo>
                <a:lnTo>
                  <a:pt x="300" y="78"/>
                </a:lnTo>
                <a:lnTo>
                  <a:pt x="300" y="78"/>
                </a:lnTo>
                <a:lnTo>
                  <a:pt x="300" y="78"/>
                </a:lnTo>
                <a:lnTo>
                  <a:pt x="300" y="84"/>
                </a:lnTo>
                <a:lnTo>
                  <a:pt x="300" y="84"/>
                </a:lnTo>
                <a:lnTo>
                  <a:pt x="300" y="84"/>
                </a:lnTo>
                <a:lnTo>
                  <a:pt x="300" y="84"/>
                </a:lnTo>
                <a:lnTo>
                  <a:pt x="300" y="84"/>
                </a:lnTo>
                <a:lnTo>
                  <a:pt x="306" y="84"/>
                </a:lnTo>
                <a:lnTo>
                  <a:pt x="306" y="84"/>
                </a:lnTo>
                <a:lnTo>
                  <a:pt x="306" y="84"/>
                </a:lnTo>
                <a:lnTo>
                  <a:pt x="306" y="84"/>
                </a:lnTo>
                <a:lnTo>
                  <a:pt x="312" y="84"/>
                </a:lnTo>
                <a:lnTo>
                  <a:pt x="312" y="90"/>
                </a:lnTo>
                <a:lnTo>
                  <a:pt x="318" y="84"/>
                </a:lnTo>
                <a:lnTo>
                  <a:pt x="324" y="84"/>
                </a:lnTo>
                <a:lnTo>
                  <a:pt x="324" y="84"/>
                </a:lnTo>
                <a:lnTo>
                  <a:pt x="324" y="84"/>
                </a:lnTo>
                <a:lnTo>
                  <a:pt x="330" y="90"/>
                </a:lnTo>
                <a:lnTo>
                  <a:pt x="330" y="90"/>
                </a:lnTo>
                <a:lnTo>
                  <a:pt x="330" y="90"/>
                </a:lnTo>
                <a:lnTo>
                  <a:pt x="330" y="96"/>
                </a:lnTo>
                <a:lnTo>
                  <a:pt x="324" y="96"/>
                </a:lnTo>
                <a:lnTo>
                  <a:pt x="324" y="102"/>
                </a:lnTo>
                <a:lnTo>
                  <a:pt x="330" y="102"/>
                </a:lnTo>
                <a:lnTo>
                  <a:pt x="330" y="102"/>
                </a:lnTo>
                <a:lnTo>
                  <a:pt x="330" y="108"/>
                </a:lnTo>
                <a:lnTo>
                  <a:pt x="330" y="108"/>
                </a:lnTo>
                <a:lnTo>
                  <a:pt x="330" y="114"/>
                </a:lnTo>
                <a:lnTo>
                  <a:pt x="330" y="114"/>
                </a:lnTo>
                <a:lnTo>
                  <a:pt x="330" y="114"/>
                </a:lnTo>
                <a:lnTo>
                  <a:pt x="330" y="114"/>
                </a:lnTo>
                <a:lnTo>
                  <a:pt x="330" y="114"/>
                </a:lnTo>
                <a:lnTo>
                  <a:pt x="330" y="114"/>
                </a:lnTo>
                <a:lnTo>
                  <a:pt x="330" y="120"/>
                </a:lnTo>
                <a:lnTo>
                  <a:pt x="330" y="120"/>
                </a:lnTo>
                <a:lnTo>
                  <a:pt x="330" y="120"/>
                </a:lnTo>
                <a:lnTo>
                  <a:pt x="330" y="120"/>
                </a:lnTo>
                <a:lnTo>
                  <a:pt x="324" y="120"/>
                </a:lnTo>
                <a:lnTo>
                  <a:pt x="324" y="120"/>
                </a:lnTo>
                <a:lnTo>
                  <a:pt x="324" y="120"/>
                </a:lnTo>
                <a:lnTo>
                  <a:pt x="318" y="120"/>
                </a:lnTo>
                <a:lnTo>
                  <a:pt x="318" y="126"/>
                </a:lnTo>
                <a:lnTo>
                  <a:pt x="318" y="126"/>
                </a:lnTo>
                <a:lnTo>
                  <a:pt x="312" y="126"/>
                </a:lnTo>
                <a:lnTo>
                  <a:pt x="312" y="126"/>
                </a:lnTo>
                <a:lnTo>
                  <a:pt x="312" y="126"/>
                </a:lnTo>
                <a:lnTo>
                  <a:pt x="306" y="120"/>
                </a:lnTo>
                <a:lnTo>
                  <a:pt x="306" y="120"/>
                </a:lnTo>
                <a:lnTo>
                  <a:pt x="300" y="120"/>
                </a:lnTo>
                <a:lnTo>
                  <a:pt x="300" y="126"/>
                </a:lnTo>
                <a:lnTo>
                  <a:pt x="294" y="126"/>
                </a:lnTo>
                <a:lnTo>
                  <a:pt x="294" y="126"/>
                </a:lnTo>
                <a:lnTo>
                  <a:pt x="288" y="126"/>
                </a:lnTo>
                <a:lnTo>
                  <a:pt x="288" y="126"/>
                </a:lnTo>
                <a:lnTo>
                  <a:pt x="288" y="126"/>
                </a:lnTo>
                <a:lnTo>
                  <a:pt x="288" y="132"/>
                </a:lnTo>
                <a:lnTo>
                  <a:pt x="288" y="132"/>
                </a:lnTo>
                <a:lnTo>
                  <a:pt x="288" y="132"/>
                </a:lnTo>
                <a:lnTo>
                  <a:pt x="288" y="132"/>
                </a:lnTo>
                <a:lnTo>
                  <a:pt x="288" y="132"/>
                </a:lnTo>
                <a:lnTo>
                  <a:pt x="282" y="138"/>
                </a:lnTo>
                <a:lnTo>
                  <a:pt x="282" y="138"/>
                </a:lnTo>
                <a:lnTo>
                  <a:pt x="282" y="138"/>
                </a:lnTo>
                <a:lnTo>
                  <a:pt x="288" y="144"/>
                </a:lnTo>
                <a:lnTo>
                  <a:pt x="288" y="150"/>
                </a:lnTo>
                <a:lnTo>
                  <a:pt x="288" y="150"/>
                </a:lnTo>
                <a:lnTo>
                  <a:pt x="288" y="150"/>
                </a:lnTo>
                <a:lnTo>
                  <a:pt x="288" y="156"/>
                </a:lnTo>
                <a:lnTo>
                  <a:pt x="288" y="156"/>
                </a:lnTo>
                <a:lnTo>
                  <a:pt x="288" y="156"/>
                </a:lnTo>
                <a:lnTo>
                  <a:pt x="288" y="156"/>
                </a:lnTo>
                <a:lnTo>
                  <a:pt x="282" y="156"/>
                </a:lnTo>
                <a:lnTo>
                  <a:pt x="282" y="162"/>
                </a:lnTo>
                <a:lnTo>
                  <a:pt x="282" y="162"/>
                </a:lnTo>
                <a:lnTo>
                  <a:pt x="276" y="156"/>
                </a:lnTo>
                <a:lnTo>
                  <a:pt x="276" y="156"/>
                </a:lnTo>
                <a:lnTo>
                  <a:pt x="276" y="138"/>
                </a:lnTo>
                <a:lnTo>
                  <a:pt x="276" y="138"/>
                </a:lnTo>
                <a:lnTo>
                  <a:pt x="276" y="132"/>
                </a:lnTo>
                <a:lnTo>
                  <a:pt x="276" y="132"/>
                </a:lnTo>
                <a:lnTo>
                  <a:pt x="270" y="126"/>
                </a:lnTo>
                <a:lnTo>
                  <a:pt x="270" y="126"/>
                </a:lnTo>
                <a:lnTo>
                  <a:pt x="264" y="120"/>
                </a:lnTo>
                <a:lnTo>
                  <a:pt x="264" y="120"/>
                </a:lnTo>
                <a:lnTo>
                  <a:pt x="264" y="120"/>
                </a:lnTo>
                <a:lnTo>
                  <a:pt x="258" y="120"/>
                </a:lnTo>
                <a:lnTo>
                  <a:pt x="258" y="132"/>
                </a:lnTo>
                <a:lnTo>
                  <a:pt x="252" y="138"/>
                </a:lnTo>
                <a:lnTo>
                  <a:pt x="252" y="138"/>
                </a:lnTo>
                <a:lnTo>
                  <a:pt x="252" y="138"/>
                </a:lnTo>
                <a:lnTo>
                  <a:pt x="246" y="144"/>
                </a:lnTo>
                <a:lnTo>
                  <a:pt x="246" y="144"/>
                </a:lnTo>
                <a:lnTo>
                  <a:pt x="246" y="144"/>
                </a:lnTo>
                <a:lnTo>
                  <a:pt x="246" y="144"/>
                </a:lnTo>
                <a:lnTo>
                  <a:pt x="246" y="144"/>
                </a:lnTo>
                <a:lnTo>
                  <a:pt x="240" y="144"/>
                </a:lnTo>
                <a:lnTo>
                  <a:pt x="240" y="138"/>
                </a:lnTo>
                <a:lnTo>
                  <a:pt x="234" y="138"/>
                </a:lnTo>
                <a:lnTo>
                  <a:pt x="234" y="138"/>
                </a:lnTo>
                <a:lnTo>
                  <a:pt x="234" y="132"/>
                </a:lnTo>
                <a:lnTo>
                  <a:pt x="234" y="132"/>
                </a:lnTo>
                <a:lnTo>
                  <a:pt x="228" y="126"/>
                </a:lnTo>
                <a:lnTo>
                  <a:pt x="228" y="120"/>
                </a:lnTo>
                <a:lnTo>
                  <a:pt x="228" y="114"/>
                </a:lnTo>
                <a:lnTo>
                  <a:pt x="228" y="114"/>
                </a:lnTo>
                <a:lnTo>
                  <a:pt x="228" y="114"/>
                </a:lnTo>
                <a:lnTo>
                  <a:pt x="228" y="102"/>
                </a:lnTo>
                <a:lnTo>
                  <a:pt x="234" y="102"/>
                </a:lnTo>
                <a:lnTo>
                  <a:pt x="234" y="102"/>
                </a:lnTo>
                <a:lnTo>
                  <a:pt x="240" y="102"/>
                </a:lnTo>
                <a:lnTo>
                  <a:pt x="240" y="102"/>
                </a:lnTo>
                <a:lnTo>
                  <a:pt x="234" y="96"/>
                </a:lnTo>
                <a:lnTo>
                  <a:pt x="234" y="96"/>
                </a:lnTo>
                <a:lnTo>
                  <a:pt x="234" y="96"/>
                </a:lnTo>
                <a:lnTo>
                  <a:pt x="234" y="96"/>
                </a:lnTo>
                <a:lnTo>
                  <a:pt x="228" y="96"/>
                </a:lnTo>
                <a:lnTo>
                  <a:pt x="228" y="96"/>
                </a:lnTo>
                <a:lnTo>
                  <a:pt x="228" y="102"/>
                </a:lnTo>
                <a:lnTo>
                  <a:pt x="222" y="102"/>
                </a:lnTo>
                <a:lnTo>
                  <a:pt x="210" y="102"/>
                </a:lnTo>
                <a:lnTo>
                  <a:pt x="210" y="96"/>
                </a:lnTo>
                <a:lnTo>
                  <a:pt x="204" y="96"/>
                </a:lnTo>
                <a:lnTo>
                  <a:pt x="204" y="96"/>
                </a:lnTo>
                <a:lnTo>
                  <a:pt x="204" y="90"/>
                </a:lnTo>
                <a:lnTo>
                  <a:pt x="204" y="90"/>
                </a:lnTo>
                <a:lnTo>
                  <a:pt x="198" y="90"/>
                </a:lnTo>
                <a:lnTo>
                  <a:pt x="198" y="90"/>
                </a:lnTo>
                <a:lnTo>
                  <a:pt x="192" y="90"/>
                </a:lnTo>
                <a:lnTo>
                  <a:pt x="192" y="90"/>
                </a:lnTo>
                <a:lnTo>
                  <a:pt x="186" y="90"/>
                </a:lnTo>
                <a:lnTo>
                  <a:pt x="186" y="90"/>
                </a:lnTo>
                <a:lnTo>
                  <a:pt x="186" y="96"/>
                </a:lnTo>
                <a:lnTo>
                  <a:pt x="174" y="96"/>
                </a:lnTo>
                <a:lnTo>
                  <a:pt x="174" y="90"/>
                </a:lnTo>
                <a:lnTo>
                  <a:pt x="174" y="90"/>
                </a:lnTo>
                <a:lnTo>
                  <a:pt x="168" y="90"/>
                </a:lnTo>
                <a:lnTo>
                  <a:pt x="168" y="90"/>
                </a:lnTo>
                <a:lnTo>
                  <a:pt x="162" y="96"/>
                </a:lnTo>
                <a:lnTo>
                  <a:pt x="156" y="96"/>
                </a:lnTo>
                <a:lnTo>
                  <a:pt x="156" y="96"/>
                </a:lnTo>
                <a:lnTo>
                  <a:pt x="156" y="96"/>
                </a:lnTo>
                <a:lnTo>
                  <a:pt x="156" y="96"/>
                </a:lnTo>
                <a:lnTo>
                  <a:pt x="150" y="96"/>
                </a:lnTo>
                <a:lnTo>
                  <a:pt x="144" y="90"/>
                </a:lnTo>
                <a:lnTo>
                  <a:pt x="138" y="90"/>
                </a:lnTo>
                <a:lnTo>
                  <a:pt x="138" y="90"/>
                </a:lnTo>
                <a:lnTo>
                  <a:pt x="132" y="90"/>
                </a:lnTo>
                <a:lnTo>
                  <a:pt x="132" y="90"/>
                </a:lnTo>
                <a:lnTo>
                  <a:pt x="132" y="90"/>
                </a:lnTo>
                <a:lnTo>
                  <a:pt x="132" y="90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14" y="84"/>
                </a:lnTo>
                <a:lnTo>
                  <a:pt x="114" y="84"/>
                </a:lnTo>
                <a:lnTo>
                  <a:pt x="108" y="84"/>
                </a:lnTo>
                <a:lnTo>
                  <a:pt x="108" y="84"/>
                </a:lnTo>
                <a:lnTo>
                  <a:pt x="102" y="84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0" y="84"/>
                </a:lnTo>
                <a:lnTo>
                  <a:pt x="90" y="84"/>
                </a:lnTo>
                <a:lnTo>
                  <a:pt x="84" y="78"/>
                </a:lnTo>
                <a:lnTo>
                  <a:pt x="84" y="78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0" y="78"/>
                </a:lnTo>
                <a:lnTo>
                  <a:pt x="60" y="84"/>
                </a:lnTo>
                <a:lnTo>
                  <a:pt x="60" y="84"/>
                </a:lnTo>
                <a:lnTo>
                  <a:pt x="54" y="84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48" y="90"/>
                </a:lnTo>
                <a:lnTo>
                  <a:pt x="42" y="90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8"/>
                </a:lnTo>
                <a:lnTo>
                  <a:pt x="18" y="108"/>
                </a:lnTo>
                <a:lnTo>
                  <a:pt x="12" y="108"/>
                </a:lnTo>
                <a:lnTo>
                  <a:pt x="12" y="108"/>
                </a:lnTo>
                <a:lnTo>
                  <a:pt x="6" y="114"/>
                </a:lnTo>
                <a:lnTo>
                  <a:pt x="6" y="114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2"/>
                </a:lnTo>
                <a:lnTo>
                  <a:pt x="6" y="96"/>
                </a:lnTo>
                <a:lnTo>
                  <a:pt x="6" y="96"/>
                </a:lnTo>
                <a:lnTo>
                  <a:pt x="6" y="90"/>
                </a:lnTo>
                <a:lnTo>
                  <a:pt x="6" y="90"/>
                </a:lnTo>
                <a:lnTo>
                  <a:pt x="12" y="90"/>
                </a:lnTo>
                <a:lnTo>
                  <a:pt x="6" y="90"/>
                </a:lnTo>
                <a:lnTo>
                  <a:pt x="6" y="84"/>
                </a:lnTo>
                <a:lnTo>
                  <a:pt x="6" y="84"/>
                </a:lnTo>
                <a:lnTo>
                  <a:pt x="6" y="78"/>
                </a:ln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73" name="Freeform 306"/>
          <p:cNvSpPr>
            <a:spLocks/>
          </p:cNvSpPr>
          <p:nvPr/>
        </p:nvSpPr>
        <p:spPr bwMode="auto">
          <a:xfrm>
            <a:off x="7340082" y="3845920"/>
            <a:ext cx="147753" cy="122058"/>
          </a:xfrm>
          <a:custGeom>
            <a:avLst/>
            <a:gdLst>
              <a:gd name="T0" fmla="*/ 6 w 138"/>
              <a:gd name="T1" fmla="*/ 24 h 114"/>
              <a:gd name="T2" fmla="*/ 18 w 138"/>
              <a:gd name="T3" fmla="*/ 36 h 114"/>
              <a:gd name="T4" fmla="*/ 30 w 138"/>
              <a:gd name="T5" fmla="*/ 30 h 114"/>
              <a:gd name="T6" fmla="*/ 36 w 138"/>
              <a:gd name="T7" fmla="*/ 42 h 114"/>
              <a:gd name="T8" fmla="*/ 42 w 138"/>
              <a:gd name="T9" fmla="*/ 36 h 114"/>
              <a:gd name="T10" fmla="*/ 48 w 138"/>
              <a:gd name="T11" fmla="*/ 30 h 114"/>
              <a:gd name="T12" fmla="*/ 48 w 138"/>
              <a:gd name="T13" fmla="*/ 30 h 114"/>
              <a:gd name="T14" fmla="*/ 48 w 138"/>
              <a:gd name="T15" fmla="*/ 24 h 114"/>
              <a:gd name="T16" fmla="*/ 48 w 138"/>
              <a:gd name="T17" fmla="*/ 18 h 114"/>
              <a:gd name="T18" fmla="*/ 54 w 138"/>
              <a:gd name="T19" fmla="*/ 18 h 114"/>
              <a:gd name="T20" fmla="*/ 66 w 138"/>
              <a:gd name="T21" fmla="*/ 12 h 114"/>
              <a:gd name="T22" fmla="*/ 66 w 138"/>
              <a:gd name="T23" fmla="*/ 6 h 114"/>
              <a:gd name="T24" fmla="*/ 78 w 138"/>
              <a:gd name="T25" fmla="*/ 6 h 114"/>
              <a:gd name="T26" fmla="*/ 84 w 138"/>
              <a:gd name="T27" fmla="*/ 6 h 114"/>
              <a:gd name="T28" fmla="*/ 90 w 138"/>
              <a:gd name="T29" fmla="*/ 12 h 114"/>
              <a:gd name="T30" fmla="*/ 90 w 138"/>
              <a:gd name="T31" fmla="*/ 12 h 114"/>
              <a:gd name="T32" fmla="*/ 90 w 138"/>
              <a:gd name="T33" fmla="*/ 18 h 114"/>
              <a:gd name="T34" fmla="*/ 96 w 138"/>
              <a:gd name="T35" fmla="*/ 30 h 114"/>
              <a:gd name="T36" fmla="*/ 108 w 138"/>
              <a:gd name="T37" fmla="*/ 24 h 114"/>
              <a:gd name="T38" fmla="*/ 114 w 138"/>
              <a:gd name="T39" fmla="*/ 36 h 114"/>
              <a:gd name="T40" fmla="*/ 120 w 138"/>
              <a:gd name="T41" fmla="*/ 36 h 114"/>
              <a:gd name="T42" fmla="*/ 126 w 138"/>
              <a:gd name="T43" fmla="*/ 36 h 114"/>
              <a:gd name="T44" fmla="*/ 132 w 138"/>
              <a:gd name="T45" fmla="*/ 48 h 114"/>
              <a:gd name="T46" fmla="*/ 132 w 138"/>
              <a:gd name="T47" fmla="*/ 54 h 114"/>
              <a:gd name="T48" fmla="*/ 132 w 138"/>
              <a:gd name="T49" fmla="*/ 60 h 114"/>
              <a:gd name="T50" fmla="*/ 126 w 138"/>
              <a:gd name="T51" fmla="*/ 66 h 114"/>
              <a:gd name="T52" fmla="*/ 120 w 138"/>
              <a:gd name="T53" fmla="*/ 72 h 114"/>
              <a:gd name="T54" fmla="*/ 120 w 138"/>
              <a:gd name="T55" fmla="*/ 78 h 114"/>
              <a:gd name="T56" fmla="*/ 114 w 138"/>
              <a:gd name="T57" fmla="*/ 84 h 114"/>
              <a:gd name="T58" fmla="*/ 108 w 138"/>
              <a:gd name="T59" fmla="*/ 90 h 114"/>
              <a:gd name="T60" fmla="*/ 114 w 138"/>
              <a:gd name="T61" fmla="*/ 90 h 114"/>
              <a:gd name="T62" fmla="*/ 108 w 138"/>
              <a:gd name="T63" fmla="*/ 102 h 114"/>
              <a:gd name="T64" fmla="*/ 102 w 138"/>
              <a:gd name="T65" fmla="*/ 108 h 114"/>
              <a:gd name="T66" fmla="*/ 102 w 138"/>
              <a:gd name="T67" fmla="*/ 114 h 114"/>
              <a:gd name="T68" fmla="*/ 90 w 138"/>
              <a:gd name="T69" fmla="*/ 108 h 114"/>
              <a:gd name="T70" fmla="*/ 84 w 138"/>
              <a:gd name="T71" fmla="*/ 108 h 114"/>
              <a:gd name="T72" fmla="*/ 78 w 138"/>
              <a:gd name="T73" fmla="*/ 102 h 114"/>
              <a:gd name="T74" fmla="*/ 78 w 138"/>
              <a:gd name="T75" fmla="*/ 90 h 114"/>
              <a:gd name="T76" fmla="*/ 78 w 138"/>
              <a:gd name="T77" fmla="*/ 84 h 114"/>
              <a:gd name="T78" fmla="*/ 78 w 138"/>
              <a:gd name="T79" fmla="*/ 78 h 114"/>
              <a:gd name="T80" fmla="*/ 72 w 138"/>
              <a:gd name="T81" fmla="*/ 84 h 114"/>
              <a:gd name="T82" fmla="*/ 60 w 138"/>
              <a:gd name="T83" fmla="*/ 84 h 114"/>
              <a:gd name="T84" fmla="*/ 54 w 138"/>
              <a:gd name="T85" fmla="*/ 90 h 114"/>
              <a:gd name="T86" fmla="*/ 48 w 138"/>
              <a:gd name="T87" fmla="*/ 84 h 114"/>
              <a:gd name="T88" fmla="*/ 48 w 138"/>
              <a:gd name="T89" fmla="*/ 78 h 114"/>
              <a:gd name="T90" fmla="*/ 48 w 138"/>
              <a:gd name="T91" fmla="*/ 72 h 114"/>
              <a:gd name="T92" fmla="*/ 42 w 138"/>
              <a:gd name="T93" fmla="*/ 72 h 114"/>
              <a:gd name="T94" fmla="*/ 30 w 138"/>
              <a:gd name="T95" fmla="*/ 72 h 114"/>
              <a:gd name="T96" fmla="*/ 24 w 138"/>
              <a:gd name="T97" fmla="*/ 72 h 114"/>
              <a:gd name="T98" fmla="*/ 12 w 138"/>
              <a:gd name="T99" fmla="*/ 84 h 114"/>
              <a:gd name="T100" fmla="*/ 6 w 138"/>
              <a:gd name="T101" fmla="*/ 72 h 114"/>
              <a:gd name="T102" fmla="*/ 6 w 138"/>
              <a:gd name="T103" fmla="*/ 66 h 114"/>
              <a:gd name="T104" fmla="*/ 12 w 138"/>
              <a:gd name="T105" fmla="*/ 60 h 114"/>
              <a:gd name="T106" fmla="*/ 12 w 138"/>
              <a:gd name="T107" fmla="*/ 54 h 114"/>
              <a:gd name="T108" fmla="*/ 12 w 138"/>
              <a:gd name="T109" fmla="*/ 42 h 114"/>
              <a:gd name="T110" fmla="*/ 6 w 138"/>
              <a:gd name="T111" fmla="*/ 36 h 114"/>
              <a:gd name="T112" fmla="*/ 0 w 138"/>
              <a:gd name="T113" fmla="*/ 3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38" h="114">
                <a:moveTo>
                  <a:pt x="0" y="24"/>
                </a:moveTo>
                <a:lnTo>
                  <a:pt x="0" y="24"/>
                </a:lnTo>
                <a:lnTo>
                  <a:pt x="0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12" y="24"/>
                </a:lnTo>
                <a:lnTo>
                  <a:pt x="12" y="24"/>
                </a:lnTo>
                <a:lnTo>
                  <a:pt x="12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6"/>
                </a:lnTo>
                <a:lnTo>
                  <a:pt x="24" y="30"/>
                </a:lnTo>
                <a:lnTo>
                  <a:pt x="24" y="36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42"/>
                </a:lnTo>
                <a:lnTo>
                  <a:pt x="36" y="42"/>
                </a:lnTo>
                <a:lnTo>
                  <a:pt x="42" y="42"/>
                </a:lnTo>
                <a:lnTo>
                  <a:pt x="42" y="42"/>
                </a:lnTo>
                <a:lnTo>
                  <a:pt x="48" y="42"/>
                </a:lnTo>
                <a:lnTo>
                  <a:pt x="48" y="42"/>
                </a:lnTo>
                <a:lnTo>
                  <a:pt x="48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8" y="36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54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54" y="18"/>
                </a:lnTo>
                <a:lnTo>
                  <a:pt x="54" y="18"/>
                </a:lnTo>
                <a:lnTo>
                  <a:pt x="60" y="18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6" y="12"/>
                </a:lnTo>
                <a:lnTo>
                  <a:pt x="66" y="18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90" y="6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6" y="18"/>
                </a:lnTo>
                <a:lnTo>
                  <a:pt x="96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6" y="24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14" y="30"/>
                </a:lnTo>
                <a:lnTo>
                  <a:pt x="108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42"/>
                </a:lnTo>
                <a:lnTo>
                  <a:pt x="120" y="42"/>
                </a:lnTo>
                <a:lnTo>
                  <a:pt x="126" y="42"/>
                </a:lnTo>
                <a:lnTo>
                  <a:pt x="120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8"/>
                </a:lnTo>
                <a:lnTo>
                  <a:pt x="132" y="48"/>
                </a:lnTo>
                <a:lnTo>
                  <a:pt x="126" y="48"/>
                </a:lnTo>
                <a:lnTo>
                  <a:pt x="126" y="48"/>
                </a:lnTo>
                <a:lnTo>
                  <a:pt x="132" y="48"/>
                </a:lnTo>
                <a:lnTo>
                  <a:pt x="126" y="48"/>
                </a:lnTo>
                <a:lnTo>
                  <a:pt x="126" y="48"/>
                </a:lnTo>
                <a:lnTo>
                  <a:pt x="132" y="54"/>
                </a:lnTo>
                <a:lnTo>
                  <a:pt x="132" y="54"/>
                </a:lnTo>
                <a:lnTo>
                  <a:pt x="132" y="54"/>
                </a:lnTo>
                <a:lnTo>
                  <a:pt x="132" y="54"/>
                </a:lnTo>
                <a:lnTo>
                  <a:pt x="132" y="54"/>
                </a:lnTo>
                <a:lnTo>
                  <a:pt x="132" y="54"/>
                </a:lnTo>
                <a:lnTo>
                  <a:pt x="132" y="54"/>
                </a:lnTo>
                <a:lnTo>
                  <a:pt x="132" y="60"/>
                </a:lnTo>
                <a:lnTo>
                  <a:pt x="138" y="60"/>
                </a:lnTo>
                <a:lnTo>
                  <a:pt x="132" y="66"/>
                </a:lnTo>
                <a:lnTo>
                  <a:pt x="132" y="60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0" y="66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14" y="84"/>
                </a:lnTo>
                <a:lnTo>
                  <a:pt x="114" y="84"/>
                </a:lnTo>
                <a:lnTo>
                  <a:pt x="114" y="78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14" y="90"/>
                </a:lnTo>
                <a:lnTo>
                  <a:pt x="108" y="90"/>
                </a:lnTo>
                <a:lnTo>
                  <a:pt x="114" y="90"/>
                </a:lnTo>
                <a:lnTo>
                  <a:pt x="114" y="90"/>
                </a:lnTo>
                <a:lnTo>
                  <a:pt x="114" y="96"/>
                </a:lnTo>
                <a:lnTo>
                  <a:pt x="114" y="96"/>
                </a:lnTo>
                <a:lnTo>
                  <a:pt x="114" y="96"/>
                </a:lnTo>
                <a:lnTo>
                  <a:pt x="108" y="102"/>
                </a:lnTo>
                <a:lnTo>
                  <a:pt x="114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8"/>
                </a:lnTo>
                <a:lnTo>
                  <a:pt x="102" y="108"/>
                </a:lnTo>
                <a:lnTo>
                  <a:pt x="102" y="102"/>
                </a:lnTo>
                <a:lnTo>
                  <a:pt x="102" y="102"/>
                </a:lnTo>
                <a:lnTo>
                  <a:pt x="102" y="108"/>
                </a:lnTo>
                <a:lnTo>
                  <a:pt x="102" y="108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66" y="84"/>
                </a:lnTo>
                <a:lnTo>
                  <a:pt x="66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90"/>
                </a:lnTo>
                <a:lnTo>
                  <a:pt x="60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72"/>
                </a:lnTo>
                <a:lnTo>
                  <a:pt x="42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66"/>
                </a:lnTo>
                <a:lnTo>
                  <a:pt x="30" y="66"/>
                </a:lnTo>
                <a:lnTo>
                  <a:pt x="30" y="66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18" y="78"/>
                </a:lnTo>
                <a:lnTo>
                  <a:pt x="18" y="78"/>
                </a:lnTo>
                <a:lnTo>
                  <a:pt x="24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78"/>
                </a:ln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8" y="60"/>
                </a:lnTo>
                <a:lnTo>
                  <a:pt x="18" y="60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74" name="Freeform 307"/>
          <p:cNvSpPr>
            <a:spLocks/>
          </p:cNvSpPr>
          <p:nvPr/>
        </p:nvSpPr>
        <p:spPr bwMode="auto">
          <a:xfrm>
            <a:off x="7352930" y="4038643"/>
            <a:ext cx="134905" cy="83513"/>
          </a:xfrm>
          <a:custGeom>
            <a:avLst/>
            <a:gdLst>
              <a:gd name="T0" fmla="*/ 0 w 126"/>
              <a:gd name="T1" fmla="*/ 24 h 78"/>
              <a:gd name="T2" fmla="*/ 6 w 126"/>
              <a:gd name="T3" fmla="*/ 24 h 78"/>
              <a:gd name="T4" fmla="*/ 12 w 126"/>
              <a:gd name="T5" fmla="*/ 18 h 78"/>
              <a:gd name="T6" fmla="*/ 12 w 126"/>
              <a:gd name="T7" fmla="*/ 12 h 78"/>
              <a:gd name="T8" fmla="*/ 6 w 126"/>
              <a:gd name="T9" fmla="*/ 6 h 78"/>
              <a:gd name="T10" fmla="*/ 12 w 126"/>
              <a:gd name="T11" fmla="*/ 0 h 78"/>
              <a:gd name="T12" fmla="*/ 18 w 126"/>
              <a:gd name="T13" fmla="*/ 0 h 78"/>
              <a:gd name="T14" fmla="*/ 18 w 126"/>
              <a:gd name="T15" fmla="*/ 6 h 78"/>
              <a:gd name="T16" fmla="*/ 24 w 126"/>
              <a:gd name="T17" fmla="*/ 12 h 78"/>
              <a:gd name="T18" fmla="*/ 24 w 126"/>
              <a:gd name="T19" fmla="*/ 0 h 78"/>
              <a:gd name="T20" fmla="*/ 30 w 126"/>
              <a:gd name="T21" fmla="*/ 6 h 78"/>
              <a:gd name="T22" fmla="*/ 36 w 126"/>
              <a:gd name="T23" fmla="*/ 12 h 78"/>
              <a:gd name="T24" fmla="*/ 36 w 126"/>
              <a:gd name="T25" fmla="*/ 18 h 78"/>
              <a:gd name="T26" fmla="*/ 36 w 126"/>
              <a:gd name="T27" fmla="*/ 12 h 78"/>
              <a:gd name="T28" fmla="*/ 42 w 126"/>
              <a:gd name="T29" fmla="*/ 12 h 78"/>
              <a:gd name="T30" fmla="*/ 48 w 126"/>
              <a:gd name="T31" fmla="*/ 12 h 78"/>
              <a:gd name="T32" fmla="*/ 54 w 126"/>
              <a:gd name="T33" fmla="*/ 12 h 78"/>
              <a:gd name="T34" fmla="*/ 60 w 126"/>
              <a:gd name="T35" fmla="*/ 6 h 78"/>
              <a:gd name="T36" fmla="*/ 66 w 126"/>
              <a:gd name="T37" fmla="*/ 12 h 78"/>
              <a:gd name="T38" fmla="*/ 66 w 126"/>
              <a:gd name="T39" fmla="*/ 18 h 78"/>
              <a:gd name="T40" fmla="*/ 72 w 126"/>
              <a:gd name="T41" fmla="*/ 12 h 78"/>
              <a:gd name="T42" fmla="*/ 72 w 126"/>
              <a:gd name="T43" fmla="*/ 18 h 78"/>
              <a:gd name="T44" fmla="*/ 78 w 126"/>
              <a:gd name="T45" fmla="*/ 18 h 78"/>
              <a:gd name="T46" fmla="*/ 84 w 126"/>
              <a:gd name="T47" fmla="*/ 24 h 78"/>
              <a:gd name="T48" fmla="*/ 90 w 126"/>
              <a:gd name="T49" fmla="*/ 24 h 78"/>
              <a:gd name="T50" fmla="*/ 96 w 126"/>
              <a:gd name="T51" fmla="*/ 24 h 78"/>
              <a:gd name="T52" fmla="*/ 102 w 126"/>
              <a:gd name="T53" fmla="*/ 30 h 78"/>
              <a:gd name="T54" fmla="*/ 102 w 126"/>
              <a:gd name="T55" fmla="*/ 36 h 78"/>
              <a:gd name="T56" fmla="*/ 102 w 126"/>
              <a:gd name="T57" fmla="*/ 36 h 78"/>
              <a:gd name="T58" fmla="*/ 108 w 126"/>
              <a:gd name="T59" fmla="*/ 36 h 78"/>
              <a:gd name="T60" fmla="*/ 114 w 126"/>
              <a:gd name="T61" fmla="*/ 36 h 78"/>
              <a:gd name="T62" fmla="*/ 114 w 126"/>
              <a:gd name="T63" fmla="*/ 42 h 78"/>
              <a:gd name="T64" fmla="*/ 120 w 126"/>
              <a:gd name="T65" fmla="*/ 48 h 78"/>
              <a:gd name="T66" fmla="*/ 126 w 126"/>
              <a:gd name="T67" fmla="*/ 54 h 78"/>
              <a:gd name="T68" fmla="*/ 126 w 126"/>
              <a:gd name="T69" fmla="*/ 60 h 78"/>
              <a:gd name="T70" fmla="*/ 120 w 126"/>
              <a:gd name="T71" fmla="*/ 60 h 78"/>
              <a:gd name="T72" fmla="*/ 120 w 126"/>
              <a:gd name="T73" fmla="*/ 66 h 78"/>
              <a:gd name="T74" fmla="*/ 120 w 126"/>
              <a:gd name="T75" fmla="*/ 66 h 78"/>
              <a:gd name="T76" fmla="*/ 114 w 126"/>
              <a:gd name="T77" fmla="*/ 66 h 78"/>
              <a:gd name="T78" fmla="*/ 108 w 126"/>
              <a:gd name="T79" fmla="*/ 72 h 78"/>
              <a:gd name="T80" fmla="*/ 102 w 126"/>
              <a:gd name="T81" fmla="*/ 72 h 78"/>
              <a:gd name="T82" fmla="*/ 96 w 126"/>
              <a:gd name="T83" fmla="*/ 78 h 78"/>
              <a:gd name="T84" fmla="*/ 78 w 126"/>
              <a:gd name="T85" fmla="*/ 72 h 78"/>
              <a:gd name="T86" fmla="*/ 78 w 126"/>
              <a:gd name="T87" fmla="*/ 66 h 78"/>
              <a:gd name="T88" fmla="*/ 72 w 126"/>
              <a:gd name="T89" fmla="*/ 72 h 78"/>
              <a:gd name="T90" fmla="*/ 66 w 126"/>
              <a:gd name="T91" fmla="*/ 72 h 78"/>
              <a:gd name="T92" fmla="*/ 60 w 126"/>
              <a:gd name="T93" fmla="*/ 78 h 78"/>
              <a:gd name="T94" fmla="*/ 54 w 126"/>
              <a:gd name="T95" fmla="*/ 72 h 78"/>
              <a:gd name="T96" fmla="*/ 48 w 126"/>
              <a:gd name="T97" fmla="*/ 66 h 78"/>
              <a:gd name="T98" fmla="*/ 42 w 126"/>
              <a:gd name="T99" fmla="*/ 60 h 78"/>
              <a:gd name="T100" fmla="*/ 48 w 126"/>
              <a:gd name="T101" fmla="*/ 54 h 78"/>
              <a:gd name="T102" fmla="*/ 48 w 126"/>
              <a:gd name="T103" fmla="*/ 48 h 78"/>
              <a:gd name="T104" fmla="*/ 42 w 126"/>
              <a:gd name="T105" fmla="*/ 48 h 78"/>
              <a:gd name="T106" fmla="*/ 36 w 126"/>
              <a:gd name="T107" fmla="*/ 42 h 78"/>
              <a:gd name="T108" fmla="*/ 36 w 126"/>
              <a:gd name="T109" fmla="*/ 36 h 78"/>
              <a:gd name="T110" fmla="*/ 30 w 126"/>
              <a:gd name="T111" fmla="*/ 36 h 78"/>
              <a:gd name="T112" fmla="*/ 24 w 126"/>
              <a:gd name="T113" fmla="*/ 42 h 78"/>
              <a:gd name="T114" fmla="*/ 18 w 126"/>
              <a:gd name="T115" fmla="*/ 42 h 78"/>
              <a:gd name="T116" fmla="*/ 12 w 126"/>
              <a:gd name="T117" fmla="*/ 36 h 78"/>
              <a:gd name="T118" fmla="*/ 6 w 126"/>
              <a:gd name="T119" fmla="*/ 30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26" h="78">
                <a:moveTo>
                  <a:pt x="0" y="30"/>
                </a:moveTo>
                <a:lnTo>
                  <a:pt x="0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0" y="24"/>
                </a:lnTo>
                <a:lnTo>
                  <a:pt x="6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6" y="12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0"/>
                </a:lnTo>
                <a:lnTo>
                  <a:pt x="6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24" y="12"/>
                </a:lnTo>
                <a:lnTo>
                  <a:pt x="24" y="12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6" y="12"/>
                </a:lnTo>
                <a:lnTo>
                  <a:pt x="30" y="12"/>
                </a:lnTo>
                <a:lnTo>
                  <a:pt x="30" y="18"/>
                </a:lnTo>
                <a:lnTo>
                  <a:pt x="30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42" y="12"/>
                </a:lnTo>
                <a:lnTo>
                  <a:pt x="42" y="6"/>
                </a:lnTo>
                <a:lnTo>
                  <a:pt x="42" y="6"/>
                </a:lnTo>
                <a:lnTo>
                  <a:pt x="42" y="12"/>
                </a:lnTo>
                <a:lnTo>
                  <a:pt x="42" y="12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54" y="6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8"/>
                </a:lnTo>
                <a:lnTo>
                  <a:pt x="72" y="12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8" y="18"/>
                </a:lnTo>
                <a:lnTo>
                  <a:pt x="78" y="18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18"/>
                </a:lnTo>
                <a:lnTo>
                  <a:pt x="84" y="18"/>
                </a:lnTo>
                <a:lnTo>
                  <a:pt x="84" y="18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90" y="18"/>
                </a:lnTo>
                <a:lnTo>
                  <a:pt x="90" y="24"/>
                </a:lnTo>
                <a:lnTo>
                  <a:pt x="90" y="24"/>
                </a:lnTo>
                <a:lnTo>
                  <a:pt x="90" y="18"/>
                </a:lnTo>
                <a:lnTo>
                  <a:pt x="90" y="18"/>
                </a:lnTo>
                <a:lnTo>
                  <a:pt x="90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8" y="36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8"/>
                </a:lnTo>
                <a:lnTo>
                  <a:pt x="120" y="42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6" y="48"/>
                </a:lnTo>
                <a:lnTo>
                  <a:pt x="126" y="48"/>
                </a:lnTo>
                <a:lnTo>
                  <a:pt x="120" y="48"/>
                </a:lnTo>
                <a:lnTo>
                  <a:pt x="120" y="54"/>
                </a:lnTo>
                <a:lnTo>
                  <a:pt x="120" y="54"/>
                </a:lnTo>
                <a:lnTo>
                  <a:pt x="126" y="54"/>
                </a:lnTo>
                <a:lnTo>
                  <a:pt x="120" y="54"/>
                </a:lnTo>
                <a:lnTo>
                  <a:pt x="126" y="54"/>
                </a:lnTo>
                <a:lnTo>
                  <a:pt x="120" y="54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0" y="60"/>
                </a:lnTo>
                <a:lnTo>
                  <a:pt x="126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96" y="72"/>
                </a:lnTo>
                <a:lnTo>
                  <a:pt x="96" y="72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0" y="72"/>
                </a:lnTo>
                <a:lnTo>
                  <a:pt x="90" y="72"/>
                </a:lnTo>
                <a:lnTo>
                  <a:pt x="84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66"/>
                </a:lnTo>
                <a:lnTo>
                  <a:pt x="78" y="66"/>
                </a:lnTo>
                <a:lnTo>
                  <a:pt x="78" y="72"/>
                </a:lnTo>
                <a:lnTo>
                  <a:pt x="78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8" y="60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2" y="48"/>
                </a:lnTo>
                <a:lnTo>
                  <a:pt x="48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42"/>
                </a:lnTo>
                <a:lnTo>
                  <a:pt x="30" y="42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24" y="42"/>
                </a:lnTo>
                <a:lnTo>
                  <a:pt x="24" y="36"/>
                </a:lnTo>
                <a:lnTo>
                  <a:pt x="24" y="36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75" name="Freeform 308"/>
          <p:cNvSpPr>
            <a:spLocks/>
          </p:cNvSpPr>
          <p:nvPr/>
        </p:nvSpPr>
        <p:spPr bwMode="auto">
          <a:xfrm>
            <a:off x="7487835" y="3948705"/>
            <a:ext cx="141329" cy="70665"/>
          </a:xfrm>
          <a:custGeom>
            <a:avLst/>
            <a:gdLst>
              <a:gd name="T0" fmla="*/ 6 w 132"/>
              <a:gd name="T1" fmla="*/ 36 h 66"/>
              <a:gd name="T2" fmla="*/ 6 w 132"/>
              <a:gd name="T3" fmla="*/ 30 h 66"/>
              <a:gd name="T4" fmla="*/ 18 w 132"/>
              <a:gd name="T5" fmla="*/ 24 h 66"/>
              <a:gd name="T6" fmla="*/ 18 w 132"/>
              <a:gd name="T7" fmla="*/ 24 h 66"/>
              <a:gd name="T8" fmla="*/ 24 w 132"/>
              <a:gd name="T9" fmla="*/ 18 h 66"/>
              <a:gd name="T10" fmla="*/ 30 w 132"/>
              <a:gd name="T11" fmla="*/ 12 h 66"/>
              <a:gd name="T12" fmla="*/ 36 w 132"/>
              <a:gd name="T13" fmla="*/ 12 h 66"/>
              <a:gd name="T14" fmla="*/ 42 w 132"/>
              <a:gd name="T15" fmla="*/ 24 h 66"/>
              <a:gd name="T16" fmla="*/ 42 w 132"/>
              <a:gd name="T17" fmla="*/ 24 h 66"/>
              <a:gd name="T18" fmla="*/ 48 w 132"/>
              <a:gd name="T19" fmla="*/ 24 h 66"/>
              <a:gd name="T20" fmla="*/ 54 w 132"/>
              <a:gd name="T21" fmla="*/ 24 h 66"/>
              <a:gd name="T22" fmla="*/ 54 w 132"/>
              <a:gd name="T23" fmla="*/ 24 h 66"/>
              <a:gd name="T24" fmla="*/ 54 w 132"/>
              <a:gd name="T25" fmla="*/ 18 h 66"/>
              <a:gd name="T26" fmla="*/ 60 w 132"/>
              <a:gd name="T27" fmla="*/ 24 h 66"/>
              <a:gd name="T28" fmla="*/ 66 w 132"/>
              <a:gd name="T29" fmla="*/ 24 h 66"/>
              <a:gd name="T30" fmla="*/ 66 w 132"/>
              <a:gd name="T31" fmla="*/ 18 h 66"/>
              <a:gd name="T32" fmla="*/ 66 w 132"/>
              <a:gd name="T33" fmla="*/ 18 h 66"/>
              <a:gd name="T34" fmla="*/ 60 w 132"/>
              <a:gd name="T35" fmla="*/ 18 h 66"/>
              <a:gd name="T36" fmla="*/ 60 w 132"/>
              <a:gd name="T37" fmla="*/ 12 h 66"/>
              <a:gd name="T38" fmla="*/ 66 w 132"/>
              <a:gd name="T39" fmla="*/ 6 h 66"/>
              <a:gd name="T40" fmla="*/ 72 w 132"/>
              <a:gd name="T41" fmla="*/ 0 h 66"/>
              <a:gd name="T42" fmla="*/ 78 w 132"/>
              <a:gd name="T43" fmla="*/ 6 h 66"/>
              <a:gd name="T44" fmla="*/ 84 w 132"/>
              <a:gd name="T45" fmla="*/ 6 h 66"/>
              <a:gd name="T46" fmla="*/ 84 w 132"/>
              <a:gd name="T47" fmla="*/ 12 h 66"/>
              <a:gd name="T48" fmla="*/ 90 w 132"/>
              <a:gd name="T49" fmla="*/ 12 h 66"/>
              <a:gd name="T50" fmla="*/ 96 w 132"/>
              <a:gd name="T51" fmla="*/ 6 h 66"/>
              <a:gd name="T52" fmla="*/ 102 w 132"/>
              <a:gd name="T53" fmla="*/ 6 h 66"/>
              <a:gd name="T54" fmla="*/ 108 w 132"/>
              <a:gd name="T55" fmla="*/ 6 h 66"/>
              <a:gd name="T56" fmla="*/ 108 w 132"/>
              <a:gd name="T57" fmla="*/ 12 h 66"/>
              <a:gd name="T58" fmla="*/ 108 w 132"/>
              <a:gd name="T59" fmla="*/ 24 h 66"/>
              <a:gd name="T60" fmla="*/ 114 w 132"/>
              <a:gd name="T61" fmla="*/ 24 h 66"/>
              <a:gd name="T62" fmla="*/ 126 w 132"/>
              <a:gd name="T63" fmla="*/ 30 h 66"/>
              <a:gd name="T64" fmla="*/ 126 w 132"/>
              <a:gd name="T65" fmla="*/ 30 h 66"/>
              <a:gd name="T66" fmla="*/ 132 w 132"/>
              <a:gd name="T67" fmla="*/ 36 h 66"/>
              <a:gd name="T68" fmla="*/ 126 w 132"/>
              <a:gd name="T69" fmla="*/ 42 h 66"/>
              <a:gd name="T70" fmla="*/ 120 w 132"/>
              <a:gd name="T71" fmla="*/ 42 h 66"/>
              <a:gd name="T72" fmla="*/ 120 w 132"/>
              <a:gd name="T73" fmla="*/ 42 h 66"/>
              <a:gd name="T74" fmla="*/ 120 w 132"/>
              <a:gd name="T75" fmla="*/ 42 h 66"/>
              <a:gd name="T76" fmla="*/ 114 w 132"/>
              <a:gd name="T77" fmla="*/ 48 h 66"/>
              <a:gd name="T78" fmla="*/ 114 w 132"/>
              <a:gd name="T79" fmla="*/ 54 h 66"/>
              <a:gd name="T80" fmla="*/ 108 w 132"/>
              <a:gd name="T81" fmla="*/ 54 h 66"/>
              <a:gd name="T82" fmla="*/ 108 w 132"/>
              <a:gd name="T83" fmla="*/ 60 h 66"/>
              <a:gd name="T84" fmla="*/ 102 w 132"/>
              <a:gd name="T85" fmla="*/ 54 h 66"/>
              <a:gd name="T86" fmla="*/ 96 w 132"/>
              <a:gd name="T87" fmla="*/ 60 h 66"/>
              <a:gd name="T88" fmla="*/ 84 w 132"/>
              <a:gd name="T89" fmla="*/ 60 h 66"/>
              <a:gd name="T90" fmla="*/ 78 w 132"/>
              <a:gd name="T91" fmla="*/ 60 h 66"/>
              <a:gd name="T92" fmla="*/ 72 w 132"/>
              <a:gd name="T93" fmla="*/ 60 h 66"/>
              <a:gd name="T94" fmla="*/ 72 w 132"/>
              <a:gd name="T95" fmla="*/ 66 h 66"/>
              <a:gd name="T96" fmla="*/ 60 w 132"/>
              <a:gd name="T97" fmla="*/ 66 h 66"/>
              <a:gd name="T98" fmla="*/ 60 w 132"/>
              <a:gd name="T99" fmla="*/ 54 h 66"/>
              <a:gd name="T100" fmla="*/ 54 w 132"/>
              <a:gd name="T101" fmla="*/ 54 h 66"/>
              <a:gd name="T102" fmla="*/ 54 w 132"/>
              <a:gd name="T103" fmla="*/ 48 h 66"/>
              <a:gd name="T104" fmla="*/ 48 w 132"/>
              <a:gd name="T105" fmla="*/ 48 h 66"/>
              <a:gd name="T106" fmla="*/ 42 w 132"/>
              <a:gd name="T107" fmla="*/ 48 h 66"/>
              <a:gd name="T108" fmla="*/ 36 w 132"/>
              <a:gd name="T109" fmla="*/ 42 h 66"/>
              <a:gd name="T110" fmla="*/ 36 w 132"/>
              <a:gd name="T111" fmla="*/ 42 h 66"/>
              <a:gd name="T112" fmla="*/ 30 w 132"/>
              <a:gd name="T113" fmla="*/ 42 h 66"/>
              <a:gd name="T114" fmla="*/ 24 w 132"/>
              <a:gd name="T115" fmla="*/ 42 h 66"/>
              <a:gd name="T116" fmla="*/ 18 w 132"/>
              <a:gd name="T117" fmla="*/ 42 h 66"/>
              <a:gd name="T118" fmla="*/ 12 w 132"/>
              <a:gd name="T119" fmla="*/ 36 h 66"/>
              <a:gd name="T120" fmla="*/ 6 w 132"/>
              <a:gd name="T121" fmla="*/ 42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32" h="66">
                <a:moveTo>
                  <a:pt x="0" y="36"/>
                </a:moveTo>
                <a:lnTo>
                  <a:pt x="0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12" y="30"/>
                </a:lnTo>
                <a:lnTo>
                  <a:pt x="12" y="30"/>
                </a:lnTo>
                <a:lnTo>
                  <a:pt x="12" y="24"/>
                </a:lnTo>
                <a:lnTo>
                  <a:pt x="12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24" y="18"/>
                </a:lnTo>
                <a:lnTo>
                  <a:pt x="24" y="12"/>
                </a:lnTo>
                <a:lnTo>
                  <a:pt x="24" y="18"/>
                </a:lnTo>
                <a:lnTo>
                  <a:pt x="24" y="18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8"/>
                </a:lnTo>
                <a:lnTo>
                  <a:pt x="30" y="18"/>
                </a:lnTo>
                <a:lnTo>
                  <a:pt x="36" y="12"/>
                </a:lnTo>
                <a:lnTo>
                  <a:pt x="36" y="12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42" y="18"/>
                </a:lnTo>
                <a:lnTo>
                  <a:pt x="42" y="24"/>
                </a:lnTo>
                <a:lnTo>
                  <a:pt x="42" y="18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30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6"/>
                </a:lnTo>
                <a:lnTo>
                  <a:pt x="72" y="6"/>
                </a:lnTo>
                <a:lnTo>
                  <a:pt x="78" y="0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90" y="12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0"/>
                </a:lnTo>
                <a:lnTo>
                  <a:pt x="102" y="0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14" y="12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30"/>
                </a:lnTo>
                <a:lnTo>
                  <a:pt x="120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6"/>
                </a:lnTo>
                <a:lnTo>
                  <a:pt x="132" y="36"/>
                </a:lnTo>
                <a:lnTo>
                  <a:pt x="126" y="36"/>
                </a:lnTo>
                <a:lnTo>
                  <a:pt x="132" y="36"/>
                </a:lnTo>
                <a:lnTo>
                  <a:pt x="132" y="36"/>
                </a:lnTo>
                <a:lnTo>
                  <a:pt x="126" y="36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8"/>
                </a:lnTo>
                <a:lnTo>
                  <a:pt x="120" y="42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2"/>
                </a:lnTo>
                <a:lnTo>
                  <a:pt x="114" y="48"/>
                </a:lnTo>
                <a:lnTo>
                  <a:pt x="114" y="42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54"/>
                </a:lnTo>
                <a:lnTo>
                  <a:pt x="114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60"/>
                </a:lnTo>
                <a:lnTo>
                  <a:pt x="108" y="60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96" y="54"/>
                </a:lnTo>
                <a:lnTo>
                  <a:pt x="96" y="54"/>
                </a:lnTo>
                <a:lnTo>
                  <a:pt x="96" y="60"/>
                </a:lnTo>
                <a:lnTo>
                  <a:pt x="96" y="54"/>
                </a:lnTo>
                <a:lnTo>
                  <a:pt x="96" y="54"/>
                </a:lnTo>
                <a:lnTo>
                  <a:pt x="96" y="60"/>
                </a:lnTo>
                <a:lnTo>
                  <a:pt x="90" y="54"/>
                </a:lnTo>
                <a:lnTo>
                  <a:pt x="90" y="60"/>
                </a:lnTo>
                <a:lnTo>
                  <a:pt x="90" y="54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6"/>
                </a:lnTo>
                <a:lnTo>
                  <a:pt x="72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48" y="54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0" y="3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76" name="Freeform 309"/>
          <p:cNvSpPr>
            <a:spLocks/>
          </p:cNvSpPr>
          <p:nvPr/>
        </p:nvSpPr>
        <p:spPr bwMode="auto">
          <a:xfrm>
            <a:off x="7539227" y="3145693"/>
            <a:ext cx="218418" cy="224843"/>
          </a:xfrm>
          <a:custGeom>
            <a:avLst/>
            <a:gdLst>
              <a:gd name="T0" fmla="*/ 60 w 204"/>
              <a:gd name="T1" fmla="*/ 54 h 210"/>
              <a:gd name="T2" fmla="*/ 60 w 204"/>
              <a:gd name="T3" fmla="*/ 54 h 210"/>
              <a:gd name="T4" fmla="*/ 66 w 204"/>
              <a:gd name="T5" fmla="*/ 48 h 210"/>
              <a:gd name="T6" fmla="*/ 66 w 204"/>
              <a:gd name="T7" fmla="*/ 42 h 210"/>
              <a:gd name="T8" fmla="*/ 72 w 204"/>
              <a:gd name="T9" fmla="*/ 36 h 210"/>
              <a:gd name="T10" fmla="*/ 72 w 204"/>
              <a:gd name="T11" fmla="*/ 18 h 210"/>
              <a:gd name="T12" fmla="*/ 78 w 204"/>
              <a:gd name="T13" fmla="*/ 18 h 210"/>
              <a:gd name="T14" fmla="*/ 84 w 204"/>
              <a:gd name="T15" fmla="*/ 12 h 210"/>
              <a:gd name="T16" fmla="*/ 96 w 204"/>
              <a:gd name="T17" fmla="*/ 6 h 210"/>
              <a:gd name="T18" fmla="*/ 114 w 204"/>
              <a:gd name="T19" fmla="*/ 0 h 210"/>
              <a:gd name="T20" fmla="*/ 126 w 204"/>
              <a:gd name="T21" fmla="*/ 6 h 210"/>
              <a:gd name="T22" fmla="*/ 138 w 204"/>
              <a:gd name="T23" fmla="*/ 6 h 210"/>
              <a:gd name="T24" fmla="*/ 150 w 204"/>
              <a:gd name="T25" fmla="*/ 12 h 210"/>
              <a:gd name="T26" fmla="*/ 156 w 204"/>
              <a:gd name="T27" fmla="*/ 18 h 210"/>
              <a:gd name="T28" fmla="*/ 174 w 204"/>
              <a:gd name="T29" fmla="*/ 30 h 210"/>
              <a:gd name="T30" fmla="*/ 180 w 204"/>
              <a:gd name="T31" fmla="*/ 36 h 210"/>
              <a:gd name="T32" fmla="*/ 192 w 204"/>
              <a:gd name="T33" fmla="*/ 36 h 210"/>
              <a:gd name="T34" fmla="*/ 198 w 204"/>
              <a:gd name="T35" fmla="*/ 48 h 210"/>
              <a:gd name="T36" fmla="*/ 186 w 204"/>
              <a:gd name="T37" fmla="*/ 54 h 210"/>
              <a:gd name="T38" fmla="*/ 174 w 204"/>
              <a:gd name="T39" fmla="*/ 60 h 210"/>
              <a:gd name="T40" fmla="*/ 168 w 204"/>
              <a:gd name="T41" fmla="*/ 66 h 210"/>
              <a:gd name="T42" fmla="*/ 162 w 204"/>
              <a:gd name="T43" fmla="*/ 78 h 210"/>
              <a:gd name="T44" fmla="*/ 168 w 204"/>
              <a:gd name="T45" fmla="*/ 102 h 210"/>
              <a:gd name="T46" fmla="*/ 168 w 204"/>
              <a:gd name="T47" fmla="*/ 108 h 210"/>
              <a:gd name="T48" fmla="*/ 162 w 204"/>
              <a:gd name="T49" fmla="*/ 126 h 210"/>
              <a:gd name="T50" fmla="*/ 168 w 204"/>
              <a:gd name="T51" fmla="*/ 144 h 210"/>
              <a:gd name="T52" fmla="*/ 162 w 204"/>
              <a:gd name="T53" fmla="*/ 162 h 210"/>
              <a:gd name="T54" fmla="*/ 168 w 204"/>
              <a:gd name="T55" fmla="*/ 174 h 210"/>
              <a:gd name="T56" fmla="*/ 174 w 204"/>
              <a:gd name="T57" fmla="*/ 180 h 210"/>
              <a:gd name="T58" fmla="*/ 180 w 204"/>
              <a:gd name="T59" fmla="*/ 192 h 210"/>
              <a:gd name="T60" fmla="*/ 174 w 204"/>
              <a:gd name="T61" fmla="*/ 198 h 210"/>
              <a:gd name="T62" fmla="*/ 174 w 204"/>
              <a:gd name="T63" fmla="*/ 192 h 210"/>
              <a:gd name="T64" fmla="*/ 168 w 204"/>
              <a:gd name="T65" fmla="*/ 192 h 210"/>
              <a:gd name="T66" fmla="*/ 162 w 204"/>
              <a:gd name="T67" fmla="*/ 192 h 210"/>
              <a:gd name="T68" fmla="*/ 144 w 204"/>
              <a:gd name="T69" fmla="*/ 198 h 210"/>
              <a:gd name="T70" fmla="*/ 126 w 204"/>
              <a:gd name="T71" fmla="*/ 204 h 210"/>
              <a:gd name="T72" fmla="*/ 120 w 204"/>
              <a:gd name="T73" fmla="*/ 210 h 210"/>
              <a:gd name="T74" fmla="*/ 108 w 204"/>
              <a:gd name="T75" fmla="*/ 198 h 210"/>
              <a:gd name="T76" fmla="*/ 102 w 204"/>
              <a:gd name="T77" fmla="*/ 192 h 210"/>
              <a:gd name="T78" fmla="*/ 96 w 204"/>
              <a:gd name="T79" fmla="*/ 192 h 210"/>
              <a:gd name="T80" fmla="*/ 78 w 204"/>
              <a:gd name="T81" fmla="*/ 186 h 210"/>
              <a:gd name="T82" fmla="*/ 72 w 204"/>
              <a:gd name="T83" fmla="*/ 186 h 210"/>
              <a:gd name="T84" fmla="*/ 72 w 204"/>
              <a:gd name="T85" fmla="*/ 180 h 210"/>
              <a:gd name="T86" fmla="*/ 66 w 204"/>
              <a:gd name="T87" fmla="*/ 174 h 210"/>
              <a:gd name="T88" fmla="*/ 66 w 204"/>
              <a:gd name="T89" fmla="*/ 162 h 210"/>
              <a:gd name="T90" fmla="*/ 60 w 204"/>
              <a:gd name="T91" fmla="*/ 156 h 210"/>
              <a:gd name="T92" fmla="*/ 60 w 204"/>
              <a:gd name="T93" fmla="*/ 150 h 210"/>
              <a:gd name="T94" fmla="*/ 90 w 204"/>
              <a:gd name="T95" fmla="*/ 114 h 210"/>
              <a:gd name="T96" fmla="*/ 84 w 204"/>
              <a:gd name="T97" fmla="*/ 96 h 210"/>
              <a:gd name="T98" fmla="*/ 54 w 204"/>
              <a:gd name="T99" fmla="*/ 102 h 210"/>
              <a:gd name="T100" fmla="*/ 48 w 204"/>
              <a:gd name="T101" fmla="*/ 90 h 210"/>
              <a:gd name="T102" fmla="*/ 42 w 204"/>
              <a:gd name="T103" fmla="*/ 96 h 210"/>
              <a:gd name="T104" fmla="*/ 24 w 204"/>
              <a:gd name="T105" fmla="*/ 108 h 210"/>
              <a:gd name="T106" fmla="*/ 12 w 204"/>
              <a:gd name="T107" fmla="*/ 114 h 210"/>
              <a:gd name="T108" fmla="*/ 18 w 204"/>
              <a:gd name="T109" fmla="*/ 102 h 210"/>
              <a:gd name="T110" fmla="*/ 12 w 204"/>
              <a:gd name="T111" fmla="*/ 84 h 210"/>
              <a:gd name="T112" fmla="*/ 6 w 204"/>
              <a:gd name="T113" fmla="*/ 78 h 210"/>
              <a:gd name="T114" fmla="*/ 6 w 204"/>
              <a:gd name="T115" fmla="*/ 66 h 2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04" h="210">
                <a:moveTo>
                  <a:pt x="6" y="54"/>
                </a:moveTo>
                <a:lnTo>
                  <a:pt x="12" y="54"/>
                </a:lnTo>
                <a:lnTo>
                  <a:pt x="12" y="54"/>
                </a:lnTo>
                <a:lnTo>
                  <a:pt x="24" y="54"/>
                </a:lnTo>
                <a:lnTo>
                  <a:pt x="36" y="60"/>
                </a:lnTo>
                <a:lnTo>
                  <a:pt x="48" y="60"/>
                </a:lnTo>
                <a:lnTo>
                  <a:pt x="54" y="60"/>
                </a:lnTo>
                <a:lnTo>
                  <a:pt x="54" y="60"/>
                </a:lnTo>
                <a:lnTo>
                  <a:pt x="60" y="60"/>
                </a:lnTo>
                <a:lnTo>
                  <a:pt x="60" y="60"/>
                </a:lnTo>
                <a:lnTo>
                  <a:pt x="60" y="54"/>
                </a:lnTo>
                <a:lnTo>
                  <a:pt x="60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48"/>
                </a:lnTo>
                <a:lnTo>
                  <a:pt x="60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0" y="48"/>
                </a:lnTo>
                <a:lnTo>
                  <a:pt x="60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66" y="42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84" y="12"/>
                </a:lnTo>
                <a:lnTo>
                  <a:pt x="84" y="12"/>
                </a:lnTo>
                <a:lnTo>
                  <a:pt x="84" y="6"/>
                </a:lnTo>
                <a:lnTo>
                  <a:pt x="84" y="12"/>
                </a:lnTo>
                <a:lnTo>
                  <a:pt x="84" y="6"/>
                </a:lnTo>
                <a:lnTo>
                  <a:pt x="84" y="6"/>
                </a:lnTo>
                <a:lnTo>
                  <a:pt x="84" y="12"/>
                </a:lnTo>
                <a:lnTo>
                  <a:pt x="84" y="6"/>
                </a:lnTo>
                <a:lnTo>
                  <a:pt x="90" y="6"/>
                </a:lnTo>
                <a:lnTo>
                  <a:pt x="90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14" y="0"/>
                </a:lnTo>
                <a:lnTo>
                  <a:pt x="114" y="0"/>
                </a:lnTo>
                <a:lnTo>
                  <a:pt x="114" y="0"/>
                </a:lnTo>
                <a:lnTo>
                  <a:pt x="114" y="0"/>
                </a:lnTo>
                <a:lnTo>
                  <a:pt x="114" y="0"/>
                </a:lnTo>
                <a:lnTo>
                  <a:pt x="114" y="0"/>
                </a:lnTo>
                <a:lnTo>
                  <a:pt x="120" y="0"/>
                </a:lnTo>
                <a:lnTo>
                  <a:pt x="120" y="0"/>
                </a:lnTo>
                <a:lnTo>
                  <a:pt x="126" y="6"/>
                </a:lnTo>
                <a:lnTo>
                  <a:pt x="126" y="6"/>
                </a:lnTo>
                <a:lnTo>
                  <a:pt x="126" y="0"/>
                </a:lnTo>
                <a:lnTo>
                  <a:pt x="126" y="0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24"/>
                </a:lnTo>
                <a:lnTo>
                  <a:pt x="168" y="24"/>
                </a:lnTo>
                <a:lnTo>
                  <a:pt x="168" y="24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6"/>
                </a:lnTo>
                <a:lnTo>
                  <a:pt x="180" y="36"/>
                </a:lnTo>
                <a:lnTo>
                  <a:pt x="186" y="36"/>
                </a:lnTo>
                <a:lnTo>
                  <a:pt x="186" y="36"/>
                </a:lnTo>
                <a:lnTo>
                  <a:pt x="186" y="36"/>
                </a:lnTo>
                <a:lnTo>
                  <a:pt x="186" y="36"/>
                </a:lnTo>
                <a:lnTo>
                  <a:pt x="186" y="36"/>
                </a:lnTo>
                <a:lnTo>
                  <a:pt x="186" y="36"/>
                </a:lnTo>
                <a:lnTo>
                  <a:pt x="186" y="36"/>
                </a:lnTo>
                <a:lnTo>
                  <a:pt x="192" y="36"/>
                </a:lnTo>
                <a:lnTo>
                  <a:pt x="192" y="36"/>
                </a:lnTo>
                <a:lnTo>
                  <a:pt x="192" y="36"/>
                </a:lnTo>
                <a:lnTo>
                  <a:pt x="192" y="36"/>
                </a:lnTo>
                <a:lnTo>
                  <a:pt x="192" y="36"/>
                </a:lnTo>
                <a:lnTo>
                  <a:pt x="198" y="42"/>
                </a:lnTo>
                <a:lnTo>
                  <a:pt x="198" y="42"/>
                </a:lnTo>
                <a:lnTo>
                  <a:pt x="198" y="42"/>
                </a:lnTo>
                <a:lnTo>
                  <a:pt x="198" y="42"/>
                </a:lnTo>
                <a:lnTo>
                  <a:pt x="204" y="42"/>
                </a:lnTo>
                <a:lnTo>
                  <a:pt x="204" y="42"/>
                </a:lnTo>
                <a:lnTo>
                  <a:pt x="198" y="42"/>
                </a:lnTo>
                <a:lnTo>
                  <a:pt x="198" y="42"/>
                </a:lnTo>
                <a:lnTo>
                  <a:pt x="198" y="48"/>
                </a:lnTo>
                <a:lnTo>
                  <a:pt x="198" y="48"/>
                </a:lnTo>
                <a:lnTo>
                  <a:pt x="192" y="48"/>
                </a:lnTo>
                <a:lnTo>
                  <a:pt x="198" y="48"/>
                </a:lnTo>
                <a:lnTo>
                  <a:pt x="192" y="48"/>
                </a:lnTo>
                <a:lnTo>
                  <a:pt x="192" y="54"/>
                </a:lnTo>
                <a:lnTo>
                  <a:pt x="192" y="54"/>
                </a:lnTo>
                <a:lnTo>
                  <a:pt x="192" y="54"/>
                </a:lnTo>
                <a:lnTo>
                  <a:pt x="192" y="54"/>
                </a:lnTo>
                <a:lnTo>
                  <a:pt x="192" y="54"/>
                </a:lnTo>
                <a:lnTo>
                  <a:pt x="186" y="54"/>
                </a:lnTo>
                <a:lnTo>
                  <a:pt x="186" y="54"/>
                </a:lnTo>
                <a:lnTo>
                  <a:pt x="186" y="54"/>
                </a:lnTo>
                <a:lnTo>
                  <a:pt x="186" y="48"/>
                </a:lnTo>
                <a:lnTo>
                  <a:pt x="186" y="48"/>
                </a:lnTo>
                <a:lnTo>
                  <a:pt x="186" y="48"/>
                </a:lnTo>
                <a:lnTo>
                  <a:pt x="180" y="54"/>
                </a:lnTo>
                <a:lnTo>
                  <a:pt x="180" y="54"/>
                </a:lnTo>
                <a:lnTo>
                  <a:pt x="180" y="54"/>
                </a:lnTo>
                <a:lnTo>
                  <a:pt x="180" y="54"/>
                </a:lnTo>
                <a:lnTo>
                  <a:pt x="180" y="60"/>
                </a:lnTo>
                <a:lnTo>
                  <a:pt x="174" y="60"/>
                </a:lnTo>
                <a:lnTo>
                  <a:pt x="174" y="60"/>
                </a:lnTo>
                <a:lnTo>
                  <a:pt x="174" y="60"/>
                </a:lnTo>
                <a:lnTo>
                  <a:pt x="174" y="60"/>
                </a:lnTo>
                <a:lnTo>
                  <a:pt x="174" y="60"/>
                </a:lnTo>
                <a:lnTo>
                  <a:pt x="174" y="66"/>
                </a:lnTo>
                <a:lnTo>
                  <a:pt x="174" y="66"/>
                </a:lnTo>
                <a:lnTo>
                  <a:pt x="168" y="66"/>
                </a:lnTo>
                <a:lnTo>
                  <a:pt x="168" y="66"/>
                </a:lnTo>
                <a:lnTo>
                  <a:pt x="168" y="66"/>
                </a:lnTo>
                <a:lnTo>
                  <a:pt x="168" y="66"/>
                </a:lnTo>
                <a:lnTo>
                  <a:pt x="168" y="66"/>
                </a:lnTo>
                <a:lnTo>
                  <a:pt x="168" y="66"/>
                </a:lnTo>
                <a:lnTo>
                  <a:pt x="168" y="66"/>
                </a:lnTo>
                <a:lnTo>
                  <a:pt x="168" y="72"/>
                </a:lnTo>
                <a:lnTo>
                  <a:pt x="162" y="72"/>
                </a:lnTo>
                <a:lnTo>
                  <a:pt x="162" y="72"/>
                </a:lnTo>
                <a:lnTo>
                  <a:pt x="162" y="78"/>
                </a:lnTo>
                <a:lnTo>
                  <a:pt x="162" y="78"/>
                </a:lnTo>
                <a:lnTo>
                  <a:pt x="162" y="78"/>
                </a:lnTo>
                <a:lnTo>
                  <a:pt x="162" y="78"/>
                </a:lnTo>
                <a:lnTo>
                  <a:pt x="162" y="78"/>
                </a:lnTo>
                <a:lnTo>
                  <a:pt x="168" y="78"/>
                </a:lnTo>
                <a:lnTo>
                  <a:pt x="162" y="78"/>
                </a:lnTo>
                <a:lnTo>
                  <a:pt x="168" y="78"/>
                </a:lnTo>
                <a:lnTo>
                  <a:pt x="168" y="84"/>
                </a:lnTo>
                <a:lnTo>
                  <a:pt x="168" y="84"/>
                </a:lnTo>
                <a:lnTo>
                  <a:pt x="168" y="84"/>
                </a:lnTo>
                <a:lnTo>
                  <a:pt x="168" y="90"/>
                </a:lnTo>
                <a:lnTo>
                  <a:pt x="168" y="90"/>
                </a:lnTo>
                <a:lnTo>
                  <a:pt x="168" y="96"/>
                </a:lnTo>
                <a:lnTo>
                  <a:pt x="168" y="96"/>
                </a:lnTo>
                <a:lnTo>
                  <a:pt x="168" y="96"/>
                </a:lnTo>
                <a:lnTo>
                  <a:pt x="168" y="96"/>
                </a:lnTo>
                <a:lnTo>
                  <a:pt x="168" y="102"/>
                </a:lnTo>
                <a:lnTo>
                  <a:pt x="168" y="102"/>
                </a:lnTo>
                <a:lnTo>
                  <a:pt x="168" y="102"/>
                </a:lnTo>
                <a:lnTo>
                  <a:pt x="174" y="102"/>
                </a:lnTo>
                <a:lnTo>
                  <a:pt x="174" y="102"/>
                </a:lnTo>
                <a:lnTo>
                  <a:pt x="174" y="102"/>
                </a:lnTo>
                <a:lnTo>
                  <a:pt x="174" y="108"/>
                </a:lnTo>
                <a:lnTo>
                  <a:pt x="168" y="108"/>
                </a:lnTo>
                <a:lnTo>
                  <a:pt x="168" y="108"/>
                </a:lnTo>
                <a:lnTo>
                  <a:pt x="168" y="108"/>
                </a:lnTo>
                <a:lnTo>
                  <a:pt x="168" y="108"/>
                </a:lnTo>
                <a:lnTo>
                  <a:pt x="168" y="108"/>
                </a:lnTo>
                <a:lnTo>
                  <a:pt x="168" y="114"/>
                </a:lnTo>
                <a:lnTo>
                  <a:pt x="168" y="114"/>
                </a:lnTo>
                <a:lnTo>
                  <a:pt x="168" y="114"/>
                </a:lnTo>
                <a:lnTo>
                  <a:pt x="168" y="114"/>
                </a:lnTo>
                <a:lnTo>
                  <a:pt x="168" y="120"/>
                </a:lnTo>
                <a:lnTo>
                  <a:pt x="168" y="120"/>
                </a:lnTo>
                <a:lnTo>
                  <a:pt x="168" y="120"/>
                </a:lnTo>
                <a:lnTo>
                  <a:pt x="168" y="120"/>
                </a:lnTo>
                <a:lnTo>
                  <a:pt x="162" y="120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38"/>
                </a:lnTo>
                <a:lnTo>
                  <a:pt x="168" y="138"/>
                </a:lnTo>
                <a:lnTo>
                  <a:pt x="168" y="138"/>
                </a:lnTo>
                <a:lnTo>
                  <a:pt x="168" y="144"/>
                </a:lnTo>
                <a:lnTo>
                  <a:pt x="168" y="150"/>
                </a:lnTo>
                <a:lnTo>
                  <a:pt x="168" y="150"/>
                </a:lnTo>
                <a:lnTo>
                  <a:pt x="168" y="150"/>
                </a:lnTo>
                <a:lnTo>
                  <a:pt x="168" y="150"/>
                </a:lnTo>
                <a:lnTo>
                  <a:pt x="168" y="150"/>
                </a:lnTo>
                <a:lnTo>
                  <a:pt x="162" y="156"/>
                </a:lnTo>
                <a:lnTo>
                  <a:pt x="162" y="156"/>
                </a:lnTo>
                <a:lnTo>
                  <a:pt x="162" y="156"/>
                </a:lnTo>
                <a:lnTo>
                  <a:pt x="162" y="162"/>
                </a:lnTo>
                <a:lnTo>
                  <a:pt x="162" y="162"/>
                </a:lnTo>
                <a:lnTo>
                  <a:pt x="162" y="162"/>
                </a:lnTo>
                <a:lnTo>
                  <a:pt x="162" y="162"/>
                </a:lnTo>
                <a:lnTo>
                  <a:pt x="162" y="162"/>
                </a:lnTo>
                <a:lnTo>
                  <a:pt x="162" y="162"/>
                </a:lnTo>
                <a:lnTo>
                  <a:pt x="168" y="168"/>
                </a:lnTo>
                <a:lnTo>
                  <a:pt x="168" y="168"/>
                </a:lnTo>
                <a:lnTo>
                  <a:pt x="168" y="168"/>
                </a:lnTo>
                <a:lnTo>
                  <a:pt x="168" y="168"/>
                </a:lnTo>
                <a:lnTo>
                  <a:pt x="168" y="168"/>
                </a:lnTo>
                <a:lnTo>
                  <a:pt x="168" y="168"/>
                </a:lnTo>
                <a:lnTo>
                  <a:pt x="168" y="168"/>
                </a:lnTo>
                <a:lnTo>
                  <a:pt x="168" y="174"/>
                </a:lnTo>
                <a:lnTo>
                  <a:pt x="174" y="174"/>
                </a:lnTo>
                <a:lnTo>
                  <a:pt x="174" y="174"/>
                </a:lnTo>
                <a:lnTo>
                  <a:pt x="174" y="174"/>
                </a:lnTo>
                <a:lnTo>
                  <a:pt x="174" y="174"/>
                </a:lnTo>
                <a:lnTo>
                  <a:pt x="174" y="174"/>
                </a:lnTo>
                <a:lnTo>
                  <a:pt x="174" y="174"/>
                </a:lnTo>
                <a:lnTo>
                  <a:pt x="174" y="174"/>
                </a:lnTo>
                <a:lnTo>
                  <a:pt x="174" y="174"/>
                </a:lnTo>
                <a:lnTo>
                  <a:pt x="174" y="180"/>
                </a:lnTo>
                <a:lnTo>
                  <a:pt x="174" y="180"/>
                </a:lnTo>
                <a:lnTo>
                  <a:pt x="174" y="180"/>
                </a:lnTo>
                <a:lnTo>
                  <a:pt x="174" y="180"/>
                </a:lnTo>
                <a:lnTo>
                  <a:pt x="174" y="180"/>
                </a:lnTo>
                <a:lnTo>
                  <a:pt x="174" y="180"/>
                </a:lnTo>
                <a:lnTo>
                  <a:pt x="174" y="180"/>
                </a:lnTo>
                <a:lnTo>
                  <a:pt x="174" y="180"/>
                </a:lnTo>
                <a:lnTo>
                  <a:pt x="174" y="186"/>
                </a:lnTo>
                <a:lnTo>
                  <a:pt x="174" y="186"/>
                </a:lnTo>
                <a:lnTo>
                  <a:pt x="174" y="186"/>
                </a:lnTo>
                <a:lnTo>
                  <a:pt x="174" y="186"/>
                </a:lnTo>
                <a:lnTo>
                  <a:pt x="180" y="186"/>
                </a:lnTo>
                <a:lnTo>
                  <a:pt x="180" y="192"/>
                </a:lnTo>
                <a:lnTo>
                  <a:pt x="180" y="192"/>
                </a:lnTo>
                <a:lnTo>
                  <a:pt x="174" y="192"/>
                </a:lnTo>
                <a:lnTo>
                  <a:pt x="180" y="192"/>
                </a:lnTo>
                <a:lnTo>
                  <a:pt x="174" y="192"/>
                </a:lnTo>
                <a:lnTo>
                  <a:pt x="174" y="192"/>
                </a:lnTo>
                <a:lnTo>
                  <a:pt x="174" y="192"/>
                </a:lnTo>
                <a:lnTo>
                  <a:pt x="180" y="192"/>
                </a:lnTo>
                <a:lnTo>
                  <a:pt x="174" y="192"/>
                </a:lnTo>
                <a:lnTo>
                  <a:pt x="180" y="198"/>
                </a:lnTo>
                <a:lnTo>
                  <a:pt x="180" y="198"/>
                </a:lnTo>
                <a:lnTo>
                  <a:pt x="174" y="198"/>
                </a:lnTo>
                <a:lnTo>
                  <a:pt x="174" y="198"/>
                </a:lnTo>
                <a:lnTo>
                  <a:pt x="174" y="198"/>
                </a:lnTo>
                <a:lnTo>
                  <a:pt x="174" y="198"/>
                </a:lnTo>
                <a:lnTo>
                  <a:pt x="174" y="198"/>
                </a:lnTo>
                <a:lnTo>
                  <a:pt x="174" y="192"/>
                </a:lnTo>
                <a:lnTo>
                  <a:pt x="174" y="192"/>
                </a:lnTo>
                <a:lnTo>
                  <a:pt x="174" y="192"/>
                </a:lnTo>
                <a:lnTo>
                  <a:pt x="174" y="192"/>
                </a:lnTo>
                <a:lnTo>
                  <a:pt x="174" y="192"/>
                </a:lnTo>
                <a:lnTo>
                  <a:pt x="174" y="192"/>
                </a:lnTo>
                <a:lnTo>
                  <a:pt x="174" y="192"/>
                </a:lnTo>
                <a:lnTo>
                  <a:pt x="174" y="192"/>
                </a:lnTo>
                <a:lnTo>
                  <a:pt x="174" y="192"/>
                </a:lnTo>
                <a:lnTo>
                  <a:pt x="174" y="192"/>
                </a:lnTo>
                <a:lnTo>
                  <a:pt x="168" y="192"/>
                </a:lnTo>
                <a:lnTo>
                  <a:pt x="168" y="192"/>
                </a:lnTo>
                <a:lnTo>
                  <a:pt x="168" y="192"/>
                </a:lnTo>
                <a:lnTo>
                  <a:pt x="168" y="192"/>
                </a:lnTo>
                <a:lnTo>
                  <a:pt x="168" y="192"/>
                </a:lnTo>
                <a:lnTo>
                  <a:pt x="168" y="192"/>
                </a:lnTo>
                <a:lnTo>
                  <a:pt x="168" y="192"/>
                </a:lnTo>
                <a:lnTo>
                  <a:pt x="168" y="192"/>
                </a:lnTo>
                <a:lnTo>
                  <a:pt x="168" y="192"/>
                </a:lnTo>
                <a:lnTo>
                  <a:pt x="168" y="192"/>
                </a:lnTo>
                <a:lnTo>
                  <a:pt x="168" y="192"/>
                </a:lnTo>
                <a:lnTo>
                  <a:pt x="168" y="192"/>
                </a:lnTo>
                <a:lnTo>
                  <a:pt x="162" y="192"/>
                </a:lnTo>
                <a:lnTo>
                  <a:pt x="162" y="192"/>
                </a:lnTo>
                <a:lnTo>
                  <a:pt x="162" y="192"/>
                </a:lnTo>
                <a:lnTo>
                  <a:pt x="162" y="192"/>
                </a:lnTo>
                <a:lnTo>
                  <a:pt x="162" y="192"/>
                </a:lnTo>
                <a:lnTo>
                  <a:pt x="162" y="192"/>
                </a:lnTo>
                <a:lnTo>
                  <a:pt x="162" y="192"/>
                </a:lnTo>
                <a:lnTo>
                  <a:pt x="162" y="192"/>
                </a:lnTo>
                <a:lnTo>
                  <a:pt x="162" y="192"/>
                </a:lnTo>
                <a:lnTo>
                  <a:pt x="156" y="192"/>
                </a:lnTo>
                <a:lnTo>
                  <a:pt x="156" y="198"/>
                </a:lnTo>
                <a:lnTo>
                  <a:pt x="156" y="198"/>
                </a:lnTo>
                <a:lnTo>
                  <a:pt x="156" y="192"/>
                </a:lnTo>
                <a:lnTo>
                  <a:pt x="156" y="198"/>
                </a:lnTo>
                <a:lnTo>
                  <a:pt x="156" y="198"/>
                </a:lnTo>
                <a:lnTo>
                  <a:pt x="150" y="192"/>
                </a:lnTo>
                <a:lnTo>
                  <a:pt x="150" y="198"/>
                </a:lnTo>
                <a:lnTo>
                  <a:pt x="144" y="198"/>
                </a:lnTo>
                <a:lnTo>
                  <a:pt x="144" y="198"/>
                </a:lnTo>
                <a:lnTo>
                  <a:pt x="144" y="198"/>
                </a:lnTo>
                <a:lnTo>
                  <a:pt x="144" y="198"/>
                </a:lnTo>
                <a:lnTo>
                  <a:pt x="144" y="198"/>
                </a:lnTo>
                <a:lnTo>
                  <a:pt x="138" y="198"/>
                </a:lnTo>
                <a:lnTo>
                  <a:pt x="138" y="198"/>
                </a:lnTo>
                <a:lnTo>
                  <a:pt x="132" y="198"/>
                </a:lnTo>
                <a:lnTo>
                  <a:pt x="132" y="204"/>
                </a:lnTo>
                <a:lnTo>
                  <a:pt x="132" y="204"/>
                </a:lnTo>
                <a:lnTo>
                  <a:pt x="132" y="204"/>
                </a:lnTo>
                <a:lnTo>
                  <a:pt x="126" y="204"/>
                </a:lnTo>
                <a:lnTo>
                  <a:pt x="126" y="204"/>
                </a:lnTo>
                <a:lnTo>
                  <a:pt x="126" y="204"/>
                </a:lnTo>
                <a:lnTo>
                  <a:pt x="126" y="204"/>
                </a:lnTo>
                <a:lnTo>
                  <a:pt x="126" y="210"/>
                </a:lnTo>
                <a:lnTo>
                  <a:pt x="120" y="210"/>
                </a:lnTo>
                <a:lnTo>
                  <a:pt x="120" y="210"/>
                </a:lnTo>
                <a:lnTo>
                  <a:pt x="120" y="210"/>
                </a:lnTo>
                <a:lnTo>
                  <a:pt x="120" y="210"/>
                </a:lnTo>
                <a:lnTo>
                  <a:pt x="120" y="210"/>
                </a:lnTo>
                <a:lnTo>
                  <a:pt x="120" y="210"/>
                </a:lnTo>
                <a:lnTo>
                  <a:pt x="120" y="210"/>
                </a:lnTo>
                <a:lnTo>
                  <a:pt x="120" y="204"/>
                </a:lnTo>
                <a:lnTo>
                  <a:pt x="120" y="204"/>
                </a:lnTo>
                <a:lnTo>
                  <a:pt x="120" y="204"/>
                </a:lnTo>
                <a:lnTo>
                  <a:pt x="120" y="204"/>
                </a:lnTo>
                <a:lnTo>
                  <a:pt x="120" y="204"/>
                </a:lnTo>
                <a:lnTo>
                  <a:pt x="114" y="198"/>
                </a:lnTo>
                <a:lnTo>
                  <a:pt x="108" y="198"/>
                </a:lnTo>
                <a:lnTo>
                  <a:pt x="108" y="198"/>
                </a:lnTo>
                <a:lnTo>
                  <a:pt x="108" y="198"/>
                </a:lnTo>
                <a:lnTo>
                  <a:pt x="108" y="198"/>
                </a:lnTo>
                <a:lnTo>
                  <a:pt x="108" y="198"/>
                </a:lnTo>
                <a:lnTo>
                  <a:pt x="108" y="198"/>
                </a:lnTo>
                <a:lnTo>
                  <a:pt x="108" y="192"/>
                </a:lnTo>
                <a:lnTo>
                  <a:pt x="108" y="192"/>
                </a:lnTo>
                <a:lnTo>
                  <a:pt x="108" y="192"/>
                </a:lnTo>
                <a:lnTo>
                  <a:pt x="108" y="192"/>
                </a:lnTo>
                <a:lnTo>
                  <a:pt x="108" y="192"/>
                </a:lnTo>
                <a:lnTo>
                  <a:pt x="108" y="192"/>
                </a:lnTo>
                <a:lnTo>
                  <a:pt x="108" y="192"/>
                </a:lnTo>
                <a:lnTo>
                  <a:pt x="108" y="192"/>
                </a:lnTo>
                <a:lnTo>
                  <a:pt x="102" y="192"/>
                </a:lnTo>
                <a:lnTo>
                  <a:pt x="102" y="192"/>
                </a:lnTo>
                <a:lnTo>
                  <a:pt x="102" y="192"/>
                </a:lnTo>
                <a:lnTo>
                  <a:pt x="102" y="192"/>
                </a:lnTo>
                <a:lnTo>
                  <a:pt x="102" y="192"/>
                </a:lnTo>
                <a:lnTo>
                  <a:pt x="102" y="192"/>
                </a:lnTo>
                <a:lnTo>
                  <a:pt x="102" y="192"/>
                </a:lnTo>
                <a:lnTo>
                  <a:pt x="96" y="192"/>
                </a:lnTo>
                <a:lnTo>
                  <a:pt x="96" y="192"/>
                </a:lnTo>
                <a:lnTo>
                  <a:pt x="96" y="192"/>
                </a:lnTo>
                <a:lnTo>
                  <a:pt x="96" y="192"/>
                </a:lnTo>
                <a:lnTo>
                  <a:pt x="96" y="192"/>
                </a:lnTo>
                <a:lnTo>
                  <a:pt x="96" y="192"/>
                </a:lnTo>
                <a:lnTo>
                  <a:pt x="90" y="192"/>
                </a:lnTo>
                <a:lnTo>
                  <a:pt x="90" y="192"/>
                </a:lnTo>
                <a:lnTo>
                  <a:pt x="90" y="192"/>
                </a:lnTo>
                <a:lnTo>
                  <a:pt x="90" y="192"/>
                </a:lnTo>
                <a:lnTo>
                  <a:pt x="90" y="192"/>
                </a:lnTo>
                <a:lnTo>
                  <a:pt x="90" y="186"/>
                </a:lnTo>
                <a:lnTo>
                  <a:pt x="84" y="186"/>
                </a:lnTo>
                <a:lnTo>
                  <a:pt x="84" y="186"/>
                </a:lnTo>
                <a:lnTo>
                  <a:pt x="78" y="186"/>
                </a:lnTo>
                <a:lnTo>
                  <a:pt x="78" y="186"/>
                </a:lnTo>
                <a:lnTo>
                  <a:pt x="78" y="186"/>
                </a:lnTo>
                <a:lnTo>
                  <a:pt x="78" y="186"/>
                </a:lnTo>
                <a:lnTo>
                  <a:pt x="78" y="186"/>
                </a:lnTo>
                <a:lnTo>
                  <a:pt x="78" y="186"/>
                </a:lnTo>
                <a:lnTo>
                  <a:pt x="78" y="186"/>
                </a:lnTo>
                <a:lnTo>
                  <a:pt x="78" y="186"/>
                </a:lnTo>
                <a:lnTo>
                  <a:pt x="78" y="186"/>
                </a:lnTo>
                <a:lnTo>
                  <a:pt x="72" y="186"/>
                </a:lnTo>
                <a:lnTo>
                  <a:pt x="72" y="186"/>
                </a:lnTo>
                <a:lnTo>
                  <a:pt x="72" y="186"/>
                </a:lnTo>
                <a:lnTo>
                  <a:pt x="72" y="186"/>
                </a:lnTo>
                <a:lnTo>
                  <a:pt x="72" y="186"/>
                </a:lnTo>
                <a:lnTo>
                  <a:pt x="72" y="186"/>
                </a:lnTo>
                <a:lnTo>
                  <a:pt x="72" y="186"/>
                </a:lnTo>
                <a:lnTo>
                  <a:pt x="66" y="186"/>
                </a:lnTo>
                <a:lnTo>
                  <a:pt x="66" y="180"/>
                </a:lnTo>
                <a:lnTo>
                  <a:pt x="66" y="180"/>
                </a:lnTo>
                <a:lnTo>
                  <a:pt x="66" y="180"/>
                </a:lnTo>
                <a:lnTo>
                  <a:pt x="66" y="180"/>
                </a:lnTo>
                <a:lnTo>
                  <a:pt x="66" y="180"/>
                </a:lnTo>
                <a:lnTo>
                  <a:pt x="66" y="180"/>
                </a:lnTo>
                <a:lnTo>
                  <a:pt x="66" y="180"/>
                </a:lnTo>
                <a:lnTo>
                  <a:pt x="72" y="180"/>
                </a:lnTo>
                <a:lnTo>
                  <a:pt x="66" y="180"/>
                </a:lnTo>
                <a:lnTo>
                  <a:pt x="66" y="180"/>
                </a:lnTo>
                <a:lnTo>
                  <a:pt x="66" y="174"/>
                </a:lnTo>
                <a:lnTo>
                  <a:pt x="66" y="174"/>
                </a:lnTo>
                <a:lnTo>
                  <a:pt x="66" y="174"/>
                </a:lnTo>
                <a:lnTo>
                  <a:pt x="66" y="174"/>
                </a:lnTo>
                <a:lnTo>
                  <a:pt x="66" y="174"/>
                </a:lnTo>
                <a:lnTo>
                  <a:pt x="66" y="174"/>
                </a:lnTo>
                <a:lnTo>
                  <a:pt x="66" y="174"/>
                </a:lnTo>
                <a:lnTo>
                  <a:pt x="66" y="174"/>
                </a:lnTo>
                <a:lnTo>
                  <a:pt x="66" y="174"/>
                </a:lnTo>
                <a:lnTo>
                  <a:pt x="66" y="168"/>
                </a:lnTo>
                <a:lnTo>
                  <a:pt x="66" y="168"/>
                </a:lnTo>
                <a:lnTo>
                  <a:pt x="66" y="168"/>
                </a:lnTo>
                <a:lnTo>
                  <a:pt x="66" y="168"/>
                </a:lnTo>
                <a:lnTo>
                  <a:pt x="66" y="168"/>
                </a:lnTo>
                <a:lnTo>
                  <a:pt x="66" y="168"/>
                </a:lnTo>
                <a:lnTo>
                  <a:pt x="66" y="168"/>
                </a:lnTo>
                <a:lnTo>
                  <a:pt x="66" y="162"/>
                </a:lnTo>
                <a:lnTo>
                  <a:pt x="66" y="162"/>
                </a:lnTo>
                <a:lnTo>
                  <a:pt x="66" y="162"/>
                </a:lnTo>
                <a:lnTo>
                  <a:pt x="66" y="162"/>
                </a:lnTo>
                <a:lnTo>
                  <a:pt x="66" y="162"/>
                </a:lnTo>
                <a:lnTo>
                  <a:pt x="66" y="162"/>
                </a:lnTo>
                <a:lnTo>
                  <a:pt x="66" y="162"/>
                </a:lnTo>
                <a:lnTo>
                  <a:pt x="66" y="162"/>
                </a:lnTo>
                <a:lnTo>
                  <a:pt x="60" y="162"/>
                </a:lnTo>
                <a:lnTo>
                  <a:pt x="60" y="162"/>
                </a:lnTo>
                <a:lnTo>
                  <a:pt x="60" y="156"/>
                </a:lnTo>
                <a:lnTo>
                  <a:pt x="60" y="156"/>
                </a:lnTo>
                <a:lnTo>
                  <a:pt x="60" y="156"/>
                </a:lnTo>
                <a:lnTo>
                  <a:pt x="60" y="156"/>
                </a:lnTo>
                <a:lnTo>
                  <a:pt x="60" y="156"/>
                </a:lnTo>
                <a:lnTo>
                  <a:pt x="60" y="156"/>
                </a:lnTo>
                <a:lnTo>
                  <a:pt x="60" y="150"/>
                </a:lnTo>
                <a:lnTo>
                  <a:pt x="60" y="150"/>
                </a:lnTo>
                <a:lnTo>
                  <a:pt x="60" y="150"/>
                </a:lnTo>
                <a:lnTo>
                  <a:pt x="54" y="150"/>
                </a:lnTo>
                <a:lnTo>
                  <a:pt x="54" y="150"/>
                </a:lnTo>
                <a:lnTo>
                  <a:pt x="60" y="150"/>
                </a:lnTo>
                <a:lnTo>
                  <a:pt x="60" y="150"/>
                </a:lnTo>
                <a:lnTo>
                  <a:pt x="60" y="150"/>
                </a:lnTo>
                <a:lnTo>
                  <a:pt x="60" y="150"/>
                </a:lnTo>
                <a:lnTo>
                  <a:pt x="60" y="150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38"/>
                </a:lnTo>
                <a:lnTo>
                  <a:pt x="60" y="138"/>
                </a:lnTo>
                <a:lnTo>
                  <a:pt x="60" y="138"/>
                </a:lnTo>
                <a:lnTo>
                  <a:pt x="72" y="132"/>
                </a:lnTo>
                <a:lnTo>
                  <a:pt x="84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2"/>
                </a:lnTo>
                <a:lnTo>
                  <a:pt x="90" y="102"/>
                </a:lnTo>
                <a:lnTo>
                  <a:pt x="90" y="102"/>
                </a:lnTo>
                <a:lnTo>
                  <a:pt x="90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72" y="96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0"/>
                </a:lnTo>
                <a:lnTo>
                  <a:pt x="48" y="90"/>
                </a:lnTo>
                <a:lnTo>
                  <a:pt x="54" y="90"/>
                </a:lnTo>
                <a:lnTo>
                  <a:pt x="54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2" y="96"/>
                </a:lnTo>
                <a:lnTo>
                  <a:pt x="42" y="96"/>
                </a:lnTo>
                <a:lnTo>
                  <a:pt x="42" y="102"/>
                </a:lnTo>
                <a:lnTo>
                  <a:pt x="36" y="102"/>
                </a:lnTo>
                <a:lnTo>
                  <a:pt x="36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24" y="102"/>
                </a:lnTo>
                <a:lnTo>
                  <a:pt x="24" y="108"/>
                </a:lnTo>
                <a:lnTo>
                  <a:pt x="24" y="108"/>
                </a:lnTo>
                <a:lnTo>
                  <a:pt x="18" y="108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96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0" y="72"/>
                </a:lnTo>
                <a:lnTo>
                  <a:pt x="6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6" y="66"/>
                </a:lnTo>
                <a:lnTo>
                  <a:pt x="0" y="66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77" name="Freeform 310"/>
          <p:cNvSpPr>
            <a:spLocks/>
          </p:cNvSpPr>
          <p:nvPr/>
        </p:nvSpPr>
        <p:spPr bwMode="auto">
          <a:xfrm>
            <a:off x="7892550" y="3672469"/>
            <a:ext cx="83513" cy="57817"/>
          </a:xfrm>
          <a:custGeom>
            <a:avLst/>
            <a:gdLst>
              <a:gd name="T0" fmla="*/ 0 w 78"/>
              <a:gd name="T1" fmla="*/ 18 h 54"/>
              <a:gd name="T2" fmla="*/ 0 w 78"/>
              <a:gd name="T3" fmla="*/ 18 h 54"/>
              <a:gd name="T4" fmla="*/ 0 w 78"/>
              <a:gd name="T5" fmla="*/ 12 h 54"/>
              <a:gd name="T6" fmla="*/ 6 w 78"/>
              <a:gd name="T7" fmla="*/ 12 h 54"/>
              <a:gd name="T8" fmla="*/ 12 w 78"/>
              <a:gd name="T9" fmla="*/ 12 h 54"/>
              <a:gd name="T10" fmla="*/ 12 w 78"/>
              <a:gd name="T11" fmla="*/ 12 h 54"/>
              <a:gd name="T12" fmla="*/ 18 w 78"/>
              <a:gd name="T13" fmla="*/ 12 h 54"/>
              <a:gd name="T14" fmla="*/ 18 w 78"/>
              <a:gd name="T15" fmla="*/ 12 h 54"/>
              <a:gd name="T16" fmla="*/ 24 w 78"/>
              <a:gd name="T17" fmla="*/ 12 h 54"/>
              <a:gd name="T18" fmla="*/ 24 w 78"/>
              <a:gd name="T19" fmla="*/ 6 h 54"/>
              <a:gd name="T20" fmla="*/ 30 w 78"/>
              <a:gd name="T21" fmla="*/ 12 h 54"/>
              <a:gd name="T22" fmla="*/ 30 w 78"/>
              <a:gd name="T23" fmla="*/ 6 h 54"/>
              <a:gd name="T24" fmla="*/ 30 w 78"/>
              <a:gd name="T25" fmla="*/ 6 h 54"/>
              <a:gd name="T26" fmla="*/ 30 w 78"/>
              <a:gd name="T27" fmla="*/ 0 h 54"/>
              <a:gd name="T28" fmla="*/ 30 w 78"/>
              <a:gd name="T29" fmla="*/ 6 h 54"/>
              <a:gd name="T30" fmla="*/ 30 w 78"/>
              <a:gd name="T31" fmla="*/ 6 h 54"/>
              <a:gd name="T32" fmla="*/ 36 w 78"/>
              <a:gd name="T33" fmla="*/ 6 h 54"/>
              <a:gd name="T34" fmla="*/ 42 w 78"/>
              <a:gd name="T35" fmla="*/ 6 h 54"/>
              <a:gd name="T36" fmla="*/ 42 w 78"/>
              <a:gd name="T37" fmla="*/ 6 h 54"/>
              <a:gd name="T38" fmla="*/ 42 w 78"/>
              <a:gd name="T39" fmla="*/ 0 h 54"/>
              <a:gd name="T40" fmla="*/ 48 w 78"/>
              <a:gd name="T41" fmla="*/ 0 h 54"/>
              <a:gd name="T42" fmla="*/ 66 w 78"/>
              <a:gd name="T43" fmla="*/ 6 h 54"/>
              <a:gd name="T44" fmla="*/ 66 w 78"/>
              <a:gd name="T45" fmla="*/ 6 h 54"/>
              <a:gd name="T46" fmla="*/ 66 w 78"/>
              <a:gd name="T47" fmla="*/ 12 h 54"/>
              <a:gd name="T48" fmla="*/ 66 w 78"/>
              <a:gd name="T49" fmla="*/ 24 h 54"/>
              <a:gd name="T50" fmla="*/ 66 w 78"/>
              <a:gd name="T51" fmla="*/ 24 h 54"/>
              <a:gd name="T52" fmla="*/ 66 w 78"/>
              <a:gd name="T53" fmla="*/ 24 h 54"/>
              <a:gd name="T54" fmla="*/ 66 w 78"/>
              <a:gd name="T55" fmla="*/ 30 h 54"/>
              <a:gd name="T56" fmla="*/ 66 w 78"/>
              <a:gd name="T57" fmla="*/ 30 h 54"/>
              <a:gd name="T58" fmla="*/ 72 w 78"/>
              <a:gd name="T59" fmla="*/ 30 h 54"/>
              <a:gd name="T60" fmla="*/ 78 w 78"/>
              <a:gd name="T61" fmla="*/ 36 h 54"/>
              <a:gd name="T62" fmla="*/ 78 w 78"/>
              <a:gd name="T63" fmla="*/ 42 h 54"/>
              <a:gd name="T64" fmla="*/ 78 w 78"/>
              <a:gd name="T65" fmla="*/ 48 h 54"/>
              <a:gd name="T66" fmla="*/ 78 w 78"/>
              <a:gd name="T67" fmla="*/ 48 h 54"/>
              <a:gd name="T68" fmla="*/ 78 w 78"/>
              <a:gd name="T69" fmla="*/ 54 h 54"/>
              <a:gd name="T70" fmla="*/ 72 w 78"/>
              <a:gd name="T71" fmla="*/ 54 h 54"/>
              <a:gd name="T72" fmla="*/ 60 w 78"/>
              <a:gd name="T73" fmla="*/ 54 h 54"/>
              <a:gd name="T74" fmla="*/ 54 w 78"/>
              <a:gd name="T75" fmla="*/ 48 h 54"/>
              <a:gd name="T76" fmla="*/ 54 w 78"/>
              <a:gd name="T77" fmla="*/ 48 h 54"/>
              <a:gd name="T78" fmla="*/ 48 w 78"/>
              <a:gd name="T79" fmla="*/ 48 h 54"/>
              <a:gd name="T80" fmla="*/ 36 w 78"/>
              <a:gd name="T81" fmla="*/ 54 h 54"/>
              <a:gd name="T82" fmla="*/ 36 w 78"/>
              <a:gd name="T83" fmla="*/ 54 h 54"/>
              <a:gd name="T84" fmla="*/ 36 w 78"/>
              <a:gd name="T85" fmla="*/ 54 h 54"/>
              <a:gd name="T86" fmla="*/ 30 w 78"/>
              <a:gd name="T87" fmla="*/ 54 h 54"/>
              <a:gd name="T88" fmla="*/ 30 w 78"/>
              <a:gd name="T89" fmla="*/ 54 h 54"/>
              <a:gd name="T90" fmla="*/ 30 w 78"/>
              <a:gd name="T91" fmla="*/ 54 h 54"/>
              <a:gd name="T92" fmla="*/ 24 w 78"/>
              <a:gd name="T93" fmla="*/ 54 h 54"/>
              <a:gd name="T94" fmla="*/ 24 w 78"/>
              <a:gd name="T95" fmla="*/ 48 h 54"/>
              <a:gd name="T96" fmla="*/ 24 w 78"/>
              <a:gd name="T97" fmla="*/ 48 h 54"/>
              <a:gd name="T98" fmla="*/ 24 w 78"/>
              <a:gd name="T99" fmla="*/ 42 h 54"/>
              <a:gd name="T100" fmla="*/ 18 w 78"/>
              <a:gd name="T101" fmla="*/ 42 h 54"/>
              <a:gd name="T102" fmla="*/ 18 w 78"/>
              <a:gd name="T103" fmla="*/ 36 h 54"/>
              <a:gd name="T104" fmla="*/ 12 w 78"/>
              <a:gd name="T105" fmla="*/ 36 h 54"/>
              <a:gd name="T106" fmla="*/ 12 w 78"/>
              <a:gd name="T107" fmla="*/ 36 h 54"/>
              <a:gd name="T108" fmla="*/ 12 w 78"/>
              <a:gd name="T109" fmla="*/ 30 h 54"/>
              <a:gd name="T110" fmla="*/ 6 w 78"/>
              <a:gd name="T111" fmla="*/ 30 h 54"/>
              <a:gd name="T112" fmla="*/ 6 w 78"/>
              <a:gd name="T113" fmla="*/ 24 h 54"/>
              <a:gd name="T114" fmla="*/ 6 w 78"/>
              <a:gd name="T115" fmla="*/ 24 h 54"/>
              <a:gd name="T116" fmla="*/ 0 w 78"/>
              <a:gd name="T117" fmla="*/ 18 h 54"/>
              <a:gd name="T118" fmla="*/ 0 w 78"/>
              <a:gd name="T119" fmla="*/ 18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8" h="54">
                <a:moveTo>
                  <a:pt x="0" y="18"/>
                </a:move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6" y="18"/>
                </a:lnTo>
                <a:lnTo>
                  <a:pt x="0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8" y="12"/>
                </a:lnTo>
                <a:lnTo>
                  <a:pt x="18" y="12"/>
                </a:lnTo>
                <a:lnTo>
                  <a:pt x="12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24" y="12"/>
                </a:lnTo>
                <a:lnTo>
                  <a:pt x="18" y="12"/>
                </a:lnTo>
                <a:lnTo>
                  <a:pt x="24" y="6"/>
                </a:lnTo>
                <a:lnTo>
                  <a:pt x="24" y="6"/>
                </a:lnTo>
                <a:lnTo>
                  <a:pt x="24" y="12"/>
                </a:lnTo>
                <a:lnTo>
                  <a:pt x="24" y="6"/>
                </a:lnTo>
                <a:lnTo>
                  <a:pt x="30" y="12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0"/>
                </a:lnTo>
                <a:lnTo>
                  <a:pt x="30" y="0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60" y="0"/>
                </a:lnTo>
                <a:lnTo>
                  <a:pt x="60" y="0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12"/>
                </a:lnTo>
                <a:lnTo>
                  <a:pt x="66" y="12"/>
                </a:lnTo>
                <a:lnTo>
                  <a:pt x="66" y="18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0" y="24"/>
                </a:lnTo>
                <a:lnTo>
                  <a:pt x="60" y="24"/>
                </a:lnTo>
                <a:lnTo>
                  <a:pt x="66" y="24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8" y="30"/>
                </a:lnTo>
                <a:lnTo>
                  <a:pt x="78" y="36"/>
                </a:lnTo>
                <a:lnTo>
                  <a:pt x="78" y="36"/>
                </a:lnTo>
                <a:lnTo>
                  <a:pt x="78" y="42"/>
                </a:lnTo>
                <a:lnTo>
                  <a:pt x="78" y="42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2" y="54"/>
                </a:lnTo>
                <a:lnTo>
                  <a:pt x="72" y="54"/>
                </a:lnTo>
                <a:lnTo>
                  <a:pt x="66" y="54"/>
                </a:lnTo>
                <a:lnTo>
                  <a:pt x="60" y="54"/>
                </a:lnTo>
                <a:lnTo>
                  <a:pt x="60" y="54"/>
                </a:lnTo>
                <a:lnTo>
                  <a:pt x="54" y="54"/>
                </a:lnTo>
                <a:lnTo>
                  <a:pt x="54" y="54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36" y="48"/>
                </a:lnTo>
                <a:lnTo>
                  <a:pt x="36" y="48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6" y="36"/>
                </a:lnTo>
                <a:lnTo>
                  <a:pt x="12" y="30"/>
                </a:lnTo>
                <a:lnTo>
                  <a:pt x="12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0" y="24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78" name="Freeform 311"/>
          <p:cNvSpPr>
            <a:spLocks/>
          </p:cNvSpPr>
          <p:nvPr/>
        </p:nvSpPr>
        <p:spPr bwMode="auto">
          <a:xfrm>
            <a:off x="7449291" y="3987250"/>
            <a:ext cx="109209" cy="147754"/>
          </a:xfrm>
          <a:custGeom>
            <a:avLst/>
            <a:gdLst>
              <a:gd name="T0" fmla="*/ 0 w 102"/>
              <a:gd name="T1" fmla="*/ 60 h 138"/>
              <a:gd name="T2" fmla="*/ 6 w 102"/>
              <a:gd name="T3" fmla="*/ 54 h 138"/>
              <a:gd name="T4" fmla="*/ 12 w 102"/>
              <a:gd name="T5" fmla="*/ 54 h 138"/>
              <a:gd name="T6" fmla="*/ 12 w 102"/>
              <a:gd name="T7" fmla="*/ 42 h 138"/>
              <a:gd name="T8" fmla="*/ 6 w 102"/>
              <a:gd name="T9" fmla="*/ 30 h 138"/>
              <a:gd name="T10" fmla="*/ 6 w 102"/>
              <a:gd name="T11" fmla="*/ 24 h 138"/>
              <a:gd name="T12" fmla="*/ 6 w 102"/>
              <a:gd name="T13" fmla="*/ 24 h 138"/>
              <a:gd name="T14" fmla="*/ 12 w 102"/>
              <a:gd name="T15" fmla="*/ 18 h 138"/>
              <a:gd name="T16" fmla="*/ 30 w 102"/>
              <a:gd name="T17" fmla="*/ 18 h 138"/>
              <a:gd name="T18" fmla="*/ 36 w 102"/>
              <a:gd name="T19" fmla="*/ 12 h 138"/>
              <a:gd name="T20" fmla="*/ 42 w 102"/>
              <a:gd name="T21" fmla="*/ 6 h 138"/>
              <a:gd name="T22" fmla="*/ 48 w 102"/>
              <a:gd name="T23" fmla="*/ 6 h 138"/>
              <a:gd name="T24" fmla="*/ 54 w 102"/>
              <a:gd name="T25" fmla="*/ 6 h 138"/>
              <a:gd name="T26" fmla="*/ 66 w 102"/>
              <a:gd name="T27" fmla="*/ 6 h 138"/>
              <a:gd name="T28" fmla="*/ 72 w 102"/>
              <a:gd name="T29" fmla="*/ 6 h 138"/>
              <a:gd name="T30" fmla="*/ 72 w 102"/>
              <a:gd name="T31" fmla="*/ 12 h 138"/>
              <a:gd name="T32" fmla="*/ 84 w 102"/>
              <a:gd name="T33" fmla="*/ 12 h 138"/>
              <a:gd name="T34" fmla="*/ 90 w 102"/>
              <a:gd name="T35" fmla="*/ 12 h 138"/>
              <a:gd name="T36" fmla="*/ 90 w 102"/>
              <a:gd name="T37" fmla="*/ 18 h 138"/>
              <a:gd name="T38" fmla="*/ 96 w 102"/>
              <a:gd name="T39" fmla="*/ 30 h 138"/>
              <a:gd name="T40" fmla="*/ 102 w 102"/>
              <a:gd name="T41" fmla="*/ 30 h 138"/>
              <a:gd name="T42" fmla="*/ 102 w 102"/>
              <a:gd name="T43" fmla="*/ 36 h 138"/>
              <a:gd name="T44" fmla="*/ 96 w 102"/>
              <a:gd name="T45" fmla="*/ 36 h 138"/>
              <a:gd name="T46" fmla="*/ 102 w 102"/>
              <a:gd name="T47" fmla="*/ 48 h 138"/>
              <a:gd name="T48" fmla="*/ 102 w 102"/>
              <a:gd name="T49" fmla="*/ 60 h 138"/>
              <a:gd name="T50" fmla="*/ 96 w 102"/>
              <a:gd name="T51" fmla="*/ 60 h 138"/>
              <a:gd name="T52" fmla="*/ 90 w 102"/>
              <a:gd name="T53" fmla="*/ 66 h 138"/>
              <a:gd name="T54" fmla="*/ 90 w 102"/>
              <a:gd name="T55" fmla="*/ 72 h 138"/>
              <a:gd name="T56" fmla="*/ 90 w 102"/>
              <a:gd name="T57" fmla="*/ 78 h 138"/>
              <a:gd name="T58" fmla="*/ 90 w 102"/>
              <a:gd name="T59" fmla="*/ 78 h 138"/>
              <a:gd name="T60" fmla="*/ 90 w 102"/>
              <a:gd name="T61" fmla="*/ 84 h 138"/>
              <a:gd name="T62" fmla="*/ 90 w 102"/>
              <a:gd name="T63" fmla="*/ 90 h 138"/>
              <a:gd name="T64" fmla="*/ 84 w 102"/>
              <a:gd name="T65" fmla="*/ 96 h 138"/>
              <a:gd name="T66" fmla="*/ 84 w 102"/>
              <a:gd name="T67" fmla="*/ 102 h 138"/>
              <a:gd name="T68" fmla="*/ 84 w 102"/>
              <a:gd name="T69" fmla="*/ 108 h 138"/>
              <a:gd name="T70" fmla="*/ 84 w 102"/>
              <a:gd name="T71" fmla="*/ 114 h 138"/>
              <a:gd name="T72" fmla="*/ 96 w 102"/>
              <a:gd name="T73" fmla="*/ 120 h 138"/>
              <a:gd name="T74" fmla="*/ 96 w 102"/>
              <a:gd name="T75" fmla="*/ 126 h 138"/>
              <a:gd name="T76" fmla="*/ 90 w 102"/>
              <a:gd name="T77" fmla="*/ 126 h 138"/>
              <a:gd name="T78" fmla="*/ 90 w 102"/>
              <a:gd name="T79" fmla="*/ 132 h 138"/>
              <a:gd name="T80" fmla="*/ 84 w 102"/>
              <a:gd name="T81" fmla="*/ 138 h 138"/>
              <a:gd name="T82" fmla="*/ 84 w 102"/>
              <a:gd name="T83" fmla="*/ 132 h 138"/>
              <a:gd name="T84" fmla="*/ 84 w 102"/>
              <a:gd name="T85" fmla="*/ 126 h 138"/>
              <a:gd name="T86" fmla="*/ 78 w 102"/>
              <a:gd name="T87" fmla="*/ 126 h 138"/>
              <a:gd name="T88" fmla="*/ 72 w 102"/>
              <a:gd name="T89" fmla="*/ 126 h 138"/>
              <a:gd name="T90" fmla="*/ 72 w 102"/>
              <a:gd name="T91" fmla="*/ 120 h 138"/>
              <a:gd name="T92" fmla="*/ 72 w 102"/>
              <a:gd name="T93" fmla="*/ 114 h 138"/>
              <a:gd name="T94" fmla="*/ 72 w 102"/>
              <a:gd name="T95" fmla="*/ 114 h 138"/>
              <a:gd name="T96" fmla="*/ 66 w 102"/>
              <a:gd name="T97" fmla="*/ 114 h 138"/>
              <a:gd name="T98" fmla="*/ 60 w 102"/>
              <a:gd name="T99" fmla="*/ 120 h 138"/>
              <a:gd name="T100" fmla="*/ 48 w 102"/>
              <a:gd name="T101" fmla="*/ 120 h 138"/>
              <a:gd name="T102" fmla="*/ 42 w 102"/>
              <a:gd name="T103" fmla="*/ 114 h 138"/>
              <a:gd name="T104" fmla="*/ 36 w 102"/>
              <a:gd name="T105" fmla="*/ 108 h 138"/>
              <a:gd name="T106" fmla="*/ 30 w 102"/>
              <a:gd name="T107" fmla="*/ 102 h 138"/>
              <a:gd name="T108" fmla="*/ 36 w 102"/>
              <a:gd name="T109" fmla="*/ 96 h 138"/>
              <a:gd name="T110" fmla="*/ 24 w 102"/>
              <a:gd name="T111" fmla="*/ 90 h 138"/>
              <a:gd name="T112" fmla="*/ 24 w 102"/>
              <a:gd name="T113" fmla="*/ 84 h 138"/>
              <a:gd name="T114" fmla="*/ 12 w 102"/>
              <a:gd name="T115" fmla="*/ 84 h 138"/>
              <a:gd name="T116" fmla="*/ 12 w 102"/>
              <a:gd name="T117" fmla="*/ 78 h 138"/>
              <a:gd name="T118" fmla="*/ 6 w 102"/>
              <a:gd name="T119" fmla="*/ 72 h 138"/>
              <a:gd name="T120" fmla="*/ 0 w 102"/>
              <a:gd name="T121" fmla="*/ 66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2" h="138">
                <a:moveTo>
                  <a:pt x="0" y="66"/>
                </a:move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6" y="42"/>
                </a:lnTo>
                <a:lnTo>
                  <a:pt x="12" y="42"/>
                </a:lnTo>
                <a:lnTo>
                  <a:pt x="6" y="42"/>
                </a:lnTo>
                <a:lnTo>
                  <a:pt x="12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0" y="24"/>
                </a:lnTo>
                <a:lnTo>
                  <a:pt x="0" y="18"/>
                </a:lnTo>
                <a:lnTo>
                  <a:pt x="0" y="18"/>
                </a:lnTo>
                <a:lnTo>
                  <a:pt x="6" y="24"/>
                </a:lnTo>
                <a:lnTo>
                  <a:pt x="6" y="18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8" y="18"/>
                </a:lnTo>
                <a:lnTo>
                  <a:pt x="18" y="18"/>
                </a:lnTo>
                <a:lnTo>
                  <a:pt x="18" y="12"/>
                </a:lnTo>
                <a:lnTo>
                  <a:pt x="18" y="12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2"/>
                </a:lnTo>
                <a:lnTo>
                  <a:pt x="30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0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0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8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6"/>
                </a:lnTo>
                <a:lnTo>
                  <a:pt x="102" y="36"/>
                </a:lnTo>
                <a:lnTo>
                  <a:pt x="96" y="36"/>
                </a:lnTo>
                <a:lnTo>
                  <a:pt x="102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42"/>
                </a:lnTo>
                <a:lnTo>
                  <a:pt x="96" y="42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6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84" y="90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78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102"/>
                </a:lnTo>
                <a:lnTo>
                  <a:pt x="84" y="102"/>
                </a:lnTo>
                <a:lnTo>
                  <a:pt x="84" y="102"/>
                </a:lnTo>
                <a:lnTo>
                  <a:pt x="84" y="102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78" y="108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6"/>
                </a:lnTo>
                <a:lnTo>
                  <a:pt x="102" y="126"/>
                </a:lnTo>
                <a:lnTo>
                  <a:pt x="102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0" y="126"/>
                </a:lnTo>
                <a:lnTo>
                  <a:pt x="90" y="126"/>
                </a:lnTo>
                <a:lnTo>
                  <a:pt x="90" y="126"/>
                </a:lnTo>
                <a:lnTo>
                  <a:pt x="90" y="126"/>
                </a:lnTo>
                <a:lnTo>
                  <a:pt x="90" y="126"/>
                </a:lnTo>
                <a:lnTo>
                  <a:pt x="96" y="126"/>
                </a:lnTo>
                <a:lnTo>
                  <a:pt x="96" y="132"/>
                </a:lnTo>
                <a:lnTo>
                  <a:pt x="96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78" y="126"/>
                </a:lnTo>
                <a:lnTo>
                  <a:pt x="78" y="126"/>
                </a:lnTo>
                <a:lnTo>
                  <a:pt x="78" y="126"/>
                </a:lnTo>
                <a:lnTo>
                  <a:pt x="78" y="126"/>
                </a:lnTo>
                <a:lnTo>
                  <a:pt x="78" y="126"/>
                </a:lnTo>
                <a:lnTo>
                  <a:pt x="78" y="126"/>
                </a:lnTo>
                <a:lnTo>
                  <a:pt x="78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08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48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20"/>
                </a:lnTo>
                <a:lnTo>
                  <a:pt x="42" y="120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36" y="114"/>
                </a:lnTo>
                <a:lnTo>
                  <a:pt x="42" y="114"/>
                </a:lnTo>
                <a:lnTo>
                  <a:pt x="36" y="114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0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0" y="102"/>
                </a:lnTo>
                <a:lnTo>
                  <a:pt x="36" y="102"/>
                </a:lnTo>
                <a:lnTo>
                  <a:pt x="30" y="102"/>
                </a:lnTo>
                <a:lnTo>
                  <a:pt x="36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96"/>
                </a:lnTo>
                <a:lnTo>
                  <a:pt x="36" y="96"/>
                </a:lnTo>
                <a:lnTo>
                  <a:pt x="36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0"/>
                </a:lnTo>
                <a:lnTo>
                  <a:pt x="24" y="96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18" y="84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0" y="72"/>
                </a:lnTo>
                <a:lnTo>
                  <a:pt x="0" y="66"/>
                </a:lnTo>
                <a:lnTo>
                  <a:pt x="0" y="66"/>
                </a:lnTo>
                <a:lnTo>
                  <a:pt x="0" y="72"/>
                </a:lnTo>
                <a:lnTo>
                  <a:pt x="0" y="72"/>
                </a:lnTo>
                <a:lnTo>
                  <a:pt x="0" y="6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79" name="Freeform 312"/>
          <p:cNvSpPr>
            <a:spLocks/>
          </p:cNvSpPr>
          <p:nvPr/>
        </p:nvSpPr>
        <p:spPr bwMode="auto">
          <a:xfrm>
            <a:off x="7539227" y="3524715"/>
            <a:ext cx="134905" cy="186299"/>
          </a:xfrm>
          <a:custGeom>
            <a:avLst/>
            <a:gdLst>
              <a:gd name="T0" fmla="*/ 12 w 126"/>
              <a:gd name="T1" fmla="*/ 150 h 174"/>
              <a:gd name="T2" fmla="*/ 18 w 126"/>
              <a:gd name="T3" fmla="*/ 150 h 174"/>
              <a:gd name="T4" fmla="*/ 24 w 126"/>
              <a:gd name="T5" fmla="*/ 144 h 174"/>
              <a:gd name="T6" fmla="*/ 30 w 126"/>
              <a:gd name="T7" fmla="*/ 138 h 174"/>
              <a:gd name="T8" fmla="*/ 24 w 126"/>
              <a:gd name="T9" fmla="*/ 132 h 174"/>
              <a:gd name="T10" fmla="*/ 18 w 126"/>
              <a:gd name="T11" fmla="*/ 132 h 174"/>
              <a:gd name="T12" fmla="*/ 12 w 126"/>
              <a:gd name="T13" fmla="*/ 126 h 174"/>
              <a:gd name="T14" fmla="*/ 6 w 126"/>
              <a:gd name="T15" fmla="*/ 126 h 174"/>
              <a:gd name="T16" fmla="*/ 6 w 126"/>
              <a:gd name="T17" fmla="*/ 120 h 174"/>
              <a:gd name="T18" fmla="*/ 0 w 126"/>
              <a:gd name="T19" fmla="*/ 114 h 174"/>
              <a:gd name="T20" fmla="*/ 6 w 126"/>
              <a:gd name="T21" fmla="*/ 108 h 174"/>
              <a:gd name="T22" fmla="*/ 12 w 126"/>
              <a:gd name="T23" fmla="*/ 102 h 174"/>
              <a:gd name="T24" fmla="*/ 18 w 126"/>
              <a:gd name="T25" fmla="*/ 96 h 174"/>
              <a:gd name="T26" fmla="*/ 24 w 126"/>
              <a:gd name="T27" fmla="*/ 90 h 174"/>
              <a:gd name="T28" fmla="*/ 30 w 126"/>
              <a:gd name="T29" fmla="*/ 84 h 174"/>
              <a:gd name="T30" fmla="*/ 36 w 126"/>
              <a:gd name="T31" fmla="*/ 72 h 174"/>
              <a:gd name="T32" fmla="*/ 48 w 126"/>
              <a:gd name="T33" fmla="*/ 66 h 174"/>
              <a:gd name="T34" fmla="*/ 54 w 126"/>
              <a:gd name="T35" fmla="*/ 54 h 174"/>
              <a:gd name="T36" fmla="*/ 60 w 126"/>
              <a:gd name="T37" fmla="*/ 48 h 174"/>
              <a:gd name="T38" fmla="*/ 60 w 126"/>
              <a:gd name="T39" fmla="*/ 36 h 174"/>
              <a:gd name="T40" fmla="*/ 66 w 126"/>
              <a:gd name="T41" fmla="*/ 30 h 174"/>
              <a:gd name="T42" fmla="*/ 72 w 126"/>
              <a:gd name="T43" fmla="*/ 24 h 174"/>
              <a:gd name="T44" fmla="*/ 72 w 126"/>
              <a:gd name="T45" fmla="*/ 18 h 174"/>
              <a:gd name="T46" fmla="*/ 78 w 126"/>
              <a:gd name="T47" fmla="*/ 24 h 174"/>
              <a:gd name="T48" fmla="*/ 90 w 126"/>
              <a:gd name="T49" fmla="*/ 24 h 174"/>
              <a:gd name="T50" fmla="*/ 90 w 126"/>
              <a:gd name="T51" fmla="*/ 18 h 174"/>
              <a:gd name="T52" fmla="*/ 96 w 126"/>
              <a:gd name="T53" fmla="*/ 18 h 174"/>
              <a:gd name="T54" fmla="*/ 102 w 126"/>
              <a:gd name="T55" fmla="*/ 12 h 174"/>
              <a:gd name="T56" fmla="*/ 102 w 126"/>
              <a:gd name="T57" fmla="*/ 6 h 174"/>
              <a:gd name="T58" fmla="*/ 108 w 126"/>
              <a:gd name="T59" fmla="*/ 6 h 174"/>
              <a:gd name="T60" fmla="*/ 108 w 126"/>
              <a:gd name="T61" fmla="*/ 12 h 174"/>
              <a:gd name="T62" fmla="*/ 120 w 126"/>
              <a:gd name="T63" fmla="*/ 54 h 174"/>
              <a:gd name="T64" fmla="*/ 120 w 126"/>
              <a:gd name="T65" fmla="*/ 60 h 174"/>
              <a:gd name="T66" fmla="*/ 120 w 126"/>
              <a:gd name="T67" fmla="*/ 72 h 174"/>
              <a:gd name="T68" fmla="*/ 120 w 126"/>
              <a:gd name="T69" fmla="*/ 84 h 174"/>
              <a:gd name="T70" fmla="*/ 120 w 126"/>
              <a:gd name="T71" fmla="*/ 90 h 174"/>
              <a:gd name="T72" fmla="*/ 120 w 126"/>
              <a:gd name="T73" fmla="*/ 96 h 174"/>
              <a:gd name="T74" fmla="*/ 114 w 126"/>
              <a:gd name="T75" fmla="*/ 108 h 174"/>
              <a:gd name="T76" fmla="*/ 108 w 126"/>
              <a:gd name="T77" fmla="*/ 108 h 174"/>
              <a:gd name="T78" fmla="*/ 108 w 126"/>
              <a:gd name="T79" fmla="*/ 114 h 174"/>
              <a:gd name="T80" fmla="*/ 108 w 126"/>
              <a:gd name="T81" fmla="*/ 120 h 174"/>
              <a:gd name="T82" fmla="*/ 102 w 126"/>
              <a:gd name="T83" fmla="*/ 120 h 174"/>
              <a:gd name="T84" fmla="*/ 96 w 126"/>
              <a:gd name="T85" fmla="*/ 120 h 174"/>
              <a:gd name="T86" fmla="*/ 84 w 126"/>
              <a:gd name="T87" fmla="*/ 120 h 174"/>
              <a:gd name="T88" fmla="*/ 78 w 126"/>
              <a:gd name="T89" fmla="*/ 120 h 174"/>
              <a:gd name="T90" fmla="*/ 72 w 126"/>
              <a:gd name="T91" fmla="*/ 132 h 174"/>
              <a:gd name="T92" fmla="*/ 72 w 126"/>
              <a:gd name="T93" fmla="*/ 138 h 174"/>
              <a:gd name="T94" fmla="*/ 60 w 126"/>
              <a:gd name="T95" fmla="*/ 144 h 174"/>
              <a:gd name="T96" fmla="*/ 60 w 126"/>
              <a:gd name="T97" fmla="*/ 150 h 174"/>
              <a:gd name="T98" fmla="*/ 72 w 126"/>
              <a:gd name="T99" fmla="*/ 162 h 174"/>
              <a:gd name="T100" fmla="*/ 72 w 126"/>
              <a:gd name="T101" fmla="*/ 168 h 174"/>
              <a:gd name="T102" fmla="*/ 72 w 126"/>
              <a:gd name="T103" fmla="*/ 174 h 174"/>
              <a:gd name="T104" fmla="*/ 66 w 126"/>
              <a:gd name="T105" fmla="*/ 174 h 174"/>
              <a:gd name="T106" fmla="*/ 54 w 126"/>
              <a:gd name="T107" fmla="*/ 168 h 174"/>
              <a:gd name="T108" fmla="*/ 48 w 126"/>
              <a:gd name="T109" fmla="*/ 168 h 174"/>
              <a:gd name="T110" fmla="*/ 42 w 126"/>
              <a:gd name="T111" fmla="*/ 162 h 174"/>
              <a:gd name="T112" fmla="*/ 36 w 126"/>
              <a:gd name="T113" fmla="*/ 162 h 174"/>
              <a:gd name="T114" fmla="*/ 30 w 126"/>
              <a:gd name="T115" fmla="*/ 168 h 174"/>
              <a:gd name="T116" fmla="*/ 18 w 126"/>
              <a:gd name="T117" fmla="*/ 162 h 174"/>
              <a:gd name="T118" fmla="*/ 12 w 126"/>
              <a:gd name="T119" fmla="*/ 168 h 174"/>
              <a:gd name="T120" fmla="*/ 6 w 126"/>
              <a:gd name="T121" fmla="*/ 168 h 174"/>
              <a:gd name="T122" fmla="*/ 0 w 126"/>
              <a:gd name="T123" fmla="*/ 162 h 174"/>
              <a:gd name="T124" fmla="*/ 0 w 126"/>
              <a:gd name="T125" fmla="*/ 156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26" h="174">
                <a:moveTo>
                  <a:pt x="0" y="156"/>
                </a:moveTo>
                <a:lnTo>
                  <a:pt x="0" y="156"/>
                </a:lnTo>
                <a:lnTo>
                  <a:pt x="0" y="156"/>
                </a:lnTo>
                <a:lnTo>
                  <a:pt x="6" y="156"/>
                </a:lnTo>
                <a:lnTo>
                  <a:pt x="6" y="150"/>
                </a:lnTo>
                <a:lnTo>
                  <a:pt x="6" y="150"/>
                </a:lnTo>
                <a:lnTo>
                  <a:pt x="6" y="150"/>
                </a:lnTo>
                <a:lnTo>
                  <a:pt x="12" y="150"/>
                </a:lnTo>
                <a:lnTo>
                  <a:pt x="12" y="150"/>
                </a:lnTo>
                <a:lnTo>
                  <a:pt x="12" y="150"/>
                </a:lnTo>
                <a:lnTo>
                  <a:pt x="12" y="150"/>
                </a:lnTo>
                <a:lnTo>
                  <a:pt x="12" y="150"/>
                </a:lnTo>
                <a:lnTo>
                  <a:pt x="12" y="150"/>
                </a:lnTo>
                <a:lnTo>
                  <a:pt x="18" y="150"/>
                </a:lnTo>
                <a:lnTo>
                  <a:pt x="18" y="150"/>
                </a:lnTo>
                <a:lnTo>
                  <a:pt x="18" y="150"/>
                </a:lnTo>
                <a:lnTo>
                  <a:pt x="18" y="150"/>
                </a:lnTo>
                <a:lnTo>
                  <a:pt x="18" y="150"/>
                </a:lnTo>
                <a:lnTo>
                  <a:pt x="24" y="150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30" y="138"/>
                </a:lnTo>
                <a:lnTo>
                  <a:pt x="30" y="138"/>
                </a:lnTo>
                <a:lnTo>
                  <a:pt x="30" y="138"/>
                </a:lnTo>
                <a:lnTo>
                  <a:pt x="30" y="138"/>
                </a:lnTo>
                <a:lnTo>
                  <a:pt x="30" y="138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26"/>
                </a:lnTo>
                <a:lnTo>
                  <a:pt x="24" y="126"/>
                </a:lnTo>
                <a:lnTo>
                  <a:pt x="24" y="132"/>
                </a:lnTo>
                <a:lnTo>
                  <a:pt x="24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0" y="120"/>
                </a:lnTo>
                <a:lnTo>
                  <a:pt x="0" y="120"/>
                </a:lnTo>
                <a:lnTo>
                  <a:pt x="0" y="114"/>
                </a:lnTo>
                <a:lnTo>
                  <a:pt x="0" y="114"/>
                </a:lnTo>
                <a:lnTo>
                  <a:pt x="0" y="114"/>
                </a:lnTo>
                <a:lnTo>
                  <a:pt x="0" y="114"/>
                </a:lnTo>
                <a:lnTo>
                  <a:pt x="0" y="114"/>
                </a:lnTo>
                <a:lnTo>
                  <a:pt x="0" y="114"/>
                </a:lnTo>
                <a:lnTo>
                  <a:pt x="0" y="114"/>
                </a:lnTo>
                <a:lnTo>
                  <a:pt x="0" y="114"/>
                </a:lnTo>
                <a:lnTo>
                  <a:pt x="0" y="114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30" y="90"/>
                </a:lnTo>
                <a:lnTo>
                  <a:pt x="24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6" y="84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8" y="66"/>
                </a:lnTo>
                <a:lnTo>
                  <a:pt x="48" y="66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54" y="60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60" y="54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8" y="18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84" y="24"/>
                </a:lnTo>
                <a:lnTo>
                  <a:pt x="78" y="24"/>
                </a:lnTo>
                <a:lnTo>
                  <a:pt x="84" y="24"/>
                </a:lnTo>
                <a:lnTo>
                  <a:pt x="84" y="24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6" y="18"/>
                </a:lnTo>
                <a:lnTo>
                  <a:pt x="90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2"/>
                </a:lnTo>
                <a:lnTo>
                  <a:pt x="96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6"/>
                </a:lnTo>
                <a:lnTo>
                  <a:pt x="102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12"/>
                </a:lnTo>
                <a:lnTo>
                  <a:pt x="108" y="12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6" y="66"/>
                </a:lnTo>
                <a:lnTo>
                  <a:pt x="126" y="66"/>
                </a:lnTo>
                <a:lnTo>
                  <a:pt x="120" y="66"/>
                </a:lnTo>
                <a:lnTo>
                  <a:pt x="126" y="72"/>
                </a:lnTo>
                <a:lnTo>
                  <a:pt x="126" y="72"/>
                </a:lnTo>
                <a:lnTo>
                  <a:pt x="126" y="72"/>
                </a:lnTo>
                <a:lnTo>
                  <a:pt x="120" y="72"/>
                </a:lnTo>
                <a:lnTo>
                  <a:pt x="126" y="72"/>
                </a:lnTo>
                <a:lnTo>
                  <a:pt x="120" y="78"/>
                </a:lnTo>
                <a:lnTo>
                  <a:pt x="120" y="78"/>
                </a:lnTo>
                <a:lnTo>
                  <a:pt x="126" y="78"/>
                </a:lnTo>
                <a:lnTo>
                  <a:pt x="126" y="84"/>
                </a:lnTo>
                <a:lnTo>
                  <a:pt x="126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6" y="90"/>
                </a:lnTo>
                <a:lnTo>
                  <a:pt x="126" y="90"/>
                </a:lnTo>
                <a:lnTo>
                  <a:pt x="126" y="90"/>
                </a:lnTo>
                <a:lnTo>
                  <a:pt x="126" y="90"/>
                </a:lnTo>
                <a:lnTo>
                  <a:pt x="126" y="90"/>
                </a:lnTo>
                <a:lnTo>
                  <a:pt x="126" y="90"/>
                </a:lnTo>
                <a:lnTo>
                  <a:pt x="126" y="90"/>
                </a:lnTo>
                <a:lnTo>
                  <a:pt x="126" y="90"/>
                </a:lnTo>
                <a:lnTo>
                  <a:pt x="120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102"/>
                </a:lnTo>
                <a:lnTo>
                  <a:pt x="114" y="102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108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6"/>
                </a:lnTo>
                <a:lnTo>
                  <a:pt x="78" y="126"/>
                </a:lnTo>
                <a:lnTo>
                  <a:pt x="78" y="126"/>
                </a:lnTo>
                <a:lnTo>
                  <a:pt x="78" y="132"/>
                </a:lnTo>
                <a:lnTo>
                  <a:pt x="78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66" y="138"/>
                </a:lnTo>
                <a:lnTo>
                  <a:pt x="66" y="138"/>
                </a:lnTo>
                <a:lnTo>
                  <a:pt x="66" y="138"/>
                </a:lnTo>
                <a:lnTo>
                  <a:pt x="66" y="138"/>
                </a:lnTo>
                <a:lnTo>
                  <a:pt x="66" y="138"/>
                </a:lnTo>
                <a:lnTo>
                  <a:pt x="66" y="138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50"/>
                </a:lnTo>
                <a:lnTo>
                  <a:pt x="60" y="150"/>
                </a:lnTo>
                <a:lnTo>
                  <a:pt x="60" y="150"/>
                </a:lnTo>
                <a:lnTo>
                  <a:pt x="60" y="150"/>
                </a:lnTo>
                <a:lnTo>
                  <a:pt x="60" y="150"/>
                </a:lnTo>
                <a:lnTo>
                  <a:pt x="60" y="150"/>
                </a:lnTo>
                <a:lnTo>
                  <a:pt x="60" y="150"/>
                </a:lnTo>
                <a:lnTo>
                  <a:pt x="60" y="156"/>
                </a:lnTo>
                <a:lnTo>
                  <a:pt x="66" y="156"/>
                </a:lnTo>
                <a:lnTo>
                  <a:pt x="66" y="156"/>
                </a:lnTo>
                <a:lnTo>
                  <a:pt x="66" y="156"/>
                </a:lnTo>
                <a:lnTo>
                  <a:pt x="66" y="156"/>
                </a:lnTo>
                <a:lnTo>
                  <a:pt x="66" y="156"/>
                </a:lnTo>
                <a:lnTo>
                  <a:pt x="72" y="162"/>
                </a:lnTo>
                <a:lnTo>
                  <a:pt x="72" y="162"/>
                </a:lnTo>
                <a:lnTo>
                  <a:pt x="72" y="162"/>
                </a:lnTo>
                <a:lnTo>
                  <a:pt x="72" y="162"/>
                </a:lnTo>
                <a:lnTo>
                  <a:pt x="72" y="162"/>
                </a:lnTo>
                <a:lnTo>
                  <a:pt x="72" y="162"/>
                </a:lnTo>
                <a:lnTo>
                  <a:pt x="72" y="162"/>
                </a:lnTo>
                <a:lnTo>
                  <a:pt x="72" y="162"/>
                </a:lnTo>
                <a:lnTo>
                  <a:pt x="72" y="168"/>
                </a:lnTo>
                <a:lnTo>
                  <a:pt x="72" y="168"/>
                </a:lnTo>
                <a:lnTo>
                  <a:pt x="72" y="168"/>
                </a:lnTo>
                <a:lnTo>
                  <a:pt x="72" y="168"/>
                </a:lnTo>
                <a:lnTo>
                  <a:pt x="72" y="168"/>
                </a:lnTo>
                <a:lnTo>
                  <a:pt x="72" y="168"/>
                </a:lnTo>
                <a:lnTo>
                  <a:pt x="72" y="174"/>
                </a:lnTo>
                <a:lnTo>
                  <a:pt x="78" y="174"/>
                </a:lnTo>
                <a:lnTo>
                  <a:pt x="78" y="174"/>
                </a:lnTo>
                <a:lnTo>
                  <a:pt x="72" y="174"/>
                </a:lnTo>
                <a:lnTo>
                  <a:pt x="72" y="174"/>
                </a:lnTo>
                <a:lnTo>
                  <a:pt x="72" y="174"/>
                </a:lnTo>
                <a:lnTo>
                  <a:pt x="72" y="174"/>
                </a:lnTo>
                <a:lnTo>
                  <a:pt x="72" y="174"/>
                </a:lnTo>
                <a:lnTo>
                  <a:pt x="72" y="174"/>
                </a:lnTo>
                <a:lnTo>
                  <a:pt x="66" y="174"/>
                </a:lnTo>
                <a:lnTo>
                  <a:pt x="66" y="174"/>
                </a:lnTo>
                <a:lnTo>
                  <a:pt x="66" y="174"/>
                </a:lnTo>
                <a:lnTo>
                  <a:pt x="66" y="174"/>
                </a:lnTo>
                <a:lnTo>
                  <a:pt x="66" y="174"/>
                </a:lnTo>
                <a:lnTo>
                  <a:pt x="60" y="174"/>
                </a:lnTo>
                <a:lnTo>
                  <a:pt x="60" y="168"/>
                </a:lnTo>
                <a:lnTo>
                  <a:pt x="60" y="168"/>
                </a:lnTo>
                <a:lnTo>
                  <a:pt x="60" y="168"/>
                </a:lnTo>
                <a:lnTo>
                  <a:pt x="60" y="168"/>
                </a:lnTo>
                <a:lnTo>
                  <a:pt x="60" y="168"/>
                </a:lnTo>
                <a:lnTo>
                  <a:pt x="60" y="168"/>
                </a:lnTo>
                <a:lnTo>
                  <a:pt x="60" y="168"/>
                </a:lnTo>
                <a:lnTo>
                  <a:pt x="54" y="168"/>
                </a:lnTo>
                <a:lnTo>
                  <a:pt x="54" y="168"/>
                </a:lnTo>
                <a:lnTo>
                  <a:pt x="54" y="168"/>
                </a:lnTo>
                <a:lnTo>
                  <a:pt x="54" y="168"/>
                </a:lnTo>
                <a:lnTo>
                  <a:pt x="54" y="168"/>
                </a:lnTo>
                <a:lnTo>
                  <a:pt x="54" y="168"/>
                </a:lnTo>
                <a:lnTo>
                  <a:pt x="54" y="168"/>
                </a:lnTo>
                <a:lnTo>
                  <a:pt x="54" y="168"/>
                </a:lnTo>
                <a:lnTo>
                  <a:pt x="48" y="168"/>
                </a:lnTo>
                <a:lnTo>
                  <a:pt x="48" y="168"/>
                </a:lnTo>
                <a:lnTo>
                  <a:pt x="48" y="168"/>
                </a:lnTo>
                <a:lnTo>
                  <a:pt x="48" y="168"/>
                </a:lnTo>
                <a:lnTo>
                  <a:pt x="48" y="168"/>
                </a:lnTo>
                <a:lnTo>
                  <a:pt x="42" y="168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36" y="162"/>
                </a:lnTo>
                <a:lnTo>
                  <a:pt x="36" y="162"/>
                </a:lnTo>
                <a:lnTo>
                  <a:pt x="36" y="162"/>
                </a:lnTo>
                <a:lnTo>
                  <a:pt x="36" y="162"/>
                </a:lnTo>
                <a:lnTo>
                  <a:pt x="36" y="162"/>
                </a:lnTo>
                <a:lnTo>
                  <a:pt x="36" y="162"/>
                </a:lnTo>
                <a:lnTo>
                  <a:pt x="36" y="162"/>
                </a:lnTo>
                <a:lnTo>
                  <a:pt x="30" y="162"/>
                </a:lnTo>
                <a:lnTo>
                  <a:pt x="30" y="162"/>
                </a:lnTo>
                <a:lnTo>
                  <a:pt x="30" y="162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18" y="168"/>
                </a:lnTo>
                <a:lnTo>
                  <a:pt x="18" y="162"/>
                </a:lnTo>
                <a:lnTo>
                  <a:pt x="18" y="162"/>
                </a:lnTo>
                <a:lnTo>
                  <a:pt x="18" y="162"/>
                </a:lnTo>
                <a:lnTo>
                  <a:pt x="18" y="162"/>
                </a:lnTo>
                <a:lnTo>
                  <a:pt x="18" y="162"/>
                </a:lnTo>
                <a:lnTo>
                  <a:pt x="12" y="162"/>
                </a:lnTo>
                <a:lnTo>
                  <a:pt x="12" y="162"/>
                </a:lnTo>
                <a:lnTo>
                  <a:pt x="12" y="168"/>
                </a:lnTo>
                <a:lnTo>
                  <a:pt x="12" y="168"/>
                </a:lnTo>
                <a:lnTo>
                  <a:pt x="12" y="168"/>
                </a:lnTo>
                <a:lnTo>
                  <a:pt x="6" y="168"/>
                </a:lnTo>
                <a:lnTo>
                  <a:pt x="6" y="168"/>
                </a:lnTo>
                <a:lnTo>
                  <a:pt x="6" y="168"/>
                </a:lnTo>
                <a:lnTo>
                  <a:pt x="6" y="168"/>
                </a:lnTo>
                <a:lnTo>
                  <a:pt x="6" y="168"/>
                </a:lnTo>
                <a:lnTo>
                  <a:pt x="6" y="168"/>
                </a:lnTo>
                <a:lnTo>
                  <a:pt x="6" y="168"/>
                </a:lnTo>
                <a:lnTo>
                  <a:pt x="6" y="168"/>
                </a:lnTo>
                <a:lnTo>
                  <a:pt x="6" y="168"/>
                </a:lnTo>
                <a:lnTo>
                  <a:pt x="6" y="168"/>
                </a:lnTo>
                <a:lnTo>
                  <a:pt x="6" y="168"/>
                </a:lnTo>
                <a:lnTo>
                  <a:pt x="6" y="168"/>
                </a:lnTo>
                <a:lnTo>
                  <a:pt x="6" y="168"/>
                </a:lnTo>
                <a:lnTo>
                  <a:pt x="6" y="168"/>
                </a:lnTo>
                <a:lnTo>
                  <a:pt x="6" y="162"/>
                </a:lnTo>
                <a:lnTo>
                  <a:pt x="0" y="168"/>
                </a:lnTo>
                <a:lnTo>
                  <a:pt x="0" y="162"/>
                </a:lnTo>
                <a:lnTo>
                  <a:pt x="0" y="162"/>
                </a:lnTo>
                <a:lnTo>
                  <a:pt x="0" y="162"/>
                </a:lnTo>
                <a:lnTo>
                  <a:pt x="0" y="162"/>
                </a:lnTo>
                <a:lnTo>
                  <a:pt x="0" y="162"/>
                </a:lnTo>
                <a:lnTo>
                  <a:pt x="0" y="162"/>
                </a:lnTo>
                <a:lnTo>
                  <a:pt x="0" y="162"/>
                </a:lnTo>
                <a:lnTo>
                  <a:pt x="0" y="162"/>
                </a:lnTo>
                <a:lnTo>
                  <a:pt x="0" y="162"/>
                </a:lnTo>
                <a:lnTo>
                  <a:pt x="0" y="162"/>
                </a:lnTo>
                <a:lnTo>
                  <a:pt x="0" y="156"/>
                </a:lnTo>
                <a:lnTo>
                  <a:pt x="0" y="156"/>
                </a:lnTo>
                <a:lnTo>
                  <a:pt x="0" y="156"/>
                </a:lnTo>
                <a:lnTo>
                  <a:pt x="0" y="156"/>
                </a:lnTo>
                <a:lnTo>
                  <a:pt x="0" y="156"/>
                </a:lnTo>
                <a:lnTo>
                  <a:pt x="0" y="156"/>
                </a:lnTo>
                <a:lnTo>
                  <a:pt x="0" y="156"/>
                </a:lnTo>
                <a:lnTo>
                  <a:pt x="0" y="15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80" name="Freeform 313"/>
          <p:cNvSpPr>
            <a:spLocks/>
          </p:cNvSpPr>
          <p:nvPr/>
        </p:nvSpPr>
        <p:spPr bwMode="auto">
          <a:xfrm>
            <a:off x="7552076" y="3910161"/>
            <a:ext cx="128481" cy="70665"/>
          </a:xfrm>
          <a:custGeom>
            <a:avLst/>
            <a:gdLst>
              <a:gd name="T0" fmla="*/ 6 w 120"/>
              <a:gd name="T1" fmla="*/ 12 h 66"/>
              <a:gd name="T2" fmla="*/ 12 w 120"/>
              <a:gd name="T3" fmla="*/ 12 h 66"/>
              <a:gd name="T4" fmla="*/ 24 w 120"/>
              <a:gd name="T5" fmla="*/ 6 h 66"/>
              <a:gd name="T6" fmla="*/ 24 w 120"/>
              <a:gd name="T7" fmla="*/ 6 h 66"/>
              <a:gd name="T8" fmla="*/ 24 w 120"/>
              <a:gd name="T9" fmla="*/ 0 h 66"/>
              <a:gd name="T10" fmla="*/ 30 w 120"/>
              <a:gd name="T11" fmla="*/ 0 h 66"/>
              <a:gd name="T12" fmla="*/ 42 w 120"/>
              <a:gd name="T13" fmla="*/ 0 h 66"/>
              <a:gd name="T14" fmla="*/ 42 w 120"/>
              <a:gd name="T15" fmla="*/ 0 h 66"/>
              <a:gd name="T16" fmla="*/ 42 w 120"/>
              <a:gd name="T17" fmla="*/ 6 h 66"/>
              <a:gd name="T18" fmla="*/ 54 w 120"/>
              <a:gd name="T19" fmla="*/ 6 h 66"/>
              <a:gd name="T20" fmla="*/ 54 w 120"/>
              <a:gd name="T21" fmla="*/ 6 h 66"/>
              <a:gd name="T22" fmla="*/ 60 w 120"/>
              <a:gd name="T23" fmla="*/ 0 h 66"/>
              <a:gd name="T24" fmla="*/ 66 w 120"/>
              <a:gd name="T25" fmla="*/ 0 h 66"/>
              <a:gd name="T26" fmla="*/ 72 w 120"/>
              <a:gd name="T27" fmla="*/ 0 h 66"/>
              <a:gd name="T28" fmla="*/ 78 w 120"/>
              <a:gd name="T29" fmla="*/ 0 h 66"/>
              <a:gd name="T30" fmla="*/ 78 w 120"/>
              <a:gd name="T31" fmla="*/ 6 h 66"/>
              <a:gd name="T32" fmla="*/ 84 w 120"/>
              <a:gd name="T33" fmla="*/ 6 h 66"/>
              <a:gd name="T34" fmla="*/ 84 w 120"/>
              <a:gd name="T35" fmla="*/ 12 h 66"/>
              <a:gd name="T36" fmla="*/ 90 w 120"/>
              <a:gd name="T37" fmla="*/ 6 h 66"/>
              <a:gd name="T38" fmla="*/ 96 w 120"/>
              <a:gd name="T39" fmla="*/ 6 h 66"/>
              <a:gd name="T40" fmla="*/ 102 w 120"/>
              <a:gd name="T41" fmla="*/ 6 h 66"/>
              <a:gd name="T42" fmla="*/ 108 w 120"/>
              <a:gd name="T43" fmla="*/ 6 h 66"/>
              <a:gd name="T44" fmla="*/ 108 w 120"/>
              <a:gd name="T45" fmla="*/ 6 h 66"/>
              <a:gd name="T46" fmla="*/ 108 w 120"/>
              <a:gd name="T47" fmla="*/ 12 h 66"/>
              <a:gd name="T48" fmla="*/ 108 w 120"/>
              <a:gd name="T49" fmla="*/ 18 h 66"/>
              <a:gd name="T50" fmla="*/ 102 w 120"/>
              <a:gd name="T51" fmla="*/ 18 h 66"/>
              <a:gd name="T52" fmla="*/ 108 w 120"/>
              <a:gd name="T53" fmla="*/ 24 h 66"/>
              <a:gd name="T54" fmla="*/ 108 w 120"/>
              <a:gd name="T55" fmla="*/ 30 h 66"/>
              <a:gd name="T56" fmla="*/ 108 w 120"/>
              <a:gd name="T57" fmla="*/ 30 h 66"/>
              <a:gd name="T58" fmla="*/ 108 w 120"/>
              <a:gd name="T59" fmla="*/ 36 h 66"/>
              <a:gd name="T60" fmla="*/ 114 w 120"/>
              <a:gd name="T61" fmla="*/ 42 h 66"/>
              <a:gd name="T62" fmla="*/ 120 w 120"/>
              <a:gd name="T63" fmla="*/ 42 h 66"/>
              <a:gd name="T64" fmla="*/ 114 w 120"/>
              <a:gd name="T65" fmla="*/ 42 h 66"/>
              <a:gd name="T66" fmla="*/ 114 w 120"/>
              <a:gd name="T67" fmla="*/ 48 h 66"/>
              <a:gd name="T68" fmla="*/ 108 w 120"/>
              <a:gd name="T69" fmla="*/ 48 h 66"/>
              <a:gd name="T70" fmla="*/ 102 w 120"/>
              <a:gd name="T71" fmla="*/ 48 h 66"/>
              <a:gd name="T72" fmla="*/ 96 w 120"/>
              <a:gd name="T73" fmla="*/ 54 h 66"/>
              <a:gd name="T74" fmla="*/ 90 w 120"/>
              <a:gd name="T75" fmla="*/ 48 h 66"/>
              <a:gd name="T76" fmla="*/ 90 w 120"/>
              <a:gd name="T77" fmla="*/ 48 h 66"/>
              <a:gd name="T78" fmla="*/ 84 w 120"/>
              <a:gd name="T79" fmla="*/ 48 h 66"/>
              <a:gd name="T80" fmla="*/ 78 w 120"/>
              <a:gd name="T81" fmla="*/ 54 h 66"/>
              <a:gd name="T82" fmla="*/ 72 w 120"/>
              <a:gd name="T83" fmla="*/ 54 h 66"/>
              <a:gd name="T84" fmla="*/ 66 w 120"/>
              <a:gd name="T85" fmla="*/ 60 h 66"/>
              <a:gd name="T86" fmla="*/ 66 w 120"/>
              <a:gd name="T87" fmla="*/ 66 h 66"/>
              <a:gd name="T88" fmla="*/ 60 w 120"/>
              <a:gd name="T89" fmla="*/ 60 h 66"/>
              <a:gd name="T90" fmla="*/ 54 w 120"/>
              <a:gd name="T91" fmla="*/ 60 h 66"/>
              <a:gd name="T92" fmla="*/ 48 w 120"/>
              <a:gd name="T93" fmla="*/ 54 h 66"/>
              <a:gd name="T94" fmla="*/ 48 w 120"/>
              <a:gd name="T95" fmla="*/ 48 h 66"/>
              <a:gd name="T96" fmla="*/ 48 w 120"/>
              <a:gd name="T97" fmla="*/ 42 h 66"/>
              <a:gd name="T98" fmla="*/ 42 w 120"/>
              <a:gd name="T99" fmla="*/ 42 h 66"/>
              <a:gd name="T100" fmla="*/ 36 w 120"/>
              <a:gd name="T101" fmla="*/ 42 h 66"/>
              <a:gd name="T102" fmla="*/ 30 w 120"/>
              <a:gd name="T103" fmla="*/ 42 h 66"/>
              <a:gd name="T104" fmla="*/ 24 w 120"/>
              <a:gd name="T105" fmla="*/ 48 h 66"/>
              <a:gd name="T106" fmla="*/ 24 w 120"/>
              <a:gd name="T107" fmla="*/ 48 h 66"/>
              <a:gd name="T108" fmla="*/ 24 w 120"/>
              <a:gd name="T109" fmla="*/ 42 h 66"/>
              <a:gd name="T110" fmla="*/ 18 w 120"/>
              <a:gd name="T111" fmla="*/ 42 h 66"/>
              <a:gd name="T112" fmla="*/ 12 w 120"/>
              <a:gd name="T113" fmla="*/ 36 h 66"/>
              <a:gd name="T114" fmla="*/ 6 w 120"/>
              <a:gd name="T115" fmla="*/ 36 h 66"/>
              <a:gd name="T116" fmla="*/ 6 w 120"/>
              <a:gd name="T117" fmla="*/ 30 h 66"/>
              <a:gd name="T118" fmla="*/ 0 w 120"/>
              <a:gd name="T119" fmla="*/ 18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20" h="66">
                <a:moveTo>
                  <a:pt x="0" y="12"/>
                </a:move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12" y="12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2" y="6"/>
                </a:lnTo>
                <a:lnTo>
                  <a:pt x="48" y="6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78" y="0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84" y="6"/>
                </a:lnTo>
                <a:lnTo>
                  <a:pt x="84" y="12"/>
                </a:lnTo>
                <a:lnTo>
                  <a:pt x="84" y="12"/>
                </a:lnTo>
                <a:lnTo>
                  <a:pt x="84" y="6"/>
                </a:lnTo>
                <a:lnTo>
                  <a:pt x="84" y="12"/>
                </a:lnTo>
                <a:lnTo>
                  <a:pt x="84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12"/>
                </a:lnTo>
                <a:lnTo>
                  <a:pt x="96" y="12"/>
                </a:lnTo>
                <a:lnTo>
                  <a:pt x="96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24"/>
                </a:lnTo>
                <a:lnTo>
                  <a:pt x="102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2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36"/>
                </a:lnTo>
                <a:lnTo>
                  <a:pt x="120" y="36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14" y="42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0" y="54"/>
                </a:lnTo>
                <a:lnTo>
                  <a:pt x="96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60"/>
                </a:lnTo>
                <a:lnTo>
                  <a:pt x="72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0" y="66"/>
                </a:lnTo>
                <a:lnTo>
                  <a:pt x="60" y="66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48" y="60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54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36"/>
                </a:lnTo>
                <a:lnTo>
                  <a:pt x="36" y="36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36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81" name="Freeform 314"/>
          <p:cNvSpPr>
            <a:spLocks/>
          </p:cNvSpPr>
          <p:nvPr/>
        </p:nvSpPr>
        <p:spPr bwMode="auto">
          <a:xfrm>
            <a:off x="7404322" y="3813799"/>
            <a:ext cx="96361" cy="77089"/>
          </a:xfrm>
          <a:custGeom>
            <a:avLst/>
            <a:gdLst>
              <a:gd name="T0" fmla="*/ 6 w 90"/>
              <a:gd name="T1" fmla="*/ 6 h 72"/>
              <a:gd name="T2" fmla="*/ 6 w 90"/>
              <a:gd name="T3" fmla="*/ 0 h 72"/>
              <a:gd name="T4" fmla="*/ 6 w 90"/>
              <a:gd name="T5" fmla="*/ 0 h 72"/>
              <a:gd name="T6" fmla="*/ 12 w 90"/>
              <a:gd name="T7" fmla="*/ 0 h 72"/>
              <a:gd name="T8" fmla="*/ 12 w 90"/>
              <a:gd name="T9" fmla="*/ 0 h 72"/>
              <a:gd name="T10" fmla="*/ 12 w 90"/>
              <a:gd name="T11" fmla="*/ 6 h 72"/>
              <a:gd name="T12" fmla="*/ 18 w 90"/>
              <a:gd name="T13" fmla="*/ 6 h 72"/>
              <a:gd name="T14" fmla="*/ 24 w 90"/>
              <a:gd name="T15" fmla="*/ 6 h 72"/>
              <a:gd name="T16" fmla="*/ 30 w 90"/>
              <a:gd name="T17" fmla="*/ 12 h 72"/>
              <a:gd name="T18" fmla="*/ 36 w 90"/>
              <a:gd name="T19" fmla="*/ 12 h 72"/>
              <a:gd name="T20" fmla="*/ 36 w 90"/>
              <a:gd name="T21" fmla="*/ 18 h 72"/>
              <a:gd name="T22" fmla="*/ 42 w 90"/>
              <a:gd name="T23" fmla="*/ 24 h 72"/>
              <a:gd name="T24" fmla="*/ 48 w 90"/>
              <a:gd name="T25" fmla="*/ 30 h 72"/>
              <a:gd name="T26" fmla="*/ 54 w 90"/>
              <a:gd name="T27" fmla="*/ 36 h 72"/>
              <a:gd name="T28" fmla="*/ 54 w 90"/>
              <a:gd name="T29" fmla="*/ 30 h 72"/>
              <a:gd name="T30" fmla="*/ 60 w 90"/>
              <a:gd name="T31" fmla="*/ 24 h 72"/>
              <a:gd name="T32" fmla="*/ 66 w 90"/>
              <a:gd name="T33" fmla="*/ 24 h 72"/>
              <a:gd name="T34" fmla="*/ 66 w 90"/>
              <a:gd name="T35" fmla="*/ 18 h 72"/>
              <a:gd name="T36" fmla="*/ 72 w 90"/>
              <a:gd name="T37" fmla="*/ 24 h 72"/>
              <a:gd name="T38" fmla="*/ 72 w 90"/>
              <a:gd name="T39" fmla="*/ 24 h 72"/>
              <a:gd name="T40" fmla="*/ 66 w 90"/>
              <a:gd name="T41" fmla="*/ 30 h 72"/>
              <a:gd name="T42" fmla="*/ 72 w 90"/>
              <a:gd name="T43" fmla="*/ 30 h 72"/>
              <a:gd name="T44" fmla="*/ 72 w 90"/>
              <a:gd name="T45" fmla="*/ 36 h 72"/>
              <a:gd name="T46" fmla="*/ 72 w 90"/>
              <a:gd name="T47" fmla="*/ 36 h 72"/>
              <a:gd name="T48" fmla="*/ 78 w 90"/>
              <a:gd name="T49" fmla="*/ 42 h 72"/>
              <a:gd name="T50" fmla="*/ 78 w 90"/>
              <a:gd name="T51" fmla="*/ 42 h 72"/>
              <a:gd name="T52" fmla="*/ 78 w 90"/>
              <a:gd name="T53" fmla="*/ 48 h 72"/>
              <a:gd name="T54" fmla="*/ 84 w 90"/>
              <a:gd name="T55" fmla="*/ 48 h 72"/>
              <a:gd name="T56" fmla="*/ 84 w 90"/>
              <a:gd name="T57" fmla="*/ 54 h 72"/>
              <a:gd name="T58" fmla="*/ 90 w 90"/>
              <a:gd name="T59" fmla="*/ 54 h 72"/>
              <a:gd name="T60" fmla="*/ 90 w 90"/>
              <a:gd name="T61" fmla="*/ 60 h 72"/>
              <a:gd name="T62" fmla="*/ 84 w 90"/>
              <a:gd name="T63" fmla="*/ 60 h 72"/>
              <a:gd name="T64" fmla="*/ 84 w 90"/>
              <a:gd name="T65" fmla="*/ 60 h 72"/>
              <a:gd name="T66" fmla="*/ 78 w 90"/>
              <a:gd name="T67" fmla="*/ 60 h 72"/>
              <a:gd name="T68" fmla="*/ 66 w 90"/>
              <a:gd name="T69" fmla="*/ 60 h 72"/>
              <a:gd name="T70" fmla="*/ 66 w 90"/>
              <a:gd name="T71" fmla="*/ 66 h 72"/>
              <a:gd name="T72" fmla="*/ 60 w 90"/>
              <a:gd name="T73" fmla="*/ 72 h 72"/>
              <a:gd name="T74" fmla="*/ 54 w 90"/>
              <a:gd name="T75" fmla="*/ 66 h 72"/>
              <a:gd name="T76" fmla="*/ 54 w 90"/>
              <a:gd name="T77" fmla="*/ 66 h 72"/>
              <a:gd name="T78" fmla="*/ 48 w 90"/>
              <a:gd name="T79" fmla="*/ 60 h 72"/>
              <a:gd name="T80" fmla="*/ 48 w 90"/>
              <a:gd name="T81" fmla="*/ 54 h 72"/>
              <a:gd name="T82" fmla="*/ 36 w 90"/>
              <a:gd name="T83" fmla="*/ 60 h 72"/>
              <a:gd name="T84" fmla="*/ 30 w 90"/>
              <a:gd name="T85" fmla="*/ 54 h 72"/>
              <a:gd name="T86" fmla="*/ 30 w 90"/>
              <a:gd name="T87" fmla="*/ 48 h 72"/>
              <a:gd name="T88" fmla="*/ 30 w 90"/>
              <a:gd name="T89" fmla="*/ 42 h 72"/>
              <a:gd name="T90" fmla="*/ 30 w 90"/>
              <a:gd name="T91" fmla="*/ 42 h 72"/>
              <a:gd name="T92" fmla="*/ 30 w 90"/>
              <a:gd name="T93" fmla="*/ 42 h 72"/>
              <a:gd name="T94" fmla="*/ 24 w 90"/>
              <a:gd name="T95" fmla="*/ 36 h 72"/>
              <a:gd name="T96" fmla="*/ 18 w 90"/>
              <a:gd name="T97" fmla="*/ 36 h 72"/>
              <a:gd name="T98" fmla="*/ 18 w 90"/>
              <a:gd name="T99" fmla="*/ 36 h 72"/>
              <a:gd name="T100" fmla="*/ 12 w 90"/>
              <a:gd name="T101" fmla="*/ 30 h 72"/>
              <a:gd name="T102" fmla="*/ 6 w 90"/>
              <a:gd name="T103" fmla="*/ 24 h 72"/>
              <a:gd name="T104" fmla="*/ 6 w 90"/>
              <a:gd name="T105" fmla="*/ 24 h 72"/>
              <a:gd name="T106" fmla="*/ 6 w 90"/>
              <a:gd name="T107" fmla="*/ 1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90" h="72">
                <a:moveTo>
                  <a:pt x="6" y="12"/>
                </a:move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6"/>
                </a:lnTo>
                <a:lnTo>
                  <a:pt x="0" y="6"/>
                </a:lnTo>
                <a:lnTo>
                  <a:pt x="6" y="6"/>
                </a:lnTo>
                <a:lnTo>
                  <a:pt x="0" y="6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8" y="0"/>
                </a:lnTo>
                <a:lnTo>
                  <a:pt x="18" y="0"/>
                </a:lnTo>
                <a:lnTo>
                  <a:pt x="12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8" y="24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6"/>
                </a:lnTo>
                <a:lnTo>
                  <a:pt x="54" y="36"/>
                </a:lnTo>
                <a:lnTo>
                  <a:pt x="54" y="36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18"/>
                </a:lnTo>
                <a:lnTo>
                  <a:pt x="60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18"/>
                </a:lnTo>
                <a:lnTo>
                  <a:pt x="66" y="18"/>
                </a:lnTo>
                <a:lnTo>
                  <a:pt x="66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72" y="24"/>
                </a:lnTo>
                <a:lnTo>
                  <a:pt x="72" y="24"/>
                </a:lnTo>
                <a:lnTo>
                  <a:pt x="66" y="24"/>
                </a:lnTo>
                <a:lnTo>
                  <a:pt x="66" y="24"/>
                </a:lnTo>
                <a:lnTo>
                  <a:pt x="66" y="30"/>
                </a:lnTo>
                <a:lnTo>
                  <a:pt x="66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6"/>
                </a:lnTo>
                <a:lnTo>
                  <a:pt x="78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6"/>
                </a:lnTo>
                <a:lnTo>
                  <a:pt x="66" y="60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0" y="66"/>
                </a:lnTo>
                <a:lnTo>
                  <a:pt x="66" y="72"/>
                </a:lnTo>
                <a:lnTo>
                  <a:pt x="60" y="72"/>
                </a:lnTo>
                <a:lnTo>
                  <a:pt x="60" y="72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48" y="66"/>
                </a:lnTo>
                <a:lnTo>
                  <a:pt x="54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6" y="48"/>
                </a:lnTo>
                <a:lnTo>
                  <a:pt x="36" y="48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82" name="Freeform 315"/>
          <p:cNvSpPr>
            <a:spLocks/>
          </p:cNvSpPr>
          <p:nvPr/>
        </p:nvSpPr>
        <p:spPr bwMode="auto">
          <a:xfrm>
            <a:off x="7911822" y="3858768"/>
            <a:ext cx="122057" cy="102786"/>
          </a:xfrm>
          <a:custGeom>
            <a:avLst/>
            <a:gdLst>
              <a:gd name="T0" fmla="*/ 0 w 114"/>
              <a:gd name="T1" fmla="*/ 54 h 96"/>
              <a:gd name="T2" fmla="*/ 6 w 114"/>
              <a:gd name="T3" fmla="*/ 48 h 96"/>
              <a:gd name="T4" fmla="*/ 6 w 114"/>
              <a:gd name="T5" fmla="*/ 36 h 96"/>
              <a:gd name="T6" fmla="*/ 12 w 114"/>
              <a:gd name="T7" fmla="*/ 30 h 96"/>
              <a:gd name="T8" fmla="*/ 18 w 114"/>
              <a:gd name="T9" fmla="*/ 24 h 96"/>
              <a:gd name="T10" fmla="*/ 24 w 114"/>
              <a:gd name="T11" fmla="*/ 18 h 96"/>
              <a:gd name="T12" fmla="*/ 30 w 114"/>
              <a:gd name="T13" fmla="*/ 6 h 96"/>
              <a:gd name="T14" fmla="*/ 30 w 114"/>
              <a:gd name="T15" fmla="*/ 0 h 96"/>
              <a:gd name="T16" fmla="*/ 36 w 114"/>
              <a:gd name="T17" fmla="*/ 0 h 96"/>
              <a:gd name="T18" fmla="*/ 42 w 114"/>
              <a:gd name="T19" fmla="*/ 0 h 96"/>
              <a:gd name="T20" fmla="*/ 48 w 114"/>
              <a:gd name="T21" fmla="*/ 0 h 96"/>
              <a:gd name="T22" fmla="*/ 54 w 114"/>
              <a:gd name="T23" fmla="*/ 6 h 96"/>
              <a:gd name="T24" fmla="*/ 60 w 114"/>
              <a:gd name="T25" fmla="*/ 12 h 96"/>
              <a:gd name="T26" fmla="*/ 60 w 114"/>
              <a:gd name="T27" fmla="*/ 18 h 96"/>
              <a:gd name="T28" fmla="*/ 54 w 114"/>
              <a:gd name="T29" fmla="*/ 30 h 96"/>
              <a:gd name="T30" fmla="*/ 54 w 114"/>
              <a:gd name="T31" fmla="*/ 36 h 96"/>
              <a:gd name="T32" fmla="*/ 60 w 114"/>
              <a:gd name="T33" fmla="*/ 42 h 96"/>
              <a:gd name="T34" fmla="*/ 54 w 114"/>
              <a:gd name="T35" fmla="*/ 42 h 96"/>
              <a:gd name="T36" fmla="*/ 48 w 114"/>
              <a:gd name="T37" fmla="*/ 42 h 96"/>
              <a:gd name="T38" fmla="*/ 48 w 114"/>
              <a:gd name="T39" fmla="*/ 48 h 96"/>
              <a:gd name="T40" fmla="*/ 48 w 114"/>
              <a:gd name="T41" fmla="*/ 54 h 96"/>
              <a:gd name="T42" fmla="*/ 54 w 114"/>
              <a:gd name="T43" fmla="*/ 60 h 96"/>
              <a:gd name="T44" fmla="*/ 54 w 114"/>
              <a:gd name="T45" fmla="*/ 54 h 96"/>
              <a:gd name="T46" fmla="*/ 66 w 114"/>
              <a:gd name="T47" fmla="*/ 54 h 96"/>
              <a:gd name="T48" fmla="*/ 72 w 114"/>
              <a:gd name="T49" fmla="*/ 54 h 96"/>
              <a:gd name="T50" fmla="*/ 78 w 114"/>
              <a:gd name="T51" fmla="*/ 48 h 96"/>
              <a:gd name="T52" fmla="*/ 84 w 114"/>
              <a:gd name="T53" fmla="*/ 54 h 96"/>
              <a:gd name="T54" fmla="*/ 90 w 114"/>
              <a:gd name="T55" fmla="*/ 54 h 96"/>
              <a:gd name="T56" fmla="*/ 96 w 114"/>
              <a:gd name="T57" fmla="*/ 60 h 96"/>
              <a:gd name="T58" fmla="*/ 102 w 114"/>
              <a:gd name="T59" fmla="*/ 60 h 96"/>
              <a:gd name="T60" fmla="*/ 108 w 114"/>
              <a:gd name="T61" fmla="*/ 66 h 96"/>
              <a:gd name="T62" fmla="*/ 102 w 114"/>
              <a:gd name="T63" fmla="*/ 78 h 96"/>
              <a:gd name="T64" fmla="*/ 108 w 114"/>
              <a:gd name="T65" fmla="*/ 78 h 96"/>
              <a:gd name="T66" fmla="*/ 108 w 114"/>
              <a:gd name="T67" fmla="*/ 84 h 96"/>
              <a:gd name="T68" fmla="*/ 102 w 114"/>
              <a:gd name="T69" fmla="*/ 84 h 96"/>
              <a:gd name="T70" fmla="*/ 96 w 114"/>
              <a:gd name="T71" fmla="*/ 90 h 96"/>
              <a:gd name="T72" fmla="*/ 90 w 114"/>
              <a:gd name="T73" fmla="*/ 90 h 96"/>
              <a:gd name="T74" fmla="*/ 84 w 114"/>
              <a:gd name="T75" fmla="*/ 90 h 96"/>
              <a:gd name="T76" fmla="*/ 84 w 114"/>
              <a:gd name="T77" fmla="*/ 96 h 96"/>
              <a:gd name="T78" fmla="*/ 72 w 114"/>
              <a:gd name="T79" fmla="*/ 96 h 96"/>
              <a:gd name="T80" fmla="*/ 72 w 114"/>
              <a:gd name="T81" fmla="*/ 96 h 96"/>
              <a:gd name="T82" fmla="*/ 66 w 114"/>
              <a:gd name="T83" fmla="*/ 90 h 96"/>
              <a:gd name="T84" fmla="*/ 60 w 114"/>
              <a:gd name="T85" fmla="*/ 90 h 96"/>
              <a:gd name="T86" fmla="*/ 48 w 114"/>
              <a:gd name="T87" fmla="*/ 84 h 96"/>
              <a:gd name="T88" fmla="*/ 48 w 114"/>
              <a:gd name="T89" fmla="*/ 96 h 96"/>
              <a:gd name="T90" fmla="*/ 42 w 114"/>
              <a:gd name="T91" fmla="*/ 90 h 96"/>
              <a:gd name="T92" fmla="*/ 36 w 114"/>
              <a:gd name="T93" fmla="*/ 84 h 96"/>
              <a:gd name="T94" fmla="*/ 30 w 114"/>
              <a:gd name="T95" fmla="*/ 84 h 96"/>
              <a:gd name="T96" fmla="*/ 24 w 114"/>
              <a:gd name="T97" fmla="*/ 84 h 96"/>
              <a:gd name="T98" fmla="*/ 24 w 114"/>
              <a:gd name="T99" fmla="*/ 96 h 96"/>
              <a:gd name="T100" fmla="*/ 18 w 114"/>
              <a:gd name="T101" fmla="*/ 96 h 96"/>
              <a:gd name="T102" fmla="*/ 12 w 114"/>
              <a:gd name="T103" fmla="*/ 96 h 96"/>
              <a:gd name="T104" fmla="*/ 6 w 114"/>
              <a:gd name="T105" fmla="*/ 96 h 96"/>
              <a:gd name="T106" fmla="*/ 12 w 114"/>
              <a:gd name="T107" fmla="*/ 84 h 96"/>
              <a:gd name="T108" fmla="*/ 6 w 114"/>
              <a:gd name="T109" fmla="*/ 84 h 96"/>
              <a:gd name="T110" fmla="*/ 6 w 114"/>
              <a:gd name="T111" fmla="*/ 78 h 96"/>
              <a:gd name="T112" fmla="*/ 6 w 114"/>
              <a:gd name="T113" fmla="*/ 66 h 96"/>
              <a:gd name="T114" fmla="*/ 12 w 114"/>
              <a:gd name="T115" fmla="*/ 66 h 96"/>
              <a:gd name="T116" fmla="*/ 6 w 114"/>
              <a:gd name="T117" fmla="*/ 60 h 96"/>
              <a:gd name="T118" fmla="*/ 6 w 114"/>
              <a:gd name="T119" fmla="*/ 54 h 96"/>
              <a:gd name="T120" fmla="*/ 0 w 114"/>
              <a:gd name="T121" fmla="*/ 6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14" h="96">
                <a:moveTo>
                  <a:pt x="0" y="60"/>
                </a:move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30" y="18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6"/>
                </a:lnTo>
                <a:lnTo>
                  <a:pt x="36" y="6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8" y="0"/>
                </a:lnTo>
                <a:lnTo>
                  <a:pt x="48" y="0"/>
                </a:lnTo>
                <a:lnTo>
                  <a:pt x="42" y="0"/>
                </a:lnTo>
                <a:lnTo>
                  <a:pt x="42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54" y="6"/>
                </a:lnTo>
                <a:lnTo>
                  <a:pt x="54" y="6"/>
                </a:lnTo>
                <a:lnTo>
                  <a:pt x="60" y="12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30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54" y="60"/>
                </a:lnTo>
                <a:lnTo>
                  <a:pt x="48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48"/>
                </a:lnTo>
                <a:lnTo>
                  <a:pt x="78" y="54"/>
                </a:lnTo>
                <a:lnTo>
                  <a:pt x="84" y="54"/>
                </a:lnTo>
                <a:lnTo>
                  <a:pt x="84" y="48"/>
                </a:lnTo>
                <a:lnTo>
                  <a:pt x="84" y="48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6" y="54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6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6"/>
                </a:lnTo>
                <a:lnTo>
                  <a:pt x="102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14" y="78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90"/>
                </a:lnTo>
                <a:lnTo>
                  <a:pt x="102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0" y="90"/>
                </a:lnTo>
                <a:lnTo>
                  <a:pt x="90" y="84"/>
                </a:lnTo>
                <a:lnTo>
                  <a:pt x="90" y="84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2" y="96"/>
                </a:lnTo>
                <a:lnTo>
                  <a:pt x="78" y="96"/>
                </a:lnTo>
                <a:lnTo>
                  <a:pt x="78" y="96"/>
                </a:lnTo>
                <a:lnTo>
                  <a:pt x="78" y="90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90"/>
                </a:lnTo>
                <a:lnTo>
                  <a:pt x="54" y="84"/>
                </a:lnTo>
                <a:lnTo>
                  <a:pt x="54" y="84"/>
                </a:lnTo>
                <a:lnTo>
                  <a:pt x="48" y="84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6"/>
                </a:lnTo>
                <a:lnTo>
                  <a:pt x="48" y="96"/>
                </a:lnTo>
                <a:lnTo>
                  <a:pt x="48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90"/>
                </a:lnTo>
                <a:lnTo>
                  <a:pt x="30" y="90"/>
                </a:lnTo>
                <a:lnTo>
                  <a:pt x="24" y="90"/>
                </a:lnTo>
                <a:lnTo>
                  <a:pt x="24" y="90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6" y="96"/>
                </a:lnTo>
                <a:lnTo>
                  <a:pt x="12" y="96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6" y="78"/>
                </a:lnTo>
                <a:lnTo>
                  <a:pt x="6" y="84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6" y="72"/>
                </a:lnTo>
                <a:lnTo>
                  <a:pt x="12" y="72"/>
                </a:lnTo>
                <a:lnTo>
                  <a:pt x="12" y="72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0" y="54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83" name="Freeform 316"/>
          <p:cNvSpPr>
            <a:spLocks/>
          </p:cNvSpPr>
          <p:nvPr/>
        </p:nvSpPr>
        <p:spPr bwMode="auto">
          <a:xfrm>
            <a:off x="7931095" y="3608228"/>
            <a:ext cx="102785" cy="134906"/>
          </a:xfrm>
          <a:custGeom>
            <a:avLst/>
            <a:gdLst>
              <a:gd name="T0" fmla="*/ 0 w 96"/>
              <a:gd name="T1" fmla="*/ 108 h 126"/>
              <a:gd name="T2" fmla="*/ 18 w 96"/>
              <a:gd name="T3" fmla="*/ 108 h 126"/>
              <a:gd name="T4" fmla="*/ 24 w 96"/>
              <a:gd name="T5" fmla="*/ 114 h 126"/>
              <a:gd name="T6" fmla="*/ 42 w 96"/>
              <a:gd name="T7" fmla="*/ 114 h 126"/>
              <a:gd name="T8" fmla="*/ 42 w 96"/>
              <a:gd name="T9" fmla="*/ 108 h 126"/>
              <a:gd name="T10" fmla="*/ 42 w 96"/>
              <a:gd name="T11" fmla="*/ 90 h 126"/>
              <a:gd name="T12" fmla="*/ 30 w 96"/>
              <a:gd name="T13" fmla="*/ 90 h 126"/>
              <a:gd name="T14" fmla="*/ 24 w 96"/>
              <a:gd name="T15" fmla="*/ 84 h 126"/>
              <a:gd name="T16" fmla="*/ 30 w 96"/>
              <a:gd name="T17" fmla="*/ 84 h 126"/>
              <a:gd name="T18" fmla="*/ 30 w 96"/>
              <a:gd name="T19" fmla="*/ 66 h 126"/>
              <a:gd name="T20" fmla="*/ 12 w 96"/>
              <a:gd name="T21" fmla="*/ 60 h 126"/>
              <a:gd name="T22" fmla="*/ 12 w 96"/>
              <a:gd name="T23" fmla="*/ 54 h 126"/>
              <a:gd name="T24" fmla="*/ 12 w 96"/>
              <a:gd name="T25" fmla="*/ 48 h 126"/>
              <a:gd name="T26" fmla="*/ 18 w 96"/>
              <a:gd name="T27" fmla="*/ 36 h 126"/>
              <a:gd name="T28" fmla="*/ 24 w 96"/>
              <a:gd name="T29" fmla="*/ 36 h 126"/>
              <a:gd name="T30" fmla="*/ 24 w 96"/>
              <a:gd name="T31" fmla="*/ 30 h 126"/>
              <a:gd name="T32" fmla="*/ 30 w 96"/>
              <a:gd name="T33" fmla="*/ 24 h 126"/>
              <a:gd name="T34" fmla="*/ 36 w 96"/>
              <a:gd name="T35" fmla="*/ 24 h 126"/>
              <a:gd name="T36" fmla="*/ 42 w 96"/>
              <a:gd name="T37" fmla="*/ 24 h 126"/>
              <a:gd name="T38" fmla="*/ 42 w 96"/>
              <a:gd name="T39" fmla="*/ 24 h 126"/>
              <a:gd name="T40" fmla="*/ 48 w 96"/>
              <a:gd name="T41" fmla="*/ 18 h 126"/>
              <a:gd name="T42" fmla="*/ 54 w 96"/>
              <a:gd name="T43" fmla="*/ 24 h 126"/>
              <a:gd name="T44" fmla="*/ 54 w 96"/>
              <a:gd name="T45" fmla="*/ 24 h 126"/>
              <a:gd name="T46" fmla="*/ 48 w 96"/>
              <a:gd name="T47" fmla="*/ 0 h 126"/>
              <a:gd name="T48" fmla="*/ 54 w 96"/>
              <a:gd name="T49" fmla="*/ 0 h 126"/>
              <a:gd name="T50" fmla="*/ 60 w 96"/>
              <a:gd name="T51" fmla="*/ 0 h 126"/>
              <a:gd name="T52" fmla="*/ 60 w 96"/>
              <a:gd name="T53" fmla="*/ 0 h 126"/>
              <a:gd name="T54" fmla="*/ 66 w 96"/>
              <a:gd name="T55" fmla="*/ 6 h 126"/>
              <a:gd name="T56" fmla="*/ 72 w 96"/>
              <a:gd name="T57" fmla="*/ 6 h 126"/>
              <a:gd name="T58" fmla="*/ 78 w 96"/>
              <a:gd name="T59" fmla="*/ 6 h 126"/>
              <a:gd name="T60" fmla="*/ 84 w 96"/>
              <a:gd name="T61" fmla="*/ 18 h 126"/>
              <a:gd name="T62" fmla="*/ 90 w 96"/>
              <a:gd name="T63" fmla="*/ 18 h 126"/>
              <a:gd name="T64" fmla="*/ 90 w 96"/>
              <a:gd name="T65" fmla="*/ 24 h 126"/>
              <a:gd name="T66" fmla="*/ 84 w 96"/>
              <a:gd name="T67" fmla="*/ 42 h 126"/>
              <a:gd name="T68" fmla="*/ 90 w 96"/>
              <a:gd name="T69" fmla="*/ 48 h 126"/>
              <a:gd name="T70" fmla="*/ 84 w 96"/>
              <a:gd name="T71" fmla="*/ 60 h 126"/>
              <a:gd name="T72" fmla="*/ 90 w 96"/>
              <a:gd name="T73" fmla="*/ 60 h 126"/>
              <a:gd name="T74" fmla="*/ 96 w 96"/>
              <a:gd name="T75" fmla="*/ 66 h 126"/>
              <a:gd name="T76" fmla="*/ 90 w 96"/>
              <a:gd name="T77" fmla="*/ 66 h 126"/>
              <a:gd name="T78" fmla="*/ 78 w 96"/>
              <a:gd name="T79" fmla="*/ 72 h 126"/>
              <a:gd name="T80" fmla="*/ 78 w 96"/>
              <a:gd name="T81" fmla="*/ 72 h 126"/>
              <a:gd name="T82" fmla="*/ 72 w 96"/>
              <a:gd name="T83" fmla="*/ 78 h 126"/>
              <a:gd name="T84" fmla="*/ 66 w 96"/>
              <a:gd name="T85" fmla="*/ 84 h 126"/>
              <a:gd name="T86" fmla="*/ 60 w 96"/>
              <a:gd name="T87" fmla="*/ 84 h 126"/>
              <a:gd name="T88" fmla="*/ 66 w 96"/>
              <a:gd name="T89" fmla="*/ 84 h 126"/>
              <a:gd name="T90" fmla="*/ 66 w 96"/>
              <a:gd name="T91" fmla="*/ 78 h 126"/>
              <a:gd name="T92" fmla="*/ 72 w 96"/>
              <a:gd name="T93" fmla="*/ 90 h 126"/>
              <a:gd name="T94" fmla="*/ 72 w 96"/>
              <a:gd name="T95" fmla="*/ 96 h 126"/>
              <a:gd name="T96" fmla="*/ 72 w 96"/>
              <a:gd name="T97" fmla="*/ 96 h 126"/>
              <a:gd name="T98" fmla="*/ 66 w 96"/>
              <a:gd name="T99" fmla="*/ 102 h 126"/>
              <a:gd name="T100" fmla="*/ 66 w 96"/>
              <a:gd name="T101" fmla="*/ 108 h 126"/>
              <a:gd name="T102" fmla="*/ 60 w 96"/>
              <a:gd name="T103" fmla="*/ 114 h 126"/>
              <a:gd name="T104" fmla="*/ 54 w 96"/>
              <a:gd name="T105" fmla="*/ 114 h 126"/>
              <a:gd name="T106" fmla="*/ 48 w 96"/>
              <a:gd name="T107" fmla="*/ 120 h 126"/>
              <a:gd name="T108" fmla="*/ 24 w 96"/>
              <a:gd name="T109" fmla="*/ 126 h 126"/>
              <a:gd name="T110" fmla="*/ 18 w 96"/>
              <a:gd name="T111" fmla="*/ 126 h 126"/>
              <a:gd name="T112" fmla="*/ 18 w 96"/>
              <a:gd name="T113" fmla="*/ 120 h 126"/>
              <a:gd name="T114" fmla="*/ 12 w 96"/>
              <a:gd name="T115" fmla="*/ 114 h 126"/>
              <a:gd name="T116" fmla="*/ 6 w 96"/>
              <a:gd name="T117" fmla="*/ 114 h 126"/>
              <a:gd name="T118" fmla="*/ 0 w 96"/>
              <a:gd name="T119" fmla="*/ 114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6" h="126">
                <a:moveTo>
                  <a:pt x="0" y="114"/>
                </a:moveTo>
                <a:lnTo>
                  <a:pt x="0" y="114"/>
                </a:lnTo>
                <a:lnTo>
                  <a:pt x="0" y="114"/>
                </a:lnTo>
                <a:lnTo>
                  <a:pt x="0" y="114"/>
                </a:lnTo>
                <a:lnTo>
                  <a:pt x="0" y="114"/>
                </a:lnTo>
                <a:lnTo>
                  <a:pt x="0" y="108"/>
                </a:lnTo>
                <a:lnTo>
                  <a:pt x="0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14"/>
                </a:lnTo>
                <a:lnTo>
                  <a:pt x="18" y="114"/>
                </a:lnTo>
                <a:lnTo>
                  <a:pt x="24" y="114"/>
                </a:lnTo>
                <a:lnTo>
                  <a:pt x="24" y="114"/>
                </a:lnTo>
                <a:lnTo>
                  <a:pt x="30" y="114"/>
                </a:lnTo>
                <a:lnTo>
                  <a:pt x="36" y="114"/>
                </a:lnTo>
                <a:lnTo>
                  <a:pt x="36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2"/>
                </a:lnTo>
                <a:lnTo>
                  <a:pt x="42" y="102"/>
                </a:lnTo>
                <a:lnTo>
                  <a:pt x="42" y="96"/>
                </a:lnTo>
                <a:lnTo>
                  <a:pt x="42" y="96"/>
                </a:lnTo>
                <a:lnTo>
                  <a:pt x="42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84"/>
                </a:lnTo>
                <a:lnTo>
                  <a:pt x="24" y="84"/>
                </a:lnTo>
                <a:lnTo>
                  <a:pt x="24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78"/>
                </a:lnTo>
                <a:lnTo>
                  <a:pt x="30" y="72"/>
                </a:lnTo>
                <a:lnTo>
                  <a:pt x="30" y="72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24" y="60"/>
                </a:lnTo>
                <a:lnTo>
                  <a:pt x="24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8" y="42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24" y="36"/>
                </a:lnTo>
                <a:lnTo>
                  <a:pt x="24" y="36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18"/>
                </a:lnTo>
                <a:lnTo>
                  <a:pt x="42" y="18"/>
                </a:lnTo>
                <a:lnTo>
                  <a:pt x="42" y="24"/>
                </a:lnTo>
                <a:lnTo>
                  <a:pt x="42" y="24"/>
                </a:lnTo>
                <a:lnTo>
                  <a:pt x="42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60" y="24"/>
                </a:lnTo>
                <a:lnTo>
                  <a:pt x="60" y="24"/>
                </a:lnTo>
                <a:lnTo>
                  <a:pt x="66" y="24"/>
                </a:lnTo>
                <a:lnTo>
                  <a:pt x="60" y="18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6" y="0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84" y="12"/>
                </a:lnTo>
                <a:lnTo>
                  <a:pt x="84" y="12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6"/>
                </a:lnTo>
                <a:lnTo>
                  <a:pt x="90" y="36"/>
                </a:lnTo>
                <a:lnTo>
                  <a:pt x="84" y="42"/>
                </a:lnTo>
                <a:lnTo>
                  <a:pt x="84" y="42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54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0" y="66"/>
                </a:lnTo>
                <a:lnTo>
                  <a:pt x="90" y="66"/>
                </a:lnTo>
                <a:lnTo>
                  <a:pt x="84" y="66"/>
                </a:lnTo>
                <a:lnTo>
                  <a:pt x="84" y="66"/>
                </a:lnTo>
                <a:lnTo>
                  <a:pt x="84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2" y="72"/>
                </a:lnTo>
                <a:lnTo>
                  <a:pt x="72" y="72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84"/>
                </a:lnTo>
                <a:lnTo>
                  <a:pt x="60" y="84"/>
                </a:lnTo>
                <a:lnTo>
                  <a:pt x="60" y="84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78"/>
                </a:lnTo>
                <a:lnTo>
                  <a:pt x="66" y="84"/>
                </a:lnTo>
                <a:lnTo>
                  <a:pt x="66" y="84"/>
                </a:lnTo>
                <a:lnTo>
                  <a:pt x="66" y="78"/>
                </a:lnTo>
                <a:lnTo>
                  <a:pt x="66" y="78"/>
                </a:lnTo>
                <a:lnTo>
                  <a:pt x="66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66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8"/>
                </a:lnTo>
                <a:lnTo>
                  <a:pt x="60" y="108"/>
                </a:lnTo>
                <a:lnTo>
                  <a:pt x="60" y="108"/>
                </a:lnTo>
                <a:lnTo>
                  <a:pt x="66" y="108"/>
                </a:lnTo>
                <a:lnTo>
                  <a:pt x="66" y="108"/>
                </a:lnTo>
                <a:lnTo>
                  <a:pt x="60" y="108"/>
                </a:lnTo>
                <a:lnTo>
                  <a:pt x="60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20"/>
                </a:lnTo>
                <a:lnTo>
                  <a:pt x="54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6" y="120"/>
                </a:lnTo>
                <a:lnTo>
                  <a:pt x="6" y="120"/>
                </a:lnTo>
                <a:lnTo>
                  <a:pt x="6" y="114"/>
                </a:lnTo>
                <a:lnTo>
                  <a:pt x="0" y="114"/>
                </a:lnTo>
                <a:lnTo>
                  <a:pt x="0" y="114"/>
                </a:lnTo>
                <a:lnTo>
                  <a:pt x="0" y="11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84" name="Freeform 317"/>
          <p:cNvSpPr>
            <a:spLocks/>
          </p:cNvSpPr>
          <p:nvPr/>
        </p:nvSpPr>
        <p:spPr bwMode="auto">
          <a:xfrm>
            <a:off x="7982487" y="3659621"/>
            <a:ext cx="109209" cy="115634"/>
          </a:xfrm>
          <a:custGeom>
            <a:avLst/>
            <a:gdLst>
              <a:gd name="T0" fmla="*/ 0 w 102"/>
              <a:gd name="T1" fmla="*/ 72 h 108"/>
              <a:gd name="T2" fmla="*/ 6 w 102"/>
              <a:gd name="T3" fmla="*/ 66 h 108"/>
              <a:gd name="T4" fmla="*/ 12 w 102"/>
              <a:gd name="T5" fmla="*/ 66 h 108"/>
              <a:gd name="T6" fmla="*/ 12 w 102"/>
              <a:gd name="T7" fmla="*/ 60 h 108"/>
              <a:gd name="T8" fmla="*/ 18 w 102"/>
              <a:gd name="T9" fmla="*/ 60 h 108"/>
              <a:gd name="T10" fmla="*/ 24 w 102"/>
              <a:gd name="T11" fmla="*/ 54 h 108"/>
              <a:gd name="T12" fmla="*/ 24 w 102"/>
              <a:gd name="T13" fmla="*/ 48 h 108"/>
              <a:gd name="T14" fmla="*/ 24 w 102"/>
              <a:gd name="T15" fmla="*/ 48 h 108"/>
              <a:gd name="T16" fmla="*/ 24 w 102"/>
              <a:gd name="T17" fmla="*/ 42 h 108"/>
              <a:gd name="T18" fmla="*/ 18 w 102"/>
              <a:gd name="T19" fmla="*/ 36 h 108"/>
              <a:gd name="T20" fmla="*/ 18 w 102"/>
              <a:gd name="T21" fmla="*/ 30 h 108"/>
              <a:gd name="T22" fmla="*/ 12 w 102"/>
              <a:gd name="T23" fmla="*/ 36 h 108"/>
              <a:gd name="T24" fmla="*/ 12 w 102"/>
              <a:gd name="T25" fmla="*/ 30 h 108"/>
              <a:gd name="T26" fmla="*/ 18 w 102"/>
              <a:gd name="T27" fmla="*/ 30 h 108"/>
              <a:gd name="T28" fmla="*/ 24 w 102"/>
              <a:gd name="T29" fmla="*/ 30 h 108"/>
              <a:gd name="T30" fmla="*/ 24 w 102"/>
              <a:gd name="T31" fmla="*/ 24 h 108"/>
              <a:gd name="T32" fmla="*/ 30 w 102"/>
              <a:gd name="T33" fmla="*/ 24 h 108"/>
              <a:gd name="T34" fmla="*/ 36 w 102"/>
              <a:gd name="T35" fmla="*/ 24 h 108"/>
              <a:gd name="T36" fmla="*/ 48 w 102"/>
              <a:gd name="T37" fmla="*/ 18 h 108"/>
              <a:gd name="T38" fmla="*/ 48 w 102"/>
              <a:gd name="T39" fmla="*/ 18 h 108"/>
              <a:gd name="T40" fmla="*/ 42 w 102"/>
              <a:gd name="T41" fmla="*/ 12 h 108"/>
              <a:gd name="T42" fmla="*/ 42 w 102"/>
              <a:gd name="T43" fmla="*/ 12 h 108"/>
              <a:gd name="T44" fmla="*/ 42 w 102"/>
              <a:gd name="T45" fmla="*/ 6 h 108"/>
              <a:gd name="T46" fmla="*/ 42 w 102"/>
              <a:gd name="T47" fmla="*/ 0 h 108"/>
              <a:gd name="T48" fmla="*/ 48 w 102"/>
              <a:gd name="T49" fmla="*/ 6 h 108"/>
              <a:gd name="T50" fmla="*/ 54 w 102"/>
              <a:gd name="T51" fmla="*/ 12 h 108"/>
              <a:gd name="T52" fmla="*/ 54 w 102"/>
              <a:gd name="T53" fmla="*/ 6 h 108"/>
              <a:gd name="T54" fmla="*/ 66 w 102"/>
              <a:gd name="T55" fmla="*/ 6 h 108"/>
              <a:gd name="T56" fmla="*/ 72 w 102"/>
              <a:gd name="T57" fmla="*/ 6 h 108"/>
              <a:gd name="T58" fmla="*/ 78 w 102"/>
              <a:gd name="T59" fmla="*/ 18 h 108"/>
              <a:gd name="T60" fmla="*/ 84 w 102"/>
              <a:gd name="T61" fmla="*/ 18 h 108"/>
              <a:gd name="T62" fmla="*/ 96 w 102"/>
              <a:gd name="T63" fmla="*/ 18 h 108"/>
              <a:gd name="T64" fmla="*/ 96 w 102"/>
              <a:gd name="T65" fmla="*/ 24 h 108"/>
              <a:gd name="T66" fmla="*/ 90 w 102"/>
              <a:gd name="T67" fmla="*/ 30 h 108"/>
              <a:gd name="T68" fmla="*/ 84 w 102"/>
              <a:gd name="T69" fmla="*/ 30 h 108"/>
              <a:gd name="T70" fmla="*/ 84 w 102"/>
              <a:gd name="T71" fmla="*/ 30 h 108"/>
              <a:gd name="T72" fmla="*/ 72 w 102"/>
              <a:gd name="T73" fmla="*/ 48 h 108"/>
              <a:gd name="T74" fmla="*/ 66 w 102"/>
              <a:gd name="T75" fmla="*/ 66 h 108"/>
              <a:gd name="T76" fmla="*/ 72 w 102"/>
              <a:gd name="T77" fmla="*/ 66 h 108"/>
              <a:gd name="T78" fmla="*/ 78 w 102"/>
              <a:gd name="T79" fmla="*/ 66 h 108"/>
              <a:gd name="T80" fmla="*/ 84 w 102"/>
              <a:gd name="T81" fmla="*/ 66 h 108"/>
              <a:gd name="T82" fmla="*/ 90 w 102"/>
              <a:gd name="T83" fmla="*/ 72 h 108"/>
              <a:gd name="T84" fmla="*/ 78 w 102"/>
              <a:gd name="T85" fmla="*/ 96 h 108"/>
              <a:gd name="T86" fmla="*/ 72 w 102"/>
              <a:gd name="T87" fmla="*/ 96 h 108"/>
              <a:gd name="T88" fmla="*/ 66 w 102"/>
              <a:gd name="T89" fmla="*/ 96 h 108"/>
              <a:gd name="T90" fmla="*/ 66 w 102"/>
              <a:gd name="T91" fmla="*/ 96 h 108"/>
              <a:gd name="T92" fmla="*/ 54 w 102"/>
              <a:gd name="T93" fmla="*/ 90 h 108"/>
              <a:gd name="T94" fmla="*/ 48 w 102"/>
              <a:gd name="T95" fmla="*/ 90 h 108"/>
              <a:gd name="T96" fmla="*/ 48 w 102"/>
              <a:gd name="T97" fmla="*/ 90 h 108"/>
              <a:gd name="T98" fmla="*/ 42 w 102"/>
              <a:gd name="T99" fmla="*/ 90 h 108"/>
              <a:gd name="T100" fmla="*/ 42 w 102"/>
              <a:gd name="T101" fmla="*/ 96 h 108"/>
              <a:gd name="T102" fmla="*/ 30 w 102"/>
              <a:gd name="T103" fmla="*/ 96 h 108"/>
              <a:gd name="T104" fmla="*/ 24 w 102"/>
              <a:gd name="T105" fmla="*/ 102 h 108"/>
              <a:gd name="T106" fmla="*/ 24 w 102"/>
              <a:gd name="T107" fmla="*/ 102 h 108"/>
              <a:gd name="T108" fmla="*/ 24 w 102"/>
              <a:gd name="T109" fmla="*/ 96 h 108"/>
              <a:gd name="T110" fmla="*/ 24 w 102"/>
              <a:gd name="T111" fmla="*/ 90 h 108"/>
              <a:gd name="T112" fmla="*/ 18 w 102"/>
              <a:gd name="T113" fmla="*/ 84 h 108"/>
              <a:gd name="T114" fmla="*/ 12 w 102"/>
              <a:gd name="T115" fmla="*/ 90 h 108"/>
              <a:gd name="T116" fmla="*/ 6 w 102"/>
              <a:gd name="T117" fmla="*/ 90 h 108"/>
              <a:gd name="T118" fmla="*/ 0 w 102"/>
              <a:gd name="T119" fmla="*/ 78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2" h="108">
                <a:moveTo>
                  <a:pt x="0" y="78"/>
                </a:move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2" y="66"/>
                </a:lnTo>
                <a:lnTo>
                  <a:pt x="12" y="60"/>
                </a:lnTo>
                <a:lnTo>
                  <a:pt x="18" y="60"/>
                </a:lnTo>
                <a:lnTo>
                  <a:pt x="18" y="60"/>
                </a:lnTo>
                <a:lnTo>
                  <a:pt x="12" y="60"/>
                </a:lnTo>
                <a:lnTo>
                  <a:pt x="12" y="60"/>
                </a:lnTo>
                <a:lnTo>
                  <a:pt x="18" y="60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18" y="42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18" y="36"/>
                </a:lnTo>
                <a:lnTo>
                  <a:pt x="18" y="30"/>
                </a:lnTo>
                <a:lnTo>
                  <a:pt x="18" y="30"/>
                </a:lnTo>
                <a:lnTo>
                  <a:pt x="18" y="36"/>
                </a:lnTo>
                <a:lnTo>
                  <a:pt x="18" y="36"/>
                </a:lnTo>
                <a:lnTo>
                  <a:pt x="18" y="30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6"/>
                </a:lnTo>
                <a:lnTo>
                  <a:pt x="12" y="36"/>
                </a:lnTo>
                <a:lnTo>
                  <a:pt x="18" y="36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24"/>
                </a:lnTo>
                <a:lnTo>
                  <a:pt x="24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6" y="24"/>
                </a:lnTo>
                <a:lnTo>
                  <a:pt x="36" y="18"/>
                </a:lnTo>
                <a:lnTo>
                  <a:pt x="36" y="18"/>
                </a:lnTo>
                <a:lnTo>
                  <a:pt x="42" y="18"/>
                </a:lnTo>
                <a:lnTo>
                  <a:pt x="42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2" y="18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42" y="6"/>
                </a:lnTo>
                <a:lnTo>
                  <a:pt x="42" y="6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8" y="0"/>
                </a:lnTo>
                <a:lnTo>
                  <a:pt x="42" y="0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6"/>
                </a:lnTo>
                <a:lnTo>
                  <a:pt x="48" y="0"/>
                </a:lnTo>
                <a:lnTo>
                  <a:pt x="54" y="0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60" y="0"/>
                </a:lnTo>
                <a:lnTo>
                  <a:pt x="60" y="0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2" y="12"/>
                </a:lnTo>
                <a:lnTo>
                  <a:pt x="72" y="12"/>
                </a:lnTo>
                <a:lnTo>
                  <a:pt x="78" y="12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6" y="18"/>
                </a:lnTo>
                <a:lnTo>
                  <a:pt x="96" y="18"/>
                </a:lnTo>
                <a:lnTo>
                  <a:pt x="102" y="18"/>
                </a:lnTo>
                <a:lnTo>
                  <a:pt x="96" y="18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78" y="30"/>
                </a:lnTo>
                <a:lnTo>
                  <a:pt x="84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2" y="48"/>
                </a:lnTo>
                <a:lnTo>
                  <a:pt x="72" y="48"/>
                </a:lnTo>
                <a:lnTo>
                  <a:pt x="72" y="54"/>
                </a:lnTo>
                <a:lnTo>
                  <a:pt x="72" y="54"/>
                </a:lnTo>
                <a:lnTo>
                  <a:pt x="66" y="60"/>
                </a:lnTo>
                <a:lnTo>
                  <a:pt x="66" y="60"/>
                </a:lnTo>
                <a:lnTo>
                  <a:pt x="66" y="66"/>
                </a:lnTo>
                <a:lnTo>
                  <a:pt x="60" y="66"/>
                </a:lnTo>
                <a:lnTo>
                  <a:pt x="66" y="66"/>
                </a:lnTo>
                <a:lnTo>
                  <a:pt x="66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84" y="78"/>
                </a:lnTo>
                <a:lnTo>
                  <a:pt x="78" y="90"/>
                </a:lnTo>
                <a:lnTo>
                  <a:pt x="78" y="96"/>
                </a:lnTo>
                <a:lnTo>
                  <a:pt x="78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0" y="96"/>
                </a:lnTo>
                <a:lnTo>
                  <a:pt x="60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48" y="96"/>
                </a:lnTo>
                <a:lnTo>
                  <a:pt x="48" y="90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6"/>
                </a:lnTo>
                <a:lnTo>
                  <a:pt x="42" y="96"/>
                </a:lnTo>
                <a:lnTo>
                  <a:pt x="36" y="96"/>
                </a:lnTo>
                <a:lnTo>
                  <a:pt x="36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8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84"/>
                </a:lnTo>
                <a:lnTo>
                  <a:pt x="18" y="84"/>
                </a:lnTo>
                <a:lnTo>
                  <a:pt x="12" y="84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78"/>
                </a:lnTo>
                <a:lnTo>
                  <a:pt x="6" y="78"/>
                </a:lnTo>
                <a:lnTo>
                  <a:pt x="0" y="78"/>
                </a:lnTo>
                <a:lnTo>
                  <a:pt x="0" y="7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85" name="Freeform 318"/>
          <p:cNvSpPr>
            <a:spLocks/>
          </p:cNvSpPr>
          <p:nvPr/>
        </p:nvSpPr>
        <p:spPr bwMode="auto">
          <a:xfrm>
            <a:off x="7841158" y="3916585"/>
            <a:ext cx="83513" cy="109210"/>
          </a:xfrm>
          <a:custGeom>
            <a:avLst/>
            <a:gdLst>
              <a:gd name="T0" fmla="*/ 6 w 78"/>
              <a:gd name="T1" fmla="*/ 72 h 102"/>
              <a:gd name="T2" fmla="*/ 6 w 78"/>
              <a:gd name="T3" fmla="*/ 72 h 102"/>
              <a:gd name="T4" fmla="*/ 6 w 78"/>
              <a:gd name="T5" fmla="*/ 66 h 102"/>
              <a:gd name="T6" fmla="*/ 6 w 78"/>
              <a:gd name="T7" fmla="*/ 66 h 102"/>
              <a:gd name="T8" fmla="*/ 12 w 78"/>
              <a:gd name="T9" fmla="*/ 60 h 102"/>
              <a:gd name="T10" fmla="*/ 12 w 78"/>
              <a:gd name="T11" fmla="*/ 60 h 102"/>
              <a:gd name="T12" fmla="*/ 6 w 78"/>
              <a:gd name="T13" fmla="*/ 54 h 102"/>
              <a:gd name="T14" fmla="*/ 12 w 78"/>
              <a:gd name="T15" fmla="*/ 48 h 102"/>
              <a:gd name="T16" fmla="*/ 12 w 78"/>
              <a:gd name="T17" fmla="*/ 48 h 102"/>
              <a:gd name="T18" fmla="*/ 12 w 78"/>
              <a:gd name="T19" fmla="*/ 36 h 102"/>
              <a:gd name="T20" fmla="*/ 6 w 78"/>
              <a:gd name="T21" fmla="*/ 24 h 102"/>
              <a:gd name="T22" fmla="*/ 6 w 78"/>
              <a:gd name="T23" fmla="*/ 18 h 102"/>
              <a:gd name="T24" fmla="*/ 12 w 78"/>
              <a:gd name="T25" fmla="*/ 18 h 102"/>
              <a:gd name="T26" fmla="*/ 18 w 78"/>
              <a:gd name="T27" fmla="*/ 12 h 102"/>
              <a:gd name="T28" fmla="*/ 18 w 78"/>
              <a:gd name="T29" fmla="*/ 12 h 102"/>
              <a:gd name="T30" fmla="*/ 18 w 78"/>
              <a:gd name="T31" fmla="*/ 6 h 102"/>
              <a:gd name="T32" fmla="*/ 66 w 78"/>
              <a:gd name="T33" fmla="*/ 6 h 102"/>
              <a:gd name="T34" fmla="*/ 66 w 78"/>
              <a:gd name="T35" fmla="*/ 6 h 102"/>
              <a:gd name="T36" fmla="*/ 72 w 78"/>
              <a:gd name="T37" fmla="*/ 0 h 102"/>
              <a:gd name="T38" fmla="*/ 72 w 78"/>
              <a:gd name="T39" fmla="*/ 6 h 102"/>
              <a:gd name="T40" fmla="*/ 78 w 78"/>
              <a:gd name="T41" fmla="*/ 12 h 102"/>
              <a:gd name="T42" fmla="*/ 78 w 78"/>
              <a:gd name="T43" fmla="*/ 12 h 102"/>
              <a:gd name="T44" fmla="*/ 72 w 78"/>
              <a:gd name="T45" fmla="*/ 12 h 102"/>
              <a:gd name="T46" fmla="*/ 72 w 78"/>
              <a:gd name="T47" fmla="*/ 18 h 102"/>
              <a:gd name="T48" fmla="*/ 72 w 78"/>
              <a:gd name="T49" fmla="*/ 24 h 102"/>
              <a:gd name="T50" fmla="*/ 72 w 78"/>
              <a:gd name="T51" fmla="*/ 24 h 102"/>
              <a:gd name="T52" fmla="*/ 78 w 78"/>
              <a:gd name="T53" fmla="*/ 30 h 102"/>
              <a:gd name="T54" fmla="*/ 78 w 78"/>
              <a:gd name="T55" fmla="*/ 36 h 102"/>
              <a:gd name="T56" fmla="*/ 78 w 78"/>
              <a:gd name="T57" fmla="*/ 42 h 102"/>
              <a:gd name="T58" fmla="*/ 66 w 78"/>
              <a:gd name="T59" fmla="*/ 42 h 102"/>
              <a:gd name="T60" fmla="*/ 66 w 78"/>
              <a:gd name="T61" fmla="*/ 48 h 102"/>
              <a:gd name="T62" fmla="*/ 66 w 78"/>
              <a:gd name="T63" fmla="*/ 48 h 102"/>
              <a:gd name="T64" fmla="*/ 66 w 78"/>
              <a:gd name="T65" fmla="*/ 54 h 102"/>
              <a:gd name="T66" fmla="*/ 66 w 78"/>
              <a:gd name="T67" fmla="*/ 54 h 102"/>
              <a:gd name="T68" fmla="*/ 66 w 78"/>
              <a:gd name="T69" fmla="*/ 60 h 102"/>
              <a:gd name="T70" fmla="*/ 72 w 78"/>
              <a:gd name="T71" fmla="*/ 66 h 102"/>
              <a:gd name="T72" fmla="*/ 72 w 78"/>
              <a:gd name="T73" fmla="*/ 72 h 102"/>
              <a:gd name="T74" fmla="*/ 66 w 78"/>
              <a:gd name="T75" fmla="*/ 72 h 102"/>
              <a:gd name="T76" fmla="*/ 60 w 78"/>
              <a:gd name="T77" fmla="*/ 78 h 102"/>
              <a:gd name="T78" fmla="*/ 60 w 78"/>
              <a:gd name="T79" fmla="*/ 84 h 102"/>
              <a:gd name="T80" fmla="*/ 60 w 78"/>
              <a:gd name="T81" fmla="*/ 90 h 102"/>
              <a:gd name="T82" fmla="*/ 60 w 78"/>
              <a:gd name="T83" fmla="*/ 90 h 102"/>
              <a:gd name="T84" fmla="*/ 54 w 78"/>
              <a:gd name="T85" fmla="*/ 90 h 102"/>
              <a:gd name="T86" fmla="*/ 48 w 78"/>
              <a:gd name="T87" fmla="*/ 96 h 102"/>
              <a:gd name="T88" fmla="*/ 48 w 78"/>
              <a:gd name="T89" fmla="*/ 90 h 102"/>
              <a:gd name="T90" fmla="*/ 42 w 78"/>
              <a:gd name="T91" fmla="*/ 96 h 102"/>
              <a:gd name="T92" fmla="*/ 36 w 78"/>
              <a:gd name="T93" fmla="*/ 96 h 102"/>
              <a:gd name="T94" fmla="*/ 36 w 78"/>
              <a:gd name="T95" fmla="*/ 84 h 102"/>
              <a:gd name="T96" fmla="*/ 30 w 78"/>
              <a:gd name="T97" fmla="*/ 90 h 102"/>
              <a:gd name="T98" fmla="*/ 30 w 78"/>
              <a:gd name="T99" fmla="*/ 96 h 102"/>
              <a:gd name="T100" fmla="*/ 24 w 78"/>
              <a:gd name="T101" fmla="*/ 96 h 102"/>
              <a:gd name="T102" fmla="*/ 24 w 78"/>
              <a:gd name="T103" fmla="*/ 96 h 102"/>
              <a:gd name="T104" fmla="*/ 24 w 78"/>
              <a:gd name="T105" fmla="*/ 96 h 102"/>
              <a:gd name="T106" fmla="*/ 24 w 78"/>
              <a:gd name="T107" fmla="*/ 90 h 102"/>
              <a:gd name="T108" fmla="*/ 18 w 78"/>
              <a:gd name="T109" fmla="*/ 90 h 102"/>
              <a:gd name="T110" fmla="*/ 18 w 78"/>
              <a:gd name="T111" fmla="*/ 84 h 102"/>
              <a:gd name="T112" fmla="*/ 18 w 78"/>
              <a:gd name="T113" fmla="*/ 84 h 102"/>
              <a:gd name="T114" fmla="*/ 12 w 78"/>
              <a:gd name="T115" fmla="*/ 78 h 102"/>
              <a:gd name="T116" fmla="*/ 6 w 78"/>
              <a:gd name="T117" fmla="*/ 78 h 102"/>
              <a:gd name="T118" fmla="*/ 6 w 78"/>
              <a:gd name="T119" fmla="*/ 78 h 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8" h="102">
                <a:moveTo>
                  <a:pt x="6" y="78"/>
                </a:moveTo>
                <a:lnTo>
                  <a:pt x="6" y="78"/>
                </a:lnTo>
                <a:lnTo>
                  <a:pt x="0" y="78"/>
                </a:lnTo>
                <a:lnTo>
                  <a:pt x="0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30" y="6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8"/>
                </a:lnTo>
                <a:lnTo>
                  <a:pt x="78" y="18"/>
                </a:lnTo>
                <a:lnTo>
                  <a:pt x="72" y="18"/>
                </a:lnTo>
                <a:lnTo>
                  <a:pt x="72" y="12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30"/>
                </a:lnTo>
                <a:lnTo>
                  <a:pt x="72" y="24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42"/>
                </a:lnTo>
                <a:lnTo>
                  <a:pt x="72" y="42"/>
                </a:lnTo>
                <a:lnTo>
                  <a:pt x="78" y="42"/>
                </a:lnTo>
                <a:lnTo>
                  <a:pt x="78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66" y="42"/>
                </a:lnTo>
                <a:lnTo>
                  <a:pt x="66" y="42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6"/>
                </a:lnTo>
                <a:lnTo>
                  <a:pt x="66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72"/>
                </a:lnTo>
                <a:lnTo>
                  <a:pt x="72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90"/>
                </a:lnTo>
                <a:lnTo>
                  <a:pt x="54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54" y="90"/>
                </a:lnTo>
                <a:lnTo>
                  <a:pt x="60" y="96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6"/>
                </a:lnTo>
                <a:lnTo>
                  <a:pt x="48" y="96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2" y="90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0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0"/>
                </a:lnTo>
                <a:lnTo>
                  <a:pt x="36" y="90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90"/>
                </a:lnTo>
                <a:lnTo>
                  <a:pt x="36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102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24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78"/>
                </a:lnTo>
                <a:lnTo>
                  <a:pt x="18" y="78"/>
                </a:lnTo>
                <a:lnTo>
                  <a:pt x="12" y="78"/>
                </a:lnTo>
                <a:lnTo>
                  <a:pt x="12" y="84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86" name="Freeform 319"/>
          <p:cNvSpPr>
            <a:spLocks noEditPoints="1"/>
          </p:cNvSpPr>
          <p:nvPr/>
        </p:nvSpPr>
        <p:spPr bwMode="auto">
          <a:xfrm>
            <a:off x="7969639" y="3948705"/>
            <a:ext cx="83513" cy="64241"/>
          </a:xfrm>
          <a:custGeom>
            <a:avLst/>
            <a:gdLst>
              <a:gd name="T0" fmla="*/ 0 w 78"/>
              <a:gd name="T1" fmla="*/ 54 h 60"/>
              <a:gd name="T2" fmla="*/ 0 w 78"/>
              <a:gd name="T3" fmla="*/ 48 h 60"/>
              <a:gd name="T4" fmla="*/ 0 w 78"/>
              <a:gd name="T5" fmla="*/ 42 h 60"/>
              <a:gd name="T6" fmla="*/ 6 w 78"/>
              <a:gd name="T7" fmla="*/ 36 h 60"/>
              <a:gd name="T8" fmla="*/ 6 w 78"/>
              <a:gd name="T9" fmla="*/ 30 h 60"/>
              <a:gd name="T10" fmla="*/ 6 w 78"/>
              <a:gd name="T11" fmla="*/ 24 h 60"/>
              <a:gd name="T12" fmla="*/ 0 w 78"/>
              <a:gd name="T13" fmla="*/ 24 h 60"/>
              <a:gd name="T14" fmla="*/ 0 w 78"/>
              <a:gd name="T15" fmla="*/ 18 h 60"/>
              <a:gd name="T16" fmla="*/ 0 w 78"/>
              <a:gd name="T17" fmla="*/ 12 h 60"/>
              <a:gd name="T18" fmla="*/ 0 w 78"/>
              <a:gd name="T19" fmla="*/ 6 h 60"/>
              <a:gd name="T20" fmla="*/ 0 w 78"/>
              <a:gd name="T21" fmla="*/ 0 h 60"/>
              <a:gd name="T22" fmla="*/ 6 w 78"/>
              <a:gd name="T23" fmla="*/ 6 h 60"/>
              <a:gd name="T24" fmla="*/ 12 w 78"/>
              <a:gd name="T25" fmla="*/ 6 h 60"/>
              <a:gd name="T26" fmla="*/ 18 w 78"/>
              <a:gd name="T27" fmla="*/ 12 h 60"/>
              <a:gd name="T28" fmla="*/ 24 w 78"/>
              <a:gd name="T29" fmla="*/ 12 h 60"/>
              <a:gd name="T30" fmla="*/ 30 w 78"/>
              <a:gd name="T31" fmla="*/ 12 h 60"/>
              <a:gd name="T32" fmla="*/ 30 w 78"/>
              <a:gd name="T33" fmla="*/ 6 h 60"/>
              <a:gd name="T34" fmla="*/ 36 w 78"/>
              <a:gd name="T35" fmla="*/ 6 h 60"/>
              <a:gd name="T36" fmla="*/ 42 w 78"/>
              <a:gd name="T37" fmla="*/ 6 h 60"/>
              <a:gd name="T38" fmla="*/ 42 w 78"/>
              <a:gd name="T39" fmla="*/ 6 h 60"/>
              <a:gd name="T40" fmla="*/ 54 w 78"/>
              <a:gd name="T41" fmla="*/ 6 h 60"/>
              <a:gd name="T42" fmla="*/ 78 w 78"/>
              <a:gd name="T43" fmla="*/ 18 h 60"/>
              <a:gd name="T44" fmla="*/ 72 w 78"/>
              <a:gd name="T45" fmla="*/ 30 h 60"/>
              <a:gd name="T46" fmla="*/ 72 w 78"/>
              <a:gd name="T47" fmla="*/ 30 h 60"/>
              <a:gd name="T48" fmla="*/ 66 w 78"/>
              <a:gd name="T49" fmla="*/ 30 h 60"/>
              <a:gd name="T50" fmla="*/ 66 w 78"/>
              <a:gd name="T51" fmla="*/ 30 h 60"/>
              <a:gd name="T52" fmla="*/ 60 w 78"/>
              <a:gd name="T53" fmla="*/ 30 h 60"/>
              <a:gd name="T54" fmla="*/ 54 w 78"/>
              <a:gd name="T55" fmla="*/ 36 h 60"/>
              <a:gd name="T56" fmla="*/ 60 w 78"/>
              <a:gd name="T57" fmla="*/ 36 h 60"/>
              <a:gd name="T58" fmla="*/ 60 w 78"/>
              <a:gd name="T59" fmla="*/ 30 h 60"/>
              <a:gd name="T60" fmla="*/ 60 w 78"/>
              <a:gd name="T61" fmla="*/ 36 h 60"/>
              <a:gd name="T62" fmla="*/ 60 w 78"/>
              <a:gd name="T63" fmla="*/ 42 h 60"/>
              <a:gd name="T64" fmla="*/ 54 w 78"/>
              <a:gd name="T65" fmla="*/ 48 h 60"/>
              <a:gd name="T66" fmla="*/ 48 w 78"/>
              <a:gd name="T67" fmla="*/ 48 h 60"/>
              <a:gd name="T68" fmla="*/ 42 w 78"/>
              <a:gd name="T69" fmla="*/ 54 h 60"/>
              <a:gd name="T70" fmla="*/ 42 w 78"/>
              <a:gd name="T71" fmla="*/ 48 h 60"/>
              <a:gd name="T72" fmla="*/ 42 w 78"/>
              <a:gd name="T73" fmla="*/ 54 h 60"/>
              <a:gd name="T74" fmla="*/ 36 w 78"/>
              <a:gd name="T75" fmla="*/ 54 h 60"/>
              <a:gd name="T76" fmla="*/ 36 w 78"/>
              <a:gd name="T77" fmla="*/ 54 h 60"/>
              <a:gd name="T78" fmla="*/ 36 w 78"/>
              <a:gd name="T79" fmla="*/ 54 h 60"/>
              <a:gd name="T80" fmla="*/ 30 w 78"/>
              <a:gd name="T81" fmla="*/ 54 h 60"/>
              <a:gd name="T82" fmla="*/ 36 w 78"/>
              <a:gd name="T83" fmla="*/ 54 h 60"/>
              <a:gd name="T84" fmla="*/ 36 w 78"/>
              <a:gd name="T85" fmla="*/ 54 h 60"/>
              <a:gd name="T86" fmla="*/ 30 w 78"/>
              <a:gd name="T87" fmla="*/ 54 h 60"/>
              <a:gd name="T88" fmla="*/ 12 w 78"/>
              <a:gd name="T89" fmla="*/ 60 h 60"/>
              <a:gd name="T90" fmla="*/ 0 w 78"/>
              <a:gd name="T91" fmla="*/ 60 h 60"/>
              <a:gd name="T92" fmla="*/ 60 w 78"/>
              <a:gd name="T93" fmla="*/ 30 h 60"/>
              <a:gd name="T94" fmla="*/ 78 w 78"/>
              <a:gd name="T95" fmla="*/ 30 h 60"/>
              <a:gd name="T96" fmla="*/ 78 w 78"/>
              <a:gd name="T97" fmla="*/ 24 h 60"/>
              <a:gd name="T98" fmla="*/ 78 w 78"/>
              <a:gd name="T99" fmla="*/ 24 h 60"/>
              <a:gd name="T100" fmla="*/ 78 w 78"/>
              <a:gd name="T101" fmla="*/ 24 h 60"/>
              <a:gd name="T102" fmla="*/ 78 w 78"/>
              <a:gd name="T103" fmla="*/ 24 h 60"/>
              <a:gd name="T104" fmla="*/ 78 w 78"/>
              <a:gd name="T105" fmla="*/ 24 h 60"/>
              <a:gd name="T106" fmla="*/ 78 w 78"/>
              <a:gd name="T107" fmla="*/ 24 h 60"/>
              <a:gd name="T108" fmla="*/ 78 w 78"/>
              <a:gd name="T109" fmla="*/ 24 h 60"/>
              <a:gd name="T110" fmla="*/ 78 w 78"/>
              <a:gd name="T111" fmla="*/ 24 h 60"/>
              <a:gd name="T112" fmla="*/ 78 w 78"/>
              <a:gd name="T113" fmla="*/ 24 h 60"/>
              <a:gd name="T114" fmla="*/ 78 w 78"/>
              <a:gd name="T115" fmla="*/ 24 h 60"/>
              <a:gd name="T116" fmla="*/ 78 w 78"/>
              <a:gd name="T117" fmla="*/ 24 h 60"/>
              <a:gd name="T118" fmla="*/ 78 w 78"/>
              <a:gd name="T119" fmla="*/ 24 h 60"/>
              <a:gd name="T120" fmla="*/ 78 w 78"/>
              <a:gd name="T121" fmla="*/ 24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78" h="60">
                <a:moveTo>
                  <a:pt x="0" y="60"/>
                </a:moveTo>
                <a:lnTo>
                  <a:pt x="0" y="60"/>
                </a:lnTo>
                <a:lnTo>
                  <a:pt x="0" y="60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12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24" y="6"/>
                </a:lnTo>
                <a:lnTo>
                  <a:pt x="24" y="12"/>
                </a:lnTo>
                <a:lnTo>
                  <a:pt x="24" y="12"/>
                </a:lnTo>
                <a:lnTo>
                  <a:pt x="18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0"/>
                </a:lnTo>
                <a:lnTo>
                  <a:pt x="36" y="0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12"/>
                </a:lnTo>
                <a:lnTo>
                  <a:pt x="48" y="6"/>
                </a:lnTo>
                <a:lnTo>
                  <a:pt x="48" y="12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6" y="12"/>
                </a:lnTo>
                <a:lnTo>
                  <a:pt x="66" y="12"/>
                </a:lnTo>
                <a:lnTo>
                  <a:pt x="78" y="12"/>
                </a:lnTo>
                <a:lnTo>
                  <a:pt x="78" y="12"/>
                </a:lnTo>
                <a:lnTo>
                  <a:pt x="78" y="18"/>
                </a:lnTo>
                <a:lnTo>
                  <a:pt x="78" y="18"/>
                </a:lnTo>
                <a:lnTo>
                  <a:pt x="78" y="24"/>
                </a:lnTo>
                <a:lnTo>
                  <a:pt x="72" y="24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66" y="30"/>
                </a:lnTo>
                <a:lnTo>
                  <a:pt x="72" y="30"/>
                </a:lnTo>
                <a:lnTo>
                  <a:pt x="72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54" y="36"/>
                </a:lnTo>
                <a:lnTo>
                  <a:pt x="54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0"/>
                </a:lnTo>
                <a:lnTo>
                  <a:pt x="60" y="30"/>
                </a:lnTo>
                <a:lnTo>
                  <a:pt x="60" y="36"/>
                </a:lnTo>
                <a:lnTo>
                  <a:pt x="66" y="30"/>
                </a:lnTo>
                <a:lnTo>
                  <a:pt x="66" y="36"/>
                </a:lnTo>
                <a:lnTo>
                  <a:pt x="66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54" y="42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48" y="54"/>
                </a:lnTo>
                <a:lnTo>
                  <a:pt x="48" y="48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2" y="54"/>
                </a:lnTo>
                <a:lnTo>
                  <a:pt x="48" y="54"/>
                </a:lnTo>
                <a:lnTo>
                  <a:pt x="42" y="54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0" y="54"/>
                </a:lnTo>
                <a:lnTo>
                  <a:pt x="36" y="54"/>
                </a:lnTo>
                <a:lnTo>
                  <a:pt x="36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60"/>
                </a:lnTo>
                <a:lnTo>
                  <a:pt x="30" y="60"/>
                </a:lnTo>
                <a:lnTo>
                  <a:pt x="18" y="60"/>
                </a:lnTo>
                <a:lnTo>
                  <a:pt x="18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6" y="60"/>
                </a:lnTo>
                <a:lnTo>
                  <a:pt x="6" y="60"/>
                </a:lnTo>
                <a:lnTo>
                  <a:pt x="0" y="60"/>
                </a:lnTo>
                <a:lnTo>
                  <a:pt x="0" y="60"/>
                </a:lnTo>
                <a:close/>
                <a:moveTo>
                  <a:pt x="60" y="36"/>
                </a:moveTo>
                <a:lnTo>
                  <a:pt x="60" y="36"/>
                </a:lnTo>
                <a:lnTo>
                  <a:pt x="60" y="36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6"/>
                </a:lnTo>
                <a:lnTo>
                  <a:pt x="60" y="36"/>
                </a:lnTo>
                <a:close/>
                <a:moveTo>
                  <a:pt x="78" y="30"/>
                </a:move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close/>
                <a:moveTo>
                  <a:pt x="78" y="24"/>
                </a:move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close/>
                <a:moveTo>
                  <a:pt x="78" y="24"/>
                </a:move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close/>
                <a:moveTo>
                  <a:pt x="78" y="24"/>
                </a:move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close/>
                <a:moveTo>
                  <a:pt x="78" y="24"/>
                </a:move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close/>
                <a:moveTo>
                  <a:pt x="78" y="24"/>
                </a:move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close/>
                <a:moveTo>
                  <a:pt x="78" y="24"/>
                </a:move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close/>
                <a:moveTo>
                  <a:pt x="78" y="24"/>
                </a:move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87" name="Freeform 320"/>
          <p:cNvSpPr>
            <a:spLocks/>
          </p:cNvSpPr>
          <p:nvPr/>
        </p:nvSpPr>
        <p:spPr bwMode="auto">
          <a:xfrm>
            <a:off x="7937519" y="3743134"/>
            <a:ext cx="115633" cy="122058"/>
          </a:xfrm>
          <a:custGeom>
            <a:avLst/>
            <a:gdLst>
              <a:gd name="T0" fmla="*/ 6 w 108"/>
              <a:gd name="T1" fmla="*/ 102 h 114"/>
              <a:gd name="T2" fmla="*/ 12 w 108"/>
              <a:gd name="T3" fmla="*/ 90 h 114"/>
              <a:gd name="T4" fmla="*/ 18 w 108"/>
              <a:gd name="T5" fmla="*/ 84 h 114"/>
              <a:gd name="T6" fmla="*/ 24 w 108"/>
              <a:gd name="T7" fmla="*/ 84 h 114"/>
              <a:gd name="T8" fmla="*/ 24 w 108"/>
              <a:gd name="T9" fmla="*/ 72 h 114"/>
              <a:gd name="T10" fmla="*/ 36 w 108"/>
              <a:gd name="T11" fmla="*/ 72 h 114"/>
              <a:gd name="T12" fmla="*/ 30 w 108"/>
              <a:gd name="T13" fmla="*/ 66 h 114"/>
              <a:gd name="T14" fmla="*/ 36 w 108"/>
              <a:gd name="T15" fmla="*/ 54 h 114"/>
              <a:gd name="T16" fmla="*/ 36 w 108"/>
              <a:gd name="T17" fmla="*/ 48 h 114"/>
              <a:gd name="T18" fmla="*/ 36 w 108"/>
              <a:gd name="T19" fmla="*/ 42 h 114"/>
              <a:gd name="T20" fmla="*/ 36 w 108"/>
              <a:gd name="T21" fmla="*/ 42 h 114"/>
              <a:gd name="T22" fmla="*/ 36 w 108"/>
              <a:gd name="T23" fmla="*/ 36 h 114"/>
              <a:gd name="T24" fmla="*/ 36 w 108"/>
              <a:gd name="T25" fmla="*/ 30 h 114"/>
              <a:gd name="T26" fmla="*/ 30 w 108"/>
              <a:gd name="T27" fmla="*/ 24 h 114"/>
              <a:gd name="T28" fmla="*/ 30 w 108"/>
              <a:gd name="T29" fmla="*/ 24 h 114"/>
              <a:gd name="T30" fmla="*/ 24 w 108"/>
              <a:gd name="T31" fmla="*/ 18 h 114"/>
              <a:gd name="T32" fmla="*/ 18 w 108"/>
              <a:gd name="T33" fmla="*/ 12 h 114"/>
              <a:gd name="T34" fmla="*/ 24 w 108"/>
              <a:gd name="T35" fmla="*/ 6 h 114"/>
              <a:gd name="T36" fmla="*/ 24 w 108"/>
              <a:gd name="T37" fmla="*/ 6 h 114"/>
              <a:gd name="T38" fmla="*/ 18 w 108"/>
              <a:gd name="T39" fmla="*/ 0 h 114"/>
              <a:gd name="T40" fmla="*/ 48 w 108"/>
              <a:gd name="T41" fmla="*/ 12 h 114"/>
              <a:gd name="T42" fmla="*/ 54 w 108"/>
              <a:gd name="T43" fmla="*/ 12 h 114"/>
              <a:gd name="T44" fmla="*/ 60 w 108"/>
              <a:gd name="T45" fmla="*/ 12 h 114"/>
              <a:gd name="T46" fmla="*/ 66 w 108"/>
              <a:gd name="T47" fmla="*/ 18 h 114"/>
              <a:gd name="T48" fmla="*/ 66 w 108"/>
              <a:gd name="T49" fmla="*/ 30 h 114"/>
              <a:gd name="T50" fmla="*/ 72 w 108"/>
              <a:gd name="T51" fmla="*/ 18 h 114"/>
              <a:gd name="T52" fmla="*/ 84 w 108"/>
              <a:gd name="T53" fmla="*/ 12 h 114"/>
              <a:gd name="T54" fmla="*/ 90 w 108"/>
              <a:gd name="T55" fmla="*/ 12 h 114"/>
              <a:gd name="T56" fmla="*/ 90 w 108"/>
              <a:gd name="T57" fmla="*/ 18 h 114"/>
              <a:gd name="T58" fmla="*/ 102 w 108"/>
              <a:gd name="T59" fmla="*/ 12 h 114"/>
              <a:gd name="T60" fmla="*/ 108 w 108"/>
              <a:gd name="T61" fmla="*/ 18 h 114"/>
              <a:gd name="T62" fmla="*/ 102 w 108"/>
              <a:gd name="T63" fmla="*/ 30 h 114"/>
              <a:gd name="T64" fmla="*/ 102 w 108"/>
              <a:gd name="T65" fmla="*/ 30 h 114"/>
              <a:gd name="T66" fmla="*/ 102 w 108"/>
              <a:gd name="T67" fmla="*/ 36 h 114"/>
              <a:gd name="T68" fmla="*/ 102 w 108"/>
              <a:gd name="T69" fmla="*/ 42 h 114"/>
              <a:gd name="T70" fmla="*/ 96 w 108"/>
              <a:gd name="T71" fmla="*/ 48 h 114"/>
              <a:gd name="T72" fmla="*/ 90 w 108"/>
              <a:gd name="T73" fmla="*/ 54 h 114"/>
              <a:gd name="T74" fmla="*/ 96 w 108"/>
              <a:gd name="T75" fmla="*/ 54 h 114"/>
              <a:gd name="T76" fmla="*/ 102 w 108"/>
              <a:gd name="T77" fmla="*/ 66 h 114"/>
              <a:gd name="T78" fmla="*/ 102 w 108"/>
              <a:gd name="T79" fmla="*/ 72 h 114"/>
              <a:gd name="T80" fmla="*/ 108 w 108"/>
              <a:gd name="T81" fmla="*/ 78 h 114"/>
              <a:gd name="T82" fmla="*/ 108 w 108"/>
              <a:gd name="T83" fmla="*/ 90 h 114"/>
              <a:gd name="T84" fmla="*/ 96 w 108"/>
              <a:gd name="T85" fmla="*/ 90 h 114"/>
              <a:gd name="T86" fmla="*/ 90 w 108"/>
              <a:gd name="T87" fmla="*/ 102 h 114"/>
              <a:gd name="T88" fmla="*/ 84 w 108"/>
              <a:gd name="T89" fmla="*/ 96 h 114"/>
              <a:gd name="T90" fmla="*/ 72 w 108"/>
              <a:gd name="T91" fmla="*/ 90 h 114"/>
              <a:gd name="T92" fmla="*/ 66 w 108"/>
              <a:gd name="T93" fmla="*/ 90 h 114"/>
              <a:gd name="T94" fmla="*/ 54 w 108"/>
              <a:gd name="T95" fmla="*/ 90 h 114"/>
              <a:gd name="T96" fmla="*/ 54 w 108"/>
              <a:gd name="T97" fmla="*/ 84 h 114"/>
              <a:gd name="T98" fmla="*/ 48 w 108"/>
              <a:gd name="T99" fmla="*/ 90 h 114"/>
              <a:gd name="T100" fmla="*/ 48 w 108"/>
              <a:gd name="T101" fmla="*/ 84 h 114"/>
              <a:gd name="T102" fmla="*/ 42 w 108"/>
              <a:gd name="T103" fmla="*/ 84 h 114"/>
              <a:gd name="T104" fmla="*/ 36 w 108"/>
              <a:gd name="T105" fmla="*/ 90 h 114"/>
              <a:gd name="T106" fmla="*/ 36 w 108"/>
              <a:gd name="T107" fmla="*/ 96 h 114"/>
              <a:gd name="T108" fmla="*/ 30 w 108"/>
              <a:gd name="T109" fmla="*/ 102 h 114"/>
              <a:gd name="T110" fmla="*/ 30 w 108"/>
              <a:gd name="T111" fmla="*/ 114 h 114"/>
              <a:gd name="T112" fmla="*/ 18 w 108"/>
              <a:gd name="T113" fmla="*/ 108 h 114"/>
              <a:gd name="T114" fmla="*/ 12 w 108"/>
              <a:gd name="T115" fmla="*/ 108 h 114"/>
              <a:gd name="T116" fmla="*/ 12 w 108"/>
              <a:gd name="T117" fmla="*/ 108 h 114"/>
              <a:gd name="T118" fmla="*/ 6 w 108"/>
              <a:gd name="T119" fmla="*/ 108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8" h="114">
                <a:moveTo>
                  <a:pt x="0" y="108"/>
                </a:moveTo>
                <a:lnTo>
                  <a:pt x="0" y="108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12" y="96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24" y="84"/>
                </a:lnTo>
                <a:lnTo>
                  <a:pt x="24" y="84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2"/>
                </a:lnTo>
                <a:lnTo>
                  <a:pt x="18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6" y="72"/>
                </a:lnTo>
                <a:lnTo>
                  <a:pt x="36" y="72"/>
                </a:lnTo>
                <a:lnTo>
                  <a:pt x="36" y="66"/>
                </a:lnTo>
                <a:lnTo>
                  <a:pt x="36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6" y="60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42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24"/>
                </a:lnTo>
                <a:lnTo>
                  <a:pt x="36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18"/>
                </a:lnTo>
                <a:lnTo>
                  <a:pt x="30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42" y="0"/>
                </a:lnTo>
                <a:lnTo>
                  <a:pt x="42" y="0"/>
                </a:lnTo>
                <a:lnTo>
                  <a:pt x="48" y="0"/>
                </a:lnTo>
                <a:lnTo>
                  <a:pt x="48" y="0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6" y="12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30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8" y="18"/>
                </a:lnTo>
                <a:lnTo>
                  <a:pt x="78" y="18"/>
                </a:lnTo>
                <a:lnTo>
                  <a:pt x="84" y="18"/>
                </a:lnTo>
                <a:lnTo>
                  <a:pt x="84" y="18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2"/>
                </a:lnTo>
                <a:lnTo>
                  <a:pt x="90" y="18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102" y="12"/>
                </a:lnTo>
                <a:lnTo>
                  <a:pt x="102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24"/>
                </a:lnTo>
                <a:lnTo>
                  <a:pt x="108" y="24"/>
                </a:lnTo>
                <a:lnTo>
                  <a:pt x="102" y="24"/>
                </a:lnTo>
                <a:lnTo>
                  <a:pt x="102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8"/>
                </a:lnTo>
                <a:lnTo>
                  <a:pt x="96" y="48"/>
                </a:lnTo>
                <a:lnTo>
                  <a:pt x="96" y="42"/>
                </a:lnTo>
                <a:lnTo>
                  <a:pt x="96" y="42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6" y="54"/>
                </a:lnTo>
                <a:lnTo>
                  <a:pt x="90" y="54"/>
                </a:lnTo>
                <a:lnTo>
                  <a:pt x="96" y="54"/>
                </a:lnTo>
                <a:lnTo>
                  <a:pt x="96" y="54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8" y="72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2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0" y="90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90" y="102"/>
                </a:lnTo>
                <a:lnTo>
                  <a:pt x="90" y="102"/>
                </a:lnTo>
                <a:lnTo>
                  <a:pt x="84" y="102"/>
                </a:lnTo>
                <a:lnTo>
                  <a:pt x="84" y="102"/>
                </a:lnTo>
                <a:lnTo>
                  <a:pt x="84" y="102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54" y="90"/>
                </a:lnTo>
                <a:lnTo>
                  <a:pt x="54" y="90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48" y="84"/>
                </a:lnTo>
                <a:lnTo>
                  <a:pt x="48" y="84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78"/>
                </a:lnTo>
                <a:lnTo>
                  <a:pt x="48" y="78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14"/>
                </a:lnTo>
                <a:lnTo>
                  <a:pt x="24" y="114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18" y="108"/>
                </a:lnTo>
                <a:lnTo>
                  <a:pt x="18" y="108"/>
                </a:lnTo>
                <a:lnTo>
                  <a:pt x="24" y="108"/>
                </a:lnTo>
                <a:lnTo>
                  <a:pt x="24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14"/>
                </a:lnTo>
                <a:lnTo>
                  <a:pt x="12" y="114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0" y="108"/>
                </a:lnTo>
                <a:lnTo>
                  <a:pt x="0" y="10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88" name="Freeform 321"/>
          <p:cNvSpPr>
            <a:spLocks/>
          </p:cNvSpPr>
          <p:nvPr/>
        </p:nvSpPr>
        <p:spPr bwMode="auto">
          <a:xfrm>
            <a:off x="7866854" y="3948705"/>
            <a:ext cx="115633" cy="115634"/>
          </a:xfrm>
          <a:custGeom>
            <a:avLst/>
            <a:gdLst>
              <a:gd name="T0" fmla="*/ 0 w 108"/>
              <a:gd name="T1" fmla="*/ 84 h 108"/>
              <a:gd name="T2" fmla="*/ 0 w 108"/>
              <a:gd name="T3" fmla="*/ 78 h 108"/>
              <a:gd name="T4" fmla="*/ 0 w 108"/>
              <a:gd name="T5" fmla="*/ 78 h 108"/>
              <a:gd name="T6" fmla="*/ 0 w 108"/>
              <a:gd name="T7" fmla="*/ 66 h 108"/>
              <a:gd name="T8" fmla="*/ 6 w 108"/>
              <a:gd name="T9" fmla="*/ 66 h 108"/>
              <a:gd name="T10" fmla="*/ 6 w 108"/>
              <a:gd name="T11" fmla="*/ 60 h 108"/>
              <a:gd name="T12" fmla="*/ 12 w 108"/>
              <a:gd name="T13" fmla="*/ 54 h 108"/>
              <a:gd name="T14" fmla="*/ 18 w 108"/>
              <a:gd name="T15" fmla="*/ 66 h 108"/>
              <a:gd name="T16" fmla="*/ 24 w 108"/>
              <a:gd name="T17" fmla="*/ 60 h 108"/>
              <a:gd name="T18" fmla="*/ 30 w 108"/>
              <a:gd name="T19" fmla="*/ 60 h 108"/>
              <a:gd name="T20" fmla="*/ 30 w 108"/>
              <a:gd name="T21" fmla="*/ 60 h 108"/>
              <a:gd name="T22" fmla="*/ 36 w 108"/>
              <a:gd name="T23" fmla="*/ 54 h 108"/>
              <a:gd name="T24" fmla="*/ 36 w 108"/>
              <a:gd name="T25" fmla="*/ 54 h 108"/>
              <a:gd name="T26" fmla="*/ 42 w 108"/>
              <a:gd name="T27" fmla="*/ 42 h 108"/>
              <a:gd name="T28" fmla="*/ 48 w 108"/>
              <a:gd name="T29" fmla="*/ 36 h 108"/>
              <a:gd name="T30" fmla="*/ 42 w 108"/>
              <a:gd name="T31" fmla="*/ 30 h 108"/>
              <a:gd name="T32" fmla="*/ 42 w 108"/>
              <a:gd name="T33" fmla="*/ 24 h 108"/>
              <a:gd name="T34" fmla="*/ 42 w 108"/>
              <a:gd name="T35" fmla="*/ 18 h 108"/>
              <a:gd name="T36" fmla="*/ 42 w 108"/>
              <a:gd name="T37" fmla="*/ 18 h 108"/>
              <a:gd name="T38" fmla="*/ 48 w 108"/>
              <a:gd name="T39" fmla="*/ 12 h 108"/>
              <a:gd name="T40" fmla="*/ 54 w 108"/>
              <a:gd name="T41" fmla="*/ 12 h 108"/>
              <a:gd name="T42" fmla="*/ 54 w 108"/>
              <a:gd name="T43" fmla="*/ 12 h 108"/>
              <a:gd name="T44" fmla="*/ 60 w 108"/>
              <a:gd name="T45" fmla="*/ 12 h 108"/>
              <a:gd name="T46" fmla="*/ 66 w 108"/>
              <a:gd name="T47" fmla="*/ 6 h 108"/>
              <a:gd name="T48" fmla="*/ 66 w 108"/>
              <a:gd name="T49" fmla="*/ 6 h 108"/>
              <a:gd name="T50" fmla="*/ 72 w 108"/>
              <a:gd name="T51" fmla="*/ 0 h 108"/>
              <a:gd name="T52" fmla="*/ 78 w 108"/>
              <a:gd name="T53" fmla="*/ 0 h 108"/>
              <a:gd name="T54" fmla="*/ 84 w 108"/>
              <a:gd name="T55" fmla="*/ 6 h 108"/>
              <a:gd name="T56" fmla="*/ 90 w 108"/>
              <a:gd name="T57" fmla="*/ 6 h 108"/>
              <a:gd name="T58" fmla="*/ 96 w 108"/>
              <a:gd name="T59" fmla="*/ 0 h 108"/>
              <a:gd name="T60" fmla="*/ 96 w 108"/>
              <a:gd name="T61" fmla="*/ 6 h 108"/>
              <a:gd name="T62" fmla="*/ 96 w 108"/>
              <a:gd name="T63" fmla="*/ 12 h 108"/>
              <a:gd name="T64" fmla="*/ 96 w 108"/>
              <a:gd name="T65" fmla="*/ 24 h 108"/>
              <a:gd name="T66" fmla="*/ 102 w 108"/>
              <a:gd name="T67" fmla="*/ 24 h 108"/>
              <a:gd name="T68" fmla="*/ 102 w 108"/>
              <a:gd name="T69" fmla="*/ 36 h 108"/>
              <a:gd name="T70" fmla="*/ 96 w 108"/>
              <a:gd name="T71" fmla="*/ 36 h 108"/>
              <a:gd name="T72" fmla="*/ 96 w 108"/>
              <a:gd name="T73" fmla="*/ 48 h 108"/>
              <a:gd name="T74" fmla="*/ 96 w 108"/>
              <a:gd name="T75" fmla="*/ 48 h 108"/>
              <a:gd name="T76" fmla="*/ 96 w 108"/>
              <a:gd name="T77" fmla="*/ 60 h 108"/>
              <a:gd name="T78" fmla="*/ 84 w 108"/>
              <a:gd name="T79" fmla="*/ 66 h 108"/>
              <a:gd name="T80" fmla="*/ 78 w 108"/>
              <a:gd name="T81" fmla="*/ 72 h 108"/>
              <a:gd name="T82" fmla="*/ 78 w 108"/>
              <a:gd name="T83" fmla="*/ 78 h 108"/>
              <a:gd name="T84" fmla="*/ 72 w 108"/>
              <a:gd name="T85" fmla="*/ 84 h 108"/>
              <a:gd name="T86" fmla="*/ 72 w 108"/>
              <a:gd name="T87" fmla="*/ 84 h 108"/>
              <a:gd name="T88" fmla="*/ 60 w 108"/>
              <a:gd name="T89" fmla="*/ 84 h 108"/>
              <a:gd name="T90" fmla="*/ 72 w 108"/>
              <a:gd name="T91" fmla="*/ 108 h 108"/>
              <a:gd name="T92" fmla="*/ 72 w 108"/>
              <a:gd name="T93" fmla="*/ 108 h 108"/>
              <a:gd name="T94" fmla="*/ 72 w 108"/>
              <a:gd name="T95" fmla="*/ 108 h 108"/>
              <a:gd name="T96" fmla="*/ 66 w 108"/>
              <a:gd name="T97" fmla="*/ 108 h 108"/>
              <a:gd name="T98" fmla="*/ 66 w 108"/>
              <a:gd name="T99" fmla="*/ 108 h 108"/>
              <a:gd name="T100" fmla="*/ 60 w 108"/>
              <a:gd name="T101" fmla="*/ 108 h 108"/>
              <a:gd name="T102" fmla="*/ 54 w 108"/>
              <a:gd name="T103" fmla="*/ 108 h 108"/>
              <a:gd name="T104" fmla="*/ 48 w 108"/>
              <a:gd name="T105" fmla="*/ 102 h 108"/>
              <a:gd name="T106" fmla="*/ 42 w 108"/>
              <a:gd name="T107" fmla="*/ 102 h 108"/>
              <a:gd name="T108" fmla="*/ 36 w 108"/>
              <a:gd name="T109" fmla="*/ 102 h 108"/>
              <a:gd name="T110" fmla="*/ 30 w 108"/>
              <a:gd name="T111" fmla="*/ 102 h 108"/>
              <a:gd name="T112" fmla="*/ 24 w 108"/>
              <a:gd name="T113" fmla="*/ 102 h 108"/>
              <a:gd name="T114" fmla="*/ 18 w 108"/>
              <a:gd name="T115" fmla="*/ 102 h 108"/>
              <a:gd name="T116" fmla="*/ 12 w 108"/>
              <a:gd name="T117" fmla="*/ 96 h 108"/>
              <a:gd name="T118" fmla="*/ 6 w 108"/>
              <a:gd name="T119" fmla="*/ 90 h 108"/>
              <a:gd name="T120" fmla="*/ 0 w 108"/>
              <a:gd name="T121" fmla="*/ 90 h 108"/>
              <a:gd name="T122" fmla="*/ 0 w 108"/>
              <a:gd name="T123" fmla="*/ 90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08" h="108">
                <a:moveTo>
                  <a:pt x="0" y="90"/>
                </a:moveTo>
                <a:lnTo>
                  <a:pt x="0" y="90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12" y="60"/>
                </a:lnTo>
                <a:lnTo>
                  <a:pt x="12" y="60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60"/>
                </a:lnTo>
                <a:lnTo>
                  <a:pt x="12" y="60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8" y="60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6"/>
                </a:lnTo>
                <a:lnTo>
                  <a:pt x="30" y="66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6" y="66"/>
                </a:lnTo>
                <a:lnTo>
                  <a:pt x="30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0" y="60"/>
                </a:lnTo>
                <a:lnTo>
                  <a:pt x="36" y="60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8" y="42"/>
                </a:lnTo>
                <a:lnTo>
                  <a:pt x="48" y="42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2" y="36"/>
                </a:lnTo>
                <a:lnTo>
                  <a:pt x="42" y="36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2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6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90" y="6"/>
                </a:lnTo>
                <a:lnTo>
                  <a:pt x="90" y="12"/>
                </a:lnTo>
                <a:lnTo>
                  <a:pt x="90" y="12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0"/>
                </a:lnTo>
                <a:lnTo>
                  <a:pt x="96" y="0"/>
                </a:lnTo>
                <a:lnTo>
                  <a:pt x="96" y="0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8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0" y="60"/>
                </a:lnTo>
                <a:lnTo>
                  <a:pt x="84" y="60"/>
                </a:lnTo>
                <a:lnTo>
                  <a:pt x="84" y="60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2" y="78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0" y="84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6"/>
                </a:lnTo>
                <a:lnTo>
                  <a:pt x="66" y="96"/>
                </a:lnTo>
                <a:lnTo>
                  <a:pt x="66" y="102"/>
                </a:lnTo>
                <a:lnTo>
                  <a:pt x="72" y="108"/>
                </a:lnTo>
                <a:lnTo>
                  <a:pt x="72" y="108"/>
                </a:lnTo>
                <a:lnTo>
                  <a:pt x="78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2"/>
                </a:lnTo>
                <a:lnTo>
                  <a:pt x="54" y="108"/>
                </a:lnTo>
                <a:lnTo>
                  <a:pt x="54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18" y="96"/>
                </a:lnTo>
                <a:lnTo>
                  <a:pt x="18" y="96"/>
                </a:lnTo>
                <a:lnTo>
                  <a:pt x="18" y="102"/>
                </a:lnTo>
                <a:lnTo>
                  <a:pt x="18" y="102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0"/>
                </a:lnTo>
                <a:lnTo>
                  <a:pt x="6" y="90"/>
                </a:lnTo>
                <a:lnTo>
                  <a:pt x="6" y="96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89" name="Freeform 322"/>
          <p:cNvSpPr>
            <a:spLocks/>
          </p:cNvSpPr>
          <p:nvPr/>
        </p:nvSpPr>
        <p:spPr bwMode="auto">
          <a:xfrm>
            <a:off x="8033879" y="3736710"/>
            <a:ext cx="115633" cy="160602"/>
          </a:xfrm>
          <a:custGeom>
            <a:avLst/>
            <a:gdLst>
              <a:gd name="T0" fmla="*/ 0 w 108"/>
              <a:gd name="T1" fmla="*/ 108 h 150"/>
              <a:gd name="T2" fmla="*/ 0 w 108"/>
              <a:gd name="T3" fmla="*/ 96 h 150"/>
              <a:gd name="T4" fmla="*/ 6 w 108"/>
              <a:gd name="T5" fmla="*/ 96 h 150"/>
              <a:gd name="T6" fmla="*/ 18 w 108"/>
              <a:gd name="T7" fmla="*/ 96 h 150"/>
              <a:gd name="T8" fmla="*/ 18 w 108"/>
              <a:gd name="T9" fmla="*/ 84 h 150"/>
              <a:gd name="T10" fmla="*/ 12 w 108"/>
              <a:gd name="T11" fmla="*/ 78 h 150"/>
              <a:gd name="T12" fmla="*/ 12 w 108"/>
              <a:gd name="T13" fmla="*/ 72 h 150"/>
              <a:gd name="T14" fmla="*/ 12 w 108"/>
              <a:gd name="T15" fmla="*/ 72 h 150"/>
              <a:gd name="T16" fmla="*/ 6 w 108"/>
              <a:gd name="T17" fmla="*/ 60 h 150"/>
              <a:gd name="T18" fmla="*/ 0 w 108"/>
              <a:gd name="T19" fmla="*/ 60 h 150"/>
              <a:gd name="T20" fmla="*/ 0 w 108"/>
              <a:gd name="T21" fmla="*/ 54 h 150"/>
              <a:gd name="T22" fmla="*/ 6 w 108"/>
              <a:gd name="T23" fmla="*/ 54 h 150"/>
              <a:gd name="T24" fmla="*/ 6 w 108"/>
              <a:gd name="T25" fmla="*/ 54 h 150"/>
              <a:gd name="T26" fmla="*/ 12 w 108"/>
              <a:gd name="T27" fmla="*/ 48 h 150"/>
              <a:gd name="T28" fmla="*/ 12 w 108"/>
              <a:gd name="T29" fmla="*/ 42 h 150"/>
              <a:gd name="T30" fmla="*/ 12 w 108"/>
              <a:gd name="T31" fmla="*/ 42 h 150"/>
              <a:gd name="T32" fmla="*/ 18 w 108"/>
              <a:gd name="T33" fmla="*/ 36 h 150"/>
              <a:gd name="T34" fmla="*/ 18 w 108"/>
              <a:gd name="T35" fmla="*/ 30 h 150"/>
              <a:gd name="T36" fmla="*/ 18 w 108"/>
              <a:gd name="T37" fmla="*/ 24 h 150"/>
              <a:gd name="T38" fmla="*/ 24 w 108"/>
              <a:gd name="T39" fmla="*/ 24 h 150"/>
              <a:gd name="T40" fmla="*/ 30 w 108"/>
              <a:gd name="T41" fmla="*/ 24 h 150"/>
              <a:gd name="T42" fmla="*/ 42 w 108"/>
              <a:gd name="T43" fmla="*/ 0 h 150"/>
              <a:gd name="T44" fmla="*/ 42 w 108"/>
              <a:gd name="T45" fmla="*/ 6 h 150"/>
              <a:gd name="T46" fmla="*/ 48 w 108"/>
              <a:gd name="T47" fmla="*/ 6 h 150"/>
              <a:gd name="T48" fmla="*/ 54 w 108"/>
              <a:gd name="T49" fmla="*/ 12 h 150"/>
              <a:gd name="T50" fmla="*/ 66 w 108"/>
              <a:gd name="T51" fmla="*/ 12 h 150"/>
              <a:gd name="T52" fmla="*/ 72 w 108"/>
              <a:gd name="T53" fmla="*/ 18 h 150"/>
              <a:gd name="T54" fmla="*/ 78 w 108"/>
              <a:gd name="T55" fmla="*/ 24 h 150"/>
              <a:gd name="T56" fmla="*/ 84 w 108"/>
              <a:gd name="T57" fmla="*/ 24 h 150"/>
              <a:gd name="T58" fmla="*/ 84 w 108"/>
              <a:gd name="T59" fmla="*/ 24 h 150"/>
              <a:gd name="T60" fmla="*/ 90 w 108"/>
              <a:gd name="T61" fmla="*/ 30 h 150"/>
              <a:gd name="T62" fmla="*/ 90 w 108"/>
              <a:gd name="T63" fmla="*/ 30 h 150"/>
              <a:gd name="T64" fmla="*/ 102 w 108"/>
              <a:gd name="T65" fmla="*/ 36 h 150"/>
              <a:gd name="T66" fmla="*/ 102 w 108"/>
              <a:gd name="T67" fmla="*/ 24 h 150"/>
              <a:gd name="T68" fmla="*/ 102 w 108"/>
              <a:gd name="T69" fmla="*/ 72 h 150"/>
              <a:gd name="T70" fmla="*/ 90 w 108"/>
              <a:gd name="T71" fmla="*/ 96 h 150"/>
              <a:gd name="T72" fmla="*/ 72 w 108"/>
              <a:gd name="T73" fmla="*/ 108 h 150"/>
              <a:gd name="T74" fmla="*/ 60 w 108"/>
              <a:gd name="T75" fmla="*/ 126 h 150"/>
              <a:gd name="T76" fmla="*/ 54 w 108"/>
              <a:gd name="T77" fmla="*/ 132 h 150"/>
              <a:gd name="T78" fmla="*/ 48 w 108"/>
              <a:gd name="T79" fmla="*/ 138 h 150"/>
              <a:gd name="T80" fmla="*/ 48 w 108"/>
              <a:gd name="T81" fmla="*/ 144 h 150"/>
              <a:gd name="T82" fmla="*/ 42 w 108"/>
              <a:gd name="T83" fmla="*/ 150 h 150"/>
              <a:gd name="T84" fmla="*/ 42 w 108"/>
              <a:gd name="T85" fmla="*/ 150 h 150"/>
              <a:gd name="T86" fmla="*/ 36 w 108"/>
              <a:gd name="T87" fmla="*/ 150 h 150"/>
              <a:gd name="T88" fmla="*/ 30 w 108"/>
              <a:gd name="T89" fmla="*/ 150 h 150"/>
              <a:gd name="T90" fmla="*/ 24 w 108"/>
              <a:gd name="T91" fmla="*/ 150 h 150"/>
              <a:gd name="T92" fmla="*/ 24 w 108"/>
              <a:gd name="T93" fmla="*/ 150 h 150"/>
              <a:gd name="T94" fmla="*/ 18 w 108"/>
              <a:gd name="T95" fmla="*/ 150 h 150"/>
              <a:gd name="T96" fmla="*/ 12 w 108"/>
              <a:gd name="T97" fmla="*/ 144 h 150"/>
              <a:gd name="T98" fmla="*/ 6 w 108"/>
              <a:gd name="T99" fmla="*/ 138 h 150"/>
              <a:gd name="T100" fmla="*/ 0 w 108"/>
              <a:gd name="T101" fmla="*/ 126 h 150"/>
              <a:gd name="T102" fmla="*/ 0 w 108"/>
              <a:gd name="T103" fmla="*/ 12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08" h="150">
                <a:moveTo>
                  <a:pt x="0" y="114"/>
                </a:moveTo>
                <a:lnTo>
                  <a:pt x="0" y="114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12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0"/>
                </a:lnTo>
                <a:lnTo>
                  <a:pt x="6" y="60"/>
                </a:lnTo>
                <a:lnTo>
                  <a:pt x="0" y="60"/>
                </a:lnTo>
                <a:lnTo>
                  <a:pt x="6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48"/>
                </a:lnTo>
                <a:lnTo>
                  <a:pt x="6" y="48"/>
                </a:lnTo>
                <a:lnTo>
                  <a:pt x="6" y="54"/>
                </a:lnTo>
                <a:lnTo>
                  <a:pt x="12" y="54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2" y="36"/>
                </a:lnTo>
                <a:lnTo>
                  <a:pt x="12" y="30"/>
                </a:lnTo>
                <a:lnTo>
                  <a:pt x="18" y="30"/>
                </a:lnTo>
                <a:lnTo>
                  <a:pt x="18" y="30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30" y="24"/>
                </a:lnTo>
                <a:lnTo>
                  <a:pt x="30" y="24"/>
                </a:lnTo>
                <a:lnTo>
                  <a:pt x="30" y="18"/>
                </a:lnTo>
                <a:lnTo>
                  <a:pt x="36" y="6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60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8" y="18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18"/>
                </a:lnTo>
                <a:lnTo>
                  <a:pt x="84" y="24"/>
                </a:lnTo>
                <a:lnTo>
                  <a:pt x="84" y="18"/>
                </a:lnTo>
                <a:lnTo>
                  <a:pt x="84" y="18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30"/>
                </a:lnTo>
                <a:lnTo>
                  <a:pt x="84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24"/>
                </a:lnTo>
                <a:lnTo>
                  <a:pt x="102" y="24"/>
                </a:lnTo>
                <a:lnTo>
                  <a:pt x="108" y="36"/>
                </a:lnTo>
                <a:lnTo>
                  <a:pt x="108" y="48"/>
                </a:lnTo>
                <a:lnTo>
                  <a:pt x="108" y="54"/>
                </a:lnTo>
                <a:lnTo>
                  <a:pt x="108" y="60"/>
                </a:lnTo>
                <a:lnTo>
                  <a:pt x="102" y="72"/>
                </a:lnTo>
                <a:lnTo>
                  <a:pt x="96" y="84"/>
                </a:lnTo>
                <a:lnTo>
                  <a:pt x="90" y="96"/>
                </a:lnTo>
                <a:lnTo>
                  <a:pt x="90" y="96"/>
                </a:lnTo>
                <a:lnTo>
                  <a:pt x="90" y="102"/>
                </a:lnTo>
                <a:lnTo>
                  <a:pt x="90" y="96"/>
                </a:lnTo>
                <a:lnTo>
                  <a:pt x="90" y="102"/>
                </a:lnTo>
                <a:lnTo>
                  <a:pt x="84" y="102"/>
                </a:lnTo>
                <a:lnTo>
                  <a:pt x="78" y="102"/>
                </a:lnTo>
                <a:lnTo>
                  <a:pt x="78" y="102"/>
                </a:lnTo>
                <a:lnTo>
                  <a:pt x="72" y="108"/>
                </a:lnTo>
                <a:lnTo>
                  <a:pt x="66" y="114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6"/>
                </a:lnTo>
                <a:lnTo>
                  <a:pt x="60" y="126"/>
                </a:lnTo>
                <a:lnTo>
                  <a:pt x="54" y="126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50"/>
                </a:lnTo>
                <a:lnTo>
                  <a:pt x="42" y="150"/>
                </a:lnTo>
                <a:lnTo>
                  <a:pt x="42" y="150"/>
                </a:lnTo>
                <a:lnTo>
                  <a:pt x="42" y="150"/>
                </a:lnTo>
                <a:lnTo>
                  <a:pt x="42" y="150"/>
                </a:lnTo>
                <a:lnTo>
                  <a:pt x="42" y="150"/>
                </a:lnTo>
                <a:lnTo>
                  <a:pt x="42" y="150"/>
                </a:lnTo>
                <a:lnTo>
                  <a:pt x="42" y="150"/>
                </a:lnTo>
                <a:lnTo>
                  <a:pt x="36" y="150"/>
                </a:lnTo>
                <a:lnTo>
                  <a:pt x="36" y="150"/>
                </a:lnTo>
                <a:lnTo>
                  <a:pt x="36" y="150"/>
                </a:lnTo>
                <a:lnTo>
                  <a:pt x="36" y="150"/>
                </a:lnTo>
                <a:lnTo>
                  <a:pt x="30" y="150"/>
                </a:lnTo>
                <a:lnTo>
                  <a:pt x="30" y="150"/>
                </a:lnTo>
                <a:lnTo>
                  <a:pt x="30" y="150"/>
                </a:lnTo>
                <a:lnTo>
                  <a:pt x="30" y="150"/>
                </a:lnTo>
                <a:lnTo>
                  <a:pt x="30" y="150"/>
                </a:lnTo>
                <a:lnTo>
                  <a:pt x="30" y="150"/>
                </a:lnTo>
                <a:lnTo>
                  <a:pt x="30" y="150"/>
                </a:lnTo>
                <a:lnTo>
                  <a:pt x="30" y="144"/>
                </a:lnTo>
                <a:lnTo>
                  <a:pt x="30" y="150"/>
                </a:lnTo>
                <a:lnTo>
                  <a:pt x="24" y="150"/>
                </a:lnTo>
                <a:lnTo>
                  <a:pt x="24" y="150"/>
                </a:lnTo>
                <a:lnTo>
                  <a:pt x="24" y="150"/>
                </a:lnTo>
                <a:lnTo>
                  <a:pt x="24" y="150"/>
                </a:lnTo>
                <a:lnTo>
                  <a:pt x="24" y="150"/>
                </a:lnTo>
                <a:lnTo>
                  <a:pt x="24" y="150"/>
                </a:lnTo>
                <a:lnTo>
                  <a:pt x="18" y="150"/>
                </a:lnTo>
                <a:lnTo>
                  <a:pt x="18" y="150"/>
                </a:lnTo>
                <a:lnTo>
                  <a:pt x="18" y="150"/>
                </a:lnTo>
                <a:lnTo>
                  <a:pt x="18" y="150"/>
                </a:lnTo>
                <a:lnTo>
                  <a:pt x="18" y="150"/>
                </a:lnTo>
                <a:lnTo>
                  <a:pt x="18" y="144"/>
                </a:lnTo>
                <a:lnTo>
                  <a:pt x="12" y="144"/>
                </a:lnTo>
                <a:lnTo>
                  <a:pt x="12" y="144"/>
                </a:lnTo>
                <a:lnTo>
                  <a:pt x="12" y="144"/>
                </a:lnTo>
                <a:lnTo>
                  <a:pt x="12" y="144"/>
                </a:lnTo>
                <a:lnTo>
                  <a:pt x="12" y="144"/>
                </a:lnTo>
                <a:lnTo>
                  <a:pt x="6" y="138"/>
                </a:lnTo>
                <a:lnTo>
                  <a:pt x="12" y="138"/>
                </a:lnTo>
                <a:lnTo>
                  <a:pt x="6" y="138"/>
                </a:lnTo>
                <a:lnTo>
                  <a:pt x="6" y="138"/>
                </a:lnTo>
                <a:lnTo>
                  <a:pt x="6" y="138"/>
                </a:lnTo>
                <a:lnTo>
                  <a:pt x="6" y="138"/>
                </a:lnTo>
                <a:lnTo>
                  <a:pt x="6" y="132"/>
                </a:lnTo>
                <a:lnTo>
                  <a:pt x="6" y="132"/>
                </a:lnTo>
                <a:lnTo>
                  <a:pt x="0" y="126"/>
                </a:lnTo>
                <a:lnTo>
                  <a:pt x="0" y="126"/>
                </a:lnTo>
                <a:lnTo>
                  <a:pt x="0" y="126"/>
                </a:lnTo>
                <a:lnTo>
                  <a:pt x="0" y="126"/>
                </a:lnTo>
                <a:lnTo>
                  <a:pt x="0" y="120"/>
                </a:lnTo>
                <a:lnTo>
                  <a:pt x="0" y="120"/>
                </a:lnTo>
                <a:lnTo>
                  <a:pt x="0" y="114"/>
                </a:lnTo>
                <a:lnTo>
                  <a:pt x="0" y="114"/>
                </a:lnTo>
                <a:lnTo>
                  <a:pt x="0" y="11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90" name="Freeform 323"/>
          <p:cNvSpPr>
            <a:spLocks/>
          </p:cNvSpPr>
          <p:nvPr/>
        </p:nvSpPr>
        <p:spPr bwMode="auto">
          <a:xfrm>
            <a:off x="8046727" y="3608228"/>
            <a:ext cx="102785" cy="167026"/>
          </a:xfrm>
          <a:custGeom>
            <a:avLst/>
            <a:gdLst>
              <a:gd name="T0" fmla="*/ 6 w 96"/>
              <a:gd name="T1" fmla="*/ 114 h 156"/>
              <a:gd name="T2" fmla="*/ 12 w 96"/>
              <a:gd name="T3" fmla="*/ 102 h 156"/>
              <a:gd name="T4" fmla="*/ 12 w 96"/>
              <a:gd name="T5" fmla="*/ 96 h 156"/>
              <a:gd name="T6" fmla="*/ 18 w 96"/>
              <a:gd name="T7" fmla="*/ 78 h 156"/>
              <a:gd name="T8" fmla="*/ 24 w 96"/>
              <a:gd name="T9" fmla="*/ 78 h 156"/>
              <a:gd name="T10" fmla="*/ 24 w 96"/>
              <a:gd name="T11" fmla="*/ 78 h 156"/>
              <a:gd name="T12" fmla="*/ 24 w 96"/>
              <a:gd name="T13" fmla="*/ 78 h 156"/>
              <a:gd name="T14" fmla="*/ 30 w 96"/>
              <a:gd name="T15" fmla="*/ 78 h 156"/>
              <a:gd name="T16" fmla="*/ 36 w 96"/>
              <a:gd name="T17" fmla="*/ 72 h 156"/>
              <a:gd name="T18" fmla="*/ 36 w 96"/>
              <a:gd name="T19" fmla="*/ 66 h 156"/>
              <a:gd name="T20" fmla="*/ 42 w 96"/>
              <a:gd name="T21" fmla="*/ 66 h 156"/>
              <a:gd name="T22" fmla="*/ 54 w 96"/>
              <a:gd name="T23" fmla="*/ 60 h 156"/>
              <a:gd name="T24" fmla="*/ 54 w 96"/>
              <a:gd name="T25" fmla="*/ 60 h 156"/>
              <a:gd name="T26" fmla="*/ 60 w 96"/>
              <a:gd name="T27" fmla="*/ 60 h 156"/>
              <a:gd name="T28" fmla="*/ 60 w 96"/>
              <a:gd name="T29" fmla="*/ 54 h 156"/>
              <a:gd name="T30" fmla="*/ 60 w 96"/>
              <a:gd name="T31" fmla="*/ 48 h 156"/>
              <a:gd name="T32" fmla="*/ 60 w 96"/>
              <a:gd name="T33" fmla="*/ 42 h 156"/>
              <a:gd name="T34" fmla="*/ 60 w 96"/>
              <a:gd name="T35" fmla="*/ 42 h 156"/>
              <a:gd name="T36" fmla="*/ 54 w 96"/>
              <a:gd name="T37" fmla="*/ 42 h 156"/>
              <a:gd name="T38" fmla="*/ 48 w 96"/>
              <a:gd name="T39" fmla="*/ 42 h 156"/>
              <a:gd name="T40" fmla="*/ 48 w 96"/>
              <a:gd name="T41" fmla="*/ 42 h 156"/>
              <a:gd name="T42" fmla="*/ 42 w 96"/>
              <a:gd name="T43" fmla="*/ 42 h 156"/>
              <a:gd name="T44" fmla="*/ 42 w 96"/>
              <a:gd name="T45" fmla="*/ 30 h 156"/>
              <a:gd name="T46" fmla="*/ 42 w 96"/>
              <a:gd name="T47" fmla="*/ 24 h 156"/>
              <a:gd name="T48" fmla="*/ 42 w 96"/>
              <a:gd name="T49" fmla="*/ 18 h 156"/>
              <a:gd name="T50" fmla="*/ 36 w 96"/>
              <a:gd name="T51" fmla="*/ 12 h 156"/>
              <a:gd name="T52" fmla="*/ 36 w 96"/>
              <a:gd name="T53" fmla="*/ 12 h 156"/>
              <a:gd name="T54" fmla="*/ 30 w 96"/>
              <a:gd name="T55" fmla="*/ 6 h 156"/>
              <a:gd name="T56" fmla="*/ 48 w 96"/>
              <a:gd name="T57" fmla="*/ 12 h 156"/>
              <a:gd name="T58" fmla="*/ 66 w 96"/>
              <a:gd name="T59" fmla="*/ 24 h 156"/>
              <a:gd name="T60" fmla="*/ 96 w 96"/>
              <a:gd name="T61" fmla="*/ 48 h 156"/>
              <a:gd name="T62" fmla="*/ 96 w 96"/>
              <a:gd name="T63" fmla="*/ 48 h 156"/>
              <a:gd name="T64" fmla="*/ 90 w 96"/>
              <a:gd name="T65" fmla="*/ 66 h 156"/>
              <a:gd name="T66" fmla="*/ 90 w 96"/>
              <a:gd name="T67" fmla="*/ 78 h 156"/>
              <a:gd name="T68" fmla="*/ 90 w 96"/>
              <a:gd name="T69" fmla="*/ 84 h 156"/>
              <a:gd name="T70" fmla="*/ 90 w 96"/>
              <a:gd name="T71" fmla="*/ 108 h 156"/>
              <a:gd name="T72" fmla="*/ 90 w 96"/>
              <a:gd name="T73" fmla="*/ 144 h 156"/>
              <a:gd name="T74" fmla="*/ 90 w 96"/>
              <a:gd name="T75" fmla="*/ 150 h 156"/>
              <a:gd name="T76" fmla="*/ 90 w 96"/>
              <a:gd name="T77" fmla="*/ 156 h 156"/>
              <a:gd name="T78" fmla="*/ 84 w 96"/>
              <a:gd name="T79" fmla="*/ 156 h 156"/>
              <a:gd name="T80" fmla="*/ 78 w 96"/>
              <a:gd name="T81" fmla="*/ 150 h 156"/>
              <a:gd name="T82" fmla="*/ 78 w 96"/>
              <a:gd name="T83" fmla="*/ 150 h 156"/>
              <a:gd name="T84" fmla="*/ 72 w 96"/>
              <a:gd name="T85" fmla="*/ 144 h 156"/>
              <a:gd name="T86" fmla="*/ 72 w 96"/>
              <a:gd name="T87" fmla="*/ 144 h 156"/>
              <a:gd name="T88" fmla="*/ 72 w 96"/>
              <a:gd name="T89" fmla="*/ 144 h 156"/>
              <a:gd name="T90" fmla="*/ 72 w 96"/>
              <a:gd name="T91" fmla="*/ 138 h 156"/>
              <a:gd name="T92" fmla="*/ 66 w 96"/>
              <a:gd name="T93" fmla="*/ 144 h 156"/>
              <a:gd name="T94" fmla="*/ 66 w 96"/>
              <a:gd name="T95" fmla="*/ 138 h 156"/>
              <a:gd name="T96" fmla="*/ 60 w 96"/>
              <a:gd name="T97" fmla="*/ 138 h 156"/>
              <a:gd name="T98" fmla="*/ 54 w 96"/>
              <a:gd name="T99" fmla="*/ 132 h 156"/>
              <a:gd name="T100" fmla="*/ 54 w 96"/>
              <a:gd name="T101" fmla="*/ 132 h 156"/>
              <a:gd name="T102" fmla="*/ 42 w 96"/>
              <a:gd name="T103" fmla="*/ 132 h 156"/>
              <a:gd name="T104" fmla="*/ 36 w 96"/>
              <a:gd name="T105" fmla="*/ 132 h 156"/>
              <a:gd name="T106" fmla="*/ 36 w 96"/>
              <a:gd name="T107" fmla="*/ 126 h 156"/>
              <a:gd name="T108" fmla="*/ 30 w 96"/>
              <a:gd name="T109" fmla="*/ 126 h 156"/>
              <a:gd name="T110" fmla="*/ 30 w 96"/>
              <a:gd name="T111" fmla="*/ 126 h 156"/>
              <a:gd name="T112" fmla="*/ 30 w 96"/>
              <a:gd name="T113" fmla="*/ 120 h 156"/>
              <a:gd name="T114" fmla="*/ 30 w 96"/>
              <a:gd name="T115" fmla="*/ 120 h 156"/>
              <a:gd name="T116" fmla="*/ 24 w 96"/>
              <a:gd name="T117" fmla="*/ 114 h 156"/>
              <a:gd name="T118" fmla="*/ 18 w 96"/>
              <a:gd name="T119" fmla="*/ 114 h 156"/>
              <a:gd name="T120" fmla="*/ 18 w 96"/>
              <a:gd name="T121" fmla="*/ 114 h 156"/>
              <a:gd name="T122" fmla="*/ 12 w 96"/>
              <a:gd name="T123" fmla="*/ 114 h 156"/>
              <a:gd name="T124" fmla="*/ 12 w 96"/>
              <a:gd name="T125" fmla="*/ 114 h 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6" h="156">
                <a:moveTo>
                  <a:pt x="6" y="114"/>
                </a:moveTo>
                <a:lnTo>
                  <a:pt x="0" y="114"/>
                </a:lnTo>
                <a:lnTo>
                  <a:pt x="6" y="114"/>
                </a:lnTo>
                <a:lnTo>
                  <a:pt x="6" y="108"/>
                </a:lnTo>
                <a:lnTo>
                  <a:pt x="6" y="108"/>
                </a:lnTo>
                <a:lnTo>
                  <a:pt x="12" y="102"/>
                </a:lnTo>
                <a:lnTo>
                  <a:pt x="12" y="102"/>
                </a:lnTo>
                <a:lnTo>
                  <a:pt x="12" y="96"/>
                </a:lnTo>
                <a:lnTo>
                  <a:pt x="12" y="96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24" y="78"/>
                </a:lnTo>
                <a:lnTo>
                  <a:pt x="18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8" y="66"/>
                </a:lnTo>
                <a:lnTo>
                  <a:pt x="48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6" y="60"/>
                </a:lnTo>
                <a:lnTo>
                  <a:pt x="66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36" y="42"/>
                </a:lnTo>
                <a:lnTo>
                  <a:pt x="42" y="30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36" y="18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24" y="0"/>
                </a:lnTo>
                <a:lnTo>
                  <a:pt x="48" y="12"/>
                </a:lnTo>
                <a:lnTo>
                  <a:pt x="60" y="24"/>
                </a:lnTo>
                <a:lnTo>
                  <a:pt x="66" y="24"/>
                </a:lnTo>
                <a:lnTo>
                  <a:pt x="66" y="24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60"/>
                </a:lnTo>
                <a:lnTo>
                  <a:pt x="96" y="60"/>
                </a:lnTo>
                <a:lnTo>
                  <a:pt x="90" y="66"/>
                </a:lnTo>
                <a:lnTo>
                  <a:pt x="90" y="66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84"/>
                </a:lnTo>
                <a:lnTo>
                  <a:pt x="90" y="90"/>
                </a:lnTo>
                <a:lnTo>
                  <a:pt x="90" y="96"/>
                </a:lnTo>
                <a:lnTo>
                  <a:pt x="90" y="108"/>
                </a:lnTo>
                <a:lnTo>
                  <a:pt x="90" y="114"/>
                </a:lnTo>
                <a:lnTo>
                  <a:pt x="90" y="126"/>
                </a:lnTo>
                <a:lnTo>
                  <a:pt x="90" y="144"/>
                </a:lnTo>
                <a:lnTo>
                  <a:pt x="90" y="144"/>
                </a:lnTo>
                <a:lnTo>
                  <a:pt x="90" y="150"/>
                </a:lnTo>
                <a:lnTo>
                  <a:pt x="90" y="150"/>
                </a:lnTo>
                <a:lnTo>
                  <a:pt x="90" y="150"/>
                </a:lnTo>
                <a:lnTo>
                  <a:pt x="90" y="156"/>
                </a:lnTo>
                <a:lnTo>
                  <a:pt x="90" y="156"/>
                </a:lnTo>
                <a:lnTo>
                  <a:pt x="84" y="156"/>
                </a:lnTo>
                <a:lnTo>
                  <a:pt x="84" y="156"/>
                </a:lnTo>
                <a:lnTo>
                  <a:pt x="84" y="156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2" y="150"/>
                </a:lnTo>
                <a:lnTo>
                  <a:pt x="72" y="150"/>
                </a:lnTo>
                <a:lnTo>
                  <a:pt x="72" y="144"/>
                </a:lnTo>
                <a:lnTo>
                  <a:pt x="72" y="144"/>
                </a:lnTo>
                <a:lnTo>
                  <a:pt x="72" y="144"/>
                </a:lnTo>
                <a:lnTo>
                  <a:pt x="72" y="144"/>
                </a:lnTo>
                <a:lnTo>
                  <a:pt x="72" y="144"/>
                </a:lnTo>
                <a:lnTo>
                  <a:pt x="72" y="144"/>
                </a:lnTo>
                <a:lnTo>
                  <a:pt x="72" y="144"/>
                </a:lnTo>
                <a:lnTo>
                  <a:pt x="72" y="144"/>
                </a:lnTo>
                <a:lnTo>
                  <a:pt x="72" y="138"/>
                </a:lnTo>
                <a:lnTo>
                  <a:pt x="72" y="138"/>
                </a:lnTo>
                <a:lnTo>
                  <a:pt x="72" y="144"/>
                </a:lnTo>
                <a:lnTo>
                  <a:pt x="66" y="138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38"/>
                </a:lnTo>
                <a:lnTo>
                  <a:pt x="60" y="138"/>
                </a:lnTo>
                <a:lnTo>
                  <a:pt x="60" y="138"/>
                </a:lnTo>
                <a:lnTo>
                  <a:pt x="60" y="138"/>
                </a:lnTo>
                <a:lnTo>
                  <a:pt x="60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48" y="132"/>
                </a:lnTo>
                <a:lnTo>
                  <a:pt x="42" y="132"/>
                </a:lnTo>
                <a:lnTo>
                  <a:pt x="42" y="132"/>
                </a:lnTo>
                <a:lnTo>
                  <a:pt x="36" y="132"/>
                </a:lnTo>
                <a:lnTo>
                  <a:pt x="36" y="132"/>
                </a:lnTo>
                <a:lnTo>
                  <a:pt x="36" y="126"/>
                </a:lnTo>
                <a:lnTo>
                  <a:pt x="36" y="126"/>
                </a:lnTo>
                <a:lnTo>
                  <a:pt x="36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24" y="120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6" y="114"/>
                </a:lnTo>
                <a:lnTo>
                  <a:pt x="6" y="11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91" name="Freeform 324"/>
          <p:cNvSpPr>
            <a:spLocks/>
          </p:cNvSpPr>
          <p:nvPr/>
        </p:nvSpPr>
        <p:spPr bwMode="auto">
          <a:xfrm>
            <a:off x="7963215" y="3826648"/>
            <a:ext cx="89937" cy="102786"/>
          </a:xfrm>
          <a:custGeom>
            <a:avLst/>
            <a:gdLst>
              <a:gd name="T0" fmla="*/ 6 w 84"/>
              <a:gd name="T1" fmla="*/ 72 h 96"/>
              <a:gd name="T2" fmla="*/ 6 w 84"/>
              <a:gd name="T3" fmla="*/ 72 h 96"/>
              <a:gd name="T4" fmla="*/ 12 w 84"/>
              <a:gd name="T5" fmla="*/ 72 h 96"/>
              <a:gd name="T6" fmla="*/ 12 w 84"/>
              <a:gd name="T7" fmla="*/ 72 h 96"/>
              <a:gd name="T8" fmla="*/ 6 w 84"/>
              <a:gd name="T9" fmla="*/ 66 h 96"/>
              <a:gd name="T10" fmla="*/ 6 w 84"/>
              <a:gd name="T11" fmla="*/ 66 h 96"/>
              <a:gd name="T12" fmla="*/ 6 w 84"/>
              <a:gd name="T13" fmla="*/ 54 h 96"/>
              <a:gd name="T14" fmla="*/ 12 w 84"/>
              <a:gd name="T15" fmla="*/ 48 h 96"/>
              <a:gd name="T16" fmla="*/ 12 w 84"/>
              <a:gd name="T17" fmla="*/ 42 h 96"/>
              <a:gd name="T18" fmla="*/ 12 w 84"/>
              <a:gd name="T19" fmla="*/ 36 h 96"/>
              <a:gd name="T20" fmla="*/ 6 w 84"/>
              <a:gd name="T21" fmla="*/ 30 h 96"/>
              <a:gd name="T22" fmla="*/ 6 w 84"/>
              <a:gd name="T23" fmla="*/ 24 h 96"/>
              <a:gd name="T24" fmla="*/ 12 w 84"/>
              <a:gd name="T25" fmla="*/ 24 h 96"/>
              <a:gd name="T26" fmla="*/ 12 w 84"/>
              <a:gd name="T27" fmla="*/ 18 h 96"/>
              <a:gd name="T28" fmla="*/ 12 w 84"/>
              <a:gd name="T29" fmla="*/ 12 h 96"/>
              <a:gd name="T30" fmla="*/ 12 w 84"/>
              <a:gd name="T31" fmla="*/ 6 h 96"/>
              <a:gd name="T32" fmla="*/ 18 w 84"/>
              <a:gd name="T33" fmla="*/ 6 h 96"/>
              <a:gd name="T34" fmla="*/ 24 w 84"/>
              <a:gd name="T35" fmla="*/ 6 h 96"/>
              <a:gd name="T36" fmla="*/ 24 w 84"/>
              <a:gd name="T37" fmla="*/ 6 h 96"/>
              <a:gd name="T38" fmla="*/ 24 w 84"/>
              <a:gd name="T39" fmla="*/ 6 h 96"/>
              <a:gd name="T40" fmla="*/ 30 w 84"/>
              <a:gd name="T41" fmla="*/ 6 h 96"/>
              <a:gd name="T42" fmla="*/ 30 w 84"/>
              <a:gd name="T43" fmla="*/ 12 h 96"/>
              <a:gd name="T44" fmla="*/ 36 w 84"/>
              <a:gd name="T45" fmla="*/ 12 h 96"/>
              <a:gd name="T46" fmla="*/ 42 w 84"/>
              <a:gd name="T47" fmla="*/ 12 h 96"/>
              <a:gd name="T48" fmla="*/ 48 w 84"/>
              <a:gd name="T49" fmla="*/ 12 h 96"/>
              <a:gd name="T50" fmla="*/ 54 w 84"/>
              <a:gd name="T51" fmla="*/ 18 h 96"/>
              <a:gd name="T52" fmla="*/ 60 w 84"/>
              <a:gd name="T53" fmla="*/ 24 h 96"/>
              <a:gd name="T54" fmla="*/ 66 w 84"/>
              <a:gd name="T55" fmla="*/ 24 h 96"/>
              <a:gd name="T56" fmla="*/ 66 w 84"/>
              <a:gd name="T57" fmla="*/ 30 h 96"/>
              <a:gd name="T58" fmla="*/ 66 w 84"/>
              <a:gd name="T59" fmla="*/ 42 h 96"/>
              <a:gd name="T60" fmla="*/ 72 w 84"/>
              <a:gd name="T61" fmla="*/ 54 h 96"/>
              <a:gd name="T62" fmla="*/ 78 w 84"/>
              <a:gd name="T63" fmla="*/ 60 h 96"/>
              <a:gd name="T64" fmla="*/ 78 w 84"/>
              <a:gd name="T65" fmla="*/ 78 h 96"/>
              <a:gd name="T66" fmla="*/ 84 w 84"/>
              <a:gd name="T67" fmla="*/ 84 h 96"/>
              <a:gd name="T68" fmla="*/ 84 w 84"/>
              <a:gd name="T69" fmla="*/ 90 h 96"/>
              <a:gd name="T70" fmla="*/ 78 w 84"/>
              <a:gd name="T71" fmla="*/ 90 h 96"/>
              <a:gd name="T72" fmla="*/ 72 w 84"/>
              <a:gd name="T73" fmla="*/ 90 h 96"/>
              <a:gd name="T74" fmla="*/ 60 w 84"/>
              <a:gd name="T75" fmla="*/ 96 h 96"/>
              <a:gd name="T76" fmla="*/ 54 w 84"/>
              <a:gd name="T77" fmla="*/ 90 h 96"/>
              <a:gd name="T78" fmla="*/ 54 w 84"/>
              <a:gd name="T79" fmla="*/ 90 h 96"/>
              <a:gd name="T80" fmla="*/ 48 w 84"/>
              <a:gd name="T81" fmla="*/ 90 h 96"/>
              <a:gd name="T82" fmla="*/ 48 w 84"/>
              <a:gd name="T83" fmla="*/ 90 h 96"/>
              <a:gd name="T84" fmla="*/ 42 w 84"/>
              <a:gd name="T85" fmla="*/ 84 h 96"/>
              <a:gd name="T86" fmla="*/ 36 w 84"/>
              <a:gd name="T87" fmla="*/ 84 h 96"/>
              <a:gd name="T88" fmla="*/ 30 w 84"/>
              <a:gd name="T89" fmla="*/ 84 h 96"/>
              <a:gd name="T90" fmla="*/ 30 w 84"/>
              <a:gd name="T91" fmla="*/ 84 h 96"/>
              <a:gd name="T92" fmla="*/ 24 w 84"/>
              <a:gd name="T93" fmla="*/ 84 h 96"/>
              <a:gd name="T94" fmla="*/ 18 w 84"/>
              <a:gd name="T95" fmla="*/ 84 h 96"/>
              <a:gd name="T96" fmla="*/ 12 w 84"/>
              <a:gd name="T97" fmla="*/ 84 h 96"/>
              <a:gd name="T98" fmla="*/ 6 w 84"/>
              <a:gd name="T99" fmla="*/ 90 h 96"/>
              <a:gd name="T100" fmla="*/ 0 w 84"/>
              <a:gd name="T101" fmla="*/ 90 h 96"/>
              <a:gd name="T102" fmla="*/ 0 w 84"/>
              <a:gd name="T103" fmla="*/ 84 h 96"/>
              <a:gd name="T104" fmla="*/ 0 w 84"/>
              <a:gd name="T105" fmla="*/ 78 h 96"/>
              <a:gd name="T106" fmla="*/ 0 w 84"/>
              <a:gd name="T107" fmla="*/ 78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4" h="96">
                <a:moveTo>
                  <a:pt x="0" y="72"/>
                </a:move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6" y="72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12" y="54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6" y="42"/>
                </a:lnTo>
                <a:lnTo>
                  <a:pt x="12" y="42"/>
                </a:lnTo>
                <a:lnTo>
                  <a:pt x="6" y="36"/>
                </a:lnTo>
                <a:lnTo>
                  <a:pt x="6" y="36"/>
                </a:lnTo>
                <a:lnTo>
                  <a:pt x="12" y="36"/>
                </a:lnTo>
                <a:lnTo>
                  <a:pt x="12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24" y="0"/>
                </a:lnTo>
                <a:lnTo>
                  <a:pt x="24" y="0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12"/>
                </a:lnTo>
                <a:lnTo>
                  <a:pt x="30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6"/>
                </a:lnTo>
                <a:lnTo>
                  <a:pt x="66" y="36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72" y="48"/>
                </a:lnTo>
                <a:lnTo>
                  <a:pt x="72" y="48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8" y="54"/>
                </a:lnTo>
                <a:lnTo>
                  <a:pt x="72" y="54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72"/>
                </a:lnTo>
                <a:lnTo>
                  <a:pt x="78" y="78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66" y="90"/>
                </a:lnTo>
                <a:lnTo>
                  <a:pt x="66" y="90"/>
                </a:lnTo>
                <a:lnTo>
                  <a:pt x="66" y="96"/>
                </a:lnTo>
                <a:lnTo>
                  <a:pt x="60" y="96"/>
                </a:lnTo>
                <a:lnTo>
                  <a:pt x="60" y="96"/>
                </a:lnTo>
                <a:lnTo>
                  <a:pt x="54" y="96"/>
                </a:lnTo>
                <a:lnTo>
                  <a:pt x="54" y="96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6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78"/>
                </a:lnTo>
                <a:lnTo>
                  <a:pt x="36" y="78"/>
                </a:lnTo>
                <a:lnTo>
                  <a:pt x="36" y="84"/>
                </a:lnTo>
                <a:lnTo>
                  <a:pt x="30" y="84"/>
                </a:lnTo>
                <a:lnTo>
                  <a:pt x="30" y="78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0" y="90"/>
                </a:lnTo>
                <a:lnTo>
                  <a:pt x="6" y="90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92" name="Freeform 325"/>
          <p:cNvSpPr>
            <a:spLocks/>
          </p:cNvSpPr>
          <p:nvPr/>
        </p:nvSpPr>
        <p:spPr bwMode="auto">
          <a:xfrm>
            <a:off x="7931095" y="4012946"/>
            <a:ext cx="70665" cy="57817"/>
          </a:xfrm>
          <a:custGeom>
            <a:avLst/>
            <a:gdLst>
              <a:gd name="T0" fmla="*/ 6 w 66"/>
              <a:gd name="T1" fmla="*/ 24 h 54"/>
              <a:gd name="T2" fmla="*/ 12 w 66"/>
              <a:gd name="T3" fmla="*/ 24 h 54"/>
              <a:gd name="T4" fmla="*/ 12 w 66"/>
              <a:gd name="T5" fmla="*/ 24 h 54"/>
              <a:gd name="T6" fmla="*/ 12 w 66"/>
              <a:gd name="T7" fmla="*/ 24 h 54"/>
              <a:gd name="T8" fmla="*/ 12 w 66"/>
              <a:gd name="T9" fmla="*/ 24 h 54"/>
              <a:gd name="T10" fmla="*/ 12 w 66"/>
              <a:gd name="T11" fmla="*/ 18 h 54"/>
              <a:gd name="T12" fmla="*/ 18 w 66"/>
              <a:gd name="T13" fmla="*/ 18 h 54"/>
              <a:gd name="T14" fmla="*/ 18 w 66"/>
              <a:gd name="T15" fmla="*/ 18 h 54"/>
              <a:gd name="T16" fmla="*/ 18 w 66"/>
              <a:gd name="T17" fmla="*/ 18 h 54"/>
              <a:gd name="T18" fmla="*/ 18 w 66"/>
              <a:gd name="T19" fmla="*/ 12 h 54"/>
              <a:gd name="T20" fmla="*/ 18 w 66"/>
              <a:gd name="T21" fmla="*/ 12 h 54"/>
              <a:gd name="T22" fmla="*/ 18 w 66"/>
              <a:gd name="T23" fmla="*/ 12 h 54"/>
              <a:gd name="T24" fmla="*/ 18 w 66"/>
              <a:gd name="T25" fmla="*/ 12 h 54"/>
              <a:gd name="T26" fmla="*/ 24 w 66"/>
              <a:gd name="T27" fmla="*/ 12 h 54"/>
              <a:gd name="T28" fmla="*/ 24 w 66"/>
              <a:gd name="T29" fmla="*/ 6 h 54"/>
              <a:gd name="T30" fmla="*/ 24 w 66"/>
              <a:gd name="T31" fmla="*/ 6 h 54"/>
              <a:gd name="T32" fmla="*/ 24 w 66"/>
              <a:gd name="T33" fmla="*/ 6 h 54"/>
              <a:gd name="T34" fmla="*/ 24 w 66"/>
              <a:gd name="T35" fmla="*/ 0 h 54"/>
              <a:gd name="T36" fmla="*/ 36 w 66"/>
              <a:gd name="T37" fmla="*/ 0 h 54"/>
              <a:gd name="T38" fmla="*/ 36 w 66"/>
              <a:gd name="T39" fmla="*/ 0 h 54"/>
              <a:gd name="T40" fmla="*/ 42 w 66"/>
              <a:gd name="T41" fmla="*/ 0 h 54"/>
              <a:gd name="T42" fmla="*/ 48 w 66"/>
              <a:gd name="T43" fmla="*/ 0 h 54"/>
              <a:gd name="T44" fmla="*/ 54 w 66"/>
              <a:gd name="T45" fmla="*/ 0 h 54"/>
              <a:gd name="T46" fmla="*/ 66 w 66"/>
              <a:gd name="T47" fmla="*/ 0 h 54"/>
              <a:gd name="T48" fmla="*/ 66 w 66"/>
              <a:gd name="T49" fmla="*/ 0 h 54"/>
              <a:gd name="T50" fmla="*/ 60 w 66"/>
              <a:gd name="T51" fmla="*/ 0 h 54"/>
              <a:gd name="T52" fmla="*/ 60 w 66"/>
              <a:gd name="T53" fmla="*/ 6 h 54"/>
              <a:gd name="T54" fmla="*/ 60 w 66"/>
              <a:gd name="T55" fmla="*/ 6 h 54"/>
              <a:gd name="T56" fmla="*/ 60 w 66"/>
              <a:gd name="T57" fmla="*/ 18 h 54"/>
              <a:gd name="T58" fmla="*/ 60 w 66"/>
              <a:gd name="T59" fmla="*/ 18 h 54"/>
              <a:gd name="T60" fmla="*/ 60 w 66"/>
              <a:gd name="T61" fmla="*/ 18 h 54"/>
              <a:gd name="T62" fmla="*/ 54 w 66"/>
              <a:gd name="T63" fmla="*/ 24 h 54"/>
              <a:gd name="T64" fmla="*/ 48 w 66"/>
              <a:gd name="T65" fmla="*/ 36 h 54"/>
              <a:gd name="T66" fmla="*/ 48 w 66"/>
              <a:gd name="T67" fmla="*/ 36 h 54"/>
              <a:gd name="T68" fmla="*/ 42 w 66"/>
              <a:gd name="T69" fmla="*/ 48 h 54"/>
              <a:gd name="T70" fmla="*/ 36 w 66"/>
              <a:gd name="T71" fmla="*/ 54 h 54"/>
              <a:gd name="T72" fmla="*/ 36 w 66"/>
              <a:gd name="T73" fmla="*/ 54 h 54"/>
              <a:gd name="T74" fmla="*/ 36 w 66"/>
              <a:gd name="T75" fmla="*/ 54 h 54"/>
              <a:gd name="T76" fmla="*/ 36 w 66"/>
              <a:gd name="T77" fmla="*/ 54 h 54"/>
              <a:gd name="T78" fmla="*/ 36 w 66"/>
              <a:gd name="T79" fmla="*/ 54 h 54"/>
              <a:gd name="T80" fmla="*/ 36 w 66"/>
              <a:gd name="T81" fmla="*/ 54 h 54"/>
              <a:gd name="T82" fmla="*/ 36 w 66"/>
              <a:gd name="T83" fmla="*/ 48 h 54"/>
              <a:gd name="T84" fmla="*/ 30 w 66"/>
              <a:gd name="T85" fmla="*/ 48 h 54"/>
              <a:gd name="T86" fmla="*/ 30 w 66"/>
              <a:gd name="T87" fmla="*/ 48 h 54"/>
              <a:gd name="T88" fmla="*/ 24 w 66"/>
              <a:gd name="T89" fmla="*/ 48 h 54"/>
              <a:gd name="T90" fmla="*/ 24 w 66"/>
              <a:gd name="T91" fmla="*/ 48 h 54"/>
              <a:gd name="T92" fmla="*/ 24 w 66"/>
              <a:gd name="T93" fmla="*/ 42 h 54"/>
              <a:gd name="T94" fmla="*/ 18 w 66"/>
              <a:gd name="T95" fmla="*/ 42 h 54"/>
              <a:gd name="T96" fmla="*/ 18 w 66"/>
              <a:gd name="T97" fmla="*/ 48 h 54"/>
              <a:gd name="T98" fmla="*/ 12 w 66"/>
              <a:gd name="T99" fmla="*/ 48 h 54"/>
              <a:gd name="T100" fmla="*/ 6 w 66"/>
              <a:gd name="T101" fmla="*/ 42 h 54"/>
              <a:gd name="T102" fmla="*/ 6 w 66"/>
              <a:gd name="T103" fmla="*/ 36 h 54"/>
              <a:gd name="T104" fmla="*/ 6 w 66"/>
              <a:gd name="T105" fmla="*/ 30 h 54"/>
              <a:gd name="T106" fmla="*/ 0 w 66"/>
              <a:gd name="T107" fmla="*/ 24 h 54"/>
              <a:gd name="T108" fmla="*/ 6 w 66"/>
              <a:gd name="T109" fmla="*/ 24 h 54"/>
              <a:gd name="T110" fmla="*/ 6 w 66"/>
              <a:gd name="T111" fmla="*/ 24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6" h="54">
                <a:moveTo>
                  <a:pt x="6" y="24"/>
                </a:moveTo>
                <a:lnTo>
                  <a:pt x="6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24" y="12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0"/>
                </a:lnTo>
                <a:lnTo>
                  <a:pt x="24" y="0"/>
                </a:lnTo>
                <a:lnTo>
                  <a:pt x="30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42" y="0"/>
                </a:lnTo>
                <a:lnTo>
                  <a:pt x="42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54" y="0"/>
                </a:lnTo>
                <a:lnTo>
                  <a:pt x="54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0" y="0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12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24"/>
                </a:lnTo>
                <a:lnTo>
                  <a:pt x="54" y="24"/>
                </a:lnTo>
                <a:lnTo>
                  <a:pt x="54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2" y="42"/>
                </a:lnTo>
                <a:lnTo>
                  <a:pt x="42" y="48"/>
                </a:lnTo>
                <a:lnTo>
                  <a:pt x="36" y="48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2"/>
                </a:lnTo>
                <a:lnTo>
                  <a:pt x="18" y="48"/>
                </a:lnTo>
                <a:lnTo>
                  <a:pt x="18" y="42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2" y="48"/>
                </a:lnTo>
                <a:lnTo>
                  <a:pt x="12" y="48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0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93" name="Freeform 326"/>
          <p:cNvSpPr>
            <a:spLocks/>
          </p:cNvSpPr>
          <p:nvPr/>
        </p:nvSpPr>
        <p:spPr bwMode="auto">
          <a:xfrm>
            <a:off x="8014607" y="3595380"/>
            <a:ext cx="102785" cy="83513"/>
          </a:xfrm>
          <a:custGeom>
            <a:avLst/>
            <a:gdLst>
              <a:gd name="T0" fmla="*/ 0 w 96"/>
              <a:gd name="T1" fmla="*/ 12 h 78"/>
              <a:gd name="T2" fmla="*/ 6 w 96"/>
              <a:gd name="T3" fmla="*/ 12 h 78"/>
              <a:gd name="T4" fmla="*/ 6 w 96"/>
              <a:gd name="T5" fmla="*/ 12 h 78"/>
              <a:gd name="T6" fmla="*/ 6 w 96"/>
              <a:gd name="T7" fmla="*/ 6 h 78"/>
              <a:gd name="T8" fmla="*/ 12 w 96"/>
              <a:gd name="T9" fmla="*/ 6 h 78"/>
              <a:gd name="T10" fmla="*/ 18 w 96"/>
              <a:gd name="T11" fmla="*/ 0 h 78"/>
              <a:gd name="T12" fmla="*/ 18 w 96"/>
              <a:gd name="T13" fmla="*/ 6 h 78"/>
              <a:gd name="T14" fmla="*/ 24 w 96"/>
              <a:gd name="T15" fmla="*/ 6 h 78"/>
              <a:gd name="T16" fmla="*/ 30 w 96"/>
              <a:gd name="T17" fmla="*/ 6 h 78"/>
              <a:gd name="T18" fmla="*/ 36 w 96"/>
              <a:gd name="T19" fmla="*/ 6 h 78"/>
              <a:gd name="T20" fmla="*/ 42 w 96"/>
              <a:gd name="T21" fmla="*/ 6 h 78"/>
              <a:gd name="T22" fmla="*/ 42 w 96"/>
              <a:gd name="T23" fmla="*/ 6 h 78"/>
              <a:gd name="T24" fmla="*/ 48 w 96"/>
              <a:gd name="T25" fmla="*/ 12 h 78"/>
              <a:gd name="T26" fmla="*/ 54 w 96"/>
              <a:gd name="T27" fmla="*/ 12 h 78"/>
              <a:gd name="T28" fmla="*/ 60 w 96"/>
              <a:gd name="T29" fmla="*/ 18 h 78"/>
              <a:gd name="T30" fmla="*/ 66 w 96"/>
              <a:gd name="T31" fmla="*/ 24 h 78"/>
              <a:gd name="T32" fmla="*/ 66 w 96"/>
              <a:gd name="T33" fmla="*/ 24 h 78"/>
              <a:gd name="T34" fmla="*/ 72 w 96"/>
              <a:gd name="T35" fmla="*/ 30 h 78"/>
              <a:gd name="T36" fmla="*/ 72 w 96"/>
              <a:gd name="T37" fmla="*/ 36 h 78"/>
              <a:gd name="T38" fmla="*/ 72 w 96"/>
              <a:gd name="T39" fmla="*/ 42 h 78"/>
              <a:gd name="T40" fmla="*/ 72 w 96"/>
              <a:gd name="T41" fmla="*/ 54 h 78"/>
              <a:gd name="T42" fmla="*/ 78 w 96"/>
              <a:gd name="T43" fmla="*/ 54 h 78"/>
              <a:gd name="T44" fmla="*/ 78 w 96"/>
              <a:gd name="T45" fmla="*/ 54 h 78"/>
              <a:gd name="T46" fmla="*/ 84 w 96"/>
              <a:gd name="T47" fmla="*/ 54 h 78"/>
              <a:gd name="T48" fmla="*/ 90 w 96"/>
              <a:gd name="T49" fmla="*/ 54 h 78"/>
              <a:gd name="T50" fmla="*/ 90 w 96"/>
              <a:gd name="T51" fmla="*/ 54 h 78"/>
              <a:gd name="T52" fmla="*/ 90 w 96"/>
              <a:gd name="T53" fmla="*/ 60 h 78"/>
              <a:gd name="T54" fmla="*/ 90 w 96"/>
              <a:gd name="T55" fmla="*/ 66 h 78"/>
              <a:gd name="T56" fmla="*/ 90 w 96"/>
              <a:gd name="T57" fmla="*/ 72 h 78"/>
              <a:gd name="T58" fmla="*/ 84 w 96"/>
              <a:gd name="T59" fmla="*/ 72 h 78"/>
              <a:gd name="T60" fmla="*/ 84 w 96"/>
              <a:gd name="T61" fmla="*/ 72 h 78"/>
              <a:gd name="T62" fmla="*/ 72 w 96"/>
              <a:gd name="T63" fmla="*/ 78 h 78"/>
              <a:gd name="T64" fmla="*/ 66 w 96"/>
              <a:gd name="T65" fmla="*/ 78 h 78"/>
              <a:gd name="T66" fmla="*/ 60 w 96"/>
              <a:gd name="T67" fmla="*/ 78 h 78"/>
              <a:gd name="T68" fmla="*/ 54 w 96"/>
              <a:gd name="T69" fmla="*/ 78 h 78"/>
              <a:gd name="T70" fmla="*/ 48 w 96"/>
              <a:gd name="T71" fmla="*/ 78 h 78"/>
              <a:gd name="T72" fmla="*/ 48 w 96"/>
              <a:gd name="T73" fmla="*/ 78 h 78"/>
              <a:gd name="T74" fmla="*/ 42 w 96"/>
              <a:gd name="T75" fmla="*/ 72 h 78"/>
              <a:gd name="T76" fmla="*/ 36 w 96"/>
              <a:gd name="T77" fmla="*/ 66 h 78"/>
              <a:gd name="T78" fmla="*/ 36 w 96"/>
              <a:gd name="T79" fmla="*/ 66 h 78"/>
              <a:gd name="T80" fmla="*/ 24 w 96"/>
              <a:gd name="T81" fmla="*/ 66 h 78"/>
              <a:gd name="T82" fmla="*/ 24 w 96"/>
              <a:gd name="T83" fmla="*/ 66 h 78"/>
              <a:gd name="T84" fmla="*/ 24 w 96"/>
              <a:gd name="T85" fmla="*/ 66 h 78"/>
              <a:gd name="T86" fmla="*/ 24 w 96"/>
              <a:gd name="T87" fmla="*/ 72 h 78"/>
              <a:gd name="T88" fmla="*/ 18 w 96"/>
              <a:gd name="T89" fmla="*/ 66 h 78"/>
              <a:gd name="T90" fmla="*/ 12 w 96"/>
              <a:gd name="T91" fmla="*/ 60 h 78"/>
              <a:gd name="T92" fmla="*/ 12 w 96"/>
              <a:gd name="T93" fmla="*/ 60 h 78"/>
              <a:gd name="T94" fmla="*/ 12 w 96"/>
              <a:gd name="T95" fmla="*/ 60 h 78"/>
              <a:gd name="T96" fmla="*/ 12 w 96"/>
              <a:gd name="T97" fmla="*/ 60 h 78"/>
              <a:gd name="T98" fmla="*/ 12 w 96"/>
              <a:gd name="T99" fmla="*/ 60 h 78"/>
              <a:gd name="T100" fmla="*/ 6 w 96"/>
              <a:gd name="T101" fmla="*/ 60 h 78"/>
              <a:gd name="T102" fmla="*/ 12 w 96"/>
              <a:gd name="T103" fmla="*/ 48 h 78"/>
              <a:gd name="T104" fmla="*/ 12 w 96"/>
              <a:gd name="T105" fmla="*/ 42 h 78"/>
              <a:gd name="T106" fmla="*/ 12 w 96"/>
              <a:gd name="T107" fmla="*/ 36 h 78"/>
              <a:gd name="T108" fmla="*/ 12 w 96"/>
              <a:gd name="T109" fmla="*/ 36 h 78"/>
              <a:gd name="T110" fmla="*/ 12 w 96"/>
              <a:gd name="T111" fmla="*/ 30 h 78"/>
              <a:gd name="T112" fmla="*/ 6 w 96"/>
              <a:gd name="T113" fmla="*/ 30 h 78"/>
              <a:gd name="T114" fmla="*/ 6 w 96"/>
              <a:gd name="T115" fmla="*/ 30 h 78"/>
              <a:gd name="T116" fmla="*/ 6 w 96"/>
              <a:gd name="T117" fmla="*/ 24 h 78"/>
              <a:gd name="T118" fmla="*/ 0 w 96"/>
              <a:gd name="T119" fmla="*/ 18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6" h="78">
                <a:moveTo>
                  <a:pt x="0" y="18"/>
                </a:moveTo>
                <a:lnTo>
                  <a:pt x="0" y="18"/>
                </a:lnTo>
                <a:lnTo>
                  <a:pt x="0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42"/>
                </a:lnTo>
                <a:lnTo>
                  <a:pt x="66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6" y="66"/>
                </a:lnTo>
                <a:lnTo>
                  <a:pt x="96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78" y="72"/>
                </a:lnTo>
                <a:lnTo>
                  <a:pt x="78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66" y="78"/>
                </a:lnTo>
                <a:lnTo>
                  <a:pt x="66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2"/>
                </a:lnTo>
                <a:lnTo>
                  <a:pt x="42" y="72"/>
                </a:lnTo>
                <a:lnTo>
                  <a:pt x="42" y="72"/>
                </a:lnTo>
                <a:lnTo>
                  <a:pt x="42" y="66"/>
                </a:lnTo>
                <a:lnTo>
                  <a:pt x="42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0" y="60"/>
                </a:lnTo>
                <a:lnTo>
                  <a:pt x="30" y="60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0"/>
                </a:lnTo>
                <a:lnTo>
                  <a:pt x="18" y="60"/>
                </a:lnTo>
                <a:lnTo>
                  <a:pt x="24" y="66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2" y="60"/>
                </a:lnTo>
                <a:lnTo>
                  <a:pt x="18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6"/>
                </a:lnTo>
                <a:lnTo>
                  <a:pt x="12" y="66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94" name="Freeform 327"/>
          <p:cNvSpPr>
            <a:spLocks/>
          </p:cNvSpPr>
          <p:nvPr/>
        </p:nvSpPr>
        <p:spPr bwMode="auto">
          <a:xfrm>
            <a:off x="7776917" y="4070763"/>
            <a:ext cx="89937" cy="77089"/>
          </a:xfrm>
          <a:custGeom>
            <a:avLst/>
            <a:gdLst>
              <a:gd name="T0" fmla="*/ 6 w 84"/>
              <a:gd name="T1" fmla="*/ 36 h 72"/>
              <a:gd name="T2" fmla="*/ 6 w 84"/>
              <a:gd name="T3" fmla="*/ 36 h 72"/>
              <a:gd name="T4" fmla="*/ 12 w 84"/>
              <a:gd name="T5" fmla="*/ 30 h 72"/>
              <a:gd name="T6" fmla="*/ 12 w 84"/>
              <a:gd name="T7" fmla="*/ 24 h 72"/>
              <a:gd name="T8" fmla="*/ 12 w 84"/>
              <a:gd name="T9" fmla="*/ 24 h 72"/>
              <a:gd name="T10" fmla="*/ 12 w 84"/>
              <a:gd name="T11" fmla="*/ 18 h 72"/>
              <a:gd name="T12" fmla="*/ 12 w 84"/>
              <a:gd name="T13" fmla="*/ 12 h 72"/>
              <a:gd name="T14" fmla="*/ 18 w 84"/>
              <a:gd name="T15" fmla="*/ 12 h 72"/>
              <a:gd name="T16" fmla="*/ 18 w 84"/>
              <a:gd name="T17" fmla="*/ 12 h 72"/>
              <a:gd name="T18" fmla="*/ 18 w 84"/>
              <a:gd name="T19" fmla="*/ 6 h 72"/>
              <a:gd name="T20" fmla="*/ 24 w 84"/>
              <a:gd name="T21" fmla="*/ 6 h 72"/>
              <a:gd name="T22" fmla="*/ 30 w 84"/>
              <a:gd name="T23" fmla="*/ 0 h 72"/>
              <a:gd name="T24" fmla="*/ 30 w 84"/>
              <a:gd name="T25" fmla="*/ 0 h 72"/>
              <a:gd name="T26" fmla="*/ 30 w 84"/>
              <a:gd name="T27" fmla="*/ 6 h 72"/>
              <a:gd name="T28" fmla="*/ 36 w 84"/>
              <a:gd name="T29" fmla="*/ 6 h 72"/>
              <a:gd name="T30" fmla="*/ 42 w 84"/>
              <a:gd name="T31" fmla="*/ 6 h 72"/>
              <a:gd name="T32" fmla="*/ 48 w 84"/>
              <a:gd name="T33" fmla="*/ 6 h 72"/>
              <a:gd name="T34" fmla="*/ 54 w 84"/>
              <a:gd name="T35" fmla="*/ 6 h 72"/>
              <a:gd name="T36" fmla="*/ 60 w 84"/>
              <a:gd name="T37" fmla="*/ 0 h 72"/>
              <a:gd name="T38" fmla="*/ 60 w 84"/>
              <a:gd name="T39" fmla="*/ 0 h 72"/>
              <a:gd name="T40" fmla="*/ 66 w 84"/>
              <a:gd name="T41" fmla="*/ 0 h 72"/>
              <a:gd name="T42" fmla="*/ 78 w 84"/>
              <a:gd name="T43" fmla="*/ 12 h 72"/>
              <a:gd name="T44" fmla="*/ 78 w 84"/>
              <a:gd name="T45" fmla="*/ 24 h 72"/>
              <a:gd name="T46" fmla="*/ 72 w 84"/>
              <a:gd name="T47" fmla="*/ 30 h 72"/>
              <a:gd name="T48" fmla="*/ 66 w 84"/>
              <a:gd name="T49" fmla="*/ 36 h 72"/>
              <a:gd name="T50" fmla="*/ 60 w 84"/>
              <a:gd name="T51" fmla="*/ 36 h 72"/>
              <a:gd name="T52" fmla="*/ 54 w 84"/>
              <a:gd name="T53" fmla="*/ 42 h 72"/>
              <a:gd name="T54" fmla="*/ 54 w 84"/>
              <a:gd name="T55" fmla="*/ 60 h 72"/>
              <a:gd name="T56" fmla="*/ 48 w 84"/>
              <a:gd name="T57" fmla="*/ 60 h 72"/>
              <a:gd name="T58" fmla="*/ 48 w 84"/>
              <a:gd name="T59" fmla="*/ 60 h 72"/>
              <a:gd name="T60" fmla="*/ 48 w 84"/>
              <a:gd name="T61" fmla="*/ 60 h 72"/>
              <a:gd name="T62" fmla="*/ 42 w 84"/>
              <a:gd name="T63" fmla="*/ 66 h 72"/>
              <a:gd name="T64" fmla="*/ 36 w 84"/>
              <a:gd name="T65" fmla="*/ 66 h 72"/>
              <a:gd name="T66" fmla="*/ 36 w 84"/>
              <a:gd name="T67" fmla="*/ 66 h 72"/>
              <a:gd name="T68" fmla="*/ 30 w 84"/>
              <a:gd name="T69" fmla="*/ 72 h 72"/>
              <a:gd name="T70" fmla="*/ 30 w 84"/>
              <a:gd name="T71" fmla="*/ 72 h 72"/>
              <a:gd name="T72" fmla="*/ 30 w 84"/>
              <a:gd name="T73" fmla="*/ 72 h 72"/>
              <a:gd name="T74" fmla="*/ 30 w 84"/>
              <a:gd name="T75" fmla="*/ 72 h 72"/>
              <a:gd name="T76" fmla="*/ 24 w 84"/>
              <a:gd name="T77" fmla="*/ 72 h 72"/>
              <a:gd name="T78" fmla="*/ 18 w 84"/>
              <a:gd name="T79" fmla="*/ 54 h 72"/>
              <a:gd name="T80" fmla="*/ 12 w 84"/>
              <a:gd name="T81" fmla="*/ 54 h 72"/>
              <a:gd name="T82" fmla="*/ 12 w 84"/>
              <a:gd name="T83" fmla="*/ 54 h 72"/>
              <a:gd name="T84" fmla="*/ 12 w 84"/>
              <a:gd name="T85" fmla="*/ 54 h 72"/>
              <a:gd name="T86" fmla="*/ 6 w 84"/>
              <a:gd name="T87" fmla="*/ 48 h 72"/>
              <a:gd name="T88" fmla="*/ 6 w 84"/>
              <a:gd name="T89" fmla="*/ 48 h 72"/>
              <a:gd name="T90" fmla="*/ 0 w 84"/>
              <a:gd name="T91" fmla="*/ 48 h 72"/>
              <a:gd name="T92" fmla="*/ 0 w 84"/>
              <a:gd name="T93" fmla="*/ 48 h 72"/>
              <a:gd name="T94" fmla="*/ 0 w 84"/>
              <a:gd name="T95" fmla="*/ 42 h 72"/>
              <a:gd name="T96" fmla="*/ 0 w 84"/>
              <a:gd name="T9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84" h="72">
                <a:moveTo>
                  <a:pt x="0" y="42"/>
                </a:moveTo>
                <a:lnTo>
                  <a:pt x="0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6" y="24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2"/>
                </a:lnTo>
                <a:lnTo>
                  <a:pt x="12" y="18"/>
                </a:lnTo>
                <a:lnTo>
                  <a:pt x="12" y="18"/>
                </a:lnTo>
                <a:lnTo>
                  <a:pt x="18" y="12"/>
                </a:lnTo>
                <a:lnTo>
                  <a:pt x="18" y="12"/>
                </a:lnTo>
                <a:lnTo>
                  <a:pt x="12" y="12"/>
                </a:lnTo>
                <a:lnTo>
                  <a:pt x="12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0"/>
                </a:lnTo>
                <a:lnTo>
                  <a:pt x="30" y="0"/>
                </a:lnTo>
                <a:lnTo>
                  <a:pt x="30" y="6"/>
                </a:lnTo>
                <a:lnTo>
                  <a:pt x="30" y="0"/>
                </a:lnTo>
                <a:lnTo>
                  <a:pt x="30" y="0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54" y="0"/>
                </a:lnTo>
                <a:lnTo>
                  <a:pt x="54" y="6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72" y="6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8"/>
                </a:lnTo>
                <a:lnTo>
                  <a:pt x="84" y="24"/>
                </a:lnTo>
                <a:lnTo>
                  <a:pt x="78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30"/>
                </a:lnTo>
                <a:lnTo>
                  <a:pt x="72" y="30"/>
                </a:lnTo>
                <a:lnTo>
                  <a:pt x="66" y="30"/>
                </a:lnTo>
                <a:lnTo>
                  <a:pt x="66" y="30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8"/>
                </a:lnTo>
                <a:lnTo>
                  <a:pt x="54" y="54"/>
                </a:lnTo>
                <a:lnTo>
                  <a:pt x="54" y="60"/>
                </a:lnTo>
                <a:lnTo>
                  <a:pt x="54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2" y="60"/>
                </a:lnTo>
                <a:lnTo>
                  <a:pt x="42" y="60"/>
                </a:lnTo>
                <a:lnTo>
                  <a:pt x="48" y="60"/>
                </a:lnTo>
                <a:lnTo>
                  <a:pt x="48" y="60"/>
                </a:lnTo>
                <a:lnTo>
                  <a:pt x="42" y="60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36" y="66"/>
                </a:lnTo>
                <a:lnTo>
                  <a:pt x="42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24" y="72"/>
                </a:lnTo>
                <a:lnTo>
                  <a:pt x="24" y="72"/>
                </a:lnTo>
                <a:lnTo>
                  <a:pt x="24" y="66"/>
                </a:lnTo>
                <a:lnTo>
                  <a:pt x="18" y="66"/>
                </a:lnTo>
                <a:lnTo>
                  <a:pt x="18" y="54"/>
                </a:lnTo>
                <a:lnTo>
                  <a:pt x="18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48"/>
                </a:lnTo>
                <a:lnTo>
                  <a:pt x="12" y="54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95" name="Freeform 328"/>
          <p:cNvSpPr>
            <a:spLocks/>
          </p:cNvSpPr>
          <p:nvPr/>
        </p:nvSpPr>
        <p:spPr bwMode="auto">
          <a:xfrm>
            <a:off x="7731949" y="4244214"/>
            <a:ext cx="115633" cy="64241"/>
          </a:xfrm>
          <a:custGeom>
            <a:avLst/>
            <a:gdLst>
              <a:gd name="T0" fmla="*/ 6 w 108"/>
              <a:gd name="T1" fmla="*/ 42 h 60"/>
              <a:gd name="T2" fmla="*/ 12 w 108"/>
              <a:gd name="T3" fmla="*/ 36 h 60"/>
              <a:gd name="T4" fmla="*/ 18 w 108"/>
              <a:gd name="T5" fmla="*/ 36 h 60"/>
              <a:gd name="T6" fmla="*/ 24 w 108"/>
              <a:gd name="T7" fmla="*/ 36 h 60"/>
              <a:gd name="T8" fmla="*/ 30 w 108"/>
              <a:gd name="T9" fmla="*/ 24 h 60"/>
              <a:gd name="T10" fmla="*/ 36 w 108"/>
              <a:gd name="T11" fmla="*/ 24 h 60"/>
              <a:gd name="T12" fmla="*/ 42 w 108"/>
              <a:gd name="T13" fmla="*/ 24 h 60"/>
              <a:gd name="T14" fmla="*/ 48 w 108"/>
              <a:gd name="T15" fmla="*/ 24 h 60"/>
              <a:gd name="T16" fmla="*/ 54 w 108"/>
              <a:gd name="T17" fmla="*/ 12 h 60"/>
              <a:gd name="T18" fmla="*/ 60 w 108"/>
              <a:gd name="T19" fmla="*/ 12 h 60"/>
              <a:gd name="T20" fmla="*/ 60 w 108"/>
              <a:gd name="T21" fmla="*/ 6 h 60"/>
              <a:gd name="T22" fmla="*/ 60 w 108"/>
              <a:gd name="T23" fmla="*/ 6 h 60"/>
              <a:gd name="T24" fmla="*/ 60 w 108"/>
              <a:gd name="T25" fmla="*/ 6 h 60"/>
              <a:gd name="T26" fmla="*/ 66 w 108"/>
              <a:gd name="T27" fmla="*/ 6 h 60"/>
              <a:gd name="T28" fmla="*/ 66 w 108"/>
              <a:gd name="T29" fmla="*/ 0 h 60"/>
              <a:gd name="T30" fmla="*/ 66 w 108"/>
              <a:gd name="T31" fmla="*/ 0 h 60"/>
              <a:gd name="T32" fmla="*/ 72 w 108"/>
              <a:gd name="T33" fmla="*/ 0 h 60"/>
              <a:gd name="T34" fmla="*/ 72 w 108"/>
              <a:gd name="T35" fmla="*/ 6 h 60"/>
              <a:gd name="T36" fmla="*/ 78 w 108"/>
              <a:gd name="T37" fmla="*/ 6 h 60"/>
              <a:gd name="T38" fmla="*/ 78 w 108"/>
              <a:gd name="T39" fmla="*/ 6 h 60"/>
              <a:gd name="T40" fmla="*/ 78 w 108"/>
              <a:gd name="T41" fmla="*/ 6 h 60"/>
              <a:gd name="T42" fmla="*/ 84 w 108"/>
              <a:gd name="T43" fmla="*/ 6 h 60"/>
              <a:gd name="T44" fmla="*/ 84 w 108"/>
              <a:gd name="T45" fmla="*/ 6 h 60"/>
              <a:gd name="T46" fmla="*/ 90 w 108"/>
              <a:gd name="T47" fmla="*/ 6 h 60"/>
              <a:gd name="T48" fmla="*/ 90 w 108"/>
              <a:gd name="T49" fmla="*/ 12 h 60"/>
              <a:gd name="T50" fmla="*/ 90 w 108"/>
              <a:gd name="T51" fmla="*/ 24 h 60"/>
              <a:gd name="T52" fmla="*/ 96 w 108"/>
              <a:gd name="T53" fmla="*/ 30 h 60"/>
              <a:gd name="T54" fmla="*/ 102 w 108"/>
              <a:gd name="T55" fmla="*/ 30 h 60"/>
              <a:gd name="T56" fmla="*/ 102 w 108"/>
              <a:gd name="T57" fmla="*/ 30 h 60"/>
              <a:gd name="T58" fmla="*/ 108 w 108"/>
              <a:gd name="T59" fmla="*/ 24 h 60"/>
              <a:gd name="T60" fmla="*/ 108 w 108"/>
              <a:gd name="T61" fmla="*/ 30 h 60"/>
              <a:gd name="T62" fmla="*/ 102 w 108"/>
              <a:gd name="T63" fmla="*/ 30 h 60"/>
              <a:gd name="T64" fmla="*/ 102 w 108"/>
              <a:gd name="T65" fmla="*/ 30 h 60"/>
              <a:gd name="T66" fmla="*/ 102 w 108"/>
              <a:gd name="T67" fmla="*/ 30 h 60"/>
              <a:gd name="T68" fmla="*/ 96 w 108"/>
              <a:gd name="T69" fmla="*/ 36 h 60"/>
              <a:gd name="T70" fmla="*/ 96 w 108"/>
              <a:gd name="T71" fmla="*/ 36 h 60"/>
              <a:gd name="T72" fmla="*/ 90 w 108"/>
              <a:gd name="T73" fmla="*/ 42 h 60"/>
              <a:gd name="T74" fmla="*/ 90 w 108"/>
              <a:gd name="T75" fmla="*/ 42 h 60"/>
              <a:gd name="T76" fmla="*/ 90 w 108"/>
              <a:gd name="T77" fmla="*/ 48 h 60"/>
              <a:gd name="T78" fmla="*/ 84 w 108"/>
              <a:gd name="T79" fmla="*/ 48 h 60"/>
              <a:gd name="T80" fmla="*/ 84 w 108"/>
              <a:gd name="T81" fmla="*/ 54 h 60"/>
              <a:gd name="T82" fmla="*/ 90 w 108"/>
              <a:gd name="T83" fmla="*/ 54 h 60"/>
              <a:gd name="T84" fmla="*/ 90 w 108"/>
              <a:gd name="T85" fmla="*/ 54 h 60"/>
              <a:gd name="T86" fmla="*/ 84 w 108"/>
              <a:gd name="T87" fmla="*/ 54 h 60"/>
              <a:gd name="T88" fmla="*/ 90 w 108"/>
              <a:gd name="T89" fmla="*/ 60 h 60"/>
              <a:gd name="T90" fmla="*/ 84 w 108"/>
              <a:gd name="T91" fmla="*/ 60 h 60"/>
              <a:gd name="T92" fmla="*/ 78 w 108"/>
              <a:gd name="T93" fmla="*/ 54 h 60"/>
              <a:gd name="T94" fmla="*/ 24 w 108"/>
              <a:gd name="T95" fmla="*/ 54 h 60"/>
              <a:gd name="T96" fmla="*/ 6 w 108"/>
              <a:gd name="T97" fmla="*/ 54 h 60"/>
              <a:gd name="T98" fmla="*/ 0 w 108"/>
              <a:gd name="T99" fmla="*/ 48 h 60"/>
              <a:gd name="T100" fmla="*/ 0 w 108"/>
              <a:gd name="T101" fmla="*/ 42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08" h="60">
                <a:moveTo>
                  <a:pt x="0" y="42"/>
                </a:move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30" y="36"/>
                </a:lnTo>
                <a:lnTo>
                  <a:pt x="30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8" y="24"/>
                </a:lnTo>
                <a:lnTo>
                  <a:pt x="48" y="24"/>
                </a:lnTo>
                <a:lnTo>
                  <a:pt x="48" y="18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72" y="0"/>
                </a:lnTo>
                <a:lnTo>
                  <a:pt x="66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6"/>
                </a:lnTo>
                <a:lnTo>
                  <a:pt x="72" y="0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12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24"/>
                </a:lnTo>
                <a:lnTo>
                  <a:pt x="90" y="24"/>
                </a:lnTo>
                <a:lnTo>
                  <a:pt x="96" y="24"/>
                </a:lnTo>
                <a:lnTo>
                  <a:pt x="96" y="24"/>
                </a:lnTo>
                <a:lnTo>
                  <a:pt x="96" y="30"/>
                </a:lnTo>
                <a:lnTo>
                  <a:pt x="96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24"/>
                </a:lnTo>
                <a:lnTo>
                  <a:pt x="108" y="30"/>
                </a:lnTo>
                <a:lnTo>
                  <a:pt x="108" y="24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0" y="36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84" y="54"/>
                </a:lnTo>
                <a:lnTo>
                  <a:pt x="90" y="60"/>
                </a:lnTo>
                <a:lnTo>
                  <a:pt x="84" y="60"/>
                </a:lnTo>
                <a:lnTo>
                  <a:pt x="84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54"/>
                </a:lnTo>
                <a:lnTo>
                  <a:pt x="78" y="54"/>
                </a:lnTo>
                <a:lnTo>
                  <a:pt x="54" y="54"/>
                </a:lnTo>
                <a:lnTo>
                  <a:pt x="42" y="54"/>
                </a:lnTo>
                <a:lnTo>
                  <a:pt x="36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12" y="54"/>
                </a:lnTo>
                <a:lnTo>
                  <a:pt x="6" y="54"/>
                </a:lnTo>
                <a:lnTo>
                  <a:pt x="6" y="48"/>
                </a:lnTo>
                <a:lnTo>
                  <a:pt x="6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2"/>
                </a:lnTo>
                <a:lnTo>
                  <a:pt x="0" y="4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96" name="Freeform 329"/>
          <p:cNvSpPr>
            <a:spLocks/>
          </p:cNvSpPr>
          <p:nvPr/>
        </p:nvSpPr>
        <p:spPr bwMode="auto">
          <a:xfrm>
            <a:off x="7629164" y="4154276"/>
            <a:ext cx="102785" cy="64241"/>
          </a:xfrm>
          <a:custGeom>
            <a:avLst/>
            <a:gdLst>
              <a:gd name="T0" fmla="*/ 6 w 96"/>
              <a:gd name="T1" fmla="*/ 18 h 60"/>
              <a:gd name="T2" fmla="*/ 12 w 96"/>
              <a:gd name="T3" fmla="*/ 18 h 60"/>
              <a:gd name="T4" fmla="*/ 12 w 96"/>
              <a:gd name="T5" fmla="*/ 18 h 60"/>
              <a:gd name="T6" fmla="*/ 12 w 96"/>
              <a:gd name="T7" fmla="*/ 18 h 60"/>
              <a:gd name="T8" fmla="*/ 18 w 96"/>
              <a:gd name="T9" fmla="*/ 18 h 60"/>
              <a:gd name="T10" fmla="*/ 24 w 96"/>
              <a:gd name="T11" fmla="*/ 18 h 60"/>
              <a:gd name="T12" fmla="*/ 30 w 96"/>
              <a:gd name="T13" fmla="*/ 18 h 60"/>
              <a:gd name="T14" fmla="*/ 30 w 96"/>
              <a:gd name="T15" fmla="*/ 18 h 60"/>
              <a:gd name="T16" fmla="*/ 36 w 96"/>
              <a:gd name="T17" fmla="*/ 18 h 60"/>
              <a:gd name="T18" fmla="*/ 36 w 96"/>
              <a:gd name="T19" fmla="*/ 18 h 60"/>
              <a:gd name="T20" fmla="*/ 36 w 96"/>
              <a:gd name="T21" fmla="*/ 24 h 60"/>
              <a:gd name="T22" fmla="*/ 36 w 96"/>
              <a:gd name="T23" fmla="*/ 24 h 60"/>
              <a:gd name="T24" fmla="*/ 48 w 96"/>
              <a:gd name="T25" fmla="*/ 24 h 60"/>
              <a:gd name="T26" fmla="*/ 48 w 96"/>
              <a:gd name="T27" fmla="*/ 24 h 60"/>
              <a:gd name="T28" fmla="*/ 54 w 96"/>
              <a:gd name="T29" fmla="*/ 18 h 60"/>
              <a:gd name="T30" fmla="*/ 60 w 96"/>
              <a:gd name="T31" fmla="*/ 18 h 60"/>
              <a:gd name="T32" fmla="*/ 72 w 96"/>
              <a:gd name="T33" fmla="*/ 12 h 60"/>
              <a:gd name="T34" fmla="*/ 84 w 96"/>
              <a:gd name="T35" fmla="*/ 6 h 60"/>
              <a:gd name="T36" fmla="*/ 96 w 96"/>
              <a:gd name="T37" fmla="*/ 0 h 60"/>
              <a:gd name="T38" fmla="*/ 96 w 96"/>
              <a:gd name="T39" fmla="*/ 0 h 60"/>
              <a:gd name="T40" fmla="*/ 96 w 96"/>
              <a:gd name="T41" fmla="*/ 6 h 60"/>
              <a:gd name="T42" fmla="*/ 96 w 96"/>
              <a:gd name="T43" fmla="*/ 12 h 60"/>
              <a:gd name="T44" fmla="*/ 96 w 96"/>
              <a:gd name="T45" fmla="*/ 12 h 60"/>
              <a:gd name="T46" fmla="*/ 90 w 96"/>
              <a:gd name="T47" fmla="*/ 18 h 60"/>
              <a:gd name="T48" fmla="*/ 90 w 96"/>
              <a:gd name="T49" fmla="*/ 18 h 60"/>
              <a:gd name="T50" fmla="*/ 90 w 96"/>
              <a:gd name="T51" fmla="*/ 24 h 60"/>
              <a:gd name="T52" fmla="*/ 84 w 96"/>
              <a:gd name="T53" fmla="*/ 30 h 60"/>
              <a:gd name="T54" fmla="*/ 78 w 96"/>
              <a:gd name="T55" fmla="*/ 30 h 60"/>
              <a:gd name="T56" fmla="*/ 78 w 96"/>
              <a:gd name="T57" fmla="*/ 36 h 60"/>
              <a:gd name="T58" fmla="*/ 72 w 96"/>
              <a:gd name="T59" fmla="*/ 36 h 60"/>
              <a:gd name="T60" fmla="*/ 66 w 96"/>
              <a:gd name="T61" fmla="*/ 30 h 60"/>
              <a:gd name="T62" fmla="*/ 66 w 96"/>
              <a:gd name="T63" fmla="*/ 30 h 60"/>
              <a:gd name="T64" fmla="*/ 60 w 96"/>
              <a:gd name="T65" fmla="*/ 24 h 60"/>
              <a:gd name="T66" fmla="*/ 60 w 96"/>
              <a:gd name="T67" fmla="*/ 30 h 60"/>
              <a:gd name="T68" fmla="*/ 54 w 96"/>
              <a:gd name="T69" fmla="*/ 36 h 60"/>
              <a:gd name="T70" fmla="*/ 48 w 96"/>
              <a:gd name="T71" fmla="*/ 42 h 60"/>
              <a:gd name="T72" fmla="*/ 42 w 96"/>
              <a:gd name="T73" fmla="*/ 42 h 60"/>
              <a:gd name="T74" fmla="*/ 42 w 96"/>
              <a:gd name="T75" fmla="*/ 48 h 60"/>
              <a:gd name="T76" fmla="*/ 42 w 96"/>
              <a:gd name="T77" fmla="*/ 54 h 60"/>
              <a:gd name="T78" fmla="*/ 36 w 96"/>
              <a:gd name="T79" fmla="*/ 54 h 60"/>
              <a:gd name="T80" fmla="*/ 36 w 96"/>
              <a:gd name="T81" fmla="*/ 54 h 60"/>
              <a:gd name="T82" fmla="*/ 30 w 96"/>
              <a:gd name="T83" fmla="*/ 54 h 60"/>
              <a:gd name="T84" fmla="*/ 24 w 96"/>
              <a:gd name="T85" fmla="*/ 54 h 60"/>
              <a:gd name="T86" fmla="*/ 24 w 96"/>
              <a:gd name="T87" fmla="*/ 54 h 60"/>
              <a:gd name="T88" fmla="*/ 18 w 96"/>
              <a:gd name="T89" fmla="*/ 54 h 60"/>
              <a:gd name="T90" fmla="*/ 18 w 96"/>
              <a:gd name="T91" fmla="*/ 60 h 60"/>
              <a:gd name="T92" fmla="*/ 6 w 96"/>
              <a:gd name="T93" fmla="*/ 48 h 60"/>
              <a:gd name="T94" fmla="*/ 0 w 96"/>
              <a:gd name="T95" fmla="*/ 30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96" h="60">
                <a:moveTo>
                  <a:pt x="0" y="24"/>
                </a:moveTo>
                <a:lnTo>
                  <a:pt x="0" y="24"/>
                </a:lnTo>
                <a:lnTo>
                  <a:pt x="0" y="24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18"/>
                </a:lnTo>
                <a:lnTo>
                  <a:pt x="48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72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90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24"/>
                </a:lnTo>
                <a:lnTo>
                  <a:pt x="90" y="24"/>
                </a:lnTo>
                <a:lnTo>
                  <a:pt x="90" y="18"/>
                </a:lnTo>
                <a:lnTo>
                  <a:pt x="90" y="18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2" y="42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54"/>
                </a:lnTo>
                <a:lnTo>
                  <a:pt x="42" y="54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18" y="54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2" y="54"/>
                </a:lnTo>
                <a:lnTo>
                  <a:pt x="12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0" y="42"/>
                </a:lnTo>
                <a:lnTo>
                  <a:pt x="0" y="30"/>
                </a:lnTo>
                <a:lnTo>
                  <a:pt x="0" y="2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97" name="Freeform 330"/>
          <p:cNvSpPr>
            <a:spLocks/>
          </p:cNvSpPr>
          <p:nvPr/>
        </p:nvSpPr>
        <p:spPr bwMode="auto">
          <a:xfrm>
            <a:off x="7519955" y="4179973"/>
            <a:ext cx="109209" cy="64241"/>
          </a:xfrm>
          <a:custGeom>
            <a:avLst/>
            <a:gdLst>
              <a:gd name="T0" fmla="*/ 6 w 102"/>
              <a:gd name="T1" fmla="*/ 18 h 60"/>
              <a:gd name="T2" fmla="*/ 6 w 102"/>
              <a:gd name="T3" fmla="*/ 18 h 60"/>
              <a:gd name="T4" fmla="*/ 12 w 102"/>
              <a:gd name="T5" fmla="*/ 18 h 60"/>
              <a:gd name="T6" fmla="*/ 12 w 102"/>
              <a:gd name="T7" fmla="*/ 18 h 60"/>
              <a:gd name="T8" fmla="*/ 12 w 102"/>
              <a:gd name="T9" fmla="*/ 18 h 60"/>
              <a:gd name="T10" fmla="*/ 12 w 102"/>
              <a:gd name="T11" fmla="*/ 12 h 60"/>
              <a:gd name="T12" fmla="*/ 18 w 102"/>
              <a:gd name="T13" fmla="*/ 12 h 60"/>
              <a:gd name="T14" fmla="*/ 24 w 102"/>
              <a:gd name="T15" fmla="*/ 12 h 60"/>
              <a:gd name="T16" fmla="*/ 30 w 102"/>
              <a:gd name="T17" fmla="*/ 12 h 60"/>
              <a:gd name="T18" fmla="*/ 30 w 102"/>
              <a:gd name="T19" fmla="*/ 6 h 60"/>
              <a:gd name="T20" fmla="*/ 42 w 102"/>
              <a:gd name="T21" fmla="*/ 6 h 60"/>
              <a:gd name="T22" fmla="*/ 42 w 102"/>
              <a:gd name="T23" fmla="*/ 6 h 60"/>
              <a:gd name="T24" fmla="*/ 48 w 102"/>
              <a:gd name="T25" fmla="*/ 0 h 60"/>
              <a:gd name="T26" fmla="*/ 54 w 102"/>
              <a:gd name="T27" fmla="*/ 0 h 60"/>
              <a:gd name="T28" fmla="*/ 60 w 102"/>
              <a:gd name="T29" fmla="*/ 0 h 60"/>
              <a:gd name="T30" fmla="*/ 60 w 102"/>
              <a:gd name="T31" fmla="*/ 0 h 60"/>
              <a:gd name="T32" fmla="*/ 60 w 102"/>
              <a:gd name="T33" fmla="*/ 6 h 60"/>
              <a:gd name="T34" fmla="*/ 66 w 102"/>
              <a:gd name="T35" fmla="*/ 0 h 60"/>
              <a:gd name="T36" fmla="*/ 72 w 102"/>
              <a:gd name="T37" fmla="*/ 0 h 60"/>
              <a:gd name="T38" fmla="*/ 72 w 102"/>
              <a:gd name="T39" fmla="*/ 0 h 60"/>
              <a:gd name="T40" fmla="*/ 72 w 102"/>
              <a:gd name="T41" fmla="*/ 0 h 60"/>
              <a:gd name="T42" fmla="*/ 78 w 102"/>
              <a:gd name="T43" fmla="*/ 0 h 60"/>
              <a:gd name="T44" fmla="*/ 78 w 102"/>
              <a:gd name="T45" fmla="*/ 0 h 60"/>
              <a:gd name="T46" fmla="*/ 84 w 102"/>
              <a:gd name="T47" fmla="*/ 0 h 60"/>
              <a:gd name="T48" fmla="*/ 84 w 102"/>
              <a:gd name="T49" fmla="*/ 0 h 60"/>
              <a:gd name="T50" fmla="*/ 90 w 102"/>
              <a:gd name="T51" fmla="*/ 0 h 60"/>
              <a:gd name="T52" fmla="*/ 96 w 102"/>
              <a:gd name="T53" fmla="*/ 0 h 60"/>
              <a:gd name="T54" fmla="*/ 102 w 102"/>
              <a:gd name="T55" fmla="*/ 6 h 60"/>
              <a:gd name="T56" fmla="*/ 102 w 102"/>
              <a:gd name="T57" fmla="*/ 24 h 60"/>
              <a:gd name="T58" fmla="*/ 96 w 102"/>
              <a:gd name="T59" fmla="*/ 18 h 60"/>
              <a:gd name="T60" fmla="*/ 90 w 102"/>
              <a:gd name="T61" fmla="*/ 24 h 60"/>
              <a:gd name="T62" fmla="*/ 84 w 102"/>
              <a:gd name="T63" fmla="*/ 24 h 60"/>
              <a:gd name="T64" fmla="*/ 78 w 102"/>
              <a:gd name="T65" fmla="*/ 30 h 60"/>
              <a:gd name="T66" fmla="*/ 72 w 102"/>
              <a:gd name="T67" fmla="*/ 30 h 60"/>
              <a:gd name="T68" fmla="*/ 72 w 102"/>
              <a:gd name="T69" fmla="*/ 30 h 60"/>
              <a:gd name="T70" fmla="*/ 72 w 102"/>
              <a:gd name="T71" fmla="*/ 36 h 60"/>
              <a:gd name="T72" fmla="*/ 66 w 102"/>
              <a:gd name="T73" fmla="*/ 36 h 60"/>
              <a:gd name="T74" fmla="*/ 66 w 102"/>
              <a:gd name="T75" fmla="*/ 42 h 60"/>
              <a:gd name="T76" fmla="*/ 60 w 102"/>
              <a:gd name="T77" fmla="*/ 42 h 60"/>
              <a:gd name="T78" fmla="*/ 60 w 102"/>
              <a:gd name="T79" fmla="*/ 42 h 60"/>
              <a:gd name="T80" fmla="*/ 54 w 102"/>
              <a:gd name="T81" fmla="*/ 48 h 60"/>
              <a:gd name="T82" fmla="*/ 60 w 102"/>
              <a:gd name="T83" fmla="*/ 48 h 60"/>
              <a:gd name="T84" fmla="*/ 60 w 102"/>
              <a:gd name="T85" fmla="*/ 48 h 60"/>
              <a:gd name="T86" fmla="*/ 54 w 102"/>
              <a:gd name="T87" fmla="*/ 60 h 60"/>
              <a:gd name="T88" fmla="*/ 48 w 102"/>
              <a:gd name="T89" fmla="*/ 60 h 60"/>
              <a:gd name="T90" fmla="*/ 54 w 102"/>
              <a:gd name="T91" fmla="*/ 60 h 60"/>
              <a:gd name="T92" fmla="*/ 48 w 102"/>
              <a:gd name="T93" fmla="*/ 54 h 60"/>
              <a:gd name="T94" fmla="*/ 36 w 102"/>
              <a:gd name="T95" fmla="*/ 60 h 60"/>
              <a:gd name="T96" fmla="*/ 30 w 102"/>
              <a:gd name="T97" fmla="*/ 60 h 60"/>
              <a:gd name="T98" fmla="*/ 24 w 102"/>
              <a:gd name="T99" fmla="*/ 54 h 60"/>
              <a:gd name="T100" fmla="*/ 24 w 102"/>
              <a:gd name="T101" fmla="*/ 54 h 60"/>
              <a:gd name="T102" fmla="*/ 18 w 102"/>
              <a:gd name="T103" fmla="*/ 48 h 60"/>
              <a:gd name="T104" fmla="*/ 24 w 102"/>
              <a:gd name="T105" fmla="*/ 48 h 60"/>
              <a:gd name="T106" fmla="*/ 18 w 102"/>
              <a:gd name="T107" fmla="*/ 42 h 60"/>
              <a:gd name="T108" fmla="*/ 24 w 102"/>
              <a:gd name="T109" fmla="*/ 30 h 60"/>
              <a:gd name="T110" fmla="*/ 18 w 102"/>
              <a:gd name="T111" fmla="*/ 30 h 60"/>
              <a:gd name="T112" fmla="*/ 6 w 102"/>
              <a:gd name="T113" fmla="*/ 36 h 60"/>
              <a:gd name="T114" fmla="*/ 6 w 102"/>
              <a:gd name="T115" fmla="*/ 30 h 60"/>
              <a:gd name="T116" fmla="*/ 6 w 102"/>
              <a:gd name="T117" fmla="*/ 30 h 60"/>
              <a:gd name="T118" fmla="*/ 6 w 102"/>
              <a:gd name="T119" fmla="*/ 24 h 60"/>
              <a:gd name="T120" fmla="*/ 6 w 102"/>
              <a:gd name="T121" fmla="*/ 24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2" h="60">
                <a:moveTo>
                  <a:pt x="0" y="24"/>
                </a:moveTo>
                <a:lnTo>
                  <a:pt x="0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2"/>
                </a:lnTo>
                <a:lnTo>
                  <a:pt x="12" y="18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0"/>
                </a:lnTo>
                <a:lnTo>
                  <a:pt x="48" y="6"/>
                </a:lnTo>
                <a:lnTo>
                  <a:pt x="48" y="0"/>
                </a:lnTo>
                <a:lnTo>
                  <a:pt x="48" y="0"/>
                </a:lnTo>
                <a:lnTo>
                  <a:pt x="54" y="0"/>
                </a:lnTo>
                <a:lnTo>
                  <a:pt x="48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6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102" y="0"/>
                </a:lnTo>
                <a:lnTo>
                  <a:pt x="102" y="6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24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84" y="24"/>
                </a:lnTo>
                <a:lnTo>
                  <a:pt x="84" y="24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54" y="60"/>
                </a:lnTo>
                <a:lnTo>
                  <a:pt x="54" y="60"/>
                </a:lnTo>
                <a:lnTo>
                  <a:pt x="48" y="60"/>
                </a:lnTo>
                <a:lnTo>
                  <a:pt x="48" y="60"/>
                </a:lnTo>
                <a:lnTo>
                  <a:pt x="48" y="54"/>
                </a:lnTo>
                <a:lnTo>
                  <a:pt x="48" y="54"/>
                </a:lnTo>
                <a:lnTo>
                  <a:pt x="48" y="60"/>
                </a:lnTo>
                <a:lnTo>
                  <a:pt x="42" y="60"/>
                </a:lnTo>
                <a:lnTo>
                  <a:pt x="42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24" y="60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18" y="54"/>
                </a:lnTo>
                <a:lnTo>
                  <a:pt x="18" y="54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24" y="48"/>
                </a:lnTo>
                <a:lnTo>
                  <a:pt x="24" y="48"/>
                </a:lnTo>
                <a:lnTo>
                  <a:pt x="24" y="42"/>
                </a:lnTo>
                <a:lnTo>
                  <a:pt x="24" y="42"/>
                </a:lnTo>
                <a:lnTo>
                  <a:pt x="18" y="42"/>
                </a:lnTo>
                <a:lnTo>
                  <a:pt x="18" y="42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24" y="30"/>
                </a:lnTo>
                <a:lnTo>
                  <a:pt x="24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0" y="24"/>
                </a:lnTo>
                <a:lnTo>
                  <a:pt x="0" y="2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98" name="Freeform 331"/>
          <p:cNvSpPr>
            <a:spLocks/>
          </p:cNvSpPr>
          <p:nvPr/>
        </p:nvSpPr>
        <p:spPr bwMode="auto">
          <a:xfrm>
            <a:off x="7436443" y="4205669"/>
            <a:ext cx="141329" cy="96361"/>
          </a:xfrm>
          <a:custGeom>
            <a:avLst/>
            <a:gdLst>
              <a:gd name="T0" fmla="*/ 6 w 132"/>
              <a:gd name="T1" fmla="*/ 18 h 90"/>
              <a:gd name="T2" fmla="*/ 18 w 132"/>
              <a:gd name="T3" fmla="*/ 18 h 90"/>
              <a:gd name="T4" fmla="*/ 24 w 132"/>
              <a:gd name="T5" fmla="*/ 12 h 90"/>
              <a:gd name="T6" fmla="*/ 36 w 132"/>
              <a:gd name="T7" fmla="*/ 12 h 90"/>
              <a:gd name="T8" fmla="*/ 42 w 132"/>
              <a:gd name="T9" fmla="*/ 0 h 90"/>
              <a:gd name="T10" fmla="*/ 48 w 132"/>
              <a:gd name="T11" fmla="*/ 0 h 90"/>
              <a:gd name="T12" fmla="*/ 48 w 132"/>
              <a:gd name="T13" fmla="*/ 0 h 90"/>
              <a:gd name="T14" fmla="*/ 60 w 132"/>
              <a:gd name="T15" fmla="*/ 0 h 90"/>
              <a:gd name="T16" fmla="*/ 66 w 132"/>
              <a:gd name="T17" fmla="*/ 0 h 90"/>
              <a:gd name="T18" fmla="*/ 72 w 132"/>
              <a:gd name="T19" fmla="*/ 0 h 90"/>
              <a:gd name="T20" fmla="*/ 78 w 132"/>
              <a:gd name="T21" fmla="*/ 0 h 90"/>
              <a:gd name="T22" fmla="*/ 84 w 132"/>
              <a:gd name="T23" fmla="*/ 0 h 90"/>
              <a:gd name="T24" fmla="*/ 84 w 132"/>
              <a:gd name="T25" fmla="*/ 6 h 90"/>
              <a:gd name="T26" fmla="*/ 84 w 132"/>
              <a:gd name="T27" fmla="*/ 12 h 90"/>
              <a:gd name="T28" fmla="*/ 96 w 132"/>
              <a:gd name="T29" fmla="*/ 6 h 90"/>
              <a:gd name="T30" fmla="*/ 96 w 132"/>
              <a:gd name="T31" fmla="*/ 18 h 90"/>
              <a:gd name="T32" fmla="*/ 96 w 132"/>
              <a:gd name="T33" fmla="*/ 24 h 90"/>
              <a:gd name="T34" fmla="*/ 102 w 132"/>
              <a:gd name="T35" fmla="*/ 30 h 90"/>
              <a:gd name="T36" fmla="*/ 108 w 132"/>
              <a:gd name="T37" fmla="*/ 36 h 90"/>
              <a:gd name="T38" fmla="*/ 126 w 132"/>
              <a:gd name="T39" fmla="*/ 30 h 90"/>
              <a:gd name="T40" fmla="*/ 126 w 132"/>
              <a:gd name="T41" fmla="*/ 36 h 90"/>
              <a:gd name="T42" fmla="*/ 132 w 132"/>
              <a:gd name="T43" fmla="*/ 36 h 90"/>
              <a:gd name="T44" fmla="*/ 132 w 132"/>
              <a:gd name="T45" fmla="*/ 48 h 90"/>
              <a:gd name="T46" fmla="*/ 126 w 132"/>
              <a:gd name="T47" fmla="*/ 54 h 90"/>
              <a:gd name="T48" fmla="*/ 132 w 132"/>
              <a:gd name="T49" fmla="*/ 54 h 90"/>
              <a:gd name="T50" fmla="*/ 126 w 132"/>
              <a:gd name="T51" fmla="*/ 66 h 90"/>
              <a:gd name="T52" fmla="*/ 120 w 132"/>
              <a:gd name="T53" fmla="*/ 72 h 90"/>
              <a:gd name="T54" fmla="*/ 114 w 132"/>
              <a:gd name="T55" fmla="*/ 78 h 90"/>
              <a:gd name="T56" fmla="*/ 108 w 132"/>
              <a:gd name="T57" fmla="*/ 78 h 90"/>
              <a:gd name="T58" fmla="*/ 96 w 132"/>
              <a:gd name="T59" fmla="*/ 84 h 90"/>
              <a:gd name="T60" fmla="*/ 84 w 132"/>
              <a:gd name="T61" fmla="*/ 84 h 90"/>
              <a:gd name="T62" fmla="*/ 78 w 132"/>
              <a:gd name="T63" fmla="*/ 90 h 90"/>
              <a:gd name="T64" fmla="*/ 72 w 132"/>
              <a:gd name="T65" fmla="*/ 84 h 90"/>
              <a:gd name="T66" fmla="*/ 72 w 132"/>
              <a:gd name="T67" fmla="*/ 78 h 90"/>
              <a:gd name="T68" fmla="*/ 66 w 132"/>
              <a:gd name="T69" fmla="*/ 78 h 90"/>
              <a:gd name="T70" fmla="*/ 72 w 132"/>
              <a:gd name="T71" fmla="*/ 72 h 90"/>
              <a:gd name="T72" fmla="*/ 72 w 132"/>
              <a:gd name="T73" fmla="*/ 66 h 90"/>
              <a:gd name="T74" fmla="*/ 78 w 132"/>
              <a:gd name="T75" fmla="*/ 60 h 90"/>
              <a:gd name="T76" fmla="*/ 84 w 132"/>
              <a:gd name="T77" fmla="*/ 60 h 90"/>
              <a:gd name="T78" fmla="*/ 78 w 132"/>
              <a:gd name="T79" fmla="*/ 48 h 90"/>
              <a:gd name="T80" fmla="*/ 78 w 132"/>
              <a:gd name="T81" fmla="*/ 48 h 90"/>
              <a:gd name="T82" fmla="*/ 72 w 132"/>
              <a:gd name="T83" fmla="*/ 48 h 90"/>
              <a:gd name="T84" fmla="*/ 66 w 132"/>
              <a:gd name="T85" fmla="*/ 42 h 90"/>
              <a:gd name="T86" fmla="*/ 60 w 132"/>
              <a:gd name="T87" fmla="*/ 42 h 90"/>
              <a:gd name="T88" fmla="*/ 54 w 132"/>
              <a:gd name="T89" fmla="*/ 42 h 90"/>
              <a:gd name="T90" fmla="*/ 54 w 132"/>
              <a:gd name="T91" fmla="*/ 42 h 90"/>
              <a:gd name="T92" fmla="*/ 48 w 132"/>
              <a:gd name="T93" fmla="*/ 42 h 90"/>
              <a:gd name="T94" fmla="*/ 42 w 132"/>
              <a:gd name="T95" fmla="*/ 48 h 90"/>
              <a:gd name="T96" fmla="*/ 36 w 132"/>
              <a:gd name="T97" fmla="*/ 48 h 90"/>
              <a:gd name="T98" fmla="*/ 36 w 132"/>
              <a:gd name="T99" fmla="*/ 48 h 90"/>
              <a:gd name="T100" fmla="*/ 24 w 132"/>
              <a:gd name="T101" fmla="*/ 48 h 90"/>
              <a:gd name="T102" fmla="*/ 18 w 132"/>
              <a:gd name="T103" fmla="*/ 42 h 90"/>
              <a:gd name="T104" fmla="*/ 18 w 132"/>
              <a:gd name="T105" fmla="*/ 36 h 90"/>
              <a:gd name="T106" fmla="*/ 12 w 132"/>
              <a:gd name="T107" fmla="*/ 36 h 90"/>
              <a:gd name="T108" fmla="*/ 12 w 132"/>
              <a:gd name="T109" fmla="*/ 30 h 90"/>
              <a:gd name="T110" fmla="*/ 6 w 132"/>
              <a:gd name="T111" fmla="*/ 18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32" h="90">
                <a:moveTo>
                  <a:pt x="0" y="18"/>
                </a:move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12" y="12"/>
                </a:lnTo>
                <a:lnTo>
                  <a:pt x="12" y="12"/>
                </a:lnTo>
                <a:lnTo>
                  <a:pt x="12" y="18"/>
                </a:lnTo>
                <a:lnTo>
                  <a:pt x="12" y="12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2"/>
                </a:lnTo>
                <a:lnTo>
                  <a:pt x="18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6"/>
                </a:lnTo>
                <a:lnTo>
                  <a:pt x="30" y="6"/>
                </a:lnTo>
                <a:lnTo>
                  <a:pt x="30" y="12"/>
                </a:lnTo>
                <a:lnTo>
                  <a:pt x="30" y="6"/>
                </a:lnTo>
                <a:lnTo>
                  <a:pt x="30" y="12"/>
                </a:lnTo>
                <a:lnTo>
                  <a:pt x="36" y="6"/>
                </a:lnTo>
                <a:lnTo>
                  <a:pt x="36" y="12"/>
                </a:lnTo>
                <a:lnTo>
                  <a:pt x="36" y="12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0"/>
                </a:lnTo>
                <a:lnTo>
                  <a:pt x="42" y="6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102" y="6"/>
                </a:lnTo>
                <a:lnTo>
                  <a:pt x="102" y="6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8"/>
                </a:lnTo>
                <a:lnTo>
                  <a:pt x="96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24"/>
                </a:lnTo>
                <a:lnTo>
                  <a:pt x="102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30"/>
                </a:lnTo>
                <a:lnTo>
                  <a:pt x="96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20" y="36"/>
                </a:lnTo>
                <a:lnTo>
                  <a:pt x="120" y="36"/>
                </a:lnTo>
                <a:lnTo>
                  <a:pt x="126" y="36"/>
                </a:lnTo>
                <a:lnTo>
                  <a:pt x="126" y="30"/>
                </a:lnTo>
                <a:lnTo>
                  <a:pt x="126" y="30"/>
                </a:lnTo>
                <a:lnTo>
                  <a:pt x="126" y="36"/>
                </a:lnTo>
                <a:lnTo>
                  <a:pt x="126" y="36"/>
                </a:lnTo>
                <a:lnTo>
                  <a:pt x="132" y="36"/>
                </a:lnTo>
                <a:lnTo>
                  <a:pt x="132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26" y="48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32" y="54"/>
                </a:lnTo>
                <a:lnTo>
                  <a:pt x="132" y="54"/>
                </a:lnTo>
                <a:lnTo>
                  <a:pt x="132" y="54"/>
                </a:lnTo>
                <a:lnTo>
                  <a:pt x="126" y="60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8"/>
                </a:lnTo>
                <a:lnTo>
                  <a:pt x="114" y="72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84"/>
                </a:lnTo>
                <a:lnTo>
                  <a:pt x="108" y="84"/>
                </a:lnTo>
                <a:lnTo>
                  <a:pt x="108" y="78"/>
                </a:lnTo>
                <a:lnTo>
                  <a:pt x="108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84"/>
                </a:lnTo>
                <a:lnTo>
                  <a:pt x="96" y="78"/>
                </a:lnTo>
                <a:lnTo>
                  <a:pt x="96" y="84"/>
                </a:lnTo>
                <a:lnTo>
                  <a:pt x="96" y="84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0" y="78"/>
                </a:lnTo>
                <a:lnTo>
                  <a:pt x="66" y="78"/>
                </a:lnTo>
                <a:lnTo>
                  <a:pt x="66" y="72"/>
                </a:lnTo>
                <a:lnTo>
                  <a:pt x="66" y="72"/>
                </a:lnTo>
                <a:lnTo>
                  <a:pt x="66" y="78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84" y="60"/>
                </a:lnTo>
                <a:lnTo>
                  <a:pt x="84" y="60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2"/>
                </a:lnTo>
                <a:lnTo>
                  <a:pt x="66" y="48"/>
                </a:lnTo>
                <a:lnTo>
                  <a:pt x="66" y="48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2"/>
                </a:lnTo>
                <a:lnTo>
                  <a:pt x="54" y="42"/>
                </a:lnTo>
                <a:lnTo>
                  <a:pt x="54" y="42"/>
                </a:lnTo>
                <a:lnTo>
                  <a:pt x="60" y="42"/>
                </a:lnTo>
                <a:lnTo>
                  <a:pt x="60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48" y="42"/>
                </a:lnTo>
                <a:lnTo>
                  <a:pt x="48" y="42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0" y="48"/>
                </a:lnTo>
                <a:lnTo>
                  <a:pt x="30" y="42"/>
                </a:lnTo>
                <a:lnTo>
                  <a:pt x="30" y="48"/>
                </a:lnTo>
                <a:lnTo>
                  <a:pt x="30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18" y="48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36"/>
                </a:lnTo>
                <a:lnTo>
                  <a:pt x="18" y="42"/>
                </a:lnTo>
                <a:lnTo>
                  <a:pt x="18" y="36"/>
                </a:lnTo>
                <a:lnTo>
                  <a:pt x="18" y="42"/>
                </a:lnTo>
                <a:lnTo>
                  <a:pt x="18" y="42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24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0" y="1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599" name="Freeform 332"/>
          <p:cNvSpPr>
            <a:spLocks/>
          </p:cNvSpPr>
          <p:nvPr/>
        </p:nvSpPr>
        <p:spPr bwMode="auto">
          <a:xfrm>
            <a:off x="7719101" y="4154276"/>
            <a:ext cx="77089" cy="77089"/>
          </a:xfrm>
          <a:custGeom>
            <a:avLst/>
            <a:gdLst>
              <a:gd name="T0" fmla="*/ 6 w 72"/>
              <a:gd name="T1" fmla="*/ 30 h 72"/>
              <a:gd name="T2" fmla="*/ 6 w 72"/>
              <a:gd name="T3" fmla="*/ 30 h 72"/>
              <a:gd name="T4" fmla="*/ 6 w 72"/>
              <a:gd name="T5" fmla="*/ 18 h 72"/>
              <a:gd name="T6" fmla="*/ 6 w 72"/>
              <a:gd name="T7" fmla="*/ 18 h 72"/>
              <a:gd name="T8" fmla="*/ 12 w 72"/>
              <a:gd name="T9" fmla="*/ 12 h 72"/>
              <a:gd name="T10" fmla="*/ 12 w 72"/>
              <a:gd name="T11" fmla="*/ 12 h 72"/>
              <a:gd name="T12" fmla="*/ 30 w 72"/>
              <a:gd name="T13" fmla="*/ 18 h 72"/>
              <a:gd name="T14" fmla="*/ 30 w 72"/>
              <a:gd name="T15" fmla="*/ 12 h 72"/>
              <a:gd name="T16" fmla="*/ 30 w 72"/>
              <a:gd name="T17" fmla="*/ 12 h 72"/>
              <a:gd name="T18" fmla="*/ 30 w 72"/>
              <a:gd name="T19" fmla="*/ 6 h 72"/>
              <a:gd name="T20" fmla="*/ 30 w 72"/>
              <a:gd name="T21" fmla="*/ 6 h 72"/>
              <a:gd name="T22" fmla="*/ 30 w 72"/>
              <a:gd name="T23" fmla="*/ 0 h 72"/>
              <a:gd name="T24" fmla="*/ 36 w 72"/>
              <a:gd name="T25" fmla="*/ 0 h 72"/>
              <a:gd name="T26" fmla="*/ 48 w 72"/>
              <a:gd name="T27" fmla="*/ 24 h 72"/>
              <a:gd name="T28" fmla="*/ 54 w 72"/>
              <a:gd name="T29" fmla="*/ 30 h 72"/>
              <a:gd name="T30" fmla="*/ 60 w 72"/>
              <a:gd name="T31" fmla="*/ 30 h 72"/>
              <a:gd name="T32" fmla="*/ 66 w 72"/>
              <a:gd name="T33" fmla="*/ 30 h 72"/>
              <a:gd name="T34" fmla="*/ 60 w 72"/>
              <a:gd name="T35" fmla="*/ 36 h 72"/>
              <a:gd name="T36" fmla="*/ 66 w 72"/>
              <a:gd name="T37" fmla="*/ 42 h 72"/>
              <a:gd name="T38" fmla="*/ 66 w 72"/>
              <a:gd name="T39" fmla="*/ 42 h 72"/>
              <a:gd name="T40" fmla="*/ 72 w 72"/>
              <a:gd name="T41" fmla="*/ 42 h 72"/>
              <a:gd name="T42" fmla="*/ 66 w 72"/>
              <a:gd name="T43" fmla="*/ 48 h 72"/>
              <a:gd name="T44" fmla="*/ 66 w 72"/>
              <a:gd name="T45" fmla="*/ 48 h 72"/>
              <a:gd name="T46" fmla="*/ 66 w 72"/>
              <a:gd name="T47" fmla="*/ 54 h 72"/>
              <a:gd name="T48" fmla="*/ 66 w 72"/>
              <a:gd name="T49" fmla="*/ 54 h 72"/>
              <a:gd name="T50" fmla="*/ 66 w 72"/>
              <a:gd name="T51" fmla="*/ 54 h 72"/>
              <a:gd name="T52" fmla="*/ 72 w 72"/>
              <a:gd name="T53" fmla="*/ 60 h 72"/>
              <a:gd name="T54" fmla="*/ 72 w 72"/>
              <a:gd name="T55" fmla="*/ 60 h 72"/>
              <a:gd name="T56" fmla="*/ 66 w 72"/>
              <a:gd name="T57" fmla="*/ 60 h 72"/>
              <a:gd name="T58" fmla="*/ 66 w 72"/>
              <a:gd name="T59" fmla="*/ 66 h 72"/>
              <a:gd name="T60" fmla="*/ 60 w 72"/>
              <a:gd name="T61" fmla="*/ 72 h 72"/>
              <a:gd name="T62" fmla="*/ 54 w 72"/>
              <a:gd name="T63" fmla="*/ 72 h 72"/>
              <a:gd name="T64" fmla="*/ 48 w 72"/>
              <a:gd name="T65" fmla="*/ 72 h 72"/>
              <a:gd name="T66" fmla="*/ 42 w 72"/>
              <a:gd name="T67" fmla="*/ 72 h 72"/>
              <a:gd name="T68" fmla="*/ 36 w 72"/>
              <a:gd name="T69" fmla="*/ 72 h 72"/>
              <a:gd name="T70" fmla="*/ 30 w 72"/>
              <a:gd name="T71" fmla="*/ 72 h 72"/>
              <a:gd name="T72" fmla="*/ 30 w 72"/>
              <a:gd name="T73" fmla="*/ 72 h 72"/>
              <a:gd name="T74" fmla="*/ 30 w 72"/>
              <a:gd name="T75" fmla="*/ 72 h 72"/>
              <a:gd name="T76" fmla="*/ 30 w 72"/>
              <a:gd name="T77" fmla="*/ 66 h 72"/>
              <a:gd name="T78" fmla="*/ 30 w 72"/>
              <a:gd name="T79" fmla="*/ 60 h 72"/>
              <a:gd name="T80" fmla="*/ 24 w 72"/>
              <a:gd name="T81" fmla="*/ 66 h 72"/>
              <a:gd name="T82" fmla="*/ 18 w 72"/>
              <a:gd name="T83" fmla="*/ 66 h 72"/>
              <a:gd name="T84" fmla="*/ 12 w 72"/>
              <a:gd name="T85" fmla="*/ 66 h 72"/>
              <a:gd name="T86" fmla="*/ 6 w 72"/>
              <a:gd name="T87" fmla="*/ 60 h 72"/>
              <a:gd name="T88" fmla="*/ 6 w 72"/>
              <a:gd name="T89" fmla="*/ 60 h 72"/>
              <a:gd name="T90" fmla="*/ 6 w 72"/>
              <a:gd name="T91" fmla="*/ 60 h 72"/>
              <a:gd name="T92" fmla="*/ 6 w 72"/>
              <a:gd name="T93" fmla="*/ 54 h 72"/>
              <a:gd name="T94" fmla="*/ 6 w 72"/>
              <a:gd name="T95" fmla="*/ 48 h 72"/>
              <a:gd name="T96" fmla="*/ 6 w 72"/>
              <a:gd name="T97" fmla="*/ 42 h 72"/>
              <a:gd name="T98" fmla="*/ 6 w 72"/>
              <a:gd name="T99" fmla="*/ 42 h 72"/>
              <a:gd name="T100" fmla="*/ 6 w 72"/>
              <a:gd name="T101" fmla="*/ 36 h 72"/>
              <a:gd name="T102" fmla="*/ 6 w 72"/>
              <a:gd name="T103" fmla="*/ 36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72" h="72">
                <a:moveTo>
                  <a:pt x="0" y="36"/>
                </a:move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0" y="30"/>
                </a:lnTo>
                <a:lnTo>
                  <a:pt x="0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8" y="12"/>
                </a:lnTo>
                <a:lnTo>
                  <a:pt x="24" y="18"/>
                </a:lnTo>
                <a:lnTo>
                  <a:pt x="24" y="18"/>
                </a:lnTo>
                <a:lnTo>
                  <a:pt x="30" y="18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0"/>
                </a:lnTo>
                <a:lnTo>
                  <a:pt x="36" y="6"/>
                </a:lnTo>
                <a:lnTo>
                  <a:pt x="36" y="6"/>
                </a:lnTo>
                <a:lnTo>
                  <a:pt x="36" y="0"/>
                </a:lnTo>
                <a:lnTo>
                  <a:pt x="36" y="0"/>
                </a:lnTo>
                <a:lnTo>
                  <a:pt x="36" y="6"/>
                </a:lnTo>
                <a:lnTo>
                  <a:pt x="36" y="6"/>
                </a:lnTo>
                <a:lnTo>
                  <a:pt x="48" y="18"/>
                </a:lnTo>
                <a:lnTo>
                  <a:pt x="48" y="24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6" y="36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0" y="54"/>
                </a:lnTo>
                <a:lnTo>
                  <a:pt x="60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30" y="72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0"/>
                </a:lnTo>
                <a:lnTo>
                  <a:pt x="30" y="60"/>
                </a:lnTo>
                <a:lnTo>
                  <a:pt x="24" y="60"/>
                </a:lnTo>
                <a:lnTo>
                  <a:pt x="24" y="60"/>
                </a:lnTo>
                <a:lnTo>
                  <a:pt x="24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6" y="66"/>
                </a:lnTo>
                <a:lnTo>
                  <a:pt x="6" y="66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0" y="36"/>
                </a:lnTo>
                <a:lnTo>
                  <a:pt x="0" y="3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00" name="Freeform 333"/>
          <p:cNvSpPr>
            <a:spLocks/>
          </p:cNvSpPr>
          <p:nvPr/>
        </p:nvSpPr>
        <p:spPr bwMode="auto">
          <a:xfrm>
            <a:off x="7796189" y="4000098"/>
            <a:ext cx="102785" cy="115634"/>
          </a:xfrm>
          <a:custGeom>
            <a:avLst/>
            <a:gdLst>
              <a:gd name="T0" fmla="*/ 0 w 96"/>
              <a:gd name="T1" fmla="*/ 66 h 108"/>
              <a:gd name="T2" fmla="*/ 0 w 96"/>
              <a:gd name="T3" fmla="*/ 66 h 108"/>
              <a:gd name="T4" fmla="*/ 6 w 96"/>
              <a:gd name="T5" fmla="*/ 60 h 108"/>
              <a:gd name="T6" fmla="*/ 6 w 96"/>
              <a:gd name="T7" fmla="*/ 54 h 108"/>
              <a:gd name="T8" fmla="*/ 6 w 96"/>
              <a:gd name="T9" fmla="*/ 48 h 108"/>
              <a:gd name="T10" fmla="*/ 6 w 96"/>
              <a:gd name="T11" fmla="*/ 42 h 108"/>
              <a:gd name="T12" fmla="*/ 12 w 96"/>
              <a:gd name="T13" fmla="*/ 42 h 108"/>
              <a:gd name="T14" fmla="*/ 12 w 96"/>
              <a:gd name="T15" fmla="*/ 36 h 108"/>
              <a:gd name="T16" fmla="*/ 18 w 96"/>
              <a:gd name="T17" fmla="*/ 36 h 108"/>
              <a:gd name="T18" fmla="*/ 18 w 96"/>
              <a:gd name="T19" fmla="*/ 30 h 108"/>
              <a:gd name="T20" fmla="*/ 12 w 96"/>
              <a:gd name="T21" fmla="*/ 30 h 108"/>
              <a:gd name="T22" fmla="*/ 12 w 96"/>
              <a:gd name="T23" fmla="*/ 24 h 108"/>
              <a:gd name="T24" fmla="*/ 18 w 96"/>
              <a:gd name="T25" fmla="*/ 18 h 108"/>
              <a:gd name="T26" fmla="*/ 24 w 96"/>
              <a:gd name="T27" fmla="*/ 18 h 108"/>
              <a:gd name="T28" fmla="*/ 30 w 96"/>
              <a:gd name="T29" fmla="*/ 18 h 108"/>
              <a:gd name="T30" fmla="*/ 36 w 96"/>
              <a:gd name="T31" fmla="*/ 18 h 108"/>
              <a:gd name="T32" fmla="*/ 36 w 96"/>
              <a:gd name="T33" fmla="*/ 12 h 108"/>
              <a:gd name="T34" fmla="*/ 36 w 96"/>
              <a:gd name="T35" fmla="*/ 6 h 108"/>
              <a:gd name="T36" fmla="*/ 42 w 96"/>
              <a:gd name="T37" fmla="*/ 0 h 108"/>
              <a:gd name="T38" fmla="*/ 48 w 96"/>
              <a:gd name="T39" fmla="*/ 0 h 108"/>
              <a:gd name="T40" fmla="*/ 48 w 96"/>
              <a:gd name="T41" fmla="*/ 0 h 108"/>
              <a:gd name="T42" fmla="*/ 54 w 96"/>
              <a:gd name="T43" fmla="*/ 0 h 108"/>
              <a:gd name="T44" fmla="*/ 60 w 96"/>
              <a:gd name="T45" fmla="*/ 0 h 108"/>
              <a:gd name="T46" fmla="*/ 60 w 96"/>
              <a:gd name="T47" fmla="*/ 6 h 108"/>
              <a:gd name="T48" fmla="*/ 66 w 96"/>
              <a:gd name="T49" fmla="*/ 6 h 108"/>
              <a:gd name="T50" fmla="*/ 66 w 96"/>
              <a:gd name="T51" fmla="*/ 12 h 108"/>
              <a:gd name="T52" fmla="*/ 66 w 96"/>
              <a:gd name="T53" fmla="*/ 12 h 108"/>
              <a:gd name="T54" fmla="*/ 66 w 96"/>
              <a:gd name="T55" fmla="*/ 24 h 108"/>
              <a:gd name="T56" fmla="*/ 66 w 96"/>
              <a:gd name="T57" fmla="*/ 30 h 108"/>
              <a:gd name="T58" fmla="*/ 66 w 96"/>
              <a:gd name="T59" fmla="*/ 30 h 108"/>
              <a:gd name="T60" fmla="*/ 66 w 96"/>
              <a:gd name="T61" fmla="*/ 36 h 108"/>
              <a:gd name="T62" fmla="*/ 66 w 96"/>
              <a:gd name="T63" fmla="*/ 36 h 108"/>
              <a:gd name="T64" fmla="*/ 66 w 96"/>
              <a:gd name="T65" fmla="*/ 42 h 108"/>
              <a:gd name="T66" fmla="*/ 66 w 96"/>
              <a:gd name="T67" fmla="*/ 42 h 108"/>
              <a:gd name="T68" fmla="*/ 66 w 96"/>
              <a:gd name="T69" fmla="*/ 42 h 108"/>
              <a:gd name="T70" fmla="*/ 72 w 96"/>
              <a:gd name="T71" fmla="*/ 48 h 108"/>
              <a:gd name="T72" fmla="*/ 72 w 96"/>
              <a:gd name="T73" fmla="*/ 48 h 108"/>
              <a:gd name="T74" fmla="*/ 78 w 96"/>
              <a:gd name="T75" fmla="*/ 48 h 108"/>
              <a:gd name="T76" fmla="*/ 84 w 96"/>
              <a:gd name="T77" fmla="*/ 48 h 108"/>
              <a:gd name="T78" fmla="*/ 90 w 96"/>
              <a:gd name="T79" fmla="*/ 54 h 108"/>
              <a:gd name="T80" fmla="*/ 90 w 96"/>
              <a:gd name="T81" fmla="*/ 54 h 108"/>
              <a:gd name="T82" fmla="*/ 96 w 96"/>
              <a:gd name="T83" fmla="*/ 54 h 108"/>
              <a:gd name="T84" fmla="*/ 96 w 96"/>
              <a:gd name="T85" fmla="*/ 60 h 108"/>
              <a:gd name="T86" fmla="*/ 90 w 96"/>
              <a:gd name="T87" fmla="*/ 66 h 108"/>
              <a:gd name="T88" fmla="*/ 84 w 96"/>
              <a:gd name="T89" fmla="*/ 66 h 108"/>
              <a:gd name="T90" fmla="*/ 84 w 96"/>
              <a:gd name="T91" fmla="*/ 84 h 108"/>
              <a:gd name="T92" fmla="*/ 78 w 96"/>
              <a:gd name="T93" fmla="*/ 90 h 108"/>
              <a:gd name="T94" fmla="*/ 72 w 96"/>
              <a:gd name="T95" fmla="*/ 96 h 108"/>
              <a:gd name="T96" fmla="*/ 60 w 96"/>
              <a:gd name="T97" fmla="*/ 78 h 108"/>
              <a:gd name="T98" fmla="*/ 48 w 96"/>
              <a:gd name="T99" fmla="*/ 66 h 108"/>
              <a:gd name="T100" fmla="*/ 42 w 96"/>
              <a:gd name="T101" fmla="*/ 66 h 108"/>
              <a:gd name="T102" fmla="*/ 36 w 96"/>
              <a:gd name="T103" fmla="*/ 66 h 108"/>
              <a:gd name="T104" fmla="*/ 30 w 96"/>
              <a:gd name="T105" fmla="*/ 72 h 108"/>
              <a:gd name="T106" fmla="*/ 24 w 96"/>
              <a:gd name="T107" fmla="*/ 72 h 108"/>
              <a:gd name="T108" fmla="*/ 18 w 96"/>
              <a:gd name="T109" fmla="*/ 72 h 108"/>
              <a:gd name="T110" fmla="*/ 12 w 96"/>
              <a:gd name="T111" fmla="*/ 72 h 108"/>
              <a:gd name="T112" fmla="*/ 12 w 96"/>
              <a:gd name="T113" fmla="*/ 66 h 108"/>
              <a:gd name="T114" fmla="*/ 0 w 96"/>
              <a:gd name="T115" fmla="*/ 72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96" h="108">
                <a:moveTo>
                  <a:pt x="0" y="72"/>
                </a:move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0" y="60"/>
                </a:lnTo>
                <a:lnTo>
                  <a:pt x="0" y="54"/>
                </a:lnTo>
                <a:lnTo>
                  <a:pt x="6" y="54"/>
                </a:lnTo>
                <a:lnTo>
                  <a:pt x="0" y="54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0"/>
                </a:lnTo>
                <a:lnTo>
                  <a:pt x="18" y="36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0"/>
                </a:lnTo>
                <a:lnTo>
                  <a:pt x="36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6"/>
                </a:lnTo>
                <a:lnTo>
                  <a:pt x="54" y="0"/>
                </a:lnTo>
                <a:lnTo>
                  <a:pt x="60" y="0"/>
                </a:lnTo>
                <a:lnTo>
                  <a:pt x="60" y="0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8"/>
                </a:lnTo>
                <a:lnTo>
                  <a:pt x="72" y="42"/>
                </a:lnTo>
                <a:lnTo>
                  <a:pt x="72" y="42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54"/>
                </a:lnTo>
                <a:lnTo>
                  <a:pt x="84" y="54"/>
                </a:lnTo>
                <a:lnTo>
                  <a:pt x="84" y="48"/>
                </a:lnTo>
                <a:lnTo>
                  <a:pt x="84" y="48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0" y="60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84" y="66"/>
                </a:lnTo>
                <a:lnTo>
                  <a:pt x="84" y="66"/>
                </a:lnTo>
                <a:lnTo>
                  <a:pt x="84" y="72"/>
                </a:lnTo>
                <a:lnTo>
                  <a:pt x="90" y="84"/>
                </a:lnTo>
                <a:lnTo>
                  <a:pt x="90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90"/>
                </a:lnTo>
                <a:lnTo>
                  <a:pt x="84" y="90"/>
                </a:lnTo>
                <a:lnTo>
                  <a:pt x="78" y="90"/>
                </a:lnTo>
                <a:lnTo>
                  <a:pt x="78" y="90"/>
                </a:lnTo>
                <a:lnTo>
                  <a:pt x="72" y="90"/>
                </a:lnTo>
                <a:lnTo>
                  <a:pt x="78" y="96"/>
                </a:lnTo>
                <a:lnTo>
                  <a:pt x="78" y="108"/>
                </a:lnTo>
                <a:lnTo>
                  <a:pt x="72" y="96"/>
                </a:lnTo>
                <a:lnTo>
                  <a:pt x="72" y="96"/>
                </a:lnTo>
                <a:lnTo>
                  <a:pt x="60" y="90"/>
                </a:lnTo>
                <a:lnTo>
                  <a:pt x="66" y="90"/>
                </a:lnTo>
                <a:lnTo>
                  <a:pt x="60" y="84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54" y="72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72"/>
                </a:lnTo>
                <a:lnTo>
                  <a:pt x="36" y="66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66"/>
                </a:lnTo>
                <a:lnTo>
                  <a:pt x="12" y="66"/>
                </a:lnTo>
                <a:lnTo>
                  <a:pt x="12" y="72"/>
                </a:lnTo>
                <a:lnTo>
                  <a:pt x="12" y="66"/>
                </a:lnTo>
                <a:lnTo>
                  <a:pt x="12" y="66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01" name="Freeform 334"/>
          <p:cNvSpPr>
            <a:spLocks/>
          </p:cNvSpPr>
          <p:nvPr/>
        </p:nvSpPr>
        <p:spPr bwMode="auto">
          <a:xfrm>
            <a:off x="7699829" y="4218517"/>
            <a:ext cx="64240" cy="70665"/>
          </a:xfrm>
          <a:custGeom>
            <a:avLst/>
            <a:gdLst>
              <a:gd name="T0" fmla="*/ 0 w 60"/>
              <a:gd name="T1" fmla="*/ 36 h 66"/>
              <a:gd name="T2" fmla="*/ 0 w 60"/>
              <a:gd name="T3" fmla="*/ 30 h 66"/>
              <a:gd name="T4" fmla="*/ 6 w 60"/>
              <a:gd name="T5" fmla="*/ 30 h 66"/>
              <a:gd name="T6" fmla="*/ 6 w 60"/>
              <a:gd name="T7" fmla="*/ 24 h 66"/>
              <a:gd name="T8" fmla="*/ 0 w 60"/>
              <a:gd name="T9" fmla="*/ 24 h 66"/>
              <a:gd name="T10" fmla="*/ 0 w 60"/>
              <a:gd name="T11" fmla="*/ 18 h 66"/>
              <a:gd name="T12" fmla="*/ 0 w 60"/>
              <a:gd name="T13" fmla="*/ 12 h 66"/>
              <a:gd name="T14" fmla="*/ 0 w 60"/>
              <a:gd name="T15" fmla="*/ 12 h 66"/>
              <a:gd name="T16" fmla="*/ 6 w 60"/>
              <a:gd name="T17" fmla="*/ 12 h 66"/>
              <a:gd name="T18" fmla="*/ 6 w 60"/>
              <a:gd name="T19" fmla="*/ 12 h 66"/>
              <a:gd name="T20" fmla="*/ 12 w 60"/>
              <a:gd name="T21" fmla="*/ 6 h 66"/>
              <a:gd name="T22" fmla="*/ 12 w 60"/>
              <a:gd name="T23" fmla="*/ 6 h 66"/>
              <a:gd name="T24" fmla="*/ 18 w 60"/>
              <a:gd name="T25" fmla="*/ 6 h 66"/>
              <a:gd name="T26" fmla="*/ 24 w 60"/>
              <a:gd name="T27" fmla="*/ 6 h 66"/>
              <a:gd name="T28" fmla="*/ 24 w 60"/>
              <a:gd name="T29" fmla="*/ 0 h 66"/>
              <a:gd name="T30" fmla="*/ 24 w 60"/>
              <a:gd name="T31" fmla="*/ 6 h 66"/>
              <a:gd name="T32" fmla="*/ 30 w 60"/>
              <a:gd name="T33" fmla="*/ 6 h 66"/>
              <a:gd name="T34" fmla="*/ 36 w 60"/>
              <a:gd name="T35" fmla="*/ 6 h 66"/>
              <a:gd name="T36" fmla="*/ 36 w 60"/>
              <a:gd name="T37" fmla="*/ 6 h 66"/>
              <a:gd name="T38" fmla="*/ 42 w 60"/>
              <a:gd name="T39" fmla="*/ 0 h 66"/>
              <a:gd name="T40" fmla="*/ 48 w 60"/>
              <a:gd name="T41" fmla="*/ 6 h 66"/>
              <a:gd name="T42" fmla="*/ 48 w 60"/>
              <a:gd name="T43" fmla="*/ 6 h 66"/>
              <a:gd name="T44" fmla="*/ 48 w 60"/>
              <a:gd name="T45" fmla="*/ 6 h 66"/>
              <a:gd name="T46" fmla="*/ 42 w 60"/>
              <a:gd name="T47" fmla="*/ 12 h 66"/>
              <a:gd name="T48" fmla="*/ 48 w 60"/>
              <a:gd name="T49" fmla="*/ 12 h 66"/>
              <a:gd name="T50" fmla="*/ 48 w 60"/>
              <a:gd name="T51" fmla="*/ 18 h 66"/>
              <a:gd name="T52" fmla="*/ 42 w 60"/>
              <a:gd name="T53" fmla="*/ 24 h 66"/>
              <a:gd name="T54" fmla="*/ 42 w 60"/>
              <a:gd name="T55" fmla="*/ 24 h 66"/>
              <a:gd name="T56" fmla="*/ 48 w 60"/>
              <a:gd name="T57" fmla="*/ 36 h 66"/>
              <a:gd name="T58" fmla="*/ 48 w 60"/>
              <a:gd name="T59" fmla="*/ 48 h 66"/>
              <a:gd name="T60" fmla="*/ 54 w 60"/>
              <a:gd name="T61" fmla="*/ 48 h 66"/>
              <a:gd name="T62" fmla="*/ 60 w 60"/>
              <a:gd name="T63" fmla="*/ 48 h 66"/>
              <a:gd name="T64" fmla="*/ 60 w 60"/>
              <a:gd name="T65" fmla="*/ 60 h 66"/>
              <a:gd name="T66" fmla="*/ 54 w 60"/>
              <a:gd name="T67" fmla="*/ 60 h 66"/>
              <a:gd name="T68" fmla="*/ 48 w 60"/>
              <a:gd name="T69" fmla="*/ 60 h 66"/>
              <a:gd name="T70" fmla="*/ 48 w 60"/>
              <a:gd name="T71" fmla="*/ 60 h 66"/>
              <a:gd name="T72" fmla="*/ 42 w 60"/>
              <a:gd name="T73" fmla="*/ 60 h 66"/>
              <a:gd name="T74" fmla="*/ 36 w 60"/>
              <a:gd name="T75" fmla="*/ 66 h 66"/>
              <a:gd name="T76" fmla="*/ 36 w 60"/>
              <a:gd name="T77" fmla="*/ 66 h 66"/>
              <a:gd name="T78" fmla="*/ 36 w 60"/>
              <a:gd name="T79" fmla="*/ 60 h 66"/>
              <a:gd name="T80" fmla="*/ 30 w 60"/>
              <a:gd name="T81" fmla="*/ 60 h 66"/>
              <a:gd name="T82" fmla="*/ 30 w 60"/>
              <a:gd name="T83" fmla="*/ 60 h 66"/>
              <a:gd name="T84" fmla="*/ 30 w 60"/>
              <a:gd name="T85" fmla="*/ 60 h 66"/>
              <a:gd name="T86" fmla="*/ 30 w 60"/>
              <a:gd name="T87" fmla="*/ 54 h 66"/>
              <a:gd name="T88" fmla="*/ 30 w 60"/>
              <a:gd name="T89" fmla="*/ 54 h 66"/>
              <a:gd name="T90" fmla="*/ 24 w 60"/>
              <a:gd name="T91" fmla="*/ 48 h 66"/>
              <a:gd name="T92" fmla="*/ 18 w 60"/>
              <a:gd name="T93" fmla="*/ 42 h 66"/>
              <a:gd name="T94" fmla="*/ 18 w 60"/>
              <a:gd name="T95" fmla="*/ 36 h 66"/>
              <a:gd name="T96" fmla="*/ 6 w 60"/>
              <a:gd name="T97" fmla="*/ 36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60" h="66">
                <a:moveTo>
                  <a:pt x="0" y="42"/>
                </a:moveTo>
                <a:lnTo>
                  <a:pt x="0" y="42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6" y="24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24" y="6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0"/>
                </a:lnTo>
                <a:lnTo>
                  <a:pt x="42" y="0"/>
                </a:lnTo>
                <a:lnTo>
                  <a:pt x="48" y="0"/>
                </a:lnTo>
                <a:lnTo>
                  <a:pt x="48" y="0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2" y="18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42"/>
                </a:lnTo>
                <a:lnTo>
                  <a:pt x="48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0" y="66"/>
                </a:lnTo>
                <a:lnTo>
                  <a:pt x="30" y="66"/>
                </a:lnTo>
                <a:lnTo>
                  <a:pt x="36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48"/>
                </a:lnTo>
                <a:lnTo>
                  <a:pt x="24" y="48"/>
                </a:lnTo>
                <a:lnTo>
                  <a:pt x="24" y="42"/>
                </a:lnTo>
                <a:lnTo>
                  <a:pt x="18" y="42"/>
                </a:lnTo>
                <a:lnTo>
                  <a:pt x="18" y="42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2" y="36"/>
                </a:lnTo>
                <a:lnTo>
                  <a:pt x="12" y="36"/>
                </a:lnTo>
                <a:lnTo>
                  <a:pt x="6" y="36"/>
                </a:lnTo>
                <a:lnTo>
                  <a:pt x="0" y="4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02" name="Freeform 335"/>
          <p:cNvSpPr>
            <a:spLocks/>
          </p:cNvSpPr>
          <p:nvPr/>
        </p:nvSpPr>
        <p:spPr bwMode="auto">
          <a:xfrm>
            <a:off x="7828310" y="4057915"/>
            <a:ext cx="141329" cy="128482"/>
          </a:xfrm>
          <a:custGeom>
            <a:avLst/>
            <a:gdLst>
              <a:gd name="T0" fmla="*/ 6 w 132"/>
              <a:gd name="T1" fmla="*/ 72 h 120"/>
              <a:gd name="T2" fmla="*/ 6 w 132"/>
              <a:gd name="T3" fmla="*/ 60 h 120"/>
              <a:gd name="T4" fmla="*/ 12 w 132"/>
              <a:gd name="T5" fmla="*/ 48 h 120"/>
              <a:gd name="T6" fmla="*/ 18 w 132"/>
              <a:gd name="T7" fmla="*/ 42 h 120"/>
              <a:gd name="T8" fmla="*/ 24 w 132"/>
              <a:gd name="T9" fmla="*/ 36 h 120"/>
              <a:gd name="T10" fmla="*/ 48 w 132"/>
              <a:gd name="T11" fmla="*/ 54 h 120"/>
              <a:gd name="T12" fmla="*/ 54 w 132"/>
              <a:gd name="T13" fmla="*/ 36 h 120"/>
              <a:gd name="T14" fmla="*/ 60 w 132"/>
              <a:gd name="T15" fmla="*/ 30 h 120"/>
              <a:gd name="T16" fmla="*/ 60 w 132"/>
              <a:gd name="T17" fmla="*/ 12 h 120"/>
              <a:gd name="T18" fmla="*/ 60 w 132"/>
              <a:gd name="T19" fmla="*/ 6 h 120"/>
              <a:gd name="T20" fmla="*/ 66 w 132"/>
              <a:gd name="T21" fmla="*/ 6 h 120"/>
              <a:gd name="T22" fmla="*/ 72 w 132"/>
              <a:gd name="T23" fmla="*/ 0 h 120"/>
              <a:gd name="T24" fmla="*/ 78 w 132"/>
              <a:gd name="T25" fmla="*/ 0 h 120"/>
              <a:gd name="T26" fmla="*/ 78 w 132"/>
              <a:gd name="T27" fmla="*/ 0 h 120"/>
              <a:gd name="T28" fmla="*/ 84 w 132"/>
              <a:gd name="T29" fmla="*/ 0 h 120"/>
              <a:gd name="T30" fmla="*/ 90 w 132"/>
              <a:gd name="T31" fmla="*/ 0 h 120"/>
              <a:gd name="T32" fmla="*/ 96 w 132"/>
              <a:gd name="T33" fmla="*/ 6 h 120"/>
              <a:gd name="T34" fmla="*/ 96 w 132"/>
              <a:gd name="T35" fmla="*/ 6 h 120"/>
              <a:gd name="T36" fmla="*/ 102 w 132"/>
              <a:gd name="T37" fmla="*/ 6 h 120"/>
              <a:gd name="T38" fmla="*/ 102 w 132"/>
              <a:gd name="T39" fmla="*/ 6 h 120"/>
              <a:gd name="T40" fmla="*/ 102 w 132"/>
              <a:gd name="T41" fmla="*/ 6 h 120"/>
              <a:gd name="T42" fmla="*/ 108 w 132"/>
              <a:gd name="T43" fmla="*/ 6 h 120"/>
              <a:gd name="T44" fmla="*/ 108 w 132"/>
              <a:gd name="T45" fmla="*/ 6 h 120"/>
              <a:gd name="T46" fmla="*/ 108 w 132"/>
              <a:gd name="T47" fmla="*/ 6 h 120"/>
              <a:gd name="T48" fmla="*/ 114 w 132"/>
              <a:gd name="T49" fmla="*/ 0 h 120"/>
              <a:gd name="T50" fmla="*/ 120 w 132"/>
              <a:gd name="T51" fmla="*/ 6 h 120"/>
              <a:gd name="T52" fmla="*/ 126 w 132"/>
              <a:gd name="T53" fmla="*/ 6 h 120"/>
              <a:gd name="T54" fmla="*/ 132 w 132"/>
              <a:gd name="T55" fmla="*/ 12 h 120"/>
              <a:gd name="T56" fmla="*/ 132 w 132"/>
              <a:gd name="T57" fmla="*/ 12 h 120"/>
              <a:gd name="T58" fmla="*/ 132 w 132"/>
              <a:gd name="T59" fmla="*/ 18 h 120"/>
              <a:gd name="T60" fmla="*/ 132 w 132"/>
              <a:gd name="T61" fmla="*/ 24 h 120"/>
              <a:gd name="T62" fmla="*/ 126 w 132"/>
              <a:gd name="T63" fmla="*/ 36 h 120"/>
              <a:gd name="T64" fmla="*/ 126 w 132"/>
              <a:gd name="T65" fmla="*/ 54 h 120"/>
              <a:gd name="T66" fmla="*/ 126 w 132"/>
              <a:gd name="T67" fmla="*/ 54 h 120"/>
              <a:gd name="T68" fmla="*/ 132 w 132"/>
              <a:gd name="T69" fmla="*/ 96 h 120"/>
              <a:gd name="T70" fmla="*/ 120 w 132"/>
              <a:gd name="T71" fmla="*/ 108 h 120"/>
              <a:gd name="T72" fmla="*/ 108 w 132"/>
              <a:gd name="T73" fmla="*/ 114 h 120"/>
              <a:gd name="T74" fmla="*/ 108 w 132"/>
              <a:gd name="T75" fmla="*/ 120 h 120"/>
              <a:gd name="T76" fmla="*/ 102 w 132"/>
              <a:gd name="T77" fmla="*/ 120 h 120"/>
              <a:gd name="T78" fmla="*/ 102 w 132"/>
              <a:gd name="T79" fmla="*/ 120 h 120"/>
              <a:gd name="T80" fmla="*/ 96 w 132"/>
              <a:gd name="T81" fmla="*/ 120 h 120"/>
              <a:gd name="T82" fmla="*/ 72 w 132"/>
              <a:gd name="T83" fmla="*/ 102 h 120"/>
              <a:gd name="T84" fmla="*/ 66 w 132"/>
              <a:gd name="T85" fmla="*/ 102 h 120"/>
              <a:gd name="T86" fmla="*/ 54 w 132"/>
              <a:gd name="T87" fmla="*/ 114 h 120"/>
              <a:gd name="T88" fmla="*/ 48 w 132"/>
              <a:gd name="T89" fmla="*/ 114 h 120"/>
              <a:gd name="T90" fmla="*/ 42 w 132"/>
              <a:gd name="T91" fmla="*/ 114 h 120"/>
              <a:gd name="T92" fmla="*/ 36 w 132"/>
              <a:gd name="T93" fmla="*/ 114 h 120"/>
              <a:gd name="T94" fmla="*/ 30 w 132"/>
              <a:gd name="T95" fmla="*/ 114 h 120"/>
              <a:gd name="T96" fmla="*/ 30 w 132"/>
              <a:gd name="T97" fmla="*/ 108 h 120"/>
              <a:gd name="T98" fmla="*/ 30 w 132"/>
              <a:gd name="T99" fmla="*/ 108 h 120"/>
              <a:gd name="T100" fmla="*/ 36 w 132"/>
              <a:gd name="T101" fmla="*/ 102 h 120"/>
              <a:gd name="T102" fmla="*/ 36 w 132"/>
              <a:gd name="T103" fmla="*/ 90 h 120"/>
              <a:gd name="T104" fmla="*/ 36 w 132"/>
              <a:gd name="T105" fmla="*/ 90 h 120"/>
              <a:gd name="T106" fmla="*/ 18 w 132"/>
              <a:gd name="T107" fmla="*/ 90 h 120"/>
              <a:gd name="T108" fmla="*/ 12 w 132"/>
              <a:gd name="T109" fmla="*/ 84 h 120"/>
              <a:gd name="T110" fmla="*/ 6 w 132"/>
              <a:gd name="T111" fmla="*/ 90 h 120"/>
              <a:gd name="T112" fmla="*/ 6 w 132"/>
              <a:gd name="T113" fmla="*/ 84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32" h="120">
                <a:moveTo>
                  <a:pt x="0" y="78"/>
                </a:move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2"/>
                </a:lnTo>
                <a:lnTo>
                  <a:pt x="18" y="42"/>
                </a:lnTo>
                <a:lnTo>
                  <a:pt x="24" y="42"/>
                </a:lnTo>
                <a:lnTo>
                  <a:pt x="24" y="42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30" y="36"/>
                </a:lnTo>
                <a:lnTo>
                  <a:pt x="42" y="42"/>
                </a:lnTo>
                <a:lnTo>
                  <a:pt x="42" y="42"/>
                </a:lnTo>
                <a:lnTo>
                  <a:pt x="48" y="54"/>
                </a:lnTo>
                <a:lnTo>
                  <a:pt x="48" y="42"/>
                </a:lnTo>
                <a:lnTo>
                  <a:pt x="42" y="36"/>
                </a:lnTo>
                <a:lnTo>
                  <a:pt x="48" y="36"/>
                </a:lnTo>
                <a:lnTo>
                  <a:pt x="48" y="36"/>
                </a:lnTo>
                <a:lnTo>
                  <a:pt x="54" y="36"/>
                </a:lnTo>
                <a:lnTo>
                  <a:pt x="54" y="36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60" y="30"/>
                </a:lnTo>
                <a:lnTo>
                  <a:pt x="60" y="30"/>
                </a:lnTo>
                <a:lnTo>
                  <a:pt x="54" y="18"/>
                </a:lnTo>
                <a:lnTo>
                  <a:pt x="54" y="12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0"/>
                </a:lnTo>
                <a:lnTo>
                  <a:pt x="66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90" y="0"/>
                </a:lnTo>
                <a:lnTo>
                  <a:pt x="90" y="6"/>
                </a:lnTo>
                <a:lnTo>
                  <a:pt x="90" y="0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0"/>
                </a:lnTo>
                <a:lnTo>
                  <a:pt x="114" y="6"/>
                </a:lnTo>
                <a:lnTo>
                  <a:pt x="120" y="0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32" y="6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8"/>
                </a:lnTo>
                <a:lnTo>
                  <a:pt x="132" y="18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26" y="30"/>
                </a:lnTo>
                <a:lnTo>
                  <a:pt x="126" y="30"/>
                </a:lnTo>
                <a:lnTo>
                  <a:pt x="126" y="36"/>
                </a:lnTo>
                <a:lnTo>
                  <a:pt x="126" y="36"/>
                </a:lnTo>
                <a:lnTo>
                  <a:pt x="120" y="36"/>
                </a:lnTo>
                <a:lnTo>
                  <a:pt x="120" y="42"/>
                </a:lnTo>
                <a:lnTo>
                  <a:pt x="120" y="48"/>
                </a:lnTo>
                <a:lnTo>
                  <a:pt x="120" y="48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60"/>
                </a:lnTo>
                <a:lnTo>
                  <a:pt x="126" y="66"/>
                </a:lnTo>
                <a:lnTo>
                  <a:pt x="126" y="78"/>
                </a:lnTo>
                <a:lnTo>
                  <a:pt x="132" y="96"/>
                </a:lnTo>
                <a:lnTo>
                  <a:pt x="132" y="96"/>
                </a:lnTo>
                <a:lnTo>
                  <a:pt x="132" y="102"/>
                </a:lnTo>
                <a:lnTo>
                  <a:pt x="132" y="102"/>
                </a:lnTo>
                <a:lnTo>
                  <a:pt x="132" y="108"/>
                </a:lnTo>
                <a:lnTo>
                  <a:pt x="126" y="108"/>
                </a:lnTo>
                <a:lnTo>
                  <a:pt x="120" y="108"/>
                </a:lnTo>
                <a:lnTo>
                  <a:pt x="120" y="114"/>
                </a:lnTo>
                <a:lnTo>
                  <a:pt x="114" y="114"/>
                </a:lnTo>
                <a:lnTo>
                  <a:pt x="114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14"/>
                </a:lnTo>
                <a:lnTo>
                  <a:pt x="108" y="120"/>
                </a:lnTo>
                <a:lnTo>
                  <a:pt x="108" y="114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14"/>
                </a:lnTo>
                <a:lnTo>
                  <a:pt x="96" y="120"/>
                </a:lnTo>
                <a:lnTo>
                  <a:pt x="96" y="120"/>
                </a:lnTo>
                <a:lnTo>
                  <a:pt x="96" y="114"/>
                </a:lnTo>
                <a:lnTo>
                  <a:pt x="90" y="108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8"/>
                </a:lnTo>
                <a:lnTo>
                  <a:pt x="60" y="108"/>
                </a:lnTo>
                <a:lnTo>
                  <a:pt x="60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08"/>
                </a:lnTo>
                <a:lnTo>
                  <a:pt x="54" y="108"/>
                </a:lnTo>
                <a:lnTo>
                  <a:pt x="48" y="114"/>
                </a:lnTo>
                <a:lnTo>
                  <a:pt x="48" y="108"/>
                </a:lnTo>
                <a:lnTo>
                  <a:pt x="48" y="114"/>
                </a:lnTo>
                <a:lnTo>
                  <a:pt x="48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96"/>
                </a:lnTo>
                <a:lnTo>
                  <a:pt x="36" y="96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0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18" y="90"/>
                </a:lnTo>
                <a:lnTo>
                  <a:pt x="18" y="90"/>
                </a:lnTo>
                <a:lnTo>
                  <a:pt x="12" y="90"/>
                </a:lnTo>
                <a:lnTo>
                  <a:pt x="12" y="90"/>
                </a:lnTo>
                <a:lnTo>
                  <a:pt x="12" y="84"/>
                </a:lnTo>
                <a:lnTo>
                  <a:pt x="12" y="84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0" y="7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03" name="Freeform 336"/>
          <p:cNvSpPr>
            <a:spLocks/>
          </p:cNvSpPr>
          <p:nvPr/>
        </p:nvSpPr>
        <p:spPr bwMode="auto">
          <a:xfrm>
            <a:off x="7731949" y="4128580"/>
            <a:ext cx="70665" cy="57817"/>
          </a:xfrm>
          <a:custGeom>
            <a:avLst/>
            <a:gdLst>
              <a:gd name="T0" fmla="*/ 0 w 66"/>
              <a:gd name="T1" fmla="*/ 36 h 54"/>
              <a:gd name="T2" fmla="*/ 0 w 66"/>
              <a:gd name="T3" fmla="*/ 30 h 54"/>
              <a:gd name="T4" fmla="*/ 0 w 66"/>
              <a:gd name="T5" fmla="*/ 30 h 54"/>
              <a:gd name="T6" fmla="*/ 0 w 66"/>
              <a:gd name="T7" fmla="*/ 30 h 54"/>
              <a:gd name="T8" fmla="*/ 0 w 66"/>
              <a:gd name="T9" fmla="*/ 24 h 54"/>
              <a:gd name="T10" fmla="*/ 0 w 66"/>
              <a:gd name="T11" fmla="*/ 24 h 54"/>
              <a:gd name="T12" fmla="*/ 0 w 66"/>
              <a:gd name="T13" fmla="*/ 24 h 54"/>
              <a:gd name="T14" fmla="*/ 6 w 66"/>
              <a:gd name="T15" fmla="*/ 18 h 54"/>
              <a:gd name="T16" fmla="*/ 12 w 66"/>
              <a:gd name="T17" fmla="*/ 18 h 54"/>
              <a:gd name="T18" fmla="*/ 12 w 66"/>
              <a:gd name="T19" fmla="*/ 18 h 54"/>
              <a:gd name="T20" fmla="*/ 18 w 66"/>
              <a:gd name="T21" fmla="*/ 12 h 54"/>
              <a:gd name="T22" fmla="*/ 30 w 66"/>
              <a:gd name="T23" fmla="*/ 12 h 54"/>
              <a:gd name="T24" fmla="*/ 42 w 66"/>
              <a:gd name="T25" fmla="*/ 6 h 54"/>
              <a:gd name="T26" fmla="*/ 42 w 66"/>
              <a:gd name="T27" fmla="*/ 6 h 54"/>
              <a:gd name="T28" fmla="*/ 48 w 66"/>
              <a:gd name="T29" fmla="*/ 6 h 54"/>
              <a:gd name="T30" fmla="*/ 54 w 66"/>
              <a:gd name="T31" fmla="*/ 0 h 54"/>
              <a:gd name="T32" fmla="*/ 54 w 66"/>
              <a:gd name="T33" fmla="*/ 0 h 54"/>
              <a:gd name="T34" fmla="*/ 60 w 66"/>
              <a:gd name="T35" fmla="*/ 0 h 54"/>
              <a:gd name="T36" fmla="*/ 66 w 66"/>
              <a:gd name="T37" fmla="*/ 12 h 54"/>
              <a:gd name="T38" fmla="*/ 66 w 66"/>
              <a:gd name="T39" fmla="*/ 18 h 54"/>
              <a:gd name="T40" fmla="*/ 66 w 66"/>
              <a:gd name="T41" fmla="*/ 24 h 54"/>
              <a:gd name="T42" fmla="*/ 66 w 66"/>
              <a:gd name="T43" fmla="*/ 24 h 54"/>
              <a:gd name="T44" fmla="*/ 60 w 66"/>
              <a:gd name="T45" fmla="*/ 24 h 54"/>
              <a:gd name="T46" fmla="*/ 60 w 66"/>
              <a:gd name="T47" fmla="*/ 24 h 54"/>
              <a:gd name="T48" fmla="*/ 60 w 66"/>
              <a:gd name="T49" fmla="*/ 24 h 54"/>
              <a:gd name="T50" fmla="*/ 60 w 66"/>
              <a:gd name="T51" fmla="*/ 24 h 54"/>
              <a:gd name="T52" fmla="*/ 60 w 66"/>
              <a:gd name="T53" fmla="*/ 30 h 54"/>
              <a:gd name="T54" fmla="*/ 60 w 66"/>
              <a:gd name="T55" fmla="*/ 30 h 54"/>
              <a:gd name="T56" fmla="*/ 60 w 66"/>
              <a:gd name="T57" fmla="*/ 30 h 54"/>
              <a:gd name="T58" fmla="*/ 60 w 66"/>
              <a:gd name="T59" fmla="*/ 36 h 54"/>
              <a:gd name="T60" fmla="*/ 60 w 66"/>
              <a:gd name="T61" fmla="*/ 36 h 54"/>
              <a:gd name="T62" fmla="*/ 60 w 66"/>
              <a:gd name="T63" fmla="*/ 36 h 54"/>
              <a:gd name="T64" fmla="*/ 60 w 66"/>
              <a:gd name="T65" fmla="*/ 42 h 54"/>
              <a:gd name="T66" fmla="*/ 60 w 66"/>
              <a:gd name="T67" fmla="*/ 42 h 54"/>
              <a:gd name="T68" fmla="*/ 60 w 66"/>
              <a:gd name="T69" fmla="*/ 42 h 54"/>
              <a:gd name="T70" fmla="*/ 54 w 66"/>
              <a:gd name="T71" fmla="*/ 42 h 54"/>
              <a:gd name="T72" fmla="*/ 54 w 66"/>
              <a:gd name="T73" fmla="*/ 48 h 54"/>
              <a:gd name="T74" fmla="*/ 54 w 66"/>
              <a:gd name="T75" fmla="*/ 48 h 54"/>
              <a:gd name="T76" fmla="*/ 54 w 66"/>
              <a:gd name="T77" fmla="*/ 54 h 54"/>
              <a:gd name="T78" fmla="*/ 54 w 66"/>
              <a:gd name="T79" fmla="*/ 54 h 54"/>
              <a:gd name="T80" fmla="*/ 54 w 66"/>
              <a:gd name="T81" fmla="*/ 54 h 54"/>
              <a:gd name="T82" fmla="*/ 54 w 66"/>
              <a:gd name="T83" fmla="*/ 54 h 54"/>
              <a:gd name="T84" fmla="*/ 48 w 66"/>
              <a:gd name="T85" fmla="*/ 54 h 54"/>
              <a:gd name="T86" fmla="*/ 48 w 66"/>
              <a:gd name="T87" fmla="*/ 54 h 54"/>
              <a:gd name="T88" fmla="*/ 48 w 66"/>
              <a:gd name="T89" fmla="*/ 54 h 54"/>
              <a:gd name="T90" fmla="*/ 42 w 66"/>
              <a:gd name="T91" fmla="*/ 54 h 54"/>
              <a:gd name="T92" fmla="*/ 42 w 66"/>
              <a:gd name="T93" fmla="*/ 54 h 54"/>
              <a:gd name="T94" fmla="*/ 36 w 66"/>
              <a:gd name="T95" fmla="*/ 42 h 54"/>
              <a:gd name="T96" fmla="*/ 24 w 66"/>
              <a:gd name="T97" fmla="*/ 30 h 54"/>
              <a:gd name="T98" fmla="*/ 24 w 66"/>
              <a:gd name="T99" fmla="*/ 24 h 54"/>
              <a:gd name="T100" fmla="*/ 24 w 66"/>
              <a:gd name="T101" fmla="*/ 30 h 54"/>
              <a:gd name="T102" fmla="*/ 18 w 66"/>
              <a:gd name="T103" fmla="*/ 30 h 54"/>
              <a:gd name="T104" fmla="*/ 18 w 66"/>
              <a:gd name="T105" fmla="*/ 30 h 54"/>
              <a:gd name="T106" fmla="*/ 18 w 66"/>
              <a:gd name="T107" fmla="*/ 30 h 54"/>
              <a:gd name="T108" fmla="*/ 18 w 66"/>
              <a:gd name="T109" fmla="*/ 30 h 54"/>
              <a:gd name="T110" fmla="*/ 18 w 66"/>
              <a:gd name="T111" fmla="*/ 36 h 54"/>
              <a:gd name="T112" fmla="*/ 18 w 66"/>
              <a:gd name="T113" fmla="*/ 36 h 54"/>
              <a:gd name="T114" fmla="*/ 18 w 66"/>
              <a:gd name="T115" fmla="*/ 36 h 54"/>
              <a:gd name="T116" fmla="*/ 18 w 66"/>
              <a:gd name="T117" fmla="*/ 36 h 54"/>
              <a:gd name="T118" fmla="*/ 18 w 66"/>
              <a:gd name="T119" fmla="*/ 36 h 54"/>
              <a:gd name="T120" fmla="*/ 18 w 66"/>
              <a:gd name="T121" fmla="*/ 36 h 54"/>
              <a:gd name="T122" fmla="*/ 12 w 66"/>
              <a:gd name="T123" fmla="*/ 42 h 54"/>
              <a:gd name="T124" fmla="*/ 6 w 66"/>
              <a:gd name="T125" fmla="*/ 36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6" h="54">
                <a:moveTo>
                  <a:pt x="0" y="36"/>
                </a:moveTo>
                <a:lnTo>
                  <a:pt x="0" y="36"/>
                </a:lnTo>
                <a:lnTo>
                  <a:pt x="0" y="36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6" y="24"/>
                </a:lnTo>
                <a:lnTo>
                  <a:pt x="6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8" y="12"/>
                </a:lnTo>
                <a:lnTo>
                  <a:pt x="30" y="12"/>
                </a:lnTo>
                <a:lnTo>
                  <a:pt x="30" y="12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60" y="0"/>
                </a:lnTo>
                <a:lnTo>
                  <a:pt x="60" y="0"/>
                </a:lnTo>
                <a:lnTo>
                  <a:pt x="60" y="12"/>
                </a:lnTo>
                <a:lnTo>
                  <a:pt x="66" y="12"/>
                </a:lnTo>
                <a:lnTo>
                  <a:pt x="66" y="18"/>
                </a:lnTo>
                <a:lnTo>
                  <a:pt x="66" y="18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54" y="42"/>
                </a:lnTo>
                <a:lnTo>
                  <a:pt x="60" y="42"/>
                </a:lnTo>
                <a:lnTo>
                  <a:pt x="54" y="42"/>
                </a:lnTo>
                <a:lnTo>
                  <a:pt x="54" y="42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36" y="48"/>
                </a:lnTo>
                <a:lnTo>
                  <a:pt x="36" y="42"/>
                </a:lnTo>
                <a:lnTo>
                  <a:pt x="24" y="30"/>
                </a:lnTo>
                <a:lnTo>
                  <a:pt x="24" y="30"/>
                </a:lnTo>
                <a:lnTo>
                  <a:pt x="24" y="24"/>
                </a:lnTo>
                <a:lnTo>
                  <a:pt x="24" y="24"/>
                </a:lnTo>
                <a:lnTo>
                  <a:pt x="24" y="30"/>
                </a:lnTo>
                <a:lnTo>
                  <a:pt x="24" y="30"/>
                </a:lnTo>
                <a:lnTo>
                  <a:pt x="18" y="24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42"/>
                </a:lnTo>
                <a:lnTo>
                  <a:pt x="12" y="42"/>
                </a:lnTo>
                <a:lnTo>
                  <a:pt x="12" y="42"/>
                </a:lnTo>
                <a:lnTo>
                  <a:pt x="6" y="36"/>
                </a:lnTo>
                <a:lnTo>
                  <a:pt x="0" y="3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04" name="Freeform 337"/>
          <p:cNvSpPr>
            <a:spLocks/>
          </p:cNvSpPr>
          <p:nvPr/>
        </p:nvSpPr>
        <p:spPr bwMode="auto">
          <a:xfrm>
            <a:off x="7744797" y="4218517"/>
            <a:ext cx="109209" cy="51393"/>
          </a:xfrm>
          <a:custGeom>
            <a:avLst/>
            <a:gdLst>
              <a:gd name="T0" fmla="*/ 6 w 102"/>
              <a:gd name="T1" fmla="*/ 18 h 48"/>
              <a:gd name="T2" fmla="*/ 12 w 102"/>
              <a:gd name="T3" fmla="*/ 12 h 48"/>
              <a:gd name="T4" fmla="*/ 12 w 102"/>
              <a:gd name="T5" fmla="*/ 12 h 48"/>
              <a:gd name="T6" fmla="*/ 18 w 102"/>
              <a:gd name="T7" fmla="*/ 12 h 48"/>
              <a:gd name="T8" fmla="*/ 24 w 102"/>
              <a:gd name="T9" fmla="*/ 12 h 48"/>
              <a:gd name="T10" fmla="*/ 30 w 102"/>
              <a:gd name="T11" fmla="*/ 12 h 48"/>
              <a:gd name="T12" fmla="*/ 36 w 102"/>
              <a:gd name="T13" fmla="*/ 12 h 48"/>
              <a:gd name="T14" fmla="*/ 42 w 102"/>
              <a:gd name="T15" fmla="*/ 6 h 48"/>
              <a:gd name="T16" fmla="*/ 42 w 102"/>
              <a:gd name="T17" fmla="*/ 0 h 48"/>
              <a:gd name="T18" fmla="*/ 48 w 102"/>
              <a:gd name="T19" fmla="*/ 0 h 48"/>
              <a:gd name="T20" fmla="*/ 48 w 102"/>
              <a:gd name="T21" fmla="*/ 0 h 48"/>
              <a:gd name="T22" fmla="*/ 48 w 102"/>
              <a:gd name="T23" fmla="*/ 6 h 48"/>
              <a:gd name="T24" fmla="*/ 48 w 102"/>
              <a:gd name="T25" fmla="*/ 6 h 48"/>
              <a:gd name="T26" fmla="*/ 54 w 102"/>
              <a:gd name="T27" fmla="*/ 12 h 48"/>
              <a:gd name="T28" fmla="*/ 60 w 102"/>
              <a:gd name="T29" fmla="*/ 12 h 48"/>
              <a:gd name="T30" fmla="*/ 60 w 102"/>
              <a:gd name="T31" fmla="*/ 6 h 48"/>
              <a:gd name="T32" fmla="*/ 66 w 102"/>
              <a:gd name="T33" fmla="*/ 12 h 48"/>
              <a:gd name="T34" fmla="*/ 66 w 102"/>
              <a:gd name="T35" fmla="*/ 12 h 48"/>
              <a:gd name="T36" fmla="*/ 66 w 102"/>
              <a:gd name="T37" fmla="*/ 12 h 48"/>
              <a:gd name="T38" fmla="*/ 78 w 102"/>
              <a:gd name="T39" fmla="*/ 6 h 48"/>
              <a:gd name="T40" fmla="*/ 84 w 102"/>
              <a:gd name="T41" fmla="*/ 6 h 48"/>
              <a:gd name="T42" fmla="*/ 84 w 102"/>
              <a:gd name="T43" fmla="*/ 6 h 48"/>
              <a:gd name="T44" fmla="*/ 96 w 102"/>
              <a:gd name="T45" fmla="*/ 6 h 48"/>
              <a:gd name="T46" fmla="*/ 96 w 102"/>
              <a:gd name="T47" fmla="*/ 6 h 48"/>
              <a:gd name="T48" fmla="*/ 96 w 102"/>
              <a:gd name="T49" fmla="*/ 12 h 48"/>
              <a:gd name="T50" fmla="*/ 90 w 102"/>
              <a:gd name="T51" fmla="*/ 18 h 48"/>
              <a:gd name="T52" fmla="*/ 90 w 102"/>
              <a:gd name="T53" fmla="*/ 24 h 48"/>
              <a:gd name="T54" fmla="*/ 84 w 102"/>
              <a:gd name="T55" fmla="*/ 24 h 48"/>
              <a:gd name="T56" fmla="*/ 78 w 102"/>
              <a:gd name="T57" fmla="*/ 30 h 48"/>
              <a:gd name="T58" fmla="*/ 78 w 102"/>
              <a:gd name="T59" fmla="*/ 30 h 48"/>
              <a:gd name="T60" fmla="*/ 72 w 102"/>
              <a:gd name="T61" fmla="*/ 30 h 48"/>
              <a:gd name="T62" fmla="*/ 72 w 102"/>
              <a:gd name="T63" fmla="*/ 30 h 48"/>
              <a:gd name="T64" fmla="*/ 66 w 102"/>
              <a:gd name="T65" fmla="*/ 30 h 48"/>
              <a:gd name="T66" fmla="*/ 66 w 102"/>
              <a:gd name="T67" fmla="*/ 30 h 48"/>
              <a:gd name="T68" fmla="*/ 60 w 102"/>
              <a:gd name="T69" fmla="*/ 30 h 48"/>
              <a:gd name="T70" fmla="*/ 60 w 102"/>
              <a:gd name="T71" fmla="*/ 24 h 48"/>
              <a:gd name="T72" fmla="*/ 60 w 102"/>
              <a:gd name="T73" fmla="*/ 24 h 48"/>
              <a:gd name="T74" fmla="*/ 60 w 102"/>
              <a:gd name="T75" fmla="*/ 24 h 48"/>
              <a:gd name="T76" fmla="*/ 54 w 102"/>
              <a:gd name="T77" fmla="*/ 24 h 48"/>
              <a:gd name="T78" fmla="*/ 54 w 102"/>
              <a:gd name="T79" fmla="*/ 30 h 48"/>
              <a:gd name="T80" fmla="*/ 48 w 102"/>
              <a:gd name="T81" fmla="*/ 30 h 48"/>
              <a:gd name="T82" fmla="*/ 48 w 102"/>
              <a:gd name="T83" fmla="*/ 30 h 48"/>
              <a:gd name="T84" fmla="*/ 48 w 102"/>
              <a:gd name="T85" fmla="*/ 30 h 48"/>
              <a:gd name="T86" fmla="*/ 42 w 102"/>
              <a:gd name="T87" fmla="*/ 36 h 48"/>
              <a:gd name="T88" fmla="*/ 36 w 102"/>
              <a:gd name="T89" fmla="*/ 36 h 48"/>
              <a:gd name="T90" fmla="*/ 36 w 102"/>
              <a:gd name="T91" fmla="*/ 48 h 48"/>
              <a:gd name="T92" fmla="*/ 30 w 102"/>
              <a:gd name="T93" fmla="*/ 48 h 48"/>
              <a:gd name="T94" fmla="*/ 24 w 102"/>
              <a:gd name="T95" fmla="*/ 48 h 48"/>
              <a:gd name="T96" fmla="*/ 18 w 102"/>
              <a:gd name="T97" fmla="*/ 48 h 48"/>
              <a:gd name="T98" fmla="*/ 12 w 102"/>
              <a:gd name="T99" fmla="*/ 48 h 48"/>
              <a:gd name="T100" fmla="*/ 6 w 102"/>
              <a:gd name="T101" fmla="*/ 42 h 48"/>
              <a:gd name="T102" fmla="*/ 6 w 102"/>
              <a:gd name="T103" fmla="*/ 36 h 48"/>
              <a:gd name="T104" fmla="*/ 0 w 102"/>
              <a:gd name="T105" fmla="*/ 24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02" h="48">
                <a:moveTo>
                  <a:pt x="0" y="18"/>
                </a:move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90" y="6"/>
                </a:lnTo>
                <a:lnTo>
                  <a:pt x="90" y="6"/>
                </a:lnTo>
                <a:lnTo>
                  <a:pt x="96" y="12"/>
                </a:lnTo>
                <a:lnTo>
                  <a:pt x="96" y="6"/>
                </a:lnTo>
                <a:lnTo>
                  <a:pt x="96" y="12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102" y="6"/>
                </a:lnTo>
                <a:lnTo>
                  <a:pt x="102" y="6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8"/>
                </a:lnTo>
                <a:lnTo>
                  <a:pt x="96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24"/>
                </a:lnTo>
                <a:lnTo>
                  <a:pt x="90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0" y="30"/>
                </a:lnTo>
                <a:lnTo>
                  <a:pt x="60" y="30"/>
                </a:lnTo>
                <a:lnTo>
                  <a:pt x="60" y="24"/>
                </a:lnTo>
                <a:lnTo>
                  <a:pt x="60" y="30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54" y="24"/>
                </a:lnTo>
                <a:lnTo>
                  <a:pt x="60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36" y="36"/>
                </a:lnTo>
                <a:lnTo>
                  <a:pt x="36" y="36"/>
                </a:lnTo>
                <a:lnTo>
                  <a:pt x="36" y="42"/>
                </a:lnTo>
                <a:lnTo>
                  <a:pt x="36" y="48"/>
                </a:lnTo>
                <a:lnTo>
                  <a:pt x="36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6" y="48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1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05" name="Freeform 338"/>
          <p:cNvSpPr>
            <a:spLocks/>
          </p:cNvSpPr>
          <p:nvPr/>
        </p:nvSpPr>
        <p:spPr bwMode="auto">
          <a:xfrm>
            <a:off x="7571348" y="4199245"/>
            <a:ext cx="77089" cy="70665"/>
          </a:xfrm>
          <a:custGeom>
            <a:avLst/>
            <a:gdLst>
              <a:gd name="T0" fmla="*/ 0 w 72"/>
              <a:gd name="T1" fmla="*/ 60 h 66"/>
              <a:gd name="T2" fmla="*/ 0 w 72"/>
              <a:gd name="T3" fmla="*/ 60 h 66"/>
              <a:gd name="T4" fmla="*/ 6 w 72"/>
              <a:gd name="T5" fmla="*/ 54 h 66"/>
              <a:gd name="T6" fmla="*/ 6 w 72"/>
              <a:gd name="T7" fmla="*/ 54 h 66"/>
              <a:gd name="T8" fmla="*/ 6 w 72"/>
              <a:gd name="T9" fmla="*/ 48 h 66"/>
              <a:gd name="T10" fmla="*/ 6 w 72"/>
              <a:gd name="T11" fmla="*/ 42 h 66"/>
              <a:gd name="T12" fmla="*/ 6 w 72"/>
              <a:gd name="T13" fmla="*/ 42 h 66"/>
              <a:gd name="T14" fmla="*/ 12 w 72"/>
              <a:gd name="T15" fmla="*/ 30 h 66"/>
              <a:gd name="T16" fmla="*/ 12 w 72"/>
              <a:gd name="T17" fmla="*/ 30 h 66"/>
              <a:gd name="T18" fmla="*/ 6 w 72"/>
              <a:gd name="T19" fmla="*/ 30 h 66"/>
              <a:gd name="T20" fmla="*/ 12 w 72"/>
              <a:gd name="T21" fmla="*/ 30 h 66"/>
              <a:gd name="T22" fmla="*/ 12 w 72"/>
              <a:gd name="T23" fmla="*/ 24 h 66"/>
              <a:gd name="T24" fmla="*/ 12 w 72"/>
              <a:gd name="T25" fmla="*/ 24 h 66"/>
              <a:gd name="T26" fmla="*/ 12 w 72"/>
              <a:gd name="T27" fmla="*/ 24 h 66"/>
              <a:gd name="T28" fmla="*/ 18 w 72"/>
              <a:gd name="T29" fmla="*/ 24 h 66"/>
              <a:gd name="T30" fmla="*/ 18 w 72"/>
              <a:gd name="T31" fmla="*/ 18 h 66"/>
              <a:gd name="T32" fmla="*/ 18 w 72"/>
              <a:gd name="T33" fmla="*/ 18 h 66"/>
              <a:gd name="T34" fmla="*/ 24 w 72"/>
              <a:gd name="T35" fmla="*/ 18 h 66"/>
              <a:gd name="T36" fmla="*/ 24 w 72"/>
              <a:gd name="T37" fmla="*/ 12 h 66"/>
              <a:gd name="T38" fmla="*/ 24 w 72"/>
              <a:gd name="T39" fmla="*/ 12 h 66"/>
              <a:gd name="T40" fmla="*/ 30 w 72"/>
              <a:gd name="T41" fmla="*/ 12 h 66"/>
              <a:gd name="T42" fmla="*/ 30 w 72"/>
              <a:gd name="T43" fmla="*/ 12 h 66"/>
              <a:gd name="T44" fmla="*/ 36 w 72"/>
              <a:gd name="T45" fmla="*/ 6 h 66"/>
              <a:gd name="T46" fmla="*/ 42 w 72"/>
              <a:gd name="T47" fmla="*/ 6 h 66"/>
              <a:gd name="T48" fmla="*/ 48 w 72"/>
              <a:gd name="T49" fmla="*/ 6 h 66"/>
              <a:gd name="T50" fmla="*/ 48 w 72"/>
              <a:gd name="T51" fmla="*/ 0 h 66"/>
              <a:gd name="T52" fmla="*/ 54 w 72"/>
              <a:gd name="T53" fmla="*/ 0 h 66"/>
              <a:gd name="T54" fmla="*/ 60 w 72"/>
              <a:gd name="T55" fmla="*/ 0 h 66"/>
              <a:gd name="T56" fmla="*/ 66 w 72"/>
              <a:gd name="T57" fmla="*/ 6 h 66"/>
              <a:gd name="T58" fmla="*/ 72 w 72"/>
              <a:gd name="T59" fmla="*/ 18 h 66"/>
              <a:gd name="T60" fmla="*/ 66 w 72"/>
              <a:gd name="T61" fmla="*/ 24 h 66"/>
              <a:gd name="T62" fmla="*/ 66 w 72"/>
              <a:gd name="T63" fmla="*/ 24 h 66"/>
              <a:gd name="T64" fmla="*/ 60 w 72"/>
              <a:gd name="T65" fmla="*/ 30 h 66"/>
              <a:gd name="T66" fmla="*/ 60 w 72"/>
              <a:gd name="T67" fmla="*/ 30 h 66"/>
              <a:gd name="T68" fmla="*/ 60 w 72"/>
              <a:gd name="T69" fmla="*/ 30 h 66"/>
              <a:gd name="T70" fmla="*/ 66 w 72"/>
              <a:gd name="T71" fmla="*/ 30 h 66"/>
              <a:gd name="T72" fmla="*/ 66 w 72"/>
              <a:gd name="T73" fmla="*/ 30 h 66"/>
              <a:gd name="T74" fmla="*/ 72 w 72"/>
              <a:gd name="T75" fmla="*/ 30 h 66"/>
              <a:gd name="T76" fmla="*/ 72 w 72"/>
              <a:gd name="T77" fmla="*/ 36 h 66"/>
              <a:gd name="T78" fmla="*/ 72 w 72"/>
              <a:gd name="T79" fmla="*/ 36 h 66"/>
              <a:gd name="T80" fmla="*/ 66 w 72"/>
              <a:gd name="T81" fmla="*/ 42 h 66"/>
              <a:gd name="T82" fmla="*/ 60 w 72"/>
              <a:gd name="T83" fmla="*/ 42 h 66"/>
              <a:gd name="T84" fmla="*/ 54 w 72"/>
              <a:gd name="T85" fmla="*/ 42 h 66"/>
              <a:gd name="T86" fmla="*/ 48 w 72"/>
              <a:gd name="T87" fmla="*/ 42 h 66"/>
              <a:gd name="T88" fmla="*/ 42 w 72"/>
              <a:gd name="T89" fmla="*/ 42 h 66"/>
              <a:gd name="T90" fmla="*/ 42 w 72"/>
              <a:gd name="T91" fmla="*/ 48 h 66"/>
              <a:gd name="T92" fmla="*/ 36 w 72"/>
              <a:gd name="T93" fmla="*/ 48 h 66"/>
              <a:gd name="T94" fmla="*/ 36 w 72"/>
              <a:gd name="T95" fmla="*/ 48 h 66"/>
              <a:gd name="T96" fmla="*/ 36 w 72"/>
              <a:gd name="T97" fmla="*/ 48 h 66"/>
              <a:gd name="T98" fmla="*/ 30 w 72"/>
              <a:gd name="T99" fmla="*/ 54 h 66"/>
              <a:gd name="T100" fmla="*/ 30 w 72"/>
              <a:gd name="T101" fmla="*/ 54 h 66"/>
              <a:gd name="T102" fmla="*/ 24 w 72"/>
              <a:gd name="T103" fmla="*/ 54 h 66"/>
              <a:gd name="T104" fmla="*/ 18 w 72"/>
              <a:gd name="T105" fmla="*/ 60 h 66"/>
              <a:gd name="T106" fmla="*/ 18 w 72"/>
              <a:gd name="T107" fmla="*/ 54 h 66"/>
              <a:gd name="T108" fmla="*/ 12 w 72"/>
              <a:gd name="T109" fmla="*/ 66 h 66"/>
              <a:gd name="T110" fmla="*/ 6 w 72"/>
              <a:gd name="T111" fmla="*/ 66 h 66"/>
              <a:gd name="T112" fmla="*/ 6 w 72"/>
              <a:gd name="T113" fmla="*/ 60 h 66"/>
              <a:gd name="T114" fmla="*/ 0 w 72"/>
              <a:gd name="T115" fmla="*/ 60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72" h="66">
                <a:moveTo>
                  <a:pt x="0" y="60"/>
                </a:move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12" y="30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54" y="6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60" y="0"/>
                </a:lnTo>
                <a:lnTo>
                  <a:pt x="60" y="0"/>
                </a:lnTo>
                <a:lnTo>
                  <a:pt x="60" y="6"/>
                </a:lnTo>
                <a:lnTo>
                  <a:pt x="66" y="6"/>
                </a:lnTo>
                <a:lnTo>
                  <a:pt x="66" y="12"/>
                </a:lnTo>
                <a:lnTo>
                  <a:pt x="72" y="18"/>
                </a:lnTo>
                <a:lnTo>
                  <a:pt x="72" y="18"/>
                </a:lnTo>
                <a:lnTo>
                  <a:pt x="72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72" y="30"/>
                </a:lnTo>
                <a:lnTo>
                  <a:pt x="72" y="30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66" y="36"/>
                </a:lnTo>
                <a:lnTo>
                  <a:pt x="66" y="42"/>
                </a:lnTo>
                <a:lnTo>
                  <a:pt x="66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54" y="42"/>
                </a:lnTo>
                <a:lnTo>
                  <a:pt x="54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2" y="42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0" y="48"/>
                </a:lnTo>
                <a:lnTo>
                  <a:pt x="30" y="48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60"/>
                </a:lnTo>
                <a:lnTo>
                  <a:pt x="18" y="54"/>
                </a:lnTo>
                <a:lnTo>
                  <a:pt x="18" y="60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2" y="60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6" y="60"/>
                </a:lnTo>
                <a:lnTo>
                  <a:pt x="6" y="66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0" y="60"/>
                </a:lnTo>
                <a:lnTo>
                  <a:pt x="0" y="6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06" name="Freeform 339"/>
          <p:cNvSpPr>
            <a:spLocks/>
          </p:cNvSpPr>
          <p:nvPr/>
        </p:nvSpPr>
        <p:spPr bwMode="auto">
          <a:xfrm>
            <a:off x="7635588" y="4179973"/>
            <a:ext cx="89937" cy="70665"/>
          </a:xfrm>
          <a:custGeom>
            <a:avLst/>
            <a:gdLst>
              <a:gd name="T0" fmla="*/ 0 w 84"/>
              <a:gd name="T1" fmla="*/ 48 h 66"/>
              <a:gd name="T2" fmla="*/ 6 w 84"/>
              <a:gd name="T3" fmla="*/ 42 h 66"/>
              <a:gd name="T4" fmla="*/ 6 w 84"/>
              <a:gd name="T5" fmla="*/ 42 h 66"/>
              <a:gd name="T6" fmla="*/ 12 w 84"/>
              <a:gd name="T7" fmla="*/ 36 h 66"/>
              <a:gd name="T8" fmla="*/ 12 w 84"/>
              <a:gd name="T9" fmla="*/ 36 h 66"/>
              <a:gd name="T10" fmla="*/ 18 w 84"/>
              <a:gd name="T11" fmla="*/ 30 h 66"/>
              <a:gd name="T12" fmla="*/ 18 w 84"/>
              <a:gd name="T13" fmla="*/ 30 h 66"/>
              <a:gd name="T14" fmla="*/ 24 w 84"/>
              <a:gd name="T15" fmla="*/ 30 h 66"/>
              <a:gd name="T16" fmla="*/ 24 w 84"/>
              <a:gd name="T17" fmla="*/ 30 h 66"/>
              <a:gd name="T18" fmla="*/ 30 w 84"/>
              <a:gd name="T19" fmla="*/ 30 h 66"/>
              <a:gd name="T20" fmla="*/ 30 w 84"/>
              <a:gd name="T21" fmla="*/ 24 h 66"/>
              <a:gd name="T22" fmla="*/ 36 w 84"/>
              <a:gd name="T23" fmla="*/ 24 h 66"/>
              <a:gd name="T24" fmla="*/ 36 w 84"/>
              <a:gd name="T25" fmla="*/ 24 h 66"/>
              <a:gd name="T26" fmla="*/ 42 w 84"/>
              <a:gd name="T27" fmla="*/ 18 h 66"/>
              <a:gd name="T28" fmla="*/ 48 w 84"/>
              <a:gd name="T29" fmla="*/ 12 h 66"/>
              <a:gd name="T30" fmla="*/ 54 w 84"/>
              <a:gd name="T31" fmla="*/ 6 h 66"/>
              <a:gd name="T32" fmla="*/ 54 w 84"/>
              <a:gd name="T33" fmla="*/ 6 h 66"/>
              <a:gd name="T34" fmla="*/ 54 w 84"/>
              <a:gd name="T35" fmla="*/ 0 h 66"/>
              <a:gd name="T36" fmla="*/ 60 w 84"/>
              <a:gd name="T37" fmla="*/ 6 h 66"/>
              <a:gd name="T38" fmla="*/ 66 w 84"/>
              <a:gd name="T39" fmla="*/ 6 h 66"/>
              <a:gd name="T40" fmla="*/ 66 w 84"/>
              <a:gd name="T41" fmla="*/ 12 h 66"/>
              <a:gd name="T42" fmla="*/ 72 w 84"/>
              <a:gd name="T43" fmla="*/ 12 h 66"/>
              <a:gd name="T44" fmla="*/ 78 w 84"/>
              <a:gd name="T45" fmla="*/ 6 h 66"/>
              <a:gd name="T46" fmla="*/ 84 w 84"/>
              <a:gd name="T47" fmla="*/ 6 h 66"/>
              <a:gd name="T48" fmla="*/ 78 w 84"/>
              <a:gd name="T49" fmla="*/ 12 h 66"/>
              <a:gd name="T50" fmla="*/ 84 w 84"/>
              <a:gd name="T51" fmla="*/ 12 h 66"/>
              <a:gd name="T52" fmla="*/ 84 w 84"/>
              <a:gd name="T53" fmla="*/ 18 h 66"/>
              <a:gd name="T54" fmla="*/ 84 w 84"/>
              <a:gd name="T55" fmla="*/ 18 h 66"/>
              <a:gd name="T56" fmla="*/ 84 w 84"/>
              <a:gd name="T57" fmla="*/ 24 h 66"/>
              <a:gd name="T58" fmla="*/ 84 w 84"/>
              <a:gd name="T59" fmla="*/ 24 h 66"/>
              <a:gd name="T60" fmla="*/ 84 w 84"/>
              <a:gd name="T61" fmla="*/ 30 h 66"/>
              <a:gd name="T62" fmla="*/ 84 w 84"/>
              <a:gd name="T63" fmla="*/ 36 h 66"/>
              <a:gd name="T64" fmla="*/ 84 w 84"/>
              <a:gd name="T65" fmla="*/ 36 h 66"/>
              <a:gd name="T66" fmla="*/ 78 w 84"/>
              <a:gd name="T67" fmla="*/ 42 h 66"/>
              <a:gd name="T68" fmla="*/ 72 w 84"/>
              <a:gd name="T69" fmla="*/ 42 h 66"/>
              <a:gd name="T70" fmla="*/ 66 w 84"/>
              <a:gd name="T71" fmla="*/ 42 h 66"/>
              <a:gd name="T72" fmla="*/ 66 w 84"/>
              <a:gd name="T73" fmla="*/ 48 h 66"/>
              <a:gd name="T74" fmla="*/ 60 w 84"/>
              <a:gd name="T75" fmla="*/ 48 h 66"/>
              <a:gd name="T76" fmla="*/ 60 w 84"/>
              <a:gd name="T77" fmla="*/ 48 h 66"/>
              <a:gd name="T78" fmla="*/ 54 w 84"/>
              <a:gd name="T79" fmla="*/ 54 h 66"/>
              <a:gd name="T80" fmla="*/ 48 w 84"/>
              <a:gd name="T81" fmla="*/ 48 h 66"/>
              <a:gd name="T82" fmla="*/ 48 w 84"/>
              <a:gd name="T83" fmla="*/ 48 h 66"/>
              <a:gd name="T84" fmla="*/ 42 w 84"/>
              <a:gd name="T85" fmla="*/ 48 h 66"/>
              <a:gd name="T86" fmla="*/ 42 w 84"/>
              <a:gd name="T87" fmla="*/ 54 h 66"/>
              <a:gd name="T88" fmla="*/ 42 w 84"/>
              <a:gd name="T89" fmla="*/ 54 h 66"/>
              <a:gd name="T90" fmla="*/ 30 w 84"/>
              <a:gd name="T91" fmla="*/ 60 h 66"/>
              <a:gd name="T92" fmla="*/ 18 w 84"/>
              <a:gd name="T93" fmla="*/ 66 h 66"/>
              <a:gd name="T94" fmla="*/ 18 w 84"/>
              <a:gd name="T95" fmla="*/ 60 h 66"/>
              <a:gd name="T96" fmla="*/ 18 w 84"/>
              <a:gd name="T97" fmla="*/ 60 h 66"/>
              <a:gd name="T98" fmla="*/ 12 w 84"/>
              <a:gd name="T99" fmla="*/ 54 h 66"/>
              <a:gd name="T100" fmla="*/ 12 w 84"/>
              <a:gd name="T101" fmla="*/ 54 h 66"/>
              <a:gd name="T102" fmla="*/ 6 w 84"/>
              <a:gd name="T103" fmla="*/ 48 h 66"/>
              <a:gd name="T104" fmla="*/ 6 w 84"/>
              <a:gd name="T105" fmla="*/ 48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84" h="66">
                <a:moveTo>
                  <a:pt x="0" y="48"/>
                </a:move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6" y="30"/>
                </a:lnTo>
                <a:lnTo>
                  <a:pt x="36" y="30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60" y="0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12"/>
                </a:lnTo>
                <a:lnTo>
                  <a:pt x="78" y="12"/>
                </a:lnTo>
                <a:lnTo>
                  <a:pt x="78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66" y="42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54"/>
                </a:lnTo>
                <a:lnTo>
                  <a:pt x="54" y="48"/>
                </a:lnTo>
                <a:lnTo>
                  <a:pt x="54" y="54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54"/>
                </a:lnTo>
                <a:lnTo>
                  <a:pt x="48" y="48"/>
                </a:lnTo>
                <a:lnTo>
                  <a:pt x="48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42" y="54"/>
                </a:lnTo>
                <a:lnTo>
                  <a:pt x="42" y="54"/>
                </a:lnTo>
                <a:lnTo>
                  <a:pt x="36" y="60"/>
                </a:lnTo>
                <a:lnTo>
                  <a:pt x="30" y="60"/>
                </a:lnTo>
                <a:lnTo>
                  <a:pt x="30" y="60"/>
                </a:lnTo>
                <a:lnTo>
                  <a:pt x="24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2" y="66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48"/>
                </a:lnTo>
                <a:lnTo>
                  <a:pt x="12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0" y="48"/>
                </a:lnTo>
                <a:lnTo>
                  <a:pt x="0" y="4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07" name="Freeform 340"/>
          <p:cNvSpPr>
            <a:spLocks/>
          </p:cNvSpPr>
          <p:nvPr/>
        </p:nvSpPr>
        <p:spPr bwMode="auto">
          <a:xfrm>
            <a:off x="7783341" y="4135004"/>
            <a:ext cx="83513" cy="77089"/>
          </a:xfrm>
          <a:custGeom>
            <a:avLst/>
            <a:gdLst>
              <a:gd name="T0" fmla="*/ 0 w 78"/>
              <a:gd name="T1" fmla="*/ 72 h 72"/>
              <a:gd name="T2" fmla="*/ 6 w 78"/>
              <a:gd name="T3" fmla="*/ 66 h 72"/>
              <a:gd name="T4" fmla="*/ 6 w 78"/>
              <a:gd name="T5" fmla="*/ 66 h 72"/>
              <a:gd name="T6" fmla="*/ 6 w 78"/>
              <a:gd name="T7" fmla="*/ 60 h 72"/>
              <a:gd name="T8" fmla="*/ 6 w 78"/>
              <a:gd name="T9" fmla="*/ 60 h 72"/>
              <a:gd name="T10" fmla="*/ 6 w 78"/>
              <a:gd name="T11" fmla="*/ 54 h 72"/>
              <a:gd name="T12" fmla="*/ 6 w 78"/>
              <a:gd name="T13" fmla="*/ 48 h 72"/>
              <a:gd name="T14" fmla="*/ 0 w 78"/>
              <a:gd name="T15" fmla="*/ 48 h 72"/>
              <a:gd name="T16" fmla="*/ 6 w 78"/>
              <a:gd name="T17" fmla="*/ 48 h 72"/>
              <a:gd name="T18" fmla="*/ 6 w 78"/>
              <a:gd name="T19" fmla="*/ 48 h 72"/>
              <a:gd name="T20" fmla="*/ 6 w 78"/>
              <a:gd name="T21" fmla="*/ 42 h 72"/>
              <a:gd name="T22" fmla="*/ 6 w 78"/>
              <a:gd name="T23" fmla="*/ 36 h 72"/>
              <a:gd name="T24" fmla="*/ 12 w 78"/>
              <a:gd name="T25" fmla="*/ 36 h 72"/>
              <a:gd name="T26" fmla="*/ 12 w 78"/>
              <a:gd name="T27" fmla="*/ 30 h 72"/>
              <a:gd name="T28" fmla="*/ 12 w 78"/>
              <a:gd name="T29" fmla="*/ 24 h 72"/>
              <a:gd name="T30" fmla="*/ 12 w 78"/>
              <a:gd name="T31" fmla="*/ 18 h 72"/>
              <a:gd name="T32" fmla="*/ 12 w 78"/>
              <a:gd name="T33" fmla="*/ 18 h 72"/>
              <a:gd name="T34" fmla="*/ 18 w 78"/>
              <a:gd name="T35" fmla="*/ 18 h 72"/>
              <a:gd name="T36" fmla="*/ 18 w 78"/>
              <a:gd name="T37" fmla="*/ 18 h 72"/>
              <a:gd name="T38" fmla="*/ 24 w 78"/>
              <a:gd name="T39" fmla="*/ 12 h 72"/>
              <a:gd name="T40" fmla="*/ 24 w 78"/>
              <a:gd name="T41" fmla="*/ 12 h 72"/>
              <a:gd name="T42" fmla="*/ 24 w 78"/>
              <a:gd name="T43" fmla="*/ 12 h 72"/>
              <a:gd name="T44" fmla="*/ 24 w 78"/>
              <a:gd name="T45" fmla="*/ 12 h 72"/>
              <a:gd name="T46" fmla="*/ 30 w 78"/>
              <a:gd name="T47" fmla="*/ 6 h 72"/>
              <a:gd name="T48" fmla="*/ 36 w 78"/>
              <a:gd name="T49" fmla="*/ 6 h 72"/>
              <a:gd name="T50" fmla="*/ 36 w 78"/>
              <a:gd name="T51" fmla="*/ 6 h 72"/>
              <a:gd name="T52" fmla="*/ 42 w 78"/>
              <a:gd name="T53" fmla="*/ 0 h 72"/>
              <a:gd name="T54" fmla="*/ 42 w 78"/>
              <a:gd name="T55" fmla="*/ 0 h 72"/>
              <a:gd name="T56" fmla="*/ 42 w 78"/>
              <a:gd name="T57" fmla="*/ 0 h 72"/>
              <a:gd name="T58" fmla="*/ 42 w 78"/>
              <a:gd name="T59" fmla="*/ 0 h 72"/>
              <a:gd name="T60" fmla="*/ 48 w 78"/>
              <a:gd name="T61" fmla="*/ 0 h 72"/>
              <a:gd name="T62" fmla="*/ 48 w 78"/>
              <a:gd name="T63" fmla="*/ 6 h 72"/>
              <a:gd name="T64" fmla="*/ 48 w 78"/>
              <a:gd name="T65" fmla="*/ 12 h 72"/>
              <a:gd name="T66" fmla="*/ 48 w 78"/>
              <a:gd name="T67" fmla="*/ 18 h 72"/>
              <a:gd name="T68" fmla="*/ 54 w 78"/>
              <a:gd name="T69" fmla="*/ 18 h 72"/>
              <a:gd name="T70" fmla="*/ 54 w 78"/>
              <a:gd name="T71" fmla="*/ 18 h 72"/>
              <a:gd name="T72" fmla="*/ 66 w 78"/>
              <a:gd name="T73" fmla="*/ 18 h 72"/>
              <a:gd name="T74" fmla="*/ 78 w 78"/>
              <a:gd name="T75" fmla="*/ 18 h 72"/>
              <a:gd name="T76" fmla="*/ 78 w 78"/>
              <a:gd name="T77" fmla="*/ 18 h 72"/>
              <a:gd name="T78" fmla="*/ 78 w 78"/>
              <a:gd name="T79" fmla="*/ 30 h 72"/>
              <a:gd name="T80" fmla="*/ 72 w 78"/>
              <a:gd name="T81" fmla="*/ 36 h 72"/>
              <a:gd name="T82" fmla="*/ 72 w 78"/>
              <a:gd name="T83" fmla="*/ 36 h 72"/>
              <a:gd name="T84" fmla="*/ 72 w 78"/>
              <a:gd name="T85" fmla="*/ 42 h 72"/>
              <a:gd name="T86" fmla="*/ 72 w 78"/>
              <a:gd name="T87" fmla="*/ 42 h 72"/>
              <a:gd name="T88" fmla="*/ 66 w 78"/>
              <a:gd name="T89" fmla="*/ 48 h 72"/>
              <a:gd name="T90" fmla="*/ 60 w 78"/>
              <a:gd name="T91" fmla="*/ 42 h 72"/>
              <a:gd name="T92" fmla="*/ 60 w 78"/>
              <a:gd name="T93" fmla="*/ 42 h 72"/>
              <a:gd name="T94" fmla="*/ 54 w 78"/>
              <a:gd name="T95" fmla="*/ 42 h 72"/>
              <a:gd name="T96" fmla="*/ 48 w 78"/>
              <a:gd name="T97" fmla="*/ 42 h 72"/>
              <a:gd name="T98" fmla="*/ 48 w 78"/>
              <a:gd name="T99" fmla="*/ 48 h 72"/>
              <a:gd name="T100" fmla="*/ 42 w 78"/>
              <a:gd name="T101" fmla="*/ 48 h 72"/>
              <a:gd name="T102" fmla="*/ 30 w 78"/>
              <a:gd name="T103" fmla="*/ 54 h 72"/>
              <a:gd name="T104" fmla="*/ 30 w 78"/>
              <a:gd name="T105" fmla="*/ 60 h 72"/>
              <a:gd name="T106" fmla="*/ 24 w 78"/>
              <a:gd name="T107" fmla="*/ 60 h 72"/>
              <a:gd name="T108" fmla="*/ 18 w 78"/>
              <a:gd name="T109" fmla="*/ 60 h 72"/>
              <a:gd name="T110" fmla="*/ 18 w 78"/>
              <a:gd name="T111" fmla="*/ 66 h 72"/>
              <a:gd name="T112" fmla="*/ 12 w 78"/>
              <a:gd name="T113" fmla="*/ 72 h 72"/>
              <a:gd name="T114" fmla="*/ 6 w 78"/>
              <a:gd name="T115" fmla="*/ 72 h 72"/>
              <a:gd name="T116" fmla="*/ 6 w 78"/>
              <a:gd name="T117" fmla="*/ 7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78" h="72">
                <a:moveTo>
                  <a:pt x="6" y="72"/>
                </a:moveTo>
                <a:lnTo>
                  <a:pt x="6" y="72"/>
                </a:lnTo>
                <a:lnTo>
                  <a:pt x="0" y="72"/>
                </a:lnTo>
                <a:lnTo>
                  <a:pt x="0" y="72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0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12" y="36"/>
                </a:lnTo>
                <a:lnTo>
                  <a:pt x="6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0"/>
                </a:lnTo>
                <a:lnTo>
                  <a:pt x="42" y="0"/>
                </a:lnTo>
                <a:lnTo>
                  <a:pt x="42" y="0"/>
                </a:lnTo>
                <a:lnTo>
                  <a:pt x="36" y="0"/>
                </a:lnTo>
                <a:lnTo>
                  <a:pt x="36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6"/>
                </a:lnTo>
                <a:lnTo>
                  <a:pt x="42" y="6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2"/>
                </a:lnTo>
                <a:lnTo>
                  <a:pt x="54" y="12"/>
                </a:lnTo>
                <a:lnTo>
                  <a:pt x="54" y="18"/>
                </a:lnTo>
                <a:lnTo>
                  <a:pt x="54" y="18"/>
                </a:lnTo>
                <a:lnTo>
                  <a:pt x="60" y="18"/>
                </a:lnTo>
                <a:lnTo>
                  <a:pt x="60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72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24"/>
                </a:lnTo>
                <a:lnTo>
                  <a:pt x="78" y="24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8"/>
                </a:lnTo>
                <a:lnTo>
                  <a:pt x="66" y="48"/>
                </a:lnTo>
                <a:lnTo>
                  <a:pt x="66" y="48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54" y="42"/>
                </a:lnTo>
                <a:lnTo>
                  <a:pt x="54" y="36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2" y="48"/>
                </a:lnTo>
                <a:lnTo>
                  <a:pt x="42" y="48"/>
                </a:lnTo>
                <a:lnTo>
                  <a:pt x="36" y="54"/>
                </a:lnTo>
                <a:lnTo>
                  <a:pt x="36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6"/>
                </a:lnTo>
                <a:lnTo>
                  <a:pt x="18" y="66"/>
                </a:lnTo>
                <a:lnTo>
                  <a:pt x="12" y="66"/>
                </a:lnTo>
                <a:lnTo>
                  <a:pt x="12" y="66"/>
                </a:lnTo>
                <a:lnTo>
                  <a:pt x="12" y="72"/>
                </a:lnTo>
                <a:lnTo>
                  <a:pt x="12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08" name="Freeform 341"/>
          <p:cNvSpPr>
            <a:spLocks/>
          </p:cNvSpPr>
          <p:nvPr/>
        </p:nvSpPr>
        <p:spPr bwMode="auto">
          <a:xfrm>
            <a:off x="6504955" y="4070763"/>
            <a:ext cx="122057" cy="96361"/>
          </a:xfrm>
          <a:custGeom>
            <a:avLst/>
            <a:gdLst>
              <a:gd name="T0" fmla="*/ 6 w 114"/>
              <a:gd name="T1" fmla="*/ 48 h 90"/>
              <a:gd name="T2" fmla="*/ 6 w 114"/>
              <a:gd name="T3" fmla="*/ 48 h 90"/>
              <a:gd name="T4" fmla="*/ 12 w 114"/>
              <a:gd name="T5" fmla="*/ 36 h 90"/>
              <a:gd name="T6" fmla="*/ 12 w 114"/>
              <a:gd name="T7" fmla="*/ 30 h 90"/>
              <a:gd name="T8" fmla="*/ 12 w 114"/>
              <a:gd name="T9" fmla="*/ 24 h 90"/>
              <a:gd name="T10" fmla="*/ 18 w 114"/>
              <a:gd name="T11" fmla="*/ 18 h 90"/>
              <a:gd name="T12" fmla="*/ 12 w 114"/>
              <a:gd name="T13" fmla="*/ 12 h 90"/>
              <a:gd name="T14" fmla="*/ 18 w 114"/>
              <a:gd name="T15" fmla="*/ 6 h 90"/>
              <a:gd name="T16" fmla="*/ 18 w 114"/>
              <a:gd name="T17" fmla="*/ 0 h 90"/>
              <a:gd name="T18" fmla="*/ 24 w 114"/>
              <a:gd name="T19" fmla="*/ 0 h 90"/>
              <a:gd name="T20" fmla="*/ 24 w 114"/>
              <a:gd name="T21" fmla="*/ 6 h 90"/>
              <a:gd name="T22" fmla="*/ 30 w 114"/>
              <a:gd name="T23" fmla="*/ 6 h 90"/>
              <a:gd name="T24" fmla="*/ 36 w 114"/>
              <a:gd name="T25" fmla="*/ 6 h 90"/>
              <a:gd name="T26" fmla="*/ 42 w 114"/>
              <a:gd name="T27" fmla="*/ 12 h 90"/>
              <a:gd name="T28" fmla="*/ 48 w 114"/>
              <a:gd name="T29" fmla="*/ 12 h 90"/>
              <a:gd name="T30" fmla="*/ 60 w 114"/>
              <a:gd name="T31" fmla="*/ 18 h 90"/>
              <a:gd name="T32" fmla="*/ 66 w 114"/>
              <a:gd name="T33" fmla="*/ 18 h 90"/>
              <a:gd name="T34" fmla="*/ 72 w 114"/>
              <a:gd name="T35" fmla="*/ 18 h 90"/>
              <a:gd name="T36" fmla="*/ 78 w 114"/>
              <a:gd name="T37" fmla="*/ 24 h 90"/>
              <a:gd name="T38" fmla="*/ 78 w 114"/>
              <a:gd name="T39" fmla="*/ 24 h 90"/>
              <a:gd name="T40" fmla="*/ 78 w 114"/>
              <a:gd name="T41" fmla="*/ 30 h 90"/>
              <a:gd name="T42" fmla="*/ 84 w 114"/>
              <a:gd name="T43" fmla="*/ 30 h 90"/>
              <a:gd name="T44" fmla="*/ 84 w 114"/>
              <a:gd name="T45" fmla="*/ 36 h 90"/>
              <a:gd name="T46" fmla="*/ 90 w 114"/>
              <a:gd name="T47" fmla="*/ 36 h 90"/>
              <a:gd name="T48" fmla="*/ 90 w 114"/>
              <a:gd name="T49" fmla="*/ 36 h 90"/>
              <a:gd name="T50" fmla="*/ 96 w 114"/>
              <a:gd name="T51" fmla="*/ 36 h 90"/>
              <a:gd name="T52" fmla="*/ 90 w 114"/>
              <a:gd name="T53" fmla="*/ 36 h 90"/>
              <a:gd name="T54" fmla="*/ 96 w 114"/>
              <a:gd name="T55" fmla="*/ 36 h 90"/>
              <a:gd name="T56" fmla="*/ 96 w 114"/>
              <a:gd name="T57" fmla="*/ 36 h 90"/>
              <a:gd name="T58" fmla="*/ 108 w 114"/>
              <a:gd name="T59" fmla="*/ 42 h 90"/>
              <a:gd name="T60" fmla="*/ 108 w 114"/>
              <a:gd name="T61" fmla="*/ 48 h 90"/>
              <a:gd name="T62" fmla="*/ 114 w 114"/>
              <a:gd name="T63" fmla="*/ 48 h 90"/>
              <a:gd name="T64" fmla="*/ 108 w 114"/>
              <a:gd name="T65" fmla="*/ 60 h 90"/>
              <a:gd name="T66" fmla="*/ 108 w 114"/>
              <a:gd name="T67" fmla="*/ 66 h 90"/>
              <a:gd name="T68" fmla="*/ 102 w 114"/>
              <a:gd name="T69" fmla="*/ 66 h 90"/>
              <a:gd name="T70" fmla="*/ 102 w 114"/>
              <a:gd name="T71" fmla="*/ 72 h 90"/>
              <a:gd name="T72" fmla="*/ 96 w 114"/>
              <a:gd name="T73" fmla="*/ 78 h 90"/>
              <a:gd name="T74" fmla="*/ 90 w 114"/>
              <a:gd name="T75" fmla="*/ 84 h 90"/>
              <a:gd name="T76" fmla="*/ 84 w 114"/>
              <a:gd name="T77" fmla="*/ 84 h 90"/>
              <a:gd name="T78" fmla="*/ 78 w 114"/>
              <a:gd name="T79" fmla="*/ 90 h 90"/>
              <a:gd name="T80" fmla="*/ 72 w 114"/>
              <a:gd name="T81" fmla="*/ 84 h 90"/>
              <a:gd name="T82" fmla="*/ 66 w 114"/>
              <a:gd name="T83" fmla="*/ 84 h 90"/>
              <a:gd name="T84" fmla="*/ 60 w 114"/>
              <a:gd name="T85" fmla="*/ 78 h 90"/>
              <a:gd name="T86" fmla="*/ 54 w 114"/>
              <a:gd name="T87" fmla="*/ 78 h 90"/>
              <a:gd name="T88" fmla="*/ 48 w 114"/>
              <a:gd name="T89" fmla="*/ 78 h 90"/>
              <a:gd name="T90" fmla="*/ 42 w 114"/>
              <a:gd name="T91" fmla="*/ 72 h 90"/>
              <a:gd name="T92" fmla="*/ 30 w 114"/>
              <a:gd name="T93" fmla="*/ 66 h 90"/>
              <a:gd name="T94" fmla="*/ 30 w 114"/>
              <a:gd name="T95" fmla="*/ 60 h 90"/>
              <a:gd name="T96" fmla="*/ 30 w 114"/>
              <a:gd name="T97" fmla="*/ 60 h 90"/>
              <a:gd name="T98" fmla="*/ 24 w 114"/>
              <a:gd name="T99" fmla="*/ 60 h 90"/>
              <a:gd name="T100" fmla="*/ 18 w 114"/>
              <a:gd name="T101" fmla="*/ 66 h 90"/>
              <a:gd name="T102" fmla="*/ 12 w 114"/>
              <a:gd name="T103" fmla="*/ 60 h 90"/>
              <a:gd name="T104" fmla="*/ 0 w 114"/>
              <a:gd name="T105" fmla="*/ 60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14" h="90">
                <a:moveTo>
                  <a:pt x="0" y="54"/>
                </a:moveTo>
                <a:lnTo>
                  <a:pt x="0" y="54"/>
                </a:lnTo>
                <a:lnTo>
                  <a:pt x="0" y="54"/>
                </a:lnTo>
                <a:lnTo>
                  <a:pt x="6" y="54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12" y="48"/>
                </a:lnTo>
                <a:lnTo>
                  <a:pt x="6" y="42"/>
                </a:lnTo>
                <a:lnTo>
                  <a:pt x="6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8" y="24"/>
                </a:lnTo>
                <a:lnTo>
                  <a:pt x="12" y="24"/>
                </a:lnTo>
                <a:lnTo>
                  <a:pt x="12" y="24"/>
                </a:lnTo>
                <a:lnTo>
                  <a:pt x="18" y="24"/>
                </a:lnTo>
                <a:lnTo>
                  <a:pt x="18" y="24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2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0"/>
                </a:lnTo>
                <a:lnTo>
                  <a:pt x="18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12"/>
                </a:lnTo>
                <a:lnTo>
                  <a:pt x="36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54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90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0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6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54"/>
                </a:lnTo>
                <a:lnTo>
                  <a:pt x="114" y="54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6"/>
                </a:lnTo>
                <a:lnTo>
                  <a:pt x="108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96" y="72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0" y="78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84" y="84"/>
                </a:lnTo>
                <a:lnTo>
                  <a:pt x="84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84"/>
                </a:lnTo>
                <a:lnTo>
                  <a:pt x="78" y="90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0" y="84"/>
                </a:lnTo>
                <a:lnTo>
                  <a:pt x="60" y="84"/>
                </a:lnTo>
                <a:lnTo>
                  <a:pt x="60" y="78"/>
                </a:lnTo>
                <a:lnTo>
                  <a:pt x="60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0"/>
                </a:lnTo>
                <a:lnTo>
                  <a:pt x="30" y="60"/>
                </a:lnTo>
                <a:lnTo>
                  <a:pt x="36" y="60"/>
                </a:lnTo>
                <a:lnTo>
                  <a:pt x="36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24" y="54"/>
                </a:lnTo>
                <a:lnTo>
                  <a:pt x="24" y="54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18" y="60"/>
                </a:lnTo>
                <a:lnTo>
                  <a:pt x="18" y="60"/>
                </a:lnTo>
                <a:lnTo>
                  <a:pt x="18" y="66"/>
                </a:lnTo>
                <a:lnTo>
                  <a:pt x="18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0" y="60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09" name="Freeform 342"/>
          <p:cNvSpPr>
            <a:spLocks/>
          </p:cNvSpPr>
          <p:nvPr/>
        </p:nvSpPr>
        <p:spPr bwMode="auto">
          <a:xfrm>
            <a:off x="6691253" y="3878040"/>
            <a:ext cx="192721" cy="205571"/>
          </a:xfrm>
          <a:custGeom>
            <a:avLst/>
            <a:gdLst>
              <a:gd name="T0" fmla="*/ 0 w 180"/>
              <a:gd name="T1" fmla="*/ 156 h 192"/>
              <a:gd name="T2" fmla="*/ 6 w 180"/>
              <a:gd name="T3" fmla="*/ 150 h 192"/>
              <a:gd name="T4" fmla="*/ 12 w 180"/>
              <a:gd name="T5" fmla="*/ 144 h 192"/>
              <a:gd name="T6" fmla="*/ 18 w 180"/>
              <a:gd name="T7" fmla="*/ 138 h 192"/>
              <a:gd name="T8" fmla="*/ 30 w 180"/>
              <a:gd name="T9" fmla="*/ 132 h 192"/>
              <a:gd name="T10" fmla="*/ 42 w 180"/>
              <a:gd name="T11" fmla="*/ 138 h 192"/>
              <a:gd name="T12" fmla="*/ 60 w 180"/>
              <a:gd name="T13" fmla="*/ 138 h 192"/>
              <a:gd name="T14" fmla="*/ 66 w 180"/>
              <a:gd name="T15" fmla="*/ 144 h 192"/>
              <a:gd name="T16" fmla="*/ 72 w 180"/>
              <a:gd name="T17" fmla="*/ 126 h 192"/>
              <a:gd name="T18" fmla="*/ 78 w 180"/>
              <a:gd name="T19" fmla="*/ 120 h 192"/>
              <a:gd name="T20" fmla="*/ 66 w 180"/>
              <a:gd name="T21" fmla="*/ 108 h 192"/>
              <a:gd name="T22" fmla="*/ 66 w 180"/>
              <a:gd name="T23" fmla="*/ 108 h 192"/>
              <a:gd name="T24" fmla="*/ 54 w 180"/>
              <a:gd name="T25" fmla="*/ 96 h 192"/>
              <a:gd name="T26" fmla="*/ 42 w 180"/>
              <a:gd name="T27" fmla="*/ 90 h 192"/>
              <a:gd name="T28" fmla="*/ 36 w 180"/>
              <a:gd name="T29" fmla="*/ 90 h 192"/>
              <a:gd name="T30" fmla="*/ 54 w 180"/>
              <a:gd name="T31" fmla="*/ 84 h 192"/>
              <a:gd name="T32" fmla="*/ 60 w 180"/>
              <a:gd name="T33" fmla="*/ 66 h 192"/>
              <a:gd name="T34" fmla="*/ 66 w 180"/>
              <a:gd name="T35" fmla="*/ 54 h 192"/>
              <a:gd name="T36" fmla="*/ 66 w 180"/>
              <a:gd name="T37" fmla="*/ 48 h 192"/>
              <a:gd name="T38" fmla="*/ 66 w 180"/>
              <a:gd name="T39" fmla="*/ 48 h 192"/>
              <a:gd name="T40" fmla="*/ 60 w 180"/>
              <a:gd name="T41" fmla="*/ 42 h 192"/>
              <a:gd name="T42" fmla="*/ 60 w 180"/>
              <a:gd name="T43" fmla="*/ 36 h 192"/>
              <a:gd name="T44" fmla="*/ 60 w 180"/>
              <a:gd name="T45" fmla="*/ 36 h 192"/>
              <a:gd name="T46" fmla="*/ 72 w 180"/>
              <a:gd name="T47" fmla="*/ 30 h 192"/>
              <a:gd name="T48" fmla="*/ 78 w 180"/>
              <a:gd name="T49" fmla="*/ 18 h 192"/>
              <a:gd name="T50" fmla="*/ 72 w 180"/>
              <a:gd name="T51" fmla="*/ 0 h 192"/>
              <a:gd name="T52" fmla="*/ 84 w 180"/>
              <a:gd name="T53" fmla="*/ 0 h 192"/>
              <a:gd name="T54" fmla="*/ 108 w 180"/>
              <a:gd name="T55" fmla="*/ 6 h 192"/>
              <a:gd name="T56" fmla="*/ 114 w 180"/>
              <a:gd name="T57" fmla="*/ 12 h 192"/>
              <a:gd name="T58" fmla="*/ 114 w 180"/>
              <a:gd name="T59" fmla="*/ 42 h 192"/>
              <a:gd name="T60" fmla="*/ 126 w 180"/>
              <a:gd name="T61" fmla="*/ 54 h 192"/>
              <a:gd name="T62" fmla="*/ 144 w 180"/>
              <a:gd name="T63" fmla="*/ 30 h 192"/>
              <a:gd name="T64" fmla="*/ 156 w 180"/>
              <a:gd name="T65" fmla="*/ 48 h 192"/>
              <a:gd name="T66" fmla="*/ 162 w 180"/>
              <a:gd name="T67" fmla="*/ 72 h 192"/>
              <a:gd name="T68" fmla="*/ 168 w 180"/>
              <a:gd name="T69" fmla="*/ 84 h 192"/>
              <a:gd name="T70" fmla="*/ 168 w 180"/>
              <a:gd name="T71" fmla="*/ 96 h 192"/>
              <a:gd name="T72" fmla="*/ 174 w 180"/>
              <a:gd name="T73" fmla="*/ 102 h 192"/>
              <a:gd name="T74" fmla="*/ 168 w 180"/>
              <a:gd name="T75" fmla="*/ 114 h 192"/>
              <a:gd name="T76" fmla="*/ 156 w 180"/>
              <a:gd name="T77" fmla="*/ 126 h 192"/>
              <a:gd name="T78" fmla="*/ 138 w 180"/>
              <a:gd name="T79" fmla="*/ 120 h 192"/>
              <a:gd name="T80" fmla="*/ 138 w 180"/>
              <a:gd name="T81" fmla="*/ 126 h 192"/>
              <a:gd name="T82" fmla="*/ 132 w 180"/>
              <a:gd name="T83" fmla="*/ 138 h 192"/>
              <a:gd name="T84" fmla="*/ 132 w 180"/>
              <a:gd name="T85" fmla="*/ 150 h 192"/>
              <a:gd name="T86" fmla="*/ 132 w 180"/>
              <a:gd name="T87" fmla="*/ 156 h 192"/>
              <a:gd name="T88" fmla="*/ 132 w 180"/>
              <a:gd name="T89" fmla="*/ 168 h 192"/>
              <a:gd name="T90" fmla="*/ 120 w 180"/>
              <a:gd name="T91" fmla="*/ 162 h 192"/>
              <a:gd name="T92" fmla="*/ 108 w 180"/>
              <a:gd name="T93" fmla="*/ 156 h 192"/>
              <a:gd name="T94" fmla="*/ 102 w 180"/>
              <a:gd name="T95" fmla="*/ 162 h 192"/>
              <a:gd name="T96" fmla="*/ 96 w 180"/>
              <a:gd name="T97" fmla="*/ 168 h 192"/>
              <a:gd name="T98" fmla="*/ 90 w 180"/>
              <a:gd name="T99" fmla="*/ 168 h 192"/>
              <a:gd name="T100" fmla="*/ 84 w 180"/>
              <a:gd name="T101" fmla="*/ 168 h 192"/>
              <a:gd name="T102" fmla="*/ 78 w 180"/>
              <a:gd name="T103" fmla="*/ 174 h 192"/>
              <a:gd name="T104" fmla="*/ 78 w 180"/>
              <a:gd name="T105" fmla="*/ 180 h 192"/>
              <a:gd name="T106" fmla="*/ 72 w 180"/>
              <a:gd name="T107" fmla="*/ 186 h 192"/>
              <a:gd name="T108" fmla="*/ 66 w 180"/>
              <a:gd name="T109" fmla="*/ 186 h 192"/>
              <a:gd name="T110" fmla="*/ 60 w 180"/>
              <a:gd name="T111" fmla="*/ 186 h 192"/>
              <a:gd name="T112" fmla="*/ 54 w 180"/>
              <a:gd name="T113" fmla="*/ 180 h 192"/>
              <a:gd name="T114" fmla="*/ 36 w 180"/>
              <a:gd name="T115" fmla="*/ 174 h 192"/>
              <a:gd name="T116" fmla="*/ 18 w 180"/>
              <a:gd name="T117" fmla="*/ 174 h 192"/>
              <a:gd name="T118" fmla="*/ 0 w 180"/>
              <a:gd name="T119" fmla="*/ 168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80" h="192">
                <a:moveTo>
                  <a:pt x="0" y="162"/>
                </a:moveTo>
                <a:lnTo>
                  <a:pt x="0" y="162"/>
                </a:lnTo>
                <a:lnTo>
                  <a:pt x="0" y="156"/>
                </a:lnTo>
                <a:lnTo>
                  <a:pt x="0" y="162"/>
                </a:lnTo>
                <a:lnTo>
                  <a:pt x="0" y="162"/>
                </a:lnTo>
                <a:lnTo>
                  <a:pt x="0" y="156"/>
                </a:lnTo>
                <a:lnTo>
                  <a:pt x="0" y="156"/>
                </a:lnTo>
                <a:lnTo>
                  <a:pt x="0" y="156"/>
                </a:lnTo>
                <a:lnTo>
                  <a:pt x="6" y="156"/>
                </a:lnTo>
                <a:lnTo>
                  <a:pt x="6" y="156"/>
                </a:lnTo>
                <a:lnTo>
                  <a:pt x="6" y="156"/>
                </a:lnTo>
                <a:lnTo>
                  <a:pt x="6" y="156"/>
                </a:lnTo>
                <a:lnTo>
                  <a:pt x="6" y="156"/>
                </a:lnTo>
                <a:lnTo>
                  <a:pt x="6" y="156"/>
                </a:lnTo>
                <a:lnTo>
                  <a:pt x="6" y="150"/>
                </a:lnTo>
                <a:lnTo>
                  <a:pt x="6" y="150"/>
                </a:lnTo>
                <a:lnTo>
                  <a:pt x="6" y="150"/>
                </a:lnTo>
                <a:lnTo>
                  <a:pt x="6" y="150"/>
                </a:lnTo>
                <a:lnTo>
                  <a:pt x="6" y="150"/>
                </a:lnTo>
                <a:lnTo>
                  <a:pt x="6" y="144"/>
                </a:lnTo>
                <a:lnTo>
                  <a:pt x="6" y="144"/>
                </a:lnTo>
                <a:lnTo>
                  <a:pt x="12" y="144"/>
                </a:lnTo>
                <a:lnTo>
                  <a:pt x="12" y="144"/>
                </a:lnTo>
                <a:lnTo>
                  <a:pt x="12" y="144"/>
                </a:lnTo>
                <a:lnTo>
                  <a:pt x="12" y="144"/>
                </a:lnTo>
                <a:lnTo>
                  <a:pt x="12" y="144"/>
                </a:lnTo>
                <a:lnTo>
                  <a:pt x="12" y="138"/>
                </a:lnTo>
                <a:lnTo>
                  <a:pt x="12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36" y="132"/>
                </a:lnTo>
                <a:lnTo>
                  <a:pt x="36" y="132"/>
                </a:lnTo>
                <a:lnTo>
                  <a:pt x="36" y="132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2"/>
                </a:lnTo>
                <a:lnTo>
                  <a:pt x="42" y="132"/>
                </a:lnTo>
                <a:lnTo>
                  <a:pt x="48" y="132"/>
                </a:lnTo>
                <a:lnTo>
                  <a:pt x="48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60" y="138"/>
                </a:lnTo>
                <a:lnTo>
                  <a:pt x="54" y="138"/>
                </a:lnTo>
                <a:lnTo>
                  <a:pt x="54" y="138"/>
                </a:lnTo>
                <a:lnTo>
                  <a:pt x="60" y="138"/>
                </a:lnTo>
                <a:lnTo>
                  <a:pt x="60" y="138"/>
                </a:lnTo>
                <a:lnTo>
                  <a:pt x="60" y="138"/>
                </a:lnTo>
                <a:lnTo>
                  <a:pt x="60" y="138"/>
                </a:lnTo>
                <a:lnTo>
                  <a:pt x="66" y="138"/>
                </a:lnTo>
                <a:lnTo>
                  <a:pt x="66" y="144"/>
                </a:lnTo>
                <a:lnTo>
                  <a:pt x="66" y="138"/>
                </a:lnTo>
                <a:lnTo>
                  <a:pt x="66" y="138"/>
                </a:lnTo>
                <a:lnTo>
                  <a:pt x="66" y="138"/>
                </a:lnTo>
                <a:lnTo>
                  <a:pt x="66" y="138"/>
                </a:lnTo>
                <a:lnTo>
                  <a:pt x="66" y="132"/>
                </a:lnTo>
                <a:lnTo>
                  <a:pt x="66" y="132"/>
                </a:lnTo>
                <a:lnTo>
                  <a:pt x="66" y="126"/>
                </a:lnTo>
                <a:lnTo>
                  <a:pt x="72" y="126"/>
                </a:lnTo>
                <a:lnTo>
                  <a:pt x="66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14"/>
                </a:lnTo>
                <a:lnTo>
                  <a:pt x="72" y="114"/>
                </a:lnTo>
                <a:lnTo>
                  <a:pt x="78" y="114"/>
                </a:lnTo>
                <a:lnTo>
                  <a:pt x="72" y="114"/>
                </a:lnTo>
                <a:lnTo>
                  <a:pt x="72" y="114"/>
                </a:lnTo>
                <a:lnTo>
                  <a:pt x="66" y="108"/>
                </a:lnTo>
                <a:lnTo>
                  <a:pt x="72" y="108"/>
                </a:lnTo>
                <a:lnTo>
                  <a:pt x="66" y="108"/>
                </a:lnTo>
                <a:lnTo>
                  <a:pt x="72" y="108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66" y="108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48" y="96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8" y="84"/>
                </a:lnTo>
                <a:lnTo>
                  <a:pt x="48" y="84"/>
                </a:lnTo>
                <a:lnTo>
                  <a:pt x="48" y="78"/>
                </a:lnTo>
                <a:lnTo>
                  <a:pt x="54" y="84"/>
                </a:lnTo>
                <a:lnTo>
                  <a:pt x="54" y="84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60" y="78"/>
                </a:lnTo>
                <a:lnTo>
                  <a:pt x="60" y="72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6" y="60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72" y="54"/>
                </a:lnTo>
                <a:lnTo>
                  <a:pt x="72" y="54"/>
                </a:lnTo>
                <a:lnTo>
                  <a:pt x="66" y="54"/>
                </a:lnTo>
                <a:lnTo>
                  <a:pt x="72" y="54"/>
                </a:lnTo>
                <a:lnTo>
                  <a:pt x="66" y="54"/>
                </a:lnTo>
                <a:lnTo>
                  <a:pt x="66" y="54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8" y="24"/>
                </a:lnTo>
                <a:lnTo>
                  <a:pt x="78" y="18"/>
                </a:lnTo>
                <a:lnTo>
                  <a:pt x="78" y="18"/>
                </a:lnTo>
                <a:lnTo>
                  <a:pt x="78" y="12"/>
                </a:lnTo>
                <a:lnTo>
                  <a:pt x="78" y="12"/>
                </a:lnTo>
                <a:lnTo>
                  <a:pt x="72" y="12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0"/>
                </a:lnTo>
                <a:lnTo>
                  <a:pt x="72" y="0"/>
                </a:lnTo>
                <a:lnTo>
                  <a:pt x="66" y="6"/>
                </a:lnTo>
                <a:lnTo>
                  <a:pt x="66" y="0"/>
                </a:lnTo>
                <a:lnTo>
                  <a:pt x="72" y="0"/>
                </a:lnTo>
                <a:lnTo>
                  <a:pt x="72" y="0"/>
                </a:lnTo>
                <a:lnTo>
                  <a:pt x="78" y="0"/>
                </a:lnTo>
                <a:lnTo>
                  <a:pt x="78" y="0"/>
                </a:lnTo>
                <a:lnTo>
                  <a:pt x="84" y="0"/>
                </a:lnTo>
                <a:lnTo>
                  <a:pt x="84" y="0"/>
                </a:lnTo>
                <a:lnTo>
                  <a:pt x="84" y="6"/>
                </a:lnTo>
                <a:lnTo>
                  <a:pt x="84" y="6"/>
                </a:lnTo>
                <a:lnTo>
                  <a:pt x="90" y="6"/>
                </a:lnTo>
                <a:lnTo>
                  <a:pt x="90" y="12"/>
                </a:lnTo>
                <a:lnTo>
                  <a:pt x="102" y="12"/>
                </a:lnTo>
                <a:lnTo>
                  <a:pt x="108" y="12"/>
                </a:lnTo>
                <a:lnTo>
                  <a:pt x="108" y="6"/>
                </a:lnTo>
                <a:lnTo>
                  <a:pt x="108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20" y="12"/>
                </a:lnTo>
                <a:lnTo>
                  <a:pt x="120" y="12"/>
                </a:lnTo>
                <a:lnTo>
                  <a:pt x="114" y="12"/>
                </a:lnTo>
                <a:lnTo>
                  <a:pt x="114" y="12"/>
                </a:lnTo>
                <a:lnTo>
                  <a:pt x="108" y="12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30"/>
                </a:lnTo>
                <a:lnTo>
                  <a:pt x="108" y="36"/>
                </a:lnTo>
                <a:lnTo>
                  <a:pt x="114" y="42"/>
                </a:lnTo>
                <a:lnTo>
                  <a:pt x="114" y="42"/>
                </a:lnTo>
                <a:lnTo>
                  <a:pt x="114" y="48"/>
                </a:lnTo>
                <a:lnTo>
                  <a:pt x="114" y="48"/>
                </a:lnTo>
                <a:lnTo>
                  <a:pt x="120" y="48"/>
                </a:lnTo>
                <a:lnTo>
                  <a:pt x="120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8" y="42"/>
                </a:lnTo>
                <a:lnTo>
                  <a:pt x="138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50" y="36"/>
                </a:lnTo>
                <a:lnTo>
                  <a:pt x="150" y="36"/>
                </a:lnTo>
                <a:lnTo>
                  <a:pt x="156" y="42"/>
                </a:lnTo>
                <a:lnTo>
                  <a:pt x="156" y="42"/>
                </a:lnTo>
                <a:lnTo>
                  <a:pt x="156" y="48"/>
                </a:lnTo>
                <a:lnTo>
                  <a:pt x="156" y="48"/>
                </a:lnTo>
                <a:lnTo>
                  <a:pt x="156" y="66"/>
                </a:lnTo>
                <a:lnTo>
                  <a:pt x="156" y="66"/>
                </a:lnTo>
                <a:lnTo>
                  <a:pt x="162" y="72"/>
                </a:lnTo>
                <a:lnTo>
                  <a:pt x="162" y="72"/>
                </a:lnTo>
                <a:lnTo>
                  <a:pt x="162" y="66"/>
                </a:lnTo>
                <a:lnTo>
                  <a:pt x="162" y="72"/>
                </a:lnTo>
                <a:lnTo>
                  <a:pt x="162" y="72"/>
                </a:lnTo>
                <a:lnTo>
                  <a:pt x="162" y="72"/>
                </a:lnTo>
                <a:lnTo>
                  <a:pt x="162" y="72"/>
                </a:lnTo>
                <a:lnTo>
                  <a:pt x="162" y="72"/>
                </a:lnTo>
                <a:lnTo>
                  <a:pt x="162" y="72"/>
                </a:lnTo>
                <a:lnTo>
                  <a:pt x="162" y="72"/>
                </a:lnTo>
                <a:lnTo>
                  <a:pt x="162" y="78"/>
                </a:lnTo>
                <a:lnTo>
                  <a:pt x="162" y="78"/>
                </a:lnTo>
                <a:lnTo>
                  <a:pt x="168" y="78"/>
                </a:lnTo>
                <a:lnTo>
                  <a:pt x="168" y="84"/>
                </a:lnTo>
                <a:lnTo>
                  <a:pt x="168" y="84"/>
                </a:lnTo>
                <a:lnTo>
                  <a:pt x="168" y="84"/>
                </a:lnTo>
                <a:lnTo>
                  <a:pt x="168" y="84"/>
                </a:lnTo>
                <a:lnTo>
                  <a:pt x="174" y="84"/>
                </a:lnTo>
                <a:lnTo>
                  <a:pt x="168" y="96"/>
                </a:lnTo>
                <a:lnTo>
                  <a:pt x="168" y="96"/>
                </a:lnTo>
                <a:lnTo>
                  <a:pt x="168" y="96"/>
                </a:lnTo>
                <a:lnTo>
                  <a:pt x="168" y="96"/>
                </a:lnTo>
                <a:lnTo>
                  <a:pt x="174" y="96"/>
                </a:lnTo>
                <a:lnTo>
                  <a:pt x="174" y="96"/>
                </a:lnTo>
                <a:lnTo>
                  <a:pt x="174" y="96"/>
                </a:lnTo>
                <a:lnTo>
                  <a:pt x="174" y="96"/>
                </a:lnTo>
                <a:lnTo>
                  <a:pt x="174" y="96"/>
                </a:lnTo>
                <a:lnTo>
                  <a:pt x="174" y="96"/>
                </a:lnTo>
                <a:lnTo>
                  <a:pt x="180" y="102"/>
                </a:lnTo>
                <a:lnTo>
                  <a:pt x="174" y="102"/>
                </a:lnTo>
                <a:lnTo>
                  <a:pt x="174" y="102"/>
                </a:lnTo>
                <a:lnTo>
                  <a:pt x="174" y="108"/>
                </a:lnTo>
                <a:lnTo>
                  <a:pt x="174" y="108"/>
                </a:lnTo>
                <a:lnTo>
                  <a:pt x="174" y="108"/>
                </a:lnTo>
                <a:lnTo>
                  <a:pt x="174" y="114"/>
                </a:lnTo>
                <a:lnTo>
                  <a:pt x="174" y="114"/>
                </a:lnTo>
                <a:lnTo>
                  <a:pt x="174" y="114"/>
                </a:lnTo>
                <a:lnTo>
                  <a:pt x="168" y="114"/>
                </a:lnTo>
                <a:lnTo>
                  <a:pt x="168" y="114"/>
                </a:lnTo>
                <a:lnTo>
                  <a:pt x="168" y="114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56" y="120"/>
                </a:lnTo>
                <a:lnTo>
                  <a:pt x="156" y="126"/>
                </a:lnTo>
                <a:lnTo>
                  <a:pt x="156" y="126"/>
                </a:lnTo>
                <a:lnTo>
                  <a:pt x="150" y="126"/>
                </a:lnTo>
                <a:lnTo>
                  <a:pt x="150" y="120"/>
                </a:lnTo>
                <a:lnTo>
                  <a:pt x="150" y="120"/>
                </a:lnTo>
                <a:lnTo>
                  <a:pt x="150" y="126"/>
                </a:lnTo>
                <a:lnTo>
                  <a:pt x="150" y="126"/>
                </a:lnTo>
                <a:lnTo>
                  <a:pt x="144" y="120"/>
                </a:lnTo>
                <a:lnTo>
                  <a:pt x="138" y="120"/>
                </a:lnTo>
                <a:lnTo>
                  <a:pt x="138" y="120"/>
                </a:lnTo>
                <a:lnTo>
                  <a:pt x="138" y="120"/>
                </a:lnTo>
                <a:lnTo>
                  <a:pt x="138" y="120"/>
                </a:lnTo>
                <a:lnTo>
                  <a:pt x="138" y="126"/>
                </a:lnTo>
                <a:lnTo>
                  <a:pt x="138" y="126"/>
                </a:lnTo>
                <a:lnTo>
                  <a:pt x="138" y="126"/>
                </a:lnTo>
                <a:lnTo>
                  <a:pt x="138" y="126"/>
                </a:lnTo>
                <a:lnTo>
                  <a:pt x="138" y="126"/>
                </a:lnTo>
                <a:lnTo>
                  <a:pt x="138" y="126"/>
                </a:lnTo>
                <a:lnTo>
                  <a:pt x="138" y="126"/>
                </a:lnTo>
                <a:lnTo>
                  <a:pt x="138" y="132"/>
                </a:lnTo>
                <a:lnTo>
                  <a:pt x="138" y="132"/>
                </a:lnTo>
                <a:lnTo>
                  <a:pt x="132" y="132"/>
                </a:lnTo>
                <a:lnTo>
                  <a:pt x="138" y="132"/>
                </a:lnTo>
                <a:lnTo>
                  <a:pt x="138" y="132"/>
                </a:lnTo>
                <a:lnTo>
                  <a:pt x="132" y="138"/>
                </a:lnTo>
                <a:lnTo>
                  <a:pt x="132" y="138"/>
                </a:lnTo>
                <a:lnTo>
                  <a:pt x="132" y="144"/>
                </a:lnTo>
                <a:lnTo>
                  <a:pt x="132" y="144"/>
                </a:lnTo>
                <a:lnTo>
                  <a:pt x="132" y="144"/>
                </a:lnTo>
                <a:lnTo>
                  <a:pt x="132" y="144"/>
                </a:lnTo>
                <a:lnTo>
                  <a:pt x="132" y="144"/>
                </a:lnTo>
                <a:lnTo>
                  <a:pt x="138" y="144"/>
                </a:lnTo>
                <a:lnTo>
                  <a:pt x="132" y="144"/>
                </a:lnTo>
                <a:lnTo>
                  <a:pt x="132" y="150"/>
                </a:lnTo>
                <a:lnTo>
                  <a:pt x="132" y="150"/>
                </a:lnTo>
                <a:lnTo>
                  <a:pt x="132" y="150"/>
                </a:lnTo>
                <a:lnTo>
                  <a:pt x="132" y="150"/>
                </a:lnTo>
                <a:lnTo>
                  <a:pt x="132" y="150"/>
                </a:lnTo>
                <a:lnTo>
                  <a:pt x="132" y="156"/>
                </a:lnTo>
                <a:lnTo>
                  <a:pt x="132" y="156"/>
                </a:lnTo>
                <a:lnTo>
                  <a:pt x="132" y="156"/>
                </a:lnTo>
                <a:lnTo>
                  <a:pt x="132" y="156"/>
                </a:lnTo>
                <a:lnTo>
                  <a:pt x="132" y="162"/>
                </a:lnTo>
                <a:lnTo>
                  <a:pt x="132" y="162"/>
                </a:lnTo>
                <a:lnTo>
                  <a:pt x="132" y="162"/>
                </a:lnTo>
                <a:lnTo>
                  <a:pt x="132" y="162"/>
                </a:lnTo>
                <a:lnTo>
                  <a:pt x="132" y="162"/>
                </a:lnTo>
                <a:lnTo>
                  <a:pt x="132" y="162"/>
                </a:lnTo>
                <a:lnTo>
                  <a:pt x="132" y="162"/>
                </a:lnTo>
                <a:lnTo>
                  <a:pt x="132" y="168"/>
                </a:lnTo>
                <a:lnTo>
                  <a:pt x="126" y="168"/>
                </a:lnTo>
                <a:lnTo>
                  <a:pt x="126" y="168"/>
                </a:lnTo>
                <a:lnTo>
                  <a:pt x="126" y="162"/>
                </a:lnTo>
                <a:lnTo>
                  <a:pt x="126" y="162"/>
                </a:lnTo>
                <a:lnTo>
                  <a:pt x="126" y="162"/>
                </a:lnTo>
                <a:lnTo>
                  <a:pt x="126" y="162"/>
                </a:lnTo>
                <a:lnTo>
                  <a:pt x="126" y="162"/>
                </a:lnTo>
                <a:lnTo>
                  <a:pt x="120" y="162"/>
                </a:lnTo>
                <a:lnTo>
                  <a:pt x="120" y="162"/>
                </a:lnTo>
                <a:lnTo>
                  <a:pt x="120" y="156"/>
                </a:lnTo>
                <a:lnTo>
                  <a:pt x="120" y="156"/>
                </a:lnTo>
                <a:lnTo>
                  <a:pt x="114" y="162"/>
                </a:lnTo>
                <a:lnTo>
                  <a:pt x="114" y="162"/>
                </a:lnTo>
                <a:lnTo>
                  <a:pt x="114" y="162"/>
                </a:lnTo>
                <a:lnTo>
                  <a:pt x="108" y="156"/>
                </a:lnTo>
                <a:lnTo>
                  <a:pt x="108" y="156"/>
                </a:lnTo>
                <a:lnTo>
                  <a:pt x="108" y="156"/>
                </a:lnTo>
                <a:lnTo>
                  <a:pt x="108" y="156"/>
                </a:lnTo>
                <a:lnTo>
                  <a:pt x="102" y="162"/>
                </a:lnTo>
                <a:lnTo>
                  <a:pt x="102" y="162"/>
                </a:lnTo>
                <a:lnTo>
                  <a:pt x="102" y="162"/>
                </a:lnTo>
                <a:lnTo>
                  <a:pt x="102" y="162"/>
                </a:lnTo>
                <a:lnTo>
                  <a:pt x="102" y="162"/>
                </a:lnTo>
                <a:lnTo>
                  <a:pt x="102" y="162"/>
                </a:lnTo>
                <a:lnTo>
                  <a:pt x="102" y="162"/>
                </a:lnTo>
                <a:lnTo>
                  <a:pt x="102" y="162"/>
                </a:lnTo>
                <a:lnTo>
                  <a:pt x="102" y="162"/>
                </a:lnTo>
                <a:lnTo>
                  <a:pt x="102" y="168"/>
                </a:lnTo>
                <a:lnTo>
                  <a:pt x="102" y="162"/>
                </a:lnTo>
                <a:lnTo>
                  <a:pt x="96" y="162"/>
                </a:lnTo>
                <a:lnTo>
                  <a:pt x="96" y="168"/>
                </a:lnTo>
                <a:lnTo>
                  <a:pt x="96" y="168"/>
                </a:lnTo>
                <a:lnTo>
                  <a:pt x="96" y="168"/>
                </a:lnTo>
                <a:lnTo>
                  <a:pt x="96" y="168"/>
                </a:lnTo>
                <a:lnTo>
                  <a:pt x="96" y="168"/>
                </a:lnTo>
                <a:lnTo>
                  <a:pt x="96" y="168"/>
                </a:lnTo>
                <a:lnTo>
                  <a:pt x="90" y="168"/>
                </a:lnTo>
                <a:lnTo>
                  <a:pt x="90" y="168"/>
                </a:lnTo>
                <a:lnTo>
                  <a:pt x="90" y="168"/>
                </a:lnTo>
                <a:lnTo>
                  <a:pt x="90" y="168"/>
                </a:lnTo>
                <a:lnTo>
                  <a:pt x="90" y="168"/>
                </a:lnTo>
                <a:lnTo>
                  <a:pt x="90" y="168"/>
                </a:lnTo>
                <a:lnTo>
                  <a:pt x="90" y="168"/>
                </a:lnTo>
                <a:lnTo>
                  <a:pt x="90" y="168"/>
                </a:lnTo>
                <a:lnTo>
                  <a:pt x="84" y="168"/>
                </a:lnTo>
                <a:lnTo>
                  <a:pt x="84" y="168"/>
                </a:lnTo>
                <a:lnTo>
                  <a:pt x="84" y="168"/>
                </a:lnTo>
                <a:lnTo>
                  <a:pt x="84" y="168"/>
                </a:lnTo>
                <a:lnTo>
                  <a:pt x="84" y="168"/>
                </a:lnTo>
                <a:lnTo>
                  <a:pt x="84" y="168"/>
                </a:lnTo>
                <a:lnTo>
                  <a:pt x="84" y="174"/>
                </a:lnTo>
                <a:lnTo>
                  <a:pt x="84" y="174"/>
                </a:lnTo>
                <a:lnTo>
                  <a:pt x="84" y="174"/>
                </a:lnTo>
                <a:lnTo>
                  <a:pt x="84" y="174"/>
                </a:lnTo>
                <a:lnTo>
                  <a:pt x="78" y="174"/>
                </a:lnTo>
                <a:lnTo>
                  <a:pt x="78" y="174"/>
                </a:lnTo>
                <a:lnTo>
                  <a:pt x="78" y="174"/>
                </a:lnTo>
                <a:lnTo>
                  <a:pt x="78" y="174"/>
                </a:lnTo>
                <a:lnTo>
                  <a:pt x="78" y="174"/>
                </a:lnTo>
                <a:lnTo>
                  <a:pt x="78" y="174"/>
                </a:lnTo>
                <a:lnTo>
                  <a:pt x="78" y="174"/>
                </a:lnTo>
                <a:lnTo>
                  <a:pt x="78" y="174"/>
                </a:lnTo>
                <a:lnTo>
                  <a:pt x="78" y="174"/>
                </a:lnTo>
                <a:lnTo>
                  <a:pt x="78" y="180"/>
                </a:lnTo>
                <a:lnTo>
                  <a:pt x="78" y="180"/>
                </a:lnTo>
                <a:lnTo>
                  <a:pt x="72" y="180"/>
                </a:lnTo>
                <a:lnTo>
                  <a:pt x="78" y="180"/>
                </a:lnTo>
                <a:lnTo>
                  <a:pt x="72" y="180"/>
                </a:lnTo>
                <a:lnTo>
                  <a:pt x="72" y="180"/>
                </a:lnTo>
                <a:lnTo>
                  <a:pt x="72" y="186"/>
                </a:lnTo>
                <a:lnTo>
                  <a:pt x="72" y="186"/>
                </a:lnTo>
                <a:lnTo>
                  <a:pt x="72" y="186"/>
                </a:lnTo>
                <a:lnTo>
                  <a:pt x="72" y="186"/>
                </a:lnTo>
                <a:lnTo>
                  <a:pt x="72" y="186"/>
                </a:lnTo>
                <a:lnTo>
                  <a:pt x="72" y="186"/>
                </a:lnTo>
                <a:lnTo>
                  <a:pt x="72" y="186"/>
                </a:lnTo>
                <a:lnTo>
                  <a:pt x="72" y="192"/>
                </a:lnTo>
                <a:lnTo>
                  <a:pt x="72" y="192"/>
                </a:lnTo>
                <a:lnTo>
                  <a:pt x="66" y="186"/>
                </a:lnTo>
                <a:lnTo>
                  <a:pt x="66" y="186"/>
                </a:lnTo>
                <a:lnTo>
                  <a:pt x="66" y="186"/>
                </a:lnTo>
                <a:lnTo>
                  <a:pt x="60" y="186"/>
                </a:lnTo>
                <a:lnTo>
                  <a:pt x="60" y="192"/>
                </a:lnTo>
                <a:lnTo>
                  <a:pt x="60" y="192"/>
                </a:lnTo>
                <a:lnTo>
                  <a:pt x="60" y="186"/>
                </a:lnTo>
                <a:lnTo>
                  <a:pt x="60" y="186"/>
                </a:lnTo>
                <a:lnTo>
                  <a:pt x="60" y="186"/>
                </a:lnTo>
                <a:lnTo>
                  <a:pt x="60" y="186"/>
                </a:lnTo>
                <a:lnTo>
                  <a:pt x="54" y="186"/>
                </a:lnTo>
                <a:lnTo>
                  <a:pt x="54" y="186"/>
                </a:lnTo>
                <a:lnTo>
                  <a:pt x="54" y="186"/>
                </a:lnTo>
                <a:lnTo>
                  <a:pt x="54" y="186"/>
                </a:lnTo>
                <a:lnTo>
                  <a:pt x="54" y="186"/>
                </a:lnTo>
                <a:lnTo>
                  <a:pt x="54" y="180"/>
                </a:lnTo>
                <a:lnTo>
                  <a:pt x="54" y="180"/>
                </a:lnTo>
                <a:lnTo>
                  <a:pt x="54" y="180"/>
                </a:lnTo>
                <a:lnTo>
                  <a:pt x="48" y="180"/>
                </a:lnTo>
                <a:lnTo>
                  <a:pt x="48" y="180"/>
                </a:lnTo>
                <a:lnTo>
                  <a:pt x="48" y="180"/>
                </a:lnTo>
                <a:lnTo>
                  <a:pt x="42" y="180"/>
                </a:lnTo>
                <a:lnTo>
                  <a:pt x="42" y="180"/>
                </a:lnTo>
                <a:lnTo>
                  <a:pt x="42" y="180"/>
                </a:lnTo>
                <a:lnTo>
                  <a:pt x="42" y="180"/>
                </a:lnTo>
                <a:lnTo>
                  <a:pt x="36" y="174"/>
                </a:lnTo>
                <a:lnTo>
                  <a:pt x="36" y="174"/>
                </a:lnTo>
                <a:lnTo>
                  <a:pt x="36" y="174"/>
                </a:lnTo>
                <a:lnTo>
                  <a:pt x="30" y="174"/>
                </a:lnTo>
                <a:lnTo>
                  <a:pt x="30" y="174"/>
                </a:lnTo>
                <a:lnTo>
                  <a:pt x="30" y="174"/>
                </a:lnTo>
                <a:lnTo>
                  <a:pt x="24" y="174"/>
                </a:lnTo>
                <a:lnTo>
                  <a:pt x="24" y="174"/>
                </a:lnTo>
                <a:lnTo>
                  <a:pt x="18" y="174"/>
                </a:lnTo>
                <a:lnTo>
                  <a:pt x="18" y="174"/>
                </a:lnTo>
                <a:lnTo>
                  <a:pt x="18" y="168"/>
                </a:lnTo>
                <a:lnTo>
                  <a:pt x="12" y="168"/>
                </a:lnTo>
                <a:lnTo>
                  <a:pt x="12" y="168"/>
                </a:lnTo>
                <a:lnTo>
                  <a:pt x="6" y="168"/>
                </a:lnTo>
                <a:lnTo>
                  <a:pt x="6" y="168"/>
                </a:lnTo>
                <a:lnTo>
                  <a:pt x="0" y="168"/>
                </a:lnTo>
                <a:lnTo>
                  <a:pt x="0" y="168"/>
                </a:lnTo>
                <a:lnTo>
                  <a:pt x="0" y="168"/>
                </a:lnTo>
                <a:lnTo>
                  <a:pt x="0" y="162"/>
                </a:lnTo>
                <a:lnTo>
                  <a:pt x="0" y="162"/>
                </a:lnTo>
                <a:lnTo>
                  <a:pt x="0" y="162"/>
                </a:lnTo>
                <a:lnTo>
                  <a:pt x="0" y="16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10" name="Freeform 343"/>
          <p:cNvSpPr>
            <a:spLocks/>
          </p:cNvSpPr>
          <p:nvPr/>
        </p:nvSpPr>
        <p:spPr bwMode="auto">
          <a:xfrm>
            <a:off x="7044576" y="4135004"/>
            <a:ext cx="102785" cy="57817"/>
          </a:xfrm>
          <a:custGeom>
            <a:avLst/>
            <a:gdLst>
              <a:gd name="T0" fmla="*/ 0 w 96"/>
              <a:gd name="T1" fmla="*/ 42 h 54"/>
              <a:gd name="T2" fmla="*/ 6 w 96"/>
              <a:gd name="T3" fmla="*/ 30 h 54"/>
              <a:gd name="T4" fmla="*/ 12 w 96"/>
              <a:gd name="T5" fmla="*/ 24 h 54"/>
              <a:gd name="T6" fmla="*/ 12 w 96"/>
              <a:gd name="T7" fmla="*/ 18 h 54"/>
              <a:gd name="T8" fmla="*/ 6 w 96"/>
              <a:gd name="T9" fmla="*/ 12 h 54"/>
              <a:gd name="T10" fmla="*/ 12 w 96"/>
              <a:gd name="T11" fmla="*/ 6 h 54"/>
              <a:gd name="T12" fmla="*/ 18 w 96"/>
              <a:gd name="T13" fmla="*/ 6 h 54"/>
              <a:gd name="T14" fmla="*/ 24 w 96"/>
              <a:gd name="T15" fmla="*/ 6 h 54"/>
              <a:gd name="T16" fmla="*/ 24 w 96"/>
              <a:gd name="T17" fmla="*/ 0 h 54"/>
              <a:gd name="T18" fmla="*/ 30 w 96"/>
              <a:gd name="T19" fmla="*/ 0 h 54"/>
              <a:gd name="T20" fmla="*/ 36 w 96"/>
              <a:gd name="T21" fmla="*/ 6 h 54"/>
              <a:gd name="T22" fmla="*/ 36 w 96"/>
              <a:gd name="T23" fmla="*/ 6 h 54"/>
              <a:gd name="T24" fmla="*/ 48 w 96"/>
              <a:gd name="T25" fmla="*/ 0 h 54"/>
              <a:gd name="T26" fmla="*/ 54 w 96"/>
              <a:gd name="T27" fmla="*/ 6 h 54"/>
              <a:gd name="T28" fmla="*/ 54 w 96"/>
              <a:gd name="T29" fmla="*/ 6 h 54"/>
              <a:gd name="T30" fmla="*/ 54 w 96"/>
              <a:gd name="T31" fmla="*/ 18 h 54"/>
              <a:gd name="T32" fmla="*/ 54 w 96"/>
              <a:gd name="T33" fmla="*/ 18 h 54"/>
              <a:gd name="T34" fmla="*/ 54 w 96"/>
              <a:gd name="T35" fmla="*/ 24 h 54"/>
              <a:gd name="T36" fmla="*/ 60 w 96"/>
              <a:gd name="T37" fmla="*/ 24 h 54"/>
              <a:gd name="T38" fmla="*/ 60 w 96"/>
              <a:gd name="T39" fmla="*/ 30 h 54"/>
              <a:gd name="T40" fmla="*/ 60 w 96"/>
              <a:gd name="T41" fmla="*/ 30 h 54"/>
              <a:gd name="T42" fmla="*/ 66 w 96"/>
              <a:gd name="T43" fmla="*/ 30 h 54"/>
              <a:gd name="T44" fmla="*/ 66 w 96"/>
              <a:gd name="T45" fmla="*/ 30 h 54"/>
              <a:gd name="T46" fmla="*/ 72 w 96"/>
              <a:gd name="T47" fmla="*/ 30 h 54"/>
              <a:gd name="T48" fmla="*/ 72 w 96"/>
              <a:gd name="T49" fmla="*/ 30 h 54"/>
              <a:gd name="T50" fmla="*/ 78 w 96"/>
              <a:gd name="T51" fmla="*/ 36 h 54"/>
              <a:gd name="T52" fmla="*/ 78 w 96"/>
              <a:gd name="T53" fmla="*/ 30 h 54"/>
              <a:gd name="T54" fmla="*/ 84 w 96"/>
              <a:gd name="T55" fmla="*/ 30 h 54"/>
              <a:gd name="T56" fmla="*/ 84 w 96"/>
              <a:gd name="T57" fmla="*/ 30 h 54"/>
              <a:gd name="T58" fmla="*/ 90 w 96"/>
              <a:gd name="T59" fmla="*/ 36 h 54"/>
              <a:gd name="T60" fmla="*/ 96 w 96"/>
              <a:gd name="T61" fmla="*/ 36 h 54"/>
              <a:gd name="T62" fmla="*/ 96 w 96"/>
              <a:gd name="T63" fmla="*/ 42 h 54"/>
              <a:gd name="T64" fmla="*/ 96 w 96"/>
              <a:gd name="T65" fmla="*/ 48 h 54"/>
              <a:gd name="T66" fmla="*/ 90 w 96"/>
              <a:gd name="T67" fmla="*/ 48 h 54"/>
              <a:gd name="T68" fmla="*/ 90 w 96"/>
              <a:gd name="T69" fmla="*/ 54 h 54"/>
              <a:gd name="T70" fmla="*/ 84 w 96"/>
              <a:gd name="T71" fmla="*/ 48 h 54"/>
              <a:gd name="T72" fmla="*/ 72 w 96"/>
              <a:gd name="T73" fmla="*/ 48 h 54"/>
              <a:gd name="T74" fmla="*/ 66 w 96"/>
              <a:gd name="T75" fmla="*/ 42 h 54"/>
              <a:gd name="T76" fmla="*/ 60 w 96"/>
              <a:gd name="T77" fmla="*/ 42 h 54"/>
              <a:gd name="T78" fmla="*/ 48 w 96"/>
              <a:gd name="T79" fmla="*/ 42 h 54"/>
              <a:gd name="T80" fmla="*/ 48 w 96"/>
              <a:gd name="T81" fmla="*/ 42 h 54"/>
              <a:gd name="T82" fmla="*/ 42 w 96"/>
              <a:gd name="T83" fmla="*/ 48 h 54"/>
              <a:gd name="T84" fmla="*/ 36 w 96"/>
              <a:gd name="T85" fmla="*/ 42 h 54"/>
              <a:gd name="T86" fmla="*/ 30 w 96"/>
              <a:gd name="T87" fmla="*/ 48 h 54"/>
              <a:gd name="T88" fmla="*/ 18 w 96"/>
              <a:gd name="T89" fmla="*/ 42 h 54"/>
              <a:gd name="T90" fmla="*/ 12 w 96"/>
              <a:gd name="T91" fmla="*/ 42 h 54"/>
              <a:gd name="T92" fmla="*/ 6 w 96"/>
              <a:gd name="T93" fmla="*/ 42 h 54"/>
              <a:gd name="T94" fmla="*/ 0 w 96"/>
              <a:gd name="T95" fmla="*/ 42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96" h="54">
                <a:moveTo>
                  <a:pt x="0" y="36"/>
                </a:moveTo>
                <a:lnTo>
                  <a:pt x="0" y="36"/>
                </a:lnTo>
                <a:lnTo>
                  <a:pt x="0" y="42"/>
                </a:lnTo>
                <a:lnTo>
                  <a:pt x="0" y="42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12" y="30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12" y="12"/>
                </a:lnTo>
                <a:lnTo>
                  <a:pt x="12" y="12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24" y="6"/>
                </a:lnTo>
                <a:lnTo>
                  <a:pt x="24" y="6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8" y="0"/>
                </a:lnTo>
                <a:lnTo>
                  <a:pt x="48" y="0"/>
                </a:lnTo>
                <a:lnTo>
                  <a:pt x="54" y="0"/>
                </a:lnTo>
                <a:lnTo>
                  <a:pt x="54" y="0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12"/>
                </a:lnTo>
                <a:lnTo>
                  <a:pt x="54" y="12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54" y="24"/>
                </a:lnTo>
                <a:lnTo>
                  <a:pt x="54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8" y="30"/>
                </a:lnTo>
                <a:lnTo>
                  <a:pt x="72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6"/>
                </a:lnTo>
                <a:lnTo>
                  <a:pt x="78" y="36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54"/>
                </a:lnTo>
                <a:lnTo>
                  <a:pt x="84" y="54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78" y="48"/>
                </a:lnTo>
                <a:lnTo>
                  <a:pt x="78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0" y="48"/>
                </a:lnTo>
                <a:lnTo>
                  <a:pt x="60" y="48"/>
                </a:lnTo>
                <a:lnTo>
                  <a:pt x="60" y="42"/>
                </a:lnTo>
                <a:lnTo>
                  <a:pt x="60" y="42"/>
                </a:lnTo>
                <a:lnTo>
                  <a:pt x="54" y="42"/>
                </a:lnTo>
                <a:lnTo>
                  <a:pt x="54" y="48"/>
                </a:lnTo>
                <a:lnTo>
                  <a:pt x="54" y="48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0" y="42"/>
                </a:lnTo>
                <a:lnTo>
                  <a:pt x="30" y="48"/>
                </a:lnTo>
                <a:lnTo>
                  <a:pt x="30" y="42"/>
                </a:lnTo>
                <a:lnTo>
                  <a:pt x="24" y="42"/>
                </a:lnTo>
                <a:lnTo>
                  <a:pt x="24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0" y="42"/>
                </a:lnTo>
                <a:lnTo>
                  <a:pt x="0" y="42"/>
                </a:lnTo>
                <a:lnTo>
                  <a:pt x="0" y="3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11" name="Freeform 344"/>
          <p:cNvSpPr>
            <a:spLocks/>
          </p:cNvSpPr>
          <p:nvPr/>
        </p:nvSpPr>
        <p:spPr bwMode="auto">
          <a:xfrm>
            <a:off x="7076696" y="4064339"/>
            <a:ext cx="122057" cy="147754"/>
          </a:xfrm>
          <a:custGeom>
            <a:avLst/>
            <a:gdLst>
              <a:gd name="T0" fmla="*/ 6 w 114"/>
              <a:gd name="T1" fmla="*/ 42 h 138"/>
              <a:gd name="T2" fmla="*/ 12 w 114"/>
              <a:gd name="T3" fmla="*/ 36 h 138"/>
              <a:gd name="T4" fmla="*/ 18 w 114"/>
              <a:gd name="T5" fmla="*/ 24 h 138"/>
              <a:gd name="T6" fmla="*/ 24 w 114"/>
              <a:gd name="T7" fmla="*/ 24 h 138"/>
              <a:gd name="T8" fmla="*/ 24 w 114"/>
              <a:gd name="T9" fmla="*/ 12 h 138"/>
              <a:gd name="T10" fmla="*/ 30 w 114"/>
              <a:gd name="T11" fmla="*/ 12 h 138"/>
              <a:gd name="T12" fmla="*/ 36 w 114"/>
              <a:gd name="T13" fmla="*/ 6 h 138"/>
              <a:gd name="T14" fmla="*/ 42 w 114"/>
              <a:gd name="T15" fmla="*/ 6 h 138"/>
              <a:gd name="T16" fmla="*/ 48 w 114"/>
              <a:gd name="T17" fmla="*/ 12 h 138"/>
              <a:gd name="T18" fmla="*/ 48 w 114"/>
              <a:gd name="T19" fmla="*/ 18 h 138"/>
              <a:gd name="T20" fmla="*/ 48 w 114"/>
              <a:gd name="T21" fmla="*/ 24 h 138"/>
              <a:gd name="T22" fmla="*/ 54 w 114"/>
              <a:gd name="T23" fmla="*/ 24 h 138"/>
              <a:gd name="T24" fmla="*/ 60 w 114"/>
              <a:gd name="T25" fmla="*/ 24 h 138"/>
              <a:gd name="T26" fmla="*/ 66 w 114"/>
              <a:gd name="T27" fmla="*/ 18 h 138"/>
              <a:gd name="T28" fmla="*/ 72 w 114"/>
              <a:gd name="T29" fmla="*/ 18 h 138"/>
              <a:gd name="T30" fmla="*/ 78 w 114"/>
              <a:gd name="T31" fmla="*/ 18 h 138"/>
              <a:gd name="T32" fmla="*/ 90 w 114"/>
              <a:gd name="T33" fmla="*/ 18 h 138"/>
              <a:gd name="T34" fmla="*/ 96 w 114"/>
              <a:gd name="T35" fmla="*/ 18 h 138"/>
              <a:gd name="T36" fmla="*/ 96 w 114"/>
              <a:gd name="T37" fmla="*/ 24 h 138"/>
              <a:gd name="T38" fmla="*/ 102 w 114"/>
              <a:gd name="T39" fmla="*/ 24 h 138"/>
              <a:gd name="T40" fmla="*/ 114 w 114"/>
              <a:gd name="T41" fmla="*/ 24 h 138"/>
              <a:gd name="T42" fmla="*/ 114 w 114"/>
              <a:gd name="T43" fmla="*/ 36 h 138"/>
              <a:gd name="T44" fmla="*/ 114 w 114"/>
              <a:gd name="T45" fmla="*/ 42 h 138"/>
              <a:gd name="T46" fmla="*/ 114 w 114"/>
              <a:gd name="T47" fmla="*/ 48 h 138"/>
              <a:gd name="T48" fmla="*/ 108 w 114"/>
              <a:gd name="T49" fmla="*/ 54 h 138"/>
              <a:gd name="T50" fmla="*/ 96 w 114"/>
              <a:gd name="T51" fmla="*/ 60 h 138"/>
              <a:gd name="T52" fmla="*/ 96 w 114"/>
              <a:gd name="T53" fmla="*/ 66 h 138"/>
              <a:gd name="T54" fmla="*/ 90 w 114"/>
              <a:gd name="T55" fmla="*/ 78 h 138"/>
              <a:gd name="T56" fmla="*/ 96 w 114"/>
              <a:gd name="T57" fmla="*/ 84 h 138"/>
              <a:gd name="T58" fmla="*/ 96 w 114"/>
              <a:gd name="T59" fmla="*/ 90 h 138"/>
              <a:gd name="T60" fmla="*/ 102 w 114"/>
              <a:gd name="T61" fmla="*/ 96 h 138"/>
              <a:gd name="T62" fmla="*/ 96 w 114"/>
              <a:gd name="T63" fmla="*/ 102 h 138"/>
              <a:gd name="T64" fmla="*/ 90 w 114"/>
              <a:gd name="T65" fmla="*/ 102 h 138"/>
              <a:gd name="T66" fmla="*/ 90 w 114"/>
              <a:gd name="T67" fmla="*/ 108 h 138"/>
              <a:gd name="T68" fmla="*/ 84 w 114"/>
              <a:gd name="T69" fmla="*/ 108 h 138"/>
              <a:gd name="T70" fmla="*/ 90 w 114"/>
              <a:gd name="T71" fmla="*/ 114 h 138"/>
              <a:gd name="T72" fmla="*/ 102 w 114"/>
              <a:gd name="T73" fmla="*/ 114 h 138"/>
              <a:gd name="T74" fmla="*/ 96 w 114"/>
              <a:gd name="T75" fmla="*/ 120 h 138"/>
              <a:gd name="T76" fmla="*/ 90 w 114"/>
              <a:gd name="T77" fmla="*/ 126 h 138"/>
              <a:gd name="T78" fmla="*/ 90 w 114"/>
              <a:gd name="T79" fmla="*/ 132 h 138"/>
              <a:gd name="T80" fmla="*/ 84 w 114"/>
              <a:gd name="T81" fmla="*/ 138 h 138"/>
              <a:gd name="T82" fmla="*/ 78 w 114"/>
              <a:gd name="T83" fmla="*/ 138 h 138"/>
              <a:gd name="T84" fmla="*/ 66 w 114"/>
              <a:gd name="T85" fmla="*/ 132 h 138"/>
              <a:gd name="T86" fmla="*/ 66 w 114"/>
              <a:gd name="T87" fmla="*/ 120 h 138"/>
              <a:gd name="T88" fmla="*/ 66 w 114"/>
              <a:gd name="T89" fmla="*/ 108 h 138"/>
              <a:gd name="T90" fmla="*/ 60 w 114"/>
              <a:gd name="T91" fmla="*/ 102 h 138"/>
              <a:gd name="T92" fmla="*/ 54 w 114"/>
              <a:gd name="T93" fmla="*/ 96 h 138"/>
              <a:gd name="T94" fmla="*/ 48 w 114"/>
              <a:gd name="T95" fmla="*/ 96 h 138"/>
              <a:gd name="T96" fmla="*/ 42 w 114"/>
              <a:gd name="T97" fmla="*/ 96 h 138"/>
              <a:gd name="T98" fmla="*/ 36 w 114"/>
              <a:gd name="T99" fmla="*/ 96 h 138"/>
              <a:gd name="T100" fmla="*/ 36 w 114"/>
              <a:gd name="T101" fmla="*/ 96 h 138"/>
              <a:gd name="T102" fmla="*/ 30 w 114"/>
              <a:gd name="T103" fmla="*/ 96 h 138"/>
              <a:gd name="T104" fmla="*/ 24 w 114"/>
              <a:gd name="T105" fmla="*/ 90 h 138"/>
              <a:gd name="T106" fmla="*/ 24 w 114"/>
              <a:gd name="T107" fmla="*/ 84 h 138"/>
              <a:gd name="T108" fmla="*/ 24 w 114"/>
              <a:gd name="T109" fmla="*/ 72 h 138"/>
              <a:gd name="T110" fmla="*/ 12 w 114"/>
              <a:gd name="T111" fmla="*/ 66 h 138"/>
              <a:gd name="T112" fmla="*/ 6 w 114"/>
              <a:gd name="T113" fmla="*/ 60 h 138"/>
              <a:gd name="T114" fmla="*/ 6 w 114"/>
              <a:gd name="T115" fmla="*/ 54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14" h="138">
                <a:moveTo>
                  <a:pt x="0" y="48"/>
                </a:move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8" y="30"/>
                </a:lnTo>
                <a:lnTo>
                  <a:pt x="18" y="30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30" y="12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0"/>
                </a:lnTo>
                <a:lnTo>
                  <a:pt x="42" y="6"/>
                </a:lnTo>
                <a:lnTo>
                  <a:pt x="42" y="0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84" y="18"/>
                </a:lnTo>
                <a:lnTo>
                  <a:pt x="78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90" y="18"/>
                </a:lnTo>
                <a:lnTo>
                  <a:pt x="90" y="24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24"/>
                </a:lnTo>
                <a:lnTo>
                  <a:pt x="96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2" y="60"/>
                </a:lnTo>
                <a:lnTo>
                  <a:pt x="102" y="54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102" y="60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0" y="72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6" y="78"/>
                </a:lnTo>
                <a:lnTo>
                  <a:pt x="96" y="78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0" y="84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6"/>
                </a:lnTo>
                <a:lnTo>
                  <a:pt x="96" y="96"/>
                </a:lnTo>
                <a:lnTo>
                  <a:pt x="96" y="96"/>
                </a:lnTo>
                <a:lnTo>
                  <a:pt x="96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0" y="102"/>
                </a:lnTo>
                <a:lnTo>
                  <a:pt x="90" y="102"/>
                </a:lnTo>
                <a:lnTo>
                  <a:pt x="90" y="102"/>
                </a:lnTo>
                <a:lnTo>
                  <a:pt x="90" y="102"/>
                </a:lnTo>
                <a:lnTo>
                  <a:pt x="90" y="108"/>
                </a:lnTo>
                <a:lnTo>
                  <a:pt x="90" y="108"/>
                </a:lnTo>
                <a:lnTo>
                  <a:pt x="96" y="108"/>
                </a:lnTo>
                <a:lnTo>
                  <a:pt x="96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14"/>
                </a:lnTo>
                <a:lnTo>
                  <a:pt x="96" y="108"/>
                </a:lnTo>
                <a:lnTo>
                  <a:pt x="96" y="108"/>
                </a:lnTo>
                <a:lnTo>
                  <a:pt x="96" y="114"/>
                </a:lnTo>
                <a:lnTo>
                  <a:pt x="96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6"/>
                </a:lnTo>
                <a:lnTo>
                  <a:pt x="90" y="126"/>
                </a:lnTo>
                <a:lnTo>
                  <a:pt x="90" y="126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8"/>
                </a:lnTo>
                <a:lnTo>
                  <a:pt x="90" y="138"/>
                </a:lnTo>
                <a:lnTo>
                  <a:pt x="90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66" y="132"/>
                </a:lnTo>
                <a:lnTo>
                  <a:pt x="66" y="132"/>
                </a:lnTo>
                <a:lnTo>
                  <a:pt x="66" y="132"/>
                </a:lnTo>
                <a:lnTo>
                  <a:pt x="60" y="132"/>
                </a:lnTo>
                <a:lnTo>
                  <a:pt x="66" y="126"/>
                </a:lnTo>
                <a:lnTo>
                  <a:pt x="66" y="126"/>
                </a:lnTo>
                <a:lnTo>
                  <a:pt x="60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102"/>
                </a:lnTo>
                <a:lnTo>
                  <a:pt x="48" y="102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2" y="96"/>
                </a:lnTo>
                <a:lnTo>
                  <a:pt x="48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24" y="96"/>
                </a:lnTo>
                <a:lnTo>
                  <a:pt x="24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78"/>
                </a:lnTo>
                <a:lnTo>
                  <a:pt x="24" y="78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66"/>
                </a:lnTo>
                <a:lnTo>
                  <a:pt x="24" y="66"/>
                </a:lnTo>
                <a:lnTo>
                  <a:pt x="18" y="66"/>
                </a:lnTo>
                <a:lnTo>
                  <a:pt x="18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48"/>
                </a:lnTo>
                <a:lnTo>
                  <a:pt x="0" y="4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12" name="Freeform 345"/>
          <p:cNvSpPr>
            <a:spLocks/>
          </p:cNvSpPr>
          <p:nvPr/>
        </p:nvSpPr>
        <p:spPr bwMode="auto">
          <a:xfrm>
            <a:off x="7140936" y="4231366"/>
            <a:ext cx="83513" cy="57817"/>
          </a:xfrm>
          <a:custGeom>
            <a:avLst/>
            <a:gdLst>
              <a:gd name="T0" fmla="*/ 0 w 78"/>
              <a:gd name="T1" fmla="*/ 30 h 54"/>
              <a:gd name="T2" fmla="*/ 6 w 78"/>
              <a:gd name="T3" fmla="*/ 24 h 54"/>
              <a:gd name="T4" fmla="*/ 6 w 78"/>
              <a:gd name="T5" fmla="*/ 18 h 54"/>
              <a:gd name="T6" fmla="*/ 6 w 78"/>
              <a:gd name="T7" fmla="*/ 18 h 54"/>
              <a:gd name="T8" fmla="*/ 18 w 78"/>
              <a:gd name="T9" fmla="*/ 12 h 54"/>
              <a:gd name="T10" fmla="*/ 24 w 78"/>
              <a:gd name="T11" fmla="*/ 12 h 54"/>
              <a:gd name="T12" fmla="*/ 24 w 78"/>
              <a:gd name="T13" fmla="*/ 12 h 54"/>
              <a:gd name="T14" fmla="*/ 30 w 78"/>
              <a:gd name="T15" fmla="*/ 6 h 54"/>
              <a:gd name="T16" fmla="*/ 30 w 78"/>
              <a:gd name="T17" fmla="*/ 6 h 54"/>
              <a:gd name="T18" fmla="*/ 36 w 78"/>
              <a:gd name="T19" fmla="*/ 6 h 54"/>
              <a:gd name="T20" fmla="*/ 42 w 78"/>
              <a:gd name="T21" fmla="*/ 0 h 54"/>
              <a:gd name="T22" fmla="*/ 48 w 78"/>
              <a:gd name="T23" fmla="*/ 0 h 54"/>
              <a:gd name="T24" fmla="*/ 48 w 78"/>
              <a:gd name="T25" fmla="*/ 0 h 54"/>
              <a:gd name="T26" fmla="*/ 54 w 78"/>
              <a:gd name="T27" fmla="*/ 6 h 54"/>
              <a:gd name="T28" fmla="*/ 54 w 78"/>
              <a:gd name="T29" fmla="*/ 12 h 54"/>
              <a:gd name="T30" fmla="*/ 60 w 78"/>
              <a:gd name="T31" fmla="*/ 12 h 54"/>
              <a:gd name="T32" fmla="*/ 60 w 78"/>
              <a:gd name="T33" fmla="*/ 12 h 54"/>
              <a:gd name="T34" fmla="*/ 66 w 78"/>
              <a:gd name="T35" fmla="*/ 12 h 54"/>
              <a:gd name="T36" fmla="*/ 66 w 78"/>
              <a:gd name="T37" fmla="*/ 18 h 54"/>
              <a:gd name="T38" fmla="*/ 66 w 78"/>
              <a:gd name="T39" fmla="*/ 24 h 54"/>
              <a:gd name="T40" fmla="*/ 66 w 78"/>
              <a:gd name="T41" fmla="*/ 24 h 54"/>
              <a:gd name="T42" fmla="*/ 66 w 78"/>
              <a:gd name="T43" fmla="*/ 30 h 54"/>
              <a:gd name="T44" fmla="*/ 66 w 78"/>
              <a:gd name="T45" fmla="*/ 30 h 54"/>
              <a:gd name="T46" fmla="*/ 60 w 78"/>
              <a:gd name="T47" fmla="*/ 30 h 54"/>
              <a:gd name="T48" fmla="*/ 60 w 78"/>
              <a:gd name="T49" fmla="*/ 30 h 54"/>
              <a:gd name="T50" fmla="*/ 60 w 78"/>
              <a:gd name="T51" fmla="*/ 36 h 54"/>
              <a:gd name="T52" fmla="*/ 60 w 78"/>
              <a:gd name="T53" fmla="*/ 36 h 54"/>
              <a:gd name="T54" fmla="*/ 66 w 78"/>
              <a:gd name="T55" fmla="*/ 42 h 54"/>
              <a:gd name="T56" fmla="*/ 72 w 78"/>
              <a:gd name="T57" fmla="*/ 42 h 54"/>
              <a:gd name="T58" fmla="*/ 78 w 78"/>
              <a:gd name="T59" fmla="*/ 42 h 54"/>
              <a:gd name="T60" fmla="*/ 72 w 78"/>
              <a:gd name="T61" fmla="*/ 42 h 54"/>
              <a:gd name="T62" fmla="*/ 72 w 78"/>
              <a:gd name="T63" fmla="*/ 48 h 54"/>
              <a:gd name="T64" fmla="*/ 60 w 78"/>
              <a:gd name="T65" fmla="*/ 48 h 54"/>
              <a:gd name="T66" fmla="*/ 54 w 78"/>
              <a:gd name="T67" fmla="*/ 48 h 54"/>
              <a:gd name="T68" fmla="*/ 54 w 78"/>
              <a:gd name="T69" fmla="*/ 54 h 54"/>
              <a:gd name="T70" fmla="*/ 48 w 78"/>
              <a:gd name="T71" fmla="*/ 54 h 54"/>
              <a:gd name="T72" fmla="*/ 36 w 78"/>
              <a:gd name="T73" fmla="*/ 48 h 54"/>
              <a:gd name="T74" fmla="*/ 36 w 78"/>
              <a:gd name="T75" fmla="*/ 48 h 54"/>
              <a:gd name="T76" fmla="*/ 36 w 78"/>
              <a:gd name="T77" fmla="*/ 42 h 54"/>
              <a:gd name="T78" fmla="*/ 30 w 78"/>
              <a:gd name="T79" fmla="*/ 42 h 54"/>
              <a:gd name="T80" fmla="*/ 24 w 78"/>
              <a:gd name="T81" fmla="*/ 48 h 54"/>
              <a:gd name="T82" fmla="*/ 24 w 78"/>
              <a:gd name="T83" fmla="*/ 48 h 54"/>
              <a:gd name="T84" fmla="*/ 24 w 78"/>
              <a:gd name="T85" fmla="*/ 54 h 54"/>
              <a:gd name="T86" fmla="*/ 18 w 78"/>
              <a:gd name="T87" fmla="*/ 54 h 54"/>
              <a:gd name="T88" fmla="*/ 18 w 78"/>
              <a:gd name="T89" fmla="*/ 54 h 54"/>
              <a:gd name="T90" fmla="*/ 12 w 78"/>
              <a:gd name="T91" fmla="*/ 54 h 54"/>
              <a:gd name="T92" fmla="*/ 12 w 78"/>
              <a:gd name="T93" fmla="*/ 48 h 54"/>
              <a:gd name="T94" fmla="*/ 12 w 78"/>
              <a:gd name="T95" fmla="*/ 42 h 54"/>
              <a:gd name="T96" fmla="*/ 6 w 78"/>
              <a:gd name="T97" fmla="*/ 36 h 54"/>
              <a:gd name="T98" fmla="*/ 6 w 78"/>
              <a:gd name="T99" fmla="*/ 36 h 54"/>
              <a:gd name="T100" fmla="*/ 0 w 78"/>
              <a:gd name="T101" fmla="*/ 30 h 54"/>
              <a:gd name="T102" fmla="*/ 0 w 78"/>
              <a:gd name="T103" fmla="*/ 30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78" h="54">
                <a:moveTo>
                  <a:pt x="0" y="30"/>
                </a:move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12" y="18"/>
                </a:lnTo>
                <a:lnTo>
                  <a:pt x="12" y="18"/>
                </a:lnTo>
                <a:lnTo>
                  <a:pt x="12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0"/>
                </a:lnTo>
                <a:lnTo>
                  <a:pt x="36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lnTo>
                  <a:pt x="54" y="12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72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42"/>
                </a:lnTo>
                <a:lnTo>
                  <a:pt x="66" y="42"/>
                </a:lnTo>
                <a:lnTo>
                  <a:pt x="72" y="36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2" y="42"/>
                </a:lnTo>
                <a:lnTo>
                  <a:pt x="72" y="42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2" y="54"/>
                </a:lnTo>
                <a:lnTo>
                  <a:pt x="42" y="54"/>
                </a:lnTo>
                <a:lnTo>
                  <a:pt x="42" y="48"/>
                </a:lnTo>
                <a:lnTo>
                  <a:pt x="36" y="48"/>
                </a:lnTo>
                <a:lnTo>
                  <a:pt x="42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24" y="42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0" y="30"/>
                </a:lnTo>
                <a:lnTo>
                  <a:pt x="0" y="30"/>
                </a:lnTo>
                <a:lnTo>
                  <a:pt x="0" y="36"/>
                </a:lnTo>
                <a:lnTo>
                  <a:pt x="0" y="30"/>
                </a:lnTo>
                <a:lnTo>
                  <a:pt x="0" y="3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13" name="Freeform 346"/>
          <p:cNvSpPr>
            <a:spLocks/>
          </p:cNvSpPr>
          <p:nvPr/>
        </p:nvSpPr>
        <p:spPr bwMode="auto">
          <a:xfrm>
            <a:off x="6800462" y="4263486"/>
            <a:ext cx="128481" cy="147754"/>
          </a:xfrm>
          <a:custGeom>
            <a:avLst/>
            <a:gdLst>
              <a:gd name="T0" fmla="*/ 6 w 120"/>
              <a:gd name="T1" fmla="*/ 12 h 138"/>
              <a:gd name="T2" fmla="*/ 12 w 120"/>
              <a:gd name="T3" fmla="*/ 12 h 138"/>
              <a:gd name="T4" fmla="*/ 24 w 120"/>
              <a:gd name="T5" fmla="*/ 6 h 138"/>
              <a:gd name="T6" fmla="*/ 30 w 120"/>
              <a:gd name="T7" fmla="*/ 0 h 138"/>
              <a:gd name="T8" fmla="*/ 36 w 120"/>
              <a:gd name="T9" fmla="*/ 6 h 138"/>
              <a:gd name="T10" fmla="*/ 42 w 120"/>
              <a:gd name="T11" fmla="*/ 12 h 138"/>
              <a:gd name="T12" fmla="*/ 48 w 120"/>
              <a:gd name="T13" fmla="*/ 24 h 138"/>
              <a:gd name="T14" fmla="*/ 60 w 120"/>
              <a:gd name="T15" fmla="*/ 24 h 138"/>
              <a:gd name="T16" fmla="*/ 72 w 120"/>
              <a:gd name="T17" fmla="*/ 24 h 138"/>
              <a:gd name="T18" fmla="*/ 66 w 120"/>
              <a:gd name="T19" fmla="*/ 30 h 138"/>
              <a:gd name="T20" fmla="*/ 72 w 120"/>
              <a:gd name="T21" fmla="*/ 36 h 138"/>
              <a:gd name="T22" fmla="*/ 78 w 120"/>
              <a:gd name="T23" fmla="*/ 36 h 138"/>
              <a:gd name="T24" fmla="*/ 84 w 120"/>
              <a:gd name="T25" fmla="*/ 36 h 138"/>
              <a:gd name="T26" fmla="*/ 90 w 120"/>
              <a:gd name="T27" fmla="*/ 36 h 138"/>
              <a:gd name="T28" fmla="*/ 90 w 120"/>
              <a:gd name="T29" fmla="*/ 36 h 138"/>
              <a:gd name="T30" fmla="*/ 96 w 120"/>
              <a:gd name="T31" fmla="*/ 48 h 138"/>
              <a:gd name="T32" fmla="*/ 102 w 120"/>
              <a:gd name="T33" fmla="*/ 48 h 138"/>
              <a:gd name="T34" fmla="*/ 114 w 120"/>
              <a:gd name="T35" fmla="*/ 48 h 138"/>
              <a:gd name="T36" fmla="*/ 114 w 120"/>
              <a:gd name="T37" fmla="*/ 54 h 138"/>
              <a:gd name="T38" fmla="*/ 120 w 120"/>
              <a:gd name="T39" fmla="*/ 66 h 138"/>
              <a:gd name="T40" fmla="*/ 114 w 120"/>
              <a:gd name="T41" fmla="*/ 72 h 138"/>
              <a:gd name="T42" fmla="*/ 114 w 120"/>
              <a:gd name="T43" fmla="*/ 78 h 138"/>
              <a:gd name="T44" fmla="*/ 108 w 120"/>
              <a:gd name="T45" fmla="*/ 78 h 138"/>
              <a:gd name="T46" fmla="*/ 96 w 120"/>
              <a:gd name="T47" fmla="*/ 84 h 138"/>
              <a:gd name="T48" fmla="*/ 90 w 120"/>
              <a:gd name="T49" fmla="*/ 96 h 138"/>
              <a:gd name="T50" fmla="*/ 96 w 120"/>
              <a:gd name="T51" fmla="*/ 102 h 138"/>
              <a:gd name="T52" fmla="*/ 96 w 120"/>
              <a:gd name="T53" fmla="*/ 114 h 138"/>
              <a:gd name="T54" fmla="*/ 96 w 120"/>
              <a:gd name="T55" fmla="*/ 114 h 138"/>
              <a:gd name="T56" fmla="*/ 96 w 120"/>
              <a:gd name="T57" fmla="*/ 120 h 138"/>
              <a:gd name="T58" fmla="*/ 90 w 120"/>
              <a:gd name="T59" fmla="*/ 120 h 138"/>
              <a:gd name="T60" fmla="*/ 78 w 120"/>
              <a:gd name="T61" fmla="*/ 120 h 138"/>
              <a:gd name="T62" fmla="*/ 72 w 120"/>
              <a:gd name="T63" fmla="*/ 120 h 138"/>
              <a:gd name="T64" fmla="*/ 60 w 120"/>
              <a:gd name="T65" fmla="*/ 126 h 138"/>
              <a:gd name="T66" fmla="*/ 48 w 120"/>
              <a:gd name="T67" fmla="*/ 126 h 138"/>
              <a:gd name="T68" fmla="*/ 42 w 120"/>
              <a:gd name="T69" fmla="*/ 132 h 138"/>
              <a:gd name="T70" fmla="*/ 36 w 120"/>
              <a:gd name="T71" fmla="*/ 138 h 138"/>
              <a:gd name="T72" fmla="*/ 30 w 120"/>
              <a:gd name="T73" fmla="*/ 132 h 138"/>
              <a:gd name="T74" fmla="*/ 30 w 120"/>
              <a:gd name="T75" fmla="*/ 126 h 138"/>
              <a:gd name="T76" fmla="*/ 30 w 120"/>
              <a:gd name="T77" fmla="*/ 120 h 138"/>
              <a:gd name="T78" fmla="*/ 30 w 120"/>
              <a:gd name="T79" fmla="*/ 120 h 138"/>
              <a:gd name="T80" fmla="*/ 30 w 120"/>
              <a:gd name="T81" fmla="*/ 114 h 138"/>
              <a:gd name="T82" fmla="*/ 24 w 120"/>
              <a:gd name="T83" fmla="*/ 114 h 138"/>
              <a:gd name="T84" fmla="*/ 24 w 120"/>
              <a:gd name="T85" fmla="*/ 108 h 138"/>
              <a:gd name="T86" fmla="*/ 24 w 120"/>
              <a:gd name="T87" fmla="*/ 102 h 138"/>
              <a:gd name="T88" fmla="*/ 18 w 120"/>
              <a:gd name="T89" fmla="*/ 96 h 138"/>
              <a:gd name="T90" fmla="*/ 18 w 120"/>
              <a:gd name="T91" fmla="*/ 96 h 138"/>
              <a:gd name="T92" fmla="*/ 18 w 120"/>
              <a:gd name="T93" fmla="*/ 84 h 138"/>
              <a:gd name="T94" fmla="*/ 18 w 120"/>
              <a:gd name="T95" fmla="*/ 78 h 138"/>
              <a:gd name="T96" fmla="*/ 18 w 120"/>
              <a:gd name="T97" fmla="*/ 72 h 138"/>
              <a:gd name="T98" fmla="*/ 18 w 120"/>
              <a:gd name="T99" fmla="*/ 60 h 138"/>
              <a:gd name="T100" fmla="*/ 18 w 120"/>
              <a:gd name="T101" fmla="*/ 48 h 138"/>
              <a:gd name="T102" fmla="*/ 12 w 120"/>
              <a:gd name="T103" fmla="*/ 42 h 138"/>
              <a:gd name="T104" fmla="*/ 12 w 120"/>
              <a:gd name="T105" fmla="*/ 36 h 138"/>
              <a:gd name="T106" fmla="*/ 6 w 120"/>
              <a:gd name="T107" fmla="*/ 30 h 138"/>
              <a:gd name="T108" fmla="*/ 0 w 120"/>
              <a:gd name="T109" fmla="*/ 24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20" h="138">
                <a:moveTo>
                  <a:pt x="0" y="12"/>
                </a:moveTo>
                <a:lnTo>
                  <a:pt x="0" y="12"/>
                </a:lnTo>
                <a:lnTo>
                  <a:pt x="0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8"/>
                </a:lnTo>
                <a:lnTo>
                  <a:pt x="42" y="18"/>
                </a:lnTo>
                <a:lnTo>
                  <a:pt x="42" y="24"/>
                </a:lnTo>
                <a:lnTo>
                  <a:pt x="48" y="24"/>
                </a:lnTo>
                <a:lnTo>
                  <a:pt x="48" y="18"/>
                </a:lnTo>
                <a:lnTo>
                  <a:pt x="48" y="24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60" y="18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8" y="24"/>
                </a:lnTo>
                <a:lnTo>
                  <a:pt x="72" y="24"/>
                </a:lnTo>
                <a:lnTo>
                  <a:pt x="72" y="30"/>
                </a:lnTo>
                <a:lnTo>
                  <a:pt x="72" y="30"/>
                </a:lnTo>
                <a:lnTo>
                  <a:pt x="66" y="30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6" y="36"/>
                </a:lnTo>
                <a:lnTo>
                  <a:pt x="96" y="42"/>
                </a:lnTo>
                <a:lnTo>
                  <a:pt x="96" y="42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14" y="48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20" y="60"/>
                </a:lnTo>
                <a:lnTo>
                  <a:pt x="120" y="60"/>
                </a:lnTo>
                <a:lnTo>
                  <a:pt x="114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6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6" y="90"/>
                </a:lnTo>
                <a:lnTo>
                  <a:pt x="96" y="90"/>
                </a:lnTo>
                <a:lnTo>
                  <a:pt x="96" y="96"/>
                </a:lnTo>
                <a:lnTo>
                  <a:pt x="96" y="96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96" y="96"/>
                </a:lnTo>
                <a:lnTo>
                  <a:pt x="90" y="96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14"/>
                </a:lnTo>
                <a:lnTo>
                  <a:pt x="96" y="108"/>
                </a:lnTo>
                <a:lnTo>
                  <a:pt x="90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0" y="120"/>
                </a:lnTo>
                <a:lnTo>
                  <a:pt x="90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6"/>
                </a:lnTo>
                <a:lnTo>
                  <a:pt x="78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0"/>
                </a:lnTo>
                <a:lnTo>
                  <a:pt x="72" y="120"/>
                </a:lnTo>
                <a:lnTo>
                  <a:pt x="66" y="120"/>
                </a:lnTo>
                <a:lnTo>
                  <a:pt x="66" y="120"/>
                </a:lnTo>
                <a:lnTo>
                  <a:pt x="60" y="120"/>
                </a:lnTo>
                <a:lnTo>
                  <a:pt x="60" y="126"/>
                </a:lnTo>
                <a:lnTo>
                  <a:pt x="60" y="126"/>
                </a:lnTo>
                <a:lnTo>
                  <a:pt x="54" y="126"/>
                </a:lnTo>
                <a:lnTo>
                  <a:pt x="54" y="126"/>
                </a:lnTo>
                <a:lnTo>
                  <a:pt x="54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2" y="126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38"/>
                </a:lnTo>
                <a:lnTo>
                  <a:pt x="42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0" y="138"/>
                </a:lnTo>
                <a:lnTo>
                  <a:pt x="30" y="138"/>
                </a:lnTo>
                <a:lnTo>
                  <a:pt x="30" y="138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08"/>
                </a:lnTo>
                <a:lnTo>
                  <a:pt x="24" y="108"/>
                </a:lnTo>
                <a:lnTo>
                  <a:pt x="30" y="108"/>
                </a:lnTo>
                <a:lnTo>
                  <a:pt x="30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0"/>
                </a:lnTo>
                <a:lnTo>
                  <a:pt x="18" y="96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84"/>
                </a:lnTo>
                <a:lnTo>
                  <a:pt x="18" y="84"/>
                </a:lnTo>
                <a:lnTo>
                  <a:pt x="24" y="84"/>
                </a:lnTo>
                <a:lnTo>
                  <a:pt x="18" y="84"/>
                </a:lnTo>
                <a:lnTo>
                  <a:pt x="24" y="78"/>
                </a:lnTo>
                <a:lnTo>
                  <a:pt x="24" y="78"/>
                </a:lnTo>
                <a:lnTo>
                  <a:pt x="18" y="78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6" y="36"/>
                </a:lnTo>
                <a:lnTo>
                  <a:pt x="12" y="36"/>
                </a:lnTo>
                <a:lnTo>
                  <a:pt x="12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18"/>
                </a:lnTo>
                <a:lnTo>
                  <a:pt x="0" y="18"/>
                </a:lnTo>
                <a:lnTo>
                  <a:pt x="0" y="1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14" name="Freeform 347"/>
          <p:cNvSpPr>
            <a:spLocks/>
          </p:cNvSpPr>
          <p:nvPr/>
        </p:nvSpPr>
        <p:spPr bwMode="auto">
          <a:xfrm>
            <a:off x="6954639" y="4231366"/>
            <a:ext cx="122057" cy="109210"/>
          </a:xfrm>
          <a:custGeom>
            <a:avLst/>
            <a:gdLst>
              <a:gd name="T0" fmla="*/ 0 w 114"/>
              <a:gd name="T1" fmla="*/ 12 h 102"/>
              <a:gd name="T2" fmla="*/ 6 w 114"/>
              <a:gd name="T3" fmla="*/ 6 h 102"/>
              <a:gd name="T4" fmla="*/ 12 w 114"/>
              <a:gd name="T5" fmla="*/ 6 h 102"/>
              <a:gd name="T6" fmla="*/ 12 w 114"/>
              <a:gd name="T7" fmla="*/ 6 h 102"/>
              <a:gd name="T8" fmla="*/ 18 w 114"/>
              <a:gd name="T9" fmla="*/ 6 h 102"/>
              <a:gd name="T10" fmla="*/ 18 w 114"/>
              <a:gd name="T11" fmla="*/ 12 h 102"/>
              <a:gd name="T12" fmla="*/ 18 w 114"/>
              <a:gd name="T13" fmla="*/ 6 h 102"/>
              <a:gd name="T14" fmla="*/ 24 w 114"/>
              <a:gd name="T15" fmla="*/ 6 h 102"/>
              <a:gd name="T16" fmla="*/ 30 w 114"/>
              <a:gd name="T17" fmla="*/ 12 h 102"/>
              <a:gd name="T18" fmla="*/ 36 w 114"/>
              <a:gd name="T19" fmla="*/ 6 h 102"/>
              <a:gd name="T20" fmla="*/ 42 w 114"/>
              <a:gd name="T21" fmla="*/ 0 h 102"/>
              <a:gd name="T22" fmla="*/ 54 w 114"/>
              <a:gd name="T23" fmla="*/ 0 h 102"/>
              <a:gd name="T24" fmla="*/ 60 w 114"/>
              <a:gd name="T25" fmla="*/ 0 h 102"/>
              <a:gd name="T26" fmla="*/ 66 w 114"/>
              <a:gd name="T27" fmla="*/ 0 h 102"/>
              <a:gd name="T28" fmla="*/ 72 w 114"/>
              <a:gd name="T29" fmla="*/ 6 h 102"/>
              <a:gd name="T30" fmla="*/ 78 w 114"/>
              <a:gd name="T31" fmla="*/ 12 h 102"/>
              <a:gd name="T32" fmla="*/ 78 w 114"/>
              <a:gd name="T33" fmla="*/ 12 h 102"/>
              <a:gd name="T34" fmla="*/ 90 w 114"/>
              <a:gd name="T35" fmla="*/ 18 h 102"/>
              <a:gd name="T36" fmla="*/ 96 w 114"/>
              <a:gd name="T37" fmla="*/ 24 h 102"/>
              <a:gd name="T38" fmla="*/ 90 w 114"/>
              <a:gd name="T39" fmla="*/ 30 h 102"/>
              <a:gd name="T40" fmla="*/ 96 w 114"/>
              <a:gd name="T41" fmla="*/ 30 h 102"/>
              <a:gd name="T42" fmla="*/ 102 w 114"/>
              <a:gd name="T43" fmla="*/ 42 h 102"/>
              <a:gd name="T44" fmla="*/ 96 w 114"/>
              <a:gd name="T45" fmla="*/ 54 h 102"/>
              <a:gd name="T46" fmla="*/ 102 w 114"/>
              <a:gd name="T47" fmla="*/ 54 h 102"/>
              <a:gd name="T48" fmla="*/ 114 w 114"/>
              <a:gd name="T49" fmla="*/ 60 h 102"/>
              <a:gd name="T50" fmla="*/ 114 w 114"/>
              <a:gd name="T51" fmla="*/ 66 h 102"/>
              <a:gd name="T52" fmla="*/ 114 w 114"/>
              <a:gd name="T53" fmla="*/ 72 h 102"/>
              <a:gd name="T54" fmla="*/ 108 w 114"/>
              <a:gd name="T55" fmla="*/ 72 h 102"/>
              <a:gd name="T56" fmla="*/ 108 w 114"/>
              <a:gd name="T57" fmla="*/ 72 h 102"/>
              <a:gd name="T58" fmla="*/ 102 w 114"/>
              <a:gd name="T59" fmla="*/ 78 h 102"/>
              <a:gd name="T60" fmla="*/ 108 w 114"/>
              <a:gd name="T61" fmla="*/ 84 h 102"/>
              <a:gd name="T62" fmla="*/ 102 w 114"/>
              <a:gd name="T63" fmla="*/ 90 h 102"/>
              <a:gd name="T64" fmla="*/ 90 w 114"/>
              <a:gd name="T65" fmla="*/ 84 h 102"/>
              <a:gd name="T66" fmla="*/ 84 w 114"/>
              <a:gd name="T67" fmla="*/ 90 h 102"/>
              <a:gd name="T68" fmla="*/ 84 w 114"/>
              <a:gd name="T69" fmla="*/ 90 h 102"/>
              <a:gd name="T70" fmla="*/ 84 w 114"/>
              <a:gd name="T71" fmla="*/ 96 h 102"/>
              <a:gd name="T72" fmla="*/ 72 w 114"/>
              <a:gd name="T73" fmla="*/ 96 h 102"/>
              <a:gd name="T74" fmla="*/ 72 w 114"/>
              <a:gd name="T75" fmla="*/ 90 h 102"/>
              <a:gd name="T76" fmla="*/ 60 w 114"/>
              <a:gd name="T77" fmla="*/ 90 h 102"/>
              <a:gd name="T78" fmla="*/ 60 w 114"/>
              <a:gd name="T79" fmla="*/ 90 h 102"/>
              <a:gd name="T80" fmla="*/ 54 w 114"/>
              <a:gd name="T81" fmla="*/ 84 h 102"/>
              <a:gd name="T82" fmla="*/ 60 w 114"/>
              <a:gd name="T83" fmla="*/ 78 h 102"/>
              <a:gd name="T84" fmla="*/ 60 w 114"/>
              <a:gd name="T85" fmla="*/ 72 h 102"/>
              <a:gd name="T86" fmla="*/ 60 w 114"/>
              <a:gd name="T87" fmla="*/ 72 h 102"/>
              <a:gd name="T88" fmla="*/ 60 w 114"/>
              <a:gd name="T89" fmla="*/ 66 h 102"/>
              <a:gd name="T90" fmla="*/ 60 w 114"/>
              <a:gd name="T91" fmla="*/ 60 h 102"/>
              <a:gd name="T92" fmla="*/ 54 w 114"/>
              <a:gd name="T93" fmla="*/ 60 h 102"/>
              <a:gd name="T94" fmla="*/ 48 w 114"/>
              <a:gd name="T95" fmla="*/ 54 h 102"/>
              <a:gd name="T96" fmla="*/ 36 w 114"/>
              <a:gd name="T97" fmla="*/ 60 h 102"/>
              <a:gd name="T98" fmla="*/ 36 w 114"/>
              <a:gd name="T99" fmla="*/ 60 h 102"/>
              <a:gd name="T100" fmla="*/ 30 w 114"/>
              <a:gd name="T101" fmla="*/ 48 h 102"/>
              <a:gd name="T102" fmla="*/ 30 w 114"/>
              <a:gd name="T103" fmla="*/ 42 h 102"/>
              <a:gd name="T104" fmla="*/ 24 w 114"/>
              <a:gd name="T105" fmla="*/ 36 h 102"/>
              <a:gd name="T106" fmla="*/ 24 w 114"/>
              <a:gd name="T107" fmla="*/ 30 h 102"/>
              <a:gd name="T108" fmla="*/ 12 w 114"/>
              <a:gd name="T109" fmla="*/ 24 h 102"/>
              <a:gd name="T110" fmla="*/ 0 w 114"/>
              <a:gd name="T111" fmla="*/ 24 h 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14" h="102">
                <a:moveTo>
                  <a:pt x="0" y="24"/>
                </a:moveTo>
                <a:lnTo>
                  <a:pt x="0" y="18"/>
                </a:lnTo>
                <a:lnTo>
                  <a:pt x="0" y="18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6" y="12"/>
                </a:lnTo>
                <a:lnTo>
                  <a:pt x="6" y="12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12"/>
                </a:lnTo>
                <a:lnTo>
                  <a:pt x="6" y="6"/>
                </a:lnTo>
                <a:lnTo>
                  <a:pt x="12" y="12"/>
                </a:lnTo>
                <a:lnTo>
                  <a:pt x="6" y="6"/>
                </a:lnTo>
                <a:lnTo>
                  <a:pt x="12" y="6"/>
                </a:lnTo>
                <a:lnTo>
                  <a:pt x="6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30" y="12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0"/>
                </a:lnTo>
                <a:lnTo>
                  <a:pt x="36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78" y="6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90" y="12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24"/>
                </a:lnTo>
                <a:lnTo>
                  <a:pt x="90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0" y="30"/>
                </a:lnTo>
                <a:lnTo>
                  <a:pt x="90" y="30"/>
                </a:lnTo>
                <a:lnTo>
                  <a:pt x="90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0"/>
                </a:lnTo>
                <a:lnTo>
                  <a:pt x="96" y="30"/>
                </a:lnTo>
                <a:lnTo>
                  <a:pt x="96" y="36"/>
                </a:lnTo>
                <a:lnTo>
                  <a:pt x="102" y="36"/>
                </a:lnTo>
                <a:lnTo>
                  <a:pt x="102" y="36"/>
                </a:lnTo>
                <a:lnTo>
                  <a:pt x="96" y="36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96" y="42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8"/>
                </a:lnTo>
                <a:lnTo>
                  <a:pt x="108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2" y="84"/>
                </a:lnTo>
                <a:lnTo>
                  <a:pt x="102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84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84" y="84"/>
                </a:lnTo>
                <a:lnTo>
                  <a:pt x="84" y="84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90" y="90"/>
                </a:lnTo>
                <a:lnTo>
                  <a:pt x="90" y="90"/>
                </a:lnTo>
                <a:lnTo>
                  <a:pt x="84" y="90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78" y="96"/>
                </a:lnTo>
                <a:lnTo>
                  <a:pt x="78" y="96"/>
                </a:lnTo>
                <a:lnTo>
                  <a:pt x="78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54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84"/>
                </a:lnTo>
                <a:lnTo>
                  <a:pt x="60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60" y="78"/>
                </a:lnTo>
                <a:lnTo>
                  <a:pt x="60" y="78"/>
                </a:lnTo>
                <a:lnTo>
                  <a:pt x="66" y="78"/>
                </a:lnTo>
                <a:lnTo>
                  <a:pt x="66" y="78"/>
                </a:lnTo>
                <a:lnTo>
                  <a:pt x="60" y="78"/>
                </a:lnTo>
                <a:lnTo>
                  <a:pt x="60" y="78"/>
                </a:lnTo>
                <a:lnTo>
                  <a:pt x="60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0" y="72"/>
                </a:lnTo>
                <a:lnTo>
                  <a:pt x="60" y="72"/>
                </a:lnTo>
                <a:lnTo>
                  <a:pt x="66" y="72"/>
                </a:lnTo>
                <a:lnTo>
                  <a:pt x="66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60" y="66"/>
                </a:lnTo>
                <a:lnTo>
                  <a:pt x="54" y="66"/>
                </a:lnTo>
                <a:lnTo>
                  <a:pt x="60" y="66"/>
                </a:lnTo>
                <a:lnTo>
                  <a:pt x="54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48" y="60"/>
                </a:lnTo>
                <a:lnTo>
                  <a:pt x="48" y="60"/>
                </a:lnTo>
                <a:lnTo>
                  <a:pt x="54" y="60"/>
                </a:lnTo>
                <a:lnTo>
                  <a:pt x="54" y="54"/>
                </a:lnTo>
                <a:lnTo>
                  <a:pt x="54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2" y="60"/>
                </a:lnTo>
                <a:lnTo>
                  <a:pt x="42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54"/>
                </a:lnTo>
                <a:lnTo>
                  <a:pt x="36" y="54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0" y="60"/>
                </a:lnTo>
                <a:lnTo>
                  <a:pt x="30" y="60"/>
                </a:lnTo>
                <a:lnTo>
                  <a:pt x="36" y="60"/>
                </a:lnTo>
                <a:lnTo>
                  <a:pt x="36" y="54"/>
                </a:lnTo>
                <a:lnTo>
                  <a:pt x="30" y="54"/>
                </a:lnTo>
                <a:lnTo>
                  <a:pt x="30" y="54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18" y="30"/>
                </a:lnTo>
                <a:lnTo>
                  <a:pt x="24" y="30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18" y="24"/>
                </a:lnTo>
                <a:lnTo>
                  <a:pt x="18" y="24"/>
                </a:lnTo>
                <a:lnTo>
                  <a:pt x="12" y="24"/>
                </a:lnTo>
                <a:lnTo>
                  <a:pt x="12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15" name="Freeform 348"/>
          <p:cNvSpPr>
            <a:spLocks/>
          </p:cNvSpPr>
          <p:nvPr/>
        </p:nvSpPr>
        <p:spPr bwMode="auto">
          <a:xfrm>
            <a:off x="6742645" y="4115732"/>
            <a:ext cx="160601" cy="173451"/>
          </a:xfrm>
          <a:custGeom>
            <a:avLst/>
            <a:gdLst>
              <a:gd name="T0" fmla="*/ 6 w 150"/>
              <a:gd name="T1" fmla="*/ 108 h 162"/>
              <a:gd name="T2" fmla="*/ 18 w 150"/>
              <a:gd name="T3" fmla="*/ 108 h 162"/>
              <a:gd name="T4" fmla="*/ 24 w 150"/>
              <a:gd name="T5" fmla="*/ 108 h 162"/>
              <a:gd name="T6" fmla="*/ 30 w 150"/>
              <a:gd name="T7" fmla="*/ 102 h 162"/>
              <a:gd name="T8" fmla="*/ 42 w 150"/>
              <a:gd name="T9" fmla="*/ 96 h 162"/>
              <a:gd name="T10" fmla="*/ 42 w 150"/>
              <a:gd name="T11" fmla="*/ 90 h 162"/>
              <a:gd name="T12" fmla="*/ 36 w 150"/>
              <a:gd name="T13" fmla="*/ 78 h 162"/>
              <a:gd name="T14" fmla="*/ 30 w 150"/>
              <a:gd name="T15" fmla="*/ 72 h 162"/>
              <a:gd name="T16" fmla="*/ 24 w 150"/>
              <a:gd name="T17" fmla="*/ 66 h 162"/>
              <a:gd name="T18" fmla="*/ 18 w 150"/>
              <a:gd name="T19" fmla="*/ 60 h 162"/>
              <a:gd name="T20" fmla="*/ 12 w 150"/>
              <a:gd name="T21" fmla="*/ 54 h 162"/>
              <a:gd name="T22" fmla="*/ 6 w 150"/>
              <a:gd name="T23" fmla="*/ 42 h 162"/>
              <a:gd name="T24" fmla="*/ 12 w 150"/>
              <a:gd name="T25" fmla="*/ 36 h 162"/>
              <a:gd name="T26" fmla="*/ 24 w 150"/>
              <a:gd name="T27" fmla="*/ 30 h 162"/>
              <a:gd name="T28" fmla="*/ 30 w 150"/>
              <a:gd name="T29" fmla="*/ 30 h 162"/>
              <a:gd name="T30" fmla="*/ 42 w 150"/>
              <a:gd name="T31" fmla="*/ 24 h 162"/>
              <a:gd name="T32" fmla="*/ 48 w 150"/>
              <a:gd name="T33" fmla="*/ 18 h 162"/>
              <a:gd name="T34" fmla="*/ 48 w 150"/>
              <a:gd name="T35" fmla="*/ 12 h 162"/>
              <a:gd name="T36" fmla="*/ 54 w 150"/>
              <a:gd name="T37" fmla="*/ 6 h 162"/>
              <a:gd name="T38" fmla="*/ 72 w 150"/>
              <a:gd name="T39" fmla="*/ 6 h 162"/>
              <a:gd name="T40" fmla="*/ 84 w 150"/>
              <a:gd name="T41" fmla="*/ 12 h 162"/>
              <a:gd name="T42" fmla="*/ 102 w 150"/>
              <a:gd name="T43" fmla="*/ 18 h 162"/>
              <a:gd name="T44" fmla="*/ 102 w 150"/>
              <a:gd name="T45" fmla="*/ 30 h 162"/>
              <a:gd name="T46" fmla="*/ 114 w 150"/>
              <a:gd name="T47" fmla="*/ 42 h 162"/>
              <a:gd name="T48" fmla="*/ 120 w 150"/>
              <a:gd name="T49" fmla="*/ 54 h 162"/>
              <a:gd name="T50" fmla="*/ 120 w 150"/>
              <a:gd name="T51" fmla="*/ 66 h 162"/>
              <a:gd name="T52" fmla="*/ 102 w 150"/>
              <a:gd name="T53" fmla="*/ 78 h 162"/>
              <a:gd name="T54" fmla="*/ 96 w 150"/>
              <a:gd name="T55" fmla="*/ 84 h 162"/>
              <a:gd name="T56" fmla="*/ 102 w 150"/>
              <a:gd name="T57" fmla="*/ 90 h 162"/>
              <a:gd name="T58" fmla="*/ 108 w 150"/>
              <a:gd name="T59" fmla="*/ 96 h 162"/>
              <a:gd name="T60" fmla="*/ 114 w 150"/>
              <a:gd name="T61" fmla="*/ 102 h 162"/>
              <a:gd name="T62" fmla="*/ 120 w 150"/>
              <a:gd name="T63" fmla="*/ 108 h 162"/>
              <a:gd name="T64" fmla="*/ 126 w 150"/>
              <a:gd name="T65" fmla="*/ 120 h 162"/>
              <a:gd name="T66" fmla="*/ 138 w 150"/>
              <a:gd name="T67" fmla="*/ 120 h 162"/>
              <a:gd name="T68" fmla="*/ 144 w 150"/>
              <a:gd name="T69" fmla="*/ 120 h 162"/>
              <a:gd name="T70" fmla="*/ 150 w 150"/>
              <a:gd name="T71" fmla="*/ 120 h 162"/>
              <a:gd name="T72" fmla="*/ 150 w 150"/>
              <a:gd name="T73" fmla="*/ 132 h 162"/>
              <a:gd name="T74" fmla="*/ 150 w 150"/>
              <a:gd name="T75" fmla="*/ 138 h 162"/>
              <a:gd name="T76" fmla="*/ 144 w 150"/>
              <a:gd name="T77" fmla="*/ 144 h 162"/>
              <a:gd name="T78" fmla="*/ 132 w 150"/>
              <a:gd name="T79" fmla="*/ 150 h 162"/>
              <a:gd name="T80" fmla="*/ 126 w 150"/>
              <a:gd name="T81" fmla="*/ 162 h 162"/>
              <a:gd name="T82" fmla="*/ 114 w 150"/>
              <a:gd name="T83" fmla="*/ 156 h 162"/>
              <a:gd name="T84" fmla="*/ 96 w 150"/>
              <a:gd name="T85" fmla="*/ 162 h 162"/>
              <a:gd name="T86" fmla="*/ 96 w 150"/>
              <a:gd name="T87" fmla="*/ 144 h 162"/>
              <a:gd name="T88" fmla="*/ 84 w 150"/>
              <a:gd name="T89" fmla="*/ 138 h 162"/>
              <a:gd name="T90" fmla="*/ 78 w 150"/>
              <a:gd name="T91" fmla="*/ 144 h 162"/>
              <a:gd name="T92" fmla="*/ 66 w 150"/>
              <a:gd name="T93" fmla="*/ 150 h 162"/>
              <a:gd name="T94" fmla="*/ 60 w 150"/>
              <a:gd name="T95" fmla="*/ 150 h 162"/>
              <a:gd name="T96" fmla="*/ 54 w 150"/>
              <a:gd name="T97" fmla="*/ 144 h 162"/>
              <a:gd name="T98" fmla="*/ 60 w 150"/>
              <a:gd name="T99" fmla="*/ 138 h 162"/>
              <a:gd name="T100" fmla="*/ 48 w 150"/>
              <a:gd name="T101" fmla="*/ 132 h 162"/>
              <a:gd name="T102" fmla="*/ 36 w 150"/>
              <a:gd name="T103" fmla="*/ 120 h 162"/>
              <a:gd name="T104" fmla="*/ 30 w 150"/>
              <a:gd name="T105" fmla="*/ 120 h 162"/>
              <a:gd name="T106" fmla="*/ 30 w 150"/>
              <a:gd name="T107" fmla="*/ 126 h 162"/>
              <a:gd name="T108" fmla="*/ 24 w 150"/>
              <a:gd name="T109" fmla="*/ 132 h 162"/>
              <a:gd name="T110" fmla="*/ 18 w 150"/>
              <a:gd name="T111" fmla="*/ 132 h 162"/>
              <a:gd name="T112" fmla="*/ 12 w 150"/>
              <a:gd name="T113" fmla="*/ 132 h 162"/>
              <a:gd name="T114" fmla="*/ 0 w 150"/>
              <a:gd name="T115" fmla="*/ 120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50" h="162">
                <a:moveTo>
                  <a:pt x="0" y="114"/>
                </a:moveTo>
                <a:lnTo>
                  <a:pt x="0" y="114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6" y="108"/>
                </a:lnTo>
                <a:lnTo>
                  <a:pt x="6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14"/>
                </a:lnTo>
                <a:lnTo>
                  <a:pt x="12" y="114"/>
                </a:lnTo>
                <a:lnTo>
                  <a:pt x="12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14"/>
                </a:lnTo>
                <a:lnTo>
                  <a:pt x="24" y="114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96"/>
                </a:lnTo>
                <a:lnTo>
                  <a:pt x="36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0" y="72"/>
                </a:lnTo>
                <a:lnTo>
                  <a:pt x="36" y="72"/>
                </a:lnTo>
                <a:lnTo>
                  <a:pt x="30" y="72"/>
                </a:lnTo>
                <a:lnTo>
                  <a:pt x="30" y="72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18" y="66"/>
                </a:lnTo>
                <a:lnTo>
                  <a:pt x="18" y="66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2" y="60"/>
                </a:lnTo>
                <a:lnTo>
                  <a:pt x="12" y="60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6" y="54"/>
                </a:lnTo>
                <a:lnTo>
                  <a:pt x="6" y="54"/>
                </a:lnTo>
                <a:lnTo>
                  <a:pt x="0" y="54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24" y="36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8" y="24"/>
                </a:lnTo>
                <a:lnTo>
                  <a:pt x="42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0"/>
                </a:lnTo>
                <a:lnTo>
                  <a:pt x="60" y="0"/>
                </a:lnTo>
                <a:lnTo>
                  <a:pt x="66" y="0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84" y="6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90" y="18"/>
                </a:lnTo>
                <a:lnTo>
                  <a:pt x="90" y="18"/>
                </a:lnTo>
                <a:lnTo>
                  <a:pt x="96" y="24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24"/>
                </a:lnTo>
                <a:lnTo>
                  <a:pt x="102" y="24"/>
                </a:lnTo>
                <a:lnTo>
                  <a:pt x="102" y="30"/>
                </a:lnTo>
                <a:lnTo>
                  <a:pt x="102" y="30"/>
                </a:lnTo>
                <a:lnTo>
                  <a:pt x="108" y="30"/>
                </a:lnTo>
                <a:lnTo>
                  <a:pt x="114" y="30"/>
                </a:lnTo>
                <a:lnTo>
                  <a:pt x="114" y="36"/>
                </a:lnTo>
                <a:lnTo>
                  <a:pt x="114" y="36"/>
                </a:lnTo>
                <a:lnTo>
                  <a:pt x="114" y="42"/>
                </a:lnTo>
                <a:lnTo>
                  <a:pt x="114" y="42"/>
                </a:lnTo>
                <a:lnTo>
                  <a:pt x="120" y="42"/>
                </a:lnTo>
                <a:lnTo>
                  <a:pt x="120" y="48"/>
                </a:lnTo>
                <a:lnTo>
                  <a:pt x="120" y="48"/>
                </a:lnTo>
                <a:lnTo>
                  <a:pt x="114" y="48"/>
                </a:lnTo>
                <a:lnTo>
                  <a:pt x="114" y="54"/>
                </a:lnTo>
                <a:lnTo>
                  <a:pt x="114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72"/>
                </a:lnTo>
                <a:lnTo>
                  <a:pt x="108" y="72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102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14" y="96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14"/>
                </a:lnTo>
                <a:lnTo>
                  <a:pt x="120" y="114"/>
                </a:lnTo>
                <a:lnTo>
                  <a:pt x="120" y="114"/>
                </a:lnTo>
                <a:lnTo>
                  <a:pt x="126" y="114"/>
                </a:lnTo>
                <a:lnTo>
                  <a:pt x="126" y="114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32" y="120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38" y="120"/>
                </a:lnTo>
                <a:lnTo>
                  <a:pt x="138" y="120"/>
                </a:lnTo>
                <a:lnTo>
                  <a:pt x="138" y="120"/>
                </a:lnTo>
                <a:lnTo>
                  <a:pt x="144" y="126"/>
                </a:lnTo>
                <a:lnTo>
                  <a:pt x="144" y="126"/>
                </a:lnTo>
                <a:lnTo>
                  <a:pt x="144" y="120"/>
                </a:lnTo>
                <a:lnTo>
                  <a:pt x="144" y="120"/>
                </a:lnTo>
                <a:lnTo>
                  <a:pt x="144" y="120"/>
                </a:lnTo>
                <a:lnTo>
                  <a:pt x="144" y="120"/>
                </a:lnTo>
                <a:lnTo>
                  <a:pt x="144" y="120"/>
                </a:lnTo>
                <a:lnTo>
                  <a:pt x="144" y="120"/>
                </a:lnTo>
                <a:lnTo>
                  <a:pt x="144" y="120"/>
                </a:lnTo>
                <a:lnTo>
                  <a:pt x="144" y="120"/>
                </a:lnTo>
                <a:lnTo>
                  <a:pt x="150" y="120"/>
                </a:lnTo>
                <a:lnTo>
                  <a:pt x="150" y="120"/>
                </a:lnTo>
                <a:lnTo>
                  <a:pt x="150" y="126"/>
                </a:lnTo>
                <a:lnTo>
                  <a:pt x="150" y="126"/>
                </a:lnTo>
                <a:lnTo>
                  <a:pt x="144" y="126"/>
                </a:lnTo>
                <a:lnTo>
                  <a:pt x="150" y="126"/>
                </a:lnTo>
                <a:lnTo>
                  <a:pt x="150" y="132"/>
                </a:lnTo>
                <a:lnTo>
                  <a:pt x="150" y="132"/>
                </a:lnTo>
                <a:lnTo>
                  <a:pt x="150" y="132"/>
                </a:lnTo>
                <a:lnTo>
                  <a:pt x="150" y="132"/>
                </a:lnTo>
                <a:lnTo>
                  <a:pt x="150" y="132"/>
                </a:lnTo>
                <a:lnTo>
                  <a:pt x="150" y="138"/>
                </a:lnTo>
                <a:lnTo>
                  <a:pt x="150" y="138"/>
                </a:lnTo>
                <a:lnTo>
                  <a:pt x="150" y="144"/>
                </a:lnTo>
                <a:lnTo>
                  <a:pt x="150" y="144"/>
                </a:lnTo>
                <a:lnTo>
                  <a:pt x="150" y="138"/>
                </a:lnTo>
                <a:lnTo>
                  <a:pt x="144" y="138"/>
                </a:lnTo>
                <a:lnTo>
                  <a:pt x="144" y="138"/>
                </a:lnTo>
                <a:lnTo>
                  <a:pt x="144" y="138"/>
                </a:lnTo>
                <a:lnTo>
                  <a:pt x="144" y="138"/>
                </a:lnTo>
                <a:lnTo>
                  <a:pt x="144" y="138"/>
                </a:lnTo>
                <a:lnTo>
                  <a:pt x="144" y="144"/>
                </a:lnTo>
                <a:lnTo>
                  <a:pt x="144" y="144"/>
                </a:lnTo>
                <a:lnTo>
                  <a:pt x="138" y="144"/>
                </a:lnTo>
                <a:lnTo>
                  <a:pt x="138" y="144"/>
                </a:lnTo>
                <a:lnTo>
                  <a:pt x="138" y="150"/>
                </a:lnTo>
                <a:lnTo>
                  <a:pt x="138" y="150"/>
                </a:lnTo>
                <a:lnTo>
                  <a:pt x="132" y="150"/>
                </a:lnTo>
                <a:lnTo>
                  <a:pt x="132" y="150"/>
                </a:lnTo>
                <a:lnTo>
                  <a:pt x="132" y="150"/>
                </a:lnTo>
                <a:lnTo>
                  <a:pt x="132" y="150"/>
                </a:lnTo>
                <a:lnTo>
                  <a:pt x="132" y="150"/>
                </a:lnTo>
                <a:lnTo>
                  <a:pt x="132" y="156"/>
                </a:lnTo>
                <a:lnTo>
                  <a:pt x="126" y="156"/>
                </a:lnTo>
                <a:lnTo>
                  <a:pt x="126" y="156"/>
                </a:lnTo>
                <a:lnTo>
                  <a:pt x="126" y="156"/>
                </a:lnTo>
                <a:lnTo>
                  <a:pt x="126" y="162"/>
                </a:lnTo>
                <a:lnTo>
                  <a:pt x="120" y="162"/>
                </a:lnTo>
                <a:lnTo>
                  <a:pt x="120" y="162"/>
                </a:lnTo>
                <a:lnTo>
                  <a:pt x="120" y="162"/>
                </a:lnTo>
                <a:lnTo>
                  <a:pt x="114" y="162"/>
                </a:lnTo>
                <a:lnTo>
                  <a:pt x="114" y="162"/>
                </a:lnTo>
                <a:lnTo>
                  <a:pt x="114" y="162"/>
                </a:lnTo>
                <a:lnTo>
                  <a:pt x="114" y="156"/>
                </a:lnTo>
                <a:lnTo>
                  <a:pt x="108" y="156"/>
                </a:lnTo>
                <a:lnTo>
                  <a:pt x="108" y="156"/>
                </a:lnTo>
                <a:lnTo>
                  <a:pt x="108" y="156"/>
                </a:lnTo>
                <a:lnTo>
                  <a:pt x="102" y="162"/>
                </a:lnTo>
                <a:lnTo>
                  <a:pt x="102" y="156"/>
                </a:lnTo>
                <a:lnTo>
                  <a:pt x="102" y="162"/>
                </a:lnTo>
                <a:lnTo>
                  <a:pt x="96" y="162"/>
                </a:lnTo>
                <a:lnTo>
                  <a:pt x="96" y="156"/>
                </a:lnTo>
                <a:lnTo>
                  <a:pt x="96" y="156"/>
                </a:lnTo>
                <a:lnTo>
                  <a:pt x="96" y="150"/>
                </a:lnTo>
                <a:lnTo>
                  <a:pt x="96" y="150"/>
                </a:lnTo>
                <a:lnTo>
                  <a:pt x="96" y="150"/>
                </a:lnTo>
                <a:lnTo>
                  <a:pt x="96" y="150"/>
                </a:lnTo>
                <a:lnTo>
                  <a:pt x="96" y="144"/>
                </a:lnTo>
                <a:lnTo>
                  <a:pt x="90" y="144"/>
                </a:lnTo>
                <a:lnTo>
                  <a:pt x="90" y="144"/>
                </a:lnTo>
                <a:lnTo>
                  <a:pt x="90" y="138"/>
                </a:lnTo>
                <a:lnTo>
                  <a:pt x="90" y="138"/>
                </a:lnTo>
                <a:lnTo>
                  <a:pt x="90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78" y="144"/>
                </a:lnTo>
                <a:lnTo>
                  <a:pt x="78" y="144"/>
                </a:lnTo>
                <a:lnTo>
                  <a:pt x="78" y="144"/>
                </a:lnTo>
                <a:lnTo>
                  <a:pt x="78" y="144"/>
                </a:lnTo>
                <a:lnTo>
                  <a:pt x="78" y="144"/>
                </a:lnTo>
                <a:lnTo>
                  <a:pt x="78" y="144"/>
                </a:lnTo>
                <a:lnTo>
                  <a:pt x="72" y="150"/>
                </a:lnTo>
                <a:lnTo>
                  <a:pt x="72" y="150"/>
                </a:lnTo>
                <a:lnTo>
                  <a:pt x="72" y="150"/>
                </a:lnTo>
                <a:lnTo>
                  <a:pt x="72" y="150"/>
                </a:lnTo>
                <a:lnTo>
                  <a:pt x="66" y="150"/>
                </a:lnTo>
                <a:lnTo>
                  <a:pt x="66" y="150"/>
                </a:lnTo>
                <a:lnTo>
                  <a:pt x="66" y="150"/>
                </a:lnTo>
                <a:lnTo>
                  <a:pt x="66" y="150"/>
                </a:lnTo>
                <a:lnTo>
                  <a:pt x="66" y="150"/>
                </a:lnTo>
                <a:lnTo>
                  <a:pt x="66" y="150"/>
                </a:lnTo>
                <a:lnTo>
                  <a:pt x="66" y="150"/>
                </a:lnTo>
                <a:lnTo>
                  <a:pt x="60" y="150"/>
                </a:lnTo>
                <a:lnTo>
                  <a:pt x="60" y="150"/>
                </a:lnTo>
                <a:lnTo>
                  <a:pt x="60" y="150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54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38"/>
                </a:lnTo>
                <a:lnTo>
                  <a:pt x="54" y="138"/>
                </a:lnTo>
                <a:lnTo>
                  <a:pt x="60" y="138"/>
                </a:lnTo>
                <a:lnTo>
                  <a:pt x="60" y="138"/>
                </a:lnTo>
                <a:lnTo>
                  <a:pt x="54" y="138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48" y="132"/>
                </a:lnTo>
                <a:lnTo>
                  <a:pt x="48" y="132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0" y="120"/>
                </a:lnTo>
                <a:lnTo>
                  <a:pt x="36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18" y="138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2" y="126"/>
                </a:lnTo>
                <a:lnTo>
                  <a:pt x="12" y="132"/>
                </a:lnTo>
                <a:lnTo>
                  <a:pt x="12" y="132"/>
                </a:lnTo>
                <a:lnTo>
                  <a:pt x="6" y="132"/>
                </a:lnTo>
                <a:lnTo>
                  <a:pt x="6" y="126"/>
                </a:lnTo>
                <a:lnTo>
                  <a:pt x="6" y="126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0" y="120"/>
                </a:lnTo>
                <a:lnTo>
                  <a:pt x="0" y="120"/>
                </a:lnTo>
                <a:lnTo>
                  <a:pt x="0" y="120"/>
                </a:lnTo>
                <a:lnTo>
                  <a:pt x="0" y="11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16" name="Freeform 349"/>
          <p:cNvSpPr>
            <a:spLocks/>
          </p:cNvSpPr>
          <p:nvPr/>
        </p:nvSpPr>
        <p:spPr bwMode="auto">
          <a:xfrm>
            <a:off x="6896822" y="4346999"/>
            <a:ext cx="122057" cy="83513"/>
          </a:xfrm>
          <a:custGeom>
            <a:avLst/>
            <a:gdLst>
              <a:gd name="T0" fmla="*/ 12 w 114"/>
              <a:gd name="T1" fmla="*/ 6 h 78"/>
              <a:gd name="T2" fmla="*/ 18 w 114"/>
              <a:gd name="T3" fmla="*/ 0 h 78"/>
              <a:gd name="T4" fmla="*/ 30 w 114"/>
              <a:gd name="T5" fmla="*/ 0 h 78"/>
              <a:gd name="T6" fmla="*/ 36 w 114"/>
              <a:gd name="T7" fmla="*/ 0 h 78"/>
              <a:gd name="T8" fmla="*/ 42 w 114"/>
              <a:gd name="T9" fmla="*/ 0 h 78"/>
              <a:gd name="T10" fmla="*/ 42 w 114"/>
              <a:gd name="T11" fmla="*/ 0 h 78"/>
              <a:gd name="T12" fmla="*/ 48 w 114"/>
              <a:gd name="T13" fmla="*/ 0 h 78"/>
              <a:gd name="T14" fmla="*/ 54 w 114"/>
              <a:gd name="T15" fmla="*/ 0 h 78"/>
              <a:gd name="T16" fmla="*/ 60 w 114"/>
              <a:gd name="T17" fmla="*/ 6 h 78"/>
              <a:gd name="T18" fmla="*/ 66 w 114"/>
              <a:gd name="T19" fmla="*/ 0 h 78"/>
              <a:gd name="T20" fmla="*/ 72 w 114"/>
              <a:gd name="T21" fmla="*/ 0 h 78"/>
              <a:gd name="T22" fmla="*/ 78 w 114"/>
              <a:gd name="T23" fmla="*/ 6 h 78"/>
              <a:gd name="T24" fmla="*/ 78 w 114"/>
              <a:gd name="T25" fmla="*/ 12 h 78"/>
              <a:gd name="T26" fmla="*/ 84 w 114"/>
              <a:gd name="T27" fmla="*/ 18 h 78"/>
              <a:gd name="T28" fmla="*/ 90 w 114"/>
              <a:gd name="T29" fmla="*/ 18 h 78"/>
              <a:gd name="T30" fmla="*/ 96 w 114"/>
              <a:gd name="T31" fmla="*/ 18 h 78"/>
              <a:gd name="T32" fmla="*/ 96 w 114"/>
              <a:gd name="T33" fmla="*/ 24 h 78"/>
              <a:gd name="T34" fmla="*/ 108 w 114"/>
              <a:gd name="T35" fmla="*/ 24 h 78"/>
              <a:gd name="T36" fmla="*/ 114 w 114"/>
              <a:gd name="T37" fmla="*/ 30 h 78"/>
              <a:gd name="T38" fmla="*/ 114 w 114"/>
              <a:gd name="T39" fmla="*/ 30 h 78"/>
              <a:gd name="T40" fmla="*/ 114 w 114"/>
              <a:gd name="T41" fmla="*/ 42 h 78"/>
              <a:gd name="T42" fmla="*/ 108 w 114"/>
              <a:gd name="T43" fmla="*/ 42 h 78"/>
              <a:gd name="T44" fmla="*/ 96 w 114"/>
              <a:gd name="T45" fmla="*/ 48 h 78"/>
              <a:gd name="T46" fmla="*/ 102 w 114"/>
              <a:gd name="T47" fmla="*/ 48 h 78"/>
              <a:gd name="T48" fmla="*/ 102 w 114"/>
              <a:gd name="T49" fmla="*/ 54 h 78"/>
              <a:gd name="T50" fmla="*/ 108 w 114"/>
              <a:gd name="T51" fmla="*/ 60 h 78"/>
              <a:gd name="T52" fmla="*/ 108 w 114"/>
              <a:gd name="T53" fmla="*/ 60 h 78"/>
              <a:gd name="T54" fmla="*/ 96 w 114"/>
              <a:gd name="T55" fmla="*/ 66 h 78"/>
              <a:gd name="T56" fmla="*/ 90 w 114"/>
              <a:gd name="T57" fmla="*/ 60 h 78"/>
              <a:gd name="T58" fmla="*/ 84 w 114"/>
              <a:gd name="T59" fmla="*/ 66 h 78"/>
              <a:gd name="T60" fmla="*/ 72 w 114"/>
              <a:gd name="T61" fmla="*/ 72 h 78"/>
              <a:gd name="T62" fmla="*/ 66 w 114"/>
              <a:gd name="T63" fmla="*/ 72 h 78"/>
              <a:gd name="T64" fmla="*/ 60 w 114"/>
              <a:gd name="T65" fmla="*/ 72 h 78"/>
              <a:gd name="T66" fmla="*/ 60 w 114"/>
              <a:gd name="T67" fmla="*/ 78 h 78"/>
              <a:gd name="T68" fmla="*/ 54 w 114"/>
              <a:gd name="T69" fmla="*/ 78 h 78"/>
              <a:gd name="T70" fmla="*/ 48 w 114"/>
              <a:gd name="T71" fmla="*/ 72 h 78"/>
              <a:gd name="T72" fmla="*/ 48 w 114"/>
              <a:gd name="T73" fmla="*/ 72 h 78"/>
              <a:gd name="T74" fmla="*/ 42 w 114"/>
              <a:gd name="T75" fmla="*/ 78 h 78"/>
              <a:gd name="T76" fmla="*/ 42 w 114"/>
              <a:gd name="T77" fmla="*/ 72 h 78"/>
              <a:gd name="T78" fmla="*/ 42 w 114"/>
              <a:gd name="T79" fmla="*/ 72 h 78"/>
              <a:gd name="T80" fmla="*/ 36 w 114"/>
              <a:gd name="T81" fmla="*/ 66 h 78"/>
              <a:gd name="T82" fmla="*/ 36 w 114"/>
              <a:gd name="T83" fmla="*/ 66 h 78"/>
              <a:gd name="T84" fmla="*/ 36 w 114"/>
              <a:gd name="T85" fmla="*/ 66 h 78"/>
              <a:gd name="T86" fmla="*/ 36 w 114"/>
              <a:gd name="T87" fmla="*/ 60 h 78"/>
              <a:gd name="T88" fmla="*/ 36 w 114"/>
              <a:gd name="T89" fmla="*/ 60 h 78"/>
              <a:gd name="T90" fmla="*/ 30 w 114"/>
              <a:gd name="T91" fmla="*/ 54 h 78"/>
              <a:gd name="T92" fmla="*/ 30 w 114"/>
              <a:gd name="T93" fmla="*/ 54 h 78"/>
              <a:gd name="T94" fmla="*/ 30 w 114"/>
              <a:gd name="T95" fmla="*/ 48 h 78"/>
              <a:gd name="T96" fmla="*/ 24 w 114"/>
              <a:gd name="T97" fmla="*/ 48 h 78"/>
              <a:gd name="T98" fmla="*/ 24 w 114"/>
              <a:gd name="T99" fmla="*/ 42 h 78"/>
              <a:gd name="T100" fmla="*/ 24 w 114"/>
              <a:gd name="T101" fmla="*/ 36 h 78"/>
              <a:gd name="T102" fmla="*/ 18 w 114"/>
              <a:gd name="T103" fmla="*/ 36 h 78"/>
              <a:gd name="T104" fmla="*/ 12 w 114"/>
              <a:gd name="T105" fmla="*/ 36 h 78"/>
              <a:gd name="T106" fmla="*/ 12 w 114"/>
              <a:gd name="T107" fmla="*/ 42 h 78"/>
              <a:gd name="T108" fmla="*/ 6 w 114"/>
              <a:gd name="T109" fmla="*/ 36 h 78"/>
              <a:gd name="T110" fmla="*/ 0 w 114"/>
              <a:gd name="T111" fmla="*/ 36 h 78"/>
              <a:gd name="T112" fmla="*/ 6 w 114"/>
              <a:gd name="T113" fmla="*/ 30 h 78"/>
              <a:gd name="T114" fmla="*/ 0 w 114"/>
              <a:gd name="T115" fmla="*/ 18 h 78"/>
              <a:gd name="T116" fmla="*/ 6 w 114"/>
              <a:gd name="T117" fmla="*/ 12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4" h="78">
                <a:moveTo>
                  <a:pt x="6" y="6"/>
                </a:moveTo>
                <a:lnTo>
                  <a:pt x="6" y="6"/>
                </a:lnTo>
                <a:lnTo>
                  <a:pt x="6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42" y="6"/>
                </a:lnTo>
                <a:lnTo>
                  <a:pt x="42" y="6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60" y="0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8"/>
                </a:lnTo>
                <a:lnTo>
                  <a:pt x="78" y="18"/>
                </a:lnTo>
                <a:lnTo>
                  <a:pt x="84" y="18"/>
                </a:lnTo>
                <a:lnTo>
                  <a:pt x="84" y="24"/>
                </a:lnTo>
                <a:lnTo>
                  <a:pt x="84" y="18"/>
                </a:lnTo>
                <a:lnTo>
                  <a:pt x="84" y="24"/>
                </a:lnTo>
                <a:lnTo>
                  <a:pt x="84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8" y="24"/>
                </a:lnTo>
                <a:lnTo>
                  <a:pt x="108" y="30"/>
                </a:lnTo>
                <a:lnTo>
                  <a:pt x="108" y="24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42"/>
                </a:lnTo>
                <a:lnTo>
                  <a:pt x="114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96" y="48"/>
                </a:lnTo>
                <a:lnTo>
                  <a:pt x="96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60"/>
                </a:lnTo>
                <a:lnTo>
                  <a:pt x="102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6"/>
                </a:lnTo>
                <a:lnTo>
                  <a:pt x="102" y="66"/>
                </a:lnTo>
                <a:lnTo>
                  <a:pt x="102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84" y="60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78" y="66"/>
                </a:lnTo>
                <a:lnTo>
                  <a:pt x="78" y="66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0" y="72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2"/>
                </a:lnTo>
                <a:lnTo>
                  <a:pt x="54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36" y="72"/>
                </a:lnTo>
                <a:lnTo>
                  <a:pt x="42" y="72"/>
                </a:lnTo>
                <a:lnTo>
                  <a:pt x="42" y="72"/>
                </a:lnTo>
                <a:lnTo>
                  <a:pt x="42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42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0" y="60"/>
                </a:lnTo>
                <a:lnTo>
                  <a:pt x="30" y="60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2" y="36"/>
                </a:lnTo>
                <a:lnTo>
                  <a:pt x="12" y="36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0" y="36"/>
                </a:lnTo>
                <a:lnTo>
                  <a:pt x="6" y="30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0" y="18"/>
                </a:lnTo>
                <a:lnTo>
                  <a:pt x="6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6" y="18"/>
                </a:lnTo>
                <a:lnTo>
                  <a:pt x="6" y="18"/>
                </a:lnTo>
                <a:lnTo>
                  <a:pt x="6" y="12"/>
                </a:lnTo>
                <a:lnTo>
                  <a:pt x="6" y="12"/>
                </a:lnTo>
                <a:lnTo>
                  <a:pt x="6" y="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17" name="Freeform 350"/>
          <p:cNvSpPr>
            <a:spLocks/>
          </p:cNvSpPr>
          <p:nvPr/>
        </p:nvSpPr>
        <p:spPr bwMode="auto">
          <a:xfrm>
            <a:off x="6280114" y="4096460"/>
            <a:ext cx="334051" cy="173451"/>
          </a:xfrm>
          <a:custGeom>
            <a:avLst/>
            <a:gdLst>
              <a:gd name="T0" fmla="*/ 6 w 312"/>
              <a:gd name="T1" fmla="*/ 138 h 162"/>
              <a:gd name="T2" fmla="*/ 18 w 312"/>
              <a:gd name="T3" fmla="*/ 132 h 162"/>
              <a:gd name="T4" fmla="*/ 48 w 312"/>
              <a:gd name="T5" fmla="*/ 114 h 162"/>
              <a:gd name="T6" fmla="*/ 72 w 312"/>
              <a:gd name="T7" fmla="*/ 102 h 162"/>
              <a:gd name="T8" fmla="*/ 90 w 312"/>
              <a:gd name="T9" fmla="*/ 84 h 162"/>
              <a:gd name="T10" fmla="*/ 108 w 312"/>
              <a:gd name="T11" fmla="*/ 60 h 162"/>
              <a:gd name="T12" fmla="*/ 120 w 312"/>
              <a:gd name="T13" fmla="*/ 36 h 162"/>
              <a:gd name="T14" fmla="*/ 138 w 312"/>
              <a:gd name="T15" fmla="*/ 24 h 162"/>
              <a:gd name="T16" fmla="*/ 132 w 312"/>
              <a:gd name="T17" fmla="*/ 6 h 162"/>
              <a:gd name="T18" fmla="*/ 150 w 312"/>
              <a:gd name="T19" fmla="*/ 6 h 162"/>
              <a:gd name="T20" fmla="*/ 150 w 312"/>
              <a:gd name="T21" fmla="*/ 12 h 162"/>
              <a:gd name="T22" fmla="*/ 156 w 312"/>
              <a:gd name="T23" fmla="*/ 12 h 162"/>
              <a:gd name="T24" fmla="*/ 162 w 312"/>
              <a:gd name="T25" fmla="*/ 12 h 162"/>
              <a:gd name="T26" fmla="*/ 168 w 312"/>
              <a:gd name="T27" fmla="*/ 12 h 162"/>
              <a:gd name="T28" fmla="*/ 174 w 312"/>
              <a:gd name="T29" fmla="*/ 18 h 162"/>
              <a:gd name="T30" fmla="*/ 180 w 312"/>
              <a:gd name="T31" fmla="*/ 18 h 162"/>
              <a:gd name="T32" fmla="*/ 186 w 312"/>
              <a:gd name="T33" fmla="*/ 18 h 162"/>
              <a:gd name="T34" fmla="*/ 192 w 312"/>
              <a:gd name="T35" fmla="*/ 24 h 162"/>
              <a:gd name="T36" fmla="*/ 204 w 312"/>
              <a:gd name="T37" fmla="*/ 30 h 162"/>
              <a:gd name="T38" fmla="*/ 210 w 312"/>
              <a:gd name="T39" fmla="*/ 30 h 162"/>
              <a:gd name="T40" fmla="*/ 222 w 312"/>
              <a:gd name="T41" fmla="*/ 36 h 162"/>
              <a:gd name="T42" fmla="*/ 234 w 312"/>
              <a:gd name="T43" fmla="*/ 36 h 162"/>
              <a:gd name="T44" fmla="*/ 246 w 312"/>
              <a:gd name="T45" fmla="*/ 36 h 162"/>
              <a:gd name="T46" fmla="*/ 246 w 312"/>
              <a:gd name="T47" fmla="*/ 48 h 162"/>
              <a:gd name="T48" fmla="*/ 252 w 312"/>
              <a:gd name="T49" fmla="*/ 48 h 162"/>
              <a:gd name="T50" fmla="*/ 264 w 312"/>
              <a:gd name="T51" fmla="*/ 54 h 162"/>
              <a:gd name="T52" fmla="*/ 276 w 312"/>
              <a:gd name="T53" fmla="*/ 60 h 162"/>
              <a:gd name="T54" fmla="*/ 288 w 312"/>
              <a:gd name="T55" fmla="*/ 66 h 162"/>
              <a:gd name="T56" fmla="*/ 294 w 312"/>
              <a:gd name="T57" fmla="*/ 66 h 162"/>
              <a:gd name="T58" fmla="*/ 312 w 312"/>
              <a:gd name="T59" fmla="*/ 72 h 162"/>
              <a:gd name="T60" fmla="*/ 312 w 312"/>
              <a:gd name="T61" fmla="*/ 90 h 162"/>
              <a:gd name="T62" fmla="*/ 306 w 312"/>
              <a:gd name="T63" fmla="*/ 96 h 162"/>
              <a:gd name="T64" fmla="*/ 306 w 312"/>
              <a:gd name="T65" fmla="*/ 102 h 162"/>
              <a:gd name="T66" fmla="*/ 306 w 312"/>
              <a:gd name="T67" fmla="*/ 120 h 162"/>
              <a:gd name="T68" fmla="*/ 294 w 312"/>
              <a:gd name="T69" fmla="*/ 126 h 162"/>
              <a:gd name="T70" fmla="*/ 294 w 312"/>
              <a:gd name="T71" fmla="*/ 138 h 162"/>
              <a:gd name="T72" fmla="*/ 294 w 312"/>
              <a:gd name="T73" fmla="*/ 156 h 162"/>
              <a:gd name="T74" fmla="*/ 288 w 312"/>
              <a:gd name="T75" fmla="*/ 156 h 162"/>
              <a:gd name="T76" fmla="*/ 282 w 312"/>
              <a:gd name="T77" fmla="*/ 150 h 162"/>
              <a:gd name="T78" fmla="*/ 282 w 312"/>
              <a:gd name="T79" fmla="*/ 156 h 162"/>
              <a:gd name="T80" fmla="*/ 276 w 312"/>
              <a:gd name="T81" fmla="*/ 144 h 162"/>
              <a:gd name="T82" fmla="*/ 270 w 312"/>
              <a:gd name="T83" fmla="*/ 138 h 162"/>
              <a:gd name="T84" fmla="*/ 258 w 312"/>
              <a:gd name="T85" fmla="*/ 132 h 162"/>
              <a:gd name="T86" fmla="*/ 246 w 312"/>
              <a:gd name="T87" fmla="*/ 138 h 162"/>
              <a:gd name="T88" fmla="*/ 240 w 312"/>
              <a:gd name="T89" fmla="*/ 144 h 162"/>
              <a:gd name="T90" fmla="*/ 234 w 312"/>
              <a:gd name="T91" fmla="*/ 150 h 162"/>
              <a:gd name="T92" fmla="*/ 234 w 312"/>
              <a:gd name="T93" fmla="*/ 156 h 162"/>
              <a:gd name="T94" fmla="*/ 216 w 312"/>
              <a:gd name="T95" fmla="*/ 156 h 162"/>
              <a:gd name="T96" fmla="*/ 204 w 312"/>
              <a:gd name="T97" fmla="*/ 156 h 162"/>
              <a:gd name="T98" fmla="*/ 186 w 312"/>
              <a:gd name="T99" fmla="*/ 156 h 162"/>
              <a:gd name="T100" fmla="*/ 174 w 312"/>
              <a:gd name="T101" fmla="*/ 150 h 162"/>
              <a:gd name="T102" fmla="*/ 156 w 312"/>
              <a:gd name="T103" fmla="*/ 150 h 162"/>
              <a:gd name="T104" fmla="*/ 138 w 312"/>
              <a:gd name="T105" fmla="*/ 138 h 162"/>
              <a:gd name="T106" fmla="*/ 126 w 312"/>
              <a:gd name="T107" fmla="*/ 138 h 162"/>
              <a:gd name="T108" fmla="*/ 120 w 312"/>
              <a:gd name="T109" fmla="*/ 156 h 162"/>
              <a:gd name="T110" fmla="*/ 108 w 312"/>
              <a:gd name="T111" fmla="*/ 150 h 162"/>
              <a:gd name="T112" fmla="*/ 90 w 312"/>
              <a:gd name="T113" fmla="*/ 150 h 162"/>
              <a:gd name="T114" fmla="*/ 78 w 312"/>
              <a:gd name="T115" fmla="*/ 150 h 162"/>
              <a:gd name="T116" fmla="*/ 66 w 312"/>
              <a:gd name="T117" fmla="*/ 144 h 162"/>
              <a:gd name="T118" fmla="*/ 42 w 312"/>
              <a:gd name="T119" fmla="*/ 144 h 162"/>
              <a:gd name="T120" fmla="*/ 12 w 312"/>
              <a:gd name="T121" fmla="*/ 144 h 162"/>
              <a:gd name="T122" fmla="*/ 0 w 312"/>
              <a:gd name="T123" fmla="*/ 150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12" h="162">
                <a:moveTo>
                  <a:pt x="0" y="150"/>
                </a:moveTo>
                <a:lnTo>
                  <a:pt x="0" y="150"/>
                </a:lnTo>
                <a:lnTo>
                  <a:pt x="0" y="150"/>
                </a:lnTo>
                <a:lnTo>
                  <a:pt x="0" y="144"/>
                </a:lnTo>
                <a:lnTo>
                  <a:pt x="0" y="144"/>
                </a:lnTo>
                <a:lnTo>
                  <a:pt x="0" y="144"/>
                </a:lnTo>
                <a:lnTo>
                  <a:pt x="0" y="144"/>
                </a:lnTo>
                <a:lnTo>
                  <a:pt x="6" y="138"/>
                </a:lnTo>
                <a:lnTo>
                  <a:pt x="6" y="138"/>
                </a:lnTo>
                <a:lnTo>
                  <a:pt x="6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48" y="114"/>
                </a:lnTo>
                <a:lnTo>
                  <a:pt x="48" y="114"/>
                </a:lnTo>
                <a:lnTo>
                  <a:pt x="54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6" y="102"/>
                </a:lnTo>
                <a:lnTo>
                  <a:pt x="66" y="102"/>
                </a:lnTo>
                <a:lnTo>
                  <a:pt x="72" y="102"/>
                </a:lnTo>
                <a:lnTo>
                  <a:pt x="72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84" y="90"/>
                </a:lnTo>
                <a:lnTo>
                  <a:pt x="84" y="90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6" y="84"/>
                </a:lnTo>
                <a:lnTo>
                  <a:pt x="96" y="78"/>
                </a:lnTo>
                <a:lnTo>
                  <a:pt x="102" y="66"/>
                </a:lnTo>
                <a:lnTo>
                  <a:pt x="102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54"/>
                </a:lnTo>
                <a:lnTo>
                  <a:pt x="108" y="54"/>
                </a:lnTo>
                <a:lnTo>
                  <a:pt x="114" y="54"/>
                </a:lnTo>
                <a:lnTo>
                  <a:pt x="120" y="48"/>
                </a:lnTo>
                <a:lnTo>
                  <a:pt x="120" y="48"/>
                </a:lnTo>
                <a:lnTo>
                  <a:pt x="120" y="42"/>
                </a:lnTo>
                <a:lnTo>
                  <a:pt x="120" y="36"/>
                </a:lnTo>
                <a:lnTo>
                  <a:pt x="126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0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2" y="18"/>
                </a:lnTo>
                <a:lnTo>
                  <a:pt x="132" y="18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8" y="6"/>
                </a:lnTo>
                <a:lnTo>
                  <a:pt x="138" y="6"/>
                </a:lnTo>
                <a:lnTo>
                  <a:pt x="144" y="6"/>
                </a:lnTo>
                <a:lnTo>
                  <a:pt x="144" y="6"/>
                </a:lnTo>
                <a:lnTo>
                  <a:pt x="150" y="0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12"/>
                </a:lnTo>
                <a:lnTo>
                  <a:pt x="150" y="6"/>
                </a:lnTo>
                <a:lnTo>
                  <a:pt x="150" y="6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74" y="18"/>
                </a:lnTo>
                <a:lnTo>
                  <a:pt x="174" y="18"/>
                </a:lnTo>
                <a:lnTo>
                  <a:pt x="174" y="18"/>
                </a:lnTo>
                <a:lnTo>
                  <a:pt x="174" y="18"/>
                </a:lnTo>
                <a:lnTo>
                  <a:pt x="174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6" y="18"/>
                </a:lnTo>
                <a:lnTo>
                  <a:pt x="186" y="24"/>
                </a:lnTo>
                <a:lnTo>
                  <a:pt x="186" y="24"/>
                </a:lnTo>
                <a:lnTo>
                  <a:pt x="186" y="18"/>
                </a:lnTo>
                <a:lnTo>
                  <a:pt x="186" y="18"/>
                </a:lnTo>
                <a:lnTo>
                  <a:pt x="186" y="24"/>
                </a:lnTo>
                <a:lnTo>
                  <a:pt x="186" y="24"/>
                </a:lnTo>
                <a:lnTo>
                  <a:pt x="192" y="24"/>
                </a:lnTo>
                <a:lnTo>
                  <a:pt x="192" y="24"/>
                </a:lnTo>
                <a:lnTo>
                  <a:pt x="192" y="24"/>
                </a:lnTo>
                <a:lnTo>
                  <a:pt x="192" y="24"/>
                </a:lnTo>
                <a:lnTo>
                  <a:pt x="192" y="24"/>
                </a:lnTo>
                <a:lnTo>
                  <a:pt x="192" y="24"/>
                </a:lnTo>
                <a:lnTo>
                  <a:pt x="192" y="24"/>
                </a:lnTo>
                <a:lnTo>
                  <a:pt x="192" y="24"/>
                </a:lnTo>
                <a:lnTo>
                  <a:pt x="192" y="30"/>
                </a:lnTo>
                <a:lnTo>
                  <a:pt x="198" y="24"/>
                </a:lnTo>
                <a:lnTo>
                  <a:pt x="198" y="30"/>
                </a:lnTo>
                <a:lnTo>
                  <a:pt x="198" y="30"/>
                </a:lnTo>
                <a:lnTo>
                  <a:pt x="204" y="30"/>
                </a:lnTo>
                <a:lnTo>
                  <a:pt x="204" y="30"/>
                </a:lnTo>
                <a:lnTo>
                  <a:pt x="204" y="30"/>
                </a:lnTo>
                <a:lnTo>
                  <a:pt x="204" y="30"/>
                </a:lnTo>
                <a:lnTo>
                  <a:pt x="204" y="30"/>
                </a:lnTo>
                <a:lnTo>
                  <a:pt x="204" y="30"/>
                </a:lnTo>
                <a:lnTo>
                  <a:pt x="204" y="30"/>
                </a:lnTo>
                <a:lnTo>
                  <a:pt x="210" y="30"/>
                </a:lnTo>
                <a:lnTo>
                  <a:pt x="210" y="30"/>
                </a:lnTo>
                <a:lnTo>
                  <a:pt x="210" y="30"/>
                </a:lnTo>
                <a:lnTo>
                  <a:pt x="210" y="36"/>
                </a:lnTo>
                <a:lnTo>
                  <a:pt x="216" y="36"/>
                </a:lnTo>
                <a:lnTo>
                  <a:pt x="216" y="36"/>
                </a:lnTo>
                <a:lnTo>
                  <a:pt x="216" y="36"/>
                </a:lnTo>
                <a:lnTo>
                  <a:pt x="216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8" y="36"/>
                </a:lnTo>
                <a:lnTo>
                  <a:pt x="228" y="42"/>
                </a:lnTo>
                <a:lnTo>
                  <a:pt x="228" y="36"/>
                </a:lnTo>
                <a:lnTo>
                  <a:pt x="228" y="36"/>
                </a:lnTo>
                <a:lnTo>
                  <a:pt x="234" y="36"/>
                </a:lnTo>
                <a:lnTo>
                  <a:pt x="234" y="36"/>
                </a:lnTo>
                <a:lnTo>
                  <a:pt x="234" y="36"/>
                </a:lnTo>
                <a:lnTo>
                  <a:pt x="234" y="30"/>
                </a:lnTo>
                <a:lnTo>
                  <a:pt x="234" y="30"/>
                </a:lnTo>
                <a:lnTo>
                  <a:pt x="240" y="36"/>
                </a:lnTo>
                <a:lnTo>
                  <a:pt x="240" y="36"/>
                </a:lnTo>
                <a:lnTo>
                  <a:pt x="240" y="36"/>
                </a:lnTo>
                <a:lnTo>
                  <a:pt x="240" y="36"/>
                </a:lnTo>
                <a:lnTo>
                  <a:pt x="240" y="36"/>
                </a:lnTo>
                <a:lnTo>
                  <a:pt x="246" y="36"/>
                </a:lnTo>
                <a:lnTo>
                  <a:pt x="246" y="36"/>
                </a:lnTo>
                <a:lnTo>
                  <a:pt x="240" y="36"/>
                </a:lnTo>
                <a:lnTo>
                  <a:pt x="240" y="36"/>
                </a:lnTo>
                <a:lnTo>
                  <a:pt x="240" y="42"/>
                </a:lnTo>
                <a:lnTo>
                  <a:pt x="240" y="42"/>
                </a:lnTo>
                <a:lnTo>
                  <a:pt x="240" y="42"/>
                </a:lnTo>
                <a:lnTo>
                  <a:pt x="240" y="42"/>
                </a:lnTo>
                <a:lnTo>
                  <a:pt x="246" y="48"/>
                </a:lnTo>
                <a:lnTo>
                  <a:pt x="246" y="48"/>
                </a:lnTo>
                <a:lnTo>
                  <a:pt x="246" y="48"/>
                </a:lnTo>
                <a:lnTo>
                  <a:pt x="252" y="48"/>
                </a:lnTo>
                <a:lnTo>
                  <a:pt x="252" y="48"/>
                </a:lnTo>
                <a:lnTo>
                  <a:pt x="252" y="48"/>
                </a:lnTo>
                <a:lnTo>
                  <a:pt x="252" y="48"/>
                </a:lnTo>
                <a:lnTo>
                  <a:pt x="252" y="48"/>
                </a:lnTo>
                <a:lnTo>
                  <a:pt x="252" y="48"/>
                </a:lnTo>
                <a:lnTo>
                  <a:pt x="258" y="54"/>
                </a:lnTo>
                <a:lnTo>
                  <a:pt x="258" y="54"/>
                </a:lnTo>
                <a:lnTo>
                  <a:pt x="258" y="54"/>
                </a:lnTo>
                <a:lnTo>
                  <a:pt x="258" y="54"/>
                </a:lnTo>
                <a:lnTo>
                  <a:pt x="258" y="54"/>
                </a:lnTo>
                <a:lnTo>
                  <a:pt x="264" y="54"/>
                </a:lnTo>
                <a:lnTo>
                  <a:pt x="264" y="54"/>
                </a:lnTo>
                <a:lnTo>
                  <a:pt x="264" y="54"/>
                </a:lnTo>
                <a:lnTo>
                  <a:pt x="264" y="54"/>
                </a:lnTo>
                <a:lnTo>
                  <a:pt x="264" y="54"/>
                </a:lnTo>
                <a:lnTo>
                  <a:pt x="270" y="54"/>
                </a:lnTo>
                <a:lnTo>
                  <a:pt x="270" y="54"/>
                </a:lnTo>
                <a:lnTo>
                  <a:pt x="270" y="60"/>
                </a:lnTo>
                <a:lnTo>
                  <a:pt x="270" y="60"/>
                </a:lnTo>
                <a:lnTo>
                  <a:pt x="276" y="60"/>
                </a:lnTo>
                <a:lnTo>
                  <a:pt x="276" y="60"/>
                </a:lnTo>
                <a:lnTo>
                  <a:pt x="276" y="60"/>
                </a:lnTo>
                <a:lnTo>
                  <a:pt x="282" y="60"/>
                </a:lnTo>
                <a:lnTo>
                  <a:pt x="282" y="60"/>
                </a:lnTo>
                <a:lnTo>
                  <a:pt x="282" y="60"/>
                </a:lnTo>
                <a:lnTo>
                  <a:pt x="282" y="60"/>
                </a:lnTo>
                <a:lnTo>
                  <a:pt x="282" y="60"/>
                </a:lnTo>
                <a:lnTo>
                  <a:pt x="282" y="60"/>
                </a:lnTo>
                <a:lnTo>
                  <a:pt x="288" y="66"/>
                </a:lnTo>
                <a:lnTo>
                  <a:pt x="288" y="60"/>
                </a:lnTo>
                <a:lnTo>
                  <a:pt x="288" y="66"/>
                </a:lnTo>
                <a:lnTo>
                  <a:pt x="288" y="66"/>
                </a:lnTo>
                <a:lnTo>
                  <a:pt x="288" y="66"/>
                </a:lnTo>
                <a:lnTo>
                  <a:pt x="288" y="66"/>
                </a:lnTo>
                <a:lnTo>
                  <a:pt x="294" y="66"/>
                </a:lnTo>
                <a:lnTo>
                  <a:pt x="294" y="66"/>
                </a:lnTo>
                <a:lnTo>
                  <a:pt x="294" y="66"/>
                </a:lnTo>
                <a:lnTo>
                  <a:pt x="294" y="66"/>
                </a:lnTo>
                <a:lnTo>
                  <a:pt x="306" y="66"/>
                </a:lnTo>
                <a:lnTo>
                  <a:pt x="306" y="72"/>
                </a:lnTo>
                <a:lnTo>
                  <a:pt x="306" y="72"/>
                </a:lnTo>
                <a:lnTo>
                  <a:pt x="312" y="72"/>
                </a:lnTo>
                <a:lnTo>
                  <a:pt x="312" y="72"/>
                </a:lnTo>
                <a:lnTo>
                  <a:pt x="312" y="72"/>
                </a:lnTo>
                <a:lnTo>
                  <a:pt x="312" y="72"/>
                </a:lnTo>
                <a:lnTo>
                  <a:pt x="312" y="78"/>
                </a:lnTo>
                <a:lnTo>
                  <a:pt x="306" y="78"/>
                </a:lnTo>
                <a:lnTo>
                  <a:pt x="306" y="84"/>
                </a:lnTo>
                <a:lnTo>
                  <a:pt x="312" y="84"/>
                </a:lnTo>
                <a:lnTo>
                  <a:pt x="312" y="84"/>
                </a:lnTo>
                <a:lnTo>
                  <a:pt x="312" y="84"/>
                </a:lnTo>
                <a:lnTo>
                  <a:pt x="312" y="84"/>
                </a:lnTo>
                <a:lnTo>
                  <a:pt x="312" y="90"/>
                </a:lnTo>
                <a:lnTo>
                  <a:pt x="312" y="90"/>
                </a:lnTo>
                <a:lnTo>
                  <a:pt x="312" y="90"/>
                </a:lnTo>
                <a:lnTo>
                  <a:pt x="306" y="90"/>
                </a:lnTo>
                <a:lnTo>
                  <a:pt x="306" y="90"/>
                </a:lnTo>
                <a:lnTo>
                  <a:pt x="312" y="90"/>
                </a:lnTo>
                <a:lnTo>
                  <a:pt x="312" y="96"/>
                </a:lnTo>
                <a:lnTo>
                  <a:pt x="306" y="96"/>
                </a:lnTo>
                <a:lnTo>
                  <a:pt x="306" y="96"/>
                </a:lnTo>
                <a:lnTo>
                  <a:pt x="306" y="96"/>
                </a:lnTo>
                <a:lnTo>
                  <a:pt x="312" y="96"/>
                </a:lnTo>
                <a:lnTo>
                  <a:pt x="306" y="96"/>
                </a:lnTo>
                <a:lnTo>
                  <a:pt x="306" y="96"/>
                </a:lnTo>
                <a:lnTo>
                  <a:pt x="306" y="102"/>
                </a:lnTo>
                <a:lnTo>
                  <a:pt x="312" y="102"/>
                </a:lnTo>
                <a:lnTo>
                  <a:pt x="312" y="102"/>
                </a:lnTo>
                <a:lnTo>
                  <a:pt x="306" y="102"/>
                </a:lnTo>
                <a:lnTo>
                  <a:pt x="306" y="102"/>
                </a:lnTo>
                <a:lnTo>
                  <a:pt x="306" y="108"/>
                </a:lnTo>
                <a:lnTo>
                  <a:pt x="306" y="108"/>
                </a:lnTo>
                <a:lnTo>
                  <a:pt x="306" y="108"/>
                </a:lnTo>
                <a:lnTo>
                  <a:pt x="306" y="108"/>
                </a:lnTo>
                <a:lnTo>
                  <a:pt x="300" y="114"/>
                </a:lnTo>
                <a:lnTo>
                  <a:pt x="306" y="114"/>
                </a:lnTo>
                <a:lnTo>
                  <a:pt x="306" y="120"/>
                </a:lnTo>
                <a:lnTo>
                  <a:pt x="300" y="120"/>
                </a:lnTo>
                <a:lnTo>
                  <a:pt x="300" y="120"/>
                </a:lnTo>
                <a:lnTo>
                  <a:pt x="300" y="126"/>
                </a:lnTo>
                <a:lnTo>
                  <a:pt x="300" y="126"/>
                </a:lnTo>
                <a:lnTo>
                  <a:pt x="300" y="126"/>
                </a:lnTo>
                <a:lnTo>
                  <a:pt x="294" y="126"/>
                </a:lnTo>
                <a:lnTo>
                  <a:pt x="294" y="126"/>
                </a:lnTo>
                <a:lnTo>
                  <a:pt x="294" y="126"/>
                </a:lnTo>
                <a:lnTo>
                  <a:pt x="294" y="126"/>
                </a:lnTo>
                <a:lnTo>
                  <a:pt x="294" y="132"/>
                </a:lnTo>
                <a:lnTo>
                  <a:pt x="294" y="132"/>
                </a:lnTo>
                <a:lnTo>
                  <a:pt x="294" y="132"/>
                </a:lnTo>
                <a:lnTo>
                  <a:pt x="294" y="138"/>
                </a:lnTo>
                <a:lnTo>
                  <a:pt x="294" y="138"/>
                </a:lnTo>
                <a:lnTo>
                  <a:pt x="294" y="138"/>
                </a:lnTo>
                <a:lnTo>
                  <a:pt x="294" y="138"/>
                </a:lnTo>
                <a:lnTo>
                  <a:pt x="294" y="144"/>
                </a:lnTo>
                <a:lnTo>
                  <a:pt x="294" y="144"/>
                </a:lnTo>
                <a:lnTo>
                  <a:pt x="294" y="144"/>
                </a:lnTo>
                <a:lnTo>
                  <a:pt x="294" y="150"/>
                </a:lnTo>
                <a:lnTo>
                  <a:pt x="294" y="150"/>
                </a:lnTo>
                <a:lnTo>
                  <a:pt x="294" y="150"/>
                </a:lnTo>
                <a:lnTo>
                  <a:pt x="294" y="150"/>
                </a:lnTo>
                <a:lnTo>
                  <a:pt x="294" y="156"/>
                </a:lnTo>
                <a:lnTo>
                  <a:pt x="294" y="156"/>
                </a:lnTo>
                <a:lnTo>
                  <a:pt x="294" y="156"/>
                </a:lnTo>
                <a:lnTo>
                  <a:pt x="294" y="156"/>
                </a:lnTo>
                <a:lnTo>
                  <a:pt x="294" y="156"/>
                </a:lnTo>
                <a:lnTo>
                  <a:pt x="294" y="156"/>
                </a:lnTo>
                <a:lnTo>
                  <a:pt x="294" y="156"/>
                </a:lnTo>
                <a:lnTo>
                  <a:pt x="288" y="156"/>
                </a:lnTo>
                <a:lnTo>
                  <a:pt x="288" y="156"/>
                </a:lnTo>
                <a:lnTo>
                  <a:pt x="288" y="156"/>
                </a:lnTo>
                <a:lnTo>
                  <a:pt x="288" y="156"/>
                </a:lnTo>
                <a:lnTo>
                  <a:pt x="288" y="150"/>
                </a:lnTo>
                <a:lnTo>
                  <a:pt x="288" y="150"/>
                </a:lnTo>
                <a:lnTo>
                  <a:pt x="288" y="150"/>
                </a:lnTo>
                <a:lnTo>
                  <a:pt x="282" y="150"/>
                </a:lnTo>
                <a:lnTo>
                  <a:pt x="282" y="150"/>
                </a:lnTo>
                <a:lnTo>
                  <a:pt x="282" y="150"/>
                </a:lnTo>
                <a:lnTo>
                  <a:pt x="282" y="150"/>
                </a:lnTo>
                <a:lnTo>
                  <a:pt x="282" y="150"/>
                </a:lnTo>
                <a:lnTo>
                  <a:pt x="282" y="156"/>
                </a:lnTo>
                <a:lnTo>
                  <a:pt x="282" y="156"/>
                </a:lnTo>
                <a:lnTo>
                  <a:pt x="282" y="156"/>
                </a:lnTo>
                <a:lnTo>
                  <a:pt x="282" y="156"/>
                </a:lnTo>
                <a:lnTo>
                  <a:pt x="282" y="156"/>
                </a:lnTo>
                <a:lnTo>
                  <a:pt x="282" y="156"/>
                </a:lnTo>
                <a:lnTo>
                  <a:pt x="282" y="156"/>
                </a:lnTo>
                <a:lnTo>
                  <a:pt x="282" y="156"/>
                </a:lnTo>
                <a:lnTo>
                  <a:pt x="282" y="156"/>
                </a:lnTo>
                <a:lnTo>
                  <a:pt x="282" y="156"/>
                </a:lnTo>
                <a:lnTo>
                  <a:pt x="282" y="156"/>
                </a:lnTo>
                <a:lnTo>
                  <a:pt x="276" y="150"/>
                </a:lnTo>
                <a:lnTo>
                  <a:pt x="276" y="150"/>
                </a:lnTo>
                <a:lnTo>
                  <a:pt x="276" y="144"/>
                </a:lnTo>
                <a:lnTo>
                  <a:pt x="276" y="144"/>
                </a:lnTo>
                <a:lnTo>
                  <a:pt x="276" y="144"/>
                </a:lnTo>
                <a:lnTo>
                  <a:pt x="276" y="144"/>
                </a:lnTo>
                <a:lnTo>
                  <a:pt x="276" y="138"/>
                </a:lnTo>
                <a:lnTo>
                  <a:pt x="276" y="138"/>
                </a:lnTo>
                <a:lnTo>
                  <a:pt x="270" y="138"/>
                </a:lnTo>
                <a:lnTo>
                  <a:pt x="270" y="138"/>
                </a:lnTo>
                <a:lnTo>
                  <a:pt x="270" y="138"/>
                </a:lnTo>
                <a:lnTo>
                  <a:pt x="270" y="132"/>
                </a:lnTo>
                <a:lnTo>
                  <a:pt x="270" y="132"/>
                </a:lnTo>
                <a:lnTo>
                  <a:pt x="270" y="132"/>
                </a:lnTo>
                <a:lnTo>
                  <a:pt x="270" y="132"/>
                </a:lnTo>
                <a:lnTo>
                  <a:pt x="264" y="132"/>
                </a:lnTo>
                <a:lnTo>
                  <a:pt x="264" y="132"/>
                </a:lnTo>
                <a:lnTo>
                  <a:pt x="258" y="132"/>
                </a:lnTo>
                <a:lnTo>
                  <a:pt x="258" y="132"/>
                </a:lnTo>
                <a:lnTo>
                  <a:pt x="258" y="132"/>
                </a:lnTo>
                <a:lnTo>
                  <a:pt x="252" y="132"/>
                </a:lnTo>
                <a:lnTo>
                  <a:pt x="252" y="132"/>
                </a:lnTo>
                <a:lnTo>
                  <a:pt x="252" y="132"/>
                </a:lnTo>
                <a:lnTo>
                  <a:pt x="252" y="132"/>
                </a:lnTo>
                <a:lnTo>
                  <a:pt x="246" y="138"/>
                </a:lnTo>
                <a:lnTo>
                  <a:pt x="246" y="138"/>
                </a:lnTo>
                <a:lnTo>
                  <a:pt x="246" y="138"/>
                </a:lnTo>
                <a:lnTo>
                  <a:pt x="240" y="138"/>
                </a:lnTo>
                <a:lnTo>
                  <a:pt x="240" y="138"/>
                </a:lnTo>
                <a:lnTo>
                  <a:pt x="240" y="138"/>
                </a:lnTo>
                <a:lnTo>
                  <a:pt x="240" y="138"/>
                </a:lnTo>
                <a:lnTo>
                  <a:pt x="240" y="144"/>
                </a:lnTo>
                <a:lnTo>
                  <a:pt x="240" y="144"/>
                </a:lnTo>
                <a:lnTo>
                  <a:pt x="234" y="144"/>
                </a:lnTo>
                <a:lnTo>
                  <a:pt x="240" y="144"/>
                </a:lnTo>
                <a:lnTo>
                  <a:pt x="234" y="144"/>
                </a:lnTo>
                <a:lnTo>
                  <a:pt x="234" y="144"/>
                </a:lnTo>
                <a:lnTo>
                  <a:pt x="234" y="144"/>
                </a:lnTo>
                <a:lnTo>
                  <a:pt x="234" y="144"/>
                </a:lnTo>
                <a:lnTo>
                  <a:pt x="234" y="150"/>
                </a:lnTo>
                <a:lnTo>
                  <a:pt x="234" y="150"/>
                </a:lnTo>
                <a:lnTo>
                  <a:pt x="234" y="150"/>
                </a:lnTo>
                <a:lnTo>
                  <a:pt x="234" y="150"/>
                </a:lnTo>
                <a:lnTo>
                  <a:pt x="234" y="150"/>
                </a:lnTo>
                <a:lnTo>
                  <a:pt x="234" y="150"/>
                </a:lnTo>
                <a:lnTo>
                  <a:pt x="234" y="156"/>
                </a:lnTo>
                <a:lnTo>
                  <a:pt x="234" y="156"/>
                </a:lnTo>
                <a:lnTo>
                  <a:pt x="234" y="156"/>
                </a:lnTo>
                <a:lnTo>
                  <a:pt x="234" y="156"/>
                </a:lnTo>
                <a:lnTo>
                  <a:pt x="234" y="156"/>
                </a:lnTo>
                <a:lnTo>
                  <a:pt x="234" y="156"/>
                </a:lnTo>
                <a:lnTo>
                  <a:pt x="234" y="156"/>
                </a:lnTo>
                <a:lnTo>
                  <a:pt x="228" y="156"/>
                </a:lnTo>
                <a:lnTo>
                  <a:pt x="228" y="156"/>
                </a:lnTo>
                <a:lnTo>
                  <a:pt x="222" y="156"/>
                </a:lnTo>
                <a:lnTo>
                  <a:pt x="222" y="156"/>
                </a:lnTo>
                <a:lnTo>
                  <a:pt x="222" y="156"/>
                </a:lnTo>
                <a:lnTo>
                  <a:pt x="216" y="156"/>
                </a:lnTo>
                <a:lnTo>
                  <a:pt x="216" y="156"/>
                </a:lnTo>
                <a:lnTo>
                  <a:pt x="216" y="156"/>
                </a:lnTo>
                <a:lnTo>
                  <a:pt x="216" y="156"/>
                </a:lnTo>
                <a:lnTo>
                  <a:pt x="210" y="156"/>
                </a:lnTo>
                <a:lnTo>
                  <a:pt x="210" y="156"/>
                </a:lnTo>
                <a:lnTo>
                  <a:pt x="210" y="156"/>
                </a:lnTo>
                <a:lnTo>
                  <a:pt x="204" y="156"/>
                </a:lnTo>
                <a:lnTo>
                  <a:pt x="204" y="156"/>
                </a:lnTo>
                <a:lnTo>
                  <a:pt x="204" y="156"/>
                </a:lnTo>
                <a:lnTo>
                  <a:pt x="198" y="162"/>
                </a:lnTo>
                <a:lnTo>
                  <a:pt x="198" y="156"/>
                </a:lnTo>
                <a:lnTo>
                  <a:pt x="198" y="156"/>
                </a:lnTo>
                <a:lnTo>
                  <a:pt x="192" y="156"/>
                </a:lnTo>
                <a:lnTo>
                  <a:pt x="192" y="156"/>
                </a:lnTo>
                <a:lnTo>
                  <a:pt x="192" y="156"/>
                </a:lnTo>
                <a:lnTo>
                  <a:pt x="186" y="156"/>
                </a:lnTo>
                <a:lnTo>
                  <a:pt x="186" y="156"/>
                </a:lnTo>
                <a:lnTo>
                  <a:pt x="180" y="156"/>
                </a:lnTo>
                <a:lnTo>
                  <a:pt x="180" y="156"/>
                </a:lnTo>
                <a:lnTo>
                  <a:pt x="180" y="156"/>
                </a:lnTo>
                <a:lnTo>
                  <a:pt x="180" y="156"/>
                </a:lnTo>
                <a:lnTo>
                  <a:pt x="180" y="150"/>
                </a:lnTo>
                <a:lnTo>
                  <a:pt x="180" y="150"/>
                </a:lnTo>
                <a:lnTo>
                  <a:pt x="174" y="150"/>
                </a:lnTo>
                <a:lnTo>
                  <a:pt x="174" y="150"/>
                </a:lnTo>
                <a:lnTo>
                  <a:pt x="174" y="150"/>
                </a:lnTo>
                <a:lnTo>
                  <a:pt x="174" y="150"/>
                </a:lnTo>
                <a:lnTo>
                  <a:pt x="174" y="150"/>
                </a:lnTo>
                <a:lnTo>
                  <a:pt x="162" y="150"/>
                </a:lnTo>
                <a:lnTo>
                  <a:pt x="162" y="150"/>
                </a:lnTo>
                <a:lnTo>
                  <a:pt x="162" y="150"/>
                </a:lnTo>
                <a:lnTo>
                  <a:pt x="162" y="150"/>
                </a:lnTo>
                <a:lnTo>
                  <a:pt x="156" y="150"/>
                </a:lnTo>
                <a:lnTo>
                  <a:pt x="156" y="150"/>
                </a:lnTo>
                <a:lnTo>
                  <a:pt x="156" y="144"/>
                </a:lnTo>
                <a:lnTo>
                  <a:pt x="150" y="144"/>
                </a:lnTo>
                <a:lnTo>
                  <a:pt x="150" y="144"/>
                </a:lnTo>
                <a:lnTo>
                  <a:pt x="144" y="138"/>
                </a:lnTo>
                <a:lnTo>
                  <a:pt x="138" y="138"/>
                </a:lnTo>
                <a:lnTo>
                  <a:pt x="138" y="138"/>
                </a:lnTo>
                <a:lnTo>
                  <a:pt x="138" y="138"/>
                </a:lnTo>
                <a:lnTo>
                  <a:pt x="138" y="138"/>
                </a:lnTo>
                <a:lnTo>
                  <a:pt x="132" y="138"/>
                </a:lnTo>
                <a:lnTo>
                  <a:pt x="126" y="138"/>
                </a:lnTo>
                <a:lnTo>
                  <a:pt x="126" y="138"/>
                </a:lnTo>
                <a:lnTo>
                  <a:pt x="126" y="138"/>
                </a:lnTo>
                <a:lnTo>
                  <a:pt x="126" y="138"/>
                </a:lnTo>
                <a:lnTo>
                  <a:pt x="126" y="138"/>
                </a:lnTo>
                <a:lnTo>
                  <a:pt x="126" y="138"/>
                </a:lnTo>
                <a:lnTo>
                  <a:pt x="126" y="138"/>
                </a:lnTo>
                <a:lnTo>
                  <a:pt x="126" y="138"/>
                </a:lnTo>
                <a:lnTo>
                  <a:pt x="120" y="144"/>
                </a:lnTo>
                <a:lnTo>
                  <a:pt x="120" y="144"/>
                </a:lnTo>
                <a:lnTo>
                  <a:pt x="120" y="144"/>
                </a:lnTo>
                <a:lnTo>
                  <a:pt x="120" y="150"/>
                </a:lnTo>
                <a:lnTo>
                  <a:pt x="120" y="150"/>
                </a:lnTo>
                <a:lnTo>
                  <a:pt x="120" y="156"/>
                </a:lnTo>
                <a:lnTo>
                  <a:pt x="120" y="156"/>
                </a:lnTo>
                <a:lnTo>
                  <a:pt x="114" y="156"/>
                </a:lnTo>
                <a:lnTo>
                  <a:pt x="114" y="156"/>
                </a:lnTo>
                <a:lnTo>
                  <a:pt x="114" y="156"/>
                </a:lnTo>
                <a:lnTo>
                  <a:pt x="114" y="156"/>
                </a:lnTo>
                <a:lnTo>
                  <a:pt x="114" y="150"/>
                </a:lnTo>
                <a:lnTo>
                  <a:pt x="114" y="150"/>
                </a:lnTo>
                <a:lnTo>
                  <a:pt x="108" y="150"/>
                </a:lnTo>
                <a:lnTo>
                  <a:pt x="108" y="150"/>
                </a:lnTo>
                <a:lnTo>
                  <a:pt x="102" y="150"/>
                </a:lnTo>
                <a:lnTo>
                  <a:pt x="102" y="150"/>
                </a:lnTo>
                <a:lnTo>
                  <a:pt x="102" y="150"/>
                </a:lnTo>
                <a:lnTo>
                  <a:pt x="96" y="150"/>
                </a:lnTo>
                <a:lnTo>
                  <a:pt x="90" y="150"/>
                </a:lnTo>
                <a:lnTo>
                  <a:pt x="90" y="150"/>
                </a:lnTo>
                <a:lnTo>
                  <a:pt x="90" y="150"/>
                </a:lnTo>
                <a:lnTo>
                  <a:pt x="84" y="150"/>
                </a:lnTo>
                <a:lnTo>
                  <a:pt x="84" y="150"/>
                </a:lnTo>
                <a:lnTo>
                  <a:pt x="84" y="150"/>
                </a:lnTo>
                <a:lnTo>
                  <a:pt x="84" y="150"/>
                </a:lnTo>
                <a:lnTo>
                  <a:pt x="84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2" y="150"/>
                </a:lnTo>
                <a:lnTo>
                  <a:pt x="72" y="150"/>
                </a:lnTo>
                <a:lnTo>
                  <a:pt x="72" y="150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48" y="150"/>
                </a:lnTo>
                <a:lnTo>
                  <a:pt x="48" y="150"/>
                </a:lnTo>
                <a:lnTo>
                  <a:pt x="42" y="150"/>
                </a:lnTo>
                <a:lnTo>
                  <a:pt x="42" y="144"/>
                </a:lnTo>
                <a:lnTo>
                  <a:pt x="42" y="144"/>
                </a:lnTo>
                <a:lnTo>
                  <a:pt x="36" y="144"/>
                </a:lnTo>
                <a:lnTo>
                  <a:pt x="30" y="150"/>
                </a:lnTo>
                <a:lnTo>
                  <a:pt x="30" y="150"/>
                </a:lnTo>
                <a:lnTo>
                  <a:pt x="24" y="144"/>
                </a:lnTo>
                <a:lnTo>
                  <a:pt x="24" y="144"/>
                </a:lnTo>
                <a:lnTo>
                  <a:pt x="18" y="144"/>
                </a:lnTo>
                <a:lnTo>
                  <a:pt x="12" y="144"/>
                </a:lnTo>
                <a:lnTo>
                  <a:pt x="12" y="144"/>
                </a:lnTo>
                <a:lnTo>
                  <a:pt x="12" y="144"/>
                </a:lnTo>
                <a:lnTo>
                  <a:pt x="12" y="144"/>
                </a:lnTo>
                <a:lnTo>
                  <a:pt x="12" y="150"/>
                </a:lnTo>
                <a:lnTo>
                  <a:pt x="6" y="150"/>
                </a:lnTo>
                <a:lnTo>
                  <a:pt x="6" y="150"/>
                </a:lnTo>
                <a:lnTo>
                  <a:pt x="0" y="150"/>
                </a:lnTo>
                <a:lnTo>
                  <a:pt x="0" y="156"/>
                </a:lnTo>
                <a:lnTo>
                  <a:pt x="0" y="150"/>
                </a:lnTo>
                <a:lnTo>
                  <a:pt x="0" y="15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18" name="Freeform 351"/>
          <p:cNvSpPr>
            <a:spLocks/>
          </p:cNvSpPr>
          <p:nvPr/>
        </p:nvSpPr>
        <p:spPr bwMode="auto">
          <a:xfrm>
            <a:off x="7018879" y="3987250"/>
            <a:ext cx="102785" cy="109210"/>
          </a:xfrm>
          <a:custGeom>
            <a:avLst/>
            <a:gdLst>
              <a:gd name="T0" fmla="*/ 6 w 96"/>
              <a:gd name="T1" fmla="*/ 18 h 102"/>
              <a:gd name="T2" fmla="*/ 12 w 96"/>
              <a:gd name="T3" fmla="*/ 18 h 102"/>
              <a:gd name="T4" fmla="*/ 18 w 96"/>
              <a:gd name="T5" fmla="*/ 12 h 102"/>
              <a:gd name="T6" fmla="*/ 18 w 96"/>
              <a:gd name="T7" fmla="*/ 6 h 102"/>
              <a:gd name="T8" fmla="*/ 24 w 96"/>
              <a:gd name="T9" fmla="*/ 0 h 102"/>
              <a:gd name="T10" fmla="*/ 24 w 96"/>
              <a:gd name="T11" fmla="*/ 0 h 102"/>
              <a:gd name="T12" fmla="*/ 30 w 96"/>
              <a:gd name="T13" fmla="*/ 6 h 102"/>
              <a:gd name="T14" fmla="*/ 30 w 96"/>
              <a:gd name="T15" fmla="*/ 6 h 102"/>
              <a:gd name="T16" fmla="*/ 36 w 96"/>
              <a:gd name="T17" fmla="*/ 6 h 102"/>
              <a:gd name="T18" fmla="*/ 36 w 96"/>
              <a:gd name="T19" fmla="*/ 6 h 102"/>
              <a:gd name="T20" fmla="*/ 36 w 96"/>
              <a:gd name="T21" fmla="*/ 6 h 102"/>
              <a:gd name="T22" fmla="*/ 42 w 96"/>
              <a:gd name="T23" fmla="*/ 6 h 102"/>
              <a:gd name="T24" fmla="*/ 42 w 96"/>
              <a:gd name="T25" fmla="*/ 12 h 102"/>
              <a:gd name="T26" fmla="*/ 48 w 96"/>
              <a:gd name="T27" fmla="*/ 12 h 102"/>
              <a:gd name="T28" fmla="*/ 48 w 96"/>
              <a:gd name="T29" fmla="*/ 18 h 102"/>
              <a:gd name="T30" fmla="*/ 60 w 96"/>
              <a:gd name="T31" fmla="*/ 18 h 102"/>
              <a:gd name="T32" fmla="*/ 60 w 96"/>
              <a:gd name="T33" fmla="*/ 18 h 102"/>
              <a:gd name="T34" fmla="*/ 60 w 96"/>
              <a:gd name="T35" fmla="*/ 18 h 102"/>
              <a:gd name="T36" fmla="*/ 66 w 96"/>
              <a:gd name="T37" fmla="*/ 18 h 102"/>
              <a:gd name="T38" fmla="*/ 66 w 96"/>
              <a:gd name="T39" fmla="*/ 18 h 102"/>
              <a:gd name="T40" fmla="*/ 72 w 96"/>
              <a:gd name="T41" fmla="*/ 24 h 102"/>
              <a:gd name="T42" fmla="*/ 72 w 96"/>
              <a:gd name="T43" fmla="*/ 30 h 102"/>
              <a:gd name="T44" fmla="*/ 84 w 96"/>
              <a:gd name="T45" fmla="*/ 36 h 102"/>
              <a:gd name="T46" fmla="*/ 84 w 96"/>
              <a:gd name="T47" fmla="*/ 42 h 102"/>
              <a:gd name="T48" fmla="*/ 84 w 96"/>
              <a:gd name="T49" fmla="*/ 48 h 102"/>
              <a:gd name="T50" fmla="*/ 90 w 96"/>
              <a:gd name="T51" fmla="*/ 54 h 102"/>
              <a:gd name="T52" fmla="*/ 90 w 96"/>
              <a:gd name="T53" fmla="*/ 60 h 102"/>
              <a:gd name="T54" fmla="*/ 90 w 96"/>
              <a:gd name="T55" fmla="*/ 66 h 102"/>
              <a:gd name="T56" fmla="*/ 96 w 96"/>
              <a:gd name="T57" fmla="*/ 66 h 102"/>
              <a:gd name="T58" fmla="*/ 96 w 96"/>
              <a:gd name="T59" fmla="*/ 72 h 102"/>
              <a:gd name="T60" fmla="*/ 96 w 96"/>
              <a:gd name="T61" fmla="*/ 72 h 102"/>
              <a:gd name="T62" fmla="*/ 90 w 96"/>
              <a:gd name="T63" fmla="*/ 78 h 102"/>
              <a:gd name="T64" fmla="*/ 90 w 96"/>
              <a:gd name="T65" fmla="*/ 84 h 102"/>
              <a:gd name="T66" fmla="*/ 84 w 96"/>
              <a:gd name="T67" fmla="*/ 78 h 102"/>
              <a:gd name="T68" fmla="*/ 78 w 96"/>
              <a:gd name="T69" fmla="*/ 90 h 102"/>
              <a:gd name="T70" fmla="*/ 78 w 96"/>
              <a:gd name="T71" fmla="*/ 96 h 102"/>
              <a:gd name="T72" fmla="*/ 72 w 96"/>
              <a:gd name="T73" fmla="*/ 96 h 102"/>
              <a:gd name="T74" fmla="*/ 72 w 96"/>
              <a:gd name="T75" fmla="*/ 102 h 102"/>
              <a:gd name="T76" fmla="*/ 66 w 96"/>
              <a:gd name="T77" fmla="*/ 102 h 102"/>
              <a:gd name="T78" fmla="*/ 60 w 96"/>
              <a:gd name="T79" fmla="*/ 96 h 102"/>
              <a:gd name="T80" fmla="*/ 54 w 96"/>
              <a:gd name="T81" fmla="*/ 90 h 102"/>
              <a:gd name="T82" fmla="*/ 54 w 96"/>
              <a:gd name="T83" fmla="*/ 84 h 102"/>
              <a:gd name="T84" fmla="*/ 48 w 96"/>
              <a:gd name="T85" fmla="*/ 84 h 102"/>
              <a:gd name="T86" fmla="*/ 42 w 96"/>
              <a:gd name="T87" fmla="*/ 84 h 102"/>
              <a:gd name="T88" fmla="*/ 42 w 96"/>
              <a:gd name="T89" fmla="*/ 78 h 102"/>
              <a:gd name="T90" fmla="*/ 42 w 96"/>
              <a:gd name="T91" fmla="*/ 78 h 102"/>
              <a:gd name="T92" fmla="*/ 42 w 96"/>
              <a:gd name="T93" fmla="*/ 72 h 102"/>
              <a:gd name="T94" fmla="*/ 36 w 96"/>
              <a:gd name="T95" fmla="*/ 72 h 102"/>
              <a:gd name="T96" fmla="*/ 36 w 96"/>
              <a:gd name="T97" fmla="*/ 66 h 102"/>
              <a:gd name="T98" fmla="*/ 36 w 96"/>
              <a:gd name="T99" fmla="*/ 66 h 102"/>
              <a:gd name="T100" fmla="*/ 30 w 96"/>
              <a:gd name="T101" fmla="*/ 60 h 102"/>
              <a:gd name="T102" fmla="*/ 24 w 96"/>
              <a:gd name="T103" fmla="*/ 60 h 102"/>
              <a:gd name="T104" fmla="*/ 30 w 96"/>
              <a:gd name="T105" fmla="*/ 60 h 102"/>
              <a:gd name="T106" fmla="*/ 36 w 96"/>
              <a:gd name="T107" fmla="*/ 54 h 102"/>
              <a:gd name="T108" fmla="*/ 36 w 96"/>
              <a:gd name="T109" fmla="*/ 42 h 102"/>
              <a:gd name="T110" fmla="*/ 30 w 96"/>
              <a:gd name="T111" fmla="*/ 42 h 102"/>
              <a:gd name="T112" fmla="*/ 24 w 96"/>
              <a:gd name="T113" fmla="*/ 36 h 102"/>
              <a:gd name="T114" fmla="*/ 12 w 96"/>
              <a:gd name="T115" fmla="*/ 30 h 102"/>
              <a:gd name="T116" fmla="*/ 6 w 96"/>
              <a:gd name="T117" fmla="*/ 30 h 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96" h="102">
                <a:moveTo>
                  <a:pt x="0" y="24"/>
                </a:moveTo>
                <a:lnTo>
                  <a:pt x="0" y="24"/>
                </a:lnTo>
                <a:lnTo>
                  <a:pt x="0" y="24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6"/>
                </a:lnTo>
                <a:lnTo>
                  <a:pt x="24" y="6"/>
                </a:lnTo>
                <a:lnTo>
                  <a:pt x="24" y="0"/>
                </a:lnTo>
                <a:lnTo>
                  <a:pt x="30" y="0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8" y="6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54"/>
                </a:lnTo>
                <a:lnTo>
                  <a:pt x="84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84" y="60"/>
                </a:lnTo>
                <a:lnTo>
                  <a:pt x="90" y="60"/>
                </a:lnTo>
                <a:lnTo>
                  <a:pt x="90" y="60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8"/>
                </a:lnTo>
                <a:lnTo>
                  <a:pt x="96" y="72"/>
                </a:lnTo>
                <a:lnTo>
                  <a:pt x="96" y="78"/>
                </a:lnTo>
                <a:lnTo>
                  <a:pt x="96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84" y="84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102"/>
                </a:lnTo>
                <a:lnTo>
                  <a:pt x="72" y="102"/>
                </a:lnTo>
                <a:lnTo>
                  <a:pt x="66" y="96"/>
                </a:lnTo>
                <a:lnTo>
                  <a:pt x="66" y="96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96"/>
                </a:lnTo>
                <a:lnTo>
                  <a:pt x="66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48" y="90"/>
                </a:lnTo>
                <a:lnTo>
                  <a:pt x="48" y="90"/>
                </a:lnTo>
                <a:lnTo>
                  <a:pt x="54" y="84"/>
                </a:lnTo>
                <a:lnTo>
                  <a:pt x="54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90"/>
                </a:lnTo>
                <a:lnTo>
                  <a:pt x="42" y="90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2"/>
                </a:lnTo>
                <a:lnTo>
                  <a:pt x="42" y="78"/>
                </a:lnTo>
                <a:lnTo>
                  <a:pt x="42" y="78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0" y="66"/>
                </a:lnTo>
                <a:lnTo>
                  <a:pt x="30" y="66"/>
                </a:lnTo>
                <a:lnTo>
                  <a:pt x="30" y="60"/>
                </a:lnTo>
                <a:lnTo>
                  <a:pt x="24" y="66"/>
                </a:lnTo>
                <a:lnTo>
                  <a:pt x="24" y="66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30" y="60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2"/>
                </a:lnTo>
                <a:lnTo>
                  <a:pt x="30" y="48"/>
                </a:lnTo>
                <a:lnTo>
                  <a:pt x="30" y="48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18" y="36"/>
                </a:lnTo>
                <a:lnTo>
                  <a:pt x="18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0" y="2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19" name="Freeform 352"/>
          <p:cNvSpPr>
            <a:spLocks/>
          </p:cNvSpPr>
          <p:nvPr/>
        </p:nvSpPr>
        <p:spPr bwMode="auto">
          <a:xfrm>
            <a:off x="6601316" y="4012946"/>
            <a:ext cx="134905" cy="115634"/>
          </a:xfrm>
          <a:custGeom>
            <a:avLst/>
            <a:gdLst>
              <a:gd name="T0" fmla="*/ 6 w 126"/>
              <a:gd name="T1" fmla="*/ 90 h 108"/>
              <a:gd name="T2" fmla="*/ 6 w 126"/>
              <a:gd name="T3" fmla="*/ 84 h 108"/>
              <a:gd name="T4" fmla="*/ 12 w 126"/>
              <a:gd name="T5" fmla="*/ 84 h 108"/>
              <a:gd name="T6" fmla="*/ 18 w 126"/>
              <a:gd name="T7" fmla="*/ 78 h 108"/>
              <a:gd name="T8" fmla="*/ 18 w 126"/>
              <a:gd name="T9" fmla="*/ 78 h 108"/>
              <a:gd name="T10" fmla="*/ 30 w 126"/>
              <a:gd name="T11" fmla="*/ 78 h 108"/>
              <a:gd name="T12" fmla="*/ 36 w 126"/>
              <a:gd name="T13" fmla="*/ 66 h 108"/>
              <a:gd name="T14" fmla="*/ 42 w 126"/>
              <a:gd name="T15" fmla="*/ 54 h 108"/>
              <a:gd name="T16" fmla="*/ 54 w 126"/>
              <a:gd name="T17" fmla="*/ 42 h 108"/>
              <a:gd name="T18" fmla="*/ 54 w 126"/>
              <a:gd name="T19" fmla="*/ 36 h 108"/>
              <a:gd name="T20" fmla="*/ 60 w 126"/>
              <a:gd name="T21" fmla="*/ 30 h 108"/>
              <a:gd name="T22" fmla="*/ 60 w 126"/>
              <a:gd name="T23" fmla="*/ 24 h 108"/>
              <a:gd name="T24" fmla="*/ 60 w 126"/>
              <a:gd name="T25" fmla="*/ 18 h 108"/>
              <a:gd name="T26" fmla="*/ 66 w 126"/>
              <a:gd name="T27" fmla="*/ 12 h 108"/>
              <a:gd name="T28" fmla="*/ 72 w 126"/>
              <a:gd name="T29" fmla="*/ 6 h 108"/>
              <a:gd name="T30" fmla="*/ 78 w 126"/>
              <a:gd name="T31" fmla="*/ 0 h 108"/>
              <a:gd name="T32" fmla="*/ 84 w 126"/>
              <a:gd name="T33" fmla="*/ 0 h 108"/>
              <a:gd name="T34" fmla="*/ 84 w 126"/>
              <a:gd name="T35" fmla="*/ 0 h 108"/>
              <a:gd name="T36" fmla="*/ 96 w 126"/>
              <a:gd name="T37" fmla="*/ 6 h 108"/>
              <a:gd name="T38" fmla="*/ 102 w 126"/>
              <a:gd name="T39" fmla="*/ 6 h 108"/>
              <a:gd name="T40" fmla="*/ 96 w 126"/>
              <a:gd name="T41" fmla="*/ 18 h 108"/>
              <a:gd name="T42" fmla="*/ 90 w 126"/>
              <a:gd name="T43" fmla="*/ 24 h 108"/>
              <a:gd name="T44" fmla="*/ 90 w 126"/>
              <a:gd name="T45" fmla="*/ 30 h 108"/>
              <a:gd name="T46" fmla="*/ 84 w 126"/>
              <a:gd name="T47" fmla="*/ 30 h 108"/>
              <a:gd name="T48" fmla="*/ 84 w 126"/>
              <a:gd name="T49" fmla="*/ 36 h 108"/>
              <a:gd name="T50" fmla="*/ 90 w 126"/>
              <a:gd name="T51" fmla="*/ 42 h 108"/>
              <a:gd name="T52" fmla="*/ 102 w 126"/>
              <a:gd name="T53" fmla="*/ 48 h 108"/>
              <a:gd name="T54" fmla="*/ 120 w 126"/>
              <a:gd name="T55" fmla="*/ 48 h 108"/>
              <a:gd name="T56" fmla="*/ 126 w 126"/>
              <a:gd name="T57" fmla="*/ 54 h 108"/>
              <a:gd name="T58" fmla="*/ 126 w 126"/>
              <a:gd name="T59" fmla="*/ 60 h 108"/>
              <a:gd name="T60" fmla="*/ 120 w 126"/>
              <a:gd name="T61" fmla="*/ 66 h 108"/>
              <a:gd name="T62" fmla="*/ 120 w 126"/>
              <a:gd name="T63" fmla="*/ 72 h 108"/>
              <a:gd name="T64" fmla="*/ 120 w 126"/>
              <a:gd name="T65" fmla="*/ 78 h 108"/>
              <a:gd name="T66" fmla="*/ 114 w 126"/>
              <a:gd name="T67" fmla="*/ 90 h 108"/>
              <a:gd name="T68" fmla="*/ 108 w 126"/>
              <a:gd name="T69" fmla="*/ 90 h 108"/>
              <a:gd name="T70" fmla="*/ 96 w 126"/>
              <a:gd name="T71" fmla="*/ 96 h 108"/>
              <a:gd name="T72" fmla="*/ 96 w 126"/>
              <a:gd name="T73" fmla="*/ 96 h 108"/>
              <a:gd name="T74" fmla="*/ 90 w 126"/>
              <a:gd name="T75" fmla="*/ 102 h 108"/>
              <a:gd name="T76" fmla="*/ 84 w 126"/>
              <a:gd name="T77" fmla="*/ 108 h 108"/>
              <a:gd name="T78" fmla="*/ 78 w 126"/>
              <a:gd name="T79" fmla="*/ 108 h 108"/>
              <a:gd name="T80" fmla="*/ 66 w 126"/>
              <a:gd name="T81" fmla="*/ 108 h 108"/>
              <a:gd name="T82" fmla="*/ 60 w 126"/>
              <a:gd name="T83" fmla="*/ 108 h 108"/>
              <a:gd name="T84" fmla="*/ 54 w 126"/>
              <a:gd name="T85" fmla="*/ 108 h 108"/>
              <a:gd name="T86" fmla="*/ 48 w 126"/>
              <a:gd name="T87" fmla="*/ 108 h 108"/>
              <a:gd name="T88" fmla="*/ 42 w 126"/>
              <a:gd name="T89" fmla="*/ 108 h 108"/>
              <a:gd name="T90" fmla="*/ 36 w 126"/>
              <a:gd name="T91" fmla="*/ 108 h 108"/>
              <a:gd name="T92" fmla="*/ 30 w 126"/>
              <a:gd name="T93" fmla="*/ 108 h 108"/>
              <a:gd name="T94" fmla="*/ 30 w 126"/>
              <a:gd name="T95" fmla="*/ 108 h 108"/>
              <a:gd name="T96" fmla="*/ 24 w 126"/>
              <a:gd name="T97" fmla="*/ 102 h 108"/>
              <a:gd name="T98" fmla="*/ 18 w 126"/>
              <a:gd name="T99" fmla="*/ 102 h 108"/>
              <a:gd name="T100" fmla="*/ 12 w 126"/>
              <a:gd name="T101" fmla="*/ 96 h 108"/>
              <a:gd name="T102" fmla="*/ 6 w 126"/>
              <a:gd name="T103" fmla="*/ 90 h 108"/>
              <a:gd name="T104" fmla="*/ 0 w 126"/>
              <a:gd name="T105" fmla="*/ 90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26" h="108">
                <a:moveTo>
                  <a:pt x="0" y="90"/>
                </a:move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6" y="90"/>
                </a:lnTo>
                <a:lnTo>
                  <a:pt x="0" y="90"/>
                </a:lnTo>
                <a:lnTo>
                  <a:pt x="6" y="90"/>
                </a:lnTo>
                <a:lnTo>
                  <a:pt x="6" y="84"/>
                </a:lnTo>
                <a:lnTo>
                  <a:pt x="0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8" y="84"/>
                </a:lnTo>
                <a:lnTo>
                  <a:pt x="18" y="84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24" y="78"/>
                </a:lnTo>
                <a:lnTo>
                  <a:pt x="24" y="78"/>
                </a:lnTo>
                <a:lnTo>
                  <a:pt x="24" y="72"/>
                </a:lnTo>
                <a:lnTo>
                  <a:pt x="30" y="72"/>
                </a:lnTo>
                <a:lnTo>
                  <a:pt x="30" y="78"/>
                </a:lnTo>
                <a:lnTo>
                  <a:pt x="30" y="78"/>
                </a:lnTo>
                <a:lnTo>
                  <a:pt x="30" y="72"/>
                </a:lnTo>
                <a:lnTo>
                  <a:pt x="30" y="72"/>
                </a:lnTo>
                <a:lnTo>
                  <a:pt x="36" y="72"/>
                </a:lnTo>
                <a:lnTo>
                  <a:pt x="36" y="72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42" y="60"/>
                </a:lnTo>
                <a:lnTo>
                  <a:pt x="42" y="60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8" y="48"/>
                </a:lnTo>
                <a:lnTo>
                  <a:pt x="54" y="48"/>
                </a:lnTo>
                <a:lnTo>
                  <a:pt x="48" y="48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0"/>
                </a:lnTo>
                <a:lnTo>
                  <a:pt x="54" y="30"/>
                </a:lnTo>
                <a:lnTo>
                  <a:pt x="60" y="30"/>
                </a:lnTo>
                <a:lnTo>
                  <a:pt x="54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54" y="24"/>
                </a:lnTo>
                <a:lnTo>
                  <a:pt x="60" y="24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6" y="18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72" y="6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6"/>
                </a:lnTo>
                <a:lnTo>
                  <a:pt x="78" y="0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102" y="6"/>
                </a:lnTo>
                <a:lnTo>
                  <a:pt x="102" y="6"/>
                </a:lnTo>
                <a:lnTo>
                  <a:pt x="96" y="12"/>
                </a:lnTo>
                <a:lnTo>
                  <a:pt x="96" y="12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0" y="18"/>
                </a:lnTo>
                <a:lnTo>
                  <a:pt x="90" y="18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6"/>
                </a:lnTo>
                <a:lnTo>
                  <a:pt x="84" y="36"/>
                </a:lnTo>
                <a:lnTo>
                  <a:pt x="84" y="30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90" y="42"/>
                </a:lnTo>
                <a:lnTo>
                  <a:pt x="90" y="42"/>
                </a:lnTo>
                <a:lnTo>
                  <a:pt x="96" y="42"/>
                </a:lnTo>
                <a:lnTo>
                  <a:pt x="96" y="42"/>
                </a:lnTo>
                <a:lnTo>
                  <a:pt x="102" y="42"/>
                </a:lnTo>
                <a:lnTo>
                  <a:pt x="102" y="48"/>
                </a:lnTo>
                <a:lnTo>
                  <a:pt x="102" y="48"/>
                </a:lnTo>
                <a:lnTo>
                  <a:pt x="108" y="48"/>
                </a:lnTo>
                <a:lnTo>
                  <a:pt x="108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90"/>
                </a:lnTo>
                <a:lnTo>
                  <a:pt x="114" y="90"/>
                </a:lnTo>
                <a:lnTo>
                  <a:pt x="114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2" y="96"/>
                </a:lnTo>
                <a:lnTo>
                  <a:pt x="102" y="90"/>
                </a:lnTo>
                <a:lnTo>
                  <a:pt x="102" y="90"/>
                </a:lnTo>
                <a:lnTo>
                  <a:pt x="96" y="96"/>
                </a:lnTo>
                <a:lnTo>
                  <a:pt x="96" y="96"/>
                </a:lnTo>
                <a:lnTo>
                  <a:pt x="96" y="96"/>
                </a:lnTo>
                <a:lnTo>
                  <a:pt x="96" y="96"/>
                </a:lnTo>
                <a:lnTo>
                  <a:pt x="96" y="96"/>
                </a:lnTo>
                <a:lnTo>
                  <a:pt x="96" y="90"/>
                </a:lnTo>
                <a:lnTo>
                  <a:pt x="96" y="90"/>
                </a:lnTo>
                <a:lnTo>
                  <a:pt x="96" y="96"/>
                </a:lnTo>
                <a:lnTo>
                  <a:pt x="96" y="96"/>
                </a:lnTo>
                <a:lnTo>
                  <a:pt x="90" y="96"/>
                </a:lnTo>
                <a:lnTo>
                  <a:pt x="90" y="96"/>
                </a:lnTo>
                <a:lnTo>
                  <a:pt x="90" y="102"/>
                </a:lnTo>
                <a:lnTo>
                  <a:pt x="90" y="102"/>
                </a:lnTo>
                <a:lnTo>
                  <a:pt x="90" y="102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0" y="108"/>
                </a:lnTo>
                <a:lnTo>
                  <a:pt x="36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2" y="96"/>
                </a:lnTo>
                <a:lnTo>
                  <a:pt x="12" y="90"/>
                </a:lnTo>
                <a:lnTo>
                  <a:pt x="12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20" name="Freeform 353"/>
          <p:cNvSpPr>
            <a:spLocks/>
          </p:cNvSpPr>
          <p:nvPr/>
        </p:nvSpPr>
        <p:spPr bwMode="auto">
          <a:xfrm>
            <a:off x="6999607" y="4321303"/>
            <a:ext cx="134905" cy="96361"/>
          </a:xfrm>
          <a:custGeom>
            <a:avLst/>
            <a:gdLst>
              <a:gd name="T0" fmla="*/ 12 w 126"/>
              <a:gd name="T1" fmla="*/ 66 h 90"/>
              <a:gd name="T2" fmla="*/ 18 w 126"/>
              <a:gd name="T3" fmla="*/ 66 h 90"/>
              <a:gd name="T4" fmla="*/ 18 w 126"/>
              <a:gd name="T5" fmla="*/ 54 h 90"/>
              <a:gd name="T6" fmla="*/ 18 w 126"/>
              <a:gd name="T7" fmla="*/ 54 h 90"/>
              <a:gd name="T8" fmla="*/ 18 w 126"/>
              <a:gd name="T9" fmla="*/ 48 h 90"/>
              <a:gd name="T10" fmla="*/ 24 w 126"/>
              <a:gd name="T11" fmla="*/ 48 h 90"/>
              <a:gd name="T12" fmla="*/ 24 w 126"/>
              <a:gd name="T13" fmla="*/ 42 h 90"/>
              <a:gd name="T14" fmla="*/ 24 w 126"/>
              <a:gd name="T15" fmla="*/ 42 h 90"/>
              <a:gd name="T16" fmla="*/ 30 w 126"/>
              <a:gd name="T17" fmla="*/ 36 h 90"/>
              <a:gd name="T18" fmla="*/ 24 w 126"/>
              <a:gd name="T19" fmla="*/ 36 h 90"/>
              <a:gd name="T20" fmla="*/ 30 w 126"/>
              <a:gd name="T21" fmla="*/ 30 h 90"/>
              <a:gd name="T22" fmla="*/ 30 w 126"/>
              <a:gd name="T23" fmla="*/ 30 h 90"/>
              <a:gd name="T24" fmla="*/ 36 w 126"/>
              <a:gd name="T25" fmla="*/ 36 h 90"/>
              <a:gd name="T26" fmla="*/ 42 w 126"/>
              <a:gd name="T27" fmla="*/ 36 h 90"/>
              <a:gd name="T28" fmla="*/ 42 w 126"/>
              <a:gd name="T29" fmla="*/ 36 h 90"/>
              <a:gd name="T30" fmla="*/ 48 w 126"/>
              <a:gd name="T31" fmla="*/ 36 h 90"/>
              <a:gd name="T32" fmla="*/ 42 w 126"/>
              <a:gd name="T33" fmla="*/ 30 h 90"/>
              <a:gd name="T34" fmla="*/ 42 w 126"/>
              <a:gd name="T35" fmla="*/ 24 h 90"/>
              <a:gd name="T36" fmla="*/ 42 w 126"/>
              <a:gd name="T37" fmla="*/ 12 h 90"/>
              <a:gd name="T38" fmla="*/ 42 w 126"/>
              <a:gd name="T39" fmla="*/ 6 h 90"/>
              <a:gd name="T40" fmla="*/ 42 w 126"/>
              <a:gd name="T41" fmla="*/ 6 h 90"/>
              <a:gd name="T42" fmla="*/ 48 w 126"/>
              <a:gd name="T43" fmla="*/ 0 h 90"/>
              <a:gd name="T44" fmla="*/ 54 w 126"/>
              <a:gd name="T45" fmla="*/ 0 h 90"/>
              <a:gd name="T46" fmla="*/ 60 w 126"/>
              <a:gd name="T47" fmla="*/ 6 h 90"/>
              <a:gd name="T48" fmla="*/ 66 w 126"/>
              <a:gd name="T49" fmla="*/ 6 h 90"/>
              <a:gd name="T50" fmla="*/ 78 w 126"/>
              <a:gd name="T51" fmla="*/ 6 h 90"/>
              <a:gd name="T52" fmla="*/ 84 w 126"/>
              <a:gd name="T53" fmla="*/ 6 h 90"/>
              <a:gd name="T54" fmla="*/ 84 w 126"/>
              <a:gd name="T55" fmla="*/ 6 h 90"/>
              <a:gd name="T56" fmla="*/ 90 w 126"/>
              <a:gd name="T57" fmla="*/ 12 h 90"/>
              <a:gd name="T58" fmla="*/ 108 w 126"/>
              <a:gd name="T59" fmla="*/ 18 h 90"/>
              <a:gd name="T60" fmla="*/ 114 w 126"/>
              <a:gd name="T61" fmla="*/ 18 h 90"/>
              <a:gd name="T62" fmla="*/ 114 w 126"/>
              <a:gd name="T63" fmla="*/ 18 h 90"/>
              <a:gd name="T64" fmla="*/ 126 w 126"/>
              <a:gd name="T65" fmla="*/ 24 h 90"/>
              <a:gd name="T66" fmla="*/ 126 w 126"/>
              <a:gd name="T67" fmla="*/ 30 h 90"/>
              <a:gd name="T68" fmla="*/ 126 w 126"/>
              <a:gd name="T69" fmla="*/ 30 h 90"/>
              <a:gd name="T70" fmla="*/ 120 w 126"/>
              <a:gd name="T71" fmla="*/ 36 h 90"/>
              <a:gd name="T72" fmla="*/ 120 w 126"/>
              <a:gd name="T73" fmla="*/ 42 h 90"/>
              <a:gd name="T74" fmla="*/ 120 w 126"/>
              <a:gd name="T75" fmla="*/ 48 h 90"/>
              <a:gd name="T76" fmla="*/ 120 w 126"/>
              <a:gd name="T77" fmla="*/ 54 h 90"/>
              <a:gd name="T78" fmla="*/ 120 w 126"/>
              <a:gd name="T79" fmla="*/ 60 h 90"/>
              <a:gd name="T80" fmla="*/ 120 w 126"/>
              <a:gd name="T81" fmla="*/ 66 h 90"/>
              <a:gd name="T82" fmla="*/ 114 w 126"/>
              <a:gd name="T83" fmla="*/ 72 h 90"/>
              <a:gd name="T84" fmla="*/ 114 w 126"/>
              <a:gd name="T85" fmla="*/ 72 h 90"/>
              <a:gd name="T86" fmla="*/ 108 w 126"/>
              <a:gd name="T87" fmla="*/ 72 h 90"/>
              <a:gd name="T88" fmla="*/ 102 w 126"/>
              <a:gd name="T89" fmla="*/ 72 h 90"/>
              <a:gd name="T90" fmla="*/ 96 w 126"/>
              <a:gd name="T91" fmla="*/ 72 h 90"/>
              <a:gd name="T92" fmla="*/ 84 w 126"/>
              <a:gd name="T93" fmla="*/ 66 h 90"/>
              <a:gd name="T94" fmla="*/ 78 w 126"/>
              <a:gd name="T95" fmla="*/ 72 h 90"/>
              <a:gd name="T96" fmla="*/ 72 w 126"/>
              <a:gd name="T97" fmla="*/ 72 h 90"/>
              <a:gd name="T98" fmla="*/ 60 w 126"/>
              <a:gd name="T99" fmla="*/ 72 h 90"/>
              <a:gd name="T100" fmla="*/ 60 w 126"/>
              <a:gd name="T101" fmla="*/ 72 h 90"/>
              <a:gd name="T102" fmla="*/ 54 w 126"/>
              <a:gd name="T103" fmla="*/ 78 h 90"/>
              <a:gd name="T104" fmla="*/ 48 w 126"/>
              <a:gd name="T105" fmla="*/ 84 h 90"/>
              <a:gd name="T106" fmla="*/ 48 w 126"/>
              <a:gd name="T107" fmla="*/ 84 h 90"/>
              <a:gd name="T108" fmla="*/ 42 w 126"/>
              <a:gd name="T109" fmla="*/ 78 h 90"/>
              <a:gd name="T110" fmla="*/ 30 w 126"/>
              <a:gd name="T111" fmla="*/ 84 h 90"/>
              <a:gd name="T112" fmla="*/ 24 w 126"/>
              <a:gd name="T113" fmla="*/ 84 h 90"/>
              <a:gd name="T114" fmla="*/ 18 w 126"/>
              <a:gd name="T115" fmla="*/ 84 h 90"/>
              <a:gd name="T116" fmla="*/ 12 w 126"/>
              <a:gd name="T117" fmla="*/ 90 h 90"/>
              <a:gd name="T118" fmla="*/ 12 w 126"/>
              <a:gd name="T119" fmla="*/ 84 h 90"/>
              <a:gd name="T120" fmla="*/ 6 w 126"/>
              <a:gd name="T121" fmla="*/ 78 h 90"/>
              <a:gd name="T122" fmla="*/ 6 w 126"/>
              <a:gd name="T123" fmla="*/ 72 h 90"/>
              <a:gd name="T124" fmla="*/ 0 w 126"/>
              <a:gd name="T125" fmla="*/ 72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26" h="90">
                <a:moveTo>
                  <a:pt x="6" y="66"/>
                </a:move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8" y="66"/>
                </a:lnTo>
                <a:lnTo>
                  <a:pt x="18" y="66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18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30" y="36"/>
                </a:lnTo>
                <a:lnTo>
                  <a:pt x="30" y="36"/>
                </a:lnTo>
                <a:lnTo>
                  <a:pt x="24" y="36"/>
                </a:lnTo>
                <a:lnTo>
                  <a:pt x="30" y="36"/>
                </a:lnTo>
                <a:lnTo>
                  <a:pt x="24" y="36"/>
                </a:lnTo>
                <a:lnTo>
                  <a:pt x="30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0"/>
                </a:lnTo>
                <a:lnTo>
                  <a:pt x="24" y="30"/>
                </a:lnTo>
                <a:lnTo>
                  <a:pt x="30" y="30"/>
                </a:lnTo>
                <a:lnTo>
                  <a:pt x="30" y="36"/>
                </a:lnTo>
                <a:lnTo>
                  <a:pt x="30" y="36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42" y="36"/>
                </a:lnTo>
                <a:lnTo>
                  <a:pt x="36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18"/>
                </a:lnTo>
                <a:lnTo>
                  <a:pt x="42" y="18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0"/>
                </a:lnTo>
                <a:lnTo>
                  <a:pt x="42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60" y="0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6"/>
                </a:lnTo>
                <a:lnTo>
                  <a:pt x="66" y="6"/>
                </a:lnTo>
                <a:lnTo>
                  <a:pt x="66" y="12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12"/>
                </a:lnTo>
                <a:lnTo>
                  <a:pt x="84" y="6"/>
                </a:lnTo>
                <a:lnTo>
                  <a:pt x="84" y="6"/>
                </a:lnTo>
                <a:lnTo>
                  <a:pt x="90" y="6"/>
                </a:lnTo>
                <a:lnTo>
                  <a:pt x="90" y="6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102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6"/>
                </a:lnTo>
                <a:lnTo>
                  <a:pt x="120" y="36"/>
                </a:lnTo>
                <a:lnTo>
                  <a:pt x="114" y="36"/>
                </a:lnTo>
                <a:lnTo>
                  <a:pt x="114" y="36"/>
                </a:lnTo>
                <a:lnTo>
                  <a:pt x="120" y="36"/>
                </a:lnTo>
                <a:lnTo>
                  <a:pt x="114" y="36"/>
                </a:lnTo>
                <a:lnTo>
                  <a:pt x="120" y="42"/>
                </a:lnTo>
                <a:lnTo>
                  <a:pt x="114" y="42"/>
                </a:lnTo>
                <a:lnTo>
                  <a:pt x="120" y="42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14" y="66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0" y="72"/>
                </a:lnTo>
                <a:lnTo>
                  <a:pt x="90" y="72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72"/>
                </a:lnTo>
                <a:lnTo>
                  <a:pt x="78" y="72"/>
                </a:lnTo>
                <a:lnTo>
                  <a:pt x="78" y="66"/>
                </a:lnTo>
                <a:lnTo>
                  <a:pt x="78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8"/>
                </a:lnTo>
                <a:lnTo>
                  <a:pt x="60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90"/>
                </a:lnTo>
                <a:lnTo>
                  <a:pt x="42" y="90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78"/>
                </a:lnTo>
                <a:lnTo>
                  <a:pt x="42" y="78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2" y="90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6" y="84"/>
                </a:lnTo>
                <a:lnTo>
                  <a:pt x="6" y="84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0" y="72"/>
                </a:lnTo>
                <a:lnTo>
                  <a:pt x="0" y="72"/>
                </a:lnTo>
                <a:lnTo>
                  <a:pt x="6" y="6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21" name="Freeform 354"/>
          <p:cNvSpPr>
            <a:spLocks/>
          </p:cNvSpPr>
          <p:nvPr/>
        </p:nvSpPr>
        <p:spPr bwMode="auto">
          <a:xfrm>
            <a:off x="6684829" y="3878040"/>
            <a:ext cx="89937" cy="96361"/>
          </a:xfrm>
          <a:custGeom>
            <a:avLst/>
            <a:gdLst>
              <a:gd name="T0" fmla="*/ 0 w 84"/>
              <a:gd name="T1" fmla="*/ 72 h 90"/>
              <a:gd name="T2" fmla="*/ 6 w 84"/>
              <a:gd name="T3" fmla="*/ 72 h 90"/>
              <a:gd name="T4" fmla="*/ 6 w 84"/>
              <a:gd name="T5" fmla="*/ 60 h 90"/>
              <a:gd name="T6" fmla="*/ 12 w 84"/>
              <a:gd name="T7" fmla="*/ 60 h 90"/>
              <a:gd name="T8" fmla="*/ 12 w 84"/>
              <a:gd name="T9" fmla="*/ 54 h 90"/>
              <a:gd name="T10" fmla="*/ 18 w 84"/>
              <a:gd name="T11" fmla="*/ 48 h 90"/>
              <a:gd name="T12" fmla="*/ 18 w 84"/>
              <a:gd name="T13" fmla="*/ 42 h 90"/>
              <a:gd name="T14" fmla="*/ 18 w 84"/>
              <a:gd name="T15" fmla="*/ 36 h 90"/>
              <a:gd name="T16" fmla="*/ 24 w 84"/>
              <a:gd name="T17" fmla="*/ 36 h 90"/>
              <a:gd name="T18" fmla="*/ 24 w 84"/>
              <a:gd name="T19" fmla="*/ 30 h 90"/>
              <a:gd name="T20" fmla="*/ 18 w 84"/>
              <a:gd name="T21" fmla="*/ 24 h 90"/>
              <a:gd name="T22" fmla="*/ 18 w 84"/>
              <a:gd name="T23" fmla="*/ 24 h 90"/>
              <a:gd name="T24" fmla="*/ 18 w 84"/>
              <a:gd name="T25" fmla="*/ 24 h 90"/>
              <a:gd name="T26" fmla="*/ 12 w 84"/>
              <a:gd name="T27" fmla="*/ 18 h 90"/>
              <a:gd name="T28" fmla="*/ 12 w 84"/>
              <a:gd name="T29" fmla="*/ 12 h 90"/>
              <a:gd name="T30" fmla="*/ 18 w 84"/>
              <a:gd name="T31" fmla="*/ 12 h 90"/>
              <a:gd name="T32" fmla="*/ 18 w 84"/>
              <a:gd name="T33" fmla="*/ 0 h 90"/>
              <a:gd name="T34" fmla="*/ 30 w 84"/>
              <a:gd name="T35" fmla="*/ 0 h 90"/>
              <a:gd name="T36" fmla="*/ 42 w 84"/>
              <a:gd name="T37" fmla="*/ 6 h 90"/>
              <a:gd name="T38" fmla="*/ 54 w 84"/>
              <a:gd name="T39" fmla="*/ 0 h 90"/>
              <a:gd name="T40" fmla="*/ 72 w 84"/>
              <a:gd name="T41" fmla="*/ 6 h 90"/>
              <a:gd name="T42" fmla="*/ 78 w 84"/>
              <a:gd name="T43" fmla="*/ 0 h 90"/>
              <a:gd name="T44" fmla="*/ 78 w 84"/>
              <a:gd name="T45" fmla="*/ 6 h 90"/>
              <a:gd name="T46" fmla="*/ 84 w 84"/>
              <a:gd name="T47" fmla="*/ 18 h 90"/>
              <a:gd name="T48" fmla="*/ 78 w 84"/>
              <a:gd name="T49" fmla="*/ 24 h 90"/>
              <a:gd name="T50" fmla="*/ 78 w 84"/>
              <a:gd name="T51" fmla="*/ 30 h 90"/>
              <a:gd name="T52" fmla="*/ 72 w 84"/>
              <a:gd name="T53" fmla="*/ 36 h 90"/>
              <a:gd name="T54" fmla="*/ 72 w 84"/>
              <a:gd name="T55" fmla="*/ 36 h 90"/>
              <a:gd name="T56" fmla="*/ 66 w 84"/>
              <a:gd name="T57" fmla="*/ 36 h 90"/>
              <a:gd name="T58" fmla="*/ 66 w 84"/>
              <a:gd name="T59" fmla="*/ 36 h 90"/>
              <a:gd name="T60" fmla="*/ 66 w 84"/>
              <a:gd name="T61" fmla="*/ 42 h 90"/>
              <a:gd name="T62" fmla="*/ 66 w 84"/>
              <a:gd name="T63" fmla="*/ 42 h 90"/>
              <a:gd name="T64" fmla="*/ 66 w 84"/>
              <a:gd name="T65" fmla="*/ 42 h 90"/>
              <a:gd name="T66" fmla="*/ 72 w 84"/>
              <a:gd name="T67" fmla="*/ 42 h 90"/>
              <a:gd name="T68" fmla="*/ 72 w 84"/>
              <a:gd name="T69" fmla="*/ 48 h 90"/>
              <a:gd name="T70" fmla="*/ 72 w 84"/>
              <a:gd name="T71" fmla="*/ 48 h 90"/>
              <a:gd name="T72" fmla="*/ 78 w 84"/>
              <a:gd name="T73" fmla="*/ 54 h 90"/>
              <a:gd name="T74" fmla="*/ 72 w 84"/>
              <a:gd name="T75" fmla="*/ 54 h 90"/>
              <a:gd name="T76" fmla="*/ 66 w 84"/>
              <a:gd name="T77" fmla="*/ 60 h 90"/>
              <a:gd name="T78" fmla="*/ 66 w 84"/>
              <a:gd name="T79" fmla="*/ 66 h 90"/>
              <a:gd name="T80" fmla="*/ 66 w 84"/>
              <a:gd name="T81" fmla="*/ 78 h 90"/>
              <a:gd name="T82" fmla="*/ 60 w 84"/>
              <a:gd name="T83" fmla="*/ 84 h 90"/>
              <a:gd name="T84" fmla="*/ 54 w 84"/>
              <a:gd name="T85" fmla="*/ 84 h 90"/>
              <a:gd name="T86" fmla="*/ 48 w 84"/>
              <a:gd name="T87" fmla="*/ 84 h 90"/>
              <a:gd name="T88" fmla="*/ 36 w 84"/>
              <a:gd name="T89" fmla="*/ 84 h 90"/>
              <a:gd name="T90" fmla="*/ 36 w 84"/>
              <a:gd name="T91" fmla="*/ 84 h 90"/>
              <a:gd name="T92" fmla="*/ 30 w 84"/>
              <a:gd name="T93" fmla="*/ 84 h 90"/>
              <a:gd name="T94" fmla="*/ 30 w 84"/>
              <a:gd name="T95" fmla="*/ 90 h 90"/>
              <a:gd name="T96" fmla="*/ 24 w 84"/>
              <a:gd name="T97" fmla="*/ 84 h 90"/>
              <a:gd name="T98" fmla="*/ 24 w 84"/>
              <a:gd name="T99" fmla="*/ 84 h 90"/>
              <a:gd name="T100" fmla="*/ 24 w 84"/>
              <a:gd name="T101" fmla="*/ 84 h 90"/>
              <a:gd name="T102" fmla="*/ 18 w 84"/>
              <a:gd name="T103" fmla="*/ 84 h 90"/>
              <a:gd name="T104" fmla="*/ 18 w 84"/>
              <a:gd name="T105" fmla="*/ 84 h 90"/>
              <a:gd name="T106" fmla="*/ 12 w 84"/>
              <a:gd name="T107" fmla="*/ 84 h 90"/>
              <a:gd name="T108" fmla="*/ 12 w 84"/>
              <a:gd name="T109" fmla="*/ 78 h 90"/>
              <a:gd name="T110" fmla="*/ 12 w 84"/>
              <a:gd name="T111" fmla="*/ 78 h 90"/>
              <a:gd name="T112" fmla="*/ 12 w 84"/>
              <a:gd name="T113" fmla="*/ 78 h 90"/>
              <a:gd name="T114" fmla="*/ 6 w 84"/>
              <a:gd name="T115" fmla="*/ 78 h 90"/>
              <a:gd name="T116" fmla="*/ 6 w 84"/>
              <a:gd name="T117" fmla="*/ 78 h 90"/>
              <a:gd name="T118" fmla="*/ 0 w 84"/>
              <a:gd name="T119" fmla="*/ 78 h 90"/>
              <a:gd name="T120" fmla="*/ 0 w 84"/>
              <a:gd name="T121" fmla="*/ 78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84" h="90">
                <a:moveTo>
                  <a:pt x="0" y="72"/>
                </a:move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6" y="66"/>
                </a:lnTo>
                <a:lnTo>
                  <a:pt x="6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24" y="24"/>
                </a:lnTo>
                <a:lnTo>
                  <a:pt x="18" y="24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24"/>
                </a:lnTo>
                <a:lnTo>
                  <a:pt x="18" y="18"/>
                </a:lnTo>
                <a:lnTo>
                  <a:pt x="18" y="24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6"/>
                </a:lnTo>
                <a:lnTo>
                  <a:pt x="18" y="6"/>
                </a:lnTo>
                <a:lnTo>
                  <a:pt x="18" y="0"/>
                </a:lnTo>
                <a:lnTo>
                  <a:pt x="18" y="0"/>
                </a:lnTo>
                <a:lnTo>
                  <a:pt x="24" y="0"/>
                </a:lnTo>
                <a:lnTo>
                  <a:pt x="24" y="0"/>
                </a:lnTo>
                <a:lnTo>
                  <a:pt x="30" y="0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54" y="0"/>
                </a:lnTo>
                <a:lnTo>
                  <a:pt x="54" y="0"/>
                </a:lnTo>
                <a:lnTo>
                  <a:pt x="60" y="0"/>
                </a:lnTo>
                <a:lnTo>
                  <a:pt x="60" y="0"/>
                </a:lnTo>
                <a:lnTo>
                  <a:pt x="60" y="6"/>
                </a:lnTo>
                <a:lnTo>
                  <a:pt x="72" y="6"/>
                </a:lnTo>
                <a:lnTo>
                  <a:pt x="72" y="0"/>
                </a:lnTo>
                <a:lnTo>
                  <a:pt x="72" y="0"/>
                </a:lnTo>
                <a:lnTo>
                  <a:pt x="72" y="6"/>
                </a:lnTo>
                <a:lnTo>
                  <a:pt x="78" y="0"/>
                </a:lnTo>
                <a:lnTo>
                  <a:pt x="78" y="0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12"/>
                </a:lnTo>
                <a:lnTo>
                  <a:pt x="84" y="12"/>
                </a:lnTo>
                <a:lnTo>
                  <a:pt x="84" y="12"/>
                </a:lnTo>
                <a:lnTo>
                  <a:pt x="84" y="18"/>
                </a:lnTo>
                <a:lnTo>
                  <a:pt x="84" y="18"/>
                </a:lnTo>
                <a:lnTo>
                  <a:pt x="84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54"/>
                </a:lnTo>
                <a:lnTo>
                  <a:pt x="72" y="54"/>
                </a:lnTo>
                <a:lnTo>
                  <a:pt x="78" y="54"/>
                </a:lnTo>
                <a:lnTo>
                  <a:pt x="72" y="54"/>
                </a:lnTo>
                <a:lnTo>
                  <a:pt x="78" y="54"/>
                </a:lnTo>
                <a:lnTo>
                  <a:pt x="78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72"/>
                </a:lnTo>
                <a:lnTo>
                  <a:pt x="66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84"/>
                </a:lnTo>
                <a:lnTo>
                  <a:pt x="60" y="84"/>
                </a:lnTo>
                <a:lnTo>
                  <a:pt x="54" y="78"/>
                </a:lnTo>
                <a:lnTo>
                  <a:pt x="54" y="84"/>
                </a:lnTo>
                <a:lnTo>
                  <a:pt x="54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90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2" y="84"/>
                </a:lnTo>
                <a:lnTo>
                  <a:pt x="12" y="84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22" name="Freeform 355"/>
          <p:cNvSpPr>
            <a:spLocks/>
          </p:cNvSpPr>
          <p:nvPr/>
        </p:nvSpPr>
        <p:spPr bwMode="auto">
          <a:xfrm>
            <a:off x="6665557" y="4141428"/>
            <a:ext cx="128481" cy="109210"/>
          </a:xfrm>
          <a:custGeom>
            <a:avLst/>
            <a:gdLst>
              <a:gd name="T0" fmla="*/ 0 w 120"/>
              <a:gd name="T1" fmla="*/ 84 h 102"/>
              <a:gd name="T2" fmla="*/ 6 w 120"/>
              <a:gd name="T3" fmla="*/ 78 h 102"/>
              <a:gd name="T4" fmla="*/ 12 w 120"/>
              <a:gd name="T5" fmla="*/ 78 h 102"/>
              <a:gd name="T6" fmla="*/ 0 w 120"/>
              <a:gd name="T7" fmla="*/ 72 h 102"/>
              <a:gd name="T8" fmla="*/ 0 w 120"/>
              <a:gd name="T9" fmla="*/ 66 h 102"/>
              <a:gd name="T10" fmla="*/ 0 w 120"/>
              <a:gd name="T11" fmla="*/ 66 h 102"/>
              <a:gd name="T12" fmla="*/ 6 w 120"/>
              <a:gd name="T13" fmla="*/ 54 h 102"/>
              <a:gd name="T14" fmla="*/ 0 w 120"/>
              <a:gd name="T15" fmla="*/ 54 h 102"/>
              <a:gd name="T16" fmla="*/ 0 w 120"/>
              <a:gd name="T17" fmla="*/ 54 h 102"/>
              <a:gd name="T18" fmla="*/ 0 w 120"/>
              <a:gd name="T19" fmla="*/ 48 h 102"/>
              <a:gd name="T20" fmla="*/ 6 w 120"/>
              <a:gd name="T21" fmla="*/ 48 h 102"/>
              <a:gd name="T22" fmla="*/ 6 w 120"/>
              <a:gd name="T23" fmla="*/ 36 h 102"/>
              <a:gd name="T24" fmla="*/ 12 w 120"/>
              <a:gd name="T25" fmla="*/ 36 h 102"/>
              <a:gd name="T26" fmla="*/ 6 w 120"/>
              <a:gd name="T27" fmla="*/ 30 h 102"/>
              <a:gd name="T28" fmla="*/ 12 w 120"/>
              <a:gd name="T29" fmla="*/ 30 h 102"/>
              <a:gd name="T30" fmla="*/ 12 w 120"/>
              <a:gd name="T31" fmla="*/ 24 h 102"/>
              <a:gd name="T32" fmla="*/ 6 w 120"/>
              <a:gd name="T33" fmla="*/ 18 h 102"/>
              <a:gd name="T34" fmla="*/ 6 w 120"/>
              <a:gd name="T35" fmla="*/ 6 h 102"/>
              <a:gd name="T36" fmla="*/ 12 w 120"/>
              <a:gd name="T37" fmla="*/ 12 h 102"/>
              <a:gd name="T38" fmla="*/ 12 w 120"/>
              <a:gd name="T39" fmla="*/ 12 h 102"/>
              <a:gd name="T40" fmla="*/ 24 w 120"/>
              <a:gd name="T41" fmla="*/ 6 h 102"/>
              <a:gd name="T42" fmla="*/ 30 w 120"/>
              <a:gd name="T43" fmla="*/ 6 h 102"/>
              <a:gd name="T44" fmla="*/ 36 w 120"/>
              <a:gd name="T45" fmla="*/ 12 h 102"/>
              <a:gd name="T46" fmla="*/ 42 w 120"/>
              <a:gd name="T47" fmla="*/ 18 h 102"/>
              <a:gd name="T48" fmla="*/ 48 w 120"/>
              <a:gd name="T49" fmla="*/ 18 h 102"/>
              <a:gd name="T50" fmla="*/ 60 w 120"/>
              <a:gd name="T51" fmla="*/ 24 h 102"/>
              <a:gd name="T52" fmla="*/ 66 w 120"/>
              <a:gd name="T53" fmla="*/ 30 h 102"/>
              <a:gd name="T54" fmla="*/ 72 w 120"/>
              <a:gd name="T55" fmla="*/ 30 h 102"/>
              <a:gd name="T56" fmla="*/ 78 w 120"/>
              <a:gd name="T57" fmla="*/ 30 h 102"/>
              <a:gd name="T58" fmla="*/ 84 w 120"/>
              <a:gd name="T59" fmla="*/ 30 h 102"/>
              <a:gd name="T60" fmla="*/ 90 w 120"/>
              <a:gd name="T61" fmla="*/ 36 h 102"/>
              <a:gd name="T62" fmla="*/ 90 w 120"/>
              <a:gd name="T63" fmla="*/ 36 h 102"/>
              <a:gd name="T64" fmla="*/ 96 w 120"/>
              <a:gd name="T65" fmla="*/ 42 h 102"/>
              <a:gd name="T66" fmla="*/ 102 w 120"/>
              <a:gd name="T67" fmla="*/ 42 h 102"/>
              <a:gd name="T68" fmla="*/ 108 w 120"/>
              <a:gd name="T69" fmla="*/ 48 h 102"/>
              <a:gd name="T70" fmla="*/ 108 w 120"/>
              <a:gd name="T71" fmla="*/ 54 h 102"/>
              <a:gd name="T72" fmla="*/ 114 w 120"/>
              <a:gd name="T73" fmla="*/ 60 h 102"/>
              <a:gd name="T74" fmla="*/ 114 w 120"/>
              <a:gd name="T75" fmla="*/ 66 h 102"/>
              <a:gd name="T76" fmla="*/ 120 w 120"/>
              <a:gd name="T77" fmla="*/ 66 h 102"/>
              <a:gd name="T78" fmla="*/ 114 w 120"/>
              <a:gd name="T79" fmla="*/ 72 h 102"/>
              <a:gd name="T80" fmla="*/ 108 w 120"/>
              <a:gd name="T81" fmla="*/ 78 h 102"/>
              <a:gd name="T82" fmla="*/ 102 w 120"/>
              <a:gd name="T83" fmla="*/ 78 h 102"/>
              <a:gd name="T84" fmla="*/ 96 w 120"/>
              <a:gd name="T85" fmla="*/ 84 h 102"/>
              <a:gd name="T86" fmla="*/ 96 w 120"/>
              <a:gd name="T87" fmla="*/ 84 h 102"/>
              <a:gd name="T88" fmla="*/ 90 w 120"/>
              <a:gd name="T89" fmla="*/ 84 h 102"/>
              <a:gd name="T90" fmla="*/ 84 w 120"/>
              <a:gd name="T91" fmla="*/ 90 h 102"/>
              <a:gd name="T92" fmla="*/ 78 w 120"/>
              <a:gd name="T93" fmla="*/ 84 h 102"/>
              <a:gd name="T94" fmla="*/ 78 w 120"/>
              <a:gd name="T95" fmla="*/ 90 h 102"/>
              <a:gd name="T96" fmla="*/ 66 w 120"/>
              <a:gd name="T97" fmla="*/ 96 h 102"/>
              <a:gd name="T98" fmla="*/ 60 w 120"/>
              <a:gd name="T99" fmla="*/ 96 h 102"/>
              <a:gd name="T100" fmla="*/ 60 w 120"/>
              <a:gd name="T101" fmla="*/ 90 h 102"/>
              <a:gd name="T102" fmla="*/ 54 w 120"/>
              <a:gd name="T103" fmla="*/ 96 h 102"/>
              <a:gd name="T104" fmla="*/ 48 w 120"/>
              <a:gd name="T105" fmla="*/ 96 h 102"/>
              <a:gd name="T106" fmla="*/ 42 w 120"/>
              <a:gd name="T107" fmla="*/ 96 h 102"/>
              <a:gd name="T108" fmla="*/ 42 w 120"/>
              <a:gd name="T109" fmla="*/ 96 h 102"/>
              <a:gd name="T110" fmla="*/ 30 w 120"/>
              <a:gd name="T111" fmla="*/ 90 h 102"/>
              <a:gd name="T112" fmla="*/ 24 w 120"/>
              <a:gd name="T113" fmla="*/ 96 h 102"/>
              <a:gd name="T114" fmla="*/ 24 w 120"/>
              <a:gd name="T115" fmla="*/ 102 h 102"/>
              <a:gd name="T116" fmla="*/ 18 w 120"/>
              <a:gd name="T117" fmla="*/ 96 h 102"/>
              <a:gd name="T118" fmla="*/ 12 w 120"/>
              <a:gd name="T119" fmla="*/ 96 h 102"/>
              <a:gd name="T120" fmla="*/ 6 w 120"/>
              <a:gd name="T121" fmla="*/ 102 h 102"/>
              <a:gd name="T122" fmla="*/ 0 w 120"/>
              <a:gd name="T123" fmla="*/ 96 h 102"/>
              <a:gd name="T124" fmla="*/ 0 w 120"/>
              <a:gd name="T125" fmla="*/ 90 h 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20" h="102">
                <a:moveTo>
                  <a:pt x="0" y="90"/>
                </a:move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78"/>
                </a:lnTo>
                <a:lnTo>
                  <a:pt x="6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0"/>
                </a:lnTo>
                <a:lnTo>
                  <a:pt x="0" y="60"/>
                </a:lnTo>
                <a:lnTo>
                  <a:pt x="0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12" y="36"/>
                </a:lnTo>
                <a:lnTo>
                  <a:pt x="12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12" y="30"/>
                </a:lnTo>
                <a:lnTo>
                  <a:pt x="6" y="24"/>
                </a:lnTo>
                <a:lnTo>
                  <a:pt x="6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6" y="12"/>
                </a:lnTo>
                <a:lnTo>
                  <a:pt x="6" y="12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12" y="6"/>
                </a:lnTo>
                <a:lnTo>
                  <a:pt x="12" y="6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6"/>
                </a:lnTo>
                <a:lnTo>
                  <a:pt x="18" y="6"/>
                </a:lnTo>
                <a:lnTo>
                  <a:pt x="18" y="6"/>
                </a:lnTo>
                <a:lnTo>
                  <a:pt x="24" y="6"/>
                </a:lnTo>
                <a:lnTo>
                  <a:pt x="24" y="0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12"/>
                </a:lnTo>
                <a:lnTo>
                  <a:pt x="36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8"/>
                </a:lnTo>
                <a:lnTo>
                  <a:pt x="42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54" y="18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6" y="24"/>
                </a:lnTo>
                <a:lnTo>
                  <a:pt x="66" y="24"/>
                </a:lnTo>
                <a:lnTo>
                  <a:pt x="66" y="30"/>
                </a:lnTo>
                <a:lnTo>
                  <a:pt x="66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8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6"/>
                </a:lnTo>
                <a:lnTo>
                  <a:pt x="84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42"/>
                </a:lnTo>
                <a:lnTo>
                  <a:pt x="90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8"/>
                </a:lnTo>
                <a:lnTo>
                  <a:pt x="102" y="48"/>
                </a:lnTo>
                <a:lnTo>
                  <a:pt x="108" y="48"/>
                </a:lnTo>
                <a:lnTo>
                  <a:pt x="102" y="48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96" y="78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6" y="90"/>
                </a:lnTo>
                <a:lnTo>
                  <a:pt x="90" y="90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84" y="84"/>
                </a:lnTo>
                <a:lnTo>
                  <a:pt x="84" y="90"/>
                </a:lnTo>
                <a:lnTo>
                  <a:pt x="84" y="90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78" y="84"/>
                </a:lnTo>
                <a:lnTo>
                  <a:pt x="78" y="84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0"/>
                </a:lnTo>
                <a:lnTo>
                  <a:pt x="60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2" y="96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6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0" y="90"/>
                </a:lnTo>
                <a:lnTo>
                  <a:pt x="30" y="96"/>
                </a:lnTo>
                <a:lnTo>
                  <a:pt x="30" y="90"/>
                </a:lnTo>
                <a:lnTo>
                  <a:pt x="24" y="90"/>
                </a:lnTo>
                <a:lnTo>
                  <a:pt x="24" y="96"/>
                </a:lnTo>
                <a:lnTo>
                  <a:pt x="30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96"/>
                </a:lnTo>
                <a:lnTo>
                  <a:pt x="18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6" y="102"/>
                </a:lnTo>
                <a:lnTo>
                  <a:pt x="6" y="102"/>
                </a:lnTo>
                <a:lnTo>
                  <a:pt x="6" y="96"/>
                </a:lnTo>
                <a:lnTo>
                  <a:pt x="6" y="96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23" name="Freeform 356"/>
          <p:cNvSpPr>
            <a:spLocks/>
          </p:cNvSpPr>
          <p:nvPr/>
        </p:nvSpPr>
        <p:spPr bwMode="auto">
          <a:xfrm>
            <a:off x="7057424" y="4250638"/>
            <a:ext cx="96361" cy="89937"/>
          </a:xfrm>
          <a:custGeom>
            <a:avLst/>
            <a:gdLst>
              <a:gd name="T0" fmla="*/ 0 w 90"/>
              <a:gd name="T1" fmla="*/ 30 h 84"/>
              <a:gd name="T2" fmla="*/ 6 w 90"/>
              <a:gd name="T3" fmla="*/ 24 h 84"/>
              <a:gd name="T4" fmla="*/ 6 w 90"/>
              <a:gd name="T5" fmla="*/ 18 h 84"/>
              <a:gd name="T6" fmla="*/ 6 w 90"/>
              <a:gd name="T7" fmla="*/ 18 h 84"/>
              <a:gd name="T8" fmla="*/ 12 w 90"/>
              <a:gd name="T9" fmla="*/ 18 h 84"/>
              <a:gd name="T10" fmla="*/ 18 w 90"/>
              <a:gd name="T11" fmla="*/ 12 h 84"/>
              <a:gd name="T12" fmla="*/ 24 w 90"/>
              <a:gd name="T13" fmla="*/ 18 h 84"/>
              <a:gd name="T14" fmla="*/ 30 w 90"/>
              <a:gd name="T15" fmla="*/ 12 h 84"/>
              <a:gd name="T16" fmla="*/ 36 w 90"/>
              <a:gd name="T17" fmla="*/ 12 h 84"/>
              <a:gd name="T18" fmla="*/ 36 w 90"/>
              <a:gd name="T19" fmla="*/ 6 h 84"/>
              <a:gd name="T20" fmla="*/ 42 w 90"/>
              <a:gd name="T21" fmla="*/ 0 h 84"/>
              <a:gd name="T22" fmla="*/ 54 w 90"/>
              <a:gd name="T23" fmla="*/ 6 h 84"/>
              <a:gd name="T24" fmla="*/ 60 w 90"/>
              <a:gd name="T25" fmla="*/ 6 h 84"/>
              <a:gd name="T26" fmla="*/ 60 w 90"/>
              <a:gd name="T27" fmla="*/ 0 h 84"/>
              <a:gd name="T28" fmla="*/ 66 w 90"/>
              <a:gd name="T29" fmla="*/ 6 h 84"/>
              <a:gd name="T30" fmla="*/ 66 w 90"/>
              <a:gd name="T31" fmla="*/ 6 h 84"/>
              <a:gd name="T32" fmla="*/ 72 w 90"/>
              <a:gd name="T33" fmla="*/ 12 h 84"/>
              <a:gd name="T34" fmla="*/ 78 w 90"/>
              <a:gd name="T35" fmla="*/ 12 h 84"/>
              <a:gd name="T36" fmla="*/ 84 w 90"/>
              <a:gd name="T37" fmla="*/ 12 h 84"/>
              <a:gd name="T38" fmla="*/ 84 w 90"/>
              <a:gd name="T39" fmla="*/ 18 h 84"/>
              <a:gd name="T40" fmla="*/ 90 w 90"/>
              <a:gd name="T41" fmla="*/ 24 h 84"/>
              <a:gd name="T42" fmla="*/ 90 w 90"/>
              <a:gd name="T43" fmla="*/ 30 h 84"/>
              <a:gd name="T44" fmla="*/ 84 w 90"/>
              <a:gd name="T45" fmla="*/ 36 h 84"/>
              <a:gd name="T46" fmla="*/ 90 w 90"/>
              <a:gd name="T47" fmla="*/ 36 h 84"/>
              <a:gd name="T48" fmla="*/ 90 w 90"/>
              <a:gd name="T49" fmla="*/ 42 h 84"/>
              <a:gd name="T50" fmla="*/ 84 w 90"/>
              <a:gd name="T51" fmla="*/ 42 h 84"/>
              <a:gd name="T52" fmla="*/ 84 w 90"/>
              <a:gd name="T53" fmla="*/ 48 h 84"/>
              <a:gd name="T54" fmla="*/ 78 w 90"/>
              <a:gd name="T55" fmla="*/ 48 h 84"/>
              <a:gd name="T56" fmla="*/ 78 w 90"/>
              <a:gd name="T57" fmla="*/ 60 h 84"/>
              <a:gd name="T58" fmla="*/ 78 w 90"/>
              <a:gd name="T59" fmla="*/ 60 h 84"/>
              <a:gd name="T60" fmla="*/ 72 w 90"/>
              <a:gd name="T61" fmla="*/ 66 h 84"/>
              <a:gd name="T62" fmla="*/ 66 w 90"/>
              <a:gd name="T63" fmla="*/ 66 h 84"/>
              <a:gd name="T64" fmla="*/ 66 w 90"/>
              <a:gd name="T65" fmla="*/ 66 h 84"/>
              <a:gd name="T66" fmla="*/ 60 w 90"/>
              <a:gd name="T67" fmla="*/ 66 h 84"/>
              <a:gd name="T68" fmla="*/ 60 w 90"/>
              <a:gd name="T69" fmla="*/ 60 h 84"/>
              <a:gd name="T70" fmla="*/ 54 w 90"/>
              <a:gd name="T71" fmla="*/ 66 h 84"/>
              <a:gd name="T72" fmla="*/ 48 w 90"/>
              <a:gd name="T73" fmla="*/ 66 h 84"/>
              <a:gd name="T74" fmla="*/ 54 w 90"/>
              <a:gd name="T75" fmla="*/ 78 h 84"/>
              <a:gd name="T76" fmla="*/ 54 w 90"/>
              <a:gd name="T77" fmla="*/ 84 h 84"/>
              <a:gd name="T78" fmla="*/ 36 w 90"/>
              <a:gd name="T79" fmla="*/ 78 h 84"/>
              <a:gd name="T80" fmla="*/ 36 w 90"/>
              <a:gd name="T81" fmla="*/ 72 h 84"/>
              <a:gd name="T82" fmla="*/ 30 w 90"/>
              <a:gd name="T83" fmla="*/ 72 h 84"/>
              <a:gd name="T84" fmla="*/ 24 w 90"/>
              <a:gd name="T85" fmla="*/ 72 h 84"/>
              <a:gd name="T86" fmla="*/ 18 w 90"/>
              <a:gd name="T87" fmla="*/ 72 h 84"/>
              <a:gd name="T88" fmla="*/ 12 w 90"/>
              <a:gd name="T89" fmla="*/ 72 h 84"/>
              <a:gd name="T90" fmla="*/ 12 w 90"/>
              <a:gd name="T91" fmla="*/ 66 h 84"/>
              <a:gd name="T92" fmla="*/ 6 w 90"/>
              <a:gd name="T93" fmla="*/ 60 h 84"/>
              <a:gd name="T94" fmla="*/ 12 w 90"/>
              <a:gd name="T95" fmla="*/ 54 h 84"/>
              <a:gd name="T96" fmla="*/ 12 w 90"/>
              <a:gd name="T97" fmla="*/ 54 h 84"/>
              <a:gd name="T98" fmla="*/ 18 w 90"/>
              <a:gd name="T99" fmla="*/ 54 h 84"/>
              <a:gd name="T100" fmla="*/ 18 w 90"/>
              <a:gd name="T101" fmla="*/ 54 h 84"/>
              <a:gd name="T102" fmla="*/ 18 w 90"/>
              <a:gd name="T103" fmla="*/ 54 h 84"/>
              <a:gd name="T104" fmla="*/ 18 w 90"/>
              <a:gd name="T105" fmla="*/ 42 h 84"/>
              <a:gd name="T106" fmla="*/ 12 w 90"/>
              <a:gd name="T107" fmla="*/ 42 h 84"/>
              <a:gd name="T108" fmla="*/ 6 w 90"/>
              <a:gd name="T109" fmla="*/ 36 h 84"/>
              <a:gd name="T110" fmla="*/ 0 w 90"/>
              <a:gd name="T111" fmla="*/ 36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90" h="84">
                <a:moveTo>
                  <a:pt x="0" y="36"/>
                </a:move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0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6" y="12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42" y="0"/>
                </a:lnTo>
                <a:lnTo>
                  <a:pt x="42" y="6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54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6" y="0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72" y="6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8"/>
                </a:lnTo>
                <a:lnTo>
                  <a:pt x="78" y="12"/>
                </a:lnTo>
                <a:lnTo>
                  <a:pt x="78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90" y="36"/>
                </a:lnTo>
                <a:lnTo>
                  <a:pt x="90" y="36"/>
                </a:lnTo>
                <a:lnTo>
                  <a:pt x="90" y="42"/>
                </a:lnTo>
                <a:lnTo>
                  <a:pt x="90" y="36"/>
                </a:lnTo>
                <a:lnTo>
                  <a:pt x="90" y="36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54"/>
                </a:lnTo>
                <a:lnTo>
                  <a:pt x="78" y="54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72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0" y="66"/>
                </a:lnTo>
                <a:lnTo>
                  <a:pt x="66" y="60"/>
                </a:lnTo>
                <a:lnTo>
                  <a:pt x="66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48" y="66"/>
                </a:lnTo>
                <a:lnTo>
                  <a:pt x="48" y="66"/>
                </a:lnTo>
                <a:lnTo>
                  <a:pt x="48" y="72"/>
                </a:lnTo>
                <a:lnTo>
                  <a:pt x="48" y="72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48" y="84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2"/>
                </a:lnTo>
                <a:lnTo>
                  <a:pt x="36" y="72"/>
                </a:lnTo>
                <a:lnTo>
                  <a:pt x="30" y="72"/>
                </a:lnTo>
                <a:lnTo>
                  <a:pt x="30" y="72"/>
                </a:lnTo>
                <a:lnTo>
                  <a:pt x="30" y="78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2" y="78"/>
                </a:lnTo>
                <a:lnTo>
                  <a:pt x="12" y="72"/>
                </a:lnTo>
                <a:lnTo>
                  <a:pt x="12" y="72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0"/>
                </a:lnTo>
                <a:lnTo>
                  <a:pt x="12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12" y="60"/>
                </a:lnTo>
                <a:lnTo>
                  <a:pt x="12" y="60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0" y="36"/>
                </a:lnTo>
                <a:lnTo>
                  <a:pt x="0" y="3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24" name="Freeform 357"/>
          <p:cNvSpPr>
            <a:spLocks/>
          </p:cNvSpPr>
          <p:nvPr/>
        </p:nvSpPr>
        <p:spPr bwMode="auto">
          <a:xfrm>
            <a:off x="6819734" y="4083611"/>
            <a:ext cx="192721" cy="96361"/>
          </a:xfrm>
          <a:custGeom>
            <a:avLst/>
            <a:gdLst>
              <a:gd name="T0" fmla="*/ 0 w 180"/>
              <a:gd name="T1" fmla="*/ 30 h 90"/>
              <a:gd name="T2" fmla="*/ 6 w 180"/>
              <a:gd name="T3" fmla="*/ 24 h 90"/>
              <a:gd name="T4" fmla="*/ 18 w 180"/>
              <a:gd name="T5" fmla="*/ 12 h 90"/>
              <a:gd name="T6" fmla="*/ 24 w 180"/>
              <a:gd name="T7" fmla="*/ 12 h 90"/>
              <a:gd name="T8" fmla="*/ 30 w 180"/>
              <a:gd name="T9" fmla="*/ 6 h 90"/>
              <a:gd name="T10" fmla="*/ 42 w 180"/>
              <a:gd name="T11" fmla="*/ 0 h 90"/>
              <a:gd name="T12" fmla="*/ 54 w 180"/>
              <a:gd name="T13" fmla="*/ 6 h 90"/>
              <a:gd name="T14" fmla="*/ 60 w 180"/>
              <a:gd name="T15" fmla="*/ 6 h 90"/>
              <a:gd name="T16" fmla="*/ 66 w 180"/>
              <a:gd name="T17" fmla="*/ 6 h 90"/>
              <a:gd name="T18" fmla="*/ 66 w 180"/>
              <a:gd name="T19" fmla="*/ 12 h 90"/>
              <a:gd name="T20" fmla="*/ 72 w 180"/>
              <a:gd name="T21" fmla="*/ 24 h 90"/>
              <a:gd name="T22" fmla="*/ 84 w 180"/>
              <a:gd name="T23" fmla="*/ 18 h 90"/>
              <a:gd name="T24" fmla="*/ 90 w 180"/>
              <a:gd name="T25" fmla="*/ 18 h 90"/>
              <a:gd name="T26" fmla="*/ 96 w 180"/>
              <a:gd name="T27" fmla="*/ 18 h 90"/>
              <a:gd name="T28" fmla="*/ 102 w 180"/>
              <a:gd name="T29" fmla="*/ 12 h 90"/>
              <a:gd name="T30" fmla="*/ 108 w 180"/>
              <a:gd name="T31" fmla="*/ 18 h 90"/>
              <a:gd name="T32" fmla="*/ 120 w 180"/>
              <a:gd name="T33" fmla="*/ 12 h 90"/>
              <a:gd name="T34" fmla="*/ 138 w 180"/>
              <a:gd name="T35" fmla="*/ 6 h 90"/>
              <a:gd name="T36" fmla="*/ 144 w 180"/>
              <a:gd name="T37" fmla="*/ 6 h 90"/>
              <a:gd name="T38" fmla="*/ 144 w 180"/>
              <a:gd name="T39" fmla="*/ 6 h 90"/>
              <a:gd name="T40" fmla="*/ 150 w 180"/>
              <a:gd name="T41" fmla="*/ 12 h 90"/>
              <a:gd name="T42" fmla="*/ 150 w 180"/>
              <a:gd name="T43" fmla="*/ 18 h 90"/>
              <a:gd name="T44" fmla="*/ 156 w 180"/>
              <a:gd name="T45" fmla="*/ 18 h 90"/>
              <a:gd name="T46" fmla="*/ 156 w 180"/>
              <a:gd name="T47" fmla="*/ 18 h 90"/>
              <a:gd name="T48" fmla="*/ 162 w 180"/>
              <a:gd name="T49" fmla="*/ 24 h 90"/>
              <a:gd name="T50" fmla="*/ 162 w 180"/>
              <a:gd name="T51" fmla="*/ 24 h 90"/>
              <a:gd name="T52" fmla="*/ 162 w 180"/>
              <a:gd name="T53" fmla="*/ 30 h 90"/>
              <a:gd name="T54" fmla="*/ 168 w 180"/>
              <a:gd name="T55" fmla="*/ 30 h 90"/>
              <a:gd name="T56" fmla="*/ 168 w 180"/>
              <a:gd name="T57" fmla="*/ 24 h 90"/>
              <a:gd name="T58" fmla="*/ 174 w 180"/>
              <a:gd name="T59" fmla="*/ 24 h 90"/>
              <a:gd name="T60" fmla="*/ 174 w 180"/>
              <a:gd name="T61" fmla="*/ 30 h 90"/>
              <a:gd name="T62" fmla="*/ 174 w 180"/>
              <a:gd name="T63" fmla="*/ 30 h 90"/>
              <a:gd name="T64" fmla="*/ 174 w 180"/>
              <a:gd name="T65" fmla="*/ 36 h 90"/>
              <a:gd name="T66" fmla="*/ 168 w 180"/>
              <a:gd name="T67" fmla="*/ 48 h 90"/>
              <a:gd name="T68" fmla="*/ 162 w 180"/>
              <a:gd name="T69" fmla="*/ 54 h 90"/>
              <a:gd name="T70" fmla="*/ 162 w 180"/>
              <a:gd name="T71" fmla="*/ 60 h 90"/>
              <a:gd name="T72" fmla="*/ 156 w 180"/>
              <a:gd name="T73" fmla="*/ 60 h 90"/>
              <a:gd name="T74" fmla="*/ 150 w 180"/>
              <a:gd name="T75" fmla="*/ 72 h 90"/>
              <a:gd name="T76" fmla="*/ 138 w 180"/>
              <a:gd name="T77" fmla="*/ 78 h 90"/>
              <a:gd name="T78" fmla="*/ 132 w 180"/>
              <a:gd name="T79" fmla="*/ 72 h 90"/>
              <a:gd name="T80" fmla="*/ 132 w 180"/>
              <a:gd name="T81" fmla="*/ 72 h 90"/>
              <a:gd name="T82" fmla="*/ 126 w 180"/>
              <a:gd name="T83" fmla="*/ 72 h 90"/>
              <a:gd name="T84" fmla="*/ 120 w 180"/>
              <a:gd name="T85" fmla="*/ 78 h 90"/>
              <a:gd name="T86" fmla="*/ 120 w 180"/>
              <a:gd name="T87" fmla="*/ 90 h 90"/>
              <a:gd name="T88" fmla="*/ 108 w 180"/>
              <a:gd name="T89" fmla="*/ 90 h 90"/>
              <a:gd name="T90" fmla="*/ 102 w 180"/>
              <a:gd name="T91" fmla="*/ 84 h 90"/>
              <a:gd name="T92" fmla="*/ 96 w 180"/>
              <a:gd name="T93" fmla="*/ 84 h 90"/>
              <a:gd name="T94" fmla="*/ 90 w 180"/>
              <a:gd name="T95" fmla="*/ 84 h 90"/>
              <a:gd name="T96" fmla="*/ 78 w 180"/>
              <a:gd name="T97" fmla="*/ 78 h 90"/>
              <a:gd name="T98" fmla="*/ 72 w 180"/>
              <a:gd name="T99" fmla="*/ 72 h 90"/>
              <a:gd name="T100" fmla="*/ 66 w 180"/>
              <a:gd name="T101" fmla="*/ 66 h 90"/>
              <a:gd name="T102" fmla="*/ 60 w 180"/>
              <a:gd name="T103" fmla="*/ 66 h 90"/>
              <a:gd name="T104" fmla="*/ 54 w 180"/>
              <a:gd name="T105" fmla="*/ 66 h 90"/>
              <a:gd name="T106" fmla="*/ 42 w 180"/>
              <a:gd name="T107" fmla="*/ 66 h 90"/>
              <a:gd name="T108" fmla="*/ 30 w 180"/>
              <a:gd name="T109" fmla="*/ 54 h 90"/>
              <a:gd name="T110" fmla="*/ 30 w 180"/>
              <a:gd name="T111" fmla="*/ 48 h 90"/>
              <a:gd name="T112" fmla="*/ 12 w 180"/>
              <a:gd name="T113" fmla="*/ 42 h 90"/>
              <a:gd name="T114" fmla="*/ 0 w 180"/>
              <a:gd name="T115" fmla="*/ 36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80" h="90">
                <a:moveTo>
                  <a:pt x="0" y="36"/>
                </a:moveTo>
                <a:lnTo>
                  <a:pt x="0" y="36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12" y="24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0"/>
                </a:lnTo>
                <a:lnTo>
                  <a:pt x="42" y="0"/>
                </a:lnTo>
                <a:lnTo>
                  <a:pt x="42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8"/>
                </a:lnTo>
                <a:lnTo>
                  <a:pt x="72" y="18"/>
                </a:lnTo>
                <a:lnTo>
                  <a:pt x="72" y="24"/>
                </a:lnTo>
                <a:lnTo>
                  <a:pt x="72" y="24"/>
                </a:lnTo>
                <a:lnTo>
                  <a:pt x="78" y="24"/>
                </a:lnTo>
                <a:lnTo>
                  <a:pt x="78" y="24"/>
                </a:lnTo>
                <a:lnTo>
                  <a:pt x="78" y="18"/>
                </a:lnTo>
                <a:lnTo>
                  <a:pt x="78" y="18"/>
                </a:lnTo>
                <a:lnTo>
                  <a:pt x="84" y="18"/>
                </a:lnTo>
                <a:lnTo>
                  <a:pt x="78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8"/>
                </a:lnTo>
                <a:lnTo>
                  <a:pt x="114" y="18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32" y="12"/>
                </a:lnTo>
                <a:lnTo>
                  <a:pt x="132" y="12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6" y="12"/>
                </a:lnTo>
                <a:lnTo>
                  <a:pt x="150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24"/>
                </a:lnTo>
                <a:lnTo>
                  <a:pt x="156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30"/>
                </a:lnTo>
                <a:lnTo>
                  <a:pt x="162" y="30"/>
                </a:lnTo>
                <a:lnTo>
                  <a:pt x="162" y="30"/>
                </a:lnTo>
                <a:lnTo>
                  <a:pt x="162" y="24"/>
                </a:lnTo>
                <a:lnTo>
                  <a:pt x="162" y="30"/>
                </a:lnTo>
                <a:lnTo>
                  <a:pt x="162" y="30"/>
                </a:lnTo>
                <a:lnTo>
                  <a:pt x="168" y="30"/>
                </a:lnTo>
                <a:lnTo>
                  <a:pt x="168" y="30"/>
                </a:lnTo>
                <a:lnTo>
                  <a:pt x="168" y="30"/>
                </a:lnTo>
                <a:lnTo>
                  <a:pt x="168" y="30"/>
                </a:lnTo>
                <a:lnTo>
                  <a:pt x="168" y="30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74" y="30"/>
                </a:lnTo>
                <a:lnTo>
                  <a:pt x="174" y="24"/>
                </a:lnTo>
                <a:lnTo>
                  <a:pt x="174" y="24"/>
                </a:lnTo>
                <a:lnTo>
                  <a:pt x="174" y="24"/>
                </a:lnTo>
                <a:lnTo>
                  <a:pt x="174" y="24"/>
                </a:lnTo>
                <a:lnTo>
                  <a:pt x="174" y="24"/>
                </a:lnTo>
                <a:lnTo>
                  <a:pt x="174" y="24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80" y="30"/>
                </a:lnTo>
                <a:lnTo>
                  <a:pt x="180" y="30"/>
                </a:lnTo>
                <a:lnTo>
                  <a:pt x="174" y="30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68" y="42"/>
                </a:lnTo>
                <a:lnTo>
                  <a:pt x="168" y="42"/>
                </a:lnTo>
                <a:lnTo>
                  <a:pt x="168" y="42"/>
                </a:lnTo>
                <a:lnTo>
                  <a:pt x="168" y="48"/>
                </a:lnTo>
                <a:lnTo>
                  <a:pt x="162" y="48"/>
                </a:lnTo>
                <a:lnTo>
                  <a:pt x="168" y="48"/>
                </a:lnTo>
                <a:lnTo>
                  <a:pt x="168" y="48"/>
                </a:lnTo>
                <a:lnTo>
                  <a:pt x="168" y="54"/>
                </a:lnTo>
                <a:lnTo>
                  <a:pt x="168" y="54"/>
                </a:lnTo>
                <a:lnTo>
                  <a:pt x="162" y="54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6"/>
                </a:lnTo>
                <a:lnTo>
                  <a:pt x="156" y="66"/>
                </a:lnTo>
                <a:lnTo>
                  <a:pt x="156" y="66"/>
                </a:lnTo>
                <a:lnTo>
                  <a:pt x="156" y="66"/>
                </a:lnTo>
                <a:lnTo>
                  <a:pt x="156" y="60"/>
                </a:lnTo>
                <a:lnTo>
                  <a:pt x="156" y="60"/>
                </a:lnTo>
                <a:lnTo>
                  <a:pt x="156" y="66"/>
                </a:lnTo>
                <a:lnTo>
                  <a:pt x="156" y="66"/>
                </a:lnTo>
                <a:lnTo>
                  <a:pt x="156" y="66"/>
                </a:lnTo>
                <a:lnTo>
                  <a:pt x="150" y="66"/>
                </a:lnTo>
                <a:lnTo>
                  <a:pt x="150" y="72"/>
                </a:lnTo>
                <a:lnTo>
                  <a:pt x="150" y="72"/>
                </a:lnTo>
                <a:lnTo>
                  <a:pt x="150" y="72"/>
                </a:lnTo>
                <a:lnTo>
                  <a:pt x="150" y="72"/>
                </a:lnTo>
                <a:lnTo>
                  <a:pt x="150" y="72"/>
                </a:lnTo>
                <a:lnTo>
                  <a:pt x="144" y="72"/>
                </a:lnTo>
                <a:lnTo>
                  <a:pt x="144" y="78"/>
                </a:lnTo>
                <a:lnTo>
                  <a:pt x="138" y="78"/>
                </a:lnTo>
                <a:lnTo>
                  <a:pt x="138" y="78"/>
                </a:lnTo>
                <a:lnTo>
                  <a:pt x="138" y="78"/>
                </a:lnTo>
                <a:lnTo>
                  <a:pt x="138" y="78"/>
                </a:lnTo>
                <a:lnTo>
                  <a:pt x="138" y="78"/>
                </a:lnTo>
                <a:lnTo>
                  <a:pt x="132" y="78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72"/>
                </a:lnTo>
                <a:lnTo>
                  <a:pt x="120" y="72"/>
                </a:lnTo>
                <a:lnTo>
                  <a:pt x="126" y="78"/>
                </a:lnTo>
                <a:lnTo>
                  <a:pt x="120" y="78"/>
                </a:lnTo>
                <a:lnTo>
                  <a:pt x="126" y="78"/>
                </a:lnTo>
                <a:lnTo>
                  <a:pt x="126" y="78"/>
                </a:lnTo>
                <a:lnTo>
                  <a:pt x="120" y="78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14" y="90"/>
                </a:lnTo>
                <a:lnTo>
                  <a:pt x="114" y="84"/>
                </a:lnTo>
                <a:lnTo>
                  <a:pt x="114" y="90"/>
                </a:lnTo>
                <a:lnTo>
                  <a:pt x="108" y="84"/>
                </a:lnTo>
                <a:lnTo>
                  <a:pt x="108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84"/>
                </a:lnTo>
                <a:lnTo>
                  <a:pt x="102" y="84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84" y="84"/>
                </a:lnTo>
                <a:lnTo>
                  <a:pt x="84" y="78"/>
                </a:lnTo>
                <a:lnTo>
                  <a:pt x="84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48" y="66"/>
                </a:lnTo>
                <a:lnTo>
                  <a:pt x="54" y="66"/>
                </a:lnTo>
                <a:lnTo>
                  <a:pt x="48" y="66"/>
                </a:lnTo>
                <a:lnTo>
                  <a:pt x="48" y="66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2" y="66"/>
                </a:lnTo>
                <a:lnTo>
                  <a:pt x="42" y="66"/>
                </a:lnTo>
                <a:lnTo>
                  <a:pt x="42" y="60"/>
                </a:lnTo>
                <a:lnTo>
                  <a:pt x="36" y="60"/>
                </a:lnTo>
                <a:lnTo>
                  <a:pt x="30" y="60"/>
                </a:lnTo>
                <a:lnTo>
                  <a:pt x="30" y="60"/>
                </a:lnTo>
                <a:lnTo>
                  <a:pt x="30" y="54"/>
                </a:lnTo>
                <a:lnTo>
                  <a:pt x="36" y="54"/>
                </a:lnTo>
                <a:lnTo>
                  <a:pt x="36" y="48"/>
                </a:lnTo>
                <a:lnTo>
                  <a:pt x="36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24" y="54"/>
                </a:lnTo>
                <a:lnTo>
                  <a:pt x="18" y="48"/>
                </a:lnTo>
                <a:lnTo>
                  <a:pt x="18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0" y="36"/>
                </a:lnTo>
                <a:lnTo>
                  <a:pt x="0" y="3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25" name="Freeform 358"/>
          <p:cNvSpPr>
            <a:spLocks/>
          </p:cNvSpPr>
          <p:nvPr/>
        </p:nvSpPr>
        <p:spPr bwMode="auto">
          <a:xfrm>
            <a:off x="6928943" y="4115732"/>
            <a:ext cx="128481" cy="89937"/>
          </a:xfrm>
          <a:custGeom>
            <a:avLst/>
            <a:gdLst>
              <a:gd name="T0" fmla="*/ 6 w 120"/>
              <a:gd name="T1" fmla="*/ 54 h 84"/>
              <a:gd name="T2" fmla="*/ 18 w 120"/>
              <a:gd name="T3" fmla="*/ 60 h 84"/>
              <a:gd name="T4" fmla="*/ 18 w 120"/>
              <a:gd name="T5" fmla="*/ 54 h 84"/>
              <a:gd name="T6" fmla="*/ 24 w 120"/>
              <a:gd name="T7" fmla="*/ 48 h 84"/>
              <a:gd name="T8" fmla="*/ 24 w 120"/>
              <a:gd name="T9" fmla="*/ 36 h 84"/>
              <a:gd name="T10" fmla="*/ 30 w 120"/>
              <a:gd name="T11" fmla="*/ 42 h 84"/>
              <a:gd name="T12" fmla="*/ 30 w 120"/>
              <a:gd name="T13" fmla="*/ 48 h 84"/>
              <a:gd name="T14" fmla="*/ 36 w 120"/>
              <a:gd name="T15" fmla="*/ 48 h 84"/>
              <a:gd name="T16" fmla="*/ 48 w 120"/>
              <a:gd name="T17" fmla="*/ 42 h 84"/>
              <a:gd name="T18" fmla="*/ 54 w 120"/>
              <a:gd name="T19" fmla="*/ 36 h 84"/>
              <a:gd name="T20" fmla="*/ 54 w 120"/>
              <a:gd name="T21" fmla="*/ 36 h 84"/>
              <a:gd name="T22" fmla="*/ 60 w 120"/>
              <a:gd name="T23" fmla="*/ 30 h 84"/>
              <a:gd name="T24" fmla="*/ 66 w 120"/>
              <a:gd name="T25" fmla="*/ 24 h 84"/>
              <a:gd name="T26" fmla="*/ 66 w 120"/>
              <a:gd name="T27" fmla="*/ 18 h 84"/>
              <a:gd name="T28" fmla="*/ 72 w 120"/>
              <a:gd name="T29" fmla="*/ 6 h 84"/>
              <a:gd name="T30" fmla="*/ 78 w 120"/>
              <a:gd name="T31" fmla="*/ 0 h 84"/>
              <a:gd name="T32" fmla="*/ 78 w 120"/>
              <a:gd name="T33" fmla="*/ 0 h 84"/>
              <a:gd name="T34" fmla="*/ 78 w 120"/>
              <a:gd name="T35" fmla="*/ 0 h 84"/>
              <a:gd name="T36" fmla="*/ 84 w 120"/>
              <a:gd name="T37" fmla="*/ 0 h 84"/>
              <a:gd name="T38" fmla="*/ 84 w 120"/>
              <a:gd name="T39" fmla="*/ 6 h 84"/>
              <a:gd name="T40" fmla="*/ 78 w 120"/>
              <a:gd name="T41" fmla="*/ 6 h 84"/>
              <a:gd name="T42" fmla="*/ 84 w 120"/>
              <a:gd name="T43" fmla="*/ 12 h 84"/>
              <a:gd name="T44" fmla="*/ 96 w 120"/>
              <a:gd name="T45" fmla="*/ 12 h 84"/>
              <a:gd name="T46" fmla="*/ 102 w 120"/>
              <a:gd name="T47" fmla="*/ 18 h 84"/>
              <a:gd name="T48" fmla="*/ 102 w 120"/>
              <a:gd name="T49" fmla="*/ 12 h 84"/>
              <a:gd name="T50" fmla="*/ 108 w 120"/>
              <a:gd name="T51" fmla="*/ 18 h 84"/>
              <a:gd name="T52" fmla="*/ 114 w 120"/>
              <a:gd name="T53" fmla="*/ 24 h 84"/>
              <a:gd name="T54" fmla="*/ 120 w 120"/>
              <a:gd name="T55" fmla="*/ 24 h 84"/>
              <a:gd name="T56" fmla="*/ 120 w 120"/>
              <a:gd name="T57" fmla="*/ 30 h 84"/>
              <a:gd name="T58" fmla="*/ 120 w 120"/>
              <a:gd name="T59" fmla="*/ 30 h 84"/>
              <a:gd name="T60" fmla="*/ 120 w 120"/>
              <a:gd name="T61" fmla="*/ 42 h 84"/>
              <a:gd name="T62" fmla="*/ 114 w 120"/>
              <a:gd name="T63" fmla="*/ 48 h 84"/>
              <a:gd name="T64" fmla="*/ 108 w 120"/>
              <a:gd name="T65" fmla="*/ 60 h 84"/>
              <a:gd name="T66" fmla="*/ 114 w 120"/>
              <a:gd name="T67" fmla="*/ 60 h 84"/>
              <a:gd name="T68" fmla="*/ 114 w 120"/>
              <a:gd name="T69" fmla="*/ 72 h 84"/>
              <a:gd name="T70" fmla="*/ 108 w 120"/>
              <a:gd name="T71" fmla="*/ 72 h 84"/>
              <a:gd name="T72" fmla="*/ 102 w 120"/>
              <a:gd name="T73" fmla="*/ 78 h 84"/>
              <a:gd name="T74" fmla="*/ 96 w 120"/>
              <a:gd name="T75" fmla="*/ 78 h 84"/>
              <a:gd name="T76" fmla="*/ 90 w 120"/>
              <a:gd name="T77" fmla="*/ 72 h 84"/>
              <a:gd name="T78" fmla="*/ 84 w 120"/>
              <a:gd name="T79" fmla="*/ 66 h 84"/>
              <a:gd name="T80" fmla="*/ 78 w 120"/>
              <a:gd name="T81" fmla="*/ 72 h 84"/>
              <a:gd name="T82" fmla="*/ 72 w 120"/>
              <a:gd name="T83" fmla="*/ 72 h 84"/>
              <a:gd name="T84" fmla="*/ 66 w 120"/>
              <a:gd name="T85" fmla="*/ 72 h 84"/>
              <a:gd name="T86" fmla="*/ 66 w 120"/>
              <a:gd name="T87" fmla="*/ 66 h 84"/>
              <a:gd name="T88" fmla="*/ 60 w 120"/>
              <a:gd name="T89" fmla="*/ 66 h 84"/>
              <a:gd name="T90" fmla="*/ 54 w 120"/>
              <a:gd name="T91" fmla="*/ 60 h 84"/>
              <a:gd name="T92" fmla="*/ 48 w 120"/>
              <a:gd name="T93" fmla="*/ 72 h 84"/>
              <a:gd name="T94" fmla="*/ 42 w 120"/>
              <a:gd name="T95" fmla="*/ 72 h 84"/>
              <a:gd name="T96" fmla="*/ 30 w 120"/>
              <a:gd name="T97" fmla="*/ 72 h 84"/>
              <a:gd name="T98" fmla="*/ 24 w 120"/>
              <a:gd name="T99" fmla="*/ 72 h 84"/>
              <a:gd name="T100" fmla="*/ 18 w 120"/>
              <a:gd name="T101" fmla="*/ 78 h 84"/>
              <a:gd name="T102" fmla="*/ 12 w 120"/>
              <a:gd name="T103" fmla="*/ 72 h 84"/>
              <a:gd name="T104" fmla="*/ 6 w 120"/>
              <a:gd name="T105" fmla="*/ 72 h 84"/>
              <a:gd name="T106" fmla="*/ 6 w 120"/>
              <a:gd name="T107" fmla="*/ 66 h 84"/>
              <a:gd name="T108" fmla="*/ 6 w 120"/>
              <a:gd name="T109" fmla="*/ 66 h 84"/>
              <a:gd name="T110" fmla="*/ 0 w 120"/>
              <a:gd name="T111" fmla="*/ 60 h 84"/>
              <a:gd name="T112" fmla="*/ 0 w 120"/>
              <a:gd name="T113" fmla="*/ 6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20" h="84">
                <a:moveTo>
                  <a:pt x="0" y="60"/>
                </a:moveTo>
                <a:lnTo>
                  <a:pt x="0" y="60"/>
                </a:lnTo>
                <a:lnTo>
                  <a:pt x="0" y="60"/>
                </a:lnTo>
                <a:lnTo>
                  <a:pt x="6" y="60"/>
                </a:lnTo>
                <a:lnTo>
                  <a:pt x="6" y="54"/>
                </a:lnTo>
                <a:lnTo>
                  <a:pt x="12" y="60"/>
                </a:lnTo>
                <a:lnTo>
                  <a:pt x="12" y="54"/>
                </a:lnTo>
                <a:lnTo>
                  <a:pt x="12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48"/>
                </a:lnTo>
                <a:lnTo>
                  <a:pt x="24" y="48"/>
                </a:lnTo>
                <a:lnTo>
                  <a:pt x="24" y="48"/>
                </a:lnTo>
                <a:lnTo>
                  <a:pt x="18" y="48"/>
                </a:lnTo>
                <a:lnTo>
                  <a:pt x="24" y="48"/>
                </a:lnTo>
                <a:lnTo>
                  <a:pt x="18" y="42"/>
                </a:lnTo>
                <a:lnTo>
                  <a:pt x="24" y="42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42" y="48"/>
                </a:lnTo>
                <a:lnTo>
                  <a:pt x="42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0"/>
                </a:lnTo>
                <a:lnTo>
                  <a:pt x="54" y="30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60" y="36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24"/>
                </a:lnTo>
                <a:lnTo>
                  <a:pt x="66" y="24"/>
                </a:lnTo>
                <a:lnTo>
                  <a:pt x="66" y="24"/>
                </a:lnTo>
                <a:lnTo>
                  <a:pt x="66" y="18"/>
                </a:lnTo>
                <a:lnTo>
                  <a:pt x="66" y="18"/>
                </a:lnTo>
                <a:lnTo>
                  <a:pt x="60" y="18"/>
                </a:lnTo>
                <a:lnTo>
                  <a:pt x="66" y="18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78" y="6"/>
                </a:lnTo>
                <a:lnTo>
                  <a:pt x="78" y="6"/>
                </a:lnTo>
                <a:lnTo>
                  <a:pt x="84" y="6"/>
                </a:lnTo>
                <a:lnTo>
                  <a:pt x="78" y="6"/>
                </a:lnTo>
                <a:lnTo>
                  <a:pt x="84" y="6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6" y="12"/>
                </a:lnTo>
                <a:lnTo>
                  <a:pt x="96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2"/>
                </a:lnTo>
                <a:lnTo>
                  <a:pt x="108" y="12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30"/>
                </a:lnTo>
                <a:lnTo>
                  <a:pt x="120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20" y="30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54"/>
                </a:lnTo>
                <a:lnTo>
                  <a:pt x="114" y="54"/>
                </a:lnTo>
                <a:lnTo>
                  <a:pt x="108" y="60"/>
                </a:lnTo>
                <a:lnTo>
                  <a:pt x="108" y="60"/>
                </a:lnTo>
                <a:lnTo>
                  <a:pt x="108" y="54"/>
                </a:lnTo>
                <a:lnTo>
                  <a:pt x="108" y="54"/>
                </a:lnTo>
                <a:lnTo>
                  <a:pt x="108" y="60"/>
                </a:lnTo>
                <a:lnTo>
                  <a:pt x="108" y="60"/>
                </a:lnTo>
                <a:lnTo>
                  <a:pt x="114" y="60"/>
                </a:lnTo>
                <a:lnTo>
                  <a:pt x="114" y="66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96" y="78"/>
                </a:lnTo>
                <a:lnTo>
                  <a:pt x="96" y="78"/>
                </a:lnTo>
                <a:lnTo>
                  <a:pt x="96" y="84"/>
                </a:lnTo>
                <a:lnTo>
                  <a:pt x="90" y="78"/>
                </a:lnTo>
                <a:lnTo>
                  <a:pt x="96" y="78"/>
                </a:lnTo>
                <a:lnTo>
                  <a:pt x="90" y="72"/>
                </a:lnTo>
                <a:lnTo>
                  <a:pt x="90" y="78"/>
                </a:lnTo>
                <a:lnTo>
                  <a:pt x="90" y="72"/>
                </a:lnTo>
                <a:lnTo>
                  <a:pt x="90" y="72"/>
                </a:lnTo>
                <a:lnTo>
                  <a:pt x="84" y="72"/>
                </a:lnTo>
                <a:lnTo>
                  <a:pt x="84" y="66"/>
                </a:lnTo>
                <a:lnTo>
                  <a:pt x="84" y="66"/>
                </a:lnTo>
                <a:lnTo>
                  <a:pt x="84" y="72"/>
                </a:lnTo>
                <a:lnTo>
                  <a:pt x="84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6"/>
                </a:lnTo>
                <a:lnTo>
                  <a:pt x="54" y="66"/>
                </a:lnTo>
                <a:lnTo>
                  <a:pt x="48" y="72"/>
                </a:lnTo>
                <a:lnTo>
                  <a:pt x="48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36" y="72"/>
                </a:lnTo>
                <a:lnTo>
                  <a:pt x="36" y="72"/>
                </a:lnTo>
                <a:lnTo>
                  <a:pt x="30" y="72"/>
                </a:lnTo>
                <a:lnTo>
                  <a:pt x="30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2" y="78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26" name="Freeform 359"/>
          <p:cNvSpPr>
            <a:spLocks/>
          </p:cNvSpPr>
          <p:nvPr/>
        </p:nvSpPr>
        <p:spPr bwMode="auto">
          <a:xfrm>
            <a:off x="6466411" y="3929433"/>
            <a:ext cx="141329" cy="147754"/>
          </a:xfrm>
          <a:custGeom>
            <a:avLst/>
            <a:gdLst>
              <a:gd name="T0" fmla="*/ 6 w 132"/>
              <a:gd name="T1" fmla="*/ 90 h 138"/>
              <a:gd name="T2" fmla="*/ 18 w 132"/>
              <a:gd name="T3" fmla="*/ 84 h 138"/>
              <a:gd name="T4" fmla="*/ 18 w 132"/>
              <a:gd name="T5" fmla="*/ 72 h 138"/>
              <a:gd name="T6" fmla="*/ 18 w 132"/>
              <a:gd name="T7" fmla="*/ 60 h 138"/>
              <a:gd name="T8" fmla="*/ 24 w 132"/>
              <a:gd name="T9" fmla="*/ 48 h 138"/>
              <a:gd name="T10" fmla="*/ 36 w 132"/>
              <a:gd name="T11" fmla="*/ 30 h 138"/>
              <a:gd name="T12" fmla="*/ 48 w 132"/>
              <a:gd name="T13" fmla="*/ 18 h 138"/>
              <a:gd name="T14" fmla="*/ 60 w 132"/>
              <a:gd name="T15" fmla="*/ 6 h 138"/>
              <a:gd name="T16" fmla="*/ 78 w 132"/>
              <a:gd name="T17" fmla="*/ 6 h 138"/>
              <a:gd name="T18" fmla="*/ 90 w 132"/>
              <a:gd name="T19" fmla="*/ 6 h 138"/>
              <a:gd name="T20" fmla="*/ 96 w 132"/>
              <a:gd name="T21" fmla="*/ 12 h 138"/>
              <a:gd name="T22" fmla="*/ 102 w 132"/>
              <a:gd name="T23" fmla="*/ 24 h 138"/>
              <a:gd name="T24" fmla="*/ 102 w 132"/>
              <a:gd name="T25" fmla="*/ 30 h 138"/>
              <a:gd name="T26" fmla="*/ 108 w 132"/>
              <a:gd name="T27" fmla="*/ 36 h 138"/>
              <a:gd name="T28" fmla="*/ 108 w 132"/>
              <a:gd name="T29" fmla="*/ 36 h 138"/>
              <a:gd name="T30" fmla="*/ 108 w 132"/>
              <a:gd name="T31" fmla="*/ 36 h 138"/>
              <a:gd name="T32" fmla="*/ 114 w 132"/>
              <a:gd name="T33" fmla="*/ 36 h 138"/>
              <a:gd name="T34" fmla="*/ 114 w 132"/>
              <a:gd name="T35" fmla="*/ 36 h 138"/>
              <a:gd name="T36" fmla="*/ 126 w 132"/>
              <a:gd name="T37" fmla="*/ 36 h 138"/>
              <a:gd name="T38" fmla="*/ 126 w 132"/>
              <a:gd name="T39" fmla="*/ 36 h 138"/>
              <a:gd name="T40" fmla="*/ 132 w 132"/>
              <a:gd name="T41" fmla="*/ 42 h 138"/>
              <a:gd name="T42" fmla="*/ 126 w 132"/>
              <a:gd name="T43" fmla="*/ 42 h 138"/>
              <a:gd name="T44" fmla="*/ 126 w 132"/>
              <a:gd name="T45" fmla="*/ 54 h 138"/>
              <a:gd name="T46" fmla="*/ 126 w 132"/>
              <a:gd name="T47" fmla="*/ 60 h 138"/>
              <a:gd name="T48" fmla="*/ 114 w 132"/>
              <a:gd name="T49" fmla="*/ 72 h 138"/>
              <a:gd name="T50" fmla="*/ 114 w 132"/>
              <a:gd name="T51" fmla="*/ 78 h 138"/>
              <a:gd name="T52" fmla="*/ 108 w 132"/>
              <a:gd name="T53" fmla="*/ 84 h 138"/>
              <a:gd name="T54" fmla="*/ 108 w 132"/>
              <a:gd name="T55" fmla="*/ 90 h 138"/>
              <a:gd name="T56" fmla="*/ 102 w 132"/>
              <a:gd name="T57" fmla="*/ 96 h 138"/>
              <a:gd name="T58" fmla="*/ 96 w 132"/>
              <a:gd name="T59" fmla="*/ 102 h 138"/>
              <a:gd name="T60" fmla="*/ 90 w 132"/>
              <a:gd name="T61" fmla="*/ 108 h 138"/>
              <a:gd name="T62" fmla="*/ 90 w 132"/>
              <a:gd name="T63" fmla="*/ 114 h 138"/>
              <a:gd name="T64" fmla="*/ 84 w 132"/>
              <a:gd name="T65" fmla="*/ 114 h 138"/>
              <a:gd name="T66" fmla="*/ 84 w 132"/>
              <a:gd name="T67" fmla="*/ 120 h 138"/>
              <a:gd name="T68" fmla="*/ 78 w 132"/>
              <a:gd name="T69" fmla="*/ 126 h 138"/>
              <a:gd name="T70" fmla="*/ 72 w 132"/>
              <a:gd name="T71" fmla="*/ 138 h 138"/>
              <a:gd name="T72" fmla="*/ 66 w 132"/>
              <a:gd name="T73" fmla="*/ 138 h 138"/>
              <a:gd name="T74" fmla="*/ 60 w 132"/>
              <a:gd name="T75" fmla="*/ 138 h 138"/>
              <a:gd name="T76" fmla="*/ 60 w 132"/>
              <a:gd name="T77" fmla="*/ 132 h 138"/>
              <a:gd name="T78" fmla="*/ 54 w 132"/>
              <a:gd name="T79" fmla="*/ 132 h 138"/>
              <a:gd name="T80" fmla="*/ 54 w 132"/>
              <a:gd name="T81" fmla="*/ 132 h 138"/>
              <a:gd name="T82" fmla="*/ 48 w 132"/>
              <a:gd name="T83" fmla="*/ 132 h 138"/>
              <a:gd name="T84" fmla="*/ 48 w 132"/>
              <a:gd name="T85" fmla="*/ 132 h 138"/>
              <a:gd name="T86" fmla="*/ 42 w 132"/>
              <a:gd name="T87" fmla="*/ 126 h 138"/>
              <a:gd name="T88" fmla="*/ 36 w 132"/>
              <a:gd name="T89" fmla="*/ 126 h 138"/>
              <a:gd name="T90" fmla="*/ 36 w 132"/>
              <a:gd name="T91" fmla="*/ 126 h 138"/>
              <a:gd name="T92" fmla="*/ 30 w 132"/>
              <a:gd name="T93" fmla="*/ 120 h 138"/>
              <a:gd name="T94" fmla="*/ 30 w 132"/>
              <a:gd name="T95" fmla="*/ 120 h 138"/>
              <a:gd name="T96" fmla="*/ 24 w 132"/>
              <a:gd name="T97" fmla="*/ 120 h 138"/>
              <a:gd name="T98" fmla="*/ 24 w 132"/>
              <a:gd name="T99" fmla="*/ 114 h 138"/>
              <a:gd name="T100" fmla="*/ 18 w 132"/>
              <a:gd name="T101" fmla="*/ 114 h 138"/>
              <a:gd name="T102" fmla="*/ 18 w 132"/>
              <a:gd name="T103" fmla="*/ 114 h 138"/>
              <a:gd name="T104" fmla="*/ 12 w 132"/>
              <a:gd name="T105" fmla="*/ 114 h 138"/>
              <a:gd name="T106" fmla="*/ 12 w 132"/>
              <a:gd name="T107" fmla="*/ 114 h 138"/>
              <a:gd name="T108" fmla="*/ 12 w 132"/>
              <a:gd name="T109" fmla="*/ 114 h 138"/>
              <a:gd name="T110" fmla="*/ 6 w 132"/>
              <a:gd name="T111" fmla="*/ 108 h 138"/>
              <a:gd name="T112" fmla="*/ 6 w 132"/>
              <a:gd name="T113" fmla="*/ 108 h 138"/>
              <a:gd name="T114" fmla="*/ 6 w 132"/>
              <a:gd name="T115" fmla="*/ 102 h 138"/>
              <a:gd name="T116" fmla="*/ 0 w 132"/>
              <a:gd name="T117" fmla="*/ 102 h 138"/>
              <a:gd name="T118" fmla="*/ 0 w 132"/>
              <a:gd name="T119" fmla="*/ 102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32" h="138">
                <a:moveTo>
                  <a:pt x="0" y="102"/>
                </a:moveTo>
                <a:lnTo>
                  <a:pt x="0" y="96"/>
                </a:lnTo>
                <a:lnTo>
                  <a:pt x="0" y="96"/>
                </a:lnTo>
                <a:lnTo>
                  <a:pt x="6" y="90"/>
                </a:lnTo>
                <a:lnTo>
                  <a:pt x="6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8" y="90"/>
                </a:lnTo>
                <a:lnTo>
                  <a:pt x="18" y="84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2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0"/>
                </a:lnTo>
                <a:lnTo>
                  <a:pt x="18" y="60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2"/>
                </a:lnTo>
                <a:lnTo>
                  <a:pt x="30" y="42"/>
                </a:lnTo>
                <a:lnTo>
                  <a:pt x="36" y="36"/>
                </a:lnTo>
                <a:lnTo>
                  <a:pt x="36" y="36"/>
                </a:lnTo>
                <a:lnTo>
                  <a:pt x="36" y="30"/>
                </a:lnTo>
                <a:lnTo>
                  <a:pt x="42" y="24"/>
                </a:lnTo>
                <a:lnTo>
                  <a:pt x="42" y="24"/>
                </a:lnTo>
                <a:lnTo>
                  <a:pt x="48" y="24"/>
                </a:lnTo>
                <a:lnTo>
                  <a:pt x="48" y="24"/>
                </a:lnTo>
                <a:lnTo>
                  <a:pt x="48" y="18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72" y="6"/>
                </a:lnTo>
                <a:lnTo>
                  <a:pt x="78" y="6"/>
                </a:lnTo>
                <a:lnTo>
                  <a:pt x="78" y="6"/>
                </a:lnTo>
                <a:lnTo>
                  <a:pt x="78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90" y="6"/>
                </a:lnTo>
                <a:lnTo>
                  <a:pt x="90" y="6"/>
                </a:lnTo>
                <a:lnTo>
                  <a:pt x="90" y="12"/>
                </a:lnTo>
                <a:lnTo>
                  <a:pt x="90" y="12"/>
                </a:lnTo>
                <a:lnTo>
                  <a:pt x="96" y="12"/>
                </a:lnTo>
                <a:lnTo>
                  <a:pt x="96" y="12"/>
                </a:lnTo>
                <a:lnTo>
                  <a:pt x="96" y="18"/>
                </a:lnTo>
                <a:lnTo>
                  <a:pt x="96" y="18"/>
                </a:lnTo>
                <a:lnTo>
                  <a:pt x="102" y="18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32" y="36"/>
                </a:lnTo>
                <a:lnTo>
                  <a:pt x="132" y="36"/>
                </a:lnTo>
                <a:lnTo>
                  <a:pt x="126" y="36"/>
                </a:lnTo>
                <a:lnTo>
                  <a:pt x="132" y="42"/>
                </a:lnTo>
                <a:lnTo>
                  <a:pt x="132" y="48"/>
                </a:lnTo>
                <a:lnTo>
                  <a:pt x="132" y="48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60"/>
                </a:lnTo>
                <a:lnTo>
                  <a:pt x="126" y="60"/>
                </a:lnTo>
                <a:lnTo>
                  <a:pt x="120" y="60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2" y="90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96" y="96"/>
                </a:lnTo>
                <a:lnTo>
                  <a:pt x="96" y="96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0" y="102"/>
                </a:lnTo>
                <a:lnTo>
                  <a:pt x="90" y="102"/>
                </a:lnTo>
                <a:lnTo>
                  <a:pt x="90" y="108"/>
                </a:lnTo>
                <a:lnTo>
                  <a:pt x="96" y="108"/>
                </a:lnTo>
                <a:lnTo>
                  <a:pt x="90" y="108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6"/>
                </a:lnTo>
                <a:lnTo>
                  <a:pt x="78" y="126"/>
                </a:lnTo>
                <a:lnTo>
                  <a:pt x="78" y="132"/>
                </a:lnTo>
                <a:lnTo>
                  <a:pt x="78" y="132"/>
                </a:lnTo>
                <a:lnTo>
                  <a:pt x="78" y="132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66" y="138"/>
                </a:lnTo>
                <a:lnTo>
                  <a:pt x="66" y="138"/>
                </a:lnTo>
                <a:lnTo>
                  <a:pt x="66" y="138"/>
                </a:lnTo>
                <a:lnTo>
                  <a:pt x="66" y="138"/>
                </a:lnTo>
                <a:lnTo>
                  <a:pt x="66" y="138"/>
                </a:lnTo>
                <a:lnTo>
                  <a:pt x="60" y="138"/>
                </a:lnTo>
                <a:lnTo>
                  <a:pt x="60" y="138"/>
                </a:lnTo>
                <a:lnTo>
                  <a:pt x="60" y="138"/>
                </a:lnTo>
                <a:lnTo>
                  <a:pt x="60" y="138"/>
                </a:lnTo>
                <a:lnTo>
                  <a:pt x="60" y="138"/>
                </a:lnTo>
                <a:lnTo>
                  <a:pt x="60" y="132"/>
                </a:lnTo>
                <a:lnTo>
                  <a:pt x="60" y="132"/>
                </a:lnTo>
                <a:lnTo>
                  <a:pt x="60" y="132"/>
                </a:lnTo>
                <a:lnTo>
                  <a:pt x="60" y="132"/>
                </a:lnTo>
                <a:lnTo>
                  <a:pt x="60" y="132"/>
                </a:lnTo>
                <a:lnTo>
                  <a:pt x="60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6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6" y="114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27" name="Freeform 360"/>
          <p:cNvSpPr>
            <a:spLocks/>
          </p:cNvSpPr>
          <p:nvPr/>
        </p:nvSpPr>
        <p:spPr bwMode="auto">
          <a:xfrm>
            <a:off x="6871126" y="4244214"/>
            <a:ext cx="128481" cy="109210"/>
          </a:xfrm>
          <a:custGeom>
            <a:avLst/>
            <a:gdLst>
              <a:gd name="T0" fmla="*/ 12 w 120"/>
              <a:gd name="T1" fmla="*/ 36 h 102"/>
              <a:gd name="T2" fmla="*/ 12 w 120"/>
              <a:gd name="T3" fmla="*/ 30 h 102"/>
              <a:gd name="T4" fmla="*/ 24 w 120"/>
              <a:gd name="T5" fmla="*/ 24 h 102"/>
              <a:gd name="T6" fmla="*/ 24 w 120"/>
              <a:gd name="T7" fmla="*/ 18 h 102"/>
              <a:gd name="T8" fmla="*/ 30 w 120"/>
              <a:gd name="T9" fmla="*/ 18 h 102"/>
              <a:gd name="T10" fmla="*/ 30 w 120"/>
              <a:gd name="T11" fmla="*/ 12 h 102"/>
              <a:gd name="T12" fmla="*/ 30 w 120"/>
              <a:gd name="T13" fmla="*/ 6 h 102"/>
              <a:gd name="T14" fmla="*/ 30 w 120"/>
              <a:gd name="T15" fmla="*/ 0 h 102"/>
              <a:gd name="T16" fmla="*/ 36 w 120"/>
              <a:gd name="T17" fmla="*/ 6 h 102"/>
              <a:gd name="T18" fmla="*/ 48 w 120"/>
              <a:gd name="T19" fmla="*/ 0 h 102"/>
              <a:gd name="T20" fmla="*/ 60 w 120"/>
              <a:gd name="T21" fmla="*/ 0 h 102"/>
              <a:gd name="T22" fmla="*/ 66 w 120"/>
              <a:gd name="T23" fmla="*/ 12 h 102"/>
              <a:gd name="T24" fmla="*/ 78 w 120"/>
              <a:gd name="T25" fmla="*/ 12 h 102"/>
              <a:gd name="T26" fmla="*/ 84 w 120"/>
              <a:gd name="T27" fmla="*/ 12 h 102"/>
              <a:gd name="T28" fmla="*/ 96 w 120"/>
              <a:gd name="T29" fmla="*/ 12 h 102"/>
              <a:gd name="T30" fmla="*/ 102 w 120"/>
              <a:gd name="T31" fmla="*/ 18 h 102"/>
              <a:gd name="T32" fmla="*/ 102 w 120"/>
              <a:gd name="T33" fmla="*/ 24 h 102"/>
              <a:gd name="T34" fmla="*/ 108 w 120"/>
              <a:gd name="T35" fmla="*/ 24 h 102"/>
              <a:gd name="T36" fmla="*/ 108 w 120"/>
              <a:gd name="T37" fmla="*/ 30 h 102"/>
              <a:gd name="T38" fmla="*/ 108 w 120"/>
              <a:gd name="T39" fmla="*/ 36 h 102"/>
              <a:gd name="T40" fmla="*/ 114 w 120"/>
              <a:gd name="T41" fmla="*/ 48 h 102"/>
              <a:gd name="T42" fmla="*/ 114 w 120"/>
              <a:gd name="T43" fmla="*/ 48 h 102"/>
              <a:gd name="T44" fmla="*/ 114 w 120"/>
              <a:gd name="T45" fmla="*/ 48 h 102"/>
              <a:gd name="T46" fmla="*/ 120 w 120"/>
              <a:gd name="T47" fmla="*/ 48 h 102"/>
              <a:gd name="T48" fmla="*/ 120 w 120"/>
              <a:gd name="T49" fmla="*/ 54 h 102"/>
              <a:gd name="T50" fmla="*/ 120 w 120"/>
              <a:gd name="T51" fmla="*/ 60 h 102"/>
              <a:gd name="T52" fmla="*/ 120 w 120"/>
              <a:gd name="T53" fmla="*/ 60 h 102"/>
              <a:gd name="T54" fmla="*/ 114 w 120"/>
              <a:gd name="T55" fmla="*/ 66 h 102"/>
              <a:gd name="T56" fmla="*/ 108 w 120"/>
              <a:gd name="T57" fmla="*/ 72 h 102"/>
              <a:gd name="T58" fmla="*/ 102 w 120"/>
              <a:gd name="T59" fmla="*/ 72 h 102"/>
              <a:gd name="T60" fmla="*/ 96 w 120"/>
              <a:gd name="T61" fmla="*/ 72 h 102"/>
              <a:gd name="T62" fmla="*/ 90 w 120"/>
              <a:gd name="T63" fmla="*/ 72 h 102"/>
              <a:gd name="T64" fmla="*/ 90 w 120"/>
              <a:gd name="T65" fmla="*/ 72 h 102"/>
              <a:gd name="T66" fmla="*/ 90 w 120"/>
              <a:gd name="T67" fmla="*/ 78 h 102"/>
              <a:gd name="T68" fmla="*/ 90 w 120"/>
              <a:gd name="T69" fmla="*/ 78 h 102"/>
              <a:gd name="T70" fmla="*/ 84 w 120"/>
              <a:gd name="T71" fmla="*/ 84 h 102"/>
              <a:gd name="T72" fmla="*/ 78 w 120"/>
              <a:gd name="T73" fmla="*/ 90 h 102"/>
              <a:gd name="T74" fmla="*/ 78 w 120"/>
              <a:gd name="T75" fmla="*/ 96 h 102"/>
              <a:gd name="T76" fmla="*/ 78 w 120"/>
              <a:gd name="T77" fmla="*/ 96 h 102"/>
              <a:gd name="T78" fmla="*/ 72 w 120"/>
              <a:gd name="T79" fmla="*/ 96 h 102"/>
              <a:gd name="T80" fmla="*/ 66 w 120"/>
              <a:gd name="T81" fmla="*/ 96 h 102"/>
              <a:gd name="T82" fmla="*/ 66 w 120"/>
              <a:gd name="T83" fmla="*/ 96 h 102"/>
              <a:gd name="T84" fmla="*/ 60 w 120"/>
              <a:gd name="T85" fmla="*/ 96 h 102"/>
              <a:gd name="T86" fmla="*/ 54 w 120"/>
              <a:gd name="T87" fmla="*/ 96 h 102"/>
              <a:gd name="T88" fmla="*/ 48 w 120"/>
              <a:gd name="T89" fmla="*/ 96 h 102"/>
              <a:gd name="T90" fmla="*/ 54 w 120"/>
              <a:gd name="T91" fmla="*/ 90 h 102"/>
              <a:gd name="T92" fmla="*/ 54 w 120"/>
              <a:gd name="T93" fmla="*/ 78 h 102"/>
              <a:gd name="T94" fmla="*/ 48 w 120"/>
              <a:gd name="T95" fmla="*/ 72 h 102"/>
              <a:gd name="T96" fmla="*/ 48 w 120"/>
              <a:gd name="T97" fmla="*/ 72 h 102"/>
              <a:gd name="T98" fmla="*/ 42 w 120"/>
              <a:gd name="T99" fmla="*/ 66 h 102"/>
              <a:gd name="T100" fmla="*/ 36 w 120"/>
              <a:gd name="T101" fmla="*/ 66 h 102"/>
              <a:gd name="T102" fmla="*/ 30 w 120"/>
              <a:gd name="T103" fmla="*/ 66 h 102"/>
              <a:gd name="T104" fmla="*/ 24 w 120"/>
              <a:gd name="T105" fmla="*/ 54 h 102"/>
              <a:gd name="T106" fmla="*/ 24 w 120"/>
              <a:gd name="T107" fmla="*/ 54 h 102"/>
              <a:gd name="T108" fmla="*/ 18 w 120"/>
              <a:gd name="T109" fmla="*/ 54 h 102"/>
              <a:gd name="T110" fmla="*/ 12 w 120"/>
              <a:gd name="T111" fmla="*/ 54 h 102"/>
              <a:gd name="T112" fmla="*/ 6 w 120"/>
              <a:gd name="T113" fmla="*/ 54 h 102"/>
              <a:gd name="T114" fmla="*/ 0 w 120"/>
              <a:gd name="T115" fmla="*/ 54 h 102"/>
              <a:gd name="T116" fmla="*/ 6 w 120"/>
              <a:gd name="T117" fmla="*/ 48 h 102"/>
              <a:gd name="T118" fmla="*/ 6 w 120"/>
              <a:gd name="T119" fmla="*/ 42 h 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20" h="102">
                <a:moveTo>
                  <a:pt x="6" y="42"/>
                </a:move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12" y="36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8" y="30"/>
                </a:lnTo>
                <a:lnTo>
                  <a:pt x="18" y="30"/>
                </a:lnTo>
                <a:lnTo>
                  <a:pt x="18" y="24"/>
                </a:lnTo>
                <a:lnTo>
                  <a:pt x="18" y="24"/>
                </a:lnTo>
                <a:lnTo>
                  <a:pt x="24" y="24"/>
                </a:lnTo>
                <a:lnTo>
                  <a:pt x="24" y="24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30" y="18"/>
                </a:lnTo>
                <a:lnTo>
                  <a:pt x="30" y="24"/>
                </a:lnTo>
                <a:lnTo>
                  <a:pt x="30" y="24"/>
                </a:lnTo>
                <a:lnTo>
                  <a:pt x="30" y="18"/>
                </a:lnTo>
                <a:lnTo>
                  <a:pt x="30" y="18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54" y="0"/>
                </a:lnTo>
                <a:lnTo>
                  <a:pt x="60" y="0"/>
                </a:lnTo>
                <a:lnTo>
                  <a:pt x="60" y="6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78" y="6"/>
                </a:lnTo>
                <a:lnTo>
                  <a:pt x="78" y="6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84" y="6"/>
                </a:lnTo>
                <a:lnTo>
                  <a:pt x="84" y="6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90" y="12"/>
                </a:lnTo>
                <a:lnTo>
                  <a:pt x="90" y="12"/>
                </a:lnTo>
                <a:lnTo>
                  <a:pt x="96" y="12"/>
                </a:lnTo>
                <a:lnTo>
                  <a:pt x="96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8"/>
                </a:lnTo>
                <a:lnTo>
                  <a:pt x="96" y="18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42"/>
                </a:lnTo>
                <a:lnTo>
                  <a:pt x="108" y="42"/>
                </a:lnTo>
                <a:lnTo>
                  <a:pt x="114" y="42"/>
                </a:lnTo>
                <a:lnTo>
                  <a:pt x="114" y="48"/>
                </a:lnTo>
                <a:lnTo>
                  <a:pt x="108" y="48"/>
                </a:lnTo>
                <a:lnTo>
                  <a:pt x="108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2"/>
                </a:lnTo>
                <a:lnTo>
                  <a:pt x="114" y="42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6"/>
                </a:lnTo>
                <a:lnTo>
                  <a:pt x="120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102"/>
                </a:lnTo>
                <a:lnTo>
                  <a:pt x="66" y="102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84"/>
                </a:lnTo>
                <a:lnTo>
                  <a:pt x="54" y="78"/>
                </a:lnTo>
                <a:lnTo>
                  <a:pt x="54" y="78"/>
                </a:lnTo>
                <a:lnTo>
                  <a:pt x="48" y="78"/>
                </a:lnTo>
                <a:lnTo>
                  <a:pt x="54" y="78"/>
                </a:lnTo>
                <a:lnTo>
                  <a:pt x="54" y="78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0"/>
                </a:lnTo>
                <a:lnTo>
                  <a:pt x="30" y="60"/>
                </a:lnTo>
                <a:lnTo>
                  <a:pt x="30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48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12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28" name="Freeform 361"/>
          <p:cNvSpPr>
            <a:spLocks/>
          </p:cNvSpPr>
          <p:nvPr/>
        </p:nvSpPr>
        <p:spPr bwMode="auto">
          <a:xfrm>
            <a:off x="7346506" y="4224941"/>
            <a:ext cx="102785" cy="89937"/>
          </a:xfrm>
          <a:custGeom>
            <a:avLst/>
            <a:gdLst>
              <a:gd name="T0" fmla="*/ 6 w 96"/>
              <a:gd name="T1" fmla="*/ 36 h 84"/>
              <a:gd name="T2" fmla="*/ 6 w 96"/>
              <a:gd name="T3" fmla="*/ 36 h 84"/>
              <a:gd name="T4" fmla="*/ 12 w 96"/>
              <a:gd name="T5" fmla="*/ 30 h 84"/>
              <a:gd name="T6" fmla="*/ 24 w 96"/>
              <a:gd name="T7" fmla="*/ 30 h 84"/>
              <a:gd name="T8" fmla="*/ 24 w 96"/>
              <a:gd name="T9" fmla="*/ 24 h 84"/>
              <a:gd name="T10" fmla="*/ 30 w 96"/>
              <a:gd name="T11" fmla="*/ 24 h 84"/>
              <a:gd name="T12" fmla="*/ 36 w 96"/>
              <a:gd name="T13" fmla="*/ 18 h 84"/>
              <a:gd name="T14" fmla="*/ 42 w 96"/>
              <a:gd name="T15" fmla="*/ 12 h 84"/>
              <a:gd name="T16" fmla="*/ 42 w 96"/>
              <a:gd name="T17" fmla="*/ 12 h 84"/>
              <a:gd name="T18" fmla="*/ 54 w 96"/>
              <a:gd name="T19" fmla="*/ 12 h 84"/>
              <a:gd name="T20" fmla="*/ 60 w 96"/>
              <a:gd name="T21" fmla="*/ 12 h 84"/>
              <a:gd name="T22" fmla="*/ 66 w 96"/>
              <a:gd name="T23" fmla="*/ 12 h 84"/>
              <a:gd name="T24" fmla="*/ 72 w 96"/>
              <a:gd name="T25" fmla="*/ 6 h 84"/>
              <a:gd name="T26" fmla="*/ 72 w 96"/>
              <a:gd name="T27" fmla="*/ 6 h 84"/>
              <a:gd name="T28" fmla="*/ 78 w 96"/>
              <a:gd name="T29" fmla="*/ 6 h 84"/>
              <a:gd name="T30" fmla="*/ 84 w 96"/>
              <a:gd name="T31" fmla="*/ 0 h 84"/>
              <a:gd name="T32" fmla="*/ 90 w 96"/>
              <a:gd name="T33" fmla="*/ 6 h 84"/>
              <a:gd name="T34" fmla="*/ 96 w 96"/>
              <a:gd name="T35" fmla="*/ 12 h 84"/>
              <a:gd name="T36" fmla="*/ 96 w 96"/>
              <a:gd name="T37" fmla="*/ 12 h 84"/>
              <a:gd name="T38" fmla="*/ 96 w 96"/>
              <a:gd name="T39" fmla="*/ 18 h 84"/>
              <a:gd name="T40" fmla="*/ 96 w 96"/>
              <a:gd name="T41" fmla="*/ 18 h 84"/>
              <a:gd name="T42" fmla="*/ 96 w 96"/>
              <a:gd name="T43" fmla="*/ 24 h 84"/>
              <a:gd name="T44" fmla="*/ 90 w 96"/>
              <a:gd name="T45" fmla="*/ 24 h 84"/>
              <a:gd name="T46" fmla="*/ 84 w 96"/>
              <a:gd name="T47" fmla="*/ 24 h 84"/>
              <a:gd name="T48" fmla="*/ 84 w 96"/>
              <a:gd name="T49" fmla="*/ 24 h 84"/>
              <a:gd name="T50" fmla="*/ 72 w 96"/>
              <a:gd name="T51" fmla="*/ 30 h 84"/>
              <a:gd name="T52" fmla="*/ 72 w 96"/>
              <a:gd name="T53" fmla="*/ 30 h 84"/>
              <a:gd name="T54" fmla="*/ 72 w 96"/>
              <a:gd name="T55" fmla="*/ 30 h 84"/>
              <a:gd name="T56" fmla="*/ 72 w 96"/>
              <a:gd name="T57" fmla="*/ 36 h 84"/>
              <a:gd name="T58" fmla="*/ 66 w 96"/>
              <a:gd name="T59" fmla="*/ 42 h 84"/>
              <a:gd name="T60" fmla="*/ 72 w 96"/>
              <a:gd name="T61" fmla="*/ 42 h 84"/>
              <a:gd name="T62" fmla="*/ 72 w 96"/>
              <a:gd name="T63" fmla="*/ 42 h 84"/>
              <a:gd name="T64" fmla="*/ 72 w 96"/>
              <a:gd name="T65" fmla="*/ 48 h 84"/>
              <a:gd name="T66" fmla="*/ 72 w 96"/>
              <a:gd name="T67" fmla="*/ 60 h 84"/>
              <a:gd name="T68" fmla="*/ 72 w 96"/>
              <a:gd name="T69" fmla="*/ 60 h 84"/>
              <a:gd name="T70" fmla="*/ 66 w 96"/>
              <a:gd name="T71" fmla="*/ 66 h 84"/>
              <a:gd name="T72" fmla="*/ 66 w 96"/>
              <a:gd name="T73" fmla="*/ 66 h 84"/>
              <a:gd name="T74" fmla="*/ 60 w 96"/>
              <a:gd name="T75" fmla="*/ 66 h 84"/>
              <a:gd name="T76" fmla="*/ 54 w 96"/>
              <a:gd name="T77" fmla="*/ 66 h 84"/>
              <a:gd name="T78" fmla="*/ 54 w 96"/>
              <a:gd name="T79" fmla="*/ 72 h 84"/>
              <a:gd name="T80" fmla="*/ 48 w 96"/>
              <a:gd name="T81" fmla="*/ 72 h 84"/>
              <a:gd name="T82" fmla="*/ 42 w 96"/>
              <a:gd name="T83" fmla="*/ 78 h 84"/>
              <a:gd name="T84" fmla="*/ 42 w 96"/>
              <a:gd name="T85" fmla="*/ 78 h 84"/>
              <a:gd name="T86" fmla="*/ 36 w 96"/>
              <a:gd name="T87" fmla="*/ 78 h 84"/>
              <a:gd name="T88" fmla="*/ 30 w 96"/>
              <a:gd name="T89" fmla="*/ 78 h 84"/>
              <a:gd name="T90" fmla="*/ 24 w 96"/>
              <a:gd name="T91" fmla="*/ 78 h 84"/>
              <a:gd name="T92" fmla="*/ 18 w 96"/>
              <a:gd name="T93" fmla="*/ 84 h 84"/>
              <a:gd name="T94" fmla="*/ 18 w 96"/>
              <a:gd name="T95" fmla="*/ 78 h 84"/>
              <a:gd name="T96" fmla="*/ 12 w 96"/>
              <a:gd name="T97" fmla="*/ 72 h 84"/>
              <a:gd name="T98" fmla="*/ 12 w 96"/>
              <a:gd name="T99" fmla="*/ 60 h 84"/>
              <a:gd name="T100" fmla="*/ 18 w 96"/>
              <a:gd name="T101" fmla="*/ 60 h 84"/>
              <a:gd name="T102" fmla="*/ 18 w 96"/>
              <a:gd name="T103" fmla="*/ 60 h 84"/>
              <a:gd name="T104" fmla="*/ 12 w 96"/>
              <a:gd name="T105" fmla="*/ 54 h 84"/>
              <a:gd name="T106" fmla="*/ 12 w 96"/>
              <a:gd name="T107" fmla="*/ 54 h 84"/>
              <a:gd name="T108" fmla="*/ 6 w 96"/>
              <a:gd name="T109" fmla="*/ 48 h 84"/>
              <a:gd name="T110" fmla="*/ 6 w 96"/>
              <a:gd name="T111" fmla="*/ 42 h 84"/>
              <a:gd name="T112" fmla="*/ 0 w 96"/>
              <a:gd name="T113" fmla="*/ 42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6" h="84">
                <a:moveTo>
                  <a:pt x="0" y="42"/>
                </a:moveTo>
                <a:lnTo>
                  <a:pt x="0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8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24"/>
                </a:lnTo>
                <a:lnTo>
                  <a:pt x="24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54" y="6"/>
                </a:lnTo>
                <a:lnTo>
                  <a:pt x="54" y="12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6" y="12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84" y="6"/>
                </a:lnTo>
                <a:lnTo>
                  <a:pt x="84" y="0"/>
                </a:lnTo>
                <a:lnTo>
                  <a:pt x="84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0" y="6"/>
                </a:lnTo>
                <a:lnTo>
                  <a:pt x="96" y="6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30"/>
                </a:lnTo>
                <a:lnTo>
                  <a:pt x="84" y="24"/>
                </a:lnTo>
                <a:lnTo>
                  <a:pt x="78" y="30"/>
                </a:lnTo>
                <a:lnTo>
                  <a:pt x="78" y="24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66" y="36"/>
                </a:lnTo>
                <a:lnTo>
                  <a:pt x="66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66" y="42"/>
                </a:lnTo>
                <a:lnTo>
                  <a:pt x="66" y="42"/>
                </a:lnTo>
                <a:lnTo>
                  <a:pt x="72" y="42"/>
                </a:lnTo>
                <a:lnTo>
                  <a:pt x="66" y="42"/>
                </a:lnTo>
                <a:lnTo>
                  <a:pt x="72" y="42"/>
                </a:lnTo>
                <a:lnTo>
                  <a:pt x="72" y="42"/>
                </a:lnTo>
                <a:lnTo>
                  <a:pt x="66" y="42"/>
                </a:lnTo>
                <a:lnTo>
                  <a:pt x="72" y="42"/>
                </a:lnTo>
                <a:lnTo>
                  <a:pt x="72" y="42"/>
                </a:lnTo>
                <a:lnTo>
                  <a:pt x="72" y="48"/>
                </a:lnTo>
                <a:lnTo>
                  <a:pt x="66" y="48"/>
                </a:lnTo>
                <a:lnTo>
                  <a:pt x="66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54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6"/>
                </a:lnTo>
                <a:lnTo>
                  <a:pt x="72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54" y="66"/>
                </a:lnTo>
                <a:lnTo>
                  <a:pt x="54" y="66"/>
                </a:lnTo>
                <a:lnTo>
                  <a:pt x="54" y="72"/>
                </a:lnTo>
                <a:lnTo>
                  <a:pt x="48" y="72"/>
                </a:lnTo>
                <a:lnTo>
                  <a:pt x="48" y="72"/>
                </a:lnTo>
                <a:lnTo>
                  <a:pt x="54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8"/>
                </a:lnTo>
                <a:lnTo>
                  <a:pt x="48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78"/>
                </a:lnTo>
                <a:lnTo>
                  <a:pt x="18" y="78"/>
                </a:lnTo>
                <a:lnTo>
                  <a:pt x="12" y="78"/>
                </a:lnTo>
                <a:lnTo>
                  <a:pt x="18" y="78"/>
                </a:lnTo>
                <a:lnTo>
                  <a:pt x="18" y="78"/>
                </a:lnTo>
                <a:lnTo>
                  <a:pt x="18" y="72"/>
                </a:lnTo>
                <a:lnTo>
                  <a:pt x="12" y="72"/>
                </a:lnTo>
                <a:lnTo>
                  <a:pt x="12" y="72"/>
                </a:lnTo>
                <a:lnTo>
                  <a:pt x="12" y="66"/>
                </a:lnTo>
                <a:lnTo>
                  <a:pt x="18" y="66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2" y="60"/>
                </a:lnTo>
                <a:lnTo>
                  <a:pt x="12" y="60"/>
                </a:lnTo>
                <a:lnTo>
                  <a:pt x="18" y="60"/>
                </a:lnTo>
                <a:lnTo>
                  <a:pt x="18" y="60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29" name="Freeform 362"/>
          <p:cNvSpPr>
            <a:spLocks/>
          </p:cNvSpPr>
          <p:nvPr/>
        </p:nvSpPr>
        <p:spPr bwMode="auto">
          <a:xfrm>
            <a:off x="6556348" y="3858768"/>
            <a:ext cx="96361" cy="109210"/>
          </a:xfrm>
          <a:custGeom>
            <a:avLst/>
            <a:gdLst>
              <a:gd name="T0" fmla="*/ 6 w 90"/>
              <a:gd name="T1" fmla="*/ 60 h 102"/>
              <a:gd name="T2" fmla="*/ 12 w 90"/>
              <a:gd name="T3" fmla="*/ 42 h 102"/>
              <a:gd name="T4" fmla="*/ 24 w 90"/>
              <a:gd name="T5" fmla="*/ 36 h 102"/>
              <a:gd name="T6" fmla="*/ 24 w 90"/>
              <a:gd name="T7" fmla="*/ 30 h 102"/>
              <a:gd name="T8" fmla="*/ 30 w 90"/>
              <a:gd name="T9" fmla="*/ 30 h 102"/>
              <a:gd name="T10" fmla="*/ 42 w 90"/>
              <a:gd name="T11" fmla="*/ 24 h 102"/>
              <a:gd name="T12" fmla="*/ 54 w 90"/>
              <a:gd name="T13" fmla="*/ 18 h 102"/>
              <a:gd name="T14" fmla="*/ 60 w 90"/>
              <a:gd name="T15" fmla="*/ 12 h 102"/>
              <a:gd name="T16" fmla="*/ 72 w 90"/>
              <a:gd name="T17" fmla="*/ 6 h 102"/>
              <a:gd name="T18" fmla="*/ 78 w 90"/>
              <a:gd name="T19" fmla="*/ 6 h 102"/>
              <a:gd name="T20" fmla="*/ 84 w 90"/>
              <a:gd name="T21" fmla="*/ 0 h 102"/>
              <a:gd name="T22" fmla="*/ 84 w 90"/>
              <a:gd name="T23" fmla="*/ 6 h 102"/>
              <a:gd name="T24" fmla="*/ 84 w 90"/>
              <a:gd name="T25" fmla="*/ 12 h 102"/>
              <a:gd name="T26" fmla="*/ 84 w 90"/>
              <a:gd name="T27" fmla="*/ 18 h 102"/>
              <a:gd name="T28" fmla="*/ 90 w 90"/>
              <a:gd name="T29" fmla="*/ 24 h 102"/>
              <a:gd name="T30" fmla="*/ 84 w 90"/>
              <a:gd name="T31" fmla="*/ 30 h 102"/>
              <a:gd name="T32" fmla="*/ 84 w 90"/>
              <a:gd name="T33" fmla="*/ 36 h 102"/>
              <a:gd name="T34" fmla="*/ 78 w 90"/>
              <a:gd name="T35" fmla="*/ 36 h 102"/>
              <a:gd name="T36" fmla="*/ 78 w 90"/>
              <a:gd name="T37" fmla="*/ 42 h 102"/>
              <a:gd name="T38" fmla="*/ 84 w 90"/>
              <a:gd name="T39" fmla="*/ 48 h 102"/>
              <a:gd name="T40" fmla="*/ 84 w 90"/>
              <a:gd name="T41" fmla="*/ 48 h 102"/>
              <a:gd name="T42" fmla="*/ 84 w 90"/>
              <a:gd name="T43" fmla="*/ 54 h 102"/>
              <a:gd name="T44" fmla="*/ 84 w 90"/>
              <a:gd name="T45" fmla="*/ 60 h 102"/>
              <a:gd name="T46" fmla="*/ 84 w 90"/>
              <a:gd name="T47" fmla="*/ 66 h 102"/>
              <a:gd name="T48" fmla="*/ 84 w 90"/>
              <a:gd name="T49" fmla="*/ 72 h 102"/>
              <a:gd name="T50" fmla="*/ 84 w 90"/>
              <a:gd name="T51" fmla="*/ 78 h 102"/>
              <a:gd name="T52" fmla="*/ 90 w 90"/>
              <a:gd name="T53" fmla="*/ 84 h 102"/>
              <a:gd name="T54" fmla="*/ 90 w 90"/>
              <a:gd name="T55" fmla="*/ 90 h 102"/>
              <a:gd name="T56" fmla="*/ 90 w 90"/>
              <a:gd name="T57" fmla="*/ 96 h 102"/>
              <a:gd name="T58" fmla="*/ 84 w 90"/>
              <a:gd name="T59" fmla="*/ 96 h 102"/>
              <a:gd name="T60" fmla="*/ 78 w 90"/>
              <a:gd name="T61" fmla="*/ 96 h 102"/>
              <a:gd name="T62" fmla="*/ 78 w 90"/>
              <a:gd name="T63" fmla="*/ 96 h 102"/>
              <a:gd name="T64" fmla="*/ 72 w 90"/>
              <a:gd name="T65" fmla="*/ 96 h 102"/>
              <a:gd name="T66" fmla="*/ 72 w 90"/>
              <a:gd name="T67" fmla="*/ 96 h 102"/>
              <a:gd name="T68" fmla="*/ 66 w 90"/>
              <a:gd name="T69" fmla="*/ 96 h 102"/>
              <a:gd name="T70" fmla="*/ 66 w 90"/>
              <a:gd name="T71" fmla="*/ 96 h 102"/>
              <a:gd name="T72" fmla="*/ 60 w 90"/>
              <a:gd name="T73" fmla="*/ 96 h 102"/>
              <a:gd name="T74" fmla="*/ 60 w 90"/>
              <a:gd name="T75" fmla="*/ 102 h 102"/>
              <a:gd name="T76" fmla="*/ 54 w 90"/>
              <a:gd name="T77" fmla="*/ 96 h 102"/>
              <a:gd name="T78" fmla="*/ 54 w 90"/>
              <a:gd name="T79" fmla="*/ 102 h 102"/>
              <a:gd name="T80" fmla="*/ 54 w 90"/>
              <a:gd name="T81" fmla="*/ 96 h 102"/>
              <a:gd name="T82" fmla="*/ 48 w 90"/>
              <a:gd name="T83" fmla="*/ 102 h 102"/>
              <a:gd name="T84" fmla="*/ 48 w 90"/>
              <a:gd name="T85" fmla="*/ 102 h 102"/>
              <a:gd name="T86" fmla="*/ 42 w 90"/>
              <a:gd name="T87" fmla="*/ 102 h 102"/>
              <a:gd name="T88" fmla="*/ 36 w 90"/>
              <a:gd name="T89" fmla="*/ 102 h 102"/>
              <a:gd name="T90" fmla="*/ 30 w 90"/>
              <a:gd name="T91" fmla="*/ 102 h 102"/>
              <a:gd name="T92" fmla="*/ 30 w 90"/>
              <a:gd name="T93" fmla="*/ 102 h 102"/>
              <a:gd name="T94" fmla="*/ 30 w 90"/>
              <a:gd name="T95" fmla="*/ 102 h 102"/>
              <a:gd name="T96" fmla="*/ 24 w 90"/>
              <a:gd name="T97" fmla="*/ 102 h 102"/>
              <a:gd name="T98" fmla="*/ 24 w 90"/>
              <a:gd name="T99" fmla="*/ 102 h 102"/>
              <a:gd name="T100" fmla="*/ 24 w 90"/>
              <a:gd name="T101" fmla="*/ 102 h 102"/>
              <a:gd name="T102" fmla="*/ 18 w 90"/>
              <a:gd name="T103" fmla="*/ 96 h 102"/>
              <a:gd name="T104" fmla="*/ 18 w 90"/>
              <a:gd name="T105" fmla="*/ 90 h 102"/>
              <a:gd name="T106" fmla="*/ 18 w 90"/>
              <a:gd name="T107" fmla="*/ 84 h 102"/>
              <a:gd name="T108" fmla="*/ 12 w 90"/>
              <a:gd name="T109" fmla="*/ 78 h 102"/>
              <a:gd name="T110" fmla="*/ 6 w 90"/>
              <a:gd name="T111" fmla="*/ 72 h 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90" h="102">
                <a:moveTo>
                  <a:pt x="0" y="66"/>
                </a:move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8" y="36"/>
                </a:lnTo>
                <a:lnTo>
                  <a:pt x="18" y="36"/>
                </a:lnTo>
                <a:lnTo>
                  <a:pt x="24" y="36"/>
                </a:lnTo>
                <a:lnTo>
                  <a:pt x="24" y="36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8" y="18"/>
                </a:lnTo>
                <a:lnTo>
                  <a:pt x="54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2"/>
                </a:lnTo>
                <a:lnTo>
                  <a:pt x="66" y="12"/>
                </a:lnTo>
                <a:lnTo>
                  <a:pt x="66" y="12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30"/>
                </a:lnTo>
                <a:lnTo>
                  <a:pt x="90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6"/>
                </a:lnTo>
                <a:lnTo>
                  <a:pt x="84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60"/>
                </a:lnTo>
                <a:lnTo>
                  <a:pt x="84" y="60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84" y="90"/>
                </a:lnTo>
                <a:lnTo>
                  <a:pt x="90" y="96"/>
                </a:lnTo>
                <a:lnTo>
                  <a:pt x="84" y="90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102"/>
                </a:lnTo>
                <a:lnTo>
                  <a:pt x="60" y="102"/>
                </a:lnTo>
                <a:lnTo>
                  <a:pt x="54" y="96"/>
                </a:lnTo>
                <a:lnTo>
                  <a:pt x="54" y="102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96"/>
                </a:lnTo>
                <a:lnTo>
                  <a:pt x="54" y="102"/>
                </a:lnTo>
                <a:lnTo>
                  <a:pt x="54" y="96"/>
                </a:lnTo>
                <a:lnTo>
                  <a:pt x="48" y="96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2" y="102"/>
                </a:lnTo>
                <a:lnTo>
                  <a:pt x="48" y="102"/>
                </a:lnTo>
                <a:lnTo>
                  <a:pt x="48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84"/>
                </a:lnTo>
                <a:lnTo>
                  <a:pt x="12" y="84"/>
                </a:lnTo>
                <a:lnTo>
                  <a:pt x="12" y="84"/>
                </a:lnTo>
                <a:lnTo>
                  <a:pt x="12" y="78"/>
                </a:lnTo>
                <a:lnTo>
                  <a:pt x="12" y="78"/>
                </a:lnTo>
                <a:lnTo>
                  <a:pt x="6" y="78"/>
                </a:ln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lnTo>
                  <a:pt x="0" y="6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30" name="Freeform 363"/>
          <p:cNvSpPr>
            <a:spLocks/>
          </p:cNvSpPr>
          <p:nvPr/>
        </p:nvSpPr>
        <p:spPr bwMode="auto">
          <a:xfrm>
            <a:off x="6806886" y="4424088"/>
            <a:ext cx="192721" cy="128482"/>
          </a:xfrm>
          <a:custGeom>
            <a:avLst/>
            <a:gdLst>
              <a:gd name="T0" fmla="*/ 24 w 180"/>
              <a:gd name="T1" fmla="*/ 66 h 120"/>
              <a:gd name="T2" fmla="*/ 30 w 180"/>
              <a:gd name="T3" fmla="*/ 66 h 120"/>
              <a:gd name="T4" fmla="*/ 36 w 180"/>
              <a:gd name="T5" fmla="*/ 54 h 120"/>
              <a:gd name="T6" fmla="*/ 42 w 180"/>
              <a:gd name="T7" fmla="*/ 66 h 120"/>
              <a:gd name="T8" fmla="*/ 54 w 180"/>
              <a:gd name="T9" fmla="*/ 54 h 120"/>
              <a:gd name="T10" fmla="*/ 54 w 180"/>
              <a:gd name="T11" fmla="*/ 48 h 120"/>
              <a:gd name="T12" fmla="*/ 66 w 180"/>
              <a:gd name="T13" fmla="*/ 42 h 120"/>
              <a:gd name="T14" fmla="*/ 78 w 180"/>
              <a:gd name="T15" fmla="*/ 36 h 120"/>
              <a:gd name="T16" fmla="*/ 84 w 180"/>
              <a:gd name="T17" fmla="*/ 42 h 120"/>
              <a:gd name="T18" fmla="*/ 96 w 180"/>
              <a:gd name="T19" fmla="*/ 36 h 120"/>
              <a:gd name="T20" fmla="*/ 96 w 180"/>
              <a:gd name="T21" fmla="*/ 30 h 120"/>
              <a:gd name="T22" fmla="*/ 96 w 180"/>
              <a:gd name="T23" fmla="*/ 24 h 120"/>
              <a:gd name="T24" fmla="*/ 96 w 180"/>
              <a:gd name="T25" fmla="*/ 24 h 120"/>
              <a:gd name="T26" fmla="*/ 96 w 180"/>
              <a:gd name="T27" fmla="*/ 18 h 120"/>
              <a:gd name="T28" fmla="*/ 114 w 180"/>
              <a:gd name="T29" fmla="*/ 12 h 120"/>
              <a:gd name="T30" fmla="*/ 126 w 180"/>
              <a:gd name="T31" fmla="*/ 0 h 120"/>
              <a:gd name="T32" fmla="*/ 132 w 180"/>
              <a:gd name="T33" fmla="*/ 0 h 120"/>
              <a:gd name="T34" fmla="*/ 138 w 180"/>
              <a:gd name="T35" fmla="*/ 0 h 120"/>
              <a:gd name="T36" fmla="*/ 144 w 180"/>
              <a:gd name="T37" fmla="*/ 6 h 120"/>
              <a:gd name="T38" fmla="*/ 150 w 180"/>
              <a:gd name="T39" fmla="*/ 6 h 120"/>
              <a:gd name="T40" fmla="*/ 150 w 180"/>
              <a:gd name="T41" fmla="*/ 18 h 120"/>
              <a:gd name="T42" fmla="*/ 156 w 180"/>
              <a:gd name="T43" fmla="*/ 24 h 120"/>
              <a:gd name="T44" fmla="*/ 162 w 180"/>
              <a:gd name="T45" fmla="*/ 24 h 120"/>
              <a:gd name="T46" fmla="*/ 168 w 180"/>
              <a:gd name="T47" fmla="*/ 30 h 120"/>
              <a:gd name="T48" fmla="*/ 174 w 180"/>
              <a:gd name="T49" fmla="*/ 36 h 120"/>
              <a:gd name="T50" fmla="*/ 168 w 180"/>
              <a:gd name="T51" fmla="*/ 42 h 120"/>
              <a:gd name="T52" fmla="*/ 162 w 180"/>
              <a:gd name="T53" fmla="*/ 48 h 120"/>
              <a:gd name="T54" fmla="*/ 156 w 180"/>
              <a:gd name="T55" fmla="*/ 48 h 120"/>
              <a:gd name="T56" fmla="*/ 144 w 180"/>
              <a:gd name="T57" fmla="*/ 60 h 120"/>
              <a:gd name="T58" fmla="*/ 132 w 180"/>
              <a:gd name="T59" fmla="*/ 60 h 120"/>
              <a:gd name="T60" fmla="*/ 126 w 180"/>
              <a:gd name="T61" fmla="*/ 60 h 120"/>
              <a:gd name="T62" fmla="*/ 126 w 180"/>
              <a:gd name="T63" fmla="*/ 66 h 120"/>
              <a:gd name="T64" fmla="*/ 120 w 180"/>
              <a:gd name="T65" fmla="*/ 78 h 120"/>
              <a:gd name="T66" fmla="*/ 126 w 180"/>
              <a:gd name="T67" fmla="*/ 78 h 120"/>
              <a:gd name="T68" fmla="*/ 120 w 180"/>
              <a:gd name="T69" fmla="*/ 90 h 120"/>
              <a:gd name="T70" fmla="*/ 120 w 180"/>
              <a:gd name="T71" fmla="*/ 96 h 120"/>
              <a:gd name="T72" fmla="*/ 114 w 180"/>
              <a:gd name="T73" fmla="*/ 102 h 120"/>
              <a:gd name="T74" fmla="*/ 108 w 180"/>
              <a:gd name="T75" fmla="*/ 108 h 120"/>
              <a:gd name="T76" fmla="*/ 102 w 180"/>
              <a:gd name="T77" fmla="*/ 114 h 120"/>
              <a:gd name="T78" fmla="*/ 96 w 180"/>
              <a:gd name="T79" fmla="*/ 108 h 120"/>
              <a:gd name="T80" fmla="*/ 84 w 180"/>
              <a:gd name="T81" fmla="*/ 114 h 120"/>
              <a:gd name="T82" fmla="*/ 84 w 180"/>
              <a:gd name="T83" fmla="*/ 108 h 120"/>
              <a:gd name="T84" fmla="*/ 78 w 180"/>
              <a:gd name="T85" fmla="*/ 114 h 120"/>
              <a:gd name="T86" fmla="*/ 66 w 180"/>
              <a:gd name="T87" fmla="*/ 108 h 120"/>
              <a:gd name="T88" fmla="*/ 60 w 180"/>
              <a:gd name="T89" fmla="*/ 108 h 120"/>
              <a:gd name="T90" fmla="*/ 54 w 180"/>
              <a:gd name="T91" fmla="*/ 108 h 120"/>
              <a:gd name="T92" fmla="*/ 42 w 180"/>
              <a:gd name="T93" fmla="*/ 108 h 120"/>
              <a:gd name="T94" fmla="*/ 42 w 180"/>
              <a:gd name="T95" fmla="*/ 108 h 120"/>
              <a:gd name="T96" fmla="*/ 36 w 180"/>
              <a:gd name="T97" fmla="*/ 108 h 120"/>
              <a:gd name="T98" fmla="*/ 30 w 180"/>
              <a:gd name="T99" fmla="*/ 114 h 120"/>
              <a:gd name="T100" fmla="*/ 18 w 180"/>
              <a:gd name="T101" fmla="*/ 108 h 120"/>
              <a:gd name="T102" fmla="*/ 12 w 180"/>
              <a:gd name="T103" fmla="*/ 114 h 120"/>
              <a:gd name="T104" fmla="*/ 0 w 180"/>
              <a:gd name="T105" fmla="*/ 108 h 120"/>
              <a:gd name="T106" fmla="*/ 0 w 180"/>
              <a:gd name="T107" fmla="*/ 102 h 120"/>
              <a:gd name="T108" fmla="*/ 0 w 180"/>
              <a:gd name="T109" fmla="*/ 96 h 120"/>
              <a:gd name="T110" fmla="*/ 6 w 180"/>
              <a:gd name="T111" fmla="*/ 90 h 120"/>
              <a:gd name="T112" fmla="*/ 6 w 180"/>
              <a:gd name="T113" fmla="*/ 84 h 120"/>
              <a:gd name="T114" fmla="*/ 12 w 180"/>
              <a:gd name="T115" fmla="*/ 78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80" h="120">
                <a:moveTo>
                  <a:pt x="6" y="78"/>
                </a:move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8" y="72"/>
                </a:lnTo>
                <a:lnTo>
                  <a:pt x="18" y="72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54"/>
                </a:lnTo>
                <a:lnTo>
                  <a:pt x="30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42" y="60"/>
                </a:lnTo>
                <a:lnTo>
                  <a:pt x="42" y="60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0"/>
                </a:lnTo>
                <a:lnTo>
                  <a:pt x="42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8"/>
                </a:lnTo>
                <a:lnTo>
                  <a:pt x="66" y="48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36"/>
                </a:lnTo>
                <a:lnTo>
                  <a:pt x="72" y="42"/>
                </a:lnTo>
                <a:lnTo>
                  <a:pt x="72" y="42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90" y="42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102" y="24"/>
                </a:lnTo>
                <a:lnTo>
                  <a:pt x="102" y="24"/>
                </a:lnTo>
                <a:lnTo>
                  <a:pt x="96" y="24"/>
                </a:lnTo>
                <a:lnTo>
                  <a:pt x="102" y="24"/>
                </a:lnTo>
                <a:lnTo>
                  <a:pt x="96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102" y="18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8" y="12"/>
                </a:lnTo>
                <a:lnTo>
                  <a:pt x="108" y="6"/>
                </a:lnTo>
                <a:lnTo>
                  <a:pt x="114" y="12"/>
                </a:lnTo>
                <a:lnTo>
                  <a:pt x="114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6" y="0"/>
                </a:lnTo>
                <a:lnTo>
                  <a:pt x="126" y="0"/>
                </a:lnTo>
                <a:lnTo>
                  <a:pt x="126" y="0"/>
                </a:lnTo>
                <a:lnTo>
                  <a:pt x="126" y="0"/>
                </a:lnTo>
                <a:lnTo>
                  <a:pt x="126" y="0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0"/>
                </a:lnTo>
                <a:lnTo>
                  <a:pt x="132" y="0"/>
                </a:lnTo>
                <a:lnTo>
                  <a:pt x="132" y="0"/>
                </a:lnTo>
                <a:lnTo>
                  <a:pt x="132" y="0"/>
                </a:lnTo>
                <a:lnTo>
                  <a:pt x="132" y="0"/>
                </a:lnTo>
                <a:lnTo>
                  <a:pt x="132" y="0"/>
                </a:lnTo>
                <a:lnTo>
                  <a:pt x="132" y="0"/>
                </a:lnTo>
                <a:lnTo>
                  <a:pt x="132" y="0"/>
                </a:lnTo>
                <a:lnTo>
                  <a:pt x="132" y="0"/>
                </a:lnTo>
                <a:lnTo>
                  <a:pt x="138" y="0"/>
                </a:lnTo>
                <a:lnTo>
                  <a:pt x="138" y="0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44" y="6"/>
                </a:lnTo>
                <a:lnTo>
                  <a:pt x="150" y="6"/>
                </a:lnTo>
                <a:lnTo>
                  <a:pt x="150" y="12"/>
                </a:lnTo>
                <a:lnTo>
                  <a:pt x="150" y="6"/>
                </a:lnTo>
                <a:lnTo>
                  <a:pt x="150" y="6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30"/>
                </a:lnTo>
                <a:lnTo>
                  <a:pt x="168" y="30"/>
                </a:lnTo>
                <a:lnTo>
                  <a:pt x="168" y="30"/>
                </a:lnTo>
                <a:lnTo>
                  <a:pt x="168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80" y="36"/>
                </a:lnTo>
                <a:lnTo>
                  <a:pt x="180" y="36"/>
                </a:lnTo>
                <a:lnTo>
                  <a:pt x="174" y="36"/>
                </a:lnTo>
                <a:lnTo>
                  <a:pt x="168" y="42"/>
                </a:lnTo>
                <a:lnTo>
                  <a:pt x="168" y="42"/>
                </a:lnTo>
                <a:lnTo>
                  <a:pt x="168" y="42"/>
                </a:lnTo>
                <a:lnTo>
                  <a:pt x="168" y="42"/>
                </a:lnTo>
                <a:lnTo>
                  <a:pt x="168" y="42"/>
                </a:lnTo>
                <a:lnTo>
                  <a:pt x="168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50" y="48"/>
                </a:lnTo>
                <a:lnTo>
                  <a:pt x="156" y="48"/>
                </a:lnTo>
                <a:lnTo>
                  <a:pt x="150" y="48"/>
                </a:lnTo>
                <a:lnTo>
                  <a:pt x="150" y="54"/>
                </a:lnTo>
                <a:lnTo>
                  <a:pt x="150" y="54"/>
                </a:lnTo>
                <a:lnTo>
                  <a:pt x="150" y="54"/>
                </a:lnTo>
                <a:lnTo>
                  <a:pt x="150" y="54"/>
                </a:lnTo>
                <a:lnTo>
                  <a:pt x="150" y="54"/>
                </a:lnTo>
                <a:lnTo>
                  <a:pt x="144" y="54"/>
                </a:lnTo>
                <a:lnTo>
                  <a:pt x="144" y="60"/>
                </a:lnTo>
                <a:lnTo>
                  <a:pt x="144" y="60"/>
                </a:lnTo>
                <a:lnTo>
                  <a:pt x="144" y="60"/>
                </a:lnTo>
                <a:lnTo>
                  <a:pt x="138" y="54"/>
                </a:lnTo>
                <a:lnTo>
                  <a:pt x="138" y="60"/>
                </a:lnTo>
                <a:lnTo>
                  <a:pt x="138" y="60"/>
                </a:lnTo>
                <a:lnTo>
                  <a:pt x="132" y="60"/>
                </a:lnTo>
                <a:lnTo>
                  <a:pt x="132" y="60"/>
                </a:lnTo>
                <a:lnTo>
                  <a:pt x="138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66"/>
                </a:lnTo>
                <a:lnTo>
                  <a:pt x="126" y="66"/>
                </a:lnTo>
                <a:lnTo>
                  <a:pt x="126" y="60"/>
                </a:lnTo>
                <a:lnTo>
                  <a:pt x="132" y="60"/>
                </a:lnTo>
                <a:lnTo>
                  <a:pt x="132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0" y="60"/>
                </a:lnTo>
                <a:lnTo>
                  <a:pt x="120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72"/>
                </a:lnTo>
                <a:lnTo>
                  <a:pt x="126" y="72"/>
                </a:lnTo>
                <a:lnTo>
                  <a:pt x="126" y="72"/>
                </a:lnTo>
                <a:lnTo>
                  <a:pt x="120" y="72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14" y="90"/>
                </a:lnTo>
                <a:lnTo>
                  <a:pt x="114" y="96"/>
                </a:lnTo>
                <a:lnTo>
                  <a:pt x="114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102"/>
                </a:lnTo>
                <a:lnTo>
                  <a:pt x="114" y="102"/>
                </a:lnTo>
                <a:lnTo>
                  <a:pt x="114" y="96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08" y="108"/>
                </a:lnTo>
                <a:lnTo>
                  <a:pt x="108" y="114"/>
                </a:lnTo>
                <a:lnTo>
                  <a:pt x="108" y="108"/>
                </a:lnTo>
                <a:lnTo>
                  <a:pt x="108" y="108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20"/>
                </a:lnTo>
                <a:lnTo>
                  <a:pt x="102" y="120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08"/>
                </a:lnTo>
                <a:lnTo>
                  <a:pt x="96" y="108"/>
                </a:lnTo>
                <a:lnTo>
                  <a:pt x="96" y="114"/>
                </a:lnTo>
                <a:lnTo>
                  <a:pt x="96" y="108"/>
                </a:lnTo>
                <a:lnTo>
                  <a:pt x="96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14"/>
                </a:lnTo>
                <a:lnTo>
                  <a:pt x="48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08"/>
                </a:lnTo>
                <a:lnTo>
                  <a:pt x="30" y="108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08"/>
                </a:lnTo>
                <a:lnTo>
                  <a:pt x="30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14"/>
                </a:lnTo>
                <a:lnTo>
                  <a:pt x="18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6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0" y="90"/>
                </a:lnTo>
                <a:lnTo>
                  <a:pt x="0" y="90"/>
                </a:lnTo>
                <a:lnTo>
                  <a:pt x="6" y="90"/>
                </a:lnTo>
                <a:lnTo>
                  <a:pt x="6" y="90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6" y="84"/>
                </a:lnTo>
                <a:lnTo>
                  <a:pt x="6" y="84"/>
                </a:lnTo>
                <a:lnTo>
                  <a:pt x="6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31" name="Freeform 364"/>
          <p:cNvSpPr>
            <a:spLocks/>
          </p:cNvSpPr>
          <p:nvPr/>
        </p:nvSpPr>
        <p:spPr bwMode="auto">
          <a:xfrm>
            <a:off x="6543500" y="3987250"/>
            <a:ext cx="128481" cy="122058"/>
          </a:xfrm>
          <a:custGeom>
            <a:avLst/>
            <a:gdLst>
              <a:gd name="T0" fmla="*/ 6 w 120"/>
              <a:gd name="T1" fmla="*/ 78 h 114"/>
              <a:gd name="T2" fmla="*/ 6 w 120"/>
              <a:gd name="T3" fmla="*/ 66 h 114"/>
              <a:gd name="T4" fmla="*/ 12 w 120"/>
              <a:gd name="T5" fmla="*/ 66 h 114"/>
              <a:gd name="T6" fmla="*/ 12 w 120"/>
              <a:gd name="T7" fmla="*/ 60 h 114"/>
              <a:gd name="T8" fmla="*/ 18 w 120"/>
              <a:gd name="T9" fmla="*/ 60 h 114"/>
              <a:gd name="T10" fmla="*/ 18 w 120"/>
              <a:gd name="T11" fmla="*/ 48 h 114"/>
              <a:gd name="T12" fmla="*/ 24 w 120"/>
              <a:gd name="T13" fmla="*/ 48 h 114"/>
              <a:gd name="T14" fmla="*/ 30 w 120"/>
              <a:gd name="T15" fmla="*/ 42 h 114"/>
              <a:gd name="T16" fmla="*/ 36 w 120"/>
              <a:gd name="T17" fmla="*/ 36 h 114"/>
              <a:gd name="T18" fmla="*/ 42 w 120"/>
              <a:gd name="T19" fmla="*/ 30 h 114"/>
              <a:gd name="T20" fmla="*/ 42 w 120"/>
              <a:gd name="T21" fmla="*/ 18 h 114"/>
              <a:gd name="T22" fmla="*/ 48 w 120"/>
              <a:gd name="T23" fmla="*/ 12 h 114"/>
              <a:gd name="T24" fmla="*/ 54 w 120"/>
              <a:gd name="T25" fmla="*/ 0 h 114"/>
              <a:gd name="T26" fmla="*/ 60 w 120"/>
              <a:gd name="T27" fmla="*/ 0 h 114"/>
              <a:gd name="T28" fmla="*/ 66 w 120"/>
              <a:gd name="T29" fmla="*/ 0 h 114"/>
              <a:gd name="T30" fmla="*/ 66 w 120"/>
              <a:gd name="T31" fmla="*/ 6 h 114"/>
              <a:gd name="T32" fmla="*/ 72 w 120"/>
              <a:gd name="T33" fmla="*/ 6 h 114"/>
              <a:gd name="T34" fmla="*/ 78 w 120"/>
              <a:gd name="T35" fmla="*/ 12 h 114"/>
              <a:gd name="T36" fmla="*/ 102 w 120"/>
              <a:gd name="T37" fmla="*/ 12 h 114"/>
              <a:gd name="T38" fmla="*/ 108 w 120"/>
              <a:gd name="T39" fmla="*/ 18 h 114"/>
              <a:gd name="T40" fmla="*/ 114 w 120"/>
              <a:gd name="T41" fmla="*/ 24 h 114"/>
              <a:gd name="T42" fmla="*/ 114 w 120"/>
              <a:gd name="T43" fmla="*/ 24 h 114"/>
              <a:gd name="T44" fmla="*/ 120 w 120"/>
              <a:gd name="T45" fmla="*/ 24 h 114"/>
              <a:gd name="T46" fmla="*/ 120 w 120"/>
              <a:gd name="T47" fmla="*/ 30 h 114"/>
              <a:gd name="T48" fmla="*/ 120 w 120"/>
              <a:gd name="T49" fmla="*/ 36 h 114"/>
              <a:gd name="T50" fmla="*/ 114 w 120"/>
              <a:gd name="T51" fmla="*/ 42 h 114"/>
              <a:gd name="T52" fmla="*/ 108 w 120"/>
              <a:gd name="T53" fmla="*/ 48 h 114"/>
              <a:gd name="T54" fmla="*/ 114 w 120"/>
              <a:gd name="T55" fmla="*/ 54 h 114"/>
              <a:gd name="T56" fmla="*/ 108 w 120"/>
              <a:gd name="T57" fmla="*/ 54 h 114"/>
              <a:gd name="T58" fmla="*/ 108 w 120"/>
              <a:gd name="T59" fmla="*/ 66 h 114"/>
              <a:gd name="T60" fmla="*/ 102 w 120"/>
              <a:gd name="T61" fmla="*/ 72 h 114"/>
              <a:gd name="T62" fmla="*/ 96 w 120"/>
              <a:gd name="T63" fmla="*/ 78 h 114"/>
              <a:gd name="T64" fmla="*/ 90 w 120"/>
              <a:gd name="T65" fmla="*/ 90 h 114"/>
              <a:gd name="T66" fmla="*/ 84 w 120"/>
              <a:gd name="T67" fmla="*/ 96 h 114"/>
              <a:gd name="T68" fmla="*/ 78 w 120"/>
              <a:gd name="T69" fmla="*/ 96 h 114"/>
              <a:gd name="T70" fmla="*/ 72 w 120"/>
              <a:gd name="T71" fmla="*/ 102 h 114"/>
              <a:gd name="T72" fmla="*/ 72 w 120"/>
              <a:gd name="T73" fmla="*/ 102 h 114"/>
              <a:gd name="T74" fmla="*/ 66 w 120"/>
              <a:gd name="T75" fmla="*/ 108 h 114"/>
              <a:gd name="T76" fmla="*/ 60 w 120"/>
              <a:gd name="T77" fmla="*/ 108 h 114"/>
              <a:gd name="T78" fmla="*/ 60 w 120"/>
              <a:gd name="T79" fmla="*/ 114 h 114"/>
              <a:gd name="T80" fmla="*/ 54 w 120"/>
              <a:gd name="T81" fmla="*/ 114 h 114"/>
              <a:gd name="T82" fmla="*/ 54 w 120"/>
              <a:gd name="T83" fmla="*/ 114 h 114"/>
              <a:gd name="T84" fmla="*/ 48 w 120"/>
              <a:gd name="T85" fmla="*/ 114 h 114"/>
              <a:gd name="T86" fmla="*/ 48 w 120"/>
              <a:gd name="T87" fmla="*/ 108 h 114"/>
              <a:gd name="T88" fmla="*/ 42 w 120"/>
              <a:gd name="T89" fmla="*/ 108 h 114"/>
              <a:gd name="T90" fmla="*/ 42 w 120"/>
              <a:gd name="T91" fmla="*/ 102 h 114"/>
              <a:gd name="T92" fmla="*/ 42 w 120"/>
              <a:gd name="T93" fmla="*/ 102 h 114"/>
              <a:gd name="T94" fmla="*/ 36 w 120"/>
              <a:gd name="T95" fmla="*/ 96 h 114"/>
              <a:gd name="T96" fmla="*/ 30 w 120"/>
              <a:gd name="T97" fmla="*/ 96 h 114"/>
              <a:gd name="T98" fmla="*/ 24 w 120"/>
              <a:gd name="T99" fmla="*/ 96 h 114"/>
              <a:gd name="T100" fmla="*/ 12 w 120"/>
              <a:gd name="T101" fmla="*/ 90 h 114"/>
              <a:gd name="T102" fmla="*/ 6 w 120"/>
              <a:gd name="T103" fmla="*/ 90 h 114"/>
              <a:gd name="T104" fmla="*/ 0 w 120"/>
              <a:gd name="T105" fmla="*/ 84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20" h="114">
                <a:moveTo>
                  <a:pt x="0" y="84"/>
                </a:move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54"/>
                </a:lnTo>
                <a:lnTo>
                  <a:pt x="24" y="54"/>
                </a:lnTo>
                <a:lnTo>
                  <a:pt x="18" y="54"/>
                </a:lnTo>
                <a:lnTo>
                  <a:pt x="18" y="48"/>
                </a:lnTo>
                <a:lnTo>
                  <a:pt x="18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2"/>
                </a:lnTo>
                <a:lnTo>
                  <a:pt x="24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42" y="30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6"/>
                </a:lnTo>
                <a:lnTo>
                  <a:pt x="60" y="6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12"/>
                </a:lnTo>
                <a:lnTo>
                  <a:pt x="72" y="6"/>
                </a:lnTo>
                <a:lnTo>
                  <a:pt x="78" y="12"/>
                </a:lnTo>
                <a:lnTo>
                  <a:pt x="78" y="12"/>
                </a:lnTo>
                <a:lnTo>
                  <a:pt x="90" y="12"/>
                </a:lnTo>
                <a:lnTo>
                  <a:pt x="96" y="12"/>
                </a:lnTo>
                <a:lnTo>
                  <a:pt x="96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24"/>
                </a:lnTo>
                <a:lnTo>
                  <a:pt x="114" y="18"/>
                </a:lnTo>
                <a:lnTo>
                  <a:pt x="114" y="24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8"/>
                </a:lnTo>
                <a:lnTo>
                  <a:pt x="108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08" y="54"/>
                </a:lnTo>
                <a:lnTo>
                  <a:pt x="114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2" y="72"/>
                </a:lnTo>
                <a:lnTo>
                  <a:pt x="108" y="72"/>
                </a:lnTo>
                <a:lnTo>
                  <a:pt x="102" y="72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84"/>
                </a:lnTo>
                <a:lnTo>
                  <a:pt x="96" y="84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0" y="96"/>
                </a:lnTo>
                <a:lnTo>
                  <a:pt x="90" y="96"/>
                </a:lnTo>
                <a:lnTo>
                  <a:pt x="84" y="96"/>
                </a:lnTo>
                <a:lnTo>
                  <a:pt x="84" y="96"/>
                </a:lnTo>
                <a:lnTo>
                  <a:pt x="84" y="102"/>
                </a:lnTo>
                <a:lnTo>
                  <a:pt x="84" y="102"/>
                </a:lnTo>
                <a:lnTo>
                  <a:pt x="84" y="96"/>
                </a:lnTo>
                <a:lnTo>
                  <a:pt x="78" y="96"/>
                </a:lnTo>
                <a:lnTo>
                  <a:pt x="78" y="102"/>
                </a:lnTo>
                <a:lnTo>
                  <a:pt x="78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8"/>
                </a:lnTo>
                <a:lnTo>
                  <a:pt x="72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54" y="108"/>
                </a:lnTo>
                <a:lnTo>
                  <a:pt x="60" y="108"/>
                </a:lnTo>
                <a:lnTo>
                  <a:pt x="60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08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48" y="114"/>
                </a:lnTo>
                <a:lnTo>
                  <a:pt x="48" y="114"/>
                </a:lnTo>
                <a:lnTo>
                  <a:pt x="48" y="114"/>
                </a:lnTo>
                <a:lnTo>
                  <a:pt x="48" y="114"/>
                </a:lnTo>
                <a:lnTo>
                  <a:pt x="48" y="114"/>
                </a:lnTo>
                <a:lnTo>
                  <a:pt x="54" y="114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18" y="96"/>
                </a:lnTo>
                <a:lnTo>
                  <a:pt x="18" y="90"/>
                </a:lnTo>
                <a:lnTo>
                  <a:pt x="18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0" y="90"/>
                </a:lnTo>
                <a:lnTo>
                  <a:pt x="0" y="90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32" name="Freeform 365"/>
          <p:cNvSpPr>
            <a:spLocks/>
          </p:cNvSpPr>
          <p:nvPr/>
        </p:nvSpPr>
        <p:spPr bwMode="auto">
          <a:xfrm>
            <a:off x="6986759" y="3890888"/>
            <a:ext cx="70665" cy="83513"/>
          </a:xfrm>
          <a:custGeom>
            <a:avLst/>
            <a:gdLst>
              <a:gd name="T0" fmla="*/ 6 w 66"/>
              <a:gd name="T1" fmla="*/ 42 h 78"/>
              <a:gd name="T2" fmla="*/ 6 w 66"/>
              <a:gd name="T3" fmla="*/ 36 h 78"/>
              <a:gd name="T4" fmla="*/ 6 w 66"/>
              <a:gd name="T5" fmla="*/ 36 h 78"/>
              <a:gd name="T6" fmla="*/ 12 w 66"/>
              <a:gd name="T7" fmla="*/ 36 h 78"/>
              <a:gd name="T8" fmla="*/ 12 w 66"/>
              <a:gd name="T9" fmla="*/ 30 h 78"/>
              <a:gd name="T10" fmla="*/ 12 w 66"/>
              <a:gd name="T11" fmla="*/ 30 h 78"/>
              <a:gd name="T12" fmla="*/ 12 w 66"/>
              <a:gd name="T13" fmla="*/ 30 h 78"/>
              <a:gd name="T14" fmla="*/ 18 w 66"/>
              <a:gd name="T15" fmla="*/ 18 h 78"/>
              <a:gd name="T16" fmla="*/ 18 w 66"/>
              <a:gd name="T17" fmla="*/ 18 h 78"/>
              <a:gd name="T18" fmla="*/ 18 w 66"/>
              <a:gd name="T19" fmla="*/ 18 h 78"/>
              <a:gd name="T20" fmla="*/ 18 w 66"/>
              <a:gd name="T21" fmla="*/ 12 h 78"/>
              <a:gd name="T22" fmla="*/ 24 w 66"/>
              <a:gd name="T23" fmla="*/ 6 h 78"/>
              <a:gd name="T24" fmla="*/ 18 w 66"/>
              <a:gd name="T25" fmla="*/ 6 h 78"/>
              <a:gd name="T26" fmla="*/ 18 w 66"/>
              <a:gd name="T27" fmla="*/ 0 h 78"/>
              <a:gd name="T28" fmla="*/ 24 w 66"/>
              <a:gd name="T29" fmla="*/ 0 h 78"/>
              <a:gd name="T30" fmla="*/ 30 w 66"/>
              <a:gd name="T31" fmla="*/ 0 h 78"/>
              <a:gd name="T32" fmla="*/ 36 w 66"/>
              <a:gd name="T33" fmla="*/ 0 h 78"/>
              <a:gd name="T34" fmla="*/ 42 w 66"/>
              <a:gd name="T35" fmla="*/ 0 h 78"/>
              <a:gd name="T36" fmla="*/ 48 w 66"/>
              <a:gd name="T37" fmla="*/ 0 h 78"/>
              <a:gd name="T38" fmla="*/ 54 w 66"/>
              <a:gd name="T39" fmla="*/ 6 h 78"/>
              <a:gd name="T40" fmla="*/ 54 w 66"/>
              <a:gd name="T41" fmla="*/ 6 h 78"/>
              <a:gd name="T42" fmla="*/ 60 w 66"/>
              <a:gd name="T43" fmla="*/ 0 h 78"/>
              <a:gd name="T44" fmla="*/ 60 w 66"/>
              <a:gd name="T45" fmla="*/ 0 h 78"/>
              <a:gd name="T46" fmla="*/ 66 w 66"/>
              <a:gd name="T47" fmla="*/ 6 h 78"/>
              <a:gd name="T48" fmla="*/ 66 w 66"/>
              <a:gd name="T49" fmla="*/ 12 h 78"/>
              <a:gd name="T50" fmla="*/ 66 w 66"/>
              <a:gd name="T51" fmla="*/ 18 h 78"/>
              <a:gd name="T52" fmla="*/ 60 w 66"/>
              <a:gd name="T53" fmla="*/ 18 h 78"/>
              <a:gd name="T54" fmla="*/ 54 w 66"/>
              <a:gd name="T55" fmla="*/ 18 h 78"/>
              <a:gd name="T56" fmla="*/ 54 w 66"/>
              <a:gd name="T57" fmla="*/ 24 h 78"/>
              <a:gd name="T58" fmla="*/ 54 w 66"/>
              <a:gd name="T59" fmla="*/ 24 h 78"/>
              <a:gd name="T60" fmla="*/ 54 w 66"/>
              <a:gd name="T61" fmla="*/ 30 h 78"/>
              <a:gd name="T62" fmla="*/ 54 w 66"/>
              <a:gd name="T63" fmla="*/ 36 h 78"/>
              <a:gd name="T64" fmla="*/ 48 w 66"/>
              <a:gd name="T65" fmla="*/ 36 h 78"/>
              <a:gd name="T66" fmla="*/ 48 w 66"/>
              <a:gd name="T67" fmla="*/ 42 h 78"/>
              <a:gd name="T68" fmla="*/ 54 w 66"/>
              <a:gd name="T69" fmla="*/ 48 h 78"/>
              <a:gd name="T70" fmla="*/ 54 w 66"/>
              <a:gd name="T71" fmla="*/ 54 h 78"/>
              <a:gd name="T72" fmla="*/ 48 w 66"/>
              <a:gd name="T73" fmla="*/ 54 h 78"/>
              <a:gd name="T74" fmla="*/ 54 w 66"/>
              <a:gd name="T75" fmla="*/ 60 h 78"/>
              <a:gd name="T76" fmla="*/ 48 w 66"/>
              <a:gd name="T77" fmla="*/ 66 h 78"/>
              <a:gd name="T78" fmla="*/ 48 w 66"/>
              <a:gd name="T79" fmla="*/ 72 h 78"/>
              <a:gd name="T80" fmla="*/ 42 w 66"/>
              <a:gd name="T81" fmla="*/ 72 h 78"/>
              <a:gd name="T82" fmla="*/ 42 w 66"/>
              <a:gd name="T83" fmla="*/ 78 h 78"/>
              <a:gd name="T84" fmla="*/ 36 w 66"/>
              <a:gd name="T85" fmla="*/ 78 h 78"/>
              <a:gd name="T86" fmla="*/ 30 w 66"/>
              <a:gd name="T87" fmla="*/ 78 h 78"/>
              <a:gd name="T88" fmla="*/ 30 w 66"/>
              <a:gd name="T89" fmla="*/ 72 h 78"/>
              <a:gd name="T90" fmla="*/ 30 w 66"/>
              <a:gd name="T91" fmla="*/ 72 h 78"/>
              <a:gd name="T92" fmla="*/ 24 w 66"/>
              <a:gd name="T93" fmla="*/ 72 h 78"/>
              <a:gd name="T94" fmla="*/ 24 w 66"/>
              <a:gd name="T95" fmla="*/ 66 h 78"/>
              <a:gd name="T96" fmla="*/ 24 w 66"/>
              <a:gd name="T97" fmla="*/ 66 h 78"/>
              <a:gd name="T98" fmla="*/ 18 w 66"/>
              <a:gd name="T99" fmla="*/ 60 h 78"/>
              <a:gd name="T100" fmla="*/ 18 w 66"/>
              <a:gd name="T101" fmla="*/ 60 h 78"/>
              <a:gd name="T102" fmla="*/ 18 w 66"/>
              <a:gd name="T103" fmla="*/ 54 h 78"/>
              <a:gd name="T104" fmla="*/ 12 w 66"/>
              <a:gd name="T105" fmla="*/ 54 h 78"/>
              <a:gd name="T106" fmla="*/ 12 w 66"/>
              <a:gd name="T107" fmla="*/ 54 h 78"/>
              <a:gd name="T108" fmla="*/ 12 w 66"/>
              <a:gd name="T109" fmla="*/ 48 h 78"/>
              <a:gd name="T110" fmla="*/ 12 w 66"/>
              <a:gd name="T111" fmla="*/ 48 h 78"/>
              <a:gd name="T112" fmla="*/ 6 w 66"/>
              <a:gd name="T113" fmla="*/ 48 h 78"/>
              <a:gd name="T114" fmla="*/ 6 w 66"/>
              <a:gd name="T115" fmla="*/ 48 h 78"/>
              <a:gd name="T116" fmla="*/ 0 w 66"/>
              <a:gd name="T117" fmla="*/ 48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6" h="78">
                <a:moveTo>
                  <a:pt x="0" y="48"/>
                </a:moveTo>
                <a:lnTo>
                  <a:pt x="0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8" y="24"/>
                </a:lnTo>
                <a:lnTo>
                  <a:pt x="18" y="24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0"/>
                </a:lnTo>
                <a:lnTo>
                  <a:pt x="18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30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42" y="0"/>
                </a:lnTo>
                <a:lnTo>
                  <a:pt x="42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6" y="0"/>
                </a:lnTo>
                <a:lnTo>
                  <a:pt x="66" y="0"/>
                </a:lnTo>
                <a:lnTo>
                  <a:pt x="66" y="6"/>
                </a:lnTo>
                <a:lnTo>
                  <a:pt x="66" y="6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54" y="18"/>
                </a:lnTo>
                <a:lnTo>
                  <a:pt x="54" y="18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42"/>
                </a:lnTo>
                <a:lnTo>
                  <a:pt x="48" y="42"/>
                </a:lnTo>
                <a:lnTo>
                  <a:pt x="54" y="42"/>
                </a:lnTo>
                <a:lnTo>
                  <a:pt x="54" y="42"/>
                </a:lnTo>
                <a:lnTo>
                  <a:pt x="54" y="48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72"/>
                </a:lnTo>
                <a:lnTo>
                  <a:pt x="48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24" y="72"/>
                </a:lnTo>
                <a:lnTo>
                  <a:pt x="24" y="72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54"/>
                </a:lnTo>
                <a:lnTo>
                  <a:pt x="18" y="60"/>
                </a:lnTo>
                <a:lnTo>
                  <a:pt x="18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33" name="Freeform 366"/>
          <p:cNvSpPr>
            <a:spLocks/>
          </p:cNvSpPr>
          <p:nvPr/>
        </p:nvSpPr>
        <p:spPr bwMode="auto">
          <a:xfrm>
            <a:off x="7417171" y="4244214"/>
            <a:ext cx="109209" cy="51393"/>
          </a:xfrm>
          <a:custGeom>
            <a:avLst/>
            <a:gdLst>
              <a:gd name="T0" fmla="*/ 6 w 102"/>
              <a:gd name="T1" fmla="*/ 12 h 48"/>
              <a:gd name="T2" fmla="*/ 6 w 102"/>
              <a:gd name="T3" fmla="*/ 12 h 48"/>
              <a:gd name="T4" fmla="*/ 18 w 102"/>
              <a:gd name="T5" fmla="*/ 12 h 48"/>
              <a:gd name="T6" fmla="*/ 24 w 102"/>
              <a:gd name="T7" fmla="*/ 6 h 48"/>
              <a:gd name="T8" fmla="*/ 30 w 102"/>
              <a:gd name="T9" fmla="*/ 6 h 48"/>
              <a:gd name="T10" fmla="*/ 30 w 102"/>
              <a:gd name="T11" fmla="*/ 0 h 48"/>
              <a:gd name="T12" fmla="*/ 36 w 102"/>
              <a:gd name="T13" fmla="*/ 0 h 48"/>
              <a:gd name="T14" fmla="*/ 36 w 102"/>
              <a:gd name="T15" fmla="*/ 6 h 48"/>
              <a:gd name="T16" fmla="*/ 36 w 102"/>
              <a:gd name="T17" fmla="*/ 6 h 48"/>
              <a:gd name="T18" fmla="*/ 42 w 102"/>
              <a:gd name="T19" fmla="*/ 12 h 48"/>
              <a:gd name="T20" fmla="*/ 48 w 102"/>
              <a:gd name="T21" fmla="*/ 12 h 48"/>
              <a:gd name="T22" fmla="*/ 54 w 102"/>
              <a:gd name="T23" fmla="*/ 12 h 48"/>
              <a:gd name="T24" fmla="*/ 54 w 102"/>
              <a:gd name="T25" fmla="*/ 12 h 48"/>
              <a:gd name="T26" fmla="*/ 54 w 102"/>
              <a:gd name="T27" fmla="*/ 12 h 48"/>
              <a:gd name="T28" fmla="*/ 60 w 102"/>
              <a:gd name="T29" fmla="*/ 12 h 48"/>
              <a:gd name="T30" fmla="*/ 66 w 102"/>
              <a:gd name="T31" fmla="*/ 6 h 48"/>
              <a:gd name="T32" fmla="*/ 72 w 102"/>
              <a:gd name="T33" fmla="*/ 6 h 48"/>
              <a:gd name="T34" fmla="*/ 72 w 102"/>
              <a:gd name="T35" fmla="*/ 6 h 48"/>
              <a:gd name="T36" fmla="*/ 72 w 102"/>
              <a:gd name="T37" fmla="*/ 6 h 48"/>
              <a:gd name="T38" fmla="*/ 78 w 102"/>
              <a:gd name="T39" fmla="*/ 6 h 48"/>
              <a:gd name="T40" fmla="*/ 78 w 102"/>
              <a:gd name="T41" fmla="*/ 6 h 48"/>
              <a:gd name="T42" fmla="*/ 84 w 102"/>
              <a:gd name="T43" fmla="*/ 6 h 48"/>
              <a:gd name="T44" fmla="*/ 90 w 102"/>
              <a:gd name="T45" fmla="*/ 12 h 48"/>
              <a:gd name="T46" fmla="*/ 96 w 102"/>
              <a:gd name="T47" fmla="*/ 12 h 48"/>
              <a:gd name="T48" fmla="*/ 96 w 102"/>
              <a:gd name="T49" fmla="*/ 12 h 48"/>
              <a:gd name="T50" fmla="*/ 102 w 102"/>
              <a:gd name="T51" fmla="*/ 18 h 48"/>
              <a:gd name="T52" fmla="*/ 102 w 102"/>
              <a:gd name="T53" fmla="*/ 18 h 48"/>
              <a:gd name="T54" fmla="*/ 96 w 102"/>
              <a:gd name="T55" fmla="*/ 24 h 48"/>
              <a:gd name="T56" fmla="*/ 90 w 102"/>
              <a:gd name="T57" fmla="*/ 30 h 48"/>
              <a:gd name="T58" fmla="*/ 90 w 102"/>
              <a:gd name="T59" fmla="*/ 30 h 48"/>
              <a:gd name="T60" fmla="*/ 90 w 102"/>
              <a:gd name="T61" fmla="*/ 36 h 48"/>
              <a:gd name="T62" fmla="*/ 90 w 102"/>
              <a:gd name="T63" fmla="*/ 36 h 48"/>
              <a:gd name="T64" fmla="*/ 78 w 102"/>
              <a:gd name="T65" fmla="*/ 42 h 48"/>
              <a:gd name="T66" fmla="*/ 72 w 102"/>
              <a:gd name="T67" fmla="*/ 42 h 48"/>
              <a:gd name="T68" fmla="*/ 66 w 102"/>
              <a:gd name="T69" fmla="*/ 42 h 48"/>
              <a:gd name="T70" fmla="*/ 66 w 102"/>
              <a:gd name="T71" fmla="*/ 42 h 48"/>
              <a:gd name="T72" fmla="*/ 60 w 102"/>
              <a:gd name="T73" fmla="*/ 42 h 48"/>
              <a:gd name="T74" fmla="*/ 54 w 102"/>
              <a:gd name="T75" fmla="*/ 42 h 48"/>
              <a:gd name="T76" fmla="*/ 54 w 102"/>
              <a:gd name="T77" fmla="*/ 48 h 48"/>
              <a:gd name="T78" fmla="*/ 42 w 102"/>
              <a:gd name="T79" fmla="*/ 48 h 48"/>
              <a:gd name="T80" fmla="*/ 36 w 102"/>
              <a:gd name="T81" fmla="*/ 48 h 48"/>
              <a:gd name="T82" fmla="*/ 36 w 102"/>
              <a:gd name="T83" fmla="*/ 48 h 48"/>
              <a:gd name="T84" fmla="*/ 30 w 102"/>
              <a:gd name="T85" fmla="*/ 42 h 48"/>
              <a:gd name="T86" fmla="*/ 30 w 102"/>
              <a:gd name="T87" fmla="*/ 42 h 48"/>
              <a:gd name="T88" fmla="*/ 30 w 102"/>
              <a:gd name="T89" fmla="*/ 36 h 48"/>
              <a:gd name="T90" fmla="*/ 24 w 102"/>
              <a:gd name="T91" fmla="*/ 36 h 48"/>
              <a:gd name="T92" fmla="*/ 24 w 102"/>
              <a:gd name="T93" fmla="*/ 36 h 48"/>
              <a:gd name="T94" fmla="*/ 18 w 102"/>
              <a:gd name="T95" fmla="*/ 42 h 48"/>
              <a:gd name="T96" fmla="*/ 12 w 102"/>
              <a:gd name="T97" fmla="*/ 42 h 48"/>
              <a:gd name="T98" fmla="*/ 6 w 102"/>
              <a:gd name="T99" fmla="*/ 48 h 48"/>
              <a:gd name="T100" fmla="*/ 6 w 102"/>
              <a:gd name="T101" fmla="*/ 42 h 48"/>
              <a:gd name="T102" fmla="*/ 6 w 102"/>
              <a:gd name="T103" fmla="*/ 30 h 48"/>
              <a:gd name="T104" fmla="*/ 6 w 102"/>
              <a:gd name="T105" fmla="*/ 24 h 48"/>
              <a:gd name="T106" fmla="*/ 0 w 102"/>
              <a:gd name="T107" fmla="*/ 24 h 48"/>
              <a:gd name="T108" fmla="*/ 6 w 102"/>
              <a:gd name="T109" fmla="*/ 18 h 48"/>
              <a:gd name="T110" fmla="*/ 0 w 102"/>
              <a:gd name="T111" fmla="*/ 18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2" h="48">
                <a:moveTo>
                  <a:pt x="0" y="18"/>
                </a:move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12" y="6"/>
                </a:lnTo>
                <a:lnTo>
                  <a:pt x="12" y="12"/>
                </a:lnTo>
                <a:lnTo>
                  <a:pt x="18" y="6"/>
                </a:lnTo>
                <a:lnTo>
                  <a:pt x="18" y="12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6"/>
                </a:lnTo>
                <a:lnTo>
                  <a:pt x="36" y="6"/>
                </a:lnTo>
                <a:lnTo>
                  <a:pt x="36" y="0"/>
                </a:lnTo>
                <a:lnTo>
                  <a:pt x="36" y="6"/>
                </a:lnTo>
                <a:lnTo>
                  <a:pt x="36" y="0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48" y="6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6"/>
                </a:lnTo>
                <a:lnTo>
                  <a:pt x="66" y="6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78" y="6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12"/>
                </a:lnTo>
                <a:lnTo>
                  <a:pt x="84" y="12"/>
                </a:lnTo>
                <a:lnTo>
                  <a:pt x="90" y="6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24"/>
                </a:lnTo>
                <a:lnTo>
                  <a:pt x="102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0" y="24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84" y="42"/>
                </a:lnTo>
                <a:lnTo>
                  <a:pt x="84" y="36"/>
                </a:lnTo>
                <a:lnTo>
                  <a:pt x="84" y="36"/>
                </a:lnTo>
                <a:lnTo>
                  <a:pt x="84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0" y="48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48" y="48"/>
                </a:lnTo>
                <a:lnTo>
                  <a:pt x="48" y="42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0" y="48"/>
                </a:lnTo>
                <a:lnTo>
                  <a:pt x="30" y="48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18" y="36"/>
                </a:lnTo>
                <a:lnTo>
                  <a:pt x="24" y="36"/>
                </a:lnTo>
                <a:lnTo>
                  <a:pt x="18" y="36"/>
                </a:lnTo>
                <a:lnTo>
                  <a:pt x="18" y="36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0" y="30"/>
                </a:lnTo>
                <a:lnTo>
                  <a:pt x="0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0" y="24"/>
                </a:lnTo>
                <a:lnTo>
                  <a:pt x="6" y="24"/>
                </a:lnTo>
                <a:lnTo>
                  <a:pt x="6" y="24"/>
                </a:lnTo>
                <a:lnTo>
                  <a:pt x="0" y="24"/>
                </a:lnTo>
                <a:lnTo>
                  <a:pt x="6" y="24"/>
                </a:lnTo>
                <a:lnTo>
                  <a:pt x="0" y="24"/>
                </a:lnTo>
                <a:lnTo>
                  <a:pt x="0" y="24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0" y="18"/>
                </a:lnTo>
                <a:lnTo>
                  <a:pt x="0" y="1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34" name="Freeform 367"/>
          <p:cNvSpPr>
            <a:spLocks/>
          </p:cNvSpPr>
          <p:nvPr/>
        </p:nvSpPr>
        <p:spPr bwMode="auto">
          <a:xfrm>
            <a:off x="7051000" y="4179973"/>
            <a:ext cx="70665" cy="89937"/>
          </a:xfrm>
          <a:custGeom>
            <a:avLst/>
            <a:gdLst>
              <a:gd name="T0" fmla="*/ 0 w 66"/>
              <a:gd name="T1" fmla="*/ 54 h 84"/>
              <a:gd name="T2" fmla="*/ 0 w 66"/>
              <a:gd name="T3" fmla="*/ 48 h 84"/>
              <a:gd name="T4" fmla="*/ 6 w 66"/>
              <a:gd name="T5" fmla="*/ 48 h 84"/>
              <a:gd name="T6" fmla="*/ 12 w 66"/>
              <a:gd name="T7" fmla="*/ 42 h 84"/>
              <a:gd name="T8" fmla="*/ 12 w 66"/>
              <a:gd name="T9" fmla="*/ 42 h 84"/>
              <a:gd name="T10" fmla="*/ 12 w 66"/>
              <a:gd name="T11" fmla="*/ 30 h 84"/>
              <a:gd name="T12" fmla="*/ 12 w 66"/>
              <a:gd name="T13" fmla="*/ 24 h 84"/>
              <a:gd name="T14" fmla="*/ 12 w 66"/>
              <a:gd name="T15" fmla="*/ 24 h 84"/>
              <a:gd name="T16" fmla="*/ 12 w 66"/>
              <a:gd name="T17" fmla="*/ 18 h 84"/>
              <a:gd name="T18" fmla="*/ 6 w 66"/>
              <a:gd name="T19" fmla="*/ 12 h 84"/>
              <a:gd name="T20" fmla="*/ 0 w 66"/>
              <a:gd name="T21" fmla="*/ 6 h 84"/>
              <a:gd name="T22" fmla="*/ 6 w 66"/>
              <a:gd name="T23" fmla="*/ 0 h 84"/>
              <a:gd name="T24" fmla="*/ 6 w 66"/>
              <a:gd name="T25" fmla="*/ 0 h 84"/>
              <a:gd name="T26" fmla="*/ 18 w 66"/>
              <a:gd name="T27" fmla="*/ 0 h 84"/>
              <a:gd name="T28" fmla="*/ 24 w 66"/>
              <a:gd name="T29" fmla="*/ 0 h 84"/>
              <a:gd name="T30" fmla="*/ 30 w 66"/>
              <a:gd name="T31" fmla="*/ 0 h 84"/>
              <a:gd name="T32" fmla="*/ 36 w 66"/>
              <a:gd name="T33" fmla="*/ 6 h 84"/>
              <a:gd name="T34" fmla="*/ 42 w 66"/>
              <a:gd name="T35" fmla="*/ 0 h 84"/>
              <a:gd name="T36" fmla="*/ 48 w 66"/>
              <a:gd name="T37" fmla="*/ 6 h 84"/>
              <a:gd name="T38" fmla="*/ 48 w 66"/>
              <a:gd name="T39" fmla="*/ 6 h 84"/>
              <a:gd name="T40" fmla="*/ 48 w 66"/>
              <a:gd name="T41" fmla="*/ 12 h 84"/>
              <a:gd name="T42" fmla="*/ 42 w 66"/>
              <a:gd name="T43" fmla="*/ 18 h 84"/>
              <a:gd name="T44" fmla="*/ 42 w 66"/>
              <a:gd name="T45" fmla="*/ 18 h 84"/>
              <a:gd name="T46" fmla="*/ 48 w 66"/>
              <a:gd name="T47" fmla="*/ 18 h 84"/>
              <a:gd name="T48" fmla="*/ 42 w 66"/>
              <a:gd name="T49" fmla="*/ 24 h 84"/>
              <a:gd name="T50" fmla="*/ 48 w 66"/>
              <a:gd name="T51" fmla="*/ 24 h 84"/>
              <a:gd name="T52" fmla="*/ 48 w 66"/>
              <a:gd name="T53" fmla="*/ 24 h 84"/>
              <a:gd name="T54" fmla="*/ 54 w 66"/>
              <a:gd name="T55" fmla="*/ 30 h 84"/>
              <a:gd name="T56" fmla="*/ 60 w 66"/>
              <a:gd name="T57" fmla="*/ 30 h 84"/>
              <a:gd name="T58" fmla="*/ 60 w 66"/>
              <a:gd name="T59" fmla="*/ 30 h 84"/>
              <a:gd name="T60" fmla="*/ 60 w 66"/>
              <a:gd name="T61" fmla="*/ 30 h 84"/>
              <a:gd name="T62" fmla="*/ 66 w 66"/>
              <a:gd name="T63" fmla="*/ 36 h 84"/>
              <a:gd name="T64" fmla="*/ 60 w 66"/>
              <a:gd name="T65" fmla="*/ 42 h 84"/>
              <a:gd name="T66" fmla="*/ 60 w 66"/>
              <a:gd name="T67" fmla="*/ 54 h 84"/>
              <a:gd name="T68" fmla="*/ 48 w 66"/>
              <a:gd name="T69" fmla="*/ 48 h 84"/>
              <a:gd name="T70" fmla="*/ 42 w 66"/>
              <a:gd name="T71" fmla="*/ 48 h 84"/>
              <a:gd name="T72" fmla="*/ 42 w 66"/>
              <a:gd name="T73" fmla="*/ 54 h 84"/>
              <a:gd name="T74" fmla="*/ 42 w 66"/>
              <a:gd name="T75" fmla="*/ 60 h 84"/>
              <a:gd name="T76" fmla="*/ 42 w 66"/>
              <a:gd name="T77" fmla="*/ 66 h 84"/>
              <a:gd name="T78" fmla="*/ 42 w 66"/>
              <a:gd name="T79" fmla="*/ 72 h 84"/>
              <a:gd name="T80" fmla="*/ 42 w 66"/>
              <a:gd name="T81" fmla="*/ 72 h 84"/>
              <a:gd name="T82" fmla="*/ 36 w 66"/>
              <a:gd name="T83" fmla="*/ 78 h 84"/>
              <a:gd name="T84" fmla="*/ 36 w 66"/>
              <a:gd name="T85" fmla="*/ 78 h 84"/>
              <a:gd name="T86" fmla="*/ 30 w 66"/>
              <a:gd name="T87" fmla="*/ 84 h 84"/>
              <a:gd name="T88" fmla="*/ 24 w 66"/>
              <a:gd name="T89" fmla="*/ 78 h 84"/>
              <a:gd name="T90" fmla="*/ 18 w 66"/>
              <a:gd name="T91" fmla="*/ 84 h 84"/>
              <a:gd name="T92" fmla="*/ 18 w 66"/>
              <a:gd name="T93" fmla="*/ 84 h 84"/>
              <a:gd name="T94" fmla="*/ 12 w 66"/>
              <a:gd name="T95" fmla="*/ 84 h 84"/>
              <a:gd name="T96" fmla="*/ 12 w 66"/>
              <a:gd name="T97" fmla="*/ 84 h 84"/>
              <a:gd name="T98" fmla="*/ 6 w 66"/>
              <a:gd name="T99" fmla="*/ 84 h 84"/>
              <a:gd name="T100" fmla="*/ 0 w 66"/>
              <a:gd name="T101" fmla="*/ 78 h 84"/>
              <a:gd name="T102" fmla="*/ 6 w 66"/>
              <a:gd name="T103" fmla="*/ 78 h 84"/>
              <a:gd name="T104" fmla="*/ 6 w 66"/>
              <a:gd name="T105" fmla="*/ 72 h 84"/>
              <a:gd name="T106" fmla="*/ 0 w 66"/>
              <a:gd name="T107" fmla="*/ 66 h 84"/>
              <a:gd name="T108" fmla="*/ 0 w 66"/>
              <a:gd name="T109" fmla="*/ 6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66" h="84">
                <a:moveTo>
                  <a:pt x="0" y="60"/>
                </a:moveTo>
                <a:lnTo>
                  <a:pt x="0" y="60"/>
                </a:lnTo>
                <a:lnTo>
                  <a:pt x="0" y="60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2"/>
                </a:lnTo>
                <a:lnTo>
                  <a:pt x="12" y="12"/>
                </a:lnTo>
                <a:lnTo>
                  <a:pt x="6" y="12"/>
                </a:lnTo>
                <a:lnTo>
                  <a:pt x="6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6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8" y="0"/>
                </a:lnTo>
                <a:lnTo>
                  <a:pt x="18" y="0"/>
                </a:lnTo>
                <a:lnTo>
                  <a:pt x="24" y="0"/>
                </a:lnTo>
                <a:lnTo>
                  <a:pt x="24" y="6"/>
                </a:lnTo>
                <a:lnTo>
                  <a:pt x="24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8"/>
                </a:lnTo>
                <a:lnTo>
                  <a:pt x="48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8" y="18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8" y="24"/>
                </a:lnTo>
                <a:lnTo>
                  <a:pt x="48" y="24"/>
                </a:lnTo>
                <a:lnTo>
                  <a:pt x="48" y="30"/>
                </a:lnTo>
                <a:lnTo>
                  <a:pt x="48" y="24"/>
                </a:lnTo>
                <a:lnTo>
                  <a:pt x="48" y="30"/>
                </a:lnTo>
                <a:lnTo>
                  <a:pt x="48" y="30"/>
                </a:lnTo>
                <a:lnTo>
                  <a:pt x="48" y="24"/>
                </a:lnTo>
                <a:lnTo>
                  <a:pt x="48" y="24"/>
                </a:lnTo>
                <a:lnTo>
                  <a:pt x="48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6" y="36"/>
                </a:lnTo>
                <a:lnTo>
                  <a:pt x="66" y="36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8"/>
                </a:lnTo>
                <a:lnTo>
                  <a:pt x="60" y="48"/>
                </a:lnTo>
                <a:lnTo>
                  <a:pt x="60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2" y="48"/>
                </a:lnTo>
                <a:lnTo>
                  <a:pt x="42" y="48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60"/>
                </a:lnTo>
                <a:lnTo>
                  <a:pt x="42" y="60"/>
                </a:lnTo>
                <a:lnTo>
                  <a:pt x="48" y="60"/>
                </a:lnTo>
                <a:lnTo>
                  <a:pt x="48" y="60"/>
                </a:lnTo>
                <a:lnTo>
                  <a:pt x="48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6" y="84"/>
                </a:lnTo>
                <a:lnTo>
                  <a:pt x="6" y="78"/>
                </a:lnTo>
                <a:lnTo>
                  <a:pt x="6" y="78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0" y="72"/>
                </a:lnTo>
                <a:lnTo>
                  <a:pt x="0" y="72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35" name="Freeform 368"/>
          <p:cNvSpPr>
            <a:spLocks/>
          </p:cNvSpPr>
          <p:nvPr/>
        </p:nvSpPr>
        <p:spPr bwMode="auto">
          <a:xfrm>
            <a:off x="6588468" y="4122156"/>
            <a:ext cx="102785" cy="77089"/>
          </a:xfrm>
          <a:custGeom>
            <a:avLst/>
            <a:gdLst>
              <a:gd name="T0" fmla="*/ 12 w 96"/>
              <a:gd name="T1" fmla="*/ 36 h 72"/>
              <a:gd name="T2" fmla="*/ 12 w 96"/>
              <a:gd name="T3" fmla="*/ 36 h 72"/>
              <a:gd name="T4" fmla="*/ 18 w 96"/>
              <a:gd name="T5" fmla="*/ 30 h 72"/>
              <a:gd name="T6" fmla="*/ 18 w 96"/>
              <a:gd name="T7" fmla="*/ 24 h 72"/>
              <a:gd name="T8" fmla="*/ 24 w 96"/>
              <a:gd name="T9" fmla="*/ 24 h 72"/>
              <a:gd name="T10" fmla="*/ 24 w 96"/>
              <a:gd name="T11" fmla="*/ 18 h 72"/>
              <a:gd name="T12" fmla="*/ 30 w 96"/>
              <a:gd name="T13" fmla="*/ 18 h 72"/>
              <a:gd name="T14" fmla="*/ 30 w 96"/>
              <a:gd name="T15" fmla="*/ 12 h 72"/>
              <a:gd name="T16" fmla="*/ 36 w 96"/>
              <a:gd name="T17" fmla="*/ 6 h 72"/>
              <a:gd name="T18" fmla="*/ 36 w 96"/>
              <a:gd name="T19" fmla="*/ 0 h 72"/>
              <a:gd name="T20" fmla="*/ 42 w 96"/>
              <a:gd name="T21" fmla="*/ 6 h 72"/>
              <a:gd name="T22" fmla="*/ 48 w 96"/>
              <a:gd name="T23" fmla="*/ 6 h 72"/>
              <a:gd name="T24" fmla="*/ 48 w 96"/>
              <a:gd name="T25" fmla="*/ 6 h 72"/>
              <a:gd name="T26" fmla="*/ 54 w 96"/>
              <a:gd name="T27" fmla="*/ 6 h 72"/>
              <a:gd name="T28" fmla="*/ 54 w 96"/>
              <a:gd name="T29" fmla="*/ 6 h 72"/>
              <a:gd name="T30" fmla="*/ 54 w 96"/>
              <a:gd name="T31" fmla="*/ 6 h 72"/>
              <a:gd name="T32" fmla="*/ 60 w 96"/>
              <a:gd name="T33" fmla="*/ 6 h 72"/>
              <a:gd name="T34" fmla="*/ 66 w 96"/>
              <a:gd name="T35" fmla="*/ 6 h 72"/>
              <a:gd name="T36" fmla="*/ 72 w 96"/>
              <a:gd name="T37" fmla="*/ 6 h 72"/>
              <a:gd name="T38" fmla="*/ 72 w 96"/>
              <a:gd name="T39" fmla="*/ 6 h 72"/>
              <a:gd name="T40" fmla="*/ 78 w 96"/>
              <a:gd name="T41" fmla="*/ 6 h 72"/>
              <a:gd name="T42" fmla="*/ 84 w 96"/>
              <a:gd name="T43" fmla="*/ 12 h 72"/>
              <a:gd name="T44" fmla="*/ 84 w 96"/>
              <a:gd name="T45" fmla="*/ 12 h 72"/>
              <a:gd name="T46" fmla="*/ 90 w 96"/>
              <a:gd name="T47" fmla="*/ 12 h 72"/>
              <a:gd name="T48" fmla="*/ 96 w 96"/>
              <a:gd name="T49" fmla="*/ 18 h 72"/>
              <a:gd name="T50" fmla="*/ 96 w 96"/>
              <a:gd name="T51" fmla="*/ 18 h 72"/>
              <a:gd name="T52" fmla="*/ 96 w 96"/>
              <a:gd name="T53" fmla="*/ 18 h 72"/>
              <a:gd name="T54" fmla="*/ 90 w 96"/>
              <a:gd name="T55" fmla="*/ 24 h 72"/>
              <a:gd name="T56" fmla="*/ 84 w 96"/>
              <a:gd name="T57" fmla="*/ 30 h 72"/>
              <a:gd name="T58" fmla="*/ 84 w 96"/>
              <a:gd name="T59" fmla="*/ 24 h 72"/>
              <a:gd name="T60" fmla="*/ 78 w 96"/>
              <a:gd name="T61" fmla="*/ 30 h 72"/>
              <a:gd name="T62" fmla="*/ 78 w 96"/>
              <a:gd name="T63" fmla="*/ 42 h 72"/>
              <a:gd name="T64" fmla="*/ 78 w 96"/>
              <a:gd name="T65" fmla="*/ 42 h 72"/>
              <a:gd name="T66" fmla="*/ 78 w 96"/>
              <a:gd name="T67" fmla="*/ 48 h 72"/>
              <a:gd name="T68" fmla="*/ 78 w 96"/>
              <a:gd name="T69" fmla="*/ 48 h 72"/>
              <a:gd name="T70" fmla="*/ 78 w 96"/>
              <a:gd name="T71" fmla="*/ 54 h 72"/>
              <a:gd name="T72" fmla="*/ 78 w 96"/>
              <a:gd name="T73" fmla="*/ 60 h 72"/>
              <a:gd name="T74" fmla="*/ 72 w 96"/>
              <a:gd name="T75" fmla="*/ 66 h 72"/>
              <a:gd name="T76" fmla="*/ 66 w 96"/>
              <a:gd name="T77" fmla="*/ 72 h 72"/>
              <a:gd name="T78" fmla="*/ 66 w 96"/>
              <a:gd name="T79" fmla="*/ 66 h 72"/>
              <a:gd name="T80" fmla="*/ 60 w 96"/>
              <a:gd name="T81" fmla="*/ 66 h 72"/>
              <a:gd name="T82" fmla="*/ 54 w 96"/>
              <a:gd name="T83" fmla="*/ 66 h 72"/>
              <a:gd name="T84" fmla="*/ 48 w 96"/>
              <a:gd name="T85" fmla="*/ 60 h 72"/>
              <a:gd name="T86" fmla="*/ 48 w 96"/>
              <a:gd name="T87" fmla="*/ 60 h 72"/>
              <a:gd name="T88" fmla="*/ 42 w 96"/>
              <a:gd name="T89" fmla="*/ 54 h 72"/>
              <a:gd name="T90" fmla="*/ 42 w 96"/>
              <a:gd name="T91" fmla="*/ 54 h 72"/>
              <a:gd name="T92" fmla="*/ 36 w 96"/>
              <a:gd name="T93" fmla="*/ 54 h 72"/>
              <a:gd name="T94" fmla="*/ 30 w 96"/>
              <a:gd name="T95" fmla="*/ 54 h 72"/>
              <a:gd name="T96" fmla="*/ 24 w 96"/>
              <a:gd name="T97" fmla="*/ 48 h 72"/>
              <a:gd name="T98" fmla="*/ 24 w 96"/>
              <a:gd name="T99" fmla="*/ 48 h 72"/>
              <a:gd name="T100" fmla="*/ 6 w 96"/>
              <a:gd name="T101" fmla="*/ 42 h 72"/>
              <a:gd name="T102" fmla="*/ 0 w 96"/>
              <a:gd name="T103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96" h="72">
                <a:moveTo>
                  <a:pt x="0" y="42"/>
                </a:moveTo>
                <a:lnTo>
                  <a:pt x="6" y="42"/>
                </a:lnTo>
                <a:lnTo>
                  <a:pt x="6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30" y="18"/>
                </a:lnTo>
                <a:lnTo>
                  <a:pt x="30" y="18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6" y="6"/>
                </a:lnTo>
                <a:lnTo>
                  <a:pt x="36" y="6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8"/>
                </a:lnTo>
                <a:lnTo>
                  <a:pt x="90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24"/>
                </a:lnTo>
                <a:lnTo>
                  <a:pt x="90" y="24"/>
                </a:lnTo>
                <a:lnTo>
                  <a:pt x="90" y="24"/>
                </a:lnTo>
                <a:lnTo>
                  <a:pt x="84" y="24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24"/>
                </a:lnTo>
                <a:lnTo>
                  <a:pt x="84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30"/>
                </a:lnTo>
                <a:lnTo>
                  <a:pt x="78" y="30"/>
                </a:lnTo>
                <a:lnTo>
                  <a:pt x="78" y="36"/>
                </a:lnTo>
                <a:lnTo>
                  <a:pt x="78" y="42"/>
                </a:lnTo>
                <a:lnTo>
                  <a:pt x="78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78" y="42"/>
                </a:lnTo>
                <a:lnTo>
                  <a:pt x="78" y="42"/>
                </a:lnTo>
                <a:lnTo>
                  <a:pt x="84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84" y="54"/>
                </a:lnTo>
                <a:lnTo>
                  <a:pt x="84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60"/>
                </a:lnTo>
                <a:lnTo>
                  <a:pt x="78" y="60"/>
                </a:lnTo>
                <a:lnTo>
                  <a:pt x="78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72"/>
                </a:lnTo>
                <a:lnTo>
                  <a:pt x="66" y="72"/>
                </a:lnTo>
                <a:lnTo>
                  <a:pt x="66" y="72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0" y="54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18" y="48"/>
                </a:lnTo>
                <a:lnTo>
                  <a:pt x="18" y="48"/>
                </a:lnTo>
                <a:lnTo>
                  <a:pt x="18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0" y="4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36" name="Freeform 369"/>
          <p:cNvSpPr>
            <a:spLocks/>
          </p:cNvSpPr>
          <p:nvPr/>
        </p:nvSpPr>
        <p:spPr bwMode="auto">
          <a:xfrm>
            <a:off x="6832582" y="3993674"/>
            <a:ext cx="64240" cy="96361"/>
          </a:xfrm>
          <a:custGeom>
            <a:avLst/>
            <a:gdLst>
              <a:gd name="T0" fmla="*/ 0 w 60"/>
              <a:gd name="T1" fmla="*/ 54 h 90"/>
              <a:gd name="T2" fmla="*/ 0 w 60"/>
              <a:gd name="T3" fmla="*/ 54 h 90"/>
              <a:gd name="T4" fmla="*/ 0 w 60"/>
              <a:gd name="T5" fmla="*/ 48 h 90"/>
              <a:gd name="T6" fmla="*/ 0 w 60"/>
              <a:gd name="T7" fmla="*/ 48 h 90"/>
              <a:gd name="T8" fmla="*/ 0 w 60"/>
              <a:gd name="T9" fmla="*/ 42 h 90"/>
              <a:gd name="T10" fmla="*/ 0 w 60"/>
              <a:gd name="T11" fmla="*/ 36 h 90"/>
              <a:gd name="T12" fmla="*/ 0 w 60"/>
              <a:gd name="T13" fmla="*/ 36 h 90"/>
              <a:gd name="T14" fmla="*/ 0 w 60"/>
              <a:gd name="T15" fmla="*/ 36 h 90"/>
              <a:gd name="T16" fmla="*/ 6 w 60"/>
              <a:gd name="T17" fmla="*/ 24 h 90"/>
              <a:gd name="T18" fmla="*/ 6 w 60"/>
              <a:gd name="T19" fmla="*/ 24 h 90"/>
              <a:gd name="T20" fmla="*/ 6 w 60"/>
              <a:gd name="T21" fmla="*/ 18 h 90"/>
              <a:gd name="T22" fmla="*/ 6 w 60"/>
              <a:gd name="T23" fmla="*/ 18 h 90"/>
              <a:gd name="T24" fmla="*/ 6 w 60"/>
              <a:gd name="T25" fmla="*/ 12 h 90"/>
              <a:gd name="T26" fmla="*/ 6 w 60"/>
              <a:gd name="T27" fmla="*/ 12 h 90"/>
              <a:gd name="T28" fmla="*/ 18 w 60"/>
              <a:gd name="T29" fmla="*/ 18 h 90"/>
              <a:gd name="T30" fmla="*/ 18 w 60"/>
              <a:gd name="T31" fmla="*/ 18 h 90"/>
              <a:gd name="T32" fmla="*/ 24 w 60"/>
              <a:gd name="T33" fmla="*/ 12 h 90"/>
              <a:gd name="T34" fmla="*/ 30 w 60"/>
              <a:gd name="T35" fmla="*/ 12 h 90"/>
              <a:gd name="T36" fmla="*/ 36 w 60"/>
              <a:gd name="T37" fmla="*/ 6 h 90"/>
              <a:gd name="T38" fmla="*/ 42 w 60"/>
              <a:gd name="T39" fmla="*/ 6 h 90"/>
              <a:gd name="T40" fmla="*/ 42 w 60"/>
              <a:gd name="T41" fmla="*/ 0 h 90"/>
              <a:gd name="T42" fmla="*/ 48 w 60"/>
              <a:gd name="T43" fmla="*/ 0 h 90"/>
              <a:gd name="T44" fmla="*/ 54 w 60"/>
              <a:gd name="T45" fmla="*/ 0 h 90"/>
              <a:gd name="T46" fmla="*/ 54 w 60"/>
              <a:gd name="T47" fmla="*/ 6 h 90"/>
              <a:gd name="T48" fmla="*/ 54 w 60"/>
              <a:gd name="T49" fmla="*/ 12 h 90"/>
              <a:gd name="T50" fmla="*/ 48 w 60"/>
              <a:gd name="T51" fmla="*/ 12 h 90"/>
              <a:gd name="T52" fmla="*/ 48 w 60"/>
              <a:gd name="T53" fmla="*/ 18 h 90"/>
              <a:gd name="T54" fmla="*/ 48 w 60"/>
              <a:gd name="T55" fmla="*/ 24 h 90"/>
              <a:gd name="T56" fmla="*/ 48 w 60"/>
              <a:gd name="T57" fmla="*/ 24 h 90"/>
              <a:gd name="T58" fmla="*/ 48 w 60"/>
              <a:gd name="T59" fmla="*/ 30 h 90"/>
              <a:gd name="T60" fmla="*/ 54 w 60"/>
              <a:gd name="T61" fmla="*/ 30 h 90"/>
              <a:gd name="T62" fmla="*/ 54 w 60"/>
              <a:gd name="T63" fmla="*/ 30 h 90"/>
              <a:gd name="T64" fmla="*/ 54 w 60"/>
              <a:gd name="T65" fmla="*/ 36 h 90"/>
              <a:gd name="T66" fmla="*/ 54 w 60"/>
              <a:gd name="T67" fmla="*/ 36 h 90"/>
              <a:gd name="T68" fmla="*/ 54 w 60"/>
              <a:gd name="T69" fmla="*/ 42 h 90"/>
              <a:gd name="T70" fmla="*/ 48 w 60"/>
              <a:gd name="T71" fmla="*/ 48 h 90"/>
              <a:gd name="T72" fmla="*/ 48 w 60"/>
              <a:gd name="T73" fmla="*/ 48 h 90"/>
              <a:gd name="T74" fmla="*/ 48 w 60"/>
              <a:gd name="T75" fmla="*/ 48 h 90"/>
              <a:gd name="T76" fmla="*/ 48 w 60"/>
              <a:gd name="T77" fmla="*/ 54 h 90"/>
              <a:gd name="T78" fmla="*/ 54 w 60"/>
              <a:gd name="T79" fmla="*/ 54 h 90"/>
              <a:gd name="T80" fmla="*/ 54 w 60"/>
              <a:gd name="T81" fmla="*/ 60 h 90"/>
              <a:gd name="T82" fmla="*/ 54 w 60"/>
              <a:gd name="T83" fmla="*/ 66 h 90"/>
              <a:gd name="T84" fmla="*/ 54 w 60"/>
              <a:gd name="T85" fmla="*/ 66 h 90"/>
              <a:gd name="T86" fmla="*/ 48 w 60"/>
              <a:gd name="T87" fmla="*/ 66 h 90"/>
              <a:gd name="T88" fmla="*/ 54 w 60"/>
              <a:gd name="T89" fmla="*/ 72 h 90"/>
              <a:gd name="T90" fmla="*/ 54 w 60"/>
              <a:gd name="T91" fmla="*/ 78 h 90"/>
              <a:gd name="T92" fmla="*/ 48 w 60"/>
              <a:gd name="T93" fmla="*/ 84 h 90"/>
              <a:gd name="T94" fmla="*/ 48 w 60"/>
              <a:gd name="T95" fmla="*/ 90 h 90"/>
              <a:gd name="T96" fmla="*/ 42 w 60"/>
              <a:gd name="T97" fmla="*/ 90 h 90"/>
              <a:gd name="T98" fmla="*/ 42 w 60"/>
              <a:gd name="T99" fmla="*/ 90 h 90"/>
              <a:gd name="T100" fmla="*/ 36 w 60"/>
              <a:gd name="T101" fmla="*/ 84 h 90"/>
              <a:gd name="T102" fmla="*/ 36 w 60"/>
              <a:gd name="T103" fmla="*/ 84 h 90"/>
              <a:gd name="T104" fmla="*/ 30 w 60"/>
              <a:gd name="T105" fmla="*/ 78 h 90"/>
              <a:gd name="T106" fmla="*/ 30 w 60"/>
              <a:gd name="T107" fmla="*/ 78 h 90"/>
              <a:gd name="T108" fmla="*/ 30 w 60"/>
              <a:gd name="T109" fmla="*/ 72 h 90"/>
              <a:gd name="T110" fmla="*/ 24 w 60"/>
              <a:gd name="T111" fmla="*/ 72 h 90"/>
              <a:gd name="T112" fmla="*/ 18 w 60"/>
              <a:gd name="T113" fmla="*/ 72 h 90"/>
              <a:gd name="T114" fmla="*/ 18 w 60"/>
              <a:gd name="T115" fmla="*/ 66 h 90"/>
              <a:gd name="T116" fmla="*/ 6 w 60"/>
              <a:gd name="T117" fmla="*/ 66 h 90"/>
              <a:gd name="T118" fmla="*/ 0 w 60"/>
              <a:gd name="T119" fmla="*/ 60 h 90"/>
              <a:gd name="T120" fmla="*/ 0 w 60"/>
              <a:gd name="T121" fmla="*/ 60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0" h="90">
                <a:moveTo>
                  <a:pt x="0" y="60"/>
                </a:move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36"/>
                </a:lnTo>
                <a:lnTo>
                  <a:pt x="6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0"/>
                </a:lnTo>
                <a:lnTo>
                  <a:pt x="0" y="30"/>
                </a:lnTo>
                <a:lnTo>
                  <a:pt x="6" y="24"/>
                </a:lnTo>
                <a:lnTo>
                  <a:pt x="6" y="24"/>
                </a:lnTo>
                <a:lnTo>
                  <a:pt x="0" y="24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12" y="12"/>
                </a:lnTo>
                <a:lnTo>
                  <a:pt x="18" y="18"/>
                </a:lnTo>
                <a:lnTo>
                  <a:pt x="18" y="18"/>
                </a:lnTo>
                <a:lnTo>
                  <a:pt x="18" y="12"/>
                </a:lnTo>
                <a:lnTo>
                  <a:pt x="18" y="12"/>
                </a:lnTo>
                <a:lnTo>
                  <a:pt x="18" y="18"/>
                </a:lnTo>
                <a:lnTo>
                  <a:pt x="24" y="18"/>
                </a:lnTo>
                <a:lnTo>
                  <a:pt x="24" y="18"/>
                </a:lnTo>
                <a:lnTo>
                  <a:pt x="24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54" y="0"/>
                </a:lnTo>
                <a:lnTo>
                  <a:pt x="54" y="0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48" y="12"/>
                </a:lnTo>
                <a:lnTo>
                  <a:pt x="48" y="12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60" y="36"/>
                </a:lnTo>
                <a:lnTo>
                  <a:pt x="54" y="36"/>
                </a:lnTo>
                <a:lnTo>
                  <a:pt x="54" y="36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54" y="54"/>
                </a:lnTo>
                <a:lnTo>
                  <a:pt x="54" y="54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60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48" y="66"/>
                </a:lnTo>
                <a:lnTo>
                  <a:pt x="54" y="66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8"/>
                </a:lnTo>
                <a:lnTo>
                  <a:pt x="48" y="78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0" y="84"/>
                </a:lnTo>
                <a:lnTo>
                  <a:pt x="30" y="84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2"/>
                </a:lnTo>
                <a:lnTo>
                  <a:pt x="30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66"/>
                </a:lnTo>
                <a:lnTo>
                  <a:pt x="12" y="66"/>
                </a:lnTo>
                <a:lnTo>
                  <a:pt x="12" y="66"/>
                </a:lnTo>
                <a:lnTo>
                  <a:pt x="6" y="66"/>
                </a:lnTo>
                <a:lnTo>
                  <a:pt x="6" y="66"/>
                </a:lnTo>
                <a:lnTo>
                  <a:pt x="6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37" name="Freeform 370"/>
          <p:cNvSpPr>
            <a:spLocks/>
          </p:cNvSpPr>
          <p:nvPr/>
        </p:nvSpPr>
        <p:spPr bwMode="auto">
          <a:xfrm>
            <a:off x="7095968" y="4179973"/>
            <a:ext cx="89937" cy="83513"/>
          </a:xfrm>
          <a:custGeom>
            <a:avLst/>
            <a:gdLst>
              <a:gd name="T0" fmla="*/ 0 w 84"/>
              <a:gd name="T1" fmla="*/ 48 h 78"/>
              <a:gd name="T2" fmla="*/ 6 w 84"/>
              <a:gd name="T3" fmla="*/ 48 h 78"/>
              <a:gd name="T4" fmla="*/ 18 w 84"/>
              <a:gd name="T5" fmla="*/ 54 h 78"/>
              <a:gd name="T6" fmla="*/ 18 w 84"/>
              <a:gd name="T7" fmla="*/ 42 h 78"/>
              <a:gd name="T8" fmla="*/ 24 w 84"/>
              <a:gd name="T9" fmla="*/ 36 h 78"/>
              <a:gd name="T10" fmla="*/ 18 w 84"/>
              <a:gd name="T11" fmla="*/ 30 h 78"/>
              <a:gd name="T12" fmla="*/ 18 w 84"/>
              <a:gd name="T13" fmla="*/ 30 h 78"/>
              <a:gd name="T14" fmla="*/ 18 w 84"/>
              <a:gd name="T15" fmla="*/ 30 h 78"/>
              <a:gd name="T16" fmla="*/ 12 w 84"/>
              <a:gd name="T17" fmla="*/ 30 h 78"/>
              <a:gd name="T18" fmla="*/ 6 w 84"/>
              <a:gd name="T19" fmla="*/ 24 h 78"/>
              <a:gd name="T20" fmla="*/ 6 w 84"/>
              <a:gd name="T21" fmla="*/ 24 h 78"/>
              <a:gd name="T22" fmla="*/ 0 w 84"/>
              <a:gd name="T23" fmla="*/ 24 h 78"/>
              <a:gd name="T24" fmla="*/ 6 w 84"/>
              <a:gd name="T25" fmla="*/ 18 h 78"/>
              <a:gd name="T26" fmla="*/ 0 w 84"/>
              <a:gd name="T27" fmla="*/ 18 h 78"/>
              <a:gd name="T28" fmla="*/ 0 w 84"/>
              <a:gd name="T29" fmla="*/ 18 h 78"/>
              <a:gd name="T30" fmla="*/ 6 w 84"/>
              <a:gd name="T31" fmla="*/ 12 h 78"/>
              <a:gd name="T32" fmla="*/ 6 w 84"/>
              <a:gd name="T33" fmla="*/ 6 h 78"/>
              <a:gd name="T34" fmla="*/ 6 w 84"/>
              <a:gd name="T35" fmla="*/ 0 h 78"/>
              <a:gd name="T36" fmla="*/ 12 w 84"/>
              <a:gd name="T37" fmla="*/ 6 h 78"/>
              <a:gd name="T38" fmla="*/ 24 w 84"/>
              <a:gd name="T39" fmla="*/ 6 h 78"/>
              <a:gd name="T40" fmla="*/ 30 w 84"/>
              <a:gd name="T41" fmla="*/ 6 h 78"/>
              <a:gd name="T42" fmla="*/ 36 w 84"/>
              <a:gd name="T43" fmla="*/ 12 h 78"/>
              <a:gd name="T44" fmla="*/ 42 w 84"/>
              <a:gd name="T45" fmla="*/ 6 h 78"/>
              <a:gd name="T46" fmla="*/ 48 w 84"/>
              <a:gd name="T47" fmla="*/ 6 h 78"/>
              <a:gd name="T48" fmla="*/ 48 w 84"/>
              <a:gd name="T49" fmla="*/ 6 h 78"/>
              <a:gd name="T50" fmla="*/ 48 w 84"/>
              <a:gd name="T51" fmla="*/ 18 h 78"/>
              <a:gd name="T52" fmla="*/ 48 w 84"/>
              <a:gd name="T53" fmla="*/ 24 h 78"/>
              <a:gd name="T54" fmla="*/ 54 w 84"/>
              <a:gd name="T55" fmla="*/ 24 h 78"/>
              <a:gd name="T56" fmla="*/ 60 w 84"/>
              <a:gd name="T57" fmla="*/ 30 h 78"/>
              <a:gd name="T58" fmla="*/ 66 w 84"/>
              <a:gd name="T59" fmla="*/ 30 h 78"/>
              <a:gd name="T60" fmla="*/ 66 w 84"/>
              <a:gd name="T61" fmla="*/ 30 h 78"/>
              <a:gd name="T62" fmla="*/ 72 w 84"/>
              <a:gd name="T63" fmla="*/ 30 h 78"/>
              <a:gd name="T64" fmla="*/ 72 w 84"/>
              <a:gd name="T65" fmla="*/ 36 h 78"/>
              <a:gd name="T66" fmla="*/ 72 w 84"/>
              <a:gd name="T67" fmla="*/ 36 h 78"/>
              <a:gd name="T68" fmla="*/ 72 w 84"/>
              <a:gd name="T69" fmla="*/ 36 h 78"/>
              <a:gd name="T70" fmla="*/ 78 w 84"/>
              <a:gd name="T71" fmla="*/ 42 h 78"/>
              <a:gd name="T72" fmla="*/ 78 w 84"/>
              <a:gd name="T73" fmla="*/ 48 h 78"/>
              <a:gd name="T74" fmla="*/ 84 w 84"/>
              <a:gd name="T75" fmla="*/ 48 h 78"/>
              <a:gd name="T76" fmla="*/ 78 w 84"/>
              <a:gd name="T77" fmla="*/ 54 h 78"/>
              <a:gd name="T78" fmla="*/ 72 w 84"/>
              <a:gd name="T79" fmla="*/ 54 h 78"/>
              <a:gd name="T80" fmla="*/ 72 w 84"/>
              <a:gd name="T81" fmla="*/ 54 h 78"/>
              <a:gd name="T82" fmla="*/ 66 w 84"/>
              <a:gd name="T83" fmla="*/ 60 h 78"/>
              <a:gd name="T84" fmla="*/ 60 w 84"/>
              <a:gd name="T85" fmla="*/ 60 h 78"/>
              <a:gd name="T86" fmla="*/ 54 w 84"/>
              <a:gd name="T87" fmla="*/ 60 h 78"/>
              <a:gd name="T88" fmla="*/ 48 w 84"/>
              <a:gd name="T89" fmla="*/ 66 h 78"/>
              <a:gd name="T90" fmla="*/ 48 w 84"/>
              <a:gd name="T91" fmla="*/ 72 h 78"/>
              <a:gd name="T92" fmla="*/ 48 w 84"/>
              <a:gd name="T93" fmla="*/ 72 h 78"/>
              <a:gd name="T94" fmla="*/ 42 w 84"/>
              <a:gd name="T95" fmla="*/ 78 h 78"/>
              <a:gd name="T96" fmla="*/ 42 w 84"/>
              <a:gd name="T97" fmla="*/ 78 h 78"/>
              <a:gd name="T98" fmla="*/ 36 w 84"/>
              <a:gd name="T99" fmla="*/ 78 h 78"/>
              <a:gd name="T100" fmla="*/ 30 w 84"/>
              <a:gd name="T101" fmla="*/ 72 h 78"/>
              <a:gd name="T102" fmla="*/ 30 w 84"/>
              <a:gd name="T103" fmla="*/ 72 h 78"/>
              <a:gd name="T104" fmla="*/ 30 w 84"/>
              <a:gd name="T105" fmla="*/ 66 h 78"/>
              <a:gd name="T106" fmla="*/ 24 w 84"/>
              <a:gd name="T107" fmla="*/ 66 h 78"/>
              <a:gd name="T108" fmla="*/ 18 w 84"/>
              <a:gd name="T109" fmla="*/ 72 h 78"/>
              <a:gd name="T110" fmla="*/ 18 w 84"/>
              <a:gd name="T111" fmla="*/ 72 h 78"/>
              <a:gd name="T112" fmla="*/ 6 w 84"/>
              <a:gd name="T113" fmla="*/ 72 h 78"/>
              <a:gd name="T114" fmla="*/ 6 w 84"/>
              <a:gd name="T115" fmla="*/ 60 h 78"/>
              <a:gd name="T116" fmla="*/ 0 w 84"/>
              <a:gd name="T117" fmla="*/ 54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84" h="78">
                <a:moveTo>
                  <a:pt x="0" y="54"/>
                </a:moveTo>
                <a:lnTo>
                  <a:pt x="0" y="54"/>
                </a:lnTo>
                <a:lnTo>
                  <a:pt x="0" y="54"/>
                </a:lnTo>
                <a:lnTo>
                  <a:pt x="0" y="48"/>
                </a:lnTo>
                <a:lnTo>
                  <a:pt x="0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8" y="54"/>
                </a:lnTo>
                <a:lnTo>
                  <a:pt x="18" y="48"/>
                </a:lnTo>
                <a:lnTo>
                  <a:pt x="18" y="48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24" y="36"/>
                </a:lnTo>
                <a:lnTo>
                  <a:pt x="24" y="36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6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6" y="18"/>
                </a:lnTo>
                <a:lnTo>
                  <a:pt x="6" y="18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0"/>
                </a:lnTo>
                <a:lnTo>
                  <a:pt x="12" y="0"/>
                </a:lnTo>
                <a:lnTo>
                  <a:pt x="12" y="0"/>
                </a:lnTo>
                <a:lnTo>
                  <a:pt x="12" y="6"/>
                </a:lnTo>
                <a:lnTo>
                  <a:pt x="12" y="6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12"/>
                </a:lnTo>
                <a:lnTo>
                  <a:pt x="42" y="12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12"/>
                </a:lnTo>
                <a:lnTo>
                  <a:pt x="48" y="12"/>
                </a:lnTo>
                <a:lnTo>
                  <a:pt x="42" y="12"/>
                </a:lnTo>
                <a:lnTo>
                  <a:pt x="48" y="18"/>
                </a:lnTo>
                <a:lnTo>
                  <a:pt x="48" y="18"/>
                </a:lnTo>
                <a:lnTo>
                  <a:pt x="42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60" y="24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8" y="36"/>
                </a:lnTo>
                <a:lnTo>
                  <a:pt x="78" y="36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84" y="48"/>
                </a:lnTo>
                <a:lnTo>
                  <a:pt x="78" y="48"/>
                </a:lnTo>
                <a:lnTo>
                  <a:pt x="78" y="48"/>
                </a:lnTo>
                <a:lnTo>
                  <a:pt x="78" y="54"/>
                </a:lnTo>
                <a:lnTo>
                  <a:pt x="78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54" y="60"/>
                </a:lnTo>
                <a:lnTo>
                  <a:pt x="54" y="66"/>
                </a:lnTo>
                <a:lnTo>
                  <a:pt x="54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18" y="66"/>
                </a:lnTo>
                <a:lnTo>
                  <a:pt x="24" y="72"/>
                </a:lnTo>
                <a:lnTo>
                  <a:pt x="24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2" y="72"/>
                </a:lnTo>
                <a:lnTo>
                  <a:pt x="6" y="72"/>
                </a:lnTo>
                <a:lnTo>
                  <a:pt x="6" y="66"/>
                </a:lnTo>
                <a:lnTo>
                  <a:pt x="0" y="66"/>
                </a:lnTo>
                <a:lnTo>
                  <a:pt x="6" y="66"/>
                </a:lnTo>
                <a:lnTo>
                  <a:pt x="6" y="60"/>
                </a:lnTo>
                <a:lnTo>
                  <a:pt x="6" y="60"/>
                </a:lnTo>
                <a:lnTo>
                  <a:pt x="0" y="60"/>
                </a:lnTo>
                <a:lnTo>
                  <a:pt x="0" y="60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38" name="Freeform 371"/>
          <p:cNvSpPr>
            <a:spLocks/>
          </p:cNvSpPr>
          <p:nvPr/>
        </p:nvSpPr>
        <p:spPr bwMode="auto">
          <a:xfrm>
            <a:off x="7192329" y="4334151"/>
            <a:ext cx="64240" cy="44969"/>
          </a:xfrm>
          <a:custGeom>
            <a:avLst/>
            <a:gdLst>
              <a:gd name="T0" fmla="*/ 0 w 60"/>
              <a:gd name="T1" fmla="*/ 36 h 42"/>
              <a:gd name="T2" fmla="*/ 0 w 60"/>
              <a:gd name="T3" fmla="*/ 36 h 42"/>
              <a:gd name="T4" fmla="*/ 0 w 60"/>
              <a:gd name="T5" fmla="*/ 30 h 42"/>
              <a:gd name="T6" fmla="*/ 0 w 60"/>
              <a:gd name="T7" fmla="*/ 30 h 42"/>
              <a:gd name="T8" fmla="*/ 0 w 60"/>
              <a:gd name="T9" fmla="*/ 30 h 42"/>
              <a:gd name="T10" fmla="*/ 0 w 60"/>
              <a:gd name="T11" fmla="*/ 24 h 42"/>
              <a:gd name="T12" fmla="*/ 6 w 60"/>
              <a:gd name="T13" fmla="*/ 24 h 42"/>
              <a:gd name="T14" fmla="*/ 6 w 60"/>
              <a:gd name="T15" fmla="*/ 24 h 42"/>
              <a:gd name="T16" fmla="*/ 12 w 60"/>
              <a:gd name="T17" fmla="*/ 24 h 42"/>
              <a:gd name="T18" fmla="*/ 12 w 60"/>
              <a:gd name="T19" fmla="*/ 24 h 42"/>
              <a:gd name="T20" fmla="*/ 18 w 60"/>
              <a:gd name="T21" fmla="*/ 18 h 42"/>
              <a:gd name="T22" fmla="*/ 18 w 60"/>
              <a:gd name="T23" fmla="*/ 18 h 42"/>
              <a:gd name="T24" fmla="*/ 18 w 60"/>
              <a:gd name="T25" fmla="*/ 12 h 42"/>
              <a:gd name="T26" fmla="*/ 24 w 60"/>
              <a:gd name="T27" fmla="*/ 12 h 42"/>
              <a:gd name="T28" fmla="*/ 24 w 60"/>
              <a:gd name="T29" fmla="*/ 12 h 42"/>
              <a:gd name="T30" fmla="*/ 30 w 60"/>
              <a:gd name="T31" fmla="*/ 6 h 42"/>
              <a:gd name="T32" fmla="*/ 36 w 60"/>
              <a:gd name="T33" fmla="*/ 0 h 42"/>
              <a:gd name="T34" fmla="*/ 36 w 60"/>
              <a:gd name="T35" fmla="*/ 0 h 42"/>
              <a:gd name="T36" fmla="*/ 42 w 60"/>
              <a:gd name="T37" fmla="*/ 0 h 42"/>
              <a:gd name="T38" fmla="*/ 42 w 60"/>
              <a:gd name="T39" fmla="*/ 6 h 42"/>
              <a:gd name="T40" fmla="*/ 48 w 60"/>
              <a:gd name="T41" fmla="*/ 6 h 42"/>
              <a:gd name="T42" fmla="*/ 54 w 60"/>
              <a:gd name="T43" fmla="*/ 6 h 42"/>
              <a:gd name="T44" fmla="*/ 54 w 60"/>
              <a:gd name="T45" fmla="*/ 12 h 42"/>
              <a:gd name="T46" fmla="*/ 54 w 60"/>
              <a:gd name="T47" fmla="*/ 12 h 42"/>
              <a:gd name="T48" fmla="*/ 60 w 60"/>
              <a:gd name="T49" fmla="*/ 12 h 42"/>
              <a:gd name="T50" fmla="*/ 60 w 60"/>
              <a:gd name="T51" fmla="*/ 18 h 42"/>
              <a:gd name="T52" fmla="*/ 54 w 60"/>
              <a:gd name="T53" fmla="*/ 24 h 42"/>
              <a:gd name="T54" fmla="*/ 48 w 60"/>
              <a:gd name="T55" fmla="*/ 24 h 42"/>
              <a:gd name="T56" fmla="*/ 48 w 60"/>
              <a:gd name="T57" fmla="*/ 24 h 42"/>
              <a:gd name="T58" fmla="*/ 42 w 60"/>
              <a:gd name="T59" fmla="*/ 24 h 42"/>
              <a:gd name="T60" fmla="*/ 42 w 60"/>
              <a:gd name="T61" fmla="*/ 30 h 42"/>
              <a:gd name="T62" fmla="*/ 42 w 60"/>
              <a:gd name="T63" fmla="*/ 30 h 42"/>
              <a:gd name="T64" fmla="*/ 36 w 60"/>
              <a:gd name="T65" fmla="*/ 30 h 42"/>
              <a:gd name="T66" fmla="*/ 36 w 60"/>
              <a:gd name="T67" fmla="*/ 36 h 42"/>
              <a:gd name="T68" fmla="*/ 30 w 60"/>
              <a:gd name="T69" fmla="*/ 30 h 42"/>
              <a:gd name="T70" fmla="*/ 30 w 60"/>
              <a:gd name="T71" fmla="*/ 30 h 42"/>
              <a:gd name="T72" fmla="*/ 24 w 60"/>
              <a:gd name="T73" fmla="*/ 30 h 42"/>
              <a:gd name="T74" fmla="*/ 24 w 60"/>
              <a:gd name="T75" fmla="*/ 36 h 42"/>
              <a:gd name="T76" fmla="*/ 24 w 60"/>
              <a:gd name="T77" fmla="*/ 36 h 42"/>
              <a:gd name="T78" fmla="*/ 24 w 60"/>
              <a:gd name="T79" fmla="*/ 36 h 42"/>
              <a:gd name="T80" fmla="*/ 18 w 60"/>
              <a:gd name="T81" fmla="*/ 42 h 42"/>
              <a:gd name="T82" fmla="*/ 18 w 60"/>
              <a:gd name="T83" fmla="*/ 36 h 42"/>
              <a:gd name="T84" fmla="*/ 18 w 60"/>
              <a:gd name="T85" fmla="*/ 36 h 42"/>
              <a:gd name="T86" fmla="*/ 12 w 60"/>
              <a:gd name="T87" fmla="*/ 42 h 42"/>
              <a:gd name="T88" fmla="*/ 12 w 60"/>
              <a:gd name="T89" fmla="*/ 42 h 42"/>
              <a:gd name="T90" fmla="*/ 6 w 60"/>
              <a:gd name="T91" fmla="*/ 36 h 42"/>
              <a:gd name="T92" fmla="*/ 0 w 60"/>
              <a:gd name="T93" fmla="*/ 42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60" h="42">
                <a:moveTo>
                  <a:pt x="0" y="42"/>
                </a:moveTo>
                <a:lnTo>
                  <a:pt x="0" y="42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30" y="12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54" y="18"/>
                </a:lnTo>
                <a:lnTo>
                  <a:pt x="54" y="24"/>
                </a:lnTo>
                <a:lnTo>
                  <a:pt x="54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2" y="24"/>
                </a:lnTo>
                <a:lnTo>
                  <a:pt x="42" y="30"/>
                </a:lnTo>
                <a:lnTo>
                  <a:pt x="42" y="24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6"/>
                </a:lnTo>
                <a:lnTo>
                  <a:pt x="36" y="36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18" y="36"/>
                </a:lnTo>
                <a:lnTo>
                  <a:pt x="24" y="36"/>
                </a:lnTo>
                <a:lnTo>
                  <a:pt x="24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6" y="36"/>
                </a:lnTo>
                <a:lnTo>
                  <a:pt x="6" y="36"/>
                </a:lnTo>
                <a:lnTo>
                  <a:pt x="6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39" name="Freeform 372"/>
          <p:cNvSpPr>
            <a:spLocks/>
          </p:cNvSpPr>
          <p:nvPr/>
        </p:nvSpPr>
        <p:spPr bwMode="auto">
          <a:xfrm>
            <a:off x="6530652" y="4173549"/>
            <a:ext cx="199146" cy="128482"/>
          </a:xfrm>
          <a:custGeom>
            <a:avLst/>
            <a:gdLst>
              <a:gd name="T0" fmla="*/ 0 w 186"/>
              <a:gd name="T1" fmla="*/ 78 h 120"/>
              <a:gd name="T2" fmla="*/ 0 w 186"/>
              <a:gd name="T3" fmla="*/ 72 h 120"/>
              <a:gd name="T4" fmla="*/ 6 w 186"/>
              <a:gd name="T5" fmla="*/ 66 h 120"/>
              <a:gd name="T6" fmla="*/ 18 w 186"/>
              <a:gd name="T7" fmla="*/ 60 h 120"/>
              <a:gd name="T8" fmla="*/ 30 w 186"/>
              <a:gd name="T9" fmla="*/ 60 h 120"/>
              <a:gd name="T10" fmla="*/ 36 w 186"/>
              <a:gd name="T11" fmla="*/ 66 h 120"/>
              <a:gd name="T12" fmla="*/ 42 w 186"/>
              <a:gd name="T13" fmla="*/ 78 h 120"/>
              <a:gd name="T14" fmla="*/ 48 w 186"/>
              <a:gd name="T15" fmla="*/ 84 h 120"/>
              <a:gd name="T16" fmla="*/ 48 w 186"/>
              <a:gd name="T17" fmla="*/ 78 h 120"/>
              <a:gd name="T18" fmla="*/ 54 w 186"/>
              <a:gd name="T19" fmla="*/ 84 h 120"/>
              <a:gd name="T20" fmla="*/ 60 w 186"/>
              <a:gd name="T21" fmla="*/ 84 h 120"/>
              <a:gd name="T22" fmla="*/ 60 w 186"/>
              <a:gd name="T23" fmla="*/ 78 h 120"/>
              <a:gd name="T24" fmla="*/ 60 w 186"/>
              <a:gd name="T25" fmla="*/ 66 h 120"/>
              <a:gd name="T26" fmla="*/ 60 w 186"/>
              <a:gd name="T27" fmla="*/ 54 h 120"/>
              <a:gd name="T28" fmla="*/ 72 w 186"/>
              <a:gd name="T29" fmla="*/ 42 h 120"/>
              <a:gd name="T30" fmla="*/ 72 w 186"/>
              <a:gd name="T31" fmla="*/ 30 h 120"/>
              <a:gd name="T32" fmla="*/ 72 w 186"/>
              <a:gd name="T33" fmla="*/ 24 h 120"/>
              <a:gd name="T34" fmla="*/ 78 w 186"/>
              <a:gd name="T35" fmla="*/ 18 h 120"/>
              <a:gd name="T36" fmla="*/ 72 w 186"/>
              <a:gd name="T37" fmla="*/ 12 h 120"/>
              <a:gd name="T38" fmla="*/ 84 w 186"/>
              <a:gd name="T39" fmla="*/ 0 h 120"/>
              <a:gd name="T40" fmla="*/ 90 w 186"/>
              <a:gd name="T41" fmla="*/ 6 h 120"/>
              <a:gd name="T42" fmla="*/ 96 w 186"/>
              <a:gd name="T43" fmla="*/ 6 h 120"/>
              <a:gd name="T44" fmla="*/ 102 w 186"/>
              <a:gd name="T45" fmla="*/ 12 h 120"/>
              <a:gd name="T46" fmla="*/ 108 w 186"/>
              <a:gd name="T47" fmla="*/ 18 h 120"/>
              <a:gd name="T48" fmla="*/ 120 w 186"/>
              <a:gd name="T49" fmla="*/ 18 h 120"/>
              <a:gd name="T50" fmla="*/ 126 w 186"/>
              <a:gd name="T51" fmla="*/ 24 h 120"/>
              <a:gd name="T52" fmla="*/ 132 w 186"/>
              <a:gd name="T53" fmla="*/ 24 h 120"/>
              <a:gd name="T54" fmla="*/ 126 w 186"/>
              <a:gd name="T55" fmla="*/ 36 h 120"/>
              <a:gd name="T56" fmla="*/ 126 w 186"/>
              <a:gd name="T57" fmla="*/ 42 h 120"/>
              <a:gd name="T58" fmla="*/ 132 w 186"/>
              <a:gd name="T59" fmla="*/ 48 h 120"/>
              <a:gd name="T60" fmla="*/ 126 w 186"/>
              <a:gd name="T61" fmla="*/ 54 h 120"/>
              <a:gd name="T62" fmla="*/ 126 w 186"/>
              <a:gd name="T63" fmla="*/ 66 h 120"/>
              <a:gd name="T64" fmla="*/ 138 w 186"/>
              <a:gd name="T65" fmla="*/ 66 h 120"/>
              <a:gd name="T66" fmla="*/ 144 w 186"/>
              <a:gd name="T67" fmla="*/ 72 h 120"/>
              <a:gd name="T68" fmla="*/ 150 w 186"/>
              <a:gd name="T69" fmla="*/ 60 h 120"/>
              <a:gd name="T70" fmla="*/ 168 w 186"/>
              <a:gd name="T71" fmla="*/ 66 h 120"/>
              <a:gd name="T72" fmla="*/ 174 w 186"/>
              <a:gd name="T73" fmla="*/ 66 h 120"/>
              <a:gd name="T74" fmla="*/ 180 w 186"/>
              <a:gd name="T75" fmla="*/ 66 h 120"/>
              <a:gd name="T76" fmla="*/ 186 w 186"/>
              <a:gd name="T77" fmla="*/ 78 h 120"/>
              <a:gd name="T78" fmla="*/ 180 w 186"/>
              <a:gd name="T79" fmla="*/ 84 h 120"/>
              <a:gd name="T80" fmla="*/ 168 w 186"/>
              <a:gd name="T81" fmla="*/ 96 h 120"/>
              <a:gd name="T82" fmla="*/ 162 w 186"/>
              <a:gd name="T83" fmla="*/ 108 h 120"/>
              <a:gd name="T84" fmla="*/ 156 w 186"/>
              <a:gd name="T85" fmla="*/ 114 h 120"/>
              <a:gd name="T86" fmla="*/ 144 w 186"/>
              <a:gd name="T87" fmla="*/ 120 h 120"/>
              <a:gd name="T88" fmla="*/ 132 w 186"/>
              <a:gd name="T89" fmla="*/ 120 h 120"/>
              <a:gd name="T90" fmla="*/ 120 w 186"/>
              <a:gd name="T91" fmla="*/ 114 h 120"/>
              <a:gd name="T92" fmla="*/ 114 w 186"/>
              <a:gd name="T93" fmla="*/ 114 h 120"/>
              <a:gd name="T94" fmla="*/ 114 w 186"/>
              <a:gd name="T95" fmla="*/ 120 h 120"/>
              <a:gd name="T96" fmla="*/ 102 w 186"/>
              <a:gd name="T97" fmla="*/ 120 h 120"/>
              <a:gd name="T98" fmla="*/ 90 w 186"/>
              <a:gd name="T99" fmla="*/ 114 h 120"/>
              <a:gd name="T100" fmla="*/ 84 w 186"/>
              <a:gd name="T101" fmla="*/ 114 h 120"/>
              <a:gd name="T102" fmla="*/ 72 w 186"/>
              <a:gd name="T103" fmla="*/ 120 h 120"/>
              <a:gd name="T104" fmla="*/ 66 w 186"/>
              <a:gd name="T105" fmla="*/ 114 h 120"/>
              <a:gd name="T106" fmla="*/ 54 w 186"/>
              <a:gd name="T107" fmla="*/ 102 h 120"/>
              <a:gd name="T108" fmla="*/ 42 w 186"/>
              <a:gd name="T109" fmla="*/ 96 h 120"/>
              <a:gd name="T110" fmla="*/ 24 w 186"/>
              <a:gd name="T111" fmla="*/ 96 h 120"/>
              <a:gd name="T112" fmla="*/ 12 w 186"/>
              <a:gd name="T113" fmla="*/ 90 h 120"/>
              <a:gd name="T114" fmla="*/ 0 w 186"/>
              <a:gd name="T115" fmla="*/ 84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86" h="120">
                <a:moveTo>
                  <a:pt x="0" y="84"/>
                </a:move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6" y="72"/>
                </a:lnTo>
                <a:lnTo>
                  <a:pt x="0" y="72"/>
                </a:ln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30" y="60"/>
                </a:lnTo>
                <a:lnTo>
                  <a:pt x="30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42" y="66"/>
                </a:lnTo>
                <a:lnTo>
                  <a:pt x="42" y="66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8"/>
                </a:lnTo>
                <a:lnTo>
                  <a:pt x="42" y="78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48"/>
                </a:lnTo>
                <a:lnTo>
                  <a:pt x="66" y="48"/>
                </a:lnTo>
                <a:lnTo>
                  <a:pt x="72" y="48"/>
                </a:lnTo>
                <a:lnTo>
                  <a:pt x="72" y="42"/>
                </a:lnTo>
                <a:lnTo>
                  <a:pt x="66" y="42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0"/>
                </a:lnTo>
                <a:lnTo>
                  <a:pt x="72" y="30"/>
                </a:lnTo>
                <a:lnTo>
                  <a:pt x="78" y="30"/>
                </a:lnTo>
                <a:lnTo>
                  <a:pt x="78" y="30"/>
                </a:lnTo>
                <a:lnTo>
                  <a:pt x="72" y="30"/>
                </a:lnTo>
                <a:lnTo>
                  <a:pt x="72" y="24"/>
                </a:lnTo>
                <a:lnTo>
                  <a:pt x="72" y="24"/>
                </a:lnTo>
                <a:lnTo>
                  <a:pt x="78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8" y="24"/>
                </a:lnTo>
                <a:lnTo>
                  <a:pt x="78" y="18"/>
                </a:lnTo>
                <a:lnTo>
                  <a:pt x="72" y="18"/>
                </a:lnTo>
                <a:lnTo>
                  <a:pt x="72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2" y="12"/>
                </a:lnTo>
                <a:lnTo>
                  <a:pt x="72" y="6"/>
                </a:lnTo>
                <a:lnTo>
                  <a:pt x="78" y="6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24"/>
                </a:lnTo>
                <a:lnTo>
                  <a:pt x="120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26" y="24"/>
                </a:lnTo>
                <a:lnTo>
                  <a:pt x="126" y="30"/>
                </a:lnTo>
                <a:lnTo>
                  <a:pt x="126" y="30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8" y="48"/>
                </a:lnTo>
                <a:lnTo>
                  <a:pt x="138" y="48"/>
                </a:lnTo>
                <a:lnTo>
                  <a:pt x="138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54"/>
                </a:lnTo>
                <a:lnTo>
                  <a:pt x="132" y="54"/>
                </a:lnTo>
                <a:lnTo>
                  <a:pt x="132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32" y="66"/>
                </a:lnTo>
                <a:lnTo>
                  <a:pt x="132" y="66"/>
                </a:lnTo>
                <a:lnTo>
                  <a:pt x="132" y="72"/>
                </a:lnTo>
                <a:lnTo>
                  <a:pt x="132" y="72"/>
                </a:lnTo>
                <a:lnTo>
                  <a:pt x="138" y="66"/>
                </a:lnTo>
                <a:lnTo>
                  <a:pt x="138" y="66"/>
                </a:lnTo>
                <a:lnTo>
                  <a:pt x="138" y="66"/>
                </a:lnTo>
                <a:lnTo>
                  <a:pt x="138" y="66"/>
                </a:lnTo>
                <a:lnTo>
                  <a:pt x="138" y="66"/>
                </a:lnTo>
                <a:lnTo>
                  <a:pt x="144" y="66"/>
                </a:lnTo>
                <a:lnTo>
                  <a:pt x="144" y="66"/>
                </a:lnTo>
                <a:lnTo>
                  <a:pt x="144" y="72"/>
                </a:lnTo>
                <a:lnTo>
                  <a:pt x="144" y="72"/>
                </a:lnTo>
                <a:lnTo>
                  <a:pt x="150" y="72"/>
                </a:lnTo>
                <a:lnTo>
                  <a:pt x="150" y="72"/>
                </a:lnTo>
                <a:lnTo>
                  <a:pt x="150" y="72"/>
                </a:lnTo>
                <a:lnTo>
                  <a:pt x="150" y="72"/>
                </a:lnTo>
                <a:lnTo>
                  <a:pt x="156" y="72"/>
                </a:lnTo>
                <a:lnTo>
                  <a:pt x="150" y="66"/>
                </a:lnTo>
                <a:lnTo>
                  <a:pt x="150" y="60"/>
                </a:lnTo>
                <a:lnTo>
                  <a:pt x="156" y="60"/>
                </a:lnTo>
                <a:lnTo>
                  <a:pt x="156" y="66"/>
                </a:lnTo>
                <a:lnTo>
                  <a:pt x="156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68" y="66"/>
                </a:lnTo>
                <a:lnTo>
                  <a:pt x="168" y="60"/>
                </a:lnTo>
                <a:lnTo>
                  <a:pt x="168" y="60"/>
                </a:lnTo>
                <a:lnTo>
                  <a:pt x="168" y="60"/>
                </a:lnTo>
                <a:lnTo>
                  <a:pt x="168" y="66"/>
                </a:lnTo>
                <a:lnTo>
                  <a:pt x="174" y="66"/>
                </a:lnTo>
                <a:lnTo>
                  <a:pt x="174" y="66"/>
                </a:lnTo>
                <a:lnTo>
                  <a:pt x="174" y="66"/>
                </a:lnTo>
                <a:lnTo>
                  <a:pt x="174" y="66"/>
                </a:lnTo>
                <a:lnTo>
                  <a:pt x="174" y="66"/>
                </a:lnTo>
                <a:lnTo>
                  <a:pt x="174" y="66"/>
                </a:lnTo>
                <a:lnTo>
                  <a:pt x="180" y="66"/>
                </a:lnTo>
                <a:lnTo>
                  <a:pt x="180" y="66"/>
                </a:lnTo>
                <a:lnTo>
                  <a:pt x="180" y="66"/>
                </a:lnTo>
                <a:lnTo>
                  <a:pt x="180" y="66"/>
                </a:lnTo>
                <a:lnTo>
                  <a:pt x="186" y="66"/>
                </a:lnTo>
                <a:lnTo>
                  <a:pt x="186" y="66"/>
                </a:lnTo>
                <a:lnTo>
                  <a:pt x="186" y="66"/>
                </a:lnTo>
                <a:lnTo>
                  <a:pt x="186" y="72"/>
                </a:lnTo>
                <a:lnTo>
                  <a:pt x="186" y="72"/>
                </a:lnTo>
                <a:lnTo>
                  <a:pt x="186" y="72"/>
                </a:lnTo>
                <a:lnTo>
                  <a:pt x="186" y="78"/>
                </a:lnTo>
                <a:lnTo>
                  <a:pt x="186" y="78"/>
                </a:lnTo>
                <a:lnTo>
                  <a:pt x="186" y="78"/>
                </a:lnTo>
                <a:lnTo>
                  <a:pt x="186" y="84"/>
                </a:lnTo>
                <a:lnTo>
                  <a:pt x="180" y="84"/>
                </a:lnTo>
                <a:lnTo>
                  <a:pt x="180" y="84"/>
                </a:lnTo>
                <a:lnTo>
                  <a:pt x="180" y="84"/>
                </a:lnTo>
                <a:lnTo>
                  <a:pt x="180" y="84"/>
                </a:lnTo>
                <a:lnTo>
                  <a:pt x="174" y="84"/>
                </a:lnTo>
                <a:lnTo>
                  <a:pt x="174" y="90"/>
                </a:lnTo>
                <a:lnTo>
                  <a:pt x="174" y="90"/>
                </a:lnTo>
                <a:lnTo>
                  <a:pt x="168" y="96"/>
                </a:lnTo>
                <a:lnTo>
                  <a:pt x="168" y="96"/>
                </a:lnTo>
                <a:lnTo>
                  <a:pt x="168" y="96"/>
                </a:lnTo>
                <a:lnTo>
                  <a:pt x="168" y="96"/>
                </a:lnTo>
                <a:lnTo>
                  <a:pt x="168" y="102"/>
                </a:lnTo>
                <a:lnTo>
                  <a:pt x="168" y="102"/>
                </a:lnTo>
                <a:lnTo>
                  <a:pt x="168" y="102"/>
                </a:lnTo>
                <a:lnTo>
                  <a:pt x="168" y="108"/>
                </a:lnTo>
                <a:lnTo>
                  <a:pt x="168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14"/>
                </a:lnTo>
                <a:lnTo>
                  <a:pt x="162" y="114"/>
                </a:lnTo>
                <a:lnTo>
                  <a:pt x="162" y="114"/>
                </a:lnTo>
                <a:lnTo>
                  <a:pt x="162" y="120"/>
                </a:lnTo>
                <a:lnTo>
                  <a:pt x="162" y="120"/>
                </a:lnTo>
                <a:lnTo>
                  <a:pt x="156" y="114"/>
                </a:lnTo>
                <a:lnTo>
                  <a:pt x="156" y="114"/>
                </a:lnTo>
                <a:lnTo>
                  <a:pt x="156" y="120"/>
                </a:lnTo>
                <a:lnTo>
                  <a:pt x="156" y="120"/>
                </a:lnTo>
                <a:lnTo>
                  <a:pt x="150" y="120"/>
                </a:lnTo>
                <a:lnTo>
                  <a:pt x="150" y="120"/>
                </a:lnTo>
                <a:lnTo>
                  <a:pt x="150" y="120"/>
                </a:lnTo>
                <a:lnTo>
                  <a:pt x="144" y="120"/>
                </a:lnTo>
                <a:lnTo>
                  <a:pt x="144" y="120"/>
                </a:lnTo>
                <a:lnTo>
                  <a:pt x="138" y="120"/>
                </a:lnTo>
                <a:lnTo>
                  <a:pt x="138" y="120"/>
                </a:lnTo>
                <a:lnTo>
                  <a:pt x="138" y="120"/>
                </a:lnTo>
                <a:lnTo>
                  <a:pt x="138" y="120"/>
                </a:lnTo>
                <a:lnTo>
                  <a:pt x="138" y="120"/>
                </a:lnTo>
                <a:lnTo>
                  <a:pt x="132" y="120"/>
                </a:lnTo>
                <a:lnTo>
                  <a:pt x="132" y="120"/>
                </a:lnTo>
                <a:lnTo>
                  <a:pt x="132" y="120"/>
                </a:lnTo>
                <a:lnTo>
                  <a:pt x="132" y="120"/>
                </a:lnTo>
                <a:lnTo>
                  <a:pt x="132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0" y="114"/>
                </a:lnTo>
                <a:lnTo>
                  <a:pt x="120" y="114"/>
                </a:lnTo>
                <a:lnTo>
                  <a:pt x="120" y="114"/>
                </a:lnTo>
                <a:lnTo>
                  <a:pt x="120" y="114"/>
                </a:lnTo>
                <a:lnTo>
                  <a:pt x="120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20"/>
                </a:lnTo>
                <a:lnTo>
                  <a:pt x="114" y="120"/>
                </a:lnTo>
                <a:lnTo>
                  <a:pt x="114" y="120"/>
                </a:lnTo>
                <a:lnTo>
                  <a:pt x="114" y="120"/>
                </a:lnTo>
                <a:lnTo>
                  <a:pt x="114" y="120"/>
                </a:lnTo>
                <a:lnTo>
                  <a:pt x="114" y="120"/>
                </a:lnTo>
                <a:lnTo>
                  <a:pt x="114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78" y="114"/>
                </a:lnTo>
                <a:lnTo>
                  <a:pt x="78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0" y="114"/>
                </a:lnTo>
                <a:lnTo>
                  <a:pt x="60" y="108"/>
                </a:lnTo>
                <a:lnTo>
                  <a:pt x="60" y="108"/>
                </a:lnTo>
                <a:lnTo>
                  <a:pt x="60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102"/>
                </a:lnTo>
                <a:lnTo>
                  <a:pt x="36" y="102"/>
                </a:lnTo>
                <a:lnTo>
                  <a:pt x="36" y="102"/>
                </a:lnTo>
                <a:lnTo>
                  <a:pt x="30" y="96"/>
                </a:lnTo>
                <a:lnTo>
                  <a:pt x="24" y="96"/>
                </a:lnTo>
                <a:lnTo>
                  <a:pt x="18" y="96"/>
                </a:lnTo>
                <a:lnTo>
                  <a:pt x="18" y="96"/>
                </a:lnTo>
                <a:lnTo>
                  <a:pt x="18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6" y="90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0" y="84"/>
                </a:lnTo>
                <a:lnTo>
                  <a:pt x="0" y="8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40" name="Freeform 373"/>
          <p:cNvSpPr>
            <a:spLocks/>
          </p:cNvSpPr>
          <p:nvPr/>
        </p:nvSpPr>
        <p:spPr bwMode="auto">
          <a:xfrm>
            <a:off x="7140936" y="4276334"/>
            <a:ext cx="122057" cy="77089"/>
          </a:xfrm>
          <a:custGeom>
            <a:avLst/>
            <a:gdLst>
              <a:gd name="T0" fmla="*/ 0 w 114"/>
              <a:gd name="T1" fmla="*/ 36 h 72"/>
              <a:gd name="T2" fmla="*/ 0 w 114"/>
              <a:gd name="T3" fmla="*/ 24 h 72"/>
              <a:gd name="T4" fmla="*/ 6 w 114"/>
              <a:gd name="T5" fmla="*/ 24 h 72"/>
              <a:gd name="T6" fmla="*/ 6 w 114"/>
              <a:gd name="T7" fmla="*/ 18 h 72"/>
              <a:gd name="T8" fmla="*/ 12 w 114"/>
              <a:gd name="T9" fmla="*/ 18 h 72"/>
              <a:gd name="T10" fmla="*/ 12 w 114"/>
              <a:gd name="T11" fmla="*/ 18 h 72"/>
              <a:gd name="T12" fmla="*/ 6 w 114"/>
              <a:gd name="T13" fmla="*/ 12 h 72"/>
              <a:gd name="T14" fmla="*/ 12 w 114"/>
              <a:gd name="T15" fmla="*/ 12 h 72"/>
              <a:gd name="T16" fmla="*/ 18 w 114"/>
              <a:gd name="T17" fmla="*/ 12 h 72"/>
              <a:gd name="T18" fmla="*/ 18 w 114"/>
              <a:gd name="T19" fmla="*/ 12 h 72"/>
              <a:gd name="T20" fmla="*/ 24 w 114"/>
              <a:gd name="T21" fmla="*/ 6 h 72"/>
              <a:gd name="T22" fmla="*/ 24 w 114"/>
              <a:gd name="T23" fmla="*/ 0 h 72"/>
              <a:gd name="T24" fmla="*/ 30 w 114"/>
              <a:gd name="T25" fmla="*/ 0 h 72"/>
              <a:gd name="T26" fmla="*/ 36 w 114"/>
              <a:gd name="T27" fmla="*/ 6 h 72"/>
              <a:gd name="T28" fmla="*/ 36 w 114"/>
              <a:gd name="T29" fmla="*/ 6 h 72"/>
              <a:gd name="T30" fmla="*/ 48 w 114"/>
              <a:gd name="T31" fmla="*/ 12 h 72"/>
              <a:gd name="T32" fmla="*/ 54 w 114"/>
              <a:gd name="T33" fmla="*/ 6 h 72"/>
              <a:gd name="T34" fmla="*/ 60 w 114"/>
              <a:gd name="T35" fmla="*/ 6 h 72"/>
              <a:gd name="T36" fmla="*/ 72 w 114"/>
              <a:gd name="T37" fmla="*/ 6 h 72"/>
              <a:gd name="T38" fmla="*/ 72 w 114"/>
              <a:gd name="T39" fmla="*/ 12 h 72"/>
              <a:gd name="T40" fmla="*/ 72 w 114"/>
              <a:gd name="T41" fmla="*/ 18 h 72"/>
              <a:gd name="T42" fmla="*/ 78 w 114"/>
              <a:gd name="T43" fmla="*/ 18 h 72"/>
              <a:gd name="T44" fmla="*/ 84 w 114"/>
              <a:gd name="T45" fmla="*/ 12 h 72"/>
              <a:gd name="T46" fmla="*/ 90 w 114"/>
              <a:gd name="T47" fmla="*/ 18 h 72"/>
              <a:gd name="T48" fmla="*/ 102 w 114"/>
              <a:gd name="T49" fmla="*/ 12 h 72"/>
              <a:gd name="T50" fmla="*/ 102 w 114"/>
              <a:gd name="T51" fmla="*/ 18 h 72"/>
              <a:gd name="T52" fmla="*/ 108 w 114"/>
              <a:gd name="T53" fmla="*/ 18 h 72"/>
              <a:gd name="T54" fmla="*/ 114 w 114"/>
              <a:gd name="T55" fmla="*/ 24 h 72"/>
              <a:gd name="T56" fmla="*/ 108 w 114"/>
              <a:gd name="T57" fmla="*/ 30 h 72"/>
              <a:gd name="T58" fmla="*/ 102 w 114"/>
              <a:gd name="T59" fmla="*/ 30 h 72"/>
              <a:gd name="T60" fmla="*/ 96 w 114"/>
              <a:gd name="T61" fmla="*/ 42 h 72"/>
              <a:gd name="T62" fmla="*/ 90 w 114"/>
              <a:gd name="T63" fmla="*/ 42 h 72"/>
              <a:gd name="T64" fmla="*/ 90 w 114"/>
              <a:gd name="T65" fmla="*/ 48 h 72"/>
              <a:gd name="T66" fmla="*/ 84 w 114"/>
              <a:gd name="T67" fmla="*/ 54 h 72"/>
              <a:gd name="T68" fmla="*/ 78 w 114"/>
              <a:gd name="T69" fmla="*/ 54 h 72"/>
              <a:gd name="T70" fmla="*/ 72 w 114"/>
              <a:gd name="T71" fmla="*/ 66 h 72"/>
              <a:gd name="T72" fmla="*/ 72 w 114"/>
              <a:gd name="T73" fmla="*/ 66 h 72"/>
              <a:gd name="T74" fmla="*/ 66 w 114"/>
              <a:gd name="T75" fmla="*/ 72 h 72"/>
              <a:gd name="T76" fmla="*/ 60 w 114"/>
              <a:gd name="T77" fmla="*/ 66 h 72"/>
              <a:gd name="T78" fmla="*/ 54 w 114"/>
              <a:gd name="T79" fmla="*/ 66 h 72"/>
              <a:gd name="T80" fmla="*/ 48 w 114"/>
              <a:gd name="T81" fmla="*/ 60 h 72"/>
              <a:gd name="T82" fmla="*/ 42 w 114"/>
              <a:gd name="T83" fmla="*/ 60 h 72"/>
              <a:gd name="T84" fmla="*/ 42 w 114"/>
              <a:gd name="T85" fmla="*/ 60 h 72"/>
              <a:gd name="T86" fmla="*/ 42 w 114"/>
              <a:gd name="T87" fmla="*/ 60 h 72"/>
              <a:gd name="T88" fmla="*/ 36 w 114"/>
              <a:gd name="T89" fmla="*/ 66 h 72"/>
              <a:gd name="T90" fmla="*/ 30 w 114"/>
              <a:gd name="T91" fmla="*/ 66 h 72"/>
              <a:gd name="T92" fmla="*/ 30 w 114"/>
              <a:gd name="T93" fmla="*/ 60 h 72"/>
              <a:gd name="T94" fmla="*/ 30 w 114"/>
              <a:gd name="T95" fmla="*/ 60 h 72"/>
              <a:gd name="T96" fmla="*/ 24 w 114"/>
              <a:gd name="T97" fmla="*/ 54 h 72"/>
              <a:gd name="T98" fmla="*/ 18 w 114"/>
              <a:gd name="T99" fmla="*/ 54 h 72"/>
              <a:gd name="T100" fmla="*/ 18 w 114"/>
              <a:gd name="T101" fmla="*/ 48 h 72"/>
              <a:gd name="T102" fmla="*/ 12 w 114"/>
              <a:gd name="T103" fmla="*/ 48 h 72"/>
              <a:gd name="T104" fmla="*/ 18 w 114"/>
              <a:gd name="T105" fmla="*/ 42 h 72"/>
              <a:gd name="T106" fmla="*/ 12 w 114"/>
              <a:gd name="T107" fmla="*/ 42 h 72"/>
              <a:gd name="T108" fmla="*/ 6 w 114"/>
              <a:gd name="T109" fmla="*/ 42 h 72"/>
              <a:gd name="T110" fmla="*/ 6 w 114"/>
              <a:gd name="T111" fmla="*/ 36 h 72"/>
              <a:gd name="T112" fmla="*/ 0 w 114"/>
              <a:gd name="T113" fmla="*/ 36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14" h="72">
                <a:moveTo>
                  <a:pt x="0" y="36"/>
                </a:move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0"/>
                </a:lnTo>
                <a:lnTo>
                  <a:pt x="0" y="30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2"/>
                </a:lnTo>
                <a:lnTo>
                  <a:pt x="12" y="12"/>
                </a:lnTo>
                <a:lnTo>
                  <a:pt x="12" y="18"/>
                </a:lnTo>
                <a:lnTo>
                  <a:pt x="12" y="12"/>
                </a:lnTo>
                <a:lnTo>
                  <a:pt x="12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24" y="12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36" y="6"/>
                </a:lnTo>
                <a:lnTo>
                  <a:pt x="42" y="6"/>
                </a:lnTo>
                <a:lnTo>
                  <a:pt x="42" y="12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8"/>
                </a:lnTo>
                <a:lnTo>
                  <a:pt x="72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84" y="18"/>
                </a:lnTo>
                <a:lnTo>
                  <a:pt x="84" y="18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0" y="42"/>
                </a:lnTo>
                <a:lnTo>
                  <a:pt x="90" y="42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78" y="54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66" y="66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66"/>
                </a:lnTo>
                <a:lnTo>
                  <a:pt x="66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24" y="60"/>
                </a:lnTo>
                <a:lnTo>
                  <a:pt x="30" y="60"/>
                </a:lnTo>
                <a:lnTo>
                  <a:pt x="30" y="60"/>
                </a:lnTo>
                <a:lnTo>
                  <a:pt x="30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2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42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41" name="Freeform 374"/>
          <p:cNvSpPr>
            <a:spLocks/>
          </p:cNvSpPr>
          <p:nvPr/>
        </p:nvSpPr>
        <p:spPr bwMode="auto">
          <a:xfrm>
            <a:off x="6601316" y="3955129"/>
            <a:ext cx="96361" cy="64241"/>
          </a:xfrm>
          <a:custGeom>
            <a:avLst/>
            <a:gdLst>
              <a:gd name="T0" fmla="*/ 0 w 90"/>
              <a:gd name="T1" fmla="*/ 24 h 60"/>
              <a:gd name="T2" fmla="*/ 0 w 90"/>
              <a:gd name="T3" fmla="*/ 18 h 60"/>
              <a:gd name="T4" fmla="*/ 0 w 90"/>
              <a:gd name="T5" fmla="*/ 12 h 60"/>
              <a:gd name="T6" fmla="*/ 6 w 90"/>
              <a:gd name="T7" fmla="*/ 12 h 60"/>
              <a:gd name="T8" fmla="*/ 12 w 90"/>
              <a:gd name="T9" fmla="*/ 6 h 60"/>
              <a:gd name="T10" fmla="*/ 12 w 90"/>
              <a:gd name="T11" fmla="*/ 12 h 60"/>
              <a:gd name="T12" fmla="*/ 12 w 90"/>
              <a:gd name="T13" fmla="*/ 6 h 60"/>
              <a:gd name="T14" fmla="*/ 18 w 90"/>
              <a:gd name="T15" fmla="*/ 12 h 60"/>
              <a:gd name="T16" fmla="*/ 18 w 90"/>
              <a:gd name="T17" fmla="*/ 6 h 60"/>
              <a:gd name="T18" fmla="*/ 24 w 90"/>
              <a:gd name="T19" fmla="*/ 6 h 60"/>
              <a:gd name="T20" fmla="*/ 24 w 90"/>
              <a:gd name="T21" fmla="*/ 6 h 60"/>
              <a:gd name="T22" fmla="*/ 30 w 90"/>
              <a:gd name="T23" fmla="*/ 6 h 60"/>
              <a:gd name="T24" fmla="*/ 30 w 90"/>
              <a:gd name="T25" fmla="*/ 6 h 60"/>
              <a:gd name="T26" fmla="*/ 36 w 90"/>
              <a:gd name="T27" fmla="*/ 6 h 60"/>
              <a:gd name="T28" fmla="*/ 36 w 90"/>
              <a:gd name="T29" fmla="*/ 6 h 60"/>
              <a:gd name="T30" fmla="*/ 42 w 90"/>
              <a:gd name="T31" fmla="*/ 6 h 60"/>
              <a:gd name="T32" fmla="*/ 48 w 90"/>
              <a:gd name="T33" fmla="*/ 6 h 60"/>
              <a:gd name="T34" fmla="*/ 48 w 90"/>
              <a:gd name="T35" fmla="*/ 0 h 60"/>
              <a:gd name="T36" fmla="*/ 54 w 90"/>
              <a:gd name="T37" fmla="*/ 0 h 60"/>
              <a:gd name="T38" fmla="*/ 54 w 90"/>
              <a:gd name="T39" fmla="*/ 0 h 60"/>
              <a:gd name="T40" fmla="*/ 60 w 90"/>
              <a:gd name="T41" fmla="*/ 0 h 60"/>
              <a:gd name="T42" fmla="*/ 66 w 90"/>
              <a:gd name="T43" fmla="*/ 0 h 60"/>
              <a:gd name="T44" fmla="*/ 72 w 90"/>
              <a:gd name="T45" fmla="*/ 0 h 60"/>
              <a:gd name="T46" fmla="*/ 72 w 90"/>
              <a:gd name="T47" fmla="*/ 6 h 60"/>
              <a:gd name="T48" fmla="*/ 72 w 90"/>
              <a:gd name="T49" fmla="*/ 6 h 60"/>
              <a:gd name="T50" fmla="*/ 78 w 90"/>
              <a:gd name="T51" fmla="*/ 0 h 60"/>
              <a:gd name="T52" fmla="*/ 78 w 90"/>
              <a:gd name="T53" fmla="*/ 6 h 60"/>
              <a:gd name="T54" fmla="*/ 84 w 90"/>
              <a:gd name="T55" fmla="*/ 6 h 60"/>
              <a:gd name="T56" fmla="*/ 84 w 90"/>
              <a:gd name="T57" fmla="*/ 6 h 60"/>
              <a:gd name="T58" fmla="*/ 84 w 90"/>
              <a:gd name="T59" fmla="*/ 6 h 60"/>
              <a:gd name="T60" fmla="*/ 90 w 90"/>
              <a:gd name="T61" fmla="*/ 6 h 60"/>
              <a:gd name="T62" fmla="*/ 84 w 90"/>
              <a:gd name="T63" fmla="*/ 12 h 60"/>
              <a:gd name="T64" fmla="*/ 90 w 90"/>
              <a:gd name="T65" fmla="*/ 18 h 60"/>
              <a:gd name="T66" fmla="*/ 90 w 90"/>
              <a:gd name="T67" fmla="*/ 24 h 60"/>
              <a:gd name="T68" fmla="*/ 90 w 90"/>
              <a:gd name="T69" fmla="*/ 30 h 60"/>
              <a:gd name="T70" fmla="*/ 84 w 90"/>
              <a:gd name="T71" fmla="*/ 36 h 60"/>
              <a:gd name="T72" fmla="*/ 90 w 90"/>
              <a:gd name="T73" fmla="*/ 42 h 60"/>
              <a:gd name="T74" fmla="*/ 90 w 90"/>
              <a:gd name="T75" fmla="*/ 48 h 60"/>
              <a:gd name="T76" fmla="*/ 84 w 90"/>
              <a:gd name="T77" fmla="*/ 48 h 60"/>
              <a:gd name="T78" fmla="*/ 84 w 90"/>
              <a:gd name="T79" fmla="*/ 54 h 60"/>
              <a:gd name="T80" fmla="*/ 84 w 90"/>
              <a:gd name="T81" fmla="*/ 54 h 60"/>
              <a:gd name="T82" fmla="*/ 78 w 90"/>
              <a:gd name="T83" fmla="*/ 60 h 60"/>
              <a:gd name="T84" fmla="*/ 72 w 90"/>
              <a:gd name="T85" fmla="*/ 54 h 60"/>
              <a:gd name="T86" fmla="*/ 72 w 90"/>
              <a:gd name="T87" fmla="*/ 60 h 60"/>
              <a:gd name="T88" fmla="*/ 66 w 90"/>
              <a:gd name="T89" fmla="*/ 54 h 60"/>
              <a:gd name="T90" fmla="*/ 66 w 90"/>
              <a:gd name="T91" fmla="*/ 54 h 60"/>
              <a:gd name="T92" fmla="*/ 60 w 90"/>
              <a:gd name="T93" fmla="*/ 48 h 60"/>
              <a:gd name="T94" fmla="*/ 60 w 90"/>
              <a:gd name="T95" fmla="*/ 48 h 60"/>
              <a:gd name="T96" fmla="*/ 54 w 90"/>
              <a:gd name="T97" fmla="*/ 48 h 60"/>
              <a:gd name="T98" fmla="*/ 48 w 90"/>
              <a:gd name="T99" fmla="*/ 42 h 60"/>
              <a:gd name="T100" fmla="*/ 42 w 90"/>
              <a:gd name="T101" fmla="*/ 42 h 60"/>
              <a:gd name="T102" fmla="*/ 18 w 90"/>
              <a:gd name="T103" fmla="*/ 36 h 60"/>
              <a:gd name="T104" fmla="*/ 18 w 90"/>
              <a:gd name="T105" fmla="*/ 36 h 60"/>
              <a:gd name="T106" fmla="*/ 12 w 90"/>
              <a:gd name="T107" fmla="*/ 36 h 60"/>
              <a:gd name="T108" fmla="*/ 12 w 90"/>
              <a:gd name="T109" fmla="*/ 30 h 60"/>
              <a:gd name="T110" fmla="*/ 6 w 90"/>
              <a:gd name="T111" fmla="*/ 30 h 60"/>
              <a:gd name="T112" fmla="*/ 0 w 90"/>
              <a:gd name="T113" fmla="*/ 30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0" h="60">
                <a:moveTo>
                  <a:pt x="0" y="30"/>
                </a:move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0" y="12"/>
                </a:lnTo>
                <a:lnTo>
                  <a:pt x="6" y="12"/>
                </a:lnTo>
                <a:lnTo>
                  <a:pt x="0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6"/>
                </a:lnTo>
                <a:lnTo>
                  <a:pt x="12" y="6"/>
                </a:lnTo>
                <a:lnTo>
                  <a:pt x="12" y="12"/>
                </a:lnTo>
                <a:lnTo>
                  <a:pt x="12" y="6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12"/>
                </a:lnTo>
                <a:lnTo>
                  <a:pt x="12" y="6"/>
                </a:lnTo>
                <a:lnTo>
                  <a:pt x="18" y="12"/>
                </a:lnTo>
                <a:lnTo>
                  <a:pt x="18" y="12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0"/>
                </a:lnTo>
                <a:lnTo>
                  <a:pt x="48" y="6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72" y="0"/>
                </a:lnTo>
                <a:lnTo>
                  <a:pt x="72" y="0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84" y="30"/>
                </a:lnTo>
                <a:lnTo>
                  <a:pt x="90" y="36"/>
                </a:lnTo>
                <a:lnTo>
                  <a:pt x="90" y="36"/>
                </a:lnTo>
                <a:lnTo>
                  <a:pt x="84" y="36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84" y="48"/>
                </a:lnTo>
                <a:lnTo>
                  <a:pt x="84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84" y="48"/>
                </a:lnTo>
                <a:lnTo>
                  <a:pt x="84" y="48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78" y="54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54"/>
                </a:lnTo>
                <a:lnTo>
                  <a:pt x="72" y="60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60"/>
                </a:lnTo>
                <a:lnTo>
                  <a:pt x="66" y="60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54"/>
                </a:lnTo>
                <a:lnTo>
                  <a:pt x="60" y="48"/>
                </a:lnTo>
                <a:lnTo>
                  <a:pt x="54" y="54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48" y="48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2" y="42"/>
                </a:lnTo>
                <a:lnTo>
                  <a:pt x="42" y="42"/>
                </a:lnTo>
                <a:lnTo>
                  <a:pt x="36" y="42"/>
                </a:lnTo>
                <a:lnTo>
                  <a:pt x="24" y="42"/>
                </a:lnTo>
                <a:lnTo>
                  <a:pt x="24" y="42"/>
                </a:lnTo>
                <a:lnTo>
                  <a:pt x="18" y="36"/>
                </a:lnTo>
                <a:lnTo>
                  <a:pt x="18" y="42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2" y="36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42" name="Freeform 375"/>
          <p:cNvSpPr>
            <a:spLocks/>
          </p:cNvSpPr>
          <p:nvPr/>
        </p:nvSpPr>
        <p:spPr bwMode="auto">
          <a:xfrm>
            <a:off x="6761917" y="4366272"/>
            <a:ext cx="179873" cy="141330"/>
          </a:xfrm>
          <a:custGeom>
            <a:avLst/>
            <a:gdLst>
              <a:gd name="T0" fmla="*/ 6 w 168"/>
              <a:gd name="T1" fmla="*/ 6 h 132"/>
              <a:gd name="T2" fmla="*/ 6 w 168"/>
              <a:gd name="T3" fmla="*/ 12 h 132"/>
              <a:gd name="T4" fmla="*/ 24 w 168"/>
              <a:gd name="T5" fmla="*/ 18 h 132"/>
              <a:gd name="T6" fmla="*/ 36 w 168"/>
              <a:gd name="T7" fmla="*/ 18 h 132"/>
              <a:gd name="T8" fmla="*/ 42 w 168"/>
              <a:gd name="T9" fmla="*/ 6 h 132"/>
              <a:gd name="T10" fmla="*/ 42 w 168"/>
              <a:gd name="T11" fmla="*/ 0 h 132"/>
              <a:gd name="T12" fmla="*/ 54 w 168"/>
              <a:gd name="T13" fmla="*/ 0 h 132"/>
              <a:gd name="T14" fmla="*/ 60 w 168"/>
              <a:gd name="T15" fmla="*/ 6 h 132"/>
              <a:gd name="T16" fmla="*/ 60 w 168"/>
              <a:gd name="T17" fmla="*/ 12 h 132"/>
              <a:gd name="T18" fmla="*/ 66 w 168"/>
              <a:gd name="T19" fmla="*/ 18 h 132"/>
              <a:gd name="T20" fmla="*/ 66 w 168"/>
              <a:gd name="T21" fmla="*/ 24 h 132"/>
              <a:gd name="T22" fmla="*/ 66 w 168"/>
              <a:gd name="T23" fmla="*/ 36 h 132"/>
              <a:gd name="T24" fmla="*/ 78 w 168"/>
              <a:gd name="T25" fmla="*/ 42 h 132"/>
              <a:gd name="T26" fmla="*/ 84 w 168"/>
              <a:gd name="T27" fmla="*/ 30 h 132"/>
              <a:gd name="T28" fmla="*/ 108 w 168"/>
              <a:gd name="T29" fmla="*/ 24 h 132"/>
              <a:gd name="T30" fmla="*/ 120 w 168"/>
              <a:gd name="T31" fmla="*/ 24 h 132"/>
              <a:gd name="T32" fmla="*/ 132 w 168"/>
              <a:gd name="T33" fmla="*/ 24 h 132"/>
              <a:gd name="T34" fmla="*/ 144 w 168"/>
              <a:gd name="T35" fmla="*/ 18 h 132"/>
              <a:gd name="T36" fmla="*/ 150 w 168"/>
              <a:gd name="T37" fmla="*/ 18 h 132"/>
              <a:gd name="T38" fmla="*/ 150 w 168"/>
              <a:gd name="T39" fmla="*/ 30 h 132"/>
              <a:gd name="T40" fmla="*/ 156 w 168"/>
              <a:gd name="T41" fmla="*/ 30 h 132"/>
              <a:gd name="T42" fmla="*/ 156 w 168"/>
              <a:gd name="T43" fmla="*/ 36 h 132"/>
              <a:gd name="T44" fmla="*/ 162 w 168"/>
              <a:gd name="T45" fmla="*/ 42 h 132"/>
              <a:gd name="T46" fmla="*/ 162 w 168"/>
              <a:gd name="T47" fmla="*/ 48 h 132"/>
              <a:gd name="T48" fmla="*/ 162 w 168"/>
              <a:gd name="T49" fmla="*/ 48 h 132"/>
              <a:gd name="T50" fmla="*/ 168 w 168"/>
              <a:gd name="T51" fmla="*/ 54 h 132"/>
              <a:gd name="T52" fmla="*/ 162 w 168"/>
              <a:gd name="T53" fmla="*/ 60 h 132"/>
              <a:gd name="T54" fmla="*/ 144 w 168"/>
              <a:gd name="T55" fmla="*/ 66 h 132"/>
              <a:gd name="T56" fmla="*/ 138 w 168"/>
              <a:gd name="T57" fmla="*/ 72 h 132"/>
              <a:gd name="T58" fmla="*/ 144 w 168"/>
              <a:gd name="T59" fmla="*/ 78 h 132"/>
              <a:gd name="T60" fmla="*/ 138 w 168"/>
              <a:gd name="T61" fmla="*/ 84 h 132"/>
              <a:gd name="T62" fmla="*/ 138 w 168"/>
              <a:gd name="T63" fmla="*/ 90 h 132"/>
              <a:gd name="T64" fmla="*/ 126 w 168"/>
              <a:gd name="T65" fmla="*/ 96 h 132"/>
              <a:gd name="T66" fmla="*/ 114 w 168"/>
              <a:gd name="T67" fmla="*/ 96 h 132"/>
              <a:gd name="T68" fmla="*/ 108 w 168"/>
              <a:gd name="T69" fmla="*/ 96 h 132"/>
              <a:gd name="T70" fmla="*/ 96 w 168"/>
              <a:gd name="T71" fmla="*/ 102 h 132"/>
              <a:gd name="T72" fmla="*/ 90 w 168"/>
              <a:gd name="T73" fmla="*/ 114 h 132"/>
              <a:gd name="T74" fmla="*/ 78 w 168"/>
              <a:gd name="T75" fmla="*/ 114 h 132"/>
              <a:gd name="T76" fmla="*/ 72 w 168"/>
              <a:gd name="T77" fmla="*/ 114 h 132"/>
              <a:gd name="T78" fmla="*/ 66 w 168"/>
              <a:gd name="T79" fmla="*/ 120 h 132"/>
              <a:gd name="T80" fmla="*/ 48 w 168"/>
              <a:gd name="T81" fmla="*/ 132 h 132"/>
              <a:gd name="T82" fmla="*/ 48 w 168"/>
              <a:gd name="T83" fmla="*/ 120 h 132"/>
              <a:gd name="T84" fmla="*/ 42 w 168"/>
              <a:gd name="T85" fmla="*/ 114 h 132"/>
              <a:gd name="T86" fmla="*/ 36 w 168"/>
              <a:gd name="T87" fmla="*/ 102 h 132"/>
              <a:gd name="T88" fmla="*/ 36 w 168"/>
              <a:gd name="T89" fmla="*/ 96 h 132"/>
              <a:gd name="T90" fmla="*/ 30 w 168"/>
              <a:gd name="T91" fmla="*/ 90 h 132"/>
              <a:gd name="T92" fmla="*/ 24 w 168"/>
              <a:gd name="T93" fmla="*/ 84 h 132"/>
              <a:gd name="T94" fmla="*/ 18 w 168"/>
              <a:gd name="T95" fmla="*/ 78 h 132"/>
              <a:gd name="T96" fmla="*/ 18 w 168"/>
              <a:gd name="T97" fmla="*/ 78 h 132"/>
              <a:gd name="T98" fmla="*/ 18 w 168"/>
              <a:gd name="T99" fmla="*/ 72 h 132"/>
              <a:gd name="T100" fmla="*/ 18 w 168"/>
              <a:gd name="T101" fmla="*/ 66 h 132"/>
              <a:gd name="T102" fmla="*/ 12 w 168"/>
              <a:gd name="T103" fmla="*/ 66 h 132"/>
              <a:gd name="T104" fmla="*/ 6 w 168"/>
              <a:gd name="T105" fmla="*/ 60 h 132"/>
              <a:gd name="T106" fmla="*/ 12 w 168"/>
              <a:gd name="T107" fmla="*/ 54 h 132"/>
              <a:gd name="T108" fmla="*/ 6 w 168"/>
              <a:gd name="T109" fmla="*/ 48 h 132"/>
              <a:gd name="T110" fmla="*/ 12 w 168"/>
              <a:gd name="T111" fmla="*/ 36 h 132"/>
              <a:gd name="T112" fmla="*/ 6 w 168"/>
              <a:gd name="T113" fmla="*/ 36 h 132"/>
              <a:gd name="T114" fmla="*/ 6 w 168"/>
              <a:gd name="T115" fmla="*/ 30 h 132"/>
              <a:gd name="T116" fmla="*/ 6 w 168"/>
              <a:gd name="T117" fmla="*/ 24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68" h="132">
                <a:moveTo>
                  <a:pt x="0" y="12"/>
                </a:moveTo>
                <a:lnTo>
                  <a:pt x="0" y="12"/>
                </a:lnTo>
                <a:lnTo>
                  <a:pt x="0" y="12"/>
                </a:lnTo>
                <a:lnTo>
                  <a:pt x="6" y="12"/>
                </a:lnTo>
                <a:lnTo>
                  <a:pt x="0" y="12"/>
                </a:lnTo>
                <a:lnTo>
                  <a:pt x="6" y="12"/>
                </a:lnTo>
                <a:lnTo>
                  <a:pt x="6" y="12"/>
                </a:lnTo>
                <a:lnTo>
                  <a:pt x="6" y="6"/>
                </a:lnTo>
                <a:lnTo>
                  <a:pt x="6" y="12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8" y="12"/>
                </a:lnTo>
                <a:lnTo>
                  <a:pt x="18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42" y="18"/>
                </a:lnTo>
                <a:lnTo>
                  <a:pt x="36" y="12"/>
                </a:lnTo>
                <a:lnTo>
                  <a:pt x="42" y="12"/>
                </a:lnTo>
                <a:lnTo>
                  <a:pt x="42" y="12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36" y="6"/>
                </a:lnTo>
                <a:lnTo>
                  <a:pt x="36" y="0"/>
                </a:lnTo>
                <a:lnTo>
                  <a:pt x="36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6" y="12"/>
                </a:lnTo>
                <a:lnTo>
                  <a:pt x="66" y="12"/>
                </a:lnTo>
                <a:lnTo>
                  <a:pt x="60" y="12"/>
                </a:lnTo>
                <a:lnTo>
                  <a:pt x="60" y="12"/>
                </a:lnTo>
                <a:lnTo>
                  <a:pt x="60" y="18"/>
                </a:lnTo>
                <a:lnTo>
                  <a:pt x="60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8" y="42"/>
                </a:lnTo>
                <a:lnTo>
                  <a:pt x="78" y="42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6" y="30"/>
                </a:lnTo>
                <a:lnTo>
                  <a:pt x="96" y="30"/>
                </a:lnTo>
                <a:lnTo>
                  <a:pt x="96" y="24"/>
                </a:lnTo>
                <a:lnTo>
                  <a:pt x="102" y="24"/>
                </a:lnTo>
                <a:lnTo>
                  <a:pt x="102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30"/>
                </a:lnTo>
                <a:lnTo>
                  <a:pt x="108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24"/>
                </a:lnTo>
                <a:lnTo>
                  <a:pt x="114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6" y="24"/>
                </a:lnTo>
                <a:lnTo>
                  <a:pt x="126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18"/>
                </a:lnTo>
                <a:lnTo>
                  <a:pt x="138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42"/>
                </a:lnTo>
                <a:lnTo>
                  <a:pt x="156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8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8" y="48"/>
                </a:lnTo>
                <a:lnTo>
                  <a:pt x="168" y="54"/>
                </a:lnTo>
                <a:lnTo>
                  <a:pt x="168" y="54"/>
                </a:lnTo>
                <a:lnTo>
                  <a:pt x="162" y="54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56" y="60"/>
                </a:lnTo>
                <a:lnTo>
                  <a:pt x="156" y="66"/>
                </a:lnTo>
                <a:lnTo>
                  <a:pt x="150" y="60"/>
                </a:lnTo>
                <a:lnTo>
                  <a:pt x="150" y="66"/>
                </a:lnTo>
                <a:lnTo>
                  <a:pt x="144" y="66"/>
                </a:lnTo>
                <a:lnTo>
                  <a:pt x="144" y="66"/>
                </a:lnTo>
                <a:lnTo>
                  <a:pt x="144" y="66"/>
                </a:lnTo>
                <a:lnTo>
                  <a:pt x="144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8"/>
                </a:lnTo>
                <a:lnTo>
                  <a:pt x="138" y="78"/>
                </a:lnTo>
                <a:lnTo>
                  <a:pt x="138" y="78"/>
                </a:lnTo>
                <a:lnTo>
                  <a:pt x="144" y="78"/>
                </a:lnTo>
                <a:lnTo>
                  <a:pt x="144" y="78"/>
                </a:lnTo>
                <a:lnTo>
                  <a:pt x="144" y="78"/>
                </a:lnTo>
                <a:lnTo>
                  <a:pt x="138" y="78"/>
                </a:lnTo>
                <a:lnTo>
                  <a:pt x="144" y="78"/>
                </a:lnTo>
                <a:lnTo>
                  <a:pt x="138" y="78"/>
                </a:lnTo>
                <a:lnTo>
                  <a:pt x="144" y="78"/>
                </a:lnTo>
                <a:lnTo>
                  <a:pt x="144" y="78"/>
                </a:lnTo>
                <a:lnTo>
                  <a:pt x="138" y="78"/>
                </a:lnTo>
                <a:lnTo>
                  <a:pt x="138" y="78"/>
                </a:lnTo>
                <a:lnTo>
                  <a:pt x="138" y="78"/>
                </a:lnTo>
                <a:lnTo>
                  <a:pt x="138" y="78"/>
                </a:lnTo>
                <a:lnTo>
                  <a:pt x="138" y="78"/>
                </a:lnTo>
                <a:lnTo>
                  <a:pt x="138" y="84"/>
                </a:lnTo>
                <a:lnTo>
                  <a:pt x="138" y="84"/>
                </a:lnTo>
                <a:lnTo>
                  <a:pt x="138" y="84"/>
                </a:lnTo>
                <a:lnTo>
                  <a:pt x="138" y="84"/>
                </a:lnTo>
                <a:lnTo>
                  <a:pt x="138" y="84"/>
                </a:lnTo>
                <a:lnTo>
                  <a:pt x="138" y="84"/>
                </a:lnTo>
                <a:lnTo>
                  <a:pt x="138" y="84"/>
                </a:lnTo>
                <a:lnTo>
                  <a:pt x="138" y="84"/>
                </a:lnTo>
                <a:lnTo>
                  <a:pt x="138" y="84"/>
                </a:lnTo>
                <a:lnTo>
                  <a:pt x="138" y="90"/>
                </a:lnTo>
                <a:lnTo>
                  <a:pt x="138" y="90"/>
                </a:lnTo>
                <a:lnTo>
                  <a:pt x="138" y="90"/>
                </a:lnTo>
                <a:lnTo>
                  <a:pt x="138" y="90"/>
                </a:lnTo>
                <a:lnTo>
                  <a:pt x="138" y="90"/>
                </a:lnTo>
                <a:lnTo>
                  <a:pt x="138" y="90"/>
                </a:lnTo>
                <a:lnTo>
                  <a:pt x="132" y="90"/>
                </a:lnTo>
                <a:lnTo>
                  <a:pt x="132" y="90"/>
                </a:lnTo>
                <a:lnTo>
                  <a:pt x="132" y="90"/>
                </a:lnTo>
                <a:lnTo>
                  <a:pt x="132" y="90"/>
                </a:lnTo>
                <a:lnTo>
                  <a:pt x="132" y="96"/>
                </a:lnTo>
                <a:lnTo>
                  <a:pt x="126" y="96"/>
                </a:lnTo>
                <a:lnTo>
                  <a:pt x="126" y="96"/>
                </a:lnTo>
                <a:lnTo>
                  <a:pt x="126" y="96"/>
                </a:lnTo>
                <a:lnTo>
                  <a:pt x="126" y="96"/>
                </a:lnTo>
                <a:lnTo>
                  <a:pt x="126" y="96"/>
                </a:lnTo>
                <a:lnTo>
                  <a:pt x="126" y="96"/>
                </a:lnTo>
                <a:lnTo>
                  <a:pt x="120" y="96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14" y="96"/>
                </a:lnTo>
                <a:lnTo>
                  <a:pt x="114" y="96"/>
                </a:lnTo>
                <a:lnTo>
                  <a:pt x="108" y="90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102"/>
                </a:lnTo>
                <a:lnTo>
                  <a:pt x="102" y="102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0" y="108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14"/>
                </a:lnTo>
                <a:lnTo>
                  <a:pt x="84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0" y="126"/>
                </a:lnTo>
                <a:lnTo>
                  <a:pt x="60" y="126"/>
                </a:lnTo>
                <a:lnTo>
                  <a:pt x="54" y="126"/>
                </a:lnTo>
                <a:lnTo>
                  <a:pt x="54" y="126"/>
                </a:lnTo>
                <a:lnTo>
                  <a:pt x="54" y="126"/>
                </a:lnTo>
                <a:lnTo>
                  <a:pt x="54" y="126"/>
                </a:lnTo>
                <a:lnTo>
                  <a:pt x="48" y="132"/>
                </a:lnTo>
                <a:lnTo>
                  <a:pt x="48" y="132"/>
                </a:lnTo>
                <a:lnTo>
                  <a:pt x="54" y="126"/>
                </a:lnTo>
                <a:lnTo>
                  <a:pt x="54" y="126"/>
                </a:lnTo>
                <a:lnTo>
                  <a:pt x="54" y="126"/>
                </a:lnTo>
                <a:lnTo>
                  <a:pt x="60" y="120"/>
                </a:lnTo>
                <a:lnTo>
                  <a:pt x="54" y="120"/>
                </a:lnTo>
                <a:lnTo>
                  <a:pt x="54" y="120"/>
                </a:lnTo>
                <a:lnTo>
                  <a:pt x="54" y="120"/>
                </a:lnTo>
                <a:lnTo>
                  <a:pt x="54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14"/>
                </a:lnTo>
                <a:lnTo>
                  <a:pt x="48" y="114"/>
                </a:lnTo>
                <a:lnTo>
                  <a:pt x="48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36" y="108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42" y="102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24" y="84"/>
                </a:lnTo>
                <a:lnTo>
                  <a:pt x="30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6" y="66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6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0" y="1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43" name="Freeform 376"/>
          <p:cNvSpPr>
            <a:spLocks/>
          </p:cNvSpPr>
          <p:nvPr/>
        </p:nvSpPr>
        <p:spPr bwMode="auto">
          <a:xfrm>
            <a:off x="6845430" y="4154276"/>
            <a:ext cx="115633" cy="102786"/>
          </a:xfrm>
          <a:custGeom>
            <a:avLst/>
            <a:gdLst>
              <a:gd name="T0" fmla="*/ 6 w 108"/>
              <a:gd name="T1" fmla="*/ 42 h 96"/>
              <a:gd name="T2" fmla="*/ 18 w 108"/>
              <a:gd name="T3" fmla="*/ 30 h 96"/>
              <a:gd name="T4" fmla="*/ 24 w 108"/>
              <a:gd name="T5" fmla="*/ 24 h 96"/>
              <a:gd name="T6" fmla="*/ 24 w 108"/>
              <a:gd name="T7" fmla="*/ 18 h 96"/>
              <a:gd name="T8" fmla="*/ 18 w 108"/>
              <a:gd name="T9" fmla="*/ 12 h 96"/>
              <a:gd name="T10" fmla="*/ 18 w 108"/>
              <a:gd name="T11" fmla="*/ 6 h 96"/>
              <a:gd name="T12" fmla="*/ 24 w 108"/>
              <a:gd name="T13" fmla="*/ 6 h 96"/>
              <a:gd name="T14" fmla="*/ 30 w 108"/>
              <a:gd name="T15" fmla="*/ 0 h 96"/>
              <a:gd name="T16" fmla="*/ 30 w 108"/>
              <a:gd name="T17" fmla="*/ 0 h 96"/>
              <a:gd name="T18" fmla="*/ 36 w 108"/>
              <a:gd name="T19" fmla="*/ 0 h 96"/>
              <a:gd name="T20" fmla="*/ 42 w 108"/>
              <a:gd name="T21" fmla="*/ 0 h 96"/>
              <a:gd name="T22" fmla="*/ 48 w 108"/>
              <a:gd name="T23" fmla="*/ 6 h 96"/>
              <a:gd name="T24" fmla="*/ 54 w 108"/>
              <a:gd name="T25" fmla="*/ 12 h 96"/>
              <a:gd name="T26" fmla="*/ 54 w 108"/>
              <a:gd name="T27" fmla="*/ 12 h 96"/>
              <a:gd name="T28" fmla="*/ 60 w 108"/>
              <a:gd name="T29" fmla="*/ 12 h 96"/>
              <a:gd name="T30" fmla="*/ 66 w 108"/>
              <a:gd name="T31" fmla="*/ 18 h 96"/>
              <a:gd name="T32" fmla="*/ 72 w 108"/>
              <a:gd name="T33" fmla="*/ 18 h 96"/>
              <a:gd name="T34" fmla="*/ 72 w 108"/>
              <a:gd name="T35" fmla="*/ 18 h 96"/>
              <a:gd name="T36" fmla="*/ 78 w 108"/>
              <a:gd name="T37" fmla="*/ 24 h 96"/>
              <a:gd name="T38" fmla="*/ 78 w 108"/>
              <a:gd name="T39" fmla="*/ 24 h 96"/>
              <a:gd name="T40" fmla="*/ 78 w 108"/>
              <a:gd name="T41" fmla="*/ 24 h 96"/>
              <a:gd name="T42" fmla="*/ 84 w 108"/>
              <a:gd name="T43" fmla="*/ 30 h 96"/>
              <a:gd name="T44" fmla="*/ 84 w 108"/>
              <a:gd name="T45" fmla="*/ 30 h 96"/>
              <a:gd name="T46" fmla="*/ 84 w 108"/>
              <a:gd name="T47" fmla="*/ 36 h 96"/>
              <a:gd name="T48" fmla="*/ 90 w 108"/>
              <a:gd name="T49" fmla="*/ 36 h 96"/>
              <a:gd name="T50" fmla="*/ 90 w 108"/>
              <a:gd name="T51" fmla="*/ 36 h 96"/>
              <a:gd name="T52" fmla="*/ 96 w 108"/>
              <a:gd name="T53" fmla="*/ 42 h 96"/>
              <a:gd name="T54" fmla="*/ 96 w 108"/>
              <a:gd name="T55" fmla="*/ 42 h 96"/>
              <a:gd name="T56" fmla="*/ 96 w 108"/>
              <a:gd name="T57" fmla="*/ 48 h 96"/>
              <a:gd name="T58" fmla="*/ 96 w 108"/>
              <a:gd name="T59" fmla="*/ 48 h 96"/>
              <a:gd name="T60" fmla="*/ 96 w 108"/>
              <a:gd name="T61" fmla="*/ 54 h 96"/>
              <a:gd name="T62" fmla="*/ 102 w 108"/>
              <a:gd name="T63" fmla="*/ 54 h 96"/>
              <a:gd name="T64" fmla="*/ 102 w 108"/>
              <a:gd name="T65" fmla="*/ 66 h 96"/>
              <a:gd name="T66" fmla="*/ 102 w 108"/>
              <a:gd name="T67" fmla="*/ 72 h 96"/>
              <a:gd name="T68" fmla="*/ 102 w 108"/>
              <a:gd name="T69" fmla="*/ 78 h 96"/>
              <a:gd name="T70" fmla="*/ 96 w 108"/>
              <a:gd name="T71" fmla="*/ 84 h 96"/>
              <a:gd name="T72" fmla="*/ 102 w 108"/>
              <a:gd name="T73" fmla="*/ 84 h 96"/>
              <a:gd name="T74" fmla="*/ 102 w 108"/>
              <a:gd name="T75" fmla="*/ 84 h 96"/>
              <a:gd name="T76" fmla="*/ 102 w 108"/>
              <a:gd name="T77" fmla="*/ 96 h 96"/>
              <a:gd name="T78" fmla="*/ 90 w 108"/>
              <a:gd name="T79" fmla="*/ 96 h 96"/>
              <a:gd name="T80" fmla="*/ 84 w 108"/>
              <a:gd name="T81" fmla="*/ 90 h 96"/>
              <a:gd name="T82" fmla="*/ 72 w 108"/>
              <a:gd name="T83" fmla="*/ 84 h 96"/>
              <a:gd name="T84" fmla="*/ 66 w 108"/>
              <a:gd name="T85" fmla="*/ 90 h 96"/>
              <a:gd name="T86" fmla="*/ 60 w 108"/>
              <a:gd name="T87" fmla="*/ 90 h 96"/>
              <a:gd name="T88" fmla="*/ 54 w 108"/>
              <a:gd name="T89" fmla="*/ 84 h 96"/>
              <a:gd name="T90" fmla="*/ 48 w 108"/>
              <a:gd name="T91" fmla="*/ 84 h 96"/>
              <a:gd name="T92" fmla="*/ 48 w 108"/>
              <a:gd name="T93" fmla="*/ 84 h 96"/>
              <a:gd name="T94" fmla="*/ 48 w 108"/>
              <a:gd name="T95" fmla="*/ 90 h 96"/>
              <a:gd name="T96" fmla="*/ 42 w 108"/>
              <a:gd name="T97" fmla="*/ 84 h 96"/>
              <a:gd name="T98" fmla="*/ 36 w 108"/>
              <a:gd name="T99" fmla="*/ 84 h 96"/>
              <a:gd name="T100" fmla="*/ 30 w 108"/>
              <a:gd name="T101" fmla="*/ 78 h 96"/>
              <a:gd name="T102" fmla="*/ 24 w 108"/>
              <a:gd name="T103" fmla="*/ 78 h 96"/>
              <a:gd name="T104" fmla="*/ 24 w 108"/>
              <a:gd name="T105" fmla="*/ 72 h 96"/>
              <a:gd name="T106" fmla="*/ 18 w 108"/>
              <a:gd name="T107" fmla="*/ 66 h 96"/>
              <a:gd name="T108" fmla="*/ 12 w 108"/>
              <a:gd name="T109" fmla="*/ 60 h 96"/>
              <a:gd name="T110" fmla="*/ 12 w 108"/>
              <a:gd name="T111" fmla="*/ 60 h 96"/>
              <a:gd name="T112" fmla="*/ 6 w 108"/>
              <a:gd name="T113" fmla="*/ 54 h 96"/>
              <a:gd name="T114" fmla="*/ 6 w 108"/>
              <a:gd name="T115" fmla="*/ 54 h 96"/>
              <a:gd name="T116" fmla="*/ 0 w 108"/>
              <a:gd name="T117" fmla="*/ 48 h 96"/>
              <a:gd name="T118" fmla="*/ 0 w 108"/>
              <a:gd name="T119" fmla="*/ 4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8" h="96">
                <a:moveTo>
                  <a:pt x="0" y="42"/>
                </a:moveTo>
                <a:lnTo>
                  <a:pt x="0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12" y="36"/>
                </a:lnTo>
                <a:lnTo>
                  <a:pt x="18" y="36"/>
                </a:lnTo>
                <a:lnTo>
                  <a:pt x="18" y="30"/>
                </a:lnTo>
                <a:lnTo>
                  <a:pt x="18" y="30"/>
                </a:lnTo>
                <a:lnTo>
                  <a:pt x="24" y="30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18" y="18"/>
                </a:lnTo>
                <a:lnTo>
                  <a:pt x="18" y="18"/>
                </a:lnTo>
                <a:lnTo>
                  <a:pt x="18" y="12"/>
                </a:lnTo>
                <a:lnTo>
                  <a:pt x="24" y="12"/>
                </a:lnTo>
                <a:lnTo>
                  <a:pt x="24" y="12"/>
                </a:lnTo>
                <a:lnTo>
                  <a:pt x="24" y="6"/>
                </a:lnTo>
                <a:lnTo>
                  <a:pt x="18" y="6"/>
                </a:lnTo>
                <a:lnTo>
                  <a:pt x="18" y="6"/>
                </a:lnTo>
                <a:lnTo>
                  <a:pt x="18" y="0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0"/>
                </a:lnTo>
                <a:lnTo>
                  <a:pt x="24" y="0"/>
                </a:lnTo>
                <a:lnTo>
                  <a:pt x="30" y="0"/>
                </a:lnTo>
                <a:lnTo>
                  <a:pt x="24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0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8" y="18"/>
                </a:lnTo>
                <a:lnTo>
                  <a:pt x="78" y="18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8"/>
                </a:lnTo>
                <a:lnTo>
                  <a:pt x="90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54"/>
                </a:lnTo>
                <a:lnTo>
                  <a:pt x="96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60"/>
                </a:lnTo>
                <a:lnTo>
                  <a:pt x="102" y="60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96" y="84"/>
                </a:lnTo>
                <a:lnTo>
                  <a:pt x="102" y="84"/>
                </a:lnTo>
                <a:lnTo>
                  <a:pt x="102" y="84"/>
                </a:lnTo>
                <a:lnTo>
                  <a:pt x="108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90"/>
                </a:lnTo>
                <a:lnTo>
                  <a:pt x="102" y="90"/>
                </a:lnTo>
                <a:lnTo>
                  <a:pt x="102" y="96"/>
                </a:lnTo>
                <a:lnTo>
                  <a:pt x="102" y="90"/>
                </a:lnTo>
                <a:lnTo>
                  <a:pt x="102" y="90"/>
                </a:lnTo>
                <a:lnTo>
                  <a:pt x="96" y="96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84" y="90"/>
                </a:lnTo>
                <a:lnTo>
                  <a:pt x="84" y="84"/>
                </a:lnTo>
                <a:lnTo>
                  <a:pt x="78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66" y="84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54" y="90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90"/>
                </a:lnTo>
                <a:lnTo>
                  <a:pt x="48" y="90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78"/>
                </a:lnTo>
                <a:lnTo>
                  <a:pt x="30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66"/>
                </a:lnTo>
                <a:lnTo>
                  <a:pt x="24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44" name="Freeform 377"/>
          <p:cNvSpPr>
            <a:spLocks/>
          </p:cNvSpPr>
          <p:nvPr/>
        </p:nvSpPr>
        <p:spPr bwMode="auto">
          <a:xfrm>
            <a:off x="6909671" y="4449785"/>
            <a:ext cx="211994" cy="179875"/>
          </a:xfrm>
          <a:custGeom>
            <a:avLst/>
            <a:gdLst>
              <a:gd name="T0" fmla="*/ 0 w 198"/>
              <a:gd name="T1" fmla="*/ 120 h 168"/>
              <a:gd name="T2" fmla="*/ 0 w 198"/>
              <a:gd name="T3" fmla="*/ 114 h 168"/>
              <a:gd name="T4" fmla="*/ 6 w 198"/>
              <a:gd name="T5" fmla="*/ 114 h 168"/>
              <a:gd name="T6" fmla="*/ 6 w 198"/>
              <a:gd name="T7" fmla="*/ 102 h 168"/>
              <a:gd name="T8" fmla="*/ 12 w 198"/>
              <a:gd name="T9" fmla="*/ 96 h 168"/>
              <a:gd name="T10" fmla="*/ 6 w 198"/>
              <a:gd name="T11" fmla="*/ 90 h 168"/>
              <a:gd name="T12" fmla="*/ 18 w 198"/>
              <a:gd name="T13" fmla="*/ 84 h 168"/>
              <a:gd name="T14" fmla="*/ 18 w 198"/>
              <a:gd name="T15" fmla="*/ 78 h 168"/>
              <a:gd name="T16" fmla="*/ 18 w 198"/>
              <a:gd name="T17" fmla="*/ 72 h 168"/>
              <a:gd name="T18" fmla="*/ 30 w 198"/>
              <a:gd name="T19" fmla="*/ 60 h 168"/>
              <a:gd name="T20" fmla="*/ 30 w 198"/>
              <a:gd name="T21" fmla="*/ 54 h 168"/>
              <a:gd name="T22" fmla="*/ 30 w 198"/>
              <a:gd name="T23" fmla="*/ 48 h 168"/>
              <a:gd name="T24" fmla="*/ 30 w 198"/>
              <a:gd name="T25" fmla="*/ 36 h 168"/>
              <a:gd name="T26" fmla="*/ 30 w 198"/>
              <a:gd name="T27" fmla="*/ 36 h 168"/>
              <a:gd name="T28" fmla="*/ 36 w 198"/>
              <a:gd name="T29" fmla="*/ 36 h 168"/>
              <a:gd name="T30" fmla="*/ 54 w 198"/>
              <a:gd name="T31" fmla="*/ 30 h 168"/>
              <a:gd name="T32" fmla="*/ 60 w 198"/>
              <a:gd name="T33" fmla="*/ 24 h 168"/>
              <a:gd name="T34" fmla="*/ 66 w 198"/>
              <a:gd name="T35" fmla="*/ 18 h 168"/>
              <a:gd name="T36" fmla="*/ 84 w 198"/>
              <a:gd name="T37" fmla="*/ 12 h 168"/>
              <a:gd name="T38" fmla="*/ 90 w 198"/>
              <a:gd name="T39" fmla="*/ 12 h 168"/>
              <a:gd name="T40" fmla="*/ 96 w 198"/>
              <a:gd name="T41" fmla="*/ 18 h 168"/>
              <a:gd name="T42" fmla="*/ 108 w 198"/>
              <a:gd name="T43" fmla="*/ 18 h 168"/>
              <a:gd name="T44" fmla="*/ 114 w 198"/>
              <a:gd name="T45" fmla="*/ 12 h 168"/>
              <a:gd name="T46" fmla="*/ 120 w 198"/>
              <a:gd name="T47" fmla="*/ 6 h 168"/>
              <a:gd name="T48" fmla="*/ 126 w 198"/>
              <a:gd name="T49" fmla="*/ 6 h 168"/>
              <a:gd name="T50" fmla="*/ 126 w 198"/>
              <a:gd name="T51" fmla="*/ 12 h 168"/>
              <a:gd name="T52" fmla="*/ 138 w 198"/>
              <a:gd name="T53" fmla="*/ 6 h 168"/>
              <a:gd name="T54" fmla="*/ 144 w 198"/>
              <a:gd name="T55" fmla="*/ 6 h 168"/>
              <a:gd name="T56" fmla="*/ 156 w 198"/>
              <a:gd name="T57" fmla="*/ 6 h 168"/>
              <a:gd name="T58" fmla="*/ 162 w 198"/>
              <a:gd name="T59" fmla="*/ 0 h 168"/>
              <a:gd name="T60" fmla="*/ 174 w 198"/>
              <a:gd name="T61" fmla="*/ 0 h 168"/>
              <a:gd name="T62" fmla="*/ 174 w 198"/>
              <a:gd name="T63" fmla="*/ 0 h 168"/>
              <a:gd name="T64" fmla="*/ 186 w 198"/>
              <a:gd name="T65" fmla="*/ 0 h 168"/>
              <a:gd name="T66" fmla="*/ 186 w 198"/>
              <a:gd name="T67" fmla="*/ 0 h 168"/>
              <a:gd name="T68" fmla="*/ 174 w 198"/>
              <a:gd name="T69" fmla="*/ 12 h 168"/>
              <a:gd name="T70" fmla="*/ 174 w 198"/>
              <a:gd name="T71" fmla="*/ 18 h 168"/>
              <a:gd name="T72" fmla="*/ 168 w 198"/>
              <a:gd name="T73" fmla="*/ 24 h 168"/>
              <a:gd name="T74" fmla="*/ 168 w 198"/>
              <a:gd name="T75" fmla="*/ 30 h 168"/>
              <a:gd name="T76" fmla="*/ 162 w 198"/>
              <a:gd name="T77" fmla="*/ 36 h 168"/>
              <a:gd name="T78" fmla="*/ 162 w 198"/>
              <a:gd name="T79" fmla="*/ 42 h 168"/>
              <a:gd name="T80" fmla="*/ 168 w 198"/>
              <a:gd name="T81" fmla="*/ 48 h 168"/>
              <a:gd name="T82" fmla="*/ 180 w 198"/>
              <a:gd name="T83" fmla="*/ 48 h 168"/>
              <a:gd name="T84" fmla="*/ 186 w 198"/>
              <a:gd name="T85" fmla="*/ 48 h 168"/>
              <a:gd name="T86" fmla="*/ 192 w 198"/>
              <a:gd name="T87" fmla="*/ 54 h 168"/>
              <a:gd name="T88" fmla="*/ 180 w 198"/>
              <a:gd name="T89" fmla="*/ 66 h 168"/>
              <a:gd name="T90" fmla="*/ 156 w 198"/>
              <a:gd name="T91" fmla="*/ 84 h 168"/>
              <a:gd name="T92" fmla="*/ 90 w 198"/>
              <a:gd name="T93" fmla="*/ 132 h 168"/>
              <a:gd name="T94" fmla="*/ 90 w 198"/>
              <a:gd name="T95" fmla="*/ 144 h 168"/>
              <a:gd name="T96" fmla="*/ 84 w 198"/>
              <a:gd name="T97" fmla="*/ 150 h 168"/>
              <a:gd name="T98" fmla="*/ 66 w 198"/>
              <a:gd name="T99" fmla="*/ 168 h 168"/>
              <a:gd name="T100" fmla="*/ 66 w 198"/>
              <a:gd name="T101" fmla="*/ 162 h 168"/>
              <a:gd name="T102" fmla="*/ 54 w 198"/>
              <a:gd name="T103" fmla="*/ 156 h 168"/>
              <a:gd name="T104" fmla="*/ 54 w 198"/>
              <a:gd name="T105" fmla="*/ 150 h 168"/>
              <a:gd name="T106" fmla="*/ 48 w 198"/>
              <a:gd name="T107" fmla="*/ 138 h 168"/>
              <a:gd name="T108" fmla="*/ 48 w 198"/>
              <a:gd name="T109" fmla="*/ 132 h 168"/>
              <a:gd name="T110" fmla="*/ 42 w 198"/>
              <a:gd name="T111" fmla="*/ 126 h 168"/>
              <a:gd name="T112" fmla="*/ 42 w 198"/>
              <a:gd name="T113" fmla="*/ 132 h 168"/>
              <a:gd name="T114" fmla="*/ 30 w 198"/>
              <a:gd name="T115" fmla="*/ 138 h 168"/>
              <a:gd name="T116" fmla="*/ 30 w 198"/>
              <a:gd name="T117" fmla="*/ 132 h 168"/>
              <a:gd name="T118" fmla="*/ 12 w 198"/>
              <a:gd name="T119" fmla="*/ 132 h 168"/>
              <a:gd name="T120" fmla="*/ 6 w 198"/>
              <a:gd name="T121" fmla="*/ 144 h 168"/>
              <a:gd name="T122" fmla="*/ 0 w 198"/>
              <a:gd name="T123" fmla="*/ 132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98" h="168">
                <a:moveTo>
                  <a:pt x="0" y="132"/>
                </a:moveTo>
                <a:lnTo>
                  <a:pt x="0" y="126"/>
                </a:lnTo>
                <a:lnTo>
                  <a:pt x="0" y="126"/>
                </a:lnTo>
                <a:lnTo>
                  <a:pt x="0" y="126"/>
                </a:lnTo>
                <a:lnTo>
                  <a:pt x="0" y="126"/>
                </a:lnTo>
                <a:lnTo>
                  <a:pt x="0" y="126"/>
                </a:lnTo>
                <a:lnTo>
                  <a:pt x="0" y="126"/>
                </a:lnTo>
                <a:lnTo>
                  <a:pt x="0" y="126"/>
                </a:lnTo>
                <a:lnTo>
                  <a:pt x="0" y="120"/>
                </a:lnTo>
                <a:lnTo>
                  <a:pt x="0" y="120"/>
                </a:lnTo>
                <a:lnTo>
                  <a:pt x="0" y="120"/>
                </a:lnTo>
                <a:lnTo>
                  <a:pt x="0" y="120"/>
                </a:lnTo>
                <a:lnTo>
                  <a:pt x="0" y="120"/>
                </a:lnTo>
                <a:lnTo>
                  <a:pt x="0" y="120"/>
                </a:lnTo>
                <a:lnTo>
                  <a:pt x="0" y="120"/>
                </a:lnTo>
                <a:lnTo>
                  <a:pt x="0" y="120"/>
                </a:lnTo>
                <a:lnTo>
                  <a:pt x="0" y="114"/>
                </a:lnTo>
                <a:lnTo>
                  <a:pt x="0" y="114"/>
                </a:lnTo>
                <a:lnTo>
                  <a:pt x="0" y="114"/>
                </a:lnTo>
                <a:lnTo>
                  <a:pt x="0" y="114"/>
                </a:lnTo>
                <a:lnTo>
                  <a:pt x="0" y="114"/>
                </a:lnTo>
                <a:lnTo>
                  <a:pt x="6" y="114"/>
                </a:lnTo>
                <a:lnTo>
                  <a:pt x="0" y="114"/>
                </a:lnTo>
                <a:lnTo>
                  <a:pt x="0" y="114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0" y="114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6" y="108"/>
                </a:lnTo>
                <a:lnTo>
                  <a:pt x="0" y="108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12" y="84"/>
                </a:lnTo>
                <a:lnTo>
                  <a:pt x="12" y="84"/>
                </a:lnTo>
                <a:lnTo>
                  <a:pt x="12" y="90"/>
                </a:lnTo>
                <a:lnTo>
                  <a:pt x="12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2"/>
                </a:lnTo>
                <a:lnTo>
                  <a:pt x="18" y="78"/>
                </a:lnTo>
                <a:lnTo>
                  <a:pt x="24" y="78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18" y="72"/>
                </a:lnTo>
                <a:lnTo>
                  <a:pt x="18" y="72"/>
                </a:lnTo>
                <a:lnTo>
                  <a:pt x="18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0"/>
                </a:lnTo>
                <a:lnTo>
                  <a:pt x="24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36"/>
                </a:lnTo>
                <a:lnTo>
                  <a:pt x="30" y="36"/>
                </a:lnTo>
                <a:lnTo>
                  <a:pt x="24" y="36"/>
                </a:lnTo>
                <a:lnTo>
                  <a:pt x="24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6" y="36"/>
                </a:lnTo>
                <a:lnTo>
                  <a:pt x="36" y="36"/>
                </a:lnTo>
                <a:lnTo>
                  <a:pt x="30" y="36"/>
                </a:lnTo>
                <a:lnTo>
                  <a:pt x="30" y="42"/>
                </a:lnTo>
                <a:lnTo>
                  <a:pt x="36" y="42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42" y="36"/>
                </a:lnTo>
                <a:lnTo>
                  <a:pt x="36" y="36"/>
                </a:lnTo>
                <a:lnTo>
                  <a:pt x="36" y="36"/>
                </a:lnTo>
                <a:lnTo>
                  <a:pt x="42" y="36"/>
                </a:lnTo>
                <a:lnTo>
                  <a:pt x="42" y="36"/>
                </a:lnTo>
                <a:lnTo>
                  <a:pt x="42" y="30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24"/>
                </a:lnTo>
                <a:lnTo>
                  <a:pt x="60" y="24"/>
                </a:lnTo>
                <a:lnTo>
                  <a:pt x="54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8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6"/>
                </a:lnTo>
                <a:lnTo>
                  <a:pt x="90" y="12"/>
                </a:lnTo>
                <a:lnTo>
                  <a:pt x="96" y="12"/>
                </a:lnTo>
                <a:lnTo>
                  <a:pt x="90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8"/>
                </a:lnTo>
                <a:lnTo>
                  <a:pt x="96" y="12"/>
                </a:lnTo>
                <a:lnTo>
                  <a:pt x="96" y="12"/>
                </a:lnTo>
                <a:lnTo>
                  <a:pt x="96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2"/>
                </a:lnTo>
                <a:lnTo>
                  <a:pt x="108" y="18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08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32" y="6"/>
                </a:lnTo>
                <a:lnTo>
                  <a:pt x="132" y="12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12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62" y="0"/>
                </a:lnTo>
                <a:lnTo>
                  <a:pt x="162" y="0"/>
                </a:lnTo>
                <a:lnTo>
                  <a:pt x="162" y="0"/>
                </a:lnTo>
                <a:lnTo>
                  <a:pt x="162" y="0"/>
                </a:lnTo>
                <a:lnTo>
                  <a:pt x="162" y="0"/>
                </a:lnTo>
                <a:lnTo>
                  <a:pt x="162" y="0"/>
                </a:lnTo>
                <a:lnTo>
                  <a:pt x="162" y="0"/>
                </a:lnTo>
                <a:lnTo>
                  <a:pt x="162" y="0"/>
                </a:lnTo>
                <a:lnTo>
                  <a:pt x="168" y="0"/>
                </a:lnTo>
                <a:lnTo>
                  <a:pt x="168" y="0"/>
                </a:lnTo>
                <a:lnTo>
                  <a:pt x="168" y="0"/>
                </a:lnTo>
                <a:lnTo>
                  <a:pt x="168" y="0"/>
                </a:lnTo>
                <a:lnTo>
                  <a:pt x="168" y="0"/>
                </a:lnTo>
                <a:lnTo>
                  <a:pt x="168" y="0"/>
                </a:lnTo>
                <a:lnTo>
                  <a:pt x="174" y="0"/>
                </a:lnTo>
                <a:lnTo>
                  <a:pt x="174" y="0"/>
                </a:lnTo>
                <a:lnTo>
                  <a:pt x="174" y="0"/>
                </a:lnTo>
                <a:lnTo>
                  <a:pt x="174" y="0"/>
                </a:lnTo>
                <a:lnTo>
                  <a:pt x="174" y="0"/>
                </a:lnTo>
                <a:lnTo>
                  <a:pt x="174" y="0"/>
                </a:lnTo>
                <a:lnTo>
                  <a:pt x="174" y="0"/>
                </a:lnTo>
                <a:lnTo>
                  <a:pt x="174" y="0"/>
                </a:lnTo>
                <a:lnTo>
                  <a:pt x="174" y="0"/>
                </a:lnTo>
                <a:lnTo>
                  <a:pt x="174" y="0"/>
                </a:lnTo>
                <a:lnTo>
                  <a:pt x="174" y="0"/>
                </a:lnTo>
                <a:lnTo>
                  <a:pt x="174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6" y="0"/>
                </a:lnTo>
                <a:lnTo>
                  <a:pt x="186" y="0"/>
                </a:lnTo>
                <a:lnTo>
                  <a:pt x="186" y="0"/>
                </a:lnTo>
                <a:lnTo>
                  <a:pt x="186" y="0"/>
                </a:lnTo>
                <a:lnTo>
                  <a:pt x="192" y="0"/>
                </a:lnTo>
                <a:lnTo>
                  <a:pt x="186" y="0"/>
                </a:lnTo>
                <a:lnTo>
                  <a:pt x="186" y="0"/>
                </a:lnTo>
                <a:lnTo>
                  <a:pt x="186" y="0"/>
                </a:lnTo>
                <a:lnTo>
                  <a:pt x="186" y="0"/>
                </a:lnTo>
                <a:lnTo>
                  <a:pt x="186" y="0"/>
                </a:lnTo>
                <a:lnTo>
                  <a:pt x="186" y="6"/>
                </a:lnTo>
                <a:lnTo>
                  <a:pt x="186" y="6"/>
                </a:lnTo>
                <a:lnTo>
                  <a:pt x="186" y="6"/>
                </a:lnTo>
                <a:lnTo>
                  <a:pt x="180" y="6"/>
                </a:lnTo>
                <a:lnTo>
                  <a:pt x="180" y="6"/>
                </a:lnTo>
                <a:lnTo>
                  <a:pt x="180" y="6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74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30"/>
                </a:lnTo>
                <a:lnTo>
                  <a:pt x="168" y="30"/>
                </a:lnTo>
                <a:lnTo>
                  <a:pt x="168" y="30"/>
                </a:lnTo>
                <a:lnTo>
                  <a:pt x="168" y="30"/>
                </a:lnTo>
                <a:lnTo>
                  <a:pt x="168" y="30"/>
                </a:lnTo>
                <a:lnTo>
                  <a:pt x="168" y="30"/>
                </a:lnTo>
                <a:lnTo>
                  <a:pt x="168" y="36"/>
                </a:lnTo>
                <a:lnTo>
                  <a:pt x="168" y="36"/>
                </a:lnTo>
                <a:lnTo>
                  <a:pt x="168" y="36"/>
                </a:lnTo>
                <a:lnTo>
                  <a:pt x="168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8" y="42"/>
                </a:lnTo>
                <a:lnTo>
                  <a:pt x="168" y="42"/>
                </a:lnTo>
                <a:lnTo>
                  <a:pt x="168" y="42"/>
                </a:lnTo>
                <a:lnTo>
                  <a:pt x="168" y="42"/>
                </a:lnTo>
                <a:lnTo>
                  <a:pt x="168" y="48"/>
                </a:lnTo>
                <a:lnTo>
                  <a:pt x="168" y="48"/>
                </a:lnTo>
                <a:lnTo>
                  <a:pt x="168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80" y="48"/>
                </a:lnTo>
                <a:lnTo>
                  <a:pt x="180" y="48"/>
                </a:lnTo>
                <a:lnTo>
                  <a:pt x="180" y="48"/>
                </a:lnTo>
                <a:lnTo>
                  <a:pt x="180" y="48"/>
                </a:lnTo>
                <a:lnTo>
                  <a:pt x="180" y="48"/>
                </a:lnTo>
                <a:lnTo>
                  <a:pt x="180" y="48"/>
                </a:lnTo>
                <a:lnTo>
                  <a:pt x="180" y="48"/>
                </a:lnTo>
                <a:lnTo>
                  <a:pt x="180" y="48"/>
                </a:lnTo>
                <a:lnTo>
                  <a:pt x="186" y="48"/>
                </a:lnTo>
                <a:lnTo>
                  <a:pt x="186" y="48"/>
                </a:lnTo>
                <a:lnTo>
                  <a:pt x="186" y="48"/>
                </a:lnTo>
                <a:lnTo>
                  <a:pt x="186" y="48"/>
                </a:lnTo>
                <a:lnTo>
                  <a:pt x="186" y="48"/>
                </a:lnTo>
                <a:lnTo>
                  <a:pt x="186" y="48"/>
                </a:lnTo>
                <a:lnTo>
                  <a:pt x="186" y="48"/>
                </a:lnTo>
                <a:lnTo>
                  <a:pt x="192" y="48"/>
                </a:lnTo>
                <a:lnTo>
                  <a:pt x="192" y="48"/>
                </a:lnTo>
                <a:lnTo>
                  <a:pt x="192" y="48"/>
                </a:lnTo>
                <a:lnTo>
                  <a:pt x="192" y="48"/>
                </a:lnTo>
                <a:lnTo>
                  <a:pt x="192" y="48"/>
                </a:lnTo>
                <a:lnTo>
                  <a:pt x="192" y="54"/>
                </a:lnTo>
                <a:lnTo>
                  <a:pt x="192" y="54"/>
                </a:lnTo>
                <a:lnTo>
                  <a:pt x="192" y="54"/>
                </a:lnTo>
                <a:lnTo>
                  <a:pt x="192" y="54"/>
                </a:lnTo>
                <a:lnTo>
                  <a:pt x="192" y="54"/>
                </a:lnTo>
                <a:lnTo>
                  <a:pt x="198" y="54"/>
                </a:lnTo>
                <a:lnTo>
                  <a:pt x="198" y="54"/>
                </a:lnTo>
                <a:lnTo>
                  <a:pt x="192" y="60"/>
                </a:lnTo>
                <a:lnTo>
                  <a:pt x="186" y="60"/>
                </a:lnTo>
                <a:lnTo>
                  <a:pt x="180" y="66"/>
                </a:lnTo>
                <a:lnTo>
                  <a:pt x="180" y="66"/>
                </a:lnTo>
                <a:lnTo>
                  <a:pt x="180" y="66"/>
                </a:lnTo>
                <a:lnTo>
                  <a:pt x="180" y="72"/>
                </a:lnTo>
                <a:lnTo>
                  <a:pt x="174" y="72"/>
                </a:lnTo>
                <a:lnTo>
                  <a:pt x="174" y="72"/>
                </a:lnTo>
                <a:lnTo>
                  <a:pt x="174" y="72"/>
                </a:lnTo>
                <a:lnTo>
                  <a:pt x="174" y="72"/>
                </a:lnTo>
                <a:lnTo>
                  <a:pt x="156" y="84"/>
                </a:lnTo>
                <a:lnTo>
                  <a:pt x="156" y="84"/>
                </a:lnTo>
                <a:lnTo>
                  <a:pt x="156" y="84"/>
                </a:lnTo>
                <a:lnTo>
                  <a:pt x="150" y="90"/>
                </a:lnTo>
                <a:lnTo>
                  <a:pt x="150" y="90"/>
                </a:lnTo>
                <a:lnTo>
                  <a:pt x="144" y="90"/>
                </a:lnTo>
                <a:lnTo>
                  <a:pt x="138" y="96"/>
                </a:lnTo>
                <a:lnTo>
                  <a:pt x="126" y="102"/>
                </a:lnTo>
                <a:lnTo>
                  <a:pt x="120" y="108"/>
                </a:lnTo>
                <a:lnTo>
                  <a:pt x="108" y="120"/>
                </a:lnTo>
                <a:lnTo>
                  <a:pt x="96" y="126"/>
                </a:lnTo>
                <a:lnTo>
                  <a:pt x="90" y="132"/>
                </a:lnTo>
                <a:lnTo>
                  <a:pt x="90" y="132"/>
                </a:lnTo>
                <a:lnTo>
                  <a:pt x="90" y="138"/>
                </a:lnTo>
                <a:lnTo>
                  <a:pt x="90" y="138"/>
                </a:lnTo>
                <a:lnTo>
                  <a:pt x="90" y="138"/>
                </a:lnTo>
                <a:lnTo>
                  <a:pt x="90" y="138"/>
                </a:lnTo>
                <a:lnTo>
                  <a:pt x="90" y="138"/>
                </a:lnTo>
                <a:lnTo>
                  <a:pt x="90" y="144"/>
                </a:lnTo>
                <a:lnTo>
                  <a:pt x="90" y="144"/>
                </a:lnTo>
                <a:lnTo>
                  <a:pt x="90" y="144"/>
                </a:lnTo>
                <a:lnTo>
                  <a:pt x="90" y="144"/>
                </a:lnTo>
                <a:lnTo>
                  <a:pt x="84" y="150"/>
                </a:lnTo>
                <a:lnTo>
                  <a:pt x="84" y="150"/>
                </a:lnTo>
                <a:lnTo>
                  <a:pt x="90" y="150"/>
                </a:lnTo>
                <a:lnTo>
                  <a:pt x="90" y="150"/>
                </a:lnTo>
                <a:lnTo>
                  <a:pt x="90" y="150"/>
                </a:lnTo>
                <a:lnTo>
                  <a:pt x="84" y="150"/>
                </a:lnTo>
                <a:lnTo>
                  <a:pt x="90" y="150"/>
                </a:lnTo>
                <a:lnTo>
                  <a:pt x="84" y="150"/>
                </a:lnTo>
                <a:lnTo>
                  <a:pt x="84" y="150"/>
                </a:lnTo>
                <a:lnTo>
                  <a:pt x="84" y="150"/>
                </a:lnTo>
                <a:lnTo>
                  <a:pt x="84" y="150"/>
                </a:lnTo>
                <a:lnTo>
                  <a:pt x="78" y="156"/>
                </a:lnTo>
                <a:lnTo>
                  <a:pt x="72" y="162"/>
                </a:lnTo>
                <a:lnTo>
                  <a:pt x="66" y="168"/>
                </a:lnTo>
                <a:lnTo>
                  <a:pt x="60" y="168"/>
                </a:lnTo>
                <a:lnTo>
                  <a:pt x="60" y="168"/>
                </a:lnTo>
                <a:lnTo>
                  <a:pt x="66" y="168"/>
                </a:lnTo>
                <a:lnTo>
                  <a:pt x="72" y="162"/>
                </a:lnTo>
                <a:lnTo>
                  <a:pt x="72" y="156"/>
                </a:lnTo>
                <a:lnTo>
                  <a:pt x="72" y="156"/>
                </a:lnTo>
                <a:lnTo>
                  <a:pt x="72" y="156"/>
                </a:lnTo>
                <a:lnTo>
                  <a:pt x="72" y="156"/>
                </a:lnTo>
                <a:lnTo>
                  <a:pt x="72" y="156"/>
                </a:lnTo>
                <a:lnTo>
                  <a:pt x="72" y="156"/>
                </a:lnTo>
                <a:lnTo>
                  <a:pt x="66" y="156"/>
                </a:lnTo>
                <a:lnTo>
                  <a:pt x="66" y="162"/>
                </a:lnTo>
                <a:lnTo>
                  <a:pt x="66" y="162"/>
                </a:lnTo>
                <a:lnTo>
                  <a:pt x="66" y="162"/>
                </a:lnTo>
                <a:lnTo>
                  <a:pt x="66" y="162"/>
                </a:lnTo>
                <a:lnTo>
                  <a:pt x="66" y="162"/>
                </a:lnTo>
                <a:lnTo>
                  <a:pt x="66" y="162"/>
                </a:lnTo>
                <a:lnTo>
                  <a:pt x="60" y="162"/>
                </a:lnTo>
                <a:lnTo>
                  <a:pt x="60" y="162"/>
                </a:lnTo>
                <a:lnTo>
                  <a:pt x="54" y="156"/>
                </a:lnTo>
                <a:lnTo>
                  <a:pt x="54" y="156"/>
                </a:lnTo>
                <a:lnTo>
                  <a:pt x="54" y="156"/>
                </a:lnTo>
                <a:lnTo>
                  <a:pt x="54" y="156"/>
                </a:lnTo>
                <a:lnTo>
                  <a:pt x="54" y="156"/>
                </a:lnTo>
                <a:lnTo>
                  <a:pt x="54" y="156"/>
                </a:lnTo>
                <a:lnTo>
                  <a:pt x="48" y="156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54" y="144"/>
                </a:lnTo>
                <a:lnTo>
                  <a:pt x="54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2" y="132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36" y="132"/>
                </a:lnTo>
                <a:lnTo>
                  <a:pt x="36" y="132"/>
                </a:lnTo>
                <a:lnTo>
                  <a:pt x="36" y="132"/>
                </a:lnTo>
                <a:lnTo>
                  <a:pt x="36" y="132"/>
                </a:lnTo>
                <a:lnTo>
                  <a:pt x="36" y="138"/>
                </a:lnTo>
                <a:lnTo>
                  <a:pt x="36" y="138"/>
                </a:lnTo>
                <a:lnTo>
                  <a:pt x="30" y="138"/>
                </a:lnTo>
                <a:lnTo>
                  <a:pt x="30" y="138"/>
                </a:lnTo>
                <a:lnTo>
                  <a:pt x="36" y="138"/>
                </a:lnTo>
                <a:lnTo>
                  <a:pt x="36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18" y="126"/>
                </a:lnTo>
                <a:lnTo>
                  <a:pt x="12" y="132"/>
                </a:lnTo>
                <a:lnTo>
                  <a:pt x="12" y="132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6" y="138"/>
                </a:lnTo>
                <a:lnTo>
                  <a:pt x="6" y="138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38"/>
                </a:lnTo>
                <a:lnTo>
                  <a:pt x="0" y="138"/>
                </a:lnTo>
                <a:lnTo>
                  <a:pt x="0" y="138"/>
                </a:lnTo>
                <a:lnTo>
                  <a:pt x="0" y="138"/>
                </a:lnTo>
                <a:lnTo>
                  <a:pt x="0" y="138"/>
                </a:lnTo>
                <a:lnTo>
                  <a:pt x="0" y="138"/>
                </a:lnTo>
                <a:lnTo>
                  <a:pt x="0" y="138"/>
                </a:lnTo>
                <a:lnTo>
                  <a:pt x="0" y="138"/>
                </a:lnTo>
                <a:lnTo>
                  <a:pt x="0" y="132"/>
                </a:lnTo>
                <a:lnTo>
                  <a:pt x="0" y="132"/>
                </a:lnTo>
                <a:lnTo>
                  <a:pt x="0" y="132"/>
                </a:lnTo>
                <a:lnTo>
                  <a:pt x="0" y="132"/>
                </a:lnTo>
                <a:lnTo>
                  <a:pt x="0" y="132"/>
                </a:lnTo>
                <a:lnTo>
                  <a:pt x="0" y="132"/>
                </a:lnTo>
                <a:lnTo>
                  <a:pt x="0" y="132"/>
                </a:lnTo>
                <a:lnTo>
                  <a:pt x="0" y="132"/>
                </a:lnTo>
                <a:lnTo>
                  <a:pt x="0" y="13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45" name="Freeform 378"/>
          <p:cNvSpPr>
            <a:spLocks/>
          </p:cNvSpPr>
          <p:nvPr/>
        </p:nvSpPr>
        <p:spPr bwMode="auto">
          <a:xfrm>
            <a:off x="6864702" y="3910161"/>
            <a:ext cx="77089" cy="96361"/>
          </a:xfrm>
          <a:custGeom>
            <a:avLst/>
            <a:gdLst>
              <a:gd name="T0" fmla="*/ 6 w 72"/>
              <a:gd name="T1" fmla="*/ 36 h 90"/>
              <a:gd name="T2" fmla="*/ 6 w 72"/>
              <a:gd name="T3" fmla="*/ 30 h 90"/>
              <a:gd name="T4" fmla="*/ 6 w 72"/>
              <a:gd name="T5" fmla="*/ 24 h 90"/>
              <a:gd name="T6" fmla="*/ 0 w 72"/>
              <a:gd name="T7" fmla="*/ 18 h 90"/>
              <a:gd name="T8" fmla="*/ 6 w 72"/>
              <a:gd name="T9" fmla="*/ 12 h 90"/>
              <a:gd name="T10" fmla="*/ 6 w 72"/>
              <a:gd name="T11" fmla="*/ 6 h 90"/>
              <a:gd name="T12" fmla="*/ 12 w 72"/>
              <a:gd name="T13" fmla="*/ 6 h 90"/>
              <a:gd name="T14" fmla="*/ 18 w 72"/>
              <a:gd name="T15" fmla="*/ 0 h 90"/>
              <a:gd name="T16" fmla="*/ 30 w 72"/>
              <a:gd name="T17" fmla="*/ 6 h 90"/>
              <a:gd name="T18" fmla="*/ 36 w 72"/>
              <a:gd name="T19" fmla="*/ 6 h 90"/>
              <a:gd name="T20" fmla="*/ 42 w 72"/>
              <a:gd name="T21" fmla="*/ 6 h 90"/>
              <a:gd name="T22" fmla="*/ 48 w 72"/>
              <a:gd name="T23" fmla="*/ 12 h 90"/>
              <a:gd name="T24" fmla="*/ 54 w 72"/>
              <a:gd name="T25" fmla="*/ 18 h 90"/>
              <a:gd name="T26" fmla="*/ 54 w 72"/>
              <a:gd name="T27" fmla="*/ 30 h 90"/>
              <a:gd name="T28" fmla="*/ 60 w 72"/>
              <a:gd name="T29" fmla="*/ 42 h 90"/>
              <a:gd name="T30" fmla="*/ 66 w 72"/>
              <a:gd name="T31" fmla="*/ 48 h 90"/>
              <a:gd name="T32" fmla="*/ 66 w 72"/>
              <a:gd name="T33" fmla="*/ 54 h 90"/>
              <a:gd name="T34" fmla="*/ 72 w 72"/>
              <a:gd name="T35" fmla="*/ 54 h 90"/>
              <a:gd name="T36" fmla="*/ 66 w 72"/>
              <a:gd name="T37" fmla="*/ 54 h 90"/>
              <a:gd name="T38" fmla="*/ 60 w 72"/>
              <a:gd name="T39" fmla="*/ 54 h 90"/>
              <a:gd name="T40" fmla="*/ 54 w 72"/>
              <a:gd name="T41" fmla="*/ 60 h 90"/>
              <a:gd name="T42" fmla="*/ 48 w 72"/>
              <a:gd name="T43" fmla="*/ 60 h 90"/>
              <a:gd name="T44" fmla="*/ 54 w 72"/>
              <a:gd name="T45" fmla="*/ 66 h 90"/>
              <a:gd name="T46" fmla="*/ 54 w 72"/>
              <a:gd name="T47" fmla="*/ 72 h 90"/>
              <a:gd name="T48" fmla="*/ 60 w 72"/>
              <a:gd name="T49" fmla="*/ 78 h 90"/>
              <a:gd name="T50" fmla="*/ 60 w 72"/>
              <a:gd name="T51" fmla="*/ 78 h 90"/>
              <a:gd name="T52" fmla="*/ 60 w 72"/>
              <a:gd name="T53" fmla="*/ 84 h 90"/>
              <a:gd name="T54" fmla="*/ 60 w 72"/>
              <a:gd name="T55" fmla="*/ 84 h 90"/>
              <a:gd name="T56" fmla="*/ 60 w 72"/>
              <a:gd name="T57" fmla="*/ 84 h 90"/>
              <a:gd name="T58" fmla="*/ 60 w 72"/>
              <a:gd name="T59" fmla="*/ 84 h 90"/>
              <a:gd name="T60" fmla="*/ 54 w 72"/>
              <a:gd name="T61" fmla="*/ 84 h 90"/>
              <a:gd name="T62" fmla="*/ 48 w 72"/>
              <a:gd name="T63" fmla="*/ 84 h 90"/>
              <a:gd name="T64" fmla="*/ 42 w 72"/>
              <a:gd name="T65" fmla="*/ 90 h 90"/>
              <a:gd name="T66" fmla="*/ 36 w 72"/>
              <a:gd name="T67" fmla="*/ 90 h 90"/>
              <a:gd name="T68" fmla="*/ 30 w 72"/>
              <a:gd name="T69" fmla="*/ 90 h 90"/>
              <a:gd name="T70" fmla="*/ 30 w 72"/>
              <a:gd name="T71" fmla="*/ 90 h 90"/>
              <a:gd name="T72" fmla="*/ 24 w 72"/>
              <a:gd name="T73" fmla="*/ 90 h 90"/>
              <a:gd name="T74" fmla="*/ 24 w 72"/>
              <a:gd name="T75" fmla="*/ 84 h 90"/>
              <a:gd name="T76" fmla="*/ 24 w 72"/>
              <a:gd name="T77" fmla="*/ 84 h 90"/>
              <a:gd name="T78" fmla="*/ 18 w 72"/>
              <a:gd name="T79" fmla="*/ 78 h 90"/>
              <a:gd name="T80" fmla="*/ 18 w 72"/>
              <a:gd name="T81" fmla="*/ 78 h 90"/>
              <a:gd name="T82" fmla="*/ 12 w 72"/>
              <a:gd name="T83" fmla="*/ 72 h 90"/>
              <a:gd name="T84" fmla="*/ 12 w 72"/>
              <a:gd name="T85" fmla="*/ 66 h 90"/>
              <a:gd name="T86" fmla="*/ 12 w 72"/>
              <a:gd name="T87" fmla="*/ 66 h 90"/>
              <a:gd name="T88" fmla="*/ 6 w 72"/>
              <a:gd name="T89" fmla="*/ 66 h 90"/>
              <a:gd name="T90" fmla="*/ 12 w 72"/>
              <a:gd name="T91" fmla="*/ 54 h 90"/>
              <a:gd name="T92" fmla="*/ 6 w 72"/>
              <a:gd name="T93" fmla="*/ 54 h 90"/>
              <a:gd name="T94" fmla="*/ 0 w 72"/>
              <a:gd name="T95" fmla="*/ 48 h 90"/>
              <a:gd name="T96" fmla="*/ 0 w 72"/>
              <a:gd name="T97" fmla="*/ 42 h 90"/>
              <a:gd name="T98" fmla="*/ 0 w 72"/>
              <a:gd name="T99" fmla="*/ 42 h 90"/>
              <a:gd name="T100" fmla="*/ 0 w 72"/>
              <a:gd name="T101" fmla="*/ 36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72" h="90">
                <a:moveTo>
                  <a:pt x="0" y="36"/>
                </a:move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12" y="6"/>
                </a:lnTo>
                <a:lnTo>
                  <a:pt x="12" y="6"/>
                </a:lnTo>
                <a:lnTo>
                  <a:pt x="18" y="6"/>
                </a:lnTo>
                <a:lnTo>
                  <a:pt x="18" y="0"/>
                </a:lnTo>
                <a:lnTo>
                  <a:pt x="24" y="0"/>
                </a:lnTo>
                <a:lnTo>
                  <a:pt x="24" y="0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54" y="18"/>
                </a:lnTo>
                <a:lnTo>
                  <a:pt x="54" y="18"/>
                </a:lnTo>
                <a:lnTo>
                  <a:pt x="54" y="24"/>
                </a:lnTo>
                <a:lnTo>
                  <a:pt x="54" y="24"/>
                </a:lnTo>
                <a:lnTo>
                  <a:pt x="54" y="30"/>
                </a:lnTo>
                <a:lnTo>
                  <a:pt x="54" y="30"/>
                </a:lnTo>
                <a:lnTo>
                  <a:pt x="54" y="36"/>
                </a:lnTo>
                <a:lnTo>
                  <a:pt x="60" y="42"/>
                </a:lnTo>
                <a:lnTo>
                  <a:pt x="60" y="42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54"/>
                </a:lnTo>
                <a:lnTo>
                  <a:pt x="66" y="54"/>
                </a:lnTo>
                <a:lnTo>
                  <a:pt x="72" y="54"/>
                </a:lnTo>
                <a:lnTo>
                  <a:pt x="72" y="54"/>
                </a:lnTo>
                <a:lnTo>
                  <a:pt x="66" y="60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0" y="54"/>
                </a:lnTo>
                <a:lnTo>
                  <a:pt x="60" y="54"/>
                </a:lnTo>
                <a:lnTo>
                  <a:pt x="60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48" y="60"/>
                </a:lnTo>
                <a:lnTo>
                  <a:pt x="48" y="66"/>
                </a:lnTo>
                <a:lnTo>
                  <a:pt x="48" y="66"/>
                </a:lnTo>
                <a:lnTo>
                  <a:pt x="54" y="66"/>
                </a:lnTo>
                <a:lnTo>
                  <a:pt x="54" y="66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2" y="90"/>
                </a:lnTo>
                <a:lnTo>
                  <a:pt x="42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78"/>
                </a:lnTo>
                <a:lnTo>
                  <a:pt x="24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2" y="78"/>
                </a:lnTo>
                <a:lnTo>
                  <a:pt x="12" y="72"/>
                </a:lnTo>
                <a:lnTo>
                  <a:pt x="12" y="72"/>
                </a:lnTo>
                <a:lnTo>
                  <a:pt x="18" y="72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12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48"/>
                </a:lnTo>
                <a:lnTo>
                  <a:pt x="0" y="48"/>
                </a:lnTo>
                <a:lnTo>
                  <a:pt x="0" y="48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3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46" name="Freeform 379"/>
          <p:cNvSpPr>
            <a:spLocks/>
          </p:cNvSpPr>
          <p:nvPr/>
        </p:nvSpPr>
        <p:spPr bwMode="auto">
          <a:xfrm>
            <a:off x="6967487" y="4012946"/>
            <a:ext cx="128481" cy="128482"/>
          </a:xfrm>
          <a:custGeom>
            <a:avLst/>
            <a:gdLst>
              <a:gd name="T0" fmla="*/ 6 w 120"/>
              <a:gd name="T1" fmla="*/ 24 h 120"/>
              <a:gd name="T2" fmla="*/ 0 w 120"/>
              <a:gd name="T3" fmla="*/ 6 h 120"/>
              <a:gd name="T4" fmla="*/ 0 w 120"/>
              <a:gd name="T5" fmla="*/ 0 h 120"/>
              <a:gd name="T6" fmla="*/ 12 w 120"/>
              <a:gd name="T7" fmla="*/ 6 h 120"/>
              <a:gd name="T8" fmla="*/ 18 w 120"/>
              <a:gd name="T9" fmla="*/ 6 h 120"/>
              <a:gd name="T10" fmla="*/ 30 w 120"/>
              <a:gd name="T11" fmla="*/ 0 h 120"/>
              <a:gd name="T12" fmla="*/ 42 w 120"/>
              <a:gd name="T13" fmla="*/ 6 h 120"/>
              <a:gd name="T14" fmla="*/ 54 w 120"/>
              <a:gd name="T15" fmla="*/ 6 h 120"/>
              <a:gd name="T16" fmla="*/ 60 w 120"/>
              <a:gd name="T17" fmla="*/ 6 h 120"/>
              <a:gd name="T18" fmla="*/ 72 w 120"/>
              <a:gd name="T19" fmla="*/ 12 h 120"/>
              <a:gd name="T20" fmla="*/ 78 w 120"/>
              <a:gd name="T21" fmla="*/ 18 h 120"/>
              <a:gd name="T22" fmla="*/ 84 w 120"/>
              <a:gd name="T23" fmla="*/ 24 h 120"/>
              <a:gd name="T24" fmla="*/ 78 w 120"/>
              <a:gd name="T25" fmla="*/ 30 h 120"/>
              <a:gd name="T26" fmla="*/ 72 w 120"/>
              <a:gd name="T27" fmla="*/ 36 h 120"/>
              <a:gd name="T28" fmla="*/ 78 w 120"/>
              <a:gd name="T29" fmla="*/ 42 h 120"/>
              <a:gd name="T30" fmla="*/ 84 w 120"/>
              <a:gd name="T31" fmla="*/ 42 h 120"/>
              <a:gd name="T32" fmla="*/ 84 w 120"/>
              <a:gd name="T33" fmla="*/ 42 h 120"/>
              <a:gd name="T34" fmla="*/ 90 w 120"/>
              <a:gd name="T35" fmla="*/ 48 h 120"/>
              <a:gd name="T36" fmla="*/ 90 w 120"/>
              <a:gd name="T37" fmla="*/ 54 h 120"/>
              <a:gd name="T38" fmla="*/ 90 w 120"/>
              <a:gd name="T39" fmla="*/ 54 h 120"/>
              <a:gd name="T40" fmla="*/ 96 w 120"/>
              <a:gd name="T41" fmla="*/ 66 h 120"/>
              <a:gd name="T42" fmla="*/ 96 w 120"/>
              <a:gd name="T43" fmla="*/ 60 h 120"/>
              <a:gd name="T44" fmla="*/ 102 w 120"/>
              <a:gd name="T45" fmla="*/ 66 h 120"/>
              <a:gd name="T46" fmla="*/ 108 w 120"/>
              <a:gd name="T47" fmla="*/ 72 h 120"/>
              <a:gd name="T48" fmla="*/ 114 w 120"/>
              <a:gd name="T49" fmla="*/ 78 h 120"/>
              <a:gd name="T50" fmla="*/ 114 w 120"/>
              <a:gd name="T51" fmla="*/ 78 h 120"/>
              <a:gd name="T52" fmla="*/ 114 w 120"/>
              <a:gd name="T53" fmla="*/ 90 h 120"/>
              <a:gd name="T54" fmla="*/ 108 w 120"/>
              <a:gd name="T55" fmla="*/ 90 h 120"/>
              <a:gd name="T56" fmla="*/ 102 w 120"/>
              <a:gd name="T57" fmla="*/ 102 h 120"/>
              <a:gd name="T58" fmla="*/ 108 w 120"/>
              <a:gd name="T59" fmla="*/ 102 h 120"/>
              <a:gd name="T60" fmla="*/ 108 w 120"/>
              <a:gd name="T61" fmla="*/ 108 h 120"/>
              <a:gd name="T62" fmla="*/ 108 w 120"/>
              <a:gd name="T63" fmla="*/ 120 h 120"/>
              <a:gd name="T64" fmla="*/ 108 w 120"/>
              <a:gd name="T65" fmla="*/ 120 h 120"/>
              <a:gd name="T66" fmla="*/ 96 w 120"/>
              <a:gd name="T67" fmla="*/ 114 h 120"/>
              <a:gd name="T68" fmla="*/ 90 w 120"/>
              <a:gd name="T69" fmla="*/ 120 h 120"/>
              <a:gd name="T70" fmla="*/ 84 w 120"/>
              <a:gd name="T71" fmla="*/ 120 h 120"/>
              <a:gd name="T72" fmla="*/ 78 w 120"/>
              <a:gd name="T73" fmla="*/ 114 h 120"/>
              <a:gd name="T74" fmla="*/ 72 w 120"/>
              <a:gd name="T75" fmla="*/ 114 h 120"/>
              <a:gd name="T76" fmla="*/ 66 w 120"/>
              <a:gd name="T77" fmla="*/ 114 h 120"/>
              <a:gd name="T78" fmla="*/ 60 w 120"/>
              <a:gd name="T79" fmla="*/ 108 h 120"/>
              <a:gd name="T80" fmla="*/ 48 w 120"/>
              <a:gd name="T81" fmla="*/ 108 h 120"/>
              <a:gd name="T82" fmla="*/ 48 w 120"/>
              <a:gd name="T83" fmla="*/ 102 h 120"/>
              <a:gd name="T84" fmla="*/ 48 w 120"/>
              <a:gd name="T85" fmla="*/ 96 h 120"/>
              <a:gd name="T86" fmla="*/ 42 w 120"/>
              <a:gd name="T87" fmla="*/ 96 h 120"/>
              <a:gd name="T88" fmla="*/ 42 w 120"/>
              <a:gd name="T89" fmla="*/ 96 h 120"/>
              <a:gd name="T90" fmla="*/ 42 w 120"/>
              <a:gd name="T91" fmla="*/ 96 h 120"/>
              <a:gd name="T92" fmla="*/ 36 w 120"/>
              <a:gd name="T93" fmla="*/ 96 h 120"/>
              <a:gd name="T94" fmla="*/ 36 w 120"/>
              <a:gd name="T95" fmla="*/ 90 h 120"/>
              <a:gd name="T96" fmla="*/ 30 w 120"/>
              <a:gd name="T97" fmla="*/ 90 h 120"/>
              <a:gd name="T98" fmla="*/ 30 w 120"/>
              <a:gd name="T99" fmla="*/ 90 h 120"/>
              <a:gd name="T100" fmla="*/ 30 w 120"/>
              <a:gd name="T101" fmla="*/ 96 h 120"/>
              <a:gd name="T102" fmla="*/ 24 w 120"/>
              <a:gd name="T103" fmla="*/ 96 h 120"/>
              <a:gd name="T104" fmla="*/ 24 w 120"/>
              <a:gd name="T105" fmla="*/ 90 h 120"/>
              <a:gd name="T106" fmla="*/ 18 w 120"/>
              <a:gd name="T107" fmla="*/ 84 h 120"/>
              <a:gd name="T108" fmla="*/ 18 w 120"/>
              <a:gd name="T109" fmla="*/ 84 h 120"/>
              <a:gd name="T110" fmla="*/ 18 w 120"/>
              <a:gd name="T111" fmla="*/ 84 h 120"/>
              <a:gd name="T112" fmla="*/ 12 w 120"/>
              <a:gd name="T113" fmla="*/ 78 h 120"/>
              <a:gd name="T114" fmla="*/ 12 w 120"/>
              <a:gd name="T115" fmla="*/ 78 h 120"/>
              <a:gd name="T116" fmla="*/ 6 w 120"/>
              <a:gd name="T117" fmla="*/ 72 h 120"/>
              <a:gd name="T118" fmla="*/ 6 w 120"/>
              <a:gd name="T119" fmla="*/ 60 h 120"/>
              <a:gd name="T120" fmla="*/ 0 w 120"/>
              <a:gd name="T121" fmla="*/ 42 h 120"/>
              <a:gd name="T122" fmla="*/ 0 w 120"/>
              <a:gd name="T123" fmla="*/ 36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20" h="120">
                <a:moveTo>
                  <a:pt x="0" y="36"/>
                </a:moveTo>
                <a:lnTo>
                  <a:pt x="0" y="30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6" y="0"/>
                </a:lnTo>
                <a:lnTo>
                  <a:pt x="6" y="6"/>
                </a:lnTo>
                <a:lnTo>
                  <a:pt x="6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0"/>
                </a:lnTo>
                <a:lnTo>
                  <a:pt x="24" y="0"/>
                </a:lnTo>
                <a:lnTo>
                  <a:pt x="24" y="0"/>
                </a:lnTo>
                <a:lnTo>
                  <a:pt x="30" y="0"/>
                </a:lnTo>
                <a:lnTo>
                  <a:pt x="30" y="6"/>
                </a:lnTo>
                <a:lnTo>
                  <a:pt x="30" y="0"/>
                </a:lnTo>
                <a:lnTo>
                  <a:pt x="36" y="0"/>
                </a:lnTo>
                <a:lnTo>
                  <a:pt x="36" y="0"/>
                </a:lnTo>
                <a:lnTo>
                  <a:pt x="36" y="6"/>
                </a:lnTo>
                <a:lnTo>
                  <a:pt x="36" y="6"/>
                </a:lnTo>
                <a:lnTo>
                  <a:pt x="36" y="0"/>
                </a:lnTo>
                <a:lnTo>
                  <a:pt x="42" y="6"/>
                </a:lnTo>
                <a:lnTo>
                  <a:pt x="42" y="6"/>
                </a:lnTo>
                <a:lnTo>
                  <a:pt x="48" y="0"/>
                </a:lnTo>
                <a:lnTo>
                  <a:pt x="48" y="0"/>
                </a:lnTo>
                <a:lnTo>
                  <a:pt x="48" y="6"/>
                </a:lnTo>
                <a:lnTo>
                  <a:pt x="48" y="0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24"/>
                </a:lnTo>
                <a:lnTo>
                  <a:pt x="78" y="24"/>
                </a:lnTo>
                <a:lnTo>
                  <a:pt x="84" y="18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42"/>
                </a:lnTo>
                <a:lnTo>
                  <a:pt x="72" y="42"/>
                </a:lnTo>
                <a:lnTo>
                  <a:pt x="78" y="36"/>
                </a:lnTo>
                <a:lnTo>
                  <a:pt x="78" y="42"/>
                </a:lnTo>
                <a:lnTo>
                  <a:pt x="78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54"/>
                </a:lnTo>
                <a:lnTo>
                  <a:pt x="90" y="54"/>
                </a:lnTo>
                <a:lnTo>
                  <a:pt x="90" y="48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6"/>
                </a:lnTo>
                <a:lnTo>
                  <a:pt x="96" y="66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102" y="60"/>
                </a:lnTo>
                <a:lnTo>
                  <a:pt x="102" y="60"/>
                </a:lnTo>
                <a:lnTo>
                  <a:pt x="96" y="66"/>
                </a:lnTo>
                <a:lnTo>
                  <a:pt x="96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72"/>
                </a:lnTo>
                <a:lnTo>
                  <a:pt x="114" y="72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84"/>
                </a:lnTo>
                <a:lnTo>
                  <a:pt x="114" y="84"/>
                </a:lnTo>
                <a:lnTo>
                  <a:pt x="114" y="90"/>
                </a:lnTo>
                <a:lnTo>
                  <a:pt x="114" y="90"/>
                </a:lnTo>
                <a:lnTo>
                  <a:pt x="114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2" y="120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20"/>
                </a:lnTo>
                <a:lnTo>
                  <a:pt x="96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08"/>
                </a:lnTo>
                <a:lnTo>
                  <a:pt x="66" y="108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08"/>
                </a:lnTo>
                <a:lnTo>
                  <a:pt x="66" y="108"/>
                </a:lnTo>
                <a:lnTo>
                  <a:pt x="60" y="108"/>
                </a:lnTo>
                <a:lnTo>
                  <a:pt x="60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2"/>
                </a:lnTo>
                <a:lnTo>
                  <a:pt x="42" y="102"/>
                </a:lnTo>
                <a:lnTo>
                  <a:pt x="48" y="102"/>
                </a:lnTo>
                <a:lnTo>
                  <a:pt x="42" y="102"/>
                </a:lnTo>
                <a:lnTo>
                  <a:pt x="42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6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24" y="96"/>
                </a:lnTo>
                <a:lnTo>
                  <a:pt x="24" y="96"/>
                </a:lnTo>
                <a:lnTo>
                  <a:pt x="24" y="90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18" y="90"/>
                </a:lnTo>
                <a:lnTo>
                  <a:pt x="18" y="90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2" y="84"/>
                </a:lnTo>
                <a:lnTo>
                  <a:pt x="18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6" y="66"/>
                </a:lnTo>
                <a:lnTo>
                  <a:pt x="0" y="66"/>
                </a:lnTo>
                <a:lnTo>
                  <a:pt x="6" y="60"/>
                </a:lnTo>
                <a:lnTo>
                  <a:pt x="0" y="60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6" y="48"/>
                </a:lnTo>
                <a:lnTo>
                  <a:pt x="0" y="48"/>
                </a:lnTo>
                <a:lnTo>
                  <a:pt x="0" y="48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47" name="Freeform 380"/>
          <p:cNvSpPr>
            <a:spLocks/>
          </p:cNvSpPr>
          <p:nvPr/>
        </p:nvSpPr>
        <p:spPr bwMode="auto">
          <a:xfrm>
            <a:off x="7121664" y="4346999"/>
            <a:ext cx="44968" cy="44969"/>
          </a:xfrm>
          <a:custGeom>
            <a:avLst/>
            <a:gdLst>
              <a:gd name="T0" fmla="*/ 6 w 42"/>
              <a:gd name="T1" fmla="*/ 42 h 42"/>
              <a:gd name="T2" fmla="*/ 6 w 42"/>
              <a:gd name="T3" fmla="*/ 42 h 42"/>
              <a:gd name="T4" fmla="*/ 6 w 42"/>
              <a:gd name="T5" fmla="*/ 36 h 42"/>
              <a:gd name="T6" fmla="*/ 6 w 42"/>
              <a:gd name="T7" fmla="*/ 36 h 42"/>
              <a:gd name="T8" fmla="*/ 6 w 42"/>
              <a:gd name="T9" fmla="*/ 36 h 42"/>
              <a:gd name="T10" fmla="*/ 6 w 42"/>
              <a:gd name="T11" fmla="*/ 30 h 42"/>
              <a:gd name="T12" fmla="*/ 6 w 42"/>
              <a:gd name="T13" fmla="*/ 30 h 42"/>
              <a:gd name="T14" fmla="*/ 6 w 42"/>
              <a:gd name="T15" fmla="*/ 30 h 42"/>
              <a:gd name="T16" fmla="*/ 6 w 42"/>
              <a:gd name="T17" fmla="*/ 24 h 42"/>
              <a:gd name="T18" fmla="*/ 6 w 42"/>
              <a:gd name="T19" fmla="*/ 24 h 42"/>
              <a:gd name="T20" fmla="*/ 6 w 42"/>
              <a:gd name="T21" fmla="*/ 24 h 42"/>
              <a:gd name="T22" fmla="*/ 6 w 42"/>
              <a:gd name="T23" fmla="*/ 24 h 42"/>
              <a:gd name="T24" fmla="*/ 6 w 42"/>
              <a:gd name="T25" fmla="*/ 18 h 42"/>
              <a:gd name="T26" fmla="*/ 6 w 42"/>
              <a:gd name="T27" fmla="*/ 18 h 42"/>
              <a:gd name="T28" fmla="*/ 6 w 42"/>
              <a:gd name="T29" fmla="*/ 12 h 42"/>
              <a:gd name="T30" fmla="*/ 0 w 42"/>
              <a:gd name="T31" fmla="*/ 12 h 42"/>
              <a:gd name="T32" fmla="*/ 6 w 42"/>
              <a:gd name="T33" fmla="*/ 12 h 42"/>
              <a:gd name="T34" fmla="*/ 6 w 42"/>
              <a:gd name="T35" fmla="*/ 6 h 42"/>
              <a:gd name="T36" fmla="*/ 6 w 42"/>
              <a:gd name="T37" fmla="*/ 6 h 42"/>
              <a:gd name="T38" fmla="*/ 12 w 42"/>
              <a:gd name="T39" fmla="*/ 6 h 42"/>
              <a:gd name="T40" fmla="*/ 12 w 42"/>
              <a:gd name="T41" fmla="*/ 6 h 42"/>
              <a:gd name="T42" fmla="*/ 18 w 42"/>
              <a:gd name="T43" fmla="*/ 6 h 42"/>
              <a:gd name="T44" fmla="*/ 18 w 42"/>
              <a:gd name="T45" fmla="*/ 6 h 42"/>
              <a:gd name="T46" fmla="*/ 18 w 42"/>
              <a:gd name="T47" fmla="*/ 6 h 42"/>
              <a:gd name="T48" fmla="*/ 24 w 42"/>
              <a:gd name="T49" fmla="*/ 0 h 42"/>
              <a:gd name="T50" fmla="*/ 24 w 42"/>
              <a:gd name="T51" fmla="*/ 0 h 42"/>
              <a:gd name="T52" fmla="*/ 24 w 42"/>
              <a:gd name="T53" fmla="*/ 0 h 42"/>
              <a:gd name="T54" fmla="*/ 30 w 42"/>
              <a:gd name="T55" fmla="*/ 0 h 42"/>
              <a:gd name="T56" fmla="*/ 30 w 42"/>
              <a:gd name="T57" fmla="*/ 0 h 42"/>
              <a:gd name="T58" fmla="*/ 30 w 42"/>
              <a:gd name="T59" fmla="*/ 6 h 42"/>
              <a:gd name="T60" fmla="*/ 30 w 42"/>
              <a:gd name="T61" fmla="*/ 6 h 42"/>
              <a:gd name="T62" fmla="*/ 30 w 42"/>
              <a:gd name="T63" fmla="*/ 6 h 42"/>
              <a:gd name="T64" fmla="*/ 30 w 42"/>
              <a:gd name="T65" fmla="*/ 12 h 42"/>
              <a:gd name="T66" fmla="*/ 30 w 42"/>
              <a:gd name="T67" fmla="*/ 18 h 42"/>
              <a:gd name="T68" fmla="*/ 30 w 42"/>
              <a:gd name="T69" fmla="*/ 18 h 42"/>
              <a:gd name="T70" fmla="*/ 30 w 42"/>
              <a:gd name="T71" fmla="*/ 24 h 42"/>
              <a:gd name="T72" fmla="*/ 30 w 42"/>
              <a:gd name="T73" fmla="*/ 24 h 42"/>
              <a:gd name="T74" fmla="*/ 36 w 42"/>
              <a:gd name="T75" fmla="*/ 24 h 42"/>
              <a:gd name="T76" fmla="*/ 36 w 42"/>
              <a:gd name="T77" fmla="*/ 24 h 42"/>
              <a:gd name="T78" fmla="*/ 36 w 42"/>
              <a:gd name="T79" fmla="*/ 24 h 42"/>
              <a:gd name="T80" fmla="*/ 36 w 42"/>
              <a:gd name="T81" fmla="*/ 24 h 42"/>
              <a:gd name="T82" fmla="*/ 36 w 42"/>
              <a:gd name="T83" fmla="*/ 30 h 42"/>
              <a:gd name="T84" fmla="*/ 42 w 42"/>
              <a:gd name="T85" fmla="*/ 30 h 42"/>
              <a:gd name="T86" fmla="*/ 42 w 42"/>
              <a:gd name="T87" fmla="*/ 30 h 42"/>
              <a:gd name="T88" fmla="*/ 42 w 42"/>
              <a:gd name="T89" fmla="*/ 36 h 42"/>
              <a:gd name="T90" fmla="*/ 42 w 42"/>
              <a:gd name="T91" fmla="*/ 36 h 42"/>
              <a:gd name="T92" fmla="*/ 36 w 42"/>
              <a:gd name="T93" fmla="*/ 36 h 42"/>
              <a:gd name="T94" fmla="*/ 36 w 42"/>
              <a:gd name="T95" fmla="*/ 42 h 42"/>
              <a:gd name="T96" fmla="*/ 30 w 42"/>
              <a:gd name="T97" fmla="*/ 42 h 42"/>
              <a:gd name="T98" fmla="*/ 30 w 42"/>
              <a:gd name="T99" fmla="*/ 42 h 42"/>
              <a:gd name="T100" fmla="*/ 30 w 42"/>
              <a:gd name="T101" fmla="*/ 42 h 42"/>
              <a:gd name="T102" fmla="*/ 30 w 42"/>
              <a:gd name="T103" fmla="*/ 42 h 42"/>
              <a:gd name="T104" fmla="*/ 30 w 42"/>
              <a:gd name="T105" fmla="*/ 42 h 42"/>
              <a:gd name="T106" fmla="*/ 24 w 42"/>
              <a:gd name="T107" fmla="*/ 36 h 42"/>
              <a:gd name="T108" fmla="*/ 18 w 42"/>
              <a:gd name="T109" fmla="*/ 36 h 42"/>
              <a:gd name="T110" fmla="*/ 18 w 42"/>
              <a:gd name="T111" fmla="*/ 36 h 42"/>
              <a:gd name="T112" fmla="*/ 12 w 42"/>
              <a:gd name="T113" fmla="*/ 42 h 42"/>
              <a:gd name="T114" fmla="*/ 12 w 42"/>
              <a:gd name="T115" fmla="*/ 42 h 42"/>
              <a:gd name="T116" fmla="*/ 6 w 42"/>
              <a:gd name="T117" fmla="*/ 42 h 42"/>
              <a:gd name="T118" fmla="*/ 6 w 42"/>
              <a:gd name="T119" fmla="*/ 42 h 42"/>
              <a:gd name="T120" fmla="*/ 6 w 42"/>
              <a:gd name="T121" fmla="*/ 42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2" h="42">
                <a:moveTo>
                  <a:pt x="6" y="42"/>
                </a:move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0" y="18"/>
                </a:lnTo>
                <a:lnTo>
                  <a:pt x="6" y="18"/>
                </a:lnTo>
                <a:lnTo>
                  <a:pt x="0" y="12"/>
                </a:lnTo>
                <a:lnTo>
                  <a:pt x="6" y="12"/>
                </a:lnTo>
                <a:lnTo>
                  <a:pt x="0" y="12"/>
                </a:lnTo>
                <a:lnTo>
                  <a:pt x="0" y="12"/>
                </a:lnTo>
                <a:lnTo>
                  <a:pt x="6" y="12"/>
                </a:lnTo>
                <a:lnTo>
                  <a:pt x="6" y="12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24" y="6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12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30"/>
                </a:lnTo>
                <a:lnTo>
                  <a:pt x="36" y="30"/>
                </a:lnTo>
                <a:lnTo>
                  <a:pt x="42" y="30"/>
                </a:lnTo>
                <a:lnTo>
                  <a:pt x="36" y="30"/>
                </a:lnTo>
                <a:lnTo>
                  <a:pt x="42" y="30"/>
                </a:lnTo>
                <a:lnTo>
                  <a:pt x="42" y="30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36" y="36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24" y="42"/>
                </a:lnTo>
                <a:lnTo>
                  <a:pt x="24" y="36"/>
                </a:lnTo>
                <a:lnTo>
                  <a:pt x="24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48" name="Freeform 381"/>
          <p:cNvSpPr>
            <a:spLocks/>
          </p:cNvSpPr>
          <p:nvPr/>
        </p:nvSpPr>
        <p:spPr bwMode="auto">
          <a:xfrm>
            <a:off x="6883974" y="3987250"/>
            <a:ext cx="89937" cy="122058"/>
          </a:xfrm>
          <a:custGeom>
            <a:avLst/>
            <a:gdLst>
              <a:gd name="T0" fmla="*/ 0 w 84"/>
              <a:gd name="T1" fmla="*/ 30 h 114"/>
              <a:gd name="T2" fmla="*/ 0 w 84"/>
              <a:gd name="T3" fmla="*/ 24 h 114"/>
              <a:gd name="T4" fmla="*/ 6 w 84"/>
              <a:gd name="T5" fmla="*/ 18 h 114"/>
              <a:gd name="T6" fmla="*/ 12 w 84"/>
              <a:gd name="T7" fmla="*/ 18 h 114"/>
              <a:gd name="T8" fmla="*/ 12 w 84"/>
              <a:gd name="T9" fmla="*/ 18 h 114"/>
              <a:gd name="T10" fmla="*/ 18 w 84"/>
              <a:gd name="T11" fmla="*/ 18 h 114"/>
              <a:gd name="T12" fmla="*/ 30 w 84"/>
              <a:gd name="T13" fmla="*/ 12 h 114"/>
              <a:gd name="T14" fmla="*/ 36 w 84"/>
              <a:gd name="T15" fmla="*/ 12 h 114"/>
              <a:gd name="T16" fmla="*/ 42 w 84"/>
              <a:gd name="T17" fmla="*/ 12 h 114"/>
              <a:gd name="T18" fmla="*/ 42 w 84"/>
              <a:gd name="T19" fmla="*/ 12 h 114"/>
              <a:gd name="T20" fmla="*/ 42 w 84"/>
              <a:gd name="T21" fmla="*/ 12 h 114"/>
              <a:gd name="T22" fmla="*/ 42 w 84"/>
              <a:gd name="T23" fmla="*/ 6 h 114"/>
              <a:gd name="T24" fmla="*/ 48 w 84"/>
              <a:gd name="T25" fmla="*/ 6 h 114"/>
              <a:gd name="T26" fmla="*/ 54 w 84"/>
              <a:gd name="T27" fmla="*/ 0 h 114"/>
              <a:gd name="T28" fmla="*/ 60 w 84"/>
              <a:gd name="T29" fmla="*/ 6 h 114"/>
              <a:gd name="T30" fmla="*/ 66 w 84"/>
              <a:gd name="T31" fmla="*/ 6 h 114"/>
              <a:gd name="T32" fmla="*/ 66 w 84"/>
              <a:gd name="T33" fmla="*/ 12 h 114"/>
              <a:gd name="T34" fmla="*/ 72 w 84"/>
              <a:gd name="T35" fmla="*/ 18 h 114"/>
              <a:gd name="T36" fmla="*/ 72 w 84"/>
              <a:gd name="T37" fmla="*/ 24 h 114"/>
              <a:gd name="T38" fmla="*/ 78 w 84"/>
              <a:gd name="T39" fmla="*/ 30 h 114"/>
              <a:gd name="T40" fmla="*/ 84 w 84"/>
              <a:gd name="T41" fmla="*/ 42 h 114"/>
              <a:gd name="T42" fmla="*/ 84 w 84"/>
              <a:gd name="T43" fmla="*/ 54 h 114"/>
              <a:gd name="T44" fmla="*/ 78 w 84"/>
              <a:gd name="T45" fmla="*/ 60 h 114"/>
              <a:gd name="T46" fmla="*/ 78 w 84"/>
              <a:gd name="T47" fmla="*/ 66 h 114"/>
              <a:gd name="T48" fmla="*/ 78 w 84"/>
              <a:gd name="T49" fmla="*/ 72 h 114"/>
              <a:gd name="T50" fmla="*/ 84 w 84"/>
              <a:gd name="T51" fmla="*/ 84 h 114"/>
              <a:gd name="T52" fmla="*/ 78 w 84"/>
              <a:gd name="T53" fmla="*/ 90 h 114"/>
              <a:gd name="T54" fmla="*/ 84 w 84"/>
              <a:gd name="T55" fmla="*/ 96 h 114"/>
              <a:gd name="T56" fmla="*/ 84 w 84"/>
              <a:gd name="T57" fmla="*/ 96 h 114"/>
              <a:gd name="T58" fmla="*/ 78 w 84"/>
              <a:gd name="T59" fmla="*/ 96 h 114"/>
              <a:gd name="T60" fmla="*/ 72 w 84"/>
              <a:gd name="T61" fmla="*/ 102 h 114"/>
              <a:gd name="T62" fmla="*/ 60 w 84"/>
              <a:gd name="T63" fmla="*/ 102 h 114"/>
              <a:gd name="T64" fmla="*/ 54 w 84"/>
              <a:gd name="T65" fmla="*/ 108 h 114"/>
              <a:gd name="T66" fmla="*/ 48 w 84"/>
              <a:gd name="T67" fmla="*/ 102 h 114"/>
              <a:gd name="T68" fmla="*/ 42 w 84"/>
              <a:gd name="T69" fmla="*/ 102 h 114"/>
              <a:gd name="T70" fmla="*/ 36 w 84"/>
              <a:gd name="T71" fmla="*/ 108 h 114"/>
              <a:gd name="T72" fmla="*/ 36 w 84"/>
              <a:gd name="T73" fmla="*/ 108 h 114"/>
              <a:gd name="T74" fmla="*/ 24 w 84"/>
              <a:gd name="T75" fmla="*/ 108 h 114"/>
              <a:gd name="T76" fmla="*/ 18 w 84"/>
              <a:gd name="T77" fmla="*/ 108 h 114"/>
              <a:gd name="T78" fmla="*/ 18 w 84"/>
              <a:gd name="T79" fmla="*/ 114 h 114"/>
              <a:gd name="T80" fmla="*/ 12 w 84"/>
              <a:gd name="T81" fmla="*/ 108 h 114"/>
              <a:gd name="T82" fmla="*/ 12 w 84"/>
              <a:gd name="T83" fmla="*/ 102 h 114"/>
              <a:gd name="T84" fmla="*/ 6 w 84"/>
              <a:gd name="T85" fmla="*/ 102 h 114"/>
              <a:gd name="T86" fmla="*/ 6 w 84"/>
              <a:gd name="T87" fmla="*/ 96 h 114"/>
              <a:gd name="T88" fmla="*/ 0 w 84"/>
              <a:gd name="T89" fmla="*/ 96 h 114"/>
              <a:gd name="T90" fmla="*/ 0 w 84"/>
              <a:gd name="T91" fmla="*/ 84 h 114"/>
              <a:gd name="T92" fmla="*/ 6 w 84"/>
              <a:gd name="T93" fmla="*/ 78 h 114"/>
              <a:gd name="T94" fmla="*/ 6 w 84"/>
              <a:gd name="T95" fmla="*/ 72 h 114"/>
              <a:gd name="T96" fmla="*/ 6 w 84"/>
              <a:gd name="T97" fmla="*/ 72 h 114"/>
              <a:gd name="T98" fmla="*/ 6 w 84"/>
              <a:gd name="T99" fmla="*/ 66 h 114"/>
              <a:gd name="T100" fmla="*/ 6 w 84"/>
              <a:gd name="T101" fmla="*/ 60 h 114"/>
              <a:gd name="T102" fmla="*/ 0 w 84"/>
              <a:gd name="T103" fmla="*/ 60 h 114"/>
              <a:gd name="T104" fmla="*/ 0 w 84"/>
              <a:gd name="T105" fmla="*/ 54 h 114"/>
              <a:gd name="T106" fmla="*/ 0 w 84"/>
              <a:gd name="T107" fmla="*/ 54 h 114"/>
              <a:gd name="T108" fmla="*/ 6 w 84"/>
              <a:gd name="T109" fmla="*/ 42 h 114"/>
              <a:gd name="T110" fmla="*/ 6 w 84"/>
              <a:gd name="T111" fmla="*/ 42 h 114"/>
              <a:gd name="T112" fmla="*/ 6 w 84"/>
              <a:gd name="T113" fmla="*/ 36 h 114"/>
              <a:gd name="T114" fmla="*/ 0 w 84"/>
              <a:gd name="T115" fmla="*/ 36 h 114"/>
              <a:gd name="T116" fmla="*/ 0 w 84"/>
              <a:gd name="T117" fmla="*/ 3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84" h="114">
                <a:moveTo>
                  <a:pt x="0" y="30"/>
                </a:move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18"/>
                </a:lnTo>
                <a:lnTo>
                  <a:pt x="0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24" y="18"/>
                </a:lnTo>
                <a:lnTo>
                  <a:pt x="24" y="18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8"/>
                </a:lnTo>
                <a:lnTo>
                  <a:pt x="66" y="18"/>
                </a:lnTo>
                <a:lnTo>
                  <a:pt x="72" y="18"/>
                </a:lnTo>
                <a:lnTo>
                  <a:pt x="72" y="18"/>
                </a:lnTo>
                <a:lnTo>
                  <a:pt x="66" y="18"/>
                </a:lnTo>
                <a:lnTo>
                  <a:pt x="66" y="18"/>
                </a:lnTo>
                <a:lnTo>
                  <a:pt x="72" y="24"/>
                </a:lnTo>
                <a:lnTo>
                  <a:pt x="72" y="24"/>
                </a:lnTo>
                <a:lnTo>
                  <a:pt x="78" y="24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54"/>
                </a:lnTo>
                <a:lnTo>
                  <a:pt x="84" y="54"/>
                </a:lnTo>
                <a:lnTo>
                  <a:pt x="78" y="54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72"/>
                </a:lnTo>
                <a:lnTo>
                  <a:pt x="78" y="72"/>
                </a:lnTo>
                <a:lnTo>
                  <a:pt x="84" y="72"/>
                </a:lnTo>
                <a:lnTo>
                  <a:pt x="84" y="78"/>
                </a:lnTo>
                <a:lnTo>
                  <a:pt x="84" y="84"/>
                </a:lnTo>
                <a:lnTo>
                  <a:pt x="84" y="84"/>
                </a:lnTo>
                <a:lnTo>
                  <a:pt x="78" y="84"/>
                </a:lnTo>
                <a:lnTo>
                  <a:pt x="84" y="84"/>
                </a:lnTo>
                <a:lnTo>
                  <a:pt x="78" y="90"/>
                </a:lnTo>
                <a:lnTo>
                  <a:pt x="84" y="90"/>
                </a:lnTo>
                <a:lnTo>
                  <a:pt x="84" y="90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2" y="102"/>
                </a:lnTo>
                <a:lnTo>
                  <a:pt x="72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8"/>
                </a:lnTo>
                <a:lnTo>
                  <a:pt x="48" y="108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18" y="108"/>
                </a:lnTo>
                <a:lnTo>
                  <a:pt x="24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14"/>
                </a:lnTo>
                <a:lnTo>
                  <a:pt x="18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08"/>
                </a:lnTo>
                <a:lnTo>
                  <a:pt x="12" y="108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0" y="84"/>
                </a:lnTo>
                <a:lnTo>
                  <a:pt x="6" y="84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2"/>
                </a:lnTo>
                <a:lnTo>
                  <a:pt x="0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12" y="72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0"/>
                </a:lnTo>
                <a:lnTo>
                  <a:pt x="6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12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49" name="Freeform 382"/>
          <p:cNvSpPr>
            <a:spLocks/>
          </p:cNvSpPr>
          <p:nvPr/>
        </p:nvSpPr>
        <p:spPr bwMode="auto">
          <a:xfrm>
            <a:off x="6704101" y="4237790"/>
            <a:ext cx="122057" cy="147754"/>
          </a:xfrm>
          <a:custGeom>
            <a:avLst/>
            <a:gdLst>
              <a:gd name="T0" fmla="*/ 6 w 114"/>
              <a:gd name="T1" fmla="*/ 48 h 138"/>
              <a:gd name="T2" fmla="*/ 6 w 114"/>
              <a:gd name="T3" fmla="*/ 36 h 138"/>
              <a:gd name="T4" fmla="*/ 18 w 114"/>
              <a:gd name="T5" fmla="*/ 24 h 138"/>
              <a:gd name="T6" fmla="*/ 24 w 114"/>
              <a:gd name="T7" fmla="*/ 18 h 138"/>
              <a:gd name="T8" fmla="*/ 24 w 114"/>
              <a:gd name="T9" fmla="*/ 6 h 138"/>
              <a:gd name="T10" fmla="*/ 24 w 114"/>
              <a:gd name="T11" fmla="*/ 6 h 138"/>
              <a:gd name="T12" fmla="*/ 36 w 114"/>
              <a:gd name="T13" fmla="*/ 0 h 138"/>
              <a:gd name="T14" fmla="*/ 42 w 114"/>
              <a:gd name="T15" fmla="*/ 6 h 138"/>
              <a:gd name="T16" fmla="*/ 48 w 114"/>
              <a:gd name="T17" fmla="*/ 12 h 138"/>
              <a:gd name="T18" fmla="*/ 54 w 114"/>
              <a:gd name="T19" fmla="*/ 18 h 138"/>
              <a:gd name="T20" fmla="*/ 60 w 114"/>
              <a:gd name="T21" fmla="*/ 18 h 138"/>
              <a:gd name="T22" fmla="*/ 66 w 114"/>
              <a:gd name="T23" fmla="*/ 12 h 138"/>
              <a:gd name="T24" fmla="*/ 66 w 114"/>
              <a:gd name="T25" fmla="*/ 6 h 138"/>
              <a:gd name="T26" fmla="*/ 72 w 114"/>
              <a:gd name="T27" fmla="*/ 6 h 138"/>
              <a:gd name="T28" fmla="*/ 78 w 114"/>
              <a:gd name="T29" fmla="*/ 12 h 138"/>
              <a:gd name="T30" fmla="*/ 90 w 114"/>
              <a:gd name="T31" fmla="*/ 18 h 138"/>
              <a:gd name="T32" fmla="*/ 96 w 114"/>
              <a:gd name="T33" fmla="*/ 24 h 138"/>
              <a:gd name="T34" fmla="*/ 90 w 114"/>
              <a:gd name="T35" fmla="*/ 30 h 138"/>
              <a:gd name="T36" fmla="*/ 90 w 114"/>
              <a:gd name="T37" fmla="*/ 42 h 138"/>
              <a:gd name="T38" fmla="*/ 90 w 114"/>
              <a:gd name="T39" fmla="*/ 54 h 138"/>
              <a:gd name="T40" fmla="*/ 96 w 114"/>
              <a:gd name="T41" fmla="*/ 54 h 138"/>
              <a:gd name="T42" fmla="*/ 102 w 114"/>
              <a:gd name="T43" fmla="*/ 60 h 138"/>
              <a:gd name="T44" fmla="*/ 108 w 114"/>
              <a:gd name="T45" fmla="*/ 66 h 138"/>
              <a:gd name="T46" fmla="*/ 108 w 114"/>
              <a:gd name="T47" fmla="*/ 78 h 138"/>
              <a:gd name="T48" fmla="*/ 108 w 114"/>
              <a:gd name="T49" fmla="*/ 90 h 138"/>
              <a:gd name="T50" fmla="*/ 108 w 114"/>
              <a:gd name="T51" fmla="*/ 96 h 138"/>
              <a:gd name="T52" fmla="*/ 108 w 114"/>
              <a:gd name="T53" fmla="*/ 108 h 138"/>
              <a:gd name="T54" fmla="*/ 108 w 114"/>
              <a:gd name="T55" fmla="*/ 114 h 138"/>
              <a:gd name="T56" fmla="*/ 108 w 114"/>
              <a:gd name="T57" fmla="*/ 120 h 138"/>
              <a:gd name="T58" fmla="*/ 108 w 114"/>
              <a:gd name="T59" fmla="*/ 120 h 138"/>
              <a:gd name="T60" fmla="*/ 102 w 114"/>
              <a:gd name="T61" fmla="*/ 120 h 138"/>
              <a:gd name="T62" fmla="*/ 96 w 114"/>
              <a:gd name="T63" fmla="*/ 120 h 138"/>
              <a:gd name="T64" fmla="*/ 96 w 114"/>
              <a:gd name="T65" fmla="*/ 126 h 138"/>
              <a:gd name="T66" fmla="*/ 96 w 114"/>
              <a:gd name="T67" fmla="*/ 138 h 138"/>
              <a:gd name="T68" fmla="*/ 84 w 114"/>
              <a:gd name="T69" fmla="*/ 138 h 138"/>
              <a:gd name="T70" fmla="*/ 78 w 114"/>
              <a:gd name="T71" fmla="*/ 138 h 138"/>
              <a:gd name="T72" fmla="*/ 72 w 114"/>
              <a:gd name="T73" fmla="*/ 132 h 138"/>
              <a:gd name="T74" fmla="*/ 60 w 114"/>
              <a:gd name="T75" fmla="*/ 132 h 138"/>
              <a:gd name="T76" fmla="*/ 60 w 114"/>
              <a:gd name="T77" fmla="*/ 126 h 138"/>
              <a:gd name="T78" fmla="*/ 60 w 114"/>
              <a:gd name="T79" fmla="*/ 126 h 138"/>
              <a:gd name="T80" fmla="*/ 60 w 114"/>
              <a:gd name="T81" fmla="*/ 126 h 138"/>
              <a:gd name="T82" fmla="*/ 60 w 114"/>
              <a:gd name="T83" fmla="*/ 120 h 138"/>
              <a:gd name="T84" fmla="*/ 60 w 114"/>
              <a:gd name="T85" fmla="*/ 120 h 138"/>
              <a:gd name="T86" fmla="*/ 60 w 114"/>
              <a:gd name="T87" fmla="*/ 120 h 138"/>
              <a:gd name="T88" fmla="*/ 54 w 114"/>
              <a:gd name="T89" fmla="*/ 114 h 138"/>
              <a:gd name="T90" fmla="*/ 54 w 114"/>
              <a:gd name="T91" fmla="*/ 108 h 138"/>
              <a:gd name="T92" fmla="*/ 54 w 114"/>
              <a:gd name="T93" fmla="*/ 96 h 138"/>
              <a:gd name="T94" fmla="*/ 48 w 114"/>
              <a:gd name="T95" fmla="*/ 90 h 138"/>
              <a:gd name="T96" fmla="*/ 48 w 114"/>
              <a:gd name="T97" fmla="*/ 84 h 138"/>
              <a:gd name="T98" fmla="*/ 42 w 114"/>
              <a:gd name="T99" fmla="*/ 84 h 138"/>
              <a:gd name="T100" fmla="*/ 36 w 114"/>
              <a:gd name="T101" fmla="*/ 78 h 138"/>
              <a:gd name="T102" fmla="*/ 30 w 114"/>
              <a:gd name="T103" fmla="*/ 78 h 138"/>
              <a:gd name="T104" fmla="*/ 24 w 114"/>
              <a:gd name="T105" fmla="*/ 78 h 138"/>
              <a:gd name="T106" fmla="*/ 18 w 114"/>
              <a:gd name="T107" fmla="*/ 72 h 138"/>
              <a:gd name="T108" fmla="*/ 18 w 114"/>
              <a:gd name="T109" fmla="*/ 66 h 138"/>
              <a:gd name="T110" fmla="*/ 12 w 114"/>
              <a:gd name="T111" fmla="*/ 60 h 138"/>
              <a:gd name="T112" fmla="*/ 6 w 114"/>
              <a:gd name="T113" fmla="*/ 54 h 138"/>
              <a:gd name="T114" fmla="*/ 6 w 114"/>
              <a:gd name="T115" fmla="*/ 60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14" h="138">
                <a:moveTo>
                  <a:pt x="0" y="54"/>
                </a:moveTo>
                <a:lnTo>
                  <a:pt x="0" y="54"/>
                </a:lnTo>
                <a:lnTo>
                  <a:pt x="0" y="54"/>
                </a:lnTo>
                <a:lnTo>
                  <a:pt x="0" y="48"/>
                </a:lnTo>
                <a:lnTo>
                  <a:pt x="0" y="48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12" y="30"/>
                </a:lnTo>
                <a:lnTo>
                  <a:pt x="12" y="30"/>
                </a:lnTo>
                <a:lnTo>
                  <a:pt x="12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24" y="24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0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0"/>
                </a:lnTo>
                <a:lnTo>
                  <a:pt x="36" y="0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12"/>
                </a:lnTo>
                <a:lnTo>
                  <a:pt x="42" y="12"/>
                </a:lnTo>
                <a:lnTo>
                  <a:pt x="42" y="18"/>
                </a:lnTo>
                <a:lnTo>
                  <a:pt x="48" y="18"/>
                </a:lnTo>
                <a:lnTo>
                  <a:pt x="48" y="18"/>
                </a:lnTo>
                <a:lnTo>
                  <a:pt x="48" y="12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2"/>
                </a:lnTo>
                <a:lnTo>
                  <a:pt x="60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72" y="6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84" y="18"/>
                </a:lnTo>
                <a:lnTo>
                  <a:pt x="84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24"/>
                </a:lnTo>
                <a:lnTo>
                  <a:pt x="96" y="24"/>
                </a:lnTo>
                <a:lnTo>
                  <a:pt x="96" y="24"/>
                </a:lnTo>
                <a:lnTo>
                  <a:pt x="90" y="24"/>
                </a:lnTo>
                <a:lnTo>
                  <a:pt x="90" y="24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6"/>
                </a:lnTo>
                <a:lnTo>
                  <a:pt x="90" y="36"/>
                </a:lnTo>
                <a:lnTo>
                  <a:pt x="90" y="42"/>
                </a:lnTo>
                <a:lnTo>
                  <a:pt x="90" y="42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102" y="60"/>
                </a:lnTo>
                <a:lnTo>
                  <a:pt x="102" y="60"/>
                </a:lnTo>
                <a:lnTo>
                  <a:pt x="96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8" y="66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102"/>
                </a:lnTo>
                <a:lnTo>
                  <a:pt x="114" y="102"/>
                </a:lnTo>
                <a:lnTo>
                  <a:pt x="114" y="102"/>
                </a:lnTo>
                <a:lnTo>
                  <a:pt x="108" y="108"/>
                </a:lnTo>
                <a:lnTo>
                  <a:pt x="114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20"/>
                </a:lnTo>
                <a:lnTo>
                  <a:pt x="108" y="114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32"/>
                </a:lnTo>
                <a:lnTo>
                  <a:pt x="96" y="132"/>
                </a:lnTo>
                <a:lnTo>
                  <a:pt x="90" y="132"/>
                </a:lnTo>
                <a:lnTo>
                  <a:pt x="96" y="138"/>
                </a:lnTo>
                <a:lnTo>
                  <a:pt x="90" y="138"/>
                </a:lnTo>
                <a:lnTo>
                  <a:pt x="90" y="138"/>
                </a:lnTo>
                <a:lnTo>
                  <a:pt x="90" y="138"/>
                </a:lnTo>
                <a:lnTo>
                  <a:pt x="90" y="138"/>
                </a:lnTo>
                <a:lnTo>
                  <a:pt x="90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2" y="138"/>
                </a:lnTo>
                <a:lnTo>
                  <a:pt x="72" y="132"/>
                </a:lnTo>
                <a:lnTo>
                  <a:pt x="66" y="132"/>
                </a:lnTo>
                <a:lnTo>
                  <a:pt x="66" y="132"/>
                </a:lnTo>
                <a:lnTo>
                  <a:pt x="66" y="132"/>
                </a:lnTo>
                <a:lnTo>
                  <a:pt x="66" y="132"/>
                </a:lnTo>
                <a:lnTo>
                  <a:pt x="66" y="132"/>
                </a:lnTo>
                <a:lnTo>
                  <a:pt x="60" y="132"/>
                </a:lnTo>
                <a:lnTo>
                  <a:pt x="60" y="132"/>
                </a:lnTo>
                <a:lnTo>
                  <a:pt x="60" y="132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66" y="126"/>
                </a:lnTo>
                <a:lnTo>
                  <a:pt x="60" y="126"/>
                </a:lnTo>
                <a:lnTo>
                  <a:pt x="66" y="120"/>
                </a:lnTo>
                <a:lnTo>
                  <a:pt x="66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54" y="120"/>
                </a:lnTo>
                <a:lnTo>
                  <a:pt x="54" y="120"/>
                </a:lnTo>
                <a:lnTo>
                  <a:pt x="54" y="120"/>
                </a:lnTo>
                <a:lnTo>
                  <a:pt x="54" y="120"/>
                </a:lnTo>
                <a:lnTo>
                  <a:pt x="60" y="114"/>
                </a:lnTo>
                <a:lnTo>
                  <a:pt x="60" y="120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84"/>
                </a:lnTo>
                <a:lnTo>
                  <a:pt x="42" y="90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2"/>
                </a:lnTo>
                <a:lnTo>
                  <a:pt x="24" y="78"/>
                </a:lnTo>
                <a:lnTo>
                  <a:pt x="24" y="78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2" y="66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50" name="Freeform 383"/>
          <p:cNvSpPr>
            <a:spLocks/>
          </p:cNvSpPr>
          <p:nvPr/>
        </p:nvSpPr>
        <p:spPr bwMode="auto">
          <a:xfrm>
            <a:off x="7211601" y="4353423"/>
            <a:ext cx="102785" cy="64241"/>
          </a:xfrm>
          <a:custGeom>
            <a:avLst/>
            <a:gdLst>
              <a:gd name="T0" fmla="*/ 6 w 96"/>
              <a:gd name="T1" fmla="*/ 36 h 60"/>
              <a:gd name="T2" fmla="*/ 6 w 96"/>
              <a:gd name="T3" fmla="*/ 36 h 60"/>
              <a:gd name="T4" fmla="*/ 6 w 96"/>
              <a:gd name="T5" fmla="*/ 30 h 60"/>
              <a:gd name="T6" fmla="*/ 0 w 96"/>
              <a:gd name="T7" fmla="*/ 30 h 60"/>
              <a:gd name="T8" fmla="*/ 6 w 96"/>
              <a:gd name="T9" fmla="*/ 30 h 60"/>
              <a:gd name="T10" fmla="*/ 6 w 96"/>
              <a:gd name="T11" fmla="*/ 24 h 60"/>
              <a:gd name="T12" fmla="*/ 6 w 96"/>
              <a:gd name="T13" fmla="*/ 24 h 60"/>
              <a:gd name="T14" fmla="*/ 0 w 96"/>
              <a:gd name="T15" fmla="*/ 18 h 60"/>
              <a:gd name="T16" fmla="*/ 6 w 96"/>
              <a:gd name="T17" fmla="*/ 18 h 60"/>
              <a:gd name="T18" fmla="*/ 6 w 96"/>
              <a:gd name="T19" fmla="*/ 12 h 60"/>
              <a:gd name="T20" fmla="*/ 12 w 96"/>
              <a:gd name="T21" fmla="*/ 12 h 60"/>
              <a:gd name="T22" fmla="*/ 18 w 96"/>
              <a:gd name="T23" fmla="*/ 18 h 60"/>
              <a:gd name="T24" fmla="*/ 18 w 96"/>
              <a:gd name="T25" fmla="*/ 12 h 60"/>
              <a:gd name="T26" fmla="*/ 24 w 96"/>
              <a:gd name="T27" fmla="*/ 12 h 60"/>
              <a:gd name="T28" fmla="*/ 24 w 96"/>
              <a:gd name="T29" fmla="*/ 12 h 60"/>
              <a:gd name="T30" fmla="*/ 30 w 96"/>
              <a:gd name="T31" fmla="*/ 6 h 60"/>
              <a:gd name="T32" fmla="*/ 30 w 96"/>
              <a:gd name="T33" fmla="*/ 6 h 60"/>
              <a:gd name="T34" fmla="*/ 42 w 96"/>
              <a:gd name="T35" fmla="*/ 0 h 60"/>
              <a:gd name="T36" fmla="*/ 42 w 96"/>
              <a:gd name="T37" fmla="*/ 0 h 60"/>
              <a:gd name="T38" fmla="*/ 48 w 96"/>
              <a:gd name="T39" fmla="*/ 6 h 60"/>
              <a:gd name="T40" fmla="*/ 54 w 96"/>
              <a:gd name="T41" fmla="*/ 12 h 60"/>
              <a:gd name="T42" fmla="*/ 54 w 96"/>
              <a:gd name="T43" fmla="*/ 12 h 60"/>
              <a:gd name="T44" fmla="*/ 60 w 96"/>
              <a:gd name="T45" fmla="*/ 18 h 60"/>
              <a:gd name="T46" fmla="*/ 60 w 96"/>
              <a:gd name="T47" fmla="*/ 24 h 60"/>
              <a:gd name="T48" fmla="*/ 60 w 96"/>
              <a:gd name="T49" fmla="*/ 24 h 60"/>
              <a:gd name="T50" fmla="*/ 66 w 96"/>
              <a:gd name="T51" fmla="*/ 24 h 60"/>
              <a:gd name="T52" fmla="*/ 78 w 96"/>
              <a:gd name="T53" fmla="*/ 24 h 60"/>
              <a:gd name="T54" fmla="*/ 84 w 96"/>
              <a:gd name="T55" fmla="*/ 24 h 60"/>
              <a:gd name="T56" fmla="*/ 84 w 96"/>
              <a:gd name="T57" fmla="*/ 24 h 60"/>
              <a:gd name="T58" fmla="*/ 90 w 96"/>
              <a:gd name="T59" fmla="*/ 30 h 60"/>
              <a:gd name="T60" fmla="*/ 90 w 96"/>
              <a:gd name="T61" fmla="*/ 36 h 60"/>
              <a:gd name="T62" fmla="*/ 90 w 96"/>
              <a:gd name="T63" fmla="*/ 36 h 60"/>
              <a:gd name="T64" fmla="*/ 90 w 96"/>
              <a:gd name="T65" fmla="*/ 36 h 60"/>
              <a:gd name="T66" fmla="*/ 90 w 96"/>
              <a:gd name="T67" fmla="*/ 36 h 60"/>
              <a:gd name="T68" fmla="*/ 90 w 96"/>
              <a:gd name="T69" fmla="*/ 42 h 60"/>
              <a:gd name="T70" fmla="*/ 90 w 96"/>
              <a:gd name="T71" fmla="*/ 48 h 60"/>
              <a:gd name="T72" fmla="*/ 84 w 96"/>
              <a:gd name="T73" fmla="*/ 48 h 60"/>
              <a:gd name="T74" fmla="*/ 78 w 96"/>
              <a:gd name="T75" fmla="*/ 48 h 60"/>
              <a:gd name="T76" fmla="*/ 72 w 96"/>
              <a:gd name="T77" fmla="*/ 42 h 60"/>
              <a:gd name="T78" fmla="*/ 72 w 96"/>
              <a:gd name="T79" fmla="*/ 42 h 60"/>
              <a:gd name="T80" fmla="*/ 66 w 96"/>
              <a:gd name="T81" fmla="*/ 48 h 60"/>
              <a:gd name="T82" fmla="*/ 60 w 96"/>
              <a:gd name="T83" fmla="*/ 48 h 60"/>
              <a:gd name="T84" fmla="*/ 60 w 96"/>
              <a:gd name="T85" fmla="*/ 48 h 60"/>
              <a:gd name="T86" fmla="*/ 54 w 96"/>
              <a:gd name="T87" fmla="*/ 54 h 60"/>
              <a:gd name="T88" fmla="*/ 48 w 96"/>
              <a:gd name="T89" fmla="*/ 54 h 60"/>
              <a:gd name="T90" fmla="*/ 42 w 96"/>
              <a:gd name="T91" fmla="*/ 54 h 60"/>
              <a:gd name="T92" fmla="*/ 42 w 96"/>
              <a:gd name="T93" fmla="*/ 54 h 60"/>
              <a:gd name="T94" fmla="*/ 36 w 96"/>
              <a:gd name="T95" fmla="*/ 54 h 60"/>
              <a:gd name="T96" fmla="*/ 36 w 96"/>
              <a:gd name="T97" fmla="*/ 54 h 60"/>
              <a:gd name="T98" fmla="*/ 30 w 96"/>
              <a:gd name="T99" fmla="*/ 54 h 60"/>
              <a:gd name="T100" fmla="*/ 30 w 96"/>
              <a:gd name="T101" fmla="*/ 54 h 60"/>
              <a:gd name="T102" fmla="*/ 24 w 96"/>
              <a:gd name="T103" fmla="*/ 54 h 60"/>
              <a:gd name="T104" fmla="*/ 18 w 96"/>
              <a:gd name="T105" fmla="*/ 60 h 60"/>
              <a:gd name="T106" fmla="*/ 12 w 96"/>
              <a:gd name="T107" fmla="*/ 54 h 60"/>
              <a:gd name="T108" fmla="*/ 12 w 96"/>
              <a:gd name="T109" fmla="*/ 54 h 60"/>
              <a:gd name="T110" fmla="*/ 12 w 96"/>
              <a:gd name="T111" fmla="*/ 48 h 60"/>
              <a:gd name="T112" fmla="*/ 6 w 96"/>
              <a:gd name="T113" fmla="*/ 42 h 60"/>
              <a:gd name="T114" fmla="*/ 6 w 96"/>
              <a:gd name="T115" fmla="*/ 42 h 60"/>
              <a:gd name="T116" fmla="*/ 6 w 96"/>
              <a:gd name="T117" fmla="*/ 42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96" h="60">
                <a:moveTo>
                  <a:pt x="0" y="36"/>
                </a:moveTo>
                <a:lnTo>
                  <a:pt x="0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6" y="30"/>
                </a:lnTo>
                <a:lnTo>
                  <a:pt x="0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0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8" y="18"/>
                </a:lnTo>
                <a:lnTo>
                  <a:pt x="18" y="18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6"/>
                </a:lnTo>
                <a:lnTo>
                  <a:pt x="24" y="12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54" y="6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72" y="24"/>
                </a:lnTo>
                <a:lnTo>
                  <a:pt x="72" y="18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30"/>
                </a:lnTo>
                <a:lnTo>
                  <a:pt x="84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6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66" y="42"/>
                </a:lnTo>
                <a:lnTo>
                  <a:pt x="66" y="42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54" y="48"/>
                </a:lnTo>
                <a:lnTo>
                  <a:pt x="54" y="48"/>
                </a:lnTo>
                <a:lnTo>
                  <a:pt x="54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60"/>
                </a:lnTo>
                <a:lnTo>
                  <a:pt x="24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0" y="3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51" name="Freeform 384"/>
          <p:cNvSpPr>
            <a:spLocks/>
          </p:cNvSpPr>
          <p:nvPr/>
        </p:nvSpPr>
        <p:spPr bwMode="auto">
          <a:xfrm>
            <a:off x="6954639" y="4289182"/>
            <a:ext cx="96361" cy="89937"/>
          </a:xfrm>
          <a:custGeom>
            <a:avLst/>
            <a:gdLst>
              <a:gd name="T0" fmla="*/ 0 w 90"/>
              <a:gd name="T1" fmla="*/ 48 h 84"/>
              <a:gd name="T2" fmla="*/ 6 w 90"/>
              <a:gd name="T3" fmla="*/ 42 h 84"/>
              <a:gd name="T4" fmla="*/ 12 w 90"/>
              <a:gd name="T5" fmla="*/ 36 h 84"/>
              <a:gd name="T6" fmla="*/ 6 w 90"/>
              <a:gd name="T7" fmla="*/ 36 h 84"/>
              <a:gd name="T8" fmla="*/ 12 w 90"/>
              <a:gd name="T9" fmla="*/ 30 h 84"/>
              <a:gd name="T10" fmla="*/ 12 w 90"/>
              <a:gd name="T11" fmla="*/ 30 h 84"/>
              <a:gd name="T12" fmla="*/ 18 w 90"/>
              <a:gd name="T13" fmla="*/ 30 h 84"/>
              <a:gd name="T14" fmla="*/ 24 w 90"/>
              <a:gd name="T15" fmla="*/ 30 h 84"/>
              <a:gd name="T16" fmla="*/ 30 w 90"/>
              <a:gd name="T17" fmla="*/ 30 h 84"/>
              <a:gd name="T18" fmla="*/ 36 w 90"/>
              <a:gd name="T19" fmla="*/ 24 h 84"/>
              <a:gd name="T20" fmla="*/ 42 w 90"/>
              <a:gd name="T21" fmla="*/ 24 h 84"/>
              <a:gd name="T22" fmla="*/ 42 w 90"/>
              <a:gd name="T23" fmla="*/ 18 h 84"/>
              <a:gd name="T24" fmla="*/ 42 w 90"/>
              <a:gd name="T25" fmla="*/ 12 h 84"/>
              <a:gd name="T26" fmla="*/ 42 w 90"/>
              <a:gd name="T27" fmla="*/ 6 h 84"/>
              <a:gd name="T28" fmla="*/ 42 w 90"/>
              <a:gd name="T29" fmla="*/ 6 h 84"/>
              <a:gd name="T30" fmla="*/ 48 w 90"/>
              <a:gd name="T31" fmla="*/ 0 h 84"/>
              <a:gd name="T32" fmla="*/ 48 w 90"/>
              <a:gd name="T33" fmla="*/ 6 h 84"/>
              <a:gd name="T34" fmla="*/ 60 w 90"/>
              <a:gd name="T35" fmla="*/ 6 h 84"/>
              <a:gd name="T36" fmla="*/ 60 w 90"/>
              <a:gd name="T37" fmla="*/ 6 h 84"/>
              <a:gd name="T38" fmla="*/ 54 w 90"/>
              <a:gd name="T39" fmla="*/ 6 h 84"/>
              <a:gd name="T40" fmla="*/ 54 w 90"/>
              <a:gd name="T41" fmla="*/ 12 h 84"/>
              <a:gd name="T42" fmla="*/ 60 w 90"/>
              <a:gd name="T43" fmla="*/ 18 h 84"/>
              <a:gd name="T44" fmla="*/ 60 w 90"/>
              <a:gd name="T45" fmla="*/ 18 h 84"/>
              <a:gd name="T46" fmla="*/ 60 w 90"/>
              <a:gd name="T47" fmla="*/ 18 h 84"/>
              <a:gd name="T48" fmla="*/ 60 w 90"/>
              <a:gd name="T49" fmla="*/ 24 h 84"/>
              <a:gd name="T50" fmla="*/ 54 w 90"/>
              <a:gd name="T51" fmla="*/ 30 h 84"/>
              <a:gd name="T52" fmla="*/ 60 w 90"/>
              <a:gd name="T53" fmla="*/ 30 h 84"/>
              <a:gd name="T54" fmla="*/ 60 w 90"/>
              <a:gd name="T55" fmla="*/ 36 h 84"/>
              <a:gd name="T56" fmla="*/ 66 w 90"/>
              <a:gd name="T57" fmla="*/ 36 h 84"/>
              <a:gd name="T58" fmla="*/ 72 w 90"/>
              <a:gd name="T59" fmla="*/ 36 h 84"/>
              <a:gd name="T60" fmla="*/ 72 w 90"/>
              <a:gd name="T61" fmla="*/ 42 h 84"/>
              <a:gd name="T62" fmla="*/ 72 w 90"/>
              <a:gd name="T63" fmla="*/ 48 h 84"/>
              <a:gd name="T64" fmla="*/ 84 w 90"/>
              <a:gd name="T65" fmla="*/ 42 h 84"/>
              <a:gd name="T66" fmla="*/ 84 w 90"/>
              <a:gd name="T67" fmla="*/ 54 h 84"/>
              <a:gd name="T68" fmla="*/ 84 w 90"/>
              <a:gd name="T69" fmla="*/ 60 h 84"/>
              <a:gd name="T70" fmla="*/ 90 w 90"/>
              <a:gd name="T71" fmla="*/ 66 h 84"/>
              <a:gd name="T72" fmla="*/ 84 w 90"/>
              <a:gd name="T73" fmla="*/ 66 h 84"/>
              <a:gd name="T74" fmla="*/ 84 w 90"/>
              <a:gd name="T75" fmla="*/ 66 h 84"/>
              <a:gd name="T76" fmla="*/ 78 w 90"/>
              <a:gd name="T77" fmla="*/ 66 h 84"/>
              <a:gd name="T78" fmla="*/ 78 w 90"/>
              <a:gd name="T79" fmla="*/ 66 h 84"/>
              <a:gd name="T80" fmla="*/ 72 w 90"/>
              <a:gd name="T81" fmla="*/ 60 h 84"/>
              <a:gd name="T82" fmla="*/ 72 w 90"/>
              <a:gd name="T83" fmla="*/ 60 h 84"/>
              <a:gd name="T84" fmla="*/ 66 w 90"/>
              <a:gd name="T85" fmla="*/ 60 h 84"/>
              <a:gd name="T86" fmla="*/ 66 w 90"/>
              <a:gd name="T87" fmla="*/ 66 h 84"/>
              <a:gd name="T88" fmla="*/ 72 w 90"/>
              <a:gd name="T89" fmla="*/ 66 h 84"/>
              <a:gd name="T90" fmla="*/ 66 w 90"/>
              <a:gd name="T91" fmla="*/ 72 h 84"/>
              <a:gd name="T92" fmla="*/ 66 w 90"/>
              <a:gd name="T93" fmla="*/ 72 h 84"/>
              <a:gd name="T94" fmla="*/ 66 w 90"/>
              <a:gd name="T95" fmla="*/ 78 h 84"/>
              <a:gd name="T96" fmla="*/ 60 w 90"/>
              <a:gd name="T97" fmla="*/ 78 h 84"/>
              <a:gd name="T98" fmla="*/ 60 w 90"/>
              <a:gd name="T99" fmla="*/ 84 h 84"/>
              <a:gd name="T100" fmla="*/ 54 w 90"/>
              <a:gd name="T101" fmla="*/ 78 h 84"/>
              <a:gd name="T102" fmla="*/ 42 w 90"/>
              <a:gd name="T103" fmla="*/ 78 h 84"/>
              <a:gd name="T104" fmla="*/ 42 w 90"/>
              <a:gd name="T105" fmla="*/ 72 h 84"/>
              <a:gd name="T106" fmla="*/ 36 w 90"/>
              <a:gd name="T107" fmla="*/ 72 h 84"/>
              <a:gd name="T108" fmla="*/ 30 w 90"/>
              <a:gd name="T109" fmla="*/ 72 h 84"/>
              <a:gd name="T110" fmla="*/ 24 w 90"/>
              <a:gd name="T111" fmla="*/ 72 h 84"/>
              <a:gd name="T112" fmla="*/ 24 w 90"/>
              <a:gd name="T113" fmla="*/ 66 h 84"/>
              <a:gd name="T114" fmla="*/ 24 w 90"/>
              <a:gd name="T115" fmla="*/ 60 h 84"/>
              <a:gd name="T116" fmla="*/ 18 w 90"/>
              <a:gd name="T117" fmla="*/ 60 h 84"/>
              <a:gd name="T118" fmla="*/ 12 w 90"/>
              <a:gd name="T119" fmla="*/ 54 h 84"/>
              <a:gd name="T120" fmla="*/ 12 w 90"/>
              <a:gd name="T121" fmla="*/ 54 h 84"/>
              <a:gd name="T122" fmla="*/ 6 w 90"/>
              <a:gd name="T123" fmla="*/ 6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90" h="84">
                <a:moveTo>
                  <a:pt x="0" y="54"/>
                </a:move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12" y="36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42" y="24"/>
                </a:lnTo>
                <a:lnTo>
                  <a:pt x="42" y="24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54" y="0"/>
                </a:lnTo>
                <a:lnTo>
                  <a:pt x="54" y="0"/>
                </a:lnTo>
                <a:lnTo>
                  <a:pt x="54" y="6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54" y="6"/>
                </a:lnTo>
                <a:lnTo>
                  <a:pt x="60" y="12"/>
                </a:lnTo>
                <a:lnTo>
                  <a:pt x="54" y="12"/>
                </a:lnTo>
                <a:lnTo>
                  <a:pt x="60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60" y="12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6" y="18"/>
                </a:lnTo>
                <a:lnTo>
                  <a:pt x="66" y="18"/>
                </a:lnTo>
                <a:lnTo>
                  <a:pt x="60" y="18"/>
                </a:lnTo>
                <a:lnTo>
                  <a:pt x="60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0" y="18"/>
                </a:lnTo>
                <a:lnTo>
                  <a:pt x="60" y="24"/>
                </a:lnTo>
                <a:lnTo>
                  <a:pt x="60" y="24"/>
                </a:lnTo>
                <a:lnTo>
                  <a:pt x="66" y="24"/>
                </a:lnTo>
                <a:lnTo>
                  <a:pt x="66" y="24"/>
                </a:lnTo>
                <a:lnTo>
                  <a:pt x="60" y="24"/>
                </a:lnTo>
                <a:lnTo>
                  <a:pt x="60" y="24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60" y="30"/>
                </a:lnTo>
                <a:lnTo>
                  <a:pt x="60" y="30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54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72" y="36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8" y="48"/>
                </a:lnTo>
                <a:lnTo>
                  <a:pt x="78" y="42"/>
                </a:lnTo>
                <a:lnTo>
                  <a:pt x="78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8"/>
                </a:lnTo>
                <a:lnTo>
                  <a:pt x="84" y="48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90" y="60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78" y="66"/>
                </a:lnTo>
                <a:lnTo>
                  <a:pt x="84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6"/>
                </a:lnTo>
                <a:lnTo>
                  <a:pt x="72" y="66"/>
                </a:lnTo>
                <a:lnTo>
                  <a:pt x="72" y="60"/>
                </a:lnTo>
                <a:lnTo>
                  <a:pt x="66" y="60"/>
                </a:lnTo>
                <a:lnTo>
                  <a:pt x="66" y="60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72" y="66"/>
                </a:lnTo>
                <a:lnTo>
                  <a:pt x="66" y="66"/>
                </a:lnTo>
                <a:lnTo>
                  <a:pt x="72" y="66"/>
                </a:lnTo>
                <a:lnTo>
                  <a:pt x="66" y="66"/>
                </a:lnTo>
                <a:lnTo>
                  <a:pt x="72" y="66"/>
                </a:lnTo>
                <a:lnTo>
                  <a:pt x="72" y="66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0" y="72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54" y="78"/>
                </a:lnTo>
                <a:lnTo>
                  <a:pt x="54" y="84"/>
                </a:lnTo>
                <a:lnTo>
                  <a:pt x="54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0" y="72"/>
                </a:lnTo>
                <a:lnTo>
                  <a:pt x="30" y="78"/>
                </a:lnTo>
                <a:lnTo>
                  <a:pt x="30" y="72"/>
                </a:lnTo>
                <a:lnTo>
                  <a:pt x="30" y="78"/>
                </a:lnTo>
                <a:lnTo>
                  <a:pt x="30" y="72"/>
                </a:lnTo>
                <a:lnTo>
                  <a:pt x="24" y="72"/>
                </a:lnTo>
                <a:lnTo>
                  <a:pt x="24" y="72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0" y="54"/>
                </a:lnTo>
                <a:lnTo>
                  <a:pt x="0" y="5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52" name="Freeform 385"/>
          <p:cNvSpPr>
            <a:spLocks/>
          </p:cNvSpPr>
          <p:nvPr/>
        </p:nvSpPr>
        <p:spPr bwMode="auto">
          <a:xfrm>
            <a:off x="6941791" y="4179973"/>
            <a:ext cx="122057" cy="64241"/>
          </a:xfrm>
          <a:custGeom>
            <a:avLst/>
            <a:gdLst>
              <a:gd name="T0" fmla="*/ 12 w 114"/>
              <a:gd name="T1" fmla="*/ 12 h 60"/>
              <a:gd name="T2" fmla="*/ 18 w 114"/>
              <a:gd name="T3" fmla="*/ 12 h 60"/>
              <a:gd name="T4" fmla="*/ 30 w 114"/>
              <a:gd name="T5" fmla="*/ 12 h 60"/>
              <a:gd name="T6" fmla="*/ 36 w 114"/>
              <a:gd name="T7" fmla="*/ 12 h 60"/>
              <a:gd name="T8" fmla="*/ 42 w 114"/>
              <a:gd name="T9" fmla="*/ 0 h 60"/>
              <a:gd name="T10" fmla="*/ 48 w 114"/>
              <a:gd name="T11" fmla="*/ 6 h 60"/>
              <a:gd name="T12" fmla="*/ 54 w 114"/>
              <a:gd name="T13" fmla="*/ 6 h 60"/>
              <a:gd name="T14" fmla="*/ 54 w 114"/>
              <a:gd name="T15" fmla="*/ 12 h 60"/>
              <a:gd name="T16" fmla="*/ 60 w 114"/>
              <a:gd name="T17" fmla="*/ 12 h 60"/>
              <a:gd name="T18" fmla="*/ 66 w 114"/>
              <a:gd name="T19" fmla="*/ 12 h 60"/>
              <a:gd name="T20" fmla="*/ 72 w 114"/>
              <a:gd name="T21" fmla="*/ 6 h 60"/>
              <a:gd name="T22" fmla="*/ 78 w 114"/>
              <a:gd name="T23" fmla="*/ 12 h 60"/>
              <a:gd name="T24" fmla="*/ 84 w 114"/>
              <a:gd name="T25" fmla="*/ 18 h 60"/>
              <a:gd name="T26" fmla="*/ 90 w 114"/>
              <a:gd name="T27" fmla="*/ 18 h 60"/>
              <a:gd name="T28" fmla="*/ 96 w 114"/>
              <a:gd name="T29" fmla="*/ 12 h 60"/>
              <a:gd name="T30" fmla="*/ 102 w 114"/>
              <a:gd name="T31" fmla="*/ 12 h 60"/>
              <a:gd name="T32" fmla="*/ 102 w 114"/>
              <a:gd name="T33" fmla="*/ 12 h 60"/>
              <a:gd name="T34" fmla="*/ 114 w 114"/>
              <a:gd name="T35" fmla="*/ 18 h 60"/>
              <a:gd name="T36" fmla="*/ 114 w 114"/>
              <a:gd name="T37" fmla="*/ 24 h 60"/>
              <a:gd name="T38" fmla="*/ 114 w 114"/>
              <a:gd name="T39" fmla="*/ 30 h 60"/>
              <a:gd name="T40" fmla="*/ 114 w 114"/>
              <a:gd name="T41" fmla="*/ 36 h 60"/>
              <a:gd name="T42" fmla="*/ 114 w 114"/>
              <a:gd name="T43" fmla="*/ 42 h 60"/>
              <a:gd name="T44" fmla="*/ 108 w 114"/>
              <a:gd name="T45" fmla="*/ 48 h 60"/>
              <a:gd name="T46" fmla="*/ 102 w 114"/>
              <a:gd name="T47" fmla="*/ 54 h 60"/>
              <a:gd name="T48" fmla="*/ 102 w 114"/>
              <a:gd name="T49" fmla="*/ 60 h 60"/>
              <a:gd name="T50" fmla="*/ 96 w 114"/>
              <a:gd name="T51" fmla="*/ 60 h 60"/>
              <a:gd name="T52" fmla="*/ 90 w 114"/>
              <a:gd name="T53" fmla="*/ 60 h 60"/>
              <a:gd name="T54" fmla="*/ 90 w 114"/>
              <a:gd name="T55" fmla="*/ 60 h 60"/>
              <a:gd name="T56" fmla="*/ 84 w 114"/>
              <a:gd name="T57" fmla="*/ 54 h 60"/>
              <a:gd name="T58" fmla="*/ 78 w 114"/>
              <a:gd name="T59" fmla="*/ 54 h 60"/>
              <a:gd name="T60" fmla="*/ 78 w 114"/>
              <a:gd name="T61" fmla="*/ 48 h 60"/>
              <a:gd name="T62" fmla="*/ 72 w 114"/>
              <a:gd name="T63" fmla="*/ 48 h 60"/>
              <a:gd name="T64" fmla="*/ 66 w 114"/>
              <a:gd name="T65" fmla="*/ 48 h 60"/>
              <a:gd name="T66" fmla="*/ 60 w 114"/>
              <a:gd name="T67" fmla="*/ 48 h 60"/>
              <a:gd name="T68" fmla="*/ 54 w 114"/>
              <a:gd name="T69" fmla="*/ 48 h 60"/>
              <a:gd name="T70" fmla="*/ 48 w 114"/>
              <a:gd name="T71" fmla="*/ 54 h 60"/>
              <a:gd name="T72" fmla="*/ 42 w 114"/>
              <a:gd name="T73" fmla="*/ 54 h 60"/>
              <a:gd name="T74" fmla="*/ 36 w 114"/>
              <a:gd name="T75" fmla="*/ 60 h 60"/>
              <a:gd name="T76" fmla="*/ 30 w 114"/>
              <a:gd name="T77" fmla="*/ 54 h 60"/>
              <a:gd name="T78" fmla="*/ 30 w 114"/>
              <a:gd name="T79" fmla="*/ 54 h 60"/>
              <a:gd name="T80" fmla="*/ 30 w 114"/>
              <a:gd name="T81" fmla="*/ 60 h 60"/>
              <a:gd name="T82" fmla="*/ 30 w 114"/>
              <a:gd name="T83" fmla="*/ 60 h 60"/>
              <a:gd name="T84" fmla="*/ 30 w 114"/>
              <a:gd name="T85" fmla="*/ 54 h 60"/>
              <a:gd name="T86" fmla="*/ 24 w 114"/>
              <a:gd name="T87" fmla="*/ 54 h 60"/>
              <a:gd name="T88" fmla="*/ 24 w 114"/>
              <a:gd name="T89" fmla="*/ 54 h 60"/>
              <a:gd name="T90" fmla="*/ 18 w 114"/>
              <a:gd name="T91" fmla="*/ 54 h 60"/>
              <a:gd name="T92" fmla="*/ 18 w 114"/>
              <a:gd name="T93" fmla="*/ 60 h 60"/>
              <a:gd name="T94" fmla="*/ 18 w 114"/>
              <a:gd name="T95" fmla="*/ 60 h 60"/>
              <a:gd name="T96" fmla="*/ 12 w 114"/>
              <a:gd name="T97" fmla="*/ 54 h 60"/>
              <a:gd name="T98" fmla="*/ 12 w 114"/>
              <a:gd name="T99" fmla="*/ 48 h 60"/>
              <a:gd name="T100" fmla="*/ 12 w 114"/>
              <a:gd name="T101" fmla="*/ 42 h 60"/>
              <a:gd name="T102" fmla="*/ 12 w 114"/>
              <a:gd name="T103" fmla="*/ 30 h 60"/>
              <a:gd name="T104" fmla="*/ 6 w 114"/>
              <a:gd name="T105" fmla="*/ 24 h 60"/>
              <a:gd name="T106" fmla="*/ 6 w 114"/>
              <a:gd name="T107" fmla="*/ 24 h 60"/>
              <a:gd name="T108" fmla="*/ 6 w 114"/>
              <a:gd name="T109" fmla="*/ 18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14" h="60">
                <a:moveTo>
                  <a:pt x="6" y="18"/>
                </a:moveTo>
                <a:lnTo>
                  <a:pt x="6" y="18"/>
                </a:lnTo>
                <a:lnTo>
                  <a:pt x="6" y="18"/>
                </a:lnTo>
                <a:lnTo>
                  <a:pt x="12" y="18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8" y="12"/>
                </a:lnTo>
                <a:lnTo>
                  <a:pt x="18" y="12"/>
                </a:lnTo>
                <a:lnTo>
                  <a:pt x="24" y="12"/>
                </a:lnTo>
                <a:lnTo>
                  <a:pt x="24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6" y="12"/>
                </a:lnTo>
                <a:lnTo>
                  <a:pt x="36" y="12"/>
                </a:lnTo>
                <a:lnTo>
                  <a:pt x="42" y="6"/>
                </a:lnTo>
                <a:lnTo>
                  <a:pt x="42" y="6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72" y="6"/>
                </a:lnTo>
                <a:lnTo>
                  <a:pt x="72" y="6"/>
                </a:lnTo>
                <a:lnTo>
                  <a:pt x="72" y="12"/>
                </a:lnTo>
                <a:lnTo>
                  <a:pt x="78" y="12"/>
                </a:lnTo>
                <a:lnTo>
                  <a:pt x="78" y="12"/>
                </a:lnTo>
                <a:lnTo>
                  <a:pt x="78" y="18"/>
                </a:lnTo>
                <a:lnTo>
                  <a:pt x="78" y="12"/>
                </a:lnTo>
                <a:lnTo>
                  <a:pt x="84" y="18"/>
                </a:lnTo>
                <a:lnTo>
                  <a:pt x="78" y="18"/>
                </a:lnTo>
                <a:lnTo>
                  <a:pt x="84" y="24"/>
                </a:lnTo>
                <a:lnTo>
                  <a:pt x="84" y="18"/>
                </a:lnTo>
                <a:lnTo>
                  <a:pt x="84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8" y="12"/>
                </a:lnTo>
                <a:lnTo>
                  <a:pt x="108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6"/>
                </a:lnTo>
                <a:lnTo>
                  <a:pt x="114" y="36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54"/>
                </a:lnTo>
                <a:lnTo>
                  <a:pt x="90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48" y="48"/>
                </a:lnTo>
                <a:lnTo>
                  <a:pt x="48" y="48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18" y="54"/>
                </a:lnTo>
                <a:lnTo>
                  <a:pt x="24" y="54"/>
                </a:lnTo>
                <a:lnTo>
                  <a:pt x="18" y="54"/>
                </a:lnTo>
                <a:lnTo>
                  <a:pt x="24" y="60"/>
                </a:lnTo>
                <a:lnTo>
                  <a:pt x="18" y="54"/>
                </a:lnTo>
                <a:lnTo>
                  <a:pt x="18" y="60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60"/>
                </a:lnTo>
                <a:lnTo>
                  <a:pt x="18" y="60"/>
                </a:lnTo>
                <a:lnTo>
                  <a:pt x="12" y="60"/>
                </a:lnTo>
                <a:lnTo>
                  <a:pt x="12" y="60"/>
                </a:lnTo>
                <a:lnTo>
                  <a:pt x="6" y="60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0" y="24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53" name="Freeform 386"/>
          <p:cNvSpPr>
            <a:spLocks/>
          </p:cNvSpPr>
          <p:nvPr/>
        </p:nvSpPr>
        <p:spPr bwMode="auto">
          <a:xfrm>
            <a:off x="7230873" y="4269910"/>
            <a:ext cx="134905" cy="109210"/>
          </a:xfrm>
          <a:custGeom>
            <a:avLst/>
            <a:gdLst>
              <a:gd name="T0" fmla="*/ 6 w 126"/>
              <a:gd name="T1" fmla="*/ 54 h 102"/>
              <a:gd name="T2" fmla="*/ 12 w 126"/>
              <a:gd name="T3" fmla="*/ 48 h 102"/>
              <a:gd name="T4" fmla="*/ 18 w 126"/>
              <a:gd name="T5" fmla="*/ 42 h 102"/>
              <a:gd name="T6" fmla="*/ 24 w 126"/>
              <a:gd name="T7" fmla="*/ 36 h 102"/>
              <a:gd name="T8" fmla="*/ 30 w 126"/>
              <a:gd name="T9" fmla="*/ 30 h 102"/>
              <a:gd name="T10" fmla="*/ 30 w 126"/>
              <a:gd name="T11" fmla="*/ 24 h 102"/>
              <a:gd name="T12" fmla="*/ 42 w 126"/>
              <a:gd name="T13" fmla="*/ 18 h 102"/>
              <a:gd name="T14" fmla="*/ 48 w 126"/>
              <a:gd name="T15" fmla="*/ 12 h 102"/>
              <a:gd name="T16" fmla="*/ 48 w 126"/>
              <a:gd name="T17" fmla="*/ 18 h 102"/>
              <a:gd name="T18" fmla="*/ 54 w 126"/>
              <a:gd name="T19" fmla="*/ 18 h 102"/>
              <a:gd name="T20" fmla="*/ 54 w 126"/>
              <a:gd name="T21" fmla="*/ 24 h 102"/>
              <a:gd name="T22" fmla="*/ 48 w 126"/>
              <a:gd name="T23" fmla="*/ 36 h 102"/>
              <a:gd name="T24" fmla="*/ 54 w 126"/>
              <a:gd name="T25" fmla="*/ 36 h 102"/>
              <a:gd name="T26" fmla="*/ 54 w 126"/>
              <a:gd name="T27" fmla="*/ 42 h 102"/>
              <a:gd name="T28" fmla="*/ 66 w 126"/>
              <a:gd name="T29" fmla="*/ 36 h 102"/>
              <a:gd name="T30" fmla="*/ 72 w 126"/>
              <a:gd name="T31" fmla="*/ 30 h 102"/>
              <a:gd name="T32" fmla="*/ 78 w 126"/>
              <a:gd name="T33" fmla="*/ 24 h 102"/>
              <a:gd name="T34" fmla="*/ 84 w 126"/>
              <a:gd name="T35" fmla="*/ 18 h 102"/>
              <a:gd name="T36" fmla="*/ 84 w 126"/>
              <a:gd name="T37" fmla="*/ 12 h 102"/>
              <a:gd name="T38" fmla="*/ 96 w 126"/>
              <a:gd name="T39" fmla="*/ 6 h 102"/>
              <a:gd name="T40" fmla="*/ 102 w 126"/>
              <a:gd name="T41" fmla="*/ 0 h 102"/>
              <a:gd name="T42" fmla="*/ 108 w 126"/>
              <a:gd name="T43" fmla="*/ 0 h 102"/>
              <a:gd name="T44" fmla="*/ 114 w 126"/>
              <a:gd name="T45" fmla="*/ 6 h 102"/>
              <a:gd name="T46" fmla="*/ 120 w 126"/>
              <a:gd name="T47" fmla="*/ 12 h 102"/>
              <a:gd name="T48" fmla="*/ 120 w 126"/>
              <a:gd name="T49" fmla="*/ 12 h 102"/>
              <a:gd name="T50" fmla="*/ 126 w 126"/>
              <a:gd name="T51" fmla="*/ 18 h 102"/>
              <a:gd name="T52" fmla="*/ 126 w 126"/>
              <a:gd name="T53" fmla="*/ 24 h 102"/>
              <a:gd name="T54" fmla="*/ 126 w 126"/>
              <a:gd name="T55" fmla="*/ 36 h 102"/>
              <a:gd name="T56" fmla="*/ 126 w 126"/>
              <a:gd name="T57" fmla="*/ 42 h 102"/>
              <a:gd name="T58" fmla="*/ 126 w 126"/>
              <a:gd name="T59" fmla="*/ 48 h 102"/>
              <a:gd name="T60" fmla="*/ 120 w 126"/>
              <a:gd name="T61" fmla="*/ 48 h 102"/>
              <a:gd name="T62" fmla="*/ 114 w 126"/>
              <a:gd name="T63" fmla="*/ 60 h 102"/>
              <a:gd name="T64" fmla="*/ 108 w 126"/>
              <a:gd name="T65" fmla="*/ 66 h 102"/>
              <a:gd name="T66" fmla="*/ 102 w 126"/>
              <a:gd name="T67" fmla="*/ 66 h 102"/>
              <a:gd name="T68" fmla="*/ 96 w 126"/>
              <a:gd name="T69" fmla="*/ 60 h 102"/>
              <a:gd name="T70" fmla="*/ 90 w 126"/>
              <a:gd name="T71" fmla="*/ 60 h 102"/>
              <a:gd name="T72" fmla="*/ 84 w 126"/>
              <a:gd name="T73" fmla="*/ 60 h 102"/>
              <a:gd name="T74" fmla="*/ 72 w 126"/>
              <a:gd name="T75" fmla="*/ 66 h 102"/>
              <a:gd name="T76" fmla="*/ 66 w 126"/>
              <a:gd name="T77" fmla="*/ 72 h 102"/>
              <a:gd name="T78" fmla="*/ 60 w 126"/>
              <a:gd name="T79" fmla="*/ 72 h 102"/>
              <a:gd name="T80" fmla="*/ 60 w 126"/>
              <a:gd name="T81" fmla="*/ 78 h 102"/>
              <a:gd name="T82" fmla="*/ 66 w 126"/>
              <a:gd name="T83" fmla="*/ 84 h 102"/>
              <a:gd name="T84" fmla="*/ 66 w 126"/>
              <a:gd name="T85" fmla="*/ 90 h 102"/>
              <a:gd name="T86" fmla="*/ 66 w 126"/>
              <a:gd name="T87" fmla="*/ 96 h 102"/>
              <a:gd name="T88" fmla="*/ 66 w 126"/>
              <a:gd name="T89" fmla="*/ 102 h 102"/>
              <a:gd name="T90" fmla="*/ 54 w 126"/>
              <a:gd name="T91" fmla="*/ 102 h 102"/>
              <a:gd name="T92" fmla="*/ 42 w 126"/>
              <a:gd name="T93" fmla="*/ 102 h 102"/>
              <a:gd name="T94" fmla="*/ 42 w 126"/>
              <a:gd name="T95" fmla="*/ 96 h 102"/>
              <a:gd name="T96" fmla="*/ 36 w 126"/>
              <a:gd name="T97" fmla="*/ 90 h 102"/>
              <a:gd name="T98" fmla="*/ 30 w 126"/>
              <a:gd name="T99" fmla="*/ 90 h 102"/>
              <a:gd name="T100" fmla="*/ 24 w 126"/>
              <a:gd name="T101" fmla="*/ 78 h 102"/>
              <a:gd name="T102" fmla="*/ 24 w 126"/>
              <a:gd name="T103" fmla="*/ 72 h 102"/>
              <a:gd name="T104" fmla="*/ 18 w 126"/>
              <a:gd name="T105" fmla="*/ 72 h 102"/>
              <a:gd name="T106" fmla="*/ 12 w 126"/>
              <a:gd name="T107" fmla="*/ 66 h 102"/>
              <a:gd name="T108" fmla="*/ 6 w 126"/>
              <a:gd name="T109" fmla="*/ 60 h 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26" h="102">
                <a:moveTo>
                  <a:pt x="0" y="60"/>
                </a:move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48"/>
                </a:lnTo>
                <a:lnTo>
                  <a:pt x="6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36"/>
                </a:lnTo>
                <a:lnTo>
                  <a:pt x="18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30" y="36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6" y="24"/>
                </a:lnTo>
                <a:lnTo>
                  <a:pt x="36" y="24"/>
                </a:lnTo>
                <a:lnTo>
                  <a:pt x="36" y="18"/>
                </a:lnTo>
                <a:lnTo>
                  <a:pt x="36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54" y="18"/>
                </a:lnTo>
                <a:lnTo>
                  <a:pt x="54" y="18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30"/>
                </a:lnTo>
                <a:lnTo>
                  <a:pt x="48" y="30"/>
                </a:lnTo>
                <a:lnTo>
                  <a:pt x="54" y="30"/>
                </a:lnTo>
                <a:lnTo>
                  <a:pt x="48" y="30"/>
                </a:lnTo>
                <a:lnTo>
                  <a:pt x="54" y="30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2" y="42"/>
                </a:lnTo>
                <a:lnTo>
                  <a:pt x="48" y="42"/>
                </a:lnTo>
                <a:lnTo>
                  <a:pt x="48" y="42"/>
                </a:lnTo>
                <a:lnTo>
                  <a:pt x="54" y="36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60" y="42"/>
                </a:lnTo>
                <a:lnTo>
                  <a:pt x="60" y="42"/>
                </a:lnTo>
                <a:lnTo>
                  <a:pt x="60" y="36"/>
                </a:lnTo>
                <a:lnTo>
                  <a:pt x="60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72" y="36"/>
                </a:lnTo>
                <a:lnTo>
                  <a:pt x="72" y="36"/>
                </a:lnTo>
                <a:lnTo>
                  <a:pt x="72" y="30"/>
                </a:lnTo>
                <a:lnTo>
                  <a:pt x="72" y="30"/>
                </a:lnTo>
                <a:lnTo>
                  <a:pt x="78" y="30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18"/>
                </a:lnTo>
                <a:lnTo>
                  <a:pt x="78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90" y="12"/>
                </a:lnTo>
                <a:lnTo>
                  <a:pt x="90" y="12"/>
                </a:lnTo>
                <a:lnTo>
                  <a:pt x="90" y="6"/>
                </a:lnTo>
                <a:lnTo>
                  <a:pt x="90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102" y="6"/>
                </a:lnTo>
                <a:lnTo>
                  <a:pt x="102" y="6"/>
                </a:lnTo>
                <a:lnTo>
                  <a:pt x="102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14" y="0"/>
                </a:lnTo>
                <a:lnTo>
                  <a:pt x="114" y="0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20" y="6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6" y="18"/>
                </a:lnTo>
                <a:lnTo>
                  <a:pt x="126" y="18"/>
                </a:lnTo>
                <a:lnTo>
                  <a:pt x="120" y="18"/>
                </a:lnTo>
                <a:lnTo>
                  <a:pt x="120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6" y="24"/>
                </a:lnTo>
                <a:lnTo>
                  <a:pt x="120" y="24"/>
                </a:lnTo>
                <a:lnTo>
                  <a:pt x="120" y="30"/>
                </a:lnTo>
                <a:lnTo>
                  <a:pt x="120" y="30"/>
                </a:lnTo>
                <a:lnTo>
                  <a:pt x="126" y="30"/>
                </a:lnTo>
                <a:lnTo>
                  <a:pt x="126" y="36"/>
                </a:lnTo>
                <a:lnTo>
                  <a:pt x="126" y="36"/>
                </a:lnTo>
                <a:lnTo>
                  <a:pt x="120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6"/>
                </a:lnTo>
                <a:lnTo>
                  <a:pt x="78" y="66"/>
                </a:lnTo>
                <a:lnTo>
                  <a:pt x="78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0" y="72"/>
                </a:lnTo>
                <a:lnTo>
                  <a:pt x="60" y="72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54" y="96"/>
                </a:lnTo>
                <a:lnTo>
                  <a:pt x="54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0"/>
                </a:lnTo>
                <a:lnTo>
                  <a:pt x="42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84"/>
                </a:lnTo>
                <a:lnTo>
                  <a:pt x="36" y="90"/>
                </a:lnTo>
                <a:lnTo>
                  <a:pt x="36" y="90"/>
                </a:lnTo>
                <a:lnTo>
                  <a:pt x="30" y="90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24" y="84"/>
                </a:lnTo>
                <a:lnTo>
                  <a:pt x="24" y="84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2"/>
                </a:lnTo>
                <a:lnTo>
                  <a:pt x="24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6" y="66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0" y="6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54" name="Freeform 387"/>
          <p:cNvSpPr>
            <a:spLocks/>
          </p:cNvSpPr>
          <p:nvPr/>
        </p:nvSpPr>
        <p:spPr bwMode="auto">
          <a:xfrm>
            <a:off x="6671981" y="4070763"/>
            <a:ext cx="134905" cy="109210"/>
          </a:xfrm>
          <a:custGeom>
            <a:avLst/>
            <a:gdLst>
              <a:gd name="T0" fmla="*/ 6 w 126"/>
              <a:gd name="T1" fmla="*/ 54 h 102"/>
              <a:gd name="T2" fmla="*/ 12 w 126"/>
              <a:gd name="T3" fmla="*/ 54 h 102"/>
              <a:gd name="T4" fmla="*/ 18 w 126"/>
              <a:gd name="T5" fmla="*/ 54 h 102"/>
              <a:gd name="T6" fmla="*/ 24 w 126"/>
              <a:gd name="T7" fmla="*/ 54 h 102"/>
              <a:gd name="T8" fmla="*/ 24 w 126"/>
              <a:gd name="T9" fmla="*/ 48 h 102"/>
              <a:gd name="T10" fmla="*/ 30 w 126"/>
              <a:gd name="T11" fmla="*/ 42 h 102"/>
              <a:gd name="T12" fmla="*/ 30 w 126"/>
              <a:gd name="T13" fmla="*/ 42 h 102"/>
              <a:gd name="T14" fmla="*/ 36 w 126"/>
              <a:gd name="T15" fmla="*/ 36 h 102"/>
              <a:gd name="T16" fmla="*/ 42 w 126"/>
              <a:gd name="T17" fmla="*/ 36 h 102"/>
              <a:gd name="T18" fmla="*/ 48 w 126"/>
              <a:gd name="T19" fmla="*/ 36 h 102"/>
              <a:gd name="T20" fmla="*/ 48 w 126"/>
              <a:gd name="T21" fmla="*/ 30 h 102"/>
              <a:gd name="T22" fmla="*/ 54 w 126"/>
              <a:gd name="T23" fmla="*/ 24 h 102"/>
              <a:gd name="T24" fmla="*/ 54 w 126"/>
              <a:gd name="T25" fmla="*/ 24 h 102"/>
              <a:gd name="T26" fmla="*/ 54 w 126"/>
              <a:gd name="T27" fmla="*/ 18 h 102"/>
              <a:gd name="T28" fmla="*/ 54 w 126"/>
              <a:gd name="T29" fmla="*/ 12 h 102"/>
              <a:gd name="T30" fmla="*/ 60 w 126"/>
              <a:gd name="T31" fmla="*/ 6 h 102"/>
              <a:gd name="T32" fmla="*/ 60 w 126"/>
              <a:gd name="T33" fmla="*/ 6 h 102"/>
              <a:gd name="T34" fmla="*/ 60 w 126"/>
              <a:gd name="T35" fmla="*/ 0 h 102"/>
              <a:gd name="T36" fmla="*/ 60 w 126"/>
              <a:gd name="T37" fmla="*/ 0 h 102"/>
              <a:gd name="T38" fmla="*/ 72 w 126"/>
              <a:gd name="T39" fmla="*/ 0 h 102"/>
              <a:gd name="T40" fmla="*/ 72 w 126"/>
              <a:gd name="T41" fmla="*/ 6 h 102"/>
              <a:gd name="T42" fmla="*/ 78 w 126"/>
              <a:gd name="T43" fmla="*/ 6 h 102"/>
              <a:gd name="T44" fmla="*/ 78 w 126"/>
              <a:gd name="T45" fmla="*/ 12 h 102"/>
              <a:gd name="T46" fmla="*/ 84 w 126"/>
              <a:gd name="T47" fmla="*/ 6 h 102"/>
              <a:gd name="T48" fmla="*/ 96 w 126"/>
              <a:gd name="T49" fmla="*/ 18 h 102"/>
              <a:gd name="T50" fmla="*/ 96 w 126"/>
              <a:gd name="T51" fmla="*/ 18 h 102"/>
              <a:gd name="T52" fmla="*/ 102 w 126"/>
              <a:gd name="T53" fmla="*/ 30 h 102"/>
              <a:gd name="T54" fmla="*/ 114 w 126"/>
              <a:gd name="T55" fmla="*/ 30 h 102"/>
              <a:gd name="T56" fmla="*/ 126 w 126"/>
              <a:gd name="T57" fmla="*/ 36 h 102"/>
              <a:gd name="T58" fmla="*/ 126 w 126"/>
              <a:gd name="T59" fmla="*/ 48 h 102"/>
              <a:gd name="T60" fmla="*/ 120 w 126"/>
              <a:gd name="T61" fmla="*/ 48 h 102"/>
              <a:gd name="T62" fmla="*/ 114 w 126"/>
              <a:gd name="T63" fmla="*/ 54 h 102"/>
              <a:gd name="T64" fmla="*/ 114 w 126"/>
              <a:gd name="T65" fmla="*/ 54 h 102"/>
              <a:gd name="T66" fmla="*/ 114 w 126"/>
              <a:gd name="T67" fmla="*/ 60 h 102"/>
              <a:gd name="T68" fmla="*/ 114 w 126"/>
              <a:gd name="T69" fmla="*/ 66 h 102"/>
              <a:gd name="T70" fmla="*/ 102 w 126"/>
              <a:gd name="T71" fmla="*/ 66 h 102"/>
              <a:gd name="T72" fmla="*/ 102 w 126"/>
              <a:gd name="T73" fmla="*/ 72 h 102"/>
              <a:gd name="T74" fmla="*/ 96 w 126"/>
              <a:gd name="T75" fmla="*/ 72 h 102"/>
              <a:gd name="T76" fmla="*/ 90 w 126"/>
              <a:gd name="T77" fmla="*/ 72 h 102"/>
              <a:gd name="T78" fmla="*/ 84 w 126"/>
              <a:gd name="T79" fmla="*/ 72 h 102"/>
              <a:gd name="T80" fmla="*/ 78 w 126"/>
              <a:gd name="T81" fmla="*/ 78 h 102"/>
              <a:gd name="T82" fmla="*/ 72 w 126"/>
              <a:gd name="T83" fmla="*/ 84 h 102"/>
              <a:gd name="T84" fmla="*/ 72 w 126"/>
              <a:gd name="T85" fmla="*/ 90 h 102"/>
              <a:gd name="T86" fmla="*/ 72 w 126"/>
              <a:gd name="T87" fmla="*/ 96 h 102"/>
              <a:gd name="T88" fmla="*/ 66 w 126"/>
              <a:gd name="T89" fmla="*/ 96 h 102"/>
              <a:gd name="T90" fmla="*/ 60 w 126"/>
              <a:gd name="T91" fmla="*/ 96 h 102"/>
              <a:gd name="T92" fmla="*/ 54 w 126"/>
              <a:gd name="T93" fmla="*/ 90 h 102"/>
              <a:gd name="T94" fmla="*/ 42 w 126"/>
              <a:gd name="T95" fmla="*/ 84 h 102"/>
              <a:gd name="T96" fmla="*/ 36 w 126"/>
              <a:gd name="T97" fmla="*/ 84 h 102"/>
              <a:gd name="T98" fmla="*/ 30 w 126"/>
              <a:gd name="T99" fmla="*/ 78 h 102"/>
              <a:gd name="T100" fmla="*/ 24 w 126"/>
              <a:gd name="T101" fmla="*/ 72 h 102"/>
              <a:gd name="T102" fmla="*/ 18 w 126"/>
              <a:gd name="T103" fmla="*/ 66 h 102"/>
              <a:gd name="T104" fmla="*/ 18 w 126"/>
              <a:gd name="T105" fmla="*/ 66 h 102"/>
              <a:gd name="T106" fmla="*/ 18 w 126"/>
              <a:gd name="T107" fmla="*/ 66 h 102"/>
              <a:gd name="T108" fmla="*/ 12 w 126"/>
              <a:gd name="T109" fmla="*/ 60 h 102"/>
              <a:gd name="T110" fmla="*/ 6 w 126"/>
              <a:gd name="T111" fmla="*/ 60 h 102"/>
              <a:gd name="T112" fmla="*/ 6 w 126"/>
              <a:gd name="T113" fmla="*/ 60 h 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26" h="102">
                <a:moveTo>
                  <a:pt x="0" y="54"/>
                </a:moveTo>
                <a:lnTo>
                  <a:pt x="0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2"/>
                </a:lnTo>
                <a:lnTo>
                  <a:pt x="24" y="42"/>
                </a:lnTo>
                <a:lnTo>
                  <a:pt x="30" y="42"/>
                </a:lnTo>
                <a:lnTo>
                  <a:pt x="30" y="42"/>
                </a:lnTo>
                <a:lnTo>
                  <a:pt x="30" y="36"/>
                </a:lnTo>
                <a:lnTo>
                  <a:pt x="30" y="36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6" y="36"/>
                </a:lnTo>
                <a:lnTo>
                  <a:pt x="36" y="36"/>
                </a:lnTo>
                <a:lnTo>
                  <a:pt x="36" y="42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12"/>
                </a:lnTo>
                <a:lnTo>
                  <a:pt x="78" y="12"/>
                </a:lnTo>
                <a:lnTo>
                  <a:pt x="78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90" y="12"/>
                </a:lnTo>
                <a:lnTo>
                  <a:pt x="90" y="12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102" y="18"/>
                </a:lnTo>
                <a:lnTo>
                  <a:pt x="102" y="24"/>
                </a:lnTo>
                <a:lnTo>
                  <a:pt x="102" y="24"/>
                </a:lnTo>
                <a:lnTo>
                  <a:pt x="102" y="30"/>
                </a:lnTo>
                <a:lnTo>
                  <a:pt x="108" y="30"/>
                </a:lnTo>
                <a:lnTo>
                  <a:pt x="114" y="36"/>
                </a:lnTo>
                <a:lnTo>
                  <a:pt x="114" y="36"/>
                </a:lnTo>
                <a:lnTo>
                  <a:pt x="114" y="30"/>
                </a:lnTo>
                <a:lnTo>
                  <a:pt x="114" y="30"/>
                </a:lnTo>
                <a:lnTo>
                  <a:pt x="120" y="30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42"/>
                </a:lnTo>
                <a:lnTo>
                  <a:pt x="126" y="42"/>
                </a:lnTo>
                <a:lnTo>
                  <a:pt x="126" y="48"/>
                </a:lnTo>
                <a:lnTo>
                  <a:pt x="126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08" y="60"/>
                </a:lnTo>
                <a:lnTo>
                  <a:pt x="114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2" y="66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8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90"/>
                </a:lnTo>
                <a:lnTo>
                  <a:pt x="72" y="90"/>
                </a:lnTo>
                <a:lnTo>
                  <a:pt x="66" y="96"/>
                </a:lnTo>
                <a:lnTo>
                  <a:pt x="72" y="96"/>
                </a:lnTo>
                <a:lnTo>
                  <a:pt x="72" y="96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0" y="96"/>
                </a:lnTo>
                <a:lnTo>
                  <a:pt x="60" y="96"/>
                </a:lnTo>
                <a:lnTo>
                  <a:pt x="60" y="90"/>
                </a:lnTo>
                <a:lnTo>
                  <a:pt x="60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48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36" y="84"/>
                </a:lnTo>
                <a:lnTo>
                  <a:pt x="36" y="84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0" y="78"/>
                </a:lnTo>
                <a:lnTo>
                  <a:pt x="30" y="78"/>
                </a:lnTo>
                <a:lnTo>
                  <a:pt x="30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2" y="66"/>
                </a:lnTo>
                <a:lnTo>
                  <a:pt x="12" y="66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0" y="54"/>
                </a:lnTo>
                <a:lnTo>
                  <a:pt x="0" y="5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55" name="Freeform 388"/>
          <p:cNvSpPr>
            <a:spLocks/>
          </p:cNvSpPr>
          <p:nvPr/>
        </p:nvSpPr>
        <p:spPr bwMode="auto">
          <a:xfrm>
            <a:off x="7153784" y="4340575"/>
            <a:ext cx="57816" cy="25696"/>
          </a:xfrm>
          <a:custGeom>
            <a:avLst/>
            <a:gdLst>
              <a:gd name="T0" fmla="*/ 0 w 54"/>
              <a:gd name="T1" fmla="*/ 6 h 24"/>
              <a:gd name="T2" fmla="*/ 6 w 54"/>
              <a:gd name="T3" fmla="*/ 6 h 24"/>
              <a:gd name="T4" fmla="*/ 6 w 54"/>
              <a:gd name="T5" fmla="*/ 6 h 24"/>
              <a:gd name="T6" fmla="*/ 6 w 54"/>
              <a:gd name="T7" fmla="*/ 6 h 24"/>
              <a:gd name="T8" fmla="*/ 12 w 54"/>
              <a:gd name="T9" fmla="*/ 6 h 24"/>
              <a:gd name="T10" fmla="*/ 12 w 54"/>
              <a:gd name="T11" fmla="*/ 6 h 24"/>
              <a:gd name="T12" fmla="*/ 18 w 54"/>
              <a:gd name="T13" fmla="*/ 6 h 24"/>
              <a:gd name="T14" fmla="*/ 24 w 54"/>
              <a:gd name="T15" fmla="*/ 6 h 24"/>
              <a:gd name="T16" fmla="*/ 24 w 54"/>
              <a:gd name="T17" fmla="*/ 6 h 24"/>
              <a:gd name="T18" fmla="*/ 30 w 54"/>
              <a:gd name="T19" fmla="*/ 6 h 24"/>
              <a:gd name="T20" fmla="*/ 30 w 54"/>
              <a:gd name="T21" fmla="*/ 0 h 24"/>
              <a:gd name="T22" fmla="*/ 30 w 54"/>
              <a:gd name="T23" fmla="*/ 0 h 24"/>
              <a:gd name="T24" fmla="*/ 30 w 54"/>
              <a:gd name="T25" fmla="*/ 0 h 24"/>
              <a:gd name="T26" fmla="*/ 30 w 54"/>
              <a:gd name="T27" fmla="*/ 0 h 24"/>
              <a:gd name="T28" fmla="*/ 36 w 54"/>
              <a:gd name="T29" fmla="*/ 0 h 24"/>
              <a:gd name="T30" fmla="*/ 42 w 54"/>
              <a:gd name="T31" fmla="*/ 0 h 24"/>
              <a:gd name="T32" fmla="*/ 42 w 54"/>
              <a:gd name="T33" fmla="*/ 6 h 24"/>
              <a:gd name="T34" fmla="*/ 48 w 54"/>
              <a:gd name="T35" fmla="*/ 6 h 24"/>
              <a:gd name="T36" fmla="*/ 48 w 54"/>
              <a:gd name="T37" fmla="*/ 6 h 24"/>
              <a:gd name="T38" fmla="*/ 54 w 54"/>
              <a:gd name="T39" fmla="*/ 6 h 24"/>
              <a:gd name="T40" fmla="*/ 54 w 54"/>
              <a:gd name="T41" fmla="*/ 12 h 24"/>
              <a:gd name="T42" fmla="*/ 54 w 54"/>
              <a:gd name="T43" fmla="*/ 12 h 24"/>
              <a:gd name="T44" fmla="*/ 48 w 54"/>
              <a:gd name="T45" fmla="*/ 18 h 24"/>
              <a:gd name="T46" fmla="*/ 48 w 54"/>
              <a:gd name="T47" fmla="*/ 18 h 24"/>
              <a:gd name="T48" fmla="*/ 42 w 54"/>
              <a:gd name="T49" fmla="*/ 18 h 24"/>
              <a:gd name="T50" fmla="*/ 42 w 54"/>
              <a:gd name="T51" fmla="*/ 18 h 24"/>
              <a:gd name="T52" fmla="*/ 36 w 54"/>
              <a:gd name="T53" fmla="*/ 18 h 24"/>
              <a:gd name="T54" fmla="*/ 36 w 54"/>
              <a:gd name="T55" fmla="*/ 18 h 24"/>
              <a:gd name="T56" fmla="*/ 30 w 54"/>
              <a:gd name="T57" fmla="*/ 18 h 24"/>
              <a:gd name="T58" fmla="*/ 30 w 54"/>
              <a:gd name="T59" fmla="*/ 24 h 24"/>
              <a:gd name="T60" fmla="*/ 30 w 54"/>
              <a:gd name="T61" fmla="*/ 24 h 24"/>
              <a:gd name="T62" fmla="*/ 30 w 54"/>
              <a:gd name="T63" fmla="*/ 24 h 24"/>
              <a:gd name="T64" fmla="*/ 24 w 54"/>
              <a:gd name="T65" fmla="*/ 24 h 24"/>
              <a:gd name="T66" fmla="*/ 18 w 54"/>
              <a:gd name="T67" fmla="*/ 24 h 24"/>
              <a:gd name="T68" fmla="*/ 18 w 54"/>
              <a:gd name="T69" fmla="*/ 24 h 24"/>
              <a:gd name="T70" fmla="*/ 18 w 54"/>
              <a:gd name="T71" fmla="*/ 24 h 24"/>
              <a:gd name="T72" fmla="*/ 18 w 54"/>
              <a:gd name="T73" fmla="*/ 24 h 24"/>
              <a:gd name="T74" fmla="*/ 12 w 54"/>
              <a:gd name="T75" fmla="*/ 24 h 24"/>
              <a:gd name="T76" fmla="*/ 12 w 54"/>
              <a:gd name="T77" fmla="*/ 24 h 24"/>
              <a:gd name="T78" fmla="*/ 6 w 54"/>
              <a:gd name="T79" fmla="*/ 18 h 24"/>
              <a:gd name="T80" fmla="*/ 6 w 54"/>
              <a:gd name="T81" fmla="*/ 24 h 24"/>
              <a:gd name="T82" fmla="*/ 6 w 54"/>
              <a:gd name="T83" fmla="*/ 24 h 24"/>
              <a:gd name="T84" fmla="*/ 0 w 54"/>
              <a:gd name="T85" fmla="*/ 24 h 24"/>
              <a:gd name="T86" fmla="*/ 0 w 54"/>
              <a:gd name="T87" fmla="*/ 12 h 24"/>
              <a:gd name="T88" fmla="*/ 0 w 54"/>
              <a:gd name="T89" fmla="*/ 12 h 24"/>
              <a:gd name="T90" fmla="*/ 0 w 54"/>
              <a:gd name="T91" fmla="*/ 12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54" h="24">
                <a:moveTo>
                  <a:pt x="0" y="6"/>
                </a:move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42" y="0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0" y="18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6" y="18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0" y="24"/>
                </a:lnTo>
                <a:lnTo>
                  <a:pt x="0" y="24"/>
                </a:lnTo>
                <a:lnTo>
                  <a:pt x="0" y="18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56" name="Freeform 389"/>
          <p:cNvSpPr>
            <a:spLocks/>
          </p:cNvSpPr>
          <p:nvPr/>
        </p:nvSpPr>
        <p:spPr bwMode="auto">
          <a:xfrm>
            <a:off x="7108816" y="4314879"/>
            <a:ext cx="64240" cy="38545"/>
          </a:xfrm>
          <a:custGeom>
            <a:avLst/>
            <a:gdLst>
              <a:gd name="T0" fmla="*/ 6 w 60"/>
              <a:gd name="T1" fmla="*/ 18 h 36"/>
              <a:gd name="T2" fmla="*/ 0 w 60"/>
              <a:gd name="T3" fmla="*/ 12 h 36"/>
              <a:gd name="T4" fmla="*/ 0 w 60"/>
              <a:gd name="T5" fmla="*/ 6 h 36"/>
              <a:gd name="T6" fmla="*/ 6 w 60"/>
              <a:gd name="T7" fmla="*/ 6 h 36"/>
              <a:gd name="T8" fmla="*/ 6 w 60"/>
              <a:gd name="T9" fmla="*/ 0 h 36"/>
              <a:gd name="T10" fmla="*/ 12 w 60"/>
              <a:gd name="T11" fmla="*/ 0 h 36"/>
              <a:gd name="T12" fmla="*/ 18 w 60"/>
              <a:gd name="T13" fmla="*/ 0 h 36"/>
              <a:gd name="T14" fmla="*/ 18 w 60"/>
              <a:gd name="T15" fmla="*/ 6 h 36"/>
              <a:gd name="T16" fmla="*/ 18 w 60"/>
              <a:gd name="T17" fmla="*/ 6 h 36"/>
              <a:gd name="T18" fmla="*/ 18 w 60"/>
              <a:gd name="T19" fmla="*/ 6 h 36"/>
              <a:gd name="T20" fmla="*/ 18 w 60"/>
              <a:gd name="T21" fmla="*/ 6 h 36"/>
              <a:gd name="T22" fmla="*/ 24 w 60"/>
              <a:gd name="T23" fmla="*/ 6 h 36"/>
              <a:gd name="T24" fmla="*/ 24 w 60"/>
              <a:gd name="T25" fmla="*/ 6 h 36"/>
              <a:gd name="T26" fmla="*/ 30 w 60"/>
              <a:gd name="T27" fmla="*/ 0 h 36"/>
              <a:gd name="T28" fmla="*/ 30 w 60"/>
              <a:gd name="T29" fmla="*/ 0 h 36"/>
              <a:gd name="T30" fmla="*/ 30 w 60"/>
              <a:gd name="T31" fmla="*/ 0 h 36"/>
              <a:gd name="T32" fmla="*/ 36 w 60"/>
              <a:gd name="T33" fmla="*/ 0 h 36"/>
              <a:gd name="T34" fmla="*/ 36 w 60"/>
              <a:gd name="T35" fmla="*/ 6 h 36"/>
              <a:gd name="T36" fmla="*/ 36 w 60"/>
              <a:gd name="T37" fmla="*/ 6 h 36"/>
              <a:gd name="T38" fmla="*/ 42 w 60"/>
              <a:gd name="T39" fmla="*/ 6 h 36"/>
              <a:gd name="T40" fmla="*/ 42 w 60"/>
              <a:gd name="T41" fmla="*/ 6 h 36"/>
              <a:gd name="T42" fmla="*/ 48 w 60"/>
              <a:gd name="T43" fmla="*/ 6 h 36"/>
              <a:gd name="T44" fmla="*/ 48 w 60"/>
              <a:gd name="T45" fmla="*/ 12 h 36"/>
              <a:gd name="T46" fmla="*/ 42 w 60"/>
              <a:gd name="T47" fmla="*/ 12 h 36"/>
              <a:gd name="T48" fmla="*/ 48 w 60"/>
              <a:gd name="T49" fmla="*/ 12 h 36"/>
              <a:gd name="T50" fmla="*/ 48 w 60"/>
              <a:gd name="T51" fmla="*/ 12 h 36"/>
              <a:gd name="T52" fmla="*/ 48 w 60"/>
              <a:gd name="T53" fmla="*/ 18 h 36"/>
              <a:gd name="T54" fmla="*/ 54 w 60"/>
              <a:gd name="T55" fmla="*/ 18 h 36"/>
              <a:gd name="T56" fmla="*/ 54 w 60"/>
              <a:gd name="T57" fmla="*/ 18 h 36"/>
              <a:gd name="T58" fmla="*/ 60 w 60"/>
              <a:gd name="T59" fmla="*/ 18 h 36"/>
              <a:gd name="T60" fmla="*/ 54 w 60"/>
              <a:gd name="T61" fmla="*/ 24 h 36"/>
              <a:gd name="T62" fmla="*/ 60 w 60"/>
              <a:gd name="T63" fmla="*/ 24 h 36"/>
              <a:gd name="T64" fmla="*/ 60 w 60"/>
              <a:gd name="T65" fmla="*/ 30 h 36"/>
              <a:gd name="T66" fmla="*/ 54 w 60"/>
              <a:gd name="T67" fmla="*/ 30 h 36"/>
              <a:gd name="T68" fmla="*/ 54 w 60"/>
              <a:gd name="T69" fmla="*/ 30 h 36"/>
              <a:gd name="T70" fmla="*/ 48 w 60"/>
              <a:gd name="T71" fmla="*/ 30 h 36"/>
              <a:gd name="T72" fmla="*/ 48 w 60"/>
              <a:gd name="T73" fmla="*/ 30 h 36"/>
              <a:gd name="T74" fmla="*/ 42 w 60"/>
              <a:gd name="T75" fmla="*/ 30 h 36"/>
              <a:gd name="T76" fmla="*/ 42 w 60"/>
              <a:gd name="T77" fmla="*/ 30 h 36"/>
              <a:gd name="T78" fmla="*/ 36 w 60"/>
              <a:gd name="T79" fmla="*/ 30 h 36"/>
              <a:gd name="T80" fmla="*/ 36 w 60"/>
              <a:gd name="T81" fmla="*/ 30 h 36"/>
              <a:gd name="T82" fmla="*/ 36 w 60"/>
              <a:gd name="T83" fmla="*/ 36 h 36"/>
              <a:gd name="T84" fmla="*/ 30 w 60"/>
              <a:gd name="T85" fmla="*/ 36 h 36"/>
              <a:gd name="T86" fmla="*/ 24 w 60"/>
              <a:gd name="T87" fmla="*/ 36 h 36"/>
              <a:gd name="T88" fmla="*/ 24 w 60"/>
              <a:gd name="T89" fmla="*/ 36 h 36"/>
              <a:gd name="T90" fmla="*/ 24 w 60"/>
              <a:gd name="T91" fmla="*/ 30 h 36"/>
              <a:gd name="T92" fmla="*/ 24 w 60"/>
              <a:gd name="T93" fmla="*/ 30 h 36"/>
              <a:gd name="T94" fmla="*/ 18 w 60"/>
              <a:gd name="T95" fmla="*/ 30 h 36"/>
              <a:gd name="T96" fmla="*/ 18 w 60"/>
              <a:gd name="T97" fmla="*/ 24 h 36"/>
              <a:gd name="T98" fmla="*/ 12 w 60"/>
              <a:gd name="T99" fmla="*/ 24 h 36"/>
              <a:gd name="T100" fmla="*/ 12 w 60"/>
              <a:gd name="T101" fmla="*/ 24 h 36"/>
              <a:gd name="T102" fmla="*/ 6 w 60"/>
              <a:gd name="T103" fmla="*/ 24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60" h="36">
                <a:moveTo>
                  <a:pt x="6" y="24"/>
                </a:move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0" y="12"/>
                </a:lnTo>
                <a:lnTo>
                  <a:pt x="0" y="12"/>
                </a:lnTo>
                <a:lnTo>
                  <a:pt x="0" y="6"/>
                </a:lnTo>
                <a:lnTo>
                  <a:pt x="0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8" y="0"/>
                </a:lnTo>
                <a:lnTo>
                  <a:pt x="18" y="0"/>
                </a:lnTo>
                <a:lnTo>
                  <a:pt x="12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12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6" y="6"/>
                </a:lnTo>
                <a:lnTo>
                  <a:pt x="36" y="0"/>
                </a:lnTo>
                <a:lnTo>
                  <a:pt x="36" y="0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60" y="18"/>
                </a:lnTo>
                <a:lnTo>
                  <a:pt x="60" y="24"/>
                </a:lnTo>
                <a:lnTo>
                  <a:pt x="60" y="24"/>
                </a:lnTo>
                <a:lnTo>
                  <a:pt x="54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24"/>
                </a:lnTo>
                <a:lnTo>
                  <a:pt x="18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57" name="Freeform 390"/>
          <p:cNvSpPr>
            <a:spLocks/>
          </p:cNvSpPr>
          <p:nvPr/>
        </p:nvSpPr>
        <p:spPr bwMode="auto">
          <a:xfrm>
            <a:off x="7275841" y="4250638"/>
            <a:ext cx="77089" cy="64241"/>
          </a:xfrm>
          <a:custGeom>
            <a:avLst/>
            <a:gdLst>
              <a:gd name="T0" fmla="*/ 6 w 72"/>
              <a:gd name="T1" fmla="*/ 54 h 60"/>
              <a:gd name="T2" fmla="*/ 6 w 72"/>
              <a:gd name="T3" fmla="*/ 48 h 60"/>
              <a:gd name="T4" fmla="*/ 12 w 72"/>
              <a:gd name="T5" fmla="*/ 42 h 60"/>
              <a:gd name="T6" fmla="*/ 12 w 72"/>
              <a:gd name="T7" fmla="*/ 36 h 60"/>
              <a:gd name="T8" fmla="*/ 12 w 72"/>
              <a:gd name="T9" fmla="*/ 36 h 60"/>
              <a:gd name="T10" fmla="*/ 18 w 72"/>
              <a:gd name="T11" fmla="*/ 36 h 60"/>
              <a:gd name="T12" fmla="*/ 18 w 72"/>
              <a:gd name="T13" fmla="*/ 36 h 60"/>
              <a:gd name="T14" fmla="*/ 24 w 72"/>
              <a:gd name="T15" fmla="*/ 36 h 60"/>
              <a:gd name="T16" fmla="*/ 24 w 72"/>
              <a:gd name="T17" fmla="*/ 30 h 60"/>
              <a:gd name="T18" fmla="*/ 30 w 72"/>
              <a:gd name="T19" fmla="*/ 30 h 60"/>
              <a:gd name="T20" fmla="*/ 30 w 72"/>
              <a:gd name="T21" fmla="*/ 30 h 60"/>
              <a:gd name="T22" fmla="*/ 30 w 72"/>
              <a:gd name="T23" fmla="*/ 24 h 60"/>
              <a:gd name="T24" fmla="*/ 30 w 72"/>
              <a:gd name="T25" fmla="*/ 24 h 60"/>
              <a:gd name="T26" fmla="*/ 30 w 72"/>
              <a:gd name="T27" fmla="*/ 18 h 60"/>
              <a:gd name="T28" fmla="*/ 24 w 72"/>
              <a:gd name="T29" fmla="*/ 18 h 60"/>
              <a:gd name="T30" fmla="*/ 18 w 72"/>
              <a:gd name="T31" fmla="*/ 18 h 60"/>
              <a:gd name="T32" fmla="*/ 24 w 72"/>
              <a:gd name="T33" fmla="*/ 12 h 60"/>
              <a:gd name="T34" fmla="*/ 30 w 72"/>
              <a:gd name="T35" fmla="*/ 12 h 60"/>
              <a:gd name="T36" fmla="*/ 36 w 72"/>
              <a:gd name="T37" fmla="*/ 12 h 60"/>
              <a:gd name="T38" fmla="*/ 30 w 72"/>
              <a:gd name="T39" fmla="*/ 6 h 60"/>
              <a:gd name="T40" fmla="*/ 30 w 72"/>
              <a:gd name="T41" fmla="*/ 6 h 60"/>
              <a:gd name="T42" fmla="*/ 30 w 72"/>
              <a:gd name="T43" fmla="*/ 0 h 60"/>
              <a:gd name="T44" fmla="*/ 36 w 72"/>
              <a:gd name="T45" fmla="*/ 0 h 60"/>
              <a:gd name="T46" fmla="*/ 36 w 72"/>
              <a:gd name="T47" fmla="*/ 0 h 60"/>
              <a:gd name="T48" fmla="*/ 36 w 72"/>
              <a:gd name="T49" fmla="*/ 6 h 60"/>
              <a:gd name="T50" fmla="*/ 36 w 72"/>
              <a:gd name="T51" fmla="*/ 12 h 60"/>
              <a:gd name="T52" fmla="*/ 48 w 72"/>
              <a:gd name="T53" fmla="*/ 6 h 60"/>
              <a:gd name="T54" fmla="*/ 48 w 72"/>
              <a:gd name="T55" fmla="*/ 0 h 60"/>
              <a:gd name="T56" fmla="*/ 48 w 72"/>
              <a:gd name="T57" fmla="*/ 6 h 60"/>
              <a:gd name="T58" fmla="*/ 48 w 72"/>
              <a:gd name="T59" fmla="*/ 12 h 60"/>
              <a:gd name="T60" fmla="*/ 54 w 72"/>
              <a:gd name="T61" fmla="*/ 6 h 60"/>
              <a:gd name="T62" fmla="*/ 60 w 72"/>
              <a:gd name="T63" fmla="*/ 0 h 60"/>
              <a:gd name="T64" fmla="*/ 60 w 72"/>
              <a:gd name="T65" fmla="*/ 0 h 60"/>
              <a:gd name="T66" fmla="*/ 66 w 72"/>
              <a:gd name="T67" fmla="*/ 6 h 60"/>
              <a:gd name="T68" fmla="*/ 72 w 72"/>
              <a:gd name="T69" fmla="*/ 6 h 60"/>
              <a:gd name="T70" fmla="*/ 72 w 72"/>
              <a:gd name="T71" fmla="*/ 12 h 60"/>
              <a:gd name="T72" fmla="*/ 66 w 72"/>
              <a:gd name="T73" fmla="*/ 18 h 60"/>
              <a:gd name="T74" fmla="*/ 66 w 72"/>
              <a:gd name="T75" fmla="*/ 18 h 60"/>
              <a:gd name="T76" fmla="*/ 60 w 72"/>
              <a:gd name="T77" fmla="*/ 24 h 60"/>
              <a:gd name="T78" fmla="*/ 54 w 72"/>
              <a:gd name="T79" fmla="*/ 24 h 60"/>
              <a:gd name="T80" fmla="*/ 48 w 72"/>
              <a:gd name="T81" fmla="*/ 30 h 60"/>
              <a:gd name="T82" fmla="*/ 42 w 72"/>
              <a:gd name="T83" fmla="*/ 30 h 60"/>
              <a:gd name="T84" fmla="*/ 42 w 72"/>
              <a:gd name="T85" fmla="*/ 36 h 60"/>
              <a:gd name="T86" fmla="*/ 36 w 72"/>
              <a:gd name="T87" fmla="*/ 42 h 60"/>
              <a:gd name="T88" fmla="*/ 36 w 72"/>
              <a:gd name="T89" fmla="*/ 42 h 60"/>
              <a:gd name="T90" fmla="*/ 30 w 72"/>
              <a:gd name="T91" fmla="*/ 48 h 60"/>
              <a:gd name="T92" fmla="*/ 24 w 72"/>
              <a:gd name="T93" fmla="*/ 54 h 60"/>
              <a:gd name="T94" fmla="*/ 18 w 72"/>
              <a:gd name="T95" fmla="*/ 54 h 60"/>
              <a:gd name="T96" fmla="*/ 12 w 72"/>
              <a:gd name="T97" fmla="*/ 60 h 60"/>
              <a:gd name="T98" fmla="*/ 12 w 72"/>
              <a:gd name="T99" fmla="*/ 60 h 60"/>
              <a:gd name="T100" fmla="*/ 6 w 72"/>
              <a:gd name="T101" fmla="*/ 60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72" h="60">
                <a:moveTo>
                  <a:pt x="0" y="60"/>
                </a:move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12" y="48"/>
                </a:lnTo>
                <a:lnTo>
                  <a:pt x="6" y="48"/>
                </a:lnTo>
                <a:lnTo>
                  <a:pt x="12" y="48"/>
                </a:lnTo>
                <a:lnTo>
                  <a:pt x="6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8" y="36"/>
                </a:lnTo>
                <a:lnTo>
                  <a:pt x="18" y="36"/>
                </a:lnTo>
                <a:lnTo>
                  <a:pt x="18" y="30"/>
                </a:lnTo>
                <a:lnTo>
                  <a:pt x="18" y="36"/>
                </a:lnTo>
                <a:lnTo>
                  <a:pt x="18" y="30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6" y="12"/>
                </a:lnTo>
                <a:lnTo>
                  <a:pt x="36" y="12"/>
                </a:lnTo>
                <a:lnTo>
                  <a:pt x="36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12"/>
                </a:lnTo>
                <a:lnTo>
                  <a:pt x="36" y="12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0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66" y="12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0" y="18"/>
                </a:lnTo>
                <a:lnTo>
                  <a:pt x="60" y="24"/>
                </a:lnTo>
                <a:lnTo>
                  <a:pt x="60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48" y="24"/>
                </a:lnTo>
                <a:lnTo>
                  <a:pt x="48" y="24"/>
                </a:lnTo>
                <a:lnTo>
                  <a:pt x="48" y="30"/>
                </a:lnTo>
                <a:lnTo>
                  <a:pt x="48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36" y="36"/>
                </a:lnTo>
                <a:lnTo>
                  <a:pt x="36" y="36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8"/>
                </a:lnTo>
                <a:lnTo>
                  <a:pt x="30" y="48"/>
                </a:lnTo>
                <a:lnTo>
                  <a:pt x="30" y="48"/>
                </a:lnTo>
                <a:lnTo>
                  <a:pt x="30" y="54"/>
                </a:lnTo>
                <a:lnTo>
                  <a:pt x="30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18" y="54"/>
                </a:lnTo>
                <a:lnTo>
                  <a:pt x="18" y="54"/>
                </a:lnTo>
                <a:lnTo>
                  <a:pt x="18" y="60"/>
                </a:lnTo>
                <a:lnTo>
                  <a:pt x="18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54"/>
                </a:lnTo>
                <a:lnTo>
                  <a:pt x="6" y="60"/>
                </a:lnTo>
                <a:lnTo>
                  <a:pt x="6" y="60"/>
                </a:lnTo>
                <a:lnTo>
                  <a:pt x="0" y="6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58" name="Freeform 391"/>
          <p:cNvSpPr>
            <a:spLocks/>
          </p:cNvSpPr>
          <p:nvPr/>
        </p:nvSpPr>
        <p:spPr bwMode="auto">
          <a:xfrm>
            <a:off x="7102392" y="4385544"/>
            <a:ext cx="64240" cy="70665"/>
          </a:xfrm>
          <a:custGeom>
            <a:avLst/>
            <a:gdLst>
              <a:gd name="T0" fmla="*/ 0 w 60"/>
              <a:gd name="T1" fmla="*/ 54 h 66"/>
              <a:gd name="T2" fmla="*/ 0 w 60"/>
              <a:gd name="T3" fmla="*/ 54 h 66"/>
              <a:gd name="T4" fmla="*/ 0 w 60"/>
              <a:gd name="T5" fmla="*/ 54 h 66"/>
              <a:gd name="T6" fmla="*/ 0 w 60"/>
              <a:gd name="T7" fmla="*/ 48 h 66"/>
              <a:gd name="T8" fmla="*/ 0 w 60"/>
              <a:gd name="T9" fmla="*/ 48 h 66"/>
              <a:gd name="T10" fmla="*/ 6 w 60"/>
              <a:gd name="T11" fmla="*/ 48 h 66"/>
              <a:gd name="T12" fmla="*/ 6 w 60"/>
              <a:gd name="T13" fmla="*/ 42 h 66"/>
              <a:gd name="T14" fmla="*/ 6 w 60"/>
              <a:gd name="T15" fmla="*/ 42 h 66"/>
              <a:gd name="T16" fmla="*/ 12 w 60"/>
              <a:gd name="T17" fmla="*/ 42 h 66"/>
              <a:gd name="T18" fmla="*/ 18 w 60"/>
              <a:gd name="T19" fmla="*/ 36 h 66"/>
              <a:gd name="T20" fmla="*/ 24 w 60"/>
              <a:gd name="T21" fmla="*/ 36 h 66"/>
              <a:gd name="T22" fmla="*/ 30 w 60"/>
              <a:gd name="T23" fmla="*/ 36 h 66"/>
              <a:gd name="T24" fmla="*/ 24 w 60"/>
              <a:gd name="T25" fmla="*/ 30 h 66"/>
              <a:gd name="T26" fmla="*/ 24 w 60"/>
              <a:gd name="T27" fmla="*/ 30 h 66"/>
              <a:gd name="T28" fmla="*/ 24 w 60"/>
              <a:gd name="T29" fmla="*/ 24 h 66"/>
              <a:gd name="T30" fmla="*/ 18 w 60"/>
              <a:gd name="T31" fmla="*/ 18 h 66"/>
              <a:gd name="T32" fmla="*/ 18 w 60"/>
              <a:gd name="T33" fmla="*/ 18 h 66"/>
              <a:gd name="T34" fmla="*/ 18 w 60"/>
              <a:gd name="T35" fmla="*/ 12 h 66"/>
              <a:gd name="T36" fmla="*/ 18 w 60"/>
              <a:gd name="T37" fmla="*/ 12 h 66"/>
              <a:gd name="T38" fmla="*/ 18 w 60"/>
              <a:gd name="T39" fmla="*/ 6 h 66"/>
              <a:gd name="T40" fmla="*/ 24 w 60"/>
              <a:gd name="T41" fmla="*/ 6 h 66"/>
              <a:gd name="T42" fmla="*/ 30 w 60"/>
              <a:gd name="T43" fmla="*/ 6 h 66"/>
              <a:gd name="T44" fmla="*/ 36 w 60"/>
              <a:gd name="T45" fmla="*/ 0 h 66"/>
              <a:gd name="T46" fmla="*/ 42 w 60"/>
              <a:gd name="T47" fmla="*/ 0 h 66"/>
              <a:gd name="T48" fmla="*/ 48 w 60"/>
              <a:gd name="T49" fmla="*/ 6 h 66"/>
              <a:gd name="T50" fmla="*/ 48 w 60"/>
              <a:gd name="T51" fmla="*/ 6 h 66"/>
              <a:gd name="T52" fmla="*/ 54 w 60"/>
              <a:gd name="T53" fmla="*/ 6 h 66"/>
              <a:gd name="T54" fmla="*/ 60 w 60"/>
              <a:gd name="T55" fmla="*/ 6 h 66"/>
              <a:gd name="T56" fmla="*/ 54 w 60"/>
              <a:gd name="T57" fmla="*/ 18 h 66"/>
              <a:gd name="T58" fmla="*/ 54 w 60"/>
              <a:gd name="T59" fmla="*/ 18 h 66"/>
              <a:gd name="T60" fmla="*/ 54 w 60"/>
              <a:gd name="T61" fmla="*/ 24 h 66"/>
              <a:gd name="T62" fmla="*/ 54 w 60"/>
              <a:gd name="T63" fmla="*/ 24 h 66"/>
              <a:gd name="T64" fmla="*/ 54 w 60"/>
              <a:gd name="T65" fmla="*/ 30 h 66"/>
              <a:gd name="T66" fmla="*/ 54 w 60"/>
              <a:gd name="T67" fmla="*/ 36 h 66"/>
              <a:gd name="T68" fmla="*/ 54 w 60"/>
              <a:gd name="T69" fmla="*/ 36 h 66"/>
              <a:gd name="T70" fmla="*/ 54 w 60"/>
              <a:gd name="T71" fmla="*/ 36 h 66"/>
              <a:gd name="T72" fmla="*/ 54 w 60"/>
              <a:gd name="T73" fmla="*/ 48 h 66"/>
              <a:gd name="T74" fmla="*/ 48 w 60"/>
              <a:gd name="T75" fmla="*/ 48 h 66"/>
              <a:gd name="T76" fmla="*/ 48 w 60"/>
              <a:gd name="T77" fmla="*/ 54 h 66"/>
              <a:gd name="T78" fmla="*/ 48 w 60"/>
              <a:gd name="T79" fmla="*/ 54 h 66"/>
              <a:gd name="T80" fmla="*/ 42 w 60"/>
              <a:gd name="T81" fmla="*/ 54 h 66"/>
              <a:gd name="T82" fmla="*/ 42 w 60"/>
              <a:gd name="T83" fmla="*/ 60 h 66"/>
              <a:gd name="T84" fmla="*/ 42 w 60"/>
              <a:gd name="T85" fmla="*/ 60 h 66"/>
              <a:gd name="T86" fmla="*/ 42 w 60"/>
              <a:gd name="T87" fmla="*/ 66 h 66"/>
              <a:gd name="T88" fmla="*/ 36 w 60"/>
              <a:gd name="T89" fmla="*/ 66 h 66"/>
              <a:gd name="T90" fmla="*/ 30 w 60"/>
              <a:gd name="T91" fmla="*/ 66 h 66"/>
              <a:gd name="T92" fmla="*/ 24 w 60"/>
              <a:gd name="T93" fmla="*/ 66 h 66"/>
              <a:gd name="T94" fmla="*/ 24 w 60"/>
              <a:gd name="T95" fmla="*/ 66 h 66"/>
              <a:gd name="T96" fmla="*/ 24 w 60"/>
              <a:gd name="T97" fmla="*/ 66 h 66"/>
              <a:gd name="T98" fmla="*/ 18 w 60"/>
              <a:gd name="T99" fmla="*/ 60 h 66"/>
              <a:gd name="T100" fmla="*/ 12 w 60"/>
              <a:gd name="T101" fmla="*/ 60 h 66"/>
              <a:gd name="T102" fmla="*/ 12 w 60"/>
              <a:gd name="T103" fmla="*/ 60 h 66"/>
              <a:gd name="T104" fmla="*/ 6 w 60"/>
              <a:gd name="T105" fmla="*/ 60 h 66"/>
              <a:gd name="T106" fmla="*/ 0 w 60"/>
              <a:gd name="T107" fmla="*/ 60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60" h="66">
                <a:moveTo>
                  <a:pt x="0" y="60"/>
                </a:moveTo>
                <a:lnTo>
                  <a:pt x="0" y="60"/>
                </a:lnTo>
                <a:lnTo>
                  <a:pt x="0" y="60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12" y="42"/>
                </a:lnTo>
                <a:lnTo>
                  <a:pt x="12" y="42"/>
                </a:lnTo>
                <a:lnTo>
                  <a:pt x="6" y="42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12" y="42"/>
                </a:lnTo>
                <a:lnTo>
                  <a:pt x="12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30" y="36"/>
                </a:lnTo>
                <a:lnTo>
                  <a:pt x="30" y="36"/>
                </a:lnTo>
                <a:lnTo>
                  <a:pt x="30" y="30"/>
                </a:lnTo>
                <a:lnTo>
                  <a:pt x="24" y="36"/>
                </a:lnTo>
                <a:lnTo>
                  <a:pt x="24" y="36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18" y="24"/>
                </a:lnTo>
                <a:lnTo>
                  <a:pt x="18" y="24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2" y="18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42" y="0"/>
                </a:lnTo>
                <a:lnTo>
                  <a:pt x="42" y="0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42"/>
                </a:lnTo>
                <a:lnTo>
                  <a:pt x="54" y="42"/>
                </a:lnTo>
                <a:lnTo>
                  <a:pt x="54" y="48"/>
                </a:lnTo>
                <a:lnTo>
                  <a:pt x="54" y="48"/>
                </a:lnTo>
                <a:lnTo>
                  <a:pt x="54" y="42"/>
                </a:lnTo>
                <a:lnTo>
                  <a:pt x="48" y="42"/>
                </a:lnTo>
                <a:lnTo>
                  <a:pt x="54" y="48"/>
                </a:lnTo>
                <a:lnTo>
                  <a:pt x="48" y="48"/>
                </a:lnTo>
                <a:lnTo>
                  <a:pt x="48" y="48"/>
                </a:lnTo>
                <a:lnTo>
                  <a:pt x="54" y="48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59" name="Freeform 392"/>
          <p:cNvSpPr>
            <a:spLocks/>
          </p:cNvSpPr>
          <p:nvPr/>
        </p:nvSpPr>
        <p:spPr bwMode="auto">
          <a:xfrm>
            <a:off x="7025303" y="3884464"/>
            <a:ext cx="89937" cy="128482"/>
          </a:xfrm>
          <a:custGeom>
            <a:avLst/>
            <a:gdLst>
              <a:gd name="T0" fmla="*/ 6 w 84"/>
              <a:gd name="T1" fmla="*/ 78 h 120"/>
              <a:gd name="T2" fmla="*/ 12 w 84"/>
              <a:gd name="T3" fmla="*/ 72 h 120"/>
              <a:gd name="T4" fmla="*/ 12 w 84"/>
              <a:gd name="T5" fmla="*/ 66 h 120"/>
              <a:gd name="T6" fmla="*/ 18 w 84"/>
              <a:gd name="T7" fmla="*/ 60 h 120"/>
              <a:gd name="T8" fmla="*/ 18 w 84"/>
              <a:gd name="T9" fmla="*/ 48 h 120"/>
              <a:gd name="T10" fmla="*/ 12 w 84"/>
              <a:gd name="T11" fmla="*/ 42 h 120"/>
              <a:gd name="T12" fmla="*/ 18 w 84"/>
              <a:gd name="T13" fmla="*/ 36 h 120"/>
              <a:gd name="T14" fmla="*/ 18 w 84"/>
              <a:gd name="T15" fmla="*/ 30 h 120"/>
              <a:gd name="T16" fmla="*/ 24 w 84"/>
              <a:gd name="T17" fmla="*/ 24 h 120"/>
              <a:gd name="T18" fmla="*/ 30 w 84"/>
              <a:gd name="T19" fmla="*/ 24 h 120"/>
              <a:gd name="T20" fmla="*/ 30 w 84"/>
              <a:gd name="T21" fmla="*/ 12 h 120"/>
              <a:gd name="T22" fmla="*/ 30 w 84"/>
              <a:gd name="T23" fmla="*/ 6 h 120"/>
              <a:gd name="T24" fmla="*/ 36 w 84"/>
              <a:gd name="T25" fmla="*/ 0 h 120"/>
              <a:gd name="T26" fmla="*/ 42 w 84"/>
              <a:gd name="T27" fmla="*/ 6 h 120"/>
              <a:gd name="T28" fmla="*/ 42 w 84"/>
              <a:gd name="T29" fmla="*/ 12 h 120"/>
              <a:gd name="T30" fmla="*/ 48 w 84"/>
              <a:gd name="T31" fmla="*/ 18 h 120"/>
              <a:gd name="T32" fmla="*/ 60 w 84"/>
              <a:gd name="T33" fmla="*/ 24 h 120"/>
              <a:gd name="T34" fmla="*/ 66 w 84"/>
              <a:gd name="T35" fmla="*/ 30 h 120"/>
              <a:gd name="T36" fmla="*/ 66 w 84"/>
              <a:gd name="T37" fmla="*/ 42 h 120"/>
              <a:gd name="T38" fmla="*/ 60 w 84"/>
              <a:gd name="T39" fmla="*/ 48 h 120"/>
              <a:gd name="T40" fmla="*/ 60 w 84"/>
              <a:gd name="T41" fmla="*/ 48 h 120"/>
              <a:gd name="T42" fmla="*/ 60 w 84"/>
              <a:gd name="T43" fmla="*/ 54 h 120"/>
              <a:gd name="T44" fmla="*/ 60 w 84"/>
              <a:gd name="T45" fmla="*/ 60 h 120"/>
              <a:gd name="T46" fmla="*/ 60 w 84"/>
              <a:gd name="T47" fmla="*/ 60 h 120"/>
              <a:gd name="T48" fmla="*/ 60 w 84"/>
              <a:gd name="T49" fmla="*/ 66 h 120"/>
              <a:gd name="T50" fmla="*/ 66 w 84"/>
              <a:gd name="T51" fmla="*/ 66 h 120"/>
              <a:gd name="T52" fmla="*/ 78 w 84"/>
              <a:gd name="T53" fmla="*/ 72 h 120"/>
              <a:gd name="T54" fmla="*/ 78 w 84"/>
              <a:gd name="T55" fmla="*/ 78 h 120"/>
              <a:gd name="T56" fmla="*/ 84 w 84"/>
              <a:gd name="T57" fmla="*/ 84 h 120"/>
              <a:gd name="T58" fmla="*/ 84 w 84"/>
              <a:gd name="T59" fmla="*/ 90 h 120"/>
              <a:gd name="T60" fmla="*/ 84 w 84"/>
              <a:gd name="T61" fmla="*/ 96 h 120"/>
              <a:gd name="T62" fmla="*/ 78 w 84"/>
              <a:gd name="T63" fmla="*/ 96 h 120"/>
              <a:gd name="T64" fmla="*/ 78 w 84"/>
              <a:gd name="T65" fmla="*/ 102 h 120"/>
              <a:gd name="T66" fmla="*/ 72 w 84"/>
              <a:gd name="T67" fmla="*/ 108 h 120"/>
              <a:gd name="T68" fmla="*/ 66 w 84"/>
              <a:gd name="T69" fmla="*/ 120 h 120"/>
              <a:gd name="T70" fmla="*/ 60 w 84"/>
              <a:gd name="T71" fmla="*/ 114 h 120"/>
              <a:gd name="T72" fmla="*/ 60 w 84"/>
              <a:gd name="T73" fmla="*/ 114 h 120"/>
              <a:gd name="T74" fmla="*/ 54 w 84"/>
              <a:gd name="T75" fmla="*/ 114 h 120"/>
              <a:gd name="T76" fmla="*/ 54 w 84"/>
              <a:gd name="T77" fmla="*/ 114 h 120"/>
              <a:gd name="T78" fmla="*/ 54 w 84"/>
              <a:gd name="T79" fmla="*/ 114 h 120"/>
              <a:gd name="T80" fmla="*/ 48 w 84"/>
              <a:gd name="T81" fmla="*/ 114 h 120"/>
              <a:gd name="T82" fmla="*/ 42 w 84"/>
              <a:gd name="T83" fmla="*/ 108 h 120"/>
              <a:gd name="T84" fmla="*/ 42 w 84"/>
              <a:gd name="T85" fmla="*/ 102 h 120"/>
              <a:gd name="T86" fmla="*/ 36 w 84"/>
              <a:gd name="T87" fmla="*/ 102 h 120"/>
              <a:gd name="T88" fmla="*/ 30 w 84"/>
              <a:gd name="T89" fmla="*/ 102 h 120"/>
              <a:gd name="T90" fmla="*/ 30 w 84"/>
              <a:gd name="T91" fmla="*/ 102 h 120"/>
              <a:gd name="T92" fmla="*/ 30 w 84"/>
              <a:gd name="T93" fmla="*/ 102 h 120"/>
              <a:gd name="T94" fmla="*/ 30 w 84"/>
              <a:gd name="T95" fmla="*/ 102 h 120"/>
              <a:gd name="T96" fmla="*/ 24 w 84"/>
              <a:gd name="T97" fmla="*/ 102 h 120"/>
              <a:gd name="T98" fmla="*/ 24 w 84"/>
              <a:gd name="T99" fmla="*/ 96 h 120"/>
              <a:gd name="T100" fmla="*/ 18 w 84"/>
              <a:gd name="T101" fmla="*/ 96 h 120"/>
              <a:gd name="T102" fmla="*/ 18 w 84"/>
              <a:gd name="T103" fmla="*/ 96 h 120"/>
              <a:gd name="T104" fmla="*/ 12 w 84"/>
              <a:gd name="T105" fmla="*/ 96 h 120"/>
              <a:gd name="T106" fmla="*/ 12 w 84"/>
              <a:gd name="T107" fmla="*/ 90 h 120"/>
              <a:gd name="T108" fmla="*/ 6 w 84"/>
              <a:gd name="T109" fmla="*/ 90 h 120"/>
              <a:gd name="T110" fmla="*/ 0 w 84"/>
              <a:gd name="T111" fmla="*/ 84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84" h="120">
                <a:moveTo>
                  <a:pt x="0" y="84"/>
                </a:moveTo>
                <a:lnTo>
                  <a:pt x="6" y="84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12" y="78"/>
                </a:lnTo>
                <a:lnTo>
                  <a:pt x="12" y="78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2" y="66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54"/>
                </a:lnTo>
                <a:lnTo>
                  <a:pt x="18" y="48"/>
                </a:lnTo>
                <a:lnTo>
                  <a:pt x="18" y="48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24"/>
                </a:lnTo>
                <a:lnTo>
                  <a:pt x="18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2"/>
                </a:lnTo>
                <a:lnTo>
                  <a:pt x="30" y="12"/>
                </a:lnTo>
                <a:lnTo>
                  <a:pt x="30" y="6"/>
                </a:lnTo>
                <a:lnTo>
                  <a:pt x="30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6" y="24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6"/>
                </a:lnTo>
                <a:lnTo>
                  <a:pt x="66" y="36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0" y="42"/>
                </a:lnTo>
                <a:lnTo>
                  <a:pt x="60" y="42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8" y="72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102"/>
                </a:lnTo>
                <a:lnTo>
                  <a:pt x="72" y="102"/>
                </a:lnTo>
                <a:lnTo>
                  <a:pt x="78" y="102"/>
                </a:lnTo>
                <a:lnTo>
                  <a:pt x="72" y="102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66" y="108"/>
                </a:lnTo>
                <a:lnTo>
                  <a:pt x="72" y="114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20"/>
                </a:lnTo>
                <a:lnTo>
                  <a:pt x="54" y="120"/>
                </a:lnTo>
                <a:lnTo>
                  <a:pt x="54" y="120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48" y="114"/>
                </a:lnTo>
                <a:lnTo>
                  <a:pt x="48" y="114"/>
                </a:lnTo>
                <a:lnTo>
                  <a:pt x="48" y="114"/>
                </a:lnTo>
                <a:lnTo>
                  <a:pt x="48" y="114"/>
                </a:lnTo>
                <a:lnTo>
                  <a:pt x="42" y="114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2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24" y="102"/>
                </a:lnTo>
                <a:lnTo>
                  <a:pt x="30" y="102"/>
                </a:lnTo>
                <a:lnTo>
                  <a:pt x="30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96"/>
                </a:lnTo>
                <a:lnTo>
                  <a:pt x="18" y="96"/>
                </a:lnTo>
                <a:lnTo>
                  <a:pt x="18" y="102"/>
                </a:lnTo>
                <a:lnTo>
                  <a:pt x="18" y="102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2" y="96"/>
                </a:lnTo>
                <a:lnTo>
                  <a:pt x="18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60" name="Freeform 393"/>
          <p:cNvSpPr>
            <a:spLocks/>
          </p:cNvSpPr>
          <p:nvPr/>
        </p:nvSpPr>
        <p:spPr bwMode="auto">
          <a:xfrm>
            <a:off x="7295114" y="4282758"/>
            <a:ext cx="167025" cy="115634"/>
          </a:xfrm>
          <a:custGeom>
            <a:avLst/>
            <a:gdLst>
              <a:gd name="T0" fmla="*/ 0 w 156"/>
              <a:gd name="T1" fmla="*/ 60 h 108"/>
              <a:gd name="T2" fmla="*/ 12 w 156"/>
              <a:gd name="T3" fmla="*/ 54 h 108"/>
              <a:gd name="T4" fmla="*/ 18 w 156"/>
              <a:gd name="T5" fmla="*/ 54 h 108"/>
              <a:gd name="T6" fmla="*/ 24 w 156"/>
              <a:gd name="T7" fmla="*/ 48 h 108"/>
              <a:gd name="T8" fmla="*/ 30 w 156"/>
              <a:gd name="T9" fmla="*/ 48 h 108"/>
              <a:gd name="T10" fmla="*/ 42 w 156"/>
              <a:gd name="T11" fmla="*/ 54 h 108"/>
              <a:gd name="T12" fmla="*/ 54 w 156"/>
              <a:gd name="T13" fmla="*/ 48 h 108"/>
              <a:gd name="T14" fmla="*/ 60 w 156"/>
              <a:gd name="T15" fmla="*/ 42 h 108"/>
              <a:gd name="T16" fmla="*/ 66 w 156"/>
              <a:gd name="T17" fmla="*/ 36 h 108"/>
              <a:gd name="T18" fmla="*/ 66 w 156"/>
              <a:gd name="T19" fmla="*/ 30 h 108"/>
              <a:gd name="T20" fmla="*/ 78 w 156"/>
              <a:gd name="T21" fmla="*/ 24 h 108"/>
              <a:gd name="T22" fmla="*/ 90 w 156"/>
              <a:gd name="T23" fmla="*/ 24 h 108"/>
              <a:gd name="T24" fmla="*/ 96 w 156"/>
              <a:gd name="T25" fmla="*/ 24 h 108"/>
              <a:gd name="T26" fmla="*/ 96 w 156"/>
              <a:gd name="T27" fmla="*/ 18 h 108"/>
              <a:gd name="T28" fmla="*/ 108 w 156"/>
              <a:gd name="T29" fmla="*/ 12 h 108"/>
              <a:gd name="T30" fmla="*/ 114 w 156"/>
              <a:gd name="T31" fmla="*/ 12 h 108"/>
              <a:gd name="T32" fmla="*/ 120 w 156"/>
              <a:gd name="T33" fmla="*/ 12 h 108"/>
              <a:gd name="T34" fmla="*/ 132 w 156"/>
              <a:gd name="T35" fmla="*/ 6 h 108"/>
              <a:gd name="T36" fmla="*/ 132 w 156"/>
              <a:gd name="T37" fmla="*/ 0 h 108"/>
              <a:gd name="T38" fmla="*/ 144 w 156"/>
              <a:gd name="T39" fmla="*/ 0 h 108"/>
              <a:gd name="T40" fmla="*/ 144 w 156"/>
              <a:gd name="T41" fmla="*/ 6 h 108"/>
              <a:gd name="T42" fmla="*/ 144 w 156"/>
              <a:gd name="T43" fmla="*/ 6 h 108"/>
              <a:gd name="T44" fmla="*/ 150 w 156"/>
              <a:gd name="T45" fmla="*/ 12 h 108"/>
              <a:gd name="T46" fmla="*/ 156 w 156"/>
              <a:gd name="T47" fmla="*/ 12 h 108"/>
              <a:gd name="T48" fmla="*/ 144 w 156"/>
              <a:gd name="T49" fmla="*/ 18 h 108"/>
              <a:gd name="T50" fmla="*/ 138 w 156"/>
              <a:gd name="T51" fmla="*/ 18 h 108"/>
              <a:gd name="T52" fmla="*/ 138 w 156"/>
              <a:gd name="T53" fmla="*/ 24 h 108"/>
              <a:gd name="T54" fmla="*/ 132 w 156"/>
              <a:gd name="T55" fmla="*/ 24 h 108"/>
              <a:gd name="T56" fmla="*/ 132 w 156"/>
              <a:gd name="T57" fmla="*/ 30 h 108"/>
              <a:gd name="T58" fmla="*/ 132 w 156"/>
              <a:gd name="T59" fmla="*/ 36 h 108"/>
              <a:gd name="T60" fmla="*/ 132 w 156"/>
              <a:gd name="T61" fmla="*/ 42 h 108"/>
              <a:gd name="T62" fmla="*/ 126 w 156"/>
              <a:gd name="T63" fmla="*/ 48 h 108"/>
              <a:gd name="T64" fmla="*/ 120 w 156"/>
              <a:gd name="T65" fmla="*/ 48 h 108"/>
              <a:gd name="T66" fmla="*/ 114 w 156"/>
              <a:gd name="T67" fmla="*/ 54 h 108"/>
              <a:gd name="T68" fmla="*/ 108 w 156"/>
              <a:gd name="T69" fmla="*/ 54 h 108"/>
              <a:gd name="T70" fmla="*/ 108 w 156"/>
              <a:gd name="T71" fmla="*/ 66 h 108"/>
              <a:gd name="T72" fmla="*/ 96 w 156"/>
              <a:gd name="T73" fmla="*/ 66 h 108"/>
              <a:gd name="T74" fmla="*/ 96 w 156"/>
              <a:gd name="T75" fmla="*/ 72 h 108"/>
              <a:gd name="T76" fmla="*/ 90 w 156"/>
              <a:gd name="T77" fmla="*/ 72 h 108"/>
              <a:gd name="T78" fmla="*/ 84 w 156"/>
              <a:gd name="T79" fmla="*/ 78 h 108"/>
              <a:gd name="T80" fmla="*/ 84 w 156"/>
              <a:gd name="T81" fmla="*/ 84 h 108"/>
              <a:gd name="T82" fmla="*/ 66 w 156"/>
              <a:gd name="T83" fmla="*/ 90 h 108"/>
              <a:gd name="T84" fmla="*/ 60 w 156"/>
              <a:gd name="T85" fmla="*/ 96 h 108"/>
              <a:gd name="T86" fmla="*/ 54 w 156"/>
              <a:gd name="T87" fmla="*/ 96 h 108"/>
              <a:gd name="T88" fmla="*/ 48 w 156"/>
              <a:gd name="T89" fmla="*/ 102 h 108"/>
              <a:gd name="T90" fmla="*/ 36 w 156"/>
              <a:gd name="T91" fmla="*/ 102 h 108"/>
              <a:gd name="T92" fmla="*/ 24 w 156"/>
              <a:gd name="T93" fmla="*/ 108 h 108"/>
              <a:gd name="T94" fmla="*/ 18 w 156"/>
              <a:gd name="T95" fmla="*/ 108 h 108"/>
              <a:gd name="T96" fmla="*/ 12 w 156"/>
              <a:gd name="T97" fmla="*/ 102 h 108"/>
              <a:gd name="T98" fmla="*/ 12 w 156"/>
              <a:gd name="T99" fmla="*/ 102 h 108"/>
              <a:gd name="T100" fmla="*/ 12 w 156"/>
              <a:gd name="T101" fmla="*/ 96 h 108"/>
              <a:gd name="T102" fmla="*/ 6 w 156"/>
              <a:gd name="T103" fmla="*/ 90 h 108"/>
              <a:gd name="T104" fmla="*/ 6 w 156"/>
              <a:gd name="T105" fmla="*/ 84 h 108"/>
              <a:gd name="T106" fmla="*/ 6 w 156"/>
              <a:gd name="T107" fmla="*/ 78 h 108"/>
              <a:gd name="T108" fmla="*/ 6 w 156"/>
              <a:gd name="T109" fmla="*/ 72 h 108"/>
              <a:gd name="T110" fmla="*/ 0 w 156"/>
              <a:gd name="T111" fmla="*/ 66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56" h="108">
                <a:moveTo>
                  <a:pt x="0" y="66"/>
                </a:move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0"/>
                </a:lnTo>
                <a:lnTo>
                  <a:pt x="0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8" y="54"/>
                </a:lnTo>
                <a:lnTo>
                  <a:pt x="18" y="54"/>
                </a:lnTo>
                <a:lnTo>
                  <a:pt x="24" y="54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6" y="24"/>
                </a:lnTo>
                <a:lnTo>
                  <a:pt x="96" y="24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102" y="18"/>
                </a:lnTo>
                <a:lnTo>
                  <a:pt x="96" y="18"/>
                </a:lnTo>
                <a:lnTo>
                  <a:pt x="96" y="18"/>
                </a:lnTo>
                <a:lnTo>
                  <a:pt x="102" y="18"/>
                </a:lnTo>
                <a:lnTo>
                  <a:pt x="102" y="12"/>
                </a:lnTo>
                <a:lnTo>
                  <a:pt x="102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0"/>
                </a:lnTo>
                <a:lnTo>
                  <a:pt x="132" y="0"/>
                </a:lnTo>
                <a:lnTo>
                  <a:pt x="138" y="0"/>
                </a:lnTo>
                <a:lnTo>
                  <a:pt x="132" y="0"/>
                </a:lnTo>
                <a:lnTo>
                  <a:pt x="138" y="0"/>
                </a:lnTo>
                <a:lnTo>
                  <a:pt x="138" y="0"/>
                </a:lnTo>
                <a:lnTo>
                  <a:pt x="138" y="0"/>
                </a:lnTo>
                <a:lnTo>
                  <a:pt x="138" y="0"/>
                </a:lnTo>
                <a:lnTo>
                  <a:pt x="138" y="0"/>
                </a:lnTo>
                <a:lnTo>
                  <a:pt x="138" y="0"/>
                </a:lnTo>
                <a:lnTo>
                  <a:pt x="144" y="0"/>
                </a:lnTo>
                <a:lnTo>
                  <a:pt x="144" y="0"/>
                </a:lnTo>
                <a:lnTo>
                  <a:pt x="144" y="0"/>
                </a:lnTo>
                <a:lnTo>
                  <a:pt x="144" y="0"/>
                </a:lnTo>
                <a:lnTo>
                  <a:pt x="144" y="0"/>
                </a:lnTo>
                <a:lnTo>
                  <a:pt x="144" y="0"/>
                </a:lnTo>
                <a:lnTo>
                  <a:pt x="144" y="0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12"/>
                </a:lnTo>
                <a:lnTo>
                  <a:pt x="144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0" y="18"/>
                </a:lnTo>
                <a:lnTo>
                  <a:pt x="150" y="12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8"/>
                </a:lnTo>
                <a:lnTo>
                  <a:pt x="132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48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60"/>
                </a:lnTo>
                <a:lnTo>
                  <a:pt x="108" y="60"/>
                </a:lnTo>
                <a:lnTo>
                  <a:pt x="102" y="60"/>
                </a:lnTo>
                <a:lnTo>
                  <a:pt x="108" y="60"/>
                </a:lnTo>
                <a:lnTo>
                  <a:pt x="102" y="60"/>
                </a:lnTo>
                <a:lnTo>
                  <a:pt x="108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84" y="72"/>
                </a:lnTo>
                <a:lnTo>
                  <a:pt x="84" y="72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84"/>
                </a:lnTo>
                <a:lnTo>
                  <a:pt x="84" y="84"/>
                </a:lnTo>
                <a:lnTo>
                  <a:pt x="78" y="84"/>
                </a:lnTo>
                <a:lnTo>
                  <a:pt x="78" y="84"/>
                </a:lnTo>
                <a:lnTo>
                  <a:pt x="72" y="84"/>
                </a:lnTo>
                <a:lnTo>
                  <a:pt x="72" y="90"/>
                </a:lnTo>
                <a:lnTo>
                  <a:pt x="72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2" y="108"/>
                </a:lnTo>
                <a:lnTo>
                  <a:pt x="18" y="108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6" y="96"/>
                </a:lnTo>
                <a:lnTo>
                  <a:pt x="6" y="96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0" y="66"/>
                </a:lnTo>
                <a:lnTo>
                  <a:pt x="0" y="6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61" name="Freeform 394"/>
          <p:cNvSpPr>
            <a:spLocks/>
          </p:cNvSpPr>
          <p:nvPr/>
        </p:nvSpPr>
        <p:spPr bwMode="auto">
          <a:xfrm>
            <a:off x="7153784" y="4359847"/>
            <a:ext cx="77089" cy="89937"/>
          </a:xfrm>
          <a:custGeom>
            <a:avLst/>
            <a:gdLst>
              <a:gd name="T0" fmla="*/ 6 w 72"/>
              <a:gd name="T1" fmla="*/ 66 h 84"/>
              <a:gd name="T2" fmla="*/ 6 w 72"/>
              <a:gd name="T3" fmla="*/ 60 h 84"/>
              <a:gd name="T4" fmla="*/ 6 w 72"/>
              <a:gd name="T5" fmla="*/ 60 h 84"/>
              <a:gd name="T6" fmla="*/ 6 w 72"/>
              <a:gd name="T7" fmla="*/ 54 h 84"/>
              <a:gd name="T8" fmla="*/ 6 w 72"/>
              <a:gd name="T9" fmla="*/ 48 h 84"/>
              <a:gd name="T10" fmla="*/ 6 w 72"/>
              <a:gd name="T11" fmla="*/ 48 h 84"/>
              <a:gd name="T12" fmla="*/ 6 w 72"/>
              <a:gd name="T13" fmla="*/ 42 h 84"/>
              <a:gd name="T14" fmla="*/ 6 w 72"/>
              <a:gd name="T15" fmla="*/ 36 h 84"/>
              <a:gd name="T16" fmla="*/ 6 w 72"/>
              <a:gd name="T17" fmla="*/ 30 h 84"/>
              <a:gd name="T18" fmla="*/ 6 w 72"/>
              <a:gd name="T19" fmla="*/ 30 h 84"/>
              <a:gd name="T20" fmla="*/ 12 w 72"/>
              <a:gd name="T21" fmla="*/ 24 h 84"/>
              <a:gd name="T22" fmla="*/ 12 w 72"/>
              <a:gd name="T23" fmla="*/ 18 h 84"/>
              <a:gd name="T24" fmla="*/ 6 w 72"/>
              <a:gd name="T25" fmla="*/ 12 h 84"/>
              <a:gd name="T26" fmla="*/ 6 w 72"/>
              <a:gd name="T27" fmla="*/ 12 h 84"/>
              <a:gd name="T28" fmla="*/ 0 w 72"/>
              <a:gd name="T29" fmla="*/ 6 h 84"/>
              <a:gd name="T30" fmla="*/ 0 w 72"/>
              <a:gd name="T31" fmla="*/ 6 h 84"/>
              <a:gd name="T32" fmla="*/ 6 w 72"/>
              <a:gd name="T33" fmla="*/ 6 h 84"/>
              <a:gd name="T34" fmla="*/ 12 w 72"/>
              <a:gd name="T35" fmla="*/ 6 h 84"/>
              <a:gd name="T36" fmla="*/ 12 w 72"/>
              <a:gd name="T37" fmla="*/ 6 h 84"/>
              <a:gd name="T38" fmla="*/ 18 w 72"/>
              <a:gd name="T39" fmla="*/ 6 h 84"/>
              <a:gd name="T40" fmla="*/ 18 w 72"/>
              <a:gd name="T41" fmla="*/ 6 h 84"/>
              <a:gd name="T42" fmla="*/ 24 w 72"/>
              <a:gd name="T43" fmla="*/ 6 h 84"/>
              <a:gd name="T44" fmla="*/ 30 w 72"/>
              <a:gd name="T45" fmla="*/ 6 h 84"/>
              <a:gd name="T46" fmla="*/ 30 w 72"/>
              <a:gd name="T47" fmla="*/ 6 h 84"/>
              <a:gd name="T48" fmla="*/ 36 w 72"/>
              <a:gd name="T49" fmla="*/ 0 h 84"/>
              <a:gd name="T50" fmla="*/ 36 w 72"/>
              <a:gd name="T51" fmla="*/ 0 h 84"/>
              <a:gd name="T52" fmla="*/ 36 w 72"/>
              <a:gd name="T53" fmla="*/ 6 h 84"/>
              <a:gd name="T54" fmla="*/ 36 w 72"/>
              <a:gd name="T55" fmla="*/ 6 h 84"/>
              <a:gd name="T56" fmla="*/ 36 w 72"/>
              <a:gd name="T57" fmla="*/ 12 h 84"/>
              <a:gd name="T58" fmla="*/ 36 w 72"/>
              <a:gd name="T59" fmla="*/ 18 h 84"/>
              <a:gd name="T60" fmla="*/ 48 w 72"/>
              <a:gd name="T61" fmla="*/ 18 h 84"/>
              <a:gd name="T62" fmla="*/ 54 w 72"/>
              <a:gd name="T63" fmla="*/ 12 h 84"/>
              <a:gd name="T64" fmla="*/ 54 w 72"/>
              <a:gd name="T65" fmla="*/ 12 h 84"/>
              <a:gd name="T66" fmla="*/ 60 w 72"/>
              <a:gd name="T67" fmla="*/ 12 h 84"/>
              <a:gd name="T68" fmla="*/ 60 w 72"/>
              <a:gd name="T69" fmla="*/ 18 h 84"/>
              <a:gd name="T70" fmla="*/ 54 w 72"/>
              <a:gd name="T71" fmla="*/ 24 h 84"/>
              <a:gd name="T72" fmla="*/ 54 w 72"/>
              <a:gd name="T73" fmla="*/ 24 h 84"/>
              <a:gd name="T74" fmla="*/ 60 w 72"/>
              <a:gd name="T75" fmla="*/ 24 h 84"/>
              <a:gd name="T76" fmla="*/ 60 w 72"/>
              <a:gd name="T77" fmla="*/ 30 h 84"/>
              <a:gd name="T78" fmla="*/ 54 w 72"/>
              <a:gd name="T79" fmla="*/ 30 h 84"/>
              <a:gd name="T80" fmla="*/ 60 w 72"/>
              <a:gd name="T81" fmla="*/ 36 h 84"/>
              <a:gd name="T82" fmla="*/ 60 w 72"/>
              <a:gd name="T83" fmla="*/ 42 h 84"/>
              <a:gd name="T84" fmla="*/ 66 w 72"/>
              <a:gd name="T85" fmla="*/ 42 h 84"/>
              <a:gd name="T86" fmla="*/ 66 w 72"/>
              <a:gd name="T87" fmla="*/ 48 h 84"/>
              <a:gd name="T88" fmla="*/ 72 w 72"/>
              <a:gd name="T89" fmla="*/ 54 h 84"/>
              <a:gd name="T90" fmla="*/ 60 w 72"/>
              <a:gd name="T91" fmla="*/ 54 h 84"/>
              <a:gd name="T92" fmla="*/ 54 w 72"/>
              <a:gd name="T93" fmla="*/ 60 h 84"/>
              <a:gd name="T94" fmla="*/ 48 w 72"/>
              <a:gd name="T95" fmla="*/ 60 h 84"/>
              <a:gd name="T96" fmla="*/ 48 w 72"/>
              <a:gd name="T97" fmla="*/ 66 h 84"/>
              <a:gd name="T98" fmla="*/ 42 w 72"/>
              <a:gd name="T99" fmla="*/ 66 h 84"/>
              <a:gd name="T100" fmla="*/ 36 w 72"/>
              <a:gd name="T101" fmla="*/ 72 h 84"/>
              <a:gd name="T102" fmla="*/ 36 w 72"/>
              <a:gd name="T103" fmla="*/ 78 h 84"/>
              <a:gd name="T104" fmla="*/ 24 w 72"/>
              <a:gd name="T105" fmla="*/ 78 h 84"/>
              <a:gd name="T106" fmla="*/ 18 w 72"/>
              <a:gd name="T107" fmla="*/ 84 h 84"/>
              <a:gd name="T108" fmla="*/ 18 w 72"/>
              <a:gd name="T109" fmla="*/ 84 h 84"/>
              <a:gd name="T110" fmla="*/ 6 w 72"/>
              <a:gd name="T111" fmla="*/ 84 h 84"/>
              <a:gd name="T112" fmla="*/ 12 w 72"/>
              <a:gd name="T113" fmla="*/ 78 h 84"/>
              <a:gd name="T114" fmla="*/ 6 w 72"/>
              <a:gd name="T115" fmla="*/ 78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72" h="84">
                <a:moveTo>
                  <a:pt x="0" y="72"/>
                </a:moveTo>
                <a:lnTo>
                  <a:pt x="0" y="72"/>
                </a:lnTo>
                <a:lnTo>
                  <a:pt x="6" y="72"/>
                </a:lnTo>
                <a:lnTo>
                  <a:pt x="0" y="66"/>
                </a:lnTo>
                <a:lnTo>
                  <a:pt x="6" y="66"/>
                </a:ln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6" y="66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0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18"/>
                </a:lnTo>
                <a:lnTo>
                  <a:pt x="12" y="18"/>
                </a:lnTo>
                <a:lnTo>
                  <a:pt x="6" y="18"/>
                </a:lnTo>
                <a:lnTo>
                  <a:pt x="12" y="18"/>
                </a:lnTo>
                <a:lnTo>
                  <a:pt x="6" y="18"/>
                </a:lnTo>
                <a:lnTo>
                  <a:pt x="6" y="18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0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42" y="18"/>
                </a:lnTo>
                <a:lnTo>
                  <a:pt x="42" y="12"/>
                </a:lnTo>
                <a:lnTo>
                  <a:pt x="42" y="12"/>
                </a:lnTo>
                <a:lnTo>
                  <a:pt x="48" y="12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60" y="18"/>
                </a:lnTo>
                <a:lnTo>
                  <a:pt x="60" y="12"/>
                </a:lnTo>
                <a:lnTo>
                  <a:pt x="60" y="12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24"/>
                </a:lnTo>
                <a:lnTo>
                  <a:pt x="54" y="24"/>
                </a:lnTo>
                <a:lnTo>
                  <a:pt x="60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60" y="24"/>
                </a:lnTo>
                <a:lnTo>
                  <a:pt x="60" y="24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54" y="30"/>
                </a:lnTo>
                <a:lnTo>
                  <a:pt x="54" y="30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42"/>
                </a:lnTo>
                <a:lnTo>
                  <a:pt x="60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72" y="48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66" y="54"/>
                </a:lnTo>
                <a:lnTo>
                  <a:pt x="66" y="60"/>
                </a:lnTo>
                <a:lnTo>
                  <a:pt x="66" y="54"/>
                </a:lnTo>
                <a:lnTo>
                  <a:pt x="66" y="54"/>
                </a:lnTo>
                <a:lnTo>
                  <a:pt x="60" y="54"/>
                </a:lnTo>
                <a:lnTo>
                  <a:pt x="60" y="54"/>
                </a:lnTo>
                <a:lnTo>
                  <a:pt x="60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54" y="60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2" y="66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36" y="72"/>
                </a:lnTo>
                <a:lnTo>
                  <a:pt x="36" y="72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24" y="78"/>
                </a:lnTo>
                <a:lnTo>
                  <a:pt x="24" y="78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18" y="84"/>
                </a:lnTo>
                <a:lnTo>
                  <a:pt x="18" y="84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2"/>
                </a:lnTo>
                <a:lnTo>
                  <a:pt x="0" y="7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62" name="Freeform 395"/>
          <p:cNvSpPr>
            <a:spLocks/>
          </p:cNvSpPr>
          <p:nvPr/>
        </p:nvSpPr>
        <p:spPr bwMode="auto">
          <a:xfrm>
            <a:off x="6440715" y="4038643"/>
            <a:ext cx="83513" cy="89937"/>
          </a:xfrm>
          <a:custGeom>
            <a:avLst/>
            <a:gdLst>
              <a:gd name="T0" fmla="*/ 6 w 78"/>
              <a:gd name="T1" fmla="*/ 48 h 84"/>
              <a:gd name="T2" fmla="*/ 12 w 78"/>
              <a:gd name="T3" fmla="*/ 36 h 84"/>
              <a:gd name="T4" fmla="*/ 12 w 78"/>
              <a:gd name="T5" fmla="*/ 24 h 84"/>
              <a:gd name="T6" fmla="*/ 6 w 78"/>
              <a:gd name="T7" fmla="*/ 12 h 84"/>
              <a:gd name="T8" fmla="*/ 18 w 78"/>
              <a:gd name="T9" fmla="*/ 6 h 84"/>
              <a:gd name="T10" fmla="*/ 24 w 78"/>
              <a:gd name="T11" fmla="*/ 0 h 84"/>
              <a:gd name="T12" fmla="*/ 24 w 78"/>
              <a:gd name="T13" fmla="*/ 0 h 84"/>
              <a:gd name="T14" fmla="*/ 30 w 78"/>
              <a:gd name="T15" fmla="*/ 0 h 84"/>
              <a:gd name="T16" fmla="*/ 30 w 78"/>
              <a:gd name="T17" fmla="*/ 0 h 84"/>
              <a:gd name="T18" fmla="*/ 30 w 78"/>
              <a:gd name="T19" fmla="*/ 6 h 84"/>
              <a:gd name="T20" fmla="*/ 30 w 78"/>
              <a:gd name="T21" fmla="*/ 6 h 84"/>
              <a:gd name="T22" fmla="*/ 36 w 78"/>
              <a:gd name="T23" fmla="*/ 12 h 84"/>
              <a:gd name="T24" fmla="*/ 36 w 78"/>
              <a:gd name="T25" fmla="*/ 12 h 84"/>
              <a:gd name="T26" fmla="*/ 36 w 78"/>
              <a:gd name="T27" fmla="*/ 12 h 84"/>
              <a:gd name="T28" fmla="*/ 42 w 78"/>
              <a:gd name="T29" fmla="*/ 12 h 84"/>
              <a:gd name="T30" fmla="*/ 42 w 78"/>
              <a:gd name="T31" fmla="*/ 12 h 84"/>
              <a:gd name="T32" fmla="*/ 48 w 78"/>
              <a:gd name="T33" fmla="*/ 12 h 84"/>
              <a:gd name="T34" fmla="*/ 48 w 78"/>
              <a:gd name="T35" fmla="*/ 18 h 84"/>
              <a:gd name="T36" fmla="*/ 54 w 78"/>
              <a:gd name="T37" fmla="*/ 18 h 84"/>
              <a:gd name="T38" fmla="*/ 60 w 78"/>
              <a:gd name="T39" fmla="*/ 24 h 84"/>
              <a:gd name="T40" fmla="*/ 60 w 78"/>
              <a:gd name="T41" fmla="*/ 24 h 84"/>
              <a:gd name="T42" fmla="*/ 66 w 78"/>
              <a:gd name="T43" fmla="*/ 24 h 84"/>
              <a:gd name="T44" fmla="*/ 66 w 78"/>
              <a:gd name="T45" fmla="*/ 24 h 84"/>
              <a:gd name="T46" fmla="*/ 72 w 78"/>
              <a:gd name="T47" fmla="*/ 30 h 84"/>
              <a:gd name="T48" fmla="*/ 72 w 78"/>
              <a:gd name="T49" fmla="*/ 30 h 84"/>
              <a:gd name="T50" fmla="*/ 78 w 78"/>
              <a:gd name="T51" fmla="*/ 30 h 84"/>
              <a:gd name="T52" fmla="*/ 78 w 78"/>
              <a:gd name="T53" fmla="*/ 36 h 84"/>
              <a:gd name="T54" fmla="*/ 78 w 78"/>
              <a:gd name="T55" fmla="*/ 42 h 84"/>
              <a:gd name="T56" fmla="*/ 78 w 78"/>
              <a:gd name="T57" fmla="*/ 48 h 84"/>
              <a:gd name="T58" fmla="*/ 78 w 78"/>
              <a:gd name="T59" fmla="*/ 48 h 84"/>
              <a:gd name="T60" fmla="*/ 72 w 78"/>
              <a:gd name="T61" fmla="*/ 54 h 84"/>
              <a:gd name="T62" fmla="*/ 72 w 78"/>
              <a:gd name="T63" fmla="*/ 60 h 84"/>
              <a:gd name="T64" fmla="*/ 72 w 78"/>
              <a:gd name="T65" fmla="*/ 72 h 84"/>
              <a:gd name="T66" fmla="*/ 66 w 78"/>
              <a:gd name="T67" fmla="*/ 78 h 84"/>
              <a:gd name="T68" fmla="*/ 66 w 78"/>
              <a:gd name="T69" fmla="*/ 84 h 84"/>
              <a:gd name="T70" fmla="*/ 54 w 78"/>
              <a:gd name="T71" fmla="*/ 84 h 84"/>
              <a:gd name="T72" fmla="*/ 54 w 78"/>
              <a:gd name="T73" fmla="*/ 84 h 84"/>
              <a:gd name="T74" fmla="*/ 42 w 78"/>
              <a:gd name="T75" fmla="*/ 78 h 84"/>
              <a:gd name="T76" fmla="*/ 42 w 78"/>
              <a:gd name="T77" fmla="*/ 78 h 84"/>
              <a:gd name="T78" fmla="*/ 36 w 78"/>
              <a:gd name="T79" fmla="*/ 72 h 84"/>
              <a:gd name="T80" fmla="*/ 30 w 78"/>
              <a:gd name="T81" fmla="*/ 72 h 84"/>
              <a:gd name="T82" fmla="*/ 30 w 78"/>
              <a:gd name="T83" fmla="*/ 72 h 84"/>
              <a:gd name="T84" fmla="*/ 24 w 78"/>
              <a:gd name="T85" fmla="*/ 72 h 84"/>
              <a:gd name="T86" fmla="*/ 18 w 78"/>
              <a:gd name="T87" fmla="*/ 72 h 84"/>
              <a:gd name="T88" fmla="*/ 18 w 78"/>
              <a:gd name="T89" fmla="*/ 66 h 84"/>
              <a:gd name="T90" fmla="*/ 12 w 78"/>
              <a:gd name="T91" fmla="*/ 66 h 84"/>
              <a:gd name="T92" fmla="*/ 6 w 78"/>
              <a:gd name="T93" fmla="*/ 66 h 84"/>
              <a:gd name="T94" fmla="*/ 6 w 78"/>
              <a:gd name="T95" fmla="*/ 66 h 84"/>
              <a:gd name="T96" fmla="*/ 0 w 78"/>
              <a:gd name="T97" fmla="*/ 66 h 84"/>
              <a:gd name="T98" fmla="*/ 0 w 78"/>
              <a:gd name="T99" fmla="*/ 60 h 84"/>
              <a:gd name="T100" fmla="*/ 0 w 78"/>
              <a:gd name="T101" fmla="*/ 6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78" h="84">
                <a:moveTo>
                  <a:pt x="0" y="54"/>
                </a:moveTo>
                <a:lnTo>
                  <a:pt x="0" y="54"/>
                </a:lnTo>
                <a:lnTo>
                  <a:pt x="0" y="54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0"/>
                </a:lnTo>
                <a:lnTo>
                  <a:pt x="12" y="30"/>
                </a:lnTo>
                <a:lnTo>
                  <a:pt x="12" y="24"/>
                </a:lnTo>
                <a:lnTo>
                  <a:pt x="12" y="24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12" y="12"/>
                </a:lnTo>
                <a:lnTo>
                  <a:pt x="12" y="12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2" y="42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54"/>
                </a:lnTo>
                <a:lnTo>
                  <a:pt x="78" y="54"/>
                </a:lnTo>
                <a:lnTo>
                  <a:pt x="72" y="54"/>
                </a:lnTo>
                <a:lnTo>
                  <a:pt x="72" y="54"/>
                </a:lnTo>
                <a:lnTo>
                  <a:pt x="78" y="54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72"/>
                </a:lnTo>
                <a:lnTo>
                  <a:pt x="66" y="72"/>
                </a:lnTo>
                <a:lnTo>
                  <a:pt x="66" y="72"/>
                </a:lnTo>
                <a:lnTo>
                  <a:pt x="72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48" y="84"/>
                </a:lnTo>
                <a:lnTo>
                  <a:pt x="48" y="84"/>
                </a:lnTo>
                <a:lnTo>
                  <a:pt x="48" y="78"/>
                </a:lnTo>
                <a:lnTo>
                  <a:pt x="42" y="84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36" y="78"/>
                </a:lnTo>
                <a:lnTo>
                  <a:pt x="36" y="78"/>
                </a:lnTo>
                <a:lnTo>
                  <a:pt x="36" y="72"/>
                </a:lnTo>
                <a:lnTo>
                  <a:pt x="36" y="72"/>
                </a:lnTo>
                <a:lnTo>
                  <a:pt x="36" y="78"/>
                </a:lnTo>
                <a:lnTo>
                  <a:pt x="36" y="78"/>
                </a:lnTo>
                <a:lnTo>
                  <a:pt x="36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0"/>
                </a:lnTo>
                <a:lnTo>
                  <a:pt x="0" y="60"/>
                </a:lnTo>
                <a:lnTo>
                  <a:pt x="0" y="66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5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63" name="Freeform 396"/>
          <p:cNvSpPr>
            <a:spLocks/>
          </p:cNvSpPr>
          <p:nvPr/>
        </p:nvSpPr>
        <p:spPr bwMode="auto">
          <a:xfrm>
            <a:off x="6639860" y="3858768"/>
            <a:ext cx="70665" cy="102786"/>
          </a:xfrm>
          <a:custGeom>
            <a:avLst/>
            <a:gdLst>
              <a:gd name="T0" fmla="*/ 6 w 66"/>
              <a:gd name="T1" fmla="*/ 36 h 96"/>
              <a:gd name="T2" fmla="*/ 6 w 66"/>
              <a:gd name="T3" fmla="*/ 30 h 96"/>
              <a:gd name="T4" fmla="*/ 12 w 66"/>
              <a:gd name="T5" fmla="*/ 24 h 96"/>
              <a:gd name="T6" fmla="*/ 6 w 66"/>
              <a:gd name="T7" fmla="*/ 18 h 96"/>
              <a:gd name="T8" fmla="*/ 6 w 66"/>
              <a:gd name="T9" fmla="*/ 12 h 96"/>
              <a:gd name="T10" fmla="*/ 6 w 66"/>
              <a:gd name="T11" fmla="*/ 6 h 96"/>
              <a:gd name="T12" fmla="*/ 6 w 66"/>
              <a:gd name="T13" fmla="*/ 0 h 96"/>
              <a:gd name="T14" fmla="*/ 18 w 66"/>
              <a:gd name="T15" fmla="*/ 12 h 96"/>
              <a:gd name="T16" fmla="*/ 24 w 66"/>
              <a:gd name="T17" fmla="*/ 12 h 96"/>
              <a:gd name="T18" fmla="*/ 36 w 66"/>
              <a:gd name="T19" fmla="*/ 12 h 96"/>
              <a:gd name="T20" fmla="*/ 48 w 66"/>
              <a:gd name="T21" fmla="*/ 12 h 96"/>
              <a:gd name="T22" fmla="*/ 54 w 66"/>
              <a:gd name="T23" fmla="*/ 12 h 96"/>
              <a:gd name="T24" fmla="*/ 60 w 66"/>
              <a:gd name="T25" fmla="*/ 24 h 96"/>
              <a:gd name="T26" fmla="*/ 60 w 66"/>
              <a:gd name="T27" fmla="*/ 30 h 96"/>
              <a:gd name="T28" fmla="*/ 54 w 66"/>
              <a:gd name="T29" fmla="*/ 36 h 96"/>
              <a:gd name="T30" fmla="*/ 54 w 66"/>
              <a:gd name="T31" fmla="*/ 36 h 96"/>
              <a:gd name="T32" fmla="*/ 60 w 66"/>
              <a:gd name="T33" fmla="*/ 36 h 96"/>
              <a:gd name="T34" fmla="*/ 66 w 66"/>
              <a:gd name="T35" fmla="*/ 42 h 96"/>
              <a:gd name="T36" fmla="*/ 66 w 66"/>
              <a:gd name="T37" fmla="*/ 42 h 96"/>
              <a:gd name="T38" fmla="*/ 66 w 66"/>
              <a:gd name="T39" fmla="*/ 48 h 96"/>
              <a:gd name="T40" fmla="*/ 66 w 66"/>
              <a:gd name="T41" fmla="*/ 54 h 96"/>
              <a:gd name="T42" fmla="*/ 60 w 66"/>
              <a:gd name="T43" fmla="*/ 54 h 96"/>
              <a:gd name="T44" fmla="*/ 60 w 66"/>
              <a:gd name="T45" fmla="*/ 60 h 96"/>
              <a:gd name="T46" fmla="*/ 60 w 66"/>
              <a:gd name="T47" fmla="*/ 66 h 96"/>
              <a:gd name="T48" fmla="*/ 54 w 66"/>
              <a:gd name="T49" fmla="*/ 72 h 96"/>
              <a:gd name="T50" fmla="*/ 54 w 66"/>
              <a:gd name="T51" fmla="*/ 78 h 96"/>
              <a:gd name="T52" fmla="*/ 48 w 66"/>
              <a:gd name="T53" fmla="*/ 84 h 96"/>
              <a:gd name="T54" fmla="*/ 48 w 66"/>
              <a:gd name="T55" fmla="*/ 90 h 96"/>
              <a:gd name="T56" fmla="*/ 42 w 66"/>
              <a:gd name="T57" fmla="*/ 90 h 96"/>
              <a:gd name="T58" fmla="*/ 42 w 66"/>
              <a:gd name="T59" fmla="*/ 90 h 96"/>
              <a:gd name="T60" fmla="*/ 36 w 66"/>
              <a:gd name="T61" fmla="*/ 96 h 96"/>
              <a:gd name="T62" fmla="*/ 36 w 66"/>
              <a:gd name="T63" fmla="*/ 96 h 96"/>
              <a:gd name="T64" fmla="*/ 30 w 66"/>
              <a:gd name="T65" fmla="*/ 90 h 96"/>
              <a:gd name="T66" fmla="*/ 30 w 66"/>
              <a:gd name="T67" fmla="*/ 90 h 96"/>
              <a:gd name="T68" fmla="*/ 24 w 66"/>
              <a:gd name="T69" fmla="*/ 90 h 96"/>
              <a:gd name="T70" fmla="*/ 18 w 66"/>
              <a:gd name="T71" fmla="*/ 90 h 96"/>
              <a:gd name="T72" fmla="*/ 18 w 66"/>
              <a:gd name="T73" fmla="*/ 90 h 96"/>
              <a:gd name="T74" fmla="*/ 12 w 66"/>
              <a:gd name="T75" fmla="*/ 90 h 96"/>
              <a:gd name="T76" fmla="*/ 12 w 66"/>
              <a:gd name="T77" fmla="*/ 90 h 96"/>
              <a:gd name="T78" fmla="*/ 12 w 66"/>
              <a:gd name="T79" fmla="*/ 84 h 96"/>
              <a:gd name="T80" fmla="*/ 6 w 66"/>
              <a:gd name="T81" fmla="*/ 84 h 96"/>
              <a:gd name="T82" fmla="*/ 6 w 66"/>
              <a:gd name="T83" fmla="*/ 78 h 96"/>
              <a:gd name="T84" fmla="*/ 6 w 66"/>
              <a:gd name="T85" fmla="*/ 72 h 96"/>
              <a:gd name="T86" fmla="*/ 6 w 66"/>
              <a:gd name="T87" fmla="*/ 66 h 96"/>
              <a:gd name="T88" fmla="*/ 6 w 66"/>
              <a:gd name="T89" fmla="*/ 54 h 96"/>
              <a:gd name="T90" fmla="*/ 6 w 66"/>
              <a:gd name="T91" fmla="*/ 54 h 96"/>
              <a:gd name="T92" fmla="*/ 6 w 66"/>
              <a:gd name="T93" fmla="*/ 48 h 96"/>
              <a:gd name="T94" fmla="*/ 0 w 66"/>
              <a:gd name="T95" fmla="*/ 42 h 96"/>
              <a:gd name="T96" fmla="*/ 0 w 66"/>
              <a:gd name="T97" fmla="*/ 3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66" h="96">
                <a:moveTo>
                  <a:pt x="0" y="36"/>
                </a:moveTo>
                <a:lnTo>
                  <a:pt x="0" y="36"/>
                </a:lnTo>
                <a:lnTo>
                  <a:pt x="0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12" y="30"/>
                </a:lnTo>
                <a:lnTo>
                  <a:pt x="12" y="30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0"/>
                </a:lnTo>
                <a:lnTo>
                  <a:pt x="12" y="6"/>
                </a:lnTo>
                <a:lnTo>
                  <a:pt x="12" y="6"/>
                </a:lnTo>
                <a:lnTo>
                  <a:pt x="18" y="12"/>
                </a:lnTo>
                <a:lnTo>
                  <a:pt x="18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30" y="12"/>
                </a:lnTo>
                <a:lnTo>
                  <a:pt x="36" y="12"/>
                </a:lnTo>
                <a:lnTo>
                  <a:pt x="36" y="12"/>
                </a:lnTo>
                <a:lnTo>
                  <a:pt x="42" y="12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24"/>
                </a:lnTo>
                <a:lnTo>
                  <a:pt x="60" y="24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60" y="42"/>
                </a:lnTo>
                <a:lnTo>
                  <a:pt x="60" y="36"/>
                </a:lnTo>
                <a:lnTo>
                  <a:pt x="60" y="42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42"/>
                </a:lnTo>
                <a:lnTo>
                  <a:pt x="66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6" y="42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54" y="66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48" y="78"/>
                </a:lnTo>
                <a:lnTo>
                  <a:pt x="48" y="84"/>
                </a:lnTo>
                <a:lnTo>
                  <a:pt x="48" y="84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0"/>
                </a:lnTo>
                <a:lnTo>
                  <a:pt x="36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6"/>
                </a:lnTo>
                <a:lnTo>
                  <a:pt x="6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64" name="Freeform 397"/>
          <p:cNvSpPr>
            <a:spLocks/>
          </p:cNvSpPr>
          <p:nvPr/>
        </p:nvSpPr>
        <p:spPr bwMode="auto">
          <a:xfrm>
            <a:off x="6903247" y="3897313"/>
            <a:ext cx="141329" cy="122058"/>
          </a:xfrm>
          <a:custGeom>
            <a:avLst/>
            <a:gdLst>
              <a:gd name="T0" fmla="*/ 6 w 132"/>
              <a:gd name="T1" fmla="*/ 12 h 114"/>
              <a:gd name="T2" fmla="*/ 18 w 132"/>
              <a:gd name="T3" fmla="*/ 12 h 114"/>
              <a:gd name="T4" fmla="*/ 36 w 132"/>
              <a:gd name="T5" fmla="*/ 12 h 114"/>
              <a:gd name="T6" fmla="*/ 42 w 132"/>
              <a:gd name="T7" fmla="*/ 6 h 114"/>
              <a:gd name="T8" fmla="*/ 48 w 132"/>
              <a:gd name="T9" fmla="*/ 12 h 114"/>
              <a:gd name="T10" fmla="*/ 54 w 132"/>
              <a:gd name="T11" fmla="*/ 12 h 114"/>
              <a:gd name="T12" fmla="*/ 48 w 132"/>
              <a:gd name="T13" fmla="*/ 0 h 114"/>
              <a:gd name="T14" fmla="*/ 54 w 132"/>
              <a:gd name="T15" fmla="*/ 0 h 114"/>
              <a:gd name="T16" fmla="*/ 60 w 132"/>
              <a:gd name="T17" fmla="*/ 6 h 114"/>
              <a:gd name="T18" fmla="*/ 66 w 132"/>
              <a:gd name="T19" fmla="*/ 12 h 114"/>
              <a:gd name="T20" fmla="*/ 78 w 132"/>
              <a:gd name="T21" fmla="*/ 12 h 114"/>
              <a:gd name="T22" fmla="*/ 84 w 132"/>
              <a:gd name="T23" fmla="*/ 0 h 114"/>
              <a:gd name="T24" fmla="*/ 90 w 132"/>
              <a:gd name="T25" fmla="*/ 6 h 114"/>
              <a:gd name="T26" fmla="*/ 96 w 132"/>
              <a:gd name="T27" fmla="*/ 12 h 114"/>
              <a:gd name="T28" fmla="*/ 90 w 132"/>
              <a:gd name="T29" fmla="*/ 24 h 114"/>
              <a:gd name="T30" fmla="*/ 90 w 132"/>
              <a:gd name="T31" fmla="*/ 24 h 114"/>
              <a:gd name="T32" fmla="*/ 84 w 132"/>
              <a:gd name="T33" fmla="*/ 30 h 114"/>
              <a:gd name="T34" fmla="*/ 84 w 132"/>
              <a:gd name="T35" fmla="*/ 30 h 114"/>
              <a:gd name="T36" fmla="*/ 78 w 132"/>
              <a:gd name="T37" fmla="*/ 42 h 114"/>
              <a:gd name="T38" fmla="*/ 84 w 132"/>
              <a:gd name="T39" fmla="*/ 42 h 114"/>
              <a:gd name="T40" fmla="*/ 84 w 132"/>
              <a:gd name="T41" fmla="*/ 42 h 114"/>
              <a:gd name="T42" fmla="*/ 90 w 132"/>
              <a:gd name="T43" fmla="*/ 42 h 114"/>
              <a:gd name="T44" fmla="*/ 90 w 132"/>
              <a:gd name="T45" fmla="*/ 48 h 114"/>
              <a:gd name="T46" fmla="*/ 96 w 132"/>
              <a:gd name="T47" fmla="*/ 48 h 114"/>
              <a:gd name="T48" fmla="*/ 96 w 132"/>
              <a:gd name="T49" fmla="*/ 54 h 114"/>
              <a:gd name="T50" fmla="*/ 102 w 132"/>
              <a:gd name="T51" fmla="*/ 60 h 114"/>
              <a:gd name="T52" fmla="*/ 108 w 132"/>
              <a:gd name="T53" fmla="*/ 66 h 114"/>
              <a:gd name="T54" fmla="*/ 108 w 132"/>
              <a:gd name="T55" fmla="*/ 72 h 114"/>
              <a:gd name="T56" fmla="*/ 114 w 132"/>
              <a:gd name="T57" fmla="*/ 72 h 114"/>
              <a:gd name="T58" fmla="*/ 120 w 132"/>
              <a:gd name="T59" fmla="*/ 72 h 114"/>
              <a:gd name="T60" fmla="*/ 126 w 132"/>
              <a:gd name="T61" fmla="*/ 78 h 114"/>
              <a:gd name="T62" fmla="*/ 126 w 132"/>
              <a:gd name="T63" fmla="*/ 78 h 114"/>
              <a:gd name="T64" fmla="*/ 132 w 132"/>
              <a:gd name="T65" fmla="*/ 84 h 114"/>
              <a:gd name="T66" fmla="*/ 132 w 132"/>
              <a:gd name="T67" fmla="*/ 84 h 114"/>
              <a:gd name="T68" fmla="*/ 132 w 132"/>
              <a:gd name="T69" fmla="*/ 84 h 114"/>
              <a:gd name="T70" fmla="*/ 126 w 132"/>
              <a:gd name="T71" fmla="*/ 96 h 114"/>
              <a:gd name="T72" fmla="*/ 126 w 132"/>
              <a:gd name="T73" fmla="*/ 102 h 114"/>
              <a:gd name="T74" fmla="*/ 120 w 132"/>
              <a:gd name="T75" fmla="*/ 102 h 114"/>
              <a:gd name="T76" fmla="*/ 108 w 132"/>
              <a:gd name="T77" fmla="*/ 108 h 114"/>
              <a:gd name="T78" fmla="*/ 102 w 132"/>
              <a:gd name="T79" fmla="*/ 114 h 114"/>
              <a:gd name="T80" fmla="*/ 96 w 132"/>
              <a:gd name="T81" fmla="*/ 108 h 114"/>
              <a:gd name="T82" fmla="*/ 84 w 132"/>
              <a:gd name="T83" fmla="*/ 108 h 114"/>
              <a:gd name="T84" fmla="*/ 78 w 132"/>
              <a:gd name="T85" fmla="*/ 114 h 114"/>
              <a:gd name="T86" fmla="*/ 72 w 132"/>
              <a:gd name="T87" fmla="*/ 114 h 114"/>
              <a:gd name="T88" fmla="*/ 60 w 132"/>
              <a:gd name="T89" fmla="*/ 108 h 114"/>
              <a:gd name="T90" fmla="*/ 54 w 132"/>
              <a:gd name="T91" fmla="*/ 108 h 114"/>
              <a:gd name="T92" fmla="*/ 48 w 132"/>
              <a:gd name="T93" fmla="*/ 102 h 114"/>
              <a:gd name="T94" fmla="*/ 48 w 132"/>
              <a:gd name="T95" fmla="*/ 90 h 114"/>
              <a:gd name="T96" fmla="*/ 42 w 132"/>
              <a:gd name="T97" fmla="*/ 90 h 114"/>
              <a:gd name="T98" fmla="*/ 36 w 132"/>
              <a:gd name="T99" fmla="*/ 84 h 114"/>
              <a:gd name="T100" fmla="*/ 30 w 132"/>
              <a:gd name="T101" fmla="*/ 90 h 114"/>
              <a:gd name="T102" fmla="*/ 24 w 132"/>
              <a:gd name="T103" fmla="*/ 90 h 114"/>
              <a:gd name="T104" fmla="*/ 18 w 132"/>
              <a:gd name="T105" fmla="*/ 78 h 114"/>
              <a:gd name="T106" fmla="*/ 18 w 132"/>
              <a:gd name="T107" fmla="*/ 72 h 114"/>
              <a:gd name="T108" fmla="*/ 24 w 132"/>
              <a:gd name="T109" fmla="*/ 66 h 114"/>
              <a:gd name="T110" fmla="*/ 36 w 132"/>
              <a:gd name="T111" fmla="*/ 66 h 114"/>
              <a:gd name="T112" fmla="*/ 30 w 132"/>
              <a:gd name="T113" fmla="*/ 60 h 114"/>
              <a:gd name="T114" fmla="*/ 18 w 132"/>
              <a:gd name="T115" fmla="*/ 48 h 114"/>
              <a:gd name="T116" fmla="*/ 18 w 132"/>
              <a:gd name="T117" fmla="*/ 30 h 114"/>
              <a:gd name="T118" fmla="*/ 6 w 132"/>
              <a:gd name="T119" fmla="*/ 24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32" h="114">
                <a:moveTo>
                  <a:pt x="0" y="18"/>
                </a:moveTo>
                <a:lnTo>
                  <a:pt x="0" y="18"/>
                </a:lnTo>
                <a:lnTo>
                  <a:pt x="0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8" y="12"/>
                </a:lnTo>
                <a:lnTo>
                  <a:pt x="24" y="12"/>
                </a:lnTo>
                <a:lnTo>
                  <a:pt x="24" y="12"/>
                </a:lnTo>
                <a:lnTo>
                  <a:pt x="30" y="6"/>
                </a:lnTo>
                <a:lnTo>
                  <a:pt x="30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12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48" y="6"/>
                </a:lnTo>
                <a:lnTo>
                  <a:pt x="48" y="6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90" y="0"/>
                </a:lnTo>
                <a:lnTo>
                  <a:pt x="90" y="6"/>
                </a:lnTo>
                <a:lnTo>
                  <a:pt x="90" y="6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8"/>
                </a:lnTo>
                <a:lnTo>
                  <a:pt x="96" y="18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6"/>
                </a:lnTo>
                <a:lnTo>
                  <a:pt x="78" y="36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6" y="48"/>
                </a:lnTo>
                <a:lnTo>
                  <a:pt x="96" y="54"/>
                </a:lnTo>
                <a:lnTo>
                  <a:pt x="96" y="48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102" y="54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6"/>
                </a:lnTo>
                <a:lnTo>
                  <a:pt x="102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20" y="72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32" y="84"/>
                </a:lnTo>
                <a:lnTo>
                  <a:pt x="126" y="84"/>
                </a:lnTo>
                <a:lnTo>
                  <a:pt x="132" y="84"/>
                </a:lnTo>
                <a:lnTo>
                  <a:pt x="132" y="84"/>
                </a:lnTo>
                <a:lnTo>
                  <a:pt x="132" y="84"/>
                </a:lnTo>
                <a:lnTo>
                  <a:pt x="132" y="84"/>
                </a:lnTo>
                <a:lnTo>
                  <a:pt x="132" y="84"/>
                </a:lnTo>
                <a:lnTo>
                  <a:pt x="132" y="84"/>
                </a:lnTo>
                <a:lnTo>
                  <a:pt x="132" y="84"/>
                </a:lnTo>
                <a:lnTo>
                  <a:pt x="132" y="84"/>
                </a:lnTo>
                <a:lnTo>
                  <a:pt x="132" y="84"/>
                </a:lnTo>
                <a:lnTo>
                  <a:pt x="126" y="90"/>
                </a:lnTo>
                <a:lnTo>
                  <a:pt x="126" y="90"/>
                </a:lnTo>
                <a:lnTo>
                  <a:pt x="126" y="90"/>
                </a:lnTo>
                <a:lnTo>
                  <a:pt x="126" y="96"/>
                </a:lnTo>
                <a:lnTo>
                  <a:pt x="126" y="96"/>
                </a:lnTo>
                <a:lnTo>
                  <a:pt x="126" y="96"/>
                </a:lnTo>
                <a:lnTo>
                  <a:pt x="126" y="96"/>
                </a:lnTo>
                <a:lnTo>
                  <a:pt x="126" y="102"/>
                </a:lnTo>
                <a:lnTo>
                  <a:pt x="126" y="102"/>
                </a:lnTo>
                <a:lnTo>
                  <a:pt x="126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14"/>
                </a:lnTo>
                <a:lnTo>
                  <a:pt x="108" y="108"/>
                </a:lnTo>
                <a:lnTo>
                  <a:pt x="108" y="108"/>
                </a:lnTo>
                <a:lnTo>
                  <a:pt x="102" y="114"/>
                </a:lnTo>
                <a:lnTo>
                  <a:pt x="102" y="114"/>
                </a:lnTo>
                <a:lnTo>
                  <a:pt x="96" y="108"/>
                </a:lnTo>
                <a:lnTo>
                  <a:pt x="96" y="114"/>
                </a:lnTo>
                <a:lnTo>
                  <a:pt x="96" y="114"/>
                </a:lnTo>
                <a:lnTo>
                  <a:pt x="96" y="108"/>
                </a:lnTo>
                <a:lnTo>
                  <a:pt x="96" y="108"/>
                </a:lnTo>
                <a:lnTo>
                  <a:pt x="90" y="108"/>
                </a:lnTo>
                <a:lnTo>
                  <a:pt x="90" y="114"/>
                </a:lnTo>
                <a:lnTo>
                  <a:pt x="90" y="108"/>
                </a:lnTo>
                <a:lnTo>
                  <a:pt x="84" y="108"/>
                </a:lnTo>
                <a:lnTo>
                  <a:pt x="84" y="108"/>
                </a:lnTo>
                <a:lnTo>
                  <a:pt x="78" y="108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54" y="108"/>
                </a:lnTo>
                <a:lnTo>
                  <a:pt x="54" y="108"/>
                </a:lnTo>
                <a:lnTo>
                  <a:pt x="48" y="102"/>
                </a:lnTo>
                <a:lnTo>
                  <a:pt x="48" y="102"/>
                </a:lnTo>
                <a:lnTo>
                  <a:pt x="54" y="102"/>
                </a:lnTo>
                <a:lnTo>
                  <a:pt x="54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78"/>
                </a:lnTo>
                <a:lnTo>
                  <a:pt x="18" y="78"/>
                </a:lnTo>
                <a:lnTo>
                  <a:pt x="12" y="78"/>
                </a:lnTo>
                <a:lnTo>
                  <a:pt x="12" y="78"/>
                </a:lnTo>
                <a:lnTo>
                  <a:pt x="12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24" y="72"/>
                </a:lnTo>
                <a:lnTo>
                  <a:pt x="24" y="66"/>
                </a:lnTo>
                <a:lnTo>
                  <a:pt x="24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72"/>
                </a:lnTo>
                <a:lnTo>
                  <a:pt x="36" y="66"/>
                </a:lnTo>
                <a:lnTo>
                  <a:pt x="36" y="66"/>
                </a:lnTo>
                <a:lnTo>
                  <a:pt x="30" y="66"/>
                </a:lnTo>
                <a:lnTo>
                  <a:pt x="30" y="66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24" y="54"/>
                </a:lnTo>
                <a:lnTo>
                  <a:pt x="24" y="54"/>
                </a:lnTo>
                <a:lnTo>
                  <a:pt x="18" y="48"/>
                </a:lnTo>
                <a:lnTo>
                  <a:pt x="18" y="42"/>
                </a:lnTo>
                <a:lnTo>
                  <a:pt x="18" y="42"/>
                </a:lnTo>
                <a:lnTo>
                  <a:pt x="18" y="36"/>
                </a:lnTo>
                <a:lnTo>
                  <a:pt x="18" y="36"/>
                </a:lnTo>
                <a:lnTo>
                  <a:pt x="18" y="30"/>
                </a:lnTo>
                <a:lnTo>
                  <a:pt x="18" y="30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6" y="24"/>
                </a:lnTo>
                <a:lnTo>
                  <a:pt x="6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65" name="Freeform 398"/>
          <p:cNvSpPr>
            <a:spLocks/>
          </p:cNvSpPr>
          <p:nvPr/>
        </p:nvSpPr>
        <p:spPr bwMode="auto">
          <a:xfrm>
            <a:off x="6961063" y="4391968"/>
            <a:ext cx="173449" cy="77089"/>
          </a:xfrm>
          <a:custGeom>
            <a:avLst/>
            <a:gdLst>
              <a:gd name="T0" fmla="*/ 6 w 162"/>
              <a:gd name="T1" fmla="*/ 30 h 72"/>
              <a:gd name="T2" fmla="*/ 12 w 162"/>
              <a:gd name="T3" fmla="*/ 30 h 72"/>
              <a:gd name="T4" fmla="*/ 24 w 162"/>
              <a:gd name="T5" fmla="*/ 24 h 72"/>
              <a:gd name="T6" fmla="*/ 30 w 162"/>
              <a:gd name="T7" fmla="*/ 18 h 72"/>
              <a:gd name="T8" fmla="*/ 36 w 162"/>
              <a:gd name="T9" fmla="*/ 18 h 72"/>
              <a:gd name="T10" fmla="*/ 42 w 162"/>
              <a:gd name="T11" fmla="*/ 24 h 72"/>
              <a:gd name="T12" fmla="*/ 54 w 162"/>
              <a:gd name="T13" fmla="*/ 24 h 72"/>
              <a:gd name="T14" fmla="*/ 60 w 162"/>
              <a:gd name="T15" fmla="*/ 18 h 72"/>
              <a:gd name="T16" fmla="*/ 66 w 162"/>
              <a:gd name="T17" fmla="*/ 18 h 72"/>
              <a:gd name="T18" fmla="*/ 72 w 162"/>
              <a:gd name="T19" fmla="*/ 18 h 72"/>
              <a:gd name="T20" fmla="*/ 78 w 162"/>
              <a:gd name="T21" fmla="*/ 18 h 72"/>
              <a:gd name="T22" fmla="*/ 84 w 162"/>
              <a:gd name="T23" fmla="*/ 18 h 72"/>
              <a:gd name="T24" fmla="*/ 84 w 162"/>
              <a:gd name="T25" fmla="*/ 18 h 72"/>
              <a:gd name="T26" fmla="*/ 90 w 162"/>
              <a:gd name="T27" fmla="*/ 12 h 72"/>
              <a:gd name="T28" fmla="*/ 96 w 162"/>
              <a:gd name="T29" fmla="*/ 6 h 72"/>
              <a:gd name="T30" fmla="*/ 96 w 162"/>
              <a:gd name="T31" fmla="*/ 6 h 72"/>
              <a:gd name="T32" fmla="*/ 108 w 162"/>
              <a:gd name="T33" fmla="*/ 6 h 72"/>
              <a:gd name="T34" fmla="*/ 120 w 162"/>
              <a:gd name="T35" fmla="*/ 0 h 72"/>
              <a:gd name="T36" fmla="*/ 126 w 162"/>
              <a:gd name="T37" fmla="*/ 6 h 72"/>
              <a:gd name="T38" fmla="*/ 132 w 162"/>
              <a:gd name="T39" fmla="*/ 6 h 72"/>
              <a:gd name="T40" fmla="*/ 144 w 162"/>
              <a:gd name="T41" fmla="*/ 6 h 72"/>
              <a:gd name="T42" fmla="*/ 144 w 162"/>
              <a:gd name="T43" fmla="*/ 6 h 72"/>
              <a:gd name="T44" fmla="*/ 150 w 162"/>
              <a:gd name="T45" fmla="*/ 12 h 72"/>
              <a:gd name="T46" fmla="*/ 150 w 162"/>
              <a:gd name="T47" fmla="*/ 18 h 72"/>
              <a:gd name="T48" fmla="*/ 156 w 162"/>
              <a:gd name="T49" fmla="*/ 24 h 72"/>
              <a:gd name="T50" fmla="*/ 156 w 162"/>
              <a:gd name="T51" fmla="*/ 30 h 72"/>
              <a:gd name="T52" fmla="*/ 156 w 162"/>
              <a:gd name="T53" fmla="*/ 30 h 72"/>
              <a:gd name="T54" fmla="*/ 150 w 162"/>
              <a:gd name="T55" fmla="*/ 30 h 72"/>
              <a:gd name="T56" fmla="*/ 144 w 162"/>
              <a:gd name="T57" fmla="*/ 36 h 72"/>
              <a:gd name="T58" fmla="*/ 138 w 162"/>
              <a:gd name="T59" fmla="*/ 36 h 72"/>
              <a:gd name="T60" fmla="*/ 138 w 162"/>
              <a:gd name="T61" fmla="*/ 42 h 72"/>
              <a:gd name="T62" fmla="*/ 132 w 162"/>
              <a:gd name="T63" fmla="*/ 48 h 72"/>
              <a:gd name="T64" fmla="*/ 132 w 162"/>
              <a:gd name="T65" fmla="*/ 48 h 72"/>
              <a:gd name="T66" fmla="*/ 132 w 162"/>
              <a:gd name="T67" fmla="*/ 54 h 72"/>
              <a:gd name="T68" fmla="*/ 126 w 162"/>
              <a:gd name="T69" fmla="*/ 54 h 72"/>
              <a:gd name="T70" fmla="*/ 126 w 162"/>
              <a:gd name="T71" fmla="*/ 54 h 72"/>
              <a:gd name="T72" fmla="*/ 120 w 162"/>
              <a:gd name="T73" fmla="*/ 54 h 72"/>
              <a:gd name="T74" fmla="*/ 114 w 162"/>
              <a:gd name="T75" fmla="*/ 54 h 72"/>
              <a:gd name="T76" fmla="*/ 114 w 162"/>
              <a:gd name="T77" fmla="*/ 54 h 72"/>
              <a:gd name="T78" fmla="*/ 108 w 162"/>
              <a:gd name="T79" fmla="*/ 60 h 72"/>
              <a:gd name="T80" fmla="*/ 102 w 162"/>
              <a:gd name="T81" fmla="*/ 60 h 72"/>
              <a:gd name="T82" fmla="*/ 96 w 162"/>
              <a:gd name="T83" fmla="*/ 60 h 72"/>
              <a:gd name="T84" fmla="*/ 90 w 162"/>
              <a:gd name="T85" fmla="*/ 60 h 72"/>
              <a:gd name="T86" fmla="*/ 84 w 162"/>
              <a:gd name="T87" fmla="*/ 60 h 72"/>
              <a:gd name="T88" fmla="*/ 78 w 162"/>
              <a:gd name="T89" fmla="*/ 66 h 72"/>
              <a:gd name="T90" fmla="*/ 78 w 162"/>
              <a:gd name="T91" fmla="*/ 60 h 72"/>
              <a:gd name="T92" fmla="*/ 72 w 162"/>
              <a:gd name="T93" fmla="*/ 60 h 72"/>
              <a:gd name="T94" fmla="*/ 72 w 162"/>
              <a:gd name="T95" fmla="*/ 60 h 72"/>
              <a:gd name="T96" fmla="*/ 60 w 162"/>
              <a:gd name="T97" fmla="*/ 66 h 72"/>
              <a:gd name="T98" fmla="*/ 60 w 162"/>
              <a:gd name="T99" fmla="*/ 66 h 72"/>
              <a:gd name="T100" fmla="*/ 54 w 162"/>
              <a:gd name="T101" fmla="*/ 72 h 72"/>
              <a:gd name="T102" fmla="*/ 48 w 162"/>
              <a:gd name="T103" fmla="*/ 66 h 72"/>
              <a:gd name="T104" fmla="*/ 42 w 162"/>
              <a:gd name="T105" fmla="*/ 66 h 72"/>
              <a:gd name="T106" fmla="*/ 36 w 162"/>
              <a:gd name="T107" fmla="*/ 66 h 72"/>
              <a:gd name="T108" fmla="*/ 36 w 162"/>
              <a:gd name="T109" fmla="*/ 66 h 72"/>
              <a:gd name="T110" fmla="*/ 30 w 162"/>
              <a:gd name="T111" fmla="*/ 60 h 72"/>
              <a:gd name="T112" fmla="*/ 24 w 162"/>
              <a:gd name="T113" fmla="*/ 60 h 72"/>
              <a:gd name="T114" fmla="*/ 18 w 162"/>
              <a:gd name="T115" fmla="*/ 54 h 72"/>
              <a:gd name="T116" fmla="*/ 18 w 162"/>
              <a:gd name="T117" fmla="*/ 54 h 72"/>
              <a:gd name="T118" fmla="*/ 12 w 162"/>
              <a:gd name="T119" fmla="*/ 54 h 72"/>
              <a:gd name="T120" fmla="*/ 12 w 162"/>
              <a:gd name="T121" fmla="*/ 48 h 72"/>
              <a:gd name="T122" fmla="*/ 6 w 162"/>
              <a:gd name="T123" fmla="*/ 42 h 72"/>
              <a:gd name="T124" fmla="*/ 0 w 162"/>
              <a:gd name="T125" fmla="*/ 36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62" h="72">
                <a:moveTo>
                  <a:pt x="0" y="36"/>
                </a:moveTo>
                <a:lnTo>
                  <a:pt x="0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8" y="24"/>
                </a:lnTo>
                <a:lnTo>
                  <a:pt x="18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42" y="24"/>
                </a:lnTo>
                <a:lnTo>
                  <a:pt x="42" y="24"/>
                </a:lnTo>
                <a:lnTo>
                  <a:pt x="48" y="24"/>
                </a:lnTo>
                <a:lnTo>
                  <a:pt x="48" y="18"/>
                </a:lnTo>
                <a:lnTo>
                  <a:pt x="48" y="18"/>
                </a:lnTo>
                <a:lnTo>
                  <a:pt x="48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8" y="12"/>
                </a:lnTo>
                <a:lnTo>
                  <a:pt x="78" y="12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24"/>
                </a:lnTo>
                <a:lnTo>
                  <a:pt x="84" y="24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6" y="12"/>
                </a:lnTo>
                <a:lnTo>
                  <a:pt x="96" y="12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14" y="6"/>
                </a:lnTo>
                <a:lnTo>
                  <a:pt x="114" y="0"/>
                </a:lnTo>
                <a:lnTo>
                  <a:pt x="114" y="6"/>
                </a:lnTo>
                <a:lnTo>
                  <a:pt x="120" y="6"/>
                </a:lnTo>
                <a:lnTo>
                  <a:pt x="120" y="0"/>
                </a:lnTo>
                <a:lnTo>
                  <a:pt x="120" y="0"/>
                </a:lnTo>
                <a:lnTo>
                  <a:pt x="120" y="0"/>
                </a:lnTo>
                <a:lnTo>
                  <a:pt x="120" y="0"/>
                </a:lnTo>
                <a:lnTo>
                  <a:pt x="120" y="0"/>
                </a:lnTo>
                <a:lnTo>
                  <a:pt x="120" y="0"/>
                </a:lnTo>
                <a:lnTo>
                  <a:pt x="126" y="6"/>
                </a:lnTo>
                <a:lnTo>
                  <a:pt x="126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50" y="6"/>
                </a:lnTo>
                <a:lnTo>
                  <a:pt x="150" y="6"/>
                </a:lnTo>
                <a:lnTo>
                  <a:pt x="144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8"/>
                </a:lnTo>
                <a:lnTo>
                  <a:pt x="150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30"/>
                </a:lnTo>
                <a:lnTo>
                  <a:pt x="156" y="30"/>
                </a:lnTo>
                <a:lnTo>
                  <a:pt x="162" y="24"/>
                </a:lnTo>
                <a:lnTo>
                  <a:pt x="162" y="30"/>
                </a:lnTo>
                <a:lnTo>
                  <a:pt x="162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44" y="30"/>
                </a:lnTo>
                <a:lnTo>
                  <a:pt x="144" y="36"/>
                </a:lnTo>
                <a:lnTo>
                  <a:pt x="144" y="30"/>
                </a:lnTo>
                <a:lnTo>
                  <a:pt x="144" y="36"/>
                </a:lnTo>
                <a:lnTo>
                  <a:pt x="144" y="36"/>
                </a:lnTo>
                <a:lnTo>
                  <a:pt x="138" y="36"/>
                </a:lnTo>
                <a:lnTo>
                  <a:pt x="144" y="36"/>
                </a:lnTo>
                <a:lnTo>
                  <a:pt x="144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54"/>
                </a:lnTo>
                <a:lnTo>
                  <a:pt x="132" y="54"/>
                </a:lnTo>
                <a:lnTo>
                  <a:pt x="132" y="54"/>
                </a:lnTo>
                <a:lnTo>
                  <a:pt x="132" y="54"/>
                </a:lnTo>
                <a:lnTo>
                  <a:pt x="132" y="54"/>
                </a:lnTo>
                <a:lnTo>
                  <a:pt x="132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6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6"/>
                </a:lnTo>
                <a:lnTo>
                  <a:pt x="84" y="60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6"/>
                </a:lnTo>
                <a:lnTo>
                  <a:pt x="66" y="66"/>
                </a:lnTo>
                <a:lnTo>
                  <a:pt x="60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0" y="72"/>
                </a:lnTo>
                <a:lnTo>
                  <a:pt x="60" y="66"/>
                </a:lnTo>
                <a:lnTo>
                  <a:pt x="60" y="72"/>
                </a:lnTo>
                <a:lnTo>
                  <a:pt x="60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48" y="72"/>
                </a:lnTo>
                <a:lnTo>
                  <a:pt x="48" y="66"/>
                </a:lnTo>
                <a:lnTo>
                  <a:pt x="48" y="66"/>
                </a:lnTo>
                <a:lnTo>
                  <a:pt x="48" y="72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2" y="66"/>
                </a:lnTo>
                <a:lnTo>
                  <a:pt x="48" y="66"/>
                </a:lnTo>
                <a:lnTo>
                  <a:pt x="42" y="66"/>
                </a:lnTo>
                <a:lnTo>
                  <a:pt x="42" y="60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54"/>
                </a:lnTo>
                <a:lnTo>
                  <a:pt x="24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42"/>
                </a:lnTo>
                <a:lnTo>
                  <a:pt x="6" y="36"/>
                </a:lnTo>
                <a:lnTo>
                  <a:pt x="0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0" y="36"/>
                </a:lnTo>
                <a:lnTo>
                  <a:pt x="0" y="3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66" name="Freeform 399"/>
          <p:cNvSpPr>
            <a:spLocks/>
          </p:cNvSpPr>
          <p:nvPr/>
        </p:nvSpPr>
        <p:spPr bwMode="auto">
          <a:xfrm>
            <a:off x="6761917" y="4045067"/>
            <a:ext cx="102785" cy="77089"/>
          </a:xfrm>
          <a:custGeom>
            <a:avLst/>
            <a:gdLst>
              <a:gd name="T0" fmla="*/ 6 w 96"/>
              <a:gd name="T1" fmla="*/ 36 h 72"/>
              <a:gd name="T2" fmla="*/ 6 w 96"/>
              <a:gd name="T3" fmla="*/ 30 h 72"/>
              <a:gd name="T4" fmla="*/ 6 w 96"/>
              <a:gd name="T5" fmla="*/ 30 h 72"/>
              <a:gd name="T6" fmla="*/ 6 w 96"/>
              <a:gd name="T7" fmla="*/ 24 h 72"/>
              <a:gd name="T8" fmla="*/ 12 w 96"/>
              <a:gd name="T9" fmla="*/ 24 h 72"/>
              <a:gd name="T10" fmla="*/ 12 w 96"/>
              <a:gd name="T11" fmla="*/ 18 h 72"/>
              <a:gd name="T12" fmla="*/ 12 w 96"/>
              <a:gd name="T13" fmla="*/ 18 h 72"/>
              <a:gd name="T14" fmla="*/ 12 w 96"/>
              <a:gd name="T15" fmla="*/ 18 h 72"/>
              <a:gd name="T16" fmla="*/ 18 w 96"/>
              <a:gd name="T17" fmla="*/ 18 h 72"/>
              <a:gd name="T18" fmla="*/ 18 w 96"/>
              <a:gd name="T19" fmla="*/ 12 h 72"/>
              <a:gd name="T20" fmla="*/ 18 w 96"/>
              <a:gd name="T21" fmla="*/ 12 h 72"/>
              <a:gd name="T22" fmla="*/ 24 w 96"/>
              <a:gd name="T23" fmla="*/ 12 h 72"/>
              <a:gd name="T24" fmla="*/ 24 w 96"/>
              <a:gd name="T25" fmla="*/ 12 h 72"/>
              <a:gd name="T26" fmla="*/ 24 w 96"/>
              <a:gd name="T27" fmla="*/ 12 h 72"/>
              <a:gd name="T28" fmla="*/ 30 w 96"/>
              <a:gd name="T29" fmla="*/ 12 h 72"/>
              <a:gd name="T30" fmla="*/ 30 w 96"/>
              <a:gd name="T31" fmla="*/ 12 h 72"/>
              <a:gd name="T32" fmla="*/ 36 w 96"/>
              <a:gd name="T33" fmla="*/ 6 h 72"/>
              <a:gd name="T34" fmla="*/ 36 w 96"/>
              <a:gd name="T35" fmla="*/ 6 h 72"/>
              <a:gd name="T36" fmla="*/ 36 w 96"/>
              <a:gd name="T37" fmla="*/ 6 h 72"/>
              <a:gd name="T38" fmla="*/ 36 w 96"/>
              <a:gd name="T39" fmla="*/ 6 h 72"/>
              <a:gd name="T40" fmla="*/ 42 w 96"/>
              <a:gd name="T41" fmla="*/ 0 h 72"/>
              <a:gd name="T42" fmla="*/ 48 w 96"/>
              <a:gd name="T43" fmla="*/ 6 h 72"/>
              <a:gd name="T44" fmla="*/ 54 w 96"/>
              <a:gd name="T45" fmla="*/ 0 h 72"/>
              <a:gd name="T46" fmla="*/ 54 w 96"/>
              <a:gd name="T47" fmla="*/ 6 h 72"/>
              <a:gd name="T48" fmla="*/ 60 w 96"/>
              <a:gd name="T49" fmla="*/ 6 h 72"/>
              <a:gd name="T50" fmla="*/ 60 w 96"/>
              <a:gd name="T51" fmla="*/ 12 h 72"/>
              <a:gd name="T52" fmla="*/ 66 w 96"/>
              <a:gd name="T53" fmla="*/ 12 h 72"/>
              <a:gd name="T54" fmla="*/ 72 w 96"/>
              <a:gd name="T55" fmla="*/ 12 h 72"/>
              <a:gd name="T56" fmla="*/ 78 w 96"/>
              <a:gd name="T57" fmla="*/ 18 h 72"/>
              <a:gd name="T58" fmla="*/ 84 w 96"/>
              <a:gd name="T59" fmla="*/ 24 h 72"/>
              <a:gd name="T60" fmla="*/ 84 w 96"/>
              <a:gd name="T61" fmla="*/ 24 h 72"/>
              <a:gd name="T62" fmla="*/ 90 w 96"/>
              <a:gd name="T63" fmla="*/ 24 h 72"/>
              <a:gd name="T64" fmla="*/ 96 w 96"/>
              <a:gd name="T65" fmla="*/ 30 h 72"/>
              <a:gd name="T66" fmla="*/ 96 w 96"/>
              <a:gd name="T67" fmla="*/ 30 h 72"/>
              <a:gd name="T68" fmla="*/ 96 w 96"/>
              <a:gd name="T69" fmla="*/ 36 h 72"/>
              <a:gd name="T70" fmla="*/ 90 w 96"/>
              <a:gd name="T71" fmla="*/ 42 h 72"/>
              <a:gd name="T72" fmla="*/ 84 w 96"/>
              <a:gd name="T73" fmla="*/ 42 h 72"/>
              <a:gd name="T74" fmla="*/ 84 w 96"/>
              <a:gd name="T75" fmla="*/ 48 h 72"/>
              <a:gd name="T76" fmla="*/ 78 w 96"/>
              <a:gd name="T77" fmla="*/ 48 h 72"/>
              <a:gd name="T78" fmla="*/ 72 w 96"/>
              <a:gd name="T79" fmla="*/ 48 h 72"/>
              <a:gd name="T80" fmla="*/ 72 w 96"/>
              <a:gd name="T81" fmla="*/ 48 h 72"/>
              <a:gd name="T82" fmla="*/ 66 w 96"/>
              <a:gd name="T83" fmla="*/ 54 h 72"/>
              <a:gd name="T84" fmla="*/ 60 w 96"/>
              <a:gd name="T85" fmla="*/ 60 h 72"/>
              <a:gd name="T86" fmla="*/ 60 w 96"/>
              <a:gd name="T87" fmla="*/ 66 h 72"/>
              <a:gd name="T88" fmla="*/ 54 w 96"/>
              <a:gd name="T89" fmla="*/ 66 h 72"/>
              <a:gd name="T90" fmla="*/ 54 w 96"/>
              <a:gd name="T91" fmla="*/ 66 h 72"/>
              <a:gd name="T92" fmla="*/ 54 w 96"/>
              <a:gd name="T93" fmla="*/ 72 h 72"/>
              <a:gd name="T94" fmla="*/ 42 w 96"/>
              <a:gd name="T95" fmla="*/ 66 h 72"/>
              <a:gd name="T96" fmla="*/ 42 w 96"/>
              <a:gd name="T97" fmla="*/ 60 h 72"/>
              <a:gd name="T98" fmla="*/ 30 w 96"/>
              <a:gd name="T99" fmla="*/ 54 h 72"/>
              <a:gd name="T100" fmla="*/ 24 w 96"/>
              <a:gd name="T101" fmla="*/ 54 h 72"/>
              <a:gd name="T102" fmla="*/ 18 w 96"/>
              <a:gd name="T103" fmla="*/ 48 h 72"/>
              <a:gd name="T104" fmla="*/ 12 w 96"/>
              <a:gd name="T105" fmla="*/ 42 h 72"/>
              <a:gd name="T106" fmla="*/ 12 w 96"/>
              <a:gd name="T107" fmla="*/ 42 h 72"/>
              <a:gd name="T108" fmla="*/ 0 w 96"/>
              <a:gd name="T109" fmla="*/ 30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96" h="72">
                <a:moveTo>
                  <a:pt x="0" y="30"/>
                </a:move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12" y="24"/>
                </a:lnTo>
                <a:lnTo>
                  <a:pt x="6" y="24"/>
                </a:lnTo>
                <a:lnTo>
                  <a:pt x="12" y="24"/>
                </a:lnTo>
                <a:lnTo>
                  <a:pt x="12" y="24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6"/>
                </a:lnTo>
                <a:lnTo>
                  <a:pt x="36" y="6"/>
                </a:lnTo>
                <a:lnTo>
                  <a:pt x="36" y="12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54" y="0"/>
                </a:lnTo>
                <a:lnTo>
                  <a:pt x="54" y="0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12"/>
                </a:lnTo>
                <a:lnTo>
                  <a:pt x="60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72" y="18"/>
                </a:lnTo>
                <a:lnTo>
                  <a:pt x="72" y="18"/>
                </a:lnTo>
                <a:lnTo>
                  <a:pt x="78" y="18"/>
                </a:lnTo>
                <a:lnTo>
                  <a:pt x="78" y="18"/>
                </a:lnTo>
                <a:lnTo>
                  <a:pt x="84" y="18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6" y="24"/>
                </a:lnTo>
                <a:lnTo>
                  <a:pt x="96" y="24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6"/>
                </a:lnTo>
                <a:lnTo>
                  <a:pt x="90" y="36"/>
                </a:lnTo>
                <a:lnTo>
                  <a:pt x="90" y="42"/>
                </a:lnTo>
                <a:lnTo>
                  <a:pt x="90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48" y="72"/>
                </a:lnTo>
                <a:lnTo>
                  <a:pt x="48" y="66"/>
                </a:lnTo>
                <a:lnTo>
                  <a:pt x="42" y="66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36" y="54"/>
                </a:lnTo>
                <a:lnTo>
                  <a:pt x="30" y="54"/>
                </a:lnTo>
                <a:lnTo>
                  <a:pt x="30" y="54"/>
                </a:lnTo>
                <a:lnTo>
                  <a:pt x="30" y="60"/>
                </a:lnTo>
                <a:lnTo>
                  <a:pt x="30" y="60"/>
                </a:lnTo>
                <a:lnTo>
                  <a:pt x="24" y="54"/>
                </a:lnTo>
                <a:lnTo>
                  <a:pt x="18" y="54"/>
                </a:lnTo>
                <a:lnTo>
                  <a:pt x="18" y="48"/>
                </a:lnTo>
                <a:lnTo>
                  <a:pt x="18" y="48"/>
                </a:lnTo>
                <a:lnTo>
                  <a:pt x="18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6" y="36"/>
                </a:lnTo>
                <a:lnTo>
                  <a:pt x="6" y="36"/>
                </a:lnTo>
                <a:lnTo>
                  <a:pt x="0" y="3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67" name="Freeform 400"/>
          <p:cNvSpPr>
            <a:spLocks/>
          </p:cNvSpPr>
          <p:nvPr/>
        </p:nvSpPr>
        <p:spPr bwMode="auto">
          <a:xfrm>
            <a:off x="6691253" y="3961554"/>
            <a:ext cx="83513" cy="70665"/>
          </a:xfrm>
          <a:custGeom>
            <a:avLst/>
            <a:gdLst>
              <a:gd name="T0" fmla="*/ 0 w 78"/>
              <a:gd name="T1" fmla="*/ 48 h 66"/>
              <a:gd name="T2" fmla="*/ 6 w 78"/>
              <a:gd name="T3" fmla="*/ 42 h 66"/>
              <a:gd name="T4" fmla="*/ 6 w 78"/>
              <a:gd name="T5" fmla="*/ 36 h 66"/>
              <a:gd name="T6" fmla="*/ 6 w 78"/>
              <a:gd name="T7" fmla="*/ 36 h 66"/>
              <a:gd name="T8" fmla="*/ 0 w 78"/>
              <a:gd name="T9" fmla="*/ 24 h 66"/>
              <a:gd name="T10" fmla="*/ 6 w 78"/>
              <a:gd name="T11" fmla="*/ 24 h 66"/>
              <a:gd name="T12" fmla="*/ 6 w 78"/>
              <a:gd name="T13" fmla="*/ 12 h 66"/>
              <a:gd name="T14" fmla="*/ 0 w 78"/>
              <a:gd name="T15" fmla="*/ 6 h 66"/>
              <a:gd name="T16" fmla="*/ 6 w 78"/>
              <a:gd name="T17" fmla="*/ 0 h 66"/>
              <a:gd name="T18" fmla="*/ 6 w 78"/>
              <a:gd name="T19" fmla="*/ 0 h 66"/>
              <a:gd name="T20" fmla="*/ 6 w 78"/>
              <a:gd name="T21" fmla="*/ 0 h 66"/>
              <a:gd name="T22" fmla="*/ 6 w 78"/>
              <a:gd name="T23" fmla="*/ 6 h 66"/>
              <a:gd name="T24" fmla="*/ 12 w 78"/>
              <a:gd name="T25" fmla="*/ 6 h 66"/>
              <a:gd name="T26" fmla="*/ 12 w 78"/>
              <a:gd name="T27" fmla="*/ 6 h 66"/>
              <a:gd name="T28" fmla="*/ 18 w 78"/>
              <a:gd name="T29" fmla="*/ 6 h 66"/>
              <a:gd name="T30" fmla="*/ 18 w 78"/>
              <a:gd name="T31" fmla="*/ 6 h 66"/>
              <a:gd name="T32" fmla="*/ 18 w 78"/>
              <a:gd name="T33" fmla="*/ 6 h 66"/>
              <a:gd name="T34" fmla="*/ 24 w 78"/>
              <a:gd name="T35" fmla="*/ 12 h 66"/>
              <a:gd name="T36" fmla="*/ 24 w 78"/>
              <a:gd name="T37" fmla="*/ 6 h 66"/>
              <a:gd name="T38" fmla="*/ 30 w 78"/>
              <a:gd name="T39" fmla="*/ 6 h 66"/>
              <a:gd name="T40" fmla="*/ 30 w 78"/>
              <a:gd name="T41" fmla="*/ 6 h 66"/>
              <a:gd name="T42" fmla="*/ 36 w 78"/>
              <a:gd name="T43" fmla="*/ 12 h 66"/>
              <a:gd name="T44" fmla="*/ 42 w 78"/>
              <a:gd name="T45" fmla="*/ 12 h 66"/>
              <a:gd name="T46" fmla="*/ 48 w 78"/>
              <a:gd name="T47" fmla="*/ 12 h 66"/>
              <a:gd name="T48" fmla="*/ 54 w 78"/>
              <a:gd name="T49" fmla="*/ 18 h 66"/>
              <a:gd name="T50" fmla="*/ 60 w 78"/>
              <a:gd name="T51" fmla="*/ 18 h 66"/>
              <a:gd name="T52" fmla="*/ 66 w 78"/>
              <a:gd name="T53" fmla="*/ 24 h 66"/>
              <a:gd name="T54" fmla="*/ 72 w 78"/>
              <a:gd name="T55" fmla="*/ 24 h 66"/>
              <a:gd name="T56" fmla="*/ 72 w 78"/>
              <a:gd name="T57" fmla="*/ 30 h 66"/>
              <a:gd name="T58" fmla="*/ 78 w 78"/>
              <a:gd name="T59" fmla="*/ 36 h 66"/>
              <a:gd name="T60" fmla="*/ 72 w 78"/>
              <a:gd name="T61" fmla="*/ 42 h 66"/>
              <a:gd name="T62" fmla="*/ 72 w 78"/>
              <a:gd name="T63" fmla="*/ 48 h 66"/>
              <a:gd name="T64" fmla="*/ 66 w 78"/>
              <a:gd name="T65" fmla="*/ 48 h 66"/>
              <a:gd name="T66" fmla="*/ 66 w 78"/>
              <a:gd name="T67" fmla="*/ 54 h 66"/>
              <a:gd name="T68" fmla="*/ 66 w 78"/>
              <a:gd name="T69" fmla="*/ 60 h 66"/>
              <a:gd name="T70" fmla="*/ 60 w 78"/>
              <a:gd name="T71" fmla="*/ 60 h 66"/>
              <a:gd name="T72" fmla="*/ 54 w 78"/>
              <a:gd name="T73" fmla="*/ 60 h 66"/>
              <a:gd name="T74" fmla="*/ 54 w 78"/>
              <a:gd name="T75" fmla="*/ 54 h 66"/>
              <a:gd name="T76" fmla="*/ 42 w 78"/>
              <a:gd name="T77" fmla="*/ 54 h 66"/>
              <a:gd name="T78" fmla="*/ 36 w 78"/>
              <a:gd name="T79" fmla="*/ 54 h 66"/>
              <a:gd name="T80" fmla="*/ 30 w 78"/>
              <a:gd name="T81" fmla="*/ 54 h 66"/>
              <a:gd name="T82" fmla="*/ 24 w 78"/>
              <a:gd name="T83" fmla="*/ 54 h 66"/>
              <a:gd name="T84" fmla="*/ 18 w 78"/>
              <a:gd name="T85" fmla="*/ 60 h 66"/>
              <a:gd name="T86" fmla="*/ 18 w 78"/>
              <a:gd name="T87" fmla="*/ 60 h 66"/>
              <a:gd name="T88" fmla="*/ 12 w 78"/>
              <a:gd name="T89" fmla="*/ 54 h 66"/>
              <a:gd name="T90" fmla="*/ 12 w 78"/>
              <a:gd name="T91" fmla="*/ 54 h 66"/>
              <a:gd name="T92" fmla="*/ 6 w 78"/>
              <a:gd name="T93" fmla="*/ 48 h 66"/>
              <a:gd name="T94" fmla="*/ 0 w 78"/>
              <a:gd name="T95" fmla="*/ 48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78" h="66">
                <a:moveTo>
                  <a:pt x="0" y="48"/>
                </a:move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2"/>
                </a:lnTo>
                <a:lnTo>
                  <a:pt x="0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0" y="42"/>
                </a:lnTo>
                <a:lnTo>
                  <a:pt x="0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0" y="30"/>
                </a:lnTo>
                <a:lnTo>
                  <a:pt x="6" y="30"/>
                </a:lnTo>
                <a:lnTo>
                  <a:pt x="6" y="30"/>
                </a:lnTo>
                <a:lnTo>
                  <a:pt x="0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6" y="6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6" y="6"/>
                </a:lnTo>
                <a:lnTo>
                  <a:pt x="6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12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30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30"/>
                </a:lnTo>
                <a:lnTo>
                  <a:pt x="66" y="30"/>
                </a:lnTo>
                <a:lnTo>
                  <a:pt x="72" y="30"/>
                </a:lnTo>
                <a:lnTo>
                  <a:pt x="66" y="30"/>
                </a:lnTo>
                <a:lnTo>
                  <a:pt x="72" y="36"/>
                </a:lnTo>
                <a:lnTo>
                  <a:pt x="72" y="36"/>
                </a:lnTo>
                <a:lnTo>
                  <a:pt x="78" y="36"/>
                </a:lnTo>
                <a:lnTo>
                  <a:pt x="72" y="36"/>
                </a:lnTo>
                <a:lnTo>
                  <a:pt x="72" y="36"/>
                </a:lnTo>
                <a:lnTo>
                  <a:pt x="72" y="42"/>
                </a:lnTo>
                <a:lnTo>
                  <a:pt x="72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66" y="48"/>
                </a:lnTo>
                <a:lnTo>
                  <a:pt x="72" y="48"/>
                </a:lnTo>
                <a:lnTo>
                  <a:pt x="66" y="48"/>
                </a:lnTo>
                <a:lnTo>
                  <a:pt x="66" y="54"/>
                </a:lnTo>
                <a:lnTo>
                  <a:pt x="66" y="54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6"/>
                </a:lnTo>
                <a:lnTo>
                  <a:pt x="66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54" y="60"/>
                </a:lnTo>
                <a:lnTo>
                  <a:pt x="54" y="60"/>
                </a:lnTo>
                <a:lnTo>
                  <a:pt x="60" y="60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48" y="54"/>
                </a:lnTo>
                <a:lnTo>
                  <a:pt x="48" y="54"/>
                </a:lnTo>
                <a:lnTo>
                  <a:pt x="42" y="54"/>
                </a:lnTo>
                <a:lnTo>
                  <a:pt x="42" y="54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2" y="60"/>
                </a:lnTo>
                <a:lnTo>
                  <a:pt x="18" y="54"/>
                </a:lnTo>
                <a:lnTo>
                  <a:pt x="18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68" name="Freeform 401"/>
          <p:cNvSpPr>
            <a:spLocks/>
          </p:cNvSpPr>
          <p:nvPr/>
        </p:nvSpPr>
        <p:spPr bwMode="auto">
          <a:xfrm>
            <a:off x="6569196" y="4276334"/>
            <a:ext cx="122057" cy="141330"/>
          </a:xfrm>
          <a:custGeom>
            <a:avLst/>
            <a:gdLst>
              <a:gd name="T0" fmla="*/ 12 w 114"/>
              <a:gd name="T1" fmla="*/ 6 h 132"/>
              <a:gd name="T2" fmla="*/ 18 w 114"/>
              <a:gd name="T3" fmla="*/ 6 h 132"/>
              <a:gd name="T4" fmla="*/ 30 w 114"/>
              <a:gd name="T5" fmla="*/ 18 h 132"/>
              <a:gd name="T6" fmla="*/ 30 w 114"/>
              <a:gd name="T7" fmla="*/ 24 h 132"/>
              <a:gd name="T8" fmla="*/ 36 w 114"/>
              <a:gd name="T9" fmla="*/ 24 h 132"/>
              <a:gd name="T10" fmla="*/ 48 w 114"/>
              <a:gd name="T11" fmla="*/ 18 h 132"/>
              <a:gd name="T12" fmla="*/ 60 w 114"/>
              <a:gd name="T13" fmla="*/ 18 h 132"/>
              <a:gd name="T14" fmla="*/ 66 w 114"/>
              <a:gd name="T15" fmla="*/ 24 h 132"/>
              <a:gd name="T16" fmla="*/ 78 w 114"/>
              <a:gd name="T17" fmla="*/ 24 h 132"/>
              <a:gd name="T18" fmla="*/ 78 w 114"/>
              <a:gd name="T19" fmla="*/ 24 h 132"/>
              <a:gd name="T20" fmla="*/ 84 w 114"/>
              <a:gd name="T21" fmla="*/ 18 h 132"/>
              <a:gd name="T22" fmla="*/ 96 w 114"/>
              <a:gd name="T23" fmla="*/ 24 h 132"/>
              <a:gd name="T24" fmla="*/ 102 w 114"/>
              <a:gd name="T25" fmla="*/ 24 h 132"/>
              <a:gd name="T26" fmla="*/ 108 w 114"/>
              <a:gd name="T27" fmla="*/ 30 h 132"/>
              <a:gd name="T28" fmla="*/ 108 w 114"/>
              <a:gd name="T29" fmla="*/ 42 h 132"/>
              <a:gd name="T30" fmla="*/ 108 w 114"/>
              <a:gd name="T31" fmla="*/ 42 h 132"/>
              <a:gd name="T32" fmla="*/ 102 w 114"/>
              <a:gd name="T33" fmla="*/ 42 h 132"/>
              <a:gd name="T34" fmla="*/ 102 w 114"/>
              <a:gd name="T35" fmla="*/ 48 h 132"/>
              <a:gd name="T36" fmla="*/ 108 w 114"/>
              <a:gd name="T37" fmla="*/ 54 h 132"/>
              <a:gd name="T38" fmla="*/ 102 w 114"/>
              <a:gd name="T39" fmla="*/ 54 h 132"/>
              <a:gd name="T40" fmla="*/ 102 w 114"/>
              <a:gd name="T41" fmla="*/ 60 h 132"/>
              <a:gd name="T42" fmla="*/ 108 w 114"/>
              <a:gd name="T43" fmla="*/ 66 h 132"/>
              <a:gd name="T44" fmla="*/ 108 w 114"/>
              <a:gd name="T45" fmla="*/ 72 h 132"/>
              <a:gd name="T46" fmla="*/ 102 w 114"/>
              <a:gd name="T47" fmla="*/ 72 h 132"/>
              <a:gd name="T48" fmla="*/ 102 w 114"/>
              <a:gd name="T49" fmla="*/ 78 h 132"/>
              <a:gd name="T50" fmla="*/ 96 w 114"/>
              <a:gd name="T51" fmla="*/ 78 h 132"/>
              <a:gd name="T52" fmla="*/ 84 w 114"/>
              <a:gd name="T53" fmla="*/ 108 h 132"/>
              <a:gd name="T54" fmla="*/ 78 w 114"/>
              <a:gd name="T55" fmla="*/ 114 h 132"/>
              <a:gd name="T56" fmla="*/ 78 w 114"/>
              <a:gd name="T57" fmla="*/ 114 h 132"/>
              <a:gd name="T58" fmla="*/ 78 w 114"/>
              <a:gd name="T59" fmla="*/ 114 h 132"/>
              <a:gd name="T60" fmla="*/ 78 w 114"/>
              <a:gd name="T61" fmla="*/ 120 h 132"/>
              <a:gd name="T62" fmla="*/ 78 w 114"/>
              <a:gd name="T63" fmla="*/ 126 h 132"/>
              <a:gd name="T64" fmla="*/ 78 w 114"/>
              <a:gd name="T65" fmla="*/ 126 h 132"/>
              <a:gd name="T66" fmla="*/ 72 w 114"/>
              <a:gd name="T67" fmla="*/ 126 h 132"/>
              <a:gd name="T68" fmla="*/ 72 w 114"/>
              <a:gd name="T69" fmla="*/ 126 h 132"/>
              <a:gd name="T70" fmla="*/ 66 w 114"/>
              <a:gd name="T71" fmla="*/ 132 h 132"/>
              <a:gd name="T72" fmla="*/ 60 w 114"/>
              <a:gd name="T73" fmla="*/ 126 h 132"/>
              <a:gd name="T74" fmla="*/ 48 w 114"/>
              <a:gd name="T75" fmla="*/ 114 h 132"/>
              <a:gd name="T76" fmla="*/ 48 w 114"/>
              <a:gd name="T77" fmla="*/ 108 h 132"/>
              <a:gd name="T78" fmla="*/ 42 w 114"/>
              <a:gd name="T79" fmla="*/ 102 h 132"/>
              <a:gd name="T80" fmla="*/ 42 w 114"/>
              <a:gd name="T81" fmla="*/ 96 h 132"/>
              <a:gd name="T82" fmla="*/ 48 w 114"/>
              <a:gd name="T83" fmla="*/ 90 h 132"/>
              <a:gd name="T84" fmla="*/ 48 w 114"/>
              <a:gd name="T85" fmla="*/ 90 h 132"/>
              <a:gd name="T86" fmla="*/ 48 w 114"/>
              <a:gd name="T87" fmla="*/ 84 h 132"/>
              <a:gd name="T88" fmla="*/ 42 w 114"/>
              <a:gd name="T89" fmla="*/ 84 h 132"/>
              <a:gd name="T90" fmla="*/ 36 w 114"/>
              <a:gd name="T91" fmla="*/ 72 h 132"/>
              <a:gd name="T92" fmla="*/ 36 w 114"/>
              <a:gd name="T93" fmla="*/ 66 h 132"/>
              <a:gd name="T94" fmla="*/ 36 w 114"/>
              <a:gd name="T95" fmla="*/ 66 h 132"/>
              <a:gd name="T96" fmla="*/ 36 w 114"/>
              <a:gd name="T97" fmla="*/ 66 h 132"/>
              <a:gd name="T98" fmla="*/ 36 w 114"/>
              <a:gd name="T99" fmla="*/ 60 h 132"/>
              <a:gd name="T100" fmla="*/ 30 w 114"/>
              <a:gd name="T101" fmla="*/ 54 h 132"/>
              <a:gd name="T102" fmla="*/ 30 w 114"/>
              <a:gd name="T103" fmla="*/ 54 h 132"/>
              <a:gd name="T104" fmla="*/ 30 w 114"/>
              <a:gd name="T105" fmla="*/ 48 h 132"/>
              <a:gd name="T106" fmla="*/ 24 w 114"/>
              <a:gd name="T107" fmla="*/ 48 h 132"/>
              <a:gd name="T108" fmla="*/ 24 w 114"/>
              <a:gd name="T109" fmla="*/ 48 h 132"/>
              <a:gd name="T110" fmla="*/ 24 w 114"/>
              <a:gd name="T111" fmla="*/ 42 h 132"/>
              <a:gd name="T112" fmla="*/ 18 w 114"/>
              <a:gd name="T113" fmla="*/ 42 h 132"/>
              <a:gd name="T114" fmla="*/ 18 w 114"/>
              <a:gd name="T115" fmla="*/ 30 h 132"/>
              <a:gd name="T116" fmla="*/ 12 w 114"/>
              <a:gd name="T117" fmla="*/ 30 h 132"/>
              <a:gd name="T118" fmla="*/ 6 w 114"/>
              <a:gd name="T119" fmla="*/ 24 h 132"/>
              <a:gd name="T120" fmla="*/ 6 w 114"/>
              <a:gd name="T121" fmla="*/ 12 h 132"/>
              <a:gd name="T122" fmla="*/ 6 w 114"/>
              <a:gd name="T123" fmla="*/ 12 h 132"/>
              <a:gd name="T124" fmla="*/ 0 w 114"/>
              <a:gd name="T125" fmla="*/ 6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14" h="132">
                <a:moveTo>
                  <a:pt x="0" y="6"/>
                </a:moveTo>
                <a:lnTo>
                  <a:pt x="6" y="6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24" y="6"/>
                </a:lnTo>
                <a:lnTo>
                  <a:pt x="24" y="12"/>
                </a:lnTo>
                <a:lnTo>
                  <a:pt x="24" y="12"/>
                </a:lnTo>
                <a:lnTo>
                  <a:pt x="24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42" y="24"/>
                </a:lnTo>
                <a:lnTo>
                  <a:pt x="42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6" y="18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8" y="24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6"/>
                </a:lnTo>
                <a:lnTo>
                  <a:pt x="108" y="36"/>
                </a:lnTo>
                <a:lnTo>
                  <a:pt x="108" y="42"/>
                </a:lnTo>
                <a:lnTo>
                  <a:pt x="108" y="42"/>
                </a:lnTo>
                <a:lnTo>
                  <a:pt x="114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54"/>
                </a:lnTo>
                <a:lnTo>
                  <a:pt x="102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60"/>
                </a:lnTo>
                <a:lnTo>
                  <a:pt x="102" y="54"/>
                </a:lnTo>
                <a:lnTo>
                  <a:pt x="108" y="54"/>
                </a:lnTo>
                <a:lnTo>
                  <a:pt x="108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2" y="72"/>
                </a:lnTo>
                <a:lnTo>
                  <a:pt x="108" y="72"/>
                </a:lnTo>
                <a:lnTo>
                  <a:pt x="102" y="72"/>
                </a:lnTo>
                <a:lnTo>
                  <a:pt x="102" y="72"/>
                </a:lnTo>
                <a:lnTo>
                  <a:pt x="108" y="72"/>
                </a:lnTo>
                <a:lnTo>
                  <a:pt x="108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84"/>
                </a:lnTo>
                <a:lnTo>
                  <a:pt x="96" y="90"/>
                </a:lnTo>
                <a:lnTo>
                  <a:pt x="96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14"/>
                </a:lnTo>
                <a:lnTo>
                  <a:pt x="84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6"/>
                </a:lnTo>
                <a:lnTo>
                  <a:pt x="78" y="126"/>
                </a:lnTo>
                <a:lnTo>
                  <a:pt x="78" y="126"/>
                </a:lnTo>
                <a:lnTo>
                  <a:pt x="78" y="126"/>
                </a:lnTo>
                <a:lnTo>
                  <a:pt x="78" y="126"/>
                </a:lnTo>
                <a:lnTo>
                  <a:pt x="78" y="126"/>
                </a:lnTo>
                <a:lnTo>
                  <a:pt x="78" y="126"/>
                </a:lnTo>
                <a:lnTo>
                  <a:pt x="78" y="126"/>
                </a:lnTo>
                <a:lnTo>
                  <a:pt x="78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66" y="126"/>
                </a:lnTo>
                <a:lnTo>
                  <a:pt x="66" y="132"/>
                </a:lnTo>
                <a:lnTo>
                  <a:pt x="66" y="132"/>
                </a:lnTo>
                <a:lnTo>
                  <a:pt x="66" y="132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54" y="120"/>
                </a:lnTo>
                <a:lnTo>
                  <a:pt x="54" y="120"/>
                </a:lnTo>
                <a:lnTo>
                  <a:pt x="54" y="120"/>
                </a:lnTo>
                <a:lnTo>
                  <a:pt x="54" y="120"/>
                </a:lnTo>
                <a:lnTo>
                  <a:pt x="54" y="120"/>
                </a:lnTo>
                <a:lnTo>
                  <a:pt x="48" y="114"/>
                </a:lnTo>
                <a:lnTo>
                  <a:pt x="48" y="114"/>
                </a:lnTo>
                <a:lnTo>
                  <a:pt x="48" y="114"/>
                </a:lnTo>
                <a:lnTo>
                  <a:pt x="48" y="114"/>
                </a:lnTo>
                <a:lnTo>
                  <a:pt x="48" y="114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54" y="90"/>
                </a:lnTo>
                <a:lnTo>
                  <a:pt x="54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36" y="84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0" y="60"/>
                </a:lnTo>
                <a:lnTo>
                  <a:pt x="36" y="60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0"/>
                </a:lnTo>
                <a:lnTo>
                  <a:pt x="18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12" y="24"/>
                </a:lnTo>
                <a:lnTo>
                  <a:pt x="12" y="18"/>
                </a:lnTo>
                <a:lnTo>
                  <a:pt x="12" y="18"/>
                </a:lnTo>
                <a:lnTo>
                  <a:pt x="12" y="12"/>
                </a:lnTo>
                <a:lnTo>
                  <a:pt x="12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69" name="Freeform 402"/>
          <p:cNvSpPr>
            <a:spLocks/>
          </p:cNvSpPr>
          <p:nvPr/>
        </p:nvSpPr>
        <p:spPr bwMode="auto">
          <a:xfrm>
            <a:off x="6761917" y="4507602"/>
            <a:ext cx="160601" cy="96361"/>
          </a:xfrm>
          <a:custGeom>
            <a:avLst/>
            <a:gdLst>
              <a:gd name="T0" fmla="*/ 6 w 150"/>
              <a:gd name="T1" fmla="*/ 24 h 90"/>
              <a:gd name="T2" fmla="*/ 18 w 150"/>
              <a:gd name="T3" fmla="*/ 18 h 90"/>
              <a:gd name="T4" fmla="*/ 18 w 150"/>
              <a:gd name="T5" fmla="*/ 24 h 90"/>
              <a:gd name="T6" fmla="*/ 24 w 150"/>
              <a:gd name="T7" fmla="*/ 12 h 90"/>
              <a:gd name="T8" fmla="*/ 30 w 150"/>
              <a:gd name="T9" fmla="*/ 12 h 90"/>
              <a:gd name="T10" fmla="*/ 42 w 150"/>
              <a:gd name="T11" fmla="*/ 0 h 90"/>
              <a:gd name="T12" fmla="*/ 54 w 150"/>
              <a:gd name="T13" fmla="*/ 0 h 90"/>
              <a:gd name="T14" fmla="*/ 54 w 150"/>
              <a:gd name="T15" fmla="*/ 6 h 90"/>
              <a:gd name="T16" fmla="*/ 48 w 150"/>
              <a:gd name="T17" fmla="*/ 12 h 90"/>
              <a:gd name="T18" fmla="*/ 48 w 150"/>
              <a:gd name="T19" fmla="*/ 18 h 90"/>
              <a:gd name="T20" fmla="*/ 42 w 150"/>
              <a:gd name="T21" fmla="*/ 18 h 90"/>
              <a:gd name="T22" fmla="*/ 42 w 150"/>
              <a:gd name="T23" fmla="*/ 24 h 90"/>
              <a:gd name="T24" fmla="*/ 42 w 150"/>
              <a:gd name="T25" fmla="*/ 30 h 90"/>
              <a:gd name="T26" fmla="*/ 48 w 150"/>
              <a:gd name="T27" fmla="*/ 36 h 90"/>
              <a:gd name="T28" fmla="*/ 54 w 150"/>
              <a:gd name="T29" fmla="*/ 36 h 90"/>
              <a:gd name="T30" fmla="*/ 60 w 150"/>
              <a:gd name="T31" fmla="*/ 30 h 90"/>
              <a:gd name="T32" fmla="*/ 72 w 150"/>
              <a:gd name="T33" fmla="*/ 30 h 90"/>
              <a:gd name="T34" fmla="*/ 72 w 150"/>
              <a:gd name="T35" fmla="*/ 36 h 90"/>
              <a:gd name="T36" fmla="*/ 78 w 150"/>
              <a:gd name="T37" fmla="*/ 30 h 90"/>
              <a:gd name="T38" fmla="*/ 84 w 150"/>
              <a:gd name="T39" fmla="*/ 30 h 90"/>
              <a:gd name="T40" fmla="*/ 84 w 150"/>
              <a:gd name="T41" fmla="*/ 30 h 90"/>
              <a:gd name="T42" fmla="*/ 90 w 150"/>
              <a:gd name="T43" fmla="*/ 30 h 90"/>
              <a:gd name="T44" fmla="*/ 96 w 150"/>
              <a:gd name="T45" fmla="*/ 36 h 90"/>
              <a:gd name="T46" fmla="*/ 102 w 150"/>
              <a:gd name="T47" fmla="*/ 30 h 90"/>
              <a:gd name="T48" fmla="*/ 108 w 150"/>
              <a:gd name="T49" fmla="*/ 30 h 90"/>
              <a:gd name="T50" fmla="*/ 114 w 150"/>
              <a:gd name="T51" fmla="*/ 36 h 90"/>
              <a:gd name="T52" fmla="*/ 126 w 150"/>
              <a:gd name="T53" fmla="*/ 36 h 90"/>
              <a:gd name="T54" fmla="*/ 126 w 150"/>
              <a:gd name="T55" fmla="*/ 36 h 90"/>
              <a:gd name="T56" fmla="*/ 126 w 150"/>
              <a:gd name="T57" fmla="*/ 36 h 90"/>
              <a:gd name="T58" fmla="*/ 132 w 150"/>
              <a:gd name="T59" fmla="*/ 30 h 90"/>
              <a:gd name="T60" fmla="*/ 138 w 150"/>
              <a:gd name="T61" fmla="*/ 36 h 90"/>
              <a:gd name="T62" fmla="*/ 144 w 150"/>
              <a:gd name="T63" fmla="*/ 42 h 90"/>
              <a:gd name="T64" fmla="*/ 150 w 150"/>
              <a:gd name="T65" fmla="*/ 42 h 90"/>
              <a:gd name="T66" fmla="*/ 144 w 150"/>
              <a:gd name="T67" fmla="*/ 48 h 90"/>
              <a:gd name="T68" fmla="*/ 138 w 150"/>
              <a:gd name="T69" fmla="*/ 54 h 90"/>
              <a:gd name="T70" fmla="*/ 144 w 150"/>
              <a:gd name="T71" fmla="*/ 60 h 90"/>
              <a:gd name="T72" fmla="*/ 138 w 150"/>
              <a:gd name="T73" fmla="*/ 60 h 90"/>
              <a:gd name="T74" fmla="*/ 138 w 150"/>
              <a:gd name="T75" fmla="*/ 66 h 90"/>
              <a:gd name="T76" fmla="*/ 132 w 150"/>
              <a:gd name="T77" fmla="*/ 66 h 90"/>
              <a:gd name="T78" fmla="*/ 126 w 150"/>
              <a:gd name="T79" fmla="*/ 66 h 90"/>
              <a:gd name="T80" fmla="*/ 120 w 150"/>
              <a:gd name="T81" fmla="*/ 60 h 90"/>
              <a:gd name="T82" fmla="*/ 90 w 150"/>
              <a:gd name="T83" fmla="*/ 60 h 90"/>
              <a:gd name="T84" fmla="*/ 66 w 150"/>
              <a:gd name="T85" fmla="*/ 66 h 90"/>
              <a:gd name="T86" fmla="*/ 72 w 150"/>
              <a:gd name="T87" fmla="*/ 72 h 90"/>
              <a:gd name="T88" fmla="*/ 72 w 150"/>
              <a:gd name="T89" fmla="*/ 78 h 90"/>
              <a:gd name="T90" fmla="*/ 78 w 150"/>
              <a:gd name="T91" fmla="*/ 84 h 90"/>
              <a:gd name="T92" fmla="*/ 66 w 150"/>
              <a:gd name="T93" fmla="*/ 90 h 90"/>
              <a:gd name="T94" fmla="*/ 54 w 150"/>
              <a:gd name="T95" fmla="*/ 84 h 90"/>
              <a:gd name="T96" fmla="*/ 48 w 150"/>
              <a:gd name="T97" fmla="*/ 84 h 90"/>
              <a:gd name="T98" fmla="*/ 42 w 150"/>
              <a:gd name="T99" fmla="*/ 78 h 90"/>
              <a:gd name="T100" fmla="*/ 36 w 150"/>
              <a:gd name="T101" fmla="*/ 78 h 90"/>
              <a:gd name="T102" fmla="*/ 30 w 150"/>
              <a:gd name="T103" fmla="*/ 72 h 90"/>
              <a:gd name="T104" fmla="*/ 30 w 150"/>
              <a:gd name="T105" fmla="*/ 66 h 90"/>
              <a:gd name="T106" fmla="*/ 36 w 150"/>
              <a:gd name="T107" fmla="*/ 66 h 90"/>
              <a:gd name="T108" fmla="*/ 30 w 150"/>
              <a:gd name="T109" fmla="*/ 60 h 90"/>
              <a:gd name="T110" fmla="*/ 30 w 150"/>
              <a:gd name="T111" fmla="*/ 60 h 90"/>
              <a:gd name="T112" fmla="*/ 24 w 150"/>
              <a:gd name="T113" fmla="*/ 66 h 90"/>
              <a:gd name="T114" fmla="*/ 18 w 150"/>
              <a:gd name="T115" fmla="*/ 60 h 90"/>
              <a:gd name="T116" fmla="*/ 12 w 150"/>
              <a:gd name="T117" fmla="*/ 60 h 90"/>
              <a:gd name="T118" fmla="*/ 12 w 150"/>
              <a:gd name="T119" fmla="*/ 54 h 90"/>
              <a:gd name="T120" fmla="*/ 12 w 150"/>
              <a:gd name="T121" fmla="*/ 36 h 90"/>
              <a:gd name="T122" fmla="*/ 12 w 150"/>
              <a:gd name="T123" fmla="*/ 36 h 90"/>
              <a:gd name="T124" fmla="*/ 0 w 150"/>
              <a:gd name="T125" fmla="*/ 36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50" h="90">
                <a:moveTo>
                  <a:pt x="0" y="30"/>
                </a:moveTo>
                <a:lnTo>
                  <a:pt x="0" y="30"/>
                </a:lnTo>
                <a:lnTo>
                  <a:pt x="0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18"/>
                </a:lnTo>
                <a:lnTo>
                  <a:pt x="12" y="18"/>
                </a:lnTo>
                <a:lnTo>
                  <a:pt x="18" y="18"/>
                </a:lnTo>
                <a:lnTo>
                  <a:pt x="12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24" y="18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48" y="0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12"/>
                </a:lnTo>
                <a:lnTo>
                  <a:pt x="48" y="12"/>
                </a:lnTo>
                <a:lnTo>
                  <a:pt x="42" y="12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8" y="30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60" y="36"/>
                </a:lnTo>
                <a:lnTo>
                  <a:pt x="60" y="36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6" y="30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72" y="36"/>
                </a:lnTo>
                <a:lnTo>
                  <a:pt x="72" y="30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0"/>
                </a:lnTo>
                <a:lnTo>
                  <a:pt x="72" y="30"/>
                </a:lnTo>
                <a:lnTo>
                  <a:pt x="72" y="36"/>
                </a:lnTo>
                <a:lnTo>
                  <a:pt x="72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90" y="30"/>
                </a:lnTo>
                <a:lnTo>
                  <a:pt x="90" y="36"/>
                </a:lnTo>
                <a:lnTo>
                  <a:pt x="90" y="30"/>
                </a:lnTo>
                <a:lnTo>
                  <a:pt x="90" y="30"/>
                </a:lnTo>
                <a:lnTo>
                  <a:pt x="96" y="30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0"/>
                </a:lnTo>
                <a:lnTo>
                  <a:pt x="132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6"/>
                </a:lnTo>
                <a:lnTo>
                  <a:pt x="138" y="30"/>
                </a:lnTo>
                <a:lnTo>
                  <a:pt x="138" y="30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44" y="36"/>
                </a:lnTo>
                <a:lnTo>
                  <a:pt x="144" y="36"/>
                </a:lnTo>
                <a:lnTo>
                  <a:pt x="144" y="36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42"/>
                </a:lnTo>
                <a:lnTo>
                  <a:pt x="144" y="42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38" y="54"/>
                </a:lnTo>
                <a:lnTo>
                  <a:pt x="144" y="54"/>
                </a:lnTo>
                <a:lnTo>
                  <a:pt x="138" y="54"/>
                </a:lnTo>
                <a:lnTo>
                  <a:pt x="138" y="54"/>
                </a:lnTo>
                <a:lnTo>
                  <a:pt x="138" y="54"/>
                </a:lnTo>
                <a:lnTo>
                  <a:pt x="138" y="60"/>
                </a:lnTo>
                <a:lnTo>
                  <a:pt x="144" y="60"/>
                </a:lnTo>
                <a:lnTo>
                  <a:pt x="144" y="60"/>
                </a:lnTo>
                <a:lnTo>
                  <a:pt x="144" y="60"/>
                </a:lnTo>
                <a:lnTo>
                  <a:pt x="144" y="60"/>
                </a:lnTo>
                <a:lnTo>
                  <a:pt x="144" y="60"/>
                </a:lnTo>
                <a:lnTo>
                  <a:pt x="138" y="60"/>
                </a:lnTo>
                <a:lnTo>
                  <a:pt x="138" y="60"/>
                </a:lnTo>
                <a:lnTo>
                  <a:pt x="144" y="60"/>
                </a:lnTo>
                <a:lnTo>
                  <a:pt x="138" y="60"/>
                </a:lnTo>
                <a:lnTo>
                  <a:pt x="138" y="60"/>
                </a:lnTo>
                <a:lnTo>
                  <a:pt x="138" y="60"/>
                </a:lnTo>
                <a:lnTo>
                  <a:pt x="138" y="60"/>
                </a:lnTo>
                <a:lnTo>
                  <a:pt x="138" y="60"/>
                </a:lnTo>
                <a:lnTo>
                  <a:pt x="138" y="66"/>
                </a:lnTo>
                <a:lnTo>
                  <a:pt x="138" y="66"/>
                </a:lnTo>
                <a:lnTo>
                  <a:pt x="138" y="66"/>
                </a:lnTo>
                <a:lnTo>
                  <a:pt x="138" y="66"/>
                </a:lnTo>
                <a:lnTo>
                  <a:pt x="138" y="66"/>
                </a:lnTo>
                <a:lnTo>
                  <a:pt x="138" y="66"/>
                </a:lnTo>
                <a:lnTo>
                  <a:pt x="138" y="66"/>
                </a:lnTo>
                <a:lnTo>
                  <a:pt x="132" y="66"/>
                </a:lnTo>
                <a:lnTo>
                  <a:pt x="132" y="66"/>
                </a:lnTo>
                <a:lnTo>
                  <a:pt x="132" y="66"/>
                </a:lnTo>
                <a:lnTo>
                  <a:pt x="132" y="66"/>
                </a:lnTo>
                <a:lnTo>
                  <a:pt x="132" y="66"/>
                </a:lnTo>
                <a:lnTo>
                  <a:pt x="132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02" y="60"/>
                </a:lnTo>
                <a:lnTo>
                  <a:pt x="108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90" y="60"/>
                </a:lnTo>
                <a:lnTo>
                  <a:pt x="90" y="66"/>
                </a:lnTo>
                <a:lnTo>
                  <a:pt x="84" y="66"/>
                </a:lnTo>
                <a:lnTo>
                  <a:pt x="84" y="66"/>
                </a:lnTo>
                <a:lnTo>
                  <a:pt x="72" y="60"/>
                </a:lnTo>
                <a:lnTo>
                  <a:pt x="66" y="60"/>
                </a:lnTo>
                <a:lnTo>
                  <a:pt x="66" y="60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72" y="66"/>
                </a:lnTo>
                <a:lnTo>
                  <a:pt x="72" y="66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66" y="72"/>
                </a:lnTo>
                <a:lnTo>
                  <a:pt x="66" y="72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8" y="78"/>
                </a:lnTo>
                <a:lnTo>
                  <a:pt x="78" y="78"/>
                </a:lnTo>
                <a:lnTo>
                  <a:pt x="78" y="84"/>
                </a:lnTo>
                <a:lnTo>
                  <a:pt x="78" y="84"/>
                </a:lnTo>
                <a:lnTo>
                  <a:pt x="72" y="84"/>
                </a:lnTo>
                <a:lnTo>
                  <a:pt x="72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90"/>
                </a:lnTo>
                <a:lnTo>
                  <a:pt x="66" y="90"/>
                </a:lnTo>
                <a:lnTo>
                  <a:pt x="66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0" y="66"/>
                </a:lnTo>
                <a:lnTo>
                  <a:pt x="36" y="66"/>
                </a:lnTo>
                <a:lnTo>
                  <a:pt x="36" y="66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24" y="60"/>
                </a:lnTo>
                <a:lnTo>
                  <a:pt x="24" y="60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2" y="60"/>
                </a:lnTo>
                <a:lnTo>
                  <a:pt x="12" y="60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6" y="30"/>
                </a:lnTo>
                <a:lnTo>
                  <a:pt x="6" y="30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0" y="36"/>
                </a:lnTo>
                <a:lnTo>
                  <a:pt x="0" y="36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70" name="Freeform 403"/>
          <p:cNvSpPr>
            <a:spLocks/>
          </p:cNvSpPr>
          <p:nvPr/>
        </p:nvSpPr>
        <p:spPr bwMode="auto">
          <a:xfrm>
            <a:off x="6716949" y="4693900"/>
            <a:ext cx="141329" cy="64241"/>
          </a:xfrm>
          <a:custGeom>
            <a:avLst/>
            <a:gdLst>
              <a:gd name="T0" fmla="*/ 6 w 132"/>
              <a:gd name="T1" fmla="*/ 30 h 60"/>
              <a:gd name="T2" fmla="*/ 12 w 132"/>
              <a:gd name="T3" fmla="*/ 30 h 60"/>
              <a:gd name="T4" fmla="*/ 12 w 132"/>
              <a:gd name="T5" fmla="*/ 24 h 60"/>
              <a:gd name="T6" fmla="*/ 18 w 132"/>
              <a:gd name="T7" fmla="*/ 24 h 60"/>
              <a:gd name="T8" fmla="*/ 18 w 132"/>
              <a:gd name="T9" fmla="*/ 24 h 60"/>
              <a:gd name="T10" fmla="*/ 24 w 132"/>
              <a:gd name="T11" fmla="*/ 24 h 60"/>
              <a:gd name="T12" fmla="*/ 30 w 132"/>
              <a:gd name="T13" fmla="*/ 24 h 60"/>
              <a:gd name="T14" fmla="*/ 36 w 132"/>
              <a:gd name="T15" fmla="*/ 24 h 60"/>
              <a:gd name="T16" fmla="*/ 36 w 132"/>
              <a:gd name="T17" fmla="*/ 24 h 60"/>
              <a:gd name="T18" fmla="*/ 42 w 132"/>
              <a:gd name="T19" fmla="*/ 18 h 60"/>
              <a:gd name="T20" fmla="*/ 36 w 132"/>
              <a:gd name="T21" fmla="*/ 18 h 60"/>
              <a:gd name="T22" fmla="*/ 42 w 132"/>
              <a:gd name="T23" fmla="*/ 12 h 60"/>
              <a:gd name="T24" fmla="*/ 42 w 132"/>
              <a:gd name="T25" fmla="*/ 12 h 60"/>
              <a:gd name="T26" fmla="*/ 48 w 132"/>
              <a:gd name="T27" fmla="*/ 12 h 60"/>
              <a:gd name="T28" fmla="*/ 54 w 132"/>
              <a:gd name="T29" fmla="*/ 6 h 60"/>
              <a:gd name="T30" fmla="*/ 66 w 132"/>
              <a:gd name="T31" fmla="*/ 6 h 60"/>
              <a:gd name="T32" fmla="*/ 72 w 132"/>
              <a:gd name="T33" fmla="*/ 6 h 60"/>
              <a:gd name="T34" fmla="*/ 78 w 132"/>
              <a:gd name="T35" fmla="*/ 6 h 60"/>
              <a:gd name="T36" fmla="*/ 72 w 132"/>
              <a:gd name="T37" fmla="*/ 12 h 60"/>
              <a:gd name="T38" fmla="*/ 66 w 132"/>
              <a:gd name="T39" fmla="*/ 18 h 60"/>
              <a:gd name="T40" fmla="*/ 72 w 132"/>
              <a:gd name="T41" fmla="*/ 24 h 60"/>
              <a:gd name="T42" fmla="*/ 78 w 132"/>
              <a:gd name="T43" fmla="*/ 24 h 60"/>
              <a:gd name="T44" fmla="*/ 84 w 132"/>
              <a:gd name="T45" fmla="*/ 24 h 60"/>
              <a:gd name="T46" fmla="*/ 90 w 132"/>
              <a:gd name="T47" fmla="*/ 24 h 60"/>
              <a:gd name="T48" fmla="*/ 90 w 132"/>
              <a:gd name="T49" fmla="*/ 18 h 60"/>
              <a:gd name="T50" fmla="*/ 96 w 132"/>
              <a:gd name="T51" fmla="*/ 12 h 60"/>
              <a:gd name="T52" fmla="*/ 102 w 132"/>
              <a:gd name="T53" fmla="*/ 6 h 60"/>
              <a:gd name="T54" fmla="*/ 108 w 132"/>
              <a:gd name="T55" fmla="*/ 0 h 60"/>
              <a:gd name="T56" fmla="*/ 114 w 132"/>
              <a:gd name="T57" fmla="*/ 0 h 60"/>
              <a:gd name="T58" fmla="*/ 120 w 132"/>
              <a:gd name="T59" fmla="*/ 6 h 60"/>
              <a:gd name="T60" fmla="*/ 126 w 132"/>
              <a:gd name="T61" fmla="*/ 6 h 60"/>
              <a:gd name="T62" fmla="*/ 132 w 132"/>
              <a:gd name="T63" fmla="*/ 12 h 60"/>
              <a:gd name="T64" fmla="*/ 126 w 132"/>
              <a:gd name="T65" fmla="*/ 24 h 60"/>
              <a:gd name="T66" fmla="*/ 132 w 132"/>
              <a:gd name="T67" fmla="*/ 30 h 60"/>
              <a:gd name="T68" fmla="*/ 126 w 132"/>
              <a:gd name="T69" fmla="*/ 30 h 60"/>
              <a:gd name="T70" fmla="*/ 114 w 132"/>
              <a:gd name="T71" fmla="*/ 30 h 60"/>
              <a:gd name="T72" fmla="*/ 108 w 132"/>
              <a:gd name="T73" fmla="*/ 30 h 60"/>
              <a:gd name="T74" fmla="*/ 102 w 132"/>
              <a:gd name="T75" fmla="*/ 30 h 60"/>
              <a:gd name="T76" fmla="*/ 96 w 132"/>
              <a:gd name="T77" fmla="*/ 36 h 60"/>
              <a:gd name="T78" fmla="*/ 90 w 132"/>
              <a:gd name="T79" fmla="*/ 42 h 60"/>
              <a:gd name="T80" fmla="*/ 90 w 132"/>
              <a:gd name="T81" fmla="*/ 42 h 60"/>
              <a:gd name="T82" fmla="*/ 90 w 132"/>
              <a:gd name="T83" fmla="*/ 42 h 60"/>
              <a:gd name="T84" fmla="*/ 84 w 132"/>
              <a:gd name="T85" fmla="*/ 48 h 60"/>
              <a:gd name="T86" fmla="*/ 78 w 132"/>
              <a:gd name="T87" fmla="*/ 48 h 60"/>
              <a:gd name="T88" fmla="*/ 78 w 132"/>
              <a:gd name="T89" fmla="*/ 54 h 60"/>
              <a:gd name="T90" fmla="*/ 72 w 132"/>
              <a:gd name="T91" fmla="*/ 54 h 60"/>
              <a:gd name="T92" fmla="*/ 60 w 132"/>
              <a:gd name="T93" fmla="*/ 54 h 60"/>
              <a:gd name="T94" fmla="*/ 60 w 132"/>
              <a:gd name="T95" fmla="*/ 60 h 60"/>
              <a:gd name="T96" fmla="*/ 54 w 132"/>
              <a:gd name="T97" fmla="*/ 60 h 60"/>
              <a:gd name="T98" fmla="*/ 54 w 132"/>
              <a:gd name="T99" fmla="*/ 60 h 60"/>
              <a:gd name="T100" fmla="*/ 48 w 132"/>
              <a:gd name="T101" fmla="*/ 60 h 60"/>
              <a:gd name="T102" fmla="*/ 42 w 132"/>
              <a:gd name="T103" fmla="*/ 60 h 60"/>
              <a:gd name="T104" fmla="*/ 42 w 132"/>
              <a:gd name="T105" fmla="*/ 54 h 60"/>
              <a:gd name="T106" fmla="*/ 36 w 132"/>
              <a:gd name="T107" fmla="*/ 54 h 60"/>
              <a:gd name="T108" fmla="*/ 30 w 132"/>
              <a:gd name="T109" fmla="*/ 48 h 60"/>
              <a:gd name="T110" fmla="*/ 24 w 132"/>
              <a:gd name="T111" fmla="*/ 48 h 60"/>
              <a:gd name="T112" fmla="*/ 18 w 132"/>
              <a:gd name="T113" fmla="*/ 42 h 60"/>
              <a:gd name="T114" fmla="*/ 18 w 132"/>
              <a:gd name="T115" fmla="*/ 42 h 60"/>
              <a:gd name="T116" fmla="*/ 6 w 132"/>
              <a:gd name="T117" fmla="*/ 36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32" h="60">
                <a:moveTo>
                  <a:pt x="6" y="36"/>
                </a:move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18"/>
                </a:lnTo>
                <a:lnTo>
                  <a:pt x="36" y="24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2" y="6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8"/>
                </a:lnTo>
                <a:lnTo>
                  <a:pt x="72" y="12"/>
                </a:lnTo>
                <a:lnTo>
                  <a:pt x="72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14" y="0"/>
                </a:lnTo>
                <a:lnTo>
                  <a:pt x="114" y="0"/>
                </a:lnTo>
                <a:lnTo>
                  <a:pt x="114" y="0"/>
                </a:lnTo>
                <a:lnTo>
                  <a:pt x="114" y="0"/>
                </a:lnTo>
                <a:lnTo>
                  <a:pt x="114" y="0"/>
                </a:lnTo>
                <a:lnTo>
                  <a:pt x="114" y="0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12"/>
                </a:lnTo>
                <a:lnTo>
                  <a:pt x="132" y="6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26" y="18"/>
                </a:lnTo>
                <a:lnTo>
                  <a:pt x="132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6"/>
                </a:lnTo>
                <a:lnTo>
                  <a:pt x="126" y="30"/>
                </a:lnTo>
                <a:lnTo>
                  <a:pt x="126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0"/>
                </a:lnTo>
                <a:lnTo>
                  <a:pt x="120" y="30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6"/>
                </a:lnTo>
                <a:lnTo>
                  <a:pt x="108" y="30"/>
                </a:lnTo>
                <a:lnTo>
                  <a:pt x="108" y="30"/>
                </a:lnTo>
                <a:lnTo>
                  <a:pt x="108" y="36"/>
                </a:lnTo>
                <a:lnTo>
                  <a:pt x="108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6"/>
                </a:lnTo>
                <a:lnTo>
                  <a:pt x="102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0" y="36"/>
                </a:lnTo>
                <a:lnTo>
                  <a:pt x="90" y="36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54"/>
                </a:lnTo>
                <a:lnTo>
                  <a:pt x="42" y="54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24" y="48"/>
                </a:lnTo>
                <a:lnTo>
                  <a:pt x="24" y="48"/>
                </a:lnTo>
                <a:lnTo>
                  <a:pt x="24" y="42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2"/>
                </a:lnTo>
                <a:lnTo>
                  <a:pt x="24" y="48"/>
                </a:lnTo>
                <a:lnTo>
                  <a:pt x="24" y="48"/>
                </a:lnTo>
                <a:lnTo>
                  <a:pt x="18" y="48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36"/>
                </a:lnTo>
                <a:lnTo>
                  <a:pt x="18" y="36"/>
                </a:lnTo>
                <a:lnTo>
                  <a:pt x="18" y="42"/>
                </a:lnTo>
                <a:lnTo>
                  <a:pt x="18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0" y="36"/>
                </a:lnTo>
                <a:lnTo>
                  <a:pt x="6" y="3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71" name="Freeform 404"/>
          <p:cNvSpPr>
            <a:spLocks/>
          </p:cNvSpPr>
          <p:nvPr/>
        </p:nvSpPr>
        <p:spPr bwMode="auto">
          <a:xfrm>
            <a:off x="6729797" y="4565419"/>
            <a:ext cx="186297" cy="154178"/>
          </a:xfrm>
          <a:custGeom>
            <a:avLst/>
            <a:gdLst>
              <a:gd name="T0" fmla="*/ 12 w 174"/>
              <a:gd name="T1" fmla="*/ 48 h 144"/>
              <a:gd name="T2" fmla="*/ 24 w 174"/>
              <a:gd name="T3" fmla="*/ 42 h 144"/>
              <a:gd name="T4" fmla="*/ 18 w 174"/>
              <a:gd name="T5" fmla="*/ 36 h 144"/>
              <a:gd name="T6" fmla="*/ 18 w 174"/>
              <a:gd name="T7" fmla="*/ 30 h 144"/>
              <a:gd name="T8" fmla="*/ 24 w 174"/>
              <a:gd name="T9" fmla="*/ 24 h 144"/>
              <a:gd name="T10" fmla="*/ 30 w 174"/>
              <a:gd name="T11" fmla="*/ 24 h 144"/>
              <a:gd name="T12" fmla="*/ 36 w 174"/>
              <a:gd name="T13" fmla="*/ 18 h 144"/>
              <a:gd name="T14" fmla="*/ 48 w 174"/>
              <a:gd name="T15" fmla="*/ 6 h 144"/>
              <a:gd name="T16" fmla="*/ 60 w 174"/>
              <a:gd name="T17" fmla="*/ 6 h 144"/>
              <a:gd name="T18" fmla="*/ 60 w 174"/>
              <a:gd name="T19" fmla="*/ 6 h 144"/>
              <a:gd name="T20" fmla="*/ 66 w 174"/>
              <a:gd name="T21" fmla="*/ 12 h 144"/>
              <a:gd name="T22" fmla="*/ 66 w 174"/>
              <a:gd name="T23" fmla="*/ 18 h 144"/>
              <a:gd name="T24" fmla="*/ 72 w 174"/>
              <a:gd name="T25" fmla="*/ 24 h 144"/>
              <a:gd name="T26" fmla="*/ 78 w 174"/>
              <a:gd name="T27" fmla="*/ 30 h 144"/>
              <a:gd name="T28" fmla="*/ 96 w 174"/>
              <a:gd name="T29" fmla="*/ 30 h 144"/>
              <a:gd name="T30" fmla="*/ 108 w 174"/>
              <a:gd name="T31" fmla="*/ 24 h 144"/>
              <a:gd name="T32" fmla="*/ 102 w 174"/>
              <a:gd name="T33" fmla="*/ 18 h 144"/>
              <a:gd name="T34" fmla="*/ 114 w 174"/>
              <a:gd name="T35" fmla="*/ 12 h 144"/>
              <a:gd name="T36" fmla="*/ 150 w 174"/>
              <a:gd name="T37" fmla="*/ 6 h 144"/>
              <a:gd name="T38" fmla="*/ 156 w 174"/>
              <a:gd name="T39" fmla="*/ 12 h 144"/>
              <a:gd name="T40" fmla="*/ 168 w 174"/>
              <a:gd name="T41" fmla="*/ 12 h 144"/>
              <a:gd name="T42" fmla="*/ 168 w 174"/>
              <a:gd name="T43" fmla="*/ 18 h 144"/>
              <a:gd name="T44" fmla="*/ 168 w 174"/>
              <a:gd name="T45" fmla="*/ 24 h 144"/>
              <a:gd name="T46" fmla="*/ 168 w 174"/>
              <a:gd name="T47" fmla="*/ 30 h 144"/>
              <a:gd name="T48" fmla="*/ 162 w 174"/>
              <a:gd name="T49" fmla="*/ 36 h 144"/>
              <a:gd name="T50" fmla="*/ 156 w 174"/>
              <a:gd name="T51" fmla="*/ 42 h 144"/>
              <a:gd name="T52" fmla="*/ 144 w 174"/>
              <a:gd name="T53" fmla="*/ 36 h 144"/>
              <a:gd name="T54" fmla="*/ 132 w 174"/>
              <a:gd name="T55" fmla="*/ 42 h 144"/>
              <a:gd name="T56" fmla="*/ 132 w 174"/>
              <a:gd name="T57" fmla="*/ 54 h 144"/>
              <a:gd name="T58" fmla="*/ 126 w 174"/>
              <a:gd name="T59" fmla="*/ 66 h 144"/>
              <a:gd name="T60" fmla="*/ 120 w 174"/>
              <a:gd name="T61" fmla="*/ 72 h 144"/>
              <a:gd name="T62" fmla="*/ 120 w 174"/>
              <a:gd name="T63" fmla="*/ 78 h 144"/>
              <a:gd name="T64" fmla="*/ 114 w 174"/>
              <a:gd name="T65" fmla="*/ 90 h 144"/>
              <a:gd name="T66" fmla="*/ 114 w 174"/>
              <a:gd name="T67" fmla="*/ 96 h 144"/>
              <a:gd name="T68" fmla="*/ 120 w 174"/>
              <a:gd name="T69" fmla="*/ 102 h 144"/>
              <a:gd name="T70" fmla="*/ 120 w 174"/>
              <a:gd name="T71" fmla="*/ 108 h 144"/>
              <a:gd name="T72" fmla="*/ 120 w 174"/>
              <a:gd name="T73" fmla="*/ 120 h 144"/>
              <a:gd name="T74" fmla="*/ 132 w 174"/>
              <a:gd name="T75" fmla="*/ 126 h 144"/>
              <a:gd name="T76" fmla="*/ 126 w 174"/>
              <a:gd name="T77" fmla="*/ 126 h 144"/>
              <a:gd name="T78" fmla="*/ 114 w 174"/>
              <a:gd name="T79" fmla="*/ 126 h 144"/>
              <a:gd name="T80" fmla="*/ 108 w 174"/>
              <a:gd name="T81" fmla="*/ 126 h 144"/>
              <a:gd name="T82" fmla="*/ 102 w 174"/>
              <a:gd name="T83" fmla="*/ 120 h 144"/>
              <a:gd name="T84" fmla="*/ 96 w 174"/>
              <a:gd name="T85" fmla="*/ 120 h 144"/>
              <a:gd name="T86" fmla="*/ 90 w 174"/>
              <a:gd name="T87" fmla="*/ 126 h 144"/>
              <a:gd name="T88" fmla="*/ 84 w 174"/>
              <a:gd name="T89" fmla="*/ 138 h 144"/>
              <a:gd name="T90" fmla="*/ 78 w 174"/>
              <a:gd name="T91" fmla="*/ 144 h 144"/>
              <a:gd name="T92" fmla="*/ 72 w 174"/>
              <a:gd name="T93" fmla="*/ 144 h 144"/>
              <a:gd name="T94" fmla="*/ 66 w 174"/>
              <a:gd name="T95" fmla="*/ 144 h 144"/>
              <a:gd name="T96" fmla="*/ 60 w 174"/>
              <a:gd name="T97" fmla="*/ 144 h 144"/>
              <a:gd name="T98" fmla="*/ 60 w 174"/>
              <a:gd name="T99" fmla="*/ 132 h 144"/>
              <a:gd name="T100" fmla="*/ 66 w 174"/>
              <a:gd name="T101" fmla="*/ 126 h 144"/>
              <a:gd name="T102" fmla="*/ 60 w 174"/>
              <a:gd name="T103" fmla="*/ 126 h 144"/>
              <a:gd name="T104" fmla="*/ 48 w 174"/>
              <a:gd name="T105" fmla="*/ 126 h 144"/>
              <a:gd name="T106" fmla="*/ 30 w 174"/>
              <a:gd name="T107" fmla="*/ 102 h 144"/>
              <a:gd name="T108" fmla="*/ 24 w 174"/>
              <a:gd name="T109" fmla="*/ 102 h 144"/>
              <a:gd name="T110" fmla="*/ 18 w 174"/>
              <a:gd name="T111" fmla="*/ 102 h 144"/>
              <a:gd name="T112" fmla="*/ 12 w 174"/>
              <a:gd name="T113" fmla="*/ 96 h 144"/>
              <a:gd name="T114" fmla="*/ 6 w 174"/>
              <a:gd name="T115" fmla="*/ 90 h 144"/>
              <a:gd name="T116" fmla="*/ 18 w 174"/>
              <a:gd name="T117" fmla="*/ 78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74" h="144">
                <a:moveTo>
                  <a:pt x="6" y="54"/>
                </a:moveTo>
                <a:lnTo>
                  <a:pt x="6" y="54"/>
                </a:lnTo>
                <a:lnTo>
                  <a:pt x="0" y="54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18" y="42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24" y="30"/>
                </a:lnTo>
                <a:lnTo>
                  <a:pt x="24" y="30"/>
                </a:lnTo>
                <a:lnTo>
                  <a:pt x="18" y="24"/>
                </a:lnTo>
                <a:lnTo>
                  <a:pt x="18" y="24"/>
                </a:lnTo>
                <a:lnTo>
                  <a:pt x="24" y="24"/>
                </a:lnTo>
                <a:lnTo>
                  <a:pt x="24" y="24"/>
                </a:lnTo>
                <a:lnTo>
                  <a:pt x="18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48" y="6"/>
                </a:lnTo>
                <a:lnTo>
                  <a:pt x="48" y="6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6" y="12"/>
                </a:lnTo>
                <a:lnTo>
                  <a:pt x="66" y="12"/>
                </a:lnTo>
                <a:lnTo>
                  <a:pt x="60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0" y="12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6" y="30"/>
                </a:lnTo>
                <a:lnTo>
                  <a:pt x="96" y="36"/>
                </a:lnTo>
                <a:lnTo>
                  <a:pt x="96" y="36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102" y="30"/>
                </a:lnTo>
                <a:lnTo>
                  <a:pt x="102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24"/>
                </a:lnTo>
                <a:lnTo>
                  <a:pt x="108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96" y="18"/>
                </a:lnTo>
                <a:lnTo>
                  <a:pt x="96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2"/>
                </a:lnTo>
                <a:lnTo>
                  <a:pt x="102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6"/>
                </a:lnTo>
                <a:lnTo>
                  <a:pt x="96" y="6"/>
                </a:lnTo>
                <a:lnTo>
                  <a:pt x="102" y="6"/>
                </a:lnTo>
                <a:lnTo>
                  <a:pt x="114" y="12"/>
                </a:lnTo>
                <a:lnTo>
                  <a:pt x="114" y="12"/>
                </a:lnTo>
                <a:lnTo>
                  <a:pt x="120" y="12"/>
                </a:lnTo>
                <a:lnTo>
                  <a:pt x="120" y="6"/>
                </a:lnTo>
                <a:lnTo>
                  <a:pt x="132" y="0"/>
                </a:lnTo>
                <a:lnTo>
                  <a:pt x="132" y="0"/>
                </a:lnTo>
                <a:lnTo>
                  <a:pt x="132" y="0"/>
                </a:lnTo>
                <a:lnTo>
                  <a:pt x="138" y="0"/>
                </a:lnTo>
                <a:lnTo>
                  <a:pt x="132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30"/>
                </a:lnTo>
                <a:lnTo>
                  <a:pt x="168" y="30"/>
                </a:lnTo>
                <a:lnTo>
                  <a:pt x="168" y="30"/>
                </a:lnTo>
                <a:lnTo>
                  <a:pt x="168" y="30"/>
                </a:lnTo>
                <a:lnTo>
                  <a:pt x="168" y="30"/>
                </a:lnTo>
                <a:lnTo>
                  <a:pt x="168" y="30"/>
                </a:lnTo>
                <a:lnTo>
                  <a:pt x="168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68" y="36"/>
                </a:lnTo>
                <a:lnTo>
                  <a:pt x="168" y="36"/>
                </a:lnTo>
                <a:lnTo>
                  <a:pt x="168" y="30"/>
                </a:lnTo>
                <a:lnTo>
                  <a:pt x="168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36"/>
                </a:lnTo>
                <a:lnTo>
                  <a:pt x="156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44" y="30"/>
                </a:lnTo>
                <a:lnTo>
                  <a:pt x="144" y="36"/>
                </a:lnTo>
                <a:lnTo>
                  <a:pt x="144" y="36"/>
                </a:lnTo>
                <a:lnTo>
                  <a:pt x="144" y="36"/>
                </a:lnTo>
                <a:lnTo>
                  <a:pt x="144" y="36"/>
                </a:lnTo>
                <a:lnTo>
                  <a:pt x="144" y="36"/>
                </a:lnTo>
                <a:lnTo>
                  <a:pt x="144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42"/>
                </a:lnTo>
                <a:lnTo>
                  <a:pt x="138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8"/>
                </a:lnTo>
                <a:lnTo>
                  <a:pt x="138" y="48"/>
                </a:lnTo>
                <a:lnTo>
                  <a:pt x="138" y="48"/>
                </a:lnTo>
                <a:lnTo>
                  <a:pt x="138" y="48"/>
                </a:lnTo>
                <a:lnTo>
                  <a:pt x="138" y="48"/>
                </a:lnTo>
                <a:lnTo>
                  <a:pt x="138" y="54"/>
                </a:lnTo>
                <a:lnTo>
                  <a:pt x="138" y="54"/>
                </a:lnTo>
                <a:lnTo>
                  <a:pt x="138" y="54"/>
                </a:lnTo>
                <a:lnTo>
                  <a:pt x="132" y="54"/>
                </a:lnTo>
                <a:lnTo>
                  <a:pt x="138" y="54"/>
                </a:lnTo>
                <a:lnTo>
                  <a:pt x="132" y="54"/>
                </a:lnTo>
                <a:lnTo>
                  <a:pt x="138" y="60"/>
                </a:lnTo>
                <a:lnTo>
                  <a:pt x="132" y="60"/>
                </a:lnTo>
                <a:lnTo>
                  <a:pt x="138" y="60"/>
                </a:lnTo>
                <a:lnTo>
                  <a:pt x="138" y="60"/>
                </a:lnTo>
                <a:lnTo>
                  <a:pt x="132" y="60"/>
                </a:lnTo>
                <a:lnTo>
                  <a:pt x="132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72"/>
                </a:lnTo>
                <a:lnTo>
                  <a:pt x="126" y="72"/>
                </a:lnTo>
                <a:lnTo>
                  <a:pt x="126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14" y="90"/>
                </a:lnTo>
                <a:lnTo>
                  <a:pt x="120" y="90"/>
                </a:lnTo>
                <a:lnTo>
                  <a:pt x="114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14" y="90"/>
                </a:lnTo>
                <a:lnTo>
                  <a:pt x="120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96"/>
                </a:lnTo>
                <a:lnTo>
                  <a:pt x="114" y="96"/>
                </a:lnTo>
                <a:lnTo>
                  <a:pt x="114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102"/>
                </a:lnTo>
                <a:lnTo>
                  <a:pt x="120" y="102"/>
                </a:lnTo>
                <a:lnTo>
                  <a:pt x="120" y="96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14"/>
                </a:lnTo>
                <a:lnTo>
                  <a:pt x="120" y="114"/>
                </a:lnTo>
                <a:lnTo>
                  <a:pt x="120" y="114"/>
                </a:lnTo>
                <a:lnTo>
                  <a:pt x="120" y="114"/>
                </a:lnTo>
                <a:lnTo>
                  <a:pt x="114" y="114"/>
                </a:lnTo>
                <a:lnTo>
                  <a:pt x="114" y="114"/>
                </a:lnTo>
                <a:lnTo>
                  <a:pt x="120" y="114"/>
                </a:lnTo>
                <a:lnTo>
                  <a:pt x="120" y="120"/>
                </a:lnTo>
                <a:lnTo>
                  <a:pt x="120" y="114"/>
                </a:lnTo>
                <a:lnTo>
                  <a:pt x="120" y="120"/>
                </a:lnTo>
                <a:lnTo>
                  <a:pt x="120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32" y="120"/>
                </a:lnTo>
                <a:lnTo>
                  <a:pt x="132" y="120"/>
                </a:lnTo>
                <a:lnTo>
                  <a:pt x="132" y="120"/>
                </a:lnTo>
                <a:lnTo>
                  <a:pt x="132" y="120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0" y="126"/>
                </a:lnTo>
                <a:lnTo>
                  <a:pt x="120" y="126"/>
                </a:lnTo>
                <a:lnTo>
                  <a:pt x="120" y="126"/>
                </a:lnTo>
                <a:lnTo>
                  <a:pt x="120" y="126"/>
                </a:lnTo>
                <a:lnTo>
                  <a:pt x="120" y="132"/>
                </a:lnTo>
                <a:lnTo>
                  <a:pt x="120" y="132"/>
                </a:lnTo>
                <a:lnTo>
                  <a:pt x="120" y="126"/>
                </a:lnTo>
                <a:lnTo>
                  <a:pt x="114" y="132"/>
                </a:lnTo>
                <a:lnTo>
                  <a:pt x="114" y="126"/>
                </a:lnTo>
                <a:lnTo>
                  <a:pt x="114" y="126"/>
                </a:lnTo>
                <a:lnTo>
                  <a:pt x="114" y="126"/>
                </a:lnTo>
                <a:lnTo>
                  <a:pt x="114" y="126"/>
                </a:lnTo>
                <a:lnTo>
                  <a:pt x="114" y="126"/>
                </a:lnTo>
                <a:lnTo>
                  <a:pt x="114" y="126"/>
                </a:lnTo>
                <a:lnTo>
                  <a:pt x="114" y="126"/>
                </a:lnTo>
                <a:lnTo>
                  <a:pt x="114" y="126"/>
                </a:lnTo>
                <a:lnTo>
                  <a:pt x="114" y="126"/>
                </a:lnTo>
                <a:lnTo>
                  <a:pt x="114" y="126"/>
                </a:lnTo>
                <a:lnTo>
                  <a:pt x="114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0" y="120"/>
                </a:lnTo>
                <a:lnTo>
                  <a:pt x="90" y="126"/>
                </a:lnTo>
                <a:lnTo>
                  <a:pt x="90" y="126"/>
                </a:lnTo>
                <a:lnTo>
                  <a:pt x="90" y="126"/>
                </a:lnTo>
                <a:lnTo>
                  <a:pt x="90" y="126"/>
                </a:lnTo>
                <a:lnTo>
                  <a:pt x="90" y="126"/>
                </a:lnTo>
                <a:lnTo>
                  <a:pt x="90" y="126"/>
                </a:lnTo>
                <a:lnTo>
                  <a:pt x="90" y="126"/>
                </a:lnTo>
                <a:lnTo>
                  <a:pt x="90" y="126"/>
                </a:lnTo>
                <a:lnTo>
                  <a:pt x="90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44"/>
                </a:lnTo>
                <a:lnTo>
                  <a:pt x="78" y="144"/>
                </a:lnTo>
                <a:lnTo>
                  <a:pt x="78" y="144"/>
                </a:lnTo>
                <a:lnTo>
                  <a:pt x="78" y="144"/>
                </a:lnTo>
                <a:lnTo>
                  <a:pt x="78" y="144"/>
                </a:lnTo>
                <a:lnTo>
                  <a:pt x="72" y="144"/>
                </a:lnTo>
                <a:lnTo>
                  <a:pt x="72" y="144"/>
                </a:lnTo>
                <a:lnTo>
                  <a:pt x="72" y="144"/>
                </a:lnTo>
                <a:lnTo>
                  <a:pt x="72" y="144"/>
                </a:lnTo>
                <a:lnTo>
                  <a:pt x="72" y="144"/>
                </a:lnTo>
                <a:lnTo>
                  <a:pt x="72" y="144"/>
                </a:lnTo>
                <a:lnTo>
                  <a:pt x="72" y="144"/>
                </a:lnTo>
                <a:lnTo>
                  <a:pt x="72" y="144"/>
                </a:lnTo>
                <a:lnTo>
                  <a:pt x="72" y="144"/>
                </a:lnTo>
                <a:lnTo>
                  <a:pt x="72" y="144"/>
                </a:lnTo>
                <a:lnTo>
                  <a:pt x="72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60" y="138"/>
                </a:lnTo>
                <a:lnTo>
                  <a:pt x="60" y="132"/>
                </a:lnTo>
                <a:lnTo>
                  <a:pt x="60" y="138"/>
                </a:lnTo>
                <a:lnTo>
                  <a:pt x="60" y="132"/>
                </a:lnTo>
                <a:lnTo>
                  <a:pt x="60" y="132"/>
                </a:lnTo>
                <a:lnTo>
                  <a:pt x="60" y="132"/>
                </a:lnTo>
                <a:lnTo>
                  <a:pt x="60" y="132"/>
                </a:lnTo>
                <a:lnTo>
                  <a:pt x="60" y="132"/>
                </a:lnTo>
                <a:lnTo>
                  <a:pt x="60" y="132"/>
                </a:lnTo>
                <a:lnTo>
                  <a:pt x="60" y="132"/>
                </a:lnTo>
                <a:lnTo>
                  <a:pt x="60" y="126"/>
                </a:lnTo>
                <a:lnTo>
                  <a:pt x="66" y="126"/>
                </a:lnTo>
                <a:lnTo>
                  <a:pt x="66" y="126"/>
                </a:lnTo>
                <a:lnTo>
                  <a:pt x="66" y="126"/>
                </a:lnTo>
                <a:lnTo>
                  <a:pt x="66" y="126"/>
                </a:lnTo>
                <a:lnTo>
                  <a:pt x="66" y="126"/>
                </a:lnTo>
                <a:lnTo>
                  <a:pt x="66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54" y="126"/>
                </a:lnTo>
                <a:lnTo>
                  <a:pt x="54" y="126"/>
                </a:lnTo>
                <a:lnTo>
                  <a:pt x="54" y="126"/>
                </a:lnTo>
                <a:lnTo>
                  <a:pt x="54" y="126"/>
                </a:lnTo>
                <a:lnTo>
                  <a:pt x="54" y="126"/>
                </a:lnTo>
                <a:lnTo>
                  <a:pt x="54" y="126"/>
                </a:lnTo>
                <a:lnTo>
                  <a:pt x="54" y="126"/>
                </a:lnTo>
                <a:lnTo>
                  <a:pt x="54" y="126"/>
                </a:lnTo>
                <a:lnTo>
                  <a:pt x="54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36" y="126"/>
                </a:lnTo>
                <a:lnTo>
                  <a:pt x="36" y="120"/>
                </a:lnTo>
                <a:lnTo>
                  <a:pt x="36" y="120"/>
                </a:lnTo>
                <a:lnTo>
                  <a:pt x="36" y="114"/>
                </a:lnTo>
                <a:lnTo>
                  <a:pt x="36" y="114"/>
                </a:lnTo>
                <a:lnTo>
                  <a:pt x="36" y="102"/>
                </a:lnTo>
                <a:lnTo>
                  <a:pt x="30" y="102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6" y="96"/>
                </a:lnTo>
                <a:lnTo>
                  <a:pt x="6" y="96"/>
                </a:lnTo>
                <a:lnTo>
                  <a:pt x="6" y="90"/>
                </a:lnTo>
                <a:lnTo>
                  <a:pt x="6" y="96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12" y="90"/>
                </a:lnTo>
                <a:lnTo>
                  <a:pt x="6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78"/>
                </a:lnTo>
                <a:lnTo>
                  <a:pt x="12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2"/>
                </a:lnTo>
                <a:lnTo>
                  <a:pt x="18" y="72"/>
                </a:lnTo>
                <a:lnTo>
                  <a:pt x="18" y="66"/>
                </a:lnTo>
                <a:lnTo>
                  <a:pt x="12" y="66"/>
                </a:lnTo>
                <a:lnTo>
                  <a:pt x="12" y="66"/>
                </a:lnTo>
                <a:lnTo>
                  <a:pt x="6" y="5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72" name="Freeform 405"/>
          <p:cNvSpPr>
            <a:spLocks/>
          </p:cNvSpPr>
          <p:nvPr/>
        </p:nvSpPr>
        <p:spPr bwMode="auto">
          <a:xfrm>
            <a:off x="6254417" y="4436937"/>
            <a:ext cx="122057" cy="141330"/>
          </a:xfrm>
          <a:custGeom>
            <a:avLst/>
            <a:gdLst>
              <a:gd name="T0" fmla="*/ 0 w 114"/>
              <a:gd name="T1" fmla="*/ 42 h 132"/>
              <a:gd name="T2" fmla="*/ 6 w 114"/>
              <a:gd name="T3" fmla="*/ 30 h 132"/>
              <a:gd name="T4" fmla="*/ 6 w 114"/>
              <a:gd name="T5" fmla="*/ 30 h 132"/>
              <a:gd name="T6" fmla="*/ 12 w 114"/>
              <a:gd name="T7" fmla="*/ 30 h 132"/>
              <a:gd name="T8" fmla="*/ 18 w 114"/>
              <a:gd name="T9" fmla="*/ 30 h 132"/>
              <a:gd name="T10" fmla="*/ 24 w 114"/>
              <a:gd name="T11" fmla="*/ 0 h 132"/>
              <a:gd name="T12" fmla="*/ 30 w 114"/>
              <a:gd name="T13" fmla="*/ 0 h 132"/>
              <a:gd name="T14" fmla="*/ 36 w 114"/>
              <a:gd name="T15" fmla="*/ 6 h 132"/>
              <a:gd name="T16" fmla="*/ 48 w 114"/>
              <a:gd name="T17" fmla="*/ 6 h 132"/>
              <a:gd name="T18" fmla="*/ 48 w 114"/>
              <a:gd name="T19" fmla="*/ 6 h 132"/>
              <a:gd name="T20" fmla="*/ 54 w 114"/>
              <a:gd name="T21" fmla="*/ 12 h 132"/>
              <a:gd name="T22" fmla="*/ 54 w 114"/>
              <a:gd name="T23" fmla="*/ 12 h 132"/>
              <a:gd name="T24" fmla="*/ 60 w 114"/>
              <a:gd name="T25" fmla="*/ 12 h 132"/>
              <a:gd name="T26" fmla="*/ 66 w 114"/>
              <a:gd name="T27" fmla="*/ 12 h 132"/>
              <a:gd name="T28" fmla="*/ 66 w 114"/>
              <a:gd name="T29" fmla="*/ 18 h 132"/>
              <a:gd name="T30" fmla="*/ 72 w 114"/>
              <a:gd name="T31" fmla="*/ 24 h 132"/>
              <a:gd name="T32" fmla="*/ 78 w 114"/>
              <a:gd name="T33" fmla="*/ 30 h 132"/>
              <a:gd name="T34" fmla="*/ 78 w 114"/>
              <a:gd name="T35" fmla="*/ 36 h 132"/>
              <a:gd name="T36" fmla="*/ 78 w 114"/>
              <a:gd name="T37" fmla="*/ 36 h 132"/>
              <a:gd name="T38" fmla="*/ 84 w 114"/>
              <a:gd name="T39" fmla="*/ 42 h 132"/>
              <a:gd name="T40" fmla="*/ 72 w 114"/>
              <a:gd name="T41" fmla="*/ 54 h 132"/>
              <a:gd name="T42" fmla="*/ 72 w 114"/>
              <a:gd name="T43" fmla="*/ 60 h 132"/>
              <a:gd name="T44" fmla="*/ 72 w 114"/>
              <a:gd name="T45" fmla="*/ 72 h 132"/>
              <a:gd name="T46" fmla="*/ 72 w 114"/>
              <a:gd name="T47" fmla="*/ 72 h 132"/>
              <a:gd name="T48" fmla="*/ 78 w 114"/>
              <a:gd name="T49" fmla="*/ 78 h 132"/>
              <a:gd name="T50" fmla="*/ 78 w 114"/>
              <a:gd name="T51" fmla="*/ 78 h 132"/>
              <a:gd name="T52" fmla="*/ 84 w 114"/>
              <a:gd name="T53" fmla="*/ 72 h 132"/>
              <a:gd name="T54" fmla="*/ 84 w 114"/>
              <a:gd name="T55" fmla="*/ 72 h 132"/>
              <a:gd name="T56" fmla="*/ 90 w 114"/>
              <a:gd name="T57" fmla="*/ 78 h 132"/>
              <a:gd name="T58" fmla="*/ 90 w 114"/>
              <a:gd name="T59" fmla="*/ 78 h 132"/>
              <a:gd name="T60" fmla="*/ 96 w 114"/>
              <a:gd name="T61" fmla="*/ 78 h 132"/>
              <a:gd name="T62" fmla="*/ 96 w 114"/>
              <a:gd name="T63" fmla="*/ 78 h 132"/>
              <a:gd name="T64" fmla="*/ 102 w 114"/>
              <a:gd name="T65" fmla="*/ 84 h 132"/>
              <a:gd name="T66" fmla="*/ 114 w 114"/>
              <a:gd name="T67" fmla="*/ 96 h 132"/>
              <a:gd name="T68" fmla="*/ 114 w 114"/>
              <a:gd name="T69" fmla="*/ 102 h 132"/>
              <a:gd name="T70" fmla="*/ 114 w 114"/>
              <a:gd name="T71" fmla="*/ 108 h 132"/>
              <a:gd name="T72" fmla="*/ 108 w 114"/>
              <a:gd name="T73" fmla="*/ 108 h 132"/>
              <a:gd name="T74" fmla="*/ 102 w 114"/>
              <a:gd name="T75" fmla="*/ 108 h 132"/>
              <a:gd name="T76" fmla="*/ 96 w 114"/>
              <a:gd name="T77" fmla="*/ 108 h 132"/>
              <a:gd name="T78" fmla="*/ 96 w 114"/>
              <a:gd name="T79" fmla="*/ 114 h 132"/>
              <a:gd name="T80" fmla="*/ 96 w 114"/>
              <a:gd name="T81" fmla="*/ 120 h 132"/>
              <a:gd name="T82" fmla="*/ 90 w 114"/>
              <a:gd name="T83" fmla="*/ 126 h 132"/>
              <a:gd name="T84" fmla="*/ 84 w 114"/>
              <a:gd name="T85" fmla="*/ 132 h 132"/>
              <a:gd name="T86" fmla="*/ 78 w 114"/>
              <a:gd name="T87" fmla="*/ 132 h 132"/>
              <a:gd name="T88" fmla="*/ 78 w 114"/>
              <a:gd name="T89" fmla="*/ 126 h 132"/>
              <a:gd name="T90" fmla="*/ 72 w 114"/>
              <a:gd name="T91" fmla="*/ 120 h 132"/>
              <a:gd name="T92" fmla="*/ 66 w 114"/>
              <a:gd name="T93" fmla="*/ 120 h 132"/>
              <a:gd name="T94" fmla="*/ 66 w 114"/>
              <a:gd name="T95" fmla="*/ 120 h 132"/>
              <a:gd name="T96" fmla="*/ 66 w 114"/>
              <a:gd name="T97" fmla="*/ 114 h 132"/>
              <a:gd name="T98" fmla="*/ 54 w 114"/>
              <a:gd name="T99" fmla="*/ 114 h 132"/>
              <a:gd name="T100" fmla="*/ 54 w 114"/>
              <a:gd name="T101" fmla="*/ 108 h 132"/>
              <a:gd name="T102" fmla="*/ 48 w 114"/>
              <a:gd name="T103" fmla="*/ 108 h 132"/>
              <a:gd name="T104" fmla="*/ 42 w 114"/>
              <a:gd name="T105" fmla="*/ 102 h 132"/>
              <a:gd name="T106" fmla="*/ 30 w 114"/>
              <a:gd name="T107" fmla="*/ 96 h 132"/>
              <a:gd name="T108" fmla="*/ 30 w 114"/>
              <a:gd name="T109" fmla="*/ 96 h 132"/>
              <a:gd name="T110" fmla="*/ 24 w 114"/>
              <a:gd name="T111" fmla="*/ 90 h 132"/>
              <a:gd name="T112" fmla="*/ 18 w 114"/>
              <a:gd name="T113" fmla="*/ 78 h 132"/>
              <a:gd name="T114" fmla="*/ 12 w 114"/>
              <a:gd name="T115" fmla="*/ 66 h 132"/>
              <a:gd name="T116" fmla="*/ 12 w 114"/>
              <a:gd name="T117" fmla="*/ 60 h 132"/>
              <a:gd name="T118" fmla="*/ 0 w 114"/>
              <a:gd name="T119" fmla="*/ 54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14" h="132">
                <a:moveTo>
                  <a:pt x="0" y="54"/>
                </a:move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48"/>
                </a:lnTo>
                <a:lnTo>
                  <a:pt x="0" y="48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36"/>
                </a:lnTo>
                <a:lnTo>
                  <a:pt x="6" y="36"/>
                </a:lnTo>
                <a:lnTo>
                  <a:pt x="6" y="30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12" y="30"/>
                </a:lnTo>
                <a:lnTo>
                  <a:pt x="6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24"/>
                </a:lnTo>
                <a:lnTo>
                  <a:pt x="24" y="12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30" y="0"/>
                </a:lnTo>
                <a:lnTo>
                  <a:pt x="30" y="6"/>
                </a:lnTo>
                <a:lnTo>
                  <a:pt x="30" y="0"/>
                </a:lnTo>
                <a:lnTo>
                  <a:pt x="30" y="6"/>
                </a:lnTo>
                <a:lnTo>
                  <a:pt x="30" y="0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2" y="6"/>
                </a:lnTo>
                <a:lnTo>
                  <a:pt x="48" y="6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6"/>
                </a:lnTo>
                <a:lnTo>
                  <a:pt x="48" y="6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30"/>
                </a:lnTo>
                <a:lnTo>
                  <a:pt x="78" y="30"/>
                </a:lnTo>
                <a:lnTo>
                  <a:pt x="72" y="30"/>
                </a:lnTo>
                <a:lnTo>
                  <a:pt x="78" y="30"/>
                </a:lnTo>
                <a:lnTo>
                  <a:pt x="72" y="30"/>
                </a:lnTo>
                <a:lnTo>
                  <a:pt x="72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6"/>
                </a:lnTo>
                <a:lnTo>
                  <a:pt x="78" y="30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78" y="48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8" y="72"/>
                </a:lnTo>
                <a:lnTo>
                  <a:pt x="78" y="72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84" y="78"/>
                </a:lnTo>
                <a:lnTo>
                  <a:pt x="84" y="72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8" y="96"/>
                </a:lnTo>
                <a:lnTo>
                  <a:pt x="114" y="96"/>
                </a:lnTo>
                <a:lnTo>
                  <a:pt x="114" y="96"/>
                </a:lnTo>
                <a:lnTo>
                  <a:pt x="114" y="96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96"/>
                </a:lnTo>
                <a:lnTo>
                  <a:pt x="114" y="102"/>
                </a:lnTo>
                <a:lnTo>
                  <a:pt x="108" y="102"/>
                </a:lnTo>
                <a:lnTo>
                  <a:pt x="108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14" y="108"/>
                </a:lnTo>
                <a:lnTo>
                  <a:pt x="114" y="108"/>
                </a:lnTo>
                <a:lnTo>
                  <a:pt x="108" y="108"/>
                </a:lnTo>
                <a:lnTo>
                  <a:pt x="108" y="108"/>
                </a:lnTo>
                <a:lnTo>
                  <a:pt x="114" y="108"/>
                </a:lnTo>
                <a:lnTo>
                  <a:pt x="114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6"/>
                </a:lnTo>
                <a:lnTo>
                  <a:pt x="96" y="120"/>
                </a:lnTo>
                <a:lnTo>
                  <a:pt x="96" y="120"/>
                </a:lnTo>
                <a:lnTo>
                  <a:pt x="90" y="126"/>
                </a:lnTo>
                <a:lnTo>
                  <a:pt x="90" y="126"/>
                </a:lnTo>
                <a:lnTo>
                  <a:pt x="90" y="126"/>
                </a:lnTo>
                <a:lnTo>
                  <a:pt x="90" y="126"/>
                </a:lnTo>
                <a:lnTo>
                  <a:pt x="90" y="126"/>
                </a:lnTo>
                <a:lnTo>
                  <a:pt x="90" y="126"/>
                </a:lnTo>
                <a:lnTo>
                  <a:pt x="90" y="126"/>
                </a:lnTo>
                <a:lnTo>
                  <a:pt x="90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78" y="132"/>
                </a:lnTo>
                <a:lnTo>
                  <a:pt x="78" y="132"/>
                </a:lnTo>
                <a:lnTo>
                  <a:pt x="78" y="132"/>
                </a:lnTo>
                <a:lnTo>
                  <a:pt x="78" y="132"/>
                </a:lnTo>
                <a:lnTo>
                  <a:pt x="78" y="132"/>
                </a:lnTo>
                <a:lnTo>
                  <a:pt x="78" y="132"/>
                </a:lnTo>
                <a:lnTo>
                  <a:pt x="84" y="126"/>
                </a:lnTo>
                <a:lnTo>
                  <a:pt x="84" y="126"/>
                </a:lnTo>
                <a:lnTo>
                  <a:pt x="78" y="126"/>
                </a:lnTo>
                <a:lnTo>
                  <a:pt x="78" y="126"/>
                </a:lnTo>
                <a:lnTo>
                  <a:pt x="78" y="126"/>
                </a:lnTo>
                <a:lnTo>
                  <a:pt x="78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0"/>
                </a:lnTo>
                <a:lnTo>
                  <a:pt x="72" y="120"/>
                </a:lnTo>
                <a:lnTo>
                  <a:pt x="72" y="126"/>
                </a:lnTo>
                <a:lnTo>
                  <a:pt x="72" y="120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66" y="126"/>
                </a:lnTo>
                <a:lnTo>
                  <a:pt x="66" y="120"/>
                </a:lnTo>
                <a:lnTo>
                  <a:pt x="66" y="120"/>
                </a:lnTo>
                <a:lnTo>
                  <a:pt x="72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6" y="120"/>
                </a:lnTo>
                <a:lnTo>
                  <a:pt x="66" y="114"/>
                </a:lnTo>
                <a:lnTo>
                  <a:pt x="66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20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8"/>
                </a:lnTo>
                <a:lnTo>
                  <a:pt x="42" y="108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36" y="102"/>
                </a:lnTo>
                <a:lnTo>
                  <a:pt x="36" y="102"/>
                </a:lnTo>
                <a:lnTo>
                  <a:pt x="42" y="96"/>
                </a:lnTo>
                <a:lnTo>
                  <a:pt x="36" y="96"/>
                </a:lnTo>
                <a:lnTo>
                  <a:pt x="36" y="96"/>
                </a:lnTo>
                <a:lnTo>
                  <a:pt x="30" y="96"/>
                </a:lnTo>
                <a:lnTo>
                  <a:pt x="30" y="96"/>
                </a:lnTo>
                <a:lnTo>
                  <a:pt x="36" y="96"/>
                </a:lnTo>
                <a:lnTo>
                  <a:pt x="36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84"/>
                </a:lnTo>
                <a:lnTo>
                  <a:pt x="24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78"/>
                </a:lnTo>
                <a:lnTo>
                  <a:pt x="18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2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2" y="60"/>
                </a:lnTo>
                <a:lnTo>
                  <a:pt x="12" y="60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0" y="5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73" name="Freeform 406"/>
          <p:cNvSpPr>
            <a:spLocks/>
          </p:cNvSpPr>
          <p:nvPr/>
        </p:nvSpPr>
        <p:spPr bwMode="auto">
          <a:xfrm>
            <a:off x="6196601" y="4244214"/>
            <a:ext cx="237690" cy="128482"/>
          </a:xfrm>
          <a:custGeom>
            <a:avLst/>
            <a:gdLst>
              <a:gd name="T0" fmla="*/ 6 w 222"/>
              <a:gd name="T1" fmla="*/ 78 h 120"/>
              <a:gd name="T2" fmla="*/ 12 w 222"/>
              <a:gd name="T3" fmla="*/ 54 h 120"/>
              <a:gd name="T4" fmla="*/ 18 w 222"/>
              <a:gd name="T5" fmla="*/ 48 h 120"/>
              <a:gd name="T6" fmla="*/ 36 w 222"/>
              <a:gd name="T7" fmla="*/ 36 h 120"/>
              <a:gd name="T8" fmla="*/ 48 w 222"/>
              <a:gd name="T9" fmla="*/ 30 h 120"/>
              <a:gd name="T10" fmla="*/ 60 w 222"/>
              <a:gd name="T11" fmla="*/ 24 h 120"/>
              <a:gd name="T12" fmla="*/ 78 w 222"/>
              <a:gd name="T13" fmla="*/ 12 h 120"/>
              <a:gd name="T14" fmla="*/ 90 w 222"/>
              <a:gd name="T15" fmla="*/ 12 h 120"/>
              <a:gd name="T16" fmla="*/ 102 w 222"/>
              <a:gd name="T17" fmla="*/ 6 h 120"/>
              <a:gd name="T18" fmla="*/ 120 w 222"/>
              <a:gd name="T19" fmla="*/ 6 h 120"/>
              <a:gd name="T20" fmla="*/ 132 w 222"/>
              <a:gd name="T21" fmla="*/ 12 h 120"/>
              <a:gd name="T22" fmla="*/ 150 w 222"/>
              <a:gd name="T23" fmla="*/ 12 h 120"/>
              <a:gd name="T24" fmla="*/ 162 w 222"/>
              <a:gd name="T25" fmla="*/ 12 h 120"/>
              <a:gd name="T26" fmla="*/ 168 w 222"/>
              <a:gd name="T27" fmla="*/ 12 h 120"/>
              <a:gd name="T28" fmla="*/ 186 w 222"/>
              <a:gd name="T29" fmla="*/ 12 h 120"/>
              <a:gd name="T30" fmla="*/ 192 w 222"/>
              <a:gd name="T31" fmla="*/ 18 h 120"/>
              <a:gd name="T32" fmla="*/ 198 w 222"/>
              <a:gd name="T33" fmla="*/ 6 h 120"/>
              <a:gd name="T34" fmla="*/ 204 w 222"/>
              <a:gd name="T35" fmla="*/ 0 h 120"/>
              <a:gd name="T36" fmla="*/ 216 w 222"/>
              <a:gd name="T37" fmla="*/ 0 h 120"/>
              <a:gd name="T38" fmla="*/ 216 w 222"/>
              <a:gd name="T39" fmla="*/ 6 h 120"/>
              <a:gd name="T40" fmla="*/ 222 w 222"/>
              <a:gd name="T41" fmla="*/ 12 h 120"/>
              <a:gd name="T42" fmla="*/ 222 w 222"/>
              <a:gd name="T43" fmla="*/ 18 h 120"/>
              <a:gd name="T44" fmla="*/ 216 w 222"/>
              <a:gd name="T45" fmla="*/ 18 h 120"/>
              <a:gd name="T46" fmla="*/ 216 w 222"/>
              <a:gd name="T47" fmla="*/ 24 h 120"/>
              <a:gd name="T48" fmla="*/ 216 w 222"/>
              <a:gd name="T49" fmla="*/ 24 h 120"/>
              <a:gd name="T50" fmla="*/ 210 w 222"/>
              <a:gd name="T51" fmla="*/ 30 h 120"/>
              <a:gd name="T52" fmla="*/ 210 w 222"/>
              <a:gd name="T53" fmla="*/ 36 h 120"/>
              <a:gd name="T54" fmla="*/ 210 w 222"/>
              <a:gd name="T55" fmla="*/ 42 h 120"/>
              <a:gd name="T56" fmla="*/ 210 w 222"/>
              <a:gd name="T57" fmla="*/ 48 h 120"/>
              <a:gd name="T58" fmla="*/ 210 w 222"/>
              <a:gd name="T59" fmla="*/ 48 h 120"/>
              <a:gd name="T60" fmla="*/ 216 w 222"/>
              <a:gd name="T61" fmla="*/ 54 h 120"/>
              <a:gd name="T62" fmla="*/ 216 w 222"/>
              <a:gd name="T63" fmla="*/ 60 h 120"/>
              <a:gd name="T64" fmla="*/ 210 w 222"/>
              <a:gd name="T65" fmla="*/ 66 h 120"/>
              <a:gd name="T66" fmla="*/ 192 w 222"/>
              <a:gd name="T67" fmla="*/ 66 h 120"/>
              <a:gd name="T68" fmla="*/ 186 w 222"/>
              <a:gd name="T69" fmla="*/ 66 h 120"/>
              <a:gd name="T70" fmla="*/ 192 w 222"/>
              <a:gd name="T71" fmla="*/ 78 h 120"/>
              <a:gd name="T72" fmla="*/ 180 w 222"/>
              <a:gd name="T73" fmla="*/ 84 h 120"/>
              <a:gd name="T74" fmla="*/ 168 w 222"/>
              <a:gd name="T75" fmla="*/ 90 h 120"/>
              <a:gd name="T76" fmla="*/ 168 w 222"/>
              <a:gd name="T77" fmla="*/ 120 h 120"/>
              <a:gd name="T78" fmla="*/ 156 w 222"/>
              <a:gd name="T79" fmla="*/ 114 h 120"/>
              <a:gd name="T80" fmla="*/ 144 w 222"/>
              <a:gd name="T81" fmla="*/ 102 h 120"/>
              <a:gd name="T82" fmla="*/ 132 w 222"/>
              <a:gd name="T83" fmla="*/ 102 h 120"/>
              <a:gd name="T84" fmla="*/ 120 w 222"/>
              <a:gd name="T85" fmla="*/ 102 h 120"/>
              <a:gd name="T86" fmla="*/ 114 w 222"/>
              <a:gd name="T87" fmla="*/ 96 h 120"/>
              <a:gd name="T88" fmla="*/ 102 w 222"/>
              <a:gd name="T89" fmla="*/ 96 h 120"/>
              <a:gd name="T90" fmla="*/ 96 w 222"/>
              <a:gd name="T91" fmla="*/ 90 h 120"/>
              <a:gd name="T92" fmla="*/ 90 w 222"/>
              <a:gd name="T93" fmla="*/ 90 h 120"/>
              <a:gd name="T94" fmla="*/ 90 w 222"/>
              <a:gd name="T95" fmla="*/ 84 h 120"/>
              <a:gd name="T96" fmla="*/ 84 w 222"/>
              <a:gd name="T97" fmla="*/ 90 h 120"/>
              <a:gd name="T98" fmla="*/ 72 w 222"/>
              <a:gd name="T99" fmla="*/ 90 h 120"/>
              <a:gd name="T100" fmla="*/ 66 w 222"/>
              <a:gd name="T101" fmla="*/ 84 h 120"/>
              <a:gd name="T102" fmla="*/ 66 w 222"/>
              <a:gd name="T103" fmla="*/ 90 h 120"/>
              <a:gd name="T104" fmla="*/ 54 w 222"/>
              <a:gd name="T105" fmla="*/ 90 h 120"/>
              <a:gd name="T106" fmla="*/ 48 w 222"/>
              <a:gd name="T107" fmla="*/ 90 h 120"/>
              <a:gd name="T108" fmla="*/ 36 w 222"/>
              <a:gd name="T109" fmla="*/ 96 h 120"/>
              <a:gd name="T110" fmla="*/ 42 w 222"/>
              <a:gd name="T111" fmla="*/ 90 h 120"/>
              <a:gd name="T112" fmla="*/ 24 w 222"/>
              <a:gd name="T113" fmla="*/ 90 h 120"/>
              <a:gd name="T114" fmla="*/ 18 w 222"/>
              <a:gd name="T115" fmla="*/ 90 h 120"/>
              <a:gd name="T116" fmla="*/ 12 w 222"/>
              <a:gd name="T117" fmla="*/ 90 h 120"/>
              <a:gd name="T118" fmla="*/ 6 w 222"/>
              <a:gd name="T119" fmla="*/ 96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22" h="120">
                <a:moveTo>
                  <a:pt x="0" y="96"/>
                </a:moveTo>
                <a:lnTo>
                  <a:pt x="0" y="96"/>
                </a:lnTo>
                <a:lnTo>
                  <a:pt x="0" y="96"/>
                </a:lnTo>
                <a:lnTo>
                  <a:pt x="0" y="90"/>
                </a:lnTo>
                <a:lnTo>
                  <a:pt x="6" y="84"/>
                </a:lnTo>
                <a:lnTo>
                  <a:pt x="6" y="78"/>
                </a:lnTo>
                <a:lnTo>
                  <a:pt x="6" y="78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12" y="60"/>
                </a:lnTo>
                <a:lnTo>
                  <a:pt x="12" y="54"/>
                </a:lnTo>
                <a:lnTo>
                  <a:pt x="12" y="54"/>
                </a:lnTo>
                <a:lnTo>
                  <a:pt x="18" y="54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24" y="42"/>
                </a:lnTo>
                <a:lnTo>
                  <a:pt x="30" y="42"/>
                </a:lnTo>
                <a:lnTo>
                  <a:pt x="30" y="42"/>
                </a:lnTo>
                <a:lnTo>
                  <a:pt x="36" y="42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42" y="36"/>
                </a:lnTo>
                <a:lnTo>
                  <a:pt x="42" y="30"/>
                </a:lnTo>
                <a:lnTo>
                  <a:pt x="42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72" y="18"/>
                </a:lnTo>
                <a:lnTo>
                  <a:pt x="72" y="18"/>
                </a:lnTo>
                <a:lnTo>
                  <a:pt x="78" y="12"/>
                </a:lnTo>
                <a:lnTo>
                  <a:pt x="78" y="12"/>
                </a:lnTo>
                <a:lnTo>
                  <a:pt x="78" y="18"/>
                </a:lnTo>
                <a:lnTo>
                  <a:pt x="78" y="12"/>
                </a:lnTo>
                <a:lnTo>
                  <a:pt x="84" y="12"/>
                </a:lnTo>
                <a:lnTo>
                  <a:pt x="84" y="12"/>
                </a:lnTo>
                <a:lnTo>
                  <a:pt x="90" y="12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6" y="6"/>
                </a:lnTo>
                <a:lnTo>
                  <a:pt x="102" y="6"/>
                </a:lnTo>
                <a:lnTo>
                  <a:pt x="102" y="6"/>
                </a:lnTo>
                <a:lnTo>
                  <a:pt x="108" y="12"/>
                </a:lnTo>
                <a:lnTo>
                  <a:pt x="108" y="12"/>
                </a:lnTo>
                <a:lnTo>
                  <a:pt x="114" y="6"/>
                </a:lnTo>
                <a:lnTo>
                  <a:pt x="120" y="6"/>
                </a:lnTo>
                <a:lnTo>
                  <a:pt x="120" y="6"/>
                </a:lnTo>
                <a:lnTo>
                  <a:pt x="120" y="12"/>
                </a:lnTo>
                <a:lnTo>
                  <a:pt x="126" y="12"/>
                </a:lnTo>
                <a:lnTo>
                  <a:pt x="126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74" y="12"/>
                </a:lnTo>
                <a:lnTo>
                  <a:pt x="180" y="12"/>
                </a:lnTo>
                <a:lnTo>
                  <a:pt x="180" y="12"/>
                </a:lnTo>
                <a:lnTo>
                  <a:pt x="180" y="12"/>
                </a:lnTo>
                <a:lnTo>
                  <a:pt x="186" y="12"/>
                </a:lnTo>
                <a:lnTo>
                  <a:pt x="186" y="12"/>
                </a:lnTo>
                <a:lnTo>
                  <a:pt x="192" y="12"/>
                </a:lnTo>
                <a:lnTo>
                  <a:pt x="192" y="12"/>
                </a:lnTo>
                <a:lnTo>
                  <a:pt x="192" y="18"/>
                </a:lnTo>
                <a:lnTo>
                  <a:pt x="192" y="18"/>
                </a:lnTo>
                <a:lnTo>
                  <a:pt x="192" y="18"/>
                </a:lnTo>
                <a:lnTo>
                  <a:pt x="192" y="18"/>
                </a:lnTo>
                <a:lnTo>
                  <a:pt x="198" y="18"/>
                </a:lnTo>
                <a:lnTo>
                  <a:pt x="198" y="18"/>
                </a:lnTo>
                <a:lnTo>
                  <a:pt x="198" y="12"/>
                </a:lnTo>
                <a:lnTo>
                  <a:pt x="198" y="12"/>
                </a:lnTo>
                <a:lnTo>
                  <a:pt x="198" y="6"/>
                </a:lnTo>
                <a:lnTo>
                  <a:pt x="198" y="6"/>
                </a:lnTo>
                <a:lnTo>
                  <a:pt x="198" y="6"/>
                </a:lnTo>
                <a:lnTo>
                  <a:pt x="204" y="0"/>
                </a:lnTo>
                <a:lnTo>
                  <a:pt x="204" y="0"/>
                </a:lnTo>
                <a:lnTo>
                  <a:pt x="204" y="0"/>
                </a:lnTo>
                <a:lnTo>
                  <a:pt x="204" y="0"/>
                </a:lnTo>
                <a:lnTo>
                  <a:pt x="204" y="0"/>
                </a:lnTo>
                <a:lnTo>
                  <a:pt x="204" y="0"/>
                </a:lnTo>
                <a:lnTo>
                  <a:pt x="204" y="0"/>
                </a:lnTo>
                <a:lnTo>
                  <a:pt x="204" y="0"/>
                </a:lnTo>
                <a:lnTo>
                  <a:pt x="210" y="0"/>
                </a:lnTo>
                <a:lnTo>
                  <a:pt x="216" y="0"/>
                </a:lnTo>
                <a:lnTo>
                  <a:pt x="216" y="0"/>
                </a:lnTo>
                <a:lnTo>
                  <a:pt x="216" y="0"/>
                </a:lnTo>
                <a:lnTo>
                  <a:pt x="216" y="0"/>
                </a:lnTo>
                <a:lnTo>
                  <a:pt x="216" y="0"/>
                </a:lnTo>
                <a:lnTo>
                  <a:pt x="216" y="0"/>
                </a:lnTo>
                <a:lnTo>
                  <a:pt x="216" y="6"/>
                </a:lnTo>
                <a:lnTo>
                  <a:pt x="216" y="6"/>
                </a:lnTo>
                <a:lnTo>
                  <a:pt x="222" y="6"/>
                </a:lnTo>
                <a:lnTo>
                  <a:pt x="222" y="12"/>
                </a:lnTo>
                <a:lnTo>
                  <a:pt x="222" y="12"/>
                </a:lnTo>
                <a:lnTo>
                  <a:pt x="222" y="12"/>
                </a:lnTo>
                <a:lnTo>
                  <a:pt x="222" y="12"/>
                </a:lnTo>
                <a:lnTo>
                  <a:pt x="222" y="12"/>
                </a:lnTo>
                <a:lnTo>
                  <a:pt x="222" y="12"/>
                </a:lnTo>
                <a:lnTo>
                  <a:pt x="222" y="12"/>
                </a:lnTo>
                <a:lnTo>
                  <a:pt x="222" y="12"/>
                </a:lnTo>
                <a:lnTo>
                  <a:pt x="216" y="12"/>
                </a:lnTo>
                <a:lnTo>
                  <a:pt x="222" y="18"/>
                </a:lnTo>
                <a:lnTo>
                  <a:pt x="216" y="18"/>
                </a:lnTo>
                <a:lnTo>
                  <a:pt x="216" y="18"/>
                </a:lnTo>
                <a:lnTo>
                  <a:pt x="216" y="18"/>
                </a:lnTo>
                <a:lnTo>
                  <a:pt x="216" y="18"/>
                </a:lnTo>
                <a:lnTo>
                  <a:pt x="216" y="18"/>
                </a:lnTo>
                <a:lnTo>
                  <a:pt x="216" y="18"/>
                </a:lnTo>
                <a:lnTo>
                  <a:pt x="216" y="18"/>
                </a:lnTo>
                <a:lnTo>
                  <a:pt x="216" y="18"/>
                </a:lnTo>
                <a:lnTo>
                  <a:pt x="216" y="18"/>
                </a:lnTo>
                <a:lnTo>
                  <a:pt x="216" y="18"/>
                </a:lnTo>
                <a:lnTo>
                  <a:pt x="216" y="18"/>
                </a:lnTo>
                <a:lnTo>
                  <a:pt x="216" y="24"/>
                </a:lnTo>
                <a:lnTo>
                  <a:pt x="216" y="24"/>
                </a:lnTo>
                <a:lnTo>
                  <a:pt x="216" y="24"/>
                </a:lnTo>
                <a:lnTo>
                  <a:pt x="216" y="24"/>
                </a:lnTo>
                <a:lnTo>
                  <a:pt x="216" y="24"/>
                </a:lnTo>
                <a:lnTo>
                  <a:pt x="216" y="24"/>
                </a:lnTo>
                <a:lnTo>
                  <a:pt x="216" y="24"/>
                </a:lnTo>
                <a:lnTo>
                  <a:pt x="216" y="30"/>
                </a:lnTo>
                <a:lnTo>
                  <a:pt x="210" y="30"/>
                </a:lnTo>
                <a:lnTo>
                  <a:pt x="210" y="30"/>
                </a:lnTo>
                <a:lnTo>
                  <a:pt x="210" y="30"/>
                </a:lnTo>
                <a:lnTo>
                  <a:pt x="210" y="30"/>
                </a:lnTo>
                <a:lnTo>
                  <a:pt x="210" y="30"/>
                </a:lnTo>
                <a:lnTo>
                  <a:pt x="210" y="30"/>
                </a:lnTo>
                <a:lnTo>
                  <a:pt x="210" y="30"/>
                </a:lnTo>
                <a:lnTo>
                  <a:pt x="210" y="36"/>
                </a:lnTo>
                <a:lnTo>
                  <a:pt x="210" y="36"/>
                </a:lnTo>
                <a:lnTo>
                  <a:pt x="210" y="36"/>
                </a:lnTo>
                <a:lnTo>
                  <a:pt x="210" y="36"/>
                </a:lnTo>
                <a:lnTo>
                  <a:pt x="210" y="36"/>
                </a:lnTo>
                <a:lnTo>
                  <a:pt x="210" y="36"/>
                </a:lnTo>
                <a:lnTo>
                  <a:pt x="210" y="36"/>
                </a:lnTo>
                <a:lnTo>
                  <a:pt x="210" y="36"/>
                </a:lnTo>
                <a:lnTo>
                  <a:pt x="210" y="42"/>
                </a:lnTo>
                <a:lnTo>
                  <a:pt x="210" y="42"/>
                </a:lnTo>
                <a:lnTo>
                  <a:pt x="210" y="42"/>
                </a:lnTo>
                <a:lnTo>
                  <a:pt x="210" y="42"/>
                </a:lnTo>
                <a:lnTo>
                  <a:pt x="210" y="42"/>
                </a:lnTo>
                <a:lnTo>
                  <a:pt x="210" y="48"/>
                </a:lnTo>
                <a:lnTo>
                  <a:pt x="210" y="48"/>
                </a:lnTo>
                <a:lnTo>
                  <a:pt x="210" y="48"/>
                </a:lnTo>
                <a:lnTo>
                  <a:pt x="210" y="48"/>
                </a:lnTo>
                <a:lnTo>
                  <a:pt x="210" y="48"/>
                </a:lnTo>
                <a:lnTo>
                  <a:pt x="210" y="48"/>
                </a:lnTo>
                <a:lnTo>
                  <a:pt x="210" y="48"/>
                </a:lnTo>
                <a:lnTo>
                  <a:pt x="210" y="48"/>
                </a:lnTo>
                <a:lnTo>
                  <a:pt x="210" y="48"/>
                </a:lnTo>
                <a:lnTo>
                  <a:pt x="210" y="54"/>
                </a:lnTo>
                <a:lnTo>
                  <a:pt x="210" y="54"/>
                </a:lnTo>
                <a:lnTo>
                  <a:pt x="210" y="54"/>
                </a:lnTo>
                <a:lnTo>
                  <a:pt x="216" y="54"/>
                </a:lnTo>
                <a:lnTo>
                  <a:pt x="216" y="54"/>
                </a:lnTo>
                <a:lnTo>
                  <a:pt x="216" y="54"/>
                </a:lnTo>
                <a:lnTo>
                  <a:pt x="216" y="54"/>
                </a:lnTo>
                <a:lnTo>
                  <a:pt x="216" y="54"/>
                </a:lnTo>
                <a:lnTo>
                  <a:pt x="216" y="54"/>
                </a:lnTo>
                <a:lnTo>
                  <a:pt x="216" y="60"/>
                </a:lnTo>
                <a:lnTo>
                  <a:pt x="216" y="60"/>
                </a:lnTo>
                <a:lnTo>
                  <a:pt x="216" y="60"/>
                </a:lnTo>
                <a:lnTo>
                  <a:pt x="216" y="60"/>
                </a:lnTo>
                <a:lnTo>
                  <a:pt x="216" y="60"/>
                </a:lnTo>
                <a:lnTo>
                  <a:pt x="216" y="60"/>
                </a:lnTo>
                <a:lnTo>
                  <a:pt x="216" y="66"/>
                </a:lnTo>
                <a:lnTo>
                  <a:pt x="216" y="66"/>
                </a:lnTo>
                <a:lnTo>
                  <a:pt x="210" y="66"/>
                </a:lnTo>
                <a:lnTo>
                  <a:pt x="210" y="66"/>
                </a:lnTo>
                <a:lnTo>
                  <a:pt x="204" y="66"/>
                </a:lnTo>
                <a:lnTo>
                  <a:pt x="198" y="72"/>
                </a:lnTo>
                <a:lnTo>
                  <a:pt x="198" y="72"/>
                </a:lnTo>
                <a:lnTo>
                  <a:pt x="198" y="66"/>
                </a:lnTo>
                <a:lnTo>
                  <a:pt x="192" y="66"/>
                </a:lnTo>
                <a:lnTo>
                  <a:pt x="192" y="66"/>
                </a:lnTo>
                <a:lnTo>
                  <a:pt x="186" y="66"/>
                </a:lnTo>
                <a:lnTo>
                  <a:pt x="186" y="66"/>
                </a:lnTo>
                <a:lnTo>
                  <a:pt x="186" y="66"/>
                </a:lnTo>
                <a:lnTo>
                  <a:pt x="186" y="66"/>
                </a:lnTo>
                <a:lnTo>
                  <a:pt x="186" y="66"/>
                </a:lnTo>
                <a:lnTo>
                  <a:pt x="186" y="72"/>
                </a:lnTo>
                <a:lnTo>
                  <a:pt x="186" y="72"/>
                </a:lnTo>
                <a:lnTo>
                  <a:pt x="186" y="72"/>
                </a:lnTo>
                <a:lnTo>
                  <a:pt x="186" y="72"/>
                </a:lnTo>
                <a:lnTo>
                  <a:pt x="192" y="78"/>
                </a:lnTo>
                <a:lnTo>
                  <a:pt x="192" y="78"/>
                </a:lnTo>
                <a:lnTo>
                  <a:pt x="192" y="78"/>
                </a:lnTo>
                <a:lnTo>
                  <a:pt x="186" y="84"/>
                </a:lnTo>
                <a:lnTo>
                  <a:pt x="186" y="84"/>
                </a:lnTo>
                <a:lnTo>
                  <a:pt x="186" y="84"/>
                </a:lnTo>
                <a:lnTo>
                  <a:pt x="180" y="84"/>
                </a:lnTo>
                <a:lnTo>
                  <a:pt x="180" y="84"/>
                </a:lnTo>
                <a:lnTo>
                  <a:pt x="180" y="84"/>
                </a:lnTo>
                <a:lnTo>
                  <a:pt x="174" y="84"/>
                </a:lnTo>
                <a:lnTo>
                  <a:pt x="168" y="84"/>
                </a:lnTo>
                <a:lnTo>
                  <a:pt x="168" y="90"/>
                </a:lnTo>
                <a:lnTo>
                  <a:pt x="168" y="90"/>
                </a:lnTo>
                <a:lnTo>
                  <a:pt x="168" y="90"/>
                </a:lnTo>
                <a:lnTo>
                  <a:pt x="168" y="96"/>
                </a:lnTo>
                <a:lnTo>
                  <a:pt x="168" y="96"/>
                </a:lnTo>
                <a:lnTo>
                  <a:pt x="168" y="102"/>
                </a:lnTo>
                <a:lnTo>
                  <a:pt x="168" y="108"/>
                </a:lnTo>
                <a:lnTo>
                  <a:pt x="168" y="114"/>
                </a:lnTo>
                <a:lnTo>
                  <a:pt x="168" y="120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56" y="114"/>
                </a:lnTo>
                <a:lnTo>
                  <a:pt x="162" y="114"/>
                </a:lnTo>
                <a:lnTo>
                  <a:pt x="156" y="114"/>
                </a:lnTo>
                <a:lnTo>
                  <a:pt x="156" y="114"/>
                </a:lnTo>
                <a:lnTo>
                  <a:pt x="156" y="114"/>
                </a:lnTo>
                <a:lnTo>
                  <a:pt x="156" y="108"/>
                </a:lnTo>
                <a:lnTo>
                  <a:pt x="150" y="108"/>
                </a:lnTo>
                <a:lnTo>
                  <a:pt x="150" y="108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2" y="102"/>
                </a:lnTo>
                <a:lnTo>
                  <a:pt x="132" y="102"/>
                </a:lnTo>
                <a:lnTo>
                  <a:pt x="126" y="102"/>
                </a:lnTo>
                <a:lnTo>
                  <a:pt x="126" y="102"/>
                </a:lnTo>
                <a:lnTo>
                  <a:pt x="126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96"/>
                </a:lnTo>
                <a:lnTo>
                  <a:pt x="120" y="96"/>
                </a:lnTo>
                <a:lnTo>
                  <a:pt x="120" y="96"/>
                </a:lnTo>
                <a:lnTo>
                  <a:pt x="114" y="96"/>
                </a:lnTo>
                <a:lnTo>
                  <a:pt x="114" y="96"/>
                </a:lnTo>
                <a:lnTo>
                  <a:pt x="114" y="96"/>
                </a:lnTo>
                <a:lnTo>
                  <a:pt x="114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96" y="96"/>
                </a:lnTo>
                <a:lnTo>
                  <a:pt x="96" y="96"/>
                </a:lnTo>
                <a:lnTo>
                  <a:pt x="102" y="90"/>
                </a:lnTo>
                <a:lnTo>
                  <a:pt x="102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84" y="90"/>
                </a:lnTo>
                <a:lnTo>
                  <a:pt x="84" y="90"/>
                </a:lnTo>
                <a:lnTo>
                  <a:pt x="90" y="90"/>
                </a:lnTo>
                <a:lnTo>
                  <a:pt x="90" y="84"/>
                </a:lnTo>
                <a:lnTo>
                  <a:pt x="90" y="84"/>
                </a:lnTo>
                <a:lnTo>
                  <a:pt x="84" y="84"/>
                </a:lnTo>
                <a:lnTo>
                  <a:pt x="84" y="84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78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84"/>
                </a:lnTo>
                <a:lnTo>
                  <a:pt x="66" y="84"/>
                </a:lnTo>
                <a:lnTo>
                  <a:pt x="60" y="84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84"/>
                </a:lnTo>
                <a:lnTo>
                  <a:pt x="48" y="84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2" y="90"/>
                </a:lnTo>
                <a:lnTo>
                  <a:pt x="36" y="96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84"/>
                </a:lnTo>
                <a:lnTo>
                  <a:pt x="36" y="84"/>
                </a:lnTo>
                <a:lnTo>
                  <a:pt x="36" y="84"/>
                </a:lnTo>
                <a:lnTo>
                  <a:pt x="30" y="90"/>
                </a:lnTo>
                <a:lnTo>
                  <a:pt x="30" y="90"/>
                </a:lnTo>
                <a:lnTo>
                  <a:pt x="24" y="90"/>
                </a:lnTo>
                <a:lnTo>
                  <a:pt x="24" y="84"/>
                </a:lnTo>
                <a:lnTo>
                  <a:pt x="24" y="84"/>
                </a:lnTo>
                <a:lnTo>
                  <a:pt x="18" y="84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6" y="90"/>
                </a:lnTo>
                <a:lnTo>
                  <a:pt x="6" y="90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0" y="96"/>
                </a:lnTo>
                <a:lnTo>
                  <a:pt x="0" y="102"/>
                </a:lnTo>
                <a:lnTo>
                  <a:pt x="0" y="102"/>
                </a:lnTo>
                <a:lnTo>
                  <a:pt x="0" y="9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74" name="Freeform 407"/>
          <p:cNvSpPr>
            <a:spLocks/>
          </p:cNvSpPr>
          <p:nvPr/>
        </p:nvSpPr>
        <p:spPr bwMode="auto">
          <a:xfrm>
            <a:off x="6132361" y="4334151"/>
            <a:ext cx="167025" cy="147754"/>
          </a:xfrm>
          <a:custGeom>
            <a:avLst/>
            <a:gdLst>
              <a:gd name="T0" fmla="*/ 12 w 156"/>
              <a:gd name="T1" fmla="*/ 90 h 138"/>
              <a:gd name="T2" fmla="*/ 12 w 156"/>
              <a:gd name="T3" fmla="*/ 78 h 138"/>
              <a:gd name="T4" fmla="*/ 18 w 156"/>
              <a:gd name="T5" fmla="*/ 60 h 138"/>
              <a:gd name="T6" fmla="*/ 24 w 156"/>
              <a:gd name="T7" fmla="*/ 36 h 138"/>
              <a:gd name="T8" fmla="*/ 42 w 156"/>
              <a:gd name="T9" fmla="*/ 30 h 138"/>
              <a:gd name="T10" fmla="*/ 60 w 156"/>
              <a:gd name="T11" fmla="*/ 18 h 138"/>
              <a:gd name="T12" fmla="*/ 66 w 156"/>
              <a:gd name="T13" fmla="*/ 12 h 138"/>
              <a:gd name="T14" fmla="*/ 72 w 156"/>
              <a:gd name="T15" fmla="*/ 6 h 138"/>
              <a:gd name="T16" fmla="*/ 78 w 156"/>
              <a:gd name="T17" fmla="*/ 6 h 138"/>
              <a:gd name="T18" fmla="*/ 90 w 156"/>
              <a:gd name="T19" fmla="*/ 6 h 138"/>
              <a:gd name="T20" fmla="*/ 102 w 156"/>
              <a:gd name="T21" fmla="*/ 6 h 138"/>
              <a:gd name="T22" fmla="*/ 108 w 156"/>
              <a:gd name="T23" fmla="*/ 6 h 138"/>
              <a:gd name="T24" fmla="*/ 108 w 156"/>
              <a:gd name="T25" fmla="*/ 0 h 138"/>
              <a:gd name="T26" fmla="*/ 120 w 156"/>
              <a:gd name="T27" fmla="*/ 6 h 138"/>
              <a:gd name="T28" fmla="*/ 120 w 156"/>
              <a:gd name="T29" fmla="*/ 6 h 138"/>
              <a:gd name="T30" fmla="*/ 126 w 156"/>
              <a:gd name="T31" fmla="*/ 6 h 138"/>
              <a:gd name="T32" fmla="*/ 132 w 156"/>
              <a:gd name="T33" fmla="*/ 6 h 138"/>
              <a:gd name="T34" fmla="*/ 144 w 156"/>
              <a:gd name="T35" fmla="*/ 6 h 138"/>
              <a:gd name="T36" fmla="*/ 144 w 156"/>
              <a:gd name="T37" fmla="*/ 6 h 138"/>
              <a:gd name="T38" fmla="*/ 150 w 156"/>
              <a:gd name="T39" fmla="*/ 6 h 138"/>
              <a:gd name="T40" fmla="*/ 144 w 156"/>
              <a:gd name="T41" fmla="*/ 18 h 138"/>
              <a:gd name="T42" fmla="*/ 144 w 156"/>
              <a:gd name="T43" fmla="*/ 24 h 138"/>
              <a:gd name="T44" fmla="*/ 144 w 156"/>
              <a:gd name="T45" fmla="*/ 30 h 138"/>
              <a:gd name="T46" fmla="*/ 144 w 156"/>
              <a:gd name="T47" fmla="*/ 36 h 138"/>
              <a:gd name="T48" fmla="*/ 144 w 156"/>
              <a:gd name="T49" fmla="*/ 42 h 138"/>
              <a:gd name="T50" fmla="*/ 144 w 156"/>
              <a:gd name="T51" fmla="*/ 54 h 138"/>
              <a:gd name="T52" fmla="*/ 150 w 156"/>
              <a:gd name="T53" fmla="*/ 60 h 138"/>
              <a:gd name="T54" fmla="*/ 156 w 156"/>
              <a:gd name="T55" fmla="*/ 72 h 138"/>
              <a:gd name="T56" fmla="*/ 156 w 156"/>
              <a:gd name="T57" fmla="*/ 84 h 138"/>
              <a:gd name="T58" fmla="*/ 150 w 156"/>
              <a:gd name="T59" fmla="*/ 90 h 138"/>
              <a:gd name="T60" fmla="*/ 150 w 156"/>
              <a:gd name="T61" fmla="*/ 102 h 138"/>
              <a:gd name="T62" fmla="*/ 144 w 156"/>
              <a:gd name="T63" fmla="*/ 102 h 138"/>
              <a:gd name="T64" fmla="*/ 144 w 156"/>
              <a:gd name="T65" fmla="*/ 102 h 138"/>
              <a:gd name="T66" fmla="*/ 138 w 156"/>
              <a:gd name="T67" fmla="*/ 96 h 138"/>
              <a:gd name="T68" fmla="*/ 132 w 156"/>
              <a:gd name="T69" fmla="*/ 120 h 138"/>
              <a:gd name="T70" fmla="*/ 132 w 156"/>
              <a:gd name="T71" fmla="*/ 126 h 138"/>
              <a:gd name="T72" fmla="*/ 126 w 156"/>
              <a:gd name="T73" fmla="*/ 126 h 138"/>
              <a:gd name="T74" fmla="*/ 126 w 156"/>
              <a:gd name="T75" fmla="*/ 126 h 138"/>
              <a:gd name="T76" fmla="*/ 120 w 156"/>
              <a:gd name="T77" fmla="*/ 126 h 138"/>
              <a:gd name="T78" fmla="*/ 114 w 156"/>
              <a:gd name="T79" fmla="*/ 126 h 138"/>
              <a:gd name="T80" fmla="*/ 114 w 156"/>
              <a:gd name="T81" fmla="*/ 132 h 138"/>
              <a:gd name="T82" fmla="*/ 108 w 156"/>
              <a:gd name="T83" fmla="*/ 138 h 138"/>
              <a:gd name="T84" fmla="*/ 102 w 156"/>
              <a:gd name="T85" fmla="*/ 138 h 138"/>
              <a:gd name="T86" fmla="*/ 90 w 156"/>
              <a:gd name="T87" fmla="*/ 138 h 138"/>
              <a:gd name="T88" fmla="*/ 78 w 156"/>
              <a:gd name="T89" fmla="*/ 138 h 138"/>
              <a:gd name="T90" fmla="*/ 72 w 156"/>
              <a:gd name="T91" fmla="*/ 138 h 138"/>
              <a:gd name="T92" fmla="*/ 60 w 156"/>
              <a:gd name="T93" fmla="*/ 132 h 138"/>
              <a:gd name="T94" fmla="*/ 54 w 156"/>
              <a:gd name="T95" fmla="*/ 132 h 138"/>
              <a:gd name="T96" fmla="*/ 48 w 156"/>
              <a:gd name="T97" fmla="*/ 126 h 138"/>
              <a:gd name="T98" fmla="*/ 42 w 156"/>
              <a:gd name="T99" fmla="*/ 132 h 138"/>
              <a:gd name="T100" fmla="*/ 30 w 156"/>
              <a:gd name="T101" fmla="*/ 126 h 138"/>
              <a:gd name="T102" fmla="*/ 24 w 156"/>
              <a:gd name="T103" fmla="*/ 126 h 138"/>
              <a:gd name="T104" fmla="*/ 24 w 156"/>
              <a:gd name="T105" fmla="*/ 108 h 138"/>
              <a:gd name="T106" fmla="*/ 18 w 156"/>
              <a:gd name="T107" fmla="*/ 108 h 138"/>
              <a:gd name="T108" fmla="*/ 6 w 156"/>
              <a:gd name="T109" fmla="*/ 108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56" h="138">
                <a:moveTo>
                  <a:pt x="0" y="108"/>
                </a:move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12" y="90"/>
                </a:lnTo>
                <a:lnTo>
                  <a:pt x="12" y="90"/>
                </a:lnTo>
                <a:lnTo>
                  <a:pt x="6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78"/>
                </a:lnTo>
                <a:lnTo>
                  <a:pt x="12" y="72"/>
                </a:lnTo>
                <a:lnTo>
                  <a:pt x="12" y="72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8" y="60"/>
                </a:lnTo>
                <a:lnTo>
                  <a:pt x="18" y="60"/>
                </a:lnTo>
                <a:lnTo>
                  <a:pt x="18" y="54"/>
                </a:lnTo>
                <a:lnTo>
                  <a:pt x="18" y="48"/>
                </a:lnTo>
                <a:lnTo>
                  <a:pt x="18" y="42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30" y="36"/>
                </a:lnTo>
                <a:lnTo>
                  <a:pt x="36" y="30"/>
                </a:lnTo>
                <a:lnTo>
                  <a:pt x="42" y="30"/>
                </a:lnTo>
                <a:lnTo>
                  <a:pt x="48" y="24"/>
                </a:lnTo>
                <a:lnTo>
                  <a:pt x="54" y="24"/>
                </a:lnTo>
                <a:lnTo>
                  <a:pt x="54" y="18"/>
                </a:lnTo>
                <a:lnTo>
                  <a:pt x="60" y="12"/>
                </a:lnTo>
                <a:lnTo>
                  <a:pt x="60" y="12"/>
                </a:lnTo>
                <a:lnTo>
                  <a:pt x="60" y="18"/>
                </a:lnTo>
                <a:lnTo>
                  <a:pt x="60" y="18"/>
                </a:lnTo>
                <a:lnTo>
                  <a:pt x="60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6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0"/>
                </a:lnTo>
                <a:lnTo>
                  <a:pt x="84" y="0"/>
                </a:lnTo>
                <a:lnTo>
                  <a:pt x="84" y="0"/>
                </a:lnTo>
                <a:lnTo>
                  <a:pt x="84" y="6"/>
                </a:lnTo>
                <a:lnTo>
                  <a:pt x="90" y="6"/>
                </a:lnTo>
                <a:lnTo>
                  <a:pt x="90" y="6"/>
                </a:lnTo>
                <a:lnTo>
                  <a:pt x="96" y="0"/>
                </a:lnTo>
                <a:lnTo>
                  <a:pt x="96" y="0"/>
                </a:lnTo>
                <a:lnTo>
                  <a:pt x="102" y="0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12"/>
                </a:lnTo>
                <a:lnTo>
                  <a:pt x="102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0"/>
                </a:lnTo>
                <a:lnTo>
                  <a:pt x="114" y="0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0"/>
                </a:lnTo>
                <a:lnTo>
                  <a:pt x="126" y="0"/>
                </a:lnTo>
                <a:lnTo>
                  <a:pt x="126" y="0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8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0"/>
                </a:lnTo>
                <a:lnTo>
                  <a:pt x="144" y="0"/>
                </a:lnTo>
                <a:lnTo>
                  <a:pt x="150" y="0"/>
                </a:lnTo>
                <a:lnTo>
                  <a:pt x="150" y="0"/>
                </a:lnTo>
                <a:lnTo>
                  <a:pt x="150" y="6"/>
                </a:lnTo>
                <a:lnTo>
                  <a:pt x="144" y="6"/>
                </a:lnTo>
                <a:lnTo>
                  <a:pt x="144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50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50" y="30"/>
                </a:lnTo>
                <a:lnTo>
                  <a:pt x="144" y="30"/>
                </a:lnTo>
                <a:lnTo>
                  <a:pt x="144" y="36"/>
                </a:lnTo>
                <a:lnTo>
                  <a:pt x="144" y="36"/>
                </a:lnTo>
                <a:lnTo>
                  <a:pt x="144" y="36"/>
                </a:lnTo>
                <a:lnTo>
                  <a:pt x="144" y="36"/>
                </a:lnTo>
                <a:lnTo>
                  <a:pt x="144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44" y="48"/>
                </a:lnTo>
                <a:lnTo>
                  <a:pt x="144" y="48"/>
                </a:lnTo>
                <a:lnTo>
                  <a:pt x="144" y="54"/>
                </a:lnTo>
                <a:lnTo>
                  <a:pt x="144" y="54"/>
                </a:lnTo>
                <a:lnTo>
                  <a:pt x="144" y="54"/>
                </a:lnTo>
                <a:lnTo>
                  <a:pt x="150" y="54"/>
                </a:lnTo>
                <a:lnTo>
                  <a:pt x="150" y="54"/>
                </a:lnTo>
                <a:lnTo>
                  <a:pt x="150" y="54"/>
                </a:lnTo>
                <a:lnTo>
                  <a:pt x="150" y="60"/>
                </a:lnTo>
                <a:lnTo>
                  <a:pt x="150" y="60"/>
                </a:lnTo>
                <a:lnTo>
                  <a:pt x="150" y="60"/>
                </a:lnTo>
                <a:lnTo>
                  <a:pt x="150" y="60"/>
                </a:lnTo>
                <a:lnTo>
                  <a:pt x="150" y="66"/>
                </a:lnTo>
                <a:lnTo>
                  <a:pt x="150" y="66"/>
                </a:lnTo>
                <a:lnTo>
                  <a:pt x="150" y="72"/>
                </a:lnTo>
                <a:lnTo>
                  <a:pt x="156" y="72"/>
                </a:lnTo>
                <a:lnTo>
                  <a:pt x="156" y="72"/>
                </a:lnTo>
                <a:lnTo>
                  <a:pt x="156" y="78"/>
                </a:lnTo>
                <a:lnTo>
                  <a:pt x="156" y="78"/>
                </a:lnTo>
                <a:lnTo>
                  <a:pt x="156" y="78"/>
                </a:lnTo>
                <a:lnTo>
                  <a:pt x="156" y="78"/>
                </a:lnTo>
                <a:lnTo>
                  <a:pt x="156" y="84"/>
                </a:lnTo>
                <a:lnTo>
                  <a:pt x="156" y="84"/>
                </a:lnTo>
                <a:lnTo>
                  <a:pt x="150" y="84"/>
                </a:lnTo>
                <a:lnTo>
                  <a:pt x="150" y="84"/>
                </a:lnTo>
                <a:lnTo>
                  <a:pt x="150" y="84"/>
                </a:lnTo>
                <a:lnTo>
                  <a:pt x="150" y="84"/>
                </a:lnTo>
                <a:lnTo>
                  <a:pt x="144" y="90"/>
                </a:lnTo>
                <a:lnTo>
                  <a:pt x="150" y="90"/>
                </a:lnTo>
                <a:lnTo>
                  <a:pt x="150" y="96"/>
                </a:lnTo>
                <a:lnTo>
                  <a:pt x="156" y="102"/>
                </a:lnTo>
                <a:lnTo>
                  <a:pt x="156" y="102"/>
                </a:lnTo>
                <a:lnTo>
                  <a:pt x="156" y="102"/>
                </a:lnTo>
                <a:lnTo>
                  <a:pt x="156" y="102"/>
                </a:lnTo>
                <a:lnTo>
                  <a:pt x="150" y="102"/>
                </a:lnTo>
                <a:lnTo>
                  <a:pt x="150" y="102"/>
                </a:lnTo>
                <a:lnTo>
                  <a:pt x="150" y="102"/>
                </a:lnTo>
                <a:lnTo>
                  <a:pt x="150" y="102"/>
                </a:lnTo>
                <a:lnTo>
                  <a:pt x="150" y="102"/>
                </a:lnTo>
                <a:lnTo>
                  <a:pt x="150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96"/>
                </a:lnTo>
                <a:lnTo>
                  <a:pt x="144" y="102"/>
                </a:lnTo>
                <a:lnTo>
                  <a:pt x="144" y="96"/>
                </a:lnTo>
                <a:lnTo>
                  <a:pt x="144" y="102"/>
                </a:lnTo>
                <a:lnTo>
                  <a:pt x="144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108"/>
                </a:lnTo>
                <a:lnTo>
                  <a:pt x="132" y="120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0" y="126"/>
                </a:lnTo>
                <a:lnTo>
                  <a:pt x="126" y="126"/>
                </a:lnTo>
                <a:lnTo>
                  <a:pt x="120" y="126"/>
                </a:lnTo>
                <a:lnTo>
                  <a:pt x="120" y="126"/>
                </a:lnTo>
                <a:lnTo>
                  <a:pt x="120" y="126"/>
                </a:lnTo>
                <a:lnTo>
                  <a:pt x="120" y="126"/>
                </a:lnTo>
                <a:lnTo>
                  <a:pt x="120" y="126"/>
                </a:lnTo>
                <a:lnTo>
                  <a:pt x="120" y="126"/>
                </a:lnTo>
                <a:lnTo>
                  <a:pt x="120" y="126"/>
                </a:lnTo>
                <a:lnTo>
                  <a:pt x="120" y="132"/>
                </a:lnTo>
                <a:lnTo>
                  <a:pt x="120" y="126"/>
                </a:lnTo>
                <a:lnTo>
                  <a:pt x="114" y="132"/>
                </a:lnTo>
                <a:lnTo>
                  <a:pt x="114" y="126"/>
                </a:lnTo>
                <a:lnTo>
                  <a:pt x="114" y="126"/>
                </a:lnTo>
                <a:lnTo>
                  <a:pt x="114" y="132"/>
                </a:lnTo>
                <a:lnTo>
                  <a:pt x="114" y="132"/>
                </a:lnTo>
                <a:lnTo>
                  <a:pt x="114" y="132"/>
                </a:lnTo>
                <a:lnTo>
                  <a:pt x="114" y="132"/>
                </a:lnTo>
                <a:lnTo>
                  <a:pt x="114" y="132"/>
                </a:lnTo>
                <a:lnTo>
                  <a:pt x="114" y="132"/>
                </a:lnTo>
                <a:lnTo>
                  <a:pt x="108" y="132"/>
                </a:lnTo>
                <a:lnTo>
                  <a:pt x="108" y="132"/>
                </a:lnTo>
                <a:lnTo>
                  <a:pt x="108" y="132"/>
                </a:lnTo>
                <a:lnTo>
                  <a:pt x="108" y="132"/>
                </a:lnTo>
                <a:lnTo>
                  <a:pt x="108" y="132"/>
                </a:lnTo>
                <a:lnTo>
                  <a:pt x="108" y="138"/>
                </a:lnTo>
                <a:lnTo>
                  <a:pt x="108" y="138"/>
                </a:lnTo>
                <a:lnTo>
                  <a:pt x="108" y="138"/>
                </a:lnTo>
                <a:lnTo>
                  <a:pt x="108" y="138"/>
                </a:lnTo>
                <a:lnTo>
                  <a:pt x="108" y="138"/>
                </a:lnTo>
                <a:lnTo>
                  <a:pt x="102" y="138"/>
                </a:lnTo>
                <a:lnTo>
                  <a:pt x="102" y="138"/>
                </a:lnTo>
                <a:lnTo>
                  <a:pt x="102" y="138"/>
                </a:lnTo>
                <a:lnTo>
                  <a:pt x="96" y="138"/>
                </a:lnTo>
                <a:lnTo>
                  <a:pt x="96" y="138"/>
                </a:lnTo>
                <a:lnTo>
                  <a:pt x="90" y="138"/>
                </a:lnTo>
                <a:lnTo>
                  <a:pt x="90" y="138"/>
                </a:lnTo>
                <a:lnTo>
                  <a:pt x="90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66" y="138"/>
                </a:lnTo>
                <a:lnTo>
                  <a:pt x="66" y="138"/>
                </a:lnTo>
                <a:lnTo>
                  <a:pt x="66" y="132"/>
                </a:lnTo>
                <a:lnTo>
                  <a:pt x="60" y="132"/>
                </a:lnTo>
                <a:lnTo>
                  <a:pt x="60" y="132"/>
                </a:lnTo>
                <a:lnTo>
                  <a:pt x="60" y="132"/>
                </a:lnTo>
                <a:lnTo>
                  <a:pt x="60" y="132"/>
                </a:lnTo>
                <a:lnTo>
                  <a:pt x="60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26"/>
                </a:lnTo>
                <a:lnTo>
                  <a:pt x="54" y="126"/>
                </a:lnTo>
                <a:lnTo>
                  <a:pt x="54" y="126"/>
                </a:lnTo>
                <a:lnTo>
                  <a:pt x="54" y="126"/>
                </a:lnTo>
                <a:lnTo>
                  <a:pt x="54" y="126"/>
                </a:lnTo>
                <a:lnTo>
                  <a:pt x="48" y="126"/>
                </a:lnTo>
                <a:lnTo>
                  <a:pt x="48" y="132"/>
                </a:lnTo>
                <a:lnTo>
                  <a:pt x="42" y="132"/>
                </a:lnTo>
                <a:lnTo>
                  <a:pt x="42" y="126"/>
                </a:lnTo>
                <a:lnTo>
                  <a:pt x="42" y="126"/>
                </a:lnTo>
                <a:lnTo>
                  <a:pt x="42" y="132"/>
                </a:lnTo>
                <a:lnTo>
                  <a:pt x="42" y="132"/>
                </a:lnTo>
                <a:lnTo>
                  <a:pt x="36" y="132"/>
                </a:lnTo>
                <a:lnTo>
                  <a:pt x="36" y="132"/>
                </a:lnTo>
                <a:lnTo>
                  <a:pt x="36" y="132"/>
                </a:lnTo>
                <a:lnTo>
                  <a:pt x="30" y="132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6"/>
                </a:lnTo>
                <a:lnTo>
                  <a:pt x="24" y="126"/>
                </a:lnTo>
                <a:lnTo>
                  <a:pt x="24" y="120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2"/>
                </a:lnTo>
                <a:lnTo>
                  <a:pt x="24" y="102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2" y="114"/>
                </a:lnTo>
                <a:lnTo>
                  <a:pt x="12" y="114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0" y="10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75" name="Freeform 408"/>
          <p:cNvSpPr>
            <a:spLocks/>
          </p:cNvSpPr>
          <p:nvPr/>
        </p:nvSpPr>
        <p:spPr bwMode="auto">
          <a:xfrm>
            <a:off x="6498531" y="4263486"/>
            <a:ext cx="83513" cy="70665"/>
          </a:xfrm>
          <a:custGeom>
            <a:avLst/>
            <a:gdLst>
              <a:gd name="T0" fmla="*/ 6 w 78"/>
              <a:gd name="T1" fmla="*/ 30 h 66"/>
              <a:gd name="T2" fmla="*/ 6 w 78"/>
              <a:gd name="T3" fmla="*/ 24 h 66"/>
              <a:gd name="T4" fmla="*/ 6 w 78"/>
              <a:gd name="T5" fmla="*/ 18 h 66"/>
              <a:gd name="T6" fmla="*/ 6 w 78"/>
              <a:gd name="T7" fmla="*/ 18 h 66"/>
              <a:gd name="T8" fmla="*/ 6 w 78"/>
              <a:gd name="T9" fmla="*/ 12 h 66"/>
              <a:gd name="T10" fmla="*/ 0 w 78"/>
              <a:gd name="T11" fmla="*/ 6 h 66"/>
              <a:gd name="T12" fmla="*/ 0 w 78"/>
              <a:gd name="T13" fmla="*/ 0 h 66"/>
              <a:gd name="T14" fmla="*/ 6 w 78"/>
              <a:gd name="T15" fmla="*/ 0 h 66"/>
              <a:gd name="T16" fmla="*/ 12 w 78"/>
              <a:gd name="T17" fmla="*/ 0 h 66"/>
              <a:gd name="T18" fmla="*/ 18 w 78"/>
              <a:gd name="T19" fmla="*/ 0 h 66"/>
              <a:gd name="T20" fmla="*/ 24 w 78"/>
              <a:gd name="T21" fmla="*/ 0 h 66"/>
              <a:gd name="T22" fmla="*/ 30 w 78"/>
              <a:gd name="T23" fmla="*/ 0 h 66"/>
              <a:gd name="T24" fmla="*/ 36 w 78"/>
              <a:gd name="T25" fmla="*/ 0 h 66"/>
              <a:gd name="T26" fmla="*/ 36 w 78"/>
              <a:gd name="T27" fmla="*/ 6 h 66"/>
              <a:gd name="T28" fmla="*/ 42 w 78"/>
              <a:gd name="T29" fmla="*/ 6 h 66"/>
              <a:gd name="T30" fmla="*/ 48 w 78"/>
              <a:gd name="T31" fmla="*/ 6 h 66"/>
              <a:gd name="T32" fmla="*/ 54 w 78"/>
              <a:gd name="T33" fmla="*/ 12 h 66"/>
              <a:gd name="T34" fmla="*/ 66 w 78"/>
              <a:gd name="T35" fmla="*/ 18 h 66"/>
              <a:gd name="T36" fmla="*/ 72 w 78"/>
              <a:gd name="T37" fmla="*/ 18 h 66"/>
              <a:gd name="T38" fmla="*/ 72 w 78"/>
              <a:gd name="T39" fmla="*/ 24 h 66"/>
              <a:gd name="T40" fmla="*/ 72 w 78"/>
              <a:gd name="T41" fmla="*/ 24 h 66"/>
              <a:gd name="T42" fmla="*/ 72 w 78"/>
              <a:gd name="T43" fmla="*/ 24 h 66"/>
              <a:gd name="T44" fmla="*/ 78 w 78"/>
              <a:gd name="T45" fmla="*/ 30 h 66"/>
              <a:gd name="T46" fmla="*/ 72 w 78"/>
              <a:gd name="T47" fmla="*/ 36 h 66"/>
              <a:gd name="T48" fmla="*/ 78 w 78"/>
              <a:gd name="T49" fmla="*/ 36 h 66"/>
              <a:gd name="T50" fmla="*/ 72 w 78"/>
              <a:gd name="T51" fmla="*/ 42 h 66"/>
              <a:gd name="T52" fmla="*/ 78 w 78"/>
              <a:gd name="T53" fmla="*/ 48 h 66"/>
              <a:gd name="T54" fmla="*/ 72 w 78"/>
              <a:gd name="T55" fmla="*/ 48 h 66"/>
              <a:gd name="T56" fmla="*/ 72 w 78"/>
              <a:gd name="T57" fmla="*/ 54 h 66"/>
              <a:gd name="T58" fmla="*/ 72 w 78"/>
              <a:gd name="T59" fmla="*/ 54 h 66"/>
              <a:gd name="T60" fmla="*/ 72 w 78"/>
              <a:gd name="T61" fmla="*/ 60 h 66"/>
              <a:gd name="T62" fmla="*/ 66 w 78"/>
              <a:gd name="T63" fmla="*/ 60 h 66"/>
              <a:gd name="T64" fmla="*/ 66 w 78"/>
              <a:gd name="T65" fmla="*/ 60 h 66"/>
              <a:gd name="T66" fmla="*/ 60 w 78"/>
              <a:gd name="T67" fmla="*/ 66 h 66"/>
              <a:gd name="T68" fmla="*/ 60 w 78"/>
              <a:gd name="T69" fmla="*/ 66 h 66"/>
              <a:gd name="T70" fmla="*/ 54 w 78"/>
              <a:gd name="T71" fmla="*/ 66 h 66"/>
              <a:gd name="T72" fmla="*/ 48 w 78"/>
              <a:gd name="T73" fmla="*/ 66 h 66"/>
              <a:gd name="T74" fmla="*/ 48 w 78"/>
              <a:gd name="T75" fmla="*/ 60 h 66"/>
              <a:gd name="T76" fmla="*/ 36 w 78"/>
              <a:gd name="T77" fmla="*/ 48 h 66"/>
              <a:gd name="T78" fmla="*/ 30 w 78"/>
              <a:gd name="T79" fmla="*/ 48 h 66"/>
              <a:gd name="T80" fmla="*/ 30 w 78"/>
              <a:gd name="T81" fmla="*/ 48 h 66"/>
              <a:gd name="T82" fmla="*/ 30 w 78"/>
              <a:gd name="T83" fmla="*/ 48 h 66"/>
              <a:gd name="T84" fmla="*/ 30 w 78"/>
              <a:gd name="T85" fmla="*/ 48 h 66"/>
              <a:gd name="T86" fmla="*/ 30 w 78"/>
              <a:gd name="T87" fmla="*/ 42 h 66"/>
              <a:gd name="T88" fmla="*/ 24 w 78"/>
              <a:gd name="T89" fmla="*/ 48 h 66"/>
              <a:gd name="T90" fmla="*/ 24 w 78"/>
              <a:gd name="T91" fmla="*/ 48 h 66"/>
              <a:gd name="T92" fmla="*/ 24 w 78"/>
              <a:gd name="T93" fmla="*/ 48 h 66"/>
              <a:gd name="T94" fmla="*/ 24 w 78"/>
              <a:gd name="T95" fmla="*/ 48 h 66"/>
              <a:gd name="T96" fmla="*/ 24 w 78"/>
              <a:gd name="T97" fmla="*/ 54 h 66"/>
              <a:gd name="T98" fmla="*/ 18 w 78"/>
              <a:gd name="T99" fmla="*/ 54 h 66"/>
              <a:gd name="T100" fmla="*/ 18 w 78"/>
              <a:gd name="T101" fmla="*/ 54 h 66"/>
              <a:gd name="T102" fmla="*/ 18 w 78"/>
              <a:gd name="T103" fmla="*/ 54 h 66"/>
              <a:gd name="T104" fmla="*/ 18 w 78"/>
              <a:gd name="T105" fmla="*/ 54 h 66"/>
              <a:gd name="T106" fmla="*/ 18 w 78"/>
              <a:gd name="T107" fmla="*/ 54 h 66"/>
              <a:gd name="T108" fmla="*/ 6 w 78"/>
              <a:gd name="T109" fmla="*/ 54 h 66"/>
              <a:gd name="T110" fmla="*/ 0 w 78"/>
              <a:gd name="T111" fmla="*/ 36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78" h="66">
                <a:moveTo>
                  <a:pt x="0" y="36"/>
                </a:move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0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24" y="0"/>
                </a:lnTo>
                <a:lnTo>
                  <a:pt x="24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60" y="12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8" y="24"/>
                </a:lnTo>
                <a:lnTo>
                  <a:pt x="78" y="24"/>
                </a:lnTo>
                <a:lnTo>
                  <a:pt x="78" y="30"/>
                </a:lnTo>
                <a:lnTo>
                  <a:pt x="78" y="30"/>
                </a:lnTo>
                <a:lnTo>
                  <a:pt x="78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8" y="36"/>
                </a:lnTo>
                <a:lnTo>
                  <a:pt x="78" y="42"/>
                </a:lnTo>
                <a:lnTo>
                  <a:pt x="78" y="42"/>
                </a:lnTo>
                <a:lnTo>
                  <a:pt x="72" y="42"/>
                </a:lnTo>
                <a:lnTo>
                  <a:pt x="78" y="42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8" y="54"/>
                </a:lnTo>
                <a:lnTo>
                  <a:pt x="72" y="54"/>
                </a:lnTo>
                <a:lnTo>
                  <a:pt x="72" y="60"/>
                </a:lnTo>
                <a:lnTo>
                  <a:pt x="72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0"/>
                </a:lnTo>
                <a:lnTo>
                  <a:pt x="36" y="60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2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54"/>
                </a:lnTo>
                <a:lnTo>
                  <a:pt x="24" y="48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2" y="54"/>
                </a:lnTo>
                <a:lnTo>
                  <a:pt x="12" y="54"/>
                </a:lnTo>
                <a:lnTo>
                  <a:pt x="6" y="54"/>
                </a:lnTo>
                <a:lnTo>
                  <a:pt x="6" y="48"/>
                </a:lnTo>
                <a:lnTo>
                  <a:pt x="0" y="42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76" name="Freeform 409"/>
          <p:cNvSpPr>
            <a:spLocks/>
          </p:cNvSpPr>
          <p:nvPr/>
        </p:nvSpPr>
        <p:spPr bwMode="auto">
          <a:xfrm>
            <a:off x="6158057" y="4655356"/>
            <a:ext cx="89937" cy="77089"/>
          </a:xfrm>
          <a:custGeom>
            <a:avLst/>
            <a:gdLst>
              <a:gd name="T0" fmla="*/ 6 w 84"/>
              <a:gd name="T1" fmla="*/ 12 h 72"/>
              <a:gd name="T2" fmla="*/ 24 w 84"/>
              <a:gd name="T3" fmla="*/ 6 h 72"/>
              <a:gd name="T4" fmla="*/ 24 w 84"/>
              <a:gd name="T5" fmla="*/ 18 h 72"/>
              <a:gd name="T6" fmla="*/ 36 w 84"/>
              <a:gd name="T7" fmla="*/ 12 h 72"/>
              <a:gd name="T8" fmla="*/ 36 w 84"/>
              <a:gd name="T9" fmla="*/ 0 h 72"/>
              <a:gd name="T10" fmla="*/ 48 w 84"/>
              <a:gd name="T11" fmla="*/ 12 h 72"/>
              <a:gd name="T12" fmla="*/ 54 w 84"/>
              <a:gd name="T13" fmla="*/ 6 h 72"/>
              <a:gd name="T14" fmla="*/ 60 w 84"/>
              <a:gd name="T15" fmla="*/ 6 h 72"/>
              <a:gd name="T16" fmla="*/ 60 w 84"/>
              <a:gd name="T17" fmla="*/ 12 h 72"/>
              <a:gd name="T18" fmla="*/ 66 w 84"/>
              <a:gd name="T19" fmla="*/ 18 h 72"/>
              <a:gd name="T20" fmla="*/ 66 w 84"/>
              <a:gd name="T21" fmla="*/ 18 h 72"/>
              <a:gd name="T22" fmla="*/ 72 w 84"/>
              <a:gd name="T23" fmla="*/ 18 h 72"/>
              <a:gd name="T24" fmla="*/ 72 w 84"/>
              <a:gd name="T25" fmla="*/ 24 h 72"/>
              <a:gd name="T26" fmla="*/ 72 w 84"/>
              <a:gd name="T27" fmla="*/ 24 h 72"/>
              <a:gd name="T28" fmla="*/ 72 w 84"/>
              <a:gd name="T29" fmla="*/ 24 h 72"/>
              <a:gd name="T30" fmla="*/ 78 w 84"/>
              <a:gd name="T31" fmla="*/ 30 h 72"/>
              <a:gd name="T32" fmla="*/ 78 w 84"/>
              <a:gd name="T33" fmla="*/ 30 h 72"/>
              <a:gd name="T34" fmla="*/ 78 w 84"/>
              <a:gd name="T35" fmla="*/ 36 h 72"/>
              <a:gd name="T36" fmla="*/ 78 w 84"/>
              <a:gd name="T37" fmla="*/ 36 h 72"/>
              <a:gd name="T38" fmla="*/ 78 w 84"/>
              <a:gd name="T39" fmla="*/ 36 h 72"/>
              <a:gd name="T40" fmla="*/ 78 w 84"/>
              <a:gd name="T41" fmla="*/ 42 h 72"/>
              <a:gd name="T42" fmla="*/ 78 w 84"/>
              <a:gd name="T43" fmla="*/ 48 h 72"/>
              <a:gd name="T44" fmla="*/ 78 w 84"/>
              <a:gd name="T45" fmla="*/ 48 h 72"/>
              <a:gd name="T46" fmla="*/ 78 w 84"/>
              <a:gd name="T47" fmla="*/ 48 h 72"/>
              <a:gd name="T48" fmla="*/ 78 w 84"/>
              <a:gd name="T49" fmla="*/ 54 h 72"/>
              <a:gd name="T50" fmla="*/ 84 w 84"/>
              <a:gd name="T51" fmla="*/ 60 h 72"/>
              <a:gd name="T52" fmla="*/ 84 w 84"/>
              <a:gd name="T53" fmla="*/ 60 h 72"/>
              <a:gd name="T54" fmla="*/ 78 w 84"/>
              <a:gd name="T55" fmla="*/ 66 h 72"/>
              <a:gd name="T56" fmla="*/ 72 w 84"/>
              <a:gd name="T57" fmla="*/ 66 h 72"/>
              <a:gd name="T58" fmla="*/ 72 w 84"/>
              <a:gd name="T59" fmla="*/ 66 h 72"/>
              <a:gd name="T60" fmla="*/ 66 w 84"/>
              <a:gd name="T61" fmla="*/ 66 h 72"/>
              <a:gd name="T62" fmla="*/ 66 w 84"/>
              <a:gd name="T63" fmla="*/ 66 h 72"/>
              <a:gd name="T64" fmla="*/ 60 w 84"/>
              <a:gd name="T65" fmla="*/ 66 h 72"/>
              <a:gd name="T66" fmla="*/ 54 w 84"/>
              <a:gd name="T67" fmla="*/ 66 h 72"/>
              <a:gd name="T68" fmla="*/ 48 w 84"/>
              <a:gd name="T69" fmla="*/ 66 h 72"/>
              <a:gd name="T70" fmla="*/ 48 w 84"/>
              <a:gd name="T71" fmla="*/ 66 h 72"/>
              <a:gd name="T72" fmla="*/ 48 w 84"/>
              <a:gd name="T73" fmla="*/ 66 h 72"/>
              <a:gd name="T74" fmla="*/ 42 w 84"/>
              <a:gd name="T75" fmla="*/ 66 h 72"/>
              <a:gd name="T76" fmla="*/ 30 w 84"/>
              <a:gd name="T77" fmla="*/ 72 h 72"/>
              <a:gd name="T78" fmla="*/ 24 w 84"/>
              <a:gd name="T79" fmla="*/ 72 h 72"/>
              <a:gd name="T80" fmla="*/ 24 w 84"/>
              <a:gd name="T81" fmla="*/ 66 h 72"/>
              <a:gd name="T82" fmla="*/ 18 w 84"/>
              <a:gd name="T83" fmla="*/ 66 h 72"/>
              <a:gd name="T84" fmla="*/ 18 w 84"/>
              <a:gd name="T85" fmla="*/ 60 h 72"/>
              <a:gd name="T86" fmla="*/ 18 w 84"/>
              <a:gd name="T87" fmla="*/ 54 h 72"/>
              <a:gd name="T88" fmla="*/ 18 w 84"/>
              <a:gd name="T89" fmla="*/ 54 h 72"/>
              <a:gd name="T90" fmla="*/ 18 w 84"/>
              <a:gd name="T91" fmla="*/ 48 h 72"/>
              <a:gd name="T92" fmla="*/ 18 w 84"/>
              <a:gd name="T93" fmla="*/ 48 h 72"/>
              <a:gd name="T94" fmla="*/ 18 w 84"/>
              <a:gd name="T95" fmla="*/ 42 h 72"/>
              <a:gd name="T96" fmla="*/ 18 w 84"/>
              <a:gd name="T97" fmla="*/ 36 h 72"/>
              <a:gd name="T98" fmla="*/ 12 w 84"/>
              <a:gd name="T99" fmla="*/ 36 h 72"/>
              <a:gd name="T100" fmla="*/ 12 w 84"/>
              <a:gd name="T101" fmla="*/ 30 h 72"/>
              <a:gd name="T102" fmla="*/ 12 w 84"/>
              <a:gd name="T103" fmla="*/ 24 h 72"/>
              <a:gd name="T104" fmla="*/ 12 w 84"/>
              <a:gd name="T105" fmla="*/ 24 h 72"/>
              <a:gd name="T106" fmla="*/ 6 w 84"/>
              <a:gd name="T107" fmla="*/ 18 h 72"/>
              <a:gd name="T108" fmla="*/ 6 w 84"/>
              <a:gd name="T109" fmla="*/ 18 h 72"/>
              <a:gd name="T110" fmla="*/ 0 w 84"/>
              <a:gd name="T111" fmla="*/ 18 h 72"/>
              <a:gd name="T112" fmla="*/ 0 w 84"/>
              <a:gd name="T113" fmla="*/ 18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84" h="72">
                <a:moveTo>
                  <a:pt x="0" y="12"/>
                </a:moveTo>
                <a:lnTo>
                  <a:pt x="0" y="12"/>
                </a:lnTo>
                <a:lnTo>
                  <a:pt x="0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12" y="12"/>
                </a:lnTo>
                <a:lnTo>
                  <a:pt x="12" y="12"/>
                </a:lnTo>
                <a:lnTo>
                  <a:pt x="18" y="12"/>
                </a:lnTo>
                <a:lnTo>
                  <a:pt x="18" y="6"/>
                </a:lnTo>
                <a:lnTo>
                  <a:pt x="18" y="6"/>
                </a:lnTo>
                <a:lnTo>
                  <a:pt x="24" y="6"/>
                </a:lnTo>
                <a:lnTo>
                  <a:pt x="24" y="6"/>
                </a:lnTo>
                <a:lnTo>
                  <a:pt x="24" y="12"/>
                </a:lnTo>
                <a:lnTo>
                  <a:pt x="18" y="12"/>
                </a:lnTo>
                <a:lnTo>
                  <a:pt x="18" y="12"/>
                </a:lnTo>
                <a:lnTo>
                  <a:pt x="18" y="18"/>
                </a:lnTo>
                <a:lnTo>
                  <a:pt x="18" y="18"/>
                </a:lnTo>
                <a:lnTo>
                  <a:pt x="24" y="18"/>
                </a:lnTo>
                <a:lnTo>
                  <a:pt x="24" y="18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30" y="12"/>
                </a:lnTo>
                <a:lnTo>
                  <a:pt x="30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0"/>
                </a:lnTo>
                <a:lnTo>
                  <a:pt x="36" y="0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0" y="24"/>
                </a:lnTo>
                <a:lnTo>
                  <a:pt x="66" y="18"/>
                </a:lnTo>
                <a:lnTo>
                  <a:pt x="66" y="18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24"/>
                </a:lnTo>
                <a:lnTo>
                  <a:pt x="72" y="18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78" y="36"/>
                </a:lnTo>
                <a:lnTo>
                  <a:pt x="78" y="36"/>
                </a:lnTo>
                <a:lnTo>
                  <a:pt x="84" y="36"/>
                </a:lnTo>
                <a:lnTo>
                  <a:pt x="84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54"/>
                </a:lnTo>
                <a:lnTo>
                  <a:pt x="84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84" y="54"/>
                </a:lnTo>
                <a:lnTo>
                  <a:pt x="78" y="54"/>
                </a:lnTo>
                <a:lnTo>
                  <a:pt x="78" y="54"/>
                </a:lnTo>
                <a:lnTo>
                  <a:pt x="84" y="54"/>
                </a:lnTo>
                <a:lnTo>
                  <a:pt x="84" y="54"/>
                </a:lnTo>
                <a:lnTo>
                  <a:pt x="84" y="60"/>
                </a:lnTo>
                <a:lnTo>
                  <a:pt x="84" y="60"/>
                </a:lnTo>
                <a:lnTo>
                  <a:pt x="84" y="54"/>
                </a:lnTo>
                <a:lnTo>
                  <a:pt x="84" y="54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78" y="60"/>
                </a:lnTo>
                <a:lnTo>
                  <a:pt x="84" y="60"/>
                </a:lnTo>
                <a:lnTo>
                  <a:pt x="78" y="60"/>
                </a:lnTo>
                <a:lnTo>
                  <a:pt x="84" y="60"/>
                </a:lnTo>
                <a:lnTo>
                  <a:pt x="78" y="60"/>
                </a:lnTo>
                <a:lnTo>
                  <a:pt x="78" y="60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72"/>
                </a:lnTo>
                <a:lnTo>
                  <a:pt x="78" y="72"/>
                </a:lnTo>
                <a:lnTo>
                  <a:pt x="78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0"/>
                </a:lnTo>
                <a:lnTo>
                  <a:pt x="60" y="66"/>
                </a:lnTo>
                <a:lnTo>
                  <a:pt x="60" y="60"/>
                </a:lnTo>
                <a:lnTo>
                  <a:pt x="60" y="66"/>
                </a:lnTo>
                <a:lnTo>
                  <a:pt x="54" y="60"/>
                </a:lnTo>
                <a:lnTo>
                  <a:pt x="54" y="66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6"/>
                </a:lnTo>
                <a:lnTo>
                  <a:pt x="54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36"/>
                </a:lnTo>
                <a:lnTo>
                  <a:pt x="12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2" y="36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24"/>
                </a:lnTo>
                <a:lnTo>
                  <a:pt x="12" y="24"/>
                </a:lnTo>
                <a:lnTo>
                  <a:pt x="18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18"/>
                </a:lnTo>
                <a:lnTo>
                  <a:pt x="12" y="24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0" y="18"/>
                </a:lnTo>
                <a:lnTo>
                  <a:pt x="6" y="18"/>
                </a:lnTo>
                <a:lnTo>
                  <a:pt x="0" y="24"/>
                </a:lnTo>
                <a:lnTo>
                  <a:pt x="0" y="24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77" name="Freeform 410"/>
          <p:cNvSpPr>
            <a:spLocks/>
          </p:cNvSpPr>
          <p:nvPr/>
        </p:nvSpPr>
        <p:spPr bwMode="auto">
          <a:xfrm>
            <a:off x="6190177" y="4494753"/>
            <a:ext cx="160601" cy="173451"/>
          </a:xfrm>
          <a:custGeom>
            <a:avLst/>
            <a:gdLst>
              <a:gd name="T0" fmla="*/ 12 w 150"/>
              <a:gd name="T1" fmla="*/ 78 h 162"/>
              <a:gd name="T2" fmla="*/ 12 w 150"/>
              <a:gd name="T3" fmla="*/ 72 h 162"/>
              <a:gd name="T4" fmla="*/ 6 w 150"/>
              <a:gd name="T5" fmla="*/ 66 h 162"/>
              <a:gd name="T6" fmla="*/ 12 w 150"/>
              <a:gd name="T7" fmla="*/ 60 h 162"/>
              <a:gd name="T8" fmla="*/ 24 w 150"/>
              <a:gd name="T9" fmla="*/ 66 h 162"/>
              <a:gd name="T10" fmla="*/ 36 w 150"/>
              <a:gd name="T11" fmla="*/ 54 h 162"/>
              <a:gd name="T12" fmla="*/ 42 w 150"/>
              <a:gd name="T13" fmla="*/ 48 h 162"/>
              <a:gd name="T14" fmla="*/ 42 w 150"/>
              <a:gd name="T15" fmla="*/ 42 h 162"/>
              <a:gd name="T16" fmla="*/ 42 w 150"/>
              <a:gd name="T17" fmla="*/ 36 h 162"/>
              <a:gd name="T18" fmla="*/ 42 w 150"/>
              <a:gd name="T19" fmla="*/ 30 h 162"/>
              <a:gd name="T20" fmla="*/ 48 w 150"/>
              <a:gd name="T21" fmla="*/ 24 h 162"/>
              <a:gd name="T22" fmla="*/ 54 w 150"/>
              <a:gd name="T23" fmla="*/ 18 h 162"/>
              <a:gd name="T24" fmla="*/ 54 w 150"/>
              <a:gd name="T25" fmla="*/ 12 h 162"/>
              <a:gd name="T26" fmla="*/ 66 w 150"/>
              <a:gd name="T27" fmla="*/ 6 h 162"/>
              <a:gd name="T28" fmla="*/ 66 w 150"/>
              <a:gd name="T29" fmla="*/ 0 h 162"/>
              <a:gd name="T30" fmla="*/ 78 w 150"/>
              <a:gd name="T31" fmla="*/ 12 h 162"/>
              <a:gd name="T32" fmla="*/ 78 w 150"/>
              <a:gd name="T33" fmla="*/ 24 h 162"/>
              <a:gd name="T34" fmla="*/ 90 w 150"/>
              <a:gd name="T35" fmla="*/ 36 h 162"/>
              <a:gd name="T36" fmla="*/ 90 w 150"/>
              <a:gd name="T37" fmla="*/ 42 h 162"/>
              <a:gd name="T38" fmla="*/ 102 w 150"/>
              <a:gd name="T39" fmla="*/ 54 h 162"/>
              <a:gd name="T40" fmla="*/ 114 w 150"/>
              <a:gd name="T41" fmla="*/ 54 h 162"/>
              <a:gd name="T42" fmla="*/ 114 w 150"/>
              <a:gd name="T43" fmla="*/ 60 h 162"/>
              <a:gd name="T44" fmla="*/ 120 w 150"/>
              <a:gd name="T45" fmla="*/ 66 h 162"/>
              <a:gd name="T46" fmla="*/ 126 w 150"/>
              <a:gd name="T47" fmla="*/ 66 h 162"/>
              <a:gd name="T48" fmla="*/ 132 w 150"/>
              <a:gd name="T49" fmla="*/ 66 h 162"/>
              <a:gd name="T50" fmla="*/ 138 w 150"/>
              <a:gd name="T51" fmla="*/ 78 h 162"/>
              <a:gd name="T52" fmla="*/ 144 w 150"/>
              <a:gd name="T53" fmla="*/ 84 h 162"/>
              <a:gd name="T54" fmla="*/ 150 w 150"/>
              <a:gd name="T55" fmla="*/ 84 h 162"/>
              <a:gd name="T56" fmla="*/ 150 w 150"/>
              <a:gd name="T57" fmla="*/ 90 h 162"/>
              <a:gd name="T58" fmla="*/ 150 w 150"/>
              <a:gd name="T59" fmla="*/ 90 h 162"/>
              <a:gd name="T60" fmla="*/ 144 w 150"/>
              <a:gd name="T61" fmla="*/ 96 h 162"/>
              <a:gd name="T62" fmla="*/ 138 w 150"/>
              <a:gd name="T63" fmla="*/ 102 h 162"/>
              <a:gd name="T64" fmla="*/ 138 w 150"/>
              <a:gd name="T65" fmla="*/ 114 h 162"/>
              <a:gd name="T66" fmla="*/ 132 w 150"/>
              <a:gd name="T67" fmla="*/ 114 h 162"/>
              <a:gd name="T68" fmla="*/ 126 w 150"/>
              <a:gd name="T69" fmla="*/ 120 h 162"/>
              <a:gd name="T70" fmla="*/ 120 w 150"/>
              <a:gd name="T71" fmla="*/ 120 h 162"/>
              <a:gd name="T72" fmla="*/ 114 w 150"/>
              <a:gd name="T73" fmla="*/ 126 h 162"/>
              <a:gd name="T74" fmla="*/ 108 w 150"/>
              <a:gd name="T75" fmla="*/ 120 h 162"/>
              <a:gd name="T76" fmla="*/ 102 w 150"/>
              <a:gd name="T77" fmla="*/ 126 h 162"/>
              <a:gd name="T78" fmla="*/ 96 w 150"/>
              <a:gd name="T79" fmla="*/ 126 h 162"/>
              <a:gd name="T80" fmla="*/ 90 w 150"/>
              <a:gd name="T81" fmla="*/ 132 h 162"/>
              <a:gd name="T82" fmla="*/ 84 w 150"/>
              <a:gd name="T83" fmla="*/ 132 h 162"/>
              <a:gd name="T84" fmla="*/ 84 w 150"/>
              <a:gd name="T85" fmla="*/ 138 h 162"/>
              <a:gd name="T86" fmla="*/ 84 w 150"/>
              <a:gd name="T87" fmla="*/ 144 h 162"/>
              <a:gd name="T88" fmla="*/ 84 w 150"/>
              <a:gd name="T89" fmla="*/ 150 h 162"/>
              <a:gd name="T90" fmla="*/ 78 w 150"/>
              <a:gd name="T91" fmla="*/ 156 h 162"/>
              <a:gd name="T92" fmla="*/ 60 w 150"/>
              <a:gd name="T93" fmla="*/ 162 h 162"/>
              <a:gd name="T94" fmla="*/ 54 w 150"/>
              <a:gd name="T95" fmla="*/ 150 h 162"/>
              <a:gd name="T96" fmla="*/ 48 w 150"/>
              <a:gd name="T97" fmla="*/ 150 h 162"/>
              <a:gd name="T98" fmla="*/ 30 w 150"/>
              <a:gd name="T99" fmla="*/ 156 h 162"/>
              <a:gd name="T100" fmla="*/ 24 w 150"/>
              <a:gd name="T101" fmla="*/ 156 h 162"/>
              <a:gd name="T102" fmla="*/ 6 w 150"/>
              <a:gd name="T103" fmla="*/ 156 h 162"/>
              <a:gd name="T104" fmla="*/ 6 w 150"/>
              <a:gd name="T105" fmla="*/ 144 h 162"/>
              <a:gd name="T106" fmla="*/ 6 w 150"/>
              <a:gd name="T107" fmla="*/ 144 h 162"/>
              <a:gd name="T108" fmla="*/ 12 w 150"/>
              <a:gd name="T109" fmla="*/ 138 h 162"/>
              <a:gd name="T110" fmla="*/ 12 w 150"/>
              <a:gd name="T111" fmla="*/ 132 h 162"/>
              <a:gd name="T112" fmla="*/ 12 w 150"/>
              <a:gd name="T113" fmla="*/ 126 h 162"/>
              <a:gd name="T114" fmla="*/ 12 w 150"/>
              <a:gd name="T115" fmla="*/ 120 h 162"/>
              <a:gd name="T116" fmla="*/ 12 w 150"/>
              <a:gd name="T117" fmla="*/ 114 h 162"/>
              <a:gd name="T118" fmla="*/ 12 w 150"/>
              <a:gd name="T119" fmla="*/ 108 h 162"/>
              <a:gd name="T120" fmla="*/ 12 w 150"/>
              <a:gd name="T121" fmla="*/ 102 h 162"/>
              <a:gd name="T122" fmla="*/ 6 w 150"/>
              <a:gd name="T123" fmla="*/ 90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0" h="162">
                <a:moveTo>
                  <a:pt x="0" y="90"/>
                </a:moveTo>
                <a:lnTo>
                  <a:pt x="0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78"/>
                </a:lnTo>
                <a:lnTo>
                  <a:pt x="6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2"/>
                </a:lnTo>
                <a:lnTo>
                  <a:pt x="18" y="72"/>
                </a:lnTo>
                <a:lnTo>
                  <a:pt x="12" y="72"/>
                </a:lnTo>
                <a:lnTo>
                  <a:pt x="12" y="66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66"/>
                </a:lnTo>
                <a:lnTo>
                  <a:pt x="12" y="72"/>
                </a:lnTo>
                <a:lnTo>
                  <a:pt x="6" y="72"/>
                </a:lnTo>
                <a:lnTo>
                  <a:pt x="6" y="66"/>
                </a:lnTo>
                <a:lnTo>
                  <a:pt x="12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0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8" y="60"/>
                </a:lnTo>
                <a:lnTo>
                  <a:pt x="18" y="60"/>
                </a:lnTo>
                <a:lnTo>
                  <a:pt x="24" y="60"/>
                </a:lnTo>
                <a:lnTo>
                  <a:pt x="24" y="60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42" y="48"/>
                </a:lnTo>
                <a:lnTo>
                  <a:pt x="42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42" y="48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36" y="30"/>
                </a:lnTo>
                <a:lnTo>
                  <a:pt x="36" y="30"/>
                </a:lnTo>
                <a:lnTo>
                  <a:pt x="42" y="30"/>
                </a:lnTo>
                <a:lnTo>
                  <a:pt x="48" y="30"/>
                </a:lnTo>
                <a:lnTo>
                  <a:pt x="54" y="30"/>
                </a:lnTo>
                <a:lnTo>
                  <a:pt x="54" y="24"/>
                </a:lnTo>
                <a:lnTo>
                  <a:pt x="54" y="24"/>
                </a:lnTo>
                <a:lnTo>
                  <a:pt x="48" y="24"/>
                </a:lnTo>
                <a:lnTo>
                  <a:pt x="54" y="24"/>
                </a:lnTo>
                <a:lnTo>
                  <a:pt x="48" y="24"/>
                </a:lnTo>
                <a:lnTo>
                  <a:pt x="48" y="24"/>
                </a:lnTo>
                <a:lnTo>
                  <a:pt x="54" y="24"/>
                </a:lnTo>
                <a:lnTo>
                  <a:pt x="54" y="18"/>
                </a:lnTo>
                <a:lnTo>
                  <a:pt x="54" y="24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2"/>
                </a:lnTo>
                <a:lnTo>
                  <a:pt x="54" y="18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0" y="12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6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2" y="12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8" y="24"/>
                </a:lnTo>
                <a:lnTo>
                  <a:pt x="78" y="24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84" y="30"/>
                </a:lnTo>
                <a:lnTo>
                  <a:pt x="84" y="30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6" y="42"/>
                </a:lnTo>
                <a:lnTo>
                  <a:pt x="96" y="42"/>
                </a:lnTo>
                <a:lnTo>
                  <a:pt x="90" y="42"/>
                </a:lnTo>
                <a:lnTo>
                  <a:pt x="90" y="42"/>
                </a:lnTo>
                <a:lnTo>
                  <a:pt x="96" y="42"/>
                </a:lnTo>
                <a:lnTo>
                  <a:pt x="96" y="42"/>
                </a:lnTo>
                <a:lnTo>
                  <a:pt x="102" y="42"/>
                </a:lnTo>
                <a:lnTo>
                  <a:pt x="96" y="48"/>
                </a:lnTo>
                <a:lnTo>
                  <a:pt x="96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54"/>
                </a:lnTo>
                <a:lnTo>
                  <a:pt x="102" y="54"/>
                </a:lnTo>
                <a:lnTo>
                  <a:pt x="102" y="48"/>
                </a:lnTo>
                <a:lnTo>
                  <a:pt x="102" y="48"/>
                </a:lnTo>
                <a:lnTo>
                  <a:pt x="108" y="48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20" y="66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32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66"/>
                </a:lnTo>
                <a:lnTo>
                  <a:pt x="132" y="72"/>
                </a:lnTo>
                <a:lnTo>
                  <a:pt x="132" y="66"/>
                </a:lnTo>
                <a:lnTo>
                  <a:pt x="132" y="66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44" y="72"/>
                </a:lnTo>
                <a:lnTo>
                  <a:pt x="144" y="72"/>
                </a:lnTo>
                <a:lnTo>
                  <a:pt x="138" y="78"/>
                </a:lnTo>
                <a:lnTo>
                  <a:pt x="138" y="78"/>
                </a:lnTo>
                <a:lnTo>
                  <a:pt x="138" y="78"/>
                </a:lnTo>
                <a:lnTo>
                  <a:pt x="138" y="78"/>
                </a:lnTo>
                <a:lnTo>
                  <a:pt x="138" y="78"/>
                </a:lnTo>
                <a:lnTo>
                  <a:pt x="138" y="78"/>
                </a:lnTo>
                <a:lnTo>
                  <a:pt x="144" y="78"/>
                </a:lnTo>
                <a:lnTo>
                  <a:pt x="144" y="78"/>
                </a:lnTo>
                <a:lnTo>
                  <a:pt x="138" y="84"/>
                </a:lnTo>
                <a:lnTo>
                  <a:pt x="144" y="84"/>
                </a:lnTo>
                <a:lnTo>
                  <a:pt x="144" y="84"/>
                </a:lnTo>
                <a:lnTo>
                  <a:pt x="144" y="84"/>
                </a:lnTo>
                <a:lnTo>
                  <a:pt x="144" y="84"/>
                </a:lnTo>
                <a:lnTo>
                  <a:pt x="144" y="84"/>
                </a:lnTo>
                <a:lnTo>
                  <a:pt x="144" y="84"/>
                </a:lnTo>
                <a:lnTo>
                  <a:pt x="144" y="78"/>
                </a:lnTo>
                <a:lnTo>
                  <a:pt x="144" y="78"/>
                </a:lnTo>
                <a:lnTo>
                  <a:pt x="150" y="78"/>
                </a:lnTo>
                <a:lnTo>
                  <a:pt x="150" y="78"/>
                </a:lnTo>
                <a:lnTo>
                  <a:pt x="150" y="78"/>
                </a:lnTo>
                <a:lnTo>
                  <a:pt x="150" y="84"/>
                </a:lnTo>
                <a:lnTo>
                  <a:pt x="150" y="84"/>
                </a:lnTo>
                <a:lnTo>
                  <a:pt x="150" y="84"/>
                </a:lnTo>
                <a:lnTo>
                  <a:pt x="150" y="84"/>
                </a:lnTo>
                <a:lnTo>
                  <a:pt x="150" y="84"/>
                </a:lnTo>
                <a:lnTo>
                  <a:pt x="150" y="84"/>
                </a:lnTo>
                <a:lnTo>
                  <a:pt x="150" y="84"/>
                </a:lnTo>
                <a:lnTo>
                  <a:pt x="144" y="84"/>
                </a:lnTo>
                <a:lnTo>
                  <a:pt x="144" y="84"/>
                </a:lnTo>
                <a:lnTo>
                  <a:pt x="144" y="84"/>
                </a:lnTo>
                <a:lnTo>
                  <a:pt x="144" y="84"/>
                </a:lnTo>
                <a:lnTo>
                  <a:pt x="144" y="84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44" y="90"/>
                </a:lnTo>
                <a:lnTo>
                  <a:pt x="144" y="90"/>
                </a:lnTo>
                <a:lnTo>
                  <a:pt x="144" y="90"/>
                </a:lnTo>
                <a:lnTo>
                  <a:pt x="150" y="90"/>
                </a:lnTo>
                <a:lnTo>
                  <a:pt x="144" y="90"/>
                </a:lnTo>
                <a:lnTo>
                  <a:pt x="144" y="90"/>
                </a:lnTo>
                <a:lnTo>
                  <a:pt x="144" y="90"/>
                </a:lnTo>
                <a:lnTo>
                  <a:pt x="150" y="90"/>
                </a:lnTo>
                <a:lnTo>
                  <a:pt x="144" y="90"/>
                </a:lnTo>
                <a:lnTo>
                  <a:pt x="144" y="90"/>
                </a:lnTo>
                <a:lnTo>
                  <a:pt x="144" y="96"/>
                </a:lnTo>
                <a:lnTo>
                  <a:pt x="144" y="90"/>
                </a:lnTo>
                <a:lnTo>
                  <a:pt x="144" y="96"/>
                </a:lnTo>
                <a:lnTo>
                  <a:pt x="144" y="96"/>
                </a:lnTo>
                <a:lnTo>
                  <a:pt x="144" y="96"/>
                </a:lnTo>
                <a:lnTo>
                  <a:pt x="144" y="96"/>
                </a:lnTo>
                <a:lnTo>
                  <a:pt x="144" y="96"/>
                </a:lnTo>
                <a:lnTo>
                  <a:pt x="138" y="96"/>
                </a:lnTo>
                <a:lnTo>
                  <a:pt x="144" y="96"/>
                </a:lnTo>
                <a:lnTo>
                  <a:pt x="138" y="96"/>
                </a:lnTo>
                <a:lnTo>
                  <a:pt x="144" y="96"/>
                </a:lnTo>
                <a:lnTo>
                  <a:pt x="144" y="96"/>
                </a:lnTo>
                <a:lnTo>
                  <a:pt x="144" y="96"/>
                </a:lnTo>
                <a:lnTo>
                  <a:pt x="138" y="96"/>
                </a:lnTo>
                <a:lnTo>
                  <a:pt x="144" y="102"/>
                </a:lnTo>
                <a:lnTo>
                  <a:pt x="138" y="102"/>
                </a:lnTo>
                <a:lnTo>
                  <a:pt x="138" y="102"/>
                </a:lnTo>
                <a:lnTo>
                  <a:pt x="144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8"/>
                </a:lnTo>
                <a:lnTo>
                  <a:pt x="138" y="108"/>
                </a:lnTo>
                <a:lnTo>
                  <a:pt x="138" y="108"/>
                </a:lnTo>
                <a:lnTo>
                  <a:pt x="138" y="108"/>
                </a:lnTo>
                <a:lnTo>
                  <a:pt x="138" y="114"/>
                </a:lnTo>
                <a:lnTo>
                  <a:pt x="138" y="114"/>
                </a:lnTo>
                <a:lnTo>
                  <a:pt x="144" y="114"/>
                </a:lnTo>
                <a:lnTo>
                  <a:pt x="138" y="114"/>
                </a:lnTo>
                <a:lnTo>
                  <a:pt x="138" y="114"/>
                </a:lnTo>
                <a:lnTo>
                  <a:pt x="138" y="114"/>
                </a:lnTo>
                <a:lnTo>
                  <a:pt x="138" y="114"/>
                </a:lnTo>
                <a:lnTo>
                  <a:pt x="138" y="114"/>
                </a:lnTo>
                <a:lnTo>
                  <a:pt x="138" y="114"/>
                </a:lnTo>
                <a:lnTo>
                  <a:pt x="138" y="114"/>
                </a:lnTo>
                <a:lnTo>
                  <a:pt x="138" y="114"/>
                </a:lnTo>
                <a:lnTo>
                  <a:pt x="138" y="114"/>
                </a:lnTo>
                <a:lnTo>
                  <a:pt x="138" y="114"/>
                </a:lnTo>
                <a:lnTo>
                  <a:pt x="132" y="114"/>
                </a:lnTo>
                <a:lnTo>
                  <a:pt x="132" y="114"/>
                </a:lnTo>
                <a:lnTo>
                  <a:pt x="132" y="114"/>
                </a:lnTo>
                <a:lnTo>
                  <a:pt x="132" y="114"/>
                </a:lnTo>
                <a:lnTo>
                  <a:pt x="132" y="114"/>
                </a:lnTo>
                <a:lnTo>
                  <a:pt x="132" y="120"/>
                </a:lnTo>
                <a:lnTo>
                  <a:pt x="132" y="114"/>
                </a:lnTo>
                <a:lnTo>
                  <a:pt x="132" y="120"/>
                </a:lnTo>
                <a:lnTo>
                  <a:pt x="126" y="114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0" y="120"/>
                </a:lnTo>
                <a:lnTo>
                  <a:pt x="120" y="120"/>
                </a:lnTo>
                <a:lnTo>
                  <a:pt x="120" y="120"/>
                </a:lnTo>
                <a:lnTo>
                  <a:pt x="120" y="120"/>
                </a:lnTo>
                <a:lnTo>
                  <a:pt x="120" y="120"/>
                </a:lnTo>
                <a:lnTo>
                  <a:pt x="120" y="120"/>
                </a:lnTo>
                <a:lnTo>
                  <a:pt x="120" y="120"/>
                </a:lnTo>
                <a:lnTo>
                  <a:pt x="114" y="120"/>
                </a:lnTo>
                <a:lnTo>
                  <a:pt x="120" y="120"/>
                </a:lnTo>
                <a:lnTo>
                  <a:pt x="120" y="120"/>
                </a:lnTo>
                <a:lnTo>
                  <a:pt x="120" y="120"/>
                </a:lnTo>
                <a:lnTo>
                  <a:pt x="120" y="120"/>
                </a:lnTo>
                <a:lnTo>
                  <a:pt x="114" y="120"/>
                </a:lnTo>
                <a:lnTo>
                  <a:pt x="114" y="126"/>
                </a:lnTo>
                <a:lnTo>
                  <a:pt x="114" y="126"/>
                </a:lnTo>
                <a:lnTo>
                  <a:pt x="114" y="120"/>
                </a:lnTo>
                <a:lnTo>
                  <a:pt x="114" y="120"/>
                </a:lnTo>
                <a:lnTo>
                  <a:pt x="114" y="126"/>
                </a:lnTo>
                <a:lnTo>
                  <a:pt x="114" y="126"/>
                </a:lnTo>
                <a:lnTo>
                  <a:pt x="114" y="126"/>
                </a:lnTo>
                <a:lnTo>
                  <a:pt x="114" y="126"/>
                </a:lnTo>
                <a:lnTo>
                  <a:pt x="108" y="120"/>
                </a:lnTo>
                <a:lnTo>
                  <a:pt x="108" y="126"/>
                </a:lnTo>
                <a:lnTo>
                  <a:pt x="108" y="126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32"/>
                </a:lnTo>
                <a:lnTo>
                  <a:pt x="96" y="132"/>
                </a:lnTo>
                <a:lnTo>
                  <a:pt x="96" y="132"/>
                </a:lnTo>
                <a:lnTo>
                  <a:pt x="96" y="132"/>
                </a:lnTo>
                <a:lnTo>
                  <a:pt x="96" y="132"/>
                </a:lnTo>
                <a:lnTo>
                  <a:pt x="96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84" y="132"/>
                </a:lnTo>
                <a:lnTo>
                  <a:pt x="90" y="138"/>
                </a:lnTo>
                <a:lnTo>
                  <a:pt x="90" y="138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44"/>
                </a:lnTo>
                <a:lnTo>
                  <a:pt x="84" y="144"/>
                </a:lnTo>
                <a:lnTo>
                  <a:pt x="78" y="144"/>
                </a:lnTo>
                <a:lnTo>
                  <a:pt x="78" y="144"/>
                </a:lnTo>
                <a:lnTo>
                  <a:pt x="78" y="144"/>
                </a:lnTo>
                <a:lnTo>
                  <a:pt x="84" y="144"/>
                </a:lnTo>
                <a:lnTo>
                  <a:pt x="84" y="144"/>
                </a:lnTo>
                <a:lnTo>
                  <a:pt x="78" y="144"/>
                </a:lnTo>
                <a:lnTo>
                  <a:pt x="78" y="144"/>
                </a:lnTo>
                <a:lnTo>
                  <a:pt x="84" y="144"/>
                </a:lnTo>
                <a:lnTo>
                  <a:pt x="84" y="144"/>
                </a:lnTo>
                <a:lnTo>
                  <a:pt x="84" y="144"/>
                </a:lnTo>
                <a:lnTo>
                  <a:pt x="84" y="144"/>
                </a:lnTo>
                <a:lnTo>
                  <a:pt x="84" y="150"/>
                </a:lnTo>
                <a:lnTo>
                  <a:pt x="78" y="150"/>
                </a:lnTo>
                <a:lnTo>
                  <a:pt x="84" y="150"/>
                </a:lnTo>
                <a:lnTo>
                  <a:pt x="84" y="150"/>
                </a:lnTo>
                <a:lnTo>
                  <a:pt x="84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6"/>
                </a:lnTo>
                <a:lnTo>
                  <a:pt x="78" y="150"/>
                </a:lnTo>
                <a:lnTo>
                  <a:pt x="78" y="156"/>
                </a:lnTo>
                <a:lnTo>
                  <a:pt x="78" y="156"/>
                </a:lnTo>
                <a:lnTo>
                  <a:pt x="78" y="156"/>
                </a:lnTo>
                <a:lnTo>
                  <a:pt x="78" y="156"/>
                </a:lnTo>
                <a:lnTo>
                  <a:pt x="72" y="156"/>
                </a:lnTo>
                <a:lnTo>
                  <a:pt x="72" y="156"/>
                </a:lnTo>
                <a:lnTo>
                  <a:pt x="72" y="162"/>
                </a:lnTo>
                <a:lnTo>
                  <a:pt x="72" y="162"/>
                </a:lnTo>
                <a:lnTo>
                  <a:pt x="72" y="162"/>
                </a:lnTo>
                <a:lnTo>
                  <a:pt x="66" y="162"/>
                </a:lnTo>
                <a:lnTo>
                  <a:pt x="66" y="162"/>
                </a:lnTo>
                <a:lnTo>
                  <a:pt x="66" y="162"/>
                </a:lnTo>
                <a:lnTo>
                  <a:pt x="66" y="162"/>
                </a:lnTo>
                <a:lnTo>
                  <a:pt x="60" y="162"/>
                </a:lnTo>
                <a:lnTo>
                  <a:pt x="60" y="162"/>
                </a:lnTo>
                <a:lnTo>
                  <a:pt x="60" y="162"/>
                </a:lnTo>
                <a:lnTo>
                  <a:pt x="60" y="156"/>
                </a:lnTo>
                <a:lnTo>
                  <a:pt x="60" y="156"/>
                </a:lnTo>
                <a:lnTo>
                  <a:pt x="54" y="156"/>
                </a:lnTo>
                <a:lnTo>
                  <a:pt x="54" y="162"/>
                </a:lnTo>
                <a:lnTo>
                  <a:pt x="54" y="156"/>
                </a:lnTo>
                <a:lnTo>
                  <a:pt x="54" y="156"/>
                </a:lnTo>
                <a:lnTo>
                  <a:pt x="54" y="156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48" y="150"/>
                </a:lnTo>
                <a:lnTo>
                  <a:pt x="48" y="150"/>
                </a:lnTo>
                <a:lnTo>
                  <a:pt x="54" y="156"/>
                </a:lnTo>
                <a:lnTo>
                  <a:pt x="54" y="156"/>
                </a:lnTo>
                <a:lnTo>
                  <a:pt x="54" y="156"/>
                </a:lnTo>
                <a:lnTo>
                  <a:pt x="48" y="156"/>
                </a:lnTo>
                <a:lnTo>
                  <a:pt x="48" y="156"/>
                </a:lnTo>
                <a:lnTo>
                  <a:pt x="48" y="156"/>
                </a:lnTo>
                <a:lnTo>
                  <a:pt x="48" y="150"/>
                </a:lnTo>
                <a:lnTo>
                  <a:pt x="42" y="150"/>
                </a:lnTo>
                <a:lnTo>
                  <a:pt x="42" y="156"/>
                </a:lnTo>
                <a:lnTo>
                  <a:pt x="42" y="156"/>
                </a:lnTo>
                <a:lnTo>
                  <a:pt x="42" y="150"/>
                </a:lnTo>
                <a:lnTo>
                  <a:pt x="36" y="156"/>
                </a:lnTo>
                <a:lnTo>
                  <a:pt x="36" y="156"/>
                </a:lnTo>
                <a:lnTo>
                  <a:pt x="36" y="156"/>
                </a:lnTo>
                <a:lnTo>
                  <a:pt x="36" y="156"/>
                </a:lnTo>
                <a:lnTo>
                  <a:pt x="36" y="156"/>
                </a:lnTo>
                <a:lnTo>
                  <a:pt x="30" y="156"/>
                </a:lnTo>
                <a:lnTo>
                  <a:pt x="30" y="156"/>
                </a:lnTo>
                <a:lnTo>
                  <a:pt x="30" y="156"/>
                </a:lnTo>
                <a:lnTo>
                  <a:pt x="30" y="156"/>
                </a:lnTo>
                <a:lnTo>
                  <a:pt x="30" y="156"/>
                </a:lnTo>
                <a:lnTo>
                  <a:pt x="30" y="156"/>
                </a:lnTo>
                <a:lnTo>
                  <a:pt x="24" y="156"/>
                </a:lnTo>
                <a:lnTo>
                  <a:pt x="24" y="156"/>
                </a:lnTo>
                <a:lnTo>
                  <a:pt x="24" y="156"/>
                </a:lnTo>
                <a:lnTo>
                  <a:pt x="24" y="156"/>
                </a:lnTo>
                <a:lnTo>
                  <a:pt x="24" y="156"/>
                </a:lnTo>
                <a:lnTo>
                  <a:pt x="24" y="156"/>
                </a:lnTo>
                <a:lnTo>
                  <a:pt x="24" y="156"/>
                </a:lnTo>
                <a:lnTo>
                  <a:pt x="24" y="162"/>
                </a:lnTo>
                <a:lnTo>
                  <a:pt x="24" y="162"/>
                </a:lnTo>
                <a:lnTo>
                  <a:pt x="24" y="162"/>
                </a:lnTo>
                <a:lnTo>
                  <a:pt x="24" y="162"/>
                </a:lnTo>
                <a:lnTo>
                  <a:pt x="18" y="162"/>
                </a:lnTo>
                <a:lnTo>
                  <a:pt x="18" y="162"/>
                </a:lnTo>
                <a:lnTo>
                  <a:pt x="18" y="156"/>
                </a:lnTo>
                <a:lnTo>
                  <a:pt x="12" y="156"/>
                </a:lnTo>
                <a:lnTo>
                  <a:pt x="12" y="156"/>
                </a:lnTo>
                <a:lnTo>
                  <a:pt x="12" y="156"/>
                </a:lnTo>
                <a:lnTo>
                  <a:pt x="6" y="156"/>
                </a:lnTo>
                <a:lnTo>
                  <a:pt x="6" y="150"/>
                </a:lnTo>
                <a:lnTo>
                  <a:pt x="6" y="150"/>
                </a:lnTo>
                <a:lnTo>
                  <a:pt x="6" y="150"/>
                </a:lnTo>
                <a:lnTo>
                  <a:pt x="6" y="150"/>
                </a:lnTo>
                <a:lnTo>
                  <a:pt x="6" y="150"/>
                </a:lnTo>
                <a:lnTo>
                  <a:pt x="6" y="150"/>
                </a:lnTo>
                <a:lnTo>
                  <a:pt x="6" y="150"/>
                </a:lnTo>
                <a:lnTo>
                  <a:pt x="6" y="150"/>
                </a:lnTo>
                <a:lnTo>
                  <a:pt x="6" y="150"/>
                </a:lnTo>
                <a:lnTo>
                  <a:pt x="6" y="150"/>
                </a:lnTo>
                <a:lnTo>
                  <a:pt x="6" y="144"/>
                </a:lnTo>
                <a:lnTo>
                  <a:pt x="6" y="144"/>
                </a:lnTo>
                <a:lnTo>
                  <a:pt x="6" y="150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38"/>
                </a:lnTo>
                <a:lnTo>
                  <a:pt x="6" y="138"/>
                </a:lnTo>
                <a:lnTo>
                  <a:pt x="6" y="138"/>
                </a:lnTo>
                <a:lnTo>
                  <a:pt x="6" y="138"/>
                </a:lnTo>
                <a:lnTo>
                  <a:pt x="12" y="138"/>
                </a:lnTo>
                <a:lnTo>
                  <a:pt x="6" y="138"/>
                </a:lnTo>
                <a:lnTo>
                  <a:pt x="6" y="138"/>
                </a:lnTo>
                <a:lnTo>
                  <a:pt x="6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0"/>
                </a:lnTo>
                <a:lnTo>
                  <a:pt x="12" y="126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8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0"/>
                </a:lnTo>
                <a:lnTo>
                  <a:pt x="12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0" y="9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78" name="Freeform 411"/>
          <p:cNvSpPr>
            <a:spLocks/>
          </p:cNvSpPr>
          <p:nvPr/>
        </p:nvSpPr>
        <p:spPr bwMode="auto">
          <a:xfrm>
            <a:off x="6376474" y="4244214"/>
            <a:ext cx="141329" cy="122058"/>
          </a:xfrm>
          <a:custGeom>
            <a:avLst/>
            <a:gdLst>
              <a:gd name="T0" fmla="*/ 6 w 132"/>
              <a:gd name="T1" fmla="*/ 84 h 114"/>
              <a:gd name="T2" fmla="*/ 18 w 132"/>
              <a:gd name="T3" fmla="*/ 84 h 114"/>
              <a:gd name="T4" fmla="*/ 18 w 132"/>
              <a:gd name="T5" fmla="*/ 72 h 114"/>
              <a:gd name="T6" fmla="*/ 18 w 132"/>
              <a:gd name="T7" fmla="*/ 66 h 114"/>
              <a:gd name="T8" fmla="*/ 36 w 132"/>
              <a:gd name="T9" fmla="*/ 66 h 114"/>
              <a:gd name="T10" fmla="*/ 48 w 132"/>
              <a:gd name="T11" fmla="*/ 60 h 114"/>
              <a:gd name="T12" fmla="*/ 48 w 132"/>
              <a:gd name="T13" fmla="*/ 54 h 114"/>
              <a:gd name="T14" fmla="*/ 42 w 132"/>
              <a:gd name="T15" fmla="*/ 54 h 114"/>
              <a:gd name="T16" fmla="*/ 42 w 132"/>
              <a:gd name="T17" fmla="*/ 48 h 114"/>
              <a:gd name="T18" fmla="*/ 42 w 132"/>
              <a:gd name="T19" fmla="*/ 42 h 114"/>
              <a:gd name="T20" fmla="*/ 42 w 132"/>
              <a:gd name="T21" fmla="*/ 36 h 114"/>
              <a:gd name="T22" fmla="*/ 42 w 132"/>
              <a:gd name="T23" fmla="*/ 30 h 114"/>
              <a:gd name="T24" fmla="*/ 42 w 132"/>
              <a:gd name="T25" fmla="*/ 30 h 114"/>
              <a:gd name="T26" fmla="*/ 48 w 132"/>
              <a:gd name="T27" fmla="*/ 24 h 114"/>
              <a:gd name="T28" fmla="*/ 48 w 132"/>
              <a:gd name="T29" fmla="*/ 18 h 114"/>
              <a:gd name="T30" fmla="*/ 48 w 132"/>
              <a:gd name="T31" fmla="*/ 18 h 114"/>
              <a:gd name="T32" fmla="*/ 54 w 132"/>
              <a:gd name="T33" fmla="*/ 12 h 114"/>
              <a:gd name="T34" fmla="*/ 54 w 132"/>
              <a:gd name="T35" fmla="*/ 6 h 114"/>
              <a:gd name="T36" fmla="*/ 54 w 132"/>
              <a:gd name="T37" fmla="*/ 0 h 114"/>
              <a:gd name="T38" fmla="*/ 72 w 132"/>
              <a:gd name="T39" fmla="*/ 12 h 114"/>
              <a:gd name="T40" fmla="*/ 84 w 132"/>
              <a:gd name="T41" fmla="*/ 12 h 114"/>
              <a:gd name="T42" fmla="*/ 90 w 132"/>
              <a:gd name="T43" fmla="*/ 18 h 114"/>
              <a:gd name="T44" fmla="*/ 102 w 132"/>
              <a:gd name="T45" fmla="*/ 18 h 114"/>
              <a:gd name="T46" fmla="*/ 114 w 132"/>
              <a:gd name="T47" fmla="*/ 18 h 114"/>
              <a:gd name="T48" fmla="*/ 114 w 132"/>
              <a:gd name="T49" fmla="*/ 24 h 114"/>
              <a:gd name="T50" fmla="*/ 120 w 132"/>
              <a:gd name="T51" fmla="*/ 36 h 114"/>
              <a:gd name="T52" fmla="*/ 120 w 132"/>
              <a:gd name="T53" fmla="*/ 48 h 114"/>
              <a:gd name="T54" fmla="*/ 114 w 132"/>
              <a:gd name="T55" fmla="*/ 60 h 114"/>
              <a:gd name="T56" fmla="*/ 132 w 132"/>
              <a:gd name="T57" fmla="*/ 72 h 114"/>
              <a:gd name="T58" fmla="*/ 132 w 132"/>
              <a:gd name="T59" fmla="*/ 78 h 114"/>
              <a:gd name="T60" fmla="*/ 120 w 132"/>
              <a:gd name="T61" fmla="*/ 84 h 114"/>
              <a:gd name="T62" fmla="*/ 114 w 132"/>
              <a:gd name="T63" fmla="*/ 90 h 114"/>
              <a:gd name="T64" fmla="*/ 114 w 132"/>
              <a:gd name="T65" fmla="*/ 84 h 114"/>
              <a:gd name="T66" fmla="*/ 108 w 132"/>
              <a:gd name="T67" fmla="*/ 78 h 114"/>
              <a:gd name="T68" fmla="*/ 108 w 132"/>
              <a:gd name="T69" fmla="*/ 78 h 114"/>
              <a:gd name="T70" fmla="*/ 102 w 132"/>
              <a:gd name="T71" fmla="*/ 84 h 114"/>
              <a:gd name="T72" fmla="*/ 108 w 132"/>
              <a:gd name="T73" fmla="*/ 96 h 114"/>
              <a:gd name="T74" fmla="*/ 96 w 132"/>
              <a:gd name="T75" fmla="*/ 108 h 114"/>
              <a:gd name="T76" fmla="*/ 90 w 132"/>
              <a:gd name="T77" fmla="*/ 114 h 114"/>
              <a:gd name="T78" fmla="*/ 90 w 132"/>
              <a:gd name="T79" fmla="*/ 108 h 114"/>
              <a:gd name="T80" fmla="*/ 90 w 132"/>
              <a:gd name="T81" fmla="*/ 108 h 114"/>
              <a:gd name="T82" fmla="*/ 84 w 132"/>
              <a:gd name="T83" fmla="*/ 108 h 114"/>
              <a:gd name="T84" fmla="*/ 78 w 132"/>
              <a:gd name="T85" fmla="*/ 102 h 114"/>
              <a:gd name="T86" fmla="*/ 72 w 132"/>
              <a:gd name="T87" fmla="*/ 102 h 114"/>
              <a:gd name="T88" fmla="*/ 72 w 132"/>
              <a:gd name="T89" fmla="*/ 102 h 114"/>
              <a:gd name="T90" fmla="*/ 66 w 132"/>
              <a:gd name="T91" fmla="*/ 102 h 114"/>
              <a:gd name="T92" fmla="*/ 60 w 132"/>
              <a:gd name="T93" fmla="*/ 96 h 114"/>
              <a:gd name="T94" fmla="*/ 60 w 132"/>
              <a:gd name="T95" fmla="*/ 96 h 114"/>
              <a:gd name="T96" fmla="*/ 54 w 132"/>
              <a:gd name="T97" fmla="*/ 96 h 114"/>
              <a:gd name="T98" fmla="*/ 48 w 132"/>
              <a:gd name="T99" fmla="*/ 102 h 114"/>
              <a:gd name="T100" fmla="*/ 42 w 132"/>
              <a:gd name="T101" fmla="*/ 108 h 114"/>
              <a:gd name="T102" fmla="*/ 42 w 132"/>
              <a:gd name="T103" fmla="*/ 114 h 114"/>
              <a:gd name="T104" fmla="*/ 36 w 132"/>
              <a:gd name="T105" fmla="*/ 114 h 114"/>
              <a:gd name="T106" fmla="*/ 30 w 132"/>
              <a:gd name="T107" fmla="*/ 108 h 114"/>
              <a:gd name="T108" fmla="*/ 24 w 132"/>
              <a:gd name="T109" fmla="*/ 96 h 114"/>
              <a:gd name="T110" fmla="*/ 12 w 132"/>
              <a:gd name="T111" fmla="*/ 96 h 114"/>
              <a:gd name="T112" fmla="*/ 0 w 132"/>
              <a:gd name="T113" fmla="*/ 96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32" h="114">
                <a:moveTo>
                  <a:pt x="0" y="96"/>
                </a:move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0" y="84"/>
                </a:lnTo>
                <a:lnTo>
                  <a:pt x="6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24" y="66"/>
                </a:lnTo>
                <a:lnTo>
                  <a:pt x="24" y="66"/>
                </a:lnTo>
                <a:lnTo>
                  <a:pt x="30" y="66"/>
                </a:lnTo>
                <a:lnTo>
                  <a:pt x="30" y="72"/>
                </a:lnTo>
                <a:lnTo>
                  <a:pt x="30" y="72"/>
                </a:lnTo>
                <a:lnTo>
                  <a:pt x="36" y="66"/>
                </a:lnTo>
                <a:lnTo>
                  <a:pt x="42" y="66"/>
                </a:lnTo>
                <a:lnTo>
                  <a:pt x="42" y="66"/>
                </a:lnTo>
                <a:lnTo>
                  <a:pt x="48" y="66"/>
                </a:lnTo>
                <a:lnTo>
                  <a:pt x="48" y="66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8" y="30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54" y="18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6"/>
                </a:lnTo>
                <a:lnTo>
                  <a:pt x="48" y="6"/>
                </a:lnTo>
                <a:lnTo>
                  <a:pt x="48" y="6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54" y="0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90" y="12"/>
                </a:lnTo>
                <a:lnTo>
                  <a:pt x="90" y="12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6" y="18"/>
                </a:lnTo>
                <a:lnTo>
                  <a:pt x="96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24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60"/>
                </a:lnTo>
                <a:lnTo>
                  <a:pt x="120" y="66"/>
                </a:lnTo>
                <a:lnTo>
                  <a:pt x="120" y="72"/>
                </a:lnTo>
                <a:lnTo>
                  <a:pt x="126" y="72"/>
                </a:lnTo>
                <a:lnTo>
                  <a:pt x="126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84"/>
                </a:lnTo>
                <a:lnTo>
                  <a:pt x="126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90"/>
                </a:lnTo>
                <a:lnTo>
                  <a:pt x="120" y="90"/>
                </a:lnTo>
                <a:lnTo>
                  <a:pt x="114" y="90"/>
                </a:lnTo>
                <a:lnTo>
                  <a:pt x="114" y="90"/>
                </a:lnTo>
                <a:lnTo>
                  <a:pt x="114" y="90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08" y="84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96"/>
                </a:lnTo>
                <a:lnTo>
                  <a:pt x="108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102"/>
                </a:lnTo>
                <a:lnTo>
                  <a:pt x="102" y="102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0" y="114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2"/>
                </a:lnTo>
                <a:lnTo>
                  <a:pt x="84" y="102"/>
                </a:lnTo>
                <a:lnTo>
                  <a:pt x="78" y="108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96"/>
                </a:lnTo>
                <a:lnTo>
                  <a:pt x="72" y="96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54" y="96"/>
                </a:lnTo>
                <a:lnTo>
                  <a:pt x="60" y="96"/>
                </a:lnTo>
                <a:lnTo>
                  <a:pt x="54" y="96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2" y="102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08"/>
                </a:lnTo>
                <a:lnTo>
                  <a:pt x="36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96"/>
                </a:lnTo>
                <a:lnTo>
                  <a:pt x="24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102"/>
                </a:lnTo>
                <a:lnTo>
                  <a:pt x="6" y="102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79" name="Freeform 412"/>
          <p:cNvSpPr>
            <a:spLocks/>
          </p:cNvSpPr>
          <p:nvPr/>
        </p:nvSpPr>
        <p:spPr bwMode="auto">
          <a:xfrm>
            <a:off x="6851854" y="4584691"/>
            <a:ext cx="134905" cy="141330"/>
          </a:xfrm>
          <a:custGeom>
            <a:avLst/>
            <a:gdLst>
              <a:gd name="T0" fmla="*/ 6 w 126"/>
              <a:gd name="T1" fmla="*/ 126 h 132"/>
              <a:gd name="T2" fmla="*/ 0 w 126"/>
              <a:gd name="T3" fmla="*/ 126 h 132"/>
              <a:gd name="T4" fmla="*/ 0 w 126"/>
              <a:gd name="T5" fmla="*/ 120 h 132"/>
              <a:gd name="T6" fmla="*/ 6 w 126"/>
              <a:gd name="T7" fmla="*/ 108 h 132"/>
              <a:gd name="T8" fmla="*/ 12 w 126"/>
              <a:gd name="T9" fmla="*/ 108 h 132"/>
              <a:gd name="T10" fmla="*/ 18 w 126"/>
              <a:gd name="T11" fmla="*/ 108 h 132"/>
              <a:gd name="T12" fmla="*/ 18 w 126"/>
              <a:gd name="T13" fmla="*/ 102 h 132"/>
              <a:gd name="T14" fmla="*/ 12 w 126"/>
              <a:gd name="T15" fmla="*/ 102 h 132"/>
              <a:gd name="T16" fmla="*/ 6 w 126"/>
              <a:gd name="T17" fmla="*/ 96 h 132"/>
              <a:gd name="T18" fmla="*/ 6 w 126"/>
              <a:gd name="T19" fmla="*/ 96 h 132"/>
              <a:gd name="T20" fmla="*/ 6 w 126"/>
              <a:gd name="T21" fmla="*/ 84 h 132"/>
              <a:gd name="T22" fmla="*/ 6 w 126"/>
              <a:gd name="T23" fmla="*/ 84 h 132"/>
              <a:gd name="T24" fmla="*/ 6 w 126"/>
              <a:gd name="T25" fmla="*/ 78 h 132"/>
              <a:gd name="T26" fmla="*/ 6 w 126"/>
              <a:gd name="T27" fmla="*/ 78 h 132"/>
              <a:gd name="T28" fmla="*/ 6 w 126"/>
              <a:gd name="T29" fmla="*/ 72 h 132"/>
              <a:gd name="T30" fmla="*/ 6 w 126"/>
              <a:gd name="T31" fmla="*/ 66 h 132"/>
              <a:gd name="T32" fmla="*/ 6 w 126"/>
              <a:gd name="T33" fmla="*/ 66 h 132"/>
              <a:gd name="T34" fmla="*/ 6 w 126"/>
              <a:gd name="T35" fmla="*/ 60 h 132"/>
              <a:gd name="T36" fmla="*/ 6 w 126"/>
              <a:gd name="T37" fmla="*/ 54 h 132"/>
              <a:gd name="T38" fmla="*/ 12 w 126"/>
              <a:gd name="T39" fmla="*/ 54 h 132"/>
              <a:gd name="T40" fmla="*/ 12 w 126"/>
              <a:gd name="T41" fmla="*/ 48 h 132"/>
              <a:gd name="T42" fmla="*/ 18 w 126"/>
              <a:gd name="T43" fmla="*/ 42 h 132"/>
              <a:gd name="T44" fmla="*/ 18 w 126"/>
              <a:gd name="T45" fmla="*/ 36 h 132"/>
              <a:gd name="T46" fmla="*/ 24 w 126"/>
              <a:gd name="T47" fmla="*/ 30 h 132"/>
              <a:gd name="T48" fmla="*/ 18 w 126"/>
              <a:gd name="T49" fmla="*/ 24 h 132"/>
              <a:gd name="T50" fmla="*/ 30 w 126"/>
              <a:gd name="T51" fmla="*/ 18 h 132"/>
              <a:gd name="T52" fmla="*/ 36 w 126"/>
              <a:gd name="T53" fmla="*/ 18 h 132"/>
              <a:gd name="T54" fmla="*/ 36 w 126"/>
              <a:gd name="T55" fmla="*/ 18 h 132"/>
              <a:gd name="T56" fmla="*/ 42 w 126"/>
              <a:gd name="T57" fmla="*/ 18 h 132"/>
              <a:gd name="T58" fmla="*/ 48 w 126"/>
              <a:gd name="T59" fmla="*/ 18 h 132"/>
              <a:gd name="T60" fmla="*/ 54 w 126"/>
              <a:gd name="T61" fmla="*/ 18 h 132"/>
              <a:gd name="T62" fmla="*/ 60 w 126"/>
              <a:gd name="T63" fmla="*/ 12 h 132"/>
              <a:gd name="T64" fmla="*/ 66 w 126"/>
              <a:gd name="T65" fmla="*/ 12 h 132"/>
              <a:gd name="T66" fmla="*/ 72 w 126"/>
              <a:gd name="T67" fmla="*/ 0 h 132"/>
              <a:gd name="T68" fmla="*/ 78 w 126"/>
              <a:gd name="T69" fmla="*/ 6 h 132"/>
              <a:gd name="T70" fmla="*/ 84 w 126"/>
              <a:gd name="T71" fmla="*/ 6 h 132"/>
              <a:gd name="T72" fmla="*/ 90 w 126"/>
              <a:gd name="T73" fmla="*/ 12 h 132"/>
              <a:gd name="T74" fmla="*/ 96 w 126"/>
              <a:gd name="T75" fmla="*/ 6 h 132"/>
              <a:gd name="T76" fmla="*/ 96 w 126"/>
              <a:gd name="T77" fmla="*/ 0 h 132"/>
              <a:gd name="T78" fmla="*/ 96 w 126"/>
              <a:gd name="T79" fmla="*/ 0 h 132"/>
              <a:gd name="T80" fmla="*/ 102 w 126"/>
              <a:gd name="T81" fmla="*/ 6 h 132"/>
              <a:gd name="T82" fmla="*/ 102 w 126"/>
              <a:gd name="T83" fmla="*/ 6 h 132"/>
              <a:gd name="T84" fmla="*/ 102 w 126"/>
              <a:gd name="T85" fmla="*/ 18 h 132"/>
              <a:gd name="T86" fmla="*/ 108 w 126"/>
              <a:gd name="T87" fmla="*/ 24 h 132"/>
              <a:gd name="T88" fmla="*/ 108 w 126"/>
              <a:gd name="T89" fmla="*/ 30 h 132"/>
              <a:gd name="T90" fmla="*/ 114 w 126"/>
              <a:gd name="T91" fmla="*/ 36 h 132"/>
              <a:gd name="T92" fmla="*/ 120 w 126"/>
              <a:gd name="T93" fmla="*/ 36 h 132"/>
              <a:gd name="T94" fmla="*/ 126 w 126"/>
              <a:gd name="T95" fmla="*/ 30 h 132"/>
              <a:gd name="T96" fmla="*/ 114 w 126"/>
              <a:gd name="T97" fmla="*/ 42 h 132"/>
              <a:gd name="T98" fmla="*/ 102 w 126"/>
              <a:gd name="T99" fmla="*/ 60 h 132"/>
              <a:gd name="T100" fmla="*/ 90 w 126"/>
              <a:gd name="T101" fmla="*/ 66 h 132"/>
              <a:gd name="T102" fmla="*/ 90 w 126"/>
              <a:gd name="T103" fmla="*/ 78 h 132"/>
              <a:gd name="T104" fmla="*/ 72 w 126"/>
              <a:gd name="T105" fmla="*/ 90 h 132"/>
              <a:gd name="T106" fmla="*/ 60 w 126"/>
              <a:gd name="T107" fmla="*/ 114 h 132"/>
              <a:gd name="T108" fmla="*/ 54 w 126"/>
              <a:gd name="T109" fmla="*/ 120 h 132"/>
              <a:gd name="T110" fmla="*/ 54 w 126"/>
              <a:gd name="T111" fmla="*/ 132 h 132"/>
              <a:gd name="T112" fmla="*/ 48 w 126"/>
              <a:gd name="T113" fmla="*/ 132 h 132"/>
              <a:gd name="T114" fmla="*/ 48 w 126"/>
              <a:gd name="T115" fmla="*/ 126 h 132"/>
              <a:gd name="T116" fmla="*/ 36 w 126"/>
              <a:gd name="T117" fmla="*/ 132 h 132"/>
              <a:gd name="T118" fmla="*/ 6 w 126"/>
              <a:gd name="T119" fmla="*/ 132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26" h="132">
                <a:moveTo>
                  <a:pt x="6" y="132"/>
                </a:moveTo>
                <a:lnTo>
                  <a:pt x="6" y="132"/>
                </a:lnTo>
                <a:lnTo>
                  <a:pt x="6" y="132"/>
                </a:lnTo>
                <a:lnTo>
                  <a:pt x="6" y="132"/>
                </a:lnTo>
                <a:lnTo>
                  <a:pt x="6" y="132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0" y="126"/>
                </a:lnTo>
                <a:lnTo>
                  <a:pt x="0" y="126"/>
                </a:lnTo>
                <a:lnTo>
                  <a:pt x="0" y="126"/>
                </a:lnTo>
                <a:lnTo>
                  <a:pt x="0" y="126"/>
                </a:lnTo>
                <a:lnTo>
                  <a:pt x="0" y="126"/>
                </a:lnTo>
                <a:lnTo>
                  <a:pt x="0" y="120"/>
                </a:lnTo>
                <a:lnTo>
                  <a:pt x="0" y="120"/>
                </a:lnTo>
                <a:lnTo>
                  <a:pt x="0" y="120"/>
                </a:lnTo>
                <a:lnTo>
                  <a:pt x="6" y="120"/>
                </a:lnTo>
                <a:lnTo>
                  <a:pt x="0" y="120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6" y="102"/>
                </a:lnTo>
                <a:lnTo>
                  <a:pt x="6" y="102"/>
                </a:lnTo>
                <a:lnTo>
                  <a:pt x="6" y="96"/>
                </a:lnTo>
                <a:lnTo>
                  <a:pt x="6" y="102"/>
                </a:lnTo>
                <a:lnTo>
                  <a:pt x="6" y="96"/>
                </a:lnTo>
                <a:lnTo>
                  <a:pt x="0" y="96"/>
                </a:lnTo>
                <a:lnTo>
                  <a:pt x="0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78"/>
                </a:lnTo>
                <a:lnTo>
                  <a:pt x="6" y="84"/>
                </a:lnTo>
                <a:lnTo>
                  <a:pt x="6" y="84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0" y="78"/>
                </a:lnTo>
                <a:lnTo>
                  <a:pt x="0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0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0" y="72"/>
                </a:lnTo>
                <a:lnTo>
                  <a:pt x="6" y="72"/>
                </a:lnTo>
                <a:lnTo>
                  <a:pt x="0" y="72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8" y="42"/>
                </a:lnTo>
                <a:lnTo>
                  <a:pt x="18" y="42"/>
                </a:lnTo>
                <a:lnTo>
                  <a:pt x="24" y="42"/>
                </a:lnTo>
                <a:lnTo>
                  <a:pt x="24" y="42"/>
                </a:lnTo>
                <a:lnTo>
                  <a:pt x="18" y="42"/>
                </a:lnTo>
                <a:lnTo>
                  <a:pt x="24" y="42"/>
                </a:lnTo>
                <a:lnTo>
                  <a:pt x="18" y="36"/>
                </a:lnTo>
                <a:lnTo>
                  <a:pt x="24" y="36"/>
                </a:lnTo>
                <a:lnTo>
                  <a:pt x="18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18" y="30"/>
                </a:lnTo>
                <a:lnTo>
                  <a:pt x="18" y="24"/>
                </a:lnTo>
                <a:lnTo>
                  <a:pt x="18" y="24"/>
                </a:lnTo>
                <a:lnTo>
                  <a:pt x="24" y="24"/>
                </a:lnTo>
                <a:lnTo>
                  <a:pt x="24" y="24"/>
                </a:lnTo>
                <a:lnTo>
                  <a:pt x="24" y="18"/>
                </a:lnTo>
                <a:lnTo>
                  <a:pt x="24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2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42" y="18"/>
                </a:lnTo>
                <a:lnTo>
                  <a:pt x="42" y="18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18"/>
                </a:lnTo>
                <a:lnTo>
                  <a:pt x="42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54" y="18"/>
                </a:lnTo>
                <a:lnTo>
                  <a:pt x="54" y="12"/>
                </a:lnTo>
                <a:lnTo>
                  <a:pt x="54" y="18"/>
                </a:lnTo>
                <a:lnTo>
                  <a:pt x="54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2"/>
                </a:lnTo>
                <a:lnTo>
                  <a:pt x="60" y="12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2"/>
                </a:lnTo>
                <a:lnTo>
                  <a:pt x="60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6"/>
                </a:lnTo>
                <a:lnTo>
                  <a:pt x="66" y="6"/>
                </a:lnTo>
                <a:lnTo>
                  <a:pt x="72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6"/>
                </a:lnTo>
                <a:lnTo>
                  <a:pt x="78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90" y="6"/>
                </a:lnTo>
                <a:lnTo>
                  <a:pt x="90" y="12"/>
                </a:lnTo>
                <a:lnTo>
                  <a:pt x="84" y="12"/>
                </a:lnTo>
                <a:lnTo>
                  <a:pt x="84" y="12"/>
                </a:lnTo>
                <a:lnTo>
                  <a:pt x="90" y="12"/>
                </a:lnTo>
                <a:lnTo>
                  <a:pt x="90" y="12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2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14" y="36"/>
                </a:lnTo>
                <a:lnTo>
                  <a:pt x="114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6"/>
                </a:lnTo>
                <a:lnTo>
                  <a:pt x="120" y="42"/>
                </a:lnTo>
                <a:lnTo>
                  <a:pt x="114" y="42"/>
                </a:lnTo>
                <a:lnTo>
                  <a:pt x="114" y="42"/>
                </a:lnTo>
                <a:lnTo>
                  <a:pt x="120" y="42"/>
                </a:lnTo>
                <a:lnTo>
                  <a:pt x="114" y="42"/>
                </a:lnTo>
                <a:lnTo>
                  <a:pt x="114" y="48"/>
                </a:lnTo>
                <a:lnTo>
                  <a:pt x="108" y="48"/>
                </a:lnTo>
                <a:lnTo>
                  <a:pt x="108" y="54"/>
                </a:lnTo>
                <a:lnTo>
                  <a:pt x="102" y="60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96" y="66"/>
                </a:lnTo>
                <a:lnTo>
                  <a:pt x="90" y="66"/>
                </a:lnTo>
                <a:lnTo>
                  <a:pt x="90" y="66"/>
                </a:lnTo>
                <a:lnTo>
                  <a:pt x="96" y="72"/>
                </a:lnTo>
                <a:lnTo>
                  <a:pt x="90" y="72"/>
                </a:lnTo>
                <a:lnTo>
                  <a:pt x="90" y="72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84" y="78"/>
                </a:lnTo>
                <a:lnTo>
                  <a:pt x="78" y="78"/>
                </a:lnTo>
                <a:lnTo>
                  <a:pt x="78" y="84"/>
                </a:lnTo>
                <a:lnTo>
                  <a:pt x="72" y="90"/>
                </a:lnTo>
                <a:lnTo>
                  <a:pt x="66" y="96"/>
                </a:lnTo>
                <a:lnTo>
                  <a:pt x="60" y="108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20"/>
                </a:lnTo>
                <a:lnTo>
                  <a:pt x="54" y="120"/>
                </a:lnTo>
                <a:lnTo>
                  <a:pt x="54" y="126"/>
                </a:lnTo>
                <a:lnTo>
                  <a:pt x="54" y="126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26"/>
                </a:lnTo>
                <a:lnTo>
                  <a:pt x="48" y="126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36" y="132"/>
                </a:lnTo>
                <a:lnTo>
                  <a:pt x="24" y="132"/>
                </a:lnTo>
                <a:lnTo>
                  <a:pt x="6" y="132"/>
                </a:lnTo>
                <a:lnTo>
                  <a:pt x="6" y="132"/>
                </a:lnTo>
                <a:lnTo>
                  <a:pt x="6" y="132"/>
                </a:lnTo>
                <a:lnTo>
                  <a:pt x="6" y="132"/>
                </a:lnTo>
                <a:lnTo>
                  <a:pt x="6" y="132"/>
                </a:lnTo>
                <a:lnTo>
                  <a:pt x="6" y="13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80" name="Freeform 413"/>
          <p:cNvSpPr>
            <a:spLocks/>
          </p:cNvSpPr>
          <p:nvPr/>
        </p:nvSpPr>
        <p:spPr bwMode="auto">
          <a:xfrm>
            <a:off x="6620588" y="4661780"/>
            <a:ext cx="96361" cy="83513"/>
          </a:xfrm>
          <a:custGeom>
            <a:avLst/>
            <a:gdLst>
              <a:gd name="T0" fmla="*/ 0 w 90"/>
              <a:gd name="T1" fmla="*/ 42 h 78"/>
              <a:gd name="T2" fmla="*/ 6 w 90"/>
              <a:gd name="T3" fmla="*/ 42 h 78"/>
              <a:gd name="T4" fmla="*/ 6 w 90"/>
              <a:gd name="T5" fmla="*/ 42 h 78"/>
              <a:gd name="T6" fmla="*/ 0 w 90"/>
              <a:gd name="T7" fmla="*/ 36 h 78"/>
              <a:gd name="T8" fmla="*/ 6 w 90"/>
              <a:gd name="T9" fmla="*/ 36 h 78"/>
              <a:gd name="T10" fmla="*/ 6 w 90"/>
              <a:gd name="T11" fmla="*/ 30 h 78"/>
              <a:gd name="T12" fmla="*/ 18 w 90"/>
              <a:gd name="T13" fmla="*/ 30 h 78"/>
              <a:gd name="T14" fmla="*/ 18 w 90"/>
              <a:gd name="T15" fmla="*/ 30 h 78"/>
              <a:gd name="T16" fmla="*/ 24 w 90"/>
              <a:gd name="T17" fmla="*/ 24 h 78"/>
              <a:gd name="T18" fmla="*/ 24 w 90"/>
              <a:gd name="T19" fmla="*/ 18 h 78"/>
              <a:gd name="T20" fmla="*/ 30 w 90"/>
              <a:gd name="T21" fmla="*/ 18 h 78"/>
              <a:gd name="T22" fmla="*/ 30 w 90"/>
              <a:gd name="T23" fmla="*/ 6 h 78"/>
              <a:gd name="T24" fmla="*/ 36 w 90"/>
              <a:gd name="T25" fmla="*/ 0 h 78"/>
              <a:gd name="T26" fmla="*/ 48 w 90"/>
              <a:gd name="T27" fmla="*/ 0 h 78"/>
              <a:gd name="T28" fmla="*/ 54 w 90"/>
              <a:gd name="T29" fmla="*/ 6 h 78"/>
              <a:gd name="T30" fmla="*/ 66 w 90"/>
              <a:gd name="T31" fmla="*/ 12 h 78"/>
              <a:gd name="T32" fmla="*/ 72 w 90"/>
              <a:gd name="T33" fmla="*/ 18 h 78"/>
              <a:gd name="T34" fmla="*/ 72 w 90"/>
              <a:gd name="T35" fmla="*/ 18 h 78"/>
              <a:gd name="T36" fmla="*/ 66 w 90"/>
              <a:gd name="T37" fmla="*/ 18 h 78"/>
              <a:gd name="T38" fmla="*/ 66 w 90"/>
              <a:gd name="T39" fmla="*/ 24 h 78"/>
              <a:gd name="T40" fmla="*/ 66 w 90"/>
              <a:gd name="T41" fmla="*/ 24 h 78"/>
              <a:gd name="T42" fmla="*/ 66 w 90"/>
              <a:gd name="T43" fmla="*/ 30 h 78"/>
              <a:gd name="T44" fmla="*/ 66 w 90"/>
              <a:gd name="T45" fmla="*/ 30 h 78"/>
              <a:gd name="T46" fmla="*/ 60 w 90"/>
              <a:gd name="T47" fmla="*/ 36 h 78"/>
              <a:gd name="T48" fmla="*/ 54 w 90"/>
              <a:gd name="T49" fmla="*/ 36 h 78"/>
              <a:gd name="T50" fmla="*/ 60 w 90"/>
              <a:gd name="T51" fmla="*/ 36 h 78"/>
              <a:gd name="T52" fmla="*/ 66 w 90"/>
              <a:gd name="T53" fmla="*/ 48 h 78"/>
              <a:gd name="T54" fmla="*/ 66 w 90"/>
              <a:gd name="T55" fmla="*/ 48 h 78"/>
              <a:gd name="T56" fmla="*/ 78 w 90"/>
              <a:gd name="T57" fmla="*/ 48 h 78"/>
              <a:gd name="T58" fmla="*/ 78 w 90"/>
              <a:gd name="T59" fmla="*/ 48 h 78"/>
              <a:gd name="T60" fmla="*/ 84 w 90"/>
              <a:gd name="T61" fmla="*/ 54 h 78"/>
              <a:gd name="T62" fmla="*/ 90 w 90"/>
              <a:gd name="T63" fmla="*/ 60 h 78"/>
              <a:gd name="T64" fmla="*/ 84 w 90"/>
              <a:gd name="T65" fmla="*/ 60 h 78"/>
              <a:gd name="T66" fmla="*/ 84 w 90"/>
              <a:gd name="T67" fmla="*/ 66 h 78"/>
              <a:gd name="T68" fmla="*/ 78 w 90"/>
              <a:gd name="T69" fmla="*/ 66 h 78"/>
              <a:gd name="T70" fmla="*/ 72 w 90"/>
              <a:gd name="T71" fmla="*/ 66 h 78"/>
              <a:gd name="T72" fmla="*/ 66 w 90"/>
              <a:gd name="T73" fmla="*/ 66 h 78"/>
              <a:gd name="T74" fmla="*/ 66 w 90"/>
              <a:gd name="T75" fmla="*/ 66 h 78"/>
              <a:gd name="T76" fmla="*/ 60 w 90"/>
              <a:gd name="T77" fmla="*/ 72 h 78"/>
              <a:gd name="T78" fmla="*/ 54 w 90"/>
              <a:gd name="T79" fmla="*/ 66 h 78"/>
              <a:gd name="T80" fmla="*/ 42 w 90"/>
              <a:gd name="T81" fmla="*/ 72 h 78"/>
              <a:gd name="T82" fmla="*/ 42 w 90"/>
              <a:gd name="T83" fmla="*/ 78 h 78"/>
              <a:gd name="T84" fmla="*/ 42 w 90"/>
              <a:gd name="T85" fmla="*/ 78 h 78"/>
              <a:gd name="T86" fmla="*/ 36 w 90"/>
              <a:gd name="T87" fmla="*/ 72 h 78"/>
              <a:gd name="T88" fmla="*/ 30 w 90"/>
              <a:gd name="T89" fmla="*/ 72 h 78"/>
              <a:gd name="T90" fmla="*/ 24 w 90"/>
              <a:gd name="T91" fmla="*/ 66 h 78"/>
              <a:gd name="T92" fmla="*/ 24 w 90"/>
              <a:gd name="T93" fmla="*/ 66 h 78"/>
              <a:gd name="T94" fmla="*/ 18 w 90"/>
              <a:gd name="T95" fmla="*/ 66 h 78"/>
              <a:gd name="T96" fmla="*/ 12 w 90"/>
              <a:gd name="T97" fmla="*/ 60 h 78"/>
              <a:gd name="T98" fmla="*/ 12 w 90"/>
              <a:gd name="T99" fmla="*/ 66 h 78"/>
              <a:gd name="T100" fmla="*/ 0 w 90"/>
              <a:gd name="T101" fmla="*/ 72 h 78"/>
              <a:gd name="T102" fmla="*/ 0 w 90"/>
              <a:gd name="T103" fmla="*/ 66 h 78"/>
              <a:gd name="T104" fmla="*/ 0 w 90"/>
              <a:gd name="T105" fmla="*/ 66 h 78"/>
              <a:gd name="T106" fmla="*/ 0 w 90"/>
              <a:gd name="T107" fmla="*/ 60 h 78"/>
              <a:gd name="T108" fmla="*/ 0 w 90"/>
              <a:gd name="T109" fmla="*/ 48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90" h="78">
                <a:moveTo>
                  <a:pt x="0" y="48"/>
                </a:moveTo>
                <a:lnTo>
                  <a:pt x="0" y="42"/>
                </a:lnTo>
                <a:lnTo>
                  <a:pt x="0" y="48"/>
                </a:lnTo>
                <a:lnTo>
                  <a:pt x="0" y="48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0" y="42"/>
                </a:lnTo>
                <a:lnTo>
                  <a:pt x="0" y="36"/>
                </a:lnTo>
                <a:lnTo>
                  <a:pt x="0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24"/>
                </a:lnTo>
                <a:lnTo>
                  <a:pt x="18" y="24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24" y="30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2"/>
                </a:lnTo>
                <a:lnTo>
                  <a:pt x="30" y="12"/>
                </a:lnTo>
                <a:lnTo>
                  <a:pt x="30" y="18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72" y="24"/>
                </a:lnTo>
                <a:lnTo>
                  <a:pt x="72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6" y="42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72"/>
                </a:lnTo>
                <a:lnTo>
                  <a:pt x="72" y="66"/>
                </a:lnTo>
                <a:lnTo>
                  <a:pt x="72" y="66"/>
                </a:lnTo>
                <a:lnTo>
                  <a:pt x="72" y="72"/>
                </a:lnTo>
                <a:lnTo>
                  <a:pt x="66" y="66"/>
                </a:lnTo>
                <a:lnTo>
                  <a:pt x="66" y="72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66"/>
                </a:lnTo>
                <a:lnTo>
                  <a:pt x="54" y="66"/>
                </a:lnTo>
                <a:lnTo>
                  <a:pt x="54" y="72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0" y="66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66"/>
                </a:lnTo>
                <a:lnTo>
                  <a:pt x="24" y="66"/>
                </a:lnTo>
                <a:lnTo>
                  <a:pt x="24" y="66"/>
                </a:lnTo>
                <a:lnTo>
                  <a:pt x="30" y="66"/>
                </a:lnTo>
                <a:lnTo>
                  <a:pt x="30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0"/>
                </a:lnTo>
                <a:lnTo>
                  <a:pt x="12" y="60"/>
                </a:lnTo>
                <a:lnTo>
                  <a:pt x="6" y="66"/>
                </a:lnTo>
                <a:lnTo>
                  <a:pt x="6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72"/>
                </a:lnTo>
                <a:lnTo>
                  <a:pt x="12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0" y="72"/>
                </a:lnTo>
                <a:lnTo>
                  <a:pt x="0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48"/>
                </a:lnTo>
                <a:lnTo>
                  <a:pt x="0" y="4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81" name="Freeform 414"/>
          <p:cNvSpPr>
            <a:spLocks/>
          </p:cNvSpPr>
          <p:nvPr/>
        </p:nvSpPr>
        <p:spPr bwMode="auto">
          <a:xfrm>
            <a:off x="6459987" y="4346999"/>
            <a:ext cx="102785" cy="102786"/>
          </a:xfrm>
          <a:custGeom>
            <a:avLst/>
            <a:gdLst>
              <a:gd name="T0" fmla="*/ 6 w 96"/>
              <a:gd name="T1" fmla="*/ 42 h 96"/>
              <a:gd name="T2" fmla="*/ 12 w 96"/>
              <a:gd name="T3" fmla="*/ 42 h 96"/>
              <a:gd name="T4" fmla="*/ 18 w 96"/>
              <a:gd name="T5" fmla="*/ 42 h 96"/>
              <a:gd name="T6" fmla="*/ 24 w 96"/>
              <a:gd name="T7" fmla="*/ 36 h 96"/>
              <a:gd name="T8" fmla="*/ 24 w 96"/>
              <a:gd name="T9" fmla="*/ 30 h 96"/>
              <a:gd name="T10" fmla="*/ 24 w 96"/>
              <a:gd name="T11" fmla="*/ 30 h 96"/>
              <a:gd name="T12" fmla="*/ 24 w 96"/>
              <a:gd name="T13" fmla="*/ 24 h 96"/>
              <a:gd name="T14" fmla="*/ 24 w 96"/>
              <a:gd name="T15" fmla="*/ 24 h 96"/>
              <a:gd name="T16" fmla="*/ 24 w 96"/>
              <a:gd name="T17" fmla="*/ 18 h 96"/>
              <a:gd name="T18" fmla="*/ 18 w 96"/>
              <a:gd name="T19" fmla="*/ 18 h 96"/>
              <a:gd name="T20" fmla="*/ 18 w 96"/>
              <a:gd name="T21" fmla="*/ 12 h 96"/>
              <a:gd name="T22" fmla="*/ 24 w 96"/>
              <a:gd name="T23" fmla="*/ 0 h 96"/>
              <a:gd name="T24" fmla="*/ 36 w 96"/>
              <a:gd name="T25" fmla="*/ 0 h 96"/>
              <a:gd name="T26" fmla="*/ 42 w 96"/>
              <a:gd name="T27" fmla="*/ 12 h 96"/>
              <a:gd name="T28" fmla="*/ 48 w 96"/>
              <a:gd name="T29" fmla="*/ 12 h 96"/>
              <a:gd name="T30" fmla="*/ 60 w 96"/>
              <a:gd name="T31" fmla="*/ 18 h 96"/>
              <a:gd name="T32" fmla="*/ 66 w 96"/>
              <a:gd name="T33" fmla="*/ 12 h 96"/>
              <a:gd name="T34" fmla="*/ 66 w 96"/>
              <a:gd name="T35" fmla="*/ 30 h 96"/>
              <a:gd name="T36" fmla="*/ 66 w 96"/>
              <a:gd name="T37" fmla="*/ 36 h 96"/>
              <a:gd name="T38" fmla="*/ 72 w 96"/>
              <a:gd name="T39" fmla="*/ 36 h 96"/>
              <a:gd name="T40" fmla="*/ 78 w 96"/>
              <a:gd name="T41" fmla="*/ 36 h 96"/>
              <a:gd name="T42" fmla="*/ 78 w 96"/>
              <a:gd name="T43" fmla="*/ 42 h 96"/>
              <a:gd name="T44" fmla="*/ 78 w 96"/>
              <a:gd name="T45" fmla="*/ 42 h 96"/>
              <a:gd name="T46" fmla="*/ 78 w 96"/>
              <a:gd name="T47" fmla="*/ 48 h 96"/>
              <a:gd name="T48" fmla="*/ 78 w 96"/>
              <a:gd name="T49" fmla="*/ 48 h 96"/>
              <a:gd name="T50" fmla="*/ 78 w 96"/>
              <a:gd name="T51" fmla="*/ 54 h 96"/>
              <a:gd name="T52" fmla="*/ 78 w 96"/>
              <a:gd name="T53" fmla="*/ 66 h 96"/>
              <a:gd name="T54" fmla="*/ 84 w 96"/>
              <a:gd name="T55" fmla="*/ 66 h 96"/>
              <a:gd name="T56" fmla="*/ 78 w 96"/>
              <a:gd name="T57" fmla="*/ 72 h 96"/>
              <a:gd name="T58" fmla="*/ 84 w 96"/>
              <a:gd name="T59" fmla="*/ 78 h 96"/>
              <a:gd name="T60" fmla="*/ 84 w 96"/>
              <a:gd name="T61" fmla="*/ 84 h 96"/>
              <a:gd name="T62" fmla="*/ 90 w 96"/>
              <a:gd name="T63" fmla="*/ 84 h 96"/>
              <a:gd name="T64" fmla="*/ 96 w 96"/>
              <a:gd name="T65" fmla="*/ 84 h 96"/>
              <a:gd name="T66" fmla="*/ 90 w 96"/>
              <a:gd name="T67" fmla="*/ 90 h 96"/>
              <a:gd name="T68" fmla="*/ 84 w 96"/>
              <a:gd name="T69" fmla="*/ 90 h 96"/>
              <a:gd name="T70" fmla="*/ 84 w 96"/>
              <a:gd name="T71" fmla="*/ 84 h 96"/>
              <a:gd name="T72" fmla="*/ 72 w 96"/>
              <a:gd name="T73" fmla="*/ 84 h 96"/>
              <a:gd name="T74" fmla="*/ 66 w 96"/>
              <a:gd name="T75" fmla="*/ 84 h 96"/>
              <a:gd name="T76" fmla="*/ 60 w 96"/>
              <a:gd name="T77" fmla="*/ 78 h 96"/>
              <a:gd name="T78" fmla="*/ 54 w 96"/>
              <a:gd name="T79" fmla="*/ 78 h 96"/>
              <a:gd name="T80" fmla="*/ 48 w 96"/>
              <a:gd name="T81" fmla="*/ 78 h 96"/>
              <a:gd name="T82" fmla="*/ 54 w 96"/>
              <a:gd name="T83" fmla="*/ 72 h 96"/>
              <a:gd name="T84" fmla="*/ 60 w 96"/>
              <a:gd name="T85" fmla="*/ 72 h 96"/>
              <a:gd name="T86" fmla="*/ 54 w 96"/>
              <a:gd name="T87" fmla="*/ 60 h 96"/>
              <a:gd name="T88" fmla="*/ 54 w 96"/>
              <a:gd name="T89" fmla="*/ 60 h 96"/>
              <a:gd name="T90" fmla="*/ 48 w 96"/>
              <a:gd name="T91" fmla="*/ 60 h 96"/>
              <a:gd name="T92" fmla="*/ 42 w 96"/>
              <a:gd name="T93" fmla="*/ 60 h 96"/>
              <a:gd name="T94" fmla="*/ 42 w 96"/>
              <a:gd name="T95" fmla="*/ 60 h 96"/>
              <a:gd name="T96" fmla="*/ 42 w 96"/>
              <a:gd name="T97" fmla="*/ 66 h 96"/>
              <a:gd name="T98" fmla="*/ 42 w 96"/>
              <a:gd name="T99" fmla="*/ 72 h 96"/>
              <a:gd name="T100" fmla="*/ 36 w 96"/>
              <a:gd name="T101" fmla="*/ 72 h 96"/>
              <a:gd name="T102" fmla="*/ 42 w 96"/>
              <a:gd name="T103" fmla="*/ 78 h 96"/>
              <a:gd name="T104" fmla="*/ 36 w 96"/>
              <a:gd name="T105" fmla="*/ 78 h 96"/>
              <a:gd name="T106" fmla="*/ 30 w 96"/>
              <a:gd name="T107" fmla="*/ 72 h 96"/>
              <a:gd name="T108" fmla="*/ 30 w 96"/>
              <a:gd name="T109" fmla="*/ 72 h 96"/>
              <a:gd name="T110" fmla="*/ 30 w 96"/>
              <a:gd name="T111" fmla="*/ 66 h 96"/>
              <a:gd name="T112" fmla="*/ 30 w 96"/>
              <a:gd name="T113" fmla="*/ 66 h 96"/>
              <a:gd name="T114" fmla="*/ 30 w 96"/>
              <a:gd name="T115" fmla="*/ 60 h 96"/>
              <a:gd name="T116" fmla="*/ 30 w 96"/>
              <a:gd name="T117" fmla="*/ 60 h 96"/>
              <a:gd name="T118" fmla="*/ 24 w 96"/>
              <a:gd name="T119" fmla="*/ 54 h 96"/>
              <a:gd name="T120" fmla="*/ 18 w 96"/>
              <a:gd name="T121" fmla="*/ 54 h 96"/>
              <a:gd name="T122" fmla="*/ 12 w 96"/>
              <a:gd name="T123" fmla="*/ 54 h 96"/>
              <a:gd name="T124" fmla="*/ 6 w 96"/>
              <a:gd name="T125" fmla="*/ 48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6" h="96">
                <a:moveTo>
                  <a:pt x="0" y="48"/>
                </a:moveTo>
                <a:lnTo>
                  <a:pt x="0" y="48"/>
                </a:lnTo>
                <a:lnTo>
                  <a:pt x="0" y="48"/>
                </a:lnTo>
                <a:lnTo>
                  <a:pt x="0" y="42"/>
                </a:lnTo>
                <a:lnTo>
                  <a:pt x="0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24" y="42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24"/>
                </a:lnTo>
                <a:lnTo>
                  <a:pt x="24" y="30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2"/>
                </a:lnTo>
                <a:lnTo>
                  <a:pt x="18" y="18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24" y="6"/>
                </a:lnTo>
                <a:lnTo>
                  <a:pt x="24" y="6"/>
                </a:lnTo>
                <a:lnTo>
                  <a:pt x="24" y="0"/>
                </a:lnTo>
                <a:lnTo>
                  <a:pt x="24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6" y="18"/>
                </a:lnTo>
                <a:lnTo>
                  <a:pt x="66" y="18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8"/>
                </a:lnTo>
                <a:lnTo>
                  <a:pt x="66" y="18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30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42"/>
                </a:lnTo>
                <a:lnTo>
                  <a:pt x="78" y="42"/>
                </a:lnTo>
                <a:lnTo>
                  <a:pt x="78" y="36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60"/>
                </a:lnTo>
                <a:lnTo>
                  <a:pt x="72" y="54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8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72"/>
                </a:lnTo>
                <a:lnTo>
                  <a:pt x="78" y="72"/>
                </a:lnTo>
                <a:lnTo>
                  <a:pt x="78" y="72"/>
                </a:lnTo>
                <a:lnTo>
                  <a:pt x="84" y="72"/>
                </a:lnTo>
                <a:lnTo>
                  <a:pt x="84" y="78"/>
                </a:lnTo>
                <a:lnTo>
                  <a:pt x="78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0" y="84"/>
                </a:lnTo>
                <a:lnTo>
                  <a:pt x="90" y="84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66" y="84"/>
                </a:lnTo>
                <a:lnTo>
                  <a:pt x="66" y="84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2"/>
                </a:lnTo>
                <a:lnTo>
                  <a:pt x="54" y="78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66"/>
                </a:lnTo>
                <a:lnTo>
                  <a:pt x="60" y="66"/>
                </a:lnTo>
                <a:lnTo>
                  <a:pt x="54" y="66"/>
                </a:lnTo>
                <a:lnTo>
                  <a:pt x="60" y="66"/>
                </a:lnTo>
                <a:lnTo>
                  <a:pt x="54" y="66"/>
                </a:lnTo>
                <a:lnTo>
                  <a:pt x="54" y="66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36" y="72"/>
                </a:lnTo>
                <a:lnTo>
                  <a:pt x="42" y="78"/>
                </a:lnTo>
                <a:lnTo>
                  <a:pt x="42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6" y="54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82" name="Freeform 415"/>
          <p:cNvSpPr>
            <a:spLocks/>
          </p:cNvSpPr>
          <p:nvPr/>
        </p:nvSpPr>
        <p:spPr bwMode="auto">
          <a:xfrm>
            <a:off x="6678405" y="4424088"/>
            <a:ext cx="147753" cy="115634"/>
          </a:xfrm>
          <a:custGeom>
            <a:avLst/>
            <a:gdLst>
              <a:gd name="T0" fmla="*/ 6 w 138"/>
              <a:gd name="T1" fmla="*/ 66 h 108"/>
              <a:gd name="T2" fmla="*/ 6 w 138"/>
              <a:gd name="T3" fmla="*/ 54 h 108"/>
              <a:gd name="T4" fmla="*/ 6 w 138"/>
              <a:gd name="T5" fmla="*/ 48 h 108"/>
              <a:gd name="T6" fmla="*/ 12 w 138"/>
              <a:gd name="T7" fmla="*/ 42 h 108"/>
              <a:gd name="T8" fmla="*/ 12 w 138"/>
              <a:gd name="T9" fmla="*/ 42 h 108"/>
              <a:gd name="T10" fmla="*/ 18 w 138"/>
              <a:gd name="T11" fmla="*/ 42 h 108"/>
              <a:gd name="T12" fmla="*/ 18 w 138"/>
              <a:gd name="T13" fmla="*/ 36 h 108"/>
              <a:gd name="T14" fmla="*/ 18 w 138"/>
              <a:gd name="T15" fmla="*/ 30 h 108"/>
              <a:gd name="T16" fmla="*/ 12 w 138"/>
              <a:gd name="T17" fmla="*/ 30 h 108"/>
              <a:gd name="T18" fmla="*/ 12 w 138"/>
              <a:gd name="T19" fmla="*/ 24 h 108"/>
              <a:gd name="T20" fmla="*/ 6 w 138"/>
              <a:gd name="T21" fmla="*/ 24 h 108"/>
              <a:gd name="T22" fmla="*/ 12 w 138"/>
              <a:gd name="T23" fmla="*/ 18 h 108"/>
              <a:gd name="T24" fmla="*/ 18 w 138"/>
              <a:gd name="T25" fmla="*/ 18 h 108"/>
              <a:gd name="T26" fmla="*/ 24 w 138"/>
              <a:gd name="T27" fmla="*/ 24 h 108"/>
              <a:gd name="T28" fmla="*/ 30 w 138"/>
              <a:gd name="T29" fmla="*/ 24 h 108"/>
              <a:gd name="T30" fmla="*/ 30 w 138"/>
              <a:gd name="T31" fmla="*/ 18 h 108"/>
              <a:gd name="T32" fmla="*/ 36 w 138"/>
              <a:gd name="T33" fmla="*/ 18 h 108"/>
              <a:gd name="T34" fmla="*/ 36 w 138"/>
              <a:gd name="T35" fmla="*/ 12 h 108"/>
              <a:gd name="T36" fmla="*/ 36 w 138"/>
              <a:gd name="T37" fmla="*/ 6 h 108"/>
              <a:gd name="T38" fmla="*/ 42 w 138"/>
              <a:gd name="T39" fmla="*/ 0 h 108"/>
              <a:gd name="T40" fmla="*/ 42 w 138"/>
              <a:gd name="T41" fmla="*/ 6 h 108"/>
              <a:gd name="T42" fmla="*/ 48 w 138"/>
              <a:gd name="T43" fmla="*/ 12 h 108"/>
              <a:gd name="T44" fmla="*/ 54 w 138"/>
              <a:gd name="T45" fmla="*/ 18 h 108"/>
              <a:gd name="T46" fmla="*/ 66 w 138"/>
              <a:gd name="T47" fmla="*/ 30 h 108"/>
              <a:gd name="T48" fmla="*/ 72 w 138"/>
              <a:gd name="T49" fmla="*/ 30 h 108"/>
              <a:gd name="T50" fmla="*/ 78 w 138"/>
              <a:gd name="T51" fmla="*/ 30 h 108"/>
              <a:gd name="T52" fmla="*/ 78 w 138"/>
              <a:gd name="T53" fmla="*/ 24 h 108"/>
              <a:gd name="T54" fmla="*/ 84 w 138"/>
              <a:gd name="T55" fmla="*/ 24 h 108"/>
              <a:gd name="T56" fmla="*/ 78 w 138"/>
              <a:gd name="T57" fmla="*/ 18 h 108"/>
              <a:gd name="T58" fmla="*/ 84 w 138"/>
              <a:gd name="T59" fmla="*/ 18 h 108"/>
              <a:gd name="T60" fmla="*/ 90 w 138"/>
              <a:gd name="T61" fmla="*/ 18 h 108"/>
              <a:gd name="T62" fmla="*/ 90 w 138"/>
              <a:gd name="T63" fmla="*/ 18 h 108"/>
              <a:gd name="T64" fmla="*/ 96 w 138"/>
              <a:gd name="T65" fmla="*/ 12 h 108"/>
              <a:gd name="T66" fmla="*/ 96 w 138"/>
              <a:gd name="T67" fmla="*/ 18 h 108"/>
              <a:gd name="T68" fmla="*/ 96 w 138"/>
              <a:gd name="T69" fmla="*/ 18 h 108"/>
              <a:gd name="T70" fmla="*/ 96 w 138"/>
              <a:gd name="T71" fmla="*/ 24 h 108"/>
              <a:gd name="T72" fmla="*/ 96 w 138"/>
              <a:gd name="T73" fmla="*/ 24 h 108"/>
              <a:gd name="T74" fmla="*/ 102 w 138"/>
              <a:gd name="T75" fmla="*/ 30 h 108"/>
              <a:gd name="T76" fmla="*/ 108 w 138"/>
              <a:gd name="T77" fmla="*/ 36 h 108"/>
              <a:gd name="T78" fmla="*/ 114 w 138"/>
              <a:gd name="T79" fmla="*/ 36 h 108"/>
              <a:gd name="T80" fmla="*/ 120 w 138"/>
              <a:gd name="T81" fmla="*/ 42 h 108"/>
              <a:gd name="T82" fmla="*/ 114 w 138"/>
              <a:gd name="T83" fmla="*/ 54 h 108"/>
              <a:gd name="T84" fmla="*/ 120 w 138"/>
              <a:gd name="T85" fmla="*/ 60 h 108"/>
              <a:gd name="T86" fmla="*/ 126 w 138"/>
              <a:gd name="T87" fmla="*/ 66 h 108"/>
              <a:gd name="T88" fmla="*/ 132 w 138"/>
              <a:gd name="T89" fmla="*/ 66 h 108"/>
              <a:gd name="T90" fmla="*/ 126 w 138"/>
              <a:gd name="T91" fmla="*/ 78 h 108"/>
              <a:gd name="T92" fmla="*/ 114 w 138"/>
              <a:gd name="T93" fmla="*/ 84 h 108"/>
              <a:gd name="T94" fmla="*/ 102 w 138"/>
              <a:gd name="T95" fmla="*/ 90 h 108"/>
              <a:gd name="T96" fmla="*/ 96 w 138"/>
              <a:gd name="T97" fmla="*/ 96 h 108"/>
              <a:gd name="T98" fmla="*/ 96 w 138"/>
              <a:gd name="T99" fmla="*/ 96 h 108"/>
              <a:gd name="T100" fmla="*/ 84 w 138"/>
              <a:gd name="T101" fmla="*/ 108 h 108"/>
              <a:gd name="T102" fmla="*/ 72 w 138"/>
              <a:gd name="T103" fmla="*/ 102 h 108"/>
              <a:gd name="T104" fmla="*/ 66 w 138"/>
              <a:gd name="T105" fmla="*/ 102 h 108"/>
              <a:gd name="T106" fmla="*/ 54 w 138"/>
              <a:gd name="T107" fmla="*/ 102 h 108"/>
              <a:gd name="T108" fmla="*/ 42 w 138"/>
              <a:gd name="T109" fmla="*/ 102 h 108"/>
              <a:gd name="T110" fmla="*/ 36 w 138"/>
              <a:gd name="T111" fmla="*/ 108 h 108"/>
              <a:gd name="T112" fmla="*/ 24 w 138"/>
              <a:gd name="T113" fmla="*/ 102 h 108"/>
              <a:gd name="T114" fmla="*/ 12 w 138"/>
              <a:gd name="T115" fmla="*/ 90 h 108"/>
              <a:gd name="T116" fmla="*/ 18 w 138"/>
              <a:gd name="T117" fmla="*/ 90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38" h="108">
                <a:moveTo>
                  <a:pt x="6" y="78"/>
                </a:move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12" y="72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0" y="24"/>
                </a:lnTo>
                <a:lnTo>
                  <a:pt x="0" y="24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18"/>
                </a:lnTo>
                <a:lnTo>
                  <a:pt x="24" y="18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30" y="24"/>
                </a:lnTo>
                <a:lnTo>
                  <a:pt x="30" y="24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0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60" y="24"/>
                </a:lnTo>
                <a:lnTo>
                  <a:pt x="60" y="30"/>
                </a:lnTo>
                <a:lnTo>
                  <a:pt x="60" y="30"/>
                </a:lnTo>
                <a:lnTo>
                  <a:pt x="66" y="30"/>
                </a:lnTo>
                <a:lnTo>
                  <a:pt x="60" y="36"/>
                </a:lnTo>
                <a:lnTo>
                  <a:pt x="66" y="30"/>
                </a:lnTo>
                <a:lnTo>
                  <a:pt x="66" y="30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0"/>
                </a:lnTo>
                <a:lnTo>
                  <a:pt x="66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6"/>
                </a:lnTo>
                <a:lnTo>
                  <a:pt x="72" y="30"/>
                </a:lnTo>
                <a:lnTo>
                  <a:pt x="78" y="30"/>
                </a:lnTo>
                <a:lnTo>
                  <a:pt x="78" y="36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84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84" y="24"/>
                </a:lnTo>
                <a:lnTo>
                  <a:pt x="78" y="24"/>
                </a:lnTo>
                <a:lnTo>
                  <a:pt x="84" y="24"/>
                </a:lnTo>
                <a:lnTo>
                  <a:pt x="78" y="24"/>
                </a:lnTo>
                <a:lnTo>
                  <a:pt x="78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18"/>
                </a:lnTo>
                <a:lnTo>
                  <a:pt x="78" y="18"/>
                </a:lnTo>
                <a:lnTo>
                  <a:pt x="78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8" y="30"/>
                </a:lnTo>
                <a:lnTo>
                  <a:pt x="102" y="30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32" y="66"/>
                </a:lnTo>
                <a:lnTo>
                  <a:pt x="132" y="66"/>
                </a:lnTo>
                <a:lnTo>
                  <a:pt x="132" y="66"/>
                </a:lnTo>
                <a:lnTo>
                  <a:pt x="132" y="66"/>
                </a:lnTo>
                <a:lnTo>
                  <a:pt x="138" y="66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26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84"/>
                </a:lnTo>
                <a:lnTo>
                  <a:pt x="114" y="84"/>
                </a:lnTo>
                <a:lnTo>
                  <a:pt x="114" y="84"/>
                </a:lnTo>
                <a:lnTo>
                  <a:pt x="108" y="84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96"/>
                </a:lnTo>
                <a:lnTo>
                  <a:pt x="96" y="96"/>
                </a:lnTo>
                <a:lnTo>
                  <a:pt x="96" y="96"/>
                </a:lnTo>
                <a:lnTo>
                  <a:pt x="96" y="96"/>
                </a:lnTo>
                <a:lnTo>
                  <a:pt x="96" y="96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0" y="102"/>
                </a:lnTo>
                <a:lnTo>
                  <a:pt x="96" y="96"/>
                </a:lnTo>
                <a:lnTo>
                  <a:pt x="90" y="96"/>
                </a:lnTo>
                <a:lnTo>
                  <a:pt x="90" y="96"/>
                </a:lnTo>
                <a:lnTo>
                  <a:pt x="90" y="102"/>
                </a:lnTo>
                <a:lnTo>
                  <a:pt x="90" y="102"/>
                </a:lnTo>
                <a:lnTo>
                  <a:pt x="90" y="102"/>
                </a:lnTo>
                <a:lnTo>
                  <a:pt x="84" y="102"/>
                </a:lnTo>
                <a:lnTo>
                  <a:pt x="84" y="102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96"/>
                </a:lnTo>
                <a:lnTo>
                  <a:pt x="48" y="96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8"/>
                </a:lnTo>
                <a:lnTo>
                  <a:pt x="30" y="108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96"/>
                </a:lnTo>
                <a:lnTo>
                  <a:pt x="18" y="96"/>
                </a:lnTo>
                <a:lnTo>
                  <a:pt x="12" y="96"/>
                </a:lnTo>
                <a:lnTo>
                  <a:pt x="12" y="96"/>
                </a:lnTo>
                <a:lnTo>
                  <a:pt x="12" y="90"/>
                </a:lnTo>
                <a:lnTo>
                  <a:pt x="12" y="90"/>
                </a:lnTo>
                <a:lnTo>
                  <a:pt x="18" y="96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84"/>
                </a:lnTo>
                <a:lnTo>
                  <a:pt x="18" y="84"/>
                </a:lnTo>
                <a:lnTo>
                  <a:pt x="12" y="84"/>
                </a:lnTo>
                <a:lnTo>
                  <a:pt x="6" y="84"/>
                </a:lnTo>
                <a:lnTo>
                  <a:pt x="6" y="7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83" name="Freeform 416"/>
          <p:cNvSpPr>
            <a:spLocks/>
          </p:cNvSpPr>
          <p:nvPr/>
        </p:nvSpPr>
        <p:spPr bwMode="auto">
          <a:xfrm>
            <a:off x="6427867" y="4411240"/>
            <a:ext cx="147753" cy="173451"/>
          </a:xfrm>
          <a:custGeom>
            <a:avLst/>
            <a:gdLst>
              <a:gd name="T0" fmla="*/ 0 w 138"/>
              <a:gd name="T1" fmla="*/ 102 h 162"/>
              <a:gd name="T2" fmla="*/ 0 w 138"/>
              <a:gd name="T3" fmla="*/ 96 h 162"/>
              <a:gd name="T4" fmla="*/ 0 w 138"/>
              <a:gd name="T5" fmla="*/ 96 h 162"/>
              <a:gd name="T6" fmla="*/ 0 w 138"/>
              <a:gd name="T7" fmla="*/ 90 h 162"/>
              <a:gd name="T8" fmla="*/ 6 w 138"/>
              <a:gd name="T9" fmla="*/ 84 h 162"/>
              <a:gd name="T10" fmla="*/ 6 w 138"/>
              <a:gd name="T11" fmla="*/ 78 h 162"/>
              <a:gd name="T12" fmla="*/ 6 w 138"/>
              <a:gd name="T13" fmla="*/ 72 h 162"/>
              <a:gd name="T14" fmla="*/ 12 w 138"/>
              <a:gd name="T15" fmla="*/ 66 h 162"/>
              <a:gd name="T16" fmla="*/ 6 w 138"/>
              <a:gd name="T17" fmla="*/ 66 h 162"/>
              <a:gd name="T18" fmla="*/ 6 w 138"/>
              <a:gd name="T19" fmla="*/ 60 h 162"/>
              <a:gd name="T20" fmla="*/ 12 w 138"/>
              <a:gd name="T21" fmla="*/ 54 h 162"/>
              <a:gd name="T22" fmla="*/ 18 w 138"/>
              <a:gd name="T23" fmla="*/ 48 h 162"/>
              <a:gd name="T24" fmla="*/ 12 w 138"/>
              <a:gd name="T25" fmla="*/ 42 h 162"/>
              <a:gd name="T26" fmla="*/ 12 w 138"/>
              <a:gd name="T27" fmla="*/ 36 h 162"/>
              <a:gd name="T28" fmla="*/ 12 w 138"/>
              <a:gd name="T29" fmla="*/ 30 h 162"/>
              <a:gd name="T30" fmla="*/ 12 w 138"/>
              <a:gd name="T31" fmla="*/ 18 h 162"/>
              <a:gd name="T32" fmla="*/ 6 w 138"/>
              <a:gd name="T33" fmla="*/ 6 h 162"/>
              <a:gd name="T34" fmla="*/ 24 w 138"/>
              <a:gd name="T35" fmla="*/ 6 h 162"/>
              <a:gd name="T36" fmla="*/ 36 w 138"/>
              <a:gd name="T37" fmla="*/ 12 h 162"/>
              <a:gd name="T38" fmla="*/ 36 w 138"/>
              <a:gd name="T39" fmla="*/ 12 h 162"/>
              <a:gd name="T40" fmla="*/ 30 w 138"/>
              <a:gd name="T41" fmla="*/ 24 h 162"/>
              <a:gd name="T42" fmla="*/ 48 w 138"/>
              <a:gd name="T43" fmla="*/ 30 h 162"/>
              <a:gd name="T44" fmla="*/ 54 w 138"/>
              <a:gd name="T45" fmla="*/ 36 h 162"/>
              <a:gd name="T46" fmla="*/ 60 w 138"/>
              <a:gd name="T47" fmla="*/ 42 h 162"/>
              <a:gd name="T48" fmla="*/ 72 w 138"/>
              <a:gd name="T49" fmla="*/ 48 h 162"/>
              <a:gd name="T50" fmla="*/ 78 w 138"/>
              <a:gd name="T51" fmla="*/ 54 h 162"/>
              <a:gd name="T52" fmla="*/ 90 w 138"/>
              <a:gd name="T53" fmla="*/ 54 h 162"/>
              <a:gd name="T54" fmla="*/ 96 w 138"/>
              <a:gd name="T55" fmla="*/ 60 h 162"/>
              <a:gd name="T56" fmla="*/ 102 w 138"/>
              <a:gd name="T57" fmla="*/ 66 h 162"/>
              <a:gd name="T58" fmla="*/ 108 w 138"/>
              <a:gd name="T59" fmla="*/ 66 h 162"/>
              <a:gd name="T60" fmla="*/ 114 w 138"/>
              <a:gd name="T61" fmla="*/ 72 h 162"/>
              <a:gd name="T62" fmla="*/ 120 w 138"/>
              <a:gd name="T63" fmla="*/ 72 h 162"/>
              <a:gd name="T64" fmla="*/ 126 w 138"/>
              <a:gd name="T65" fmla="*/ 78 h 162"/>
              <a:gd name="T66" fmla="*/ 120 w 138"/>
              <a:gd name="T67" fmla="*/ 84 h 162"/>
              <a:gd name="T68" fmla="*/ 120 w 138"/>
              <a:gd name="T69" fmla="*/ 96 h 162"/>
              <a:gd name="T70" fmla="*/ 114 w 138"/>
              <a:gd name="T71" fmla="*/ 108 h 162"/>
              <a:gd name="T72" fmla="*/ 120 w 138"/>
              <a:gd name="T73" fmla="*/ 114 h 162"/>
              <a:gd name="T74" fmla="*/ 132 w 138"/>
              <a:gd name="T75" fmla="*/ 144 h 162"/>
              <a:gd name="T76" fmla="*/ 138 w 138"/>
              <a:gd name="T77" fmla="*/ 162 h 162"/>
              <a:gd name="T78" fmla="*/ 126 w 138"/>
              <a:gd name="T79" fmla="*/ 156 h 162"/>
              <a:gd name="T80" fmla="*/ 126 w 138"/>
              <a:gd name="T81" fmla="*/ 156 h 162"/>
              <a:gd name="T82" fmla="*/ 120 w 138"/>
              <a:gd name="T83" fmla="*/ 150 h 162"/>
              <a:gd name="T84" fmla="*/ 114 w 138"/>
              <a:gd name="T85" fmla="*/ 138 h 162"/>
              <a:gd name="T86" fmla="*/ 108 w 138"/>
              <a:gd name="T87" fmla="*/ 138 h 162"/>
              <a:gd name="T88" fmla="*/ 96 w 138"/>
              <a:gd name="T89" fmla="*/ 138 h 162"/>
              <a:gd name="T90" fmla="*/ 84 w 138"/>
              <a:gd name="T91" fmla="*/ 132 h 162"/>
              <a:gd name="T92" fmla="*/ 78 w 138"/>
              <a:gd name="T93" fmla="*/ 120 h 162"/>
              <a:gd name="T94" fmla="*/ 72 w 138"/>
              <a:gd name="T95" fmla="*/ 120 h 162"/>
              <a:gd name="T96" fmla="*/ 72 w 138"/>
              <a:gd name="T97" fmla="*/ 108 h 162"/>
              <a:gd name="T98" fmla="*/ 60 w 138"/>
              <a:gd name="T99" fmla="*/ 108 h 162"/>
              <a:gd name="T100" fmla="*/ 54 w 138"/>
              <a:gd name="T101" fmla="*/ 108 h 162"/>
              <a:gd name="T102" fmla="*/ 42 w 138"/>
              <a:gd name="T103" fmla="*/ 114 h 162"/>
              <a:gd name="T104" fmla="*/ 36 w 138"/>
              <a:gd name="T105" fmla="*/ 102 h 162"/>
              <a:gd name="T106" fmla="*/ 30 w 138"/>
              <a:gd name="T107" fmla="*/ 96 h 162"/>
              <a:gd name="T108" fmla="*/ 24 w 138"/>
              <a:gd name="T109" fmla="*/ 96 h 162"/>
              <a:gd name="T110" fmla="*/ 24 w 138"/>
              <a:gd name="T111" fmla="*/ 102 h 162"/>
              <a:gd name="T112" fmla="*/ 24 w 138"/>
              <a:gd name="T113" fmla="*/ 102 h 162"/>
              <a:gd name="T114" fmla="*/ 18 w 138"/>
              <a:gd name="T115" fmla="*/ 108 h 162"/>
              <a:gd name="T116" fmla="*/ 18 w 138"/>
              <a:gd name="T117" fmla="*/ 114 h 162"/>
              <a:gd name="T118" fmla="*/ 0 w 138"/>
              <a:gd name="T119" fmla="*/ 108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38" h="162">
                <a:moveTo>
                  <a:pt x="0" y="108"/>
                </a:move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0" y="84"/>
                </a:lnTo>
                <a:lnTo>
                  <a:pt x="0" y="84"/>
                </a:lnTo>
                <a:lnTo>
                  <a:pt x="6" y="84"/>
                </a:lnTo>
                <a:lnTo>
                  <a:pt x="0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0" y="84"/>
                </a:lnTo>
                <a:lnTo>
                  <a:pt x="0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12" y="66"/>
                </a:lnTo>
                <a:lnTo>
                  <a:pt x="12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6" y="66"/>
                </a:lnTo>
                <a:lnTo>
                  <a:pt x="6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6" y="66"/>
                </a:lnTo>
                <a:lnTo>
                  <a:pt x="12" y="60"/>
                </a:lnTo>
                <a:lnTo>
                  <a:pt x="6" y="60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12" y="60"/>
                </a:lnTo>
                <a:lnTo>
                  <a:pt x="6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6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8" y="54"/>
                </a:lnTo>
                <a:lnTo>
                  <a:pt x="18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2" y="48"/>
                </a:lnTo>
                <a:lnTo>
                  <a:pt x="18" y="48"/>
                </a:lnTo>
                <a:lnTo>
                  <a:pt x="18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6" y="30"/>
                </a:lnTo>
                <a:lnTo>
                  <a:pt x="12" y="30"/>
                </a:lnTo>
                <a:lnTo>
                  <a:pt x="12" y="24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6" y="12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6"/>
                </a:lnTo>
                <a:lnTo>
                  <a:pt x="18" y="12"/>
                </a:lnTo>
                <a:lnTo>
                  <a:pt x="24" y="12"/>
                </a:lnTo>
                <a:lnTo>
                  <a:pt x="24" y="6"/>
                </a:lnTo>
                <a:lnTo>
                  <a:pt x="24" y="12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0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42" y="12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42" y="24"/>
                </a:lnTo>
                <a:lnTo>
                  <a:pt x="42" y="24"/>
                </a:lnTo>
                <a:lnTo>
                  <a:pt x="42" y="30"/>
                </a:lnTo>
                <a:lnTo>
                  <a:pt x="36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54" y="36"/>
                </a:lnTo>
                <a:lnTo>
                  <a:pt x="54" y="36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54" y="42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78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6"/>
                </a:lnTo>
                <a:lnTo>
                  <a:pt x="102" y="60"/>
                </a:lnTo>
                <a:lnTo>
                  <a:pt x="102" y="60"/>
                </a:lnTo>
                <a:lnTo>
                  <a:pt x="102" y="66"/>
                </a:lnTo>
                <a:lnTo>
                  <a:pt x="102" y="66"/>
                </a:lnTo>
                <a:lnTo>
                  <a:pt x="102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14" y="66"/>
                </a:lnTo>
                <a:lnTo>
                  <a:pt x="114" y="72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14" y="90"/>
                </a:lnTo>
                <a:lnTo>
                  <a:pt x="120" y="90"/>
                </a:lnTo>
                <a:lnTo>
                  <a:pt x="114" y="90"/>
                </a:lnTo>
                <a:lnTo>
                  <a:pt x="120" y="96"/>
                </a:lnTo>
                <a:lnTo>
                  <a:pt x="114" y="96"/>
                </a:lnTo>
                <a:lnTo>
                  <a:pt x="114" y="96"/>
                </a:lnTo>
                <a:lnTo>
                  <a:pt x="114" y="96"/>
                </a:lnTo>
                <a:lnTo>
                  <a:pt x="114" y="96"/>
                </a:lnTo>
                <a:lnTo>
                  <a:pt x="114" y="102"/>
                </a:lnTo>
                <a:lnTo>
                  <a:pt x="114" y="102"/>
                </a:lnTo>
                <a:lnTo>
                  <a:pt x="108" y="102"/>
                </a:lnTo>
                <a:lnTo>
                  <a:pt x="108" y="102"/>
                </a:lnTo>
                <a:lnTo>
                  <a:pt x="114" y="102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20" y="108"/>
                </a:lnTo>
                <a:lnTo>
                  <a:pt x="120" y="114"/>
                </a:lnTo>
                <a:lnTo>
                  <a:pt x="120" y="114"/>
                </a:lnTo>
                <a:lnTo>
                  <a:pt x="120" y="114"/>
                </a:lnTo>
                <a:lnTo>
                  <a:pt x="120" y="114"/>
                </a:lnTo>
                <a:lnTo>
                  <a:pt x="120" y="114"/>
                </a:lnTo>
                <a:lnTo>
                  <a:pt x="120" y="114"/>
                </a:lnTo>
                <a:lnTo>
                  <a:pt x="120" y="114"/>
                </a:lnTo>
                <a:lnTo>
                  <a:pt x="120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6"/>
                </a:lnTo>
                <a:lnTo>
                  <a:pt x="126" y="126"/>
                </a:lnTo>
                <a:lnTo>
                  <a:pt x="126" y="144"/>
                </a:lnTo>
                <a:lnTo>
                  <a:pt x="126" y="144"/>
                </a:lnTo>
                <a:lnTo>
                  <a:pt x="132" y="144"/>
                </a:lnTo>
                <a:lnTo>
                  <a:pt x="132" y="144"/>
                </a:lnTo>
                <a:lnTo>
                  <a:pt x="132" y="144"/>
                </a:lnTo>
                <a:lnTo>
                  <a:pt x="132" y="144"/>
                </a:lnTo>
                <a:lnTo>
                  <a:pt x="132" y="150"/>
                </a:lnTo>
                <a:lnTo>
                  <a:pt x="132" y="150"/>
                </a:lnTo>
                <a:lnTo>
                  <a:pt x="138" y="150"/>
                </a:lnTo>
                <a:lnTo>
                  <a:pt x="138" y="156"/>
                </a:lnTo>
                <a:lnTo>
                  <a:pt x="138" y="156"/>
                </a:lnTo>
                <a:lnTo>
                  <a:pt x="138" y="156"/>
                </a:lnTo>
                <a:lnTo>
                  <a:pt x="138" y="156"/>
                </a:lnTo>
                <a:lnTo>
                  <a:pt x="138" y="156"/>
                </a:lnTo>
                <a:lnTo>
                  <a:pt x="138" y="156"/>
                </a:lnTo>
                <a:lnTo>
                  <a:pt x="138" y="156"/>
                </a:lnTo>
                <a:lnTo>
                  <a:pt x="138" y="162"/>
                </a:lnTo>
                <a:lnTo>
                  <a:pt x="138" y="162"/>
                </a:lnTo>
                <a:lnTo>
                  <a:pt x="138" y="162"/>
                </a:lnTo>
                <a:lnTo>
                  <a:pt x="132" y="162"/>
                </a:lnTo>
                <a:lnTo>
                  <a:pt x="132" y="162"/>
                </a:lnTo>
                <a:lnTo>
                  <a:pt x="132" y="162"/>
                </a:lnTo>
                <a:lnTo>
                  <a:pt x="132" y="162"/>
                </a:lnTo>
                <a:lnTo>
                  <a:pt x="132" y="162"/>
                </a:lnTo>
                <a:lnTo>
                  <a:pt x="132" y="162"/>
                </a:lnTo>
                <a:lnTo>
                  <a:pt x="132" y="162"/>
                </a:lnTo>
                <a:lnTo>
                  <a:pt x="132" y="162"/>
                </a:lnTo>
                <a:lnTo>
                  <a:pt x="126" y="162"/>
                </a:lnTo>
                <a:lnTo>
                  <a:pt x="126" y="156"/>
                </a:lnTo>
                <a:lnTo>
                  <a:pt x="126" y="156"/>
                </a:lnTo>
                <a:lnTo>
                  <a:pt x="126" y="156"/>
                </a:lnTo>
                <a:lnTo>
                  <a:pt x="132" y="156"/>
                </a:lnTo>
                <a:lnTo>
                  <a:pt x="132" y="156"/>
                </a:lnTo>
                <a:lnTo>
                  <a:pt x="126" y="156"/>
                </a:lnTo>
                <a:lnTo>
                  <a:pt x="126" y="156"/>
                </a:lnTo>
                <a:lnTo>
                  <a:pt x="126" y="156"/>
                </a:lnTo>
                <a:lnTo>
                  <a:pt x="126" y="156"/>
                </a:lnTo>
                <a:lnTo>
                  <a:pt x="126" y="156"/>
                </a:lnTo>
                <a:lnTo>
                  <a:pt x="126" y="156"/>
                </a:lnTo>
                <a:lnTo>
                  <a:pt x="126" y="156"/>
                </a:lnTo>
                <a:lnTo>
                  <a:pt x="126" y="156"/>
                </a:lnTo>
                <a:lnTo>
                  <a:pt x="126" y="156"/>
                </a:lnTo>
                <a:lnTo>
                  <a:pt x="120" y="156"/>
                </a:lnTo>
                <a:lnTo>
                  <a:pt x="120" y="156"/>
                </a:lnTo>
                <a:lnTo>
                  <a:pt x="126" y="156"/>
                </a:lnTo>
                <a:lnTo>
                  <a:pt x="126" y="150"/>
                </a:lnTo>
                <a:lnTo>
                  <a:pt x="120" y="150"/>
                </a:lnTo>
                <a:lnTo>
                  <a:pt x="120" y="156"/>
                </a:lnTo>
                <a:lnTo>
                  <a:pt x="120" y="150"/>
                </a:lnTo>
                <a:lnTo>
                  <a:pt x="120" y="150"/>
                </a:lnTo>
                <a:lnTo>
                  <a:pt x="120" y="150"/>
                </a:lnTo>
                <a:lnTo>
                  <a:pt x="120" y="150"/>
                </a:lnTo>
                <a:lnTo>
                  <a:pt x="120" y="150"/>
                </a:lnTo>
                <a:lnTo>
                  <a:pt x="120" y="150"/>
                </a:lnTo>
                <a:lnTo>
                  <a:pt x="120" y="150"/>
                </a:lnTo>
                <a:lnTo>
                  <a:pt x="120" y="150"/>
                </a:lnTo>
                <a:lnTo>
                  <a:pt x="120" y="150"/>
                </a:lnTo>
                <a:lnTo>
                  <a:pt x="120" y="144"/>
                </a:lnTo>
                <a:lnTo>
                  <a:pt x="114" y="144"/>
                </a:lnTo>
                <a:lnTo>
                  <a:pt x="114" y="144"/>
                </a:lnTo>
                <a:lnTo>
                  <a:pt x="114" y="144"/>
                </a:lnTo>
                <a:lnTo>
                  <a:pt x="114" y="144"/>
                </a:lnTo>
                <a:lnTo>
                  <a:pt x="114" y="144"/>
                </a:lnTo>
                <a:lnTo>
                  <a:pt x="114" y="144"/>
                </a:lnTo>
                <a:lnTo>
                  <a:pt x="114" y="138"/>
                </a:lnTo>
                <a:lnTo>
                  <a:pt x="114" y="138"/>
                </a:lnTo>
                <a:lnTo>
                  <a:pt x="114" y="138"/>
                </a:lnTo>
                <a:lnTo>
                  <a:pt x="114" y="138"/>
                </a:lnTo>
                <a:lnTo>
                  <a:pt x="108" y="138"/>
                </a:lnTo>
                <a:lnTo>
                  <a:pt x="114" y="138"/>
                </a:lnTo>
                <a:lnTo>
                  <a:pt x="108" y="138"/>
                </a:lnTo>
                <a:lnTo>
                  <a:pt x="108" y="138"/>
                </a:lnTo>
                <a:lnTo>
                  <a:pt x="108" y="138"/>
                </a:lnTo>
                <a:lnTo>
                  <a:pt x="108" y="138"/>
                </a:lnTo>
                <a:lnTo>
                  <a:pt x="108" y="138"/>
                </a:lnTo>
                <a:lnTo>
                  <a:pt x="108" y="138"/>
                </a:lnTo>
                <a:lnTo>
                  <a:pt x="108" y="132"/>
                </a:lnTo>
                <a:lnTo>
                  <a:pt x="108" y="138"/>
                </a:lnTo>
                <a:lnTo>
                  <a:pt x="108" y="138"/>
                </a:lnTo>
                <a:lnTo>
                  <a:pt x="102" y="138"/>
                </a:lnTo>
                <a:lnTo>
                  <a:pt x="102" y="138"/>
                </a:lnTo>
                <a:lnTo>
                  <a:pt x="102" y="138"/>
                </a:lnTo>
                <a:lnTo>
                  <a:pt x="102" y="138"/>
                </a:lnTo>
                <a:lnTo>
                  <a:pt x="102" y="138"/>
                </a:lnTo>
                <a:lnTo>
                  <a:pt x="102" y="138"/>
                </a:lnTo>
                <a:lnTo>
                  <a:pt x="96" y="138"/>
                </a:lnTo>
                <a:lnTo>
                  <a:pt x="102" y="132"/>
                </a:lnTo>
                <a:lnTo>
                  <a:pt x="96" y="132"/>
                </a:lnTo>
                <a:lnTo>
                  <a:pt x="96" y="138"/>
                </a:lnTo>
                <a:lnTo>
                  <a:pt x="96" y="138"/>
                </a:lnTo>
                <a:lnTo>
                  <a:pt x="96" y="132"/>
                </a:lnTo>
                <a:lnTo>
                  <a:pt x="96" y="138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84" y="138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78" y="132"/>
                </a:lnTo>
                <a:lnTo>
                  <a:pt x="84" y="132"/>
                </a:lnTo>
                <a:lnTo>
                  <a:pt x="78" y="126"/>
                </a:lnTo>
                <a:lnTo>
                  <a:pt x="78" y="126"/>
                </a:lnTo>
                <a:lnTo>
                  <a:pt x="78" y="126"/>
                </a:lnTo>
                <a:lnTo>
                  <a:pt x="78" y="126"/>
                </a:lnTo>
                <a:lnTo>
                  <a:pt x="78" y="126"/>
                </a:lnTo>
                <a:lnTo>
                  <a:pt x="78" y="126"/>
                </a:lnTo>
                <a:lnTo>
                  <a:pt x="78" y="126"/>
                </a:lnTo>
                <a:lnTo>
                  <a:pt x="78" y="126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20"/>
                </a:lnTo>
                <a:lnTo>
                  <a:pt x="72" y="120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8" y="114"/>
                </a:lnTo>
                <a:lnTo>
                  <a:pt x="78" y="108"/>
                </a:lnTo>
                <a:lnTo>
                  <a:pt x="72" y="108"/>
                </a:lnTo>
                <a:lnTo>
                  <a:pt x="72" y="108"/>
                </a:lnTo>
                <a:lnTo>
                  <a:pt x="78" y="108"/>
                </a:lnTo>
                <a:lnTo>
                  <a:pt x="78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48" y="114"/>
                </a:lnTo>
                <a:lnTo>
                  <a:pt x="42" y="108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36" y="114"/>
                </a:lnTo>
                <a:lnTo>
                  <a:pt x="42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0" y="102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24" y="96"/>
                </a:lnTo>
                <a:lnTo>
                  <a:pt x="24" y="96"/>
                </a:lnTo>
                <a:lnTo>
                  <a:pt x="30" y="96"/>
                </a:lnTo>
                <a:lnTo>
                  <a:pt x="24" y="96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96"/>
                </a:lnTo>
                <a:lnTo>
                  <a:pt x="24" y="96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8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18" y="108"/>
                </a:lnTo>
                <a:lnTo>
                  <a:pt x="24" y="108"/>
                </a:lnTo>
                <a:lnTo>
                  <a:pt x="18" y="108"/>
                </a:lnTo>
                <a:lnTo>
                  <a:pt x="24" y="108"/>
                </a:lnTo>
                <a:lnTo>
                  <a:pt x="24" y="108"/>
                </a:lnTo>
                <a:lnTo>
                  <a:pt x="18" y="108"/>
                </a:lnTo>
                <a:lnTo>
                  <a:pt x="24" y="108"/>
                </a:lnTo>
                <a:lnTo>
                  <a:pt x="18" y="108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84" name="Freeform 417"/>
          <p:cNvSpPr>
            <a:spLocks/>
          </p:cNvSpPr>
          <p:nvPr/>
        </p:nvSpPr>
        <p:spPr bwMode="auto">
          <a:xfrm>
            <a:off x="6325082" y="4385544"/>
            <a:ext cx="122057" cy="167026"/>
          </a:xfrm>
          <a:custGeom>
            <a:avLst/>
            <a:gdLst>
              <a:gd name="T0" fmla="*/ 6 w 114"/>
              <a:gd name="T1" fmla="*/ 54 h 156"/>
              <a:gd name="T2" fmla="*/ 24 w 114"/>
              <a:gd name="T3" fmla="*/ 42 h 156"/>
              <a:gd name="T4" fmla="*/ 30 w 114"/>
              <a:gd name="T5" fmla="*/ 30 h 156"/>
              <a:gd name="T6" fmla="*/ 30 w 114"/>
              <a:gd name="T7" fmla="*/ 24 h 156"/>
              <a:gd name="T8" fmla="*/ 60 w 114"/>
              <a:gd name="T9" fmla="*/ 6 h 156"/>
              <a:gd name="T10" fmla="*/ 72 w 114"/>
              <a:gd name="T11" fmla="*/ 12 h 156"/>
              <a:gd name="T12" fmla="*/ 78 w 114"/>
              <a:gd name="T13" fmla="*/ 18 h 156"/>
              <a:gd name="T14" fmla="*/ 90 w 114"/>
              <a:gd name="T15" fmla="*/ 18 h 156"/>
              <a:gd name="T16" fmla="*/ 96 w 114"/>
              <a:gd name="T17" fmla="*/ 30 h 156"/>
              <a:gd name="T18" fmla="*/ 102 w 114"/>
              <a:gd name="T19" fmla="*/ 30 h 156"/>
              <a:gd name="T20" fmla="*/ 108 w 114"/>
              <a:gd name="T21" fmla="*/ 42 h 156"/>
              <a:gd name="T22" fmla="*/ 108 w 114"/>
              <a:gd name="T23" fmla="*/ 48 h 156"/>
              <a:gd name="T24" fmla="*/ 108 w 114"/>
              <a:gd name="T25" fmla="*/ 54 h 156"/>
              <a:gd name="T26" fmla="*/ 108 w 114"/>
              <a:gd name="T27" fmla="*/ 60 h 156"/>
              <a:gd name="T28" fmla="*/ 108 w 114"/>
              <a:gd name="T29" fmla="*/ 66 h 156"/>
              <a:gd name="T30" fmla="*/ 114 w 114"/>
              <a:gd name="T31" fmla="*/ 72 h 156"/>
              <a:gd name="T32" fmla="*/ 108 w 114"/>
              <a:gd name="T33" fmla="*/ 78 h 156"/>
              <a:gd name="T34" fmla="*/ 108 w 114"/>
              <a:gd name="T35" fmla="*/ 78 h 156"/>
              <a:gd name="T36" fmla="*/ 102 w 114"/>
              <a:gd name="T37" fmla="*/ 84 h 156"/>
              <a:gd name="T38" fmla="*/ 102 w 114"/>
              <a:gd name="T39" fmla="*/ 84 h 156"/>
              <a:gd name="T40" fmla="*/ 108 w 114"/>
              <a:gd name="T41" fmla="*/ 90 h 156"/>
              <a:gd name="T42" fmla="*/ 102 w 114"/>
              <a:gd name="T43" fmla="*/ 90 h 156"/>
              <a:gd name="T44" fmla="*/ 102 w 114"/>
              <a:gd name="T45" fmla="*/ 96 h 156"/>
              <a:gd name="T46" fmla="*/ 102 w 114"/>
              <a:gd name="T47" fmla="*/ 102 h 156"/>
              <a:gd name="T48" fmla="*/ 102 w 114"/>
              <a:gd name="T49" fmla="*/ 108 h 156"/>
              <a:gd name="T50" fmla="*/ 102 w 114"/>
              <a:gd name="T51" fmla="*/ 108 h 156"/>
              <a:gd name="T52" fmla="*/ 96 w 114"/>
              <a:gd name="T53" fmla="*/ 114 h 156"/>
              <a:gd name="T54" fmla="*/ 96 w 114"/>
              <a:gd name="T55" fmla="*/ 114 h 156"/>
              <a:gd name="T56" fmla="*/ 96 w 114"/>
              <a:gd name="T57" fmla="*/ 120 h 156"/>
              <a:gd name="T58" fmla="*/ 96 w 114"/>
              <a:gd name="T59" fmla="*/ 126 h 156"/>
              <a:gd name="T60" fmla="*/ 96 w 114"/>
              <a:gd name="T61" fmla="*/ 126 h 156"/>
              <a:gd name="T62" fmla="*/ 96 w 114"/>
              <a:gd name="T63" fmla="*/ 132 h 156"/>
              <a:gd name="T64" fmla="*/ 90 w 114"/>
              <a:gd name="T65" fmla="*/ 132 h 156"/>
              <a:gd name="T66" fmla="*/ 90 w 114"/>
              <a:gd name="T67" fmla="*/ 138 h 156"/>
              <a:gd name="T68" fmla="*/ 84 w 114"/>
              <a:gd name="T69" fmla="*/ 138 h 156"/>
              <a:gd name="T70" fmla="*/ 72 w 114"/>
              <a:gd name="T71" fmla="*/ 144 h 156"/>
              <a:gd name="T72" fmla="*/ 66 w 114"/>
              <a:gd name="T73" fmla="*/ 144 h 156"/>
              <a:gd name="T74" fmla="*/ 60 w 114"/>
              <a:gd name="T75" fmla="*/ 144 h 156"/>
              <a:gd name="T76" fmla="*/ 60 w 114"/>
              <a:gd name="T77" fmla="*/ 150 h 156"/>
              <a:gd name="T78" fmla="*/ 54 w 114"/>
              <a:gd name="T79" fmla="*/ 150 h 156"/>
              <a:gd name="T80" fmla="*/ 48 w 114"/>
              <a:gd name="T81" fmla="*/ 150 h 156"/>
              <a:gd name="T82" fmla="*/ 48 w 114"/>
              <a:gd name="T83" fmla="*/ 150 h 156"/>
              <a:gd name="T84" fmla="*/ 48 w 114"/>
              <a:gd name="T85" fmla="*/ 144 h 156"/>
              <a:gd name="T86" fmla="*/ 36 w 114"/>
              <a:gd name="T87" fmla="*/ 126 h 156"/>
              <a:gd name="T88" fmla="*/ 30 w 114"/>
              <a:gd name="T89" fmla="*/ 126 h 156"/>
              <a:gd name="T90" fmla="*/ 24 w 114"/>
              <a:gd name="T91" fmla="*/ 126 h 156"/>
              <a:gd name="T92" fmla="*/ 24 w 114"/>
              <a:gd name="T93" fmla="*/ 126 h 156"/>
              <a:gd name="T94" fmla="*/ 18 w 114"/>
              <a:gd name="T95" fmla="*/ 126 h 156"/>
              <a:gd name="T96" fmla="*/ 18 w 114"/>
              <a:gd name="T97" fmla="*/ 126 h 156"/>
              <a:gd name="T98" fmla="*/ 12 w 114"/>
              <a:gd name="T99" fmla="*/ 126 h 156"/>
              <a:gd name="T100" fmla="*/ 12 w 114"/>
              <a:gd name="T101" fmla="*/ 120 h 156"/>
              <a:gd name="T102" fmla="*/ 6 w 114"/>
              <a:gd name="T103" fmla="*/ 120 h 156"/>
              <a:gd name="T104" fmla="*/ 6 w 114"/>
              <a:gd name="T105" fmla="*/ 108 h 156"/>
              <a:gd name="T106" fmla="*/ 6 w 114"/>
              <a:gd name="T107" fmla="*/ 102 h 156"/>
              <a:gd name="T108" fmla="*/ 18 w 114"/>
              <a:gd name="T109" fmla="*/ 90 h 156"/>
              <a:gd name="T110" fmla="*/ 12 w 114"/>
              <a:gd name="T111" fmla="*/ 84 h 156"/>
              <a:gd name="T112" fmla="*/ 12 w 114"/>
              <a:gd name="T113" fmla="*/ 78 h 156"/>
              <a:gd name="T114" fmla="*/ 6 w 114"/>
              <a:gd name="T115" fmla="*/ 78 h 156"/>
              <a:gd name="T116" fmla="*/ 6 w 114"/>
              <a:gd name="T117" fmla="*/ 72 h 156"/>
              <a:gd name="T118" fmla="*/ 0 w 114"/>
              <a:gd name="T119" fmla="*/ 66 h 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14" h="156">
                <a:moveTo>
                  <a:pt x="0" y="60"/>
                </a:move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12" y="54"/>
                </a:lnTo>
                <a:lnTo>
                  <a:pt x="6" y="48"/>
                </a:lnTo>
                <a:lnTo>
                  <a:pt x="18" y="54"/>
                </a:lnTo>
                <a:lnTo>
                  <a:pt x="24" y="54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2"/>
                </a:lnTo>
                <a:lnTo>
                  <a:pt x="24" y="42"/>
                </a:lnTo>
                <a:lnTo>
                  <a:pt x="30" y="42"/>
                </a:lnTo>
                <a:lnTo>
                  <a:pt x="30" y="36"/>
                </a:lnTo>
                <a:lnTo>
                  <a:pt x="24" y="36"/>
                </a:lnTo>
                <a:lnTo>
                  <a:pt x="30" y="36"/>
                </a:lnTo>
                <a:lnTo>
                  <a:pt x="24" y="36"/>
                </a:lnTo>
                <a:lnTo>
                  <a:pt x="30" y="36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30"/>
                </a:lnTo>
                <a:lnTo>
                  <a:pt x="36" y="3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8"/>
                </a:lnTo>
                <a:lnTo>
                  <a:pt x="78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90" y="18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6" y="24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36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48"/>
                </a:lnTo>
                <a:lnTo>
                  <a:pt x="108" y="54"/>
                </a:lnTo>
                <a:lnTo>
                  <a:pt x="102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72"/>
                </a:lnTo>
                <a:lnTo>
                  <a:pt x="114" y="72"/>
                </a:lnTo>
                <a:lnTo>
                  <a:pt x="114" y="72"/>
                </a:lnTo>
                <a:lnTo>
                  <a:pt x="108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08" y="72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14" y="78"/>
                </a:lnTo>
                <a:lnTo>
                  <a:pt x="114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2" y="78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2" y="84"/>
                </a:lnTo>
                <a:lnTo>
                  <a:pt x="108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84"/>
                </a:lnTo>
                <a:lnTo>
                  <a:pt x="108" y="84"/>
                </a:lnTo>
                <a:lnTo>
                  <a:pt x="102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2" y="90"/>
                </a:lnTo>
                <a:lnTo>
                  <a:pt x="102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90"/>
                </a:lnTo>
                <a:lnTo>
                  <a:pt x="108" y="90"/>
                </a:lnTo>
                <a:lnTo>
                  <a:pt x="108" y="90"/>
                </a:lnTo>
                <a:lnTo>
                  <a:pt x="102" y="90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96" y="108"/>
                </a:lnTo>
                <a:lnTo>
                  <a:pt x="96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96" y="108"/>
                </a:lnTo>
                <a:lnTo>
                  <a:pt x="102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32"/>
                </a:lnTo>
                <a:lnTo>
                  <a:pt x="96" y="132"/>
                </a:lnTo>
                <a:lnTo>
                  <a:pt x="96" y="132"/>
                </a:lnTo>
                <a:lnTo>
                  <a:pt x="96" y="132"/>
                </a:lnTo>
                <a:lnTo>
                  <a:pt x="96" y="132"/>
                </a:lnTo>
                <a:lnTo>
                  <a:pt x="96" y="132"/>
                </a:lnTo>
                <a:lnTo>
                  <a:pt x="96" y="132"/>
                </a:lnTo>
                <a:lnTo>
                  <a:pt x="96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8"/>
                </a:lnTo>
                <a:lnTo>
                  <a:pt x="90" y="138"/>
                </a:lnTo>
                <a:lnTo>
                  <a:pt x="90" y="138"/>
                </a:lnTo>
                <a:lnTo>
                  <a:pt x="90" y="138"/>
                </a:lnTo>
                <a:lnTo>
                  <a:pt x="90" y="138"/>
                </a:lnTo>
                <a:lnTo>
                  <a:pt x="90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78" y="138"/>
                </a:lnTo>
                <a:lnTo>
                  <a:pt x="78" y="144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44"/>
                </a:lnTo>
                <a:lnTo>
                  <a:pt x="72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50"/>
                </a:lnTo>
                <a:lnTo>
                  <a:pt x="60" y="150"/>
                </a:lnTo>
                <a:lnTo>
                  <a:pt x="60" y="150"/>
                </a:lnTo>
                <a:lnTo>
                  <a:pt x="60" y="150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48" y="150"/>
                </a:lnTo>
                <a:lnTo>
                  <a:pt x="48" y="150"/>
                </a:lnTo>
                <a:lnTo>
                  <a:pt x="48" y="150"/>
                </a:lnTo>
                <a:lnTo>
                  <a:pt x="48" y="150"/>
                </a:lnTo>
                <a:lnTo>
                  <a:pt x="48" y="150"/>
                </a:lnTo>
                <a:lnTo>
                  <a:pt x="48" y="150"/>
                </a:lnTo>
                <a:lnTo>
                  <a:pt x="48" y="150"/>
                </a:lnTo>
                <a:lnTo>
                  <a:pt x="48" y="150"/>
                </a:lnTo>
                <a:lnTo>
                  <a:pt x="48" y="156"/>
                </a:lnTo>
                <a:lnTo>
                  <a:pt x="48" y="150"/>
                </a:lnTo>
                <a:lnTo>
                  <a:pt x="48" y="150"/>
                </a:lnTo>
                <a:lnTo>
                  <a:pt x="48" y="150"/>
                </a:lnTo>
                <a:lnTo>
                  <a:pt x="48" y="150"/>
                </a:lnTo>
                <a:lnTo>
                  <a:pt x="48" y="150"/>
                </a:lnTo>
                <a:lnTo>
                  <a:pt x="48" y="150"/>
                </a:lnTo>
                <a:lnTo>
                  <a:pt x="48" y="150"/>
                </a:lnTo>
                <a:lnTo>
                  <a:pt x="48" y="150"/>
                </a:lnTo>
                <a:lnTo>
                  <a:pt x="48" y="150"/>
                </a:lnTo>
                <a:lnTo>
                  <a:pt x="42" y="150"/>
                </a:lnTo>
                <a:lnTo>
                  <a:pt x="42" y="150"/>
                </a:lnTo>
                <a:lnTo>
                  <a:pt x="48" y="150"/>
                </a:lnTo>
                <a:lnTo>
                  <a:pt x="48" y="144"/>
                </a:lnTo>
                <a:lnTo>
                  <a:pt x="48" y="150"/>
                </a:lnTo>
                <a:lnTo>
                  <a:pt x="48" y="150"/>
                </a:lnTo>
                <a:lnTo>
                  <a:pt x="48" y="150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2" y="144"/>
                </a:lnTo>
                <a:lnTo>
                  <a:pt x="36" y="132"/>
                </a:lnTo>
                <a:lnTo>
                  <a:pt x="36" y="132"/>
                </a:lnTo>
                <a:lnTo>
                  <a:pt x="36" y="132"/>
                </a:lnTo>
                <a:lnTo>
                  <a:pt x="36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0"/>
                </a:lnTo>
                <a:lnTo>
                  <a:pt x="18" y="126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0"/>
                </a:lnTo>
                <a:lnTo>
                  <a:pt x="12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12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78"/>
                </a:lnTo>
                <a:lnTo>
                  <a:pt x="12" y="84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6" y="78"/>
                </a:lnTo>
                <a:lnTo>
                  <a:pt x="6" y="78"/>
                </a:lnTo>
                <a:lnTo>
                  <a:pt x="12" y="78"/>
                </a:lnTo>
                <a:lnTo>
                  <a:pt x="6" y="78"/>
                </a:lnTo>
                <a:lnTo>
                  <a:pt x="12" y="78"/>
                </a:ln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85" name="Freeform 418"/>
          <p:cNvSpPr>
            <a:spLocks/>
          </p:cNvSpPr>
          <p:nvPr/>
        </p:nvSpPr>
        <p:spPr bwMode="auto">
          <a:xfrm>
            <a:off x="6569196" y="4308455"/>
            <a:ext cx="64240" cy="128482"/>
          </a:xfrm>
          <a:custGeom>
            <a:avLst/>
            <a:gdLst>
              <a:gd name="T0" fmla="*/ 0 w 60"/>
              <a:gd name="T1" fmla="*/ 48 h 120"/>
              <a:gd name="T2" fmla="*/ 6 w 60"/>
              <a:gd name="T3" fmla="*/ 48 h 120"/>
              <a:gd name="T4" fmla="*/ 6 w 60"/>
              <a:gd name="T5" fmla="*/ 42 h 120"/>
              <a:gd name="T6" fmla="*/ 6 w 60"/>
              <a:gd name="T7" fmla="*/ 36 h 120"/>
              <a:gd name="T8" fmla="*/ 6 w 60"/>
              <a:gd name="T9" fmla="*/ 30 h 120"/>
              <a:gd name="T10" fmla="*/ 6 w 60"/>
              <a:gd name="T11" fmla="*/ 24 h 120"/>
              <a:gd name="T12" fmla="*/ 6 w 60"/>
              <a:gd name="T13" fmla="*/ 18 h 120"/>
              <a:gd name="T14" fmla="*/ 12 w 60"/>
              <a:gd name="T15" fmla="*/ 12 h 120"/>
              <a:gd name="T16" fmla="*/ 6 w 60"/>
              <a:gd name="T17" fmla="*/ 6 h 120"/>
              <a:gd name="T18" fmla="*/ 12 w 60"/>
              <a:gd name="T19" fmla="*/ 6 h 120"/>
              <a:gd name="T20" fmla="*/ 12 w 60"/>
              <a:gd name="T21" fmla="*/ 0 h 120"/>
              <a:gd name="T22" fmla="*/ 18 w 60"/>
              <a:gd name="T23" fmla="*/ 0 h 120"/>
              <a:gd name="T24" fmla="*/ 18 w 60"/>
              <a:gd name="T25" fmla="*/ 6 h 120"/>
              <a:gd name="T26" fmla="*/ 24 w 60"/>
              <a:gd name="T27" fmla="*/ 12 h 120"/>
              <a:gd name="T28" fmla="*/ 24 w 60"/>
              <a:gd name="T29" fmla="*/ 12 h 120"/>
              <a:gd name="T30" fmla="*/ 24 w 60"/>
              <a:gd name="T31" fmla="*/ 18 h 120"/>
              <a:gd name="T32" fmla="*/ 24 w 60"/>
              <a:gd name="T33" fmla="*/ 18 h 120"/>
              <a:gd name="T34" fmla="*/ 30 w 60"/>
              <a:gd name="T35" fmla="*/ 18 h 120"/>
              <a:gd name="T36" fmla="*/ 30 w 60"/>
              <a:gd name="T37" fmla="*/ 24 h 120"/>
              <a:gd name="T38" fmla="*/ 30 w 60"/>
              <a:gd name="T39" fmla="*/ 24 h 120"/>
              <a:gd name="T40" fmla="*/ 36 w 60"/>
              <a:gd name="T41" fmla="*/ 24 h 120"/>
              <a:gd name="T42" fmla="*/ 36 w 60"/>
              <a:gd name="T43" fmla="*/ 30 h 120"/>
              <a:gd name="T44" fmla="*/ 36 w 60"/>
              <a:gd name="T45" fmla="*/ 36 h 120"/>
              <a:gd name="T46" fmla="*/ 36 w 60"/>
              <a:gd name="T47" fmla="*/ 36 h 120"/>
              <a:gd name="T48" fmla="*/ 36 w 60"/>
              <a:gd name="T49" fmla="*/ 36 h 120"/>
              <a:gd name="T50" fmla="*/ 36 w 60"/>
              <a:gd name="T51" fmla="*/ 42 h 120"/>
              <a:gd name="T52" fmla="*/ 36 w 60"/>
              <a:gd name="T53" fmla="*/ 48 h 120"/>
              <a:gd name="T54" fmla="*/ 42 w 60"/>
              <a:gd name="T55" fmla="*/ 54 h 120"/>
              <a:gd name="T56" fmla="*/ 48 w 60"/>
              <a:gd name="T57" fmla="*/ 54 h 120"/>
              <a:gd name="T58" fmla="*/ 48 w 60"/>
              <a:gd name="T59" fmla="*/ 60 h 120"/>
              <a:gd name="T60" fmla="*/ 48 w 60"/>
              <a:gd name="T61" fmla="*/ 60 h 120"/>
              <a:gd name="T62" fmla="*/ 48 w 60"/>
              <a:gd name="T63" fmla="*/ 66 h 120"/>
              <a:gd name="T64" fmla="*/ 42 w 60"/>
              <a:gd name="T65" fmla="*/ 66 h 120"/>
              <a:gd name="T66" fmla="*/ 42 w 60"/>
              <a:gd name="T67" fmla="*/ 72 h 120"/>
              <a:gd name="T68" fmla="*/ 48 w 60"/>
              <a:gd name="T69" fmla="*/ 78 h 120"/>
              <a:gd name="T70" fmla="*/ 48 w 60"/>
              <a:gd name="T71" fmla="*/ 84 h 120"/>
              <a:gd name="T72" fmla="*/ 54 w 60"/>
              <a:gd name="T73" fmla="*/ 90 h 120"/>
              <a:gd name="T74" fmla="*/ 60 w 60"/>
              <a:gd name="T75" fmla="*/ 96 h 120"/>
              <a:gd name="T76" fmla="*/ 60 w 60"/>
              <a:gd name="T77" fmla="*/ 96 h 120"/>
              <a:gd name="T78" fmla="*/ 54 w 60"/>
              <a:gd name="T79" fmla="*/ 102 h 120"/>
              <a:gd name="T80" fmla="*/ 48 w 60"/>
              <a:gd name="T81" fmla="*/ 108 h 120"/>
              <a:gd name="T82" fmla="*/ 42 w 60"/>
              <a:gd name="T83" fmla="*/ 108 h 120"/>
              <a:gd name="T84" fmla="*/ 36 w 60"/>
              <a:gd name="T85" fmla="*/ 114 h 120"/>
              <a:gd name="T86" fmla="*/ 30 w 60"/>
              <a:gd name="T87" fmla="*/ 114 h 120"/>
              <a:gd name="T88" fmla="*/ 24 w 60"/>
              <a:gd name="T89" fmla="*/ 120 h 120"/>
              <a:gd name="T90" fmla="*/ 18 w 60"/>
              <a:gd name="T91" fmla="*/ 114 h 120"/>
              <a:gd name="T92" fmla="*/ 18 w 60"/>
              <a:gd name="T93" fmla="*/ 102 h 120"/>
              <a:gd name="T94" fmla="*/ 18 w 60"/>
              <a:gd name="T95" fmla="*/ 96 h 120"/>
              <a:gd name="T96" fmla="*/ 18 w 60"/>
              <a:gd name="T97" fmla="*/ 90 h 120"/>
              <a:gd name="T98" fmla="*/ 12 w 60"/>
              <a:gd name="T99" fmla="*/ 90 h 120"/>
              <a:gd name="T100" fmla="*/ 12 w 60"/>
              <a:gd name="T101" fmla="*/ 84 h 120"/>
              <a:gd name="T102" fmla="*/ 12 w 60"/>
              <a:gd name="T103" fmla="*/ 78 h 120"/>
              <a:gd name="T104" fmla="*/ 12 w 60"/>
              <a:gd name="T105" fmla="*/ 66 h 120"/>
              <a:gd name="T106" fmla="*/ 12 w 60"/>
              <a:gd name="T107" fmla="*/ 60 h 120"/>
              <a:gd name="T108" fmla="*/ 6 w 60"/>
              <a:gd name="T109" fmla="*/ 60 h 120"/>
              <a:gd name="T110" fmla="*/ 6 w 60"/>
              <a:gd name="T111" fmla="*/ 54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0" h="120">
                <a:moveTo>
                  <a:pt x="6" y="54"/>
                </a:moveTo>
                <a:lnTo>
                  <a:pt x="6" y="54"/>
                </a:lnTo>
                <a:lnTo>
                  <a:pt x="6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12" y="24"/>
                </a:lnTo>
                <a:lnTo>
                  <a:pt x="12" y="24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12" y="18"/>
                </a:lnTo>
                <a:lnTo>
                  <a:pt x="12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0"/>
                </a:lnTo>
                <a:lnTo>
                  <a:pt x="6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8" y="0"/>
                </a:lnTo>
                <a:lnTo>
                  <a:pt x="18" y="0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30"/>
                </a:lnTo>
                <a:lnTo>
                  <a:pt x="30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54" y="60"/>
                </a:lnTo>
                <a:lnTo>
                  <a:pt x="54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8"/>
                </a:lnTo>
                <a:lnTo>
                  <a:pt x="42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54" y="96"/>
                </a:lnTo>
                <a:lnTo>
                  <a:pt x="54" y="96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2" y="108"/>
                </a:lnTo>
                <a:lnTo>
                  <a:pt x="42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24" y="114"/>
                </a:lnTo>
                <a:lnTo>
                  <a:pt x="24" y="120"/>
                </a:lnTo>
                <a:lnTo>
                  <a:pt x="24" y="114"/>
                </a:lnTo>
                <a:lnTo>
                  <a:pt x="24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2" y="96"/>
                </a:lnTo>
                <a:lnTo>
                  <a:pt x="12" y="96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2" y="90"/>
                </a:lnTo>
                <a:lnTo>
                  <a:pt x="12" y="90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12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86" name="Freeform 419"/>
          <p:cNvSpPr>
            <a:spLocks/>
          </p:cNvSpPr>
          <p:nvPr/>
        </p:nvSpPr>
        <p:spPr bwMode="auto">
          <a:xfrm>
            <a:off x="6087392" y="4443361"/>
            <a:ext cx="173449" cy="154178"/>
          </a:xfrm>
          <a:custGeom>
            <a:avLst/>
            <a:gdLst>
              <a:gd name="T0" fmla="*/ 12 w 162"/>
              <a:gd name="T1" fmla="*/ 108 h 144"/>
              <a:gd name="T2" fmla="*/ 18 w 162"/>
              <a:gd name="T3" fmla="*/ 84 h 144"/>
              <a:gd name="T4" fmla="*/ 30 w 162"/>
              <a:gd name="T5" fmla="*/ 54 h 144"/>
              <a:gd name="T6" fmla="*/ 18 w 162"/>
              <a:gd name="T7" fmla="*/ 30 h 144"/>
              <a:gd name="T8" fmla="*/ 24 w 162"/>
              <a:gd name="T9" fmla="*/ 12 h 144"/>
              <a:gd name="T10" fmla="*/ 42 w 162"/>
              <a:gd name="T11" fmla="*/ 6 h 144"/>
              <a:gd name="T12" fmla="*/ 60 w 162"/>
              <a:gd name="T13" fmla="*/ 6 h 144"/>
              <a:gd name="T14" fmla="*/ 66 w 162"/>
              <a:gd name="T15" fmla="*/ 6 h 144"/>
              <a:gd name="T16" fmla="*/ 66 w 162"/>
              <a:gd name="T17" fmla="*/ 18 h 144"/>
              <a:gd name="T18" fmla="*/ 72 w 162"/>
              <a:gd name="T19" fmla="*/ 30 h 144"/>
              <a:gd name="T20" fmla="*/ 84 w 162"/>
              <a:gd name="T21" fmla="*/ 24 h 144"/>
              <a:gd name="T22" fmla="*/ 96 w 162"/>
              <a:gd name="T23" fmla="*/ 24 h 144"/>
              <a:gd name="T24" fmla="*/ 102 w 162"/>
              <a:gd name="T25" fmla="*/ 30 h 144"/>
              <a:gd name="T26" fmla="*/ 114 w 162"/>
              <a:gd name="T27" fmla="*/ 36 h 144"/>
              <a:gd name="T28" fmla="*/ 120 w 162"/>
              <a:gd name="T29" fmla="*/ 36 h 144"/>
              <a:gd name="T30" fmla="*/ 132 w 162"/>
              <a:gd name="T31" fmla="*/ 36 h 144"/>
              <a:gd name="T32" fmla="*/ 150 w 162"/>
              <a:gd name="T33" fmla="*/ 36 h 144"/>
              <a:gd name="T34" fmla="*/ 150 w 162"/>
              <a:gd name="T35" fmla="*/ 30 h 144"/>
              <a:gd name="T36" fmla="*/ 156 w 162"/>
              <a:gd name="T37" fmla="*/ 30 h 144"/>
              <a:gd name="T38" fmla="*/ 156 w 162"/>
              <a:gd name="T39" fmla="*/ 36 h 144"/>
              <a:gd name="T40" fmla="*/ 156 w 162"/>
              <a:gd name="T41" fmla="*/ 48 h 144"/>
              <a:gd name="T42" fmla="*/ 156 w 162"/>
              <a:gd name="T43" fmla="*/ 54 h 144"/>
              <a:gd name="T44" fmla="*/ 156 w 162"/>
              <a:gd name="T45" fmla="*/ 54 h 144"/>
              <a:gd name="T46" fmla="*/ 150 w 162"/>
              <a:gd name="T47" fmla="*/ 60 h 144"/>
              <a:gd name="T48" fmla="*/ 150 w 162"/>
              <a:gd name="T49" fmla="*/ 66 h 144"/>
              <a:gd name="T50" fmla="*/ 150 w 162"/>
              <a:gd name="T51" fmla="*/ 66 h 144"/>
              <a:gd name="T52" fmla="*/ 150 w 162"/>
              <a:gd name="T53" fmla="*/ 66 h 144"/>
              <a:gd name="T54" fmla="*/ 150 w 162"/>
              <a:gd name="T55" fmla="*/ 72 h 144"/>
              <a:gd name="T56" fmla="*/ 138 w 162"/>
              <a:gd name="T57" fmla="*/ 78 h 144"/>
              <a:gd name="T58" fmla="*/ 138 w 162"/>
              <a:gd name="T59" fmla="*/ 78 h 144"/>
              <a:gd name="T60" fmla="*/ 138 w 162"/>
              <a:gd name="T61" fmla="*/ 84 h 144"/>
              <a:gd name="T62" fmla="*/ 138 w 162"/>
              <a:gd name="T63" fmla="*/ 90 h 144"/>
              <a:gd name="T64" fmla="*/ 138 w 162"/>
              <a:gd name="T65" fmla="*/ 90 h 144"/>
              <a:gd name="T66" fmla="*/ 132 w 162"/>
              <a:gd name="T67" fmla="*/ 96 h 144"/>
              <a:gd name="T68" fmla="*/ 132 w 162"/>
              <a:gd name="T69" fmla="*/ 102 h 144"/>
              <a:gd name="T70" fmla="*/ 120 w 162"/>
              <a:gd name="T71" fmla="*/ 102 h 144"/>
              <a:gd name="T72" fmla="*/ 120 w 162"/>
              <a:gd name="T73" fmla="*/ 108 h 144"/>
              <a:gd name="T74" fmla="*/ 108 w 162"/>
              <a:gd name="T75" fmla="*/ 108 h 144"/>
              <a:gd name="T76" fmla="*/ 96 w 162"/>
              <a:gd name="T77" fmla="*/ 108 h 144"/>
              <a:gd name="T78" fmla="*/ 102 w 162"/>
              <a:gd name="T79" fmla="*/ 114 h 144"/>
              <a:gd name="T80" fmla="*/ 108 w 162"/>
              <a:gd name="T81" fmla="*/ 120 h 144"/>
              <a:gd name="T82" fmla="*/ 108 w 162"/>
              <a:gd name="T83" fmla="*/ 120 h 144"/>
              <a:gd name="T84" fmla="*/ 108 w 162"/>
              <a:gd name="T85" fmla="*/ 126 h 144"/>
              <a:gd name="T86" fmla="*/ 102 w 162"/>
              <a:gd name="T87" fmla="*/ 132 h 144"/>
              <a:gd name="T88" fmla="*/ 90 w 162"/>
              <a:gd name="T89" fmla="*/ 132 h 144"/>
              <a:gd name="T90" fmla="*/ 90 w 162"/>
              <a:gd name="T91" fmla="*/ 132 h 144"/>
              <a:gd name="T92" fmla="*/ 84 w 162"/>
              <a:gd name="T93" fmla="*/ 132 h 144"/>
              <a:gd name="T94" fmla="*/ 84 w 162"/>
              <a:gd name="T95" fmla="*/ 132 h 144"/>
              <a:gd name="T96" fmla="*/ 78 w 162"/>
              <a:gd name="T97" fmla="*/ 132 h 144"/>
              <a:gd name="T98" fmla="*/ 78 w 162"/>
              <a:gd name="T99" fmla="*/ 132 h 144"/>
              <a:gd name="T100" fmla="*/ 72 w 162"/>
              <a:gd name="T101" fmla="*/ 126 h 144"/>
              <a:gd name="T102" fmla="*/ 72 w 162"/>
              <a:gd name="T103" fmla="*/ 126 h 144"/>
              <a:gd name="T104" fmla="*/ 72 w 162"/>
              <a:gd name="T105" fmla="*/ 126 h 144"/>
              <a:gd name="T106" fmla="*/ 66 w 162"/>
              <a:gd name="T107" fmla="*/ 120 h 144"/>
              <a:gd name="T108" fmla="*/ 60 w 162"/>
              <a:gd name="T109" fmla="*/ 120 h 144"/>
              <a:gd name="T110" fmla="*/ 60 w 162"/>
              <a:gd name="T111" fmla="*/ 126 h 144"/>
              <a:gd name="T112" fmla="*/ 66 w 162"/>
              <a:gd name="T113" fmla="*/ 144 h 144"/>
              <a:gd name="T114" fmla="*/ 60 w 162"/>
              <a:gd name="T115" fmla="*/ 144 h 144"/>
              <a:gd name="T116" fmla="*/ 54 w 162"/>
              <a:gd name="T117" fmla="*/ 138 h 144"/>
              <a:gd name="T118" fmla="*/ 48 w 162"/>
              <a:gd name="T119" fmla="*/ 138 h 144"/>
              <a:gd name="T120" fmla="*/ 24 w 162"/>
              <a:gd name="T121" fmla="*/ 138 h 144"/>
              <a:gd name="T122" fmla="*/ 12 w 162"/>
              <a:gd name="T123" fmla="*/ 138 h 144"/>
              <a:gd name="T124" fmla="*/ 6 w 162"/>
              <a:gd name="T125" fmla="*/ 138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62" h="144">
                <a:moveTo>
                  <a:pt x="0" y="138"/>
                </a:moveTo>
                <a:lnTo>
                  <a:pt x="6" y="132"/>
                </a:lnTo>
                <a:lnTo>
                  <a:pt x="6" y="126"/>
                </a:lnTo>
                <a:lnTo>
                  <a:pt x="6" y="126"/>
                </a:lnTo>
                <a:lnTo>
                  <a:pt x="6" y="120"/>
                </a:lnTo>
                <a:lnTo>
                  <a:pt x="6" y="114"/>
                </a:lnTo>
                <a:lnTo>
                  <a:pt x="12" y="108"/>
                </a:lnTo>
                <a:lnTo>
                  <a:pt x="12" y="108"/>
                </a:lnTo>
                <a:lnTo>
                  <a:pt x="12" y="102"/>
                </a:lnTo>
                <a:lnTo>
                  <a:pt x="18" y="102"/>
                </a:lnTo>
                <a:lnTo>
                  <a:pt x="18" y="96"/>
                </a:lnTo>
                <a:lnTo>
                  <a:pt x="18" y="96"/>
                </a:lnTo>
                <a:lnTo>
                  <a:pt x="18" y="90"/>
                </a:lnTo>
                <a:lnTo>
                  <a:pt x="18" y="84"/>
                </a:lnTo>
                <a:lnTo>
                  <a:pt x="18" y="78"/>
                </a:lnTo>
                <a:lnTo>
                  <a:pt x="18" y="72"/>
                </a:lnTo>
                <a:lnTo>
                  <a:pt x="18" y="72"/>
                </a:lnTo>
                <a:lnTo>
                  <a:pt x="18" y="66"/>
                </a:lnTo>
                <a:lnTo>
                  <a:pt x="24" y="60"/>
                </a:lnTo>
                <a:lnTo>
                  <a:pt x="24" y="60"/>
                </a:lnTo>
                <a:lnTo>
                  <a:pt x="30" y="54"/>
                </a:lnTo>
                <a:lnTo>
                  <a:pt x="30" y="54"/>
                </a:lnTo>
                <a:lnTo>
                  <a:pt x="30" y="42"/>
                </a:lnTo>
                <a:lnTo>
                  <a:pt x="24" y="42"/>
                </a:lnTo>
                <a:lnTo>
                  <a:pt x="18" y="36"/>
                </a:lnTo>
                <a:lnTo>
                  <a:pt x="18" y="36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18"/>
                </a:lnTo>
                <a:lnTo>
                  <a:pt x="24" y="18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30" y="12"/>
                </a:lnTo>
                <a:lnTo>
                  <a:pt x="30" y="12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54" y="12"/>
                </a:lnTo>
                <a:lnTo>
                  <a:pt x="54" y="12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6" y="0"/>
                </a:lnTo>
                <a:lnTo>
                  <a:pt x="66" y="0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8"/>
                </a:lnTo>
                <a:lnTo>
                  <a:pt x="66" y="24"/>
                </a:lnTo>
                <a:lnTo>
                  <a:pt x="66" y="24"/>
                </a:lnTo>
                <a:lnTo>
                  <a:pt x="66" y="18"/>
                </a:lnTo>
                <a:lnTo>
                  <a:pt x="66" y="18"/>
                </a:lnTo>
                <a:lnTo>
                  <a:pt x="72" y="18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84" y="30"/>
                </a:lnTo>
                <a:lnTo>
                  <a:pt x="84" y="30"/>
                </a:lnTo>
                <a:lnTo>
                  <a:pt x="84" y="24"/>
                </a:lnTo>
                <a:lnTo>
                  <a:pt x="84" y="24"/>
                </a:lnTo>
                <a:lnTo>
                  <a:pt x="84" y="30"/>
                </a:lnTo>
                <a:lnTo>
                  <a:pt x="90" y="30"/>
                </a:lnTo>
                <a:lnTo>
                  <a:pt x="90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30"/>
                </a:lnTo>
                <a:lnTo>
                  <a:pt x="96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8" y="30"/>
                </a:lnTo>
                <a:lnTo>
                  <a:pt x="108" y="36"/>
                </a:lnTo>
                <a:lnTo>
                  <a:pt x="108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8" y="36"/>
                </a:lnTo>
                <a:lnTo>
                  <a:pt x="138" y="36"/>
                </a:lnTo>
                <a:lnTo>
                  <a:pt x="144" y="36"/>
                </a:lnTo>
                <a:lnTo>
                  <a:pt x="144" y="36"/>
                </a:lnTo>
                <a:lnTo>
                  <a:pt x="144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24"/>
                </a:lnTo>
                <a:lnTo>
                  <a:pt x="156" y="24"/>
                </a:lnTo>
                <a:lnTo>
                  <a:pt x="156" y="30"/>
                </a:lnTo>
                <a:lnTo>
                  <a:pt x="162" y="24"/>
                </a:lnTo>
                <a:lnTo>
                  <a:pt x="162" y="30"/>
                </a:lnTo>
                <a:lnTo>
                  <a:pt x="156" y="30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42"/>
                </a:lnTo>
                <a:lnTo>
                  <a:pt x="156" y="42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62" y="54"/>
                </a:lnTo>
                <a:lnTo>
                  <a:pt x="162" y="54"/>
                </a:lnTo>
                <a:lnTo>
                  <a:pt x="162" y="54"/>
                </a:lnTo>
                <a:lnTo>
                  <a:pt x="156" y="54"/>
                </a:lnTo>
                <a:lnTo>
                  <a:pt x="156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56" y="60"/>
                </a:lnTo>
                <a:lnTo>
                  <a:pt x="156" y="60"/>
                </a:lnTo>
                <a:lnTo>
                  <a:pt x="150" y="60"/>
                </a:lnTo>
                <a:lnTo>
                  <a:pt x="150" y="60"/>
                </a:lnTo>
                <a:lnTo>
                  <a:pt x="150" y="60"/>
                </a:lnTo>
                <a:lnTo>
                  <a:pt x="150" y="60"/>
                </a:lnTo>
                <a:lnTo>
                  <a:pt x="150" y="60"/>
                </a:lnTo>
                <a:lnTo>
                  <a:pt x="150" y="66"/>
                </a:lnTo>
                <a:lnTo>
                  <a:pt x="150" y="60"/>
                </a:lnTo>
                <a:lnTo>
                  <a:pt x="150" y="66"/>
                </a:lnTo>
                <a:lnTo>
                  <a:pt x="150" y="66"/>
                </a:lnTo>
                <a:lnTo>
                  <a:pt x="150" y="66"/>
                </a:lnTo>
                <a:lnTo>
                  <a:pt x="150" y="66"/>
                </a:lnTo>
                <a:lnTo>
                  <a:pt x="150" y="66"/>
                </a:lnTo>
                <a:lnTo>
                  <a:pt x="150" y="66"/>
                </a:lnTo>
                <a:lnTo>
                  <a:pt x="150" y="66"/>
                </a:lnTo>
                <a:lnTo>
                  <a:pt x="150" y="66"/>
                </a:lnTo>
                <a:lnTo>
                  <a:pt x="150" y="66"/>
                </a:lnTo>
                <a:lnTo>
                  <a:pt x="150" y="66"/>
                </a:lnTo>
                <a:lnTo>
                  <a:pt x="150" y="66"/>
                </a:lnTo>
                <a:lnTo>
                  <a:pt x="150" y="66"/>
                </a:lnTo>
                <a:lnTo>
                  <a:pt x="150" y="66"/>
                </a:lnTo>
                <a:lnTo>
                  <a:pt x="150" y="72"/>
                </a:lnTo>
                <a:lnTo>
                  <a:pt x="150" y="66"/>
                </a:lnTo>
                <a:lnTo>
                  <a:pt x="150" y="72"/>
                </a:lnTo>
                <a:lnTo>
                  <a:pt x="144" y="72"/>
                </a:lnTo>
                <a:lnTo>
                  <a:pt x="144" y="72"/>
                </a:lnTo>
                <a:lnTo>
                  <a:pt x="150" y="72"/>
                </a:lnTo>
                <a:lnTo>
                  <a:pt x="144" y="72"/>
                </a:lnTo>
                <a:lnTo>
                  <a:pt x="150" y="72"/>
                </a:lnTo>
                <a:lnTo>
                  <a:pt x="150" y="72"/>
                </a:lnTo>
                <a:lnTo>
                  <a:pt x="150" y="78"/>
                </a:lnTo>
                <a:lnTo>
                  <a:pt x="144" y="78"/>
                </a:lnTo>
                <a:lnTo>
                  <a:pt x="138" y="78"/>
                </a:lnTo>
                <a:lnTo>
                  <a:pt x="132" y="78"/>
                </a:lnTo>
                <a:lnTo>
                  <a:pt x="132" y="78"/>
                </a:lnTo>
                <a:lnTo>
                  <a:pt x="138" y="78"/>
                </a:lnTo>
                <a:lnTo>
                  <a:pt x="138" y="78"/>
                </a:lnTo>
                <a:lnTo>
                  <a:pt x="138" y="78"/>
                </a:lnTo>
                <a:lnTo>
                  <a:pt x="138" y="78"/>
                </a:lnTo>
                <a:lnTo>
                  <a:pt x="138" y="78"/>
                </a:lnTo>
                <a:lnTo>
                  <a:pt x="138" y="78"/>
                </a:lnTo>
                <a:lnTo>
                  <a:pt x="138" y="78"/>
                </a:lnTo>
                <a:lnTo>
                  <a:pt x="138" y="78"/>
                </a:lnTo>
                <a:lnTo>
                  <a:pt x="138" y="78"/>
                </a:lnTo>
                <a:lnTo>
                  <a:pt x="138" y="84"/>
                </a:lnTo>
                <a:lnTo>
                  <a:pt x="138" y="84"/>
                </a:lnTo>
                <a:lnTo>
                  <a:pt x="138" y="84"/>
                </a:lnTo>
                <a:lnTo>
                  <a:pt x="138" y="84"/>
                </a:lnTo>
                <a:lnTo>
                  <a:pt x="138" y="84"/>
                </a:lnTo>
                <a:lnTo>
                  <a:pt x="138" y="84"/>
                </a:lnTo>
                <a:lnTo>
                  <a:pt x="138" y="84"/>
                </a:lnTo>
                <a:lnTo>
                  <a:pt x="138" y="84"/>
                </a:lnTo>
                <a:lnTo>
                  <a:pt x="138" y="84"/>
                </a:lnTo>
                <a:lnTo>
                  <a:pt x="138" y="84"/>
                </a:lnTo>
                <a:lnTo>
                  <a:pt x="138" y="84"/>
                </a:lnTo>
                <a:lnTo>
                  <a:pt x="138" y="84"/>
                </a:lnTo>
                <a:lnTo>
                  <a:pt x="138" y="84"/>
                </a:lnTo>
                <a:lnTo>
                  <a:pt x="138" y="90"/>
                </a:lnTo>
                <a:lnTo>
                  <a:pt x="138" y="90"/>
                </a:lnTo>
                <a:lnTo>
                  <a:pt x="138" y="90"/>
                </a:lnTo>
                <a:lnTo>
                  <a:pt x="138" y="90"/>
                </a:lnTo>
                <a:lnTo>
                  <a:pt x="138" y="90"/>
                </a:lnTo>
                <a:lnTo>
                  <a:pt x="138" y="90"/>
                </a:lnTo>
                <a:lnTo>
                  <a:pt x="138" y="90"/>
                </a:lnTo>
                <a:lnTo>
                  <a:pt x="138" y="90"/>
                </a:lnTo>
                <a:lnTo>
                  <a:pt x="138" y="90"/>
                </a:lnTo>
                <a:lnTo>
                  <a:pt x="138" y="90"/>
                </a:lnTo>
                <a:lnTo>
                  <a:pt x="138" y="90"/>
                </a:lnTo>
                <a:lnTo>
                  <a:pt x="138" y="96"/>
                </a:lnTo>
                <a:lnTo>
                  <a:pt x="132" y="96"/>
                </a:lnTo>
                <a:lnTo>
                  <a:pt x="132" y="96"/>
                </a:lnTo>
                <a:lnTo>
                  <a:pt x="132" y="96"/>
                </a:lnTo>
                <a:lnTo>
                  <a:pt x="138" y="96"/>
                </a:lnTo>
                <a:lnTo>
                  <a:pt x="138" y="96"/>
                </a:lnTo>
                <a:lnTo>
                  <a:pt x="132" y="96"/>
                </a:lnTo>
                <a:lnTo>
                  <a:pt x="132" y="96"/>
                </a:lnTo>
                <a:lnTo>
                  <a:pt x="132" y="96"/>
                </a:lnTo>
                <a:lnTo>
                  <a:pt x="132" y="102"/>
                </a:lnTo>
                <a:lnTo>
                  <a:pt x="132" y="102"/>
                </a:lnTo>
                <a:lnTo>
                  <a:pt x="132" y="102"/>
                </a:lnTo>
                <a:lnTo>
                  <a:pt x="126" y="102"/>
                </a:lnTo>
                <a:lnTo>
                  <a:pt x="126" y="102"/>
                </a:lnTo>
                <a:lnTo>
                  <a:pt x="126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14"/>
                </a:lnTo>
                <a:lnTo>
                  <a:pt x="120" y="114"/>
                </a:lnTo>
                <a:lnTo>
                  <a:pt x="120" y="114"/>
                </a:lnTo>
                <a:lnTo>
                  <a:pt x="120" y="108"/>
                </a:lnTo>
                <a:lnTo>
                  <a:pt x="120" y="108"/>
                </a:lnTo>
                <a:lnTo>
                  <a:pt x="114" y="108"/>
                </a:lnTo>
                <a:lnTo>
                  <a:pt x="114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96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108" y="114"/>
                </a:lnTo>
                <a:lnTo>
                  <a:pt x="102" y="114"/>
                </a:lnTo>
                <a:lnTo>
                  <a:pt x="102" y="120"/>
                </a:lnTo>
                <a:lnTo>
                  <a:pt x="108" y="120"/>
                </a:lnTo>
                <a:lnTo>
                  <a:pt x="108" y="114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14"/>
                </a:lnTo>
                <a:lnTo>
                  <a:pt x="108" y="120"/>
                </a:lnTo>
                <a:lnTo>
                  <a:pt x="114" y="120"/>
                </a:lnTo>
                <a:lnTo>
                  <a:pt x="108" y="120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32"/>
                </a:lnTo>
                <a:lnTo>
                  <a:pt x="102" y="132"/>
                </a:lnTo>
                <a:lnTo>
                  <a:pt x="102" y="132"/>
                </a:lnTo>
                <a:lnTo>
                  <a:pt x="102" y="132"/>
                </a:lnTo>
                <a:lnTo>
                  <a:pt x="96" y="132"/>
                </a:lnTo>
                <a:lnTo>
                  <a:pt x="96" y="138"/>
                </a:lnTo>
                <a:lnTo>
                  <a:pt x="96" y="132"/>
                </a:lnTo>
                <a:lnTo>
                  <a:pt x="96" y="132"/>
                </a:lnTo>
                <a:lnTo>
                  <a:pt x="96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78" y="132"/>
                </a:lnTo>
                <a:lnTo>
                  <a:pt x="78" y="132"/>
                </a:lnTo>
                <a:lnTo>
                  <a:pt x="78" y="132"/>
                </a:lnTo>
                <a:lnTo>
                  <a:pt x="78" y="132"/>
                </a:lnTo>
                <a:lnTo>
                  <a:pt x="78" y="132"/>
                </a:lnTo>
                <a:lnTo>
                  <a:pt x="78" y="132"/>
                </a:lnTo>
                <a:lnTo>
                  <a:pt x="78" y="132"/>
                </a:lnTo>
                <a:lnTo>
                  <a:pt x="78" y="132"/>
                </a:lnTo>
                <a:lnTo>
                  <a:pt x="78" y="132"/>
                </a:lnTo>
                <a:lnTo>
                  <a:pt x="78" y="132"/>
                </a:lnTo>
                <a:lnTo>
                  <a:pt x="78" y="132"/>
                </a:lnTo>
                <a:lnTo>
                  <a:pt x="78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8" y="126"/>
                </a:lnTo>
                <a:lnTo>
                  <a:pt x="72" y="126"/>
                </a:lnTo>
                <a:lnTo>
                  <a:pt x="78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0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66" y="126"/>
                </a:lnTo>
                <a:lnTo>
                  <a:pt x="66" y="120"/>
                </a:lnTo>
                <a:lnTo>
                  <a:pt x="66" y="120"/>
                </a:lnTo>
                <a:lnTo>
                  <a:pt x="66" y="126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6"/>
                </a:lnTo>
                <a:lnTo>
                  <a:pt x="66" y="126"/>
                </a:lnTo>
                <a:lnTo>
                  <a:pt x="66" y="120"/>
                </a:lnTo>
                <a:lnTo>
                  <a:pt x="60" y="126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6"/>
                </a:lnTo>
                <a:lnTo>
                  <a:pt x="60" y="120"/>
                </a:lnTo>
                <a:lnTo>
                  <a:pt x="54" y="120"/>
                </a:lnTo>
                <a:lnTo>
                  <a:pt x="54" y="120"/>
                </a:lnTo>
                <a:lnTo>
                  <a:pt x="60" y="126"/>
                </a:lnTo>
                <a:lnTo>
                  <a:pt x="60" y="126"/>
                </a:lnTo>
                <a:lnTo>
                  <a:pt x="60" y="132"/>
                </a:lnTo>
                <a:lnTo>
                  <a:pt x="60" y="138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38"/>
                </a:lnTo>
                <a:lnTo>
                  <a:pt x="60" y="138"/>
                </a:lnTo>
                <a:lnTo>
                  <a:pt x="60" y="138"/>
                </a:lnTo>
                <a:lnTo>
                  <a:pt x="60" y="138"/>
                </a:lnTo>
                <a:lnTo>
                  <a:pt x="60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30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6" y="138"/>
                </a:lnTo>
                <a:lnTo>
                  <a:pt x="6" y="138"/>
                </a:lnTo>
                <a:lnTo>
                  <a:pt x="6" y="138"/>
                </a:lnTo>
                <a:lnTo>
                  <a:pt x="6" y="138"/>
                </a:lnTo>
                <a:lnTo>
                  <a:pt x="6" y="138"/>
                </a:lnTo>
                <a:lnTo>
                  <a:pt x="6" y="138"/>
                </a:lnTo>
                <a:lnTo>
                  <a:pt x="6" y="138"/>
                </a:lnTo>
                <a:lnTo>
                  <a:pt x="6" y="138"/>
                </a:lnTo>
                <a:lnTo>
                  <a:pt x="0" y="13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87" name="Freeform 420"/>
          <p:cNvSpPr>
            <a:spLocks/>
          </p:cNvSpPr>
          <p:nvPr/>
        </p:nvSpPr>
        <p:spPr bwMode="auto">
          <a:xfrm>
            <a:off x="6671981" y="4295607"/>
            <a:ext cx="89937" cy="96361"/>
          </a:xfrm>
          <a:custGeom>
            <a:avLst/>
            <a:gdLst>
              <a:gd name="T0" fmla="*/ 6 w 84"/>
              <a:gd name="T1" fmla="*/ 60 h 90"/>
              <a:gd name="T2" fmla="*/ 12 w 84"/>
              <a:gd name="T3" fmla="*/ 54 h 90"/>
              <a:gd name="T4" fmla="*/ 12 w 84"/>
              <a:gd name="T5" fmla="*/ 54 h 90"/>
              <a:gd name="T6" fmla="*/ 12 w 84"/>
              <a:gd name="T7" fmla="*/ 48 h 90"/>
              <a:gd name="T8" fmla="*/ 6 w 84"/>
              <a:gd name="T9" fmla="*/ 42 h 90"/>
              <a:gd name="T10" fmla="*/ 12 w 84"/>
              <a:gd name="T11" fmla="*/ 36 h 90"/>
              <a:gd name="T12" fmla="*/ 12 w 84"/>
              <a:gd name="T13" fmla="*/ 36 h 90"/>
              <a:gd name="T14" fmla="*/ 6 w 84"/>
              <a:gd name="T15" fmla="*/ 30 h 90"/>
              <a:gd name="T16" fmla="*/ 6 w 84"/>
              <a:gd name="T17" fmla="*/ 24 h 90"/>
              <a:gd name="T18" fmla="*/ 6 w 84"/>
              <a:gd name="T19" fmla="*/ 24 h 90"/>
              <a:gd name="T20" fmla="*/ 18 w 84"/>
              <a:gd name="T21" fmla="*/ 24 h 90"/>
              <a:gd name="T22" fmla="*/ 12 w 84"/>
              <a:gd name="T23" fmla="*/ 12 h 90"/>
              <a:gd name="T24" fmla="*/ 18 w 84"/>
              <a:gd name="T25" fmla="*/ 6 h 90"/>
              <a:gd name="T26" fmla="*/ 30 w 84"/>
              <a:gd name="T27" fmla="*/ 6 h 90"/>
              <a:gd name="T28" fmla="*/ 36 w 84"/>
              <a:gd name="T29" fmla="*/ 0 h 90"/>
              <a:gd name="T30" fmla="*/ 36 w 84"/>
              <a:gd name="T31" fmla="*/ 0 h 90"/>
              <a:gd name="T32" fmla="*/ 42 w 84"/>
              <a:gd name="T33" fmla="*/ 6 h 90"/>
              <a:gd name="T34" fmla="*/ 48 w 84"/>
              <a:gd name="T35" fmla="*/ 12 h 90"/>
              <a:gd name="T36" fmla="*/ 48 w 84"/>
              <a:gd name="T37" fmla="*/ 18 h 90"/>
              <a:gd name="T38" fmla="*/ 54 w 84"/>
              <a:gd name="T39" fmla="*/ 18 h 90"/>
              <a:gd name="T40" fmla="*/ 60 w 84"/>
              <a:gd name="T41" fmla="*/ 24 h 90"/>
              <a:gd name="T42" fmla="*/ 66 w 84"/>
              <a:gd name="T43" fmla="*/ 24 h 90"/>
              <a:gd name="T44" fmla="*/ 72 w 84"/>
              <a:gd name="T45" fmla="*/ 24 h 90"/>
              <a:gd name="T46" fmla="*/ 72 w 84"/>
              <a:gd name="T47" fmla="*/ 36 h 90"/>
              <a:gd name="T48" fmla="*/ 78 w 84"/>
              <a:gd name="T49" fmla="*/ 36 h 90"/>
              <a:gd name="T50" fmla="*/ 84 w 84"/>
              <a:gd name="T51" fmla="*/ 42 h 90"/>
              <a:gd name="T52" fmla="*/ 84 w 84"/>
              <a:gd name="T53" fmla="*/ 48 h 90"/>
              <a:gd name="T54" fmla="*/ 84 w 84"/>
              <a:gd name="T55" fmla="*/ 60 h 90"/>
              <a:gd name="T56" fmla="*/ 72 w 84"/>
              <a:gd name="T57" fmla="*/ 60 h 90"/>
              <a:gd name="T58" fmla="*/ 66 w 84"/>
              <a:gd name="T59" fmla="*/ 66 h 90"/>
              <a:gd name="T60" fmla="*/ 66 w 84"/>
              <a:gd name="T61" fmla="*/ 72 h 90"/>
              <a:gd name="T62" fmla="*/ 66 w 84"/>
              <a:gd name="T63" fmla="*/ 72 h 90"/>
              <a:gd name="T64" fmla="*/ 54 w 84"/>
              <a:gd name="T65" fmla="*/ 66 h 90"/>
              <a:gd name="T66" fmla="*/ 54 w 84"/>
              <a:gd name="T67" fmla="*/ 66 h 90"/>
              <a:gd name="T68" fmla="*/ 54 w 84"/>
              <a:gd name="T69" fmla="*/ 66 h 90"/>
              <a:gd name="T70" fmla="*/ 54 w 84"/>
              <a:gd name="T71" fmla="*/ 60 h 90"/>
              <a:gd name="T72" fmla="*/ 54 w 84"/>
              <a:gd name="T73" fmla="*/ 60 h 90"/>
              <a:gd name="T74" fmla="*/ 54 w 84"/>
              <a:gd name="T75" fmla="*/ 60 h 90"/>
              <a:gd name="T76" fmla="*/ 48 w 84"/>
              <a:gd name="T77" fmla="*/ 54 h 90"/>
              <a:gd name="T78" fmla="*/ 48 w 84"/>
              <a:gd name="T79" fmla="*/ 54 h 90"/>
              <a:gd name="T80" fmla="*/ 48 w 84"/>
              <a:gd name="T81" fmla="*/ 54 h 90"/>
              <a:gd name="T82" fmla="*/ 48 w 84"/>
              <a:gd name="T83" fmla="*/ 54 h 90"/>
              <a:gd name="T84" fmla="*/ 48 w 84"/>
              <a:gd name="T85" fmla="*/ 54 h 90"/>
              <a:gd name="T86" fmla="*/ 48 w 84"/>
              <a:gd name="T87" fmla="*/ 60 h 90"/>
              <a:gd name="T88" fmla="*/ 48 w 84"/>
              <a:gd name="T89" fmla="*/ 60 h 90"/>
              <a:gd name="T90" fmla="*/ 48 w 84"/>
              <a:gd name="T91" fmla="*/ 66 h 90"/>
              <a:gd name="T92" fmla="*/ 48 w 84"/>
              <a:gd name="T93" fmla="*/ 66 h 90"/>
              <a:gd name="T94" fmla="*/ 42 w 84"/>
              <a:gd name="T95" fmla="*/ 72 h 90"/>
              <a:gd name="T96" fmla="*/ 30 w 84"/>
              <a:gd name="T97" fmla="*/ 66 h 90"/>
              <a:gd name="T98" fmla="*/ 24 w 84"/>
              <a:gd name="T99" fmla="*/ 66 h 90"/>
              <a:gd name="T100" fmla="*/ 12 w 84"/>
              <a:gd name="T101" fmla="*/ 66 h 90"/>
              <a:gd name="T102" fmla="*/ 12 w 84"/>
              <a:gd name="T103" fmla="*/ 72 h 90"/>
              <a:gd name="T104" fmla="*/ 18 w 84"/>
              <a:gd name="T105" fmla="*/ 72 h 90"/>
              <a:gd name="T106" fmla="*/ 18 w 84"/>
              <a:gd name="T107" fmla="*/ 72 h 90"/>
              <a:gd name="T108" fmla="*/ 18 w 84"/>
              <a:gd name="T109" fmla="*/ 78 h 90"/>
              <a:gd name="T110" fmla="*/ 18 w 84"/>
              <a:gd name="T111" fmla="*/ 78 h 90"/>
              <a:gd name="T112" fmla="*/ 18 w 84"/>
              <a:gd name="T113" fmla="*/ 78 h 90"/>
              <a:gd name="T114" fmla="*/ 12 w 84"/>
              <a:gd name="T115" fmla="*/ 84 h 90"/>
              <a:gd name="T116" fmla="*/ 12 w 84"/>
              <a:gd name="T117" fmla="*/ 84 h 90"/>
              <a:gd name="T118" fmla="*/ 0 w 84"/>
              <a:gd name="T119" fmla="*/ 90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84" h="90">
                <a:moveTo>
                  <a:pt x="0" y="60"/>
                </a:move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12" y="60"/>
                </a:lnTo>
                <a:lnTo>
                  <a:pt x="12" y="54"/>
                </a:lnTo>
                <a:lnTo>
                  <a:pt x="6" y="54"/>
                </a:lnTo>
                <a:lnTo>
                  <a:pt x="6" y="54"/>
                </a:lnTo>
                <a:lnTo>
                  <a:pt x="12" y="54"/>
                </a:lnTo>
                <a:lnTo>
                  <a:pt x="6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12" y="42"/>
                </a:lnTo>
                <a:lnTo>
                  <a:pt x="12" y="36"/>
                </a:lnTo>
                <a:lnTo>
                  <a:pt x="6" y="36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8" y="24"/>
                </a:lnTo>
                <a:lnTo>
                  <a:pt x="12" y="24"/>
                </a:lnTo>
                <a:lnTo>
                  <a:pt x="12" y="24"/>
                </a:lnTo>
                <a:lnTo>
                  <a:pt x="12" y="18"/>
                </a:lnTo>
                <a:lnTo>
                  <a:pt x="12" y="18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6"/>
                </a:lnTo>
                <a:lnTo>
                  <a:pt x="12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24" y="6"/>
                </a:lnTo>
                <a:lnTo>
                  <a:pt x="24" y="6"/>
                </a:lnTo>
                <a:lnTo>
                  <a:pt x="24" y="0"/>
                </a:lnTo>
                <a:lnTo>
                  <a:pt x="24" y="0"/>
                </a:lnTo>
                <a:lnTo>
                  <a:pt x="30" y="6"/>
                </a:lnTo>
                <a:lnTo>
                  <a:pt x="30" y="6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6" y="0"/>
                </a:lnTo>
                <a:lnTo>
                  <a:pt x="36" y="0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54" y="24"/>
                </a:lnTo>
                <a:lnTo>
                  <a:pt x="54" y="24"/>
                </a:lnTo>
                <a:lnTo>
                  <a:pt x="54" y="18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6"/>
                </a:lnTo>
                <a:lnTo>
                  <a:pt x="78" y="30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6"/>
                </a:lnTo>
                <a:lnTo>
                  <a:pt x="72" y="66"/>
                </a:lnTo>
                <a:lnTo>
                  <a:pt x="66" y="66"/>
                </a:lnTo>
                <a:lnTo>
                  <a:pt x="66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54" y="66"/>
                </a:lnTo>
                <a:lnTo>
                  <a:pt x="60" y="66"/>
                </a:lnTo>
                <a:lnTo>
                  <a:pt x="54" y="66"/>
                </a:lnTo>
                <a:lnTo>
                  <a:pt x="60" y="66"/>
                </a:lnTo>
                <a:lnTo>
                  <a:pt x="54" y="66"/>
                </a:lnTo>
                <a:lnTo>
                  <a:pt x="60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48" y="54"/>
                </a:lnTo>
                <a:lnTo>
                  <a:pt x="54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2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72"/>
                </a:lnTo>
                <a:lnTo>
                  <a:pt x="42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2" y="66"/>
                </a:lnTo>
                <a:lnTo>
                  <a:pt x="12" y="66"/>
                </a:lnTo>
                <a:lnTo>
                  <a:pt x="18" y="66"/>
                </a:lnTo>
                <a:lnTo>
                  <a:pt x="18" y="66"/>
                </a:lnTo>
                <a:lnTo>
                  <a:pt x="12" y="66"/>
                </a:lnTo>
                <a:lnTo>
                  <a:pt x="12" y="66"/>
                </a:lnTo>
                <a:lnTo>
                  <a:pt x="12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24" y="72"/>
                </a:lnTo>
                <a:lnTo>
                  <a:pt x="24" y="72"/>
                </a:lnTo>
                <a:lnTo>
                  <a:pt x="18" y="72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90"/>
                </a:lnTo>
                <a:lnTo>
                  <a:pt x="12" y="90"/>
                </a:lnTo>
                <a:lnTo>
                  <a:pt x="12" y="84"/>
                </a:lnTo>
                <a:lnTo>
                  <a:pt x="6" y="90"/>
                </a:lnTo>
                <a:lnTo>
                  <a:pt x="6" y="90"/>
                </a:lnTo>
                <a:lnTo>
                  <a:pt x="0" y="90"/>
                </a:lnTo>
                <a:lnTo>
                  <a:pt x="0" y="72"/>
                </a:lnTo>
                <a:lnTo>
                  <a:pt x="0" y="66"/>
                </a:lnTo>
                <a:lnTo>
                  <a:pt x="0" y="6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88" name="Freeform 421"/>
          <p:cNvSpPr>
            <a:spLocks/>
          </p:cNvSpPr>
          <p:nvPr/>
        </p:nvSpPr>
        <p:spPr bwMode="auto">
          <a:xfrm>
            <a:off x="6190177" y="4655356"/>
            <a:ext cx="128481" cy="128482"/>
          </a:xfrm>
          <a:custGeom>
            <a:avLst/>
            <a:gdLst>
              <a:gd name="T0" fmla="*/ 12 w 120"/>
              <a:gd name="T1" fmla="*/ 66 h 120"/>
              <a:gd name="T2" fmla="*/ 18 w 120"/>
              <a:gd name="T3" fmla="*/ 66 h 120"/>
              <a:gd name="T4" fmla="*/ 24 w 120"/>
              <a:gd name="T5" fmla="*/ 66 h 120"/>
              <a:gd name="T6" fmla="*/ 30 w 120"/>
              <a:gd name="T7" fmla="*/ 60 h 120"/>
              <a:gd name="T8" fmla="*/ 30 w 120"/>
              <a:gd name="T9" fmla="*/ 66 h 120"/>
              <a:gd name="T10" fmla="*/ 36 w 120"/>
              <a:gd name="T11" fmla="*/ 66 h 120"/>
              <a:gd name="T12" fmla="*/ 42 w 120"/>
              <a:gd name="T13" fmla="*/ 66 h 120"/>
              <a:gd name="T14" fmla="*/ 48 w 120"/>
              <a:gd name="T15" fmla="*/ 66 h 120"/>
              <a:gd name="T16" fmla="*/ 48 w 120"/>
              <a:gd name="T17" fmla="*/ 60 h 120"/>
              <a:gd name="T18" fmla="*/ 54 w 120"/>
              <a:gd name="T19" fmla="*/ 54 h 120"/>
              <a:gd name="T20" fmla="*/ 48 w 120"/>
              <a:gd name="T21" fmla="*/ 54 h 120"/>
              <a:gd name="T22" fmla="*/ 48 w 120"/>
              <a:gd name="T23" fmla="*/ 48 h 120"/>
              <a:gd name="T24" fmla="*/ 48 w 120"/>
              <a:gd name="T25" fmla="*/ 48 h 120"/>
              <a:gd name="T26" fmla="*/ 48 w 120"/>
              <a:gd name="T27" fmla="*/ 42 h 120"/>
              <a:gd name="T28" fmla="*/ 48 w 120"/>
              <a:gd name="T29" fmla="*/ 36 h 120"/>
              <a:gd name="T30" fmla="*/ 48 w 120"/>
              <a:gd name="T31" fmla="*/ 36 h 120"/>
              <a:gd name="T32" fmla="*/ 48 w 120"/>
              <a:gd name="T33" fmla="*/ 30 h 120"/>
              <a:gd name="T34" fmla="*/ 48 w 120"/>
              <a:gd name="T35" fmla="*/ 30 h 120"/>
              <a:gd name="T36" fmla="*/ 42 w 120"/>
              <a:gd name="T37" fmla="*/ 24 h 120"/>
              <a:gd name="T38" fmla="*/ 42 w 120"/>
              <a:gd name="T39" fmla="*/ 24 h 120"/>
              <a:gd name="T40" fmla="*/ 42 w 120"/>
              <a:gd name="T41" fmla="*/ 18 h 120"/>
              <a:gd name="T42" fmla="*/ 36 w 120"/>
              <a:gd name="T43" fmla="*/ 18 h 120"/>
              <a:gd name="T44" fmla="*/ 30 w 120"/>
              <a:gd name="T45" fmla="*/ 18 h 120"/>
              <a:gd name="T46" fmla="*/ 36 w 120"/>
              <a:gd name="T47" fmla="*/ 6 h 120"/>
              <a:gd name="T48" fmla="*/ 48 w 120"/>
              <a:gd name="T49" fmla="*/ 0 h 120"/>
              <a:gd name="T50" fmla="*/ 54 w 120"/>
              <a:gd name="T51" fmla="*/ 0 h 120"/>
              <a:gd name="T52" fmla="*/ 60 w 120"/>
              <a:gd name="T53" fmla="*/ 6 h 120"/>
              <a:gd name="T54" fmla="*/ 72 w 120"/>
              <a:gd name="T55" fmla="*/ 12 h 120"/>
              <a:gd name="T56" fmla="*/ 78 w 120"/>
              <a:gd name="T57" fmla="*/ 12 h 120"/>
              <a:gd name="T58" fmla="*/ 90 w 120"/>
              <a:gd name="T59" fmla="*/ 12 h 120"/>
              <a:gd name="T60" fmla="*/ 102 w 120"/>
              <a:gd name="T61" fmla="*/ 12 h 120"/>
              <a:gd name="T62" fmla="*/ 120 w 120"/>
              <a:gd name="T63" fmla="*/ 18 h 120"/>
              <a:gd name="T64" fmla="*/ 114 w 120"/>
              <a:gd name="T65" fmla="*/ 24 h 120"/>
              <a:gd name="T66" fmla="*/ 120 w 120"/>
              <a:gd name="T67" fmla="*/ 30 h 120"/>
              <a:gd name="T68" fmla="*/ 114 w 120"/>
              <a:gd name="T69" fmla="*/ 36 h 120"/>
              <a:gd name="T70" fmla="*/ 108 w 120"/>
              <a:gd name="T71" fmla="*/ 42 h 120"/>
              <a:gd name="T72" fmla="*/ 114 w 120"/>
              <a:gd name="T73" fmla="*/ 48 h 120"/>
              <a:gd name="T74" fmla="*/ 114 w 120"/>
              <a:gd name="T75" fmla="*/ 54 h 120"/>
              <a:gd name="T76" fmla="*/ 114 w 120"/>
              <a:gd name="T77" fmla="*/ 60 h 120"/>
              <a:gd name="T78" fmla="*/ 114 w 120"/>
              <a:gd name="T79" fmla="*/ 60 h 120"/>
              <a:gd name="T80" fmla="*/ 108 w 120"/>
              <a:gd name="T81" fmla="*/ 60 h 120"/>
              <a:gd name="T82" fmla="*/ 108 w 120"/>
              <a:gd name="T83" fmla="*/ 66 h 120"/>
              <a:gd name="T84" fmla="*/ 108 w 120"/>
              <a:gd name="T85" fmla="*/ 72 h 120"/>
              <a:gd name="T86" fmla="*/ 108 w 120"/>
              <a:gd name="T87" fmla="*/ 72 h 120"/>
              <a:gd name="T88" fmla="*/ 108 w 120"/>
              <a:gd name="T89" fmla="*/ 78 h 120"/>
              <a:gd name="T90" fmla="*/ 108 w 120"/>
              <a:gd name="T91" fmla="*/ 84 h 120"/>
              <a:gd name="T92" fmla="*/ 120 w 120"/>
              <a:gd name="T93" fmla="*/ 84 h 120"/>
              <a:gd name="T94" fmla="*/ 120 w 120"/>
              <a:gd name="T95" fmla="*/ 90 h 120"/>
              <a:gd name="T96" fmla="*/ 120 w 120"/>
              <a:gd name="T97" fmla="*/ 90 h 120"/>
              <a:gd name="T98" fmla="*/ 114 w 120"/>
              <a:gd name="T99" fmla="*/ 96 h 120"/>
              <a:gd name="T100" fmla="*/ 108 w 120"/>
              <a:gd name="T101" fmla="*/ 102 h 120"/>
              <a:gd name="T102" fmla="*/ 108 w 120"/>
              <a:gd name="T103" fmla="*/ 114 h 120"/>
              <a:gd name="T104" fmla="*/ 90 w 120"/>
              <a:gd name="T105" fmla="*/ 114 h 120"/>
              <a:gd name="T106" fmla="*/ 78 w 120"/>
              <a:gd name="T107" fmla="*/ 114 h 120"/>
              <a:gd name="T108" fmla="*/ 72 w 120"/>
              <a:gd name="T109" fmla="*/ 108 h 120"/>
              <a:gd name="T110" fmla="*/ 60 w 120"/>
              <a:gd name="T111" fmla="*/ 102 h 120"/>
              <a:gd name="T112" fmla="*/ 54 w 120"/>
              <a:gd name="T113" fmla="*/ 102 h 120"/>
              <a:gd name="T114" fmla="*/ 42 w 120"/>
              <a:gd name="T115" fmla="*/ 102 h 120"/>
              <a:gd name="T116" fmla="*/ 24 w 120"/>
              <a:gd name="T117" fmla="*/ 108 h 120"/>
              <a:gd name="T118" fmla="*/ 18 w 120"/>
              <a:gd name="T119" fmla="*/ 102 h 120"/>
              <a:gd name="T120" fmla="*/ 12 w 120"/>
              <a:gd name="T121" fmla="*/ 90 h 120"/>
              <a:gd name="T122" fmla="*/ 0 w 120"/>
              <a:gd name="T123" fmla="*/ 78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20" h="120">
                <a:moveTo>
                  <a:pt x="0" y="72"/>
                </a:moveTo>
                <a:lnTo>
                  <a:pt x="0" y="72"/>
                </a:lnTo>
                <a:lnTo>
                  <a:pt x="0" y="72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24" y="66"/>
                </a:lnTo>
                <a:lnTo>
                  <a:pt x="24" y="66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6"/>
                </a:lnTo>
                <a:lnTo>
                  <a:pt x="24" y="60"/>
                </a:lnTo>
                <a:lnTo>
                  <a:pt x="30" y="66"/>
                </a:lnTo>
                <a:lnTo>
                  <a:pt x="30" y="60"/>
                </a:lnTo>
                <a:lnTo>
                  <a:pt x="30" y="66"/>
                </a:lnTo>
                <a:lnTo>
                  <a:pt x="30" y="60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8" y="66"/>
                </a:lnTo>
                <a:lnTo>
                  <a:pt x="48" y="72"/>
                </a:lnTo>
                <a:lnTo>
                  <a:pt x="48" y="72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0"/>
                </a:lnTo>
                <a:lnTo>
                  <a:pt x="48" y="60"/>
                </a:lnTo>
                <a:lnTo>
                  <a:pt x="54" y="60"/>
                </a:lnTo>
                <a:lnTo>
                  <a:pt x="48" y="60"/>
                </a:lnTo>
                <a:lnTo>
                  <a:pt x="54" y="60"/>
                </a:lnTo>
                <a:lnTo>
                  <a:pt x="48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54"/>
                </a:lnTo>
                <a:lnTo>
                  <a:pt x="54" y="54"/>
                </a:lnTo>
                <a:lnTo>
                  <a:pt x="54" y="60"/>
                </a:lnTo>
                <a:lnTo>
                  <a:pt x="54" y="60"/>
                </a:lnTo>
                <a:lnTo>
                  <a:pt x="54" y="54"/>
                </a:lnTo>
                <a:lnTo>
                  <a:pt x="54" y="54"/>
                </a:lnTo>
                <a:lnTo>
                  <a:pt x="48" y="54"/>
                </a:lnTo>
                <a:lnTo>
                  <a:pt x="48" y="54"/>
                </a:lnTo>
                <a:lnTo>
                  <a:pt x="54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54" y="54"/>
                </a:lnTo>
                <a:lnTo>
                  <a:pt x="48" y="54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54" y="36"/>
                </a:lnTo>
                <a:lnTo>
                  <a:pt x="54" y="36"/>
                </a:lnTo>
                <a:lnTo>
                  <a:pt x="48" y="36"/>
                </a:lnTo>
                <a:lnTo>
                  <a:pt x="48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18"/>
                </a:lnTo>
                <a:lnTo>
                  <a:pt x="42" y="24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18"/>
                </a:lnTo>
                <a:lnTo>
                  <a:pt x="36" y="18"/>
                </a:lnTo>
                <a:lnTo>
                  <a:pt x="30" y="24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0" y="18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0"/>
                </a:lnTo>
                <a:lnTo>
                  <a:pt x="42" y="6"/>
                </a:lnTo>
                <a:lnTo>
                  <a:pt x="42" y="6"/>
                </a:lnTo>
                <a:lnTo>
                  <a:pt x="42" y="0"/>
                </a:lnTo>
                <a:lnTo>
                  <a:pt x="48" y="0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48" y="0"/>
                </a:lnTo>
                <a:lnTo>
                  <a:pt x="48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12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78" y="6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84" y="12"/>
                </a:lnTo>
                <a:lnTo>
                  <a:pt x="84" y="12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12"/>
                </a:lnTo>
                <a:lnTo>
                  <a:pt x="96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8" y="12"/>
                </a:lnTo>
                <a:lnTo>
                  <a:pt x="108" y="12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20" y="18"/>
                </a:lnTo>
                <a:lnTo>
                  <a:pt x="114" y="18"/>
                </a:lnTo>
                <a:lnTo>
                  <a:pt x="120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30"/>
                </a:lnTo>
                <a:lnTo>
                  <a:pt x="114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2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14" y="42"/>
                </a:lnTo>
                <a:lnTo>
                  <a:pt x="114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8"/>
                </a:lnTo>
                <a:lnTo>
                  <a:pt x="108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2" y="60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14" y="66"/>
                </a:lnTo>
                <a:lnTo>
                  <a:pt x="108" y="66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66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2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2" y="78"/>
                </a:lnTo>
                <a:lnTo>
                  <a:pt x="102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14" y="90"/>
                </a:lnTo>
                <a:lnTo>
                  <a:pt x="120" y="90"/>
                </a:lnTo>
                <a:lnTo>
                  <a:pt x="120" y="90"/>
                </a:lnTo>
                <a:lnTo>
                  <a:pt x="114" y="90"/>
                </a:lnTo>
                <a:lnTo>
                  <a:pt x="114" y="90"/>
                </a:lnTo>
                <a:lnTo>
                  <a:pt x="120" y="90"/>
                </a:lnTo>
                <a:lnTo>
                  <a:pt x="114" y="90"/>
                </a:lnTo>
                <a:lnTo>
                  <a:pt x="114" y="90"/>
                </a:lnTo>
                <a:lnTo>
                  <a:pt x="114" y="90"/>
                </a:lnTo>
                <a:lnTo>
                  <a:pt x="114" y="96"/>
                </a:lnTo>
                <a:lnTo>
                  <a:pt x="114" y="96"/>
                </a:lnTo>
                <a:lnTo>
                  <a:pt x="114" y="96"/>
                </a:lnTo>
                <a:lnTo>
                  <a:pt x="114" y="96"/>
                </a:lnTo>
                <a:lnTo>
                  <a:pt x="114" y="96"/>
                </a:lnTo>
                <a:lnTo>
                  <a:pt x="114" y="96"/>
                </a:lnTo>
                <a:lnTo>
                  <a:pt x="114" y="96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8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2" y="114"/>
                </a:lnTo>
                <a:lnTo>
                  <a:pt x="102" y="114"/>
                </a:lnTo>
                <a:lnTo>
                  <a:pt x="96" y="114"/>
                </a:lnTo>
                <a:lnTo>
                  <a:pt x="96" y="114"/>
                </a:lnTo>
                <a:lnTo>
                  <a:pt x="90" y="114"/>
                </a:lnTo>
                <a:lnTo>
                  <a:pt x="90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0" y="108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96"/>
                </a:lnTo>
                <a:lnTo>
                  <a:pt x="48" y="102"/>
                </a:lnTo>
                <a:lnTo>
                  <a:pt x="48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0" y="108"/>
                </a:lnTo>
                <a:lnTo>
                  <a:pt x="30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2"/>
                </a:lnTo>
                <a:lnTo>
                  <a:pt x="24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0"/>
                </a:lnTo>
                <a:lnTo>
                  <a:pt x="12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84"/>
                </a:lnTo>
                <a:lnTo>
                  <a:pt x="6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2"/>
                </a:lnTo>
                <a:lnTo>
                  <a:pt x="0" y="7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89" name="Freeform 422"/>
          <p:cNvSpPr>
            <a:spLocks/>
          </p:cNvSpPr>
          <p:nvPr/>
        </p:nvSpPr>
        <p:spPr bwMode="auto">
          <a:xfrm>
            <a:off x="6466411" y="4681052"/>
            <a:ext cx="160601" cy="147754"/>
          </a:xfrm>
          <a:custGeom>
            <a:avLst/>
            <a:gdLst>
              <a:gd name="T0" fmla="*/ 6 w 150"/>
              <a:gd name="T1" fmla="*/ 30 h 138"/>
              <a:gd name="T2" fmla="*/ 12 w 150"/>
              <a:gd name="T3" fmla="*/ 42 h 138"/>
              <a:gd name="T4" fmla="*/ 24 w 150"/>
              <a:gd name="T5" fmla="*/ 42 h 138"/>
              <a:gd name="T6" fmla="*/ 30 w 150"/>
              <a:gd name="T7" fmla="*/ 36 h 138"/>
              <a:gd name="T8" fmla="*/ 42 w 150"/>
              <a:gd name="T9" fmla="*/ 36 h 138"/>
              <a:gd name="T10" fmla="*/ 48 w 150"/>
              <a:gd name="T11" fmla="*/ 36 h 138"/>
              <a:gd name="T12" fmla="*/ 48 w 150"/>
              <a:gd name="T13" fmla="*/ 30 h 138"/>
              <a:gd name="T14" fmla="*/ 54 w 150"/>
              <a:gd name="T15" fmla="*/ 24 h 138"/>
              <a:gd name="T16" fmla="*/ 60 w 150"/>
              <a:gd name="T17" fmla="*/ 18 h 138"/>
              <a:gd name="T18" fmla="*/ 66 w 150"/>
              <a:gd name="T19" fmla="*/ 18 h 138"/>
              <a:gd name="T20" fmla="*/ 78 w 150"/>
              <a:gd name="T21" fmla="*/ 12 h 138"/>
              <a:gd name="T22" fmla="*/ 84 w 150"/>
              <a:gd name="T23" fmla="*/ 12 h 138"/>
              <a:gd name="T24" fmla="*/ 90 w 150"/>
              <a:gd name="T25" fmla="*/ 6 h 138"/>
              <a:gd name="T26" fmla="*/ 96 w 150"/>
              <a:gd name="T27" fmla="*/ 6 h 138"/>
              <a:gd name="T28" fmla="*/ 102 w 150"/>
              <a:gd name="T29" fmla="*/ 0 h 138"/>
              <a:gd name="T30" fmla="*/ 102 w 150"/>
              <a:gd name="T31" fmla="*/ 12 h 138"/>
              <a:gd name="T32" fmla="*/ 96 w 150"/>
              <a:gd name="T33" fmla="*/ 18 h 138"/>
              <a:gd name="T34" fmla="*/ 96 w 150"/>
              <a:gd name="T35" fmla="*/ 30 h 138"/>
              <a:gd name="T36" fmla="*/ 108 w 150"/>
              <a:gd name="T37" fmla="*/ 36 h 138"/>
              <a:gd name="T38" fmla="*/ 108 w 150"/>
              <a:gd name="T39" fmla="*/ 48 h 138"/>
              <a:gd name="T40" fmla="*/ 120 w 150"/>
              <a:gd name="T41" fmla="*/ 42 h 138"/>
              <a:gd name="T42" fmla="*/ 126 w 150"/>
              <a:gd name="T43" fmla="*/ 42 h 138"/>
              <a:gd name="T44" fmla="*/ 138 w 150"/>
              <a:gd name="T45" fmla="*/ 42 h 138"/>
              <a:gd name="T46" fmla="*/ 144 w 150"/>
              <a:gd name="T47" fmla="*/ 42 h 138"/>
              <a:gd name="T48" fmla="*/ 144 w 150"/>
              <a:gd name="T49" fmla="*/ 48 h 138"/>
              <a:gd name="T50" fmla="*/ 144 w 150"/>
              <a:gd name="T51" fmla="*/ 54 h 138"/>
              <a:gd name="T52" fmla="*/ 144 w 150"/>
              <a:gd name="T53" fmla="*/ 60 h 138"/>
              <a:gd name="T54" fmla="*/ 132 w 150"/>
              <a:gd name="T55" fmla="*/ 78 h 138"/>
              <a:gd name="T56" fmla="*/ 120 w 150"/>
              <a:gd name="T57" fmla="*/ 78 h 138"/>
              <a:gd name="T58" fmla="*/ 114 w 150"/>
              <a:gd name="T59" fmla="*/ 84 h 138"/>
              <a:gd name="T60" fmla="*/ 108 w 150"/>
              <a:gd name="T61" fmla="*/ 78 h 138"/>
              <a:gd name="T62" fmla="*/ 90 w 150"/>
              <a:gd name="T63" fmla="*/ 78 h 138"/>
              <a:gd name="T64" fmla="*/ 84 w 150"/>
              <a:gd name="T65" fmla="*/ 78 h 138"/>
              <a:gd name="T66" fmla="*/ 78 w 150"/>
              <a:gd name="T67" fmla="*/ 84 h 138"/>
              <a:gd name="T68" fmla="*/ 66 w 150"/>
              <a:gd name="T69" fmla="*/ 90 h 138"/>
              <a:gd name="T70" fmla="*/ 60 w 150"/>
              <a:gd name="T71" fmla="*/ 96 h 138"/>
              <a:gd name="T72" fmla="*/ 66 w 150"/>
              <a:gd name="T73" fmla="*/ 102 h 138"/>
              <a:gd name="T74" fmla="*/ 66 w 150"/>
              <a:gd name="T75" fmla="*/ 108 h 138"/>
              <a:gd name="T76" fmla="*/ 66 w 150"/>
              <a:gd name="T77" fmla="*/ 114 h 138"/>
              <a:gd name="T78" fmla="*/ 72 w 150"/>
              <a:gd name="T79" fmla="*/ 120 h 138"/>
              <a:gd name="T80" fmla="*/ 60 w 150"/>
              <a:gd name="T81" fmla="*/ 126 h 138"/>
              <a:gd name="T82" fmla="*/ 54 w 150"/>
              <a:gd name="T83" fmla="*/ 126 h 138"/>
              <a:gd name="T84" fmla="*/ 48 w 150"/>
              <a:gd name="T85" fmla="*/ 138 h 138"/>
              <a:gd name="T86" fmla="*/ 36 w 150"/>
              <a:gd name="T87" fmla="*/ 126 h 138"/>
              <a:gd name="T88" fmla="*/ 30 w 150"/>
              <a:gd name="T89" fmla="*/ 108 h 138"/>
              <a:gd name="T90" fmla="*/ 30 w 150"/>
              <a:gd name="T91" fmla="*/ 102 h 138"/>
              <a:gd name="T92" fmla="*/ 30 w 150"/>
              <a:gd name="T93" fmla="*/ 96 h 138"/>
              <a:gd name="T94" fmla="*/ 24 w 150"/>
              <a:gd name="T95" fmla="*/ 90 h 138"/>
              <a:gd name="T96" fmla="*/ 24 w 150"/>
              <a:gd name="T97" fmla="*/ 84 h 138"/>
              <a:gd name="T98" fmla="*/ 24 w 150"/>
              <a:gd name="T99" fmla="*/ 84 h 138"/>
              <a:gd name="T100" fmla="*/ 18 w 150"/>
              <a:gd name="T101" fmla="*/ 84 h 138"/>
              <a:gd name="T102" fmla="*/ 18 w 150"/>
              <a:gd name="T103" fmla="*/ 78 h 138"/>
              <a:gd name="T104" fmla="*/ 12 w 150"/>
              <a:gd name="T105" fmla="*/ 78 h 138"/>
              <a:gd name="T106" fmla="*/ 6 w 150"/>
              <a:gd name="T107" fmla="*/ 78 h 138"/>
              <a:gd name="T108" fmla="*/ 0 w 150"/>
              <a:gd name="T109" fmla="*/ 78 h 138"/>
              <a:gd name="T110" fmla="*/ 0 w 150"/>
              <a:gd name="T111" fmla="*/ 72 h 138"/>
              <a:gd name="T112" fmla="*/ 6 w 150"/>
              <a:gd name="T113" fmla="*/ 48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50" h="138">
                <a:moveTo>
                  <a:pt x="0" y="42"/>
                </a:moveTo>
                <a:lnTo>
                  <a:pt x="0" y="42"/>
                </a:lnTo>
                <a:lnTo>
                  <a:pt x="6" y="42"/>
                </a:lnTo>
                <a:lnTo>
                  <a:pt x="6" y="42"/>
                </a:lnTo>
                <a:lnTo>
                  <a:pt x="0" y="42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6" y="36"/>
                </a:lnTo>
                <a:lnTo>
                  <a:pt x="6" y="36"/>
                </a:lnTo>
                <a:lnTo>
                  <a:pt x="6" y="42"/>
                </a:lnTo>
                <a:lnTo>
                  <a:pt x="6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36"/>
                </a:lnTo>
                <a:lnTo>
                  <a:pt x="30" y="42"/>
                </a:lnTo>
                <a:lnTo>
                  <a:pt x="30" y="36"/>
                </a:lnTo>
                <a:lnTo>
                  <a:pt x="30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8" y="36"/>
                </a:lnTo>
                <a:lnTo>
                  <a:pt x="42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60" y="18"/>
                </a:lnTo>
                <a:lnTo>
                  <a:pt x="60" y="18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2"/>
                </a:lnTo>
                <a:lnTo>
                  <a:pt x="66" y="12"/>
                </a:lnTo>
                <a:lnTo>
                  <a:pt x="66" y="18"/>
                </a:lnTo>
                <a:lnTo>
                  <a:pt x="66" y="18"/>
                </a:lnTo>
                <a:lnTo>
                  <a:pt x="72" y="18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8" y="12"/>
                </a:lnTo>
                <a:lnTo>
                  <a:pt x="72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6"/>
                </a:lnTo>
                <a:lnTo>
                  <a:pt x="108" y="6"/>
                </a:lnTo>
                <a:lnTo>
                  <a:pt x="108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8"/>
                </a:lnTo>
                <a:lnTo>
                  <a:pt x="102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102" y="36"/>
                </a:lnTo>
                <a:lnTo>
                  <a:pt x="102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36"/>
                </a:lnTo>
                <a:lnTo>
                  <a:pt x="138" y="36"/>
                </a:lnTo>
                <a:lnTo>
                  <a:pt x="138" y="42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44" y="48"/>
                </a:lnTo>
                <a:lnTo>
                  <a:pt x="144" y="54"/>
                </a:lnTo>
                <a:lnTo>
                  <a:pt x="150" y="54"/>
                </a:lnTo>
                <a:lnTo>
                  <a:pt x="144" y="54"/>
                </a:lnTo>
                <a:lnTo>
                  <a:pt x="144" y="54"/>
                </a:lnTo>
                <a:lnTo>
                  <a:pt x="144" y="54"/>
                </a:lnTo>
                <a:lnTo>
                  <a:pt x="144" y="54"/>
                </a:lnTo>
                <a:lnTo>
                  <a:pt x="144" y="60"/>
                </a:lnTo>
                <a:lnTo>
                  <a:pt x="144" y="60"/>
                </a:lnTo>
                <a:lnTo>
                  <a:pt x="144" y="60"/>
                </a:lnTo>
                <a:lnTo>
                  <a:pt x="144" y="60"/>
                </a:lnTo>
                <a:lnTo>
                  <a:pt x="138" y="60"/>
                </a:lnTo>
                <a:lnTo>
                  <a:pt x="138" y="66"/>
                </a:lnTo>
                <a:lnTo>
                  <a:pt x="138" y="66"/>
                </a:lnTo>
                <a:lnTo>
                  <a:pt x="138" y="66"/>
                </a:lnTo>
                <a:lnTo>
                  <a:pt x="138" y="66"/>
                </a:lnTo>
                <a:lnTo>
                  <a:pt x="132" y="72"/>
                </a:lnTo>
                <a:lnTo>
                  <a:pt x="138" y="72"/>
                </a:lnTo>
                <a:lnTo>
                  <a:pt x="138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72"/>
                </a:lnTo>
                <a:lnTo>
                  <a:pt x="132" y="72"/>
                </a:lnTo>
                <a:lnTo>
                  <a:pt x="126" y="72"/>
                </a:lnTo>
                <a:lnTo>
                  <a:pt x="126" y="72"/>
                </a:lnTo>
                <a:lnTo>
                  <a:pt x="126" y="72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84"/>
                </a:lnTo>
                <a:lnTo>
                  <a:pt x="114" y="84"/>
                </a:lnTo>
                <a:lnTo>
                  <a:pt x="108" y="78"/>
                </a:lnTo>
                <a:lnTo>
                  <a:pt x="108" y="78"/>
                </a:lnTo>
                <a:lnTo>
                  <a:pt x="108" y="72"/>
                </a:lnTo>
                <a:lnTo>
                  <a:pt x="108" y="72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2"/>
                </a:lnTo>
                <a:lnTo>
                  <a:pt x="102" y="72"/>
                </a:lnTo>
                <a:lnTo>
                  <a:pt x="96" y="72"/>
                </a:lnTo>
                <a:lnTo>
                  <a:pt x="90" y="78"/>
                </a:lnTo>
                <a:lnTo>
                  <a:pt x="90" y="78"/>
                </a:lnTo>
                <a:lnTo>
                  <a:pt x="90" y="72"/>
                </a:lnTo>
                <a:lnTo>
                  <a:pt x="90" y="72"/>
                </a:lnTo>
                <a:lnTo>
                  <a:pt x="90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6"/>
                </a:lnTo>
                <a:lnTo>
                  <a:pt x="66" y="96"/>
                </a:lnTo>
                <a:lnTo>
                  <a:pt x="60" y="96"/>
                </a:lnTo>
                <a:lnTo>
                  <a:pt x="66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102"/>
                </a:lnTo>
                <a:lnTo>
                  <a:pt x="66" y="102"/>
                </a:lnTo>
                <a:lnTo>
                  <a:pt x="60" y="102"/>
                </a:lnTo>
                <a:lnTo>
                  <a:pt x="60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66" y="120"/>
                </a:lnTo>
                <a:lnTo>
                  <a:pt x="72" y="126"/>
                </a:lnTo>
                <a:lnTo>
                  <a:pt x="66" y="126"/>
                </a:lnTo>
                <a:lnTo>
                  <a:pt x="66" y="126"/>
                </a:lnTo>
                <a:lnTo>
                  <a:pt x="66" y="126"/>
                </a:lnTo>
                <a:lnTo>
                  <a:pt x="66" y="126"/>
                </a:lnTo>
                <a:lnTo>
                  <a:pt x="66" y="126"/>
                </a:lnTo>
                <a:lnTo>
                  <a:pt x="60" y="126"/>
                </a:lnTo>
                <a:lnTo>
                  <a:pt x="66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54" y="132"/>
                </a:lnTo>
                <a:lnTo>
                  <a:pt x="54" y="126"/>
                </a:lnTo>
                <a:lnTo>
                  <a:pt x="54" y="126"/>
                </a:lnTo>
                <a:lnTo>
                  <a:pt x="54" y="126"/>
                </a:lnTo>
                <a:lnTo>
                  <a:pt x="54" y="126"/>
                </a:lnTo>
                <a:lnTo>
                  <a:pt x="54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8"/>
                </a:lnTo>
                <a:lnTo>
                  <a:pt x="48" y="138"/>
                </a:lnTo>
                <a:lnTo>
                  <a:pt x="48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26"/>
                </a:lnTo>
                <a:lnTo>
                  <a:pt x="42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0"/>
                </a:lnTo>
                <a:lnTo>
                  <a:pt x="36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96"/>
                </a:lnTo>
                <a:lnTo>
                  <a:pt x="30" y="102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18" y="84"/>
                </a:lnTo>
                <a:lnTo>
                  <a:pt x="18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78"/>
                </a:lnTo>
                <a:lnTo>
                  <a:pt x="24" y="84"/>
                </a:lnTo>
                <a:lnTo>
                  <a:pt x="18" y="78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78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2" y="78"/>
                </a:lnTo>
                <a:lnTo>
                  <a:pt x="18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6" y="78"/>
                </a:lnTo>
                <a:lnTo>
                  <a:pt x="12" y="78"/>
                </a:lnTo>
                <a:lnTo>
                  <a:pt x="6" y="78"/>
                </a:lnTo>
                <a:lnTo>
                  <a:pt x="12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0" y="48"/>
                </a:lnTo>
                <a:lnTo>
                  <a:pt x="0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0" y="4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90" name="Freeform 423"/>
          <p:cNvSpPr>
            <a:spLocks/>
          </p:cNvSpPr>
          <p:nvPr/>
        </p:nvSpPr>
        <p:spPr bwMode="auto">
          <a:xfrm>
            <a:off x="6337930" y="4514026"/>
            <a:ext cx="179873" cy="83513"/>
          </a:xfrm>
          <a:custGeom>
            <a:avLst/>
            <a:gdLst>
              <a:gd name="T0" fmla="*/ 6 w 168"/>
              <a:gd name="T1" fmla="*/ 60 h 78"/>
              <a:gd name="T2" fmla="*/ 12 w 168"/>
              <a:gd name="T3" fmla="*/ 54 h 78"/>
              <a:gd name="T4" fmla="*/ 18 w 168"/>
              <a:gd name="T5" fmla="*/ 42 h 78"/>
              <a:gd name="T6" fmla="*/ 24 w 168"/>
              <a:gd name="T7" fmla="*/ 36 h 78"/>
              <a:gd name="T8" fmla="*/ 30 w 168"/>
              <a:gd name="T9" fmla="*/ 36 h 78"/>
              <a:gd name="T10" fmla="*/ 30 w 168"/>
              <a:gd name="T11" fmla="*/ 30 h 78"/>
              <a:gd name="T12" fmla="*/ 36 w 168"/>
              <a:gd name="T13" fmla="*/ 30 h 78"/>
              <a:gd name="T14" fmla="*/ 42 w 168"/>
              <a:gd name="T15" fmla="*/ 30 h 78"/>
              <a:gd name="T16" fmla="*/ 48 w 168"/>
              <a:gd name="T17" fmla="*/ 24 h 78"/>
              <a:gd name="T18" fmla="*/ 54 w 168"/>
              <a:gd name="T19" fmla="*/ 24 h 78"/>
              <a:gd name="T20" fmla="*/ 60 w 168"/>
              <a:gd name="T21" fmla="*/ 18 h 78"/>
              <a:gd name="T22" fmla="*/ 72 w 168"/>
              <a:gd name="T23" fmla="*/ 18 h 78"/>
              <a:gd name="T24" fmla="*/ 78 w 168"/>
              <a:gd name="T25" fmla="*/ 12 h 78"/>
              <a:gd name="T26" fmla="*/ 84 w 168"/>
              <a:gd name="T27" fmla="*/ 12 h 78"/>
              <a:gd name="T28" fmla="*/ 90 w 168"/>
              <a:gd name="T29" fmla="*/ 18 h 78"/>
              <a:gd name="T30" fmla="*/ 102 w 168"/>
              <a:gd name="T31" fmla="*/ 18 h 78"/>
              <a:gd name="T32" fmla="*/ 108 w 168"/>
              <a:gd name="T33" fmla="*/ 12 h 78"/>
              <a:gd name="T34" fmla="*/ 108 w 168"/>
              <a:gd name="T35" fmla="*/ 6 h 78"/>
              <a:gd name="T36" fmla="*/ 108 w 168"/>
              <a:gd name="T37" fmla="*/ 6 h 78"/>
              <a:gd name="T38" fmla="*/ 114 w 168"/>
              <a:gd name="T39" fmla="*/ 0 h 78"/>
              <a:gd name="T40" fmla="*/ 114 w 168"/>
              <a:gd name="T41" fmla="*/ 0 h 78"/>
              <a:gd name="T42" fmla="*/ 120 w 168"/>
              <a:gd name="T43" fmla="*/ 6 h 78"/>
              <a:gd name="T44" fmla="*/ 120 w 168"/>
              <a:gd name="T45" fmla="*/ 12 h 78"/>
              <a:gd name="T46" fmla="*/ 132 w 168"/>
              <a:gd name="T47" fmla="*/ 18 h 78"/>
              <a:gd name="T48" fmla="*/ 144 w 168"/>
              <a:gd name="T49" fmla="*/ 12 h 78"/>
              <a:gd name="T50" fmla="*/ 150 w 168"/>
              <a:gd name="T51" fmla="*/ 12 h 78"/>
              <a:gd name="T52" fmla="*/ 162 w 168"/>
              <a:gd name="T53" fmla="*/ 12 h 78"/>
              <a:gd name="T54" fmla="*/ 156 w 168"/>
              <a:gd name="T55" fmla="*/ 18 h 78"/>
              <a:gd name="T56" fmla="*/ 162 w 168"/>
              <a:gd name="T57" fmla="*/ 30 h 78"/>
              <a:gd name="T58" fmla="*/ 168 w 168"/>
              <a:gd name="T59" fmla="*/ 36 h 78"/>
              <a:gd name="T60" fmla="*/ 162 w 168"/>
              <a:gd name="T61" fmla="*/ 48 h 78"/>
              <a:gd name="T62" fmla="*/ 156 w 168"/>
              <a:gd name="T63" fmla="*/ 48 h 78"/>
              <a:gd name="T64" fmla="*/ 156 w 168"/>
              <a:gd name="T65" fmla="*/ 54 h 78"/>
              <a:gd name="T66" fmla="*/ 150 w 168"/>
              <a:gd name="T67" fmla="*/ 60 h 78"/>
              <a:gd name="T68" fmla="*/ 144 w 168"/>
              <a:gd name="T69" fmla="*/ 66 h 78"/>
              <a:gd name="T70" fmla="*/ 138 w 168"/>
              <a:gd name="T71" fmla="*/ 72 h 78"/>
              <a:gd name="T72" fmla="*/ 120 w 168"/>
              <a:gd name="T73" fmla="*/ 72 h 78"/>
              <a:gd name="T74" fmla="*/ 114 w 168"/>
              <a:gd name="T75" fmla="*/ 72 h 78"/>
              <a:gd name="T76" fmla="*/ 102 w 168"/>
              <a:gd name="T77" fmla="*/ 66 h 78"/>
              <a:gd name="T78" fmla="*/ 102 w 168"/>
              <a:gd name="T79" fmla="*/ 72 h 78"/>
              <a:gd name="T80" fmla="*/ 96 w 168"/>
              <a:gd name="T81" fmla="*/ 72 h 78"/>
              <a:gd name="T82" fmla="*/ 90 w 168"/>
              <a:gd name="T83" fmla="*/ 72 h 78"/>
              <a:gd name="T84" fmla="*/ 84 w 168"/>
              <a:gd name="T85" fmla="*/ 72 h 78"/>
              <a:gd name="T86" fmla="*/ 78 w 168"/>
              <a:gd name="T87" fmla="*/ 66 h 78"/>
              <a:gd name="T88" fmla="*/ 78 w 168"/>
              <a:gd name="T89" fmla="*/ 66 h 78"/>
              <a:gd name="T90" fmla="*/ 72 w 168"/>
              <a:gd name="T91" fmla="*/ 66 h 78"/>
              <a:gd name="T92" fmla="*/ 66 w 168"/>
              <a:gd name="T93" fmla="*/ 66 h 78"/>
              <a:gd name="T94" fmla="*/ 60 w 168"/>
              <a:gd name="T95" fmla="*/ 66 h 78"/>
              <a:gd name="T96" fmla="*/ 60 w 168"/>
              <a:gd name="T97" fmla="*/ 72 h 78"/>
              <a:gd name="T98" fmla="*/ 48 w 168"/>
              <a:gd name="T99" fmla="*/ 66 h 78"/>
              <a:gd name="T100" fmla="*/ 48 w 168"/>
              <a:gd name="T101" fmla="*/ 72 h 78"/>
              <a:gd name="T102" fmla="*/ 42 w 168"/>
              <a:gd name="T103" fmla="*/ 72 h 78"/>
              <a:gd name="T104" fmla="*/ 42 w 168"/>
              <a:gd name="T105" fmla="*/ 78 h 78"/>
              <a:gd name="T106" fmla="*/ 36 w 168"/>
              <a:gd name="T107" fmla="*/ 72 h 78"/>
              <a:gd name="T108" fmla="*/ 24 w 168"/>
              <a:gd name="T109" fmla="*/ 72 h 78"/>
              <a:gd name="T110" fmla="*/ 24 w 168"/>
              <a:gd name="T111" fmla="*/ 72 h 78"/>
              <a:gd name="T112" fmla="*/ 12 w 168"/>
              <a:gd name="T113" fmla="*/ 72 h 78"/>
              <a:gd name="T114" fmla="*/ 12 w 168"/>
              <a:gd name="T115" fmla="*/ 60 h 78"/>
              <a:gd name="T116" fmla="*/ 0 w 168"/>
              <a:gd name="T117" fmla="*/ 66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68" h="78">
                <a:moveTo>
                  <a:pt x="6" y="60"/>
                </a:move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8" y="48"/>
                </a:lnTo>
                <a:lnTo>
                  <a:pt x="18" y="48"/>
                </a:lnTo>
                <a:lnTo>
                  <a:pt x="18" y="54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6" y="36"/>
                </a:lnTo>
                <a:lnTo>
                  <a:pt x="36" y="36"/>
                </a:lnTo>
                <a:lnTo>
                  <a:pt x="30" y="36"/>
                </a:lnTo>
                <a:lnTo>
                  <a:pt x="30" y="36"/>
                </a:lnTo>
                <a:lnTo>
                  <a:pt x="36" y="36"/>
                </a:lnTo>
                <a:lnTo>
                  <a:pt x="36" y="36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6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60" y="24"/>
                </a:lnTo>
                <a:lnTo>
                  <a:pt x="60" y="24"/>
                </a:lnTo>
                <a:lnTo>
                  <a:pt x="60" y="18"/>
                </a:lnTo>
                <a:lnTo>
                  <a:pt x="60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24"/>
                </a:lnTo>
                <a:lnTo>
                  <a:pt x="66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2"/>
                </a:lnTo>
                <a:lnTo>
                  <a:pt x="108" y="12"/>
                </a:lnTo>
                <a:lnTo>
                  <a:pt x="102" y="12"/>
                </a:lnTo>
                <a:lnTo>
                  <a:pt x="108" y="12"/>
                </a:lnTo>
                <a:lnTo>
                  <a:pt x="108" y="12"/>
                </a:lnTo>
                <a:lnTo>
                  <a:pt x="102" y="12"/>
                </a:lnTo>
                <a:lnTo>
                  <a:pt x="108" y="12"/>
                </a:lnTo>
                <a:lnTo>
                  <a:pt x="102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12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0"/>
                </a:lnTo>
                <a:lnTo>
                  <a:pt x="108" y="0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0"/>
                </a:lnTo>
                <a:lnTo>
                  <a:pt x="114" y="0"/>
                </a:lnTo>
                <a:lnTo>
                  <a:pt x="108" y="0"/>
                </a:lnTo>
                <a:lnTo>
                  <a:pt x="108" y="0"/>
                </a:lnTo>
                <a:lnTo>
                  <a:pt x="114" y="0"/>
                </a:lnTo>
                <a:lnTo>
                  <a:pt x="114" y="0"/>
                </a:lnTo>
                <a:lnTo>
                  <a:pt x="114" y="0"/>
                </a:lnTo>
                <a:lnTo>
                  <a:pt x="114" y="0"/>
                </a:lnTo>
                <a:lnTo>
                  <a:pt x="114" y="0"/>
                </a:lnTo>
                <a:lnTo>
                  <a:pt x="114" y="0"/>
                </a:lnTo>
                <a:lnTo>
                  <a:pt x="114" y="0"/>
                </a:lnTo>
                <a:lnTo>
                  <a:pt x="114" y="0"/>
                </a:lnTo>
                <a:lnTo>
                  <a:pt x="114" y="0"/>
                </a:lnTo>
                <a:lnTo>
                  <a:pt x="114" y="0"/>
                </a:lnTo>
                <a:lnTo>
                  <a:pt x="114" y="0"/>
                </a:lnTo>
                <a:lnTo>
                  <a:pt x="114" y="0"/>
                </a:lnTo>
                <a:lnTo>
                  <a:pt x="114" y="0"/>
                </a:lnTo>
                <a:lnTo>
                  <a:pt x="114" y="0"/>
                </a:lnTo>
                <a:lnTo>
                  <a:pt x="114" y="0"/>
                </a:lnTo>
                <a:lnTo>
                  <a:pt x="114" y="0"/>
                </a:lnTo>
                <a:lnTo>
                  <a:pt x="114" y="0"/>
                </a:lnTo>
                <a:lnTo>
                  <a:pt x="114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6" y="12"/>
                </a:lnTo>
                <a:lnTo>
                  <a:pt x="120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2"/>
                </a:lnTo>
                <a:lnTo>
                  <a:pt x="132" y="18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62" y="12"/>
                </a:lnTo>
                <a:lnTo>
                  <a:pt x="162" y="12"/>
                </a:lnTo>
                <a:lnTo>
                  <a:pt x="156" y="12"/>
                </a:lnTo>
                <a:lnTo>
                  <a:pt x="156" y="12"/>
                </a:lnTo>
                <a:lnTo>
                  <a:pt x="162" y="12"/>
                </a:lnTo>
                <a:lnTo>
                  <a:pt x="162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24"/>
                </a:lnTo>
                <a:lnTo>
                  <a:pt x="156" y="24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30"/>
                </a:lnTo>
                <a:lnTo>
                  <a:pt x="162" y="30"/>
                </a:lnTo>
                <a:lnTo>
                  <a:pt x="162" y="30"/>
                </a:lnTo>
                <a:lnTo>
                  <a:pt x="162" y="30"/>
                </a:lnTo>
                <a:lnTo>
                  <a:pt x="162" y="30"/>
                </a:lnTo>
                <a:lnTo>
                  <a:pt x="162" y="30"/>
                </a:lnTo>
                <a:lnTo>
                  <a:pt x="162" y="30"/>
                </a:lnTo>
                <a:lnTo>
                  <a:pt x="162" y="30"/>
                </a:lnTo>
                <a:lnTo>
                  <a:pt x="168" y="36"/>
                </a:lnTo>
                <a:lnTo>
                  <a:pt x="162" y="36"/>
                </a:lnTo>
                <a:lnTo>
                  <a:pt x="168" y="36"/>
                </a:lnTo>
                <a:lnTo>
                  <a:pt x="168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56" y="48"/>
                </a:lnTo>
                <a:lnTo>
                  <a:pt x="156" y="48"/>
                </a:lnTo>
                <a:lnTo>
                  <a:pt x="162" y="48"/>
                </a:lnTo>
                <a:lnTo>
                  <a:pt x="162" y="54"/>
                </a:lnTo>
                <a:lnTo>
                  <a:pt x="162" y="54"/>
                </a:lnTo>
                <a:lnTo>
                  <a:pt x="162" y="54"/>
                </a:lnTo>
                <a:lnTo>
                  <a:pt x="162" y="54"/>
                </a:lnTo>
                <a:lnTo>
                  <a:pt x="162" y="54"/>
                </a:lnTo>
                <a:lnTo>
                  <a:pt x="162" y="54"/>
                </a:lnTo>
                <a:lnTo>
                  <a:pt x="162" y="54"/>
                </a:lnTo>
                <a:lnTo>
                  <a:pt x="162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60"/>
                </a:lnTo>
                <a:lnTo>
                  <a:pt x="156" y="60"/>
                </a:lnTo>
                <a:lnTo>
                  <a:pt x="156" y="60"/>
                </a:lnTo>
                <a:lnTo>
                  <a:pt x="156" y="60"/>
                </a:lnTo>
                <a:lnTo>
                  <a:pt x="150" y="60"/>
                </a:lnTo>
                <a:lnTo>
                  <a:pt x="150" y="60"/>
                </a:lnTo>
                <a:lnTo>
                  <a:pt x="156" y="60"/>
                </a:lnTo>
                <a:lnTo>
                  <a:pt x="156" y="66"/>
                </a:lnTo>
                <a:lnTo>
                  <a:pt x="150" y="66"/>
                </a:lnTo>
                <a:lnTo>
                  <a:pt x="150" y="60"/>
                </a:lnTo>
                <a:lnTo>
                  <a:pt x="150" y="60"/>
                </a:lnTo>
                <a:lnTo>
                  <a:pt x="150" y="66"/>
                </a:lnTo>
                <a:lnTo>
                  <a:pt x="150" y="60"/>
                </a:lnTo>
                <a:lnTo>
                  <a:pt x="150" y="66"/>
                </a:lnTo>
                <a:lnTo>
                  <a:pt x="150" y="66"/>
                </a:lnTo>
                <a:lnTo>
                  <a:pt x="144" y="66"/>
                </a:lnTo>
                <a:lnTo>
                  <a:pt x="144" y="66"/>
                </a:lnTo>
                <a:lnTo>
                  <a:pt x="144" y="66"/>
                </a:lnTo>
                <a:lnTo>
                  <a:pt x="144" y="66"/>
                </a:lnTo>
                <a:lnTo>
                  <a:pt x="144" y="66"/>
                </a:lnTo>
                <a:lnTo>
                  <a:pt x="144" y="66"/>
                </a:lnTo>
                <a:lnTo>
                  <a:pt x="144" y="66"/>
                </a:lnTo>
                <a:lnTo>
                  <a:pt x="144" y="66"/>
                </a:lnTo>
                <a:lnTo>
                  <a:pt x="138" y="66"/>
                </a:lnTo>
                <a:lnTo>
                  <a:pt x="138" y="66"/>
                </a:lnTo>
                <a:lnTo>
                  <a:pt x="138" y="66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08" y="66"/>
                </a:lnTo>
                <a:lnTo>
                  <a:pt x="108" y="66"/>
                </a:lnTo>
                <a:lnTo>
                  <a:pt x="108" y="72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72"/>
                </a:lnTo>
                <a:lnTo>
                  <a:pt x="102" y="72"/>
                </a:lnTo>
                <a:lnTo>
                  <a:pt x="102" y="66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0" y="72"/>
                </a:lnTo>
                <a:lnTo>
                  <a:pt x="96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72"/>
                </a:lnTo>
                <a:lnTo>
                  <a:pt x="90" y="72"/>
                </a:lnTo>
                <a:lnTo>
                  <a:pt x="84" y="66"/>
                </a:lnTo>
                <a:lnTo>
                  <a:pt x="84" y="72"/>
                </a:lnTo>
                <a:lnTo>
                  <a:pt x="84" y="66"/>
                </a:lnTo>
                <a:lnTo>
                  <a:pt x="84" y="72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66" y="66"/>
                </a:lnTo>
                <a:lnTo>
                  <a:pt x="72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0" y="66"/>
                </a:lnTo>
                <a:lnTo>
                  <a:pt x="60" y="66"/>
                </a:lnTo>
                <a:lnTo>
                  <a:pt x="66" y="66"/>
                </a:lnTo>
                <a:lnTo>
                  <a:pt x="66" y="72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54" y="66"/>
                </a:lnTo>
                <a:lnTo>
                  <a:pt x="60" y="66"/>
                </a:lnTo>
                <a:lnTo>
                  <a:pt x="54" y="66"/>
                </a:lnTo>
                <a:lnTo>
                  <a:pt x="54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66"/>
                </a:lnTo>
                <a:lnTo>
                  <a:pt x="54" y="72"/>
                </a:lnTo>
                <a:lnTo>
                  <a:pt x="54" y="72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2" y="72"/>
                </a:lnTo>
                <a:lnTo>
                  <a:pt x="42" y="72"/>
                </a:lnTo>
                <a:lnTo>
                  <a:pt x="48" y="72"/>
                </a:lnTo>
                <a:lnTo>
                  <a:pt x="42" y="72"/>
                </a:lnTo>
                <a:lnTo>
                  <a:pt x="48" y="72"/>
                </a:lnTo>
                <a:lnTo>
                  <a:pt x="42" y="72"/>
                </a:lnTo>
                <a:lnTo>
                  <a:pt x="42" y="78"/>
                </a:lnTo>
                <a:lnTo>
                  <a:pt x="42" y="78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36" y="78"/>
                </a:lnTo>
                <a:lnTo>
                  <a:pt x="36" y="78"/>
                </a:lnTo>
                <a:lnTo>
                  <a:pt x="42" y="78"/>
                </a:lnTo>
                <a:lnTo>
                  <a:pt x="36" y="78"/>
                </a:lnTo>
                <a:lnTo>
                  <a:pt x="36" y="78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0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18" y="72"/>
                </a:lnTo>
                <a:lnTo>
                  <a:pt x="18" y="72"/>
                </a:lnTo>
                <a:lnTo>
                  <a:pt x="24" y="72"/>
                </a:lnTo>
                <a:lnTo>
                  <a:pt x="24" y="78"/>
                </a:lnTo>
                <a:lnTo>
                  <a:pt x="18" y="78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8" y="72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6" y="60"/>
                </a:lnTo>
                <a:lnTo>
                  <a:pt x="6" y="60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0" y="66"/>
                </a:lnTo>
                <a:lnTo>
                  <a:pt x="6" y="60"/>
                </a:lnTo>
                <a:lnTo>
                  <a:pt x="6" y="6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91" name="Freeform 424"/>
          <p:cNvSpPr>
            <a:spLocks/>
          </p:cNvSpPr>
          <p:nvPr/>
        </p:nvSpPr>
        <p:spPr bwMode="auto">
          <a:xfrm>
            <a:off x="6440715" y="4398392"/>
            <a:ext cx="122057" cy="70665"/>
          </a:xfrm>
          <a:custGeom>
            <a:avLst/>
            <a:gdLst>
              <a:gd name="T0" fmla="*/ 6 w 114"/>
              <a:gd name="T1" fmla="*/ 6 h 66"/>
              <a:gd name="T2" fmla="*/ 6 w 114"/>
              <a:gd name="T3" fmla="*/ 0 h 66"/>
              <a:gd name="T4" fmla="*/ 12 w 114"/>
              <a:gd name="T5" fmla="*/ 0 h 66"/>
              <a:gd name="T6" fmla="*/ 18 w 114"/>
              <a:gd name="T7" fmla="*/ 0 h 66"/>
              <a:gd name="T8" fmla="*/ 18 w 114"/>
              <a:gd name="T9" fmla="*/ 0 h 66"/>
              <a:gd name="T10" fmla="*/ 24 w 114"/>
              <a:gd name="T11" fmla="*/ 6 h 66"/>
              <a:gd name="T12" fmla="*/ 36 w 114"/>
              <a:gd name="T13" fmla="*/ 6 h 66"/>
              <a:gd name="T14" fmla="*/ 42 w 114"/>
              <a:gd name="T15" fmla="*/ 6 h 66"/>
              <a:gd name="T16" fmla="*/ 48 w 114"/>
              <a:gd name="T17" fmla="*/ 12 h 66"/>
              <a:gd name="T18" fmla="*/ 48 w 114"/>
              <a:gd name="T19" fmla="*/ 18 h 66"/>
              <a:gd name="T20" fmla="*/ 48 w 114"/>
              <a:gd name="T21" fmla="*/ 18 h 66"/>
              <a:gd name="T22" fmla="*/ 48 w 114"/>
              <a:gd name="T23" fmla="*/ 24 h 66"/>
              <a:gd name="T24" fmla="*/ 48 w 114"/>
              <a:gd name="T25" fmla="*/ 24 h 66"/>
              <a:gd name="T26" fmla="*/ 48 w 114"/>
              <a:gd name="T27" fmla="*/ 30 h 66"/>
              <a:gd name="T28" fmla="*/ 60 w 114"/>
              <a:gd name="T29" fmla="*/ 30 h 66"/>
              <a:gd name="T30" fmla="*/ 54 w 114"/>
              <a:gd name="T31" fmla="*/ 24 h 66"/>
              <a:gd name="T32" fmla="*/ 60 w 114"/>
              <a:gd name="T33" fmla="*/ 24 h 66"/>
              <a:gd name="T34" fmla="*/ 60 w 114"/>
              <a:gd name="T35" fmla="*/ 18 h 66"/>
              <a:gd name="T36" fmla="*/ 60 w 114"/>
              <a:gd name="T37" fmla="*/ 12 h 66"/>
              <a:gd name="T38" fmla="*/ 66 w 114"/>
              <a:gd name="T39" fmla="*/ 12 h 66"/>
              <a:gd name="T40" fmla="*/ 72 w 114"/>
              <a:gd name="T41" fmla="*/ 12 h 66"/>
              <a:gd name="T42" fmla="*/ 72 w 114"/>
              <a:gd name="T43" fmla="*/ 12 h 66"/>
              <a:gd name="T44" fmla="*/ 78 w 114"/>
              <a:gd name="T45" fmla="*/ 24 h 66"/>
              <a:gd name="T46" fmla="*/ 72 w 114"/>
              <a:gd name="T47" fmla="*/ 24 h 66"/>
              <a:gd name="T48" fmla="*/ 72 w 114"/>
              <a:gd name="T49" fmla="*/ 30 h 66"/>
              <a:gd name="T50" fmla="*/ 78 w 114"/>
              <a:gd name="T51" fmla="*/ 30 h 66"/>
              <a:gd name="T52" fmla="*/ 84 w 114"/>
              <a:gd name="T53" fmla="*/ 30 h 66"/>
              <a:gd name="T54" fmla="*/ 90 w 114"/>
              <a:gd name="T55" fmla="*/ 36 h 66"/>
              <a:gd name="T56" fmla="*/ 102 w 114"/>
              <a:gd name="T57" fmla="*/ 36 h 66"/>
              <a:gd name="T58" fmla="*/ 102 w 114"/>
              <a:gd name="T59" fmla="*/ 42 h 66"/>
              <a:gd name="T60" fmla="*/ 114 w 114"/>
              <a:gd name="T61" fmla="*/ 54 h 66"/>
              <a:gd name="T62" fmla="*/ 108 w 114"/>
              <a:gd name="T63" fmla="*/ 60 h 66"/>
              <a:gd name="T64" fmla="*/ 102 w 114"/>
              <a:gd name="T65" fmla="*/ 60 h 66"/>
              <a:gd name="T66" fmla="*/ 102 w 114"/>
              <a:gd name="T67" fmla="*/ 60 h 66"/>
              <a:gd name="T68" fmla="*/ 96 w 114"/>
              <a:gd name="T69" fmla="*/ 60 h 66"/>
              <a:gd name="T70" fmla="*/ 90 w 114"/>
              <a:gd name="T71" fmla="*/ 60 h 66"/>
              <a:gd name="T72" fmla="*/ 90 w 114"/>
              <a:gd name="T73" fmla="*/ 60 h 66"/>
              <a:gd name="T74" fmla="*/ 84 w 114"/>
              <a:gd name="T75" fmla="*/ 60 h 66"/>
              <a:gd name="T76" fmla="*/ 84 w 114"/>
              <a:gd name="T77" fmla="*/ 60 h 66"/>
              <a:gd name="T78" fmla="*/ 78 w 114"/>
              <a:gd name="T79" fmla="*/ 66 h 66"/>
              <a:gd name="T80" fmla="*/ 78 w 114"/>
              <a:gd name="T81" fmla="*/ 66 h 66"/>
              <a:gd name="T82" fmla="*/ 66 w 114"/>
              <a:gd name="T83" fmla="*/ 66 h 66"/>
              <a:gd name="T84" fmla="*/ 66 w 114"/>
              <a:gd name="T85" fmla="*/ 66 h 66"/>
              <a:gd name="T86" fmla="*/ 60 w 114"/>
              <a:gd name="T87" fmla="*/ 60 h 66"/>
              <a:gd name="T88" fmla="*/ 54 w 114"/>
              <a:gd name="T89" fmla="*/ 60 h 66"/>
              <a:gd name="T90" fmla="*/ 42 w 114"/>
              <a:gd name="T91" fmla="*/ 54 h 66"/>
              <a:gd name="T92" fmla="*/ 36 w 114"/>
              <a:gd name="T93" fmla="*/ 54 h 66"/>
              <a:gd name="T94" fmla="*/ 36 w 114"/>
              <a:gd name="T95" fmla="*/ 48 h 66"/>
              <a:gd name="T96" fmla="*/ 30 w 114"/>
              <a:gd name="T97" fmla="*/ 42 h 66"/>
              <a:gd name="T98" fmla="*/ 24 w 114"/>
              <a:gd name="T99" fmla="*/ 36 h 66"/>
              <a:gd name="T100" fmla="*/ 24 w 114"/>
              <a:gd name="T101" fmla="*/ 30 h 66"/>
              <a:gd name="T102" fmla="*/ 24 w 114"/>
              <a:gd name="T103" fmla="*/ 24 h 66"/>
              <a:gd name="T104" fmla="*/ 24 w 114"/>
              <a:gd name="T105" fmla="*/ 24 h 66"/>
              <a:gd name="T106" fmla="*/ 24 w 114"/>
              <a:gd name="T107" fmla="*/ 18 h 66"/>
              <a:gd name="T108" fmla="*/ 12 w 114"/>
              <a:gd name="T109" fmla="*/ 24 h 66"/>
              <a:gd name="T110" fmla="*/ 0 w 114"/>
              <a:gd name="T111" fmla="*/ 12 h 66"/>
              <a:gd name="T112" fmla="*/ 0 w 114"/>
              <a:gd name="T113" fmla="*/ 6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14" h="66">
                <a:moveTo>
                  <a:pt x="0" y="6"/>
                </a:move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6" y="6"/>
                </a:lnTo>
                <a:lnTo>
                  <a:pt x="6" y="6"/>
                </a:lnTo>
                <a:lnTo>
                  <a:pt x="6" y="0"/>
                </a:lnTo>
                <a:lnTo>
                  <a:pt x="6" y="6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60" y="30"/>
                </a:lnTo>
                <a:lnTo>
                  <a:pt x="60" y="30"/>
                </a:lnTo>
                <a:lnTo>
                  <a:pt x="54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8"/>
                </a:lnTo>
                <a:lnTo>
                  <a:pt x="72" y="18"/>
                </a:lnTo>
                <a:lnTo>
                  <a:pt x="78" y="18"/>
                </a:lnTo>
                <a:lnTo>
                  <a:pt x="72" y="18"/>
                </a:lnTo>
                <a:lnTo>
                  <a:pt x="78" y="18"/>
                </a:lnTo>
                <a:lnTo>
                  <a:pt x="78" y="18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30"/>
                </a:lnTo>
                <a:lnTo>
                  <a:pt x="66" y="24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6"/>
                </a:lnTo>
                <a:lnTo>
                  <a:pt x="84" y="36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14" y="48"/>
                </a:lnTo>
                <a:lnTo>
                  <a:pt x="108" y="48"/>
                </a:lnTo>
                <a:lnTo>
                  <a:pt x="108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54"/>
                </a:lnTo>
                <a:lnTo>
                  <a:pt x="108" y="54"/>
                </a:lnTo>
                <a:lnTo>
                  <a:pt x="102" y="54"/>
                </a:lnTo>
                <a:lnTo>
                  <a:pt x="102" y="60"/>
                </a:lnTo>
                <a:lnTo>
                  <a:pt x="102" y="54"/>
                </a:lnTo>
                <a:lnTo>
                  <a:pt x="102" y="54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78" y="66"/>
                </a:lnTo>
                <a:lnTo>
                  <a:pt x="78" y="60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0"/>
                </a:lnTo>
                <a:lnTo>
                  <a:pt x="78" y="60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66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42" y="48"/>
                </a:lnTo>
                <a:lnTo>
                  <a:pt x="42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24" y="42"/>
                </a:lnTo>
                <a:lnTo>
                  <a:pt x="30" y="42"/>
                </a:lnTo>
                <a:lnTo>
                  <a:pt x="30" y="36"/>
                </a:lnTo>
                <a:lnTo>
                  <a:pt x="30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24" y="36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30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18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2" y="18"/>
                </a:lnTo>
                <a:lnTo>
                  <a:pt x="12" y="18"/>
                </a:lnTo>
                <a:lnTo>
                  <a:pt x="12" y="24"/>
                </a:lnTo>
                <a:lnTo>
                  <a:pt x="12" y="18"/>
                </a:lnTo>
                <a:lnTo>
                  <a:pt x="12" y="24"/>
                </a:lnTo>
                <a:lnTo>
                  <a:pt x="6" y="24"/>
                </a:lnTo>
                <a:lnTo>
                  <a:pt x="6" y="18"/>
                </a:lnTo>
                <a:lnTo>
                  <a:pt x="6" y="12"/>
                </a:lnTo>
                <a:lnTo>
                  <a:pt x="6" y="12"/>
                </a:lnTo>
                <a:lnTo>
                  <a:pt x="0" y="12"/>
                </a:lnTo>
                <a:lnTo>
                  <a:pt x="0" y="12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92" name="Freeform 425"/>
          <p:cNvSpPr>
            <a:spLocks/>
          </p:cNvSpPr>
          <p:nvPr/>
        </p:nvSpPr>
        <p:spPr bwMode="auto">
          <a:xfrm>
            <a:off x="6299386" y="4668204"/>
            <a:ext cx="102785" cy="115634"/>
          </a:xfrm>
          <a:custGeom>
            <a:avLst/>
            <a:gdLst>
              <a:gd name="T0" fmla="*/ 6 w 96"/>
              <a:gd name="T1" fmla="*/ 48 h 108"/>
              <a:gd name="T2" fmla="*/ 6 w 96"/>
              <a:gd name="T3" fmla="*/ 48 h 108"/>
              <a:gd name="T4" fmla="*/ 12 w 96"/>
              <a:gd name="T5" fmla="*/ 48 h 108"/>
              <a:gd name="T6" fmla="*/ 12 w 96"/>
              <a:gd name="T7" fmla="*/ 42 h 108"/>
              <a:gd name="T8" fmla="*/ 12 w 96"/>
              <a:gd name="T9" fmla="*/ 42 h 108"/>
              <a:gd name="T10" fmla="*/ 12 w 96"/>
              <a:gd name="T11" fmla="*/ 36 h 108"/>
              <a:gd name="T12" fmla="*/ 12 w 96"/>
              <a:gd name="T13" fmla="*/ 30 h 108"/>
              <a:gd name="T14" fmla="*/ 6 w 96"/>
              <a:gd name="T15" fmla="*/ 30 h 108"/>
              <a:gd name="T16" fmla="*/ 12 w 96"/>
              <a:gd name="T17" fmla="*/ 24 h 108"/>
              <a:gd name="T18" fmla="*/ 18 w 96"/>
              <a:gd name="T19" fmla="*/ 18 h 108"/>
              <a:gd name="T20" fmla="*/ 12 w 96"/>
              <a:gd name="T21" fmla="*/ 12 h 108"/>
              <a:gd name="T22" fmla="*/ 12 w 96"/>
              <a:gd name="T23" fmla="*/ 6 h 108"/>
              <a:gd name="T24" fmla="*/ 12 w 96"/>
              <a:gd name="T25" fmla="*/ 0 h 108"/>
              <a:gd name="T26" fmla="*/ 24 w 96"/>
              <a:gd name="T27" fmla="*/ 0 h 108"/>
              <a:gd name="T28" fmla="*/ 30 w 96"/>
              <a:gd name="T29" fmla="*/ 6 h 108"/>
              <a:gd name="T30" fmla="*/ 36 w 96"/>
              <a:gd name="T31" fmla="*/ 12 h 108"/>
              <a:gd name="T32" fmla="*/ 48 w 96"/>
              <a:gd name="T33" fmla="*/ 6 h 108"/>
              <a:gd name="T34" fmla="*/ 54 w 96"/>
              <a:gd name="T35" fmla="*/ 18 h 108"/>
              <a:gd name="T36" fmla="*/ 60 w 96"/>
              <a:gd name="T37" fmla="*/ 12 h 108"/>
              <a:gd name="T38" fmla="*/ 66 w 96"/>
              <a:gd name="T39" fmla="*/ 12 h 108"/>
              <a:gd name="T40" fmla="*/ 84 w 96"/>
              <a:gd name="T41" fmla="*/ 12 h 108"/>
              <a:gd name="T42" fmla="*/ 84 w 96"/>
              <a:gd name="T43" fmla="*/ 18 h 108"/>
              <a:gd name="T44" fmla="*/ 96 w 96"/>
              <a:gd name="T45" fmla="*/ 24 h 108"/>
              <a:gd name="T46" fmla="*/ 96 w 96"/>
              <a:gd name="T47" fmla="*/ 24 h 108"/>
              <a:gd name="T48" fmla="*/ 90 w 96"/>
              <a:gd name="T49" fmla="*/ 30 h 108"/>
              <a:gd name="T50" fmla="*/ 90 w 96"/>
              <a:gd name="T51" fmla="*/ 36 h 108"/>
              <a:gd name="T52" fmla="*/ 90 w 96"/>
              <a:gd name="T53" fmla="*/ 36 h 108"/>
              <a:gd name="T54" fmla="*/ 90 w 96"/>
              <a:gd name="T55" fmla="*/ 42 h 108"/>
              <a:gd name="T56" fmla="*/ 84 w 96"/>
              <a:gd name="T57" fmla="*/ 42 h 108"/>
              <a:gd name="T58" fmla="*/ 84 w 96"/>
              <a:gd name="T59" fmla="*/ 42 h 108"/>
              <a:gd name="T60" fmla="*/ 78 w 96"/>
              <a:gd name="T61" fmla="*/ 48 h 108"/>
              <a:gd name="T62" fmla="*/ 72 w 96"/>
              <a:gd name="T63" fmla="*/ 54 h 108"/>
              <a:gd name="T64" fmla="*/ 78 w 96"/>
              <a:gd name="T65" fmla="*/ 60 h 108"/>
              <a:gd name="T66" fmla="*/ 72 w 96"/>
              <a:gd name="T67" fmla="*/ 66 h 108"/>
              <a:gd name="T68" fmla="*/ 66 w 96"/>
              <a:gd name="T69" fmla="*/ 66 h 108"/>
              <a:gd name="T70" fmla="*/ 60 w 96"/>
              <a:gd name="T71" fmla="*/ 66 h 108"/>
              <a:gd name="T72" fmla="*/ 54 w 96"/>
              <a:gd name="T73" fmla="*/ 72 h 108"/>
              <a:gd name="T74" fmla="*/ 48 w 96"/>
              <a:gd name="T75" fmla="*/ 72 h 108"/>
              <a:gd name="T76" fmla="*/ 54 w 96"/>
              <a:gd name="T77" fmla="*/ 78 h 108"/>
              <a:gd name="T78" fmla="*/ 54 w 96"/>
              <a:gd name="T79" fmla="*/ 78 h 108"/>
              <a:gd name="T80" fmla="*/ 54 w 96"/>
              <a:gd name="T81" fmla="*/ 84 h 108"/>
              <a:gd name="T82" fmla="*/ 54 w 96"/>
              <a:gd name="T83" fmla="*/ 84 h 108"/>
              <a:gd name="T84" fmla="*/ 60 w 96"/>
              <a:gd name="T85" fmla="*/ 102 h 108"/>
              <a:gd name="T86" fmla="*/ 54 w 96"/>
              <a:gd name="T87" fmla="*/ 108 h 108"/>
              <a:gd name="T88" fmla="*/ 48 w 96"/>
              <a:gd name="T89" fmla="*/ 108 h 108"/>
              <a:gd name="T90" fmla="*/ 42 w 96"/>
              <a:gd name="T91" fmla="*/ 108 h 108"/>
              <a:gd name="T92" fmla="*/ 30 w 96"/>
              <a:gd name="T93" fmla="*/ 102 h 108"/>
              <a:gd name="T94" fmla="*/ 24 w 96"/>
              <a:gd name="T95" fmla="*/ 102 h 108"/>
              <a:gd name="T96" fmla="*/ 12 w 96"/>
              <a:gd name="T97" fmla="*/ 102 h 108"/>
              <a:gd name="T98" fmla="*/ 6 w 96"/>
              <a:gd name="T99" fmla="*/ 96 h 108"/>
              <a:gd name="T100" fmla="*/ 6 w 96"/>
              <a:gd name="T101" fmla="*/ 90 h 108"/>
              <a:gd name="T102" fmla="*/ 6 w 96"/>
              <a:gd name="T103" fmla="*/ 90 h 108"/>
              <a:gd name="T104" fmla="*/ 12 w 96"/>
              <a:gd name="T105" fmla="*/ 84 h 108"/>
              <a:gd name="T106" fmla="*/ 12 w 96"/>
              <a:gd name="T107" fmla="*/ 78 h 108"/>
              <a:gd name="T108" fmla="*/ 18 w 96"/>
              <a:gd name="T109" fmla="*/ 78 h 108"/>
              <a:gd name="T110" fmla="*/ 18 w 96"/>
              <a:gd name="T111" fmla="*/ 72 h 108"/>
              <a:gd name="T112" fmla="*/ 12 w 96"/>
              <a:gd name="T113" fmla="*/ 72 h 108"/>
              <a:gd name="T114" fmla="*/ 6 w 96"/>
              <a:gd name="T115" fmla="*/ 66 h 108"/>
              <a:gd name="T116" fmla="*/ 6 w 96"/>
              <a:gd name="T117" fmla="*/ 66 h 108"/>
              <a:gd name="T118" fmla="*/ 6 w 96"/>
              <a:gd name="T119" fmla="*/ 60 h 108"/>
              <a:gd name="T120" fmla="*/ 6 w 96"/>
              <a:gd name="T121" fmla="*/ 54 h 108"/>
              <a:gd name="T122" fmla="*/ 6 w 96"/>
              <a:gd name="T123" fmla="*/ 54 h 108"/>
              <a:gd name="T124" fmla="*/ 0 w 96"/>
              <a:gd name="T125" fmla="*/ 54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6" h="108">
                <a:moveTo>
                  <a:pt x="0" y="54"/>
                </a:move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12" y="30"/>
                </a:lnTo>
                <a:lnTo>
                  <a:pt x="12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0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2" y="18"/>
                </a:lnTo>
                <a:lnTo>
                  <a:pt x="12" y="18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6"/>
                </a:lnTo>
                <a:lnTo>
                  <a:pt x="12" y="6"/>
                </a:lnTo>
                <a:lnTo>
                  <a:pt x="18" y="6"/>
                </a:lnTo>
                <a:lnTo>
                  <a:pt x="12" y="6"/>
                </a:lnTo>
                <a:lnTo>
                  <a:pt x="18" y="6"/>
                </a:lnTo>
                <a:lnTo>
                  <a:pt x="12" y="6"/>
                </a:lnTo>
                <a:lnTo>
                  <a:pt x="12" y="6"/>
                </a:lnTo>
                <a:lnTo>
                  <a:pt x="12" y="0"/>
                </a:lnTo>
                <a:lnTo>
                  <a:pt x="18" y="0"/>
                </a:lnTo>
                <a:lnTo>
                  <a:pt x="18" y="0"/>
                </a:lnTo>
                <a:lnTo>
                  <a:pt x="18" y="6"/>
                </a:lnTo>
                <a:lnTo>
                  <a:pt x="18" y="6"/>
                </a:lnTo>
                <a:lnTo>
                  <a:pt x="18" y="0"/>
                </a:lnTo>
                <a:lnTo>
                  <a:pt x="18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12"/>
                </a:lnTo>
                <a:lnTo>
                  <a:pt x="30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42" y="12"/>
                </a:lnTo>
                <a:lnTo>
                  <a:pt x="42" y="12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54" y="18"/>
                </a:lnTo>
                <a:lnTo>
                  <a:pt x="54" y="18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8" y="18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90" y="18"/>
                </a:lnTo>
                <a:lnTo>
                  <a:pt x="90" y="18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8"/>
                </a:lnTo>
                <a:lnTo>
                  <a:pt x="84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2" y="48"/>
                </a:lnTo>
                <a:lnTo>
                  <a:pt x="72" y="48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8" y="54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72"/>
                </a:lnTo>
                <a:lnTo>
                  <a:pt x="72" y="72"/>
                </a:lnTo>
                <a:lnTo>
                  <a:pt x="66" y="66"/>
                </a:lnTo>
                <a:lnTo>
                  <a:pt x="66" y="72"/>
                </a:lnTo>
                <a:lnTo>
                  <a:pt x="66" y="72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54" y="72"/>
                </a:lnTo>
                <a:lnTo>
                  <a:pt x="48" y="78"/>
                </a:lnTo>
                <a:lnTo>
                  <a:pt x="48" y="78"/>
                </a:lnTo>
                <a:lnTo>
                  <a:pt x="54" y="72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60" y="90"/>
                </a:lnTo>
                <a:lnTo>
                  <a:pt x="60" y="90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96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0" y="90"/>
                </a:lnTo>
                <a:lnTo>
                  <a:pt x="0" y="84"/>
                </a:lnTo>
                <a:lnTo>
                  <a:pt x="0" y="84"/>
                </a:lnTo>
                <a:lnTo>
                  <a:pt x="6" y="84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8" y="78"/>
                </a:lnTo>
                <a:lnTo>
                  <a:pt x="12" y="78"/>
                </a:lnTo>
                <a:lnTo>
                  <a:pt x="12" y="78"/>
                </a:lnTo>
                <a:lnTo>
                  <a:pt x="18" y="78"/>
                </a:lnTo>
                <a:lnTo>
                  <a:pt x="18" y="78"/>
                </a:lnTo>
                <a:lnTo>
                  <a:pt x="12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0" y="66"/>
                </a:lnTo>
                <a:lnTo>
                  <a:pt x="0" y="66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0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12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93" name="Freeform 426"/>
          <p:cNvSpPr>
            <a:spLocks/>
          </p:cNvSpPr>
          <p:nvPr/>
        </p:nvSpPr>
        <p:spPr bwMode="auto">
          <a:xfrm>
            <a:off x="6485683" y="4308455"/>
            <a:ext cx="102785" cy="128482"/>
          </a:xfrm>
          <a:custGeom>
            <a:avLst/>
            <a:gdLst>
              <a:gd name="T0" fmla="*/ 6 w 96"/>
              <a:gd name="T1" fmla="*/ 18 h 120"/>
              <a:gd name="T2" fmla="*/ 6 w 96"/>
              <a:gd name="T3" fmla="*/ 24 h 120"/>
              <a:gd name="T4" fmla="*/ 12 w 96"/>
              <a:gd name="T5" fmla="*/ 24 h 120"/>
              <a:gd name="T6" fmla="*/ 18 w 96"/>
              <a:gd name="T7" fmla="*/ 30 h 120"/>
              <a:gd name="T8" fmla="*/ 30 w 96"/>
              <a:gd name="T9" fmla="*/ 24 h 120"/>
              <a:gd name="T10" fmla="*/ 30 w 96"/>
              <a:gd name="T11" fmla="*/ 12 h 120"/>
              <a:gd name="T12" fmla="*/ 30 w 96"/>
              <a:gd name="T13" fmla="*/ 12 h 120"/>
              <a:gd name="T14" fmla="*/ 36 w 96"/>
              <a:gd name="T15" fmla="*/ 6 h 120"/>
              <a:gd name="T16" fmla="*/ 36 w 96"/>
              <a:gd name="T17" fmla="*/ 6 h 120"/>
              <a:gd name="T18" fmla="*/ 42 w 96"/>
              <a:gd name="T19" fmla="*/ 0 h 120"/>
              <a:gd name="T20" fmla="*/ 42 w 96"/>
              <a:gd name="T21" fmla="*/ 6 h 120"/>
              <a:gd name="T22" fmla="*/ 48 w 96"/>
              <a:gd name="T23" fmla="*/ 6 h 120"/>
              <a:gd name="T24" fmla="*/ 60 w 96"/>
              <a:gd name="T25" fmla="*/ 24 h 120"/>
              <a:gd name="T26" fmla="*/ 72 w 96"/>
              <a:gd name="T27" fmla="*/ 24 h 120"/>
              <a:gd name="T28" fmla="*/ 78 w 96"/>
              <a:gd name="T29" fmla="*/ 18 h 120"/>
              <a:gd name="T30" fmla="*/ 90 w 96"/>
              <a:gd name="T31" fmla="*/ 18 h 120"/>
              <a:gd name="T32" fmla="*/ 84 w 96"/>
              <a:gd name="T33" fmla="*/ 18 h 120"/>
              <a:gd name="T34" fmla="*/ 84 w 96"/>
              <a:gd name="T35" fmla="*/ 30 h 120"/>
              <a:gd name="T36" fmla="*/ 84 w 96"/>
              <a:gd name="T37" fmla="*/ 42 h 120"/>
              <a:gd name="T38" fmla="*/ 84 w 96"/>
              <a:gd name="T39" fmla="*/ 48 h 120"/>
              <a:gd name="T40" fmla="*/ 78 w 96"/>
              <a:gd name="T41" fmla="*/ 48 h 120"/>
              <a:gd name="T42" fmla="*/ 84 w 96"/>
              <a:gd name="T43" fmla="*/ 54 h 120"/>
              <a:gd name="T44" fmla="*/ 90 w 96"/>
              <a:gd name="T45" fmla="*/ 60 h 120"/>
              <a:gd name="T46" fmla="*/ 90 w 96"/>
              <a:gd name="T47" fmla="*/ 66 h 120"/>
              <a:gd name="T48" fmla="*/ 90 w 96"/>
              <a:gd name="T49" fmla="*/ 78 h 120"/>
              <a:gd name="T50" fmla="*/ 90 w 96"/>
              <a:gd name="T51" fmla="*/ 90 h 120"/>
              <a:gd name="T52" fmla="*/ 96 w 96"/>
              <a:gd name="T53" fmla="*/ 90 h 120"/>
              <a:gd name="T54" fmla="*/ 96 w 96"/>
              <a:gd name="T55" fmla="*/ 102 h 120"/>
              <a:gd name="T56" fmla="*/ 90 w 96"/>
              <a:gd name="T57" fmla="*/ 108 h 120"/>
              <a:gd name="T58" fmla="*/ 90 w 96"/>
              <a:gd name="T59" fmla="*/ 114 h 120"/>
              <a:gd name="T60" fmla="*/ 84 w 96"/>
              <a:gd name="T61" fmla="*/ 114 h 120"/>
              <a:gd name="T62" fmla="*/ 84 w 96"/>
              <a:gd name="T63" fmla="*/ 120 h 120"/>
              <a:gd name="T64" fmla="*/ 84 w 96"/>
              <a:gd name="T65" fmla="*/ 120 h 120"/>
              <a:gd name="T66" fmla="*/ 78 w 96"/>
              <a:gd name="T67" fmla="*/ 120 h 120"/>
              <a:gd name="T68" fmla="*/ 72 w 96"/>
              <a:gd name="T69" fmla="*/ 120 h 120"/>
              <a:gd name="T70" fmla="*/ 66 w 96"/>
              <a:gd name="T71" fmla="*/ 120 h 120"/>
              <a:gd name="T72" fmla="*/ 60 w 96"/>
              <a:gd name="T73" fmla="*/ 120 h 120"/>
              <a:gd name="T74" fmla="*/ 60 w 96"/>
              <a:gd name="T75" fmla="*/ 120 h 120"/>
              <a:gd name="T76" fmla="*/ 54 w 96"/>
              <a:gd name="T77" fmla="*/ 114 h 120"/>
              <a:gd name="T78" fmla="*/ 60 w 96"/>
              <a:gd name="T79" fmla="*/ 102 h 120"/>
              <a:gd name="T80" fmla="*/ 60 w 96"/>
              <a:gd name="T81" fmla="*/ 102 h 120"/>
              <a:gd name="T82" fmla="*/ 48 w 96"/>
              <a:gd name="T83" fmla="*/ 90 h 120"/>
              <a:gd name="T84" fmla="*/ 54 w 96"/>
              <a:gd name="T85" fmla="*/ 90 h 120"/>
              <a:gd name="T86" fmla="*/ 54 w 96"/>
              <a:gd name="T87" fmla="*/ 84 h 120"/>
              <a:gd name="T88" fmla="*/ 54 w 96"/>
              <a:gd name="T89" fmla="*/ 78 h 120"/>
              <a:gd name="T90" fmla="*/ 54 w 96"/>
              <a:gd name="T91" fmla="*/ 78 h 120"/>
              <a:gd name="T92" fmla="*/ 54 w 96"/>
              <a:gd name="T93" fmla="*/ 78 h 120"/>
              <a:gd name="T94" fmla="*/ 48 w 96"/>
              <a:gd name="T95" fmla="*/ 72 h 120"/>
              <a:gd name="T96" fmla="*/ 48 w 96"/>
              <a:gd name="T97" fmla="*/ 72 h 120"/>
              <a:gd name="T98" fmla="*/ 42 w 96"/>
              <a:gd name="T99" fmla="*/ 72 h 120"/>
              <a:gd name="T100" fmla="*/ 42 w 96"/>
              <a:gd name="T101" fmla="*/ 60 h 120"/>
              <a:gd name="T102" fmla="*/ 42 w 96"/>
              <a:gd name="T103" fmla="*/ 54 h 120"/>
              <a:gd name="T104" fmla="*/ 30 w 96"/>
              <a:gd name="T105" fmla="*/ 48 h 120"/>
              <a:gd name="T106" fmla="*/ 18 w 96"/>
              <a:gd name="T107" fmla="*/ 48 h 120"/>
              <a:gd name="T108" fmla="*/ 12 w 96"/>
              <a:gd name="T109" fmla="*/ 36 h 120"/>
              <a:gd name="T110" fmla="*/ 6 w 96"/>
              <a:gd name="T111" fmla="*/ 36 h 120"/>
              <a:gd name="T112" fmla="*/ 0 w 96"/>
              <a:gd name="T113" fmla="*/ 24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6" h="120">
                <a:moveTo>
                  <a:pt x="0" y="24"/>
                </a:moveTo>
                <a:lnTo>
                  <a:pt x="0" y="24"/>
                </a:lnTo>
                <a:lnTo>
                  <a:pt x="0" y="24"/>
                </a:lnTo>
                <a:lnTo>
                  <a:pt x="0" y="18"/>
                </a:lnTo>
                <a:lnTo>
                  <a:pt x="0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8" y="30"/>
                </a:lnTo>
                <a:lnTo>
                  <a:pt x="18" y="30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24" y="24"/>
                </a:lnTo>
                <a:lnTo>
                  <a:pt x="30" y="24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6" y="6"/>
                </a:lnTo>
                <a:lnTo>
                  <a:pt x="36" y="12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0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18"/>
                </a:lnTo>
                <a:lnTo>
                  <a:pt x="60" y="18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8" y="24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84" y="18"/>
                </a:lnTo>
                <a:lnTo>
                  <a:pt x="84" y="18"/>
                </a:lnTo>
                <a:lnTo>
                  <a:pt x="84" y="12"/>
                </a:lnTo>
                <a:lnTo>
                  <a:pt x="90" y="12"/>
                </a:lnTo>
                <a:lnTo>
                  <a:pt x="90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24"/>
                </a:lnTo>
                <a:lnTo>
                  <a:pt x="90" y="24"/>
                </a:lnTo>
                <a:lnTo>
                  <a:pt x="90" y="24"/>
                </a:lnTo>
                <a:lnTo>
                  <a:pt x="84" y="24"/>
                </a:lnTo>
                <a:lnTo>
                  <a:pt x="84" y="24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84" y="48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90" y="54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90"/>
                </a:lnTo>
                <a:lnTo>
                  <a:pt x="90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0" y="96"/>
                </a:lnTo>
                <a:lnTo>
                  <a:pt x="90" y="96"/>
                </a:lnTo>
                <a:lnTo>
                  <a:pt x="96" y="96"/>
                </a:lnTo>
                <a:lnTo>
                  <a:pt x="96" y="96"/>
                </a:lnTo>
                <a:lnTo>
                  <a:pt x="96" y="96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0" y="108"/>
                </a:lnTo>
                <a:lnTo>
                  <a:pt x="90" y="108"/>
                </a:lnTo>
                <a:lnTo>
                  <a:pt x="96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90" y="114"/>
                </a:lnTo>
                <a:lnTo>
                  <a:pt x="90" y="114"/>
                </a:lnTo>
                <a:lnTo>
                  <a:pt x="84" y="114"/>
                </a:lnTo>
                <a:lnTo>
                  <a:pt x="90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14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54" y="114"/>
                </a:lnTo>
                <a:lnTo>
                  <a:pt x="60" y="114"/>
                </a:lnTo>
                <a:lnTo>
                  <a:pt x="60" y="108"/>
                </a:lnTo>
                <a:lnTo>
                  <a:pt x="54" y="108"/>
                </a:lnTo>
                <a:lnTo>
                  <a:pt x="54" y="108"/>
                </a:lnTo>
                <a:lnTo>
                  <a:pt x="60" y="108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54" y="102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0"/>
                </a:lnTo>
                <a:lnTo>
                  <a:pt x="54" y="96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2"/>
                </a:lnTo>
                <a:lnTo>
                  <a:pt x="54" y="78"/>
                </a:lnTo>
                <a:lnTo>
                  <a:pt x="54" y="78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66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54"/>
                </a:lnTo>
                <a:lnTo>
                  <a:pt x="42" y="54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54"/>
                </a:lnTo>
                <a:lnTo>
                  <a:pt x="42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2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0" y="36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2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94" name="Freeform 427"/>
          <p:cNvSpPr>
            <a:spLocks/>
          </p:cNvSpPr>
          <p:nvPr/>
        </p:nvSpPr>
        <p:spPr bwMode="auto">
          <a:xfrm>
            <a:off x="6273690" y="4552570"/>
            <a:ext cx="301930" cy="179875"/>
          </a:xfrm>
          <a:custGeom>
            <a:avLst/>
            <a:gdLst>
              <a:gd name="T0" fmla="*/ 6 w 282"/>
              <a:gd name="T1" fmla="*/ 96 h 168"/>
              <a:gd name="T2" fmla="*/ 6 w 282"/>
              <a:gd name="T3" fmla="*/ 84 h 168"/>
              <a:gd name="T4" fmla="*/ 12 w 282"/>
              <a:gd name="T5" fmla="*/ 84 h 168"/>
              <a:gd name="T6" fmla="*/ 18 w 282"/>
              <a:gd name="T7" fmla="*/ 78 h 168"/>
              <a:gd name="T8" fmla="*/ 30 w 282"/>
              <a:gd name="T9" fmla="*/ 72 h 168"/>
              <a:gd name="T10" fmla="*/ 36 w 282"/>
              <a:gd name="T11" fmla="*/ 72 h 168"/>
              <a:gd name="T12" fmla="*/ 42 w 282"/>
              <a:gd name="T13" fmla="*/ 66 h 168"/>
              <a:gd name="T14" fmla="*/ 48 w 282"/>
              <a:gd name="T15" fmla="*/ 60 h 168"/>
              <a:gd name="T16" fmla="*/ 60 w 282"/>
              <a:gd name="T17" fmla="*/ 60 h 168"/>
              <a:gd name="T18" fmla="*/ 66 w 282"/>
              <a:gd name="T19" fmla="*/ 48 h 168"/>
              <a:gd name="T20" fmla="*/ 66 w 282"/>
              <a:gd name="T21" fmla="*/ 36 h 168"/>
              <a:gd name="T22" fmla="*/ 66 w 282"/>
              <a:gd name="T23" fmla="*/ 30 h 168"/>
              <a:gd name="T24" fmla="*/ 78 w 282"/>
              <a:gd name="T25" fmla="*/ 30 h 168"/>
              <a:gd name="T26" fmla="*/ 84 w 282"/>
              <a:gd name="T27" fmla="*/ 36 h 168"/>
              <a:gd name="T28" fmla="*/ 90 w 282"/>
              <a:gd name="T29" fmla="*/ 36 h 168"/>
              <a:gd name="T30" fmla="*/ 102 w 282"/>
              <a:gd name="T31" fmla="*/ 42 h 168"/>
              <a:gd name="T32" fmla="*/ 108 w 282"/>
              <a:gd name="T33" fmla="*/ 36 h 168"/>
              <a:gd name="T34" fmla="*/ 108 w 282"/>
              <a:gd name="T35" fmla="*/ 30 h 168"/>
              <a:gd name="T36" fmla="*/ 114 w 282"/>
              <a:gd name="T37" fmla="*/ 30 h 168"/>
              <a:gd name="T38" fmla="*/ 126 w 282"/>
              <a:gd name="T39" fmla="*/ 30 h 168"/>
              <a:gd name="T40" fmla="*/ 132 w 282"/>
              <a:gd name="T41" fmla="*/ 30 h 168"/>
              <a:gd name="T42" fmla="*/ 138 w 282"/>
              <a:gd name="T43" fmla="*/ 30 h 168"/>
              <a:gd name="T44" fmla="*/ 150 w 282"/>
              <a:gd name="T45" fmla="*/ 30 h 168"/>
              <a:gd name="T46" fmla="*/ 156 w 282"/>
              <a:gd name="T47" fmla="*/ 36 h 168"/>
              <a:gd name="T48" fmla="*/ 162 w 282"/>
              <a:gd name="T49" fmla="*/ 36 h 168"/>
              <a:gd name="T50" fmla="*/ 168 w 282"/>
              <a:gd name="T51" fmla="*/ 36 h 168"/>
              <a:gd name="T52" fmla="*/ 186 w 282"/>
              <a:gd name="T53" fmla="*/ 36 h 168"/>
              <a:gd name="T54" fmla="*/ 204 w 282"/>
              <a:gd name="T55" fmla="*/ 30 h 168"/>
              <a:gd name="T56" fmla="*/ 210 w 282"/>
              <a:gd name="T57" fmla="*/ 24 h 168"/>
              <a:gd name="T58" fmla="*/ 222 w 282"/>
              <a:gd name="T59" fmla="*/ 18 h 168"/>
              <a:gd name="T60" fmla="*/ 222 w 282"/>
              <a:gd name="T61" fmla="*/ 12 h 168"/>
              <a:gd name="T62" fmla="*/ 234 w 282"/>
              <a:gd name="T63" fmla="*/ 0 h 168"/>
              <a:gd name="T64" fmla="*/ 234 w 282"/>
              <a:gd name="T65" fmla="*/ 12 h 168"/>
              <a:gd name="T66" fmla="*/ 228 w 282"/>
              <a:gd name="T67" fmla="*/ 24 h 168"/>
              <a:gd name="T68" fmla="*/ 234 w 282"/>
              <a:gd name="T69" fmla="*/ 42 h 168"/>
              <a:gd name="T70" fmla="*/ 246 w 282"/>
              <a:gd name="T71" fmla="*/ 54 h 168"/>
              <a:gd name="T72" fmla="*/ 252 w 282"/>
              <a:gd name="T73" fmla="*/ 60 h 168"/>
              <a:gd name="T74" fmla="*/ 252 w 282"/>
              <a:gd name="T75" fmla="*/ 72 h 168"/>
              <a:gd name="T76" fmla="*/ 258 w 282"/>
              <a:gd name="T77" fmla="*/ 78 h 168"/>
              <a:gd name="T78" fmla="*/ 264 w 282"/>
              <a:gd name="T79" fmla="*/ 78 h 168"/>
              <a:gd name="T80" fmla="*/ 258 w 282"/>
              <a:gd name="T81" fmla="*/ 84 h 168"/>
              <a:gd name="T82" fmla="*/ 264 w 282"/>
              <a:gd name="T83" fmla="*/ 90 h 168"/>
              <a:gd name="T84" fmla="*/ 264 w 282"/>
              <a:gd name="T85" fmla="*/ 96 h 168"/>
              <a:gd name="T86" fmla="*/ 264 w 282"/>
              <a:gd name="T87" fmla="*/ 102 h 168"/>
              <a:gd name="T88" fmla="*/ 282 w 282"/>
              <a:gd name="T89" fmla="*/ 114 h 168"/>
              <a:gd name="T90" fmla="*/ 276 w 282"/>
              <a:gd name="T91" fmla="*/ 120 h 168"/>
              <a:gd name="T92" fmla="*/ 264 w 282"/>
              <a:gd name="T93" fmla="*/ 126 h 168"/>
              <a:gd name="T94" fmla="*/ 252 w 282"/>
              <a:gd name="T95" fmla="*/ 132 h 168"/>
              <a:gd name="T96" fmla="*/ 240 w 282"/>
              <a:gd name="T97" fmla="*/ 138 h 168"/>
              <a:gd name="T98" fmla="*/ 234 w 282"/>
              <a:gd name="T99" fmla="*/ 150 h 168"/>
              <a:gd name="T100" fmla="*/ 222 w 282"/>
              <a:gd name="T101" fmla="*/ 156 h 168"/>
              <a:gd name="T102" fmla="*/ 210 w 282"/>
              <a:gd name="T103" fmla="*/ 162 h 168"/>
              <a:gd name="T104" fmla="*/ 192 w 282"/>
              <a:gd name="T105" fmla="*/ 162 h 168"/>
              <a:gd name="T106" fmla="*/ 180 w 282"/>
              <a:gd name="T107" fmla="*/ 162 h 168"/>
              <a:gd name="T108" fmla="*/ 156 w 282"/>
              <a:gd name="T109" fmla="*/ 162 h 168"/>
              <a:gd name="T110" fmla="*/ 138 w 282"/>
              <a:gd name="T111" fmla="*/ 150 h 168"/>
              <a:gd name="T112" fmla="*/ 132 w 282"/>
              <a:gd name="T113" fmla="*/ 132 h 168"/>
              <a:gd name="T114" fmla="*/ 108 w 282"/>
              <a:gd name="T115" fmla="*/ 126 h 168"/>
              <a:gd name="T116" fmla="*/ 84 w 282"/>
              <a:gd name="T117" fmla="*/ 120 h 168"/>
              <a:gd name="T118" fmla="*/ 72 w 282"/>
              <a:gd name="T119" fmla="*/ 120 h 168"/>
              <a:gd name="T120" fmla="*/ 54 w 282"/>
              <a:gd name="T121" fmla="*/ 114 h 168"/>
              <a:gd name="T122" fmla="*/ 36 w 282"/>
              <a:gd name="T123" fmla="*/ 114 h 168"/>
              <a:gd name="T124" fmla="*/ 12 w 282"/>
              <a:gd name="T125" fmla="*/ 108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82" h="168">
                <a:moveTo>
                  <a:pt x="0" y="102"/>
                </a:moveTo>
                <a:lnTo>
                  <a:pt x="0" y="102"/>
                </a:lnTo>
                <a:lnTo>
                  <a:pt x="0" y="102"/>
                </a:lnTo>
                <a:lnTo>
                  <a:pt x="0" y="96"/>
                </a:lnTo>
                <a:lnTo>
                  <a:pt x="0" y="102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0" y="96"/>
                </a:lnTo>
                <a:lnTo>
                  <a:pt x="6" y="96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0" y="90"/>
                </a:lnTo>
                <a:lnTo>
                  <a:pt x="0" y="90"/>
                </a:lnTo>
                <a:lnTo>
                  <a:pt x="6" y="90"/>
                </a:lnTo>
                <a:lnTo>
                  <a:pt x="6" y="90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6" y="90"/>
                </a:lnTo>
                <a:lnTo>
                  <a:pt x="6" y="90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12" y="84"/>
                </a:lnTo>
                <a:lnTo>
                  <a:pt x="12" y="84"/>
                </a:lnTo>
                <a:lnTo>
                  <a:pt x="6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72"/>
                </a:lnTo>
                <a:lnTo>
                  <a:pt x="30" y="72"/>
                </a:lnTo>
                <a:lnTo>
                  <a:pt x="30" y="66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66"/>
                </a:lnTo>
                <a:lnTo>
                  <a:pt x="36" y="66"/>
                </a:lnTo>
                <a:lnTo>
                  <a:pt x="36" y="72"/>
                </a:lnTo>
                <a:lnTo>
                  <a:pt x="36" y="72"/>
                </a:lnTo>
                <a:lnTo>
                  <a:pt x="36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36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0"/>
                </a:lnTo>
                <a:lnTo>
                  <a:pt x="54" y="66"/>
                </a:lnTo>
                <a:lnTo>
                  <a:pt x="54" y="60"/>
                </a:lnTo>
                <a:lnTo>
                  <a:pt x="54" y="66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6" y="60"/>
                </a:lnTo>
                <a:lnTo>
                  <a:pt x="60" y="60"/>
                </a:lnTo>
                <a:lnTo>
                  <a:pt x="60" y="60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6" y="48"/>
                </a:lnTo>
                <a:lnTo>
                  <a:pt x="60" y="48"/>
                </a:lnTo>
                <a:lnTo>
                  <a:pt x="60" y="48"/>
                </a:lnTo>
                <a:lnTo>
                  <a:pt x="66" y="48"/>
                </a:lnTo>
                <a:lnTo>
                  <a:pt x="60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0" y="42"/>
                </a:lnTo>
                <a:lnTo>
                  <a:pt x="66" y="42"/>
                </a:lnTo>
                <a:lnTo>
                  <a:pt x="60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36"/>
                </a:lnTo>
                <a:lnTo>
                  <a:pt x="66" y="42"/>
                </a:lnTo>
                <a:lnTo>
                  <a:pt x="66" y="36"/>
                </a:lnTo>
                <a:lnTo>
                  <a:pt x="66" y="36"/>
                </a:lnTo>
                <a:lnTo>
                  <a:pt x="72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72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42"/>
                </a:lnTo>
                <a:lnTo>
                  <a:pt x="84" y="42"/>
                </a:lnTo>
                <a:lnTo>
                  <a:pt x="84" y="36"/>
                </a:lnTo>
                <a:lnTo>
                  <a:pt x="78" y="36"/>
                </a:lnTo>
                <a:lnTo>
                  <a:pt x="78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0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42"/>
                </a:lnTo>
                <a:lnTo>
                  <a:pt x="96" y="42"/>
                </a:lnTo>
                <a:lnTo>
                  <a:pt x="102" y="42"/>
                </a:lnTo>
                <a:lnTo>
                  <a:pt x="96" y="42"/>
                </a:lnTo>
                <a:lnTo>
                  <a:pt x="96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42"/>
                </a:lnTo>
                <a:lnTo>
                  <a:pt x="102" y="42"/>
                </a:lnTo>
                <a:lnTo>
                  <a:pt x="102" y="36"/>
                </a:lnTo>
                <a:lnTo>
                  <a:pt x="108" y="36"/>
                </a:lnTo>
                <a:lnTo>
                  <a:pt x="102" y="36"/>
                </a:lnTo>
                <a:lnTo>
                  <a:pt x="108" y="36"/>
                </a:lnTo>
                <a:lnTo>
                  <a:pt x="102" y="36"/>
                </a:lnTo>
                <a:lnTo>
                  <a:pt x="102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14" y="36"/>
                </a:lnTo>
                <a:lnTo>
                  <a:pt x="114" y="36"/>
                </a:lnTo>
                <a:lnTo>
                  <a:pt x="114" y="30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14" y="36"/>
                </a:lnTo>
                <a:lnTo>
                  <a:pt x="114" y="30"/>
                </a:lnTo>
                <a:lnTo>
                  <a:pt x="120" y="30"/>
                </a:lnTo>
                <a:lnTo>
                  <a:pt x="114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6" y="36"/>
                </a:lnTo>
                <a:lnTo>
                  <a:pt x="126" y="30"/>
                </a:lnTo>
                <a:lnTo>
                  <a:pt x="120" y="30"/>
                </a:lnTo>
                <a:lnTo>
                  <a:pt x="120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32" y="30"/>
                </a:lnTo>
                <a:lnTo>
                  <a:pt x="126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6"/>
                </a:lnTo>
                <a:lnTo>
                  <a:pt x="144" y="30"/>
                </a:lnTo>
                <a:lnTo>
                  <a:pt x="144" y="36"/>
                </a:lnTo>
                <a:lnTo>
                  <a:pt x="144" y="30"/>
                </a:lnTo>
                <a:lnTo>
                  <a:pt x="150" y="36"/>
                </a:lnTo>
                <a:lnTo>
                  <a:pt x="150" y="36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6" y="36"/>
                </a:lnTo>
                <a:lnTo>
                  <a:pt x="150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0"/>
                </a:lnTo>
                <a:lnTo>
                  <a:pt x="162" y="36"/>
                </a:lnTo>
                <a:lnTo>
                  <a:pt x="168" y="36"/>
                </a:lnTo>
                <a:lnTo>
                  <a:pt x="168" y="30"/>
                </a:lnTo>
                <a:lnTo>
                  <a:pt x="168" y="30"/>
                </a:lnTo>
                <a:lnTo>
                  <a:pt x="168" y="30"/>
                </a:lnTo>
                <a:lnTo>
                  <a:pt x="168" y="30"/>
                </a:lnTo>
                <a:lnTo>
                  <a:pt x="168" y="30"/>
                </a:lnTo>
                <a:lnTo>
                  <a:pt x="168" y="36"/>
                </a:lnTo>
                <a:lnTo>
                  <a:pt x="168" y="30"/>
                </a:lnTo>
                <a:lnTo>
                  <a:pt x="168" y="30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lnTo>
                  <a:pt x="186" y="36"/>
                </a:lnTo>
                <a:lnTo>
                  <a:pt x="186" y="42"/>
                </a:lnTo>
                <a:lnTo>
                  <a:pt x="186" y="42"/>
                </a:lnTo>
                <a:lnTo>
                  <a:pt x="192" y="42"/>
                </a:lnTo>
                <a:lnTo>
                  <a:pt x="192" y="36"/>
                </a:lnTo>
                <a:lnTo>
                  <a:pt x="192" y="36"/>
                </a:lnTo>
                <a:lnTo>
                  <a:pt x="192" y="36"/>
                </a:lnTo>
                <a:lnTo>
                  <a:pt x="198" y="36"/>
                </a:lnTo>
                <a:lnTo>
                  <a:pt x="198" y="36"/>
                </a:lnTo>
                <a:lnTo>
                  <a:pt x="198" y="36"/>
                </a:lnTo>
                <a:lnTo>
                  <a:pt x="198" y="36"/>
                </a:lnTo>
                <a:lnTo>
                  <a:pt x="198" y="30"/>
                </a:lnTo>
                <a:lnTo>
                  <a:pt x="198" y="30"/>
                </a:lnTo>
                <a:lnTo>
                  <a:pt x="198" y="30"/>
                </a:lnTo>
                <a:lnTo>
                  <a:pt x="204" y="30"/>
                </a:lnTo>
                <a:lnTo>
                  <a:pt x="204" y="30"/>
                </a:lnTo>
                <a:lnTo>
                  <a:pt x="204" y="30"/>
                </a:lnTo>
                <a:lnTo>
                  <a:pt x="204" y="30"/>
                </a:lnTo>
                <a:lnTo>
                  <a:pt x="204" y="30"/>
                </a:lnTo>
                <a:lnTo>
                  <a:pt x="204" y="30"/>
                </a:lnTo>
                <a:lnTo>
                  <a:pt x="204" y="30"/>
                </a:lnTo>
                <a:lnTo>
                  <a:pt x="204" y="30"/>
                </a:lnTo>
                <a:lnTo>
                  <a:pt x="210" y="30"/>
                </a:lnTo>
                <a:lnTo>
                  <a:pt x="210" y="30"/>
                </a:lnTo>
                <a:lnTo>
                  <a:pt x="210" y="24"/>
                </a:lnTo>
                <a:lnTo>
                  <a:pt x="210" y="30"/>
                </a:lnTo>
                <a:lnTo>
                  <a:pt x="210" y="24"/>
                </a:lnTo>
                <a:lnTo>
                  <a:pt x="210" y="24"/>
                </a:lnTo>
                <a:lnTo>
                  <a:pt x="210" y="30"/>
                </a:lnTo>
                <a:lnTo>
                  <a:pt x="216" y="30"/>
                </a:lnTo>
                <a:lnTo>
                  <a:pt x="216" y="24"/>
                </a:lnTo>
                <a:lnTo>
                  <a:pt x="210" y="24"/>
                </a:lnTo>
                <a:lnTo>
                  <a:pt x="210" y="24"/>
                </a:lnTo>
                <a:lnTo>
                  <a:pt x="216" y="24"/>
                </a:lnTo>
                <a:lnTo>
                  <a:pt x="216" y="24"/>
                </a:lnTo>
                <a:lnTo>
                  <a:pt x="216" y="24"/>
                </a:lnTo>
                <a:lnTo>
                  <a:pt x="216" y="24"/>
                </a:lnTo>
                <a:lnTo>
                  <a:pt x="216" y="18"/>
                </a:lnTo>
                <a:lnTo>
                  <a:pt x="216" y="18"/>
                </a:lnTo>
                <a:lnTo>
                  <a:pt x="216" y="18"/>
                </a:lnTo>
                <a:lnTo>
                  <a:pt x="216" y="18"/>
                </a:lnTo>
                <a:lnTo>
                  <a:pt x="216" y="18"/>
                </a:lnTo>
                <a:lnTo>
                  <a:pt x="216" y="18"/>
                </a:lnTo>
                <a:lnTo>
                  <a:pt x="216" y="18"/>
                </a:lnTo>
                <a:lnTo>
                  <a:pt x="222" y="18"/>
                </a:lnTo>
                <a:lnTo>
                  <a:pt x="222" y="18"/>
                </a:lnTo>
                <a:lnTo>
                  <a:pt x="222" y="18"/>
                </a:lnTo>
                <a:lnTo>
                  <a:pt x="222" y="18"/>
                </a:lnTo>
                <a:lnTo>
                  <a:pt x="222" y="18"/>
                </a:lnTo>
                <a:lnTo>
                  <a:pt x="222" y="18"/>
                </a:lnTo>
                <a:lnTo>
                  <a:pt x="222" y="18"/>
                </a:lnTo>
                <a:lnTo>
                  <a:pt x="222" y="18"/>
                </a:lnTo>
                <a:lnTo>
                  <a:pt x="222" y="12"/>
                </a:lnTo>
                <a:lnTo>
                  <a:pt x="216" y="12"/>
                </a:lnTo>
                <a:lnTo>
                  <a:pt x="216" y="12"/>
                </a:lnTo>
                <a:lnTo>
                  <a:pt x="222" y="12"/>
                </a:lnTo>
                <a:lnTo>
                  <a:pt x="222" y="12"/>
                </a:lnTo>
                <a:lnTo>
                  <a:pt x="222" y="12"/>
                </a:lnTo>
                <a:lnTo>
                  <a:pt x="222" y="12"/>
                </a:lnTo>
                <a:lnTo>
                  <a:pt x="222" y="12"/>
                </a:lnTo>
                <a:lnTo>
                  <a:pt x="222" y="12"/>
                </a:lnTo>
                <a:lnTo>
                  <a:pt x="222" y="12"/>
                </a:lnTo>
                <a:lnTo>
                  <a:pt x="222" y="12"/>
                </a:lnTo>
                <a:lnTo>
                  <a:pt x="222" y="12"/>
                </a:lnTo>
                <a:lnTo>
                  <a:pt x="222" y="12"/>
                </a:lnTo>
                <a:lnTo>
                  <a:pt x="222" y="12"/>
                </a:lnTo>
                <a:lnTo>
                  <a:pt x="222" y="12"/>
                </a:lnTo>
                <a:lnTo>
                  <a:pt x="222" y="6"/>
                </a:lnTo>
                <a:lnTo>
                  <a:pt x="222" y="6"/>
                </a:lnTo>
                <a:lnTo>
                  <a:pt x="222" y="6"/>
                </a:lnTo>
                <a:lnTo>
                  <a:pt x="222" y="6"/>
                </a:lnTo>
                <a:lnTo>
                  <a:pt x="222" y="6"/>
                </a:lnTo>
                <a:lnTo>
                  <a:pt x="222" y="6"/>
                </a:lnTo>
                <a:lnTo>
                  <a:pt x="222" y="0"/>
                </a:lnTo>
                <a:lnTo>
                  <a:pt x="222" y="0"/>
                </a:lnTo>
                <a:lnTo>
                  <a:pt x="228" y="0"/>
                </a:lnTo>
                <a:lnTo>
                  <a:pt x="228" y="0"/>
                </a:lnTo>
                <a:lnTo>
                  <a:pt x="228" y="0"/>
                </a:lnTo>
                <a:lnTo>
                  <a:pt x="228" y="0"/>
                </a:lnTo>
                <a:lnTo>
                  <a:pt x="228" y="6"/>
                </a:lnTo>
                <a:lnTo>
                  <a:pt x="234" y="0"/>
                </a:lnTo>
                <a:lnTo>
                  <a:pt x="234" y="0"/>
                </a:lnTo>
                <a:lnTo>
                  <a:pt x="234" y="0"/>
                </a:lnTo>
                <a:lnTo>
                  <a:pt x="240" y="6"/>
                </a:lnTo>
                <a:lnTo>
                  <a:pt x="234" y="6"/>
                </a:lnTo>
                <a:lnTo>
                  <a:pt x="234" y="6"/>
                </a:lnTo>
                <a:lnTo>
                  <a:pt x="234" y="6"/>
                </a:lnTo>
                <a:lnTo>
                  <a:pt x="234" y="6"/>
                </a:lnTo>
                <a:lnTo>
                  <a:pt x="234" y="6"/>
                </a:lnTo>
                <a:lnTo>
                  <a:pt x="234" y="6"/>
                </a:lnTo>
                <a:lnTo>
                  <a:pt x="234" y="6"/>
                </a:lnTo>
                <a:lnTo>
                  <a:pt x="234" y="6"/>
                </a:lnTo>
                <a:lnTo>
                  <a:pt x="234" y="6"/>
                </a:lnTo>
                <a:lnTo>
                  <a:pt x="234" y="12"/>
                </a:lnTo>
                <a:lnTo>
                  <a:pt x="228" y="12"/>
                </a:lnTo>
                <a:lnTo>
                  <a:pt x="228" y="12"/>
                </a:lnTo>
                <a:lnTo>
                  <a:pt x="234" y="12"/>
                </a:lnTo>
                <a:lnTo>
                  <a:pt x="234" y="12"/>
                </a:lnTo>
                <a:lnTo>
                  <a:pt x="228" y="12"/>
                </a:lnTo>
                <a:lnTo>
                  <a:pt x="228" y="12"/>
                </a:lnTo>
                <a:lnTo>
                  <a:pt x="234" y="18"/>
                </a:lnTo>
                <a:lnTo>
                  <a:pt x="228" y="18"/>
                </a:lnTo>
                <a:lnTo>
                  <a:pt x="228" y="18"/>
                </a:lnTo>
                <a:lnTo>
                  <a:pt x="228" y="18"/>
                </a:lnTo>
                <a:lnTo>
                  <a:pt x="228" y="18"/>
                </a:lnTo>
                <a:lnTo>
                  <a:pt x="228" y="18"/>
                </a:lnTo>
                <a:lnTo>
                  <a:pt x="228" y="18"/>
                </a:lnTo>
                <a:lnTo>
                  <a:pt x="228" y="18"/>
                </a:lnTo>
                <a:lnTo>
                  <a:pt x="228" y="24"/>
                </a:lnTo>
                <a:lnTo>
                  <a:pt x="228" y="24"/>
                </a:lnTo>
                <a:lnTo>
                  <a:pt x="228" y="24"/>
                </a:lnTo>
                <a:lnTo>
                  <a:pt x="228" y="24"/>
                </a:lnTo>
                <a:lnTo>
                  <a:pt x="228" y="24"/>
                </a:lnTo>
                <a:lnTo>
                  <a:pt x="228" y="24"/>
                </a:lnTo>
                <a:lnTo>
                  <a:pt x="228" y="24"/>
                </a:lnTo>
                <a:lnTo>
                  <a:pt x="228" y="24"/>
                </a:lnTo>
                <a:lnTo>
                  <a:pt x="234" y="30"/>
                </a:lnTo>
                <a:lnTo>
                  <a:pt x="234" y="30"/>
                </a:lnTo>
                <a:lnTo>
                  <a:pt x="234" y="30"/>
                </a:lnTo>
                <a:lnTo>
                  <a:pt x="234" y="30"/>
                </a:lnTo>
                <a:lnTo>
                  <a:pt x="234" y="30"/>
                </a:lnTo>
                <a:lnTo>
                  <a:pt x="234" y="30"/>
                </a:lnTo>
                <a:lnTo>
                  <a:pt x="234" y="30"/>
                </a:lnTo>
                <a:lnTo>
                  <a:pt x="234" y="30"/>
                </a:lnTo>
                <a:lnTo>
                  <a:pt x="234" y="36"/>
                </a:lnTo>
                <a:lnTo>
                  <a:pt x="234" y="36"/>
                </a:lnTo>
                <a:lnTo>
                  <a:pt x="234" y="36"/>
                </a:lnTo>
                <a:lnTo>
                  <a:pt x="234" y="42"/>
                </a:lnTo>
                <a:lnTo>
                  <a:pt x="234" y="42"/>
                </a:lnTo>
                <a:lnTo>
                  <a:pt x="240" y="42"/>
                </a:lnTo>
                <a:lnTo>
                  <a:pt x="240" y="48"/>
                </a:lnTo>
                <a:lnTo>
                  <a:pt x="240" y="42"/>
                </a:lnTo>
                <a:lnTo>
                  <a:pt x="240" y="48"/>
                </a:lnTo>
                <a:lnTo>
                  <a:pt x="240" y="48"/>
                </a:lnTo>
                <a:lnTo>
                  <a:pt x="240" y="48"/>
                </a:lnTo>
                <a:lnTo>
                  <a:pt x="240" y="48"/>
                </a:lnTo>
                <a:lnTo>
                  <a:pt x="240" y="48"/>
                </a:lnTo>
                <a:lnTo>
                  <a:pt x="240" y="48"/>
                </a:lnTo>
                <a:lnTo>
                  <a:pt x="246" y="48"/>
                </a:lnTo>
                <a:lnTo>
                  <a:pt x="246" y="48"/>
                </a:lnTo>
                <a:lnTo>
                  <a:pt x="246" y="48"/>
                </a:lnTo>
                <a:lnTo>
                  <a:pt x="246" y="48"/>
                </a:lnTo>
                <a:lnTo>
                  <a:pt x="252" y="48"/>
                </a:lnTo>
                <a:lnTo>
                  <a:pt x="252" y="54"/>
                </a:lnTo>
                <a:lnTo>
                  <a:pt x="246" y="54"/>
                </a:lnTo>
                <a:lnTo>
                  <a:pt x="246" y="54"/>
                </a:lnTo>
                <a:lnTo>
                  <a:pt x="252" y="54"/>
                </a:lnTo>
                <a:lnTo>
                  <a:pt x="252" y="54"/>
                </a:lnTo>
                <a:lnTo>
                  <a:pt x="252" y="54"/>
                </a:lnTo>
                <a:lnTo>
                  <a:pt x="252" y="54"/>
                </a:lnTo>
                <a:lnTo>
                  <a:pt x="252" y="54"/>
                </a:lnTo>
                <a:lnTo>
                  <a:pt x="258" y="54"/>
                </a:lnTo>
                <a:lnTo>
                  <a:pt x="252" y="60"/>
                </a:lnTo>
                <a:lnTo>
                  <a:pt x="252" y="60"/>
                </a:lnTo>
                <a:lnTo>
                  <a:pt x="252" y="60"/>
                </a:lnTo>
                <a:lnTo>
                  <a:pt x="252" y="60"/>
                </a:lnTo>
                <a:lnTo>
                  <a:pt x="252" y="60"/>
                </a:lnTo>
                <a:lnTo>
                  <a:pt x="252" y="60"/>
                </a:lnTo>
                <a:lnTo>
                  <a:pt x="252" y="60"/>
                </a:lnTo>
                <a:lnTo>
                  <a:pt x="252" y="60"/>
                </a:lnTo>
                <a:lnTo>
                  <a:pt x="252" y="60"/>
                </a:lnTo>
                <a:lnTo>
                  <a:pt x="252" y="60"/>
                </a:lnTo>
                <a:lnTo>
                  <a:pt x="258" y="60"/>
                </a:lnTo>
                <a:lnTo>
                  <a:pt x="258" y="60"/>
                </a:lnTo>
                <a:lnTo>
                  <a:pt x="258" y="66"/>
                </a:lnTo>
                <a:lnTo>
                  <a:pt x="258" y="60"/>
                </a:lnTo>
                <a:lnTo>
                  <a:pt x="252" y="60"/>
                </a:lnTo>
                <a:lnTo>
                  <a:pt x="252" y="66"/>
                </a:lnTo>
                <a:lnTo>
                  <a:pt x="258" y="66"/>
                </a:lnTo>
                <a:lnTo>
                  <a:pt x="252" y="66"/>
                </a:lnTo>
                <a:lnTo>
                  <a:pt x="252" y="66"/>
                </a:lnTo>
                <a:lnTo>
                  <a:pt x="252" y="66"/>
                </a:lnTo>
                <a:lnTo>
                  <a:pt x="252" y="66"/>
                </a:lnTo>
                <a:lnTo>
                  <a:pt x="252" y="66"/>
                </a:lnTo>
                <a:lnTo>
                  <a:pt x="252" y="66"/>
                </a:lnTo>
                <a:lnTo>
                  <a:pt x="252" y="72"/>
                </a:lnTo>
                <a:lnTo>
                  <a:pt x="252" y="72"/>
                </a:lnTo>
                <a:lnTo>
                  <a:pt x="252" y="72"/>
                </a:lnTo>
                <a:lnTo>
                  <a:pt x="252" y="72"/>
                </a:lnTo>
                <a:lnTo>
                  <a:pt x="252" y="72"/>
                </a:lnTo>
                <a:lnTo>
                  <a:pt x="252" y="72"/>
                </a:lnTo>
                <a:lnTo>
                  <a:pt x="252" y="72"/>
                </a:lnTo>
                <a:lnTo>
                  <a:pt x="252" y="72"/>
                </a:lnTo>
                <a:lnTo>
                  <a:pt x="252" y="72"/>
                </a:lnTo>
                <a:lnTo>
                  <a:pt x="252" y="72"/>
                </a:lnTo>
                <a:lnTo>
                  <a:pt x="252" y="72"/>
                </a:lnTo>
                <a:lnTo>
                  <a:pt x="252" y="78"/>
                </a:lnTo>
                <a:lnTo>
                  <a:pt x="252" y="78"/>
                </a:lnTo>
                <a:lnTo>
                  <a:pt x="252" y="78"/>
                </a:lnTo>
                <a:lnTo>
                  <a:pt x="252" y="78"/>
                </a:lnTo>
                <a:lnTo>
                  <a:pt x="252" y="78"/>
                </a:lnTo>
                <a:lnTo>
                  <a:pt x="252" y="78"/>
                </a:lnTo>
                <a:lnTo>
                  <a:pt x="258" y="78"/>
                </a:lnTo>
                <a:lnTo>
                  <a:pt x="258" y="78"/>
                </a:lnTo>
                <a:lnTo>
                  <a:pt x="258" y="78"/>
                </a:lnTo>
                <a:lnTo>
                  <a:pt x="258" y="78"/>
                </a:lnTo>
                <a:lnTo>
                  <a:pt x="258" y="78"/>
                </a:lnTo>
                <a:lnTo>
                  <a:pt x="258" y="78"/>
                </a:lnTo>
                <a:lnTo>
                  <a:pt x="258" y="78"/>
                </a:lnTo>
                <a:lnTo>
                  <a:pt x="258" y="78"/>
                </a:lnTo>
                <a:lnTo>
                  <a:pt x="258" y="78"/>
                </a:lnTo>
                <a:lnTo>
                  <a:pt x="258" y="78"/>
                </a:lnTo>
                <a:lnTo>
                  <a:pt x="258" y="78"/>
                </a:lnTo>
                <a:lnTo>
                  <a:pt x="258" y="78"/>
                </a:lnTo>
                <a:lnTo>
                  <a:pt x="264" y="78"/>
                </a:lnTo>
                <a:lnTo>
                  <a:pt x="264" y="78"/>
                </a:lnTo>
                <a:lnTo>
                  <a:pt x="264" y="78"/>
                </a:lnTo>
                <a:lnTo>
                  <a:pt x="258" y="78"/>
                </a:lnTo>
                <a:lnTo>
                  <a:pt x="264" y="78"/>
                </a:lnTo>
                <a:lnTo>
                  <a:pt x="264" y="84"/>
                </a:lnTo>
                <a:lnTo>
                  <a:pt x="258" y="84"/>
                </a:lnTo>
                <a:lnTo>
                  <a:pt x="258" y="84"/>
                </a:lnTo>
                <a:lnTo>
                  <a:pt x="258" y="84"/>
                </a:lnTo>
                <a:lnTo>
                  <a:pt x="258" y="84"/>
                </a:lnTo>
                <a:lnTo>
                  <a:pt x="258" y="84"/>
                </a:lnTo>
                <a:lnTo>
                  <a:pt x="258" y="84"/>
                </a:lnTo>
                <a:lnTo>
                  <a:pt x="258" y="84"/>
                </a:lnTo>
                <a:lnTo>
                  <a:pt x="258" y="84"/>
                </a:lnTo>
                <a:lnTo>
                  <a:pt x="258" y="84"/>
                </a:lnTo>
                <a:lnTo>
                  <a:pt x="258" y="84"/>
                </a:lnTo>
                <a:lnTo>
                  <a:pt x="258" y="84"/>
                </a:lnTo>
                <a:lnTo>
                  <a:pt x="258" y="84"/>
                </a:lnTo>
                <a:lnTo>
                  <a:pt x="258" y="84"/>
                </a:lnTo>
                <a:lnTo>
                  <a:pt x="258" y="90"/>
                </a:lnTo>
                <a:lnTo>
                  <a:pt x="258" y="84"/>
                </a:lnTo>
                <a:lnTo>
                  <a:pt x="258" y="84"/>
                </a:lnTo>
                <a:lnTo>
                  <a:pt x="258" y="84"/>
                </a:lnTo>
                <a:lnTo>
                  <a:pt x="258" y="90"/>
                </a:lnTo>
                <a:lnTo>
                  <a:pt x="264" y="84"/>
                </a:lnTo>
                <a:lnTo>
                  <a:pt x="264" y="90"/>
                </a:lnTo>
                <a:lnTo>
                  <a:pt x="258" y="90"/>
                </a:lnTo>
                <a:lnTo>
                  <a:pt x="258" y="90"/>
                </a:lnTo>
                <a:lnTo>
                  <a:pt x="258" y="90"/>
                </a:lnTo>
                <a:lnTo>
                  <a:pt x="258" y="90"/>
                </a:lnTo>
                <a:lnTo>
                  <a:pt x="258" y="90"/>
                </a:lnTo>
                <a:lnTo>
                  <a:pt x="258" y="90"/>
                </a:lnTo>
                <a:lnTo>
                  <a:pt x="258" y="90"/>
                </a:lnTo>
                <a:lnTo>
                  <a:pt x="264" y="90"/>
                </a:lnTo>
                <a:lnTo>
                  <a:pt x="264" y="90"/>
                </a:lnTo>
                <a:lnTo>
                  <a:pt x="264" y="90"/>
                </a:lnTo>
                <a:lnTo>
                  <a:pt x="264" y="90"/>
                </a:lnTo>
                <a:lnTo>
                  <a:pt x="264" y="90"/>
                </a:lnTo>
                <a:lnTo>
                  <a:pt x="264" y="90"/>
                </a:lnTo>
                <a:lnTo>
                  <a:pt x="264" y="90"/>
                </a:lnTo>
                <a:lnTo>
                  <a:pt x="264" y="90"/>
                </a:lnTo>
                <a:lnTo>
                  <a:pt x="264" y="90"/>
                </a:lnTo>
                <a:lnTo>
                  <a:pt x="264" y="90"/>
                </a:lnTo>
                <a:lnTo>
                  <a:pt x="264" y="90"/>
                </a:lnTo>
                <a:lnTo>
                  <a:pt x="264" y="90"/>
                </a:lnTo>
                <a:lnTo>
                  <a:pt x="264" y="90"/>
                </a:lnTo>
                <a:lnTo>
                  <a:pt x="264" y="90"/>
                </a:lnTo>
                <a:lnTo>
                  <a:pt x="270" y="90"/>
                </a:lnTo>
                <a:lnTo>
                  <a:pt x="264" y="90"/>
                </a:lnTo>
                <a:lnTo>
                  <a:pt x="264" y="90"/>
                </a:lnTo>
                <a:lnTo>
                  <a:pt x="264" y="96"/>
                </a:lnTo>
                <a:lnTo>
                  <a:pt x="264" y="96"/>
                </a:lnTo>
                <a:lnTo>
                  <a:pt x="264" y="96"/>
                </a:lnTo>
                <a:lnTo>
                  <a:pt x="264" y="96"/>
                </a:lnTo>
                <a:lnTo>
                  <a:pt x="264" y="96"/>
                </a:lnTo>
                <a:lnTo>
                  <a:pt x="264" y="96"/>
                </a:lnTo>
                <a:lnTo>
                  <a:pt x="264" y="96"/>
                </a:lnTo>
                <a:lnTo>
                  <a:pt x="264" y="96"/>
                </a:lnTo>
                <a:lnTo>
                  <a:pt x="264" y="96"/>
                </a:lnTo>
                <a:lnTo>
                  <a:pt x="264" y="96"/>
                </a:lnTo>
                <a:lnTo>
                  <a:pt x="264" y="102"/>
                </a:lnTo>
                <a:lnTo>
                  <a:pt x="264" y="102"/>
                </a:lnTo>
                <a:lnTo>
                  <a:pt x="264" y="102"/>
                </a:lnTo>
                <a:lnTo>
                  <a:pt x="264" y="96"/>
                </a:lnTo>
                <a:lnTo>
                  <a:pt x="258" y="102"/>
                </a:lnTo>
                <a:lnTo>
                  <a:pt x="258" y="102"/>
                </a:lnTo>
                <a:lnTo>
                  <a:pt x="258" y="102"/>
                </a:lnTo>
                <a:lnTo>
                  <a:pt x="264" y="102"/>
                </a:lnTo>
                <a:lnTo>
                  <a:pt x="264" y="102"/>
                </a:lnTo>
                <a:lnTo>
                  <a:pt x="264" y="102"/>
                </a:lnTo>
                <a:lnTo>
                  <a:pt x="264" y="108"/>
                </a:lnTo>
                <a:lnTo>
                  <a:pt x="270" y="108"/>
                </a:lnTo>
                <a:lnTo>
                  <a:pt x="270" y="108"/>
                </a:lnTo>
                <a:lnTo>
                  <a:pt x="270" y="102"/>
                </a:lnTo>
                <a:lnTo>
                  <a:pt x="270" y="108"/>
                </a:lnTo>
                <a:lnTo>
                  <a:pt x="276" y="108"/>
                </a:lnTo>
                <a:lnTo>
                  <a:pt x="276" y="108"/>
                </a:lnTo>
                <a:lnTo>
                  <a:pt x="276" y="108"/>
                </a:lnTo>
                <a:lnTo>
                  <a:pt x="276" y="108"/>
                </a:lnTo>
                <a:lnTo>
                  <a:pt x="276" y="108"/>
                </a:lnTo>
                <a:lnTo>
                  <a:pt x="282" y="108"/>
                </a:lnTo>
                <a:lnTo>
                  <a:pt x="282" y="108"/>
                </a:lnTo>
                <a:lnTo>
                  <a:pt x="276" y="108"/>
                </a:lnTo>
                <a:lnTo>
                  <a:pt x="276" y="114"/>
                </a:lnTo>
                <a:lnTo>
                  <a:pt x="282" y="114"/>
                </a:lnTo>
                <a:lnTo>
                  <a:pt x="282" y="114"/>
                </a:lnTo>
                <a:lnTo>
                  <a:pt x="282" y="114"/>
                </a:lnTo>
                <a:lnTo>
                  <a:pt x="282" y="114"/>
                </a:lnTo>
                <a:lnTo>
                  <a:pt x="282" y="114"/>
                </a:lnTo>
                <a:lnTo>
                  <a:pt x="282" y="120"/>
                </a:lnTo>
                <a:lnTo>
                  <a:pt x="282" y="120"/>
                </a:lnTo>
                <a:lnTo>
                  <a:pt x="282" y="120"/>
                </a:lnTo>
                <a:lnTo>
                  <a:pt x="282" y="120"/>
                </a:lnTo>
                <a:lnTo>
                  <a:pt x="282" y="120"/>
                </a:lnTo>
                <a:lnTo>
                  <a:pt x="282" y="120"/>
                </a:lnTo>
                <a:lnTo>
                  <a:pt x="282" y="120"/>
                </a:lnTo>
                <a:lnTo>
                  <a:pt x="282" y="120"/>
                </a:lnTo>
                <a:lnTo>
                  <a:pt x="282" y="120"/>
                </a:lnTo>
                <a:lnTo>
                  <a:pt x="282" y="120"/>
                </a:lnTo>
                <a:lnTo>
                  <a:pt x="282" y="120"/>
                </a:lnTo>
                <a:lnTo>
                  <a:pt x="276" y="120"/>
                </a:lnTo>
                <a:lnTo>
                  <a:pt x="276" y="126"/>
                </a:lnTo>
                <a:lnTo>
                  <a:pt x="276" y="126"/>
                </a:lnTo>
                <a:lnTo>
                  <a:pt x="276" y="126"/>
                </a:lnTo>
                <a:lnTo>
                  <a:pt x="276" y="126"/>
                </a:lnTo>
                <a:lnTo>
                  <a:pt x="276" y="126"/>
                </a:lnTo>
                <a:lnTo>
                  <a:pt x="270" y="126"/>
                </a:lnTo>
                <a:lnTo>
                  <a:pt x="270" y="126"/>
                </a:lnTo>
                <a:lnTo>
                  <a:pt x="270" y="126"/>
                </a:lnTo>
                <a:lnTo>
                  <a:pt x="270" y="126"/>
                </a:lnTo>
                <a:lnTo>
                  <a:pt x="270" y="126"/>
                </a:lnTo>
                <a:lnTo>
                  <a:pt x="270" y="126"/>
                </a:lnTo>
                <a:lnTo>
                  <a:pt x="270" y="126"/>
                </a:lnTo>
                <a:lnTo>
                  <a:pt x="270" y="126"/>
                </a:lnTo>
                <a:lnTo>
                  <a:pt x="264" y="126"/>
                </a:lnTo>
                <a:lnTo>
                  <a:pt x="264" y="126"/>
                </a:lnTo>
                <a:lnTo>
                  <a:pt x="264" y="126"/>
                </a:lnTo>
                <a:lnTo>
                  <a:pt x="264" y="126"/>
                </a:lnTo>
                <a:lnTo>
                  <a:pt x="264" y="132"/>
                </a:lnTo>
                <a:lnTo>
                  <a:pt x="264" y="132"/>
                </a:lnTo>
                <a:lnTo>
                  <a:pt x="264" y="132"/>
                </a:lnTo>
                <a:lnTo>
                  <a:pt x="264" y="132"/>
                </a:lnTo>
                <a:lnTo>
                  <a:pt x="264" y="132"/>
                </a:lnTo>
                <a:lnTo>
                  <a:pt x="258" y="132"/>
                </a:lnTo>
                <a:lnTo>
                  <a:pt x="258" y="132"/>
                </a:lnTo>
                <a:lnTo>
                  <a:pt x="258" y="132"/>
                </a:lnTo>
                <a:lnTo>
                  <a:pt x="258" y="132"/>
                </a:lnTo>
                <a:lnTo>
                  <a:pt x="258" y="132"/>
                </a:lnTo>
                <a:lnTo>
                  <a:pt x="258" y="132"/>
                </a:lnTo>
                <a:lnTo>
                  <a:pt x="258" y="132"/>
                </a:lnTo>
                <a:lnTo>
                  <a:pt x="258" y="132"/>
                </a:lnTo>
                <a:lnTo>
                  <a:pt x="258" y="132"/>
                </a:lnTo>
                <a:lnTo>
                  <a:pt x="252" y="132"/>
                </a:lnTo>
                <a:lnTo>
                  <a:pt x="258" y="132"/>
                </a:lnTo>
                <a:lnTo>
                  <a:pt x="252" y="132"/>
                </a:lnTo>
                <a:lnTo>
                  <a:pt x="252" y="132"/>
                </a:lnTo>
                <a:lnTo>
                  <a:pt x="252" y="132"/>
                </a:lnTo>
                <a:lnTo>
                  <a:pt x="252" y="132"/>
                </a:lnTo>
                <a:lnTo>
                  <a:pt x="252" y="138"/>
                </a:lnTo>
                <a:lnTo>
                  <a:pt x="246" y="138"/>
                </a:lnTo>
                <a:lnTo>
                  <a:pt x="246" y="138"/>
                </a:lnTo>
                <a:lnTo>
                  <a:pt x="246" y="132"/>
                </a:lnTo>
                <a:lnTo>
                  <a:pt x="246" y="132"/>
                </a:lnTo>
                <a:lnTo>
                  <a:pt x="246" y="138"/>
                </a:lnTo>
                <a:lnTo>
                  <a:pt x="246" y="138"/>
                </a:lnTo>
                <a:lnTo>
                  <a:pt x="246" y="138"/>
                </a:lnTo>
                <a:lnTo>
                  <a:pt x="240" y="138"/>
                </a:lnTo>
                <a:lnTo>
                  <a:pt x="240" y="138"/>
                </a:lnTo>
                <a:lnTo>
                  <a:pt x="240" y="138"/>
                </a:lnTo>
                <a:lnTo>
                  <a:pt x="240" y="138"/>
                </a:lnTo>
                <a:lnTo>
                  <a:pt x="240" y="144"/>
                </a:lnTo>
                <a:lnTo>
                  <a:pt x="240" y="144"/>
                </a:lnTo>
                <a:lnTo>
                  <a:pt x="240" y="144"/>
                </a:lnTo>
                <a:lnTo>
                  <a:pt x="240" y="138"/>
                </a:lnTo>
                <a:lnTo>
                  <a:pt x="240" y="138"/>
                </a:lnTo>
                <a:lnTo>
                  <a:pt x="234" y="144"/>
                </a:lnTo>
                <a:lnTo>
                  <a:pt x="234" y="144"/>
                </a:lnTo>
                <a:lnTo>
                  <a:pt x="234" y="144"/>
                </a:lnTo>
                <a:lnTo>
                  <a:pt x="234" y="144"/>
                </a:lnTo>
                <a:lnTo>
                  <a:pt x="234" y="144"/>
                </a:lnTo>
                <a:lnTo>
                  <a:pt x="234" y="144"/>
                </a:lnTo>
                <a:lnTo>
                  <a:pt x="234" y="150"/>
                </a:lnTo>
                <a:lnTo>
                  <a:pt x="234" y="150"/>
                </a:lnTo>
                <a:lnTo>
                  <a:pt x="234" y="150"/>
                </a:lnTo>
                <a:lnTo>
                  <a:pt x="234" y="150"/>
                </a:lnTo>
                <a:lnTo>
                  <a:pt x="234" y="150"/>
                </a:lnTo>
                <a:lnTo>
                  <a:pt x="228" y="150"/>
                </a:lnTo>
                <a:lnTo>
                  <a:pt x="228" y="150"/>
                </a:lnTo>
                <a:lnTo>
                  <a:pt x="228" y="150"/>
                </a:lnTo>
                <a:lnTo>
                  <a:pt x="228" y="150"/>
                </a:lnTo>
                <a:lnTo>
                  <a:pt x="228" y="156"/>
                </a:lnTo>
                <a:lnTo>
                  <a:pt x="228" y="156"/>
                </a:lnTo>
                <a:lnTo>
                  <a:pt x="228" y="156"/>
                </a:lnTo>
                <a:lnTo>
                  <a:pt x="228" y="156"/>
                </a:lnTo>
                <a:lnTo>
                  <a:pt x="228" y="156"/>
                </a:lnTo>
                <a:lnTo>
                  <a:pt x="228" y="156"/>
                </a:lnTo>
                <a:lnTo>
                  <a:pt x="228" y="156"/>
                </a:lnTo>
                <a:lnTo>
                  <a:pt x="228" y="156"/>
                </a:lnTo>
                <a:lnTo>
                  <a:pt x="222" y="156"/>
                </a:lnTo>
                <a:lnTo>
                  <a:pt x="228" y="156"/>
                </a:lnTo>
                <a:lnTo>
                  <a:pt x="222" y="156"/>
                </a:lnTo>
                <a:lnTo>
                  <a:pt x="222" y="156"/>
                </a:lnTo>
                <a:lnTo>
                  <a:pt x="222" y="156"/>
                </a:lnTo>
                <a:lnTo>
                  <a:pt x="222" y="156"/>
                </a:lnTo>
                <a:lnTo>
                  <a:pt x="222" y="156"/>
                </a:lnTo>
                <a:lnTo>
                  <a:pt x="222" y="156"/>
                </a:lnTo>
                <a:lnTo>
                  <a:pt x="216" y="156"/>
                </a:lnTo>
                <a:lnTo>
                  <a:pt x="216" y="156"/>
                </a:lnTo>
                <a:lnTo>
                  <a:pt x="216" y="156"/>
                </a:lnTo>
                <a:lnTo>
                  <a:pt x="216" y="156"/>
                </a:lnTo>
                <a:lnTo>
                  <a:pt x="216" y="156"/>
                </a:lnTo>
                <a:lnTo>
                  <a:pt x="216" y="156"/>
                </a:lnTo>
                <a:lnTo>
                  <a:pt x="210" y="156"/>
                </a:lnTo>
                <a:lnTo>
                  <a:pt x="210" y="156"/>
                </a:lnTo>
                <a:lnTo>
                  <a:pt x="210" y="162"/>
                </a:lnTo>
                <a:lnTo>
                  <a:pt x="210" y="156"/>
                </a:lnTo>
                <a:lnTo>
                  <a:pt x="210" y="162"/>
                </a:lnTo>
                <a:lnTo>
                  <a:pt x="210" y="162"/>
                </a:lnTo>
                <a:lnTo>
                  <a:pt x="210" y="162"/>
                </a:lnTo>
                <a:lnTo>
                  <a:pt x="204" y="162"/>
                </a:lnTo>
                <a:lnTo>
                  <a:pt x="204" y="162"/>
                </a:lnTo>
                <a:lnTo>
                  <a:pt x="204" y="162"/>
                </a:lnTo>
                <a:lnTo>
                  <a:pt x="204" y="162"/>
                </a:lnTo>
                <a:lnTo>
                  <a:pt x="204" y="162"/>
                </a:lnTo>
                <a:lnTo>
                  <a:pt x="204" y="162"/>
                </a:lnTo>
                <a:lnTo>
                  <a:pt x="198" y="162"/>
                </a:lnTo>
                <a:lnTo>
                  <a:pt x="198" y="162"/>
                </a:lnTo>
                <a:lnTo>
                  <a:pt x="198" y="162"/>
                </a:lnTo>
                <a:lnTo>
                  <a:pt x="192" y="162"/>
                </a:lnTo>
                <a:lnTo>
                  <a:pt x="192" y="162"/>
                </a:lnTo>
                <a:lnTo>
                  <a:pt x="192" y="162"/>
                </a:lnTo>
                <a:lnTo>
                  <a:pt x="192" y="162"/>
                </a:lnTo>
                <a:lnTo>
                  <a:pt x="192" y="162"/>
                </a:lnTo>
                <a:lnTo>
                  <a:pt x="186" y="162"/>
                </a:lnTo>
                <a:lnTo>
                  <a:pt x="186" y="162"/>
                </a:lnTo>
                <a:lnTo>
                  <a:pt x="186" y="156"/>
                </a:lnTo>
                <a:lnTo>
                  <a:pt x="186" y="156"/>
                </a:lnTo>
                <a:lnTo>
                  <a:pt x="192" y="156"/>
                </a:lnTo>
                <a:lnTo>
                  <a:pt x="192" y="156"/>
                </a:lnTo>
                <a:lnTo>
                  <a:pt x="192" y="156"/>
                </a:lnTo>
                <a:lnTo>
                  <a:pt x="186" y="150"/>
                </a:lnTo>
                <a:lnTo>
                  <a:pt x="186" y="150"/>
                </a:lnTo>
                <a:lnTo>
                  <a:pt x="186" y="156"/>
                </a:lnTo>
                <a:lnTo>
                  <a:pt x="186" y="156"/>
                </a:lnTo>
                <a:lnTo>
                  <a:pt x="180" y="162"/>
                </a:lnTo>
                <a:lnTo>
                  <a:pt x="186" y="162"/>
                </a:lnTo>
                <a:lnTo>
                  <a:pt x="186" y="162"/>
                </a:lnTo>
                <a:lnTo>
                  <a:pt x="180" y="162"/>
                </a:lnTo>
                <a:lnTo>
                  <a:pt x="180" y="162"/>
                </a:lnTo>
                <a:lnTo>
                  <a:pt x="180" y="162"/>
                </a:lnTo>
                <a:lnTo>
                  <a:pt x="180" y="162"/>
                </a:lnTo>
                <a:lnTo>
                  <a:pt x="180" y="162"/>
                </a:lnTo>
                <a:lnTo>
                  <a:pt x="180" y="162"/>
                </a:lnTo>
                <a:lnTo>
                  <a:pt x="174" y="162"/>
                </a:lnTo>
                <a:lnTo>
                  <a:pt x="174" y="168"/>
                </a:lnTo>
                <a:lnTo>
                  <a:pt x="174" y="168"/>
                </a:lnTo>
                <a:lnTo>
                  <a:pt x="168" y="162"/>
                </a:lnTo>
                <a:lnTo>
                  <a:pt x="168" y="168"/>
                </a:lnTo>
                <a:lnTo>
                  <a:pt x="168" y="168"/>
                </a:lnTo>
                <a:lnTo>
                  <a:pt x="162" y="168"/>
                </a:lnTo>
                <a:lnTo>
                  <a:pt x="162" y="162"/>
                </a:lnTo>
                <a:lnTo>
                  <a:pt x="162" y="162"/>
                </a:lnTo>
                <a:lnTo>
                  <a:pt x="162" y="162"/>
                </a:lnTo>
                <a:lnTo>
                  <a:pt x="156" y="162"/>
                </a:lnTo>
                <a:lnTo>
                  <a:pt x="156" y="162"/>
                </a:lnTo>
                <a:lnTo>
                  <a:pt x="150" y="162"/>
                </a:lnTo>
                <a:lnTo>
                  <a:pt x="150" y="168"/>
                </a:lnTo>
                <a:lnTo>
                  <a:pt x="150" y="168"/>
                </a:lnTo>
                <a:lnTo>
                  <a:pt x="150" y="162"/>
                </a:lnTo>
                <a:lnTo>
                  <a:pt x="144" y="162"/>
                </a:lnTo>
                <a:lnTo>
                  <a:pt x="150" y="162"/>
                </a:lnTo>
                <a:lnTo>
                  <a:pt x="150" y="162"/>
                </a:lnTo>
                <a:lnTo>
                  <a:pt x="144" y="162"/>
                </a:lnTo>
                <a:lnTo>
                  <a:pt x="144" y="162"/>
                </a:lnTo>
                <a:lnTo>
                  <a:pt x="144" y="156"/>
                </a:lnTo>
                <a:lnTo>
                  <a:pt x="144" y="156"/>
                </a:lnTo>
                <a:lnTo>
                  <a:pt x="144" y="156"/>
                </a:lnTo>
                <a:lnTo>
                  <a:pt x="138" y="156"/>
                </a:lnTo>
                <a:lnTo>
                  <a:pt x="138" y="156"/>
                </a:lnTo>
                <a:lnTo>
                  <a:pt x="138" y="156"/>
                </a:lnTo>
                <a:lnTo>
                  <a:pt x="138" y="150"/>
                </a:lnTo>
                <a:lnTo>
                  <a:pt x="132" y="150"/>
                </a:lnTo>
                <a:lnTo>
                  <a:pt x="132" y="150"/>
                </a:lnTo>
                <a:lnTo>
                  <a:pt x="132" y="150"/>
                </a:lnTo>
                <a:lnTo>
                  <a:pt x="132" y="144"/>
                </a:lnTo>
                <a:lnTo>
                  <a:pt x="126" y="144"/>
                </a:lnTo>
                <a:lnTo>
                  <a:pt x="126" y="144"/>
                </a:lnTo>
                <a:lnTo>
                  <a:pt x="126" y="138"/>
                </a:lnTo>
                <a:lnTo>
                  <a:pt x="126" y="138"/>
                </a:lnTo>
                <a:lnTo>
                  <a:pt x="126" y="138"/>
                </a:lnTo>
                <a:lnTo>
                  <a:pt x="126" y="138"/>
                </a:lnTo>
                <a:lnTo>
                  <a:pt x="132" y="138"/>
                </a:lnTo>
                <a:lnTo>
                  <a:pt x="132" y="138"/>
                </a:lnTo>
                <a:lnTo>
                  <a:pt x="132" y="138"/>
                </a:lnTo>
                <a:lnTo>
                  <a:pt x="132" y="138"/>
                </a:lnTo>
                <a:lnTo>
                  <a:pt x="132" y="132"/>
                </a:lnTo>
                <a:lnTo>
                  <a:pt x="132" y="132"/>
                </a:lnTo>
                <a:lnTo>
                  <a:pt x="132" y="132"/>
                </a:lnTo>
                <a:lnTo>
                  <a:pt x="126" y="132"/>
                </a:lnTo>
                <a:lnTo>
                  <a:pt x="126" y="132"/>
                </a:lnTo>
                <a:lnTo>
                  <a:pt x="126" y="132"/>
                </a:lnTo>
                <a:lnTo>
                  <a:pt x="126" y="132"/>
                </a:lnTo>
                <a:lnTo>
                  <a:pt x="120" y="132"/>
                </a:lnTo>
                <a:lnTo>
                  <a:pt x="120" y="132"/>
                </a:lnTo>
                <a:lnTo>
                  <a:pt x="120" y="132"/>
                </a:lnTo>
                <a:lnTo>
                  <a:pt x="120" y="132"/>
                </a:lnTo>
                <a:lnTo>
                  <a:pt x="114" y="132"/>
                </a:lnTo>
                <a:lnTo>
                  <a:pt x="114" y="132"/>
                </a:lnTo>
                <a:lnTo>
                  <a:pt x="114" y="132"/>
                </a:lnTo>
                <a:lnTo>
                  <a:pt x="114" y="126"/>
                </a:lnTo>
                <a:lnTo>
                  <a:pt x="114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2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6"/>
                </a:lnTo>
                <a:lnTo>
                  <a:pt x="78" y="126"/>
                </a:lnTo>
                <a:lnTo>
                  <a:pt x="78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20"/>
                </a:lnTo>
                <a:lnTo>
                  <a:pt x="66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54" y="120"/>
                </a:lnTo>
                <a:lnTo>
                  <a:pt x="54" y="120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48" y="114"/>
                </a:lnTo>
                <a:lnTo>
                  <a:pt x="48" y="114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14"/>
                </a:lnTo>
                <a:lnTo>
                  <a:pt x="42" y="114"/>
                </a:lnTo>
                <a:lnTo>
                  <a:pt x="42" y="108"/>
                </a:lnTo>
                <a:lnTo>
                  <a:pt x="42" y="108"/>
                </a:lnTo>
                <a:lnTo>
                  <a:pt x="36" y="108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0" y="108"/>
                </a:lnTo>
                <a:lnTo>
                  <a:pt x="30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2" y="102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8"/>
                </a:lnTo>
                <a:lnTo>
                  <a:pt x="6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95" name="Freeform 428"/>
          <p:cNvSpPr>
            <a:spLocks/>
          </p:cNvSpPr>
          <p:nvPr/>
        </p:nvSpPr>
        <p:spPr bwMode="auto">
          <a:xfrm>
            <a:off x="6646285" y="4526874"/>
            <a:ext cx="134905" cy="154178"/>
          </a:xfrm>
          <a:custGeom>
            <a:avLst/>
            <a:gdLst>
              <a:gd name="T0" fmla="*/ 6 w 126"/>
              <a:gd name="T1" fmla="*/ 54 h 144"/>
              <a:gd name="T2" fmla="*/ 12 w 126"/>
              <a:gd name="T3" fmla="*/ 48 h 144"/>
              <a:gd name="T4" fmla="*/ 18 w 126"/>
              <a:gd name="T5" fmla="*/ 42 h 144"/>
              <a:gd name="T6" fmla="*/ 12 w 126"/>
              <a:gd name="T7" fmla="*/ 36 h 144"/>
              <a:gd name="T8" fmla="*/ 24 w 126"/>
              <a:gd name="T9" fmla="*/ 36 h 144"/>
              <a:gd name="T10" fmla="*/ 24 w 126"/>
              <a:gd name="T11" fmla="*/ 30 h 144"/>
              <a:gd name="T12" fmla="*/ 30 w 126"/>
              <a:gd name="T13" fmla="*/ 24 h 144"/>
              <a:gd name="T14" fmla="*/ 42 w 126"/>
              <a:gd name="T15" fmla="*/ 18 h 144"/>
              <a:gd name="T16" fmla="*/ 42 w 126"/>
              <a:gd name="T17" fmla="*/ 12 h 144"/>
              <a:gd name="T18" fmla="*/ 42 w 126"/>
              <a:gd name="T19" fmla="*/ 6 h 144"/>
              <a:gd name="T20" fmla="*/ 42 w 126"/>
              <a:gd name="T21" fmla="*/ 0 h 144"/>
              <a:gd name="T22" fmla="*/ 54 w 126"/>
              <a:gd name="T23" fmla="*/ 6 h 144"/>
              <a:gd name="T24" fmla="*/ 60 w 126"/>
              <a:gd name="T25" fmla="*/ 12 h 144"/>
              <a:gd name="T26" fmla="*/ 72 w 126"/>
              <a:gd name="T27" fmla="*/ 6 h 144"/>
              <a:gd name="T28" fmla="*/ 78 w 126"/>
              <a:gd name="T29" fmla="*/ 6 h 144"/>
              <a:gd name="T30" fmla="*/ 90 w 126"/>
              <a:gd name="T31" fmla="*/ 6 h 144"/>
              <a:gd name="T32" fmla="*/ 102 w 126"/>
              <a:gd name="T33" fmla="*/ 6 h 144"/>
              <a:gd name="T34" fmla="*/ 108 w 126"/>
              <a:gd name="T35" fmla="*/ 12 h 144"/>
              <a:gd name="T36" fmla="*/ 108 w 126"/>
              <a:gd name="T37" fmla="*/ 18 h 144"/>
              <a:gd name="T38" fmla="*/ 120 w 126"/>
              <a:gd name="T39" fmla="*/ 18 h 144"/>
              <a:gd name="T40" fmla="*/ 120 w 126"/>
              <a:gd name="T41" fmla="*/ 18 h 144"/>
              <a:gd name="T42" fmla="*/ 120 w 126"/>
              <a:gd name="T43" fmla="*/ 30 h 144"/>
              <a:gd name="T44" fmla="*/ 120 w 126"/>
              <a:gd name="T45" fmla="*/ 36 h 144"/>
              <a:gd name="T46" fmla="*/ 126 w 126"/>
              <a:gd name="T47" fmla="*/ 42 h 144"/>
              <a:gd name="T48" fmla="*/ 120 w 126"/>
              <a:gd name="T49" fmla="*/ 48 h 144"/>
              <a:gd name="T50" fmla="*/ 114 w 126"/>
              <a:gd name="T51" fmla="*/ 54 h 144"/>
              <a:gd name="T52" fmla="*/ 108 w 126"/>
              <a:gd name="T53" fmla="*/ 60 h 144"/>
              <a:gd name="T54" fmla="*/ 102 w 126"/>
              <a:gd name="T55" fmla="*/ 60 h 144"/>
              <a:gd name="T56" fmla="*/ 102 w 126"/>
              <a:gd name="T57" fmla="*/ 60 h 144"/>
              <a:gd name="T58" fmla="*/ 96 w 126"/>
              <a:gd name="T59" fmla="*/ 66 h 144"/>
              <a:gd name="T60" fmla="*/ 96 w 126"/>
              <a:gd name="T61" fmla="*/ 66 h 144"/>
              <a:gd name="T62" fmla="*/ 96 w 126"/>
              <a:gd name="T63" fmla="*/ 72 h 144"/>
              <a:gd name="T64" fmla="*/ 96 w 126"/>
              <a:gd name="T65" fmla="*/ 72 h 144"/>
              <a:gd name="T66" fmla="*/ 102 w 126"/>
              <a:gd name="T67" fmla="*/ 84 h 144"/>
              <a:gd name="T68" fmla="*/ 96 w 126"/>
              <a:gd name="T69" fmla="*/ 84 h 144"/>
              <a:gd name="T70" fmla="*/ 84 w 126"/>
              <a:gd name="T71" fmla="*/ 84 h 144"/>
              <a:gd name="T72" fmla="*/ 90 w 126"/>
              <a:gd name="T73" fmla="*/ 102 h 144"/>
              <a:gd name="T74" fmla="*/ 96 w 126"/>
              <a:gd name="T75" fmla="*/ 114 h 144"/>
              <a:gd name="T76" fmla="*/ 78 w 126"/>
              <a:gd name="T77" fmla="*/ 120 h 144"/>
              <a:gd name="T78" fmla="*/ 72 w 126"/>
              <a:gd name="T79" fmla="*/ 120 h 144"/>
              <a:gd name="T80" fmla="*/ 66 w 126"/>
              <a:gd name="T81" fmla="*/ 126 h 144"/>
              <a:gd name="T82" fmla="*/ 60 w 126"/>
              <a:gd name="T83" fmla="*/ 132 h 144"/>
              <a:gd name="T84" fmla="*/ 60 w 126"/>
              <a:gd name="T85" fmla="*/ 138 h 144"/>
              <a:gd name="T86" fmla="*/ 60 w 126"/>
              <a:gd name="T87" fmla="*/ 138 h 144"/>
              <a:gd name="T88" fmla="*/ 54 w 126"/>
              <a:gd name="T89" fmla="*/ 138 h 144"/>
              <a:gd name="T90" fmla="*/ 54 w 126"/>
              <a:gd name="T91" fmla="*/ 138 h 144"/>
              <a:gd name="T92" fmla="*/ 48 w 126"/>
              <a:gd name="T93" fmla="*/ 138 h 144"/>
              <a:gd name="T94" fmla="*/ 36 w 126"/>
              <a:gd name="T95" fmla="*/ 132 h 144"/>
              <a:gd name="T96" fmla="*/ 24 w 126"/>
              <a:gd name="T97" fmla="*/ 126 h 144"/>
              <a:gd name="T98" fmla="*/ 18 w 126"/>
              <a:gd name="T99" fmla="*/ 126 h 144"/>
              <a:gd name="T100" fmla="*/ 18 w 126"/>
              <a:gd name="T101" fmla="*/ 120 h 144"/>
              <a:gd name="T102" fmla="*/ 18 w 126"/>
              <a:gd name="T103" fmla="*/ 114 h 144"/>
              <a:gd name="T104" fmla="*/ 24 w 126"/>
              <a:gd name="T105" fmla="*/ 108 h 144"/>
              <a:gd name="T106" fmla="*/ 24 w 126"/>
              <a:gd name="T107" fmla="*/ 96 h 144"/>
              <a:gd name="T108" fmla="*/ 24 w 126"/>
              <a:gd name="T109" fmla="*/ 90 h 144"/>
              <a:gd name="T110" fmla="*/ 24 w 126"/>
              <a:gd name="T111" fmla="*/ 84 h 144"/>
              <a:gd name="T112" fmla="*/ 24 w 126"/>
              <a:gd name="T113" fmla="*/ 78 h 144"/>
              <a:gd name="T114" fmla="*/ 18 w 126"/>
              <a:gd name="T115" fmla="*/ 72 h 144"/>
              <a:gd name="T116" fmla="*/ 12 w 126"/>
              <a:gd name="T117" fmla="*/ 72 h 144"/>
              <a:gd name="T118" fmla="*/ 12 w 126"/>
              <a:gd name="T119" fmla="*/ 66 h 144"/>
              <a:gd name="T120" fmla="*/ 6 w 126"/>
              <a:gd name="T121" fmla="*/ 66 h 144"/>
              <a:gd name="T122" fmla="*/ 6 w 126"/>
              <a:gd name="T123" fmla="*/ 60 h 144"/>
              <a:gd name="T124" fmla="*/ 0 w 126"/>
              <a:gd name="T125" fmla="*/ 60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26" h="144">
                <a:moveTo>
                  <a:pt x="6" y="60"/>
                </a:moveTo>
                <a:lnTo>
                  <a:pt x="6" y="60"/>
                </a:lnTo>
                <a:lnTo>
                  <a:pt x="6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6" y="54"/>
                </a:lnTo>
                <a:lnTo>
                  <a:pt x="12" y="54"/>
                </a:lnTo>
                <a:lnTo>
                  <a:pt x="12" y="54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8" y="48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2" y="36"/>
                </a:lnTo>
                <a:lnTo>
                  <a:pt x="12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24"/>
                </a:lnTo>
                <a:lnTo>
                  <a:pt x="30" y="30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6" y="24"/>
                </a:lnTo>
                <a:lnTo>
                  <a:pt x="36" y="24"/>
                </a:lnTo>
                <a:lnTo>
                  <a:pt x="36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42" y="12"/>
                </a:lnTo>
                <a:lnTo>
                  <a:pt x="42" y="12"/>
                </a:lnTo>
                <a:lnTo>
                  <a:pt x="42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36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8" y="0"/>
                </a:lnTo>
                <a:lnTo>
                  <a:pt x="48" y="0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12"/>
                </a:lnTo>
                <a:lnTo>
                  <a:pt x="66" y="12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8" y="0"/>
                </a:lnTo>
                <a:lnTo>
                  <a:pt x="78" y="0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8" y="6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8"/>
                </a:lnTo>
                <a:lnTo>
                  <a:pt x="108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2"/>
                </a:lnTo>
                <a:lnTo>
                  <a:pt x="114" y="12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24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42"/>
                </a:lnTo>
                <a:lnTo>
                  <a:pt x="120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8"/>
                </a:lnTo>
                <a:lnTo>
                  <a:pt x="126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96" y="60"/>
                </a:lnTo>
                <a:lnTo>
                  <a:pt x="102" y="60"/>
                </a:lnTo>
                <a:lnTo>
                  <a:pt x="102" y="60"/>
                </a:lnTo>
                <a:lnTo>
                  <a:pt x="96" y="60"/>
                </a:lnTo>
                <a:lnTo>
                  <a:pt x="96" y="60"/>
                </a:lnTo>
                <a:lnTo>
                  <a:pt x="102" y="66"/>
                </a:lnTo>
                <a:lnTo>
                  <a:pt x="102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78" y="90"/>
                </a:lnTo>
                <a:lnTo>
                  <a:pt x="84" y="90"/>
                </a:lnTo>
                <a:lnTo>
                  <a:pt x="84" y="90"/>
                </a:lnTo>
                <a:lnTo>
                  <a:pt x="90" y="102"/>
                </a:lnTo>
                <a:lnTo>
                  <a:pt x="90" y="102"/>
                </a:lnTo>
                <a:lnTo>
                  <a:pt x="96" y="102"/>
                </a:lnTo>
                <a:lnTo>
                  <a:pt x="96" y="108"/>
                </a:lnTo>
                <a:lnTo>
                  <a:pt x="96" y="108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20"/>
                </a:lnTo>
                <a:lnTo>
                  <a:pt x="90" y="120"/>
                </a:lnTo>
                <a:lnTo>
                  <a:pt x="84" y="120"/>
                </a:lnTo>
                <a:lnTo>
                  <a:pt x="84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2" y="114"/>
                </a:lnTo>
                <a:lnTo>
                  <a:pt x="72" y="114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6"/>
                </a:lnTo>
                <a:lnTo>
                  <a:pt x="66" y="126"/>
                </a:lnTo>
                <a:lnTo>
                  <a:pt x="66" y="126"/>
                </a:lnTo>
                <a:lnTo>
                  <a:pt x="66" y="126"/>
                </a:lnTo>
                <a:lnTo>
                  <a:pt x="66" y="126"/>
                </a:lnTo>
                <a:lnTo>
                  <a:pt x="66" y="126"/>
                </a:lnTo>
                <a:lnTo>
                  <a:pt x="66" y="132"/>
                </a:lnTo>
                <a:lnTo>
                  <a:pt x="66" y="132"/>
                </a:lnTo>
                <a:lnTo>
                  <a:pt x="60" y="132"/>
                </a:lnTo>
                <a:lnTo>
                  <a:pt x="60" y="132"/>
                </a:lnTo>
                <a:lnTo>
                  <a:pt x="60" y="132"/>
                </a:lnTo>
                <a:lnTo>
                  <a:pt x="60" y="132"/>
                </a:lnTo>
                <a:lnTo>
                  <a:pt x="60" y="132"/>
                </a:lnTo>
                <a:lnTo>
                  <a:pt x="66" y="138"/>
                </a:lnTo>
                <a:lnTo>
                  <a:pt x="60" y="138"/>
                </a:lnTo>
                <a:lnTo>
                  <a:pt x="60" y="138"/>
                </a:lnTo>
                <a:lnTo>
                  <a:pt x="60" y="138"/>
                </a:lnTo>
                <a:lnTo>
                  <a:pt x="60" y="138"/>
                </a:lnTo>
                <a:lnTo>
                  <a:pt x="60" y="138"/>
                </a:lnTo>
                <a:lnTo>
                  <a:pt x="60" y="138"/>
                </a:lnTo>
                <a:lnTo>
                  <a:pt x="60" y="138"/>
                </a:lnTo>
                <a:lnTo>
                  <a:pt x="60" y="138"/>
                </a:lnTo>
                <a:lnTo>
                  <a:pt x="60" y="138"/>
                </a:lnTo>
                <a:lnTo>
                  <a:pt x="60" y="138"/>
                </a:lnTo>
                <a:lnTo>
                  <a:pt x="60" y="138"/>
                </a:lnTo>
                <a:lnTo>
                  <a:pt x="54" y="138"/>
                </a:lnTo>
                <a:lnTo>
                  <a:pt x="60" y="138"/>
                </a:lnTo>
                <a:lnTo>
                  <a:pt x="60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2"/>
                </a:lnTo>
                <a:lnTo>
                  <a:pt x="42" y="132"/>
                </a:lnTo>
                <a:lnTo>
                  <a:pt x="36" y="132"/>
                </a:lnTo>
                <a:lnTo>
                  <a:pt x="36" y="132"/>
                </a:lnTo>
                <a:lnTo>
                  <a:pt x="36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2" y="126"/>
                </a:lnTo>
                <a:lnTo>
                  <a:pt x="12" y="126"/>
                </a:lnTo>
                <a:lnTo>
                  <a:pt x="18" y="126"/>
                </a:lnTo>
                <a:lnTo>
                  <a:pt x="18" y="126"/>
                </a:lnTo>
                <a:lnTo>
                  <a:pt x="12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14"/>
                </a:lnTo>
                <a:lnTo>
                  <a:pt x="18" y="114"/>
                </a:lnTo>
                <a:lnTo>
                  <a:pt x="12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08"/>
                </a:lnTo>
                <a:lnTo>
                  <a:pt x="18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84"/>
                </a:lnTo>
                <a:lnTo>
                  <a:pt x="24" y="84"/>
                </a:lnTo>
                <a:lnTo>
                  <a:pt x="30" y="84"/>
                </a:lnTo>
                <a:lnTo>
                  <a:pt x="24" y="84"/>
                </a:lnTo>
                <a:lnTo>
                  <a:pt x="24" y="84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2"/>
                </a:lnTo>
                <a:lnTo>
                  <a:pt x="24" y="78"/>
                </a:lnTo>
                <a:lnTo>
                  <a:pt x="24" y="72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6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96" name="Freeform 429"/>
          <p:cNvSpPr>
            <a:spLocks/>
          </p:cNvSpPr>
          <p:nvPr/>
        </p:nvSpPr>
        <p:spPr bwMode="auto">
          <a:xfrm>
            <a:off x="6684829" y="4353423"/>
            <a:ext cx="89937" cy="109210"/>
          </a:xfrm>
          <a:custGeom>
            <a:avLst/>
            <a:gdLst>
              <a:gd name="T0" fmla="*/ 12 w 84"/>
              <a:gd name="T1" fmla="*/ 12 h 102"/>
              <a:gd name="T2" fmla="*/ 24 w 84"/>
              <a:gd name="T3" fmla="*/ 18 h 102"/>
              <a:gd name="T4" fmla="*/ 36 w 84"/>
              <a:gd name="T5" fmla="*/ 12 h 102"/>
              <a:gd name="T6" fmla="*/ 36 w 84"/>
              <a:gd name="T7" fmla="*/ 12 h 102"/>
              <a:gd name="T8" fmla="*/ 36 w 84"/>
              <a:gd name="T9" fmla="*/ 6 h 102"/>
              <a:gd name="T10" fmla="*/ 36 w 84"/>
              <a:gd name="T11" fmla="*/ 0 h 102"/>
              <a:gd name="T12" fmla="*/ 36 w 84"/>
              <a:gd name="T13" fmla="*/ 0 h 102"/>
              <a:gd name="T14" fmla="*/ 36 w 84"/>
              <a:gd name="T15" fmla="*/ 0 h 102"/>
              <a:gd name="T16" fmla="*/ 42 w 84"/>
              <a:gd name="T17" fmla="*/ 0 h 102"/>
              <a:gd name="T18" fmla="*/ 42 w 84"/>
              <a:gd name="T19" fmla="*/ 6 h 102"/>
              <a:gd name="T20" fmla="*/ 42 w 84"/>
              <a:gd name="T21" fmla="*/ 6 h 102"/>
              <a:gd name="T22" fmla="*/ 42 w 84"/>
              <a:gd name="T23" fmla="*/ 6 h 102"/>
              <a:gd name="T24" fmla="*/ 48 w 84"/>
              <a:gd name="T25" fmla="*/ 12 h 102"/>
              <a:gd name="T26" fmla="*/ 48 w 84"/>
              <a:gd name="T27" fmla="*/ 18 h 102"/>
              <a:gd name="T28" fmla="*/ 54 w 84"/>
              <a:gd name="T29" fmla="*/ 18 h 102"/>
              <a:gd name="T30" fmla="*/ 60 w 84"/>
              <a:gd name="T31" fmla="*/ 12 h 102"/>
              <a:gd name="T32" fmla="*/ 66 w 84"/>
              <a:gd name="T33" fmla="*/ 6 h 102"/>
              <a:gd name="T34" fmla="*/ 78 w 84"/>
              <a:gd name="T35" fmla="*/ 6 h 102"/>
              <a:gd name="T36" fmla="*/ 78 w 84"/>
              <a:gd name="T37" fmla="*/ 12 h 102"/>
              <a:gd name="T38" fmla="*/ 78 w 84"/>
              <a:gd name="T39" fmla="*/ 12 h 102"/>
              <a:gd name="T40" fmla="*/ 78 w 84"/>
              <a:gd name="T41" fmla="*/ 18 h 102"/>
              <a:gd name="T42" fmla="*/ 78 w 84"/>
              <a:gd name="T43" fmla="*/ 18 h 102"/>
              <a:gd name="T44" fmla="*/ 72 w 84"/>
              <a:gd name="T45" fmla="*/ 24 h 102"/>
              <a:gd name="T46" fmla="*/ 78 w 84"/>
              <a:gd name="T47" fmla="*/ 36 h 102"/>
              <a:gd name="T48" fmla="*/ 78 w 84"/>
              <a:gd name="T49" fmla="*/ 42 h 102"/>
              <a:gd name="T50" fmla="*/ 78 w 84"/>
              <a:gd name="T51" fmla="*/ 48 h 102"/>
              <a:gd name="T52" fmla="*/ 84 w 84"/>
              <a:gd name="T53" fmla="*/ 48 h 102"/>
              <a:gd name="T54" fmla="*/ 84 w 84"/>
              <a:gd name="T55" fmla="*/ 54 h 102"/>
              <a:gd name="T56" fmla="*/ 78 w 84"/>
              <a:gd name="T57" fmla="*/ 60 h 102"/>
              <a:gd name="T58" fmla="*/ 84 w 84"/>
              <a:gd name="T59" fmla="*/ 60 h 102"/>
              <a:gd name="T60" fmla="*/ 78 w 84"/>
              <a:gd name="T61" fmla="*/ 66 h 102"/>
              <a:gd name="T62" fmla="*/ 78 w 84"/>
              <a:gd name="T63" fmla="*/ 72 h 102"/>
              <a:gd name="T64" fmla="*/ 84 w 84"/>
              <a:gd name="T65" fmla="*/ 78 h 102"/>
              <a:gd name="T66" fmla="*/ 84 w 84"/>
              <a:gd name="T67" fmla="*/ 84 h 102"/>
              <a:gd name="T68" fmla="*/ 84 w 84"/>
              <a:gd name="T69" fmla="*/ 84 h 102"/>
              <a:gd name="T70" fmla="*/ 78 w 84"/>
              <a:gd name="T71" fmla="*/ 84 h 102"/>
              <a:gd name="T72" fmla="*/ 78 w 84"/>
              <a:gd name="T73" fmla="*/ 84 h 102"/>
              <a:gd name="T74" fmla="*/ 72 w 84"/>
              <a:gd name="T75" fmla="*/ 90 h 102"/>
              <a:gd name="T76" fmla="*/ 72 w 84"/>
              <a:gd name="T77" fmla="*/ 90 h 102"/>
              <a:gd name="T78" fmla="*/ 72 w 84"/>
              <a:gd name="T79" fmla="*/ 96 h 102"/>
              <a:gd name="T80" fmla="*/ 66 w 84"/>
              <a:gd name="T81" fmla="*/ 96 h 102"/>
              <a:gd name="T82" fmla="*/ 60 w 84"/>
              <a:gd name="T83" fmla="*/ 96 h 102"/>
              <a:gd name="T84" fmla="*/ 48 w 84"/>
              <a:gd name="T85" fmla="*/ 84 h 102"/>
              <a:gd name="T86" fmla="*/ 42 w 84"/>
              <a:gd name="T87" fmla="*/ 78 h 102"/>
              <a:gd name="T88" fmla="*/ 36 w 84"/>
              <a:gd name="T89" fmla="*/ 72 h 102"/>
              <a:gd name="T90" fmla="*/ 30 w 84"/>
              <a:gd name="T91" fmla="*/ 72 h 102"/>
              <a:gd name="T92" fmla="*/ 30 w 84"/>
              <a:gd name="T93" fmla="*/ 72 h 102"/>
              <a:gd name="T94" fmla="*/ 24 w 84"/>
              <a:gd name="T95" fmla="*/ 78 h 102"/>
              <a:gd name="T96" fmla="*/ 24 w 84"/>
              <a:gd name="T97" fmla="*/ 48 h 102"/>
              <a:gd name="T98" fmla="*/ 18 w 84"/>
              <a:gd name="T99" fmla="*/ 48 h 102"/>
              <a:gd name="T100" fmla="*/ 24 w 84"/>
              <a:gd name="T101" fmla="*/ 42 h 102"/>
              <a:gd name="T102" fmla="*/ 12 w 84"/>
              <a:gd name="T103" fmla="*/ 42 h 102"/>
              <a:gd name="T104" fmla="*/ 18 w 84"/>
              <a:gd name="T105" fmla="*/ 36 h 102"/>
              <a:gd name="T106" fmla="*/ 12 w 84"/>
              <a:gd name="T107" fmla="*/ 30 h 102"/>
              <a:gd name="T108" fmla="*/ 6 w 84"/>
              <a:gd name="T109" fmla="*/ 24 h 102"/>
              <a:gd name="T110" fmla="*/ 12 w 84"/>
              <a:gd name="T111" fmla="*/ 18 h 102"/>
              <a:gd name="T112" fmla="*/ 6 w 84"/>
              <a:gd name="T113" fmla="*/ 18 h 102"/>
              <a:gd name="T114" fmla="*/ 6 w 84"/>
              <a:gd name="T115" fmla="*/ 12 h 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84" h="102">
                <a:moveTo>
                  <a:pt x="0" y="12"/>
                </a:move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24" y="12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30" y="18"/>
                </a:lnTo>
                <a:lnTo>
                  <a:pt x="30" y="18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0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42" y="0"/>
                </a:lnTo>
                <a:lnTo>
                  <a:pt x="36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8" y="12"/>
                </a:lnTo>
                <a:lnTo>
                  <a:pt x="42" y="12"/>
                </a:lnTo>
                <a:lnTo>
                  <a:pt x="48" y="12"/>
                </a:lnTo>
                <a:lnTo>
                  <a:pt x="42" y="12"/>
                </a:lnTo>
                <a:lnTo>
                  <a:pt x="48" y="12"/>
                </a:lnTo>
                <a:lnTo>
                  <a:pt x="42" y="12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12"/>
                </a:lnTo>
                <a:lnTo>
                  <a:pt x="78" y="6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84" y="12"/>
                </a:lnTo>
                <a:lnTo>
                  <a:pt x="84" y="12"/>
                </a:lnTo>
                <a:lnTo>
                  <a:pt x="78" y="18"/>
                </a:lnTo>
                <a:lnTo>
                  <a:pt x="84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24"/>
                </a:lnTo>
                <a:lnTo>
                  <a:pt x="78" y="18"/>
                </a:lnTo>
                <a:lnTo>
                  <a:pt x="78" y="24"/>
                </a:lnTo>
                <a:lnTo>
                  <a:pt x="78" y="24"/>
                </a:lnTo>
                <a:lnTo>
                  <a:pt x="72" y="24"/>
                </a:lnTo>
                <a:lnTo>
                  <a:pt x="78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8" y="36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78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2" y="84"/>
                </a:lnTo>
                <a:lnTo>
                  <a:pt x="72" y="84"/>
                </a:lnTo>
                <a:lnTo>
                  <a:pt x="78" y="84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2" y="90"/>
                </a:lnTo>
                <a:lnTo>
                  <a:pt x="72" y="90"/>
                </a:lnTo>
                <a:lnTo>
                  <a:pt x="78" y="90"/>
                </a:lnTo>
                <a:lnTo>
                  <a:pt x="72" y="90"/>
                </a:lnTo>
                <a:lnTo>
                  <a:pt x="78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8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102"/>
                </a:lnTo>
                <a:lnTo>
                  <a:pt x="72" y="96"/>
                </a:lnTo>
                <a:lnTo>
                  <a:pt x="66" y="96"/>
                </a:lnTo>
                <a:lnTo>
                  <a:pt x="66" y="102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0" y="96"/>
                </a:lnTo>
                <a:lnTo>
                  <a:pt x="60" y="96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96"/>
                </a:lnTo>
                <a:lnTo>
                  <a:pt x="60" y="96"/>
                </a:lnTo>
                <a:lnTo>
                  <a:pt x="54" y="102"/>
                </a:lnTo>
                <a:lnTo>
                  <a:pt x="60" y="96"/>
                </a:lnTo>
                <a:lnTo>
                  <a:pt x="54" y="96"/>
                </a:lnTo>
                <a:lnTo>
                  <a:pt x="54" y="96"/>
                </a:lnTo>
                <a:lnTo>
                  <a:pt x="54" y="90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66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6" y="72"/>
                </a:lnTo>
                <a:lnTo>
                  <a:pt x="36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24" y="60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18" y="48"/>
                </a:lnTo>
                <a:lnTo>
                  <a:pt x="18" y="48"/>
                </a:lnTo>
                <a:lnTo>
                  <a:pt x="24" y="48"/>
                </a:lnTo>
                <a:lnTo>
                  <a:pt x="18" y="48"/>
                </a:lnTo>
                <a:lnTo>
                  <a:pt x="18" y="48"/>
                </a:lnTo>
                <a:lnTo>
                  <a:pt x="18" y="42"/>
                </a:lnTo>
                <a:lnTo>
                  <a:pt x="24" y="42"/>
                </a:lnTo>
                <a:lnTo>
                  <a:pt x="24" y="48"/>
                </a:lnTo>
                <a:lnTo>
                  <a:pt x="24" y="42"/>
                </a:lnTo>
                <a:lnTo>
                  <a:pt x="24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2" y="42"/>
                </a:lnTo>
                <a:lnTo>
                  <a:pt x="18" y="36"/>
                </a:lnTo>
                <a:lnTo>
                  <a:pt x="18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8" y="36"/>
                </a:lnTo>
                <a:lnTo>
                  <a:pt x="18" y="36"/>
                </a:lnTo>
                <a:lnTo>
                  <a:pt x="18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12" y="18"/>
                </a:lnTo>
                <a:lnTo>
                  <a:pt x="12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0" y="18"/>
                </a:lnTo>
                <a:lnTo>
                  <a:pt x="0" y="12"/>
                </a:lnTo>
                <a:lnTo>
                  <a:pt x="0" y="12"/>
                </a:lnTo>
                <a:lnTo>
                  <a:pt x="6" y="12"/>
                </a:lnTo>
                <a:lnTo>
                  <a:pt x="6" y="12"/>
                </a:lnTo>
                <a:lnTo>
                  <a:pt x="0" y="12"/>
                </a:lnTo>
                <a:lnTo>
                  <a:pt x="0" y="1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97" name="Freeform 430"/>
          <p:cNvSpPr>
            <a:spLocks/>
          </p:cNvSpPr>
          <p:nvPr/>
        </p:nvSpPr>
        <p:spPr bwMode="auto">
          <a:xfrm>
            <a:off x="6068120" y="4571843"/>
            <a:ext cx="141329" cy="115634"/>
          </a:xfrm>
          <a:custGeom>
            <a:avLst/>
            <a:gdLst>
              <a:gd name="T0" fmla="*/ 6 w 132"/>
              <a:gd name="T1" fmla="*/ 66 h 108"/>
              <a:gd name="T2" fmla="*/ 18 w 132"/>
              <a:gd name="T3" fmla="*/ 42 h 108"/>
              <a:gd name="T4" fmla="*/ 24 w 132"/>
              <a:gd name="T5" fmla="*/ 30 h 108"/>
              <a:gd name="T6" fmla="*/ 24 w 132"/>
              <a:gd name="T7" fmla="*/ 18 h 108"/>
              <a:gd name="T8" fmla="*/ 24 w 132"/>
              <a:gd name="T9" fmla="*/ 18 h 108"/>
              <a:gd name="T10" fmla="*/ 30 w 132"/>
              <a:gd name="T11" fmla="*/ 18 h 108"/>
              <a:gd name="T12" fmla="*/ 42 w 132"/>
              <a:gd name="T13" fmla="*/ 18 h 108"/>
              <a:gd name="T14" fmla="*/ 60 w 132"/>
              <a:gd name="T15" fmla="*/ 18 h 108"/>
              <a:gd name="T16" fmla="*/ 72 w 132"/>
              <a:gd name="T17" fmla="*/ 18 h 108"/>
              <a:gd name="T18" fmla="*/ 78 w 132"/>
              <a:gd name="T19" fmla="*/ 18 h 108"/>
              <a:gd name="T20" fmla="*/ 78 w 132"/>
              <a:gd name="T21" fmla="*/ 24 h 108"/>
              <a:gd name="T22" fmla="*/ 84 w 132"/>
              <a:gd name="T23" fmla="*/ 24 h 108"/>
              <a:gd name="T24" fmla="*/ 72 w 132"/>
              <a:gd name="T25" fmla="*/ 0 h 108"/>
              <a:gd name="T26" fmla="*/ 78 w 132"/>
              <a:gd name="T27" fmla="*/ 0 h 108"/>
              <a:gd name="T28" fmla="*/ 84 w 132"/>
              <a:gd name="T29" fmla="*/ 0 h 108"/>
              <a:gd name="T30" fmla="*/ 90 w 132"/>
              <a:gd name="T31" fmla="*/ 6 h 108"/>
              <a:gd name="T32" fmla="*/ 90 w 132"/>
              <a:gd name="T33" fmla="*/ 0 h 108"/>
              <a:gd name="T34" fmla="*/ 96 w 132"/>
              <a:gd name="T35" fmla="*/ 6 h 108"/>
              <a:gd name="T36" fmla="*/ 90 w 132"/>
              <a:gd name="T37" fmla="*/ 6 h 108"/>
              <a:gd name="T38" fmla="*/ 96 w 132"/>
              <a:gd name="T39" fmla="*/ 12 h 108"/>
              <a:gd name="T40" fmla="*/ 96 w 132"/>
              <a:gd name="T41" fmla="*/ 12 h 108"/>
              <a:gd name="T42" fmla="*/ 102 w 132"/>
              <a:gd name="T43" fmla="*/ 12 h 108"/>
              <a:gd name="T44" fmla="*/ 102 w 132"/>
              <a:gd name="T45" fmla="*/ 12 h 108"/>
              <a:gd name="T46" fmla="*/ 102 w 132"/>
              <a:gd name="T47" fmla="*/ 12 h 108"/>
              <a:gd name="T48" fmla="*/ 108 w 132"/>
              <a:gd name="T49" fmla="*/ 12 h 108"/>
              <a:gd name="T50" fmla="*/ 114 w 132"/>
              <a:gd name="T51" fmla="*/ 12 h 108"/>
              <a:gd name="T52" fmla="*/ 126 w 132"/>
              <a:gd name="T53" fmla="*/ 18 h 108"/>
              <a:gd name="T54" fmla="*/ 132 w 132"/>
              <a:gd name="T55" fmla="*/ 24 h 108"/>
              <a:gd name="T56" fmla="*/ 126 w 132"/>
              <a:gd name="T57" fmla="*/ 30 h 108"/>
              <a:gd name="T58" fmla="*/ 126 w 132"/>
              <a:gd name="T59" fmla="*/ 36 h 108"/>
              <a:gd name="T60" fmla="*/ 126 w 132"/>
              <a:gd name="T61" fmla="*/ 36 h 108"/>
              <a:gd name="T62" fmla="*/ 126 w 132"/>
              <a:gd name="T63" fmla="*/ 42 h 108"/>
              <a:gd name="T64" fmla="*/ 126 w 132"/>
              <a:gd name="T65" fmla="*/ 48 h 108"/>
              <a:gd name="T66" fmla="*/ 126 w 132"/>
              <a:gd name="T67" fmla="*/ 48 h 108"/>
              <a:gd name="T68" fmla="*/ 126 w 132"/>
              <a:gd name="T69" fmla="*/ 54 h 108"/>
              <a:gd name="T70" fmla="*/ 126 w 132"/>
              <a:gd name="T71" fmla="*/ 54 h 108"/>
              <a:gd name="T72" fmla="*/ 126 w 132"/>
              <a:gd name="T73" fmla="*/ 54 h 108"/>
              <a:gd name="T74" fmla="*/ 126 w 132"/>
              <a:gd name="T75" fmla="*/ 60 h 108"/>
              <a:gd name="T76" fmla="*/ 126 w 132"/>
              <a:gd name="T77" fmla="*/ 60 h 108"/>
              <a:gd name="T78" fmla="*/ 120 w 132"/>
              <a:gd name="T79" fmla="*/ 66 h 108"/>
              <a:gd name="T80" fmla="*/ 120 w 132"/>
              <a:gd name="T81" fmla="*/ 72 h 108"/>
              <a:gd name="T82" fmla="*/ 120 w 132"/>
              <a:gd name="T83" fmla="*/ 72 h 108"/>
              <a:gd name="T84" fmla="*/ 120 w 132"/>
              <a:gd name="T85" fmla="*/ 72 h 108"/>
              <a:gd name="T86" fmla="*/ 120 w 132"/>
              <a:gd name="T87" fmla="*/ 78 h 108"/>
              <a:gd name="T88" fmla="*/ 120 w 132"/>
              <a:gd name="T89" fmla="*/ 84 h 108"/>
              <a:gd name="T90" fmla="*/ 120 w 132"/>
              <a:gd name="T91" fmla="*/ 90 h 108"/>
              <a:gd name="T92" fmla="*/ 108 w 132"/>
              <a:gd name="T93" fmla="*/ 90 h 108"/>
              <a:gd name="T94" fmla="*/ 102 w 132"/>
              <a:gd name="T95" fmla="*/ 90 h 108"/>
              <a:gd name="T96" fmla="*/ 102 w 132"/>
              <a:gd name="T97" fmla="*/ 90 h 108"/>
              <a:gd name="T98" fmla="*/ 90 w 132"/>
              <a:gd name="T99" fmla="*/ 90 h 108"/>
              <a:gd name="T100" fmla="*/ 78 w 132"/>
              <a:gd name="T101" fmla="*/ 90 h 108"/>
              <a:gd name="T102" fmla="*/ 72 w 132"/>
              <a:gd name="T103" fmla="*/ 90 h 108"/>
              <a:gd name="T104" fmla="*/ 66 w 132"/>
              <a:gd name="T105" fmla="*/ 90 h 108"/>
              <a:gd name="T106" fmla="*/ 60 w 132"/>
              <a:gd name="T107" fmla="*/ 84 h 108"/>
              <a:gd name="T108" fmla="*/ 54 w 132"/>
              <a:gd name="T109" fmla="*/ 90 h 108"/>
              <a:gd name="T110" fmla="*/ 54 w 132"/>
              <a:gd name="T111" fmla="*/ 90 h 108"/>
              <a:gd name="T112" fmla="*/ 48 w 132"/>
              <a:gd name="T113" fmla="*/ 90 h 108"/>
              <a:gd name="T114" fmla="*/ 30 w 132"/>
              <a:gd name="T115" fmla="*/ 90 h 108"/>
              <a:gd name="T116" fmla="*/ 24 w 132"/>
              <a:gd name="T117" fmla="*/ 102 h 108"/>
              <a:gd name="T118" fmla="*/ 18 w 132"/>
              <a:gd name="T119" fmla="*/ 96 h 108"/>
              <a:gd name="T120" fmla="*/ 6 w 132"/>
              <a:gd name="T121" fmla="*/ 90 h 108"/>
              <a:gd name="T122" fmla="*/ 0 w 132"/>
              <a:gd name="T123" fmla="*/ 78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32" h="108">
                <a:moveTo>
                  <a:pt x="0" y="72"/>
                </a:moveTo>
                <a:lnTo>
                  <a:pt x="0" y="72"/>
                </a:lnTo>
                <a:lnTo>
                  <a:pt x="0" y="72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12" y="60"/>
                </a:lnTo>
                <a:lnTo>
                  <a:pt x="12" y="54"/>
                </a:lnTo>
                <a:lnTo>
                  <a:pt x="18" y="54"/>
                </a:lnTo>
                <a:lnTo>
                  <a:pt x="18" y="54"/>
                </a:lnTo>
                <a:lnTo>
                  <a:pt x="18" y="48"/>
                </a:lnTo>
                <a:lnTo>
                  <a:pt x="18" y="42"/>
                </a:lnTo>
                <a:lnTo>
                  <a:pt x="18" y="42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0"/>
                </a:lnTo>
                <a:lnTo>
                  <a:pt x="24" y="30"/>
                </a:lnTo>
                <a:lnTo>
                  <a:pt x="18" y="30"/>
                </a:lnTo>
                <a:lnTo>
                  <a:pt x="18" y="24"/>
                </a:lnTo>
                <a:lnTo>
                  <a:pt x="18" y="24"/>
                </a:lnTo>
                <a:lnTo>
                  <a:pt x="18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8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78" y="18"/>
                </a:lnTo>
                <a:lnTo>
                  <a:pt x="78" y="12"/>
                </a:lnTo>
                <a:lnTo>
                  <a:pt x="78" y="6"/>
                </a:lnTo>
                <a:lnTo>
                  <a:pt x="78" y="6"/>
                </a:lnTo>
                <a:lnTo>
                  <a:pt x="72" y="0"/>
                </a:lnTo>
                <a:lnTo>
                  <a:pt x="72" y="0"/>
                </a:lnTo>
                <a:lnTo>
                  <a:pt x="78" y="0"/>
                </a:lnTo>
                <a:lnTo>
                  <a:pt x="78" y="6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6"/>
                </a:lnTo>
                <a:lnTo>
                  <a:pt x="84" y="0"/>
                </a:lnTo>
                <a:lnTo>
                  <a:pt x="84" y="6"/>
                </a:lnTo>
                <a:lnTo>
                  <a:pt x="84" y="6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6"/>
                </a:lnTo>
                <a:lnTo>
                  <a:pt x="84" y="0"/>
                </a:lnTo>
                <a:lnTo>
                  <a:pt x="84" y="0"/>
                </a:lnTo>
                <a:lnTo>
                  <a:pt x="84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0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6" y="6"/>
                </a:lnTo>
                <a:lnTo>
                  <a:pt x="90" y="6"/>
                </a:lnTo>
                <a:lnTo>
                  <a:pt x="96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32" y="24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54"/>
                </a:lnTo>
                <a:lnTo>
                  <a:pt x="126" y="48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6"/>
                </a:lnTo>
                <a:lnTo>
                  <a:pt x="126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6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8"/>
                </a:lnTo>
                <a:lnTo>
                  <a:pt x="120" y="72"/>
                </a:lnTo>
                <a:lnTo>
                  <a:pt x="120" y="72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14" y="90"/>
                </a:lnTo>
                <a:lnTo>
                  <a:pt x="114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6"/>
                </a:lnTo>
                <a:lnTo>
                  <a:pt x="108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0"/>
                </a:lnTo>
                <a:lnTo>
                  <a:pt x="102" y="90"/>
                </a:lnTo>
                <a:lnTo>
                  <a:pt x="108" y="90"/>
                </a:lnTo>
                <a:lnTo>
                  <a:pt x="108" y="84"/>
                </a:lnTo>
                <a:lnTo>
                  <a:pt x="108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90"/>
                </a:lnTo>
                <a:lnTo>
                  <a:pt x="96" y="90"/>
                </a:lnTo>
                <a:lnTo>
                  <a:pt x="96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66" y="90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0"/>
                </a:lnTo>
                <a:lnTo>
                  <a:pt x="66" y="90"/>
                </a:lnTo>
                <a:lnTo>
                  <a:pt x="66" y="84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54" y="84"/>
                </a:lnTo>
                <a:lnTo>
                  <a:pt x="54" y="84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54" y="90"/>
                </a:lnTo>
                <a:lnTo>
                  <a:pt x="54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6"/>
                </a:lnTo>
                <a:lnTo>
                  <a:pt x="48" y="96"/>
                </a:lnTo>
                <a:lnTo>
                  <a:pt x="48" y="90"/>
                </a:lnTo>
                <a:lnTo>
                  <a:pt x="42" y="90"/>
                </a:lnTo>
                <a:lnTo>
                  <a:pt x="42" y="90"/>
                </a:lnTo>
                <a:lnTo>
                  <a:pt x="36" y="90"/>
                </a:lnTo>
                <a:lnTo>
                  <a:pt x="36" y="96"/>
                </a:lnTo>
                <a:lnTo>
                  <a:pt x="36" y="96"/>
                </a:lnTo>
                <a:lnTo>
                  <a:pt x="30" y="90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24" y="102"/>
                </a:lnTo>
                <a:lnTo>
                  <a:pt x="24" y="102"/>
                </a:lnTo>
                <a:lnTo>
                  <a:pt x="24" y="108"/>
                </a:lnTo>
                <a:lnTo>
                  <a:pt x="24" y="108"/>
                </a:lnTo>
                <a:lnTo>
                  <a:pt x="24" y="102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0"/>
                </a:lnTo>
                <a:lnTo>
                  <a:pt x="6" y="90"/>
                </a:lnTo>
                <a:lnTo>
                  <a:pt x="6" y="90"/>
                </a:lnTo>
                <a:lnTo>
                  <a:pt x="0" y="90"/>
                </a:lnTo>
                <a:lnTo>
                  <a:pt x="0" y="84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98" name="Freeform 431"/>
          <p:cNvSpPr>
            <a:spLocks/>
          </p:cNvSpPr>
          <p:nvPr/>
        </p:nvSpPr>
        <p:spPr bwMode="auto">
          <a:xfrm>
            <a:off x="6286538" y="4340575"/>
            <a:ext cx="102785" cy="109210"/>
          </a:xfrm>
          <a:custGeom>
            <a:avLst/>
            <a:gdLst>
              <a:gd name="T0" fmla="*/ 6 w 96"/>
              <a:gd name="T1" fmla="*/ 30 h 102"/>
              <a:gd name="T2" fmla="*/ 0 w 96"/>
              <a:gd name="T3" fmla="*/ 30 h 102"/>
              <a:gd name="T4" fmla="*/ 6 w 96"/>
              <a:gd name="T5" fmla="*/ 24 h 102"/>
              <a:gd name="T6" fmla="*/ 0 w 96"/>
              <a:gd name="T7" fmla="*/ 18 h 102"/>
              <a:gd name="T8" fmla="*/ 0 w 96"/>
              <a:gd name="T9" fmla="*/ 18 h 102"/>
              <a:gd name="T10" fmla="*/ 0 w 96"/>
              <a:gd name="T11" fmla="*/ 12 h 102"/>
              <a:gd name="T12" fmla="*/ 6 w 96"/>
              <a:gd name="T13" fmla="*/ 6 h 102"/>
              <a:gd name="T14" fmla="*/ 6 w 96"/>
              <a:gd name="T15" fmla="*/ 0 h 102"/>
              <a:gd name="T16" fmla="*/ 6 w 96"/>
              <a:gd name="T17" fmla="*/ 0 h 102"/>
              <a:gd name="T18" fmla="*/ 12 w 96"/>
              <a:gd name="T19" fmla="*/ 0 h 102"/>
              <a:gd name="T20" fmla="*/ 12 w 96"/>
              <a:gd name="T21" fmla="*/ 6 h 102"/>
              <a:gd name="T22" fmla="*/ 18 w 96"/>
              <a:gd name="T23" fmla="*/ 6 h 102"/>
              <a:gd name="T24" fmla="*/ 30 w 96"/>
              <a:gd name="T25" fmla="*/ 6 h 102"/>
              <a:gd name="T26" fmla="*/ 36 w 96"/>
              <a:gd name="T27" fmla="*/ 6 h 102"/>
              <a:gd name="T28" fmla="*/ 36 w 96"/>
              <a:gd name="T29" fmla="*/ 12 h 102"/>
              <a:gd name="T30" fmla="*/ 48 w 96"/>
              <a:gd name="T31" fmla="*/ 12 h 102"/>
              <a:gd name="T32" fmla="*/ 54 w 96"/>
              <a:gd name="T33" fmla="*/ 12 h 102"/>
              <a:gd name="T34" fmla="*/ 66 w 96"/>
              <a:gd name="T35" fmla="*/ 18 h 102"/>
              <a:gd name="T36" fmla="*/ 72 w 96"/>
              <a:gd name="T37" fmla="*/ 24 h 102"/>
              <a:gd name="T38" fmla="*/ 78 w 96"/>
              <a:gd name="T39" fmla="*/ 30 h 102"/>
              <a:gd name="T40" fmla="*/ 84 w 96"/>
              <a:gd name="T41" fmla="*/ 30 h 102"/>
              <a:gd name="T42" fmla="*/ 84 w 96"/>
              <a:gd name="T43" fmla="*/ 42 h 102"/>
              <a:gd name="T44" fmla="*/ 90 w 96"/>
              <a:gd name="T45" fmla="*/ 42 h 102"/>
              <a:gd name="T46" fmla="*/ 66 w 96"/>
              <a:gd name="T47" fmla="*/ 72 h 102"/>
              <a:gd name="T48" fmla="*/ 66 w 96"/>
              <a:gd name="T49" fmla="*/ 72 h 102"/>
              <a:gd name="T50" fmla="*/ 66 w 96"/>
              <a:gd name="T51" fmla="*/ 72 h 102"/>
              <a:gd name="T52" fmla="*/ 66 w 96"/>
              <a:gd name="T53" fmla="*/ 78 h 102"/>
              <a:gd name="T54" fmla="*/ 66 w 96"/>
              <a:gd name="T55" fmla="*/ 78 h 102"/>
              <a:gd name="T56" fmla="*/ 60 w 96"/>
              <a:gd name="T57" fmla="*/ 90 h 102"/>
              <a:gd name="T58" fmla="*/ 60 w 96"/>
              <a:gd name="T59" fmla="*/ 96 h 102"/>
              <a:gd name="T60" fmla="*/ 42 w 96"/>
              <a:gd name="T61" fmla="*/ 96 h 102"/>
              <a:gd name="T62" fmla="*/ 36 w 96"/>
              <a:gd name="T63" fmla="*/ 102 h 102"/>
              <a:gd name="T64" fmla="*/ 36 w 96"/>
              <a:gd name="T65" fmla="*/ 102 h 102"/>
              <a:gd name="T66" fmla="*/ 36 w 96"/>
              <a:gd name="T67" fmla="*/ 102 h 102"/>
              <a:gd name="T68" fmla="*/ 30 w 96"/>
              <a:gd name="T69" fmla="*/ 102 h 102"/>
              <a:gd name="T70" fmla="*/ 30 w 96"/>
              <a:gd name="T71" fmla="*/ 102 h 102"/>
              <a:gd name="T72" fmla="*/ 30 w 96"/>
              <a:gd name="T73" fmla="*/ 102 h 102"/>
              <a:gd name="T74" fmla="*/ 24 w 96"/>
              <a:gd name="T75" fmla="*/ 102 h 102"/>
              <a:gd name="T76" fmla="*/ 24 w 96"/>
              <a:gd name="T77" fmla="*/ 102 h 102"/>
              <a:gd name="T78" fmla="*/ 24 w 96"/>
              <a:gd name="T79" fmla="*/ 102 h 102"/>
              <a:gd name="T80" fmla="*/ 18 w 96"/>
              <a:gd name="T81" fmla="*/ 102 h 102"/>
              <a:gd name="T82" fmla="*/ 18 w 96"/>
              <a:gd name="T83" fmla="*/ 102 h 102"/>
              <a:gd name="T84" fmla="*/ 12 w 96"/>
              <a:gd name="T85" fmla="*/ 96 h 102"/>
              <a:gd name="T86" fmla="*/ 12 w 96"/>
              <a:gd name="T87" fmla="*/ 96 h 102"/>
              <a:gd name="T88" fmla="*/ 0 w 96"/>
              <a:gd name="T89" fmla="*/ 84 h 102"/>
              <a:gd name="T90" fmla="*/ 6 w 96"/>
              <a:gd name="T91" fmla="*/ 78 h 102"/>
              <a:gd name="T92" fmla="*/ 12 w 96"/>
              <a:gd name="T93" fmla="*/ 72 h 102"/>
              <a:gd name="T94" fmla="*/ 12 w 96"/>
              <a:gd name="T95" fmla="*/ 66 h 102"/>
              <a:gd name="T96" fmla="*/ 6 w 96"/>
              <a:gd name="T97" fmla="*/ 54 h 102"/>
              <a:gd name="T98" fmla="*/ 6 w 96"/>
              <a:gd name="T99" fmla="*/ 48 h 102"/>
              <a:gd name="T100" fmla="*/ 0 w 96"/>
              <a:gd name="T101" fmla="*/ 48 h 102"/>
              <a:gd name="T102" fmla="*/ 0 w 96"/>
              <a:gd name="T103" fmla="*/ 36 h 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96" h="102">
                <a:moveTo>
                  <a:pt x="0" y="36"/>
                </a:moveTo>
                <a:lnTo>
                  <a:pt x="0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24"/>
                </a:lnTo>
                <a:lnTo>
                  <a:pt x="6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6" y="18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6" y="12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8" y="0"/>
                </a:lnTo>
                <a:lnTo>
                  <a:pt x="18" y="0"/>
                </a:lnTo>
                <a:lnTo>
                  <a:pt x="12" y="6"/>
                </a:lnTo>
                <a:lnTo>
                  <a:pt x="12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12"/>
                </a:lnTo>
                <a:lnTo>
                  <a:pt x="36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6" y="18"/>
                </a:lnTo>
                <a:lnTo>
                  <a:pt x="66" y="18"/>
                </a:lnTo>
                <a:lnTo>
                  <a:pt x="72" y="18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8" y="24"/>
                </a:lnTo>
                <a:lnTo>
                  <a:pt x="72" y="24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84" y="30"/>
                </a:lnTo>
                <a:lnTo>
                  <a:pt x="84" y="30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6" y="42"/>
                </a:lnTo>
                <a:lnTo>
                  <a:pt x="72" y="72"/>
                </a:lnTo>
                <a:lnTo>
                  <a:pt x="66" y="72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8"/>
                </a:lnTo>
                <a:lnTo>
                  <a:pt x="60" y="78"/>
                </a:lnTo>
                <a:lnTo>
                  <a:pt x="66" y="78"/>
                </a:lnTo>
                <a:lnTo>
                  <a:pt x="60" y="78"/>
                </a:lnTo>
                <a:lnTo>
                  <a:pt x="66" y="78"/>
                </a:lnTo>
                <a:lnTo>
                  <a:pt x="66" y="84"/>
                </a:lnTo>
                <a:lnTo>
                  <a:pt x="60" y="84"/>
                </a:lnTo>
                <a:lnTo>
                  <a:pt x="60" y="84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6"/>
                </a:lnTo>
                <a:lnTo>
                  <a:pt x="54" y="96"/>
                </a:lnTo>
                <a:lnTo>
                  <a:pt x="42" y="90"/>
                </a:lnTo>
                <a:lnTo>
                  <a:pt x="48" y="96"/>
                </a:lnTo>
                <a:lnTo>
                  <a:pt x="42" y="96"/>
                </a:lnTo>
                <a:lnTo>
                  <a:pt x="42" y="96"/>
                </a:lnTo>
                <a:lnTo>
                  <a:pt x="42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96"/>
                </a:lnTo>
                <a:lnTo>
                  <a:pt x="18" y="96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96"/>
                </a:lnTo>
                <a:lnTo>
                  <a:pt x="12" y="96"/>
                </a:lnTo>
                <a:lnTo>
                  <a:pt x="18" y="96"/>
                </a:lnTo>
                <a:lnTo>
                  <a:pt x="18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6" y="90"/>
                </a:lnTo>
                <a:lnTo>
                  <a:pt x="6" y="84"/>
                </a:lnTo>
                <a:lnTo>
                  <a:pt x="0" y="84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12" y="78"/>
                </a:lnTo>
                <a:lnTo>
                  <a:pt x="12" y="78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66"/>
                </a:lnTo>
                <a:lnTo>
                  <a:pt x="12" y="66"/>
                </a:lnTo>
                <a:lnTo>
                  <a:pt x="6" y="66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2"/>
                </a:lnTo>
                <a:lnTo>
                  <a:pt x="0" y="42"/>
                </a:lnTo>
                <a:lnTo>
                  <a:pt x="0" y="36"/>
                </a:lnTo>
                <a:lnTo>
                  <a:pt x="0" y="3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699" name="Freeform 432"/>
          <p:cNvSpPr>
            <a:spLocks/>
          </p:cNvSpPr>
          <p:nvPr/>
        </p:nvSpPr>
        <p:spPr bwMode="auto">
          <a:xfrm>
            <a:off x="6350778" y="4693900"/>
            <a:ext cx="147753" cy="115634"/>
          </a:xfrm>
          <a:custGeom>
            <a:avLst/>
            <a:gdLst>
              <a:gd name="T0" fmla="*/ 6 w 138"/>
              <a:gd name="T1" fmla="*/ 48 h 108"/>
              <a:gd name="T2" fmla="*/ 12 w 138"/>
              <a:gd name="T3" fmla="*/ 42 h 108"/>
              <a:gd name="T4" fmla="*/ 18 w 138"/>
              <a:gd name="T5" fmla="*/ 42 h 108"/>
              <a:gd name="T6" fmla="*/ 24 w 138"/>
              <a:gd name="T7" fmla="*/ 48 h 108"/>
              <a:gd name="T8" fmla="*/ 30 w 138"/>
              <a:gd name="T9" fmla="*/ 42 h 108"/>
              <a:gd name="T10" fmla="*/ 30 w 138"/>
              <a:gd name="T11" fmla="*/ 30 h 108"/>
              <a:gd name="T12" fmla="*/ 30 w 138"/>
              <a:gd name="T13" fmla="*/ 24 h 108"/>
              <a:gd name="T14" fmla="*/ 36 w 138"/>
              <a:gd name="T15" fmla="*/ 24 h 108"/>
              <a:gd name="T16" fmla="*/ 36 w 138"/>
              <a:gd name="T17" fmla="*/ 18 h 108"/>
              <a:gd name="T18" fmla="*/ 36 w 138"/>
              <a:gd name="T19" fmla="*/ 18 h 108"/>
              <a:gd name="T20" fmla="*/ 42 w 138"/>
              <a:gd name="T21" fmla="*/ 12 h 108"/>
              <a:gd name="T22" fmla="*/ 42 w 138"/>
              <a:gd name="T23" fmla="*/ 12 h 108"/>
              <a:gd name="T24" fmla="*/ 42 w 138"/>
              <a:gd name="T25" fmla="*/ 6 h 108"/>
              <a:gd name="T26" fmla="*/ 48 w 138"/>
              <a:gd name="T27" fmla="*/ 6 h 108"/>
              <a:gd name="T28" fmla="*/ 48 w 138"/>
              <a:gd name="T29" fmla="*/ 0 h 108"/>
              <a:gd name="T30" fmla="*/ 60 w 138"/>
              <a:gd name="T31" fmla="*/ 0 h 108"/>
              <a:gd name="T32" fmla="*/ 54 w 138"/>
              <a:gd name="T33" fmla="*/ 6 h 108"/>
              <a:gd name="T34" fmla="*/ 60 w 138"/>
              <a:gd name="T35" fmla="*/ 18 h 108"/>
              <a:gd name="T36" fmla="*/ 72 w 138"/>
              <a:gd name="T37" fmla="*/ 24 h 108"/>
              <a:gd name="T38" fmla="*/ 78 w 138"/>
              <a:gd name="T39" fmla="*/ 30 h 108"/>
              <a:gd name="T40" fmla="*/ 90 w 138"/>
              <a:gd name="T41" fmla="*/ 30 h 108"/>
              <a:gd name="T42" fmla="*/ 102 w 138"/>
              <a:gd name="T43" fmla="*/ 36 h 108"/>
              <a:gd name="T44" fmla="*/ 114 w 138"/>
              <a:gd name="T45" fmla="*/ 30 h 108"/>
              <a:gd name="T46" fmla="*/ 108 w 138"/>
              <a:gd name="T47" fmla="*/ 36 h 108"/>
              <a:gd name="T48" fmla="*/ 108 w 138"/>
              <a:gd name="T49" fmla="*/ 60 h 108"/>
              <a:gd name="T50" fmla="*/ 108 w 138"/>
              <a:gd name="T51" fmla="*/ 66 h 108"/>
              <a:gd name="T52" fmla="*/ 114 w 138"/>
              <a:gd name="T53" fmla="*/ 66 h 108"/>
              <a:gd name="T54" fmla="*/ 114 w 138"/>
              <a:gd name="T55" fmla="*/ 66 h 108"/>
              <a:gd name="T56" fmla="*/ 120 w 138"/>
              <a:gd name="T57" fmla="*/ 66 h 108"/>
              <a:gd name="T58" fmla="*/ 120 w 138"/>
              <a:gd name="T59" fmla="*/ 66 h 108"/>
              <a:gd name="T60" fmla="*/ 126 w 138"/>
              <a:gd name="T61" fmla="*/ 72 h 108"/>
              <a:gd name="T62" fmla="*/ 132 w 138"/>
              <a:gd name="T63" fmla="*/ 66 h 108"/>
              <a:gd name="T64" fmla="*/ 132 w 138"/>
              <a:gd name="T65" fmla="*/ 72 h 108"/>
              <a:gd name="T66" fmla="*/ 132 w 138"/>
              <a:gd name="T67" fmla="*/ 72 h 108"/>
              <a:gd name="T68" fmla="*/ 132 w 138"/>
              <a:gd name="T69" fmla="*/ 78 h 108"/>
              <a:gd name="T70" fmla="*/ 132 w 138"/>
              <a:gd name="T71" fmla="*/ 84 h 108"/>
              <a:gd name="T72" fmla="*/ 138 w 138"/>
              <a:gd name="T73" fmla="*/ 84 h 108"/>
              <a:gd name="T74" fmla="*/ 138 w 138"/>
              <a:gd name="T75" fmla="*/ 90 h 108"/>
              <a:gd name="T76" fmla="*/ 138 w 138"/>
              <a:gd name="T77" fmla="*/ 96 h 108"/>
              <a:gd name="T78" fmla="*/ 138 w 138"/>
              <a:gd name="T79" fmla="*/ 108 h 108"/>
              <a:gd name="T80" fmla="*/ 120 w 138"/>
              <a:gd name="T81" fmla="*/ 108 h 108"/>
              <a:gd name="T82" fmla="*/ 102 w 138"/>
              <a:gd name="T83" fmla="*/ 108 h 108"/>
              <a:gd name="T84" fmla="*/ 90 w 138"/>
              <a:gd name="T85" fmla="*/ 108 h 108"/>
              <a:gd name="T86" fmla="*/ 78 w 138"/>
              <a:gd name="T87" fmla="*/ 108 h 108"/>
              <a:gd name="T88" fmla="*/ 72 w 138"/>
              <a:gd name="T89" fmla="*/ 102 h 108"/>
              <a:gd name="T90" fmla="*/ 66 w 138"/>
              <a:gd name="T91" fmla="*/ 96 h 108"/>
              <a:gd name="T92" fmla="*/ 60 w 138"/>
              <a:gd name="T93" fmla="*/ 96 h 108"/>
              <a:gd name="T94" fmla="*/ 48 w 138"/>
              <a:gd name="T95" fmla="*/ 90 h 108"/>
              <a:gd name="T96" fmla="*/ 42 w 138"/>
              <a:gd name="T97" fmla="*/ 90 h 108"/>
              <a:gd name="T98" fmla="*/ 30 w 138"/>
              <a:gd name="T99" fmla="*/ 90 h 108"/>
              <a:gd name="T100" fmla="*/ 18 w 138"/>
              <a:gd name="T101" fmla="*/ 90 h 108"/>
              <a:gd name="T102" fmla="*/ 6 w 138"/>
              <a:gd name="T103" fmla="*/ 84 h 108"/>
              <a:gd name="T104" fmla="*/ 12 w 138"/>
              <a:gd name="T105" fmla="*/ 72 h 108"/>
              <a:gd name="T106" fmla="*/ 6 w 138"/>
              <a:gd name="T107" fmla="*/ 60 h 108"/>
              <a:gd name="T108" fmla="*/ 6 w 138"/>
              <a:gd name="T109" fmla="*/ 60 h 108"/>
              <a:gd name="T110" fmla="*/ 6 w 138"/>
              <a:gd name="T111" fmla="*/ 54 h 108"/>
              <a:gd name="T112" fmla="*/ 0 w 138"/>
              <a:gd name="T113" fmla="*/ 54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38" h="108">
                <a:moveTo>
                  <a:pt x="0" y="48"/>
                </a:moveTo>
                <a:lnTo>
                  <a:pt x="0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8"/>
                </a:lnTo>
                <a:lnTo>
                  <a:pt x="18" y="48"/>
                </a:lnTo>
                <a:lnTo>
                  <a:pt x="18" y="42"/>
                </a:lnTo>
                <a:lnTo>
                  <a:pt x="24" y="48"/>
                </a:lnTo>
                <a:lnTo>
                  <a:pt x="24" y="48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24"/>
                </a:lnTo>
                <a:lnTo>
                  <a:pt x="24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6" y="24"/>
                </a:lnTo>
                <a:lnTo>
                  <a:pt x="36" y="24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12"/>
                </a:lnTo>
                <a:lnTo>
                  <a:pt x="54" y="12"/>
                </a:lnTo>
                <a:lnTo>
                  <a:pt x="60" y="12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6" y="18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30"/>
                </a:lnTo>
                <a:lnTo>
                  <a:pt x="72" y="30"/>
                </a:lnTo>
                <a:lnTo>
                  <a:pt x="78" y="30"/>
                </a:lnTo>
                <a:lnTo>
                  <a:pt x="78" y="30"/>
                </a:lnTo>
                <a:lnTo>
                  <a:pt x="72" y="30"/>
                </a:lnTo>
                <a:lnTo>
                  <a:pt x="78" y="30"/>
                </a:lnTo>
                <a:lnTo>
                  <a:pt x="78" y="36"/>
                </a:lnTo>
                <a:lnTo>
                  <a:pt x="78" y="36"/>
                </a:lnTo>
                <a:lnTo>
                  <a:pt x="78" y="30"/>
                </a:lnTo>
                <a:lnTo>
                  <a:pt x="84" y="30"/>
                </a:lnTo>
                <a:lnTo>
                  <a:pt x="84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6"/>
                </a:lnTo>
                <a:lnTo>
                  <a:pt x="96" y="36"/>
                </a:lnTo>
                <a:lnTo>
                  <a:pt x="96" y="36"/>
                </a:lnTo>
                <a:lnTo>
                  <a:pt x="96" y="30"/>
                </a:lnTo>
                <a:lnTo>
                  <a:pt x="102" y="36"/>
                </a:lnTo>
                <a:lnTo>
                  <a:pt x="102" y="36"/>
                </a:lnTo>
                <a:lnTo>
                  <a:pt x="102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08" y="36"/>
                </a:lnTo>
                <a:lnTo>
                  <a:pt x="108" y="36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8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20" y="66"/>
                </a:lnTo>
                <a:lnTo>
                  <a:pt x="114" y="66"/>
                </a:lnTo>
                <a:lnTo>
                  <a:pt x="120" y="66"/>
                </a:lnTo>
                <a:lnTo>
                  <a:pt x="114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6" y="66"/>
                </a:lnTo>
                <a:lnTo>
                  <a:pt x="120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72"/>
                </a:lnTo>
                <a:lnTo>
                  <a:pt x="126" y="72"/>
                </a:lnTo>
                <a:lnTo>
                  <a:pt x="126" y="72"/>
                </a:lnTo>
                <a:lnTo>
                  <a:pt x="126" y="66"/>
                </a:lnTo>
                <a:lnTo>
                  <a:pt x="126" y="72"/>
                </a:lnTo>
                <a:lnTo>
                  <a:pt x="126" y="72"/>
                </a:lnTo>
                <a:lnTo>
                  <a:pt x="126" y="72"/>
                </a:lnTo>
                <a:lnTo>
                  <a:pt x="126" y="66"/>
                </a:lnTo>
                <a:lnTo>
                  <a:pt x="132" y="72"/>
                </a:lnTo>
                <a:lnTo>
                  <a:pt x="132" y="66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26" y="72"/>
                </a:lnTo>
                <a:lnTo>
                  <a:pt x="126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84"/>
                </a:lnTo>
                <a:lnTo>
                  <a:pt x="132" y="84"/>
                </a:lnTo>
                <a:lnTo>
                  <a:pt x="132" y="84"/>
                </a:lnTo>
                <a:lnTo>
                  <a:pt x="132" y="84"/>
                </a:lnTo>
                <a:lnTo>
                  <a:pt x="132" y="84"/>
                </a:lnTo>
                <a:lnTo>
                  <a:pt x="132" y="84"/>
                </a:lnTo>
                <a:lnTo>
                  <a:pt x="138" y="84"/>
                </a:lnTo>
                <a:lnTo>
                  <a:pt x="138" y="84"/>
                </a:lnTo>
                <a:lnTo>
                  <a:pt x="138" y="84"/>
                </a:lnTo>
                <a:lnTo>
                  <a:pt x="138" y="84"/>
                </a:lnTo>
                <a:lnTo>
                  <a:pt x="138" y="84"/>
                </a:lnTo>
                <a:lnTo>
                  <a:pt x="138" y="90"/>
                </a:lnTo>
                <a:lnTo>
                  <a:pt x="138" y="84"/>
                </a:lnTo>
                <a:lnTo>
                  <a:pt x="138" y="90"/>
                </a:lnTo>
                <a:lnTo>
                  <a:pt x="138" y="90"/>
                </a:lnTo>
                <a:lnTo>
                  <a:pt x="138" y="90"/>
                </a:lnTo>
                <a:lnTo>
                  <a:pt x="138" y="90"/>
                </a:lnTo>
                <a:lnTo>
                  <a:pt x="138" y="90"/>
                </a:lnTo>
                <a:lnTo>
                  <a:pt x="138" y="90"/>
                </a:lnTo>
                <a:lnTo>
                  <a:pt x="138" y="90"/>
                </a:lnTo>
                <a:lnTo>
                  <a:pt x="138" y="90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8"/>
                </a:lnTo>
                <a:lnTo>
                  <a:pt x="138" y="108"/>
                </a:lnTo>
                <a:lnTo>
                  <a:pt x="138" y="108"/>
                </a:lnTo>
                <a:lnTo>
                  <a:pt x="132" y="108"/>
                </a:lnTo>
                <a:lnTo>
                  <a:pt x="132" y="108"/>
                </a:lnTo>
                <a:lnTo>
                  <a:pt x="126" y="108"/>
                </a:lnTo>
                <a:lnTo>
                  <a:pt x="126" y="108"/>
                </a:lnTo>
                <a:lnTo>
                  <a:pt x="120" y="108"/>
                </a:lnTo>
                <a:lnTo>
                  <a:pt x="120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6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0"/>
                </a:lnTo>
                <a:lnTo>
                  <a:pt x="60" y="96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36" y="90"/>
                </a:lnTo>
                <a:lnTo>
                  <a:pt x="36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24" y="90"/>
                </a:lnTo>
                <a:lnTo>
                  <a:pt x="24" y="90"/>
                </a:lnTo>
                <a:lnTo>
                  <a:pt x="24" y="84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2" y="84"/>
                </a:lnTo>
                <a:lnTo>
                  <a:pt x="12" y="84"/>
                </a:lnTo>
                <a:lnTo>
                  <a:pt x="6" y="84"/>
                </a:lnTo>
                <a:lnTo>
                  <a:pt x="12" y="84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66"/>
                </a:lnTo>
                <a:lnTo>
                  <a:pt x="12" y="66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48"/>
                </a:lnTo>
                <a:lnTo>
                  <a:pt x="0" y="54"/>
                </a:lnTo>
                <a:lnTo>
                  <a:pt x="0" y="54"/>
                </a:lnTo>
                <a:lnTo>
                  <a:pt x="6" y="48"/>
                </a:lnTo>
                <a:lnTo>
                  <a:pt x="0" y="48"/>
                </a:lnTo>
                <a:lnTo>
                  <a:pt x="0" y="4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00" name="Freeform 433"/>
          <p:cNvSpPr>
            <a:spLocks/>
          </p:cNvSpPr>
          <p:nvPr/>
        </p:nvSpPr>
        <p:spPr bwMode="auto">
          <a:xfrm>
            <a:off x="6601316" y="4379120"/>
            <a:ext cx="115633" cy="83513"/>
          </a:xfrm>
          <a:custGeom>
            <a:avLst/>
            <a:gdLst>
              <a:gd name="T0" fmla="*/ 0 w 108"/>
              <a:gd name="T1" fmla="*/ 48 h 78"/>
              <a:gd name="T2" fmla="*/ 6 w 108"/>
              <a:gd name="T3" fmla="*/ 42 h 78"/>
              <a:gd name="T4" fmla="*/ 18 w 108"/>
              <a:gd name="T5" fmla="*/ 42 h 78"/>
              <a:gd name="T6" fmla="*/ 24 w 108"/>
              <a:gd name="T7" fmla="*/ 36 h 78"/>
              <a:gd name="T8" fmla="*/ 30 w 108"/>
              <a:gd name="T9" fmla="*/ 30 h 78"/>
              <a:gd name="T10" fmla="*/ 36 w 108"/>
              <a:gd name="T11" fmla="*/ 30 h 78"/>
              <a:gd name="T12" fmla="*/ 42 w 108"/>
              <a:gd name="T13" fmla="*/ 30 h 78"/>
              <a:gd name="T14" fmla="*/ 42 w 108"/>
              <a:gd name="T15" fmla="*/ 30 h 78"/>
              <a:gd name="T16" fmla="*/ 48 w 108"/>
              <a:gd name="T17" fmla="*/ 30 h 78"/>
              <a:gd name="T18" fmla="*/ 48 w 108"/>
              <a:gd name="T19" fmla="*/ 24 h 78"/>
              <a:gd name="T20" fmla="*/ 48 w 108"/>
              <a:gd name="T21" fmla="*/ 18 h 78"/>
              <a:gd name="T22" fmla="*/ 48 w 108"/>
              <a:gd name="T23" fmla="*/ 18 h 78"/>
              <a:gd name="T24" fmla="*/ 48 w 108"/>
              <a:gd name="T25" fmla="*/ 18 h 78"/>
              <a:gd name="T26" fmla="*/ 54 w 108"/>
              <a:gd name="T27" fmla="*/ 18 h 78"/>
              <a:gd name="T28" fmla="*/ 66 w 108"/>
              <a:gd name="T29" fmla="*/ 12 h 78"/>
              <a:gd name="T30" fmla="*/ 78 w 108"/>
              <a:gd name="T31" fmla="*/ 6 h 78"/>
              <a:gd name="T32" fmla="*/ 78 w 108"/>
              <a:gd name="T33" fmla="*/ 6 h 78"/>
              <a:gd name="T34" fmla="*/ 84 w 108"/>
              <a:gd name="T35" fmla="*/ 0 h 78"/>
              <a:gd name="T36" fmla="*/ 84 w 108"/>
              <a:gd name="T37" fmla="*/ 0 h 78"/>
              <a:gd name="T38" fmla="*/ 84 w 108"/>
              <a:gd name="T39" fmla="*/ 0 h 78"/>
              <a:gd name="T40" fmla="*/ 90 w 108"/>
              <a:gd name="T41" fmla="*/ 0 h 78"/>
              <a:gd name="T42" fmla="*/ 90 w 108"/>
              <a:gd name="T43" fmla="*/ 6 h 78"/>
              <a:gd name="T44" fmla="*/ 96 w 108"/>
              <a:gd name="T45" fmla="*/ 12 h 78"/>
              <a:gd name="T46" fmla="*/ 90 w 108"/>
              <a:gd name="T47" fmla="*/ 12 h 78"/>
              <a:gd name="T48" fmla="*/ 96 w 108"/>
              <a:gd name="T49" fmla="*/ 18 h 78"/>
              <a:gd name="T50" fmla="*/ 102 w 108"/>
              <a:gd name="T51" fmla="*/ 18 h 78"/>
              <a:gd name="T52" fmla="*/ 102 w 108"/>
              <a:gd name="T53" fmla="*/ 24 h 78"/>
              <a:gd name="T54" fmla="*/ 102 w 108"/>
              <a:gd name="T55" fmla="*/ 24 h 78"/>
              <a:gd name="T56" fmla="*/ 102 w 108"/>
              <a:gd name="T57" fmla="*/ 30 h 78"/>
              <a:gd name="T58" fmla="*/ 102 w 108"/>
              <a:gd name="T59" fmla="*/ 54 h 78"/>
              <a:gd name="T60" fmla="*/ 108 w 108"/>
              <a:gd name="T61" fmla="*/ 54 h 78"/>
              <a:gd name="T62" fmla="*/ 108 w 108"/>
              <a:gd name="T63" fmla="*/ 54 h 78"/>
              <a:gd name="T64" fmla="*/ 108 w 108"/>
              <a:gd name="T65" fmla="*/ 60 h 78"/>
              <a:gd name="T66" fmla="*/ 102 w 108"/>
              <a:gd name="T67" fmla="*/ 60 h 78"/>
              <a:gd name="T68" fmla="*/ 102 w 108"/>
              <a:gd name="T69" fmla="*/ 66 h 78"/>
              <a:gd name="T70" fmla="*/ 96 w 108"/>
              <a:gd name="T71" fmla="*/ 60 h 78"/>
              <a:gd name="T72" fmla="*/ 96 w 108"/>
              <a:gd name="T73" fmla="*/ 60 h 78"/>
              <a:gd name="T74" fmla="*/ 90 w 108"/>
              <a:gd name="T75" fmla="*/ 60 h 78"/>
              <a:gd name="T76" fmla="*/ 84 w 108"/>
              <a:gd name="T77" fmla="*/ 60 h 78"/>
              <a:gd name="T78" fmla="*/ 72 w 108"/>
              <a:gd name="T79" fmla="*/ 66 h 78"/>
              <a:gd name="T80" fmla="*/ 72 w 108"/>
              <a:gd name="T81" fmla="*/ 60 h 78"/>
              <a:gd name="T82" fmla="*/ 72 w 108"/>
              <a:gd name="T83" fmla="*/ 60 h 78"/>
              <a:gd name="T84" fmla="*/ 66 w 108"/>
              <a:gd name="T85" fmla="*/ 60 h 78"/>
              <a:gd name="T86" fmla="*/ 66 w 108"/>
              <a:gd name="T87" fmla="*/ 60 h 78"/>
              <a:gd name="T88" fmla="*/ 66 w 108"/>
              <a:gd name="T89" fmla="*/ 66 h 78"/>
              <a:gd name="T90" fmla="*/ 60 w 108"/>
              <a:gd name="T91" fmla="*/ 66 h 78"/>
              <a:gd name="T92" fmla="*/ 60 w 108"/>
              <a:gd name="T93" fmla="*/ 78 h 78"/>
              <a:gd name="T94" fmla="*/ 54 w 108"/>
              <a:gd name="T95" fmla="*/ 78 h 78"/>
              <a:gd name="T96" fmla="*/ 48 w 108"/>
              <a:gd name="T97" fmla="*/ 78 h 78"/>
              <a:gd name="T98" fmla="*/ 42 w 108"/>
              <a:gd name="T99" fmla="*/ 78 h 78"/>
              <a:gd name="T100" fmla="*/ 42 w 108"/>
              <a:gd name="T101" fmla="*/ 78 h 78"/>
              <a:gd name="T102" fmla="*/ 36 w 108"/>
              <a:gd name="T103" fmla="*/ 72 h 78"/>
              <a:gd name="T104" fmla="*/ 30 w 108"/>
              <a:gd name="T105" fmla="*/ 72 h 78"/>
              <a:gd name="T106" fmla="*/ 30 w 108"/>
              <a:gd name="T107" fmla="*/ 72 h 78"/>
              <a:gd name="T108" fmla="*/ 24 w 108"/>
              <a:gd name="T109" fmla="*/ 72 h 78"/>
              <a:gd name="T110" fmla="*/ 18 w 108"/>
              <a:gd name="T111" fmla="*/ 72 h 78"/>
              <a:gd name="T112" fmla="*/ 18 w 108"/>
              <a:gd name="T113" fmla="*/ 72 h 78"/>
              <a:gd name="T114" fmla="*/ 12 w 108"/>
              <a:gd name="T115" fmla="*/ 66 h 78"/>
              <a:gd name="T116" fmla="*/ 6 w 108"/>
              <a:gd name="T117" fmla="*/ 60 h 78"/>
              <a:gd name="T118" fmla="*/ 6 w 108"/>
              <a:gd name="T119" fmla="*/ 54 h 78"/>
              <a:gd name="T120" fmla="*/ 0 w 108"/>
              <a:gd name="T121" fmla="*/ 48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8" h="78">
                <a:moveTo>
                  <a:pt x="0" y="48"/>
                </a:move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12" y="42"/>
                </a:lnTo>
                <a:lnTo>
                  <a:pt x="12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0"/>
                </a:lnTo>
                <a:lnTo>
                  <a:pt x="24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54" y="18"/>
                </a:lnTo>
                <a:lnTo>
                  <a:pt x="54" y="18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78" y="6"/>
                </a:lnTo>
                <a:lnTo>
                  <a:pt x="78" y="12"/>
                </a:lnTo>
                <a:lnTo>
                  <a:pt x="78" y="12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6" y="6"/>
                </a:lnTo>
                <a:lnTo>
                  <a:pt x="96" y="12"/>
                </a:lnTo>
                <a:lnTo>
                  <a:pt x="96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6" y="12"/>
                </a:lnTo>
                <a:lnTo>
                  <a:pt x="96" y="12"/>
                </a:lnTo>
                <a:lnTo>
                  <a:pt x="90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24"/>
                </a:lnTo>
                <a:lnTo>
                  <a:pt x="102" y="18"/>
                </a:lnTo>
                <a:lnTo>
                  <a:pt x="96" y="18"/>
                </a:lnTo>
                <a:lnTo>
                  <a:pt x="96" y="24"/>
                </a:lnTo>
                <a:lnTo>
                  <a:pt x="96" y="24"/>
                </a:lnTo>
                <a:lnTo>
                  <a:pt x="102" y="24"/>
                </a:lnTo>
                <a:lnTo>
                  <a:pt x="96" y="24"/>
                </a:lnTo>
                <a:lnTo>
                  <a:pt x="96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6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6"/>
                </a:lnTo>
                <a:lnTo>
                  <a:pt x="102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0"/>
                </a:lnTo>
                <a:lnTo>
                  <a:pt x="96" y="60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2"/>
                </a:lnTo>
                <a:lnTo>
                  <a:pt x="36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24" y="72"/>
                </a:lnTo>
                <a:lnTo>
                  <a:pt x="24" y="72"/>
                </a:lnTo>
                <a:lnTo>
                  <a:pt x="30" y="72"/>
                </a:lnTo>
                <a:lnTo>
                  <a:pt x="24" y="78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8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48"/>
                </a:lnTo>
                <a:lnTo>
                  <a:pt x="0" y="4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01" name="Freeform 434"/>
          <p:cNvSpPr>
            <a:spLocks/>
          </p:cNvSpPr>
          <p:nvPr/>
        </p:nvSpPr>
        <p:spPr bwMode="auto">
          <a:xfrm>
            <a:off x="6376474" y="4346999"/>
            <a:ext cx="70665" cy="77089"/>
          </a:xfrm>
          <a:custGeom>
            <a:avLst/>
            <a:gdLst>
              <a:gd name="T0" fmla="*/ 0 w 66"/>
              <a:gd name="T1" fmla="*/ 6 h 72"/>
              <a:gd name="T2" fmla="*/ 0 w 66"/>
              <a:gd name="T3" fmla="*/ 0 h 72"/>
              <a:gd name="T4" fmla="*/ 12 w 66"/>
              <a:gd name="T5" fmla="*/ 0 h 72"/>
              <a:gd name="T6" fmla="*/ 18 w 66"/>
              <a:gd name="T7" fmla="*/ 0 h 72"/>
              <a:gd name="T8" fmla="*/ 24 w 66"/>
              <a:gd name="T9" fmla="*/ 0 h 72"/>
              <a:gd name="T10" fmla="*/ 30 w 66"/>
              <a:gd name="T11" fmla="*/ 6 h 72"/>
              <a:gd name="T12" fmla="*/ 30 w 66"/>
              <a:gd name="T13" fmla="*/ 12 h 72"/>
              <a:gd name="T14" fmla="*/ 36 w 66"/>
              <a:gd name="T15" fmla="*/ 12 h 72"/>
              <a:gd name="T16" fmla="*/ 30 w 66"/>
              <a:gd name="T17" fmla="*/ 18 h 72"/>
              <a:gd name="T18" fmla="*/ 30 w 66"/>
              <a:gd name="T19" fmla="*/ 24 h 72"/>
              <a:gd name="T20" fmla="*/ 24 w 66"/>
              <a:gd name="T21" fmla="*/ 30 h 72"/>
              <a:gd name="T22" fmla="*/ 24 w 66"/>
              <a:gd name="T23" fmla="*/ 30 h 72"/>
              <a:gd name="T24" fmla="*/ 30 w 66"/>
              <a:gd name="T25" fmla="*/ 30 h 72"/>
              <a:gd name="T26" fmla="*/ 42 w 66"/>
              <a:gd name="T27" fmla="*/ 30 h 72"/>
              <a:gd name="T28" fmla="*/ 54 w 66"/>
              <a:gd name="T29" fmla="*/ 36 h 72"/>
              <a:gd name="T30" fmla="*/ 48 w 66"/>
              <a:gd name="T31" fmla="*/ 42 h 72"/>
              <a:gd name="T32" fmla="*/ 48 w 66"/>
              <a:gd name="T33" fmla="*/ 42 h 72"/>
              <a:gd name="T34" fmla="*/ 48 w 66"/>
              <a:gd name="T35" fmla="*/ 42 h 72"/>
              <a:gd name="T36" fmla="*/ 48 w 66"/>
              <a:gd name="T37" fmla="*/ 48 h 72"/>
              <a:gd name="T38" fmla="*/ 42 w 66"/>
              <a:gd name="T39" fmla="*/ 48 h 72"/>
              <a:gd name="T40" fmla="*/ 48 w 66"/>
              <a:gd name="T41" fmla="*/ 48 h 72"/>
              <a:gd name="T42" fmla="*/ 48 w 66"/>
              <a:gd name="T43" fmla="*/ 48 h 72"/>
              <a:gd name="T44" fmla="*/ 48 w 66"/>
              <a:gd name="T45" fmla="*/ 48 h 72"/>
              <a:gd name="T46" fmla="*/ 48 w 66"/>
              <a:gd name="T47" fmla="*/ 48 h 72"/>
              <a:gd name="T48" fmla="*/ 54 w 66"/>
              <a:gd name="T49" fmla="*/ 48 h 72"/>
              <a:gd name="T50" fmla="*/ 54 w 66"/>
              <a:gd name="T51" fmla="*/ 48 h 72"/>
              <a:gd name="T52" fmla="*/ 54 w 66"/>
              <a:gd name="T53" fmla="*/ 48 h 72"/>
              <a:gd name="T54" fmla="*/ 60 w 66"/>
              <a:gd name="T55" fmla="*/ 48 h 72"/>
              <a:gd name="T56" fmla="*/ 60 w 66"/>
              <a:gd name="T57" fmla="*/ 54 h 72"/>
              <a:gd name="T58" fmla="*/ 60 w 66"/>
              <a:gd name="T59" fmla="*/ 54 h 72"/>
              <a:gd name="T60" fmla="*/ 60 w 66"/>
              <a:gd name="T61" fmla="*/ 54 h 72"/>
              <a:gd name="T62" fmla="*/ 60 w 66"/>
              <a:gd name="T63" fmla="*/ 60 h 72"/>
              <a:gd name="T64" fmla="*/ 60 w 66"/>
              <a:gd name="T65" fmla="*/ 66 h 72"/>
              <a:gd name="T66" fmla="*/ 54 w 66"/>
              <a:gd name="T67" fmla="*/ 66 h 72"/>
              <a:gd name="T68" fmla="*/ 48 w 66"/>
              <a:gd name="T69" fmla="*/ 66 h 72"/>
              <a:gd name="T70" fmla="*/ 48 w 66"/>
              <a:gd name="T71" fmla="*/ 72 h 72"/>
              <a:gd name="T72" fmla="*/ 48 w 66"/>
              <a:gd name="T73" fmla="*/ 66 h 72"/>
              <a:gd name="T74" fmla="*/ 42 w 66"/>
              <a:gd name="T75" fmla="*/ 60 h 72"/>
              <a:gd name="T76" fmla="*/ 42 w 66"/>
              <a:gd name="T77" fmla="*/ 54 h 72"/>
              <a:gd name="T78" fmla="*/ 36 w 66"/>
              <a:gd name="T79" fmla="*/ 54 h 72"/>
              <a:gd name="T80" fmla="*/ 36 w 66"/>
              <a:gd name="T81" fmla="*/ 54 h 72"/>
              <a:gd name="T82" fmla="*/ 30 w 66"/>
              <a:gd name="T83" fmla="*/ 48 h 72"/>
              <a:gd name="T84" fmla="*/ 24 w 66"/>
              <a:gd name="T85" fmla="*/ 48 h 72"/>
              <a:gd name="T86" fmla="*/ 18 w 66"/>
              <a:gd name="T87" fmla="*/ 48 h 72"/>
              <a:gd name="T88" fmla="*/ 18 w 66"/>
              <a:gd name="T89" fmla="*/ 48 h 72"/>
              <a:gd name="T90" fmla="*/ 12 w 66"/>
              <a:gd name="T91" fmla="*/ 42 h 72"/>
              <a:gd name="T92" fmla="*/ 12 w 66"/>
              <a:gd name="T93" fmla="*/ 36 h 72"/>
              <a:gd name="T94" fmla="*/ 6 w 66"/>
              <a:gd name="T95" fmla="*/ 36 h 72"/>
              <a:gd name="T96" fmla="*/ 0 w 66"/>
              <a:gd name="T97" fmla="*/ 30 h 72"/>
              <a:gd name="T98" fmla="*/ 0 w 66"/>
              <a:gd name="T99" fmla="*/ 24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66" h="72">
                <a:moveTo>
                  <a:pt x="0" y="24"/>
                </a:moveTo>
                <a:lnTo>
                  <a:pt x="0" y="18"/>
                </a:lnTo>
                <a:lnTo>
                  <a:pt x="0" y="12"/>
                </a:lnTo>
                <a:lnTo>
                  <a:pt x="0" y="6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6" y="6"/>
                </a:lnTo>
                <a:lnTo>
                  <a:pt x="12" y="6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24" y="0"/>
                </a:lnTo>
                <a:lnTo>
                  <a:pt x="24" y="0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6" y="12"/>
                </a:lnTo>
                <a:lnTo>
                  <a:pt x="36" y="12"/>
                </a:lnTo>
                <a:lnTo>
                  <a:pt x="36" y="18"/>
                </a:lnTo>
                <a:lnTo>
                  <a:pt x="36" y="18"/>
                </a:lnTo>
                <a:lnTo>
                  <a:pt x="30" y="18"/>
                </a:lnTo>
                <a:lnTo>
                  <a:pt x="30" y="18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6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2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2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60" y="42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60"/>
                </a:lnTo>
                <a:lnTo>
                  <a:pt x="60" y="60"/>
                </a:lnTo>
                <a:lnTo>
                  <a:pt x="66" y="60"/>
                </a:lnTo>
                <a:lnTo>
                  <a:pt x="66" y="60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48" y="66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0" y="54"/>
                </a:lnTo>
                <a:lnTo>
                  <a:pt x="30" y="54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24"/>
                </a:lnTo>
                <a:lnTo>
                  <a:pt x="0" y="2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02" name="Freeform 435"/>
          <p:cNvSpPr>
            <a:spLocks/>
          </p:cNvSpPr>
          <p:nvPr/>
        </p:nvSpPr>
        <p:spPr bwMode="auto">
          <a:xfrm>
            <a:off x="6517804" y="4552570"/>
            <a:ext cx="160601" cy="128482"/>
          </a:xfrm>
          <a:custGeom>
            <a:avLst/>
            <a:gdLst>
              <a:gd name="T0" fmla="*/ 18 w 150"/>
              <a:gd name="T1" fmla="*/ 0 h 120"/>
              <a:gd name="T2" fmla="*/ 24 w 150"/>
              <a:gd name="T3" fmla="*/ 6 h 120"/>
              <a:gd name="T4" fmla="*/ 24 w 150"/>
              <a:gd name="T5" fmla="*/ 6 h 120"/>
              <a:gd name="T6" fmla="*/ 30 w 150"/>
              <a:gd name="T7" fmla="*/ 12 h 120"/>
              <a:gd name="T8" fmla="*/ 36 w 150"/>
              <a:gd name="T9" fmla="*/ 18 h 120"/>
              <a:gd name="T10" fmla="*/ 42 w 150"/>
              <a:gd name="T11" fmla="*/ 24 h 120"/>
              <a:gd name="T12" fmla="*/ 48 w 150"/>
              <a:gd name="T13" fmla="*/ 24 h 120"/>
              <a:gd name="T14" fmla="*/ 48 w 150"/>
              <a:gd name="T15" fmla="*/ 30 h 120"/>
              <a:gd name="T16" fmla="*/ 54 w 150"/>
              <a:gd name="T17" fmla="*/ 24 h 120"/>
              <a:gd name="T18" fmla="*/ 54 w 150"/>
              <a:gd name="T19" fmla="*/ 12 h 120"/>
              <a:gd name="T20" fmla="*/ 66 w 150"/>
              <a:gd name="T21" fmla="*/ 12 h 120"/>
              <a:gd name="T22" fmla="*/ 72 w 150"/>
              <a:gd name="T23" fmla="*/ 12 h 120"/>
              <a:gd name="T24" fmla="*/ 84 w 150"/>
              <a:gd name="T25" fmla="*/ 12 h 120"/>
              <a:gd name="T26" fmla="*/ 96 w 150"/>
              <a:gd name="T27" fmla="*/ 12 h 120"/>
              <a:gd name="T28" fmla="*/ 108 w 150"/>
              <a:gd name="T29" fmla="*/ 12 h 120"/>
              <a:gd name="T30" fmla="*/ 120 w 150"/>
              <a:gd name="T31" fmla="*/ 6 h 120"/>
              <a:gd name="T32" fmla="*/ 120 w 150"/>
              <a:gd name="T33" fmla="*/ 30 h 120"/>
              <a:gd name="T34" fmla="*/ 120 w 150"/>
              <a:gd name="T35" fmla="*/ 30 h 120"/>
              <a:gd name="T36" fmla="*/ 120 w 150"/>
              <a:gd name="T37" fmla="*/ 36 h 120"/>
              <a:gd name="T38" fmla="*/ 126 w 150"/>
              <a:gd name="T39" fmla="*/ 42 h 120"/>
              <a:gd name="T40" fmla="*/ 132 w 150"/>
              <a:gd name="T41" fmla="*/ 42 h 120"/>
              <a:gd name="T42" fmla="*/ 132 w 150"/>
              <a:gd name="T43" fmla="*/ 48 h 120"/>
              <a:gd name="T44" fmla="*/ 144 w 150"/>
              <a:gd name="T45" fmla="*/ 54 h 120"/>
              <a:gd name="T46" fmla="*/ 144 w 150"/>
              <a:gd name="T47" fmla="*/ 54 h 120"/>
              <a:gd name="T48" fmla="*/ 144 w 150"/>
              <a:gd name="T49" fmla="*/ 66 h 120"/>
              <a:gd name="T50" fmla="*/ 144 w 150"/>
              <a:gd name="T51" fmla="*/ 72 h 120"/>
              <a:gd name="T52" fmla="*/ 138 w 150"/>
              <a:gd name="T53" fmla="*/ 84 h 120"/>
              <a:gd name="T54" fmla="*/ 138 w 150"/>
              <a:gd name="T55" fmla="*/ 96 h 120"/>
              <a:gd name="T56" fmla="*/ 132 w 150"/>
              <a:gd name="T57" fmla="*/ 102 h 120"/>
              <a:gd name="T58" fmla="*/ 126 w 150"/>
              <a:gd name="T59" fmla="*/ 114 h 120"/>
              <a:gd name="T60" fmla="*/ 120 w 150"/>
              <a:gd name="T61" fmla="*/ 120 h 120"/>
              <a:gd name="T62" fmla="*/ 108 w 150"/>
              <a:gd name="T63" fmla="*/ 108 h 120"/>
              <a:gd name="T64" fmla="*/ 102 w 150"/>
              <a:gd name="T65" fmla="*/ 84 h 120"/>
              <a:gd name="T66" fmla="*/ 78 w 150"/>
              <a:gd name="T67" fmla="*/ 84 h 120"/>
              <a:gd name="T68" fmla="*/ 78 w 150"/>
              <a:gd name="T69" fmla="*/ 84 h 120"/>
              <a:gd name="T70" fmla="*/ 72 w 150"/>
              <a:gd name="T71" fmla="*/ 84 h 120"/>
              <a:gd name="T72" fmla="*/ 66 w 150"/>
              <a:gd name="T73" fmla="*/ 84 h 120"/>
              <a:gd name="T74" fmla="*/ 48 w 150"/>
              <a:gd name="T75" fmla="*/ 90 h 120"/>
              <a:gd name="T76" fmla="*/ 48 w 150"/>
              <a:gd name="T77" fmla="*/ 96 h 120"/>
              <a:gd name="T78" fmla="*/ 48 w 150"/>
              <a:gd name="T79" fmla="*/ 96 h 120"/>
              <a:gd name="T80" fmla="*/ 42 w 150"/>
              <a:gd name="T81" fmla="*/ 96 h 120"/>
              <a:gd name="T82" fmla="*/ 36 w 150"/>
              <a:gd name="T83" fmla="*/ 96 h 120"/>
              <a:gd name="T84" fmla="*/ 36 w 150"/>
              <a:gd name="T85" fmla="*/ 90 h 120"/>
              <a:gd name="T86" fmla="*/ 36 w 150"/>
              <a:gd name="T87" fmla="*/ 90 h 120"/>
              <a:gd name="T88" fmla="*/ 30 w 150"/>
              <a:gd name="T89" fmla="*/ 90 h 120"/>
              <a:gd name="T90" fmla="*/ 30 w 150"/>
              <a:gd name="T91" fmla="*/ 84 h 120"/>
              <a:gd name="T92" fmla="*/ 30 w 150"/>
              <a:gd name="T93" fmla="*/ 84 h 120"/>
              <a:gd name="T94" fmla="*/ 36 w 150"/>
              <a:gd name="T95" fmla="*/ 78 h 120"/>
              <a:gd name="T96" fmla="*/ 30 w 150"/>
              <a:gd name="T97" fmla="*/ 78 h 120"/>
              <a:gd name="T98" fmla="*/ 24 w 150"/>
              <a:gd name="T99" fmla="*/ 78 h 120"/>
              <a:gd name="T100" fmla="*/ 24 w 150"/>
              <a:gd name="T101" fmla="*/ 72 h 120"/>
              <a:gd name="T102" fmla="*/ 30 w 150"/>
              <a:gd name="T103" fmla="*/ 66 h 120"/>
              <a:gd name="T104" fmla="*/ 24 w 150"/>
              <a:gd name="T105" fmla="*/ 60 h 120"/>
              <a:gd name="T106" fmla="*/ 24 w 150"/>
              <a:gd name="T107" fmla="*/ 54 h 120"/>
              <a:gd name="T108" fmla="*/ 18 w 150"/>
              <a:gd name="T109" fmla="*/ 48 h 120"/>
              <a:gd name="T110" fmla="*/ 12 w 150"/>
              <a:gd name="T111" fmla="*/ 48 h 120"/>
              <a:gd name="T112" fmla="*/ 6 w 150"/>
              <a:gd name="T113" fmla="*/ 30 h 120"/>
              <a:gd name="T114" fmla="*/ 0 w 150"/>
              <a:gd name="T115" fmla="*/ 24 h 120"/>
              <a:gd name="T116" fmla="*/ 0 w 150"/>
              <a:gd name="T117" fmla="*/ 18 h 120"/>
              <a:gd name="T118" fmla="*/ 6 w 150"/>
              <a:gd name="T119" fmla="*/ 12 h 120"/>
              <a:gd name="T120" fmla="*/ 6 w 150"/>
              <a:gd name="T121" fmla="*/ 6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50" h="120">
                <a:moveTo>
                  <a:pt x="6" y="0"/>
                </a:moveTo>
                <a:lnTo>
                  <a:pt x="6" y="0"/>
                </a:lnTo>
                <a:lnTo>
                  <a:pt x="6" y="0"/>
                </a:lnTo>
                <a:lnTo>
                  <a:pt x="12" y="6"/>
                </a:lnTo>
                <a:lnTo>
                  <a:pt x="12" y="0"/>
                </a:lnTo>
                <a:lnTo>
                  <a:pt x="12" y="6"/>
                </a:lnTo>
                <a:lnTo>
                  <a:pt x="12" y="6"/>
                </a:lnTo>
                <a:lnTo>
                  <a:pt x="12" y="0"/>
                </a:lnTo>
                <a:lnTo>
                  <a:pt x="18" y="0"/>
                </a:lnTo>
                <a:lnTo>
                  <a:pt x="12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24" y="6"/>
                </a:lnTo>
                <a:lnTo>
                  <a:pt x="24" y="6"/>
                </a:lnTo>
                <a:lnTo>
                  <a:pt x="24" y="0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6" y="12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24"/>
                </a:lnTo>
                <a:lnTo>
                  <a:pt x="36" y="18"/>
                </a:lnTo>
                <a:lnTo>
                  <a:pt x="42" y="18"/>
                </a:lnTo>
                <a:lnTo>
                  <a:pt x="42" y="24"/>
                </a:lnTo>
                <a:lnTo>
                  <a:pt x="36" y="24"/>
                </a:lnTo>
                <a:lnTo>
                  <a:pt x="36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8" y="24"/>
                </a:lnTo>
                <a:lnTo>
                  <a:pt x="48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18"/>
                </a:lnTo>
                <a:lnTo>
                  <a:pt x="48" y="18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20" y="12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6" y="6"/>
                </a:lnTo>
                <a:lnTo>
                  <a:pt x="126" y="6"/>
                </a:lnTo>
                <a:lnTo>
                  <a:pt x="120" y="12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30"/>
                </a:lnTo>
                <a:lnTo>
                  <a:pt x="114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42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8" y="48"/>
                </a:lnTo>
                <a:lnTo>
                  <a:pt x="138" y="48"/>
                </a:lnTo>
                <a:lnTo>
                  <a:pt x="138" y="48"/>
                </a:lnTo>
                <a:lnTo>
                  <a:pt x="138" y="48"/>
                </a:lnTo>
                <a:lnTo>
                  <a:pt x="138" y="48"/>
                </a:lnTo>
                <a:lnTo>
                  <a:pt x="138" y="48"/>
                </a:lnTo>
                <a:lnTo>
                  <a:pt x="138" y="48"/>
                </a:lnTo>
                <a:lnTo>
                  <a:pt x="144" y="54"/>
                </a:lnTo>
                <a:lnTo>
                  <a:pt x="144" y="54"/>
                </a:lnTo>
                <a:lnTo>
                  <a:pt x="144" y="54"/>
                </a:lnTo>
                <a:lnTo>
                  <a:pt x="144" y="48"/>
                </a:lnTo>
                <a:lnTo>
                  <a:pt x="144" y="54"/>
                </a:lnTo>
                <a:lnTo>
                  <a:pt x="144" y="48"/>
                </a:lnTo>
                <a:lnTo>
                  <a:pt x="144" y="54"/>
                </a:lnTo>
                <a:lnTo>
                  <a:pt x="144" y="54"/>
                </a:lnTo>
                <a:lnTo>
                  <a:pt x="144" y="54"/>
                </a:lnTo>
                <a:lnTo>
                  <a:pt x="144" y="54"/>
                </a:lnTo>
                <a:lnTo>
                  <a:pt x="144" y="60"/>
                </a:lnTo>
                <a:lnTo>
                  <a:pt x="144" y="60"/>
                </a:lnTo>
                <a:lnTo>
                  <a:pt x="150" y="60"/>
                </a:lnTo>
                <a:lnTo>
                  <a:pt x="144" y="60"/>
                </a:lnTo>
                <a:lnTo>
                  <a:pt x="144" y="60"/>
                </a:lnTo>
                <a:lnTo>
                  <a:pt x="144" y="66"/>
                </a:lnTo>
                <a:lnTo>
                  <a:pt x="144" y="66"/>
                </a:lnTo>
                <a:lnTo>
                  <a:pt x="144" y="66"/>
                </a:lnTo>
                <a:lnTo>
                  <a:pt x="144" y="66"/>
                </a:lnTo>
                <a:lnTo>
                  <a:pt x="144" y="66"/>
                </a:lnTo>
                <a:lnTo>
                  <a:pt x="144" y="66"/>
                </a:lnTo>
                <a:lnTo>
                  <a:pt x="144" y="66"/>
                </a:lnTo>
                <a:lnTo>
                  <a:pt x="144" y="72"/>
                </a:lnTo>
                <a:lnTo>
                  <a:pt x="144" y="72"/>
                </a:lnTo>
                <a:lnTo>
                  <a:pt x="144" y="72"/>
                </a:lnTo>
                <a:lnTo>
                  <a:pt x="144" y="72"/>
                </a:lnTo>
                <a:lnTo>
                  <a:pt x="144" y="72"/>
                </a:lnTo>
                <a:lnTo>
                  <a:pt x="144" y="72"/>
                </a:lnTo>
                <a:lnTo>
                  <a:pt x="144" y="72"/>
                </a:lnTo>
                <a:lnTo>
                  <a:pt x="144" y="78"/>
                </a:lnTo>
                <a:lnTo>
                  <a:pt x="144" y="78"/>
                </a:lnTo>
                <a:lnTo>
                  <a:pt x="144" y="78"/>
                </a:lnTo>
                <a:lnTo>
                  <a:pt x="144" y="78"/>
                </a:lnTo>
                <a:lnTo>
                  <a:pt x="144" y="78"/>
                </a:lnTo>
                <a:lnTo>
                  <a:pt x="144" y="84"/>
                </a:lnTo>
                <a:lnTo>
                  <a:pt x="144" y="84"/>
                </a:lnTo>
                <a:lnTo>
                  <a:pt x="138" y="84"/>
                </a:lnTo>
                <a:lnTo>
                  <a:pt x="138" y="84"/>
                </a:lnTo>
                <a:lnTo>
                  <a:pt x="138" y="90"/>
                </a:lnTo>
                <a:lnTo>
                  <a:pt x="138" y="90"/>
                </a:lnTo>
                <a:lnTo>
                  <a:pt x="138" y="90"/>
                </a:lnTo>
                <a:lnTo>
                  <a:pt x="138" y="90"/>
                </a:lnTo>
                <a:lnTo>
                  <a:pt x="132" y="90"/>
                </a:lnTo>
                <a:lnTo>
                  <a:pt x="138" y="90"/>
                </a:lnTo>
                <a:lnTo>
                  <a:pt x="138" y="90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2" y="96"/>
                </a:lnTo>
                <a:lnTo>
                  <a:pt x="138" y="102"/>
                </a:lnTo>
                <a:lnTo>
                  <a:pt x="138" y="102"/>
                </a:lnTo>
                <a:lnTo>
                  <a:pt x="132" y="102"/>
                </a:lnTo>
                <a:lnTo>
                  <a:pt x="132" y="102"/>
                </a:lnTo>
                <a:lnTo>
                  <a:pt x="132" y="102"/>
                </a:lnTo>
                <a:lnTo>
                  <a:pt x="132" y="102"/>
                </a:lnTo>
                <a:lnTo>
                  <a:pt x="132" y="102"/>
                </a:lnTo>
                <a:lnTo>
                  <a:pt x="132" y="108"/>
                </a:lnTo>
                <a:lnTo>
                  <a:pt x="126" y="108"/>
                </a:lnTo>
                <a:lnTo>
                  <a:pt x="126" y="108"/>
                </a:lnTo>
                <a:lnTo>
                  <a:pt x="126" y="108"/>
                </a:lnTo>
                <a:lnTo>
                  <a:pt x="126" y="108"/>
                </a:lnTo>
                <a:lnTo>
                  <a:pt x="126" y="108"/>
                </a:lnTo>
                <a:lnTo>
                  <a:pt x="126" y="114"/>
                </a:lnTo>
                <a:lnTo>
                  <a:pt x="126" y="114"/>
                </a:lnTo>
                <a:lnTo>
                  <a:pt x="126" y="114"/>
                </a:lnTo>
                <a:lnTo>
                  <a:pt x="126" y="114"/>
                </a:lnTo>
                <a:lnTo>
                  <a:pt x="126" y="120"/>
                </a:lnTo>
                <a:lnTo>
                  <a:pt x="126" y="114"/>
                </a:lnTo>
                <a:lnTo>
                  <a:pt x="120" y="114"/>
                </a:lnTo>
                <a:lnTo>
                  <a:pt x="120" y="120"/>
                </a:lnTo>
                <a:lnTo>
                  <a:pt x="120" y="120"/>
                </a:lnTo>
                <a:lnTo>
                  <a:pt x="120" y="120"/>
                </a:lnTo>
                <a:lnTo>
                  <a:pt x="120" y="120"/>
                </a:lnTo>
                <a:lnTo>
                  <a:pt x="114" y="120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08"/>
                </a:lnTo>
                <a:lnTo>
                  <a:pt x="114" y="108"/>
                </a:lnTo>
                <a:lnTo>
                  <a:pt x="108" y="108"/>
                </a:lnTo>
                <a:lnTo>
                  <a:pt x="108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2"/>
                </a:lnTo>
                <a:lnTo>
                  <a:pt x="108" y="90"/>
                </a:lnTo>
                <a:lnTo>
                  <a:pt x="102" y="90"/>
                </a:lnTo>
                <a:lnTo>
                  <a:pt x="102" y="84"/>
                </a:lnTo>
                <a:lnTo>
                  <a:pt x="96" y="84"/>
                </a:lnTo>
                <a:lnTo>
                  <a:pt x="96" y="84"/>
                </a:lnTo>
                <a:lnTo>
                  <a:pt x="90" y="84"/>
                </a:lnTo>
                <a:lnTo>
                  <a:pt x="90" y="78"/>
                </a:lnTo>
                <a:lnTo>
                  <a:pt x="90" y="84"/>
                </a:lnTo>
                <a:lnTo>
                  <a:pt x="90" y="78"/>
                </a:lnTo>
                <a:lnTo>
                  <a:pt x="90" y="84"/>
                </a:lnTo>
                <a:lnTo>
                  <a:pt x="84" y="78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90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0" y="84"/>
                </a:lnTo>
                <a:lnTo>
                  <a:pt x="60" y="84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6"/>
                </a:lnTo>
                <a:lnTo>
                  <a:pt x="48" y="90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2" y="96"/>
                </a:lnTo>
                <a:lnTo>
                  <a:pt x="48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36" y="96"/>
                </a:lnTo>
                <a:lnTo>
                  <a:pt x="36" y="102"/>
                </a:lnTo>
                <a:lnTo>
                  <a:pt x="36" y="102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0"/>
                </a:lnTo>
                <a:lnTo>
                  <a:pt x="36" y="90"/>
                </a:lnTo>
                <a:lnTo>
                  <a:pt x="42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6" y="90"/>
                </a:lnTo>
                <a:lnTo>
                  <a:pt x="36" y="84"/>
                </a:lnTo>
                <a:lnTo>
                  <a:pt x="30" y="90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90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6" y="84"/>
                </a:lnTo>
                <a:lnTo>
                  <a:pt x="36" y="78"/>
                </a:lnTo>
                <a:lnTo>
                  <a:pt x="30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30" y="66"/>
                </a:lnTo>
                <a:lnTo>
                  <a:pt x="24" y="66"/>
                </a:lnTo>
                <a:lnTo>
                  <a:pt x="24" y="60"/>
                </a:lnTo>
                <a:lnTo>
                  <a:pt x="30" y="60"/>
                </a:lnTo>
                <a:lnTo>
                  <a:pt x="30" y="66"/>
                </a:lnTo>
                <a:lnTo>
                  <a:pt x="30" y="60"/>
                </a:lnTo>
                <a:lnTo>
                  <a:pt x="30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30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18" y="54"/>
                </a:lnTo>
                <a:lnTo>
                  <a:pt x="18" y="54"/>
                </a:lnTo>
                <a:lnTo>
                  <a:pt x="24" y="54"/>
                </a:lnTo>
                <a:lnTo>
                  <a:pt x="24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12" y="48"/>
                </a:lnTo>
                <a:lnTo>
                  <a:pt x="12" y="42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6" y="18"/>
                </a:lnTo>
                <a:lnTo>
                  <a:pt x="0" y="12"/>
                </a:lnTo>
                <a:lnTo>
                  <a:pt x="0" y="12"/>
                </a:lnTo>
                <a:lnTo>
                  <a:pt x="6" y="12"/>
                </a:lnTo>
                <a:lnTo>
                  <a:pt x="6" y="12"/>
                </a:lnTo>
                <a:lnTo>
                  <a:pt x="0" y="12"/>
                </a:lnTo>
                <a:lnTo>
                  <a:pt x="0" y="12"/>
                </a:lnTo>
                <a:lnTo>
                  <a:pt x="6" y="12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12" y="6"/>
                </a:lnTo>
                <a:lnTo>
                  <a:pt x="6" y="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03" name="Freeform 436"/>
          <p:cNvSpPr>
            <a:spLocks/>
          </p:cNvSpPr>
          <p:nvPr/>
        </p:nvSpPr>
        <p:spPr bwMode="auto">
          <a:xfrm>
            <a:off x="6517804" y="4417664"/>
            <a:ext cx="179873" cy="173451"/>
          </a:xfrm>
          <a:custGeom>
            <a:avLst/>
            <a:gdLst>
              <a:gd name="T0" fmla="*/ 6 w 168"/>
              <a:gd name="T1" fmla="*/ 48 h 162"/>
              <a:gd name="T2" fmla="*/ 12 w 168"/>
              <a:gd name="T3" fmla="*/ 42 h 162"/>
              <a:gd name="T4" fmla="*/ 12 w 168"/>
              <a:gd name="T5" fmla="*/ 42 h 162"/>
              <a:gd name="T6" fmla="*/ 18 w 168"/>
              <a:gd name="T7" fmla="*/ 42 h 162"/>
              <a:gd name="T8" fmla="*/ 30 w 168"/>
              <a:gd name="T9" fmla="*/ 42 h 162"/>
              <a:gd name="T10" fmla="*/ 30 w 168"/>
              <a:gd name="T11" fmla="*/ 42 h 162"/>
              <a:gd name="T12" fmla="*/ 36 w 168"/>
              <a:gd name="T13" fmla="*/ 42 h 162"/>
              <a:gd name="T14" fmla="*/ 42 w 168"/>
              <a:gd name="T15" fmla="*/ 30 h 162"/>
              <a:gd name="T16" fmla="*/ 42 w 168"/>
              <a:gd name="T17" fmla="*/ 18 h 162"/>
              <a:gd name="T18" fmla="*/ 48 w 168"/>
              <a:gd name="T19" fmla="*/ 18 h 162"/>
              <a:gd name="T20" fmla="*/ 54 w 168"/>
              <a:gd name="T21" fmla="*/ 18 h 162"/>
              <a:gd name="T22" fmla="*/ 54 w 168"/>
              <a:gd name="T23" fmla="*/ 12 h 162"/>
              <a:gd name="T24" fmla="*/ 60 w 168"/>
              <a:gd name="T25" fmla="*/ 6 h 162"/>
              <a:gd name="T26" fmla="*/ 66 w 168"/>
              <a:gd name="T27" fmla="*/ 6 h 162"/>
              <a:gd name="T28" fmla="*/ 78 w 168"/>
              <a:gd name="T29" fmla="*/ 12 h 162"/>
              <a:gd name="T30" fmla="*/ 84 w 168"/>
              <a:gd name="T31" fmla="*/ 24 h 162"/>
              <a:gd name="T32" fmla="*/ 96 w 168"/>
              <a:gd name="T33" fmla="*/ 36 h 162"/>
              <a:gd name="T34" fmla="*/ 102 w 168"/>
              <a:gd name="T35" fmla="*/ 36 h 162"/>
              <a:gd name="T36" fmla="*/ 108 w 168"/>
              <a:gd name="T37" fmla="*/ 36 h 162"/>
              <a:gd name="T38" fmla="*/ 114 w 168"/>
              <a:gd name="T39" fmla="*/ 42 h 162"/>
              <a:gd name="T40" fmla="*/ 120 w 168"/>
              <a:gd name="T41" fmla="*/ 42 h 162"/>
              <a:gd name="T42" fmla="*/ 132 w 168"/>
              <a:gd name="T43" fmla="*/ 42 h 162"/>
              <a:gd name="T44" fmla="*/ 138 w 168"/>
              <a:gd name="T45" fmla="*/ 36 h 162"/>
              <a:gd name="T46" fmla="*/ 144 w 168"/>
              <a:gd name="T47" fmla="*/ 30 h 162"/>
              <a:gd name="T48" fmla="*/ 144 w 168"/>
              <a:gd name="T49" fmla="*/ 24 h 162"/>
              <a:gd name="T50" fmla="*/ 150 w 168"/>
              <a:gd name="T51" fmla="*/ 24 h 162"/>
              <a:gd name="T52" fmla="*/ 156 w 168"/>
              <a:gd name="T53" fmla="*/ 30 h 162"/>
              <a:gd name="T54" fmla="*/ 162 w 168"/>
              <a:gd name="T55" fmla="*/ 30 h 162"/>
              <a:gd name="T56" fmla="*/ 162 w 168"/>
              <a:gd name="T57" fmla="*/ 36 h 162"/>
              <a:gd name="T58" fmla="*/ 168 w 168"/>
              <a:gd name="T59" fmla="*/ 42 h 162"/>
              <a:gd name="T60" fmla="*/ 168 w 168"/>
              <a:gd name="T61" fmla="*/ 48 h 162"/>
              <a:gd name="T62" fmla="*/ 162 w 168"/>
              <a:gd name="T63" fmla="*/ 48 h 162"/>
              <a:gd name="T64" fmla="*/ 156 w 168"/>
              <a:gd name="T65" fmla="*/ 54 h 162"/>
              <a:gd name="T66" fmla="*/ 156 w 168"/>
              <a:gd name="T67" fmla="*/ 66 h 162"/>
              <a:gd name="T68" fmla="*/ 156 w 168"/>
              <a:gd name="T69" fmla="*/ 84 h 162"/>
              <a:gd name="T70" fmla="*/ 168 w 168"/>
              <a:gd name="T71" fmla="*/ 96 h 162"/>
              <a:gd name="T72" fmla="*/ 162 w 168"/>
              <a:gd name="T73" fmla="*/ 102 h 162"/>
              <a:gd name="T74" fmla="*/ 156 w 168"/>
              <a:gd name="T75" fmla="*/ 114 h 162"/>
              <a:gd name="T76" fmla="*/ 150 w 168"/>
              <a:gd name="T77" fmla="*/ 126 h 162"/>
              <a:gd name="T78" fmla="*/ 144 w 168"/>
              <a:gd name="T79" fmla="*/ 132 h 162"/>
              <a:gd name="T80" fmla="*/ 138 w 168"/>
              <a:gd name="T81" fmla="*/ 138 h 162"/>
              <a:gd name="T82" fmla="*/ 138 w 168"/>
              <a:gd name="T83" fmla="*/ 144 h 162"/>
              <a:gd name="T84" fmla="*/ 126 w 168"/>
              <a:gd name="T85" fmla="*/ 156 h 162"/>
              <a:gd name="T86" fmla="*/ 120 w 168"/>
              <a:gd name="T87" fmla="*/ 156 h 162"/>
              <a:gd name="T88" fmla="*/ 114 w 168"/>
              <a:gd name="T89" fmla="*/ 156 h 162"/>
              <a:gd name="T90" fmla="*/ 120 w 168"/>
              <a:gd name="T91" fmla="*/ 132 h 162"/>
              <a:gd name="T92" fmla="*/ 102 w 168"/>
              <a:gd name="T93" fmla="*/ 144 h 162"/>
              <a:gd name="T94" fmla="*/ 90 w 168"/>
              <a:gd name="T95" fmla="*/ 138 h 162"/>
              <a:gd name="T96" fmla="*/ 72 w 168"/>
              <a:gd name="T97" fmla="*/ 138 h 162"/>
              <a:gd name="T98" fmla="*/ 60 w 168"/>
              <a:gd name="T99" fmla="*/ 138 h 162"/>
              <a:gd name="T100" fmla="*/ 48 w 168"/>
              <a:gd name="T101" fmla="*/ 138 h 162"/>
              <a:gd name="T102" fmla="*/ 36 w 168"/>
              <a:gd name="T103" fmla="*/ 108 h 162"/>
              <a:gd name="T104" fmla="*/ 30 w 168"/>
              <a:gd name="T105" fmla="*/ 102 h 162"/>
              <a:gd name="T106" fmla="*/ 30 w 168"/>
              <a:gd name="T107" fmla="*/ 90 h 162"/>
              <a:gd name="T108" fmla="*/ 36 w 168"/>
              <a:gd name="T109" fmla="*/ 84 h 162"/>
              <a:gd name="T110" fmla="*/ 42 w 168"/>
              <a:gd name="T111" fmla="*/ 72 h 162"/>
              <a:gd name="T112" fmla="*/ 36 w 168"/>
              <a:gd name="T113" fmla="*/ 72 h 162"/>
              <a:gd name="T114" fmla="*/ 36 w 168"/>
              <a:gd name="T115" fmla="*/ 66 h 162"/>
              <a:gd name="T116" fmla="*/ 30 w 168"/>
              <a:gd name="T117" fmla="*/ 60 h 162"/>
              <a:gd name="T118" fmla="*/ 24 w 168"/>
              <a:gd name="T119" fmla="*/ 60 h 162"/>
              <a:gd name="T120" fmla="*/ 18 w 168"/>
              <a:gd name="T121" fmla="*/ 54 h 162"/>
              <a:gd name="T122" fmla="*/ 12 w 168"/>
              <a:gd name="T123" fmla="*/ 54 h 162"/>
              <a:gd name="T124" fmla="*/ 0 w 168"/>
              <a:gd name="T125" fmla="*/ 48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68" h="162">
                <a:moveTo>
                  <a:pt x="0" y="48"/>
                </a:moveTo>
                <a:lnTo>
                  <a:pt x="0" y="48"/>
                </a:lnTo>
                <a:lnTo>
                  <a:pt x="0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6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36"/>
                </a:lnTo>
                <a:lnTo>
                  <a:pt x="30" y="36"/>
                </a:lnTo>
                <a:lnTo>
                  <a:pt x="30" y="42"/>
                </a:lnTo>
                <a:lnTo>
                  <a:pt x="30" y="36"/>
                </a:lnTo>
                <a:lnTo>
                  <a:pt x="36" y="36"/>
                </a:lnTo>
                <a:lnTo>
                  <a:pt x="36" y="36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36"/>
                </a:lnTo>
                <a:lnTo>
                  <a:pt x="36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36" y="36"/>
                </a:lnTo>
                <a:lnTo>
                  <a:pt x="36" y="30"/>
                </a:lnTo>
                <a:lnTo>
                  <a:pt x="42" y="30"/>
                </a:lnTo>
                <a:lnTo>
                  <a:pt x="36" y="30"/>
                </a:lnTo>
                <a:lnTo>
                  <a:pt x="36" y="30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18"/>
                </a:lnTo>
                <a:lnTo>
                  <a:pt x="36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2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60" y="18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60" y="6"/>
                </a:lnTo>
                <a:lnTo>
                  <a:pt x="60" y="6"/>
                </a:lnTo>
                <a:lnTo>
                  <a:pt x="66" y="0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72" y="18"/>
                </a:lnTo>
                <a:lnTo>
                  <a:pt x="72" y="12"/>
                </a:lnTo>
                <a:lnTo>
                  <a:pt x="78" y="12"/>
                </a:lnTo>
                <a:lnTo>
                  <a:pt x="78" y="12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102" y="42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42"/>
                </a:lnTo>
                <a:lnTo>
                  <a:pt x="108" y="36"/>
                </a:lnTo>
                <a:lnTo>
                  <a:pt x="102" y="36"/>
                </a:lnTo>
                <a:lnTo>
                  <a:pt x="102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30"/>
                </a:lnTo>
                <a:lnTo>
                  <a:pt x="162" y="36"/>
                </a:lnTo>
                <a:lnTo>
                  <a:pt x="162" y="30"/>
                </a:lnTo>
                <a:lnTo>
                  <a:pt x="162" y="30"/>
                </a:lnTo>
                <a:lnTo>
                  <a:pt x="162" y="30"/>
                </a:lnTo>
                <a:lnTo>
                  <a:pt x="162" y="30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8" y="36"/>
                </a:lnTo>
                <a:lnTo>
                  <a:pt x="168" y="36"/>
                </a:lnTo>
                <a:lnTo>
                  <a:pt x="168" y="36"/>
                </a:lnTo>
                <a:lnTo>
                  <a:pt x="168" y="42"/>
                </a:lnTo>
                <a:lnTo>
                  <a:pt x="168" y="42"/>
                </a:lnTo>
                <a:lnTo>
                  <a:pt x="168" y="42"/>
                </a:lnTo>
                <a:lnTo>
                  <a:pt x="168" y="42"/>
                </a:lnTo>
                <a:lnTo>
                  <a:pt x="168" y="42"/>
                </a:lnTo>
                <a:lnTo>
                  <a:pt x="168" y="42"/>
                </a:lnTo>
                <a:lnTo>
                  <a:pt x="168" y="42"/>
                </a:lnTo>
                <a:lnTo>
                  <a:pt x="168" y="42"/>
                </a:lnTo>
                <a:lnTo>
                  <a:pt x="168" y="42"/>
                </a:lnTo>
                <a:lnTo>
                  <a:pt x="168" y="42"/>
                </a:lnTo>
                <a:lnTo>
                  <a:pt x="168" y="42"/>
                </a:lnTo>
                <a:lnTo>
                  <a:pt x="168" y="42"/>
                </a:lnTo>
                <a:lnTo>
                  <a:pt x="168" y="48"/>
                </a:lnTo>
                <a:lnTo>
                  <a:pt x="168" y="48"/>
                </a:lnTo>
                <a:lnTo>
                  <a:pt x="168" y="48"/>
                </a:lnTo>
                <a:lnTo>
                  <a:pt x="168" y="48"/>
                </a:lnTo>
                <a:lnTo>
                  <a:pt x="168" y="48"/>
                </a:lnTo>
                <a:lnTo>
                  <a:pt x="168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60"/>
                </a:lnTo>
                <a:lnTo>
                  <a:pt x="156" y="60"/>
                </a:lnTo>
                <a:lnTo>
                  <a:pt x="156" y="60"/>
                </a:lnTo>
                <a:lnTo>
                  <a:pt x="156" y="60"/>
                </a:lnTo>
                <a:lnTo>
                  <a:pt x="156" y="60"/>
                </a:lnTo>
                <a:lnTo>
                  <a:pt x="156" y="66"/>
                </a:lnTo>
                <a:lnTo>
                  <a:pt x="156" y="66"/>
                </a:lnTo>
                <a:lnTo>
                  <a:pt x="156" y="66"/>
                </a:lnTo>
                <a:lnTo>
                  <a:pt x="156" y="66"/>
                </a:lnTo>
                <a:lnTo>
                  <a:pt x="156" y="72"/>
                </a:lnTo>
                <a:lnTo>
                  <a:pt x="156" y="72"/>
                </a:lnTo>
                <a:lnTo>
                  <a:pt x="156" y="72"/>
                </a:lnTo>
                <a:lnTo>
                  <a:pt x="162" y="78"/>
                </a:lnTo>
                <a:lnTo>
                  <a:pt x="156" y="78"/>
                </a:lnTo>
                <a:lnTo>
                  <a:pt x="156" y="78"/>
                </a:lnTo>
                <a:lnTo>
                  <a:pt x="156" y="78"/>
                </a:lnTo>
                <a:lnTo>
                  <a:pt x="156" y="78"/>
                </a:lnTo>
                <a:lnTo>
                  <a:pt x="156" y="84"/>
                </a:lnTo>
                <a:lnTo>
                  <a:pt x="156" y="84"/>
                </a:lnTo>
                <a:lnTo>
                  <a:pt x="156" y="90"/>
                </a:lnTo>
                <a:lnTo>
                  <a:pt x="162" y="90"/>
                </a:lnTo>
                <a:lnTo>
                  <a:pt x="168" y="90"/>
                </a:lnTo>
                <a:lnTo>
                  <a:pt x="168" y="90"/>
                </a:lnTo>
                <a:lnTo>
                  <a:pt x="168" y="96"/>
                </a:lnTo>
                <a:lnTo>
                  <a:pt x="168" y="96"/>
                </a:lnTo>
                <a:lnTo>
                  <a:pt x="168" y="96"/>
                </a:lnTo>
                <a:lnTo>
                  <a:pt x="168" y="96"/>
                </a:lnTo>
                <a:lnTo>
                  <a:pt x="168" y="96"/>
                </a:lnTo>
                <a:lnTo>
                  <a:pt x="168" y="96"/>
                </a:lnTo>
                <a:lnTo>
                  <a:pt x="168" y="96"/>
                </a:lnTo>
                <a:lnTo>
                  <a:pt x="168" y="96"/>
                </a:lnTo>
                <a:lnTo>
                  <a:pt x="168" y="102"/>
                </a:lnTo>
                <a:lnTo>
                  <a:pt x="162" y="96"/>
                </a:lnTo>
                <a:lnTo>
                  <a:pt x="162" y="96"/>
                </a:lnTo>
                <a:lnTo>
                  <a:pt x="162" y="102"/>
                </a:lnTo>
                <a:lnTo>
                  <a:pt x="162" y="102"/>
                </a:lnTo>
                <a:lnTo>
                  <a:pt x="162" y="102"/>
                </a:lnTo>
                <a:lnTo>
                  <a:pt x="162" y="102"/>
                </a:lnTo>
                <a:lnTo>
                  <a:pt x="162" y="102"/>
                </a:lnTo>
                <a:lnTo>
                  <a:pt x="162" y="102"/>
                </a:lnTo>
                <a:lnTo>
                  <a:pt x="162" y="102"/>
                </a:lnTo>
                <a:lnTo>
                  <a:pt x="156" y="102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56" y="108"/>
                </a:lnTo>
                <a:lnTo>
                  <a:pt x="162" y="108"/>
                </a:lnTo>
                <a:lnTo>
                  <a:pt x="162" y="114"/>
                </a:lnTo>
                <a:lnTo>
                  <a:pt x="162" y="114"/>
                </a:lnTo>
                <a:lnTo>
                  <a:pt x="156" y="114"/>
                </a:lnTo>
                <a:lnTo>
                  <a:pt x="156" y="114"/>
                </a:lnTo>
                <a:lnTo>
                  <a:pt x="156" y="114"/>
                </a:lnTo>
                <a:lnTo>
                  <a:pt x="156" y="114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56" y="120"/>
                </a:lnTo>
                <a:lnTo>
                  <a:pt x="156" y="126"/>
                </a:lnTo>
                <a:lnTo>
                  <a:pt x="156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32"/>
                </a:lnTo>
                <a:lnTo>
                  <a:pt x="144" y="126"/>
                </a:lnTo>
                <a:lnTo>
                  <a:pt x="144" y="132"/>
                </a:lnTo>
                <a:lnTo>
                  <a:pt x="144" y="132"/>
                </a:lnTo>
                <a:lnTo>
                  <a:pt x="144" y="132"/>
                </a:lnTo>
                <a:lnTo>
                  <a:pt x="144" y="132"/>
                </a:lnTo>
                <a:lnTo>
                  <a:pt x="144" y="132"/>
                </a:lnTo>
                <a:lnTo>
                  <a:pt x="144" y="132"/>
                </a:lnTo>
                <a:lnTo>
                  <a:pt x="144" y="132"/>
                </a:lnTo>
                <a:lnTo>
                  <a:pt x="144" y="138"/>
                </a:lnTo>
                <a:lnTo>
                  <a:pt x="144" y="138"/>
                </a:lnTo>
                <a:lnTo>
                  <a:pt x="144" y="138"/>
                </a:lnTo>
                <a:lnTo>
                  <a:pt x="144" y="138"/>
                </a:lnTo>
                <a:lnTo>
                  <a:pt x="144" y="138"/>
                </a:lnTo>
                <a:lnTo>
                  <a:pt x="144" y="138"/>
                </a:lnTo>
                <a:lnTo>
                  <a:pt x="144" y="138"/>
                </a:lnTo>
                <a:lnTo>
                  <a:pt x="138" y="138"/>
                </a:lnTo>
                <a:lnTo>
                  <a:pt x="138" y="138"/>
                </a:lnTo>
                <a:lnTo>
                  <a:pt x="138" y="138"/>
                </a:lnTo>
                <a:lnTo>
                  <a:pt x="138" y="138"/>
                </a:lnTo>
                <a:lnTo>
                  <a:pt x="132" y="138"/>
                </a:lnTo>
                <a:lnTo>
                  <a:pt x="132" y="138"/>
                </a:lnTo>
                <a:lnTo>
                  <a:pt x="138" y="144"/>
                </a:lnTo>
                <a:lnTo>
                  <a:pt x="138" y="144"/>
                </a:lnTo>
                <a:lnTo>
                  <a:pt x="138" y="144"/>
                </a:lnTo>
                <a:lnTo>
                  <a:pt x="138" y="144"/>
                </a:lnTo>
                <a:lnTo>
                  <a:pt x="138" y="144"/>
                </a:lnTo>
                <a:lnTo>
                  <a:pt x="138" y="144"/>
                </a:lnTo>
                <a:lnTo>
                  <a:pt x="138" y="144"/>
                </a:lnTo>
                <a:lnTo>
                  <a:pt x="138" y="144"/>
                </a:lnTo>
                <a:lnTo>
                  <a:pt x="138" y="144"/>
                </a:lnTo>
                <a:lnTo>
                  <a:pt x="138" y="150"/>
                </a:lnTo>
                <a:lnTo>
                  <a:pt x="132" y="150"/>
                </a:lnTo>
                <a:lnTo>
                  <a:pt x="132" y="150"/>
                </a:lnTo>
                <a:lnTo>
                  <a:pt x="132" y="150"/>
                </a:lnTo>
                <a:lnTo>
                  <a:pt x="132" y="150"/>
                </a:lnTo>
                <a:lnTo>
                  <a:pt x="132" y="150"/>
                </a:lnTo>
                <a:lnTo>
                  <a:pt x="132" y="150"/>
                </a:lnTo>
                <a:lnTo>
                  <a:pt x="132" y="150"/>
                </a:lnTo>
                <a:lnTo>
                  <a:pt x="132" y="156"/>
                </a:lnTo>
                <a:lnTo>
                  <a:pt x="132" y="156"/>
                </a:lnTo>
                <a:lnTo>
                  <a:pt x="126" y="156"/>
                </a:lnTo>
                <a:lnTo>
                  <a:pt x="132" y="156"/>
                </a:lnTo>
                <a:lnTo>
                  <a:pt x="132" y="156"/>
                </a:lnTo>
                <a:lnTo>
                  <a:pt x="132" y="156"/>
                </a:lnTo>
                <a:lnTo>
                  <a:pt x="126" y="156"/>
                </a:lnTo>
                <a:lnTo>
                  <a:pt x="126" y="162"/>
                </a:lnTo>
                <a:lnTo>
                  <a:pt x="126" y="162"/>
                </a:lnTo>
                <a:lnTo>
                  <a:pt x="126" y="162"/>
                </a:lnTo>
                <a:lnTo>
                  <a:pt x="126" y="162"/>
                </a:lnTo>
                <a:lnTo>
                  <a:pt x="126" y="162"/>
                </a:lnTo>
                <a:lnTo>
                  <a:pt x="120" y="156"/>
                </a:lnTo>
                <a:lnTo>
                  <a:pt x="120" y="156"/>
                </a:lnTo>
                <a:lnTo>
                  <a:pt x="120" y="156"/>
                </a:lnTo>
                <a:lnTo>
                  <a:pt x="120" y="156"/>
                </a:lnTo>
                <a:lnTo>
                  <a:pt x="120" y="156"/>
                </a:lnTo>
                <a:lnTo>
                  <a:pt x="120" y="156"/>
                </a:lnTo>
                <a:lnTo>
                  <a:pt x="120" y="156"/>
                </a:lnTo>
                <a:lnTo>
                  <a:pt x="120" y="156"/>
                </a:lnTo>
                <a:lnTo>
                  <a:pt x="120" y="156"/>
                </a:lnTo>
                <a:lnTo>
                  <a:pt x="120" y="156"/>
                </a:lnTo>
                <a:lnTo>
                  <a:pt x="120" y="156"/>
                </a:lnTo>
                <a:lnTo>
                  <a:pt x="114" y="156"/>
                </a:lnTo>
                <a:lnTo>
                  <a:pt x="114" y="156"/>
                </a:lnTo>
                <a:lnTo>
                  <a:pt x="114" y="150"/>
                </a:lnTo>
                <a:lnTo>
                  <a:pt x="114" y="150"/>
                </a:lnTo>
                <a:lnTo>
                  <a:pt x="114" y="150"/>
                </a:lnTo>
                <a:lnTo>
                  <a:pt x="120" y="138"/>
                </a:lnTo>
                <a:lnTo>
                  <a:pt x="126" y="132"/>
                </a:lnTo>
                <a:lnTo>
                  <a:pt x="126" y="132"/>
                </a:lnTo>
                <a:lnTo>
                  <a:pt x="120" y="132"/>
                </a:lnTo>
                <a:lnTo>
                  <a:pt x="120" y="132"/>
                </a:lnTo>
                <a:lnTo>
                  <a:pt x="120" y="132"/>
                </a:lnTo>
                <a:lnTo>
                  <a:pt x="120" y="132"/>
                </a:lnTo>
                <a:lnTo>
                  <a:pt x="120" y="132"/>
                </a:lnTo>
                <a:lnTo>
                  <a:pt x="120" y="138"/>
                </a:lnTo>
                <a:lnTo>
                  <a:pt x="114" y="138"/>
                </a:lnTo>
                <a:lnTo>
                  <a:pt x="114" y="138"/>
                </a:lnTo>
                <a:lnTo>
                  <a:pt x="114" y="138"/>
                </a:lnTo>
                <a:lnTo>
                  <a:pt x="108" y="138"/>
                </a:lnTo>
                <a:lnTo>
                  <a:pt x="108" y="144"/>
                </a:lnTo>
                <a:lnTo>
                  <a:pt x="108" y="144"/>
                </a:lnTo>
                <a:lnTo>
                  <a:pt x="108" y="144"/>
                </a:lnTo>
                <a:lnTo>
                  <a:pt x="108" y="144"/>
                </a:lnTo>
                <a:lnTo>
                  <a:pt x="102" y="144"/>
                </a:lnTo>
                <a:lnTo>
                  <a:pt x="102" y="144"/>
                </a:lnTo>
                <a:lnTo>
                  <a:pt x="102" y="144"/>
                </a:lnTo>
                <a:lnTo>
                  <a:pt x="96" y="144"/>
                </a:lnTo>
                <a:lnTo>
                  <a:pt x="96" y="138"/>
                </a:lnTo>
                <a:lnTo>
                  <a:pt x="96" y="138"/>
                </a:lnTo>
                <a:lnTo>
                  <a:pt x="96" y="138"/>
                </a:lnTo>
                <a:lnTo>
                  <a:pt x="96" y="138"/>
                </a:lnTo>
                <a:lnTo>
                  <a:pt x="96" y="138"/>
                </a:lnTo>
                <a:lnTo>
                  <a:pt x="90" y="138"/>
                </a:lnTo>
                <a:lnTo>
                  <a:pt x="90" y="138"/>
                </a:lnTo>
                <a:lnTo>
                  <a:pt x="90" y="138"/>
                </a:lnTo>
                <a:lnTo>
                  <a:pt x="90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66" y="138"/>
                </a:lnTo>
                <a:lnTo>
                  <a:pt x="66" y="138"/>
                </a:lnTo>
                <a:lnTo>
                  <a:pt x="66" y="138"/>
                </a:lnTo>
                <a:lnTo>
                  <a:pt x="66" y="138"/>
                </a:lnTo>
                <a:lnTo>
                  <a:pt x="66" y="138"/>
                </a:lnTo>
                <a:lnTo>
                  <a:pt x="66" y="138"/>
                </a:lnTo>
                <a:lnTo>
                  <a:pt x="66" y="138"/>
                </a:lnTo>
                <a:lnTo>
                  <a:pt x="66" y="138"/>
                </a:lnTo>
                <a:lnTo>
                  <a:pt x="60" y="138"/>
                </a:lnTo>
                <a:lnTo>
                  <a:pt x="60" y="138"/>
                </a:lnTo>
                <a:lnTo>
                  <a:pt x="60" y="138"/>
                </a:lnTo>
                <a:lnTo>
                  <a:pt x="60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48" y="144"/>
                </a:lnTo>
                <a:lnTo>
                  <a:pt x="48" y="144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20"/>
                </a:lnTo>
                <a:lnTo>
                  <a:pt x="42" y="120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36" y="114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96"/>
                </a:lnTo>
                <a:lnTo>
                  <a:pt x="24" y="96"/>
                </a:lnTo>
                <a:lnTo>
                  <a:pt x="24" y="96"/>
                </a:lnTo>
                <a:lnTo>
                  <a:pt x="30" y="96"/>
                </a:lnTo>
                <a:lnTo>
                  <a:pt x="30" y="96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6" y="90"/>
                </a:lnTo>
                <a:lnTo>
                  <a:pt x="30" y="84"/>
                </a:lnTo>
                <a:lnTo>
                  <a:pt x="36" y="84"/>
                </a:lnTo>
                <a:lnTo>
                  <a:pt x="30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6"/>
                </a:lnTo>
                <a:lnTo>
                  <a:pt x="30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54"/>
                </a:lnTo>
                <a:lnTo>
                  <a:pt x="24" y="54"/>
                </a:lnTo>
                <a:lnTo>
                  <a:pt x="18" y="54"/>
                </a:lnTo>
                <a:lnTo>
                  <a:pt x="18" y="60"/>
                </a:lnTo>
                <a:lnTo>
                  <a:pt x="18" y="60"/>
                </a:lnTo>
                <a:lnTo>
                  <a:pt x="18" y="54"/>
                </a:lnTo>
                <a:lnTo>
                  <a:pt x="18" y="54"/>
                </a:lnTo>
                <a:lnTo>
                  <a:pt x="18" y="60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0" y="4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04" name="Freeform 437"/>
          <p:cNvSpPr>
            <a:spLocks/>
          </p:cNvSpPr>
          <p:nvPr/>
        </p:nvSpPr>
        <p:spPr bwMode="auto">
          <a:xfrm>
            <a:off x="6549924" y="4636084"/>
            <a:ext cx="96361" cy="96361"/>
          </a:xfrm>
          <a:custGeom>
            <a:avLst/>
            <a:gdLst>
              <a:gd name="T0" fmla="*/ 6 w 90"/>
              <a:gd name="T1" fmla="*/ 24 h 90"/>
              <a:gd name="T2" fmla="*/ 12 w 90"/>
              <a:gd name="T3" fmla="*/ 18 h 90"/>
              <a:gd name="T4" fmla="*/ 12 w 90"/>
              <a:gd name="T5" fmla="*/ 18 h 90"/>
              <a:gd name="T6" fmla="*/ 18 w 90"/>
              <a:gd name="T7" fmla="*/ 18 h 90"/>
              <a:gd name="T8" fmla="*/ 18 w 90"/>
              <a:gd name="T9" fmla="*/ 18 h 90"/>
              <a:gd name="T10" fmla="*/ 18 w 90"/>
              <a:gd name="T11" fmla="*/ 12 h 90"/>
              <a:gd name="T12" fmla="*/ 18 w 90"/>
              <a:gd name="T13" fmla="*/ 12 h 90"/>
              <a:gd name="T14" fmla="*/ 30 w 90"/>
              <a:gd name="T15" fmla="*/ 6 h 90"/>
              <a:gd name="T16" fmla="*/ 36 w 90"/>
              <a:gd name="T17" fmla="*/ 6 h 90"/>
              <a:gd name="T18" fmla="*/ 36 w 90"/>
              <a:gd name="T19" fmla="*/ 6 h 90"/>
              <a:gd name="T20" fmla="*/ 42 w 90"/>
              <a:gd name="T21" fmla="*/ 6 h 90"/>
              <a:gd name="T22" fmla="*/ 48 w 90"/>
              <a:gd name="T23" fmla="*/ 6 h 90"/>
              <a:gd name="T24" fmla="*/ 48 w 90"/>
              <a:gd name="T25" fmla="*/ 6 h 90"/>
              <a:gd name="T26" fmla="*/ 48 w 90"/>
              <a:gd name="T27" fmla="*/ 6 h 90"/>
              <a:gd name="T28" fmla="*/ 60 w 90"/>
              <a:gd name="T29" fmla="*/ 0 h 90"/>
              <a:gd name="T30" fmla="*/ 72 w 90"/>
              <a:gd name="T31" fmla="*/ 12 h 90"/>
              <a:gd name="T32" fmla="*/ 72 w 90"/>
              <a:gd name="T33" fmla="*/ 30 h 90"/>
              <a:gd name="T34" fmla="*/ 84 w 90"/>
              <a:gd name="T35" fmla="*/ 30 h 90"/>
              <a:gd name="T36" fmla="*/ 84 w 90"/>
              <a:gd name="T37" fmla="*/ 42 h 90"/>
              <a:gd name="T38" fmla="*/ 90 w 90"/>
              <a:gd name="T39" fmla="*/ 48 h 90"/>
              <a:gd name="T40" fmla="*/ 90 w 90"/>
              <a:gd name="T41" fmla="*/ 48 h 90"/>
              <a:gd name="T42" fmla="*/ 84 w 90"/>
              <a:gd name="T43" fmla="*/ 54 h 90"/>
              <a:gd name="T44" fmla="*/ 84 w 90"/>
              <a:gd name="T45" fmla="*/ 48 h 90"/>
              <a:gd name="T46" fmla="*/ 78 w 90"/>
              <a:gd name="T47" fmla="*/ 54 h 90"/>
              <a:gd name="T48" fmla="*/ 72 w 90"/>
              <a:gd name="T49" fmla="*/ 54 h 90"/>
              <a:gd name="T50" fmla="*/ 72 w 90"/>
              <a:gd name="T51" fmla="*/ 60 h 90"/>
              <a:gd name="T52" fmla="*/ 72 w 90"/>
              <a:gd name="T53" fmla="*/ 60 h 90"/>
              <a:gd name="T54" fmla="*/ 66 w 90"/>
              <a:gd name="T55" fmla="*/ 60 h 90"/>
              <a:gd name="T56" fmla="*/ 72 w 90"/>
              <a:gd name="T57" fmla="*/ 66 h 90"/>
              <a:gd name="T58" fmla="*/ 72 w 90"/>
              <a:gd name="T59" fmla="*/ 66 h 90"/>
              <a:gd name="T60" fmla="*/ 72 w 90"/>
              <a:gd name="T61" fmla="*/ 66 h 90"/>
              <a:gd name="T62" fmla="*/ 66 w 90"/>
              <a:gd name="T63" fmla="*/ 66 h 90"/>
              <a:gd name="T64" fmla="*/ 66 w 90"/>
              <a:gd name="T65" fmla="*/ 66 h 90"/>
              <a:gd name="T66" fmla="*/ 66 w 90"/>
              <a:gd name="T67" fmla="*/ 78 h 90"/>
              <a:gd name="T68" fmla="*/ 60 w 90"/>
              <a:gd name="T69" fmla="*/ 84 h 90"/>
              <a:gd name="T70" fmla="*/ 60 w 90"/>
              <a:gd name="T71" fmla="*/ 84 h 90"/>
              <a:gd name="T72" fmla="*/ 54 w 90"/>
              <a:gd name="T73" fmla="*/ 84 h 90"/>
              <a:gd name="T74" fmla="*/ 48 w 90"/>
              <a:gd name="T75" fmla="*/ 84 h 90"/>
              <a:gd name="T76" fmla="*/ 42 w 90"/>
              <a:gd name="T77" fmla="*/ 84 h 90"/>
              <a:gd name="T78" fmla="*/ 36 w 90"/>
              <a:gd name="T79" fmla="*/ 84 h 90"/>
              <a:gd name="T80" fmla="*/ 36 w 90"/>
              <a:gd name="T81" fmla="*/ 90 h 90"/>
              <a:gd name="T82" fmla="*/ 30 w 90"/>
              <a:gd name="T83" fmla="*/ 90 h 90"/>
              <a:gd name="T84" fmla="*/ 30 w 90"/>
              <a:gd name="T85" fmla="*/ 84 h 90"/>
              <a:gd name="T86" fmla="*/ 24 w 90"/>
              <a:gd name="T87" fmla="*/ 78 h 90"/>
              <a:gd name="T88" fmla="*/ 18 w 90"/>
              <a:gd name="T89" fmla="*/ 72 h 90"/>
              <a:gd name="T90" fmla="*/ 18 w 90"/>
              <a:gd name="T91" fmla="*/ 66 h 90"/>
              <a:gd name="T92" fmla="*/ 18 w 90"/>
              <a:gd name="T93" fmla="*/ 60 h 90"/>
              <a:gd name="T94" fmla="*/ 24 w 90"/>
              <a:gd name="T95" fmla="*/ 60 h 90"/>
              <a:gd name="T96" fmla="*/ 24 w 90"/>
              <a:gd name="T97" fmla="*/ 54 h 90"/>
              <a:gd name="T98" fmla="*/ 24 w 90"/>
              <a:gd name="T99" fmla="*/ 48 h 90"/>
              <a:gd name="T100" fmla="*/ 24 w 90"/>
              <a:gd name="T101" fmla="*/ 42 h 90"/>
              <a:gd name="T102" fmla="*/ 24 w 90"/>
              <a:gd name="T103" fmla="*/ 36 h 90"/>
              <a:gd name="T104" fmla="*/ 24 w 90"/>
              <a:gd name="T105" fmla="*/ 30 h 90"/>
              <a:gd name="T106" fmla="*/ 18 w 90"/>
              <a:gd name="T107" fmla="*/ 30 h 90"/>
              <a:gd name="T108" fmla="*/ 12 w 90"/>
              <a:gd name="T109" fmla="*/ 30 h 90"/>
              <a:gd name="T110" fmla="*/ 0 w 90"/>
              <a:gd name="T111" fmla="*/ 24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90" h="90">
                <a:moveTo>
                  <a:pt x="6" y="18"/>
                </a:move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8" y="18"/>
                </a:lnTo>
                <a:lnTo>
                  <a:pt x="12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2"/>
                </a:lnTo>
                <a:lnTo>
                  <a:pt x="18" y="18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12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54" y="0"/>
                </a:lnTo>
                <a:lnTo>
                  <a:pt x="60" y="6"/>
                </a:lnTo>
                <a:lnTo>
                  <a:pt x="60" y="0"/>
                </a:lnTo>
                <a:lnTo>
                  <a:pt x="60" y="6"/>
                </a:lnTo>
                <a:lnTo>
                  <a:pt x="60" y="0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72" y="6"/>
                </a:lnTo>
                <a:lnTo>
                  <a:pt x="72" y="12"/>
                </a:lnTo>
                <a:lnTo>
                  <a:pt x="78" y="12"/>
                </a:lnTo>
                <a:lnTo>
                  <a:pt x="72" y="24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8" y="30"/>
                </a:lnTo>
                <a:lnTo>
                  <a:pt x="78" y="30"/>
                </a:lnTo>
                <a:lnTo>
                  <a:pt x="84" y="30"/>
                </a:lnTo>
                <a:lnTo>
                  <a:pt x="84" y="30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48"/>
                </a:lnTo>
                <a:lnTo>
                  <a:pt x="84" y="48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2" y="54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66" y="60"/>
                </a:lnTo>
                <a:lnTo>
                  <a:pt x="66" y="60"/>
                </a:lnTo>
                <a:lnTo>
                  <a:pt x="66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72"/>
                </a:lnTo>
                <a:lnTo>
                  <a:pt x="66" y="72"/>
                </a:lnTo>
                <a:lnTo>
                  <a:pt x="66" y="66"/>
                </a:lnTo>
                <a:lnTo>
                  <a:pt x="66" y="72"/>
                </a:lnTo>
                <a:lnTo>
                  <a:pt x="66" y="72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84"/>
                </a:lnTo>
                <a:lnTo>
                  <a:pt x="60" y="84"/>
                </a:lnTo>
                <a:lnTo>
                  <a:pt x="60" y="78"/>
                </a:lnTo>
                <a:lnTo>
                  <a:pt x="60" y="78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24" y="78"/>
                </a:lnTo>
                <a:lnTo>
                  <a:pt x="24" y="78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24" y="60"/>
                </a:lnTo>
                <a:lnTo>
                  <a:pt x="24" y="60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30" y="54"/>
                </a:lnTo>
                <a:lnTo>
                  <a:pt x="30" y="48"/>
                </a:lnTo>
                <a:lnTo>
                  <a:pt x="24" y="48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18" y="36"/>
                </a:lnTo>
                <a:lnTo>
                  <a:pt x="18" y="30"/>
                </a:lnTo>
                <a:lnTo>
                  <a:pt x="24" y="30"/>
                </a:lnTo>
                <a:lnTo>
                  <a:pt x="24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2" y="30"/>
                </a:lnTo>
                <a:lnTo>
                  <a:pt x="12" y="24"/>
                </a:lnTo>
                <a:lnTo>
                  <a:pt x="12" y="30"/>
                </a:lnTo>
                <a:lnTo>
                  <a:pt x="12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6" y="1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05" name="Freeform 438"/>
          <p:cNvSpPr>
            <a:spLocks/>
          </p:cNvSpPr>
          <p:nvPr/>
        </p:nvSpPr>
        <p:spPr bwMode="auto">
          <a:xfrm>
            <a:off x="6678405" y="4648932"/>
            <a:ext cx="102785" cy="89937"/>
          </a:xfrm>
          <a:custGeom>
            <a:avLst/>
            <a:gdLst>
              <a:gd name="T0" fmla="*/ 0 w 96"/>
              <a:gd name="T1" fmla="*/ 48 h 84"/>
              <a:gd name="T2" fmla="*/ 6 w 96"/>
              <a:gd name="T3" fmla="*/ 48 h 84"/>
              <a:gd name="T4" fmla="*/ 6 w 96"/>
              <a:gd name="T5" fmla="*/ 42 h 84"/>
              <a:gd name="T6" fmla="*/ 12 w 96"/>
              <a:gd name="T7" fmla="*/ 42 h 84"/>
              <a:gd name="T8" fmla="*/ 12 w 96"/>
              <a:gd name="T9" fmla="*/ 36 h 84"/>
              <a:gd name="T10" fmla="*/ 12 w 96"/>
              <a:gd name="T11" fmla="*/ 36 h 84"/>
              <a:gd name="T12" fmla="*/ 12 w 96"/>
              <a:gd name="T13" fmla="*/ 36 h 84"/>
              <a:gd name="T14" fmla="*/ 12 w 96"/>
              <a:gd name="T15" fmla="*/ 30 h 84"/>
              <a:gd name="T16" fmla="*/ 12 w 96"/>
              <a:gd name="T17" fmla="*/ 30 h 84"/>
              <a:gd name="T18" fmla="*/ 18 w 96"/>
              <a:gd name="T19" fmla="*/ 30 h 84"/>
              <a:gd name="T20" fmla="*/ 18 w 96"/>
              <a:gd name="T21" fmla="*/ 24 h 84"/>
              <a:gd name="T22" fmla="*/ 24 w 96"/>
              <a:gd name="T23" fmla="*/ 30 h 84"/>
              <a:gd name="T24" fmla="*/ 24 w 96"/>
              <a:gd name="T25" fmla="*/ 24 h 84"/>
              <a:gd name="T26" fmla="*/ 30 w 96"/>
              <a:gd name="T27" fmla="*/ 24 h 84"/>
              <a:gd name="T28" fmla="*/ 30 w 96"/>
              <a:gd name="T29" fmla="*/ 24 h 84"/>
              <a:gd name="T30" fmla="*/ 30 w 96"/>
              <a:gd name="T31" fmla="*/ 24 h 84"/>
              <a:gd name="T32" fmla="*/ 30 w 96"/>
              <a:gd name="T33" fmla="*/ 18 h 84"/>
              <a:gd name="T34" fmla="*/ 36 w 96"/>
              <a:gd name="T35" fmla="*/ 12 h 84"/>
              <a:gd name="T36" fmla="*/ 42 w 96"/>
              <a:gd name="T37" fmla="*/ 0 h 84"/>
              <a:gd name="T38" fmla="*/ 54 w 96"/>
              <a:gd name="T39" fmla="*/ 6 h 84"/>
              <a:gd name="T40" fmla="*/ 60 w 96"/>
              <a:gd name="T41" fmla="*/ 6 h 84"/>
              <a:gd name="T42" fmla="*/ 54 w 96"/>
              <a:gd name="T43" fmla="*/ 12 h 84"/>
              <a:gd name="T44" fmla="*/ 60 w 96"/>
              <a:gd name="T45" fmla="*/ 18 h 84"/>
              <a:gd name="T46" fmla="*/ 66 w 96"/>
              <a:gd name="T47" fmla="*/ 18 h 84"/>
              <a:gd name="T48" fmla="*/ 66 w 96"/>
              <a:gd name="T49" fmla="*/ 24 h 84"/>
              <a:gd name="T50" fmla="*/ 66 w 96"/>
              <a:gd name="T51" fmla="*/ 24 h 84"/>
              <a:gd name="T52" fmla="*/ 72 w 96"/>
              <a:gd name="T53" fmla="*/ 24 h 84"/>
              <a:gd name="T54" fmla="*/ 72 w 96"/>
              <a:gd name="T55" fmla="*/ 30 h 84"/>
              <a:gd name="T56" fmla="*/ 78 w 96"/>
              <a:gd name="T57" fmla="*/ 30 h 84"/>
              <a:gd name="T58" fmla="*/ 84 w 96"/>
              <a:gd name="T59" fmla="*/ 42 h 84"/>
              <a:gd name="T60" fmla="*/ 90 w 96"/>
              <a:gd name="T61" fmla="*/ 54 h 84"/>
              <a:gd name="T62" fmla="*/ 84 w 96"/>
              <a:gd name="T63" fmla="*/ 54 h 84"/>
              <a:gd name="T64" fmla="*/ 84 w 96"/>
              <a:gd name="T65" fmla="*/ 54 h 84"/>
              <a:gd name="T66" fmla="*/ 78 w 96"/>
              <a:gd name="T67" fmla="*/ 54 h 84"/>
              <a:gd name="T68" fmla="*/ 78 w 96"/>
              <a:gd name="T69" fmla="*/ 54 h 84"/>
              <a:gd name="T70" fmla="*/ 72 w 96"/>
              <a:gd name="T71" fmla="*/ 54 h 84"/>
              <a:gd name="T72" fmla="*/ 78 w 96"/>
              <a:gd name="T73" fmla="*/ 60 h 84"/>
              <a:gd name="T74" fmla="*/ 78 w 96"/>
              <a:gd name="T75" fmla="*/ 60 h 84"/>
              <a:gd name="T76" fmla="*/ 72 w 96"/>
              <a:gd name="T77" fmla="*/ 60 h 84"/>
              <a:gd name="T78" fmla="*/ 72 w 96"/>
              <a:gd name="T79" fmla="*/ 66 h 84"/>
              <a:gd name="T80" fmla="*/ 72 w 96"/>
              <a:gd name="T81" fmla="*/ 60 h 84"/>
              <a:gd name="T82" fmla="*/ 66 w 96"/>
              <a:gd name="T83" fmla="*/ 66 h 84"/>
              <a:gd name="T84" fmla="*/ 66 w 96"/>
              <a:gd name="T85" fmla="*/ 66 h 84"/>
              <a:gd name="T86" fmla="*/ 60 w 96"/>
              <a:gd name="T87" fmla="*/ 66 h 84"/>
              <a:gd name="T88" fmla="*/ 60 w 96"/>
              <a:gd name="T89" fmla="*/ 66 h 84"/>
              <a:gd name="T90" fmla="*/ 54 w 96"/>
              <a:gd name="T91" fmla="*/ 66 h 84"/>
              <a:gd name="T92" fmla="*/ 54 w 96"/>
              <a:gd name="T93" fmla="*/ 66 h 84"/>
              <a:gd name="T94" fmla="*/ 54 w 96"/>
              <a:gd name="T95" fmla="*/ 66 h 84"/>
              <a:gd name="T96" fmla="*/ 48 w 96"/>
              <a:gd name="T97" fmla="*/ 66 h 84"/>
              <a:gd name="T98" fmla="*/ 48 w 96"/>
              <a:gd name="T99" fmla="*/ 72 h 84"/>
              <a:gd name="T100" fmla="*/ 42 w 96"/>
              <a:gd name="T101" fmla="*/ 72 h 84"/>
              <a:gd name="T102" fmla="*/ 42 w 96"/>
              <a:gd name="T103" fmla="*/ 72 h 84"/>
              <a:gd name="T104" fmla="*/ 42 w 96"/>
              <a:gd name="T105" fmla="*/ 78 h 84"/>
              <a:gd name="T106" fmla="*/ 36 w 96"/>
              <a:gd name="T107" fmla="*/ 84 h 84"/>
              <a:gd name="T108" fmla="*/ 30 w 96"/>
              <a:gd name="T109" fmla="*/ 72 h 84"/>
              <a:gd name="T110" fmla="*/ 36 w 96"/>
              <a:gd name="T111" fmla="*/ 72 h 84"/>
              <a:gd name="T112" fmla="*/ 30 w 96"/>
              <a:gd name="T113" fmla="*/ 66 h 84"/>
              <a:gd name="T114" fmla="*/ 30 w 96"/>
              <a:gd name="T115" fmla="*/ 60 h 84"/>
              <a:gd name="T116" fmla="*/ 24 w 96"/>
              <a:gd name="T117" fmla="*/ 60 h 84"/>
              <a:gd name="T118" fmla="*/ 18 w 96"/>
              <a:gd name="T119" fmla="*/ 60 h 84"/>
              <a:gd name="T120" fmla="*/ 12 w 96"/>
              <a:gd name="T121" fmla="*/ 60 h 84"/>
              <a:gd name="T122" fmla="*/ 12 w 96"/>
              <a:gd name="T123" fmla="*/ 60 h 84"/>
              <a:gd name="T124" fmla="*/ 6 w 96"/>
              <a:gd name="T125" fmla="*/ 48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6" h="84">
                <a:moveTo>
                  <a:pt x="0" y="48"/>
                </a:move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8" y="36"/>
                </a:lnTo>
                <a:lnTo>
                  <a:pt x="18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24" y="24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30" y="24"/>
                </a:lnTo>
                <a:lnTo>
                  <a:pt x="30" y="24"/>
                </a:lnTo>
                <a:lnTo>
                  <a:pt x="24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6" y="24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6" y="18"/>
                </a:lnTo>
                <a:lnTo>
                  <a:pt x="36" y="18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42" y="12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0"/>
                </a:lnTo>
                <a:lnTo>
                  <a:pt x="42" y="0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54" y="6"/>
                </a:lnTo>
                <a:lnTo>
                  <a:pt x="60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8"/>
                </a:lnTo>
                <a:lnTo>
                  <a:pt x="54" y="12"/>
                </a:lnTo>
                <a:lnTo>
                  <a:pt x="54" y="18"/>
                </a:lnTo>
                <a:lnTo>
                  <a:pt x="54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30"/>
                </a:lnTo>
                <a:lnTo>
                  <a:pt x="72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24"/>
                </a:lnTo>
                <a:lnTo>
                  <a:pt x="84" y="24"/>
                </a:lnTo>
                <a:lnTo>
                  <a:pt x="84" y="36"/>
                </a:lnTo>
                <a:lnTo>
                  <a:pt x="84" y="36"/>
                </a:lnTo>
                <a:lnTo>
                  <a:pt x="84" y="42"/>
                </a:lnTo>
                <a:lnTo>
                  <a:pt x="84" y="42"/>
                </a:lnTo>
                <a:lnTo>
                  <a:pt x="84" y="48"/>
                </a:lnTo>
                <a:lnTo>
                  <a:pt x="96" y="48"/>
                </a:lnTo>
                <a:lnTo>
                  <a:pt x="96" y="48"/>
                </a:lnTo>
                <a:lnTo>
                  <a:pt x="90" y="48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84" y="54"/>
                </a:lnTo>
                <a:lnTo>
                  <a:pt x="90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6"/>
                </a:lnTo>
                <a:lnTo>
                  <a:pt x="72" y="60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8"/>
                </a:lnTo>
                <a:lnTo>
                  <a:pt x="42" y="78"/>
                </a:lnTo>
                <a:lnTo>
                  <a:pt x="36" y="72"/>
                </a:lnTo>
                <a:lnTo>
                  <a:pt x="36" y="72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84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0" y="4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06" name="Freeform 439"/>
          <p:cNvSpPr>
            <a:spLocks/>
          </p:cNvSpPr>
          <p:nvPr/>
        </p:nvSpPr>
        <p:spPr bwMode="auto">
          <a:xfrm>
            <a:off x="6402171" y="4346999"/>
            <a:ext cx="83513" cy="57817"/>
          </a:xfrm>
          <a:custGeom>
            <a:avLst/>
            <a:gdLst>
              <a:gd name="T0" fmla="*/ 0 w 78"/>
              <a:gd name="T1" fmla="*/ 30 h 54"/>
              <a:gd name="T2" fmla="*/ 6 w 78"/>
              <a:gd name="T3" fmla="*/ 24 h 54"/>
              <a:gd name="T4" fmla="*/ 12 w 78"/>
              <a:gd name="T5" fmla="*/ 18 h 54"/>
              <a:gd name="T6" fmla="*/ 18 w 78"/>
              <a:gd name="T7" fmla="*/ 18 h 54"/>
              <a:gd name="T8" fmla="*/ 18 w 78"/>
              <a:gd name="T9" fmla="*/ 12 h 54"/>
              <a:gd name="T10" fmla="*/ 24 w 78"/>
              <a:gd name="T11" fmla="*/ 6 h 54"/>
              <a:gd name="T12" fmla="*/ 30 w 78"/>
              <a:gd name="T13" fmla="*/ 6 h 54"/>
              <a:gd name="T14" fmla="*/ 36 w 78"/>
              <a:gd name="T15" fmla="*/ 0 h 54"/>
              <a:gd name="T16" fmla="*/ 36 w 78"/>
              <a:gd name="T17" fmla="*/ 0 h 54"/>
              <a:gd name="T18" fmla="*/ 36 w 78"/>
              <a:gd name="T19" fmla="*/ 0 h 54"/>
              <a:gd name="T20" fmla="*/ 42 w 78"/>
              <a:gd name="T21" fmla="*/ 6 h 54"/>
              <a:gd name="T22" fmla="*/ 48 w 78"/>
              <a:gd name="T23" fmla="*/ 6 h 54"/>
              <a:gd name="T24" fmla="*/ 48 w 78"/>
              <a:gd name="T25" fmla="*/ 6 h 54"/>
              <a:gd name="T26" fmla="*/ 54 w 78"/>
              <a:gd name="T27" fmla="*/ 6 h 54"/>
              <a:gd name="T28" fmla="*/ 54 w 78"/>
              <a:gd name="T29" fmla="*/ 12 h 54"/>
              <a:gd name="T30" fmla="*/ 60 w 78"/>
              <a:gd name="T31" fmla="*/ 12 h 54"/>
              <a:gd name="T32" fmla="*/ 66 w 78"/>
              <a:gd name="T33" fmla="*/ 12 h 54"/>
              <a:gd name="T34" fmla="*/ 66 w 78"/>
              <a:gd name="T35" fmla="*/ 12 h 54"/>
              <a:gd name="T36" fmla="*/ 66 w 78"/>
              <a:gd name="T37" fmla="*/ 12 h 54"/>
              <a:gd name="T38" fmla="*/ 72 w 78"/>
              <a:gd name="T39" fmla="*/ 18 h 54"/>
              <a:gd name="T40" fmla="*/ 72 w 78"/>
              <a:gd name="T41" fmla="*/ 18 h 54"/>
              <a:gd name="T42" fmla="*/ 78 w 78"/>
              <a:gd name="T43" fmla="*/ 18 h 54"/>
              <a:gd name="T44" fmla="*/ 78 w 78"/>
              <a:gd name="T45" fmla="*/ 24 h 54"/>
              <a:gd name="T46" fmla="*/ 78 w 78"/>
              <a:gd name="T47" fmla="*/ 24 h 54"/>
              <a:gd name="T48" fmla="*/ 78 w 78"/>
              <a:gd name="T49" fmla="*/ 24 h 54"/>
              <a:gd name="T50" fmla="*/ 78 w 78"/>
              <a:gd name="T51" fmla="*/ 24 h 54"/>
              <a:gd name="T52" fmla="*/ 78 w 78"/>
              <a:gd name="T53" fmla="*/ 30 h 54"/>
              <a:gd name="T54" fmla="*/ 78 w 78"/>
              <a:gd name="T55" fmla="*/ 30 h 54"/>
              <a:gd name="T56" fmla="*/ 78 w 78"/>
              <a:gd name="T57" fmla="*/ 36 h 54"/>
              <a:gd name="T58" fmla="*/ 72 w 78"/>
              <a:gd name="T59" fmla="*/ 42 h 54"/>
              <a:gd name="T60" fmla="*/ 72 w 78"/>
              <a:gd name="T61" fmla="*/ 42 h 54"/>
              <a:gd name="T62" fmla="*/ 60 w 78"/>
              <a:gd name="T63" fmla="*/ 42 h 54"/>
              <a:gd name="T64" fmla="*/ 60 w 78"/>
              <a:gd name="T65" fmla="*/ 42 h 54"/>
              <a:gd name="T66" fmla="*/ 54 w 78"/>
              <a:gd name="T67" fmla="*/ 48 h 54"/>
              <a:gd name="T68" fmla="*/ 54 w 78"/>
              <a:gd name="T69" fmla="*/ 48 h 54"/>
              <a:gd name="T70" fmla="*/ 48 w 78"/>
              <a:gd name="T71" fmla="*/ 48 h 54"/>
              <a:gd name="T72" fmla="*/ 48 w 78"/>
              <a:gd name="T73" fmla="*/ 48 h 54"/>
              <a:gd name="T74" fmla="*/ 48 w 78"/>
              <a:gd name="T75" fmla="*/ 48 h 54"/>
              <a:gd name="T76" fmla="*/ 42 w 78"/>
              <a:gd name="T77" fmla="*/ 48 h 54"/>
              <a:gd name="T78" fmla="*/ 42 w 78"/>
              <a:gd name="T79" fmla="*/ 54 h 54"/>
              <a:gd name="T80" fmla="*/ 36 w 78"/>
              <a:gd name="T81" fmla="*/ 54 h 54"/>
              <a:gd name="T82" fmla="*/ 36 w 78"/>
              <a:gd name="T83" fmla="*/ 48 h 54"/>
              <a:gd name="T84" fmla="*/ 36 w 78"/>
              <a:gd name="T85" fmla="*/ 48 h 54"/>
              <a:gd name="T86" fmla="*/ 30 w 78"/>
              <a:gd name="T87" fmla="*/ 42 h 54"/>
              <a:gd name="T88" fmla="*/ 30 w 78"/>
              <a:gd name="T89" fmla="*/ 48 h 54"/>
              <a:gd name="T90" fmla="*/ 24 w 78"/>
              <a:gd name="T91" fmla="*/ 48 h 54"/>
              <a:gd name="T92" fmla="*/ 24 w 78"/>
              <a:gd name="T93" fmla="*/ 48 h 54"/>
              <a:gd name="T94" fmla="*/ 24 w 78"/>
              <a:gd name="T95" fmla="*/ 48 h 54"/>
              <a:gd name="T96" fmla="*/ 18 w 78"/>
              <a:gd name="T97" fmla="*/ 48 h 54"/>
              <a:gd name="T98" fmla="*/ 24 w 78"/>
              <a:gd name="T99" fmla="*/ 48 h 54"/>
              <a:gd name="T100" fmla="*/ 24 w 78"/>
              <a:gd name="T101" fmla="*/ 42 h 54"/>
              <a:gd name="T102" fmla="*/ 24 w 78"/>
              <a:gd name="T103" fmla="*/ 42 h 54"/>
              <a:gd name="T104" fmla="*/ 30 w 78"/>
              <a:gd name="T105" fmla="*/ 36 h 54"/>
              <a:gd name="T106" fmla="*/ 12 w 78"/>
              <a:gd name="T107" fmla="*/ 30 h 54"/>
              <a:gd name="T108" fmla="*/ 0 w 78"/>
              <a:gd name="T109" fmla="*/ 30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78" h="54">
                <a:moveTo>
                  <a:pt x="0" y="30"/>
                </a:move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0"/>
                </a:lnTo>
                <a:lnTo>
                  <a:pt x="36" y="0"/>
                </a:lnTo>
                <a:lnTo>
                  <a:pt x="30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42" y="0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0"/>
                </a:lnTo>
                <a:lnTo>
                  <a:pt x="48" y="0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12"/>
                </a:lnTo>
                <a:lnTo>
                  <a:pt x="60" y="6"/>
                </a:lnTo>
                <a:lnTo>
                  <a:pt x="60" y="6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8"/>
                </a:lnTo>
                <a:lnTo>
                  <a:pt x="72" y="12"/>
                </a:lnTo>
                <a:lnTo>
                  <a:pt x="72" y="12"/>
                </a:lnTo>
                <a:lnTo>
                  <a:pt x="72" y="18"/>
                </a:lnTo>
                <a:lnTo>
                  <a:pt x="72" y="12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30"/>
                </a:lnTo>
                <a:lnTo>
                  <a:pt x="78" y="24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54" y="42"/>
                </a:lnTo>
                <a:lnTo>
                  <a:pt x="54" y="42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54"/>
                </a:lnTo>
                <a:lnTo>
                  <a:pt x="42" y="48"/>
                </a:lnTo>
                <a:lnTo>
                  <a:pt x="42" y="54"/>
                </a:lnTo>
                <a:lnTo>
                  <a:pt x="42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2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2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18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2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07" name="Freeform 440"/>
          <p:cNvSpPr>
            <a:spLocks/>
          </p:cNvSpPr>
          <p:nvPr/>
        </p:nvSpPr>
        <p:spPr bwMode="auto">
          <a:xfrm>
            <a:off x="6485683" y="4815958"/>
            <a:ext cx="218418" cy="141330"/>
          </a:xfrm>
          <a:custGeom>
            <a:avLst/>
            <a:gdLst>
              <a:gd name="T0" fmla="*/ 6 w 204"/>
              <a:gd name="T1" fmla="*/ 108 h 132"/>
              <a:gd name="T2" fmla="*/ 6 w 204"/>
              <a:gd name="T3" fmla="*/ 108 h 132"/>
              <a:gd name="T4" fmla="*/ 12 w 204"/>
              <a:gd name="T5" fmla="*/ 96 h 132"/>
              <a:gd name="T6" fmla="*/ 24 w 204"/>
              <a:gd name="T7" fmla="*/ 90 h 132"/>
              <a:gd name="T8" fmla="*/ 24 w 204"/>
              <a:gd name="T9" fmla="*/ 90 h 132"/>
              <a:gd name="T10" fmla="*/ 30 w 204"/>
              <a:gd name="T11" fmla="*/ 90 h 132"/>
              <a:gd name="T12" fmla="*/ 36 w 204"/>
              <a:gd name="T13" fmla="*/ 90 h 132"/>
              <a:gd name="T14" fmla="*/ 36 w 204"/>
              <a:gd name="T15" fmla="*/ 90 h 132"/>
              <a:gd name="T16" fmla="*/ 42 w 204"/>
              <a:gd name="T17" fmla="*/ 90 h 132"/>
              <a:gd name="T18" fmla="*/ 42 w 204"/>
              <a:gd name="T19" fmla="*/ 84 h 132"/>
              <a:gd name="T20" fmla="*/ 42 w 204"/>
              <a:gd name="T21" fmla="*/ 78 h 132"/>
              <a:gd name="T22" fmla="*/ 54 w 204"/>
              <a:gd name="T23" fmla="*/ 78 h 132"/>
              <a:gd name="T24" fmla="*/ 66 w 204"/>
              <a:gd name="T25" fmla="*/ 84 h 132"/>
              <a:gd name="T26" fmla="*/ 78 w 204"/>
              <a:gd name="T27" fmla="*/ 78 h 132"/>
              <a:gd name="T28" fmla="*/ 84 w 204"/>
              <a:gd name="T29" fmla="*/ 66 h 132"/>
              <a:gd name="T30" fmla="*/ 96 w 204"/>
              <a:gd name="T31" fmla="*/ 66 h 132"/>
              <a:gd name="T32" fmla="*/ 102 w 204"/>
              <a:gd name="T33" fmla="*/ 72 h 132"/>
              <a:gd name="T34" fmla="*/ 120 w 204"/>
              <a:gd name="T35" fmla="*/ 66 h 132"/>
              <a:gd name="T36" fmla="*/ 120 w 204"/>
              <a:gd name="T37" fmla="*/ 60 h 132"/>
              <a:gd name="T38" fmla="*/ 126 w 204"/>
              <a:gd name="T39" fmla="*/ 54 h 132"/>
              <a:gd name="T40" fmla="*/ 126 w 204"/>
              <a:gd name="T41" fmla="*/ 48 h 132"/>
              <a:gd name="T42" fmla="*/ 132 w 204"/>
              <a:gd name="T43" fmla="*/ 42 h 132"/>
              <a:gd name="T44" fmla="*/ 132 w 204"/>
              <a:gd name="T45" fmla="*/ 36 h 132"/>
              <a:gd name="T46" fmla="*/ 132 w 204"/>
              <a:gd name="T47" fmla="*/ 30 h 132"/>
              <a:gd name="T48" fmla="*/ 138 w 204"/>
              <a:gd name="T49" fmla="*/ 30 h 132"/>
              <a:gd name="T50" fmla="*/ 144 w 204"/>
              <a:gd name="T51" fmla="*/ 24 h 132"/>
              <a:gd name="T52" fmla="*/ 144 w 204"/>
              <a:gd name="T53" fmla="*/ 18 h 132"/>
              <a:gd name="T54" fmla="*/ 150 w 204"/>
              <a:gd name="T55" fmla="*/ 0 h 132"/>
              <a:gd name="T56" fmla="*/ 150 w 204"/>
              <a:gd name="T57" fmla="*/ 12 h 132"/>
              <a:gd name="T58" fmla="*/ 168 w 204"/>
              <a:gd name="T59" fmla="*/ 18 h 132"/>
              <a:gd name="T60" fmla="*/ 168 w 204"/>
              <a:gd name="T61" fmla="*/ 24 h 132"/>
              <a:gd name="T62" fmla="*/ 174 w 204"/>
              <a:gd name="T63" fmla="*/ 30 h 132"/>
              <a:gd name="T64" fmla="*/ 174 w 204"/>
              <a:gd name="T65" fmla="*/ 42 h 132"/>
              <a:gd name="T66" fmla="*/ 168 w 204"/>
              <a:gd name="T67" fmla="*/ 48 h 132"/>
              <a:gd name="T68" fmla="*/ 168 w 204"/>
              <a:gd name="T69" fmla="*/ 60 h 132"/>
              <a:gd name="T70" fmla="*/ 168 w 204"/>
              <a:gd name="T71" fmla="*/ 60 h 132"/>
              <a:gd name="T72" fmla="*/ 174 w 204"/>
              <a:gd name="T73" fmla="*/ 66 h 132"/>
              <a:gd name="T74" fmla="*/ 174 w 204"/>
              <a:gd name="T75" fmla="*/ 72 h 132"/>
              <a:gd name="T76" fmla="*/ 186 w 204"/>
              <a:gd name="T77" fmla="*/ 78 h 132"/>
              <a:gd name="T78" fmla="*/ 198 w 204"/>
              <a:gd name="T79" fmla="*/ 84 h 132"/>
              <a:gd name="T80" fmla="*/ 198 w 204"/>
              <a:gd name="T81" fmla="*/ 90 h 132"/>
              <a:gd name="T82" fmla="*/ 192 w 204"/>
              <a:gd name="T83" fmla="*/ 102 h 132"/>
              <a:gd name="T84" fmla="*/ 186 w 204"/>
              <a:gd name="T85" fmla="*/ 108 h 132"/>
              <a:gd name="T86" fmla="*/ 174 w 204"/>
              <a:gd name="T87" fmla="*/ 114 h 132"/>
              <a:gd name="T88" fmla="*/ 162 w 204"/>
              <a:gd name="T89" fmla="*/ 120 h 132"/>
              <a:gd name="T90" fmla="*/ 156 w 204"/>
              <a:gd name="T91" fmla="*/ 108 h 132"/>
              <a:gd name="T92" fmla="*/ 144 w 204"/>
              <a:gd name="T93" fmla="*/ 108 h 132"/>
              <a:gd name="T94" fmla="*/ 138 w 204"/>
              <a:gd name="T95" fmla="*/ 108 h 132"/>
              <a:gd name="T96" fmla="*/ 126 w 204"/>
              <a:gd name="T97" fmla="*/ 108 h 132"/>
              <a:gd name="T98" fmla="*/ 114 w 204"/>
              <a:gd name="T99" fmla="*/ 108 h 132"/>
              <a:gd name="T100" fmla="*/ 108 w 204"/>
              <a:gd name="T101" fmla="*/ 108 h 132"/>
              <a:gd name="T102" fmla="*/ 102 w 204"/>
              <a:gd name="T103" fmla="*/ 114 h 132"/>
              <a:gd name="T104" fmla="*/ 90 w 204"/>
              <a:gd name="T105" fmla="*/ 120 h 132"/>
              <a:gd name="T106" fmla="*/ 84 w 204"/>
              <a:gd name="T107" fmla="*/ 126 h 132"/>
              <a:gd name="T108" fmla="*/ 78 w 204"/>
              <a:gd name="T109" fmla="*/ 132 h 132"/>
              <a:gd name="T110" fmla="*/ 54 w 204"/>
              <a:gd name="T111" fmla="*/ 126 h 132"/>
              <a:gd name="T112" fmla="*/ 42 w 204"/>
              <a:gd name="T113" fmla="*/ 126 h 132"/>
              <a:gd name="T114" fmla="*/ 18 w 204"/>
              <a:gd name="T115" fmla="*/ 126 h 132"/>
              <a:gd name="T116" fmla="*/ 6 w 204"/>
              <a:gd name="T117" fmla="*/ 126 h 132"/>
              <a:gd name="T118" fmla="*/ 0 w 204"/>
              <a:gd name="T119" fmla="*/ 114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04" h="132">
                <a:moveTo>
                  <a:pt x="0" y="114"/>
                </a:move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14"/>
                </a:lnTo>
                <a:lnTo>
                  <a:pt x="0" y="114"/>
                </a:lnTo>
                <a:lnTo>
                  <a:pt x="0" y="114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96"/>
                </a:lnTo>
                <a:lnTo>
                  <a:pt x="12" y="102"/>
                </a:lnTo>
                <a:lnTo>
                  <a:pt x="12" y="102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30" y="90"/>
                </a:lnTo>
                <a:lnTo>
                  <a:pt x="24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6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42" y="90"/>
                </a:lnTo>
                <a:lnTo>
                  <a:pt x="42" y="90"/>
                </a:lnTo>
                <a:lnTo>
                  <a:pt x="36" y="90"/>
                </a:lnTo>
                <a:lnTo>
                  <a:pt x="36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36" y="84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84"/>
                </a:lnTo>
                <a:lnTo>
                  <a:pt x="54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6" y="84"/>
                </a:lnTo>
                <a:lnTo>
                  <a:pt x="66" y="84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84" y="72"/>
                </a:lnTo>
                <a:lnTo>
                  <a:pt x="84" y="72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66"/>
                </a:lnTo>
                <a:lnTo>
                  <a:pt x="102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48"/>
                </a:lnTo>
                <a:lnTo>
                  <a:pt x="132" y="48"/>
                </a:lnTo>
                <a:lnTo>
                  <a:pt x="126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8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2" y="30"/>
                </a:lnTo>
                <a:lnTo>
                  <a:pt x="132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50" y="24"/>
                </a:lnTo>
                <a:lnTo>
                  <a:pt x="150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50" y="0"/>
                </a:lnTo>
                <a:lnTo>
                  <a:pt x="150" y="0"/>
                </a:lnTo>
                <a:lnTo>
                  <a:pt x="150" y="0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74" y="24"/>
                </a:lnTo>
                <a:lnTo>
                  <a:pt x="174" y="24"/>
                </a:lnTo>
                <a:lnTo>
                  <a:pt x="174" y="24"/>
                </a:lnTo>
                <a:lnTo>
                  <a:pt x="174" y="24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80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68" y="48"/>
                </a:lnTo>
                <a:lnTo>
                  <a:pt x="168" y="48"/>
                </a:lnTo>
                <a:lnTo>
                  <a:pt x="168" y="48"/>
                </a:lnTo>
                <a:lnTo>
                  <a:pt x="168" y="48"/>
                </a:lnTo>
                <a:lnTo>
                  <a:pt x="168" y="48"/>
                </a:lnTo>
                <a:lnTo>
                  <a:pt x="168" y="48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68" y="60"/>
                </a:lnTo>
                <a:lnTo>
                  <a:pt x="168" y="60"/>
                </a:lnTo>
                <a:lnTo>
                  <a:pt x="168" y="60"/>
                </a:lnTo>
                <a:lnTo>
                  <a:pt x="168" y="60"/>
                </a:lnTo>
                <a:lnTo>
                  <a:pt x="168" y="60"/>
                </a:lnTo>
                <a:lnTo>
                  <a:pt x="168" y="60"/>
                </a:lnTo>
                <a:lnTo>
                  <a:pt x="168" y="60"/>
                </a:lnTo>
                <a:lnTo>
                  <a:pt x="168" y="60"/>
                </a:lnTo>
                <a:lnTo>
                  <a:pt x="168" y="60"/>
                </a:lnTo>
                <a:lnTo>
                  <a:pt x="168" y="60"/>
                </a:lnTo>
                <a:lnTo>
                  <a:pt x="168" y="60"/>
                </a:lnTo>
                <a:lnTo>
                  <a:pt x="168" y="60"/>
                </a:lnTo>
                <a:lnTo>
                  <a:pt x="168" y="60"/>
                </a:lnTo>
                <a:lnTo>
                  <a:pt x="168" y="60"/>
                </a:lnTo>
                <a:lnTo>
                  <a:pt x="168" y="60"/>
                </a:lnTo>
                <a:lnTo>
                  <a:pt x="168" y="60"/>
                </a:lnTo>
                <a:lnTo>
                  <a:pt x="168" y="60"/>
                </a:lnTo>
                <a:lnTo>
                  <a:pt x="168" y="60"/>
                </a:lnTo>
                <a:lnTo>
                  <a:pt x="168" y="60"/>
                </a:lnTo>
                <a:lnTo>
                  <a:pt x="168" y="60"/>
                </a:lnTo>
                <a:lnTo>
                  <a:pt x="168" y="60"/>
                </a:lnTo>
                <a:lnTo>
                  <a:pt x="168" y="66"/>
                </a:lnTo>
                <a:lnTo>
                  <a:pt x="168" y="66"/>
                </a:lnTo>
                <a:lnTo>
                  <a:pt x="168" y="66"/>
                </a:lnTo>
                <a:lnTo>
                  <a:pt x="168" y="66"/>
                </a:lnTo>
                <a:lnTo>
                  <a:pt x="168" y="66"/>
                </a:lnTo>
                <a:lnTo>
                  <a:pt x="168" y="66"/>
                </a:lnTo>
                <a:lnTo>
                  <a:pt x="168" y="66"/>
                </a:lnTo>
                <a:lnTo>
                  <a:pt x="168" y="66"/>
                </a:lnTo>
                <a:lnTo>
                  <a:pt x="168" y="66"/>
                </a:lnTo>
                <a:lnTo>
                  <a:pt x="174" y="66"/>
                </a:lnTo>
                <a:lnTo>
                  <a:pt x="174" y="72"/>
                </a:lnTo>
                <a:lnTo>
                  <a:pt x="174" y="72"/>
                </a:lnTo>
                <a:lnTo>
                  <a:pt x="174" y="72"/>
                </a:lnTo>
                <a:lnTo>
                  <a:pt x="174" y="66"/>
                </a:lnTo>
                <a:lnTo>
                  <a:pt x="174" y="66"/>
                </a:lnTo>
                <a:lnTo>
                  <a:pt x="174" y="66"/>
                </a:lnTo>
                <a:lnTo>
                  <a:pt x="174" y="72"/>
                </a:lnTo>
                <a:lnTo>
                  <a:pt x="174" y="72"/>
                </a:lnTo>
                <a:lnTo>
                  <a:pt x="174" y="72"/>
                </a:lnTo>
                <a:lnTo>
                  <a:pt x="174" y="72"/>
                </a:lnTo>
                <a:lnTo>
                  <a:pt x="174" y="72"/>
                </a:lnTo>
                <a:lnTo>
                  <a:pt x="174" y="72"/>
                </a:lnTo>
                <a:lnTo>
                  <a:pt x="174" y="72"/>
                </a:lnTo>
                <a:lnTo>
                  <a:pt x="174" y="72"/>
                </a:lnTo>
                <a:lnTo>
                  <a:pt x="174" y="72"/>
                </a:lnTo>
                <a:lnTo>
                  <a:pt x="174" y="78"/>
                </a:lnTo>
                <a:lnTo>
                  <a:pt x="174" y="72"/>
                </a:lnTo>
                <a:lnTo>
                  <a:pt x="174" y="72"/>
                </a:lnTo>
                <a:lnTo>
                  <a:pt x="174" y="72"/>
                </a:lnTo>
                <a:lnTo>
                  <a:pt x="180" y="72"/>
                </a:lnTo>
                <a:lnTo>
                  <a:pt x="174" y="78"/>
                </a:lnTo>
                <a:lnTo>
                  <a:pt x="174" y="78"/>
                </a:lnTo>
                <a:lnTo>
                  <a:pt x="180" y="78"/>
                </a:lnTo>
                <a:lnTo>
                  <a:pt x="180" y="78"/>
                </a:lnTo>
                <a:lnTo>
                  <a:pt x="180" y="78"/>
                </a:lnTo>
                <a:lnTo>
                  <a:pt x="180" y="78"/>
                </a:lnTo>
                <a:lnTo>
                  <a:pt x="180" y="78"/>
                </a:lnTo>
                <a:lnTo>
                  <a:pt x="180" y="78"/>
                </a:lnTo>
                <a:lnTo>
                  <a:pt x="180" y="78"/>
                </a:lnTo>
                <a:lnTo>
                  <a:pt x="186" y="78"/>
                </a:lnTo>
                <a:lnTo>
                  <a:pt x="186" y="78"/>
                </a:lnTo>
                <a:lnTo>
                  <a:pt x="186" y="78"/>
                </a:lnTo>
                <a:lnTo>
                  <a:pt x="186" y="78"/>
                </a:lnTo>
                <a:lnTo>
                  <a:pt x="186" y="78"/>
                </a:lnTo>
                <a:lnTo>
                  <a:pt x="186" y="78"/>
                </a:lnTo>
                <a:lnTo>
                  <a:pt x="186" y="78"/>
                </a:lnTo>
                <a:lnTo>
                  <a:pt x="186" y="84"/>
                </a:lnTo>
                <a:lnTo>
                  <a:pt x="186" y="84"/>
                </a:lnTo>
                <a:lnTo>
                  <a:pt x="192" y="84"/>
                </a:lnTo>
                <a:lnTo>
                  <a:pt x="192" y="84"/>
                </a:lnTo>
                <a:lnTo>
                  <a:pt x="192" y="84"/>
                </a:lnTo>
                <a:lnTo>
                  <a:pt x="192" y="84"/>
                </a:lnTo>
                <a:lnTo>
                  <a:pt x="192" y="84"/>
                </a:lnTo>
                <a:lnTo>
                  <a:pt x="192" y="84"/>
                </a:lnTo>
                <a:lnTo>
                  <a:pt x="198" y="84"/>
                </a:lnTo>
                <a:lnTo>
                  <a:pt x="198" y="84"/>
                </a:lnTo>
                <a:lnTo>
                  <a:pt x="198" y="84"/>
                </a:lnTo>
                <a:lnTo>
                  <a:pt x="198" y="84"/>
                </a:lnTo>
                <a:lnTo>
                  <a:pt x="198" y="84"/>
                </a:lnTo>
                <a:lnTo>
                  <a:pt x="198" y="90"/>
                </a:lnTo>
                <a:lnTo>
                  <a:pt x="198" y="84"/>
                </a:lnTo>
                <a:lnTo>
                  <a:pt x="198" y="90"/>
                </a:lnTo>
                <a:lnTo>
                  <a:pt x="204" y="90"/>
                </a:lnTo>
                <a:lnTo>
                  <a:pt x="198" y="90"/>
                </a:lnTo>
                <a:lnTo>
                  <a:pt x="198" y="90"/>
                </a:lnTo>
                <a:lnTo>
                  <a:pt x="198" y="90"/>
                </a:lnTo>
                <a:lnTo>
                  <a:pt x="198" y="90"/>
                </a:lnTo>
                <a:lnTo>
                  <a:pt x="198" y="90"/>
                </a:lnTo>
                <a:lnTo>
                  <a:pt x="198" y="90"/>
                </a:lnTo>
                <a:lnTo>
                  <a:pt x="198" y="90"/>
                </a:lnTo>
                <a:lnTo>
                  <a:pt x="198" y="90"/>
                </a:lnTo>
                <a:lnTo>
                  <a:pt x="198" y="90"/>
                </a:lnTo>
                <a:lnTo>
                  <a:pt x="192" y="96"/>
                </a:lnTo>
                <a:lnTo>
                  <a:pt x="192" y="96"/>
                </a:lnTo>
                <a:lnTo>
                  <a:pt x="192" y="96"/>
                </a:lnTo>
                <a:lnTo>
                  <a:pt x="192" y="96"/>
                </a:lnTo>
                <a:lnTo>
                  <a:pt x="192" y="96"/>
                </a:lnTo>
                <a:lnTo>
                  <a:pt x="192" y="96"/>
                </a:lnTo>
                <a:lnTo>
                  <a:pt x="192" y="96"/>
                </a:lnTo>
                <a:lnTo>
                  <a:pt x="192" y="102"/>
                </a:lnTo>
                <a:lnTo>
                  <a:pt x="192" y="102"/>
                </a:lnTo>
                <a:lnTo>
                  <a:pt x="192" y="102"/>
                </a:lnTo>
                <a:lnTo>
                  <a:pt x="192" y="102"/>
                </a:lnTo>
                <a:lnTo>
                  <a:pt x="192" y="102"/>
                </a:lnTo>
                <a:lnTo>
                  <a:pt x="192" y="102"/>
                </a:lnTo>
                <a:lnTo>
                  <a:pt x="192" y="102"/>
                </a:lnTo>
                <a:lnTo>
                  <a:pt x="192" y="102"/>
                </a:lnTo>
                <a:lnTo>
                  <a:pt x="192" y="102"/>
                </a:lnTo>
                <a:lnTo>
                  <a:pt x="192" y="102"/>
                </a:lnTo>
                <a:lnTo>
                  <a:pt x="192" y="102"/>
                </a:lnTo>
                <a:lnTo>
                  <a:pt x="192" y="102"/>
                </a:lnTo>
                <a:lnTo>
                  <a:pt x="192" y="102"/>
                </a:lnTo>
                <a:lnTo>
                  <a:pt x="192" y="108"/>
                </a:lnTo>
                <a:lnTo>
                  <a:pt x="192" y="102"/>
                </a:lnTo>
                <a:lnTo>
                  <a:pt x="192" y="108"/>
                </a:lnTo>
                <a:lnTo>
                  <a:pt x="186" y="108"/>
                </a:lnTo>
                <a:lnTo>
                  <a:pt x="186" y="108"/>
                </a:lnTo>
                <a:lnTo>
                  <a:pt x="186" y="108"/>
                </a:lnTo>
                <a:lnTo>
                  <a:pt x="186" y="108"/>
                </a:lnTo>
                <a:lnTo>
                  <a:pt x="186" y="108"/>
                </a:lnTo>
                <a:lnTo>
                  <a:pt x="186" y="108"/>
                </a:lnTo>
                <a:lnTo>
                  <a:pt x="180" y="108"/>
                </a:lnTo>
                <a:lnTo>
                  <a:pt x="180" y="108"/>
                </a:lnTo>
                <a:lnTo>
                  <a:pt x="180" y="108"/>
                </a:lnTo>
                <a:lnTo>
                  <a:pt x="180" y="108"/>
                </a:lnTo>
                <a:lnTo>
                  <a:pt x="180" y="108"/>
                </a:lnTo>
                <a:lnTo>
                  <a:pt x="174" y="108"/>
                </a:lnTo>
                <a:lnTo>
                  <a:pt x="174" y="108"/>
                </a:lnTo>
                <a:lnTo>
                  <a:pt x="174" y="108"/>
                </a:lnTo>
                <a:lnTo>
                  <a:pt x="174" y="108"/>
                </a:lnTo>
                <a:lnTo>
                  <a:pt x="174" y="114"/>
                </a:lnTo>
                <a:lnTo>
                  <a:pt x="174" y="114"/>
                </a:lnTo>
                <a:lnTo>
                  <a:pt x="174" y="114"/>
                </a:lnTo>
                <a:lnTo>
                  <a:pt x="174" y="114"/>
                </a:lnTo>
                <a:lnTo>
                  <a:pt x="174" y="114"/>
                </a:lnTo>
                <a:lnTo>
                  <a:pt x="174" y="120"/>
                </a:lnTo>
                <a:lnTo>
                  <a:pt x="174" y="120"/>
                </a:lnTo>
                <a:lnTo>
                  <a:pt x="174" y="120"/>
                </a:lnTo>
                <a:lnTo>
                  <a:pt x="174" y="114"/>
                </a:lnTo>
                <a:lnTo>
                  <a:pt x="174" y="114"/>
                </a:lnTo>
                <a:lnTo>
                  <a:pt x="168" y="114"/>
                </a:lnTo>
                <a:lnTo>
                  <a:pt x="168" y="114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56" y="120"/>
                </a:lnTo>
                <a:lnTo>
                  <a:pt x="162" y="120"/>
                </a:lnTo>
                <a:lnTo>
                  <a:pt x="162" y="120"/>
                </a:lnTo>
                <a:lnTo>
                  <a:pt x="162" y="114"/>
                </a:lnTo>
                <a:lnTo>
                  <a:pt x="162" y="114"/>
                </a:lnTo>
                <a:lnTo>
                  <a:pt x="162" y="114"/>
                </a:lnTo>
                <a:lnTo>
                  <a:pt x="162" y="114"/>
                </a:lnTo>
                <a:lnTo>
                  <a:pt x="162" y="114"/>
                </a:lnTo>
                <a:lnTo>
                  <a:pt x="162" y="108"/>
                </a:lnTo>
                <a:lnTo>
                  <a:pt x="156" y="108"/>
                </a:lnTo>
                <a:lnTo>
                  <a:pt x="156" y="108"/>
                </a:lnTo>
                <a:lnTo>
                  <a:pt x="156" y="108"/>
                </a:lnTo>
                <a:lnTo>
                  <a:pt x="156" y="108"/>
                </a:lnTo>
                <a:lnTo>
                  <a:pt x="156" y="108"/>
                </a:lnTo>
                <a:lnTo>
                  <a:pt x="156" y="108"/>
                </a:lnTo>
                <a:lnTo>
                  <a:pt x="150" y="108"/>
                </a:lnTo>
                <a:lnTo>
                  <a:pt x="150" y="108"/>
                </a:lnTo>
                <a:lnTo>
                  <a:pt x="150" y="114"/>
                </a:lnTo>
                <a:lnTo>
                  <a:pt x="150" y="108"/>
                </a:lnTo>
                <a:lnTo>
                  <a:pt x="144" y="114"/>
                </a:lnTo>
                <a:lnTo>
                  <a:pt x="150" y="108"/>
                </a:lnTo>
                <a:lnTo>
                  <a:pt x="150" y="108"/>
                </a:lnTo>
                <a:lnTo>
                  <a:pt x="150" y="108"/>
                </a:lnTo>
                <a:lnTo>
                  <a:pt x="150" y="108"/>
                </a:lnTo>
                <a:lnTo>
                  <a:pt x="150" y="108"/>
                </a:lnTo>
                <a:lnTo>
                  <a:pt x="150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14"/>
                </a:lnTo>
                <a:lnTo>
                  <a:pt x="144" y="114"/>
                </a:lnTo>
                <a:lnTo>
                  <a:pt x="144" y="108"/>
                </a:lnTo>
                <a:lnTo>
                  <a:pt x="138" y="108"/>
                </a:lnTo>
                <a:lnTo>
                  <a:pt x="138" y="114"/>
                </a:lnTo>
                <a:lnTo>
                  <a:pt x="138" y="114"/>
                </a:lnTo>
                <a:lnTo>
                  <a:pt x="138" y="114"/>
                </a:lnTo>
                <a:lnTo>
                  <a:pt x="138" y="108"/>
                </a:lnTo>
                <a:lnTo>
                  <a:pt x="138" y="108"/>
                </a:lnTo>
                <a:lnTo>
                  <a:pt x="138" y="108"/>
                </a:lnTo>
                <a:lnTo>
                  <a:pt x="138" y="108"/>
                </a:lnTo>
                <a:lnTo>
                  <a:pt x="132" y="108"/>
                </a:lnTo>
                <a:lnTo>
                  <a:pt x="132" y="108"/>
                </a:lnTo>
                <a:lnTo>
                  <a:pt x="132" y="108"/>
                </a:lnTo>
                <a:lnTo>
                  <a:pt x="132" y="108"/>
                </a:lnTo>
                <a:lnTo>
                  <a:pt x="126" y="108"/>
                </a:lnTo>
                <a:lnTo>
                  <a:pt x="126" y="108"/>
                </a:lnTo>
                <a:lnTo>
                  <a:pt x="126" y="108"/>
                </a:lnTo>
                <a:lnTo>
                  <a:pt x="126" y="108"/>
                </a:lnTo>
                <a:lnTo>
                  <a:pt x="126" y="108"/>
                </a:lnTo>
                <a:lnTo>
                  <a:pt x="126" y="108"/>
                </a:lnTo>
                <a:lnTo>
                  <a:pt x="126" y="108"/>
                </a:lnTo>
                <a:lnTo>
                  <a:pt x="126" y="108"/>
                </a:lnTo>
                <a:lnTo>
                  <a:pt x="120" y="108"/>
                </a:lnTo>
                <a:lnTo>
                  <a:pt x="126" y="108"/>
                </a:lnTo>
                <a:lnTo>
                  <a:pt x="126" y="108"/>
                </a:lnTo>
                <a:lnTo>
                  <a:pt x="126" y="108"/>
                </a:lnTo>
                <a:lnTo>
                  <a:pt x="126" y="102"/>
                </a:lnTo>
                <a:lnTo>
                  <a:pt x="120" y="102"/>
                </a:lnTo>
                <a:lnTo>
                  <a:pt x="120" y="108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8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8"/>
                </a:lnTo>
                <a:lnTo>
                  <a:pt x="120" y="108"/>
                </a:lnTo>
                <a:lnTo>
                  <a:pt x="114" y="108"/>
                </a:lnTo>
                <a:lnTo>
                  <a:pt x="114" y="102"/>
                </a:lnTo>
                <a:lnTo>
                  <a:pt x="114" y="108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108"/>
                </a:lnTo>
                <a:lnTo>
                  <a:pt x="108" y="108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8" y="108"/>
                </a:lnTo>
                <a:lnTo>
                  <a:pt x="108" y="114"/>
                </a:lnTo>
                <a:lnTo>
                  <a:pt x="108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96" y="114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84" y="120"/>
                </a:lnTo>
                <a:lnTo>
                  <a:pt x="84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6"/>
                </a:lnTo>
                <a:lnTo>
                  <a:pt x="90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78" y="132"/>
                </a:lnTo>
                <a:lnTo>
                  <a:pt x="78" y="132"/>
                </a:lnTo>
                <a:lnTo>
                  <a:pt x="84" y="132"/>
                </a:lnTo>
                <a:lnTo>
                  <a:pt x="84" y="132"/>
                </a:lnTo>
                <a:lnTo>
                  <a:pt x="78" y="132"/>
                </a:lnTo>
                <a:lnTo>
                  <a:pt x="78" y="132"/>
                </a:lnTo>
                <a:lnTo>
                  <a:pt x="72" y="132"/>
                </a:lnTo>
                <a:lnTo>
                  <a:pt x="78" y="132"/>
                </a:lnTo>
                <a:lnTo>
                  <a:pt x="78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66" y="132"/>
                </a:lnTo>
                <a:lnTo>
                  <a:pt x="66" y="126"/>
                </a:lnTo>
                <a:lnTo>
                  <a:pt x="66" y="126"/>
                </a:lnTo>
                <a:lnTo>
                  <a:pt x="66" y="126"/>
                </a:lnTo>
                <a:lnTo>
                  <a:pt x="60" y="126"/>
                </a:lnTo>
                <a:lnTo>
                  <a:pt x="60" y="132"/>
                </a:lnTo>
                <a:lnTo>
                  <a:pt x="60" y="126"/>
                </a:lnTo>
                <a:lnTo>
                  <a:pt x="54" y="126"/>
                </a:lnTo>
                <a:lnTo>
                  <a:pt x="60" y="126"/>
                </a:lnTo>
                <a:lnTo>
                  <a:pt x="60" y="126"/>
                </a:lnTo>
                <a:lnTo>
                  <a:pt x="54" y="126"/>
                </a:lnTo>
                <a:lnTo>
                  <a:pt x="54" y="126"/>
                </a:lnTo>
                <a:lnTo>
                  <a:pt x="54" y="126"/>
                </a:lnTo>
                <a:lnTo>
                  <a:pt x="54" y="126"/>
                </a:lnTo>
                <a:lnTo>
                  <a:pt x="54" y="126"/>
                </a:lnTo>
                <a:lnTo>
                  <a:pt x="54" y="126"/>
                </a:lnTo>
                <a:lnTo>
                  <a:pt x="54" y="126"/>
                </a:lnTo>
                <a:lnTo>
                  <a:pt x="48" y="126"/>
                </a:lnTo>
                <a:lnTo>
                  <a:pt x="48" y="132"/>
                </a:lnTo>
                <a:lnTo>
                  <a:pt x="42" y="132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24" y="120"/>
                </a:lnTo>
                <a:lnTo>
                  <a:pt x="24" y="120"/>
                </a:lnTo>
                <a:lnTo>
                  <a:pt x="24" y="126"/>
                </a:lnTo>
                <a:lnTo>
                  <a:pt x="24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0" y="120"/>
                </a:lnTo>
                <a:lnTo>
                  <a:pt x="0" y="120"/>
                </a:lnTo>
                <a:lnTo>
                  <a:pt x="0" y="120"/>
                </a:lnTo>
                <a:lnTo>
                  <a:pt x="0" y="114"/>
                </a:lnTo>
                <a:lnTo>
                  <a:pt x="0" y="114"/>
                </a:lnTo>
                <a:lnTo>
                  <a:pt x="0" y="114"/>
                </a:lnTo>
                <a:lnTo>
                  <a:pt x="0" y="11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08" name="Freeform 441"/>
          <p:cNvSpPr>
            <a:spLocks/>
          </p:cNvSpPr>
          <p:nvPr/>
        </p:nvSpPr>
        <p:spPr bwMode="auto">
          <a:xfrm>
            <a:off x="6325082" y="4777414"/>
            <a:ext cx="154177" cy="102786"/>
          </a:xfrm>
          <a:custGeom>
            <a:avLst/>
            <a:gdLst>
              <a:gd name="T0" fmla="*/ 6 w 144"/>
              <a:gd name="T1" fmla="*/ 0 h 96"/>
              <a:gd name="T2" fmla="*/ 18 w 144"/>
              <a:gd name="T3" fmla="*/ 6 h 96"/>
              <a:gd name="T4" fmla="*/ 24 w 144"/>
              <a:gd name="T5" fmla="*/ 6 h 96"/>
              <a:gd name="T6" fmla="*/ 36 w 144"/>
              <a:gd name="T7" fmla="*/ 6 h 96"/>
              <a:gd name="T8" fmla="*/ 48 w 144"/>
              <a:gd name="T9" fmla="*/ 12 h 96"/>
              <a:gd name="T10" fmla="*/ 54 w 144"/>
              <a:gd name="T11" fmla="*/ 12 h 96"/>
              <a:gd name="T12" fmla="*/ 66 w 144"/>
              <a:gd name="T13" fmla="*/ 12 h 96"/>
              <a:gd name="T14" fmla="*/ 84 w 144"/>
              <a:gd name="T15" fmla="*/ 12 h 96"/>
              <a:gd name="T16" fmla="*/ 90 w 144"/>
              <a:gd name="T17" fmla="*/ 18 h 96"/>
              <a:gd name="T18" fmla="*/ 96 w 144"/>
              <a:gd name="T19" fmla="*/ 24 h 96"/>
              <a:gd name="T20" fmla="*/ 102 w 144"/>
              <a:gd name="T21" fmla="*/ 30 h 96"/>
              <a:gd name="T22" fmla="*/ 120 w 144"/>
              <a:gd name="T23" fmla="*/ 30 h 96"/>
              <a:gd name="T24" fmla="*/ 120 w 144"/>
              <a:gd name="T25" fmla="*/ 36 h 96"/>
              <a:gd name="T26" fmla="*/ 114 w 144"/>
              <a:gd name="T27" fmla="*/ 42 h 96"/>
              <a:gd name="T28" fmla="*/ 120 w 144"/>
              <a:gd name="T29" fmla="*/ 48 h 96"/>
              <a:gd name="T30" fmla="*/ 126 w 144"/>
              <a:gd name="T31" fmla="*/ 42 h 96"/>
              <a:gd name="T32" fmla="*/ 126 w 144"/>
              <a:gd name="T33" fmla="*/ 54 h 96"/>
              <a:gd name="T34" fmla="*/ 138 w 144"/>
              <a:gd name="T35" fmla="*/ 54 h 96"/>
              <a:gd name="T36" fmla="*/ 138 w 144"/>
              <a:gd name="T37" fmla="*/ 66 h 96"/>
              <a:gd name="T38" fmla="*/ 132 w 144"/>
              <a:gd name="T39" fmla="*/ 66 h 96"/>
              <a:gd name="T40" fmla="*/ 126 w 144"/>
              <a:gd name="T41" fmla="*/ 66 h 96"/>
              <a:gd name="T42" fmla="*/ 126 w 144"/>
              <a:gd name="T43" fmla="*/ 66 h 96"/>
              <a:gd name="T44" fmla="*/ 120 w 144"/>
              <a:gd name="T45" fmla="*/ 78 h 96"/>
              <a:gd name="T46" fmla="*/ 114 w 144"/>
              <a:gd name="T47" fmla="*/ 78 h 96"/>
              <a:gd name="T48" fmla="*/ 108 w 144"/>
              <a:gd name="T49" fmla="*/ 78 h 96"/>
              <a:gd name="T50" fmla="*/ 102 w 144"/>
              <a:gd name="T51" fmla="*/ 78 h 96"/>
              <a:gd name="T52" fmla="*/ 96 w 144"/>
              <a:gd name="T53" fmla="*/ 78 h 96"/>
              <a:gd name="T54" fmla="*/ 90 w 144"/>
              <a:gd name="T55" fmla="*/ 78 h 96"/>
              <a:gd name="T56" fmla="*/ 84 w 144"/>
              <a:gd name="T57" fmla="*/ 78 h 96"/>
              <a:gd name="T58" fmla="*/ 78 w 144"/>
              <a:gd name="T59" fmla="*/ 78 h 96"/>
              <a:gd name="T60" fmla="*/ 72 w 144"/>
              <a:gd name="T61" fmla="*/ 78 h 96"/>
              <a:gd name="T62" fmla="*/ 66 w 144"/>
              <a:gd name="T63" fmla="*/ 78 h 96"/>
              <a:gd name="T64" fmla="*/ 66 w 144"/>
              <a:gd name="T65" fmla="*/ 78 h 96"/>
              <a:gd name="T66" fmla="*/ 60 w 144"/>
              <a:gd name="T67" fmla="*/ 78 h 96"/>
              <a:gd name="T68" fmla="*/ 54 w 144"/>
              <a:gd name="T69" fmla="*/ 78 h 96"/>
              <a:gd name="T70" fmla="*/ 48 w 144"/>
              <a:gd name="T71" fmla="*/ 78 h 96"/>
              <a:gd name="T72" fmla="*/ 42 w 144"/>
              <a:gd name="T73" fmla="*/ 84 h 96"/>
              <a:gd name="T74" fmla="*/ 42 w 144"/>
              <a:gd name="T75" fmla="*/ 90 h 96"/>
              <a:gd name="T76" fmla="*/ 42 w 144"/>
              <a:gd name="T77" fmla="*/ 96 h 96"/>
              <a:gd name="T78" fmla="*/ 36 w 144"/>
              <a:gd name="T79" fmla="*/ 96 h 96"/>
              <a:gd name="T80" fmla="*/ 30 w 144"/>
              <a:gd name="T81" fmla="*/ 90 h 96"/>
              <a:gd name="T82" fmla="*/ 24 w 144"/>
              <a:gd name="T83" fmla="*/ 90 h 96"/>
              <a:gd name="T84" fmla="*/ 18 w 144"/>
              <a:gd name="T85" fmla="*/ 72 h 96"/>
              <a:gd name="T86" fmla="*/ 18 w 144"/>
              <a:gd name="T87" fmla="*/ 66 h 96"/>
              <a:gd name="T88" fmla="*/ 12 w 144"/>
              <a:gd name="T89" fmla="*/ 54 h 96"/>
              <a:gd name="T90" fmla="*/ 18 w 144"/>
              <a:gd name="T91" fmla="*/ 54 h 96"/>
              <a:gd name="T92" fmla="*/ 18 w 144"/>
              <a:gd name="T93" fmla="*/ 48 h 96"/>
              <a:gd name="T94" fmla="*/ 24 w 144"/>
              <a:gd name="T95" fmla="*/ 42 h 96"/>
              <a:gd name="T96" fmla="*/ 18 w 144"/>
              <a:gd name="T97" fmla="*/ 36 h 96"/>
              <a:gd name="T98" fmla="*/ 18 w 144"/>
              <a:gd name="T99" fmla="*/ 36 h 96"/>
              <a:gd name="T100" fmla="*/ 12 w 144"/>
              <a:gd name="T101" fmla="*/ 36 h 96"/>
              <a:gd name="T102" fmla="*/ 12 w 144"/>
              <a:gd name="T103" fmla="*/ 30 h 96"/>
              <a:gd name="T104" fmla="*/ 6 w 144"/>
              <a:gd name="T105" fmla="*/ 24 h 96"/>
              <a:gd name="T106" fmla="*/ 6 w 144"/>
              <a:gd name="T107" fmla="*/ 18 h 96"/>
              <a:gd name="T108" fmla="*/ 6 w 144"/>
              <a:gd name="T109" fmla="*/ 18 h 96"/>
              <a:gd name="T110" fmla="*/ 6 w 144"/>
              <a:gd name="T111" fmla="*/ 12 h 96"/>
              <a:gd name="T112" fmla="*/ 0 w 144"/>
              <a:gd name="T113" fmla="*/ 12 h 96"/>
              <a:gd name="T114" fmla="*/ 0 w 144"/>
              <a:gd name="T115" fmla="*/ 6 h 96"/>
              <a:gd name="T116" fmla="*/ 0 w 144"/>
              <a:gd name="T117" fmla="*/ 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44" h="96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8" y="0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6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84" y="18"/>
                </a:lnTo>
                <a:lnTo>
                  <a:pt x="84" y="12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6" y="30"/>
                </a:lnTo>
                <a:lnTo>
                  <a:pt x="126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14" y="42"/>
                </a:lnTo>
                <a:lnTo>
                  <a:pt x="114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54"/>
                </a:lnTo>
                <a:lnTo>
                  <a:pt x="126" y="54"/>
                </a:lnTo>
                <a:lnTo>
                  <a:pt x="132" y="54"/>
                </a:lnTo>
                <a:lnTo>
                  <a:pt x="126" y="54"/>
                </a:lnTo>
                <a:lnTo>
                  <a:pt x="132" y="54"/>
                </a:lnTo>
                <a:lnTo>
                  <a:pt x="132" y="54"/>
                </a:lnTo>
                <a:lnTo>
                  <a:pt x="132" y="54"/>
                </a:lnTo>
                <a:lnTo>
                  <a:pt x="132" y="54"/>
                </a:lnTo>
                <a:lnTo>
                  <a:pt x="132" y="54"/>
                </a:lnTo>
                <a:lnTo>
                  <a:pt x="138" y="54"/>
                </a:lnTo>
                <a:lnTo>
                  <a:pt x="138" y="54"/>
                </a:lnTo>
                <a:lnTo>
                  <a:pt x="138" y="60"/>
                </a:lnTo>
                <a:lnTo>
                  <a:pt x="144" y="60"/>
                </a:lnTo>
                <a:lnTo>
                  <a:pt x="138" y="60"/>
                </a:lnTo>
                <a:lnTo>
                  <a:pt x="138" y="60"/>
                </a:lnTo>
                <a:lnTo>
                  <a:pt x="138" y="66"/>
                </a:lnTo>
                <a:lnTo>
                  <a:pt x="138" y="66"/>
                </a:lnTo>
                <a:lnTo>
                  <a:pt x="138" y="66"/>
                </a:lnTo>
                <a:lnTo>
                  <a:pt x="138" y="66"/>
                </a:lnTo>
                <a:lnTo>
                  <a:pt x="132" y="66"/>
                </a:lnTo>
                <a:lnTo>
                  <a:pt x="132" y="66"/>
                </a:lnTo>
                <a:lnTo>
                  <a:pt x="132" y="66"/>
                </a:lnTo>
                <a:lnTo>
                  <a:pt x="132" y="66"/>
                </a:lnTo>
                <a:lnTo>
                  <a:pt x="132" y="66"/>
                </a:lnTo>
                <a:lnTo>
                  <a:pt x="132" y="66"/>
                </a:lnTo>
                <a:lnTo>
                  <a:pt x="132" y="66"/>
                </a:lnTo>
                <a:lnTo>
                  <a:pt x="132" y="60"/>
                </a:lnTo>
                <a:lnTo>
                  <a:pt x="132" y="66"/>
                </a:lnTo>
                <a:lnTo>
                  <a:pt x="132" y="60"/>
                </a:lnTo>
                <a:lnTo>
                  <a:pt x="132" y="66"/>
                </a:lnTo>
                <a:lnTo>
                  <a:pt x="132" y="66"/>
                </a:lnTo>
                <a:lnTo>
                  <a:pt x="132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72"/>
                </a:lnTo>
                <a:lnTo>
                  <a:pt x="126" y="72"/>
                </a:lnTo>
                <a:lnTo>
                  <a:pt x="126" y="72"/>
                </a:lnTo>
                <a:lnTo>
                  <a:pt x="126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14" y="72"/>
                </a:lnTo>
                <a:lnTo>
                  <a:pt x="114" y="72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2"/>
                </a:lnTo>
                <a:lnTo>
                  <a:pt x="84" y="78"/>
                </a:lnTo>
                <a:lnTo>
                  <a:pt x="84" y="72"/>
                </a:lnTo>
                <a:lnTo>
                  <a:pt x="78" y="72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84"/>
                </a:lnTo>
                <a:lnTo>
                  <a:pt x="48" y="78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90"/>
                </a:lnTo>
                <a:lnTo>
                  <a:pt x="42" y="90"/>
                </a:lnTo>
                <a:lnTo>
                  <a:pt x="42" y="84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36" y="90"/>
                </a:lnTo>
                <a:lnTo>
                  <a:pt x="42" y="90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78"/>
                </a:lnTo>
                <a:lnTo>
                  <a:pt x="24" y="84"/>
                </a:lnTo>
                <a:lnTo>
                  <a:pt x="24" y="78"/>
                </a:lnTo>
                <a:lnTo>
                  <a:pt x="24" y="78"/>
                </a:lnTo>
                <a:lnTo>
                  <a:pt x="18" y="78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6" y="60"/>
                </a:lnTo>
                <a:lnTo>
                  <a:pt x="6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24" y="48"/>
                </a:lnTo>
                <a:lnTo>
                  <a:pt x="24" y="48"/>
                </a:lnTo>
                <a:lnTo>
                  <a:pt x="24" y="42"/>
                </a:lnTo>
                <a:lnTo>
                  <a:pt x="24" y="48"/>
                </a:lnTo>
                <a:lnTo>
                  <a:pt x="18" y="42"/>
                </a:lnTo>
                <a:lnTo>
                  <a:pt x="24" y="42"/>
                </a:lnTo>
                <a:lnTo>
                  <a:pt x="24" y="42"/>
                </a:lnTo>
                <a:lnTo>
                  <a:pt x="18" y="42"/>
                </a:lnTo>
                <a:lnTo>
                  <a:pt x="18" y="42"/>
                </a:lnTo>
                <a:lnTo>
                  <a:pt x="24" y="42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6" y="30"/>
                </a:lnTo>
                <a:lnTo>
                  <a:pt x="6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6" y="30"/>
                </a:lnTo>
                <a:lnTo>
                  <a:pt x="12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0" y="18"/>
                </a:lnTo>
                <a:lnTo>
                  <a:pt x="0" y="18"/>
                </a:lnTo>
                <a:lnTo>
                  <a:pt x="6" y="18"/>
                </a:lnTo>
                <a:lnTo>
                  <a:pt x="6" y="18"/>
                </a:lnTo>
                <a:lnTo>
                  <a:pt x="0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6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09" name="Freeform 442"/>
          <p:cNvSpPr>
            <a:spLocks/>
          </p:cNvSpPr>
          <p:nvPr/>
        </p:nvSpPr>
        <p:spPr bwMode="auto">
          <a:xfrm>
            <a:off x="6723373" y="4899472"/>
            <a:ext cx="96361" cy="57817"/>
          </a:xfrm>
          <a:custGeom>
            <a:avLst/>
            <a:gdLst>
              <a:gd name="T0" fmla="*/ 6 w 90"/>
              <a:gd name="T1" fmla="*/ 24 h 54"/>
              <a:gd name="T2" fmla="*/ 12 w 90"/>
              <a:gd name="T3" fmla="*/ 12 h 54"/>
              <a:gd name="T4" fmla="*/ 18 w 90"/>
              <a:gd name="T5" fmla="*/ 18 h 54"/>
              <a:gd name="T6" fmla="*/ 24 w 90"/>
              <a:gd name="T7" fmla="*/ 18 h 54"/>
              <a:gd name="T8" fmla="*/ 36 w 90"/>
              <a:gd name="T9" fmla="*/ 18 h 54"/>
              <a:gd name="T10" fmla="*/ 36 w 90"/>
              <a:gd name="T11" fmla="*/ 18 h 54"/>
              <a:gd name="T12" fmla="*/ 42 w 90"/>
              <a:gd name="T13" fmla="*/ 24 h 54"/>
              <a:gd name="T14" fmla="*/ 48 w 90"/>
              <a:gd name="T15" fmla="*/ 18 h 54"/>
              <a:gd name="T16" fmla="*/ 54 w 90"/>
              <a:gd name="T17" fmla="*/ 18 h 54"/>
              <a:gd name="T18" fmla="*/ 60 w 90"/>
              <a:gd name="T19" fmla="*/ 12 h 54"/>
              <a:gd name="T20" fmla="*/ 60 w 90"/>
              <a:gd name="T21" fmla="*/ 18 h 54"/>
              <a:gd name="T22" fmla="*/ 66 w 90"/>
              <a:gd name="T23" fmla="*/ 12 h 54"/>
              <a:gd name="T24" fmla="*/ 78 w 90"/>
              <a:gd name="T25" fmla="*/ 12 h 54"/>
              <a:gd name="T26" fmla="*/ 78 w 90"/>
              <a:gd name="T27" fmla="*/ 6 h 54"/>
              <a:gd name="T28" fmla="*/ 78 w 90"/>
              <a:gd name="T29" fmla="*/ 6 h 54"/>
              <a:gd name="T30" fmla="*/ 84 w 90"/>
              <a:gd name="T31" fmla="*/ 0 h 54"/>
              <a:gd name="T32" fmla="*/ 84 w 90"/>
              <a:gd name="T33" fmla="*/ 0 h 54"/>
              <a:gd name="T34" fmla="*/ 90 w 90"/>
              <a:gd name="T35" fmla="*/ 0 h 54"/>
              <a:gd name="T36" fmla="*/ 84 w 90"/>
              <a:gd name="T37" fmla="*/ 6 h 54"/>
              <a:gd name="T38" fmla="*/ 90 w 90"/>
              <a:gd name="T39" fmla="*/ 12 h 54"/>
              <a:gd name="T40" fmla="*/ 90 w 90"/>
              <a:gd name="T41" fmla="*/ 12 h 54"/>
              <a:gd name="T42" fmla="*/ 84 w 90"/>
              <a:gd name="T43" fmla="*/ 12 h 54"/>
              <a:gd name="T44" fmla="*/ 78 w 90"/>
              <a:gd name="T45" fmla="*/ 18 h 54"/>
              <a:gd name="T46" fmla="*/ 78 w 90"/>
              <a:gd name="T47" fmla="*/ 24 h 54"/>
              <a:gd name="T48" fmla="*/ 78 w 90"/>
              <a:gd name="T49" fmla="*/ 24 h 54"/>
              <a:gd name="T50" fmla="*/ 78 w 90"/>
              <a:gd name="T51" fmla="*/ 30 h 54"/>
              <a:gd name="T52" fmla="*/ 78 w 90"/>
              <a:gd name="T53" fmla="*/ 36 h 54"/>
              <a:gd name="T54" fmla="*/ 78 w 90"/>
              <a:gd name="T55" fmla="*/ 42 h 54"/>
              <a:gd name="T56" fmla="*/ 78 w 90"/>
              <a:gd name="T57" fmla="*/ 42 h 54"/>
              <a:gd name="T58" fmla="*/ 78 w 90"/>
              <a:gd name="T59" fmla="*/ 48 h 54"/>
              <a:gd name="T60" fmla="*/ 78 w 90"/>
              <a:gd name="T61" fmla="*/ 48 h 54"/>
              <a:gd name="T62" fmla="*/ 72 w 90"/>
              <a:gd name="T63" fmla="*/ 42 h 54"/>
              <a:gd name="T64" fmla="*/ 66 w 90"/>
              <a:gd name="T65" fmla="*/ 42 h 54"/>
              <a:gd name="T66" fmla="*/ 66 w 90"/>
              <a:gd name="T67" fmla="*/ 48 h 54"/>
              <a:gd name="T68" fmla="*/ 60 w 90"/>
              <a:gd name="T69" fmla="*/ 48 h 54"/>
              <a:gd name="T70" fmla="*/ 54 w 90"/>
              <a:gd name="T71" fmla="*/ 48 h 54"/>
              <a:gd name="T72" fmla="*/ 54 w 90"/>
              <a:gd name="T73" fmla="*/ 48 h 54"/>
              <a:gd name="T74" fmla="*/ 48 w 90"/>
              <a:gd name="T75" fmla="*/ 48 h 54"/>
              <a:gd name="T76" fmla="*/ 48 w 90"/>
              <a:gd name="T77" fmla="*/ 48 h 54"/>
              <a:gd name="T78" fmla="*/ 42 w 90"/>
              <a:gd name="T79" fmla="*/ 54 h 54"/>
              <a:gd name="T80" fmla="*/ 42 w 90"/>
              <a:gd name="T81" fmla="*/ 54 h 54"/>
              <a:gd name="T82" fmla="*/ 36 w 90"/>
              <a:gd name="T83" fmla="*/ 54 h 54"/>
              <a:gd name="T84" fmla="*/ 36 w 90"/>
              <a:gd name="T85" fmla="*/ 48 h 54"/>
              <a:gd name="T86" fmla="*/ 36 w 90"/>
              <a:gd name="T87" fmla="*/ 54 h 54"/>
              <a:gd name="T88" fmla="*/ 30 w 90"/>
              <a:gd name="T89" fmla="*/ 54 h 54"/>
              <a:gd name="T90" fmla="*/ 30 w 90"/>
              <a:gd name="T91" fmla="*/ 54 h 54"/>
              <a:gd name="T92" fmla="*/ 24 w 90"/>
              <a:gd name="T93" fmla="*/ 54 h 54"/>
              <a:gd name="T94" fmla="*/ 24 w 90"/>
              <a:gd name="T95" fmla="*/ 54 h 54"/>
              <a:gd name="T96" fmla="*/ 24 w 90"/>
              <a:gd name="T97" fmla="*/ 54 h 54"/>
              <a:gd name="T98" fmla="*/ 24 w 90"/>
              <a:gd name="T99" fmla="*/ 54 h 54"/>
              <a:gd name="T100" fmla="*/ 24 w 90"/>
              <a:gd name="T101" fmla="*/ 48 h 54"/>
              <a:gd name="T102" fmla="*/ 18 w 90"/>
              <a:gd name="T103" fmla="*/ 48 h 54"/>
              <a:gd name="T104" fmla="*/ 12 w 90"/>
              <a:gd name="T105" fmla="*/ 42 h 54"/>
              <a:gd name="T106" fmla="*/ 12 w 90"/>
              <a:gd name="T107" fmla="*/ 42 h 54"/>
              <a:gd name="T108" fmla="*/ 12 w 90"/>
              <a:gd name="T109" fmla="*/ 36 h 54"/>
              <a:gd name="T110" fmla="*/ 12 w 90"/>
              <a:gd name="T111" fmla="*/ 36 h 54"/>
              <a:gd name="T112" fmla="*/ 6 w 90"/>
              <a:gd name="T113" fmla="*/ 36 h 54"/>
              <a:gd name="T114" fmla="*/ 6 w 90"/>
              <a:gd name="T115" fmla="*/ 36 h 54"/>
              <a:gd name="T116" fmla="*/ 6 w 90"/>
              <a:gd name="T117" fmla="*/ 36 h 54"/>
              <a:gd name="T118" fmla="*/ 6 w 90"/>
              <a:gd name="T119" fmla="*/ 30 h 54"/>
              <a:gd name="T120" fmla="*/ 0 w 90"/>
              <a:gd name="T121" fmla="*/ 30 h 54"/>
              <a:gd name="T122" fmla="*/ 0 w 90"/>
              <a:gd name="T123" fmla="*/ 24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90" h="54">
                <a:moveTo>
                  <a:pt x="0" y="24"/>
                </a:moveTo>
                <a:lnTo>
                  <a:pt x="0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12" y="18"/>
                </a:lnTo>
                <a:lnTo>
                  <a:pt x="12" y="12"/>
                </a:lnTo>
                <a:lnTo>
                  <a:pt x="12" y="18"/>
                </a:lnTo>
                <a:lnTo>
                  <a:pt x="12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24" y="18"/>
                </a:lnTo>
                <a:lnTo>
                  <a:pt x="24" y="24"/>
                </a:lnTo>
                <a:lnTo>
                  <a:pt x="24" y="24"/>
                </a:lnTo>
                <a:lnTo>
                  <a:pt x="24" y="18"/>
                </a:lnTo>
                <a:lnTo>
                  <a:pt x="24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24"/>
                </a:lnTo>
                <a:lnTo>
                  <a:pt x="36" y="24"/>
                </a:lnTo>
                <a:lnTo>
                  <a:pt x="36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24"/>
                </a:lnTo>
                <a:lnTo>
                  <a:pt x="42" y="18"/>
                </a:lnTo>
                <a:lnTo>
                  <a:pt x="48" y="24"/>
                </a:lnTo>
                <a:lnTo>
                  <a:pt x="48" y="24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54" y="18"/>
                </a:lnTo>
                <a:lnTo>
                  <a:pt x="54" y="18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6" y="18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84" y="6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0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8"/>
                </a:lnTo>
                <a:lnTo>
                  <a:pt x="78" y="18"/>
                </a:lnTo>
                <a:lnTo>
                  <a:pt x="78" y="18"/>
                </a:lnTo>
                <a:lnTo>
                  <a:pt x="84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84" y="24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84" y="30"/>
                </a:lnTo>
                <a:lnTo>
                  <a:pt x="78" y="30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54" y="42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54"/>
                </a:lnTo>
                <a:lnTo>
                  <a:pt x="48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0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0" y="30"/>
                </a:lnTo>
                <a:lnTo>
                  <a:pt x="6" y="30"/>
                </a:lnTo>
                <a:lnTo>
                  <a:pt x="6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24"/>
                </a:lnTo>
                <a:lnTo>
                  <a:pt x="0" y="2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10" name="Freeform 443"/>
          <p:cNvSpPr>
            <a:spLocks/>
          </p:cNvSpPr>
          <p:nvPr/>
        </p:nvSpPr>
        <p:spPr bwMode="auto">
          <a:xfrm>
            <a:off x="6665557" y="4822382"/>
            <a:ext cx="160601" cy="102786"/>
          </a:xfrm>
          <a:custGeom>
            <a:avLst/>
            <a:gdLst>
              <a:gd name="T0" fmla="*/ 0 w 150"/>
              <a:gd name="T1" fmla="*/ 48 h 96"/>
              <a:gd name="T2" fmla="*/ 0 w 150"/>
              <a:gd name="T3" fmla="*/ 48 h 96"/>
              <a:gd name="T4" fmla="*/ 6 w 150"/>
              <a:gd name="T5" fmla="*/ 42 h 96"/>
              <a:gd name="T6" fmla="*/ 6 w 150"/>
              <a:gd name="T7" fmla="*/ 36 h 96"/>
              <a:gd name="T8" fmla="*/ 6 w 150"/>
              <a:gd name="T9" fmla="*/ 30 h 96"/>
              <a:gd name="T10" fmla="*/ 6 w 150"/>
              <a:gd name="T11" fmla="*/ 24 h 96"/>
              <a:gd name="T12" fmla="*/ 12 w 150"/>
              <a:gd name="T13" fmla="*/ 18 h 96"/>
              <a:gd name="T14" fmla="*/ 18 w 150"/>
              <a:gd name="T15" fmla="*/ 12 h 96"/>
              <a:gd name="T16" fmla="*/ 30 w 150"/>
              <a:gd name="T17" fmla="*/ 18 h 96"/>
              <a:gd name="T18" fmla="*/ 36 w 150"/>
              <a:gd name="T19" fmla="*/ 18 h 96"/>
              <a:gd name="T20" fmla="*/ 42 w 150"/>
              <a:gd name="T21" fmla="*/ 18 h 96"/>
              <a:gd name="T22" fmla="*/ 42 w 150"/>
              <a:gd name="T23" fmla="*/ 18 h 96"/>
              <a:gd name="T24" fmla="*/ 54 w 150"/>
              <a:gd name="T25" fmla="*/ 18 h 96"/>
              <a:gd name="T26" fmla="*/ 54 w 150"/>
              <a:gd name="T27" fmla="*/ 12 h 96"/>
              <a:gd name="T28" fmla="*/ 54 w 150"/>
              <a:gd name="T29" fmla="*/ 12 h 96"/>
              <a:gd name="T30" fmla="*/ 60 w 150"/>
              <a:gd name="T31" fmla="*/ 6 h 96"/>
              <a:gd name="T32" fmla="*/ 60 w 150"/>
              <a:gd name="T33" fmla="*/ 6 h 96"/>
              <a:gd name="T34" fmla="*/ 66 w 150"/>
              <a:gd name="T35" fmla="*/ 6 h 96"/>
              <a:gd name="T36" fmla="*/ 72 w 150"/>
              <a:gd name="T37" fmla="*/ 12 h 96"/>
              <a:gd name="T38" fmla="*/ 78 w 150"/>
              <a:gd name="T39" fmla="*/ 12 h 96"/>
              <a:gd name="T40" fmla="*/ 78 w 150"/>
              <a:gd name="T41" fmla="*/ 6 h 96"/>
              <a:gd name="T42" fmla="*/ 90 w 150"/>
              <a:gd name="T43" fmla="*/ 6 h 96"/>
              <a:gd name="T44" fmla="*/ 96 w 150"/>
              <a:gd name="T45" fmla="*/ 12 h 96"/>
              <a:gd name="T46" fmla="*/ 102 w 150"/>
              <a:gd name="T47" fmla="*/ 24 h 96"/>
              <a:gd name="T48" fmla="*/ 114 w 150"/>
              <a:gd name="T49" fmla="*/ 36 h 96"/>
              <a:gd name="T50" fmla="*/ 114 w 150"/>
              <a:gd name="T51" fmla="*/ 48 h 96"/>
              <a:gd name="T52" fmla="*/ 114 w 150"/>
              <a:gd name="T53" fmla="*/ 54 h 96"/>
              <a:gd name="T54" fmla="*/ 114 w 150"/>
              <a:gd name="T55" fmla="*/ 60 h 96"/>
              <a:gd name="T56" fmla="*/ 114 w 150"/>
              <a:gd name="T57" fmla="*/ 72 h 96"/>
              <a:gd name="T58" fmla="*/ 120 w 150"/>
              <a:gd name="T59" fmla="*/ 72 h 96"/>
              <a:gd name="T60" fmla="*/ 138 w 150"/>
              <a:gd name="T61" fmla="*/ 72 h 96"/>
              <a:gd name="T62" fmla="*/ 144 w 150"/>
              <a:gd name="T63" fmla="*/ 60 h 96"/>
              <a:gd name="T64" fmla="*/ 144 w 150"/>
              <a:gd name="T65" fmla="*/ 72 h 96"/>
              <a:gd name="T66" fmla="*/ 138 w 150"/>
              <a:gd name="T67" fmla="*/ 72 h 96"/>
              <a:gd name="T68" fmla="*/ 132 w 150"/>
              <a:gd name="T69" fmla="*/ 78 h 96"/>
              <a:gd name="T70" fmla="*/ 132 w 150"/>
              <a:gd name="T71" fmla="*/ 84 h 96"/>
              <a:gd name="T72" fmla="*/ 114 w 150"/>
              <a:gd name="T73" fmla="*/ 90 h 96"/>
              <a:gd name="T74" fmla="*/ 108 w 150"/>
              <a:gd name="T75" fmla="*/ 84 h 96"/>
              <a:gd name="T76" fmla="*/ 102 w 150"/>
              <a:gd name="T77" fmla="*/ 96 h 96"/>
              <a:gd name="T78" fmla="*/ 90 w 150"/>
              <a:gd name="T79" fmla="*/ 96 h 96"/>
              <a:gd name="T80" fmla="*/ 78 w 150"/>
              <a:gd name="T81" fmla="*/ 90 h 96"/>
              <a:gd name="T82" fmla="*/ 66 w 150"/>
              <a:gd name="T83" fmla="*/ 84 h 96"/>
              <a:gd name="T84" fmla="*/ 54 w 150"/>
              <a:gd name="T85" fmla="*/ 96 h 96"/>
              <a:gd name="T86" fmla="*/ 54 w 150"/>
              <a:gd name="T87" fmla="*/ 96 h 96"/>
              <a:gd name="T88" fmla="*/ 48 w 150"/>
              <a:gd name="T89" fmla="*/ 96 h 96"/>
              <a:gd name="T90" fmla="*/ 48 w 150"/>
              <a:gd name="T91" fmla="*/ 96 h 96"/>
              <a:gd name="T92" fmla="*/ 42 w 150"/>
              <a:gd name="T93" fmla="*/ 96 h 96"/>
              <a:gd name="T94" fmla="*/ 42 w 150"/>
              <a:gd name="T95" fmla="*/ 96 h 96"/>
              <a:gd name="T96" fmla="*/ 42 w 150"/>
              <a:gd name="T97" fmla="*/ 90 h 96"/>
              <a:gd name="T98" fmla="*/ 36 w 150"/>
              <a:gd name="T99" fmla="*/ 90 h 96"/>
              <a:gd name="T100" fmla="*/ 36 w 150"/>
              <a:gd name="T101" fmla="*/ 84 h 96"/>
              <a:gd name="T102" fmla="*/ 42 w 150"/>
              <a:gd name="T103" fmla="*/ 84 h 96"/>
              <a:gd name="T104" fmla="*/ 36 w 150"/>
              <a:gd name="T105" fmla="*/ 84 h 96"/>
              <a:gd name="T106" fmla="*/ 36 w 150"/>
              <a:gd name="T107" fmla="*/ 84 h 96"/>
              <a:gd name="T108" fmla="*/ 36 w 150"/>
              <a:gd name="T109" fmla="*/ 84 h 96"/>
              <a:gd name="T110" fmla="*/ 30 w 150"/>
              <a:gd name="T111" fmla="*/ 78 h 96"/>
              <a:gd name="T112" fmla="*/ 18 w 150"/>
              <a:gd name="T113" fmla="*/ 72 h 96"/>
              <a:gd name="T114" fmla="*/ 12 w 150"/>
              <a:gd name="T115" fmla="*/ 72 h 96"/>
              <a:gd name="T116" fmla="*/ 6 w 150"/>
              <a:gd name="T117" fmla="*/ 66 h 96"/>
              <a:gd name="T118" fmla="*/ 6 w 150"/>
              <a:gd name="T119" fmla="*/ 66 h 96"/>
              <a:gd name="T120" fmla="*/ 6 w 150"/>
              <a:gd name="T121" fmla="*/ 60 h 96"/>
              <a:gd name="T122" fmla="*/ 0 w 150"/>
              <a:gd name="T123" fmla="*/ 60 h 96"/>
              <a:gd name="T124" fmla="*/ 0 w 150"/>
              <a:gd name="T125" fmla="*/ 54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50" h="96">
                <a:moveTo>
                  <a:pt x="0" y="54"/>
                </a:move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12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2"/>
                </a:lnTo>
                <a:lnTo>
                  <a:pt x="18" y="12"/>
                </a:lnTo>
                <a:lnTo>
                  <a:pt x="24" y="12"/>
                </a:lnTo>
                <a:lnTo>
                  <a:pt x="24" y="18"/>
                </a:lnTo>
                <a:lnTo>
                  <a:pt x="24" y="12"/>
                </a:lnTo>
                <a:lnTo>
                  <a:pt x="24" y="12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8" y="18"/>
                </a:lnTo>
                <a:lnTo>
                  <a:pt x="48" y="12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60" y="12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72" y="6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84" y="6"/>
                </a:lnTo>
                <a:lnTo>
                  <a:pt x="84" y="6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6"/>
                </a:lnTo>
                <a:lnTo>
                  <a:pt x="84" y="6"/>
                </a:lnTo>
                <a:lnTo>
                  <a:pt x="90" y="6"/>
                </a:lnTo>
                <a:lnTo>
                  <a:pt x="90" y="6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6" y="12"/>
                </a:lnTo>
                <a:lnTo>
                  <a:pt x="96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30"/>
                </a:lnTo>
                <a:lnTo>
                  <a:pt x="102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6"/>
                </a:lnTo>
                <a:lnTo>
                  <a:pt x="108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6" y="72"/>
                </a:lnTo>
                <a:lnTo>
                  <a:pt x="126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66"/>
                </a:lnTo>
                <a:lnTo>
                  <a:pt x="138" y="72"/>
                </a:lnTo>
                <a:lnTo>
                  <a:pt x="144" y="66"/>
                </a:lnTo>
                <a:lnTo>
                  <a:pt x="144" y="66"/>
                </a:lnTo>
                <a:lnTo>
                  <a:pt x="144" y="66"/>
                </a:lnTo>
                <a:lnTo>
                  <a:pt x="144" y="66"/>
                </a:lnTo>
                <a:lnTo>
                  <a:pt x="144" y="66"/>
                </a:lnTo>
                <a:lnTo>
                  <a:pt x="144" y="66"/>
                </a:lnTo>
                <a:lnTo>
                  <a:pt x="144" y="60"/>
                </a:lnTo>
                <a:lnTo>
                  <a:pt x="144" y="60"/>
                </a:lnTo>
                <a:lnTo>
                  <a:pt x="144" y="60"/>
                </a:lnTo>
                <a:lnTo>
                  <a:pt x="150" y="66"/>
                </a:lnTo>
                <a:lnTo>
                  <a:pt x="150" y="66"/>
                </a:lnTo>
                <a:lnTo>
                  <a:pt x="150" y="66"/>
                </a:lnTo>
                <a:lnTo>
                  <a:pt x="150" y="66"/>
                </a:lnTo>
                <a:lnTo>
                  <a:pt x="150" y="66"/>
                </a:lnTo>
                <a:lnTo>
                  <a:pt x="144" y="72"/>
                </a:lnTo>
                <a:lnTo>
                  <a:pt x="144" y="72"/>
                </a:lnTo>
                <a:lnTo>
                  <a:pt x="144" y="72"/>
                </a:lnTo>
                <a:lnTo>
                  <a:pt x="144" y="72"/>
                </a:lnTo>
                <a:lnTo>
                  <a:pt x="144" y="72"/>
                </a:lnTo>
                <a:lnTo>
                  <a:pt x="144" y="72"/>
                </a:lnTo>
                <a:lnTo>
                  <a:pt x="144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84"/>
                </a:lnTo>
                <a:lnTo>
                  <a:pt x="132" y="84"/>
                </a:lnTo>
                <a:lnTo>
                  <a:pt x="132" y="84"/>
                </a:lnTo>
                <a:lnTo>
                  <a:pt x="132" y="84"/>
                </a:lnTo>
                <a:lnTo>
                  <a:pt x="132" y="84"/>
                </a:lnTo>
                <a:lnTo>
                  <a:pt x="126" y="84"/>
                </a:lnTo>
                <a:lnTo>
                  <a:pt x="126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90"/>
                </a:lnTo>
                <a:lnTo>
                  <a:pt x="114" y="90"/>
                </a:lnTo>
                <a:lnTo>
                  <a:pt x="114" y="90"/>
                </a:lnTo>
                <a:lnTo>
                  <a:pt x="114" y="90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90"/>
                </a:lnTo>
                <a:lnTo>
                  <a:pt x="108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96"/>
                </a:lnTo>
                <a:lnTo>
                  <a:pt x="102" y="96"/>
                </a:lnTo>
                <a:lnTo>
                  <a:pt x="96" y="90"/>
                </a:lnTo>
                <a:lnTo>
                  <a:pt x="96" y="96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0" y="90"/>
                </a:lnTo>
                <a:lnTo>
                  <a:pt x="90" y="96"/>
                </a:lnTo>
                <a:lnTo>
                  <a:pt x="90" y="96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78" y="90"/>
                </a:lnTo>
                <a:lnTo>
                  <a:pt x="78" y="90"/>
                </a:lnTo>
                <a:lnTo>
                  <a:pt x="78" y="96"/>
                </a:lnTo>
                <a:lnTo>
                  <a:pt x="78" y="96"/>
                </a:lnTo>
                <a:lnTo>
                  <a:pt x="78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66" y="90"/>
                </a:lnTo>
                <a:lnTo>
                  <a:pt x="66" y="90"/>
                </a:lnTo>
                <a:lnTo>
                  <a:pt x="66" y="84"/>
                </a:lnTo>
                <a:lnTo>
                  <a:pt x="66" y="90"/>
                </a:lnTo>
                <a:lnTo>
                  <a:pt x="60" y="90"/>
                </a:lnTo>
                <a:lnTo>
                  <a:pt x="60" y="90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2" y="96"/>
                </a:lnTo>
                <a:lnTo>
                  <a:pt x="42" y="96"/>
                </a:lnTo>
                <a:lnTo>
                  <a:pt x="48" y="96"/>
                </a:lnTo>
                <a:lnTo>
                  <a:pt x="48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36" y="90"/>
                </a:lnTo>
                <a:lnTo>
                  <a:pt x="42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0" y="84"/>
                </a:lnTo>
                <a:lnTo>
                  <a:pt x="30" y="78"/>
                </a:lnTo>
                <a:lnTo>
                  <a:pt x="30" y="84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18" y="78"/>
                </a:lnTo>
                <a:lnTo>
                  <a:pt x="18" y="78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6" y="72"/>
                </a:lnTo>
                <a:lnTo>
                  <a:pt x="6" y="72"/>
                </a:lnTo>
                <a:lnTo>
                  <a:pt x="12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72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11" name="Freeform 444"/>
          <p:cNvSpPr>
            <a:spLocks/>
          </p:cNvSpPr>
          <p:nvPr/>
        </p:nvSpPr>
        <p:spPr bwMode="auto">
          <a:xfrm>
            <a:off x="6447139" y="4783838"/>
            <a:ext cx="199146" cy="154178"/>
          </a:xfrm>
          <a:custGeom>
            <a:avLst/>
            <a:gdLst>
              <a:gd name="T0" fmla="*/ 6 w 186"/>
              <a:gd name="T1" fmla="*/ 90 h 144"/>
              <a:gd name="T2" fmla="*/ 12 w 186"/>
              <a:gd name="T3" fmla="*/ 84 h 144"/>
              <a:gd name="T4" fmla="*/ 12 w 186"/>
              <a:gd name="T5" fmla="*/ 60 h 144"/>
              <a:gd name="T6" fmla="*/ 18 w 186"/>
              <a:gd name="T7" fmla="*/ 60 h 144"/>
              <a:gd name="T8" fmla="*/ 24 w 186"/>
              <a:gd name="T9" fmla="*/ 54 h 144"/>
              <a:gd name="T10" fmla="*/ 18 w 186"/>
              <a:gd name="T11" fmla="*/ 42 h 144"/>
              <a:gd name="T12" fmla="*/ 6 w 186"/>
              <a:gd name="T13" fmla="*/ 42 h 144"/>
              <a:gd name="T14" fmla="*/ 6 w 186"/>
              <a:gd name="T15" fmla="*/ 30 h 144"/>
              <a:gd name="T16" fmla="*/ 24 w 186"/>
              <a:gd name="T17" fmla="*/ 24 h 144"/>
              <a:gd name="T18" fmla="*/ 54 w 186"/>
              <a:gd name="T19" fmla="*/ 30 h 144"/>
              <a:gd name="T20" fmla="*/ 72 w 186"/>
              <a:gd name="T21" fmla="*/ 36 h 144"/>
              <a:gd name="T22" fmla="*/ 84 w 186"/>
              <a:gd name="T23" fmla="*/ 30 h 144"/>
              <a:gd name="T24" fmla="*/ 84 w 186"/>
              <a:gd name="T25" fmla="*/ 18 h 144"/>
              <a:gd name="T26" fmla="*/ 84 w 186"/>
              <a:gd name="T27" fmla="*/ 6 h 144"/>
              <a:gd name="T28" fmla="*/ 78 w 186"/>
              <a:gd name="T29" fmla="*/ 0 h 144"/>
              <a:gd name="T30" fmla="*/ 90 w 186"/>
              <a:gd name="T31" fmla="*/ 6 h 144"/>
              <a:gd name="T32" fmla="*/ 102 w 186"/>
              <a:gd name="T33" fmla="*/ 0 h 144"/>
              <a:gd name="T34" fmla="*/ 108 w 186"/>
              <a:gd name="T35" fmla="*/ 0 h 144"/>
              <a:gd name="T36" fmla="*/ 120 w 186"/>
              <a:gd name="T37" fmla="*/ 0 h 144"/>
              <a:gd name="T38" fmla="*/ 114 w 186"/>
              <a:gd name="T39" fmla="*/ 6 h 144"/>
              <a:gd name="T40" fmla="*/ 120 w 186"/>
              <a:gd name="T41" fmla="*/ 18 h 144"/>
              <a:gd name="T42" fmla="*/ 132 w 186"/>
              <a:gd name="T43" fmla="*/ 18 h 144"/>
              <a:gd name="T44" fmla="*/ 156 w 186"/>
              <a:gd name="T45" fmla="*/ 36 h 144"/>
              <a:gd name="T46" fmla="*/ 162 w 186"/>
              <a:gd name="T47" fmla="*/ 36 h 144"/>
              <a:gd name="T48" fmla="*/ 168 w 186"/>
              <a:gd name="T49" fmla="*/ 48 h 144"/>
              <a:gd name="T50" fmla="*/ 180 w 186"/>
              <a:gd name="T51" fmla="*/ 48 h 144"/>
              <a:gd name="T52" fmla="*/ 180 w 186"/>
              <a:gd name="T53" fmla="*/ 54 h 144"/>
              <a:gd name="T54" fmla="*/ 174 w 186"/>
              <a:gd name="T55" fmla="*/ 60 h 144"/>
              <a:gd name="T56" fmla="*/ 168 w 186"/>
              <a:gd name="T57" fmla="*/ 60 h 144"/>
              <a:gd name="T58" fmla="*/ 168 w 186"/>
              <a:gd name="T59" fmla="*/ 66 h 144"/>
              <a:gd name="T60" fmla="*/ 168 w 186"/>
              <a:gd name="T61" fmla="*/ 72 h 144"/>
              <a:gd name="T62" fmla="*/ 168 w 186"/>
              <a:gd name="T63" fmla="*/ 78 h 144"/>
              <a:gd name="T64" fmla="*/ 162 w 186"/>
              <a:gd name="T65" fmla="*/ 84 h 144"/>
              <a:gd name="T66" fmla="*/ 162 w 186"/>
              <a:gd name="T67" fmla="*/ 90 h 144"/>
              <a:gd name="T68" fmla="*/ 156 w 186"/>
              <a:gd name="T69" fmla="*/ 90 h 144"/>
              <a:gd name="T70" fmla="*/ 150 w 186"/>
              <a:gd name="T71" fmla="*/ 96 h 144"/>
              <a:gd name="T72" fmla="*/ 138 w 186"/>
              <a:gd name="T73" fmla="*/ 102 h 144"/>
              <a:gd name="T74" fmla="*/ 132 w 186"/>
              <a:gd name="T75" fmla="*/ 96 h 144"/>
              <a:gd name="T76" fmla="*/ 120 w 186"/>
              <a:gd name="T77" fmla="*/ 102 h 144"/>
              <a:gd name="T78" fmla="*/ 108 w 186"/>
              <a:gd name="T79" fmla="*/ 108 h 144"/>
              <a:gd name="T80" fmla="*/ 96 w 186"/>
              <a:gd name="T81" fmla="*/ 114 h 144"/>
              <a:gd name="T82" fmla="*/ 90 w 186"/>
              <a:gd name="T83" fmla="*/ 108 h 144"/>
              <a:gd name="T84" fmla="*/ 78 w 186"/>
              <a:gd name="T85" fmla="*/ 108 h 144"/>
              <a:gd name="T86" fmla="*/ 78 w 186"/>
              <a:gd name="T87" fmla="*/ 114 h 144"/>
              <a:gd name="T88" fmla="*/ 78 w 186"/>
              <a:gd name="T89" fmla="*/ 120 h 144"/>
              <a:gd name="T90" fmla="*/ 72 w 186"/>
              <a:gd name="T91" fmla="*/ 120 h 144"/>
              <a:gd name="T92" fmla="*/ 72 w 186"/>
              <a:gd name="T93" fmla="*/ 120 h 144"/>
              <a:gd name="T94" fmla="*/ 72 w 186"/>
              <a:gd name="T95" fmla="*/ 120 h 144"/>
              <a:gd name="T96" fmla="*/ 66 w 186"/>
              <a:gd name="T97" fmla="*/ 120 h 144"/>
              <a:gd name="T98" fmla="*/ 60 w 186"/>
              <a:gd name="T99" fmla="*/ 120 h 144"/>
              <a:gd name="T100" fmla="*/ 54 w 186"/>
              <a:gd name="T101" fmla="*/ 126 h 144"/>
              <a:gd name="T102" fmla="*/ 48 w 186"/>
              <a:gd name="T103" fmla="*/ 132 h 144"/>
              <a:gd name="T104" fmla="*/ 42 w 186"/>
              <a:gd name="T105" fmla="*/ 138 h 144"/>
              <a:gd name="T106" fmla="*/ 36 w 186"/>
              <a:gd name="T107" fmla="*/ 144 h 144"/>
              <a:gd name="T108" fmla="*/ 30 w 186"/>
              <a:gd name="T109" fmla="*/ 144 h 144"/>
              <a:gd name="T110" fmla="*/ 24 w 186"/>
              <a:gd name="T111" fmla="*/ 132 h 144"/>
              <a:gd name="T112" fmla="*/ 18 w 186"/>
              <a:gd name="T113" fmla="*/ 120 h 144"/>
              <a:gd name="T114" fmla="*/ 24 w 186"/>
              <a:gd name="T115" fmla="*/ 102 h 144"/>
              <a:gd name="T116" fmla="*/ 12 w 186"/>
              <a:gd name="T117" fmla="*/ 102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86" h="144">
                <a:moveTo>
                  <a:pt x="6" y="96"/>
                </a:moveTo>
                <a:lnTo>
                  <a:pt x="0" y="96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78"/>
                </a:lnTo>
                <a:lnTo>
                  <a:pt x="12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12" y="72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54"/>
                </a:lnTo>
                <a:lnTo>
                  <a:pt x="18" y="60"/>
                </a:lnTo>
                <a:lnTo>
                  <a:pt x="18" y="54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54"/>
                </a:lnTo>
                <a:lnTo>
                  <a:pt x="24" y="54"/>
                </a:lnTo>
                <a:lnTo>
                  <a:pt x="30" y="54"/>
                </a:lnTo>
                <a:lnTo>
                  <a:pt x="24" y="54"/>
                </a:lnTo>
                <a:lnTo>
                  <a:pt x="24" y="48"/>
                </a:lnTo>
                <a:lnTo>
                  <a:pt x="24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2" y="48"/>
                </a:lnTo>
                <a:lnTo>
                  <a:pt x="18" y="48"/>
                </a:lnTo>
                <a:lnTo>
                  <a:pt x="12" y="48"/>
                </a:lnTo>
                <a:lnTo>
                  <a:pt x="18" y="48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6" y="36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0" y="36"/>
                </a:lnTo>
                <a:lnTo>
                  <a:pt x="0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30" y="24"/>
                </a:lnTo>
                <a:lnTo>
                  <a:pt x="30" y="24"/>
                </a:lnTo>
                <a:lnTo>
                  <a:pt x="36" y="24"/>
                </a:lnTo>
                <a:lnTo>
                  <a:pt x="36" y="24"/>
                </a:lnTo>
                <a:lnTo>
                  <a:pt x="42" y="24"/>
                </a:lnTo>
                <a:lnTo>
                  <a:pt x="42" y="24"/>
                </a:lnTo>
                <a:lnTo>
                  <a:pt x="48" y="24"/>
                </a:lnTo>
                <a:lnTo>
                  <a:pt x="48" y="24"/>
                </a:lnTo>
                <a:lnTo>
                  <a:pt x="54" y="24"/>
                </a:lnTo>
                <a:lnTo>
                  <a:pt x="54" y="24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60" y="30"/>
                </a:lnTo>
                <a:lnTo>
                  <a:pt x="60" y="30"/>
                </a:lnTo>
                <a:lnTo>
                  <a:pt x="60" y="36"/>
                </a:lnTo>
                <a:lnTo>
                  <a:pt x="60" y="36"/>
                </a:lnTo>
                <a:lnTo>
                  <a:pt x="66" y="36"/>
                </a:lnTo>
                <a:lnTo>
                  <a:pt x="66" y="42"/>
                </a:lnTo>
                <a:lnTo>
                  <a:pt x="66" y="42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72" y="36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6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84" y="30"/>
                </a:lnTo>
                <a:lnTo>
                  <a:pt x="78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90" y="30"/>
                </a:lnTo>
                <a:lnTo>
                  <a:pt x="84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78" y="6"/>
                </a:lnTo>
                <a:lnTo>
                  <a:pt x="78" y="6"/>
                </a:lnTo>
                <a:lnTo>
                  <a:pt x="84" y="6"/>
                </a:lnTo>
                <a:lnTo>
                  <a:pt x="78" y="6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84" y="0"/>
                </a:lnTo>
                <a:lnTo>
                  <a:pt x="78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6" y="6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14" y="0"/>
                </a:lnTo>
                <a:lnTo>
                  <a:pt x="114" y="0"/>
                </a:lnTo>
                <a:lnTo>
                  <a:pt x="114" y="0"/>
                </a:lnTo>
                <a:lnTo>
                  <a:pt x="114" y="0"/>
                </a:lnTo>
                <a:lnTo>
                  <a:pt x="114" y="0"/>
                </a:lnTo>
                <a:lnTo>
                  <a:pt x="114" y="0"/>
                </a:lnTo>
                <a:lnTo>
                  <a:pt x="120" y="0"/>
                </a:lnTo>
                <a:lnTo>
                  <a:pt x="120" y="0"/>
                </a:lnTo>
                <a:lnTo>
                  <a:pt x="120" y="0"/>
                </a:lnTo>
                <a:lnTo>
                  <a:pt x="120" y="0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8" y="18"/>
                </a:lnTo>
                <a:lnTo>
                  <a:pt x="144" y="30"/>
                </a:lnTo>
                <a:lnTo>
                  <a:pt x="144" y="30"/>
                </a:lnTo>
                <a:lnTo>
                  <a:pt x="144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8" y="42"/>
                </a:lnTo>
                <a:lnTo>
                  <a:pt x="168" y="42"/>
                </a:lnTo>
                <a:lnTo>
                  <a:pt x="168" y="42"/>
                </a:lnTo>
                <a:lnTo>
                  <a:pt x="168" y="42"/>
                </a:lnTo>
                <a:lnTo>
                  <a:pt x="168" y="42"/>
                </a:lnTo>
                <a:lnTo>
                  <a:pt x="168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80" y="48"/>
                </a:lnTo>
                <a:lnTo>
                  <a:pt x="180" y="48"/>
                </a:lnTo>
                <a:lnTo>
                  <a:pt x="180" y="48"/>
                </a:lnTo>
                <a:lnTo>
                  <a:pt x="180" y="48"/>
                </a:lnTo>
                <a:lnTo>
                  <a:pt x="180" y="48"/>
                </a:lnTo>
                <a:lnTo>
                  <a:pt x="180" y="48"/>
                </a:lnTo>
                <a:lnTo>
                  <a:pt x="180" y="48"/>
                </a:lnTo>
                <a:lnTo>
                  <a:pt x="180" y="54"/>
                </a:lnTo>
                <a:lnTo>
                  <a:pt x="180" y="54"/>
                </a:lnTo>
                <a:lnTo>
                  <a:pt x="180" y="54"/>
                </a:lnTo>
                <a:lnTo>
                  <a:pt x="180" y="54"/>
                </a:lnTo>
                <a:lnTo>
                  <a:pt x="180" y="54"/>
                </a:lnTo>
                <a:lnTo>
                  <a:pt x="180" y="54"/>
                </a:lnTo>
                <a:lnTo>
                  <a:pt x="186" y="54"/>
                </a:lnTo>
                <a:lnTo>
                  <a:pt x="186" y="54"/>
                </a:lnTo>
                <a:lnTo>
                  <a:pt x="180" y="54"/>
                </a:lnTo>
                <a:lnTo>
                  <a:pt x="180" y="54"/>
                </a:lnTo>
                <a:lnTo>
                  <a:pt x="180" y="54"/>
                </a:lnTo>
                <a:lnTo>
                  <a:pt x="180" y="54"/>
                </a:lnTo>
                <a:lnTo>
                  <a:pt x="180" y="54"/>
                </a:lnTo>
                <a:lnTo>
                  <a:pt x="180" y="54"/>
                </a:lnTo>
                <a:lnTo>
                  <a:pt x="180" y="54"/>
                </a:lnTo>
                <a:lnTo>
                  <a:pt x="180" y="54"/>
                </a:lnTo>
                <a:lnTo>
                  <a:pt x="174" y="54"/>
                </a:lnTo>
                <a:lnTo>
                  <a:pt x="174" y="54"/>
                </a:lnTo>
                <a:lnTo>
                  <a:pt x="174" y="54"/>
                </a:lnTo>
                <a:lnTo>
                  <a:pt x="174" y="54"/>
                </a:lnTo>
                <a:lnTo>
                  <a:pt x="174" y="54"/>
                </a:lnTo>
                <a:lnTo>
                  <a:pt x="174" y="60"/>
                </a:lnTo>
                <a:lnTo>
                  <a:pt x="174" y="60"/>
                </a:lnTo>
                <a:lnTo>
                  <a:pt x="174" y="60"/>
                </a:lnTo>
                <a:lnTo>
                  <a:pt x="174" y="60"/>
                </a:lnTo>
                <a:lnTo>
                  <a:pt x="174" y="60"/>
                </a:lnTo>
                <a:lnTo>
                  <a:pt x="174" y="60"/>
                </a:lnTo>
                <a:lnTo>
                  <a:pt x="174" y="60"/>
                </a:lnTo>
                <a:lnTo>
                  <a:pt x="174" y="60"/>
                </a:lnTo>
                <a:lnTo>
                  <a:pt x="174" y="60"/>
                </a:lnTo>
                <a:lnTo>
                  <a:pt x="174" y="60"/>
                </a:lnTo>
                <a:lnTo>
                  <a:pt x="168" y="60"/>
                </a:lnTo>
                <a:lnTo>
                  <a:pt x="168" y="60"/>
                </a:lnTo>
                <a:lnTo>
                  <a:pt x="174" y="60"/>
                </a:lnTo>
                <a:lnTo>
                  <a:pt x="174" y="60"/>
                </a:lnTo>
                <a:lnTo>
                  <a:pt x="174" y="60"/>
                </a:lnTo>
                <a:lnTo>
                  <a:pt x="174" y="60"/>
                </a:lnTo>
                <a:lnTo>
                  <a:pt x="168" y="60"/>
                </a:lnTo>
                <a:lnTo>
                  <a:pt x="168" y="60"/>
                </a:lnTo>
                <a:lnTo>
                  <a:pt x="168" y="60"/>
                </a:lnTo>
                <a:lnTo>
                  <a:pt x="168" y="60"/>
                </a:lnTo>
                <a:lnTo>
                  <a:pt x="174" y="60"/>
                </a:lnTo>
                <a:lnTo>
                  <a:pt x="168" y="66"/>
                </a:lnTo>
                <a:lnTo>
                  <a:pt x="168" y="66"/>
                </a:lnTo>
                <a:lnTo>
                  <a:pt x="168" y="66"/>
                </a:lnTo>
                <a:lnTo>
                  <a:pt x="168" y="66"/>
                </a:lnTo>
                <a:lnTo>
                  <a:pt x="168" y="66"/>
                </a:lnTo>
                <a:lnTo>
                  <a:pt x="168" y="66"/>
                </a:lnTo>
                <a:lnTo>
                  <a:pt x="168" y="66"/>
                </a:lnTo>
                <a:lnTo>
                  <a:pt x="168" y="66"/>
                </a:lnTo>
                <a:lnTo>
                  <a:pt x="168" y="66"/>
                </a:lnTo>
                <a:lnTo>
                  <a:pt x="168" y="66"/>
                </a:lnTo>
                <a:lnTo>
                  <a:pt x="168" y="66"/>
                </a:lnTo>
                <a:lnTo>
                  <a:pt x="168" y="66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8"/>
                </a:lnTo>
                <a:lnTo>
                  <a:pt x="168" y="78"/>
                </a:lnTo>
                <a:lnTo>
                  <a:pt x="168" y="78"/>
                </a:lnTo>
                <a:lnTo>
                  <a:pt x="168" y="78"/>
                </a:lnTo>
                <a:lnTo>
                  <a:pt x="168" y="78"/>
                </a:lnTo>
                <a:lnTo>
                  <a:pt x="168" y="78"/>
                </a:lnTo>
                <a:lnTo>
                  <a:pt x="168" y="78"/>
                </a:lnTo>
                <a:lnTo>
                  <a:pt x="168" y="78"/>
                </a:lnTo>
                <a:lnTo>
                  <a:pt x="168" y="78"/>
                </a:lnTo>
                <a:lnTo>
                  <a:pt x="162" y="78"/>
                </a:lnTo>
                <a:lnTo>
                  <a:pt x="168" y="78"/>
                </a:lnTo>
                <a:lnTo>
                  <a:pt x="162" y="78"/>
                </a:lnTo>
                <a:lnTo>
                  <a:pt x="162" y="84"/>
                </a:lnTo>
                <a:lnTo>
                  <a:pt x="162" y="84"/>
                </a:lnTo>
                <a:lnTo>
                  <a:pt x="162" y="84"/>
                </a:lnTo>
                <a:lnTo>
                  <a:pt x="162" y="84"/>
                </a:lnTo>
                <a:lnTo>
                  <a:pt x="162" y="84"/>
                </a:lnTo>
                <a:lnTo>
                  <a:pt x="162" y="84"/>
                </a:lnTo>
                <a:lnTo>
                  <a:pt x="162" y="84"/>
                </a:lnTo>
                <a:lnTo>
                  <a:pt x="162" y="84"/>
                </a:lnTo>
                <a:lnTo>
                  <a:pt x="162" y="84"/>
                </a:lnTo>
                <a:lnTo>
                  <a:pt x="162" y="84"/>
                </a:lnTo>
                <a:lnTo>
                  <a:pt x="162" y="84"/>
                </a:lnTo>
                <a:lnTo>
                  <a:pt x="162" y="84"/>
                </a:lnTo>
                <a:lnTo>
                  <a:pt x="162" y="84"/>
                </a:lnTo>
                <a:lnTo>
                  <a:pt x="162" y="84"/>
                </a:lnTo>
                <a:lnTo>
                  <a:pt x="162" y="84"/>
                </a:lnTo>
                <a:lnTo>
                  <a:pt x="162" y="84"/>
                </a:lnTo>
                <a:lnTo>
                  <a:pt x="162" y="90"/>
                </a:lnTo>
                <a:lnTo>
                  <a:pt x="162" y="90"/>
                </a:lnTo>
                <a:lnTo>
                  <a:pt x="162" y="90"/>
                </a:lnTo>
                <a:lnTo>
                  <a:pt x="162" y="90"/>
                </a:lnTo>
                <a:lnTo>
                  <a:pt x="162" y="90"/>
                </a:lnTo>
                <a:lnTo>
                  <a:pt x="162" y="90"/>
                </a:lnTo>
                <a:lnTo>
                  <a:pt x="162" y="90"/>
                </a:lnTo>
                <a:lnTo>
                  <a:pt x="156" y="90"/>
                </a:lnTo>
                <a:lnTo>
                  <a:pt x="156" y="90"/>
                </a:lnTo>
                <a:lnTo>
                  <a:pt x="156" y="90"/>
                </a:lnTo>
                <a:lnTo>
                  <a:pt x="156" y="90"/>
                </a:lnTo>
                <a:lnTo>
                  <a:pt x="156" y="90"/>
                </a:lnTo>
                <a:lnTo>
                  <a:pt x="156" y="90"/>
                </a:lnTo>
                <a:lnTo>
                  <a:pt x="156" y="90"/>
                </a:lnTo>
                <a:lnTo>
                  <a:pt x="156" y="90"/>
                </a:lnTo>
                <a:lnTo>
                  <a:pt x="156" y="90"/>
                </a:lnTo>
                <a:lnTo>
                  <a:pt x="156" y="90"/>
                </a:lnTo>
                <a:lnTo>
                  <a:pt x="156" y="90"/>
                </a:lnTo>
                <a:lnTo>
                  <a:pt x="156" y="90"/>
                </a:lnTo>
                <a:lnTo>
                  <a:pt x="156" y="90"/>
                </a:lnTo>
                <a:lnTo>
                  <a:pt x="156" y="90"/>
                </a:lnTo>
                <a:lnTo>
                  <a:pt x="156" y="90"/>
                </a:lnTo>
                <a:lnTo>
                  <a:pt x="156" y="96"/>
                </a:lnTo>
                <a:lnTo>
                  <a:pt x="156" y="96"/>
                </a:lnTo>
                <a:lnTo>
                  <a:pt x="156" y="96"/>
                </a:lnTo>
                <a:lnTo>
                  <a:pt x="156" y="96"/>
                </a:lnTo>
                <a:lnTo>
                  <a:pt x="156" y="96"/>
                </a:lnTo>
                <a:lnTo>
                  <a:pt x="156" y="96"/>
                </a:lnTo>
                <a:lnTo>
                  <a:pt x="156" y="96"/>
                </a:lnTo>
                <a:lnTo>
                  <a:pt x="156" y="96"/>
                </a:lnTo>
                <a:lnTo>
                  <a:pt x="150" y="96"/>
                </a:lnTo>
                <a:lnTo>
                  <a:pt x="150" y="96"/>
                </a:lnTo>
                <a:lnTo>
                  <a:pt x="150" y="96"/>
                </a:lnTo>
                <a:lnTo>
                  <a:pt x="150" y="96"/>
                </a:lnTo>
                <a:lnTo>
                  <a:pt x="150" y="96"/>
                </a:lnTo>
                <a:lnTo>
                  <a:pt x="150" y="96"/>
                </a:lnTo>
                <a:lnTo>
                  <a:pt x="144" y="96"/>
                </a:lnTo>
                <a:lnTo>
                  <a:pt x="144" y="96"/>
                </a:lnTo>
                <a:lnTo>
                  <a:pt x="144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2" y="96"/>
                </a:lnTo>
                <a:lnTo>
                  <a:pt x="132" y="96"/>
                </a:lnTo>
                <a:lnTo>
                  <a:pt x="132" y="96"/>
                </a:lnTo>
                <a:lnTo>
                  <a:pt x="132" y="96"/>
                </a:lnTo>
                <a:lnTo>
                  <a:pt x="132" y="96"/>
                </a:lnTo>
                <a:lnTo>
                  <a:pt x="132" y="96"/>
                </a:lnTo>
                <a:lnTo>
                  <a:pt x="132" y="96"/>
                </a:lnTo>
                <a:lnTo>
                  <a:pt x="132" y="96"/>
                </a:lnTo>
                <a:lnTo>
                  <a:pt x="132" y="96"/>
                </a:lnTo>
                <a:lnTo>
                  <a:pt x="126" y="96"/>
                </a:lnTo>
                <a:lnTo>
                  <a:pt x="126" y="96"/>
                </a:lnTo>
                <a:lnTo>
                  <a:pt x="126" y="96"/>
                </a:lnTo>
                <a:lnTo>
                  <a:pt x="126" y="96"/>
                </a:lnTo>
                <a:lnTo>
                  <a:pt x="126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102"/>
                </a:lnTo>
                <a:lnTo>
                  <a:pt x="120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14"/>
                </a:lnTo>
                <a:lnTo>
                  <a:pt x="102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2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2" y="120"/>
                </a:lnTo>
                <a:lnTo>
                  <a:pt x="72" y="120"/>
                </a:lnTo>
                <a:lnTo>
                  <a:pt x="78" y="120"/>
                </a:lnTo>
                <a:lnTo>
                  <a:pt x="78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72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0" y="120"/>
                </a:lnTo>
                <a:lnTo>
                  <a:pt x="66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54" y="126"/>
                </a:lnTo>
                <a:lnTo>
                  <a:pt x="54" y="126"/>
                </a:lnTo>
                <a:lnTo>
                  <a:pt x="54" y="126"/>
                </a:lnTo>
                <a:lnTo>
                  <a:pt x="54" y="126"/>
                </a:lnTo>
                <a:lnTo>
                  <a:pt x="54" y="126"/>
                </a:lnTo>
                <a:lnTo>
                  <a:pt x="54" y="126"/>
                </a:lnTo>
                <a:lnTo>
                  <a:pt x="54" y="126"/>
                </a:lnTo>
                <a:lnTo>
                  <a:pt x="54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32"/>
                </a:lnTo>
                <a:lnTo>
                  <a:pt x="48" y="132"/>
                </a:lnTo>
                <a:lnTo>
                  <a:pt x="48" y="126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36" y="144"/>
                </a:lnTo>
                <a:lnTo>
                  <a:pt x="36" y="144"/>
                </a:lnTo>
                <a:lnTo>
                  <a:pt x="36" y="144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44"/>
                </a:lnTo>
                <a:lnTo>
                  <a:pt x="36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30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18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18" y="126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8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12" name="Freeform 445"/>
          <p:cNvSpPr>
            <a:spLocks/>
          </p:cNvSpPr>
          <p:nvPr/>
        </p:nvSpPr>
        <p:spPr bwMode="auto">
          <a:xfrm>
            <a:off x="6235145" y="4777414"/>
            <a:ext cx="128481" cy="128482"/>
          </a:xfrm>
          <a:custGeom>
            <a:avLst/>
            <a:gdLst>
              <a:gd name="T0" fmla="*/ 6 w 120"/>
              <a:gd name="T1" fmla="*/ 60 h 120"/>
              <a:gd name="T2" fmla="*/ 6 w 120"/>
              <a:gd name="T3" fmla="*/ 54 h 120"/>
              <a:gd name="T4" fmla="*/ 6 w 120"/>
              <a:gd name="T5" fmla="*/ 54 h 120"/>
              <a:gd name="T6" fmla="*/ 12 w 120"/>
              <a:gd name="T7" fmla="*/ 48 h 120"/>
              <a:gd name="T8" fmla="*/ 12 w 120"/>
              <a:gd name="T9" fmla="*/ 48 h 120"/>
              <a:gd name="T10" fmla="*/ 18 w 120"/>
              <a:gd name="T11" fmla="*/ 42 h 120"/>
              <a:gd name="T12" fmla="*/ 24 w 120"/>
              <a:gd name="T13" fmla="*/ 42 h 120"/>
              <a:gd name="T14" fmla="*/ 24 w 120"/>
              <a:gd name="T15" fmla="*/ 36 h 120"/>
              <a:gd name="T16" fmla="*/ 24 w 120"/>
              <a:gd name="T17" fmla="*/ 36 h 120"/>
              <a:gd name="T18" fmla="*/ 24 w 120"/>
              <a:gd name="T19" fmla="*/ 30 h 120"/>
              <a:gd name="T20" fmla="*/ 24 w 120"/>
              <a:gd name="T21" fmla="*/ 24 h 120"/>
              <a:gd name="T22" fmla="*/ 24 w 120"/>
              <a:gd name="T23" fmla="*/ 18 h 120"/>
              <a:gd name="T24" fmla="*/ 24 w 120"/>
              <a:gd name="T25" fmla="*/ 12 h 120"/>
              <a:gd name="T26" fmla="*/ 18 w 120"/>
              <a:gd name="T27" fmla="*/ 12 h 120"/>
              <a:gd name="T28" fmla="*/ 18 w 120"/>
              <a:gd name="T29" fmla="*/ 6 h 120"/>
              <a:gd name="T30" fmla="*/ 24 w 120"/>
              <a:gd name="T31" fmla="*/ 6 h 120"/>
              <a:gd name="T32" fmla="*/ 30 w 120"/>
              <a:gd name="T33" fmla="*/ 0 h 120"/>
              <a:gd name="T34" fmla="*/ 42 w 120"/>
              <a:gd name="T35" fmla="*/ 6 h 120"/>
              <a:gd name="T36" fmla="*/ 60 w 120"/>
              <a:gd name="T37" fmla="*/ 0 h 120"/>
              <a:gd name="T38" fmla="*/ 72 w 120"/>
              <a:gd name="T39" fmla="*/ 0 h 120"/>
              <a:gd name="T40" fmla="*/ 84 w 120"/>
              <a:gd name="T41" fmla="*/ 0 h 120"/>
              <a:gd name="T42" fmla="*/ 84 w 120"/>
              <a:gd name="T43" fmla="*/ 6 h 120"/>
              <a:gd name="T44" fmla="*/ 84 w 120"/>
              <a:gd name="T45" fmla="*/ 12 h 120"/>
              <a:gd name="T46" fmla="*/ 90 w 120"/>
              <a:gd name="T47" fmla="*/ 12 h 120"/>
              <a:gd name="T48" fmla="*/ 90 w 120"/>
              <a:gd name="T49" fmla="*/ 18 h 120"/>
              <a:gd name="T50" fmla="*/ 90 w 120"/>
              <a:gd name="T51" fmla="*/ 24 h 120"/>
              <a:gd name="T52" fmla="*/ 96 w 120"/>
              <a:gd name="T53" fmla="*/ 30 h 120"/>
              <a:gd name="T54" fmla="*/ 96 w 120"/>
              <a:gd name="T55" fmla="*/ 30 h 120"/>
              <a:gd name="T56" fmla="*/ 102 w 120"/>
              <a:gd name="T57" fmla="*/ 36 h 120"/>
              <a:gd name="T58" fmla="*/ 102 w 120"/>
              <a:gd name="T59" fmla="*/ 36 h 120"/>
              <a:gd name="T60" fmla="*/ 108 w 120"/>
              <a:gd name="T61" fmla="*/ 42 h 120"/>
              <a:gd name="T62" fmla="*/ 102 w 120"/>
              <a:gd name="T63" fmla="*/ 48 h 120"/>
              <a:gd name="T64" fmla="*/ 102 w 120"/>
              <a:gd name="T65" fmla="*/ 54 h 120"/>
              <a:gd name="T66" fmla="*/ 96 w 120"/>
              <a:gd name="T67" fmla="*/ 60 h 120"/>
              <a:gd name="T68" fmla="*/ 102 w 120"/>
              <a:gd name="T69" fmla="*/ 72 h 120"/>
              <a:gd name="T70" fmla="*/ 108 w 120"/>
              <a:gd name="T71" fmla="*/ 78 h 120"/>
              <a:gd name="T72" fmla="*/ 114 w 120"/>
              <a:gd name="T73" fmla="*/ 90 h 120"/>
              <a:gd name="T74" fmla="*/ 120 w 120"/>
              <a:gd name="T75" fmla="*/ 96 h 120"/>
              <a:gd name="T76" fmla="*/ 120 w 120"/>
              <a:gd name="T77" fmla="*/ 102 h 120"/>
              <a:gd name="T78" fmla="*/ 114 w 120"/>
              <a:gd name="T79" fmla="*/ 108 h 120"/>
              <a:gd name="T80" fmla="*/ 114 w 120"/>
              <a:gd name="T81" fmla="*/ 114 h 120"/>
              <a:gd name="T82" fmla="*/ 108 w 120"/>
              <a:gd name="T83" fmla="*/ 114 h 120"/>
              <a:gd name="T84" fmla="*/ 96 w 120"/>
              <a:gd name="T85" fmla="*/ 114 h 120"/>
              <a:gd name="T86" fmla="*/ 96 w 120"/>
              <a:gd name="T87" fmla="*/ 120 h 120"/>
              <a:gd name="T88" fmla="*/ 84 w 120"/>
              <a:gd name="T89" fmla="*/ 120 h 120"/>
              <a:gd name="T90" fmla="*/ 84 w 120"/>
              <a:gd name="T91" fmla="*/ 108 h 120"/>
              <a:gd name="T92" fmla="*/ 72 w 120"/>
              <a:gd name="T93" fmla="*/ 108 h 120"/>
              <a:gd name="T94" fmla="*/ 60 w 120"/>
              <a:gd name="T95" fmla="*/ 108 h 120"/>
              <a:gd name="T96" fmla="*/ 60 w 120"/>
              <a:gd name="T97" fmla="*/ 114 h 120"/>
              <a:gd name="T98" fmla="*/ 54 w 120"/>
              <a:gd name="T99" fmla="*/ 102 h 120"/>
              <a:gd name="T100" fmla="*/ 54 w 120"/>
              <a:gd name="T101" fmla="*/ 96 h 120"/>
              <a:gd name="T102" fmla="*/ 42 w 120"/>
              <a:gd name="T103" fmla="*/ 96 h 120"/>
              <a:gd name="T104" fmla="*/ 42 w 120"/>
              <a:gd name="T105" fmla="*/ 108 h 120"/>
              <a:gd name="T106" fmla="*/ 30 w 120"/>
              <a:gd name="T107" fmla="*/ 102 h 120"/>
              <a:gd name="T108" fmla="*/ 18 w 120"/>
              <a:gd name="T109" fmla="*/ 108 h 120"/>
              <a:gd name="T110" fmla="*/ 18 w 120"/>
              <a:gd name="T111" fmla="*/ 102 h 120"/>
              <a:gd name="T112" fmla="*/ 12 w 120"/>
              <a:gd name="T113" fmla="*/ 102 h 120"/>
              <a:gd name="T114" fmla="*/ 12 w 120"/>
              <a:gd name="T115" fmla="*/ 96 h 120"/>
              <a:gd name="T116" fmla="*/ 18 w 120"/>
              <a:gd name="T117" fmla="*/ 90 h 120"/>
              <a:gd name="T118" fmla="*/ 18 w 120"/>
              <a:gd name="T119" fmla="*/ 84 h 120"/>
              <a:gd name="T120" fmla="*/ 18 w 120"/>
              <a:gd name="T121" fmla="*/ 84 h 120"/>
              <a:gd name="T122" fmla="*/ 18 w 120"/>
              <a:gd name="T123" fmla="*/ 78 h 120"/>
              <a:gd name="T124" fmla="*/ 6 w 120"/>
              <a:gd name="T125" fmla="*/ 66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20" h="120">
                <a:moveTo>
                  <a:pt x="0" y="72"/>
                </a:move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6" y="66"/>
                </a:lnTo>
                <a:lnTo>
                  <a:pt x="6" y="66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48"/>
                </a:lnTo>
                <a:lnTo>
                  <a:pt x="6" y="54"/>
                </a:lnTo>
                <a:lnTo>
                  <a:pt x="6" y="48"/>
                </a:lnTo>
                <a:lnTo>
                  <a:pt x="6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48"/>
                </a:lnTo>
                <a:lnTo>
                  <a:pt x="18" y="48"/>
                </a:lnTo>
                <a:lnTo>
                  <a:pt x="18" y="48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24" y="42"/>
                </a:lnTo>
                <a:lnTo>
                  <a:pt x="24" y="42"/>
                </a:lnTo>
                <a:lnTo>
                  <a:pt x="18" y="42"/>
                </a:lnTo>
                <a:lnTo>
                  <a:pt x="18" y="42"/>
                </a:lnTo>
                <a:lnTo>
                  <a:pt x="24" y="42"/>
                </a:lnTo>
                <a:lnTo>
                  <a:pt x="24" y="42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24" y="6"/>
                </a:lnTo>
                <a:lnTo>
                  <a:pt x="24" y="6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42" y="0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0"/>
                </a:lnTo>
                <a:lnTo>
                  <a:pt x="54" y="0"/>
                </a:lnTo>
                <a:lnTo>
                  <a:pt x="54" y="0"/>
                </a:lnTo>
                <a:lnTo>
                  <a:pt x="60" y="0"/>
                </a:lnTo>
                <a:lnTo>
                  <a:pt x="60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90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84" y="18"/>
                </a:lnTo>
                <a:lnTo>
                  <a:pt x="90" y="18"/>
                </a:lnTo>
                <a:lnTo>
                  <a:pt x="90" y="18"/>
                </a:lnTo>
                <a:lnTo>
                  <a:pt x="84" y="18"/>
                </a:lnTo>
                <a:lnTo>
                  <a:pt x="84" y="18"/>
                </a:lnTo>
                <a:lnTo>
                  <a:pt x="90" y="18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6" y="24"/>
                </a:lnTo>
                <a:lnTo>
                  <a:pt x="90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0" y="30"/>
                </a:lnTo>
                <a:lnTo>
                  <a:pt x="90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42"/>
                </a:lnTo>
                <a:lnTo>
                  <a:pt x="102" y="42"/>
                </a:lnTo>
                <a:lnTo>
                  <a:pt x="102" y="42"/>
                </a:lnTo>
                <a:lnTo>
                  <a:pt x="108" y="42"/>
                </a:lnTo>
                <a:lnTo>
                  <a:pt x="108" y="42"/>
                </a:lnTo>
                <a:lnTo>
                  <a:pt x="102" y="42"/>
                </a:lnTo>
                <a:lnTo>
                  <a:pt x="108" y="48"/>
                </a:lnTo>
                <a:lnTo>
                  <a:pt x="108" y="42"/>
                </a:lnTo>
                <a:lnTo>
                  <a:pt x="108" y="48"/>
                </a:lnTo>
                <a:lnTo>
                  <a:pt x="108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0" y="60"/>
                </a:lnTo>
                <a:lnTo>
                  <a:pt x="90" y="60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84"/>
                </a:lnTo>
                <a:lnTo>
                  <a:pt x="108" y="78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14" y="90"/>
                </a:lnTo>
                <a:lnTo>
                  <a:pt x="114" y="90"/>
                </a:lnTo>
                <a:lnTo>
                  <a:pt x="114" y="90"/>
                </a:lnTo>
                <a:lnTo>
                  <a:pt x="114" y="90"/>
                </a:lnTo>
                <a:lnTo>
                  <a:pt x="114" y="90"/>
                </a:lnTo>
                <a:lnTo>
                  <a:pt x="114" y="90"/>
                </a:lnTo>
                <a:lnTo>
                  <a:pt x="114" y="96"/>
                </a:lnTo>
                <a:lnTo>
                  <a:pt x="114" y="96"/>
                </a:lnTo>
                <a:lnTo>
                  <a:pt x="114" y="96"/>
                </a:lnTo>
                <a:lnTo>
                  <a:pt x="114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8"/>
                </a:lnTo>
                <a:lnTo>
                  <a:pt x="114" y="108"/>
                </a:lnTo>
                <a:lnTo>
                  <a:pt x="120" y="108"/>
                </a:lnTo>
                <a:lnTo>
                  <a:pt x="114" y="108"/>
                </a:lnTo>
                <a:lnTo>
                  <a:pt x="114" y="108"/>
                </a:lnTo>
                <a:lnTo>
                  <a:pt x="120" y="108"/>
                </a:lnTo>
                <a:lnTo>
                  <a:pt x="120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8"/>
                </a:lnTo>
                <a:lnTo>
                  <a:pt x="60" y="108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54" y="114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2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18" y="108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8" y="108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96"/>
                </a:lnTo>
                <a:lnTo>
                  <a:pt x="6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0"/>
                </a:lnTo>
                <a:lnTo>
                  <a:pt x="12" y="96"/>
                </a:lnTo>
                <a:lnTo>
                  <a:pt x="12" y="96"/>
                </a:lnTo>
                <a:lnTo>
                  <a:pt x="12" y="90"/>
                </a:lnTo>
                <a:lnTo>
                  <a:pt x="12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2"/>
                </a:lnTo>
                <a:lnTo>
                  <a:pt x="18" y="72"/>
                </a:lnTo>
                <a:lnTo>
                  <a:pt x="12" y="72"/>
                </a:lnTo>
                <a:lnTo>
                  <a:pt x="12" y="72"/>
                </a:lnTo>
                <a:lnTo>
                  <a:pt x="6" y="72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0" y="72"/>
                </a:lnTo>
                <a:lnTo>
                  <a:pt x="0" y="7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13" name="Freeform 446"/>
          <p:cNvSpPr>
            <a:spLocks/>
          </p:cNvSpPr>
          <p:nvPr/>
        </p:nvSpPr>
        <p:spPr bwMode="auto">
          <a:xfrm>
            <a:off x="6781190" y="4944440"/>
            <a:ext cx="96361" cy="77089"/>
          </a:xfrm>
          <a:custGeom>
            <a:avLst/>
            <a:gdLst>
              <a:gd name="T0" fmla="*/ 0 w 90"/>
              <a:gd name="T1" fmla="*/ 6 h 72"/>
              <a:gd name="T2" fmla="*/ 6 w 90"/>
              <a:gd name="T3" fmla="*/ 6 h 72"/>
              <a:gd name="T4" fmla="*/ 12 w 90"/>
              <a:gd name="T5" fmla="*/ 6 h 72"/>
              <a:gd name="T6" fmla="*/ 12 w 90"/>
              <a:gd name="T7" fmla="*/ 0 h 72"/>
              <a:gd name="T8" fmla="*/ 18 w 90"/>
              <a:gd name="T9" fmla="*/ 0 h 72"/>
              <a:gd name="T10" fmla="*/ 24 w 90"/>
              <a:gd name="T11" fmla="*/ 6 h 72"/>
              <a:gd name="T12" fmla="*/ 24 w 90"/>
              <a:gd name="T13" fmla="*/ 6 h 72"/>
              <a:gd name="T14" fmla="*/ 30 w 90"/>
              <a:gd name="T15" fmla="*/ 12 h 72"/>
              <a:gd name="T16" fmla="*/ 42 w 90"/>
              <a:gd name="T17" fmla="*/ 12 h 72"/>
              <a:gd name="T18" fmla="*/ 42 w 90"/>
              <a:gd name="T19" fmla="*/ 6 h 72"/>
              <a:gd name="T20" fmla="*/ 48 w 90"/>
              <a:gd name="T21" fmla="*/ 6 h 72"/>
              <a:gd name="T22" fmla="*/ 66 w 90"/>
              <a:gd name="T23" fmla="*/ 6 h 72"/>
              <a:gd name="T24" fmla="*/ 72 w 90"/>
              <a:gd name="T25" fmla="*/ 12 h 72"/>
              <a:gd name="T26" fmla="*/ 84 w 90"/>
              <a:gd name="T27" fmla="*/ 12 h 72"/>
              <a:gd name="T28" fmla="*/ 84 w 90"/>
              <a:gd name="T29" fmla="*/ 12 h 72"/>
              <a:gd name="T30" fmla="*/ 90 w 90"/>
              <a:gd name="T31" fmla="*/ 18 h 72"/>
              <a:gd name="T32" fmla="*/ 90 w 90"/>
              <a:gd name="T33" fmla="*/ 24 h 72"/>
              <a:gd name="T34" fmla="*/ 90 w 90"/>
              <a:gd name="T35" fmla="*/ 24 h 72"/>
              <a:gd name="T36" fmla="*/ 84 w 90"/>
              <a:gd name="T37" fmla="*/ 30 h 72"/>
              <a:gd name="T38" fmla="*/ 84 w 90"/>
              <a:gd name="T39" fmla="*/ 36 h 72"/>
              <a:gd name="T40" fmla="*/ 78 w 90"/>
              <a:gd name="T41" fmla="*/ 36 h 72"/>
              <a:gd name="T42" fmla="*/ 78 w 90"/>
              <a:gd name="T43" fmla="*/ 42 h 72"/>
              <a:gd name="T44" fmla="*/ 84 w 90"/>
              <a:gd name="T45" fmla="*/ 42 h 72"/>
              <a:gd name="T46" fmla="*/ 90 w 90"/>
              <a:gd name="T47" fmla="*/ 42 h 72"/>
              <a:gd name="T48" fmla="*/ 84 w 90"/>
              <a:gd name="T49" fmla="*/ 48 h 72"/>
              <a:gd name="T50" fmla="*/ 84 w 90"/>
              <a:gd name="T51" fmla="*/ 48 h 72"/>
              <a:gd name="T52" fmla="*/ 84 w 90"/>
              <a:gd name="T53" fmla="*/ 60 h 72"/>
              <a:gd name="T54" fmla="*/ 78 w 90"/>
              <a:gd name="T55" fmla="*/ 66 h 72"/>
              <a:gd name="T56" fmla="*/ 72 w 90"/>
              <a:gd name="T57" fmla="*/ 66 h 72"/>
              <a:gd name="T58" fmla="*/ 72 w 90"/>
              <a:gd name="T59" fmla="*/ 72 h 72"/>
              <a:gd name="T60" fmla="*/ 72 w 90"/>
              <a:gd name="T61" fmla="*/ 72 h 72"/>
              <a:gd name="T62" fmla="*/ 72 w 90"/>
              <a:gd name="T63" fmla="*/ 72 h 72"/>
              <a:gd name="T64" fmla="*/ 66 w 90"/>
              <a:gd name="T65" fmla="*/ 66 h 72"/>
              <a:gd name="T66" fmla="*/ 66 w 90"/>
              <a:gd name="T67" fmla="*/ 66 h 72"/>
              <a:gd name="T68" fmla="*/ 66 w 90"/>
              <a:gd name="T69" fmla="*/ 66 h 72"/>
              <a:gd name="T70" fmla="*/ 66 w 90"/>
              <a:gd name="T71" fmla="*/ 66 h 72"/>
              <a:gd name="T72" fmla="*/ 60 w 90"/>
              <a:gd name="T73" fmla="*/ 66 h 72"/>
              <a:gd name="T74" fmla="*/ 60 w 90"/>
              <a:gd name="T75" fmla="*/ 60 h 72"/>
              <a:gd name="T76" fmla="*/ 60 w 90"/>
              <a:gd name="T77" fmla="*/ 54 h 72"/>
              <a:gd name="T78" fmla="*/ 48 w 90"/>
              <a:gd name="T79" fmla="*/ 60 h 72"/>
              <a:gd name="T80" fmla="*/ 48 w 90"/>
              <a:gd name="T81" fmla="*/ 60 h 72"/>
              <a:gd name="T82" fmla="*/ 48 w 90"/>
              <a:gd name="T83" fmla="*/ 54 h 72"/>
              <a:gd name="T84" fmla="*/ 42 w 90"/>
              <a:gd name="T85" fmla="*/ 54 h 72"/>
              <a:gd name="T86" fmla="*/ 42 w 90"/>
              <a:gd name="T87" fmla="*/ 54 h 72"/>
              <a:gd name="T88" fmla="*/ 36 w 90"/>
              <a:gd name="T89" fmla="*/ 54 h 72"/>
              <a:gd name="T90" fmla="*/ 30 w 90"/>
              <a:gd name="T91" fmla="*/ 54 h 72"/>
              <a:gd name="T92" fmla="*/ 24 w 90"/>
              <a:gd name="T93" fmla="*/ 48 h 72"/>
              <a:gd name="T94" fmla="*/ 24 w 90"/>
              <a:gd name="T95" fmla="*/ 48 h 72"/>
              <a:gd name="T96" fmla="*/ 30 w 90"/>
              <a:gd name="T97" fmla="*/ 42 h 72"/>
              <a:gd name="T98" fmla="*/ 24 w 90"/>
              <a:gd name="T99" fmla="*/ 36 h 72"/>
              <a:gd name="T100" fmla="*/ 24 w 90"/>
              <a:gd name="T101" fmla="*/ 36 h 72"/>
              <a:gd name="T102" fmla="*/ 18 w 90"/>
              <a:gd name="T103" fmla="*/ 36 h 72"/>
              <a:gd name="T104" fmla="*/ 12 w 90"/>
              <a:gd name="T105" fmla="*/ 30 h 72"/>
              <a:gd name="T106" fmla="*/ 12 w 90"/>
              <a:gd name="T107" fmla="*/ 30 h 72"/>
              <a:gd name="T108" fmla="*/ 12 w 90"/>
              <a:gd name="T109" fmla="*/ 30 h 72"/>
              <a:gd name="T110" fmla="*/ 6 w 90"/>
              <a:gd name="T111" fmla="*/ 24 h 72"/>
              <a:gd name="T112" fmla="*/ 6 w 90"/>
              <a:gd name="T113" fmla="*/ 24 h 72"/>
              <a:gd name="T114" fmla="*/ 6 w 90"/>
              <a:gd name="T115" fmla="*/ 24 h 72"/>
              <a:gd name="T116" fmla="*/ 6 w 90"/>
              <a:gd name="T117" fmla="*/ 18 h 72"/>
              <a:gd name="T118" fmla="*/ 6 w 90"/>
              <a:gd name="T119" fmla="*/ 18 h 72"/>
              <a:gd name="T120" fmla="*/ 0 w 90"/>
              <a:gd name="T121" fmla="*/ 12 h 72"/>
              <a:gd name="T122" fmla="*/ 0 w 90"/>
              <a:gd name="T123" fmla="*/ 12 h 72"/>
              <a:gd name="T124" fmla="*/ 0 w 90"/>
              <a:gd name="T125" fmla="*/ 6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0" h="72">
                <a:moveTo>
                  <a:pt x="0" y="6"/>
                </a:move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0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24" y="0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42" y="12"/>
                </a:lnTo>
                <a:lnTo>
                  <a:pt x="36" y="12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54" y="12"/>
                </a:lnTo>
                <a:lnTo>
                  <a:pt x="66" y="6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90" y="12"/>
                </a:lnTo>
                <a:lnTo>
                  <a:pt x="84" y="12"/>
                </a:lnTo>
                <a:lnTo>
                  <a:pt x="84" y="12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24"/>
                </a:lnTo>
                <a:lnTo>
                  <a:pt x="90" y="18"/>
                </a:lnTo>
                <a:lnTo>
                  <a:pt x="90" y="24"/>
                </a:lnTo>
                <a:lnTo>
                  <a:pt x="84" y="24"/>
                </a:lnTo>
                <a:lnTo>
                  <a:pt x="84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84" y="24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78" y="30"/>
                </a:lnTo>
                <a:lnTo>
                  <a:pt x="84" y="30"/>
                </a:lnTo>
                <a:lnTo>
                  <a:pt x="84" y="30"/>
                </a:lnTo>
                <a:lnTo>
                  <a:pt x="78" y="30"/>
                </a:lnTo>
                <a:lnTo>
                  <a:pt x="84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90" y="42"/>
                </a:lnTo>
                <a:lnTo>
                  <a:pt x="90" y="42"/>
                </a:lnTo>
                <a:lnTo>
                  <a:pt x="90" y="48"/>
                </a:lnTo>
                <a:lnTo>
                  <a:pt x="90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66" y="72"/>
                </a:lnTo>
                <a:lnTo>
                  <a:pt x="72" y="72"/>
                </a:lnTo>
                <a:lnTo>
                  <a:pt x="72" y="72"/>
                </a:lnTo>
                <a:lnTo>
                  <a:pt x="66" y="72"/>
                </a:lnTo>
                <a:lnTo>
                  <a:pt x="72" y="72"/>
                </a:lnTo>
                <a:lnTo>
                  <a:pt x="72" y="72"/>
                </a:lnTo>
                <a:lnTo>
                  <a:pt x="66" y="72"/>
                </a:lnTo>
                <a:lnTo>
                  <a:pt x="72" y="66"/>
                </a:lnTo>
                <a:lnTo>
                  <a:pt x="72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54"/>
                </a:lnTo>
                <a:lnTo>
                  <a:pt x="60" y="54"/>
                </a:lnTo>
                <a:lnTo>
                  <a:pt x="54" y="60"/>
                </a:lnTo>
                <a:lnTo>
                  <a:pt x="54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0" y="18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14" name="Freeform 447"/>
          <p:cNvSpPr>
            <a:spLocks/>
          </p:cNvSpPr>
          <p:nvPr/>
        </p:nvSpPr>
        <p:spPr bwMode="auto">
          <a:xfrm>
            <a:off x="6357202" y="4854503"/>
            <a:ext cx="122057" cy="83513"/>
          </a:xfrm>
          <a:custGeom>
            <a:avLst/>
            <a:gdLst>
              <a:gd name="T0" fmla="*/ 0 w 114"/>
              <a:gd name="T1" fmla="*/ 36 h 78"/>
              <a:gd name="T2" fmla="*/ 0 w 114"/>
              <a:gd name="T3" fmla="*/ 36 h 78"/>
              <a:gd name="T4" fmla="*/ 6 w 114"/>
              <a:gd name="T5" fmla="*/ 30 h 78"/>
              <a:gd name="T6" fmla="*/ 6 w 114"/>
              <a:gd name="T7" fmla="*/ 24 h 78"/>
              <a:gd name="T8" fmla="*/ 6 w 114"/>
              <a:gd name="T9" fmla="*/ 24 h 78"/>
              <a:gd name="T10" fmla="*/ 12 w 114"/>
              <a:gd name="T11" fmla="*/ 18 h 78"/>
              <a:gd name="T12" fmla="*/ 12 w 114"/>
              <a:gd name="T13" fmla="*/ 18 h 78"/>
              <a:gd name="T14" fmla="*/ 18 w 114"/>
              <a:gd name="T15" fmla="*/ 12 h 78"/>
              <a:gd name="T16" fmla="*/ 24 w 114"/>
              <a:gd name="T17" fmla="*/ 6 h 78"/>
              <a:gd name="T18" fmla="*/ 24 w 114"/>
              <a:gd name="T19" fmla="*/ 6 h 78"/>
              <a:gd name="T20" fmla="*/ 30 w 114"/>
              <a:gd name="T21" fmla="*/ 6 h 78"/>
              <a:gd name="T22" fmla="*/ 30 w 114"/>
              <a:gd name="T23" fmla="*/ 6 h 78"/>
              <a:gd name="T24" fmla="*/ 36 w 114"/>
              <a:gd name="T25" fmla="*/ 6 h 78"/>
              <a:gd name="T26" fmla="*/ 42 w 114"/>
              <a:gd name="T27" fmla="*/ 6 h 78"/>
              <a:gd name="T28" fmla="*/ 48 w 114"/>
              <a:gd name="T29" fmla="*/ 6 h 78"/>
              <a:gd name="T30" fmla="*/ 54 w 114"/>
              <a:gd name="T31" fmla="*/ 6 h 78"/>
              <a:gd name="T32" fmla="*/ 60 w 114"/>
              <a:gd name="T33" fmla="*/ 6 h 78"/>
              <a:gd name="T34" fmla="*/ 66 w 114"/>
              <a:gd name="T35" fmla="*/ 6 h 78"/>
              <a:gd name="T36" fmla="*/ 66 w 114"/>
              <a:gd name="T37" fmla="*/ 6 h 78"/>
              <a:gd name="T38" fmla="*/ 72 w 114"/>
              <a:gd name="T39" fmla="*/ 6 h 78"/>
              <a:gd name="T40" fmla="*/ 78 w 114"/>
              <a:gd name="T41" fmla="*/ 6 h 78"/>
              <a:gd name="T42" fmla="*/ 84 w 114"/>
              <a:gd name="T43" fmla="*/ 6 h 78"/>
              <a:gd name="T44" fmla="*/ 84 w 114"/>
              <a:gd name="T45" fmla="*/ 0 h 78"/>
              <a:gd name="T46" fmla="*/ 90 w 114"/>
              <a:gd name="T47" fmla="*/ 0 h 78"/>
              <a:gd name="T48" fmla="*/ 90 w 114"/>
              <a:gd name="T49" fmla="*/ 12 h 78"/>
              <a:gd name="T50" fmla="*/ 96 w 114"/>
              <a:gd name="T51" fmla="*/ 18 h 78"/>
              <a:gd name="T52" fmla="*/ 90 w 114"/>
              <a:gd name="T53" fmla="*/ 24 h 78"/>
              <a:gd name="T54" fmla="*/ 84 w 114"/>
              <a:gd name="T55" fmla="*/ 24 h 78"/>
              <a:gd name="T56" fmla="*/ 84 w 114"/>
              <a:gd name="T57" fmla="*/ 24 h 78"/>
              <a:gd name="T58" fmla="*/ 90 w 114"/>
              <a:gd name="T59" fmla="*/ 30 h 78"/>
              <a:gd name="T60" fmla="*/ 96 w 114"/>
              <a:gd name="T61" fmla="*/ 36 h 78"/>
              <a:gd name="T62" fmla="*/ 108 w 114"/>
              <a:gd name="T63" fmla="*/ 36 h 78"/>
              <a:gd name="T64" fmla="*/ 108 w 114"/>
              <a:gd name="T65" fmla="*/ 42 h 78"/>
              <a:gd name="T66" fmla="*/ 102 w 114"/>
              <a:gd name="T67" fmla="*/ 48 h 78"/>
              <a:gd name="T68" fmla="*/ 108 w 114"/>
              <a:gd name="T69" fmla="*/ 54 h 78"/>
              <a:gd name="T70" fmla="*/ 108 w 114"/>
              <a:gd name="T71" fmla="*/ 60 h 78"/>
              <a:gd name="T72" fmla="*/ 108 w 114"/>
              <a:gd name="T73" fmla="*/ 72 h 78"/>
              <a:gd name="T74" fmla="*/ 108 w 114"/>
              <a:gd name="T75" fmla="*/ 78 h 78"/>
              <a:gd name="T76" fmla="*/ 96 w 114"/>
              <a:gd name="T77" fmla="*/ 78 h 78"/>
              <a:gd name="T78" fmla="*/ 96 w 114"/>
              <a:gd name="T79" fmla="*/ 78 h 78"/>
              <a:gd name="T80" fmla="*/ 90 w 114"/>
              <a:gd name="T81" fmla="*/ 78 h 78"/>
              <a:gd name="T82" fmla="*/ 84 w 114"/>
              <a:gd name="T83" fmla="*/ 78 h 78"/>
              <a:gd name="T84" fmla="*/ 84 w 114"/>
              <a:gd name="T85" fmla="*/ 72 h 78"/>
              <a:gd name="T86" fmla="*/ 78 w 114"/>
              <a:gd name="T87" fmla="*/ 72 h 78"/>
              <a:gd name="T88" fmla="*/ 78 w 114"/>
              <a:gd name="T89" fmla="*/ 66 h 78"/>
              <a:gd name="T90" fmla="*/ 72 w 114"/>
              <a:gd name="T91" fmla="*/ 66 h 78"/>
              <a:gd name="T92" fmla="*/ 72 w 114"/>
              <a:gd name="T93" fmla="*/ 60 h 78"/>
              <a:gd name="T94" fmla="*/ 72 w 114"/>
              <a:gd name="T95" fmla="*/ 54 h 78"/>
              <a:gd name="T96" fmla="*/ 60 w 114"/>
              <a:gd name="T97" fmla="*/ 60 h 78"/>
              <a:gd name="T98" fmla="*/ 54 w 114"/>
              <a:gd name="T99" fmla="*/ 54 h 78"/>
              <a:gd name="T100" fmla="*/ 48 w 114"/>
              <a:gd name="T101" fmla="*/ 48 h 78"/>
              <a:gd name="T102" fmla="*/ 42 w 114"/>
              <a:gd name="T103" fmla="*/ 54 h 78"/>
              <a:gd name="T104" fmla="*/ 36 w 114"/>
              <a:gd name="T105" fmla="*/ 54 h 78"/>
              <a:gd name="T106" fmla="*/ 42 w 114"/>
              <a:gd name="T107" fmla="*/ 48 h 78"/>
              <a:gd name="T108" fmla="*/ 30 w 114"/>
              <a:gd name="T109" fmla="*/ 48 h 78"/>
              <a:gd name="T110" fmla="*/ 30 w 114"/>
              <a:gd name="T111" fmla="*/ 54 h 78"/>
              <a:gd name="T112" fmla="*/ 24 w 114"/>
              <a:gd name="T113" fmla="*/ 48 h 78"/>
              <a:gd name="T114" fmla="*/ 18 w 114"/>
              <a:gd name="T115" fmla="*/ 42 h 78"/>
              <a:gd name="T116" fmla="*/ 18 w 114"/>
              <a:gd name="T117" fmla="*/ 48 h 78"/>
              <a:gd name="T118" fmla="*/ 12 w 114"/>
              <a:gd name="T119" fmla="*/ 42 h 78"/>
              <a:gd name="T120" fmla="*/ 6 w 114"/>
              <a:gd name="T121" fmla="*/ 48 h 78"/>
              <a:gd name="T122" fmla="*/ 0 w 114"/>
              <a:gd name="T123" fmla="*/ 42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14" h="78">
                <a:moveTo>
                  <a:pt x="0" y="42"/>
                </a:move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36"/>
                </a:lnTo>
                <a:lnTo>
                  <a:pt x="0" y="36"/>
                </a:lnTo>
                <a:lnTo>
                  <a:pt x="6" y="36"/>
                </a:lnTo>
                <a:lnTo>
                  <a:pt x="6" y="36"/>
                </a:lnTo>
                <a:lnTo>
                  <a:pt x="0" y="36"/>
                </a:lnTo>
                <a:lnTo>
                  <a:pt x="0" y="36"/>
                </a:lnTo>
                <a:lnTo>
                  <a:pt x="6" y="36"/>
                </a:lnTo>
                <a:lnTo>
                  <a:pt x="0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18"/>
                </a:lnTo>
                <a:lnTo>
                  <a:pt x="6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2"/>
                </a:lnTo>
                <a:lnTo>
                  <a:pt x="12" y="18"/>
                </a:lnTo>
                <a:lnTo>
                  <a:pt x="12" y="18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6"/>
                </a:lnTo>
                <a:lnTo>
                  <a:pt x="24" y="12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0"/>
                </a:lnTo>
                <a:lnTo>
                  <a:pt x="54" y="0"/>
                </a:lnTo>
                <a:lnTo>
                  <a:pt x="54" y="6"/>
                </a:lnTo>
                <a:lnTo>
                  <a:pt x="54" y="0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84" y="0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0"/>
                </a:lnTo>
                <a:lnTo>
                  <a:pt x="84" y="0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0"/>
                </a:lnTo>
                <a:lnTo>
                  <a:pt x="90" y="0"/>
                </a:lnTo>
                <a:lnTo>
                  <a:pt x="96" y="0"/>
                </a:lnTo>
                <a:lnTo>
                  <a:pt x="96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6" y="12"/>
                </a:lnTo>
                <a:lnTo>
                  <a:pt x="96" y="12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0" y="18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8" y="42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42"/>
                </a:lnTo>
                <a:lnTo>
                  <a:pt x="108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2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2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14" y="66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84" y="72"/>
                </a:lnTo>
                <a:lnTo>
                  <a:pt x="84" y="78"/>
                </a:lnTo>
                <a:lnTo>
                  <a:pt x="90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0"/>
                </a:lnTo>
                <a:lnTo>
                  <a:pt x="72" y="60"/>
                </a:lnTo>
                <a:lnTo>
                  <a:pt x="78" y="66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72" y="54"/>
                </a:lnTo>
                <a:lnTo>
                  <a:pt x="72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0" y="54"/>
                </a:lnTo>
                <a:lnTo>
                  <a:pt x="60" y="54"/>
                </a:lnTo>
                <a:lnTo>
                  <a:pt x="60" y="60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54"/>
                </a:lnTo>
                <a:lnTo>
                  <a:pt x="24" y="54"/>
                </a:lnTo>
                <a:lnTo>
                  <a:pt x="18" y="48"/>
                </a:lnTo>
                <a:lnTo>
                  <a:pt x="24" y="48"/>
                </a:lnTo>
                <a:lnTo>
                  <a:pt x="24" y="48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0" y="48"/>
                </a:lnTo>
                <a:lnTo>
                  <a:pt x="0" y="42"/>
                </a:lnTo>
                <a:lnTo>
                  <a:pt x="0" y="4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15" name="Freeform 448"/>
          <p:cNvSpPr>
            <a:spLocks/>
          </p:cNvSpPr>
          <p:nvPr/>
        </p:nvSpPr>
        <p:spPr bwMode="auto">
          <a:xfrm>
            <a:off x="6177329" y="4758141"/>
            <a:ext cx="96361" cy="141330"/>
          </a:xfrm>
          <a:custGeom>
            <a:avLst/>
            <a:gdLst>
              <a:gd name="T0" fmla="*/ 0 w 90"/>
              <a:gd name="T1" fmla="*/ 120 h 132"/>
              <a:gd name="T2" fmla="*/ 6 w 90"/>
              <a:gd name="T3" fmla="*/ 114 h 132"/>
              <a:gd name="T4" fmla="*/ 6 w 90"/>
              <a:gd name="T5" fmla="*/ 108 h 132"/>
              <a:gd name="T6" fmla="*/ 6 w 90"/>
              <a:gd name="T7" fmla="*/ 108 h 132"/>
              <a:gd name="T8" fmla="*/ 12 w 90"/>
              <a:gd name="T9" fmla="*/ 102 h 132"/>
              <a:gd name="T10" fmla="*/ 18 w 90"/>
              <a:gd name="T11" fmla="*/ 96 h 132"/>
              <a:gd name="T12" fmla="*/ 18 w 90"/>
              <a:gd name="T13" fmla="*/ 90 h 132"/>
              <a:gd name="T14" fmla="*/ 24 w 90"/>
              <a:gd name="T15" fmla="*/ 84 h 132"/>
              <a:gd name="T16" fmla="*/ 18 w 90"/>
              <a:gd name="T17" fmla="*/ 78 h 132"/>
              <a:gd name="T18" fmla="*/ 18 w 90"/>
              <a:gd name="T19" fmla="*/ 72 h 132"/>
              <a:gd name="T20" fmla="*/ 18 w 90"/>
              <a:gd name="T21" fmla="*/ 72 h 132"/>
              <a:gd name="T22" fmla="*/ 12 w 90"/>
              <a:gd name="T23" fmla="*/ 66 h 132"/>
              <a:gd name="T24" fmla="*/ 12 w 90"/>
              <a:gd name="T25" fmla="*/ 60 h 132"/>
              <a:gd name="T26" fmla="*/ 12 w 90"/>
              <a:gd name="T27" fmla="*/ 54 h 132"/>
              <a:gd name="T28" fmla="*/ 12 w 90"/>
              <a:gd name="T29" fmla="*/ 48 h 132"/>
              <a:gd name="T30" fmla="*/ 12 w 90"/>
              <a:gd name="T31" fmla="*/ 48 h 132"/>
              <a:gd name="T32" fmla="*/ 12 w 90"/>
              <a:gd name="T33" fmla="*/ 42 h 132"/>
              <a:gd name="T34" fmla="*/ 18 w 90"/>
              <a:gd name="T35" fmla="*/ 36 h 132"/>
              <a:gd name="T36" fmla="*/ 18 w 90"/>
              <a:gd name="T37" fmla="*/ 30 h 132"/>
              <a:gd name="T38" fmla="*/ 18 w 90"/>
              <a:gd name="T39" fmla="*/ 30 h 132"/>
              <a:gd name="T40" fmla="*/ 18 w 90"/>
              <a:gd name="T41" fmla="*/ 18 h 132"/>
              <a:gd name="T42" fmla="*/ 24 w 90"/>
              <a:gd name="T43" fmla="*/ 12 h 132"/>
              <a:gd name="T44" fmla="*/ 24 w 90"/>
              <a:gd name="T45" fmla="*/ 6 h 132"/>
              <a:gd name="T46" fmla="*/ 36 w 90"/>
              <a:gd name="T47" fmla="*/ 12 h 132"/>
              <a:gd name="T48" fmla="*/ 54 w 90"/>
              <a:gd name="T49" fmla="*/ 6 h 132"/>
              <a:gd name="T50" fmla="*/ 66 w 90"/>
              <a:gd name="T51" fmla="*/ 6 h 132"/>
              <a:gd name="T52" fmla="*/ 72 w 90"/>
              <a:gd name="T53" fmla="*/ 6 h 132"/>
              <a:gd name="T54" fmla="*/ 84 w 90"/>
              <a:gd name="T55" fmla="*/ 12 h 132"/>
              <a:gd name="T56" fmla="*/ 78 w 90"/>
              <a:gd name="T57" fmla="*/ 18 h 132"/>
              <a:gd name="T58" fmla="*/ 72 w 90"/>
              <a:gd name="T59" fmla="*/ 24 h 132"/>
              <a:gd name="T60" fmla="*/ 72 w 90"/>
              <a:gd name="T61" fmla="*/ 24 h 132"/>
              <a:gd name="T62" fmla="*/ 72 w 90"/>
              <a:gd name="T63" fmla="*/ 30 h 132"/>
              <a:gd name="T64" fmla="*/ 78 w 90"/>
              <a:gd name="T65" fmla="*/ 30 h 132"/>
              <a:gd name="T66" fmla="*/ 78 w 90"/>
              <a:gd name="T67" fmla="*/ 42 h 132"/>
              <a:gd name="T68" fmla="*/ 78 w 90"/>
              <a:gd name="T69" fmla="*/ 42 h 132"/>
              <a:gd name="T70" fmla="*/ 78 w 90"/>
              <a:gd name="T71" fmla="*/ 48 h 132"/>
              <a:gd name="T72" fmla="*/ 78 w 90"/>
              <a:gd name="T73" fmla="*/ 54 h 132"/>
              <a:gd name="T74" fmla="*/ 78 w 90"/>
              <a:gd name="T75" fmla="*/ 54 h 132"/>
              <a:gd name="T76" fmla="*/ 72 w 90"/>
              <a:gd name="T77" fmla="*/ 60 h 132"/>
              <a:gd name="T78" fmla="*/ 66 w 90"/>
              <a:gd name="T79" fmla="*/ 66 h 132"/>
              <a:gd name="T80" fmla="*/ 66 w 90"/>
              <a:gd name="T81" fmla="*/ 66 h 132"/>
              <a:gd name="T82" fmla="*/ 66 w 90"/>
              <a:gd name="T83" fmla="*/ 66 h 132"/>
              <a:gd name="T84" fmla="*/ 60 w 90"/>
              <a:gd name="T85" fmla="*/ 72 h 132"/>
              <a:gd name="T86" fmla="*/ 54 w 90"/>
              <a:gd name="T87" fmla="*/ 78 h 132"/>
              <a:gd name="T88" fmla="*/ 54 w 90"/>
              <a:gd name="T89" fmla="*/ 84 h 132"/>
              <a:gd name="T90" fmla="*/ 60 w 90"/>
              <a:gd name="T91" fmla="*/ 90 h 132"/>
              <a:gd name="T92" fmla="*/ 72 w 90"/>
              <a:gd name="T93" fmla="*/ 90 h 132"/>
              <a:gd name="T94" fmla="*/ 72 w 90"/>
              <a:gd name="T95" fmla="*/ 96 h 132"/>
              <a:gd name="T96" fmla="*/ 72 w 90"/>
              <a:gd name="T97" fmla="*/ 102 h 132"/>
              <a:gd name="T98" fmla="*/ 72 w 90"/>
              <a:gd name="T99" fmla="*/ 108 h 132"/>
              <a:gd name="T100" fmla="*/ 66 w 90"/>
              <a:gd name="T101" fmla="*/ 108 h 132"/>
              <a:gd name="T102" fmla="*/ 66 w 90"/>
              <a:gd name="T103" fmla="*/ 114 h 132"/>
              <a:gd name="T104" fmla="*/ 48 w 90"/>
              <a:gd name="T105" fmla="*/ 120 h 132"/>
              <a:gd name="T106" fmla="*/ 42 w 90"/>
              <a:gd name="T107" fmla="*/ 120 h 132"/>
              <a:gd name="T108" fmla="*/ 42 w 90"/>
              <a:gd name="T109" fmla="*/ 126 h 132"/>
              <a:gd name="T110" fmla="*/ 30 w 90"/>
              <a:gd name="T111" fmla="*/ 126 h 132"/>
              <a:gd name="T112" fmla="*/ 24 w 90"/>
              <a:gd name="T113" fmla="*/ 120 h 132"/>
              <a:gd name="T114" fmla="*/ 12 w 90"/>
              <a:gd name="T115" fmla="*/ 126 h 132"/>
              <a:gd name="T116" fmla="*/ 0 w 90"/>
              <a:gd name="T117" fmla="*/ 126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90" h="132">
                <a:moveTo>
                  <a:pt x="0" y="126"/>
                </a:moveTo>
                <a:lnTo>
                  <a:pt x="0" y="126"/>
                </a:lnTo>
                <a:lnTo>
                  <a:pt x="0" y="120"/>
                </a:lnTo>
                <a:lnTo>
                  <a:pt x="0" y="120"/>
                </a:lnTo>
                <a:lnTo>
                  <a:pt x="6" y="120"/>
                </a:lnTo>
                <a:lnTo>
                  <a:pt x="6" y="120"/>
                </a:lnTo>
                <a:lnTo>
                  <a:pt x="0" y="120"/>
                </a:lnTo>
                <a:lnTo>
                  <a:pt x="0" y="120"/>
                </a:lnTo>
                <a:lnTo>
                  <a:pt x="0" y="120"/>
                </a:lnTo>
                <a:lnTo>
                  <a:pt x="0" y="120"/>
                </a:lnTo>
                <a:lnTo>
                  <a:pt x="6" y="120"/>
                </a:lnTo>
                <a:lnTo>
                  <a:pt x="6" y="120"/>
                </a:lnTo>
                <a:lnTo>
                  <a:pt x="6" y="114"/>
                </a:lnTo>
                <a:lnTo>
                  <a:pt x="0" y="114"/>
                </a:lnTo>
                <a:lnTo>
                  <a:pt x="0" y="114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6" y="108"/>
                </a:lnTo>
                <a:lnTo>
                  <a:pt x="6" y="114"/>
                </a:lnTo>
                <a:lnTo>
                  <a:pt x="6" y="114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12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8" y="102"/>
                </a:lnTo>
                <a:lnTo>
                  <a:pt x="18" y="102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0"/>
                </a:lnTo>
                <a:lnTo>
                  <a:pt x="18" y="96"/>
                </a:lnTo>
                <a:lnTo>
                  <a:pt x="18" y="96"/>
                </a:lnTo>
                <a:lnTo>
                  <a:pt x="24" y="96"/>
                </a:lnTo>
                <a:lnTo>
                  <a:pt x="18" y="96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24" y="90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8" y="72"/>
                </a:lnTo>
                <a:lnTo>
                  <a:pt x="18" y="72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8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54"/>
                </a:lnTo>
                <a:lnTo>
                  <a:pt x="12" y="54"/>
                </a:lnTo>
                <a:lnTo>
                  <a:pt x="12" y="60"/>
                </a:lnTo>
                <a:lnTo>
                  <a:pt x="12" y="60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2" y="42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8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2"/>
                </a:lnTo>
                <a:lnTo>
                  <a:pt x="24" y="12"/>
                </a:lnTo>
                <a:lnTo>
                  <a:pt x="18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42" y="12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0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8"/>
                </a:lnTo>
                <a:lnTo>
                  <a:pt x="84" y="18"/>
                </a:lnTo>
                <a:lnTo>
                  <a:pt x="90" y="18"/>
                </a:lnTo>
                <a:lnTo>
                  <a:pt x="90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24"/>
                </a:lnTo>
                <a:lnTo>
                  <a:pt x="78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60"/>
                </a:lnTo>
                <a:lnTo>
                  <a:pt x="78" y="60"/>
                </a:lnTo>
                <a:lnTo>
                  <a:pt x="72" y="60"/>
                </a:lnTo>
                <a:lnTo>
                  <a:pt x="72" y="60"/>
                </a:lnTo>
                <a:lnTo>
                  <a:pt x="78" y="60"/>
                </a:lnTo>
                <a:lnTo>
                  <a:pt x="78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6"/>
                </a:lnTo>
                <a:lnTo>
                  <a:pt x="72" y="66"/>
                </a:lnTo>
                <a:lnTo>
                  <a:pt x="66" y="66"/>
                </a:lnTo>
                <a:lnTo>
                  <a:pt x="66" y="60"/>
                </a:lnTo>
                <a:lnTo>
                  <a:pt x="66" y="60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0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0" y="66"/>
                </a:lnTo>
                <a:lnTo>
                  <a:pt x="60" y="66"/>
                </a:lnTo>
                <a:lnTo>
                  <a:pt x="60" y="72"/>
                </a:lnTo>
                <a:lnTo>
                  <a:pt x="60" y="66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84"/>
                </a:lnTo>
                <a:lnTo>
                  <a:pt x="60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90"/>
                </a:lnTo>
                <a:lnTo>
                  <a:pt x="54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90"/>
                </a:lnTo>
                <a:lnTo>
                  <a:pt x="66" y="90"/>
                </a:lnTo>
                <a:lnTo>
                  <a:pt x="66" y="90"/>
                </a:lnTo>
                <a:lnTo>
                  <a:pt x="72" y="90"/>
                </a:lnTo>
                <a:lnTo>
                  <a:pt x="72" y="90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14"/>
                </a:lnTo>
                <a:lnTo>
                  <a:pt x="66" y="114"/>
                </a:lnTo>
                <a:lnTo>
                  <a:pt x="66" y="108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54" y="120"/>
                </a:lnTo>
                <a:lnTo>
                  <a:pt x="54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20"/>
                </a:lnTo>
                <a:lnTo>
                  <a:pt x="42" y="120"/>
                </a:lnTo>
                <a:lnTo>
                  <a:pt x="42" y="120"/>
                </a:lnTo>
                <a:lnTo>
                  <a:pt x="42" y="120"/>
                </a:lnTo>
                <a:lnTo>
                  <a:pt x="42" y="120"/>
                </a:lnTo>
                <a:lnTo>
                  <a:pt x="42" y="120"/>
                </a:lnTo>
                <a:lnTo>
                  <a:pt x="42" y="120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0"/>
                </a:lnTo>
                <a:lnTo>
                  <a:pt x="18" y="120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6"/>
                </a:lnTo>
                <a:lnTo>
                  <a:pt x="0" y="126"/>
                </a:lnTo>
                <a:lnTo>
                  <a:pt x="0" y="126"/>
                </a:lnTo>
                <a:lnTo>
                  <a:pt x="0" y="126"/>
                </a:lnTo>
                <a:lnTo>
                  <a:pt x="0" y="126"/>
                </a:lnTo>
                <a:lnTo>
                  <a:pt x="0" y="12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16" name="Freeform 449"/>
          <p:cNvSpPr>
            <a:spLocks/>
          </p:cNvSpPr>
          <p:nvPr/>
        </p:nvSpPr>
        <p:spPr bwMode="auto">
          <a:xfrm>
            <a:off x="6806886" y="4886623"/>
            <a:ext cx="102785" cy="70665"/>
          </a:xfrm>
          <a:custGeom>
            <a:avLst/>
            <a:gdLst>
              <a:gd name="T0" fmla="*/ 0 w 96"/>
              <a:gd name="T1" fmla="*/ 54 h 66"/>
              <a:gd name="T2" fmla="*/ 0 w 96"/>
              <a:gd name="T3" fmla="*/ 48 h 66"/>
              <a:gd name="T4" fmla="*/ 6 w 96"/>
              <a:gd name="T5" fmla="*/ 42 h 66"/>
              <a:gd name="T6" fmla="*/ 6 w 96"/>
              <a:gd name="T7" fmla="*/ 36 h 66"/>
              <a:gd name="T8" fmla="*/ 0 w 96"/>
              <a:gd name="T9" fmla="*/ 36 h 66"/>
              <a:gd name="T10" fmla="*/ 0 w 96"/>
              <a:gd name="T11" fmla="*/ 30 h 66"/>
              <a:gd name="T12" fmla="*/ 6 w 96"/>
              <a:gd name="T13" fmla="*/ 24 h 66"/>
              <a:gd name="T14" fmla="*/ 6 w 96"/>
              <a:gd name="T15" fmla="*/ 24 h 66"/>
              <a:gd name="T16" fmla="*/ 12 w 96"/>
              <a:gd name="T17" fmla="*/ 24 h 66"/>
              <a:gd name="T18" fmla="*/ 12 w 96"/>
              <a:gd name="T19" fmla="*/ 18 h 66"/>
              <a:gd name="T20" fmla="*/ 18 w 96"/>
              <a:gd name="T21" fmla="*/ 18 h 66"/>
              <a:gd name="T22" fmla="*/ 24 w 96"/>
              <a:gd name="T23" fmla="*/ 18 h 66"/>
              <a:gd name="T24" fmla="*/ 30 w 96"/>
              <a:gd name="T25" fmla="*/ 18 h 66"/>
              <a:gd name="T26" fmla="*/ 30 w 96"/>
              <a:gd name="T27" fmla="*/ 18 h 66"/>
              <a:gd name="T28" fmla="*/ 30 w 96"/>
              <a:gd name="T29" fmla="*/ 18 h 66"/>
              <a:gd name="T30" fmla="*/ 36 w 96"/>
              <a:gd name="T31" fmla="*/ 18 h 66"/>
              <a:gd name="T32" fmla="*/ 42 w 96"/>
              <a:gd name="T33" fmla="*/ 18 h 66"/>
              <a:gd name="T34" fmla="*/ 42 w 96"/>
              <a:gd name="T35" fmla="*/ 12 h 66"/>
              <a:gd name="T36" fmla="*/ 48 w 96"/>
              <a:gd name="T37" fmla="*/ 12 h 66"/>
              <a:gd name="T38" fmla="*/ 48 w 96"/>
              <a:gd name="T39" fmla="*/ 6 h 66"/>
              <a:gd name="T40" fmla="*/ 54 w 96"/>
              <a:gd name="T41" fmla="*/ 6 h 66"/>
              <a:gd name="T42" fmla="*/ 54 w 96"/>
              <a:gd name="T43" fmla="*/ 6 h 66"/>
              <a:gd name="T44" fmla="*/ 60 w 96"/>
              <a:gd name="T45" fmla="*/ 6 h 66"/>
              <a:gd name="T46" fmla="*/ 60 w 96"/>
              <a:gd name="T47" fmla="*/ 0 h 66"/>
              <a:gd name="T48" fmla="*/ 66 w 96"/>
              <a:gd name="T49" fmla="*/ 0 h 66"/>
              <a:gd name="T50" fmla="*/ 72 w 96"/>
              <a:gd name="T51" fmla="*/ 0 h 66"/>
              <a:gd name="T52" fmla="*/ 72 w 96"/>
              <a:gd name="T53" fmla="*/ 0 h 66"/>
              <a:gd name="T54" fmla="*/ 78 w 96"/>
              <a:gd name="T55" fmla="*/ 0 h 66"/>
              <a:gd name="T56" fmla="*/ 78 w 96"/>
              <a:gd name="T57" fmla="*/ 0 h 66"/>
              <a:gd name="T58" fmla="*/ 84 w 96"/>
              <a:gd name="T59" fmla="*/ 0 h 66"/>
              <a:gd name="T60" fmla="*/ 84 w 96"/>
              <a:gd name="T61" fmla="*/ 6 h 66"/>
              <a:gd name="T62" fmla="*/ 84 w 96"/>
              <a:gd name="T63" fmla="*/ 6 h 66"/>
              <a:gd name="T64" fmla="*/ 84 w 96"/>
              <a:gd name="T65" fmla="*/ 6 h 66"/>
              <a:gd name="T66" fmla="*/ 90 w 96"/>
              <a:gd name="T67" fmla="*/ 12 h 66"/>
              <a:gd name="T68" fmla="*/ 90 w 96"/>
              <a:gd name="T69" fmla="*/ 12 h 66"/>
              <a:gd name="T70" fmla="*/ 90 w 96"/>
              <a:gd name="T71" fmla="*/ 18 h 66"/>
              <a:gd name="T72" fmla="*/ 84 w 96"/>
              <a:gd name="T73" fmla="*/ 24 h 66"/>
              <a:gd name="T74" fmla="*/ 84 w 96"/>
              <a:gd name="T75" fmla="*/ 24 h 66"/>
              <a:gd name="T76" fmla="*/ 78 w 96"/>
              <a:gd name="T77" fmla="*/ 30 h 66"/>
              <a:gd name="T78" fmla="*/ 72 w 96"/>
              <a:gd name="T79" fmla="*/ 24 h 66"/>
              <a:gd name="T80" fmla="*/ 66 w 96"/>
              <a:gd name="T81" fmla="*/ 30 h 66"/>
              <a:gd name="T82" fmla="*/ 60 w 96"/>
              <a:gd name="T83" fmla="*/ 36 h 66"/>
              <a:gd name="T84" fmla="*/ 54 w 96"/>
              <a:gd name="T85" fmla="*/ 42 h 66"/>
              <a:gd name="T86" fmla="*/ 54 w 96"/>
              <a:gd name="T87" fmla="*/ 42 h 66"/>
              <a:gd name="T88" fmla="*/ 54 w 96"/>
              <a:gd name="T89" fmla="*/ 54 h 66"/>
              <a:gd name="T90" fmla="*/ 48 w 96"/>
              <a:gd name="T91" fmla="*/ 60 h 66"/>
              <a:gd name="T92" fmla="*/ 48 w 96"/>
              <a:gd name="T93" fmla="*/ 60 h 66"/>
              <a:gd name="T94" fmla="*/ 48 w 96"/>
              <a:gd name="T95" fmla="*/ 66 h 66"/>
              <a:gd name="T96" fmla="*/ 42 w 96"/>
              <a:gd name="T97" fmla="*/ 66 h 66"/>
              <a:gd name="T98" fmla="*/ 24 w 96"/>
              <a:gd name="T99" fmla="*/ 60 h 66"/>
              <a:gd name="T100" fmla="*/ 18 w 96"/>
              <a:gd name="T101" fmla="*/ 60 h 66"/>
              <a:gd name="T102" fmla="*/ 12 w 96"/>
              <a:gd name="T103" fmla="*/ 66 h 66"/>
              <a:gd name="T104" fmla="*/ 6 w 96"/>
              <a:gd name="T105" fmla="*/ 66 h 66"/>
              <a:gd name="T106" fmla="*/ 0 w 96"/>
              <a:gd name="T107" fmla="*/ 60 h 66"/>
              <a:gd name="T108" fmla="*/ 0 w 96"/>
              <a:gd name="T109" fmla="*/ 60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96" h="66">
                <a:moveTo>
                  <a:pt x="0" y="54"/>
                </a:move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2"/>
                </a:lnTo>
                <a:lnTo>
                  <a:pt x="6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6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6" y="30"/>
                </a:lnTo>
                <a:lnTo>
                  <a:pt x="0" y="30"/>
                </a:lnTo>
                <a:lnTo>
                  <a:pt x="0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18"/>
                </a:lnTo>
                <a:lnTo>
                  <a:pt x="12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42" y="18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6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8"/>
                </a:lnTo>
                <a:lnTo>
                  <a:pt x="90" y="18"/>
                </a:lnTo>
                <a:lnTo>
                  <a:pt x="96" y="24"/>
                </a:lnTo>
                <a:lnTo>
                  <a:pt x="90" y="24"/>
                </a:lnTo>
                <a:lnTo>
                  <a:pt x="90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30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24"/>
                </a:lnTo>
                <a:lnTo>
                  <a:pt x="72" y="24"/>
                </a:lnTo>
                <a:lnTo>
                  <a:pt x="72" y="24"/>
                </a:lnTo>
                <a:lnTo>
                  <a:pt x="72" y="30"/>
                </a:lnTo>
                <a:lnTo>
                  <a:pt x="72" y="24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54" y="36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48" y="54"/>
                </a:lnTo>
                <a:lnTo>
                  <a:pt x="54" y="54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0"/>
                </a:lnTo>
                <a:lnTo>
                  <a:pt x="30" y="66"/>
                </a:lnTo>
                <a:lnTo>
                  <a:pt x="30" y="60"/>
                </a:lnTo>
                <a:lnTo>
                  <a:pt x="30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6"/>
                </a:lnTo>
                <a:lnTo>
                  <a:pt x="18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5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17" name="Freeform 450"/>
          <p:cNvSpPr>
            <a:spLocks/>
          </p:cNvSpPr>
          <p:nvPr/>
        </p:nvSpPr>
        <p:spPr bwMode="auto">
          <a:xfrm>
            <a:off x="6511379" y="4912320"/>
            <a:ext cx="301930" cy="179875"/>
          </a:xfrm>
          <a:custGeom>
            <a:avLst/>
            <a:gdLst>
              <a:gd name="T0" fmla="*/ 30 w 282"/>
              <a:gd name="T1" fmla="*/ 36 h 168"/>
              <a:gd name="T2" fmla="*/ 48 w 282"/>
              <a:gd name="T3" fmla="*/ 42 h 168"/>
              <a:gd name="T4" fmla="*/ 60 w 282"/>
              <a:gd name="T5" fmla="*/ 36 h 168"/>
              <a:gd name="T6" fmla="*/ 72 w 282"/>
              <a:gd name="T7" fmla="*/ 30 h 168"/>
              <a:gd name="T8" fmla="*/ 78 w 282"/>
              <a:gd name="T9" fmla="*/ 18 h 168"/>
              <a:gd name="T10" fmla="*/ 90 w 282"/>
              <a:gd name="T11" fmla="*/ 12 h 168"/>
              <a:gd name="T12" fmla="*/ 102 w 282"/>
              <a:gd name="T13" fmla="*/ 18 h 168"/>
              <a:gd name="T14" fmla="*/ 114 w 282"/>
              <a:gd name="T15" fmla="*/ 24 h 168"/>
              <a:gd name="T16" fmla="*/ 126 w 282"/>
              <a:gd name="T17" fmla="*/ 18 h 168"/>
              <a:gd name="T18" fmla="*/ 138 w 282"/>
              <a:gd name="T19" fmla="*/ 30 h 168"/>
              <a:gd name="T20" fmla="*/ 150 w 282"/>
              <a:gd name="T21" fmla="*/ 24 h 168"/>
              <a:gd name="T22" fmla="*/ 168 w 282"/>
              <a:gd name="T23" fmla="*/ 18 h 168"/>
              <a:gd name="T24" fmla="*/ 168 w 282"/>
              <a:gd name="T25" fmla="*/ 6 h 168"/>
              <a:gd name="T26" fmla="*/ 180 w 282"/>
              <a:gd name="T27" fmla="*/ 0 h 168"/>
              <a:gd name="T28" fmla="*/ 186 w 282"/>
              <a:gd name="T29" fmla="*/ 0 h 168"/>
              <a:gd name="T30" fmla="*/ 180 w 282"/>
              <a:gd name="T31" fmla="*/ 6 h 168"/>
              <a:gd name="T32" fmla="*/ 186 w 282"/>
              <a:gd name="T33" fmla="*/ 12 h 168"/>
              <a:gd name="T34" fmla="*/ 192 w 282"/>
              <a:gd name="T35" fmla="*/ 12 h 168"/>
              <a:gd name="T36" fmla="*/ 198 w 282"/>
              <a:gd name="T37" fmla="*/ 12 h 168"/>
              <a:gd name="T38" fmla="*/ 204 w 282"/>
              <a:gd name="T39" fmla="*/ 18 h 168"/>
              <a:gd name="T40" fmla="*/ 210 w 282"/>
              <a:gd name="T41" fmla="*/ 24 h 168"/>
              <a:gd name="T42" fmla="*/ 216 w 282"/>
              <a:gd name="T43" fmla="*/ 36 h 168"/>
              <a:gd name="T44" fmla="*/ 222 w 282"/>
              <a:gd name="T45" fmla="*/ 42 h 168"/>
              <a:gd name="T46" fmla="*/ 228 w 282"/>
              <a:gd name="T47" fmla="*/ 42 h 168"/>
              <a:gd name="T48" fmla="*/ 240 w 282"/>
              <a:gd name="T49" fmla="*/ 42 h 168"/>
              <a:gd name="T50" fmla="*/ 252 w 282"/>
              <a:gd name="T51" fmla="*/ 36 h 168"/>
              <a:gd name="T52" fmla="*/ 258 w 282"/>
              <a:gd name="T53" fmla="*/ 48 h 168"/>
              <a:gd name="T54" fmla="*/ 258 w 282"/>
              <a:gd name="T55" fmla="*/ 54 h 168"/>
              <a:gd name="T56" fmla="*/ 270 w 282"/>
              <a:gd name="T57" fmla="*/ 66 h 168"/>
              <a:gd name="T58" fmla="*/ 282 w 282"/>
              <a:gd name="T59" fmla="*/ 72 h 168"/>
              <a:gd name="T60" fmla="*/ 270 w 282"/>
              <a:gd name="T61" fmla="*/ 90 h 168"/>
              <a:gd name="T62" fmla="*/ 270 w 282"/>
              <a:gd name="T63" fmla="*/ 96 h 168"/>
              <a:gd name="T64" fmla="*/ 264 w 282"/>
              <a:gd name="T65" fmla="*/ 102 h 168"/>
              <a:gd name="T66" fmla="*/ 258 w 282"/>
              <a:gd name="T67" fmla="*/ 108 h 168"/>
              <a:gd name="T68" fmla="*/ 252 w 282"/>
              <a:gd name="T69" fmla="*/ 108 h 168"/>
              <a:gd name="T70" fmla="*/ 246 w 282"/>
              <a:gd name="T71" fmla="*/ 120 h 168"/>
              <a:gd name="T72" fmla="*/ 246 w 282"/>
              <a:gd name="T73" fmla="*/ 120 h 168"/>
              <a:gd name="T74" fmla="*/ 252 w 282"/>
              <a:gd name="T75" fmla="*/ 120 h 168"/>
              <a:gd name="T76" fmla="*/ 246 w 282"/>
              <a:gd name="T77" fmla="*/ 132 h 168"/>
              <a:gd name="T78" fmla="*/ 246 w 282"/>
              <a:gd name="T79" fmla="*/ 138 h 168"/>
              <a:gd name="T80" fmla="*/ 246 w 282"/>
              <a:gd name="T81" fmla="*/ 144 h 168"/>
              <a:gd name="T82" fmla="*/ 246 w 282"/>
              <a:gd name="T83" fmla="*/ 144 h 168"/>
              <a:gd name="T84" fmla="*/ 246 w 282"/>
              <a:gd name="T85" fmla="*/ 150 h 168"/>
              <a:gd name="T86" fmla="*/ 240 w 282"/>
              <a:gd name="T87" fmla="*/ 156 h 168"/>
              <a:gd name="T88" fmla="*/ 234 w 282"/>
              <a:gd name="T89" fmla="*/ 162 h 168"/>
              <a:gd name="T90" fmla="*/ 228 w 282"/>
              <a:gd name="T91" fmla="*/ 168 h 168"/>
              <a:gd name="T92" fmla="*/ 222 w 282"/>
              <a:gd name="T93" fmla="*/ 156 h 168"/>
              <a:gd name="T94" fmla="*/ 210 w 282"/>
              <a:gd name="T95" fmla="*/ 150 h 168"/>
              <a:gd name="T96" fmla="*/ 204 w 282"/>
              <a:gd name="T97" fmla="*/ 144 h 168"/>
              <a:gd name="T98" fmla="*/ 192 w 282"/>
              <a:gd name="T99" fmla="*/ 150 h 168"/>
              <a:gd name="T100" fmla="*/ 168 w 282"/>
              <a:gd name="T101" fmla="*/ 150 h 168"/>
              <a:gd name="T102" fmla="*/ 168 w 282"/>
              <a:gd name="T103" fmla="*/ 150 h 168"/>
              <a:gd name="T104" fmla="*/ 150 w 282"/>
              <a:gd name="T105" fmla="*/ 144 h 168"/>
              <a:gd name="T106" fmla="*/ 138 w 282"/>
              <a:gd name="T107" fmla="*/ 144 h 168"/>
              <a:gd name="T108" fmla="*/ 120 w 282"/>
              <a:gd name="T109" fmla="*/ 144 h 168"/>
              <a:gd name="T110" fmla="*/ 102 w 282"/>
              <a:gd name="T111" fmla="*/ 126 h 168"/>
              <a:gd name="T112" fmla="*/ 84 w 282"/>
              <a:gd name="T113" fmla="*/ 108 h 168"/>
              <a:gd name="T114" fmla="*/ 72 w 282"/>
              <a:gd name="T115" fmla="*/ 96 h 168"/>
              <a:gd name="T116" fmla="*/ 54 w 282"/>
              <a:gd name="T117" fmla="*/ 84 h 168"/>
              <a:gd name="T118" fmla="*/ 42 w 282"/>
              <a:gd name="T119" fmla="*/ 66 h 168"/>
              <a:gd name="T120" fmla="*/ 18 w 282"/>
              <a:gd name="T121" fmla="*/ 54 h 168"/>
              <a:gd name="T122" fmla="*/ 6 w 282"/>
              <a:gd name="T123" fmla="*/ 42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2" h="168">
                <a:moveTo>
                  <a:pt x="0" y="36"/>
                </a:moveTo>
                <a:lnTo>
                  <a:pt x="0" y="30"/>
                </a:lnTo>
                <a:lnTo>
                  <a:pt x="0" y="30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42"/>
                </a:lnTo>
                <a:lnTo>
                  <a:pt x="24" y="42"/>
                </a:lnTo>
                <a:lnTo>
                  <a:pt x="24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6" y="36"/>
                </a:lnTo>
                <a:lnTo>
                  <a:pt x="36" y="36"/>
                </a:lnTo>
                <a:lnTo>
                  <a:pt x="30" y="36"/>
                </a:lnTo>
                <a:lnTo>
                  <a:pt x="36" y="36"/>
                </a:lnTo>
                <a:lnTo>
                  <a:pt x="36" y="42"/>
                </a:lnTo>
                <a:lnTo>
                  <a:pt x="36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54" y="42"/>
                </a:lnTo>
                <a:lnTo>
                  <a:pt x="54" y="42"/>
                </a:lnTo>
                <a:lnTo>
                  <a:pt x="48" y="42"/>
                </a:lnTo>
                <a:lnTo>
                  <a:pt x="54" y="42"/>
                </a:lnTo>
                <a:lnTo>
                  <a:pt x="54" y="42"/>
                </a:lnTo>
                <a:lnTo>
                  <a:pt x="60" y="42"/>
                </a:lnTo>
                <a:lnTo>
                  <a:pt x="60" y="42"/>
                </a:lnTo>
                <a:lnTo>
                  <a:pt x="54" y="42"/>
                </a:lnTo>
                <a:lnTo>
                  <a:pt x="54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0"/>
                </a:lnTo>
                <a:lnTo>
                  <a:pt x="60" y="30"/>
                </a:lnTo>
                <a:lnTo>
                  <a:pt x="66" y="30"/>
                </a:lnTo>
                <a:lnTo>
                  <a:pt x="66" y="36"/>
                </a:lnTo>
                <a:lnTo>
                  <a:pt x="66" y="30"/>
                </a:lnTo>
                <a:lnTo>
                  <a:pt x="66" y="30"/>
                </a:lnTo>
                <a:lnTo>
                  <a:pt x="60" y="30"/>
                </a:lnTo>
                <a:lnTo>
                  <a:pt x="60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84" y="24"/>
                </a:lnTo>
                <a:lnTo>
                  <a:pt x="84" y="24"/>
                </a:lnTo>
                <a:lnTo>
                  <a:pt x="84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8"/>
                </a:lnTo>
                <a:lnTo>
                  <a:pt x="90" y="18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8"/>
                </a:lnTo>
                <a:lnTo>
                  <a:pt x="90" y="12"/>
                </a:lnTo>
                <a:lnTo>
                  <a:pt x="90" y="18"/>
                </a:lnTo>
                <a:lnTo>
                  <a:pt x="96" y="18"/>
                </a:lnTo>
                <a:lnTo>
                  <a:pt x="96" y="18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8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8"/>
                </a:lnTo>
                <a:lnTo>
                  <a:pt x="96" y="12"/>
                </a:lnTo>
                <a:lnTo>
                  <a:pt x="102" y="12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96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18"/>
                </a:lnTo>
                <a:lnTo>
                  <a:pt x="120" y="18"/>
                </a:lnTo>
                <a:lnTo>
                  <a:pt x="120" y="24"/>
                </a:lnTo>
                <a:lnTo>
                  <a:pt x="120" y="24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0" y="24"/>
                </a:lnTo>
                <a:lnTo>
                  <a:pt x="126" y="18"/>
                </a:lnTo>
                <a:lnTo>
                  <a:pt x="126" y="24"/>
                </a:lnTo>
                <a:lnTo>
                  <a:pt x="126" y="18"/>
                </a:lnTo>
                <a:lnTo>
                  <a:pt x="126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8" y="18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30"/>
                </a:lnTo>
                <a:lnTo>
                  <a:pt x="138" y="30"/>
                </a:lnTo>
                <a:lnTo>
                  <a:pt x="132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44" y="24"/>
                </a:lnTo>
                <a:lnTo>
                  <a:pt x="144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8" y="18"/>
                </a:lnTo>
                <a:lnTo>
                  <a:pt x="168" y="12"/>
                </a:lnTo>
                <a:lnTo>
                  <a:pt x="168" y="18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6"/>
                </a:lnTo>
                <a:lnTo>
                  <a:pt x="168" y="6"/>
                </a:lnTo>
                <a:lnTo>
                  <a:pt x="168" y="6"/>
                </a:lnTo>
                <a:lnTo>
                  <a:pt x="168" y="6"/>
                </a:lnTo>
                <a:lnTo>
                  <a:pt x="168" y="6"/>
                </a:lnTo>
                <a:lnTo>
                  <a:pt x="168" y="6"/>
                </a:lnTo>
                <a:lnTo>
                  <a:pt x="168" y="6"/>
                </a:lnTo>
                <a:lnTo>
                  <a:pt x="174" y="0"/>
                </a:lnTo>
                <a:lnTo>
                  <a:pt x="174" y="0"/>
                </a:lnTo>
                <a:lnTo>
                  <a:pt x="174" y="0"/>
                </a:lnTo>
                <a:lnTo>
                  <a:pt x="174" y="0"/>
                </a:lnTo>
                <a:lnTo>
                  <a:pt x="174" y="0"/>
                </a:lnTo>
                <a:lnTo>
                  <a:pt x="174" y="0"/>
                </a:lnTo>
                <a:lnTo>
                  <a:pt x="174" y="0"/>
                </a:lnTo>
                <a:lnTo>
                  <a:pt x="174" y="0"/>
                </a:lnTo>
                <a:lnTo>
                  <a:pt x="174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6" y="0"/>
                </a:lnTo>
                <a:lnTo>
                  <a:pt x="186" y="0"/>
                </a:lnTo>
                <a:lnTo>
                  <a:pt x="186" y="0"/>
                </a:lnTo>
                <a:lnTo>
                  <a:pt x="186" y="0"/>
                </a:lnTo>
                <a:lnTo>
                  <a:pt x="186" y="0"/>
                </a:lnTo>
                <a:lnTo>
                  <a:pt x="186" y="0"/>
                </a:lnTo>
                <a:lnTo>
                  <a:pt x="186" y="0"/>
                </a:lnTo>
                <a:lnTo>
                  <a:pt x="186" y="0"/>
                </a:lnTo>
                <a:lnTo>
                  <a:pt x="186" y="0"/>
                </a:lnTo>
                <a:lnTo>
                  <a:pt x="186" y="0"/>
                </a:lnTo>
                <a:lnTo>
                  <a:pt x="186" y="0"/>
                </a:lnTo>
                <a:lnTo>
                  <a:pt x="186" y="0"/>
                </a:lnTo>
                <a:lnTo>
                  <a:pt x="186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0" y="6"/>
                </a:lnTo>
                <a:lnTo>
                  <a:pt x="180" y="6"/>
                </a:lnTo>
                <a:lnTo>
                  <a:pt x="180" y="6"/>
                </a:lnTo>
                <a:lnTo>
                  <a:pt x="180" y="6"/>
                </a:lnTo>
                <a:lnTo>
                  <a:pt x="180" y="6"/>
                </a:lnTo>
                <a:lnTo>
                  <a:pt x="180" y="6"/>
                </a:lnTo>
                <a:lnTo>
                  <a:pt x="186" y="6"/>
                </a:lnTo>
                <a:lnTo>
                  <a:pt x="180" y="6"/>
                </a:lnTo>
                <a:lnTo>
                  <a:pt x="186" y="6"/>
                </a:lnTo>
                <a:lnTo>
                  <a:pt x="186" y="6"/>
                </a:lnTo>
                <a:lnTo>
                  <a:pt x="186" y="6"/>
                </a:lnTo>
                <a:lnTo>
                  <a:pt x="186" y="6"/>
                </a:lnTo>
                <a:lnTo>
                  <a:pt x="186" y="6"/>
                </a:lnTo>
                <a:lnTo>
                  <a:pt x="186" y="6"/>
                </a:lnTo>
                <a:lnTo>
                  <a:pt x="186" y="6"/>
                </a:lnTo>
                <a:lnTo>
                  <a:pt x="186" y="6"/>
                </a:lnTo>
                <a:lnTo>
                  <a:pt x="186" y="6"/>
                </a:lnTo>
                <a:lnTo>
                  <a:pt x="186" y="6"/>
                </a:lnTo>
                <a:lnTo>
                  <a:pt x="186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12"/>
                </a:lnTo>
                <a:lnTo>
                  <a:pt x="192" y="12"/>
                </a:lnTo>
                <a:lnTo>
                  <a:pt x="192" y="12"/>
                </a:lnTo>
                <a:lnTo>
                  <a:pt x="186" y="12"/>
                </a:lnTo>
                <a:lnTo>
                  <a:pt x="186" y="12"/>
                </a:lnTo>
                <a:lnTo>
                  <a:pt x="192" y="12"/>
                </a:lnTo>
                <a:lnTo>
                  <a:pt x="192" y="12"/>
                </a:lnTo>
                <a:lnTo>
                  <a:pt x="192" y="12"/>
                </a:lnTo>
                <a:lnTo>
                  <a:pt x="192" y="12"/>
                </a:lnTo>
                <a:lnTo>
                  <a:pt x="192" y="12"/>
                </a:lnTo>
                <a:lnTo>
                  <a:pt x="192" y="12"/>
                </a:lnTo>
                <a:lnTo>
                  <a:pt x="192" y="12"/>
                </a:lnTo>
                <a:lnTo>
                  <a:pt x="192" y="12"/>
                </a:lnTo>
                <a:lnTo>
                  <a:pt x="192" y="12"/>
                </a:lnTo>
                <a:lnTo>
                  <a:pt x="192" y="12"/>
                </a:lnTo>
                <a:lnTo>
                  <a:pt x="192" y="12"/>
                </a:lnTo>
                <a:lnTo>
                  <a:pt x="192" y="12"/>
                </a:lnTo>
                <a:lnTo>
                  <a:pt x="192" y="12"/>
                </a:lnTo>
                <a:lnTo>
                  <a:pt x="192" y="12"/>
                </a:lnTo>
                <a:lnTo>
                  <a:pt x="192" y="12"/>
                </a:lnTo>
                <a:lnTo>
                  <a:pt x="192" y="12"/>
                </a:lnTo>
                <a:lnTo>
                  <a:pt x="192" y="12"/>
                </a:lnTo>
                <a:lnTo>
                  <a:pt x="192" y="12"/>
                </a:lnTo>
                <a:lnTo>
                  <a:pt x="192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8"/>
                </a:lnTo>
                <a:lnTo>
                  <a:pt x="198" y="18"/>
                </a:lnTo>
                <a:lnTo>
                  <a:pt x="198" y="18"/>
                </a:lnTo>
                <a:lnTo>
                  <a:pt x="198" y="18"/>
                </a:lnTo>
                <a:lnTo>
                  <a:pt x="198" y="18"/>
                </a:lnTo>
                <a:lnTo>
                  <a:pt x="204" y="18"/>
                </a:lnTo>
                <a:lnTo>
                  <a:pt x="204" y="18"/>
                </a:lnTo>
                <a:lnTo>
                  <a:pt x="198" y="18"/>
                </a:lnTo>
                <a:lnTo>
                  <a:pt x="204" y="18"/>
                </a:lnTo>
                <a:lnTo>
                  <a:pt x="204" y="18"/>
                </a:lnTo>
                <a:lnTo>
                  <a:pt x="204" y="18"/>
                </a:lnTo>
                <a:lnTo>
                  <a:pt x="198" y="18"/>
                </a:lnTo>
                <a:lnTo>
                  <a:pt x="204" y="18"/>
                </a:lnTo>
                <a:lnTo>
                  <a:pt x="204" y="24"/>
                </a:lnTo>
                <a:lnTo>
                  <a:pt x="204" y="24"/>
                </a:lnTo>
                <a:lnTo>
                  <a:pt x="204" y="24"/>
                </a:lnTo>
                <a:lnTo>
                  <a:pt x="204" y="24"/>
                </a:lnTo>
                <a:lnTo>
                  <a:pt x="204" y="24"/>
                </a:lnTo>
                <a:lnTo>
                  <a:pt x="204" y="24"/>
                </a:lnTo>
                <a:lnTo>
                  <a:pt x="204" y="24"/>
                </a:lnTo>
                <a:lnTo>
                  <a:pt x="204" y="24"/>
                </a:lnTo>
                <a:lnTo>
                  <a:pt x="204" y="24"/>
                </a:lnTo>
                <a:lnTo>
                  <a:pt x="204" y="24"/>
                </a:lnTo>
                <a:lnTo>
                  <a:pt x="204" y="24"/>
                </a:lnTo>
                <a:lnTo>
                  <a:pt x="204" y="24"/>
                </a:lnTo>
                <a:lnTo>
                  <a:pt x="204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30"/>
                </a:lnTo>
                <a:lnTo>
                  <a:pt x="210" y="30"/>
                </a:lnTo>
                <a:lnTo>
                  <a:pt x="210" y="30"/>
                </a:lnTo>
                <a:lnTo>
                  <a:pt x="210" y="30"/>
                </a:lnTo>
                <a:lnTo>
                  <a:pt x="210" y="30"/>
                </a:lnTo>
                <a:lnTo>
                  <a:pt x="210" y="30"/>
                </a:lnTo>
                <a:lnTo>
                  <a:pt x="210" y="30"/>
                </a:lnTo>
                <a:lnTo>
                  <a:pt x="210" y="30"/>
                </a:lnTo>
                <a:lnTo>
                  <a:pt x="210" y="30"/>
                </a:lnTo>
                <a:lnTo>
                  <a:pt x="216" y="30"/>
                </a:lnTo>
                <a:lnTo>
                  <a:pt x="216" y="30"/>
                </a:lnTo>
                <a:lnTo>
                  <a:pt x="216" y="30"/>
                </a:lnTo>
                <a:lnTo>
                  <a:pt x="216" y="36"/>
                </a:lnTo>
                <a:lnTo>
                  <a:pt x="216" y="36"/>
                </a:lnTo>
                <a:lnTo>
                  <a:pt x="216" y="36"/>
                </a:lnTo>
                <a:lnTo>
                  <a:pt x="216" y="36"/>
                </a:lnTo>
                <a:lnTo>
                  <a:pt x="216" y="36"/>
                </a:lnTo>
                <a:lnTo>
                  <a:pt x="216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8" y="42"/>
                </a:lnTo>
                <a:lnTo>
                  <a:pt x="228" y="42"/>
                </a:lnTo>
                <a:lnTo>
                  <a:pt x="228" y="42"/>
                </a:lnTo>
                <a:lnTo>
                  <a:pt x="228" y="42"/>
                </a:lnTo>
                <a:lnTo>
                  <a:pt x="228" y="42"/>
                </a:lnTo>
                <a:lnTo>
                  <a:pt x="228" y="42"/>
                </a:lnTo>
                <a:lnTo>
                  <a:pt x="228" y="42"/>
                </a:lnTo>
                <a:lnTo>
                  <a:pt x="228" y="42"/>
                </a:lnTo>
                <a:lnTo>
                  <a:pt x="228" y="42"/>
                </a:lnTo>
                <a:lnTo>
                  <a:pt x="228" y="42"/>
                </a:lnTo>
                <a:lnTo>
                  <a:pt x="228" y="42"/>
                </a:lnTo>
                <a:lnTo>
                  <a:pt x="234" y="42"/>
                </a:lnTo>
                <a:lnTo>
                  <a:pt x="234" y="42"/>
                </a:lnTo>
                <a:lnTo>
                  <a:pt x="234" y="42"/>
                </a:lnTo>
                <a:lnTo>
                  <a:pt x="234" y="36"/>
                </a:lnTo>
                <a:lnTo>
                  <a:pt x="234" y="36"/>
                </a:lnTo>
                <a:lnTo>
                  <a:pt x="234" y="36"/>
                </a:lnTo>
                <a:lnTo>
                  <a:pt x="234" y="36"/>
                </a:lnTo>
                <a:lnTo>
                  <a:pt x="234" y="42"/>
                </a:lnTo>
                <a:lnTo>
                  <a:pt x="234" y="42"/>
                </a:lnTo>
                <a:lnTo>
                  <a:pt x="234" y="42"/>
                </a:lnTo>
                <a:lnTo>
                  <a:pt x="234" y="42"/>
                </a:lnTo>
                <a:lnTo>
                  <a:pt x="234" y="42"/>
                </a:lnTo>
                <a:lnTo>
                  <a:pt x="240" y="42"/>
                </a:lnTo>
                <a:lnTo>
                  <a:pt x="240" y="42"/>
                </a:lnTo>
                <a:lnTo>
                  <a:pt x="240" y="42"/>
                </a:lnTo>
                <a:lnTo>
                  <a:pt x="240" y="42"/>
                </a:lnTo>
                <a:lnTo>
                  <a:pt x="240" y="42"/>
                </a:lnTo>
                <a:lnTo>
                  <a:pt x="240" y="42"/>
                </a:lnTo>
                <a:lnTo>
                  <a:pt x="240" y="42"/>
                </a:lnTo>
                <a:lnTo>
                  <a:pt x="240" y="42"/>
                </a:lnTo>
                <a:lnTo>
                  <a:pt x="240" y="42"/>
                </a:lnTo>
                <a:lnTo>
                  <a:pt x="240" y="42"/>
                </a:lnTo>
                <a:lnTo>
                  <a:pt x="246" y="42"/>
                </a:lnTo>
                <a:lnTo>
                  <a:pt x="246" y="42"/>
                </a:lnTo>
                <a:lnTo>
                  <a:pt x="246" y="36"/>
                </a:lnTo>
                <a:lnTo>
                  <a:pt x="246" y="36"/>
                </a:lnTo>
                <a:lnTo>
                  <a:pt x="246" y="36"/>
                </a:lnTo>
                <a:lnTo>
                  <a:pt x="246" y="36"/>
                </a:lnTo>
                <a:lnTo>
                  <a:pt x="246" y="36"/>
                </a:lnTo>
                <a:lnTo>
                  <a:pt x="246" y="36"/>
                </a:lnTo>
                <a:lnTo>
                  <a:pt x="246" y="36"/>
                </a:lnTo>
                <a:lnTo>
                  <a:pt x="246" y="36"/>
                </a:lnTo>
                <a:lnTo>
                  <a:pt x="246" y="36"/>
                </a:lnTo>
                <a:lnTo>
                  <a:pt x="246" y="36"/>
                </a:lnTo>
                <a:lnTo>
                  <a:pt x="246" y="36"/>
                </a:lnTo>
                <a:lnTo>
                  <a:pt x="252" y="36"/>
                </a:lnTo>
                <a:lnTo>
                  <a:pt x="252" y="36"/>
                </a:lnTo>
                <a:lnTo>
                  <a:pt x="252" y="36"/>
                </a:lnTo>
                <a:lnTo>
                  <a:pt x="252" y="36"/>
                </a:lnTo>
                <a:lnTo>
                  <a:pt x="252" y="36"/>
                </a:lnTo>
                <a:lnTo>
                  <a:pt x="252" y="36"/>
                </a:lnTo>
                <a:lnTo>
                  <a:pt x="252" y="36"/>
                </a:lnTo>
                <a:lnTo>
                  <a:pt x="252" y="42"/>
                </a:lnTo>
                <a:lnTo>
                  <a:pt x="252" y="42"/>
                </a:lnTo>
                <a:lnTo>
                  <a:pt x="252" y="42"/>
                </a:lnTo>
                <a:lnTo>
                  <a:pt x="252" y="42"/>
                </a:lnTo>
                <a:lnTo>
                  <a:pt x="252" y="42"/>
                </a:lnTo>
                <a:lnTo>
                  <a:pt x="252" y="42"/>
                </a:lnTo>
                <a:lnTo>
                  <a:pt x="252" y="42"/>
                </a:lnTo>
                <a:lnTo>
                  <a:pt x="252" y="42"/>
                </a:lnTo>
                <a:lnTo>
                  <a:pt x="252" y="42"/>
                </a:lnTo>
                <a:lnTo>
                  <a:pt x="252" y="42"/>
                </a:lnTo>
                <a:lnTo>
                  <a:pt x="252" y="42"/>
                </a:lnTo>
                <a:lnTo>
                  <a:pt x="252" y="48"/>
                </a:lnTo>
                <a:lnTo>
                  <a:pt x="258" y="48"/>
                </a:lnTo>
                <a:lnTo>
                  <a:pt x="258" y="48"/>
                </a:lnTo>
                <a:lnTo>
                  <a:pt x="258" y="48"/>
                </a:lnTo>
                <a:lnTo>
                  <a:pt x="258" y="48"/>
                </a:lnTo>
                <a:lnTo>
                  <a:pt x="258" y="48"/>
                </a:lnTo>
                <a:lnTo>
                  <a:pt x="258" y="48"/>
                </a:lnTo>
                <a:lnTo>
                  <a:pt x="258" y="48"/>
                </a:lnTo>
                <a:lnTo>
                  <a:pt x="258" y="48"/>
                </a:lnTo>
                <a:lnTo>
                  <a:pt x="258" y="54"/>
                </a:lnTo>
                <a:lnTo>
                  <a:pt x="258" y="54"/>
                </a:lnTo>
                <a:lnTo>
                  <a:pt x="258" y="54"/>
                </a:lnTo>
                <a:lnTo>
                  <a:pt x="258" y="54"/>
                </a:lnTo>
                <a:lnTo>
                  <a:pt x="258" y="54"/>
                </a:lnTo>
                <a:lnTo>
                  <a:pt x="258" y="54"/>
                </a:lnTo>
                <a:lnTo>
                  <a:pt x="258" y="54"/>
                </a:lnTo>
                <a:lnTo>
                  <a:pt x="258" y="54"/>
                </a:lnTo>
                <a:lnTo>
                  <a:pt x="258" y="54"/>
                </a:lnTo>
                <a:lnTo>
                  <a:pt x="258" y="54"/>
                </a:lnTo>
                <a:lnTo>
                  <a:pt x="258" y="54"/>
                </a:lnTo>
                <a:lnTo>
                  <a:pt x="258" y="54"/>
                </a:lnTo>
                <a:lnTo>
                  <a:pt x="258" y="54"/>
                </a:lnTo>
                <a:lnTo>
                  <a:pt x="258" y="54"/>
                </a:lnTo>
                <a:lnTo>
                  <a:pt x="264" y="54"/>
                </a:lnTo>
                <a:lnTo>
                  <a:pt x="264" y="60"/>
                </a:lnTo>
                <a:lnTo>
                  <a:pt x="264" y="60"/>
                </a:lnTo>
                <a:lnTo>
                  <a:pt x="264" y="60"/>
                </a:lnTo>
                <a:lnTo>
                  <a:pt x="264" y="60"/>
                </a:lnTo>
                <a:lnTo>
                  <a:pt x="264" y="60"/>
                </a:lnTo>
                <a:lnTo>
                  <a:pt x="264" y="60"/>
                </a:lnTo>
                <a:lnTo>
                  <a:pt x="264" y="60"/>
                </a:lnTo>
                <a:lnTo>
                  <a:pt x="264" y="60"/>
                </a:lnTo>
                <a:lnTo>
                  <a:pt x="264" y="60"/>
                </a:lnTo>
                <a:lnTo>
                  <a:pt x="264" y="60"/>
                </a:lnTo>
                <a:lnTo>
                  <a:pt x="264" y="60"/>
                </a:lnTo>
                <a:lnTo>
                  <a:pt x="264" y="60"/>
                </a:lnTo>
                <a:lnTo>
                  <a:pt x="264" y="60"/>
                </a:lnTo>
                <a:lnTo>
                  <a:pt x="264" y="60"/>
                </a:lnTo>
                <a:lnTo>
                  <a:pt x="270" y="66"/>
                </a:lnTo>
                <a:lnTo>
                  <a:pt x="270" y="66"/>
                </a:lnTo>
                <a:lnTo>
                  <a:pt x="270" y="66"/>
                </a:lnTo>
                <a:lnTo>
                  <a:pt x="270" y="66"/>
                </a:lnTo>
                <a:lnTo>
                  <a:pt x="270" y="66"/>
                </a:lnTo>
                <a:lnTo>
                  <a:pt x="270" y="66"/>
                </a:lnTo>
                <a:lnTo>
                  <a:pt x="276" y="66"/>
                </a:lnTo>
                <a:lnTo>
                  <a:pt x="276" y="66"/>
                </a:lnTo>
                <a:lnTo>
                  <a:pt x="276" y="66"/>
                </a:lnTo>
                <a:lnTo>
                  <a:pt x="276" y="66"/>
                </a:lnTo>
                <a:lnTo>
                  <a:pt x="276" y="66"/>
                </a:lnTo>
                <a:lnTo>
                  <a:pt x="276" y="66"/>
                </a:lnTo>
                <a:lnTo>
                  <a:pt x="276" y="66"/>
                </a:lnTo>
                <a:lnTo>
                  <a:pt x="276" y="66"/>
                </a:lnTo>
                <a:lnTo>
                  <a:pt x="276" y="66"/>
                </a:lnTo>
                <a:lnTo>
                  <a:pt x="276" y="72"/>
                </a:lnTo>
                <a:lnTo>
                  <a:pt x="276" y="72"/>
                </a:lnTo>
                <a:lnTo>
                  <a:pt x="276" y="72"/>
                </a:lnTo>
                <a:lnTo>
                  <a:pt x="276" y="72"/>
                </a:lnTo>
                <a:lnTo>
                  <a:pt x="282" y="72"/>
                </a:lnTo>
                <a:lnTo>
                  <a:pt x="282" y="72"/>
                </a:lnTo>
                <a:lnTo>
                  <a:pt x="282" y="72"/>
                </a:lnTo>
                <a:lnTo>
                  <a:pt x="282" y="72"/>
                </a:lnTo>
                <a:lnTo>
                  <a:pt x="282" y="72"/>
                </a:lnTo>
                <a:lnTo>
                  <a:pt x="276" y="78"/>
                </a:lnTo>
                <a:lnTo>
                  <a:pt x="276" y="78"/>
                </a:lnTo>
                <a:lnTo>
                  <a:pt x="276" y="78"/>
                </a:lnTo>
                <a:lnTo>
                  <a:pt x="276" y="78"/>
                </a:lnTo>
                <a:lnTo>
                  <a:pt x="276" y="78"/>
                </a:lnTo>
                <a:lnTo>
                  <a:pt x="276" y="78"/>
                </a:lnTo>
                <a:lnTo>
                  <a:pt x="276" y="78"/>
                </a:lnTo>
                <a:lnTo>
                  <a:pt x="276" y="84"/>
                </a:lnTo>
                <a:lnTo>
                  <a:pt x="276" y="84"/>
                </a:lnTo>
                <a:lnTo>
                  <a:pt x="276" y="84"/>
                </a:lnTo>
                <a:lnTo>
                  <a:pt x="276" y="84"/>
                </a:lnTo>
                <a:lnTo>
                  <a:pt x="276" y="84"/>
                </a:lnTo>
                <a:lnTo>
                  <a:pt x="276" y="84"/>
                </a:lnTo>
                <a:lnTo>
                  <a:pt x="276" y="84"/>
                </a:lnTo>
                <a:lnTo>
                  <a:pt x="276" y="84"/>
                </a:lnTo>
                <a:lnTo>
                  <a:pt x="276" y="84"/>
                </a:lnTo>
                <a:lnTo>
                  <a:pt x="270" y="90"/>
                </a:lnTo>
                <a:lnTo>
                  <a:pt x="270" y="90"/>
                </a:lnTo>
                <a:lnTo>
                  <a:pt x="270" y="90"/>
                </a:lnTo>
                <a:lnTo>
                  <a:pt x="270" y="90"/>
                </a:lnTo>
                <a:lnTo>
                  <a:pt x="270" y="90"/>
                </a:lnTo>
                <a:lnTo>
                  <a:pt x="270" y="90"/>
                </a:lnTo>
                <a:lnTo>
                  <a:pt x="270" y="90"/>
                </a:lnTo>
                <a:lnTo>
                  <a:pt x="270" y="90"/>
                </a:lnTo>
                <a:lnTo>
                  <a:pt x="270" y="90"/>
                </a:lnTo>
                <a:lnTo>
                  <a:pt x="270" y="90"/>
                </a:lnTo>
                <a:lnTo>
                  <a:pt x="270" y="90"/>
                </a:lnTo>
                <a:lnTo>
                  <a:pt x="270" y="90"/>
                </a:lnTo>
                <a:lnTo>
                  <a:pt x="270" y="96"/>
                </a:lnTo>
                <a:lnTo>
                  <a:pt x="270" y="96"/>
                </a:lnTo>
                <a:lnTo>
                  <a:pt x="270" y="96"/>
                </a:lnTo>
                <a:lnTo>
                  <a:pt x="270" y="96"/>
                </a:lnTo>
                <a:lnTo>
                  <a:pt x="270" y="96"/>
                </a:lnTo>
                <a:lnTo>
                  <a:pt x="270" y="96"/>
                </a:lnTo>
                <a:lnTo>
                  <a:pt x="270" y="96"/>
                </a:lnTo>
                <a:lnTo>
                  <a:pt x="270" y="96"/>
                </a:lnTo>
                <a:lnTo>
                  <a:pt x="270" y="96"/>
                </a:lnTo>
                <a:lnTo>
                  <a:pt x="270" y="96"/>
                </a:lnTo>
                <a:lnTo>
                  <a:pt x="264" y="96"/>
                </a:lnTo>
                <a:lnTo>
                  <a:pt x="264" y="96"/>
                </a:lnTo>
                <a:lnTo>
                  <a:pt x="264" y="96"/>
                </a:lnTo>
                <a:lnTo>
                  <a:pt x="264" y="96"/>
                </a:lnTo>
                <a:lnTo>
                  <a:pt x="264" y="96"/>
                </a:lnTo>
                <a:lnTo>
                  <a:pt x="264" y="96"/>
                </a:lnTo>
                <a:lnTo>
                  <a:pt x="264" y="96"/>
                </a:lnTo>
                <a:lnTo>
                  <a:pt x="264" y="102"/>
                </a:lnTo>
                <a:lnTo>
                  <a:pt x="264" y="102"/>
                </a:lnTo>
                <a:lnTo>
                  <a:pt x="264" y="102"/>
                </a:lnTo>
                <a:lnTo>
                  <a:pt x="264" y="102"/>
                </a:lnTo>
                <a:lnTo>
                  <a:pt x="264" y="102"/>
                </a:lnTo>
                <a:lnTo>
                  <a:pt x="264" y="102"/>
                </a:lnTo>
                <a:lnTo>
                  <a:pt x="264" y="102"/>
                </a:lnTo>
                <a:lnTo>
                  <a:pt x="264" y="102"/>
                </a:lnTo>
                <a:lnTo>
                  <a:pt x="264" y="102"/>
                </a:lnTo>
                <a:lnTo>
                  <a:pt x="264" y="102"/>
                </a:lnTo>
                <a:lnTo>
                  <a:pt x="264" y="102"/>
                </a:lnTo>
                <a:lnTo>
                  <a:pt x="264" y="102"/>
                </a:lnTo>
                <a:lnTo>
                  <a:pt x="264" y="102"/>
                </a:lnTo>
                <a:lnTo>
                  <a:pt x="264" y="102"/>
                </a:lnTo>
                <a:lnTo>
                  <a:pt x="264" y="102"/>
                </a:lnTo>
                <a:lnTo>
                  <a:pt x="264" y="102"/>
                </a:lnTo>
                <a:lnTo>
                  <a:pt x="264" y="102"/>
                </a:lnTo>
                <a:lnTo>
                  <a:pt x="264" y="102"/>
                </a:lnTo>
                <a:lnTo>
                  <a:pt x="258" y="102"/>
                </a:lnTo>
                <a:lnTo>
                  <a:pt x="258" y="102"/>
                </a:lnTo>
                <a:lnTo>
                  <a:pt x="258" y="102"/>
                </a:lnTo>
                <a:lnTo>
                  <a:pt x="258" y="108"/>
                </a:lnTo>
                <a:lnTo>
                  <a:pt x="258" y="108"/>
                </a:lnTo>
                <a:lnTo>
                  <a:pt x="258" y="108"/>
                </a:lnTo>
                <a:lnTo>
                  <a:pt x="258" y="108"/>
                </a:lnTo>
                <a:lnTo>
                  <a:pt x="258" y="108"/>
                </a:lnTo>
                <a:lnTo>
                  <a:pt x="258" y="108"/>
                </a:lnTo>
                <a:lnTo>
                  <a:pt x="258" y="108"/>
                </a:lnTo>
                <a:lnTo>
                  <a:pt x="258" y="108"/>
                </a:lnTo>
                <a:lnTo>
                  <a:pt x="258" y="108"/>
                </a:lnTo>
                <a:lnTo>
                  <a:pt x="258" y="102"/>
                </a:lnTo>
                <a:lnTo>
                  <a:pt x="258" y="102"/>
                </a:lnTo>
                <a:lnTo>
                  <a:pt x="252" y="102"/>
                </a:lnTo>
                <a:lnTo>
                  <a:pt x="252" y="108"/>
                </a:lnTo>
                <a:lnTo>
                  <a:pt x="252" y="108"/>
                </a:lnTo>
                <a:lnTo>
                  <a:pt x="252" y="108"/>
                </a:lnTo>
                <a:lnTo>
                  <a:pt x="252" y="108"/>
                </a:lnTo>
                <a:lnTo>
                  <a:pt x="252" y="108"/>
                </a:lnTo>
                <a:lnTo>
                  <a:pt x="252" y="108"/>
                </a:lnTo>
                <a:lnTo>
                  <a:pt x="252" y="108"/>
                </a:lnTo>
                <a:lnTo>
                  <a:pt x="252" y="108"/>
                </a:lnTo>
                <a:lnTo>
                  <a:pt x="252" y="108"/>
                </a:lnTo>
                <a:lnTo>
                  <a:pt x="252" y="108"/>
                </a:lnTo>
                <a:lnTo>
                  <a:pt x="252" y="108"/>
                </a:lnTo>
                <a:lnTo>
                  <a:pt x="252" y="108"/>
                </a:lnTo>
                <a:lnTo>
                  <a:pt x="252" y="108"/>
                </a:lnTo>
                <a:lnTo>
                  <a:pt x="252" y="108"/>
                </a:lnTo>
                <a:lnTo>
                  <a:pt x="252" y="108"/>
                </a:lnTo>
                <a:lnTo>
                  <a:pt x="252" y="108"/>
                </a:lnTo>
                <a:lnTo>
                  <a:pt x="252" y="108"/>
                </a:lnTo>
                <a:lnTo>
                  <a:pt x="252" y="108"/>
                </a:lnTo>
                <a:lnTo>
                  <a:pt x="252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6"/>
                </a:lnTo>
                <a:lnTo>
                  <a:pt x="246" y="126"/>
                </a:lnTo>
                <a:lnTo>
                  <a:pt x="246" y="126"/>
                </a:lnTo>
                <a:lnTo>
                  <a:pt x="246" y="126"/>
                </a:lnTo>
                <a:lnTo>
                  <a:pt x="246" y="126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6"/>
                </a:lnTo>
                <a:lnTo>
                  <a:pt x="252" y="126"/>
                </a:lnTo>
                <a:lnTo>
                  <a:pt x="252" y="126"/>
                </a:lnTo>
                <a:lnTo>
                  <a:pt x="252" y="126"/>
                </a:lnTo>
                <a:lnTo>
                  <a:pt x="252" y="126"/>
                </a:lnTo>
                <a:lnTo>
                  <a:pt x="252" y="120"/>
                </a:lnTo>
                <a:lnTo>
                  <a:pt x="252" y="120"/>
                </a:lnTo>
                <a:lnTo>
                  <a:pt x="252" y="120"/>
                </a:lnTo>
                <a:lnTo>
                  <a:pt x="252" y="120"/>
                </a:lnTo>
                <a:lnTo>
                  <a:pt x="252" y="126"/>
                </a:lnTo>
                <a:lnTo>
                  <a:pt x="252" y="126"/>
                </a:lnTo>
                <a:lnTo>
                  <a:pt x="252" y="126"/>
                </a:lnTo>
                <a:lnTo>
                  <a:pt x="246" y="126"/>
                </a:lnTo>
                <a:lnTo>
                  <a:pt x="252" y="126"/>
                </a:lnTo>
                <a:lnTo>
                  <a:pt x="246" y="126"/>
                </a:lnTo>
                <a:lnTo>
                  <a:pt x="246" y="126"/>
                </a:lnTo>
                <a:lnTo>
                  <a:pt x="252" y="126"/>
                </a:lnTo>
                <a:lnTo>
                  <a:pt x="246" y="126"/>
                </a:lnTo>
                <a:lnTo>
                  <a:pt x="252" y="126"/>
                </a:lnTo>
                <a:lnTo>
                  <a:pt x="252" y="126"/>
                </a:lnTo>
                <a:lnTo>
                  <a:pt x="246" y="126"/>
                </a:lnTo>
                <a:lnTo>
                  <a:pt x="246" y="126"/>
                </a:lnTo>
                <a:lnTo>
                  <a:pt x="246" y="132"/>
                </a:lnTo>
                <a:lnTo>
                  <a:pt x="246" y="132"/>
                </a:lnTo>
                <a:lnTo>
                  <a:pt x="246" y="132"/>
                </a:lnTo>
                <a:lnTo>
                  <a:pt x="246" y="132"/>
                </a:lnTo>
                <a:lnTo>
                  <a:pt x="246" y="132"/>
                </a:lnTo>
                <a:lnTo>
                  <a:pt x="246" y="132"/>
                </a:lnTo>
                <a:lnTo>
                  <a:pt x="246" y="132"/>
                </a:lnTo>
                <a:lnTo>
                  <a:pt x="246" y="132"/>
                </a:lnTo>
                <a:lnTo>
                  <a:pt x="246" y="132"/>
                </a:lnTo>
                <a:lnTo>
                  <a:pt x="246" y="132"/>
                </a:lnTo>
                <a:lnTo>
                  <a:pt x="246" y="132"/>
                </a:lnTo>
                <a:lnTo>
                  <a:pt x="246" y="132"/>
                </a:lnTo>
                <a:lnTo>
                  <a:pt x="246" y="132"/>
                </a:lnTo>
                <a:lnTo>
                  <a:pt x="246" y="132"/>
                </a:lnTo>
                <a:lnTo>
                  <a:pt x="246" y="132"/>
                </a:lnTo>
                <a:lnTo>
                  <a:pt x="246" y="132"/>
                </a:lnTo>
                <a:lnTo>
                  <a:pt x="246" y="132"/>
                </a:lnTo>
                <a:lnTo>
                  <a:pt x="246" y="132"/>
                </a:lnTo>
                <a:lnTo>
                  <a:pt x="246" y="132"/>
                </a:lnTo>
                <a:lnTo>
                  <a:pt x="246" y="138"/>
                </a:lnTo>
                <a:lnTo>
                  <a:pt x="246" y="138"/>
                </a:lnTo>
                <a:lnTo>
                  <a:pt x="246" y="138"/>
                </a:lnTo>
                <a:lnTo>
                  <a:pt x="246" y="138"/>
                </a:lnTo>
                <a:lnTo>
                  <a:pt x="246" y="138"/>
                </a:lnTo>
                <a:lnTo>
                  <a:pt x="246" y="138"/>
                </a:lnTo>
                <a:lnTo>
                  <a:pt x="246" y="138"/>
                </a:lnTo>
                <a:lnTo>
                  <a:pt x="246" y="138"/>
                </a:lnTo>
                <a:lnTo>
                  <a:pt x="246" y="138"/>
                </a:lnTo>
                <a:lnTo>
                  <a:pt x="246" y="138"/>
                </a:lnTo>
                <a:lnTo>
                  <a:pt x="246" y="138"/>
                </a:lnTo>
                <a:lnTo>
                  <a:pt x="246" y="138"/>
                </a:lnTo>
                <a:lnTo>
                  <a:pt x="246" y="138"/>
                </a:lnTo>
                <a:lnTo>
                  <a:pt x="246" y="138"/>
                </a:lnTo>
                <a:lnTo>
                  <a:pt x="246" y="138"/>
                </a:lnTo>
                <a:lnTo>
                  <a:pt x="246" y="138"/>
                </a:lnTo>
                <a:lnTo>
                  <a:pt x="246" y="138"/>
                </a:lnTo>
                <a:lnTo>
                  <a:pt x="246" y="138"/>
                </a:lnTo>
                <a:lnTo>
                  <a:pt x="246" y="138"/>
                </a:lnTo>
                <a:lnTo>
                  <a:pt x="246" y="138"/>
                </a:lnTo>
                <a:lnTo>
                  <a:pt x="246" y="138"/>
                </a:lnTo>
                <a:lnTo>
                  <a:pt x="246" y="138"/>
                </a:lnTo>
                <a:lnTo>
                  <a:pt x="246" y="138"/>
                </a:lnTo>
                <a:lnTo>
                  <a:pt x="246" y="144"/>
                </a:lnTo>
                <a:lnTo>
                  <a:pt x="246" y="144"/>
                </a:lnTo>
                <a:lnTo>
                  <a:pt x="246" y="144"/>
                </a:lnTo>
                <a:lnTo>
                  <a:pt x="246" y="144"/>
                </a:lnTo>
                <a:lnTo>
                  <a:pt x="246" y="144"/>
                </a:lnTo>
                <a:lnTo>
                  <a:pt x="246" y="144"/>
                </a:lnTo>
                <a:lnTo>
                  <a:pt x="246" y="144"/>
                </a:lnTo>
                <a:lnTo>
                  <a:pt x="246" y="144"/>
                </a:lnTo>
                <a:lnTo>
                  <a:pt x="246" y="144"/>
                </a:lnTo>
                <a:lnTo>
                  <a:pt x="246" y="144"/>
                </a:lnTo>
                <a:lnTo>
                  <a:pt x="246" y="144"/>
                </a:lnTo>
                <a:lnTo>
                  <a:pt x="246" y="144"/>
                </a:lnTo>
                <a:lnTo>
                  <a:pt x="246" y="144"/>
                </a:lnTo>
                <a:lnTo>
                  <a:pt x="246" y="144"/>
                </a:lnTo>
                <a:lnTo>
                  <a:pt x="246" y="144"/>
                </a:lnTo>
                <a:lnTo>
                  <a:pt x="246" y="144"/>
                </a:lnTo>
                <a:lnTo>
                  <a:pt x="246" y="144"/>
                </a:lnTo>
                <a:lnTo>
                  <a:pt x="246" y="144"/>
                </a:lnTo>
                <a:lnTo>
                  <a:pt x="246" y="144"/>
                </a:lnTo>
                <a:lnTo>
                  <a:pt x="246" y="144"/>
                </a:lnTo>
                <a:lnTo>
                  <a:pt x="246" y="144"/>
                </a:lnTo>
                <a:lnTo>
                  <a:pt x="246" y="144"/>
                </a:lnTo>
                <a:lnTo>
                  <a:pt x="246" y="144"/>
                </a:lnTo>
                <a:lnTo>
                  <a:pt x="246" y="144"/>
                </a:lnTo>
                <a:lnTo>
                  <a:pt x="246" y="150"/>
                </a:lnTo>
                <a:lnTo>
                  <a:pt x="246" y="144"/>
                </a:lnTo>
                <a:lnTo>
                  <a:pt x="246" y="150"/>
                </a:lnTo>
                <a:lnTo>
                  <a:pt x="246" y="150"/>
                </a:lnTo>
                <a:lnTo>
                  <a:pt x="246" y="150"/>
                </a:lnTo>
                <a:lnTo>
                  <a:pt x="246" y="150"/>
                </a:lnTo>
                <a:lnTo>
                  <a:pt x="246" y="150"/>
                </a:lnTo>
                <a:lnTo>
                  <a:pt x="246" y="150"/>
                </a:lnTo>
                <a:lnTo>
                  <a:pt x="246" y="150"/>
                </a:lnTo>
                <a:lnTo>
                  <a:pt x="246" y="150"/>
                </a:lnTo>
                <a:lnTo>
                  <a:pt x="246" y="150"/>
                </a:lnTo>
                <a:lnTo>
                  <a:pt x="246" y="150"/>
                </a:lnTo>
                <a:lnTo>
                  <a:pt x="246" y="150"/>
                </a:lnTo>
                <a:lnTo>
                  <a:pt x="246" y="150"/>
                </a:lnTo>
                <a:lnTo>
                  <a:pt x="246" y="150"/>
                </a:lnTo>
                <a:lnTo>
                  <a:pt x="246" y="150"/>
                </a:lnTo>
                <a:lnTo>
                  <a:pt x="246" y="150"/>
                </a:lnTo>
                <a:lnTo>
                  <a:pt x="246" y="156"/>
                </a:lnTo>
                <a:lnTo>
                  <a:pt x="246" y="156"/>
                </a:lnTo>
                <a:lnTo>
                  <a:pt x="240" y="156"/>
                </a:lnTo>
                <a:lnTo>
                  <a:pt x="240" y="156"/>
                </a:lnTo>
                <a:lnTo>
                  <a:pt x="240" y="156"/>
                </a:lnTo>
                <a:lnTo>
                  <a:pt x="240" y="156"/>
                </a:lnTo>
                <a:lnTo>
                  <a:pt x="240" y="156"/>
                </a:lnTo>
                <a:lnTo>
                  <a:pt x="240" y="156"/>
                </a:lnTo>
                <a:lnTo>
                  <a:pt x="240" y="156"/>
                </a:lnTo>
                <a:lnTo>
                  <a:pt x="240" y="156"/>
                </a:lnTo>
                <a:lnTo>
                  <a:pt x="240" y="156"/>
                </a:lnTo>
                <a:lnTo>
                  <a:pt x="240" y="156"/>
                </a:lnTo>
                <a:lnTo>
                  <a:pt x="240" y="156"/>
                </a:lnTo>
                <a:lnTo>
                  <a:pt x="240" y="156"/>
                </a:lnTo>
                <a:lnTo>
                  <a:pt x="240" y="156"/>
                </a:lnTo>
                <a:lnTo>
                  <a:pt x="240" y="156"/>
                </a:lnTo>
                <a:lnTo>
                  <a:pt x="240" y="156"/>
                </a:lnTo>
                <a:lnTo>
                  <a:pt x="240" y="156"/>
                </a:lnTo>
                <a:lnTo>
                  <a:pt x="234" y="156"/>
                </a:lnTo>
                <a:lnTo>
                  <a:pt x="234" y="156"/>
                </a:lnTo>
                <a:lnTo>
                  <a:pt x="234" y="156"/>
                </a:lnTo>
                <a:lnTo>
                  <a:pt x="234" y="156"/>
                </a:lnTo>
                <a:lnTo>
                  <a:pt x="234" y="156"/>
                </a:lnTo>
                <a:lnTo>
                  <a:pt x="234" y="156"/>
                </a:lnTo>
                <a:lnTo>
                  <a:pt x="234" y="162"/>
                </a:lnTo>
                <a:lnTo>
                  <a:pt x="234" y="162"/>
                </a:lnTo>
                <a:lnTo>
                  <a:pt x="234" y="162"/>
                </a:lnTo>
                <a:lnTo>
                  <a:pt x="234" y="162"/>
                </a:lnTo>
                <a:lnTo>
                  <a:pt x="234" y="162"/>
                </a:lnTo>
                <a:lnTo>
                  <a:pt x="234" y="162"/>
                </a:lnTo>
                <a:lnTo>
                  <a:pt x="234" y="162"/>
                </a:lnTo>
                <a:lnTo>
                  <a:pt x="234" y="162"/>
                </a:lnTo>
                <a:lnTo>
                  <a:pt x="234" y="162"/>
                </a:lnTo>
                <a:lnTo>
                  <a:pt x="234" y="162"/>
                </a:lnTo>
                <a:lnTo>
                  <a:pt x="234" y="162"/>
                </a:lnTo>
                <a:lnTo>
                  <a:pt x="234" y="162"/>
                </a:lnTo>
                <a:lnTo>
                  <a:pt x="234" y="162"/>
                </a:lnTo>
                <a:lnTo>
                  <a:pt x="234" y="162"/>
                </a:lnTo>
                <a:lnTo>
                  <a:pt x="234" y="162"/>
                </a:lnTo>
                <a:lnTo>
                  <a:pt x="234" y="168"/>
                </a:lnTo>
                <a:lnTo>
                  <a:pt x="234" y="168"/>
                </a:lnTo>
                <a:lnTo>
                  <a:pt x="234" y="168"/>
                </a:lnTo>
                <a:lnTo>
                  <a:pt x="234" y="168"/>
                </a:lnTo>
                <a:lnTo>
                  <a:pt x="234" y="168"/>
                </a:lnTo>
                <a:lnTo>
                  <a:pt x="234" y="168"/>
                </a:lnTo>
                <a:lnTo>
                  <a:pt x="228" y="168"/>
                </a:lnTo>
                <a:lnTo>
                  <a:pt x="228" y="168"/>
                </a:lnTo>
                <a:lnTo>
                  <a:pt x="228" y="168"/>
                </a:lnTo>
                <a:lnTo>
                  <a:pt x="228" y="168"/>
                </a:lnTo>
                <a:lnTo>
                  <a:pt x="228" y="168"/>
                </a:lnTo>
                <a:lnTo>
                  <a:pt x="228" y="168"/>
                </a:lnTo>
                <a:lnTo>
                  <a:pt x="228" y="168"/>
                </a:lnTo>
                <a:lnTo>
                  <a:pt x="228" y="168"/>
                </a:lnTo>
                <a:lnTo>
                  <a:pt x="228" y="168"/>
                </a:lnTo>
                <a:lnTo>
                  <a:pt x="228" y="168"/>
                </a:lnTo>
                <a:lnTo>
                  <a:pt x="228" y="168"/>
                </a:lnTo>
                <a:lnTo>
                  <a:pt x="228" y="168"/>
                </a:lnTo>
                <a:lnTo>
                  <a:pt x="228" y="168"/>
                </a:lnTo>
                <a:lnTo>
                  <a:pt x="228" y="168"/>
                </a:lnTo>
                <a:lnTo>
                  <a:pt x="222" y="168"/>
                </a:lnTo>
                <a:lnTo>
                  <a:pt x="222" y="168"/>
                </a:lnTo>
                <a:lnTo>
                  <a:pt x="228" y="162"/>
                </a:lnTo>
                <a:lnTo>
                  <a:pt x="222" y="162"/>
                </a:lnTo>
                <a:lnTo>
                  <a:pt x="222" y="162"/>
                </a:lnTo>
                <a:lnTo>
                  <a:pt x="222" y="162"/>
                </a:lnTo>
                <a:lnTo>
                  <a:pt x="222" y="162"/>
                </a:lnTo>
                <a:lnTo>
                  <a:pt x="222" y="162"/>
                </a:lnTo>
                <a:lnTo>
                  <a:pt x="222" y="162"/>
                </a:lnTo>
                <a:lnTo>
                  <a:pt x="222" y="156"/>
                </a:lnTo>
                <a:lnTo>
                  <a:pt x="222" y="156"/>
                </a:lnTo>
                <a:lnTo>
                  <a:pt x="222" y="156"/>
                </a:lnTo>
                <a:lnTo>
                  <a:pt x="222" y="156"/>
                </a:lnTo>
                <a:lnTo>
                  <a:pt x="222" y="156"/>
                </a:lnTo>
                <a:lnTo>
                  <a:pt x="222" y="156"/>
                </a:lnTo>
                <a:lnTo>
                  <a:pt x="222" y="150"/>
                </a:lnTo>
                <a:lnTo>
                  <a:pt x="222" y="150"/>
                </a:lnTo>
                <a:lnTo>
                  <a:pt x="222" y="150"/>
                </a:lnTo>
                <a:lnTo>
                  <a:pt x="216" y="156"/>
                </a:lnTo>
                <a:lnTo>
                  <a:pt x="216" y="150"/>
                </a:lnTo>
                <a:lnTo>
                  <a:pt x="216" y="150"/>
                </a:lnTo>
                <a:lnTo>
                  <a:pt x="216" y="150"/>
                </a:lnTo>
                <a:lnTo>
                  <a:pt x="216" y="150"/>
                </a:lnTo>
                <a:lnTo>
                  <a:pt x="216" y="150"/>
                </a:lnTo>
                <a:lnTo>
                  <a:pt x="216" y="150"/>
                </a:lnTo>
                <a:lnTo>
                  <a:pt x="216" y="150"/>
                </a:lnTo>
                <a:lnTo>
                  <a:pt x="216" y="150"/>
                </a:lnTo>
                <a:lnTo>
                  <a:pt x="216" y="150"/>
                </a:lnTo>
                <a:lnTo>
                  <a:pt x="216" y="150"/>
                </a:lnTo>
                <a:lnTo>
                  <a:pt x="216" y="150"/>
                </a:lnTo>
                <a:lnTo>
                  <a:pt x="216" y="150"/>
                </a:lnTo>
                <a:lnTo>
                  <a:pt x="216" y="150"/>
                </a:lnTo>
                <a:lnTo>
                  <a:pt x="216" y="150"/>
                </a:lnTo>
                <a:lnTo>
                  <a:pt x="210" y="150"/>
                </a:lnTo>
                <a:lnTo>
                  <a:pt x="210" y="150"/>
                </a:lnTo>
                <a:lnTo>
                  <a:pt x="210" y="150"/>
                </a:lnTo>
                <a:lnTo>
                  <a:pt x="210" y="150"/>
                </a:lnTo>
                <a:lnTo>
                  <a:pt x="210" y="150"/>
                </a:lnTo>
                <a:lnTo>
                  <a:pt x="210" y="150"/>
                </a:lnTo>
                <a:lnTo>
                  <a:pt x="210" y="150"/>
                </a:lnTo>
                <a:lnTo>
                  <a:pt x="210" y="150"/>
                </a:lnTo>
                <a:lnTo>
                  <a:pt x="210" y="150"/>
                </a:lnTo>
                <a:lnTo>
                  <a:pt x="210" y="150"/>
                </a:lnTo>
                <a:lnTo>
                  <a:pt x="204" y="150"/>
                </a:lnTo>
                <a:lnTo>
                  <a:pt x="204" y="150"/>
                </a:lnTo>
                <a:lnTo>
                  <a:pt x="204" y="150"/>
                </a:lnTo>
                <a:lnTo>
                  <a:pt x="204" y="150"/>
                </a:lnTo>
                <a:lnTo>
                  <a:pt x="204" y="150"/>
                </a:lnTo>
                <a:lnTo>
                  <a:pt x="204" y="150"/>
                </a:lnTo>
                <a:lnTo>
                  <a:pt x="204" y="144"/>
                </a:lnTo>
                <a:lnTo>
                  <a:pt x="204" y="144"/>
                </a:lnTo>
                <a:lnTo>
                  <a:pt x="204" y="144"/>
                </a:lnTo>
                <a:lnTo>
                  <a:pt x="204" y="144"/>
                </a:lnTo>
                <a:lnTo>
                  <a:pt x="204" y="144"/>
                </a:lnTo>
                <a:lnTo>
                  <a:pt x="204" y="144"/>
                </a:lnTo>
                <a:lnTo>
                  <a:pt x="198" y="144"/>
                </a:lnTo>
                <a:lnTo>
                  <a:pt x="198" y="144"/>
                </a:lnTo>
                <a:lnTo>
                  <a:pt x="204" y="150"/>
                </a:lnTo>
                <a:lnTo>
                  <a:pt x="204" y="150"/>
                </a:lnTo>
                <a:lnTo>
                  <a:pt x="198" y="150"/>
                </a:lnTo>
                <a:lnTo>
                  <a:pt x="198" y="150"/>
                </a:lnTo>
                <a:lnTo>
                  <a:pt x="198" y="144"/>
                </a:lnTo>
                <a:lnTo>
                  <a:pt x="198" y="144"/>
                </a:lnTo>
                <a:lnTo>
                  <a:pt x="198" y="150"/>
                </a:lnTo>
                <a:lnTo>
                  <a:pt x="198" y="150"/>
                </a:lnTo>
                <a:lnTo>
                  <a:pt x="198" y="150"/>
                </a:lnTo>
                <a:lnTo>
                  <a:pt x="192" y="150"/>
                </a:lnTo>
                <a:lnTo>
                  <a:pt x="192" y="150"/>
                </a:lnTo>
                <a:lnTo>
                  <a:pt x="192" y="144"/>
                </a:lnTo>
                <a:lnTo>
                  <a:pt x="192" y="144"/>
                </a:lnTo>
                <a:lnTo>
                  <a:pt x="192" y="144"/>
                </a:lnTo>
                <a:lnTo>
                  <a:pt x="192" y="150"/>
                </a:lnTo>
                <a:lnTo>
                  <a:pt x="192" y="144"/>
                </a:lnTo>
                <a:lnTo>
                  <a:pt x="192" y="144"/>
                </a:lnTo>
                <a:lnTo>
                  <a:pt x="186" y="144"/>
                </a:lnTo>
                <a:lnTo>
                  <a:pt x="186" y="150"/>
                </a:lnTo>
                <a:lnTo>
                  <a:pt x="186" y="150"/>
                </a:lnTo>
                <a:lnTo>
                  <a:pt x="186" y="144"/>
                </a:lnTo>
                <a:lnTo>
                  <a:pt x="186" y="144"/>
                </a:lnTo>
                <a:lnTo>
                  <a:pt x="186" y="150"/>
                </a:lnTo>
                <a:lnTo>
                  <a:pt x="186" y="150"/>
                </a:lnTo>
                <a:lnTo>
                  <a:pt x="180" y="150"/>
                </a:lnTo>
                <a:lnTo>
                  <a:pt x="180" y="150"/>
                </a:lnTo>
                <a:lnTo>
                  <a:pt x="180" y="150"/>
                </a:lnTo>
                <a:lnTo>
                  <a:pt x="180" y="150"/>
                </a:lnTo>
                <a:lnTo>
                  <a:pt x="180" y="150"/>
                </a:lnTo>
                <a:lnTo>
                  <a:pt x="174" y="150"/>
                </a:lnTo>
                <a:lnTo>
                  <a:pt x="174" y="150"/>
                </a:lnTo>
                <a:lnTo>
                  <a:pt x="174" y="150"/>
                </a:lnTo>
                <a:lnTo>
                  <a:pt x="174" y="150"/>
                </a:lnTo>
                <a:lnTo>
                  <a:pt x="168" y="150"/>
                </a:lnTo>
                <a:lnTo>
                  <a:pt x="168" y="150"/>
                </a:lnTo>
                <a:lnTo>
                  <a:pt x="168" y="150"/>
                </a:lnTo>
                <a:lnTo>
                  <a:pt x="174" y="150"/>
                </a:lnTo>
                <a:lnTo>
                  <a:pt x="174" y="144"/>
                </a:lnTo>
                <a:lnTo>
                  <a:pt x="174" y="144"/>
                </a:lnTo>
                <a:lnTo>
                  <a:pt x="174" y="144"/>
                </a:lnTo>
                <a:lnTo>
                  <a:pt x="168" y="144"/>
                </a:lnTo>
                <a:lnTo>
                  <a:pt x="168" y="144"/>
                </a:lnTo>
                <a:lnTo>
                  <a:pt x="168" y="144"/>
                </a:lnTo>
                <a:lnTo>
                  <a:pt x="168" y="144"/>
                </a:lnTo>
                <a:lnTo>
                  <a:pt x="168" y="144"/>
                </a:lnTo>
                <a:lnTo>
                  <a:pt x="168" y="144"/>
                </a:lnTo>
                <a:lnTo>
                  <a:pt x="168" y="144"/>
                </a:lnTo>
                <a:lnTo>
                  <a:pt x="168" y="144"/>
                </a:lnTo>
                <a:lnTo>
                  <a:pt x="168" y="150"/>
                </a:lnTo>
                <a:lnTo>
                  <a:pt x="168" y="150"/>
                </a:lnTo>
                <a:lnTo>
                  <a:pt x="168" y="150"/>
                </a:lnTo>
                <a:lnTo>
                  <a:pt x="168" y="150"/>
                </a:lnTo>
                <a:lnTo>
                  <a:pt x="168" y="150"/>
                </a:lnTo>
                <a:lnTo>
                  <a:pt x="168" y="150"/>
                </a:lnTo>
                <a:lnTo>
                  <a:pt x="168" y="150"/>
                </a:lnTo>
                <a:lnTo>
                  <a:pt x="168" y="150"/>
                </a:lnTo>
                <a:lnTo>
                  <a:pt x="168" y="150"/>
                </a:lnTo>
                <a:lnTo>
                  <a:pt x="162" y="150"/>
                </a:lnTo>
                <a:lnTo>
                  <a:pt x="162" y="144"/>
                </a:lnTo>
                <a:lnTo>
                  <a:pt x="162" y="144"/>
                </a:lnTo>
                <a:lnTo>
                  <a:pt x="162" y="144"/>
                </a:lnTo>
                <a:lnTo>
                  <a:pt x="162" y="144"/>
                </a:lnTo>
                <a:lnTo>
                  <a:pt x="162" y="144"/>
                </a:lnTo>
                <a:lnTo>
                  <a:pt x="162" y="144"/>
                </a:lnTo>
                <a:lnTo>
                  <a:pt x="162" y="150"/>
                </a:lnTo>
                <a:lnTo>
                  <a:pt x="156" y="150"/>
                </a:lnTo>
                <a:lnTo>
                  <a:pt x="156" y="150"/>
                </a:lnTo>
                <a:lnTo>
                  <a:pt x="156" y="144"/>
                </a:lnTo>
                <a:lnTo>
                  <a:pt x="156" y="144"/>
                </a:lnTo>
                <a:lnTo>
                  <a:pt x="150" y="144"/>
                </a:lnTo>
                <a:lnTo>
                  <a:pt x="150" y="144"/>
                </a:lnTo>
                <a:lnTo>
                  <a:pt x="150" y="144"/>
                </a:lnTo>
                <a:lnTo>
                  <a:pt x="156" y="144"/>
                </a:lnTo>
                <a:lnTo>
                  <a:pt x="156" y="144"/>
                </a:lnTo>
                <a:lnTo>
                  <a:pt x="150" y="150"/>
                </a:lnTo>
                <a:lnTo>
                  <a:pt x="150" y="144"/>
                </a:lnTo>
                <a:lnTo>
                  <a:pt x="150" y="144"/>
                </a:lnTo>
                <a:lnTo>
                  <a:pt x="150" y="144"/>
                </a:lnTo>
                <a:lnTo>
                  <a:pt x="150" y="144"/>
                </a:lnTo>
                <a:lnTo>
                  <a:pt x="150" y="144"/>
                </a:lnTo>
                <a:lnTo>
                  <a:pt x="144" y="144"/>
                </a:lnTo>
                <a:lnTo>
                  <a:pt x="144" y="144"/>
                </a:lnTo>
                <a:lnTo>
                  <a:pt x="144" y="144"/>
                </a:lnTo>
                <a:lnTo>
                  <a:pt x="144" y="144"/>
                </a:lnTo>
                <a:lnTo>
                  <a:pt x="144" y="150"/>
                </a:lnTo>
                <a:lnTo>
                  <a:pt x="144" y="150"/>
                </a:lnTo>
                <a:lnTo>
                  <a:pt x="144" y="150"/>
                </a:lnTo>
                <a:lnTo>
                  <a:pt x="144" y="150"/>
                </a:lnTo>
                <a:lnTo>
                  <a:pt x="144" y="144"/>
                </a:lnTo>
                <a:lnTo>
                  <a:pt x="138" y="144"/>
                </a:lnTo>
                <a:lnTo>
                  <a:pt x="138" y="144"/>
                </a:lnTo>
                <a:lnTo>
                  <a:pt x="138" y="144"/>
                </a:lnTo>
                <a:lnTo>
                  <a:pt x="138" y="144"/>
                </a:lnTo>
                <a:lnTo>
                  <a:pt x="138" y="144"/>
                </a:lnTo>
                <a:lnTo>
                  <a:pt x="138" y="144"/>
                </a:lnTo>
                <a:lnTo>
                  <a:pt x="138" y="144"/>
                </a:lnTo>
                <a:lnTo>
                  <a:pt x="138" y="144"/>
                </a:lnTo>
                <a:lnTo>
                  <a:pt x="132" y="144"/>
                </a:lnTo>
                <a:lnTo>
                  <a:pt x="132" y="144"/>
                </a:lnTo>
                <a:lnTo>
                  <a:pt x="132" y="144"/>
                </a:lnTo>
                <a:lnTo>
                  <a:pt x="126" y="144"/>
                </a:lnTo>
                <a:lnTo>
                  <a:pt x="126" y="144"/>
                </a:lnTo>
                <a:lnTo>
                  <a:pt x="120" y="144"/>
                </a:lnTo>
                <a:lnTo>
                  <a:pt x="120" y="144"/>
                </a:lnTo>
                <a:lnTo>
                  <a:pt x="120" y="138"/>
                </a:lnTo>
                <a:lnTo>
                  <a:pt x="120" y="138"/>
                </a:lnTo>
                <a:lnTo>
                  <a:pt x="120" y="138"/>
                </a:lnTo>
                <a:lnTo>
                  <a:pt x="120" y="138"/>
                </a:lnTo>
                <a:lnTo>
                  <a:pt x="120" y="144"/>
                </a:lnTo>
                <a:lnTo>
                  <a:pt x="120" y="144"/>
                </a:lnTo>
                <a:lnTo>
                  <a:pt x="120" y="144"/>
                </a:lnTo>
                <a:lnTo>
                  <a:pt x="120" y="144"/>
                </a:lnTo>
                <a:lnTo>
                  <a:pt x="114" y="144"/>
                </a:lnTo>
                <a:lnTo>
                  <a:pt x="114" y="144"/>
                </a:lnTo>
                <a:lnTo>
                  <a:pt x="114" y="144"/>
                </a:lnTo>
                <a:lnTo>
                  <a:pt x="114" y="138"/>
                </a:lnTo>
                <a:lnTo>
                  <a:pt x="108" y="138"/>
                </a:lnTo>
                <a:lnTo>
                  <a:pt x="108" y="138"/>
                </a:lnTo>
                <a:lnTo>
                  <a:pt x="108" y="138"/>
                </a:lnTo>
                <a:lnTo>
                  <a:pt x="108" y="138"/>
                </a:lnTo>
                <a:lnTo>
                  <a:pt x="108" y="138"/>
                </a:lnTo>
                <a:lnTo>
                  <a:pt x="108" y="138"/>
                </a:lnTo>
                <a:lnTo>
                  <a:pt x="102" y="138"/>
                </a:lnTo>
                <a:lnTo>
                  <a:pt x="108" y="138"/>
                </a:lnTo>
                <a:lnTo>
                  <a:pt x="102" y="132"/>
                </a:lnTo>
                <a:lnTo>
                  <a:pt x="102" y="132"/>
                </a:lnTo>
                <a:lnTo>
                  <a:pt x="102" y="132"/>
                </a:lnTo>
                <a:lnTo>
                  <a:pt x="102" y="132"/>
                </a:lnTo>
                <a:lnTo>
                  <a:pt x="102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2"/>
                </a:lnTo>
                <a:lnTo>
                  <a:pt x="78" y="102"/>
                </a:lnTo>
                <a:lnTo>
                  <a:pt x="78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66" y="90"/>
                </a:lnTo>
                <a:lnTo>
                  <a:pt x="66" y="90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0" y="84"/>
                </a:lnTo>
                <a:lnTo>
                  <a:pt x="60" y="84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48" y="78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66"/>
                </a:lnTo>
                <a:lnTo>
                  <a:pt x="48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36" y="60"/>
                </a:lnTo>
                <a:lnTo>
                  <a:pt x="36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18" y="54"/>
                </a:lnTo>
                <a:lnTo>
                  <a:pt x="18" y="54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2" y="48"/>
                </a:lnTo>
                <a:lnTo>
                  <a:pt x="12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36"/>
                </a:lnTo>
                <a:lnTo>
                  <a:pt x="0" y="3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18" name="Freeform 451"/>
          <p:cNvSpPr>
            <a:spLocks/>
          </p:cNvSpPr>
          <p:nvPr/>
        </p:nvSpPr>
        <p:spPr bwMode="auto">
          <a:xfrm>
            <a:off x="6755493" y="4796686"/>
            <a:ext cx="122057" cy="115634"/>
          </a:xfrm>
          <a:custGeom>
            <a:avLst/>
            <a:gdLst>
              <a:gd name="T0" fmla="*/ 6 w 114"/>
              <a:gd name="T1" fmla="*/ 24 h 108"/>
              <a:gd name="T2" fmla="*/ 12 w 114"/>
              <a:gd name="T3" fmla="*/ 24 h 108"/>
              <a:gd name="T4" fmla="*/ 12 w 114"/>
              <a:gd name="T5" fmla="*/ 18 h 108"/>
              <a:gd name="T6" fmla="*/ 12 w 114"/>
              <a:gd name="T7" fmla="*/ 12 h 108"/>
              <a:gd name="T8" fmla="*/ 18 w 114"/>
              <a:gd name="T9" fmla="*/ 6 h 108"/>
              <a:gd name="T10" fmla="*/ 24 w 114"/>
              <a:gd name="T11" fmla="*/ 6 h 108"/>
              <a:gd name="T12" fmla="*/ 30 w 114"/>
              <a:gd name="T13" fmla="*/ 0 h 108"/>
              <a:gd name="T14" fmla="*/ 36 w 114"/>
              <a:gd name="T15" fmla="*/ 0 h 108"/>
              <a:gd name="T16" fmla="*/ 36 w 114"/>
              <a:gd name="T17" fmla="*/ 0 h 108"/>
              <a:gd name="T18" fmla="*/ 42 w 114"/>
              <a:gd name="T19" fmla="*/ 0 h 108"/>
              <a:gd name="T20" fmla="*/ 48 w 114"/>
              <a:gd name="T21" fmla="*/ 6 h 108"/>
              <a:gd name="T22" fmla="*/ 54 w 114"/>
              <a:gd name="T23" fmla="*/ 6 h 108"/>
              <a:gd name="T24" fmla="*/ 54 w 114"/>
              <a:gd name="T25" fmla="*/ 18 h 108"/>
              <a:gd name="T26" fmla="*/ 60 w 114"/>
              <a:gd name="T27" fmla="*/ 18 h 108"/>
              <a:gd name="T28" fmla="*/ 66 w 114"/>
              <a:gd name="T29" fmla="*/ 18 h 108"/>
              <a:gd name="T30" fmla="*/ 66 w 114"/>
              <a:gd name="T31" fmla="*/ 18 h 108"/>
              <a:gd name="T32" fmla="*/ 72 w 114"/>
              <a:gd name="T33" fmla="*/ 18 h 108"/>
              <a:gd name="T34" fmla="*/ 72 w 114"/>
              <a:gd name="T35" fmla="*/ 18 h 108"/>
              <a:gd name="T36" fmla="*/ 78 w 114"/>
              <a:gd name="T37" fmla="*/ 24 h 108"/>
              <a:gd name="T38" fmla="*/ 84 w 114"/>
              <a:gd name="T39" fmla="*/ 18 h 108"/>
              <a:gd name="T40" fmla="*/ 84 w 114"/>
              <a:gd name="T41" fmla="*/ 24 h 108"/>
              <a:gd name="T42" fmla="*/ 84 w 114"/>
              <a:gd name="T43" fmla="*/ 24 h 108"/>
              <a:gd name="T44" fmla="*/ 84 w 114"/>
              <a:gd name="T45" fmla="*/ 30 h 108"/>
              <a:gd name="T46" fmla="*/ 84 w 114"/>
              <a:gd name="T47" fmla="*/ 36 h 108"/>
              <a:gd name="T48" fmla="*/ 90 w 114"/>
              <a:gd name="T49" fmla="*/ 30 h 108"/>
              <a:gd name="T50" fmla="*/ 96 w 114"/>
              <a:gd name="T51" fmla="*/ 24 h 108"/>
              <a:gd name="T52" fmla="*/ 102 w 114"/>
              <a:gd name="T53" fmla="*/ 24 h 108"/>
              <a:gd name="T54" fmla="*/ 102 w 114"/>
              <a:gd name="T55" fmla="*/ 24 h 108"/>
              <a:gd name="T56" fmla="*/ 108 w 114"/>
              <a:gd name="T57" fmla="*/ 18 h 108"/>
              <a:gd name="T58" fmla="*/ 114 w 114"/>
              <a:gd name="T59" fmla="*/ 24 h 108"/>
              <a:gd name="T60" fmla="*/ 114 w 114"/>
              <a:gd name="T61" fmla="*/ 36 h 108"/>
              <a:gd name="T62" fmla="*/ 114 w 114"/>
              <a:gd name="T63" fmla="*/ 42 h 108"/>
              <a:gd name="T64" fmla="*/ 96 w 114"/>
              <a:gd name="T65" fmla="*/ 36 h 108"/>
              <a:gd name="T66" fmla="*/ 96 w 114"/>
              <a:gd name="T67" fmla="*/ 42 h 108"/>
              <a:gd name="T68" fmla="*/ 102 w 114"/>
              <a:gd name="T69" fmla="*/ 48 h 108"/>
              <a:gd name="T70" fmla="*/ 108 w 114"/>
              <a:gd name="T71" fmla="*/ 60 h 108"/>
              <a:gd name="T72" fmla="*/ 108 w 114"/>
              <a:gd name="T73" fmla="*/ 72 h 108"/>
              <a:gd name="T74" fmla="*/ 114 w 114"/>
              <a:gd name="T75" fmla="*/ 78 h 108"/>
              <a:gd name="T76" fmla="*/ 108 w 114"/>
              <a:gd name="T77" fmla="*/ 84 h 108"/>
              <a:gd name="T78" fmla="*/ 102 w 114"/>
              <a:gd name="T79" fmla="*/ 90 h 108"/>
              <a:gd name="T80" fmla="*/ 96 w 114"/>
              <a:gd name="T81" fmla="*/ 90 h 108"/>
              <a:gd name="T82" fmla="*/ 96 w 114"/>
              <a:gd name="T83" fmla="*/ 96 h 108"/>
              <a:gd name="T84" fmla="*/ 90 w 114"/>
              <a:gd name="T85" fmla="*/ 102 h 108"/>
              <a:gd name="T86" fmla="*/ 78 w 114"/>
              <a:gd name="T87" fmla="*/ 102 h 108"/>
              <a:gd name="T88" fmla="*/ 78 w 114"/>
              <a:gd name="T89" fmla="*/ 102 h 108"/>
              <a:gd name="T90" fmla="*/ 72 w 114"/>
              <a:gd name="T91" fmla="*/ 102 h 108"/>
              <a:gd name="T92" fmla="*/ 66 w 114"/>
              <a:gd name="T93" fmla="*/ 102 h 108"/>
              <a:gd name="T94" fmla="*/ 54 w 114"/>
              <a:gd name="T95" fmla="*/ 102 h 108"/>
              <a:gd name="T96" fmla="*/ 60 w 114"/>
              <a:gd name="T97" fmla="*/ 96 h 108"/>
              <a:gd name="T98" fmla="*/ 66 w 114"/>
              <a:gd name="T99" fmla="*/ 90 h 108"/>
              <a:gd name="T100" fmla="*/ 60 w 114"/>
              <a:gd name="T101" fmla="*/ 90 h 108"/>
              <a:gd name="T102" fmla="*/ 48 w 114"/>
              <a:gd name="T103" fmla="*/ 96 h 108"/>
              <a:gd name="T104" fmla="*/ 36 w 114"/>
              <a:gd name="T105" fmla="*/ 96 h 108"/>
              <a:gd name="T106" fmla="*/ 30 w 114"/>
              <a:gd name="T107" fmla="*/ 90 h 108"/>
              <a:gd name="T108" fmla="*/ 30 w 114"/>
              <a:gd name="T109" fmla="*/ 78 h 108"/>
              <a:gd name="T110" fmla="*/ 30 w 114"/>
              <a:gd name="T111" fmla="*/ 78 h 108"/>
              <a:gd name="T112" fmla="*/ 30 w 114"/>
              <a:gd name="T113" fmla="*/ 72 h 108"/>
              <a:gd name="T114" fmla="*/ 30 w 114"/>
              <a:gd name="T115" fmla="*/ 60 h 108"/>
              <a:gd name="T116" fmla="*/ 18 w 114"/>
              <a:gd name="T117" fmla="*/ 54 h 108"/>
              <a:gd name="T118" fmla="*/ 18 w 114"/>
              <a:gd name="T119" fmla="*/ 42 h 108"/>
              <a:gd name="T120" fmla="*/ 6 w 114"/>
              <a:gd name="T121" fmla="*/ 36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14" h="108">
                <a:moveTo>
                  <a:pt x="0" y="24"/>
                </a:move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30"/>
                </a:lnTo>
                <a:lnTo>
                  <a:pt x="6" y="30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6" y="24"/>
                </a:lnTo>
                <a:lnTo>
                  <a:pt x="12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8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8" y="18"/>
                </a:lnTo>
                <a:lnTo>
                  <a:pt x="72" y="18"/>
                </a:lnTo>
                <a:lnTo>
                  <a:pt x="78" y="18"/>
                </a:lnTo>
                <a:lnTo>
                  <a:pt x="78" y="24"/>
                </a:lnTo>
                <a:lnTo>
                  <a:pt x="78" y="24"/>
                </a:lnTo>
                <a:lnTo>
                  <a:pt x="78" y="18"/>
                </a:lnTo>
                <a:lnTo>
                  <a:pt x="78" y="24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84" y="18"/>
                </a:lnTo>
                <a:lnTo>
                  <a:pt x="84" y="24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90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90" y="36"/>
                </a:lnTo>
                <a:lnTo>
                  <a:pt x="90" y="36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08" y="36"/>
                </a:lnTo>
                <a:lnTo>
                  <a:pt x="102" y="36"/>
                </a:lnTo>
                <a:lnTo>
                  <a:pt x="102" y="36"/>
                </a:lnTo>
                <a:lnTo>
                  <a:pt x="96" y="36"/>
                </a:lnTo>
                <a:lnTo>
                  <a:pt x="96" y="36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6" y="42"/>
                </a:lnTo>
                <a:lnTo>
                  <a:pt x="96" y="42"/>
                </a:lnTo>
                <a:lnTo>
                  <a:pt x="96" y="48"/>
                </a:lnTo>
                <a:lnTo>
                  <a:pt x="96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60"/>
                </a:lnTo>
                <a:lnTo>
                  <a:pt x="108" y="60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6"/>
                </a:lnTo>
                <a:lnTo>
                  <a:pt x="96" y="96"/>
                </a:lnTo>
                <a:lnTo>
                  <a:pt x="96" y="96"/>
                </a:lnTo>
                <a:lnTo>
                  <a:pt x="96" y="96"/>
                </a:lnTo>
                <a:lnTo>
                  <a:pt x="96" y="96"/>
                </a:lnTo>
                <a:lnTo>
                  <a:pt x="96" y="96"/>
                </a:lnTo>
                <a:lnTo>
                  <a:pt x="96" y="96"/>
                </a:lnTo>
                <a:lnTo>
                  <a:pt x="96" y="96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90" y="102"/>
                </a:lnTo>
                <a:lnTo>
                  <a:pt x="84" y="102"/>
                </a:lnTo>
                <a:lnTo>
                  <a:pt x="84" y="102"/>
                </a:lnTo>
                <a:lnTo>
                  <a:pt x="84" y="102"/>
                </a:lnTo>
                <a:lnTo>
                  <a:pt x="84" y="102"/>
                </a:lnTo>
                <a:lnTo>
                  <a:pt x="84" y="102"/>
                </a:lnTo>
                <a:lnTo>
                  <a:pt x="84" y="102"/>
                </a:lnTo>
                <a:lnTo>
                  <a:pt x="84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60" y="102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54" y="96"/>
                </a:lnTo>
                <a:lnTo>
                  <a:pt x="54" y="90"/>
                </a:lnTo>
                <a:lnTo>
                  <a:pt x="54" y="96"/>
                </a:lnTo>
                <a:lnTo>
                  <a:pt x="54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2" y="96"/>
                </a:lnTo>
                <a:lnTo>
                  <a:pt x="42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24" y="60"/>
                </a:lnTo>
                <a:lnTo>
                  <a:pt x="24" y="60"/>
                </a:lnTo>
                <a:lnTo>
                  <a:pt x="24" y="54"/>
                </a:lnTo>
                <a:lnTo>
                  <a:pt x="24" y="54"/>
                </a:lnTo>
                <a:lnTo>
                  <a:pt x="18" y="54"/>
                </a:lnTo>
                <a:lnTo>
                  <a:pt x="18" y="54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36"/>
                </a:lnTo>
                <a:lnTo>
                  <a:pt x="18" y="36"/>
                </a:lnTo>
                <a:lnTo>
                  <a:pt x="12" y="36"/>
                </a:lnTo>
                <a:lnTo>
                  <a:pt x="12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0" y="30"/>
                </a:lnTo>
                <a:lnTo>
                  <a:pt x="0" y="30"/>
                </a:lnTo>
                <a:lnTo>
                  <a:pt x="0" y="2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19" name="Freeform 452"/>
          <p:cNvSpPr>
            <a:spLocks/>
          </p:cNvSpPr>
          <p:nvPr/>
        </p:nvSpPr>
        <p:spPr bwMode="auto">
          <a:xfrm>
            <a:off x="6781190" y="4719597"/>
            <a:ext cx="141329" cy="115634"/>
          </a:xfrm>
          <a:custGeom>
            <a:avLst/>
            <a:gdLst>
              <a:gd name="T0" fmla="*/ 6 w 132"/>
              <a:gd name="T1" fmla="*/ 60 h 108"/>
              <a:gd name="T2" fmla="*/ 12 w 132"/>
              <a:gd name="T3" fmla="*/ 54 h 108"/>
              <a:gd name="T4" fmla="*/ 18 w 132"/>
              <a:gd name="T5" fmla="*/ 54 h 108"/>
              <a:gd name="T6" fmla="*/ 24 w 132"/>
              <a:gd name="T7" fmla="*/ 60 h 108"/>
              <a:gd name="T8" fmla="*/ 30 w 132"/>
              <a:gd name="T9" fmla="*/ 54 h 108"/>
              <a:gd name="T10" fmla="*/ 36 w 132"/>
              <a:gd name="T11" fmla="*/ 60 h 108"/>
              <a:gd name="T12" fmla="*/ 42 w 132"/>
              <a:gd name="T13" fmla="*/ 48 h 108"/>
              <a:gd name="T14" fmla="*/ 36 w 132"/>
              <a:gd name="T15" fmla="*/ 36 h 108"/>
              <a:gd name="T16" fmla="*/ 42 w 132"/>
              <a:gd name="T17" fmla="*/ 36 h 108"/>
              <a:gd name="T18" fmla="*/ 42 w 132"/>
              <a:gd name="T19" fmla="*/ 36 h 108"/>
              <a:gd name="T20" fmla="*/ 42 w 132"/>
              <a:gd name="T21" fmla="*/ 30 h 108"/>
              <a:gd name="T22" fmla="*/ 42 w 132"/>
              <a:gd name="T23" fmla="*/ 24 h 108"/>
              <a:gd name="T24" fmla="*/ 48 w 132"/>
              <a:gd name="T25" fmla="*/ 18 h 108"/>
              <a:gd name="T26" fmla="*/ 60 w 132"/>
              <a:gd name="T27" fmla="*/ 12 h 108"/>
              <a:gd name="T28" fmla="*/ 66 w 132"/>
              <a:gd name="T29" fmla="*/ 12 h 108"/>
              <a:gd name="T30" fmla="*/ 72 w 132"/>
              <a:gd name="T31" fmla="*/ 6 h 108"/>
              <a:gd name="T32" fmla="*/ 108 w 132"/>
              <a:gd name="T33" fmla="*/ 6 h 108"/>
              <a:gd name="T34" fmla="*/ 114 w 132"/>
              <a:gd name="T35" fmla="*/ 6 h 108"/>
              <a:gd name="T36" fmla="*/ 120 w 132"/>
              <a:gd name="T37" fmla="*/ 6 h 108"/>
              <a:gd name="T38" fmla="*/ 120 w 132"/>
              <a:gd name="T39" fmla="*/ 24 h 108"/>
              <a:gd name="T40" fmla="*/ 126 w 132"/>
              <a:gd name="T41" fmla="*/ 36 h 108"/>
              <a:gd name="T42" fmla="*/ 132 w 132"/>
              <a:gd name="T43" fmla="*/ 36 h 108"/>
              <a:gd name="T44" fmla="*/ 120 w 132"/>
              <a:gd name="T45" fmla="*/ 66 h 108"/>
              <a:gd name="T46" fmla="*/ 108 w 132"/>
              <a:gd name="T47" fmla="*/ 84 h 108"/>
              <a:gd name="T48" fmla="*/ 102 w 132"/>
              <a:gd name="T49" fmla="*/ 84 h 108"/>
              <a:gd name="T50" fmla="*/ 102 w 132"/>
              <a:gd name="T51" fmla="*/ 84 h 108"/>
              <a:gd name="T52" fmla="*/ 96 w 132"/>
              <a:gd name="T53" fmla="*/ 78 h 108"/>
              <a:gd name="T54" fmla="*/ 90 w 132"/>
              <a:gd name="T55" fmla="*/ 78 h 108"/>
              <a:gd name="T56" fmla="*/ 90 w 132"/>
              <a:gd name="T57" fmla="*/ 72 h 108"/>
              <a:gd name="T58" fmla="*/ 90 w 132"/>
              <a:gd name="T59" fmla="*/ 78 h 108"/>
              <a:gd name="T60" fmla="*/ 84 w 132"/>
              <a:gd name="T61" fmla="*/ 78 h 108"/>
              <a:gd name="T62" fmla="*/ 84 w 132"/>
              <a:gd name="T63" fmla="*/ 84 h 108"/>
              <a:gd name="T64" fmla="*/ 84 w 132"/>
              <a:gd name="T65" fmla="*/ 90 h 108"/>
              <a:gd name="T66" fmla="*/ 78 w 132"/>
              <a:gd name="T67" fmla="*/ 96 h 108"/>
              <a:gd name="T68" fmla="*/ 78 w 132"/>
              <a:gd name="T69" fmla="*/ 90 h 108"/>
              <a:gd name="T70" fmla="*/ 72 w 132"/>
              <a:gd name="T71" fmla="*/ 96 h 108"/>
              <a:gd name="T72" fmla="*/ 66 w 132"/>
              <a:gd name="T73" fmla="*/ 102 h 108"/>
              <a:gd name="T74" fmla="*/ 66 w 132"/>
              <a:gd name="T75" fmla="*/ 102 h 108"/>
              <a:gd name="T76" fmla="*/ 60 w 132"/>
              <a:gd name="T77" fmla="*/ 108 h 108"/>
              <a:gd name="T78" fmla="*/ 60 w 132"/>
              <a:gd name="T79" fmla="*/ 102 h 108"/>
              <a:gd name="T80" fmla="*/ 60 w 132"/>
              <a:gd name="T81" fmla="*/ 96 h 108"/>
              <a:gd name="T82" fmla="*/ 60 w 132"/>
              <a:gd name="T83" fmla="*/ 96 h 108"/>
              <a:gd name="T84" fmla="*/ 60 w 132"/>
              <a:gd name="T85" fmla="*/ 96 h 108"/>
              <a:gd name="T86" fmla="*/ 54 w 132"/>
              <a:gd name="T87" fmla="*/ 90 h 108"/>
              <a:gd name="T88" fmla="*/ 48 w 132"/>
              <a:gd name="T89" fmla="*/ 90 h 108"/>
              <a:gd name="T90" fmla="*/ 48 w 132"/>
              <a:gd name="T91" fmla="*/ 90 h 108"/>
              <a:gd name="T92" fmla="*/ 48 w 132"/>
              <a:gd name="T93" fmla="*/ 90 h 108"/>
              <a:gd name="T94" fmla="*/ 42 w 132"/>
              <a:gd name="T95" fmla="*/ 90 h 108"/>
              <a:gd name="T96" fmla="*/ 42 w 132"/>
              <a:gd name="T97" fmla="*/ 90 h 108"/>
              <a:gd name="T98" fmla="*/ 36 w 132"/>
              <a:gd name="T99" fmla="*/ 90 h 108"/>
              <a:gd name="T100" fmla="*/ 30 w 132"/>
              <a:gd name="T101" fmla="*/ 90 h 108"/>
              <a:gd name="T102" fmla="*/ 24 w 132"/>
              <a:gd name="T103" fmla="*/ 84 h 108"/>
              <a:gd name="T104" fmla="*/ 24 w 132"/>
              <a:gd name="T105" fmla="*/ 78 h 108"/>
              <a:gd name="T106" fmla="*/ 18 w 132"/>
              <a:gd name="T107" fmla="*/ 78 h 108"/>
              <a:gd name="T108" fmla="*/ 18 w 132"/>
              <a:gd name="T109" fmla="*/ 72 h 108"/>
              <a:gd name="T110" fmla="*/ 12 w 132"/>
              <a:gd name="T111" fmla="*/ 72 h 108"/>
              <a:gd name="T112" fmla="*/ 12 w 132"/>
              <a:gd name="T113" fmla="*/ 72 h 108"/>
              <a:gd name="T114" fmla="*/ 0 w 132"/>
              <a:gd name="T115" fmla="*/ 66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32" h="108">
                <a:moveTo>
                  <a:pt x="0" y="60"/>
                </a:move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6" y="60"/>
                </a:lnTo>
                <a:lnTo>
                  <a:pt x="36" y="60"/>
                </a:lnTo>
                <a:lnTo>
                  <a:pt x="42" y="60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30" y="42"/>
                </a:lnTo>
                <a:lnTo>
                  <a:pt x="36" y="42"/>
                </a:lnTo>
                <a:lnTo>
                  <a:pt x="36" y="42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18"/>
                </a:lnTo>
                <a:lnTo>
                  <a:pt x="48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60" y="18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6"/>
                </a:lnTo>
                <a:lnTo>
                  <a:pt x="60" y="6"/>
                </a:lnTo>
                <a:lnTo>
                  <a:pt x="60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90" y="6"/>
                </a:lnTo>
                <a:lnTo>
                  <a:pt x="102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14" y="0"/>
                </a:lnTo>
                <a:lnTo>
                  <a:pt x="114" y="0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14" y="12"/>
                </a:lnTo>
                <a:lnTo>
                  <a:pt x="114" y="18"/>
                </a:lnTo>
                <a:lnTo>
                  <a:pt x="120" y="18"/>
                </a:lnTo>
                <a:lnTo>
                  <a:pt x="120" y="24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6"/>
                </a:lnTo>
                <a:lnTo>
                  <a:pt x="126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26" y="42"/>
                </a:lnTo>
                <a:lnTo>
                  <a:pt x="126" y="48"/>
                </a:lnTo>
                <a:lnTo>
                  <a:pt x="120" y="54"/>
                </a:lnTo>
                <a:lnTo>
                  <a:pt x="120" y="60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14" y="72"/>
                </a:lnTo>
                <a:lnTo>
                  <a:pt x="114" y="72"/>
                </a:lnTo>
                <a:lnTo>
                  <a:pt x="108" y="78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78"/>
                </a:lnTo>
                <a:lnTo>
                  <a:pt x="102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0" y="78"/>
                </a:lnTo>
                <a:lnTo>
                  <a:pt x="90" y="72"/>
                </a:lnTo>
                <a:lnTo>
                  <a:pt x="90" y="72"/>
                </a:lnTo>
                <a:lnTo>
                  <a:pt x="90" y="78"/>
                </a:lnTo>
                <a:lnTo>
                  <a:pt x="90" y="78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8"/>
                </a:lnTo>
                <a:lnTo>
                  <a:pt x="90" y="78"/>
                </a:lnTo>
                <a:lnTo>
                  <a:pt x="90" y="72"/>
                </a:lnTo>
                <a:lnTo>
                  <a:pt x="90" y="72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78" y="90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8"/>
                </a:lnTo>
                <a:lnTo>
                  <a:pt x="66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6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6"/>
                </a:lnTo>
                <a:lnTo>
                  <a:pt x="60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6"/>
                </a:lnTo>
                <a:lnTo>
                  <a:pt x="54" y="90"/>
                </a:lnTo>
                <a:lnTo>
                  <a:pt x="54" y="96"/>
                </a:lnTo>
                <a:lnTo>
                  <a:pt x="54" y="96"/>
                </a:lnTo>
                <a:lnTo>
                  <a:pt x="54" y="90"/>
                </a:lnTo>
                <a:lnTo>
                  <a:pt x="48" y="90"/>
                </a:lnTo>
                <a:lnTo>
                  <a:pt x="54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54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24" y="84"/>
                </a:lnTo>
                <a:lnTo>
                  <a:pt x="24" y="84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6" y="72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0"/>
                </a:lnTo>
                <a:lnTo>
                  <a:pt x="0" y="6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20" name="Freeform 453"/>
          <p:cNvSpPr>
            <a:spLocks/>
          </p:cNvSpPr>
          <p:nvPr/>
        </p:nvSpPr>
        <p:spPr bwMode="auto">
          <a:xfrm>
            <a:off x="6691253" y="5092194"/>
            <a:ext cx="122057" cy="102786"/>
          </a:xfrm>
          <a:custGeom>
            <a:avLst/>
            <a:gdLst>
              <a:gd name="T0" fmla="*/ 0 w 114"/>
              <a:gd name="T1" fmla="*/ 84 h 96"/>
              <a:gd name="T2" fmla="*/ 0 w 114"/>
              <a:gd name="T3" fmla="*/ 78 h 96"/>
              <a:gd name="T4" fmla="*/ 0 w 114"/>
              <a:gd name="T5" fmla="*/ 78 h 96"/>
              <a:gd name="T6" fmla="*/ 6 w 114"/>
              <a:gd name="T7" fmla="*/ 78 h 96"/>
              <a:gd name="T8" fmla="*/ 6 w 114"/>
              <a:gd name="T9" fmla="*/ 78 h 96"/>
              <a:gd name="T10" fmla="*/ 6 w 114"/>
              <a:gd name="T11" fmla="*/ 78 h 96"/>
              <a:gd name="T12" fmla="*/ 6 w 114"/>
              <a:gd name="T13" fmla="*/ 72 h 96"/>
              <a:gd name="T14" fmla="*/ 12 w 114"/>
              <a:gd name="T15" fmla="*/ 72 h 96"/>
              <a:gd name="T16" fmla="*/ 12 w 114"/>
              <a:gd name="T17" fmla="*/ 72 h 96"/>
              <a:gd name="T18" fmla="*/ 12 w 114"/>
              <a:gd name="T19" fmla="*/ 72 h 96"/>
              <a:gd name="T20" fmla="*/ 18 w 114"/>
              <a:gd name="T21" fmla="*/ 72 h 96"/>
              <a:gd name="T22" fmla="*/ 18 w 114"/>
              <a:gd name="T23" fmla="*/ 72 h 96"/>
              <a:gd name="T24" fmla="*/ 24 w 114"/>
              <a:gd name="T25" fmla="*/ 66 h 96"/>
              <a:gd name="T26" fmla="*/ 24 w 114"/>
              <a:gd name="T27" fmla="*/ 66 h 96"/>
              <a:gd name="T28" fmla="*/ 24 w 114"/>
              <a:gd name="T29" fmla="*/ 60 h 96"/>
              <a:gd name="T30" fmla="*/ 24 w 114"/>
              <a:gd name="T31" fmla="*/ 60 h 96"/>
              <a:gd name="T32" fmla="*/ 24 w 114"/>
              <a:gd name="T33" fmla="*/ 60 h 96"/>
              <a:gd name="T34" fmla="*/ 24 w 114"/>
              <a:gd name="T35" fmla="*/ 54 h 96"/>
              <a:gd name="T36" fmla="*/ 24 w 114"/>
              <a:gd name="T37" fmla="*/ 54 h 96"/>
              <a:gd name="T38" fmla="*/ 24 w 114"/>
              <a:gd name="T39" fmla="*/ 48 h 96"/>
              <a:gd name="T40" fmla="*/ 30 w 114"/>
              <a:gd name="T41" fmla="*/ 48 h 96"/>
              <a:gd name="T42" fmla="*/ 24 w 114"/>
              <a:gd name="T43" fmla="*/ 42 h 96"/>
              <a:gd name="T44" fmla="*/ 24 w 114"/>
              <a:gd name="T45" fmla="*/ 36 h 96"/>
              <a:gd name="T46" fmla="*/ 24 w 114"/>
              <a:gd name="T47" fmla="*/ 36 h 96"/>
              <a:gd name="T48" fmla="*/ 24 w 114"/>
              <a:gd name="T49" fmla="*/ 30 h 96"/>
              <a:gd name="T50" fmla="*/ 24 w 114"/>
              <a:gd name="T51" fmla="*/ 24 h 96"/>
              <a:gd name="T52" fmla="*/ 24 w 114"/>
              <a:gd name="T53" fmla="*/ 18 h 96"/>
              <a:gd name="T54" fmla="*/ 30 w 114"/>
              <a:gd name="T55" fmla="*/ 18 h 96"/>
              <a:gd name="T56" fmla="*/ 30 w 114"/>
              <a:gd name="T57" fmla="*/ 12 h 96"/>
              <a:gd name="T58" fmla="*/ 36 w 114"/>
              <a:gd name="T59" fmla="*/ 18 h 96"/>
              <a:gd name="T60" fmla="*/ 36 w 114"/>
              <a:gd name="T61" fmla="*/ 12 h 96"/>
              <a:gd name="T62" fmla="*/ 42 w 114"/>
              <a:gd name="T63" fmla="*/ 12 h 96"/>
              <a:gd name="T64" fmla="*/ 42 w 114"/>
              <a:gd name="T65" fmla="*/ 6 h 96"/>
              <a:gd name="T66" fmla="*/ 42 w 114"/>
              <a:gd name="T67" fmla="*/ 6 h 96"/>
              <a:gd name="T68" fmla="*/ 48 w 114"/>
              <a:gd name="T69" fmla="*/ 0 h 96"/>
              <a:gd name="T70" fmla="*/ 54 w 114"/>
              <a:gd name="T71" fmla="*/ 0 h 96"/>
              <a:gd name="T72" fmla="*/ 54 w 114"/>
              <a:gd name="T73" fmla="*/ 6 h 96"/>
              <a:gd name="T74" fmla="*/ 60 w 114"/>
              <a:gd name="T75" fmla="*/ 12 h 96"/>
              <a:gd name="T76" fmla="*/ 66 w 114"/>
              <a:gd name="T77" fmla="*/ 18 h 96"/>
              <a:gd name="T78" fmla="*/ 72 w 114"/>
              <a:gd name="T79" fmla="*/ 24 h 96"/>
              <a:gd name="T80" fmla="*/ 78 w 114"/>
              <a:gd name="T81" fmla="*/ 30 h 96"/>
              <a:gd name="T82" fmla="*/ 78 w 114"/>
              <a:gd name="T83" fmla="*/ 30 h 96"/>
              <a:gd name="T84" fmla="*/ 84 w 114"/>
              <a:gd name="T85" fmla="*/ 30 h 96"/>
              <a:gd name="T86" fmla="*/ 84 w 114"/>
              <a:gd name="T87" fmla="*/ 30 h 96"/>
              <a:gd name="T88" fmla="*/ 96 w 114"/>
              <a:gd name="T89" fmla="*/ 30 h 96"/>
              <a:gd name="T90" fmla="*/ 102 w 114"/>
              <a:gd name="T91" fmla="*/ 30 h 96"/>
              <a:gd name="T92" fmla="*/ 84 w 114"/>
              <a:gd name="T93" fmla="*/ 60 h 96"/>
              <a:gd name="T94" fmla="*/ 54 w 114"/>
              <a:gd name="T95" fmla="*/ 90 h 96"/>
              <a:gd name="T96" fmla="*/ 54 w 114"/>
              <a:gd name="T97" fmla="*/ 90 h 96"/>
              <a:gd name="T98" fmla="*/ 48 w 114"/>
              <a:gd name="T99" fmla="*/ 90 h 96"/>
              <a:gd name="T100" fmla="*/ 42 w 114"/>
              <a:gd name="T101" fmla="*/ 90 h 96"/>
              <a:gd name="T102" fmla="*/ 36 w 114"/>
              <a:gd name="T103" fmla="*/ 84 h 96"/>
              <a:gd name="T104" fmla="*/ 36 w 114"/>
              <a:gd name="T105" fmla="*/ 78 h 96"/>
              <a:gd name="T106" fmla="*/ 24 w 114"/>
              <a:gd name="T107" fmla="*/ 78 h 96"/>
              <a:gd name="T108" fmla="*/ 18 w 114"/>
              <a:gd name="T109" fmla="*/ 78 h 96"/>
              <a:gd name="T110" fmla="*/ 6 w 114"/>
              <a:gd name="T111" fmla="*/ 84 h 96"/>
              <a:gd name="T112" fmla="*/ 12 w 114"/>
              <a:gd name="T113" fmla="*/ 90 h 96"/>
              <a:gd name="T114" fmla="*/ 12 w 114"/>
              <a:gd name="T115" fmla="*/ 90 h 96"/>
              <a:gd name="T116" fmla="*/ 6 w 114"/>
              <a:gd name="T117" fmla="*/ 90 h 96"/>
              <a:gd name="T118" fmla="*/ 6 w 114"/>
              <a:gd name="T119" fmla="*/ 90 h 96"/>
              <a:gd name="T120" fmla="*/ 0 w 114"/>
              <a:gd name="T121" fmla="*/ 9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14" h="96">
                <a:moveTo>
                  <a:pt x="0" y="84"/>
                </a:move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6" y="78"/>
                </a:lnTo>
                <a:lnTo>
                  <a:pt x="0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84"/>
                </a:lnTo>
                <a:lnTo>
                  <a:pt x="6" y="78"/>
                </a:lnTo>
                <a:lnTo>
                  <a:pt x="6" y="78"/>
                </a:lnTo>
                <a:lnTo>
                  <a:pt x="6" y="84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12" y="72"/>
                </a:lnTo>
                <a:lnTo>
                  <a:pt x="6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8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24" y="66"/>
                </a:lnTo>
                <a:lnTo>
                  <a:pt x="18" y="66"/>
                </a:lnTo>
                <a:lnTo>
                  <a:pt x="18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30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18" y="60"/>
                </a:lnTo>
                <a:lnTo>
                  <a:pt x="24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30" y="54"/>
                </a:lnTo>
                <a:lnTo>
                  <a:pt x="30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24" y="48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6" y="12"/>
                </a:lnTo>
                <a:lnTo>
                  <a:pt x="36" y="12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6"/>
                </a:lnTo>
                <a:lnTo>
                  <a:pt x="60" y="6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84" y="30"/>
                </a:lnTo>
                <a:lnTo>
                  <a:pt x="78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6" y="30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30"/>
                </a:lnTo>
                <a:lnTo>
                  <a:pt x="96" y="30"/>
                </a:lnTo>
                <a:lnTo>
                  <a:pt x="102" y="30"/>
                </a:lnTo>
                <a:lnTo>
                  <a:pt x="102" y="30"/>
                </a:lnTo>
                <a:lnTo>
                  <a:pt x="108" y="30"/>
                </a:lnTo>
                <a:lnTo>
                  <a:pt x="114" y="36"/>
                </a:lnTo>
                <a:lnTo>
                  <a:pt x="108" y="36"/>
                </a:lnTo>
                <a:lnTo>
                  <a:pt x="108" y="42"/>
                </a:lnTo>
                <a:lnTo>
                  <a:pt x="102" y="42"/>
                </a:lnTo>
                <a:lnTo>
                  <a:pt x="96" y="48"/>
                </a:lnTo>
                <a:lnTo>
                  <a:pt x="84" y="60"/>
                </a:lnTo>
                <a:lnTo>
                  <a:pt x="84" y="60"/>
                </a:lnTo>
                <a:lnTo>
                  <a:pt x="66" y="84"/>
                </a:lnTo>
                <a:lnTo>
                  <a:pt x="54" y="90"/>
                </a:lnTo>
                <a:lnTo>
                  <a:pt x="54" y="90"/>
                </a:lnTo>
                <a:lnTo>
                  <a:pt x="54" y="96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2" y="78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90"/>
                </a:lnTo>
                <a:lnTo>
                  <a:pt x="6" y="90"/>
                </a:lnTo>
                <a:lnTo>
                  <a:pt x="12" y="90"/>
                </a:lnTo>
                <a:lnTo>
                  <a:pt x="12" y="90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84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0" y="8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21" name="Freeform 454"/>
          <p:cNvSpPr>
            <a:spLocks/>
          </p:cNvSpPr>
          <p:nvPr/>
        </p:nvSpPr>
        <p:spPr bwMode="auto">
          <a:xfrm>
            <a:off x="6774766" y="4995833"/>
            <a:ext cx="134905" cy="122058"/>
          </a:xfrm>
          <a:custGeom>
            <a:avLst/>
            <a:gdLst>
              <a:gd name="T0" fmla="*/ 6 w 126"/>
              <a:gd name="T1" fmla="*/ 48 h 114"/>
              <a:gd name="T2" fmla="*/ 6 w 126"/>
              <a:gd name="T3" fmla="*/ 48 h 114"/>
              <a:gd name="T4" fmla="*/ 0 w 126"/>
              <a:gd name="T5" fmla="*/ 48 h 114"/>
              <a:gd name="T6" fmla="*/ 0 w 126"/>
              <a:gd name="T7" fmla="*/ 42 h 114"/>
              <a:gd name="T8" fmla="*/ 0 w 126"/>
              <a:gd name="T9" fmla="*/ 42 h 114"/>
              <a:gd name="T10" fmla="*/ 0 w 126"/>
              <a:gd name="T11" fmla="*/ 36 h 114"/>
              <a:gd name="T12" fmla="*/ 0 w 126"/>
              <a:gd name="T13" fmla="*/ 36 h 114"/>
              <a:gd name="T14" fmla="*/ 6 w 126"/>
              <a:gd name="T15" fmla="*/ 30 h 114"/>
              <a:gd name="T16" fmla="*/ 6 w 126"/>
              <a:gd name="T17" fmla="*/ 30 h 114"/>
              <a:gd name="T18" fmla="*/ 12 w 126"/>
              <a:gd name="T19" fmla="*/ 30 h 114"/>
              <a:gd name="T20" fmla="*/ 18 w 126"/>
              <a:gd name="T21" fmla="*/ 24 h 114"/>
              <a:gd name="T22" fmla="*/ 18 w 126"/>
              <a:gd name="T23" fmla="*/ 24 h 114"/>
              <a:gd name="T24" fmla="*/ 18 w 126"/>
              <a:gd name="T25" fmla="*/ 18 h 114"/>
              <a:gd name="T26" fmla="*/ 24 w 126"/>
              <a:gd name="T27" fmla="*/ 18 h 114"/>
              <a:gd name="T28" fmla="*/ 24 w 126"/>
              <a:gd name="T29" fmla="*/ 12 h 114"/>
              <a:gd name="T30" fmla="*/ 24 w 126"/>
              <a:gd name="T31" fmla="*/ 12 h 114"/>
              <a:gd name="T32" fmla="*/ 30 w 126"/>
              <a:gd name="T33" fmla="*/ 6 h 114"/>
              <a:gd name="T34" fmla="*/ 36 w 126"/>
              <a:gd name="T35" fmla="*/ 6 h 114"/>
              <a:gd name="T36" fmla="*/ 48 w 126"/>
              <a:gd name="T37" fmla="*/ 6 h 114"/>
              <a:gd name="T38" fmla="*/ 54 w 126"/>
              <a:gd name="T39" fmla="*/ 6 h 114"/>
              <a:gd name="T40" fmla="*/ 54 w 126"/>
              <a:gd name="T41" fmla="*/ 12 h 114"/>
              <a:gd name="T42" fmla="*/ 66 w 126"/>
              <a:gd name="T43" fmla="*/ 12 h 114"/>
              <a:gd name="T44" fmla="*/ 66 w 126"/>
              <a:gd name="T45" fmla="*/ 18 h 114"/>
              <a:gd name="T46" fmla="*/ 72 w 126"/>
              <a:gd name="T47" fmla="*/ 18 h 114"/>
              <a:gd name="T48" fmla="*/ 72 w 126"/>
              <a:gd name="T49" fmla="*/ 18 h 114"/>
              <a:gd name="T50" fmla="*/ 78 w 126"/>
              <a:gd name="T51" fmla="*/ 24 h 114"/>
              <a:gd name="T52" fmla="*/ 78 w 126"/>
              <a:gd name="T53" fmla="*/ 24 h 114"/>
              <a:gd name="T54" fmla="*/ 84 w 126"/>
              <a:gd name="T55" fmla="*/ 18 h 114"/>
              <a:gd name="T56" fmla="*/ 90 w 126"/>
              <a:gd name="T57" fmla="*/ 18 h 114"/>
              <a:gd name="T58" fmla="*/ 96 w 126"/>
              <a:gd name="T59" fmla="*/ 18 h 114"/>
              <a:gd name="T60" fmla="*/ 96 w 126"/>
              <a:gd name="T61" fmla="*/ 24 h 114"/>
              <a:gd name="T62" fmla="*/ 108 w 126"/>
              <a:gd name="T63" fmla="*/ 18 h 114"/>
              <a:gd name="T64" fmla="*/ 108 w 126"/>
              <a:gd name="T65" fmla="*/ 18 h 114"/>
              <a:gd name="T66" fmla="*/ 114 w 126"/>
              <a:gd name="T67" fmla="*/ 12 h 114"/>
              <a:gd name="T68" fmla="*/ 114 w 126"/>
              <a:gd name="T69" fmla="*/ 6 h 114"/>
              <a:gd name="T70" fmla="*/ 120 w 126"/>
              <a:gd name="T71" fmla="*/ 0 h 114"/>
              <a:gd name="T72" fmla="*/ 126 w 126"/>
              <a:gd name="T73" fmla="*/ 12 h 114"/>
              <a:gd name="T74" fmla="*/ 120 w 126"/>
              <a:gd name="T75" fmla="*/ 18 h 114"/>
              <a:gd name="T76" fmla="*/ 120 w 126"/>
              <a:gd name="T77" fmla="*/ 24 h 114"/>
              <a:gd name="T78" fmla="*/ 114 w 126"/>
              <a:gd name="T79" fmla="*/ 36 h 114"/>
              <a:gd name="T80" fmla="*/ 120 w 126"/>
              <a:gd name="T81" fmla="*/ 42 h 114"/>
              <a:gd name="T82" fmla="*/ 108 w 126"/>
              <a:gd name="T83" fmla="*/ 60 h 114"/>
              <a:gd name="T84" fmla="*/ 102 w 126"/>
              <a:gd name="T85" fmla="*/ 78 h 114"/>
              <a:gd name="T86" fmla="*/ 102 w 126"/>
              <a:gd name="T87" fmla="*/ 78 h 114"/>
              <a:gd name="T88" fmla="*/ 96 w 126"/>
              <a:gd name="T89" fmla="*/ 90 h 114"/>
              <a:gd name="T90" fmla="*/ 42 w 126"/>
              <a:gd name="T91" fmla="*/ 114 h 114"/>
              <a:gd name="T92" fmla="*/ 48 w 126"/>
              <a:gd name="T93" fmla="*/ 108 h 114"/>
              <a:gd name="T94" fmla="*/ 48 w 126"/>
              <a:gd name="T95" fmla="*/ 96 h 114"/>
              <a:gd name="T96" fmla="*/ 36 w 126"/>
              <a:gd name="T97" fmla="*/ 84 h 114"/>
              <a:gd name="T98" fmla="*/ 36 w 126"/>
              <a:gd name="T99" fmla="*/ 78 h 114"/>
              <a:gd name="T100" fmla="*/ 36 w 126"/>
              <a:gd name="T101" fmla="*/ 72 h 114"/>
              <a:gd name="T102" fmla="*/ 42 w 126"/>
              <a:gd name="T103" fmla="*/ 66 h 114"/>
              <a:gd name="T104" fmla="*/ 42 w 126"/>
              <a:gd name="T105" fmla="*/ 66 h 114"/>
              <a:gd name="T106" fmla="*/ 36 w 126"/>
              <a:gd name="T107" fmla="*/ 60 h 114"/>
              <a:gd name="T108" fmla="*/ 30 w 126"/>
              <a:gd name="T109" fmla="*/ 66 h 114"/>
              <a:gd name="T110" fmla="*/ 24 w 126"/>
              <a:gd name="T111" fmla="*/ 54 h 114"/>
              <a:gd name="T112" fmla="*/ 18 w 126"/>
              <a:gd name="T113" fmla="*/ 54 h 114"/>
              <a:gd name="T114" fmla="*/ 6 w 126"/>
              <a:gd name="T115" fmla="*/ 48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26" h="114">
                <a:moveTo>
                  <a:pt x="6" y="48"/>
                </a:moveTo>
                <a:lnTo>
                  <a:pt x="0" y="48"/>
                </a:lnTo>
                <a:lnTo>
                  <a:pt x="6" y="48"/>
                </a:lnTo>
                <a:lnTo>
                  <a:pt x="0" y="48"/>
                </a:lnTo>
                <a:lnTo>
                  <a:pt x="0" y="48"/>
                </a:lnTo>
                <a:lnTo>
                  <a:pt x="6" y="48"/>
                </a:lnTo>
                <a:lnTo>
                  <a:pt x="0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0" y="48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12" y="24"/>
                </a:lnTo>
                <a:lnTo>
                  <a:pt x="12" y="24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6" y="6"/>
                </a:lnTo>
                <a:lnTo>
                  <a:pt x="66" y="6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8" y="18"/>
                </a:lnTo>
                <a:lnTo>
                  <a:pt x="78" y="18"/>
                </a:lnTo>
                <a:lnTo>
                  <a:pt x="72" y="24"/>
                </a:lnTo>
                <a:lnTo>
                  <a:pt x="78" y="24"/>
                </a:lnTo>
                <a:lnTo>
                  <a:pt x="78" y="24"/>
                </a:lnTo>
                <a:lnTo>
                  <a:pt x="72" y="24"/>
                </a:lnTo>
                <a:lnTo>
                  <a:pt x="78" y="24"/>
                </a:lnTo>
                <a:lnTo>
                  <a:pt x="78" y="24"/>
                </a:lnTo>
                <a:lnTo>
                  <a:pt x="72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0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6" y="12"/>
                </a:lnTo>
                <a:lnTo>
                  <a:pt x="126" y="12"/>
                </a:lnTo>
                <a:lnTo>
                  <a:pt x="120" y="12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14" y="30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20" y="42"/>
                </a:lnTo>
                <a:lnTo>
                  <a:pt x="114" y="42"/>
                </a:lnTo>
                <a:lnTo>
                  <a:pt x="108" y="48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60"/>
                </a:lnTo>
                <a:lnTo>
                  <a:pt x="108" y="60"/>
                </a:lnTo>
                <a:lnTo>
                  <a:pt x="102" y="66"/>
                </a:lnTo>
                <a:lnTo>
                  <a:pt x="102" y="66"/>
                </a:lnTo>
                <a:lnTo>
                  <a:pt x="108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96" y="84"/>
                </a:lnTo>
                <a:lnTo>
                  <a:pt x="96" y="84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84" y="96"/>
                </a:lnTo>
                <a:lnTo>
                  <a:pt x="72" y="102"/>
                </a:lnTo>
                <a:lnTo>
                  <a:pt x="60" y="108"/>
                </a:lnTo>
                <a:lnTo>
                  <a:pt x="48" y="114"/>
                </a:lnTo>
                <a:lnTo>
                  <a:pt x="48" y="114"/>
                </a:lnTo>
                <a:lnTo>
                  <a:pt x="42" y="114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2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96"/>
                </a:lnTo>
                <a:lnTo>
                  <a:pt x="48" y="96"/>
                </a:lnTo>
                <a:lnTo>
                  <a:pt x="48" y="90"/>
                </a:lnTo>
                <a:lnTo>
                  <a:pt x="48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84"/>
                </a:lnTo>
                <a:lnTo>
                  <a:pt x="42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6"/>
                </a:lnTo>
                <a:lnTo>
                  <a:pt x="30" y="66"/>
                </a:lnTo>
                <a:lnTo>
                  <a:pt x="24" y="66"/>
                </a:lnTo>
                <a:lnTo>
                  <a:pt x="30" y="60"/>
                </a:lnTo>
                <a:lnTo>
                  <a:pt x="30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22" name="Freeform 455"/>
          <p:cNvSpPr>
            <a:spLocks/>
          </p:cNvSpPr>
          <p:nvPr/>
        </p:nvSpPr>
        <p:spPr bwMode="auto">
          <a:xfrm>
            <a:off x="6851854" y="4796686"/>
            <a:ext cx="77089" cy="102786"/>
          </a:xfrm>
          <a:custGeom>
            <a:avLst/>
            <a:gdLst>
              <a:gd name="T0" fmla="*/ 6 w 72"/>
              <a:gd name="T1" fmla="*/ 36 h 96"/>
              <a:gd name="T2" fmla="*/ 24 w 72"/>
              <a:gd name="T3" fmla="*/ 42 h 96"/>
              <a:gd name="T4" fmla="*/ 24 w 72"/>
              <a:gd name="T5" fmla="*/ 42 h 96"/>
              <a:gd name="T6" fmla="*/ 24 w 72"/>
              <a:gd name="T7" fmla="*/ 36 h 96"/>
              <a:gd name="T8" fmla="*/ 24 w 72"/>
              <a:gd name="T9" fmla="*/ 30 h 96"/>
              <a:gd name="T10" fmla="*/ 24 w 72"/>
              <a:gd name="T11" fmla="*/ 24 h 96"/>
              <a:gd name="T12" fmla="*/ 24 w 72"/>
              <a:gd name="T13" fmla="*/ 18 h 96"/>
              <a:gd name="T14" fmla="*/ 18 w 72"/>
              <a:gd name="T15" fmla="*/ 18 h 96"/>
              <a:gd name="T16" fmla="*/ 18 w 72"/>
              <a:gd name="T17" fmla="*/ 12 h 96"/>
              <a:gd name="T18" fmla="*/ 18 w 72"/>
              <a:gd name="T19" fmla="*/ 6 h 96"/>
              <a:gd name="T20" fmla="*/ 24 w 72"/>
              <a:gd name="T21" fmla="*/ 6 h 96"/>
              <a:gd name="T22" fmla="*/ 24 w 72"/>
              <a:gd name="T23" fmla="*/ 6 h 96"/>
              <a:gd name="T24" fmla="*/ 24 w 72"/>
              <a:gd name="T25" fmla="*/ 6 h 96"/>
              <a:gd name="T26" fmla="*/ 24 w 72"/>
              <a:gd name="T27" fmla="*/ 0 h 96"/>
              <a:gd name="T28" fmla="*/ 24 w 72"/>
              <a:gd name="T29" fmla="*/ 0 h 96"/>
              <a:gd name="T30" fmla="*/ 30 w 72"/>
              <a:gd name="T31" fmla="*/ 6 h 96"/>
              <a:gd name="T32" fmla="*/ 36 w 72"/>
              <a:gd name="T33" fmla="*/ 12 h 96"/>
              <a:gd name="T34" fmla="*/ 36 w 72"/>
              <a:gd name="T35" fmla="*/ 12 h 96"/>
              <a:gd name="T36" fmla="*/ 42 w 72"/>
              <a:gd name="T37" fmla="*/ 12 h 96"/>
              <a:gd name="T38" fmla="*/ 42 w 72"/>
              <a:gd name="T39" fmla="*/ 12 h 96"/>
              <a:gd name="T40" fmla="*/ 42 w 72"/>
              <a:gd name="T41" fmla="*/ 24 h 96"/>
              <a:gd name="T42" fmla="*/ 42 w 72"/>
              <a:gd name="T43" fmla="*/ 36 h 96"/>
              <a:gd name="T44" fmla="*/ 48 w 72"/>
              <a:gd name="T45" fmla="*/ 36 h 96"/>
              <a:gd name="T46" fmla="*/ 54 w 72"/>
              <a:gd name="T47" fmla="*/ 36 h 96"/>
              <a:gd name="T48" fmla="*/ 54 w 72"/>
              <a:gd name="T49" fmla="*/ 42 h 96"/>
              <a:gd name="T50" fmla="*/ 48 w 72"/>
              <a:gd name="T51" fmla="*/ 54 h 96"/>
              <a:gd name="T52" fmla="*/ 48 w 72"/>
              <a:gd name="T53" fmla="*/ 60 h 96"/>
              <a:gd name="T54" fmla="*/ 48 w 72"/>
              <a:gd name="T55" fmla="*/ 60 h 96"/>
              <a:gd name="T56" fmla="*/ 54 w 72"/>
              <a:gd name="T57" fmla="*/ 66 h 96"/>
              <a:gd name="T58" fmla="*/ 54 w 72"/>
              <a:gd name="T59" fmla="*/ 66 h 96"/>
              <a:gd name="T60" fmla="*/ 54 w 72"/>
              <a:gd name="T61" fmla="*/ 72 h 96"/>
              <a:gd name="T62" fmla="*/ 54 w 72"/>
              <a:gd name="T63" fmla="*/ 78 h 96"/>
              <a:gd name="T64" fmla="*/ 54 w 72"/>
              <a:gd name="T65" fmla="*/ 78 h 96"/>
              <a:gd name="T66" fmla="*/ 54 w 72"/>
              <a:gd name="T67" fmla="*/ 84 h 96"/>
              <a:gd name="T68" fmla="*/ 60 w 72"/>
              <a:gd name="T69" fmla="*/ 84 h 96"/>
              <a:gd name="T70" fmla="*/ 60 w 72"/>
              <a:gd name="T71" fmla="*/ 84 h 96"/>
              <a:gd name="T72" fmla="*/ 60 w 72"/>
              <a:gd name="T73" fmla="*/ 84 h 96"/>
              <a:gd name="T74" fmla="*/ 66 w 72"/>
              <a:gd name="T75" fmla="*/ 84 h 96"/>
              <a:gd name="T76" fmla="*/ 66 w 72"/>
              <a:gd name="T77" fmla="*/ 84 h 96"/>
              <a:gd name="T78" fmla="*/ 66 w 72"/>
              <a:gd name="T79" fmla="*/ 90 h 96"/>
              <a:gd name="T80" fmla="*/ 66 w 72"/>
              <a:gd name="T81" fmla="*/ 96 h 96"/>
              <a:gd name="T82" fmla="*/ 60 w 72"/>
              <a:gd name="T83" fmla="*/ 96 h 96"/>
              <a:gd name="T84" fmla="*/ 60 w 72"/>
              <a:gd name="T85" fmla="*/ 90 h 96"/>
              <a:gd name="T86" fmla="*/ 54 w 72"/>
              <a:gd name="T87" fmla="*/ 96 h 96"/>
              <a:gd name="T88" fmla="*/ 48 w 72"/>
              <a:gd name="T89" fmla="*/ 96 h 96"/>
              <a:gd name="T90" fmla="*/ 42 w 72"/>
              <a:gd name="T91" fmla="*/ 96 h 96"/>
              <a:gd name="T92" fmla="*/ 42 w 72"/>
              <a:gd name="T93" fmla="*/ 90 h 96"/>
              <a:gd name="T94" fmla="*/ 42 w 72"/>
              <a:gd name="T95" fmla="*/ 90 h 96"/>
              <a:gd name="T96" fmla="*/ 42 w 72"/>
              <a:gd name="T97" fmla="*/ 84 h 96"/>
              <a:gd name="T98" fmla="*/ 42 w 72"/>
              <a:gd name="T99" fmla="*/ 84 h 96"/>
              <a:gd name="T100" fmla="*/ 36 w 72"/>
              <a:gd name="T101" fmla="*/ 84 h 96"/>
              <a:gd name="T102" fmla="*/ 30 w 72"/>
              <a:gd name="T103" fmla="*/ 84 h 96"/>
              <a:gd name="T104" fmla="*/ 30 w 72"/>
              <a:gd name="T105" fmla="*/ 84 h 96"/>
              <a:gd name="T106" fmla="*/ 24 w 72"/>
              <a:gd name="T107" fmla="*/ 84 h 96"/>
              <a:gd name="T108" fmla="*/ 24 w 72"/>
              <a:gd name="T109" fmla="*/ 84 h 96"/>
              <a:gd name="T110" fmla="*/ 24 w 72"/>
              <a:gd name="T111" fmla="*/ 78 h 96"/>
              <a:gd name="T112" fmla="*/ 18 w 72"/>
              <a:gd name="T113" fmla="*/ 72 h 96"/>
              <a:gd name="T114" fmla="*/ 18 w 72"/>
              <a:gd name="T115" fmla="*/ 66 h 96"/>
              <a:gd name="T116" fmla="*/ 18 w 72"/>
              <a:gd name="T117" fmla="*/ 54 h 96"/>
              <a:gd name="T118" fmla="*/ 12 w 72"/>
              <a:gd name="T119" fmla="*/ 54 h 96"/>
              <a:gd name="T120" fmla="*/ 12 w 72"/>
              <a:gd name="T121" fmla="*/ 48 h 96"/>
              <a:gd name="T122" fmla="*/ 6 w 72"/>
              <a:gd name="T123" fmla="*/ 4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" h="96">
                <a:moveTo>
                  <a:pt x="0" y="42"/>
                </a:moveTo>
                <a:lnTo>
                  <a:pt x="0" y="42"/>
                </a:lnTo>
                <a:lnTo>
                  <a:pt x="0" y="42"/>
                </a:lnTo>
                <a:lnTo>
                  <a:pt x="6" y="36"/>
                </a:lnTo>
                <a:lnTo>
                  <a:pt x="6" y="36"/>
                </a:lnTo>
                <a:lnTo>
                  <a:pt x="12" y="36"/>
                </a:lnTo>
                <a:lnTo>
                  <a:pt x="12" y="36"/>
                </a:lnTo>
                <a:lnTo>
                  <a:pt x="18" y="36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0"/>
                </a:lnTo>
                <a:lnTo>
                  <a:pt x="24" y="0"/>
                </a:lnTo>
                <a:lnTo>
                  <a:pt x="24" y="6"/>
                </a:lnTo>
                <a:lnTo>
                  <a:pt x="24" y="6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6"/>
                </a:lnTo>
                <a:lnTo>
                  <a:pt x="24" y="6"/>
                </a:lnTo>
                <a:lnTo>
                  <a:pt x="24" y="0"/>
                </a:lnTo>
                <a:lnTo>
                  <a:pt x="24" y="0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8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30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48" y="42"/>
                </a:lnTo>
                <a:lnTo>
                  <a:pt x="48" y="42"/>
                </a:lnTo>
                <a:lnTo>
                  <a:pt x="48" y="48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6"/>
                </a:lnTo>
                <a:lnTo>
                  <a:pt x="48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6" y="78"/>
                </a:lnTo>
                <a:lnTo>
                  <a:pt x="66" y="78"/>
                </a:lnTo>
                <a:lnTo>
                  <a:pt x="60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72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0" y="96"/>
                </a:lnTo>
                <a:lnTo>
                  <a:pt x="60" y="96"/>
                </a:lnTo>
                <a:lnTo>
                  <a:pt x="66" y="90"/>
                </a:lnTo>
                <a:lnTo>
                  <a:pt x="66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54" y="90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18" y="78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0"/>
                </a:lnTo>
                <a:lnTo>
                  <a:pt x="18" y="60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2" y="54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23" name="Freeform 456"/>
          <p:cNvSpPr>
            <a:spLocks/>
          </p:cNvSpPr>
          <p:nvPr/>
        </p:nvSpPr>
        <p:spPr bwMode="auto">
          <a:xfrm>
            <a:off x="6537076" y="4726021"/>
            <a:ext cx="231266" cy="122058"/>
          </a:xfrm>
          <a:custGeom>
            <a:avLst/>
            <a:gdLst>
              <a:gd name="T0" fmla="*/ 6 w 216"/>
              <a:gd name="T1" fmla="*/ 42 h 114"/>
              <a:gd name="T2" fmla="*/ 18 w 216"/>
              <a:gd name="T3" fmla="*/ 36 h 114"/>
              <a:gd name="T4" fmla="*/ 36 w 216"/>
              <a:gd name="T5" fmla="*/ 36 h 114"/>
              <a:gd name="T6" fmla="*/ 48 w 216"/>
              <a:gd name="T7" fmla="*/ 42 h 114"/>
              <a:gd name="T8" fmla="*/ 60 w 216"/>
              <a:gd name="T9" fmla="*/ 30 h 114"/>
              <a:gd name="T10" fmla="*/ 72 w 216"/>
              <a:gd name="T11" fmla="*/ 24 h 114"/>
              <a:gd name="T12" fmla="*/ 90 w 216"/>
              <a:gd name="T13" fmla="*/ 12 h 114"/>
              <a:gd name="T14" fmla="*/ 90 w 216"/>
              <a:gd name="T15" fmla="*/ 6 h 114"/>
              <a:gd name="T16" fmla="*/ 102 w 216"/>
              <a:gd name="T17" fmla="*/ 6 h 114"/>
              <a:gd name="T18" fmla="*/ 108 w 216"/>
              <a:gd name="T19" fmla="*/ 12 h 114"/>
              <a:gd name="T20" fmla="*/ 120 w 216"/>
              <a:gd name="T21" fmla="*/ 18 h 114"/>
              <a:gd name="T22" fmla="*/ 120 w 216"/>
              <a:gd name="T23" fmla="*/ 12 h 114"/>
              <a:gd name="T24" fmla="*/ 138 w 216"/>
              <a:gd name="T25" fmla="*/ 6 h 114"/>
              <a:gd name="T26" fmla="*/ 138 w 216"/>
              <a:gd name="T27" fmla="*/ 6 h 114"/>
              <a:gd name="T28" fmla="*/ 150 w 216"/>
              <a:gd name="T29" fmla="*/ 6 h 114"/>
              <a:gd name="T30" fmla="*/ 162 w 216"/>
              <a:gd name="T31" fmla="*/ 6 h 114"/>
              <a:gd name="T32" fmla="*/ 168 w 216"/>
              <a:gd name="T33" fmla="*/ 6 h 114"/>
              <a:gd name="T34" fmla="*/ 180 w 216"/>
              <a:gd name="T35" fmla="*/ 6 h 114"/>
              <a:gd name="T36" fmla="*/ 186 w 216"/>
              <a:gd name="T37" fmla="*/ 12 h 114"/>
              <a:gd name="T38" fmla="*/ 192 w 216"/>
              <a:gd name="T39" fmla="*/ 18 h 114"/>
              <a:gd name="T40" fmla="*/ 204 w 216"/>
              <a:gd name="T41" fmla="*/ 24 h 114"/>
              <a:gd name="T42" fmla="*/ 210 w 216"/>
              <a:gd name="T43" fmla="*/ 30 h 114"/>
              <a:gd name="T44" fmla="*/ 216 w 216"/>
              <a:gd name="T45" fmla="*/ 30 h 114"/>
              <a:gd name="T46" fmla="*/ 210 w 216"/>
              <a:gd name="T47" fmla="*/ 42 h 114"/>
              <a:gd name="T48" fmla="*/ 210 w 216"/>
              <a:gd name="T49" fmla="*/ 42 h 114"/>
              <a:gd name="T50" fmla="*/ 210 w 216"/>
              <a:gd name="T51" fmla="*/ 48 h 114"/>
              <a:gd name="T52" fmla="*/ 204 w 216"/>
              <a:gd name="T53" fmla="*/ 54 h 114"/>
              <a:gd name="T54" fmla="*/ 198 w 216"/>
              <a:gd name="T55" fmla="*/ 54 h 114"/>
              <a:gd name="T56" fmla="*/ 198 w 216"/>
              <a:gd name="T57" fmla="*/ 60 h 114"/>
              <a:gd name="T58" fmla="*/ 204 w 216"/>
              <a:gd name="T59" fmla="*/ 78 h 114"/>
              <a:gd name="T60" fmla="*/ 204 w 216"/>
              <a:gd name="T61" fmla="*/ 90 h 114"/>
              <a:gd name="T62" fmla="*/ 198 w 216"/>
              <a:gd name="T63" fmla="*/ 96 h 114"/>
              <a:gd name="T64" fmla="*/ 192 w 216"/>
              <a:gd name="T65" fmla="*/ 102 h 114"/>
              <a:gd name="T66" fmla="*/ 186 w 216"/>
              <a:gd name="T67" fmla="*/ 96 h 114"/>
              <a:gd name="T68" fmla="*/ 180 w 216"/>
              <a:gd name="T69" fmla="*/ 96 h 114"/>
              <a:gd name="T70" fmla="*/ 174 w 216"/>
              <a:gd name="T71" fmla="*/ 102 h 114"/>
              <a:gd name="T72" fmla="*/ 174 w 216"/>
              <a:gd name="T73" fmla="*/ 108 h 114"/>
              <a:gd name="T74" fmla="*/ 168 w 216"/>
              <a:gd name="T75" fmla="*/ 108 h 114"/>
              <a:gd name="T76" fmla="*/ 156 w 216"/>
              <a:gd name="T77" fmla="*/ 108 h 114"/>
              <a:gd name="T78" fmla="*/ 150 w 216"/>
              <a:gd name="T79" fmla="*/ 108 h 114"/>
              <a:gd name="T80" fmla="*/ 138 w 216"/>
              <a:gd name="T81" fmla="*/ 108 h 114"/>
              <a:gd name="T82" fmla="*/ 132 w 216"/>
              <a:gd name="T83" fmla="*/ 114 h 114"/>
              <a:gd name="T84" fmla="*/ 120 w 216"/>
              <a:gd name="T85" fmla="*/ 108 h 114"/>
              <a:gd name="T86" fmla="*/ 120 w 216"/>
              <a:gd name="T87" fmla="*/ 102 h 114"/>
              <a:gd name="T88" fmla="*/ 102 w 216"/>
              <a:gd name="T89" fmla="*/ 96 h 114"/>
              <a:gd name="T90" fmla="*/ 102 w 216"/>
              <a:gd name="T91" fmla="*/ 90 h 114"/>
              <a:gd name="T92" fmla="*/ 96 w 216"/>
              <a:gd name="T93" fmla="*/ 102 h 114"/>
              <a:gd name="T94" fmla="*/ 90 w 216"/>
              <a:gd name="T95" fmla="*/ 102 h 114"/>
              <a:gd name="T96" fmla="*/ 84 w 216"/>
              <a:gd name="T97" fmla="*/ 96 h 114"/>
              <a:gd name="T98" fmla="*/ 78 w 216"/>
              <a:gd name="T99" fmla="*/ 90 h 114"/>
              <a:gd name="T100" fmla="*/ 72 w 216"/>
              <a:gd name="T101" fmla="*/ 90 h 114"/>
              <a:gd name="T102" fmla="*/ 48 w 216"/>
              <a:gd name="T103" fmla="*/ 72 h 114"/>
              <a:gd name="T104" fmla="*/ 36 w 216"/>
              <a:gd name="T105" fmla="*/ 72 h 114"/>
              <a:gd name="T106" fmla="*/ 30 w 216"/>
              <a:gd name="T107" fmla="*/ 60 h 114"/>
              <a:gd name="T108" fmla="*/ 36 w 216"/>
              <a:gd name="T109" fmla="*/ 60 h 114"/>
              <a:gd name="T110" fmla="*/ 30 w 216"/>
              <a:gd name="T111" fmla="*/ 54 h 114"/>
              <a:gd name="T112" fmla="*/ 18 w 216"/>
              <a:gd name="T113" fmla="*/ 54 h 114"/>
              <a:gd name="T114" fmla="*/ 12 w 216"/>
              <a:gd name="T115" fmla="*/ 54 h 114"/>
              <a:gd name="T116" fmla="*/ 6 w 216"/>
              <a:gd name="T117" fmla="*/ 54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16" h="114">
                <a:moveTo>
                  <a:pt x="0" y="54"/>
                </a:move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24" y="36"/>
                </a:lnTo>
                <a:lnTo>
                  <a:pt x="24" y="30"/>
                </a:lnTo>
                <a:lnTo>
                  <a:pt x="24" y="30"/>
                </a:lnTo>
                <a:lnTo>
                  <a:pt x="24" y="36"/>
                </a:lnTo>
                <a:lnTo>
                  <a:pt x="24" y="36"/>
                </a:lnTo>
                <a:lnTo>
                  <a:pt x="30" y="30"/>
                </a:lnTo>
                <a:lnTo>
                  <a:pt x="36" y="30"/>
                </a:lnTo>
                <a:lnTo>
                  <a:pt x="36" y="30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0"/>
                </a:lnTo>
                <a:lnTo>
                  <a:pt x="42" y="30"/>
                </a:lnTo>
                <a:lnTo>
                  <a:pt x="42" y="36"/>
                </a:lnTo>
                <a:lnTo>
                  <a:pt x="42" y="36"/>
                </a:lnTo>
                <a:lnTo>
                  <a:pt x="48" y="42"/>
                </a:lnTo>
                <a:lnTo>
                  <a:pt x="48" y="42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6" y="30"/>
                </a:lnTo>
                <a:lnTo>
                  <a:pt x="66" y="30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72" y="36"/>
                </a:lnTo>
                <a:lnTo>
                  <a:pt x="72" y="30"/>
                </a:lnTo>
                <a:lnTo>
                  <a:pt x="66" y="30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90" y="12"/>
                </a:lnTo>
                <a:lnTo>
                  <a:pt x="90" y="12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84" y="6"/>
                </a:lnTo>
                <a:lnTo>
                  <a:pt x="84" y="6"/>
                </a:lnTo>
                <a:lnTo>
                  <a:pt x="90" y="0"/>
                </a:lnTo>
                <a:lnTo>
                  <a:pt x="90" y="0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8" y="6"/>
                </a:lnTo>
                <a:lnTo>
                  <a:pt x="108" y="6"/>
                </a:lnTo>
                <a:lnTo>
                  <a:pt x="102" y="6"/>
                </a:lnTo>
                <a:lnTo>
                  <a:pt x="102" y="6"/>
                </a:lnTo>
                <a:lnTo>
                  <a:pt x="108" y="6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6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12"/>
                </a:lnTo>
                <a:lnTo>
                  <a:pt x="132" y="6"/>
                </a:lnTo>
                <a:lnTo>
                  <a:pt x="138" y="6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12"/>
                </a:lnTo>
                <a:lnTo>
                  <a:pt x="144" y="6"/>
                </a:lnTo>
                <a:lnTo>
                  <a:pt x="150" y="12"/>
                </a:lnTo>
                <a:lnTo>
                  <a:pt x="150" y="6"/>
                </a:lnTo>
                <a:lnTo>
                  <a:pt x="150" y="6"/>
                </a:lnTo>
                <a:lnTo>
                  <a:pt x="150" y="12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62" y="6"/>
                </a:lnTo>
                <a:lnTo>
                  <a:pt x="162" y="6"/>
                </a:lnTo>
                <a:lnTo>
                  <a:pt x="162" y="6"/>
                </a:lnTo>
                <a:lnTo>
                  <a:pt x="162" y="6"/>
                </a:lnTo>
                <a:lnTo>
                  <a:pt x="162" y="6"/>
                </a:lnTo>
                <a:lnTo>
                  <a:pt x="162" y="6"/>
                </a:lnTo>
                <a:lnTo>
                  <a:pt x="162" y="6"/>
                </a:lnTo>
                <a:lnTo>
                  <a:pt x="162" y="0"/>
                </a:lnTo>
                <a:lnTo>
                  <a:pt x="168" y="6"/>
                </a:lnTo>
                <a:lnTo>
                  <a:pt x="168" y="6"/>
                </a:lnTo>
                <a:lnTo>
                  <a:pt x="168" y="6"/>
                </a:lnTo>
                <a:lnTo>
                  <a:pt x="168" y="6"/>
                </a:lnTo>
                <a:lnTo>
                  <a:pt x="168" y="6"/>
                </a:lnTo>
                <a:lnTo>
                  <a:pt x="168" y="12"/>
                </a:lnTo>
                <a:lnTo>
                  <a:pt x="168" y="6"/>
                </a:lnTo>
                <a:lnTo>
                  <a:pt x="168" y="6"/>
                </a:lnTo>
                <a:lnTo>
                  <a:pt x="168" y="6"/>
                </a:lnTo>
                <a:lnTo>
                  <a:pt x="168" y="0"/>
                </a:lnTo>
                <a:lnTo>
                  <a:pt x="168" y="0"/>
                </a:lnTo>
                <a:lnTo>
                  <a:pt x="174" y="6"/>
                </a:lnTo>
                <a:lnTo>
                  <a:pt x="168" y="6"/>
                </a:lnTo>
                <a:lnTo>
                  <a:pt x="174" y="6"/>
                </a:lnTo>
                <a:lnTo>
                  <a:pt x="174" y="6"/>
                </a:lnTo>
                <a:lnTo>
                  <a:pt x="174" y="6"/>
                </a:lnTo>
                <a:lnTo>
                  <a:pt x="174" y="6"/>
                </a:lnTo>
                <a:lnTo>
                  <a:pt x="180" y="6"/>
                </a:lnTo>
                <a:lnTo>
                  <a:pt x="180" y="6"/>
                </a:lnTo>
                <a:lnTo>
                  <a:pt x="180" y="6"/>
                </a:lnTo>
                <a:lnTo>
                  <a:pt x="180" y="6"/>
                </a:lnTo>
                <a:lnTo>
                  <a:pt x="180" y="6"/>
                </a:lnTo>
                <a:lnTo>
                  <a:pt x="180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6"/>
                </a:lnTo>
                <a:lnTo>
                  <a:pt x="186" y="6"/>
                </a:lnTo>
                <a:lnTo>
                  <a:pt x="186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18"/>
                </a:lnTo>
                <a:lnTo>
                  <a:pt x="192" y="18"/>
                </a:lnTo>
                <a:lnTo>
                  <a:pt x="192" y="18"/>
                </a:lnTo>
                <a:lnTo>
                  <a:pt x="192" y="12"/>
                </a:lnTo>
                <a:lnTo>
                  <a:pt x="192" y="18"/>
                </a:lnTo>
                <a:lnTo>
                  <a:pt x="192" y="18"/>
                </a:lnTo>
                <a:lnTo>
                  <a:pt x="192" y="18"/>
                </a:lnTo>
                <a:lnTo>
                  <a:pt x="192" y="18"/>
                </a:lnTo>
                <a:lnTo>
                  <a:pt x="192" y="12"/>
                </a:lnTo>
                <a:lnTo>
                  <a:pt x="192" y="18"/>
                </a:lnTo>
                <a:lnTo>
                  <a:pt x="192" y="18"/>
                </a:lnTo>
                <a:lnTo>
                  <a:pt x="198" y="18"/>
                </a:lnTo>
                <a:lnTo>
                  <a:pt x="198" y="18"/>
                </a:lnTo>
                <a:lnTo>
                  <a:pt x="198" y="18"/>
                </a:lnTo>
                <a:lnTo>
                  <a:pt x="198" y="18"/>
                </a:lnTo>
                <a:lnTo>
                  <a:pt x="198" y="18"/>
                </a:lnTo>
                <a:lnTo>
                  <a:pt x="198" y="18"/>
                </a:lnTo>
                <a:lnTo>
                  <a:pt x="198" y="24"/>
                </a:lnTo>
                <a:lnTo>
                  <a:pt x="198" y="24"/>
                </a:lnTo>
                <a:lnTo>
                  <a:pt x="198" y="24"/>
                </a:lnTo>
                <a:lnTo>
                  <a:pt x="198" y="24"/>
                </a:lnTo>
                <a:lnTo>
                  <a:pt x="204" y="24"/>
                </a:lnTo>
                <a:lnTo>
                  <a:pt x="204" y="24"/>
                </a:lnTo>
                <a:lnTo>
                  <a:pt x="204" y="24"/>
                </a:lnTo>
                <a:lnTo>
                  <a:pt x="204" y="24"/>
                </a:lnTo>
                <a:lnTo>
                  <a:pt x="204" y="24"/>
                </a:lnTo>
                <a:lnTo>
                  <a:pt x="204" y="24"/>
                </a:lnTo>
                <a:lnTo>
                  <a:pt x="204" y="24"/>
                </a:lnTo>
                <a:lnTo>
                  <a:pt x="204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30"/>
                </a:lnTo>
                <a:lnTo>
                  <a:pt x="210" y="30"/>
                </a:lnTo>
                <a:lnTo>
                  <a:pt x="210" y="30"/>
                </a:lnTo>
                <a:lnTo>
                  <a:pt x="210" y="30"/>
                </a:lnTo>
                <a:lnTo>
                  <a:pt x="210" y="30"/>
                </a:lnTo>
                <a:lnTo>
                  <a:pt x="210" y="24"/>
                </a:lnTo>
                <a:lnTo>
                  <a:pt x="210" y="24"/>
                </a:lnTo>
                <a:lnTo>
                  <a:pt x="210" y="30"/>
                </a:lnTo>
                <a:lnTo>
                  <a:pt x="210" y="30"/>
                </a:lnTo>
                <a:lnTo>
                  <a:pt x="210" y="30"/>
                </a:lnTo>
                <a:lnTo>
                  <a:pt x="216" y="30"/>
                </a:lnTo>
                <a:lnTo>
                  <a:pt x="216" y="30"/>
                </a:lnTo>
                <a:lnTo>
                  <a:pt x="216" y="30"/>
                </a:lnTo>
                <a:lnTo>
                  <a:pt x="216" y="30"/>
                </a:lnTo>
                <a:lnTo>
                  <a:pt x="216" y="30"/>
                </a:lnTo>
                <a:lnTo>
                  <a:pt x="216" y="30"/>
                </a:lnTo>
                <a:lnTo>
                  <a:pt x="216" y="30"/>
                </a:lnTo>
                <a:lnTo>
                  <a:pt x="216" y="30"/>
                </a:lnTo>
                <a:lnTo>
                  <a:pt x="216" y="30"/>
                </a:lnTo>
                <a:lnTo>
                  <a:pt x="210" y="30"/>
                </a:lnTo>
                <a:lnTo>
                  <a:pt x="210" y="36"/>
                </a:lnTo>
                <a:lnTo>
                  <a:pt x="216" y="36"/>
                </a:lnTo>
                <a:lnTo>
                  <a:pt x="210" y="36"/>
                </a:lnTo>
                <a:lnTo>
                  <a:pt x="210" y="36"/>
                </a:lnTo>
                <a:lnTo>
                  <a:pt x="210" y="36"/>
                </a:lnTo>
                <a:lnTo>
                  <a:pt x="210" y="36"/>
                </a:lnTo>
                <a:lnTo>
                  <a:pt x="210" y="36"/>
                </a:lnTo>
                <a:lnTo>
                  <a:pt x="210" y="36"/>
                </a:lnTo>
                <a:lnTo>
                  <a:pt x="210" y="42"/>
                </a:lnTo>
                <a:lnTo>
                  <a:pt x="210" y="42"/>
                </a:lnTo>
                <a:lnTo>
                  <a:pt x="210" y="42"/>
                </a:lnTo>
                <a:lnTo>
                  <a:pt x="210" y="42"/>
                </a:lnTo>
                <a:lnTo>
                  <a:pt x="210" y="42"/>
                </a:lnTo>
                <a:lnTo>
                  <a:pt x="210" y="42"/>
                </a:lnTo>
                <a:lnTo>
                  <a:pt x="210" y="42"/>
                </a:lnTo>
                <a:lnTo>
                  <a:pt x="210" y="42"/>
                </a:lnTo>
                <a:lnTo>
                  <a:pt x="210" y="42"/>
                </a:lnTo>
                <a:lnTo>
                  <a:pt x="210" y="42"/>
                </a:lnTo>
                <a:lnTo>
                  <a:pt x="210" y="42"/>
                </a:lnTo>
                <a:lnTo>
                  <a:pt x="216" y="42"/>
                </a:lnTo>
                <a:lnTo>
                  <a:pt x="210" y="42"/>
                </a:lnTo>
                <a:lnTo>
                  <a:pt x="210" y="42"/>
                </a:lnTo>
                <a:lnTo>
                  <a:pt x="210" y="42"/>
                </a:lnTo>
                <a:lnTo>
                  <a:pt x="216" y="48"/>
                </a:lnTo>
                <a:lnTo>
                  <a:pt x="216" y="48"/>
                </a:lnTo>
                <a:lnTo>
                  <a:pt x="210" y="48"/>
                </a:lnTo>
                <a:lnTo>
                  <a:pt x="210" y="42"/>
                </a:lnTo>
                <a:lnTo>
                  <a:pt x="210" y="48"/>
                </a:lnTo>
                <a:lnTo>
                  <a:pt x="210" y="48"/>
                </a:lnTo>
                <a:lnTo>
                  <a:pt x="210" y="48"/>
                </a:lnTo>
                <a:lnTo>
                  <a:pt x="210" y="48"/>
                </a:lnTo>
                <a:lnTo>
                  <a:pt x="210" y="48"/>
                </a:lnTo>
                <a:lnTo>
                  <a:pt x="210" y="48"/>
                </a:lnTo>
                <a:lnTo>
                  <a:pt x="210" y="48"/>
                </a:lnTo>
                <a:lnTo>
                  <a:pt x="210" y="48"/>
                </a:lnTo>
                <a:lnTo>
                  <a:pt x="210" y="48"/>
                </a:lnTo>
                <a:lnTo>
                  <a:pt x="210" y="48"/>
                </a:lnTo>
                <a:lnTo>
                  <a:pt x="210" y="48"/>
                </a:lnTo>
                <a:lnTo>
                  <a:pt x="210" y="48"/>
                </a:lnTo>
                <a:lnTo>
                  <a:pt x="210" y="48"/>
                </a:lnTo>
                <a:lnTo>
                  <a:pt x="210" y="54"/>
                </a:lnTo>
                <a:lnTo>
                  <a:pt x="210" y="48"/>
                </a:lnTo>
                <a:lnTo>
                  <a:pt x="210" y="48"/>
                </a:lnTo>
                <a:lnTo>
                  <a:pt x="210" y="48"/>
                </a:lnTo>
                <a:lnTo>
                  <a:pt x="210" y="48"/>
                </a:lnTo>
                <a:lnTo>
                  <a:pt x="204" y="48"/>
                </a:lnTo>
                <a:lnTo>
                  <a:pt x="204" y="54"/>
                </a:lnTo>
                <a:lnTo>
                  <a:pt x="204" y="54"/>
                </a:lnTo>
                <a:lnTo>
                  <a:pt x="204" y="54"/>
                </a:lnTo>
                <a:lnTo>
                  <a:pt x="204" y="54"/>
                </a:lnTo>
                <a:lnTo>
                  <a:pt x="204" y="54"/>
                </a:lnTo>
                <a:lnTo>
                  <a:pt x="204" y="54"/>
                </a:lnTo>
                <a:lnTo>
                  <a:pt x="204" y="54"/>
                </a:lnTo>
                <a:lnTo>
                  <a:pt x="204" y="54"/>
                </a:lnTo>
                <a:lnTo>
                  <a:pt x="204" y="54"/>
                </a:lnTo>
                <a:lnTo>
                  <a:pt x="204" y="54"/>
                </a:lnTo>
                <a:lnTo>
                  <a:pt x="204" y="54"/>
                </a:lnTo>
                <a:lnTo>
                  <a:pt x="204" y="54"/>
                </a:lnTo>
                <a:lnTo>
                  <a:pt x="204" y="54"/>
                </a:lnTo>
                <a:lnTo>
                  <a:pt x="204" y="54"/>
                </a:lnTo>
                <a:lnTo>
                  <a:pt x="198" y="54"/>
                </a:lnTo>
                <a:lnTo>
                  <a:pt x="198" y="54"/>
                </a:lnTo>
                <a:lnTo>
                  <a:pt x="198" y="54"/>
                </a:lnTo>
                <a:lnTo>
                  <a:pt x="198" y="54"/>
                </a:lnTo>
                <a:lnTo>
                  <a:pt x="198" y="60"/>
                </a:lnTo>
                <a:lnTo>
                  <a:pt x="198" y="54"/>
                </a:lnTo>
                <a:lnTo>
                  <a:pt x="198" y="54"/>
                </a:lnTo>
                <a:lnTo>
                  <a:pt x="198" y="54"/>
                </a:lnTo>
                <a:lnTo>
                  <a:pt x="198" y="60"/>
                </a:lnTo>
                <a:lnTo>
                  <a:pt x="198" y="60"/>
                </a:lnTo>
                <a:lnTo>
                  <a:pt x="198" y="60"/>
                </a:lnTo>
                <a:lnTo>
                  <a:pt x="198" y="60"/>
                </a:lnTo>
                <a:lnTo>
                  <a:pt x="198" y="60"/>
                </a:lnTo>
                <a:lnTo>
                  <a:pt x="192" y="60"/>
                </a:lnTo>
                <a:lnTo>
                  <a:pt x="198" y="60"/>
                </a:lnTo>
                <a:lnTo>
                  <a:pt x="192" y="60"/>
                </a:lnTo>
                <a:lnTo>
                  <a:pt x="192" y="66"/>
                </a:lnTo>
                <a:lnTo>
                  <a:pt x="192" y="66"/>
                </a:lnTo>
                <a:lnTo>
                  <a:pt x="192" y="66"/>
                </a:lnTo>
                <a:lnTo>
                  <a:pt x="192" y="66"/>
                </a:lnTo>
                <a:lnTo>
                  <a:pt x="192" y="66"/>
                </a:lnTo>
                <a:lnTo>
                  <a:pt x="198" y="66"/>
                </a:lnTo>
                <a:lnTo>
                  <a:pt x="198" y="72"/>
                </a:lnTo>
                <a:lnTo>
                  <a:pt x="198" y="72"/>
                </a:lnTo>
                <a:lnTo>
                  <a:pt x="198" y="72"/>
                </a:lnTo>
                <a:lnTo>
                  <a:pt x="198" y="72"/>
                </a:lnTo>
                <a:lnTo>
                  <a:pt x="204" y="78"/>
                </a:lnTo>
                <a:lnTo>
                  <a:pt x="204" y="78"/>
                </a:lnTo>
                <a:lnTo>
                  <a:pt x="204" y="78"/>
                </a:lnTo>
                <a:lnTo>
                  <a:pt x="204" y="84"/>
                </a:lnTo>
                <a:lnTo>
                  <a:pt x="204" y="84"/>
                </a:lnTo>
                <a:lnTo>
                  <a:pt x="204" y="84"/>
                </a:lnTo>
                <a:lnTo>
                  <a:pt x="204" y="84"/>
                </a:lnTo>
                <a:lnTo>
                  <a:pt x="204" y="84"/>
                </a:lnTo>
                <a:lnTo>
                  <a:pt x="204" y="84"/>
                </a:lnTo>
                <a:lnTo>
                  <a:pt x="204" y="84"/>
                </a:lnTo>
                <a:lnTo>
                  <a:pt x="204" y="84"/>
                </a:lnTo>
                <a:lnTo>
                  <a:pt x="204" y="84"/>
                </a:lnTo>
                <a:lnTo>
                  <a:pt x="204" y="90"/>
                </a:lnTo>
                <a:lnTo>
                  <a:pt x="204" y="90"/>
                </a:lnTo>
                <a:lnTo>
                  <a:pt x="204" y="90"/>
                </a:lnTo>
                <a:lnTo>
                  <a:pt x="204" y="90"/>
                </a:lnTo>
                <a:lnTo>
                  <a:pt x="204" y="90"/>
                </a:lnTo>
                <a:lnTo>
                  <a:pt x="210" y="90"/>
                </a:lnTo>
                <a:lnTo>
                  <a:pt x="210" y="90"/>
                </a:lnTo>
                <a:lnTo>
                  <a:pt x="204" y="90"/>
                </a:lnTo>
                <a:lnTo>
                  <a:pt x="204" y="90"/>
                </a:lnTo>
                <a:lnTo>
                  <a:pt x="204" y="90"/>
                </a:lnTo>
                <a:lnTo>
                  <a:pt x="204" y="90"/>
                </a:lnTo>
                <a:lnTo>
                  <a:pt x="204" y="96"/>
                </a:lnTo>
                <a:lnTo>
                  <a:pt x="204" y="96"/>
                </a:lnTo>
                <a:lnTo>
                  <a:pt x="198" y="96"/>
                </a:lnTo>
                <a:lnTo>
                  <a:pt x="198" y="96"/>
                </a:lnTo>
                <a:lnTo>
                  <a:pt x="198" y="96"/>
                </a:lnTo>
                <a:lnTo>
                  <a:pt x="198" y="96"/>
                </a:lnTo>
                <a:lnTo>
                  <a:pt x="198" y="96"/>
                </a:lnTo>
                <a:lnTo>
                  <a:pt x="198" y="96"/>
                </a:lnTo>
                <a:lnTo>
                  <a:pt x="198" y="102"/>
                </a:lnTo>
                <a:lnTo>
                  <a:pt x="198" y="102"/>
                </a:lnTo>
                <a:lnTo>
                  <a:pt x="198" y="102"/>
                </a:lnTo>
                <a:lnTo>
                  <a:pt x="198" y="102"/>
                </a:lnTo>
                <a:lnTo>
                  <a:pt x="198" y="102"/>
                </a:lnTo>
                <a:lnTo>
                  <a:pt x="198" y="102"/>
                </a:lnTo>
                <a:lnTo>
                  <a:pt x="198" y="102"/>
                </a:lnTo>
                <a:lnTo>
                  <a:pt x="198" y="102"/>
                </a:lnTo>
                <a:lnTo>
                  <a:pt x="198" y="102"/>
                </a:lnTo>
                <a:lnTo>
                  <a:pt x="192" y="102"/>
                </a:lnTo>
                <a:lnTo>
                  <a:pt x="192" y="102"/>
                </a:lnTo>
                <a:lnTo>
                  <a:pt x="192" y="102"/>
                </a:lnTo>
                <a:lnTo>
                  <a:pt x="192" y="102"/>
                </a:lnTo>
                <a:lnTo>
                  <a:pt x="192" y="102"/>
                </a:lnTo>
                <a:lnTo>
                  <a:pt x="192" y="102"/>
                </a:lnTo>
                <a:lnTo>
                  <a:pt x="192" y="102"/>
                </a:lnTo>
                <a:lnTo>
                  <a:pt x="192" y="96"/>
                </a:lnTo>
                <a:lnTo>
                  <a:pt x="186" y="96"/>
                </a:lnTo>
                <a:lnTo>
                  <a:pt x="186" y="96"/>
                </a:lnTo>
                <a:lnTo>
                  <a:pt x="186" y="96"/>
                </a:lnTo>
                <a:lnTo>
                  <a:pt x="186" y="96"/>
                </a:lnTo>
                <a:lnTo>
                  <a:pt x="186" y="96"/>
                </a:lnTo>
                <a:lnTo>
                  <a:pt x="186" y="96"/>
                </a:lnTo>
                <a:lnTo>
                  <a:pt x="186" y="96"/>
                </a:lnTo>
                <a:lnTo>
                  <a:pt x="186" y="96"/>
                </a:lnTo>
                <a:lnTo>
                  <a:pt x="186" y="96"/>
                </a:lnTo>
                <a:lnTo>
                  <a:pt x="180" y="96"/>
                </a:lnTo>
                <a:lnTo>
                  <a:pt x="180" y="96"/>
                </a:lnTo>
                <a:lnTo>
                  <a:pt x="180" y="96"/>
                </a:lnTo>
                <a:lnTo>
                  <a:pt x="180" y="96"/>
                </a:lnTo>
                <a:lnTo>
                  <a:pt x="180" y="96"/>
                </a:lnTo>
                <a:lnTo>
                  <a:pt x="180" y="96"/>
                </a:lnTo>
                <a:lnTo>
                  <a:pt x="180" y="96"/>
                </a:lnTo>
                <a:lnTo>
                  <a:pt x="180" y="96"/>
                </a:lnTo>
                <a:lnTo>
                  <a:pt x="180" y="96"/>
                </a:lnTo>
                <a:lnTo>
                  <a:pt x="180" y="96"/>
                </a:lnTo>
                <a:lnTo>
                  <a:pt x="180" y="96"/>
                </a:lnTo>
                <a:lnTo>
                  <a:pt x="180" y="96"/>
                </a:lnTo>
                <a:lnTo>
                  <a:pt x="180" y="96"/>
                </a:lnTo>
                <a:lnTo>
                  <a:pt x="180" y="96"/>
                </a:lnTo>
                <a:lnTo>
                  <a:pt x="180" y="96"/>
                </a:lnTo>
                <a:lnTo>
                  <a:pt x="180" y="96"/>
                </a:lnTo>
                <a:lnTo>
                  <a:pt x="180" y="96"/>
                </a:lnTo>
                <a:lnTo>
                  <a:pt x="180" y="96"/>
                </a:lnTo>
                <a:lnTo>
                  <a:pt x="180" y="102"/>
                </a:lnTo>
                <a:lnTo>
                  <a:pt x="174" y="102"/>
                </a:lnTo>
                <a:lnTo>
                  <a:pt x="174" y="102"/>
                </a:lnTo>
                <a:lnTo>
                  <a:pt x="174" y="102"/>
                </a:lnTo>
                <a:lnTo>
                  <a:pt x="174" y="102"/>
                </a:lnTo>
                <a:lnTo>
                  <a:pt x="174" y="102"/>
                </a:lnTo>
                <a:lnTo>
                  <a:pt x="174" y="102"/>
                </a:lnTo>
                <a:lnTo>
                  <a:pt x="174" y="102"/>
                </a:lnTo>
                <a:lnTo>
                  <a:pt x="174" y="102"/>
                </a:lnTo>
                <a:lnTo>
                  <a:pt x="174" y="102"/>
                </a:lnTo>
                <a:lnTo>
                  <a:pt x="174" y="102"/>
                </a:lnTo>
                <a:lnTo>
                  <a:pt x="174" y="102"/>
                </a:lnTo>
                <a:lnTo>
                  <a:pt x="174" y="102"/>
                </a:lnTo>
                <a:lnTo>
                  <a:pt x="174" y="102"/>
                </a:lnTo>
                <a:lnTo>
                  <a:pt x="174" y="102"/>
                </a:lnTo>
                <a:lnTo>
                  <a:pt x="174" y="102"/>
                </a:lnTo>
                <a:lnTo>
                  <a:pt x="174" y="102"/>
                </a:lnTo>
                <a:lnTo>
                  <a:pt x="174" y="108"/>
                </a:lnTo>
                <a:lnTo>
                  <a:pt x="174" y="108"/>
                </a:lnTo>
                <a:lnTo>
                  <a:pt x="174" y="108"/>
                </a:lnTo>
                <a:lnTo>
                  <a:pt x="174" y="108"/>
                </a:lnTo>
                <a:lnTo>
                  <a:pt x="174" y="108"/>
                </a:lnTo>
                <a:lnTo>
                  <a:pt x="174" y="108"/>
                </a:lnTo>
                <a:lnTo>
                  <a:pt x="168" y="108"/>
                </a:lnTo>
                <a:lnTo>
                  <a:pt x="168" y="108"/>
                </a:lnTo>
                <a:lnTo>
                  <a:pt x="168" y="108"/>
                </a:lnTo>
                <a:lnTo>
                  <a:pt x="168" y="108"/>
                </a:lnTo>
                <a:lnTo>
                  <a:pt x="168" y="108"/>
                </a:lnTo>
                <a:lnTo>
                  <a:pt x="168" y="108"/>
                </a:lnTo>
                <a:lnTo>
                  <a:pt x="168" y="102"/>
                </a:lnTo>
                <a:lnTo>
                  <a:pt x="168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56" y="108"/>
                </a:lnTo>
                <a:lnTo>
                  <a:pt x="156" y="108"/>
                </a:lnTo>
                <a:lnTo>
                  <a:pt x="156" y="108"/>
                </a:lnTo>
                <a:lnTo>
                  <a:pt x="156" y="108"/>
                </a:lnTo>
                <a:lnTo>
                  <a:pt x="156" y="108"/>
                </a:lnTo>
                <a:lnTo>
                  <a:pt x="156" y="108"/>
                </a:lnTo>
                <a:lnTo>
                  <a:pt x="156" y="108"/>
                </a:lnTo>
                <a:lnTo>
                  <a:pt x="156" y="108"/>
                </a:lnTo>
                <a:lnTo>
                  <a:pt x="156" y="108"/>
                </a:lnTo>
                <a:lnTo>
                  <a:pt x="156" y="108"/>
                </a:lnTo>
                <a:lnTo>
                  <a:pt x="156" y="108"/>
                </a:lnTo>
                <a:lnTo>
                  <a:pt x="150" y="108"/>
                </a:lnTo>
                <a:lnTo>
                  <a:pt x="150" y="108"/>
                </a:lnTo>
                <a:lnTo>
                  <a:pt x="150" y="108"/>
                </a:lnTo>
                <a:lnTo>
                  <a:pt x="150" y="108"/>
                </a:lnTo>
                <a:lnTo>
                  <a:pt x="150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2"/>
                </a:lnTo>
                <a:lnTo>
                  <a:pt x="144" y="102"/>
                </a:lnTo>
                <a:lnTo>
                  <a:pt x="144" y="108"/>
                </a:lnTo>
                <a:lnTo>
                  <a:pt x="144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8"/>
                </a:lnTo>
                <a:lnTo>
                  <a:pt x="138" y="108"/>
                </a:lnTo>
                <a:lnTo>
                  <a:pt x="138" y="108"/>
                </a:lnTo>
                <a:lnTo>
                  <a:pt x="138" y="108"/>
                </a:lnTo>
                <a:lnTo>
                  <a:pt x="138" y="108"/>
                </a:lnTo>
                <a:lnTo>
                  <a:pt x="138" y="108"/>
                </a:lnTo>
                <a:lnTo>
                  <a:pt x="132" y="108"/>
                </a:lnTo>
                <a:lnTo>
                  <a:pt x="132" y="108"/>
                </a:lnTo>
                <a:lnTo>
                  <a:pt x="132" y="108"/>
                </a:lnTo>
                <a:lnTo>
                  <a:pt x="132" y="108"/>
                </a:lnTo>
                <a:lnTo>
                  <a:pt x="132" y="114"/>
                </a:lnTo>
                <a:lnTo>
                  <a:pt x="132" y="114"/>
                </a:lnTo>
                <a:lnTo>
                  <a:pt x="132" y="114"/>
                </a:lnTo>
                <a:lnTo>
                  <a:pt x="132" y="114"/>
                </a:lnTo>
                <a:lnTo>
                  <a:pt x="132" y="114"/>
                </a:lnTo>
                <a:lnTo>
                  <a:pt x="132" y="114"/>
                </a:lnTo>
                <a:lnTo>
                  <a:pt x="126" y="114"/>
                </a:lnTo>
                <a:lnTo>
                  <a:pt x="126" y="114"/>
                </a:lnTo>
                <a:lnTo>
                  <a:pt x="126" y="114"/>
                </a:lnTo>
                <a:lnTo>
                  <a:pt x="126" y="108"/>
                </a:lnTo>
                <a:lnTo>
                  <a:pt x="126" y="108"/>
                </a:lnTo>
                <a:lnTo>
                  <a:pt x="126" y="108"/>
                </a:lnTo>
                <a:lnTo>
                  <a:pt x="126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96"/>
                </a:lnTo>
                <a:lnTo>
                  <a:pt x="120" y="96"/>
                </a:lnTo>
                <a:lnTo>
                  <a:pt x="114" y="96"/>
                </a:lnTo>
                <a:lnTo>
                  <a:pt x="114" y="96"/>
                </a:lnTo>
                <a:lnTo>
                  <a:pt x="114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6"/>
                </a:lnTo>
                <a:lnTo>
                  <a:pt x="96" y="96"/>
                </a:lnTo>
                <a:lnTo>
                  <a:pt x="96" y="96"/>
                </a:lnTo>
                <a:lnTo>
                  <a:pt x="96" y="96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0" y="102"/>
                </a:lnTo>
                <a:lnTo>
                  <a:pt x="90" y="102"/>
                </a:lnTo>
                <a:lnTo>
                  <a:pt x="90" y="102"/>
                </a:lnTo>
                <a:lnTo>
                  <a:pt x="90" y="102"/>
                </a:lnTo>
                <a:lnTo>
                  <a:pt x="90" y="102"/>
                </a:lnTo>
                <a:lnTo>
                  <a:pt x="90" y="102"/>
                </a:lnTo>
                <a:lnTo>
                  <a:pt x="90" y="102"/>
                </a:lnTo>
                <a:lnTo>
                  <a:pt x="90" y="102"/>
                </a:lnTo>
                <a:lnTo>
                  <a:pt x="90" y="102"/>
                </a:lnTo>
                <a:lnTo>
                  <a:pt x="90" y="102"/>
                </a:lnTo>
                <a:lnTo>
                  <a:pt x="90" y="102"/>
                </a:lnTo>
                <a:lnTo>
                  <a:pt x="84" y="102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0" y="90"/>
                </a:lnTo>
                <a:lnTo>
                  <a:pt x="60" y="84"/>
                </a:lnTo>
                <a:lnTo>
                  <a:pt x="60" y="84"/>
                </a:lnTo>
                <a:lnTo>
                  <a:pt x="54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6" y="66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24" name="Freeform 457"/>
          <p:cNvSpPr>
            <a:spLocks/>
          </p:cNvSpPr>
          <p:nvPr/>
        </p:nvSpPr>
        <p:spPr bwMode="auto">
          <a:xfrm>
            <a:off x="6742645" y="4726021"/>
            <a:ext cx="115633" cy="102786"/>
          </a:xfrm>
          <a:custGeom>
            <a:avLst/>
            <a:gdLst>
              <a:gd name="T0" fmla="*/ 6 w 108"/>
              <a:gd name="T1" fmla="*/ 60 h 96"/>
              <a:gd name="T2" fmla="*/ 6 w 108"/>
              <a:gd name="T3" fmla="*/ 54 h 96"/>
              <a:gd name="T4" fmla="*/ 12 w 108"/>
              <a:gd name="T5" fmla="*/ 54 h 96"/>
              <a:gd name="T6" fmla="*/ 18 w 108"/>
              <a:gd name="T7" fmla="*/ 48 h 96"/>
              <a:gd name="T8" fmla="*/ 18 w 108"/>
              <a:gd name="T9" fmla="*/ 48 h 96"/>
              <a:gd name="T10" fmla="*/ 18 w 108"/>
              <a:gd name="T11" fmla="*/ 48 h 96"/>
              <a:gd name="T12" fmla="*/ 18 w 108"/>
              <a:gd name="T13" fmla="*/ 42 h 96"/>
              <a:gd name="T14" fmla="*/ 18 w 108"/>
              <a:gd name="T15" fmla="*/ 42 h 96"/>
              <a:gd name="T16" fmla="*/ 18 w 108"/>
              <a:gd name="T17" fmla="*/ 36 h 96"/>
              <a:gd name="T18" fmla="*/ 24 w 108"/>
              <a:gd name="T19" fmla="*/ 30 h 96"/>
              <a:gd name="T20" fmla="*/ 24 w 108"/>
              <a:gd name="T21" fmla="*/ 30 h 96"/>
              <a:gd name="T22" fmla="*/ 30 w 108"/>
              <a:gd name="T23" fmla="*/ 30 h 96"/>
              <a:gd name="T24" fmla="*/ 30 w 108"/>
              <a:gd name="T25" fmla="*/ 30 h 96"/>
              <a:gd name="T26" fmla="*/ 36 w 108"/>
              <a:gd name="T27" fmla="*/ 30 h 96"/>
              <a:gd name="T28" fmla="*/ 36 w 108"/>
              <a:gd name="T29" fmla="*/ 24 h 96"/>
              <a:gd name="T30" fmla="*/ 48 w 108"/>
              <a:gd name="T31" fmla="*/ 24 h 96"/>
              <a:gd name="T32" fmla="*/ 48 w 108"/>
              <a:gd name="T33" fmla="*/ 24 h 96"/>
              <a:gd name="T34" fmla="*/ 54 w 108"/>
              <a:gd name="T35" fmla="*/ 18 h 96"/>
              <a:gd name="T36" fmla="*/ 54 w 108"/>
              <a:gd name="T37" fmla="*/ 18 h 96"/>
              <a:gd name="T38" fmla="*/ 60 w 108"/>
              <a:gd name="T39" fmla="*/ 18 h 96"/>
              <a:gd name="T40" fmla="*/ 60 w 108"/>
              <a:gd name="T41" fmla="*/ 12 h 96"/>
              <a:gd name="T42" fmla="*/ 66 w 108"/>
              <a:gd name="T43" fmla="*/ 12 h 96"/>
              <a:gd name="T44" fmla="*/ 66 w 108"/>
              <a:gd name="T45" fmla="*/ 12 h 96"/>
              <a:gd name="T46" fmla="*/ 72 w 108"/>
              <a:gd name="T47" fmla="*/ 6 h 96"/>
              <a:gd name="T48" fmla="*/ 78 w 108"/>
              <a:gd name="T49" fmla="*/ 0 h 96"/>
              <a:gd name="T50" fmla="*/ 84 w 108"/>
              <a:gd name="T51" fmla="*/ 0 h 96"/>
              <a:gd name="T52" fmla="*/ 90 w 108"/>
              <a:gd name="T53" fmla="*/ 0 h 96"/>
              <a:gd name="T54" fmla="*/ 96 w 108"/>
              <a:gd name="T55" fmla="*/ 0 h 96"/>
              <a:gd name="T56" fmla="*/ 102 w 108"/>
              <a:gd name="T57" fmla="*/ 0 h 96"/>
              <a:gd name="T58" fmla="*/ 108 w 108"/>
              <a:gd name="T59" fmla="*/ 0 h 96"/>
              <a:gd name="T60" fmla="*/ 102 w 108"/>
              <a:gd name="T61" fmla="*/ 6 h 96"/>
              <a:gd name="T62" fmla="*/ 96 w 108"/>
              <a:gd name="T63" fmla="*/ 6 h 96"/>
              <a:gd name="T64" fmla="*/ 84 w 108"/>
              <a:gd name="T65" fmla="*/ 18 h 96"/>
              <a:gd name="T66" fmla="*/ 78 w 108"/>
              <a:gd name="T67" fmla="*/ 18 h 96"/>
              <a:gd name="T68" fmla="*/ 78 w 108"/>
              <a:gd name="T69" fmla="*/ 24 h 96"/>
              <a:gd name="T70" fmla="*/ 78 w 108"/>
              <a:gd name="T71" fmla="*/ 30 h 96"/>
              <a:gd name="T72" fmla="*/ 72 w 108"/>
              <a:gd name="T73" fmla="*/ 30 h 96"/>
              <a:gd name="T74" fmla="*/ 78 w 108"/>
              <a:gd name="T75" fmla="*/ 42 h 96"/>
              <a:gd name="T76" fmla="*/ 72 w 108"/>
              <a:gd name="T77" fmla="*/ 54 h 96"/>
              <a:gd name="T78" fmla="*/ 60 w 108"/>
              <a:gd name="T79" fmla="*/ 48 h 96"/>
              <a:gd name="T80" fmla="*/ 54 w 108"/>
              <a:gd name="T81" fmla="*/ 48 h 96"/>
              <a:gd name="T82" fmla="*/ 48 w 108"/>
              <a:gd name="T83" fmla="*/ 48 h 96"/>
              <a:gd name="T84" fmla="*/ 42 w 108"/>
              <a:gd name="T85" fmla="*/ 54 h 96"/>
              <a:gd name="T86" fmla="*/ 36 w 108"/>
              <a:gd name="T87" fmla="*/ 54 h 96"/>
              <a:gd name="T88" fmla="*/ 42 w 108"/>
              <a:gd name="T89" fmla="*/ 60 h 96"/>
              <a:gd name="T90" fmla="*/ 42 w 108"/>
              <a:gd name="T91" fmla="*/ 66 h 96"/>
              <a:gd name="T92" fmla="*/ 36 w 108"/>
              <a:gd name="T93" fmla="*/ 72 h 96"/>
              <a:gd name="T94" fmla="*/ 30 w 108"/>
              <a:gd name="T95" fmla="*/ 72 h 96"/>
              <a:gd name="T96" fmla="*/ 30 w 108"/>
              <a:gd name="T97" fmla="*/ 78 h 96"/>
              <a:gd name="T98" fmla="*/ 24 w 108"/>
              <a:gd name="T99" fmla="*/ 84 h 96"/>
              <a:gd name="T100" fmla="*/ 18 w 108"/>
              <a:gd name="T101" fmla="*/ 90 h 96"/>
              <a:gd name="T102" fmla="*/ 18 w 108"/>
              <a:gd name="T103" fmla="*/ 96 h 96"/>
              <a:gd name="T104" fmla="*/ 18 w 108"/>
              <a:gd name="T105" fmla="*/ 90 h 96"/>
              <a:gd name="T106" fmla="*/ 12 w 108"/>
              <a:gd name="T107" fmla="*/ 84 h 96"/>
              <a:gd name="T108" fmla="*/ 12 w 108"/>
              <a:gd name="T109" fmla="*/ 78 h 96"/>
              <a:gd name="T110" fmla="*/ 0 w 108"/>
              <a:gd name="T111" fmla="*/ 6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8" h="96">
                <a:moveTo>
                  <a:pt x="0" y="60"/>
                </a:moveTo>
                <a:lnTo>
                  <a:pt x="6" y="60"/>
                </a:lnTo>
                <a:lnTo>
                  <a:pt x="0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54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2"/>
                </a:lnTo>
                <a:lnTo>
                  <a:pt x="18" y="48"/>
                </a:lnTo>
                <a:lnTo>
                  <a:pt x="24" y="48"/>
                </a:lnTo>
                <a:lnTo>
                  <a:pt x="24" y="48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24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24" y="36"/>
                </a:lnTo>
                <a:lnTo>
                  <a:pt x="18" y="36"/>
                </a:lnTo>
                <a:lnTo>
                  <a:pt x="18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6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78" y="6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84" y="0"/>
                </a:lnTo>
                <a:lnTo>
                  <a:pt x="84" y="6"/>
                </a:lnTo>
                <a:lnTo>
                  <a:pt x="84" y="0"/>
                </a:lnTo>
                <a:lnTo>
                  <a:pt x="84" y="0"/>
                </a:lnTo>
                <a:lnTo>
                  <a:pt x="84" y="6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0"/>
                </a:lnTo>
                <a:lnTo>
                  <a:pt x="96" y="0"/>
                </a:lnTo>
                <a:lnTo>
                  <a:pt x="96" y="6"/>
                </a:lnTo>
                <a:lnTo>
                  <a:pt x="96" y="6"/>
                </a:lnTo>
                <a:lnTo>
                  <a:pt x="102" y="6"/>
                </a:lnTo>
                <a:lnTo>
                  <a:pt x="102" y="0"/>
                </a:lnTo>
                <a:lnTo>
                  <a:pt x="102" y="6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96" y="6"/>
                </a:lnTo>
                <a:lnTo>
                  <a:pt x="96" y="0"/>
                </a:lnTo>
                <a:lnTo>
                  <a:pt x="96" y="0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84" y="12"/>
                </a:lnTo>
                <a:lnTo>
                  <a:pt x="84" y="12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6"/>
                </a:lnTo>
                <a:lnTo>
                  <a:pt x="72" y="36"/>
                </a:lnTo>
                <a:lnTo>
                  <a:pt x="66" y="36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54"/>
                </a:lnTo>
                <a:lnTo>
                  <a:pt x="72" y="54"/>
                </a:lnTo>
                <a:lnTo>
                  <a:pt x="72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2" y="48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36" y="54"/>
                </a:lnTo>
                <a:lnTo>
                  <a:pt x="36" y="54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24" y="90"/>
                </a:lnTo>
                <a:lnTo>
                  <a:pt x="18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18" y="96"/>
                </a:lnTo>
                <a:lnTo>
                  <a:pt x="18" y="96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25" name="Freeform 458"/>
          <p:cNvSpPr>
            <a:spLocks/>
          </p:cNvSpPr>
          <p:nvPr/>
        </p:nvSpPr>
        <p:spPr bwMode="auto">
          <a:xfrm>
            <a:off x="6749069" y="5047226"/>
            <a:ext cx="77089" cy="83513"/>
          </a:xfrm>
          <a:custGeom>
            <a:avLst/>
            <a:gdLst>
              <a:gd name="T0" fmla="*/ 6 w 72"/>
              <a:gd name="T1" fmla="*/ 42 h 78"/>
              <a:gd name="T2" fmla="*/ 6 w 72"/>
              <a:gd name="T3" fmla="*/ 42 h 78"/>
              <a:gd name="T4" fmla="*/ 12 w 72"/>
              <a:gd name="T5" fmla="*/ 42 h 78"/>
              <a:gd name="T6" fmla="*/ 12 w 72"/>
              <a:gd name="T7" fmla="*/ 36 h 78"/>
              <a:gd name="T8" fmla="*/ 12 w 72"/>
              <a:gd name="T9" fmla="*/ 36 h 78"/>
              <a:gd name="T10" fmla="*/ 12 w 72"/>
              <a:gd name="T11" fmla="*/ 30 h 78"/>
              <a:gd name="T12" fmla="*/ 18 w 72"/>
              <a:gd name="T13" fmla="*/ 30 h 78"/>
              <a:gd name="T14" fmla="*/ 18 w 72"/>
              <a:gd name="T15" fmla="*/ 30 h 78"/>
              <a:gd name="T16" fmla="*/ 18 w 72"/>
              <a:gd name="T17" fmla="*/ 30 h 78"/>
              <a:gd name="T18" fmla="*/ 24 w 72"/>
              <a:gd name="T19" fmla="*/ 24 h 78"/>
              <a:gd name="T20" fmla="*/ 24 w 72"/>
              <a:gd name="T21" fmla="*/ 24 h 78"/>
              <a:gd name="T22" fmla="*/ 24 w 72"/>
              <a:gd name="T23" fmla="*/ 24 h 78"/>
              <a:gd name="T24" fmla="*/ 24 w 72"/>
              <a:gd name="T25" fmla="*/ 18 h 78"/>
              <a:gd name="T26" fmla="*/ 24 w 72"/>
              <a:gd name="T27" fmla="*/ 18 h 78"/>
              <a:gd name="T28" fmla="*/ 24 w 72"/>
              <a:gd name="T29" fmla="*/ 18 h 78"/>
              <a:gd name="T30" fmla="*/ 24 w 72"/>
              <a:gd name="T31" fmla="*/ 18 h 78"/>
              <a:gd name="T32" fmla="*/ 24 w 72"/>
              <a:gd name="T33" fmla="*/ 12 h 78"/>
              <a:gd name="T34" fmla="*/ 24 w 72"/>
              <a:gd name="T35" fmla="*/ 12 h 78"/>
              <a:gd name="T36" fmla="*/ 24 w 72"/>
              <a:gd name="T37" fmla="*/ 12 h 78"/>
              <a:gd name="T38" fmla="*/ 24 w 72"/>
              <a:gd name="T39" fmla="*/ 12 h 78"/>
              <a:gd name="T40" fmla="*/ 24 w 72"/>
              <a:gd name="T41" fmla="*/ 6 h 78"/>
              <a:gd name="T42" fmla="*/ 24 w 72"/>
              <a:gd name="T43" fmla="*/ 6 h 78"/>
              <a:gd name="T44" fmla="*/ 24 w 72"/>
              <a:gd name="T45" fmla="*/ 6 h 78"/>
              <a:gd name="T46" fmla="*/ 30 w 72"/>
              <a:gd name="T47" fmla="*/ 0 h 78"/>
              <a:gd name="T48" fmla="*/ 36 w 72"/>
              <a:gd name="T49" fmla="*/ 0 h 78"/>
              <a:gd name="T50" fmla="*/ 42 w 72"/>
              <a:gd name="T51" fmla="*/ 6 h 78"/>
              <a:gd name="T52" fmla="*/ 48 w 72"/>
              <a:gd name="T53" fmla="*/ 6 h 78"/>
              <a:gd name="T54" fmla="*/ 48 w 72"/>
              <a:gd name="T55" fmla="*/ 12 h 78"/>
              <a:gd name="T56" fmla="*/ 54 w 72"/>
              <a:gd name="T57" fmla="*/ 18 h 78"/>
              <a:gd name="T58" fmla="*/ 54 w 72"/>
              <a:gd name="T59" fmla="*/ 12 h 78"/>
              <a:gd name="T60" fmla="*/ 60 w 72"/>
              <a:gd name="T61" fmla="*/ 12 h 78"/>
              <a:gd name="T62" fmla="*/ 66 w 72"/>
              <a:gd name="T63" fmla="*/ 18 h 78"/>
              <a:gd name="T64" fmla="*/ 66 w 72"/>
              <a:gd name="T65" fmla="*/ 18 h 78"/>
              <a:gd name="T66" fmla="*/ 66 w 72"/>
              <a:gd name="T67" fmla="*/ 18 h 78"/>
              <a:gd name="T68" fmla="*/ 60 w 72"/>
              <a:gd name="T69" fmla="*/ 24 h 78"/>
              <a:gd name="T70" fmla="*/ 60 w 72"/>
              <a:gd name="T71" fmla="*/ 30 h 78"/>
              <a:gd name="T72" fmla="*/ 60 w 72"/>
              <a:gd name="T73" fmla="*/ 36 h 78"/>
              <a:gd name="T74" fmla="*/ 66 w 72"/>
              <a:gd name="T75" fmla="*/ 36 h 78"/>
              <a:gd name="T76" fmla="*/ 72 w 72"/>
              <a:gd name="T77" fmla="*/ 42 h 78"/>
              <a:gd name="T78" fmla="*/ 72 w 72"/>
              <a:gd name="T79" fmla="*/ 54 h 78"/>
              <a:gd name="T80" fmla="*/ 72 w 72"/>
              <a:gd name="T81" fmla="*/ 60 h 78"/>
              <a:gd name="T82" fmla="*/ 66 w 72"/>
              <a:gd name="T83" fmla="*/ 60 h 78"/>
              <a:gd name="T84" fmla="*/ 54 w 72"/>
              <a:gd name="T85" fmla="*/ 72 h 78"/>
              <a:gd name="T86" fmla="*/ 42 w 72"/>
              <a:gd name="T87" fmla="*/ 66 h 78"/>
              <a:gd name="T88" fmla="*/ 36 w 72"/>
              <a:gd name="T89" fmla="*/ 72 h 78"/>
              <a:gd name="T90" fmla="*/ 30 w 72"/>
              <a:gd name="T91" fmla="*/ 72 h 78"/>
              <a:gd name="T92" fmla="*/ 30 w 72"/>
              <a:gd name="T93" fmla="*/ 72 h 78"/>
              <a:gd name="T94" fmla="*/ 24 w 72"/>
              <a:gd name="T95" fmla="*/ 72 h 78"/>
              <a:gd name="T96" fmla="*/ 24 w 72"/>
              <a:gd name="T97" fmla="*/ 72 h 78"/>
              <a:gd name="T98" fmla="*/ 18 w 72"/>
              <a:gd name="T99" fmla="*/ 66 h 78"/>
              <a:gd name="T100" fmla="*/ 12 w 72"/>
              <a:gd name="T101" fmla="*/ 60 h 78"/>
              <a:gd name="T102" fmla="*/ 6 w 72"/>
              <a:gd name="T103" fmla="*/ 60 h 78"/>
              <a:gd name="T104" fmla="*/ 6 w 72"/>
              <a:gd name="T105" fmla="*/ 54 h 78"/>
              <a:gd name="T106" fmla="*/ 6 w 72"/>
              <a:gd name="T107" fmla="*/ 48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72" h="78">
                <a:moveTo>
                  <a:pt x="6" y="42"/>
                </a:move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24" y="30"/>
                </a:lnTo>
                <a:lnTo>
                  <a:pt x="24" y="30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18"/>
                </a:lnTo>
                <a:lnTo>
                  <a:pt x="24" y="24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0"/>
                </a:lnTo>
                <a:lnTo>
                  <a:pt x="24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6" y="0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48" y="18"/>
                </a:lnTo>
                <a:lnTo>
                  <a:pt x="54" y="18"/>
                </a:lnTo>
                <a:lnTo>
                  <a:pt x="54" y="18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6" y="36"/>
                </a:lnTo>
                <a:lnTo>
                  <a:pt x="66" y="36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72" y="42"/>
                </a:lnTo>
                <a:lnTo>
                  <a:pt x="72" y="42"/>
                </a:lnTo>
                <a:lnTo>
                  <a:pt x="72" y="48"/>
                </a:lnTo>
                <a:lnTo>
                  <a:pt x="72" y="48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60"/>
                </a:lnTo>
                <a:lnTo>
                  <a:pt x="72" y="60"/>
                </a:lnTo>
                <a:lnTo>
                  <a:pt x="66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6"/>
                </a:lnTo>
                <a:lnTo>
                  <a:pt x="72" y="66"/>
                </a:lnTo>
                <a:lnTo>
                  <a:pt x="72" y="66"/>
                </a:lnTo>
                <a:lnTo>
                  <a:pt x="60" y="78"/>
                </a:lnTo>
                <a:lnTo>
                  <a:pt x="54" y="72"/>
                </a:lnTo>
                <a:lnTo>
                  <a:pt x="48" y="72"/>
                </a:lnTo>
                <a:lnTo>
                  <a:pt x="48" y="72"/>
                </a:lnTo>
                <a:lnTo>
                  <a:pt x="42" y="72"/>
                </a:lnTo>
                <a:lnTo>
                  <a:pt x="42" y="72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24" y="72"/>
                </a:lnTo>
                <a:lnTo>
                  <a:pt x="30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48"/>
                </a:lnTo>
                <a:lnTo>
                  <a:pt x="6" y="48"/>
                </a:lnTo>
                <a:lnTo>
                  <a:pt x="0" y="48"/>
                </a:lnTo>
                <a:lnTo>
                  <a:pt x="0" y="48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26" name="Freeform 459"/>
          <p:cNvSpPr>
            <a:spLocks/>
          </p:cNvSpPr>
          <p:nvPr/>
        </p:nvSpPr>
        <p:spPr bwMode="auto">
          <a:xfrm>
            <a:off x="6305810" y="4963712"/>
            <a:ext cx="199146" cy="134906"/>
          </a:xfrm>
          <a:custGeom>
            <a:avLst/>
            <a:gdLst>
              <a:gd name="T0" fmla="*/ 0 w 186"/>
              <a:gd name="T1" fmla="*/ 0 h 126"/>
              <a:gd name="T2" fmla="*/ 18 w 186"/>
              <a:gd name="T3" fmla="*/ 0 h 126"/>
              <a:gd name="T4" fmla="*/ 24 w 186"/>
              <a:gd name="T5" fmla="*/ 6 h 126"/>
              <a:gd name="T6" fmla="*/ 24 w 186"/>
              <a:gd name="T7" fmla="*/ 12 h 126"/>
              <a:gd name="T8" fmla="*/ 36 w 186"/>
              <a:gd name="T9" fmla="*/ 24 h 126"/>
              <a:gd name="T10" fmla="*/ 42 w 186"/>
              <a:gd name="T11" fmla="*/ 24 h 126"/>
              <a:gd name="T12" fmla="*/ 42 w 186"/>
              <a:gd name="T13" fmla="*/ 30 h 126"/>
              <a:gd name="T14" fmla="*/ 42 w 186"/>
              <a:gd name="T15" fmla="*/ 36 h 126"/>
              <a:gd name="T16" fmla="*/ 48 w 186"/>
              <a:gd name="T17" fmla="*/ 30 h 126"/>
              <a:gd name="T18" fmla="*/ 54 w 186"/>
              <a:gd name="T19" fmla="*/ 36 h 126"/>
              <a:gd name="T20" fmla="*/ 60 w 186"/>
              <a:gd name="T21" fmla="*/ 36 h 126"/>
              <a:gd name="T22" fmla="*/ 72 w 186"/>
              <a:gd name="T23" fmla="*/ 36 h 126"/>
              <a:gd name="T24" fmla="*/ 78 w 186"/>
              <a:gd name="T25" fmla="*/ 36 h 126"/>
              <a:gd name="T26" fmla="*/ 90 w 186"/>
              <a:gd name="T27" fmla="*/ 36 h 126"/>
              <a:gd name="T28" fmla="*/ 102 w 186"/>
              <a:gd name="T29" fmla="*/ 36 h 126"/>
              <a:gd name="T30" fmla="*/ 108 w 186"/>
              <a:gd name="T31" fmla="*/ 30 h 126"/>
              <a:gd name="T32" fmla="*/ 114 w 186"/>
              <a:gd name="T33" fmla="*/ 30 h 126"/>
              <a:gd name="T34" fmla="*/ 120 w 186"/>
              <a:gd name="T35" fmla="*/ 24 h 126"/>
              <a:gd name="T36" fmla="*/ 126 w 186"/>
              <a:gd name="T37" fmla="*/ 30 h 126"/>
              <a:gd name="T38" fmla="*/ 132 w 186"/>
              <a:gd name="T39" fmla="*/ 36 h 126"/>
              <a:gd name="T40" fmla="*/ 132 w 186"/>
              <a:gd name="T41" fmla="*/ 36 h 126"/>
              <a:gd name="T42" fmla="*/ 132 w 186"/>
              <a:gd name="T43" fmla="*/ 42 h 126"/>
              <a:gd name="T44" fmla="*/ 126 w 186"/>
              <a:gd name="T45" fmla="*/ 48 h 126"/>
              <a:gd name="T46" fmla="*/ 132 w 186"/>
              <a:gd name="T47" fmla="*/ 54 h 126"/>
              <a:gd name="T48" fmla="*/ 132 w 186"/>
              <a:gd name="T49" fmla="*/ 54 h 126"/>
              <a:gd name="T50" fmla="*/ 144 w 186"/>
              <a:gd name="T51" fmla="*/ 60 h 126"/>
              <a:gd name="T52" fmla="*/ 156 w 186"/>
              <a:gd name="T53" fmla="*/ 66 h 126"/>
              <a:gd name="T54" fmla="*/ 162 w 186"/>
              <a:gd name="T55" fmla="*/ 66 h 126"/>
              <a:gd name="T56" fmla="*/ 168 w 186"/>
              <a:gd name="T57" fmla="*/ 72 h 126"/>
              <a:gd name="T58" fmla="*/ 174 w 186"/>
              <a:gd name="T59" fmla="*/ 78 h 126"/>
              <a:gd name="T60" fmla="*/ 186 w 186"/>
              <a:gd name="T61" fmla="*/ 90 h 126"/>
              <a:gd name="T62" fmla="*/ 174 w 186"/>
              <a:gd name="T63" fmla="*/ 96 h 126"/>
              <a:gd name="T64" fmla="*/ 168 w 186"/>
              <a:gd name="T65" fmla="*/ 102 h 126"/>
              <a:gd name="T66" fmla="*/ 156 w 186"/>
              <a:gd name="T67" fmla="*/ 102 h 126"/>
              <a:gd name="T68" fmla="*/ 150 w 186"/>
              <a:gd name="T69" fmla="*/ 102 h 126"/>
              <a:gd name="T70" fmla="*/ 150 w 186"/>
              <a:gd name="T71" fmla="*/ 102 h 126"/>
              <a:gd name="T72" fmla="*/ 144 w 186"/>
              <a:gd name="T73" fmla="*/ 108 h 126"/>
              <a:gd name="T74" fmla="*/ 138 w 186"/>
              <a:gd name="T75" fmla="*/ 114 h 126"/>
              <a:gd name="T76" fmla="*/ 138 w 186"/>
              <a:gd name="T77" fmla="*/ 120 h 126"/>
              <a:gd name="T78" fmla="*/ 138 w 186"/>
              <a:gd name="T79" fmla="*/ 126 h 126"/>
              <a:gd name="T80" fmla="*/ 108 w 186"/>
              <a:gd name="T81" fmla="*/ 120 h 126"/>
              <a:gd name="T82" fmla="*/ 108 w 186"/>
              <a:gd name="T83" fmla="*/ 126 h 126"/>
              <a:gd name="T84" fmla="*/ 96 w 186"/>
              <a:gd name="T85" fmla="*/ 126 h 126"/>
              <a:gd name="T86" fmla="*/ 84 w 186"/>
              <a:gd name="T87" fmla="*/ 126 h 126"/>
              <a:gd name="T88" fmla="*/ 84 w 186"/>
              <a:gd name="T89" fmla="*/ 126 h 126"/>
              <a:gd name="T90" fmla="*/ 72 w 186"/>
              <a:gd name="T91" fmla="*/ 114 h 126"/>
              <a:gd name="T92" fmla="*/ 60 w 186"/>
              <a:gd name="T93" fmla="*/ 114 h 126"/>
              <a:gd name="T94" fmla="*/ 54 w 186"/>
              <a:gd name="T95" fmla="*/ 114 h 126"/>
              <a:gd name="T96" fmla="*/ 48 w 186"/>
              <a:gd name="T97" fmla="*/ 108 h 126"/>
              <a:gd name="T98" fmla="*/ 36 w 186"/>
              <a:gd name="T99" fmla="*/ 102 h 126"/>
              <a:gd name="T100" fmla="*/ 42 w 186"/>
              <a:gd name="T101" fmla="*/ 96 h 126"/>
              <a:gd name="T102" fmla="*/ 36 w 186"/>
              <a:gd name="T103" fmla="*/ 90 h 126"/>
              <a:gd name="T104" fmla="*/ 36 w 186"/>
              <a:gd name="T105" fmla="*/ 90 h 126"/>
              <a:gd name="T106" fmla="*/ 42 w 186"/>
              <a:gd name="T107" fmla="*/ 78 h 126"/>
              <a:gd name="T108" fmla="*/ 30 w 186"/>
              <a:gd name="T109" fmla="*/ 78 h 126"/>
              <a:gd name="T110" fmla="*/ 36 w 186"/>
              <a:gd name="T111" fmla="*/ 72 h 126"/>
              <a:gd name="T112" fmla="*/ 42 w 186"/>
              <a:gd name="T113" fmla="*/ 66 h 126"/>
              <a:gd name="T114" fmla="*/ 30 w 186"/>
              <a:gd name="T115" fmla="*/ 60 h 126"/>
              <a:gd name="T116" fmla="*/ 24 w 186"/>
              <a:gd name="T117" fmla="*/ 48 h 126"/>
              <a:gd name="T118" fmla="*/ 12 w 186"/>
              <a:gd name="T119" fmla="*/ 48 h 126"/>
              <a:gd name="T120" fmla="*/ 18 w 186"/>
              <a:gd name="T121" fmla="*/ 36 h 126"/>
              <a:gd name="T122" fmla="*/ 18 w 186"/>
              <a:gd name="T123" fmla="*/ 18 h 126"/>
              <a:gd name="T124" fmla="*/ 6 w 186"/>
              <a:gd name="T125" fmla="*/ 12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6" h="126">
                <a:moveTo>
                  <a:pt x="0" y="6"/>
                </a:moveTo>
                <a:lnTo>
                  <a:pt x="6" y="6"/>
                </a:lnTo>
                <a:lnTo>
                  <a:pt x="6" y="6"/>
                </a:lnTo>
                <a:lnTo>
                  <a:pt x="0" y="6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0" y="0"/>
                </a:lnTo>
                <a:lnTo>
                  <a:pt x="6" y="0"/>
                </a:lnTo>
                <a:lnTo>
                  <a:pt x="6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12"/>
                </a:lnTo>
                <a:lnTo>
                  <a:pt x="30" y="12"/>
                </a:lnTo>
                <a:lnTo>
                  <a:pt x="24" y="12"/>
                </a:lnTo>
                <a:lnTo>
                  <a:pt x="24" y="12"/>
                </a:lnTo>
                <a:lnTo>
                  <a:pt x="30" y="12"/>
                </a:lnTo>
                <a:lnTo>
                  <a:pt x="30" y="12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6" y="18"/>
                </a:lnTo>
                <a:lnTo>
                  <a:pt x="36" y="18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6"/>
                </a:lnTo>
                <a:lnTo>
                  <a:pt x="42" y="30"/>
                </a:lnTo>
                <a:lnTo>
                  <a:pt x="42" y="36"/>
                </a:lnTo>
                <a:lnTo>
                  <a:pt x="42" y="30"/>
                </a:lnTo>
                <a:lnTo>
                  <a:pt x="42" y="36"/>
                </a:lnTo>
                <a:lnTo>
                  <a:pt x="48" y="36"/>
                </a:lnTo>
                <a:lnTo>
                  <a:pt x="48" y="36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6"/>
                </a:lnTo>
                <a:lnTo>
                  <a:pt x="48" y="36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54" y="30"/>
                </a:lnTo>
                <a:lnTo>
                  <a:pt x="54" y="30"/>
                </a:lnTo>
                <a:lnTo>
                  <a:pt x="54" y="36"/>
                </a:lnTo>
                <a:lnTo>
                  <a:pt x="54" y="30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0"/>
                </a:lnTo>
                <a:lnTo>
                  <a:pt x="96" y="36"/>
                </a:lnTo>
                <a:lnTo>
                  <a:pt x="96" y="36"/>
                </a:lnTo>
                <a:lnTo>
                  <a:pt x="96" y="30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24"/>
                </a:lnTo>
                <a:lnTo>
                  <a:pt x="114" y="30"/>
                </a:lnTo>
                <a:lnTo>
                  <a:pt x="114" y="30"/>
                </a:lnTo>
                <a:lnTo>
                  <a:pt x="114" y="24"/>
                </a:lnTo>
                <a:lnTo>
                  <a:pt x="108" y="24"/>
                </a:lnTo>
                <a:lnTo>
                  <a:pt x="108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32" y="24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32" y="30"/>
                </a:lnTo>
                <a:lnTo>
                  <a:pt x="126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26" y="36"/>
                </a:lnTo>
                <a:lnTo>
                  <a:pt x="126" y="36"/>
                </a:lnTo>
                <a:lnTo>
                  <a:pt x="132" y="36"/>
                </a:lnTo>
                <a:lnTo>
                  <a:pt x="132" y="36"/>
                </a:lnTo>
                <a:lnTo>
                  <a:pt x="126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26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26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54"/>
                </a:lnTo>
                <a:lnTo>
                  <a:pt x="132" y="54"/>
                </a:lnTo>
                <a:lnTo>
                  <a:pt x="132" y="54"/>
                </a:lnTo>
                <a:lnTo>
                  <a:pt x="132" y="54"/>
                </a:lnTo>
                <a:lnTo>
                  <a:pt x="132" y="54"/>
                </a:lnTo>
                <a:lnTo>
                  <a:pt x="132" y="54"/>
                </a:lnTo>
                <a:lnTo>
                  <a:pt x="132" y="54"/>
                </a:lnTo>
                <a:lnTo>
                  <a:pt x="132" y="54"/>
                </a:lnTo>
                <a:lnTo>
                  <a:pt x="132" y="54"/>
                </a:lnTo>
                <a:lnTo>
                  <a:pt x="132" y="54"/>
                </a:lnTo>
                <a:lnTo>
                  <a:pt x="132" y="54"/>
                </a:lnTo>
                <a:lnTo>
                  <a:pt x="132" y="54"/>
                </a:lnTo>
                <a:lnTo>
                  <a:pt x="132" y="54"/>
                </a:lnTo>
                <a:lnTo>
                  <a:pt x="132" y="60"/>
                </a:lnTo>
                <a:lnTo>
                  <a:pt x="132" y="60"/>
                </a:lnTo>
                <a:lnTo>
                  <a:pt x="138" y="60"/>
                </a:lnTo>
                <a:lnTo>
                  <a:pt x="138" y="60"/>
                </a:lnTo>
                <a:lnTo>
                  <a:pt x="138" y="60"/>
                </a:lnTo>
                <a:lnTo>
                  <a:pt x="138" y="60"/>
                </a:lnTo>
                <a:lnTo>
                  <a:pt x="138" y="60"/>
                </a:lnTo>
                <a:lnTo>
                  <a:pt x="138" y="60"/>
                </a:lnTo>
                <a:lnTo>
                  <a:pt x="138" y="60"/>
                </a:lnTo>
                <a:lnTo>
                  <a:pt x="144" y="60"/>
                </a:lnTo>
                <a:lnTo>
                  <a:pt x="144" y="60"/>
                </a:lnTo>
                <a:lnTo>
                  <a:pt x="144" y="66"/>
                </a:lnTo>
                <a:lnTo>
                  <a:pt x="144" y="66"/>
                </a:lnTo>
                <a:lnTo>
                  <a:pt x="150" y="66"/>
                </a:lnTo>
                <a:lnTo>
                  <a:pt x="150" y="66"/>
                </a:lnTo>
                <a:lnTo>
                  <a:pt x="150" y="66"/>
                </a:lnTo>
                <a:lnTo>
                  <a:pt x="150" y="66"/>
                </a:lnTo>
                <a:lnTo>
                  <a:pt x="150" y="66"/>
                </a:lnTo>
                <a:lnTo>
                  <a:pt x="156" y="66"/>
                </a:lnTo>
                <a:lnTo>
                  <a:pt x="156" y="66"/>
                </a:lnTo>
                <a:lnTo>
                  <a:pt x="150" y="66"/>
                </a:lnTo>
                <a:lnTo>
                  <a:pt x="156" y="66"/>
                </a:lnTo>
                <a:lnTo>
                  <a:pt x="156" y="66"/>
                </a:lnTo>
                <a:lnTo>
                  <a:pt x="156" y="66"/>
                </a:lnTo>
                <a:lnTo>
                  <a:pt x="156" y="66"/>
                </a:lnTo>
                <a:lnTo>
                  <a:pt x="156" y="60"/>
                </a:lnTo>
                <a:lnTo>
                  <a:pt x="156" y="60"/>
                </a:lnTo>
                <a:lnTo>
                  <a:pt x="162" y="60"/>
                </a:lnTo>
                <a:lnTo>
                  <a:pt x="162" y="66"/>
                </a:lnTo>
                <a:lnTo>
                  <a:pt x="162" y="66"/>
                </a:lnTo>
                <a:lnTo>
                  <a:pt x="162" y="66"/>
                </a:lnTo>
                <a:lnTo>
                  <a:pt x="162" y="66"/>
                </a:lnTo>
                <a:lnTo>
                  <a:pt x="162" y="66"/>
                </a:lnTo>
                <a:lnTo>
                  <a:pt x="162" y="66"/>
                </a:lnTo>
                <a:lnTo>
                  <a:pt x="162" y="66"/>
                </a:lnTo>
                <a:lnTo>
                  <a:pt x="162" y="66"/>
                </a:lnTo>
                <a:lnTo>
                  <a:pt x="162" y="66"/>
                </a:lnTo>
                <a:lnTo>
                  <a:pt x="162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8"/>
                </a:lnTo>
                <a:lnTo>
                  <a:pt x="168" y="78"/>
                </a:lnTo>
                <a:lnTo>
                  <a:pt x="168" y="78"/>
                </a:lnTo>
                <a:lnTo>
                  <a:pt x="174" y="78"/>
                </a:lnTo>
                <a:lnTo>
                  <a:pt x="174" y="78"/>
                </a:lnTo>
                <a:lnTo>
                  <a:pt x="174" y="78"/>
                </a:lnTo>
                <a:lnTo>
                  <a:pt x="174" y="78"/>
                </a:lnTo>
                <a:lnTo>
                  <a:pt x="180" y="84"/>
                </a:lnTo>
                <a:lnTo>
                  <a:pt x="180" y="84"/>
                </a:lnTo>
                <a:lnTo>
                  <a:pt x="180" y="84"/>
                </a:lnTo>
                <a:lnTo>
                  <a:pt x="180" y="84"/>
                </a:lnTo>
                <a:lnTo>
                  <a:pt x="180" y="84"/>
                </a:lnTo>
                <a:lnTo>
                  <a:pt x="180" y="90"/>
                </a:lnTo>
                <a:lnTo>
                  <a:pt x="180" y="90"/>
                </a:lnTo>
                <a:lnTo>
                  <a:pt x="180" y="90"/>
                </a:lnTo>
                <a:lnTo>
                  <a:pt x="180" y="90"/>
                </a:lnTo>
                <a:lnTo>
                  <a:pt x="186" y="90"/>
                </a:lnTo>
                <a:lnTo>
                  <a:pt x="186" y="90"/>
                </a:lnTo>
                <a:lnTo>
                  <a:pt x="186" y="90"/>
                </a:lnTo>
                <a:lnTo>
                  <a:pt x="186" y="90"/>
                </a:lnTo>
                <a:lnTo>
                  <a:pt x="180" y="96"/>
                </a:lnTo>
                <a:lnTo>
                  <a:pt x="180" y="90"/>
                </a:lnTo>
                <a:lnTo>
                  <a:pt x="180" y="96"/>
                </a:lnTo>
                <a:lnTo>
                  <a:pt x="180" y="96"/>
                </a:lnTo>
                <a:lnTo>
                  <a:pt x="180" y="96"/>
                </a:lnTo>
                <a:lnTo>
                  <a:pt x="174" y="96"/>
                </a:lnTo>
                <a:lnTo>
                  <a:pt x="174" y="96"/>
                </a:lnTo>
                <a:lnTo>
                  <a:pt x="174" y="96"/>
                </a:lnTo>
                <a:lnTo>
                  <a:pt x="174" y="96"/>
                </a:lnTo>
                <a:lnTo>
                  <a:pt x="174" y="96"/>
                </a:lnTo>
                <a:lnTo>
                  <a:pt x="168" y="96"/>
                </a:lnTo>
                <a:lnTo>
                  <a:pt x="168" y="96"/>
                </a:lnTo>
                <a:lnTo>
                  <a:pt x="168" y="96"/>
                </a:lnTo>
                <a:lnTo>
                  <a:pt x="168" y="102"/>
                </a:lnTo>
                <a:lnTo>
                  <a:pt x="168" y="102"/>
                </a:lnTo>
                <a:lnTo>
                  <a:pt x="168" y="102"/>
                </a:lnTo>
                <a:lnTo>
                  <a:pt x="168" y="102"/>
                </a:lnTo>
                <a:lnTo>
                  <a:pt x="168" y="102"/>
                </a:lnTo>
                <a:lnTo>
                  <a:pt x="168" y="102"/>
                </a:lnTo>
                <a:lnTo>
                  <a:pt x="168" y="102"/>
                </a:lnTo>
                <a:lnTo>
                  <a:pt x="168" y="102"/>
                </a:lnTo>
                <a:lnTo>
                  <a:pt x="162" y="102"/>
                </a:lnTo>
                <a:lnTo>
                  <a:pt x="162" y="102"/>
                </a:lnTo>
                <a:lnTo>
                  <a:pt x="162" y="102"/>
                </a:lnTo>
                <a:lnTo>
                  <a:pt x="162" y="102"/>
                </a:lnTo>
                <a:lnTo>
                  <a:pt x="162" y="102"/>
                </a:lnTo>
                <a:lnTo>
                  <a:pt x="156" y="102"/>
                </a:lnTo>
                <a:lnTo>
                  <a:pt x="156" y="102"/>
                </a:lnTo>
                <a:lnTo>
                  <a:pt x="156" y="102"/>
                </a:lnTo>
                <a:lnTo>
                  <a:pt x="156" y="102"/>
                </a:lnTo>
                <a:lnTo>
                  <a:pt x="150" y="96"/>
                </a:lnTo>
                <a:lnTo>
                  <a:pt x="150" y="96"/>
                </a:lnTo>
                <a:lnTo>
                  <a:pt x="150" y="96"/>
                </a:lnTo>
                <a:lnTo>
                  <a:pt x="150" y="102"/>
                </a:lnTo>
                <a:lnTo>
                  <a:pt x="150" y="102"/>
                </a:lnTo>
                <a:lnTo>
                  <a:pt x="150" y="102"/>
                </a:lnTo>
                <a:lnTo>
                  <a:pt x="150" y="102"/>
                </a:lnTo>
                <a:lnTo>
                  <a:pt x="150" y="102"/>
                </a:lnTo>
                <a:lnTo>
                  <a:pt x="150" y="102"/>
                </a:lnTo>
                <a:lnTo>
                  <a:pt x="150" y="102"/>
                </a:lnTo>
                <a:lnTo>
                  <a:pt x="150" y="102"/>
                </a:lnTo>
                <a:lnTo>
                  <a:pt x="150" y="102"/>
                </a:lnTo>
                <a:lnTo>
                  <a:pt x="150" y="102"/>
                </a:lnTo>
                <a:lnTo>
                  <a:pt x="150" y="102"/>
                </a:lnTo>
                <a:lnTo>
                  <a:pt x="150" y="102"/>
                </a:lnTo>
                <a:lnTo>
                  <a:pt x="150" y="102"/>
                </a:lnTo>
                <a:lnTo>
                  <a:pt x="150" y="102"/>
                </a:lnTo>
                <a:lnTo>
                  <a:pt x="144" y="102"/>
                </a:lnTo>
                <a:lnTo>
                  <a:pt x="144" y="108"/>
                </a:lnTo>
                <a:lnTo>
                  <a:pt x="150" y="108"/>
                </a:lnTo>
                <a:lnTo>
                  <a:pt x="150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14"/>
                </a:lnTo>
                <a:lnTo>
                  <a:pt x="144" y="114"/>
                </a:lnTo>
                <a:lnTo>
                  <a:pt x="144" y="114"/>
                </a:lnTo>
                <a:lnTo>
                  <a:pt x="144" y="114"/>
                </a:lnTo>
                <a:lnTo>
                  <a:pt x="144" y="114"/>
                </a:lnTo>
                <a:lnTo>
                  <a:pt x="144" y="114"/>
                </a:lnTo>
                <a:lnTo>
                  <a:pt x="138" y="114"/>
                </a:lnTo>
                <a:lnTo>
                  <a:pt x="138" y="114"/>
                </a:lnTo>
                <a:lnTo>
                  <a:pt x="138" y="114"/>
                </a:lnTo>
                <a:lnTo>
                  <a:pt x="138" y="114"/>
                </a:lnTo>
                <a:lnTo>
                  <a:pt x="138" y="120"/>
                </a:lnTo>
                <a:lnTo>
                  <a:pt x="138" y="120"/>
                </a:lnTo>
                <a:lnTo>
                  <a:pt x="138" y="120"/>
                </a:lnTo>
                <a:lnTo>
                  <a:pt x="138" y="120"/>
                </a:lnTo>
                <a:lnTo>
                  <a:pt x="138" y="120"/>
                </a:lnTo>
                <a:lnTo>
                  <a:pt x="138" y="120"/>
                </a:lnTo>
                <a:lnTo>
                  <a:pt x="138" y="120"/>
                </a:lnTo>
                <a:lnTo>
                  <a:pt x="138" y="120"/>
                </a:lnTo>
                <a:lnTo>
                  <a:pt x="138" y="120"/>
                </a:lnTo>
                <a:lnTo>
                  <a:pt x="138" y="120"/>
                </a:lnTo>
                <a:lnTo>
                  <a:pt x="138" y="120"/>
                </a:lnTo>
                <a:lnTo>
                  <a:pt x="138" y="120"/>
                </a:lnTo>
                <a:lnTo>
                  <a:pt x="138" y="126"/>
                </a:lnTo>
                <a:lnTo>
                  <a:pt x="138" y="126"/>
                </a:lnTo>
                <a:lnTo>
                  <a:pt x="138" y="126"/>
                </a:lnTo>
                <a:lnTo>
                  <a:pt x="138" y="126"/>
                </a:lnTo>
                <a:lnTo>
                  <a:pt x="138" y="126"/>
                </a:lnTo>
                <a:lnTo>
                  <a:pt x="138" y="126"/>
                </a:lnTo>
                <a:lnTo>
                  <a:pt x="138" y="126"/>
                </a:lnTo>
                <a:lnTo>
                  <a:pt x="138" y="126"/>
                </a:lnTo>
                <a:lnTo>
                  <a:pt x="120" y="126"/>
                </a:lnTo>
                <a:lnTo>
                  <a:pt x="120" y="126"/>
                </a:lnTo>
                <a:lnTo>
                  <a:pt x="120" y="126"/>
                </a:lnTo>
                <a:lnTo>
                  <a:pt x="120" y="126"/>
                </a:lnTo>
                <a:lnTo>
                  <a:pt x="120" y="126"/>
                </a:lnTo>
                <a:lnTo>
                  <a:pt x="120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6"/>
                </a:lnTo>
                <a:lnTo>
                  <a:pt x="102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0" y="126"/>
                </a:lnTo>
                <a:lnTo>
                  <a:pt x="90" y="126"/>
                </a:lnTo>
                <a:lnTo>
                  <a:pt x="90" y="126"/>
                </a:lnTo>
                <a:lnTo>
                  <a:pt x="90" y="126"/>
                </a:lnTo>
                <a:lnTo>
                  <a:pt x="90" y="126"/>
                </a:lnTo>
                <a:lnTo>
                  <a:pt x="90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78" y="126"/>
                </a:lnTo>
                <a:lnTo>
                  <a:pt x="78" y="126"/>
                </a:lnTo>
                <a:lnTo>
                  <a:pt x="78" y="126"/>
                </a:lnTo>
                <a:lnTo>
                  <a:pt x="78" y="126"/>
                </a:lnTo>
                <a:lnTo>
                  <a:pt x="72" y="120"/>
                </a:lnTo>
                <a:lnTo>
                  <a:pt x="72" y="120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48" y="114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14"/>
                </a:lnTo>
                <a:lnTo>
                  <a:pt x="48" y="114"/>
                </a:lnTo>
                <a:lnTo>
                  <a:pt x="48" y="114"/>
                </a:lnTo>
                <a:lnTo>
                  <a:pt x="48" y="108"/>
                </a:lnTo>
                <a:lnTo>
                  <a:pt x="48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42" y="102"/>
                </a:lnTo>
                <a:lnTo>
                  <a:pt x="36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36" y="90"/>
                </a:lnTo>
                <a:lnTo>
                  <a:pt x="36" y="96"/>
                </a:lnTo>
                <a:lnTo>
                  <a:pt x="36" y="90"/>
                </a:lnTo>
                <a:lnTo>
                  <a:pt x="36" y="96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84"/>
                </a:lnTo>
                <a:lnTo>
                  <a:pt x="36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0" y="78"/>
                </a:lnTo>
                <a:lnTo>
                  <a:pt x="30" y="78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66"/>
                </a:lnTo>
                <a:lnTo>
                  <a:pt x="42" y="66"/>
                </a:lnTo>
                <a:lnTo>
                  <a:pt x="36" y="66"/>
                </a:lnTo>
                <a:lnTo>
                  <a:pt x="36" y="66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0" y="60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24" y="48"/>
                </a:lnTo>
                <a:lnTo>
                  <a:pt x="24" y="54"/>
                </a:lnTo>
                <a:lnTo>
                  <a:pt x="24" y="48"/>
                </a:lnTo>
                <a:lnTo>
                  <a:pt x="24" y="48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2" y="42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24" y="36"/>
                </a:lnTo>
                <a:lnTo>
                  <a:pt x="24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24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2"/>
                </a:lnTo>
                <a:lnTo>
                  <a:pt x="12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6"/>
                </a:lnTo>
                <a:lnTo>
                  <a:pt x="0" y="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27" name="Freeform 460"/>
          <p:cNvSpPr>
            <a:spLocks/>
          </p:cNvSpPr>
          <p:nvPr/>
        </p:nvSpPr>
        <p:spPr bwMode="auto">
          <a:xfrm>
            <a:off x="6196601" y="5194980"/>
            <a:ext cx="89937" cy="102786"/>
          </a:xfrm>
          <a:custGeom>
            <a:avLst/>
            <a:gdLst>
              <a:gd name="T0" fmla="*/ 12 w 84"/>
              <a:gd name="T1" fmla="*/ 66 h 96"/>
              <a:gd name="T2" fmla="*/ 18 w 84"/>
              <a:gd name="T3" fmla="*/ 66 h 96"/>
              <a:gd name="T4" fmla="*/ 18 w 84"/>
              <a:gd name="T5" fmla="*/ 60 h 96"/>
              <a:gd name="T6" fmla="*/ 18 w 84"/>
              <a:gd name="T7" fmla="*/ 60 h 96"/>
              <a:gd name="T8" fmla="*/ 24 w 84"/>
              <a:gd name="T9" fmla="*/ 54 h 96"/>
              <a:gd name="T10" fmla="*/ 24 w 84"/>
              <a:gd name="T11" fmla="*/ 54 h 96"/>
              <a:gd name="T12" fmla="*/ 18 w 84"/>
              <a:gd name="T13" fmla="*/ 48 h 96"/>
              <a:gd name="T14" fmla="*/ 12 w 84"/>
              <a:gd name="T15" fmla="*/ 42 h 96"/>
              <a:gd name="T16" fmla="*/ 6 w 84"/>
              <a:gd name="T17" fmla="*/ 36 h 96"/>
              <a:gd name="T18" fmla="*/ 6 w 84"/>
              <a:gd name="T19" fmla="*/ 30 h 96"/>
              <a:gd name="T20" fmla="*/ 6 w 84"/>
              <a:gd name="T21" fmla="*/ 30 h 96"/>
              <a:gd name="T22" fmla="*/ 6 w 84"/>
              <a:gd name="T23" fmla="*/ 24 h 96"/>
              <a:gd name="T24" fmla="*/ 6 w 84"/>
              <a:gd name="T25" fmla="*/ 18 h 96"/>
              <a:gd name="T26" fmla="*/ 12 w 84"/>
              <a:gd name="T27" fmla="*/ 18 h 96"/>
              <a:gd name="T28" fmla="*/ 12 w 84"/>
              <a:gd name="T29" fmla="*/ 12 h 96"/>
              <a:gd name="T30" fmla="*/ 18 w 84"/>
              <a:gd name="T31" fmla="*/ 18 h 96"/>
              <a:gd name="T32" fmla="*/ 18 w 84"/>
              <a:gd name="T33" fmla="*/ 12 h 96"/>
              <a:gd name="T34" fmla="*/ 24 w 84"/>
              <a:gd name="T35" fmla="*/ 12 h 96"/>
              <a:gd name="T36" fmla="*/ 24 w 84"/>
              <a:gd name="T37" fmla="*/ 12 h 96"/>
              <a:gd name="T38" fmla="*/ 24 w 84"/>
              <a:gd name="T39" fmla="*/ 6 h 96"/>
              <a:gd name="T40" fmla="*/ 24 w 84"/>
              <a:gd name="T41" fmla="*/ 6 h 96"/>
              <a:gd name="T42" fmla="*/ 24 w 84"/>
              <a:gd name="T43" fmla="*/ 0 h 96"/>
              <a:gd name="T44" fmla="*/ 30 w 84"/>
              <a:gd name="T45" fmla="*/ 0 h 96"/>
              <a:gd name="T46" fmla="*/ 36 w 84"/>
              <a:gd name="T47" fmla="*/ 0 h 96"/>
              <a:gd name="T48" fmla="*/ 42 w 84"/>
              <a:gd name="T49" fmla="*/ 0 h 96"/>
              <a:gd name="T50" fmla="*/ 48 w 84"/>
              <a:gd name="T51" fmla="*/ 6 h 96"/>
              <a:gd name="T52" fmla="*/ 48 w 84"/>
              <a:gd name="T53" fmla="*/ 6 h 96"/>
              <a:gd name="T54" fmla="*/ 60 w 84"/>
              <a:gd name="T55" fmla="*/ 6 h 96"/>
              <a:gd name="T56" fmla="*/ 54 w 84"/>
              <a:gd name="T57" fmla="*/ 12 h 96"/>
              <a:gd name="T58" fmla="*/ 60 w 84"/>
              <a:gd name="T59" fmla="*/ 12 h 96"/>
              <a:gd name="T60" fmla="*/ 66 w 84"/>
              <a:gd name="T61" fmla="*/ 12 h 96"/>
              <a:gd name="T62" fmla="*/ 72 w 84"/>
              <a:gd name="T63" fmla="*/ 18 h 96"/>
              <a:gd name="T64" fmla="*/ 84 w 84"/>
              <a:gd name="T65" fmla="*/ 24 h 96"/>
              <a:gd name="T66" fmla="*/ 84 w 84"/>
              <a:gd name="T67" fmla="*/ 30 h 96"/>
              <a:gd name="T68" fmla="*/ 72 w 84"/>
              <a:gd name="T69" fmla="*/ 30 h 96"/>
              <a:gd name="T70" fmla="*/ 72 w 84"/>
              <a:gd name="T71" fmla="*/ 36 h 96"/>
              <a:gd name="T72" fmla="*/ 60 w 84"/>
              <a:gd name="T73" fmla="*/ 48 h 96"/>
              <a:gd name="T74" fmla="*/ 60 w 84"/>
              <a:gd name="T75" fmla="*/ 48 h 96"/>
              <a:gd name="T76" fmla="*/ 66 w 84"/>
              <a:gd name="T77" fmla="*/ 54 h 96"/>
              <a:gd name="T78" fmla="*/ 72 w 84"/>
              <a:gd name="T79" fmla="*/ 60 h 96"/>
              <a:gd name="T80" fmla="*/ 72 w 84"/>
              <a:gd name="T81" fmla="*/ 72 h 96"/>
              <a:gd name="T82" fmla="*/ 78 w 84"/>
              <a:gd name="T83" fmla="*/ 78 h 96"/>
              <a:gd name="T84" fmla="*/ 78 w 84"/>
              <a:gd name="T85" fmla="*/ 78 h 96"/>
              <a:gd name="T86" fmla="*/ 72 w 84"/>
              <a:gd name="T87" fmla="*/ 78 h 96"/>
              <a:gd name="T88" fmla="*/ 60 w 84"/>
              <a:gd name="T89" fmla="*/ 78 h 96"/>
              <a:gd name="T90" fmla="*/ 60 w 84"/>
              <a:gd name="T91" fmla="*/ 78 h 96"/>
              <a:gd name="T92" fmla="*/ 54 w 84"/>
              <a:gd name="T93" fmla="*/ 84 h 96"/>
              <a:gd name="T94" fmla="*/ 48 w 84"/>
              <a:gd name="T95" fmla="*/ 84 h 96"/>
              <a:gd name="T96" fmla="*/ 42 w 84"/>
              <a:gd name="T97" fmla="*/ 84 h 96"/>
              <a:gd name="T98" fmla="*/ 36 w 84"/>
              <a:gd name="T99" fmla="*/ 90 h 96"/>
              <a:gd name="T100" fmla="*/ 30 w 84"/>
              <a:gd name="T101" fmla="*/ 90 h 96"/>
              <a:gd name="T102" fmla="*/ 18 w 84"/>
              <a:gd name="T103" fmla="*/ 90 h 96"/>
              <a:gd name="T104" fmla="*/ 12 w 84"/>
              <a:gd name="T105" fmla="*/ 96 h 96"/>
              <a:gd name="T106" fmla="*/ 6 w 84"/>
              <a:gd name="T107" fmla="*/ 96 h 96"/>
              <a:gd name="T108" fmla="*/ 6 w 84"/>
              <a:gd name="T109" fmla="*/ 84 h 96"/>
              <a:gd name="T110" fmla="*/ 6 w 84"/>
              <a:gd name="T111" fmla="*/ 7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84" h="96">
                <a:moveTo>
                  <a:pt x="6" y="72"/>
                </a:move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18" y="54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6" y="42"/>
                </a:lnTo>
                <a:lnTo>
                  <a:pt x="6" y="42"/>
                </a:lnTo>
                <a:lnTo>
                  <a:pt x="12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6" y="30"/>
                </a:lnTo>
                <a:lnTo>
                  <a:pt x="6" y="30"/>
                </a:lnTo>
                <a:lnTo>
                  <a:pt x="12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8"/>
                </a:lnTo>
                <a:lnTo>
                  <a:pt x="12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24" y="18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60" y="6"/>
                </a:lnTo>
                <a:lnTo>
                  <a:pt x="60" y="6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6" y="12"/>
                </a:lnTo>
                <a:lnTo>
                  <a:pt x="66" y="18"/>
                </a:lnTo>
                <a:lnTo>
                  <a:pt x="66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8" y="18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30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2" y="24"/>
                </a:lnTo>
                <a:lnTo>
                  <a:pt x="72" y="30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66" y="36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0" y="48"/>
                </a:lnTo>
                <a:lnTo>
                  <a:pt x="66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72" y="54"/>
                </a:lnTo>
                <a:lnTo>
                  <a:pt x="66" y="54"/>
                </a:lnTo>
                <a:lnTo>
                  <a:pt x="72" y="60"/>
                </a:lnTo>
                <a:lnTo>
                  <a:pt x="72" y="60"/>
                </a:lnTo>
                <a:lnTo>
                  <a:pt x="72" y="66"/>
                </a:lnTo>
                <a:lnTo>
                  <a:pt x="78" y="66"/>
                </a:lnTo>
                <a:lnTo>
                  <a:pt x="78" y="66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8" y="72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90"/>
                </a:lnTo>
                <a:lnTo>
                  <a:pt x="42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18" y="90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0" y="90"/>
                </a:lnTo>
                <a:lnTo>
                  <a:pt x="6" y="90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78"/>
                </a:ln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28" name="Freeform 461"/>
          <p:cNvSpPr>
            <a:spLocks/>
          </p:cNvSpPr>
          <p:nvPr/>
        </p:nvSpPr>
        <p:spPr bwMode="auto">
          <a:xfrm>
            <a:off x="6132361" y="4957288"/>
            <a:ext cx="115633" cy="141330"/>
          </a:xfrm>
          <a:custGeom>
            <a:avLst/>
            <a:gdLst>
              <a:gd name="T0" fmla="*/ 6 w 108"/>
              <a:gd name="T1" fmla="*/ 18 h 132"/>
              <a:gd name="T2" fmla="*/ 6 w 108"/>
              <a:gd name="T3" fmla="*/ 18 h 132"/>
              <a:gd name="T4" fmla="*/ 12 w 108"/>
              <a:gd name="T5" fmla="*/ 12 h 132"/>
              <a:gd name="T6" fmla="*/ 18 w 108"/>
              <a:gd name="T7" fmla="*/ 12 h 132"/>
              <a:gd name="T8" fmla="*/ 18 w 108"/>
              <a:gd name="T9" fmla="*/ 18 h 132"/>
              <a:gd name="T10" fmla="*/ 24 w 108"/>
              <a:gd name="T11" fmla="*/ 18 h 132"/>
              <a:gd name="T12" fmla="*/ 36 w 108"/>
              <a:gd name="T13" fmla="*/ 18 h 132"/>
              <a:gd name="T14" fmla="*/ 54 w 108"/>
              <a:gd name="T15" fmla="*/ 12 h 132"/>
              <a:gd name="T16" fmla="*/ 54 w 108"/>
              <a:gd name="T17" fmla="*/ 12 h 132"/>
              <a:gd name="T18" fmla="*/ 48 w 108"/>
              <a:gd name="T19" fmla="*/ 6 h 132"/>
              <a:gd name="T20" fmla="*/ 60 w 108"/>
              <a:gd name="T21" fmla="*/ 6 h 132"/>
              <a:gd name="T22" fmla="*/ 78 w 108"/>
              <a:gd name="T23" fmla="*/ 6 h 132"/>
              <a:gd name="T24" fmla="*/ 78 w 108"/>
              <a:gd name="T25" fmla="*/ 12 h 132"/>
              <a:gd name="T26" fmla="*/ 78 w 108"/>
              <a:gd name="T27" fmla="*/ 12 h 132"/>
              <a:gd name="T28" fmla="*/ 78 w 108"/>
              <a:gd name="T29" fmla="*/ 18 h 132"/>
              <a:gd name="T30" fmla="*/ 84 w 108"/>
              <a:gd name="T31" fmla="*/ 18 h 132"/>
              <a:gd name="T32" fmla="*/ 78 w 108"/>
              <a:gd name="T33" fmla="*/ 30 h 132"/>
              <a:gd name="T34" fmla="*/ 72 w 108"/>
              <a:gd name="T35" fmla="*/ 36 h 132"/>
              <a:gd name="T36" fmla="*/ 72 w 108"/>
              <a:gd name="T37" fmla="*/ 42 h 132"/>
              <a:gd name="T38" fmla="*/ 78 w 108"/>
              <a:gd name="T39" fmla="*/ 54 h 132"/>
              <a:gd name="T40" fmla="*/ 84 w 108"/>
              <a:gd name="T41" fmla="*/ 66 h 132"/>
              <a:gd name="T42" fmla="*/ 90 w 108"/>
              <a:gd name="T43" fmla="*/ 60 h 132"/>
              <a:gd name="T44" fmla="*/ 96 w 108"/>
              <a:gd name="T45" fmla="*/ 54 h 132"/>
              <a:gd name="T46" fmla="*/ 102 w 108"/>
              <a:gd name="T47" fmla="*/ 60 h 132"/>
              <a:gd name="T48" fmla="*/ 108 w 108"/>
              <a:gd name="T49" fmla="*/ 72 h 132"/>
              <a:gd name="T50" fmla="*/ 108 w 108"/>
              <a:gd name="T51" fmla="*/ 78 h 132"/>
              <a:gd name="T52" fmla="*/ 102 w 108"/>
              <a:gd name="T53" fmla="*/ 78 h 132"/>
              <a:gd name="T54" fmla="*/ 102 w 108"/>
              <a:gd name="T55" fmla="*/ 96 h 132"/>
              <a:gd name="T56" fmla="*/ 96 w 108"/>
              <a:gd name="T57" fmla="*/ 102 h 132"/>
              <a:gd name="T58" fmla="*/ 90 w 108"/>
              <a:gd name="T59" fmla="*/ 120 h 132"/>
              <a:gd name="T60" fmla="*/ 84 w 108"/>
              <a:gd name="T61" fmla="*/ 114 h 132"/>
              <a:gd name="T62" fmla="*/ 72 w 108"/>
              <a:gd name="T63" fmla="*/ 114 h 132"/>
              <a:gd name="T64" fmla="*/ 66 w 108"/>
              <a:gd name="T65" fmla="*/ 114 h 132"/>
              <a:gd name="T66" fmla="*/ 60 w 108"/>
              <a:gd name="T67" fmla="*/ 114 h 132"/>
              <a:gd name="T68" fmla="*/ 54 w 108"/>
              <a:gd name="T69" fmla="*/ 108 h 132"/>
              <a:gd name="T70" fmla="*/ 54 w 108"/>
              <a:gd name="T71" fmla="*/ 102 h 132"/>
              <a:gd name="T72" fmla="*/ 48 w 108"/>
              <a:gd name="T73" fmla="*/ 108 h 132"/>
              <a:gd name="T74" fmla="*/ 36 w 108"/>
              <a:gd name="T75" fmla="*/ 114 h 132"/>
              <a:gd name="T76" fmla="*/ 30 w 108"/>
              <a:gd name="T77" fmla="*/ 126 h 132"/>
              <a:gd name="T78" fmla="*/ 24 w 108"/>
              <a:gd name="T79" fmla="*/ 132 h 132"/>
              <a:gd name="T80" fmla="*/ 18 w 108"/>
              <a:gd name="T81" fmla="*/ 126 h 132"/>
              <a:gd name="T82" fmla="*/ 18 w 108"/>
              <a:gd name="T83" fmla="*/ 126 h 132"/>
              <a:gd name="T84" fmla="*/ 12 w 108"/>
              <a:gd name="T85" fmla="*/ 120 h 132"/>
              <a:gd name="T86" fmla="*/ 6 w 108"/>
              <a:gd name="T87" fmla="*/ 120 h 132"/>
              <a:gd name="T88" fmla="*/ 6 w 108"/>
              <a:gd name="T89" fmla="*/ 120 h 132"/>
              <a:gd name="T90" fmla="*/ 6 w 108"/>
              <a:gd name="T91" fmla="*/ 96 h 132"/>
              <a:gd name="T92" fmla="*/ 6 w 108"/>
              <a:gd name="T93" fmla="*/ 90 h 132"/>
              <a:gd name="T94" fmla="*/ 12 w 108"/>
              <a:gd name="T95" fmla="*/ 90 h 132"/>
              <a:gd name="T96" fmla="*/ 12 w 108"/>
              <a:gd name="T97" fmla="*/ 84 h 132"/>
              <a:gd name="T98" fmla="*/ 18 w 108"/>
              <a:gd name="T99" fmla="*/ 84 h 132"/>
              <a:gd name="T100" fmla="*/ 24 w 108"/>
              <a:gd name="T101" fmla="*/ 78 h 132"/>
              <a:gd name="T102" fmla="*/ 30 w 108"/>
              <a:gd name="T103" fmla="*/ 72 h 132"/>
              <a:gd name="T104" fmla="*/ 30 w 108"/>
              <a:gd name="T105" fmla="*/ 54 h 132"/>
              <a:gd name="T106" fmla="*/ 24 w 108"/>
              <a:gd name="T107" fmla="*/ 54 h 132"/>
              <a:gd name="T108" fmla="*/ 18 w 108"/>
              <a:gd name="T109" fmla="*/ 42 h 132"/>
              <a:gd name="T110" fmla="*/ 12 w 108"/>
              <a:gd name="T111" fmla="*/ 42 h 132"/>
              <a:gd name="T112" fmla="*/ 12 w 108"/>
              <a:gd name="T113" fmla="*/ 36 h 132"/>
              <a:gd name="T114" fmla="*/ 6 w 108"/>
              <a:gd name="T115" fmla="*/ 30 h 132"/>
              <a:gd name="T116" fmla="*/ 0 w 108"/>
              <a:gd name="T117" fmla="*/ 24 h 132"/>
              <a:gd name="T118" fmla="*/ 6 w 108"/>
              <a:gd name="T119" fmla="*/ 18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8" h="132">
                <a:moveTo>
                  <a:pt x="0" y="18"/>
                </a:move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0" y="18"/>
                </a:lnTo>
                <a:lnTo>
                  <a:pt x="0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8" y="12"/>
                </a:lnTo>
                <a:lnTo>
                  <a:pt x="12" y="12"/>
                </a:lnTo>
                <a:lnTo>
                  <a:pt x="12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8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48" y="12"/>
                </a:lnTo>
                <a:lnTo>
                  <a:pt x="54" y="12"/>
                </a:lnTo>
                <a:lnTo>
                  <a:pt x="48" y="12"/>
                </a:lnTo>
                <a:lnTo>
                  <a:pt x="54" y="12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54" y="6"/>
                </a:lnTo>
                <a:lnTo>
                  <a:pt x="54" y="12"/>
                </a:lnTo>
                <a:lnTo>
                  <a:pt x="54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60" y="0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78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8" y="12"/>
                </a:lnTo>
                <a:lnTo>
                  <a:pt x="78" y="12"/>
                </a:lnTo>
                <a:lnTo>
                  <a:pt x="72" y="12"/>
                </a:lnTo>
                <a:lnTo>
                  <a:pt x="72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84" y="18"/>
                </a:lnTo>
                <a:lnTo>
                  <a:pt x="84" y="18"/>
                </a:lnTo>
                <a:lnTo>
                  <a:pt x="78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42"/>
                </a:lnTo>
                <a:lnTo>
                  <a:pt x="72" y="36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2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84" y="54"/>
                </a:lnTo>
                <a:lnTo>
                  <a:pt x="78" y="54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0"/>
                </a:lnTo>
                <a:lnTo>
                  <a:pt x="84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54"/>
                </a:lnTo>
                <a:lnTo>
                  <a:pt x="90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60"/>
                </a:lnTo>
                <a:lnTo>
                  <a:pt x="96" y="54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0"/>
                </a:lnTo>
                <a:lnTo>
                  <a:pt x="102" y="60"/>
                </a:lnTo>
                <a:lnTo>
                  <a:pt x="102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96" y="78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78" y="114"/>
                </a:lnTo>
                <a:lnTo>
                  <a:pt x="78" y="120"/>
                </a:lnTo>
                <a:lnTo>
                  <a:pt x="78" y="120"/>
                </a:lnTo>
                <a:lnTo>
                  <a:pt x="78" y="114"/>
                </a:lnTo>
                <a:lnTo>
                  <a:pt x="78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08"/>
                </a:lnTo>
                <a:lnTo>
                  <a:pt x="60" y="108"/>
                </a:lnTo>
                <a:lnTo>
                  <a:pt x="60" y="114"/>
                </a:lnTo>
                <a:lnTo>
                  <a:pt x="60" y="114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2"/>
                </a:lnTo>
                <a:lnTo>
                  <a:pt x="54" y="108"/>
                </a:lnTo>
                <a:lnTo>
                  <a:pt x="54" y="102"/>
                </a:lnTo>
                <a:lnTo>
                  <a:pt x="54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14"/>
                </a:lnTo>
                <a:lnTo>
                  <a:pt x="42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0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0" y="120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32"/>
                </a:lnTo>
                <a:lnTo>
                  <a:pt x="24" y="126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26"/>
                </a:lnTo>
                <a:lnTo>
                  <a:pt x="18" y="126"/>
                </a:lnTo>
                <a:lnTo>
                  <a:pt x="18" y="132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2" y="126"/>
                </a:lnTo>
                <a:lnTo>
                  <a:pt x="18" y="126"/>
                </a:lnTo>
                <a:lnTo>
                  <a:pt x="12" y="126"/>
                </a:lnTo>
                <a:lnTo>
                  <a:pt x="12" y="120"/>
                </a:lnTo>
                <a:lnTo>
                  <a:pt x="12" y="126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2"/>
                </a:lnTo>
                <a:lnTo>
                  <a:pt x="0" y="102"/>
                </a:lnTo>
                <a:lnTo>
                  <a:pt x="6" y="102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0"/>
                </a:lnTo>
                <a:lnTo>
                  <a:pt x="6" y="90"/>
                </a:lnTo>
                <a:lnTo>
                  <a:pt x="6" y="96"/>
                </a:lnTo>
                <a:lnTo>
                  <a:pt x="6" y="96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12" y="90"/>
                </a:lnTo>
                <a:lnTo>
                  <a:pt x="6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66"/>
                </a:lnTo>
                <a:lnTo>
                  <a:pt x="30" y="66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48"/>
                </a:lnTo>
                <a:lnTo>
                  <a:pt x="24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2"/>
                </a:lnTo>
                <a:lnTo>
                  <a:pt x="18" y="42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8" y="42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6" y="24"/>
                </a:lnTo>
                <a:lnTo>
                  <a:pt x="0" y="24"/>
                </a:lnTo>
                <a:lnTo>
                  <a:pt x="6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29" name="Freeform 462"/>
          <p:cNvSpPr>
            <a:spLocks/>
          </p:cNvSpPr>
          <p:nvPr/>
        </p:nvSpPr>
        <p:spPr bwMode="auto">
          <a:xfrm>
            <a:off x="6003880" y="4931592"/>
            <a:ext cx="147753" cy="77089"/>
          </a:xfrm>
          <a:custGeom>
            <a:avLst/>
            <a:gdLst>
              <a:gd name="T0" fmla="*/ 0 w 138"/>
              <a:gd name="T1" fmla="*/ 42 h 72"/>
              <a:gd name="T2" fmla="*/ 12 w 138"/>
              <a:gd name="T3" fmla="*/ 42 h 72"/>
              <a:gd name="T4" fmla="*/ 24 w 138"/>
              <a:gd name="T5" fmla="*/ 36 h 72"/>
              <a:gd name="T6" fmla="*/ 30 w 138"/>
              <a:gd name="T7" fmla="*/ 18 h 72"/>
              <a:gd name="T8" fmla="*/ 42 w 138"/>
              <a:gd name="T9" fmla="*/ 18 h 72"/>
              <a:gd name="T10" fmla="*/ 54 w 138"/>
              <a:gd name="T11" fmla="*/ 12 h 72"/>
              <a:gd name="T12" fmla="*/ 54 w 138"/>
              <a:gd name="T13" fmla="*/ 12 h 72"/>
              <a:gd name="T14" fmla="*/ 66 w 138"/>
              <a:gd name="T15" fmla="*/ 0 h 72"/>
              <a:gd name="T16" fmla="*/ 72 w 138"/>
              <a:gd name="T17" fmla="*/ 6 h 72"/>
              <a:gd name="T18" fmla="*/ 78 w 138"/>
              <a:gd name="T19" fmla="*/ 6 h 72"/>
              <a:gd name="T20" fmla="*/ 78 w 138"/>
              <a:gd name="T21" fmla="*/ 12 h 72"/>
              <a:gd name="T22" fmla="*/ 84 w 138"/>
              <a:gd name="T23" fmla="*/ 12 h 72"/>
              <a:gd name="T24" fmla="*/ 84 w 138"/>
              <a:gd name="T25" fmla="*/ 12 h 72"/>
              <a:gd name="T26" fmla="*/ 90 w 138"/>
              <a:gd name="T27" fmla="*/ 18 h 72"/>
              <a:gd name="T28" fmla="*/ 90 w 138"/>
              <a:gd name="T29" fmla="*/ 24 h 72"/>
              <a:gd name="T30" fmla="*/ 102 w 138"/>
              <a:gd name="T31" fmla="*/ 30 h 72"/>
              <a:gd name="T32" fmla="*/ 114 w 138"/>
              <a:gd name="T33" fmla="*/ 18 h 72"/>
              <a:gd name="T34" fmla="*/ 114 w 138"/>
              <a:gd name="T35" fmla="*/ 18 h 72"/>
              <a:gd name="T36" fmla="*/ 114 w 138"/>
              <a:gd name="T37" fmla="*/ 18 h 72"/>
              <a:gd name="T38" fmla="*/ 120 w 138"/>
              <a:gd name="T39" fmla="*/ 24 h 72"/>
              <a:gd name="T40" fmla="*/ 120 w 138"/>
              <a:gd name="T41" fmla="*/ 30 h 72"/>
              <a:gd name="T42" fmla="*/ 120 w 138"/>
              <a:gd name="T43" fmla="*/ 30 h 72"/>
              <a:gd name="T44" fmla="*/ 126 w 138"/>
              <a:gd name="T45" fmla="*/ 30 h 72"/>
              <a:gd name="T46" fmla="*/ 126 w 138"/>
              <a:gd name="T47" fmla="*/ 30 h 72"/>
              <a:gd name="T48" fmla="*/ 132 w 138"/>
              <a:gd name="T49" fmla="*/ 36 h 72"/>
              <a:gd name="T50" fmla="*/ 132 w 138"/>
              <a:gd name="T51" fmla="*/ 42 h 72"/>
              <a:gd name="T52" fmla="*/ 126 w 138"/>
              <a:gd name="T53" fmla="*/ 42 h 72"/>
              <a:gd name="T54" fmla="*/ 126 w 138"/>
              <a:gd name="T55" fmla="*/ 42 h 72"/>
              <a:gd name="T56" fmla="*/ 120 w 138"/>
              <a:gd name="T57" fmla="*/ 42 h 72"/>
              <a:gd name="T58" fmla="*/ 120 w 138"/>
              <a:gd name="T59" fmla="*/ 48 h 72"/>
              <a:gd name="T60" fmla="*/ 126 w 138"/>
              <a:gd name="T61" fmla="*/ 54 h 72"/>
              <a:gd name="T62" fmla="*/ 126 w 138"/>
              <a:gd name="T63" fmla="*/ 54 h 72"/>
              <a:gd name="T64" fmla="*/ 132 w 138"/>
              <a:gd name="T65" fmla="*/ 60 h 72"/>
              <a:gd name="T66" fmla="*/ 132 w 138"/>
              <a:gd name="T67" fmla="*/ 66 h 72"/>
              <a:gd name="T68" fmla="*/ 132 w 138"/>
              <a:gd name="T69" fmla="*/ 72 h 72"/>
              <a:gd name="T70" fmla="*/ 120 w 138"/>
              <a:gd name="T71" fmla="*/ 72 h 72"/>
              <a:gd name="T72" fmla="*/ 114 w 138"/>
              <a:gd name="T73" fmla="*/ 66 h 72"/>
              <a:gd name="T74" fmla="*/ 108 w 138"/>
              <a:gd name="T75" fmla="*/ 60 h 72"/>
              <a:gd name="T76" fmla="*/ 102 w 138"/>
              <a:gd name="T77" fmla="*/ 54 h 72"/>
              <a:gd name="T78" fmla="*/ 102 w 138"/>
              <a:gd name="T79" fmla="*/ 54 h 72"/>
              <a:gd name="T80" fmla="*/ 102 w 138"/>
              <a:gd name="T81" fmla="*/ 54 h 72"/>
              <a:gd name="T82" fmla="*/ 96 w 138"/>
              <a:gd name="T83" fmla="*/ 54 h 72"/>
              <a:gd name="T84" fmla="*/ 96 w 138"/>
              <a:gd name="T85" fmla="*/ 48 h 72"/>
              <a:gd name="T86" fmla="*/ 90 w 138"/>
              <a:gd name="T87" fmla="*/ 54 h 72"/>
              <a:gd name="T88" fmla="*/ 84 w 138"/>
              <a:gd name="T89" fmla="*/ 60 h 72"/>
              <a:gd name="T90" fmla="*/ 78 w 138"/>
              <a:gd name="T91" fmla="*/ 66 h 72"/>
              <a:gd name="T92" fmla="*/ 72 w 138"/>
              <a:gd name="T93" fmla="*/ 66 h 72"/>
              <a:gd name="T94" fmla="*/ 66 w 138"/>
              <a:gd name="T95" fmla="*/ 66 h 72"/>
              <a:gd name="T96" fmla="*/ 48 w 138"/>
              <a:gd name="T97" fmla="*/ 66 h 72"/>
              <a:gd name="T98" fmla="*/ 36 w 138"/>
              <a:gd name="T99" fmla="*/ 60 h 72"/>
              <a:gd name="T100" fmla="*/ 30 w 138"/>
              <a:gd name="T101" fmla="*/ 54 h 72"/>
              <a:gd name="T102" fmla="*/ 30 w 138"/>
              <a:gd name="T103" fmla="*/ 54 h 72"/>
              <a:gd name="T104" fmla="*/ 12 w 138"/>
              <a:gd name="T105" fmla="*/ 60 h 72"/>
              <a:gd name="T106" fmla="*/ 12 w 138"/>
              <a:gd name="T107" fmla="*/ 60 h 72"/>
              <a:gd name="T108" fmla="*/ 6 w 138"/>
              <a:gd name="T109" fmla="*/ 60 h 72"/>
              <a:gd name="T110" fmla="*/ 6 w 138"/>
              <a:gd name="T111" fmla="*/ 48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38" h="72">
                <a:moveTo>
                  <a:pt x="6" y="48"/>
                </a:moveTo>
                <a:lnTo>
                  <a:pt x="6" y="54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36"/>
                </a:lnTo>
                <a:lnTo>
                  <a:pt x="18" y="36"/>
                </a:lnTo>
                <a:lnTo>
                  <a:pt x="24" y="36"/>
                </a:lnTo>
                <a:lnTo>
                  <a:pt x="24" y="30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30" y="24"/>
                </a:lnTo>
                <a:lnTo>
                  <a:pt x="30" y="18"/>
                </a:lnTo>
                <a:lnTo>
                  <a:pt x="30" y="18"/>
                </a:lnTo>
                <a:lnTo>
                  <a:pt x="30" y="12"/>
                </a:lnTo>
                <a:lnTo>
                  <a:pt x="36" y="12"/>
                </a:lnTo>
                <a:lnTo>
                  <a:pt x="36" y="6"/>
                </a:lnTo>
                <a:lnTo>
                  <a:pt x="36" y="12"/>
                </a:lnTo>
                <a:lnTo>
                  <a:pt x="36" y="12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2"/>
                </a:lnTo>
                <a:lnTo>
                  <a:pt x="42" y="12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6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0"/>
                </a:lnTo>
                <a:lnTo>
                  <a:pt x="78" y="0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12"/>
                </a:lnTo>
                <a:lnTo>
                  <a:pt x="78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90" y="12"/>
                </a:lnTo>
                <a:lnTo>
                  <a:pt x="90" y="12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6" y="24"/>
                </a:lnTo>
                <a:lnTo>
                  <a:pt x="96" y="24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8" y="24"/>
                </a:lnTo>
                <a:lnTo>
                  <a:pt x="108" y="18"/>
                </a:lnTo>
                <a:lnTo>
                  <a:pt x="108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24"/>
                </a:lnTo>
                <a:lnTo>
                  <a:pt x="120" y="24"/>
                </a:lnTo>
                <a:lnTo>
                  <a:pt x="114" y="18"/>
                </a:lnTo>
                <a:lnTo>
                  <a:pt x="120" y="24"/>
                </a:lnTo>
                <a:lnTo>
                  <a:pt x="114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6"/>
                </a:lnTo>
                <a:lnTo>
                  <a:pt x="126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0" y="42"/>
                </a:lnTo>
                <a:lnTo>
                  <a:pt x="120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6" y="42"/>
                </a:lnTo>
                <a:lnTo>
                  <a:pt x="120" y="48"/>
                </a:lnTo>
                <a:lnTo>
                  <a:pt x="126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6" y="48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60"/>
                </a:lnTo>
                <a:lnTo>
                  <a:pt x="126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66"/>
                </a:lnTo>
                <a:lnTo>
                  <a:pt x="132" y="66"/>
                </a:lnTo>
                <a:lnTo>
                  <a:pt x="138" y="66"/>
                </a:lnTo>
                <a:lnTo>
                  <a:pt x="132" y="66"/>
                </a:lnTo>
                <a:lnTo>
                  <a:pt x="132" y="66"/>
                </a:lnTo>
                <a:lnTo>
                  <a:pt x="132" y="66"/>
                </a:lnTo>
                <a:lnTo>
                  <a:pt x="132" y="66"/>
                </a:lnTo>
                <a:lnTo>
                  <a:pt x="132" y="72"/>
                </a:lnTo>
                <a:lnTo>
                  <a:pt x="126" y="72"/>
                </a:lnTo>
                <a:lnTo>
                  <a:pt x="126" y="72"/>
                </a:lnTo>
                <a:lnTo>
                  <a:pt x="126" y="72"/>
                </a:lnTo>
                <a:lnTo>
                  <a:pt x="126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0"/>
                </a:lnTo>
                <a:lnTo>
                  <a:pt x="108" y="60"/>
                </a:lnTo>
                <a:lnTo>
                  <a:pt x="114" y="60"/>
                </a:lnTo>
                <a:lnTo>
                  <a:pt x="114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96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96" y="54"/>
                </a:lnTo>
                <a:lnTo>
                  <a:pt x="96" y="54"/>
                </a:lnTo>
                <a:lnTo>
                  <a:pt x="96" y="48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0" y="48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78" y="66"/>
                </a:lnTo>
                <a:lnTo>
                  <a:pt x="84" y="66"/>
                </a:lnTo>
                <a:lnTo>
                  <a:pt x="84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72"/>
                </a:lnTo>
                <a:lnTo>
                  <a:pt x="48" y="72"/>
                </a:lnTo>
                <a:lnTo>
                  <a:pt x="48" y="72"/>
                </a:lnTo>
                <a:lnTo>
                  <a:pt x="48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36" y="66"/>
                </a:lnTo>
                <a:lnTo>
                  <a:pt x="36" y="66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0" y="60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24" y="54"/>
                </a:lnTo>
                <a:lnTo>
                  <a:pt x="24" y="54"/>
                </a:lnTo>
                <a:lnTo>
                  <a:pt x="24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0" y="54"/>
                </a:lnTo>
                <a:lnTo>
                  <a:pt x="6" y="4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30" name="Freeform 463"/>
          <p:cNvSpPr>
            <a:spLocks/>
          </p:cNvSpPr>
          <p:nvPr/>
        </p:nvSpPr>
        <p:spPr bwMode="auto">
          <a:xfrm>
            <a:off x="5644133" y="5015105"/>
            <a:ext cx="398291" cy="346901"/>
          </a:xfrm>
          <a:custGeom>
            <a:avLst/>
            <a:gdLst>
              <a:gd name="T0" fmla="*/ 90 w 372"/>
              <a:gd name="T1" fmla="*/ 204 h 324"/>
              <a:gd name="T2" fmla="*/ 120 w 372"/>
              <a:gd name="T3" fmla="*/ 168 h 324"/>
              <a:gd name="T4" fmla="*/ 162 w 372"/>
              <a:gd name="T5" fmla="*/ 132 h 324"/>
              <a:gd name="T6" fmla="*/ 180 w 372"/>
              <a:gd name="T7" fmla="*/ 96 h 324"/>
              <a:gd name="T8" fmla="*/ 210 w 372"/>
              <a:gd name="T9" fmla="*/ 60 h 324"/>
              <a:gd name="T10" fmla="*/ 234 w 372"/>
              <a:gd name="T11" fmla="*/ 36 h 324"/>
              <a:gd name="T12" fmla="*/ 252 w 372"/>
              <a:gd name="T13" fmla="*/ 30 h 324"/>
              <a:gd name="T14" fmla="*/ 264 w 372"/>
              <a:gd name="T15" fmla="*/ 12 h 324"/>
              <a:gd name="T16" fmla="*/ 276 w 372"/>
              <a:gd name="T17" fmla="*/ 12 h 324"/>
              <a:gd name="T18" fmla="*/ 294 w 372"/>
              <a:gd name="T19" fmla="*/ 6 h 324"/>
              <a:gd name="T20" fmla="*/ 300 w 372"/>
              <a:gd name="T21" fmla="*/ 6 h 324"/>
              <a:gd name="T22" fmla="*/ 306 w 372"/>
              <a:gd name="T23" fmla="*/ 18 h 324"/>
              <a:gd name="T24" fmla="*/ 300 w 372"/>
              <a:gd name="T25" fmla="*/ 24 h 324"/>
              <a:gd name="T26" fmla="*/ 288 w 372"/>
              <a:gd name="T27" fmla="*/ 24 h 324"/>
              <a:gd name="T28" fmla="*/ 276 w 372"/>
              <a:gd name="T29" fmla="*/ 48 h 324"/>
              <a:gd name="T30" fmla="*/ 258 w 372"/>
              <a:gd name="T31" fmla="*/ 60 h 324"/>
              <a:gd name="T32" fmla="*/ 252 w 372"/>
              <a:gd name="T33" fmla="*/ 72 h 324"/>
              <a:gd name="T34" fmla="*/ 264 w 372"/>
              <a:gd name="T35" fmla="*/ 78 h 324"/>
              <a:gd name="T36" fmla="*/ 282 w 372"/>
              <a:gd name="T37" fmla="*/ 90 h 324"/>
              <a:gd name="T38" fmla="*/ 288 w 372"/>
              <a:gd name="T39" fmla="*/ 102 h 324"/>
              <a:gd name="T40" fmla="*/ 300 w 372"/>
              <a:gd name="T41" fmla="*/ 114 h 324"/>
              <a:gd name="T42" fmla="*/ 312 w 372"/>
              <a:gd name="T43" fmla="*/ 132 h 324"/>
              <a:gd name="T44" fmla="*/ 306 w 372"/>
              <a:gd name="T45" fmla="*/ 150 h 324"/>
              <a:gd name="T46" fmla="*/ 318 w 372"/>
              <a:gd name="T47" fmla="*/ 150 h 324"/>
              <a:gd name="T48" fmla="*/ 324 w 372"/>
              <a:gd name="T49" fmla="*/ 150 h 324"/>
              <a:gd name="T50" fmla="*/ 342 w 372"/>
              <a:gd name="T51" fmla="*/ 150 h 324"/>
              <a:gd name="T52" fmla="*/ 348 w 372"/>
              <a:gd name="T53" fmla="*/ 156 h 324"/>
              <a:gd name="T54" fmla="*/ 360 w 372"/>
              <a:gd name="T55" fmla="*/ 168 h 324"/>
              <a:gd name="T56" fmla="*/ 366 w 372"/>
              <a:gd name="T57" fmla="*/ 180 h 324"/>
              <a:gd name="T58" fmla="*/ 366 w 372"/>
              <a:gd name="T59" fmla="*/ 186 h 324"/>
              <a:gd name="T60" fmla="*/ 366 w 372"/>
              <a:gd name="T61" fmla="*/ 198 h 324"/>
              <a:gd name="T62" fmla="*/ 372 w 372"/>
              <a:gd name="T63" fmla="*/ 198 h 324"/>
              <a:gd name="T64" fmla="*/ 360 w 372"/>
              <a:gd name="T65" fmla="*/ 210 h 324"/>
              <a:gd name="T66" fmla="*/ 348 w 372"/>
              <a:gd name="T67" fmla="*/ 216 h 324"/>
              <a:gd name="T68" fmla="*/ 330 w 372"/>
              <a:gd name="T69" fmla="*/ 210 h 324"/>
              <a:gd name="T70" fmla="*/ 330 w 372"/>
              <a:gd name="T71" fmla="*/ 222 h 324"/>
              <a:gd name="T72" fmla="*/ 324 w 372"/>
              <a:gd name="T73" fmla="*/ 234 h 324"/>
              <a:gd name="T74" fmla="*/ 312 w 372"/>
              <a:gd name="T75" fmla="*/ 252 h 324"/>
              <a:gd name="T76" fmla="*/ 288 w 372"/>
              <a:gd name="T77" fmla="*/ 264 h 324"/>
              <a:gd name="T78" fmla="*/ 282 w 372"/>
              <a:gd name="T79" fmla="*/ 270 h 324"/>
              <a:gd name="T80" fmla="*/ 258 w 372"/>
              <a:gd name="T81" fmla="*/ 264 h 324"/>
              <a:gd name="T82" fmla="*/ 258 w 372"/>
              <a:gd name="T83" fmla="*/ 276 h 324"/>
              <a:gd name="T84" fmla="*/ 258 w 372"/>
              <a:gd name="T85" fmla="*/ 282 h 324"/>
              <a:gd name="T86" fmla="*/ 258 w 372"/>
              <a:gd name="T87" fmla="*/ 294 h 324"/>
              <a:gd name="T88" fmla="*/ 258 w 372"/>
              <a:gd name="T89" fmla="*/ 306 h 324"/>
              <a:gd name="T90" fmla="*/ 240 w 372"/>
              <a:gd name="T91" fmla="*/ 306 h 324"/>
              <a:gd name="T92" fmla="*/ 192 w 372"/>
              <a:gd name="T93" fmla="*/ 312 h 324"/>
              <a:gd name="T94" fmla="*/ 180 w 372"/>
              <a:gd name="T95" fmla="*/ 324 h 324"/>
              <a:gd name="T96" fmla="*/ 168 w 372"/>
              <a:gd name="T97" fmla="*/ 318 h 324"/>
              <a:gd name="T98" fmla="*/ 162 w 372"/>
              <a:gd name="T99" fmla="*/ 312 h 324"/>
              <a:gd name="T100" fmla="*/ 150 w 372"/>
              <a:gd name="T101" fmla="*/ 300 h 324"/>
              <a:gd name="T102" fmla="*/ 138 w 372"/>
              <a:gd name="T103" fmla="*/ 288 h 324"/>
              <a:gd name="T104" fmla="*/ 132 w 372"/>
              <a:gd name="T105" fmla="*/ 282 h 324"/>
              <a:gd name="T106" fmla="*/ 120 w 372"/>
              <a:gd name="T107" fmla="*/ 276 h 324"/>
              <a:gd name="T108" fmla="*/ 102 w 372"/>
              <a:gd name="T109" fmla="*/ 264 h 324"/>
              <a:gd name="T110" fmla="*/ 84 w 372"/>
              <a:gd name="T111" fmla="*/ 264 h 324"/>
              <a:gd name="T112" fmla="*/ 72 w 372"/>
              <a:gd name="T113" fmla="*/ 264 h 324"/>
              <a:gd name="T114" fmla="*/ 66 w 372"/>
              <a:gd name="T115" fmla="*/ 276 h 324"/>
              <a:gd name="T116" fmla="*/ 60 w 372"/>
              <a:gd name="T117" fmla="*/ 288 h 324"/>
              <a:gd name="T118" fmla="*/ 42 w 372"/>
              <a:gd name="T119" fmla="*/ 288 h 324"/>
              <a:gd name="T120" fmla="*/ 24 w 372"/>
              <a:gd name="T121" fmla="*/ 288 h 324"/>
              <a:gd name="T122" fmla="*/ 0 w 372"/>
              <a:gd name="T123" fmla="*/ 276 h 3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72" h="324">
                <a:moveTo>
                  <a:pt x="42" y="246"/>
                </a:moveTo>
                <a:lnTo>
                  <a:pt x="42" y="246"/>
                </a:lnTo>
                <a:lnTo>
                  <a:pt x="42" y="240"/>
                </a:lnTo>
                <a:lnTo>
                  <a:pt x="42" y="234"/>
                </a:lnTo>
                <a:lnTo>
                  <a:pt x="48" y="228"/>
                </a:lnTo>
                <a:lnTo>
                  <a:pt x="54" y="222"/>
                </a:lnTo>
                <a:lnTo>
                  <a:pt x="54" y="222"/>
                </a:lnTo>
                <a:lnTo>
                  <a:pt x="66" y="222"/>
                </a:lnTo>
                <a:lnTo>
                  <a:pt x="66" y="222"/>
                </a:lnTo>
                <a:lnTo>
                  <a:pt x="72" y="222"/>
                </a:lnTo>
                <a:lnTo>
                  <a:pt x="72" y="216"/>
                </a:lnTo>
                <a:lnTo>
                  <a:pt x="78" y="216"/>
                </a:lnTo>
                <a:lnTo>
                  <a:pt x="90" y="204"/>
                </a:lnTo>
                <a:lnTo>
                  <a:pt x="90" y="198"/>
                </a:lnTo>
                <a:lnTo>
                  <a:pt x="96" y="198"/>
                </a:lnTo>
                <a:lnTo>
                  <a:pt x="96" y="192"/>
                </a:lnTo>
                <a:lnTo>
                  <a:pt x="102" y="186"/>
                </a:lnTo>
                <a:lnTo>
                  <a:pt x="108" y="186"/>
                </a:lnTo>
                <a:lnTo>
                  <a:pt x="108" y="186"/>
                </a:lnTo>
                <a:lnTo>
                  <a:pt x="114" y="180"/>
                </a:lnTo>
                <a:lnTo>
                  <a:pt x="114" y="180"/>
                </a:lnTo>
                <a:lnTo>
                  <a:pt x="114" y="174"/>
                </a:lnTo>
                <a:lnTo>
                  <a:pt x="114" y="174"/>
                </a:lnTo>
                <a:lnTo>
                  <a:pt x="114" y="174"/>
                </a:lnTo>
                <a:lnTo>
                  <a:pt x="120" y="168"/>
                </a:lnTo>
                <a:lnTo>
                  <a:pt x="120" y="168"/>
                </a:lnTo>
                <a:lnTo>
                  <a:pt x="126" y="168"/>
                </a:lnTo>
                <a:lnTo>
                  <a:pt x="132" y="156"/>
                </a:lnTo>
                <a:lnTo>
                  <a:pt x="132" y="156"/>
                </a:lnTo>
                <a:lnTo>
                  <a:pt x="132" y="150"/>
                </a:lnTo>
                <a:lnTo>
                  <a:pt x="132" y="150"/>
                </a:lnTo>
                <a:lnTo>
                  <a:pt x="138" y="144"/>
                </a:lnTo>
                <a:lnTo>
                  <a:pt x="138" y="138"/>
                </a:lnTo>
                <a:lnTo>
                  <a:pt x="138" y="138"/>
                </a:lnTo>
                <a:lnTo>
                  <a:pt x="144" y="138"/>
                </a:lnTo>
                <a:lnTo>
                  <a:pt x="150" y="132"/>
                </a:lnTo>
                <a:lnTo>
                  <a:pt x="150" y="132"/>
                </a:lnTo>
                <a:lnTo>
                  <a:pt x="162" y="132"/>
                </a:lnTo>
                <a:lnTo>
                  <a:pt x="162" y="132"/>
                </a:lnTo>
                <a:lnTo>
                  <a:pt x="162" y="126"/>
                </a:lnTo>
                <a:lnTo>
                  <a:pt x="162" y="126"/>
                </a:lnTo>
                <a:lnTo>
                  <a:pt x="162" y="120"/>
                </a:lnTo>
                <a:lnTo>
                  <a:pt x="162" y="120"/>
                </a:lnTo>
                <a:lnTo>
                  <a:pt x="162" y="114"/>
                </a:lnTo>
                <a:lnTo>
                  <a:pt x="168" y="114"/>
                </a:lnTo>
                <a:lnTo>
                  <a:pt x="174" y="114"/>
                </a:lnTo>
                <a:lnTo>
                  <a:pt x="174" y="114"/>
                </a:lnTo>
                <a:lnTo>
                  <a:pt x="174" y="108"/>
                </a:lnTo>
                <a:lnTo>
                  <a:pt x="174" y="108"/>
                </a:lnTo>
                <a:lnTo>
                  <a:pt x="180" y="102"/>
                </a:lnTo>
                <a:lnTo>
                  <a:pt x="174" y="96"/>
                </a:lnTo>
                <a:lnTo>
                  <a:pt x="180" y="96"/>
                </a:lnTo>
                <a:lnTo>
                  <a:pt x="180" y="96"/>
                </a:lnTo>
                <a:lnTo>
                  <a:pt x="180" y="96"/>
                </a:lnTo>
                <a:lnTo>
                  <a:pt x="192" y="90"/>
                </a:lnTo>
                <a:lnTo>
                  <a:pt x="192" y="90"/>
                </a:lnTo>
                <a:lnTo>
                  <a:pt x="198" y="84"/>
                </a:lnTo>
                <a:lnTo>
                  <a:pt x="198" y="84"/>
                </a:lnTo>
                <a:lnTo>
                  <a:pt x="210" y="72"/>
                </a:lnTo>
                <a:lnTo>
                  <a:pt x="216" y="72"/>
                </a:lnTo>
                <a:lnTo>
                  <a:pt x="216" y="72"/>
                </a:lnTo>
                <a:lnTo>
                  <a:pt x="216" y="66"/>
                </a:lnTo>
                <a:lnTo>
                  <a:pt x="216" y="66"/>
                </a:lnTo>
                <a:lnTo>
                  <a:pt x="216" y="66"/>
                </a:lnTo>
                <a:lnTo>
                  <a:pt x="210" y="60"/>
                </a:lnTo>
                <a:lnTo>
                  <a:pt x="210" y="60"/>
                </a:lnTo>
                <a:lnTo>
                  <a:pt x="216" y="60"/>
                </a:lnTo>
                <a:lnTo>
                  <a:pt x="216" y="54"/>
                </a:lnTo>
                <a:lnTo>
                  <a:pt x="222" y="54"/>
                </a:lnTo>
                <a:lnTo>
                  <a:pt x="228" y="54"/>
                </a:lnTo>
                <a:lnTo>
                  <a:pt x="228" y="54"/>
                </a:lnTo>
                <a:lnTo>
                  <a:pt x="234" y="54"/>
                </a:lnTo>
                <a:lnTo>
                  <a:pt x="234" y="54"/>
                </a:lnTo>
                <a:lnTo>
                  <a:pt x="228" y="48"/>
                </a:lnTo>
                <a:lnTo>
                  <a:pt x="228" y="42"/>
                </a:lnTo>
                <a:lnTo>
                  <a:pt x="228" y="42"/>
                </a:lnTo>
                <a:lnTo>
                  <a:pt x="234" y="36"/>
                </a:lnTo>
                <a:lnTo>
                  <a:pt x="234" y="36"/>
                </a:lnTo>
                <a:lnTo>
                  <a:pt x="240" y="42"/>
                </a:lnTo>
                <a:lnTo>
                  <a:pt x="246" y="42"/>
                </a:lnTo>
                <a:lnTo>
                  <a:pt x="252" y="42"/>
                </a:lnTo>
                <a:lnTo>
                  <a:pt x="252" y="42"/>
                </a:lnTo>
                <a:lnTo>
                  <a:pt x="252" y="42"/>
                </a:lnTo>
                <a:lnTo>
                  <a:pt x="252" y="48"/>
                </a:lnTo>
                <a:lnTo>
                  <a:pt x="252" y="48"/>
                </a:lnTo>
                <a:lnTo>
                  <a:pt x="258" y="48"/>
                </a:lnTo>
                <a:lnTo>
                  <a:pt x="258" y="48"/>
                </a:lnTo>
                <a:lnTo>
                  <a:pt x="258" y="42"/>
                </a:lnTo>
                <a:lnTo>
                  <a:pt x="258" y="36"/>
                </a:lnTo>
                <a:lnTo>
                  <a:pt x="258" y="36"/>
                </a:lnTo>
                <a:lnTo>
                  <a:pt x="252" y="30"/>
                </a:lnTo>
                <a:lnTo>
                  <a:pt x="252" y="30"/>
                </a:lnTo>
                <a:lnTo>
                  <a:pt x="246" y="30"/>
                </a:lnTo>
                <a:lnTo>
                  <a:pt x="246" y="24"/>
                </a:lnTo>
                <a:lnTo>
                  <a:pt x="246" y="24"/>
                </a:lnTo>
                <a:lnTo>
                  <a:pt x="252" y="24"/>
                </a:lnTo>
                <a:lnTo>
                  <a:pt x="258" y="18"/>
                </a:lnTo>
                <a:lnTo>
                  <a:pt x="258" y="18"/>
                </a:lnTo>
                <a:lnTo>
                  <a:pt x="264" y="18"/>
                </a:lnTo>
                <a:lnTo>
                  <a:pt x="264" y="18"/>
                </a:lnTo>
                <a:lnTo>
                  <a:pt x="264" y="12"/>
                </a:lnTo>
                <a:lnTo>
                  <a:pt x="264" y="12"/>
                </a:lnTo>
                <a:lnTo>
                  <a:pt x="264" y="12"/>
                </a:lnTo>
                <a:lnTo>
                  <a:pt x="264" y="12"/>
                </a:lnTo>
                <a:lnTo>
                  <a:pt x="264" y="12"/>
                </a:lnTo>
                <a:lnTo>
                  <a:pt x="264" y="6"/>
                </a:lnTo>
                <a:lnTo>
                  <a:pt x="264" y="6"/>
                </a:lnTo>
                <a:lnTo>
                  <a:pt x="270" y="6"/>
                </a:lnTo>
                <a:lnTo>
                  <a:pt x="270" y="6"/>
                </a:lnTo>
                <a:lnTo>
                  <a:pt x="270" y="6"/>
                </a:lnTo>
                <a:lnTo>
                  <a:pt x="270" y="12"/>
                </a:lnTo>
                <a:lnTo>
                  <a:pt x="270" y="12"/>
                </a:lnTo>
                <a:lnTo>
                  <a:pt x="270" y="12"/>
                </a:lnTo>
                <a:lnTo>
                  <a:pt x="276" y="12"/>
                </a:lnTo>
                <a:lnTo>
                  <a:pt x="276" y="12"/>
                </a:lnTo>
                <a:lnTo>
                  <a:pt x="276" y="12"/>
                </a:lnTo>
                <a:lnTo>
                  <a:pt x="276" y="12"/>
                </a:lnTo>
                <a:lnTo>
                  <a:pt x="276" y="6"/>
                </a:lnTo>
                <a:lnTo>
                  <a:pt x="282" y="6"/>
                </a:lnTo>
                <a:lnTo>
                  <a:pt x="282" y="6"/>
                </a:lnTo>
                <a:lnTo>
                  <a:pt x="282" y="0"/>
                </a:lnTo>
                <a:lnTo>
                  <a:pt x="282" y="0"/>
                </a:lnTo>
                <a:lnTo>
                  <a:pt x="288" y="6"/>
                </a:lnTo>
                <a:lnTo>
                  <a:pt x="288" y="6"/>
                </a:lnTo>
                <a:lnTo>
                  <a:pt x="288" y="6"/>
                </a:lnTo>
                <a:lnTo>
                  <a:pt x="288" y="6"/>
                </a:lnTo>
                <a:lnTo>
                  <a:pt x="288" y="6"/>
                </a:lnTo>
                <a:lnTo>
                  <a:pt x="288" y="6"/>
                </a:lnTo>
                <a:lnTo>
                  <a:pt x="294" y="6"/>
                </a:lnTo>
                <a:lnTo>
                  <a:pt x="294" y="6"/>
                </a:lnTo>
                <a:lnTo>
                  <a:pt x="294" y="6"/>
                </a:lnTo>
                <a:lnTo>
                  <a:pt x="294" y="6"/>
                </a:lnTo>
                <a:lnTo>
                  <a:pt x="294" y="6"/>
                </a:lnTo>
                <a:lnTo>
                  <a:pt x="294" y="6"/>
                </a:lnTo>
                <a:lnTo>
                  <a:pt x="294" y="6"/>
                </a:lnTo>
                <a:lnTo>
                  <a:pt x="294" y="6"/>
                </a:lnTo>
                <a:lnTo>
                  <a:pt x="294" y="6"/>
                </a:lnTo>
                <a:lnTo>
                  <a:pt x="294" y="6"/>
                </a:lnTo>
                <a:lnTo>
                  <a:pt x="294" y="6"/>
                </a:lnTo>
                <a:lnTo>
                  <a:pt x="300" y="6"/>
                </a:lnTo>
                <a:lnTo>
                  <a:pt x="300" y="6"/>
                </a:lnTo>
                <a:lnTo>
                  <a:pt x="300" y="6"/>
                </a:lnTo>
                <a:lnTo>
                  <a:pt x="300" y="6"/>
                </a:lnTo>
                <a:lnTo>
                  <a:pt x="300" y="6"/>
                </a:lnTo>
                <a:lnTo>
                  <a:pt x="300" y="12"/>
                </a:lnTo>
                <a:lnTo>
                  <a:pt x="300" y="12"/>
                </a:lnTo>
                <a:lnTo>
                  <a:pt x="300" y="12"/>
                </a:lnTo>
                <a:lnTo>
                  <a:pt x="300" y="12"/>
                </a:lnTo>
                <a:lnTo>
                  <a:pt x="300" y="12"/>
                </a:lnTo>
                <a:lnTo>
                  <a:pt x="300" y="12"/>
                </a:lnTo>
                <a:lnTo>
                  <a:pt x="300" y="12"/>
                </a:lnTo>
                <a:lnTo>
                  <a:pt x="300" y="12"/>
                </a:lnTo>
                <a:lnTo>
                  <a:pt x="300" y="12"/>
                </a:lnTo>
                <a:lnTo>
                  <a:pt x="300" y="18"/>
                </a:lnTo>
                <a:lnTo>
                  <a:pt x="300" y="18"/>
                </a:lnTo>
                <a:lnTo>
                  <a:pt x="306" y="18"/>
                </a:lnTo>
                <a:lnTo>
                  <a:pt x="306" y="12"/>
                </a:lnTo>
                <a:lnTo>
                  <a:pt x="306" y="12"/>
                </a:lnTo>
                <a:lnTo>
                  <a:pt x="306" y="18"/>
                </a:lnTo>
                <a:lnTo>
                  <a:pt x="306" y="18"/>
                </a:lnTo>
                <a:lnTo>
                  <a:pt x="306" y="18"/>
                </a:lnTo>
                <a:lnTo>
                  <a:pt x="300" y="18"/>
                </a:lnTo>
                <a:lnTo>
                  <a:pt x="300" y="18"/>
                </a:lnTo>
                <a:lnTo>
                  <a:pt x="300" y="18"/>
                </a:lnTo>
                <a:lnTo>
                  <a:pt x="306" y="18"/>
                </a:lnTo>
                <a:lnTo>
                  <a:pt x="306" y="18"/>
                </a:lnTo>
                <a:lnTo>
                  <a:pt x="306" y="18"/>
                </a:lnTo>
                <a:lnTo>
                  <a:pt x="306" y="18"/>
                </a:lnTo>
                <a:lnTo>
                  <a:pt x="300" y="24"/>
                </a:lnTo>
                <a:lnTo>
                  <a:pt x="300" y="24"/>
                </a:lnTo>
                <a:lnTo>
                  <a:pt x="300" y="24"/>
                </a:lnTo>
                <a:lnTo>
                  <a:pt x="300" y="24"/>
                </a:lnTo>
                <a:lnTo>
                  <a:pt x="300" y="24"/>
                </a:lnTo>
                <a:lnTo>
                  <a:pt x="294" y="30"/>
                </a:lnTo>
                <a:lnTo>
                  <a:pt x="294" y="30"/>
                </a:lnTo>
                <a:lnTo>
                  <a:pt x="294" y="30"/>
                </a:lnTo>
                <a:lnTo>
                  <a:pt x="294" y="30"/>
                </a:lnTo>
                <a:lnTo>
                  <a:pt x="288" y="30"/>
                </a:lnTo>
                <a:lnTo>
                  <a:pt x="288" y="24"/>
                </a:lnTo>
                <a:lnTo>
                  <a:pt x="288" y="24"/>
                </a:lnTo>
                <a:lnTo>
                  <a:pt x="288" y="24"/>
                </a:lnTo>
                <a:lnTo>
                  <a:pt x="288" y="24"/>
                </a:lnTo>
                <a:lnTo>
                  <a:pt x="282" y="30"/>
                </a:lnTo>
                <a:lnTo>
                  <a:pt x="282" y="30"/>
                </a:lnTo>
                <a:lnTo>
                  <a:pt x="282" y="30"/>
                </a:lnTo>
                <a:lnTo>
                  <a:pt x="282" y="36"/>
                </a:lnTo>
                <a:lnTo>
                  <a:pt x="276" y="36"/>
                </a:lnTo>
                <a:lnTo>
                  <a:pt x="276" y="36"/>
                </a:lnTo>
                <a:lnTo>
                  <a:pt x="282" y="42"/>
                </a:lnTo>
                <a:lnTo>
                  <a:pt x="282" y="42"/>
                </a:lnTo>
                <a:lnTo>
                  <a:pt x="282" y="42"/>
                </a:lnTo>
                <a:lnTo>
                  <a:pt x="282" y="42"/>
                </a:lnTo>
                <a:lnTo>
                  <a:pt x="276" y="48"/>
                </a:lnTo>
                <a:lnTo>
                  <a:pt x="276" y="48"/>
                </a:lnTo>
                <a:lnTo>
                  <a:pt x="276" y="48"/>
                </a:lnTo>
                <a:lnTo>
                  <a:pt x="276" y="54"/>
                </a:lnTo>
                <a:lnTo>
                  <a:pt x="276" y="54"/>
                </a:lnTo>
                <a:lnTo>
                  <a:pt x="276" y="54"/>
                </a:lnTo>
                <a:lnTo>
                  <a:pt x="270" y="54"/>
                </a:lnTo>
                <a:lnTo>
                  <a:pt x="270" y="54"/>
                </a:lnTo>
                <a:lnTo>
                  <a:pt x="270" y="54"/>
                </a:lnTo>
                <a:lnTo>
                  <a:pt x="270" y="54"/>
                </a:lnTo>
                <a:lnTo>
                  <a:pt x="264" y="54"/>
                </a:lnTo>
                <a:lnTo>
                  <a:pt x="264" y="54"/>
                </a:lnTo>
                <a:lnTo>
                  <a:pt x="264" y="54"/>
                </a:lnTo>
                <a:lnTo>
                  <a:pt x="258" y="54"/>
                </a:lnTo>
                <a:lnTo>
                  <a:pt x="258" y="54"/>
                </a:lnTo>
                <a:lnTo>
                  <a:pt x="258" y="60"/>
                </a:lnTo>
                <a:lnTo>
                  <a:pt x="258" y="60"/>
                </a:lnTo>
                <a:lnTo>
                  <a:pt x="258" y="60"/>
                </a:lnTo>
                <a:lnTo>
                  <a:pt x="252" y="60"/>
                </a:lnTo>
                <a:lnTo>
                  <a:pt x="252" y="66"/>
                </a:lnTo>
                <a:lnTo>
                  <a:pt x="252" y="66"/>
                </a:lnTo>
                <a:lnTo>
                  <a:pt x="252" y="66"/>
                </a:lnTo>
                <a:lnTo>
                  <a:pt x="252" y="66"/>
                </a:lnTo>
                <a:lnTo>
                  <a:pt x="246" y="66"/>
                </a:lnTo>
                <a:lnTo>
                  <a:pt x="246" y="66"/>
                </a:lnTo>
                <a:lnTo>
                  <a:pt x="246" y="72"/>
                </a:lnTo>
                <a:lnTo>
                  <a:pt x="246" y="72"/>
                </a:lnTo>
                <a:lnTo>
                  <a:pt x="252" y="72"/>
                </a:lnTo>
                <a:lnTo>
                  <a:pt x="252" y="72"/>
                </a:lnTo>
                <a:lnTo>
                  <a:pt x="252" y="72"/>
                </a:lnTo>
                <a:lnTo>
                  <a:pt x="252" y="72"/>
                </a:lnTo>
                <a:lnTo>
                  <a:pt x="252" y="72"/>
                </a:lnTo>
                <a:lnTo>
                  <a:pt x="252" y="78"/>
                </a:lnTo>
                <a:lnTo>
                  <a:pt x="252" y="78"/>
                </a:lnTo>
                <a:lnTo>
                  <a:pt x="252" y="78"/>
                </a:lnTo>
                <a:lnTo>
                  <a:pt x="258" y="78"/>
                </a:lnTo>
                <a:lnTo>
                  <a:pt x="258" y="78"/>
                </a:lnTo>
                <a:lnTo>
                  <a:pt x="258" y="78"/>
                </a:lnTo>
                <a:lnTo>
                  <a:pt x="264" y="78"/>
                </a:lnTo>
                <a:lnTo>
                  <a:pt x="264" y="78"/>
                </a:lnTo>
                <a:lnTo>
                  <a:pt x="264" y="84"/>
                </a:lnTo>
                <a:lnTo>
                  <a:pt x="264" y="78"/>
                </a:lnTo>
                <a:lnTo>
                  <a:pt x="270" y="84"/>
                </a:lnTo>
                <a:lnTo>
                  <a:pt x="270" y="78"/>
                </a:lnTo>
                <a:lnTo>
                  <a:pt x="270" y="78"/>
                </a:lnTo>
                <a:lnTo>
                  <a:pt x="270" y="78"/>
                </a:lnTo>
                <a:lnTo>
                  <a:pt x="270" y="84"/>
                </a:lnTo>
                <a:lnTo>
                  <a:pt x="270" y="84"/>
                </a:lnTo>
                <a:lnTo>
                  <a:pt x="276" y="84"/>
                </a:lnTo>
                <a:lnTo>
                  <a:pt x="276" y="84"/>
                </a:lnTo>
                <a:lnTo>
                  <a:pt x="276" y="84"/>
                </a:lnTo>
                <a:lnTo>
                  <a:pt x="276" y="84"/>
                </a:lnTo>
                <a:lnTo>
                  <a:pt x="276" y="90"/>
                </a:lnTo>
                <a:lnTo>
                  <a:pt x="276" y="84"/>
                </a:lnTo>
                <a:lnTo>
                  <a:pt x="282" y="90"/>
                </a:lnTo>
                <a:lnTo>
                  <a:pt x="282" y="90"/>
                </a:lnTo>
                <a:lnTo>
                  <a:pt x="282" y="90"/>
                </a:lnTo>
                <a:lnTo>
                  <a:pt x="282" y="90"/>
                </a:lnTo>
                <a:lnTo>
                  <a:pt x="282" y="90"/>
                </a:lnTo>
                <a:lnTo>
                  <a:pt x="282" y="90"/>
                </a:lnTo>
                <a:lnTo>
                  <a:pt x="282" y="96"/>
                </a:lnTo>
                <a:lnTo>
                  <a:pt x="282" y="96"/>
                </a:lnTo>
                <a:lnTo>
                  <a:pt x="288" y="96"/>
                </a:lnTo>
                <a:lnTo>
                  <a:pt x="288" y="96"/>
                </a:lnTo>
                <a:lnTo>
                  <a:pt x="288" y="96"/>
                </a:lnTo>
                <a:lnTo>
                  <a:pt x="288" y="102"/>
                </a:lnTo>
                <a:lnTo>
                  <a:pt x="288" y="102"/>
                </a:lnTo>
                <a:lnTo>
                  <a:pt x="288" y="102"/>
                </a:lnTo>
                <a:lnTo>
                  <a:pt x="294" y="102"/>
                </a:lnTo>
                <a:lnTo>
                  <a:pt x="294" y="102"/>
                </a:lnTo>
                <a:lnTo>
                  <a:pt x="288" y="102"/>
                </a:lnTo>
                <a:lnTo>
                  <a:pt x="288" y="102"/>
                </a:lnTo>
                <a:lnTo>
                  <a:pt x="294" y="102"/>
                </a:lnTo>
                <a:lnTo>
                  <a:pt x="294" y="108"/>
                </a:lnTo>
                <a:lnTo>
                  <a:pt x="294" y="108"/>
                </a:lnTo>
                <a:lnTo>
                  <a:pt x="294" y="108"/>
                </a:lnTo>
                <a:lnTo>
                  <a:pt x="300" y="108"/>
                </a:lnTo>
                <a:lnTo>
                  <a:pt x="300" y="108"/>
                </a:lnTo>
                <a:lnTo>
                  <a:pt x="300" y="108"/>
                </a:lnTo>
                <a:lnTo>
                  <a:pt x="300" y="114"/>
                </a:lnTo>
                <a:lnTo>
                  <a:pt x="300" y="114"/>
                </a:lnTo>
                <a:lnTo>
                  <a:pt x="300" y="114"/>
                </a:lnTo>
                <a:lnTo>
                  <a:pt x="300" y="114"/>
                </a:lnTo>
                <a:lnTo>
                  <a:pt x="306" y="114"/>
                </a:lnTo>
                <a:lnTo>
                  <a:pt x="306" y="114"/>
                </a:lnTo>
                <a:lnTo>
                  <a:pt x="306" y="114"/>
                </a:lnTo>
                <a:lnTo>
                  <a:pt x="306" y="120"/>
                </a:lnTo>
                <a:lnTo>
                  <a:pt x="306" y="120"/>
                </a:lnTo>
                <a:lnTo>
                  <a:pt x="306" y="120"/>
                </a:lnTo>
                <a:lnTo>
                  <a:pt x="312" y="126"/>
                </a:lnTo>
                <a:lnTo>
                  <a:pt x="312" y="126"/>
                </a:lnTo>
                <a:lnTo>
                  <a:pt x="312" y="126"/>
                </a:lnTo>
                <a:lnTo>
                  <a:pt x="312" y="126"/>
                </a:lnTo>
                <a:lnTo>
                  <a:pt x="312" y="132"/>
                </a:lnTo>
                <a:lnTo>
                  <a:pt x="312" y="132"/>
                </a:lnTo>
                <a:lnTo>
                  <a:pt x="312" y="132"/>
                </a:lnTo>
                <a:lnTo>
                  <a:pt x="312" y="132"/>
                </a:lnTo>
                <a:lnTo>
                  <a:pt x="306" y="138"/>
                </a:lnTo>
                <a:lnTo>
                  <a:pt x="312" y="138"/>
                </a:lnTo>
                <a:lnTo>
                  <a:pt x="312" y="138"/>
                </a:lnTo>
                <a:lnTo>
                  <a:pt x="312" y="144"/>
                </a:lnTo>
                <a:lnTo>
                  <a:pt x="312" y="144"/>
                </a:lnTo>
                <a:lnTo>
                  <a:pt x="312" y="144"/>
                </a:lnTo>
                <a:lnTo>
                  <a:pt x="312" y="144"/>
                </a:lnTo>
                <a:lnTo>
                  <a:pt x="306" y="144"/>
                </a:lnTo>
                <a:lnTo>
                  <a:pt x="306" y="150"/>
                </a:lnTo>
                <a:lnTo>
                  <a:pt x="306" y="150"/>
                </a:lnTo>
                <a:lnTo>
                  <a:pt x="306" y="150"/>
                </a:lnTo>
                <a:lnTo>
                  <a:pt x="306" y="150"/>
                </a:lnTo>
                <a:lnTo>
                  <a:pt x="306" y="150"/>
                </a:lnTo>
                <a:lnTo>
                  <a:pt x="306" y="150"/>
                </a:lnTo>
                <a:lnTo>
                  <a:pt x="306" y="150"/>
                </a:lnTo>
                <a:lnTo>
                  <a:pt x="306" y="150"/>
                </a:lnTo>
                <a:lnTo>
                  <a:pt x="312" y="150"/>
                </a:lnTo>
                <a:lnTo>
                  <a:pt x="312" y="150"/>
                </a:lnTo>
                <a:lnTo>
                  <a:pt x="312" y="150"/>
                </a:lnTo>
                <a:lnTo>
                  <a:pt x="312" y="150"/>
                </a:lnTo>
                <a:lnTo>
                  <a:pt x="318" y="144"/>
                </a:lnTo>
                <a:lnTo>
                  <a:pt x="318" y="150"/>
                </a:lnTo>
                <a:lnTo>
                  <a:pt x="318" y="150"/>
                </a:lnTo>
                <a:lnTo>
                  <a:pt x="318" y="150"/>
                </a:lnTo>
                <a:lnTo>
                  <a:pt x="318" y="144"/>
                </a:lnTo>
                <a:lnTo>
                  <a:pt x="318" y="150"/>
                </a:lnTo>
                <a:lnTo>
                  <a:pt x="318" y="150"/>
                </a:lnTo>
                <a:lnTo>
                  <a:pt x="318" y="150"/>
                </a:lnTo>
                <a:lnTo>
                  <a:pt x="318" y="150"/>
                </a:lnTo>
                <a:lnTo>
                  <a:pt x="324" y="150"/>
                </a:lnTo>
                <a:lnTo>
                  <a:pt x="324" y="150"/>
                </a:lnTo>
                <a:lnTo>
                  <a:pt x="324" y="150"/>
                </a:lnTo>
                <a:lnTo>
                  <a:pt x="324" y="150"/>
                </a:lnTo>
                <a:lnTo>
                  <a:pt x="324" y="150"/>
                </a:lnTo>
                <a:lnTo>
                  <a:pt x="324" y="150"/>
                </a:lnTo>
                <a:lnTo>
                  <a:pt x="324" y="150"/>
                </a:lnTo>
                <a:lnTo>
                  <a:pt x="324" y="150"/>
                </a:lnTo>
                <a:lnTo>
                  <a:pt x="324" y="150"/>
                </a:lnTo>
                <a:lnTo>
                  <a:pt x="324" y="150"/>
                </a:lnTo>
                <a:lnTo>
                  <a:pt x="330" y="150"/>
                </a:lnTo>
                <a:lnTo>
                  <a:pt x="330" y="150"/>
                </a:lnTo>
                <a:lnTo>
                  <a:pt x="330" y="150"/>
                </a:lnTo>
                <a:lnTo>
                  <a:pt x="330" y="150"/>
                </a:lnTo>
                <a:lnTo>
                  <a:pt x="330" y="150"/>
                </a:lnTo>
                <a:lnTo>
                  <a:pt x="330" y="150"/>
                </a:lnTo>
                <a:lnTo>
                  <a:pt x="336" y="150"/>
                </a:lnTo>
                <a:lnTo>
                  <a:pt x="336" y="150"/>
                </a:lnTo>
                <a:lnTo>
                  <a:pt x="336" y="150"/>
                </a:lnTo>
                <a:lnTo>
                  <a:pt x="342" y="150"/>
                </a:lnTo>
                <a:lnTo>
                  <a:pt x="342" y="150"/>
                </a:lnTo>
                <a:lnTo>
                  <a:pt x="342" y="150"/>
                </a:lnTo>
                <a:lnTo>
                  <a:pt x="342" y="156"/>
                </a:lnTo>
                <a:lnTo>
                  <a:pt x="342" y="156"/>
                </a:lnTo>
                <a:lnTo>
                  <a:pt x="342" y="156"/>
                </a:lnTo>
                <a:lnTo>
                  <a:pt x="342" y="156"/>
                </a:lnTo>
                <a:lnTo>
                  <a:pt x="342" y="156"/>
                </a:lnTo>
                <a:lnTo>
                  <a:pt x="342" y="156"/>
                </a:lnTo>
                <a:lnTo>
                  <a:pt x="342" y="156"/>
                </a:lnTo>
                <a:lnTo>
                  <a:pt x="348" y="156"/>
                </a:lnTo>
                <a:lnTo>
                  <a:pt x="348" y="156"/>
                </a:lnTo>
                <a:lnTo>
                  <a:pt x="348" y="156"/>
                </a:lnTo>
                <a:lnTo>
                  <a:pt x="348" y="156"/>
                </a:lnTo>
                <a:lnTo>
                  <a:pt x="348" y="156"/>
                </a:lnTo>
                <a:lnTo>
                  <a:pt x="348" y="162"/>
                </a:lnTo>
                <a:lnTo>
                  <a:pt x="348" y="162"/>
                </a:lnTo>
                <a:lnTo>
                  <a:pt x="354" y="162"/>
                </a:lnTo>
                <a:lnTo>
                  <a:pt x="348" y="162"/>
                </a:lnTo>
                <a:lnTo>
                  <a:pt x="354" y="162"/>
                </a:lnTo>
                <a:lnTo>
                  <a:pt x="354" y="162"/>
                </a:lnTo>
                <a:lnTo>
                  <a:pt x="354" y="162"/>
                </a:lnTo>
                <a:lnTo>
                  <a:pt x="360" y="168"/>
                </a:lnTo>
                <a:lnTo>
                  <a:pt x="360" y="168"/>
                </a:lnTo>
                <a:lnTo>
                  <a:pt x="360" y="168"/>
                </a:lnTo>
                <a:lnTo>
                  <a:pt x="360" y="168"/>
                </a:lnTo>
                <a:lnTo>
                  <a:pt x="360" y="168"/>
                </a:lnTo>
                <a:lnTo>
                  <a:pt x="360" y="168"/>
                </a:lnTo>
                <a:lnTo>
                  <a:pt x="360" y="174"/>
                </a:lnTo>
                <a:lnTo>
                  <a:pt x="360" y="174"/>
                </a:lnTo>
                <a:lnTo>
                  <a:pt x="360" y="174"/>
                </a:lnTo>
                <a:lnTo>
                  <a:pt x="360" y="174"/>
                </a:lnTo>
                <a:lnTo>
                  <a:pt x="360" y="174"/>
                </a:lnTo>
                <a:lnTo>
                  <a:pt x="366" y="174"/>
                </a:lnTo>
                <a:lnTo>
                  <a:pt x="366" y="174"/>
                </a:lnTo>
                <a:lnTo>
                  <a:pt x="366" y="174"/>
                </a:lnTo>
                <a:lnTo>
                  <a:pt x="366" y="174"/>
                </a:lnTo>
                <a:lnTo>
                  <a:pt x="366" y="180"/>
                </a:lnTo>
                <a:lnTo>
                  <a:pt x="366" y="180"/>
                </a:lnTo>
                <a:lnTo>
                  <a:pt x="366" y="180"/>
                </a:lnTo>
                <a:lnTo>
                  <a:pt x="366" y="180"/>
                </a:lnTo>
                <a:lnTo>
                  <a:pt x="366" y="180"/>
                </a:lnTo>
                <a:lnTo>
                  <a:pt x="366" y="180"/>
                </a:lnTo>
                <a:lnTo>
                  <a:pt x="366" y="180"/>
                </a:lnTo>
                <a:lnTo>
                  <a:pt x="366" y="180"/>
                </a:lnTo>
                <a:lnTo>
                  <a:pt x="366" y="186"/>
                </a:lnTo>
                <a:lnTo>
                  <a:pt x="366" y="186"/>
                </a:lnTo>
                <a:lnTo>
                  <a:pt x="366" y="186"/>
                </a:lnTo>
                <a:lnTo>
                  <a:pt x="366" y="186"/>
                </a:lnTo>
                <a:lnTo>
                  <a:pt x="366" y="186"/>
                </a:lnTo>
                <a:lnTo>
                  <a:pt x="366" y="186"/>
                </a:lnTo>
                <a:lnTo>
                  <a:pt x="366" y="186"/>
                </a:lnTo>
                <a:lnTo>
                  <a:pt x="366" y="186"/>
                </a:lnTo>
                <a:lnTo>
                  <a:pt x="366" y="186"/>
                </a:lnTo>
                <a:lnTo>
                  <a:pt x="366" y="192"/>
                </a:lnTo>
                <a:lnTo>
                  <a:pt x="366" y="192"/>
                </a:lnTo>
                <a:lnTo>
                  <a:pt x="366" y="192"/>
                </a:lnTo>
                <a:lnTo>
                  <a:pt x="366" y="192"/>
                </a:lnTo>
                <a:lnTo>
                  <a:pt x="366" y="192"/>
                </a:lnTo>
                <a:lnTo>
                  <a:pt x="366" y="192"/>
                </a:lnTo>
                <a:lnTo>
                  <a:pt x="366" y="192"/>
                </a:lnTo>
                <a:lnTo>
                  <a:pt x="366" y="192"/>
                </a:lnTo>
                <a:lnTo>
                  <a:pt x="366" y="192"/>
                </a:lnTo>
                <a:lnTo>
                  <a:pt x="366" y="192"/>
                </a:lnTo>
                <a:lnTo>
                  <a:pt x="366" y="198"/>
                </a:lnTo>
                <a:lnTo>
                  <a:pt x="366" y="198"/>
                </a:lnTo>
                <a:lnTo>
                  <a:pt x="366" y="198"/>
                </a:lnTo>
                <a:lnTo>
                  <a:pt x="372" y="198"/>
                </a:lnTo>
                <a:lnTo>
                  <a:pt x="372" y="198"/>
                </a:lnTo>
                <a:lnTo>
                  <a:pt x="372" y="198"/>
                </a:lnTo>
                <a:lnTo>
                  <a:pt x="372" y="198"/>
                </a:lnTo>
                <a:lnTo>
                  <a:pt x="372" y="198"/>
                </a:lnTo>
                <a:lnTo>
                  <a:pt x="372" y="198"/>
                </a:lnTo>
                <a:lnTo>
                  <a:pt x="372" y="198"/>
                </a:lnTo>
                <a:lnTo>
                  <a:pt x="372" y="198"/>
                </a:lnTo>
                <a:lnTo>
                  <a:pt x="372" y="198"/>
                </a:lnTo>
                <a:lnTo>
                  <a:pt x="372" y="198"/>
                </a:lnTo>
                <a:lnTo>
                  <a:pt x="372" y="198"/>
                </a:lnTo>
                <a:lnTo>
                  <a:pt x="372" y="198"/>
                </a:lnTo>
                <a:lnTo>
                  <a:pt x="372" y="198"/>
                </a:lnTo>
                <a:lnTo>
                  <a:pt x="372" y="204"/>
                </a:lnTo>
                <a:lnTo>
                  <a:pt x="372" y="204"/>
                </a:lnTo>
                <a:lnTo>
                  <a:pt x="372" y="204"/>
                </a:lnTo>
                <a:lnTo>
                  <a:pt x="372" y="204"/>
                </a:lnTo>
                <a:lnTo>
                  <a:pt x="372" y="204"/>
                </a:lnTo>
                <a:lnTo>
                  <a:pt x="366" y="204"/>
                </a:lnTo>
                <a:lnTo>
                  <a:pt x="366" y="210"/>
                </a:lnTo>
                <a:lnTo>
                  <a:pt x="366" y="210"/>
                </a:lnTo>
                <a:lnTo>
                  <a:pt x="366" y="210"/>
                </a:lnTo>
                <a:lnTo>
                  <a:pt x="366" y="210"/>
                </a:lnTo>
                <a:lnTo>
                  <a:pt x="366" y="210"/>
                </a:lnTo>
                <a:lnTo>
                  <a:pt x="360" y="210"/>
                </a:lnTo>
                <a:lnTo>
                  <a:pt x="360" y="210"/>
                </a:lnTo>
                <a:lnTo>
                  <a:pt x="354" y="210"/>
                </a:lnTo>
                <a:lnTo>
                  <a:pt x="354" y="210"/>
                </a:lnTo>
                <a:lnTo>
                  <a:pt x="354" y="210"/>
                </a:lnTo>
                <a:lnTo>
                  <a:pt x="354" y="210"/>
                </a:lnTo>
                <a:lnTo>
                  <a:pt x="354" y="210"/>
                </a:lnTo>
                <a:lnTo>
                  <a:pt x="354" y="210"/>
                </a:lnTo>
                <a:lnTo>
                  <a:pt x="348" y="210"/>
                </a:lnTo>
                <a:lnTo>
                  <a:pt x="348" y="210"/>
                </a:lnTo>
                <a:lnTo>
                  <a:pt x="348" y="216"/>
                </a:lnTo>
                <a:lnTo>
                  <a:pt x="348" y="216"/>
                </a:lnTo>
                <a:lnTo>
                  <a:pt x="348" y="216"/>
                </a:lnTo>
                <a:lnTo>
                  <a:pt x="348" y="216"/>
                </a:lnTo>
                <a:lnTo>
                  <a:pt x="342" y="216"/>
                </a:lnTo>
                <a:lnTo>
                  <a:pt x="342" y="216"/>
                </a:lnTo>
                <a:lnTo>
                  <a:pt x="342" y="216"/>
                </a:lnTo>
                <a:lnTo>
                  <a:pt x="342" y="210"/>
                </a:lnTo>
                <a:lnTo>
                  <a:pt x="336" y="210"/>
                </a:lnTo>
                <a:lnTo>
                  <a:pt x="336" y="210"/>
                </a:lnTo>
                <a:lnTo>
                  <a:pt x="336" y="210"/>
                </a:lnTo>
                <a:lnTo>
                  <a:pt x="336" y="210"/>
                </a:lnTo>
                <a:lnTo>
                  <a:pt x="336" y="204"/>
                </a:lnTo>
                <a:lnTo>
                  <a:pt x="336" y="204"/>
                </a:lnTo>
                <a:lnTo>
                  <a:pt x="336" y="210"/>
                </a:lnTo>
                <a:lnTo>
                  <a:pt x="330" y="210"/>
                </a:lnTo>
                <a:lnTo>
                  <a:pt x="330" y="210"/>
                </a:lnTo>
                <a:lnTo>
                  <a:pt x="330" y="210"/>
                </a:lnTo>
                <a:lnTo>
                  <a:pt x="330" y="210"/>
                </a:lnTo>
                <a:lnTo>
                  <a:pt x="330" y="210"/>
                </a:lnTo>
                <a:lnTo>
                  <a:pt x="330" y="210"/>
                </a:lnTo>
                <a:lnTo>
                  <a:pt x="330" y="210"/>
                </a:lnTo>
                <a:lnTo>
                  <a:pt x="330" y="210"/>
                </a:lnTo>
                <a:lnTo>
                  <a:pt x="330" y="216"/>
                </a:lnTo>
                <a:lnTo>
                  <a:pt x="330" y="216"/>
                </a:lnTo>
                <a:lnTo>
                  <a:pt x="330" y="222"/>
                </a:lnTo>
                <a:lnTo>
                  <a:pt x="330" y="222"/>
                </a:lnTo>
                <a:lnTo>
                  <a:pt x="330" y="222"/>
                </a:lnTo>
                <a:lnTo>
                  <a:pt x="330" y="222"/>
                </a:lnTo>
                <a:lnTo>
                  <a:pt x="330" y="222"/>
                </a:lnTo>
                <a:lnTo>
                  <a:pt x="330" y="222"/>
                </a:lnTo>
                <a:lnTo>
                  <a:pt x="330" y="222"/>
                </a:lnTo>
                <a:lnTo>
                  <a:pt x="330" y="228"/>
                </a:lnTo>
                <a:lnTo>
                  <a:pt x="330" y="228"/>
                </a:lnTo>
                <a:lnTo>
                  <a:pt x="330" y="228"/>
                </a:lnTo>
                <a:lnTo>
                  <a:pt x="330" y="228"/>
                </a:lnTo>
                <a:lnTo>
                  <a:pt x="324" y="228"/>
                </a:lnTo>
                <a:lnTo>
                  <a:pt x="330" y="234"/>
                </a:lnTo>
                <a:lnTo>
                  <a:pt x="330" y="234"/>
                </a:lnTo>
                <a:lnTo>
                  <a:pt x="330" y="234"/>
                </a:lnTo>
                <a:lnTo>
                  <a:pt x="324" y="234"/>
                </a:lnTo>
                <a:lnTo>
                  <a:pt x="324" y="234"/>
                </a:lnTo>
                <a:lnTo>
                  <a:pt x="324" y="234"/>
                </a:lnTo>
                <a:lnTo>
                  <a:pt x="324" y="234"/>
                </a:lnTo>
                <a:lnTo>
                  <a:pt x="324" y="234"/>
                </a:lnTo>
                <a:lnTo>
                  <a:pt x="324" y="240"/>
                </a:lnTo>
                <a:lnTo>
                  <a:pt x="318" y="240"/>
                </a:lnTo>
                <a:lnTo>
                  <a:pt x="318" y="240"/>
                </a:lnTo>
                <a:lnTo>
                  <a:pt x="318" y="240"/>
                </a:lnTo>
                <a:lnTo>
                  <a:pt x="318" y="246"/>
                </a:lnTo>
                <a:lnTo>
                  <a:pt x="318" y="246"/>
                </a:lnTo>
                <a:lnTo>
                  <a:pt x="312" y="246"/>
                </a:lnTo>
                <a:lnTo>
                  <a:pt x="312" y="252"/>
                </a:lnTo>
                <a:lnTo>
                  <a:pt x="312" y="252"/>
                </a:lnTo>
                <a:lnTo>
                  <a:pt x="312" y="252"/>
                </a:lnTo>
                <a:lnTo>
                  <a:pt x="312" y="252"/>
                </a:lnTo>
                <a:lnTo>
                  <a:pt x="312" y="258"/>
                </a:lnTo>
                <a:lnTo>
                  <a:pt x="312" y="258"/>
                </a:lnTo>
                <a:lnTo>
                  <a:pt x="312" y="258"/>
                </a:lnTo>
                <a:lnTo>
                  <a:pt x="312" y="258"/>
                </a:lnTo>
                <a:lnTo>
                  <a:pt x="312" y="258"/>
                </a:lnTo>
                <a:lnTo>
                  <a:pt x="312" y="258"/>
                </a:lnTo>
                <a:lnTo>
                  <a:pt x="306" y="258"/>
                </a:lnTo>
                <a:lnTo>
                  <a:pt x="306" y="264"/>
                </a:lnTo>
                <a:lnTo>
                  <a:pt x="300" y="264"/>
                </a:lnTo>
                <a:lnTo>
                  <a:pt x="300" y="264"/>
                </a:lnTo>
                <a:lnTo>
                  <a:pt x="294" y="264"/>
                </a:lnTo>
                <a:lnTo>
                  <a:pt x="294" y="264"/>
                </a:lnTo>
                <a:lnTo>
                  <a:pt x="288" y="264"/>
                </a:lnTo>
                <a:lnTo>
                  <a:pt x="288" y="264"/>
                </a:lnTo>
                <a:lnTo>
                  <a:pt x="288" y="264"/>
                </a:lnTo>
                <a:lnTo>
                  <a:pt x="288" y="264"/>
                </a:lnTo>
                <a:lnTo>
                  <a:pt x="288" y="264"/>
                </a:lnTo>
                <a:lnTo>
                  <a:pt x="288" y="264"/>
                </a:lnTo>
                <a:lnTo>
                  <a:pt x="288" y="264"/>
                </a:lnTo>
                <a:lnTo>
                  <a:pt x="288" y="264"/>
                </a:lnTo>
                <a:lnTo>
                  <a:pt x="282" y="264"/>
                </a:lnTo>
                <a:lnTo>
                  <a:pt x="282" y="264"/>
                </a:lnTo>
                <a:lnTo>
                  <a:pt x="282" y="270"/>
                </a:lnTo>
                <a:lnTo>
                  <a:pt x="282" y="270"/>
                </a:lnTo>
                <a:lnTo>
                  <a:pt x="282" y="270"/>
                </a:lnTo>
                <a:lnTo>
                  <a:pt x="282" y="270"/>
                </a:lnTo>
                <a:lnTo>
                  <a:pt x="276" y="270"/>
                </a:lnTo>
                <a:lnTo>
                  <a:pt x="276" y="270"/>
                </a:lnTo>
                <a:lnTo>
                  <a:pt x="276" y="270"/>
                </a:lnTo>
                <a:lnTo>
                  <a:pt x="276" y="276"/>
                </a:lnTo>
                <a:lnTo>
                  <a:pt x="276" y="276"/>
                </a:lnTo>
                <a:lnTo>
                  <a:pt x="276" y="270"/>
                </a:lnTo>
                <a:lnTo>
                  <a:pt x="270" y="270"/>
                </a:lnTo>
                <a:lnTo>
                  <a:pt x="270" y="270"/>
                </a:lnTo>
                <a:lnTo>
                  <a:pt x="264" y="270"/>
                </a:lnTo>
                <a:lnTo>
                  <a:pt x="264" y="270"/>
                </a:lnTo>
                <a:lnTo>
                  <a:pt x="264" y="270"/>
                </a:lnTo>
                <a:lnTo>
                  <a:pt x="264" y="270"/>
                </a:lnTo>
                <a:lnTo>
                  <a:pt x="258" y="264"/>
                </a:lnTo>
                <a:lnTo>
                  <a:pt x="258" y="264"/>
                </a:lnTo>
                <a:lnTo>
                  <a:pt x="258" y="264"/>
                </a:lnTo>
                <a:lnTo>
                  <a:pt x="258" y="270"/>
                </a:lnTo>
                <a:lnTo>
                  <a:pt x="258" y="270"/>
                </a:lnTo>
                <a:lnTo>
                  <a:pt x="258" y="270"/>
                </a:lnTo>
                <a:lnTo>
                  <a:pt x="258" y="270"/>
                </a:lnTo>
                <a:lnTo>
                  <a:pt x="258" y="270"/>
                </a:lnTo>
                <a:lnTo>
                  <a:pt x="264" y="270"/>
                </a:lnTo>
                <a:lnTo>
                  <a:pt x="264" y="270"/>
                </a:lnTo>
                <a:lnTo>
                  <a:pt x="258" y="270"/>
                </a:lnTo>
                <a:lnTo>
                  <a:pt x="258" y="270"/>
                </a:lnTo>
                <a:lnTo>
                  <a:pt x="264" y="276"/>
                </a:lnTo>
                <a:lnTo>
                  <a:pt x="258" y="276"/>
                </a:lnTo>
                <a:lnTo>
                  <a:pt x="258" y="276"/>
                </a:lnTo>
                <a:lnTo>
                  <a:pt x="258" y="276"/>
                </a:lnTo>
                <a:lnTo>
                  <a:pt x="258" y="276"/>
                </a:lnTo>
                <a:lnTo>
                  <a:pt x="264" y="276"/>
                </a:lnTo>
                <a:lnTo>
                  <a:pt x="258" y="276"/>
                </a:lnTo>
                <a:lnTo>
                  <a:pt x="258" y="276"/>
                </a:lnTo>
                <a:lnTo>
                  <a:pt x="258" y="276"/>
                </a:lnTo>
                <a:lnTo>
                  <a:pt x="258" y="276"/>
                </a:lnTo>
                <a:lnTo>
                  <a:pt x="258" y="282"/>
                </a:lnTo>
                <a:lnTo>
                  <a:pt x="264" y="282"/>
                </a:lnTo>
                <a:lnTo>
                  <a:pt x="264" y="282"/>
                </a:lnTo>
                <a:lnTo>
                  <a:pt x="264" y="282"/>
                </a:lnTo>
                <a:lnTo>
                  <a:pt x="258" y="282"/>
                </a:lnTo>
                <a:lnTo>
                  <a:pt x="258" y="282"/>
                </a:lnTo>
                <a:lnTo>
                  <a:pt x="258" y="282"/>
                </a:lnTo>
                <a:lnTo>
                  <a:pt x="258" y="282"/>
                </a:lnTo>
                <a:lnTo>
                  <a:pt x="258" y="282"/>
                </a:lnTo>
                <a:lnTo>
                  <a:pt x="258" y="288"/>
                </a:lnTo>
                <a:lnTo>
                  <a:pt x="258" y="282"/>
                </a:lnTo>
                <a:lnTo>
                  <a:pt x="258" y="288"/>
                </a:lnTo>
                <a:lnTo>
                  <a:pt x="258" y="288"/>
                </a:lnTo>
                <a:lnTo>
                  <a:pt x="258" y="288"/>
                </a:lnTo>
                <a:lnTo>
                  <a:pt x="258" y="288"/>
                </a:lnTo>
                <a:lnTo>
                  <a:pt x="258" y="288"/>
                </a:lnTo>
                <a:lnTo>
                  <a:pt x="258" y="288"/>
                </a:lnTo>
                <a:lnTo>
                  <a:pt x="258" y="294"/>
                </a:lnTo>
                <a:lnTo>
                  <a:pt x="258" y="294"/>
                </a:lnTo>
                <a:lnTo>
                  <a:pt x="258" y="294"/>
                </a:lnTo>
                <a:lnTo>
                  <a:pt x="258" y="294"/>
                </a:lnTo>
                <a:lnTo>
                  <a:pt x="258" y="294"/>
                </a:lnTo>
                <a:lnTo>
                  <a:pt x="258" y="294"/>
                </a:lnTo>
                <a:lnTo>
                  <a:pt x="258" y="294"/>
                </a:lnTo>
                <a:lnTo>
                  <a:pt x="258" y="300"/>
                </a:lnTo>
                <a:lnTo>
                  <a:pt x="258" y="300"/>
                </a:lnTo>
                <a:lnTo>
                  <a:pt x="258" y="300"/>
                </a:lnTo>
                <a:lnTo>
                  <a:pt x="258" y="300"/>
                </a:lnTo>
                <a:lnTo>
                  <a:pt x="258" y="300"/>
                </a:lnTo>
                <a:lnTo>
                  <a:pt x="258" y="300"/>
                </a:lnTo>
                <a:lnTo>
                  <a:pt x="258" y="306"/>
                </a:lnTo>
                <a:lnTo>
                  <a:pt x="252" y="306"/>
                </a:lnTo>
                <a:lnTo>
                  <a:pt x="252" y="306"/>
                </a:lnTo>
                <a:lnTo>
                  <a:pt x="252" y="306"/>
                </a:lnTo>
                <a:lnTo>
                  <a:pt x="252" y="306"/>
                </a:lnTo>
                <a:lnTo>
                  <a:pt x="252" y="306"/>
                </a:lnTo>
                <a:lnTo>
                  <a:pt x="246" y="306"/>
                </a:lnTo>
                <a:lnTo>
                  <a:pt x="246" y="306"/>
                </a:lnTo>
                <a:lnTo>
                  <a:pt x="246" y="306"/>
                </a:lnTo>
                <a:lnTo>
                  <a:pt x="246" y="306"/>
                </a:lnTo>
                <a:lnTo>
                  <a:pt x="240" y="306"/>
                </a:lnTo>
                <a:lnTo>
                  <a:pt x="240" y="306"/>
                </a:lnTo>
                <a:lnTo>
                  <a:pt x="240" y="306"/>
                </a:lnTo>
                <a:lnTo>
                  <a:pt x="240" y="306"/>
                </a:lnTo>
                <a:lnTo>
                  <a:pt x="234" y="306"/>
                </a:lnTo>
                <a:lnTo>
                  <a:pt x="234" y="306"/>
                </a:lnTo>
                <a:lnTo>
                  <a:pt x="228" y="306"/>
                </a:lnTo>
                <a:lnTo>
                  <a:pt x="228" y="306"/>
                </a:lnTo>
                <a:lnTo>
                  <a:pt x="222" y="306"/>
                </a:lnTo>
                <a:lnTo>
                  <a:pt x="210" y="312"/>
                </a:lnTo>
                <a:lnTo>
                  <a:pt x="210" y="312"/>
                </a:lnTo>
                <a:lnTo>
                  <a:pt x="204" y="312"/>
                </a:lnTo>
                <a:lnTo>
                  <a:pt x="204" y="312"/>
                </a:lnTo>
                <a:lnTo>
                  <a:pt x="198" y="312"/>
                </a:lnTo>
                <a:lnTo>
                  <a:pt x="198" y="312"/>
                </a:lnTo>
                <a:lnTo>
                  <a:pt x="198" y="312"/>
                </a:lnTo>
                <a:lnTo>
                  <a:pt x="192" y="312"/>
                </a:lnTo>
                <a:lnTo>
                  <a:pt x="192" y="312"/>
                </a:lnTo>
                <a:lnTo>
                  <a:pt x="192" y="312"/>
                </a:lnTo>
                <a:lnTo>
                  <a:pt x="192" y="312"/>
                </a:lnTo>
                <a:lnTo>
                  <a:pt x="192" y="318"/>
                </a:lnTo>
                <a:lnTo>
                  <a:pt x="192" y="318"/>
                </a:lnTo>
                <a:lnTo>
                  <a:pt x="186" y="318"/>
                </a:lnTo>
                <a:lnTo>
                  <a:pt x="186" y="318"/>
                </a:lnTo>
                <a:lnTo>
                  <a:pt x="186" y="318"/>
                </a:lnTo>
                <a:lnTo>
                  <a:pt x="186" y="318"/>
                </a:lnTo>
                <a:lnTo>
                  <a:pt x="186" y="318"/>
                </a:lnTo>
                <a:lnTo>
                  <a:pt x="186" y="318"/>
                </a:lnTo>
                <a:lnTo>
                  <a:pt x="180" y="318"/>
                </a:lnTo>
                <a:lnTo>
                  <a:pt x="180" y="324"/>
                </a:lnTo>
                <a:lnTo>
                  <a:pt x="180" y="324"/>
                </a:lnTo>
                <a:lnTo>
                  <a:pt x="180" y="324"/>
                </a:lnTo>
                <a:lnTo>
                  <a:pt x="180" y="324"/>
                </a:lnTo>
                <a:lnTo>
                  <a:pt x="180" y="318"/>
                </a:lnTo>
                <a:lnTo>
                  <a:pt x="180" y="318"/>
                </a:lnTo>
                <a:lnTo>
                  <a:pt x="174" y="324"/>
                </a:lnTo>
                <a:lnTo>
                  <a:pt x="174" y="324"/>
                </a:lnTo>
                <a:lnTo>
                  <a:pt x="174" y="318"/>
                </a:lnTo>
                <a:lnTo>
                  <a:pt x="174" y="318"/>
                </a:lnTo>
                <a:lnTo>
                  <a:pt x="168" y="318"/>
                </a:lnTo>
                <a:lnTo>
                  <a:pt x="168" y="318"/>
                </a:lnTo>
                <a:lnTo>
                  <a:pt x="168" y="318"/>
                </a:lnTo>
                <a:lnTo>
                  <a:pt x="168" y="318"/>
                </a:lnTo>
                <a:lnTo>
                  <a:pt x="168" y="318"/>
                </a:lnTo>
                <a:lnTo>
                  <a:pt x="168" y="318"/>
                </a:lnTo>
                <a:lnTo>
                  <a:pt x="168" y="318"/>
                </a:lnTo>
                <a:lnTo>
                  <a:pt x="168" y="318"/>
                </a:lnTo>
                <a:lnTo>
                  <a:pt x="168" y="318"/>
                </a:lnTo>
                <a:lnTo>
                  <a:pt x="168" y="318"/>
                </a:lnTo>
                <a:lnTo>
                  <a:pt x="162" y="318"/>
                </a:lnTo>
                <a:lnTo>
                  <a:pt x="162" y="312"/>
                </a:lnTo>
                <a:lnTo>
                  <a:pt x="162" y="312"/>
                </a:lnTo>
                <a:lnTo>
                  <a:pt x="162" y="312"/>
                </a:lnTo>
                <a:lnTo>
                  <a:pt x="162" y="312"/>
                </a:lnTo>
                <a:lnTo>
                  <a:pt x="162" y="312"/>
                </a:lnTo>
                <a:lnTo>
                  <a:pt x="162" y="312"/>
                </a:lnTo>
                <a:lnTo>
                  <a:pt x="162" y="312"/>
                </a:lnTo>
                <a:lnTo>
                  <a:pt x="162" y="306"/>
                </a:lnTo>
                <a:lnTo>
                  <a:pt x="162" y="312"/>
                </a:lnTo>
                <a:lnTo>
                  <a:pt x="156" y="306"/>
                </a:lnTo>
                <a:lnTo>
                  <a:pt x="156" y="306"/>
                </a:lnTo>
                <a:lnTo>
                  <a:pt x="156" y="306"/>
                </a:lnTo>
                <a:lnTo>
                  <a:pt x="156" y="306"/>
                </a:lnTo>
                <a:lnTo>
                  <a:pt x="156" y="300"/>
                </a:lnTo>
                <a:lnTo>
                  <a:pt x="156" y="306"/>
                </a:lnTo>
                <a:lnTo>
                  <a:pt x="150" y="306"/>
                </a:lnTo>
                <a:lnTo>
                  <a:pt x="150" y="306"/>
                </a:lnTo>
                <a:lnTo>
                  <a:pt x="150" y="300"/>
                </a:lnTo>
                <a:lnTo>
                  <a:pt x="150" y="300"/>
                </a:lnTo>
                <a:lnTo>
                  <a:pt x="150" y="300"/>
                </a:lnTo>
                <a:lnTo>
                  <a:pt x="150" y="300"/>
                </a:lnTo>
                <a:lnTo>
                  <a:pt x="150" y="300"/>
                </a:lnTo>
                <a:lnTo>
                  <a:pt x="144" y="300"/>
                </a:lnTo>
                <a:lnTo>
                  <a:pt x="144" y="300"/>
                </a:lnTo>
                <a:lnTo>
                  <a:pt x="144" y="300"/>
                </a:lnTo>
                <a:lnTo>
                  <a:pt x="144" y="294"/>
                </a:lnTo>
                <a:lnTo>
                  <a:pt x="144" y="294"/>
                </a:lnTo>
                <a:lnTo>
                  <a:pt x="144" y="294"/>
                </a:lnTo>
                <a:lnTo>
                  <a:pt x="144" y="294"/>
                </a:lnTo>
                <a:lnTo>
                  <a:pt x="144" y="294"/>
                </a:lnTo>
                <a:lnTo>
                  <a:pt x="138" y="288"/>
                </a:lnTo>
                <a:lnTo>
                  <a:pt x="138" y="288"/>
                </a:lnTo>
                <a:lnTo>
                  <a:pt x="138" y="288"/>
                </a:lnTo>
                <a:lnTo>
                  <a:pt x="138" y="294"/>
                </a:lnTo>
                <a:lnTo>
                  <a:pt x="138" y="294"/>
                </a:lnTo>
                <a:lnTo>
                  <a:pt x="138" y="288"/>
                </a:lnTo>
                <a:lnTo>
                  <a:pt x="138" y="288"/>
                </a:lnTo>
                <a:lnTo>
                  <a:pt x="138" y="288"/>
                </a:lnTo>
                <a:lnTo>
                  <a:pt x="132" y="288"/>
                </a:lnTo>
                <a:lnTo>
                  <a:pt x="132" y="288"/>
                </a:lnTo>
                <a:lnTo>
                  <a:pt x="132" y="288"/>
                </a:lnTo>
                <a:lnTo>
                  <a:pt x="132" y="288"/>
                </a:lnTo>
                <a:lnTo>
                  <a:pt x="132" y="282"/>
                </a:lnTo>
                <a:lnTo>
                  <a:pt x="132" y="282"/>
                </a:lnTo>
                <a:lnTo>
                  <a:pt x="132" y="282"/>
                </a:lnTo>
                <a:lnTo>
                  <a:pt x="126" y="282"/>
                </a:lnTo>
                <a:lnTo>
                  <a:pt x="126" y="282"/>
                </a:lnTo>
                <a:lnTo>
                  <a:pt x="132" y="282"/>
                </a:lnTo>
                <a:lnTo>
                  <a:pt x="132" y="282"/>
                </a:lnTo>
                <a:lnTo>
                  <a:pt x="132" y="282"/>
                </a:lnTo>
                <a:lnTo>
                  <a:pt x="132" y="276"/>
                </a:lnTo>
                <a:lnTo>
                  <a:pt x="132" y="276"/>
                </a:lnTo>
                <a:lnTo>
                  <a:pt x="126" y="276"/>
                </a:lnTo>
                <a:lnTo>
                  <a:pt x="126" y="276"/>
                </a:lnTo>
                <a:lnTo>
                  <a:pt x="126" y="282"/>
                </a:lnTo>
                <a:lnTo>
                  <a:pt x="126" y="276"/>
                </a:lnTo>
                <a:lnTo>
                  <a:pt x="126" y="276"/>
                </a:lnTo>
                <a:lnTo>
                  <a:pt x="120" y="276"/>
                </a:lnTo>
                <a:lnTo>
                  <a:pt x="120" y="276"/>
                </a:lnTo>
                <a:lnTo>
                  <a:pt x="114" y="276"/>
                </a:lnTo>
                <a:lnTo>
                  <a:pt x="114" y="276"/>
                </a:lnTo>
                <a:lnTo>
                  <a:pt x="114" y="270"/>
                </a:lnTo>
                <a:lnTo>
                  <a:pt x="114" y="270"/>
                </a:lnTo>
                <a:lnTo>
                  <a:pt x="114" y="270"/>
                </a:lnTo>
                <a:lnTo>
                  <a:pt x="114" y="270"/>
                </a:lnTo>
                <a:lnTo>
                  <a:pt x="108" y="264"/>
                </a:lnTo>
                <a:lnTo>
                  <a:pt x="108" y="264"/>
                </a:lnTo>
                <a:lnTo>
                  <a:pt x="108" y="264"/>
                </a:lnTo>
                <a:lnTo>
                  <a:pt x="108" y="264"/>
                </a:lnTo>
                <a:lnTo>
                  <a:pt x="102" y="264"/>
                </a:lnTo>
                <a:lnTo>
                  <a:pt x="102" y="264"/>
                </a:lnTo>
                <a:lnTo>
                  <a:pt x="102" y="264"/>
                </a:lnTo>
                <a:lnTo>
                  <a:pt x="102" y="264"/>
                </a:lnTo>
                <a:lnTo>
                  <a:pt x="96" y="270"/>
                </a:lnTo>
                <a:lnTo>
                  <a:pt x="96" y="264"/>
                </a:lnTo>
                <a:lnTo>
                  <a:pt x="96" y="264"/>
                </a:lnTo>
                <a:lnTo>
                  <a:pt x="96" y="264"/>
                </a:lnTo>
                <a:lnTo>
                  <a:pt x="96" y="264"/>
                </a:lnTo>
                <a:lnTo>
                  <a:pt x="96" y="264"/>
                </a:lnTo>
                <a:lnTo>
                  <a:pt x="90" y="264"/>
                </a:lnTo>
                <a:lnTo>
                  <a:pt x="90" y="264"/>
                </a:lnTo>
                <a:lnTo>
                  <a:pt x="90" y="264"/>
                </a:lnTo>
                <a:lnTo>
                  <a:pt x="84" y="264"/>
                </a:lnTo>
                <a:lnTo>
                  <a:pt x="84" y="264"/>
                </a:lnTo>
                <a:lnTo>
                  <a:pt x="84" y="264"/>
                </a:lnTo>
                <a:lnTo>
                  <a:pt x="84" y="264"/>
                </a:lnTo>
                <a:lnTo>
                  <a:pt x="78" y="264"/>
                </a:lnTo>
                <a:lnTo>
                  <a:pt x="78" y="264"/>
                </a:lnTo>
                <a:lnTo>
                  <a:pt x="78" y="264"/>
                </a:lnTo>
                <a:lnTo>
                  <a:pt x="78" y="264"/>
                </a:lnTo>
                <a:lnTo>
                  <a:pt x="78" y="264"/>
                </a:lnTo>
                <a:lnTo>
                  <a:pt x="78" y="264"/>
                </a:lnTo>
                <a:lnTo>
                  <a:pt x="78" y="264"/>
                </a:lnTo>
                <a:lnTo>
                  <a:pt x="72" y="264"/>
                </a:lnTo>
                <a:lnTo>
                  <a:pt x="72" y="264"/>
                </a:lnTo>
                <a:lnTo>
                  <a:pt x="72" y="270"/>
                </a:lnTo>
                <a:lnTo>
                  <a:pt x="72" y="264"/>
                </a:lnTo>
                <a:lnTo>
                  <a:pt x="72" y="270"/>
                </a:lnTo>
                <a:lnTo>
                  <a:pt x="72" y="270"/>
                </a:lnTo>
                <a:lnTo>
                  <a:pt x="72" y="270"/>
                </a:lnTo>
                <a:lnTo>
                  <a:pt x="72" y="270"/>
                </a:lnTo>
                <a:lnTo>
                  <a:pt x="72" y="270"/>
                </a:lnTo>
                <a:lnTo>
                  <a:pt x="72" y="270"/>
                </a:lnTo>
                <a:lnTo>
                  <a:pt x="72" y="270"/>
                </a:lnTo>
                <a:lnTo>
                  <a:pt x="72" y="270"/>
                </a:lnTo>
                <a:lnTo>
                  <a:pt x="66" y="270"/>
                </a:lnTo>
                <a:lnTo>
                  <a:pt x="66" y="276"/>
                </a:lnTo>
                <a:lnTo>
                  <a:pt x="66" y="276"/>
                </a:lnTo>
                <a:lnTo>
                  <a:pt x="66" y="276"/>
                </a:lnTo>
                <a:lnTo>
                  <a:pt x="66" y="276"/>
                </a:lnTo>
                <a:lnTo>
                  <a:pt x="66" y="282"/>
                </a:lnTo>
                <a:lnTo>
                  <a:pt x="66" y="282"/>
                </a:lnTo>
                <a:lnTo>
                  <a:pt x="66" y="282"/>
                </a:lnTo>
                <a:lnTo>
                  <a:pt x="66" y="282"/>
                </a:lnTo>
                <a:lnTo>
                  <a:pt x="66" y="282"/>
                </a:lnTo>
                <a:lnTo>
                  <a:pt x="66" y="282"/>
                </a:lnTo>
                <a:lnTo>
                  <a:pt x="66" y="282"/>
                </a:lnTo>
                <a:lnTo>
                  <a:pt x="66" y="282"/>
                </a:lnTo>
                <a:lnTo>
                  <a:pt x="66" y="282"/>
                </a:lnTo>
                <a:lnTo>
                  <a:pt x="60" y="288"/>
                </a:lnTo>
                <a:lnTo>
                  <a:pt x="60" y="288"/>
                </a:lnTo>
                <a:lnTo>
                  <a:pt x="60" y="288"/>
                </a:lnTo>
                <a:lnTo>
                  <a:pt x="60" y="288"/>
                </a:lnTo>
                <a:lnTo>
                  <a:pt x="54" y="288"/>
                </a:lnTo>
                <a:lnTo>
                  <a:pt x="54" y="288"/>
                </a:lnTo>
                <a:lnTo>
                  <a:pt x="54" y="288"/>
                </a:lnTo>
                <a:lnTo>
                  <a:pt x="54" y="288"/>
                </a:lnTo>
                <a:lnTo>
                  <a:pt x="48" y="288"/>
                </a:lnTo>
                <a:lnTo>
                  <a:pt x="48" y="288"/>
                </a:lnTo>
                <a:lnTo>
                  <a:pt x="48" y="288"/>
                </a:lnTo>
                <a:lnTo>
                  <a:pt x="48" y="288"/>
                </a:lnTo>
                <a:lnTo>
                  <a:pt x="48" y="288"/>
                </a:lnTo>
                <a:lnTo>
                  <a:pt x="48" y="288"/>
                </a:lnTo>
                <a:lnTo>
                  <a:pt x="42" y="288"/>
                </a:lnTo>
                <a:lnTo>
                  <a:pt x="42" y="288"/>
                </a:lnTo>
                <a:lnTo>
                  <a:pt x="42" y="288"/>
                </a:lnTo>
                <a:lnTo>
                  <a:pt x="36" y="288"/>
                </a:lnTo>
                <a:lnTo>
                  <a:pt x="36" y="288"/>
                </a:lnTo>
                <a:lnTo>
                  <a:pt x="36" y="288"/>
                </a:lnTo>
                <a:lnTo>
                  <a:pt x="36" y="294"/>
                </a:lnTo>
                <a:lnTo>
                  <a:pt x="36" y="294"/>
                </a:lnTo>
                <a:lnTo>
                  <a:pt x="30" y="294"/>
                </a:lnTo>
                <a:lnTo>
                  <a:pt x="30" y="294"/>
                </a:lnTo>
                <a:lnTo>
                  <a:pt x="30" y="288"/>
                </a:lnTo>
                <a:lnTo>
                  <a:pt x="30" y="288"/>
                </a:lnTo>
                <a:lnTo>
                  <a:pt x="30" y="288"/>
                </a:lnTo>
                <a:lnTo>
                  <a:pt x="24" y="288"/>
                </a:lnTo>
                <a:lnTo>
                  <a:pt x="24" y="288"/>
                </a:lnTo>
                <a:lnTo>
                  <a:pt x="24" y="288"/>
                </a:lnTo>
                <a:lnTo>
                  <a:pt x="24" y="288"/>
                </a:lnTo>
                <a:lnTo>
                  <a:pt x="18" y="288"/>
                </a:lnTo>
                <a:lnTo>
                  <a:pt x="18" y="288"/>
                </a:lnTo>
                <a:lnTo>
                  <a:pt x="12" y="288"/>
                </a:lnTo>
                <a:lnTo>
                  <a:pt x="12" y="288"/>
                </a:lnTo>
                <a:lnTo>
                  <a:pt x="12" y="288"/>
                </a:lnTo>
                <a:lnTo>
                  <a:pt x="12" y="282"/>
                </a:lnTo>
                <a:lnTo>
                  <a:pt x="12" y="282"/>
                </a:lnTo>
                <a:lnTo>
                  <a:pt x="6" y="276"/>
                </a:lnTo>
                <a:lnTo>
                  <a:pt x="6" y="276"/>
                </a:lnTo>
                <a:lnTo>
                  <a:pt x="0" y="276"/>
                </a:lnTo>
                <a:lnTo>
                  <a:pt x="0" y="276"/>
                </a:lnTo>
                <a:lnTo>
                  <a:pt x="0" y="276"/>
                </a:lnTo>
                <a:lnTo>
                  <a:pt x="12" y="276"/>
                </a:lnTo>
                <a:lnTo>
                  <a:pt x="12" y="276"/>
                </a:lnTo>
                <a:lnTo>
                  <a:pt x="24" y="270"/>
                </a:lnTo>
                <a:lnTo>
                  <a:pt x="24" y="264"/>
                </a:lnTo>
                <a:lnTo>
                  <a:pt x="30" y="264"/>
                </a:lnTo>
                <a:lnTo>
                  <a:pt x="30" y="258"/>
                </a:lnTo>
                <a:lnTo>
                  <a:pt x="30" y="258"/>
                </a:lnTo>
                <a:lnTo>
                  <a:pt x="42" y="252"/>
                </a:lnTo>
                <a:lnTo>
                  <a:pt x="42" y="24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31" name="Freeform 464"/>
          <p:cNvSpPr>
            <a:spLocks/>
          </p:cNvSpPr>
          <p:nvPr/>
        </p:nvSpPr>
        <p:spPr bwMode="auto">
          <a:xfrm>
            <a:off x="6196601" y="4880199"/>
            <a:ext cx="141329" cy="115634"/>
          </a:xfrm>
          <a:custGeom>
            <a:avLst/>
            <a:gdLst>
              <a:gd name="T0" fmla="*/ 6 w 132"/>
              <a:gd name="T1" fmla="*/ 12 h 108"/>
              <a:gd name="T2" fmla="*/ 18 w 132"/>
              <a:gd name="T3" fmla="*/ 12 h 108"/>
              <a:gd name="T4" fmla="*/ 24 w 132"/>
              <a:gd name="T5" fmla="*/ 12 h 108"/>
              <a:gd name="T6" fmla="*/ 30 w 132"/>
              <a:gd name="T7" fmla="*/ 6 h 108"/>
              <a:gd name="T8" fmla="*/ 42 w 132"/>
              <a:gd name="T9" fmla="*/ 0 h 108"/>
              <a:gd name="T10" fmla="*/ 54 w 132"/>
              <a:gd name="T11" fmla="*/ 6 h 108"/>
              <a:gd name="T12" fmla="*/ 48 w 132"/>
              <a:gd name="T13" fmla="*/ 18 h 108"/>
              <a:gd name="T14" fmla="*/ 66 w 132"/>
              <a:gd name="T15" fmla="*/ 6 h 108"/>
              <a:gd name="T16" fmla="*/ 78 w 132"/>
              <a:gd name="T17" fmla="*/ 12 h 108"/>
              <a:gd name="T18" fmla="*/ 78 w 132"/>
              <a:gd name="T19" fmla="*/ 0 h 108"/>
              <a:gd name="T20" fmla="*/ 84 w 132"/>
              <a:gd name="T21" fmla="*/ 6 h 108"/>
              <a:gd name="T22" fmla="*/ 90 w 132"/>
              <a:gd name="T23" fmla="*/ 12 h 108"/>
              <a:gd name="T24" fmla="*/ 96 w 132"/>
              <a:gd name="T25" fmla="*/ 12 h 108"/>
              <a:gd name="T26" fmla="*/ 108 w 132"/>
              <a:gd name="T27" fmla="*/ 12 h 108"/>
              <a:gd name="T28" fmla="*/ 114 w 132"/>
              <a:gd name="T29" fmla="*/ 12 h 108"/>
              <a:gd name="T30" fmla="*/ 120 w 132"/>
              <a:gd name="T31" fmla="*/ 18 h 108"/>
              <a:gd name="T32" fmla="*/ 126 w 132"/>
              <a:gd name="T33" fmla="*/ 24 h 108"/>
              <a:gd name="T34" fmla="*/ 126 w 132"/>
              <a:gd name="T35" fmla="*/ 30 h 108"/>
              <a:gd name="T36" fmla="*/ 126 w 132"/>
              <a:gd name="T37" fmla="*/ 42 h 108"/>
              <a:gd name="T38" fmla="*/ 126 w 132"/>
              <a:gd name="T39" fmla="*/ 48 h 108"/>
              <a:gd name="T40" fmla="*/ 120 w 132"/>
              <a:gd name="T41" fmla="*/ 48 h 108"/>
              <a:gd name="T42" fmla="*/ 126 w 132"/>
              <a:gd name="T43" fmla="*/ 60 h 108"/>
              <a:gd name="T44" fmla="*/ 120 w 132"/>
              <a:gd name="T45" fmla="*/ 66 h 108"/>
              <a:gd name="T46" fmla="*/ 126 w 132"/>
              <a:gd name="T47" fmla="*/ 72 h 108"/>
              <a:gd name="T48" fmla="*/ 114 w 132"/>
              <a:gd name="T49" fmla="*/ 78 h 108"/>
              <a:gd name="T50" fmla="*/ 108 w 132"/>
              <a:gd name="T51" fmla="*/ 78 h 108"/>
              <a:gd name="T52" fmla="*/ 108 w 132"/>
              <a:gd name="T53" fmla="*/ 90 h 108"/>
              <a:gd name="T54" fmla="*/ 114 w 132"/>
              <a:gd name="T55" fmla="*/ 96 h 108"/>
              <a:gd name="T56" fmla="*/ 114 w 132"/>
              <a:gd name="T57" fmla="*/ 102 h 108"/>
              <a:gd name="T58" fmla="*/ 102 w 132"/>
              <a:gd name="T59" fmla="*/ 102 h 108"/>
              <a:gd name="T60" fmla="*/ 96 w 132"/>
              <a:gd name="T61" fmla="*/ 102 h 108"/>
              <a:gd name="T62" fmla="*/ 90 w 132"/>
              <a:gd name="T63" fmla="*/ 102 h 108"/>
              <a:gd name="T64" fmla="*/ 84 w 132"/>
              <a:gd name="T65" fmla="*/ 96 h 108"/>
              <a:gd name="T66" fmla="*/ 84 w 132"/>
              <a:gd name="T67" fmla="*/ 90 h 108"/>
              <a:gd name="T68" fmla="*/ 78 w 132"/>
              <a:gd name="T69" fmla="*/ 90 h 108"/>
              <a:gd name="T70" fmla="*/ 78 w 132"/>
              <a:gd name="T71" fmla="*/ 78 h 108"/>
              <a:gd name="T72" fmla="*/ 78 w 132"/>
              <a:gd name="T73" fmla="*/ 78 h 108"/>
              <a:gd name="T74" fmla="*/ 78 w 132"/>
              <a:gd name="T75" fmla="*/ 72 h 108"/>
              <a:gd name="T76" fmla="*/ 72 w 132"/>
              <a:gd name="T77" fmla="*/ 66 h 108"/>
              <a:gd name="T78" fmla="*/ 66 w 132"/>
              <a:gd name="T79" fmla="*/ 66 h 108"/>
              <a:gd name="T80" fmla="*/ 60 w 132"/>
              <a:gd name="T81" fmla="*/ 60 h 108"/>
              <a:gd name="T82" fmla="*/ 66 w 132"/>
              <a:gd name="T83" fmla="*/ 54 h 108"/>
              <a:gd name="T84" fmla="*/ 60 w 132"/>
              <a:gd name="T85" fmla="*/ 54 h 108"/>
              <a:gd name="T86" fmla="*/ 54 w 132"/>
              <a:gd name="T87" fmla="*/ 54 h 108"/>
              <a:gd name="T88" fmla="*/ 48 w 132"/>
              <a:gd name="T89" fmla="*/ 66 h 108"/>
              <a:gd name="T90" fmla="*/ 42 w 132"/>
              <a:gd name="T91" fmla="*/ 66 h 108"/>
              <a:gd name="T92" fmla="*/ 36 w 132"/>
              <a:gd name="T93" fmla="*/ 78 h 108"/>
              <a:gd name="T94" fmla="*/ 30 w 132"/>
              <a:gd name="T95" fmla="*/ 84 h 108"/>
              <a:gd name="T96" fmla="*/ 18 w 132"/>
              <a:gd name="T97" fmla="*/ 84 h 108"/>
              <a:gd name="T98" fmla="*/ 12 w 132"/>
              <a:gd name="T99" fmla="*/ 78 h 108"/>
              <a:gd name="T100" fmla="*/ 18 w 132"/>
              <a:gd name="T101" fmla="*/ 78 h 108"/>
              <a:gd name="T102" fmla="*/ 12 w 132"/>
              <a:gd name="T103" fmla="*/ 72 h 108"/>
              <a:gd name="T104" fmla="*/ 18 w 132"/>
              <a:gd name="T105" fmla="*/ 66 h 108"/>
              <a:gd name="T106" fmla="*/ 12 w 132"/>
              <a:gd name="T107" fmla="*/ 66 h 108"/>
              <a:gd name="T108" fmla="*/ 12 w 132"/>
              <a:gd name="T109" fmla="*/ 60 h 108"/>
              <a:gd name="T110" fmla="*/ 18 w 132"/>
              <a:gd name="T111" fmla="*/ 54 h 108"/>
              <a:gd name="T112" fmla="*/ 18 w 132"/>
              <a:gd name="T113" fmla="*/ 48 h 108"/>
              <a:gd name="T114" fmla="*/ 18 w 132"/>
              <a:gd name="T115" fmla="*/ 48 h 108"/>
              <a:gd name="T116" fmla="*/ 6 w 132"/>
              <a:gd name="T117" fmla="*/ 42 h 108"/>
              <a:gd name="T118" fmla="*/ 6 w 132"/>
              <a:gd name="T119" fmla="*/ 36 h 108"/>
              <a:gd name="T120" fmla="*/ 6 w 132"/>
              <a:gd name="T121" fmla="*/ 24 h 108"/>
              <a:gd name="T122" fmla="*/ 6 w 132"/>
              <a:gd name="T123" fmla="*/ 24 h 108"/>
              <a:gd name="T124" fmla="*/ 0 w 132"/>
              <a:gd name="T125" fmla="*/ 18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32" h="108">
                <a:moveTo>
                  <a:pt x="0" y="12"/>
                </a:move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6"/>
                </a:lnTo>
                <a:lnTo>
                  <a:pt x="6" y="6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8" y="0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8" y="12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2"/>
                </a:lnTo>
                <a:lnTo>
                  <a:pt x="96" y="12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12"/>
                </a:lnTo>
                <a:lnTo>
                  <a:pt x="96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24"/>
                </a:lnTo>
                <a:lnTo>
                  <a:pt x="120" y="24"/>
                </a:lnTo>
                <a:lnTo>
                  <a:pt x="126" y="24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24"/>
                </a:lnTo>
                <a:lnTo>
                  <a:pt x="126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26" y="24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42"/>
                </a:lnTo>
                <a:lnTo>
                  <a:pt x="126" y="42"/>
                </a:lnTo>
                <a:lnTo>
                  <a:pt x="126" y="36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14" y="54"/>
                </a:lnTo>
                <a:lnTo>
                  <a:pt x="114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6" y="60"/>
                </a:lnTo>
                <a:lnTo>
                  <a:pt x="126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6" y="66"/>
                </a:lnTo>
                <a:lnTo>
                  <a:pt x="126" y="66"/>
                </a:lnTo>
                <a:lnTo>
                  <a:pt x="120" y="66"/>
                </a:lnTo>
                <a:lnTo>
                  <a:pt x="120" y="66"/>
                </a:lnTo>
                <a:lnTo>
                  <a:pt x="126" y="72"/>
                </a:lnTo>
                <a:lnTo>
                  <a:pt x="126" y="72"/>
                </a:lnTo>
                <a:lnTo>
                  <a:pt x="126" y="72"/>
                </a:lnTo>
                <a:lnTo>
                  <a:pt x="126" y="72"/>
                </a:lnTo>
                <a:lnTo>
                  <a:pt x="126" y="72"/>
                </a:lnTo>
                <a:lnTo>
                  <a:pt x="126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08" y="78"/>
                </a:lnTo>
                <a:lnTo>
                  <a:pt x="108" y="78"/>
                </a:lnTo>
                <a:lnTo>
                  <a:pt x="102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2" y="84"/>
                </a:lnTo>
                <a:lnTo>
                  <a:pt x="108" y="84"/>
                </a:lnTo>
                <a:lnTo>
                  <a:pt x="108" y="84"/>
                </a:lnTo>
                <a:lnTo>
                  <a:pt x="102" y="84"/>
                </a:lnTo>
                <a:lnTo>
                  <a:pt x="108" y="84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14" y="90"/>
                </a:lnTo>
                <a:lnTo>
                  <a:pt x="114" y="90"/>
                </a:lnTo>
                <a:lnTo>
                  <a:pt x="114" y="96"/>
                </a:lnTo>
                <a:lnTo>
                  <a:pt x="114" y="96"/>
                </a:lnTo>
                <a:lnTo>
                  <a:pt x="114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102"/>
                </a:lnTo>
                <a:lnTo>
                  <a:pt x="120" y="108"/>
                </a:lnTo>
                <a:lnTo>
                  <a:pt x="120" y="108"/>
                </a:lnTo>
                <a:lnTo>
                  <a:pt x="114" y="108"/>
                </a:lnTo>
                <a:lnTo>
                  <a:pt x="120" y="108"/>
                </a:lnTo>
                <a:lnTo>
                  <a:pt x="120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0" y="102"/>
                </a:lnTo>
                <a:lnTo>
                  <a:pt x="90" y="102"/>
                </a:lnTo>
                <a:lnTo>
                  <a:pt x="90" y="102"/>
                </a:lnTo>
                <a:lnTo>
                  <a:pt x="90" y="102"/>
                </a:lnTo>
                <a:lnTo>
                  <a:pt x="90" y="102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84" y="96"/>
                </a:lnTo>
                <a:lnTo>
                  <a:pt x="84" y="96"/>
                </a:lnTo>
                <a:lnTo>
                  <a:pt x="90" y="96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84" y="96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78" y="90"/>
                </a:lnTo>
                <a:lnTo>
                  <a:pt x="78" y="90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84" y="84"/>
                </a:lnTo>
                <a:lnTo>
                  <a:pt x="78" y="84"/>
                </a:lnTo>
                <a:lnTo>
                  <a:pt x="78" y="84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84" y="78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2" y="66"/>
                </a:lnTo>
                <a:lnTo>
                  <a:pt x="72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0" y="48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54" y="48"/>
                </a:lnTo>
                <a:lnTo>
                  <a:pt x="54" y="48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6"/>
                </a:lnTo>
                <a:lnTo>
                  <a:pt x="54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36" y="66"/>
                </a:lnTo>
                <a:lnTo>
                  <a:pt x="36" y="66"/>
                </a:lnTo>
                <a:lnTo>
                  <a:pt x="42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42" y="72"/>
                </a:lnTo>
                <a:lnTo>
                  <a:pt x="36" y="72"/>
                </a:lnTo>
                <a:lnTo>
                  <a:pt x="42" y="72"/>
                </a:lnTo>
                <a:lnTo>
                  <a:pt x="36" y="78"/>
                </a:lnTo>
                <a:lnTo>
                  <a:pt x="36" y="78"/>
                </a:lnTo>
                <a:lnTo>
                  <a:pt x="42" y="78"/>
                </a:lnTo>
                <a:lnTo>
                  <a:pt x="42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84"/>
                </a:lnTo>
                <a:lnTo>
                  <a:pt x="36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2" y="84"/>
                </a:lnTo>
                <a:lnTo>
                  <a:pt x="12" y="84"/>
                </a:lnTo>
                <a:lnTo>
                  <a:pt x="18" y="84"/>
                </a:lnTo>
                <a:lnTo>
                  <a:pt x="18" y="84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8" y="78"/>
                </a:lnTo>
                <a:lnTo>
                  <a:pt x="18" y="78"/>
                </a:lnTo>
                <a:lnTo>
                  <a:pt x="12" y="78"/>
                </a:lnTo>
                <a:lnTo>
                  <a:pt x="12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2"/>
                </a:lnTo>
                <a:lnTo>
                  <a:pt x="12" y="72"/>
                </a:lnTo>
                <a:lnTo>
                  <a:pt x="12" y="72"/>
                </a:lnTo>
                <a:lnTo>
                  <a:pt x="18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8" y="72"/>
                </a:lnTo>
                <a:lnTo>
                  <a:pt x="12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2" y="66"/>
                </a:lnTo>
                <a:lnTo>
                  <a:pt x="18" y="66"/>
                </a:lnTo>
                <a:lnTo>
                  <a:pt x="12" y="66"/>
                </a:lnTo>
                <a:lnTo>
                  <a:pt x="18" y="60"/>
                </a:lnTo>
                <a:lnTo>
                  <a:pt x="18" y="66"/>
                </a:lnTo>
                <a:lnTo>
                  <a:pt x="18" y="60"/>
                </a:lnTo>
                <a:lnTo>
                  <a:pt x="12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2" y="60"/>
                </a:lnTo>
                <a:lnTo>
                  <a:pt x="12" y="60"/>
                </a:lnTo>
                <a:lnTo>
                  <a:pt x="18" y="60"/>
                </a:lnTo>
                <a:lnTo>
                  <a:pt x="18" y="60"/>
                </a:lnTo>
                <a:lnTo>
                  <a:pt x="12" y="60"/>
                </a:lnTo>
                <a:lnTo>
                  <a:pt x="12" y="60"/>
                </a:lnTo>
                <a:lnTo>
                  <a:pt x="18" y="60"/>
                </a:lnTo>
                <a:lnTo>
                  <a:pt x="18" y="60"/>
                </a:lnTo>
                <a:lnTo>
                  <a:pt x="12" y="60"/>
                </a:lnTo>
                <a:lnTo>
                  <a:pt x="18" y="60"/>
                </a:lnTo>
                <a:lnTo>
                  <a:pt x="18" y="54"/>
                </a:lnTo>
                <a:lnTo>
                  <a:pt x="18" y="54"/>
                </a:lnTo>
                <a:lnTo>
                  <a:pt x="12" y="54"/>
                </a:lnTo>
                <a:lnTo>
                  <a:pt x="12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6" y="24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32" name="Freeform 465"/>
          <p:cNvSpPr>
            <a:spLocks/>
          </p:cNvSpPr>
          <p:nvPr/>
        </p:nvSpPr>
        <p:spPr bwMode="auto">
          <a:xfrm>
            <a:off x="6093816" y="5027953"/>
            <a:ext cx="237690" cy="141330"/>
          </a:xfrm>
          <a:custGeom>
            <a:avLst/>
            <a:gdLst>
              <a:gd name="T0" fmla="*/ 12 w 222"/>
              <a:gd name="T1" fmla="*/ 72 h 132"/>
              <a:gd name="T2" fmla="*/ 30 w 222"/>
              <a:gd name="T3" fmla="*/ 66 h 132"/>
              <a:gd name="T4" fmla="*/ 36 w 222"/>
              <a:gd name="T5" fmla="*/ 60 h 132"/>
              <a:gd name="T6" fmla="*/ 42 w 222"/>
              <a:gd name="T7" fmla="*/ 54 h 132"/>
              <a:gd name="T8" fmla="*/ 42 w 222"/>
              <a:gd name="T9" fmla="*/ 54 h 132"/>
              <a:gd name="T10" fmla="*/ 48 w 222"/>
              <a:gd name="T11" fmla="*/ 60 h 132"/>
              <a:gd name="T12" fmla="*/ 54 w 222"/>
              <a:gd name="T13" fmla="*/ 60 h 132"/>
              <a:gd name="T14" fmla="*/ 60 w 222"/>
              <a:gd name="T15" fmla="*/ 60 h 132"/>
              <a:gd name="T16" fmla="*/ 72 w 222"/>
              <a:gd name="T17" fmla="*/ 48 h 132"/>
              <a:gd name="T18" fmla="*/ 84 w 222"/>
              <a:gd name="T19" fmla="*/ 36 h 132"/>
              <a:gd name="T20" fmla="*/ 90 w 222"/>
              <a:gd name="T21" fmla="*/ 42 h 132"/>
              <a:gd name="T22" fmla="*/ 102 w 222"/>
              <a:gd name="T23" fmla="*/ 48 h 132"/>
              <a:gd name="T24" fmla="*/ 108 w 222"/>
              <a:gd name="T25" fmla="*/ 48 h 132"/>
              <a:gd name="T26" fmla="*/ 120 w 222"/>
              <a:gd name="T27" fmla="*/ 48 h 132"/>
              <a:gd name="T28" fmla="*/ 126 w 222"/>
              <a:gd name="T29" fmla="*/ 42 h 132"/>
              <a:gd name="T30" fmla="*/ 138 w 222"/>
              <a:gd name="T31" fmla="*/ 30 h 132"/>
              <a:gd name="T32" fmla="*/ 144 w 222"/>
              <a:gd name="T33" fmla="*/ 12 h 132"/>
              <a:gd name="T34" fmla="*/ 144 w 222"/>
              <a:gd name="T35" fmla="*/ 6 h 132"/>
              <a:gd name="T36" fmla="*/ 156 w 222"/>
              <a:gd name="T37" fmla="*/ 0 h 132"/>
              <a:gd name="T38" fmla="*/ 168 w 222"/>
              <a:gd name="T39" fmla="*/ 12 h 132"/>
              <a:gd name="T40" fmla="*/ 168 w 222"/>
              <a:gd name="T41" fmla="*/ 18 h 132"/>
              <a:gd name="T42" fmla="*/ 180 w 222"/>
              <a:gd name="T43" fmla="*/ 18 h 132"/>
              <a:gd name="T44" fmla="*/ 186 w 222"/>
              <a:gd name="T45" fmla="*/ 30 h 132"/>
              <a:gd name="T46" fmla="*/ 180 w 222"/>
              <a:gd name="T47" fmla="*/ 36 h 132"/>
              <a:gd name="T48" fmla="*/ 174 w 222"/>
              <a:gd name="T49" fmla="*/ 42 h 132"/>
              <a:gd name="T50" fmla="*/ 180 w 222"/>
              <a:gd name="T51" fmla="*/ 54 h 132"/>
              <a:gd name="T52" fmla="*/ 186 w 222"/>
              <a:gd name="T53" fmla="*/ 60 h 132"/>
              <a:gd name="T54" fmla="*/ 186 w 222"/>
              <a:gd name="T55" fmla="*/ 66 h 132"/>
              <a:gd name="T56" fmla="*/ 180 w 222"/>
              <a:gd name="T57" fmla="*/ 72 h 132"/>
              <a:gd name="T58" fmla="*/ 180 w 222"/>
              <a:gd name="T59" fmla="*/ 72 h 132"/>
              <a:gd name="T60" fmla="*/ 186 w 222"/>
              <a:gd name="T61" fmla="*/ 78 h 132"/>
              <a:gd name="T62" fmla="*/ 192 w 222"/>
              <a:gd name="T63" fmla="*/ 78 h 132"/>
              <a:gd name="T64" fmla="*/ 204 w 222"/>
              <a:gd name="T65" fmla="*/ 72 h 132"/>
              <a:gd name="T66" fmla="*/ 210 w 222"/>
              <a:gd name="T67" fmla="*/ 72 h 132"/>
              <a:gd name="T68" fmla="*/ 216 w 222"/>
              <a:gd name="T69" fmla="*/ 66 h 132"/>
              <a:gd name="T70" fmla="*/ 222 w 222"/>
              <a:gd name="T71" fmla="*/ 72 h 132"/>
              <a:gd name="T72" fmla="*/ 222 w 222"/>
              <a:gd name="T73" fmla="*/ 84 h 132"/>
              <a:gd name="T74" fmla="*/ 216 w 222"/>
              <a:gd name="T75" fmla="*/ 114 h 132"/>
              <a:gd name="T76" fmla="*/ 210 w 222"/>
              <a:gd name="T77" fmla="*/ 114 h 132"/>
              <a:gd name="T78" fmla="*/ 204 w 222"/>
              <a:gd name="T79" fmla="*/ 114 h 132"/>
              <a:gd name="T80" fmla="*/ 192 w 222"/>
              <a:gd name="T81" fmla="*/ 120 h 132"/>
              <a:gd name="T82" fmla="*/ 186 w 222"/>
              <a:gd name="T83" fmla="*/ 126 h 132"/>
              <a:gd name="T84" fmla="*/ 180 w 222"/>
              <a:gd name="T85" fmla="*/ 132 h 132"/>
              <a:gd name="T86" fmla="*/ 174 w 222"/>
              <a:gd name="T87" fmla="*/ 126 h 132"/>
              <a:gd name="T88" fmla="*/ 156 w 222"/>
              <a:gd name="T89" fmla="*/ 126 h 132"/>
              <a:gd name="T90" fmla="*/ 144 w 222"/>
              <a:gd name="T91" fmla="*/ 126 h 132"/>
              <a:gd name="T92" fmla="*/ 132 w 222"/>
              <a:gd name="T93" fmla="*/ 120 h 132"/>
              <a:gd name="T94" fmla="*/ 126 w 222"/>
              <a:gd name="T95" fmla="*/ 120 h 132"/>
              <a:gd name="T96" fmla="*/ 120 w 222"/>
              <a:gd name="T97" fmla="*/ 114 h 132"/>
              <a:gd name="T98" fmla="*/ 114 w 222"/>
              <a:gd name="T99" fmla="*/ 108 h 132"/>
              <a:gd name="T100" fmla="*/ 108 w 222"/>
              <a:gd name="T101" fmla="*/ 102 h 132"/>
              <a:gd name="T102" fmla="*/ 102 w 222"/>
              <a:gd name="T103" fmla="*/ 102 h 132"/>
              <a:gd name="T104" fmla="*/ 90 w 222"/>
              <a:gd name="T105" fmla="*/ 90 h 132"/>
              <a:gd name="T106" fmla="*/ 78 w 222"/>
              <a:gd name="T107" fmla="*/ 84 h 132"/>
              <a:gd name="T108" fmla="*/ 72 w 222"/>
              <a:gd name="T109" fmla="*/ 84 h 132"/>
              <a:gd name="T110" fmla="*/ 66 w 222"/>
              <a:gd name="T111" fmla="*/ 90 h 132"/>
              <a:gd name="T112" fmla="*/ 60 w 222"/>
              <a:gd name="T113" fmla="*/ 96 h 132"/>
              <a:gd name="T114" fmla="*/ 48 w 222"/>
              <a:gd name="T115" fmla="*/ 96 h 132"/>
              <a:gd name="T116" fmla="*/ 12 w 222"/>
              <a:gd name="T117" fmla="*/ 102 h 132"/>
              <a:gd name="T118" fmla="*/ 12 w 222"/>
              <a:gd name="T119" fmla="*/ 84 h 132"/>
              <a:gd name="T120" fmla="*/ 0 w 222"/>
              <a:gd name="T121" fmla="*/ 78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22" h="132">
                <a:moveTo>
                  <a:pt x="6" y="72"/>
                </a:move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2" y="66"/>
                </a:lnTo>
                <a:lnTo>
                  <a:pt x="12" y="72"/>
                </a:lnTo>
                <a:lnTo>
                  <a:pt x="12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60"/>
                </a:lnTo>
                <a:lnTo>
                  <a:pt x="48" y="54"/>
                </a:lnTo>
                <a:lnTo>
                  <a:pt x="48" y="60"/>
                </a:lnTo>
                <a:lnTo>
                  <a:pt x="54" y="60"/>
                </a:lnTo>
                <a:lnTo>
                  <a:pt x="48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6"/>
                </a:lnTo>
                <a:lnTo>
                  <a:pt x="54" y="60"/>
                </a:lnTo>
                <a:lnTo>
                  <a:pt x="60" y="60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0"/>
                </a:lnTo>
                <a:lnTo>
                  <a:pt x="60" y="66"/>
                </a:lnTo>
                <a:lnTo>
                  <a:pt x="60" y="60"/>
                </a:lnTo>
                <a:lnTo>
                  <a:pt x="60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66" y="54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8" y="48"/>
                </a:lnTo>
                <a:lnTo>
                  <a:pt x="78" y="48"/>
                </a:lnTo>
                <a:lnTo>
                  <a:pt x="78" y="42"/>
                </a:lnTo>
                <a:lnTo>
                  <a:pt x="78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90" y="36"/>
                </a:lnTo>
                <a:lnTo>
                  <a:pt x="90" y="36"/>
                </a:lnTo>
                <a:lnTo>
                  <a:pt x="90" y="42"/>
                </a:lnTo>
                <a:lnTo>
                  <a:pt x="90" y="36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8"/>
                </a:lnTo>
                <a:lnTo>
                  <a:pt x="96" y="48"/>
                </a:lnTo>
                <a:lnTo>
                  <a:pt x="96" y="42"/>
                </a:lnTo>
                <a:lnTo>
                  <a:pt x="102" y="42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54"/>
                </a:lnTo>
                <a:lnTo>
                  <a:pt x="114" y="54"/>
                </a:lnTo>
                <a:lnTo>
                  <a:pt x="114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2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50" y="6"/>
                </a:lnTo>
                <a:lnTo>
                  <a:pt x="150" y="0"/>
                </a:lnTo>
                <a:lnTo>
                  <a:pt x="150" y="0"/>
                </a:lnTo>
                <a:lnTo>
                  <a:pt x="150" y="0"/>
                </a:lnTo>
                <a:lnTo>
                  <a:pt x="150" y="0"/>
                </a:lnTo>
                <a:lnTo>
                  <a:pt x="150" y="0"/>
                </a:lnTo>
                <a:lnTo>
                  <a:pt x="150" y="0"/>
                </a:lnTo>
                <a:lnTo>
                  <a:pt x="156" y="0"/>
                </a:lnTo>
                <a:lnTo>
                  <a:pt x="156" y="0"/>
                </a:lnTo>
                <a:lnTo>
                  <a:pt x="156" y="0"/>
                </a:lnTo>
                <a:lnTo>
                  <a:pt x="156" y="0"/>
                </a:lnTo>
                <a:lnTo>
                  <a:pt x="156" y="0"/>
                </a:lnTo>
                <a:lnTo>
                  <a:pt x="162" y="0"/>
                </a:lnTo>
                <a:lnTo>
                  <a:pt x="162" y="0"/>
                </a:lnTo>
                <a:lnTo>
                  <a:pt x="162" y="6"/>
                </a:lnTo>
                <a:lnTo>
                  <a:pt x="162" y="6"/>
                </a:lnTo>
                <a:lnTo>
                  <a:pt x="162" y="6"/>
                </a:lnTo>
                <a:lnTo>
                  <a:pt x="162" y="6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74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74" y="18"/>
                </a:lnTo>
                <a:lnTo>
                  <a:pt x="174" y="18"/>
                </a:lnTo>
                <a:lnTo>
                  <a:pt x="174" y="18"/>
                </a:lnTo>
                <a:lnTo>
                  <a:pt x="174" y="18"/>
                </a:lnTo>
                <a:lnTo>
                  <a:pt x="174" y="18"/>
                </a:lnTo>
                <a:lnTo>
                  <a:pt x="174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24"/>
                </a:lnTo>
                <a:lnTo>
                  <a:pt x="186" y="18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0" y="24"/>
                </a:lnTo>
                <a:lnTo>
                  <a:pt x="180" y="30"/>
                </a:lnTo>
                <a:lnTo>
                  <a:pt x="180" y="30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42"/>
                </a:lnTo>
                <a:lnTo>
                  <a:pt x="180" y="42"/>
                </a:lnTo>
                <a:lnTo>
                  <a:pt x="180" y="42"/>
                </a:lnTo>
                <a:lnTo>
                  <a:pt x="180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8"/>
                </a:lnTo>
                <a:lnTo>
                  <a:pt x="180" y="48"/>
                </a:lnTo>
                <a:lnTo>
                  <a:pt x="180" y="48"/>
                </a:lnTo>
                <a:lnTo>
                  <a:pt x="180" y="48"/>
                </a:lnTo>
                <a:lnTo>
                  <a:pt x="180" y="48"/>
                </a:lnTo>
                <a:lnTo>
                  <a:pt x="180" y="48"/>
                </a:lnTo>
                <a:lnTo>
                  <a:pt x="180" y="48"/>
                </a:lnTo>
                <a:lnTo>
                  <a:pt x="180" y="48"/>
                </a:lnTo>
                <a:lnTo>
                  <a:pt x="180" y="54"/>
                </a:lnTo>
                <a:lnTo>
                  <a:pt x="180" y="54"/>
                </a:lnTo>
                <a:lnTo>
                  <a:pt x="180" y="54"/>
                </a:lnTo>
                <a:lnTo>
                  <a:pt x="180" y="54"/>
                </a:lnTo>
                <a:lnTo>
                  <a:pt x="180" y="54"/>
                </a:lnTo>
                <a:lnTo>
                  <a:pt x="186" y="54"/>
                </a:lnTo>
                <a:lnTo>
                  <a:pt x="186" y="54"/>
                </a:lnTo>
                <a:lnTo>
                  <a:pt x="186" y="54"/>
                </a:lnTo>
                <a:lnTo>
                  <a:pt x="186" y="54"/>
                </a:lnTo>
                <a:lnTo>
                  <a:pt x="186" y="54"/>
                </a:lnTo>
                <a:lnTo>
                  <a:pt x="186" y="54"/>
                </a:lnTo>
                <a:lnTo>
                  <a:pt x="186" y="54"/>
                </a:lnTo>
                <a:lnTo>
                  <a:pt x="180" y="54"/>
                </a:lnTo>
                <a:lnTo>
                  <a:pt x="186" y="54"/>
                </a:lnTo>
                <a:lnTo>
                  <a:pt x="186" y="54"/>
                </a:lnTo>
                <a:lnTo>
                  <a:pt x="186" y="54"/>
                </a:lnTo>
                <a:lnTo>
                  <a:pt x="186" y="60"/>
                </a:lnTo>
                <a:lnTo>
                  <a:pt x="186" y="60"/>
                </a:lnTo>
                <a:lnTo>
                  <a:pt x="186" y="60"/>
                </a:lnTo>
                <a:lnTo>
                  <a:pt x="186" y="60"/>
                </a:lnTo>
                <a:lnTo>
                  <a:pt x="186" y="60"/>
                </a:lnTo>
                <a:lnTo>
                  <a:pt x="186" y="60"/>
                </a:lnTo>
                <a:lnTo>
                  <a:pt x="180" y="60"/>
                </a:lnTo>
                <a:lnTo>
                  <a:pt x="186" y="60"/>
                </a:lnTo>
                <a:lnTo>
                  <a:pt x="180" y="60"/>
                </a:lnTo>
                <a:lnTo>
                  <a:pt x="186" y="66"/>
                </a:lnTo>
                <a:lnTo>
                  <a:pt x="180" y="66"/>
                </a:lnTo>
                <a:lnTo>
                  <a:pt x="180" y="66"/>
                </a:lnTo>
                <a:lnTo>
                  <a:pt x="180" y="66"/>
                </a:lnTo>
                <a:lnTo>
                  <a:pt x="186" y="66"/>
                </a:lnTo>
                <a:lnTo>
                  <a:pt x="180" y="66"/>
                </a:lnTo>
                <a:lnTo>
                  <a:pt x="180" y="66"/>
                </a:lnTo>
                <a:lnTo>
                  <a:pt x="180" y="66"/>
                </a:lnTo>
                <a:lnTo>
                  <a:pt x="186" y="66"/>
                </a:lnTo>
                <a:lnTo>
                  <a:pt x="186" y="66"/>
                </a:lnTo>
                <a:lnTo>
                  <a:pt x="180" y="66"/>
                </a:lnTo>
                <a:lnTo>
                  <a:pt x="180" y="66"/>
                </a:lnTo>
                <a:lnTo>
                  <a:pt x="180" y="66"/>
                </a:lnTo>
                <a:lnTo>
                  <a:pt x="180" y="66"/>
                </a:lnTo>
                <a:lnTo>
                  <a:pt x="180" y="72"/>
                </a:lnTo>
                <a:lnTo>
                  <a:pt x="186" y="72"/>
                </a:lnTo>
                <a:lnTo>
                  <a:pt x="180" y="72"/>
                </a:lnTo>
                <a:lnTo>
                  <a:pt x="180" y="72"/>
                </a:lnTo>
                <a:lnTo>
                  <a:pt x="186" y="72"/>
                </a:lnTo>
                <a:lnTo>
                  <a:pt x="180" y="72"/>
                </a:lnTo>
                <a:lnTo>
                  <a:pt x="186" y="72"/>
                </a:lnTo>
                <a:lnTo>
                  <a:pt x="186" y="72"/>
                </a:lnTo>
                <a:lnTo>
                  <a:pt x="186" y="72"/>
                </a:lnTo>
                <a:lnTo>
                  <a:pt x="186" y="72"/>
                </a:lnTo>
                <a:lnTo>
                  <a:pt x="186" y="72"/>
                </a:lnTo>
                <a:lnTo>
                  <a:pt x="186" y="72"/>
                </a:lnTo>
                <a:lnTo>
                  <a:pt x="186" y="72"/>
                </a:lnTo>
                <a:lnTo>
                  <a:pt x="186" y="72"/>
                </a:lnTo>
                <a:lnTo>
                  <a:pt x="186" y="72"/>
                </a:lnTo>
                <a:lnTo>
                  <a:pt x="186" y="72"/>
                </a:lnTo>
                <a:lnTo>
                  <a:pt x="180" y="72"/>
                </a:lnTo>
                <a:lnTo>
                  <a:pt x="180" y="72"/>
                </a:lnTo>
                <a:lnTo>
                  <a:pt x="180" y="72"/>
                </a:lnTo>
                <a:lnTo>
                  <a:pt x="180" y="78"/>
                </a:lnTo>
                <a:lnTo>
                  <a:pt x="180" y="78"/>
                </a:lnTo>
                <a:lnTo>
                  <a:pt x="186" y="78"/>
                </a:lnTo>
                <a:lnTo>
                  <a:pt x="180" y="78"/>
                </a:lnTo>
                <a:lnTo>
                  <a:pt x="180" y="78"/>
                </a:lnTo>
                <a:lnTo>
                  <a:pt x="180" y="78"/>
                </a:lnTo>
                <a:lnTo>
                  <a:pt x="180" y="78"/>
                </a:lnTo>
                <a:lnTo>
                  <a:pt x="180" y="78"/>
                </a:lnTo>
                <a:lnTo>
                  <a:pt x="186" y="78"/>
                </a:lnTo>
                <a:lnTo>
                  <a:pt x="186" y="78"/>
                </a:lnTo>
                <a:lnTo>
                  <a:pt x="186" y="78"/>
                </a:lnTo>
                <a:lnTo>
                  <a:pt x="186" y="78"/>
                </a:lnTo>
                <a:lnTo>
                  <a:pt x="186" y="78"/>
                </a:lnTo>
                <a:lnTo>
                  <a:pt x="186" y="78"/>
                </a:lnTo>
                <a:lnTo>
                  <a:pt x="186" y="78"/>
                </a:lnTo>
                <a:lnTo>
                  <a:pt x="186" y="78"/>
                </a:lnTo>
                <a:lnTo>
                  <a:pt x="186" y="78"/>
                </a:lnTo>
                <a:lnTo>
                  <a:pt x="186" y="78"/>
                </a:lnTo>
                <a:lnTo>
                  <a:pt x="192" y="78"/>
                </a:lnTo>
                <a:lnTo>
                  <a:pt x="192" y="78"/>
                </a:lnTo>
                <a:lnTo>
                  <a:pt x="192" y="78"/>
                </a:lnTo>
                <a:lnTo>
                  <a:pt x="192" y="78"/>
                </a:lnTo>
                <a:lnTo>
                  <a:pt x="192" y="78"/>
                </a:lnTo>
                <a:lnTo>
                  <a:pt x="192" y="78"/>
                </a:lnTo>
                <a:lnTo>
                  <a:pt x="192" y="78"/>
                </a:lnTo>
                <a:lnTo>
                  <a:pt x="192" y="78"/>
                </a:lnTo>
                <a:lnTo>
                  <a:pt x="192" y="78"/>
                </a:lnTo>
                <a:lnTo>
                  <a:pt x="192" y="78"/>
                </a:lnTo>
                <a:lnTo>
                  <a:pt x="198" y="72"/>
                </a:lnTo>
                <a:lnTo>
                  <a:pt x="198" y="72"/>
                </a:lnTo>
                <a:lnTo>
                  <a:pt x="198" y="78"/>
                </a:lnTo>
                <a:lnTo>
                  <a:pt x="204" y="72"/>
                </a:lnTo>
                <a:lnTo>
                  <a:pt x="204" y="72"/>
                </a:lnTo>
                <a:lnTo>
                  <a:pt x="204" y="72"/>
                </a:lnTo>
                <a:lnTo>
                  <a:pt x="204" y="72"/>
                </a:lnTo>
                <a:lnTo>
                  <a:pt x="204" y="72"/>
                </a:lnTo>
                <a:lnTo>
                  <a:pt x="204" y="72"/>
                </a:lnTo>
                <a:lnTo>
                  <a:pt x="204" y="72"/>
                </a:lnTo>
                <a:lnTo>
                  <a:pt x="204" y="72"/>
                </a:lnTo>
                <a:lnTo>
                  <a:pt x="204" y="72"/>
                </a:lnTo>
                <a:lnTo>
                  <a:pt x="204" y="72"/>
                </a:lnTo>
                <a:lnTo>
                  <a:pt x="204" y="72"/>
                </a:lnTo>
                <a:lnTo>
                  <a:pt x="204" y="72"/>
                </a:lnTo>
                <a:lnTo>
                  <a:pt x="210" y="72"/>
                </a:lnTo>
                <a:lnTo>
                  <a:pt x="210" y="72"/>
                </a:lnTo>
                <a:lnTo>
                  <a:pt x="210" y="72"/>
                </a:lnTo>
                <a:lnTo>
                  <a:pt x="210" y="72"/>
                </a:lnTo>
                <a:lnTo>
                  <a:pt x="210" y="72"/>
                </a:lnTo>
                <a:lnTo>
                  <a:pt x="210" y="72"/>
                </a:lnTo>
                <a:lnTo>
                  <a:pt x="210" y="72"/>
                </a:lnTo>
                <a:lnTo>
                  <a:pt x="210" y="72"/>
                </a:lnTo>
                <a:lnTo>
                  <a:pt x="210" y="72"/>
                </a:lnTo>
                <a:lnTo>
                  <a:pt x="210" y="72"/>
                </a:lnTo>
                <a:lnTo>
                  <a:pt x="210" y="66"/>
                </a:lnTo>
                <a:lnTo>
                  <a:pt x="210" y="66"/>
                </a:lnTo>
                <a:lnTo>
                  <a:pt x="210" y="66"/>
                </a:lnTo>
                <a:lnTo>
                  <a:pt x="210" y="72"/>
                </a:lnTo>
                <a:lnTo>
                  <a:pt x="216" y="72"/>
                </a:lnTo>
                <a:lnTo>
                  <a:pt x="216" y="72"/>
                </a:lnTo>
                <a:lnTo>
                  <a:pt x="216" y="72"/>
                </a:lnTo>
                <a:lnTo>
                  <a:pt x="216" y="66"/>
                </a:lnTo>
                <a:lnTo>
                  <a:pt x="216" y="66"/>
                </a:lnTo>
                <a:lnTo>
                  <a:pt x="216" y="66"/>
                </a:lnTo>
                <a:lnTo>
                  <a:pt x="216" y="66"/>
                </a:lnTo>
                <a:lnTo>
                  <a:pt x="216" y="66"/>
                </a:lnTo>
                <a:lnTo>
                  <a:pt x="216" y="66"/>
                </a:lnTo>
                <a:lnTo>
                  <a:pt x="216" y="66"/>
                </a:lnTo>
                <a:lnTo>
                  <a:pt x="216" y="66"/>
                </a:lnTo>
                <a:lnTo>
                  <a:pt x="216" y="66"/>
                </a:lnTo>
                <a:lnTo>
                  <a:pt x="216" y="66"/>
                </a:lnTo>
                <a:lnTo>
                  <a:pt x="222" y="66"/>
                </a:lnTo>
                <a:lnTo>
                  <a:pt x="222" y="66"/>
                </a:lnTo>
                <a:lnTo>
                  <a:pt x="222" y="66"/>
                </a:lnTo>
                <a:lnTo>
                  <a:pt x="222" y="66"/>
                </a:lnTo>
                <a:lnTo>
                  <a:pt x="222" y="72"/>
                </a:lnTo>
                <a:lnTo>
                  <a:pt x="222" y="72"/>
                </a:lnTo>
                <a:lnTo>
                  <a:pt x="222" y="72"/>
                </a:lnTo>
                <a:lnTo>
                  <a:pt x="222" y="72"/>
                </a:lnTo>
                <a:lnTo>
                  <a:pt x="222" y="78"/>
                </a:lnTo>
                <a:lnTo>
                  <a:pt x="222" y="78"/>
                </a:lnTo>
                <a:lnTo>
                  <a:pt x="222" y="78"/>
                </a:lnTo>
                <a:lnTo>
                  <a:pt x="222" y="78"/>
                </a:lnTo>
                <a:lnTo>
                  <a:pt x="222" y="78"/>
                </a:lnTo>
                <a:lnTo>
                  <a:pt x="222" y="84"/>
                </a:lnTo>
                <a:lnTo>
                  <a:pt x="222" y="84"/>
                </a:lnTo>
                <a:lnTo>
                  <a:pt x="222" y="84"/>
                </a:lnTo>
                <a:lnTo>
                  <a:pt x="222" y="84"/>
                </a:lnTo>
                <a:lnTo>
                  <a:pt x="222" y="84"/>
                </a:lnTo>
                <a:lnTo>
                  <a:pt x="222" y="84"/>
                </a:lnTo>
                <a:lnTo>
                  <a:pt x="222" y="84"/>
                </a:lnTo>
                <a:lnTo>
                  <a:pt x="222" y="102"/>
                </a:lnTo>
                <a:lnTo>
                  <a:pt x="222" y="114"/>
                </a:lnTo>
                <a:lnTo>
                  <a:pt x="222" y="114"/>
                </a:lnTo>
                <a:lnTo>
                  <a:pt x="222" y="114"/>
                </a:lnTo>
                <a:lnTo>
                  <a:pt x="222" y="114"/>
                </a:lnTo>
                <a:lnTo>
                  <a:pt x="216" y="114"/>
                </a:lnTo>
                <a:lnTo>
                  <a:pt x="216" y="114"/>
                </a:lnTo>
                <a:lnTo>
                  <a:pt x="216" y="114"/>
                </a:lnTo>
                <a:lnTo>
                  <a:pt x="216" y="114"/>
                </a:lnTo>
                <a:lnTo>
                  <a:pt x="216" y="114"/>
                </a:lnTo>
                <a:lnTo>
                  <a:pt x="216" y="114"/>
                </a:lnTo>
                <a:lnTo>
                  <a:pt x="216" y="114"/>
                </a:lnTo>
                <a:lnTo>
                  <a:pt x="216" y="114"/>
                </a:lnTo>
                <a:lnTo>
                  <a:pt x="210" y="114"/>
                </a:lnTo>
                <a:lnTo>
                  <a:pt x="210" y="114"/>
                </a:lnTo>
                <a:lnTo>
                  <a:pt x="210" y="114"/>
                </a:lnTo>
                <a:lnTo>
                  <a:pt x="210" y="114"/>
                </a:lnTo>
                <a:lnTo>
                  <a:pt x="210" y="114"/>
                </a:lnTo>
                <a:lnTo>
                  <a:pt x="210" y="114"/>
                </a:lnTo>
                <a:lnTo>
                  <a:pt x="210" y="114"/>
                </a:lnTo>
                <a:lnTo>
                  <a:pt x="210" y="114"/>
                </a:lnTo>
                <a:lnTo>
                  <a:pt x="210" y="114"/>
                </a:lnTo>
                <a:lnTo>
                  <a:pt x="210" y="114"/>
                </a:lnTo>
                <a:lnTo>
                  <a:pt x="210" y="114"/>
                </a:lnTo>
                <a:lnTo>
                  <a:pt x="210" y="114"/>
                </a:lnTo>
                <a:lnTo>
                  <a:pt x="210" y="114"/>
                </a:lnTo>
                <a:lnTo>
                  <a:pt x="210" y="114"/>
                </a:lnTo>
                <a:lnTo>
                  <a:pt x="210" y="114"/>
                </a:lnTo>
                <a:lnTo>
                  <a:pt x="204" y="114"/>
                </a:lnTo>
                <a:lnTo>
                  <a:pt x="204" y="114"/>
                </a:lnTo>
                <a:lnTo>
                  <a:pt x="204" y="114"/>
                </a:lnTo>
                <a:lnTo>
                  <a:pt x="204" y="114"/>
                </a:lnTo>
                <a:lnTo>
                  <a:pt x="204" y="114"/>
                </a:lnTo>
                <a:lnTo>
                  <a:pt x="204" y="114"/>
                </a:lnTo>
                <a:lnTo>
                  <a:pt x="204" y="114"/>
                </a:lnTo>
                <a:lnTo>
                  <a:pt x="204" y="114"/>
                </a:lnTo>
                <a:lnTo>
                  <a:pt x="204" y="114"/>
                </a:lnTo>
                <a:lnTo>
                  <a:pt x="204" y="114"/>
                </a:lnTo>
                <a:lnTo>
                  <a:pt x="198" y="114"/>
                </a:lnTo>
                <a:lnTo>
                  <a:pt x="198" y="120"/>
                </a:lnTo>
                <a:lnTo>
                  <a:pt x="198" y="120"/>
                </a:lnTo>
                <a:lnTo>
                  <a:pt x="198" y="114"/>
                </a:lnTo>
                <a:lnTo>
                  <a:pt x="198" y="120"/>
                </a:lnTo>
                <a:lnTo>
                  <a:pt x="198" y="120"/>
                </a:lnTo>
                <a:lnTo>
                  <a:pt x="198" y="120"/>
                </a:lnTo>
                <a:lnTo>
                  <a:pt x="198" y="120"/>
                </a:lnTo>
                <a:lnTo>
                  <a:pt x="198" y="120"/>
                </a:lnTo>
                <a:lnTo>
                  <a:pt x="198" y="120"/>
                </a:lnTo>
                <a:lnTo>
                  <a:pt x="198" y="120"/>
                </a:lnTo>
                <a:lnTo>
                  <a:pt x="192" y="120"/>
                </a:lnTo>
                <a:lnTo>
                  <a:pt x="192" y="120"/>
                </a:lnTo>
                <a:lnTo>
                  <a:pt x="192" y="120"/>
                </a:lnTo>
                <a:lnTo>
                  <a:pt x="192" y="120"/>
                </a:lnTo>
                <a:lnTo>
                  <a:pt x="192" y="120"/>
                </a:lnTo>
                <a:lnTo>
                  <a:pt x="192" y="120"/>
                </a:lnTo>
                <a:lnTo>
                  <a:pt x="192" y="120"/>
                </a:lnTo>
                <a:lnTo>
                  <a:pt x="192" y="120"/>
                </a:lnTo>
                <a:lnTo>
                  <a:pt x="192" y="126"/>
                </a:lnTo>
                <a:lnTo>
                  <a:pt x="192" y="126"/>
                </a:lnTo>
                <a:lnTo>
                  <a:pt x="192" y="126"/>
                </a:lnTo>
                <a:lnTo>
                  <a:pt x="186" y="126"/>
                </a:lnTo>
                <a:lnTo>
                  <a:pt x="186" y="126"/>
                </a:lnTo>
                <a:lnTo>
                  <a:pt x="186" y="126"/>
                </a:lnTo>
                <a:lnTo>
                  <a:pt x="186" y="126"/>
                </a:lnTo>
                <a:lnTo>
                  <a:pt x="186" y="126"/>
                </a:lnTo>
                <a:lnTo>
                  <a:pt x="186" y="126"/>
                </a:lnTo>
                <a:lnTo>
                  <a:pt x="186" y="126"/>
                </a:lnTo>
                <a:lnTo>
                  <a:pt x="186" y="126"/>
                </a:lnTo>
                <a:lnTo>
                  <a:pt x="186" y="126"/>
                </a:lnTo>
                <a:lnTo>
                  <a:pt x="186" y="132"/>
                </a:lnTo>
                <a:lnTo>
                  <a:pt x="186" y="132"/>
                </a:lnTo>
                <a:lnTo>
                  <a:pt x="186" y="132"/>
                </a:lnTo>
                <a:lnTo>
                  <a:pt x="186" y="132"/>
                </a:lnTo>
                <a:lnTo>
                  <a:pt x="186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74" y="132"/>
                </a:lnTo>
                <a:lnTo>
                  <a:pt x="174" y="132"/>
                </a:lnTo>
                <a:lnTo>
                  <a:pt x="174" y="132"/>
                </a:lnTo>
                <a:lnTo>
                  <a:pt x="174" y="132"/>
                </a:lnTo>
                <a:lnTo>
                  <a:pt x="174" y="126"/>
                </a:lnTo>
                <a:lnTo>
                  <a:pt x="174" y="132"/>
                </a:lnTo>
                <a:lnTo>
                  <a:pt x="168" y="126"/>
                </a:lnTo>
                <a:lnTo>
                  <a:pt x="168" y="126"/>
                </a:lnTo>
                <a:lnTo>
                  <a:pt x="168" y="126"/>
                </a:lnTo>
                <a:lnTo>
                  <a:pt x="168" y="126"/>
                </a:lnTo>
                <a:lnTo>
                  <a:pt x="168" y="126"/>
                </a:lnTo>
                <a:lnTo>
                  <a:pt x="168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32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44" y="126"/>
                </a:lnTo>
                <a:lnTo>
                  <a:pt x="144" y="126"/>
                </a:lnTo>
                <a:lnTo>
                  <a:pt x="144" y="126"/>
                </a:lnTo>
                <a:lnTo>
                  <a:pt x="144" y="126"/>
                </a:lnTo>
                <a:lnTo>
                  <a:pt x="138" y="126"/>
                </a:lnTo>
                <a:lnTo>
                  <a:pt x="138" y="126"/>
                </a:lnTo>
                <a:lnTo>
                  <a:pt x="138" y="126"/>
                </a:lnTo>
                <a:lnTo>
                  <a:pt x="138" y="126"/>
                </a:lnTo>
                <a:lnTo>
                  <a:pt x="138" y="126"/>
                </a:lnTo>
                <a:lnTo>
                  <a:pt x="138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20"/>
                </a:lnTo>
                <a:lnTo>
                  <a:pt x="132" y="120"/>
                </a:lnTo>
                <a:lnTo>
                  <a:pt x="132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0" y="120"/>
                </a:lnTo>
                <a:lnTo>
                  <a:pt x="120" y="120"/>
                </a:lnTo>
                <a:lnTo>
                  <a:pt x="120" y="120"/>
                </a:lnTo>
                <a:lnTo>
                  <a:pt x="120" y="120"/>
                </a:lnTo>
                <a:lnTo>
                  <a:pt x="120" y="114"/>
                </a:lnTo>
                <a:lnTo>
                  <a:pt x="120" y="114"/>
                </a:lnTo>
                <a:lnTo>
                  <a:pt x="120" y="114"/>
                </a:lnTo>
                <a:lnTo>
                  <a:pt x="120" y="114"/>
                </a:lnTo>
                <a:lnTo>
                  <a:pt x="120" y="114"/>
                </a:lnTo>
                <a:lnTo>
                  <a:pt x="120" y="114"/>
                </a:lnTo>
                <a:lnTo>
                  <a:pt x="120" y="114"/>
                </a:lnTo>
                <a:lnTo>
                  <a:pt x="120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2"/>
                </a:lnTo>
                <a:lnTo>
                  <a:pt x="114" y="108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96" y="102"/>
                </a:lnTo>
                <a:lnTo>
                  <a:pt x="96" y="96"/>
                </a:lnTo>
                <a:lnTo>
                  <a:pt x="96" y="96"/>
                </a:lnTo>
                <a:lnTo>
                  <a:pt x="96" y="96"/>
                </a:lnTo>
                <a:lnTo>
                  <a:pt x="96" y="96"/>
                </a:lnTo>
                <a:lnTo>
                  <a:pt x="96" y="96"/>
                </a:lnTo>
                <a:lnTo>
                  <a:pt x="96" y="96"/>
                </a:lnTo>
                <a:lnTo>
                  <a:pt x="90" y="96"/>
                </a:lnTo>
                <a:lnTo>
                  <a:pt x="90" y="96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2" y="84"/>
                </a:lnTo>
                <a:lnTo>
                  <a:pt x="72" y="84"/>
                </a:lnTo>
                <a:lnTo>
                  <a:pt x="78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66" y="84"/>
                </a:lnTo>
                <a:lnTo>
                  <a:pt x="72" y="84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6"/>
                </a:lnTo>
                <a:lnTo>
                  <a:pt x="66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0" y="96"/>
                </a:lnTo>
                <a:lnTo>
                  <a:pt x="30" y="102"/>
                </a:lnTo>
                <a:lnTo>
                  <a:pt x="30" y="102"/>
                </a:lnTo>
                <a:lnTo>
                  <a:pt x="24" y="102"/>
                </a:lnTo>
                <a:lnTo>
                  <a:pt x="24" y="96"/>
                </a:lnTo>
                <a:lnTo>
                  <a:pt x="18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96"/>
                </a:lnTo>
                <a:lnTo>
                  <a:pt x="12" y="96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6" y="72"/>
                </a:lnTo>
                <a:lnTo>
                  <a:pt x="6" y="7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33" name="Freeform 466"/>
          <p:cNvSpPr>
            <a:spLocks/>
          </p:cNvSpPr>
          <p:nvPr/>
        </p:nvSpPr>
        <p:spPr bwMode="auto">
          <a:xfrm>
            <a:off x="6472835" y="5188556"/>
            <a:ext cx="77089" cy="77089"/>
          </a:xfrm>
          <a:custGeom>
            <a:avLst/>
            <a:gdLst>
              <a:gd name="T0" fmla="*/ 6 w 72"/>
              <a:gd name="T1" fmla="*/ 24 h 72"/>
              <a:gd name="T2" fmla="*/ 0 w 72"/>
              <a:gd name="T3" fmla="*/ 18 h 72"/>
              <a:gd name="T4" fmla="*/ 12 w 72"/>
              <a:gd name="T5" fmla="*/ 12 h 72"/>
              <a:gd name="T6" fmla="*/ 18 w 72"/>
              <a:gd name="T7" fmla="*/ 12 h 72"/>
              <a:gd name="T8" fmla="*/ 24 w 72"/>
              <a:gd name="T9" fmla="*/ 6 h 72"/>
              <a:gd name="T10" fmla="*/ 36 w 72"/>
              <a:gd name="T11" fmla="*/ 6 h 72"/>
              <a:gd name="T12" fmla="*/ 48 w 72"/>
              <a:gd name="T13" fmla="*/ 6 h 72"/>
              <a:gd name="T14" fmla="*/ 54 w 72"/>
              <a:gd name="T15" fmla="*/ 0 h 72"/>
              <a:gd name="T16" fmla="*/ 60 w 72"/>
              <a:gd name="T17" fmla="*/ 0 h 72"/>
              <a:gd name="T18" fmla="*/ 54 w 72"/>
              <a:gd name="T19" fmla="*/ 0 h 72"/>
              <a:gd name="T20" fmla="*/ 66 w 72"/>
              <a:gd name="T21" fmla="*/ 6 h 72"/>
              <a:gd name="T22" fmla="*/ 66 w 72"/>
              <a:gd name="T23" fmla="*/ 6 h 72"/>
              <a:gd name="T24" fmla="*/ 66 w 72"/>
              <a:gd name="T25" fmla="*/ 6 h 72"/>
              <a:gd name="T26" fmla="*/ 66 w 72"/>
              <a:gd name="T27" fmla="*/ 6 h 72"/>
              <a:gd name="T28" fmla="*/ 66 w 72"/>
              <a:gd name="T29" fmla="*/ 12 h 72"/>
              <a:gd name="T30" fmla="*/ 66 w 72"/>
              <a:gd name="T31" fmla="*/ 12 h 72"/>
              <a:gd name="T32" fmla="*/ 66 w 72"/>
              <a:gd name="T33" fmla="*/ 12 h 72"/>
              <a:gd name="T34" fmla="*/ 72 w 72"/>
              <a:gd name="T35" fmla="*/ 18 h 72"/>
              <a:gd name="T36" fmla="*/ 72 w 72"/>
              <a:gd name="T37" fmla="*/ 18 h 72"/>
              <a:gd name="T38" fmla="*/ 72 w 72"/>
              <a:gd name="T39" fmla="*/ 24 h 72"/>
              <a:gd name="T40" fmla="*/ 66 w 72"/>
              <a:gd name="T41" fmla="*/ 24 h 72"/>
              <a:gd name="T42" fmla="*/ 66 w 72"/>
              <a:gd name="T43" fmla="*/ 30 h 72"/>
              <a:gd name="T44" fmla="*/ 66 w 72"/>
              <a:gd name="T45" fmla="*/ 30 h 72"/>
              <a:gd name="T46" fmla="*/ 60 w 72"/>
              <a:gd name="T47" fmla="*/ 30 h 72"/>
              <a:gd name="T48" fmla="*/ 66 w 72"/>
              <a:gd name="T49" fmla="*/ 30 h 72"/>
              <a:gd name="T50" fmla="*/ 60 w 72"/>
              <a:gd name="T51" fmla="*/ 30 h 72"/>
              <a:gd name="T52" fmla="*/ 60 w 72"/>
              <a:gd name="T53" fmla="*/ 36 h 72"/>
              <a:gd name="T54" fmla="*/ 60 w 72"/>
              <a:gd name="T55" fmla="*/ 36 h 72"/>
              <a:gd name="T56" fmla="*/ 60 w 72"/>
              <a:gd name="T57" fmla="*/ 36 h 72"/>
              <a:gd name="T58" fmla="*/ 60 w 72"/>
              <a:gd name="T59" fmla="*/ 42 h 72"/>
              <a:gd name="T60" fmla="*/ 60 w 72"/>
              <a:gd name="T61" fmla="*/ 42 h 72"/>
              <a:gd name="T62" fmla="*/ 66 w 72"/>
              <a:gd name="T63" fmla="*/ 48 h 72"/>
              <a:gd name="T64" fmla="*/ 66 w 72"/>
              <a:gd name="T65" fmla="*/ 48 h 72"/>
              <a:gd name="T66" fmla="*/ 66 w 72"/>
              <a:gd name="T67" fmla="*/ 48 h 72"/>
              <a:gd name="T68" fmla="*/ 66 w 72"/>
              <a:gd name="T69" fmla="*/ 48 h 72"/>
              <a:gd name="T70" fmla="*/ 66 w 72"/>
              <a:gd name="T71" fmla="*/ 54 h 72"/>
              <a:gd name="T72" fmla="*/ 66 w 72"/>
              <a:gd name="T73" fmla="*/ 60 h 72"/>
              <a:gd name="T74" fmla="*/ 66 w 72"/>
              <a:gd name="T75" fmla="*/ 60 h 72"/>
              <a:gd name="T76" fmla="*/ 66 w 72"/>
              <a:gd name="T77" fmla="*/ 60 h 72"/>
              <a:gd name="T78" fmla="*/ 66 w 72"/>
              <a:gd name="T79" fmla="*/ 66 h 72"/>
              <a:gd name="T80" fmla="*/ 66 w 72"/>
              <a:gd name="T81" fmla="*/ 66 h 72"/>
              <a:gd name="T82" fmla="*/ 60 w 72"/>
              <a:gd name="T83" fmla="*/ 60 h 72"/>
              <a:gd name="T84" fmla="*/ 60 w 72"/>
              <a:gd name="T85" fmla="*/ 60 h 72"/>
              <a:gd name="T86" fmla="*/ 54 w 72"/>
              <a:gd name="T87" fmla="*/ 60 h 72"/>
              <a:gd name="T88" fmla="*/ 48 w 72"/>
              <a:gd name="T89" fmla="*/ 60 h 72"/>
              <a:gd name="T90" fmla="*/ 48 w 72"/>
              <a:gd name="T91" fmla="*/ 60 h 72"/>
              <a:gd name="T92" fmla="*/ 48 w 72"/>
              <a:gd name="T93" fmla="*/ 60 h 72"/>
              <a:gd name="T94" fmla="*/ 48 w 72"/>
              <a:gd name="T95" fmla="*/ 66 h 72"/>
              <a:gd name="T96" fmla="*/ 48 w 72"/>
              <a:gd name="T97" fmla="*/ 66 h 72"/>
              <a:gd name="T98" fmla="*/ 48 w 72"/>
              <a:gd name="T99" fmla="*/ 66 h 72"/>
              <a:gd name="T100" fmla="*/ 48 w 72"/>
              <a:gd name="T101" fmla="*/ 72 h 72"/>
              <a:gd name="T102" fmla="*/ 42 w 72"/>
              <a:gd name="T103" fmla="*/ 72 h 72"/>
              <a:gd name="T104" fmla="*/ 36 w 72"/>
              <a:gd name="T105" fmla="*/ 66 h 72"/>
              <a:gd name="T106" fmla="*/ 30 w 72"/>
              <a:gd name="T107" fmla="*/ 66 h 72"/>
              <a:gd name="T108" fmla="*/ 30 w 72"/>
              <a:gd name="T109" fmla="*/ 66 h 72"/>
              <a:gd name="T110" fmla="*/ 24 w 72"/>
              <a:gd name="T111" fmla="*/ 60 h 72"/>
              <a:gd name="T112" fmla="*/ 18 w 72"/>
              <a:gd name="T113" fmla="*/ 60 h 72"/>
              <a:gd name="T114" fmla="*/ 18 w 72"/>
              <a:gd name="T115" fmla="*/ 60 h 72"/>
              <a:gd name="T116" fmla="*/ 18 w 72"/>
              <a:gd name="T117" fmla="*/ 60 h 72"/>
              <a:gd name="T118" fmla="*/ 18 w 72"/>
              <a:gd name="T119" fmla="*/ 54 h 72"/>
              <a:gd name="T120" fmla="*/ 12 w 72"/>
              <a:gd name="T121" fmla="*/ 42 h 72"/>
              <a:gd name="T122" fmla="*/ 6 w 72"/>
              <a:gd name="T123" fmla="*/ 36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2" h="72">
                <a:moveTo>
                  <a:pt x="6" y="24"/>
                </a:move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0" y="24"/>
                </a:lnTo>
                <a:lnTo>
                  <a:pt x="0" y="18"/>
                </a:lnTo>
                <a:lnTo>
                  <a:pt x="6" y="12"/>
                </a:lnTo>
                <a:lnTo>
                  <a:pt x="6" y="12"/>
                </a:lnTo>
                <a:lnTo>
                  <a:pt x="12" y="12"/>
                </a:lnTo>
                <a:lnTo>
                  <a:pt x="12" y="12"/>
                </a:lnTo>
                <a:lnTo>
                  <a:pt x="18" y="12"/>
                </a:lnTo>
                <a:lnTo>
                  <a:pt x="18" y="12"/>
                </a:lnTo>
                <a:lnTo>
                  <a:pt x="18" y="6"/>
                </a:lnTo>
                <a:lnTo>
                  <a:pt x="18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60" y="0"/>
                </a:lnTo>
                <a:lnTo>
                  <a:pt x="60" y="0"/>
                </a:lnTo>
                <a:lnTo>
                  <a:pt x="54" y="0"/>
                </a:lnTo>
                <a:lnTo>
                  <a:pt x="54" y="0"/>
                </a:lnTo>
                <a:lnTo>
                  <a:pt x="60" y="0"/>
                </a:lnTo>
                <a:lnTo>
                  <a:pt x="60" y="0"/>
                </a:lnTo>
                <a:lnTo>
                  <a:pt x="66" y="6"/>
                </a:lnTo>
                <a:lnTo>
                  <a:pt x="66" y="6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72" y="18"/>
                </a:lnTo>
                <a:lnTo>
                  <a:pt x="72" y="18"/>
                </a:lnTo>
                <a:lnTo>
                  <a:pt x="66" y="18"/>
                </a:lnTo>
                <a:lnTo>
                  <a:pt x="72" y="18"/>
                </a:lnTo>
                <a:lnTo>
                  <a:pt x="72" y="18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6"/>
                </a:lnTo>
                <a:lnTo>
                  <a:pt x="60" y="30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42"/>
                </a:lnTo>
                <a:lnTo>
                  <a:pt x="66" y="42"/>
                </a:lnTo>
                <a:lnTo>
                  <a:pt x="66" y="42"/>
                </a:lnTo>
                <a:lnTo>
                  <a:pt x="60" y="42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2" y="66"/>
                </a:lnTo>
                <a:lnTo>
                  <a:pt x="42" y="66"/>
                </a:lnTo>
                <a:lnTo>
                  <a:pt x="48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36" y="72"/>
                </a:lnTo>
                <a:lnTo>
                  <a:pt x="36" y="72"/>
                </a:lnTo>
                <a:lnTo>
                  <a:pt x="36" y="66"/>
                </a:lnTo>
                <a:lnTo>
                  <a:pt x="36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24" y="66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54"/>
                </a:lnTo>
                <a:lnTo>
                  <a:pt x="18" y="54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24"/>
                </a:lnTo>
                <a:lnTo>
                  <a:pt x="6" y="2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34" name="Freeform 467"/>
          <p:cNvSpPr>
            <a:spLocks/>
          </p:cNvSpPr>
          <p:nvPr/>
        </p:nvSpPr>
        <p:spPr bwMode="auto">
          <a:xfrm>
            <a:off x="6466411" y="5220676"/>
            <a:ext cx="160601" cy="141330"/>
          </a:xfrm>
          <a:custGeom>
            <a:avLst/>
            <a:gdLst>
              <a:gd name="T0" fmla="*/ 6 w 150"/>
              <a:gd name="T1" fmla="*/ 120 h 132"/>
              <a:gd name="T2" fmla="*/ 12 w 150"/>
              <a:gd name="T3" fmla="*/ 108 h 132"/>
              <a:gd name="T4" fmla="*/ 12 w 150"/>
              <a:gd name="T5" fmla="*/ 102 h 132"/>
              <a:gd name="T6" fmla="*/ 12 w 150"/>
              <a:gd name="T7" fmla="*/ 96 h 132"/>
              <a:gd name="T8" fmla="*/ 12 w 150"/>
              <a:gd name="T9" fmla="*/ 90 h 132"/>
              <a:gd name="T10" fmla="*/ 6 w 150"/>
              <a:gd name="T11" fmla="*/ 78 h 132"/>
              <a:gd name="T12" fmla="*/ 12 w 150"/>
              <a:gd name="T13" fmla="*/ 72 h 132"/>
              <a:gd name="T14" fmla="*/ 18 w 150"/>
              <a:gd name="T15" fmla="*/ 66 h 132"/>
              <a:gd name="T16" fmla="*/ 30 w 150"/>
              <a:gd name="T17" fmla="*/ 66 h 132"/>
              <a:gd name="T18" fmla="*/ 42 w 150"/>
              <a:gd name="T19" fmla="*/ 60 h 132"/>
              <a:gd name="T20" fmla="*/ 60 w 150"/>
              <a:gd name="T21" fmla="*/ 54 h 132"/>
              <a:gd name="T22" fmla="*/ 48 w 150"/>
              <a:gd name="T23" fmla="*/ 36 h 132"/>
              <a:gd name="T24" fmla="*/ 54 w 150"/>
              <a:gd name="T25" fmla="*/ 36 h 132"/>
              <a:gd name="T26" fmla="*/ 60 w 150"/>
              <a:gd name="T27" fmla="*/ 30 h 132"/>
              <a:gd name="T28" fmla="*/ 72 w 150"/>
              <a:gd name="T29" fmla="*/ 36 h 132"/>
              <a:gd name="T30" fmla="*/ 72 w 150"/>
              <a:gd name="T31" fmla="*/ 30 h 132"/>
              <a:gd name="T32" fmla="*/ 72 w 150"/>
              <a:gd name="T33" fmla="*/ 18 h 132"/>
              <a:gd name="T34" fmla="*/ 72 w 150"/>
              <a:gd name="T35" fmla="*/ 12 h 132"/>
              <a:gd name="T36" fmla="*/ 78 w 150"/>
              <a:gd name="T37" fmla="*/ 12 h 132"/>
              <a:gd name="T38" fmla="*/ 90 w 150"/>
              <a:gd name="T39" fmla="*/ 0 h 132"/>
              <a:gd name="T40" fmla="*/ 114 w 150"/>
              <a:gd name="T41" fmla="*/ 0 h 132"/>
              <a:gd name="T42" fmla="*/ 126 w 150"/>
              <a:gd name="T43" fmla="*/ 12 h 132"/>
              <a:gd name="T44" fmla="*/ 126 w 150"/>
              <a:gd name="T45" fmla="*/ 18 h 132"/>
              <a:gd name="T46" fmla="*/ 120 w 150"/>
              <a:gd name="T47" fmla="*/ 24 h 132"/>
              <a:gd name="T48" fmla="*/ 108 w 150"/>
              <a:gd name="T49" fmla="*/ 18 h 132"/>
              <a:gd name="T50" fmla="*/ 108 w 150"/>
              <a:gd name="T51" fmla="*/ 18 h 132"/>
              <a:gd name="T52" fmla="*/ 102 w 150"/>
              <a:gd name="T53" fmla="*/ 36 h 132"/>
              <a:gd name="T54" fmla="*/ 126 w 150"/>
              <a:gd name="T55" fmla="*/ 30 h 132"/>
              <a:gd name="T56" fmla="*/ 132 w 150"/>
              <a:gd name="T57" fmla="*/ 30 h 132"/>
              <a:gd name="T58" fmla="*/ 138 w 150"/>
              <a:gd name="T59" fmla="*/ 36 h 132"/>
              <a:gd name="T60" fmla="*/ 138 w 150"/>
              <a:gd name="T61" fmla="*/ 48 h 132"/>
              <a:gd name="T62" fmla="*/ 138 w 150"/>
              <a:gd name="T63" fmla="*/ 60 h 132"/>
              <a:gd name="T64" fmla="*/ 144 w 150"/>
              <a:gd name="T65" fmla="*/ 72 h 132"/>
              <a:gd name="T66" fmla="*/ 144 w 150"/>
              <a:gd name="T67" fmla="*/ 96 h 132"/>
              <a:gd name="T68" fmla="*/ 126 w 150"/>
              <a:gd name="T69" fmla="*/ 96 h 132"/>
              <a:gd name="T70" fmla="*/ 126 w 150"/>
              <a:gd name="T71" fmla="*/ 102 h 132"/>
              <a:gd name="T72" fmla="*/ 108 w 150"/>
              <a:gd name="T73" fmla="*/ 114 h 132"/>
              <a:gd name="T74" fmla="*/ 90 w 150"/>
              <a:gd name="T75" fmla="*/ 108 h 132"/>
              <a:gd name="T76" fmla="*/ 96 w 150"/>
              <a:gd name="T77" fmla="*/ 102 h 132"/>
              <a:gd name="T78" fmla="*/ 90 w 150"/>
              <a:gd name="T79" fmla="*/ 96 h 132"/>
              <a:gd name="T80" fmla="*/ 84 w 150"/>
              <a:gd name="T81" fmla="*/ 90 h 132"/>
              <a:gd name="T82" fmla="*/ 84 w 150"/>
              <a:gd name="T83" fmla="*/ 96 h 132"/>
              <a:gd name="T84" fmla="*/ 78 w 150"/>
              <a:gd name="T85" fmla="*/ 90 h 132"/>
              <a:gd name="T86" fmla="*/ 66 w 150"/>
              <a:gd name="T87" fmla="*/ 84 h 132"/>
              <a:gd name="T88" fmla="*/ 66 w 150"/>
              <a:gd name="T89" fmla="*/ 78 h 132"/>
              <a:gd name="T90" fmla="*/ 66 w 150"/>
              <a:gd name="T91" fmla="*/ 72 h 132"/>
              <a:gd name="T92" fmla="*/ 66 w 150"/>
              <a:gd name="T93" fmla="*/ 66 h 132"/>
              <a:gd name="T94" fmla="*/ 66 w 150"/>
              <a:gd name="T95" fmla="*/ 60 h 132"/>
              <a:gd name="T96" fmla="*/ 60 w 150"/>
              <a:gd name="T97" fmla="*/ 66 h 132"/>
              <a:gd name="T98" fmla="*/ 60 w 150"/>
              <a:gd name="T99" fmla="*/ 78 h 132"/>
              <a:gd name="T100" fmla="*/ 60 w 150"/>
              <a:gd name="T101" fmla="*/ 90 h 132"/>
              <a:gd name="T102" fmla="*/ 42 w 150"/>
              <a:gd name="T103" fmla="*/ 96 h 132"/>
              <a:gd name="T104" fmla="*/ 30 w 150"/>
              <a:gd name="T105" fmla="*/ 96 h 132"/>
              <a:gd name="T106" fmla="*/ 36 w 150"/>
              <a:gd name="T107" fmla="*/ 102 h 132"/>
              <a:gd name="T108" fmla="*/ 42 w 150"/>
              <a:gd name="T109" fmla="*/ 108 h 132"/>
              <a:gd name="T110" fmla="*/ 36 w 150"/>
              <a:gd name="T111" fmla="*/ 114 h 132"/>
              <a:gd name="T112" fmla="*/ 30 w 150"/>
              <a:gd name="T113" fmla="*/ 126 h 132"/>
              <a:gd name="T114" fmla="*/ 18 w 150"/>
              <a:gd name="T115" fmla="*/ 132 h 132"/>
              <a:gd name="T116" fmla="*/ 12 w 150"/>
              <a:gd name="T117" fmla="*/ 126 h 132"/>
              <a:gd name="T118" fmla="*/ 0 w 150"/>
              <a:gd name="T119" fmla="*/ 126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50" h="132">
                <a:moveTo>
                  <a:pt x="0" y="126"/>
                </a:moveTo>
                <a:lnTo>
                  <a:pt x="0" y="126"/>
                </a:lnTo>
                <a:lnTo>
                  <a:pt x="0" y="126"/>
                </a:lnTo>
                <a:lnTo>
                  <a:pt x="0" y="126"/>
                </a:lnTo>
                <a:lnTo>
                  <a:pt x="6" y="120"/>
                </a:lnTo>
                <a:lnTo>
                  <a:pt x="6" y="126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12" y="120"/>
                </a:lnTo>
                <a:lnTo>
                  <a:pt x="12" y="120"/>
                </a:lnTo>
                <a:lnTo>
                  <a:pt x="6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96"/>
                </a:lnTo>
                <a:lnTo>
                  <a:pt x="12" y="102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6" y="84"/>
                </a:lnTo>
                <a:lnTo>
                  <a:pt x="12" y="84"/>
                </a:lnTo>
                <a:lnTo>
                  <a:pt x="6" y="78"/>
                </a:lnTo>
                <a:lnTo>
                  <a:pt x="12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0"/>
                </a:lnTo>
                <a:lnTo>
                  <a:pt x="18" y="60"/>
                </a:lnTo>
                <a:lnTo>
                  <a:pt x="24" y="60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54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6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54" y="48"/>
                </a:lnTo>
                <a:lnTo>
                  <a:pt x="54" y="48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48" y="36"/>
                </a:lnTo>
                <a:lnTo>
                  <a:pt x="48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8" y="12"/>
                </a:lnTo>
                <a:lnTo>
                  <a:pt x="78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6"/>
                </a:lnTo>
                <a:lnTo>
                  <a:pt x="90" y="0"/>
                </a:lnTo>
                <a:lnTo>
                  <a:pt x="96" y="0"/>
                </a:lnTo>
                <a:lnTo>
                  <a:pt x="96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14" y="0"/>
                </a:lnTo>
                <a:lnTo>
                  <a:pt x="120" y="0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6" y="6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18"/>
                </a:lnTo>
                <a:lnTo>
                  <a:pt x="114" y="24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24"/>
                </a:lnTo>
                <a:lnTo>
                  <a:pt x="108" y="24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2" y="36"/>
                </a:lnTo>
                <a:lnTo>
                  <a:pt x="114" y="36"/>
                </a:lnTo>
                <a:lnTo>
                  <a:pt x="114" y="30"/>
                </a:lnTo>
                <a:lnTo>
                  <a:pt x="120" y="36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32" y="30"/>
                </a:lnTo>
                <a:lnTo>
                  <a:pt x="132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6"/>
                </a:lnTo>
                <a:lnTo>
                  <a:pt x="138" y="36"/>
                </a:lnTo>
                <a:lnTo>
                  <a:pt x="138" y="30"/>
                </a:lnTo>
                <a:lnTo>
                  <a:pt x="138" y="36"/>
                </a:lnTo>
                <a:lnTo>
                  <a:pt x="132" y="30"/>
                </a:lnTo>
                <a:lnTo>
                  <a:pt x="132" y="30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8"/>
                </a:lnTo>
                <a:lnTo>
                  <a:pt x="138" y="48"/>
                </a:lnTo>
                <a:lnTo>
                  <a:pt x="138" y="48"/>
                </a:lnTo>
                <a:lnTo>
                  <a:pt x="138" y="54"/>
                </a:lnTo>
                <a:lnTo>
                  <a:pt x="138" y="54"/>
                </a:lnTo>
                <a:lnTo>
                  <a:pt x="138" y="54"/>
                </a:lnTo>
                <a:lnTo>
                  <a:pt x="138" y="60"/>
                </a:lnTo>
                <a:lnTo>
                  <a:pt x="132" y="60"/>
                </a:lnTo>
                <a:lnTo>
                  <a:pt x="138" y="60"/>
                </a:lnTo>
                <a:lnTo>
                  <a:pt x="138" y="60"/>
                </a:lnTo>
                <a:lnTo>
                  <a:pt x="138" y="60"/>
                </a:lnTo>
                <a:lnTo>
                  <a:pt x="138" y="60"/>
                </a:lnTo>
                <a:lnTo>
                  <a:pt x="138" y="60"/>
                </a:lnTo>
                <a:lnTo>
                  <a:pt x="138" y="66"/>
                </a:lnTo>
                <a:lnTo>
                  <a:pt x="138" y="66"/>
                </a:lnTo>
                <a:lnTo>
                  <a:pt x="138" y="66"/>
                </a:lnTo>
                <a:lnTo>
                  <a:pt x="138" y="66"/>
                </a:lnTo>
                <a:lnTo>
                  <a:pt x="138" y="66"/>
                </a:lnTo>
                <a:lnTo>
                  <a:pt x="144" y="66"/>
                </a:lnTo>
                <a:lnTo>
                  <a:pt x="144" y="66"/>
                </a:lnTo>
                <a:lnTo>
                  <a:pt x="144" y="66"/>
                </a:lnTo>
                <a:lnTo>
                  <a:pt x="144" y="66"/>
                </a:lnTo>
                <a:lnTo>
                  <a:pt x="144" y="72"/>
                </a:lnTo>
                <a:lnTo>
                  <a:pt x="150" y="72"/>
                </a:lnTo>
                <a:lnTo>
                  <a:pt x="150" y="78"/>
                </a:lnTo>
                <a:lnTo>
                  <a:pt x="150" y="78"/>
                </a:lnTo>
                <a:lnTo>
                  <a:pt x="150" y="84"/>
                </a:lnTo>
                <a:lnTo>
                  <a:pt x="144" y="84"/>
                </a:lnTo>
                <a:lnTo>
                  <a:pt x="144" y="84"/>
                </a:lnTo>
                <a:lnTo>
                  <a:pt x="144" y="96"/>
                </a:lnTo>
                <a:lnTo>
                  <a:pt x="144" y="96"/>
                </a:lnTo>
                <a:lnTo>
                  <a:pt x="144" y="96"/>
                </a:lnTo>
                <a:lnTo>
                  <a:pt x="144" y="96"/>
                </a:lnTo>
                <a:lnTo>
                  <a:pt x="144" y="102"/>
                </a:lnTo>
                <a:lnTo>
                  <a:pt x="138" y="102"/>
                </a:lnTo>
                <a:lnTo>
                  <a:pt x="138" y="102"/>
                </a:lnTo>
                <a:lnTo>
                  <a:pt x="132" y="96"/>
                </a:lnTo>
                <a:lnTo>
                  <a:pt x="132" y="102"/>
                </a:lnTo>
                <a:lnTo>
                  <a:pt x="132" y="96"/>
                </a:lnTo>
                <a:lnTo>
                  <a:pt x="126" y="102"/>
                </a:lnTo>
                <a:lnTo>
                  <a:pt x="126" y="96"/>
                </a:lnTo>
                <a:lnTo>
                  <a:pt x="126" y="96"/>
                </a:lnTo>
                <a:lnTo>
                  <a:pt x="126" y="96"/>
                </a:lnTo>
                <a:lnTo>
                  <a:pt x="126" y="96"/>
                </a:lnTo>
                <a:lnTo>
                  <a:pt x="126" y="102"/>
                </a:lnTo>
                <a:lnTo>
                  <a:pt x="126" y="102"/>
                </a:lnTo>
                <a:lnTo>
                  <a:pt x="126" y="102"/>
                </a:lnTo>
                <a:lnTo>
                  <a:pt x="126" y="102"/>
                </a:lnTo>
                <a:lnTo>
                  <a:pt x="126" y="102"/>
                </a:lnTo>
                <a:lnTo>
                  <a:pt x="126" y="102"/>
                </a:lnTo>
                <a:lnTo>
                  <a:pt x="126" y="102"/>
                </a:lnTo>
                <a:lnTo>
                  <a:pt x="126" y="102"/>
                </a:lnTo>
                <a:lnTo>
                  <a:pt x="126" y="102"/>
                </a:lnTo>
                <a:lnTo>
                  <a:pt x="126" y="102"/>
                </a:lnTo>
                <a:lnTo>
                  <a:pt x="120" y="102"/>
                </a:lnTo>
                <a:lnTo>
                  <a:pt x="114" y="102"/>
                </a:lnTo>
                <a:lnTo>
                  <a:pt x="114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8"/>
                </a:lnTo>
                <a:lnTo>
                  <a:pt x="108" y="108"/>
                </a:lnTo>
                <a:lnTo>
                  <a:pt x="108" y="114"/>
                </a:lnTo>
                <a:lnTo>
                  <a:pt x="108" y="114"/>
                </a:lnTo>
                <a:lnTo>
                  <a:pt x="108" y="120"/>
                </a:lnTo>
                <a:lnTo>
                  <a:pt x="114" y="120"/>
                </a:lnTo>
                <a:lnTo>
                  <a:pt x="108" y="120"/>
                </a:lnTo>
                <a:lnTo>
                  <a:pt x="102" y="114"/>
                </a:lnTo>
                <a:lnTo>
                  <a:pt x="96" y="114"/>
                </a:lnTo>
                <a:lnTo>
                  <a:pt x="96" y="108"/>
                </a:lnTo>
                <a:lnTo>
                  <a:pt x="96" y="114"/>
                </a:lnTo>
                <a:lnTo>
                  <a:pt x="90" y="114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6" y="108"/>
                </a:lnTo>
                <a:lnTo>
                  <a:pt x="96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0" y="108"/>
                </a:lnTo>
                <a:lnTo>
                  <a:pt x="96" y="108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96"/>
                </a:lnTo>
                <a:lnTo>
                  <a:pt x="96" y="96"/>
                </a:lnTo>
                <a:lnTo>
                  <a:pt x="96" y="96"/>
                </a:lnTo>
                <a:lnTo>
                  <a:pt x="96" y="96"/>
                </a:lnTo>
                <a:lnTo>
                  <a:pt x="96" y="96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90" y="90"/>
                </a:lnTo>
                <a:lnTo>
                  <a:pt x="90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6"/>
                </a:lnTo>
                <a:lnTo>
                  <a:pt x="84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0"/>
                </a:lnTo>
                <a:lnTo>
                  <a:pt x="78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72" y="84"/>
                </a:lnTo>
                <a:lnTo>
                  <a:pt x="72" y="84"/>
                </a:lnTo>
                <a:lnTo>
                  <a:pt x="66" y="84"/>
                </a:lnTo>
                <a:lnTo>
                  <a:pt x="72" y="84"/>
                </a:lnTo>
                <a:lnTo>
                  <a:pt x="72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0" y="78"/>
                </a:lnTo>
                <a:lnTo>
                  <a:pt x="60" y="78"/>
                </a:lnTo>
                <a:lnTo>
                  <a:pt x="66" y="78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0" y="66"/>
                </a:lnTo>
                <a:lnTo>
                  <a:pt x="66" y="66"/>
                </a:lnTo>
                <a:lnTo>
                  <a:pt x="66" y="60"/>
                </a:lnTo>
                <a:lnTo>
                  <a:pt x="60" y="60"/>
                </a:lnTo>
                <a:lnTo>
                  <a:pt x="60" y="66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54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48" y="90"/>
                </a:lnTo>
                <a:lnTo>
                  <a:pt x="48" y="90"/>
                </a:lnTo>
                <a:lnTo>
                  <a:pt x="48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14"/>
                </a:lnTo>
                <a:lnTo>
                  <a:pt x="36" y="108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32"/>
                </a:lnTo>
                <a:lnTo>
                  <a:pt x="18" y="132"/>
                </a:lnTo>
                <a:lnTo>
                  <a:pt x="18" y="126"/>
                </a:lnTo>
                <a:lnTo>
                  <a:pt x="18" y="126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6" y="132"/>
                </a:lnTo>
                <a:lnTo>
                  <a:pt x="6" y="132"/>
                </a:lnTo>
                <a:lnTo>
                  <a:pt x="6" y="126"/>
                </a:lnTo>
                <a:lnTo>
                  <a:pt x="6" y="132"/>
                </a:lnTo>
                <a:lnTo>
                  <a:pt x="6" y="126"/>
                </a:lnTo>
                <a:lnTo>
                  <a:pt x="0" y="132"/>
                </a:lnTo>
                <a:lnTo>
                  <a:pt x="0" y="132"/>
                </a:lnTo>
                <a:lnTo>
                  <a:pt x="0" y="132"/>
                </a:lnTo>
                <a:lnTo>
                  <a:pt x="0" y="126"/>
                </a:lnTo>
                <a:lnTo>
                  <a:pt x="0" y="126"/>
                </a:lnTo>
                <a:lnTo>
                  <a:pt x="0" y="12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35" name="Freeform 468"/>
          <p:cNvSpPr>
            <a:spLocks/>
          </p:cNvSpPr>
          <p:nvPr/>
        </p:nvSpPr>
        <p:spPr bwMode="auto">
          <a:xfrm>
            <a:off x="6164481" y="5304190"/>
            <a:ext cx="256962" cy="244116"/>
          </a:xfrm>
          <a:custGeom>
            <a:avLst/>
            <a:gdLst>
              <a:gd name="T0" fmla="*/ 0 w 240"/>
              <a:gd name="T1" fmla="*/ 210 h 228"/>
              <a:gd name="T2" fmla="*/ 12 w 240"/>
              <a:gd name="T3" fmla="*/ 192 h 228"/>
              <a:gd name="T4" fmla="*/ 12 w 240"/>
              <a:gd name="T5" fmla="*/ 174 h 228"/>
              <a:gd name="T6" fmla="*/ 18 w 240"/>
              <a:gd name="T7" fmla="*/ 156 h 228"/>
              <a:gd name="T8" fmla="*/ 42 w 240"/>
              <a:gd name="T9" fmla="*/ 150 h 228"/>
              <a:gd name="T10" fmla="*/ 48 w 240"/>
              <a:gd name="T11" fmla="*/ 144 h 228"/>
              <a:gd name="T12" fmla="*/ 54 w 240"/>
              <a:gd name="T13" fmla="*/ 138 h 228"/>
              <a:gd name="T14" fmla="*/ 54 w 240"/>
              <a:gd name="T15" fmla="*/ 126 h 228"/>
              <a:gd name="T16" fmla="*/ 54 w 240"/>
              <a:gd name="T17" fmla="*/ 120 h 228"/>
              <a:gd name="T18" fmla="*/ 60 w 240"/>
              <a:gd name="T19" fmla="*/ 114 h 228"/>
              <a:gd name="T20" fmla="*/ 60 w 240"/>
              <a:gd name="T21" fmla="*/ 108 h 228"/>
              <a:gd name="T22" fmla="*/ 48 w 240"/>
              <a:gd name="T23" fmla="*/ 108 h 228"/>
              <a:gd name="T24" fmla="*/ 42 w 240"/>
              <a:gd name="T25" fmla="*/ 102 h 228"/>
              <a:gd name="T26" fmla="*/ 36 w 240"/>
              <a:gd name="T27" fmla="*/ 90 h 228"/>
              <a:gd name="T28" fmla="*/ 18 w 240"/>
              <a:gd name="T29" fmla="*/ 84 h 228"/>
              <a:gd name="T30" fmla="*/ 18 w 240"/>
              <a:gd name="T31" fmla="*/ 72 h 228"/>
              <a:gd name="T32" fmla="*/ 18 w 240"/>
              <a:gd name="T33" fmla="*/ 66 h 228"/>
              <a:gd name="T34" fmla="*/ 24 w 240"/>
              <a:gd name="T35" fmla="*/ 54 h 228"/>
              <a:gd name="T36" fmla="*/ 24 w 240"/>
              <a:gd name="T37" fmla="*/ 36 h 228"/>
              <a:gd name="T38" fmla="*/ 42 w 240"/>
              <a:gd name="T39" fmla="*/ 30 h 228"/>
              <a:gd name="T40" fmla="*/ 60 w 240"/>
              <a:gd name="T41" fmla="*/ 24 h 228"/>
              <a:gd name="T42" fmla="*/ 66 w 240"/>
              <a:gd name="T43" fmla="*/ 12 h 228"/>
              <a:gd name="T44" fmla="*/ 78 w 240"/>
              <a:gd name="T45" fmla="*/ 12 h 228"/>
              <a:gd name="T46" fmla="*/ 96 w 240"/>
              <a:gd name="T47" fmla="*/ 24 h 228"/>
              <a:gd name="T48" fmla="*/ 96 w 240"/>
              <a:gd name="T49" fmla="*/ 36 h 228"/>
              <a:gd name="T50" fmla="*/ 102 w 240"/>
              <a:gd name="T51" fmla="*/ 54 h 228"/>
              <a:gd name="T52" fmla="*/ 114 w 240"/>
              <a:gd name="T53" fmla="*/ 66 h 228"/>
              <a:gd name="T54" fmla="*/ 126 w 240"/>
              <a:gd name="T55" fmla="*/ 66 h 228"/>
              <a:gd name="T56" fmla="*/ 132 w 240"/>
              <a:gd name="T57" fmla="*/ 48 h 228"/>
              <a:gd name="T58" fmla="*/ 138 w 240"/>
              <a:gd name="T59" fmla="*/ 36 h 228"/>
              <a:gd name="T60" fmla="*/ 138 w 240"/>
              <a:gd name="T61" fmla="*/ 30 h 228"/>
              <a:gd name="T62" fmla="*/ 150 w 240"/>
              <a:gd name="T63" fmla="*/ 24 h 228"/>
              <a:gd name="T64" fmla="*/ 162 w 240"/>
              <a:gd name="T65" fmla="*/ 12 h 228"/>
              <a:gd name="T66" fmla="*/ 174 w 240"/>
              <a:gd name="T67" fmla="*/ 24 h 228"/>
              <a:gd name="T68" fmla="*/ 180 w 240"/>
              <a:gd name="T69" fmla="*/ 18 h 228"/>
              <a:gd name="T70" fmla="*/ 204 w 240"/>
              <a:gd name="T71" fmla="*/ 30 h 228"/>
              <a:gd name="T72" fmla="*/ 204 w 240"/>
              <a:gd name="T73" fmla="*/ 42 h 228"/>
              <a:gd name="T74" fmla="*/ 210 w 240"/>
              <a:gd name="T75" fmla="*/ 54 h 228"/>
              <a:gd name="T76" fmla="*/ 210 w 240"/>
              <a:gd name="T77" fmla="*/ 72 h 228"/>
              <a:gd name="T78" fmla="*/ 216 w 240"/>
              <a:gd name="T79" fmla="*/ 84 h 228"/>
              <a:gd name="T80" fmla="*/ 228 w 240"/>
              <a:gd name="T81" fmla="*/ 90 h 228"/>
              <a:gd name="T82" fmla="*/ 234 w 240"/>
              <a:gd name="T83" fmla="*/ 102 h 228"/>
              <a:gd name="T84" fmla="*/ 216 w 240"/>
              <a:gd name="T85" fmla="*/ 102 h 228"/>
              <a:gd name="T86" fmla="*/ 186 w 240"/>
              <a:gd name="T87" fmla="*/ 102 h 228"/>
              <a:gd name="T88" fmla="*/ 174 w 240"/>
              <a:gd name="T89" fmla="*/ 108 h 228"/>
              <a:gd name="T90" fmla="*/ 150 w 240"/>
              <a:gd name="T91" fmla="*/ 102 h 228"/>
              <a:gd name="T92" fmla="*/ 138 w 240"/>
              <a:gd name="T93" fmla="*/ 114 h 228"/>
              <a:gd name="T94" fmla="*/ 132 w 240"/>
              <a:gd name="T95" fmla="*/ 126 h 228"/>
              <a:gd name="T96" fmla="*/ 132 w 240"/>
              <a:gd name="T97" fmla="*/ 144 h 228"/>
              <a:gd name="T98" fmla="*/ 132 w 240"/>
              <a:gd name="T99" fmla="*/ 168 h 228"/>
              <a:gd name="T100" fmla="*/ 120 w 240"/>
              <a:gd name="T101" fmla="*/ 180 h 228"/>
              <a:gd name="T102" fmla="*/ 132 w 240"/>
              <a:gd name="T103" fmla="*/ 198 h 228"/>
              <a:gd name="T104" fmla="*/ 132 w 240"/>
              <a:gd name="T105" fmla="*/ 216 h 228"/>
              <a:gd name="T106" fmla="*/ 138 w 240"/>
              <a:gd name="T107" fmla="*/ 228 h 228"/>
              <a:gd name="T108" fmla="*/ 114 w 240"/>
              <a:gd name="T109" fmla="*/ 228 h 228"/>
              <a:gd name="T110" fmla="*/ 90 w 240"/>
              <a:gd name="T111" fmla="*/ 228 h 228"/>
              <a:gd name="T112" fmla="*/ 78 w 240"/>
              <a:gd name="T113" fmla="*/ 222 h 228"/>
              <a:gd name="T114" fmla="*/ 60 w 240"/>
              <a:gd name="T115" fmla="*/ 216 h 228"/>
              <a:gd name="T116" fmla="*/ 54 w 240"/>
              <a:gd name="T117" fmla="*/ 204 h 228"/>
              <a:gd name="T118" fmla="*/ 36 w 240"/>
              <a:gd name="T119" fmla="*/ 192 h 228"/>
              <a:gd name="T120" fmla="*/ 18 w 240"/>
              <a:gd name="T121" fmla="*/ 204 h 228"/>
              <a:gd name="T122" fmla="*/ 12 w 240"/>
              <a:gd name="T123" fmla="*/ 222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40" h="228">
                <a:moveTo>
                  <a:pt x="0" y="222"/>
                </a:moveTo>
                <a:lnTo>
                  <a:pt x="0" y="222"/>
                </a:lnTo>
                <a:lnTo>
                  <a:pt x="0" y="222"/>
                </a:lnTo>
                <a:lnTo>
                  <a:pt x="0" y="222"/>
                </a:lnTo>
                <a:lnTo>
                  <a:pt x="0" y="222"/>
                </a:lnTo>
                <a:lnTo>
                  <a:pt x="0" y="222"/>
                </a:lnTo>
                <a:lnTo>
                  <a:pt x="0" y="222"/>
                </a:lnTo>
                <a:lnTo>
                  <a:pt x="0" y="222"/>
                </a:lnTo>
                <a:lnTo>
                  <a:pt x="0" y="216"/>
                </a:lnTo>
                <a:lnTo>
                  <a:pt x="0" y="216"/>
                </a:lnTo>
                <a:lnTo>
                  <a:pt x="0" y="216"/>
                </a:lnTo>
                <a:lnTo>
                  <a:pt x="0" y="216"/>
                </a:lnTo>
                <a:lnTo>
                  <a:pt x="0" y="216"/>
                </a:lnTo>
                <a:lnTo>
                  <a:pt x="0" y="216"/>
                </a:lnTo>
                <a:lnTo>
                  <a:pt x="0" y="216"/>
                </a:lnTo>
                <a:lnTo>
                  <a:pt x="0" y="216"/>
                </a:lnTo>
                <a:lnTo>
                  <a:pt x="0" y="210"/>
                </a:lnTo>
                <a:lnTo>
                  <a:pt x="0" y="210"/>
                </a:lnTo>
                <a:lnTo>
                  <a:pt x="0" y="210"/>
                </a:lnTo>
                <a:lnTo>
                  <a:pt x="0" y="210"/>
                </a:lnTo>
                <a:lnTo>
                  <a:pt x="0" y="210"/>
                </a:lnTo>
                <a:lnTo>
                  <a:pt x="6" y="210"/>
                </a:lnTo>
                <a:lnTo>
                  <a:pt x="6" y="204"/>
                </a:lnTo>
                <a:lnTo>
                  <a:pt x="6" y="204"/>
                </a:lnTo>
                <a:lnTo>
                  <a:pt x="6" y="204"/>
                </a:lnTo>
                <a:lnTo>
                  <a:pt x="6" y="198"/>
                </a:lnTo>
                <a:lnTo>
                  <a:pt x="6" y="198"/>
                </a:lnTo>
                <a:lnTo>
                  <a:pt x="6" y="198"/>
                </a:lnTo>
                <a:lnTo>
                  <a:pt x="6" y="198"/>
                </a:lnTo>
                <a:lnTo>
                  <a:pt x="6" y="198"/>
                </a:lnTo>
                <a:lnTo>
                  <a:pt x="6" y="198"/>
                </a:lnTo>
                <a:lnTo>
                  <a:pt x="6" y="198"/>
                </a:lnTo>
                <a:lnTo>
                  <a:pt x="6" y="192"/>
                </a:lnTo>
                <a:lnTo>
                  <a:pt x="12" y="192"/>
                </a:lnTo>
                <a:lnTo>
                  <a:pt x="12" y="192"/>
                </a:lnTo>
                <a:lnTo>
                  <a:pt x="12" y="192"/>
                </a:lnTo>
                <a:lnTo>
                  <a:pt x="12" y="192"/>
                </a:lnTo>
                <a:lnTo>
                  <a:pt x="12" y="192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0"/>
                </a:lnTo>
                <a:lnTo>
                  <a:pt x="12" y="180"/>
                </a:lnTo>
                <a:lnTo>
                  <a:pt x="12" y="180"/>
                </a:lnTo>
                <a:lnTo>
                  <a:pt x="12" y="180"/>
                </a:lnTo>
                <a:lnTo>
                  <a:pt x="12" y="180"/>
                </a:lnTo>
                <a:lnTo>
                  <a:pt x="12" y="180"/>
                </a:lnTo>
                <a:lnTo>
                  <a:pt x="12" y="174"/>
                </a:lnTo>
                <a:lnTo>
                  <a:pt x="12" y="174"/>
                </a:lnTo>
                <a:lnTo>
                  <a:pt x="12" y="174"/>
                </a:lnTo>
                <a:lnTo>
                  <a:pt x="18" y="174"/>
                </a:lnTo>
                <a:lnTo>
                  <a:pt x="18" y="174"/>
                </a:lnTo>
                <a:lnTo>
                  <a:pt x="18" y="168"/>
                </a:lnTo>
                <a:lnTo>
                  <a:pt x="18" y="168"/>
                </a:lnTo>
                <a:lnTo>
                  <a:pt x="18" y="168"/>
                </a:lnTo>
                <a:lnTo>
                  <a:pt x="18" y="168"/>
                </a:lnTo>
                <a:lnTo>
                  <a:pt x="18" y="168"/>
                </a:lnTo>
                <a:lnTo>
                  <a:pt x="18" y="168"/>
                </a:lnTo>
                <a:lnTo>
                  <a:pt x="18" y="168"/>
                </a:lnTo>
                <a:lnTo>
                  <a:pt x="18" y="162"/>
                </a:lnTo>
                <a:lnTo>
                  <a:pt x="18" y="162"/>
                </a:lnTo>
                <a:lnTo>
                  <a:pt x="18" y="162"/>
                </a:lnTo>
                <a:lnTo>
                  <a:pt x="18" y="156"/>
                </a:lnTo>
                <a:lnTo>
                  <a:pt x="18" y="156"/>
                </a:lnTo>
                <a:lnTo>
                  <a:pt x="18" y="156"/>
                </a:lnTo>
                <a:lnTo>
                  <a:pt x="18" y="156"/>
                </a:lnTo>
                <a:lnTo>
                  <a:pt x="18" y="156"/>
                </a:lnTo>
                <a:lnTo>
                  <a:pt x="18" y="156"/>
                </a:lnTo>
                <a:lnTo>
                  <a:pt x="24" y="156"/>
                </a:lnTo>
                <a:lnTo>
                  <a:pt x="24" y="156"/>
                </a:lnTo>
                <a:lnTo>
                  <a:pt x="30" y="156"/>
                </a:lnTo>
                <a:lnTo>
                  <a:pt x="30" y="156"/>
                </a:lnTo>
                <a:lnTo>
                  <a:pt x="30" y="156"/>
                </a:lnTo>
                <a:lnTo>
                  <a:pt x="36" y="156"/>
                </a:lnTo>
                <a:lnTo>
                  <a:pt x="36" y="156"/>
                </a:lnTo>
                <a:lnTo>
                  <a:pt x="42" y="156"/>
                </a:lnTo>
                <a:lnTo>
                  <a:pt x="42" y="156"/>
                </a:lnTo>
                <a:lnTo>
                  <a:pt x="42" y="156"/>
                </a:lnTo>
                <a:lnTo>
                  <a:pt x="42" y="156"/>
                </a:lnTo>
                <a:lnTo>
                  <a:pt x="42" y="156"/>
                </a:lnTo>
                <a:lnTo>
                  <a:pt x="42" y="150"/>
                </a:lnTo>
                <a:lnTo>
                  <a:pt x="42" y="150"/>
                </a:lnTo>
                <a:lnTo>
                  <a:pt x="42" y="150"/>
                </a:lnTo>
                <a:lnTo>
                  <a:pt x="42" y="150"/>
                </a:lnTo>
                <a:lnTo>
                  <a:pt x="42" y="150"/>
                </a:lnTo>
                <a:lnTo>
                  <a:pt x="42" y="150"/>
                </a:lnTo>
                <a:lnTo>
                  <a:pt x="42" y="150"/>
                </a:lnTo>
                <a:lnTo>
                  <a:pt x="42" y="150"/>
                </a:lnTo>
                <a:lnTo>
                  <a:pt x="42" y="150"/>
                </a:lnTo>
                <a:lnTo>
                  <a:pt x="42" y="150"/>
                </a:lnTo>
                <a:lnTo>
                  <a:pt x="48" y="150"/>
                </a:lnTo>
                <a:lnTo>
                  <a:pt x="48" y="150"/>
                </a:lnTo>
                <a:lnTo>
                  <a:pt x="48" y="150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54" y="126"/>
                </a:lnTo>
                <a:lnTo>
                  <a:pt x="54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54" y="120"/>
                </a:lnTo>
                <a:lnTo>
                  <a:pt x="60" y="120"/>
                </a:lnTo>
                <a:lnTo>
                  <a:pt x="60" y="120"/>
                </a:lnTo>
                <a:lnTo>
                  <a:pt x="54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54" y="120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6" y="114"/>
                </a:lnTo>
                <a:lnTo>
                  <a:pt x="66" y="108"/>
                </a:lnTo>
                <a:lnTo>
                  <a:pt x="60" y="114"/>
                </a:lnTo>
                <a:lnTo>
                  <a:pt x="66" y="108"/>
                </a:lnTo>
                <a:lnTo>
                  <a:pt x="60" y="108"/>
                </a:lnTo>
                <a:lnTo>
                  <a:pt x="60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2"/>
                </a:lnTo>
                <a:lnTo>
                  <a:pt x="54" y="102"/>
                </a:lnTo>
                <a:lnTo>
                  <a:pt x="54" y="108"/>
                </a:lnTo>
                <a:lnTo>
                  <a:pt x="54" y="102"/>
                </a:lnTo>
                <a:lnTo>
                  <a:pt x="54" y="108"/>
                </a:lnTo>
                <a:lnTo>
                  <a:pt x="54" y="108"/>
                </a:lnTo>
                <a:lnTo>
                  <a:pt x="48" y="108"/>
                </a:lnTo>
                <a:lnTo>
                  <a:pt x="48" y="108"/>
                </a:lnTo>
                <a:lnTo>
                  <a:pt x="54" y="108"/>
                </a:lnTo>
                <a:lnTo>
                  <a:pt x="54" y="108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84"/>
                </a:lnTo>
                <a:lnTo>
                  <a:pt x="30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8" y="78"/>
                </a:lnTo>
                <a:lnTo>
                  <a:pt x="12" y="78"/>
                </a:lnTo>
                <a:lnTo>
                  <a:pt x="12" y="72"/>
                </a:lnTo>
                <a:lnTo>
                  <a:pt x="18" y="78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30" y="48"/>
                </a:lnTo>
                <a:lnTo>
                  <a:pt x="30" y="42"/>
                </a:lnTo>
                <a:lnTo>
                  <a:pt x="24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24" y="42"/>
                </a:lnTo>
                <a:lnTo>
                  <a:pt x="30" y="36"/>
                </a:lnTo>
                <a:lnTo>
                  <a:pt x="24" y="36"/>
                </a:lnTo>
                <a:lnTo>
                  <a:pt x="24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42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54" y="36"/>
                </a:lnTo>
                <a:lnTo>
                  <a:pt x="54" y="36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60" y="30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0"/>
                </a:lnTo>
                <a:lnTo>
                  <a:pt x="78" y="0"/>
                </a:lnTo>
                <a:lnTo>
                  <a:pt x="84" y="0"/>
                </a:lnTo>
                <a:lnTo>
                  <a:pt x="78" y="0"/>
                </a:lnTo>
                <a:lnTo>
                  <a:pt x="78" y="6"/>
                </a:lnTo>
                <a:lnTo>
                  <a:pt x="78" y="6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2" y="12"/>
                </a:lnTo>
                <a:lnTo>
                  <a:pt x="78" y="18"/>
                </a:lnTo>
                <a:lnTo>
                  <a:pt x="78" y="18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0" y="42"/>
                </a:lnTo>
                <a:lnTo>
                  <a:pt x="90" y="42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102" y="54"/>
                </a:lnTo>
                <a:lnTo>
                  <a:pt x="102" y="54"/>
                </a:lnTo>
                <a:lnTo>
                  <a:pt x="96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6" y="72"/>
                </a:lnTo>
                <a:lnTo>
                  <a:pt x="126" y="72"/>
                </a:lnTo>
                <a:lnTo>
                  <a:pt x="126" y="72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54"/>
                </a:lnTo>
                <a:lnTo>
                  <a:pt x="132" y="54"/>
                </a:lnTo>
                <a:lnTo>
                  <a:pt x="132" y="54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8" y="48"/>
                </a:lnTo>
                <a:lnTo>
                  <a:pt x="132" y="48"/>
                </a:lnTo>
                <a:lnTo>
                  <a:pt x="138" y="48"/>
                </a:lnTo>
                <a:lnTo>
                  <a:pt x="138" y="48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2" y="42"/>
                </a:lnTo>
                <a:lnTo>
                  <a:pt x="138" y="42"/>
                </a:lnTo>
                <a:lnTo>
                  <a:pt x="132" y="42"/>
                </a:lnTo>
                <a:lnTo>
                  <a:pt x="132" y="42"/>
                </a:lnTo>
                <a:lnTo>
                  <a:pt x="138" y="42"/>
                </a:lnTo>
                <a:lnTo>
                  <a:pt x="132" y="42"/>
                </a:lnTo>
                <a:lnTo>
                  <a:pt x="132" y="42"/>
                </a:lnTo>
                <a:lnTo>
                  <a:pt x="138" y="42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24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24"/>
                </a:lnTo>
                <a:lnTo>
                  <a:pt x="144" y="30"/>
                </a:lnTo>
                <a:lnTo>
                  <a:pt x="138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30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74" y="24"/>
                </a:lnTo>
                <a:lnTo>
                  <a:pt x="174" y="24"/>
                </a:lnTo>
                <a:lnTo>
                  <a:pt x="174" y="24"/>
                </a:lnTo>
                <a:lnTo>
                  <a:pt x="174" y="24"/>
                </a:lnTo>
                <a:lnTo>
                  <a:pt x="174" y="24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24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6" y="18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98" y="30"/>
                </a:lnTo>
                <a:lnTo>
                  <a:pt x="198" y="30"/>
                </a:lnTo>
                <a:lnTo>
                  <a:pt x="198" y="30"/>
                </a:lnTo>
                <a:lnTo>
                  <a:pt x="198" y="30"/>
                </a:lnTo>
                <a:lnTo>
                  <a:pt x="198" y="30"/>
                </a:lnTo>
                <a:lnTo>
                  <a:pt x="204" y="30"/>
                </a:lnTo>
                <a:lnTo>
                  <a:pt x="204" y="30"/>
                </a:lnTo>
                <a:lnTo>
                  <a:pt x="204" y="30"/>
                </a:lnTo>
                <a:lnTo>
                  <a:pt x="204" y="30"/>
                </a:lnTo>
                <a:lnTo>
                  <a:pt x="204" y="30"/>
                </a:lnTo>
                <a:lnTo>
                  <a:pt x="204" y="36"/>
                </a:lnTo>
                <a:lnTo>
                  <a:pt x="204" y="36"/>
                </a:lnTo>
                <a:lnTo>
                  <a:pt x="204" y="36"/>
                </a:lnTo>
                <a:lnTo>
                  <a:pt x="204" y="36"/>
                </a:lnTo>
                <a:lnTo>
                  <a:pt x="204" y="36"/>
                </a:lnTo>
                <a:lnTo>
                  <a:pt x="204" y="36"/>
                </a:lnTo>
                <a:lnTo>
                  <a:pt x="204" y="36"/>
                </a:lnTo>
                <a:lnTo>
                  <a:pt x="204" y="36"/>
                </a:lnTo>
                <a:lnTo>
                  <a:pt x="204" y="36"/>
                </a:lnTo>
                <a:lnTo>
                  <a:pt x="204" y="42"/>
                </a:lnTo>
                <a:lnTo>
                  <a:pt x="204" y="36"/>
                </a:lnTo>
                <a:lnTo>
                  <a:pt x="204" y="42"/>
                </a:lnTo>
                <a:lnTo>
                  <a:pt x="204" y="42"/>
                </a:lnTo>
                <a:lnTo>
                  <a:pt x="204" y="42"/>
                </a:lnTo>
                <a:lnTo>
                  <a:pt x="204" y="42"/>
                </a:lnTo>
                <a:lnTo>
                  <a:pt x="204" y="42"/>
                </a:lnTo>
                <a:lnTo>
                  <a:pt x="204" y="42"/>
                </a:lnTo>
                <a:lnTo>
                  <a:pt x="204" y="42"/>
                </a:lnTo>
                <a:lnTo>
                  <a:pt x="204" y="48"/>
                </a:lnTo>
                <a:lnTo>
                  <a:pt x="204" y="48"/>
                </a:lnTo>
                <a:lnTo>
                  <a:pt x="204" y="48"/>
                </a:lnTo>
                <a:lnTo>
                  <a:pt x="204" y="48"/>
                </a:lnTo>
                <a:lnTo>
                  <a:pt x="204" y="48"/>
                </a:lnTo>
                <a:lnTo>
                  <a:pt x="204" y="48"/>
                </a:lnTo>
                <a:lnTo>
                  <a:pt x="204" y="48"/>
                </a:lnTo>
                <a:lnTo>
                  <a:pt x="204" y="48"/>
                </a:lnTo>
                <a:lnTo>
                  <a:pt x="204" y="48"/>
                </a:lnTo>
                <a:lnTo>
                  <a:pt x="204" y="48"/>
                </a:lnTo>
                <a:lnTo>
                  <a:pt x="204" y="54"/>
                </a:lnTo>
                <a:lnTo>
                  <a:pt x="210" y="54"/>
                </a:lnTo>
                <a:lnTo>
                  <a:pt x="204" y="54"/>
                </a:lnTo>
                <a:lnTo>
                  <a:pt x="204" y="60"/>
                </a:lnTo>
                <a:lnTo>
                  <a:pt x="204" y="60"/>
                </a:lnTo>
                <a:lnTo>
                  <a:pt x="204" y="60"/>
                </a:lnTo>
                <a:lnTo>
                  <a:pt x="204" y="60"/>
                </a:lnTo>
                <a:lnTo>
                  <a:pt x="204" y="66"/>
                </a:lnTo>
                <a:lnTo>
                  <a:pt x="204" y="66"/>
                </a:lnTo>
                <a:lnTo>
                  <a:pt x="204" y="66"/>
                </a:lnTo>
                <a:lnTo>
                  <a:pt x="204" y="66"/>
                </a:lnTo>
                <a:lnTo>
                  <a:pt x="204" y="66"/>
                </a:lnTo>
                <a:lnTo>
                  <a:pt x="204" y="66"/>
                </a:lnTo>
                <a:lnTo>
                  <a:pt x="204" y="66"/>
                </a:lnTo>
                <a:lnTo>
                  <a:pt x="204" y="72"/>
                </a:lnTo>
                <a:lnTo>
                  <a:pt x="204" y="72"/>
                </a:lnTo>
                <a:lnTo>
                  <a:pt x="204" y="72"/>
                </a:lnTo>
                <a:lnTo>
                  <a:pt x="204" y="72"/>
                </a:lnTo>
                <a:lnTo>
                  <a:pt x="210" y="72"/>
                </a:lnTo>
                <a:lnTo>
                  <a:pt x="210" y="72"/>
                </a:lnTo>
                <a:lnTo>
                  <a:pt x="204" y="72"/>
                </a:lnTo>
                <a:lnTo>
                  <a:pt x="204" y="72"/>
                </a:lnTo>
                <a:lnTo>
                  <a:pt x="204" y="72"/>
                </a:lnTo>
                <a:lnTo>
                  <a:pt x="210" y="78"/>
                </a:lnTo>
                <a:lnTo>
                  <a:pt x="210" y="78"/>
                </a:lnTo>
                <a:lnTo>
                  <a:pt x="210" y="78"/>
                </a:lnTo>
                <a:lnTo>
                  <a:pt x="210" y="78"/>
                </a:lnTo>
                <a:lnTo>
                  <a:pt x="216" y="84"/>
                </a:lnTo>
                <a:lnTo>
                  <a:pt x="216" y="84"/>
                </a:lnTo>
                <a:lnTo>
                  <a:pt x="216" y="84"/>
                </a:lnTo>
                <a:lnTo>
                  <a:pt x="216" y="84"/>
                </a:lnTo>
                <a:lnTo>
                  <a:pt x="216" y="84"/>
                </a:lnTo>
                <a:lnTo>
                  <a:pt x="216" y="84"/>
                </a:lnTo>
                <a:lnTo>
                  <a:pt x="216" y="84"/>
                </a:lnTo>
                <a:lnTo>
                  <a:pt x="216" y="84"/>
                </a:lnTo>
                <a:lnTo>
                  <a:pt x="216" y="84"/>
                </a:lnTo>
                <a:lnTo>
                  <a:pt x="216" y="84"/>
                </a:lnTo>
                <a:lnTo>
                  <a:pt x="216" y="84"/>
                </a:lnTo>
                <a:lnTo>
                  <a:pt x="222" y="78"/>
                </a:lnTo>
                <a:lnTo>
                  <a:pt x="222" y="78"/>
                </a:lnTo>
                <a:lnTo>
                  <a:pt x="222" y="84"/>
                </a:lnTo>
                <a:lnTo>
                  <a:pt x="222" y="84"/>
                </a:lnTo>
                <a:lnTo>
                  <a:pt x="222" y="84"/>
                </a:lnTo>
                <a:lnTo>
                  <a:pt x="222" y="84"/>
                </a:lnTo>
                <a:lnTo>
                  <a:pt x="228" y="84"/>
                </a:lnTo>
                <a:lnTo>
                  <a:pt x="228" y="84"/>
                </a:lnTo>
                <a:lnTo>
                  <a:pt x="228" y="84"/>
                </a:lnTo>
                <a:lnTo>
                  <a:pt x="228" y="84"/>
                </a:lnTo>
                <a:lnTo>
                  <a:pt x="228" y="90"/>
                </a:lnTo>
                <a:lnTo>
                  <a:pt x="228" y="90"/>
                </a:lnTo>
                <a:lnTo>
                  <a:pt x="228" y="90"/>
                </a:lnTo>
                <a:lnTo>
                  <a:pt x="228" y="90"/>
                </a:lnTo>
                <a:lnTo>
                  <a:pt x="228" y="90"/>
                </a:lnTo>
                <a:lnTo>
                  <a:pt x="228" y="90"/>
                </a:lnTo>
                <a:lnTo>
                  <a:pt x="228" y="96"/>
                </a:lnTo>
                <a:lnTo>
                  <a:pt x="228" y="96"/>
                </a:lnTo>
                <a:lnTo>
                  <a:pt x="234" y="96"/>
                </a:lnTo>
                <a:lnTo>
                  <a:pt x="234" y="96"/>
                </a:lnTo>
                <a:lnTo>
                  <a:pt x="234" y="96"/>
                </a:lnTo>
                <a:lnTo>
                  <a:pt x="234" y="96"/>
                </a:lnTo>
                <a:lnTo>
                  <a:pt x="234" y="96"/>
                </a:lnTo>
                <a:lnTo>
                  <a:pt x="234" y="96"/>
                </a:lnTo>
                <a:lnTo>
                  <a:pt x="234" y="102"/>
                </a:lnTo>
                <a:lnTo>
                  <a:pt x="234" y="102"/>
                </a:lnTo>
                <a:lnTo>
                  <a:pt x="234" y="102"/>
                </a:lnTo>
                <a:lnTo>
                  <a:pt x="240" y="102"/>
                </a:lnTo>
                <a:lnTo>
                  <a:pt x="240" y="102"/>
                </a:lnTo>
                <a:lnTo>
                  <a:pt x="234" y="102"/>
                </a:lnTo>
                <a:lnTo>
                  <a:pt x="234" y="102"/>
                </a:lnTo>
                <a:lnTo>
                  <a:pt x="234" y="102"/>
                </a:lnTo>
                <a:lnTo>
                  <a:pt x="234" y="102"/>
                </a:lnTo>
                <a:lnTo>
                  <a:pt x="234" y="102"/>
                </a:lnTo>
                <a:lnTo>
                  <a:pt x="228" y="102"/>
                </a:lnTo>
                <a:lnTo>
                  <a:pt x="228" y="102"/>
                </a:lnTo>
                <a:lnTo>
                  <a:pt x="228" y="102"/>
                </a:lnTo>
                <a:lnTo>
                  <a:pt x="228" y="102"/>
                </a:lnTo>
                <a:lnTo>
                  <a:pt x="222" y="102"/>
                </a:lnTo>
                <a:lnTo>
                  <a:pt x="222" y="102"/>
                </a:lnTo>
                <a:lnTo>
                  <a:pt x="222" y="96"/>
                </a:lnTo>
                <a:lnTo>
                  <a:pt x="222" y="96"/>
                </a:lnTo>
                <a:lnTo>
                  <a:pt x="216" y="96"/>
                </a:lnTo>
                <a:lnTo>
                  <a:pt x="216" y="96"/>
                </a:lnTo>
                <a:lnTo>
                  <a:pt x="216" y="96"/>
                </a:lnTo>
                <a:lnTo>
                  <a:pt x="216" y="96"/>
                </a:lnTo>
                <a:lnTo>
                  <a:pt x="216" y="96"/>
                </a:lnTo>
                <a:lnTo>
                  <a:pt x="216" y="102"/>
                </a:lnTo>
                <a:lnTo>
                  <a:pt x="216" y="102"/>
                </a:lnTo>
                <a:lnTo>
                  <a:pt x="210" y="96"/>
                </a:lnTo>
                <a:lnTo>
                  <a:pt x="210" y="102"/>
                </a:lnTo>
                <a:lnTo>
                  <a:pt x="204" y="102"/>
                </a:lnTo>
                <a:lnTo>
                  <a:pt x="204" y="102"/>
                </a:lnTo>
                <a:lnTo>
                  <a:pt x="198" y="102"/>
                </a:lnTo>
                <a:lnTo>
                  <a:pt x="198" y="102"/>
                </a:lnTo>
                <a:lnTo>
                  <a:pt x="198" y="102"/>
                </a:lnTo>
                <a:lnTo>
                  <a:pt x="198" y="102"/>
                </a:lnTo>
                <a:lnTo>
                  <a:pt x="198" y="102"/>
                </a:lnTo>
                <a:lnTo>
                  <a:pt x="198" y="102"/>
                </a:lnTo>
                <a:lnTo>
                  <a:pt x="198" y="102"/>
                </a:lnTo>
                <a:lnTo>
                  <a:pt x="192" y="102"/>
                </a:lnTo>
                <a:lnTo>
                  <a:pt x="192" y="102"/>
                </a:lnTo>
                <a:lnTo>
                  <a:pt x="192" y="102"/>
                </a:lnTo>
                <a:lnTo>
                  <a:pt x="192" y="102"/>
                </a:lnTo>
                <a:lnTo>
                  <a:pt x="186" y="102"/>
                </a:lnTo>
                <a:lnTo>
                  <a:pt x="186" y="102"/>
                </a:lnTo>
                <a:lnTo>
                  <a:pt x="186" y="102"/>
                </a:lnTo>
                <a:lnTo>
                  <a:pt x="186" y="102"/>
                </a:lnTo>
                <a:lnTo>
                  <a:pt x="186" y="102"/>
                </a:lnTo>
                <a:lnTo>
                  <a:pt x="186" y="102"/>
                </a:lnTo>
                <a:lnTo>
                  <a:pt x="180" y="102"/>
                </a:lnTo>
                <a:lnTo>
                  <a:pt x="180" y="102"/>
                </a:lnTo>
                <a:lnTo>
                  <a:pt x="180" y="102"/>
                </a:lnTo>
                <a:lnTo>
                  <a:pt x="180" y="102"/>
                </a:lnTo>
                <a:lnTo>
                  <a:pt x="180" y="102"/>
                </a:lnTo>
                <a:lnTo>
                  <a:pt x="180" y="102"/>
                </a:lnTo>
                <a:lnTo>
                  <a:pt x="180" y="102"/>
                </a:lnTo>
                <a:lnTo>
                  <a:pt x="180" y="102"/>
                </a:lnTo>
                <a:lnTo>
                  <a:pt x="180" y="108"/>
                </a:lnTo>
                <a:lnTo>
                  <a:pt x="180" y="108"/>
                </a:lnTo>
                <a:lnTo>
                  <a:pt x="174" y="102"/>
                </a:lnTo>
                <a:lnTo>
                  <a:pt x="174" y="108"/>
                </a:lnTo>
                <a:lnTo>
                  <a:pt x="174" y="108"/>
                </a:lnTo>
                <a:lnTo>
                  <a:pt x="174" y="108"/>
                </a:lnTo>
                <a:lnTo>
                  <a:pt x="168" y="108"/>
                </a:lnTo>
                <a:lnTo>
                  <a:pt x="168" y="108"/>
                </a:lnTo>
                <a:lnTo>
                  <a:pt x="168" y="108"/>
                </a:lnTo>
                <a:lnTo>
                  <a:pt x="168" y="108"/>
                </a:lnTo>
                <a:lnTo>
                  <a:pt x="168" y="108"/>
                </a:lnTo>
                <a:lnTo>
                  <a:pt x="168" y="108"/>
                </a:lnTo>
                <a:lnTo>
                  <a:pt x="168" y="102"/>
                </a:lnTo>
                <a:lnTo>
                  <a:pt x="162" y="102"/>
                </a:lnTo>
                <a:lnTo>
                  <a:pt x="162" y="102"/>
                </a:lnTo>
                <a:lnTo>
                  <a:pt x="162" y="102"/>
                </a:lnTo>
                <a:lnTo>
                  <a:pt x="156" y="102"/>
                </a:lnTo>
                <a:lnTo>
                  <a:pt x="156" y="102"/>
                </a:lnTo>
                <a:lnTo>
                  <a:pt x="156" y="102"/>
                </a:lnTo>
                <a:lnTo>
                  <a:pt x="156" y="96"/>
                </a:lnTo>
                <a:lnTo>
                  <a:pt x="150" y="102"/>
                </a:lnTo>
                <a:lnTo>
                  <a:pt x="150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8"/>
                </a:lnTo>
                <a:lnTo>
                  <a:pt x="138" y="108"/>
                </a:lnTo>
                <a:lnTo>
                  <a:pt x="138" y="108"/>
                </a:lnTo>
                <a:lnTo>
                  <a:pt x="138" y="108"/>
                </a:lnTo>
                <a:lnTo>
                  <a:pt x="138" y="108"/>
                </a:lnTo>
                <a:lnTo>
                  <a:pt x="138" y="108"/>
                </a:lnTo>
                <a:lnTo>
                  <a:pt x="138" y="108"/>
                </a:lnTo>
                <a:lnTo>
                  <a:pt x="138" y="108"/>
                </a:lnTo>
                <a:lnTo>
                  <a:pt x="138" y="114"/>
                </a:lnTo>
                <a:lnTo>
                  <a:pt x="138" y="108"/>
                </a:lnTo>
                <a:lnTo>
                  <a:pt x="132" y="114"/>
                </a:lnTo>
                <a:lnTo>
                  <a:pt x="132" y="114"/>
                </a:lnTo>
                <a:lnTo>
                  <a:pt x="132" y="114"/>
                </a:lnTo>
                <a:lnTo>
                  <a:pt x="132" y="114"/>
                </a:lnTo>
                <a:lnTo>
                  <a:pt x="132" y="114"/>
                </a:lnTo>
                <a:lnTo>
                  <a:pt x="132" y="114"/>
                </a:lnTo>
                <a:lnTo>
                  <a:pt x="132" y="114"/>
                </a:lnTo>
                <a:lnTo>
                  <a:pt x="132" y="114"/>
                </a:lnTo>
                <a:lnTo>
                  <a:pt x="132" y="120"/>
                </a:lnTo>
                <a:lnTo>
                  <a:pt x="132" y="120"/>
                </a:lnTo>
                <a:lnTo>
                  <a:pt x="132" y="120"/>
                </a:lnTo>
                <a:lnTo>
                  <a:pt x="132" y="120"/>
                </a:lnTo>
                <a:lnTo>
                  <a:pt x="132" y="120"/>
                </a:lnTo>
                <a:lnTo>
                  <a:pt x="126" y="120"/>
                </a:lnTo>
                <a:lnTo>
                  <a:pt x="126" y="120"/>
                </a:lnTo>
                <a:lnTo>
                  <a:pt x="132" y="126"/>
                </a:lnTo>
                <a:lnTo>
                  <a:pt x="126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32"/>
                </a:lnTo>
                <a:lnTo>
                  <a:pt x="132" y="132"/>
                </a:lnTo>
                <a:lnTo>
                  <a:pt x="132" y="132"/>
                </a:lnTo>
                <a:lnTo>
                  <a:pt x="132" y="132"/>
                </a:lnTo>
                <a:lnTo>
                  <a:pt x="132" y="132"/>
                </a:lnTo>
                <a:lnTo>
                  <a:pt x="132" y="138"/>
                </a:lnTo>
                <a:lnTo>
                  <a:pt x="132" y="138"/>
                </a:lnTo>
                <a:lnTo>
                  <a:pt x="132" y="138"/>
                </a:lnTo>
                <a:lnTo>
                  <a:pt x="132" y="138"/>
                </a:lnTo>
                <a:lnTo>
                  <a:pt x="132" y="138"/>
                </a:lnTo>
                <a:lnTo>
                  <a:pt x="132" y="138"/>
                </a:lnTo>
                <a:lnTo>
                  <a:pt x="132" y="144"/>
                </a:lnTo>
                <a:lnTo>
                  <a:pt x="132" y="144"/>
                </a:lnTo>
                <a:lnTo>
                  <a:pt x="132" y="144"/>
                </a:lnTo>
                <a:lnTo>
                  <a:pt x="132" y="144"/>
                </a:lnTo>
                <a:lnTo>
                  <a:pt x="132" y="150"/>
                </a:lnTo>
                <a:lnTo>
                  <a:pt x="132" y="150"/>
                </a:lnTo>
                <a:lnTo>
                  <a:pt x="132" y="150"/>
                </a:lnTo>
                <a:lnTo>
                  <a:pt x="132" y="156"/>
                </a:lnTo>
                <a:lnTo>
                  <a:pt x="132" y="156"/>
                </a:lnTo>
                <a:lnTo>
                  <a:pt x="132" y="156"/>
                </a:lnTo>
                <a:lnTo>
                  <a:pt x="132" y="162"/>
                </a:lnTo>
                <a:lnTo>
                  <a:pt x="132" y="162"/>
                </a:lnTo>
                <a:lnTo>
                  <a:pt x="132" y="162"/>
                </a:lnTo>
                <a:lnTo>
                  <a:pt x="132" y="162"/>
                </a:lnTo>
                <a:lnTo>
                  <a:pt x="132" y="162"/>
                </a:lnTo>
                <a:lnTo>
                  <a:pt x="132" y="162"/>
                </a:lnTo>
                <a:lnTo>
                  <a:pt x="132" y="162"/>
                </a:lnTo>
                <a:lnTo>
                  <a:pt x="132" y="168"/>
                </a:lnTo>
                <a:lnTo>
                  <a:pt x="132" y="168"/>
                </a:lnTo>
                <a:lnTo>
                  <a:pt x="126" y="168"/>
                </a:lnTo>
                <a:lnTo>
                  <a:pt x="126" y="168"/>
                </a:lnTo>
                <a:lnTo>
                  <a:pt x="126" y="168"/>
                </a:lnTo>
                <a:lnTo>
                  <a:pt x="126" y="168"/>
                </a:lnTo>
                <a:lnTo>
                  <a:pt x="126" y="168"/>
                </a:lnTo>
                <a:lnTo>
                  <a:pt x="126" y="174"/>
                </a:lnTo>
                <a:lnTo>
                  <a:pt x="126" y="174"/>
                </a:lnTo>
                <a:lnTo>
                  <a:pt x="126" y="174"/>
                </a:lnTo>
                <a:lnTo>
                  <a:pt x="126" y="174"/>
                </a:lnTo>
                <a:lnTo>
                  <a:pt x="126" y="174"/>
                </a:lnTo>
                <a:lnTo>
                  <a:pt x="126" y="174"/>
                </a:lnTo>
                <a:lnTo>
                  <a:pt x="126" y="180"/>
                </a:lnTo>
                <a:lnTo>
                  <a:pt x="126" y="180"/>
                </a:lnTo>
                <a:lnTo>
                  <a:pt x="126" y="180"/>
                </a:lnTo>
                <a:lnTo>
                  <a:pt x="120" y="180"/>
                </a:lnTo>
                <a:lnTo>
                  <a:pt x="120" y="180"/>
                </a:lnTo>
                <a:lnTo>
                  <a:pt x="120" y="180"/>
                </a:lnTo>
                <a:lnTo>
                  <a:pt x="120" y="180"/>
                </a:lnTo>
                <a:lnTo>
                  <a:pt x="120" y="180"/>
                </a:lnTo>
                <a:lnTo>
                  <a:pt x="120" y="186"/>
                </a:lnTo>
                <a:lnTo>
                  <a:pt x="120" y="186"/>
                </a:lnTo>
                <a:lnTo>
                  <a:pt x="126" y="186"/>
                </a:lnTo>
                <a:lnTo>
                  <a:pt x="126" y="192"/>
                </a:lnTo>
                <a:lnTo>
                  <a:pt x="126" y="192"/>
                </a:lnTo>
                <a:lnTo>
                  <a:pt x="126" y="192"/>
                </a:lnTo>
                <a:lnTo>
                  <a:pt x="132" y="192"/>
                </a:lnTo>
                <a:lnTo>
                  <a:pt x="126" y="198"/>
                </a:lnTo>
                <a:lnTo>
                  <a:pt x="132" y="198"/>
                </a:lnTo>
                <a:lnTo>
                  <a:pt x="132" y="198"/>
                </a:lnTo>
                <a:lnTo>
                  <a:pt x="132" y="198"/>
                </a:lnTo>
                <a:lnTo>
                  <a:pt x="132" y="198"/>
                </a:lnTo>
                <a:lnTo>
                  <a:pt x="132" y="198"/>
                </a:lnTo>
                <a:lnTo>
                  <a:pt x="132" y="198"/>
                </a:lnTo>
                <a:lnTo>
                  <a:pt x="132" y="204"/>
                </a:lnTo>
                <a:lnTo>
                  <a:pt x="132" y="204"/>
                </a:lnTo>
                <a:lnTo>
                  <a:pt x="132" y="204"/>
                </a:lnTo>
                <a:lnTo>
                  <a:pt x="132" y="204"/>
                </a:lnTo>
                <a:lnTo>
                  <a:pt x="132" y="204"/>
                </a:lnTo>
                <a:lnTo>
                  <a:pt x="132" y="204"/>
                </a:lnTo>
                <a:lnTo>
                  <a:pt x="132" y="204"/>
                </a:lnTo>
                <a:lnTo>
                  <a:pt x="132" y="210"/>
                </a:lnTo>
                <a:lnTo>
                  <a:pt x="138" y="210"/>
                </a:lnTo>
                <a:lnTo>
                  <a:pt x="138" y="210"/>
                </a:lnTo>
                <a:lnTo>
                  <a:pt x="138" y="210"/>
                </a:lnTo>
                <a:lnTo>
                  <a:pt x="138" y="210"/>
                </a:lnTo>
                <a:lnTo>
                  <a:pt x="138" y="216"/>
                </a:lnTo>
                <a:lnTo>
                  <a:pt x="138" y="216"/>
                </a:lnTo>
                <a:lnTo>
                  <a:pt x="138" y="216"/>
                </a:lnTo>
                <a:lnTo>
                  <a:pt x="138" y="216"/>
                </a:lnTo>
                <a:lnTo>
                  <a:pt x="132" y="216"/>
                </a:lnTo>
                <a:lnTo>
                  <a:pt x="138" y="216"/>
                </a:lnTo>
                <a:lnTo>
                  <a:pt x="138" y="216"/>
                </a:lnTo>
                <a:lnTo>
                  <a:pt x="138" y="216"/>
                </a:lnTo>
                <a:lnTo>
                  <a:pt x="138" y="222"/>
                </a:lnTo>
                <a:lnTo>
                  <a:pt x="138" y="222"/>
                </a:lnTo>
                <a:lnTo>
                  <a:pt x="144" y="222"/>
                </a:lnTo>
                <a:lnTo>
                  <a:pt x="144" y="222"/>
                </a:lnTo>
                <a:lnTo>
                  <a:pt x="144" y="222"/>
                </a:lnTo>
                <a:lnTo>
                  <a:pt x="144" y="222"/>
                </a:lnTo>
                <a:lnTo>
                  <a:pt x="144" y="222"/>
                </a:lnTo>
                <a:lnTo>
                  <a:pt x="138" y="228"/>
                </a:lnTo>
                <a:lnTo>
                  <a:pt x="138" y="228"/>
                </a:lnTo>
                <a:lnTo>
                  <a:pt x="138" y="228"/>
                </a:lnTo>
                <a:lnTo>
                  <a:pt x="138" y="228"/>
                </a:lnTo>
                <a:lnTo>
                  <a:pt x="138" y="228"/>
                </a:lnTo>
                <a:lnTo>
                  <a:pt x="138" y="228"/>
                </a:lnTo>
                <a:lnTo>
                  <a:pt x="138" y="228"/>
                </a:lnTo>
                <a:lnTo>
                  <a:pt x="132" y="228"/>
                </a:lnTo>
                <a:lnTo>
                  <a:pt x="132" y="228"/>
                </a:lnTo>
                <a:lnTo>
                  <a:pt x="132" y="228"/>
                </a:lnTo>
                <a:lnTo>
                  <a:pt x="132" y="228"/>
                </a:lnTo>
                <a:lnTo>
                  <a:pt x="126" y="228"/>
                </a:lnTo>
                <a:lnTo>
                  <a:pt x="126" y="228"/>
                </a:lnTo>
                <a:lnTo>
                  <a:pt x="126" y="228"/>
                </a:lnTo>
                <a:lnTo>
                  <a:pt x="120" y="228"/>
                </a:lnTo>
                <a:lnTo>
                  <a:pt x="120" y="228"/>
                </a:lnTo>
                <a:lnTo>
                  <a:pt x="120" y="228"/>
                </a:lnTo>
                <a:lnTo>
                  <a:pt x="120" y="228"/>
                </a:lnTo>
                <a:lnTo>
                  <a:pt x="114" y="228"/>
                </a:lnTo>
                <a:lnTo>
                  <a:pt x="114" y="228"/>
                </a:lnTo>
                <a:lnTo>
                  <a:pt x="114" y="228"/>
                </a:lnTo>
                <a:lnTo>
                  <a:pt x="114" y="228"/>
                </a:lnTo>
                <a:lnTo>
                  <a:pt x="114" y="228"/>
                </a:lnTo>
                <a:lnTo>
                  <a:pt x="114" y="228"/>
                </a:lnTo>
                <a:lnTo>
                  <a:pt x="108" y="228"/>
                </a:lnTo>
                <a:lnTo>
                  <a:pt x="108" y="228"/>
                </a:lnTo>
                <a:lnTo>
                  <a:pt x="108" y="228"/>
                </a:lnTo>
                <a:lnTo>
                  <a:pt x="108" y="228"/>
                </a:lnTo>
                <a:lnTo>
                  <a:pt x="108" y="228"/>
                </a:lnTo>
                <a:lnTo>
                  <a:pt x="108" y="228"/>
                </a:lnTo>
                <a:lnTo>
                  <a:pt x="108" y="228"/>
                </a:lnTo>
                <a:lnTo>
                  <a:pt x="102" y="228"/>
                </a:lnTo>
                <a:lnTo>
                  <a:pt x="102" y="228"/>
                </a:lnTo>
                <a:lnTo>
                  <a:pt x="102" y="228"/>
                </a:lnTo>
                <a:lnTo>
                  <a:pt x="102" y="228"/>
                </a:lnTo>
                <a:lnTo>
                  <a:pt x="96" y="228"/>
                </a:lnTo>
                <a:lnTo>
                  <a:pt x="96" y="228"/>
                </a:lnTo>
                <a:lnTo>
                  <a:pt x="96" y="228"/>
                </a:lnTo>
                <a:lnTo>
                  <a:pt x="96" y="228"/>
                </a:lnTo>
                <a:lnTo>
                  <a:pt x="96" y="228"/>
                </a:lnTo>
                <a:lnTo>
                  <a:pt x="90" y="228"/>
                </a:lnTo>
                <a:lnTo>
                  <a:pt x="90" y="228"/>
                </a:lnTo>
                <a:lnTo>
                  <a:pt x="90" y="228"/>
                </a:lnTo>
                <a:lnTo>
                  <a:pt x="90" y="228"/>
                </a:lnTo>
                <a:lnTo>
                  <a:pt x="90" y="228"/>
                </a:lnTo>
                <a:lnTo>
                  <a:pt x="84" y="228"/>
                </a:lnTo>
                <a:lnTo>
                  <a:pt x="84" y="228"/>
                </a:lnTo>
                <a:lnTo>
                  <a:pt x="84" y="222"/>
                </a:lnTo>
                <a:lnTo>
                  <a:pt x="84" y="228"/>
                </a:lnTo>
                <a:lnTo>
                  <a:pt x="84" y="228"/>
                </a:lnTo>
                <a:lnTo>
                  <a:pt x="84" y="222"/>
                </a:lnTo>
                <a:lnTo>
                  <a:pt x="84" y="228"/>
                </a:lnTo>
                <a:lnTo>
                  <a:pt x="84" y="222"/>
                </a:lnTo>
                <a:lnTo>
                  <a:pt x="78" y="222"/>
                </a:lnTo>
                <a:lnTo>
                  <a:pt x="78" y="222"/>
                </a:lnTo>
                <a:lnTo>
                  <a:pt x="78" y="222"/>
                </a:lnTo>
                <a:lnTo>
                  <a:pt x="78" y="222"/>
                </a:lnTo>
                <a:lnTo>
                  <a:pt x="78" y="222"/>
                </a:lnTo>
                <a:lnTo>
                  <a:pt x="78" y="222"/>
                </a:lnTo>
                <a:lnTo>
                  <a:pt x="72" y="222"/>
                </a:lnTo>
                <a:lnTo>
                  <a:pt x="72" y="222"/>
                </a:lnTo>
                <a:lnTo>
                  <a:pt x="72" y="222"/>
                </a:lnTo>
                <a:lnTo>
                  <a:pt x="72" y="222"/>
                </a:lnTo>
                <a:lnTo>
                  <a:pt x="66" y="222"/>
                </a:lnTo>
                <a:lnTo>
                  <a:pt x="66" y="222"/>
                </a:lnTo>
                <a:lnTo>
                  <a:pt x="66" y="222"/>
                </a:lnTo>
                <a:lnTo>
                  <a:pt x="66" y="222"/>
                </a:lnTo>
                <a:lnTo>
                  <a:pt x="60" y="222"/>
                </a:lnTo>
                <a:lnTo>
                  <a:pt x="60" y="222"/>
                </a:lnTo>
                <a:lnTo>
                  <a:pt x="60" y="222"/>
                </a:lnTo>
                <a:lnTo>
                  <a:pt x="60" y="216"/>
                </a:lnTo>
                <a:lnTo>
                  <a:pt x="60" y="216"/>
                </a:lnTo>
                <a:lnTo>
                  <a:pt x="60" y="216"/>
                </a:lnTo>
                <a:lnTo>
                  <a:pt x="60" y="216"/>
                </a:lnTo>
                <a:lnTo>
                  <a:pt x="60" y="216"/>
                </a:lnTo>
                <a:lnTo>
                  <a:pt x="60" y="210"/>
                </a:lnTo>
                <a:lnTo>
                  <a:pt x="60" y="210"/>
                </a:lnTo>
                <a:lnTo>
                  <a:pt x="60" y="210"/>
                </a:lnTo>
                <a:lnTo>
                  <a:pt x="54" y="210"/>
                </a:lnTo>
                <a:lnTo>
                  <a:pt x="60" y="210"/>
                </a:lnTo>
                <a:lnTo>
                  <a:pt x="54" y="210"/>
                </a:lnTo>
                <a:lnTo>
                  <a:pt x="54" y="210"/>
                </a:lnTo>
                <a:lnTo>
                  <a:pt x="54" y="210"/>
                </a:lnTo>
                <a:lnTo>
                  <a:pt x="54" y="204"/>
                </a:lnTo>
                <a:lnTo>
                  <a:pt x="54" y="204"/>
                </a:lnTo>
                <a:lnTo>
                  <a:pt x="54" y="204"/>
                </a:lnTo>
                <a:lnTo>
                  <a:pt x="54" y="204"/>
                </a:lnTo>
                <a:lnTo>
                  <a:pt x="54" y="204"/>
                </a:lnTo>
                <a:lnTo>
                  <a:pt x="54" y="204"/>
                </a:lnTo>
                <a:lnTo>
                  <a:pt x="54" y="204"/>
                </a:lnTo>
                <a:lnTo>
                  <a:pt x="54" y="204"/>
                </a:lnTo>
                <a:lnTo>
                  <a:pt x="54" y="204"/>
                </a:lnTo>
                <a:lnTo>
                  <a:pt x="54" y="198"/>
                </a:lnTo>
                <a:lnTo>
                  <a:pt x="54" y="198"/>
                </a:lnTo>
                <a:lnTo>
                  <a:pt x="54" y="198"/>
                </a:lnTo>
                <a:lnTo>
                  <a:pt x="48" y="198"/>
                </a:lnTo>
                <a:lnTo>
                  <a:pt x="48" y="198"/>
                </a:lnTo>
                <a:lnTo>
                  <a:pt x="48" y="198"/>
                </a:lnTo>
                <a:lnTo>
                  <a:pt x="42" y="198"/>
                </a:lnTo>
                <a:lnTo>
                  <a:pt x="42" y="198"/>
                </a:lnTo>
                <a:lnTo>
                  <a:pt x="42" y="198"/>
                </a:lnTo>
                <a:lnTo>
                  <a:pt x="42" y="192"/>
                </a:lnTo>
                <a:lnTo>
                  <a:pt x="42" y="192"/>
                </a:lnTo>
                <a:lnTo>
                  <a:pt x="36" y="192"/>
                </a:lnTo>
                <a:lnTo>
                  <a:pt x="36" y="192"/>
                </a:lnTo>
                <a:lnTo>
                  <a:pt x="36" y="192"/>
                </a:lnTo>
                <a:lnTo>
                  <a:pt x="36" y="192"/>
                </a:lnTo>
                <a:lnTo>
                  <a:pt x="36" y="192"/>
                </a:lnTo>
                <a:lnTo>
                  <a:pt x="36" y="192"/>
                </a:lnTo>
                <a:lnTo>
                  <a:pt x="30" y="192"/>
                </a:lnTo>
                <a:lnTo>
                  <a:pt x="30" y="192"/>
                </a:lnTo>
                <a:lnTo>
                  <a:pt x="30" y="192"/>
                </a:lnTo>
                <a:lnTo>
                  <a:pt x="30" y="198"/>
                </a:lnTo>
                <a:lnTo>
                  <a:pt x="30" y="198"/>
                </a:lnTo>
                <a:lnTo>
                  <a:pt x="30" y="198"/>
                </a:lnTo>
                <a:lnTo>
                  <a:pt x="24" y="198"/>
                </a:lnTo>
                <a:lnTo>
                  <a:pt x="24" y="198"/>
                </a:lnTo>
                <a:lnTo>
                  <a:pt x="24" y="198"/>
                </a:lnTo>
                <a:lnTo>
                  <a:pt x="24" y="198"/>
                </a:lnTo>
                <a:lnTo>
                  <a:pt x="18" y="198"/>
                </a:lnTo>
                <a:lnTo>
                  <a:pt x="18" y="198"/>
                </a:lnTo>
                <a:lnTo>
                  <a:pt x="18" y="198"/>
                </a:lnTo>
                <a:lnTo>
                  <a:pt x="18" y="198"/>
                </a:lnTo>
                <a:lnTo>
                  <a:pt x="18" y="198"/>
                </a:lnTo>
                <a:lnTo>
                  <a:pt x="18" y="204"/>
                </a:lnTo>
                <a:lnTo>
                  <a:pt x="18" y="204"/>
                </a:lnTo>
                <a:lnTo>
                  <a:pt x="24" y="204"/>
                </a:lnTo>
                <a:lnTo>
                  <a:pt x="24" y="204"/>
                </a:lnTo>
                <a:lnTo>
                  <a:pt x="18" y="210"/>
                </a:lnTo>
                <a:lnTo>
                  <a:pt x="24" y="210"/>
                </a:lnTo>
                <a:lnTo>
                  <a:pt x="18" y="210"/>
                </a:lnTo>
                <a:lnTo>
                  <a:pt x="18" y="210"/>
                </a:lnTo>
                <a:lnTo>
                  <a:pt x="18" y="210"/>
                </a:lnTo>
                <a:lnTo>
                  <a:pt x="18" y="210"/>
                </a:lnTo>
                <a:lnTo>
                  <a:pt x="18" y="216"/>
                </a:lnTo>
                <a:lnTo>
                  <a:pt x="18" y="216"/>
                </a:lnTo>
                <a:lnTo>
                  <a:pt x="18" y="216"/>
                </a:lnTo>
                <a:lnTo>
                  <a:pt x="18" y="216"/>
                </a:lnTo>
                <a:lnTo>
                  <a:pt x="12" y="216"/>
                </a:lnTo>
                <a:lnTo>
                  <a:pt x="12" y="216"/>
                </a:lnTo>
                <a:lnTo>
                  <a:pt x="12" y="222"/>
                </a:lnTo>
                <a:lnTo>
                  <a:pt x="12" y="222"/>
                </a:lnTo>
                <a:lnTo>
                  <a:pt x="12" y="222"/>
                </a:lnTo>
                <a:lnTo>
                  <a:pt x="12" y="222"/>
                </a:lnTo>
                <a:lnTo>
                  <a:pt x="6" y="222"/>
                </a:lnTo>
                <a:lnTo>
                  <a:pt x="6" y="222"/>
                </a:lnTo>
                <a:lnTo>
                  <a:pt x="6" y="222"/>
                </a:lnTo>
                <a:lnTo>
                  <a:pt x="6" y="222"/>
                </a:lnTo>
                <a:lnTo>
                  <a:pt x="6" y="222"/>
                </a:lnTo>
                <a:lnTo>
                  <a:pt x="6" y="222"/>
                </a:lnTo>
                <a:lnTo>
                  <a:pt x="6" y="222"/>
                </a:lnTo>
                <a:lnTo>
                  <a:pt x="6" y="222"/>
                </a:lnTo>
                <a:lnTo>
                  <a:pt x="6" y="222"/>
                </a:lnTo>
                <a:lnTo>
                  <a:pt x="0" y="22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36" name="Freeform 469"/>
          <p:cNvSpPr>
            <a:spLocks/>
          </p:cNvSpPr>
          <p:nvPr/>
        </p:nvSpPr>
        <p:spPr bwMode="auto">
          <a:xfrm>
            <a:off x="6389323" y="5066498"/>
            <a:ext cx="128481" cy="96361"/>
          </a:xfrm>
          <a:custGeom>
            <a:avLst/>
            <a:gdLst>
              <a:gd name="T0" fmla="*/ 0 w 120"/>
              <a:gd name="T1" fmla="*/ 48 h 90"/>
              <a:gd name="T2" fmla="*/ 6 w 120"/>
              <a:gd name="T3" fmla="*/ 36 h 90"/>
              <a:gd name="T4" fmla="*/ 12 w 120"/>
              <a:gd name="T5" fmla="*/ 30 h 90"/>
              <a:gd name="T6" fmla="*/ 18 w 120"/>
              <a:gd name="T7" fmla="*/ 30 h 90"/>
              <a:gd name="T8" fmla="*/ 24 w 120"/>
              <a:gd name="T9" fmla="*/ 30 h 90"/>
              <a:gd name="T10" fmla="*/ 30 w 120"/>
              <a:gd name="T11" fmla="*/ 24 h 90"/>
              <a:gd name="T12" fmla="*/ 42 w 120"/>
              <a:gd name="T13" fmla="*/ 30 h 90"/>
              <a:gd name="T14" fmla="*/ 60 w 120"/>
              <a:gd name="T15" fmla="*/ 30 h 90"/>
              <a:gd name="T16" fmla="*/ 60 w 120"/>
              <a:gd name="T17" fmla="*/ 24 h 90"/>
              <a:gd name="T18" fmla="*/ 60 w 120"/>
              <a:gd name="T19" fmla="*/ 24 h 90"/>
              <a:gd name="T20" fmla="*/ 60 w 120"/>
              <a:gd name="T21" fmla="*/ 18 h 90"/>
              <a:gd name="T22" fmla="*/ 66 w 120"/>
              <a:gd name="T23" fmla="*/ 12 h 90"/>
              <a:gd name="T24" fmla="*/ 66 w 120"/>
              <a:gd name="T25" fmla="*/ 12 h 90"/>
              <a:gd name="T26" fmla="*/ 72 w 120"/>
              <a:gd name="T27" fmla="*/ 6 h 90"/>
              <a:gd name="T28" fmla="*/ 72 w 120"/>
              <a:gd name="T29" fmla="*/ 6 h 90"/>
              <a:gd name="T30" fmla="*/ 72 w 120"/>
              <a:gd name="T31" fmla="*/ 0 h 90"/>
              <a:gd name="T32" fmla="*/ 84 w 120"/>
              <a:gd name="T33" fmla="*/ 6 h 90"/>
              <a:gd name="T34" fmla="*/ 90 w 120"/>
              <a:gd name="T35" fmla="*/ 6 h 90"/>
              <a:gd name="T36" fmla="*/ 90 w 120"/>
              <a:gd name="T37" fmla="*/ 12 h 90"/>
              <a:gd name="T38" fmla="*/ 96 w 120"/>
              <a:gd name="T39" fmla="*/ 12 h 90"/>
              <a:gd name="T40" fmla="*/ 102 w 120"/>
              <a:gd name="T41" fmla="*/ 18 h 90"/>
              <a:gd name="T42" fmla="*/ 108 w 120"/>
              <a:gd name="T43" fmla="*/ 12 h 90"/>
              <a:gd name="T44" fmla="*/ 114 w 120"/>
              <a:gd name="T45" fmla="*/ 12 h 90"/>
              <a:gd name="T46" fmla="*/ 120 w 120"/>
              <a:gd name="T47" fmla="*/ 12 h 90"/>
              <a:gd name="T48" fmla="*/ 120 w 120"/>
              <a:gd name="T49" fmla="*/ 18 h 90"/>
              <a:gd name="T50" fmla="*/ 120 w 120"/>
              <a:gd name="T51" fmla="*/ 24 h 90"/>
              <a:gd name="T52" fmla="*/ 120 w 120"/>
              <a:gd name="T53" fmla="*/ 30 h 90"/>
              <a:gd name="T54" fmla="*/ 114 w 120"/>
              <a:gd name="T55" fmla="*/ 30 h 90"/>
              <a:gd name="T56" fmla="*/ 114 w 120"/>
              <a:gd name="T57" fmla="*/ 42 h 90"/>
              <a:gd name="T58" fmla="*/ 114 w 120"/>
              <a:gd name="T59" fmla="*/ 48 h 90"/>
              <a:gd name="T60" fmla="*/ 114 w 120"/>
              <a:gd name="T61" fmla="*/ 54 h 90"/>
              <a:gd name="T62" fmla="*/ 108 w 120"/>
              <a:gd name="T63" fmla="*/ 54 h 90"/>
              <a:gd name="T64" fmla="*/ 72 w 120"/>
              <a:gd name="T65" fmla="*/ 54 h 90"/>
              <a:gd name="T66" fmla="*/ 72 w 120"/>
              <a:gd name="T67" fmla="*/ 60 h 90"/>
              <a:gd name="T68" fmla="*/ 66 w 120"/>
              <a:gd name="T69" fmla="*/ 60 h 90"/>
              <a:gd name="T70" fmla="*/ 72 w 120"/>
              <a:gd name="T71" fmla="*/ 66 h 90"/>
              <a:gd name="T72" fmla="*/ 72 w 120"/>
              <a:gd name="T73" fmla="*/ 66 h 90"/>
              <a:gd name="T74" fmla="*/ 72 w 120"/>
              <a:gd name="T75" fmla="*/ 72 h 90"/>
              <a:gd name="T76" fmla="*/ 78 w 120"/>
              <a:gd name="T77" fmla="*/ 78 h 90"/>
              <a:gd name="T78" fmla="*/ 78 w 120"/>
              <a:gd name="T79" fmla="*/ 84 h 90"/>
              <a:gd name="T80" fmla="*/ 72 w 120"/>
              <a:gd name="T81" fmla="*/ 90 h 90"/>
              <a:gd name="T82" fmla="*/ 66 w 120"/>
              <a:gd name="T83" fmla="*/ 84 h 90"/>
              <a:gd name="T84" fmla="*/ 60 w 120"/>
              <a:gd name="T85" fmla="*/ 78 h 90"/>
              <a:gd name="T86" fmla="*/ 54 w 120"/>
              <a:gd name="T87" fmla="*/ 78 h 90"/>
              <a:gd name="T88" fmla="*/ 42 w 120"/>
              <a:gd name="T89" fmla="*/ 78 h 90"/>
              <a:gd name="T90" fmla="*/ 36 w 120"/>
              <a:gd name="T91" fmla="*/ 78 h 90"/>
              <a:gd name="T92" fmla="*/ 30 w 120"/>
              <a:gd name="T93" fmla="*/ 84 h 90"/>
              <a:gd name="T94" fmla="*/ 24 w 120"/>
              <a:gd name="T95" fmla="*/ 84 h 90"/>
              <a:gd name="T96" fmla="*/ 12 w 120"/>
              <a:gd name="T97" fmla="*/ 90 h 90"/>
              <a:gd name="T98" fmla="*/ 12 w 120"/>
              <a:gd name="T99" fmla="*/ 84 h 90"/>
              <a:gd name="T100" fmla="*/ 12 w 120"/>
              <a:gd name="T101" fmla="*/ 78 h 90"/>
              <a:gd name="T102" fmla="*/ 12 w 120"/>
              <a:gd name="T103" fmla="*/ 78 h 90"/>
              <a:gd name="T104" fmla="*/ 12 w 120"/>
              <a:gd name="T105" fmla="*/ 72 h 90"/>
              <a:gd name="T106" fmla="*/ 6 w 120"/>
              <a:gd name="T107" fmla="*/ 72 h 90"/>
              <a:gd name="T108" fmla="*/ 6 w 120"/>
              <a:gd name="T109" fmla="*/ 66 h 90"/>
              <a:gd name="T110" fmla="*/ 6 w 120"/>
              <a:gd name="T111" fmla="*/ 60 h 90"/>
              <a:gd name="T112" fmla="*/ 0 w 120"/>
              <a:gd name="T113" fmla="*/ 54 h 90"/>
              <a:gd name="T114" fmla="*/ 0 w 120"/>
              <a:gd name="T115" fmla="*/ 54 h 90"/>
              <a:gd name="T116" fmla="*/ 0 w 120"/>
              <a:gd name="T117" fmla="*/ 48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20" h="90">
                <a:moveTo>
                  <a:pt x="0" y="48"/>
                </a:move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24" y="30"/>
                </a:lnTo>
                <a:lnTo>
                  <a:pt x="30" y="30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42" y="24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66" y="12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8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12"/>
                </a:lnTo>
                <a:lnTo>
                  <a:pt x="114" y="6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14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30"/>
                </a:lnTo>
                <a:lnTo>
                  <a:pt x="120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08" y="48"/>
                </a:lnTo>
                <a:lnTo>
                  <a:pt x="114" y="48"/>
                </a:lnTo>
                <a:lnTo>
                  <a:pt x="108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96" y="54"/>
                </a:lnTo>
                <a:lnTo>
                  <a:pt x="96" y="54"/>
                </a:lnTo>
                <a:lnTo>
                  <a:pt x="84" y="54"/>
                </a:lnTo>
                <a:lnTo>
                  <a:pt x="78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6"/>
                </a:lnTo>
                <a:lnTo>
                  <a:pt x="72" y="66"/>
                </a:lnTo>
                <a:lnTo>
                  <a:pt x="72" y="66"/>
                </a:lnTo>
                <a:lnTo>
                  <a:pt x="66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2" y="90"/>
                </a:lnTo>
                <a:lnTo>
                  <a:pt x="78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2" y="78"/>
                </a:lnTo>
                <a:lnTo>
                  <a:pt x="48" y="78"/>
                </a:lnTo>
                <a:lnTo>
                  <a:pt x="42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90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18" y="84"/>
                </a:lnTo>
                <a:lnTo>
                  <a:pt x="18" y="84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8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78"/>
                </a:lnTo>
                <a:lnTo>
                  <a:pt x="12" y="78"/>
                </a:lnTo>
                <a:lnTo>
                  <a:pt x="12" y="84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6" y="72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0" y="60"/>
                </a:lnTo>
                <a:lnTo>
                  <a:pt x="6" y="60"/>
                </a:lnTo>
                <a:lnTo>
                  <a:pt x="0" y="60"/>
                </a:lnTo>
                <a:lnTo>
                  <a:pt x="0" y="60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37" name="Freeform 470"/>
          <p:cNvSpPr>
            <a:spLocks/>
          </p:cNvSpPr>
          <p:nvPr/>
        </p:nvSpPr>
        <p:spPr bwMode="auto">
          <a:xfrm>
            <a:off x="6459987" y="5117891"/>
            <a:ext cx="141329" cy="89937"/>
          </a:xfrm>
          <a:custGeom>
            <a:avLst/>
            <a:gdLst>
              <a:gd name="T0" fmla="*/ 6 w 132"/>
              <a:gd name="T1" fmla="*/ 6 h 84"/>
              <a:gd name="T2" fmla="*/ 6 w 132"/>
              <a:gd name="T3" fmla="*/ 6 h 84"/>
              <a:gd name="T4" fmla="*/ 42 w 132"/>
              <a:gd name="T5" fmla="*/ 6 h 84"/>
              <a:gd name="T6" fmla="*/ 42 w 132"/>
              <a:gd name="T7" fmla="*/ 6 h 84"/>
              <a:gd name="T8" fmla="*/ 48 w 132"/>
              <a:gd name="T9" fmla="*/ 0 h 84"/>
              <a:gd name="T10" fmla="*/ 54 w 132"/>
              <a:gd name="T11" fmla="*/ 0 h 84"/>
              <a:gd name="T12" fmla="*/ 60 w 132"/>
              <a:gd name="T13" fmla="*/ 6 h 84"/>
              <a:gd name="T14" fmla="*/ 66 w 132"/>
              <a:gd name="T15" fmla="*/ 6 h 84"/>
              <a:gd name="T16" fmla="*/ 72 w 132"/>
              <a:gd name="T17" fmla="*/ 0 h 84"/>
              <a:gd name="T18" fmla="*/ 78 w 132"/>
              <a:gd name="T19" fmla="*/ 6 h 84"/>
              <a:gd name="T20" fmla="*/ 78 w 132"/>
              <a:gd name="T21" fmla="*/ 6 h 84"/>
              <a:gd name="T22" fmla="*/ 84 w 132"/>
              <a:gd name="T23" fmla="*/ 12 h 84"/>
              <a:gd name="T24" fmla="*/ 96 w 132"/>
              <a:gd name="T25" fmla="*/ 6 h 84"/>
              <a:gd name="T26" fmla="*/ 102 w 132"/>
              <a:gd name="T27" fmla="*/ 6 h 84"/>
              <a:gd name="T28" fmla="*/ 108 w 132"/>
              <a:gd name="T29" fmla="*/ 0 h 84"/>
              <a:gd name="T30" fmla="*/ 120 w 132"/>
              <a:gd name="T31" fmla="*/ 0 h 84"/>
              <a:gd name="T32" fmla="*/ 126 w 132"/>
              <a:gd name="T33" fmla="*/ 6 h 84"/>
              <a:gd name="T34" fmla="*/ 132 w 132"/>
              <a:gd name="T35" fmla="*/ 12 h 84"/>
              <a:gd name="T36" fmla="*/ 132 w 132"/>
              <a:gd name="T37" fmla="*/ 12 h 84"/>
              <a:gd name="T38" fmla="*/ 132 w 132"/>
              <a:gd name="T39" fmla="*/ 18 h 84"/>
              <a:gd name="T40" fmla="*/ 132 w 132"/>
              <a:gd name="T41" fmla="*/ 18 h 84"/>
              <a:gd name="T42" fmla="*/ 132 w 132"/>
              <a:gd name="T43" fmla="*/ 24 h 84"/>
              <a:gd name="T44" fmla="*/ 132 w 132"/>
              <a:gd name="T45" fmla="*/ 30 h 84"/>
              <a:gd name="T46" fmla="*/ 126 w 132"/>
              <a:gd name="T47" fmla="*/ 30 h 84"/>
              <a:gd name="T48" fmla="*/ 114 w 132"/>
              <a:gd name="T49" fmla="*/ 36 h 84"/>
              <a:gd name="T50" fmla="*/ 114 w 132"/>
              <a:gd name="T51" fmla="*/ 36 h 84"/>
              <a:gd name="T52" fmla="*/ 120 w 132"/>
              <a:gd name="T53" fmla="*/ 42 h 84"/>
              <a:gd name="T54" fmla="*/ 126 w 132"/>
              <a:gd name="T55" fmla="*/ 42 h 84"/>
              <a:gd name="T56" fmla="*/ 126 w 132"/>
              <a:gd name="T57" fmla="*/ 48 h 84"/>
              <a:gd name="T58" fmla="*/ 126 w 132"/>
              <a:gd name="T59" fmla="*/ 54 h 84"/>
              <a:gd name="T60" fmla="*/ 120 w 132"/>
              <a:gd name="T61" fmla="*/ 60 h 84"/>
              <a:gd name="T62" fmla="*/ 114 w 132"/>
              <a:gd name="T63" fmla="*/ 66 h 84"/>
              <a:gd name="T64" fmla="*/ 114 w 132"/>
              <a:gd name="T65" fmla="*/ 66 h 84"/>
              <a:gd name="T66" fmla="*/ 108 w 132"/>
              <a:gd name="T67" fmla="*/ 66 h 84"/>
              <a:gd name="T68" fmla="*/ 102 w 132"/>
              <a:gd name="T69" fmla="*/ 66 h 84"/>
              <a:gd name="T70" fmla="*/ 102 w 132"/>
              <a:gd name="T71" fmla="*/ 66 h 84"/>
              <a:gd name="T72" fmla="*/ 90 w 132"/>
              <a:gd name="T73" fmla="*/ 66 h 84"/>
              <a:gd name="T74" fmla="*/ 84 w 132"/>
              <a:gd name="T75" fmla="*/ 72 h 84"/>
              <a:gd name="T76" fmla="*/ 78 w 132"/>
              <a:gd name="T77" fmla="*/ 72 h 84"/>
              <a:gd name="T78" fmla="*/ 78 w 132"/>
              <a:gd name="T79" fmla="*/ 72 h 84"/>
              <a:gd name="T80" fmla="*/ 66 w 132"/>
              <a:gd name="T81" fmla="*/ 66 h 84"/>
              <a:gd name="T82" fmla="*/ 66 w 132"/>
              <a:gd name="T83" fmla="*/ 66 h 84"/>
              <a:gd name="T84" fmla="*/ 48 w 132"/>
              <a:gd name="T85" fmla="*/ 72 h 84"/>
              <a:gd name="T86" fmla="*/ 30 w 132"/>
              <a:gd name="T87" fmla="*/ 78 h 84"/>
              <a:gd name="T88" fmla="*/ 12 w 132"/>
              <a:gd name="T89" fmla="*/ 84 h 84"/>
              <a:gd name="T90" fmla="*/ 12 w 132"/>
              <a:gd name="T91" fmla="*/ 72 h 84"/>
              <a:gd name="T92" fmla="*/ 12 w 132"/>
              <a:gd name="T93" fmla="*/ 66 h 84"/>
              <a:gd name="T94" fmla="*/ 12 w 132"/>
              <a:gd name="T95" fmla="*/ 66 h 84"/>
              <a:gd name="T96" fmla="*/ 6 w 132"/>
              <a:gd name="T97" fmla="*/ 66 h 84"/>
              <a:gd name="T98" fmla="*/ 6 w 132"/>
              <a:gd name="T99" fmla="*/ 60 h 84"/>
              <a:gd name="T100" fmla="*/ 6 w 132"/>
              <a:gd name="T101" fmla="*/ 54 h 84"/>
              <a:gd name="T102" fmla="*/ 6 w 132"/>
              <a:gd name="T103" fmla="*/ 48 h 84"/>
              <a:gd name="T104" fmla="*/ 12 w 132"/>
              <a:gd name="T105" fmla="*/ 36 h 84"/>
              <a:gd name="T106" fmla="*/ 12 w 132"/>
              <a:gd name="T107" fmla="*/ 36 h 84"/>
              <a:gd name="T108" fmla="*/ 6 w 132"/>
              <a:gd name="T109" fmla="*/ 30 h 84"/>
              <a:gd name="T110" fmla="*/ 6 w 132"/>
              <a:gd name="T111" fmla="*/ 24 h 84"/>
              <a:gd name="T112" fmla="*/ 6 w 132"/>
              <a:gd name="T113" fmla="*/ 18 h 84"/>
              <a:gd name="T114" fmla="*/ 0 w 132"/>
              <a:gd name="T115" fmla="*/ 18 h 84"/>
              <a:gd name="T116" fmla="*/ 0 w 132"/>
              <a:gd name="T117" fmla="*/ 12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32" h="84">
                <a:moveTo>
                  <a:pt x="0" y="12"/>
                </a:moveTo>
                <a:lnTo>
                  <a:pt x="0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12" y="6"/>
                </a:lnTo>
                <a:lnTo>
                  <a:pt x="18" y="6"/>
                </a:lnTo>
                <a:lnTo>
                  <a:pt x="30" y="6"/>
                </a:lnTo>
                <a:lnTo>
                  <a:pt x="30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2" y="6"/>
                </a:lnTo>
                <a:lnTo>
                  <a:pt x="48" y="0"/>
                </a:lnTo>
                <a:lnTo>
                  <a:pt x="42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84" y="6"/>
                </a:lnTo>
                <a:lnTo>
                  <a:pt x="84" y="6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90" y="12"/>
                </a:lnTo>
                <a:lnTo>
                  <a:pt x="90" y="12"/>
                </a:lnTo>
                <a:lnTo>
                  <a:pt x="90" y="6"/>
                </a:lnTo>
                <a:lnTo>
                  <a:pt x="90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14" y="0"/>
                </a:lnTo>
                <a:lnTo>
                  <a:pt x="114" y="0"/>
                </a:lnTo>
                <a:lnTo>
                  <a:pt x="120" y="0"/>
                </a:lnTo>
                <a:lnTo>
                  <a:pt x="120" y="0"/>
                </a:lnTo>
                <a:lnTo>
                  <a:pt x="120" y="0"/>
                </a:lnTo>
                <a:lnTo>
                  <a:pt x="120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26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26" y="18"/>
                </a:lnTo>
                <a:lnTo>
                  <a:pt x="126" y="18"/>
                </a:lnTo>
                <a:lnTo>
                  <a:pt x="132" y="18"/>
                </a:lnTo>
                <a:lnTo>
                  <a:pt x="126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0" y="30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20" y="36"/>
                </a:lnTo>
                <a:lnTo>
                  <a:pt x="114" y="42"/>
                </a:lnTo>
                <a:lnTo>
                  <a:pt x="114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60"/>
                </a:lnTo>
                <a:lnTo>
                  <a:pt x="126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6"/>
                </a:lnTo>
                <a:lnTo>
                  <a:pt x="120" y="66"/>
                </a:lnTo>
                <a:lnTo>
                  <a:pt x="114" y="66"/>
                </a:lnTo>
                <a:lnTo>
                  <a:pt x="114" y="66"/>
                </a:lnTo>
                <a:lnTo>
                  <a:pt x="120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2" y="66"/>
                </a:lnTo>
                <a:lnTo>
                  <a:pt x="108" y="66"/>
                </a:lnTo>
                <a:lnTo>
                  <a:pt x="108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72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84" y="66"/>
                </a:lnTo>
                <a:lnTo>
                  <a:pt x="84" y="66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2" y="72"/>
                </a:lnTo>
                <a:lnTo>
                  <a:pt x="78" y="72"/>
                </a:lnTo>
                <a:lnTo>
                  <a:pt x="78" y="72"/>
                </a:lnTo>
                <a:lnTo>
                  <a:pt x="72" y="66"/>
                </a:lnTo>
                <a:lnTo>
                  <a:pt x="72" y="66"/>
                </a:lnTo>
                <a:lnTo>
                  <a:pt x="66" y="66"/>
                </a:lnTo>
                <a:lnTo>
                  <a:pt x="66" y="66"/>
                </a:lnTo>
                <a:lnTo>
                  <a:pt x="72" y="66"/>
                </a:lnTo>
                <a:lnTo>
                  <a:pt x="72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54" y="72"/>
                </a:lnTo>
                <a:lnTo>
                  <a:pt x="54" y="72"/>
                </a:lnTo>
                <a:lnTo>
                  <a:pt x="48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0" y="72"/>
                </a:lnTo>
                <a:lnTo>
                  <a:pt x="30" y="72"/>
                </a:lnTo>
                <a:lnTo>
                  <a:pt x="30" y="78"/>
                </a:lnTo>
                <a:lnTo>
                  <a:pt x="30" y="78"/>
                </a:lnTo>
                <a:lnTo>
                  <a:pt x="24" y="78"/>
                </a:lnTo>
                <a:lnTo>
                  <a:pt x="24" y="78"/>
                </a:lnTo>
                <a:lnTo>
                  <a:pt x="18" y="78"/>
                </a:lnTo>
                <a:lnTo>
                  <a:pt x="18" y="78"/>
                </a:lnTo>
                <a:lnTo>
                  <a:pt x="12" y="84"/>
                </a:lnTo>
                <a:lnTo>
                  <a:pt x="12" y="78"/>
                </a:lnTo>
                <a:lnTo>
                  <a:pt x="12" y="78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0" y="66"/>
                </a:lnTo>
                <a:lnTo>
                  <a:pt x="0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12" y="48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0" y="18"/>
                </a:lnTo>
                <a:lnTo>
                  <a:pt x="6" y="18"/>
                </a:lnTo>
                <a:lnTo>
                  <a:pt x="6" y="18"/>
                </a:lnTo>
                <a:lnTo>
                  <a:pt x="0" y="18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lnTo>
                  <a:pt x="0" y="1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38" name="Freeform 471"/>
          <p:cNvSpPr>
            <a:spLocks/>
          </p:cNvSpPr>
          <p:nvPr/>
        </p:nvSpPr>
        <p:spPr bwMode="auto">
          <a:xfrm>
            <a:off x="6382898" y="5317038"/>
            <a:ext cx="173449" cy="147754"/>
          </a:xfrm>
          <a:custGeom>
            <a:avLst/>
            <a:gdLst>
              <a:gd name="T0" fmla="*/ 0 w 162"/>
              <a:gd name="T1" fmla="*/ 48 h 138"/>
              <a:gd name="T2" fmla="*/ 0 w 162"/>
              <a:gd name="T3" fmla="*/ 36 h 138"/>
              <a:gd name="T4" fmla="*/ 0 w 162"/>
              <a:gd name="T5" fmla="*/ 36 h 138"/>
              <a:gd name="T6" fmla="*/ 0 w 162"/>
              <a:gd name="T7" fmla="*/ 30 h 138"/>
              <a:gd name="T8" fmla="*/ 0 w 162"/>
              <a:gd name="T9" fmla="*/ 24 h 138"/>
              <a:gd name="T10" fmla="*/ 0 w 162"/>
              <a:gd name="T11" fmla="*/ 18 h 138"/>
              <a:gd name="T12" fmla="*/ 6 w 162"/>
              <a:gd name="T13" fmla="*/ 18 h 138"/>
              <a:gd name="T14" fmla="*/ 12 w 162"/>
              <a:gd name="T15" fmla="*/ 24 h 138"/>
              <a:gd name="T16" fmla="*/ 18 w 162"/>
              <a:gd name="T17" fmla="*/ 30 h 138"/>
              <a:gd name="T18" fmla="*/ 30 w 162"/>
              <a:gd name="T19" fmla="*/ 30 h 138"/>
              <a:gd name="T20" fmla="*/ 36 w 162"/>
              <a:gd name="T21" fmla="*/ 36 h 138"/>
              <a:gd name="T22" fmla="*/ 42 w 162"/>
              <a:gd name="T23" fmla="*/ 42 h 138"/>
              <a:gd name="T24" fmla="*/ 48 w 162"/>
              <a:gd name="T25" fmla="*/ 42 h 138"/>
              <a:gd name="T26" fmla="*/ 48 w 162"/>
              <a:gd name="T27" fmla="*/ 54 h 138"/>
              <a:gd name="T28" fmla="*/ 78 w 162"/>
              <a:gd name="T29" fmla="*/ 30 h 138"/>
              <a:gd name="T30" fmla="*/ 78 w 162"/>
              <a:gd name="T31" fmla="*/ 36 h 138"/>
              <a:gd name="T32" fmla="*/ 84 w 162"/>
              <a:gd name="T33" fmla="*/ 42 h 138"/>
              <a:gd name="T34" fmla="*/ 90 w 162"/>
              <a:gd name="T35" fmla="*/ 36 h 138"/>
              <a:gd name="T36" fmla="*/ 96 w 162"/>
              <a:gd name="T37" fmla="*/ 42 h 138"/>
              <a:gd name="T38" fmla="*/ 102 w 162"/>
              <a:gd name="T39" fmla="*/ 36 h 138"/>
              <a:gd name="T40" fmla="*/ 108 w 162"/>
              <a:gd name="T41" fmla="*/ 30 h 138"/>
              <a:gd name="T42" fmla="*/ 114 w 162"/>
              <a:gd name="T43" fmla="*/ 24 h 138"/>
              <a:gd name="T44" fmla="*/ 120 w 162"/>
              <a:gd name="T45" fmla="*/ 18 h 138"/>
              <a:gd name="T46" fmla="*/ 114 w 162"/>
              <a:gd name="T47" fmla="*/ 18 h 138"/>
              <a:gd name="T48" fmla="*/ 108 w 162"/>
              <a:gd name="T49" fmla="*/ 12 h 138"/>
              <a:gd name="T50" fmla="*/ 108 w 162"/>
              <a:gd name="T51" fmla="*/ 6 h 138"/>
              <a:gd name="T52" fmla="*/ 120 w 162"/>
              <a:gd name="T53" fmla="*/ 6 h 138"/>
              <a:gd name="T54" fmla="*/ 126 w 162"/>
              <a:gd name="T55" fmla="*/ 0 h 138"/>
              <a:gd name="T56" fmla="*/ 138 w 162"/>
              <a:gd name="T57" fmla="*/ 0 h 138"/>
              <a:gd name="T58" fmla="*/ 144 w 162"/>
              <a:gd name="T59" fmla="*/ 0 h 138"/>
              <a:gd name="T60" fmla="*/ 144 w 162"/>
              <a:gd name="T61" fmla="*/ 12 h 138"/>
              <a:gd name="T62" fmla="*/ 150 w 162"/>
              <a:gd name="T63" fmla="*/ 12 h 138"/>
              <a:gd name="T64" fmla="*/ 162 w 162"/>
              <a:gd name="T65" fmla="*/ 18 h 138"/>
              <a:gd name="T66" fmla="*/ 162 w 162"/>
              <a:gd name="T67" fmla="*/ 24 h 138"/>
              <a:gd name="T68" fmla="*/ 156 w 162"/>
              <a:gd name="T69" fmla="*/ 30 h 138"/>
              <a:gd name="T70" fmla="*/ 150 w 162"/>
              <a:gd name="T71" fmla="*/ 24 h 138"/>
              <a:gd name="T72" fmla="*/ 138 w 162"/>
              <a:gd name="T73" fmla="*/ 54 h 138"/>
              <a:gd name="T74" fmla="*/ 138 w 162"/>
              <a:gd name="T75" fmla="*/ 78 h 138"/>
              <a:gd name="T76" fmla="*/ 138 w 162"/>
              <a:gd name="T77" fmla="*/ 60 h 138"/>
              <a:gd name="T78" fmla="*/ 132 w 162"/>
              <a:gd name="T79" fmla="*/ 54 h 138"/>
              <a:gd name="T80" fmla="*/ 126 w 162"/>
              <a:gd name="T81" fmla="*/ 72 h 138"/>
              <a:gd name="T82" fmla="*/ 120 w 162"/>
              <a:gd name="T83" fmla="*/ 84 h 138"/>
              <a:gd name="T84" fmla="*/ 114 w 162"/>
              <a:gd name="T85" fmla="*/ 102 h 138"/>
              <a:gd name="T86" fmla="*/ 102 w 162"/>
              <a:gd name="T87" fmla="*/ 120 h 138"/>
              <a:gd name="T88" fmla="*/ 96 w 162"/>
              <a:gd name="T89" fmla="*/ 132 h 138"/>
              <a:gd name="T90" fmla="*/ 78 w 162"/>
              <a:gd name="T91" fmla="*/ 138 h 138"/>
              <a:gd name="T92" fmla="*/ 72 w 162"/>
              <a:gd name="T93" fmla="*/ 138 h 138"/>
              <a:gd name="T94" fmla="*/ 72 w 162"/>
              <a:gd name="T95" fmla="*/ 132 h 138"/>
              <a:gd name="T96" fmla="*/ 72 w 162"/>
              <a:gd name="T97" fmla="*/ 126 h 138"/>
              <a:gd name="T98" fmla="*/ 72 w 162"/>
              <a:gd name="T99" fmla="*/ 126 h 138"/>
              <a:gd name="T100" fmla="*/ 72 w 162"/>
              <a:gd name="T101" fmla="*/ 102 h 138"/>
              <a:gd name="T102" fmla="*/ 54 w 162"/>
              <a:gd name="T103" fmla="*/ 90 h 138"/>
              <a:gd name="T104" fmla="*/ 48 w 162"/>
              <a:gd name="T105" fmla="*/ 90 h 138"/>
              <a:gd name="T106" fmla="*/ 36 w 162"/>
              <a:gd name="T107" fmla="*/ 90 h 138"/>
              <a:gd name="T108" fmla="*/ 30 w 162"/>
              <a:gd name="T109" fmla="*/ 84 h 138"/>
              <a:gd name="T110" fmla="*/ 24 w 162"/>
              <a:gd name="T111" fmla="*/ 84 h 138"/>
              <a:gd name="T112" fmla="*/ 24 w 162"/>
              <a:gd name="T113" fmla="*/ 72 h 138"/>
              <a:gd name="T114" fmla="*/ 18 w 162"/>
              <a:gd name="T115" fmla="*/ 72 h 138"/>
              <a:gd name="T116" fmla="*/ 12 w 162"/>
              <a:gd name="T117" fmla="*/ 72 h 138"/>
              <a:gd name="T118" fmla="*/ 6 w 162"/>
              <a:gd name="T119" fmla="*/ 66 h 138"/>
              <a:gd name="T120" fmla="*/ 6 w 162"/>
              <a:gd name="T121" fmla="*/ 60 h 138"/>
              <a:gd name="T122" fmla="*/ 0 w 162"/>
              <a:gd name="T123" fmla="*/ 54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62" h="138">
                <a:moveTo>
                  <a:pt x="0" y="54"/>
                </a:move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2"/>
                </a:lnTo>
                <a:lnTo>
                  <a:pt x="6" y="42"/>
                </a:lnTo>
                <a:lnTo>
                  <a:pt x="0" y="42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24"/>
                </a:lnTo>
                <a:lnTo>
                  <a:pt x="0" y="30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18"/>
                </a:lnTo>
                <a:lnTo>
                  <a:pt x="0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8" y="24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42" y="42"/>
                </a:lnTo>
                <a:lnTo>
                  <a:pt x="42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54"/>
                </a:lnTo>
                <a:lnTo>
                  <a:pt x="48" y="54"/>
                </a:lnTo>
                <a:lnTo>
                  <a:pt x="54" y="48"/>
                </a:lnTo>
                <a:lnTo>
                  <a:pt x="60" y="48"/>
                </a:lnTo>
                <a:lnTo>
                  <a:pt x="60" y="42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84" y="36"/>
                </a:lnTo>
                <a:lnTo>
                  <a:pt x="84" y="42"/>
                </a:lnTo>
                <a:lnTo>
                  <a:pt x="84" y="36"/>
                </a:lnTo>
                <a:lnTo>
                  <a:pt x="84" y="42"/>
                </a:lnTo>
                <a:lnTo>
                  <a:pt x="84" y="42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36"/>
                </a:lnTo>
                <a:lnTo>
                  <a:pt x="96" y="36"/>
                </a:lnTo>
                <a:lnTo>
                  <a:pt x="96" y="42"/>
                </a:lnTo>
                <a:lnTo>
                  <a:pt x="102" y="42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24"/>
                </a:lnTo>
                <a:lnTo>
                  <a:pt x="108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18"/>
                </a:lnTo>
                <a:lnTo>
                  <a:pt x="120" y="24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2"/>
                </a:lnTo>
                <a:lnTo>
                  <a:pt x="114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6" y="6"/>
                </a:lnTo>
                <a:lnTo>
                  <a:pt x="126" y="0"/>
                </a:lnTo>
                <a:lnTo>
                  <a:pt x="126" y="0"/>
                </a:lnTo>
                <a:lnTo>
                  <a:pt x="132" y="0"/>
                </a:lnTo>
                <a:lnTo>
                  <a:pt x="132" y="0"/>
                </a:lnTo>
                <a:lnTo>
                  <a:pt x="132" y="0"/>
                </a:lnTo>
                <a:lnTo>
                  <a:pt x="132" y="0"/>
                </a:lnTo>
                <a:lnTo>
                  <a:pt x="132" y="0"/>
                </a:lnTo>
                <a:lnTo>
                  <a:pt x="132" y="0"/>
                </a:lnTo>
                <a:lnTo>
                  <a:pt x="138" y="0"/>
                </a:lnTo>
                <a:lnTo>
                  <a:pt x="138" y="0"/>
                </a:lnTo>
                <a:lnTo>
                  <a:pt x="138" y="0"/>
                </a:lnTo>
                <a:lnTo>
                  <a:pt x="138" y="0"/>
                </a:lnTo>
                <a:lnTo>
                  <a:pt x="138" y="0"/>
                </a:lnTo>
                <a:lnTo>
                  <a:pt x="138" y="0"/>
                </a:lnTo>
                <a:lnTo>
                  <a:pt x="138" y="6"/>
                </a:lnTo>
                <a:lnTo>
                  <a:pt x="144" y="0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8"/>
                </a:lnTo>
                <a:lnTo>
                  <a:pt x="156" y="18"/>
                </a:lnTo>
                <a:lnTo>
                  <a:pt x="156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30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0"/>
                </a:lnTo>
                <a:lnTo>
                  <a:pt x="156" y="30"/>
                </a:lnTo>
                <a:lnTo>
                  <a:pt x="162" y="30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0" y="24"/>
                </a:lnTo>
                <a:lnTo>
                  <a:pt x="150" y="24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6"/>
                </a:lnTo>
                <a:lnTo>
                  <a:pt x="138" y="42"/>
                </a:lnTo>
                <a:lnTo>
                  <a:pt x="138" y="48"/>
                </a:lnTo>
                <a:lnTo>
                  <a:pt x="138" y="54"/>
                </a:lnTo>
                <a:lnTo>
                  <a:pt x="138" y="60"/>
                </a:lnTo>
                <a:lnTo>
                  <a:pt x="138" y="66"/>
                </a:lnTo>
                <a:lnTo>
                  <a:pt x="138" y="72"/>
                </a:lnTo>
                <a:lnTo>
                  <a:pt x="138" y="78"/>
                </a:lnTo>
                <a:lnTo>
                  <a:pt x="138" y="78"/>
                </a:lnTo>
                <a:lnTo>
                  <a:pt x="138" y="78"/>
                </a:lnTo>
                <a:lnTo>
                  <a:pt x="138" y="78"/>
                </a:lnTo>
                <a:lnTo>
                  <a:pt x="138" y="72"/>
                </a:lnTo>
                <a:lnTo>
                  <a:pt x="132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66"/>
                </a:lnTo>
                <a:lnTo>
                  <a:pt x="138" y="66"/>
                </a:lnTo>
                <a:lnTo>
                  <a:pt x="138" y="60"/>
                </a:lnTo>
                <a:lnTo>
                  <a:pt x="138" y="60"/>
                </a:lnTo>
                <a:lnTo>
                  <a:pt x="138" y="60"/>
                </a:lnTo>
                <a:lnTo>
                  <a:pt x="138" y="60"/>
                </a:lnTo>
                <a:lnTo>
                  <a:pt x="138" y="54"/>
                </a:lnTo>
                <a:lnTo>
                  <a:pt x="132" y="54"/>
                </a:lnTo>
                <a:lnTo>
                  <a:pt x="132" y="54"/>
                </a:lnTo>
                <a:lnTo>
                  <a:pt x="132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60"/>
                </a:lnTo>
                <a:lnTo>
                  <a:pt x="126" y="66"/>
                </a:lnTo>
                <a:lnTo>
                  <a:pt x="126" y="66"/>
                </a:lnTo>
                <a:lnTo>
                  <a:pt x="126" y="72"/>
                </a:lnTo>
                <a:lnTo>
                  <a:pt x="126" y="78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14" y="84"/>
                </a:lnTo>
                <a:lnTo>
                  <a:pt x="114" y="90"/>
                </a:lnTo>
                <a:lnTo>
                  <a:pt x="114" y="90"/>
                </a:lnTo>
                <a:lnTo>
                  <a:pt x="114" y="90"/>
                </a:lnTo>
                <a:lnTo>
                  <a:pt x="114" y="96"/>
                </a:lnTo>
                <a:lnTo>
                  <a:pt x="114" y="96"/>
                </a:lnTo>
                <a:lnTo>
                  <a:pt x="114" y="102"/>
                </a:lnTo>
                <a:lnTo>
                  <a:pt x="120" y="108"/>
                </a:lnTo>
                <a:lnTo>
                  <a:pt x="120" y="114"/>
                </a:lnTo>
                <a:lnTo>
                  <a:pt x="120" y="114"/>
                </a:lnTo>
                <a:lnTo>
                  <a:pt x="114" y="114"/>
                </a:lnTo>
                <a:lnTo>
                  <a:pt x="108" y="114"/>
                </a:lnTo>
                <a:lnTo>
                  <a:pt x="102" y="114"/>
                </a:lnTo>
                <a:lnTo>
                  <a:pt x="102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0"/>
                </a:lnTo>
                <a:lnTo>
                  <a:pt x="96" y="126"/>
                </a:lnTo>
                <a:lnTo>
                  <a:pt x="96" y="126"/>
                </a:lnTo>
                <a:lnTo>
                  <a:pt x="96" y="132"/>
                </a:lnTo>
                <a:lnTo>
                  <a:pt x="96" y="132"/>
                </a:lnTo>
                <a:lnTo>
                  <a:pt x="96" y="138"/>
                </a:lnTo>
                <a:lnTo>
                  <a:pt x="96" y="138"/>
                </a:lnTo>
                <a:lnTo>
                  <a:pt x="90" y="138"/>
                </a:lnTo>
                <a:lnTo>
                  <a:pt x="84" y="138"/>
                </a:lnTo>
                <a:lnTo>
                  <a:pt x="84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8" y="132"/>
                </a:lnTo>
                <a:lnTo>
                  <a:pt x="72" y="132"/>
                </a:lnTo>
                <a:lnTo>
                  <a:pt x="78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0"/>
                </a:lnTo>
                <a:lnTo>
                  <a:pt x="72" y="120"/>
                </a:lnTo>
                <a:lnTo>
                  <a:pt x="72" y="126"/>
                </a:lnTo>
                <a:lnTo>
                  <a:pt x="72" y="126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14"/>
                </a:lnTo>
                <a:lnTo>
                  <a:pt x="72" y="114"/>
                </a:lnTo>
                <a:lnTo>
                  <a:pt x="72" y="108"/>
                </a:lnTo>
                <a:lnTo>
                  <a:pt x="72" y="102"/>
                </a:lnTo>
                <a:lnTo>
                  <a:pt x="66" y="102"/>
                </a:lnTo>
                <a:lnTo>
                  <a:pt x="66" y="96"/>
                </a:lnTo>
                <a:lnTo>
                  <a:pt x="66" y="96"/>
                </a:lnTo>
                <a:lnTo>
                  <a:pt x="60" y="90"/>
                </a:lnTo>
                <a:lnTo>
                  <a:pt x="60" y="90"/>
                </a:lnTo>
                <a:lnTo>
                  <a:pt x="54" y="96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24" y="84"/>
                </a:lnTo>
                <a:lnTo>
                  <a:pt x="24" y="84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66"/>
                </a:lnTo>
                <a:lnTo>
                  <a:pt x="18" y="66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6" y="60"/>
                </a:lnTo>
                <a:lnTo>
                  <a:pt x="6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39" name="Freeform 472"/>
          <p:cNvSpPr>
            <a:spLocks/>
          </p:cNvSpPr>
          <p:nvPr/>
        </p:nvSpPr>
        <p:spPr bwMode="auto">
          <a:xfrm>
            <a:off x="6318658" y="4899472"/>
            <a:ext cx="141329" cy="102786"/>
          </a:xfrm>
          <a:custGeom>
            <a:avLst/>
            <a:gdLst>
              <a:gd name="T0" fmla="*/ 6 w 132"/>
              <a:gd name="T1" fmla="*/ 30 h 96"/>
              <a:gd name="T2" fmla="*/ 12 w 132"/>
              <a:gd name="T3" fmla="*/ 24 h 96"/>
              <a:gd name="T4" fmla="*/ 12 w 132"/>
              <a:gd name="T5" fmla="*/ 18 h 96"/>
              <a:gd name="T6" fmla="*/ 12 w 132"/>
              <a:gd name="T7" fmla="*/ 12 h 96"/>
              <a:gd name="T8" fmla="*/ 18 w 132"/>
              <a:gd name="T9" fmla="*/ 6 h 96"/>
              <a:gd name="T10" fmla="*/ 18 w 132"/>
              <a:gd name="T11" fmla="*/ 0 h 96"/>
              <a:gd name="T12" fmla="*/ 30 w 132"/>
              <a:gd name="T13" fmla="*/ 0 h 96"/>
              <a:gd name="T14" fmla="*/ 42 w 132"/>
              <a:gd name="T15" fmla="*/ 6 h 96"/>
              <a:gd name="T16" fmla="*/ 42 w 132"/>
              <a:gd name="T17" fmla="*/ 0 h 96"/>
              <a:gd name="T18" fmla="*/ 48 w 132"/>
              <a:gd name="T19" fmla="*/ 0 h 96"/>
              <a:gd name="T20" fmla="*/ 54 w 132"/>
              <a:gd name="T21" fmla="*/ 0 h 96"/>
              <a:gd name="T22" fmla="*/ 60 w 132"/>
              <a:gd name="T23" fmla="*/ 6 h 96"/>
              <a:gd name="T24" fmla="*/ 66 w 132"/>
              <a:gd name="T25" fmla="*/ 12 h 96"/>
              <a:gd name="T26" fmla="*/ 72 w 132"/>
              <a:gd name="T27" fmla="*/ 6 h 96"/>
              <a:gd name="T28" fmla="*/ 72 w 132"/>
              <a:gd name="T29" fmla="*/ 6 h 96"/>
              <a:gd name="T30" fmla="*/ 78 w 132"/>
              <a:gd name="T31" fmla="*/ 12 h 96"/>
              <a:gd name="T32" fmla="*/ 84 w 132"/>
              <a:gd name="T33" fmla="*/ 6 h 96"/>
              <a:gd name="T34" fmla="*/ 90 w 132"/>
              <a:gd name="T35" fmla="*/ 12 h 96"/>
              <a:gd name="T36" fmla="*/ 96 w 132"/>
              <a:gd name="T37" fmla="*/ 18 h 96"/>
              <a:gd name="T38" fmla="*/ 108 w 132"/>
              <a:gd name="T39" fmla="*/ 12 h 96"/>
              <a:gd name="T40" fmla="*/ 114 w 132"/>
              <a:gd name="T41" fmla="*/ 18 h 96"/>
              <a:gd name="T42" fmla="*/ 108 w 132"/>
              <a:gd name="T43" fmla="*/ 24 h 96"/>
              <a:gd name="T44" fmla="*/ 114 w 132"/>
              <a:gd name="T45" fmla="*/ 30 h 96"/>
              <a:gd name="T46" fmla="*/ 120 w 132"/>
              <a:gd name="T47" fmla="*/ 30 h 96"/>
              <a:gd name="T48" fmla="*/ 126 w 132"/>
              <a:gd name="T49" fmla="*/ 36 h 96"/>
              <a:gd name="T50" fmla="*/ 126 w 132"/>
              <a:gd name="T51" fmla="*/ 36 h 96"/>
              <a:gd name="T52" fmla="*/ 126 w 132"/>
              <a:gd name="T53" fmla="*/ 42 h 96"/>
              <a:gd name="T54" fmla="*/ 120 w 132"/>
              <a:gd name="T55" fmla="*/ 42 h 96"/>
              <a:gd name="T56" fmla="*/ 120 w 132"/>
              <a:gd name="T57" fmla="*/ 54 h 96"/>
              <a:gd name="T58" fmla="*/ 126 w 132"/>
              <a:gd name="T59" fmla="*/ 60 h 96"/>
              <a:gd name="T60" fmla="*/ 120 w 132"/>
              <a:gd name="T61" fmla="*/ 60 h 96"/>
              <a:gd name="T62" fmla="*/ 120 w 132"/>
              <a:gd name="T63" fmla="*/ 72 h 96"/>
              <a:gd name="T64" fmla="*/ 114 w 132"/>
              <a:gd name="T65" fmla="*/ 72 h 96"/>
              <a:gd name="T66" fmla="*/ 114 w 132"/>
              <a:gd name="T67" fmla="*/ 78 h 96"/>
              <a:gd name="T68" fmla="*/ 120 w 132"/>
              <a:gd name="T69" fmla="*/ 84 h 96"/>
              <a:gd name="T70" fmla="*/ 102 w 132"/>
              <a:gd name="T71" fmla="*/ 84 h 96"/>
              <a:gd name="T72" fmla="*/ 102 w 132"/>
              <a:gd name="T73" fmla="*/ 90 h 96"/>
              <a:gd name="T74" fmla="*/ 96 w 132"/>
              <a:gd name="T75" fmla="*/ 90 h 96"/>
              <a:gd name="T76" fmla="*/ 90 w 132"/>
              <a:gd name="T77" fmla="*/ 96 h 96"/>
              <a:gd name="T78" fmla="*/ 84 w 132"/>
              <a:gd name="T79" fmla="*/ 96 h 96"/>
              <a:gd name="T80" fmla="*/ 72 w 132"/>
              <a:gd name="T81" fmla="*/ 96 h 96"/>
              <a:gd name="T82" fmla="*/ 66 w 132"/>
              <a:gd name="T83" fmla="*/ 96 h 96"/>
              <a:gd name="T84" fmla="*/ 60 w 132"/>
              <a:gd name="T85" fmla="*/ 96 h 96"/>
              <a:gd name="T86" fmla="*/ 54 w 132"/>
              <a:gd name="T87" fmla="*/ 96 h 96"/>
              <a:gd name="T88" fmla="*/ 48 w 132"/>
              <a:gd name="T89" fmla="*/ 96 h 96"/>
              <a:gd name="T90" fmla="*/ 42 w 132"/>
              <a:gd name="T91" fmla="*/ 96 h 96"/>
              <a:gd name="T92" fmla="*/ 36 w 132"/>
              <a:gd name="T93" fmla="*/ 90 h 96"/>
              <a:gd name="T94" fmla="*/ 36 w 132"/>
              <a:gd name="T95" fmla="*/ 96 h 96"/>
              <a:gd name="T96" fmla="*/ 30 w 132"/>
              <a:gd name="T97" fmla="*/ 90 h 96"/>
              <a:gd name="T98" fmla="*/ 30 w 132"/>
              <a:gd name="T99" fmla="*/ 90 h 96"/>
              <a:gd name="T100" fmla="*/ 30 w 132"/>
              <a:gd name="T101" fmla="*/ 84 h 96"/>
              <a:gd name="T102" fmla="*/ 24 w 132"/>
              <a:gd name="T103" fmla="*/ 84 h 96"/>
              <a:gd name="T104" fmla="*/ 18 w 132"/>
              <a:gd name="T105" fmla="*/ 72 h 96"/>
              <a:gd name="T106" fmla="*/ 12 w 132"/>
              <a:gd name="T107" fmla="*/ 66 h 96"/>
              <a:gd name="T108" fmla="*/ 12 w 132"/>
              <a:gd name="T109" fmla="*/ 60 h 96"/>
              <a:gd name="T110" fmla="*/ 12 w 132"/>
              <a:gd name="T111" fmla="*/ 54 h 96"/>
              <a:gd name="T112" fmla="*/ 6 w 132"/>
              <a:gd name="T113" fmla="*/ 48 h 96"/>
              <a:gd name="T114" fmla="*/ 6 w 132"/>
              <a:gd name="T115" fmla="*/ 42 h 96"/>
              <a:gd name="T116" fmla="*/ 6 w 132"/>
              <a:gd name="T117" fmla="*/ 3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32" h="96">
                <a:moveTo>
                  <a:pt x="0" y="36"/>
                </a:move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12" y="30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18"/>
                </a:lnTo>
                <a:lnTo>
                  <a:pt x="12" y="24"/>
                </a:lnTo>
                <a:lnTo>
                  <a:pt x="12" y="24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60" y="6"/>
                </a:lnTo>
                <a:lnTo>
                  <a:pt x="60" y="6"/>
                </a:lnTo>
                <a:lnTo>
                  <a:pt x="54" y="6"/>
                </a:lnTo>
                <a:lnTo>
                  <a:pt x="60" y="12"/>
                </a:lnTo>
                <a:lnTo>
                  <a:pt x="60" y="12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6" y="18"/>
                </a:lnTo>
                <a:lnTo>
                  <a:pt x="96" y="12"/>
                </a:lnTo>
                <a:lnTo>
                  <a:pt x="96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8" y="12"/>
                </a:lnTo>
                <a:lnTo>
                  <a:pt x="108" y="12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24"/>
                </a:lnTo>
                <a:lnTo>
                  <a:pt x="108" y="18"/>
                </a:lnTo>
                <a:lnTo>
                  <a:pt x="108" y="18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6" y="36"/>
                </a:lnTo>
                <a:lnTo>
                  <a:pt x="120" y="36"/>
                </a:lnTo>
                <a:lnTo>
                  <a:pt x="120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32" y="42"/>
                </a:lnTo>
                <a:lnTo>
                  <a:pt x="132" y="42"/>
                </a:lnTo>
                <a:lnTo>
                  <a:pt x="126" y="36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0" y="42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54"/>
                </a:lnTo>
                <a:lnTo>
                  <a:pt x="126" y="48"/>
                </a:lnTo>
                <a:lnTo>
                  <a:pt x="126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6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60"/>
                </a:lnTo>
                <a:lnTo>
                  <a:pt x="120" y="60"/>
                </a:lnTo>
                <a:lnTo>
                  <a:pt x="126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6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14" y="66"/>
                </a:lnTo>
                <a:lnTo>
                  <a:pt x="114" y="66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20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84"/>
                </a:lnTo>
                <a:lnTo>
                  <a:pt x="114" y="84"/>
                </a:lnTo>
                <a:lnTo>
                  <a:pt x="120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96" y="84"/>
                </a:lnTo>
                <a:lnTo>
                  <a:pt x="96" y="84"/>
                </a:lnTo>
                <a:lnTo>
                  <a:pt x="102" y="84"/>
                </a:lnTo>
                <a:lnTo>
                  <a:pt x="102" y="90"/>
                </a:lnTo>
                <a:lnTo>
                  <a:pt x="102" y="90"/>
                </a:lnTo>
                <a:lnTo>
                  <a:pt x="96" y="84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84" y="90"/>
                </a:lnTo>
                <a:lnTo>
                  <a:pt x="84" y="96"/>
                </a:lnTo>
                <a:lnTo>
                  <a:pt x="84" y="96"/>
                </a:lnTo>
                <a:lnTo>
                  <a:pt x="84" y="90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0"/>
                </a:lnTo>
                <a:lnTo>
                  <a:pt x="42" y="96"/>
                </a:lnTo>
                <a:lnTo>
                  <a:pt x="42" y="90"/>
                </a:lnTo>
                <a:lnTo>
                  <a:pt x="42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6"/>
                </a:lnTo>
                <a:lnTo>
                  <a:pt x="36" y="96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6"/>
                </a:lnTo>
                <a:lnTo>
                  <a:pt x="36" y="96"/>
                </a:lnTo>
                <a:lnTo>
                  <a:pt x="30" y="96"/>
                </a:lnTo>
                <a:lnTo>
                  <a:pt x="30" y="90"/>
                </a:lnTo>
                <a:lnTo>
                  <a:pt x="30" y="96"/>
                </a:lnTo>
                <a:lnTo>
                  <a:pt x="30" y="90"/>
                </a:lnTo>
                <a:lnTo>
                  <a:pt x="30" y="96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78"/>
                </a:lnTo>
                <a:lnTo>
                  <a:pt x="24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2"/>
                </a:lnTo>
                <a:lnTo>
                  <a:pt x="18" y="72"/>
                </a:lnTo>
                <a:lnTo>
                  <a:pt x="12" y="72"/>
                </a:lnTo>
                <a:lnTo>
                  <a:pt x="12" y="72"/>
                </a:lnTo>
                <a:lnTo>
                  <a:pt x="18" y="72"/>
                </a:lnTo>
                <a:lnTo>
                  <a:pt x="12" y="72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6" y="60"/>
                </a:lnTo>
                <a:lnTo>
                  <a:pt x="6" y="60"/>
                </a:lnTo>
                <a:lnTo>
                  <a:pt x="12" y="60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6" y="48"/>
                </a:lnTo>
                <a:lnTo>
                  <a:pt x="6" y="48"/>
                </a:lnTo>
                <a:lnTo>
                  <a:pt x="12" y="48"/>
                </a:lnTo>
                <a:lnTo>
                  <a:pt x="12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12" y="42"/>
                </a:lnTo>
                <a:lnTo>
                  <a:pt x="12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0" y="36"/>
                </a:lnTo>
                <a:lnTo>
                  <a:pt x="0" y="3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40" name="Freeform 473"/>
          <p:cNvSpPr>
            <a:spLocks/>
          </p:cNvSpPr>
          <p:nvPr/>
        </p:nvSpPr>
        <p:spPr bwMode="auto">
          <a:xfrm>
            <a:off x="6357202" y="5150011"/>
            <a:ext cx="128481" cy="115634"/>
          </a:xfrm>
          <a:custGeom>
            <a:avLst/>
            <a:gdLst>
              <a:gd name="T0" fmla="*/ 0 w 120"/>
              <a:gd name="T1" fmla="*/ 36 h 108"/>
              <a:gd name="T2" fmla="*/ 0 w 120"/>
              <a:gd name="T3" fmla="*/ 30 h 108"/>
              <a:gd name="T4" fmla="*/ 6 w 120"/>
              <a:gd name="T5" fmla="*/ 30 h 108"/>
              <a:gd name="T6" fmla="*/ 12 w 120"/>
              <a:gd name="T7" fmla="*/ 24 h 108"/>
              <a:gd name="T8" fmla="*/ 12 w 120"/>
              <a:gd name="T9" fmla="*/ 18 h 108"/>
              <a:gd name="T10" fmla="*/ 12 w 120"/>
              <a:gd name="T11" fmla="*/ 18 h 108"/>
              <a:gd name="T12" fmla="*/ 18 w 120"/>
              <a:gd name="T13" fmla="*/ 18 h 108"/>
              <a:gd name="T14" fmla="*/ 24 w 120"/>
              <a:gd name="T15" fmla="*/ 18 h 108"/>
              <a:gd name="T16" fmla="*/ 30 w 120"/>
              <a:gd name="T17" fmla="*/ 18 h 108"/>
              <a:gd name="T18" fmla="*/ 30 w 120"/>
              <a:gd name="T19" fmla="*/ 18 h 108"/>
              <a:gd name="T20" fmla="*/ 30 w 120"/>
              <a:gd name="T21" fmla="*/ 12 h 108"/>
              <a:gd name="T22" fmla="*/ 36 w 120"/>
              <a:gd name="T23" fmla="*/ 12 h 108"/>
              <a:gd name="T24" fmla="*/ 42 w 120"/>
              <a:gd name="T25" fmla="*/ 12 h 108"/>
              <a:gd name="T26" fmla="*/ 54 w 120"/>
              <a:gd name="T27" fmla="*/ 6 h 108"/>
              <a:gd name="T28" fmla="*/ 60 w 120"/>
              <a:gd name="T29" fmla="*/ 6 h 108"/>
              <a:gd name="T30" fmla="*/ 66 w 120"/>
              <a:gd name="T31" fmla="*/ 6 h 108"/>
              <a:gd name="T32" fmla="*/ 66 w 120"/>
              <a:gd name="T33" fmla="*/ 0 h 108"/>
              <a:gd name="T34" fmla="*/ 78 w 120"/>
              <a:gd name="T35" fmla="*/ 6 h 108"/>
              <a:gd name="T36" fmla="*/ 84 w 120"/>
              <a:gd name="T37" fmla="*/ 0 h 108"/>
              <a:gd name="T38" fmla="*/ 90 w 120"/>
              <a:gd name="T39" fmla="*/ 0 h 108"/>
              <a:gd name="T40" fmla="*/ 96 w 120"/>
              <a:gd name="T41" fmla="*/ 6 h 108"/>
              <a:gd name="T42" fmla="*/ 108 w 120"/>
              <a:gd name="T43" fmla="*/ 12 h 108"/>
              <a:gd name="T44" fmla="*/ 102 w 120"/>
              <a:gd name="T45" fmla="*/ 18 h 108"/>
              <a:gd name="T46" fmla="*/ 102 w 120"/>
              <a:gd name="T47" fmla="*/ 24 h 108"/>
              <a:gd name="T48" fmla="*/ 102 w 120"/>
              <a:gd name="T49" fmla="*/ 36 h 108"/>
              <a:gd name="T50" fmla="*/ 108 w 120"/>
              <a:gd name="T51" fmla="*/ 36 h 108"/>
              <a:gd name="T52" fmla="*/ 108 w 120"/>
              <a:gd name="T53" fmla="*/ 36 h 108"/>
              <a:gd name="T54" fmla="*/ 108 w 120"/>
              <a:gd name="T55" fmla="*/ 36 h 108"/>
              <a:gd name="T56" fmla="*/ 108 w 120"/>
              <a:gd name="T57" fmla="*/ 42 h 108"/>
              <a:gd name="T58" fmla="*/ 114 w 120"/>
              <a:gd name="T59" fmla="*/ 60 h 108"/>
              <a:gd name="T60" fmla="*/ 114 w 120"/>
              <a:gd name="T61" fmla="*/ 72 h 108"/>
              <a:gd name="T62" fmla="*/ 114 w 120"/>
              <a:gd name="T63" fmla="*/ 84 h 108"/>
              <a:gd name="T64" fmla="*/ 108 w 120"/>
              <a:gd name="T65" fmla="*/ 84 h 108"/>
              <a:gd name="T66" fmla="*/ 108 w 120"/>
              <a:gd name="T67" fmla="*/ 90 h 108"/>
              <a:gd name="T68" fmla="*/ 102 w 120"/>
              <a:gd name="T69" fmla="*/ 96 h 108"/>
              <a:gd name="T70" fmla="*/ 108 w 120"/>
              <a:gd name="T71" fmla="*/ 102 h 108"/>
              <a:gd name="T72" fmla="*/ 102 w 120"/>
              <a:gd name="T73" fmla="*/ 108 h 108"/>
              <a:gd name="T74" fmla="*/ 84 w 120"/>
              <a:gd name="T75" fmla="*/ 102 h 108"/>
              <a:gd name="T76" fmla="*/ 84 w 120"/>
              <a:gd name="T77" fmla="*/ 96 h 108"/>
              <a:gd name="T78" fmla="*/ 72 w 120"/>
              <a:gd name="T79" fmla="*/ 84 h 108"/>
              <a:gd name="T80" fmla="*/ 72 w 120"/>
              <a:gd name="T81" fmla="*/ 78 h 108"/>
              <a:gd name="T82" fmla="*/ 72 w 120"/>
              <a:gd name="T83" fmla="*/ 78 h 108"/>
              <a:gd name="T84" fmla="*/ 66 w 120"/>
              <a:gd name="T85" fmla="*/ 72 h 108"/>
              <a:gd name="T86" fmla="*/ 60 w 120"/>
              <a:gd name="T87" fmla="*/ 72 h 108"/>
              <a:gd name="T88" fmla="*/ 60 w 120"/>
              <a:gd name="T89" fmla="*/ 66 h 108"/>
              <a:gd name="T90" fmla="*/ 54 w 120"/>
              <a:gd name="T91" fmla="*/ 66 h 108"/>
              <a:gd name="T92" fmla="*/ 54 w 120"/>
              <a:gd name="T93" fmla="*/ 60 h 108"/>
              <a:gd name="T94" fmla="*/ 42 w 120"/>
              <a:gd name="T95" fmla="*/ 54 h 108"/>
              <a:gd name="T96" fmla="*/ 42 w 120"/>
              <a:gd name="T97" fmla="*/ 54 h 108"/>
              <a:gd name="T98" fmla="*/ 36 w 120"/>
              <a:gd name="T99" fmla="*/ 54 h 108"/>
              <a:gd name="T100" fmla="*/ 30 w 120"/>
              <a:gd name="T101" fmla="*/ 48 h 108"/>
              <a:gd name="T102" fmla="*/ 30 w 120"/>
              <a:gd name="T103" fmla="*/ 48 h 108"/>
              <a:gd name="T104" fmla="*/ 24 w 120"/>
              <a:gd name="T105" fmla="*/ 42 h 108"/>
              <a:gd name="T106" fmla="*/ 18 w 120"/>
              <a:gd name="T107" fmla="*/ 42 h 108"/>
              <a:gd name="T108" fmla="*/ 12 w 120"/>
              <a:gd name="T109" fmla="*/ 42 h 108"/>
              <a:gd name="T110" fmla="*/ 12 w 120"/>
              <a:gd name="T111" fmla="*/ 42 h 108"/>
              <a:gd name="T112" fmla="*/ 0 w 120"/>
              <a:gd name="T113" fmla="*/ 36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20" h="108">
                <a:moveTo>
                  <a:pt x="0" y="36"/>
                </a:move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12" y="24"/>
                </a:lnTo>
                <a:lnTo>
                  <a:pt x="12" y="30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24" y="18"/>
                </a:lnTo>
                <a:lnTo>
                  <a:pt x="24" y="18"/>
                </a:lnTo>
                <a:lnTo>
                  <a:pt x="24" y="12"/>
                </a:lnTo>
                <a:lnTo>
                  <a:pt x="24" y="18"/>
                </a:lnTo>
                <a:lnTo>
                  <a:pt x="24" y="18"/>
                </a:lnTo>
                <a:lnTo>
                  <a:pt x="24" y="12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2"/>
                </a:lnTo>
                <a:lnTo>
                  <a:pt x="30" y="12"/>
                </a:lnTo>
                <a:lnTo>
                  <a:pt x="30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42" y="12"/>
                </a:lnTo>
                <a:lnTo>
                  <a:pt x="42" y="6"/>
                </a:lnTo>
                <a:lnTo>
                  <a:pt x="48" y="6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60" y="12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72" y="0"/>
                </a:lnTo>
                <a:lnTo>
                  <a:pt x="78" y="0"/>
                </a:lnTo>
                <a:lnTo>
                  <a:pt x="72" y="0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84" y="6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102" y="6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8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8"/>
                </a:lnTo>
                <a:lnTo>
                  <a:pt x="102" y="18"/>
                </a:lnTo>
                <a:lnTo>
                  <a:pt x="108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30"/>
                </a:lnTo>
                <a:lnTo>
                  <a:pt x="96" y="30"/>
                </a:lnTo>
                <a:lnTo>
                  <a:pt x="96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8"/>
                </a:lnTo>
                <a:lnTo>
                  <a:pt x="108" y="48"/>
                </a:lnTo>
                <a:lnTo>
                  <a:pt x="108" y="54"/>
                </a:lnTo>
                <a:lnTo>
                  <a:pt x="108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20" y="78"/>
                </a:lnTo>
                <a:lnTo>
                  <a:pt x="120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8" y="102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96" y="108"/>
                </a:lnTo>
                <a:lnTo>
                  <a:pt x="96" y="108"/>
                </a:lnTo>
                <a:lnTo>
                  <a:pt x="90" y="102"/>
                </a:lnTo>
                <a:lnTo>
                  <a:pt x="90" y="102"/>
                </a:lnTo>
                <a:lnTo>
                  <a:pt x="84" y="102"/>
                </a:lnTo>
                <a:lnTo>
                  <a:pt x="84" y="102"/>
                </a:lnTo>
                <a:lnTo>
                  <a:pt x="84" y="102"/>
                </a:lnTo>
                <a:lnTo>
                  <a:pt x="84" y="102"/>
                </a:lnTo>
                <a:lnTo>
                  <a:pt x="84" y="102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78" y="96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54" y="66"/>
                </a:lnTo>
                <a:lnTo>
                  <a:pt x="54" y="66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48"/>
                </a:lnTo>
                <a:lnTo>
                  <a:pt x="36" y="54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24" y="48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6" y="42"/>
                </a:lnTo>
                <a:lnTo>
                  <a:pt x="6" y="42"/>
                </a:lnTo>
                <a:lnTo>
                  <a:pt x="0" y="42"/>
                </a:lnTo>
                <a:lnTo>
                  <a:pt x="0" y="36"/>
                </a:lnTo>
                <a:lnTo>
                  <a:pt x="0" y="3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41" name="Freeform 474"/>
          <p:cNvSpPr>
            <a:spLocks/>
          </p:cNvSpPr>
          <p:nvPr/>
        </p:nvSpPr>
        <p:spPr bwMode="auto">
          <a:xfrm>
            <a:off x="6537076" y="5175708"/>
            <a:ext cx="211994" cy="321205"/>
          </a:xfrm>
          <a:custGeom>
            <a:avLst/>
            <a:gdLst>
              <a:gd name="T0" fmla="*/ 12 w 198"/>
              <a:gd name="T1" fmla="*/ 246 h 300"/>
              <a:gd name="T2" fmla="*/ 24 w 198"/>
              <a:gd name="T3" fmla="*/ 246 h 300"/>
              <a:gd name="T4" fmla="*/ 36 w 198"/>
              <a:gd name="T5" fmla="*/ 228 h 300"/>
              <a:gd name="T6" fmla="*/ 54 w 198"/>
              <a:gd name="T7" fmla="*/ 210 h 300"/>
              <a:gd name="T8" fmla="*/ 72 w 198"/>
              <a:gd name="T9" fmla="*/ 156 h 300"/>
              <a:gd name="T10" fmla="*/ 72 w 198"/>
              <a:gd name="T11" fmla="*/ 150 h 300"/>
              <a:gd name="T12" fmla="*/ 84 w 198"/>
              <a:gd name="T13" fmla="*/ 156 h 300"/>
              <a:gd name="T14" fmla="*/ 84 w 198"/>
              <a:gd name="T15" fmla="*/ 150 h 300"/>
              <a:gd name="T16" fmla="*/ 78 w 198"/>
              <a:gd name="T17" fmla="*/ 156 h 300"/>
              <a:gd name="T18" fmla="*/ 90 w 198"/>
              <a:gd name="T19" fmla="*/ 162 h 300"/>
              <a:gd name="T20" fmla="*/ 90 w 198"/>
              <a:gd name="T21" fmla="*/ 144 h 300"/>
              <a:gd name="T22" fmla="*/ 90 w 198"/>
              <a:gd name="T23" fmla="*/ 132 h 300"/>
              <a:gd name="T24" fmla="*/ 78 w 198"/>
              <a:gd name="T25" fmla="*/ 108 h 300"/>
              <a:gd name="T26" fmla="*/ 72 w 198"/>
              <a:gd name="T27" fmla="*/ 102 h 300"/>
              <a:gd name="T28" fmla="*/ 72 w 198"/>
              <a:gd name="T29" fmla="*/ 96 h 300"/>
              <a:gd name="T30" fmla="*/ 72 w 198"/>
              <a:gd name="T31" fmla="*/ 84 h 300"/>
              <a:gd name="T32" fmla="*/ 66 w 198"/>
              <a:gd name="T33" fmla="*/ 78 h 300"/>
              <a:gd name="T34" fmla="*/ 72 w 198"/>
              <a:gd name="T35" fmla="*/ 72 h 300"/>
              <a:gd name="T36" fmla="*/ 72 w 198"/>
              <a:gd name="T37" fmla="*/ 60 h 300"/>
              <a:gd name="T38" fmla="*/ 84 w 198"/>
              <a:gd name="T39" fmla="*/ 66 h 300"/>
              <a:gd name="T40" fmla="*/ 96 w 198"/>
              <a:gd name="T41" fmla="*/ 66 h 300"/>
              <a:gd name="T42" fmla="*/ 102 w 198"/>
              <a:gd name="T43" fmla="*/ 60 h 300"/>
              <a:gd name="T44" fmla="*/ 120 w 198"/>
              <a:gd name="T45" fmla="*/ 66 h 300"/>
              <a:gd name="T46" fmla="*/ 120 w 198"/>
              <a:gd name="T47" fmla="*/ 60 h 300"/>
              <a:gd name="T48" fmla="*/ 120 w 198"/>
              <a:gd name="T49" fmla="*/ 54 h 300"/>
              <a:gd name="T50" fmla="*/ 120 w 198"/>
              <a:gd name="T51" fmla="*/ 48 h 300"/>
              <a:gd name="T52" fmla="*/ 120 w 198"/>
              <a:gd name="T53" fmla="*/ 36 h 300"/>
              <a:gd name="T54" fmla="*/ 120 w 198"/>
              <a:gd name="T55" fmla="*/ 30 h 300"/>
              <a:gd name="T56" fmla="*/ 126 w 198"/>
              <a:gd name="T57" fmla="*/ 30 h 300"/>
              <a:gd name="T58" fmla="*/ 126 w 198"/>
              <a:gd name="T59" fmla="*/ 30 h 300"/>
              <a:gd name="T60" fmla="*/ 126 w 198"/>
              <a:gd name="T61" fmla="*/ 36 h 300"/>
              <a:gd name="T62" fmla="*/ 126 w 198"/>
              <a:gd name="T63" fmla="*/ 36 h 300"/>
              <a:gd name="T64" fmla="*/ 138 w 198"/>
              <a:gd name="T65" fmla="*/ 36 h 300"/>
              <a:gd name="T66" fmla="*/ 138 w 198"/>
              <a:gd name="T67" fmla="*/ 42 h 300"/>
              <a:gd name="T68" fmla="*/ 138 w 198"/>
              <a:gd name="T69" fmla="*/ 36 h 300"/>
              <a:gd name="T70" fmla="*/ 138 w 198"/>
              <a:gd name="T71" fmla="*/ 36 h 300"/>
              <a:gd name="T72" fmla="*/ 138 w 198"/>
              <a:gd name="T73" fmla="*/ 30 h 300"/>
              <a:gd name="T74" fmla="*/ 132 w 198"/>
              <a:gd name="T75" fmla="*/ 30 h 300"/>
              <a:gd name="T76" fmla="*/ 132 w 198"/>
              <a:gd name="T77" fmla="*/ 24 h 300"/>
              <a:gd name="T78" fmla="*/ 132 w 198"/>
              <a:gd name="T79" fmla="*/ 24 h 300"/>
              <a:gd name="T80" fmla="*/ 132 w 198"/>
              <a:gd name="T81" fmla="*/ 24 h 300"/>
              <a:gd name="T82" fmla="*/ 132 w 198"/>
              <a:gd name="T83" fmla="*/ 18 h 300"/>
              <a:gd name="T84" fmla="*/ 138 w 198"/>
              <a:gd name="T85" fmla="*/ 12 h 300"/>
              <a:gd name="T86" fmla="*/ 138 w 198"/>
              <a:gd name="T87" fmla="*/ 18 h 300"/>
              <a:gd name="T88" fmla="*/ 144 w 198"/>
              <a:gd name="T89" fmla="*/ 18 h 300"/>
              <a:gd name="T90" fmla="*/ 150 w 198"/>
              <a:gd name="T91" fmla="*/ 18 h 300"/>
              <a:gd name="T92" fmla="*/ 156 w 198"/>
              <a:gd name="T93" fmla="*/ 18 h 300"/>
              <a:gd name="T94" fmla="*/ 150 w 198"/>
              <a:gd name="T95" fmla="*/ 6 h 300"/>
              <a:gd name="T96" fmla="*/ 162 w 198"/>
              <a:gd name="T97" fmla="*/ 0 h 300"/>
              <a:gd name="T98" fmla="*/ 174 w 198"/>
              <a:gd name="T99" fmla="*/ 0 h 300"/>
              <a:gd name="T100" fmla="*/ 180 w 198"/>
              <a:gd name="T101" fmla="*/ 6 h 300"/>
              <a:gd name="T102" fmla="*/ 186 w 198"/>
              <a:gd name="T103" fmla="*/ 12 h 300"/>
              <a:gd name="T104" fmla="*/ 198 w 198"/>
              <a:gd name="T105" fmla="*/ 12 h 300"/>
              <a:gd name="T106" fmla="*/ 198 w 198"/>
              <a:gd name="T107" fmla="*/ 12 h 300"/>
              <a:gd name="T108" fmla="*/ 198 w 198"/>
              <a:gd name="T109" fmla="*/ 24 h 300"/>
              <a:gd name="T110" fmla="*/ 156 w 198"/>
              <a:gd name="T111" fmla="*/ 78 h 300"/>
              <a:gd name="T112" fmla="*/ 132 w 198"/>
              <a:gd name="T113" fmla="*/ 138 h 300"/>
              <a:gd name="T114" fmla="*/ 102 w 198"/>
              <a:gd name="T115" fmla="*/ 192 h 300"/>
              <a:gd name="T116" fmla="*/ 42 w 198"/>
              <a:gd name="T117" fmla="*/ 270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98" h="300">
                <a:moveTo>
                  <a:pt x="0" y="294"/>
                </a:moveTo>
                <a:lnTo>
                  <a:pt x="6" y="288"/>
                </a:lnTo>
                <a:lnTo>
                  <a:pt x="12" y="282"/>
                </a:lnTo>
                <a:lnTo>
                  <a:pt x="12" y="276"/>
                </a:lnTo>
                <a:lnTo>
                  <a:pt x="12" y="270"/>
                </a:lnTo>
                <a:lnTo>
                  <a:pt x="12" y="264"/>
                </a:lnTo>
                <a:lnTo>
                  <a:pt x="12" y="258"/>
                </a:lnTo>
                <a:lnTo>
                  <a:pt x="12" y="252"/>
                </a:lnTo>
                <a:lnTo>
                  <a:pt x="12" y="246"/>
                </a:lnTo>
                <a:lnTo>
                  <a:pt x="12" y="240"/>
                </a:lnTo>
                <a:lnTo>
                  <a:pt x="12" y="240"/>
                </a:lnTo>
                <a:lnTo>
                  <a:pt x="12" y="240"/>
                </a:lnTo>
                <a:lnTo>
                  <a:pt x="12" y="246"/>
                </a:lnTo>
                <a:lnTo>
                  <a:pt x="12" y="246"/>
                </a:lnTo>
                <a:lnTo>
                  <a:pt x="18" y="246"/>
                </a:lnTo>
                <a:lnTo>
                  <a:pt x="18" y="246"/>
                </a:lnTo>
                <a:lnTo>
                  <a:pt x="24" y="246"/>
                </a:lnTo>
                <a:lnTo>
                  <a:pt x="24" y="246"/>
                </a:lnTo>
                <a:lnTo>
                  <a:pt x="24" y="240"/>
                </a:lnTo>
                <a:lnTo>
                  <a:pt x="30" y="240"/>
                </a:lnTo>
                <a:lnTo>
                  <a:pt x="36" y="240"/>
                </a:lnTo>
                <a:lnTo>
                  <a:pt x="36" y="240"/>
                </a:lnTo>
                <a:lnTo>
                  <a:pt x="36" y="234"/>
                </a:lnTo>
                <a:lnTo>
                  <a:pt x="36" y="234"/>
                </a:lnTo>
                <a:lnTo>
                  <a:pt x="36" y="234"/>
                </a:lnTo>
                <a:lnTo>
                  <a:pt x="42" y="228"/>
                </a:lnTo>
                <a:lnTo>
                  <a:pt x="36" y="228"/>
                </a:lnTo>
                <a:lnTo>
                  <a:pt x="36" y="222"/>
                </a:lnTo>
                <a:lnTo>
                  <a:pt x="36" y="222"/>
                </a:lnTo>
                <a:lnTo>
                  <a:pt x="42" y="222"/>
                </a:lnTo>
                <a:lnTo>
                  <a:pt x="42" y="222"/>
                </a:lnTo>
                <a:lnTo>
                  <a:pt x="48" y="216"/>
                </a:lnTo>
                <a:lnTo>
                  <a:pt x="48" y="216"/>
                </a:lnTo>
                <a:lnTo>
                  <a:pt x="54" y="216"/>
                </a:lnTo>
                <a:lnTo>
                  <a:pt x="54" y="216"/>
                </a:lnTo>
                <a:lnTo>
                  <a:pt x="54" y="210"/>
                </a:lnTo>
                <a:lnTo>
                  <a:pt x="66" y="210"/>
                </a:lnTo>
                <a:lnTo>
                  <a:pt x="66" y="210"/>
                </a:lnTo>
                <a:lnTo>
                  <a:pt x="66" y="204"/>
                </a:lnTo>
                <a:lnTo>
                  <a:pt x="72" y="198"/>
                </a:lnTo>
                <a:lnTo>
                  <a:pt x="72" y="192"/>
                </a:lnTo>
                <a:lnTo>
                  <a:pt x="72" y="186"/>
                </a:lnTo>
                <a:lnTo>
                  <a:pt x="72" y="180"/>
                </a:lnTo>
                <a:lnTo>
                  <a:pt x="72" y="168"/>
                </a:lnTo>
                <a:lnTo>
                  <a:pt x="72" y="156"/>
                </a:lnTo>
                <a:lnTo>
                  <a:pt x="66" y="150"/>
                </a:lnTo>
                <a:lnTo>
                  <a:pt x="66" y="150"/>
                </a:lnTo>
                <a:lnTo>
                  <a:pt x="72" y="150"/>
                </a:lnTo>
                <a:lnTo>
                  <a:pt x="72" y="150"/>
                </a:lnTo>
                <a:lnTo>
                  <a:pt x="72" y="150"/>
                </a:lnTo>
                <a:lnTo>
                  <a:pt x="72" y="150"/>
                </a:lnTo>
                <a:lnTo>
                  <a:pt x="72" y="150"/>
                </a:lnTo>
                <a:lnTo>
                  <a:pt x="72" y="150"/>
                </a:lnTo>
                <a:lnTo>
                  <a:pt x="72" y="150"/>
                </a:lnTo>
                <a:lnTo>
                  <a:pt x="72" y="150"/>
                </a:lnTo>
                <a:lnTo>
                  <a:pt x="78" y="156"/>
                </a:lnTo>
                <a:lnTo>
                  <a:pt x="78" y="156"/>
                </a:lnTo>
                <a:lnTo>
                  <a:pt x="78" y="156"/>
                </a:lnTo>
                <a:lnTo>
                  <a:pt x="78" y="156"/>
                </a:lnTo>
                <a:lnTo>
                  <a:pt x="78" y="150"/>
                </a:lnTo>
                <a:lnTo>
                  <a:pt x="78" y="150"/>
                </a:lnTo>
                <a:lnTo>
                  <a:pt x="78" y="156"/>
                </a:lnTo>
                <a:lnTo>
                  <a:pt x="84" y="156"/>
                </a:lnTo>
                <a:lnTo>
                  <a:pt x="78" y="150"/>
                </a:lnTo>
                <a:lnTo>
                  <a:pt x="84" y="150"/>
                </a:lnTo>
                <a:lnTo>
                  <a:pt x="78" y="150"/>
                </a:lnTo>
                <a:lnTo>
                  <a:pt x="78" y="150"/>
                </a:lnTo>
                <a:lnTo>
                  <a:pt x="84" y="150"/>
                </a:lnTo>
                <a:lnTo>
                  <a:pt x="78" y="144"/>
                </a:lnTo>
                <a:lnTo>
                  <a:pt x="84" y="144"/>
                </a:lnTo>
                <a:lnTo>
                  <a:pt x="84" y="150"/>
                </a:lnTo>
                <a:lnTo>
                  <a:pt x="84" y="150"/>
                </a:lnTo>
                <a:lnTo>
                  <a:pt x="84" y="156"/>
                </a:lnTo>
                <a:lnTo>
                  <a:pt x="84" y="156"/>
                </a:lnTo>
                <a:lnTo>
                  <a:pt x="84" y="156"/>
                </a:lnTo>
                <a:lnTo>
                  <a:pt x="84" y="156"/>
                </a:lnTo>
                <a:lnTo>
                  <a:pt x="84" y="156"/>
                </a:lnTo>
                <a:lnTo>
                  <a:pt x="84" y="156"/>
                </a:lnTo>
                <a:lnTo>
                  <a:pt x="78" y="156"/>
                </a:lnTo>
                <a:lnTo>
                  <a:pt x="78" y="156"/>
                </a:lnTo>
                <a:lnTo>
                  <a:pt x="78" y="156"/>
                </a:lnTo>
                <a:lnTo>
                  <a:pt x="78" y="162"/>
                </a:lnTo>
                <a:lnTo>
                  <a:pt x="78" y="162"/>
                </a:lnTo>
                <a:lnTo>
                  <a:pt x="84" y="168"/>
                </a:lnTo>
                <a:lnTo>
                  <a:pt x="84" y="168"/>
                </a:lnTo>
                <a:lnTo>
                  <a:pt x="90" y="168"/>
                </a:lnTo>
                <a:lnTo>
                  <a:pt x="90" y="168"/>
                </a:lnTo>
                <a:lnTo>
                  <a:pt x="90" y="162"/>
                </a:lnTo>
                <a:lnTo>
                  <a:pt x="90" y="162"/>
                </a:lnTo>
                <a:lnTo>
                  <a:pt x="90" y="162"/>
                </a:lnTo>
                <a:lnTo>
                  <a:pt x="90" y="156"/>
                </a:lnTo>
                <a:lnTo>
                  <a:pt x="90" y="156"/>
                </a:lnTo>
                <a:lnTo>
                  <a:pt x="90" y="150"/>
                </a:lnTo>
                <a:lnTo>
                  <a:pt x="90" y="150"/>
                </a:lnTo>
                <a:lnTo>
                  <a:pt x="90" y="150"/>
                </a:lnTo>
                <a:lnTo>
                  <a:pt x="90" y="150"/>
                </a:lnTo>
                <a:lnTo>
                  <a:pt x="90" y="144"/>
                </a:lnTo>
                <a:lnTo>
                  <a:pt x="90" y="144"/>
                </a:lnTo>
                <a:lnTo>
                  <a:pt x="90" y="144"/>
                </a:lnTo>
                <a:lnTo>
                  <a:pt x="90" y="144"/>
                </a:lnTo>
                <a:lnTo>
                  <a:pt x="90" y="138"/>
                </a:lnTo>
                <a:lnTo>
                  <a:pt x="96" y="138"/>
                </a:lnTo>
                <a:lnTo>
                  <a:pt x="90" y="138"/>
                </a:lnTo>
                <a:lnTo>
                  <a:pt x="90" y="138"/>
                </a:lnTo>
                <a:lnTo>
                  <a:pt x="90" y="132"/>
                </a:lnTo>
                <a:lnTo>
                  <a:pt x="90" y="138"/>
                </a:lnTo>
                <a:lnTo>
                  <a:pt x="90" y="132"/>
                </a:lnTo>
                <a:lnTo>
                  <a:pt x="90" y="132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0"/>
                </a:lnTo>
                <a:lnTo>
                  <a:pt x="84" y="120"/>
                </a:lnTo>
                <a:lnTo>
                  <a:pt x="84" y="114"/>
                </a:lnTo>
                <a:lnTo>
                  <a:pt x="78" y="114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66" y="102"/>
                </a:lnTo>
                <a:lnTo>
                  <a:pt x="72" y="102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2"/>
                </a:lnTo>
                <a:lnTo>
                  <a:pt x="66" y="72"/>
                </a:lnTo>
                <a:lnTo>
                  <a:pt x="72" y="78"/>
                </a:lnTo>
                <a:lnTo>
                  <a:pt x="72" y="72"/>
                </a:lnTo>
                <a:lnTo>
                  <a:pt x="72" y="78"/>
                </a:lnTo>
                <a:lnTo>
                  <a:pt x="72" y="78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0"/>
                </a:lnTo>
                <a:lnTo>
                  <a:pt x="96" y="60"/>
                </a:lnTo>
                <a:lnTo>
                  <a:pt x="102" y="66"/>
                </a:lnTo>
                <a:lnTo>
                  <a:pt x="102" y="66"/>
                </a:lnTo>
                <a:lnTo>
                  <a:pt x="102" y="60"/>
                </a:lnTo>
                <a:lnTo>
                  <a:pt x="102" y="60"/>
                </a:lnTo>
                <a:lnTo>
                  <a:pt x="108" y="60"/>
                </a:lnTo>
                <a:lnTo>
                  <a:pt x="102" y="60"/>
                </a:lnTo>
                <a:lnTo>
                  <a:pt x="108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54"/>
                </a:lnTo>
                <a:lnTo>
                  <a:pt x="120" y="54"/>
                </a:lnTo>
                <a:lnTo>
                  <a:pt x="114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14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14" y="42"/>
                </a:lnTo>
                <a:lnTo>
                  <a:pt x="114" y="36"/>
                </a:lnTo>
                <a:lnTo>
                  <a:pt x="114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6"/>
                </a:lnTo>
                <a:lnTo>
                  <a:pt x="126" y="30"/>
                </a:lnTo>
                <a:lnTo>
                  <a:pt x="126" y="36"/>
                </a:lnTo>
                <a:lnTo>
                  <a:pt x="126" y="30"/>
                </a:lnTo>
                <a:lnTo>
                  <a:pt x="126" y="30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2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44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44" y="36"/>
                </a:lnTo>
                <a:lnTo>
                  <a:pt x="144" y="36"/>
                </a:lnTo>
                <a:lnTo>
                  <a:pt x="144" y="30"/>
                </a:lnTo>
                <a:lnTo>
                  <a:pt x="144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2" y="36"/>
                </a:lnTo>
                <a:lnTo>
                  <a:pt x="132" y="36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8" y="24"/>
                </a:lnTo>
                <a:lnTo>
                  <a:pt x="138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18"/>
                </a:lnTo>
                <a:lnTo>
                  <a:pt x="132" y="24"/>
                </a:lnTo>
                <a:lnTo>
                  <a:pt x="132" y="24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8" y="12"/>
                </a:lnTo>
                <a:lnTo>
                  <a:pt x="132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50" y="18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6" y="18"/>
                </a:lnTo>
                <a:lnTo>
                  <a:pt x="150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2"/>
                </a:lnTo>
                <a:lnTo>
                  <a:pt x="156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56" y="0"/>
                </a:lnTo>
                <a:lnTo>
                  <a:pt x="162" y="0"/>
                </a:lnTo>
                <a:lnTo>
                  <a:pt x="162" y="0"/>
                </a:lnTo>
                <a:lnTo>
                  <a:pt x="162" y="0"/>
                </a:lnTo>
                <a:lnTo>
                  <a:pt x="168" y="0"/>
                </a:lnTo>
                <a:lnTo>
                  <a:pt x="168" y="0"/>
                </a:lnTo>
                <a:lnTo>
                  <a:pt x="168" y="0"/>
                </a:lnTo>
                <a:lnTo>
                  <a:pt x="168" y="0"/>
                </a:lnTo>
                <a:lnTo>
                  <a:pt x="168" y="0"/>
                </a:lnTo>
                <a:lnTo>
                  <a:pt x="168" y="0"/>
                </a:lnTo>
                <a:lnTo>
                  <a:pt x="174" y="0"/>
                </a:lnTo>
                <a:lnTo>
                  <a:pt x="174" y="0"/>
                </a:lnTo>
                <a:lnTo>
                  <a:pt x="174" y="0"/>
                </a:lnTo>
                <a:lnTo>
                  <a:pt x="174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0" y="6"/>
                </a:lnTo>
                <a:lnTo>
                  <a:pt x="180" y="6"/>
                </a:lnTo>
                <a:lnTo>
                  <a:pt x="180" y="6"/>
                </a:lnTo>
                <a:lnTo>
                  <a:pt x="180" y="6"/>
                </a:lnTo>
                <a:lnTo>
                  <a:pt x="180" y="6"/>
                </a:lnTo>
                <a:lnTo>
                  <a:pt x="186" y="6"/>
                </a:lnTo>
                <a:lnTo>
                  <a:pt x="186" y="6"/>
                </a:lnTo>
                <a:lnTo>
                  <a:pt x="186" y="6"/>
                </a:lnTo>
                <a:lnTo>
                  <a:pt x="186" y="6"/>
                </a:lnTo>
                <a:lnTo>
                  <a:pt x="186" y="6"/>
                </a:lnTo>
                <a:lnTo>
                  <a:pt x="186" y="6"/>
                </a:lnTo>
                <a:lnTo>
                  <a:pt x="186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12"/>
                </a:lnTo>
                <a:lnTo>
                  <a:pt x="192" y="12"/>
                </a:lnTo>
                <a:lnTo>
                  <a:pt x="192" y="12"/>
                </a:lnTo>
                <a:lnTo>
                  <a:pt x="192" y="12"/>
                </a:lnTo>
                <a:lnTo>
                  <a:pt x="192" y="12"/>
                </a:lnTo>
                <a:lnTo>
                  <a:pt x="192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8"/>
                </a:lnTo>
                <a:lnTo>
                  <a:pt x="198" y="12"/>
                </a:lnTo>
                <a:lnTo>
                  <a:pt x="198" y="18"/>
                </a:lnTo>
                <a:lnTo>
                  <a:pt x="198" y="18"/>
                </a:lnTo>
                <a:lnTo>
                  <a:pt x="198" y="24"/>
                </a:lnTo>
                <a:lnTo>
                  <a:pt x="186" y="30"/>
                </a:lnTo>
                <a:lnTo>
                  <a:pt x="174" y="54"/>
                </a:lnTo>
                <a:lnTo>
                  <a:pt x="174" y="54"/>
                </a:lnTo>
                <a:lnTo>
                  <a:pt x="168" y="54"/>
                </a:lnTo>
                <a:lnTo>
                  <a:pt x="168" y="60"/>
                </a:lnTo>
                <a:lnTo>
                  <a:pt x="168" y="60"/>
                </a:lnTo>
                <a:lnTo>
                  <a:pt x="162" y="66"/>
                </a:lnTo>
                <a:lnTo>
                  <a:pt x="162" y="72"/>
                </a:lnTo>
                <a:lnTo>
                  <a:pt x="156" y="78"/>
                </a:lnTo>
                <a:lnTo>
                  <a:pt x="156" y="84"/>
                </a:lnTo>
                <a:lnTo>
                  <a:pt x="156" y="90"/>
                </a:lnTo>
                <a:lnTo>
                  <a:pt x="150" y="102"/>
                </a:lnTo>
                <a:lnTo>
                  <a:pt x="144" y="108"/>
                </a:lnTo>
                <a:lnTo>
                  <a:pt x="144" y="108"/>
                </a:lnTo>
                <a:lnTo>
                  <a:pt x="144" y="114"/>
                </a:lnTo>
                <a:lnTo>
                  <a:pt x="138" y="132"/>
                </a:lnTo>
                <a:lnTo>
                  <a:pt x="132" y="132"/>
                </a:lnTo>
                <a:lnTo>
                  <a:pt x="132" y="138"/>
                </a:lnTo>
                <a:lnTo>
                  <a:pt x="132" y="138"/>
                </a:lnTo>
                <a:lnTo>
                  <a:pt x="132" y="144"/>
                </a:lnTo>
                <a:lnTo>
                  <a:pt x="132" y="144"/>
                </a:lnTo>
                <a:lnTo>
                  <a:pt x="126" y="156"/>
                </a:lnTo>
                <a:lnTo>
                  <a:pt x="120" y="162"/>
                </a:lnTo>
                <a:lnTo>
                  <a:pt x="120" y="168"/>
                </a:lnTo>
                <a:lnTo>
                  <a:pt x="114" y="174"/>
                </a:lnTo>
                <a:lnTo>
                  <a:pt x="108" y="186"/>
                </a:lnTo>
                <a:lnTo>
                  <a:pt x="102" y="192"/>
                </a:lnTo>
                <a:lnTo>
                  <a:pt x="90" y="210"/>
                </a:lnTo>
                <a:lnTo>
                  <a:pt x="78" y="228"/>
                </a:lnTo>
                <a:lnTo>
                  <a:pt x="72" y="228"/>
                </a:lnTo>
                <a:lnTo>
                  <a:pt x="66" y="240"/>
                </a:lnTo>
                <a:lnTo>
                  <a:pt x="66" y="246"/>
                </a:lnTo>
                <a:lnTo>
                  <a:pt x="60" y="252"/>
                </a:lnTo>
                <a:lnTo>
                  <a:pt x="54" y="258"/>
                </a:lnTo>
                <a:lnTo>
                  <a:pt x="48" y="264"/>
                </a:lnTo>
                <a:lnTo>
                  <a:pt x="42" y="270"/>
                </a:lnTo>
                <a:lnTo>
                  <a:pt x="42" y="270"/>
                </a:lnTo>
                <a:lnTo>
                  <a:pt x="30" y="282"/>
                </a:lnTo>
                <a:lnTo>
                  <a:pt x="18" y="288"/>
                </a:lnTo>
                <a:lnTo>
                  <a:pt x="12" y="294"/>
                </a:lnTo>
                <a:lnTo>
                  <a:pt x="6" y="300"/>
                </a:lnTo>
                <a:lnTo>
                  <a:pt x="6" y="294"/>
                </a:lnTo>
                <a:lnTo>
                  <a:pt x="0" y="29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42" name="Freeform 475"/>
          <p:cNvSpPr>
            <a:spLocks/>
          </p:cNvSpPr>
          <p:nvPr/>
        </p:nvSpPr>
        <p:spPr bwMode="auto">
          <a:xfrm>
            <a:off x="6254417" y="5162859"/>
            <a:ext cx="186297" cy="109210"/>
          </a:xfrm>
          <a:custGeom>
            <a:avLst/>
            <a:gdLst>
              <a:gd name="T0" fmla="*/ 6 w 174"/>
              <a:gd name="T1" fmla="*/ 36 h 102"/>
              <a:gd name="T2" fmla="*/ 6 w 174"/>
              <a:gd name="T3" fmla="*/ 30 h 102"/>
              <a:gd name="T4" fmla="*/ 6 w 174"/>
              <a:gd name="T5" fmla="*/ 18 h 102"/>
              <a:gd name="T6" fmla="*/ 6 w 174"/>
              <a:gd name="T7" fmla="*/ 18 h 102"/>
              <a:gd name="T8" fmla="*/ 6 w 174"/>
              <a:gd name="T9" fmla="*/ 12 h 102"/>
              <a:gd name="T10" fmla="*/ 6 w 174"/>
              <a:gd name="T11" fmla="*/ 0 h 102"/>
              <a:gd name="T12" fmla="*/ 18 w 174"/>
              <a:gd name="T13" fmla="*/ 0 h 102"/>
              <a:gd name="T14" fmla="*/ 24 w 174"/>
              <a:gd name="T15" fmla="*/ 6 h 102"/>
              <a:gd name="T16" fmla="*/ 30 w 174"/>
              <a:gd name="T17" fmla="*/ 6 h 102"/>
              <a:gd name="T18" fmla="*/ 36 w 174"/>
              <a:gd name="T19" fmla="*/ 0 h 102"/>
              <a:gd name="T20" fmla="*/ 42 w 174"/>
              <a:gd name="T21" fmla="*/ 6 h 102"/>
              <a:gd name="T22" fmla="*/ 48 w 174"/>
              <a:gd name="T23" fmla="*/ 6 h 102"/>
              <a:gd name="T24" fmla="*/ 48 w 174"/>
              <a:gd name="T25" fmla="*/ 12 h 102"/>
              <a:gd name="T26" fmla="*/ 48 w 174"/>
              <a:gd name="T27" fmla="*/ 24 h 102"/>
              <a:gd name="T28" fmla="*/ 54 w 174"/>
              <a:gd name="T29" fmla="*/ 24 h 102"/>
              <a:gd name="T30" fmla="*/ 60 w 174"/>
              <a:gd name="T31" fmla="*/ 24 h 102"/>
              <a:gd name="T32" fmla="*/ 66 w 174"/>
              <a:gd name="T33" fmla="*/ 30 h 102"/>
              <a:gd name="T34" fmla="*/ 72 w 174"/>
              <a:gd name="T35" fmla="*/ 30 h 102"/>
              <a:gd name="T36" fmla="*/ 72 w 174"/>
              <a:gd name="T37" fmla="*/ 24 h 102"/>
              <a:gd name="T38" fmla="*/ 78 w 174"/>
              <a:gd name="T39" fmla="*/ 24 h 102"/>
              <a:gd name="T40" fmla="*/ 78 w 174"/>
              <a:gd name="T41" fmla="*/ 18 h 102"/>
              <a:gd name="T42" fmla="*/ 84 w 174"/>
              <a:gd name="T43" fmla="*/ 12 h 102"/>
              <a:gd name="T44" fmla="*/ 90 w 174"/>
              <a:gd name="T45" fmla="*/ 12 h 102"/>
              <a:gd name="T46" fmla="*/ 96 w 174"/>
              <a:gd name="T47" fmla="*/ 12 h 102"/>
              <a:gd name="T48" fmla="*/ 102 w 174"/>
              <a:gd name="T49" fmla="*/ 18 h 102"/>
              <a:gd name="T50" fmla="*/ 96 w 174"/>
              <a:gd name="T51" fmla="*/ 24 h 102"/>
              <a:gd name="T52" fmla="*/ 108 w 174"/>
              <a:gd name="T53" fmla="*/ 30 h 102"/>
              <a:gd name="T54" fmla="*/ 108 w 174"/>
              <a:gd name="T55" fmla="*/ 30 h 102"/>
              <a:gd name="T56" fmla="*/ 120 w 174"/>
              <a:gd name="T57" fmla="*/ 30 h 102"/>
              <a:gd name="T58" fmla="*/ 126 w 174"/>
              <a:gd name="T59" fmla="*/ 36 h 102"/>
              <a:gd name="T60" fmla="*/ 132 w 174"/>
              <a:gd name="T61" fmla="*/ 42 h 102"/>
              <a:gd name="T62" fmla="*/ 138 w 174"/>
              <a:gd name="T63" fmla="*/ 42 h 102"/>
              <a:gd name="T64" fmla="*/ 150 w 174"/>
              <a:gd name="T65" fmla="*/ 48 h 102"/>
              <a:gd name="T66" fmla="*/ 156 w 174"/>
              <a:gd name="T67" fmla="*/ 54 h 102"/>
              <a:gd name="T68" fmla="*/ 156 w 174"/>
              <a:gd name="T69" fmla="*/ 60 h 102"/>
              <a:gd name="T70" fmla="*/ 162 w 174"/>
              <a:gd name="T71" fmla="*/ 66 h 102"/>
              <a:gd name="T72" fmla="*/ 168 w 174"/>
              <a:gd name="T73" fmla="*/ 66 h 102"/>
              <a:gd name="T74" fmla="*/ 174 w 174"/>
              <a:gd name="T75" fmla="*/ 78 h 102"/>
              <a:gd name="T76" fmla="*/ 168 w 174"/>
              <a:gd name="T77" fmla="*/ 78 h 102"/>
              <a:gd name="T78" fmla="*/ 162 w 174"/>
              <a:gd name="T79" fmla="*/ 78 h 102"/>
              <a:gd name="T80" fmla="*/ 150 w 174"/>
              <a:gd name="T81" fmla="*/ 78 h 102"/>
              <a:gd name="T82" fmla="*/ 138 w 174"/>
              <a:gd name="T83" fmla="*/ 72 h 102"/>
              <a:gd name="T84" fmla="*/ 132 w 174"/>
              <a:gd name="T85" fmla="*/ 72 h 102"/>
              <a:gd name="T86" fmla="*/ 126 w 174"/>
              <a:gd name="T87" fmla="*/ 84 h 102"/>
              <a:gd name="T88" fmla="*/ 126 w 174"/>
              <a:gd name="T89" fmla="*/ 90 h 102"/>
              <a:gd name="T90" fmla="*/ 108 w 174"/>
              <a:gd name="T91" fmla="*/ 96 h 102"/>
              <a:gd name="T92" fmla="*/ 108 w 174"/>
              <a:gd name="T93" fmla="*/ 102 h 102"/>
              <a:gd name="T94" fmla="*/ 102 w 174"/>
              <a:gd name="T95" fmla="*/ 96 h 102"/>
              <a:gd name="T96" fmla="*/ 102 w 174"/>
              <a:gd name="T97" fmla="*/ 96 h 102"/>
              <a:gd name="T98" fmla="*/ 96 w 174"/>
              <a:gd name="T99" fmla="*/ 90 h 102"/>
              <a:gd name="T100" fmla="*/ 96 w 174"/>
              <a:gd name="T101" fmla="*/ 90 h 102"/>
              <a:gd name="T102" fmla="*/ 84 w 174"/>
              <a:gd name="T103" fmla="*/ 90 h 102"/>
              <a:gd name="T104" fmla="*/ 66 w 174"/>
              <a:gd name="T105" fmla="*/ 96 h 102"/>
              <a:gd name="T106" fmla="*/ 60 w 174"/>
              <a:gd name="T107" fmla="*/ 102 h 102"/>
              <a:gd name="T108" fmla="*/ 54 w 174"/>
              <a:gd name="T109" fmla="*/ 96 h 102"/>
              <a:gd name="T110" fmla="*/ 48 w 174"/>
              <a:gd name="T111" fmla="*/ 90 h 102"/>
              <a:gd name="T112" fmla="*/ 48 w 174"/>
              <a:gd name="T113" fmla="*/ 84 h 102"/>
              <a:gd name="T114" fmla="*/ 42 w 174"/>
              <a:gd name="T115" fmla="*/ 72 h 102"/>
              <a:gd name="T116" fmla="*/ 42 w 174"/>
              <a:gd name="T117" fmla="*/ 60 h 102"/>
              <a:gd name="T118" fmla="*/ 30 w 174"/>
              <a:gd name="T119" fmla="*/ 54 h 102"/>
              <a:gd name="T120" fmla="*/ 18 w 174"/>
              <a:gd name="T121" fmla="*/ 48 h 102"/>
              <a:gd name="T122" fmla="*/ 6 w 174"/>
              <a:gd name="T123" fmla="*/ 42 h 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4" h="102">
                <a:moveTo>
                  <a:pt x="0" y="42"/>
                </a:move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12" y="18"/>
                </a:lnTo>
                <a:lnTo>
                  <a:pt x="12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0" y="12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0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24" y="6"/>
                </a:lnTo>
                <a:lnTo>
                  <a:pt x="24" y="0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6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12"/>
                </a:lnTo>
                <a:lnTo>
                  <a:pt x="48" y="6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8"/>
                </a:lnTo>
                <a:lnTo>
                  <a:pt x="54" y="18"/>
                </a:lnTo>
                <a:lnTo>
                  <a:pt x="54" y="18"/>
                </a:lnTo>
                <a:lnTo>
                  <a:pt x="48" y="18"/>
                </a:lnTo>
                <a:lnTo>
                  <a:pt x="48" y="18"/>
                </a:lnTo>
                <a:lnTo>
                  <a:pt x="48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30"/>
                </a:lnTo>
                <a:lnTo>
                  <a:pt x="60" y="30"/>
                </a:lnTo>
                <a:lnTo>
                  <a:pt x="66" y="24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8" y="24"/>
                </a:lnTo>
                <a:lnTo>
                  <a:pt x="78" y="24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30"/>
                </a:lnTo>
                <a:lnTo>
                  <a:pt x="102" y="30"/>
                </a:lnTo>
                <a:lnTo>
                  <a:pt x="102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42"/>
                </a:lnTo>
                <a:lnTo>
                  <a:pt x="132" y="36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44" y="42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54"/>
                </a:lnTo>
                <a:lnTo>
                  <a:pt x="150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60"/>
                </a:lnTo>
                <a:lnTo>
                  <a:pt x="156" y="60"/>
                </a:lnTo>
                <a:lnTo>
                  <a:pt x="156" y="60"/>
                </a:lnTo>
                <a:lnTo>
                  <a:pt x="156" y="60"/>
                </a:lnTo>
                <a:lnTo>
                  <a:pt x="156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6"/>
                </a:lnTo>
                <a:lnTo>
                  <a:pt x="162" y="66"/>
                </a:lnTo>
                <a:lnTo>
                  <a:pt x="162" y="66"/>
                </a:lnTo>
                <a:lnTo>
                  <a:pt x="168" y="66"/>
                </a:lnTo>
                <a:lnTo>
                  <a:pt x="168" y="66"/>
                </a:lnTo>
                <a:lnTo>
                  <a:pt x="168" y="66"/>
                </a:lnTo>
                <a:lnTo>
                  <a:pt x="168" y="66"/>
                </a:lnTo>
                <a:lnTo>
                  <a:pt x="168" y="66"/>
                </a:lnTo>
                <a:lnTo>
                  <a:pt x="168" y="66"/>
                </a:lnTo>
                <a:lnTo>
                  <a:pt x="168" y="66"/>
                </a:lnTo>
                <a:lnTo>
                  <a:pt x="168" y="66"/>
                </a:lnTo>
                <a:lnTo>
                  <a:pt x="168" y="66"/>
                </a:lnTo>
                <a:lnTo>
                  <a:pt x="168" y="66"/>
                </a:lnTo>
                <a:lnTo>
                  <a:pt x="168" y="66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74" y="78"/>
                </a:lnTo>
                <a:lnTo>
                  <a:pt x="174" y="78"/>
                </a:lnTo>
                <a:lnTo>
                  <a:pt x="174" y="78"/>
                </a:lnTo>
                <a:lnTo>
                  <a:pt x="174" y="84"/>
                </a:lnTo>
                <a:lnTo>
                  <a:pt x="174" y="84"/>
                </a:lnTo>
                <a:lnTo>
                  <a:pt x="174" y="84"/>
                </a:lnTo>
                <a:lnTo>
                  <a:pt x="174" y="84"/>
                </a:lnTo>
                <a:lnTo>
                  <a:pt x="174" y="84"/>
                </a:lnTo>
                <a:lnTo>
                  <a:pt x="174" y="78"/>
                </a:lnTo>
                <a:lnTo>
                  <a:pt x="168" y="78"/>
                </a:lnTo>
                <a:lnTo>
                  <a:pt x="168" y="78"/>
                </a:lnTo>
                <a:lnTo>
                  <a:pt x="168" y="78"/>
                </a:lnTo>
                <a:lnTo>
                  <a:pt x="168" y="78"/>
                </a:lnTo>
                <a:lnTo>
                  <a:pt x="168" y="78"/>
                </a:lnTo>
                <a:lnTo>
                  <a:pt x="168" y="78"/>
                </a:lnTo>
                <a:lnTo>
                  <a:pt x="168" y="78"/>
                </a:lnTo>
                <a:lnTo>
                  <a:pt x="168" y="78"/>
                </a:lnTo>
                <a:lnTo>
                  <a:pt x="162" y="78"/>
                </a:lnTo>
                <a:lnTo>
                  <a:pt x="162" y="78"/>
                </a:lnTo>
                <a:lnTo>
                  <a:pt x="162" y="78"/>
                </a:lnTo>
                <a:lnTo>
                  <a:pt x="162" y="78"/>
                </a:lnTo>
                <a:lnTo>
                  <a:pt x="162" y="78"/>
                </a:lnTo>
                <a:lnTo>
                  <a:pt x="162" y="78"/>
                </a:lnTo>
                <a:lnTo>
                  <a:pt x="162" y="78"/>
                </a:lnTo>
                <a:lnTo>
                  <a:pt x="156" y="78"/>
                </a:lnTo>
                <a:lnTo>
                  <a:pt x="156" y="78"/>
                </a:lnTo>
                <a:lnTo>
                  <a:pt x="150" y="78"/>
                </a:lnTo>
                <a:lnTo>
                  <a:pt x="150" y="78"/>
                </a:lnTo>
                <a:lnTo>
                  <a:pt x="150" y="78"/>
                </a:lnTo>
                <a:lnTo>
                  <a:pt x="150" y="78"/>
                </a:lnTo>
                <a:lnTo>
                  <a:pt x="144" y="78"/>
                </a:lnTo>
                <a:lnTo>
                  <a:pt x="144" y="78"/>
                </a:lnTo>
                <a:lnTo>
                  <a:pt x="144" y="72"/>
                </a:lnTo>
                <a:lnTo>
                  <a:pt x="144" y="72"/>
                </a:lnTo>
                <a:lnTo>
                  <a:pt x="144" y="72"/>
                </a:lnTo>
                <a:lnTo>
                  <a:pt x="144" y="72"/>
                </a:lnTo>
                <a:lnTo>
                  <a:pt x="144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8"/>
                </a:lnTo>
                <a:lnTo>
                  <a:pt x="132" y="72"/>
                </a:lnTo>
                <a:lnTo>
                  <a:pt x="132" y="72"/>
                </a:lnTo>
                <a:lnTo>
                  <a:pt x="126" y="72"/>
                </a:lnTo>
                <a:lnTo>
                  <a:pt x="126" y="72"/>
                </a:lnTo>
                <a:lnTo>
                  <a:pt x="126" y="72"/>
                </a:lnTo>
                <a:lnTo>
                  <a:pt x="126" y="72"/>
                </a:lnTo>
                <a:lnTo>
                  <a:pt x="126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90"/>
                </a:lnTo>
                <a:lnTo>
                  <a:pt x="126" y="90"/>
                </a:lnTo>
                <a:lnTo>
                  <a:pt x="126" y="90"/>
                </a:lnTo>
                <a:lnTo>
                  <a:pt x="126" y="90"/>
                </a:lnTo>
                <a:lnTo>
                  <a:pt x="126" y="90"/>
                </a:lnTo>
                <a:lnTo>
                  <a:pt x="126" y="90"/>
                </a:lnTo>
                <a:lnTo>
                  <a:pt x="126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96"/>
                </a:lnTo>
                <a:lnTo>
                  <a:pt x="114" y="96"/>
                </a:lnTo>
                <a:lnTo>
                  <a:pt x="114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2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2" y="102"/>
                </a:lnTo>
                <a:lnTo>
                  <a:pt x="108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0" y="84"/>
                </a:lnTo>
                <a:lnTo>
                  <a:pt x="90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78" y="90"/>
                </a:lnTo>
                <a:lnTo>
                  <a:pt x="78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102"/>
                </a:lnTo>
                <a:lnTo>
                  <a:pt x="72" y="102"/>
                </a:lnTo>
                <a:lnTo>
                  <a:pt x="66" y="102"/>
                </a:lnTo>
                <a:lnTo>
                  <a:pt x="66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2"/>
                </a:lnTo>
                <a:lnTo>
                  <a:pt x="42" y="72"/>
                </a:lnTo>
                <a:lnTo>
                  <a:pt x="48" y="72"/>
                </a:lnTo>
                <a:lnTo>
                  <a:pt x="48" y="72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0" y="4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43" name="Freeform 476"/>
          <p:cNvSpPr>
            <a:spLocks/>
          </p:cNvSpPr>
          <p:nvPr/>
        </p:nvSpPr>
        <p:spPr bwMode="auto">
          <a:xfrm>
            <a:off x="6402171" y="5233524"/>
            <a:ext cx="134905" cy="141330"/>
          </a:xfrm>
          <a:custGeom>
            <a:avLst/>
            <a:gdLst>
              <a:gd name="T0" fmla="*/ 0 w 126"/>
              <a:gd name="T1" fmla="*/ 18 h 132"/>
              <a:gd name="T2" fmla="*/ 6 w 126"/>
              <a:gd name="T3" fmla="*/ 18 h 132"/>
              <a:gd name="T4" fmla="*/ 24 w 126"/>
              <a:gd name="T5" fmla="*/ 12 h 132"/>
              <a:gd name="T6" fmla="*/ 24 w 126"/>
              <a:gd name="T7" fmla="*/ 12 h 132"/>
              <a:gd name="T8" fmla="*/ 30 w 126"/>
              <a:gd name="T9" fmla="*/ 12 h 132"/>
              <a:gd name="T10" fmla="*/ 36 w 126"/>
              <a:gd name="T11" fmla="*/ 18 h 132"/>
              <a:gd name="T12" fmla="*/ 42 w 126"/>
              <a:gd name="T13" fmla="*/ 24 h 132"/>
              <a:gd name="T14" fmla="*/ 48 w 126"/>
              <a:gd name="T15" fmla="*/ 24 h 132"/>
              <a:gd name="T16" fmla="*/ 66 w 126"/>
              <a:gd name="T17" fmla="*/ 30 h 132"/>
              <a:gd name="T18" fmla="*/ 60 w 126"/>
              <a:gd name="T19" fmla="*/ 24 h 132"/>
              <a:gd name="T20" fmla="*/ 60 w 126"/>
              <a:gd name="T21" fmla="*/ 18 h 132"/>
              <a:gd name="T22" fmla="*/ 66 w 126"/>
              <a:gd name="T23" fmla="*/ 6 h 132"/>
              <a:gd name="T24" fmla="*/ 66 w 126"/>
              <a:gd name="T25" fmla="*/ 6 h 132"/>
              <a:gd name="T26" fmla="*/ 72 w 126"/>
              <a:gd name="T27" fmla="*/ 0 h 132"/>
              <a:gd name="T28" fmla="*/ 84 w 126"/>
              <a:gd name="T29" fmla="*/ 18 h 132"/>
              <a:gd name="T30" fmla="*/ 84 w 126"/>
              <a:gd name="T31" fmla="*/ 18 h 132"/>
              <a:gd name="T32" fmla="*/ 90 w 126"/>
              <a:gd name="T33" fmla="*/ 24 h 132"/>
              <a:gd name="T34" fmla="*/ 102 w 126"/>
              <a:gd name="T35" fmla="*/ 24 h 132"/>
              <a:gd name="T36" fmla="*/ 108 w 126"/>
              <a:gd name="T37" fmla="*/ 30 h 132"/>
              <a:gd name="T38" fmla="*/ 120 w 126"/>
              <a:gd name="T39" fmla="*/ 42 h 132"/>
              <a:gd name="T40" fmla="*/ 120 w 126"/>
              <a:gd name="T41" fmla="*/ 42 h 132"/>
              <a:gd name="T42" fmla="*/ 108 w 126"/>
              <a:gd name="T43" fmla="*/ 48 h 132"/>
              <a:gd name="T44" fmla="*/ 96 w 126"/>
              <a:gd name="T45" fmla="*/ 54 h 132"/>
              <a:gd name="T46" fmla="*/ 90 w 126"/>
              <a:gd name="T47" fmla="*/ 54 h 132"/>
              <a:gd name="T48" fmla="*/ 78 w 126"/>
              <a:gd name="T49" fmla="*/ 48 h 132"/>
              <a:gd name="T50" fmla="*/ 78 w 126"/>
              <a:gd name="T51" fmla="*/ 54 h 132"/>
              <a:gd name="T52" fmla="*/ 72 w 126"/>
              <a:gd name="T53" fmla="*/ 60 h 132"/>
              <a:gd name="T54" fmla="*/ 66 w 126"/>
              <a:gd name="T55" fmla="*/ 66 h 132"/>
              <a:gd name="T56" fmla="*/ 66 w 126"/>
              <a:gd name="T57" fmla="*/ 66 h 132"/>
              <a:gd name="T58" fmla="*/ 72 w 126"/>
              <a:gd name="T59" fmla="*/ 72 h 132"/>
              <a:gd name="T60" fmla="*/ 72 w 126"/>
              <a:gd name="T61" fmla="*/ 78 h 132"/>
              <a:gd name="T62" fmla="*/ 72 w 126"/>
              <a:gd name="T63" fmla="*/ 84 h 132"/>
              <a:gd name="T64" fmla="*/ 72 w 126"/>
              <a:gd name="T65" fmla="*/ 90 h 132"/>
              <a:gd name="T66" fmla="*/ 72 w 126"/>
              <a:gd name="T67" fmla="*/ 90 h 132"/>
              <a:gd name="T68" fmla="*/ 72 w 126"/>
              <a:gd name="T69" fmla="*/ 96 h 132"/>
              <a:gd name="T70" fmla="*/ 72 w 126"/>
              <a:gd name="T71" fmla="*/ 102 h 132"/>
              <a:gd name="T72" fmla="*/ 72 w 126"/>
              <a:gd name="T73" fmla="*/ 108 h 132"/>
              <a:gd name="T74" fmla="*/ 66 w 126"/>
              <a:gd name="T75" fmla="*/ 114 h 132"/>
              <a:gd name="T76" fmla="*/ 60 w 126"/>
              <a:gd name="T77" fmla="*/ 114 h 132"/>
              <a:gd name="T78" fmla="*/ 60 w 126"/>
              <a:gd name="T79" fmla="*/ 108 h 132"/>
              <a:gd name="T80" fmla="*/ 30 w 126"/>
              <a:gd name="T81" fmla="*/ 132 h 132"/>
              <a:gd name="T82" fmla="*/ 30 w 126"/>
              <a:gd name="T83" fmla="*/ 120 h 132"/>
              <a:gd name="T84" fmla="*/ 24 w 126"/>
              <a:gd name="T85" fmla="*/ 120 h 132"/>
              <a:gd name="T86" fmla="*/ 18 w 126"/>
              <a:gd name="T87" fmla="*/ 114 h 132"/>
              <a:gd name="T88" fmla="*/ 12 w 126"/>
              <a:gd name="T89" fmla="*/ 108 h 132"/>
              <a:gd name="T90" fmla="*/ 6 w 126"/>
              <a:gd name="T91" fmla="*/ 108 h 132"/>
              <a:gd name="T92" fmla="*/ 6 w 126"/>
              <a:gd name="T93" fmla="*/ 96 h 132"/>
              <a:gd name="T94" fmla="*/ 6 w 126"/>
              <a:gd name="T95" fmla="*/ 90 h 132"/>
              <a:gd name="T96" fmla="*/ 6 w 126"/>
              <a:gd name="T97" fmla="*/ 84 h 132"/>
              <a:gd name="T98" fmla="*/ 6 w 126"/>
              <a:gd name="T99" fmla="*/ 78 h 132"/>
              <a:gd name="T100" fmla="*/ 6 w 126"/>
              <a:gd name="T101" fmla="*/ 72 h 132"/>
              <a:gd name="T102" fmla="*/ 6 w 126"/>
              <a:gd name="T103" fmla="*/ 66 h 132"/>
              <a:gd name="T104" fmla="*/ 6 w 126"/>
              <a:gd name="T105" fmla="*/ 60 h 132"/>
              <a:gd name="T106" fmla="*/ 12 w 126"/>
              <a:gd name="T107" fmla="*/ 54 h 132"/>
              <a:gd name="T108" fmla="*/ 18 w 126"/>
              <a:gd name="T109" fmla="*/ 42 h 132"/>
              <a:gd name="T110" fmla="*/ 6 w 126"/>
              <a:gd name="T111" fmla="*/ 36 h 132"/>
              <a:gd name="T112" fmla="*/ 6 w 126"/>
              <a:gd name="T113" fmla="*/ 30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26" h="132">
                <a:moveTo>
                  <a:pt x="6" y="24"/>
                </a:moveTo>
                <a:lnTo>
                  <a:pt x="6" y="24"/>
                </a:lnTo>
                <a:lnTo>
                  <a:pt x="0" y="24"/>
                </a:lnTo>
                <a:lnTo>
                  <a:pt x="0" y="24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6" y="18"/>
                </a:lnTo>
                <a:lnTo>
                  <a:pt x="6" y="18"/>
                </a:lnTo>
                <a:lnTo>
                  <a:pt x="12" y="18"/>
                </a:lnTo>
                <a:lnTo>
                  <a:pt x="12" y="12"/>
                </a:lnTo>
                <a:lnTo>
                  <a:pt x="12" y="12"/>
                </a:lnTo>
                <a:lnTo>
                  <a:pt x="18" y="12"/>
                </a:lnTo>
                <a:lnTo>
                  <a:pt x="18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6" y="12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8" y="24"/>
                </a:lnTo>
                <a:lnTo>
                  <a:pt x="48" y="24"/>
                </a:lnTo>
                <a:lnTo>
                  <a:pt x="54" y="30"/>
                </a:lnTo>
                <a:lnTo>
                  <a:pt x="54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6" y="18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0"/>
                </a:lnTo>
                <a:lnTo>
                  <a:pt x="72" y="0"/>
                </a:lnTo>
                <a:lnTo>
                  <a:pt x="78" y="0"/>
                </a:lnTo>
                <a:lnTo>
                  <a:pt x="78" y="0"/>
                </a:lnTo>
                <a:lnTo>
                  <a:pt x="84" y="12"/>
                </a:lnTo>
                <a:lnTo>
                  <a:pt x="84" y="12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30"/>
                </a:lnTo>
                <a:lnTo>
                  <a:pt x="102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6"/>
                </a:lnTo>
                <a:lnTo>
                  <a:pt x="114" y="36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6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14" y="42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48"/>
                </a:lnTo>
                <a:lnTo>
                  <a:pt x="78" y="48"/>
                </a:lnTo>
                <a:lnTo>
                  <a:pt x="78" y="48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66" y="60"/>
                </a:lnTo>
                <a:lnTo>
                  <a:pt x="66" y="60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72" y="66"/>
                </a:lnTo>
                <a:lnTo>
                  <a:pt x="66" y="66"/>
                </a:lnTo>
                <a:lnTo>
                  <a:pt x="72" y="72"/>
                </a:lnTo>
                <a:lnTo>
                  <a:pt x="66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90"/>
                </a:lnTo>
                <a:lnTo>
                  <a:pt x="72" y="84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66" y="102"/>
                </a:lnTo>
                <a:lnTo>
                  <a:pt x="72" y="108"/>
                </a:lnTo>
                <a:lnTo>
                  <a:pt x="72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14"/>
                </a:lnTo>
                <a:lnTo>
                  <a:pt x="66" y="108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42" y="120"/>
                </a:lnTo>
                <a:lnTo>
                  <a:pt x="42" y="126"/>
                </a:lnTo>
                <a:lnTo>
                  <a:pt x="36" y="126"/>
                </a:lnTo>
                <a:lnTo>
                  <a:pt x="30" y="132"/>
                </a:lnTo>
                <a:lnTo>
                  <a:pt x="30" y="132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24" y="120"/>
                </a:lnTo>
                <a:lnTo>
                  <a:pt x="24" y="120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2" y="114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78"/>
                </a:lnTo>
                <a:lnTo>
                  <a:pt x="6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12" y="72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12" y="54"/>
                </a:lnTo>
                <a:lnTo>
                  <a:pt x="6" y="54"/>
                </a:lnTo>
                <a:lnTo>
                  <a:pt x="12" y="54"/>
                </a:lnTo>
                <a:lnTo>
                  <a:pt x="6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8" y="42"/>
                </a:lnTo>
                <a:lnTo>
                  <a:pt x="12" y="42"/>
                </a:lnTo>
                <a:lnTo>
                  <a:pt x="12" y="36"/>
                </a:lnTo>
                <a:lnTo>
                  <a:pt x="6" y="36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44" name="Freeform 477"/>
          <p:cNvSpPr>
            <a:spLocks/>
          </p:cNvSpPr>
          <p:nvPr/>
        </p:nvSpPr>
        <p:spPr bwMode="auto">
          <a:xfrm>
            <a:off x="6158057" y="5509761"/>
            <a:ext cx="218418" cy="147754"/>
          </a:xfrm>
          <a:custGeom>
            <a:avLst/>
            <a:gdLst>
              <a:gd name="T0" fmla="*/ 6 w 204"/>
              <a:gd name="T1" fmla="*/ 42 h 138"/>
              <a:gd name="T2" fmla="*/ 12 w 204"/>
              <a:gd name="T3" fmla="*/ 30 h 138"/>
              <a:gd name="T4" fmla="*/ 12 w 204"/>
              <a:gd name="T5" fmla="*/ 30 h 138"/>
              <a:gd name="T6" fmla="*/ 24 w 204"/>
              <a:gd name="T7" fmla="*/ 24 h 138"/>
              <a:gd name="T8" fmla="*/ 24 w 204"/>
              <a:gd name="T9" fmla="*/ 18 h 138"/>
              <a:gd name="T10" fmla="*/ 24 w 204"/>
              <a:gd name="T11" fmla="*/ 6 h 138"/>
              <a:gd name="T12" fmla="*/ 36 w 204"/>
              <a:gd name="T13" fmla="*/ 6 h 138"/>
              <a:gd name="T14" fmla="*/ 42 w 204"/>
              <a:gd name="T15" fmla="*/ 0 h 138"/>
              <a:gd name="T16" fmla="*/ 54 w 204"/>
              <a:gd name="T17" fmla="*/ 6 h 138"/>
              <a:gd name="T18" fmla="*/ 60 w 204"/>
              <a:gd name="T19" fmla="*/ 12 h 138"/>
              <a:gd name="T20" fmla="*/ 60 w 204"/>
              <a:gd name="T21" fmla="*/ 18 h 138"/>
              <a:gd name="T22" fmla="*/ 66 w 204"/>
              <a:gd name="T23" fmla="*/ 24 h 138"/>
              <a:gd name="T24" fmla="*/ 72 w 204"/>
              <a:gd name="T25" fmla="*/ 30 h 138"/>
              <a:gd name="T26" fmla="*/ 84 w 204"/>
              <a:gd name="T27" fmla="*/ 30 h 138"/>
              <a:gd name="T28" fmla="*/ 90 w 204"/>
              <a:gd name="T29" fmla="*/ 36 h 138"/>
              <a:gd name="T30" fmla="*/ 96 w 204"/>
              <a:gd name="T31" fmla="*/ 36 h 138"/>
              <a:gd name="T32" fmla="*/ 108 w 204"/>
              <a:gd name="T33" fmla="*/ 36 h 138"/>
              <a:gd name="T34" fmla="*/ 114 w 204"/>
              <a:gd name="T35" fmla="*/ 36 h 138"/>
              <a:gd name="T36" fmla="*/ 126 w 204"/>
              <a:gd name="T37" fmla="*/ 36 h 138"/>
              <a:gd name="T38" fmla="*/ 132 w 204"/>
              <a:gd name="T39" fmla="*/ 36 h 138"/>
              <a:gd name="T40" fmla="*/ 114 w 204"/>
              <a:gd name="T41" fmla="*/ 42 h 138"/>
              <a:gd name="T42" fmla="*/ 108 w 204"/>
              <a:gd name="T43" fmla="*/ 48 h 138"/>
              <a:gd name="T44" fmla="*/ 132 w 204"/>
              <a:gd name="T45" fmla="*/ 54 h 138"/>
              <a:gd name="T46" fmla="*/ 144 w 204"/>
              <a:gd name="T47" fmla="*/ 54 h 138"/>
              <a:gd name="T48" fmla="*/ 156 w 204"/>
              <a:gd name="T49" fmla="*/ 66 h 138"/>
              <a:gd name="T50" fmla="*/ 174 w 204"/>
              <a:gd name="T51" fmla="*/ 42 h 138"/>
              <a:gd name="T52" fmla="*/ 180 w 204"/>
              <a:gd name="T53" fmla="*/ 42 h 138"/>
              <a:gd name="T54" fmla="*/ 186 w 204"/>
              <a:gd name="T55" fmla="*/ 42 h 138"/>
              <a:gd name="T56" fmla="*/ 192 w 204"/>
              <a:gd name="T57" fmla="*/ 48 h 138"/>
              <a:gd name="T58" fmla="*/ 198 w 204"/>
              <a:gd name="T59" fmla="*/ 54 h 138"/>
              <a:gd name="T60" fmla="*/ 198 w 204"/>
              <a:gd name="T61" fmla="*/ 60 h 138"/>
              <a:gd name="T62" fmla="*/ 180 w 204"/>
              <a:gd name="T63" fmla="*/ 66 h 138"/>
              <a:gd name="T64" fmla="*/ 168 w 204"/>
              <a:gd name="T65" fmla="*/ 72 h 138"/>
              <a:gd name="T66" fmla="*/ 162 w 204"/>
              <a:gd name="T67" fmla="*/ 72 h 138"/>
              <a:gd name="T68" fmla="*/ 162 w 204"/>
              <a:gd name="T69" fmla="*/ 78 h 138"/>
              <a:gd name="T70" fmla="*/ 156 w 204"/>
              <a:gd name="T71" fmla="*/ 78 h 138"/>
              <a:gd name="T72" fmla="*/ 162 w 204"/>
              <a:gd name="T73" fmla="*/ 78 h 138"/>
              <a:gd name="T74" fmla="*/ 150 w 204"/>
              <a:gd name="T75" fmla="*/ 84 h 138"/>
              <a:gd name="T76" fmla="*/ 150 w 204"/>
              <a:gd name="T77" fmla="*/ 96 h 138"/>
              <a:gd name="T78" fmla="*/ 156 w 204"/>
              <a:gd name="T79" fmla="*/ 102 h 138"/>
              <a:gd name="T80" fmla="*/ 156 w 204"/>
              <a:gd name="T81" fmla="*/ 96 h 138"/>
              <a:gd name="T82" fmla="*/ 162 w 204"/>
              <a:gd name="T83" fmla="*/ 102 h 138"/>
              <a:gd name="T84" fmla="*/ 132 w 204"/>
              <a:gd name="T85" fmla="*/ 114 h 138"/>
              <a:gd name="T86" fmla="*/ 120 w 204"/>
              <a:gd name="T87" fmla="*/ 132 h 138"/>
              <a:gd name="T88" fmla="*/ 102 w 204"/>
              <a:gd name="T89" fmla="*/ 138 h 138"/>
              <a:gd name="T90" fmla="*/ 90 w 204"/>
              <a:gd name="T91" fmla="*/ 132 h 138"/>
              <a:gd name="T92" fmla="*/ 84 w 204"/>
              <a:gd name="T93" fmla="*/ 126 h 138"/>
              <a:gd name="T94" fmla="*/ 72 w 204"/>
              <a:gd name="T95" fmla="*/ 126 h 138"/>
              <a:gd name="T96" fmla="*/ 66 w 204"/>
              <a:gd name="T97" fmla="*/ 114 h 138"/>
              <a:gd name="T98" fmla="*/ 54 w 204"/>
              <a:gd name="T99" fmla="*/ 114 h 138"/>
              <a:gd name="T100" fmla="*/ 48 w 204"/>
              <a:gd name="T101" fmla="*/ 102 h 138"/>
              <a:gd name="T102" fmla="*/ 42 w 204"/>
              <a:gd name="T103" fmla="*/ 90 h 138"/>
              <a:gd name="T104" fmla="*/ 36 w 204"/>
              <a:gd name="T105" fmla="*/ 78 h 138"/>
              <a:gd name="T106" fmla="*/ 30 w 204"/>
              <a:gd name="T107" fmla="*/ 72 h 138"/>
              <a:gd name="T108" fmla="*/ 30 w 204"/>
              <a:gd name="T109" fmla="*/ 66 h 138"/>
              <a:gd name="T110" fmla="*/ 24 w 204"/>
              <a:gd name="T111" fmla="*/ 60 h 138"/>
              <a:gd name="T112" fmla="*/ 18 w 204"/>
              <a:gd name="T113" fmla="*/ 54 h 138"/>
              <a:gd name="T114" fmla="*/ 12 w 204"/>
              <a:gd name="T115" fmla="*/ 48 h 138"/>
              <a:gd name="T116" fmla="*/ 6 w 204"/>
              <a:gd name="T117" fmla="*/ 48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04" h="138">
                <a:moveTo>
                  <a:pt x="6" y="48"/>
                </a:move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24"/>
                </a:lnTo>
                <a:lnTo>
                  <a:pt x="18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30" y="18"/>
                </a:lnTo>
                <a:lnTo>
                  <a:pt x="24" y="18"/>
                </a:lnTo>
                <a:lnTo>
                  <a:pt x="30" y="12"/>
                </a:lnTo>
                <a:lnTo>
                  <a:pt x="30" y="12"/>
                </a:lnTo>
                <a:lnTo>
                  <a:pt x="24" y="12"/>
                </a:lnTo>
                <a:lnTo>
                  <a:pt x="24" y="12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8" y="0"/>
                </a:lnTo>
                <a:lnTo>
                  <a:pt x="48" y="0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6" y="18"/>
                </a:lnTo>
                <a:lnTo>
                  <a:pt x="60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90" y="30"/>
                </a:lnTo>
                <a:lnTo>
                  <a:pt x="90" y="36"/>
                </a:lnTo>
                <a:lnTo>
                  <a:pt x="90" y="30"/>
                </a:lnTo>
                <a:lnTo>
                  <a:pt x="90" y="36"/>
                </a:lnTo>
                <a:lnTo>
                  <a:pt x="90" y="36"/>
                </a:lnTo>
                <a:lnTo>
                  <a:pt x="90" y="30"/>
                </a:lnTo>
                <a:lnTo>
                  <a:pt x="90" y="36"/>
                </a:lnTo>
                <a:lnTo>
                  <a:pt x="90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38" y="36"/>
                </a:lnTo>
                <a:lnTo>
                  <a:pt x="132" y="36"/>
                </a:lnTo>
                <a:lnTo>
                  <a:pt x="132" y="36"/>
                </a:lnTo>
                <a:lnTo>
                  <a:pt x="132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14" y="42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08" y="48"/>
                </a:lnTo>
                <a:lnTo>
                  <a:pt x="108" y="48"/>
                </a:lnTo>
                <a:lnTo>
                  <a:pt x="120" y="48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32" y="54"/>
                </a:lnTo>
                <a:lnTo>
                  <a:pt x="132" y="54"/>
                </a:lnTo>
                <a:lnTo>
                  <a:pt x="138" y="54"/>
                </a:lnTo>
                <a:lnTo>
                  <a:pt x="138" y="54"/>
                </a:lnTo>
                <a:lnTo>
                  <a:pt x="138" y="54"/>
                </a:lnTo>
                <a:lnTo>
                  <a:pt x="138" y="54"/>
                </a:lnTo>
                <a:lnTo>
                  <a:pt x="144" y="54"/>
                </a:lnTo>
                <a:lnTo>
                  <a:pt x="144" y="54"/>
                </a:lnTo>
                <a:lnTo>
                  <a:pt x="144" y="54"/>
                </a:lnTo>
                <a:lnTo>
                  <a:pt x="144" y="54"/>
                </a:lnTo>
                <a:lnTo>
                  <a:pt x="144" y="54"/>
                </a:lnTo>
                <a:lnTo>
                  <a:pt x="144" y="60"/>
                </a:lnTo>
                <a:lnTo>
                  <a:pt x="150" y="60"/>
                </a:lnTo>
                <a:lnTo>
                  <a:pt x="150" y="60"/>
                </a:lnTo>
                <a:lnTo>
                  <a:pt x="150" y="60"/>
                </a:lnTo>
                <a:lnTo>
                  <a:pt x="150" y="60"/>
                </a:lnTo>
                <a:lnTo>
                  <a:pt x="150" y="60"/>
                </a:lnTo>
                <a:lnTo>
                  <a:pt x="156" y="66"/>
                </a:lnTo>
                <a:lnTo>
                  <a:pt x="156" y="66"/>
                </a:lnTo>
                <a:lnTo>
                  <a:pt x="156" y="66"/>
                </a:lnTo>
                <a:lnTo>
                  <a:pt x="156" y="60"/>
                </a:lnTo>
                <a:lnTo>
                  <a:pt x="156" y="60"/>
                </a:lnTo>
                <a:lnTo>
                  <a:pt x="168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42"/>
                </a:lnTo>
                <a:lnTo>
                  <a:pt x="174" y="42"/>
                </a:lnTo>
                <a:lnTo>
                  <a:pt x="180" y="42"/>
                </a:lnTo>
                <a:lnTo>
                  <a:pt x="180" y="42"/>
                </a:lnTo>
                <a:lnTo>
                  <a:pt x="180" y="42"/>
                </a:lnTo>
                <a:lnTo>
                  <a:pt x="180" y="42"/>
                </a:lnTo>
                <a:lnTo>
                  <a:pt x="180" y="42"/>
                </a:lnTo>
                <a:lnTo>
                  <a:pt x="180" y="42"/>
                </a:lnTo>
                <a:lnTo>
                  <a:pt x="180" y="42"/>
                </a:lnTo>
                <a:lnTo>
                  <a:pt x="186" y="42"/>
                </a:lnTo>
                <a:lnTo>
                  <a:pt x="186" y="42"/>
                </a:lnTo>
                <a:lnTo>
                  <a:pt x="186" y="42"/>
                </a:lnTo>
                <a:lnTo>
                  <a:pt x="186" y="42"/>
                </a:lnTo>
                <a:lnTo>
                  <a:pt x="186" y="42"/>
                </a:lnTo>
                <a:lnTo>
                  <a:pt x="186" y="42"/>
                </a:lnTo>
                <a:lnTo>
                  <a:pt x="186" y="42"/>
                </a:lnTo>
                <a:lnTo>
                  <a:pt x="186" y="42"/>
                </a:lnTo>
                <a:lnTo>
                  <a:pt x="186" y="42"/>
                </a:lnTo>
                <a:lnTo>
                  <a:pt x="186" y="42"/>
                </a:lnTo>
                <a:lnTo>
                  <a:pt x="186" y="48"/>
                </a:lnTo>
                <a:lnTo>
                  <a:pt x="186" y="42"/>
                </a:lnTo>
                <a:lnTo>
                  <a:pt x="192" y="42"/>
                </a:lnTo>
                <a:lnTo>
                  <a:pt x="192" y="48"/>
                </a:lnTo>
                <a:lnTo>
                  <a:pt x="192" y="48"/>
                </a:lnTo>
                <a:lnTo>
                  <a:pt x="192" y="48"/>
                </a:lnTo>
                <a:lnTo>
                  <a:pt x="192" y="48"/>
                </a:lnTo>
                <a:lnTo>
                  <a:pt x="192" y="48"/>
                </a:lnTo>
                <a:lnTo>
                  <a:pt x="192" y="48"/>
                </a:lnTo>
                <a:lnTo>
                  <a:pt x="192" y="48"/>
                </a:lnTo>
                <a:lnTo>
                  <a:pt x="192" y="48"/>
                </a:lnTo>
                <a:lnTo>
                  <a:pt x="198" y="48"/>
                </a:lnTo>
                <a:lnTo>
                  <a:pt x="198" y="48"/>
                </a:lnTo>
                <a:lnTo>
                  <a:pt x="198" y="54"/>
                </a:lnTo>
                <a:lnTo>
                  <a:pt x="204" y="54"/>
                </a:lnTo>
                <a:lnTo>
                  <a:pt x="204" y="54"/>
                </a:lnTo>
                <a:lnTo>
                  <a:pt x="204" y="54"/>
                </a:lnTo>
                <a:lnTo>
                  <a:pt x="204" y="54"/>
                </a:lnTo>
                <a:lnTo>
                  <a:pt x="198" y="60"/>
                </a:lnTo>
                <a:lnTo>
                  <a:pt x="198" y="60"/>
                </a:lnTo>
                <a:lnTo>
                  <a:pt x="198" y="60"/>
                </a:lnTo>
                <a:lnTo>
                  <a:pt x="198" y="60"/>
                </a:lnTo>
                <a:lnTo>
                  <a:pt x="192" y="60"/>
                </a:lnTo>
                <a:lnTo>
                  <a:pt x="186" y="60"/>
                </a:lnTo>
                <a:lnTo>
                  <a:pt x="186" y="66"/>
                </a:lnTo>
                <a:lnTo>
                  <a:pt x="186" y="66"/>
                </a:lnTo>
                <a:lnTo>
                  <a:pt x="180" y="66"/>
                </a:lnTo>
                <a:lnTo>
                  <a:pt x="180" y="66"/>
                </a:lnTo>
                <a:lnTo>
                  <a:pt x="180" y="66"/>
                </a:lnTo>
                <a:lnTo>
                  <a:pt x="180" y="66"/>
                </a:lnTo>
                <a:lnTo>
                  <a:pt x="180" y="66"/>
                </a:lnTo>
                <a:lnTo>
                  <a:pt x="174" y="66"/>
                </a:lnTo>
                <a:lnTo>
                  <a:pt x="174" y="72"/>
                </a:lnTo>
                <a:lnTo>
                  <a:pt x="174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2" y="72"/>
                </a:lnTo>
                <a:lnTo>
                  <a:pt x="162" y="72"/>
                </a:lnTo>
                <a:lnTo>
                  <a:pt x="162" y="72"/>
                </a:lnTo>
                <a:lnTo>
                  <a:pt x="162" y="72"/>
                </a:lnTo>
                <a:lnTo>
                  <a:pt x="162" y="72"/>
                </a:lnTo>
                <a:lnTo>
                  <a:pt x="162" y="72"/>
                </a:lnTo>
                <a:lnTo>
                  <a:pt x="162" y="72"/>
                </a:lnTo>
                <a:lnTo>
                  <a:pt x="162" y="72"/>
                </a:lnTo>
                <a:lnTo>
                  <a:pt x="162" y="72"/>
                </a:lnTo>
                <a:lnTo>
                  <a:pt x="162" y="72"/>
                </a:lnTo>
                <a:lnTo>
                  <a:pt x="162" y="72"/>
                </a:lnTo>
                <a:lnTo>
                  <a:pt x="162" y="78"/>
                </a:lnTo>
                <a:lnTo>
                  <a:pt x="162" y="78"/>
                </a:lnTo>
                <a:lnTo>
                  <a:pt x="162" y="78"/>
                </a:lnTo>
                <a:lnTo>
                  <a:pt x="162" y="78"/>
                </a:lnTo>
                <a:lnTo>
                  <a:pt x="162" y="78"/>
                </a:lnTo>
                <a:lnTo>
                  <a:pt x="162" y="78"/>
                </a:lnTo>
                <a:lnTo>
                  <a:pt x="156" y="78"/>
                </a:lnTo>
                <a:lnTo>
                  <a:pt x="156" y="78"/>
                </a:lnTo>
                <a:lnTo>
                  <a:pt x="156" y="78"/>
                </a:lnTo>
                <a:lnTo>
                  <a:pt x="156" y="78"/>
                </a:lnTo>
                <a:lnTo>
                  <a:pt x="156" y="78"/>
                </a:lnTo>
                <a:lnTo>
                  <a:pt x="156" y="78"/>
                </a:lnTo>
                <a:lnTo>
                  <a:pt x="156" y="78"/>
                </a:lnTo>
                <a:lnTo>
                  <a:pt x="156" y="78"/>
                </a:lnTo>
                <a:lnTo>
                  <a:pt x="156" y="78"/>
                </a:lnTo>
                <a:lnTo>
                  <a:pt x="156" y="78"/>
                </a:lnTo>
                <a:lnTo>
                  <a:pt x="156" y="78"/>
                </a:lnTo>
                <a:lnTo>
                  <a:pt x="162" y="78"/>
                </a:lnTo>
                <a:lnTo>
                  <a:pt x="162" y="78"/>
                </a:lnTo>
                <a:lnTo>
                  <a:pt x="162" y="78"/>
                </a:lnTo>
                <a:lnTo>
                  <a:pt x="162" y="78"/>
                </a:lnTo>
                <a:lnTo>
                  <a:pt x="162" y="78"/>
                </a:lnTo>
                <a:lnTo>
                  <a:pt x="162" y="78"/>
                </a:lnTo>
                <a:lnTo>
                  <a:pt x="156" y="78"/>
                </a:lnTo>
                <a:lnTo>
                  <a:pt x="156" y="84"/>
                </a:lnTo>
                <a:lnTo>
                  <a:pt x="156" y="84"/>
                </a:lnTo>
                <a:lnTo>
                  <a:pt x="156" y="84"/>
                </a:lnTo>
                <a:lnTo>
                  <a:pt x="150" y="84"/>
                </a:lnTo>
                <a:lnTo>
                  <a:pt x="156" y="90"/>
                </a:lnTo>
                <a:lnTo>
                  <a:pt x="156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6"/>
                </a:lnTo>
                <a:lnTo>
                  <a:pt x="150" y="96"/>
                </a:lnTo>
                <a:lnTo>
                  <a:pt x="150" y="96"/>
                </a:lnTo>
                <a:lnTo>
                  <a:pt x="150" y="96"/>
                </a:lnTo>
                <a:lnTo>
                  <a:pt x="150" y="96"/>
                </a:lnTo>
                <a:lnTo>
                  <a:pt x="150" y="96"/>
                </a:lnTo>
                <a:lnTo>
                  <a:pt x="156" y="96"/>
                </a:lnTo>
                <a:lnTo>
                  <a:pt x="156" y="96"/>
                </a:lnTo>
                <a:lnTo>
                  <a:pt x="150" y="96"/>
                </a:lnTo>
                <a:lnTo>
                  <a:pt x="156" y="102"/>
                </a:lnTo>
                <a:lnTo>
                  <a:pt x="156" y="102"/>
                </a:lnTo>
                <a:lnTo>
                  <a:pt x="156" y="102"/>
                </a:lnTo>
                <a:lnTo>
                  <a:pt x="156" y="102"/>
                </a:lnTo>
                <a:lnTo>
                  <a:pt x="156" y="96"/>
                </a:lnTo>
                <a:lnTo>
                  <a:pt x="156" y="96"/>
                </a:lnTo>
                <a:lnTo>
                  <a:pt x="156" y="96"/>
                </a:lnTo>
                <a:lnTo>
                  <a:pt x="156" y="96"/>
                </a:lnTo>
                <a:lnTo>
                  <a:pt x="156" y="96"/>
                </a:lnTo>
                <a:lnTo>
                  <a:pt x="156" y="96"/>
                </a:lnTo>
                <a:lnTo>
                  <a:pt x="156" y="96"/>
                </a:lnTo>
                <a:lnTo>
                  <a:pt x="156" y="96"/>
                </a:lnTo>
                <a:lnTo>
                  <a:pt x="162" y="96"/>
                </a:lnTo>
                <a:lnTo>
                  <a:pt x="162" y="96"/>
                </a:lnTo>
                <a:lnTo>
                  <a:pt x="156" y="96"/>
                </a:lnTo>
                <a:lnTo>
                  <a:pt x="162" y="102"/>
                </a:lnTo>
                <a:lnTo>
                  <a:pt x="162" y="102"/>
                </a:lnTo>
                <a:lnTo>
                  <a:pt x="162" y="102"/>
                </a:lnTo>
                <a:lnTo>
                  <a:pt x="156" y="108"/>
                </a:lnTo>
                <a:lnTo>
                  <a:pt x="150" y="108"/>
                </a:lnTo>
                <a:lnTo>
                  <a:pt x="144" y="108"/>
                </a:lnTo>
                <a:lnTo>
                  <a:pt x="138" y="114"/>
                </a:lnTo>
                <a:lnTo>
                  <a:pt x="132" y="114"/>
                </a:lnTo>
                <a:lnTo>
                  <a:pt x="132" y="114"/>
                </a:lnTo>
                <a:lnTo>
                  <a:pt x="132" y="114"/>
                </a:lnTo>
                <a:lnTo>
                  <a:pt x="132" y="114"/>
                </a:lnTo>
                <a:lnTo>
                  <a:pt x="126" y="120"/>
                </a:lnTo>
                <a:lnTo>
                  <a:pt x="126" y="120"/>
                </a:lnTo>
                <a:lnTo>
                  <a:pt x="126" y="126"/>
                </a:lnTo>
                <a:lnTo>
                  <a:pt x="126" y="126"/>
                </a:lnTo>
                <a:lnTo>
                  <a:pt x="126" y="132"/>
                </a:lnTo>
                <a:lnTo>
                  <a:pt x="126" y="132"/>
                </a:lnTo>
                <a:lnTo>
                  <a:pt x="120" y="132"/>
                </a:lnTo>
                <a:lnTo>
                  <a:pt x="120" y="132"/>
                </a:lnTo>
                <a:lnTo>
                  <a:pt x="114" y="132"/>
                </a:lnTo>
                <a:lnTo>
                  <a:pt x="114" y="138"/>
                </a:lnTo>
                <a:lnTo>
                  <a:pt x="114" y="138"/>
                </a:lnTo>
                <a:lnTo>
                  <a:pt x="114" y="132"/>
                </a:lnTo>
                <a:lnTo>
                  <a:pt x="108" y="132"/>
                </a:lnTo>
                <a:lnTo>
                  <a:pt x="108" y="132"/>
                </a:lnTo>
                <a:lnTo>
                  <a:pt x="102" y="138"/>
                </a:lnTo>
                <a:lnTo>
                  <a:pt x="102" y="138"/>
                </a:lnTo>
                <a:lnTo>
                  <a:pt x="102" y="138"/>
                </a:lnTo>
                <a:lnTo>
                  <a:pt x="102" y="138"/>
                </a:lnTo>
                <a:lnTo>
                  <a:pt x="102" y="132"/>
                </a:lnTo>
                <a:lnTo>
                  <a:pt x="96" y="132"/>
                </a:lnTo>
                <a:lnTo>
                  <a:pt x="96" y="132"/>
                </a:lnTo>
                <a:lnTo>
                  <a:pt x="96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84" y="132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78" y="126"/>
                </a:lnTo>
                <a:lnTo>
                  <a:pt x="78" y="126"/>
                </a:lnTo>
                <a:lnTo>
                  <a:pt x="78" y="126"/>
                </a:lnTo>
                <a:lnTo>
                  <a:pt x="78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14"/>
                </a:lnTo>
                <a:lnTo>
                  <a:pt x="54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2"/>
                </a:lnTo>
                <a:lnTo>
                  <a:pt x="48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84"/>
                </a:lnTo>
                <a:lnTo>
                  <a:pt x="36" y="84"/>
                </a:lnTo>
                <a:lnTo>
                  <a:pt x="36" y="84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2"/>
                </a:lnTo>
                <a:lnTo>
                  <a:pt x="30" y="72"/>
                </a:lnTo>
                <a:lnTo>
                  <a:pt x="36" y="72"/>
                </a:lnTo>
                <a:lnTo>
                  <a:pt x="30" y="72"/>
                </a:lnTo>
                <a:lnTo>
                  <a:pt x="30" y="72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45" name="Freeform 478"/>
          <p:cNvSpPr>
            <a:spLocks/>
          </p:cNvSpPr>
          <p:nvPr/>
        </p:nvSpPr>
        <p:spPr bwMode="auto">
          <a:xfrm>
            <a:off x="5991031" y="5349158"/>
            <a:ext cx="244114" cy="211995"/>
          </a:xfrm>
          <a:custGeom>
            <a:avLst/>
            <a:gdLst>
              <a:gd name="T0" fmla="*/ 12 w 228"/>
              <a:gd name="T1" fmla="*/ 60 h 198"/>
              <a:gd name="T2" fmla="*/ 18 w 228"/>
              <a:gd name="T3" fmla="*/ 48 h 198"/>
              <a:gd name="T4" fmla="*/ 18 w 228"/>
              <a:gd name="T5" fmla="*/ 42 h 198"/>
              <a:gd name="T6" fmla="*/ 30 w 228"/>
              <a:gd name="T7" fmla="*/ 36 h 198"/>
              <a:gd name="T8" fmla="*/ 54 w 228"/>
              <a:gd name="T9" fmla="*/ 24 h 198"/>
              <a:gd name="T10" fmla="*/ 60 w 228"/>
              <a:gd name="T11" fmla="*/ 18 h 198"/>
              <a:gd name="T12" fmla="*/ 66 w 228"/>
              <a:gd name="T13" fmla="*/ 18 h 198"/>
              <a:gd name="T14" fmla="*/ 78 w 228"/>
              <a:gd name="T15" fmla="*/ 24 h 198"/>
              <a:gd name="T16" fmla="*/ 96 w 228"/>
              <a:gd name="T17" fmla="*/ 24 h 198"/>
              <a:gd name="T18" fmla="*/ 102 w 228"/>
              <a:gd name="T19" fmla="*/ 30 h 198"/>
              <a:gd name="T20" fmla="*/ 108 w 228"/>
              <a:gd name="T21" fmla="*/ 36 h 198"/>
              <a:gd name="T22" fmla="*/ 126 w 228"/>
              <a:gd name="T23" fmla="*/ 36 h 198"/>
              <a:gd name="T24" fmla="*/ 138 w 228"/>
              <a:gd name="T25" fmla="*/ 30 h 198"/>
              <a:gd name="T26" fmla="*/ 156 w 228"/>
              <a:gd name="T27" fmla="*/ 24 h 198"/>
              <a:gd name="T28" fmla="*/ 168 w 228"/>
              <a:gd name="T29" fmla="*/ 6 h 198"/>
              <a:gd name="T30" fmla="*/ 174 w 228"/>
              <a:gd name="T31" fmla="*/ 6 h 198"/>
              <a:gd name="T32" fmla="*/ 186 w 228"/>
              <a:gd name="T33" fmla="*/ 12 h 198"/>
              <a:gd name="T34" fmla="*/ 180 w 228"/>
              <a:gd name="T35" fmla="*/ 18 h 198"/>
              <a:gd name="T36" fmla="*/ 180 w 228"/>
              <a:gd name="T37" fmla="*/ 24 h 198"/>
              <a:gd name="T38" fmla="*/ 180 w 228"/>
              <a:gd name="T39" fmla="*/ 30 h 198"/>
              <a:gd name="T40" fmla="*/ 174 w 228"/>
              <a:gd name="T41" fmla="*/ 30 h 198"/>
              <a:gd name="T42" fmla="*/ 180 w 228"/>
              <a:gd name="T43" fmla="*/ 42 h 198"/>
              <a:gd name="T44" fmla="*/ 192 w 228"/>
              <a:gd name="T45" fmla="*/ 42 h 198"/>
              <a:gd name="T46" fmla="*/ 198 w 228"/>
              <a:gd name="T47" fmla="*/ 54 h 198"/>
              <a:gd name="T48" fmla="*/ 204 w 228"/>
              <a:gd name="T49" fmla="*/ 54 h 198"/>
              <a:gd name="T50" fmla="*/ 210 w 228"/>
              <a:gd name="T51" fmla="*/ 60 h 198"/>
              <a:gd name="T52" fmla="*/ 210 w 228"/>
              <a:gd name="T53" fmla="*/ 66 h 198"/>
              <a:gd name="T54" fmla="*/ 222 w 228"/>
              <a:gd name="T55" fmla="*/ 66 h 198"/>
              <a:gd name="T56" fmla="*/ 222 w 228"/>
              <a:gd name="T57" fmla="*/ 66 h 198"/>
              <a:gd name="T58" fmla="*/ 228 w 228"/>
              <a:gd name="T59" fmla="*/ 66 h 198"/>
              <a:gd name="T60" fmla="*/ 222 w 228"/>
              <a:gd name="T61" fmla="*/ 72 h 198"/>
              <a:gd name="T62" fmla="*/ 222 w 228"/>
              <a:gd name="T63" fmla="*/ 72 h 198"/>
              <a:gd name="T64" fmla="*/ 222 w 228"/>
              <a:gd name="T65" fmla="*/ 78 h 198"/>
              <a:gd name="T66" fmla="*/ 222 w 228"/>
              <a:gd name="T67" fmla="*/ 84 h 198"/>
              <a:gd name="T68" fmla="*/ 216 w 228"/>
              <a:gd name="T69" fmla="*/ 90 h 198"/>
              <a:gd name="T70" fmla="*/ 216 w 228"/>
              <a:gd name="T71" fmla="*/ 96 h 198"/>
              <a:gd name="T72" fmla="*/ 210 w 228"/>
              <a:gd name="T73" fmla="*/ 102 h 198"/>
              <a:gd name="T74" fmla="*/ 210 w 228"/>
              <a:gd name="T75" fmla="*/ 102 h 198"/>
              <a:gd name="T76" fmla="*/ 204 w 228"/>
              <a:gd name="T77" fmla="*/ 108 h 198"/>
              <a:gd name="T78" fmla="*/ 198 w 228"/>
              <a:gd name="T79" fmla="*/ 114 h 198"/>
              <a:gd name="T80" fmla="*/ 180 w 228"/>
              <a:gd name="T81" fmla="*/ 114 h 198"/>
              <a:gd name="T82" fmla="*/ 180 w 228"/>
              <a:gd name="T83" fmla="*/ 126 h 198"/>
              <a:gd name="T84" fmla="*/ 174 w 228"/>
              <a:gd name="T85" fmla="*/ 138 h 198"/>
              <a:gd name="T86" fmla="*/ 174 w 228"/>
              <a:gd name="T87" fmla="*/ 150 h 198"/>
              <a:gd name="T88" fmla="*/ 168 w 228"/>
              <a:gd name="T89" fmla="*/ 162 h 198"/>
              <a:gd name="T90" fmla="*/ 162 w 228"/>
              <a:gd name="T91" fmla="*/ 174 h 198"/>
              <a:gd name="T92" fmla="*/ 162 w 228"/>
              <a:gd name="T93" fmla="*/ 180 h 198"/>
              <a:gd name="T94" fmla="*/ 162 w 228"/>
              <a:gd name="T95" fmla="*/ 192 h 198"/>
              <a:gd name="T96" fmla="*/ 156 w 228"/>
              <a:gd name="T97" fmla="*/ 198 h 198"/>
              <a:gd name="T98" fmla="*/ 150 w 228"/>
              <a:gd name="T99" fmla="*/ 192 h 198"/>
              <a:gd name="T100" fmla="*/ 150 w 228"/>
              <a:gd name="T101" fmla="*/ 186 h 198"/>
              <a:gd name="T102" fmla="*/ 138 w 228"/>
              <a:gd name="T103" fmla="*/ 192 h 198"/>
              <a:gd name="T104" fmla="*/ 90 w 228"/>
              <a:gd name="T105" fmla="*/ 150 h 198"/>
              <a:gd name="T106" fmla="*/ 90 w 228"/>
              <a:gd name="T107" fmla="*/ 144 h 198"/>
              <a:gd name="T108" fmla="*/ 78 w 228"/>
              <a:gd name="T109" fmla="*/ 132 h 198"/>
              <a:gd name="T110" fmla="*/ 60 w 228"/>
              <a:gd name="T111" fmla="*/ 126 h 198"/>
              <a:gd name="T112" fmla="*/ 42 w 228"/>
              <a:gd name="T113" fmla="*/ 126 h 198"/>
              <a:gd name="T114" fmla="*/ 30 w 228"/>
              <a:gd name="T115" fmla="*/ 120 h 198"/>
              <a:gd name="T116" fmla="*/ 24 w 228"/>
              <a:gd name="T117" fmla="*/ 114 h 198"/>
              <a:gd name="T118" fmla="*/ 24 w 228"/>
              <a:gd name="T119" fmla="*/ 108 h 198"/>
              <a:gd name="T120" fmla="*/ 12 w 228"/>
              <a:gd name="T121" fmla="*/ 84 h 198"/>
              <a:gd name="T122" fmla="*/ 6 w 228"/>
              <a:gd name="T123" fmla="*/ 66 h 1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28" h="198">
                <a:moveTo>
                  <a:pt x="6" y="66"/>
                </a:moveTo>
                <a:lnTo>
                  <a:pt x="6" y="66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54"/>
                </a:lnTo>
                <a:lnTo>
                  <a:pt x="12" y="60"/>
                </a:lnTo>
                <a:lnTo>
                  <a:pt x="12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24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6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54" y="30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24"/>
                </a:lnTo>
                <a:lnTo>
                  <a:pt x="60" y="18"/>
                </a:lnTo>
                <a:lnTo>
                  <a:pt x="60" y="24"/>
                </a:lnTo>
                <a:lnTo>
                  <a:pt x="60" y="24"/>
                </a:lnTo>
                <a:lnTo>
                  <a:pt x="66" y="24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72" y="18"/>
                </a:lnTo>
                <a:lnTo>
                  <a:pt x="72" y="24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24"/>
                </a:lnTo>
                <a:lnTo>
                  <a:pt x="84" y="18"/>
                </a:lnTo>
                <a:lnTo>
                  <a:pt x="84" y="24"/>
                </a:lnTo>
                <a:lnTo>
                  <a:pt x="84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102" y="24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8" y="30"/>
                </a:lnTo>
                <a:lnTo>
                  <a:pt x="102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6" y="36"/>
                </a:lnTo>
                <a:lnTo>
                  <a:pt x="126" y="42"/>
                </a:lnTo>
                <a:lnTo>
                  <a:pt x="126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36"/>
                </a:lnTo>
                <a:lnTo>
                  <a:pt x="132" y="36"/>
                </a:lnTo>
                <a:lnTo>
                  <a:pt x="132" y="30"/>
                </a:lnTo>
                <a:lnTo>
                  <a:pt x="138" y="30"/>
                </a:lnTo>
                <a:lnTo>
                  <a:pt x="138" y="30"/>
                </a:lnTo>
                <a:lnTo>
                  <a:pt x="144" y="30"/>
                </a:lnTo>
                <a:lnTo>
                  <a:pt x="144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2"/>
                </a:lnTo>
                <a:lnTo>
                  <a:pt x="162" y="12"/>
                </a:lnTo>
                <a:lnTo>
                  <a:pt x="168" y="6"/>
                </a:lnTo>
                <a:lnTo>
                  <a:pt x="168" y="6"/>
                </a:lnTo>
                <a:lnTo>
                  <a:pt x="168" y="6"/>
                </a:lnTo>
                <a:lnTo>
                  <a:pt x="168" y="6"/>
                </a:lnTo>
                <a:lnTo>
                  <a:pt x="168" y="6"/>
                </a:lnTo>
                <a:lnTo>
                  <a:pt x="168" y="6"/>
                </a:lnTo>
                <a:lnTo>
                  <a:pt x="168" y="0"/>
                </a:lnTo>
                <a:lnTo>
                  <a:pt x="174" y="6"/>
                </a:lnTo>
                <a:lnTo>
                  <a:pt x="174" y="6"/>
                </a:lnTo>
                <a:lnTo>
                  <a:pt x="174" y="6"/>
                </a:lnTo>
                <a:lnTo>
                  <a:pt x="174" y="6"/>
                </a:lnTo>
                <a:lnTo>
                  <a:pt x="174" y="6"/>
                </a:lnTo>
                <a:lnTo>
                  <a:pt x="180" y="6"/>
                </a:lnTo>
                <a:lnTo>
                  <a:pt x="180" y="6"/>
                </a:lnTo>
                <a:lnTo>
                  <a:pt x="186" y="6"/>
                </a:lnTo>
                <a:lnTo>
                  <a:pt x="186" y="6"/>
                </a:lnTo>
                <a:lnTo>
                  <a:pt x="186" y="6"/>
                </a:lnTo>
                <a:lnTo>
                  <a:pt x="186" y="6"/>
                </a:lnTo>
                <a:lnTo>
                  <a:pt x="186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6"/>
                </a:lnTo>
                <a:lnTo>
                  <a:pt x="174" y="30"/>
                </a:lnTo>
                <a:lnTo>
                  <a:pt x="174" y="36"/>
                </a:lnTo>
                <a:lnTo>
                  <a:pt x="180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80" y="42"/>
                </a:lnTo>
                <a:lnTo>
                  <a:pt x="180" y="42"/>
                </a:lnTo>
                <a:lnTo>
                  <a:pt x="180" y="42"/>
                </a:lnTo>
                <a:lnTo>
                  <a:pt x="180" y="42"/>
                </a:lnTo>
                <a:lnTo>
                  <a:pt x="180" y="42"/>
                </a:lnTo>
                <a:lnTo>
                  <a:pt x="180" y="42"/>
                </a:lnTo>
                <a:lnTo>
                  <a:pt x="180" y="42"/>
                </a:lnTo>
                <a:lnTo>
                  <a:pt x="180" y="42"/>
                </a:lnTo>
                <a:lnTo>
                  <a:pt x="186" y="42"/>
                </a:lnTo>
                <a:lnTo>
                  <a:pt x="186" y="42"/>
                </a:lnTo>
                <a:lnTo>
                  <a:pt x="186" y="42"/>
                </a:lnTo>
                <a:lnTo>
                  <a:pt x="186" y="42"/>
                </a:lnTo>
                <a:lnTo>
                  <a:pt x="186" y="42"/>
                </a:lnTo>
                <a:lnTo>
                  <a:pt x="186" y="42"/>
                </a:lnTo>
                <a:lnTo>
                  <a:pt x="192" y="42"/>
                </a:lnTo>
                <a:lnTo>
                  <a:pt x="192" y="42"/>
                </a:lnTo>
                <a:lnTo>
                  <a:pt x="192" y="48"/>
                </a:lnTo>
                <a:lnTo>
                  <a:pt x="192" y="48"/>
                </a:lnTo>
                <a:lnTo>
                  <a:pt x="192" y="48"/>
                </a:lnTo>
                <a:lnTo>
                  <a:pt x="192" y="48"/>
                </a:lnTo>
                <a:lnTo>
                  <a:pt x="192" y="48"/>
                </a:lnTo>
                <a:lnTo>
                  <a:pt x="198" y="48"/>
                </a:lnTo>
                <a:lnTo>
                  <a:pt x="198" y="48"/>
                </a:lnTo>
                <a:lnTo>
                  <a:pt x="198" y="48"/>
                </a:lnTo>
                <a:lnTo>
                  <a:pt x="198" y="54"/>
                </a:lnTo>
                <a:lnTo>
                  <a:pt x="198" y="54"/>
                </a:lnTo>
                <a:lnTo>
                  <a:pt x="198" y="54"/>
                </a:lnTo>
                <a:lnTo>
                  <a:pt x="198" y="54"/>
                </a:lnTo>
                <a:lnTo>
                  <a:pt x="204" y="54"/>
                </a:lnTo>
                <a:lnTo>
                  <a:pt x="204" y="54"/>
                </a:lnTo>
                <a:lnTo>
                  <a:pt x="204" y="54"/>
                </a:lnTo>
                <a:lnTo>
                  <a:pt x="204" y="54"/>
                </a:lnTo>
                <a:lnTo>
                  <a:pt x="204" y="54"/>
                </a:lnTo>
                <a:lnTo>
                  <a:pt x="204" y="54"/>
                </a:lnTo>
                <a:lnTo>
                  <a:pt x="204" y="54"/>
                </a:lnTo>
                <a:lnTo>
                  <a:pt x="204" y="60"/>
                </a:lnTo>
                <a:lnTo>
                  <a:pt x="204" y="60"/>
                </a:lnTo>
                <a:lnTo>
                  <a:pt x="204" y="60"/>
                </a:lnTo>
                <a:lnTo>
                  <a:pt x="204" y="60"/>
                </a:lnTo>
                <a:lnTo>
                  <a:pt x="204" y="60"/>
                </a:lnTo>
                <a:lnTo>
                  <a:pt x="204" y="60"/>
                </a:lnTo>
                <a:lnTo>
                  <a:pt x="204" y="60"/>
                </a:lnTo>
                <a:lnTo>
                  <a:pt x="210" y="60"/>
                </a:lnTo>
                <a:lnTo>
                  <a:pt x="210" y="60"/>
                </a:lnTo>
                <a:lnTo>
                  <a:pt x="210" y="60"/>
                </a:lnTo>
                <a:lnTo>
                  <a:pt x="210" y="60"/>
                </a:lnTo>
                <a:lnTo>
                  <a:pt x="210" y="60"/>
                </a:lnTo>
                <a:lnTo>
                  <a:pt x="210" y="60"/>
                </a:lnTo>
                <a:lnTo>
                  <a:pt x="210" y="60"/>
                </a:lnTo>
                <a:lnTo>
                  <a:pt x="210" y="60"/>
                </a:lnTo>
                <a:lnTo>
                  <a:pt x="210" y="60"/>
                </a:lnTo>
                <a:lnTo>
                  <a:pt x="210" y="60"/>
                </a:lnTo>
                <a:lnTo>
                  <a:pt x="216" y="66"/>
                </a:lnTo>
                <a:lnTo>
                  <a:pt x="216" y="66"/>
                </a:lnTo>
                <a:lnTo>
                  <a:pt x="210" y="66"/>
                </a:lnTo>
                <a:lnTo>
                  <a:pt x="210" y="66"/>
                </a:lnTo>
                <a:lnTo>
                  <a:pt x="216" y="66"/>
                </a:lnTo>
                <a:lnTo>
                  <a:pt x="216" y="66"/>
                </a:lnTo>
                <a:lnTo>
                  <a:pt x="216" y="60"/>
                </a:lnTo>
                <a:lnTo>
                  <a:pt x="216" y="66"/>
                </a:lnTo>
                <a:lnTo>
                  <a:pt x="216" y="60"/>
                </a:lnTo>
                <a:lnTo>
                  <a:pt x="216" y="60"/>
                </a:lnTo>
                <a:lnTo>
                  <a:pt x="216" y="66"/>
                </a:lnTo>
                <a:lnTo>
                  <a:pt x="216" y="66"/>
                </a:lnTo>
                <a:lnTo>
                  <a:pt x="222" y="66"/>
                </a:lnTo>
                <a:lnTo>
                  <a:pt x="222" y="66"/>
                </a:lnTo>
                <a:lnTo>
                  <a:pt x="222" y="66"/>
                </a:lnTo>
                <a:lnTo>
                  <a:pt x="222" y="66"/>
                </a:lnTo>
                <a:lnTo>
                  <a:pt x="222" y="66"/>
                </a:lnTo>
                <a:lnTo>
                  <a:pt x="222" y="66"/>
                </a:lnTo>
                <a:lnTo>
                  <a:pt x="222" y="66"/>
                </a:lnTo>
                <a:lnTo>
                  <a:pt x="222" y="66"/>
                </a:lnTo>
                <a:lnTo>
                  <a:pt x="222" y="66"/>
                </a:lnTo>
                <a:lnTo>
                  <a:pt x="222" y="66"/>
                </a:lnTo>
                <a:lnTo>
                  <a:pt x="222" y="66"/>
                </a:lnTo>
                <a:lnTo>
                  <a:pt x="222" y="66"/>
                </a:lnTo>
                <a:lnTo>
                  <a:pt x="222" y="66"/>
                </a:lnTo>
                <a:lnTo>
                  <a:pt x="222" y="66"/>
                </a:lnTo>
                <a:lnTo>
                  <a:pt x="228" y="66"/>
                </a:lnTo>
                <a:lnTo>
                  <a:pt x="228" y="66"/>
                </a:lnTo>
                <a:lnTo>
                  <a:pt x="228" y="66"/>
                </a:lnTo>
                <a:lnTo>
                  <a:pt x="228" y="66"/>
                </a:lnTo>
                <a:lnTo>
                  <a:pt x="222" y="66"/>
                </a:lnTo>
                <a:lnTo>
                  <a:pt x="222" y="66"/>
                </a:lnTo>
                <a:lnTo>
                  <a:pt x="228" y="66"/>
                </a:lnTo>
                <a:lnTo>
                  <a:pt x="222" y="72"/>
                </a:lnTo>
                <a:lnTo>
                  <a:pt x="228" y="66"/>
                </a:lnTo>
                <a:lnTo>
                  <a:pt x="228" y="72"/>
                </a:lnTo>
                <a:lnTo>
                  <a:pt x="222" y="72"/>
                </a:lnTo>
                <a:lnTo>
                  <a:pt x="222" y="72"/>
                </a:lnTo>
                <a:lnTo>
                  <a:pt x="222" y="72"/>
                </a:lnTo>
                <a:lnTo>
                  <a:pt x="222" y="72"/>
                </a:lnTo>
                <a:lnTo>
                  <a:pt x="222" y="72"/>
                </a:lnTo>
                <a:lnTo>
                  <a:pt x="222" y="72"/>
                </a:lnTo>
                <a:lnTo>
                  <a:pt x="222" y="72"/>
                </a:lnTo>
                <a:lnTo>
                  <a:pt x="222" y="72"/>
                </a:lnTo>
                <a:lnTo>
                  <a:pt x="222" y="72"/>
                </a:lnTo>
                <a:lnTo>
                  <a:pt x="222" y="72"/>
                </a:lnTo>
                <a:lnTo>
                  <a:pt x="222" y="72"/>
                </a:lnTo>
                <a:lnTo>
                  <a:pt x="222" y="72"/>
                </a:lnTo>
                <a:lnTo>
                  <a:pt x="222" y="72"/>
                </a:lnTo>
                <a:lnTo>
                  <a:pt x="222" y="72"/>
                </a:lnTo>
                <a:lnTo>
                  <a:pt x="222" y="72"/>
                </a:lnTo>
                <a:lnTo>
                  <a:pt x="222" y="72"/>
                </a:lnTo>
                <a:lnTo>
                  <a:pt x="222" y="72"/>
                </a:lnTo>
                <a:lnTo>
                  <a:pt x="222" y="72"/>
                </a:lnTo>
                <a:lnTo>
                  <a:pt x="216" y="78"/>
                </a:lnTo>
                <a:lnTo>
                  <a:pt x="222" y="78"/>
                </a:lnTo>
                <a:lnTo>
                  <a:pt x="222" y="78"/>
                </a:lnTo>
                <a:lnTo>
                  <a:pt x="222" y="78"/>
                </a:lnTo>
                <a:lnTo>
                  <a:pt x="222" y="78"/>
                </a:lnTo>
                <a:lnTo>
                  <a:pt x="222" y="78"/>
                </a:lnTo>
                <a:lnTo>
                  <a:pt x="222" y="78"/>
                </a:lnTo>
                <a:lnTo>
                  <a:pt x="216" y="78"/>
                </a:lnTo>
                <a:lnTo>
                  <a:pt x="222" y="78"/>
                </a:lnTo>
                <a:lnTo>
                  <a:pt x="222" y="78"/>
                </a:lnTo>
                <a:lnTo>
                  <a:pt x="216" y="78"/>
                </a:lnTo>
                <a:lnTo>
                  <a:pt x="222" y="84"/>
                </a:lnTo>
                <a:lnTo>
                  <a:pt x="222" y="84"/>
                </a:lnTo>
                <a:lnTo>
                  <a:pt x="222" y="84"/>
                </a:lnTo>
                <a:lnTo>
                  <a:pt x="222" y="84"/>
                </a:lnTo>
                <a:lnTo>
                  <a:pt x="222" y="84"/>
                </a:lnTo>
                <a:lnTo>
                  <a:pt x="216" y="84"/>
                </a:lnTo>
                <a:lnTo>
                  <a:pt x="216" y="84"/>
                </a:lnTo>
                <a:lnTo>
                  <a:pt x="222" y="84"/>
                </a:lnTo>
                <a:lnTo>
                  <a:pt x="222" y="84"/>
                </a:lnTo>
                <a:lnTo>
                  <a:pt x="222" y="84"/>
                </a:lnTo>
                <a:lnTo>
                  <a:pt x="222" y="84"/>
                </a:lnTo>
                <a:lnTo>
                  <a:pt x="216" y="90"/>
                </a:lnTo>
                <a:lnTo>
                  <a:pt x="216" y="90"/>
                </a:lnTo>
                <a:lnTo>
                  <a:pt x="216" y="90"/>
                </a:lnTo>
                <a:lnTo>
                  <a:pt x="216" y="90"/>
                </a:lnTo>
                <a:lnTo>
                  <a:pt x="216" y="90"/>
                </a:lnTo>
                <a:lnTo>
                  <a:pt x="216" y="90"/>
                </a:lnTo>
                <a:lnTo>
                  <a:pt x="216" y="90"/>
                </a:lnTo>
                <a:lnTo>
                  <a:pt x="216" y="90"/>
                </a:lnTo>
                <a:lnTo>
                  <a:pt x="216" y="90"/>
                </a:lnTo>
                <a:lnTo>
                  <a:pt x="216" y="90"/>
                </a:lnTo>
                <a:lnTo>
                  <a:pt x="216" y="96"/>
                </a:lnTo>
                <a:lnTo>
                  <a:pt x="216" y="96"/>
                </a:lnTo>
                <a:lnTo>
                  <a:pt x="216" y="96"/>
                </a:lnTo>
                <a:lnTo>
                  <a:pt x="216" y="96"/>
                </a:lnTo>
                <a:lnTo>
                  <a:pt x="216" y="96"/>
                </a:lnTo>
                <a:lnTo>
                  <a:pt x="216" y="96"/>
                </a:lnTo>
                <a:lnTo>
                  <a:pt x="216" y="96"/>
                </a:lnTo>
                <a:lnTo>
                  <a:pt x="216" y="96"/>
                </a:lnTo>
                <a:lnTo>
                  <a:pt x="216" y="96"/>
                </a:lnTo>
                <a:lnTo>
                  <a:pt x="216" y="96"/>
                </a:lnTo>
                <a:lnTo>
                  <a:pt x="216" y="102"/>
                </a:lnTo>
                <a:lnTo>
                  <a:pt x="216" y="102"/>
                </a:lnTo>
                <a:lnTo>
                  <a:pt x="216" y="102"/>
                </a:lnTo>
                <a:lnTo>
                  <a:pt x="210" y="102"/>
                </a:lnTo>
                <a:lnTo>
                  <a:pt x="210" y="102"/>
                </a:lnTo>
                <a:lnTo>
                  <a:pt x="210" y="102"/>
                </a:lnTo>
                <a:lnTo>
                  <a:pt x="210" y="102"/>
                </a:lnTo>
                <a:lnTo>
                  <a:pt x="210" y="102"/>
                </a:lnTo>
                <a:lnTo>
                  <a:pt x="210" y="102"/>
                </a:lnTo>
                <a:lnTo>
                  <a:pt x="210" y="102"/>
                </a:lnTo>
                <a:lnTo>
                  <a:pt x="210" y="102"/>
                </a:lnTo>
                <a:lnTo>
                  <a:pt x="210" y="102"/>
                </a:lnTo>
                <a:lnTo>
                  <a:pt x="210" y="102"/>
                </a:lnTo>
                <a:lnTo>
                  <a:pt x="210" y="102"/>
                </a:lnTo>
                <a:lnTo>
                  <a:pt x="210" y="102"/>
                </a:lnTo>
                <a:lnTo>
                  <a:pt x="210" y="102"/>
                </a:lnTo>
                <a:lnTo>
                  <a:pt x="210" y="102"/>
                </a:lnTo>
                <a:lnTo>
                  <a:pt x="210" y="108"/>
                </a:lnTo>
                <a:lnTo>
                  <a:pt x="210" y="108"/>
                </a:lnTo>
                <a:lnTo>
                  <a:pt x="210" y="108"/>
                </a:lnTo>
                <a:lnTo>
                  <a:pt x="204" y="108"/>
                </a:lnTo>
                <a:lnTo>
                  <a:pt x="204" y="108"/>
                </a:lnTo>
                <a:lnTo>
                  <a:pt x="204" y="108"/>
                </a:lnTo>
                <a:lnTo>
                  <a:pt x="204" y="108"/>
                </a:lnTo>
                <a:lnTo>
                  <a:pt x="204" y="108"/>
                </a:lnTo>
                <a:lnTo>
                  <a:pt x="204" y="108"/>
                </a:lnTo>
                <a:lnTo>
                  <a:pt x="204" y="108"/>
                </a:lnTo>
                <a:lnTo>
                  <a:pt x="204" y="108"/>
                </a:lnTo>
                <a:lnTo>
                  <a:pt x="204" y="108"/>
                </a:lnTo>
                <a:lnTo>
                  <a:pt x="204" y="108"/>
                </a:lnTo>
                <a:lnTo>
                  <a:pt x="204" y="114"/>
                </a:lnTo>
                <a:lnTo>
                  <a:pt x="204" y="114"/>
                </a:lnTo>
                <a:lnTo>
                  <a:pt x="204" y="114"/>
                </a:lnTo>
                <a:lnTo>
                  <a:pt x="204" y="114"/>
                </a:lnTo>
                <a:lnTo>
                  <a:pt x="204" y="114"/>
                </a:lnTo>
                <a:lnTo>
                  <a:pt x="198" y="114"/>
                </a:lnTo>
                <a:lnTo>
                  <a:pt x="198" y="114"/>
                </a:lnTo>
                <a:lnTo>
                  <a:pt x="192" y="114"/>
                </a:lnTo>
                <a:lnTo>
                  <a:pt x="192" y="114"/>
                </a:lnTo>
                <a:lnTo>
                  <a:pt x="192" y="114"/>
                </a:lnTo>
                <a:lnTo>
                  <a:pt x="186" y="114"/>
                </a:lnTo>
                <a:lnTo>
                  <a:pt x="186" y="114"/>
                </a:lnTo>
                <a:lnTo>
                  <a:pt x="180" y="114"/>
                </a:lnTo>
                <a:lnTo>
                  <a:pt x="180" y="114"/>
                </a:lnTo>
                <a:lnTo>
                  <a:pt x="180" y="114"/>
                </a:lnTo>
                <a:lnTo>
                  <a:pt x="180" y="114"/>
                </a:lnTo>
                <a:lnTo>
                  <a:pt x="180" y="114"/>
                </a:lnTo>
                <a:lnTo>
                  <a:pt x="180" y="114"/>
                </a:lnTo>
                <a:lnTo>
                  <a:pt x="180" y="120"/>
                </a:lnTo>
                <a:lnTo>
                  <a:pt x="180" y="120"/>
                </a:lnTo>
                <a:lnTo>
                  <a:pt x="180" y="120"/>
                </a:lnTo>
                <a:lnTo>
                  <a:pt x="180" y="126"/>
                </a:lnTo>
                <a:lnTo>
                  <a:pt x="180" y="126"/>
                </a:lnTo>
                <a:lnTo>
                  <a:pt x="180" y="126"/>
                </a:lnTo>
                <a:lnTo>
                  <a:pt x="180" y="126"/>
                </a:lnTo>
                <a:lnTo>
                  <a:pt x="180" y="126"/>
                </a:lnTo>
                <a:lnTo>
                  <a:pt x="180" y="126"/>
                </a:lnTo>
                <a:lnTo>
                  <a:pt x="180" y="126"/>
                </a:lnTo>
                <a:lnTo>
                  <a:pt x="180" y="132"/>
                </a:lnTo>
                <a:lnTo>
                  <a:pt x="180" y="132"/>
                </a:lnTo>
                <a:lnTo>
                  <a:pt x="174" y="132"/>
                </a:lnTo>
                <a:lnTo>
                  <a:pt x="174" y="132"/>
                </a:lnTo>
                <a:lnTo>
                  <a:pt x="174" y="132"/>
                </a:lnTo>
                <a:lnTo>
                  <a:pt x="174" y="138"/>
                </a:lnTo>
                <a:lnTo>
                  <a:pt x="174" y="138"/>
                </a:lnTo>
                <a:lnTo>
                  <a:pt x="174" y="138"/>
                </a:lnTo>
                <a:lnTo>
                  <a:pt x="174" y="138"/>
                </a:lnTo>
                <a:lnTo>
                  <a:pt x="174" y="138"/>
                </a:lnTo>
                <a:lnTo>
                  <a:pt x="174" y="138"/>
                </a:lnTo>
                <a:lnTo>
                  <a:pt x="174" y="144"/>
                </a:lnTo>
                <a:lnTo>
                  <a:pt x="174" y="144"/>
                </a:lnTo>
                <a:lnTo>
                  <a:pt x="174" y="144"/>
                </a:lnTo>
                <a:lnTo>
                  <a:pt x="174" y="144"/>
                </a:lnTo>
                <a:lnTo>
                  <a:pt x="174" y="150"/>
                </a:lnTo>
                <a:lnTo>
                  <a:pt x="174" y="150"/>
                </a:lnTo>
                <a:lnTo>
                  <a:pt x="174" y="150"/>
                </a:lnTo>
                <a:lnTo>
                  <a:pt x="174" y="150"/>
                </a:lnTo>
                <a:lnTo>
                  <a:pt x="174" y="150"/>
                </a:lnTo>
                <a:lnTo>
                  <a:pt x="168" y="150"/>
                </a:lnTo>
                <a:lnTo>
                  <a:pt x="168" y="156"/>
                </a:lnTo>
                <a:lnTo>
                  <a:pt x="168" y="156"/>
                </a:lnTo>
                <a:lnTo>
                  <a:pt x="168" y="156"/>
                </a:lnTo>
                <a:lnTo>
                  <a:pt x="168" y="156"/>
                </a:lnTo>
                <a:lnTo>
                  <a:pt x="168" y="156"/>
                </a:lnTo>
                <a:lnTo>
                  <a:pt x="168" y="156"/>
                </a:lnTo>
                <a:lnTo>
                  <a:pt x="168" y="156"/>
                </a:lnTo>
                <a:lnTo>
                  <a:pt x="168" y="162"/>
                </a:lnTo>
                <a:lnTo>
                  <a:pt x="168" y="162"/>
                </a:lnTo>
                <a:lnTo>
                  <a:pt x="168" y="162"/>
                </a:lnTo>
                <a:lnTo>
                  <a:pt x="168" y="168"/>
                </a:lnTo>
                <a:lnTo>
                  <a:pt x="162" y="168"/>
                </a:lnTo>
                <a:lnTo>
                  <a:pt x="162" y="168"/>
                </a:lnTo>
                <a:lnTo>
                  <a:pt x="162" y="168"/>
                </a:lnTo>
                <a:lnTo>
                  <a:pt x="162" y="168"/>
                </a:lnTo>
                <a:lnTo>
                  <a:pt x="162" y="168"/>
                </a:lnTo>
                <a:lnTo>
                  <a:pt x="162" y="174"/>
                </a:lnTo>
                <a:lnTo>
                  <a:pt x="162" y="174"/>
                </a:lnTo>
                <a:lnTo>
                  <a:pt x="162" y="174"/>
                </a:lnTo>
                <a:lnTo>
                  <a:pt x="162" y="174"/>
                </a:lnTo>
                <a:lnTo>
                  <a:pt x="162" y="174"/>
                </a:lnTo>
                <a:lnTo>
                  <a:pt x="162" y="174"/>
                </a:lnTo>
                <a:lnTo>
                  <a:pt x="162" y="174"/>
                </a:lnTo>
                <a:lnTo>
                  <a:pt x="162" y="174"/>
                </a:lnTo>
                <a:lnTo>
                  <a:pt x="162" y="180"/>
                </a:lnTo>
                <a:lnTo>
                  <a:pt x="162" y="180"/>
                </a:lnTo>
                <a:lnTo>
                  <a:pt x="162" y="180"/>
                </a:lnTo>
                <a:lnTo>
                  <a:pt x="162" y="180"/>
                </a:lnTo>
                <a:lnTo>
                  <a:pt x="162" y="180"/>
                </a:lnTo>
                <a:lnTo>
                  <a:pt x="162" y="180"/>
                </a:lnTo>
                <a:lnTo>
                  <a:pt x="162" y="180"/>
                </a:lnTo>
                <a:lnTo>
                  <a:pt x="162" y="180"/>
                </a:lnTo>
                <a:lnTo>
                  <a:pt x="162" y="180"/>
                </a:lnTo>
                <a:lnTo>
                  <a:pt x="162" y="186"/>
                </a:lnTo>
                <a:lnTo>
                  <a:pt x="162" y="186"/>
                </a:lnTo>
                <a:lnTo>
                  <a:pt x="162" y="186"/>
                </a:lnTo>
                <a:lnTo>
                  <a:pt x="162" y="192"/>
                </a:lnTo>
                <a:lnTo>
                  <a:pt x="162" y="192"/>
                </a:lnTo>
                <a:lnTo>
                  <a:pt x="162" y="192"/>
                </a:lnTo>
                <a:lnTo>
                  <a:pt x="156" y="192"/>
                </a:lnTo>
                <a:lnTo>
                  <a:pt x="156" y="192"/>
                </a:lnTo>
                <a:lnTo>
                  <a:pt x="156" y="192"/>
                </a:lnTo>
                <a:lnTo>
                  <a:pt x="162" y="192"/>
                </a:lnTo>
                <a:lnTo>
                  <a:pt x="162" y="192"/>
                </a:lnTo>
                <a:lnTo>
                  <a:pt x="162" y="192"/>
                </a:lnTo>
                <a:lnTo>
                  <a:pt x="162" y="198"/>
                </a:lnTo>
                <a:lnTo>
                  <a:pt x="156" y="198"/>
                </a:lnTo>
                <a:lnTo>
                  <a:pt x="156" y="198"/>
                </a:lnTo>
                <a:lnTo>
                  <a:pt x="156" y="192"/>
                </a:lnTo>
                <a:lnTo>
                  <a:pt x="156" y="192"/>
                </a:lnTo>
                <a:lnTo>
                  <a:pt x="156" y="192"/>
                </a:lnTo>
                <a:lnTo>
                  <a:pt x="156" y="192"/>
                </a:lnTo>
                <a:lnTo>
                  <a:pt x="156" y="192"/>
                </a:lnTo>
                <a:lnTo>
                  <a:pt x="156" y="192"/>
                </a:lnTo>
                <a:lnTo>
                  <a:pt x="156" y="192"/>
                </a:lnTo>
                <a:lnTo>
                  <a:pt x="156" y="192"/>
                </a:lnTo>
                <a:lnTo>
                  <a:pt x="150" y="192"/>
                </a:lnTo>
                <a:lnTo>
                  <a:pt x="150" y="192"/>
                </a:lnTo>
                <a:lnTo>
                  <a:pt x="150" y="186"/>
                </a:lnTo>
                <a:lnTo>
                  <a:pt x="150" y="186"/>
                </a:lnTo>
                <a:lnTo>
                  <a:pt x="150" y="186"/>
                </a:lnTo>
                <a:lnTo>
                  <a:pt x="150" y="186"/>
                </a:lnTo>
                <a:lnTo>
                  <a:pt x="150" y="186"/>
                </a:lnTo>
                <a:lnTo>
                  <a:pt x="150" y="186"/>
                </a:lnTo>
                <a:lnTo>
                  <a:pt x="150" y="186"/>
                </a:lnTo>
                <a:lnTo>
                  <a:pt x="150" y="186"/>
                </a:lnTo>
                <a:lnTo>
                  <a:pt x="150" y="186"/>
                </a:lnTo>
                <a:lnTo>
                  <a:pt x="150" y="186"/>
                </a:lnTo>
                <a:lnTo>
                  <a:pt x="144" y="186"/>
                </a:lnTo>
                <a:lnTo>
                  <a:pt x="144" y="186"/>
                </a:lnTo>
                <a:lnTo>
                  <a:pt x="144" y="192"/>
                </a:lnTo>
                <a:lnTo>
                  <a:pt x="144" y="192"/>
                </a:lnTo>
                <a:lnTo>
                  <a:pt x="144" y="192"/>
                </a:lnTo>
                <a:lnTo>
                  <a:pt x="138" y="192"/>
                </a:lnTo>
                <a:lnTo>
                  <a:pt x="138" y="192"/>
                </a:lnTo>
                <a:lnTo>
                  <a:pt x="138" y="192"/>
                </a:lnTo>
                <a:lnTo>
                  <a:pt x="138" y="192"/>
                </a:lnTo>
                <a:lnTo>
                  <a:pt x="138" y="192"/>
                </a:lnTo>
                <a:lnTo>
                  <a:pt x="138" y="192"/>
                </a:lnTo>
                <a:lnTo>
                  <a:pt x="138" y="186"/>
                </a:lnTo>
                <a:lnTo>
                  <a:pt x="132" y="186"/>
                </a:lnTo>
                <a:lnTo>
                  <a:pt x="132" y="186"/>
                </a:lnTo>
                <a:lnTo>
                  <a:pt x="132" y="186"/>
                </a:lnTo>
                <a:lnTo>
                  <a:pt x="96" y="156"/>
                </a:lnTo>
                <a:lnTo>
                  <a:pt x="96" y="156"/>
                </a:lnTo>
                <a:lnTo>
                  <a:pt x="96" y="150"/>
                </a:lnTo>
                <a:lnTo>
                  <a:pt x="90" y="150"/>
                </a:lnTo>
                <a:lnTo>
                  <a:pt x="90" y="150"/>
                </a:lnTo>
                <a:lnTo>
                  <a:pt x="90" y="150"/>
                </a:lnTo>
                <a:lnTo>
                  <a:pt x="90" y="150"/>
                </a:lnTo>
                <a:lnTo>
                  <a:pt x="96" y="150"/>
                </a:lnTo>
                <a:lnTo>
                  <a:pt x="96" y="150"/>
                </a:lnTo>
                <a:lnTo>
                  <a:pt x="90" y="150"/>
                </a:lnTo>
                <a:lnTo>
                  <a:pt x="90" y="150"/>
                </a:lnTo>
                <a:lnTo>
                  <a:pt x="90" y="144"/>
                </a:lnTo>
                <a:lnTo>
                  <a:pt x="90" y="144"/>
                </a:lnTo>
                <a:lnTo>
                  <a:pt x="90" y="144"/>
                </a:lnTo>
                <a:lnTo>
                  <a:pt x="90" y="144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78" y="132"/>
                </a:lnTo>
                <a:lnTo>
                  <a:pt x="78" y="138"/>
                </a:lnTo>
                <a:lnTo>
                  <a:pt x="78" y="132"/>
                </a:lnTo>
                <a:lnTo>
                  <a:pt x="78" y="132"/>
                </a:lnTo>
                <a:lnTo>
                  <a:pt x="78" y="132"/>
                </a:lnTo>
                <a:lnTo>
                  <a:pt x="78" y="132"/>
                </a:lnTo>
                <a:lnTo>
                  <a:pt x="78" y="132"/>
                </a:lnTo>
                <a:lnTo>
                  <a:pt x="66" y="132"/>
                </a:lnTo>
                <a:lnTo>
                  <a:pt x="66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54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2" y="96"/>
                </a:lnTo>
                <a:lnTo>
                  <a:pt x="12" y="96"/>
                </a:lnTo>
                <a:lnTo>
                  <a:pt x="12" y="90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6" y="84"/>
                </a:lnTo>
                <a:lnTo>
                  <a:pt x="6" y="78"/>
                </a:ln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0" y="66"/>
                </a:lnTo>
                <a:lnTo>
                  <a:pt x="6" y="6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46" name="Freeform 479"/>
          <p:cNvSpPr>
            <a:spLocks/>
          </p:cNvSpPr>
          <p:nvPr/>
        </p:nvSpPr>
        <p:spPr bwMode="auto">
          <a:xfrm>
            <a:off x="6087392" y="4886623"/>
            <a:ext cx="128481" cy="89937"/>
          </a:xfrm>
          <a:custGeom>
            <a:avLst/>
            <a:gdLst>
              <a:gd name="T0" fmla="*/ 0 w 120"/>
              <a:gd name="T1" fmla="*/ 36 h 84"/>
              <a:gd name="T2" fmla="*/ 12 w 120"/>
              <a:gd name="T3" fmla="*/ 36 h 84"/>
              <a:gd name="T4" fmla="*/ 18 w 120"/>
              <a:gd name="T5" fmla="*/ 36 h 84"/>
              <a:gd name="T6" fmla="*/ 30 w 120"/>
              <a:gd name="T7" fmla="*/ 36 h 84"/>
              <a:gd name="T8" fmla="*/ 36 w 120"/>
              <a:gd name="T9" fmla="*/ 30 h 84"/>
              <a:gd name="T10" fmla="*/ 42 w 120"/>
              <a:gd name="T11" fmla="*/ 12 h 84"/>
              <a:gd name="T12" fmla="*/ 48 w 120"/>
              <a:gd name="T13" fmla="*/ 24 h 84"/>
              <a:gd name="T14" fmla="*/ 60 w 120"/>
              <a:gd name="T15" fmla="*/ 12 h 84"/>
              <a:gd name="T16" fmla="*/ 66 w 120"/>
              <a:gd name="T17" fmla="*/ 0 h 84"/>
              <a:gd name="T18" fmla="*/ 78 w 120"/>
              <a:gd name="T19" fmla="*/ 0 h 84"/>
              <a:gd name="T20" fmla="*/ 84 w 120"/>
              <a:gd name="T21" fmla="*/ 6 h 84"/>
              <a:gd name="T22" fmla="*/ 96 w 120"/>
              <a:gd name="T23" fmla="*/ 6 h 84"/>
              <a:gd name="T24" fmla="*/ 102 w 120"/>
              <a:gd name="T25" fmla="*/ 6 h 84"/>
              <a:gd name="T26" fmla="*/ 102 w 120"/>
              <a:gd name="T27" fmla="*/ 12 h 84"/>
              <a:gd name="T28" fmla="*/ 108 w 120"/>
              <a:gd name="T29" fmla="*/ 18 h 84"/>
              <a:gd name="T30" fmla="*/ 108 w 120"/>
              <a:gd name="T31" fmla="*/ 18 h 84"/>
              <a:gd name="T32" fmla="*/ 108 w 120"/>
              <a:gd name="T33" fmla="*/ 24 h 84"/>
              <a:gd name="T34" fmla="*/ 108 w 120"/>
              <a:gd name="T35" fmla="*/ 30 h 84"/>
              <a:gd name="T36" fmla="*/ 108 w 120"/>
              <a:gd name="T37" fmla="*/ 36 h 84"/>
              <a:gd name="T38" fmla="*/ 114 w 120"/>
              <a:gd name="T39" fmla="*/ 42 h 84"/>
              <a:gd name="T40" fmla="*/ 120 w 120"/>
              <a:gd name="T41" fmla="*/ 42 h 84"/>
              <a:gd name="T42" fmla="*/ 120 w 120"/>
              <a:gd name="T43" fmla="*/ 48 h 84"/>
              <a:gd name="T44" fmla="*/ 114 w 120"/>
              <a:gd name="T45" fmla="*/ 48 h 84"/>
              <a:gd name="T46" fmla="*/ 120 w 120"/>
              <a:gd name="T47" fmla="*/ 54 h 84"/>
              <a:gd name="T48" fmla="*/ 120 w 120"/>
              <a:gd name="T49" fmla="*/ 54 h 84"/>
              <a:gd name="T50" fmla="*/ 120 w 120"/>
              <a:gd name="T51" fmla="*/ 54 h 84"/>
              <a:gd name="T52" fmla="*/ 120 w 120"/>
              <a:gd name="T53" fmla="*/ 60 h 84"/>
              <a:gd name="T54" fmla="*/ 120 w 120"/>
              <a:gd name="T55" fmla="*/ 66 h 84"/>
              <a:gd name="T56" fmla="*/ 114 w 120"/>
              <a:gd name="T57" fmla="*/ 66 h 84"/>
              <a:gd name="T58" fmla="*/ 114 w 120"/>
              <a:gd name="T59" fmla="*/ 66 h 84"/>
              <a:gd name="T60" fmla="*/ 114 w 120"/>
              <a:gd name="T61" fmla="*/ 72 h 84"/>
              <a:gd name="T62" fmla="*/ 96 w 120"/>
              <a:gd name="T63" fmla="*/ 66 h 84"/>
              <a:gd name="T64" fmla="*/ 90 w 120"/>
              <a:gd name="T65" fmla="*/ 72 h 84"/>
              <a:gd name="T66" fmla="*/ 96 w 120"/>
              <a:gd name="T67" fmla="*/ 78 h 84"/>
              <a:gd name="T68" fmla="*/ 96 w 120"/>
              <a:gd name="T69" fmla="*/ 78 h 84"/>
              <a:gd name="T70" fmla="*/ 90 w 120"/>
              <a:gd name="T71" fmla="*/ 78 h 84"/>
              <a:gd name="T72" fmla="*/ 78 w 120"/>
              <a:gd name="T73" fmla="*/ 84 h 84"/>
              <a:gd name="T74" fmla="*/ 66 w 120"/>
              <a:gd name="T75" fmla="*/ 84 h 84"/>
              <a:gd name="T76" fmla="*/ 66 w 120"/>
              <a:gd name="T77" fmla="*/ 84 h 84"/>
              <a:gd name="T78" fmla="*/ 60 w 120"/>
              <a:gd name="T79" fmla="*/ 78 h 84"/>
              <a:gd name="T80" fmla="*/ 60 w 120"/>
              <a:gd name="T81" fmla="*/ 78 h 84"/>
              <a:gd name="T82" fmla="*/ 54 w 120"/>
              <a:gd name="T83" fmla="*/ 78 h 84"/>
              <a:gd name="T84" fmla="*/ 48 w 120"/>
              <a:gd name="T85" fmla="*/ 72 h 84"/>
              <a:gd name="T86" fmla="*/ 48 w 120"/>
              <a:gd name="T87" fmla="*/ 72 h 84"/>
              <a:gd name="T88" fmla="*/ 42 w 120"/>
              <a:gd name="T89" fmla="*/ 72 h 84"/>
              <a:gd name="T90" fmla="*/ 42 w 120"/>
              <a:gd name="T91" fmla="*/ 72 h 84"/>
              <a:gd name="T92" fmla="*/ 42 w 120"/>
              <a:gd name="T93" fmla="*/ 66 h 84"/>
              <a:gd name="T94" fmla="*/ 36 w 120"/>
              <a:gd name="T95" fmla="*/ 60 h 84"/>
              <a:gd name="T96" fmla="*/ 36 w 120"/>
              <a:gd name="T97" fmla="*/ 60 h 84"/>
              <a:gd name="T98" fmla="*/ 36 w 120"/>
              <a:gd name="T99" fmla="*/ 60 h 84"/>
              <a:gd name="T100" fmla="*/ 24 w 120"/>
              <a:gd name="T101" fmla="*/ 72 h 84"/>
              <a:gd name="T102" fmla="*/ 12 w 120"/>
              <a:gd name="T103" fmla="*/ 66 h 84"/>
              <a:gd name="T104" fmla="*/ 12 w 120"/>
              <a:gd name="T105" fmla="*/ 60 h 84"/>
              <a:gd name="T106" fmla="*/ 6 w 120"/>
              <a:gd name="T107" fmla="*/ 54 h 84"/>
              <a:gd name="T108" fmla="*/ 6 w 120"/>
              <a:gd name="T109" fmla="*/ 54 h 84"/>
              <a:gd name="T110" fmla="*/ 0 w 120"/>
              <a:gd name="T111" fmla="*/ 54 h 84"/>
              <a:gd name="T112" fmla="*/ 0 w 120"/>
              <a:gd name="T113" fmla="*/ 48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20" h="84">
                <a:moveTo>
                  <a:pt x="0" y="42"/>
                </a:moveTo>
                <a:lnTo>
                  <a:pt x="0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24" y="36"/>
                </a:lnTo>
                <a:lnTo>
                  <a:pt x="24" y="42"/>
                </a:lnTo>
                <a:lnTo>
                  <a:pt x="24" y="42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0"/>
                </a:lnTo>
                <a:lnTo>
                  <a:pt x="30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18"/>
                </a:lnTo>
                <a:lnTo>
                  <a:pt x="36" y="18"/>
                </a:lnTo>
                <a:lnTo>
                  <a:pt x="42" y="12"/>
                </a:lnTo>
                <a:lnTo>
                  <a:pt x="42" y="12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8" y="18"/>
                </a:lnTo>
                <a:lnTo>
                  <a:pt x="48" y="24"/>
                </a:lnTo>
                <a:lnTo>
                  <a:pt x="48" y="24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0"/>
                </a:lnTo>
                <a:lnTo>
                  <a:pt x="66" y="0"/>
                </a:lnTo>
                <a:lnTo>
                  <a:pt x="72" y="0"/>
                </a:lnTo>
                <a:lnTo>
                  <a:pt x="72" y="0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84" y="0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90" y="6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8" y="18"/>
                </a:lnTo>
                <a:lnTo>
                  <a:pt x="108" y="12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14" y="48"/>
                </a:lnTo>
                <a:lnTo>
                  <a:pt x="114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54"/>
                </a:lnTo>
                <a:lnTo>
                  <a:pt x="114" y="54"/>
                </a:lnTo>
                <a:lnTo>
                  <a:pt x="120" y="54"/>
                </a:lnTo>
                <a:lnTo>
                  <a:pt x="120" y="54"/>
                </a:lnTo>
                <a:lnTo>
                  <a:pt x="114" y="54"/>
                </a:lnTo>
                <a:lnTo>
                  <a:pt x="114" y="54"/>
                </a:lnTo>
                <a:lnTo>
                  <a:pt x="120" y="54"/>
                </a:lnTo>
                <a:lnTo>
                  <a:pt x="120" y="54"/>
                </a:lnTo>
                <a:lnTo>
                  <a:pt x="114" y="54"/>
                </a:lnTo>
                <a:lnTo>
                  <a:pt x="114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14" y="54"/>
                </a:lnTo>
                <a:lnTo>
                  <a:pt x="120" y="54"/>
                </a:lnTo>
                <a:lnTo>
                  <a:pt x="120" y="60"/>
                </a:lnTo>
                <a:lnTo>
                  <a:pt x="120" y="54"/>
                </a:lnTo>
                <a:lnTo>
                  <a:pt x="114" y="60"/>
                </a:lnTo>
                <a:lnTo>
                  <a:pt x="120" y="60"/>
                </a:lnTo>
                <a:lnTo>
                  <a:pt x="114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14" y="66"/>
                </a:lnTo>
                <a:lnTo>
                  <a:pt x="120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20" y="66"/>
                </a:lnTo>
                <a:lnTo>
                  <a:pt x="114" y="66"/>
                </a:lnTo>
                <a:lnTo>
                  <a:pt x="114" y="66"/>
                </a:lnTo>
                <a:lnTo>
                  <a:pt x="120" y="66"/>
                </a:lnTo>
                <a:lnTo>
                  <a:pt x="120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08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6" y="72"/>
                </a:lnTo>
                <a:lnTo>
                  <a:pt x="96" y="78"/>
                </a:lnTo>
                <a:lnTo>
                  <a:pt x="96" y="72"/>
                </a:lnTo>
                <a:lnTo>
                  <a:pt x="96" y="78"/>
                </a:lnTo>
                <a:lnTo>
                  <a:pt x="96" y="78"/>
                </a:lnTo>
                <a:lnTo>
                  <a:pt x="90" y="78"/>
                </a:lnTo>
                <a:lnTo>
                  <a:pt x="90" y="78"/>
                </a:lnTo>
                <a:lnTo>
                  <a:pt x="96" y="78"/>
                </a:lnTo>
                <a:lnTo>
                  <a:pt x="90" y="78"/>
                </a:lnTo>
                <a:lnTo>
                  <a:pt x="96" y="78"/>
                </a:lnTo>
                <a:lnTo>
                  <a:pt x="90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0" y="84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84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54" y="78"/>
                </a:lnTo>
                <a:lnTo>
                  <a:pt x="54" y="78"/>
                </a:lnTo>
                <a:lnTo>
                  <a:pt x="60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48" y="78"/>
                </a:lnTo>
                <a:lnTo>
                  <a:pt x="48" y="78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36" y="66"/>
                </a:lnTo>
                <a:lnTo>
                  <a:pt x="42" y="66"/>
                </a:lnTo>
                <a:lnTo>
                  <a:pt x="36" y="60"/>
                </a:lnTo>
                <a:lnTo>
                  <a:pt x="42" y="66"/>
                </a:lnTo>
                <a:lnTo>
                  <a:pt x="42" y="66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0" y="60"/>
                </a:lnTo>
                <a:lnTo>
                  <a:pt x="30" y="60"/>
                </a:lnTo>
                <a:lnTo>
                  <a:pt x="30" y="66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18" y="66"/>
                </a:lnTo>
                <a:lnTo>
                  <a:pt x="18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54"/>
                </a:lnTo>
                <a:lnTo>
                  <a:pt x="12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0" y="48"/>
                </a:lnTo>
                <a:lnTo>
                  <a:pt x="0" y="54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47" name="Freeform 480"/>
          <p:cNvSpPr>
            <a:spLocks/>
          </p:cNvSpPr>
          <p:nvPr/>
        </p:nvSpPr>
        <p:spPr bwMode="auto">
          <a:xfrm>
            <a:off x="6209449" y="4931592"/>
            <a:ext cx="141329" cy="141330"/>
          </a:xfrm>
          <a:custGeom>
            <a:avLst/>
            <a:gdLst>
              <a:gd name="T0" fmla="*/ 6 w 132"/>
              <a:gd name="T1" fmla="*/ 54 h 132"/>
              <a:gd name="T2" fmla="*/ 12 w 132"/>
              <a:gd name="T3" fmla="*/ 42 h 132"/>
              <a:gd name="T4" fmla="*/ 6 w 132"/>
              <a:gd name="T5" fmla="*/ 42 h 132"/>
              <a:gd name="T6" fmla="*/ 6 w 132"/>
              <a:gd name="T7" fmla="*/ 36 h 132"/>
              <a:gd name="T8" fmla="*/ 18 w 132"/>
              <a:gd name="T9" fmla="*/ 36 h 132"/>
              <a:gd name="T10" fmla="*/ 24 w 132"/>
              <a:gd name="T11" fmla="*/ 30 h 132"/>
              <a:gd name="T12" fmla="*/ 24 w 132"/>
              <a:gd name="T13" fmla="*/ 18 h 132"/>
              <a:gd name="T14" fmla="*/ 36 w 132"/>
              <a:gd name="T15" fmla="*/ 18 h 132"/>
              <a:gd name="T16" fmla="*/ 42 w 132"/>
              <a:gd name="T17" fmla="*/ 12 h 132"/>
              <a:gd name="T18" fmla="*/ 42 w 132"/>
              <a:gd name="T19" fmla="*/ 6 h 132"/>
              <a:gd name="T20" fmla="*/ 48 w 132"/>
              <a:gd name="T21" fmla="*/ 6 h 132"/>
              <a:gd name="T22" fmla="*/ 54 w 132"/>
              <a:gd name="T23" fmla="*/ 12 h 132"/>
              <a:gd name="T24" fmla="*/ 48 w 132"/>
              <a:gd name="T25" fmla="*/ 18 h 132"/>
              <a:gd name="T26" fmla="*/ 54 w 132"/>
              <a:gd name="T27" fmla="*/ 18 h 132"/>
              <a:gd name="T28" fmla="*/ 60 w 132"/>
              <a:gd name="T29" fmla="*/ 18 h 132"/>
              <a:gd name="T30" fmla="*/ 66 w 132"/>
              <a:gd name="T31" fmla="*/ 24 h 132"/>
              <a:gd name="T32" fmla="*/ 66 w 132"/>
              <a:gd name="T33" fmla="*/ 30 h 132"/>
              <a:gd name="T34" fmla="*/ 66 w 132"/>
              <a:gd name="T35" fmla="*/ 30 h 132"/>
              <a:gd name="T36" fmla="*/ 66 w 132"/>
              <a:gd name="T37" fmla="*/ 36 h 132"/>
              <a:gd name="T38" fmla="*/ 72 w 132"/>
              <a:gd name="T39" fmla="*/ 42 h 132"/>
              <a:gd name="T40" fmla="*/ 72 w 132"/>
              <a:gd name="T41" fmla="*/ 42 h 132"/>
              <a:gd name="T42" fmla="*/ 78 w 132"/>
              <a:gd name="T43" fmla="*/ 48 h 132"/>
              <a:gd name="T44" fmla="*/ 78 w 132"/>
              <a:gd name="T45" fmla="*/ 54 h 132"/>
              <a:gd name="T46" fmla="*/ 84 w 132"/>
              <a:gd name="T47" fmla="*/ 54 h 132"/>
              <a:gd name="T48" fmla="*/ 90 w 132"/>
              <a:gd name="T49" fmla="*/ 54 h 132"/>
              <a:gd name="T50" fmla="*/ 102 w 132"/>
              <a:gd name="T51" fmla="*/ 54 h 132"/>
              <a:gd name="T52" fmla="*/ 114 w 132"/>
              <a:gd name="T53" fmla="*/ 60 h 132"/>
              <a:gd name="T54" fmla="*/ 102 w 132"/>
              <a:gd name="T55" fmla="*/ 72 h 132"/>
              <a:gd name="T56" fmla="*/ 102 w 132"/>
              <a:gd name="T57" fmla="*/ 78 h 132"/>
              <a:gd name="T58" fmla="*/ 114 w 132"/>
              <a:gd name="T59" fmla="*/ 84 h 132"/>
              <a:gd name="T60" fmla="*/ 126 w 132"/>
              <a:gd name="T61" fmla="*/ 90 h 132"/>
              <a:gd name="T62" fmla="*/ 132 w 132"/>
              <a:gd name="T63" fmla="*/ 96 h 132"/>
              <a:gd name="T64" fmla="*/ 126 w 132"/>
              <a:gd name="T65" fmla="*/ 102 h 132"/>
              <a:gd name="T66" fmla="*/ 120 w 132"/>
              <a:gd name="T67" fmla="*/ 102 h 132"/>
              <a:gd name="T68" fmla="*/ 126 w 132"/>
              <a:gd name="T69" fmla="*/ 108 h 132"/>
              <a:gd name="T70" fmla="*/ 132 w 132"/>
              <a:gd name="T71" fmla="*/ 114 h 132"/>
              <a:gd name="T72" fmla="*/ 126 w 132"/>
              <a:gd name="T73" fmla="*/ 120 h 132"/>
              <a:gd name="T74" fmla="*/ 126 w 132"/>
              <a:gd name="T75" fmla="*/ 120 h 132"/>
              <a:gd name="T76" fmla="*/ 126 w 132"/>
              <a:gd name="T77" fmla="*/ 126 h 132"/>
              <a:gd name="T78" fmla="*/ 120 w 132"/>
              <a:gd name="T79" fmla="*/ 132 h 132"/>
              <a:gd name="T80" fmla="*/ 114 w 132"/>
              <a:gd name="T81" fmla="*/ 132 h 132"/>
              <a:gd name="T82" fmla="*/ 108 w 132"/>
              <a:gd name="T83" fmla="*/ 120 h 132"/>
              <a:gd name="T84" fmla="*/ 102 w 132"/>
              <a:gd name="T85" fmla="*/ 120 h 132"/>
              <a:gd name="T86" fmla="*/ 90 w 132"/>
              <a:gd name="T87" fmla="*/ 120 h 132"/>
              <a:gd name="T88" fmla="*/ 84 w 132"/>
              <a:gd name="T89" fmla="*/ 114 h 132"/>
              <a:gd name="T90" fmla="*/ 72 w 132"/>
              <a:gd name="T91" fmla="*/ 114 h 132"/>
              <a:gd name="T92" fmla="*/ 72 w 132"/>
              <a:gd name="T93" fmla="*/ 108 h 132"/>
              <a:gd name="T94" fmla="*/ 60 w 132"/>
              <a:gd name="T95" fmla="*/ 108 h 132"/>
              <a:gd name="T96" fmla="*/ 60 w 132"/>
              <a:gd name="T97" fmla="*/ 102 h 132"/>
              <a:gd name="T98" fmla="*/ 60 w 132"/>
              <a:gd name="T99" fmla="*/ 102 h 132"/>
              <a:gd name="T100" fmla="*/ 48 w 132"/>
              <a:gd name="T101" fmla="*/ 90 h 132"/>
              <a:gd name="T102" fmla="*/ 42 w 132"/>
              <a:gd name="T103" fmla="*/ 90 h 132"/>
              <a:gd name="T104" fmla="*/ 36 w 132"/>
              <a:gd name="T105" fmla="*/ 90 h 132"/>
              <a:gd name="T106" fmla="*/ 30 w 132"/>
              <a:gd name="T107" fmla="*/ 90 h 132"/>
              <a:gd name="T108" fmla="*/ 24 w 132"/>
              <a:gd name="T109" fmla="*/ 78 h 132"/>
              <a:gd name="T110" fmla="*/ 18 w 132"/>
              <a:gd name="T111" fmla="*/ 84 h 132"/>
              <a:gd name="T112" fmla="*/ 12 w 132"/>
              <a:gd name="T113" fmla="*/ 84 h 132"/>
              <a:gd name="T114" fmla="*/ 0 w 132"/>
              <a:gd name="T115" fmla="*/ 78 h 132"/>
              <a:gd name="T116" fmla="*/ 0 w 132"/>
              <a:gd name="T117" fmla="*/ 66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32" h="132">
                <a:moveTo>
                  <a:pt x="0" y="60"/>
                </a:moveTo>
                <a:lnTo>
                  <a:pt x="0" y="66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12" y="54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6" y="42"/>
                </a:lnTo>
                <a:lnTo>
                  <a:pt x="12" y="42"/>
                </a:lnTo>
                <a:lnTo>
                  <a:pt x="12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24" y="36"/>
                </a:lnTo>
                <a:lnTo>
                  <a:pt x="24" y="36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30" y="30"/>
                </a:lnTo>
                <a:lnTo>
                  <a:pt x="30" y="30"/>
                </a:lnTo>
                <a:lnTo>
                  <a:pt x="24" y="30"/>
                </a:lnTo>
                <a:lnTo>
                  <a:pt x="24" y="30"/>
                </a:lnTo>
                <a:lnTo>
                  <a:pt x="30" y="24"/>
                </a:lnTo>
                <a:lnTo>
                  <a:pt x="24" y="24"/>
                </a:lnTo>
                <a:lnTo>
                  <a:pt x="30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30" y="24"/>
                </a:lnTo>
                <a:lnTo>
                  <a:pt x="24" y="18"/>
                </a:lnTo>
                <a:lnTo>
                  <a:pt x="24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42" y="18"/>
                </a:lnTo>
                <a:lnTo>
                  <a:pt x="42" y="18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0"/>
                </a:lnTo>
                <a:lnTo>
                  <a:pt x="42" y="0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0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0" y="18"/>
                </a:lnTo>
                <a:lnTo>
                  <a:pt x="60" y="18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72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6"/>
                </a:lnTo>
                <a:lnTo>
                  <a:pt x="66" y="36"/>
                </a:lnTo>
                <a:lnTo>
                  <a:pt x="72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42"/>
                </a:lnTo>
                <a:lnTo>
                  <a:pt x="66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8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8"/>
                </a:lnTo>
                <a:lnTo>
                  <a:pt x="72" y="48"/>
                </a:lnTo>
                <a:lnTo>
                  <a:pt x="72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8" y="54"/>
                </a:lnTo>
                <a:lnTo>
                  <a:pt x="108" y="60"/>
                </a:lnTo>
                <a:lnTo>
                  <a:pt x="102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14" y="60"/>
                </a:lnTo>
                <a:lnTo>
                  <a:pt x="114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2" y="66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14" y="78"/>
                </a:lnTo>
                <a:lnTo>
                  <a:pt x="114" y="78"/>
                </a:lnTo>
                <a:lnTo>
                  <a:pt x="114" y="84"/>
                </a:lnTo>
                <a:lnTo>
                  <a:pt x="114" y="78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90"/>
                </a:lnTo>
                <a:lnTo>
                  <a:pt x="126" y="90"/>
                </a:lnTo>
                <a:lnTo>
                  <a:pt x="126" y="90"/>
                </a:lnTo>
                <a:lnTo>
                  <a:pt x="126" y="90"/>
                </a:lnTo>
                <a:lnTo>
                  <a:pt x="126" y="90"/>
                </a:lnTo>
                <a:lnTo>
                  <a:pt x="126" y="90"/>
                </a:lnTo>
                <a:lnTo>
                  <a:pt x="126" y="90"/>
                </a:lnTo>
                <a:lnTo>
                  <a:pt x="126" y="96"/>
                </a:lnTo>
                <a:lnTo>
                  <a:pt x="126" y="96"/>
                </a:lnTo>
                <a:lnTo>
                  <a:pt x="132" y="96"/>
                </a:lnTo>
                <a:lnTo>
                  <a:pt x="132" y="96"/>
                </a:lnTo>
                <a:lnTo>
                  <a:pt x="132" y="102"/>
                </a:lnTo>
                <a:lnTo>
                  <a:pt x="132" y="102"/>
                </a:lnTo>
                <a:lnTo>
                  <a:pt x="132" y="102"/>
                </a:lnTo>
                <a:lnTo>
                  <a:pt x="126" y="102"/>
                </a:lnTo>
                <a:lnTo>
                  <a:pt x="126" y="102"/>
                </a:lnTo>
                <a:lnTo>
                  <a:pt x="126" y="102"/>
                </a:lnTo>
                <a:lnTo>
                  <a:pt x="126" y="102"/>
                </a:lnTo>
                <a:lnTo>
                  <a:pt x="126" y="102"/>
                </a:lnTo>
                <a:lnTo>
                  <a:pt x="126" y="102"/>
                </a:lnTo>
                <a:lnTo>
                  <a:pt x="126" y="102"/>
                </a:lnTo>
                <a:lnTo>
                  <a:pt x="126" y="102"/>
                </a:lnTo>
                <a:lnTo>
                  <a:pt x="126" y="102"/>
                </a:lnTo>
                <a:lnTo>
                  <a:pt x="126" y="102"/>
                </a:lnTo>
                <a:lnTo>
                  <a:pt x="126" y="102"/>
                </a:lnTo>
                <a:lnTo>
                  <a:pt x="126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8"/>
                </a:lnTo>
                <a:lnTo>
                  <a:pt x="120" y="108"/>
                </a:lnTo>
                <a:lnTo>
                  <a:pt x="126" y="108"/>
                </a:lnTo>
                <a:lnTo>
                  <a:pt x="126" y="108"/>
                </a:lnTo>
                <a:lnTo>
                  <a:pt x="126" y="108"/>
                </a:lnTo>
                <a:lnTo>
                  <a:pt x="126" y="108"/>
                </a:lnTo>
                <a:lnTo>
                  <a:pt x="126" y="108"/>
                </a:lnTo>
                <a:lnTo>
                  <a:pt x="126" y="108"/>
                </a:lnTo>
                <a:lnTo>
                  <a:pt x="126" y="108"/>
                </a:lnTo>
                <a:lnTo>
                  <a:pt x="126" y="108"/>
                </a:lnTo>
                <a:lnTo>
                  <a:pt x="126" y="108"/>
                </a:lnTo>
                <a:lnTo>
                  <a:pt x="132" y="108"/>
                </a:lnTo>
                <a:lnTo>
                  <a:pt x="132" y="108"/>
                </a:lnTo>
                <a:lnTo>
                  <a:pt x="132" y="108"/>
                </a:lnTo>
                <a:lnTo>
                  <a:pt x="132" y="108"/>
                </a:lnTo>
                <a:lnTo>
                  <a:pt x="132" y="114"/>
                </a:lnTo>
                <a:lnTo>
                  <a:pt x="132" y="114"/>
                </a:lnTo>
                <a:lnTo>
                  <a:pt x="132" y="114"/>
                </a:lnTo>
                <a:lnTo>
                  <a:pt x="126" y="114"/>
                </a:lnTo>
                <a:lnTo>
                  <a:pt x="126" y="114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6"/>
                </a:lnTo>
                <a:lnTo>
                  <a:pt x="126" y="120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0" y="126"/>
                </a:lnTo>
                <a:lnTo>
                  <a:pt x="120" y="126"/>
                </a:lnTo>
                <a:lnTo>
                  <a:pt x="120" y="132"/>
                </a:lnTo>
                <a:lnTo>
                  <a:pt x="120" y="132"/>
                </a:lnTo>
                <a:lnTo>
                  <a:pt x="120" y="132"/>
                </a:lnTo>
                <a:lnTo>
                  <a:pt x="120" y="132"/>
                </a:lnTo>
                <a:lnTo>
                  <a:pt x="120" y="132"/>
                </a:lnTo>
                <a:lnTo>
                  <a:pt x="120" y="132"/>
                </a:lnTo>
                <a:lnTo>
                  <a:pt x="120" y="132"/>
                </a:lnTo>
                <a:lnTo>
                  <a:pt x="120" y="132"/>
                </a:lnTo>
                <a:lnTo>
                  <a:pt x="114" y="132"/>
                </a:lnTo>
                <a:lnTo>
                  <a:pt x="120" y="132"/>
                </a:lnTo>
                <a:lnTo>
                  <a:pt x="114" y="132"/>
                </a:lnTo>
                <a:lnTo>
                  <a:pt x="120" y="132"/>
                </a:lnTo>
                <a:lnTo>
                  <a:pt x="120" y="132"/>
                </a:lnTo>
                <a:lnTo>
                  <a:pt x="120" y="126"/>
                </a:lnTo>
                <a:lnTo>
                  <a:pt x="114" y="126"/>
                </a:lnTo>
                <a:lnTo>
                  <a:pt x="114" y="126"/>
                </a:lnTo>
                <a:lnTo>
                  <a:pt x="114" y="126"/>
                </a:lnTo>
                <a:lnTo>
                  <a:pt x="114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08"/>
                </a:lnTo>
                <a:lnTo>
                  <a:pt x="72" y="114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6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0"/>
                </a:lnTo>
                <a:lnTo>
                  <a:pt x="54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0" y="90"/>
                </a:lnTo>
                <a:lnTo>
                  <a:pt x="30" y="84"/>
                </a:lnTo>
                <a:lnTo>
                  <a:pt x="30" y="84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24" y="90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78"/>
                </a:lnTo>
                <a:lnTo>
                  <a:pt x="24" y="84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18" y="78"/>
                </a:lnTo>
                <a:lnTo>
                  <a:pt x="18" y="78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2" y="84"/>
                </a:lnTo>
                <a:lnTo>
                  <a:pt x="12" y="84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6" y="78"/>
                </a:lnTo>
                <a:lnTo>
                  <a:pt x="12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0" y="78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48" name="Freeform 481"/>
          <p:cNvSpPr>
            <a:spLocks/>
          </p:cNvSpPr>
          <p:nvPr/>
        </p:nvSpPr>
        <p:spPr bwMode="auto">
          <a:xfrm>
            <a:off x="6440715" y="4931592"/>
            <a:ext cx="89937" cy="102786"/>
          </a:xfrm>
          <a:custGeom>
            <a:avLst/>
            <a:gdLst>
              <a:gd name="T0" fmla="*/ 0 w 84"/>
              <a:gd name="T1" fmla="*/ 42 h 96"/>
              <a:gd name="T2" fmla="*/ 0 w 84"/>
              <a:gd name="T3" fmla="*/ 42 h 96"/>
              <a:gd name="T4" fmla="*/ 6 w 84"/>
              <a:gd name="T5" fmla="*/ 36 h 96"/>
              <a:gd name="T6" fmla="*/ 6 w 84"/>
              <a:gd name="T7" fmla="*/ 30 h 96"/>
              <a:gd name="T8" fmla="*/ 6 w 84"/>
              <a:gd name="T9" fmla="*/ 30 h 96"/>
              <a:gd name="T10" fmla="*/ 6 w 84"/>
              <a:gd name="T11" fmla="*/ 24 h 96"/>
              <a:gd name="T12" fmla="*/ 12 w 84"/>
              <a:gd name="T13" fmla="*/ 18 h 96"/>
              <a:gd name="T14" fmla="*/ 12 w 84"/>
              <a:gd name="T15" fmla="*/ 12 h 96"/>
              <a:gd name="T16" fmla="*/ 12 w 84"/>
              <a:gd name="T17" fmla="*/ 12 h 96"/>
              <a:gd name="T18" fmla="*/ 18 w 84"/>
              <a:gd name="T19" fmla="*/ 6 h 96"/>
              <a:gd name="T20" fmla="*/ 18 w 84"/>
              <a:gd name="T21" fmla="*/ 6 h 96"/>
              <a:gd name="T22" fmla="*/ 24 w 84"/>
              <a:gd name="T23" fmla="*/ 6 h 96"/>
              <a:gd name="T24" fmla="*/ 30 w 84"/>
              <a:gd name="T25" fmla="*/ 6 h 96"/>
              <a:gd name="T26" fmla="*/ 36 w 84"/>
              <a:gd name="T27" fmla="*/ 0 h 96"/>
              <a:gd name="T28" fmla="*/ 36 w 84"/>
              <a:gd name="T29" fmla="*/ 6 h 96"/>
              <a:gd name="T30" fmla="*/ 42 w 84"/>
              <a:gd name="T31" fmla="*/ 6 h 96"/>
              <a:gd name="T32" fmla="*/ 42 w 84"/>
              <a:gd name="T33" fmla="*/ 12 h 96"/>
              <a:gd name="T34" fmla="*/ 48 w 84"/>
              <a:gd name="T35" fmla="*/ 12 h 96"/>
              <a:gd name="T36" fmla="*/ 48 w 84"/>
              <a:gd name="T37" fmla="*/ 18 h 96"/>
              <a:gd name="T38" fmla="*/ 54 w 84"/>
              <a:gd name="T39" fmla="*/ 12 h 96"/>
              <a:gd name="T40" fmla="*/ 60 w 84"/>
              <a:gd name="T41" fmla="*/ 12 h 96"/>
              <a:gd name="T42" fmla="*/ 66 w 84"/>
              <a:gd name="T43" fmla="*/ 24 h 96"/>
              <a:gd name="T44" fmla="*/ 72 w 84"/>
              <a:gd name="T45" fmla="*/ 24 h 96"/>
              <a:gd name="T46" fmla="*/ 72 w 84"/>
              <a:gd name="T47" fmla="*/ 18 h 96"/>
              <a:gd name="T48" fmla="*/ 78 w 84"/>
              <a:gd name="T49" fmla="*/ 30 h 96"/>
              <a:gd name="T50" fmla="*/ 84 w 84"/>
              <a:gd name="T51" fmla="*/ 30 h 96"/>
              <a:gd name="T52" fmla="*/ 84 w 84"/>
              <a:gd name="T53" fmla="*/ 36 h 96"/>
              <a:gd name="T54" fmla="*/ 84 w 84"/>
              <a:gd name="T55" fmla="*/ 36 h 96"/>
              <a:gd name="T56" fmla="*/ 78 w 84"/>
              <a:gd name="T57" fmla="*/ 42 h 96"/>
              <a:gd name="T58" fmla="*/ 78 w 84"/>
              <a:gd name="T59" fmla="*/ 42 h 96"/>
              <a:gd name="T60" fmla="*/ 72 w 84"/>
              <a:gd name="T61" fmla="*/ 48 h 96"/>
              <a:gd name="T62" fmla="*/ 72 w 84"/>
              <a:gd name="T63" fmla="*/ 54 h 96"/>
              <a:gd name="T64" fmla="*/ 72 w 84"/>
              <a:gd name="T65" fmla="*/ 54 h 96"/>
              <a:gd name="T66" fmla="*/ 66 w 84"/>
              <a:gd name="T67" fmla="*/ 60 h 96"/>
              <a:gd name="T68" fmla="*/ 54 w 84"/>
              <a:gd name="T69" fmla="*/ 66 h 96"/>
              <a:gd name="T70" fmla="*/ 48 w 84"/>
              <a:gd name="T71" fmla="*/ 66 h 96"/>
              <a:gd name="T72" fmla="*/ 42 w 84"/>
              <a:gd name="T73" fmla="*/ 66 h 96"/>
              <a:gd name="T74" fmla="*/ 36 w 84"/>
              <a:gd name="T75" fmla="*/ 66 h 96"/>
              <a:gd name="T76" fmla="*/ 36 w 84"/>
              <a:gd name="T77" fmla="*/ 72 h 96"/>
              <a:gd name="T78" fmla="*/ 36 w 84"/>
              <a:gd name="T79" fmla="*/ 72 h 96"/>
              <a:gd name="T80" fmla="*/ 42 w 84"/>
              <a:gd name="T81" fmla="*/ 78 h 96"/>
              <a:gd name="T82" fmla="*/ 42 w 84"/>
              <a:gd name="T83" fmla="*/ 84 h 96"/>
              <a:gd name="T84" fmla="*/ 42 w 84"/>
              <a:gd name="T85" fmla="*/ 84 h 96"/>
              <a:gd name="T86" fmla="*/ 36 w 84"/>
              <a:gd name="T87" fmla="*/ 90 h 96"/>
              <a:gd name="T88" fmla="*/ 30 w 84"/>
              <a:gd name="T89" fmla="*/ 90 h 96"/>
              <a:gd name="T90" fmla="*/ 30 w 84"/>
              <a:gd name="T91" fmla="*/ 96 h 96"/>
              <a:gd name="T92" fmla="*/ 24 w 84"/>
              <a:gd name="T93" fmla="*/ 96 h 96"/>
              <a:gd name="T94" fmla="*/ 12 w 84"/>
              <a:gd name="T95" fmla="*/ 90 h 96"/>
              <a:gd name="T96" fmla="*/ 6 w 84"/>
              <a:gd name="T97" fmla="*/ 90 h 96"/>
              <a:gd name="T98" fmla="*/ 6 w 84"/>
              <a:gd name="T99" fmla="*/ 84 h 96"/>
              <a:gd name="T100" fmla="*/ 6 w 84"/>
              <a:gd name="T101" fmla="*/ 84 h 96"/>
              <a:gd name="T102" fmla="*/ 6 w 84"/>
              <a:gd name="T103" fmla="*/ 78 h 96"/>
              <a:gd name="T104" fmla="*/ 6 w 84"/>
              <a:gd name="T105" fmla="*/ 78 h 96"/>
              <a:gd name="T106" fmla="*/ 6 w 84"/>
              <a:gd name="T107" fmla="*/ 72 h 96"/>
              <a:gd name="T108" fmla="*/ 0 w 84"/>
              <a:gd name="T109" fmla="*/ 72 h 96"/>
              <a:gd name="T110" fmla="*/ 6 w 84"/>
              <a:gd name="T111" fmla="*/ 66 h 96"/>
              <a:gd name="T112" fmla="*/ 0 w 84"/>
              <a:gd name="T113" fmla="*/ 66 h 96"/>
              <a:gd name="T114" fmla="*/ 6 w 84"/>
              <a:gd name="T115" fmla="*/ 60 h 96"/>
              <a:gd name="T116" fmla="*/ 0 w 84"/>
              <a:gd name="T117" fmla="*/ 60 h 96"/>
              <a:gd name="T118" fmla="*/ 0 w 84"/>
              <a:gd name="T119" fmla="*/ 54 h 96"/>
              <a:gd name="T120" fmla="*/ 0 w 84"/>
              <a:gd name="T121" fmla="*/ 54 h 96"/>
              <a:gd name="T122" fmla="*/ 6 w 84"/>
              <a:gd name="T123" fmla="*/ 48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4" h="96">
                <a:moveTo>
                  <a:pt x="0" y="48"/>
                </a:move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0" y="36"/>
                </a:lnTo>
                <a:lnTo>
                  <a:pt x="0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12" y="30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12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12" y="24"/>
                </a:lnTo>
                <a:lnTo>
                  <a:pt x="12" y="18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6"/>
                </a:lnTo>
                <a:lnTo>
                  <a:pt x="18" y="12"/>
                </a:lnTo>
                <a:lnTo>
                  <a:pt x="18" y="12"/>
                </a:lnTo>
                <a:lnTo>
                  <a:pt x="12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6" y="0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8"/>
                </a:lnTo>
                <a:lnTo>
                  <a:pt x="60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18"/>
                </a:lnTo>
                <a:lnTo>
                  <a:pt x="72" y="18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30"/>
                </a:lnTo>
                <a:lnTo>
                  <a:pt x="78" y="30"/>
                </a:lnTo>
                <a:lnTo>
                  <a:pt x="78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78" y="36"/>
                </a:lnTo>
                <a:lnTo>
                  <a:pt x="78" y="36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60"/>
                </a:lnTo>
                <a:lnTo>
                  <a:pt x="66" y="60"/>
                </a:lnTo>
                <a:lnTo>
                  <a:pt x="72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6"/>
                </a:lnTo>
                <a:lnTo>
                  <a:pt x="60" y="66"/>
                </a:lnTo>
                <a:lnTo>
                  <a:pt x="60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72"/>
                </a:lnTo>
                <a:lnTo>
                  <a:pt x="42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90"/>
                </a:lnTo>
                <a:lnTo>
                  <a:pt x="42" y="84"/>
                </a:lnTo>
                <a:lnTo>
                  <a:pt x="42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24" y="96"/>
                </a:lnTo>
                <a:lnTo>
                  <a:pt x="30" y="96"/>
                </a:lnTo>
                <a:lnTo>
                  <a:pt x="30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18" y="96"/>
                </a:lnTo>
                <a:lnTo>
                  <a:pt x="18" y="96"/>
                </a:lnTo>
                <a:lnTo>
                  <a:pt x="18" y="90"/>
                </a:lnTo>
                <a:lnTo>
                  <a:pt x="18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6" y="90"/>
                </a:lnTo>
                <a:lnTo>
                  <a:pt x="6" y="90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0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0" y="78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66"/>
                </a:lnTo>
                <a:lnTo>
                  <a:pt x="0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0" y="66"/>
                </a:lnTo>
                <a:lnTo>
                  <a:pt x="6" y="66"/>
                </a:lnTo>
                <a:lnTo>
                  <a:pt x="6" y="66"/>
                </a:lnTo>
                <a:lnTo>
                  <a:pt x="0" y="66"/>
                </a:lnTo>
                <a:lnTo>
                  <a:pt x="0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0"/>
                </a:lnTo>
                <a:lnTo>
                  <a:pt x="6" y="60"/>
                </a:lnTo>
                <a:lnTo>
                  <a:pt x="0" y="60"/>
                </a:lnTo>
                <a:lnTo>
                  <a:pt x="6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6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6" y="54"/>
                </a:lnTo>
                <a:lnTo>
                  <a:pt x="0" y="54"/>
                </a:lnTo>
                <a:lnTo>
                  <a:pt x="0" y="54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6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49" name="Freeform 482"/>
          <p:cNvSpPr>
            <a:spLocks/>
          </p:cNvSpPr>
          <p:nvPr/>
        </p:nvSpPr>
        <p:spPr bwMode="auto">
          <a:xfrm>
            <a:off x="6292962" y="5079346"/>
            <a:ext cx="109209" cy="115634"/>
          </a:xfrm>
          <a:custGeom>
            <a:avLst/>
            <a:gdLst>
              <a:gd name="T0" fmla="*/ 6 w 102"/>
              <a:gd name="T1" fmla="*/ 78 h 108"/>
              <a:gd name="T2" fmla="*/ 6 w 102"/>
              <a:gd name="T3" fmla="*/ 72 h 108"/>
              <a:gd name="T4" fmla="*/ 12 w 102"/>
              <a:gd name="T5" fmla="*/ 72 h 108"/>
              <a:gd name="T6" fmla="*/ 18 w 102"/>
              <a:gd name="T7" fmla="*/ 66 h 108"/>
              <a:gd name="T8" fmla="*/ 24 w 102"/>
              <a:gd name="T9" fmla="*/ 66 h 108"/>
              <a:gd name="T10" fmla="*/ 24 w 102"/>
              <a:gd name="T11" fmla="*/ 66 h 108"/>
              <a:gd name="T12" fmla="*/ 30 w 102"/>
              <a:gd name="T13" fmla="*/ 66 h 108"/>
              <a:gd name="T14" fmla="*/ 36 w 102"/>
              <a:gd name="T15" fmla="*/ 66 h 108"/>
              <a:gd name="T16" fmla="*/ 36 w 102"/>
              <a:gd name="T17" fmla="*/ 36 h 108"/>
              <a:gd name="T18" fmla="*/ 36 w 102"/>
              <a:gd name="T19" fmla="*/ 24 h 108"/>
              <a:gd name="T20" fmla="*/ 36 w 102"/>
              <a:gd name="T21" fmla="*/ 18 h 108"/>
              <a:gd name="T22" fmla="*/ 36 w 102"/>
              <a:gd name="T23" fmla="*/ 18 h 108"/>
              <a:gd name="T24" fmla="*/ 42 w 102"/>
              <a:gd name="T25" fmla="*/ 12 h 108"/>
              <a:gd name="T26" fmla="*/ 48 w 102"/>
              <a:gd name="T27" fmla="*/ 12 h 108"/>
              <a:gd name="T28" fmla="*/ 54 w 102"/>
              <a:gd name="T29" fmla="*/ 18 h 108"/>
              <a:gd name="T30" fmla="*/ 60 w 102"/>
              <a:gd name="T31" fmla="*/ 12 h 108"/>
              <a:gd name="T32" fmla="*/ 54 w 102"/>
              <a:gd name="T33" fmla="*/ 6 h 108"/>
              <a:gd name="T34" fmla="*/ 60 w 102"/>
              <a:gd name="T35" fmla="*/ 6 h 108"/>
              <a:gd name="T36" fmla="*/ 66 w 102"/>
              <a:gd name="T37" fmla="*/ 6 h 108"/>
              <a:gd name="T38" fmla="*/ 72 w 102"/>
              <a:gd name="T39" fmla="*/ 6 h 108"/>
              <a:gd name="T40" fmla="*/ 72 w 102"/>
              <a:gd name="T41" fmla="*/ 6 h 108"/>
              <a:gd name="T42" fmla="*/ 84 w 102"/>
              <a:gd name="T43" fmla="*/ 12 h 108"/>
              <a:gd name="T44" fmla="*/ 96 w 102"/>
              <a:gd name="T45" fmla="*/ 18 h 108"/>
              <a:gd name="T46" fmla="*/ 96 w 102"/>
              <a:gd name="T47" fmla="*/ 18 h 108"/>
              <a:gd name="T48" fmla="*/ 90 w 102"/>
              <a:gd name="T49" fmla="*/ 30 h 108"/>
              <a:gd name="T50" fmla="*/ 90 w 102"/>
              <a:gd name="T51" fmla="*/ 36 h 108"/>
              <a:gd name="T52" fmla="*/ 90 w 102"/>
              <a:gd name="T53" fmla="*/ 42 h 108"/>
              <a:gd name="T54" fmla="*/ 90 w 102"/>
              <a:gd name="T55" fmla="*/ 42 h 108"/>
              <a:gd name="T56" fmla="*/ 96 w 102"/>
              <a:gd name="T57" fmla="*/ 48 h 108"/>
              <a:gd name="T58" fmla="*/ 96 w 102"/>
              <a:gd name="T59" fmla="*/ 54 h 108"/>
              <a:gd name="T60" fmla="*/ 102 w 102"/>
              <a:gd name="T61" fmla="*/ 60 h 108"/>
              <a:gd name="T62" fmla="*/ 102 w 102"/>
              <a:gd name="T63" fmla="*/ 66 h 108"/>
              <a:gd name="T64" fmla="*/ 102 w 102"/>
              <a:gd name="T65" fmla="*/ 66 h 108"/>
              <a:gd name="T66" fmla="*/ 102 w 102"/>
              <a:gd name="T67" fmla="*/ 72 h 108"/>
              <a:gd name="T68" fmla="*/ 96 w 102"/>
              <a:gd name="T69" fmla="*/ 78 h 108"/>
              <a:gd name="T70" fmla="*/ 96 w 102"/>
              <a:gd name="T71" fmla="*/ 84 h 108"/>
              <a:gd name="T72" fmla="*/ 90 w 102"/>
              <a:gd name="T73" fmla="*/ 84 h 108"/>
              <a:gd name="T74" fmla="*/ 84 w 102"/>
              <a:gd name="T75" fmla="*/ 78 h 108"/>
              <a:gd name="T76" fmla="*/ 78 w 102"/>
              <a:gd name="T77" fmla="*/ 84 h 108"/>
              <a:gd name="T78" fmla="*/ 72 w 102"/>
              <a:gd name="T79" fmla="*/ 84 h 108"/>
              <a:gd name="T80" fmla="*/ 72 w 102"/>
              <a:gd name="T81" fmla="*/ 90 h 108"/>
              <a:gd name="T82" fmla="*/ 66 w 102"/>
              <a:gd name="T83" fmla="*/ 90 h 108"/>
              <a:gd name="T84" fmla="*/ 54 w 102"/>
              <a:gd name="T85" fmla="*/ 90 h 108"/>
              <a:gd name="T86" fmla="*/ 48 w 102"/>
              <a:gd name="T87" fmla="*/ 90 h 108"/>
              <a:gd name="T88" fmla="*/ 48 w 102"/>
              <a:gd name="T89" fmla="*/ 90 h 108"/>
              <a:gd name="T90" fmla="*/ 42 w 102"/>
              <a:gd name="T91" fmla="*/ 96 h 108"/>
              <a:gd name="T92" fmla="*/ 42 w 102"/>
              <a:gd name="T93" fmla="*/ 96 h 108"/>
              <a:gd name="T94" fmla="*/ 36 w 102"/>
              <a:gd name="T95" fmla="*/ 102 h 108"/>
              <a:gd name="T96" fmla="*/ 36 w 102"/>
              <a:gd name="T97" fmla="*/ 102 h 108"/>
              <a:gd name="T98" fmla="*/ 36 w 102"/>
              <a:gd name="T99" fmla="*/ 108 h 108"/>
              <a:gd name="T100" fmla="*/ 30 w 102"/>
              <a:gd name="T101" fmla="*/ 102 h 108"/>
              <a:gd name="T102" fmla="*/ 24 w 102"/>
              <a:gd name="T103" fmla="*/ 102 h 108"/>
              <a:gd name="T104" fmla="*/ 18 w 102"/>
              <a:gd name="T105" fmla="*/ 102 h 108"/>
              <a:gd name="T106" fmla="*/ 12 w 102"/>
              <a:gd name="T107" fmla="*/ 96 h 108"/>
              <a:gd name="T108" fmla="*/ 12 w 102"/>
              <a:gd name="T109" fmla="*/ 90 h 108"/>
              <a:gd name="T110" fmla="*/ 12 w 102"/>
              <a:gd name="T111" fmla="*/ 90 h 108"/>
              <a:gd name="T112" fmla="*/ 6 w 102"/>
              <a:gd name="T113" fmla="*/ 84 h 108"/>
              <a:gd name="T114" fmla="*/ 0 w 102"/>
              <a:gd name="T115" fmla="*/ 78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2" h="108">
                <a:moveTo>
                  <a:pt x="0" y="78"/>
                </a:move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66"/>
                </a:lnTo>
                <a:lnTo>
                  <a:pt x="12" y="72"/>
                </a:lnTo>
                <a:lnTo>
                  <a:pt x="12" y="72"/>
                </a:lnTo>
                <a:lnTo>
                  <a:pt x="12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54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36" y="18"/>
                </a:lnTo>
                <a:lnTo>
                  <a:pt x="36" y="18"/>
                </a:lnTo>
                <a:lnTo>
                  <a:pt x="42" y="18"/>
                </a:lnTo>
                <a:lnTo>
                  <a:pt x="36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8"/>
                </a:lnTo>
                <a:lnTo>
                  <a:pt x="48" y="12"/>
                </a:lnTo>
                <a:lnTo>
                  <a:pt x="54" y="18"/>
                </a:lnTo>
                <a:lnTo>
                  <a:pt x="54" y="12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12"/>
                </a:lnTo>
                <a:lnTo>
                  <a:pt x="84" y="12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24"/>
                </a:lnTo>
                <a:lnTo>
                  <a:pt x="96" y="24"/>
                </a:lnTo>
                <a:lnTo>
                  <a:pt x="96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8"/>
                </a:lnTo>
                <a:lnTo>
                  <a:pt x="90" y="48"/>
                </a:lnTo>
                <a:lnTo>
                  <a:pt x="96" y="48"/>
                </a:lnTo>
                <a:lnTo>
                  <a:pt x="90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60"/>
                </a:lnTo>
                <a:lnTo>
                  <a:pt x="96" y="54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72"/>
                </a:lnTo>
                <a:lnTo>
                  <a:pt x="102" y="66"/>
                </a:lnTo>
                <a:lnTo>
                  <a:pt x="102" y="66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0" y="78"/>
                </a:lnTo>
                <a:lnTo>
                  <a:pt x="90" y="78"/>
                </a:lnTo>
                <a:lnTo>
                  <a:pt x="96" y="78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84" y="78"/>
                </a:lnTo>
                <a:lnTo>
                  <a:pt x="84" y="84"/>
                </a:lnTo>
                <a:lnTo>
                  <a:pt x="84" y="84"/>
                </a:lnTo>
                <a:lnTo>
                  <a:pt x="84" y="78"/>
                </a:lnTo>
                <a:lnTo>
                  <a:pt x="84" y="84"/>
                </a:lnTo>
                <a:lnTo>
                  <a:pt x="84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6"/>
                </a:lnTo>
                <a:lnTo>
                  <a:pt x="72" y="90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0"/>
                </a:lnTo>
                <a:lnTo>
                  <a:pt x="66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102"/>
                </a:lnTo>
                <a:lnTo>
                  <a:pt x="42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2"/>
                </a:lnTo>
                <a:lnTo>
                  <a:pt x="24" y="108"/>
                </a:lnTo>
                <a:lnTo>
                  <a:pt x="24" y="108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2" y="102"/>
                </a:lnTo>
                <a:lnTo>
                  <a:pt x="12" y="96"/>
                </a:lnTo>
                <a:lnTo>
                  <a:pt x="12" y="96"/>
                </a:lnTo>
                <a:lnTo>
                  <a:pt x="18" y="96"/>
                </a:lnTo>
                <a:lnTo>
                  <a:pt x="18" y="96"/>
                </a:lnTo>
                <a:lnTo>
                  <a:pt x="12" y="96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84"/>
                </a:lnTo>
                <a:lnTo>
                  <a:pt x="12" y="90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84"/>
                </a:lnTo>
                <a:lnTo>
                  <a:pt x="0" y="7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50" name="Freeform 483"/>
          <p:cNvSpPr>
            <a:spLocks/>
          </p:cNvSpPr>
          <p:nvPr/>
        </p:nvSpPr>
        <p:spPr bwMode="auto">
          <a:xfrm>
            <a:off x="6472835" y="4970137"/>
            <a:ext cx="282658" cy="250540"/>
          </a:xfrm>
          <a:custGeom>
            <a:avLst/>
            <a:gdLst>
              <a:gd name="T0" fmla="*/ 12 w 264"/>
              <a:gd name="T1" fmla="*/ 48 h 234"/>
              <a:gd name="T2" fmla="*/ 12 w 264"/>
              <a:gd name="T3" fmla="*/ 36 h 234"/>
              <a:gd name="T4" fmla="*/ 24 w 264"/>
              <a:gd name="T5" fmla="*/ 30 h 234"/>
              <a:gd name="T6" fmla="*/ 42 w 264"/>
              <a:gd name="T7" fmla="*/ 18 h 234"/>
              <a:gd name="T8" fmla="*/ 48 w 264"/>
              <a:gd name="T9" fmla="*/ 6 h 234"/>
              <a:gd name="T10" fmla="*/ 60 w 264"/>
              <a:gd name="T11" fmla="*/ 0 h 234"/>
              <a:gd name="T12" fmla="*/ 78 w 264"/>
              <a:gd name="T13" fmla="*/ 12 h 234"/>
              <a:gd name="T14" fmla="*/ 90 w 264"/>
              <a:gd name="T15" fmla="*/ 30 h 234"/>
              <a:gd name="T16" fmla="*/ 108 w 264"/>
              <a:gd name="T17" fmla="*/ 42 h 234"/>
              <a:gd name="T18" fmla="*/ 120 w 264"/>
              <a:gd name="T19" fmla="*/ 54 h 234"/>
              <a:gd name="T20" fmla="*/ 138 w 264"/>
              <a:gd name="T21" fmla="*/ 78 h 234"/>
              <a:gd name="T22" fmla="*/ 156 w 264"/>
              <a:gd name="T23" fmla="*/ 90 h 234"/>
              <a:gd name="T24" fmla="*/ 174 w 264"/>
              <a:gd name="T25" fmla="*/ 90 h 234"/>
              <a:gd name="T26" fmla="*/ 186 w 264"/>
              <a:gd name="T27" fmla="*/ 90 h 234"/>
              <a:gd name="T28" fmla="*/ 204 w 264"/>
              <a:gd name="T29" fmla="*/ 96 h 234"/>
              <a:gd name="T30" fmla="*/ 210 w 264"/>
              <a:gd name="T31" fmla="*/ 96 h 234"/>
              <a:gd name="T32" fmla="*/ 228 w 264"/>
              <a:gd name="T33" fmla="*/ 90 h 234"/>
              <a:gd name="T34" fmla="*/ 240 w 264"/>
              <a:gd name="T35" fmla="*/ 90 h 234"/>
              <a:gd name="T36" fmla="*/ 252 w 264"/>
              <a:gd name="T37" fmla="*/ 96 h 234"/>
              <a:gd name="T38" fmla="*/ 258 w 264"/>
              <a:gd name="T39" fmla="*/ 102 h 234"/>
              <a:gd name="T40" fmla="*/ 264 w 264"/>
              <a:gd name="T41" fmla="*/ 114 h 234"/>
              <a:gd name="T42" fmla="*/ 246 w 264"/>
              <a:gd name="T43" fmla="*/ 120 h 234"/>
              <a:gd name="T44" fmla="*/ 240 w 264"/>
              <a:gd name="T45" fmla="*/ 126 h 234"/>
              <a:gd name="T46" fmla="*/ 234 w 264"/>
              <a:gd name="T47" fmla="*/ 132 h 234"/>
              <a:gd name="T48" fmla="*/ 228 w 264"/>
              <a:gd name="T49" fmla="*/ 138 h 234"/>
              <a:gd name="T50" fmla="*/ 228 w 264"/>
              <a:gd name="T51" fmla="*/ 150 h 234"/>
              <a:gd name="T52" fmla="*/ 228 w 264"/>
              <a:gd name="T53" fmla="*/ 162 h 234"/>
              <a:gd name="T54" fmla="*/ 228 w 264"/>
              <a:gd name="T55" fmla="*/ 174 h 234"/>
              <a:gd name="T56" fmla="*/ 228 w 264"/>
              <a:gd name="T57" fmla="*/ 180 h 234"/>
              <a:gd name="T58" fmla="*/ 222 w 264"/>
              <a:gd name="T59" fmla="*/ 186 h 234"/>
              <a:gd name="T60" fmla="*/ 210 w 264"/>
              <a:gd name="T61" fmla="*/ 186 h 234"/>
              <a:gd name="T62" fmla="*/ 210 w 264"/>
              <a:gd name="T63" fmla="*/ 192 h 234"/>
              <a:gd name="T64" fmla="*/ 204 w 264"/>
              <a:gd name="T65" fmla="*/ 192 h 234"/>
              <a:gd name="T66" fmla="*/ 204 w 264"/>
              <a:gd name="T67" fmla="*/ 198 h 234"/>
              <a:gd name="T68" fmla="*/ 210 w 264"/>
              <a:gd name="T69" fmla="*/ 204 h 234"/>
              <a:gd name="T70" fmla="*/ 216 w 264"/>
              <a:gd name="T71" fmla="*/ 210 h 234"/>
              <a:gd name="T72" fmla="*/ 204 w 264"/>
              <a:gd name="T73" fmla="*/ 210 h 234"/>
              <a:gd name="T74" fmla="*/ 192 w 264"/>
              <a:gd name="T75" fmla="*/ 210 h 234"/>
              <a:gd name="T76" fmla="*/ 192 w 264"/>
              <a:gd name="T77" fmla="*/ 216 h 234"/>
              <a:gd name="T78" fmla="*/ 192 w 264"/>
              <a:gd name="T79" fmla="*/ 222 h 234"/>
              <a:gd name="T80" fmla="*/ 198 w 264"/>
              <a:gd name="T81" fmla="*/ 228 h 234"/>
              <a:gd name="T82" fmla="*/ 198 w 264"/>
              <a:gd name="T83" fmla="*/ 234 h 234"/>
              <a:gd name="T84" fmla="*/ 192 w 264"/>
              <a:gd name="T85" fmla="*/ 228 h 234"/>
              <a:gd name="T86" fmla="*/ 186 w 264"/>
              <a:gd name="T87" fmla="*/ 228 h 234"/>
              <a:gd name="T88" fmla="*/ 180 w 264"/>
              <a:gd name="T89" fmla="*/ 222 h 234"/>
              <a:gd name="T90" fmla="*/ 150 w 264"/>
              <a:gd name="T91" fmla="*/ 234 h 234"/>
              <a:gd name="T92" fmla="*/ 138 w 264"/>
              <a:gd name="T93" fmla="*/ 222 h 234"/>
              <a:gd name="T94" fmla="*/ 126 w 264"/>
              <a:gd name="T95" fmla="*/ 204 h 234"/>
              <a:gd name="T96" fmla="*/ 114 w 264"/>
              <a:gd name="T97" fmla="*/ 192 h 234"/>
              <a:gd name="T98" fmla="*/ 108 w 264"/>
              <a:gd name="T99" fmla="*/ 180 h 234"/>
              <a:gd name="T100" fmla="*/ 114 w 264"/>
              <a:gd name="T101" fmla="*/ 168 h 234"/>
              <a:gd name="T102" fmla="*/ 114 w 264"/>
              <a:gd name="T103" fmla="*/ 156 h 234"/>
              <a:gd name="T104" fmla="*/ 114 w 264"/>
              <a:gd name="T105" fmla="*/ 144 h 234"/>
              <a:gd name="T106" fmla="*/ 90 w 264"/>
              <a:gd name="T107" fmla="*/ 144 h 234"/>
              <a:gd name="T108" fmla="*/ 72 w 264"/>
              <a:gd name="T109" fmla="*/ 144 h 234"/>
              <a:gd name="T110" fmla="*/ 54 w 264"/>
              <a:gd name="T111" fmla="*/ 144 h 234"/>
              <a:gd name="T112" fmla="*/ 36 w 264"/>
              <a:gd name="T113" fmla="*/ 138 h 234"/>
              <a:gd name="T114" fmla="*/ 42 w 264"/>
              <a:gd name="T115" fmla="*/ 114 h 234"/>
              <a:gd name="T116" fmla="*/ 42 w 264"/>
              <a:gd name="T117" fmla="*/ 102 h 234"/>
              <a:gd name="T118" fmla="*/ 30 w 264"/>
              <a:gd name="T119" fmla="*/ 102 h 234"/>
              <a:gd name="T120" fmla="*/ 12 w 264"/>
              <a:gd name="T121" fmla="*/ 102 h 234"/>
              <a:gd name="T122" fmla="*/ 24 w 264"/>
              <a:gd name="T123" fmla="*/ 90 h 234"/>
              <a:gd name="T124" fmla="*/ 12 w 264"/>
              <a:gd name="T125" fmla="*/ 72 h 2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64" h="234">
                <a:moveTo>
                  <a:pt x="0" y="54"/>
                </a:moveTo>
                <a:lnTo>
                  <a:pt x="0" y="54"/>
                </a:lnTo>
                <a:lnTo>
                  <a:pt x="0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12" y="54"/>
                </a:lnTo>
                <a:lnTo>
                  <a:pt x="12" y="48"/>
                </a:lnTo>
                <a:lnTo>
                  <a:pt x="12" y="54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12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30" y="30"/>
                </a:lnTo>
                <a:lnTo>
                  <a:pt x="30" y="30"/>
                </a:lnTo>
                <a:lnTo>
                  <a:pt x="36" y="30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42" y="24"/>
                </a:lnTo>
                <a:lnTo>
                  <a:pt x="36" y="24"/>
                </a:lnTo>
                <a:lnTo>
                  <a:pt x="42" y="24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8" y="12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0"/>
                </a:lnTo>
                <a:lnTo>
                  <a:pt x="48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84" y="12"/>
                </a:lnTo>
                <a:lnTo>
                  <a:pt x="84" y="12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30"/>
                </a:lnTo>
                <a:lnTo>
                  <a:pt x="96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6"/>
                </a:lnTo>
                <a:lnTo>
                  <a:pt x="102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14" y="54"/>
                </a:lnTo>
                <a:lnTo>
                  <a:pt x="114" y="48"/>
                </a:lnTo>
                <a:lnTo>
                  <a:pt x="114" y="48"/>
                </a:lnTo>
                <a:lnTo>
                  <a:pt x="114" y="54"/>
                </a:lnTo>
                <a:lnTo>
                  <a:pt x="114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32" y="66"/>
                </a:lnTo>
                <a:lnTo>
                  <a:pt x="132" y="66"/>
                </a:lnTo>
                <a:lnTo>
                  <a:pt x="132" y="66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8" y="72"/>
                </a:lnTo>
                <a:lnTo>
                  <a:pt x="138" y="78"/>
                </a:lnTo>
                <a:lnTo>
                  <a:pt x="138" y="78"/>
                </a:lnTo>
                <a:lnTo>
                  <a:pt x="138" y="78"/>
                </a:lnTo>
                <a:lnTo>
                  <a:pt x="138" y="78"/>
                </a:lnTo>
                <a:lnTo>
                  <a:pt x="144" y="84"/>
                </a:lnTo>
                <a:lnTo>
                  <a:pt x="138" y="84"/>
                </a:lnTo>
                <a:lnTo>
                  <a:pt x="144" y="84"/>
                </a:lnTo>
                <a:lnTo>
                  <a:pt x="144" y="84"/>
                </a:lnTo>
                <a:lnTo>
                  <a:pt x="144" y="84"/>
                </a:lnTo>
                <a:lnTo>
                  <a:pt x="144" y="84"/>
                </a:lnTo>
                <a:lnTo>
                  <a:pt x="144" y="84"/>
                </a:lnTo>
                <a:lnTo>
                  <a:pt x="144" y="84"/>
                </a:lnTo>
                <a:lnTo>
                  <a:pt x="150" y="84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56" y="90"/>
                </a:lnTo>
                <a:lnTo>
                  <a:pt x="156" y="90"/>
                </a:lnTo>
                <a:lnTo>
                  <a:pt x="156" y="90"/>
                </a:lnTo>
                <a:lnTo>
                  <a:pt x="156" y="90"/>
                </a:lnTo>
                <a:lnTo>
                  <a:pt x="156" y="84"/>
                </a:lnTo>
                <a:lnTo>
                  <a:pt x="156" y="84"/>
                </a:lnTo>
                <a:lnTo>
                  <a:pt x="156" y="84"/>
                </a:lnTo>
                <a:lnTo>
                  <a:pt x="156" y="84"/>
                </a:lnTo>
                <a:lnTo>
                  <a:pt x="156" y="90"/>
                </a:lnTo>
                <a:lnTo>
                  <a:pt x="156" y="90"/>
                </a:lnTo>
                <a:lnTo>
                  <a:pt x="162" y="90"/>
                </a:lnTo>
                <a:lnTo>
                  <a:pt x="162" y="90"/>
                </a:lnTo>
                <a:lnTo>
                  <a:pt x="168" y="90"/>
                </a:lnTo>
                <a:lnTo>
                  <a:pt x="168" y="90"/>
                </a:lnTo>
                <a:lnTo>
                  <a:pt x="168" y="90"/>
                </a:lnTo>
                <a:lnTo>
                  <a:pt x="174" y="90"/>
                </a:lnTo>
                <a:lnTo>
                  <a:pt x="174" y="90"/>
                </a:lnTo>
                <a:lnTo>
                  <a:pt x="174" y="90"/>
                </a:lnTo>
                <a:lnTo>
                  <a:pt x="174" y="90"/>
                </a:lnTo>
                <a:lnTo>
                  <a:pt x="174" y="90"/>
                </a:lnTo>
                <a:lnTo>
                  <a:pt x="174" y="90"/>
                </a:lnTo>
                <a:lnTo>
                  <a:pt x="174" y="90"/>
                </a:lnTo>
                <a:lnTo>
                  <a:pt x="174" y="90"/>
                </a:lnTo>
                <a:lnTo>
                  <a:pt x="180" y="90"/>
                </a:lnTo>
                <a:lnTo>
                  <a:pt x="180" y="96"/>
                </a:lnTo>
                <a:lnTo>
                  <a:pt x="180" y="96"/>
                </a:lnTo>
                <a:lnTo>
                  <a:pt x="180" y="96"/>
                </a:lnTo>
                <a:lnTo>
                  <a:pt x="180" y="96"/>
                </a:lnTo>
                <a:lnTo>
                  <a:pt x="180" y="90"/>
                </a:lnTo>
                <a:lnTo>
                  <a:pt x="180" y="90"/>
                </a:lnTo>
                <a:lnTo>
                  <a:pt x="180" y="90"/>
                </a:lnTo>
                <a:lnTo>
                  <a:pt x="180" y="90"/>
                </a:lnTo>
                <a:lnTo>
                  <a:pt x="186" y="90"/>
                </a:lnTo>
                <a:lnTo>
                  <a:pt x="186" y="90"/>
                </a:lnTo>
                <a:lnTo>
                  <a:pt x="186" y="90"/>
                </a:lnTo>
                <a:lnTo>
                  <a:pt x="186" y="90"/>
                </a:lnTo>
                <a:lnTo>
                  <a:pt x="186" y="90"/>
                </a:lnTo>
                <a:lnTo>
                  <a:pt x="186" y="96"/>
                </a:lnTo>
                <a:lnTo>
                  <a:pt x="192" y="90"/>
                </a:lnTo>
                <a:lnTo>
                  <a:pt x="192" y="90"/>
                </a:lnTo>
                <a:lnTo>
                  <a:pt x="186" y="90"/>
                </a:lnTo>
                <a:lnTo>
                  <a:pt x="186" y="90"/>
                </a:lnTo>
                <a:lnTo>
                  <a:pt x="186" y="90"/>
                </a:lnTo>
                <a:lnTo>
                  <a:pt x="192" y="90"/>
                </a:lnTo>
                <a:lnTo>
                  <a:pt x="192" y="90"/>
                </a:lnTo>
                <a:lnTo>
                  <a:pt x="192" y="96"/>
                </a:lnTo>
                <a:lnTo>
                  <a:pt x="192" y="96"/>
                </a:lnTo>
                <a:lnTo>
                  <a:pt x="198" y="96"/>
                </a:lnTo>
                <a:lnTo>
                  <a:pt x="198" y="90"/>
                </a:lnTo>
                <a:lnTo>
                  <a:pt x="198" y="90"/>
                </a:lnTo>
                <a:lnTo>
                  <a:pt x="198" y="90"/>
                </a:lnTo>
                <a:lnTo>
                  <a:pt x="198" y="90"/>
                </a:lnTo>
                <a:lnTo>
                  <a:pt x="198" y="90"/>
                </a:lnTo>
                <a:lnTo>
                  <a:pt x="198" y="90"/>
                </a:lnTo>
                <a:lnTo>
                  <a:pt x="198" y="96"/>
                </a:lnTo>
                <a:lnTo>
                  <a:pt x="204" y="96"/>
                </a:lnTo>
                <a:lnTo>
                  <a:pt x="204" y="96"/>
                </a:lnTo>
                <a:lnTo>
                  <a:pt x="204" y="96"/>
                </a:lnTo>
                <a:lnTo>
                  <a:pt x="204" y="96"/>
                </a:lnTo>
                <a:lnTo>
                  <a:pt x="204" y="96"/>
                </a:lnTo>
                <a:lnTo>
                  <a:pt x="204" y="96"/>
                </a:lnTo>
                <a:lnTo>
                  <a:pt x="204" y="96"/>
                </a:lnTo>
                <a:lnTo>
                  <a:pt x="204" y="96"/>
                </a:lnTo>
                <a:lnTo>
                  <a:pt x="204" y="96"/>
                </a:lnTo>
                <a:lnTo>
                  <a:pt x="204" y="90"/>
                </a:lnTo>
                <a:lnTo>
                  <a:pt x="204" y="90"/>
                </a:lnTo>
                <a:lnTo>
                  <a:pt x="204" y="90"/>
                </a:lnTo>
                <a:lnTo>
                  <a:pt x="204" y="90"/>
                </a:lnTo>
                <a:lnTo>
                  <a:pt x="204" y="90"/>
                </a:lnTo>
                <a:lnTo>
                  <a:pt x="204" y="90"/>
                </a:lnTo>
                <a:lnTo>
                  <a:pt x="204" y="90"/>
                </a:lnTo>
                <a:lnTo>
                  <a:pt x="204" y="90"/>
                </a:lnTo>
                <a:lnTo>
                  <a:pt x="210" y="90"/>
                </a:lnTo>
                <a:lnTo>
                  <a:pt x="210" y="90"/>
                </a:lnTo>
                <a:lnTo>
                  <a:pt x="210" y="90"/>
                </a:lnTo>
                <a:lnTo>
                  <a:pt x="210" y="96"/>
                </a:lnTo>
                <a:lnTo>
                  <a:pt x="204" y="96"/>
                </a:lnTo>
                <a:lnTo>
                  <a:pt x="204" y="96"/>
                </a:lnTo>
                <a:lnTo>
                  <a:pt x="204" y="96"/>
                </a:lnTo>
                <a:lnTo>
                  <a:pt x="210" y="96"/>
                </a:lnTo>
                <a:lnTo>
                  <a:pt x="210" y="96"/>
                </a:lnTo>
                <a:lnTo>
                  <a:pt x="210" y="96"/>
                </a:lnTo>
                <a:lnTo>
                  <a:pt x="210" y="96"/>
                </a:lnTo>
                <a:lnTo>
                  <a:pt x="216" y="96"/>
                </a:lnTo>
                <a:lnTo>
                  <a:pt x="216" y="96"/>
                </a:lnTo>
                <a:lnTo>
                  <a:pt x="216" y="96"/>
                </a:lnTo>
                <a:lnTo>
                  <a:pt x="216" y="96"/>
                </a:lnTo>
                <a:lnTo>
                  <a:pt x="216" y="96"/>
                </a:lnTo>
                <a:lnTo>
                  <a:pt x="222" y="96"/>
                </a:lnTo>
                <a:lnTo>
                  <a:pt x="222" y="96"/>
                </a:lnTo>
                <a:lnTo>
                  <a:pt x="222" y="90"/>
                </a:lnTo>
                <a:lnTo>
                  <a:pt x="222" y="90"/>
                </a:lnTo>
                <a:lnTo>
                  <a:pt x="222" y="96"/>
                </a:lnTo>
                <a:lnTo>
                  <a:pt x="222" y="96"/>
                </a:lnTo>
                <a:lnTo>
                  <a:pt x="222" y="90"/>
                </a:lnTo>
                <a:lnTo>
                  <a:pt x="228" y="90"/>
                </a:lnTo>
                <a:lnTo>
                  <a:pt x="228" y="90"/>
                </a:lnTo>
                <a:lnTo>
                  <a:pt x="228" y="96"/>
                </a:lnTo>
                <a:lnTo>
                  <a:pt x="228" y="90"/>
                </a:lnTo>
                <a:lnTo>
                  <a:pt x="228" y="90"/>
                </a:lnTo>
                <a:lnTo>
                  <a:pt x="228" y="90"/>
                </a:lnTo>
                <a:lnTo>
                  <a:pt x="228" y="96"/>
                </a:lnTo>
                <a:lnTo>
                  <a:pt x="228" y="96"/>
                </a:lnTo>
                <a:lnTo>
                  <a:pt x="234" y="96"/>
                </a:lnTo>
                <a:lnTo>
                  <a:pt x="234" y="96"/>
                </a:lnTo>
                <a:lnTo>
                  <a:pt x="234" y="96"/>
                </a:lnTo>
                <a:lnTo>
                  <a:pt x="234" y="90"/>
                </a:lnTo>
                <a:lnTo>
                  <a:pt x="234" y="90"/>
                </a:lnTo>
                <a:lnTo>
                  <a:pt x="234" y="96"/>
                </a:lnTo>
                <a:lnTo>
                  <a:pt x="234" y="96"/>
                </a:lnTo>
                <a:lnTo>
                  <a:pt x="240" y="96"/>
                </a:lnTo>
                <a:lnTo>
                  <a:pt x="240" y="96"/>
                </a:lnTo>
                <a:lnTo>
                  <a:pt x="234" y="90"/>
                </a:lnTo>
                <a:lnTo>
                  <a:pt x="234" y="90"/>
                </a:lnTo>
                <a:lnTo>
                  <a:pt x="240" y="90"/>
                </a:lnTo>
                <a:lnTo>
                  <a:pt x="240" y="90"/>
                </a:lnTo>
                <a:lnTo>
                  <a:pt x="240" y="90"/>
                </a:lnTo>
                <a:lnTo>
                  <a:pt x="240" y="90"/>
                </a:lnTo>
                <a:lnTo>
                  <a:pt x="240" y="90"/>
                </a:lnTo>
                <a:lnTo>
                  <a:pt x="240" y="90"/>
                </a:lnTo>
                <a:lnTo>
                  <a:pt x="240" y="96"/>
                </a:lnTo>
                <a:lnTo>
                  <a:pt x="240" y="96"/>
                </a:lnTo>
                <a:lnTo>
                  <a:pt x="240" y="96"/>
                </a:lnTo>
                <a:lnTo>
                  <a:pt x="240" y="96"/>
                </a:lnTo>
                <a:lnTo>
                  <a:pt x="240" y="96"/>
                </a:lnTo>
                <a:lnTo>
                  <a:pt x="240" y="96"/>
                </a:lnTo>
                <a:lnTo>
                  <a:pt x="246" y="96"/>
                </a:lnTo>
                <a:lnTo>
                  <a:pt x="246" y="96"/>
                </a:lnTo>
                <a:lnTo>
                  <a:pt x="246" y="96"/>
                </a:lnTo>
                <a:lnTo>
                  <a:pt x="246" y="96"/>
                </a:lnTo>
                <a:lnTo>
                  <a:pt x="246" y="96"/>
                </a:lnTo>
                <a:lnTo>
                  <a:pt x="246" y="96"/>
                </a:lnTo>
                <a:lnTo>
                  <a:pt x="246" y="96"/>
                </a:lnTo>
                <a:lnTo>
                  <a:pt x="246" y="96"/>
                </a:lnTo>
                <a:lnTo>
                  <a:pt x="246" y="96"/>
                </a:lnTo>
                <a:lnTo>
                  <a:pt x="246" y="96"/>
                </a:lnTo>
                <a:lnTo>
                  <a:pt x="252" y="96"/>
                </a:lnTo>
                <a:lnTo>
                  <a:pt x="252" y="96"/>
                </a:lnTo>
                <a:lnTo>
                  <a:pt x="252" y="96"/>
                </a:lnTo>
                <a:lnTo>
                  <a:pt x="252" y="96"/>
                </a:lnTo>
                <a:lnTo>
                  <a:pt x="252" y="96"/>
                </a:lnTo>
                <a:lnTo>
                  <a:pt x="252" y="96"/>
                </a:lnTo>
                <a:lnTo>
                  <a:pt x="252" y="96"/>
                </a:lnTo>
                <a:lnTo>
                  <a:pt x="252" y="96"/>
                </a:lnTo>
                <a:lnTo>
                  <a:pt x="252" y="96"/>
                </a:lnTo>
                <a:lnTo>
                  <a:pt x="252" y="96"/>
                </a:lnTo>
                <a:lnTo>
                  <a:pt x="252" y="96"/>
                </a:lnTo>
                <a:lnTo>
                  <a:pt x="252" y="96"/>
                </a:lnTo>
                <a:lnTo>
                  <a:pt x="252" y="96"/>
                </a:lnTo>
                <a:lnTo>
                  <a:pt x="252" y="96"/>
                </a:lnTo>
                <a:lnTo>
                  <a:pt x="252" y="102"/>
                </a:lnTo>
                <a:lnTo>
                  <a:pt x="258" y="96"/>
                </a:lnTo>
                <a:lnTo>
                  <a:pt x="258" y="96"/>
                </a:lnTo>
                <a:lnTo>
                  <a:pt x="258" y="96"/>
                </a:lnTo>
                <a:lnTo>
                  <a:pt x="258" y="102"/>
                </a:lnTo>
                <a:lnTo>
                  <a:pt x="258" y="102"/>
                </a:lnTo>
                <a:lnTo>
                  <a:pt x="258" y="102"/>
                </a:lnTo>
                <a:lnTo>
                  <a:pt x="258" y="102"/>
                </a:lnTo>
                <a:lnTo>
                  <a:pt x="258" y="102"/>
                </a:lnTo>
                <a:lnTo>
                  <a:pt x="258" y="102"/>
                </a:lnTo>
                <a:lnTo>
                  <a:pt x="258" y="108"/>
                </a:lnTo>
                <a:lnTo>
                  <a:pt x="258" y="108"/>
                </a:lnTo>
                <a:lnTo>
                  <a:pt x="258" y="108"/>
                </a:lnTo>
                <a:lnTo>
                  <a:pt x="258" y="108"/>
                </a:lnTo>
                <a:lnTo>
                  <a:pt x="258" y="108"/>
                </a:lnTo>
                <a:lnTo>
                  <a:pt x="258" y="108"/>
                </a:lnTo>
                <a:lnTo>
                  <a:pt x="264" y="108"/>
                </a:lnTo>
                <a:lnTo>
                  <a:pt x="258" y="114"/>
                </a:lnTo>
                <a:lnTo>
                  <a:pt x="258" y="114"/>
                </a:lnTo>
                <a:lnTo>
                  <a:pt x="264" y="114"/>
                </a:lnTo>
                <a:lnTo>
                  <a:pt x="264" y="114"/>
                </a:lnTo>
                <a:lnTo>
                  <a:pt x="264" y="114"/>
                </a:lnTo>
                <a:lnTo>
                  <a:pt x="264" y="114"/>
                </a:lnTo>
                <a:lnTo>
                  <a:pt x="264" y="114"/>
                </a:lnTo>
                <a:lnTo>
                  <a:pt x="264" y="114"/>
                </a:lnTo>
                <a:lnTo>
                  <a:pt x="258" y="114"/>
                </a:lnTo>
                <a:lnTo>
                  <a:pt x="258" y="114"/>
                </a:lnTo>
                <a:lnTo>
                  <a:pt x="258" y="114"/>
                </a:lnTo>
                <a:lnTo>
                  <a:pt x="252" y="114"/>
                </a:lnTo>
                <a:lnTo>
                  <a:pt x="252" y="114"/>
                </a:lnTo>
                <a:lnTo>
                  <a:pt x="252" y="114"/>
                </a:lnTo>
                <a:lnTo>
                  <a:pt x="252" y="114"/>
                </a:lnTo>
                <a:lnTo>
                  <a:pt x="252" y="114"/>
                </a:lnTo>
                <a:lnTo>
                  <a:pt x="252" y="114"/>
                </a:lnTo>
                <a:lnTo>
                  <a:pt x="252" y="114"/>
                </a:lnTo>
                <a:lnTo>
                  <a:pt x="252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6"/>
                </a:lnTo>
                <a:lnTo>
                  <a:pt x="246" y="126"/>
                </a:lnTo>
                <a:lnTo>
                  <a:pt x="246" y="126"/>
                </a:lnTo>
                <a:lnTo>
                  <a:pt x="246" y="126"/>
                </a:lnTo>
                <a:lnTo>
                  <a:pt x="246" y="126"/>
                </a:lnTo>
                <a:lnTo>
                  <a:pt x="246" y="126"/>
                </a:lnTo>
                <a:lnTo>
                  <a:pt x="246" y="126"/>
                </a:lnTo>
                <a:lnTo>
                  <a:pt x="246" y="126"/>
                </a:lnTo>
                <a:lnTo>
                  <a:pt x="246" y="126"/>
                </a:lnTo>
                <a:lnTo>
                  <a:pt x="246" y="126"/>
                </a:lnTo>
                <a:lnTo>
                  <a:pt x="246" y="126"/>
                </a:lnTo>
                <a:lnTo>
                  <a:pt x="240" y="126"/>
                </a:lnTo>
                <a:lnTo>
                  <a:pt x="240" y="126"/>
                </a:lnTo>
                <a:lnTo>
                  <a:pt x="240" y="126"/>
                </a:lnTo>
                <a:lnTo>
                  <a:pt x="240" y="126"/>
                </a:lnTo>
                <a:lnTo>
                  <a:pt x="240" y="126"/>
                </a:lnTo>
                <a:lnTo>
                  <a:pt x="240" y="126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26"/>
                </a:lnTo>
                <a:lnTo>
                  <a:pt x="240" y="126"/>
                </a:lnTo>
                <a:lnTo>
                  <a:pt x="234" y="126"/>
                </a:lnTo>
                <a:lnTo>
                  <a:pt x="234" y="126"/>
                </a:lnTo>
                <a:lnTo>
                  <a:pt x="234" y="126"/>
                </a:lnTo>
                <a:lnTo>
                  <a:pt x="234" y="126"/>
                </a:lnTo>
                <a:lnTo>
                  <a:pt x="234" y="126"/>
                </a:lnTo>
                <a:lnTo>
                  <a:pt x="234" y="126"/>
                </a:lnTo>
                <a:lnTo>
                  <a:pt x="234" y="126"/>
                </a:lnTo>
                <a:lnTo>
                  <a:pt x="234" y="126"/>
                </a:lnTo>
                <a:lnTo>
                  <a:pt x="234" y="132"/>
                </a:lnTo>
                <a:lnTo>
                  <a:pt x="234" y="132"/>
                </a:lnTo>
                <a:lnTo>
                  <a:pt x="234" y="132"/>
                </a:lnTo>
                <a:lnTo>
                  <a:pt x="234" y="132"/>
                </a:lnTo>
                <a:lnTo>
                  <a:pt x="234" y="132"/>
                </a:lnTo>
                <a:lnTo>
                  <a:pt x="228" y="132"/>
                </a:lnTo>
                <a:lnTo>
                  <a:pt x="228" y="132"/>
                </a:lnTo>
                <a:lnTo>
                  <a:pt x="228" y="132"/>
                </a:lnTo>
                <a:lnTo>
                  <a:pt x="228" y="132"/>
                </a:lnTo>
                <a:lnTo>
                  <a:pt x="228" y="132"/>
                </a:lnTo>
                <a:lnTo>
                  <a:pt x="228" y="132"/>
                </a:lnTo>
                <a:lnTo>
                  <a:pt x="228" y="132"/>
                </a:lnTo>
                <a:lnTo>
                  <a:pt x="228" y="138"/>
                </a:lnTo>
                <a:lnTo>
                  <a:pt x="228" y="138"/>
                </a:lnTo>
                <a:lnTo>
                  <a:pt x="228" y="138"/>
                </a:lnTo>
                <a:lnTo>
                  <a:pt x="228" y="138"/>
                </a:lnTo>
                <a:lnTo>
                  <a:pt x="228" y="138"/>
                </a:lnTo>
                <a:lnTo>
                  <a:pt x="228" y="138"/>
                </a:lnTo>
                <a:lnTo>
                  <a:pt x="228" y="138"/>
                </a:lnTo>
                <a:lnTo>
                  <a:pt x="228" y="138"/>
                </a:lnTo>
                <a:lnTo>
                  <a:pt x="228" y="138"/>
                </a:lnTo>
                <a:lnTo>
                  <a:pt x="228" y="144"/>
                </a:lnTo>
                <a:lnTo>
                  <a:pt x="228" y="144"/>
                </a:lnTo>
                <a:lnTo>
                  <a:pt x="228" y="144"/>
                </a:lnTo>
                <a:lnTo>
                  <a:pt x="228" y="144"/>
                </a:lnTo>
                <a:lnTo>
                  <a:pt x="228" y="144"/>
                </a:lnTo>
                <a:lnTo>
                  <a:pt x="228" y="144"/>
                </a:lnTo>
                <a:lnTo>
                  <a:pt x="228" y="144"/>
                </a:lnTo>
                <a:lnTo>
                  <a:pt x="228" y="144"/>
                </a:lnTo>
                <a:lnTo>
                  <a:pt x="228" y="150"/>
                </a:lnTo>
                <a:lnTo>
                  <a:pt x="228" y="150"/>
                </a:lnTo>
                <a:lnTo>
                  <a:pt x="228" y="150"/>
                </a:lnTo>
                <a:lnTo>
                  <a:pt x="234" y="150"/>
                </a:lnTo>
                <a:lnTo>
                  <a:pt x="234" y="150"/>
                </a:lnTo>
                <a:lnTo>
                  <a:pt x="234" y="150"/>
                </a:lnTo>
                <a:lnTo>
                  <a:pt x="234" y="150"/>
                </a:lnTo>
                <a:lnTo>
                  <a:pt x="228" y="150"/>
                </a:lnTo>
                <a:lnTo>
                  <a:pt x="228" y="150"/>
                </a:lnTo>
                <a:lnTo>
                  <a:pt x="228" y="150"/>
                </a:lnTo>
                <a:lnTo>
                  <a:pt x="228" y="150"/>
                </a:lnTo>
                <a:lnTo>
                  <a:pt x="228" y="150"/>
                </a:lnTo>
                <a:lnTo>
                  <a:pt x="228" y="150"/>
                </a:lnTo>
                <a:lnTo>
                  <a:pt x="228" y="150"/>
                </a:lnTo>
                <a:lnTo>
                  <a:pt x="228" y="156"/>
                </a:lnTo>
                <a:lnTo>
                  <a:pt x="228" y="156"/>
                </a:lnTo>
                <a:lnTo>
                  <a:pt x="228" y="156"/>
                </a:lnTo>
                <a:lnTo>
                  <a:pt x="228" y="156"/>
                </a:lnTo>
                <a:lnTo>
                  <a:pt x="228" y="156"/>
                </a:lnTo>
                <a:lnTo>
                  <a:pt x="228" y="156"/>
                </a:lnTo>
                <a:lnTo>
                  <a:pt x="228" y="162"/>
                </a:lnTo>
                <a:lnTo>
                  <a:pt x="234" y="162"/>
                </a:lnTo>
                <a:lnTo>
                  <a:pt x="234" y="162"/>
                </a:lnTo>
                <a:lnTo>
                  <a:pt x="234" y="162"/>
                </a:lnTo>
                <a:lnTo>
                  <a:pt x="234" y="162"/>
                </a:lnTo>
                <a:lnTo>
                  <a:pt x="234" y="162"/>
                </a:lnTo>
                <a:lnTo>
                  <a:pt x="234" y="162"/>
                </a:lnTo>
                <a:lnTo>
                  <a:pt x="228" y="162"/>
                </a:lnTo>
                <a:lnTo>
                  <a:pt x="228" y="162"/>
                </a:lnTo>
                <a:lnTo>
                  <a:pt x="228" y="162"/>
                </a:lnTo>
                <a:lnTo>
                  <a:pt x="228" y="162"/>
                </a:lnTo>
                <a:lnTo>
                  <a:pt x="228" y="168"/>
                </a:lnTo>
                <a:lnTo>
                  <a:pt x="228" y="168"/>
                </a:lnTo>
                <a:lnTo>
                  <a:pt x="228" y="168"/>
                </a:lnTo>
                <a:lnTo>
                  <a:pt x="228" y="168"/>
                </a:lnTo>
                <a:lnTo>
                  <a:pt x="228" y="168"/>
                </a:lnTo>
                <a:lnTo>
                  <a:pt x="234" y="168"/>
                </a:lnTo>
                <a:lnTo>
                  <a:pt x="234" y="168"/>
                </a:lnTo>
                <a:lnTo>
                  <a:pt x="228" y="168"/>
                </a:lnTo>
                <a:lnTo>
                  <a:pt x="228" y="168"/>
                </a:lnTo>
                <a:lnTo>
                  <a:pt x="228" y="168"/>
                </a:lnTo>
                <a:lnTo>
                  <a:pt x="228" y="168"/>
                </a:lnTo>
                <a:lnTo>
                  <a:pt x="228" y="168"/>
                </a:lnTo>
                <a:lnTo>
                  <a:pt x="228" y="168"/>
                </a:lnTo>
                <a:lnTo>
                  <a:pt x="222" y="174"/>
                </a:lnTo>
                <a:lnTo>
                  <a:pt x="222" y="174"/>
                </a:lnTo>
                <a:lnTo>
                  <a:pt x="222" y="174"/>
                </a:lnTo>
                <a:lnTo>
                  <a:pt x="228" y="174"/>
                </a:lnTo>
                <a:lnTo>
                  <a:pt x="222" y="174"/>
                </a:lnTo>
                <a:lnTo>
                  <a:pt x="228" y="174"/>
                </a:lnTo>
                <a:lnTo>
                  <a:pt x="228" y="174"/>
                </a:lnTo>
                <a:lnTo>
                  <a:pt x="228" y="174"/>
                </a:lnTo>
                <a:lnTo>
                  <a:pt x="228" y="174"/>
                </a:lnTo>
                <a:lnTo>
                  <a:pt x="228" y="174"/>
                </a:lnTo>
                <a:lnTo>
                  <a:pt x="228" y="174"/>
                </a:lnTo>
                <a:lnTo>
                  <a:pt x="234" y="174"/>
                </a:lnTo>
                <a:lnTo>
                  <a:pt x="228" y="174"/>
                </a:lnTo>
                <a:lnTo>
                  <a:pt x="228" y="174"/>
                </a:lnTo>
                <a:lnTo>
                  <a:pt x="228" y="174"/>
                </a:lnTo>
                <a:lnTo>
                  <a:pt x="228" y="174"/>
                </a:lnTo>
                <a:lnTo>
                  <a:pt x="228" y="174"/>
                </a:lnTo>
                <a:lnTo>
                  <a:pt x="228" y="174"/>
                </a:lnTo>
                <a:lnTo>
                  <a:pt x="228" y="174"/>
                </a:lnTo>
                <a:lnTo>
                  <a:pt x="228" y="174"/>
                </a:lnTo>
                <a:lnTo>
                  <a:pt x="228" y="174"/>
                </a:lnTo>
                <a:lnTo>
                  <a:pt x="228" y="180"/>
                </a:lnTo>
                <a:lnTo>
                  <a:pt x="228" y="180"/>
                </a:lnTo>
                <a:lnTo>
                  <a:pt x="228" y="180"/>
                </a:lnTo>
                <a:lnTo>
                  <a:pt x="228" y="180"/>
                </a:lnTo>
                <a:lnTo>
                  <a:pt x="228" y="180"/>
                </a:lnTo>
                <a:lnTo>
                  <a:pt x="228" y="180"/>
                </a:lnTo>
                <a:lnTo>
                  <a:pt x="228" y="180"/>
                </a:lnTo>
                <a:lnTo>
                  <a:pt x="228" y="180"/>
                </a:lnTo>
                <a:lnTo>
                  <a:pt x="228" y="180"/>
                </a:lnTo>
                <a:lnTo>
                  <a:pt x="228" y="180"/>
                </a:lnTo>
                <a:lnTo>
                  <a:pt x="222" y="180"/>
                </a:lnTo>
                <a:lnTo>
                  <a:pt x="222" y="180"/>
                </a:lnTo>
                <a:lnTo>
                  <a:pt x="228" y="180"/>
                </a:lnTo>
                <a:lnTo>
                  <a:pt x="222" y="180"/>
                </a:lnTo>
                <a:lnTo>
                  <a:pt x="222" y="180"/>
                </a:lnTo>
                <a:lnTo>
                  <a:pt x="222" y="180"/>
                </a:lnTo>
                <a:lnTo>
                  <a:pt x="222" y="180"/>
                </a:lnTo>
                <a:lnTo>
                  <a:pt x="222" y="180"/>
                </a:lnTo>
                <a:lnTo>
                  <a:pt x="222" y="180"/>
                </a:lnTo>
                <a:lnTo>
                  <a:pt x="222" y="186"/>
                </a:lnTo>
                <a:lnTo>
                  <a:pt x="222" y="186"/>
                </a:lnTo>
                <a:lnTo>
                  <a:pt x="222" y="186"/>
                </a:lnTo>
                <a:lnTo>
                  <a:pt x="222" y="186"/>
                </a:lnTo>
                <a:lnTo>
                  <a:pt x="222" y="186"/>
                </a:lnTo>
                <a:lnTo>
                  <a:pt x="222" y="186"/>
                </a:lnTo>
                <a:lnTo>
                  <a:pt x="222" y="186"/>
                </a:lnTo>
                <a:lnTo>
                  <a:pt x="222" y="186"/>
                </a:lnTo>
                <a:lnTo>
                  <a:pt x="222" y="186"/>
                </a:lnTo>
                <a:lnTo>
                  <a:pt x="222" y="186"/>
                </a:lnTo>
                <a:lnTo>
                  <a:pt x="222" y="186"/>
                </a:lnTo>
                <a:lnTo>
                  <a:pt x="222" y="186"/>
                </a:lnTo>
                <a:lnTo>
                  <a:pt x="216" y="186"/>
                </a:lnTo>
                <a:lnTo>
                  <a:pt x="216" y="186"/>
                </a:lnTo>
                <a:lnTo>
                  <a:pt x="216" y="186"/>
                </a:lnTo>
                <a:lnTo>
                  <a:pt x="216" y="186"/>
                </a:lnTo>
                <a:lnTo>
                  <a:pt x="216" y="192"/>
                </a:lnTo>
                <a:lnTo>
                  <a:pt x="216" y="186"/>
                </a:lnTo>
                <a:lnTo>
                  <a:pt x="216" y="186"/>
                </a:lnTo>
                <a:lnTo>
                  <a:pt x="216" y="186"/>
                </a:lnTo>
                <a:lnTo>
                  <a:pt x="210" y="186"/>
                </a:lnTo>
                <a:lnTo>
                  <a:pt x="216" y="186"/>
                </a:lnTo>
                <a:lnTo>
                  <a:pt x="210" y="186"/>
                </a:lnTo>
                <a:lnTo>
                  <a:pt x="210" y="186"/>
                </a:lnTo>
                <a:lnTo>
                  <a:pt x="210" y="186"/>
                </a:lnTo>
                <a:lnTo>
                  <a:pt x="210" y="186"/>
                </a:lnTo>
                <a:lnTo>
                  <a:pt x="216" y="186"/>
                </a:lnTo>
                <a:lnTo>
                  <a:pt x="216" y="186"/>
                </a:lnTo>
                <a:lnTo>
                  <a:pt x="216" y="186"/>
                </a:lnTo>
                <a:lnTo>
                  <a:pt x="210" y="186"/>
                </a:lnTo>
                <a:lnTo>
                  <a:pt x="210" y="186"/>
                </a:lnTo>
                <a:lnTo>
                  <a:pt x="210" y="186"/>
                </a:lnTo>
                <a:lnTo>
                  <a:pt x="210" y="186"/>
                </a:lnTo>
                <a:lnTo>
                  <a:pt x="210" y="186"/>
                </a:lnTo>
                <a:lnTo>
                  <a:pt x="210" y="186"/>
                </a:lnTo>
                <a:lnTo>
                  <a:pt x="210" y="186"/>
                </a:lnTo>
                <a:lnTo>
                  <a:pt x="210" y="186"/>
                </a:lnTo>
                <a:lnTo>
                  <a:pt x="210" y="186"/>
                </a:lnTo>
                <a:lnTo>
                  <a:pt x="210" y="192"/>
                </a:lnTo>
                <a:lnTo>
                  <a:pt x="210" y="192"/>
                </a:lnTo>
                <a:lnTo>
                  <a:pt x="210" y="192"/>
                </a:lnTo>
                <a:lnTo>
                  <a:pt x="210" y="192"/>
                </a:lnTo>
                <a:lnTo>
                  <a:pt x="210" y="192"/>
                </a:lnTo>
                <a:lnTo>
                  <a:pt x="210" y="192"/>
                </a:lnTo>
                <a:lnTo>
                  <a:pt x="210" y="192"/>
                </a:lnTo>
                <a:lnTo>
                  <a:pt x="210" y="192"/>
                </a:lnTo>
                <a:lnTo>
                  <a:pt x="210" y="192"/>
                </a:lnTo>
                <a:lnTo>
                  <a:pt x="210" y="198"/>
                </a:lnTo>
                <a:lnTo>
                  <a:pt x="210" y="192"/>
                </a:lnTo>
                <a:lnTo>
                  <a:pt x="210" y="192"/>
                </a:lnTo>
                <a:lnTo>
                  <a:pt x="210" y="198"/>
                </a:lnTo>
                <a:lnTo>
                  <a:pt x="210" y="192"/>
                </a:lnTo>
                <a:lnTo>
                  <a:pt x="210" y="192"/>
                </a:lnTo>
                <a:lnTo>
                  <a:pt x="210" y="192"/>
                </a:lnTo>
                <a:lnTo>
                  <a:pt x="210" y="192"/>
                </a:lnTo>
                <a:lnTo>
                  <a:pt x="210" y="192"/>
                </a:lnTo>
                <a:lnTo>
                  <a:pt x="210" y="192"/>
                </a:lnTo>
                <a:lnTo>
                  <a:pt x="210" y="192"/>
                </a:lnTo>
                <a:lnTo>
                  <a:pt x="204" y="192"/>
                </a:lnTo>
                <a:lnTo>
                  <a:pt x="210" y="192"/>
                </a:lnTo>
                <a:lnTo>
                  <a:pt x="204" y="192"/>
                </a:lnTo>
                <a:lnTo>
                  <a:pt x="204" y="192"/>
                </a:lnTo>
                <a:lnTo>
                  <a:pt x="204" y="192"/>
                </a:lnTo>
                <a:lnTo>
                  <a:pt x="204" y="192"/>
                </a:lnTo>
                <a:lnTo>
                  <a:pt x="204" y="192"/>
                </a:lnTo>
                <a:lnTo>
                  <a:pt x="204" y="192"/>
                </a:lnTo>
                <a:lnTo>
                  <a:pt x="204" y="192"/>
                </a:lnTo>
                <a:lnTo>
                  <a:pt x="204" y="192"/>
                </a:lnTo>
                <a:lnTo>
                  <a:pt x="204" y="192"/>
                </a:lnTo>
                <a:lnTo>
                  <a:pt x="204" y="192"/>
                </a:lnTo>
                <a:lnTo>
                  <a:pt x="204" y="192"/>
                </a:lnTo>
                <a:lnTo>
                  <a:pt x="204" y="192"/>
                </a:lnTo>
                <a:lnTo>
                  <a:pt x="204" y="198"/>
                </a:lnTo>
                <a:lnTo>
                  <a:pt x="204" y="198"/>
                </a:lnTo>
                <a:lnTo>
                  <a:pt x="204" y="198"/>
                </a:lnTo>
                <a:lnTo>
                  <a:pt x="204" y="198"/>
                </a:lnTo>
                <a:lnTo>
                  <a:pt x="204" y="198"/>
                </a:lnTo>
                <a:lnTo>
                  <a:pt x="204" y="198"/>
                </a:lnTo>
                <a:lnTo>
                  <a:pt x="204" y="198"/>
                </a:lnTo>
                <a:lnTo>
                  <a:pt x="204" y="198"/>
                </a:lnTo>
                <a:lnTo>
                  <a:pt x="204" y="198"/>
                </a:lnTo>
                <a:lnTo>
                  <a:pt x="204" y="198"/>
                </a:lnTo>
                <a:lnTo>
                  <a:pt x="204" y="198"/>
                </a:lnTo>
                <a:lnTo>
                  <a:pt x="204" y="198"/>
                </a:lnTo>
                <a:lnTo>
                  <a:pt x="204" y="204"/>
                </a:lnTo>
                <a:lnTo>
                  <a:pt x="204" y="204"/>
                </a:lnTo>
                <a:lnTo>
                  <a:pt x="204" y="204"/>
                </a:lnTo>
                <a:lnTo>
                  <a:pt x="204" y="204"/>
                </a:lnTo>
                <a:lnTo>
                  <a:pt x="204" y="204"/>
                </a:lnTo>
                <a:lnTo>
                  <a:pt x="204" y="204"/>
                </a:lnTo>
                <a:lnTo>
                  <a:pt x="204" y="204"/>
                </a:lnTo>
                <a:lnTo>
                  <a:pt x="204" y="204"/>
                </a:lnTo>
                <a:lnTo>
                  <a:pt x="204" y="204"/>
                </a:lnTo>
                <a:lnTo>
                  <a:pt x="204" y="204"/>
                </a:lnTo>
                <a:lnTo>
                  <a:pt x="210" y="198"/>
                </a:lnTo>
                <a:lnTo>
                  <a:pt x="210" y="204"/>
                </a:lnTo>
                <a:lnTo>
                  <a:pt x="210" y="204"/>
                </a:lnTo>
                <a:lnTo>
                  <a:pt x="210" y="204"/>
                </a:lnTo>
                <a:lnTo>
                  <a:pt x="210" y="204"/>
                </a:lnTo>
                <a:lnTo>
                  <a:pt x="210" y="204"/>
                </a:lnTo>
                <a:lnTo>
                  <a:pt x="210" y="204"/>
                </a:lnTo>
                <a:lnTo>
                  <a:pt x="210" y="204"/>
                </a:lnTo>
                <a:lnTo>
                  <a:pt x="210" y="204"/>
                </a:lnTo>
                <a:lnTo>
                  <a:pt x="210" y="204"/>
                </a:lnTo>
                <a:lnTo>
                  <a:pt x="210" y="204"/>
                </a:lnTo>
                <a:lnTo>
                  <a:pt x="210" y="204"/>
                </a:lnTo>
                <a:lnTo>
                  <a:pt x="210" y="204"/>
                </a:lnTo>
                <a:lnTo>
                  <a:pt x="216" y="204"/>
                </a:lnTo>
                <a:lnTo>
                  <a:pt x="216" y="204"/>
                </a:lnTo>
                <a:lnTo>
                  <a:pt x="216" y="204"/>
                </a:lnTo>
                <a:lnTo>
                  <a:pt x="216" y="204"/>
                </a:lnTo>
                <a:lnTo>
                  <a:pt x="216" y="204"/>
                </a:lnTo>
                <a:lnTo>
                  <a:pt x="216" y="210"/>
                </a:lnTo>
                <a:lnTo>
                  <a:pt x="216" y="210"/>
                </a:lnTo>
                <a:lnTo>
                  <a:pt x="216" y="210"/>
                </a:lnTo>
                <a:lnTo>
                  <a:pt x="216" y="210"/>
                </a:lnTo>
                <a:lnTo>
                  <a:pt x="216" y="210"/>
                </a:lnTo>
                <a:lnTo>
                  <a:pt x="216" y="210"/>
                </a:lnTo>
                <a:lnTo>
                  <a:pt x="216" y="210"/>
                </a:lnTo>
                <a:lnTo>
                  <a:pt x="210" y="210"/>
                </a:lnTo>
                <a:lnTo>
                  <a:pt x="216" y="210"/>
                </a:lnTo>
                <a:lnTo>
                  <a:pt x="210" y="210"/>
                </a:lnTo>
                <a:lnTo>
                  <a:pt x="210" y="210"/>
                </a:lnTo>
                <a:lnTo>
                  <a:pt x="210" y="210"/>
                </a:lnTo>
                <a:lnTo>
                  <a:pt x="210" y="210"/>
                </a:lnTo>
                <a:lnTo>
                  <a:pt x="210" y="210"/>
                </a:lnTo>
                <a:lnTo>
                  <a:pt x="210" y="210"/>
                </a:lnTo>
                <a:lnTo>
                  <a:pt x="210" y="204"/>
                </a:lnTo>
                <a:lnTo>
                  <a:pt x="210" y="204"/>
                </a:lnTo>
                <a:lnTo>
                  <a:pt x="210" y="204"/>
                </a:lnTo>
                <a:lnTo>
                  <a:pt x="210" y="204"/>
                </a:lnTo>
                <a:lnTo>
                  <a:pt x="210" y="210"/>
                </a:lnTo>
                <a:lnTo>
                  <a:pt x="204" y="210"/>
                </a:lnTo>
                <a:lnTo>
                  <a:pt x="204" y="210"/>
                </a:lnTo>
                <a:lnTo>
                  <a:pt x="204" y="210"/>
                </a:lnTo>
                <a:lnTo>
                  <a:pt x="198" y="210"/>
                </a:lnTo>
                <a:lnTo>
                  <a:pt x="198" y="210"/>
                </a:lnTo>
                <a:lnTo>
                  <a:pt x="198" y="210"/>
                </a:lnTo>
                <a:lnTo>
                  <a:pt x="198" y="210"/>
                </a:lnTo>
                <a:lnTo>
                  <a:pt x="198" y="210"/>
                </a:lnTo>
                <a:lnTo>
                  <a:pt x="198" y="210"/>
                </a:lnTo>
                <a:lnTo>
                  <a:pt x="198" y="210"/>
                </a:lnTo>
                <a:lnTo>
                  <a:pt x="198" y="210"/>
                </a:lnTo>
                <a:lnTo>
                  <a:pt x="198" y="210"/>
                </a:lnTo>
                <a:lnTo>
                  <a:pt x="198" y="210"/>
                </a:lnTo>
                <a:lnTo>
                  <a:pt x="198" y="210"/>
                </a:lnTo>
                <a:lnTo>
                  <a:pt x="198" y="210"/>
                </a:lnTo>
                <a:lnTo>
                  <a:pt x="198" y="210"/>
                </a:lnTo>
                <a:lnTo>
                  <a:pt x="198" y="210"/>
                </a:lnTo>
                <a:lnTo>
                  <a:pt x="198" y="210"/>
                </a:lnTo>
                <a:lnTo>
                  <a:pt x="198" y="210"/>
                </a:lnTo>
                <a:lnTo>
                  <a:pt x="192" y="210"/>
                </a:lnTo>
                <a:lnTo>
                  <a:pt x="198" y="204"/>
                </a:lnTo>
                <a:lnTo>
                  <a:pt x="192" y="210"/>
                </a:lnTo>
                <a:lnTo>
                  <a:pt x="192" y="210"/>
                </a:lnTo>
                <a:lnTo>
                  <a:pt x="192" y="210"/>
                </a:lnTo>
                <a:lnTo>
                  <a:pt x="192" y="210"/>
                </a:lnTo>
                <a:lnTo>
                  <a:pt x="192" y="210"/>
                </a:lnTo>
                <a:lnTo>
                  <a:pt x="192" y="210"/>
                </a:lnTo>
                <a:lnTo>
                  <a:pt x="192" y="210"/>
                </a:lnTo>
                <a:lnTo>
                  <a:pt x="192" y="210"/>
                </a:lnTo>
                <a:lnTo>
                  <a:pt x="192" y="210"/>
                </a:lnTo>
                <a:lnTo>
                  <a:pt x="192" y="210"/>
                </a:lnTo>
                <a:lnTo>
                  <a:pt x="192" y="210"/>
                </a:lnTo>
                <a:lnTo>
                  <a:pt x="192" y="210"/>
                </a:lnTo>
                <a:lnTo>
                  <a:pt x="192" y="210"/>
                </a:lnTo>
                <a:lnTo>
                  <a:pt x="192" y="210"/>
                </a:lnTo>
                <a:lnTo>
                  <a:pt x="192" y="216"/>
                </a:lnTo>
                <a:lnTo>
                  <a:pt x="192" y="216"/>
                </a:lnTo>
                <a:lnTo>
                  <a:pt x="192" y="210"/>
                </a:lnTo>
                <a:lnTo>
                  <a:pt x="192" y="216"/>
                </a:lnTo>
                <a:lnTo>
                  <a:pt x="192" y="216"/>
                </a:lnTo>
                <a:lnTo>
                  <a:pt x="192" y="216"/>
                </a:lnTo>
                <a:lnTo>
                  <a:pt x="192" y="216"/>
                </a:lnTo>
                <a:lnTo>
                  <a:pt x="192" y="216"/>
                </a:lnTo>
                <a:lnTo>
                  <a:pt x="192" y="216"/>
                </a:lnTo>
                <a:lnTo>
                  <a:pt x="192" y="216"/>
                </a:lnTo>
                <a:lnTo>
                  <a:pt x="198" y="216"/>
                </a:lnTo>
                <a:lnTo>
                  <a:pt x="198" y="216"/>
                </a:lnTo>
                <a:lnTo>
                  <a:pt x="192" y="216"/>
                </a:lnTo>
                <a:lnTo>
                  <a:pt x="192" y="216"/>
                </a:lnTo>
                <a:lnTo>
                  <a:pt x="192" y="216"/>
                </a:lnTo>
                <a:lnTo>
                  <a:pt x="198" y="216"/>
                </a:lnTo>
                <a:lnTo>
                  <a:pt x="198" y="216"/>
                </a:lnTo>
                <a:lnTo>
                  <a:pt x="198" y="216"/>
                </a:lnTo>
                <a:lnTo>
                  <a:pt x="192" y="216"/>
                </a:lnTo>
                <a:lnTo>
                  <a:pt x="192" y="216"/>
                </a:lnTo>
                <a:lnTo>
                  <a:pt x="192" y="216"/>
                </a:lnTo>
                <a:lnTo>
                  <a:pt x="192" y="216"/>
                </a:lnTo>
                <a:lnTo>
                  <a:pt x="192" y="216"/>
                </a:lnTo>
                <a:lnTo>
                  <a:pt x="192" y="222"/>
                </a:lnTo>
                <a:lnTo>
                  <a:pt x="192" y="222"/>
                </a:lnTo>
                <a:lnTo>
                  <a:pt x="192" y="222"/>
                </a:lnTo>
                <a:lnTo>
                  <a:pt x="192" y="222"/>
                </a:lnTo>
                <a:lnTo>
                  <a:pt x="192" y="222"/>
                </a:lnTo>
                <a:lnTo>
                  <a:pt x="192" y="222"/>
                </a:lnTo>
                <a:lnTo>
                  <a:pt x="192" y="222"/>
                </a:lnTo>
                <a:lnTo>
                  <a:pt x="192" y="222"/>
                </a:lnTo>
                <a:lnTo>
                  <a:pt x="192" y="222"/>
                </a:lnTo>
                <a:lnTo>
                  <a:pt x="192" y="222"/>
                </a:lnTo>
                <a:lnTo>
                  <a:pt x="192" y="222"/>
                </a:lnTo>
                <a:lnTo>
                  <a:pt x="198" y="222"/>
                </a:lnTo>
                <a:lnTo>
                  <a:pt x="198" y="222"/>
                </a:lnTo>
                <a:lnTo>
                  <a:pt x="198" y="222"/>
                </a:lnTo>
                <a:lnTo>
                  <a:pt x="198" y="222"/>
                </a:lnTo>
                <a:lnTo>
                  <a:pt x="198" y="222"/>
                </a:lnTo>
                <a:lnTo>
                  <a:pt x="198" y="222"/>
                </a:lnTo>
                <a:lnTo>
                  <a:pt x="198" y="222"/>
                </a:lnTo>
                <a:lnTo>
                  <a:pt x="192" y="228"/>
                </a:lnTo>
                <a:lnTo>
                  <a:pt x="192" y="228"/>
                </a:lnTo>
                <a:lnTo>
                  <a:pt x="198" y="228"/>
                </a:lnTo>
                <a:lnTo>
                  <a:pt x="198" y="228"/>
                </a:lnTo>
                <a:lnTo>
                  <a:pt x="198" y="228"/>
                </a:lnTo>
                <a:lnTo>
                  <a:pt x="198" y="228"/>
                </a:lnTo>
                <a:lnTo>
                  <a:pt x="198" y="228"/>
                </a:lnTo>
                <a:lnTo>
                  <a:pt x="198" y="228"/>
                </a:lnTo>
                <a:lnTo>
                  <a:pt x="204" y="228"/>
                </a:lnTo>
                <a:lnTo>
                  <a:pt x="204" y="222"/>
                </a:lnTo>
                <a:lnTo>
                  <a:pt x="204" y="228"/>
                </a:lnTo>
                <a:lnTo>
                  <a:pt x="204" y="228"/>
                </a:lnTo>
                <a:lnTo>
                  <a:pt x="198" y="228"/>
                </a:lnTo>
                <a:lnTo>
                  <a:pt x="198" y="228"/>
                </a:lnTo>
                <a:lnTo>
                  <a:pt x="198" y="228"/>
                </a:lnTo>
                <a:lnTo>
                  <a:pt x="198" y="228"/>
                </a:lnTo>
                <a:lnTo>
                  <a:pt x="198" y="228"/>
                </a:lnTo>
                <a:lnTo>
                  <a:pt x="198" y="234"/>
                </a:lnTo>
                <a:lnTo>
                  <a:pt x="198" y="234"/>
                </a:lnTo>
                <a:lnTo>
                  <a:pt x="204" y="234"/>
                </a:lnTo>
                <a:lnTo>
                  <a:pt x="198" y="234"/>
                </a:lnTo>
                <a:lnTo>
                  <a:pt x="198" y="234"/>
                </a:lnTo>
                <a:lnTo>
                  <a:pt x="198" y="234"/>
                </a:lnTo>
                <a:lnTo>
                  <a:pt x="198" y="234"/>
                </a:lnTo>
                <a:lnTo>
                  <a:pt x="198" y="234"/>
                </a:lnTo>
                <a:lnTo>
                  <a:pt x="198" y="234"/>
                </a:lnTo>
                <a:lnTo>
                  <a:pt x="198" y="234"/>
                </a:lnTo>
                <a:lnTo>
                  <a:pt x="198" y="228"/>
                </a:lnTo>
                <a:lnTo>
                  <a:pt x="198" y="228"/>
                </a:lnTo>
                <a:lnTo>
                  <a:pt x="192" y="228"/>
                </a:lnTo>
                <a:lnTo>
                  <a:pt x="198" y="228"/>
                </a:lnTo>
                <a:lnTo>
                  <a:pt x="198" y="228"/>
                </a:lnTo>
                <a:lnTo>
                  <a:pt x="198" y="228"/>
                </a:lnTo>
                <a:lnTo>
                  <a:pt x="198" y="228"/>
                </a:lnTo>
                <a:lnTo>
                  <a:pt x="198" y="228"/>
                </a:lnTo>
                <a:lnTo>
                  <a:pt x="198" y="228"/>
                </a:lnTo>
                <a:lnTo>
                  <a:pt x="198" y="228"/>
                </a:lnTo>
                <a:lnTo>
                  <a:pt x="192" y="228"/>
                </a:lnTo>
                <a:lnTo>
                  <a:pt x="192" y="228"/>
                </a:lnTo>
                <a:lnTo>
                  <a:pt x="192" y="228"/>
                </a:lnTo>
                <a:lnTo>
                  <a:pt x="192" y="228"/>
                </a:lnTo>
                <a:lnTo>
                  <a:pt x="192" y="228"/>
                </a:lnTo>
                <a:lnTo>
                  <a:pt x="186" y="228"/>
                </a:lnTo>
                <a:lnTo>
                  <a:pt x="186" y="228"/>
                </a:lnTo>
                <a:lnTo>
                  <a:pt x="186" y="228"/>
                </a:lnTo>
                <a:lnTo>
                  <a:pt x="186" y="228"/>
                </a:lnTo>
                <a:lnTo>
                  <a:pt x="186" y="228"/>
                </a:lnTo>
                <a:lnTo>
                  <a:pt x="186" y="228"/>
                </a:lnTo>
                <a:lnTo>
                  <a:pt x="186" y="228"/>
                </a:lnTo>
                <a:lnTo>
                  <a:pt x="186" y="228"/>
                </a:lnTo>
                <a:lnTo>
                  <a:pt x="186" y="228"/>
                </a:lnTo>
                <a:lnTo>
                  <a:pt x="186" y="228"/>
                </a:lnTo>
                <a:lnTo>
                  <a:pt x="186" y="228"/>
                </a:lnTo>
                <a:lnTo>
                  <a:pt x="186" y="228"/>
                </a:lnTo>
                <a:lnTo>
                  <a:pt x="186" y="228"/>
                </a:lnTo>
                <a:lnTo>
                  <a:pt x="186" y="228"/>
                </a:lnTo>
                <a:lnTo>
                  <a:pt x="186" y="228"/>
                </a:lnTo>
                <a:lnTo>
                  <a:pt x="186" y="228"/>
                </a:lnTo>
                <a:lnTo>
                  <a:pt x="186" y="228"/>
                </a:lnTo>
                <a:lnTo>
                  <a:pt x="186" y="228"/>
                </a:lnTo>
                <a:lnTo>
                  <a:pt x="186" y="222"/>
                </a:lnTo>
                <a:lnTo>
                  <a:pt x="186" y="222"/>
                </a:lnTo>
                <a:lnTo>
                  <a:pt x="186" y="228"/>
                </a:lnTo>
                <a:lnTo>
                  <a:pt x="186" y="222"/>
                </a:lnTo>
                <a:lnTo>
                  <a:pt x="186" y="228"/>
                </a:lnTo>
                <a:lnTo>
                  <a:pt x="186" y="222"/>
                </a:lnTo>
                <a:lnTo>
                  <a:pt x="186" y="222"/>
                </a:lnTo>
                <a:lnTo>
                  <a:pt x="186" y="222"/>
                </a:lnTo>
                <a:lnTo>
                  <a:pt x="186" y="222"/>
                </a:lnTo>
                <a:lnTo>
                  <a:pt x="186" y="222"/>
                </a:lnTo>
                <a:lnTo>
                  <a:pt x="186" y="222"/>
                </a:lnTo>
                <a:lnTo>
                  <a:pt x="186" y="222"/>
                </a:lnTo>
                <a:lnTo>
                  <a:pt x="186" y="222"/>
                </a:lnTo>
                <a:lnTo>
                  <a:pt x="186" y="222"/>
                </a:lnTo>
                <a:lnTo>
                  <a:pt x="180" y="222"/>
                </a:lnTo>
                <a:lnTo>
                  <a:pt x="180" y="222"/>
                </a:lnTo>
                <a:lnTo>
                  <a:pt x="180" y="222"/>
                </a:lnTo>
                <a:lnTo>
                  <a:pt x="180" y="222"/>
                </a:lnTo>
                <a:lnTo>
                  <a:pt x="180" y="222"/>
                </a:lnTo>
                <a:lnTo>
                  <a:pt x="180" y="222"/>
                </a:lnTo>
                <a:lnTo>
                  <a:pt x="180" y="222"/>
                </a:lnTo>
                <a:lnTo>
                  <a:pt x="180" y="222"/>
                </a:lnTo>
                <a:lnTo>
                  <a:pt x="180" y="222"/>
                </a:lnTo>
                <a:lnTo>
                  <a:pt x="180" y="222"/>
                </a:lnTo>
                <a:lnTo>
                  <a:pt x="180" y="228"/>
                </a:lnTo>
                <a:lnTo>
                  <a:pt x="180" y="228"/>
                </a:lnTo>
                <a:lnTo>
                  <a:pt x="180" y="228"/>
                </a:lnTo>
                <a:lnTo>
                  <a:pt x="180" y="228"/>
                </a:lnTo>
                <a:lnTo>
                  <a:pt x="180" y="228"/>
                </a:lnTo>
                <a:lnTo>
                  <a:pt x="180" y="228"/>
                </a:lnTo>
                <a:lnTo>
                  <a:pt x="174" y="228"/>
                </a:lnTo>
                <a:lnTo>
                  <a:pt x="174" y="228"/>
                </a:lnTo>
                <a:lnTo>
                  <a:pt x="174" y="228"/>
                </a:lnTo>
                <a:lnTo>
                  <a:pt x="168" y="234"/>
                </a:lnTo>
                <a:lnTo>
                  <a:pt x="168" y="234"/>
                </a:lnTo>
                <a:lnTo>
                  <a:pt x="168" y="234"/>
                </a:lnTo>
                <a:lnTo>
                  <a:pt x="156" y="234"/>
                </a:lnTo>
                <a:lnTo>
                  <a:pt x="150" y="234"/>
                </a:lnTo>
                <a:lnTo>
                  <a:pt x="150" y="234"/>
                </a:lnTo>
                <a:lnTo>
                  <a:pt x="150" y="234"/>
                </a:lnTo>
                <a:lnTo>
                  <a:pt x="150" y="234"/>
                </a:lnTo>
                <a:lnTo>
                  <a:pt x="144" y="234"/>
                </a:lnTo>
                <a:lnTo>
                  <a:pt x="144" y="234"/>
                </a:lnTo>
                <a:lnTo>
                  <a:pt x="144" y="234"/>
                </a:lnTo>
                <a:lnTo>
                  <a:pt x="144" y="234"/>
                </a:lnTo>
                <a:lnTo>
                  <a:pt x="138" y="228"/>
                </a:lnTo>
                <a:lnTo>
                  <a:pt x="138" y="228"/>
                </a:lnTo>
                <a:lnTo>
                  <a:pt x="138" y="228"/>
                </a:lnTo>
                <a:lnTo>
                  <a:pt x="138" y="228"/>
                </a:lnTo>
                <a:lnTo>
                  <a:pt x="138" y="228"/>
                </a:lnTo>
                <a:lnTo>
                  <a:pt x="132" y="228"/>
                </a:lnTo>
                <a:lnTo>
                  <a:pt x="132" y="222"/>
                </a:lnTo>
                <a:lnTo>
                  <a:pt x="132" y="222"/>
                </a:lnTo>
                <a:lnTo>
                  <a:pt x="132" y="222"/>
                </a:lnTo>
                <a:lnTo>
                  <a:pt x="132" y="222"/>
                </a:lnTo>
                <a:lnTo>
                  <a:pt x="132" y="222"/>
                </a:lnTo>
                <a:lnTo>
                  <a:pt x="138" y="222"/>
                </a:lnTo>
                <a:lnTo>
                  <a:pt x="138" y="222"/>
                </a:lnTo>
                <a:lnTo>
                  <a:pt x="138" y="216"/>
                </a:lnTo>
                <a:lnTo>
                  <a:pt x="138" y="216"/>
                </a:lnTo>
                <a:lnTo>
                  <a:pt x="138" y="216"/>
                </a:lnTo>
                <a:lnTo>
                  <a:pt x="138" y="216"/>
                </a:lnTo>
                <a:lnTo>
                  <a:pt x="138" y="210"/>
                </a:lnTo>
                <a:lnTo>
                  <a:pt x="138" y="210"/>
                </a:lnTo>
                <a:lnTo>
                  <a:pt x="132" y="210"/>
                </a:lnTo>
                <a:lnTo>
                  <a:pt x="138" y="210"/>
                </a:lnTo>
                <a:lnTo>
                  <a:pt x="132" y="204"/>
                </a:lnTo>
                <a:lnTo>
                  <a:pt x="132" y="204"/>
                </a:lnTo>
                <a:lnTo>
                  <a:pt x="132" y="210"/>
                </a:lnTo>
                <a:lnTo>
                  <a:pt x="132" y="210"/>
                </a:lnTo>
                <a:lnTo>
                  <a:pt x="126" y="204"/>
                </a:lnTo>
                <a:lnTo>
                  <a:pt x="126" y="204"/>
                </a:lnTo>
                <a:lnTo>
                  <a:pt x="126" y="204"/>
                </a:lnTo>
                <a:lnTo>
                  <a:pt x="126" y="204"/>
                </a:lnTo>
                <a:lnTo>
                  <a:pt x="126" y="204"/>
                </a:lnTo>
                <a:lnTo>
                  <a:pt x="126" y="204"/>
                </a:lnTo>
                <a:lnTo>
                  <a:pt x="126" y="204"/>
                </a:lnTo>
                <a:lnTo>
                  <a:pt x="126" y="198"/>
                </a:lnTo>
                <a:lnTo>
                  <a:pt x="120" y="198"/>
                </a:lnTo>
                <a:lnTo>
                  <a:pt x="120" y="198"/>
                </a:lnTo>
                <a:lnTo>
                  <a:pt x="120" y="198"/>
                </a:lnTo>
                <a:lnTo>
                  <a:pt x="120" y="198"/>
                </a:lnTo>
                <a:lnTo>
                  <a:pt x="114" y="198"/>
                </a:lnTo>
                <a:lnTo>
                  <a:pt x="114" y="198"/>
                </a:lnTo>
                <a:lnTo>
                  <a:pt x="114" y="198"/>
                </a:lnTo>
                <a:lnTo>
                  <a:pt x="114" y="198"/>
                </a:lnTo>
                <a:lnTo>
                  <a:pt x="114" y="198"/>
                </a:lnTo>
                <a:lnTo>
                  <a:pt x="114" y="198"/>
                </a:lnTo>
                <a:lnTo>
                  <a:pt x="114" y="198"/>
                </a:lnTo>
                <a:lnTo>
                  <a:pt x="114" y="198"/>
                </a:lnTo>
                <a:lnTo>
                  <a:pt x="114" y="198"/>
                </a:lnTo>
                <a:lnTo>
                  <a:pt x="114" y="198"/>
                </a:lnTo>
                <a:lnTo>
                  <a:pt x="114" y="192"/>
                </a:lnTo>
                <a:lnTo>
                  <a:pt x="114" y="192"/>
                </a:lnTo>
                <a:lnTo>
                  <a:pt x="114" y="192"/>
                </a:lnTo>
                <a:lnTo>
                  <a:pt x="114" y="192"/>
                </a:lnTo>
                <a:lnTo>
                  <a:pt x="114" y="192"/>
                </a:lnTo>
                <a:lnTo>
                  <a:pt x="114" y="192"/>
                </a:lnTo>
                <a:lnTo>
                  <a:pt x="114" y="192"/>
                </a:lnTo>
                <a:lnTo>
                  <a:pt x="114" y="186"/>
                </a:lnTo>
                <a:lnTo>
                  <a:pt x="114" y="186"/>
                </a:lnTo>
                <a:lnTo>
                  <a:pt x="114" y="186"/>
                </a:lnTo>
                <a:lnTo>
                  <a:pt x="114" y="186"/>
                </a:lnTo>
                <a:lnTo>
                  <a:pt x="114" y="186"/>
                </a:lnTo>
                <a:lnTo>
                  <a:pt x="114" y="186"/>
                </a:lnTo>
                <a:lnTo>
                  <a:pt x="114" y="186"/>
                </a:lnTo>
                <a:lnTo>
                  <a:pt x="114" y="180"/>
                </a:lnTo>
                <a:lnTo>
                  <a:pt x="114" y="180"/>
                </a:lnTo>
                <a:lnTo>
                  <a:pt x="114" y="180"/>
                </a:lnTo>
                <a:lnTo>
                  <a:pt x="114" y="180"/>
                </a:lnTo>
                <a:lnTo>
                  <a:pt x="108" y="180"/>
                </a:lnTo>
                <a:lnTo>
                  <a:pt x="108" y="180"/>
                </a:lnTo>
                <a:lnTo>
                  <a:pt x="108" y="180"/>
                </a:lnTo>
                <a:lnTo>
                  <a:pt x="108" y="180"/>
                </a:lnTo>
                <a:lnTo>
                  <a:pt x="108" y="180"/>
                </a:lnTo>
                <a:lnTo>
                  <a:pt x="108" y="180"/>
                </a:lnTo>
                <a:lnTo>
                  <a:pt x="102" y="180"/>
                </a:lnTo>
                <a:lnTo>
                  <a:pt x="102" y="180"/>
                </a:lnTo>
                <a:lnTo>
                  <a:pt x="108" y="174"/>
                </a:lnTo>
                <a:lnTo>
                  <a:pt x="102" y="174"/>
                </a:lnTo>
                <a:lnTo>
                  <a:pt x="102" y="174"/>
                </a:lnTo>
                <a:lnTo>
                  <a:pt x="102" y="174"/>
                </a:lnTo>
                <a:lnTo>
                  <a:pt x="102" y="174"/>
                </a:lnTo>
                <a:lnTo>
                  <a:pt x="102" y="174"/>
                </a:lnTo>
                <a:lnTo>
                  <a:pt x="102" y="174"/>
                </a:lnTo>
                <a:lnTo>
                  <a:pt x="102" y="174"/>
                </a:lnTo>
                <a:lnTo>
                  <a:pt x="108" y="174"/>
                </a:lnTo>
                <a:lnTo>
                  <a:pt x="108" y="174"/>
                </a:lnTo>
                <a:lnTo>
                  <a:pt x="108" y="174"/>
                </a:lnTo>
                <a:lnTo>
                  <a:pt x="108" y="168"/>
                </a:lnTo>
                <a:lnTo>
                  <a:pt x="114" y="168"/>
                </a:lnTo>
                <a:lnTo>
                  <a:pt x="114" y="168"/>
                </a:lnTo>
                <a:lnTo>
                  <a:pt x="114" y="168"/>
                </a:lnTo>
                <a:lnTo>
                  <a:pt x="120" y="168"/>
                </a:lnTo>
                <a:lnTo>
                  <a:pt x="120" y="168"/>
                </a:lnTo>
                <a:lnTo>
                  <a:pt x="120" y="168"/>
                </a:lnTo>
                <a:lnTo>
                  <a:pt x="120" y="168"/>
                </a:lnTo>
                <a:lnTo>
                  <a:pt x="120" y="168"/>
                </a:lnTo>
                <a:lnTo>
                  <a:pt x="120" y="168"/>
                </a:lnTo>
                <a:lnTo>
                  <a:pt x="120" y="168"/>
                </a:lnTo>
                <a:lnTo>
                  <a:pt x="120" y="168"/>
                </a:lnTo>
                <a:lnTo>
                  <a:pt x="120" y="168"/>
                </a:lnTo>
                <a:lnTo>
                  <a:pt x="120" y="162"/>
                </a:lnTo>
                <a:lnTo>
                  <a:pt x="120" y="162"/>
                </a:lnTo>
                <a:lnTo>
                  <a:pt x="120" y="162"/>
                </a:lnTo>
                <a:lnTo>
                  <a:pt x="120" y="162"/>
                </a:lnTo>
                <a:lnTo>
                  <a:pt x="120" y="162"/>
                </a:lnTo>
                <a:lnTo>
                  <a:pt x="120" y="162"/>
                </a:lnTo>
                <a:lnTo>
                  <a:pt x="114" y="162"/>
                </a:lnTo>
                <a:lnTo>
                  <a:pt x="120" y="156"/>
                </a:lnTo>
                <a:lnTo>
                  <a:pt x="114" y="156"/>
                </a:lnTo>
                <a:lnTo>
                  <a:pt x="114" y="156"/>
                </a:lnTo>
                <a:lnTo>
                  <a:pt x="120" y="156"/>
                </a:lnTo>
                <a:lnTo>
                  <a:pt x="120" y="156"/>
                </a:lnTo>
                <a:lnTo>
                  <a:pt x="120" y="156"/>
                </a:lnTo>
                <a:lnTo>
                  <a:pt x="120" y="156"/>
                </a:lnTo>
                <a:lnTo>
                  <a:pt x="120" y="156"/>
                </a:lnTo>
                <a:lnTo>
                  <a:pt x="120" y="156"/>
                </a:lnTo>
                <a:lnTo>
                  <a:pt x="120" y="156"/>
                </a:lnTo>
                <a:lnTo>
                  <a:pt x="120" y="150"/>
                </a:lnTo>
                <a:lnTo>
                  <a:pt x="120" y="150"/>
                </a:lnTo>
                <a:lnTo>
                  <a:pt x="120" y="150"/>
                </a:lnTo>
                <a:lnTo>
                  <a:pt x="120" y="150"/>
                </a:lnTo>
                <a:lnTo>
                  <a:pt x="120" y="150"/>
                </a:lnTo>
                <a:lnTo>
                  <a:pt x="114" y="150"/>
                </a:lnTo>
                <a:lnTo>
                  <a:pt x="120" y="150"/>
                </a:lnTo>
                <a:lnTo>
                  <a:pt x="120" y="150"/>
                </a:lnTo>
                <a:lnTo>
                  <a:pt x="120" y="150"/>
                </a:lnTo>
                <a:lnTo>
                  <a:pt x="120" y="150"/>
                </a:lnTo>
                <a:lnTo>
                  <a:pt x="120" y="150"/>
                </a:lnTo>
                <a:lnTo>
                  <a:pt x="114" y="144"/>
                </a:lnTo>
                <a:lnTo>
                  <a:pt x="114" y="144"/>
                </a:lnTo>
                <a:lnTo>
                  <a:pt x="114" y="144"/>
                </a:lnTo>
                <a:lnTo>
                  <a:pt x="114" y="144"/>
                </a:lnTo>
                <a:lnTo>
                  <a:pt x="114" y="144"/>
                </a:lnTo>
                <a:lnTo>
                  <a:pt x="114" y="144"/>
                </a:lnTo>
                <a:lnTo>
                  <a:pt x="114" y="144"/>
                </a:lnTo>
                <a:lnTo>
                  <a:pt x="108" y="144"/>
                </a:lnTo>
                <a:lnTo>
                  <a:pt x="108" y="138"/>
                </a:lnTo>
                <a:lnTo>
                  <a:pt x="108" y="138"/>
                </a:lnTo>
                <a:lnTo>
                  <a:pt x="108" y="138"/>
                </a:lnTo>
                <a:lnTo>
                  <a:pt x="102" y="138"/>
                </a:lnTo>
                <a:lnTo>
                  <a:pt x="102" y="138"/>
                </a:lnTo>
                <a:lnTo>
                  <a:pt x="96" y="138"/>
                </a:lnTo>
                <a:lnTo>
                  <a:pt x="96" y="138"/>
                </a:lnTo>
                <a:lnTo>
                  <a:pt x="96" y="138"/>
                </a:lnTo>
                <a:lnTo>
                  <a:pt x="90" y="138"/>
                </a:lnTo>
                <a:lnTo>
                  <a:pt x="90" y="144"/>
                </a:lnTo>
                <a:lnTo>
                  <a:pt x="90" y="144"/>
                </a:lnTo>
                <a:lnTo>
                  <a:pt x="90" y="144"/>
                </a:lnTo>
                <a:lnTo>
                  <a:pt x="90" y="144"/>
                </a:lnTo>
                <a:lnTo>
                  <a:pt x="90" y="144"/>
                </a:lnTo>
                <a:lnTo>
                  <a:pt x="84" y="144"/>
                </a:lnTo>
                <a:lnTo>
                  <a:pt x="84" y="144"/>
                </a:lnTo>
                <a:lnTo>
                  <a:pt x="84" y="144"/>
                </a:lnTo>
                <a:lnTo>
                  <a:pt x="84" y="144"/>
                </a:lnTo>
                <a:lnTo>
                  <a:pt x="84" y="144"/>
                </a:lnTo>
                <a:lnTo>
                  <a:pt x="84" y="144"/>
                </a:lnTo>
                <a:lnTo>
                  <a:pt x="84" y="144"/>
                </a:lnTo>
                <a:lnTo>
                  <a:pt x="78" y="144"/>
                </a:lnTo>
                <a:lnTo>
                  <a:pt x="78" y="144"/>
                </a:lnTo>
                <a:lnTo>
                  <a:pt x="78" y="150"/>
                </a:lnTo>
                <a:lnTo>
                  <a:pt x="78" y="150"/>
                </a:lnTo>
                <a:lnTo>
                  <a:pt x="72" y="150"/>
                </a:lnTo>
                <a:lnTo>
                  <a:pt x="72" y="150"/>
                </a:lnTo>
                <a:lnTo>
                  <a:pt x="72" y="150"/>
                </a:lnTo>
                <a:lnTo>
                  <a:pt x="72" y="150"/>
                </a:lnTo>
                <a:lnTo>
                  <a:pt x="72" y="144"/>
                </a:lnTo>
                <a:lnTo>
                  <a:pt x="72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0" y="138"/>
                </a:lnTo>
                <a:lnTo>
                  <a:pt x="60" y="138"/>
                </a:lnTo>
                <a:lnTo>
                  <a:pt x="60" y="138"/>
                </a:lnTo>
                <a:lnTo>
                  <a:pt x="60" y="138"/>
                </a:lnTo>
                <a:lnTo>
                  <a:pt x="60" y="138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2" y="144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2"/>
                </a:lnTo>
                <a:lnTo>
                  <a:pt x="36" y="132"/>
                </a:lnTo>
                <a:lnTo>
                  <a:pt x="36" y="132"/>
                </a:lnTo>
                <a:lnTo>
                  <a:pt x="36" y="132"/>
                </a:lnTo>
                <a:lnTo>
                  <a:pt x="36" y="132"/>
                </a:lnTo>
                <a:lnTo>
                  <a:pt x="36" y="132"/>
                </a:lnTo>
                <a:lnTo>
                  <a:pt x="36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42" y="120"/>
                </a:lnTo>
                <a:lnTo>
                  <a:pt x="42" y="120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36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96"/>
                </a:lnTo>
                <a:lnTo>
                  <a:pt x="36" y="102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24" y="108"/>
                </a:lnTo>
                <a:lnTo>
                  <a:pt x="24" y="102"/>
                </a:lnTo>
                <a:lnTo>
                  <a:pt x="24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84"/>
                </a:lnTo>
                <a:lnTo>
                  <a:pt x="24" y="90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6" y="66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0" y="5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51" name="Freeform 484"/>
          <p:cNvSpPr>
            <a:spLocks/>
          </p:cNvSpPr>
          <p:nvPr/>
        </p:nvSpPr>
        <p:spPr bwMode="auto">
          <a:xfrm>
            <a:off x="5907519" y="4982985"/>
            <a:ext cx="256962" cy="160602"/>
          </a:xfrm>
          <a:custGeom>
            <a:avLst/>
            <a:gdLst>
              <a:gd name="T0" fmla="*/ 18 w 240"/>
              <a:gd name="T1" fmla="*/ 84 h 150"/>
              <a:gd name="T2" fmla="*/ 36 w 240"/>
              <a:gd name="T3" fmla="*/ 72 h 150"/>
              <a:gd name="T4" fmla="*/ 48 w 240"/>
              <a:gd name="T5" fmla="*/ 60 h 150"/>
              <a:gd name="T6" fmla="*/ 54 w 240"/>
              <a:gd name="T7" fmla="*/ 48 h 150"/>
              <a:gd name="T8" fmla="*/ 54 w 240"/>
              <a:gd name="T9" fmla="*/ 42 h 150"/>
              <a:gd name="T10" fmla="*/ 48 w 240"/>
              <a:gd name="T11" fmla="*/ 36 h 150"/>
              <a:gd name="T12" fmla="*/ 48 w 240"/>
              <a:gd name="T13" fmla="*/ 24 h 150"/>
              <a:gd name="T14" fmla="*/ 66 w 240"/>
              <a:gd name="T15" fmla="*/ 18 h 150"/>
              <a:gd name="T16" fmla="*/ 78 w 240"/>
              <a:gd name="T17" fmla="*/ 24 h 150"/>
              <a:gd name="T18" fmla="*/ 84 w 240"/>
              <a:gd name="T19" fmla="*/ 36 h 150"/>
              <a:gd name="T20" fmla="*/ 96 w 240"/>
              <a:gd name="T21" fmla="*/ 42 h 150"/>
              <a:gd name="T22" fmla="*/ 102 w 240"/>
              <a:gd name="T23" fmla="*/ 48 h 150"/>
              <a:gd name="T24" fmla="*/ 114 w 240"/>
              <a:gd name="T25" fmla="*/ 48 h 150"/>
              <a:gd name="T26" fmla="*/ 126 w 240"/>
              <a:gd name="T27" fmla="*/ 42 h 150"/>
              <a:gd name="T28" fmla="*/ 132 w 240"/>
              <a:gd name="T29" fmla="*/ 48 h 150"/>
              <a:gd name="T30" fmla="*/ 132 w 240"/>
              <a:gd name="T31" fmla="*/ 72 h 150"/>
              <a:gd name="T32" fmla="*/ 150 w 240"/>
              <a:gd name="T33" fmla="*/ 78 h 150"/>
              <a:gd name="T34" fmla="*/ 162 w 240"/>
              <a:gd name="T35" fmla="*/ 66 h 150"/>
              <a:gd name="T36" fmla="*/ 162 w 240"/>
              <a:gd name="T37" fmla="*/ 60 h 150"/>
              <a:gd name="T38" fmla="*/ 174 w 240"/>
              <a:gd name="T39" fmla="*/ 42 h 150"/>
              <a:gd name="T40" fmla="*/ 168 w 240"/>
              <a:gd name="T41" fmla="*/ 36 h 150"/>
              <a:gd name="T42" fmla="*/ 150 w 240"/>
              <a:gd name="T43" fmla="*/ 36 h 150"/>
              <a:gd name="T44" fmla="*/ 144 w 240"/>
              <a:gd name="T45" fmla="*/ 30 h 150"/>
              <a:gd name="T46" fmla="*/ 138 w 240"/>
              <a:gd name="T47" fmla="*/ 30 h 150"/>
              <a:gd name="T48" fmla="*/ 156 w 240"/>
              <a:gd name="T49" fmla="*/ 18 h 150"/>
              <a:gd name="T50" fmla="*/ 174 w 240"/>
              <a:gd name="T51" fmla="*/ 18 h 150"/>
              <a:gd name="T52" fmla="*/ 186 w 240"/>
              <a:gd name="T53" fmla="*/ 0 h 150"/>
              <a:gd name="T54" fmla="*/ 186 w 240"/>
              <a:gd name="T55" fmla="*/ 0 h 150"/>
              <a:gd name="T56" fmla="*/ 192 w 240"/>
              <a:gd name="T57" fmla="*/ 6 h 150"/>
              <a:gd name="T58" fmla="*/ 204 w 240"/>
              <a:gd name="T59" fmla="*/ 12 h 150"/>
              <a:gd name="T60" fmla="*/ 210 w 240"/>
              <a:gd name="T61" fmla="*/ 24 h 150"/>
              <a:gd name="T62" fmla="*/ 228 w 240"/>
              <a:gd name="T63" fmla="*/ 24 h 150"/>
              <a:gd name="T64" fmla="*/ 234 w 240"/>
              <a:gd name="T65" fmla="*/ 30 h 150"/>
              <a:gd name="T66" fmla="*/ 240 w 240"/>
              <a:gd name="T67" fmla="*/ 54 h 150"/>
              <a:gd name="T68" fmla="*/ 228 w 240"/>
              <a:gd name="T69" fmla="*/ 60 h 150"/>
              <a:gd name="T70" fmla="*/ 222 w 240"/>
              <a:gd name="T71" fmla="*/ 66 h 150"/>
              <a:gd name="T72" fmla="*/ 216 w 240"/>
              <a:gd name="T73" fmla="*/ 66 h 150"/>
              <a:gd name="T74" fmla="*/ 216 w 240"/>
              <a:gd name="T75" fmla="*/ 84 h 150"/>
              <a:gd name="T76" fmla="*/ 210 w 240"/>
              <a:gd name="T77" fmla="*/ 102 h 150"/>
              <a:gd name="T78" fmla="*/ 198 w 240"/>
              <a:gd name="T79" fmla="*/ 108 h 150"/>
              <a:gd name="T80" fmla="*/ 192 w 240"/>
              <a:gd name="T81" fmla="*/ 114 h 150"/>
              <a:gd name="T82" fmla="*/ 174 w 240"/>
              <a:gd name="T83" fmla="*/ 120 h 150"/>
              <a:gd name="T84" fmla="*/ 186 w 240"/>
              <a:gd name="T85" fmla="*/ 126 h 150"/>
              <a:gd name="T86" fmla="*/ 186 w 240"/>
              <a:gd name="T87" fmla="*/ 150 h 150"/>
              <a:gd name="T88" fmla="*/ 168 w 240"/>
              <a:gd name="T89" fmla="*/ 138 h 150"/>
              <a:gd name="T90" fmla="*/ 162 w 240"/>
              <a:gd name="T91" fmla="*/ 138 h 150"/>
              <a:gd name="T92" fmla="*/ 156 w 240"/>
              <a:gd name="T93" fmla="*/ 132 h 150"/>
              <a:gd name="T94" fmla="*/ 156 w 240"/>
              <a:gd name="T95" fmla="*/ 126 h 150"/>
              <a:gd name="T96" fmla="*/ 150 w 240"/>
              <a:gd name="T97" fmla="*/ 120 h 150"/>
              <a:gd name="T98" fmla="*/ 144 w 240"/>
              <a:gd name="T99" fmla="*/ 114 h 150"/>
              <a:gd name="T100" fmla="*/ 132 w 240"/>
              <a:gd name="T101" fmla="*/ 126 h 150"/>
              <a:gd name="T102" fmla="*/ 114 w 240"/>
              <a:gd name="T103" fmla="*/ 132 h 150"/>
              <a:gd name="T104" fmla="*/ 108 w 240"/>
              <a:gd name="T105" fmla="*/ 126 h 150"/>
              <a:gd name="T106" fmla="*/ 90 w 240"/>
              <a:gd name="T107" fmla="*/ 120 h 150"/>
              <a:gd name="T108" fmla="*/ 78 w 240"/>
              <a:gd name="T109" fmla="*/ 120 h 150"/>
              <a:gd name="T110" fmla="*/ 72 w 240"/>
              <a:gd name="T111" fmla="*/ 114 h 150"/>
              <a:gd name="T112" fmla="*/ 60 w 240"/>
              <a:gd name="T113" fmla="*/ 108 h 150"/>
              <a:gd name="T114" fmla="*/ 54 w 240"/>
              <a:gd name="T115" fmla="*/ 108 h 150"/>
              <a:gd name="T116" fmla="*/ 42 w 240"/>
              <a:gd name="T117" fmla="*/ 108 h 150"/>
              <a:gd name="T118" fmla="*/ 24 w 240"/>
              <a:gd name="T119" fmla="*/ 114 h 150"/>
              <a:gd name="T120" fmla="*/ 6 w 240"/>
              <a:gd name="T121" fmla="*/ 108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40" h="150">
                <a:moveTo>
                  <a:pt x="0" y="96"/>
                </a:moveTo>
                <a:lnTo>
                  <a:pt x="0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84"/>
                </a:lnTo>
                <a:lnTo>
                  <a:pt x="12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0" y="66"/>
                </a:lnTo>
                <a:lnTo>
                  <a:pt x="30" y="66"/>
                </a:lnTo>
                <a:lnTo>
                  <a:pt x="36" y="66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2"/>
                </a:lnTo>
                <a:lnTo>
                  <a:pt x="60" y="42"/>
                </a:lnTo>
                <a:lnTo>
                  <a:pt x="60" y="48"/>
                </a:lnTo>
                <a:lnTo>
                  <a:pt x="54" y="48"/>
                </a:lnTo>
                <a:lnTo>
                  <a:pt x="54" y="48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8" y="30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48" y="24"/>
                </a:lnTo>
                <a:lnTo>
                  <a:pt x="48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60" y="18"/>
                </a:lnTo>
                <a:lnTo>
                  <a:pt x="60" y="18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18"/>
                </a:lnTo>
                <a:lnTo>
                  <a:pt x="60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24"/>
                </a:lnTo>
                <a:lnTo>
                  <a:pt x="72" y="24"/>
                </a:lnTo>
                <a:lnTo>
                  <a:pt x="72" y="24"/>
                </a:lnTo>
                <a:lnTo>
                  <a:pt x="66" y="24"/>
                </a:lnTo>
                <a:lnTo>
                  <a:pt x="66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8" y="24"/>
                </a:lnTo>
                <a:lnTo>
                  <a:pt x="72" y="24"/>
                </a:lnTo>
                <a:lnTo>
                  <a:pt x="78" y="24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84" y="36"/>
                </a:lnTo>
                <a:lnTo>
                  <a:pt x="84" y="30"/>
                </a:lnTo>
                <a:lnTo>
                  <a:pt x="84" y="30"/>
                </a:lnTo>
                <a:lnTo>
                  <a:pt x="90" y="30"/>
                </a:lnTo>
                <a:lnTo>
                  <a:pt x="84" y="30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90" y="36"/>
                </a:lnTo>
                <a:lnTo>
                  <a:pt x="90" y="36"/>
                </a:lnTo>
                <a:lnTo>
                  <a:pt x="96" y="36"/>
                </a:lnTo>
                <a:lnTo>
                  <a:pt x="96" y="36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8"/>
                </a:lnTo>
                <a:lnTo>
                  <a:pt x="96" y="42"/>
                </a:lnTo>
                <a:lnTo>
                  <a:pt x="96" y="42"/>
                </a:lnTo>
                <a:lnTo>
                  <a:pt x="102" y="42"/>
                </a:lnTo>
                <a:lnTo>
                  <a:pt x="102" y="42"/>
                </a:lnTo>
                <a:lnTo>
                  <a:pt x="96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8"/>
                </a:lnTo>
                <a:lnTo>
                  <a:pt x="102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14" y="48"/>
                </a:lnTo>
                <a:lnTo>
                  <a:pt x="108" y="48"/>
                </a:lnTo>
                <a:lnTo>
                  <a:pt x="108" y="48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8"/>
                </a:lnTo>
                <a:lnTo>
                  <a:pt x="120" y="48"/>
                </a:lnTo>
                <a:lnTo>
                  <a:pt x="120" y="42"/>
                </a:lnTo>
                <a:lnTo>
                  <a:pt x="126" y="42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54"/>
                </a:lnTo>
                <a:lnTo>
                  <a:pt x="132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66"/>
                </a:lnTo>
                <a:lnTo>
                  <a:pt x="132" y="66"/>
                </a:lnTo>
                <a:lnTo>
                  <a:pt x="132" y="66"/>
                </a:lnTo>
                <a:lnTo>
                  <a:pt x="126" y="72"/>
                </a:lnTo>
                <a:lnTo>
                  <a:pt x="132" y="66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8" y="72"/>
                </a:lnTo>
                <a:lnTo>
                  <a:pt x="138" y="66"/>
                </a:lnTo>
                <a:lnTo>
                  <a:pt x="138" y="66"/>
                </a:lnTo>
                <a:lnTo>
                  <a:pt x="138" y="66"/>
                </a:lnTo>
                <a:lnTo>
                  <a:pt x="138" y="66"/>
                </a:lnTo>
                <a:lnTo>
                  <a:pt x="138" y="66"/>
                </a:lnTo>
                <a:lnTo>
                  <a:pt x="144" y="66"/>
                </a:lnTo>
                <a:lnTo>
                  <a:pt x="138" y="72"/>
                </a:lnTo>
                <a:lnTo>
                  <a:pt x="138" y="72"/>
                </a:lnTo>
                <a:lnTo>
                  <a:pt x="144" y="72"/>
                </a:lnTo>
                <a:lnTo>
                  <a:pt x="144" y="72"/>
                </a:lnTo>
                <a:lnTo>
                  <a:pt x="144" y="78"/>
                </a:lnTo>
                <a:lnTo>
                  <a:pt x="144" y="78"/>
                </a:lnTo>
                <a:lnTo>
                  <a:pt x="150" y="78"/>
                </a:lnTo>
                <a:lnTo>
                  <a:pt x="150" y="78"/>
                </a:lnTo>
                <a:lnTo>
                  <a:pt x="150" y="78"/>
                </a:lnTo>
                <a:lnTo>
                  <a:pt x="150" y="78"/>
                </a:lnTo>
                <a:lnTo>
                  <a:pt x="156" y="72"/>
                </a:lnTo>
                <a:lnTo>
                  <a:pt x="156" y="72"/>
                </a:lnTo>
                <a:lnTo>
                  <a:pt x="156" y="72"/>
                </a:lnTo>
                <a:lnTo>
                  <a:pt x="156" y="72"/>
                </a:lnTo>
                <a:lnTo>
                  <a:pt x="156" y="66"/>
                </a:lnTo>
                <a:lnTo>
                  <a:pt x="156" y="72"/>
                </a:lnTo>
                <a:lnTo>
                  <a:pt x="162" y="66"/>
                </a:lnTo>
                <a:lnTo>
                  <a:pt x="162" y="66"/>
                </a:lnTo>
                <a:lnTo>
                  <a:pt x="162" y="66"/>
                </a:lnTo>
                <a:lnTo>
                  <a:pt x="162" y="66"/>
                </a:lnTo>
                <a:lnTo>
                  <a:pt x="162" y="66"/>
                </a:lnTo>
                <a:lnTo>
                  <a:pt x="162" y="66"/>
                </a:lnTo>
                <a:lnTo>
                  <a:pt x="156" y="66"/>
                </a:lnTo>
                <a:lnTo>
                  <a:pt x="156" y="66"/>
                </a:lnTo>
                <a:lnTo>
                  <a:pt x="156" y="66"/>
                </a:lnTo>
                <a:lnTo>
                  <a:pt x="156" y="60"/>
                </a:lnTo>
                <a:lnTo>
                  <a:pt x="162" y="60"/>
                </a:lnTo>
                <a:lnTo>
                  <a:pt x="156" y="60"/>
                </a:lnTo>
                <a:lnTo>
                  <a:pt x="156" y="60"/>
                </a:lnTo>
                <a:lnTo>
                  <a:pt x="156" y="60"/>
                </a:lnTo>
                <a:lnTo>
                  <a:pt x="156" y="60"/>
                </a:lnTo>
                <a:lnTo>
                  <a:pt x="156" y="60"/>
                </a:lnTo>
                <a:lnTo>
                  <a:pt x="156" y="60"/>
                </a:lnTo>
                <a:lnTo>
                  <a:pt x="156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54"/>
                </a:lnTo>
                <a:lnTo>
                  <a:pt x="162" y="54"/>
                </a:lnTo>
                <a:lnTo>
                  <a:pt x="162" y="54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74" y="54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2"/>
                </a:lnTo>
                <a:lnTo>
                  <a:pt x="180" y="42"/>
                </a:lnTo>
                <a:lnTo>
                  <a:pt x="180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68" y="30"/>
                </a:lnTo>
                <a:lnTo>
                  <a:pt x="168" y="36"/>
                </a:lnTo>
                <a:lnTo>
                  <a:pt x="168" y="36"/>
                </a:lnTo>
                <a:lnTo>
                  <a:pt x="168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0" y="36"/>
                </a:lnTo>
                <a:lnTo>
                  <a:pt x="150" y="36"/>
                </a:lnTo>
                <a:lnTo>
                  <a:pt x="144" y="36"/>
                </a:lnTo>
                <a:lnTo>
                  <a:pt x="144" y="36"/>
                </a:lnTo>
                <a:lnTo>
                  <a:pt x="144" y="36"/>
                </a:lnTo>
                <a:lnTo>
                  <a:pt x="144" y="36"/>
                </a:lnTo>
                <a:lnTo>
                  <a:pt x="144" y="36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2" y="30"/>
                </a:lnTo>
                <a:lnTo>
                  <a:pt x="132" y="24"/>
                </a:lnTo>
                <a:lnTo>
                  <a:pt x="138" y="24"/>
                </a:lnTo>
                <a:lnTo>
                  <a:pt x="138" y="24"/>
                </a:lnTo>
                <a:lnTo>
                  <a:pt x="150" y="24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74" y="18"/>
                </a:lnTo>
                <a:lnTo>
                  <a:pt x="174" y="18"/>
                </a:lnTo>
                <a:lnTo>
                  <a:pt x="168" y="18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80" y="12"/>
                </a:lnTo>
                <a:lnTo>
                  <a:pt x="180" y="6"/>
                </a:lnTo>
                <a:lnTo>
                  <a:pt x="180" y="6"/>
                </a:lnTo>
                <a:lnTo>
                  <a:pt x="180" y="6"/>
                </a:lnTo>
                <a:lnTo>
                  <a:pt x="180" y="6"/>
                </a:lnTo>
                <a:lnTo>
                  <a:pt x="180" y="0"/>
                </a:lnTo>
                <a:lnTo>
                  <a:pt x="186" y="0"/>
                </a:lnTo>
                <a:lnTo>
                  <a:pt x="186" y="0"/>
                </a:lnTo>
                <a:lnTo>
                  <a:pt x="186" y="0"/>
                </a:lnTo>
                <a:lnTo>
                  <a:pt x="186" y="0"/>
                </a:lnTo>
                <a:lnTo>
                  <a:pt x="186" y="0"/>
                </a:lnTo>
                <a:lnTo>
                  <a:pt x="186" y="0"/>
                </a:lnTo>
                <a:lnTo>
                  <a:pt x="186" y="0"/>
                </a:lnTo>
                <a:lnTo>
                  <a:pt x="186" y="0"/>
                </a:lnTo>
                <a:lnTo>
                  <a:pt x="186" y="0"/>
                </a:lnTo>
                <a:lnTo>
                  <a:pt x="186" y="0"/>
                </a:lnTo>
                <a:lnTo>
                  <a:pt x="186" y="0"/>
                </a:lnTo>
                <a:lnTo>
                  <a:pt x="186" y="6"/>
                </a:lnTo>
                <a:lnTo>
                  <a:pt x="186" y="6"/>
                </a:lnTo>
                <a:lnTo>
                  <a:pt x="186" y="6"/>
                </a:lnTo>
                <a:lnTo>
                  <a:pt x="186" y="0"/>
                </a:lnTo>
                <a:lnTo>
                  <a:pt x="186" y="6"/>
                </a:lnTo>
                <a:lnTo>
                  <a:pt x="186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86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204" y="12"/>
                </a:lnTo>
                <a:lnTo>
                  <a:pt x="204" y="12"/>
                </a:lnTo>
                <a:lnTo>
                  <a:pt x="198" y="12"/>
                </a:lnTo>
                <a:lnTo>
                  <a:pt x="204" y="12"/>
                </a:lnTo>
                <a:lnTo>
                  <a:pt x="204" y="18"/>
                </a:lnTo>
                <a:lnTo>
                  <a:pt x="204" y="18"/>
                </a:lnTo>
                <a:lnTo>
                  <a:pt x="204" y="18"/>
                </a:lnTo>
                <a:lnTo>
                  <a:pt x="204" y="18"/>
                </a:lnTo>
                <a:lnTo>
                  <a:pt x="204" y="18"/>
                </a:lnTo>
                <a:lnTo>
                  <a:pt x="204" y="18"/>
                </a:lnTo>
                <a:lnTo>
                  <a:pt x="204" y="18"/>
                </a:lnTo>
                <a:lnTo>
                  <a:pt x="210" y="18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6" y="24"/>
                </a:lnTo>
                <a:lnTo>
                  <a:pt x="216" y="24"/>
                </a:lnTo>
                <a:lnTo>
                  <a:pt x="216" y="24"/>
                </a:lnTo>
                <a:lnTo>
                  <a:pt x="216" y="24"/>
                </a:lnTo>
                <a:lnTo>
                  <a:pt x="222" y="24"/>
                </a:lnTo>
                <a:lnTo>
                  <a:pt x="222" y="24"/>
                </a:lnTo>
                <a:lnTo>
                  <a:pt x="222" y="24"/>
                </a:lnTo>
                <a:lnTo>
                  <a:pt x="222" y="24"/>
                </a:lnTo>
                <a:lnTo>
                  <a:pt x="222" y="24"/>
                </a:lnTo>
                <a:lnTo>
                  <a:pt x="222" y="24"/>
                </a:lnTo>
                <a:lnTo>
                  <a:pt x="228" y="18"/>
                </a:lnTo>
                <a:lnTo>
                  <a:pt x="228" y="18"/>
                </a:lnTo>
                <a:lnTo>
                  <a:pt x="228" y="24"/>
                </a:lnTo>
                <a:lnTo>
                  <a:pt x="228" y="24"/>
                </a:lnTo>
                <a:lnTo>
                  <a:pt x="228" y="24"/>
                </a:lnTo>
                <a:lnTo>
                  <a:pt x="228" y="24"/>
                </a:lnTo>
                <a:lnTo>
                  <a:pt x="228" y="24"/>
                </a:lnTo>
                <a:lnTo>
                  <a:pt x="234" y="24"/>
                </a:lnTo>
                <a:lnTo>
                  <a:pt x="234" y="24"/>
                </a:lnTo>
                <a:lnTo>
                  <a:pt x="234" y="30"/>
                </a:lnTo>
                <a:lnTo>
                  <a:pt x="234" y="30"/>
                </a:lnTo>
                <a:lnTo>
                  <a:pt x="234" y="30"/>
                </a:lnTo>
                <a:lnTo>
                  <a:pt x="234" y="30"/>
                </a:lnTo>
                <a:lnTo>
                  <a:pt x="234" y="30"/>
                </a:lnTo>
                <a:lnTo>
                  <a:pt x="234" y="30"/>
                </a:lnTo>
                <a:lnTo>
                  <a:pt x="234" y="30"/>
                </a:lnTo>
                <a:lnTo>
                  <a:pt x="234" y="30"/>
                </a:lnTo>
                <a:lnTo>
                  <a:pt x="234" y="30"/>
                </a:lnTo>
                <a:lnTo>
                  <a:pt x="240" y="30"/>
                </a:lnTo>
                <a:lnTo>
                  <a:pt x="240" y="30"/>
                </a:lnTo>
                <a:lnTo>
                  <a:pt x="240" y="30"/>
                </a:lnTo>
                <a:lnTo>
                  <a:pt x="240" y="30"/>
                </a:lnTo>
                <a:lnTo>
                  <a:pt x="240" y="36"/>
                </a:lnTo>
                <a:lnTo>
                  <a:pt x="240" y="36"/>
                </a:lnTo>
                <a:lnTo>
                  <a:pt x="240" y="36"/>
                </a:lnTo>
                <a:lnTo>
                  <a:pt x="240" y="42"/>
                </a:lnTo>
                <a:lnTo>
                  <a:pt x="240" y="42"/>
                </a:lnTo>
                <a:lnTo>
                  <a:pt x="240" y="48"/>
                </a:lnTo>
                <a:lnTo>
                  <a:pt x="240" y="48"/>
                </a:lnTo>
                <a:lnTo>
                  <a:pt x="240" y="48"/>
                </a:lnTo>
                <a:lnTo>
                  <a:pt x="240" y="48"/>
                </a:lnTo>
                <a:lnTo>
                  <a:pt x="240" y="54"/>
                </a:lnTo>
                <a:lnTo>
                  <a:pt x="240" y="54"/>
                </a:lnTo>
                <a:lnTo>
                  <a:pt x="240" y="54"/>
                </a:lnTo>
                <a:lnTo>
                  <a:pt x="240" y="54"/>
                </a:lnTo>
                <a:lnTo>
                  <a:pt x="234" y="54"/>
                </a:lnTo>
                <a:lnTo>
                  <a:pt x="234" y="54"/>
                </a:lnTo>
                <a:lnTo>
                  <a:pt x="234" y="54"/>
                </a:lnTo>
                <a:lnTo>
                  <a:pt x="234" y="54"/>
                </a:lnTo>
                <a:lnTo>
                  <a:pt x="234" y="54"/>
                </a:lnTo>
                <a:lnTo>
                  <a:pt x="234" y="60"/>
                </a:lnTo>
                <a:lnTo>
                  <a:pt x="234" y="60"/>
                </a:lnTo>
                <a:lnTo>
                  <a:pt x="234" y="60"/>
                </a:lnTo>
                <a:lnTo>
                  <a:pt x="234" y="60"/>
                </a:lnTo>
                <a:lnTo>
                  <a:pt x="228" y="60"/>
                </a:lnTo>
                <a:lnTo>
                  <a:pt x="228" y="60"/>
                </a:lnTo>
                <a:lnTo>
                  <a:pt x="228" y="60"/>
                </a:lnTo>
                <a:lnTo>
                  <a:pt x="228" y="60"/>
                </a:lnTo>
                <a:lnTo>
                  <a:pt x="228" y="60"/>
                </a:lnTo>
                <a:lnTo>
                  <a:pt x="228" y="60"/>
                </a:lnTo>
                <a:lnTo>
                  <a:pt x="228" y="60"/>
                </a:lnTo>
                <a:lnTo>
                  <a:pt x="222" y="60"/>
                </a:lnTo>
                <a:lnTo>
                  <a:pt x="222" y="60"/>
                </a:lnTo>
                <a:lnTo>
                  <a:pt x="222" y="60"/>
                </a:lnTo>
                <a:lnTo>
                  <a:pt x="222" y="60"/>
                </a:lnTo>
                <a:lnTo>
                  <a:pt x="222" y="60"/>
                </a:lnTo>
                <a:lnTo>
                  <a:pt x="222" y="66"/>
                </a:lnTo>
                <a:lnTo>
                  <a:pt x="222" y="66"/>
                </a:lnTo>
                <a:lnTo>
                  <a:pt x="222" y="66"/>
                </a:lnTo>
                <a:lnTo>
                  <a:pt x="222" y="66"/>
                </a:lnTo>
                <a:lnTo>
                  <a:pt x="222" y="66"/>
                </a:lnTo>
                <a:lnTo>
                  <a:pt x="222" y="66"/>
                </a:lnTo>
                <a:lnTo>
                  <a:pt x="222" y="66"/>
                </a:lnTo>
                <a:lnTo>
                  <a:pt x="222" y="66"/>
                </a:lnTo>
                <a:lnTo>
                  <a:pt x="216" y="66"/>
                </a:lnTo>
                <a:lnTo>
                  <a:pt x="222" y="66"/>
                </a:lnTo>
                <a:lnTo>
                  <a:pt x="216" y="66"/>
                </a:lnTo>
                <a:lnTo>
                  <a:pt x="216" y="66"/>
                </a:lnTo>
                <a:lnTo>
                  <a:pt x="216" y="66"/>
                </a:lnTo>
                <a:lnTo>
                  <a:pt x="216" y="66"/>
                </a:lnTo>
                <a:lnTo>
                  <a:pt x="216" y="66"/>
                </a:lnTo>
                <a:lnTo>
                  <a:pt x="216" y="66"/>
                </a:lnTo>
                <a:lnTo>
                  <a:pt x="216" y="66"/>
                </a:lnTo>
                <a:lnTo>
                  <a:pt x="216" y="66"/>
                </a:lnTo>
                <a:lnTo>
                  <a:pt x="216" y="72"/>
                </a:lnTo>
                <a:lnTo>
                  <a:pt x="216" y="72"/>
                </a:lnTo>
                <a:lnTo>
                  <a:pt x="216" y="66"/>
                </a:lnTo>
                <a:lnTo>
                  <a:pt x="216" y="66"/>
                </a:lnTo>
                <a:lnTo>
                  <a:pt x="216" y="72"/>
                </a:lnTo>
                <a:lnTo>
                  <a:pt x="216" y="72"/>
                </a:lnTo>
                <a:lnTo>
                  <a:pt x="216" y="72"/>
                </a:lnTo>
                <a:lnTo>
                  <a:pt x="216" y="72"/>
                </a:lnTo>
                <a:lnTo>
                  <a:pt x="216" y="78"/>
                </a:lnTo>
                <a:lnTo>
                  <a:pt x="210" y="78"/>
                </a:lnTo>
                <a:lnTo>
                  <a:pt x="210" y="78"/>
                </a:lnTo>
                <a:lnTo>
                  <a:pt x="210" y="84"/>
                </a:lnTo>
                <a:lnTo>
                  <a:pt x="210" y="84"/>
                </a:lnTo>
                <a:lnTo>
                  <a:pt x="216" y="84"/>
                </a:lnTo>
                <a:lnTo>
                  <a:pt x="216" y="96"/>
                </a:lnTo>
                <a:lnTo>
                  <a:pt x="216" y="96"/>
                </a:lnTo>
                <a:lnTo>
                  <a:pt x="210" y="96"/>
                </a:lnTo>
                <a:lnTo>
                  <a:pt x="210" y="96"/>
                </a:lnTo>
                <a:lnTo>
                  <a:pt x="210" y="96"/>
                </a:lnTo>
                <a:lnTo>
                  <a:pt x="210" y="96"/>
                </a:lnTo>
                <a:lnTo>
                  <a:pt x="210" y="96"/>
                </a:lnTo>
                <a:lnTo>
                  <a:pt x="210" y="96"/>
                </a:lnTo>
                <a:lnTo>
                  <a:pt x="210" y="96"/>
                </a:lnTo>
                <a:lnTo>
                  <a:pt x="210" y="96"/>
                </a:lnTo>
                <a:lnTo>
                  <a:pt x="210" y="96"/>
                </a:lnTo>
                <a:lnTo>
                  <a:pt x="210" y="96"/>
                </a:lnTo>
                <a:lnTo>
                  <a:pt x="210" y="96"/>
                </a:lnTo>
                <a:lnTo>
                  <a:pt x="210" y="102"/>
                </a:lnTo>
                <a:lnTo>
                  <a:pt x="210" y="102"/>
                </a:lnTo>
                <a:lnTo>
                  <a:pt x="210" y="102"/>
                </a:lnTo>
                <a:lnTo>
                  <a:pt x="210" y="102"/>
                </a:lnTo>
                <a:lnTo>
                  <a:pt x="210" y="102"/>
                </a:lnTo>
                <a:lnTo>
                  <a:pt x="210" y="102"/>
                </a:lnTo>
                <a:lnTo>
                  <a:pt x="210" y="102"/>
                </a:lnTo>
                <a:lnTo>
                  <a:pt x="210" y="102"/>
                </a:lnTo>
                <a:lnTo>
                  <a:pt x="210" y="102"/>
                </a:lnTo>
                <a:lnTo>
                  <a:pt x="204" y="108"/>
                </a:lnTo>
                <a:lnTo>
                  <a:pt x="204" y="108"/>
                </a:lnTo>
                <a:lnTo>
                  <a:pt x="204" y="108"/>
                </a:lnTo>
                <a:lnTo>
                  <a:pt x="204" y="108"/>
                </a:lnTo>
                <a:lnTo>
                  <a:pt x="204" y="108"/>
                </a:lnTo>
                <a:lnTo>
                  <a:pt x="198" y="108"/>
                </a:lnTo>
                <a:lnTo>
                  <a:pt x="198" y="108"/>
                </a:lnTo>
                <a:lnTo>
                  <a:pt x="198" y="108"/>
                </a:lnTo>
                <a:lnTo>
                  <a:pt x="198" y="108"/>
                </a:lnTo>
                <a:lnTo>
                  <a:pt x="192" y="108"/>
                </a:lnTo>
                <a:lnTo>
                  <a:pt x="192" y="108"/>
                </a:lnTo>
                <a:lnTo>
                  <a:pt x="192" y="108"/>
                </a:lnTo>
                <a:lnTo>
                  <a:pt x="192" y="108"/>
                </a:lnTo>
                <a:lnTo>
                  <a:pt x="192" y="108"/>
                </a:lnTo>
                <a:lnTo>
                  <a:pt x="192" y="108"/>
                </a:lnTo>
                <a:lnTo>
                  <a:pt x="192" y="108"/>
                </a:lnTo>
                <a:lnTo>
                  <a:pt x="186" y="108"/>
                </a:lnTo>
                <a:lnTo>
                  <a:pt x="186" y="114"/>
                </a:lnTo>
                <a:lnTo>
                  <a:pt x="186" y="108"/>
                </a:lnTo>
                <a:lnTo>
                  <a:pt x="192" y="114"/>
                </a:lnTo>
                <a:lnTo>
                  <a:pt x="192" y="114"/>
                </a:lnTo>
                <a:lnTo>
                  <a:pt x="192" y="114"/>
                </a:lnTo>
                <a:lnTo>
                  <a:pt x="186" y="114"/>
                </a:lnTo>
                <a:lnTo>
                  <a:pt x="186" y="114"/>
                </a:lnTo>
                <a:lnTo>
                  <a:pt x="186" y="114"/>
                </a:lnTo>
                <a:lnTo>
                  <a:pt x="186" y="114"/>
                </a:lnTo>
                <a:lnTo>
                  <a:pt x="180" y="114"/>
                </a:lnTo>
                <a:lnTo>
                  <a:pt x="180" y="114"/>
                </a:lnTo>
                <a:lnTo>
                  <a:pt x="180" y="114"/>
                </a:lnTo>
                <a:lnTo>
                  <a:pt x="180" y="114"/>
                </a:lnTo>
                <a:lnTo>
                  <a:pt x="180" y="114"/>
                </a:lnTo>
                <a:lnTo>
                  <a:pt x="174" y="120"/>
                </a:lnTo>
                <a:lnTo>
                  <a:pt x="174" y="120"/>
                </a:lnTo>
                <a:lnTo>
                  <a:pt x="174" y="120"/>
                </a:lnTo>
                <a:lnTo>
                  <a:pt x="180" y="114"/>
                </a:lnTo>
                <a:lnTo>
                  <a:pt x="180" y="114"/>
                </a:lnTo>
                <a:lnTo>
                  <a:pt x="180" y="120"/>
                </a:lnTo>
                <a:lnTo>
                  <a:pt x="180" y="120"/>
                </a:lnTo>
                <a:lnTo>
                  <a:pt x="180" y="120"/>
                </a:lnTo>
                <a:lnTo>
                  <a:pt x="180" y="120"/>
                </a:lnTo>
                <a:lnTo>
                  <a:pt x="180" y="126"/>
                </a:lnTo>
                <a:lnTo>
                  <a:pt x="180" y="126"/>
                </a:lnTo>
                <a:lnTo>
                  <a:pt x="180" y="126"/>
                </a:lnTo>
                <a:lnTo>
                  <a:pt x="180" y="126"/>
                </a:lnTo>
                <a:lnTo>
                  <a:pt x="180" y="126"/>
                </a:lnTo>
                <a:lnTo>
                  <a:pt x="186" y="126"/>
                </a:lnTo>
                <a:lnTo>
                  <a:pt x="186" y="126"/>
                </a:lnTo>
                <a:lnTo>
                  <a:pt x="186" y="126"/>
                </a:lnTo>
                <a:lnTo>
                  <a:pt x="186" y="126"/>
                </a:lnTo>
                <a:lnTo>
                  <a:pt x="186" y="126"/>
                </a:lnTo>
                <a:lnTo>
                  <a:pt x="186" y="132"/>
                </a:lnTo>
                <a:lnTo>
                  <a:pt x="186" y="132"/>
                </a:lnTo>
                <a:lnTo>
                  <a:pt x="186" y="132"/>
                </a:lnTo>
                <a:lnTo>
                  <a:pt x="186" y="132"/>
                </a:lnTo>
                <a:lnTo>
                  <a:pt x="186" y="132"/>
                </a:lnTo>
                <a:lnTo>
                  <a:pt x="186" y="138"/>
                </a:lnTo>
                <a:lnTo>
                  <a:pt x="186" y="138"/>
                </a:lnTo>
                <a:lnTo>
                  <a:pt x="186" y="144"/>
                </a:lnTo>
                <a:lnTo>
                  <a:pt x="186" y="144"/>
                </a:lnTo>
                <a:lnTo>
                  <a:pt x="186" y="144"/>
                </a:lnTo>
                <a:lnTo>
                  <a:pt x="186" y="144"/>
                </a:lnTo>
                <a:lnTo>
                  <a:pt x="186" y="150"/>
                </a:lnTo>
                <a:lnTo>
                  <a:pt x="186" y="150"/>
                </a:lnTo>
                <a:lnTo>
                  <a:pt x="180" y="150"/>
                </a:lnTo>
                <a:lnTo>
                  <a:pt x="180" y="150"/>
                </a:lnTo>
                <a:lnTo>
                  <a:pt x="180" y="150"/>
                </a:lnTo>
                <a:lnTo>
                  <a:pt x="180" y="144"/>
                </a:lnTo>
                <a:lnTo>
                  <a:pt x="174" y="144"/>
                </a:lnTo>
                <a:lnTo>
                  <a:pt x="174" y="144"/>
                </a:lnTo>
                <a:lnTo>
                  <a:pt x="174" y="144"/>
                </a:lnTo>
                <a:lnTo>
                  <a:pt x="174" y="138"/>
                </a:lnTo>
                <a:lnTo>
                  <a:pt x="174" y="138"/>
                </a:lnTo>
                <a:lnTo>
                  <a:pt x="174" y="138"/>
                </a:lnTo>
                <a:lnTo>
                  <a:pt x="174" y="138"/>
                </a:lnTo>
                <a:lnTo>
                  <a:pt x="168" y="138"/>
                </a:lnTo>
                <a:lnTo>
                  <a:pt x="168" y="138"/>
                </a:lnTo>
                <a:lnTo>
                  <a:pt x="168" y="138"/>
                </a:lnTo>
                <a:lnTo>
                  <a:pt x="168" y="138"/>
                </a:lnTo>
                <a:lnTo>
                  <a:pt x="168" y="138"/>
                </a:lnTo>
                <a:lnTo>
                  <a:pt x="168" y="138"/>
                </a:lnTo>
                <a:lnTo>
                  <a:pt x="168" y="138"/>
                </a:lnTo>
                <a:lnTo>
                  <a:pt x="168" y="138"/>
                </a:lnTo>
                <a:lnTo>
                  <a:pt x="168" y="138"/>
                </a:lnTo>
                <a:lnTo>
                  <a:pt x="168" y="132"/>
                </a:lnTo>
                <a:lnTo>
                  <a:pt x="168" y="138"/>
                </a:lnTo>
                <a:lnTo>
                  <a:pt x="162" y="138"/>
                </a:lnTo>
                <a:lnTo>
                  <a:pt x="162" y="138"/>
                </a:lnTo>
                <a:lnTo>
                  <a:pt x="162" y="138"/>
                </a:lnTo>
                <a:lnTo>
                  <a:pt x="162" y="138"/>
                </a:lnTo>
                <a:lnTo>
                  <a:pt x="162" y="138"/>
                </a:lnTo>
                <a:lnTo>
                  <a:pt x="162" y="132"/>
                </a:lnTo>
                <a:lnTo>
                  <a:pt x="162" y="132"/>
                </a:lnTo>
                <a:lnTo>
                  <a:pt x="162" y="132"/>
                </a:lnTo>
                <a:lnTo>
                  <a:pt x="162" y="132"/>
                </a:lnTo>
                <a:lnTo>
                  <a:pt x="162" y="132"/>
                </a:lnTo>
                <a:lnTo>
                  <a:pt x="162" y="132"/>
                </a:lnTo>
                <a:lnTo>
                  <a:pt x="162" y="132"/>
                </a:lnTo>
                <a:lnTo>
                  <a:pt x="162" y="132"/>
                </a:lnTo>
                <a:lnTo>
                  <a:pt x="162" y="132"/>
                </a:lnTo>
                <a:lnTo>
                  <a:pt x="162" y="132"/>
                </a:lnTo>
                <a:lnTo>
                  <a:pt x="162" y="132"/>
                </a:lnTo>
                <a:lnTo>
                  <a:pt x="162" y="132"/>
                </a:lnTo>
                <a:lnTo>
                  <a:pt x="156" y="132"/>
                </a:lnTo>
                <a:lnTo>
                  <a:pt x="156" y="132"/>
                </a:lnTo>
                <a:lnTo>
                  <a:pt x="156" y="132"/>
                </a:lnTo>
                <a:lnTo>
                  <a:pt x="156" y="132"/>
                </a:lnTo>
                <a:lnTo>
                  <a:pt x="156" y="132"/>
                </a:lnTo>
                <a:lnTo>
                  <a:pt x="156" y="132"/>
                </a:lnTo>
                <a:lnTo>
                  <a:pt x="156" y="132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0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0"/>
                </a:lnTo>
                <a:lnTo>
                  <a:pt x="150" y="126"/>
                </a:lnTo>
                <a:lnTo>
                  <a:pt x="150" y="120"/>
                </a:lnTo>
                <a:lnTo>
                  <a:pt x="150" y="120"/>
                </a:lnTo>
                <a:lnTo>
                  <a:pt x="150" y="120"/>
                </a:lnTo>
                <a:lnTo>
                  <a:pt x="150" y="120"/>
                </a:lnTo>
                <a:lnTo>
                  <a:pt x="150" y="120"/>
                </a:lnTo>
                <a:lnTo>
                  <a:pt x="150" y="120"/>
                </a:lnTo>
                <a:lnTo>
                  <a:pt x="150" y="120"/>
                </a:lnTo>
                <a:lnTo>
                  <a:pt x="150" y="120"/>
                </a:lnTo>
                <a:lnTo>
                  <a:pt x="150" y="120"/>
                </a:lnTo>
                <a:lnTo>
                  <a:pt x="150" y="120"/>
                </a:lnTo>
                <a:lnTo>
                  <a:pt x="144" y="120"/>
                </a:lnTo>
                <a:lnTo>
                  <a:pt x="144" y="120"/>
                </a:lnTo>
                <a:lnTo>
                  <a:pt x="144" y="120"/>
                </a:lnTo>
                <a:lnTo>
                  <a:pt x="144" y="120"/>
                </a:lnTo>
                <a:lnTo>
                  <a:pt x="144" y="120"/>
                </a:lnTo>
                <a:lnTo>
                  <a:pt x="144" y="120"/>
                </a:lnTo>
                <a:lnTo>
                  <a:pt x="144" y="114"/>
                </a:lnTo>
                <a:lnTo>
                  <a:pt x="144" y="114"/>
                </a:lnTo>
                <a:lnTo>
                  <a:pt x="144" y="114"/>
                </a:lnTo>
                <a:lnTo>
                  <a:pt x="144" y="114"/>
                </a:lnTo>
                <a:lnTo>
                  <a:pt x="144" y="114"/>
                </a:lnTo>
                <a:lnTo>
                  <a:pt x="144" y="114"/>
                </a:lnTo>
                <a:lnTo>
                  <a:pt x="144" y="120"/>
                </a:lnTo>
                <a:lnTo>
                  <a:pt x="138" y="120"/>
                </a:lnTo>
                <a:lnTo>
                  <a:pt x="138" y="120"/>
                </a:lnTo>
                <a:lnTo>
                  <a:pt x="138" y="120"/>
                </a:lnTo>
                <a:lnTo>
                  <a:pt x="138" y="120"/>
                </a:lnTo>
                <a:lnTo>
                  <a:pt x="138" y="126"/>
                </a:lnTo>
                <a:lnTo>
                  <a:pt x="138" y="126"/>
                </a:lnTo>
                <a:lnTo>
                  <a:pt x="138" y="126"/>
                </a:lnTo>
                <a:lnTo>
                  <a:pt x="132" y="126"/>
                </a:lnTo>
                <a:lnTo>
                  <a:pt x="132" y="132"/>
                </a:lnTo>
                <a:lnTo>
                  <a:pt x="132" y="132"/>
                </a:lnTo>
                <a:lnTo>
                  <a:pt x="132" y="132"/>
                </a:lnTo>
                <a:lnTo>
                  <a:pt x="132" y="138"/>
                </a:lnTo>
                <a:lnTo>
                  <a:pt x="126" y="138"/>
                </a:lnTo>
                <a:lnTo>
                  <a:pt x="126" y="132"/>
                </a:lnTo>
                <a:lnTo>
                  <a:pt x="126" y="138"/>
                </a:lnTo>
                <a:lnTo>
                  <a:pt x="126" y="132"/>
                </a:lnTo>
                <a:lnTo>
                  <a:pt x="120" y="132"/>
                </a:lnTo>
                <a:lnTo>
                  <a:pt x="120" y="132"/>
                </a:lnTo>
                <a:lnTo>
                  <a:pt x="120" y="132"/>
                </a:lnTo>
                <a:lnTo>
                  <a:pt x="120" y="132"/>
                </a:lnTo>
                <a:lnTo>
                  <a:pt x="120" y="132"/>
                </a:lnTo>
                <a:lnTo>
                  <a:pt x="114" y="132"/>
                </a:lnTo>
                <a:lnTo>
                  <a:pt x="114" y="132"/>
                </a:lnTo>
                <a:lnTo>
                  <a:pt x="114" y="132"/>
                </a:lnTo>
                <a:lnTo>
                  <a:pt x="114" y="132"/>
                </a:lnTo>
                <a:lnTo>
                  <a:pt x="114" y="126"/>
                </a:lnTo>
                <a:lnTo>
                  <a:pt x="114" y="126"/>
                </a:lnTo>
                <a:lnTo>
                  <a:pt x="114" y="132"/>
                </a:lnTo>
                <a:lnTo>
                  <a:pt x="114" y="132"/>
                </a:lnTo>
                <a:lnTo>
                  <a:pt x="114" y="132"/>
                </a:lnTo>
                <a:lnTo>
                  <a:pt x="108" y="132"/>
                </a:lnTo>
                <a:lnTo>
                  <a:pt x="108" y="132"/>
                </a:lnTo>
                <a:lnTo>
                  <a:pt x="108" y="132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20"/>
                </a:lnTo>
                <a:lnTo>
                  <a:pt x="102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0"/>
                </a:lnTo>
                <a:lnTo>
                  <a:pt x="96" y="120"/>
                </a:lnTo>
                <a:lnTo>
                  <a:pt x="90" y="120"/>
                </a:lnTo>
                <a:lnTo>
                  <a:pt x="90" y="126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2" y="120"/>
                </a:lnTo>
                <a:lnTo>
                  <a:pt x="78" y="120"/>
                </a:lnTo>
                <a:lnTo>
                  <a:pt x="78" y="120"/>
                </a:lnTo>
                <a:lnTo>
                  <a:pt x="72" y="120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66" y="108"/>
                </a:lnTo>
                <a:lnTo>
                  <a:pt x="72" y="114"/>
                </a:lnTo>
                <a:lnTo>
                  <a:pt x="66" y="114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60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14"/>
                </a:lnTo>
                <a:lnTo>
                  <a:pt x="18" y="108"/>
                </a:lnTo>
                <a:lnTo>
                  <a:pt x="18" y="114"/>
                </a:lnTo>
                <a:lnTo>
                  <a:pt x="18" y="108"/>
                </a:lnTo>
                <a:lnTo>
                  <a:pt x="18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0" y="102"/>
                </a:lnTo>
                <a:lnTo>
                  <a:pt x="0" y="102"/>
                </a:lnTo>
                <a:lnTo>
                  <a:pt x="0" y="9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52" name="Freeform 485"/>
          <p:cNvSpPr>
            <a:spLocks/>
          </p:cNvSpPr>
          <p:nvPr/>
        </p:nvSpPr>
        <p:spPr bwMode="auto">
          <a:xfrm>
            <a:off x="5971759" y="5188556"/>
            <a:ext cx="301930" cy="167026"/>
          </a:xfrm>
          <a:custGeom>
            <a:avLst/>
            <a:gdLst>
              <a:gd name="T0" fmla="*/ 12 w 282"/>
              <a:gd name="T1" fmla="*/ 84 h 156"/>
              <a:gd name="T2" fmla="*/ 18 w 282"/>
              <a:gd name="T3" fmla="*/ 66 h 156"/>
              <a:gd name="T4" fmla="*/ 24 w 282"/>
              <a:gd name="T5" fmla="*/ 48 h 156"/>
              <a:gd name="T6" fmla="*/ 30 w 282"/>
              <a:gd name="T7" fmla="*/ 48 h 156"/>
              <a:gd name="T8" fmla="*/ 48 w 282"/>
              <a:gd name="T9" fmla="*/ 48 h 156"/>
              <a:gd name="T10" fmla="*/ 66 w 282"/>
              <a:gd name="T11" fmla="*/ 42 h 156"/>
              <a:gd name="T12" fmla="*/ 66 w 282"/>
              <a:gd name="T13" fmla="*/ 36 h 156"/>
              <a:gd name="T14" fmla="*/ 60 w 282"/>
              <a:gd name="T15" fmla="*/ 24 h 156"/>
              <a:gd name="T16" fmla="*/ 60 w 282"/>
              <a:gd name="T17" fmla="*/ 18 h 156"/>
              <a:gd name="T18" fmla="*/ 54 w 282"/>
              <a:gd name="T19" fmla="*/ 6 h 156"/>
              <a:gd name="T20" fmla="*/ 60 w 282"/>
              <a:gd name="T21" fmla="*/ 0 h 156"/>
              <a:gd name="T22" fmla="*/ 72 w 282"/>
              <a:gd name="T23" fmla="*/ 6 h 156"/>
              <a:gd name="T24" fmla="*/ 84 w 282"/>
              <a:gd name="T25" fmla="*/ 0 h 156"/>
              <a:gd name="T26" fmla="*/ 96 w 282"/>
              <a:gd name="T27" fmla="*/ 6 h 156"/>
              <a:gd name="T28" fmla="*/ 108 w 282"/>
              <a:gd name="T29" fmla="*/ 6 h 156"/>
              <a:gd name="T30" fmla="*/ 108 w 282"/>
              <a:gd name="T31" fmla="*/ 12 h 156"/>
              <a:gd name="T32" fmla="*/ 114 w 282"/>
              <a:gd name="T33" fmla="*/ 18 h 156"/>
              <a:gd name="T34" fmla="*/ 132 w 282"/>
              <a:gd name="T35" fmla="*/ 12 h 156"/>
              <a:gd name="T36" fmla="*/ 144 w 282"/>
              <a:gd name="T37" fmla="*/ 18 h 156"/>
              <a:gd name="T38" fmla="*/ 150 w 282"/>
              <a:gd name="T39" fmla="*/ 24 h 156"/>
              <a:gd name="T40" fmla="*/ 162 w 282"/>
              <a:gd name="T41" fmla="*/ 18 h 156"/>
              <a:gd name="T42" fmla="*/ 168 w 282"/>
              <a:gd name="T43" fmla="*/ 12 h 156"/>
              <a:gd name="T44" fmla="*/ 180 w 282"/>
              <a:gd name="T45" fmla="*/ 12 h 156"/>
              <a:gd name="T46" fmla="*/ 192 w 282"/>
              <a:gd name="T47" fmla="*/ 6 h 156"/>
              <a:gd name="T48" fmla="*/ 198 w 282"/>
              <a:gd name="T49" fmla="*/ 6 h 156"/>
              <a:gd name="T50" fmla="*/ 204 w 282"/>
              <a:gd name="T51" fmla="*/ 12 h 156"/>
              <a:gd name="T52" fmla="*/ 210 w 282"/>
              <a:gd name="T53" fmla="*/ 18 h 156"/>
              <a:gd name="T54" fmla="*/ 216 w 282"/>
              <a:gd name="T55" fmla="*/ 42 h 156"/>
              <a:gd name="T56" fmla="*/ 228 w 282"/>
              <a:gd name="T57" fmla="*/ 54 h 156"/>
              <a:gd name="T58" fmla="*/ 228 w 282"/>
              <a:gd name="T59" fmla="*/ 66 h 156"/>
              <a:gd name="T60" fmla="*/ 222 w 282"/>
              <a:gd name="T61" fmla="*/ 72 h 156"/>
              <a:gd name="T62" fmla="*/ 210 w 282"/>
              <a:gd name="T63" fmla="*/ 96 h 156"/>
              <a:gd name="T64" fmla="*/ 234 w 282"/>
              <a:gd name="T65" fmla="*/ 96 h 156"/>
              <a:gd name="T66" fmla="*/ 252 w 282"/>
              <a:gd name="T67" fmla="*/ 90 h 156"/>
              <a:gd name="T68" fmla="*/ 270 w 282"/>
              <a:gd name="T69" fmla="*/ 84 h 156"/>
              <a:gd name="T70" fmla="*/ 282 w 282"/>
              <a:gd name="T71" fmla="*/ 90 h 156"/>
              <a:gd name="T72" fmla="*/ 276 w 282"/>
              <a:gd name="T73" fmla="*/ 96 h 156"/>
              <a:gd name="T74" fmla="*/ 258 w 282"/>
              <a:gd name="T75" fmla="*/ 114 h 156"/>
              <a:gd name="T76" fmla="*/ 240 w 282"/>
              <a:gd name="T77" fmla="*/ 126 h 156"/>
              <a:gd name="T78" fmla="*/ 240 w 282"/>
              <a:gd name="T79" fmla="*/ 138 h 156"/>
              <a:gd name="T80" fmla="*/ 228 w 282"/>
              <a:gd name="T81" fmla="*/ 138 h 156"/>
              <a:gd name="T82" fmla="*/ 210 w 282"/>
              <a:gd name="T83" fmla="*/ 144 h 156"/>
              <a:gd name="T84" fmla="*/ 204 w 282"/>
              <a:gd name="T85" fmla="*/ 156 h 156"/>
              <a:gd name="T86" fmla="*/ 186 w 282"/>
              <a:gd name="T87" fmla="*/ 156 h 156"/>
              <a:gd name="T88" fmla="*/ 174 w 282"/>
              <a:gd name="T89" fmla="*/ 138 h 156"/>
              <a:gd name="T90" fmla="*/ 168 w 282"/>
              <a:gd name="T91" fmla="*/ 132 h 156"/>
              <a:gd name="T92" fmla="*/ 174 w 282"/>
              <a:gd name="T93" fmla="*/ 120 h 156"/>
              <a:gd name="T94" fmla="*/ 180 w 282"/>
              <a:gd name="T95" fmla="*/ 108 h 156"/>
              <a:gd name="T96" fmla="*/ 186 w 282"/>
              <a:gd name="T97" fmla="*/ 90 h 156"/>
              <a:gd name="T98" fmla="*/ 168 w 282"/>
              <a:gd name="T99" fmla="*/ 84 h 156"/>
              <a:gd name="T100" fmla="*/ 144 w 282"/>
              <a:gd name="T101" fmla="*/ 84 h 156"/>
              <a:gd name="T102" fmla="*/ 132 w 282"/>
              <a:gd name="T103" fmla="*/ 78 h 156"/>
              <a:gd name="T104" fmla="*/ 108 w 282"/>
              <a:gd name="T105" fmla="*/ 84 h 156"/>
              <a:gd name="T106" fmla="*/ 90 w 282"/>
              <a:gd name="T107" fmla="*/ 90 h 156"/>
              <a:gd name="T108" fmla="*/ 78 w 282"/>
              <a:gd name="T109" fmla="*/ 96 h 156"/>
              <a:gd name="T110" fmla="*/ 66 w 282"/>
              <a:gd name="T111" fmla="*/ 102 h 156"/>
              <a:gd name="T112" fmla="*/ 42 w 282"/>
              <a:gd name="T113" fmla="*/ 102 h 156"/>
              <a:gd name="T114" fmla="*/ 24 w 282"/>
              <a:gd name="T115" fmla="*/ 96 h 156"/>
              <a:gd name="T116" fmla="*/ 18 w 282"/>
              <a:gd name="T117" fmla="*/ 102 h 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82" h="156">
                <a:moveTo>
                  <a:pt x="0" y="102"/>
                </a:moveTo>
                <a:lnTo>
                  <a:pt x="0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84"/>
                </a:lnTo>
                <a:lnTo>
                  <a:pt x="12" y="84"/>
                </a:lnTo>
                <a:lnTo>
                  <a:pt x="12" y="84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8" y="78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18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54"/>
                </a:lnTo>
                <a:lnTo>
                  <a:pt x="24" y="54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30" y="48"/>
                </a:lnTo>
                <a:lnTo>
                  <a:pt x="30" y="42"/>
                </a:lnTo>
                <a:lnTo>
                  <a:pt x="30" y="42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6" y="48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48"/>
                </a:lnTo>
                <a:lnTo>
                  <a:pt x="42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54" y="48"/>
                </a:lnTo>
                <a:lnTo>
                  <a:pt x="54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48" y="0"/>
                </a:lnTo>
                <a:lnTo>
                  <a:pt x="48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0"/>
                </a:lnTo>
                <a:lnTo>
                  <a:pt x="78" y="0"/>
                </a:lnTo>
                <a:lnTo>
                  <a:pt x="84" y="0"/>
                </a:lnTo>
                <a:lnTo>
                  <a:pt x="84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8" y="12"/>
                </a:lnTo>
                <a:lnTo>
                  <a:pt x="108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14" y="12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20" y="18"/>
                </a:lnTo>
                <a:lnTo>
                  <a:pt x="114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8"/>
                </a:lnTo>
                <a:lnTo>
                  <a:pt x="126" y="18"/>
                </a:lnTo>
                <a:lnTo>
                  <a:pt x="132" y="18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8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6" y="24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2"/>
                </a:lnTo>
                <a:lnTo>
                  <a:pt x="162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8"/>
                </a:lnTo>
                <a:lnTo>
                  <a:pt x="168" y="12"/>
                </a:lnTo>
                <a:lnTo>
                  <a:pt x="168" y="18"/>
                </a:lnTo>
                <a:lnTo>
                  <a:pt x="168" y="12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80" y="12"/>
                </a:lnTo>
                <a:lnTo>
                  <a:pt x="180" y="12"/>
                </a:lnTo>
                <a:lnTo>
                  <a:pt x="180" y="12"/>
                </a:lnTo>
                <a:lnTo>
                  <a:pt x="180" y="12"/>
                </a:lnTo>
                <a:lnTo>
                  <a:pt x="186" y="12"/>
                </a:lnTo>
                <a:lnTo>
                  <a:pt x="180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6"/>
                </a:lnTo>
                <a:lnTo>
                  <a:pt x="186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8" y="6"/>
                </a:lnTo>
                <a:lnTo>
                  <a:pt x="198" y="6"/>
                </a:lnTo>
                <a:lnTo>
                  <a:pt x="198" y="6"/>
                </a:lnTo>
                <a:lnTo>
                  <a:pt x="198" y="6"/>
                </a:lnTo>
                <a:lnTo>
                  <a:pt x="198" y="6"/>
                </a:lnTo>
                <a:lnTo>
                  <a:pt x="198" y="6"/>
                </a:lnTo>
                <a:lnTo>
                  <a:pt x="198" y="6"/>
                </a:lnTo>
                <a:lnTo>
                  <a:pt x="198" y="6"/>
                </a:lnTo>
                <a:lnTo>
                  <a:pt x="198" y="6"/>
                </a:lnTo>
                <a:lnTo>
                  <a:pt x="198" y="6"/>
                </a:lnTo>
                <a:lnTo>
                  <a:pt x="198" y="6"/>
                </a:lnTo>
                <a:lnTo>
                  <a:pt x="198" y="6"/>
                </a:lnTo>
                <a:lnTo>
                  <a:pt x="198" y="6"/>
                </a:lnTo>
                <a:lnTo>
                  <a:pt x="198" y="6"/>
                </a:lnTo>
                <a:lnTo>
                  <a:pt x="198" y="6"/>
                </a:lnTo>
                <a:lnTo>
                  <a:pt x="204" y="6"/>
                </a:lnTo>
                <a:lnTo>
                  <a:pt x="204" y="6"/>
                </a:lnTo>
                <a:lnTo>
                  <a:pt x="204" y="6"/>
                </a:lnTo>
                <a:lnTo>
                  <a:pt x="204" y="12"/>
                </a:lnTo>
                <a:lnTo>
                  <a:pt x="204" y="12"/>
                </a:lnTo>
                <a:lnTo>
                  <a:pt x="204" y="12"/>
                </a:lnTo>
                <a:lnTo>
                  <a:pt x="204" y="12"/>
                </a:lnTo>
                <a:lnTo>
                  <a:pt x="204" y="12"/>
                </a:lnTo>
                <a:lnTo>
                  <a:pt x="204" y="12"/>
                </a:lnTo>
                <a:lnTo>
                  <a:pt x="204" y="12"/>
                </a:lnTo>
                <a:lnTo>
                  <a:pt x="210" y="12"/>
                </a:lnTo>
                <a:lnTo>
                  <a:pt x="204" y="12"/>
                </a:lnTo>
                <a:lnTo>
                  <a:pt x="204" y="12"/>
                </a:lnTo>
                <a:lnTo>
                  <a:pt x="210" y="12"/>
                </a:lnTo>
                <a:lnTo>
                  <a:pt x="210" y="12"/>
                </a:lnTo>
                <a:lnTo>
                  <a:pt x="210" y="18"/>
                </a:lnTo>
                <a:lnTo>
                  <a:pt x="210" y="18"/>
                </a:lnTo>
                <a:lnTo>
                  <a:pt x="210" y="18"/>
                </a:lnTo>
                <a:lnTo>
                  <a:pt x="210" y="18"/>
                </a:lnTo>
                <a:lnTo>
                  <a:pt x="210" y="18"/>
                </a:lnTo>
                <a:lnTo>
                  <a:pt x="210" y="18"/>
                </a:lnTo>
                <a:lnTo>
                  <a:pt x="210" y="24"/>
                </a:lnTo>
                <a:lnTo>
                  <a:pt x="210" y="24"/>
                </a:lnTo>
                <a:lnTo>
                  <a:pt x="204" y="30"/>
                </a:lnTo>
                <a:lnTo>
                  <a:pt x="210" y="30"/>
                </a:lnTo>
                <a:lnTo>
                  <a:pt x="210" y="30"/>
                </a:lnTo>
                <a:lnTo>
                  <a:pt x="210" y="30"/>
                </a:lnTo>
                <a:lnTo>
                  <a:pt x="210" y="30"/>
                </a:lnTo>
                <a:lnTo>
                  <a:pt x="210" y="36"/>
                </a:lnTo>
                <a:lnTo>
                  <a:pt x="210" y="36"/>
                </a:lnTo>
                <a:lnTo>
                  <a:pt x="216" y="36"/>
                </a:lnTo>
                <a:lnTo>
                  <a:pt x="216" y="36"/>
                </a:lnTo>
                <a:lnTo>
                  <a:pt x="216" y="42"/>
                </a:lnTo>
                <a:lnTo>
                  <a:pt x="216" y="42"/>
                </a:lnTo>
                <a:lnTo>
                  <a:pt x="216" y="42"/>
                </a:lnTo>
                <a:lnTo>
                  <a:pt x="216" y="42"/>
                </a:lnTo>
                <a:lnTo>
                  <a:pt x="216" y="42"/>
                </a:lnTo>
                <a:lnTo>
                  <a:pt x="222" y="42"/>
                </a:lnTo>
                <a:lnTo>
                  <a:pt x="216" y="48"/>
                </a:lnTo>
                <a:lnTo>
                  <a:pt x="216" y="48"/>
                </a:lnTo>
                <a:lnTo>
                  <a:pt x="222" y="48"/>
                </a:lnTo>
                <a:lnTo>
                  <a:pt x="222" y="48"/>
                </a:lnTo>
                <a:lnTo>
                  <a:pt x="222" y="48"/>
                </a:lnTo>
                <a:lnTo>
                  <a:pt x="228" y="48"/>
                </a:lnTo>
                <a:lnTo>
                  <a:pt x="228" y="54"/>
                </a:lnTo>
                <a:lnTo>
                  <a:pt x="228" y="54"/>
                </a:lnTo>
                <a:lnTo>
                  <a:pt x="228" y="54"/>
                </a:lnTo>
                <a:lnTo>
                  <a:pt x="228" y="54"/>
                </a:lnTo>
                <a:lnTo>
                  <a:pt x="228" y="54"/>
                </a:lnTo>
                <a:lnTo>
                  <a:pt x="228" y="54"/>
                </a:lnTo>
                <a:lnTo>
                  <a:pt x="228" y="60"/>
                </a:lnTo>
                <a:lnTo>
                  <a:pt x="234" y="60"/>
                </a:lnTo>
                <a:lnTo>
                  <a:pt x="234" y="60"/>
                </a:lnTo>
                <a:lnTo>
                  <a:pt x="234" y="60"/>
                </a:lnTo>
                <a:lnTo>
                  <a:pt x="234" y="60"/>
                </a:lnTo>
                <a:lnTo>
                  <a:pt x="234" y="60"/>
                </a:lnTo>
                <a:lnTo>
                  <a:pt x="234" y="60"/>
                </a:lnTo>
                <a:lnTo>
                  <a:pt x="234" y="60"/>
                </a:lnTo>
                <a:lnTo>
                  <a:pt x="228" y="60"/>
                </a:lnTo>
                <a:lnTo>
                  <a:pt x="228" y="66"/>
                </a:lnTo>
                <a:lnTo>
                  <a:pt x="228" y="66"/>
                </a:lnTo>
                <a:lnTo>
                  <a:pt x="228" y="66"/>
                </a:lnTo>
                <a:lnTo>
                  <a:pt x="228" y="66"/>
                </a:lnTo>
                <a:lnTo>
                  <a:pt x="228" y="66"/>
                </a:lnTo>
                <a:lnTo>
                  <a:pt x="228" y="66"/>
                </a:lnTo>
                <a:lnTo>
                  <a:pt x="228" y="66"/>
                </a:lnTo>
                <a:lnTo>
                  <a:pt x="228" y="66"/>
                </a:lnTo>
                <a:lnTo>
                  <a:pt x="228" y="66"/>
                </a:lnTo>
                <a:lnTo>
                  <a:pt x="228" y="72"/>
                </a:lnTo>
                <a:lnTo>
                  <a:pt x="228" y="72"/>
                </a:lnTo>
                <a:lnTo>
                  <a:pt x="228" y="72"/>
                </a:lnTo>
                <a:lnTo>
                  <a:pt x="228" y="72"/>
                </a:lnTo>
                <a:lnTo>
                  <a:pt x="228" y="72"/>
                </a:lnTo>
                <a:lnTo>
                  <a:pt x="228" y="72"/>
                </a:lnTo>
                <a:lnTo>
                  <a:pt x="222" y="72"/>
                </a:lnTo>
                <a:lnTo>
                  <a:pt x="222" y="72"/>
                </a:lnTo>
                <a:lnTo>
                  <a:pt x="222" y="72"/>
                </a:lnTo>
                <a:lnTo>
                  <a:pt x="222" y="72"/>
                </a:lnTo>
                <a:lnTo>
                  <a:pt x="222" y="72"/>
                </a:lnTo>
                <a:lnTo>
                  <a:pt x="222" y="72"/>
                </a:lnTo>
                <a:lnTo>
                  <a:pt x="216" y="78"/>
                </a:lnTo>
                <a:lnTo>
                  <a:pt x="216" y="78"/>
                </a:lnTo>
                <a:lnTo>
                  <a:pt x="216" y="78"/>
                </a:lnTo>
                <a:lnTo>
                  <a:pt x="216" y="84"/>
                </a:lnTo>
                <a:lnTo>
                  <a:pt x="216" y="84"/>
                </a:lnTo>
                <a:lnTo>
                  <a:pt x="216" y="90"/>
                </a:lnTo>
                <a:lnTo>
                  <a:pt x="216" y="90"/>
                </a:lnTo>
                <a:lnTo>
                  <a:pt x="216" y="90"/>
                </a:lnTo>
                <a:lnTo>
                  <a:pt x="216" y="96"/>
                </a:lnTo>
                <a:lnTo>
                  <a:pt x="210" y="96"/>
                </a:lnTo>
                <a:lnTo>
                  <a:pt x="216" y="102"/>
                </a:lnTo>
                <a:lnTo>
                  <a:pt x="216" y="102"/>
                </a:lnTo>
                <a:lnTo>
                  <a:pt x="216" y="102"/>
                </a:lnTo>
                <a:lnTo>
                  <a:pt x="222" y="102"/>
                </a:lnTo>
                <a:lnTo>
                  <a:pt x="222" y="102"/>
                </a:lnTo>
                <a:lnTo>
                  <a:pt x="222" y="102"/>
                </a:lnTo>
                <a:lnTo>
                  <a:pt x="228" y="102"/>
                </a:lnTo>
                <a:lnTo>
                  <a:pt x="228" y="102"/>
                </a:lnTo>
                <a:lnTo>
                  <a:pt x="228" y="102"/>
                </a:lnTo>
                <a:lnTo>
                  <a:pt x="228" y="102"/>
                </a:lnTo>
                <a:lnTo>
                  <a:pt x="228" y="96"/>
                </a:lnTo>
                <a:lnTo>
                  <a:pt x="234" y="96"/>
                </a:lnTo>
                <a:lnTo>
                  <a:pt x="234" y="96"/>
                </a:lnTo>
                <a:lnTo>
                  <a:pt x="234" y="96"/>
                </a:lnTo>
                <a:lnTo>
                  <a:pt x="240" y="96"/>
                </a:lnTo>
                <a:lnTo>
                  <a:pt x="240" y="96"/>
                </a:lnTo>
                <a:lnTo>
                  <a:pt x="240" y="96"/>
                </a:lnTo>
                <a:lnTo>
                  <a:pt x="240" y="96"/>
                </a:lnTo>
                <a:lnTo>
                  <a:pt x="240" y="96"/>
                </a:lnTo>
                <a:lnTo>
                  <a:pt x="240" y="96"/>
                </a:lnTo>
                <a:lnTo>
                  <a:pt x="246" y="96"/>
                </a:lnTo>
                <a:lnTo>
                  <a:pt x="246" y="96"/>
                </a:lnTo>
                <a:lnTo>
                  <a:pt x="246" y="96"/>
                </a:lnTo>
                <a:lnTo>
                  <a:pt x="252" y="96"/>
                </a:lnTo>
                <a:lnTo>
                  <a:pt x="252" y="96"/>
                </a:lnTo>
                <a:lnTo>
                  <a:pt x="252" y="90"/>
                </a:lnTo>
                <a:lnTo>
                  <a:pt x="252" y="90"/>
                </a:lnTo>
                <a:lnTo>
                  <a:pt x="252" y="90"/>
                </a:lnTo>
                <a:lnTo>
                  <a:pt x="258" y="90"/>
                </a:lnTo>
                <a:lnTo>
                  <a:pt x="258" y="90"/>
                </a:lnTo>
                <a:lnTo>
                  <a:pt x="258" y="90"/>
                </a:lnTo>
                <a:lnTo>
                  <a:pt x="258" y="90"/>
                </a:lnTo>
                <a:lnTo>
                  <a:pt x="258" y="90"/>
                </a:lnTo>
                <a:lnTo>
                  <a:pt x="264" y="90"/>
                </a:lnTo>
                <a:lnTo>
                  <a:pt x="264" y="90"/>
                </a:lnTo>
                <a:lnTo>
                  <a:pt x="264" y="90"/>
                </a:lnTo>
                <a:lnTo>
                  <a:pt x="264" y="90"/>
                </a:lnTo>
                <a:lnTo>
                  <a:pt x="264" y="90"/>
                </a:lnTo>
                <a:lnTo>
                  <a:pt x="270" y="84"/>
                </a:lnTo>
                <a:lnTo>
                  <a:pt x="270" y="84"/>
                </a:lnTo>
                <a:lnTo>
                  <a:pt x="270" y="84"/>
                </a:lnTo>
                <a:lnTo>
                  <a:pt x="270" y="84"/>
                </a:lnTo>
                <a:lnTo>
                  <a:pt x="270" y="84"/>
                </a:lnTo>
                <a:lnTo>
                  <a:pt x="270" y="84"/>
                </a:lnTo>
                <a:lnTo>
                  <a:pt x="270" y="84"/>
                </a:lnTo>
                <a:lnTo>
                  <a:pt x="270" y="84"/>
                </a:lnTo>
                <a:lnTo>
                  <a:pt x="276" y="84"/>
                </a:lnTo>
                <a:lnTo>
                  <a:pt x="276" y="84"/>
                </a:lnTo>
                <a:lnTo>
                  <a:pt x="276" y="84"/>
                </a:lnTo>
                <a:lnTo>
                  <a:pt x="276" y="84"/>
                </a:lnTo>
                <a:lnTo>
                  <a:pt x="282" y="84"/>
                </a:lnTo>
                <a:lnTo>
                  <a:pt x="282" y="84"/>
                </a:lnTo>
                <a:lnTo>
                  <a:pt x="282" y="84"/>
                </a:lnTo>
                <a:lnTo>
                  <a:pt x="282" y="84"/>
                </a:lnTo>
                <a:lnTo>
                  <a:pt x="282" y="84"/>
                </a:lnTo>
                <a:lnTo>
                  <a:pt x="282" y="90"/>
                </a:lnTo>
                <a:lnTo>
                  <a:pt x="282" y="90"/>
                </a:lnTo>
                <a:lnTo>
                  <a:pt x="276" y="90"/>
                </a:lnTo>
                <a:lnTo>
                  <a:pt x="276" y="90"/>
                </a:lnTo>
                <a:lnTo>
                  <a:pt x="282" y="90"/>
                </a:lnTo>
                <a:lnTo>
                  <a:pt x="276" y="90"/>
                </a:lnTo>
                <a:lnTo>
                  <a:pt x="276" y="96"/>
                </a:lnTo>
                <a:lnTo>
                  <a:pt x="276" y="96"/>
                </a:lnTo>
                <a:lnTo>
                  <a:pt x="276" y="96"/>
                </a:lnTo>
                <a:lnTo>
                  <a:pt x="276" y="96"/>
                </a:lnTo>
                <a:lnTo>
                  <a:pt x="276" y="96"/>
                </a:lnTo>
                <a:lnTo>
                  <a:pt x="276" y="96"/>
                </a:lnTo>
                <a:lnTo>
                  <a:pt x="276" y="96"/>
                </a:lnTo>
                <a:lnTo>
                  <a:pt x="276" y="96"/>
                </a:lnTo>
                <a:lnTo>
                  <a:pt x="276" y="96"/>
                </a:lnTo>
                <a:lnTo>
                  <a:pt x="270" y="96"/>
                </a:lnTo>
                <a:lnTo>
                  <a:pt x="270" y="102"/>
                </a:lnTo>
                <a:lnTo>
                  <a:pt x="270" y="102"/>
                </a:lnTo>
                <a:lnTo>
                  <a:pt x="270" y="102"/>
                </a:lnTo>
                <a:lnTo>
                  <a:pt x="270" y="102"/>
                </a:lnTo>
                <a:lnTo>
                  <a:pt x="264" y="102"/>
                </a:lnTo>
                <a:lnTo>
                  <a:pt x="264" y="102"/>
                </a:lnTo>
                <a:lnTo>
                  <a:pt x="264" y="102"/>
                </a:lnTo>
                <a:lnTo>
                  <a:pt x="264" y="108"/>
                </a:lnTo>
                <a:lnTo>
                  <a:pt x="264" y="108"/>
                </a:lnTo>
                <a:lnTo>
                  <a:pt x="264" y="108"/>
                </a:lnTo>
                <a:lnTo>
                  <a:pt x="258" y="108"/>
                </a:lnTo>
                <a:lnTo>
                  <a:pt x="258" y="108"/>
                </a:lnTo>
                <a:lnTo>
                  <a:pt x="258" y="114"/>
                </a:lnTo>
                <a:lnTo>
                  <a:pt x="258" y="114"/>
                </a:lnTo>
                <a:lnTo>
                  <a:pt x="258" y="114"/>
                </a:lnTo>
                <a:lnTo>
                  <a:pt x="252" y="114"/>
                </a:lnTo>
                <a:lnTo>
                  <a:pt x="252" y="114"/>
                </a:lnTo>
                <a:lnTo>
                  <a:pt x="252" y="114"/>
                </a:lnTo>
                <a:lnTo>
                  <a:pt x="252" y="120"/>
                </a:lnTo>
                <a:lnTo>
                  <a:pt x="252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0" y="126"/>
                </a:lnTo>
                <a:lnTo>
                  <a:pt x="240" y="126"/>
                </a:lnTo>
                <a:lnTo>
                  <a:pt x="240" y="126"/>
                </a:lnTo>
                <a:lnTo>
                  <a:pt x="240" y="126"/>
                </a:lnTo>
                <a:lnTo>
                  <a:pt x="240" y="126"/>
                </a:lnTo>
                <a:lnTo>
                  <a:pt x="240" y="126"/>
                </a:lnTo>
                <a:lnTo>
                  <a:pt x="240" y="126"/>
                </a:lnTo>
                <a:lnTo>
                  <a:pt x="240" y="126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8"/>
                </a:lnTo>
                <a:lnTo>
                  <a:pt x="234" y="138"/>
                </a:lnTo>
                <a:lnTo>
                  <a:pt x="234" y="138"/>
                </a:lnTo>
                <a:lnTo>
                  <a:pt x="234" y="138"/>
                </a:lnTo>
                <a:lnTo>
                  <a:pt x="234" y="138"/>
                </a:lnTo>
                <a:lnTo>
                  <a:pt x="234" y="144"/>
                </a:lnTo>
                <a:lnTo>
                  <a:pt x="234" y="144"/>
                </a:lnTo>
                <a:lnTo>
                  <a:pt x="228" y="144"/>
                </a:lnTo>
                <a:lnTo>
                  <a:pt x="228" y="144"/>
                </a:lnTo>
                <a:lnTo>
                  <a:pt x="228" y="144"/>
                </a:lnTo>
                <a:lnTo>
                  <a:pt x="228" y="144"/>
                </a:lnTo>
                <a:lnTo>
                  <a:pt x="228" y="138"/>
                </a:lnTo>
                <a:lnTo>
                  <a:pt x="228" y="138"/>
                </a:lnTo>
                <a:lnTo>
                  <a:pt x="228" y="138"/>
                </a:lnTo>
                <a:lnTo>
                  <a:pt x="228" y="138"/>
                </a:lnTo>
                <a:lnTo>
                  <a:pt x="222" y="138"/>
                </a:lnTo>
                <a:lnTo>
                  <a:pt x="216" y="144"/>
                </a:lnTo>
                <a:lnTo>
                  <a:pt x="216" y="144"/>
                </a:lnTo>
                <a:lnTo>
                  <a:pt x="216" y="144"/>
                </a:lnTo>
                <a:lnTo>
                  <a:pt x="216" y="144"/>
                </a:lnTo>
                <a:lnTo>
                  <a:pt x="216" y="144"/>
                </a:lnTo>
                <a:lnTo>
                  <a:pt x="210" y="144"/>
                </a:lnTo>
                <a:lnTo>
                  <a:pt x="210" y="144"/>
                </a:lnTo>
                <a:lnTo>
                  <a:pt x="210" y="144"/>
                </a:lnTo>
                <a:lnTo>
                  <a:pt x="210" y="144"/>
                </a:lnTo>
                <a:lnTo>
                  <a:pt x="210" y="144"/>
                </a:lnTo>
                <a:lnTo>
                  <a:pt x="210" y="144"/>
                </a:lnTo>
                <a:lnTo>
                  <a:pt x="210" y="144"/>
                </a:lnTo>
                <a:lnTo>
                  <a:pt x="210" y="144"/>
                </a:lnTo>
                <a:lnTo>
                  <a:pt x="210" y="144"/>
                </a:lnTo>
                <a:lnTo>
                  <a:pt x="210" y="144"/>
                </a:lnTo>
                <a:lnTo>
                  <a:pt x="204" y="144"/>
                </a:lnTo>
                <a:lnTo>
                  <a:pt x="204" y="144"/>
                </a:lnTo>
                <a:lnTo>
                  <a:pt x="210" y="144"/>
                </a:lnTo>
                <a:lnTo>
                  <a:pt x="204" y="150"/>
                </a:lnTo>
                <a:lnTo>
                  <a:pt x="210" y="150"/>
                </a:lnTo>
                <a:lnTo>
                  <a:pt x="210" y="150"/>
                </a:lnTo>
                <a:lnTo>
                  <a:pt x="210" y="150"/>
                </a:lnTo>
                <a:lnTo>
                  <a:pt x="204" y="150"/>
                </a:lnTo>
                <a:lnTo>
                  <a:pt x="210" y="150"/>
                </a:lnTo>
                <a:lnTo>
                  <a:pt x="210" y="156"/>
                </a:lnTo>
                <a:lnTo>
                  <a:pt x="204" y="156"/>
                </a:lnTo>
                <a:lnTo>
                  <a:pt x="204" y="156"/>
                </a:lnTo>
                <a:lnTo>
                  <a:pt x="204" y="156"/>
                </a:lnTo>
                <a:lnTo>
                  <a:pt x="198" y="156"/>
                </a:lnTo>
                <a:lnTo>
                  <a:pt x="198" y="156"/>
                </a:lnTo>
                <a:lnTo>
                  <a:pt x="192" y="156"/>
                </a:lnTo>
                <a:lnTo>
                  <a:pt x="192" y="156"/>
                </a:lnTo>
                <a:lnTo>
                  <a:pt x="192" y="156"/>
                </a:lnTo>
                <a:lnTo>
                  <a:pt x="192" y="156"/>
                </a:lnTo>
                <a:lnTo>
                  <a:pt x="192" y="156"/>
                </a:lnTo>
                <a:lnTo>
                  <a:pt x="186" y="150"/>
                </a:lnTo>
                <a:lnTo>
                  <a:pt x="186" y="156"/>
                </a:lnTo>
                <a:lnTo>
                  <a:pt x="186" y="156"/>
                </a:lnTo>
                <a:lnTo>
                  <a:pt x="186" y="156"/>
                </a:lnTo>
                <a:lnTo>
                  <a:pt x="186" y="156"/>
                </a:lnTo>
                <a:lnTo>
                  <a:pt x="186" y="156"/>
                </a:lnTo>
                <a:lnTo>
                  <a:pt x="180" y="156"/>
                </a:lnTo>
                <a:lnTo>
                  <a:pt x="180" y="156"/>
                </a:lnTo>
                <a:lnTo>
                  <a:pt x="174" y="156"/>
                </a:lnTo>
                <a:lnTo>
                  <a:pt x="174" y="150"/>
                </a:lnTo>
                <a:lnTo>
                  <a:pt x="174" y="150"/>
                </a:lnTo>
                <a:lnTo>
                  <a:pt x="174" y="150"/>
                </a:lnTo>
                <a:lnTo>
                  <a:pt x="180" y="144"/>
                </a:lnTo>
                <a:lnTo>
                  <a:pt x="180" y="144"/>
                </a:lnTo>
                <a:lnTo>
                  <a:pt x="180" y="144"/>
                </a:lnTo>
                <a:lnTo>
                  <a:pt x="180" y="144"/>
                </a:lnTo>
                <a:lnTo>
                  <a:pt x="180" y="144"/>
                </a:lnTo>
                <a:lnTo>
                  <a:pt x="180" y="144"/>
                </a:lnTo>
                <a:lnTo>
                  <a:pt x="174" y="138"/>
                </a:lnTo>
                <a:lnTo>
                  <a:pt x="174" y="138"/>
                </a:lnTo>
                <a:lnTo>
                  <a:pt x="174" y="138"/>
                </a:lnTo>
                <a:lnTo>
                  <a:pt x="174" y="138"/>
                </a:lnTo>
                <a:lnTo>
                  <a:pt x="174" y="138"/>
                </a:lnTo>
                <a:lnTo>
                  <a:pt x="174" y="138"/>
                </a:lnTo>
                <a:lnTo>
                  <a:pt x="174" y="138"/>
                </a:lnTo>
                <a:lnTo>
                  <a:pt x="174" y="138"/>
                </a:lnTo>
                <a:lnTo>
                  <a:pt x="174" y="132"/>
                </a:lnTo>
                <a:lnTo>
                  <a:pt x="174" y="132"/>
                </a:lnTo>
                <a:lnTo>
                  <a:pt x="174" y="132"/>
                </a:lnTo>
                <a:lnTo>
                  <a:pt x="174" y="132"/>
                </a:lnTo>
                <a:lnTo>
                  <a:pt x="174" y="132"/>
                </a:lnTo>
                <a:lnTo>
                  <a:pt x="174" y="132"/>
                </a:lnTo>
                <a:lnTo>
                  <a:pt x="174" y="132"/>
                </a:lnTo>
                <a:lnTo>
                  <a:pt x="168" y="132"/>
                </a:lnTo>
                <a:lnTo>
                  <a:pt x="168" y="126"/>
                </a:lnTo>
                <a:lnTo>
                  <a:pt x="168" y="126"/>
                </a:lnTo>
                <a:lnTo>
                  <a:pt x="168" y="126"/>
                </a:lnTo>
                <a:lnTo>
                  <a:pt x="168" y="126"/>
                </a:lnTo>
                <a:lnTo>
                  <a:pt x="168" y="126"/>
                </a:lnTo>
                <a:lnTo>
                  <a:pt x="168" y="126"/>
                </a:lnTo>
                <a:lnTo>
                  <a:pt x="168" y="126"/>
                </a:lnTo>
                <a:lnTo>
                  <a:pt x="168" y="120"/>
                </a:lnTo>
                <a:lnTo>
                  <a:pt x="168" y="120"/>
                </a:lnTo>
                <a:lnTo>
                  <a:pt x="174" y="120"/>
                </a:lnTo>
                <a:lnTo>
                  <a:pt x="174" y="120"/>
                </a:lnTo>
                <a:lnTo>
                  <a:pt x="174" y="120"/>
                </a:lnTo>
                <a:lnTo>
                  <a:pt x="174" y="120"/>
                </a:lnTo>
                <a:lnTo>
                  <a:pt x="174" y="120"/>
                </a:lnTo>
                <a:lnTo>
                  <a:pt x="174" y="120"/>
                </a:lnTo>
                <a:lnTo>
                  <a:pt x="174" y="114"/>
                </a:lnTo>
                <a:lnTo>
                  <a:pt x="174" y="114"/>
                </a:lnTo>
                <a:lnTo>
                  <a:pt x="174" y="114"/>
                </a:lnTo>
                <a:lnTo>
                  <a:pt x="174" y="114"/>
                </a:lnTo>
                <a:lnTo>
                  <a:pt x="174" y="114"/>
                </a:lnTo>
                <a:lnTo>
                  <a:pt x="174" y="114"/>
                </a:lnTo>
                <a:lnTo>
                  <a:pt x="174" y="108"/>
                </a:lnTo>
                <a:lnTo>
                  <a:pt x="174" y="108"/>
                </a:lnTo>
                <a:lnTo>
                  <a:pt x="174" y="108"/>
                </a:lnTo>
                <a:lnTo>
                  <a:pt x="174" y="108"/>
                </a:lnTo>
                <a:lnTo>
                  <a:pt x="174" y="108"/>
                </a:lnTo>
                <a:lnTo>
                  <a:pt x="180" y="108"/>
                </a:lnTo>
                <a:lnTo>
                  <a:pt x="180" y="108"/>
                </a:lnTo>
                <a:lnTo>
                  <a:pt x="180" y="102"/>
                </a:lnTo>
                <a:lnTo>
                  <a:pt x="180" y="102"/>
                </a:lnTo>
                <a:lnTo>
                  <a:pt x="180" y="102"/>
                </a:lnTo>
                <a:lnTo>
                  <a:pt x="180" y="102"/>
                </a:lnTo>
                <a:lnTo>
                  <a:pt x="180" y="102"/>
                </a:lnTo>
                <a:lnTo>
                  <a:pt x="180" y="102"/>
                </a:lnTo>
                <a:lnTo>
                  <a:pt x="180" y="102"/>
                </a:lnTo>
                <a:lnTo>
                  <a:pt x="180" y="102"/>
                </a:lnTo>
                <a:lnTo>
                  <a:pt x="180" y="96"/>
                </a:lnTo>
                <a:lnTo>
                  <a:pt x="186" y="96"/>
                </a:lnTo>
                <a:lnTo>
                  <a:pt x="186" y="90"/>
                </a:lnTo>
                <a:lnTo>
                  <a:pt x="186" y="90"/>
                </a:lnTo>
                <a:lnTo>
                  <a:pt x="186" y="90"/>
                </a:lnTo>
                <a:lnTo>
                  <a:pt x="186" y="90"/>
                </a:lnTo>
                <a:lnTo>
                  <a:pt x="186" y="90"/>
                </a:lnTo>
                <a:lnTo>
                  <a:pt x="186" y="90"/>
                </a:lnTo>
                <a:lnTo>
                  <a:pt x="186" y="90"/>
                </a:lnTo>
                <a:lnTo>
                  <a:pt x="180" y="90"/>
                </a:lnTo>
                <a:lnTo>
                  <a:pt x="180" y="90"/>
                </a:lnTo>
                <a:lnTo>
                  <a:pt x="180" y="90"/>
                </a:lnTo>
                <a:lnTo>
                  <a:pt x="174" y="90"/>
                </a:lnTo>
                <a:lnTo>
                  <a:pt x="174" y="90"/>
                </a:lnTo>
                <a:lnTo>
                  <a:pt x="174" y="90"/>
                </a:lnTo>
                <a:lnTo>
                  <a:pt x="174" y="90"/>
                </a:lnTo>
                <a:lnTo>
                  <a:pt x="168" y="90"/>
                </a:lnTo>
                <a:lnTo>
                  <a:pt x="168" y="84"/>
                </a:lnTo>
                <a:lnTo>
                  <a:pt x="168" y="84"/>
                </a:lnTo>
                <a:lnTo>
                  <a:pt x="168" y="84"/>
                </a:lnTo>
                <a:lnTo>
                  <a:pt x="168" y="84"/>
                </a:lnTo>
                <a:lnTo>
                  <a:pt x="168" y="84"/>
                </a:lnTo>
                <a:lnTo>
                  <a:pt x="168" y="84"/>
                </a:lnTo>
                <a:lnTo>
                  <a:pt x="168" y="84"/>
                </a:lnTo>
                <a:lnTo>
                  <a:pt x="168" y="78"/>
                </a:lnTo>
                <a:lnTo>
                  <a:pt x="162" y="78"/>
                </a:lnTo>
                <a:lnTo>
                  <a:pt x="162" y="78"/>
                </a:lnTo>
                <a:lnTo>
                  <a:pt x="162" y="78"/>
                </a:lnTo>
                <a:lnTo>
                  <a:pt x="156" y="78"/>
                </a:lnTo>
                <a:lnTo>
                  <a:pt x="156" y="78"/>
                </a:lnTo>
                <a:lnTo>
                  <a:pt x="150" y="78"/>
                </a:lnTo>
                <a:lnTo>
                  <a:pt x="150" y="84"/>
                </a:lnTo>
                <a:lnTo>
                  <a:pt x="144" y="78"/>
                </a:lnTo>
                <a:lnTo>
                  <a:pt x="144" y="84"/>
                </a:lnTo>
                <a:lnTo>
                  <a:pt x="144" y="84"/>
                </a:lnTo>
                <a:lnTo>
                  <a:pt x="144" y="78"/>
                </a:lnTo>
                <a:lnTo>
                  <a:pt x="144" y="78"/>
                </a:lnTo>
                <a:lnTo>
                  <a:pt x="144" y="78"/>
                </a:lnTo>
                <a:lnTo>
                  <a:pt x="138" y="78"/>
                </a:lnTo>
                <a:lnTo>
                  <a:pt x="138" y="78"/>
                </a:lnTo>
                <a:lnTo>
                  <a:pt x="138" y="78"/>
                </a:lnTo>
                <a:lnTo>
                  <a:pt x="138" y="78"/>
                </a:lnTo>
                <a:lnTo>
                  <a:pt x="138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84"/>
                </a:lnTo>
                <a:lnTo>
                  <a:pt x="132" y="84"/>
                </a:lnTo>
                <a:lnTo>
                  <a:pt x="132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84"/>
                </a:lnTo>
                <a:lnTo>
                  <a:pt x="126" y="78"/>
                </a:lnTo>
                <a:lnTo>
                  <a:pt x="126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14" y="84"/>
                </a:lnTo>
                <a:lnTo>
                  <a:pt x="114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6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84" y="90"/>
                </a:lnTo>
                <a:lnTo>
                  <a:pt x="90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8" y="96"/>
                </a:lnTo>
                <a:lnTo>
                  <a:pt x="72" y="96"/>
                </a:lnTo>
                <a:lnTo>
                  <a:pt x="72" y="96"/>
                </a:lnTo>
                <a:lnTo>
                  <a:pt x="72" y="90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48" y="96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108"/>
                </a:lnTo>
                <a:lnTo>
                  <a:pt x="36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2"/>
                </a:lnTo>
                <a:lnTo>
                  <a:pt x="30" y="102"/>
                </a:lnTo>
                <a:lnTo>
                  <a:pt x="24" y="96"/>
                </a:lnTo>
                <a:lnTo>
                  <a:pt x="24" y="96"/>
                </a:lnTo>
                <a:lnTo>
                  <a:pt x="30" y="96"/>
                </a:lnTo>
                <a:lnTo>
                  <a:pt x="30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102"/>
                </a:lnTo>
                <a:lnTo>
                  <a:pt x="18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53" name="Freeform 486"/>
          <p:cNvSpPr>
            <a:spLocks/>
          </p:cNvSpPr>
          <p:nvPr/>
        </p:nvSpPr>
        <p:spPr bwMode="auto">
          <a:xfrm>
            <a:off x="6241569" y="5220676"/>
            <a:ext cx="179873" cy="160602"/>
          </a:xfrm>
          <a:custGeom>
            <a:avLst/>
            <a:gdLst>
              <a:gd name="T0" fmla="*/ 18 w 168"/>
              <a:gd name="T1" fmla="*/ 72 h 150"/>
              <a:gd name="T2" fmla="*/ 24 w 168"/>
              <a:gd name="T3" fmla="*/ 66 h 150"/>
              <a:gd name="T4" fmla="*/ 36 w 168"/>
              <a:gd name="T5" fmla="*/ 54 h 150"/>
              <a:gd name="T6" fmla="*/ 30 w 168"/>
              <a:gd name="T7" fmla="*/ 48 h 150"/>
              <a:gd name="T8" fmla="*/ 24 w 168"/>
              <a:gd name="T9" fmla="*/ 30 h 150"/>
              <a:gd name="T10" fmla="*/ 18 w 168"/>
              <a:gd name="T11" fmla="*/ 24 h 150"/>
              <a:gd name="T12" fmla="*/ 30 w 168"/>
              <a:gd name="T13" fmla="*/ 6 h 150"/>
              <a:gd name="T14" fmla="*/ 42 w 168"/>
              <a:gd name="T15" fmla="*/ 0 h 150"/>
              <a:gd name="T16" fmla="*/ 54 w 168"/>
              <a:gd name="T17" fmla="*/ 6 h 150"/>
              <a:gd name="T18" fmla="*/ 60 w 168"/>
              <a:gd name="T19" fmla="*/ 24 h 150"/>
              <a:gd name="T20" fmla="*/ 60 w 168"/>
              <a:gd name="T21" fmla="*/ 30 h 150"/>
              <a:gd name="T22" fmla="*/ 60 w 168"/>
              <a:gd name="T23" fmla="*/ 42 h 150"/>
              <a:gd name="T24" fmla="*/ 66 w 168"/>
              <a:gd name="T25" fmla="*/ 48 h 150"/>
              <a:gd name="T26" fmla="*/ 78 w 168"/>
              <a:gd name="T27" fmla="*/ 42 h 150"/>
              <a:gd name="T28" fmla="*/ 96 w 168"/>
              <a:gd name="T29" fmla="*/ 36 h 150"/>
              <a:gd name="T30" fmla="*/ 108 w 168"/>
              <a:gd name="T31" fmla="*/ 36 h 150"/>
              <a:gd name="T32" fmla="*/ 108 w 168"/>
              <a:gd name="T33" fmla="*/ 36 h 150"/>
              <a:gd name="T34" fmla="*/ 114 w 168"/>
              <a:gd name="T35" fmla="*/ 42 h 150"/>
              <a:gd name="T36" fmla="*/ 114 w 168"/>
              <a:gd name="T37" fmla="*/ 48 h 150"/>
              <a:gd name="T38" fmla="*/ 120 w 168"/>
              <a:gd name="T39" fmla="*/ 48 h 150"/>
              <a:gd name="T40" fmla="*/ 132 w 168"/>
              <a:gd name="T41" fmla="*/ 42 h 150"/>
              <a:gd name="T42" fmla="*/ 138 w 168"/>
              <a:gd name="T43" fmla="*/ 30 h 150"/>
              <a:gd name="T44" fmla="*/ 138 w 168"/>
              <a:gd name="T45" fmla="*/ 18 h 150"/>
              <a:gd name="T46" fmla="*/ 150 w 168"/>
              <a:gd name="T47" fmla="*/ 18 h 150"/>
              <a:gd name="T48" fmla="*/ 162 w 168"/>
              <a:gd name="T49" fmla="*/ 24 h 150"/>
              <a:gd name="T50" fmla="*/ 150 w 168"/>
              <a:gd name="T51" fmla="*/ 30 h 150"/>
              <a:gd name="T52" fmla="*/ 156 w 168"/>
              <a:gd name="T53" fmla="*/ 42 h 150"/>
              <a:gd name="T54" fmla="*/ 156 w 168"/>
              <a:gd name="T55" fmla="*/ 48 h 150"/>
              <a:gd name="T56" fmla="*/ 156 w 168"/>
              <a:gd name="T57" fmla="*/ 66 h 150"/>
              <a:gd name="T58" fmla="*/ 156 w 168"/>
              <a:gd name="T59" fmla="*/ 78 h 150"/>
              <a:gd name="T60" fmla="*/ 162 w 168"/>
              <a:gd name="T61" fmla="*/ 90 h 150"/>
              <a:gd name="T62" fmla="*/ 156 w 168"/>
              <a:gd name="T63" fmla="*/ 96 h 150"/>
              <a:gd name="T64" fmla="*/ 156 w 168"/>
              <a:gd name="T65" fmla="*/ 108 h 150"/>
              <a:gd name="T66" fmla="*/ 156 w 168"/>
              <a:gd name="T67" fmla="*/ 120 h 150"/>
              <a:gd name="T68" fmla="*/ 144 w 168"/>
              <a:gd name="T69" fmla="*/ 114 h 150"/>
              <a:gd name="T70" fmla="*/ 138 w 168"/>
              <a:gd name="T71" fmla="*/ 102 h 150"/>
              <a:gd name="T72" fmla="*/ 126 w 168"/>
              <a:gd name="T73" fmla="*/ 108 h 150"/>
              <a:gd name="T74" fmla="*/ 114 w 168"/>
              <a:gd name="T75" fmla="*/ 102 h 150"/>
              <a:gd name="T76" fmla="*/ 108 w 168"/>
              <a:gd name="T77" fmla="*/ 108 h 150"/>
              <a:gd name="T78" fmla="*/ 102 w 168"/>
              <a:gd name="T79" fmla="*/ 102 h 150"/>
              <a:gd name="T80" fmla="*/ 96 w 168"/>
              <a:gd name="T81" fmla="*/ 90 h 150"/>
              <a:gd name="T82" fmla="*/ 90 w 168"/>
              <a:gd name="T83" fmla="*/ 96 h 150"/>
              <a:gd name="T84" fmla="*/ 84 w 168"/>
              <a:gd name="T85" fmla="*/ 108 h 150"/>
              <a:gd name="T86" fmla="*/ 72 w 168"/>
              <a:gd name="T87" fmla="*/ 102 h 150"/>
              <a:gd name="T88" fmla="*/ 66 w 168"/>
              <a:gd name="T89" fmla="*/ 108 h 150"/>
              <a:gd name="T90" fmla="*/ 66 w 168"/>
              <a:gd name="T91" fmla="*/ 108 h 150"/>
              <a:gd name="T92" fmla="*/ 66 w 168"/>
              <a:gd name="T93" fmla="*/ 114 h 150"/>
              <a:gd name="T94" fmla="*/ 66 w 168"/>
              <a:gd name="T95" fmla="*/ 120 h 150"/>
              <a:gd name="T96" fmla="*/ 60 w 168"/>
              <a:gd name="T97" fmla="*/ 126 h 150"/>
              <a:gd name="T98" fmla="*/ 54 w 168"/>
              <a:gd name="T99" fmla="*/ 138 h 150"/>
              <a:gd name="T100" fmla="*/ 54 w 168"/>
              <a:gd name="T101" fmla="*/ 150 h 150"/>
              <a:gd name="T102" fmla="*/ 42 w 168"/>
              <a:gd name="T103" fmla="*/ 144 h 150"/>
              <a:gd name="T104" fmla="*/ 30 w 168"/>
              <a:gd name="T105" fmla="*/ 138 h 150"/>
              <a:gd name="T106" fmla="*/ 24 w 168"/>
              <a:gd name="T107" fmla="*/ 132 h 150"/>
              <a:gd name="T108" fmla="*/ 24 w 168"/>
              <a:gd name="T109" fmla="*/ 114 h 150"/>
              <a:gd name="T110" fmla="*/ 24 w 168"/>
              <a:gd name="T111" fmla="*/ 108 h 150"/>
              <a:gd name="T112" fmla="*/ 24 w 168"/>
              <a:gd name="T113" fmla="*/ 102 h 150"/>
              <a:gd name="T114" fmla="*/ 6 w 168"/>
              <a:gd name="T115" fmla="*/ 102 h 150"/>
              <a:gd name="T116" fmla="*/ 6 w 168"/>
              <a:gd name="T117" fmla="*/ 84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68" h="150">
                <a:moveTo>
                  <a:pt x="12" y="78"/>
                </a:moveTo>
                <a:lnTo>
                  <a:pt x="12" y="78"/>
                </a:lnTo>
                <a:lnTo>
                  <a:pt x="12" y="78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0"/>
                </a:lnTo>
                <a:lnTo>
                  <a:pt x="30" y="60"/>
                </a:lnTo>
                <a:lnTo>
                  <a:pt x="24" y="60"/>
                </a:lnTo>
                <a:lnTo>
                  <a:pt x="24" y="60"/>
                </a:lnTo>
                <a:lnTo>
                  <a:pt x="30" y="60"/>
                </a:lnTo>
                <a:lnTo>
                  <a:pt x="30" y="60"/>
                </a:lnTo>
                <a:lnTo>
                  <a:pt x="30" y="54"/>
                </a:lnTo>
                <a:lnTo>
                  <a:pt x="30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6" y="42"/>
                </a:lnTo>
                <a:lnTo>
                  <a:pt x="36" y="42"/>
                </a:lnTo>
                <a:lnTo>
                  <a:pt x="30" y="42"/>
                </a:lnTo>
                <a:lnTo>
                  <a:pt x="30" y="36"/>
                </a:lnTo>
                <a:lnTo>
                  <a:pt x="30" y="36"/>
                </a:lnTo>
                <a:lnTo>
                  <a:pt x="24" y="30"/>
                </a:lnTo>
                <a:lnTo>
                  <a:pt x="30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24" y="24"/>
                </a:lnTo>
                <a:lnTo>
                  <a:pt x="18" y="24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6"/>
                </a:lnTo>
                <a:lnTo>
                  <a:pt x="30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42" y="6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54" y="0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60" y="18"/>
                </a:lnTo>
                <a:lnTo>
                  <a:pt x="60" y="18"/>
                </a:lnTo>
                <a:lnTo>
                  <a:pt x="54" y="18"/>
                </a:lnTo>
                <a:lnTo>
                  <a:pt x="60" y="18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8" y="48"/>
                </a:lnTo>
                <a:lnTo>
                  <a:pt x="78" y="48"/>
                </a:lnTo>
                <a:lnTo>
                  <a:pt x="84" y="48"/>
                </a:lnTo>
                <a:lnTo>
                  <a:pt x="78" y="48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90" y="36"/>
                </a:lnTo>
                <a:lnTo>
                  <a:pt x="90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102" y="36"/>
                </a:lnTo>
                <a:lnTo>
                  <a:pt x="102" y="30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20" y="42"/>
                </a:lnTo>
                <a:lnTo>
                  <a:pt x="114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14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2"/>
                </a:lnTo>
                <a:lnTo>
                  <a:pt x="120" y="42"/>
                </a:lnTo>
                <a:lnTo>
                  <a:pt x="126" y="42"/>
                </a:lnTo>
                <a:lnTo>
                  <a:pt x="126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8" y="42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24"/>
                </a:lnTo>
                <a:lnTo>
                  <a:pt x="144" y="18"/>
                </a:lnTo>
                <a:lnTo>
                  <a:pt x="144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24"/>
                </a:lnTo>
                <a:lnTo>
                  <a:pt x="156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30"/>
                </a:lnTo>
                <a:lnTo>
                  <a:pt x="156" y="30"/>
                </a:lnTo>
                <a:lnTo>
                  <a:pt x="156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36"/>
                </a:lnTo>
                <a:lnTo>
                  <a:pt x="150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54"/>
                </a:lnTo>
                <a:lnTo>
                  <a:pt x="156" y="54"/>
                </a:lnTo>
                <a:lnTo>
                  <a:pt x="156" y="48"/>
                </a:lnTo>
                <a:lnTo>
                  <a:pt x="162" y="48"/>
                </a:lnTo>
                <a:lnTo>
                  <a:pt x="162" y="54"/>
                </a:lnTo>
                <a:lnTo>
                  <a:pt x="168" y="54"/>
                </a:lnTo>
                <a:lnTo>
                  <a:pt x="162" y="54"/>
                </a:lnTo>
                <a:lnTo>
                  <a:pt x="162" y="54"/>
                </a:lnTo>
                <a:lnTo>
                  <a:pt x="162" y="54"/>
                </a:lnTo>
                <a:lnTo>
                  <a:pt x="162" y="54"/>
                </a:lnTo>
                <a:lnTo>
                  <a:pt x="156" y="60"/>
                </a:lnTo>
                <a:lnTo>
                  <a:pt x="162" y="66"/>
                </a:lnTo>
                <a:lnTo>
                  <a:pt x="156" y="66"/>
                </a:lnTo>
                <a:lnTo>
                  <a:pt x="162" y="66"/>
                </a:lnTo>
                <a:lnTo>
                  <a:pt x="156" y="66"/>
                </a:lnTo>
                <a:lnTo>
                  <a:pt x="156" y="66"/>
                </a:lnTo>
                <a:lnTo>
                  <a:pt x="156" y="72"/>
                </a:lnTo>
                <a:lnTo>
                  <a:pt x="156" y="72"/>
                </a:lnTo>
                <a:lnTo>
                  <a:pt x="156" y="72"/>
                </a:lnTo>
                <a:lnTo>
                  <a:pt x="156" y="72"/>
                </a:lnTo>
                <a:lnTo>
                  <a:pt x="156" y="72"/>
                </a:lnTo>
                <a:lnTo>
                  <a:pt x="156" y="72"/>
                </a:lnTo>
                <a:lnTo>
                  <a:pt x="156" y="78"/>
                </a:lnTo>
                <a:lnTo>
                  <a:pt x="156" y="78"/>
                </a:lnTo>
                <a:lnTo>
                  <a:pt x="156" y="78"/>
                </a:lnTo>
                <a:lnTo>
                  <a:pt x="156" y="78"/>
                </a:lnTo>
                <a:lnTo>
                  <a:pt x="162" y="84"/>
                </a:lnTo>
                <a:lnTo>
                  <a:pt x="156" y="84"/>
                </a:lnTo>
                <a:lnTo>
                  <a:pt x="156" y="84"/>
                </a:lnTo>
                <a:lnTo>
                  <a:pt x="156" y="84"/>
                </a:lnTo>
                <a:lnTo>
                  <a:pt x="156" y="84"/>
                </a:lnTo>
                <a:lnTo>
                  <a:pt x="156" y="90"/>
                </a:lnTo>
                <a:lnTo>
                  <a:pt x="162" y="90"/>
                </a:lnTo>
                <a:lnTo>
                  <a:pt x="162" y="90"/>
                </a:lnTo>
                <a:lnTo>
                  <a:pt x="162" y="90"/>
                </a:lnTo>
                <a:lnTo>
                  <a:pt x="156" y="90"/>
                </a:lnTo>
                <a:lnTo>
                  <a:pt x="156" y="90"/>
                </a:lnTo>
                <a:lnTo>
                  <a:pt x="156" y="96"/>
                </a:lnTo>
                <a:lnTo>
                  <a:pt x="156" y="96"/>
                </a:lnTo>
                <a:lnTo>
                  <a:pt x="156" y="96"/>
                </a:lnTo>
                <a:lnTo>
                  <a:pt x="156" y="96"/>
                </a:lnTo>
                <a:lnTo>
                  <a:pt x="156" y="96"/>
                </a:lnTo>
                <a:lnTo>
                  <a:pt x="156" y="96"/>
                </a:lnTo>
                <a:lnTo>
                  <a:pt x="156" y="102"/>
                </a:lnTo>
                <a:lnTo>
                  <a:pt x="156" y="102"/>
                </a:lnTo>
                <a:lnTo>
                  <a:pt x="156" y="102"/>
                </a:lnTo>
                <a:lnTo>
                  <a:pt x="156" y="102"/>
                </a:lnTo>
                <a:lnTo>
                  <a:pt x="156" y="102"/>
                </a:lnTo>
                <a:lnTo>
                  <a:pt x="156" y="102"/>
                </a:lnTo>
                <a:lnTo>
                  <a:pt x="156" y="102"/>
                </a:lnTo>
                <a:lnTo>
                  <a:pt x="156" y="108"/>
                </a:lnTo>
                <a:lnTo>
                  <a:pt x="156" y="108"/>
                </a:lnTo>
                <a:lnTo>
                  <a:pt x="156" y="108"/>
                </a:lnTo>
                <a:lnTo>
                  <a:pt x="156" y="108"/>
                </a:lnTo>
                <a:lnTo>
                  <a:pt x="156" y="108"/>
                </a:lnTo>
                <a:lnTo>
                  <a:pt x="156" y="108"/>
                </a:lnTo>
                <a:lnTo>
                  <a:pt x="156" y="114"/>
                </a:lnTo>
                <a:lnTo>
                  <a:pt x="156" y="114"/>
                </a:lnTo>
                <a:lnTo>
                  <a:pt x="156" y="114"/>
                </a:lnTo>
                <a:lnTo>
                  <a:pt x="156" y="120"/>
                </a:lnTo>
                <a:lnTo>
                  <a:pt x="156" y="120"/>
                </a:lnTo>
                <a:lnTo>
                  <a:pt x="156" y="120"/>
                </a:lnTo>
                <a:lnTo>
                  <a:pt x="156" y="120"/>
                </a:lnTo>
                <a:lnTo>
                  <a:pt x="156" y="120"/>
                </a:lnTo>
                <a:lnTo>
                  <a:pt x="150" y="120"/>
                </a:lnTo>
                <a:lnTo>
                  <a:pt x="150" y="120"/>
                </a:lnTo>
                <a:lnTo>
                  <a:pt x="150" y="120"/>
                </a:lnTo>
                <a:lnTo>
                  <a:pt x="150" y="120"/>
                </a:lnTo>
                <a:lnTo>
                  <a:pt x="150" y="114"/>
                </a:lnTo>
                <a:lnTo>
                  <a:pt x="144" y="114"/>
                </a:lnTo>
                <a:lnTo>
                  <a:pt x="144" y="114"/>
                </a:lnTo>
                <a:lnTo>
                  <a:pt x="144" y="114"/>
                </a:lnTo>
                <a:lnTo>
                  <a:pt x="144" y="114"/>
                </a:lnTo>
                <a:lnTo>
                  <a:pt x="144" y="114"/>
                </a:lnTo>
                <a:lnTo>
                  <a:pt x="144" y="114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38" y="108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8"/>
                </a:lnTo>
                <a:lnTo>
                  <a:pt x="138" y="108"/>
                </a:lnTo>
                <a:lnTo>
                  <a:pt x="138" y="108"/>
                </a:lnTo>
                <a:lnTo>
                  <a:pt x="132" y="108"/>
                </a:lnTo>
                <a:lnTo>
                  <a:pt x="132" y="108"/>
                </a:lnTo>
                <a:lnTo>
                  <a:pt x="132" y="108"/>
                </a:lnTo>
                <a:lnTo>
                  <a:pt x="132" y="108"/>
                </a:lnTo>
                <a:lnTo>
                  <a:pt x="126" y="108"/>
                </a:lnTo>
                <a:lnTo>
                  <a:pt x="126" y="108"/>
                </a:lnTo>
                <a:lnTo>
                  <a:pt x="126" y="108"/>
                </a:lnTo>
                <a:lnTo>
                  <a:pt x="126" y="108"/>
                </a:lnTo>
                <a:lnTo>
                  <a:pt x="126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14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102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96" y="96"/>
                </a:lnTo>
                <a:lnTo>
                  <a:pt x="96" y="96"/>
                </a:lnTo>
                <a:lnTo>
                  <a:pt x="96" y="96"/>
                </a:lnTo>
                <a:lnTo>
                  <a:pt x="96" y="96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90" y="102"/>
                </a:lnTo>
                <a:lnTo>
                  <a:pt x="90" y="102"/>
                </a:lnTo>
                <a:lnTo>
                  <a:pt x="90" y="102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78" y="108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66" y="102"/>
                </a:lnTo>
                <a:lnTo>
                  <a:pt x="72" y="108"/>
                </a:lnTo>
                <a:lnTo>
                  <a:pt x="66" y="102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2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20"/>
                </a:lnTo>
                <a:lnTo>
                  <a:pt x="60" y="120"/>
                </a:lnTo>
                <a:lnTo>
                  <a:pt x="60" y="120"/>
                </a:lnTo>
                <a:lnTo>
                  <a:pt x="66" y="120"/>
                </a:lnTo>
                <a:lnTo>
                  <a:pt x="60" y="120"/>
                </a:lnTo>
                <a:lnTo>
                  <a:pt x="60" y="120"/>
                </a:lnTo>
                <a:lnTo>
                  <a:pt x="66" y="120"/>
                </a:lnTo>
                <a:lnTo>
                  <a:pt x="60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0"/>
                </a:lnTo>
                <a:lnTo>
                  <a:pt x="66" y="126"/>
                </a:lnTo>
                <a:lnTo>
                  <a:pt x="66" y="126"/>
                </a:lnTo>
                <a:lnTo>
                  <a:pt x="60" y="126"/>
                </a:lnTo>
                <a:lnTo>
                  <a:pt x="66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32"/>
                </a:lnTo>
                <a:lnTo>
                  <a:pt x="60" y="132"/>
                </a:lnTo>
                <a:lnTo>
                  <a:pt x="60" y="132"/>
                </a:lnTo>
                <a:lnTo>
                  <a:pt x="60" y="138"/>
                </a:lnTo>
                <a:lnTo>
                  <a:pt x="60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48" y="150"/>
                </a:lnTo>
                <a:lnTo>
                  <a:pt x="48" y="150"/>
                </a:lnTo>
                <a:lnTo>
                  <a:pt x="48" y="150"/>
                </a:lnTo>
                <a:lnTo>
                  <a:pt x="48" y="150"/>
                </a:lnTo>
                <a:lnTo>
                  <a:pt x="48" y="150"/>
                </a:lnTo>
                <a:lnTo>
                  <a:pt x="42" y="150"/>
                </a:lnTo>
                <a:lnTo>
                  <a:pt x="42" y="150"/>
                </a:lnTo>
                <a:lnTo>
                  <a:pt x="42" y="150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36" y="144"/>
                </a:lnTo>
                <a:lnTo>
                  <a:pt x="36" y="144"/>
                </a:lnTo>
                <a:lnTo>
                  <a:pt x="36" y="144"/>
                </a:lnTo>
                <a:lnTo>
                  <a:pt x="36" y="138"/>
                </a:lnTo>
                <a:lnTo>
                  <a:pt x="36" y="138"/>
                </a:lnTo>
                <a:lnTo>
                  <a:pt x="30" y="138"/>
                </a:lnTo>
                <a:lnTo>
                  <a:pt x="30" y="138"/>
                </a:lnTo>
                <a:lnTo>
                  <a:pt x="30" y="138"/>
                </a:lnTo>
                <a:lnTo>
                  <a:pt x="30" y="138"/>
                </a:lnTo>
                <a:lnTo>
                  <a:pt x="30" y="138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24" y="132"/>
                </a:lnTo>
                <a:lnTo>
                  <a:pt x="30" y="132"/>
                </a:lnTo>
                <a:lnTo>
                  <a:pt x="30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18" y="120"/>
                </a:lnTo>
                <a:lnTo>
                  <a:pt x="18" y="120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96"/>
                </a:lnTo>
                <a:lnTo>
                  <a:pt x="6" y="96"/>
                </a:lnTo>
                <a:lnTo>
                  <a:pt x="0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84"/>
                </a:lnTo>
                <a:lnTo>
                  <a:pt x="6" y="84"/>
                </a:lnTo>
                <a:lnTo>
                  <a:pt x="6" y="78"/>
                </a:lnTo>
                <a:lnTo>
                  <a:pt x="12" y="7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54" name="Freeform 487"/>
          <p:cNvSpPr>
            <a:spLocks/>
          </p:cNvSpPr>
          <p:nvPr/>
        </p:nvSpPr>
        <p:spPr bwMode="auto">
          <a:xfrm>
            <a:off x="5965335" y="4982985"/>
            <a:ext cx="134905" cy="83513"/>
          </a:xfrm>
          <a:custGeom>
            <a:avLst/>
            <a:gdLst>
              <a:gd name="T0" fmla="*/ 6 w 126"/>
              <a:gd name="T1" fmla="*/ 12 h 78"/>
              <a:gd name="T2" fmla="*/ 18 w 126"/>
              <a:gd name="T3" fmla="*/ 6 h 78"/>
              <a:gd name="T4" fmla="*/ 30 w 126"/>
              <a:gd name="T5" fmla="*/ 6 h 78"/>
              <a:gd name="T6" fmla="*/ 30 w 126"/>
              <a:gd name="T7" fmla="*/ 0 h 78"/>
              <a:gd name="T8" fmla="*/ 42 w 126"/>
              <a:gd name="T9" fmla="*/ 6 h 78"/>
              <a:gd name="T10" fmla="*/ 42 w 126"/>
              <a:gd name="T11" fmla="*/ 12 h 78"/>
              <a:gd name="T12" fmla="*/ 48 w 126"/>
              <a:gd name="T13" fmla="*/ 12 h 78"/>
              <a:gd name="T14" fmla="*/ 48 w 126"/>
              <a:gd name="T15" fmla="*/ 12 h 78"/>
              <a:gd name="T16" fmla="*/ 54 w 126"/>
              <a:gd name="T17" fmla="*/ 12 h 78"/>
              <a:gd name="T18" fmla="*/ 66 w 126"/>
              <a:gd name="T19" fmla="*/ 6 h 78"/>
              <a:gd name="T20" fmla="*/ 66 w 126"/>
              <a:gd name="T21" fmla="*/ 6 h 78"/>
              <a:gd name="T22" fmla="*/ 72 w 126"/>
              <a:gd name="T23" fmla="*/ 12 h 78"/>
              <a:gd name="T24" fmla="*/ 72 w 126"/>
              <a:gd name="T25" fmla="*/ 12 h 78"/>
              <a:gd name="T26" fmla="*/ 78 w 126"/>
              <a:gd name="T27" fmla="*/ 18 h 78"/>
              <a:gd name="T28" fmla="*/ 84 w 126"/>
              <a:gd name="T29" fmla="*/ 30 h 78"/>
              <a:gd name="T30" fmla="*/ 84 w 126"/>
              <a:gd name="T31" fmla="*/ 30 h 78"/>
              <a:gd name="T32" fmla="*/ 84 w 126"/>
              <a:gd name="T33" fmla="*/ 30 h 78"/>
              <a:gd name="T34" fmla="*/ 90 w 126"/>
              <a:gd name="T35" fmla="*/ 30 h 78"/>
              <a:gd name="T36" fmla="*/ 90 w 126"/>
              <a:gd name="T37" fmla="*/ 30 h 78"/>
              <a:gd name="T38" fmla="*/ 90 w 126"/>
              <a:gd name="T39" fmla="*/ 36 h 78"/>
              <a:gd name="T40" fmla="*/ 96 w 126"/>
              <a:gd name="T41" fmla="*/ 36 h 78"/>
              <a:gd name="T42" fmla="*/ 102 w 126"/>
              <a:gd name="T43" fmla="*/ 36 h 78"/>
              <a:gd name="T44" fmla="*/ 108 w 126"/>
              <a:gd name="T45" fmla="*/ 36 h 78"/>
              <a:gd name="T46" fmla="*/ 114 w 126"/>
              <a:gd name="T47" fmla="*/ 36 h 78"/>
              <a:gd name="T48" fmla="*/ 120 w 126"/>
              <a:gd name="T49" fmla="*/ 30 h 78"/>
              <a:gd name="T50" fmla="*/ 120 w 126"/>
              <a:gd name="T51" fmla="*/ 36 h 78"/>
              <a:gd name="T52" fmla="*/ 120 w 126"/>
              <a:gd name="T53" fmla="*/ 48 h 78"/>
              <a:gd name="T54" fmla="*/ 114 w 126"/>
              <a:gd name="T55" fmla="*/ 54 h 78"/>
              <a:gd name="T56" fmla="*/ 108 w 126"/>
              <a:gd name="T57" fmla="*/ 54 h 78"/>
              <a:gd name="T58" fmla="*/ 102 w 126"/>
              <a:gd name="T59" fmla="*/ 60 h 78"/>
              <a:gd name="T60" fmla="*/ 102 w 126"/>
              <a:gd name="T61" fmla="*/ 60 h 78"/>
              <a:gd name="T62" fmla="*/ 102 w 126"/>
              <a:gd name="T63" fmla="*/ 66 h 78"/>
              <a:gd name="T64" fmla="*/ 108 w 126"/>
              <a:gd name="T65" fmla="*/ 66 h 78"/>
              <a:gd name="T66" fmla="*/ 102 w 126"/>
              <a:gd name="T67" fmla="*/ 72 h 78"/>
              <a:gd name="T68" fmla="*/ 96 w 126"/>
              <a:gd name="T69" fmla="*/ 78 h 78"/>
              <a:gd name="T70" fmla="*/ 90 w 126"/>
              <a:gd name="T71" fmla="*/ 72 h 78"/>
              <a:gd name="T72" fmla="*/ 84 w 126"/>
              <a:gd name="T73" fmla="*/ 66 h 78"/>
              <a:gd name="T74" fmla="*/ 78 w 126"/>
              <a:gd name="T75" fmla="*/ 72 h 78"/>
              <a:gd name="T76" fmla="*/ 78 w 126"/>
              <a:gd name="T77" fmla="*/ 66 h 78"/>
              <a:gd name="T78" fmla="*/ 78 w 126"/>
              <a:gd name="T79" fmla="*/ 60 h 78"/>
              <a:gd name="T80" fmla="*/ 78 w 126"/>
              <a:gd name="T81" fmla="*/ 48 h 78"/>
              <a:gd name="T82" fmla="*/ 78 w 126"/>
              <a:gd name="T83" fmla="*/ 42 h 78"/>
              <a:gd name="T84" fmla="*/ 72 w 126"/>
              <a:gd name="T85" fmla="*/ 48 h 78"/>
              <a:gd name="T86" fmla="*/ 66 w 126"/>
              <a:gd name="T87" fmla="*/ 48 h 78"/>
              <a:gd name="T88" fmla="*/ 66 w 126"/>
              <a:gd name="T89" fmla="*/ 48 h 78"/>
              <a:gd name="T90" fmla="*/ 60 w 126"/>
              <a:gd name="T91" fmla="*/ 48 h 78"/>
              <a:gd name="T92" fmla="*/ 60 w 126"/>
              <a:gd name="T93" fmla="*/ 42 h 78"/>
              <a:gd name="T94" fmla="*/ 54 w 126"/>
              <a:gd name="T95" fmla="*/ 48 h 78"/>
              <a:gd name="T96" fmla="*/ 54 w 126"/>
              <a:gd name="T97" fmla="*/ 48 h 78"/>
              <a:gd name="T98" fmla="*/ 48 w 126"/>
              <a:gd name="T99" fmla="*/ 42 h 78"/>
              <a:gd name="T100" fmla="*/ 48 w 126"/>
              <a:gd name="T101" fmla="*/ 42 h 78"/>
              <a:gd name="T102" fmla="*/ 42 w 126"/>
              <a:gd name="T103" fmla="*/ 42 h 78"/>
              <a:gd name="T104" fmla="*/ 36 w 126"/>
              <a:gd name="T105" fmla="*/ 42 h 78"/>
              <a:gd name="T106" fmla="*/ 36 w 126"/>
              <a:gd name="T107" fmla="*/ 36 h 78"/>
              <a:gd name="T108" fmla="*/ 30 w 126"/>
              <a:gd name="T109" fmla="*/ 36 h 78"/>
              <a:gd name="T110" fmla="*/ 30 w 126"/>
              <a:gd name="T111" fmla="*/ 36 h 78"/>
              <a:gd name="T112" fmla="*/ 24 w 126"/>
              <a:gd name="T113" fmla="*/ 30 h 78"/>
              <a:gd name="T114" fmla="*/ 18 w 126"/>
              <a:gd name="T115" fmla="*/ 24 h 78"/>
              <a:gd name="T116" fmla="*/ 18 w 126"/>
              <a:gd name="T117" fmla="*/ 24 h 78"/>
              <a:gd name="T118" fmla="*/ 12 w 126"/>
              <a:gd name="T119" fmla="*/ 24 h 78"/>
              <a:gd name="T120" fmla="*/ 6 w 126"/>
              <a:gd name="T121" fmla="*/ 18 h 78"/>
              <a:gd name="T122" fmla="*/ 6 w 126"/>
              <a:gd name="T123" fmla="*/ 18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26" h="78">
                <a:moveTo>
                  <a:pt x="0" y="18"/>
                </a:moveTo>
                <a:lnTo>
                  <a:pt x="0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8" y="6"/>
                </a:lnTo>
                <a:lnTo>
                  <a:pt x="18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0"/>
                </a:lnTo>
                <a:lnTo>
                  <a:pt x="30" y="0"/>
                </a:lnTo>
                <a:lnTo>
                  <a:pt x="36" y="0"/>
                </a:lnTo>
                <a:lnTo>
                  <a:pt x="42" y="0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60" y="12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8"/>
                </a:lnTo>
                <a:lnTo>
                  <a:pt x="72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84" y="18"/>
                </a:lnTo>
                <a:lnTo>
                  <a:pt x="84" y="24"/>
                </a:lnTo>
                <a:lnTo>
                  <a:pt x="78" y="24"/>
                </a:lnTo>
                <a:lnTo>
                  <a:pt x="78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6" y="36"/>
                </a:lnTo>
                <a:lnTo>
                  <a:pt x="96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6" y="36"/>
                </a:lnTo>
                <a:lnTo>
                  <a:pt x="126" y="42"/>
                </a:lnTo>
                <a:lnTo>
                  <a:pt x="120" y="42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8" y="60"/>
                </a:lnTo>
                <a:lnTo>
                  <a:pt x="102" y="60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2" y="72"/>
                </a:lnTo>
                <a:lnTo>
                  <a:pt x="102" y="66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0" y="78"/>
                </a:lnTo>
                <a:lnTo>
                  <a:pt x="90" y="78"/>
                </a:lnTo>
                <a:lnTo>
                  <a:pt x="90" y="72"/>
                </a:lnTo>
                <a:lnTo>
                  <a:pt x="90" y="72"/>
                </a:lnTo>
                <a:lnTo>
                  <a:pt x="84" y="72"/>
                </a:lnTo>
                <a:lnTo>
                  <a:pt x="84" y="72"/>
                </a:lnTo>
                <a:lnTo>
                  <a:pt x="90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66"/>
                </a:lnTo>
                <a:lnTo>
                  <a:pt x="72" y="72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54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2"/>
                </a:lnTo>
                <a:lnTo>
                  <a:pt x="78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2"/>
                </a:lnTo>
                <a:lnTo>
                  <a:pt x="66" y="42"/>
                </a:lnTo>
                <a:lnTo>
                  <a:pt x="66" y="48"/>
                </a:lnTo>
                <a:lnTo>
                  <a:pt x="66" y="48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8"/>
                </a:lnTo>
                <a:lnTo>
                  <a:pt x="66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54" y="48"/>
                </a:lnTo>
                <a:lnTo>
                  <a:pt x="54" y="48"/>
                </a:lnTo>
                <a:lnTo>
                  <a:pt x="60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48" y="48"/>
                </a:lnTo>
                <a:lnTo>
                  <a:pt x="48" y="48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2" y="42"/>
                </a:lnTo>
                <a:lnTo>
                  <a:pt x="48" y="42"/>
                </a:lnTo>
                <a:lnTo>
                  <a:pt x="48" y="42"/>
                </a:lnTo>
                <a:lnTo>
                  <a:pt x="42" y="42"/>
                </a:lnTo>
                <a:lnTo>
                  <a:pt x="42" y="42"/>
                </a:lnTo>
                <a:lnTo>
                  <a:pt x="42" y="48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42" y="36"/>
                </a:lnTo>
                <a:lnTo>
                  <a:pt x="42" y="36"/>
                </a:lnTo>
                <a:lnTo>
                  <a:pt x="36" y="36"/>
                </a:lnTo>
                <a:lnTo>
                  <a:pt x="36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0"/>
                </a:lnTo>
                <a:lnTo>
                  <a:pt x="36" y="30"/>
                </a:lnTo>
                <a:lnTo>
                  <a:pt x="30" y="30"/>
                </a:lnTo>
                <a:lnTo>
                  <a:pt x="30" y="30"/>
                </a:lnTo>
                <a:lnTo>
                  <a:pt x="30" y="36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24"/>
                </a:lnTo>
                <a:lnTo>
                  <a:pt x="18" y="24"/>
                </a:lnTo>
                <a:lnTo>
                  <a:pt x="24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2" y="24"/>
                </a:lnTo>
                <a:lnTo>
                  <a:pt x="12" y="24"/>
                </a:lnTo>
                <a:lnTo>
                  <a:pt x="18" y="24"/>
                </a:lnTo>
                <a:lnTo>
                  <a:pt x="18" y="24"/>
                </a:lnTo>
                <a:lnTo>
                  <a:pt x="12" y="24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6" y="18"/>
                </a:lnTo>
                <a:lnTo>
                  <a:pt x="6" y="18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6" y="18"/>
                </a:lnTo>
                <a:lnTo>
                  <a:pt x="0" y="1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55" name="Freeform 488"/>
          <p:cNvSpPr>
            <a:spLocks/>
          </p:cNvSpPr>
          <p:nvPr/>
        </p:nvSpPr>
        <p:spPr bwMode="auto">
          <a:xfrm>
            <a:off x="6537076" y="5182132"/>
            <a:ext cx="128481" cy="77089"/>
          </a:xfrm>
          <a:custGeom>
            <a:avLst/>
            <a:gdLst>
              <a:gd name="T0" fmla="*/ 0 w 120"/>
              <a:gd name="T1" fmla="*/ 42 h 72"/>
              <a:gd name="T2" fmla="*/ 6 w 120"/>
              <a:gd name="T3" fmla="*/ 36 h 72"/>
              <a:gd name="T4" fmla="*/ 6 w 120"/>
              <a:gd name="T5" fmla="*/ 36 h 72"/>
              <a:gd name="T6" fmla="*/ 6 w 120"/>
              <a:gd name="T7" fmla="*/ 30 h 72"/>
              <a:gd name="T8" fmla="*/ 12 w 120"/>
              <a:gd name="T9" fmla="*/ 30 h 72"/>
              <a:gd name="T10" fmla="*/ 12 w 120"/>
              <a:gd name="T11" fmla="*/ 24 h 72"/>
              <a:gd name="T12" fmla="*/ 6 w 120"/>
              <a:gd name="T13" fmla="*/ 18 h 72"/>
              <a:gd name="T14" fmla="*/ 6 w 120"/>
              <a:gd name="T15" fmla="*/ 12 h 72"/>
              <a:gd name="T16" fmla="*/ 12 w 120"/>
              <a:gd name="T17" fmla="*/ 6 h 72"/>
              <a:gd name="T18" fmla="*/ 18 w 120"/>
              <a:gd name="T19" fmla="*/ 6 h 72"/>
              <a:gd name="T20" fmla="*/ 24 w 120"/>
              <a:gd name="T21" fmla="*/ 6 h 72"/>
              <a:gd name="T22" fmla="*/ 30 w 120"/>
              <a:gd name="T23" fmla="*/ 6 h 72"/>
              <a:gd name="T24" fmla="*/ 36 w 120"/>
              <a:gd name="T25" fmla="*/ 6 h 72"/>
              <a:gd name="T26" fmla="*/ 42 w 120"/>
              <a:gd name="T27" fmla="*/ 6 h 72"/>
              <a:gd name="T28" fmla="*/ 42 w 120"/>
              <a:gd name="T29" fmla="*/ 6 h 72"/>
              <a:gd name="T30" fmla="*/ 48 w 120"/>
              <a:gd name="T31" fmla="*/ 0 h 72"/>
              <a:gd name="T32" fmla="*/ 54 w 120"/>
              <a:gd name="T33" fmla="*/ 0 h 72"/>
              <a:gd name="T34" fmla="*/ 54 w 120"/>
              <a:gd name="T35" fmla="*/ 0 h 72"/>
              <a:gd name="T36" fmla="*/ 66 w 120"/>
              <a:gd name="T37" fmla="*/ 6 h 72"/>
              <a:gd name="T38" fmla="*/ 66 w 120"/>
              <a:gd name="T39" fmla="*/ 6 h 72"/>
              <a:gd name="T40" fmla="*/ 72 w 120"/>
              <a:gd name="T41" fmla="*/ 12 h 72"/>
              <a:gd name="T42" fmla="*/ 78 w 120"/>
              <a:gd name="T43" fmla="*/ 18 h 72"/>
              <a:gd name="T44" fmla="*/ 72 w 120"/>
              <a:gd name="T45" fmla="*/ 24 h 72"/>
              <a:gd name="T46" fmla="*/ 78 w 120"/>
              <a:gd name="T47" fmla="*/ 30 h 72"/>
              <a:gd name="T48" fmla="*/ 90 w 120"/>
              <a:gd name="T49" fmla="*/ 36 h 72"/>
              <a:gd name="T50" fmla="*/ 108 w 120"/>
              <a:gd name="T51" fmla="*/ 36 h 72"/>
              <a:gd name="T52" fmla="*/ 114 w 120"/>
              <a:gd name="T53" fmla="*/ 30 h 72"/>
              <a:gd name="T54" fmla="*/ 114 w 120"/>
              <a:gd name="T55" fmla="*/ 36 h 72"/>
              <a:gd name="T56" fmla="*/ 120 w 120"/>
              <a:gd name="T57" fmla="*/ 42 h 72"/>
              <a:gd name="T58" fmla="*/ 120 w 120"/>
              <a:gd name="T59" fmla="*/ 48 h 72"/>
              <a:gd name="T60" fmla="*/ 120 w 120"/>
              <a:gd name="T61" fmla="*/ 54 h 72"/>
              <a:gd name="T62" fmla="*/ 120 w 120"/>
              <a:gd name="T63" fmla="*/ 54 h 72"/>
              <a:gd name="T64" fmla="*/ 114 w 120"/>
              <a:gd name="T65" fmla="*/ 60 h 72"/>
              <a:gd name="T66" fmla="*/ 108 w 120"/>
              <a:gd name="T67" fmla="*/ 54 h 72"/>
              <a:gd name="T68" fmla="*/ 96 w 120"/>
              <a:gd name="T69" fmla="*/ 54 h 72"/>
              <a:gd name="T70" fmla="*/ 90 w 120"/>
              <a:gd name="T71" fmla="*/ 60 h 72"/>
              <a:gd name="T72" fmla="*/ 90 w 120"/>
              <a:gd name="T73" fmla="*/ 60 h 72"/>
              <a:gd name="T74" fmla="*/ 78 w 120"/>
              <a:gd name="T75" fmla="*/ 54 h 72"/>
              <a:gd name="T76" fmla="*/ 72 w 120"/>
              <a:gd name="T77" fmla="*/ 60 h 72"/>
              <a:gd name="T78" fmla="*/ 72 w 120"/>
              <a:gd name="T79" fmla="*/ 66 h 72"/>
              <a:gd name="T80" fmla="*/ 66 w 120"/>
              <a:gd name="T81" fmla="*/ 66 h 72"/>
              <a:gd name="T82" fmla="*/ 60 w 120"/>
              <a:gd name="T83" fmla="*/ 66 h 72"/>
              <a:gd name="T84" fmla="*/ 48 w 120"/>
              <a:gd name="T85" fmla="*/ 72 h 72"/>
              <a:gd name="T86" fmla="*/ 42 w 120"/>
              <a:gd name="T87" fmla="*/ 66 h 72"/>
              <a:gd name="T88" fmla="*/ 42 w 120"/>
              <a:gd name="T89" fmla="*/ 54 h 72"/>
              <a:gd name="T90" fmla="*/ 42 w 120"/>
              <a:gd name="T91" fmla="*/ 54 h 72"/>
              <a:gd name="T92" fmla="*/ 48 w 120"/>
              <a:gd name="T93" fmla="*/ 60 h 72"/>
              <a:gd name="T94" fmla="*/ 48 w 120"/>
              <a:gd name="T95" fmla="*/ 60 h 72"/>
              <a:gd name="T96" fmla="*/ 54 w 120"/>
              <a:gd name="T97" fmla="*/ 60 h 72"/>
              <a:gd name="T98" fmla="*/ 60 w 120"/>
              <a:gd name="T99" fmla="*/ 54 h 72"/>
              <a:gd name="T100" fmla="*/ 60 w 120"/>
              <a:gd name="T101" fmla="*/ 48 h 72"/>
              <a:gd name="T102" fmla="*/ 60 w 120"/>
              <a:gd name="T103" fmla="*/ 42 h 72"/>
              <a:gd name="T104" fmla="*/ 54 w 120"/>
              <a:gd name="T105" fmla="*/ 36 h 72"/>
              <a:gd name="T106" fmla="*/ 36 w 120"/>
              <a:gd name="T107" fmla="*/ 36 h 72"/>
              <a:gd name="T108" fmla="*/ 24 w 120"/>
              <a:gd name="T109" fmla="*/ 42 h 72"/>
              <a:gd name="T110" fmla="*/ 18 w 120"/>
              <a:gd name="T111" fmla="*/ 48 h 72"/>
              <a:gd name="T112" fmla="*/ 6 w 120"/>
              <a:gd name="T113" fmla="*/ 48 h 72"/>
              <a:gd name="T114" fmla="*/ 0 w 120"/>
              <a:gd name="T115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20" h="72">
                <a:moveTo>
                  <a:pt x="0" y="42"/>
                </a:move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36"/>
                </a:lnTo>
                <a:lnTo>
                  <a:pt x="0" y="42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24"/>
                </a:lnTo>
                <a:lnTo>
                  <a:pt x="12" y="24"/>
                </a:lnTo>
                <a:lnTo>
                  <a:pt x="6" y="24"/>
                </a:lnTo>
                <a:lnTo>
                  <a:pt x="12" y="24"/>
                </a:lnTo>
                <a:lnTo>
                  <a:pt x="12" y="24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12" y="6"/>
                </a:lnTo>
                <a:lnTo>
                  <a:pt x="12" y="6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8" y="12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6" y="0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72" y="12"/>
                </a:lnTo>
                <a:lnTo>
                  <a:pt x="72" y="12"/>
                </a:lnTo>
                <a:lnTo>
                  <a:pt x="72" y="6"/>
                </a:lnTo>
                <a:lnTo>
                  <a:pt x="72" y="6"/>
                </a:lnTo>
                <a:lnTo>
                  <a:pt x="78" y="12"/>
                </a:lnTo>
                <a:lnTo>
                  <a:pt x="72" y="12"/>
                </a:lnTo>
                <a:lnTo>
                  <a:pt x="78" y="12"/>
                </a:lnTo>
                <a:lnTo>
                  <a:pt x="78" y="12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24"/>
                </a:lnTo>
                <a:lnTo>
                  <a:pt x="78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6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20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14" y="36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14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60"/>
                </a:lnTo>
                <a:lnTo>
                  <a:pt x="120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08" y="60"/>
                </a:lnTo>
                <a:lnTo>
                  <a:pt x="102" y="54"/>
                </a:lnTo>
                <a:lnTo>
                  <a:pt x="108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60"/>
                </a:lnTo>
                <a:lnTo>
                  <a:pt x="102" y="60"/>
                </a:lnTo>
                <a:lnTo>
                  <a:pt x="96" y="54"/>
                </a:lnTo>
                <a:lnTo>
                  <a:pt x="96" y="54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72"/>
                </a:lnTo>
                <a:lnTo>
                  <a:pt x="72" y="66"/>
                </a:lnTo>
                <a:lnTo>
                  <a:pt x="72" y="66"/>
                </a:lnTo>
                <a:lnTo>
                  <a:pt x="66" y="66"/>
                </a:lnTo>
                <a:lnTo>
                  <a:pt x="66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72"/>
                </a:lnTo>
                <a:lnTo>
                  <a:pt x="48" y="66"/>
                </a:lnTo>
                <a:lnTo>
                  <a:pt x="48" y="72"/>
                </a:lnTo>
                <a:lnTo>
                  <a:pt x="36" y="72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0"/>
                </a:lnTo>
                <a:lnTo>
                  <a:pt x="42" y="60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8" y="60"/>
                </a:lnTo>
                <a:lnTo>
                  <a:pt x="48" y="54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36"/>
                </a:lnTo>
                <a:lnTo>
                  <a:pt x="48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0" y="36"/>
                </a:lnTo>
                <a:lnTo>
                  <a:pt x="30" y="36"/>
                </a:lnTo>
                <a:lnTo>
                  <a:pt x="24" y="36"/>
                </a:lnTo>
                <a:lnTo>
                  <a:pt x="24" y="42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2" y="48"/>
                </a:lnTo>
                <a:lnTo>
                  <a:pt x="12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0" y="48"/>
                </a:lnTo>
                <a:lnTo>
                  <a:pt x="0" y="42"/>
                </a:lnTo>
                <a:lnTo>
                  <a:pt x="0" y="4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56" name="Freeform 489"/>
          <p:cNvSpPr>
            <a:spLocks/>
          </p:cNvSpPr>
          <p:nvPr/>
        </p:nvSpPr>
        <p:spPr bwMode="auto">
          <a:xfrm>
            <a:off x="6273690" y="5406975"/>
            <a:ext cx="192721" cy="173451"/>
          </a:xfrm>
          <a:custGeom>
            <a:avLst/>
            <a:gdLst>
              <a:gd name="T0" fmla="*/ 6 w 180"/>
              <a:gd name="T1" fmla="*/ 144 h 162"/>
              <a:gd name="T2" fmla="*/ 18 w 180"/>
              <a:gd name="T3" fmla="*/ 132 h 162"/>
              <a:gd name="T4" fmla="*/ 36 w 180"/>
              <a:gd name="T5" fmla="*/ 132 h 162"/>
              <a:gd name="T6" fmla="*/ 42 w 180"/>
              <a:gd name="T7" fmla="*/ 126 h 162"/>
              <a:gd name="T8" fmla="*/ 36 w 180"/>
              <a:gd name="T9" fmla="*/ 120 h 162"/>
              <a:gd name="T10" fmla="*/ 36 w 180"/>
              <a:gd name="T11" fmla="*/ 114 h 162"/>
              <a:gd name="T12" fmla="*/ 30 w 180"/>
              <a:gd name="T13" fmla="*/ 108 h 162"/>
              <a:gd name="T14" fmla="*/ 24 w 180"/>
              <a:gd name="T15" fmla="*/ 102 h 162"/>
              <a:gd name="T16" fmla="*/ 18 w 180"/>
              <a:gd name="T17" fmla="*/ 84 h 162"/>
              <a:gd name="T18" fmla="*/ 24 w 180"/>
              <a:gd name="T19" fmla="*/ 78 h 162"/>
              <a:gd name="T20" fmla="*/ 24 w 180"/>
              <a:gd name="T21" fmla="*/ 72 h 162"/>
              <a:gd name="T22" fmla="*/ 30 w 180"/>
              <a:gd name="T23" fmla="*/ 66 h 162"/>
              <a:gd name="T24" fmla="*/ 30 w 180"/>
              <a:gd name="T25" fmla="*/ 54 h 162"/>
              <a:gd name="T26" fmla="*/ 30 w 180"/>
              <a:gd name="T27" fmla="*/ 42 h 162"/>
              <a:gd name="T28" fmla="*/ 30 w 180"/>
              <a:gd name="T29" fmla="*/ 36 h 162"/>
              <a:gd name="T30" fmla="*/ 24 w 180"/>
              <a:gd name="T31" fmla="*/ 24 h 162"/>
              <a:gd name="T32" fmla="*/ 30 w 180"/>
              <a:gd name="T33" fmla="*/ 18 h 162"/>
              <a:gd name="T34" fmla="*/ 36 w 180"/>
              <a:gd name="T35" fmla="*/ 12 h 162"/>
              <a:gd name="T36" fmla="*/ 36 w 180"/>
              <a:gd name="T37" fmla="*/ 6 h 162"/>
              <a:gd name="T38" fmla="*/ 48 w 180"/>
              <a:gd name="T39" fmla="*/ 6 h 162"/>
              <a:gd name="T40" fmla="*/ 60 w 180"/>
              <a:gd name="T41" fmla="*/ 6 h 162"/>
              <a:gd name="T42" fmla="*/ 72 w 180"/>
              <a:gd name="T43" fmla="*/ 12 h 162"/>
              <a:gd name="T44" fmla="*/ 78 w 180"/>
              <a:gd name="T45" fmla="*/ 6 h 162"/>
              <a:gd name="T46" fmla="*/ 84 w 180"/>
              <a:gd name="T47" fmla="*/ 6 h 162"/>
              <a:gd name="T48" fmla="*/ 96 w 180"/>
              <a:gd name="T49" fmla="*/ 6 h 162"/>
              <a:gd name="T50" fmla="*/ 102 w 180"/>
              <a:gd name="T51" fmla="*/ 6 h 162"/>
              <a:gd name="T52" fmla="*/ 114 w 180"/>
              <a:gd name="T53" fmla="*/ 0 h 162"/>
              <a:gd name="T54" fmla="*/ 126 w 180"/>
              <a:gd name="T55" fmla="*/ 6 h 162"/>
              <a:gd name="T56" fmla="*/ 138 w 180"/>
              <a:gd name="T57" fmla="*/ 6 h 162"/>
              <a:gd name="T58" fmla="*/ 144 w 180"/>
              <a:gd name="T59" fmla="*/ 6 h 162"/>
              <a:gd name="T60" fmla="*/ 156 w 180"/>
              <a:gd name="T61" fmla="*/ 6 h 162"/>
              <a:gd name="T62" fmla="*/ 174 w 180"/>
              <a:gd name="T63" fmla="*/ 18 h 162"/>
              <a:gd name="T64" fmla="*/ 174 w 180"/>
              <a:gd name="T65" fmla="*/ 42 h 162"/>
              <a:gd name="T66" fmla="*/ 180 w 180"/>
              <a:gd name="T67" fmla="*/ 42 h 162"/>
              <a:gd name="T68" fmla="*/ 174 w 180"/>
              <a:gd name="T69" fmla="*/ 48 h 162"/>
              <a:gd name="T70" fmla="*/ 168 w 180"/>
              <a:gd name="T71" fmla="*/ 60 h 162"/>
              <a:gd name="T72" fmla="*/ 168 w 180"/>
              <a:gd name="T73" fmla="*/ 54 h 162"/>
              <a:gd name="T74" fmla="*/ 156 w 180"/>
              <a:gd name="T75" fmla="*/ 60 h 162"/>
              <a:gd name="T76" fmla="*/ 150 w 180"/>
              <a:gd name="T77" fmla="*/ 84 h 162"/>
              <a:gd name="T78" fmla="*/ 144 w 180"/>
              <a:gd name="T79" fmla="*/ 108 h 162"/>
              <a:gd name="T80" fmla="*/ 144 w 180"/>
              <a:gd name="T81" fmla="*/ 102 h 162"/>
              <a:gd name="T82" fmla="*/ 144 w 180"/>
              <a:gd name="T83" fmla="*/ 90 h 162"/>
              <a:gd name="T84" fmla="*/ 138 w 180"/>
              <a:gd name="T85" fmla="*/ 90 h 162"/>
              <a:gd name="T86" fmla="*/ 138 w 180"/>
              <a:gd name="T87" fmla="*/ 96 h 162"/>
              <a:gd name="T88" fmla="*/ 138 w 180"/>
              <a:gd name="T89" fmla="*/ 96 h 162"/>
              <a:gd name="T90" fmla="*/ 138 w 180"/>
              <a:gd name="T91" fmla="*/ 102 h 162"/>
              <a:gd name="T92" fmla="*/ 120 w 180"/>
              <a:gd name="T93" fmla="*/ 120 h 162"/>
              <a:gd name="T94" fmla="*/ 102 w 180"/>
              <a:gd name="T95" fmla="*/ 120 h 162"/>
              <a:gd name="T96" fmla="*/ 96 w 180"/>
              <a:gd name="T97" fmla="*/ 126 h 162"/>
              <a:gd name="T98" fmla="*/ 96 w 180"/>
              <a:gd name="T99" fmla="*/ 144 h 162"/>
              <a:gd name="T100" fmla="*/ 84 w 180"/>
              <a:gd name="T101" fmla="*/ 144 h 162"/>
              <a:gd name="T102" fmla="*/ 78 w 180"/>
              <a:gd name="T103" fmla="*/ 138 h 162"/>
              <a:gd name="T104" fmla="*/ 78 w 180"/>
              <a:gd name="T105" fmla="*/ 138 h 162"/>
              <a:gd name="T106" fmla="*/ 72 w 180"/>
              <a:gd name="T107" fmla="*/ 138 h 162"/>
              <a:gd name="T108" fmla="*/ 48 w 180"/>
              <a:gd name="T109" fmla="*/ 162 h 162"/>
              <a:gd name="T110" fmla="*/ 36 w 180"/>
              <a:gd name="T111" fmla="*/ 156 h 162"/>
              <a:gd name="T112" fmla="*/ 30 w 180"/>
              <a:gd name="T113" fmla="*/ 150 h 162"/>
              <a:gd name="T114" fmla="*/ 12 w 180"/>
              <a:gd name="T115" fmla="*/ 144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80" h="162">
                <a:moveTo>
                  <a:pt x="0" y="144"/>
                </a:moveTo>
                <a:lnTo>
                  <a:pt x="0" y="144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18" y="138"/>
                </a:lnTo>
                <a:lnTo>
                  <a:pt x="18" y="132"/>
                </a:lnTo>
                <a:lnTo>
                  <a:pt x="18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36" y="132"/>
                </a:lnTo>
                <a:lnTo>
                  <a:pt x="36" y="132"/>
                </a:lnTo>
                <a:lnTo>
                  <a:pt x="36" y="132"/>
                </a:lnTo>
                <a:lnTo>
                  <a:pt x="36" y="132"/>
                </a:lnTo>
                <a:lnTo>
                  <a:pt x="36" y="132"/>
                </a:lnTo>
                <a:lnTo>
                  <a:pt x="36" y="132"/>
                </a:lnTo>
                <a:lnTo>
                  <a:pt x="36" y="132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0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0" y="114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24" y="102"/>
                </a:lnTo>
                <a:lnTo>
                  <a:pt x="30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0"/>
                </a:lnTo>
                <a:lnTo>
                  <a:pt x="18" y="90"/>
                </a:lnTo>
                <a:lnTo>
                  <a:pt x="18" y="90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30" y="72"/>
                </a:lnTo>
                <a:lnTo>
                  <a:pt x="30" y="72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24" y="30"/>
                </a:lnTo>
                <a:lnTo>
                  <a:pt x="30" y="30"/>
                </a:lnTo>
                <a:lnTo>
                  <a:pt x="24" y="24"/>
                </a:lnTo>
                <a:lnTo>
                  <a:pt x="24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6" y="12"/>
                </a:lnTo>
                <a:lnTo>
                  <a:pt x="36" y="18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54" y="0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6"/>
                </a:lnTo>
                <a:lnTo>
                  <a:pt x="78" y="12"/>
                </a:lnTo>
                <a:lnTo>
                  <a:pt x="78" y="12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102" y="6"/>
                </a:lnTo>
                <a:lnTo>
                  <a:pt x="102" y="6"/>
                </a:lnTo>
                <a:lnTo>
                  <a:pt x="108" y="6"/>
                </a:lnTo>
                <a:lnTo>
                  <a:pt x="108" y="0"/>
                </a:lnTo>
                <a:lnTo>
                  <a:pt x="114" y="6"/>
                </a:lnTo>
                <a:lnTo>
                  <a:pt x="114" y="6"/>
                </a:lnTo>
                <a:lnTo>
                  <a:pt x="114" y="0"/>
                </a:lnTo>
                <a:lnTo>
                  <a:pt x="114" y="0"/>
                </a:lnTo>
                <a:lnTo>
                  <a:pt x="114" y="0"/>
                </a:lnTo>
                <a:lnTo>
                  <a:pt x="114" y="0"/>
                </a:lnTo>
                <a:lnTo>
                  <a:pt x="114" y="0"/>
                </a:lnTo>
                <a:lnTo>
                  <a:pt x="120" y="0"/>
                </a:lnTo>
                <a:lnTo>
                  <a:pt x="120" y="0"/>
                </a:lnTo>
                <a:lnTo>
                  <a:pt x="120" y="6"/>
                </a:lnTo>
                <a:lnTo>
                  <a:pt x="120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56" y="12"/>
                </a:lnTo>
                <a:lnTo>
                  <a:pt x="162" y="6"/>
                </a:lnTo>
                <a:lnTo>
                  <a:pt x="162" y="6"/>
                </a:lnTo>
                <a:lnTo>
                  <a:pt x="168" y="12"/>
                </a:lnTo>
                <a:lnTo>
                  <a:pt x="168" y="12"/>
                </a:lnTo>
                <a:lnTo>
                  <a:pt x="168" y="18"/>
                </a:lnTo>
                <a:lnTo>
                  <a:pt x="174" y="18"/>
                </a:lnTo>
                <a:lnTo>
                  <a:pt x="174" y="24"/>
                </a:lnTo>
                <a:lnTo>
                  <a:pt x="174" y="30"/>
                </a:lnTo>
                <a:lnTo>
                  <a:pt x="174" y="30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42"/>
                </a:lnTo>
                <a:lnTo>
                  <a:pt x="174" y="42"/>
                </a:lnTo>
                <a:lnTo>
                  <a:pt x="174" y="36"/>
                </a:lnTo>
                <a:lnTo>
                  <a:pt x="174" y="36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80" y="42"/>
                </a:lnTo>
                <a:lnTo>
                  <a:pt x="174" y="48"/>
                </a:lnTo>
                <a:lnTo>
                  <a:pt x="180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54"/>
                </a:lnTo>
                <a:lnTo>
                  <a:pt x="174" y="54"/>
                </a:lnTo>
                <a:lnTo>
                  <a:pt x="174" y="54"/>
                </a:lnTo>
                <a:lnTo>
                  <a:pt x="168" y="54"/>
                </a:lnTo>
                <a:lnTo>
                  <a:pt x="168" y="60"/>
                </a:lnTo>
                <a:lnTo>
                  <a:pt x="168" y="60"/>
                </a:lnTo>
                <a:lnTo>
                  <a:pt x="168" y="60"/>
                </a:lnTo>
                <a:lnTo>
                  <a:pt x="168" y="60"/>
                </a:lnTo>
                <a:lnTo>
                  <a:pt x="168" y="60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62" y="54"/>
                </a:lnTo>
                <a:lnTo>
                  <a:pt x="168" y="54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56" y="60"/>
                </a:lnTo>
                <a:lnTo>
                  <a:pt x="156" y="60"/>
                </a:lnTo>
                <a:lnTo>
                  <a:pt x="156" y="60"/>
                </a:lnTo>
                <a:lnTo>
                  <a:pt x="156" y="60"/>
                </a:lnTo>
                <a:lnTo>
                  <a:pt x="156" y="60"/>
                </a:lnTo>
                <a:lnTo>
                  <a:pt x="156" y="60"/>
                </a:lnTo>
                <a:lnTo>
                  <a:pt x="156" y="66"/>
                </a:lnTo>
                <a:lnTo>
                  <a:pt x="156" y="66"/>
                </a:lnTo>
                <a:lnTo>
                  <a:pt x="150" y="66"/>
                </a:lnTo>
                <a:lnTo>
                  <a:pt x="150" y="66"/>
                </a:lnTo>
                <a:lnTo>
                  <a:pt x="150" y="72"/>
                </a:lnTo>
                <a:lnTo>
                  <a:pt x="150" y="84"/>
                </a:lnTo>
                <a:lnTo>
                  <a:pt x="144" y="84"/>
                </a:lnTo>
                <a:lnTo>
                  <a:pt x="150" y="90"/>
                </a:lnTo>
                <a:lnTo>
                  <a:pt x="144" y="96"/>
                </a:lnTo>
                <a:lnTo>
                  <a:pt x="150" y="96"/>
                </a:lnTo>
                <a:lnTo>
                  <a:pt x="150" y="96"/>
                </a:lnTo>
                <a:lnTo>
                  <a:pt x="144" y="102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96"/>
                </a:lnTo>
                <a:lnTo>
                  <a:pt x="144" y="96"/>
                </a:lnTo>
                <a:lnTo>
                  <a:pt x="144" y="90"/>
                </a:lnTo>
                <a:lnTo>
                  <a:pt x="144" y="90"/>
                </a:lnTo>
                <a:lnTo>
                  <a:pt x="144" y="90"/>
                </a:lnTo>
                <a:lnTo>
                  <a:pt x="144" y="90"/>
                </a:lnTo>
                <a:lnTo>
                  <a:pt x="144" y="90"/>
                </a:lnTo>
                <a:lnTo>
                  <a:pt x="144" y="90"/>
                </a:lnTo>
                <a:lnTo>
                  <a:pt x="144" y="90"/>
                </a:lnTo>
                <a:lnTo>
                  <a:pt x="144" y="90"/>
                </a:lnTo>
                <a:lnTo>
                  <a:pt x="138" y="90"/>
                </a:lnTo>
                <a:lnTo>
                  <a:pt x="138" y="90"/>
                </a:lnTo>
                <a:lnTo>
                  <a:pt x="132" y="90"/>
                </a:lnTo>
                <a:lnTo>
                  <a:pt x="132" y="90"/>
                </a:lnTo>
                <a:lnTo>
                  <a:pt x="132" y="90"/>
                </a:lnTo>
                <a:lnTo>
                  <a:pt x="138" y="90"/>
                </a:lnTo>
                <a:lnTo>
                  <a:pt x="132" y="90"/>
                </a:lnTo>
                <a:lnTo>
                  <a:pt x="132" y="90"/>
                </a:lnTo>
                <a:lnTo>
                  <a:pt x="132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44" y="96"/>
                </a:lnTo>
                <a:lnTo>
                  <a:pt x="144" y="96"/>
                </a:lnTo>
                <a:lnTo>
                  <a:pt x="138" y="96"/>
                </a:lnTo>
                <a:lnTo>
                  <a:pt x="138" y="96"/>
                </a:lnTo>
                <a:lnTo>
                  <a:pt x="144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8"/>
                </a:lnTo>
                <a:lnTo>
                  <a:pt x="138" y="108"/>
                </a:lnTo>
                <a:lnTo>
                  <a:pt x="132" y="108"/>
                </a:lnTo>
                <a:lnTo>
                  <a:pt x="126" y="108"/>
                </a:lnTo>
                <a:lnTo>
                  <a:pt x="120" y="114"/>
                </a:lnTo>
                <a:lnTo>
                  <a:pt x="120" y="114"/>
                </a:lnTo>
                <a:lnTo>
                  <a:pt x="120" y="114"/>
                </a:lnTo>
                <a:lnTo>
                  <a:pt x="120" y="120"/>
                </a:lnTo>
                <a:lnTo>
                  <a:pt x="120" y="120"/>
                </a:lnTo>
                <a:lnTo>
                  <a:pt x="120" y="120"/>
                </a:lnTo>
                <a:lnTo>
                  <a:pt x="114" y="120"/>
                </a:lnTo>
                <a:lnTo>
                  <a:pt x="114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96" y="120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32"/>
                </a:lnTo>
                <a:lnTo>
                  <a:pt x="102" y="132"/>
                </a:lnTo>
                <a:lnTo>
                  <a:pt x="96" y="138"/>
                </a:lnTo>
                <a:lnTo>
                  <a:pt x="96" y="144"/>
                </a:lnTo>
                <a:lnTo>
                  <a:pt x="96" y="144"/>
                </a:lnTo>
                <a:lnTo>
                  <a:pt x="96" y="144"/>
                </a:lnTo>
                <a:lnTo>
                  <a:pt x="96" y="150"/>
                </a:lnTo>
                <a:lnTo>
                  <a:pt x="90" y="150"/>
                </a:lnTo>
                <a:lnTo>
                  <a:pt x="90" y="144"/>
                </a:lnTo>
                <a:lnTo>
                  <a:pt x="90" y="144"/>
                </a:lnTo>
                <a:lnTo>
                  <a:pt x="84" y="144"/>
                </a:lnTo>
                <a:lnTo>
                  <a:pt x="84" y="144"/>
                </a:lnTo>
                <a:lnTo>
                  <a:pt x="84" y="144"/>
                </a:lnTo>
                <a:lnTo>
                  <a:pt x="84" y="144"/>
                </a:lnTo>
                <a:lnTo>
                  <a:pt x="84" y="144"/>
                </a:lnTo>
                <a:lnTo>
                  <a:pt x="84" y="144"/>
                </a:lnTo>
                <a:lnTo>
                  <a:pt x="84" y="144"/>
                </a:lnTo>
                <a:lnTo>
                  <a:pt x="84" y="144"/>
                </a:lnTo>
                <a:lnTo>
                  <a:pt x="84" y="138"/>
                </a:lnTo>
                <a:lnTo>
                  <a:pt x="78" y="138"/>
                </a:lnTo>
                <a:lnTo>
                  <a:pt x="78" y="144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66" y="138"/>
                </a:lnTo>
                <a:lnTo>
                  <a:pt x="66" y="138"/>
                </a:lnTo>
                <a:lnTo>
                  <a:pt x="66" y="132"/>
                </a:lnTo>
                <a:lnTo>
                  <a:pt x="66" y="132"/>
                </a:lnTo>
                <a:lnTo>
                  <a:pt x="60" y="132"/>
                </a:lnTo>
                <a:lnTo>
                  <a:pt x="48" y="156"/>
                </a:lnTo>
                <a:lnTo>
                  <a:pt x="48" y="156"/>
                </a:lnTo>
                <a:lnTo>
                  <a:pt x="48" y="162"/>
                </a:lnTo>
                <a:lnTo>
                  <a:pt x="48" y="162"/>
                </a:lnTo>
                <a:lnTo>
                  <a:pt x="48" y="162"/>
                </a:lnTo>
                <a:lnTo>
                  <a:pt x="42" y="156"/>
                </a:lnTo>
                <a:lnTo>
                  <a:pt x="42" y="156"/>
                </a:lnTo>
                <a:lnTo>
                  <a:pt x="42" y="156"/>
                </a:lnTo>
                <a:lnTo>
                  <a:pt x="42" y="156"/>
                </a:lnTo>
                <a:lnTo>
                  <a:pt x="42" y="156"/>
                </a:lnTo>
                <a:lnTo>
                  <a:pt x="36" y="156"/>
                </a:lnTo>
                <a:lnTo>
                  <a:pt x="36" y="150"/>
                </a:lnTo>
                <a:lnTo>
                  <a:pt x="36" y="150"/>
                </a:lnTo>
                <a:lnTo>
                  <a:pt x="36" y="150"/>
                </a:lnTo>
                <a:lnTo>
                  <a:pt x="36" y="150"/>
                </a:lnTo>
                <a:lnTo>
                  <a:pt x="36" y="150"/>
                </a:lnTo>
                <a:lnTo>
                  <a:pt x="30" y="150"/>
                </a:lnTo>
                <a:lnTo>
                  <a:pt x="30" y="150"/>
                </a:lnTo>
                <a:lnTo>
                  <a:pt x="30" y="150"/>
                </a:lnTo>
                <a:lnTo>
                  <a:pt x="30" y="150"/>
                </a:lnTo>
                <a:lnTo>
                  <a:pt x="24" y="150"/>
                </a:lnTo>
                <a:lnTo>
                  <a:pt x="24" y="150"/>
                </a:lnTo>
                <a:lnTo>
                  <a:pt x="18" y="150"/>
                </a:lnTo>
                <a:lnTo>
                  <a:pt x="18" y="150"/>
                </a:lnTo>
                <a:lnTo>
                  <a:pt x="18" y="150"/>
                </a:lnTo>
                <a:lnTo>
                  <a:pt x="18" y="150"/>
                </a:lnTo>
                <a:lnTo>
                  <a:pt x="12" y="144"/>
                </a:lnTo>
                <a:lnTo>
                  <a:pt x="0" y="14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57" name="Freeform 490"/>
          <p:cNvSpPr>
            <a:spLocks/>
          </p:cNvSpPr>
          <p:nvPr/>
        </p:nvSpPr>
        <p:spPr bwMode="auto">
          <a:xfrm>
            <a:off x="6280114" y="5053650"/>
            <a:ext cx="77089" cy="57817"/>
          </a:xfrm>
          <a:custGeom>
            <a:avLst/>
            <a:gdLst>
              <a:gd name="T0" fmla="*/ 6 w 72"/>
              <a:gd name="T1" fmla="*/ 18 h 54"/>
              <a:gd name="T2" fmla="*/ 6 w 72"/>
              <a:gd name="T3" fmla="*/ 12 h 54"/>
              <a:gd name="T4" fmla="*/ 6 w 72"/>
              <a:gd name="T5" fmla="*/ 12 h 54"/>
              <a:gd name="T6" fmla="*/ 12 w 72"/>
              <a:gd name="T7" fmla="*/ 6 h 54"/>
              <a:gd name="T8" fmla="*/ 18 w 72"/>
              <a:gd name="T9" fmla="*/ 0 h 54"/>
              <a:gd name="T10" fmla="*/ 18 w 72"/>
              <a:gd name="T11" fmla="*/ 6 h 54"/>
              <a:gd name="T12" fmla="*/ 36 w 72"/>
              <a:gd name="T13" fmla="*/ 6 h 54"/>
              <a:gd name="T14" fmla="*/ 36 w 72"/>
              <a:gd name="T15" fmla="*/ 6 h 54"/>
              <a:gd name="T16" fmla="*/ 42 w 72"/>
              <a:gd name="T17" fmla="*/ 6 h 54"/>
              <a:gd name="T18" fmla="*/ 48 w 72"/>
              <a:gd name="T19" fmla="*/ 12 h 54"/>
              <a:gd name="T20" fmla="*/ 48 w 72"/>
              <a:gd name="T21" fmla="*/ 18 h 54"/>
              <a:gd name="T22" fmla="*/ 54 w 72"/>
              <a:gd name="T23" fmla="*/ 18 h 54"/>
              <a:gd name="T24" fmla="*/ 54 w 72"/>
              <a:gd name="T25" fmla="*/ 12 h 54"/>
              <a:gd name="T26" fmla="*/ 60 w 72"/>
              <a:gd name="T27" fmla="*/ 12 h 54"/>
              <a:gd name="T28" fmla="*/ 60 w 72"/>
              <a:gd name="T29" fmla="*/ 12 h 54"/>
              <a:gd name="T30" fmla="*/ 66 w 72"/>
              <a:gd name="T31" fmla="*/ 12 h 54"/>
              <a:gd name="T32" fmla="*/ 66 w 72"/>
              <a:gd name="T33" fmla="*/ 18 h 54"/>
              <a:gd name="T34" fmla="*/ 60 w 72"/>
              <a:gd name="T35" fmla="*/ 24 h 54"/>
              <a:gd name="T36" fmla="*/ 66 w 72"/>
              <a:gd name="T37" fmla="*/ 24 h 54"/>
              <a:gd name="T38" fmla="*/ 72 w 72"/>
              <a:gd name="T39" fmla="*/ 30 h 54"/>
              <a:gd name="T40" fmla="*/ 72 w 72"/>
              <a:gd name="T41" fmla="*/ 30 h 54"/>
              <a:gd name="T42" fmla="*/ 66 w 72"/>
              <a:gd name="T43" fmla="*/ 36 h 54"/>
              <a:gd name="T44" fmla="*/ 72 w 72"/>
              <a:gd name="T45" fmla="*/ 42 h 54"/>
              <a:gd name="T46" fmla="*/ 66 w 72"/>
              <a:gd name="T47" fmla="*/ 42 h 54"/>
              <a:gd name="T48" fmla="*/ 60 w 72"/>
              <a:gd name="T49" fmla="*/ 42 h 54"/>
              <a:gd name="T50" fmla="*/ 60 w 72"/>
              <a:gd name="T51" fmla="*/ 36 h 54"/>
              <a:gd name="T52" fmla="*/ 54 w 72"/>
              <a:gd name="T53" fmla="*/ 36 h 54"/>
              <a:gd name="T54" fmla="*/ 48 w 72"/>
              <a:gd name="T55" fmla="*/ 42 h 54"/>
              <a:gd name="T56" fmla="*/ 54 w 72"/>
              <a:gd name="T57" fmla="*/ 42 h 54"/>
              <a:gd name="T58" fmla="*/ 48 w 72"/>
              <a:gd name="T59" fmla="*/ 48 h 54"/>
              <a:gd name="T60" fmla="*/ 48 w 72"/>
              <a:gd name="T61" fmla="*/ 42 h 54"/>
              <a:gd name="T62" fmla="*/ 42 w 72"/>
              <a:gd name="T63" fmla="*/ 42 h 54"/>
              <a:gd name="T64" fmla="*/ 42 w 72"/>
              <a:gd name="T65" fmla="*/ 42 h 54"/>
              <a:gd name="T66" fmla="*/ 36 w 72"/>
              <a:gd name="T67" fmla="*/ 42 h 54"/>
              <a:gd name="T68" fmla="*/ 36 w 72"/>
              <a:gd name="T69" fmla="*/ 48 h 54"/>
              <a:gd name="T70" fmla="*/ 36 w 72"/>
              <a:gd name="T71" fmla="*/ 48 h 54"/>
              <a:gd name="T72" fmla="*/ 30 w 72"/>
              <a:gd name="T73" fmla="*/ 48 h 54"/>
              <a:gd name="T74" fmla="*/ 30 w 72"/>
              <a:gd name="T75" fmla="*/ 48 h 54"/>
              <a:gd name="T76" fmla="*/ 18 w 72"/>
              <a:gd name="T77" fmla="*/ 54 h 54"/>
              <a:gd name="T78" fmla="*/ 18 w 72"/>
              <a:gd name="T79" fmla="*/ 54 h 54"/>
              <a:gd name="T80" fmla="*/ 12 w 72"/>
              <a:gd name="T81" fmla="*/ 54 h 54"/>
              <a:gd name="T82" fmla="*/ 6 w 72"/>
              <a:gd name="T83" fmla="*/ 54 h 54"/>
              <a:gd name="T84" fmla="*/ 6 w 72"/>
              <a:gd name="T85" fmla="*/ 54 h 54"/>
              <a:gd name="T86" fmla="*/ 12 w 72"/>
              <a:gd name="T87" fmla="*/ 48 h 54"/>
              <a:gd name="T88" fmla="*/ 12 w 72"/>
              <a:gd name="T89" fmla="*/ 48 h 54"/>
              <a:gd name="T90" fmla="*/ 6 w 72"/>
              <a:gd name="T91" fmla="*/ 48 h 54"/>
              <a:gd name="T92" fmla="*/ 6 w 72"/>
              <a:gd name="T93" fmla="*/ 42 h 54"/>
              <a:gd name="T94" fmla="*/ 12 w 72"/>
              <a:gd name="T95" fmla="*/ 42 h 54"/>
              <a:gd name="T96" fmla="*/ 12 w 72"/>
              <a:gd name="T97" fmla="*/ 36 h 54"/>
              <a:gd name="T98" fmla="*/ 12 w 72"/>
              <a:gd name="T99" fmla="*/ 36 h 54"/>
              <a:gd name="T100" fmla="*/ 12 w 72"/>
              <a:gd name="T101" fmla="*/ 30 h 54"/>
              <a:gd name="T102" fmla="*/ 12 w 72"/>
              <a:gd name="T103" fmla="*/ 30 h 54"/>
              <a:gd name="T104" fmla="*/ 6 w 72"/>
              <a:gd name="T105" fmla="*/ 24 h 54"/>
              <a:gd name="T106" fmla="*/ 6 w 72"/>
              <a:gd name="T107" fmla="*/ 24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72" h="54">
                <a:moveTo>
                  <a:pt x="0" y="18"/>
                </a:moveTo>
                <a:lnTo>
                  <a:pt x="0" y="18"/>
                </a:lnTo>
                <a:lnTo>
                  <a:pt x="0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0"/>
                </a:lnTo>
                <a:lnTo>
                  <a:pt x="12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6"/>
                </a:lnTo>
                <a:lnTo>
                  <a:pt x="18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54" y="18"/>
                </a:lnTo>
                <a:lnTo>
                  <a:pt x="54" y="18"/>
                </a:lnTo>
                <a:lnTo>
                  <a:pt x="48" y="18"/>
                </a:lnTo>
                <a:lnTo>
                  <a:pt x="54" y="18"/>
                </a:lnTo>
                <a:lnTo>
                  <a:pt x="48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2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6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0" y="18"/>
                </a:lnTo>
                <a:lnTo>
                  <a:pt x="66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72" y="24"/>
                </a:lnTo>
                <a:lnTo>
                  <a:pt x="72" y="24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36"/>
                </a:lnTo>
                <a:lnTo>
                  <a:pt x="66" y="42"/>
                </a:lnTo>
                <a:lnTo>
                  <a:pt x="60" y="36"/>
                </a:lnTo>
                <a:lnTo>
                  <a:pt x="60" y="42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48" y="36"/>
                </a:lnTo>
                <a:lnTo>
                  <a:pt x="54" y="42"/>
                </a:lnTo>
                <a:lnTo>
                  <a:pt x="48" y="42"/>
                </a:lnTo>
                <a:lnTo>
                  <a:pt x="48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36" y="48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24" y="54"/>
                </a:lnTo>
                <a:lnTo>
                  <a:pt x="24" y="48"/>
                </a:lnTo>
                <a:lnTo>
                  <a:pt x="24" y="48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12" y="54"/>
                </a:lnTo>
                <a:lnTo>
                  <a:pt x="6" y="54"/>
                </a:lnTo>
                <a:lnTo>
                  <a:pt x="6" y="54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6" y="48"/>
                </a:lnTo>
                <a:lnTo>
                  <a:pt x="12" y="48"/>
                </a:lnTo>
                <a:lnTo>
                  <a:pt x="6" y="48"/>
                </a:lnTo>
                <a:lnTo>
                  <a:pt x="6" y="48"/>
                </a:lnTo>
                <a:lnTo>
                  <a:pt x="12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12" y="42"/>
                </a:lnTo>
                <a:lnTo>
                  <a:pt x="12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12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12" y="42"/>
                </a:lnTo>
                <a:lnTo>
                  <a:pt x="6" y="36"/>
                </a:lnTo>
                <a:lnTo>
                  <a:pt x="12" y="36"/>
                </a:lnTo>
                <a:lnTo>
                  <a:pt x="6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6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0" y="24"/>
                </a:lnTo>
                <a:lnTo>
                  <a:pt x="0" y="1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58" name="Freeform 491"/>
          <p:cNvSpPr>
            <a:spLocks/>
          </p:cNvSpPr>
          <p:nvPr/>
        </p:nvSpPr>
        <p:spPr bwMode="auto">
          <a:xfrm>
            <a:off x="5939639" y="5098618"/>
            <a:ext cx="327627" cy="128482"/>
          </a:xfrm>
          <a:custGeom>
            <a:avLst/>
            <a:gdLst>
              <a:gd name="T0" fmla="*/ 12 w 306"/>
              <a:gd name="T1" fmla="*/ 0 h 120"/>
              <a:gd name="T2" fmla="*/ 24 w 306"/>
              <a:gd name="T3" fmla="*/ 0 h 120"/>
              <a:gd name="T4" fmla="*/ 36 w 306"/>
              <a:gd name="T5" fmla="*/ 0 h 120"/>
              <a:gd name="T6" fmla="*/ 42 w 306"/>
              <a:gd name="T7" fmla="*/ 6 h 120"/>
              <a:gd name="T8" fmla="*/ 54 w 306"/>
              <a:gd name="T9" fmla="*/ 12 h 120"/>
              <a:gd name="T10" fmla="*/ 66 w 306"/>
              <a:gd name="T11" fmla="*/ 18 h 120"/>
              <a:gd name="T12" fmla="*/ 84 w 306"/>
              <a:gd name="T13" fmla="*/ 24 h 120"/>
              <a:gd name="T14" fmla="*/ 96 w 306"/>
              <a:gd name="T15" fmla="*/ 30 h 120"/>
              <a:gd name="T16" fmla="*/ 114 w 306"/>
              <a:gd name="T17" fmla="*/ 6 h 120"/>
              <a:gd name="T18" fmla="*/ 120 w 306"/>
              <a:gd name="T19" fmla="*/ 12 h 120"/>
              <a:gd name="T20" fmla="*/ 126 w 306"/>
              <a:gd name="T21" fmla="*/ 18 h 120"/>
              <a:gd name="T22" fmla="*/ 126 w 306"/>
              <a:gd name="T23" fmla="*/ 24 h 120"/>
              <a:gd name="T24" fmla="*/ 132 w 306"/>
              <a:gd name="T25" fmla="*/ 30 h 120"/>
              <a:gd name="T26" fmla="*/ 138 w 306"/>
              <a:gd name="T27" fmla="*/ 30 h 120"/>
              <a:gd name="T28" fmla="*/ 156 w 306"/>
              <a:gd name="T29" fmla="*/ 36 h 120"/>
              <a:gd name="T30" fmla="*/ 192 w 306"/>
              <a:gd name="T31" fmla="*/ 30 h 120"/>
              <a:gd name="T32" fmla="*/ 204 w 306"/>
              <a:gd name="T33" fmla="*/ 30 h 120"/>
              <a:gd name="T34" fmla="*/ 210 w 306"/>
              <a:gd name="T35" fmla="*/ 18 h 120"/>
              <a:gd name="T36" fmla="*/ 222 w 306"/>
              <a:gd name="T37" fmla="*/ 18 h 120"/>
              <a:gd name="T38" fmla="*/ 228 w 306"/>
              <a:gd name="T39" fmla="*/ 24 h 120"/>
              <a:gd name="T40" fmla="*/ 246 w 306"/>
              <a:gd name="T41" fmla="*/ 36 h 120"/>
              <a:gd name="T42" fmla="*/ 252 w 306"/>
              <a:gd name="T43" fmla="*/ 36 h 120"/>
              <a:gd name="T44" fmla="*/ 264 w 306"/>
              <a:gd name="T45" fmla="*/ 42 h 120"/>
              <a:gd name="T46" fmla="*/ 264 w 306"/>
              <a:gd name="T47" fmla="*/ 48 h 120"/>
              <a:gd name="T48" fmla="*/ 270 w 306"/>
              <a:gd name="T49" fmla="*/ 54 h 120"/>
              <a:gd name="T50" fmla="*/ 282 w 306"/>
              <a:gd name="T51" fmla="*/ 60 h 120"/>
              <a:gd name="T52" fmla="*/ 294 w 306"/>
              <a:gd name="T53" fmla="*/ 60 h 120"/>
              <a:gd name="T54" fmla="*/ 300 w 306"/>
              <a:gd name="T55" fmla="*/ 78 h 120"/>
              <a:gd name="T56" fmla="*/ 300 w 306"/>
              <a:gd name="T57" fmla="*/ 84 h 120"/>
              <a:gd name="T58" fmla="*/ 300 w 306"/>
              <a:gd name="T59" fmla="*/ 96 h 120"/>
              <a:gd name="T60" fmla="*/ 282 w 306"/>
              <a:gd name="T61" fmla="*/ 90 h 120"/>
              <a:gd name="T62" fmla="*/ 270 w 306"/>
              <a:gd name="T63" fmla="*/ 90 h 120"/>
              <a:gd name="T64" fmla="*/ 264 w 306"/>
              <a:gd name="T65" fmla="*/ 96 h 120"/>
              <a:gd name="T66" fmla="*/ 258 w 306"/>
              <a:gd name="T67" fmla="*/ 102 h 120"/>
              <a:gd name="T68" fmla="*/ 246 w 306"/>
              <a:gd name="T69" fmla="*/ 108 h 120"/>
              <a:gd name="T70" fmla="*/ 252 w 306"/>
              <a:gd name="T71" fmla="*/ 120 h 120"/>
              <a:gd name="T72" fmla="*/ 240 w 306"/>
              <a:gd name="T73" fmla="*/ 102 h 120"/>
              <a:gd name="T74" fmla="*/ 234 w 306"/>
              <a:gd name="T75" fmla="*/ 90 h 120"/>
              <a:gd name="T76" fmla="*/ 228 w 306"/>
              <a:gd name="T77" fmla="*/ 90 h 120"/>
              <a:gd name="T78" fmla="*/ 216 w 306"/>
              <a:gd name="T79" fmla="*/ 96 h 120"/>
              <a:gd name="T80" fmla="*/ 204 w 306"/>
              <a:gd name="T81" fmla="*/ 96 h 120"/>
              <a:gd name="T82" fmla="*/ 192 w 306"/>
              <a:gd name="T83" fmla="*/ 96 h 120"/>
              <a:gd name="T84" fmla="*/ 186 w 306"/>
              <a:gd name="T85" fmla="*/ 102 h 120"/>
              <a:gd name="T86" fmla="*/ 174 w 306"/>
              <a:gd name="T87" fmla="*/ 108 h 120"/>
              <a:gd name="T88" fmla="*/ 162 w 306"/>
              <a:gd name="T89" fmla="*/ 96 h 120"/>
              <a:gd name="T90" fmla="*/ 150 w 306"/>
              <a:gd name="T91" fmla="*/ 102 h 120"/>
              <a:gd name="T92" fmla="*/ 138 w 306"/>
              <a:gd name="T93" fmla="*/ 96 h 120"/>
              <a:gd name="T94" fmla="*/ 138 w 306"/>
              <a:gd name="T95" fmla="*/ 90 h 120"/>
              <a:gd name="T96" fmla="*/ 126 w 306"/>
              <a:gd name="T97" fmla="*/ 90 h 120"/>
              <a:gd name="T98" fmla="*/ 108 w 306"/>
              <a:gd name="T99" fmla="*/ 84 h 120"/>
              <a:gd name="T100" fmla="*/ 102 w 306"/>
              <a:gd name="T101" fmla="*/ 90 h 120"/>
              <a:gd name="T102" fmla="*/ 90 w 306"/>
              <a:gd name="T103" fmla="*/ 84 h 120"/>
              <a:gd name="T104" fmla="*/ 72 w 306"/>
              <a:gd name="T105" fmla="*/ 78 h 120"/>
              <a:gd name="T106" fmla="*/ 60 w 306"/>
              <a:gd name="T107" fmla="*/ 72 h 120"/>
              <a:gd name="T108" fmla="*/ 48 w 306"/>
              <a:gd name="T109" fmla="*/ 72 h 120"/>
              <a:gd name="T110" fmla="*/ 36 w 306"/>
              <a:gd name="T111" fmla="*/ 72 h 120"/>
              <a:gd name="T112" fmla="*/ 36 w 306"/>
              <a:gd name="T113" fmla="*/ 60 h 120"/>
              <a:gd name="T114" fmla="*/ 30 w 306"/>
              <a:gd name="T115" fmla="*/ 36 h 120"/>
              <a:gd name="T116" fmla="*/ 18 w 306"/>
              <a:gd name="T117" fmla="*/ 24 h 120"/>
              <a:gd name="T118" fmla="*/ 0 w 306"/>
              <a:gd name="T119" fmla="*/ 6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06" h="120">
                <a:moveTo>
                  <a:pt x="0" y="6"/>
                </a:move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18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36" y="6"/>
                </a:lnTo>
                <a:lnTo>
                  <a:pt x="42" y="6"/>
                </a:lnTo>
                <a:lnTo>
                  <a:pt x="36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8"/>
                </a:lnTo>
                <a:lnTo>
                  <a:pt x="60" y="12"/>
                </a:lnTo>
                <a:lnTo>
                  <a:pt x="66" y="12"/>
                </a:lnTo>
                <a:lnTo>
                  <a:pt x="66" y="12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72" y="18"/>
                </a:lnTo>
                <a:lnTo>
                  <a:pt x="72" y="12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18"/>
                </a:lnTo>
                <a:lnTo>
                  <a:pt x="84" y="18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6" y="24"/>
                </a:lnTo>
                <a:lnTo>
                  <a:pt x="96" y="30"/>
                </a:lnTo>
                <a:lnTo>
                  <a:pt x="96" y="24"/>
                </a:lnTo>
                <a:lnTo>
                  <a:pt x="96" y="30"/>
                </a:lnTo>
                <a:lnTo>
                  <a:pt x="102" y="30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14" y="12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8"/>
                </a:lnTo>
                <a:lnTo>
                  <a:pt x="120" y="12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0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8" y="30"/>
                </a:lnTo>
                <a:lnTo>
                  <a:pt x="138" y="24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6"/>
                </a:lnTo>
                <a:lnTo>
                  <a:pt x="144" y="36"/>
                </a:lnTo>
                <a:lnTo>
                  <a:pt x="144" y="36"/>
                </a:lnTo>
                <a:lnTo>
                  <a:pt x="150" y="36"/>
                </a:lnTo>
                <a:lnTo>
                  <a:pt x="150" y="42"/>
                </a:lnTo>
                <a:lnTo>
                  <a:pt x="150" y="42"/>
                </a:lnTo>
                <a:lnTo>
                  <a:pt x="150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62" y="36"/>
                </a:lnTo>
                <a:lnTo>
                  <a:pt x="168" y="30"/>
                </a:lnTo>
                <a:lnTo>
                  <a:pt x="168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92" y="30"/>
                </a:lnTo>
                <a:lnTo>
                  <a:pt x="192" y="30"/>
                </a:lnTo>
                <a:lnTo>
                  <a:pt x="192" y="30"/>
                </a:lnTo>
                <a:lnTo>
                  <a:pt x="192" y="30"/>
                </a:lnTo>
                <a:lnTo>
                  <a:pt x="192" y="30"/>
                </a:lnTo>
                <a:lnTo>
                  <a:pt x="198" y="30"/>
                </a:lnTo>
                <a:lnTo>
                  <a:pt x="198" y="30"/>
                </a:lnTo>
                <a:lnTo>
                  <a:pt x="198" y="30"/>
                </a:lnTo>
                <a:lnTo>
                  <a:pt x="198" y="30"/>
                </a:lnTo>
                <a:lnTo>
                  <a:pt x="198" y="30"/>
                </a:lnTo>
                <a:lnTo>
                  <a:pt x="204" y="30"/>
                </a:lnTo>
                <a:lnTo>
                  <a:pt x="204" y="30"/>
                </a:lnTo>
                <a:lnTo>
                  <a:pt x="204" y="30"/>
                </a:lnTo>
                <a:lnTo>
                  <a:pt x="204" y="30"/>
                </a:lnTo>
                <a:lnTo>
                  <a:pt x="204" y="30"/>
                </a:lnTo>
                <a:lnTo>
                  <a:pt x="204" y="30"/>
                </a:lnTo>
                <a:lnTo>
                  <a:pt x="204" y="30"/>
                </a:lnTo>
                <a:lnTo>
                  <a:pt x="204" y="30"/>
                </a:lnTo>
                <a:lnTo>
                  <a:pt x="204" y="30"/>
                </a:lnTo>
                <a:lnTo>
                  <a:pt x="210" y="30"/>
                </a:lnTo>
                <a:lnTo>
                  <a:pt x="210" y="30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6" y="18"/>
                </a:lnTo>
                <a:lnTo>
                  <a:pt x="210" y="18"/>
                </a:lnTo>
                <a:lnTo>
                  <a:pt x="216" y="18"/>
                </a:lnTo>
                <a:lnTo>
                  <a:pt x="216" y="18"/>
                </a:lnTo>
                <a:lnTo>
                  <a:pt x="216" y="18"/>
                </a:lnTo>
                <a:lnTo>
                  <a:pt x="216" y="18"/>
                </a:lnTo>
                <a:lnTo>
                  <a:pt x="216" y="18"/>
                </a:lnTo>
                <a:lnTo>
                  <a:pt x="216" y="18"/>
                </a:lnTo>
                <a:lnTo>
                  <a:pt x="216" y="18"/>
                </a:lnTo>
                <a:lnTo>
                  <a:pt x="216" y="18"/>
                </a:lnTo>
                <a:lnTo>
                  <a:pt x="216" y="18"/>
                </a:lnTo>
                <a:lnTo>
                  <a:pt x="216" y="18"/>
                </a:lnTo>
                <a:lnTo>
                  <a:pt x="222" y="18"/>
                </a:lnTo>
                <a:lnTo>
                  <a:pt x="216" y="18"/>
                </a:lnTo>
                <a:lnTo>
                  <a:pt x="216" y="18"/>
                </a:lnTo>
                <a:lnTo>
                  <a:pt x="222" y="18"/>
                </a:lnTo>
                <a:lnTo>
                  <a:pt x="222" y="18"/>
                </a:lnTo>
                <a:lnTo>
                  <a:pt x="222" y="18"/>
                </a:lnTo>
                <a:lnTo>
                  <a:pt x="222" y="18"/>
                </a:lnTo>
                <a:lnTo>
                  <a:pt x="222" y="18"/>
                </a:lnTo>
                <a:lnTo>
                  <a:pt x="222" y="18"/>
                </a:lnTo>
                <a:lnTo>
                  <a:pt x="222" y="18"/>
                </a:lnTo>
                <a:lnTo>
                  <a:pt x="222" y="18"/>
                </a:lnTo>
                <a:lnTo>
                  <a:pt x="222" y="18"/>
                </a:lnTo>
                <a:lnTo>
                  <a:pt x="222" y="18"/>
                </a:lnTo>
                <a:lnTo>
                  <a:pt x="222" y="18"/>
                </a:lnTo>
                <a:lnTo>
                  <a:pt x="228" y="18"/>
                </a:lnTo>
                <a:lnTo>
                  <a:pt x="228" y="18"/>
                </a:lnTo>
                <a:lnTo>
                  <a:pt x="228" y="18"/>
                </a:lnTo>
                <a:lnTo>
                  <a:pt x="228" y="18"/>
                </a:lnTo>
                <a:lnTo>
                  <a:pt x="228" y="24"/>
                </a:lnTo>
                <a:lnTo>
                  <a:pt x="228" y="24"/>
                </a:lnTo>
                <a:lnTo>
                  <a:pt x="228" y="24"/>
                </a:lnTo>
                <a:lnTo>
                  <a:pt x="234" y="24"/>
                </a:lnTo>
                <a:lnTo>
                  <a:pt x="234" y="24"/>
                </a:lnTo>
                <a:lnTo>
                  <a:pt x="234" y="24"/>
                </a:lnTo>
                <a:lnTo>
                  <a:pt x="234" y="24"/>
                </a:lnTo>
                <a:lnTo>
                  <a:pt x="234" y="30"/>
                </a:lnTo>
                <a:lnTo>
                  <a:pt x="234" y="30"/>
                </a:lnTo>
                <a:lnTo>
                  <a:pt x="240" y="30"/>
                </a:lnTo>
                <a:lnTo>
                  <a:pt x="240" y="30"/>
                </a:lnTo>
                <a:lnTo>
                  <a:pt x="240" y="30"/>
                </a:lnTo>
                <a:lnTo>
                  <a:pt x="240" y="30"/>
                </a:lnTo>
                <a:lnTo>
                  <a:pt x="240" y="30"/>
                </a:lnTo>
                <a:lnTo>
                  <a:pt x="240" y="30"/>
                </a:lnTo>
                <a:lnTo>
                  <a:pt x="240" y="36"/>
                </a:lnTo>
                <a:lnTo>
                  <a:pt x="246" y="36"/>
                </a:lnTo>
                <a:lnTo>
                  <a:pt x="246" y="36"/>
                </a:lnTo>
                <a:lnTo>
                  <a:pt x="246" y="36"/>
                </a:lnTo>
                <a:lnTo>
                  <a:pt x="246" y="36"/>
                </a:lnTo>
                <a:lnTo>
                  <a:pt x="246" y="36"/>
                </a:lnTo>
                <a:lnTo>
                  <a:pt x="246" y="36"/>
                </a:lnTo>
                <a:lnTo>
                  <a:pt x="246" y="36"/>
                </a:lnTo>
                <a:lnTo>
                  <a:pt x="246" y="36"/>
                </a:lnTo>
                <a:lnTo>
                  <a:pt x="246" y="36"/>
                </a:lnTo>
                <a:lnTo>
                  <a:pt x="246" y="36"/>
                </a:lnTo>
                <a:lnTo>
                  <a:pt x="246" y="36"/>
                </a:lnTo>
                <a:lnTo>
                  <a:pt x="246" y="36"/>
                </a:lnTo>
                <a:lnTo>
                  <a:pt x="252" y="36"/>
                </a:lnTo>
                <a:lnTo>
                  <a:pt x="252" y="36"/>
                </a:lnTo>
                <a:lnTo>
                  <a:pt x="252" y="36"/>
                </a:lnTo>
                <a:lnTo>
                  <a:pt x="252" y="36"/>
                </a:lnTo>
                <a:lnTo>
                  <a:pt x="252" y="36"/>
                </a:lnTo>
                <a:lnTo>
                  <a:pt x="252" y="36"/>
                </a:lnTo>
                <a:lnTo>
                  <a:pt x="252" y="36"/>
                </a:lnTo>
                <a:lnTo>
                  <a:pt x="252" y="36"/>
                </a:lnTo>
                <a:lnTo>
                  <a:pt x="258" y="36"/>
                </a:lnTo>
                <a:lnTo>
                  <a:pt x="258" y="36"/>
                </a:lnTo>
                <a:lnTo>
                  <a:pt x="258" y="36"/>
                </a:lnTo>
                <a:lnTo>
                  <a:pt x="258" y="42"/>
                </a:lnTo>
                <a:lnTo>
                  <a:pt x="258" y="36"/>
                </a:lnTo>
                <a:lnTo>
                  <a:pt x="258" y="42"/>
                </a:lnTo>
                <a:lnTo>
                  <a:pt x="258" y="42"/>
                </a:lnTo>
                <a:lnTo>
                  <a:pt x="258" y="42"/>
                </a:lnTo>
                <a:lnTo>
                  <a:pt x="258" y="42"/>
                </a:lnTo>
                <a:lnTo>
                  <a:pt x="258" y="42"/>
                </a:lnTo>
                <a:lnTo>
                  <a:pt x="264" y="42"/>
                </a:lnTo>
                <a:lnTo>
                  <a:pt x="264" y="42"/>
                </a:lnTo>
                <a:lnTo>
                  <a:pt x="264" y="42"/>
                </a:lnTo>
                <a:lnTo>
                  <a:pt x="264" y="42"/>
                </a:lnTo>
                <a:lnTo>
                  <a:pt x="264" y="42"/>
                </a:lnTo>
                <a:lnTo>
                  <a:pt x="264" y="42"/>
                </a:lnTo>
                <a:lnTo>
                  <a:pt x="258" y="42"/>
                </a:lnTo>
                <a:lnTo>
                  <a:pt x="258" y="48"/>
                </a:lnTo>
                <a:lnTo>
                  <a:pt x="258" y="48"/>
                </a:lnTo>
                <a:lnTo>
                  <a:pt x="258" y="48"/>
                </a:lnTo>
                <a:lnTo>
                  <a:pt x="264" y="48"/>
                </a:lnTo>
                <a:lnTo>
                  <a:pt x="264" y="48"/>
                </a:lnTo>
                <a:lnTo>
                  <a:pt x="264" y="48"/>
                </a:lnTo>
                <a:lnTo>
                  <a:pt x="264" y="48"/>
                </a:lnTo>
                <a:lnTo>
                  <a:pt x="264" y="48"/>
                </a:lnTo>
                <a:lnTo>
                  <a:pt x="264" y="48"/>
                </a:lnTo>
                <a:lnTo>
                  <a:pt x="264" y="48"/>
                </a:lnTo>
                <a:lnTo>
                  <a:pt x="264" y="48"/>
                </a:lnTo>
                <a:lnTo>
                  <a:pt x="264" y="54"/>
                </a:lnTo>
                <a:lnTo>
                  <a:pt x="264" y="54"/>
                </a:lnTo>
                <a:lnTo>
                  <a:pt x="264" y="54"/>
                </a:lnTo>
                <a:lnTo>
                  <a:pt x="264" y="54"/>
                </a:lnTo>
                <a:lnTo>
                  <a:pt x="270" y="54"/>
                </a:lnTo>
                <a:lnTo>
                  <a:pt x="270" y="54"/>
                </a:lnTo>
                <a:lnTo>
                  <a:pt x="270" y="54"/>
                </a:lnTo>
                <a:lnTo>
                  <a:pt x="270" y="54"/>
                </a:lnTo>
                <a:lnTo>
                  <a:pt x="270" y="54"/>
                </a:lnTo>
                <a:lnTo>
                  <a:pt x="270" y="54"/>
                </a:lnTo>
                <a:lnTo>
                  <a:pt x="270" y="54"/>
                </a:lnTo>
                <a:lnTo>
                  <a:pt x="270" y="54"/>
                </a:lnTo>
                <a:lnTo>
                  <a:pt x="270" y="54"/>
                </a:lnTo>
                <a:lnTo>
                  <a:pt x="270" y="54"/>
                </a:lnTo>
                <a:lnTo>
                  <a:pt x="270" y="54"/>
                </a:lnTo>
                <a:lnTo>
                  <a:pt x="270" y="54"/>
                </a:lnTo>
                <a:lnTo>
                  <a:pt x="270" y="54"/>
                </a:lnTo>
                <a:lnTo>
                  <a:pt x="276" y="54"/>
                </a:lnTo>
                <a:lnTo>
                  <a:pt x="276" y="54"/>
                </a:lnTo>
                <a:lnTo>
                  <a:pt x="276" y="54"/>
                </a:lnTo>
                <a:lnTo>
                  <a:pt x="276" y="60"/>
                </a:lnTo>
                <a:lnTo>
                  <a:pt x="276" y="60"/>
                </a:lnTo>
                <a:lnTo>
                  <a:pt x="276" y="60"/>
                </a:lnTo>
                <a:lnTo>
                  <a:pt x="276" y="60"/>
                </a:lnTo>
                <a:lnTo>
                  <a:pt x="282" y="60"/>
                </a:lnTo>
                <a:lnTo>
                  <a:pt x="282" y="60"/>
                </a:lnTo>
                <a:lnTo>
                  <a:pt x="282" y="60"/>
                </a:lnTo>
                <a:lnTo>
                  <a:pt x="282" y="60"/>
                </a:lnTo>
                <a:lnTo>
                  <a:pt x="282" y="60"/>
                </a:lnTo>
                <a:lnTo>
                  <a:pt x="282" y="60"/>
                </a:lnTo>
                <a:lnTo>
                  <a:pt x="288" y="60"/>
                </a:lnTo>
                <a:lnTo>
                  <a:pt x="288" y="60"/>
                </a:lnTo>
                <a:lnTo>
                  <a:pt x="288" y="60"/>
                </a:lnTo>
                <a:lnTo>
                  <a:pt x="288" y="60"/>
                </a:lnTo>
                <a:lnTo>
                  <a:pt x="294" y="60"/>
                </a:lnTo>
                <a:lnTo>
                  <a:pt x="294" y="60"/>
                </a:lnTo>
                <a:lnTo>
                  <a:pt x="294" y="60"/>
                </a:lnTo>
                <a:lnTo>
                  <a:pt x="294" y="60"/>
                </a:lnTo>
                <a:lnTo>
                  <a:pt x="294" y="60"/>
                </a:lnTo>
                <a:lnTo>
                  <a:pt x="294" y="60"/>
                </a:lnTo>
                <a:lnTo>
                  <a:pt x="294" y="66"/>
                </a:lnTo>
                <a:lnTo>
                  <a:pt x="294" y="60"/>
                </a:lnTo>
                <a:lnTo>
                  <a:pt x="294" y="60"/>
                </a:lnTo>
                <a:lnTo>
                  <a:pt x="300" y="66"/>
                </a:lnTo>
                <a:lnTo>
                  <a:pt x="300" y="66"/>
                </a:lnTo>
                <a:lnTo>
                  <a:pt x="300" y="66"/>
                </a:lnTo>
                <a:lnTo>
                  <a:pt x="294" y="66"/>
                </a:lnTo>
                <a:lnTo>
                  <a:pt x="294" y="66"/>
                </a:lnTo>
                <a:lnTo>
                  <a:pt x="294" y="66"/>
                </a:lnTo>
                <a:lnTo>
                  <a:pt x="294" y="72"/>
                </a:lnTo>
                <a:lnTo>
                  <a:pt x="300" y="72"/>
                </a:lnTo>
                <a:lnTo>
                  <a:pt x="300" y="72"/>
                </a:lnTo>
                <a:lnTo>
                  <a:pt x="300" y="72"/>
                </a:lnTo>
                <a:lnTo>
                  <a:pt x="300" y="72"/>
                </a:lnTo>
                <a:lnTo>
                  <a:pt x="300" y="72"/>
                </a:lnTo>
                <a:lnTo>
                  <a:pt x="300" y="78"/>
                </a:lnTo>
                <a:lnTo>
                  <a:pt x="300" y="78"/>
                </a:lnTo>
                <a:lnTo>
                  <a:pt x="300" y="78"/>
                </a:lnTo>
                <a:lnTo>
                  <a:pt x="300" y="78"/>
                </a:lnTo>
                <a:lnTo>
                  <a:pt x="300" y="78"/>
                </a:lnTo>
                <a:lnTo>
                  <a:pt x="300" y="78"/>
                </a:lnTo>
                <a:lnTo>
                  <a:pt x="300" y="78"/>
                </a:lnTo>
                <a:lnTo>
                  <a:pt x="306" y="78"/>
                </a:lnTo>
                <a:lnTo>
                  <a:pt x="306" y="78"/>
                </a:lnTo>
                <a:lnTo>
                  <a:pt x="300" y="78"/>
                </a:lnTo>
                <a:lnTo>
                  <a:pt x="300" y="78"/>
                </a:lnTo>
                <a:lnTo>
                  <a:pt x="300" y="78"/>
                </a:lnTo>
                <a:lnTo>
                  <a:pt x="300" y="78"/>
                </a:lnTo>
                <a:lnTo>
                  <a:pt x="300" y="78"/>
                </a:lnTo>
                <a:lnTo>
                  <a:pt x="300" y="78"/>
                </a:lnTo>
                <a:lnTo>
                  <a:pt x="300" y="84"/>
                </a:lnTo>
                <a:lnTo>
                  <a:pt x="300" y="84"/>
                </a:lnTo>
                <a:lnTo>
                  <a:pt x="300" y="84"/>
                </a:lnTo>
                <a:lnTo>
                  <a:pt x="300" y="84"/>
                </a:lnTo>
                <a:lnTo>
                  <a:pt x="300" y="84"/>
                </a:lnTo>
                <a:lnTo>
                  <a:pt x="300" y="84"/>
                </a:lnTo>
                <a:lnTo>
                  <a:pt x="300" y="90"/>
                </a:lnTo>
                <a:lnTo>
                  <a:pt x="300" y="90"/>
                </a:lnTo>
                <a:lnTo>
                  <a:pt x="300" y="90"/>
                </a:lnTo>
                <a:lnTo>
                  <a:pt x="300" y="90"/>
                </a:lnTo>
                <a:lnTo>
                  <a:pt x="300" y="90"/>
                </a:lnTo>
                <a:lnTo>
                  <a:pt x="300" y="90"/>
                </a:lnTo>
                <a:lnTo>
                  <a:pt x="300" y="90"/>
                </a:lnTo>
                <a:lnTo>
                  <a:pt x="300" y="96"/>
                </a:lnTo>
                <a:lnTo>
                  <a:pt x="300" y="96"/>
                </a:lnTo>
                <a:lnTo>
                  <a:pt x="300" y="96"/>
                </a:lnTo>
                <a:lnTo>
                  <a:pt x="300" y="96"/>
                </a:lnTo>
                <a:lnTo>
                  <a:pt x="300" y="96"/>
                </a:lnTo>
                <a:lnTo>
                  <a:pt x="300" y="96"/>
                </a:lnTo>
                <a:lnTo>
                  <a:pt x="288" y="102"/>
                </a:lnTo>
                <a:lnTo>
                  <a:pt x="288" y="102"/>
                </a:lnTo>
                <a:lnTo>
                  <a:pt x="288" y="102"/>
                </a:lnTo>
                <a:lnTo>
                  <a:pt x="288" y="102"/>
                </a:lnTo>
                <a:lnTo>
                  <a:pt x="288" y="96"/>
                </a:lnTo>
                <a:lnTo>
                  <a:pt x="288" y="96"/>
                </a:lnTo>
                <a:lnTo>
                  <a:pt x="288" y="96"/>
                </a:lnTo>
                <a:lnTo>
                  <a:pt x="288" y="96"/>
                </a:lnTo>
                <a:lnTo>
                  <a:pt x="288" y="96"/>
                </a:lnTo>
                <a:lnTo>
                  <a:pt x="288" y="96"/>
                </a:lnTo>
                <a:lnTo>
                  <a:pt x="288" y="96"/>
                </a:lnTo>
                <a:lnTo>
                  <a:pt x="288" y="96"/>
                </a:lnTo>
                <a:lnTo>
                  <a:pt x="282" y="90"/>
                </a:lnTo>
                <a:lnTo>
                  <a:pt x="282" y="90"/>
                </a:lnTo>
                <a:lnTo>
                  <a:pt x="282" y="90"/>
                </a:lnTo>
                <a:lnTo>
                  <a:pt x="282" y="90"/>
                </a:lnTo>
                <a:lnTo>
                  <a:pt x="282" y="90"/>
                </a:lnTo>
                <a:lnTo>
                  <a:pt x="282" y="90"/>
                </a:lnTo>
                <a:lnTo>
                  <a:pt x="282" y="90"/>
                </a:lnTo>
                <a:lnTo>
                  <a:pt x="276" y="90"/>
                </a:lnTo>
                <a:lnTo>
                  <a:pt x="276" y="90"/>
                </a:lnTo>
                <a:lnTo>
                  <a:pt x="276" y="90"/>
                </a:lnTo>
                <a:lnTo>
                  <a:pt x="276" y="90"/>
                </a:lnTo>
                <a:lnTo>
                  <a:pt x="276" y="90"/>
                </a:lnTo>
                <a:lnTo>
                  <a:pt x="270" y="90"/>
                </a:lnTo>
                <a:lnTo>
                  <a:pt x="270" y="90"/>
                </a:lnTo>
                <a:lnTo>
                  <a:pt x="270" y="90"/>
                </a:lnTo>
                <a:lnTo>
                  <a:pt x="270" y="90"/>
                </a:lnTo>
                <a:lnTo>
                  <a:pt x="270" y="90"/>
                </a:lnTo>
                <a:lnTo>
                  <a:pt x="264" y="90"/>
                </a:lnTo>
                <a:lnTo>
                  <a:pt x="264" y="96"/>
                </a:lnTo>
                <a:lnTo>
                  <a:pt x="264" y="96"/>
                </a:lnTo>
                <a:lnTo>
                  <a:pt x="264" y="96"/>
                </a:lnTo>
                <a:lnTo>
                  <a:pt x="264" y="96"/>
                </a:lnTo>
                <a:lnTo>
                  <a:pt x="264" y="96"/>
                </a:lnTo>
                <a:lnTo>
                  <a:pt x="264" y="96"/>
                </a:lnTo>
                <a:lnTo>
                  <a:pt x="264" y="96"/>
                </a:lnTo>
                <a:lnTo>
                  <a:pt x="264" y="96"/>
                </a:lnTo>
                <a:lnTo>
                  <a:pt x="264" y="96"/>
                </a:lnTo>
                <a:lnTo>
                  <a:pt x="264" y="96"/>
                </a:lnTo>
                <a:lnTo>
                  <a:pt x="264" y="96"/>
                </a:lnTo>
                <a:lnTo>
                  <a:pt x="264" y="96"/>
                </a:lnTo>
                <a:lnTo>
                  <a:pt x="264" y="96"/>
                </a:lnTo>
                <a:lnTo>
                  <a:pt x="264" y="96"/>
                </a:lnTo>
                <a:lnTo>
                  <a:pt x="264" y="102"/>
                </a:lnTo>
                <a:lnTo>
                  <a:pt x="264" y="102"/>
                </a:lnTo>
                <a:lnTo>
                  <a:pt x="264" y="102"/>
                </a:lnTo>
                <a:lnTo>
                  <a:pt x="264" y="102"/>
                </a:lnTo>
                <a:lnTo>
                  <a:pt x="264" y="102"/>
                </a:lnTo>
                <a:lnTo>
                  <a:pt x="264" y="102"/>
                </a:lnTo>
                <a:lnTo>
                  <a:pt x="264" y="102"/>
                </a:lnTo>
                <a:lnTo>
                  <a:pt x="264" y="102"/>
                </a:lnTo>
                <a:lnTo>
                  <a:pt x="264" y="108"/>
                </a:lnTo>
                <a:lnTo>
                  <a:pt x="258" y="102"/>
                </a:lnTo>
                <a:lnTo>
                  <a:pt x="258" y="102"/>
                </a:lnTo>
                <a:lnTo>
                  <a:pt x="258" y="102"/>
                </a:lnTo>
                <a:lnTo>
                  <a:pt x="258" y="102"/>
                </a:lnTo>
                <a:lnTo>
                  <a:pt x="258" y="102"/>
                </a:lnTo>
                <a:lnTo>
                  <a:pt x="258" y="102"/>
                </a:lnTo>
                <a:lnTo>
                  <a:pt x="258" y="108"/>
                </a:lnTo>
                <a:lnTo>
                  <a:pt x="258" y="108"/>
                </a:lnTo>
                <a:lnTo>
                  <a:pt x="258" y="108"/>
                </a:lnTo>
                <a:lnTo>
                  <a:pt x="252" y="108"/>
                </a:lnTo>
                <a:lnTo>
                  <a:pt x="252" y="108"/>
                </a:lnTo>
                <a:lnTo>
                  <a:pt x="252" y="102"/>
                </a:lnTo>
                <a:lnTo>
                  <a:pt x="252" y="102"/>
                </a:lnTo>
                <a:lnTo>
                  <a:pt x="252" y="102"/>
                </a:lnTo>
                <a:lnTo>
                  <a:pt x="252" y="102"/>
                </a:lnTo>
                <a:lnTo>
                  <a:pt x="252" y="108"/>
                </a:lnTo>
                <a:lnTo>
                  <a:pt x="252" y="108"/>
                </a:lnTo>
                <a:lnTo>
                  <a:pt x="252" y="108"/>
                </a:lnTo>
                <a:lnTo>
                  <a:pt x="252" y="108"/>
                </a:lnTo>
                <a:lnTo>
                  <a:pt x="252" y="108"/>
                </a:lnTo>
                <a:lnTo>
                  <a:pt x="246" y="108"/>
                </a:lnTo>
                <a:lnTo>
                  <a:pt x="246" y="108"/>
                </a:lnTo>
                <a:lnTo>
                  <a:pt x="246" y="108"/>
                </a:lnTo>
                <a:lnTo>
                  <a:pt x="246" y="108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52" y="114"/>
                </a:lnTo>
                <a:lnTo>
                  <a:pt x="246" y="120"/>
                </a:lnTo>
                <a:lnTo>
                  <a:pt x="246" y="120"/>
                </a:lnTo>
                <a:lnTo>
                  <a:pt x="252" y="120"/>
                </a:lnTo>
                <a:lnTo>
                  <a:pt x="252" y="120"/>
                </a:lnTo>
                <a:lnTo>
                  <a:pt x="252" y="120"/>
                </a:lnTo>
                <a:lnTo>
                  <a:pt x="252" y="120"/>
                </a:lnTo>
                <a:lnTo>
                  <a:pt x="246" y="120"/>
                </a:lnTo>
                <a:lnTo>
                  <a:pt x="246" y="120"/>
                </a:lnTo>
                <a:lnTo>
                  <a:pt x="240" y="120"/>
                </a:lnTo>
                <a:lnTo>
                  <a:pt x="240" y="120"/>
                </a:lnTo>
                <a:lnTo>
                  <a:pt x="240" y="114"/>
                </a:lnTo>
                <a:lnTo>
                  <a:pt x="240" y="114"/>
                </a:lnTo>
                <a:lnTo>
                  <a:pt x="240" y="114"/>
                </a:lnTo>
                <a:lnTo>
                  <a:pt x="240" y="114"/>
                </a:lnTo>
                <a:lnTo>
                  <a:pt x="234" y="114"/>
                </a:lnTo>
                <a:lnTo>
                  <a:pt x="240" y="108"/>
                </a:lnTo>
                <a:lnTo>
                  <a:pt x="240" y="108"/>
                </a:lnTo>
                <a:lnTo>
                  <a:pt x="240" y="102"/>
                </a:lnTo>
                <a:lnTo>
                  <a:pt x="240" y="102"/>
                </a:lnTo>
                <a:lnTo>
                  <a:pt x="240" y="102"/>
                </a:lnTo>
                <a:lnTo>
                  <a:pt x="240" y="102"/>
                </a:lnTo>
                <a:lnTo>
                  <a:pt x="240" y="102"/>
                </a:lnTo>
                <a:lnTo>
                  <a:pt x="240" y="102"/>
                </a:lnTo>
                <a:lnTo>
                  <a:pt x="240" y="96"/>
                </a:lnTo>
                <a:lnTo>
                  <a:pt x="240" y="96"/>
                </a:lnTo>
                <a:lnTo>
                  <a:pt x="234" y="96"/>
                </a:lnTo>
                <a:lnTo>
                  <a:pt x="234" y="96"/>
                </a:lnTo>
                <a:lnTo>
                  <a:pt x="240" y="96"/>
                </a:lnTo>
                <a:lnTo>
                  <a:pt x="234" y="96"/>
                </a:lnTo>
                <a:lnTo>
                  <a:pt x="234" y="96"/>
                </a:lnTo>
                <a:lnTo>
                  <a:pt x="234" y="96"/>
                </a:lnTo>
                <a:lnTo>
                  <a:pt x="234" y="96"/>
                </a:lnTo>
                <a:lnTo>
                  <a:pt x="234" y="96"/>
                </a:lnTo>
                <a:lnTo>
                  <a:pt x="234" y="96"/>
                </a:lnTo>
                <a:lnTo>
                  <a:pt x="234" y="96"/>
                </a:lnTo>
                <a:lnTo>
                  <a:pt x="234" y="90"/>
                </a:lnTo>
                <a:lnTo>
                  <a:pt x="234" y="90"/>
                </a:lnTo>
                <a:lnTo>
                  <a:pt x="234" y="90"/>
                </a:lnTo>
                <a:lnTo>
                  <a:pt x="228" y="90"/>
                </a:lnTo>
                <a:lnTo>
                  <a:pt x="228" y="90"/>
                </a:lnTo>
                <a:lnTo>
                  <a:pt x="228" y="90"/>
                </a:lnTo>
                <a:lnTo>
                  <a:pt x="228" y="90"/>
                </a:lnTo>
                <a:lnTo>
                  <a:pt x="228" y="90"/>
                </a:lnTo>
                <a:lnTo>
                  <a:pt x="228" y="90"/>
                </a:lnTo>
                <a:lnTo>
                  <a:pt x="228" y="90"/>
                </a:lnTo>
                <a:lnTo>
                  <a:pt x="228" y="90"/>
                </a:lnTo>
                <a:lnTo>
                  <a:pt x="228" y="90"/>
                </a:lnTo>
                <a:lnTo>
                  <a:pt x="228" y="90"/>
                </a:lnTo>
                <a:lnTo>
                  <a:pt x="228" y="90"/>
                </a:lnTo>
                <a:lnTo>
                  <a:pt x="228" y="90"/>
                </a:lnTo>
                <a:lnTo>
                  <a:pt x="228" y="90"/>
                </a:lnTo>
                <a:lnTo>
                  <a:pt x="228" y="90"/>
                </a:lnTo>
                <a:lnTo>
                  <a:pt x="228" y="90"/>
                </a:lnTo>
                <a:lnTo>
                  <a:pt x="222" y="90"/>
                </a:lnTo>
                <a:lnTo>
                  <a:pt x="222" y="90"/>
                </a:lnTo>
                <a:lnTo>
                  <a:pt x="222" y="90"/>
                </a:lnTo>
                <a:lnTo>
                  <a:pt x="222" y="90"/>
                </a:lnTo>
                <a:lnTo>
                  <a:pt x="222" y="90"/>
                </a:lnTo>
                <a:lnTo>
                  <a:pt x="222" y="90"/>
                </a:lnTo>
                <a:lnTo>
                  <a:pt x="222" y="90"/>
                </a:lnTo>
                <a:lnTo>
                  <a:pt x="222" y="90"/>
                </a:lnTo>
                <a:lnTo>
                  <a:pt x="222" y="90"/>
                </a:lnTo>
                <a:lnTo>
                  <a:pt x="216" y="90"/>
                </a:lnTo>
                <a:lnTo>
                  <a:pt x="216" y="90"/>
                </a:lnTo>
                <a:lnTo>
                  <a:pt x="216" y="96"/>
                </a:lnTo>
                <a:lnTo>
                  <a:pt x="216" y="96"/>
                </a:lnTo>
                <a:lnTo>
                  <a:pt x="216" y="96"/>
                </a:lnTo>
                <a:lnTo>
                  <a:pt x="216" y="96"/>
                </a:lnTo>
                <a:lnTo>
                  <a:pt x="216" y="96"/>
                </a:lnTo>
                <a:lnTo>
                  <a:pt x="216" y="96"/>
                </a:lnTo>
                <a:lnTo>
                  <a:pt x="210" y="96"/>
                </a:lnTo>
                <a:lnTo>
                  <a:pt x="216" y="96"/>
                </a:lnTo>
                <a:lnTo>
                  <a:pt x="210" y="96"/>
                </a:lnTo>
                <a:lnTo>
                  <a:pt x="210" y="96"/>
                </a:lnTo>
                <a:lnTo>
                  <a:pt x="210" y="96"/>
                </a:lnTo>
                <a:lnTo>
                  <a:pt x="210" y="96"/>
                </a:lnTo>
                <a:lnTo>
                  <a:pt x="204" y="96"/>
                </a:lnTo>
                <a:lnTo>
                  <a:pt x="204" y="96"/>
                </a:lnTo>
                <a:lnTo>
                  <a:pt x="204" y="96"/>
                </a:lnTo>
                <a:lnTo>
                  <a:pt x="204" y="96"/>
                </a:lnTo>
                <a:lnTo>
                  <a:pt x="204" y="96"/>
                </a:lnTo>
                <a:lnTo>
                  <a:pt x="198" y="96"/>
                </a:lnTo>
                <a:lnTo>
                  <a:pt x="198" y="102"/>
                </a:lnTo>
                <a:lnTo>
                  <a:pt x="198" y="96"/>
                </a:lnTo>
                <a:lnTo>
                  <a:pt x="198" y="102"/>
                </a:lnTo>
                <a:lnTo>
                  <a:pt x="198" y="96"/>
                </a:lnTo>
                <a:lnTo>
                  <a:pt x="198" y="96"/>
                </a:lnTo>
                <a:lnTo>
                  <a:pt x="198" y="96"/>
                </a:lnTo>
                <a:lnTo>
                  <a:pt x="198" y="96"/>
                </a:lnTo>
                <a:lnTo>
                  <a:pt x="198" y="96"/>
                </a:lnTo>
                <a:lnTo>
                  <a:pt x="198" y="96"/>
                </a:lnTo>
                <a:lnTo>
                  <a:pt x="198" y="96"/>
                </a:lnTo>
                <a:lnTo>
                  <a:pt x="198" y="96"/>
                </a:lnTo>
                <a:lnTo>
                  <a:pt x="198" y="96"/>
                </a:lnTo>
                <a:lnTo>
                  <a:pt x="192" y="96"/>
                </a:lnTo>
                <a:lnTo>
                  <a:pt x="192" y="96"/>
                </a:lnTo>
                <a:lnTo>
                  <a:pt x="192" y="102"/>
                </a:lnTo>
                <a:lnTo>
                  <a:pt x="192" y="102"/>
                </a:lnTo>
                <a:lnTo>
                  <a:pt x="192" y="102"/>
                </a:lnTo>
                <a:lnTo>
                  <a:pt x="192" y="102"/>
                </a:lnTo>
                <a:lnTo>
                  <a:pt x="192" y="102"/>
                </a:lnTo>
                <a:lnTo>
                  <a:pt x="192" y="102"/>
                </a:lnTo>
                <a:lnTo>
                  <a:pt x="192" y="102"/>
                </a:lnTo>
                <a:lnTo>
                  <a:pt x="192" y="102"/>
                </a:lnTo>
                <a:lnTo>
                  <a:pt x="186" y="102"/>
                </a:lnTo>
                <a:lnTo>
                  <a:pt x="186" y="102"/>
                </a:lnTo>
                <a:lnTo>
                  <a:pt x="186" y="102"/>
                </a:lnTo>
                <a:lnTo>
                  <a:pt x="186" y="108"/>
                </a:lnTo>
                <a:lnTo>
                  <a:pt x="186" y="108"/>
                </a:lnTo>
                <a:lnTo>
                  <a:pt x="186" y="108"/>
                </a:lnTo>
                <a:lnTo>
                  <a:pt x="186" y="102"/>
                </a:lnTo>
                <a:lnTo>
                  <a:pt x="186" y="102"/>
                </a:lnTo>
                <a:lnTo>
                  <a:pt x="186" y="102"/>
                </a:lnTo>
                <a:lnTo>
                  <a:pt x="186" y="108"/>
                </a:lnTo>
                <a:lnTo>
                  <a:pt x="180" y="108"/>
                </a:lnTo>
                <a:lnTo>
                  <a:pt x="180" y="108"/>
                </a:lnTo>
                <a:lnTo>
                  <a:pt x="180" y="108"/>
                </a:lnTo>
                <a:lnTo>
                  <a:pt x="180" y="108"/>
                </a:lnTo>
                <a:lnTo>
                  <a:pt x="180" y="102"/>
                </a:lnTo>
                <a:lnTo>
                  <a:pt x="180" y="102"/>
                </a:lnTo>
                <a:lnTo>
                  <a:pt x="180" y="102"/>
                </a:lnTo>
                <a:lnTo>
                  <a:pt x="180" y="108"/>
                </a:lnTo>
                <a:lnTo>
                  <a:pt x="180" y="108"/>
                </a:lnTo>
                <a:lnTo>
                  <a:pt x="180" y="108"/>
                </a:lnTo>
                <a:lnTo>
                  <a:pt x="174" y="108"/>
                </a:lnTo>
                <a:lnTo>
                  <a:pt x="174" y="108"/>
                </a:lnTo>
                <a:lnTo>
                  <a:pt x="174" y="108"/>
                </a:lnTo>
                <a:lnTo>
                  <a:pt x="174" y="108"/>
                </a:lnTo>
                <a:lnTo>
                  <a:pt x="174" y="102"/>
                </a:lnTo>
                <a:lnTo>
                  <a:pt x="174" y="102"/>
                </a:lnTo>
                <a:lnTo>
                  <a:pt x="174" y="102"/>
                </a:lnTo>
                <a:lnTo>
                  <a:pt x="174" y="102"/>
                </a:lnTo>
                <a:lnTo>
                  <a:pt x="174" y="102"/>
                </a:lnTo>
                <a:lnTo>
                  <a:pt x="174" y="102"/>
                </a:lnTo>
                <a:lnTo>
                  <a:pt x="174" y="102"/>
                </a:lnTo>
                <a:lnTo>
                  <a:pt x="174" y="102"/>
                </a:lnTo>
                <a:lnTo>
                  <a:pt x="174" y="102"/>
                </a:lnTo>
                <a:lnTo>
                  <a:pt x="168" y="96"/>
                </a:lnTo>
                <a:lnTo>
                  <a:pt x="168" y="96"/>
                </a:lnTo>
                <a:lnTo>
                  <a:pt x="168" y="96"/>
                </a:lnTo>
                <a:lnTo>
                  <a:pt x="162" y="96"/>
                </a:lnTo>
                <a:lnTo>
                  <a:pt x="162" y="96"/>
                </a:lnTo>
                <a:lnTo>
                  <a:pt x="162" y="96"/>
                </a:lnTo>
                <a:lnTo>
                  <a:pt x="162" y="102"/>
                </a:lnTo>
                <a:lnTo>
                  <a:pt x="162" y="96"/>
                </a:lnTo>
                <a:lnTo>
                  <a:pt x="162" y="96"/>
                </a:lnTo>
                <a:lnTo>
                  <a:pt x="162" y="96"/>
                </a:lnTo>
                <a:lnTo>
                  <a:pt x="162" y="96"/>
                </a:lnTo>
                <a:lnTo>
                  <a:pt x="162" y="102"/>
                </a:lnTo>
                <a:lnTo>
                  <a:pt x="156" y="102"/>
                </a:lnTo>
                <a:lnTo>
                  <a:pt x="156" y="102"/>
                </a:lnTo>
                <a:lnTo>
                  <a:pt x="156" y="96"/>
                </a:lnTo>
                <a:lnTo>
                  <a:pt x="156" y="96"/>
                </a:lnTo>
                <a:lnTo>
                  <a:pt x="150" y="96"/>
                </a:lnTo>
                <a:lnTo>
                  <a:pt x="150" y="102"/>
                </a:lnTo>
                <a:lnTo>
                  <a:pt x="150" y="102"/>
                </a:lnTo>
                <a:lnTo>
                  <a:pt x="150" y="102"/>
                </a:lnTo>
                <a:lnTo>
                  <a:pt x="150" y="102"/>
                </a:lnTo>
                <a:lnTo>
                  <a:pt x="144" y="102"/>
                </a:lnTo>
                <a:lnTo>
                  <a:pt x="150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2" y="96"/>
                </a:lnTo>
                <a:lnTo>
                  <a:pt x="132" y="96"/>
                </a:lnTo>
                <a:lnTo>
                  <a:pt x="132" y="96"/>
                </a:lnTo>
                <a:lnTo>
                  <a:pt x="132" y="96"/>
                </a:lnTo>
                <a:lnTo>
                  <a:pt x="138" y="96"/>
                </a:lnTo>
                <a:lnTo>
                  <a:pt x="138" y="96"/>
                </a:lnTo>
                <a:lnTo>
                  <a:pt x="132" y="90"/>
                </a:lnTo>
                <a:lnTo>
                  <a:pt x="132" y="90"/>
                </a:lnTo>
                <a:lnTo>
                  <a:pt x="132" y="90"/>
                </a:lnTo>
                <a:lnTo>
                  <a:pt x="132" y="90"/>
                </a:lnTo>
                <a:lnTo>
                  <a:pt x="138" y="90"/>
                </a:lnTo>
                <a:lnTo>
                  <a:pt x="138" y="90"/>
                </a:lnTo>
                <a:lnTo>
                  <a:pt x="138" y="90"/>
                </a:lnTo>
                <a:lnTo>
                  <a:pt x="138" y="90"/>
                </a:lnTo>
                <a:lnTo>
                  <a:pt x="132" y="84"/>
                </a:lnTo>
                <a:lnTo>
                  <a:pt x="132" y="84"/>
                </a:lnTo>
                <a:lnTo>
                  <a:pt x="132" y="84"/>
                </a:lnTo>
                <a:lnTo>
                  <a:pt x="132" y="84"/>
                </a:lnTo>
                <a:lnTo>
                  <a:pt x="132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90"/>
                </a:lnTo>
                <a:lnTo>
                  <a:pt x="126" y="90"/>
                </a:lnTo>
                <a:lnTo>
                  <a:pt x="126" y="90"/>
                </a:lnTo>
                <a:lnTo>
                  <a:pt x="126" y="90"/>
                </a:lnTo>
                <a:lnTo>
                  <a:pt x="126" y="90"/>
                </a:lnTo>
                <a:lnTo>
                  <a:pt x="126" y="90"/>
                </a:lnTo>
                <a:lnTo>
                  <a:pt x="126" y="90"/>
                </a:lnTo>
                <a:lnTo>
                  <a:pt x="126" y="90"/>
                </a:lnTo>
                <a:lnTo>
                  <a:pt x="126" y="90"/>
                </a:lnTo>
                <a:lnTo>
                  <a:pt x="126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14" y="84"/>
                </a:lnTo>
                <a:lnTo>
                  <a:pt x="114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2" y="84"/>
                </a:lnTo>
                <a:lnTo>
                  <a:pt x="78" y="84"/>
                </a:lnTo>
                <a:lnTo>
                  <a:pt x="72" y="84"/>
                </a:lnTo>
                <a:lnTo>
                  <a:pt x="72" y="84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66"/>
                </a:lnTo>
                <a:lnTo>
                  <a:pt x="42" y="72"/>
                </a:lnTo>
                <a:lnTo>
                  <a:pt x="42" y="72"/>
                </a:lnTo>
                <a:lnTo>
                  <a:pt x="42" y="72"/>
                </a:lnTo>
                <a:lnTo>
                  <a:pt x="42" y="66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0"/>
                </a:lnTo>
                <a:lnTo>
                  <a:pt x="36" y="60"/>
                </a:lnTo>
                <a:lnTo>
                  <a:pt x="30" y="60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24"/>
                </a:lnTo>
                <a:lnTo>
                  <a:pt x="12" y="24"/>
                </a:lnTo>
                <a:lnTo>
                  <a:pt x="12" y="24"/>
                </a:lnTo>
                <a:lnTo>
                  <a:pt x="18" y="24"/>
                </a:lnTo>
                <a:lnTo>
                  <a:pt x="18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6" y="18"/>
                </a:lnTo>
                <a:lnTo>
                  <a:pt x="6" y="18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0" y="6"/>
                </a:lnTo>
                <a:lnTo>
                  <a:pt x="0" y="12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59" name="Freeform 492"/>
          <p:cNvSpPr>
            <a:spLocks/>
          </p:cNvSpPr>
          <p:nvPr/>
        </p:nvSpPr>
        <p:spPr bwMode="auto">
          <a:xfrm>
            <a:off x="5836854" y="5272069"/>
            <a:ext cx="334051" cy="199147"/>
          </a:xfrm>
          <a:custGeom>
            <a:avLst/>
            <a:gdLst>
              <a:gd name="T0" fmla="*/ 12 w 312"/>
              <a:gd name="T1" fmla="*/ 78 h 186"/>
              <a:gd name="T2" fmla="*/ 42 w 312"/>
              <a:gd name="T3" fmla="*/ 66 h 186"/>
              <a:gd name="T4" fmla="*/ 66 w 312"/>
              <a:gd name="T5" fmla="*/ 66 h 186"/>
              <a:gd name="T6" fmla="*/ 78 w 312"/>
              <a:gd name="T7" fmla="*/ 60 h 186"/>
              <a:gd name="T8" fmla="*/ 78 w 312"/>
              <a:gd name="T9" fmla="*/ 48 h 186"/>
              <a:gd name="T10" fmla="*/ 78 w 312"/>
              <a:gd name="T11" fmla="*/ 42 h 186"/>
              <a:gd name="T12" fmla="*/ 78 w 312"/>
              <a:gd name="T13" fmla="*/ 30 h 186"/>
              <a:gd name="T14" fmla="*/ 84 w 312"/>
              <a:gd name="T15" fmla="*/ 30 h 186"/>
              <a:gd name="T16" fmla="*/ 102 w 312"/>
              <a:gd name="T17" fmla="*/ 30 h 186"/>
              <a:gd name="T18" fmla="*/ 108 w 312"/>
              <a:gd name="T19" fmla="*/ 24 h 186"/>
              <a:gd name="T20" fmla="*/ 132 w 312"/>
              <a:gd name="T21" fmla="*/ 24 h 186"/>
              <a:gd name="T22" fmla="*/ 150 w 312"/>
              <a:gd name="T23" fmla="*/ 18 h 186"/>
              <a:gd name="T24" fmla="*/ 156 w 312"/>
              <a:gd name="T25" fmla="*/ 30 h 186"/>
              <a:gd name="T26" fmla="*/ 174 w 312"/>
              <a:gd name="T27" fmla="*/ 24 h 186"/>
              <a:gd name="T28" fmla="*/ 192 w 312"/>
              <a:gd name="T29" fmla="*/ 24 h 186"/>
              <a:gd name="T30" fmla="*/ 204 w 312"/>
              <a:gd name="T31" fmla="*/ 18 h 186"/>
              <a:gd name="T32" fmla="*/ 216 w 312"/>
              <a:gd name="T33" fmla="*/ 12 h 186"/>
              <a:gd name="T34" fmla="*/ 228 w 312"/>
              <a:gd name="T35" fmla="*/ 6 h 186"/>
              <a:gd name="T36" fmla="*/ 246 w 312"/>
              <a:gd name="T37" fmla="*/ 6 h 186"/>
              <a:gd name="T38" fmla="*/ 264 w 312"/>
              <a:gd name="T39" fmla="*/ 0 h 186"/>
              <a:gd name="T40" fmla="*/ 276 w 312"/>
              <a:gd name="T41" fmla="*/ 0 h 186"/>
              <a:gd name="T42" fmla="*/ 294 w 312"/>
              <a:gd name="T43" fmla="*/ 6 h 186"/>
              <a:gd name="T44" fmla="*/ 312 w 312"/>
              <a:gd name="T45" fmla="*/ 12 h 186"/>
              <a:gd name="T46" fmla="*/ 306 w 312"/>
              <a:gd name="T47" fmla="*/ 24 h 186"/>
              <a:gd name="T48" fmla="*/ 300 w 312"/>
              <a:gd name="T49" fmla="*/ 36 h 186"/>
              <a:gd name="T50" fmla="*/ 294 w 312"/>
              <a:gd name="T51" fmla="*/ 48 h 186"/>
              <a:gd name="T52" fmla="*/ 300 w 312"/>
              <a:gd name="T53" fmla="*/ 54 h 186"/>
              <a:gd name="T54" fmla="*/ 306 w 312"/>
              <a:gd name="T55" fmla="*/ 66 h 186"/>
              <a:gd name="T56" fmla="*/ 312 w 312"/>
              <a:gd name="T57" fmla="*/ 78 h 186"/>
              <a:gd name="T58" fmla="*/ 300 w 312"/>
              <a:gd name="T59" fmla="*/ 90 h 186"/>
              <a:gd name="T60" fmla="*/ 276 w 312"/>
              <a:gd name="T61" fmla="*/ 102 h 186"/>
              <a:gd name="T62" fmla="*/ 264 w 312"/>
              <a:gd name="T63" fmla="*/ 108 h 186"/>
              <a:gd name="T64" fmla="*/ 252 w 312"/>
              <a:gd name="T65" fmla="*/ 108 h 186"/>
              <a:gd name="T66" fmla="*/ 240 w 312"/>
              <a:gd name="T67" fmla="*/ 96 h 186"/>
              <a:gd name="T68" fmla="*/ 228 w 312"/>
              <a:gd name="T69" fmla="*/ 90 h 186"/>
              <a:gd name="T70" fmla="*/ 210 w 312"/>
              <a:gd name="T71" fmla="*/ 90 h 186"/>
              <a:gd name="T72" fmla="*/ 204 w 312"/>
              <a:gd name="T73" fmla="*/ 90 h 186"/>
              <a:gd name="T74" fmla="*/ 192 w 312"/>
              <a:gd name="T75" fmla="*/ 102 h 186"/>
              <a:gd name="T76" fmla="*/ 162 w 312"/>
              <a:gd name="T77" fmla="*/ 108 h 186"/>
              <a:gd name="T78" fmla="*/ 162 w 312"/>
              <a:gd name="T79" fmla="*/ 120 h 186"/>
              <a:gd name="T80" fmla="*/ 156 w 312"/>
              <a:gd name="T81" fmla="*/ 132 h 186"/>
              <a:gd name="T82" fmla="*/ 150 w 312"/>
              <a:gd name="T83" fmla="*/ 144 h 186"/>
              <a:gd name="T84" fmla="*/ 156 w 312"/>
              <a:gd name="T85" fmla="*/ 168 h 186"/>
              <a:gd name="T86" fmla="*/ 150 w 312"/>
              <a:gd name="T87" fmla="*/ 186 h 186"/>
              <a:gd name="T88" fmla="*/ 144 w 312"/>
              <a:gd name="T89" fmla="*/ 180 h 186"/>
              <a:gd name="T90" fmla="*/ 132 w 312"/>
              <a:gd name="T91" fmla="*/ 168 h 186"/>
              <a:gd name="T92" fmla="*/ 126 w 312"/>
              <a:gd name="T93" fmla="*/ 162 h 186"/>
              <a:gd name="T94" fmla="*/ 120 w 312"/>
              <a:gd name="T95" fmla="*/ 150 h 186"/>
              <a:gd name="T96" fmla="*/ 114 w 312"/>
              <a:gd name="T97" fmla="*/ 144 h 186"/>
              <a:gd name="T98" fmla="*/ 108 w 312"/>
              <a:gd name="T99" fmla="*/ 138 h 186"/>
              <a:gd name="T100" fmla="*/ 96 w 312"/>
              <a:gd name="T101" fmla="*/ 132 h 186"/>
              <a:gd name="T102" fmla="*/ 84 w 312"/>
              <a:gd name="T103" fmla="*/ 120 h 186"/>
              <a:gd name="T104" fmla="*/ 78 w 312"/>
              <a:gd name="T105" fmla="*/ 132 h 186"/>
              <a:gd name="T106" fmla="*/ 78 w 312"/>
              <a:gd name="T107" fmla="*/ 138 h 186"/>
              <a:gd name="T108" fmla="*/ 66 w 312"/>
              <a:gd name="T109" fmla="*/ 144 h 186"/>
              <a:gd name="T110" fmla="*/ 54 w 312"/>
              <a:gd name="T111" fmla="*/ 150 h 186"/>
              <a:gd name="T112" fmla="*/ 36 w 312"/>
              <a:gd name="T113" fmla="*/ 156 h 186"/>
              <a:gd name="T114" fmla="*/ 36 w 312"/>
              <a:gd name="T115" fmla="*/ 132 h 186"/>
              <a:gd name="T116" fmla="*/ 30 w 312"/>
              <a:gd name="T117" fmla="*/ 114 h 186"/>
              <a:gd name="T118" fmla="*/ 24 w 312"/>
              <a:gd name="T119" fmla="*/ 108 h 186"/>
              <a:gd name="T120" fmla="*/ 18 w 312"/>
              <a:gd name="T121" fmla="*/ 102 h 186"/>
              <a:gd name="T122" fmla="*/ 6 w 312"/>
              <a:gd name="T123" fmla="*/ 90 h 186"/>
              <a:gd name="T124" fmla="*/ 0 w 312"/>
              <a:gd name="T125" fmla="*/ 84 h 1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12" h="186">
                <a:moveTo>
                  <a:pt x="0" y="84"/>
                </a:moveTo>
                <a:lnTo>
                  <a:pt x="0" y="84"/>
                </a:lnTo>
                <a:lnTo>
                  <a:pt x="0" y="84"/>
                </a:lnTo>
                <a:lnTo>
                  <a:pt x="0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12" y="78"/>
                </a:lnTo>
                <a:lnTo>
                  <a:pt x="12" y="78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24" y="72"/>
                </a:lnTo>
                <a:lnTo>
                  <a:pt x="24" y="72"/>
                </a:lnTo>
                <a:lnTo>
                  <a:pt x="30" y="72"/>
                </a:lnTo>
                <a:lnTo>
                  <a:pt x="30" y="72"/>
                </a:lnTo>
                <a:lnTo>
                  <a:pt x="42" y="66"/>
                </a:lnTo>
                <a:lnTo>
                  <a:pt x="48" y="66"/>
                </a:lnTo>
                <a:lnTo>
                  <a:pt x="48" y="66"/>
                </a:lnTo>
                <a:lnTo>
                  <a:pt x="54" y="66"/>
                </a:lnTo>
                <a:lnTo>
                  <a:pt x="54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8" y="66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2"/>
                </a:lnTo>
                <a:lnTo>
                  <a:pt x="78" y="48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78" y="42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84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84" y="36"/>
                </a:lnTo>
                <a:lnTo>
                  <a:pt x="78" y="30"/>
                </a:lnTo>
                <a:lnTo>
                  <a:pt x="78" y="30"/>
                </a:lnTo>
                <a:lnTo>
                  <a:pt x="84" y="30"/>
                </a:lnTo>
                <a:lnTo>
                  <a:pt x="84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90" y="30"/>
                </a:lnTo>
                <a:lnTo>
                  <a:pt x="90" y="30"/>
                </a:lnTo>
                <a:lnTo>
                  <a:pt x="96" y="30"/>
                </a:lnTo>
                <a:lnTo>
                  <a:pt x="96" y="36"/>
                </a:lnTo>
                <a:lnTo>
                  <a:pt x="96" y="36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24"/>
                </a:lnTo>
                <a:lnTo>
                  <a:pt x="102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14" y="24"/>
                </a:lnTo>
                <a:lnTo>
                  <a:pt x="114" y="24"/>
                </a:lnTo>
                <a:lnTo>
                  <a:pt x="120" y="24"/>
                </a:lnTo>
                <a:lnTo>
                  <a:pt x="120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6" y="18"/>
                </a:lnTo>
                <a:lnTo>
                  <a:pt x="156" y="18"/>
                </a:lnTo>
                <a:lnTo>
                  <a:pt x="150" y="18"/>
                </a:lnTo>
                <a:lnTo>
                  <a:pt x="150" y="18"/>
                </a:lnTo>
                <a:lnTo>
                  <a:pt x="156" y="24"/>
                </a:lnTo>
                <a:lnTo>
                  <a:pt x="156" y="24"/>
                </a:lnTo>
                <a:lnTo>
                  <a:pt x="156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30"/>
                </a:lnTo>
                <a:lnTo>
                  <a:pt x="162" y="30"/>
                </a:lnTo>
                <a:lnTo>
                  <a:pt x="168" y="30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74" y="24"/>
                </a:lnTo>
                <a:lnTo>
                  <a:pt x="174" y="24"/>
                </a:lnTo>
                <a:lnTo>
                  <a:pt x="174" y="24"/>
                </a:lnTo>
                <a:lnTo>
                  <a:pt x="174" y="18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92" y="24"/>
                </a:lnTo>
                <a:lnTo>
                  <a:pt x="192" y="24"/>
                </a:lnTo>
                <a:lnTo>
                  <a:pt x="192" y="24"/>
                </a:lnTo>
                <a:lnTo>
                  <a:pt x="192" y="24"/>
                </a:lnTo>
                <a:lnTo>
                  <a:pt x="192" y="24"/>
                </a:lnTo>
                <a:lnTo>
                  <a:pt x="198" y="24"/>
                </a:lnTo>
                <a:lnTo>
                  <a:pt x="198" y="18"/>
                </a:lnTo>
                <a:lnTo>
                  <a:pt x="198" y="18"/>
                </a:lnTo>
                <a:lnTo>
                  <a:pt x="198" y="18"/>
                </a:lnTo>
                <a:lnTo>
                  <a:pt x="198" y="12"/>
                </a:lnTo>
                <a:lnTo>
                  <a:pt x="198" y="18"/>
                </a:lnTo>
                <a:lnTo>
                  <a:pt x="198" y="18"/>
                </a:lnTo>
                <a:lnTo>
                  <a:pt x="204" y="18"/>
                </a:lnTo>
                <a:lnTo>
                  <a:pt x="204" y="18"/>
                </a:lnTo>
                <a:lnTo>
                  <a:pt x="204" y="18"/>
                </a:lnTo>
                <a:lnTo>
                  <a:pt x="204" y="18"/>
                </a:lnTo>
                <a:lnTo>
                  <a:pt x="204" y="18"/>
                </a:lnTo>
                <a:lnTo>
                  <a:pt x="204" y="18"/>
                </a:lnTo>
                <a:lnTo>
                  <a:pt x="204" y="18"/>
                </a:lnTo>
                <a:lnTo>
                  <a:pt x="204" y="18"/>
                </a:lnTo>
                <a:lnTo>
                  <a:pt x="210" y="18"/>
                </a:lnTo>
                <a:lnTo>
                  <a:pt x="210" y="18"/>
                </a:lnTo>
                <a:lnTo>
                  <a:pt x="210" y="18"/>
                </a:lnTo>
                <a:lnTo>
                  <a:pt x="210" y="18"/>
                </a:lnTo>
                <a:lnTo>
                  <a:pt x="216" y="18"/>
                </a:lnTo>
                <a:lnTo>
                  <a:pt x="210" y="12"/>
                </a:lnTo>
                <a:lnTo>
                  <a:pt x="216" y="12"/>
                </a:lnTo>
                <a:lnTo>
                  <a:pt x="216" y="12"/>
                </a:lnTo>
                <a:lnTo>
                  <a:pt x="216" y="12"/>
                </a:lnTo>
                <a:lnTo>
                  <a:pt x="216" y="12"/>
                </a:lnTo>
                <a:lnTo>
                  <a:pt x="216" y="12"/>
                </a:lnTo>
                <a:lnTo>
                  <a:pt x="216" y="12"/>
                </a:lnTo>
                <a:lnTo>
                  <a:pt x="216" y="12"/>
                </a:lnTo>
                <a:lnTo>
                  <a:pt x="216" y="12"/>
                </a:lnTo>
                <a:lnTo>
                  <a:pt x="222" y="12"/>
                </a:lnTo>
                <a:lnTo>
                  <a:pt x="222" y="6"/>
                </a:lnTo>
                <a:lnTo>
                  <a:pt x="222" y="6"/>
                </a:lnTo>
                <a:lnTo>
                  <a:pt x="222" y="6"/>
                </a:lnTo>
                <a:lnTo>
                  <a:pt x="222" y="6"/>
                </a:lnTo>
                <a:lnTo>
                  <a:pt x="222" y="6"/>
                </a:lnTo>
                <a:lnTo>
                  <a:pt x="228" y="6"/>
                </a:lnTo>
                <a:lnTo>
                  <a:pt x="228" y="6"/>
                </a:lnTo>
                <a:lnTo>
                  <a:pt x="228" y="6"/>
                </a:lnTo>
                <a:lnTo>
                  <a:pt x="228" y="6"/>
                </a:lnTo>
                <a:lnTo>
                  <a:pt x="228" y="6"/>
                </a:lnTo>
                <a:lnTo>
                  <a:pt x="234" y="6"/>
                </a:lnTo>
                <a:lnTo>
                  <a:pt x="234" y="6"/>
                </a:lnTo>
                <a:lnTo>
                  <a:pt x="234" y="6"/>
                </a:lnTo>
                <a:lnTo>
                  <a:pt x="240" y="6"/>
                </a:lnTo>
                <a:lnTo>
                  <a:pt x="240" y="6"/>
                </a:lnTo>
                <a:lnTo>
                  <a:pt x="246" y="6"/>
                </a:lnTo>
                <a:lnTo>
                  <a:pt x="246" y="6"/>
                </a:lnTo>
                <a:lnTo>
                  <a:pt x="246" y="6"/>
                </a:lnTo>
                <a:lnTo>
                  <a:pt x="246" y="6"/>
                </a:lnTo>
                <a:lnTo>
                  <a:pt x="252" y="6"/>
                </a:lnTo>
                <a:lnTo>
                  <a:pt x="252" y="0"/>
                </a:lnTo>
                <a:lnTo>
                  <a:pt x="252" y="6"/>
                </a:lnTo>
                <a:lnTo>
                  <a:pt x="252" y="0"/>
                </a:lnTo>
                <a:lnTo>
                  <a:pt x="252" y="0"/>
                </a:lnTo>
                <a:lnTo>
                  <a:pt x="258" y="0"/>
                </a:lnTo>
                <a:lnTo>
                  <a:pt x="258" y="6"/>
                </a:lnTo>
                <a:lnTo>
                  <a:pt x="258" y="6"/>
                </a:lnTo>
                <a:lnTo>
                  <a:pt x="258" y="0"/>
                </a:lnTo>
                <a:lnTo>
                  <a:pt x="258" y="0"/>
                </a:lnTo>
                <a:lnTo>
                  <a:pt x="264" y="0"/>
                </a:lnTo>
                <a:lnTo>
                  <a:pt x="264" y="0"/>
                </a:lnTo>
                <a:lnTo>
                  <a:pt x="264" y="0"/>
                </a:lnTo>
                <a:lnTo>
                  <a:pt x="264" y="0"/>
                </a:lnTo>
                <a:lnTo>
                  <a:pt x="264" y="0"/>
                </a:lnTo>
                <a:lnTo>
                  <a:pt x="270" y="0"/>
                </a:lnTo>
                <a:lnTo>
                  <a:pt x="270" y="0"/>
                </a:lnTo>
                <a:lnTo>
                  <a:pt x="270" y="0"/>
                </a:lnTo>
                <a:lnTo>
                  <a:pt x="270" y="6"/>
                </a:lnTo>
                <a:lnTo>
                  <a:pt x="270" y="6"/>
                </a:lnTo>
                <a:lnTo>
                  <a:pt x="270" y="0"/>
                </a:lnTo>
                <a:lnTo>
                  <a:pt x="276" y="6"/>
                </a:lnTo>
                <a:lnTo>
                  <a:pt x="276" y="0"/>
                </a:lnTo>
                <a:lnTo>
                  <a:pt x="282" y="0"/>
                </a:lnTo>
                <a:lnTo>
                  <a:pt x="282" y="0"/>
                </a:lnTo>
                <a:lnTo>
                  <a:pt x="288" y="0"/>
                </a:lnTo>
                <a:lnTo>
                  <a:pt x="288" y="0"/>
                </a:lnTo>
                <a:lnTo>
                  <a:pt x="288" y="0"/>
                </a:lnTo>
                <a:lnTo>
                  <a:pt x="294" y="0"/>
                </a:lnTo>
                <a:lnTo>
                  <a:pt x="294" y="6"/>
                </a:lnTo>
                <a:lnTo>
                  <a:pt x="294" y="6"/>
                </a:lnTo>
                <a:lnTo>
                  <a:pt x="294" y="6"/>
                </a:lnTo>
                <a:lnTo>
                  <a:pt x="294" y="6"/>
                </a:lnTo>
                <a:lnTo>
                  <a:pt x="294" y="6"/>
                </a:lnTo>
                <a:lnTo>
                  <a:pt x="294" y="6"/>
                </a:lnTo>
                <a:lnTo>
                  <a:pt x="294" y="6"/>
                </a:lnTo>
                <a:lnTo>
                  <a:pt x="294" y="12"/>
                </a:lnTo>
                <a:lnTo>
                  <a:pt x="300" y="12"/>
                </a:lnTo>
                <a:lnTo>
                  <a:pt x="300" y="12"/>
                </a:lnTo>
                <a:lnTo>
                  <a:pt x="300" y="12"/>
                </a:lnTo>
                <a:lnTo>
                  <a:pt x="300" y="12"/>
                </a:lnTo>
                <a:lnTo>
                  <a:pt x="306" y="12"/>
                </a:lnTo>
                <a:lnTo>
                  <a:pt x="306" y="12"/>
                </a:lnTo>
                <a:lnTo>
                  <a:pt x="306" y="12"/>
                </a:lnTo>
                <a:lnTo>
                  <a:pt x="312" y="12"/>
                </a:lnTo>
                <a:lnTo>
                  <a:pt x="312" y="12"/>
                </a:lnTo>
                <a:lnTo>
                  <a:pt x="312" y="12"/>
                </a:lnTo>
                <a:lnTo>
                  <a:pt x="312" y="12"/>
                </a:lnTo>
                <a:lnTo>
                  <a:pt x="312" y="12"/>
                </a:lnTo>
                <a:lnTo>
                  <a:pt x="312" y="12"/>
                </a:lnTo>
                <a:lnTo>
                  <a:pt x="312" y="12"/>
                </a:lnTo>
                <a:lnTo>
                  <a:pt x="312" y="18"/>
                </a:lnTo>
                <a:lnTo>
                  <a:pt x="306" y="18"/>
                </a:lnTo>
                <a:lnTo>
                  <a:pt x="306" y="24"/>
                </a:lnTo>
                <a:lnTo>
                  <a:pt x="306" y="24"/>
                </a:lnTo>
                <a:lnTo>
                  <a:pt x="306" y="24"/>
                </a:lnTo>
                <a:lnTo>
                  <a:pt x="306" y="24"/>
                </a:lnTo>
                <a:lnTo>
                  <a:pt x="306" y="24"/>
                </a:lnTo>
                <a:lnTo>
                  <a:pt x="306" y="24"/>
                </a:lnTo>
                <a:lnTo>
                  <a:pt x="306" y="24"/>
                </a:lnTo>
                <a:lnTo>
                  <a:pt x="306" y="24"/>
                </a:lnTo>
                <a:lnTo>
                  <a:pt x="306" y="30"/>
                </a:lnTo>
                <a:lnTo>
                  <a:pt x="306" y="30"/>
                </a:lnTo>
                <a:lnTo>
                  <a:pt x="300" y="30"/>
                </a:lnTo>
                <a:lnTo>
                  <a:pt x="300" y="30"/>
                </a:lnTo>
                <a:lnTo>
                  <a:pt x="300" y="30"/>
                </a:lnTo>
                <a:lnTo>
                  <a:pt x="300" y="30"/>
                </a:lnTo>
                <a:lnTo>
                  <a:pt x="300" y="30"/>
                </a:lnTo>
                <a:lnTo>
                  <a:pt x="300" y="36"/>
                </a:lnTo>
                <a:lnTo>
                  <a:pt x="300" y="36"/>
                </a:lnTo>
                <a:lnTo>
                  <a:pt x="300" y="36"/>
                </a:lnTo>
                <a:lnTo>
                  <a:pt x="300" y="36"/>
                </a:lnTo>
                <a:lnTo>
                  <a:pt x="300" y="36"/>
                </a:lnTo>
                <a:lnTo>
                  <a:pt x="300" y="36"/>
                </a:lnTo>
                <a:lnTo>
                  <a:pt x="300" y="42"/>
                </a:lnTo>
                <a:lnTo>
                  <a:pt x="300" y="42"/>
                </a:lnTo>
                <a:lnTo>
                  <a:pt x="300" y="42"/>
                </a:lnTo>
                <a:lnTo>
                  <a:pt x="300" y="42"/>
                </a:lnTo>
                <a:lnTo>
                  <a:pt x="300" y="42"/>
                </a:lnTo>
                <a:lnTo>
                  <a:pt x="300" y="42"/>
                </a:lnTo>
                <a:lnTo>
                  <a:pt x="294" y="42"/>
                </a:lnTo>
                <a:lnTo>
                  <a:pt x="294" y="42"/>
                </a:lnTo>
                <a:lnTo>
                  <a:pt x="294" y="48"/>
                </a:lnTo>
                <a:lnTo>
                  <a:pt x="294" y="48"/>
                </a:lnTo>
                <a:lnTo>
                  <a:pt x="294" y="48"/>
                </a:lnTo>
                <a:lnTo>
                  <a:pt x="294" y="48"/>
                </a:lnTo>
                <a:lnTo>
                  <a:pt x="294" y="48"/>
                </a:lnTo>
                <a:lnTo>
                  <a:pt x="294" y="48"/>
                </a:lnTo>
                <a:lnTo>
                  <a:pt x="294" y="48"/>
                </a:lnTo>
                <a:lnTo>
                  <a:pt x="294" y="54"/>
                </a:lnTo>
                <a:lnTo>
                  <a:pt x="300" y="54"/>
                </a:lnTo>
                <a:lnTo>
                  <a:pt x="300" y="54"/>
                </a:lnTo>
                <a:lnTo>
                  <a:pt x="300" y="54"/>
                </a:lnTo>
                <a:lnTo>
                  <a:pt x="300" y="54"/>
                </a:lnTo>
                <a:lnTo>
                  <a:pt x="300" y="54"/>
                </a:lnTo>
                <a:lnTo>
                  <a:pt x="300" y="54"/>
                </a:lnTo>
                <a:lnTo>
                  <a:pt x="300" y="54"/>
                </a:lnTo>
                <a:lnTo>
                  <a:pt x="300" y="60"/>
                </a:lnTo>
                <a:lnTo>
                  <a:pt x="300" y="60"/>
                </a:lnTo>
                <a:lnTo>
                  <a:pt x="300" y="60"/>
                </a:lnTo>
                <a:lnTo>
                  <a:pt x="300" y="60"/>
                </a:lnTo>
                <a:lnTo>
                  <a:pt x="300" y="60"/>
                </a:lnTo>
                <a:lnTo>
                  <a:pt x="300" y="60"/>
                </a:lnTo>
                <a:lnTo>
                  <a:pt x="300" y="60"/>
                </a:lnTo>
                <a:lnTo>
                  <a:pt x="300" y="60"/>
                </a:lnTo>
                <a:lnTo>
                  <a:pt x="306" y="66"/>
                </a:lnTo>
                <a:lnTo>
                  <a:pt x="306" y="66"/>
                </a:lnTo>
                <a:lnTo>
                  <a:pt x="306" y="66"/>
                </a:lnTo>
                <a:lnTo>
                  <a:pt x="306" y="66"/>
                </a:lnTo>
                <a:lnTo>
                  <a:pt x="306" y="66"/>
                </a:lnTo>
                <a:lnTo>
                  <a:pt x="306" y="66"/>
                </a:lnTo>
                <a:lnTo>
                  <a:pt x="300" y="72"/>
                </a:lnTo>
                <a:lnTo>
                  <a:pt x="300" y="72"/>
                </a:lnTo>
                <a:lnTo>
                  <a:pt x="300" y="72"/>
                </a:lnTo>
                <a:lnTo>
                  <a:pt x="300" y="78"/>
                </a:lnTo>
                <a:lnTo>
                  <a:pt x="306" y="78"/>
                </a:lnTo>
                <a:lnTo>
                  <a:pt x="306" y="78"/>
                </a:lnTo>
                <a:lnTo>
                  <a:pt x="312" y="78"/>
                </a:lnTo>
                <a:lnTo>
                  <a:pt x="312" y="78"/>
                </a:lnTo>
                <a:lnTo>
                  <a:pt x="312" y="78"/>
                </a:lnTo>
                <a:lnTo>
                  <a:pt x="312" y="78"/>
                </a:lnTo>
                <a:lnTo>
                  <a:pt x="312" y="78"/>
                </a:lnTo>
                <a:lnTo>
                  <a:pt x="312" y="78"/>
                </a:lnTo>
                <a:lnTo>
                  <a:pt x="306" y="84"/>
                </a:lnTo>
                <a:lnTo>
                  <a:pt x="306" y="84"/>
                </a:lnTo>
                <a:lnTo>
                  <a:pt x="306" y="90"/>
                </a:lnTo>
                <a:lnTo>
                  <a:pt x="306" y="90"/>
                </a:lnTo>
                <a:lnTo>
                  <a:pt x="300" y="90"/>
                </a:lnTo>
                <a:lnTo>
                  <a:pt x="300" y="90"/>
                </a:lnTo>
                <a:lnTo>
                  <a:pt x="300" y="90"/>
                </a:lnTo>
                <a:lnTo>
                  <a:pt x="300" y="90"/>
                </a:lnTo>
                <a:lnTo>
                  <a:pt x="300" y="96"/>
                </a:lnTo>
                <a:lnTo>
                  <a:pt x="300" y="96"/>
                </a:lnTo>
                <a:lnTo>
                  <a:pt x="294" y="96"/>
                </a:lnTo>
                <a:lnTo>
                  <a:pt x="294" y="102"/>
                </a:lnTo>
                <a:lnTo>
                  <a:pt x="294" y="102"/>
                </a:lnTo>
                <a:lnTo>
                  <a:pt x="294" y="102"/>
                </a:lnTo>
                <a:lnTo>
                  <a:pt x="294" y="102"/>
                </a:lnTo>
                <a:lnTo>
                  <a:pt x="288" y="102"/>
                </a:lnTo>
                <a:lnTo>
                  <a:pt x="288" y="102"/>
                </a:lnTo>
                <a:lnTo>
                  <a:pt x="282" y="102"/>
                </a:lnTo>
                <a:lnTo>
                  <a:pt x="282" y="102"/>
                </a:lnTo>
                <a:lnTo>
                  <a:pt x="276" y="102"/>
                </a:lnTo>
                <a:lnTo>
                  <a:pt x="276" y="108"/>
                </a:lnTo>
                <a:lnTo>
                  <a:pt x="276" y="108"/>
                </a:lnTo>
                <a:lnTo>
                  <a:pt x="276" y="114"/>
                </a:lnTo>
                <a:lnTo>
                  <a:pt x="276" y="114"/>
                </a:lnTo>
                <a:lnTo>
                  <a:pt x="276" y="114"/>
                </a:lnTo>
                <a:lnTo>
                  <a:pt x="276" y="114"/>
                </a:lnTo>
                <a:lnTo>
                  <a:pt x="270" y="114"/>
                </a:lnTo>
                <a:lnTo>
                  <a:pt x="270" y="114"/>
                </a:lnTo>
                <a:lnTo>
                  <a:pt x="270" y="108"/>
                </a:lnTo>
                <a:lnTo>
                  <a:pt x="264" y="108"/>
                </a:lnTo>
                <a:lnTo>
                  <a:pt x="264" y="108"/>
                </a:lnTo>
                <a:lnTo>
                  <a:pt x="264" y="108"/>
                </a:lnTo>
                <a:lnTo>
                  <a:pt x="264" y="108"/>
                </a:lnTo>
                <a:lnTo>
                  <a:pt x="258" y="108"/>
                </a:lnTo>
                <a:lnTo>
                  <a:pt x="258" y="108"/>
                </a:lnTo>
                <a:lnTo>
                  <a:pt x="258" y="108"/>
                </a:lnTo>
                <a:lnTo>
                  <a:pt x="258" y="108"/>
                </a:lnTo>
                <a:lnTo>
                  <a:pt x="252" y="108"/>
                </a:lnTo>
                <a:lnTo>
                  <a:pt x="252" y="108"/>
                </a:lnTo>
                <a:lnTo>
                  <a:pt x="252" y="108"/>
                </a:lnTo>
                <a:lnTo>
                  <a:pt x="252" y="108"/>
                </a:lnTo>
                <a:lnTo>
                  <a:pt x="252" y="108"/>
                </a:lnTo>
                <a:lnTo>
                  <a:pt x="252" y="108"/>
                </a:lnTo>
                <a:lnTo>
                  <a:pt x="252" y="108"/>
                </a:lnTo>
                <a:lnTo>
                  <a:pt x="252" y="108"/>
                </a:lnTo>
                <a:lnTo>
                  <a:pt x="252" y="108"/>
                </a:lnTo>
                <a:lnTo>
                  <a:pt x="252" y="102"/>
                </a:lnTo>
                <a:lnTo>
                  <a:pt x="252" y="102"/>
                </a:lnTo>
                <a:lnTo>
                  <a:pt x="246" y="102"/>
                </a:lnTo>
                <a:lnTo>
                  <a:pt x="252" y="102"/>
                </a:lnTo>
                <a:lnTo>
                  <a:pt x="246" y="102"/>
                </a:lnTo>
                <a:lnTo>
                  <a:pt x="246" y="102"/>
                </a:lnTo>
                <a:lnTo>
                  <a:pt x="246" y="102"/>
                </a:lnTo>
                <a:lnTo>
                  <a:pt x="246" y="102"/>
                </a:lnTo>
                <a:lnTo>
                  <a:pt x="246" y="96"/>
                </a:lnTo>
                <a:lnTo>
                  <a:pt x="240" y="96"/>
                </a:lnTo>
                <a:lnTo>
                  <a:pt x="240" y="96"/>
                </a:lnTo>
                <a:lnTo>
                  <a:pt x="240" y="96"/>
                </a:lnTo>
                <a:lnTo>
                  <a:pt x="240" y="96"/>
                </a:lnTo>
                <a:lnTo>
                  <a:pt x="234" y="96"/>
                </a:lnTo>
                <a:lnTo>
                  <a:pt x="234" y="96"/>
                </a:lnTo>
                <a:lnTo>
                  <a:pt x="234" y="96"/>
                </a:lnTo>
                <a:lnTo>
                  <a:pt x="234" y="96"/>
                </a:lnTo>
                <a:lnTo>
                  <a:pt x="234" y="96"/>
                </a:lnTo>
                <a:lnTo>
                  <a:pt x="234" y="96"/>
                </a:lnTo>
                <a:lnTo>
                  <a:pt x="228" y="96"/>
                </a:lnTo>
                <a:lnTo>
                  <a:pt x="228" y="96"/>
                </a:lnTo>
                <a:lnTo>
                  <a:pt x="228" y="90"/>
                </a:lnTo>
                <a:lnTo>
                  <a:pt x="222" y="96"/>
                </a:lnTo>
                <a:lnTo>
                  <a:pt x="222" y="90"/>
                </a:lnTo>
                <a:lnTo>
                  <a:pt x="222" y="90"/>
                </a:lnTo>
                <a:lnTo>
                  <a:pt x="222" y="90"/>
                </a:lnTo>
                <a:lnTo>
                  <a:pt x="222" y="90"/>
                </a:lnTo>
                <a:lnTo>
                  <a:pt x="222" y="90"/>
                </a:lnTo>
                <a:lnTo>
                  <a:pt x="222" y="90"/>
                </a:lnTo>
                <a:lnTo>
                  <a:pt x="216" y="96"/>
                </a:lnTo>
                <a:lnTo>
                  <a:pt x="216" y="90"/>
                </a:lnTo>
                <a:lnTo>
                  <a:pt x="210" y="90"/>
                </a:lnTo>
                <a:lnTo>
                  <a:pt x="210" y="90"/>
                </a:lnTo>
                <a:lnTo>
                  <a:pt x="210" y="90"/>
                </a:lnTo>
                <a:lnTo>
                  <a:pt x="210" y="96"/>
                </a:lnTo>
                <a:lnTo>
                  <a:pt x="204" y="96"/>
                </a:lnTo>
                <a:lnTo>
                  <a:pt x="204" y="96"/>
                </a:lnTo>
                <a:lnTo>
                  <a:pt x="204" y="90"/>
                </a:lnTo>
                <a:lnTo>
                  <a:pt x="204" y="96"/>
                </a:lnTo>
                <a:lnTo>
                  <a:pt x="204" y="90"/>
                </a:lnTo>
                <a:lnTo>
                  <a:pt x="204" y="90"/>
                </a:lnTo>
                <a:lnTo>
                  <a:pt x="204" y="90"/>
                </a:lnTo>
                <a:lnTo>
                  <a:pt x="204" y="90"/>
                </a:lnTo>
                <a:lnTo>
                  <a:pt x="204" y="90"/>
                </a:lnTo>
                <a:lnTo>
                  <a:pt x="204" y="90"/>
                </a:lnTo>
                <a:lnTo>
                  <a:pt x="204" y="90"/>
                </a:lnTo>
                <a:lnTo>
                  <a:pt x="204" y="90"/>
                </a:lnTo>
                <a:lnTo>
                  <a:pt x="204" y="90"/>
                </a:lnTo>
                <a:lnTo>
                  <a:pt x="198" y="96"/>
                </a:lnTo>
                <a:lnTo>
                  <a:pt x="198" y="96"/>
                </a:lnTo>
                <a:lnTo>
                  <a:pt x="198" y="96"/>
                </a:lnTo>
                <a:lnTo>
                  <a:pt x="198" y="96"/>
                </a:lnTo>
                <a:lnTo>
                  <a:pt x="198" y="96"/>
                </a:lnTo>
                <a:lnTo>
                  <a:pt x="198" y="102"/>
                </a:lnTo>
                <a:lnTo>
                  <a:pt x="192" y="102"/>
                </a:lnTo>
                <a:lnTo>
                  <a:pt x="192" y="102"/>
                </a:lnTo>
                <a:lnTo>
                  <a:pt x="192" y="102"/>
                </a:lnTo>
                <a:lnTo>
                  <a:pt x="192" y="102"/>
                </a:lnTo>
                <a:lnTo>
                  <a:pt x="186" y="108"/>
                </a:lnTo>
                <a:lnTo>
                  <a:pt x="186" y="108"/>
                </a:lnTo>
                <a:lnTo>
                  <a:pt x="186" y="108"/>
                </a:lnTo>
                <a:lnTo>
                  <a:pt x="180" y="108"/>
                </a:lnTo>
                <a:lnTo>
                  <a:pt x="174" y="108"/>
                </a:lnTo>
                <a:lnTo>
                  <a:pt x="174" y="108"/>
                </a:lnTo>
                <a:lnTo>
                  <a:pt x="174" y="108"/>
                </a:lnTo>
                <a:lnTo>
                  <a:pt x="174" y="108"/>
                </a:lnTo>
                <a:lnTo>
                  <a:pt x="168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14"/>
                </a:lnTo>
                <a:lnTo>
                  <a:pt x="162" y="114"/>
                </a:lnTo>
                <a:lnTo>
                  <a:pt x="162" y="114"/>
                </a:lnTo>
                <a:lnTo>
                  <a:pt x="162" y="114"/>
                </a:lnTo>
                <a:lnTo>
                  <a:pt x="162" y="114"/>
                </a:lnTo>
                <a:lnTo>
                  <a:pt x="162" y="114"/>
                </a:lnTo>
                <a:lnTo>
                  <a:pt x="162" y="114"/>
                </a:lnTo>
                <a:lnTo>
                  <a:pt x="162" y="114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56" y="126"/>
                </a:lnTo>
                <a:lnTo>
                  <a:pt x="156" y="132"/>
                </a:lnTo>
                <a:lnTo>
                  <a:pt x="156" y="126"/>
                </a:lnTo>
                <a:lnTo>
                  <a:pt x="156" y="132"/>
                </a:lnTo>
                <a:lnTo>
                  <a:pt x="156" y="132"/>
                </a:lnTo>
                <a:lnTo>
                  <a:pt x="156" y="132"/>
                </a:lnTo>
                <a:lnTo>
                  <a:pt x="156" y="132"/>
                </a:lnTo>
                <a:lnTo>
                  <a:pt x="150" y="132"/>
                </a:lnTo>
                <a:lnTo>
                  <a:pt x="150" y="132"/>
                </a:lnTo>
                <a:lnTo>
                  <a:pt x="150" y="132"/>
                </a:lnTo>
                <a:lnTo>
                  <a:pt x="150" y="132"/>
                </a:lnTo>
                <a:lnTo>
                  <a:pt x="150" y="138"/>
                </a:lnTo>
                <a:lnTo>
                  <a:pt x="150" y="138"/>
                </a:lnTo>
                <a:lnTo>
                  <a:pt x="144" y="138"/>
                </a:lnTo>
                <a:lnTo>
                  <a:pt x="150" y="138"/>
                </a:lnTo>
                <a:lnTo>
                  <a:pt x="150" y="144"/>
                </a:lnTo>
                <a:lnTo>
                  <a:pt x="150" y="144"/>
                </a:lnTo>
                <a:lnTo>
                  <a:pt x="150" y="144"/>
                </a:lnTo>
                <a:lnTo>
                  <a:pt x="150" y="144"/>
                </a:lnTo>
                <a:lnTo>
                  <a:pt x="150" y="144"/>
                </a:lnTo>
                <a:lnTo>
                  <a:pt x="150" y="150"/>
                </a:lnTo>
                <a:lnTo>
                  <a:pt x="150" y="150"/>
                </a:lnTo>
                <a:lnTo>
                  <a:pt x="150" y="156"/>
                </a:lnTo>
                <a:lnTo>
                  <a:pt x="156" y="156"/>
                </a:lnTo>
                <a:lnTo>
                  <a:pt x="156" y="156"/>
                </a:lnTo>
                <a:lnTo>
                  <a:pt x="156" y="156"/>
                </a:lnTo>
                <a:lnTo>
                  <a:pt x="156" y="162"/>
                </a:lnTo>
                <a:lnTo>
                  <a:pt x="156" y="168"/>
                </a:lnTo>
                <a:lnTo>
                  <a:pt x="156" y="168"/>
                </a:lnTo>
                <a:lnTo>
                  <a:pt x="162" y="180"/>
                </a:lnTo>
                <a:lnTo>
                  <a:pt x="162" y="180"/>
                </a:lnTo>
                <a:lnTo>
                  <a:pt x="162" y="180"/>
                </a:lnTo>
                <a:lnTo>
                  <a:pt x="162" y="180"/>
                </a:lnTo>
                <a:lnTo>
                  <a:pt x="162" y="186"/>
                </a:lnTo>
                <a:lnTo>
                  <a:pt x="156" y="186"/>
                </a:lnTo>
                <a:lnTo>
                  <a:pt x="156" y="186"/>
                </a:lnTo>
                <a:lnTo>
                  <a:pt x="156" y="186"/>
                </a:lnTo>
                <a:lnTo>
                  <a:pt x="156" y="186"/>
                </a:lnTo>
                <a:lnTo>
                  <a:pt x="156" y="186"/>
                </a:lnTo>
                <a:lnTo>
                  <a:pt x="156" y="186"/>
                </a:lnTo>
                <a:lnTo>
                  <a:pt x="150" y="186"/>
                </a:lnTo>
                <a:lnTo>
                  <a:pt x="150" y="180"/>
                </a:lnTo>
                <a:lnTo>
                  <a:pt x="150" y="186"/>
                </a:lnTo>
                <a:lnTo>
                  <a:pt x="150" y="180"/>
                </a:lnTo>
                <a:lnTo>
                  <a:pt x="150" y="180"/>
                </a:lnTo>
                <a:lnTo>
                  <a:pt x="150" y="180"/>
                </a:lnTo>
                <a:lnTo>
                  <a:pt x="144" y="180"/>
                </a:lnTo>
                <a:lnTo>
                  <a:pt x="144" y="180"/>
                </a:lnTo>
                <a:lnTo>
                  <a:pt x="144" y="180"/>
                </a:lnTo>
                <a:lnTo>
                  <a:pt x="144" y="180"/>
                </a:lnTo>
                <a:lnTo>
                  <a:pt x="144" y="180"/>
                </a:lnTo>
                <a:lnTo>
                  <a:pt x="144" y="180"/>
                </a:lnTo>
                <a:lnTo>
                  <a:pt x="144" y="180"/>
                </a:lnTo>
                <a:lnTo>
                  <a:pt x="144" y="180"/>
                </a:lnTo>
                <a:lnTo>
                  <a:pt x="144" y="180"/>
                </a:lnTo>
                <a:lnTo>
                  <a:pt x="138" y="174"/>
                </a:lnTo>
                <a:lnTo>
                  <a:pt x="132" y="174"/>
                </a:lnTo>
                <a:lnTo>
                  <a:pt x="132" y="174"/>
                </a:lnTo>
                <a:lnTo>
                  <a:pt x="132" y="174"/>
                </a:lnTo>
                <a:lnTo>
                  <a:pt x="132" y="174"/>
                </a:lnTo>
                <a:lnTo>
                  <a:pt x="132" y="168"/>
                </a:lnTo>
                <a:lnTo>
                  <a:pt x="132" y="168"/>
                </a:lnTo>
                <a:lnTo>
                  <a:pt x="132" y="168"/>
                </a:lnTo>
                <a:lnTo>
                  <a:pt x="132" y="168"/>
                </a:lnTo>
                <a:lnTo>
                  <a:pt x="132" y="168"/>
                </a:lnTo>
                <a:lnTo>
                  <a:pt x="126" y="168"/>
                </a:lnTo>
                <a:lnTo>
                  <a:pt x="132" y="168"/>
                </a:lnTo>
                <a:lnTo>
                  <a:pt x="132" y="162"/>
                </a:lnTo>
                <a:lnTo>
                  <a:pt x="126" y="162"/>
                </a:lnTo>
                <a:lnTo>
                  <a:pt x="126" y="162"/>
                </a:lnTo>
                <a:lnTo>
                  <a:pt x="126" y="162"/>
                </a:lnTo>
                <a:lnTo>
                  <a:pt x="126" y="162"/>
                </a:lnTo>
                <a:lnTo>
                  <a:pt x="126" y="162"/>
                </a:lnTo>
                <a:lnTo>
                  <a:pt x="126" y="162"/>
                </a:lnTo>
                <a:lnTo>
                  <a:pt x="126" y="162"/>
                </a:lnTo>
                <a:lnTo>
                  <a:pt x="126" y="162"/>
                </a:lnTo>
                <a:lnTo>
                  <a:pt x="126" y="162"/>
                </a:lnTo>
                <a:lnTo>
                  <a:pt x="126" y="162"/>
                </a:lnTo>
                <a:lnTo>
                  <a:pt x="120" y="162"/>
                </a:lnTo>
                <a:lnTo>
                  <a:pt x="120" y="162"/>
                </a:lnTo>
                <a:lnTo>
                  <a:pt x="120" y="156"/>
                </a:lnTo>
                <a:lnTo>
                  <a:pt x="126" y="156"/>
                </a:lnTo>
                <a:lnTo>
                  <a:pt x="126" y="156"/>
                </a:lnTo>
                <a:lnTo>
                  <a:pt x="120" y="156"/>
                </a:lnTo>
                <a:lnTo>
                  <a:pt x="120" y="156"/>
                </a:lnTo>
                <a:lnTo>
                  <a:pt x="126" y="156"/>
                </a:lnTo>
                <a:lnTo>
                  <a:pt x="120" y="156"/>
                </a:lnTo>
                <a:lnTo>
                  <a:pt x="120" y="150"/>
                </a:lnTo>
                <a:lnTo>
                  <a:pt x="120" y="150"/>
                </a:lnTo>
                <a:lnTo>
                  <a:pt x="120" y="150"/>
                </a:lnTo>
                <a:lnTo>
                  <a:pt x="120" y="150"/>
                </a:lnTo>
                <a:lnTo>
                  <a:pt x="120" y="150"/>
                </a:lnTo>
                <a:lnTo>
                  <a:pt x="120" y="150"/>
                </a:lnTo>
                <a:lnTo>
                  <a:pt x="120" y="150"/>
                </a:lnTo>
                <a:lnTo>
                  <a:pt x="120" y="150"/>
                </a:lnTo>
                <a:lnTo>
                  <a:pt x="120" y="144"/>
                </a:lnTo>
                <a:lnTo>
                  <a:pt x="114" y="144"/>
                </a:lnTo>
                <a:lnTo>
                  <a:pt x="114" y="144"/>
                </a:lnTo>
                <a:lnTo>
                  <a:pt x="114" y="144"/>
                </a:lnTo>
                <a:lnTo>
                  <a:pt x="114" y="144"/>
                </a:lnTo>
                <a:lnTo>
                  <a:pt x="114" y="144"/>
                </a:lnTo>
                <a:lnTo>
                  <a:pt x="114" y="144"/>
                </a:lnTo>
                <a:lnTo>
                  <a:pt x="108" y="144"/>
                </a:lnTo>
                <a:lnTo>
                  <a:pt x="108" y="144"/>
                </a:lnTo>
                <a:lnTo>
                  <a:pt x="108" y="144"/>
                </a:lnTo>
                <a:lnTo>
                  <a:pt x="108" y="144"/>
                </a:lnTo>
                <a:lnTo>
                  <a:pt x="108" y="144"/>
                </a:lnTo>
                <a:lnTo>
                  <a:pt x="108" y="138"/>
                </a:lnTo>
                <a:lnTo>
                  <a:pt x="108" y="138"/>
                </a:lnTo>
                <a:lnTo>
                  <a:pt x="108" y="138"/>
                </a:lnTo>
                <a:lnTo>
                  <a:pt x="108" y="138"/>
                </a:lnTo>
                <a:lnTo>
                  <a:pt x="108" y="138"/>
                </a:lnTo>
                <a:lnTo>
                  <a:pt x="108" y="138"/>
                </a:lnTo>
                <a:lnTo>
                  <a:pt x="108" y="138"/>
                </a:lnTo>
                <a:lnTo>
                  <a:pt x="108" y="138"/>
                </a:lnTo>
                <a:lnTo>
                  <a:pt x="102" y="138"/>
                </a:lnTo>
                <a:lnTo>
                  <a:pt x="102" y="138"/>
                </a:lnTo>
                <a:lnTo>
                  <a:pt x="102" y="132"/>
                </a:lnTo>
                <a:lnTo>
                  <a:pt x="102" y="132"/>
                </a:lnTo>
                <a:lnTo>
                  <a:pt x="102" y="132"/>
                </a:lnTo>
                <a:lnTo>
                  <a:pt x="102" y="132"/>
                </a:lnTo>
                <a:lnTo>
                  <a:pt x="102" y="132"/>
                </a:lnTo>
                <a:lnTo>
                  <a:pt x="102" y="132"/>
                </a:lnTo>
                <a:lnTo>
                  <a:pt x="96" y="132"/>
                </a:lnTo>
                <a:lnTo>
                  <a:pt x="96" y="132"/>
                </a:lnTo>
                <a:lnTo>
                  <a:pt x="96" y="132"/>
                </a:lnTo>
                <a:lnTo>
                  <a:pt x="96" y="126"/>
                </a:lnTo>
                <a:lnTo>
                  <a:pt x="96" y="126"/>
                </a:lnTo>
                <a:lnTo>
                  <a:pt x="90" y="126"/>
                </a:lnTo>
                <a:lnTo>
                  <a:pt x="90" y="126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6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78" y="126"/>
                </a:lnTo>
                <a:lnTo>
                  <a:pt x="78" y="126"/>
                </a:lnTo>
                <a:lnTo>
                  <a:pt x="84" y="126"/>
                </a:lnTo>
                <a:lnTo>
                  <a:pt x="78" y="126"/>
                </a:lnTo>
                <a:lnTo>
                  <a:pt x="78" y="132"/>
                </a:lnTo>
                <a:lnTo>
                  <a:pt x="84" y="132"/>
                </a:lnTo>
                <a:lnTo>
                  <a:pt x="84" y="132"/>
                </a:lnTo>
                <a:lnTo>
                  <a:pt x="78" y="132"/>
                </a:lnTo>
                <a:lnTo>
                  <a:pt x="78" y="132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66" y="138"/>
                </a:lnTo>
                <a:lnTo>
                  <a:pt x="66" y="138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50"/>
                </a:lnTo>
                <a:lnTo>
                  <a:pt x="60" y="150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48" y="150"/>
                </a:lnTo>
                <a:lnTo>
                  <a:pt x="48" y="150"/>
                </a:lnTo>
                <a:lnTo>
                  <a:pt x="48" y="150"/>
                </a:lnTo>
                <a:lnTo>
                  <a:pt x="48" y="150"/>
                </a:lnTo>
                <a:lnTo>
                  <a:pt x="48" y="150"/>
                </a:lnTo>
                <a:lnTo>
                  <a:pt x="42" y="156"/>
                </a:lnTo>
                <a:lnTo>
                  <a:pt x="42" y="150"/>
                </a:lnTo>
                <a:lnTo>
                  <a:pt x="36" y="150"/>
                </a:lnTo>
                <a:lnTo>
                  <a:pt x="36" y="150"/>
                </a:lnTo>
                <a:lnTo>
                  <a:pt x="36" y="156"/>
                </a:lnTo>
                <a:lnTo>
                  <a:pt x="36" y="156"/>
                </a:lnTo>
                <a:lnTo>
                  <a:pt x="36" y="150"/>
                </a:lnTo>
                <a:lnTo>
                  <a:pt x="36" y="150"/>
                </a:lnTo>
                <a:lnTo>
                  <a:pt x="36" y="144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2"/>
                </a:lnTo>
                <a:lnTo>
                  <a:pt x="36" y="132"/>
                </a:lnTo>
                <a:lnTo>
                  <a:pt x="36" y="132"/>
                </a:lnTo>
                <a:lnTo>
                  <a:pt x="36" y="126"/>
                </a:lnTo>
                <a:lnTo>
                  <a:pt x="36" y="126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0" y="114"/>
                </a:lnTo>
                <a:lnTo>
                  <a:pt x="36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14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0"/>
                </a:lnTo>
                <a:lnTo>
                  <a:pt x="12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60" name="Freeform 493"/>
          <p:cNvSpPr>
            <a:spLocks/>
          </p:cNvSpPr>
          <p:nvPr/>
        </p:nvSpPr>
        <p:spPr bwMode="auto">
          <a:xfrm>
            <a:off x="6395747" y="5284917"/>
            <a:ext cx="244114" cy="308357"/>
          </a:xfrm>
          <a:custGeom>
            <a:avLst/>
            <a:gdLst>
              <a:gd name="T0" fmla="*/ 24 w 228"/>
              <a:gd name="T1" fmla="*/ 216 h 288"/>
              <a:gd name="T2" fmla="*/ 24 w 228"/>
              <a:gd name="T3" fmla="*/ 210 h 288"/>
              <a:gd name="T4" fmla="*/ 18 w 228"/>
              <a:gd name="T5" fmla="*/ 204 h 288"/>
              <a:gd name="T6" fmla="*/ 30 w 228"/>
              <a:gd name="T7" fmla="*/ 210 h 288"/>
              <a:gd name="T8" fmla="*/ 30 w 228"/>
              <a:gd name="T9" fmla="*/ 216 h 288"/>
              <a:gd name="T10" fmla="*/ 36 w 228"/>
              <a:gd name="T11" fmla="*/ 198 h 288"/>
              <a:gd name="T12" fmla="*/ 42 w 228"/>
              <a:gd name="T13" fmla="*/ 174 h 288"/>
              <a:gd name="T14" fmla="*/ 54 w 228"/>
              <a:gd name="T15" fmla="*/ 174 h 288"/>
              <a:gd name="T16" fmla="*/ 66 w 228"/>
              <a:gd name="T17" fmla="*/ 168 h 288"/>
              <a:gd name="T18" fmla="*/ 84 w 228"/>
              <a:gd name="T19" fmla="*/ 156 h 288"/>
              <a:gd name="T20" fmla="*/ 108 w 228"/>
              <a:gd name="T21" fmla="*/ 138 h 288"/>
              <a:gd name="T22" fmla="*/ 114 w 228"/>
              <a:gd name="T23" fmla="*/ 114 h 288"/>
              <a:gd name="T24" fmla="*/ 120 w 228"/>
              <a:gd name="T25" fmla="*/ 84 h 288"/>
              <a:gd name="T26" fmla="*/ 126 w 228"/>
              <a:gd name="T27" fmla="*/ 102 h 288"/>
              <a:gd name="T28" fmla="*/ 126 w 228"/>
              <a:gd name="T29" fmla="*/ 78 h 288"/>
              <a:gd name="T30" fmla="*/ 144 w 228"/>
              <a:gd name="T31" fmla="*/ 54 h 288"/>
              <a:gd name="T32" fmla="*/ 150 w 228"/>
              <a:gd name="T33" fmla="*/ 54 h 288"/>
              <a:gd name="T34" fmla="*/ 138 w 228"/>
              <a:gd name="T35" fmla="*/ 48 h 288"/>
              <a:gd name="T36" fmla="*/ 126 w 228"/>
              <a:gd name="T37" fmla="*/ 36 h 288"/>
              <a:gd name="T38" fmla="*/ 126 w 228"/>
              <a:gd name="T39" fmla="*/ 30 h 288"/>
              <a:gd name="T40" fmla="*/ 120 w 228"/>
              <a:gd name="T41" fmla="*/ 24 h 288"/>
              <a:gd name="T42" fmla="*/ 126 w 228"/>
              <a:gd name="T43" fmla="*/ 6 h 288"/>
              <a:gd name="T44" fmla="*/ 126 w 228"/>
              <a:gd name="T45" fmla="*/ 6 h 288"/>
              <a:gd name="T46" fmla="*/ 126 w 228"/>
              <a:gd name="T47" fmla="*/ 6 h 288"/>
              <a:gd name="T48" fmla="*/ 132 w 228"/>
              <a:gd name="T49" fmla="*/ 12 h 288"/>
              <a:gd name="T50" fmla="*/ 132 w 228"/>
              <a:gd name="T51" fmla="*/ 18 h 288"/>
              <a:gd name="T52" fmla="*/ 138 w 228"/>
              <a:gd name="T53" fmla="*/ 24 h 288"/>
              <a:gd name="T54" fmla="*/ 138 w 228"/>
              <a:gd name="T55" fmla="*/ 30 h 288"/>
              <a:gd name="T56" fmla="*/ 150 w 228"/>
              <a:gd name="T57" fmla="*/ 30 h 288"/>
              <a:gd name="T58" fmla="*/ 156 w 228"/>
              <a:gd name="T59" fmla="*/ 36 h 288"/>
              <a:gd name="T60" fmla="*/ 162 w 228"/>
              <a:gd name="T61" fmla="*/ 36 h 288"/>
              <a:gd name="T62" fmla="*/ 162 w 228"/>
              <a:gd name="T63" fmla="*/ 48 h 288"/>
              <a:gd name="T64" fmla="*/ 180 w 228"/>
              <a:gd name="T65" fmla="*/ 60 h 288"/>
              <a:gd name="T66" fmla="*/ 192 w 228"/>
              <a:gd name="T67" fmla="*/ 42 h 288"/>
              <a:gd name="T68" fmla="*/ 192 w 228"/>
              <a:gd name="T69" fmla="*/ 36 h 288"/>
              <a:gd name="T70" fmla="*/ 210 w 228"/>
              <a:gd name="T71" fmla="*/ 36 h 288"/>
              <a:gd name="T72" fmla="*/ 222 w 228"/>
              <a:gd name="T73" fmla="*/ 36 h 288"/>
              <a:gd name="T74" fmla="*/ 222 w 228"/>
              <a:gd name="T75" fmla="*/ 48 h 288"/>
              <a:gd name="T76" fmla="*/ 216 w 228"/>
              <a:gd name="T77" fmla="*/ 66 h 288"/>
              <a:gd name="T78" fmla="*/ 216 w 228"/>
              <a:gd name="T79" fmla="*/ 54 h 288"/>
              <a:gd name="T80" fmla="*/ 210 w 228"/>
              <a:gd name="T81" fmla="*/ 54 h 288"/>
              <a:gd name="T82" fmla="*/ 204 w 228"/>
              <a:gd name="T83" fmla="*/ 48 h 288"/>
              <a:gd name="T84" fmla="*/ 204 w 228"/>
              <a:gd name="T85" fmla="*/ 96 h 288"/>
              <a:gd name="T86" fmla="*/ 168 w 228"/>
              <a:gd name="T87" fmla="*/ 120 h 288"/>
              <a:gd name="T88" fmla="*/ 156 w 228"/>
              <a:gd name="T89" fmla="*/ 144 h 288"/>
              <a:gd name="T90" fmla="*/ 144 w 228"/>
              <a:gd name="T91" fmla="*/ 156 h 288"/>
              <a:gd name="T92" fmla="*/ 114 w 228"/>
              <a:gd name="T93" fmla="*/ 198 h 288"/>
              <a:gd name="T94" fmla="*/ 108 w 228"/>
              <a:gd name="T95" fmla="*/ 198 h 288"/>
              <a:gd name="T96" fmla="*/ 102 w 228"/>
              <a:gd name="T97" fmla="*/ 204 h 288"/>
              <a:gd name="T98" fmla="*/ 60 w 228"/>
              <a:gd name="T99" fmla="*/ 234 h 288"/>
              <a:gd name="T100" fmla="*/ 60 w 228"/>
              <a:gd name="T101" fmla="*/ 234 h 288"/>
              <a:gd name="T102" fmla="*/ 48 w 228"/>
              <a:gd name="T103" fmla="*/ 246 h 288"/>
              <a:gd name="T104" fmla="*/ 18 w 228"/>
              <a:gd name="T105" fmla="*/ 234 h 288"/>
              <a:gd name="T106" fmla="*/ 24 w 228"/>
              <a:gd name="T107" fmla="*/ 246 h 288"/>
              <a:gd name="T108" fmla="*/ 30 w 228"/>
              <a:gd name="T109" fmla="*/ 258 h 288"/>
              <a:gd name="T110" fmla="*/ 24 w 228"/>
              <a:gd name="T111" fmla="*/ 276 h 288"/>
              <a:gd name="T112" fmla="*/ 24 w 228"/>
              <a:gd name="T113" fmla="*/ 270 h 288"/>
              <a:gd name="T114" fmla="*/ 24 w 228"/>
              <a:gd name="T115" fmla="*/ 264 h 288"/>
              <a:gd name="T116" fmla="*/ 6 w 228"/>
              <a:gd name="T117" fmla="*/ 246 h 288"/>
              <a:gd name="T118" fmla="*/ 6 w 228"/>
              <a:gd name="T119" fmla="*/ 240 h 288"/>
              <a:gd name="T120" fmla="*/ 6 w 228"/>
              <a:gd name="T121" fmla="*/ 234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28" h="288">
                <a:moveTo>
                  <a:pt x="6" y="234"/>
                </a:moveTo>
                <a:lnTo>
                  <a:pt x="6" y="234"/>
                </a:lnTo>
                <a:lnTo>
                  <a:pt x="6" y="228"/>
                </a:lnTo>
                <a:lnTo>
                  <a:pt x="6" y="228"/>
                </a:lnTo>
                <a:lnTo>
                  <a:pt x="6" y="228"/>
                </a:lnTo>
                <a:lnTo>
                  <a:pt x="12" y="222"/>
                </a:lnTo>
                <a:lnTo>
                  <a:pt x="18" y="222"/>
                </a:lnTo>
                <a:lnTo>
                  <a:pt x="24" y="222"/>
                </a:lnTo>
                <a:lnTo>
                  <a:pt x="24" y="222"/>
                </a:lnTo>
                <a:lnTo>
                  <a:pt x="24" y="216"/>
                </a:lnTo>
                <a:lnTo>
                  <a:pt x="24" y="216"/>
                </a:lnTo>
                <a:lnTo>
                  <a:pt x="24" y="216"/>
                </a:lnTo>
                <a:lnTo>
                  <a:pt x="24" y="216"/>
                </a:lnTo>
                <a:lnTo>
                  <a:pt x="24" y="216"/>
                </a:lnTo>
                <a:lnTo>
                  <a:pt x="24" y="216"/>
                </a:lnTo>
                <a:lnTo>
                  <a:pt x="30" y="216"/>
                </a:lnTo>
                <a:lnTo>
                  <a:pt x="24" y="210"/>
                </a:lnTo>
                <a:lnTo>
                  <a:pt x="24" y="210"/>
                </a:lnTo>
                <a:lnTo>
                  <a:pt x="30" y="210"/>
                </a:lnTo>
                <a:lnTo>
                  <a:pt x="30" y="210"/>
                </a:lnTo>
                <a:lnTo>
                  <a:pt x="24" y="210"/>
                </a:lnTo>
                <a:lnTo>
                  <a:pt x="24" y="210"/>
                </a:lnTo>
                <a:lnTo>
                  <a:pt x="24" y="210"/>
                </a:lnTo>
                <a:lnTo>
                  <a:pt x="24" y="210"/>
                </a:lnTo>
                <a:lnTo>
                  <a:pt x="24" y="210"/>
                </a:lnTo>
                <a:lnTo>
                  <a:pt x="24" y="210"/>
                </a:lnTo>
                <a:lnTo>
                  <a:pt x="18" y="210"/>
                </a:lnTo>
                <a:lnTo>
                  <a:pt x="18" y="204"/>
                </a:lnTo>
                <a:lnTo>
                  <a:pt x="18" y="204"/>
                </a:lnTo>
                <a:lnTo>
                  <a:pt x="24" y="204"/>
                </a:lnTo>
                <a:lnTo>
                  <a:pt x="18" y="204"/>
                </a:lnTo>
                <a:lnTo>
                  <a:pt x="18" y="204"/>
                </a:lnTo>
                <a:lnTo>
                  <a:pt x="18" y="204"/>
                </a:lnTo>
                <a:lnTo>
                  <a:pt x="24" y="204"/>
                </a:lnTo>
                <a:lnTo>
                  <a:pt x="24" y="204"/>
                </a:lnTo>
                <a:lnTo>
                  <a:pt x="30" y="204"/>
                </a:lnTo>
                <a:lnTo>
                  <a:pt x="30" y="204"/>
                </a:lnTo>
                <a:lnTo>
                  <a:pt x="30" y="204"/>
                </a:lnTo>
                <a:lnTo>
                  <a:pt x="30" y="204"/>
                </a:lnTo>
                <a:lnTo>
                  <a:pt x="30" y="204"/>
                </a:lnTo>
                <a:lnTo>
                  <a:pt x="30" y="204"/>
                </a:lnTo>
                <a:lnTo>
                  <a:pt x="30" y="204"/>
                </a:lnTo>
                <a:lnTo>
                  <a:pt x="30" y="204"/>
                </a:lnTo>
                <a:lnTo>
                  <a:pt x="30" y="210"/>
                </a:lnTo>
                <a:lnTo>
                  <a:pt x="30" y="210"/>
                </a:lnTo>
                <a:lnTo>
                  <a:pt x="30" y="216"/>
                </a:lnTo>
                <a:lnTo>
                  <a:pt x="30" y="216"/>
                </a:lnTo>
                <a:lnTo>
                  <a:pt x="30" y="216"/>
                </a:lnTo>
                <a:lnTo>
                  <a:pt x="30" y="216"/>
                </a:lnTo>
                <a:lnTo>
                  <a:pt x="30" y="216"/>
                </a:lnTo>
                <a:lnTo>
                  <a:pt x="30" y="216"/>
                </a:lnTo>
                <a:lnTo>
                  <a:pt x="30" y="216"/>
                </a:lnTo>
                <a:lnTo>
                  <a:pt x="30" y="216"/>
                </a:lnTo>
                <a:lnTo>
                  <a:pt x="30" y="216"/>
                </a:lnTo>
                <a:lnTo>
                  <a:pt x="30" y="216"/>
                </a:lnTo>
                <a:lnTo>
                  <a:pt x="30" y="216"/>
                </a:lnTo>
                <a:lnTo>
                  <a:pt x="30" y="222"/>
                </a:lnTo>
                <a:lnTo>
                  <a:pt x="30" y="222"/>
                </a:lnTo>
                <a:lnTo>
                  <a:pt x="30" y="222"/>
                </a:lnTo>
                <a:lnTo>
                  <a:pt x="30" y="216"/>
                </a:lnTo>
                <a:lnTo>
                  <a:pt x="36" y="210"/>
                </a:lnTo>
                <a:lnTo>
                  <a:pt x="36" y="210"/>
                </a:lnTo>
                <a:lnTo>
                  <a:pt x="30" y="210"/>
                </a:lnTo>
                <a:lnTo>
                  <a:pt x="36" y="204"/>
                </a:lnTo>
                <a:lnTo>
                  <a:pt x="30" y="198"/>
                </a:lnTo>
                <a:lnTo>
                  <a:pt x="36" y="198"/>
                </a:lnTo>
                <a:lnTo>
                  <a:pt x="36" y="186"/>
                </a:lnTo>
                <a:lnTo>
                  <a:pt x="36" y="180"/>
                </a:lnTo>
                <a:lnTo>
                  <a:pt x="36" y="180"/>
                </a:lnTo>
                <a:lnTo>
                  <a:pt x="42" y="180"/>
                </a:lnTo>
                <a:lnTo>
                  <a:pt x="42" y="180"/>
                </a:lnTo>
                <a:lnTo>
                  <a:pt x="42" y="174"/>
                </a:lnTo>
                <a:lnTo>
                  <a:pt x="42" y="174"/>
                </a:lnTo>
                <a:lnTo>
                  <a:pt x="42" y="174"/>
                </a:lnTo>
                <a:lnTo>
                  <a:pt x="42" y="174"/>
                </a:lnTo>
                <a:lnTo>
                  <a:pt x="42" y="174"/>
                </a:lnTo>
                <a:lnTo>
                  <a:pt x="42" y="174"/>
                </a:lnTo>
                <a:lnTo>
                  <a:pt x="48" y="174"/>
                </a:lnTo>
                <a:lnTo>
                  <a:pt x="48" y="174"/>
                </a:lnTo>
                <a:lnTo>
                  <a:pt x="48" y="174"/>
                </a:lnTo>
                <a:lnTo>
                  <a:pt x="48" y="174"/>
                </a:lnTo>
                <a:lnTo>
                  <a:pt x="54" y="168"/>
                </a:lnTo>
                <a:lnTo>
                  <a:pt x="48" y="168"/>
                </a:lnTo>
                <a:lnTo>
                  <a:pt x="54" y="168"/>
                </a:lnTo>
                <a:lnTo>
                  <a:pt x="54" y="168"/>
                </a:lnTo>
                <a:lnTo>
                  <a:pt x="54" y="168"/>
                </a:lnTo>
                <a:lnTo>
                  <a:pt x="54" y="174"/>
                </a:lnTo>
                <a:lnTo>
                  <a:pt x="54" y="174"/>
                </a:lnTo>
                <a:lnTo>
                  <a:pt x="54" y="174"/>
                </a:lnTo>
                <a:lnTo>
                  <a:pt x="54" y="174"/>
                </a:lnTo>
                <a:lnTo>
                  <a:pt x="54" y="174"/>
                </a:lnTo>
                <a:lnTo>
                  <a:pt x="54" y="168"/>
                </a:lnTo>
                <a:lnTo>
                  <a:pt x="60" y="168"/>
                </a:lnTo>
                <a:lnTo>
                  <a:pt x="60" y="168"/>
                </a:lnTo>
                <a:lnTo>
                  <a:pt x="60" y="168"/>
                </a:lnTo>
                <a:lnTo>
                  <a:pt x="66" y="168"/>
                </a:lnTo>
                <a:lnTo>
                  <a:pt x="66" y="168"/>
                </a:lnTo>
                <a:lnTo>
                  <a:pt x="66" y="168"/>
                </a:lnTo>
                <a:lnTo>
                  <a:pt x="66" y="168"/>
                </a:lnTo>
                <a:lnTo>
                  <a:pt x="66" y="168"/>
                </a:lnTo>
                <a:lnTo>
                  <a:pt x="66" y="168"/>
                </a:lnTo>
                <a:lnTo>
                  <a:pt x="66" y="168"/>
                </a:lnTo>
                <a:lnTo>
                  <a:pt x="72" y="168"/>
                </a:lnTo>
                <a:lnTo>
                  <a:pt x="72" y="168"/>
                </a:lnTo>
                <a:lnTo>
                  <a:pt x="78" y="168"/>
                </a:lnTo>
                <a:lnTo>
                  <a:pt x="84" y="168"/>
                </a:lnTo>
                <a:lnTo>
                  <a:pt x="84" y="168"/>
                </a:lnTo>
                <a:lnTo>
                  <a:pt x="84" y="162"/>
                </a:lnTo>
                <a:lnTo>
                  <a:pt x="84" y="162"/>
                </a:lnTo>
                <a:lnTo>
                  <a:pt x="84" y="156"/>
                </a:lnTo>
                <a:lnTo>
                  <a:pt x="84" y="156"/>
                </a:lnTo>
                <a:lnTo>
                  <a:pt x="84" y="150"/>
                </a:lnTo>
                <a:lnTo>
                  <a:pt x="84" y="150"/>
                </a:lnTo>
                <a:lnTo>
                  <a:pt x="84" y="150"/>
                </a:lnTo>
                <a:lnTo>
                  <a:pt x="90" y="150"/>
                </a:lnTo>
                <a:lnTo>
                  <a:pt x="90" y="144"/>
                </a:lnTo>
                <a:lnTo>
                  <a:pt x="96" y="144"/>
                </a:lnTo>
                <a:lnTo>
                  <a:pt x="102" y="144"/>
                </a:lnTo>
                <a:lnTo>
                  <a:pt x="108" y="144"/>
                </a:lnTo>
                <a:lnTo>
                  <a:pt x="108" y="144"/>
                </a:lnTo>
                <a:lnTo>
                  <a:pt x="108" y="138"/>
                </a:lnTo>
                <a:lnTo>
                  <a:pt x="102" y="132"/>
                </a:lnTo>
                <a:lnTo>
                  <a:pt x="102" y="126"/>
                </a:lnTo>
                <a:lnTo>
                  <a:pt x="102" y="126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08"/>
                </a:lnTo>
                <a:lnTo>
                  <a:pt x="114" y="102"/>
                </a:lnTo>
                <a:lnTo>
                  <a:pt x="114" y="96"/>
                </a:lnTo>
                <a:lnTo>
                  <a:pt x="114" y="96"/>
                </a:lnTo>
                <a:lnTo>
                  <a:pt x="114" y="90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6" y="84"/>
                </a:lnTo>
                <a:lnTo>
                  <a:pt x="126" y="90"/>
                </a:lnTo>
                <a:lnTo>
                  <a:pt x="126" y="90"/>
                </a:lnTo>
                <a:lnTo>
                  <a:pt x="126" y="90"/>
                </a:lnTo>
                <a:lnTo>
                  <a:pt x="126" y="90"/>
                </a:lnTo>
                <a:lnTo>
                  <a:pt x="126" y="96"/>
                </a:lnTo>
                <a:lnTo>
                  <a:pt x="126" y="96"/>
                </a:lnTo>
                <a:lnTo>
                  <a:pt x="126" y="102"/>
                </a:lnTo>
                <a:lnTo>
                  <a:pt x="126" y="102"/>
                </a:lnTo>
                <a:lnTo>
                  <a:pt x="120" y="102"/>
                </a:lnTo>
                <a:lnTo>
                  <a:pt x="126" y="102"/>
                </a:lnTo>
                <a:lnTo>
                  <a:pt x="126" y="108"/>
                </a:lnTo>
                <a:lnTo>
                  <a:pt x="126" y="108"/>
                </a:lnTo>
                <a:lnTo>
                  <a:pt x="126" y="108"/>
                </a:lnTo>
                <a:lnTo>
                  <a:pt x="126" y="108"/>
                </a:lnTo>
                <a:lnTo>
                  <a:pt x="126" y="102"/>
                </a:lnTo>
                <a:lnTo>
                  <a:pt x="126" y="96"/>
                </a:lnTo>
                <a:lnTo>
                  <a:pt x="126" y="90"/>
                </a:lnTo>
                <a:lnTo>
                  <a:pt x="126" y="84"/>
                </a:lnTo>
                <a:lnTo>
                  <a:pt x="126" y="78"/>
                </a:lnTo>
                <a:lnTo>
                  <a:pt x="126" y="72"/>
                </a:lnTo>
                <a:lnTo>
                  <a:pt x="132" y="66"/>
                </a:lnTo>
                <a:lnTo>
                  <a:pt x="132" y="60"/>
                </a:lnTo>
                <a:lnTo>
                  <a:pt x="132" y="60"/>
                </a:lnTo>
                <a:lnTo>
                  <a:pt x="132" y="60"/>
                </a:lnTo>
                <a:lnTo>
                  <a:pt x="138" y="54"/>
                </a:lnTo>
                <a:lnTo>
                  <a:pt x="138" y="54"/>
                </a:lnTo>
                <a:lnTo>
                  <a:pt x="144" y="54"/>
                </a:lnTo>
                <a:lnTo>
                  <a:pt x="144" y="54"/>
                </a:lnTo>
                <a:lnTo>
                  <a:pt x="144" y="54"/>
                </a:lnTo>
                <a:lnTo>
                  <a:pt x="144" y="54"/>
                </a:lnTo>
                <a:lnTo>
                  <a:pt x="150" y="60"/>
                </a:lnTo>
                <a:lnTo>
                  <a:pt x="144" y="60"/>
                </a:lnTo>
                <a:lnTo>
                  <a:pt x="144" y="60"/>
                </a:lnTo>
                <a:lnTo>
                  <a:pt x="144" y="66"/>
                </a:lnTo>
                <a:lnTo>
                  <a:pt x="144" y="66"/>
                </a:lnTo>
                <a:lnTo>
                  <a:pt x="144" y="66"/>
                </a:lnTo>
                <a:lnTo>
                  <a:pt x="150" y="60"/>
                </a:lnTo>
                <a:lnTo>
                  <a:pt x="150" y="54"/>
                </a:lnTo>
                <a:lnTo>
                  <a:pt x="150" y="54"/>
                </a:lnTo>
                <a:lnTo>
                  <a:pt x="150" y="54"/>
                </a:lnTo>
                <a:lnTo>
                  <a:pt x="150" y="54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44" y="48"/>
                </a:lnTo>
                <a:lnTo>
                  <a:pt x="144" y="48"/>
                </a:lnTo>
                <a:lnTo>
                  <a:pt x="138" y="48"/>
                </a:lnTo>
                <a:lnTo>
                  <a:pt x="138" y="42"/>
                </a:lnTo>
                <a:lnTo>
                  <a:pt x="138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26" y="42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32" y="30"/>
                </a:lnTo>
                <a:lnTo>
                  <a:pt x="126" y="36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6" y="30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0" y="24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0"/>
                </a:lnTo>
                <a:lnTo>
                  <a:pt x="126" y="0"/>
                </a:lnTo>
                <a:lnTo>
                  <a:pt x="126" y="0"/>
                </a:lnTo>
                <a:lnTo>
                  <a:pt x="126" y="0"/>
                </a:lnTo>
                <a:lnTo>
                  <a:pt x="126" y="6"/>
                </a:lnTo>
                <a:lnTo>
                  <a:pt x="126" y="0"/>
                </a:lnTo>
                <a:lnTo>
                  <a:pt x="132" y="0"/>
                </a:lnTo>
                <a:lnTo>
                  <a:pt x="132" y="6"/>
                </a:lnTo>
                <a:lnTo>
                  <a:pt x="126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8"/>
                </a:lnTo>
                <a:lnTo>
                  <a:pt x="126" y="18"/>
                </a:lnTo>
                <a:lnTo>
                  <a:pt x="126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8" y="18"/>
                </a:lnTo>
                <a:lnTo>
                  <a:pt x="138" y="24"/>
                </a:lnTo>
                <a:lnTo>
                  <a:pt x="132" y="24"/>
                </a:lnTo>
                <a:lnTo>
                  <a:pt x="138" y="24"/>
                </a:lnTo>
                <a:lnTo>
                  <a:pt x="138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6"/>
                </a:lnTo>
                <a:lnTo>
                  <a:pt x="144" y="36"/>
                </a:lnTo>
                <a:lnTo>
                  <a:pt x="144" y="36"/>
                </a:lnTo>
                <a:lnTo>
                  <a:pt x="144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62" y="48"/>
                </a:lnTo>
                <a:lnTo>
                  <a:pt x="162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54"/>
                </a:lnTo>
                <a:lnTo>
                  <a:pt x="162" y="54"/>
                </a:lnTo>
                <a:lnTo>
                  <a:pt x="162" y="48"/>
                </a:lnTo>
                <a:lnTo>
                  <a:pt x="162" y="54"/>
                </a:lnTo>
                <a:lnTo>
                  <a:pt x="168" y="54"/>
                </a:lnTo>
                <a:lnTo>
                  <a:pt x="174" y="60"/>
                </a:lnTo>
                <a:lnTo>
                  <a:pt x="180" y="60"/>
                </a:lnTo>
                <a:lnTo>
                  <a:pt x="174" y="60"/>
                </a:lnTo>
                <a:lnTo>
                  <a:pt x="174" y="54"/>
                </a:lnTo>
                <a:lnTo>
                  <a:pt x="174" y="54"/>
                </a:lnTo>
                <a:lnTo>
                  <a:pt x="174" y="48"/>
                </a:lnTo>
                <a:lnTo>
                  <a:pt x="174" y="48"/>
                </a:lnTo>
                <a:lnTo>
                  <a:pt x="174" y="42"/>
                </a:lnTo>
                <a:lnTo>
                  <a:pt x="174" y="42"/>
                </a:lnTo>
                <a:lnTo>
                  <a:pt x="180" y="42"/>
                </a:lnTo>
                <a:lnTo>
                  <a:pt x="180" y="42"/>
                </a:lnTo>
                <a:lnTo>
                  <a:pt x="186" y="42"/>
                </a:lnTo>
                <a:lnTo>
                  <a:pt x="192" y="42"/>
                </a:lnTo>
                <a:lnTo>
                  <a:pt x="192" y="42"/>
                </a:lnTo>
                <a:lnTo>
                  <a:pt x="192" y="42"/>
                </a:lnTo>
                <a:lnTo>
                  <a:pt x="192" y="42"/>
                </a:lnTo>
                <a:lnTo>
                  <a:pt x="192" y="42"/>
                </a:lnTo>
                <a:lnTo>
                  <a:pt x="192" y="42"/>
                </a:lnTo>
                <a:lnTo>
                  <a:pt x="192" y="42"/>
                </a:lnTo>
                <a:lnTo>
                  <a:pt x="192" y="42"/>
                </a:lnTo>
                <a:lnTo>
                  <a:pt x="192" y="42"/>
                </a:lnTo>
                <a:lnTo>
                  <a:pt x="192" y="42"/>
                </a:lnTo>
                <a:lnTo>
                  <a:pt x="192" y="36"/>
                </a:lnTo>
                <a:lnTo>
                  <a:pt x="192" y="36"/>
                </a:lnTo>
                <a:lnTo>
                  <a:pt x="192" y="36"/>
                </a:lnTo>
                <a:lnTo>
                  <a:pt x="192" y="36"/>
                </a:lnTo>
                <a:lnTo>
                  <a:pt x="192" y="42"/>
                </a:lnTo>
                <a:lnTo>
                  <a:pt x="198" y="36"/>
                </a:lnTo>
                <a:lnTo>
                  <a:pt x="198" y="42"/>
                </a:lnTo>
                <a:lnTo>
                  <a:pt x="198" y="36"/>
                </a:lnTo>
                <a:lnTo>
                  <a:pt x="204" y="42"/>
                </a:lnTo>
                <a:lnTo>
                  <a:pt x="204" y="42"/>
                </a:lnTo>
                <a:lnTo>
                  <a:pt x="210" y="42"/>
                </a:lnTo>
                <a:lnTo>
                  <a:pt x="210" y="36"/>
                </a:lnTo>
                <a:lnTo>
                  <a:pt x="210" y="36"/>
                </a:lnTo>
                <a:lnTo>
                  <a:pt x="210" y="36"/>
                </a:lnTo>
                <a:lnTo>
                  <a:pt x="210" y="36"/>
                </a:lnTo>
                <a:lnTo>
                  <a:pt x="210" y="24"/>
                </a:lnTo>
                <a:lnTo>
                  <a:pt x="210" y="24"/>
                </a:lnTo>
                <a:lnTo>
                  <a:pt x="216" y="24"/>
                </a:lnTo>
                <a:lnTo>
                  <a:pt x="216" y="24"/>
                </a:lnTo>
                <a:lnTo>
                  <a:pt x="216" y="24"/>
                </a:lnTo>
                <a:lnTo>
                  <a:pt x="216" y="24"/>
                </a:lnTo>
                <a:lnTo>
                  <a:pt x="222" y="30"/>
                </a:lnTo>
                <a:lnTo>
                  <a:pt x="222" y="30"/>
                </a:lnTo>
                <a:lnTo>
                  <a:pt x="222" y="36"/>
                </a:lnTo>
                <a:lnTo>
                  <a:pt x="222" y="30"/>
                </a:lnTo>
                <a:lnTo>
                  <a:pt x="222" y="36"/>
                </a:lnTo>
                <a:lnTo>
                  <a:pt x="222" y="36"/>
                </a:lnTo>
                <a:lnTo>
                  <a:pt x="228" y="36"/>
                </a:lnTo>
                <a:lnTo>
                  <a:pt x="222" y="36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48"/>
                </a:lnTo>
                <a:lnTo>
                  <a:pt x="222" y="48"/>
                </a:lnTo>
                <a:lnTo>
                  <a:pt x="222" y="48"/>
                </a:lnTo>
                <a:lnTo>
                  <a:pt x="222" y="48"/>
                </a:lnTo>
                <a:lnTo>
                  <a:pt x="222" y="54"/>
                </a:lnTo>
                <a:lnTo>
                  <a:pt x="222" y="54"/>
                </a:lnTo>
                <a:lnTo>
                  <a:pt x="222" y="60"/>
                </a:lnTo>
                <a:lnTo>
                  <a:pt x="222" y="60"/>
                </a:lnTo>
                <a:lnTo>
                  <a:pt x="222" y="60"/>
                </a:lnTo>
                <a:lnTo>
                  <a:pt x="222" y="66"/>
                </a:lnTo>
                <a:lnTo>
                  <a:pt x="222" y="66"/>
                </a:lnTo>
                <a:lnTo>
                  <a:pt x="216" y="66"/>
                </a:lnTo>
                <a:lnTo>
                  <a:pt x="216" y="66"/>
                </a:lnTo>
                <a:lnTo>
                  <a:pt x="210" y="60"/>
                </a:lnTo>
                <a:lnTo>
                  <a:pt x="210" y="60"/>
                </a:lnTo>
                <a:lnTo>
                  <a:pt x="210" y="54"/>
                </a:lnTo>
                <a:lnTo>
                  <a:pt x="210" y="54"/>
                </a:lnTo>
                <a:lnTo>
                  <a:pt x="210" y="54"/>
                </a:lnTo>
                <a:lnTo>
                  <a:pt x="216" y="54"/>
                </a:lnTo>
                <a:lnTo>
                  <a:pt x="216" y="54"/>
                </a:lnTo>
                <a:lnTo>
                  <a:pt x="216" y="54"/>
                </a:lnTo>
                <a:lnTo>
                  <a:pt x="216" y="54"/>
                </a:lnTo>
                <a:lnTo>
                  <a:pt x="216" y="54"/>
                </a:lnTo>
                <a:lnTo>
                  <a:pt x="216" y="54"/>
                </a:lnTo>
                <a:lnTo>
                  <a:pt x="216" y="48"/>
                </a:lnTo>
                <a:lnTo>
                  <a:pt x="216" y="48"/>
                </a:lnTo>
                <a:lnTo>
                  <a:pt x="216" y="42"/>
                </a:lnTo>
                <a:lnTo>
                  <a:pt x="210" y="42"/>
                </a:lnTo>
                <a:lnTo>
                  <a:pt x="216" y="48"/>
                </a:lnTo>
                <a:lnTo>
                  <a:pt x="210" y="48"/>
                </a:lnTo>
                <a:lnTo>
                  <a:pt x="210" y="48"/>
                </a:lnTo>
                <a:lnTo>
                  <a:pt x="216" y="48"/>
                </a:lnTo>
                <a:lnTo>
                  <a:pt x="210" y="48"/>
                </a:lnTo>
                <a:lnTo>
                  <a:pt x="216" y="54"/>
                </a:lnTo>
                <a:lnTo>
                  <a:pt x="210" y="54"/>
                </a:lnTo>
                <a:lnTo>
                  <a:pt x="210" y="48"/>
                </a:lnTo>
                <a:lnTo>
                  <a:pt x="210" y="48"/>
                </a:lnTo>
                <a:lnTo>
                  <a:pt x="210" y="54"/>
                </a:lnTo>
                <a:lnTo>
                  <a:pt x="210" y="54"/>
                </a:lnTo>
                <a:lnTo>
                  <a:pt x="210" y="54"/>
                </a:lnTo>
                <a:lnTo>
                  <a:pt x="210" y="54"/>
                </a:lnTo>
                <a:lnTo>
                  <a:pt x="204" y="48"/>
                </a:lnTo>
                <a:lnTo>
                  <a:pt x="204" y="48"/>
                </a:lnTo>
                <a:lnTo>
                  <a:pt x="204" y="48"/>
                </a:lnTo>
                <a:lnTo>
                  <a:pt x="204" y="48"/>
                </a:lnTo>
                <a:lnTo>
                  <a:pt x="204" y="48"/>
                </a:lnTo>
                <a:lnTo>
                  <a:pt x="204" y="48"/>
                </a:lnTo>
                <a:lnTo>
                  <a:pt x="204" y="48"/>
                </a:lnTo>
                <a:lnTo>
                  <a:pt x="204" y="48"/>
                </a:lnTo>
                <a:lnTo>
                  <a:pt x="198" y="48"/>
                </a:lnTo>
                <a:lnTo>
                  <a:pt x="198" y="48"/>
                </a:lnTo>
                <a:lnTo>
                  <a:pt x="204" y="54"/>
                </a:lnTo>
                <a:lnTo>
                  <a:pt x="204" y="66"/>
                </a:lnTo>
                <a:lnTo>
                  <a:pt x="204" y="78"/>
                </a:lnTo>
                <a:lnTo>
                  <a:pt x="204" y="84"/>
                </a:lnTo>
                <a:lnTo>
                  <a:pt x="204" y="90"/>
                </a:lnTo>
                <a:lnTo>
                  <a:pt x="204" y="96"/>
                </a:lnTo>
                <a:lnTo>
                  <a:pt x="198" y="102"/>
                </a:lnTo>
                <a:lnTo>
                  <a:pt x="198" y="108"/>
                </a:lnTo>
                <a:lnTo>
                  <a:pt x="198" y="108"/>
                </a:lnTo>
                <a:lnTo>
                  <a:pt x="186" y="108"/>
                </a:lnTo>
                <a:lnTo>
                  <a:pt x="186" y="114"/>
                </a:lnTo>
                <a:lnTo>
                  <a:pt x="186" y="114"/>
                </a:lnTo>
                <a:lnTo>
                  <a:pt x="180" y="114"/>
                </a:lnTo>
                <a:lnTo>
                  <a:pt x="180" y="114"/>
                </a:lnTo>
                <a:lnTo>
                  <a:pt x="174" y="120"/>
                </a:lnTo>
                <a:lnTo>
                  <a:pt x="174" y="120"/>
                </a:lnTo>
                <a:lnTo>
                  <a:pt x="168" y="120"/>
                </a:lnTo>
                <a:lnTo>
                  <a:pt x="168" y="120"/>
                </a:lnTo>
                <a:lnTo>
                  <a:pt x="168" y="126"/>
                </a:lnTo>
                <a:lnTo>
                  <a:pt x="174" y="126"/>
                </a:lnTo>
                <a:lnTo>
                  <a:pt x="168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38"/>
                </a:lnTo>
                <a:lnTo>
                  <a:pt x="168" y="138"/>
                </a:lnTo>
                <a:lnTo>
                  <a:pt x="162" y="138"/>
                </a:lnTo>
                <a:lnTo>
                  <a:pt x="156" y="138"/>
                </a:lnTo>
                <a:lnTo>
                  <a:pt x="156" y="144"/>
                </a:lnTo>
                <a:lnTo>
                  <a:pt x="156" y="144"/>
                </a:lnTo>
                <a:lnTo>
                  <a:pt x="150" y="144"/>
                </a:lnTo>
                <a:lnTo>
                  <a:pt x="150" y="144"/>
                </a:lnTo>
                <a:lnTo>
                  <a:pt x="144" y="144"/>
                </a:lnTo>
                <a:lnTo>
                  <a:pt x="144" y="144"/>
                </a:lnTo>
                <a:lnTo>
                  <a:pt x="144" y="138"/>
                </a:lnTo>
                <a:lnTo>
                  <a:pt x="144" y="138"/>
                </a:lnTo>
                <a:lnTo>
                  <a:pt x="144" y="138"/>
                </a:lnTo>
                <a:lnTo>
                  <a:pt x="144" y="144"/>
                </a:lnTo>
                <a:lnTo>
                  <a:pt x="144" y="150"/>
                </a:lnTo>
                <a:lnTo>
                  <a:pt x="144" y="156"/>
                </a:lnTo>
                <a:lnTo>
                  <a:pt x="144" y="162"/>
                </a:lnTo>
                <a:lnTo>
                  <a:pt x="144" y="168"/>
                </a:lnTo>
                <a:lnTo>
                  <a:pt x="144" y="174"/>
                </a:lnTo>
                <a:lnTo>
                  <a:pt x="144" y="180"/>
                </a:lnTo>
                <a:lnTo>
                  <a:pt x="138" y="186"/>
                </a:lnTo>
                <a:lnTo>
                  <a:pt x="132" y="192"/>
                </a:lnTo>
                <a:lnTo>
                  <a:pt x="132" y="192"/>
                </a:lnTo>
                <a:lnTo>
                  <a:pt x="126" y="192"/>
                </a:lnTo>
                <a:lnTo>
                  <a:pt x="126" y="198"/>
                </a:lnTo>
                <a:lnTo>
                  <a:pt x="120" y="198"/>
                </a:lnTo>
                <a:lnTo>
                  <a:pt x="114" y="198"/>
                </a:lnTo>
                <a:lnTo>
                  <a:pt x="114" y="198"/>
                </a:lnTo>
                <a:lnTo>
                  <a:pt x="108" y="198"/>
                </a:lnTo>
                <a:lnTo>
                  <a:pt x="108" y="192"/>
                </a:lnTo>
                <a:lnTo>
                  <a:pt x="108" y="192"/>
                </a:lnTo>
                <a:lnTo>
                  <a:pt x="108" y="198"/>
                </a:lnTo>
                <a:lnTo>
                  <a:pt x="108" y="198"/>
                </a:lnTo>
                <a:lnTo>
                  <a:pt x="102" y="204"/>
                </a:lnTo>
                <a:lnTo>
                  <a:pt x="102" y="204"/>
                </a:lnTo>
                <a:lnTo>
                  <a:pt x="102" y="204"/>
                </a:lnTo>
                <a:lnTo>
                  <a:pt x="108" y="198"/>
                </a:lnTo>
                <a:lnTo>
                  <a:pt x="108" y="198"/>
                </a:lnTo>
                <a:lnTo>
                  <a:pt x="102" y="204"/>
                </a:lnTo>
                <a:lnTo>
                  <a:pt x="108" y="210"/>
                </a:lnTo>
                <a:lnTo>
                  <a:pt x="108" y="210"/>
                </a:lnTo>
                <a:lnTo>
                  <a:pt x="108" y="210"/>
                </a:lnTo>
                <a:lnTo>
                  <a:pt x="108" y="210"/>
                </a:lnTo>
                <a:lnTo>
                  <a:pt x="108" y="210"/>
                </a:lnTo>
                <a:lnTo>
                  <a:pt x="102" y="210"/>
                </a:lnTo>
                <a:lnTo>
                  <a:pt x="102" y="210"/>
                </a:lnTo>
                <a:lnTo>
                  <a:pt x="102" y="210"/>
                </a:lnTo>
                <a:lnTo>
                  <a:pt x="102" y="204"/>
                </a:lnTo>
                <a:lnTo>
                  <a:pt x="102" y="204"/>
                </a:lnTo>
                <a:lnTo>
                  <a:pt x="102" y="204"/>
                </a:lnTo>
                <a:lnTo>
                  <a:pt x="102" y="204"/>
                </a:lnTo>
                <a:lnTo>
                  <a:pt x="102" y="204"/>
                </a:lnTo>
                <a:lnTo>
                  <a:pt x="96" y="210"/>
                </a:lnTo>
                <a:lnTo>
                  <a:pt x="96" y="216"/>
                </a:lnTo>
                <a:lnTo>
                  <a:pt x="90" y="222"/>
                </a:lnTo>
                <a:lnTo>
                  <a:pt x="78" y="234"/>
                </a:lnTo>
                <a:lnTo>
                  <a:pt x="72" y="234"/>
                </a:lnTo>
                <a:lnTo>
                  <a:pt x="72" y="234"/>
                </a:lnTo>
                <a:lnTo>
                  <a:pt x="66" y="234"/>
                </a:lnTo>
                <a:lnTo>
                  <a:pt x="60" y="234"/>
                </a:lnTo>
                <a:lnTo>
                  <a:pt x="54" y="234"/>
                </a:lnTo>
                <a:lnTo>
                  <a:pt x="54" y="234"/>
                </a:lnTo>
                <a:lnTo>
                  <a:pt x="54" y="234"/>
                </a:lnTo>
                <a:lnTo>
                  <a:pt x="54" y="234"/>
                </a:lnTo>
                <a:lnTo>
                  <a:pt x="54" y="234"/>
                </a:lnTo>
                <a:lnTo>
                  <a:pt x="60" y="234"/>
                </a:lnTo>
                <a:lnTo>
                  <a:pt x="60" y="234"/>
                </a:lnTo>
                <a:lnTo>
                  <a:pt x="60" y="234"/>
                </a:lnTo>
                <a:lnTo>
                  <a:pt x="60" y="234"/>
                </a:lnTo>
                <a:lnTo>
                  <a:pt x="60" y="234"/>
                </a:lnTo>
                <a:lnTo>
                  <a:pt x="60" y="234"/>
                </a:lnTo>
                <a:lnTo>
                  <a:pt x="60" y="234"/>
                </a:lnTo>
                <a:lnTo>
                  <a:pt x="60" y="234"/>
                </a:lnTo>
                <a:lnTo>
                  <a:pt x="60" y="234"/>
                </a:lnTo>
                <a:lnTo>
                  <a:pt x="60" y="240"/>
                </a:lnTo>
                <a:lnTo>
                  <a:pt x="60" y="240"/>
                </a:lnTo>
                <a:lnTo>
                  <a:pt x="60" y="240"/>
                </a:lnTo>
                <a:lnTo>
                  <a:pt x="60" y="240"/>
                </a:lnTo>
                <a:lnTo>
                  <a:pt x="54" y="240"/>
                </a:lnTo>
                <a:lnTo>
                  <a:pt x="54" y="246"/>
                </a:lnTo>
                <a:lnTo>
                  <a:pt x="54" y="246"/>
                </a:lnTo>
                <a:lnTo>
                  <a:pt x="48" y="246"/>
                </a:lnTo>
                <a:lnTo>
                  <a:pt x="42" y="240"/>
                </a:lnTo>
                <a:lnTo>
                  <a:pt x="42" y="240"/>
                </a:lnTo>
                <a:lnTo>
                  <a:pt x="36" y="240"/>
                </a:lnTo>
                <a:lnTo>
                  <a:pt x="30" y="234"/>
                </a:lnTo>
                <a:lnTo>
                  <a:pt x="30" y="234"/>
                </a:lnTo>
                <a:lnTo>
                  <a:pt x="24" y="234"/>
                </a:lnTo>
                <a:lnTo>
                  <a:pt x="24" y="240"/>
                </a:lnTo>
                <a:lnTo>
                  <a:pt x="24" y="234"/>
                </a:lnTo>
                <a:lnTo>
                  <a:pt x="24" y="234"/>
                </a:lnTo>
                <a:lnTo>
                  <a:pt x="24" y="234"/>
                </a:lnTo>
                <a:lnTo>
                  <a:pt x="18" y="234"/>
                </a:lnTo>
                <a:lnTo>
                  <a:pt x="18" y="234"/>
                </a:lnTo>
                <a:lnTo>
                  <a:pt x="18" y="234"/>
                </a:lnTo>
                <a:lnTo>
                  <a:pt x="24" y="234"/>
                </a:lnTo>
                <a:lnTo>
                  <a:pt x="24" y="240"/>
                </a:lnTo>
                <a:lnTo>
                  <a:pt x="24" y="240"/>
                </a:lnTo>
                <a:lnTo>
                  <a:pt x="24" y="240"/>
                </a:lnTo>
                <a:lnTo>
                  <a:pt x="24" y="240"/>
                </a:lnTo>
                <a:lnTo>
                  <a:pt x="24" y="240"/>
                </a:lnTo>
                <a:lnTo>
                  <a:pt x="24" y="240"/>
                </a:lnTo>
                <a:lnTo>
                  <a:pt x="24" y="246"/>
                </a:lnTo>
                <a:lnTo>
                  <a:pt x="24" y="246"/>
                </a:lnTo>
                <a:lnTo>
                  <a:pt x="30" y="246"/>
                </a:lnTo>
                <a:lnTo>
                  <a:pt x="30" y="246"/>
                </a:lnTo>
                <a:lnTo>
                  <a:pt x="30" y="246"/>
                </a:lnTo>
                <a:lnTo>
                  <a:pt x="30" y="252"/>
                </a:lnTo>
                <a:lnTo>
                  <a:pt x="30" y="252"/>
                </a:lnTo>
                <a:lnTo>
                  <a:pt x="30" y="252"/>
                </a:lnTo>
                <a:lnTo>
                  <a:pt x="36" y="258"/>
                </a:lnTo>
                <a:lnTo>
                  <a:pt x="30" y="258"/>
                </a:lnTo>
                <a:lnTo>
                  <a:pt x="30" y="258"/>
                </a:lnTo>
                <a:lnTo>
                  <a:pt x="30" y="258"/>
                </a:lnTo>
                <a:lnTo>
                  <a:pt x="30" y="258"/>
                </a:lnTo>
                <a:lnTo>
                  <a:pt x="30" y="264"/>
                </a:lnTo>
                <a:lnTo>
                  <a:pt x="30" y="264"/>
                </a:lnTo>
                <a:lnTo>
                  <a:pt x="30" y="264"/>
                </a:lnTo>
                <a:lnTo>
                  <a:pt x="30" y="270"/>
                </a:lnTo>
                <a:lnTo>
                  <a:pt x="30" y="270"/>
                </a:lnTo>
                <a:lnTo>
                  <a:pt x="24" y="276"/>
                </a:lnTo>
                <a:lnTo>
                  <a:pt x="24" y="276"/>
                </a:lnTo>
                <a:lnTo>
                  <a:pt x="24" y="276"/>
                </a:lnTo>
                <a:lnTo>
                  <a:pt x="24" y="276"/>
                </a:lnTo>
                <a:lnTo>
                  <a:pt x="24" y="276"/>
                </a:lnTo>
                <a:lnTo>
                  <a:pt x="24" y="276"/>
                </a:lnTo>
                <a:lnTo>
                  <a:pt x="24" y="282"/>
                </a:lnTo>
                <a:lnTo>
                  <a:pt x="24" y="288"/>
                </a:lnTo>
                <a:lnTo>
                  <a:pt x="24" y="282"/>
                </a:lnTo>
                <a:lnTo>
                  <a:pt x="24" y="282"/>
                </a:lnTo>
                <a:lnTo>
                  <a:pt x="24" y="276"/>
                </a:lnTo>
                <a:lnTo>
                  <a:pt x="24" y="270"/>
                </a:lnTo>
                <a:lnTo>
                  <a:pt x="24" y="270"/>
                </a:lnTo>
                <a:lnTo>
                  <a:pt x="24" y="270"/>
                </a:lnTo>
                <a:lnTo>
                  <a:pt x="24" y="270"/>
                </a:lnTo>
                <a:lnTo>
                  <a:pt x="24" y="270"/>
                </a:lnTo>
                <a:lnTo>
                  <a:pt x="24" y="270"/>
                </a:lnTo>
                <a:lnTo>
                  <a:pt x="24" y="270"/>
                </a:lnTo>
                <a:lnTo>
                  <a:pt x="24" y="264"/>
                </a:lnTo>
                <a:lnTo>
                  <a:pt x="24" y="264"/>
                </a:lnTo>
                <a:lnTo>
                  <a:pt x="24" y="264"/>
                </a:lnTo>
                <a:lnTo>
                  <a:pt x="18" y="264"/>
                </a:lnTo>
                <a:lnTo>
                  <a:pt x="18" y="264"/>
                </a:lnTo>
                <a:lnTo>
                  <a:pt x="18" y="264"/>
                </a:lnTo>
                <a:lnTo>
                  <a:pt x="24" y="264"/>
                </a:lnTo>
                <a:lnTo>
                  <a:pt x="24" y="264"/>
                </a:lnTo>
                <a:lnTo>
                  <a:pt x="24" y="264"/>
                </a:lnTo>
                <a:lnTo>
                  <a:pt x="24" y="264"/>
                </a:lnTo>
                <a:lnTo>
                  <a:pt x="24" y="258"/>
                </a:lnTo>
                <a:lnTo>
                  <a:pt x="18" y="258"/>
                </a:lnTo>
                <a:lnTo>
                  <a:pt x="18" y="252"/>
                </a:lnTo>
                <a:lnTo>
                  <a:pt x="18" y="252"/>
                </a:lnTo>
                <a:lnTo>
                  <a:pt x="18" y="252"/>
                </a:lnTo>
                <a:lnTo>
                  <a:pt x="18" y="252"/>
                </a:lnTo>
                <a:lnTo>
                  <a:pt x="18" y="252"/>
                </a:lnTo>
                <a:lnTo>
                  <a:pt x="12" y="246"/>
                </a:lnTo>
                <a:lnTo>
                  <a:pt x="12" y="246"/>
                </a:lnTo>
                <a:lnTo>
                  <a:pt x="6" y="246"/>
                </a:lnTo>
                <a:lnTo>
                  <a:pt x="6" y="246"/>
                </a:lnTo>
                <a:lnTo>
                  <a:pt x="6" y="246"/>
                </a:lnTo>
                <a:lnTo>
                  <a:pt x="6" y="246"/>
                </a:lnTo>
                <a:lnTo>
                  <a:pt x="6" y="246"/>
                </a:lnTo>
                <a:lnTo>
                  <a:pt x="6" y="246"/>
                </a:lnTo>
                <a:lnTo>
                  <a:pt x="6" y="246"/>
                </a:lnTo>
                <a:lnTo>
                  <a:pt x="0" y="246"/>
                </a:lnTo>
                <a:lnTo>
                  <a:pt x="0" y="240"/>
                </a:lnTo>
                <a:lnTo>
                  <a:pt x="0" y="240"/>
                </a:lnTo>
                <a:lnTo>
                  <a:pt x="6" y="240"/>
                </a:lnTo>
                <a:lnTo>
                  <a:pt x="6" y="240"/>
                </a:lnTo>
                <a:lnTo>
                  <a:pt x="6" y="240"/>
                </a:lnTo>
                <a:lnTo>
                  <a:pt x="6" y="240"/>
                </a:lnTo>
                <a:lnTo>
                  <a:pt x="6" y="240"/>
                </a:lnTo>
                <a:lnTo>
                  <a:pt x="6" y="234"/>
                </a:lnTo>
                <a:lnTo>
                  <a:pt x="6" y="234"/>
                </a:lnTo>
                <a:lnTo>
                  <a:pt x="6" y="234"/>
                </a:lnTo>
                <a:lnTo>
                  <a:pt x="6" y="234"/>
                </a:lnTo>
                <a:lnTo>
                  <a:pt x="6" y="234"/>
                </a:lnTo>
                <a:lnTo>
                  <a:pt x="6" y="234"/>
                </a:lnTo>
                <a:lnTo>
                  <a:pt x="6" y="234"/>
                </a:lnTo>
                <a:lnTo>
                  <a:pt x="6" y="234"/>
                </a:lnTo>
                <a:lnTo>
                  <a:pt x="6" y="23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61" name="Freeform 494"/>
          <p:cNvSpPr>
            <a:spLocks/>
          </p:cNvSpPr>
          <p:nvPr/>
        </p:nvSpPr>
        <p:spPr bwMode="auto">
          <a:xfrm>
            <a:off x="6222297" y="5586850"/>
            <a:ext cx="128481" cy="205571"/>
          </a:xfrm>
          <a:custGeom>
            <a:avLst/>
            <a:gdLst>
              <a:gd name="T0" fmla="*/ 0 w 120"/>
              <a:gd name="T1" fmla="*/ 168 h 192"/>
              <a:gd name="T2" fmla="*/ 6 w 120"/>
              <a:gd name="T3" fmla="*/ 114 h 192"/>
              <a:gd name="T4" fmla="*/ 24 w 120"/>
              <a:gd name="T5" fmla="*/ 96 h 192"/>
              <a:gd name="T6" fmla="*/ 30 w 120"/>
              <a:gd name="T7" fmla="*/ 96 h 192"/>
              <a:gd name="T8" fmla="*/ 42 w 120"/>
              <a:gd name="T9" fmla="*/ 90 h 192"/>
              <a:gd name="T10" fmla="*/ 54 w 120"/>
              <a:gd name="T11" fmla="*/ 78 h 192"/>
              <a:gd name="T12" fmla="*/ 48 w 120"/>
              <a:gd name="T13" fmla="*/ 60 h 192"/>
              <a:gd name="T14" fmla="*/ 54 w 120"/>
              <a:gd name="T15" fmla="*/ 66 h 192"/>
              <a:gd name="T16" fmla="*/ 66 w 120"/>
              <a:gd name="T17" fmla="*/ 60 h 192"/>
              <a:gd name="T18" fmla="*/ 66 w 120"/>
              <a:gd name="T19" fmla="*/ 48 h 192"/>
              <a:gd name="T20" fmla="*/ 72 w 120"/>
              <a:gd name="T21" fmla="*/ 42 h 192"/>
              <a:gd name="T22" fmla="*/ 90 w 120"/>
              <a:gd name="T23" fmla="*/ 36 h 192"/>
              <a:gd name="T24" fmla="*/ 102 w 120"/>
              <a:gd name="T25" fmla="*/ 30 h 192"/>
              <a:gd name="T26" fmla="*/ 96 w 120"/>
              <a:gd name="T27" fmla="*/ 24 h 192"/>
              <a:gd name="T28" fmla="*/ 96 w 120"/>
              <a:gd name="T29" fmla="*/ 24 h 192"/>
              <a:gd name="T30" fmla="*/ 96 w 120"/>
              <a:gd name="T31" fmla="*/ 30 h 192"/>
              <a:gd name="T32" fmla="*/ 90 w 120"/>
              <a:gd name="T33" fmla="*/ 24 h 192"/>
              <a:gd name="T34" fmla="*/ 90 w 120"/>
              <a:gd name="T35" fmla="*/ 24 h 192"/>
              <a:gd name="T36" fmla="*/ 90 w 120"/>
              <a:gd name="T37" fmla="*/ 24 h 192"/>
              <a:gd name="T38" fmla="*/ 90 w 120"/>
              <a:gd name="T39" fmla="*/ 18 h 192"/>
              <a:gd name="T40" fmla="*/ 96 w 120"/>
              <a:gd name="T41" fmla="*/ 12 h 192"/>
              <a:gd name="T42" fmla="*/ 102 w 120"/>
              <a:gd name="T43" fmla="*/ 6 h 192"/>
              <a:gd name="T44" fmla="*/ 102 w 120"/>
              <a:gd name="T45" fmla="*/ 6 h 192"/>
              <a:gd name="T46" fmla="*/ 96 w 120"/>
              <a:gd name="T47" fmla="*/ 6 h 192"/>
              <a:gd name="T48" fmla="*/ 96 w 120"/>
              <a:gd name="T49" fmla="*/ 6 h 192"/>
              <a:gd name="T50" fmla="*/ 96 w 120"/>
              <a:gd name="T51" fmla="*/ 6 h 192"/>
              <a:gd name="T52" fmla="*/ 102 w 120"/>
              <a:gd name="T53" fmla="*/ 6 h 192"/>
              <a:gd name="T54" fmla="*/ 102 w 120"/>
              <a:gd name="T55" fmla="*/ 0 h 192"/>
              <a:gd name="T56" fmla="*/ 102 w 120"/>
              <a:gd name="T57" fmla="*/ 0 h 192"/>
              <a:gd name="T58" fmla="*/ 102 w 120"/>
              <a:gd name="T59" fmla="*/ 0 h 192"/>
              <a:gd name="T60" fmla="*/ 108 w 120"/>
              <a:gd name="T61" fmla="*/ 0 h 192"/>
              <a:gd name="T62" fmla="*/ 114 w 120"/>
              <a:gd name="T63" fmla="*/ 0 h 192"/>
              <a:gd name="T64" fmla="*/ 108 w 120"/>
              <a:gd name="T65" fmla="*/ 12 h 192"/>
              <a:gd name="T66" fmla="*/ 108 w 120"/>
              <a:gd name="T67" fmla="*/ 24 h 192"/>
              <a:gd name="T68" fmla="*/ 120 w 120"/>
              <a:gd name="T69" fmla="*/ 48 h 192"/>
              <a:gd name="T70" fmla="*/ 114 w 120"/>
              <a:gd name="T71" fmla="*/ 60 h 192"/>
              <a:gd name="T72" fmla="*/ 96 w 120"/>
              <a:gd name="T73" fmla="*/ 96 h 192"/>
              <a:gd name="T74" fmla="*/ 78 w 120"/>
              <a:gd name="T75" fmla="*/ 96 h 192"/>
              <a:gd name="T76" fmla="*/ 66 w 120"/>
              <a:gd name="T77" fmla="*/ 84 h 192"/>
              <a:gd name="T78" fmla="*/ 66 w 120"/>
              <a:gd name="T79" fmla="*/ 78 h 192"/>
              <a:gd name="T80" fmla="*/ 60 w 120"/>
              <a:gd name="T81" fmla="*/ 84 h 192"/>
              <a:gd name="T82" fmla="*/ 54 w 120"/>
              <a:gd name="T83" fmla="*/ 84 h 192"/>
              <a:gd name="T84" fmla="*/ 54 w 120"/>
              <a:gd name="T85" fmla="*/ 84 h 192"/>
              <a:gd name="T86" fmla="*/ 42 w 120"/>
              <a:gd name="T87" fmla="*/ 96 h 192"/>
              <a:gd name="T88" fmla="*/ 48 w 120"/>
              <a:gd name="T89" fmla="*/ 102 h 192"/>
              <a:gd name="T90" fmla="*/ 36 w 120"/>
              <a:gd name="T91" fmla="*/ 120 h 192"/>
              <a:gd name="T92" fmla="*/ 24 w 120"/>
              <a:gd name="T93" fmla="*/ 120 h 192"/>
              <a:gd name="T94" fmla="*/ 24 w 120"/>
              <a:gd name="T95" fmla="*/ 114 h 192"/>
              <a:gd name="T96" fmla="*/ 18 w 120"/>
              <a:gd name="T97" fmla="*/ 126 h 192"/>
              <a:gd name="T98" fmla="*/ 12 w 120"/>
              <a:gd name="T99" fmla="*/ 132 h 192"/>
              <a:gd name="T100" fmla="*/ 12 w 120"/>
              <a:gd name="T101" fmla="*/ 126 h 192"/>
              <a:gd name="T102" fmla="*/ 12 w 120"/>
              <a:gd name="T103" fmla="*/ 126 h 192"/>
              <a:gd name="T104" fmla="*/ 12 w 120"/>
              <a:gd name="T105" fmla="*/ 132 h 192"/>
              <a:gd name="T106" fmla="*/ 12 w 120"/>
              <a:gd name="T107" fmla="*/ 162 h 192"/>
              <a:gd name="T108" fmla="*/ 12 w 120"/>
              <a:gd name="T109" fmla="*/ 174 h 192"/>
              <a:gd name="T110" fmla="*/ 6 w 120"/>
              <a:gd name="T111" fmla="*/ 174 h 192"/>
              <a:gd name="T112" fmla="*/ 6 w 120"/>
              <a:gd name="T113" fmla="*/ 180 h 192"/>
              <a:gd name="T114" fmla="*/ 6 w 120"/>
              <a:gd name="T115" fmla="*/ 186 h 192"/>
              <a:gd name="T116" fmla="*/ 6 w 120"/>
              <a:gd name="T117" fmla="*/ 180 h 192"/>
              <a:gd name="T118" fmla="*/ 0 w 120"/>
              <a:gd name="T119" fmla="*/ 180 h 192"/>
              <a:gd name="T120" fmla="*/ 0 w 120"/>
              <a:gd name="T121" fmla="*/ 192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20" h="192">
                <a:moveTo>
                  <a:pt x="0" y="186"/>
                </a:moveTo>
                <a:lnTo>
                  <a:pt x="0" y="186"/>
                </a:lnTo>
                <a:lnTo>
                  <a:pt x="0" y="180"/>
                </a:lnTo>
                <a:lnTo>
                  <a:pt x="0" y="168"/>
                </a:lnTo>
                <a:lnTo>
                  <a:pt x="0" y="156"/>
                </a:lnTo>
                <a:lnTo>
                  <a:pt x="0" y="144"/>
                </a:lnTo>
                <a:lnTo>
                  <a:pt x="0" y="132"/>
                </a:lnTo>
                <a:lnTo>
                  <a:pt x="6" y="114"/>
                </a:lnTo>
                <a:lnTo>
                  <a:pt x="18" y="108"/>
                </a:lnTo>
                <a:lnTo>
                  <a:pt x="24" y="108"/>
                </a:lnTo>
                <a:lnTo>
                  <a:pt x="36" y="102"/>
                </a:lnTo>
                <a:lnTo>
                  <a:pt x="24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42" y="90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54" y="78"/>
                </a:lnTo>
                <a:lnTo>
                  <a:pt x="60" y="78"/>
                </a:lnTo>
                <a:lnTo>
                  <a:pt x="42" y="66"/>
                </a:lnTo>
                <a:lnTo>
                  <a:pt x="42" y="66"/>
                </a:lnTo>
                <a:lnTo>
                  <a:pt x="48" y="60"/>
                </a:lnTo>
                <a:lnTo>
                  <a:pt x="48" y="60"/>
                </a:lnTo>
                <a:lnTo>
                  <a:pt x="54" y="60"/>
                </a:lnTo>
                <a:lnTo>
                  <a:pt x="54" y="66"/>
                </a:lnTo>
                <a:lnTo>
                  <a:pt x="54" y="66"/>
                </a:lnTo>
                <a:lnTo>
                  <a:pt x="54" y="60"/>
                </a:lnTo>
                <a:lnTo>
                  <a:pt x="60" y="60"/>
                </a:lnTo>
                <a:lnTo>
                  <a:pt x="60" y="60"/>
                </a:lnTo>
                <a:lnTo>
                  <a:pt x="66" y="60"/>
                </a:lnTo>
                <a:lnTo>
                  <a:pt x="66" y="60"/>
                </a:lnTo>
                <a:lnTo>
                  <a:pt x="66" y="54"/>
                </a:lnTo>
                <a:lnTo>
                  <a:pt x="66" y="54"/>
                </a:lnTo>
                <a:lnTo>
                  <a:pt x="66" y="48"/>
                </a:lnTo>
                <a:lnTo>
                  <a:pt x="66" y="48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8" y="42"/>
                </a:lnTo>
                <a:lnTo>
                  <a:pt x="84" y="36"/>
                </a:lnTo>
                <a:lnTo>
                  <a:pt x="90" y="36"/>
                </a:lnTo>
                <a:lnTo>
                  <a:pt x="96" y="36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96" y="24"/>
                </a:lnTo>
                <a:lnTo>
                  <a:pt x="102" y="24"/>
                </a:lnTo>
                <a:lnTo>
                  <a:pt x="102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0" y="24"/>
                </a:lnTo>
                <a:lnTo>
                  <a:pt x="96" y="24"/>
                </a:lnTo>
                <a:lnTo>
                  <a:pt x="96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6" y="18"/>
                </a:lnTo>
                <a:lnTo>
                  <a:pt x="96" y="18"/>
                </a:lnTo>
                <a:lnTo>
                  <a:pt x="90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14" y="0"/>
                </a:lnTo>
                <a:lnTo>
                  <a:pt x="114" y="0"/>
                </a:lnTo>
                <a:lnTo>
                  <a:pt x="114" y="0"/>
                </a:lnTo>
                <a:lnTo>
                  <a:pt x="114" y="0"/>
                </a:lnTo>
                <a:lnTo>
                  <a:pt x="114" y="6"/>
                </a:lnTo>
                <a:lnTo>
                  <a:pt x="108" y="12"/>
                </a:lnTo>
                <a:lnTo>
                  <a:pt x="108" y="18"/>
                </a:lnTo>
                <a:lnTo>
                  <a:pt x="108" y="18"/>
                </a:lnTo>
                <a:lnTo>
                  <a:pt x="108" y="24"/>
                </a:lnTo>
                <a:lnTo>
                  <a:pt x="108" y="24"/>
                </a:lnTo>
                <a:lnTo>
                  <a:pt x="114" y="36"/>
                </a:lnTo>
                <a:lnTo>
                  <a:pt x="120" y="42"/>
                </a:lnTo>
                <a:lnTo>
                  <a:pt x="120" y="42"/>
                </a:lnTo>
                <a:lnTo>
                  <a:pt x="120" y="48"/>
                </a:lnTo>
                <a:lnTo>
                  <a:pt x="120" y="48"/>
                </a:lnTo>
                <a:lnTo>
                  <a:pt x="120" y="54"/>
                </a:lnTo>
                <a:lnTo>
                  <a:pt x="120" y="60"/>
                </a:lnTo>
                <a:lnTo>
                  <a:pt x="114" y="60"/>
                </a:lnTo>
                <a:lnTo>
                  <a:pt x="108" y="78"/>
                </a:lnTo>
                <a:lnTo>
                  <a:pt x="102" y="84"/>
                </a:lnTo>
                <a:lnTo>
                  <a:pt x="96" y="90"/>
                </a:lnTo>
                <a:lnTo>
                  <a:pt x="96" y="96"/>
                </a:lnTo>
                <a:lnTo>
                  <a:pt x="90" y="96"/>
                </a:lnTo>
                <a:lnTo>
                  <a:pt x="90" y="96"/>
                </a:lnTo>
                <a:lnTo>
                  <a:pt x="84" y="96"/>
                </a:lnTo>
                <a:lnTo>
                  <a:pt x="78" y="96"/>
                </a:lnTo>
                <a:lnTo>
                  <a:pt x="78" y="90"/>
                </a:lnTo>
                <a:lnTo>
                  <a:pt x="72" y="90"/>
                </a:lnTo>
                <a:lnTo>
                  <a:pt x="72" y="90"/>
                </a:lnTo>
                <a:lnTo>
                  <a:pt x="66" y="84"/>
                </a:lnTo>
                <a:lnTo>
                  <a:pt x="66" y="84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0" y="84"/>
                </a:lnTo>
                <a:lnTo>
                  <a:pt x="60" y="84"/>
                </a:lnTo>
                <a:lnTo>
                  <a:pt x="60" y="90"/>
                </a:lnTo>
                <a:lnTo>
                  <a:pt x="54" y="90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48" y="84"/>
                </a:lnTo>
                <a:lnTo>
                  <a:pt x="48" y="84"/>
                </a:lnTo>
                <a:lnTo>
                  <a:pt x="48" y="90"/>
                </a:lnTo>
                <a:lnTo>
                  <a:pt x="42" y="96"/>
                </a:lnTo>
                <a:lnTo>
                  <a:pt x="48" y="96"/>
                </a:lnTo>
                <a:lnTo>
                  <a:pt x="48" y="96"/>
                </a:lnTo>
                <a:lnTo>
                  <a:pt x="42" y="96"/>
                </a:lnTo>
                <a:lnTo>
                  <a:pt x="48" y="102"/>
                </a:lnTo>
                <a:lnTo>
                  <a:pt x="48" y="108"/>
                </a:lnTo>
                <a:lnTo>
                  <a:pt x="42" y="108"/>
                </a:lnTo>
                <a:lnTo>
                  <a:pt x="42" y="114"/>
                </a:lnTo>
                <a:lnTo>
                  <a:pt x="36" y="120"/>
                </a:lnTo>
                <a:lnTo>
                  <a:pt x="36" y="120"/>
                </a:lnTo>
                <a:lnTo>
                  <a:pt x="30" y="126"/>
                </a:lnTo>
                <a:lnTo>
                  <a:pt x="30" y="126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14"/>
                </a:lnTo>
                <a:lnTo>
                  <a:pt x="24" y="114"/>
                </a:lnTo>
                <a:lnTo>
                  <a:pt x="24" y="120"/>
                </a:lnTo>
                <a:lnTo>
                  <a:pt x="18" y="120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32"/>
                </a:lnTo>
                <a:lnTo>
                  <a:pt x="12" y="132"/>
                </a:lnTo>
                <a:lnTo>
                  <a:pt x="6" y="144"/>
                </a:lnTo>
                <a:lnTo>
                  <a:pt x="6" y="156"/>
                </a:lnTo>
                <a:lnTo>
                  <a:pt x="12" y="162"/>
                </a:lnTo>
                <a:lnTo>
                  <a:pt x="12" y="162"/>
                </a:lnTo>
                <a:lnTo>
                  <a:pt x="12" y="168"/>
                </a:lnTo>
                <a:lnTo>
                  <a:pt x="12" y="174"/>
                </a:lnTo>
                <a:lnTo>
                  <a:pt x="12" y="174"/>
                </a:lnTo>
                <a:lnTo>
                  <a:pt x="12" y="174"/>
                </a:lnTo>
                <a:lnTo>
                  <a:pt x="6" y="174"/>
                </a:lnTo>
                <a:lnTo>
                  <a:pt x="6" y="174"/>
                </a:lnTo>
                <a:lnTo>
                  <a:pt x="6" y="174"/>
                </a:lnTo>
                <a:lnTo>
                  <a:pt x="6" y="174"/>
                </a:lnTo>
                <a:lnTo>
                  <a:pt x="6" y="180"/>
                </a:lnTo>
                <a:lnTo>
                  <a:pt x="6" y="180"/>
                </a:lnTo>
                <a:lnTo>
                  <a:pt x="6" y="180"/>
                </a:lnTo>
                <a:lnTo>
                  <a:pt x="6" y="180"/>
                </a:lnTo>
                <a:lnTo>
                  <a:pt x="6" y="186"/>
                </a:lnTo>
                <a:lnTo>
                  <a:pt x="6" y="186"/>
                </a:lnTo>
                <a:lnTo>
                  <a:pt x="6" y="186"/>
                </a:lnTo>
                <a:lnTo>
                  <a:pt x="0" y="180"/>
                </a:lnTo>
                <a:lnTo>
                  <a:pt x="0" y="180"/>
                </a:lnTo>
                <a:lnTo>
                  <a:pt x="6" y="180"/>
                </a:lnTo>
                <a:lnTo>
                  <a:pt x="6" y="180"/>
                </a:lnTo>
                <a:lnTo>
                  <a:pt x="6" y="180"/>
                </a:lnTo>
                <a:lnTo>
                  <a:pt x="0" y="180"/>
                </a:lnTo>
                <a:lnTo>
                  <a:pt x="0" y="180"/>
                </a:lnTo>
                <a:lnTo>
                  <a:pt x="0" y="180"/>
                </a:lnTo>
                <a:lnTo>
                  <a:pt x="0" y="186"/>
                </a:lnTo>
                <a:lnTo>
                  <a:pt x="0" y="186"/>
                </a:lnTo>
                <a:lnTo>
                  <a:pt x="0" y="186"/>
                </a:lnTo>
                <a:lnTo>
                  <a:pt x="0" y="192"/>
                </a:lnTo>
                <a:lnTo>
                  <a:pt x="0" y="186"/>
                </a:lnTo>
                <a:lnTo>
                  <a:pt x="0" y="18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62" name="Freeform 495"/>
          <p:cNvSpPr>
            <a:spLocks/>
          </p:cNvSpPr>
          <p:nvPr/>
        </p:nvSpPr>
        <p:spPr bwMode="auto">
          <a:xfrm>
            <a:off x="6125936" y="3768831"/>
            <a:ext cx="366171" cy="366173"/>
          </a:xfrm>
          <a:custGeom>
            <a:avLst/>
            <a:gdLst>
              <a:gd name="T0" fmla="*/ 6 w 342"/>
              <a:gd name="T1" fmla="*/ 174 h 342"/>
              <a:gd name="T2" fmla="*/ 12 w 342"/>
              <a:gd name="T3" fmla="*/ 174 h 342"/>
              <a:gd name="T4" fmla="*/ 24 w 342"/>
              <a:gd name="T5" fmla="*/ 168 h 342"/>
              <a:gd name="T6" fmla="*/ 30 w 342"/>
              <a:gd name="T7" fmla="*/ 168 h 342"/>
              <a:gd name="T8" fmla="*/ 42 w 342"/>
              <a:gd name="T9" fmla="*/ 162 h 342"/>
              <a:gd name="T10" fmla="*/ 30 w 342"/>
              <a:gd name="T11" fmla="*/ 156 h 342"/>
              <a:gd name="T12" fmla="*/ 24 w 342"/>
              <a:gd name="T13" fmla="*/ 150 h 342"/>
              <a:gd name="T14" fmla="*/ 18 w 342"/>
              <a:gd name="T15" fmla="*/ 138 h 342"/>
              <a:gd name="T16" fmla="*/ 36 w 342"/>
              <a:gd name="T17" fmla="*/ 114 h 342"/>
              <a:gd name="T18" fmla="*/ 36 w 342"/>
              <a:gd name="T19" fmla="*/ 102 h 342"/>
              <a:gd name="T20" fmla="*/ 30 w 342"/>
              <a:gd name="T21" fmla="*/ 84 h 342"/>
              <a:gd name="T22" fmla="*/ 42 w 342"/>
              <a:gd name="T23" fmla="*/ 54 h 342"/>
              <a:gd name="T24" fmla="*/ 72 w 342"/>
              <a:gd name="T25" fmla="*/ 78 h 342"/>
              <a:gd name="T26" fmla="*/ 90 w 342"/>
              <a:gd name="T27" fmla="*/ 84 h 342"/>
              <a:gd name="T28" fmla="*/ 90 w 342"/>
              <a:gd name="T29" fmla="*/ 72 h 342"/>
              <a:gd name="T30" fmla="*/ 96 w 342"/>
              <a:gd name="T31" fmla="*/ 66 h 342"/>
              <a:gd name="T32" fmla="*/ 90 w 342"/>
              <a:gd name="T33" fmla="*/ 54 h 342"/>
              <a:gd name="T34" fmla="*/ 84 w 342"/>
              <a:gd name="T35" fmla="*/ 42 h 342"/>
              <a:gd name="T36" fmla="*/ 78 w 342"/>
              <a:gd name="T37" fmla="*/ 24 h 342"/>
              <a:gd name="T38" fmla="*/ 78 w 342"/>
              <a:gd name="T39" fmla="*/ 12 h 342"/>
              <a:gd name="T40" fmla="*/ 102 w 342"/>
              <a:gd name="T41" fmla="*/ 6 h 342"/>
              <a:gd name="T42" fmla="*/ 156 w 342"/>
              <a:gd name="T43" fmla="*/ 12 h 342"/>
              <a:gd name="T44" fmla="*/ 174 w 342"/>
              <a:gd name="T45" fmla="*/ 12 h 342"/>
              <a:gd name="T46" fmla="*/ 186 w 342"/>
              <a:gd name="T47" fmla="*/ 18 h 342"/>
              <a:gd name="T48" fmla="*/ 198 w 342"/>
              <a:gd name="T49" fmla="*/ 24 h 342"/>
              <a:gd name="T50" fmla="*/ 204 w 342"/>
              <a:gd name="T51" fmla="*/ 30 h 342"/>
              <a:gd name="T52" fmla="*/ 210 w 342"/>
              <a:gd name="T53" fmla="*/ 36 h 342"/>
              <a:gd name="T54" fmla="*/ 216 w 342"/>
              <a:gd name="T55" fmla="*/ 48 h 342"/>
              <a:gd name="T56" fmla="*/ 222 w 342"/>
              <a:gd name="T57" fmla="*/ 60 h 342"/>
              <a:gd name="T58" fmla="*/ 240 w 342"/>
              <a:gd name="T59" fmla="*/ 72 h 342"/>
              <a:gd name="T60" fmla="*/ 252 w 342"/>
              <a:gd name="T61" fmla="*/ 90 h 342"/>
              <a:gd name="T62" fmla="*/ 258 w 342"/>
              <a:gd name="T63" fmla="*/ 108 h 342"/>
              <a:gd name="T64" fmla="*/ 270 w 342"/>
              <a:gd name="T65" fmla="*/ 132 h 342"/>
              <a:gd name="T66" fmla="*/ 276 w 342"/>
              <a:gd name="T67" fmla="*/ 150 h 342"/>
              <a:gd name="T68" fmla="*/ 282 w 342"/>
              <a:gd name="T69" fmla="*/ 168 h 342"/>
              <a:gd name="T70" fmla="*/ 306 w 342"/>
              <a:gd name="T71" fmla="*/ 174 h 342"/>
              <a:gd name="T72" fmla="*/ 336 w 342"/>
              <a:gd name="T73" fmla="*/ 186 h 342"/>
              <a:gd name="T74" fmla="*/ 336 w 342"/>
              <a:gd name="T75" fmla="*/ 216 h 342"/>
              <a:gd name="T76" fmla="*/ 318 w 342"/>
              <a:gd name="T77" fmla="*/ 246 h 342"/>
              <a:gd name="T78" fmla="*/ 300 w 342"/>
              <a:gd name="T79" fmla="*/ 270 h 342"/>
              <a:gd name="T80" fmla="*/ 294 w 342"/>
              <a:gd name="T81" fmla="*/ 306 h 342"/>
              <a:gd name="T82" fmla="*/ 276 w 342"/>
              <a:gd name="T83" fmla="*/ 324 h 342"/>
              <a:gd name="T84" fmla="*/ 264 w 342"/>
              <a:gd name="T85" fmla="*/ 342 h 342"/>
              <a:gd name="T86" fmla="*/ 246 w 342"/>
              <a:gd name="T87" fmla="*/ 324 h 342"/>
              <a:gd name="T88" fmla="*/ 222 w 342"/>
              <a:gd name="T89" fmla="*/ 336 h 342"/>
              <a:gd name="T90" fmla="*/ 198 w 342"/>
              <a:gd name="T91" fmla="*/ 342 h 342"/>
              <a:gd name="T92" fmla="*/ 174 w 342"/>
              <a:gd name="T93" fmla="*/ 330 h 342"/>
              <a:gd name="T94" fmla="*/ 150 w 342"/>
              <a:gd name="T95" fmla="*/ 324 h 342"/>
              <a:gd name="T96" fmla="*/ 132 w 342"/>
              <a:gd name="T97" fmla="*/ 318 h 342"/>
              <a:gd name="T98" fmla="*/ 120 w 342"/>
              <a:gd name="T99" fmla="*/ 318 h 342"/>
              <a:gd name="T100" fmla="*/ 102 w 342"/>
              <a:gd name="T101" fmla="*/ 318 h 342"/>
              <a:gd name="T102" fmla="*/ 84 w 342"/>
              <a:gd name="T103" fmla="*/ 324 h 342"/>
              <a:gd name="T104" fmla="*/ 78 w 342"/>
              <a:gd name="T105" fmla="*/ 318 h 342"/>
              <a:gd name="T106" fmla="*/ 78 w 342"/>
              <a:gd name="T107" fmla="*/ 312 h 342"/>
              <a:gd name="T108" fmla="*/ 72 w 342"/>
              <a:gd name="T109" fmla="*/ 300 h 342"/>
              <a:gd name="T110" fmla="*/ 78 w 342"/>
              <a:gd name="T111" fmla="*/ 294 h 342"/>
              <a:gd name="T112" fmla="*/ 72 w 342"/>
              <a:gd name="T113" fmla="*/ 276 h 342"/>
              <a:gd name="T114" fmla="*/ 60 w 342"/>
              <a:gd name="T115" fmla="*/ 258 h 342"/>
              <a:gd name="T116" fmla="*/ 48 w 342"/>
              <a:gd name="T117" fmla="*/ 252 h 342"/>
              <a:gd name="T118" fmla="*/ 42 w 342"/>
              <a:gd name="T119" fmla="*/ 240 h 342"/>
              <a:gd name="T120" fmla="*/ 24 w 342"/>
              <a:gd name="T121" fmla="*/ 228 h 342"/>
              <a:gd name="T122" fmla="*/ 0 w 342"/>
              <a:gd name="T123" fmla="*/ 204 h 3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42" h="342">
                <a:moveTo>
                  <a:pt x="0" y="204"/>
                </a:moveTo>
                <a:lnTo>
                  <a:pt x="0" y="198"/>
                </a:lnTo>
                <a:lnTo>
                  <a:pt x="0" y="198"/>
                </a:lnTo>
                <a:lnTo>
                  <a:pt x="0" y="198"/>
                </a:lnTo>
                <a:lnTo>
                  <a:pt x="0" y="192"/>
                </a:lnTo>
                <a:lnTo>
                  <a:pt x="6" y="192"/>
                </a:lnTo>
                <a:lnTo>
                  <a:pt x="0" y="186"/>
                </a:lnTo>
                <a:lnTo>
                  <a:pt x="0" y="186"/>
                </a:lnTo>
                <a:lnTo>
                  <a:pt x="0" y="180"/>
                </a:lnTo>
                <a:lnTo>
                  <a:pt x="0" y="174"/>
                </a:lnTo>
                <a:lnTo>
                  <a:pt x="0" y="174"/>
                </a:lnTo>
                <a:lnTo>
                  <a:pt x="0" y="174"/>
                </a:lnTo>
                <a:lnTo>
                  <a:pt x="6" y="174"/>
                </a:lnTo>
                <a:lnTo>
                  <a:pt x="6" y="174"/>
                </a:lnTo>
                <a:lnTo>
                  <a:pt x="6" y="174"/>
                </a:lnTo>
                <a:lnTo>
                  <a:pt x="6" y="174"/>
                </a:lnTo>
                <a:lnTo>
                  <a:pt x="6" y="174"/>
                </a:lnTo>
                <a:lnTo>
                  <a:pt x="6" y="174"/>
                </a:lnTo>
                <a:lnTo>
                  <a:pt x="6" y="174"/>
                </a:lnTo>
                <a:lnTo>
                  <a:pt x="6" y="174"/>
                </a:lnTo>
                <a:lnTo>
                  <a:pt x="6" y="174"/>
                </a:lnTo>
                <a:lnTo>
                  <a:pt x="12" y="174"/>
                </a:lnTo>
                <a:lnTo>
                  <a:pt x="12" y="174"/>
                </a:lnTo>
                <a:lnTo>
                  <a:pt x="12" y="174"/>
                </a:lnTo>
                <a:lnTo>
                  <a:pt x="12" y="174"/>
                </a:lnTo>
                <a:lnTo>
                  <a:pt x="12" y="174"/>
                </a:lnTo>
                <a:lnTo>
                  <a:pt x="12" y="168"/>
                </a:lnTo>
                <a:lnTo>
                  <a:pt x="12" y="174"/>
                </a:lnTo>
                <a:lnTo>
                  <a:pt x="12" y="168"/>
                </a:lnTo>
                <a:lnTo>
                  <a:pt x="12" y="168"/>
                </a:lnTo>
                <a:lnTo>
                  <a:pt x="18" y="168"/>
                </a:lnTo>
                <a:lnTo>
                  <a:pt x="18" y="168"/>
                </a:lnTo>
                <a:lnTo>
                  <a:pt x="18" y="168"/>
                </a:lnTo>
                <a:lnTo>
                  <a:pt x="18" y="168"/>
                </a:lnTo>
                <a:lnTo>
                  <a:pt x="18" y="168"/>
                </a:lnTo>
                <a:lnTo>
                  <a:pt x="18" y="168"/>
                </a:lnTo>
                <a:lnTo>
                  <a:pt x="18" y="168"/>
                </a:lnTo>
                <a:lnTo>
                  <a:pt x="18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30" y="162"/>
                </a:lnTo>
                <a:lnTo>
                  <a:pt x="30" y="162"/>
                </a:lnTo>
                <a:lnTo>
                  <a:pt x="30" y="162"/>
                </a:lnTo>
                <a:lnTo>
                  <a:pt x="36" y="162"/>
                </a:lnTo>
                <a:lnTo>
                  <a:pt x="36" y="162"/>
                </a:lnTo>
                <a:lnTo>
                  <a:pt x="36" y="162"/>
                </a:lnTo>
                <a:lnTo>
                  <a:pt x="36" y="162"/>
                </a:lnTo>
                <a:lnTo>
                  <a:pt x="36" y="162"/>
                </a:lnTo>
                <a:lnTo>
                  <a:pt x="36" y="162"/>
                </a:lnTo>
                <a:lnTo>
                  <a:pt x="36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36" y="162"/>
                </a:lnTo>
                <a:lnTo>
                  <a:pt x="36" y="162"/>
                </a:lnTo>
                <a:lnTo>
                  <a:pt x="36" y="162"/>
                </a:lnTo>
                <a:lnTo>
                  <a:pt x="36" y="156"/>
                </a:lnTo>
                <a:lnTo>
                  <a:pt x="36" y="156"/>
                </a:lnTo>
                <a:lnTo>
                  <a:pt x="36" y="156"/>
                </a:lnTo>
                <a:lnTo>
                  <a:pt x="36" y="156"/>
                </a:lnTo>
                <a:lnTo>
                  <a:pt x="30" y="156"/>
                </a:lnTo>
                <a:lnTo>
                  <a:pt x="30" y="156"/>
                </a:lnTo>
                <a:lnTo>
                  <a:pt x="30" y="156"/>
                </a:lnTo>
                <a:lnTo>
                  <a:pt x="30" y="156"/>
                </a:lnTo>
                <a:lnTo>
                  <a:pt x="30" y="156"/>
                </a:lnTo>
                <a:lnTo>
                  <a:pt x="30" y="156"/>
                </a:lnTo>
                <a:lnTo>
                  <a:pt x="30" y="156"/>
                </a:lnTo>
                <a:lnTo>
                  <a:pt x="30" y="156"/>
                </a:lnTo>
                <a:lnTo>
                  <a:pt x="30" y="156"/>
                </a:lnTo>
                <a:lnTo>
                  <a:pt x="30" y="156"/>
                </a:lnTo>
                <a:lnTo>
                  <a:pt x="30" y="150"/>
                </a:lnTo>
                <a:lnTo>
                  <a:pt x="30" y="150"/>
                </a:lnTo>
                <a:lnTo>
                  <a:pt x="30" y="150"/>
                </a:lnTo>
                <a:lnTo>
                  <a:pt x="30" y="150"/>
                </a:lnTo>
                <a:lnTo>
                  <a:pt x="30" y="150"/>
                </a:lnTo>
                <a:lnTo>
                  <a:pt x="30" y="150"/>
                </a:lnTo>
                <a:lnTo>
                  <a:pt x="24" y="150"/>
                </a:lnTo>
                <a:lnTo>
                  <a:pt x="24" y="150"/>
                </a:lnTo>
                <a:lnTo>
                  <a:pt x="24" y="150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18" y="144"/>
                </a:lnTo>
                <a:lnTo>
                  <a:pt x="18" y="144"/>
                </a:lnTo>
                <a:lnTo>
                  <a:pt x="18" y="144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2"/>
                </a:lnTo>
                <a:lnTo>
                  <a:pt x="18" y="132"/>
                </a:lnTo>
                <a:lnTo>
                  <a:pt x="12" y="132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24" y="126"/>
                </a:lnTo>
                <a:lnTo>
                  <a:pt x="30" y="120"/>
                </a:lnTo>
                <a:lnTo>
                  <a:pt x="30" y="120"/>
                </a:lnTo>
                <a:lnTo>
                  <a:pt x="30" y="114"/>
                </a:lnTo>
                <a:lnTo>
                  <a:pt x="30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42" y="114"/>
                </a:lnTo>
                <a:lnTo>
                  <a:pt x="42" y="114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96"/>
                </a:lnTo>
                <a:lnTo>
                  <a:pt x="36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24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42" y="54"/>
                </a:lnTo>
                <a:lnTo>
                  <a:pt x="42" y="54"/>
                </a:lnTo>
                <a:lnTo>
                  <a:pt x="48" y="54"/>
                </a:lnTo>
                <a:lnTo>
                  <a:pt x="48" y="54"/>
                </a:lnTo>
                <a:lnTo>
                  <a:pt x="54" y="60"/>
                </a:lnTo>
                <a:lnTo>
                  <a:pt x="54" y="66"/>
                </a:lnTo>
                <a:lnTo>
                  <a:pt x="54" y="66"/>
                </a:lnTo>
                <a:lnTo>
                  <a:pt x="60" y="66"/>
                </a:lnTo>
                <a:lnTo>
                  <a:pt x="60" y="66"/>
                </a:lnTo>
                <a:lnTo>
                  <a:pt x="60" y="72"/>
                </a:lnTo>
                <a:lnTo>
                  <a:pt x="60" y="72"/>
                </a:lnTo>
                <a:lnTo>
                  <a:pt x="66" y="72"/>
                </a:lnTo>
                <a:lnTo>
                  <a:pt x="72" y="72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90"/>
                </a:lnTo>
                <a:lnTo>
                  <a:pt x="96" y="84"/>
                </a:lnTo>
                <a:lnTo>
                  <a:pt x="96" y="90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96" y="84"/>
                </a:lnTo>
                <a:lnTo>
                  <a:pt x="96" y="84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2"/>
                </a:lnTo>
                <a:lnTo>
                  <a:pt x="90" y="72"/>
                </a:lnTo>
                <a:lnTo>
                  <a:pt x="96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6" y="72"/>
                </a:lnTo>
                <a:lnTo>
                  <a:pt x="90" y="72"/>
                </a:lnTo>
                <a:lnTo>
                  <a:pt x="90" y="72"/>
                </a:lnTo>
                <a:lnTo>
                  <a:pt x="96" y="72"/>
                </a:lnTo>
                <a:lnTo>
                  <a:pt x="96" y="66"/>
                </a:lnTo>
                <a:lnTo>
                  <a:pt x="96" y="66"/>
                </a:lnTo>
                <a:lnTo>
                  <a:pt x="90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0"/>
                </a:lnTo>
                <a:lnTo>
                  <a:pt x="78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78" y="30"/>
                </a:lnTo>
                <a:lnTo>
                  <a:pt x="78" y="30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18"/>
                </a:lnTo>
                <a:lnTo>
                  <a:pt x="72" y="18"/>
                </a:lnTo>
                <a:lnTo>
                  <a:pt x="72" y="18"/>
                </a:lnTo>
                <a:lnTo>
                  <a:pt x="78" y="18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84" y="6"/>
                </a:lnTo>
                <a:lnTo>
                  <a:pt x="84" y="6"/>
                </a:lnTo>
                <a:lnTo>
                  <a:pt x="90" y="6"/>
                </a:lnTo>
                <a:lnTo>
                  <a:pt x="96" y="6"/>
                </a:lnTo>
                <a:lnTo>
                  <a:pt x="96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14" y="0"/>
                </a:lnTo>
                <a:lnTo>
                  <a:pt x="114" y="6"/>
                </a:lnTo>
                <a:lnTo>
                  <a:pt x="114" y="0"/>
                </a:lnTo>
                <a:lnTo>
                  <a:pt x="114" y="0"/>
                </a:lnTo>
                <a:lnTo>
                  <a:pt x="120" y="0"/>
                </a:lnTo>
                <a:lnTo>
                  <a:pt x="120" y="0"/>
                </a:lnTo>
                <a:lnTo>
                  <a:pt x="126" y="12"/>
                </a:lnTo>
                <a:lnTo>
                  <a:pt x="132" y="6"/>
                </a:lnTo>
                <a:lnTo>
                  <a:pt x="144" y="6"/>
                </a:lnTo>
                <a:lnTo>
                  <a:pt x="150" y="6"/>
                </a:lnTo>
                <a:lnTo>
                  <a:pt x="156" y="12"/>
                </a:lnTo>
                <a:lnTo>
                  <a:pt x="162" y="12"/>
                </a:lnTo>
                <a:lnTo>
                  <a:pt x="162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8"/>
                </a:lnTo>
                <a:lnTo>
                  <a:pt x="168" y="18"/>
                </a:lnTo>
                <a:lnTo>
                  <a:pt x="174" y="18"/>
                </a:lnTo>
                <a:lnTo>
                  <a:pt x="174" y="12"/>
                </a:lnTo>
                <a:lnTo>
                  <a:pt x="174" y="18"/>
                </a:lnTo>
                <a:lnTo>
                  <a:pt x="174" y="12"/>
                </a:lnTo>
                <a:lnTo>
                  <a:pt x="174" y="18"/>
                </a:lnTo>
                <a:lnTo>
                  <a:pt x="174" y="12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92" y="18"/>
                </a:lnTo>
                <a:lnTo>
                  <a:pt x="192" y="18"/>
                </a:lnTo>
                <a:lnTo>
                  <a:pt x="192" y="18"/>
                </a:lnTo>
                <a:lnTo>
                  <a:pt x="192" y="18"/>
                </a:lnTo>
                <a:lnTo>
                  <a:pt x="192" y="18"/>
                </a:lnTo>
                <a:lnTo>
                  <a:pt x="198" y="18"/>
                </a:lnTo>
                <a:lnTo>
                  <a:pt x="198" y="24"/>
                </a:lnTo>
                <a:lnTo>
                  <a:pt x="198" y="24"/>
                </a:lnTo>
                <a:lnTo>
                  <a:pt x="198" y="24"/>
                </a:lnTo>
                <a:lnTo>
                  <a:pt x="198" y="24"/>
                </a:lnTo>
                <a:lnTo>
                  <a:pt x="198" y="24"/>
                </a:lnTo>
                <a:lnTo>
                  <a:pt x="198" y="24"/>
                </a:lnTo>
                <a:lnTo>
                  <a:pt x="198" y="30"/>
                </a:lnTo>
                <a:lnTo>
                  <a:pt x="198" y="30"/>
                </a:lnTo>
                <a:lnTo>
                  <a:pt x="204" y="30"/>
                </a:lnTo>
                <a:lnTo>
                  <a:pt x="204" y="30"/>
                </a:lnTo>
                <a:lnTo>
                  <a:pt x="204" y="30"/>
                </a:lnTo>
                <a:lnTo>
                  <a:pt x="204" y="30"/>
                </a:lnTo>
                <a:lnTo>
                  <a:pt x="204" y="30"/>
                </a:lnTo>
                <a:lnTo>
                  <a:pt x="204" y="30"/>
                </a:lnTo>
                <a:lnTo>
                  <a:pt x="210" y="30"/>
                </a:lnTo>
                <a:lnTo>
                  <a:pt x="204" y="30"/>
                </a:lnTo>
                <a:lnTo>
                  <a:pt x="204" y="30"/>
                </a:lnTo>
                <a:lnTo>
                  <a:pt x="210" y="30"/>
                </a:lnTo>
                <a:lnTo>
                  <a:pt x="210" y="30"/>
                </a:lnTo>
                <a:lnTo>
                  <a:pt x="210" y="30"/>
                </a:lnTo>
                <a:lnTo>
                  <a:pt x="210" y="36"/>
                </a:lnTo>
                <a:lnTo>
                  <a:pt x="210" y="36"/>
                </a:lnTo>
                <a:lnTo>
                  <a:pt x="210" y="36"/>
                </a:lnTo>
                <a:lnTo>
                  <a:pt x="210" y="36"/>
                </a:lnTo>
                <a:lnTo>
                  <a:pt x="210" y="36"/>
                </a:lnTo>
                <a:lnTo>
                  <a:pt x="210" y="36"/>
                </a:lnTo>
                <a:lnTo>
                  <a:pt x="210" y="36"/>
                </a:lnTo>
                <a:lnTo>
                  <a:pt x="216" y="36"/>
                </a:lnTo>
                <a:lnTo>
                  <a:pt x="210" y="36"/>
                </a:lnTo>
                <a:lnTo>
                  <a:pt x="210" y="36"/>
                </a:lnTo>
                <a:lnTo>
                  <a:pt x="210" y="36"/>
                </a:lnTo>
                <a:lnTo>
                  <a:pt x="210" y="36"/>
                </a:lnTo>
                <a:lnTo>
                  <a:pt x="210" y="36"/>
                </a:lnTo>
                <a:lnTo>
                  <a:pt x="210" y="36"/>
                </a:lnTo>
                <a:lnTo>
                  <a:pt x="210" y="42"/>
                </a:lnTo>
                <a:lnTo>
                  <a:pt x="210" y="42"/>
                </a:lnTo>
                <a:lnTo>
                  <a:pt x="210" y="42"/>
                </a:lnTo>
                <a:lnTo>
                  <a:pt x="216" y="42"/>
                </a:lnTo>
                <a:lnTo>
                  <a:pt x="216" y="42"/>
                </a:lnTo>
                <a:lnTo>
                  <a:pt x="216" y="42"/>
                </a:lnTo>
                <a:lnTo>
                  <a:pt x="216" y="48"/>
                </a:lnTo>
                <a:lnTo>
                  <a:pt x="216" y="48"/>
                </a:lnTo>
                <a:lnTo>
                  <a:pt x="216" y="48"/>
                </a:lnTo>
                <a:lnTo>
                  <a:pt x="216" y="48"/>
                </a:lnTo>
                <a:lnTo>
                  <a:pt x="222" y="48"/>
                </a:lnTo>
                <a:lnTo>
                  <a:pt x="216" y="48"/>
                </a:lnTo>
                <a:lnTo>
                  <a:pt x="216" y="48"/>
                </a:lnTo>
                <a:lnTo>
                  <a:pt x="222" y="54"/>
                </a:lnTo>
                <a:lnTo>
                  <a:pt x="216" y="54"/>
                </a:lnTo>
                <a:lnTo>
                  <a:pt x="222" y="54"/>
                </a:lnTo>
                <a:lnTo>
                  <a:pt x="222" y="54"/>
                </a:lnTo>
                <a:lnTo>
                  <a:pt x="222" y="54"/>
                </a:lnTo>
                <a:lnTo>
                  <a:pt x="222" y="60"/>
                </a:lnTo>
                <a:lnTo>
                  <a:pt x="222" y="60"/>
                </a:lnTo>
                <a:lnTo>
                  <a:pt x="222" y="60"/>
                </a:lnTo>
                <a:lnTo>
                  <a:pt x="222" y="60"/>
                </a:lnTo>
                <a:lnTo>
                  <a:pt x="222" y="60"/>
                </a:lnTo>
                <a:lnTo>
                  <a:pt x="222" y="60"/>
                </a:lnTo>
                <a:lnTo>
                  <a:pt x="222" y="60"/>
                </a:lnTo>
                <a:lnTo>
                  <a:pt x="222" y="66"/>
                </a:lnTo>
                <a:lnTo>
                  <a:pt x="228" y="66"/>
                </a:lnTo>
                <a:lnTo>
                  <a:pt x="228" y="66"/>
                </a:lnTo>
                <a:lnTo>
                  <a:pt x="228" y="66"/>
                </a:lnTo>
                <a:lnTo>
                  <a:pt x="234" y="66"/>
                </a:lnTo>
                <a:lnTo>
                  <a:pt x="234" y="66"/>
                </a:lnTo>
                <a:lnTo>
                  <a:pt x="234" y="66"/>
                </a:lnTo>
                <a:lnTo>
                  <a:pt x="234" y="66"/>
                </a:lnTo>
                <a:lnTo>
                  <a:pt x="240" y="66"/>
                </a:lnTo>
                <a:lnTo>
                  <a:pt x="240" y="66"/>
                </a:lnTo>
                <a:lnTo>
                  <a:pt x="240" y="66"/>
                </a:lnTo>
                <a:lnTo>
                  <a:pt x="240" y="72"/>
                </a:lnTo>
                <a:lnTo>
                  <a:pt x="240" y="72"/>
                </a:lnTo>
                <a:lnTo>
                  <a:pt x="240" y="72"/>
                </a:lnTo>
                <a:lnTo>
                  <a:pt x="240" y="78"/>
                </a:lnTo>
                <a:lnTo>
                  <a:pt x="246" y="78"/>
                </a:lnTo>
                <a:lnTo>
                  <a:pt x="246" y="78"/>
                </a:lnTo>
                <a:lnTo>
                  <a:pt x="246" y="78"/>
                </a:lnTo>
                <a:lnTo>
                  <a:pt x="246" y="78"/>
                </a:lnTo>
                <a:lnTo>
                  <a:pt x="246" y="78"/>
                </a:lnTo>
                <a:lnTo>
                  <a:pt x="246" y="84"/>
                </a:lnTo>
                <a:lnTo>
                  <a:pt x="246" y="84"/>
                </a:lnTo>
                <a:lnTo>
                  <a:pt x="246" y="84"/>
                </a:lnTo>
                <a:lnTo>
                  <a:pt x="246" y="84"/>
                </a:lnTo>
                <a:lnTo>
                  <a:pt x="252" y="90"/>
                </a:lnTo>
                <a:lnTo>
                  <a:pt x="252" y="90"/>
                </a:lnTo>
                <a:lnTo>
                  <a:pt x="252" y="90"/>
                </a:lnTo>
                <a:lnTo>
                  <a:pt x="252" y="90"/>
                </a:lnTo>
                <a:lnTo>
                  <a:pt x="252" y="90"/>
                </a:lnTo>
                <a:lnTo>
                  <a:pt x="252" y="90"/>
                </a:lnTo>
                <a:lnTo>
                  <a:pt x="252" y="90"/>
                </a:lnTo>
                <a:lnTo>
                  <a:pt x="258" y="96"/>
                </a:lnTo>
                <a:lnTo>
                  <a:pt x="258" y="96"/>
                </a:lnTo>
                <a:lnTo>
                  <a:pt x="258" y="102"/>
                </a:lnTo>
                <a:lnTo>
                  <a:pt x="258" y="102"/>
                </a:lnTo>
                <a:lnTo>
                  <a:pt x="258" y="102"/>
                </a:lnTo>
                <a:lnTo>
                  <a:pt x="258" y="102"/>
                </a:lnTo>
                <a:lnTo>
                  <a:pt x="258" y="102"/>
                </a:lnTo>
                <a:lnTo>
                  <a:pt x="258" y="102"/>
                </a:lnTo>
                <a:lnTo>
                  <a:pt x="258" y="108"/>
                </a:lnTo>
                <a:lnTo>
                  <a:pt x="258" y="108"/>
                </a:lnTo>
                <a:lnTo>
                  <a:pt x="258" y="108"/>
                </a:lnTo>
                <a:lnTo>
                  <a:pt x="258" y="108"/>
                </a:lnTo>
                <a:lnTo>
                  <a:pt x="258" y="114"/>
                </a:lnTo>
                <a:lnTo>
                  <a:pt x="264" y="114"/>
                </a:lnTo>
                <a:lnTo>
                  <a:pt x="258" y="120"/>
                </a:lnTo>
                <a:lnTo>
                  <a:pt x="264" y="120"/>
                </a:lnTo>
                <a:lnTo>
                  <a:pt x="264" y="120"/>
                </a:lnTo>
                <a:lnTo>
                  <a:pt x="264" y="120"/>
                </a:lnTo>
                <a:lnTo>
                  <a:pt x="264" y="126"/>
                </a:lnTo>
                <a:lnTo>
                  <a:pt x="264" y="126"/>
                </a:lnTo>
                <a:lnTo>
                  <a:pt x="270" y="126"/>
                </a:lnTo>
                <a:lnTo>
                  <a:pt x="270" y="126"/>
                </a:lnTo>
                <a:lnTo>
                  <a:pt x="270" y="132"/>
                </a:lnTo>
                <a:lnTo>
                  <a:pt x="270" y="132"/>
                </a:lnTo>
                <a:lnTo>
                  <a:pt x="270" y="132"/>
                </a:lnTo>
                <a:lnTo>
                  <a:pt x="270" y="132"/>
                </a:lnTo>
                <a:lnTo>
                  <a:pt x="276" y="132"/>
                </a:lnTo>
                <a:lnTo>
                  <a:pt x="276" y="132"/>
                </a:lnTo>
                <a:lnTo>
                  <a:pt x="276" y="138"/>
                </a:lnTo>
                <a:lnTo>
                  <a:pt x="276" y="138"/>
                </a:lnTo>
                <a:lnTo>
                  <a:pt x="276" y="138"/>
                </a:lnTo>
                <a:lnTo>
                  <a:pt x="276" y="144"/>
                </a:lnTo>
                <a:lnTo>
                  <a:pt x="276" y="144"/>
                </a:lnTo>
                <a:lnTo>
                  <a:pt x="276" y="144"/>
                </a:lnTo>
                <a:lnTo>
                  <a:pt x="276" y="144"/>
                </a:lnTo>
                <a:lnTo>
                  <a:pt x="276" y="150"/>
                </a:lnTo>
                <a:lnTo>
                  <a:pt x="276" y="150"/>
                </a:lnTo>
                <a:lnTo>
                  <a:pt x="276" y="150"/>
                </a:lnTo>
                <a:lnTo>
                  <a:pt x="276" y="150"/>
                </a:lnTo>
                <a:lnTo>
                  <a:pt x="276" y="156"/>
                </a:lnTo>
                <a:lnTo>
                  <a:pt x="276" y="156"/>
                </a:lnTo>
                <a:lnTo>
                  <a:pt x="276" y="156"/>
                </a:lnTo>
                <a:lnTo>
                  <a:pt x="276" y="156"/>
                </a:lnTo>
                <a:lnTo>
                  <a:pt x="276" y="156"/>
                </a:lnTo>
                <a:lnTo>
                  <a:pt x="276" y="162"/>
                </a:lnTo>
                <a:lnTo>
                  <a:pt x="276" y="162"/>
                </a:lnTo>
                <a:lnTo>
                  <a:pt x="282" y="162"/>
                </a:lnTo>
                <a:lnTo>
                  <a:pt x="282" y="162"/>
                </a:lnTo>
                <a:lnTo>
                  <a:pt x="282" y="162"/>
                </a:lnTo>
                <a:lnTo>
                  <a:pt x="282" y="162"/>
                </a:lnTo>
                <a:lnTo>
                  <a:pt x="282" y="168"/>
                </a:lnTo>
                <a:lnTo>
                  <a:pt x="282" y="168"/>
                </a:lnTo>
                <a:lnTo>
                  <a:pt x="282" y="168"/>
                </a:lnTo>
                <a:lnTo>
                  <a:pt x="288" y="168"/>
                </a:lnTo>
                <a:lnTo>
                  <a:pt x="288" y="168"/>
                </a:lnTo>
                <a:lnTo>
                  <a:pt x="288" y="174"/>
                </a:lnTo>
                <a:lnTo>
                  <a:pt x="288" y="174"/>
                </a:lnTo>
                <a:lnTo>
                  <a:pt x="288" y="174"/>
                </a:lnTo>
                <a:lnTo>
                  <a:pt x="288" y="174"/>
                </a:lnTo>
                <a:lnTo>
                  <a:pt x="288" y="180"/>
                </a:lnTo>
                <a:lnTo>
                  <a:pt x="294" y="180"/>
                </a:lnTo>
                <a:lnTo>
                  <a:pt x="294" y="180"/>
                </a:lnTo>
                <a:lnTo>
                  <a:pt x="300" y="180"/>
                </a:lnTo>
                <a:lnTo>
                  <a:pt x="300" y="174"/>
                </a:lnTo>
                <a:lnTo>
                  <a:pt x="306" y="174"/>
                </a:lnTo>
                <a:lnTo>
                  <a:pt x="306" y="174"/>
                </a:lnTo>
                <a:lnTo>
                  <a:pt x="306" y="174"/>
                </a:lnTo>
                <a:lnTo>
                  <a:pt x="306" y="174"/>
                </a:lnTo>
                <a:lnTo>
                  <a:pt x="312" y="174"/>
                </a:lnTo>
                <a:lnTo>
                  <a:pt x="312" y="174"/>
                </a:lnTo>
                <a:lnTo>
                  <a:pt x="312" y="174"/>
                </a:lnTo>
                <a:lnTo>
                  <a:pt x="318" y="174"/>
                </a:lnTo>
                <a:lnTo>
                  <a:pt x="318" y="174"/>
                </a:lnTo>
                <a:lnTo>
                  <a:pt x="318" y="174"/>
                </a:lnTo>
                <a:lnTo>
                  <a:pt x="324" y="174"/>
                </a:lnTo>
                <a:lnTo>
                  <a:pt x="324" y="174"/>
                </a:lnTo>
                <a:lnTo>
                  <a:pt x="324" y="180"/>
                </a:lnTo>
                <a:lnTo>
                  <a:pt x="330" y="180"/>
                </a:lnTo>
                <a:lnTo>
                  <a:pt x="330" y="180"/>
                </a:lnTo>
                <a:lnTo>
                  <a:pt x="336" y="186"/>
                </a:lnTo>
                <a:lnTo>
                  <a:pt x="336" y="186"/>
                </a:lnTo>
                <a:lnTo>
                  <a:pt x="336" y="192"/>
                </a:lnTo>
                <a:lnTo>
                  <a:pt x="342" y="192"/>
                </a:lnTo>
                <a:lnTo>
                  <a:pt x="342" y="192"/>
                </a:lnTo>
                <a:lnTo>
                  <a:pt x="342" y="198"/>
                </a:lnTo>
                <a:lnTo>
                  <a:pt x="342" y="198"/>
                </a:lnTo>
                <a:lnTo>
                  <a:pt x="342" y="198"/>
                </a:lnTo>
                <a:lnTo>
                  <a:pt x="342" y="198"/>
                </a:lnTo>
                <a:lnTo>
                  <a:pt x="342" y="198"/>
                </a:lnTo>
                <a:lnTo>
                  <a:pt x="336" y="210"/>
                </a:lnTo>
                <a:lnTo>
                  <a:pt x="336" y="210"/>
                </a:lnTo>
                <a:lnTo>
                  <a:pt x="336" y="216"/>
                </a:lnTo>
                <a:lnTo>
                  <a:pt x="336" y="216"/>
                </a:lnTo>
                <a:lnTo>
                  <a:pt x="336" y="216"/>
                </a:lnTo>
                <a:lnTo>
                  <a:pt x="336" y="222"/>
                </a:lnTo>
                <a:lnTo>
                  <a:pt x="336" y="228"/>
                </a:lnTo>
                <a:lnTo>
                  <a:pt x="336" y="228"/>
                </a:lnTo>
                <a:lnTo>
                  <a:pt x="336" y="228"/>
                </a:lnTo>
                <a:lnTo>
                  <a:pt x="336" y="228"/>
                </a:lnTo>
                <a:lnTo>
                  <a:pt x="336" y="234"/>
                </a:lnTo>
                <a:lnTo>
                  <a:pt x="336" y="240"/>
                </a:lnTo>
                <a:lnTo>
                  <a:pt x="330" y="240"/>
                </a:lnTo>
                <a:lnTo>
                  <a:pt x="330" y="240"/>
                </a:lnTo>
                <a:lnTo>
                  <a:pt x="330" y="240"/>
                </a:lnTo>
                <a:lnTo>
                  <a:pt x="324" y="240"/>
                </a:lnTo>
                <a:lnTo>
                  <a:pt x="324" y="240"/>
                </a:lnTo>
                <a:lnTo>
                  <a:pt x="318" y="246"/>
                </a:lnTo>
                <a:lnTo>
                  <a:pt x="318" y="246"/>
                </a:lnTo>
                <a:lnTo>
                  <a:pt x="318" y="252"/>
                </a:lnTo>
                <a:lnTo>
                  <a:pt x="318" y="252"/>
                </a:lnTo>
                <a:lnTo>
                  <a:pt x="312" y="258"/>
                </a:lnTo>
                <a:lnTo>
                  <a:pt x="312" y="258"/>
                </a:lnTo>
                <a:lnTo>
                  <a:pt x="312" y="258"/>
                </a:lnTo>
                <a:lnTo>
                  <a:pt x="312" y="258"/>
                </a:lnTo>
                <a:lnTo>
                  <a:pt x="306" y="264"/>
                </a:lnTo>
                <a:lnTo>
                  <a:pt x="306" y="264"/>
                </a:lnTo>
                <a:lnTo>
                  <a:pt x="300" y="264"/>
                </a:lnTo>
                <a:lnTo>
                  <a:pt x="300" y="264"/>
                </a:lnTo>
                <a:lnTo>
                  <a:pt x="300" y="264"/>
                </a:lnTo>
                <a:lnTo>
                  <a:pt x="300" y="270"/>
                </a:lnTo>
                <a:lnTo>
                  <a:pt x="300" y="270"/>
                </a:lnTo>
                <a:lnTo>
                  <a:pt x="300" y="270"/>
                </a:lnTo>
                <a:lnTo>
                  <a:pt x="300" y="270"/>
                </a:lnTo>
                <a:lnTo>
                  <a:pt x="306" y="276"/>
                </a:lnTo>
                <a:lnTo>
                  <a:pt x="306" y="276"/>
                </a:lnTo>
                <a:lnTo>
                  <a:pt x="306" y="282"/>
                </a:lnTo>
                <a:lnTo>
                  <a:pt x="306" y="282"/>
                </a:lnTo>
                <a:lnTo>
                  <a:pt x="306" y="288"/>
                </a:lnTo>
                <a:lnTo>
                  <a:pt x="306" y="288"/>
                </a:lnTo>
                <a:lnTo>
                  <a:pt x="306" y="288"/>
                </a:lnTo>
                <a:lnTo>
                  <a:pt x="306" y="288"/>
                </a:lnTo>
                <a:lnTo>
                  <a:pt x="306" y="288"/>
                </a:lnTo>
                <a:lnTo>
                  <a:pt x="300" y="294"/>
                </a:lnTo>
                <a:lnTo>
                  <a:pt x="300" y="300"/>
                </a:lnTo>
                <a:lnTo>
                  <a:pt x="300" y="300"/>
                </a:lnTo>
                <a:lnTo>
                  <a:pt x="294" y="306"/>
                </a:lnTo>
                <a:lnTo>
                  <a:pt x="294" y="306"/>
                </a:lnTo>
                <a:lnTo>
                  <a:pt x="294" y="306"/>
                </a:lnTo>
                <a:lnTo>
                  <a:pt x="288" y="312"/>
                </a:lnTo>
                <a:lnTo>
                  <a:pt x="288" y="312"/>
                </a:lnTo>
                <a:lnTo>
                  <a:pt x="282" y="312"/>
                </a:lnTo>
                <a:lnTo>
                  <a:pt x="282" y="312"/>
                </a:lnTo>
                <a:lnTo>
                  <a:pt x="276" y="312"/>
                </a:lnTo>
                <a:lnTo>
                  <a:pt x="276" y="312"/>
                </a:lnTo>
                <a:lnTo>
                  <a:pt x="276" y="312"/>
                </a:lnTo>
                <a:lnTo>
                  <a:pt x="276" y="318"/>
                </a:lnTo>
                <a:lnTo>
                  <a:pt x="276" y="318"/>
                </a:lnTo>
                <a:lnTo>
                  <a:pt x="276" y="318"/>
                </a:lnTo>
                <a:lnTo>
                  <a:pt x="276" y="324"/>
                </a:lnTo>
                <a:lnTo>
                  <a:pt x="276" y="324"/>
                </a:lnTo>
                <a:lnTo>
                  <a:pt x="282" y="330"/>
                </a:lnTo>
                <a:lnTo>
                  <a:pt x="282" y="330"/>
                </a:lnTo>
                <a:lnTo>
                  <a:pt x="282" y="330"/>
                </a:lnTo>
                <a:lnTo>
                  <a:pt x="282" y="330"/>
                </a:lnTo>
                <a:lnTo>
                  <a:pt x="276" y="336"/>
                </a:lnTo>
                <a:lnTo>
                  <a:pt x="276" y="342"/>
                </a:lnTo>
                <a:lnTo>
                  <a:pt x="276" y="342"/>
                </a:lnTo>
                <a:lnTo>
                  <a:pt x="270" y="342"/>
                </a:lnTo>
                <a:lnTo>
                  <a:pt x="264" y="342"/>
                </a:lnTo>
                <a:lnTo>
                  <a:pt x="264" y="342"/>
                </a:lnTo>
                <a:lnTo>
                  <a:pt x="264" y="342"/>
                </a:lnTo>
                <a:lnTo>
                  <a:pt x="264" y="342"/>
                </a:lnTo>
                <a:lnTo>
                  <a:pt x="264" y="342"/>
                </a:lnTo>
                <a:lnTo>
                  <a:pt x="264" y="342"/>
                </a:lnTo>
                <a:lnTo>
                  <a:pt x="264" y="336"/>
                </a:lnTo>
                <a:lnTo>
                  <a:pt x="264" y="336"/>
                </a:lnTo>
                <a:lnTo>
                  <a:pt x="264" y="336"/>
                </a:lnTo>
                <a:lnTo>
                  <a:pt x="264" y="330"/>
                </a:lnTo>
                <a:lnTo>
                  <a:pt x="258" y="330"/>
                </a:lnTo>
                <a:lnTo>
                  <a:pt x="258" y="330"/>
                </a:lnTo>
                <a:lnTo>
                  <a:pt x="258" y="330"/>
                </a:lnTo>
                <a:lnTo>
                  <a:pt x="258" y="330"/>
                </a:lnTo>
                <a:lnTo>
                  <a:pt x="252" y="330"/>
                </a:lnTo>
                <a:lnTo>
                  <a:pt x="252" y="324"/>
                </a:lnTo>
                <a:lnTo>
                  <a:pt x="252" y="324"/>
                </a:lnTo>
                <a:lnTo>
                  <a:pt x="252" y="330"/>
                </a:lnTo>
                <a:lnTo>
                  <a:pt x="246" y="330"/>
                </a:lnTo>
                <a:lnTo>
                  <a:pt x="246" y="324"/>
                </a:lnTo>
                <a:lnTo>
                  <a:pt x="246" y="324"/>
                </a:lnTo>
                <a:lnTo>
                  <a:pt x="246" y="330"/>
                </a:lnTo>
                <a:lnTo>
                  <a:pt x="240" y="330"/>
                </a:lnTo>
                <a:lnTo>
                  <a:pt x="240" y="330"/>
                </a:lnTo>
                <a:lnTo>
                  <a:pt x="234" y="330"/>
                </a:lnTo>
                <a:lnTo>
                  <a:pt x="234" y="330"/>
                </a:lnTo>
                <a:lnTo>
                  <a:pt x="234" y="330"/>
                </a:lnTo>
                <a:lnTo>
                  <a:pt x="234" y="330"/>
                </a:lnTo>
                <a:lnTo>
                  <a:pt x="228" y="336"/>
                </a:lnTo>
                <a:lnTo>
                  <a:pt x="228" y="330"/>
                </a:lnTo>
                <a:lnTo>
                  <a:pt x="228" y="330"/>
                </a:lnTo>
                <a:lnTo>
                  <a:pt x="222" y="336"/>
                </a:lnTo>
                <a:lnTo>
                  <a:pt x="222" y="336"/>
                </a:lnTo>
                <a:lnTo>
                  <a:pt x="222" y="336"/>
                </a:lnTo>
                <a:lnTo>
                  <a:pt x="222" y="336"/>
                </a:lnTo>
                <a:lnTo>
                  <a:pt x="222" y="336"/>
                </a:lnTo>
                <a:lnTo>
                  <a:pt x="216" y="336"/>
                </a:lnTo>
                <a:lnTo>
                  <a:pt x="216" y="336"/>
                </a:lnTo>
                <a:lnTo>
                  <a:pt x="216" y="336"/>
                </a:lnTo>
                <a:lnTo>
                  <a:pt x="216" y="336"/>
                </a:lnTo>
                <a:lnTo>
                  <a:pt x="210" y="336"/>
                </a:lnTo>
                <a:lnTo>
                  <a:pt x="210" y="336"/>
                </a:lnTo>
                <a:lnTo>
                  <a:pt x="210" y="336"/>
                </a:lnTo>
                <a:lnTo>
                  <a:pt x="204" y="336"/>
                </a:lnTo>
                <a:lnTo>
                  <a:pt x="204" y="336"/>
                </a:lnTo>
                <a:lnTo>
                  <a:pt x="204" y="336"/>
                </a:lnTo>
                <a:lnTo>
                  <a:pt x="198" y="336"/>
                </a:lnTo>
                <a:lnTo>
                  <a:pt x="198" y="342"/>
                </a:lnTo>
                <a:lnTo>
                  <a:pt x="198" y="342"/>
                </a:lnTo>
                <a:lnTo>
                  <a:pt x="198" y="342"/>
                </a:lnTo>
                <a:lnTo>
                  <a:pt x="198" y="342"/>
                </a:lnTo>
                <a:lnTo>
                  <a:pt x="192" y="336"/>
                </a:lnTo>
                <a:lnTo>
                  <a:pt x="186" y="336"/>
                </a:lnTo>
                <a:lnTo>
                  <a:pt x="186" y="336"/>
                </a:lnTo>
                <a:lnTo>
                  <a:pt x="186" y="336"/>
                </a:lnTo>
                <a:lnTo>
                  <a:pt x="180" y="336"/>
                </a:lnTo>
                <a:lnTo>
                  <a:pt x="180" y="330"/>
                </a:lnTo>
                <a:lnTo>
                  <a:pt x="180" y="330"/>
                </a:lnTo>
                <a:lnTo>
                  <a:pt x="180" y="330"/>
                </a:lnTo>
                <a:lnTo>
                  <a:pt x="174" y="330"/>
                </a:lnTo>
                <a:lnTo>
                  <a:pt x="174" y="330"/>
                </a:lnTo>
                <a:lnTo>
                  <a:pt x="174" y="330"/>
                </a:lnTo>
                <a:lnTo>
                  <a:pt x="174" y="330"/>
                </a:lnTo>
                <a:lnTo>
                  <a:pt x="168" y="330"/>
                </a:lnTo>
                <a:lnTo>
                  <a:pt x="168" y="330"/>
                </a:lnTo>
                <a:lnTo>
                  <a:pt x="162" y="330"/>
                </a:lnTo>
                <a:lnTo>
                  <a:pt x="162" y="330"/>
                </a:lnTo>
                <a:lnTo>
                  <a:pt x="162" y="330"/>
                </a:lnTo>
                <a:lnTo>
                  <a:pt x="162" y="330"/>
                </a:lnTo>
                <a:lnTo>
                  <a:pt x="156" y="324"/>
                </a:lnTo>
                <a:lnTo>
                  <a:pt x="156" y="324"/>
                </a:lnTo>
                <a:lnTo>
                  <a:pt x="156" y="324"/>
                </a:lnTo>
                <a:lnTo>
                  <a:pt x="156" y="324"/>
                </a:lnTo>
                <a:lnTo>
                  <a:pt x="156" y="324"/>
                </a:lnTo>
                <a:lnTo>
                  <a:pt x="156" y="324"/>
                </a:lnTo>
                <a:lnTo>
                  <a:pt x="150" y="324"/>
                </a:lnTo>
                <a:lnTo>
                  <a:pt x="150" y="324"/>
                </a:lnTo>
                <a:lnTo>
                  <a:pt x="150" y="324"/>
                </a:lnTo>
                <a:lnTo>
                  <a:pt x="150" y="324"/>
                </a:lnTo>
                <a:lnTo>
                  <a:pt x="150" y="324"/>
                </a:lnTo>
                <a:lnTo>
                  <a:pt x="150" y="324"/>
                </a:lnTo>
                <a:lnTo>
                  <a:pt x="144" y="324"/>
                </a:lnTo>
                <a:lnTo>
                  <a:pt x="144" y="318"/>
                </a:lnTo>
                <a:lnTo>
                  <a:pt x="144" y="318"/>
                </a:lnTo>
                <a:lnTo>
                  <a:pt x="138" y="324"/>
                </a:lnTo>
                <a:lnTo>
                  <a:pt x="138" y="318"/>
                </a:lnTo>
                <a:lnTo>
                  <a:pt x="138" y="318"/>
                </a:lnTo>
                <a:lnTo>
                  <a:pt x="138" y="318"/>
                </a:lnTo>
                <a:lnTo>
                  <a:pt x="138" y="324"/>
                </a:lnTo>
                <a:lnTo>
                  <a:pt x="132" y="318"/>
                </a:lnTo>
                <a:lnTo>
                  <a:pt x="132" y="324"/>
                </a:lnTo>
                <a:lnTo>
                  <a:pt x="132" y="318"/>
                </a:lnTo>
                <a:lnTo>
                  <a:pt x="132" y="318"/>
                </a:lnTo>
                <a:lnTo>
                  <a:pt x="132" y="318"/>
                </a:lnTo>
                <a:lnTo>
                  <a:pt x="132" y="318"/>
                </a:lnTo>
                <a:lnTo>
                  <a:pt x="126" y="318"/>
                </a:lnTo>
                <a:lnTo>
                  <a:pt x="126" y="324"/>
                </a:lnTo>
                <a:lnTo>
                  <a:pt x="126" y="324"/>
                </a:lnTo>
                <a:lnTo>
                  <a:pt x="126" y="324"/>
                </a:lnTo>
                <a:lnTo>
                  <a:pt x="126" y="318"/>
                </a:lnTo>
                <a:lnTo>
                  <a:pt x="120" y="318"/>
                </a:lnTo>
                <a:lnTo>
                  <a:pt x="120" y="324"/>
                </a:lnTo>
                <a:lnTo>
                  <a:pt x="120" y="318"/>
                </a:lnTo>
                <a:lnTo>
                  <a:pt x="120" y="318"/>
                </a:lnTo>
                <a:lnTo>
                  <a:pt x="114" y="318"/>
                </a:lnTo>
                <a:lnTo>
                  <a:pt x="114" y="324"/>
                </a:lnTo>
                <a:lnTo>
                  <a:pt x="114" y="324"/>
                </a:lnTo>
                <a:lnTo>
                  <a:pt x="114" y="324"/>
                </a:lnTo>
                <a:lnTo>
                  <a:pt x="114" y="318"/>
                </a:lnTo>
                <a:lnTo>
                  <a:pt x="114" y="318"/>
                </a:lnTo>
                <a:lnTo>
                  <a:pt x="108" y="318"/>
                </a:lnTo>
                <a:lnTo>
                  <a:pt x="108" y="318"/>
                </a:lnTo>
                <a:lnTo>
                  <a:pt x="108" y="318"/>
                </a:lnTo>
                <a:lnTo>
                  <a:pt x="108" y="318"/>
                </a:lnTo>
                <a:lnTo>
                  <a:pt x="108" y="318"/>
                </a:lnTo>
                <a:lnTo>
                  <a:pt x="102" y="318"/>
                </a:lnTo>
                <a:lnTo>
                  <a:pt x="102" y="318"/>
                </a:lnTo>
                <a:lnTo>
                  <a:pt x="102" y="318"/>
                </a:lnTo>
                <a:lnTo>
                  <a:pt x="102" y="318"/>
                </a:lnTo>
                <a:lnTo>
                  <a:pt x="96" y="318"/>
                </a:lnTo>
                <a:lnTo>
                  <a:pt x="96" y="318"/>
                </a:lnTo>
                <a:lnTo>
                  <a:pt x="96" y="318"/>
                </a:lnTo>
                <a:lnTo>
                  <a:pt x="96" y="318"/>
                </a:lnTo>
                <a:lnTo>
                  <a:pt x="96" y="318"/>
                </a:lnTo>
                <a:lnTo>
                  <a:pt x="90" y="318"/>
                </a:lnTo>
                <a:lnTo>
                  <a:pt x="90" y="324"/>
                </a:lnTo>
                <a:lnTo>
                  <a:pt x="90" y="324"/>
                </a:lnTo>
                <a:lnTo>
                  <a:pt x="90" y="324"/>
                </a:lnTo>
                <a:lnTo>
                  <a:pt x="90" y="324"/>
                </a:lnTo>
                <a:lnTo>
                  <a:pt x="90" y="324"/>
                </a:lnTo>
                <a:lnTo>
                  <a:pt x="90" y="318"/>
                </a:lnTo>
                <a:lnTo>
                  <a:pt x="84" y="324"/>
                </a:lnTo>
                <a:lnTo>
                  <a:pt x="84" y="324"/>
                </a:lnTo>
                <a:lnTo>
                  <a:pt x="84" y="324"/>
                </a:lnTo>
                <a:lnTo>
                  <a:pt x="84" y="324"/>
                </a:lnTo>
                <a:lnTo>
                  <a:pt x="84" y="324"/>
                </a:lnTo>
                <a:lnTo>
                  <a:pt x="84" y="324"/>
                </a:lnTo>
                <a:lnTo>
                  <a:pt x="84" y="324"/>
                </a:lnTo>
                <a:lnTo>
                  <a:pt x="78" y="324"/>
                </a:lnTo>
                <a:lnTo>
                  <a:pt x="78" y="324"/>
                </a:lnTo>
                <a:lnTo>
                  <a:pt x="78" y="324"/>
                </a:lnTo>
                <a:lnTo>
                  <a:pt x="78" y="324"/>
                </a:lnTo>
                <a:lnTo>
                  <a:pt x="78" y="324"/>
                </a:lnTo>
                <a:lnTo>
                  <a:pt x="78" y="324"/>
                </a:lnTo>
                <a:lnTo>
                  <a:pt x="78" y="324"/>
                </a:lnTo>
                <a:lnTo>
                  <a:pt x="78" y="318"/>
                </a:lnTo>
                <a:lnTo>
                  <a:pt x="78" y="318"/>
                </a:lnTo>
                <a:lnTo>
                  <a:pt x="78" y="318"/>
                </a:lnTo>
                <a:lnTo>
                  <a:pt x="78" y="318"/>
                </a:lnTo>
                <a:lnTo>
                  <a:pt x="78" y="318"/>
                </a:lnTo>
                <a:lnTo>
                  <a:pt x="78" y="318"/>
                </a:lnTo>
                <a:lnTo>
                  <a:pt x="78" y="318"/>
                </a:lnTo>
                <a:lnTo>
                  <a:pt x="78" y="318"/>
                </a:lnTo>
                <a:lnTo>
                  <a:pt x="78" y="312"/>
                </a:lnTo>
                <a:lnTo>
                  <a:pt x="78" y="312"/>
                </a:lnTo>
                <a:lnTo>
                  <a:pt x="78" y="312"/>
                </a:lnTo>
                <a:lnTo>
                  <a:pt x="78" y="312"/>
                </a:lnTo>
                <a:lnTo>
                  <a:pt x="78" y="312"/>
                </a:lnTo>
                <a:lnTo>
                  <a:pt x="78" y="312"/>
                </a:lnTo>
                <a:lnTo>
                  <a:pt x="78" y="312"/>
                </a:lnTo>
                <a:lnTo>
                  <a:pt x="78" y="312"/>
                </a:lnTo>
                <a:lnTo>
                  <a:pt x="78" y="312"/>
                </a:lnTo>
                <a:lnTo>
                  <a:pt x="78" y="306"/>
                </a:lnTo>
                <a:lnTo>
                  <a:pt x="78" y="306"/>
                </a:lnTo>
                <a:lnTo>
                  <a:pt x="78" y="306"/>
                </a:lnTo>
                <a:lnTo>
                  <a:pt x="78" y="306"/>
                </a:lnTo>
                <a:lnTo>
                  <a:pt x="78" y="306"/>
                </a:lnTo>
                <a:lnTo>
                  <a:pt x="78" y="306"/>
                </a:lnTo>
                <a:lnTo>
                  <a:pt x="72" y="306"/>
                </a:lnTo>
                <a:lnTo>
                  <a:pt x="72" y="306"/>
                </a:lnTo>
                <a:lnTo>
                  <a:pt x="72" y="306"/>
                </a:lnTo>
                <a:lnTo>
                  <a:pt x="72" y="306"/>
                </a:lnTo>
                <a:lnTo>
                  <a:pt x="72" y="300"/>
                </a:lnTo>
                <a:lnTo>
                  <a:pt x="72" y="300"/>
                </a:lnTo>
                <a:lnTo>
                  <a:pt x="72" y="300"/>
                </a:lnTo>
                <a:lnTo>
                  <a:pt x="72" y="300"/>
                </a:lnTo>
                <a:lnTo>
                  <a:pt x="78" y="300"/>
                </a:lnTo>
                <a:lnTo>
                  <a:pt x="72" y="300"/>
                </a:lnTo>
                <a:lnTo>
                  <a:pt x="72" y="300"/>
                </a:lnTo>
                <a:lnTo>
                  <a:pt x="78" y="300"/>
                </a:lnTo>
                <a:lnTo>
                  <a:pt x="72" y="300"/>
                </a:lnTo>
                <a:lnTo>
                  <a:pt x="78" y="300"/>
                </a:lnTo>
                <a:lnTo>
                  <a:pt x="78" y="300"/>
                </a:lnTo>
                <a:lnTo>
                  <a:pt x="78" y="300"/>
                </a:lnTo>
                <a:lnTo>
                  <a:pt x="78" y="294"/>
                </a:lnTo>
                <a:lnTo>
                  <a:pt x="78" y="294"/>
                </a:lnTo>
                <a:lnTo>
                  <a:pt x="78" y="294"/>
                </a:lnTo>
                <a:lnTo>
                  <a:pt x="78" y="294"/>
                </a:lnTo>
                <a:lnTo>
                  <a:pt x="78" y="294"/>
                </a:lnTo>
                <a:lnTo>
                  <a:pt x="78" y="294"/>
                </a:lnTo>
                <a:lnTo>
                  <a:pt x="72" y="288"/>
                </a:lnTo>
                <a:lnTo>
                  <a:pt x="72" y="288"/>
                </a:lnTo>
                <a:lnTo>
                  <a:pt x="72" y="288"/>
                </a:lnTo>
                <a:lnTo>
                  <a:pt x="72" y="288"/>
                </a:lnTo>
                <a:lnTo>
                  <a:pt x="72" y="288"/>
                </a:lnTo>
                <a:lnTo>
                  <a:pt x="72" y="288"/>
                </a:lnTo>
                <a:lnTo>
                  <a:pt x="72" y="282"/>
                </a:lnTo>
                <a:lnTo>
                  <a:pt x="72" y="282"/>
                </a:lnTo>
                <a:lnTo>
                  <a:pt x="72" y="282"/>
                </a:lnTo>
                <a:lnTo>
                  <a:pt x="72" y="282"/>
                </a:lnTo>
                <a:lnTo>
                  <a:pt x="72" y="276"/>
                </a:lnTo>
                <a:lnTo>
                  <a:pt x="72" y="276"/>
                </a:lnTo>
                <a:lnTo>
                  <a:pt x="72" y="276"/>
                </a:lnTo>
                <a:lnTo>
                  <a:pt x="66" y="276"/>
                </a:lnTo>
                <a:lnTo>
                  <a:pt x="66" y="276"/>
                </a:lnTo>
                <a:lnTo>
                  <a:pt x="66" y="276"/>
                </a:lnTo>
                <a:lnTo>
                  <a:pt x="66" y="270"/>
                </a:lnTo>
                <a:lnTo>
                  <a:pt x="66" y="270"/>
                </a:lnTo>
                <a:lnTo>
                  <a:pt x="66" y="270"/>
                </a:lnTo>
                <a:lnTo>
                  <a:pt x="66" y="270"/>
                </a:lnTo>
                <a:lnTo>
                  <a:pt x="66" y="264"/>
                </a:lnTo>
                <a:lnTo>
                  <a:pt x="66" y="264"/>
                </a:lnTo>
                <a:lnTo>
                  <a:pt x="66" y="264"/>
                </a:lnTo>
                <a:lnTo>
                  <a:pt x="60" y="264"/>
                </a:lnTo>
                <a:lnTo>
                  <a:pt x="60" y="264"/>
                </a:lnTo>
                <a:lnTo>
                  <a:pt x="60" y="258"/>
                </a:lnTo>
                <a:lnTo>
                  <a:pt x="60" y="258"/>
                </a:lnTo>
                <a:lnTo>
                  <a:pt x="60" y="258"/>
                </a:lnTo>
                <a:lnTo>
                  <a:pt x="60" y="258"/>
                </a:lnTo>
                <a:lnTo>
                  <a:pt x="60" y="258"/>
                </a:lnTo>
                <a:lnTo>
                  <a:pt x="60" y="258"/>
                </a:lnTo>
                <a:lnTo>
                  <a:pt x="60" y="258"/>
                </a:lnTo>
                <a:lnTo>
                  <a:pt x="60" y="258"/>
                </a:lnTo>
                <a:lnTo>
                  <a:pt x="60" y="258"/>
                </a:lnTo>
                <a:lnTo>
                  <a:pt x="60" y="252"/>
                </a:lnTo>
                <a:lnTo>
                  <a:pt x="54" y="252"/>
                </a:lnTo>
                <a:lnTo>
                  <a:pt x="54" y="252"/>
                </a:lnTo>
                <a:lnTo>
                  <a:pt x="54" y="252"/>
                </a:lnTo>
                <a:lnTo>
                  <a:pt x="54" y="252"/>
                </a:lnTo>
                <a:lnTo>
                  <a:pt x="48" y="252"/>
                </a:lnTo>
                <a:lnTo>
                  <a:pt x="48" y="252"/>
                </a:lnTo>
                <a:lnTo>
                  <a:pt x="48" y="252"/>
                </a:lnTo>
                <a:lnTo>
                  <a:pt x="48" y="252"/>
                </a:lnTo>
                <a:lnTo>
                  <a:pt x="48" y="252"/>
                </a:lnTo>
                <a:lnTo>
                  <a:pt x="48" y="252"/>
                </a:lnTo>
                <a:lnTo>
                  <a:pt x="48" y="252"/>
                </a:lnTo>
                <a:lnTo>
                  <a:pt x="48" y="252"/>
                </a:lnTo>
                <a:lnTo>
                  <a:pt x="48" y="246"/>
                </a:lnTo>
                <a:lnTo>
                  <a:pt x="48" y="246"/>
                </a:lnTo>
                <a:lnTo>
                  <a:pt x="48" y="246"/>
                </a:lnTo>
                <a:lnTo>
                  <a:pt x="48" y="246"/>
                </a:lnTo>
                <a:lnTo>
                  <a:pt x="42" y="246"/>
                </a:lnTo>
                <a:lnTo>
                  <a:pt x="42" y="246"/>
                </a:lnTo>
                <a:lnTo>
                  <a:pt x="42" y="240"/>
                </a:lnTo>
                <a:lnTo>
                  <a:pt x="42" y="240"/>
                </a:lnTo>
                <a:lnTo>
                  <a:pt x="42" y="240"/>
                </a:lnTo>
                <a:lnTo>
                  <a:pt x="42" y="240"/>
                </a:lnTo>
                <a:lnTo>
                  <a:pt x="36" y="240"/>
                </a:lnTo>
                <a:lnTo>
                  <a:pt x="36" y="240"/>
                </a:lnTo>
                <a:lnTo>
                  <a:pt x="36" y="240"/>
                </a:lnTo>
                <a:lnTo>
                  <a:pt x="36" y="240"/>
                </a:lnTo>
                <a:lnTo>
                  <a:pt x="36" y="240"/>
                </a:lnTo>
                <a:lnTo>
                  <a:pt x="30" y="240"/>
                </a:lnTo>
                <a:lnTo>
                  <a:pt x="30" y="240"/>
                </a:lnTo>
                <a:lnTo>
                  <a:pt x="30" y="240"/>
                </a:lnTo>
                <a:lnTo>
                  <a:pt x="30" y="234"/>
                </a:lnTo>
                <a:lnTo>
                  <a:pt x="24" y="234"/>
                </a:lnTo>
                <a:lnTo>
                  <a:pt x="24" y="228"/>
                </a:lnTo>
                <a:lnTo>
                  <a:pt x="24" y="228"/>
                </a:lnTo>
                <a:lnTo>
                  <a:pt x="24" y="228"/>
                </a:lnTo>
                <a:lnTo>
                  <a:pt x="18" y="222"/>
                </a:lnTo>
                <a:lnTo>
                  <a:pt x="12" y="222"/>
                </a:lnTo>
                <a:lnTo>
                  <a:pt x="12" y="216"/>
                </a:lnTo>
                <a:lnTo>
                  <a:pt x="12" y="216"/>
                </a:lnTo>
                <a:lnTo>
                  <a:pt x="12" y="216"/>
                </a:lnTo>
                <a:lnTo>
                  <a:pt x="6" y="216"/>
                </a:lnTo>
                <a:lnTo>
                  <a:pt x="6" y="210"/>
                </a:lnTo>
                <a:lnTo>
                  <a:pt x="6" y="210"/>
                </a:lnTo>
                <a:lnTo>
                  <a:pt x="6" y="210"/>
                </a:lnTo>
                <a:lnTo>
                  <a:pt x="0" y="204"/>
                </a:lnTo>
                <a:lnTo>
                  <a:pt x="0" y="204"/>
                </a:lnTo>
                <a:lnTo>
                  <a:pt x="0" y="20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63" name="Freeform 496"/>
          <p:cNvSpPr>
            <a:spLocks/>
          </p:cNvSpPr>
          <p:nvPr/>
        </p:nvSpPr>
        <p:spPr bwMode="auto">
          <a:xfrm>
            <a:off x="5952487" y="3505443"/>
            <a:ext cx="308354" cy="359749"/>
          </a:xfrm>
          <a:custGeom>
            <a:avLst/>
            <a:gdLst>
              <a:gd name="T0" fmla="*/ 42 w 288"/>
              <a:gd name="T1" fmla="*/ 54 h 336"/>
              <a:gd name="T2" fmla="*/ 54 w 288"/>
              <a:gd name="T3" fmla="*/ 54 h 336"/>
              <a:gd name="T4" fmla="*/ 60 w 288"/>
              <a:gd name="T5" fmla="*/ 54 h 336"/>
              <a:gd name="T6" fmla="*/ 78 w 288"/>
              <a:gd name="T7" fmla="*/ 48 h 336"/>
              <a:gd name="T8" fmla="*/ 90 w 288"/>
              <a:gd name="T9" fmla="*/ 42 h 336"/>
              <a:gd name="T10" fmla="*/ 102 w 288"/>
              <a:gd name="T11" fmla="*/ 36 h 336"/>
              <a:gd name="T12" fmla="*/ 120 w 288"/>
              <a:gd name="T13" fmla="*/ 30 h 336"/>
              <a:gd name="T14" fmla="*/ 132 w 288"/>
              <a:gd name="T15" fmla="*/ 42 h 336"/>
              <a:gd name="T16" fmla="*/ 138 w 288"/>
              <a:gd name="T17" fmla="*/ 48 h 336"/>
              <a:gd name="T18" fmla="*/ 144 w 288"/>
              <a:gd name="T19" fmla="*/ 54 h 336"/>
              <a:gd name="T20" fmla="*/ 162 w 288"/>
              <a:gd name="T21" fmla="*/ 48 h 336"/>
              <a:gd name="T22" fmla="*/ 174 w 288"/>
              <a:gd name="T23" fmla="*/ 48 h 336"/>
              <a:gd name="T24" fmla="*/ 180 w 288"/>
              <a:gd name="T25" fmla="*/ 36 h 336"/>
              <a:gd name="T26" fmla="*/ 192 w 288"/>
              <a:gd name="T27" fmla="*/ 30 h 336"/>
              <a:gd name="T28" fmla="*/ 210 w 288"/>
              <a:gd name="T29" fmla="*/ 12 h 336"/>
              <a:gd name="T30" fmla="*/ 228 w 288"/>
              <a:gd name="T31" fmla="*/ 0 h 336"/>
              <a:gd name="T32" fmla="*/ 216 w 288"/>
              <a:gd name="T33" fmla="*/ 54 h 336"/>
              <a:gd name="T34" fmla="*/ 198 w 288"/>
              <a:gd name="T35" fmla="*/ 78 h 336"/>
              <a:gd name="T36" fmla="*/ 198 w 288"/>
              <a:gd name="T37" fmla="*/ 90 h 336"/>
              <a:gd name="T38" fmla="*/ 204 w 288"/>
              <a:gd name="T39" fmla="*/ 90 h 336"/>
              <a:gd name="T40" fmla="*/ 216 w 288"/>
              <a:gd name="T41" fmla="*/ 96 h 336"/>
              <a:gd name="T42" fmla="*/ 222 w 288"/>
              <a:gd name="T43" fmla="*/ 102 h 336"/>
              <a:gd name="T44" fmla="*/ 234 w 288"/>
              <a:gd name="T45" fmla="*/ 96 h 336"/>
              <a:gd name="T46" fmla="*/ 246 w 288"/>
              <a:gd name="T47" fmla="*/ 102 h 336"/>
              <a:gd name="T48" fmla="*/ 258 w 288"/>
              <a:gd name="T49" fmla="*/ 102 h 336"/>
              <a:gd name="T50" fmla="*/ 264 w 288"/>
              <a:gd name="T51" fmla="*/ 96 h 336"/>
              <a:gd name="T52" fmla="*/ 282 w 288"/>
              <a:gd name="T53" fmla="*/ 102 h 336"/>
              <a:gd name="T54" fmla="*/ 276 w 288"/>
              <a:gd name="T55" fmla="*/ 126 h 336"/>
              <a:gd name="T56" fmla="*/ 270 w 288"/>
              <a:gd name="T57" fmla="*/ 132 h 336"/>
              <a:gd name="T58" fmla="*/ 264 w 288"/>
              <a:gd name="T59" fmla="*/ 144 h 336"/>
              <a:gd name="T60" fmla="*/ 246 w 288"/>
              <a:gd name="T61" fmla="*/ 156 h 336"/>
              <a:gd name="T62" fmla="*/ 228 w 288"/>
              <a:gd name="T63" fmla="*/ 156 h 336"/>
              <a:gd name="T64" fmla="*/ 228 w 288"/>
              <a:gd name="T65" fmla="*/ 162 h 336"/>
              <a:gd name="T66" fmla="*/ 240 w 288"/>
              <a:gd name="T67" fmla="*/ 168 h 336"/>
              <a:gd name="T68" fmla="*/ 258 w 288"/>
              <a:gd name="T69" fmla="*/ 180 h 336"/>
              <a:gd name="T70" fmla="*/ 252 w 288"/>
              <a:gd name="T71" fmla="*/ 204 h 336"/>
              <a:gd name="T72" fmla="*/ 264 w 288"/>
              <a:gd name="T73" fmla="*/ 228 h 336"/>
              <a:gd name="T74" fmla="*/ 264 w 288"/>
              <a:gd name="T75" fmla="*/ 246 h 336"/>
              <a:gd name="T76" fmla="*/ 240 w 288"/>
              <a:gd name="T77" fmla="*/ 258 h 336"/>
              <a:gd name="T78" fmla="*/ 240 w 288"/>
              <a:gd name="T79" fmla="*/ 270 h 336"/>
              <a:gd name="T80" fmla="*/ 246 w 288"/>
              <a:gd name="T81" fmla="*/ 282 h 336"/>
              <a:gd name="T82" fmla="*/ 252 w 288"/>
              <a:gd name="T83" fmla="*/ 294 h 336"/>
              <a:gd name="T84" fmla="*/ 252 w 288"/>
              <a:gd name="T85" fmla="*/ 306 h 336"/>
              <a:gd name="T86" fmla="*/ 252 w 288"/>
              <a:gd name="T87" fmla="*/ 318 h 336"/>
              <a:gd name="T88" fmla="*/ 258 w 288"/>
              <a:gd name="T89" fmla="*/ 330 h 336"/>
              <a:gd name="T90" fmla="*/ 246 w 288"/>
              <a:gd name="T91" fmla="*/ 330 h 336"/>
              <a:gd name="T92" fmla="*/ 222 w 288"/>
              <a:gd name="T93" fmla="*/ 318 h 336"/>
              <a:gd name="T94" fmla="*/ 198 w 288"/>
              <a:gd name="T95" fmla="*/ 324 h 336"/>
              <a:gd name="T96" fmla="*/ 186 w 288"/>
              <a:gd name="T97" fmla="*/ 312 h 336"/>
              <a:gd name="T98" fmla="*/ 168 w 288"/>
              <a:gd name="T99" fmla="*/ 312 h 336"/>
              <a:gd name="T100" fmla="*/ 132 w 288"/>
              <a:gd name="T101" fmla="*/ 300 h 336"/>
              <a:gd name="T102" fmla="*/ 108 w 288"/>
              <a:gd name="T103" fmla="*/ 300 h 336"/>
              <a:gd name="T104" fmla="*/ 96 w 288"/>
              <a:gd name="T105" fmla="*/ 306 h 336"/>
              <a:gd name="T106" fmla="*/ 84 w 288"/>
              <a:gd name="T107" fmla="*/ 288 h 336"/>
              <a:gd name="T108" fmla="*/ 90 w 288"/>
              <a:gd name="T109" fmla="*/ 258 h 336"/>
              <a:gd name="T110" fmla="*/ 60 w 288"/>
              <a:gd name="T111" fmla="*/ 264 h 336"/>
              <a:gd name="T112" fmla="*/ 54 w 288"/>
              <a:gd name="T113" fmla="*/ 270 h 336"/>
              <a:gd name="T114" fmla="*/ 48 w 288"/>
              <a:gd name="T115" fmla="*/ 276 h 336"/>
              <a:gd name="T116" fmla="*/ 36 w 288"/>
              <a:gd name="T117" fmla="*/ 270 h 336"/>
              <a:gd name="T118" fmla="*/ 18 w 288"/>
              <a:gd name="T119" fmla="*/ 264 h 336"/>
              <a:gd name="T120" fmla="*/ 0 w 288"/>
              <a:gd name="T121" fmla="*/ 264 h 3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8" h="336">
                <a:moveTo>
                  <a:pt x="6" y="174"/>
                </a:moveTo>
                <a:lnTo>
                  <a:pt x="12" y="16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30" y="8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48"/>
                </a:lnTo>
                <a:lnTo>
                  <a:pt x="60" y="54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6" y="48"/>
                </a:lnTo>
                <a:lnTo>
                  <a:pt x="66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8" y="36"/>
                </a:lnTo>
                <a:lnTo>
                  <a:pt x="108" y="30"/>
                </a:lnTo>
                <a:lnTo>
                  <a:pt x="108" y="36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6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6" y="36"/>
                </a:lnTo>
                <a:lnTo>
                  <a:pt x="126" y="30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8"/>
                </a:lnTo>
                <a:lnTo>
                  <a:pt x="138" y="48"/>
                </a:lnTo>
                <a:lnTo>
                  <a:pt x="138" y="48"/>
                </a:lnTo>
                <a:lnTo>
                  <a:pt x="138" y="48"/>
                </a:lnTo>
                <a:lnTo>
                  <a:pt x="138" y="48"/>
                </a:lnTo>
                <a:lnTo>
                  <a:pt x="138" y="48"/>
                </a:lnTo>
                <a:lnTo>
                  <a:pt x="138" y="54"/>
                </a:lnTo>
                <a:lnTo>
                  <a:pt x="138" y="54"/>
                </a:lnTo>
                <a:lnTo>
                  <a:pt x="138" y="54"/>
                </a:lnTo>
                <a:lnTo>
                  <a:pt x="138" y="54"/>
                </a:lnTo>
                <a:lnTo>
                  <a:pt x="138" y="54"/>
                </a:lnTo>
                <a:lnTo>
                  <a:pt x="144" y="54"/>
                </a:lnTo>
                <a:lnTo>
                  <a:pt x="144" y="54"/>
                </a:lnTo>
                <a:lnTo>
                  <a:pt x="144" y="54"/>
                </a:lnTo>
                <a:lnTo>
                  <a:pt x="144" y="54"/>
                </a:lnTo>
                <a:lnTo>
                  <a:pt x="144" y="54"/>
                </a:lnTo>
                <a:lnTo>
                  <a:pt x="144" y="54"/>
                </a:lnTo>
                <a:lnTo>
                  <a:pt x="144" y="54"/>
                </a:lnTo>
                <a:lnTo>
                  <a:pt x="144" y="54"/>
                </a:lnTo>
                <a:lnTo>
                  <a:pt x="150" y="54"/>
                </a:lnTo>
                <a:lnTo>
                  <a:pt x="150" y="54"/>
                </a:lnTo>
                <a:lnTo>
                  <a:pt x="150" y="54"/>
                </a:lnTo>
                <a:lnTo>
                  <a:pt x="150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8" y="48"/>
                </a:lnTo>
                <a:lnTo>
                  <a:pt x="168" y="48"/>
                </a:lnTo>
                <a:lnTo>
                  <a:pt x="168" y="48"/>
                </a:lnTo>
                <a:lnTo>
                  <a:pt x="168" y="48"/>
                </a:lnTo>
                <a:lnTo>
                  <a:pt x="168" y="48"/>
                </a:lnTo>
                <a:lnTo>
                  <a:pt x="168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80" y="48"/>
                </a:lnTo>
                <a:lnTo>
                  <a:pt x="180" y="48"/>
                </a:lnTo>
                <a:lnTo>
                  <a:pt x="180" y="48"/>
                </a:lnTo>
                <a:lnTo>
                  <a:pt x="180" y="48"/>
                </a:lnTo>
                <a:lnTo>
                  <a:pt x="180" y="48"/>
                </a:lnTo>
                <a:lnTo>
                  <a:pt x="180" y="42"/>
                </a:lnTo>
                <a:lnTo>
                  <a:pt x="180" y="42"/>
                </a:lnTo>
                <a:lnTo>
                  <a:pt x="180" y="42"/>
                </a:lnTo>
                <a:lnTo>
                  <a:pt x="180" y="42"/>
                </a:ln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92" y="30"/>
                </a:lnTo>
                <a:lnTo>
                  <a:pt x="192" y="30"/>
                </a:lnTo>
                <a:lnTo>
                  <a:pt x="192" y="30"/>
                </a:lnTo>
                <a:lnTo>
                  <a:pt x="192" y="30"/>
                </a:lnTo>
                <a:lnTo>
                  <a:pt x="192" y="30"/>
                </a:lnTo>
                <a:lnTo>
                  <a:pt x="198" y="30"/>
                </a:lnTo>
                <a:lnTo>
                  <a:pt x="198" y="24"/>
                </a:lnTo>
                <a:lnTo>
                  <a:pt x="198" y="24"/>
                </a:lnTo>
                <a:lnTo>
                  <a:pt x="198" y="24"/>
                </a:lnTo>
                <a:lnTo>
                  <a:pt x="198" y="24"/>
                </a:lnTo>
                <a:lnTo>
                  <a:pt x="204" y="18"/>
                </a:lnTo>
                <a:lnTo>
                  <a:pt x="204" y="18"/>
                </a:lnTo>
                <a:lnTo>
                  <a:pt x="204" y="18"/>
                </a:lnTo>
                <a:lnTo>
                  <a:pt x="210" y="18"/>
                </a:lnTo>
                <a:lnTo>
                  <a:pt x="210" y="12"/>
                </a:lnTo>
                <a:lnTo>
                  <a:pt x="210" y="12"/>
                </a:lnTo>
                <a:lnTo>
                  <a:pt x="210" y="12"/>
                </a:lnTo>
                <a:lnTo>
                  <a:pt x="210" y="6"/>
                </a:lnTo>
                <a:lnTo>
                  <a:pt x="216" y="6"/>
                </a:lnTo>
                <a:lnTo>
                  <a:pt x="216" y="6"/>
                </a:lnTo>
                <a:lnTo>
                  <a:pt x="216" y="6"/>
                </a:lnTo>
                <a:lnTo>
                  <a:pt x="216" y="6"/>
                </a:lnTo>
                <a:lnTo>
                  <a:pt x="222" y="0"/>
                </a:lnTo>
                <a:lnTo>
                  <a:pt x="222" y="0"/>
                </a:lnTo>
                <a:lnTo>
                  <a:pt x="222" y="0"/>
                </a:lnTo>
                <a:lnTo>
                  <a:pt x="222" y="0"/>
                </a:lnTo>
                <a:lnTo>
                  <a:pt x="228" y="0"/>
                </a:lnTo>
                <a:lnTo>
                  <a:pt x="228" y="0"/>
                </a:lnTo>
                <a:lnTo>
                  <a:pt x="228" y="0"/>
                </a:lnTo>
                <a:lnTo>
                  <a:pt x="228" y="0"/>
                </a:lnTo>
                <a:lnTo>
                  <a:pt x="228" y="54"/>
                </a:lnTo>
                <a:lnTo>
                  <a:pt x="228" y="54"/>
                </a:lnTo>
                <a:lnTo>
                  <a:pt x="222" y="54"/>
                </a:lnTo>
                <a:lnTo>
                  <a:pt x="222" y="54"/>
                </a:lnTo>
                <a:lnTo>
                  <a:pt x="222" y="54"/>
                </a:lnTo>
                <a:lnTo>
                  <a:pt x="222" y="54"/>
                </a:lnTo>
                <a:lnTo>
                  <a:pt x="216" y="54"/>
                </a:lnTo>
                <a:lnTo>
                  <a:pt x="216" y="60"/>
                </a:lnTo>
                <a:lnTo>
                  <a:pt x="216" y="60"/>
                </a:lnTo>
                <a:lnTo>
                  <a:pt x="216" y="54"/>
                </a:lnTo>
                <a:lnTo>
                  <a:pt x="216" y="54"/>
                </a:lnTo>
                <a:lnTo>
                  <a:pt x="210" y="60"/>
                </a:lnTo>
                <a:lnTo>
                  <a:pt x="210" y="60"/>
                </a:lnTo>
                <a:lnTo>
                  <a:pt x="210" y="60"/>
                </a:lnTo>
                <a:lnTo>
                  <a:pt x="204" y="66"/>
                </a:lnTo>
                <a:lnTo>
                  <a:pt x="204" y="66"/>
                </a:lnTo>
                <a:lnTo>
                  <a:pt x="204" y="66"/>
                </a:lnTo>
                <a:lnTo>
                  <a:pt x="204" y="66"/>
                </a:lnTo>
                <a:lnTo>
                  <a:pt x="204" y="66"/>
                </a:lnTo>
                <a:lnTo>
                  <a:pt x="204" y="72"/>
                </a:lnTo>
                <a:lnTo>
                  <a:pt x="204" y="72"/>
                </a:lnTo>
                <a:lnTo>
                  <a:pt x="198" y="72"/>
                </a:lnTo>
                <a:lnTo>
                  <a:pt x="198" y="72"/>
                </a:lnTo>
                <a:lnTo>
                  <a:pt x="198" y="78"/>
                </a:lnTo>
                <a:lnTo>
                  <a:pt x="198" y="78"/>
                </a:lnTo>
                <a:lnTo>
                  <a:pt x="198" y="78"/>
                </a:lnTo>
                <a:lnTo>
                  <a:pt x="198" y="84"/>
                </a:lnTo>
                <a:lnTo>
                  <a:pt x="192" y="84"/>
                </a:lnTo>
                <a:lnTo>
                  <a:pt x="192" y="84"/>
                </a:lnTo>
                <a:lnTo>
                  <a:pt x="192" y="84"/>
                </a:lnTo>
                <a:lnTo>
                  <a:pt x="198" y="84"/>
                </a:lnTo>
                <a:lnTo>
                  <a:pt x="192" y="90"/>
                </a:lnTo>
                <a:lnTo>
                  <a:pt x="198" y="90"/>
                </a:lnTo>
                <a:lnTo>
                  <a:pt x="192" y="90"/>
                </a:lnTo>
                <a:lnTo>
                  <a:pt x="192" y="90"/>
                </a:lnTo>
                <a:lnTo>
                  <a:pt x="198" y="90"/>
                </a:lnTo>
                <a:lnTo>
                  <a:pt x="198" y="90"/>
                </a:lnTo>
                <a:lnTo>
                  <a:pt x="198" y="90"/>
                </a:lnTo>
                <a:lnTo>
                  <a:pt x="198" y="90"/>
                </a:lnTo>
                <a:lnTo>
                  <a:pt x="198" y="90"/>
                </a:lnTo>
                <a:lnTo>
                  <a:pt x="198" y="90"/>
                </a:lnTo>
                <a:lnTo>
                  <a:pt x="198" y="90"/>
                </a:lnTo>
                <a:lnTo>
                  <a:pt x="204" y="90"/>
                </a:lnTo>
                <a:lnTo>
                  <a:pt x="204" y="90"/>
                </a:lnTo>
                <a:lnTo>
                  <a:pt x="204" y="90"/>
                </a:lnTo>
                <a:lnTo>
                  <a:pt x="204" y="90"/>
                </a:lnTo>
                <a:lnTo>
                  <a:pt x="204" y="90"/>
                </a:lnTo>
                <a:lnTo>
                  <a:pt x="204" y="90"/>
                </a:lnTo>
                <a:lnTo>
                  <a:pt x="204" y="90"/>
                </a:lnTo>
                <a:lnTo>
                  <a:pt x="204" y="90"/>
                </a:lnTo>
                <a:lnTo>
                  <a:pt x="204" y="90"/>
                </a:lnTo>
                <a:lnTo>
                  <a:pt x="210" y="90"/>
                </a:lnTo>
                <a:lnTo>
                  <a:pt x="210" y="90"/>
                </a:lnTo>
                <a:lnTo>
                  <a:pt x="210" y="90"/>
                </a:lnTo>
                <a:lnTo>
                  <a:pt x="210" y="90"/>
                </a:lnTo>
                <a:lnTo>
                  <a:pt x="210" y="90"/>
                </a:lnTo>
                <a:lnTo>
                  <a:pt x="210" y="90"/>
                </a:lnTo>
                <a:lnTo>
                  <a:pt x="210" y="90"/>
                </a:lnTo>
                <a:lnTo>
                  <a:pt x="210" y="90"/>
                </a:lnTo>
                <a:lnTo>
                  <a:pt x="210" y="96"/>
                </a:lnTo>
                <a:lnTo>
                  <a:pt x="210" y="96"/>
                </a:lnTo>
                <a:lnTo>
                  <a:pt x="210" y="96"/>
                </a:lnTo>
                <a:lnTo>
                  <a:pt x="216" y="96"/>
                </a:lnTo>
                <a:lnTo>
                  <a:pt x="210" y="96"/>
                </a:lnTo>
                <a:lnTo>
                  <a:pt x="216" y="96"/>
                </a:lnTo>
                <a:lnTo>
                  <a:pt x="216" y="96"/>
                </a:lnTo>
                <a:lnTo>
                  <a:pt x="216" y="96"/>
                </a:lnTo>
                <a:lnTo>
                  <a:pt x="216" y="96"/>
                </a:lnTo>
                <a:lnTo>
                  <a:pt x="216" y="96"/>
                </a:lnTo>
                <a:lnTo>
                  <a:pt x="216" y="96"/>
                </a:lnTo>
                <a:lnTo>
                  <a:pt x="216" y="96"/>
                </a:lnTo>
                <a:lnTo>
                  <a:pt x="216" y="96"/>
                </a:lnTo>
                <a:lnTo>
                  <a:pt x="216" y="96"/>
                </a:lnTo>
                <a:lnTo>
                  <a:pt x="216" y="102"/>
                </a:lnTo>
                <a:lnTo>
                  <a:pt x="216" y="102"/>
                </a:lnTo>
                <a:lnTo>
                  <a:pt x="222" y="102"/>
                </a:lnTo>
                <a:lnTo>
                  <a:pt x="222" y="102"/>
                </a:lnTo>
                <a:lnTo>
                  <a:pt x="222" y="102"/>
                </a:lnTo>
                <a:lnTo>
                  <a:pt x="222" y="102"/>
                </a:lnTo>
                <a:lnTo>
                  <a:pt x="228" y="102"/>
                </a:lnTo>
                <a:lnTo>
                  <a:pt x="228" y="102"/>
                </a:lnTo>
                <a:lnTo>
                  <a:pt x="228" y="102"/>
                </a:lnTo>
                <a:lnTo>
                  <a:pt x="228" y="102"/>
                </a:lnTo>
                <a:lnTo>
                  <a:pt x="228" y="102"/>
                </a:lnTo>
                <a:lnTo>
                  <a:pt x="228" y="102"/>
                </a:lnTo>
                <a:lnTo>
                  <a:pt x="228" y="96"/>
                </a:lnTo>
                <a:lnTo>
                  <a:pt x="228" y="96"/>
                </a:lnTo>
                <a:lnTo>
                  <a:pt x="234" y="96"/>
                </a:lnTo>
                <a:lnTo>
                  <a:pt x="234" y="96"/>
                </a:lnTo>
                <a:lnTo>
                  <a:pt x="234" y="96"/>
                </a:lnTo>
                <a:lnTo>
                  <a:pt x="234" y="96"/>
                </a:lnTo>
                <a:lnTo>
                  <a:pt x="240" y="96"/>
                </a:lnTo>
                <a:lnTo>
                  <a:pt x="240" y="96"/>
                </a:lnTo>
                <a:lnTo>
                  <a:pt x="240" y="96"/>
                </a:lnTo>
                <a:lnTo>
                  <a:pt x="240" y="96"/>
                </a:lnTo>
                <a:lnTo>
                  <a:pt x="240" y="102"/>
                </a:lnTo>
                <a:lnTo>
                  <a:pt x="240" y="102"/>
                </a:lnTo>
                <a:lnTo>
                  <a:pt x="240" y="102"/>
                </a:lnTo>
                <a:lnTo>
                  <a:pt x="240" y="102"/>
                </a:lnTo>
                <a:lnTo>
                  <a:pt x="246" y="102"/>
                </a:lnTo>
                <a:lnTo>
                  <a:pt x="246" y="102"/>
                </a:lnTo>
                <a:lnTo>
                  <a:pt x="246" y="102"/>
                </a:lnTo>
                <a:lnTo>
                  <a:pt x="246" y="102"/>
                </a:lnTo>
                <a:lnTo>
                  <a:pt x="246" y="102"/>
                </a:lnTo>
                <a:lnTo>
                  <a:pt x="252" y="102"/>
                </a:lnTo>
                <a:lnTo>
                  <a:pt x="252" y="102"/>
                </a:lnTo>
                <a:lnTo>
                  <a:pt x="252" y="102"/>
                </a:lnTo>
                <a:lnTo>
                  <a:pt x="252" y="102"/>
                </a:lnTo>
                <a:lnTo>
                  <a:pt x="252" y="102"/>
                </a:lnTo>
                <a:lnTo>
                  <a:pt x="258" y="102"/>
                </a:lnTo>
                <a:lnTo>
                  <a:pt x="258" y="102"/>
                </a:lnTo>
                <a:lnTo>
                  <a:pt x="258" y="102"/>
                </a:lnTo>
                <a:lnTo>
                  <a:pt x="258" y="102"/>
                </a:lnTo>
                <a:lnTo>
                  <a:pt x="258" y="102"/>
                </a:lnTo>
                <a:lnTo>
                  <a:pt x="258" y="102"/>
                </a:lnTo>
                <a:lnTo>
                  <a:pt x="258" y="102"/>
                </a:lnTo>
                <a:lnTo>
                  <a:pt x="258" y="102"/>
                </a:lnTo>
                <a:lnTo>
                  <a:pt x="258" y="102"/>
                </a:lnTo>
                <a:lnTo>
                  <a:pt x="258" y="96"/>
                </a:lnTo>
                <a:lnTo>
                  <a:pt x="258" y="96"/>
                </a:lnTo>
                <a:lnTo>
                  <a:pt x="258" y="96"/>
                </a:lnTo>
                <a:lnTo>
                  <a:pt x="264" y="96"/>
                </a:lnTo>
                <a:lnTo>
                  <a:pt x="264" y="96"/>
                </a:lnTo>
                <a:lnTo>
                  <a:pt x="264" y="96"/>
                </a:lnTo>
                <a:lnTo>
                  <a:pt x="264" y="96"/>
                </a:lnTo>
                <a:lnTo>
                  <a:pt x="264" y="96"/>
                </a:lnTo>
                <a:lnTo>
                  <a:pt x="264" y="96"/>
                </a:lnTo>
                <a:lnTo>
                  <a:pt x="264" y="96"/>
                </a:lnTo>
                <a:lnTo>
                  <a:pt x="264" y="96"/>
                </a:lnTo>
                <a:lnTo>
                  <a:pt x="264" y="96"/>
                </a:lnTo>
                <a:lnTo>
                  <a:pt x="264" y="96"/>
                </a:lnTo>
                <a:lnTo>
                  <a:pt x="264" y="96"/>
                </a:lnTo>
                <a:lnTo>
                  <a:pt x="264" y="96"/>
                </a:lnTo>
                <a:lnTo>
                  <a:pt x="270" y="102"/>
                </a:lnTo>
                <a:lnTo>
                  <a:pt x="270" y="102"/>
                </a:lnTo>
                <a:lnTo>
                  <a:pt x="276" y="102"/>
                </a:lnTo>
                <a:lnTo>
                  <a:pt x="276" y="102"/>
                </a:lnTo>
                <a:lnTo>
                  <a:pt x="276" y="102"/>
                </a:lnTo>
                <a:lnTo>
                  <a:pt x="282" y="102"/>
                </a:lnTo>
                <a:lnTo>
                  <a:pt x="282" y="102"/>
                </a:lnTo>
                <a:lnTo>
                  <a:pt x="282" y="102"/>
                </a:lnTo>
                <a:lnTo>
                  <a:pt x="288" y="102"/>
                </a:lnTo>
                <a:lnTo>
                  <a:pt x="288" y="108"/>
                </a:lnTo>
                <a:lnTo>
                  <a:pt x="288" y="108"/>
                </a:lnTo>
                <a:lnTo>
                  <a:pt x="288" y="108"/>
                </a:lnTo>
                <a:lnTo>
                  <a:pt x="288" y="114"/>
                </a:lnTo>
                <a:lnTo>
                  <a:pt x="288" y="114"/>
                </a:lnTo>
                <a:lnTo>
                  <a:pt x="288" y="120"/>
                </a:lnTo>
                <a:lnTo>
                  <a:pt x="288" y="120"/>
                </a:lnTo>
                <a:lnTo>
                  <a:pt x="282" y="120"/>
                </a:lnTo>
                <a:lnTo>
                  <a:pt x="282" y="126"/>
                </a:lnTo>
                <a:lnTo>
                  <a:pt x="282" y="126"/>
                </a:lnTo>
                <a:lnTo>
                  <a:pt x="282" y="126"/>
                </a:lnTo>
                <a:lnTo>
                  <a:pt x="276" y="126"/>
                </a:lnTo>
                <a:lnTo>
                  <a:pt x="276" y="126"/>
                </a:lnTo>
                <a:lnTo>
                  <a:pt x="270" y="126"/>
                </a:lnTo>
                <a:lnTo>
                  <a:pt x="270" y="126"/>
                </a:lnTo>
                <a:lnTo>
                  <a:pt x="270" y="126"/>
                </a:lnTo>
                <a:lnTo>
                  <a:pt x="270" y="126"/>
                </a:lnTo>
                <a:lnTo>
                  <a:pt x="270" y="126"/>
                </a:lnTo>
                <a:lnTo>
                  <a:pt x="276" y="126"/>
                </a:lnTo>
                <a:lnTo>
                  <a:pt x="276" y="132"/>
                </a:lnTo>
                <a:lnTo>
                  <a:pt x="276" y="132"/>
                </a:lnTo>
                <a:lnTo>
                  <a:pt x="276" y="132"/>
                </a:lnTo>
                <a:lnTo>
                  <a:pt x="276" y="132"/>
                </a:lnTo>
                <a:lnTo>
                  <a:pt x="270" y="132"/>
                </a:lnTo>
                <a:lnTo>
                  <a:pt x="270" y="132"/>
                </a:lnTo>
                <a:lnTo>
                  <a:pt x="270" y="132"/>
                </a:lnTo>
                <a:lnTo>
                  <a:pt x="264" y="132"/>
                </a:lnTo>
                <a:lnTo>
                  <a:pt x="264" y="132"/>
                </a:lnTo>
                <a:lnTo>
                  <a:pt x="264" y="132"/>
                </a:lnTo>
                <a:lnTo>
                  <a:pt x="258" y="132"/>
                </a:lnTo>
                <a:lnTo>
                  <a:pt x="258" y="132"/>
                </a:lnTo>
                <a:lnTo>
                  <a:pt x="258" y="132"/>
                </a:lnTo>
                <a:lnTo>
                  <a:pt x="258" y="138"/>
                </a:lnTo>
                <a:lnTo>
                  <a:pt x="258" y="138"/>
                </a:lnTo>
                <a:lnTo>
                  <a:pt x="258" y="138"/>
                </a:lnTo>
                <a:lnTo>
                  <a:pt x="258" y="138"/>
                </a:lnTo>
                <a:lnTo>
                  <a:pt x="264" y="144"/>
                </a:lnTo>
                <a:lnTo>
                  <a:pt x="264" y="144"/>
                </a:lnTo>
                <a:lnTo>
                  <a:pt x="258" y="144"/>
                </a:lnTo>
                <a:lnTo>
                  <a:pt x="264" y="150"/>
                </a:lnTo>
                <a:lnTo>
                  <a:pt x="258" y="150"/>
                </a:lnTo>
                <a:lnTo>
                  <a:pt x="258" y="150"/>
                </a:lnTo>
                <a:lnTo>
                  <a:pt x="258" y="150"/>
                </a:lnTo>
                <a:lnTo>
                  <a:pt x="258" y="156"/>
                </a:lnTo>
                <a:lnTo>
                  <a:pt x="252" y="150"/>
                </a:lnTo>
                <a:lnTo>
                  <a:pt x="252" y="150"/>
                </a:lnTo>
                <a:lnTo>
                  <a:pt x="252" y="150"/>
                </a:lnTo>
                <a:lnTo>
                  <a:pt x="252" y="150"/>
                </a:lnTo>
                <a:lnTo>
                  <a:pt x="252" y="156"/>
                </a:lnTo>
                <a:lnTo>
                  <a:pt x="246" y="156"/>
                </a:lnTo>
                <a:lnTo>
                  <a:pt x="246" y="156"/>
                </a:lnTo>
                <a:lnTo>
                  <a:pt x="240" y="156"/>
                </a:lnTo>
                <a:lnTo>
                  <a:pt x="240" y="156"/>
                </a:lnTo>
                <a:lnTo>
                  <a:pt x="240" y="156"/>
                </a:lnTo>
                <a:lnTo>
                  <a:pt x="240" y="156"/>
                </a:lnTo>
                <a:lnTo>
                  <a:pt x="234" y="156"/>
                </a:lnTo>
                <a:lnTo>
                  <a:pt x="234" y="162"/>
                </a:lnTo>
                <a:lnTo>
                  <a:pt x="234" y="156"/>
                </a:lnTo>
                <a:lnTo>
                  <a:pt x="234" y="162"/>
                </a:lnTo>
                <a:lnTo>
                  <a:pt x="234" y="156"/>
                </a:lnTo>
                <a:lnTo>
                  <a:pt x="234" y="156"/>
                </a:lnTo>
                <a:lnTo>
                  <a:pt x="228" y="156"/>
                </a:lnTo>
                <a:lnTo>
                  <a:pt x="228" y="156"/>
                </a:lnTo>
                <a:lnTo>
                  <a:pt x="228" y="156"/>
                </a:lnTo>
                <a:lnTo>
                  <a:pt x="228" y="156"/>
                </a:lnTo>
                <a:lnTo>
                  <a:pt x="228" y="156"/>
                </a:lnTo>
                <a:lnTo>
                  <a:pt x="228" y="156"/>
                </a:lnTo>
                <a:lnTo>
                  <a:pt x="222" y="156"/>
                </a:lnTo>
                <a:lnTo>
                  <a:pt x="222" y="162"/>
                </a:lnTo>
                <a:lnTo>
                  <a:pt x="222" y="162"/>
                </a:lnTo>
                <a:lnTo>
                  <a:pt x="228" y="162"/>
                </a:lnTo>
                <a:lnTo>
                  <a:pt x="228" y="162"/>
                </a:lnTo>
                <a:lnTo>
                  <a:pt x="228" y="162"/>
                </a:lnTo>
                <a:lnTo>
                  <a:pt x="228" y="162"/>
                </a:lnTo>
                <a:lnTo>
                  <a:pt x="228" y="162"/>
                </a:lnTo>
                <a:lnTo>
                  <a:pt x="228" y="162"/>
                </a:lnTo>
                <a:lnTo>
                  <a:pt x="228" y="162"/>
                </a:lnTo>
                <a:lnTo>
                  <a:pt x="228" y="162"/>
                </a:lnTo>
                <a:lnTo>
                  <a:pt x="234" y="168"/>
                </a:lnTo>
                <a:lnTo>
                  <a:pt x="234" y="162"/>
                </a:lnTo>
                <a:lnTo>
                  <a:pt x="234" y="168"/>
                </a:lnTo>
                <a:lnTo>
                  <a:pt x="234" y="168"/>
                </a:lnTo>
                <a:lnTo>
                  <a:pt x="234" y="168"/>
                </a:lnTo>
                <a:lnTo>
                  <a:pt x="234" y="168"/>
                </a:lnTo>
                <a:lnTo>
                  <a:pt x="234" y="168"/>
                </a:lnTo>
                <a:lnTo>
                  <a:pt x="234" y="168"/>
                </a:lnTo>
                <a:lnTo>
                  <a:pt x="240" y="168"/>
                </a:lnTo>
                <a:lnTo>
                  <a:pt x="240" y="168"/>
                </a:lnTo>
                <a:lnTo>
                  <a:pt x="240" y="168"/>
                </a:lnTo>
                <a:lnTo>
                  <a:pt x="240" y="168"/>
                </a:lnTo>
                <a:lnTo>
                  <a:pt x="246" y="168"/>
                </a:lnTo>
                <a:lnTo>
                  <a:pt x="246" y="168"/>
                </a:lnTo>
                <a:lnTo>
                  <a:pt x="246" y="168"/>
                </a:lnTo>
                <a:lnTo>
                  <a:pt x="246" y="168"/>
                </a:lnTo>
                <a:lnTo>
                  <a:pt x="246" y="168"/>
                </a:lnTo>
                <a:lnTo>
                  <a:pt x="246" y="168"/>
                </a:lnTo>
                <a:lnTo>
                  <a:pt x="252" y="174"/>
                </a:lnTo>
                <a:lnTo>
                  <a:pt x="252" y="174"/>
                </a:lnTo>
                <a:lnTo>
                  <a:pt x="258" y="174"/>
                </a:lnTo>
                <a:lnTo>
                  <a:pt x="258" y="174"/>
                </a:lnTo>
                <a:lnTo>
                  <a:pt x="258" y="174"/>
                </a:lnTo>
                <a:lnTo>
                  <a:pt x="258" y="180"/>
                </a:lnTo>
                <a:lnTo>
                  <a:pt x="258" y="180"/>
                </a:lnTo>
                <a:lnTo>
                  <a:pt x="258" y="180"/>
                </a:lnTo>
                <a:lnTo>
                  <a:pt x="258" y="180"/>
                </a:lnTo>
                <a:lnTo>
                  <a:pt x="264" y="180"/>
                </a:lnTo>
                <a:lnTo>
                  <a:pt x="264" y="186"/>
                </a:lnTo>
                <a:lnTo>
                  <a:pt x="258" y="186"/>
                </a:lnTo>
                <a:lnTo>
                  <a:pt x="258" y="192"/>
                </a:lnTo>
                <a:lnTo>
                  <a:pt x="258" y="192"/>
                </a:lnTo>
                <a:lnTo>
                  <a:pt x="258" y="192"/>
                </a:lnTo>
                <a:lnTo>
                  <a:pt x="252" y="198"/>
                </a:lnTo>
                <a:lnTo>
                  <a:pt x="252" y="198"/>
                </a:lnTo>
                <a:lnTo>
                  <a:pt x="252" y="204"/>
                </a:lnTo>
                <a:lnTo>
                  <a:pt x="252" y="204"/>
                </a:lnTo>
                <a:lnTo>
                  <a:pt x="252" y="204"/>
                </a:lnTo>
                <a:lnTo>
                  <a:pt x="252" y="204"/>
                </a:lnTo>
                <a:lnTo>
                  <a:pt x="252" y="210"/>
                </a:lnTo>
                <a:lnTo>
                  <a:pt x="252" y="210"/>
                </a:lnTo>
                <a:lnTo>
                  <a:pt x="258" y="210"/>
                </a:lnTo>
                <a:lnTo>
                  <a:pt x="258" y="216"/>
                </a:lnTo>
                <a:lnTo>
                  <a:pt x="258" y="216"/>
                </a:lnTo>
                <a:lnTo>
                  <a:pt x="264" y="216"/>
                </a:lnTo>
                <a:lnTo>
                  <a:pt x="264" y="216"/>
                </a:lnTo>
                <a:lnTo>
                  <a:pt x="264" y="216"/>
                </a:lnTo>
                <a:lnTo>
                  <a:pt x="264" y="222"/>
                </a:lnTo>
                <a:lnTo>
                  <a:pt x="270" y="222"/>
                </a:lnTo>
                <a:lnTo>
                  <a:pt x="270" y="228"/>
                </a:lnTo>
                <a:lnTo>
                  <a:pt x="264" y="228"/>
                </a:lnTo>
                <a:lnTo>
                  <a:pt x="264" y="234"/>
                </a:lnTo>
                <a:lnTo>
                  <a:pt x="264" y="234"/>
                </a:lnTo>
                <a:lnTo>
                  <a:pt x="270" y="234"/>
                </a:lnTo>
                <a:lnTo>
                  <a:pt x="276" y="234"/>
                </a:lnTo>
                <a:lnTo>
                  <a:pt x="276" y="234"/>
                </a:lnTo>
                <a:lnTo>
                  <a:pt x="276" y="234"/>
                </a:lnTo>
                <a:lnTo>
                  <a:pt x="276" y="234"/>
                </a:lnTo>
                <a:lnTo>
                  <a:pt x="276" y="234"/>
                </a:lnTo>
                <a:lnTo>
                  <a:pt x="270" y="240"/>
                </a:lnTo>
                <a:lnTo>
                  <a:pt x="264" y="240"/>
                </a:lnTo>
                <a:lnTo>
                  <a:pt x="264" y="246"/>
                </a:lnTo>
                <a:lnTo>
                  <a:pt x="264" y="246"/>
                </a:lnTo>
                <a:lnTo>
                  <a:pt x="264" y="246"/>
                </a:lnTo>
                <a:lnTo>
                  <a:pt x="264" y="252"/>
                </a:lnTo>
                <a:lnTo>
                  <a:pt x="264" y="252"/>
                </a:lnTo>
                <a:lnTo>
                  <a:pt x="264" y="252"/>
                </a:lnTo>
                <a:lnTo>
                  <a:pt x="258" y="252"/>
                </a:lnTo>
                <a:lnTo>
                  <a:pt x="258" y="252"/>
                </a:lnTo>
                <a:lnTo>
                  <a:pt x="252" y="252"/>
                </a:lnTo>
                <a:lnTo>
                  <a:pt x="246" y="252"/>
                </a:lnTo>
                <a:lnTo>
                  <a:pt x="246" y="252"/>
                </a:lnTo>
                <a:lnTo>
                  <a:pt x="240" y="252"/>
                </a:lnTo>
                <a:lnTo>
                  <a:pt x="240" y="252"/>
                </a:lnTo>
                <a:lnTo>
                  <a:pt x="240" y="252"/>
                </a:lnTo>
                <a:lnTo>
                  <a:pt x="240" y="252"/>
                </a:lnTo>
                <a:lnTo>
                  <a:pt x="240" y="258"/>
                </a:lnTo>
                <a:lnTo>
                  <a:pt x="240" y="258"/>
                </a:lnTo>
                <a:lnTo>
                  <a:pt x="240" y="258"/>
                </a:lnTo>
                <a:lnTo>
                  <a:pt x="240" y="258"/>
                </a:lnTo>
                <a:lnTo>
                  <a:pt x="240" y="258"/>
                </a:lnTo>
                <a:lnTo>
                  <a:pt x="240" y="258"/>
                </a:lnTo>
                <a:lnTo>
                  <a:pt x="240" y="264"/>
                </a:lnTo>
                <a:lnTo>
                  <a:pt x="234" y="264"/>
                </a:lnTo>
                <a:lnTo>
                  <a:pt x="234" y="264"/>
                </a:lnTo>
                <a:lnTo>
                  <a:pt x="240" y="264"/>
                </a:lnTo>
                <a:lnTo>
                  <a:pt x="240" y="270"/>
                </a:lnTo>
                <a:lnTo>
                  <a:pt x="240" y="270"/>
                </a:lnTo>
                <a:lnTo>
                  <a:pt x="240" y="270"/>
                </a:lnTo>
                <a:lnTo>
                  <a:pt x="240" y="270"/>
                </a:lnTo>
                <a:lnTo>
                  <a:pt x="240" y="270"/>
                </a:lnTo>
                <a:lnTo>
                  <a:pt x="240" y="270"/>
                </a:lnTo>
                <a:lnTo>
                  <a:pt x="240" y="270"/>
                </a:lnTo>
                <a:lnTo>
                  <a:pt x="240" y="276"/>
                </a:lnTo>
                <a:lnTo>
                  <a:pt x="240" y="276"/>
                </a:lnTo>
                <a:lnTo>
                  <a:pt x="246" y="276"/>
                </a:lnTo>
                <a:lnTo>
                  <a:pt x="246" y="276"/>
                </a:lnTo>
                <a:lnTo>
                  <a:pt x="246" y="276"/>
                </a:lnTo>
                <a:lnTo>
                  <a:pt x="240" y="276"/>
                </a:lnTo>
                <a:lnTo>
                  <a:pt x="246" y="276"/>
                </a:lnTo>
                <a:lnTo>
                  <a:pt x="246" y="282"/>
                </a:lnTo>
                <a:lnTo>
                  <a:pt x="246" y="282"/>
                </a:lnTo>
                <a:lnTo>
                  <a:pt x="246" y="282"/>
                </a:lnTo>
                <a:lnTo>
                  <a:pt x="246" y="282"/>
                </a:lnTo>
                <a:lnTo>
                  <a:pt x="246" y="282"/>
                </a:lnTo>
                <a:lnTo>
                  <a:pt x="246" y="288"/>
                </a:lnTo>
                <a:lnTo>
                  <a:pt x="246" y="288"/>
                </a:lnTo>
                <a:lnTo>
                  <a:pt x="246" y="288"/>
                </a:lnTo>
                <a:lnTo>
                  <a:pt x="246" y="288"/>
                </a:lnTo>
                <a:lnTo>
                  <a:pt x="246" y="288"/>
                </a:lnTo>
                <a:lnTo>
                  <a:pt x="246" y="288"/>
                </a:lnTo>
                <a:lnTo>
                  <a:pt x="246" y="294"/>
                </a:lnTo>
                <a:lnTo>
                  <a:pt x="246" y="294"/>
                </a:lnTo>
                <a:lnTo>
                  <a:pt x="246" y="294"/>
                </a:lnTo>
                <a:lnTo>
                  <a:pt x="252" y="294"/>
                </a:lnTo>
                <a:lnTo>
                  <a:pt x="252" y="294"/>
                </a:lnTo>
                <a:lnTo>
                  <a:pt x="252" y="294"/>
                </a:lnTo>
                <a:lnTo>
                  <a:pt x="252" y="300"/>
                </a:lnTo>
                <a:lnTo>
                  <a:pt x="252" y="300"/>
                </a:lnTo>
                <a:lnTo>
                  <a:pt x="252" y="300"/>
                </a:lnTo>
                <a:lnTo>
                  <a:pt x="252" y="300"/>
                </a:lnTo>
                <a:lnTo>
                  <a:pt x="252" y="300"/>
                </a:lnTo>
                <a:lnTo>
                  <a:pt x="252" y="300"/>
                </a:lnTo>
                <a:lnTo>
                  <a:pt x="252" y="300"/>
                </a:lnTo>
                <a:lnTo>
                  <a:pt x="252" y="300"/>
                </a:lnTo>
                <a:lnTo>
                  <a:pt x="252" y="306"/>
                </a:lnTo>
                <a:lnTo>
                  <a:pt x="252" y="306"/>
                </a:lnTo>
                <a:lnTo>
                  <a:pt x="252" y="306"/>
                </a:lnTo>
                <a:lnTo>
                  <a:pt x="252" y="306"/>
                </a:lnTo>
                <a:lnTo>
                  <a:pt x="258" y="306"/>
                </a:lnTo>
                <a:lnTo>
                  <a:pt x="258" y="306"/>
                </a:lnTo>
                <a:lnTo>
                  <a:pt x="258" y="306"/>
                </a:lnTo>
                <a:lnTo>
                  <a:pt x="258" y="312"/>
                </a:lnTo>
                <a:lnTo>
                  <a:pt x="258" y="312"/>
                </a:lnTo>
                <a:lnTo>
                  <a:pt x="258" y="312"/>
                </a:lnTo>
                <a:lnTo>
                  <a:pt x="258" y="312"/>
                </a:lnTo>
                <a:lnTo>
                  <a:pt x="258" y="312"/>
                </a:lnTo>
                <a:lnTo>
                  <a:pt x="252" y="312"/>
                </a:lnTo>
                <a:lnTo>
                  <a:pt x="258" y="312"/>
                </a:lnTo>
                <a:lnTo>
                  <a:pt x="258" y="312"/>
                </a:lnTo>
                <a:lnTo>
                  <a:pt x="258" y="318"/>
                </a:lnTo>
                <a:lnTo>
                  <a:pt x="252" y="318"/>
                </a:lnTo>
                <a:lnTo>
                  <a:pt x="252" y="318"/>
                </a:lnTo>
                <a:lnTo>
                  <a:pt x="258" y="318"/>
                </a:lnTo>
                <a:lnTo>
                  <a:pt x="252" y="318"/>
                </a:lnTo>
                <a:lnTo>
                  <a:pt x="252" y="318"/>
                </a:lnTo>
                <a:lnTo>
                  <a:pt x="252" y="318"/>
                </a:lnTo>
                <a:lnTo>
                  <a:pt x="258" y="318"/>
                </a:lnTo>
                <a:lnTo>
                  <a:pt x="252" y="318"/>
                </a:lnTo>
                <a:lnTo>
                  <a:pt x="258" y="318"/>
                </a:lnTo>
                <a:lnTo>
                  <a:pt x="258" y="324"/>
                </a:lnTo>
                <a:lnTo>
                  <a:pt x="258" y="324"/>
                </a:lnTo>
                <a:lnTo>
                  <a:pt x="258" y="324"/>
                </a:lnTo>
                <a:lnTo>
                  <a:pt x="258" y="324"/>
                </a:lnTo>
                <a:lnTo>
                  <a:pt x="258" y="330"/>
                </a:lnTo>
                <a:lnTo>
                  <a:pt x="258" y="330"/>
                </a:lnTo>
                <a:lnTo>
                  <a:pt x="264" y="330"/>
                </a:lnTo>
                <a:lnTo>
                  <a:pt x="264" y="330"/>
                </a:lnTo>
                <a:lnTo>
                  <a:pt x="264" y="330"/>
                </a:lnTo>
                <a:lnTo>
                  <a:pt x="258" y="336"/>
                </a:lnTo>
                <a:lnTo>
                  <a:pt x="258" y="330"/>
                </a:lnTo>
                <a:lnTo>
                  <a:pt x="252" y="336"/>
                </a:lnTo>
                <a:lnTo>
                  <a:pt x="252" y="330"/>
                </a:lnTo>
                <a:lnTo>
                  <a:pt x="252" y="330"/>
                </a:lnTo>
                <a:lnTo>
                  <a:pt x="252" y="330"/>
                </a:lnTo>
                <a:lnTo>
                  <a:pt x="252" y="330"/>
                </a:lnTo>
                <a:lnTo>
                  <a:pt x="246" y="330"/>
                </a:lnTo>
                <a:lnTo>
                  <a:pt x="246" y="330"/>
                </a:lnTo>
                <a:lnTo>
                  <a:pt x="246" y="330"/>
                </a:lnTo>
                <a:lnTo>
                  <a:pt x="246" y="330"/>
                </a:lnTo>
                <a:lnTo>
                  <a:pt x="240" y="330"/>
                </a:lnTo>
                <a:lnTo>
                  <a:pt x="240" y="330"/>
                </a:lnTo>
                <a:lnTo>
                  <a:pt x="240" y="330"/>
                </a:lnTo>
                <a:lnTo>
                  <a:pt x="234" y="324"/>
                </a:lnTo>
                <a:lnTo>
                  <a:pt x="234" y="324"/>
                </a:lnTo>
                <a:lnTo>
                  <a:pt x="234" y="324"/>
                </a:lnTo>
                <a:lnTo>
                  <a:pt x="234" y="324"/>
                </a:lnTo>
                <a:lnTo>
                  <a:pt x="234" y="324"/>
                </a:lnTo>
                <a:lnTo>
                  <a:pt x="234" y="318"/>
                </a:lnTo>
                <a:lnTo>
                  <a:pt x="228" y="318"/>
                </a:lnTo>
                <a:lnTo>
                  <a:pt x="222" y="318"/>
                </a:lnTo>
                <a:lnTo>
                  <a:pt x="222" y="318"/>
                </a:lnTo>
                <a:lnTo>
                  <a:pt x="222" y="312"/>
                </a:lnTo>
                <a:lnTo>
                  <a:pt x="222" y="312"/>
                </a:lnTo>
                <a:lnTo>
                  <a:pt x="216" y="312"/>
                </a:lnTo>
                <a:lnTo>
                  <a:pt x="216" y="312"/>
                </a:lnTo>
                <a:lnTo>
                  <a:pt x="216" y="306"/>
                </a:lnTo>
                <a:lnTo>
                  <a:pt x="210" y="300"/>
                </a:lnTo>
                <a:lnTo>
                  <a:pt x="210" y="300"/>
                </a:lnTo>
                <a:lnTo>
                  <a:pt x="204" y="300"/>
                </a:lnTo>
                <a:lnTo>
                  <a:pt x="204" y="300"/>
                </a:lnTo>
                <a:lnTo>
                  <a:pt x="198" y="324"/>
                </a:lnTo>
                <a:lnTo>
                  <a:pt x="198" y="324"/>
                </a:lnTo>
                <a:lnTo>
                  <a:pt x="198" y="324"/>
                </a:lnTo>
                <a:lnTo>
                  <a:pt x="198" y="324"/>
                </a:lnTo>
                <a:lnTo>
                  <a:pt x="198" y="324"/>
                </a:lnTo>
                <a:lnTo>
                  <a:pt x="192" y="324"/>
                </a:lnTo>
                <a:lnTo>
                  <a:pt x="192" y="324"/>
                </a:lnTo>
                <a:lnTo>
                  <a:pt x="192" y="324"/>
                </a:lnTo>
                <a:lnTo>
                  <a:pt x="192" y="324"/>
                </a:lnTo>
                <a:lnTo>
                  <a:pt x="192" y="324"/>
                </a:lnTo>
                <a:lnTo>
                  <a:pt x="186" y="324"/>
                </a:lnTo>
                <a:lnTo>
                  <a:pt x="186" y="318"/>
                </a:lnTo>
                <a:lnTo>
                  <a:pt x="192" y="318"/>
                </a:lnTo>
                <a:lnTo>
                  <a:pt x="186" y="318"/>
                </a:lnTo>
                <a:lnTo>
                  <a:pt x="186" y="318"/>
                </a:lnTo>
                <a:lnTo>
                  <a:pt x="186" y="312"/>
                </a:lnTo>
                <a:lnTo>
                  <a:pt x="186" y="312"/>
                </a:lnTo>
                <a:lnTo>
                  <a:pt x="186" y="312"/>
                </a:lnTo>
                <a:lnTo>
                  <a:pt x="186" y="312"/>
                </a:lnTo>
                <a:lnTo>
                  <a:pt x="180" y="312"/>
                </a:lnTo>
                <a:lnTo>
                  <a:pt x="180" y="312"/>
                </a:lnTo>
                <a:lnTo>
                  <a:pt x="180" y="312"/>
                </a:lnTo>
                <a:lnTo>
                  <a:pt x="174" y="318"/>
                </a:lnTo>
                <a:lnTo>
                  <a:pt x="174" y="318"/>
                </a:lnTo>
                <a:lnTo>
                  <a:pt x="174" y="318"/>
                </a:lnTo>
                <a:lnTo>
                  <a:pt x="174" y="318"/>
                </a:lnTo>
                <a:lnTo>
                  <a:pt x="174" y="318"/>
                </a:lnTo>
                <a:lnTo>
                  <a:pt x="168" y="318"/>
                </a:lnTo>
                <a:lnTo>
                  <a:pt x="168" y="312"/>
                </a:lnTo>
                <a:lnTo>
                  <a:pt x="168" y="312"/>
                </a:lnTo>
                <a:lnTo>
                  <a:pt x="162" y="312"/>
                </a:lnTo>
                <a:lnTo>
                  <a:pt x="156" y="312"/>
                </a:lnTo>
                <a:lnTo>
                  <a:pt x="156" y="312"/>
                </a:lnTo>
                <a:lnTo>
                  <a:pt x="156" y="312"/>
                </a:lnTo>
                <a:lnTo>
                  <a:pt x="150" y="312"/>
                </a:lnTo>
                <a:lnTo>
                  <a:pt x="144" y="312"/>
                </a:lnTo>
                <a:lnTo>
                  <a:pt x="144" y="306"/>
                </a:lnTo>
                <a:lnTo>
                  <a:pt x="138" y="306"/>
                </a:lnTo>
                <a:lnTo>
                  <a:pt x="138" y="306"/>
                </a:lnTo>
                <a:lnTo>
                  <a:pt x="138" y="306"/>
                </a:lnTo>
                <a:lnTo>
                  <a:pt x="132" y="300"/>
                </a:lnTo>
                <a:lnTo>
                  <a:pt x="132" y="300"/>
                </a:lnTo>
                <a:lnTo>
                  <a:pt x="126" y="300"/>
                </a:lnTo>
                <a:lnTo>
                  <a:pt x="126" y="300"/>
                </a:lnTo>
                <a:lnTo>
                  <a:pt x="126" y="300"/>
                </a:lnTo>
                <a:lnTo>
                  <a:pt x="126" y="306"/>
                </a:lnTo>
                <a:lnTo>
                  <a:pt x="120" y="300"/>
                </a:lnTo>
                <a:lnTo>
                  <a:pt x="120" y="300"/>
                </a:lnTo>
                <a:lnTo>
                  <a:pt x="120" y="300"/>
                </a:lnTo>
                <a:lnTo>
                  <a:pt x="120" y="300"/>
                </a:lnTo>
                <a:lnTo>
                  <a:pt x="114" y="300"/>
                </a:lnTo>
                <a:lnTo>
                  <a:pt x="114" y="300"/>
                </a:lnTo>
                <a:lnTo>
                  <a:pt x="114" y="306"/>
                </a:lnTo>
                <a:lnTo>
                  <a:pt x="114" y="306"/>
                </a:lnTo>
                <a:lnTo>
                  <a:pt x="108" y="300"/>
                </a:lnTo>
                <a:lnTo>
                  <a:pt x="108" y="306"/>
                </a:lnTo>
                <a:lnTo>
                  <a:pt x="108" y="300"/>
                </a:lnTo>
                <a:lnTo>
                  <a:pt x="108" y="306"/>
                </a:lnTo>
                <a:lnTo>
                  <a:pt x="102" y="306"/>
                </a:lnTo>
                <a:lnTo>
                  <a:pt x="102" y="306"/>
                </a:lnTo>
                <a:lnTo>
                  <a:pt x="96" y="306"/>
                </a:lnTo>
                <a:lnTo>
                  <a:pt x="96" y="306"/>
                </a:lnTo>
                <a:lnTo>
                  <a:pt x="96" y="306"/>
                </a:lnTo>
                <a:lnTo>
                  <a:pt x="96" y="306"/>
                </a:lnTo>
                <a:lnTo>
                  <a:pt x="96" y="306"/>
                </a:lnTo>
                <a:lnTo>
                  <a:pt x="96" y="306"/>
                </a:lnTo>
                <a:lnTo>
                  <a:pt x="96" y="306"/>
                </a:lnTo>
                <a:lnTo>
                  <a:pt x="96" y="306"/>
                </a:lnTo>
                <a:lnTo>
                  <a:pt x="90" y="306"/>
                </a:lnTo>
                <a:lnTo>
                  <a:pt x="96" y="300"/>
                </a:lnTo>
                <a:lnTo>
                  <a:pt x="90" y="300"/>
                </a:lnTo>
                <a:lnTo>
                  <a:pt x="96" y="300"/>
                </a:lnTo>
                <a:lnTo>
                  <a:pt x="90" y="300"/>
                </a:lnTo>
                <a:lnTo>
                  <a:pt x="90" y="300"/>
                </a:lnTo>
                <a:lnTo>
                  <a:pt x="90" y="300"/>
                </a:lnTo>
                <a:lnTo>
                  <a:pt x="90" y="300"/>
                </a:lnTo>
                <a:lnTo>
                  <a:pt x="90" y="294"/>
                </a:lnTo>
                <a:lnTo>
                  <a:pt x="90" y="294"/>
                </a:lnTo>
                <a:lnTo>
                  <a:pt x="90" y="294"/>
                </a:lnTo>
                <a:lnTo>
                  <a:pt x="84" y="294"/>
                </a:lnTo>
                <a:lnTo>
                  <a:pt x="84" y="288"/>
                </a:lnTo>
                <a:lnTo>
                  <a:pt x="84" y="288"/>
                </a:lnTo>
                <a:lnTo>
                  <a:pt x="84" y="288"/>
                </a:lnTo>
                <a:lnTo>
                  <a:pt x="84" y="282"/>
                </a:lnTo>
                <a:lnTo>
                  <a:pt x="90" y="282"/>
                </a:lnTo>
                <a:lnTo>
                  <a:pt x="90" y="282"/>
                </a:lnTo>
                <a:lnTo>
                  <a:pt x="90" y="282"/>
                </a:lnTo>
                <a:lnTo>
                  <a:pt x="90" y="282"/>
                </a:lnTo>
                <a:lnTo>
                  <a:pt x="90" y="270"/>
                </a:lnTo>
                <a:lnTo>
                  <a:pt x="96" y="270"/>
                </a:lnTo>
                <a:lnTo>
                  <a:pt x="90" y="270"/>
                </a:lnTo>
                <a:lnTo>
                  <a:pt x="90" y="264"/>
                </a:lnTo>
                <a:lnTo>
                  <a:pt x="90" y="258"/>
                </a:lnTo>
                <a:lnTo>
                  <a:pt x="90" y="258"/>
                </a:lnTo>
                <a:lnTo>
                  <a:pt x="84" y="258"/>
                </a:lnTo>
                <a:lnTo>
                  <a:pt x="84" y="258"/>
                </a:lnTo>
                <a:lnTo>
                  <a:pt x="78" y="252"/>
                </a:lnTo>
                <a:lnTo>
                  <a:pt x="78" y="252"/>
                </a:lnTo>
                <a:lnTo>
                  <a:pt x="78" y="252"/>
                </a:lnTo>
                <a:lnTo>
                  <a:pt x="72" y="258"/>
                </a:lnTo>
                <a:lnTo>
                  <a:pt x="72" y="258"/>
                </a:lnTo>
                <a:lnTo>
                  <a:pt x="72" y="258"/>
                </a:lnTo>
                <a:lnTo>
                  <a:pt x="72" y="258"/>
                </a:lnTo>
                <a:lnTo>
                  <a:pt x="72" y="258"/>
                </a:lnTo>
                <a:lnTo>
                  <a:pt x="72" y="258"/>
                </a:lnTo>
                <a:lnTo>
                  <a:pt x="60" y="258"/>
                </a:lnTo>
                <a:lnTo>
                  <a:pt x="60" y="264"/>
                </a:lnTo>
                <a:lnTo>
                  <a:pt x="54" y="264"/>
                </a:lnTo>
                <a:lnTo>
                  <a:pt x="60" y="264"/>
                </a:lnTo>
                <a:lnTo>
                  <a:pt x="54" y="264"/>
                </a:lnTo>
                <a:lnTo>
                  <a:pt x="54" y="264"/>
                </a:lnTo>
                <a:lnTo>
                  <a:pt x="54" y="264"/>
                </a:lnTo>
                <a:lnTo>
                  <a:pt x="54" y="264"/>
                </a:lnTo>
                <a:lnTo>
                  <a:pt x="54" y="270"/>
                </a:lnTo>
                <a:lnTo>
                  <a:pt x="54" y="270"/>
                </a:lnTo>
                <a:lnTo>
                  <a:pt x="54" y="270"/>
                </a:lnTo>
                <a:lnTo>
                  <a:pt x="54" y="270"/>
                </a:lnTo>
                <a:lnTo>
                  <a:pt x="54" y="270"/>
                </a:lnTo>
                <a:lnTo>
                  <a:pt x="54" y="270"/>
                </a:lnTo>
                <a:lnTo>
                  <a:pt x="54" y="270"/>
                </a:lnTo>
                <a:lnTo>
                  <a:pt x="54" y="270"/>
                </a:lnTo>
                <a:lnTo>
                  <a:pt x="54" y="270"/>
                </a:lnTo>
                <a:lnTo>
                  <a:pt x="48" y="276"/>
                </a:lnTo>
                <a:lnTo>
                  <a:pt x="48" y="276"/>
                </a:lnTo>
                <a:lnTo>
                  <a:pt x="48" y="276"/>
                </a:lnTo>
                <a:lnTo>
                  <a:pt x="48" y="276"/>
                </a:lnTo>
                <a:lnTo>
                  <a:pt x="48" y="276"/>
                </a:lnTo>
                <a:lnTo>
                  <a:pt x="48" y="276"/>
                </a:lnTo>
                <a:lnTo>
                  <a:pt x="48" y="276"/>
                </a:lnTo>
                <a:lnTo>
                  <a:pt x="48" y="276"/>
                </a:lnTo>
                <a:lnTo>
                  <a:pt x="48" y="276"/>
                </a:lnTo>
                <a:lnTo>
                  <a:pt x="48" y="276"/>
                </a:lnTo>
                <a:lnTo>
                  <a:pt x="48" y="276"/>
                </a:lnTo>
                <a:lnTo>
                  <a:pt x="48" y="276"/>
                </a:lnTo>
                <a:lnTo>
                  <a:pt x="42" y="276"/>
                </a:lnTo>
                <a:lnTo>
                  <a:pt x="42" y="270"/>
                </a:lnTo>
                <a:lnTo>
                  <a:pt x="42" y="276"/>
                </a:lnTo>
                <a:lnTo>
                  <a:pt x="42" y="270"/>
                </a:lnTo>
                <a:lnTo>
                  <a:pt x="42" y="270"/>
                </a:lnTo>
                <a:lnTo>
                  <a:pt x="42" y="270"/>
                </a:lnTo>
                <a:lnTo>
                  <a:pt x="42" y="276"/>
                </a:lnTo>
                <a:lnTo>
                  <a:pt x="42" y="276"/>
                </a:lnTo>
                <a:lnTo>
                  <a:pt x="42" y="276"/>
                </a:lnTo>
                <a:lnTo>
                  <a:pt x="42" y="276"/>
                </a:lnTo>
                <a:lnTo>
                  <a:pt x="36" y="276"/>
                </a:lnTo>
                <a:lnTo>
                  <a:pt x="36" y="270"/>
                </a:lnTo>
                <a:lnTo>
                  <a:pt x="36" y="270"/>
                </a:lnTo>
                <a:lnTo>
                  <a:pt x="36" y="270"/>
                </a:lnTo>
                <a:lnTo>
                  <a:pt x="36" y="270"/>
                </a:lnTo>
                <a:lnTo>
                  <a:pt x="36" y="270"/>
                </a:lnTo>
                <a:lnTo>
                  <a:pt x="30" y="270"/>
                </a:lnTo>
                <a:lnTo>
                  <a:pt x="30" y="264"/>
                </a:lnTo>
                <a:lnTo>
                  <a:pt x="30" y="264"/>
                </a:lnTo>
                <a:lnTo>
                  <a:pt x="30" y="264"/>
                </a:lnTo>
                <a:lnTo>
                  <a:pt x="24" y="264"/>
                </a:lnTo>
                <a:lnTo>
                  <a:pt x="24" y="264"/>
                </a:lnTo>
                <a:lnTo>
                  <a:pt x="18" y="264"/>
                </a:lnTo>
                <a:lnTo>
                  <a:pt x="18" y="264"/>
                </a:lnTo>
                <a:lnTo>
                  <a:pt x="18" y="264"/>
                </a:lnTo>
                <a:lnTo>
                  <a:pt x="18" y="258"/>
                </a:lnTo>
                <a:lnTo>
                  <a:pt x="18" y="258"/>
                </a:lnTo>
                <a:lnTo>
                  <a:pt x="12" y="264"/>
                </a:lnTo>
                <a:lnTo>
                  <a:pt x="12" y="264"/>
                </a:lnTo>
                <a:lnTo>
                  <a:pt x="12" y="264"/>
                </a:lnTo>
                <a:lnTo>
                  <a:pt x="12" y="264"/>
                </a:lnTo>
                <a:lnTo>
                  <a:pt x="12" y="264"/>
                </a:lnTo>
                <a:lnTo>
                  <a:pt x="6" y="264"/>
                </a:lnTo>
                <a:lnTo>
                  <a:pt x="6" y="264"/>
                </a:lnTo>
                <a:lnTo>
                  <a:pt x="6" y="264"/>
                </a:lnTo>
                <a:lnTo>
                  <a:pt x="6" y="264"/>
                </a:lnTo>
                <a:lnTo>
                  <a:pt x="0" y="264"/>
                </a:lnTo>
                <a:lnTo>
                  <a:pt x="0" y="264"/>
                </a:lnTo>
                <a:lnTo>
                  <a:pt x="0" y="264"/>
                </a:lnTo>
                <a:lnTo>
                  <a:pt x="0" y="258"/>
                </a:lnTo>
                <a:lnTo>
                  <a:pt x="0" y="258"/>
                </a:lnTo>
                <a:lnTo>
                  <a:pt x="0" y="258"/>
                </a:lnTo>
                <a:lnTo>
                  <a:pt x="0" y="258"/>
                </a:lnTo>
                <a:lnTo>
                  <a:pt x="6" y="17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64" name="Freeform 497"/>
          <p:cNvSpPr>
            <a:spLocks/>
          </p:cNvSpPr>
          <p:nvPr/>
        </p:nvSpPr>
        <p:spPr bwMode="auto">
          <a:xfrm>
            <a:off x="5824006" y="4032219"/>
            <a:ext cx="385443" cy="353325"/>
          </a:xfrm>
          <a:custGeom>
            <a:avLst/>
            <a:gdLst>
              <a:gd name="T0" fmla="*/ 42 w 360"/>
              <a:gd name="T1" fmla="*/ 144 h 330"/>
              <a:gd name="T2" fmla="*/ 48 w 360"/>
              <a:gd name="T3" fmla="*/ 132 h 330"/>
              <a:gd name="T4" fmla="*/ 42 w 360"/>
              <a:gd name="T5" fmla="*/ 132 h 330"/>
              <a:gd name="T6" fmla="*/ 36 w 360"/>
              <a:gd name="T7" fmla="*/ 126 h 330"/>
              <a:gd name="T8" fmla="*/ 42 w 360"/>
              <a:gd name="T9" fmla="*/ 120 h 330"/>
              <a:gd name="T10" fmla="*/ 48 w 360"/>
              <a:gd name="T11" fmla="*/ 120 h 330"/>
              <a:gd name="T12" fmla="*/ 48 w 360"/>
              <a:gd name="T13" fmla="*/ 108 h 330"/>
              <a:gd name="T14" fmla="*/ 54 w 360"/>
              <a:gd name="T15" fmla="*/ 108 h 330"/>
              <a:gd name="T16" fmla="*/ 60 w 360"/>
              <a:gd name="T17" fmla="*/ 102 h 330"/>
              <a:gd name="T18" fmla="*/ 60 w 360"/>
              <a:gd name="T19" fmla="*/ 102 h 330"/>
              <a:gd name="T20" fmla="*/ 60 w 360"/>
              <a:gd name="T21" fmla="*/ 96 h 330"/>
              <a:gd name="T22" fmla="*/ 60 w 360"/>
              <a:gd name="T23" fmla="*/ 90 h 330"/>
              <a:gd name="T24" fmla="*/ 54 w 360"/>
              <a:gd name="T25" fmla="*/ 78 h 330"/>
              <a:gd name="T26" fmla="*/ 66 w 360"/>
              <a:gd name="T27" fmla="*/ 84 h 330"/>
              <a:gd name="T28" fmla="*/ 66 w 360"/>
              <a:gd name="T29" fmla="*/ 84 h 330"/>
              <a:gd name="T30" fmla="*/ 72 w 360"/>
              <a:gd name="T31" fmla="*/ 84 h 330"/>
              <a:gd name="T32" fmla="*/ 78 w 360"/>
              <a:gd name="T33" fmla="*/ 84 h 330"/>
              <a:gd name="T34" fmla="*/ 72 w 360"/>
              <a:gd name="T35" fmla="*/ 72 h 330"/>
              <a:gd name="T36" fmla="*/ 78 w 360"/>
              <a:gd name="T37" fmla="*/ 66 h 330"/>
              <a:gd name="T38" fmla="*/ 72 w 360"/>
              <a:gd name="T39" fmla="*/ 60 h 330"/>
              <a:gd name="T40" fmla="*/ 78 w 360"/>
              <a:gd name="T41" fmla="*/ 54 h 330"/>
              <a:gd name="T42" fmla="*/ 84 w 360"/>
              <a:gd name="T43" fmla="*/ 48 h 330"/>
              <a:gd name="T44" fmla="*/ 90 w 360"/>
              <a:gd name="T45" fmla="*/ 60 h 330"/>
              <a:gd name="T46" fmla="*/ 90 w 360"/>
              <a:gd name="T47" fmla="*/ 54 h 330"/>
              <a:gd name="T48" fmla="*/ 96 w 360"/>
              <a:gd name="T49" fmla="*/ 48 h 330"/>
              <a:gd name="T50" fmla="*/ 90 w 360"/>
              <a:gd name="T51" fmla="*/ 48 h 330"/>
              <a:gd name="T52" fmla="*/ 90 w 360"/>
              <a:gd name="T53" fmla="*/ 42 h 330"/>
              <a:gd name="T54" fmla="*/ 90 w 360"/>
              <a:gd name="T55" fmla="*/ 36 h 330"/>
              <a:gd name="T56" fmla="*/ 90 w 360"/>
              <a:gd name="T57" fmla="*/ 30 h 330"/>
              <a:gd name="T58" fmla="*/ 96 w 360"/>
              <a:gd name="T59" fmla="*/ 30 h 330"/>
              <a:gd name="T60" fmla="*/ 96 w 360"/>
              <a:gd name="T61" fmla="*/ 18 h 330"/>
              <a:gd name="T62" fmla="*/ 96 w 360"/>
              <a:gd name="T63" fmla="*/ 12 h 330"/>
              <a:gd name="T64" fmla="*/ 96 w 360"/>
              <a:gd name="T65" fmla="*/ 12 h 330"/>
              <a:gd name="T66" fmla="*/ 102 w 360"/>
              <a:gd name="T67" fmla="*/ 6 h 330"/>
              <a:gd name="T68" fmla="*/ 102 w 360"/>
              <a:gd name="T69" fmla="*/ 12 h 330"/>
              <a:gd name="T70" fmla="*/ 114 w 360"/>
              <a:gd name="T71" fmla="*/ 6 h 330"/>
              <a:gd name="T72" fmla="*/ 138 w 360"/>
              <a:gd name="T73" fmla="*/ 12 h 330"/>
              <a:gd name="T74" fmla="*/ 138 w 360"/>
              <a:gd name="T75" fmla="*/ 42 h 330"/>
              <a:gd name="T76" fmla="*/ 156 w 360"/>
              <a:gd name="T77" fmla="*/ 66 h 330"/>
              <a:gd name="T78" fmla="*/ 174 w 360"/>
              <a:gd name="T79" fmla="*/ 72 h 330"/>
              <a:gd name="T80" fmla="*/ 234 w 360"/>
              <a:gd name="T81" fmla="*/ 30 h 330"/>
              <a:gd name="T82" fmla="*/ 258 w 360"/>
              <a:gd name="T83" fmla="*/ 6 h 330"/>
              <a:gd name="T84" fmla="*/ 270 w 360"/>
              <a:gd name="T85" fmla="*/ 18 h 330"/>
              <a:gd name="T86" fmla="*/ 276 w 360"/>
              <a:gd name="T87" fmla="*/ 36 h 330"/>
              <a:gd name="T88" fmla="*/ 294 w 360"/>
              <a:gd name="T89" fmla="*/ 54 h 330"/>
              <a:gd name="T90" fmla="*/ 318 w 360"/>
              <a:gd name="T91" fmla="*/ 66 h 330"/>
              <a:gd name="T92" fmla="*/ 342 w 360"/>
              <a:gd name="T93" fmla="*/ 72 h 330"/>
              <a:gd name="T94" fmla="*/ 342 w 360"/>
              <a:gd name="T95" fmla="*/ 78 h 330"/>
              <a:gd name="T96" fmla="*/ 324 w 360"/>
              <a:gd name="T97" fmla="*/ 114 h 330"/>
              <a:gd name="T98" fmla="*/ 300 w 360"/>
              <a:gd name="T99" fmla="*/ 120 h 330"/>
              <a:gd name="T100" fmla="*/ 282 w 360"/>
              <a:gd name="T101" fmla="*/ 132 h 330"/>
              <a:gd name="T102" fmla="*/ 270 w 360"/>
              <a:gd name="T103" fmla="*/ 156 h 330"/>
              <a:gd name="T104" fmla="*/ 288 w 360"/>
              <a:gd name="T105" fmla="*/ 228 h 330"/>
              <a:gd name="T106" fmla="*/ 234 w 360"/>
              <a:gd name="T107" fmla="*/ 276 h 330"/>
              <a:gd name="T108" fmla="*/ 198 w 360"/>
              <a:gd name="T109" fmla="*/ 318 h 330"/>
              <a:gd name="T110" fmla="*/ 156 w 360"/>
              <a:gd name="T111" fmla="*/ 306 h 330"/>
              <a:gd name="T112" fmla="*/ 114 w 360"/>
              <a:gd name="T113" fmla="*/ 276 h 330"/>
              <a:gd name="T114" fmla="*/ 102 w 360"/>
              <a:gd name="T115" fmla="*/ 270 h 330"/>
              <a:gd name="T116" fmla="*/ 90 w 360"/>
              <a:gd name="T117" fmla="*/ 234 h 330"/>
              <a:gd name="T118" fmla="*/ 78 w 360"/>
              <a:gd name="T119" fmla="*/ 192 h 330"/>
              <a:gd name="T120" fmla="*/ 54 w 360"/>
              <a:gd name="T121" fmla="*/ 168 h 330"/>
              <a:gd name="T122" fmla="*/ 24 w 360"/>
              <a:gd name="T123" fmla="*/ 162 h 3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60" h="330">
                <a:moveTo>
                  <a:pt x="6" y="150"/>
                </a:moveTo>
                <a:lnTo>
                  <a:pt x="6" y="150"/>
                </a:lnTo>
                <a:lnTo>
                  <a:pt x="6" y="150"/>
                </a:lnTo>
                <a:lnTo>
                  <a:pt x="6" y="150"/>
                </a:lnTo>
                <a:lnTo>
                  <a:pt x="6" y="150"/>
                </a:lnTo>
                <a:lnTo>
                  <a:pt x="6" y="156"/>
                </a:lnTo>
                <a:lnTo>
                  <a:pt x="6" y="156"/>
                </a:lnTo>
                <a:lnTo>
                  <a:pt x="6" y="150"/>
                </a:lnTo>
                <a:lnTo>
                  <a:pt x="12" y="150"/>
                </a:lnTo>
                <a:lnTo>
                  <a:pt x="12" y="150"/>
                </a:lnTo>
                <a:lnTo>
                  <a:pt x="12" y="150"/>
                </a:lnTo>
                <a:lnTo>
                  <a:pt x="12" y="150"/>
                </a:lnTo>
                <a:lnTo>
                  <a:pt x="18" y="150"/>
                </a:lnTo>
                <a:lnTo>
                  <a:pt x="18" y="150"/>
                </a:lnTo>
                <a:lnTo>
                  <a:pt x="24" y="150"/>
                </a:lnTo>
                <a:lnTo>
                  <a:pt x="24" y="144"/>
                </a:lnTo>
                <a:lnTo>
                  <a:pt x="30" y="144"/>
                </a:lnTo>
                <a:lnTo>
                  <a:pt x="36" y="144"/>
                </a:lnTo>
                <a:lnTo>
                  <a:pt x="36" y="144"/>
                </a:lnTo>
                <a:lnTo>
                  <a:pt x="36" y="144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54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2"/>
                </a:lnTo>
                <a:lnTo>
                  <a:pt x="48" y="138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2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26"/>
                </a:lnTo>
                <a:lnTo>
                  <a:pt x="48" y="126"/>
                </a:lnTo>
                <a:lnTo>
                  <a:pt x="48" y="132"/>
                </a:lnTo>
                <a:lnTo>
                  <a:pt x="48" y="132"/>
                </a:lnTo>
                <a:lnTo>
                  <a:pt x="48" y="126"/>
                </a:lnTo>
                <a:lnTo>
                  <a:pt x="48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26"/>
                </a:lnTo>
                <a:lnTo>
                  <a:pt x="48" y="126"/>
                </a:lnTo>
                <a:lnTo>
                  <a:pt x="42" y="126"/>
                </a:lnTo>
                <a:lnTo>
                  <a:pt x="48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0"/>
                </a:lnTo>
                <a:lnTo>
                  <a:pt x="42" y="120"/>
                </a:lnTo>
                <a:lnTo>
                  <a:pt x="42" y="120"/>
                </a:lnTo>
                <a:lnTo>
                  <a:pt x="42" y="120"/>
                </a:lnTo>
                <a:lnTo>
                  <a:pt x="36" y="120"/>
                </a:lnTo>
                <a:lnTo>
                  <a:pt x="36" y="120"/>
                </a:lnTo>
                <a:lnTo>
                  <a:pt x="42" y="120"/>
                </a:lnTo>
                <a:lnTo>
                  <a:pt x="42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14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20"/>
                </a:lnTo>
                <a:lnTo>
                  <a:pt x="42" y="120"/>
                </a:lnTo>
                <a:lnTo>
                  <a:pt x="42" y="120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48" y="114"/>
                </a:lnTo>
                <a:lnTo>
                  <a:pt x="48" y="114"/>
                </a:lnTo>
                <a:lnTo>
                  <a:pt x="42" y="114"/>
                </a:lnTo>
                <a:lnTo>
                  <a:pt x="48" y="114"/>
                </a:lnTo>
                <a:lnTo>
                  <a:pt x="42" y="120"/>
                </a:lnTo>
                <a:lnTo>
                  <a:pt x="48" y="120"/>
                </a:lnTo>
                <a:lnTo>
                  <a:pt x="48" y="114"/>
                </a:lnTo>
                <a:lnTo>
                  <a:pt x="48" y="114"/>
                </a:lnTo>
                <a:lnTo>
                  <a:pt x="48" y="114"/>
                </a:lnTo>
                <a:lnTo>
                  <a:pt x="48" y="114"/>
                </a:lnTo>
                <a:lnTo>
                  <a:pt x="48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14"/>
                </a:lnTo>
                <a:lnTo>
                  <a:pt x="48" y="114"/>
                </a:lnTo>
                <a:lnTo>
                  <a:pt x="48" y="114"/>
                </a:lnTo>
                <a:lnTo>
                  <a:pt x="48" y="114"/>
                </a:lnTo>
                <a:lnTo>
                  <a:pt x="48" y="114"/>
                </a:lnTo>
                <a:lnTo>
                  <a:pt x="48" y="114"/>
                </a:lnTo>
                <a:lnTo>
                  <a:pt x="48" y="114"/>
                </a:lnTo>
                <a:lnTo>
                  <a:pt x="48" y="114"/>
                </a:lnTo>
                <a:lnTo>
                  <a:pt x="48" y="114"/>
                </a:lnTo>
                <a:lnTo>
                  <a:pt x="48" y="114"/>
                </a:lnTo>
                <a:lnTo>
                  <a:pt x="48" y="114"/>
                </a:lnTo>
                <a:lnTo>
                  <a:pt x="48" y="108"/>
                </a:lnTo>
                <a:lnTo>
                  <a:pt x="48" y="114"/>
                </a:lnTo>
                <a:lnTo>
                  <a:pt x="48" y="114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8" y="108"/>
                </a:lnTo>
                <a:lnTo>
                  <a:pt x="48" y="102"/>
                </a:lnTo>
                <a:lnTo>
                  <a:pt x="48" y="108"/>
                </a:lnTo>
                <a:lnTo>
                  <a:pt x="48" y="108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2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2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60" y="108"/>
                </a:lnTo>
                <a:lnTo>
                  <a:pt x="60" y="108"/>
                </a:lnTo>
                <a:lnTo>
                  <a:pt x="54" y="108"/>
                </a:lnTo>
                <a:lnTo>
                  <a:pt x="60" y="108"/>
                </a:lnTo>
                <a:lnTo>
                  <a:pt x="60" y="108"/>
                </a:lnTo>
                <a:lnTo>
                  <a:pt x="54" y="108"/>
                </a:lnTo>
                <a:lnTo>
                  <a:pt x="60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8"/>
                </a:lnTo>
                <a:lnTo>
                  <a:pt x="60" y="108"/>
                </a:lnTo>
                <a:lnTo>
                  <a:pt x="60" y="102"/>
                </a:lnTo>
                <a:lnTo>
                  <a:pt x="60" y="108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54" y="102"/>
                </a:lnTo>
                <a:lnTo>
                  <a:pt x="54" y="102"/>
                </a:lnTo>
                <a:lnTo>
                  <a:pt x="60" y="102"/>
                </a:lnTo>
                <a:lnTo>
                  <a:pt x="60" y="96"/>
                </a:lnTo>
                <a:lnTo>
                  <a:pt x="60" y="102"/>
                </a:lnTo>
                <a:lnTo>
                  <a:pt x="60" y="102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102"/>
                </a:lnTo>
                <a:lnTo>
                  <a:pt x="60" y="96"/>
                </a:lnTo>
                <a:lnTo>
                  <a:pt x="60" y="102"/>
                </a:lnTo>
                <a:lnTo>
                  <a:pt x="60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96"/>
                </a:lnTo>
                <a:lnTo>
                  <a:pt x="66" y="102"/>
                </a:lnTo>
                <a:lnTo>
                  <a:pt x="66" y="96"/>
                </a:lnTo>
                <a:lnTo>
                  <a:pt x="60" y="96"/>
                </a:lnTo>
                <a:lnTo>
                  <a:pt x="66" y="96"/>
                </a:lnTo>
                <a:lnTo>
                  <a:pt x="66" y="96"/>
                </a:lnTo>
                <a:lnTo>
                  <a:pt x="60" y="96"/>
                </a:lnTo>
                <a:lnTo>
                  <a:pt x="60" y="96"/>
                </a:lnTo>
                <a:lnTo>
                  <a:pt x="66" y="96"/>
                </a:lnTo>
                <a:lnTo>
                  <a:pt x="66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6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54" y="96"/>
                </a:lnTo>
                <a:lnTo>
                  <a:pt x="60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60" y="96"/>
                </a:lnTo>
                <a:lnTo>
                  <a:pt x="60" y="96"/>
                </a:lnTo>
                <a:lnTo>
                  <a:pt x="54" y="90"/>
                </a:lnTo>
                <a:lnTo>
                  <a:pt x="54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78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6" y="84"/>
                </a:lnTo>
                <a:lnTo>
                  <a:pt x="60" y="84"/>
                </a:lnTo>
                <a:lnTo>
                  <a:pt x="60" y="90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90"/>
                </a:lnTo>
                <a:lnTo>
                  <a:pt x="66" y="90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78"/>
                </a:lnTo>
                <a:lnTo>
                  <a:pt x="66" y="84"/>
                </a:lnTo>
                <a:lnTo>
                  <a:pt x="66" y="78"/>
                </a:lnTo>
                <a:lnTo>
                  <a:pt x="72" y="78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84"/>
                </a:lnTo>
                <a:lnTo>
                  <a:pt x="72" y="78"/>
                </a:lnTo>
                <a:lnTo>
                  <a:pt x="72" y="78"/>
                </a:lnTo>
                <a:lnTo>
                  <a:pt x="72" y="84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84"/>
                </a:lnTo>
                <a:lnTo>
                  <a:pt x="78" y="78"/>
                </a:lnTo>
                <a:lnTo>
                  <a:pt x="78" y="78"/>
                </a:lnTo>
                <a:lnTo>
                  <a:pt x="84" y="84"/>
                </a:lnTo>
                <a:lnTo>
                  <a:pt x="78" y="84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84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2"/>
                </a:lnTo>
                <a:lnTo>
                  <a:pt x="78" y="72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2"/>
                </a:lnTo>
                <a:lnTo>
                  <a:pt x="78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8" y="66"/>
                </a:lnTo>
                <a:lnTo>
                  <a:pt x="78" y="66"/>
                </a:lnTo>
                <a:lnTo>
                  <a:pt x="72" y="66"/>
                </a:lnTo>
                <a:lnTo>
                  <a:pt x="78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0"/>
                </a:lnTo>
                <a:lnTo>
                  <a:pt x="72" y="66"/>
                </a:lnTo>
                <a:lnTo>
                  <a:pt x="72" y="60"/>
                </a:lnTo>
                <a:lnTo>
                  <a:pt x="72" y="66"/>
                </a:lnTo>
                <a:lnTo>
                  <a:pt x="72" y="60"/>
                </a:lnTo>
                <a:lnTo>
                  <a:pt x="72" y="60"/>
                </a:lnTo>
                <a:lnTo>
                  <a:pt x="66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54"/>
                </a:lnTo>
                <a:lnTo>
                  <a:pt x="72" y="60"/>
                </a:lnTo>
                <a:lnTo>
                  <a:pt x="72" y="54"/>
                </a:lnTo>
                <a:lnTo>
                  <a:pt x="72" y="54"/>
                </a:lnTo>
                <a:lnTo>
                  <a:pt x="72" y="60"/>
                </a:lnTo>
                <a:lnTo>
                  <a:pt x="72" y="54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8" y="60"/>
                </a:lnTo>
                <a:lnTo>
                  <a:pt x="72" y="60"/>
                </a:lnTo>
                <a:lnTo>
                  <a:pt x="78" y="60"/>
                </a:lnTo>
                <a:lnTo>
                  <a:pt x="78" y="60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60"/>
                </a:lnTo>
                <a:lnTo>
                  <a:pt x="78" y="60"/>
                </a:lnTo>
                <a:lnTo>
                  <a:pt x="78" y="54"/>
                </a:lnTo>
                <a:lnTo>
                  <a:pt x="84" y="54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78" y="54"/>
                </a:lnTo>
                <a:lnTo>
                  <a:pt x="78" y="54"/>
                </a:lnTo>
                <a:lnTo>
                  <a:pt x="84" y="54"/>
                </a:lnTo>
                <a:lnTo>
                  <a:pt x="78" y="48"/>
                </a:lnTo>
                <a:lnTo>
                  <a:pt x="84" y="54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54"/>
                </a:lnTo>
                <a:lnTo>
                  <a:pt x="84" y="48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54"/>
                </a:lnTo>
                <a:lnTo>
                  <a:pt x="90" y="54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6" y="60"/>
                </a:lnTo>
                <a:lnTo>
                  <a:pt x="90" y="60"/>
                </a:lnTo>
                <a:lnTo>
                  <a:pt x="90" y="60"/>
                </a:lnTo>
                <a:lnTo>
                  <a:pt x="90" y="54"/>
                </a:lnTo>
                <a:lnTo>
                  <a:pt x="90" y="60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54"/>
                </a:lnTo>
                <a:lnTo>
                  <a:pt x="96" y="48"/>
                </a:lnTo>
                <a:lnTo>
                  <a:pt x="96" y="48"/>
                </a:lnTo>
                <a:lnTo>
                  <a:pt x="90" y="48"/>
                </a:lnTo>
                <a:lnTo>
                  <a:pt x="96" y="48"/>
                </a:lnTo>
                <a:lnTo>
                  <a:pt x="90" y="48"/>
                </a:lnTo>
                <a:lnTo>
                  <a:pt x="90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6" y="42"/>
                </a:lnTo>
                <a:lnTo>
                  <a:pt x="96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84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84" y="42"/>
                </a:lnTo>
                <a:lnTo>
                  <a:pt x="90" y="42"/>
                </a:lnTo>
                <a:lnTo>
                  <a:pt x="84" y="42"/>
                </a:lnTo>
                <a:lnTo>
                  <a:pt x="90" y="42"/>
                </a:lnTo>
                <a:lnTo>
                  <a:pt x="90" y="36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36"/>
                </a:lnTo>
                <a:lnTo>
                  <a:pt x="90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0"/>
                </a:lnTo>
                <a:lnTo>
                  <a:pt x="90" y="36"/>
                </a:lnTo>
                <a:lnTo>
                  <a:pt x="90" y="30"/>
                </a:lnTo>
                <a:lnTo>
                  <a:pt x="90" y="36"/>
                </a:lnTo>
                <a:lnTo>
                  <a:pt x="90" y="36"/>
                </a:lnTo>
                <a:lnTo>
                  <a:pt x="90" y="30"/>
                </a:lnTo>
                <a:lnTo>
                  <a:pt x="90" y="30"/>
                </a:lnTo>
                <a:lnTo>
                  <a:pt x="90" y="36"/>
                </a:lnTo>
                <a:lnTo>
                  <a:pt x="90" y="30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84" y="36"/>
                </a:lnTo>
                <a:lnTo>
                  <a:pt x="90" y="30"/>
                </a:lnTo>
                <a:lnTo>
                  <a:pt x="90" y="30"/>
                </a:lnTo>
                <a:lnTo>
                  <a:pt x="84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6" y="24"/>
                </a:lnTo>
                <a:lnTo>
                  <a:pt x="90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24"/>
                </a:lnTo>
                <a:lnTo>
                  <a:pt x="96" y="24"/>
                </a:lnTo>
                <a:lnTo>
                  <a:pt x="96" y="30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0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24"/>
                </a:lnTo>
                <a:lnTo>
                  <a:pt x="102" y="24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0" y="12"/>
                </a:lnTo>
                <a:lnTo>
                  <a:pt x="90" y="12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6"/>
                </a:lnTo>
                <a:lnTo>
                  <a:pt x="96" y="6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102" y="12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12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2" y="12"/>
                </a:lnTo>
                <a:lnTo>
                  <a:pt x="102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6"/>
                </a:lnTo>
                <a:lnTo>
                  <a:pt x="108" y="12"/>
                </a:lnTo>
                <a:lnTo>
                  <a:pt x="108" y="6"/>
                </a:lnTo>
                <a:lnTo>
                  <a:pt x="108" y="6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14" y="12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0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20" y="6"/>
                </a:lnTo>
                <a:lnTo>
                  <a:pt x="120" y="6"/>
                </a:lnTo>
                <a:lnTo>
                  <a:pt x="114" y="6"/>
                </a:lnTo>
                <a:lnTo>
                  <a:pt x="114" y="12"/>
                </a:lnTo>
                <a:lnTo>
                  <a:pt x="114" y="6"/>
                </a:lnTo>
                <a:lnTo>
                  <a:pt x="120" y="6"/>
                </a:lnTo>
                <a:lnTo>
                  <a:pt x="120" y="6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32" y="6"/>
                </a:lnTo>
                <a:lnTo>
                  <a:pt x="132" y="6"/>
                </a:lnTo>
                <a:lnTo>
                  <a:pt x="138" y="6"/>
                </a:lnTo>
                <a:lnTo>
                  <a:pt x="138" y="6"/>
                </a:lnTo>
                <a:lnTo>
                  <a:pt x="138" y="0"/>
                </a:lnTo>
                <a:lnTo>
                  <a:pt x="144" y="0"/>
                </a:lnTo>
                <a:lnTo>
                  <a:pt x="144" y="0"/>
                </a:lnTo>
                <a:lnTo>
                  <a:pt x="144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2" y="18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0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44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54"/>
                </a:lnTo>
                <a:lnTo>
                  <a:pt x="150" y="54"/>
                </a:lnTo>
                <a:lnTo>
                  <a:pt x="144" y="54"/>
                </a:lnTo>
                <a:lnTo>
                  <a:pt x="150" y="54"/>
                </a:lnTo>
                <a:lnTo>
                  <a:pt x="150" y="54"/>
                </a:lnTo>
                <a:lnTo>
                  <a:pt x="150" y="54"/>
                </a:lnTo>
                <a:lnTo>
                  <a:pt x="150" y="54"/>
                </a:lnTo>
                <a:lnTo>
                  <a:pt x="150" y="54"/>
                </a:lnTo>
                <a:lnTo>
                  <a:pt x="150" y="60"/>
                </a:lnTo>
                <a:lnTo>
                  <a:pt x="156" y="54"/>
                </a:lnTo>
                <a:lnTo>
                  <a:pt x="156" y="60"/>
                </a:lnTo>
                <a:lnTo>
                  <a:pt x="156" y="60"/>
                </a:lnTo>
                <a:lnTo>
                  <a:pt x="156" y="60"/>
                </a:lnTo>
                <a:lnTo>
                  <a:pt x="156" y="60"/>
                </a:lnTo>
                <a:lnTo>
                  <a:pt x="156" y="60"/>
                </a:lnTo>
                <a:lnTo>
                  <a:pt x="156" y="60"/>
                </a:lnTo>
                <a:lnTo>
                  <a:pt x="156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6"/>
                </a:lnTo>
                <a:lnTo>
                  <a:pt x="156" y="66"/>
                </a:lnTo>
                <a:lnTo>
                  <a:pt x="162" y="66"/>
                </a:lnTo>
                <a:lnTo>
                  <a:pt x="162" y="66"/>
                </a:lnTo>
                <a:lnTo>
                  <a:pt x="162" y="66"/>
                </a:lnTo>
                <a:lnTo>
                  <a:pt x="162" y="66"/>
                </a:lnTo>
                <a:lnTo>
                  <a:pt x="162" y="66"/>
                </a:lnTo>
                <a:lnTo>
                  <a:pt x="162" y="66"/>
                </a:lnTo>
                <a:lnTo>
                  <a:pt x="162" y="66"/>
                </a:lnTo>
                <a:lnTo>
                  <a:pt x="162" y="66"/>
                </a:lnTo>
                <a:lnTo>
                  <a:pt x="162" y="66"/>
                </a:lnTo>
                <a:lnTo>
                  <a:pt x="162" y="66"/>
                </a:lnTo>
                <a:lnTo>
                  <a:pt x="162" y="66"/>
                </a:lnTo>
                <a:lnTo>
                  <a:pt x="162" y="72"/>
                </a:lnTo>
                <a:lnTo>
                  <a:pt x="162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74" y="72"/>
                </a:lnTo>
                <a:lnTo>
                  <a:pt x="174" y="72"/>
                </a:lnTo>
                <a:lnTo>
                  <a:pt x="174" y="72"/>
                </a:lnTo>
                <a:lnTo>
                  <a:pt x="174" y="72"/>
                </a:lnTo>
                <a:lnTo>
                  <a:pt x="174" y="72"/>
                </a:lnTo>
                <a:lnTo>
                  <a:pt x="174" y="72"/>
                </a:lnTo>
                <a:lnTo>
                  <a:pt x="174" y="72"/>
                </a:lnTo>
                <a:lnTo>
                  <a:pt x="174" y="66"/>
                </a:lnTo>
                <a:lnTo>
                  <a:pt x="174" y="60"/>
                </a:lnTo>
                <a:lnTo>
                  <a:pt x="192" y="42"/>
                </a:lnTo>
                <a:lnTo>
                  <a:pt x="192" y="42"/>
                </a:lnTo>
                <a:lnTo>
                  <a:pt x="198" y="42"/>
                </a:lnTo>
                <a:lnTo>
                  <a:pt x="198" y="42"/>
                </a:lnTo>
                <a:lnTo>
                  <a:pt x="204" y="42"/>
                </a:lnTo>
                <a:lnTo>
                  <a:pt x="204" y="42"/>
                </a:lnTo>
                <a:lnTo>
                  <a:pt x="204" y="42"/>
                </a:lnTo>
                <a:lnTo>
                  <a:pt x="204" y="42"/>
                </a:lnTo>
                <a:lnTo>
                  <a:pt x="204" y="42"/>
                </a:lnTo>
                <a:lnTo>
                  <a:pt x="204" y="48"/>
                </a:lnTo>
                <a:lnTo>
                  <a:pt x="210" y="48"/>
                </a:lnTo>
                <a:lnTo>
                  <a:pt x="210" y="48"/>
                </a:lnTo>
                <a:lnTo>
                  <a:pt x="216" y="42"/>
                </a:lnTo>
                <a:lnTo>
                  <a:pt x="216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36"/>
                </a:lnTo>
                <a:lnTo>
                  <a:pt x="222" y="36"/>
                </a:lnTo>
                <a:lnTo>
                  <a:pt x="228" y="30"/>
                </a:lnTo>
                <a:lnTo>
                  <a:pt x="234" y="30"/>
                </a:lnTo>
                <a:lnTo>
                  <a:pt x="234" y="30"/>
                </a:lnTo>
                <a:lnTo>
                  <a:pt x="234" y="30"/>
                </a:lnTo>
                <a:lnTo>
                  <a:pt x="240" y="24"/>
                </a:lnTo>
                <a:lnTo>
                  <a:pt x="240" y="24"/>
                </a:lnTo>
                <a:lnTo>
                  <a:pt x="240" y="24"/>
                </a:lnTo>
                <a:lnTo>
                  <a:pt x="240" y="18"/>
                </a:lnTo>
                <a:lnTo>
                  <a:pt x="234" y="18"/>
                </a:lnTo>
                <a:lnTo>
                  <a:pt x="240" y="18"/>
                </a:lnTo>
                <a:lnTo>
                  <a:pt x="240" y="18"/>
                </a:lnTo>
                <a:lnTo>
                  <a:pt x="246" y="18"/>
                </a:lnTo>
                <a:lnTo>
                  <a:pt x="246" y="12"/>
                </a:lnTo>
                <a:lnTo>
                  <a:pt x="240" y="0"/>
                </a:lnTo>
                <a:lnTo>
                  <a:pt x="240" y="0"/>
                </a:lnTo>
                <a:lnTo>
                  <a:pt x="240" y="0"/>
                </a:lnTo>
                <a:lnTo>
                  <a:pt x="246" y="0"/>
                </a:lnTo>
                <a:lnTo>
                  <a:pt x="246" y="0"/>
                </a:lnTo>
                <a:lnTo>
                  <a:pt x="246" y="0"/>
                </a:lnTo>
                <a:lnTo>
                  <a:pt x="246" y="0"/>
                </a:lnTo>
                <a:lnTo>
                  <a:pt x="246" y="0"/>
                </a:lnTo>
                <a:lnTo>
                  <a:pt x="246" y="0"/>
                </a:lnTo>
                <a:lnTo>
                  <a:pt x="252" y="0"/>
                </a:lnTo>
                <a:lnTo>
                  <a:pt x="252" y="0"/>
                </a:lnTo>
                <a:lnTo>
                  <a:pt x="252" y="0"/>
                </a:lnTo>
                <a:lnTo>
                  <a:pt x="252" y="0"/>
                </a:lnTo>
                <a:lnTo>
                  <a:pt x="252" y="0"/>
                </a:lnTo>
                <a:lnTo>
                  <a:pt x="252" y="0"/>
                </a:lnTo>
                <a:lnTo>
                  <a:pt x="252" y="6"/>
                </a:lnTo>
                <a:lnTo>
                  <a:pt x="252" y="6"/>
                </a:lnTo>
                <a:lnTo>
                  <a:pt x="258" y="6"/>
                </a:lnTo>
                <a:lnTo>
                  <a:pt x="258" y="6"/>
                </a:lnTo>
                <a:lnTo>
                  <a:pt x="258" y="6"/>
                </a:lnTo>
                <a:lnTo>
                  <a:pt x="258" y="6"/>
                </a:lnTo>
                <a:lnTo>
                  <a:pt x="258" y="6"/>
                </a:lnTo>
                <a:lnTo>
                  <a:pt x="258" y="12"/>
                </a:lnTo>
                <a:lnTo>
                  <a:pt x="258" y="12"/>
                </a:lnTo>
                <a:lnTo>
                  <a:pt x="258" y="12"/>
                </a:lnTo>
                <a:lnTo>
                  <a:pt x="258" y="12"/>
                </a:lnTo>
                <a:lnTo>
                  <a:pt x="258" y="12"/>
                </a:lnTo>
                <a:lnTo>
                  <a:pt x="258" y="12"/>
                </a:lnTo>
                <a:lnTo>
                  <a:pt x="264" y="12"/>
                </a:lnTo>
                <a:lnTo>
                  <a:pt x="264" y="12"/>
                </a:lnTo>
                <a:lnTo>
                  <a:pt x="264" y="12"/>
                </a:lnTo>
                <a:lnTo>
                  <a:pt x="264" y="12"/>
                </a:lnTo>
                <a:lnTo>
                  <a:pt x="264" y="12"/>
                </a:lnTo>
                <a:lnTo>
                  <a:pt x="264" y="12"/>
                </a:lnTo>
                <a:lnTo>
                  <a:pt x="264" y="12"/>
                </a:lnTo>
                <a:lnTo>
                  <a:pt x="264" y="12"/>
                </a:lnTo>
                <a:lnTo>
                  <a:pt x="264" y="18"/>
                </a:lnTo>
                <a:lnTo>
                  <a:pt x="270" y="18"/>
                </a:lnTo>
                <a:lnTo>
                  <a:pt x="270" y="18"/>
                </a:lnTo>
                <a:lnTo>
                  <a:pt x="270" y="18"/>
                </a:lnTo>
                <a:lnTo>
                  <a:pt x="270" y="18"/>
                </a:lnTo>
                <a:lnTo>
                  <a:pt x="270" y="18"/>
                </a:lnTo>
                <a:lnTo>
                  <a:pt x="270" y="18"/>
                </a:lnTo>
                <a:lnTo>
                  <a:pt x="270" y="18"/>
                </a:lnTo>
                <a:lnTo>
                  <a:pt x="270" y="18"/>
                </a:lnTo>
                <a:lnTo>
                  <a:pt x="270" y="18"/>
                </a:lnTo>
                <a:lnTo>
                  <a:pt x="270" y="18"/>
                </a:lnTo>
                <a:lnTo>
                  <a:pt x="270" y="24"/>
                </a:lnTo>
                <a:lnTo>
                  <a:pt x="270" y="18"/>
                </a:lnTo>
                <a:lnTo>
                  <a:pt x="270" y="24"/>
                </a:lnTo>
                <a:lnTo>
                  <a:pt x="270" y="24"/>
                </a:lnTo>
                <a:lnTo>
                  <a:pt x="270" y="24"/>
                </a:lnTo>
                <a:lnTo>
                  <a:pt x="276" y="24"/>
                </a:lnTo>
                <a:lnTo>
                  <a:pt x="270" y="24"/>
                </a:lnTo>
                <a:lnTo>
                  <a:pt x="270" y="24"/>
                </a:lnTo>
                <a:lnTo>
                  <a:pt x="276" y="24"/>
                </a:lnTo>
                <a:lnTo>
                  <a:pt x="276" y="30"/>
                </a:lnTo>
                <a:lnTo>
                  <a:pt x="276" y="30"/>
                </a:lnTo>
                <a:lnTo>
                  <a:pt x="276" y="30"/>
                </a:lnTo>
                <a:lnTo>
                  <a:pt x="270" y="30"/>
                </a:lnTo>
                <a:lnTo>
                  <a:pt x="276" y="30"/>
                </a:lnTo>
                <a:lnTo>
                  <a:pt x="276" y="30"/>
                </a:lnTo>
                <a:lnTo>
                  <a:pt x="276" y="30"/>
                </a:lnTo>
                <a:lnTo>
                  <a:pt x="276" y="30"/>
                </a:lnTo>
                <a:lnTo>
                  <a:pt x="276" y="30"/>
                </a:lnTo>
                <a:lnTo>
                  <a:pt x="276" y="30"/>
                </a:lnTo>
                <a:lnTo>
                  <a:pt x="276" y="30"/>
                </a:lnTo>
                <a:lnTo>
                  <a:pt x="276" y="30"/>
                </a:lnTo>
                <a:lnTo>
                  <a:pt x="276" y="30"/>
                </a:lnTo>
                <a:lnTo>
                  <a:pt x="282" y="30"/>
                </a:lnTo>
                <a:lnTo>
                  <a:pt x="276" y="36"/>
                </a:lnTo>
                <a:lnTo>
                  <a:pt x="276" y="36"/>
                </a:lnTo>
                <a:lnTo>
                  <a:pt x="276" y="36"/>
                </a:lnTo>
                <a:lnTo>
                  <a:pt x="276" y="36"/>
                </a:lnTo>
                <a:lnTo>
                  <a:pt x="276" y="36"/>
                </a:lnTo>
                <a:lnTo>
                  <a:pt x="282" y="36"/>
                </a:lnTo>
                <a:lnTo>
                  <a:pt x="282" y="36"/>
                </a:lnTo>
                <a:lnTo>
                  <a:pt x="282" y="36"/>
                </a:lnTo>
                <a:lnTo>
                  <a:pt x="282" y="42"/>
                </a:lnTo>
                <a:lnTo>
                  <a:pt x="282" y="42"/>
                </a:lnTo>
                <a:lnTo>
                  <a:pt x="282" y="42"/>
                </a:lnTo>
                <a:lnTo>
                  <a:pt x="282" y="42"/>
                </a:lnTo>
                <a:lnTo>
                  <a:pt x="282" y="42"/>
                </a:lnTo>
                <a:lnTo>
                  <a:pt x="282" y="42"/>
                </a:lnTo>
                <a:lnTo>
                  <a:pt x="282" y="42"/>
                </a:lnTo>
                <a:lnTo>
                  <a:pt x="282" y="42"/>
                </a:lnTo>
                <a:lnTo>
                  <a:pt x="288" y="42"/>
                </a:lnTo>
                <a:lnTo>
                  <a:pt x="288" y="42"/>
                </a:lnTo>
                <a:lnTo>
                  <a:pt x="288" y="42"/>
                </a:lnTo>
                <a:lnTo>
                  <a:pt x="288" y="48"/>
                </a:lnTo>
                <a:lnTo>
                  <a:pt x="288" y="48"/>
                </a:lnTo>
                <a:lnTo>
                  <a:pt x="288" y="48"/>
                </a:lnTo>
                <a:lnTo>
                  <a:pt x="294" y="48"/>
                </a:lnTo>
                <a:lnTo>
                  <a:pt x="294" y="48"/>
                </a:lnTo>
                <a:lnTo>
                  <a:pt x="294" y="48"/>
                </a:lnTo>
                <a:lnTo>
                  <a:pt x="294" y="54"/>
                </a:lnTo>
                <a:lnTo>
                  <a:pt x="294" y="48"/>
                </a:lnTo>
                <a:lnTo>
                  <a:pt x="294" y="54"/>
                </a:lnTo>
                <a:lnTo>
                  <a:pt x="294" y="54"/>
                </a:lnTo>
                <a:lnTo>
                  <a:pt x="294" y="54"/>
                </a:lnTo>
                <a:lnTo>
                  <a:pt x="294" y="54"/>
                </a:lnTo>
                <a:lnTo>
                  <a:pt x="294" y="54"/>
                </a:lnTo>
                <a:lnTo>
                  <a:pt x="294" y="54"/>
                </a:lnTo>
                <a:lnTo>
                  <a:pt x="300" y="54"/>
                </a:lnTo>
                <a:lnTo>
                  <a:pt x="300" y="60"/>
                </a:lnTo>
                <a:lnTo>
                  <a:pt x="300" y="54"/>
                </a:lnTo>
                <a:lnTo>
                  <a:pt x="300" y="60"/>
                </a:lnTo>
                <a:lnTo>
                  <a:pt x="300" y="60"/>
                </a:lnTo>
                <a:lnTo>
                  <a:pt x="300" y="60"/>
                </a:lnTo>
                <a:lnTo>
                  <a:pt x="300" y="60"/>
                </a:lnTo>
                <a:lnTo>
                  <a:pt x="300" y="60"/>
                </a:lnTo>
                <a:lnTo>
                  <a:pt x="300" y="60"/>
                </a:lnTo>
                <a:lnTo>
                  <a:pt x="300" y="60"/>
                </a:lnTo>
                <a:lnTo>
                  <a:pt x="306" y="60"/>
                </a:lnTo>
                <a:lnTo>
                  <a:pt x="306" y="60"/>
                </a:lnTo>
                <a:lnTo>
                  <a:pt x="306" y="60"/>
                </a:lnTo>
                <a:lnTo>
                  <a:pt x="306" y="60"/>
                </a:lnTo>
                <a:lnTo>
                  <a:pt x="306" y="66"/>
                </a:lnTo>
                <a:lnTo>
                  <a:pt x="306" y="66"/>
                </a:lnTo>
                <a:lnTo>
                  <a:pt x="306" y="66"/>
                </a:lnTo>
                <a:lnTo>
                  <a:pt x="306" y="66"/>
                </a:lnTo>
                <a:lnTo>
                  <a:pt x="306" y="66"/>
                </a:lnTo>
                <a:lnTo>
                  <a:pt x="306" y="66"/>
                </a:lnTo>
                <a:lnTo>
                  <a:pt x="312" y="66"/>
                </a:lnTo>
                <a:lnTo>
                  <a:pt x="312" y="66"/>
                </a:lnTo>
                <a:lnTo>
                  <a:pt x="312" y="66"/>
                </a:lnTo>
                <a:lnTo>
                  <a:pt x="312" y="66"/>
                </a:lnTo>
                <a:lnTo>
                  <a:pt x="312" y="66"/>
                </a:lnTo>
                <a:lnTo>
                  <a:pt x="312" y="72"/>
                </a:lnTo>
                <a:lnTo>
                  <a:pt x="318" y="72"/>
                </a:lnTo>
                <a:lnTo>
                  <a:pt x="318" y="66"/>
                </a:lnTo>
                <a:lnTo>
                  <a:pt x="324" y="72"/>
                </a:lnTo>
                <a:lnTo>
                  <a:pt x="324" y="72"/>
                </a:lnTo>
                <a:lnTo>
                  <a:pt x="324" y="72"/>
                </a:lnTo>
                <a:lnTo>
                  <a:pt x="324" y="72"/>
                </a:lnTo>
                <a:lnTo>
                  <a:pt x="324" y="72"/>
                </a:lnTo>
                <a:lnTo>
                  <a:pt x="324" y="72"/>
                </a:lnTo>
                <a:lnTo>
                  <a:pt x="324" y="72"/>
                </a:lnTo>
                <a:lnTo>
                  <a:pt x="330" y="72"/>
                </a:lnTo>
                <a:lnTo>
                  <a:pt x="330" y="72"/>
                </a:lnTo>
                <a:lnTo>
                  <a:pt x="330" y="72"/>
                </a:lnTo>
                <a:lnTo>
                  <a:pt x="330" y="72"/>
                </a:lnTo>
                <a:lnTo>
                  <a:pt x="330" y="72"/>
                </a:lnTo>
                <a:lnTo>
                  <a:pt x="330" y="72"/>
                </a:lnTo>
                <a:lnTo>
                  <a:pt x="330" y="72"/>
                </a:lnTo>
                <a:lnTo>
                  <a:pt x="330" y="72"/>
                </a:lnTo>
                <a:lnTo>
                  <a:pt x="336" y="72"/>
                </a:lnTo>
                <a:lnTo>
                  <a:pt x="336" y="72"/>
                </a:lnTo>
                <a:lnTo>
                  <a:pt x="336" y="72"/>
                </a:lnTo>
                <a:lnTo>
                  <a:pt x="336" y="72"/>
                </a:lnTo>
                <a:lnTo>
                  <a:pt x="336" y="72"/>
                </a:lnTo>
                <a:lnTo>
                  <a:pt x="336" y="72"/>
                </a:lnTo>
                <a:lnTo>
                  <a:pt x="336" y="72"/>
                </a:lnTo>
                <a:lnTo>
                  <a:pt x="342" y="72"/>
                </a:lnTo>
                <a:lnTo>
                  <a:pt x="342" y="72"/>
                </a:lnTo>
                <a:lnTo>
                  <a:pt x="342" y="72"/>
                </a:lnTo>
                <a:lnTo>
                  <a:pt x="342" y="72"/>
                </a:lnTo>
                <a:lnTo>
                  <a:pt x="342" y="72"/>
                </a:lnTo>
                <a:lnTo>
                  <a:pt x="342" y="72"/>
                </a:lnTo>
                <a:lnTo>
                  <a:pt x="342" y="72"/>
                </a:lnTo>
                <a:lnTo>
                  <a:pt x="342" y="72"/>
                </a:lnTo>
                <a:lnTo>
                  <a:pt x="342" y="72"/>
                </a:lnTo>
                <a:lnTo>
                  <a:pt x="342" y="72"/>
                </a:lnTo>
                <a:lnTo>
                  <a:pt x="348" y="72"/>
                </a:lnTo>
                <a:lnTo>
                  <a:pt x="342" y="72"/>
                </a:lnTo>
                <a:lnTo>
                  <a:pt x="348" y="72"/>
                </a:lnTo>
                <a:lnTo>
                  <a:pt x="348" y="72"/>
                </a:lnTo>
                <a:lnTo>
                  <a:pt x="348" y="72"/>
                </a:lnTo>
                <a:lnTo>
                  <a:pt x="348" y="72"/>
                </a:lnTo>
                <a:lnTo>
                  <a:pt x="348" y="72"/>
                </a:lnTo>
                <a:lnTo>
                  <a:pt x="354" y="72"/>
                </a:lnTo>
                <a:lnTo>
                  <a:pt x="354" y="72"/>
                </a:lnTo>
                <a:lnTo>
                  <a:pt x="348" y="72"/>
                </a:lnTo>
                <a:lnTo>
                  <a:pt x="354" y="72"/>
                </a:lnTo>
                <a:lnTo>
                  <a:pt x="354" y="72"/>
                </a:lnTo>
                <a:lnTo>
                  <a:pt x="354" y="72"/>
                </a:lnTo>
                <a:lnTo>
                  <a:pt x="354" y="72"/>
                </a:lnTo>
                <a:lnTo>
                  <a:pt x="354" y="72"/>
                </a:lnTo>
                <a:lnTo>
                  <a:pt x="354" y="72"/>
                </a:lnTo>
                <a:lnTo>
                  <a:pt x="354" y="72"/>
                </a:lnTo>
                <a:lnTo>
                  <a:pt x="354" y="72"/>
                </a:lnTo>
                <a:lnTo>
                  <a:pt x="354" y="72"/>
                </a:lnTo>
                <a:lnTo>
                  <a:pt x="360" y="72"/>
                </a:lnTo>
                <a:lnTo>
                  <a:pt x="360" y="78"/>
                </a:lnTo>
                <a:lnTo>
                  <a:pt x="360" y="78"/>
                </a:lnTo>
                <a:lnTo>
                  <a:pt x="354" y="78"/>
                </a:lnTo>
                <a:lnTo>
                  <a:pt x="342" y="78"/>
                </a:lnTo>
                <a:lnTo>
                  <a:pt x="342" y="84"/>
                </a:lnTo>
                <a:lnTo>
                  <a:pt x="342" y="84"/>
                </a:lnTo>
                <a:lnTo>
                  <a:pt x="342" y="84"/>
                </a:lnTo>
                <a:lnTo>
                  <a:pt x="342" y="90"/>
                </a:lnTo>
                <a:lnTo>
                  <a:pt x="342" y="96"/>
                </a:lnTo>
                <a:lnTo>
                  <a:pt x="342" y="102"/>
                </a:lnTo>
                <a:lnTo>
                  <a:pt x="342" y="102"/>
                </a:lnTo>
                <a:lnTo>
                  <a:pt x="342" y="108"/>
                </a:lnTo>
                <a:lnTo>
                  <a:pt x="342" y="108"/>
                </a:lnTo>
                <a:lnTo>
                  <a:pt x="336" y="108"/>
                </a:lnTo>
                <a:lnTo>
                  <a:pt x="336" y="114"/>
                </a:lnTo>
                <a:lnTo>
                  <a:pt x="336" y="114"/>
                </a:lnTo>
                <a:lnTo>
                  <a:pt x="336" y="114"/>
                </a:lnTo>
                <a:lnTo>
                  <a:pt x="336" y="114"/>
                </a:lnTo>
                <a:lnTo>
                  <a:pt x="336" y="120"/>
                </a:lnTo>
                <a:lnTo>
                  <a:pt x="336" y="120"/>
                </a:lnTo>
                <a:lnTo>
                  <a:pt x="336" y="120"/>
                </a:lnTo>
                <a:lnTo>
                  <a:pt x="336" y="120"/>
                </a:lnTo>
                <a:lnTo>
                  <a:pt x="330" y="120"/>
                </a:lnTo>
                <a:lnTo>
                  <a:pt x="330" y="120"/>
                </a:lnTo>
                <a:lnTo>
                  <a:pt x="330" y="114"/>
                </a:lnTo>
                <a:lnTo>
                  <a:pt x="330" y="114"/>
                </a:lnTo>
                <a:lnTo>
                  <a:pt x="330" y="114"/>
                </a:lnTo>
                <a:lnTo>
                  <a:pt x="324" y="114"/>
                </a:lnTo>
                <a:lnTo>
                  <a:pt x="324" y="114"/>
                </a:lnTo>
                <a:lnTo>
                  <a:pt x="324" y="114"/>
                </a:lnTo>
                <a:lnTo>
                  <a:pt x="324" y="114"/>
                </a:lnTo>
                <a:lnTo>
                  <a:pt x="324" y="114"/>
                </a:lnTo>
                <a:lnTo>
                  <a:pt x="324" y="120"/>
                </a:lnTo>
                <a:lnTo>
                  <a:pt x="318" y="114"/>
                </a:lnTo>
                <a:lnTo>
                  <a:pt x="318" y="114"/>
                </a:lnTo>
                <a:lnTo>
                  <a:pt x="318" y="114"/>
                </a:lnTo>
                <a:lnTo>
                  <a:pt x="318" y="114"/>
                </a:lnTo>
                <a:lnTo>
                  <a:pt x="318" y="114"/>
                </a:lnTo>
                <a:lnTo>
                  <a:pt x="318" y="114"/>
                </a:lnTo>
                <a:lnTo>
                  <a:pt x="318" y="120"/>
                </a:lnTo>
                <a:lnTo>
                  <a:pt x="312" y="120"/>
                </a:lnTo>
                <a:lnTo>
                  <a:pt x="312" y="120"/>
                </a:lnTo>
                <a:lnTo>
                  <a:pt x="312" y="120"/>
                </a:lnTo>
                <a:lnTo>
                  <a:pt x="312" y="120"/>
                </a:lnTo>
                <a:lnTo>
                  <a:pt x="312" y="114"/>
                </a:lnTo>
                <a:lnTo>
                  <a:pt x="312" y="120"/>
                </a:lnTo>
                <a:lnTo>
                  <a:pt x="312" y="114"/>
                </a:lnTo>
                <a:lnTo>
                  <a:pt x="306" y="114"/>
                </a:lnTo>
                <a:lnTo>
                  <a:pt x="306" y="114"/>
                </a:lnTo>
                <a:lnTo>
                  <a:pt x="306" y="114"/>
                </a:lnTo>
                <a:lnTo>
                  <a:pt x="300" y="114"/>
                </a:lnTo>
                <a:lnTo>
                  <a:pt x="300" y="114"/>
                </a:lnTo>
                <a:lnTo>
                  <a:pt x="300" y="114"/>
                </a:lnTo>
                <a:lnTo>
                  <a:pt x="300" y="114"/>
                </a:lnTo>
                <a:lnTo>
                  <a:pt x="300" y="114"/>
                </a:lnTo>
                <a:lnTo>
                  <a:pt x="300" y="114"/>
                </a:lnTo>
                <a:lnTo>
                  <a:pt x="300" y="120"/>
                </a:lnTo>
                <a:lnTo>
                  <a:pt x="300" y="120"/>
                </a:lnTo>
                <a:lnTo>
                  <a:pt x="300" y="120"/>
                </a:lnTo>
                <a:lnTo>
                  <a:pt x="300" y="120"/>
                </a:lnTo>
                <a:lnTo>
                  <a:pt x="294" y="120"/>
                </a:lnTo>
                <a:lnTo>
                  <a:pt x="294" y="120"/>
                </a:lnTo>
                <a:lnTo>
                  <a:pt x="294" y="120"/>
                </a:lnTo>
                <a:lnTo>
                  <a:pt x="294" y="120"/>
                </a:lnTo>
                <a:lnTo>
                  <a:pt x="294" y="120"/>
                </a:lnTo>
                <a:lnTo>
                  <a:pt x="288" y="120"/>
                </a:lnTo>
                <a:lnTo>
                  <a:pt x="288" y="120"/>
                </a:lnTo>
                <a:lnTo>
                  <a:pt x="288" y="120"/>
                </a:lnTo>
                <a:lnTo>
                  <a:pt x="288" y="120"/>
                </a:lnTo>
                <a:lnTo>
                  <a:pt x="282" y="120"/>
                </a:lnTo>
                <a:lnTo>
                  <a:pt x="282" y="120"/>
                </a:lnTo>
                <a:lnTo>
                  <a:pt x="282" y="120"/>
                </a:lnTo>
                <a:lnTo>
                  <a:pt x="282" y="120"/>
                </a:lnTo>
                <a:lnTo>
                  <a:pt x="282" y="120"/>
                </a:lnTo>
                <a:lnTo>
                  <a:pt x="282" y="120"/>
                </a:lnTo>
                <a:lnTo>
                  <a:pt x="282" y="120"/>
                </a:lnTo>
                <a:lnTo>
                  <a:pt x="276" y="120"/>
                </a:lnTo>
                <a:lnTo>
                  <a:pt x="276" y="120"/>
                </a:lnTo>
                <a:lnTo>
                  <a:pt x="276" y="126"/>
                </a:lnTo>
                <a:lnTo>
                  <a:pt x="276" y="126"/>
                </a:lnTo>
                <a:lnTo>
                  <a:pt x="276" y="126"/>
                </a:lnTo>
                <a:lnTo>
                  <a:pt x="282" y="126"/>
                </a:lnTo>
                <a:lnTo>
                  <a:pt x="282" y="126"/>
                </a:lnTo>
                <a:lnTo>
                  <a:pt x="282" y="132"/>
                </a:lnTo>
                <a:lnTo>
                  <a:pt x="282" y="132"/>
                </a:lnTo>
                <a:lnTo>
                  <a:pt x="282" y="132"/>
                </a:lnTo>
                <a:lnTo>
                  <a:pt x="282" y="132"/>
                </a:lnTo>
                <a:lnTo>
                  <a:pt x="282" y="132"/>
                </a:lnTo>
                <a:lnTo>
                  <a:pt x="282" y="132"/>
                </a:lnTo>
                <a:lnTo>
                  <a:pt x="282" y="138"/>
                </a:lnTo>
                <a:lnTo>
                  <a:pt x="276" y="138"/>
                </a:lnTo>
                <a:lnTo>
                  <a:pt x="276" y="138"/>
                </a:lnTo>
                <a:lnTo>
                  <a:pt x="276" y="138"/>
                </a:lnTo>
                <a:lnTo>
                  <a:pt x="276" y="138"/>
                </a:lnTo>
                <a:lnTo>
                  <a:pt x="276" y="144"/>
                </a:lnTo>
                <a:lnTo>
                  <a:pt x="276" y="144"/>
                </a:lnTo>
                <a:lnTo>
                  <a:pt x="276" y="144"/>
                </a:lnTo>
                <a:lnTo>
                  <a:pt x="276" y="144"/>
                </a:lnTo>
                <a:lnTo>
                  <a:pt x="282" y="144"/>
                </a:lnTo>
                <a:lnTo>
                  <a:pt x="276" y="150"/>
                </a:lnTo>
                <a:lnTo>
                  <a:pt x="276" y="150"/>
                </a:lnTo>
                <a:lnTo>
                  <a:pt x="276" y="150"/>
                </a:lnTo>
                <a:lnTo>
                  <a:pt x="276" y="150"/>
                </a:lnTo>
                <a:lnTo>
                  <a:pt x="276" y="150"/>
                </a:lnTo>
                <a:lnTo>
                  <a:pt x="276" y="150"/>
                </a:lnTo>
                <a:lnTo>
                  <a:pt x="270" y="150"/>
                </a:lnTo>
                <a:lnTo>
                  <a:pt x="270" y="150"/>
                </a:lnTo>
                <a:lnTo>
                  <a:pt x="270" y="150"/>
                </a:lnTo>
                <a:lnTo>
                  <a:pt x="270" y="150"/>
                </a:lnTo>
                <a:lnTo>
                  <a:pt x="276" y="150"/>
                </a:lnTo>
                <a:lnTo>
                  <a:pt x="276" y="150"/>
                </a:lnTo>
                <a:lnTo>
                  <a:pt x="276" y="156"/>
                </a:lnTo>
                <a:lnTo>
                  <a:pt x="270" y="156"/>
                </a:lnTo>
                <a:lnTo>
                  <a:pt x="270" y="156"/>
                </a:lnTo>
                <a:lnTo>
                  <a:pt x="270" y="156"/>
                </a:lnTo>
                <a:lnTo>
                  <a:pt x="270" y="156"/>
                </a:lnTo>
                <a:lnTo>
                  <a:pt x="270" y="156"/>
                </a:lnTo>
                <a:lnTo>
                  <a:pt x="270" y="156"/>
                </a:lnTo>
                <a:lnTo>
                  <a:pt x="270" y="162"/>
                </a:lnTo>
                <a:lnTo>
                  <a:pt x="276" y="162"/>
                </a:lnTo>
                <a:lnTo>
                  <a:pt x="270" y="168"/>
                </a:lnTo>
                <a:lnTo>
                  <a:pt x="264" y="180"/>
                </a:lnTo>
                <a:lnTo>
                  <a:pt x="264" y="186"/>
                </a:lnTo>
                <a:lnTo>
                  <a:pt x="258" y="192"/>
                </a:lnTo>
                <a:lnTo>
                  <a:pt x="258" y="198"/>
                </a:lnTo>
                <a:lnTo>
                  <a:pt x="258" y="198"/>
                </a:lnTo>
                <a:lnTo>
                  <a:pt x="252" y="210"/>
                </a:lnTo>
                <a:lnTo>
                  <a:pt x="252" y="210"/>
                </a:lnTo>
                <a:lnTo>
                  <a:pt x="258" y="210"/>
                </a:lnTo>
                <a:lnTo>
                  <a:pt x="258" y="210"/>
                </a:lnTo>
                <a:lnTo>
                  <a:pt x="258" y="210"/>
                </a:lnTo>
                <a:lnTo>
                  <a:pt x="264" y="210"/>
                </a:lnTo>
                <a:lnTo>
                  <a:pt x="264" y="204"/>
                </a:lnTo>
                <a:lnTo>
                  <a:pt x="276" y="222"/>
                </a:lnTo>
                <a:lnTo>
                  <a:pt x="282" y="222"/>
                </a:lnTo>
                <a:lnTo>
                  <a:pt x="288" y="222"/>
                </a:lnTo>
                <a:lnTo>
                  <a:pt x="288" y="222"/>
                </a:lnTo>
                <a:lnTo>
                  <a:pt x="294" y="222"/>
                </a:lnTo>
                <a:lnTo>
                  <a:pt x="294" y="228"/>
                </a:lnTo>
                <a:lnTo>
                  <a:pt x="294" y="228"/>
                </a:lnTo>
                <a:lnTo>
                  <a:pt x="294" y="228"/>
                </a:lnTo>
                <a:lnTo>
                  <a:pt x="294" y="228"/>
                </a:lnTo>
                <a:lnTo>
                  <a:pt x="288" y="228"/>
                </a:lnTo>
                <a:lnTo>
                  <a:pt x="288" y="228"/>
                </a:lnTo>
                <a:lnTo>
                  <a:pt x="288" y="228"/>
                </a:lnTo>
                <a:lnTo>
                  <a:pt x="288" y="228"/>
                </a:lnTo>
                <a:lnTo>
                  <a:pt x="252" y="234"/>
                </a:lnTo>
                <a:lnTo>
                  <a:pt x="252" y="234"/>
                </a:lnTo>
                <a:lnTo>
                  <a:pt x="252" y="240"/>
                </a:lnTo>
                <a:lnTo>
                  <a:pt x="252" y="240"/>
                </a:lnTo>
                <a:lnTo>
                  <a:pt x="252" y="240"/>
                </a:lnTo>
                <a:lnTo>
                  <a:pt x="252" y="240"/>
                </a:lnTo>
                <a:lnTo>
                  <a:pt x="252" y="246"/>
                </a:lnTo>
                <a:lnTo>
                  <a:pt x="252" y="246"/>
                </a:lnTo>
                <a:lnTo>
                  <a:pt x="252" y="252"/>
                </a:lnTo>
                <a:lnTo>
                  <a:pt x="252" y="252"/>
                </a:lnTo>
                <a:lnTo>
                  <a:pt x="252" y="252"/>
                </a:lnTo>
                <a:lnTo>
                  <a:pt x="252" y="252"/>
                </a:lnTo>
                <a:lnTo>
                  <a:pt x="252" y="258"/>
                </a:lnTo>
                <a:lnTo>
                  <a:pt x="246" y="264"/>
                </a:lnTo>
                <a:lnTo>
                  <a:pt x="246" y="264"/>
                </a:lnTo>
                <a:lnTo>
                  <a:pt x="246" y="264"/>
                </a:lnTo>
                <a:lnTo>
                  <a:pt x="246" y="264"/>
                </a:lnTo>
                <a:lnTo>
                  <a:pt x="246" y="270"/>
                </a:lnTo>
                <a:lnTo>
                  <a:pt x="246" y="270"/>
                </a:lnTo>
                <a:lnTo>
                  <a:pt x="246" y="270"/>
                </a:lnTo>
                <a:lnTo>
                  <a:pt x="240" y="270"/>
                </a:lnTo>
                <a:lnTo>
                  <a:pt x="240" y="270"/>
                </a:lnTo>
                <a:lnTo>
                  <a:pt x="240" y="276"/>
                </a:lnTo>
                <a:lnTo>
                  <a:pt x="240" y="276"/>
                </a:lnTo>
                <a:lnTo>
                  <a:pt x="234" y="276"/>
                </a:lnTo>
                <a:lnTo>
                  <a:pt x="234" y="276"/>
                </a:lnTo>
                <a:lnTo>
                  <a:pt x="234" y="282"/>
                </a:lnTo>
                <a:lnTo>
                  <a:pt x="228" y="282"/>
                </a:lnTo>
                <a:lnTo>
                  <a:pt x="222" y="282"/>
                </a:lnTo>
                <a:lnTo>
                  <a:pt x="222" y="282"/>
                </a:lnTo>
                <a:lnTo>
                  <a:pt x="222" y="288"/>
                </a:lnTo>
                <a:lnTo>
                  <a:pt x="222" y="288"/>
                </a:lnTo>
                <a:lnTo>
                  <a:pt x="228" y="294"/>
                </a:lnTo>
                <a:lnTo>
                  <a:pt x="222" y="294"/>
                </a:lnTo>
                <a:lnTo>
                  <a:pt x="222" y="294"/>
                </a:lnTo>
                <a:lnTo>
                  <a:pt x="222" y="294"/>
                </a:lnTo>
                <a:lnTo>
                  <a:pt x="222" y="300"/>
                </a:lnTo>
                <a:lnTo>
                  <a:pt x="216" y="294"/>
                </a:lnTo>
                <a:lnTo>
                  <a:pt x="210" y="300"/>
                </a:lnTo>
                <a:lnTo>
                  <a:pt x="210" y="300"/>
                </a:lnTo>
                <a:lnTo>
                  <a:pt x="210" y="294"/>
                </a:lnTo>
                <a:lnTo>
                  <a:pt x="204" y="300"/>
                </a:lnTo>
                <a:lnTo>
                  <a:pt x="204" y="300"/>
                </a:lnTo>
                <a:lnTo>
                  <a:pt x="204" y="300"/>
                </a:lnTo>
                <a:lnTo>
                  <a:pt x="198" y="306"/>
                </a:lnTo>
                <a:lnTo>
                  <a:pt x="198" y="306"/>
                </a:lnTo>
                <a:lnTo>
                  <a:pt x="198" y="306"/>
                </a:lnTo>
                <a:lnTo>
                  <a:pt x="198" y="312"/>
                </a:lnTo>
                <a:lnTo>
                  <a:pt x="198" y="312"/>
                </a:lnTo>
                <a:lnTo>
                  <a:pt x="192" y="318"/>
                </a:lnTo>
                <a:lnTo>
                  <a:pt x="192" y="318"/>
                </a:lnTo>
                <a:lnTo>
                  <a:pt x="192" y="318"/>
                </a:lnTo>
                <a:lnTo>
                  <a:pt x="198" y="318"/>
                </a:lnTo>
                <a:lnTo>
                  <a:pt x="198" y="318"/>
                </a:lnTo>
                <a:lnTo>
                  <a:pt x="198" y="324"/>
                </a:lnTo>
                <a:lnTo>
                  <a:pt x="198" y="324"/>
                </a:lnTo>
                <a:lnTo>
                  <a:pt x="198" y="324"/>
                </a:lnTo>
                <a:lnTo>
                  <a:pt x="198" y="324"/>
                </a:lnTo>
                <a:lnTo>
                  <a:pt x="198" y="324"/>
                </a:lnTo>
                <a:lnTo>
                  <a:pt x="204" y="330"/>
                </a:lnTo>
                <a:lnTo>
                  <a:pt x="204" y="330"/>
                </a:lnTo>
                <a:lnTo>
                  <a:pt x="198" y="330"/>
                </a:lnTo>
                <a:lnTo>
                  <a:pt x="198" y="330"/>
                </a:lnTo>
                <a:lnTo>
                  <a:pt x="192" y="330"/>
                </a:lnTo>
                <a:lnTo>
                  <a:pt x="192" y="330"/>
                </a:lnTo>
                <a:lnTo>
                  <a:pt x="192" y="330"/>
                </a:lnTo>
                <a:lnTo>
                  <a:pt x="192" y="330"/>
                </a:lnTo>
                <a:lnTo>
                  <a:pt x="192" y="330"/>
                </a:lnTo>
                <a:lnTo>
                  <a:pt x="186" y="330"/>
                </a:lnTo>
                <a:lnTo>
                  <a:pt x="186" y="330"/>
                </a:lnTo>
                <a:lnTo>
                  <a:pt x="180" y="330"/>
                </a:lnTo>
                <a:lnTo>
                  <a:pt x="180" y="330"/>
                </a:lnTo>
                <a:lnTo>
                  <a:pt x="180" y="324"/>
                </a:lnTo>
                <a:lnTo>
                  <a:pt x="174" y="324"/>
                </a:lnTo>
                <a:lnTo>
                  <a:pt x="174" y="324"/>
                </a:lnTo>
                <a:lnTo>
                  <a:pt x="174" y="324"/>
                </a:lnTo>
                <a:lnTo>
                  <a:pt x="168" y="318"/>
                </a:lnTo>
                <a:lnTo>
                  <a:pt x="162" y="318"/>
                </a:lnTo>
                <a:lnTo>
                  <a:pt x="162" y="312"/>
                </a:lnTo>
                <a:lnTo>
                  <a:pt x="156" y="306"/>
                </a:lnTo>
                <a:lnTo>
                  <a:pt x="156" y="306"/>
                </a:lnTo>
                <a:lnTo>
                  <a:pt x="156" y="306"/>
                </a:lnTo>
                <a:lnTo>
                  <a:pt x="156" y="306"/>
                </a:lnTo>
                <a:lnTo>
                  <a:pt x="150" y="306"/>
                </a:lnTo>
                <a:lnTo>
                  <a:pt x="150" y="300"/>
                </a:lnTo>
                <a:lnTo>
                  <a:pt x="150" y="300"/>
                </a:lnTo>
                <a:lnTo>
                  <a:pt x="150" y="300"/>
                </a:lnTo>
                <a:lnTo>
                  <a:pt x="150" y="300"/>
                </a:lnTo>
                <a:lnTo>
                  <a:pt x="150" y="300"/>
                </a:lnTo>
                <a:lnTo>
                  <a:pt x="150" y="300"/>
                </a:lnTo>
                <a:lnTo>
                  <a:pt x="150" y="300"/>
                </a:lnTo>
                <a:lnTo>
                  <a:pt x="144" y="300"/>
                </a:lnTo>
                <a:lnTo>
                  <a:pt x="144" y="300"/>
                </a:lnTo>
                <a:lnTo>
                  <a:pt x="144" y="300"/>
                </a:lnTo>
                <a:lnTo>
                  <a:pt x="144" y="294"/>
                </a:lnTo>
                <a:lnTo>
                  <a:pt x="138" y="294"/>
                </a:lnTo>
                <a:lnTo>
                  <a:pt x="138" y="294"/>
                </a:lnTo>
                <a:lnTo>
                  <a:pt x="138" y="294"/>
                </a:lnTo>
                <a:lnTo>
                  <a:pt x="132" y="294"/>
                </a:lnTo>
                <a:lnTo>
                  <a:pt x="132" y="294"/>
                </a:lnTo>
                <a:lnTo>
                  <a:pt x="132" y="288"/>
                </a:lnTo>
                <a:lnTo>
                  <a:pt x="132" y="288"/>
                </a:lnTo>
                <a:lnTo>
                  <a:pt x="132" y="288"/>
                </a:lnTo>
                <a:lnTo>
                  <a:pt x="126" y="282"/>
                </a:lnTo>
                <a:lnTo>
                  <a:pt x="126" y="276"/>
                </a:lnTo>
                <a:lnTo>
                  <a:pt x="126" y="276"/>
                </a:lnTo>
                <a:lnTo>
                  <a:pt x="120" y="270"/>
                </a:lnTo>
                <a:lnTo>
                  <a:pt x="120" y="270"/>
                </a:lnTo>
                <a:lnTo>
                  <a:pt x="120" y="276"/>
                </a:lnTo>
                <a:lnTo>
                  <a:pt x="114" y="276"/>
                </a:lnTo>
                <a:lnTo>
                  <a:pt x="114" y="282"/>
                </a:lnTo>
                <a:lnTo>
                  <a:pt x="114" y="282"/>
                </a:lnTo>
                <a:lnTo>
                  <a:pt x="114" y="282"/>
                </a:lnTo>
                <a:lnTo>
                  <a:pt x="114" y="282"/>
                </a:lnTo>
                <a:lnTo>
                  <a:pt x="114" y="288"/>
                </a:lnTo>
                <a:lnTo>
                  <a:pt x="114" y="288"/>
                </a:lnTo>
                <a:lnTo>
                  <a:pt x="114" y="288"/>
                </a:lnTo>
                <a:lnTo>
                  <a:pt x="108" y="288"/>
                </a:lnTo>
                <a:lnTo>
                  <a:pt x="108" y="294"/>
                </a:lnTo>
                <a:lnTo>
                  <a:pt x="108" y="294"/>
                </a:lnTo>
                <a:lnTo>
                  <a:pt x="108" y="294"/>
                </a:lnTo>
                <a:lnTo>
                  <a:pt x="108" y="294"/>
                </a:lnTo>
                <a:lnTo>
                  <a:pt x="108" y="288"/>
                </a:lnTo>
                <a:lnTo>
                  <a:pt x="108" y="288"/>
                </a:lnTo>
                <a:lnTo>
                  <a:pt x="108" y="288"/>
                </a:lnTo>
                <a:lnTo>
                  <a:pt x="108" y="288"/>
                </a:lnTo>
                <a:lnTo>
                  <a:pt x="108" y="288"/>
                </a:lnTo>
                <a:lnTo>
                  <a:pt x="108" y="282"/>
                </a:lnTo>
                <a:lnTo>
                  <a:pt x="108" y="282"/>
                </a:lnTo>
                <a:lnTo>
                  <a:pt x="108" y="282"/>
                </a:lnTo>
                <a:lnTo>
                  <a:pt x="108" y="276"/>
                </a:lnTo>
                <a:lnTo>
                  <a:pt x="102" y="276"/>
                </a:lnTo>
                <a:lnTo>
                  <a:pt x="102" y="276"/>
                </a:lnTo>
                <a:lnTo>
                  <a:pt x="102" y="276"/>
                </a:lnTo>
                <a:lnTo>
                  <a:pt x="102" y="276"/>
                </a:lnTo>
                <a:lnTo>
                  <a:pt x="102" y="276"/>
                </a:lnTo>
                <a:lnTo>
                  <a:pt x="102" y="276"/>
                </a:lnTo>
                <a:lnTo>
                  <a:pt x="102" y="270"/>
                </a:lnTo>
                <a:lnTo>
                  <a:pt x="96" y="270"/>
                </a:lnTo>
                <a:lnTo>
                  <a:pt x="96" y="270"/>
                </a:lnTo>
                <a:lnTo>
                  <a:pt x="96" y="264"/>
                </a:lnTo>
                <a:lnTo>
                  <a:pt x="96" y="264"/>
                </a:lnTo>
                <a:lnTo>
                  <a:pt x="96" y="264"/>
                </a:lnTo>
                <a:lnTo>
                  <a:pt x="96" y="264"/>
                </a:lnTo>
                <a:lnTo>
                  <a:pt x="96" y="264"/>
                </a:lnTo>
                <a:lnTo>
                  <a:pt x="96" y="264"/>
                </a:lnTo>
                <a:lnTo>
                  <a:pt x="96" y="258"/>
                </a:lnTo>
                <a:lnTo>
                  <a:pt x="96" y="258"/>
                </a:lnTo>
                <a:lnTo>
                  <a:pt x="96" y="258"/>
                </a:lnTo>
                <a:lnTo>
                  <a:pt x="96" y="252"/>
                </a:lnTo>
                <a:lnTo>
                  <a:pt x="96" y="252"/>
                </a:lnTo>
                <a:lnTo>
                  <a:pt x="96" y="252"/>
                </a:lnTo>
                <a:lnTo>
                  <a:pt x="96" y="252"/>
                </a:lnTo>
                <a:lnTo>
                  <a:pt x="96" y="252"/>
                </a:lnTo>
                <a:lnTo>
                  <a:pt x="96" y="252"/>
                </a:lnTo>
                <a:lnTo>
                  <a:pt x="96" y="246"/>
                </a:lnTo>
                <a:lnTo>
                  <a:pt x="96" y="246"/>
                </a:lnTo>
                <a:lnTo>
                  <a:pt x="96" y="246"/>
                </a:lnTo>
                <a:lnTo>
                  <a:pt x="96" y="246"/>
                </a:lnTo>
                <a:lnTo>
                  <a:pt x="90" y="246"/>
                </a:lnTo>
                <a:lnTo>
                  <a:pt x="90" y="240"/>
                </a:lnTo>
                <a:lnTo>
                  <a:pt x="90" y="240"/>
                </a:lnTo>
                <a:lnTo>
                  <a:pt x="90" y="240"/>
                </a:lnTo>
                <a:lnTo>
                  <a:pt x="90" y="234"/>
                </a:lnTo>
                <a:lnTo>
                  <a:pt x="90" y="234"/>
                </a:lnTo>
                <a:lnTo>
                  <a:pt x="90" y="234"/>
                </a:lnTo>
                <a:lnTo>
                  <a:pt x="96" y="234"/>
                </a:lnTo>
                <a:lnTo>
                  <a:pt x="96" y="234"/>
                </a:lnTo>
                <a:lnTo>
                  <a:pt x="96" y="228"/>
                </a:lnTo>
                <a:lnTo>
                  <a:pt x="96" y="228"/>
                </a:lnTo>
                <a:lnTo>
                  <a:pt x="96" y="228"/>
                </a:lnTo>
                <a:lnTo>
                  <a:pt x="96" y="228"/>
                </a:lnTo>
                <a:lnTo>
                  <a:pt x="96" y="228"/>
                </a:lnTo>
                <a:lnTo>
                  <a:pt x="96" y="228"/>
                </a:lnTo>
                <a:lnTo>
                  <a:pt x="96" y="228"/>
                </a:lnTo>
                <a:lnTo>
                  <a:pt x="96" y="228"/>
                </a:lnTo>
                <a:lnTo>
                  <a:pt x="96" y="222"/>
                </a:lnTo>
                <a:lnTo>
                  <a:pt x="96" y="222"/>
                </a:lnTo>
                <a:lnTo>
                  <a:pt x="96" y="222"/>
                </a:lnTo>
                <a:lnTo>
                  <a:pt x="96" y="222"/>
                </a:lnTo>
                <a:lnTo>
                  <a:pt x="96" y="216"/>
                </a:lnTo>
                <a:lnTo>
                  <a:pt x="96" y="216"/>
                </a:lnTo>
                <a:lnTo>
                  <a:pt x="96" y="216"/>
                </a:lnTo>
                <a:lnTo>
                  <a:pt x="96" y="216"/>
                </a:lnTo>
                <a:lnTo>
                  <a:pt x="96" y="210"/>
                </a:lnTo>
                <a:lnTo>
                  <a:pt x="96" y="210"/>
                </a:lnTo>
                <a:lnTo>
                  <a:pt x="90" y="204"/>
                </a:lnTo>
                <a:lnTo>
                  <a:pt x="90" y="204"/>
                </a:lnTo>
                <a:lnTo>
                  <a:pt x="90" y="204"/>
                </a:lnTo>
                <a:lnTo>
                  <a:pt x="90" y="204"/>
                </a:lnTo>
                <a:lnTo>
                  <a:pt x="90" y="204"/>
                </a:lnTo>
                <a:lnTo>
                  <a:pt x="84" y="198"/>
                </a:lnTo>
                <a:lnTo>
                  <a:pt x="78" y="192"/>
                </a:lnTo>
                <a:lnTo>
                  <a:pt x="78" y="192"/>
                </a:lnTo>
                <a:lnTo>
                  <a:pt x="78" y="192"/>
                </a:lnTo>
                <a:lnTo>
                  <a:pt x="78" y="192"/>
                </a:lnTo>
                <a:lnTo>
                  <a:pt x="78" y="186"/>
                </a:lnTo>
                <a:lnTo>
                  <a:pt x="84" y="186"/>
                </a:lnTo>
                <a:lnTo>
                  <a:pt x="84" y="186"/>
                </a:lnTo>
                <a:lnTo>
                  <a:pt x="84" y="186"/>
                </a:lnTo>
                <a:lnTo>
                  <a:pt x="84" y="180"/>
                </a:lnTo>
                <a:lnTo>
                  <a:pt x="84" y="180"/>
                </a:lnTo>
                <a:lnTo>
                  <a:pt x="84" y="180"/>
                </a:lnTo>
                <a:lnTo>
                  <a:pt x="84" y="180"/>
                </a:lnTo>
                <a:lnTo>
                  <a:pt x="78" y="180"/>
                </a:lnTo>
                <a:lnTo>
                  <a:pt x="78" y="180"/>
                </a:lnTo>
                <a:lnTo>
                  <a:pt x="78" y="180"/>
                </a:lnTo>
                <a:lnTo>
                  <a:pt x="78" y="180"/>
                </a:lnTo>
                <a:lnTo>
                  <a:pt x="78" y="180"/>
                </a:lnTo>
                <a:lnTo>
                  <a:pt x="72" y="180"/>
                </a:lnTo>
                <a:lnTo>
                  <a:pt x="72" y="174"/>
                </a:lnTo>
                <a:lnTo>
                  <a:pt x="72" y="174"/>
                </a:lnTo>
                <a:lnTo>
                  <a:pt x="72" y="174"/>
                </a:lnTo>
                <a:lnTo>
                  <a:pt x="72" y="168"/>
                </a:lnTo>
                <a:lnTo>
                  <a:pt x="66" y="168"/>
                </a:lnTo>
                <a:lnTo>
                  <a:pt x="66" y="168"/>
                </a:lnTo>
                <a:lnTo>
                  <a:pt x="60" y="168"/>
                </a:lnTo>
                <a:lnTo>
                  <a:pt x="60" y="162"/>
                </a:lnTo>
                <a:lnTo>
                  <a:pt x="60" y="168"/>
                </a:lnTo>
                <a:lnTo>
                  <a:pt x="54" y="162"/>
                </a:lnTo>
                <a:lnTo>
                  <a:pt x="54" y="168"/>
                </a:lnTo>
                <a:lnTo>
                  <a:pt x="54" y="168"/>
                </a:lnTo>
                <a:lnTo>
                  <a:pt x="54" y="168"/>
                </a:lnTo>
                <a:lnTo>
                  <a:pt x="54" y="168"/>
                </a:lnTo>
                <a:lnTo>
                  <a:pt x="48" y="162"/>
                </a:lnTo>
                <a:lnTo>
                  <a:pt x="48" y="168"/>
                </a:lnTo>
                <a:lnTo>
                  <a:pt x="48" y="168"/>
                </a:lnTo>
                <a:lnTo>
                  <a:pt x="48" y="168"/>
                </a:lnTo>
                <a:lnTo>
                  <a:pt x="48" y="168"/>
                </a:lnTo>
                <a:lnTo>
                  <a:pt x="42" y="168"/>
                </a:lnTo>
                <a:lnTo>
                  <a:pt x="42" y="162"/>
                </a:lnTo>
                <a:lnTo>
                  <a:pt x="42" y="162"/>
                </a:lnTo>
                <a:lnTo>
                  <a:pt x="36" y="168"/>
                </a:lnTo>
                <a:lnTo>
                  <a:pt x="36" y="168"/>
                </a:lnTo>
                <a:lnTo>
                  <a:pt x="36" y="168"/>
                </a:lnTo>
                <a:lnTo>
                  <a:pt x="36" y="168"/>
                </a:lnTo>
                <a:lnTo>
                  <a:pt x="36" y="168"/>
                </a:lnTo>
                <a:lnTo>
                  <a:pt x="36" y="168"/>
                </a:lnTo>
                <a:lnTo>
                  <a:pt x="30" y="162"/>
                </a:lnTo>
                <a:lnTo>
                  <a:pt x="30" y="162"/>
                </a:lnTo>
                <a:lnTo>
                  <a:pt x="30" y="162"/>
                </a:lnTo>
                <a:lnTo>
                  <a:pt x="30" y="162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2"/>
                </a:lnTo>
                <a:lnTo>
                  <a:pt x="24" y="162"/>
                </a:lnTo>
                <a:lnTo>
                  <a:pt x="24" y="168"/>
                </a:lnTo>
                <a:lnTo>
                  <a:pt x="24" y="162"/>
                </a:lnTo>
                <a:lnTo>
                  <a:pt x="24" y="162"/>
                </a:lnTo>
                <a:lnTo>
                  <a:pt x="24" y="162"/>
                </a:lnTo>
                <a:lnTo>
                  <a:pt x="18" y="162"/>
                </a:lnTo>
                <a:lnTo>
                  <a:pt x="18" y="162"/>
                </a:lnTo>
                <a:lnTo>
                  <a:pt x="18" y="162"/>
                </a:lnTo>
                <a:lnTo>
                  <a:pt x="18" y="162"/>
                </a:lnTo>
                <a:lnTo>
                  <a:pt x="18" y="162"/>
                </a:lnTo>
                <a:lnTo>
                  <a:pt x="12" y="162"/>
                </a:lnTo>
                <a:lnTo>
                  <a:pt x="12" y="156"/>
                </a:lnTo>
                <a:lnTo>
                  <a:pt x="12" y="162"/>
                </a:lnTo>
                <a:lnTo>
                  <a:pt x="12" y="156"/>
                </a:lnTo>
                <a:lnTo>
                  <a:pt x="6" y="156"/>
                </a:lnTo>
                <a:lnTo>
                  <a:pt x="6" y="156"/>
                </a:lnTo>
                <a:lnTo>
                  <a:pt x="6" y="156"/>
                </a:lnTo>
                <a:lnTo>
                  <a:pt x="6" y="156"/>
                </a:lnTo>
                <a:lnTo>
                  <a:pt x="6" y="156"/>
                </a:lnTo>
                <a:lnTo>
                  <a:pt x="6" y="156"/>
                </a:lnTo>
                <a:lnTo>
                  <a:pt x="6" y="156"/>
                </a:lnTo>
                <a:lnTo>
                  <a:pt x="0" y="150"/>
                </a:lnTo>
                <a:lnTo>
                  <a:pt x="6" y="15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65" name="Freeform 498"/>
          <p:cNvSpPr>
            <a:spLocks/>
          </p:cNvSpPr>
          <p:nvPr/>
        </p:nvSpPr>
        <p:spPr bwMode="auto">
          <a:xfrm>
            <a:off x="5727645" y="3691742"/>
            <a:ext cx="276234" cy="353325"/>
          </a:xfrm>
          <a:custGeom>
            <a:avLst/>
            <a:gdLst>
              <a:gd name="T0" fmla="*/ 18 w 258"/>
              <a:gd name="T1" fmla="*/ 138 h 330"/>
              <a:gd name="T2" fmla="*/ 24 w 258"/>
              <a:gd name="T3" fmla="*/ 138 h 330"/>
              <a:gd name="T4" fmla="*/ 66 w 258"/>
              <a:gd name="T5" fmla="*/ 120 h 330"/>
              <a:gd name="T6" fmla="*/ 144 w 258"/>
              <a:gd name="T7" fmla="*/ 90 h 330"/>
              <a:gd name="T8" fmla="*/ 156 w 258"/>
              <a:gd name="T9" fmla="*/ 102 h 330"/>
              <a:gd name="T10" fmla="*/ 168 w 258"/>
              <a:gd name="T11" fmla="*/ 90 h 330"/>
              <a:gd name="T12" fmla="*/ 168 w 258"/>
              <a:gd name="T13" fmla="*/ 78 h 330"/>
              <a:gd name="T14" fmla="*/ 180 w 258"/>
              <a:gd name="T15" fmla="*/ 66 h 330"/>
              <a:gd name="T16" fmla="*/ 198 w 258"/>
              <a:gd name="T17" fmla="*/ 48 h 330"/>
              <a:gd name="T18" fmla="*/ 216 w 258"/>
              <a:gd name="T19" fmla="*/ 90 h 330"/>
              <a:gd name="T20" fmla="*/ 228 w 258"/>
              <a:gd name="T21" fmla="*/ 90 h 330"/>
              <a:gd name="T22" fmla="*/ 246 w 258"/>
              <a:gd name="T23" fmla="*/ 96 h 330"/>
              <a:gd name="T24" fmla="*/ 252 w 258"/>
              <a:gd name="T25" fmla="*/ 102 h 330"/>
              <a:gd name="T26" fmla="*/ 240 w 258"/>
              <a:gd name="T27" fmla="*/ 120 h 330"/>
              <a:gd name="T28" fmla="*/ 228 w 258"/>
              <a:gd name="T29" fmla="*/ 150 h 330"/>
              <a:gd name="T30" fmla="*/ 216 w 258"/>
              <a:gd name="T31" fmla="*/ 162 h 330"/>
              <a:gd name="T32" fmla="*/ 228 w 258"/>
              <a:gd name="T33" fmla="*/ 180 h 330"/>
              <a:gd name="T34" fmla="*/ 234 w 258"/>
              <a:gd name="T35" fmla="*/ 186 h 330"/>
              <a:gd name="T36" fmla="*/ 246 w 258"/>
              <a:gd name="T37" fmla="*/ 180 h 330"/>
              <a:gd name="T38" fmla="*/ 258 w 258"/>
              <a:gd name="T39" fmla="*/ 204 h 330"/>
              <a:gd name="T40" fmla="*/ 246 w 258"/>
              <a:gd name="T41" fmla="*/ 210 h 330"/>
              <a:gd name="T42" fmla="*/ 234 w 258"/>
              <a:gd name="T43" fmla="*/ 216 h 330"/>
              <a:gd name="T44" fmla="*/ 234 w 258"/>
              <a:gd name="T45" fmla="*/ 222 h 330"/>
              <a:gd name="T46" fmla="*/ 228 w 258"/>
              <a:gd name="T47" fmla="*/ 228 h 330"/>
              <a:gd name="T48" fmla="*/ 222 w 258"/>
              <a:gd name="T49" fmla="*/ 234 h 330"/>
              <a:gd name="T50" fmla="*/ 222 w 258"/>
              <a:gd name="T51" fmla="*/ 246 h 330"/>
              <a:gd name="T52" fmla="*/ 228 w 258"/>
              <a:gd name="T53" fmla="*/ 240 h 330"/>
              <a:gd name="T54" fmla="*/ 234 w 258"/>
              <a:gd name="T55" fmla="*/ 246 h 330"/>
              <a:gd name="T56" fmla="*/ 240 w 258"/>
              <a:gd name="T57" fmla="*/ 258 h 330"/>
              <a:gd name="T58" fmla="*/ 240 w 258"/>
              <a:gd name="T59" fmla="*/ 270 h 330"/>
              <a:gd name="T60" fmla="*/ 246 w 258"/>
              <a:gd name="T61" fmla="*/ 282 h 330"/>
              <a:gd name="T62" fmla="*/ 246 w 258"/>
              <a:gd name="T63" fmla="*/ 300 h 330"/>
              <a:gd name="T64" fmla="*/ 240 w 258"/>
              <a:gd name="T65" fmla="*/ 318 h 330"/>
              <a:gd name="T66" fmla="*/ 216 w 258"/>
              <a:gd name="T67" fmla="*/ 330 h 330"/>
              <a:gd name="T68" fmla="*/ 204 w 258"/>
              <a:gd name="T69" fmla="*/ 318 h 330"/>
              <a:gd name="T70" fmla="*/ 186 w 258"/>
              <a:gd name="T71" fmla="*/ 312 h 330"/>
              <a:gd name="T72" fmla="*/ 174 w 258"/>
              <a:gd name="T73" fmla="*/ 294 h 330"/>
              <a:gd name="T74" fmla="*/ 174 w 258"/>
              <a:gd name="T75" fmla="*/ 288 h 330"/>
              <a:gd name="T76" fmla="*/ 156 w 258"/>
              <a:gd name="T77" fmla="*/ 288 h 330"/>
              <a:gd name="T78" fmla="*/ 138 w 258"/>
              <a:gd name="T79" fmla="*/ 288 h 330"/>
              <a:gd name="T80" fmla="*/ 132 w 258"/>
              <a:gd name="T81" fmla="*/ 288 h 330"/>
              <a:gd name="T82" fmla="*/ 126 w 258"/>
              <a:gd name="T83" fmla="*/ 282 h 330"/>
              <a:gd name="T84" fmla="*/ 120 w 258"/>
              <a:gd name="T85" fmla="*/ 276 h 330"/>
              <a:gd name="T86" fmla="*/ 120 w 258"/>
              <a:gd name="T87" fmla="*/ 270 h 330"/>
              <a:gd name="T88" fmla="*/ 114 w 258"/>
              <a:gd name="T89" fmla="*/ 270 h 330"/>
              <a:gd name="T90" fmla="*/ 108 w 258"/>
              <a:gd name="T91" fmla="*/ 270 h 330"/>
              <a:gd name="T92" fmla="*/ 102 w 258"/>
              <a:gd name="T93" fmla="*/ 270 h 330"/>
              <a:gd name="T94" fmla="*/ 102 w 258"/>
              <a:gd name="T95" fmla="*/ 264 h 330"/>
              <a:gd name="T96" fmla="*/ 96 w 258"/>
              <a:gd name="T97" fmla="*/ 264 h 330"/>
              <a:gd name="T98" fmla="*/ 90 w 258"/>
              <a:gd name="T99" fmla="*/ 258 h 330"/>
              <a:gd name="T100" fmla="*/ 90 w 258"/>
              <a:gd name="T101" fmla="*/ 252 h 330"/>
              <a:gd name="T102" fmla="*/ 84 w 258"/>
              <a:gd name="T103" fmla="*/ 246 h 330"/>
              <a:gd name="T104" fmla="*/ 84 w 258"/>
              <a:gd name="T105" fmla="*/ 240 h 330"/>
              <a:gd name="T106" fmla="*/ 84 w 258"/>
              <a:gd name="T107" fmla="*/ 234 h 330"/>
              <a:gd name="T108" fmla="*/ 84 w 258"/>
              <a:gd name="T109" fmla="*/ 228 h 330"/>
              <a:gd name="T110" fmla="*/ 78 w 258"/>
              <a:gd name="T111" fmla="*/ 228 h 330"/>
              <a:gd name="T112" fmla="*/ 48 w 258"/>
              <a:gd name="T113" fmla="*/ 234 h 330"/>
              <a:gd name="T114" fmla="*/ 42 w 258"/>
              <a:gd name="T115" fmla="*/ 240 h 330"/>
              <a:gd name="T116" fmla="*/ 30 w 258"/>
              <a:gd name="T117" fmla="*/ 234 h 330"/>
              <a:gd name="T118" fmla="*/ 30 w 258"/>
              <a:gd name="T119" fmla="*/ 222 h 330"/>
              <a:gd name="T120" fmla="*/ 12 w 258"/>
              <a:gd name="T121" fmla="*/ 210 h 330"/>
              <a:gd name="T122" fmla="*/ 6 w 258"/>
              <a:gd name="T123" fmla="*/ 192 h 3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58" h="330">
                <a:moveTo>
                  <a:pt x="6" y="138"/>
                </a:moveTo>
                <a:lnTo>
                  <a:pt x="6" y="138"/>
                </a:lnTo>
                <a:lnTo>
                  <a:pt x="6" y="138"/>
                </a:lnTo>
                <a:lnTo>
                  <a:pt x="6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2"/>
                </a:lnTo>
                <a:lnTo>
                  <a:pt x="60" y="120"/>
                </a:lnTo>
                <a:lnTo>
                  <a:pt x="60" y="126"/>
                </a:lnTo>
                <a:lnTo>
                  <a:pt x="60" y="120"/>
                </a:lnTo>
                <a:lnTo>
                  <a:pt x="60" y="126"/>
                </a:lnTo>
                <a:lnTo>
                  <a:pt x="66" y="120"/>
                </a:lnTo>
                <a:lnTo>
                  <a:pt x="66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90"/>
                </a:lnTo>
                <a:lnTo>
                  <a:pt x="72" y="90"/>
                </a:lnTo>
                <a:lnTo>
                  <a:pt x="84" y="90"/>
                </a:lnTo>
                <a:lnTo>
                  <a:pt x="144" y="90"/>
                </a:lnTo>
                <a:lnTo>
                  <a:pt x="144" y="114"/>
                </a:lnTo>
                <a:lnTo>
                  <a:pt x="144" y="114"/>
                </a:lnTo>
                <a:lnTo>
                  <a:pt x="144" y="114"/>
                </a:lnTo>
                <a:lnTo>
                  <a:pt x="150" y="114"/>
                </a:lnTo>
                <a:lnTo>
                  <a:pt x="150" y="108"/>
                </a:lnTo>
                <a:lnTo>
                  <a:pt x="150" y="114"/>
                </a:lnTo>
                <a:lnTo>
                  <a:pt x="150" y="108"/>
                </a:lnTo>
                <a:lnTo>
                  <a:pt x="150" y="108"/>
                </a:lnTo>
                <a:lnTo>
                  <a:pt x="156" y="108"/>
                </a:lnTo>
                <a:lnTo>
                  <a:pt x="156" y="102"/>
                </a:lnTo>
                <a:lnTo>
                  <a:pt x="156" y="102"/>
                </a:lnTo>
                <a:lnTo>
                  <a:pt x="156" y="102"/>
                </a:lnTo>
                <a:lnTo>
                  <a:pt x="156" y="102"/>
                </a:lnTo>
                <a:lnTo>
                  <a:pt x="162" y="102"/>
                </a:lnTo>
                <a:lnTo>
                  <a:pt x="162" y="102"/>
                </a:lnTo>
                <a:lnTo>
                  <a:pt x="162" y="96"/>
                </a:lnTo>
                <a:lnTo>
                  <a:pt x="162" y="96"/>
                </a:lnTo>
                <a:lnTo>
                  <a:pt x="162" y="96"/>
                </a:lnTo>
                <a:lnTo>
                  <a:pt x="162" y="96"/>
                </a:lnTo>
                <a:lnTo>
                  <a:pt x="162" y="90"/>
                </a:lnTo>
                <a:lnTo>
                  <a:pt x="168" y="90"/>
                </a:lnTo>
                <a:lnTo>
                  <a:pt x="168" y="90"/>
                </a:lnTo>
                <a:lnTo>
                  <a:pt x="168" y="84"/>
                </a:lnTo>
                <a:lnTo>
                  <a:pt x="168" y="84"/>
                </a:lnTo>
                <a:lnTo>
                  <a:pt x="168" y="84"/>
                </a:lnTo>
                <a:lnTo>
                  <a:pt x="168" y="84"/>
                </a:lnTo>
                <a:lnTo>
                  <a:pt x="168" y="84"/>
                </a:lnTo>
                <a:lnTo>
                  <a:pt x="168" y="84"/>
                </a:lnTo>
                <a:lnTo>
                  <a:pt x="168" y="84"/>
                </a:lnTo>
                <a:lnTo>
                  <a:pt x="168" y="84"/>
                </a:lnTo>
                <a:lnTo>
                  <a:pt x="168" y="78"/>
                </a:lnTo>
                <a:lnTo>
                  <a:pt x="168" y="78"/>
                </a:lnTo>
                <a:lnTo>
                  <a:pt x="168" y="78"/>
                </a:lnTo>
                <a:lnTo>
                  <a:pt x="168" y="78"/>
                </a:lnTo>
                <a:lnTo>
                  <a:pt x="174" y="78"/>
                </a:lnTo>
                <a:lnTo>
                  <a:pt x="174" y="78"/>
                </a:lnTo>
                <a:lnTo>
                  <a:pt x="174" y="72"/>
                </a:lnTo>
                <a:lnTo>
                  <a:pt x="174" y="72"/>
                </a:lnTo>
                <a:lnTo>
                  <a:pt x="174" y="72"/>
                </a:lnTo>
                <a:lnTo>
                  <a:pt x="174" y="72"/>
                </a:lnTo>
                <a:lnTo>
                  <a:pt x="174" y="66"/>
                </a:lnTo>
                <a:lnTo>
                  <a:pt x="180" y="66"/>
                </a:lnTo>
                <a:lnTo>
                  <a:pt x="180" y="66"/>
                </a:lnTo>
                <a:lnTo>
                  <a:pt x="180" y="66"/>
                </a:lnTo>
                <a:lnTo>
                  <a:pt x="186" y="60"/>
                </a:lnTo>
                <a:lnTo>
                  <a:pt x="186" y="60"/>
                </a:lnTo>
                <a:lnTo>
                  <a:pt x="186" y="60"/>
                </a:lnTo>
                <a:lnTo>
                  <a:pt x="192" y="54"/>
                </a:lnTo>
                <a:lnTo>
                  <a:pt x="192" y="54"/>
                </a:lnTo>
                <a:lnTo>
                  <a:pt x="192" y="54"/>
                </a:lnTo>
                <a:lnTo>
                  <a:pt x="192" y="54"/>
                </a:lnTo>
                <a:lnTo>
                  <a:pt x="192" y="54"/>
                </a:lnTo>
                <a:lnTo>
                  <a:pt x="198" y="54"/>
                </a:lnTo>
                <a:lnTo>
                  <a:pt x="198" y="48"/>
                </a:lnTo>
                <a:lnTo>
                  <a:pt x="198" y="48"/>
                </a:lnTo>
                <a:lnTo>
                  <a:pt x="216" y="0"/>
                </a:lnTo>
                <a:lnTo>
                  <a:pt x="210" y="84"/>
                </a:lnTo>
                <a:lnTo>
                  <a:pt x="210" y="84"/>
                </a:lnTo>
                <a:lnTo>
                  <a:pt x="210" y="84"/>
                </a:lnTo>
                <a:lnTo>
                  <a:pt x="210" y="84"/>
                </a:lnTo>
                <a:lnTo>
                  <a:pt x="210" y="90"/>
                </a:lnTo>
                <a:lnTo>
                  <a:pt x="210" y="90"/>
                </a:lnTo>
                <a:lnTo>
                  <a:pt x="210" y="90"/>
                </a:lnTo>
                <a:lnTo>
                  <a:pt x="216" y="90"/>
                </a:lnTo>
                <a:lnTo>
                  <a:pt x="216" y="90"/>
                </a:lnTo>
                <a:lnTo>
                  <a:pt x="216" y="90"/>
                </a:lnTo>
                <a:lnTo>
                  <a:pt x="216" y="90"/>
                </a:lnTo>
                <a:lnTo>
                  <a:pt x="222" y="90"/>
                </a:lnTo>
                <a:lnTo>
                  <a:pt x="222" y="90"/>
                </a:lnTo>
                <a:lnTo>
                  <a:pt x="222" y="90"/>
                </a:lnTo>
                <a:lnTo>
                  <a:pt x="222" y="90"/>
                </a:lnTo>
                <a:lnTo>
                  <a:pt x="222" y="90"/>
                </a:lnTo>
                <a:lnTo>
                  <a:pt x="228" y="84"/>
                </a:lnTo>
                <a:lnTo>
                  <a:pt x="228" y="84"/>
                </a:lnTo>
                <a:lnTo>
                  <a:pt x="228" y="90"/>
                </a:lnTo>
                <a:lnTo>
                  <a:pt x="228" y="90"/>
                </a:lnTo>
                <a:lnTo>
                  <a:pt x="228" y="90"/>
                </a:lnTo>
                <a:lnTo>
                  <a:pt x="234" y="90"/>
                </a:lnTo>
                <a:lnTo>
                  <a:pt x="234" y="90"/>
                </a:lnTo>
                <a:lnTo>
                  <a:pt x="240" y="90"/>
                </a:lnTo>
                <a:lnTo>
                  <a:pt x="240" y="90"/>
                </a:lnTo>
                <a:lnTo>
                  <a:pt x="240" y="90"/>
                </a:lnTo>
                <a:lnTo>
                  <a:pt x="240" y="96"/>
                </a:lnTo>
                <a:lnTo>
                  <a:pt x="246" y="96"/>
                </a:lnTo>
                <a:lnTo>
                  <a:pt x="246" y="96"/>
                </a:lnTo>
                <a:lnTo>
                  <a:pt x="246" y="96"/>
                </a:lnTo>
                <a:lnTo>
                  <a:pt x="246" y="96"/>
                </a:lnTo>
                <a:lnTo>
                  <a:pt x="246" y="96"/>
                </a:lnTo>
                <a:lnTo>
                  <a:pt x="246" y="102"/>
                </a:lnTo>
                <a:lnTo>
                  <a:pt x="252" y="102"/>
                </a:lnTo>
                <a:lnTo>
                  <a:pt x="252" y="102"/>
                </a:lnTo>
                <a:lnTo>
                  <a:pt x="252" y="102"/>
                </a:lnTo>
                <a:lnTo>
                  <a:pt x="252" y="102"/>
                </a:lnTo>
                <a:lnTo>
                  <a:pt x="252" y="96"/>
                </a:lnTo>
                <a:lnTo>
                  <a:pt x="252" y="96"/>
                </a:lnTo>
                <a:lnTo>
                  <a:pt x="252" y="96"/>
                </a:lnTo>
                <a:lnTo>
                  <a:pt x="252" y="102"/>
                </a:lnTo>
                <a:lnTo>
                  <a:pt x="252" y="96"/>
                </a:lnTo>
                <a:lnTo>
                  <a:pt x="252" y="102"/>
                </a:lnTo>
                <a:lnTo>
                  <a:pt x="252" y="102"/>
                </a:lnTo>
                <a:lnTo>
                  <a:pt x="252" y="102"/>
                </a:lnTo>
                <a:lnTo>
                  <a:pt x="252" y="102"/>
                </a:lnTo>
                <a:lnTo>
                  <a:pt x="246" y="108"/>
                </a:lnTo>
                <a:lnTo>
                  <a:pt x="246" y="108"/>
                </a:lnTo>
                <a:lnTo>
                  <a:pt x="246" y="108"/>
                </a:lnTo>
                <a:lnTo>
                  <a:pt x="240" y="108"/>
                </a:lnTo>
                <a:lnTo>
                  <a:pt x="240" y="114"/>
                </a:lnTo>
                <a:lnTo>
                  <a:pt x="240" y="114"/>
                </a:lnTo>
                <a:lnTo>
                  <a:pt x="240" y="114"/>
                </a:lnTo>
                <a:lnTo>
                  <a:pt x="240" y="120"/>
                </a:lnTo>
                <a:lnTo>
                  <a:pt x="240" y="120"/>
                </a:lnTo>
                <a:lnTo>
                  <a:pt x="240" y="120"/>
                </a:lnTo>
                <a:lnTo>
                  <a:pt x="240" y="126"/>
                </a:lnTo>
                <a:lnTo>
                  <a:pt x="234" y="126"/>
                </a:lnTo>
                <a:lnTo>
                  <a:pt x="234" y="132"/>
                </a:lnTo>
                <a:lnTo>
                  <a:pt x="228" y="132"/>
                </a:lnTo>
                <a:lnTo>
                  <a:pt x="228" y="138"/>
                </a:lnTo>
                <a:lnTo>
                  <a:pt x="228" y="138"/>
                </a:lnTo>
                <a:lnTo>
                  <a:pt x="228" y="144"/>
                </a:lnTo>
                <a:lnTo>
                  <a:pt x="228" y="144"/>
                </a:lnTo>
                <a:lnTo>
                  <a:pt x="228" y="150"/>
                </a:lnTo>
                <a:lnTo>
                  <a:pt x="222" y="150"/>
                </a:lnTo>
                <a:lnTo>
                  <a:pt x="222" y="150"/>
                </a:lnTo>
                <a:lnTo>
                  <a:pt x="222" y="150"/>
                </a:lnTo>
                <a:lnTo>
                  <a:pt x="222" y="156"/>
                </a:lnTo>
                <a:lnTo>
                  <a:pt x="222" y="156"/>
                </a:lnTo>
                <a:lnTo>
                  <a:pt x="222" y="156"/>
                </a:lnTo>
                <a:lnTo>
                  <a:pt x="222" y="156"/>
                </a:lnTo>
                <a:lnTo>
                  <a:pt x="216" y="156"/>
                </a:lnTo>
                <a:lnTo>
                  <a:pt x="216" y="156"/>
                </a:lnTo>
                <a:lnTo>
                  <a:pt x="216" y="156"/>
                </a:lnTo>
                <a:lnTo>
                  <a:pt x="216" y="162"/>
                </a:lnTo>
                <a:lnTo>
                  <a:pt x="216" y="162"/>
                </a:lnTo>
                <a:lnTo>
                  <a:pt x="216" y="162"/>
                </a:lnTo>
                <a:lnTo>
                  <a:pt x="216" y="162"/>
                </a:lnTo>
                <a:lnTo>
                  <a:pt x="216" y="168"/>
                </a:lnTo>
                <a:lnTo>
                  <a:pt x="216" y="168"/>
                </a:lnTo>
                <a:lnTo>
                  <a:pt x="222" y="168"/>
                </a:lnTo>
                <a:lnTo>
                  <a:pt x="222" y="168"/>
                </a:lnTo>
                <a:lnTo>
                  <a:pt x="222" y="174"/>
                </a:lnTo>
                <a:lnTo>
                  <a:pt x="228" y="174"/>
                </a:lnTo>
                <a:lnTo>
                  <a:pt x="228" y="180"/>
                </a:lnTo>
                <a:lnTo>
                  <a:pt x="228" y="180"/>
                </a:lnTo>
                <a:lnTo>
                  <a:pt x="228" y="180"/>
                </a:lnTo>
                <a:lnTo>
                  <a:pt x="228" y="180"/>
                </a:lnTo>
                <a:lnTo>
                  <a:pt x="228" y="180"/>
                </a:lnTo>
                <a:lnTo>
                  <a:pt x="228" y="180"/>
                </a:lnTo>
                <a:lnTo>
                  <a:pt x="228" y="186"/>
                </a:lnTo>
                <a:lnTo>
                  <a:pt x="228" y="186"/>
                </a:lnTo>
                <a:lnTo>
                  <a:pt x="228" y="186"/>
                </a:lnTo>
                <a:lnTo>
                  <a:pt x="234" y="186"/>
                </a:lnTo>
                <a:lnTo>
                  <a:pt x="234" y="186"/>
                </a:lnTo>
                <a:lnTo>
                  <a:pt x="234" y="186"/>
                </a:lnTo>
                <a:lnTo>
                  <a:pt x="234" y="186"/>
                </a:lnTo>
                <a:lnTo>
                  <a:pt x="240" y="186"/>
                </a:lnTo>
                <a:lnTo>
                  <a:pt x="240" y="186"/>
                </a:lnTo>
                <a:lnTo>
                  <a:pt x="240" y="186"/>
                </a:lnTo>
                <a:lnTo>
                  <a:pt x="240" y="186"/>
                </a:lnTo>
                <a:lnTo>
                  <a:pt x="240" y="186"/>
                </a:lnTo>
                <a:lnTo>
                  <a:pt x="246" y="186"/>
                </a:lnTo>
                <a:lnTo>
                  <a:pt x="246" y="186"/>
                </a:lnTo>
                <a:lnTo>
                  <a:pt x="246" y="186"/>
                </a:lnTo>
                <a:lnTo>
                  <a:pt x="246" y="180"/>
                </a:lnTo>
                <a:lnTo>
                  <a:pt x="246" y="180"/>
                </a:lnTo>
                <a:lnTo>
                  <a:pt x="246" y="180"/>
                </a:lnTo>
                <a:lnTo>
                  <a:pt x="252" y="180"/>
                </a:lnTo>
                <a:lnTo>
                  <a:pt x="252" y="186"/>
                </a:lnTo>
                <a:lnTo>
                  <a:pt x="258" y="192"/>
                </a:lnTo>
                <a:lnTo>
                  <a:pt x="258" y="192"/>
                </a:lnTo>
                <a:lnTo>
                  <a:pt x="258" y="192"/>
                </a:lnTo>
                <a:lnTo>
                  <a:pt x="258" y="198"/>
                </a:lnTo>
                <a:lnTo>
                  <a:pt x="258" y="198"/>
                </a:lnTo>
                <a:lnTo>
                  <a:pt x="258" y="204"/>
                </a:lnTo>
                <a:lnTo>
                  <a:pt x="258" y="204"/>
                </a:lnTo>
                <a:lnTo>
                  <a:pt x="258" y="204"/>
                </a:lnTo>
                <a:lnTo>
                  <a:pt x="258" y="204"/>
                </a:lnTo>
                <a:lnTo>
                  <a:pt x="258" y="204"/>
                </a:lnTo>
                <a:lnTo>
                  <a:pt x="258" y="204"/>
                </a:lnTo>
                <a:lnTo>
                  <a:pt x="258" y="204"/>
                </a:lnTo>
                <a:lnTo>
                  <a:pt x="252" y="204"/>
                </a:lnTo>
                <a:lnTo>
                  <a:pt x="252" y="204"/>
                </a:lnTo>
                <a:lnTo>
                  <a:pt x="252" y="204"/>
                </a:lnTo>
                <a:lnTo>
                  <a:pt x="252" y="204"/>
                </a:lnTo>
                <a:lnTo>
                  <a:pt x="252" y="204"/>
                </a:lnTo>
                <a:lnTo>
                  <a:pt x="252" y="204"/>
                </a:lnTo>
                <a:lnTo>
                  <a:pt x="246" y="204"/>
                </a:lnTo>
                <a:lnTo>
                  <a:pt x="246" y="210"/>
                </a:lnTo>
                <a:lnTo>
                  <a:pt x="246" y="210"/>
                </a:lnTo>
                <a:lnTo>
                  <a:pt x="240" y="210"/>
                </a:lnTo>
                <a:lnTo>
                  <a:pt x="240" y="210"/>
                </a:lnTo>
                <a:lnTo>
                  <a:pt x="240" y="210"/>
                </a:lnTo>
                <a:lnTo>
                  <a:pt x="240" y="210"/>
                </a:lnTo>
                <a:lnTo>
                  <a:pt x="240" y="210"/>
                </a:lnTo>
                <a:lnTo>
                  <a:pt x="240" y="210"/>
                </a:lnTo>
                <a:lnTo>
                  <a:pt x="240" y="210"/>
                </a:lnTo>
                <a:lnTo>
                  <a:pt x="240" y="216"/>
                </a:lnTo>
                <a:lnTo>
                  <a:pt x="234" y="216"/>
                </a:lnTo>
                <a:lnTo>
                  <a:pt x="234" y="216"/>
                </a:lnTo>
                <a:lnTo>
                  <a:pt x="234" y="216"/>
                </a:lnTo>
                <a:lnTo>
                  <a:pt x="234" y="216"/>
                </a:lnTo>
                <a:lnTo>
                  <a:pt x="234" y="216"/>
                </a:lnTo>
                <a:lnTo>
                  <a:pt x="234" y="216"/>
                </a:lnTo>
                <a:lnTo>
                  <a:pt x="234" y="216"/>
                </a:lnTo>
                <a:lnTo>
                  <a:pt x="234" y="216"/>
                </a:lnTo>
                <a:lnTo>
                  <a:pt x="234" y="222"/>
                </a:lnTo>
                <a:lnTo>
                  <a:pt x="234" y="222"/>
                </a:lnTo>
                <a:lnTo>
                  <a:pt x="234" y="222"/>
                </a:lnTo>
                <a:lnTo>
                  <a:pt x="234" y="222"/>
                </a:lnTo>
                <a:lnTo>
                  <a:pt x="234" y="222"/>
                </a:lnTo>
                <a:lnTo>
                  <a:pt x="234" y="228"/>
                </a:lnTo>
                <a:lnTo>
                  <a:pt x="234" y="228"/>
                </a:lnTo>
                <a:lnTo>
                  <a:pt x="234" y="228"/>
                </a:lnTo>
                <a:lnTo>
                  <a:pt x="234" y="228"/>
                </a:lnTo>
                <a:lnTo>
                  <a:pt x="234" y="228"/>
                </a:lnTo>
                <a:lnTo>
                  <a:pt x="234" y="228"/>
                </a:lnTo>
                <a:lnTo>
                  <a:pt x="234" y="228"/>
                </a:lnTo>
                <a:lnTo>
                  <a:pt x="228" y="228"/>
                </a:lnTo>
                <a:lnTo>
                  <a:pt x="228" y="228"/>
                </a:lnTo>
                <a:lnTo>
                  <a:pt x="228" y="228"/>
                </a:lnTo>
                <a:lnTo>
                  <a:pt x="228" y="228"/>
                </a:lnTo>
                <a:lnTo>
                  <a:pt x="228" y="228"/>
                </a:lnTo>
                <a:lnTo>
                  <a:pt x="222" y="228"/>
                </a:lnTo>
                <a:lnTo>
                  <a:pt x="222" y="228"/>
                </a:lnTo>
                <a:lnTo>
                  <a:pt x="222" y="228"/>
                </a:lnTo>
                <a:lnTo>
                  <a:pt x="222" y="234"/>
                </a:lnTo>
                <a:lnTo>
                  <a:pt x="222" y="234"/>
                </a:lnTo>
                <a:lnTo>
                  <a:pt x="222" y="234"/>
                </a:lnTo>
                <a:lnTo>
                  <a:pt x="222" y="234"/>
                </a:lnTo>
                <a:lnTo>
                  <a:pt x="222" y="234"/>
                </a:lnTo>
                <a:lnTo>
                  <a:pt x="222" y="234"/>
                </a:lnTo>
                <a:lnTo>
                  <a:pt x="222" y="234"/>
                </a:lnTo>
                <a:lnTo>
                  <a:pt x="222" y="240"/>
                </a:lnTo>
                <a:lnTo>
                  <a:pt x="222" y="240"/>
                </a:lnTo>
                <a:lnTo>
                  <a:pt x="216" y="240"/>
                </a:lnTo>
                <a:lnTo>
                  <a:pt x="216" y="240"/>
                </a:lnTo>
                <a:lnTo>
                  <a:pt x="216" y="240"/>
                </a:lnTo>
                <a:lnTo>
                  <a:pt x="216" y="240"/>
                </a:lnTo>
                <a:lnTo>
                  <a:pt x="216" y="246"/>
                </a:lnTo>
                <a:lnTo>
                  <a:pt x="216" y="246"/>
                </a:lnTo>
                <a:lnTo>
                  <a:pt x="222" y="246"/>
                </a:lnTo>
                <a:lnTo>
                  <a:pt x="222" y="246"/>
                </a:lnTo>
                <a:lnTo>
                  <a:pt x="222" y="246"/>
                </a:lnTo>
                <a:lnTo>
                  <a:pt x="222" y="246"/>
                </a:lnTo>
                <a:lnTo>
                  <a:pt x="222" y="240"/>
                </a:lnTo>
                <a:lnTo>
                  <a:pt x="222" y="240"/>
                </a:lnTo>
                <a:lnTo>
                  <a:pt x="222" y="240"/>
                </a:lnTo>
                <a:lnTo>
                  <a:pt x="222" y="240"/>
                </a:lnTo>
                <a:lnTo>
                  <a:pt x="222" y="240"/>
                </a:lnTo>
                <a:lnTo>
                  <a:pt x="222" y="240"/>
                </a:lnTo>
                <a:lnTo>
                  <a:pt x="228" y="240"/>
                </a:lnTo>
                <a:lnTo>
                  <a:pt x="228" y="240"/>
                </a:lnTo>
                <a:lnTo>
                  <a:pt x="228" y="240"/>
                </a:lnTo>
                <a:lnTo>
                  <a:pt x="228" y="240"/>
                </a:lnTo>
                <a:lnTo>
                  <a:pt x="228" y="246"/>
                </a:lnTo>
                <a:lnTo>
                  <a:pt x="234" y="246"/>
                </a:lnTo>
                <a:lnTo>
                  <a:pt x="234" y="246"/>
                </a:lnTo>
                <a:lnTo>
                  <a:pt x="234" y="246"/>
                </a:lnTo>
                <a:lnTo>
                  <a:pt x="234" y="246"/>
                </a:lnTo>
                <a:lnTo>
                  <a:pt x="234" y="246"/>
                </a:lnTo>
                <a:lnTo>
                  <a:pt x="234" y="246"/>
                </a:lnTo>
                <a:lnTo>
                  <a:pt x="234" y="246"/>
                </a:lnTo>
                <a:lnTo>
                  <a:pt x="234" y="252"/>
                </a:lnTo>
                <a:lnTo>
                  <a:pt x="234" y="246"/>
                </a:lnTo>
                <a:lnTo>
                  <a:pt x="234" y="246"/>
                </a:lnTo>
                <a:lnTo>
                  <a:pt x="234" y="252"/>
                </a:lnTo>
                <a:lnTo>
                  <a:pt x="234" y="252"/>
                </a:lnTo>
                <a:lnTo>
                  <a:pt x="234" y="252"/>
                </a:lnTo>
                <a:lnTo>
                  <a:pt x="234" y="252"/>
                </a:lnTo>
                <a:lnTo>
                  <a:pt x="234" y="252"/>
                </a:lnTo>
                <a:lnTo>
                  <a:pt x="240" y="252"/>
                </a:lnTo>
                <a:lnTo>
                  <a:pt x="234" y="252"/>
                </a:lnTo>
                <a:lnTo>
                  <a:pt x="240" y="258"/>
                </a:lnTo>
                <a:lnTo>
                  <a:pt x="240" y="258"/>
                </a:lnTo>
                <a:lnTo>
                  <a:pt x="240" y="258"/>
                </a:lnTo>
                <a:lnTo>
                  <a:pt x="240" y="258"/>
                </a:lnTo>
                <a:lnTo>
                  <a:pt x="240" y="258"/>
                </a:lnTo>
                <a:lnTo>
                  <a:pt x="240" y="264"/>
                </a:lnTo>
                <a:lnTo>
                  <a:pt x="240" y="264"/>
                </a:lnTo>
                <a:lnTo>
                  <a:pt x="240" y="264"/>
                </a:lnTo>
                <a:lnTo>
                  <a:pt x="240" y="264"/>
                </a:lnTo>
                <a:lnTo>
                  <a:pt x="240" y="264"/>
                </a:lnTo>
                <a:lnTo>
                  <a:pt x="240" y="264"/>
                </a:lnTo>
                <a:lnTo>
                  <a:pt x="240" y="264"/>
                </a:lnTo>
                <a:lnTo>
                  <a:pt x="240" y="270"/>
                </a:lnTo>
                <a:lnTo>
                  <a:pt x="240" y="270"/>
                </a:lnTo>
                <a:lnTo>
                  <a:pt x="240" y="270"/>
                </a:lnTo>
                <a:lnTo>
                  <a:pt x="240" y="270"/>
                </a:lnTo>
                <a:lnTo>
                  <a:pt x="240" y="276"/>
                </a:lnTo>
                <a:lnTo>
                  <a:pt x="240" y="276"/>
                </a:lnTo>
                <a:lnTo>
                  <a:pt x="240" y="276"/>
                </a:lnTo>
                <a:lnTo>
                  <a:pt x="240" y="276"/>
                </a:lnTo>
                <a:lnTo>
                  <a:pt x="240" y="276"/>
                </a:lnTo>
                <a:lnTo>
                  <a:pt x="240" y="282"/>
                </a:lnTo>
                <a:lnTo>
                  <a:pt x="240" y="282"/>
                </a:lnTo>
                <a:lnTo>
                  <a:pt x="246" y="282"/>
                </a:lnTo>
                <a:lnTo>
                  <a:pt x="246" y="282"/>
                </a:lnTo>
                <a:lnTo>
                  <a:pt x="246" y="282"/>
                </a:lnTo>
                <a:lnTo>
                  <a:pt x="246" y="282"/>
                </a:lnTo>
                <a:lnTo>
                  <a:pt x="246" y="288"/>
                </a:lnTo>
                <a:lnTo>
                  <a:pt x="246" y="288"/>
                </a:lnTo>
                <a:lnTo>
                  <a:pt x="246" y="288"/>
                </a:lnTo>
                <a:lnTo>
                  <a:pt x="246" y="294"/>
                </a:lnTo>
                <a:lnTo>
                  <a:pt x="246" y="294"/>
                </a:lnTo>
                <a:lnTo>
                  <a:pt x="246" y="294"/>
                </a:lnTo>
                <a:lnTo>
                  <a:pt x="246" y="294"/>
                </a:lnTo>
                <a:lnTo>
                  <a:pt x="246" y="294"/>
                </a:lnTo>
                <a:lnTo>
                  <a:pt x="246" y="300"/>
                </a:lnTo>
                <a:lnTo>
                  <a:pt x="246" y="300"/>
                </a:lnTo>
                <a:lnTo>
                  <a:pt x="240" y="300"/>
                </a:lnTo>
                <a:lnTo>
                  <a:pt x="240" y="300"/>
                </a:lnTo>
                <a:lnTo>
                  <a:pt x="240" y="306"/>
                </a:lnTo>
                <a:lnTo>
                  <a:pt x="240" y="306"/>
                </a:lnTo>
                <a:lnTo>
                  <a:pt x="240" y="312"/>
                </a:lnTo>
                <a:lnTo>
                  <a:pt x="240" y="312"/>
                </a:lnTo>
                <a:lnTo>
                  <a:pt x="240" y="312"/>
                </a:lnTo>
                <a:lnTo>
                  <a:pt x="246" y="318"/>
                </a:lnTo>
                <a:lnTo>
                  <a:pt x="246" y="318"/>
                </a:lnTo>
                <a:lnTo>
                  <a:pt x="240" y="318"/>
                </a:lnTo>
                <a:lnTo>
                  <a:pt x="240" y="318"/>
                </a:lnTo>
                <a:lnTo>
                  <a:pt x="240" y="318"/>
                </a:lnTo>
                <a:lnTo>
                  <a:pt x="234" y="318"/>
                </a:lnTo>
                <a:lnTo>
                  <a:pt x="234" y="318"/>
                </a:lnTo>
                <a:lnTo>
                  <a:pt x="234" y="318"/>
                </a:lnTo>
                <a:lnTo>
                  <a:pt x="234" y="318"/>
                </a:lnTo>
                <a:lnTo>
                  <a:pt x="228" y="318"/>
                </a:lnTo>
                <a:lnTo>
                  <a:pt x="228" y="324"/>
                </a:lnTo>
                <a:lnTo>
                  <a:pt x="228" y="324"/>
                </a:lnTo>
                <a:lnTo>
                  <a:pt x="222" y="324"/>
                </a:lnTo>
                <a:lnTo>
                  <a:pt x="222" y="324"/>
                </a:lnTo>
                <a:lnTo>
                  <a:pt x="216" y="330"/>
                </a:lnTo>
                <a:lnTo>
                  <a:pt x="216" y="330"/>
                </a:lnTo>
                <a:lnTo>
                  <a:pt x="216" y="330"/>
                </a:lnTo>
                <a:lnTo>
                  <a:pt x="210" y="330"/>
                </a:lnTo>
                <a:lnTo>
                  <a:pt x="210" y="330"/>
                </a:lnTo>
                <a:lnTo>
                  <a:pt x="210" y="324"/>
                </a:lnTo>
                <a:lnTo>
                  <a:pt x="210" y="324"/>
                </a:lnTo>
                <a:lnTo>
                  <a:pt x="210" y="324"/>
                </a:lnTo>
                <a:lnTo>
                  <a:pt x="210" y="324"/>
                </a:lnTo>
                <a:lnTo>
                  <a:pt x="204" y="324"/>
                </a:lnTo>
                <a:lnTo>
                  <a:pt x="204" y="318"/>
                </a:lnTo>
                <a:lnTo>
                  <a:pt x="204" y="318"/>
                </a:lnTo>
                <a:lnTo>
                  <a:pt x="198" y="318"/>
                </a:lnTo>
                <a:lnTo>
                  <a:pt x="192" y="318"/>
                </a:lnTo>
                <a:lnTo>
                  <a:pt x="192" y="318"/>
                </a:lnTo>
                <a:lnTo>
                  <a:pt x="192" y="318"/>
                </a:lnTo>
                <a:lnTo>
                  <a:pt x="192" y="318"/>
                </a:lnTo>
                <a:lnTo>
                  <a:pt x="192" y="318"/>
                </a:lnTo>
                <a:lnTo>
                  <a:pt x="192" y="318"/>
                </a:lnTo>
                <a:lnTo>
                  <a:pt x="192" y="318"/>
                </a:lnTo>
                <a:lnTo>
                  <a:pt x="192" y="312"/>
                </a:lnTo>
                <a:lnTo>
                  <a:pt x="192" y="312"/>
                </a:lnTo>
                <a:lnTo>
                  <a:pt x="186" y="312"/>
                </a:lnTo>
                <a:lnTo>
                  <a:pt x="186" y="312"/>
                </a:lnTo>
                <a:lnTo>
                  <a:pt x="186" y="306"/>
                </a:lnTo>
                <a:lnTo>
                  <a:pt x="180" y="306"/>
                </a:lnTo>
                <a:lnTo>
                  <a:pt x="180" y="306"/>
                </a:lnTo>
                <a:lnTo>
                  <a:pt x="180" y="306"/>
                </a:lnTo>
                <a:lnTo>
                  <a:pt x="180" y="306"/>
                </a:lnTo>
                <a:lnTo>
                  <a:pt x="180" y="306"/>
                </a:lnTo>
                <a:lnTo>
                  <a:pt x="180" y="300"/>
                </a:lnTo>
                <a:lnTo>
                  <a:pt x="180" y="300"/>
                </a:lnTo>
                <a:lnTo>
                  <a:pt x="174" y="294"/>
                </a:lnTo>
                <a:lnTo>
                  <a:pt x="174" y="294"/>
                </a:lnTo>
                <a:lnTo>
                  <a:pt x="174" y="294"/>
                </a:lnTo>
                <a:lnTo>
                  <a:pt x="174" y="294"/>
                </a:lnTo>
                <a:lnTo>
                  <a:pt x="174" y="294"/>
                </a:lnTo>
                <a:lnTo>
                  <a:pt x="174" y="294"/>
                </a:lnTo>
                <a:lnTo>
                  <a:pt x="174" y="294"/>
                </a:lnTo>
                <a:lnTo>
                  <a:pt x="174" y="294"/>
                </a:lnTo>
                <a:lnTo>
                  <a:pt x="174" y="288"/>
                </a:lnTo>
                <a:lnTo>
                  <a:pt x="174" y="288"/>
                </a:lnTo>
                <a:lnTo>
                  <a:pt x="174" y="288"/>
                </a:lnTo>
                <a:lnTo>
                  <a:pt x="174" y="288"/>
                </a:lnTo>
                <a:lnTo>
                  <a:pt x="174" y="288"/>
                </a:lnTo>
                <a:lnTo>
                  <a:pt x="168" y="288"/>
                </a:lnTo>
                <a:lnTo>
                  <a:pt x="168" y="282"/>
                </a:lnTo>
                <a:lnTo>
                  <a:pt x="168" y="282"/>
                </a:lnTo>
                <a:lnTo>
                  <a:pt x="168" y="288"/>
                </a:lnTo>
                <a:lnTo>
                  <a:pt x="168" y="288"/>
                </a:lnTo>
                <a:lnTo>
                  <a:pt x="168" y="288"/>
                </a:lnTo>
                <a:lnTo>
                  <a:pt x="168" y="288"/>
                </a:lnTo>
                <a:lnTo>
                  <a:pt x="168" y="282"/>
                </a:lnTo>
                <a:lnTo>
                  <a:pt x="156" y="282"/>
                </a:lnTo>
                <a:lnTo>
                  <a:pt x="156" y="288"/>
                </a:lnTo>
                <a:lnTo>
                  <a:pt x="156" y="288"/>
                </a:lnTo>
                <a:lnTo>
                  <a:pt x="156" y="288"/>
                </a:lnTo>
                <a:lnTo>
                  <a:pt x="156" y="288"/>
                </a:lnTo>
                <a:lnTo>
                  <a:pt x="156" y="288"/>
                </a:lnTo>
                <a:lnTo>
                  <a:pt x="150" y="294"/>
                </a:lnTo>
                <a:lnTo>
                  <a:pt x="150" y="288"/>
                </a:lnTo>
                <a:lnTo>
                  <a:pt x="144" y="294"/>
                </a:lnTo>
                <a:lnTo>
                  <a:pt x="144" y="294"/>
                </a:lnTo>
                <a:lnTo>
                  <a:pt x="144" y="294"/>
                </a:lnTo>
                <a:lnTo>
                  <a:pt x="144" y="294"/>
                </a:lnTo>
                <a:lnTo>
                  <a:pt x="138" y="294"/>
                </a:lnTo>
                <a:lnTo>
                  <a:pt x="138" y="288"/>
                </a:lnTo>
                <a:lnTo>
                  <a:pt x="138" y="288"/>
                </a:lnTo>
                <a:lnTo>
                  <a:pt x="138" y="288"/>
                </a:lnTo>
                <a:lnTo>
                  <a:pt x="138" y="288"/>
                </a:lnTo>
                <a:lnTo>
                  <a:pt x="138" y="288"/>
                </a:lnTo>
                <a:lnTo>
                  <a:pt x="138" y="288"/>
                </a:lnTo>
                <a:lnTo>
                  <a:pt x="138" y="288"/>
                </a:lnTo>
                <a:lnTo>
                  <a:pt x="132" y="288"/>
                </a:lnTo>
                <a:lnTo>
                  <a:pt x="132" y="288"/>
                </a:lnTo>
                <a:lnTo>
                  <a:pt x="132" y="288"/>
                </a:lnTo>
                <a:lnTo>
                  <a:pt x="132" y="288"/>
                </a:lnTo>
                <a:lnTo>
                  <a:pt x="132" y="288"/>
                </a:lnTo>
                <a:lnTo>
                  <a:pt x="132" y="288"/>
                </a:lnTo>
                <a:lnTo>
                  <a:pt x="132" y="288"/>
                </a:lnTo>
                <a:lnTo>
                  <a:pt x="132" y="288"/>
                </a:lnTo>
                <a:lnTo>
                  <a:pt x="132" y="288"/>
                </a:lnTo>
                <a:lnTo>
                  <a:pt x="126" y="288"/>
                </a:lnTo>
                <a:lnTo>
                  <a:pt x="126" y="288"/>
                </a:lnTo>
                <a:lnTo>
                  <a:pt x="126" y="288"/>
                </a:lnTo>
                <a:lnTo>
                  <a:pt x="126" y="288"/>
                </a:lnTo>
                <a:lnTo>
                  <a:pt x="126" y="282"/>
                </a:lnTo>
                <a:lnTo>
                  <a:pt x="126" y="282"/>
                </a:lnTo>
                <a:lnTo>
                  <a:pt x="126" y="282"/>
                </a:lnTo>
                <a:lnTo>
                  <a:pt x="120" y="282"/>
                </a:lnTo>
                <a:lnTo>
                  <a:pt x="120" y="282"/>
                </a:lnTo>
                <a:lnTo>
                  <a:pt x="120" y="282"/>
                </a:lnTo>
                <a:lnTo>
                  <a:pt x="120" y="282"/>
                </a:lnTo>
                <a:lnTo>
                  <a:pt x="120" y="282"/>
                </a:lnTo>
                <a:lnTo>
                  <a:pt x="120" y="282"/>
                </a:lnTo>
                <a:lnTo>
                  <a:pt x="120" y="276"/>
                </a:lnTo>
                <a:lnTo>
                  <a:pt x="120" y="276"/>
                </a:lnTo>
                <a:lnTo>
                  <a:pt x="120" y="276"/>
                </a:lnTo>
                <a:lnTo>
                  <a:pt x="120" y="276"/>
                </a:lnTo>
                <a:lnTo>
                  <a:pt x="120" y="276"/>
                </a:lnTo>
                <a:lnTo>
                  <a:pt x="120" y="276"/>
                </a:lnTo>
                <a:lnTo>
                  <a:pt x="120" y="276"/>
                </a:lnTo>
                <a:lnTo>
                  <a:pt x="114" y="276"/>
                </a:lnTo>
                <a:lnTo>
                  <a:pt x="114" y="270"/>
                </a:lnTo>
                <a:lnTo>
                  <a:pt x="114" y="270"/>
                </a:lnTo>
                <a:lnTo>
                  <a:pt x="120" y="270"/>
                </a:lnTo>
                <a:lnTo>
                  <a:pt x="120" y="270"/>
                </a:lnTo>
                <a:lnTo>
                  <a:pt x="120" y="270"/>
                </a:lnTo>
                <a:lnTo>
                  <a:pt x="120" y="270"/>
                </a:lnTo>
                <a:lnTo>
                  <a:pt x="120" y="270"/>
                </a:lnTo>
                <a:lnTo>
                  <a:pt x="120" y="270"/>
                </a:lnTo>
                <a:lnTo>
                  <a:pt x="120" y="264"/>
                </a:lnTo>
                <a:lnTo>
                  <a:pt x="120" y="264"/>
                </a:lnTo>
                <a:lnTo>
                  <a:pt x="120" y="264"/>
                </a:lnTo>
                <a:lnTo>
                  <a:pt x="114" y="264"/>
                </a:lnTo>
                <a:lnTo>
                  <a:pt x="114" y="264"/>
                </a:lnTo>
                <a:lnTo>
                  <a:pt x="114" y="264"/>
                </a:lnTo>
                <a:lnTo>
                  <a:pt x="114" y="270"/>
                </a:lnTo>
                <a:lnTo>
                  <a:pt x="114" y="270"/>
                </a:lnTo>
                <a:lnTo>
                  <a:pt x="114" y="270"/>
                </a:lnTo>
                <a:lnTo>
                  <a:pt x="114" y="270"/>
                </a:lnTo>
                <a:lnTo>
                  <a:pt x="114" y="270"/>
                </a:lnTo>
                <a:lnTo>
                  <a:pt x="114" y="264"/>
                </a:lnTo>
                <a:lnTo>
                  <a:pt x="114" y="264"/>
                </a:lnTo>
                <a:lnTo>
                  <a:pt x="114" y="264"/>
                </a:lnTo>
                <a:lnTo>
                  <a:pt x="114" y="264"/>
                </a:lnTo>
                <a:lnTo>
                  <a:pt x="108" y="264"/>
                </a:lnTo>
                <a:lnTo>
                  <a:pt x="108" y="264"/>
                </a:lnTo>
                <a:lnTo>
                  <a:pt x="108" y="264"/>
                </a:lnTo>
                <a:lnTo>
                  <a:pt x="108" y="264"/>
                </a:lnTo>
                <a:lnTo>
                  <a:pt x="108" y="270"/>
                </a:lnTo>
                <a:lnTo>
                  <a:pt x="108" y="270"/>
                </a:lnTo>
                <a:lnTo>
                  <a:pt x="108" y="270"/>
                </a:lnTo>
                <a:lnTo>
                  <a:pt x="108" y="270"/>
                </a:lnTo>
                <a:lnTo>
                  <a:pt x="108" y="270"/>
                </a:lnTo>
                <a:lnTo>
                  <a:pt x="108" y="270"/>
                </a:lnTo>
                <a:lnTo>
                  <a:pt x="108" y="270"/>
                </a:lnTo>
                <a:lnTo>
                  <a:pt x="108" y="270"/>
                </a:lnTo>
                <a:lnTo>
                  <a:pt x="108" y="270"/>
                </a:lnTo>
                <a:lnTo>
                  <a:pt x="108" y="270"/>
                </a:lnTo>
                <a:lnTo>
                  <a:pt x="108" y="270"/>
                </a:lnTo>
                <a:lnTo>
                  <a:pt x="102" y="270"/>
                </a:lnTo>
                <a:lnTo>
                  <a:pt x="102" y="270"/>
                </a:lnTo>
                <a:lnTo>
                  <a:pt x="102" y="270"/>
                </a:lnTo>
                <a:lnTo>
                  <a:pt x="102" y="270"/>
                </a:lnTo>
                <a:lnTo>
                  <a:pt x="102" y="270"/>
                </a:lnTo>
                <a:lnTo>
                  <a:pt x="102" y="270"/>
                </a:lnTo>
                <a:lnTo>
                  <a:pt x="102" y="270"/>
                </a:lnTo>
                <a:lnTo>
                  <a:pt x="102" y="270"/>
                </a:lnTo>
                <a:lnTo>
                  <a:pt x="102" y="264"/>
                </a:lnTo>
                <a:lnTo>
                  <a:pt x="102" y="264"/>
                </a:lnTo>
                <a:lnTo>
                  <a:pt x="102" y="264"/>
                </a:lnTo>
                <a:lnTo>
                  <a:pt x="102" y="264"/>
                </a:lnTo>
                <a:lnTo>
                  <a:pt x="102" y="264"/>
                </a:lnTo>
                <a:lnTo>
                  <a:pt x="102" y="264"/>
                </a:lnTo>
                <a:lnTo>
                  <a:pt x="96" y="264"/>
                </a:lnTo>
                <a:lnTo>
                  <a:pt x="102" y="264"/>
                </a:lnTo>
                <a:lnTo>
                  <a:pt x="96" y="264"/>
                </a:lnTo>
                <a:lnTo>
                  <a:pt x="96" y="264"/>
                </a:lnTo>
                <a:lnTo>
                  <a:pt x="102" y="264"/>
                </a:lnTo>
                <a:lnTo>
                  <a:pt x="96" y="258"/>
                </a:lnTo>
                <a:lnTo>
                  <a:pt x="96" y="264"/>
                </a:lnTo>
                <a:lnTo>
                  <a:pt x="96" y="264"/>
                </a:lnTo>
                <a:lnTo>
                  <a:pt x="96" y="264"/>
                </a:lnTo>
                <a:lnTo>
                  <a:pt x="96" y="264"/>
                </a:lnTo>
                <a:lnTo>
                  <a:pt x="96" y="264"/>
                </a:lnTo>
                <a:lnTo>
                  <a:pt x="96" y="264"/>
                </a:lnTo>
                <a:lnTo>
                  <a:pt x="96" y="258"/>
                </a:lnTo>
                <a:lnTo>
                  <a:pt x="96" y="258"/>
                </a:lnTo>
                <a:lnTo>
                  <a:pt x="96" y="258"/>
                </a:lnTo>
                <a:lnTo>
                  <a:pt x="96" y="258"/>
                </a:lnTo>
                <a:lnTo>
                  <a:pt x="90" y="258"/>
                </a:lnTo>
                <a:lnTo>
                  <a:pt x="90" y="258"/>
                </a:lnTo>
                <a:lnTo>
                  <a:pt x="90" y="258"/>
                </a:lnTo>
                <a:lnTo>
                  <a:pt x="90" y="258"/>
                </a:lnTo>
                <a:lnTo>
                  <a:pt x="90" y="258"/>
                </a:lnTo>
                <a:lnTo>
                  <a:pt x="90" y="258"/>
                </a:lnTo>
                <a:lnTo>
                  <a:pt x="90" y="258"/>
                </a:lnTo>
                <a:lnTo>
                  <a:pt x="90" y="252"/>
                </a:lnTo>
                <a:lnTo>
                  <a:pt x="90" y="252"/>
                </a:lnTo>
                <a:lnTo>
                  <a:pt x="90" y="252"/>
                </a:lnTo>
                <a:lnTo>
                  <a:pt x="90" y="252"/>
                </a:lnTo>
                <a:lnTo>
                  <a:pt x="90" y="252"/>
                </a:lnTo>
                <a:lnTo>
                  <a:pt x="90" y="252"/>
                </a:lnTo>
                <a:lnTo>
                  <a:pt x="90" y="252"/>
                </a:lnTo>
                <a:lnTo>
                  <a:pt x="90" y="252"/>
                </a:lnTo>
                <a:lnTo>
                  <a:pt x="90" y="252"/>
                </a:lnTo>
                <a:lnTo>
                  <a:pt x="90" y="252"/>
                </a:lnTo>
                <a:lnTo>
                  <a:pt x="90" y="252"/>
                </a:lnTo>
                <a:lnTo>
                  <a:pt x="90" y="252"/>
                </a:lnTo>
                <a:lnTo>
                  <a:pt x="90" y="252"/>
                </a:lnTo>
                <a:lnTo>
                  <a:pt x="90" y="252"/>
                </a:lnTo>
                <a:lnTo>
                  <a:pt x="90" y="252"/>
                </a:lnTo>
                <a:lnTo>
                  <a:pt x="90" y="252"/>
                </a:lnTo>
                <a:lnTo>
                  <a:pt x="84" y="246"/>
                </a:lnTo>
                <a:lnTo>
                  <a:pt x="84" y="246"/>
                </a:lnTo>
                <a:lnTo>
                  <a:pt x="84" y="246"/>
                </a:lnTo>
                <a:lnTo>
                  <a:pt x="84" y="246"/>
                </a:lnTo>
                <a:lnTo>
                  <a:pt x="84" y="246"/>
                </a:lnTo>
                <a:lnTo>
                  <a:pt x="84" y="246"/>
                </a:lnTo>
                <a:lnTo>
                  <a:pt x="90" y="246"/>
                </a:lnTo>
                <a:lnTo>
                  <a:pt x="90" y="246"/>
                </a:lnTo>
                <a:lnTo>
                  <a:pt x="84" y="240"/>
                </a:lnTo>
                <a:lnTo>
                  <a:pt x="84" y="246"/>
                </a:lnTo>
                <a:lnTo>
                  <a:pt x="84" y="246"/>
                </a:lnTo>
                <a:lnTo>
                  <a:pt x="84" y="240"/>
                </a:lnTo>
                <a:lnTo>
                  <a:pt x="84" y="240"/>
                </a:lnTo>
                <a:lnTo>
                  <a:pt x="84" y="240"/>
                </a:lnTo>
                <a:lnTo>
                  <a:pt x="84" y="240"/>
                </a:lnTo>
                <a:lnTo>
                  <a:pt x="84" y="240"/>
                </a:lnTo>
                <a:lnTo>
                  <a:pt x="84" y="240"/>
                </a:lnTo>
                <a:lnTo>
                  <a:pt x="84" y="240"/>
                </a:lnTo>
                <a:lnTo>
                  <a:pt x="84" y="240"/>
                </a:lnTo>
                <a:lnTo>
                  <a:pt x="84" y="240"/>
                </a:lnTo>
                <a:lnTo>
                  <a:pt x="84" y="240"/>
                </a:lnTo>
                <a:lnTo>
                  <a:pt x="84" y="240"/>
                </a:lnTo>
                <a:lnTo>
                  <a:pt x="84" y="240"/>
                </a:lnTo>
                <a:lnTo>
                  <a:pt x="84" y="234"/>
                </a:lnTo>
                <a:lnTo>
                  <a:pt x="84" y="234"/>
                </a:lnTo>
                <a:lnTo>
                  <a:pt x="84" y="234"/>
                </a:lnTo>
                <a:lnTo>
                  <a:pt x="84" y="234"/>
                </a:lnTo>
                <a:lnTo>
                  <a:pt x="84" y="234"/>
                </a:lnTo>
                <a:lnTo>
                  <a:pt x="84" y="234"/>
                </a:lnTo>
                <a:lnTo>
                  <a:pt x="84" y="234"/>
                </a:lnTo>
                <a:lnTo>
                  <a:pt x="84" y="234"/>
                </a:lnTo>
                <a:lnTo>
                  <a:pt x="84" y="234"/>
                </a:lnTo>
                <a:lnTo>
                  <a:pt x="84" y="234"/>
                </a:lnTo>
                <a:lnTo>
                  <a:pt x="84" y="234"/>
                </a:lnTo>
                <a:lnTo>
                  <a:pt x="84" y="234"/>
                </a:lnTo>
                <a:lnTo>
                  <a:pt x="84" y="234"/>
                </a:lnTo>
                <a:lnTo>
                  <a:pt x="84" y="234"/>
                </a:lnTo>
                <a:lnTo>
                  <a:pt x="84" y="228"/>
                </a:lnTo>
                <a:lnTo>
                  <a:pt x="90" y="228"/>
                </a:lnTo>
                <a:lnTo>
                  <a:pt x="84" y="228"/>
                </a:lnTo>
                <a:lnTo>
                  <a:pt x="84" y="228"/>
                </a:lnTo>
                <a:lnTo>
                  <a:pt x="84" y="228"/>
                </a:lnTo>
                <a:lnTo>
                  <a:pt x="84" y="228"/>
                </a:lnTo>
                <a:lnTo>
                  <a:pt x="84" y="234"/>
                </a:lnTo>
                <a:lnTo>
                  <a:pt x="84" y="228"/>
                </a:lnTo>
                <a:lnTo>
                  <a:pt x="84" y="228"/>
                </a:lnTo>
                <a:lnTo>
                  <a:pt x="78" y="228"/>
                </a:lnTo>
                <a:lnTo>
                  <a:pt x="78" y="228"/>
                </a:lnTo>
                <a:lnTo>
                  <a:pt x="78" y="228"/>
                </a:lnTo>
                <a:lnTo>
                  <a:pt x="78" y="228"/>
                </a:lnTo>
                <a:lnTo>
                  <a:pt x="72" y="228"/>
                </a:lnTo>
                <a:lnTo>
                  <a:pt x="72" y="234"/>
                </a:lnTo>
                <a:lnTo>
                  <a:pt x="72" y="234"/>
                </a:lnTo>
                <a:lnTo>
                  <a:pt x="66" y="234"/>
                </a:lnTo>
                <a:lnTo>
                  <a:pt x="66" y="234"/>
                </a:lnTo>
                <a:lnTo>
                  <a:pt x="66" y="234"/>
                </a:lnTo>
                <a:lnTo>
                  <a:pt x="66" y="234"/>
                </a:lnTo>
                <a:lnTo>
                  <a:pt x="60" y="234"/>
                </a:lnTo>
                <a:lnTo>
                  <a:pt x="48" y="234"/>
                </a:lnTo>
                <a:lnTo>
                  <a:pt x="48" y="234"/>
                </a:lnTo>
                <a:lnTo>
                  <a:pt x="48" y="234"/>
                </a:lnTo>
                <a:lnTo>
                  <a:pt x="48" y="234"/>
                </a:lnTo>
                <a:lnTo>
                  <a:pt x="48" y="234"/>
                </a:lnTo>
                <a:lnTo>
                  <a:pt x="48" y="234"/>
                </a:lnTo>
                <a:lnTo>
                  <a:pt x="48" y="234"/>
                </a:lnTo>
                <a:lnTo>
                  <a:pt x="48" y="234"/>
                </a:lnTo>
                <a:lnTo>
                  <a:pt x="48" y="240"/>
                </a:lnTo>
                <a:lnTo>
                  <a:pt x="48" y="240"/>
                </a:lnTo>
                <a:lnTo>
                  <a:pt x="48" y="240"/>
                </a:lnTo>
                <a:lnTo>
                  <a:pt x="48" y="240"/>
                </a:lnTo>
                <a:lnTo>
                  <a:pt x="42" y="240"/>
                </a:lnTo>
                <a:lnTo>
                  <a:pt x="42" y="240"/>
                </a:lnTo>
                <a:lnTo>
                  <a:pt x="42" y="240"/>
                </a:lnTo>
                <a:lnTo>
                  <a:pt x="42" y="240"/>
                </a:lnTo>
                <a:lnTo>
                  <a:pt x="42" y="240"/>
                </a:lnTo>
                <a:lnTo>
                  <a:pt x="42" y="240"/>
                </a:lnTo>
                <a:lnTo>
                  <a:pt x="42" y="240"/>
                </a:lnTo>
                <a:lnTo>
                  <a:pt x="36" y="240"/>
                </a:lnTo>
                <a:lnTo>
                  <a:pt x="36" y="240"/>
                </a:lnTo>
                <a:lnTo>
                  <a:pt x="30" y="234"/>
                </a:lnTo>
                <a:lnTo>
                  <a:pt x="30" y="234"/>
                </a:lnTo>
                <a:lnTo>
                  <a:pt x="30" y="234"/>
                </a:lnTo>
                <a:lnTo>
                  <a:pt x="30" y="234"/>
                </a:lnTo>
                <a:lnTo>
                  <a:pt x="30" y="234"/>
                </a:lnTo>
                <a:lnTo>
                  <a:pt x="30" y="234"/>
                </a:lnTo>
                <a:lnTo>
                  <a:pt x="30" y="228"/>
                </a:lnTo>
                <a:lnTo>
                  <a:pt x="30" y="228"/>
                </a:lnTo>
                <a:lnTo>
                  <a:pt x="30" y="228"/>
                </a:lnTo>
                <a:lnTo>
                  <a:pt x="30" y="228"/>
                </a:lnTo>
                <a:lnTo>
                  <a:pt x="30" y="222"/>
                </a:lnTo>
                <a:lnTo>
                  <a:pt x="30" y="222"/>
                </a:lnTo>
                <a:lnTo>
                  <a:pt x="30" y="222"/>
                </a:lnTo>
                <a:lnTo>
                  <a:pt x="30" y="222"/>
                </a:lnTo>
                <a:lnTo>
                  <a:pt x="30" y="222"/>
                </a:lnTo>
                <a:lnTo>
                  <a:pt x="24" y="222"/>
                </a:lnTo>
                <a:lnTo>
                  <a:pt x="24" y="222"/>
                </a:lnTo>
                <a:lnTo>
                  <a:pt x="24" y="216"/>
                </a:lnTo>
                <a:lnTo>
                  <a:pt x="18" y="216"/>
                </a:lnTo>
                <a:lnTo>
                  <a:pt x="18" y="216"/>
                </a:lnTo>
                <a:lnTo>
                  <a:pt x="18" y="216"/>
                </a:lnTo>
                <a:lnTo>
                  <a:pt x="18" y="210"/>
                </a:lnTo>
                <a:lnTo>
                  <a:pt x="18" y="210"/>
                </a:lnTo>
                <a:lnTo>
                  <a:pt x="12" y="210"/>
                </a:lnTo>
                <a:lnTo>
                  <a:pt x="12" y="210"/>
                </a:lnTo>
                <a:lnTo>
                  <a:pt x="6" y="210"/>
                </a:lnTo>
                <a:lnTo>
                  <a:pt x="6" y="204"/>
                </a:lnTo>
                <a:lnTo>
                  <a:pt x="6" y="204"/>
                </a:lnTo>
                <a:lnTo>
                  <a:pt x="6" y="204"/>
                </a:lnTo>
                <a:lnTo>
                  <a:pt x="6" y="198"/>
                </a:lnTo>
                <a:lnTo>
                  <a:pt x="6" y="198"/>
                </a:lnTo>
                <a:lnTo>
                  <a:pt x="6" y="198"/>
                </a:lnTo>
                <a:lnTo>
                  <a:pt x="6" y="192"/>
                </a:lnTo>
                <a:lnTo>
                  <a:pt x="6" y="192"/>
                </a:lnTo>
                <a:lnTo>
                  <a:pt x="6" y="192"/>
                </a:lnTo>
                <a:lnTo>
                  <a:pt x="6" y="192"/>
                </a:lnTo>
                <a:lnTo>
                  <a:pt x="6" y="186"/>
                </a:lnTo>
                <a:lnTo>
                  <a:pt x="0" y="186"/>
                </a:lnTo>
                <a:lnTo>
                  <a:pt x="0" y="186"/>
                </a:lnTo>
                <a:lnTo>
                  <a:pt x="0" y="186"/>
                </a:lnTo>
                <a:lnTo>
                  <a:pt x="0" y="186"/>
                </a:lnTo>
                <a:lnTo>
                  <a:pt x="0" y="168"/>
                </a:lnTo>
                <a:lnTo>
                  <a:pt x="6" y="13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66" name="Freeform 499"/>
          <p:cNvSpPr>
            <a:spLocks/>
          </p:cNvSpPr>
          <p:nvPr/>
        </p:nvSpPr>
        <p:spPr bwMode="auto">
          <a:xfrm>
            <a:off x="6183753" y="4109308"/>
            <a:ext cx="224842" cy="199147"/>
          </a:xfrm>
          <a:custGeom>
            <a:avLst/>
            <a:gdLst>
              <a:gd name="T0" fmla="*/ 0 w 210"/>
              <a:gd name="T1" fmla="*/ 42 h 186"/>
              <a:gd name="T2" fmla="*/ 6 w 210"/>
              <a:gd name="T3" fmla="*/ 24 h 186"/>
              <a:gd name="T4" fmla="*/ 18 w 210"/>
              <a:gd name="T5" fmla="*/ 6 h 186"/>
              <a:gd name="T6" fmla="*/ 24 w 210"/>
              <a:gd name="T7" fmla="*/ 6 h 186"/>
              <a:gd name="T8" fmla="*/ 30 w 210"/>
              <a:gd name="T9" fmla="*/ 6 h 186"/>
              <a:gd name="T10" fmla="*/ 36 w 210"/>
              <a:gd name="T11" fmla="*/ 6 h 186"/>
              <a:gd name="T12" fmla="*/ 42 w 210"/>
              <a:gd name="T13" fmla="*/ 0 h 186"/>
              <a:gd name="T14" fmla="*/ 48 w 210"/>
              <a:gd name="T15" fmla="*/ 0 h 186"/>
              <a:gd name="T16" fmla="*/ 54 w 210"/>
              <a:gd name="T17" fmla="*/ 0 h 186"/>
              <a:gd name="T18" fmla="*/ 60 w 210"/>
              <a:gd name="T19" fmla="*/ 0 h 186"/>
              <a:gd name="T20" fmla="*/ 72 w 210"/>
              <a:gd name="T21" fmla="*/ 6 h 186"/>
              <a:gd name="T22" fmla="*/ 78 w 210"/>
              <a:gd name="T23" fmla="*/ 0 h 186"/>
              <a:gd name="T24" fmla="*/ 84 w 210"/>
              <a:gd name="T25" fmla="*/ 0 h 186"/>
              <a:gd name="T26" fmla="*/ 96 w 210"/>
              <a:gd name="T27" fmla="*/ 6 h 186"/>
              <a:gd name="T28" fmla="*/ 102 w 210"/>
              <a:gd name="T29" fmla="*/ 6 h 186"/>
              <a:gd name="T30" fmla="*/ 108 w 210"/>
              <a:gd name="T31" fmla="*/ 12 h 186"/>
              <a:gd name="T32" fmla="*/ 120 w 210"/>
              <a:gd name="T33" fmla="*/ 12 h 186"/>
              <a:gd name="T34" fmla="*/ 126 w 210"/>
              <a:gd name="T35" fmla="*/ 12 h 186"/>
              <a:gd name="T36" fmla="*/ 144 w 210"/>
              <a:gd name="T37" fmla="*/ 24 h 186"/>
              <a:gd name="T38" fmla="*/ 150 w 210"/>
              <a:gd name="T39" fmla="*/ 18 h 186"/>
              <a:gd name="T40" fmla="*/ 162 w 210"/>
              <a:gd name="T41" fmla="*/ 18 h 186"/>
              <a:gd name="T42" fmla="*/ 168 w 210"/>
              <a:gd name="T43" fmla="*/ 18 h 186"/>
              <a:gd name="T44" fmla="*/ 180 w 210"/>
              <a:gd name="T45" fmla="*/ 12 h 186"/>
              <a:gd name="T46" fmla="*/ 192 w 210"/>
              <a:gd name="T47" fmla="*/ 6 h 186"/>
              <a:gd name="T48" fmla="*/ 198 w 210"/>
              <a:gd name="T49" fmla="*/ 12 h 186"/>
              <a:gd name="T50" fmla="*/ 210 w 210"/>
              <a:gd name="T51" fmla="*/ 18 h 186"/>
              <a:gd name="T52" fmla="*/ 210 w 210"/>
              <a:gd name="T53" fmla="*/ 24 h 186"/>
              <a:gd name="T54" fmla="*/ 204 w 210"/>
              <a:gd name="T55" fmla="*/ 42 h 186"/>
              <a:gd name="T56" fmla="*/ 192 w 210"/>
              <a:gd name="T57" fmla="*/ 54 h 186"/>
              <a:gd name="T58" fmla="*/ 180 w 210"/>
              <a:gd name="T59" fmla="*/ 72 h 186"/>
              <a:gd name="T60" fmla="*/ 168 w 210"/>
              <a:gd name="T61" fmla="*/ 84 h 186"/>
              <a:gd name="T62" fmla="*/ 150 w 210"/>
              <a:gd name="T63" fmla="*/ 96 h 186"/>
              <a:gd name="T64" fmla="*/ 126 w 210"/>
              <a:gd name="T65" fmla="*/ 108 h 186"/>
              <a:gd name="T66" fmla="*/ 108 w 210"/>
              <a:gd name="T67" fmla="*/ 120 h 186"/>
              <a:gd name="T68" fmla="*/ 96 w 210"/>
              <a:gd name="T69" fmla="*/ 126 h 186"/>
              <a:gd name="T70" fmla="*/ 90 w 210"/>
              <a:gd name="T71" fmla="*/ 132 h 186"/>
              <a:gd name="T72" fmla="*/ 78 w 210"/>
              <a:gd name="T73" fmla="*/ 150 h 186"/>
              <a:gd name="T74" fmla="*/ 72 w 210"/>
              <a:gd name="T75" fmla="*/ 150 h 186"/>
              <a:gd name="T76" fmla="*/ 54 w 210"/>
              <a:gd name="T77" fmla="*/ 156 h 186"/>
              <a:gd name="T78" fmla="*/ 42 w 210"/>
              <a:gd name="T79" fmla="*/ 168 h 186"/>
              <a:gd name="T80" fmla="*/ 30 w 210"/>
              <a:gd name="T81" fmla="*/ 174 h 186"/>
              <a:gd name="T82" fmla="*/ 18 w 210"/>
              <a:gd name="T83" fmla="*/ 186 h 186"/>
              <a:gd name="T84" fmla="*/ 18 w 210"/>
              <a:gd name="T85" fmla="*/ 174 h 186"/>
              <a:gd name="T86" fmla="*/ 30 w 210"/>
              <a:gd name="T87" fmla="*/ 168 h 186"/>
              <a:gd name="T88" fmla="*/ 36 w 210"/>
              <a:gd name="T89" fmla="*/ 156 h 186"/>
              <a:gd name="T90" fmla="*/ 36 w 210"/>
              <a:gd name="T91" fmla="*/ 150 h 186"/>
              <a:gd name="T92" fmla="*/ 30 w 210"/>
              <a:gd name="T93" fmla="*/ 144 h 186"/>
              <a:gd name="T94" fmla="*/ 36 w 210"/>
              <a:gd name="T95" fmla="*/ 138 h 186"/>
              <a:gd name="T96" fmla="*/ 36 w 210"/>
              <a:gd name="T97" fmla="*/ 132 h 186"/>
              <a:gd name="T98" fmla="*/ 30 w 210"/>
              <a:gd name="T99" fmla="*/ 132 h 186"/>
              <a:gd name="T100" fmla="*/ 36 w 210"/>
              <a:gd name="T101" fmla="*/ 126 h 186"/>
              <a:gd name="T102" fmla="*/ 42 w 210"/>
              <a:gd name="T103" fmla="*/ 114 h 186"/>
              <a:gd name="T104" fmla="*/ 36 w 210"/>
              <a:gd name="T105" fmla="*/ 108 h 186"/>
              <a:gd name="T106" fmla="*/ 30 w 210"/>
              <a:gd name="T107" fmla="*/ 102 h 186"/>
              <a:gd name="T108" fmla="*/ 30 w 210"/>
              <a:gd name="T109" fmla="*/ 96 h 186"/>
              <a:gd name="T110" fmla="*/ 30 w 210"/>
              <a:gd name="T111" fmla="*/ 84 h 186"/>
              <a:gd name="T112" fmla="*/ 24 w 210"/>
              <a:gd name="T113" fmla="*/ 78 h 186"/>
              <a:gd name="T114" fmla="*/ 18 w 210"/>
              <a:gd name="T115" fmla="*/ 72 h 186"/>
              <a:gd name="T116" fmla="*/ 12 w 210"/>
              <a:gd name="T117" fmla="*/ 66 h 186"/>
              <a:gd name="T118" fmla="*/ 6 w 210"/>
              <a:gd name="T119" fmla="*/ 60 h 186"/>
              <a:gd name="T120" fmla="*/ 6 w 210"/>
              <a:gd name="T121" fmla="*/ 54 h 186"/>
              <a:gd name="T122" fmla="*/ 0 w 210"/>
              <a:gd name="T123" fmla="*/ 48 h 1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10" h="186">
                <a:moveTo>
                  <a:pt x="0" y="48"/>
                </a:moveTo>
                <a:lnTo>
                  <a:pt x="0" y="48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6" y="18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6"/>
                </a:lnTo>
                <a:lnTo>
                  <a:pt x="18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0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60" y="0"/>
                </a:lnTo>
                <a:lnTo>
                  <a:pt x="60" y="0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0"/>
                </a:lnTo>
                <a:lnTo>
                  <a:pt x="66" y="0"/>
                </a:lnTo>
                <a:lnTo>
                  <a:pt x="66" y="0"/>
                </a:lnTo>
                <a:lnTo>
                  <a:pt x="66" y="6"/>
                </a:lnTo>
                <a:lnTo>
                  <a:pt x="66" y="0"/>
                </a:lnTo>
                <a:lnTo>
                  <a:pt x="72" y="0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6"/>
                </a:lnTo>
                <a:lnTo>
                  <a:pt x="78" y="0"/>
                </a:lnTo>
                <a:lnTo>
                  <a:pt x="84" y="6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6"/>
                </a:lnTo>
                <a:lnTo>
                  <a:pt x="90" y="0"/>
                </a:lnTo>
                <a:lnTo>
                  <a:pt x="90" y="0"/>
                </a:lnTo>
                <a:lnTo>
                  <a:pt x="90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14" y="12"/>
                </a:lnTo>
                <a:lnTo>
                  <a:pt x="114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8" y="18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74" y="12"/>
                </a:lnTo>
                <a:lnTo>
                  <a:pt x="174" y="12"/>
                </a:lnTo>
                <a:lnTo>
                  <a:pt x="174" y="18"/>
                </a:lnTo>
                <a:lnTo>
                  <a:pt x="180" y="12"/>
                </a:lnTo>
                <a:lnTo>
                  <a:pt x="180" y="12"/>
                </a:lnTo>
                <a:lnTo>
                  <a:pt x="180" y="12"/>
                </a:lnTo>
                <a:lnTo>
                  <a:pt x="180" y="12"/>
                </a:lnTo>
                <a:lnTo>
                  <a:pt x="186" y="12"/>
                </a:lnTo>
                <a:lnTo>
                  <a:pt x="186" y="12"/>
                </a:lnTo>
                <a:lnTo>
                  <a:pt x="192" y="12"/>
                </a:lnTo>
                <a:lnTo>
                  <a:pt x="192" y="6"/>
                </a:lnTo>
                <a:lnTo>
                  <a:pt x="192" y="6"/>
                </a:lnTo>
                <a:lnTo>
                  <a:pt x="192" y="12"/>
                </a:lnTo>
                <a:lnTo>
                  <a:pt x="198" y="12"/>
                </a:lnTo>
                <a:lnTo>
                  <a:pt x="198" y="6"/>
                </a:lnTo>
                <a:lnTo>
                  <a:pt x="198" y="6"/>
                </a:lnTo>
                <a:lnTo>
                  <a:pt x="198" y="12"/>
                </a:lnTo>
                <a:lnTo>
                  <a:pt x="204" y="12"/>
                </a:lnTo>
                <a:lnTo>
                  <a:pt x="204" y="12"/>
                </a:lnTo>
                <a:lnTo>
                  <a:pt x="204" y="12"/>
                </a:lnTo>
                <a:lnTo>
                  <a:pt x="204" y="12"/>
                </a:lnTo>
                <a:lnTo>
                  <a:pt x="210" y="12"/>
                </a:lnTo>
                <a:lnTo>
                  <a:pt x="210" y="18"/>
                </a:lnTo>
                <a:lnTo>
                  <a:pt x="210" y="18"/>
                </a:lnTo>
                <a:lnTo>
                  <a:pt x="210" y="18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30"/>
                </a:lnTo>
                <a:lnTo>
                  <a:pt x="210" y="36"/>
                </a:lnTo>
                <a:lnTo>
                  <a:pt x="210" y="36"/>
                </a:lnTo>
                <a:lnTo>
                  <a:pt x="204" y="42"/>
                </a:lnTo>
                <a:lnTo>
                  <a:pt x="198" y="42"/>
                </a:lnTo>
                <a:lnTo>
                  <a:pt x="198" y="42"/>
                </a:lnTo>
                <a:lnTo>
                  <a:pt x="198" y="48"/>
                </a:lnTo>
                <a:lnTo>
                  <a:pt x="198" y="48"/>
                </a:lnTo>
                <a:lnTo>
                  <a:pt x="192" y="48"/>
                </a:lnTo>
                <a:lnTo>
                  <a:pt x="192" y="54"/>
                </a:lnTo>
                <a:lnTo>
                  <a:pt x="186" y="66"/>
                </a:lnTo>
                <a:lnTo>
                  <a:pt x="186" y="72"/>
                </a:lnTo>
                <a:lnTo>
                  <a:pt x="180" y="72"/>
                </a:lnTo>
                <a:lnTo>
                  <a:pt x="180" y="72"/>
                </a:lnTo>
                <a:lnTo>
                  <a:pt x="180" y="72"/>
                </a:lnTo>
                <a:lnTo>
                  <a:pt x="180" y="72"/>
                </a:lnTo>
                <a:lnTo>
                  <a:pt x="174" y="78"/>
                </a:lnTo>
                <a:lnTo>
                  <a:pt x="174" y="78"/>
                </a:lnTo>
                <a:lnTo>
                  <a:pt x="168" y="84"/>
                </a:lnTo>
                <a:lnTo>
                  <a:pt x="168" y="84"/>
                </a:lnTo>
                <a:lnTo>
                  <a:pt x="168" y="84"/>
                </a:lnTo>
                <a:lnTo>
                  <a:pt x="168" y="84"/>
                </a:lnTo>
                <a:lnTo>
                  <a:pt x="162" y="84"/>
                </a:lnTo>
                <a:lnTo>
                  <a:pt x="162" y="90"/>
                </a:lnTo>
                <a:lnTo>
                  <a:pt x="156" y="90"/>
                </a:lnTo>
                <a:lnTo>
                  <a:pt x="156" y="90"/>
                </a:lnTo>
                <a:lnTo>
                  <a:pt x="150" y="96"/>
                </a:lnTo>
                <a:lnTo>
                  <a:pt x="150" y="96"/>
                </a:lnTo>
                <a:lnTo>
                  <a:pt x="150" y="96"/>
                </a:lnTo>
                <a:lnTo>
                  <a:pt x="150" y="96"/>
                </a:lnTo>
                <a:lnTo>
                  <a:pt x="144" y="96"/>
                </a:lnTo>
                <a:lnTo>
                  <a:pt x="138" y="102"/>
                </a:lnTo>
                <a:lnTo>
                  <a:pt x="138" y="102"/>
                </a:lnTo>
                <a:lnTo>
                  <a:pt x="126" y="108"/>
                </a:lnTo>
                <a:lnTo>
                  <a:pt x="126" y="108"/>
                </a:lnTo>
                <a:lnTo>
                  <a:pt x="126" y="108"/>
                </a:lnTo>
                <a:lnTo>
                  <a:pt x="120" y="114"/>
                </a:lnTo>
                <a:lnTo>
                  <a:pt x="120" y="114"/>
                </a:lnTo>
                <a:lnTo>
                  <a:pt x="120" y="114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2" y="120"/>
                </a:lnTo>
                <a:lnTo>
                  <a:pt x="102" y="126"/>
                </a:lnTo>
                <a:lnTo>
                  <a:pt x="102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8"/>
                </a:lnTo>
                <a:lnTo>
                  <a:pt x="90" y="138"/>
                </a:lnTo>
                <a:lnTo>
                  <a:pt x="90" y="138"/>
                </a:lnTo>
                <a:lnTo>
                  <a:pt x="84" y="144"/>
                </a:lnTo>
                <a:lnTo>
                  <a:pt x="84" y="144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2" y="150"/>
                </a:lnTo>
                <a:lnTo>
                  <a:pt x="72" y="150"/>
                </a:lnTo>
                <a:lnTo>
                  <a:pt x="72" y="150"/>
                </a:lnTo>
                <a:lnTo>
                  <a:pt x="72" y="150"/>
                </a:lnTo>
                <a:lnTo>
                  <a:pt x="72" y="150"/>
                </a:lnTo>
                <a:lnTo>
                  <a:pt x="60" y="156"/>
                </a:lnTo>
                <a:lnTo>
                  <a:pt x="60" y="156"/>
                </a:lnTo>
                <a:lnTo>
                  <a:pt x="60" y="156"/>
                </a:lnTo>
                <a:lnTo>
                  <a:pt x="54" y="156"/>
                </a:lnTo>
                <a:lnTo>
                  <a:pt x="54" y="156"/>
                </a:lnTo>
                <a:lnTo>
                  <a:pt x="54" y="162"/>
                </a:lnTo>
                <a:lnTo>
                  <a:pt x="48" y="162"/>
                </a:lnTo>
                <a:lnTo>
                  <a:pt x="48" y="162"/>
                </a:lnTo>
                <a:lnTo>
                  <a:pt x="48" y="162"/>
                </a:lnTo>
                <a:lnTo>
                  <a:pt x="48" y="168"/>
                </a:lnTo>
                <a:lnTo>
                  <a:pt x="42" y="168"/>
                </a:lnTo>
                <a:lnTo>
                  <a:pt x="42" y="168"/>
                </a:lnTo>
                <a:lnTo>
                  <a:pt x="36" y="168"/>
                </a:lnTo>
                <a:lnTo>
                  <a:pt x="30" y="174"/>
                </a:lnTo>
                <a:lnTo>
                  <a:pt x="30" y="174"/>
                </a:lnTo>
                <a:lnTo>
                  <a:pt x="30" y="174"/>
                </a:lnTo>
                <a:lnTo>
                  <a:pt x="30" y="174"/>
                </a:lnTo>
                <a:lnTo>
                  <a:pt x="30" y="180"/>
                </a:lnTo>
                <a:lnTo>
                  <a:pt x="24" y="180"/>
                </a:lnTo>
                <a:lnTo>
                  <a:pt x="24" y="180"/>
                </a:lnTo>
                <a:lnTo>
                  <a:pt x="24" y="186"/>
                </a:lnTo>
                <a:lnTo>
                  <a:pt x="18" y="186"/>
                </a:lnTo>
                <a:lnTo>
                  <a:pt x="18" y="186"/>
                </a:lnTo>
                <a:lnTo>
                  <a:pt x="18" y="186"/>
                </a:lnTo>
                <a:lnTo>
                  <a:pt x="18" y="186"/>
                </a:lnTo>
                <a:lnTo>
                  <a:pt x="18" y="186"/>
                </a:lnTo>
                <a:lnTo>
                  <a:pt x="18" y="180"/>
                </a:lnTo>
                <a:lnTo>
                  <a:pt x="18" y="180"/>
                </a:lnTo>
                <a:lnTo>
                  <a:pt x="18" y="174"/>
                </a:lnTo>
                <a:lnTo>
                  <a:pt x="18" y="174"/>
                </a:lnTo>
                <a:lnTo>
                  <a:pt x="18" y="174"/>
                </a:lnTo>
                <a:lnTo>
                  <a:pt x="24" y="174"/>
                </a:lnTo>
                <a:lnTo>
                  <a:pt x="24" y="168"/>
                </a:lnTo>
                <a:lnTo>
                  <a:pt x="24" y="168"/>
                </a:lnTo>
                <a:lnTo>
                  <a:pt x="30" y="168"/>
                </a:lnTo>
                <a:lnTo>
                  <a:pt x="30" y="162"/>
                </a:lnTo>
                <a:lnTo>
                  <a:pt x="36" y="162"/>
                </a:lnTo>
                <a:lnTo>
                  <a:pt x="36" y="156"/>
                </a:lnTo>
                <a:lnTo>
                  <a:pt x="36" y="156"/>
                </a:lnTo>
                <a:lnTo>
                  <a:pt x="36" y="156"/>
                </a:lnTo>
                <a:lnTo>
                  <a:pt x="36" y="156"/>
                </a:lnTo>
                <a:lnTo>
                  <a:pt x="42" y="156"/>
                </a:lnTo>
                <a:lnTo>
                  <a:pt x="36" y="156"/>
                </a:lnTo>
                <a:lnTo>
                  <a:pt x="36" y="156"/>
                </a:lnTo>
                <a:lnTo>
                  <a:pt x="36" y="156"/>
                </a:lnTo>
                <a:lnTo>
                  <a:pt x="36" y="150"/>
                </a:lnTo>
                <a:lnTo>
                  <a:pt x="36" y="150"/>
                </a:lnTo>
                <a:lnTo>
                  <a:pt x="30" y="156"/>
                </a:lnTo>
                <a:lnTo>
                  <a:pt x="30" y="150"/>
                </a:lnTo>
                <a:lnTo>
                  <a:pt x="36" y="150"/>
                </a:lnTo>
                <a:lnTo>
                  <a:pt x="30" y="150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2"/>
                </a:lnTo>
                <a:lnTo>
                  <a:pt x="36" y="138"/>
                </a:lnTo>
                <a:lnTo>
                  <a:pt x="36" y="132"/>
                </a:lnTo>
                <a:lnTo>
                  <a:pt x="36" y="132"/>
                </a:lnTo>
                <a:lnTo>
                  <a:pt x="36" y="132"/>
                </a:lnTo>
                <a:lnTo>
                  <a:pt x="36" y="132"/>
                </a:lnTo>
                <a:lnTo>
                  <a:pt x="36" y="132"/>
                </a:lnTo>
                <a:lnTo>
                  <a:pt x="36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26"/>
                </a:lnTo>
                <a:lnTo>
                  <a:pt x="30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42" y="114"/>
                </a:lnTo>
                <a:lnTo>
                  <a:pt x="42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0" y="108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6" y="102"/>
                </a:lnTo>
                <a:lnTo>
                  <a:pt x="36" y="102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0" y="54"/>
                </a:lnTo>
                <a:lnTo>
                  <a:pt x="6" y="54"/>
                </a:lnTo>
                <a:lnTo>
                  <a:pt x="6" y="54"/>
                </a:lnTo>
                <a:lnTo>
                  <a:pt x="0" y="48"/>
                </a:lnTo>
                <a:lnTo>
                  <a:pt x="0" y="4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67" name="Freeform 500"/>
          <p:cNvSpPr>
            <a:spLocks/>
          </p:cNvSpPr>
          <p:nvPr/>
        </p:nvSpPr>
        <p:spPr bwMode="auto">
          <a:xfrm>
            <a:off x="5933215" y="4154276"/>
            <a:ext cx="295506" cy="301933"/>
          </a:xfrm>
          <a:custGeom>
            <a:avLst/>
            <a:gdLst>
              <a:gd name="T0" fmla="*/ 6 w 276"/>
              <a:gd name="T1" fmla="*/ 192 h 282"/>
              <a:gd name="T2" fmla="*/ 6 w 276"/>
              <a:gd name="T3" fmla="*/ 180 h 282"/>
              <a:gd name="T4" fmla="*/ 18 w 276"/>
              <a:gd name="T5" fmla="*/ 162 h 282"/>
              <a:gd name="T6" fmla="*/ 30 w 276"/>
              <a:gd name="T7" fmla="*/ 180 h 282"/>
              <a:gd name="T8" fmla="*/ 48 w 276"/>
              <a:gd name="T9" fmla="*/ 186 h 282"/>
              <a:gd name="T10" fmla="*/ 60 w 276"/>
              <a:gd name="T11" fmla="*/ 198 h 282"/>
              <a:gd name="T12" fmla="*/ 84 w 276"/>
              <a:gd name="T13" fmla="*/ 216 h 282"/>
              <a:gd name="T14" fmla="*/ 96 w 276"/>
              <a:gd name="T15" fmla="*/ 210 h 282"/>
              <a:gd name="T16" fmla="*/ 96 w 276"/>
              <a:gd name="T17" fmla="*/ 198 h 282"/>
              <a:gd name="T18" fmla="*/ 108 w 276"/>
              <a:gd name="T19" fmla="*/ 186 h 282"/>
              <a:gd name="T20" fmla="*/ 120 w 276"/>
              <a:gd name="T21" fmla="*/ 168 h 282"/>
              <a:gd name="T22" fmla="*/ 144 w 276"/>
              <a:gd name="T23" fmla="*/ 156 h 282"/>
              <a:gd name="T24" fmla="*/ 150 w 276"/>
              <a:gd name="T25" fmla="*/ 138 h 282"/>
              <a:gd name="T26" fmla="*/ 186 w 276"/>
              <a:gd name="T27" fmla="*/ 114 h 282"/>
              <a:gd name="T28" fmla="*/ 180 w 276"/>
              <a:gd name="T29" fmla="*/ 108 h 282"/>
              <a:gd name="T30" fmla="*/ 156 w 276"/>
              <a:gd name="T31" fmla="*/ 84 h 282"/>
              <a:gd name="T32" fmla="*/ 168 w 276"/>
              <a:gd name="T33" fmla="*/ 42 h 282"/>
              <a:gd name="T34" fmla="*/ 174 w 276"/>
              <a:gd name="T35" fmla="*/ 36 h 282"/>
              <a:gd name="T36" fmla="*/ 174 w 276"/>
              <a:gd name="T37" fmla="*/ 30 h 282"/>
              <a:gd name="T38" fmla="*/ 180 w 276"/>
              <a:gd name="T39" fmla="*/ 18 h 282"/>
              <a:gd name="T40" fmla="*/ 180 w 276"/>
              <a:gd name="T41" fmla="*/ 6 h 282"/>
              <a:gd name="T42" fmla="*/ 192 w 276"/>
              <a:gd name="T43" fmla="*/ 6 h 282"/>
              <a:gd name="T44" fmla="*/ 198 w 276"/>
              <a:gd name="T45" fmla="*/ 0 h 282"/>
              <a:gd name="T46" fmla="*/ 210 w 276"/>
              <a:gd name="T47" fmla="*/ 0 h 282"/>
              <a:gd name="T48" fmla="*/ 216 w 276"/>
              <a:gd name="T49" fmla="*/ 0 h 282"/>
              <a:gd name="T50" fmla="*/ 228 w 276"/>
              <a:gd name="T51" fmla="*/ 0 h 282"/>
              <a:gd name="T52" fmla="*/ 240 w 276"/>
              <a:gd name="T53" fmla="*/ 12 h 282"/>
              <a:gd name="T54" fmla="*/ 246 w 276"/>
              <a:gd name="T55" fmla="*/ 18 h 282"/>
              <a:gd name="T56" fmla="*/ 252 w 276"/>
              <a:gd name="T57" fmla="*/ 30 h 282"/>
              <a:gd name="T58" fmla="*/ 258 w 276"/>
              <a:gd name="T59" fmla="*/ 42 h 282"/>
              <a:gd name="T60" fmla="*/ 270 w 276"/>
              <a:gd name="T61" fmla="*/ 60 h 282"/>
              <a:gd name="T62" fmla="*/ 270 w 276"/>
              <a:gd name="T63" fmla="*/ 66 h 282"/>
              <a:gd name="T64" fmla="*/ 270 w 276"/>
              <a:gd name="T65" fmla="*/ 84 h 282"/>
              <a:gd name="T66" fmla="*/ 270 w 276"/>
              <a:gd name="T67" fmla="*/ 90 h 282"/>
              <a:gd name="T68" fmla="*/ 264 w 276"/>
              <a:gd name="T69" fmla="*/ 102 h 282"/>
              <a:gd name="T70" fmla="*/ 264 w 276"/>
              <a:gd name="T71" fmla="*/ 114 h 282"/>
              <a:gd name="T72" fmla="*/ 270 w 276"/>
              <a:gd name="T73" fmla="*/ 114 h 282"/>
              <a:gd name="T74" fmla="*/ 252 w 276"/>
              <a:gd name="T75" fmla="*/ 138 h 282"/>
              <a:gd name="T76" fmla="*/ 246 w 276"/>
              <a:gd name="T77" fmla="*/ 174 h 282"/>
              <a:gd name="T78" fmla="*/ 216 w 276"/>
              <a:gd name="T79" fmla="*/ 204 h 282"/>
              <a:gd name="T80" fmla="*/ 204 w 276"/>
              <a:gd name="T81" fmla="*/ 228 h 282"/>
              <a:gd name="T82" fmla="*/ 198 w 276"/>
              <a:gd name="T83" fmla="*/ 252 h 282"/>
              <a:gd name="T84" fmla="*/ 174 w 276"/>
              <a:gd name="T85" fmla="*/ 282 h 282"/>
              <a:gd name="T86" fmla="*/ 162 w 276"/>
              <a:gd name="T87" fmla="*/ 276 h 282"/>
              <a:gd name="T88" fmla="*/ 144 w 276"/>
              <a:gd name="T89" fmla="*/ 258 h 282"/>
              <a:gd name="T90" fmla="*/ 132 w 276"/>
              <a:gd name="T91" fmla="*/ 258 h 282"/>
              <a:gd name="T92" fmla="*/ 120 w 276"/>
              <a:gd name="T93" fmla="*/ 252 h 282"/>
              <a:gd name="T94" fmla="*/ 108 w 276"/>
              <a:gd name="T95" fmla="*/ 258 h 282"/>
              <a:gd name="T96" fmla="*/ 96 w 276"/>
              <a:gd name="T97" fmla="*/ 264 h 282"/>
              <a:gd name="T98" fmla="*/ 84 w 276"/>
              <a:gd name="T99" fmla="*/ 270 h 282"/>
              <a:gd name="T100" fmla="*/ 78 w 276"/>
              <a:gd name="T101" fmla="*/ 270 h 282"/>
              <a:gd name="T102" fmla="*/ 66 w 276"/>
              <a:gd name="T103" fmla="*/ 270 h 282"/>
              <a:gd name="T104" fmla="*/ 54 w 276"/>
              <a:gd name="T105" fmla="*/ 270 h 282"/>
              <a:gd name="T106" fmla="*/ 42 w 276"/>
              <a:gd name="T107" fmla="*/ 276 h 282"/>
              <a:gd name="T108" fmla="*/ 30 w 276"/>
              <a:gd name="T109" fmla="*/ 270 h 282"/>
              <a:gd name="T110" fmla="*/ 24 w 276"/>
              <a:gd name="T111" fmla="*/ 270 h 282"/>
              <a:gd name="T112" fmla="*/ 18 w 276"/>
              <a:gd name="T113" fmla="*/ 246 h 282"/>
              <a:gd name="T114" fmla="*/ 18 w 276"/>
              <a:gd name="T115" fmla="*/ 240 h 282"/>
              <a:gd name="T116" fmla="*/ 12 w 276"/>
              <a:gd name="T117" fmla="*/ 228 h 282"/>
              <a:gd name="T118" fmla="*/ 6 w 276"/>
              <a:gd name="T119" fmla="*/ 216 h 2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76" h="282">
                <a:moveTo>
                  <a:pt x="0" y="210"/>
                </a:moveTo>
                <a:lnTo>
                  <a:pt x="0" y="204"/>
                </a:lnTo>
                <a:lnTo>
                  <a:pt x="6" y="204"/>
                </a:lnTo>
                <a:lnTo>
                  <a:pt x="6" y="204"/>
                </a:lnTo>
                <a:lnTo>
                  <a:pt x="6" y="204"/>
                </a:lnTo>
                <a:lnTo>
                  <a:pt x="6" y="198"/>
                </a:lnTo>
                <a:lnTo>
                  <a:pt x="12" y="192"/>
                </a:lnTo>
                <a:lnTo>
                  <a:pt x="12" y="192"/>
                </a:lnTo>
                <a:lnTo>
                  <a:pt x="6" y="192"/>
                </a:lnTo>
                <a:lnTo>
                  <a:pt x="6" y="192"/>
                </a:lnTo>
                <a:lnTo>
                  <a:pt x="6" y="186"/>
                </a:lnTo>
                <a:lnTo>
                  <a:pt x="6" y="186"/>
                </a:lnTo>
                <a:lnTo>
                  <a:pt x="6" y="186"/>
                </a:lnTo>
                <a:lnTo>
                  <a:pt x="6" y="180"/>
                </a:lnTo>
                <a:lnTo>
                  <a:pt x="6" y="180"/>
                </a:lnTo>
                <a:lnTo>
                  <a:pt x="6" y="180"/>
                </a:lnTo>
                <a:lnTo>
                  <a:pt x="6" y="180"/>
                </a:lnTo>
                <a:lnTo>
                  <a:pt x="6" y="180"/>
                </a:lnTo>
                <a:lnTo>
                  <a:pt x="6" y="180"/>
                </a:lnTo>
                <a:lnTo>
                  <a:pt x="6" y="180"/>
                </a:lnTo>
                <a:lnTo>
                  <a:pt x="6" y="174"/>
                </a:lnTo>
                <a:lnTo>
                  <a:pt x="12" y="174"/>
                </a:lnTo>
                <a:lnTo>
                  <a:pt x="12" y="174"/>
                </a:lnTo>
                <a:lnTo>
                  <a:pt x="12" y="174"/>
                </a:lnTo>
                <a:lnTo>
                  <a:pt x="12" y="168"/>
                </a:lnTo>
                <a:lnTo>
                  <a:pt x="12" y="168"/>
                </a:lnTo>
                <a:lnTo>
                  <a:pt x="12" y="168"/>
                </a:lnTo>
                <a:lnTo>
                  <a:pt x="12" y="168"/>
                </a:lnTo>
                <a:lnTo>
                  <a:pt x="12" y="162"/>
                </a:lnTo>
                <a:lnTo>
                  <a:pt x="18" y="162"/>
                </a:lnTo>
                <a:lnTo>
                  <a:pt x="18" y="156"/>
                </a:lnTo>
                <a:lnTo>
                  <a:pt x="18" y="156"/>
                </a:lnTo>
                <a:lnTo>
                  <a:pt x="24" y="162"/>
                </a:lnTo>
                <a:lnTo>
                  <a:pt x="24" y="162"/>
                </a:lnTo>
                <a:lnTo>
                  <a:pt x="24" y="168"/>
                </a:lnTo>
                <a:lnTo>
                  <a:pt x="30" y="174"/>
                </a:lnTo>
                <a:lnTo>
                  <a:pt x="30" y="174"/>
                </a:lnTo>
                <a:lnTo>
                  <a:pt x="30" y="174"/>
                </a:lnTo>
                <a:lnTo>
                  <a:pt x="30" y="180"/>
                </a:lnTo>
                <a:lnTo>
                  <a:pt x="30" y="180"/>
                </a:lnTo>
                <a:lnTo>
                  <a:pt x="36" y="180"/>
                </a:lnTo>
                <a:lnTo>
                  <a:pt x="36" y="180"/>
                </a:lnTo>
                <a:lnTo>
                  <a:pt x="36" y="180"/>
                </a:lnTo>
                <a:lnTo>
                  <a:pt x="42" y="180"/>
                </a:lnTo>
                <a:lnTo>
                  <a:pt x="42" y="186"/>
                </a:lnTo>
                <a:lnTo>
                  <a:pt x="42" y="186"/>
                </a:lnTo>
                <a:lnTo>
                  <a:pt x="42" y="186"/>
                </a:lnTo>
                <a:lnTo>
                  <a:pt x="48" y="186"/>
                </a:lnTo>
                <a:lnTo>
                  <a:pt x="48" y="186"/>
                </a:lnTo>
                <a:lnTo>
                  <a:pt x="48" y="186"/>
                </a:lnTo>
                <a:lnTo>
                  <a:pt x="48" y="186"/>
                </a:lnTo>
                <a:lnTo>
                  <a:pt x="48" y="186"/>
                </a:lnTo>
                <a:lnTo>
                  <a:pt x="48" y="186"/>
                </a:lnTo>
                <a:lnTo>
                  <a:pt x="48" y="186"/>
                </a:lnTo>
                <a:lnTo>
                  <a:pt x="48" y="192"/>
                </a:lnTo>
                <a:lnTo>
                  <a:pt x="54" y="192"/>
                </a:lnTo>
                <a:lnTo>
                  <a:pt x="54" y="192"/>
                </a:lnTo>
                <a:lnTo>
                  <a:pt x="54" y="192"/>
                </a:lnTo>
                <a:lnTo>
                  <a:pt x="54" y="192"/>
                </a:lnTo>
                <a:lnTo>
                  <a:pt x="60" y="198"/>
                </a:lnTo>
                <a:lnTo>
                  <a:pt x="60" y="204"/>
                </a:lnTo>
                <a:lnTo>
                  <a:pt x="66" y="204"/>
                </a:lnTo>
                <a:lnTo>
                  <a:pt x="72" y="210"/>
                </a:lnTo>
                <a:lnTo>
                  <a:pt x="72" y="210"/>
                </a:lnTo>
                <a:lnTo>
                  <a:pt x="72" y="210"/>
                </a:lnTo>
                <a:lnTo>
                  <a:pt x="78" y="210"/>
                </a:lnTo>
                <a:lnTo>
                  <a:pt x="78" y="216"/>
                </a:lnTo>
                <a:lnTo>
                  <a:pt x="78" y="216"/>
                </a:lnTo>
                <a:lnTo>
                  <a:pt x="84" y="216"/>
                </a:lnTo>
                <a:lnTo>
                  <a:pt x="84" y="216"/>
                </a:lnTo>
                <a:lnTo>
                  <a:pt x="90" y="216"/>
                </a:lnTo>
                <a:lnTo>
                  <a:pt x="90" y="216"/>
                </a:lnTo>
                <a:lnTo>
                  <a:pt x="90" y="216"/>
                </a:lnTo>
                <a:lnTo>
                  <a:pt x="90" y="216"/>
                </a:lnTo>
                <a:lnTo>
                  <a:pt x="90" y="216"/>
                </a:lnTo>
                <a:lnTo>
                  <a:pt x="96" y="216"/>
                </a:lnTo>
                <a:lnTo>
                  <a:pt x="96" y="216"/>
                </a:lnTo>
                <a:lnTo>
                  <a:pt x="102" y="216"/>
                </a:lnTo>
                <a:lnTo>
                  <a:pt x="102" y="216"/>
                </a:lnTo>
                <a:lnTo>
                  <a:pt x="96" y="210"/>
                </a:lnTo>
                <a:lnTo>
                  <a:pt x="96" y="210"/>
                </a:lnTo>
                <a:lnTo>
                  <a:pt x="96" y="210"/>
                </a:lnTo>
                <a:lnTo>
                  <a:pt x="96" y="210"/>
                </a:lnTo>
                <a:lnTo>
                  <a:pt x="96" y="210"/>
                </a:lnTo>
                <a:lnTo>
                  <a:pt x="96" y="204"/>
                </a:lnTo>
                <a:lnTo>
                  <a:pt x="96" y="204"/>
                </a:lnTo>
                <a:lnTo>
                  <a:pt x="90" y="204"/>
                </a:lnTo>
                <a:lnTo>
                  <a:pt x="90" y="204"/>
                </a:lnTo>
                <a:lnTo>
                  <a:pt x="90" y="204"/>
                </a:lnTo>
                <a:lnTo>
                  <a:pt x="96" y="198"/>
                </a:lnTo>
                <a:lnTo>
                  <a:pt x="96" y="198"/>
                </a:lnTo>
                <a:lnTo>
                  <a:pt x="96" y="192"/>
                </a:lnTo>
                <a:lnTo>
                  <a:pt x="96" y="192"/>
                </a:lnTo>
                <a:lnTo>
                  <a:pt x="96" y="192"/>
                </a:lnTo>
                <a:lnTo>
                  <a:pt x="102" y="186"/>
                </a:lnTo>
                <a:lnTo>
                  <a:pt x="102" y="186"/>
                </a:lnTo>
                <a:lnTo>
                  <a:pt x="102" y="186"/>
                </a:lnTo>
                <a:lnTo>
                  <a:pt x="108" y="180"/>
                </a:lnTo>
                <a:lnTo>
                  <a:pt x="108" y="186"/>
                </a:lnTo>
                <a:lnTo>
                  <a:pt x="108" y="186"/>
                </a:lnTo>
                <a:lnTo>
                  <a:pt x="114" y="180"/>
                </a:lnTo>
                <a:lnTo>
                  <a:pt x="120" y="186"/>
                </a:lnTo>
                <a:lnTo>
                  <a:pt x="120" y="180"/>
                </a:lnTo>
                <a:lnTo>
                  <a:pt x="120" y="180"/>
                </a:lnTo>
                <a:lnTo>
                  <a:pt x="120" y="180"/>
                </a:lnTo>
                <a:lnTo>
                  <a:pt x="126" y="180"/>
                </a:lnTo>
                <a:lnTo>
                  <a:pt x="120" y="174"/>
                </a:lnTo>
                <a:lnTo>
                  <a:pt x="120" y="174"/>
                </a:lnTo>
                <a:lnTo>
                  <a:pt x="120" y="168"/>
                </a:lnTo>
                <a:lnTo>
                  <a:pt x="120" y="168"/>
                </a:lnTo>
                <a:lnTo>
                  <a:pt x="126" y="168"/>
                </a:lnTo>
                <a:lnTo>
                  <a:pt x="132" y="168"/>
                </a:lnTo>
                <a:lnTo>
                  <a:pt x="132" y="162"/>
                </a:lnTo>
                <a:lnTo>
                  <a:pt x="132" y="162"/>
                </a:lnTo>
                <a:lnTo>
                  <a:pt x="138" y="162"/>
                </a:lnTo>
                <a:lnTo>
                  <a:pt x="138" y="162"/>
                </a:lnTo>
                <a:lnTo>
                  <a:pt x="138" y="156"/>
                </a:lnTo>
                <a:lnTo>
                  <a:pt x="138" y="156"/>
                </a:lnTo>
                <a:lnTo>
                  <a:pt x="144" y="156"/>
                </a:lnTo>
                <a:lnTo>
                  <a:pt x="144" y="156"/>
                </a:lnTo>
                <a:lnTo>
                  <a:pt x="144" y="156"/>
                </a:lnTo>
                <a:lnTo>
                  <a:pt x="144" y="150"/>
                </a:lnTo>
                <a:lnTo>
                  <a:pt x="144" y="150"/>
                </a:lnTo>
                <a:lnTo>
                  <a:pt x="144" y="150"/>
                </a:lnTo>
                <a:lnTo>
                  <a:pt x="144" y="150"/>
                </a:lnTo>
                <a:lnTo>
                  <a:pt x="150" y="144"/>
                </a:lnTo>
                <a:lnTo>
                  <a:pt x="150" y="138"/>
                </a:lnTo>
                <a:lnTo>
                  <a:pt x="150" y="138"/>
                </a:lnTo>
                <a:lnTo>
                  <a:pt x="150" y="138"/>
                </a:lnTo>
                <a:lnTo>
                  <a:pt x="150" y="138"/>
                </a:lnTo>
                <a:lnTo>
                  <a:pt x="150" y="132"/>
                </a:lnTo>
                <a:lnTo>
                  <a:pt x="150" y="132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0"/>
                </a:lnTo>
                <a:lnTo>
                  <a:pt x="150" y="120"/>
                </a:lnTo>
                <a:lnTo>
                  <a:pt x="186" y="114"/>
                </a:lnTo>
                <a:lnTo>
                  <a:pt x="186" y="114"/>
                </a:lnTo>
                <a:lnTo>
                  <a:pt x="186" y="114"/>
                </a:lnTo>
                <a:lnTo>
                  <a:pt x="186" y="114"/>
                </a:lnTo>
                <a:lnTo>
                  <a:pt x="192" y="114"/>
                </a:lnTo>
                <a:lnTo>
                  <a:pt x="192" y="114"/>
                </a:lnTo>
                <a:lnTo>
                  <a:pt x="192" y="114"/>
                </a:lnTo>
                <a:lnTo>
                  <a:pt x="192" y="114"/>
                </a:lnTo>
                <a:lnTo>
                  <a:pt x="192" y="108"/>
                </a:lnTo>
                <a:lnTo>
                  <a:pt x="186" y="108"/>
                </a:lnTo>
                <a:lnTo>
                  <a:pt x="186" y="108"/>
                </a:lnTo>
                <a:lnTo>
                  <a:pt x="180" y="108"/>
                </a:lnTo>
                <a:lnTo>
                  <a:pt x="174" y="108"/>
                </a:lnTo>
                <a:lnTo>
                  <a:pt x="162" y="90"/>
                </a:lnTo>
                <a:lnTo>
                  <a:pt x="162" y="96"/>
                </a:lnTo>
                <a:lnTo>
                  <a:pt x="156" y="96"/>
                </a:lnTo>
                <a:lnTo>
                  <a:pt x="156" y="96"/>
                </a:lnTo>
                <a:lnTo>
                  <a:pt x="156" y="96"/>
                </a:lnTo>
                <a:lnTo>
                  <a:pt x="150" y="96"/>
                </a:lnTo>
                <a:lnTo>
                  <a:pt x="150" y="96"/>
                </a:lnTo>
                <a:lnTo>
                  <a:pt x="156" y="84"/>
                </a:lnTo>
                <a:lnTo>
                  <a:pt x="156" y="84"/>
                </a:lnTo>
                <a:lnTo>
                  <a:pt x="156" y="78"/>
                </a:lnTo>
                <a:lnTo>
                  <a:pt x="162" y="72"/>
                </a:lnTo>
                <a:lnTo>
                  <a:pt x="162" y="66"/>
                </a:lnTo>
                <a:lnTo>
                  <a:pt x="168" y="54"/>
                </a:lnTo>
                <a:lnTo>
                  <a:pt x="174" y="48"/>
                </a:lnTo>
                <a:lnTo>
                  <a:pt x="168" y="48"/>
                </a:lnTo>
                <a:lnTo>
                  <a:pt x="168" y="42"/>
                </a:lnTo>
                <a:lnTo>
                  <a:pt x="168" y="42"/>
                </a:lnTo>
                <a:lnTo>
                  <a:pt x="168" y="42"/>
                </a:lnTo>
                <a:lnTo>
                  <a:pt x="168" y="42"/>
                </a:lnTo>
                <a:lnTo>
                  <a:pt x="168" y="42"/>
                </a:lnTo>
                <a:lnTo>
                  <a:pt x="168" y="42"/>
                </a:lnTo>
                <a:lnTo>
                  <a:pt x="174" y="42"/>
                </a:lnTo>
                <a:lnTo>
                  <a:pt x="174" y="36"/>
                </a:lnTo>
                <a:lnTo>
                  <a:pt x="174" y="36"/>
                </a:lnTo>
                <a:lnTo>
                  <a:pt x="168" y="36"/>
                </a:lnTo>
                <a:lnTo>
                  <a:pt x="168" y="36"/>
                </a:lnTo>
                <a:lnTo>
                  <a:pt x="168" y="36"/>
                </a:lnTo>
                <a:lnTo>
                  <a:pt x="168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80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24"/>
                </a:lnTo>
                <a:lnTo>
                  <a:pt x="174" y="24"/>
                </a:lnTo>
                <a:lnTo>
                  <a:pt x="174" y="24"/>
                </a:lnTo>
                <a:lnTo>
                  <a:pt x="174" y="24"/>
                </a:lnTo>
                <a:lnTo>
                  <a:pt x="180" y="24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2"/>
                </a:lnTo>
                <a:lnTo>
                  <a:pt x="180" y="12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74" y="6"/>
                </a:lnTo>
                <a:lnTo>
                  <a:pt x="174" y="6"/>
                </a:lnTo>
                <a:lnTo>
                  <a:pt x="180" y="6"/>
                </a:lnTo>
                <a:lnTo>
                  <a:pt x="180" y="6"/>
                </a:lnTo>
                <a:lnTo>
                  <a:pt x="180" y="6"/>
                </a:lnTo>
                <a:lnTo>
                  <a:pt x="180" y="6"/>
                </a:lnTo>
                <a:lnTo>
                  <a:pt x="180" y="6"/>
                </a:lnTo>
                <a:lnTo>
                  <a:pt x="180" y="6"/>
                </a:lnTo>
                <a:lnTo>
                  <a:pt x="180" y="6"/>
                </a:lnTo>
                <a:lnTo>
                  <a:pt x="186" y="6"/>
                </a:lnTo>
                <a:lnTo>
                  <a:pt x="186" y="6"/>
                </a:lnTo>
                <a:lnTo>
                  <a:pt x="186" y="6"/>
                </a:lnTo>
                <a:lnTo>
                  <a:pt x="186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8" y="6"/>
                </a:lnTo>
                <a:lnTo>
                  <a:pt x="198" y="6"/>
                </a:lnTo>
                <a:lnTo>
                  <a:pt x="198" y="6"/>
                </a:lnTo>
                <a:lnTo>
                  <a:pt x="198" y="6"/>
                </a:lnTo>
                <a:lnTo>
                  <a:pt x="198" y="0"/>
                </a:lnTo>
                <a:lnTo>
                  <a:pt x="198" y="0"/>
                </a:lnTo>
                <a:lnTo>
                  <a:pt x="198" y="0"/>
                </a:lnTo>
                <a:lnTo>
                  <a:pt x="198" y="0"/>
                </a:lnTo>
                <a:lnTo>
                  <a:pt x="198" y="0"/>
                </a:lnTo>
                <a:lnTo>
                  <a:pt x="198" y="0"/>
                </a:lnTo>
                <a:lnTo>
                  <a:pt x="204" y="0"/>
                </a:lnTo>
                <a:lnTo>
                  <a:pt x="204" y="0"/>
                </a:lnTo>
                <a:lnTo>
                  <a:pt x="204" y="0"/>
                </a:lnTo>
                <a:lnTo>
                  <a:pt x="210" y="0"/>
                </a:lnTo>
                <a:lnTo>
                  <a:pt x="210" y="6"/>
                </a:lnTo>
                <a:lnTo>
                  <a:pt x="210" y="0"/>
                </a:lnTo>
                <a:lnTo>
                  <a:pt x="210" y="6"/>
                </a:lnTo>
                <a:lnTo>
                  <a:pt x="210" y="6"/>
                </a:lnTo>
                <a:lnTo>
                  <a:pt x="210" y="6"/>
                </a:lnTo>
                <a:lnTo>
                  <a:pt x="210" y="6"/>
                </a:lnTo>
                <a:lnTo>
                  <a:pt x="216" y="6"/>
                </a:lnTo>
                <a:lnTo>
                  <a:pt x="216" y="0"/>
                </a:lnTo>
                <a:lnTo>
                  <a:pt x="216" y="0"/>
                </a:lnTo>
                <a:lnTo>
                  <a:pt x="216" y="0"/>
                </a:lnTo>
                <a:lnTo>
                  <a:pt x="216" y="0"/>
                </a:lnTo>
                <a:lnTo>
                  <a:pt x="216" y="0"/>
                </a:lnTo>
                <a:lnTo>
                  <a:pt x="216" y="0"/>
                </a:lnTo>
                <a:lnTo>
                  <a:pt x="222" y="6"/>
                </a:lnTo>
                <a:lnTo>
                  <a:pt x="222" y="0"/>
                </a:lnTo>
                <a:lnTo>
                  <a:pt x="222" y="0"/>
                </a:lnTo>
                <a:lnTo>
                  <a:pt x="222" y="0"/>
                </a:lnTo>
                <a:lnTo>
                  <a:pt x="222" y="0"/>
                </a:lnTo>
                <a:lnTo>
                  <a:pt x="222" y="0"/>
                </a:lnTo>
                <a:lnTo>
                  <a:pt x="228" y="0"/>
                </a:lnTo>
                <a:lnTo>
                  <a:pt x="228" y="0"/>
                </a:lnTo>
                <a:lnTo>
                  <a:pt x="228" y="0"/>
                </a:lnTo>
                <a:lnTo>
                  <a:pt x="228" y="6"/>
                </a:lnTo>
                <a:lnTo>
                  <a:pt x="228" y="6"/>
                </a:lnTo>
                <a:lnTo>
                  <a:pt x="234" y="6"/>
                </a:lnTo>
                <a:lnTo>
                  <a:pt x="234" y="6"/>
                </a:lnTo>
                <a:lnTo>
                  <a:pt x="234" y="6"/>
                </a:lnTo>
                <a:lnTo>
                  <a:pt x="234" y="6"/>
                </a:lnTo>
                <a:lnTo>
                  <a:pt x="240" y="12"/>
                </a:lnTo>
                <a:lnTo>
                  <a:pt x="240" y="12"/>
                </a:lnTo>
                <a:lnTo>
                  <a:pt x="234" y="12"/>
                </a:lnTo>
                <a:lnTo>
                  <a:pt x="240" y="12"/>
                </a:lnTo>
                <a:lnTo>
                  <a:pt x="240" y="12"/>
                </a:lnTo>
                <a:lnTo>
                  <a:pt x="240" y="12"/>
                </a:lnTo>
                <a:lnTo>
                  <a:pt x="240" y="12"/>
                </a:lnTo>
                <a:lnTo>
                  <a:pt x="240" y="12"/>
                </a:lnTo>
                <a:lnTo>
                  <a:pt x="240" y="12"/>
                </a:lnTo>
                <a:lnTo>
                  <a:pt x="240" y="12"/>
                </a:lnTo>
                <a:lnTo>
                  <a:pt x="240" y="18"/>
                </a:lnTo>
                <a:lnTo>
                  <a:pt x="246" y="18"/>
                </a:lnTo>
                <a:lnTo>
                  <a:pt x="246" y="18"/>
                </a:lnTo>
                <a:lnTo>
                  <a:pt x="246" y="18"/>
                </a:lnTo>
                <a:lnTo>
                  <a:pt x="246" y="18"/>
                </a:lnTo>
                <a:lnTo>
                  <a:pt x="246" y="18"/>
                </a:lnTo>
                <a:lnTo>
                  <a:pt x="246" y="24"/>
                </a:lnTo>
                <a:lnTo>
                  <a:pt x="246" y="24"/>
                </a:lnTo>
                <a:lnTo>
                  <a:pt x="246" y="24"/>
                </a:lnTo>
                <a:lnTo>
                  <a:pt x="252" y="24"/>
                </a:lnTo>
                <a:lnTo>
                  <a:pt x="252" y="30"/>
                </a:lnTo>
                <a:lnTo>
                  <a:pt x="252" y="30"/>
                </a:lnTo>
                <a:lnTo>
                  <a:pt x="252" y="30"/>
                </a:lnTo>
                <a:lnTo>
                  <a:pt x="252" y="30"/>
                </a:lnTo>
                <a:lnTo>
                  <a:pt x="258" y="30"/>
                </a:lnTo>
                <a:lnTo>
                  <a:pt x="258" y="36"/>
                </a:lnTo>
                <a:lnTo>
                  <a:pt x="258" y="36"/>
                </a:lnTo>
                <a:lnTo>
                  <a:pt x="258" y="36"/>
                </a:lnTo>
                <a:lnTo>
                  <a:pt x="258" y="36"/>
                </a:lnTo>
                <a:lnTo>
                  <a:pt x="258" y="36"/>
                </a:lnTo>
                <a:lnTo>
                  <a:pt x="258" y="36"/>
                </a:lnTo>
                <a:lnTo>
                  <a:pt x="258" y="42"/>
                </a:lnTo>
                <a:lnTo>
                  <a:pt x="258" y="42"/>
                </a:lnTo>
                <a:lnTo>
                  <a:pt x="258" y="42"/>
                </a:lnTo>
                <a:lnTo>
                  <a:pt x="264" y="42"/>
                </a:lnTo>
                <a:lnTo>
                  <a:pt x="264" y="48"/>
                </a:lnTo>
                <a:lnTo>
                  <a:pt x="264" y="48"/>
                </a:lnTo>
                <a:lnTo>
                  <a:pt x="264" y="48"/>
                </a:lnTo>
                <a:lnTo>
                  <a:pt x="264" y="48"/>
                </a:lnTo>
                <a:lnTo>
                  <a:pt x="264" y="54"/>
                </a:lnTo>
                <a:lnTo>
                  <a:pt x="264" y="54"/>
                </a:lnTo>
                <a:lnTo>
                  <a:pt x="264" y="54"/>
                </a:lnTo>
                <a:lnTo>
                  <a:pt x="264" y="54"/>
                </a:lnTo>
                <a:lnTo>
                  <a:pt x="270" y="60"/>
                </a:lnTo>
                <a:lnTo>
                  <a:pt x="270" y="60"/>
                </a:lnTo>
                <a:lnTo>
                  <a:pt x="264" y="60"/>
                </a:lnTo>
                <a:lnTo>
                  <a:pt x="264" y="60"/>
                </a:lnTo>
                <a:lnTo>
                  <a:pt x="264" y="60"/>
                </a:lnTo>
                <a:lnTo>
                  <a:pt x="264" y="60"/>
                </a:lnTo>
                <a:lnTo>
                  <a:pt x="264" y="60"/>
                </a:lnTo>
                <a:lnTo>
                  <a:pt x="264" y="66"/>
                </a:lnTo>
                <a:lnTo>
                  <a:pt x="270" y="66"/>
                </a:lnTo>
                <a:lnTo>
                  <a:pt x="270" y="66"/>
                </a:lnTo>
                <a:lnTo>
                  <a:pt x="270" y="66"/>
                </a:lnTo>
                <a:lnTo>
                  <a:pt x="270" y="66"/>
                </a:lnTo>
                <a:lnTo>
                  <a:pt x="270" y="72"/>
                </a:lnTo>
                <a:lnTo>
                  <a:pt x="270" y="72"/>
                </a:lnTo>
                <a:lnTo>
                  <a:pt x="270" y="72"/>
                </a:lnTo>
                <a:lnTo>
                  <a:pt x="276" y="72"/>
                </a:lnTo>
                <a:lnTo>
                  <a:pt x="276" y="72"/>
                </a:lnTo>
                <a:lnTo>
                  <a:pt x="270" y="78"/>
                </a:lnTo>
                <a:lnTo>
                  <a:pt x="270" y="78"/>
                </a:lnTo>
                <a:lnTo>
                  <a:pt x="270" y="78"/>
                </a:lnTo>
                <a:lnTo>
                  <a:pt x="270" y="84"/>
                </a:lnTo>
                <a:lnTo>
                  <a:pt x="270" y="84"/>
                </a:lnTo>
                <a:lnTo>
                  <a:pt x="264" y="84"/>
                </a:lnTo>
                <a:lnTo>
                  <a:pt x="264" y="84"/>
                </a:lnTo>
                <a:lnTo>
                  <a:pt x="264" y="90"/>
                </a:lnTo>
                <a:lnTo>
                  <a:pt x="264" y="90"/>
                </a:lnTo>
                <a:lnTo>
                  <a:pt x="264" y="90"/>
                </a:lnTo>
                <a:lnTo>
                  <a:pt x="264" y="90"/>
                </a:lnTo>
                <a:lnTo>
                  <a:pt x="270" y="90"/>
                </a:lnTo>
                <a:lnTo>
                  <a:pt x="270" y="90"/>
                </a:lnTo>
                <a:lnTo>
                  <a:pt x="270" y="90"/>
                </a:lnTo>
                <a:lnTo>
                  <a:pt x="270" y="90"/>
                </a:lnTo>
                <a:lnTo>
                  <a:pt x="270" y="90"/>
                </a:lnTo>
                <a:lnTo>
                  <a:pt x="270" y="90"/>
                </a:lnTo>
                <a:lnTo>
                  <a:pt x="270" y="96"/>
                </a:lnTo>
                <a:lnTo>
                  <a:pt x="270" y="90"/>
                </a:lnTo>
                <a:lnTo>
                  <a:pt x="270" y="96"/>
                </a:lnTo>
                <a:lnTo>
                  <a:pt x="270" y="96"/>
                </a:lnTo>
                <a:lnTo>
                  <a:pt x="270" y="96"/>
                </a:lnTo>
                <a:lnTo>
                  <a:pt x="270" y="96"/>
                </a:lnTo>
                <a:lnTo>
                  <a:pt x="264" y="102"/>
                </a:lnTo>
                <a:lnTo>
                  <a:pt x="264" y="102"/>
                </a:lnTo>
                <a:lnTo>
                  <a:pt x="264" y="102"/>
                </a:lnTo>
                <a:lnTo>
                  <a:pt x="264" y="102"/>
                </a:lnTo>
                <a:lnTo>
                  <a:pt x="264" y="102"/>
                </a:lnTo>
                <a:lnTo>
                  <a:pt x="264" y="102"/>
                </a:lnTo>
                <a:lnTo>
                  <a:pt x="264" y="102"/>
                </a:lnTo>
                <a:lnTo>
                  <a:pt x="264" y="108"/>
                </a:lnTo>
                <a:lnTo>
                  <a:pt x="270" y="108"/>
                </a:lnTo>
                <a:lnTo>
                  <a:pt x="264" y="108"/>
                </a:lnTo>
                <a:lnTo>
                  <a:pt x="264" y="114"/>
                </a:lnTo>
                <a:lnTo>
                  <a:pt x="270" y="108"/>
                </a:lnTo>
                <a:lnTo>
                  <a:pt x="270" y="108"/>
                </a:lnTo>
                <a:lnTo>
                  <a:pt x="270" y="114"/>
                </a:lnTo>
                <a:lnTo>
                  <a:pt x="270" y="114"/>
                </a:lnTo>
                <a:lnTo>
                  <a:pt x="270" y="114"/>
                </a:lnTo>
                <a:lnTo>
                  <a:pt x="276" y="114"/>
                </a:lnTo>
                <a:lnTo>
                  <a:pt x="270" y="114"/>
                </a:lnTo>
                <a:lnTo>
                  <a:pt x="270" y="114"/>
                </a:lnTo>
                <a:lnTo>
                  <a:pt x="270" y="114"/>
                </a:lnTo>
                <a:lnTo>
                  <a:pt x="270" y="114"/>
                </a:lnTo>
                <a:lnTo>
                  <a:pt x="270" y="120"/>
                </a:lnTo>
                <a:lnTo>
                  <a:pt x="264" y="120"/>
                </a:lnTo>
                <a:lnTo>
                  <a:pt x="264" y="126"/>
                </a:lnTo>
                <a:lnTo>
                  <a:pt x="258" y="126"/>
                </a:lnTo>
                <a:lnTo>
                  <a:pt x="258" y="126"/>
                </a:lnTo>
                <a:lnTo>
                  <a:pt x="258" y="132"/>
                </a:lnTo>
                <a:lnTo>
                  <a:pt x="252" y="132"/>
                </a:lnTo>
                <a:lnTo>
                  <a:pt x="252" y="132"/>
                </a:lnTo>
                <a:lnTo>
                  <a:pt x="252" y="132"/>
                </a:lnTo>
                <a:lnTo>
                  <a:pt x="252" y="138"/>
                </a:lnTo>
                <a:lnTo>
                  <a:pt x="252" y="138"/>
                </a:lnTo>
                <a:lnTo>
                  <a:pt x="252" y="144"/>
                </a:lnTo>
                <a:lnTo>
                  <a:pt x="252" y="144"/>
                </a:lnTo>
                <a:lnTo>
                  <a:pt x="252" y="144"/>
                </a:lnTo>
                <a:lnTo>
                  <a:pt x="252" y="144"/>
                </a:lnTo>
                <a:lnTo>
                  <a:pt x="252" y="144"/>
                </a:lnTo>
                <a:lnTo>
                  <a:pt x="252" y="162"/>
                </a:lnTo>
                <a:lnTo>
                  <a:pt x="252" y="162"/>
                </a:lnTo>
                <a:lnTo>
                  <a:pt x="252" y="168"/>
                </a:lnTo>
                <a:lnTo>
                  <a:pt x="246" y="174"/>
                </a:lnTo>
                <a:lnTo>
                  <a:pt x="246" y="180"/>
                </a:lnTo>
                <a:lnTo>
                  <a:pt x="246" y="180"/>
                </a:lnTo>
                <a:lnTo>
                  <a:pt x="246" y="180"/>
                </a:lnTo>
                <a:lnTo>
                  <a:pt x="246" y="180"/>
                </a:lnTo>
                <a:lnTo>
                  <a:pt x="240" y="186"/>
                </a:lnTo>
                <a:lnTo>
                  <a:pt x="240" y="192"/>
                </a:lnTo>
                <a:lnTo>
                  <a:pt x="234" y="192"/>
                </a:lnTo>
                <a:lnTo>
                  <a:pt x="228" y="198"/>
                </a:lnTo>
                <a:lnTo>
                  <a:pt x="222" y="198"/>
                </a:lnTo>
                <a:lnTo>
                  <a:pt x="216" y="204"/>
                </a:lnTo>
                <a:lnTo>
                  <a:pt x="210" y="204"/>
                </a:lnTo>
                <a:lnTo>
                  <a:pt x="210" y="204"/>
                </a:lnTo>
                <a:lnTo>
                  <a:pt x="210" y="204"/>
                </a:lnTo>
                <a:lnTo>
                  <a:pt x="210" y="204"/>
                </a:lnTo>
                <a:lnTo>
                  <a:pt x="210" y="204"/>
                </a:lnTo>
                <a:lnTo>
                  <a:pt x="204" y="210"/>
                </a:lnTo>
                <a:lnTo>
                  <a:pt x="204" y="216"/>
                </a:lnTo>
                <a:lnTo>
                  <a:pt x="204" y="222"/>
                </a:lnTo>
                <a:lnTo>
                  <a:pt x="204" y="228"/>
                </a:lnTo>
                <a:lnTo>
                  <a:pt x="204" y="228"/>
                </a:lnTo>
                <a:lnTo>
                  <a:pt x="198" y="234"/>
                </a:lnTo>
                <a:lnTo>
                  <a:pt x="198" y="234"/>
                </a:lnTo>
                <a:lnTo>
                  <a:pt x="198" y="234"/>
                </a:lnTo>
                <a:lnTo>
                  <a:pt x="198" y="240"/>
                </a:lnTo>
                <a:lnTo>
                  <a:pt x="198" y="240"/>
                </a:lnTo>
                <a:lnTo>
                  <a:pt x="198" y="246"/>
                </a:lnTo>
                <a:lnTo>
                  <a:pt x="198" y="252"/>
                </a:lnTo>
                <a:lnTo>
                  <a:pt x="198" y="252"/>
                </a:lnTo>
                <a:lnTo>
                  <a:pt x="198" y="252"/>
                </a:lnTo>
                <a:lnTo>
                  <a:pt x="198" y="252"/>
                </a:lnTo>
                <a:lnTo>
                  <a:pt x="192" y="252"/>
                </a:lnTo>
                <a:lnTo>
                  <a:pt x="198" y="258"/>
                </a:lnTo>
                <a:lnTo>
                  <a:pt x="198" y="258"/>
                </a:lnTo>
                <a:lnTo>
                  <a:pt x="192" y="270"/>
                </a:lnTo>
                <a:lnTo>
                  <a:pt x="192" y="270"/>
                </a:lnTo>
                <a:lnTo>
                  <a:pt x="192" y="270"/>
                </a:lnTo>
                <a:lnTo>
                  <a:pt x="186" y="276"/>
                </a:lnTo>
                <a:lnTo>
                  <a:pt x="186" y="276"/>
                </a:lnTo>
                <a:lnTo>
                  <a:pt x="174" y="282"/>
                </a:lnTo>
                <a:lnTo>
                  <a:pt x="174" y="282"/>
                </a:lnTo>
                <a:lnTo>
                  <a:pt x="168" y="282"/>
                </a:lnTo>
                <a:lnTo>
                  <a:pt x="168" y="282"/>
                </a:lnTo>
                <a:lnTo>
                  <a:pt x="168" y="282"/>
                </a:lnTo>
                <a:lnTo>
                  <a:pt x="168" y="282"/>
                </a:lnTo>
                <a:lnTo>
                  <a:pt x="168" y="282"/>
                </a:lnTo>
                <a:lnTo>
                  <a:pt x="168" y="282"/>
                </a:lnTo>
                <a:lnTo>
                  <a:pt x="162" y="276"/>
                </a:lnTo>
                <a:lnTo>
                  <a:pt x="162" y="276"/>
                </a:lnTo>
                <a:lnTo>
                  <a:pt x="162" y="276"/>
                </a:lnTo>
                <a:lnTo>
                  <a:pt x="162" y="276"/>
                </a:lnTo>
                <a:lnTo>
                  <a:pt x="156" y="276"/>
                </a:lnTo>
                <a:lnTo>
                  <a:pt x="156" y="276"/>
                </a:lnTo>
                <a:lnTo>
                  <a:pt x="156" y="270"/>
                </a:lnTo>
                <a:lnTo>
                  <a:pt x="150" y="270"/>
                </a:lnTo>
                <a:lnTo>
                  <a:pt x="150" y="264"/>
                </a:lnTo>
                <a:lnTo>
                  <a:pt x="150" y="264"/>
                </a:lnTo>
                <a:lnTo>
                  <a:pt x="150" y="264"/>
                </a:lnTo>
                <a:lnTo>
                  <a:pt x="150" y="264"/>
                </a:lnTo>
                <a:lnTo>
                  <a:pt x="144" y="264"/>
                </a:lnTo>
                <a:lnTo>
                  <a:pt x="144" y="258"/>
                </a:lnTo>
                <a:lnTo>
                  <a:pt x="138" y="258"/>
                </a:lnTo>
                <a:lnTo>
                  <a:pt x="138" y="258"/>
                </a:lnTo>
                <a:lnTo>
                  <a:pt x="138" y="258"/>
                </a:lnTo>
                <a:lnTo>
                  <a:pt x="138" y="258"/>
                </a:lnTo>
                <a:lnTo>
                  <a:pt x="138" y="258"/>
                </a:lnTo>
                <a:lnTo>
                  <a:pt x="138" y="258"/>
                </a:lnTo>
                <a:lnTo>
                  <a:pt x="132" y="258"/>
                </a:lnTo>
                <a:lnTo>
                  <a:pt x="132" y="258"/>
                </a:lnTo>
                <a:lnTo>
                  <a:pt x="132" y="258"/>
                </a:lnTo>
                <a:lnTo>
                  <a:pt x="132" y="258"/>
                </a:lnTo>
                <a:lnTo>
                  <a:pt x="132" y="258"/>
                </a:lnTo>
                <a:lnTo>
                  <a:pt x="132" y="252"/>
                </a:lnTo>
                <a:lnTo>
                  <a:pt x="126" y="252"/>
                </a:lnTo>
                <a:lnTo>
                  <a:pt x="126" y="258"/>
                </a:lnTo>
                <a:lnTo>
                  <a:pt x="126" y="258"/>
                </a:lnTo>
                <a:lnTo>
                  <a:pt x="126" y="252"/>
                </a:lnTo>
                <a:lnTo>
                  <a:pt x="126" y="252"/>
                </a:lnTo>
                <a:lnTo>
                  <a:pt x="126" y="252"/>
                </a:lnTo>
                <a:lnTo>
                  <a:pt x="120" y="252"/>
                </a:lnTo>
                <a:lnTo>
                  <a:pt x="120" y="252"/>
                </a:lnTo>
                <a:lnTo>
                  <a:pt x="120" y="252"/>
                </a:lnTo>
                <a:lnTo>
                  <a:pt x="120" y="252"/>
                </a:lnTo>
                <a:lnTo>
                  <a:pt x="114" y="252"/>
                </a:lnTo>
                <a:lnTo>
                  <a:pt x="114" y="252"/>
                </a:lnTo>
                <a:lnTo>
                  <a:pt x="114" y="258"/>
                </a:lnTo>
                <a:lnTo>
                  <a:pt x="114" y="258"/>
                </a:lnTo>
                <a:lnTo>
                  <a:pt x="108" y="258"/>
                </a:lnTo>
                <a:lnTo>
                  <a:pt x="108" y="258"/>
                </a:lnTo>
                <a:lnTo>
                  <a:pt x="108" y="258"/>
                </a:lnTo>
                <a:lnTo>
                  <a:pt x="108" y="258"/>
                </a:lnTo>
                <a:lnTo>
                  <a:pt x="108" y="258"/>
                </a:lnTo>
                <a:lnTo>
                  <a:pt x="102" y="258"/>
                </a:lnTo>
                <a:lnTo>
                  <a:pt x="102" y="258"/>
                </a:lnTo>
                <a:lnTo>
                  <a:pt x="102" y="258"/>
                </a:lnTo>
                <a:lnTo>
                  <a:pt x="102" y="258"/>
                </a:lnTo>
                <a:lnTo>
                  <a:pt x="102" y="258"/>
                </a:lnTo>
                <a:lnTo>
                  <a:pt x="96" y="258"/>
                </a:lnTo>
                <a:lnTo>
                  <a:pt x="96" y="264"/>
                </a:lnTo>
                <a:lnTo>
                  <a:pt x="96" y="264"/>
                </a:lnTo>
                <a:lnTo>
                  <a:pt x="96" y="264"/>
                </a:lnTo>
                <a:lnTo>
                  <a:pt x="90" y="264"/>
                </a:lnTo>
                <a:lnTo>
                  <a:pt x="90" y="264"/>
                </a:lnTo>
                <a:lnTo>
                  <a:pt x="90" y="264"/>
                </a:lnTo>
                <a:lnTo>
                  <a:pt x="90" y="264"/>
                </a:lnTo>
                <a:lnTo>
                  <a:pt x="90" y="264"/>
                </a:lnTo>
                <a:lnTo>
                  <a:pt x="90" y="264"/>
                </a:lnTo>
                <a:lnTo>
                  <a:pt x="84" y="264"/>
                </a:lnTo>
                <a:lnTo>
                  <a:pt x="84" y="264"/>
                </a:lnTo>
                <a:lnTo>
                  <a:pt x="84" y="264"/>
                </a:lnTo>
                <a:lnTo>
                  <a:pt x="84" y="270"/>
                </a:lnTo>
                <a:lnTo>
                  <a:pt x="84" y="270"/>
                </a:lnTo>
                <a:lnTo>
                  <a:pt x="84" y="270"/>
                </a:lnTo>
                <a:lnTo>
                  <a:pt x="84" y="270"/>
                </a:lnTo>
                <a:lnTo>
                  <a:pt x="84" y="270"/>
                </a:lnTo>
                <a:lnTo>
                  <a:pt x="84" y="270"/>
                </a:lnTo>
                <a:lnTo>
                  <a:pt x="78" y="270"/>
                </a:lnTo>
                <a:lnTo>
                  <a:pt x="78" y="270"/>
                </a:lnTo>
                <a:lnTo>
                  <a:pt x="78" y="270"/>
                </a:lnTo>
                <a:lnTo>
                  <a:pt x="78" y="270"/>
                </a:lnTo>
                <a:lnTo>
                  <a:pt x="78" y="270"/>
                </a:lnTo>
                <a:lnTo>
                  <a:pt x="72" y="270"/>
                </a:lnTo>
                <a:lnTo>
                  <a:pt x="72" y="270"/>
                </a:lnTo>
                <a:lnTo>
                  <a:pt x="72" y="270"/>
                </a:lnTo>
                <a:lnTo>
                  <a:pt x="72" y="270"/>
                </a:lnTo>
                <a:lnTo>
                  <a:pt x="66" y="276"/>
                </a:lnTo>
                <a:lnTo>
                  <a:pt x="66" y="276"/>
                </a:lnTo>
                <a:lnTo>
                  <a:pt x="66" y="270"/>
                </a:lnTo>
                <a:lnTo>
                  <a:pt x="66" y="276"/>
                </a:lnTo>
                <a:lnTo>
                  <a:pt x="66" y="270"/>
                </a:lnTo>
                <a:lnTo>
                  <a:pt x="66" y="270"/>
                </a:lnTo>
                <a:lnTo>
                  <a:pt x="60" y="270"/>
                </a:lnTo>
                <a:lnTo>
                  <a:pt x="60" y="270"/>
                </a:lnTo>
                <a:lnTo>
                  <a:pt x="60" y="270"/>
                </a:lnTo>
                <a:lnTo>
                  <a:pt x="60" y="270"/>
                </a:lnTo>
                <a:lnTo>
                  <a:pt x="60" y="270"/>
                </a:lnTo>
                <a:lnTo>
                  <a:pt x="60" y="270"/>
                </a:lnTo>
                <a:lnTo>
                  <a:pt x="60" y="270"/>
                </a:lnTo>
                <a:lnTo>
                  <a:pt x="60" y="276"/>
                </a:lnTo>
                <a:lnTo>
                  <a:pt x="54" y="276"/>
                </a:lnTo>
                <a:lnTo>
                  <a:pt x="54" y="270"/>
                </a:lnTo>
                <a:lnTo>
                  <a:pt x="54" y="276"/>
                </a:lnTo>
                <a:lnTo>
                  <a:pt x="54" y="276"/>
                </a:lnTo>
                <a:lnTo>
                  <a:pt x="54" y="276"/>
                </a:lnTo>
                <a:lnTo>
                  <a:pt x="48" y="276"/>
                </a:lnTo>
                <a:lnTo>
                  <a:pt x="48" y="276"/>
                </a:lnTo>
                <a:lnTo>
                  <a:pt x="48" y="276"/>
                </a:lnTo>
                <a:lnTo>
                  <a:pt x="42" y="276"/>
                </a:lnTo>
                <a:lnTo>
                  <a:pt x="42" y="276"/>
                </a:lnTo>
                <a:lnTo>
                  <a:pt x="42" y="276"/>
                </a:lnTo>
                <a:lnTo>
                  <a:pt x="42" y="276"/>
                </a:lnTo>
                <a:lnTo>
                  <a:pt x="42" y="270"/>
                </a:lnTo>
                <a:lnTo>
                  <a:pt x="42" y="270"/>
                </a:lnTo>
                <a:lnTo>
                  <a:pt x="42" y="270"/>
                </a:lnTo>
                <a:lnTo>
                  <a:pt x="36" y="270"/>
                </a:lnTo>
                <a:lnTo>
                  <a:pt x="36" y="270"/>
                </a:lnTo>
                <a:lnTo>
                  <a:pt x="30" y="276"/>
                </a:lnTo>
                <a:lnTo>
                  <a:pt x="30" y="276"/>
                </a:lnTo>
                <a:lnTo>
                  <a:pt x="30" y="276"/>
                </a:lnTo>
                <a:lnTo>
                  <a:pt x="30" y="270"/>
                </a:lnTo>
                <a:lnTo>
                  <a:pt x="30" y="270"/>
                </a:lnTo>
                <a:lnTo>
                  <a:pt x="24" y="270"/>
                </a:lnTo>
                <a:lnTo>
                  <a:pt x="24" y="270"/>
                </a:lnTo>
                <a:lnTo>
                  <a:pt x="24" y="270"/>
                </a:lnTo>
                <a:lnTo>
                  <a:pt x="24" y="270"/>
                </a:lnTo>
                <a:lnTo>
                  <a:pt x="24" y="270"/>
                </a:lnTo>
                <a:lnTo>
                  <a:pt x="24" y="270"/>
                </a:lnTo>
                <a:lnTo>
                  <a:pt x="24" y="270"/>
                </a:lnTo>
                <a:lnTo>
                  <a:pt x="24" y="270"/>
                </a:lnTo>
                <a:lnTo>
                  <a:pt x="24" y="270"/>
                </a:lnTo>
                <a:lnTo>
                  <a:pt x="24" y="270"/>
                </a:lnTo>
                <a:lnTo>
                  <a:pt x="18" y="270"/>
                </a:lnTo>
                <a:lnTo>
                  <a:pt x="18" y="264"/>
                </a:lnTo>
                <a:lnTo>
                  <a:pt x="18" y="264"/>
                </a:lnTo>
                <a:lnTo>
                  <a:pt x="18" y="264"/>
                </a:lnTo>
                <a:lnTo>
                  <a:pt x="18" y="258"/>
                </a:lnTo>
                <a:lnTo>
                  <a:pt x="18" y="258"/>
                </a:lnTo>
                <a:lnTo>
                  <a:pt x="18" y="252"/>
                </a:lnTo>
                <a:lnTo>
                  <a:pt x="18" y="252"/>
                </a:lnTo>
                <a:lnTo>
                  <a:pt x="18" y="252"/>
                </a:lnTo>
                <a:lnTo>
                  <a:pt x="18" y="246"/>
                </a:lnTo>
                <a:lnTo>
                  <a:pt x="18" y="246"/>
                </a:lnTo>
                <a:lnTo>
                  <a:pt x="18" y="246"/>
                </a:lnTo>
                <a:lnTo>
                  <a:pt x="18" y="246"/>
                </a:lnTo>
                <a:lnTo>
                  <a:pt x="18" y="240"/>
                </a:lnTo>
                <a:lnTo>
                  <a:pt x="18" y="240"/>
                </a:lnTo>
                <a:lnTo>
                  <a:pt x="18" y="240"/>
                </a:lnTo>
                <a:lnTo>
                  <a:pt x="18" y="240"/>
                </a:lnTo>
                <a:lnTo>
                  <a:pt x="18" y="240"/>
                </a:lnTo>
                <a:lnTo>
                  <a:pt x="18" y="240"/>
                </a:lnTo>
                <a:lnTo>
                  <a:pt x="18" y="240"/>
                </a:lnTo>
                <a:lnTo>
                  <a:pt x="18" y="234"/>
                </a:lnTo>
                <a:lnTo>
                  <a:pt x="18" y="234"/>
                </a:lnTo>
                <a:lnTo>
                  <a:pt x="18" y="234"/>
                </a:lnTo>
                <a:lnTo>
                  <a:pt x="12" y="234"/>
                </a:lnTo>
                <a:lnTo>
                  <a:pt x="12" y="228"/>
                </a:lnTo>
                <a:lnTo>
                  <a:pt x="12" y="228"/>
                </a:lnTo>
                <a:lnTo>
                  <a:pt x="12" y="228"/>
                </a:lnTo>
                <a:lnTo>
                  <a:pt x="12" y="228"/>
                </a:lnTo>
                <a:lnTo>
                  <a:pt x="12" y="228"/>
                </a:lnTo>
                <a:lnTo>
                  <a:pt x="12" y="228"/>
                </a:lnTo>
                <a:lnTo>
                  <a:pt x="6" y="228"/>
                </a:lnTo>
                <a:lnTo>
                  <a:pt x="6" y="228"/>
                </a:lnTo>
                <a:lnTo>
                  <a:pt x="6" y="228"/>
                </a:lnTo>
                <a:lnTo>
                  <a:pt x="6" y="222"/>
                </a:lnTo>
                <a:lnTo>
                  <a:pt x="6" y="222"/>
                </a:lnTo>
                <a:lnTo>
                  <a:pt x="6" y="222"/>
                </a:lnTo>
                <a:lnTo>
                  <a:pt x="6" y="216"/>
                </a:lnTo>
                <a:lnTo>
                  <a:pt x="6" y="216"/>
                </a:lnTo>
                <a:lnTo>
                  <a:pt x="6" y="216"/>
                </a:lnTo>
                <a:lnTo>
                  <a:pt x="6" y="216"/>
                </a:lnTo>
                <a:lnTo>
                  <a:pt x="6" y="216"/>
                </a:lnTo>
                <a:lnTo>
                  <a:pt x="6" y="210"/>
                </a:lnTo>
                <a:lnTo>
                  <a:pt x="6" y="210"/>
                </a:lnTo>
                <a:lnTo>
                  <a:pt x="6" y="210"/>
                </a:lnTo>
                <a:lnTo>
                  <a:pt x="6" y="210"/>
                </a:lnTo>
                <a:lnTo>
                  <a:pt x="0" y="21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68" name="Freeform 501"/>
          <p:cNvSpPr>
            <a:spLocks/>
          </p:cNvSpPr>
          <p:nvPr/>
        </p:nvSpPr>
        <p:spPr bwMode="auto">
          <a:xfrm>
            <a:off x="6363626" y="3768831"/>
            <a:ext cx="218418" cy="205571"/>
          </a:xfrm>
          <a:custGeom>
            <a:avLst/>
            <a:gdLst>
              <a:gd name="T0" fmla="*/ 0 w 204"/>
              <a:gd name="T1" fmla="*/ 48 h 192"/>
              <a:gd name="T2" fmla="*/ 6 w 204"/>
              <a:gd name="T3" fmla="*/ 42 h 192"/>
              <a:gd name="T4" fmla="*/ 6 w 204"/>
              <a:gd name="T5" fmla="*/ 42 h 192"/>
              <a:gd name="T6" fmla="*/ 6 w 204"/>
              <a:gd name="T7" fmla="*/ 30 h 192"/>
              <a:gd name="T8" fmla="*/ 6 w 204"/>
              <a:gd name="T9" fmla="*/ 30 h 192"/>
              <a:gd name="T10" fmla="*/ 24 w 204"/>
              <a:gd name="T11" fmla="*/ 30 h 192"/>
              <a:gd name="T12" fmla="*/ 36 w 204"/>
              <a:gd name="T13" fmla="*/ 30 h 192"/>
              <a:gd name="T14" fmla="*/ 54 w 204"/>
              <a:gd name="T15" fmla="*/ 24 h 192"/>
              <a:gd name="T16" fmla="*/ 42 w 204"/>
              <a:gd name="T17" fmla="*/ 24 h 192"/>
              <a:gd name="T18" fmla="*/ 42 w 204"/>
              <a:gd name="T19" fmla="*/ 12 h 192"/>
              <a:gd name="T20" fmla="*/ 42 w 204"/>
              <a:gd name="T21" fmla="*/ 12 h 192"/>
              <a:gd name="T22" fmla="*/ 60 w 204"/>
              <a:gd name="T23" fmla="*/ 12 h 192"/>
              <a:gd name="T24" fmla="*/ 84 w 204"/>
              <a:gd name="T25" fmla="*/ 12 h 192"/>
              <a:gd name="T26" fmla="*/ 96 w 204"/>
              <a:gd name="T27" fmla="*/ 12 h 192"/>
              <a:gd name="T28" fmla="*/ 108 w 204"/>
              <a:gd name="T29" fmla="*/ 18 h 192"/>
              <a:gd name="T30" fmla="*/ 120 w 204"/>
              <a:gd name="T31" fmla="*/ 18 h 192"/>
              <a:gd name="T32" fmla="*/ 126 w 204"/>
              <a:gd name="T33" fmla="*/ 6 h 192"/>
              <a:gd name="T34" fmla="*/ 132 w 204"/>
              <a:gd name="T35" fmla="*/ 6 h 192"/>
              <a:gd name="T36" fmla="*/ 138 w 204"/>
              <a:gd name="T37" fmla="*/ 6 h 192"/>
              <a:gd name="T38" fmla="*/ 144 w 204"/>
              <a:gd name="T39" fmla="*/ 6 h 192"/>
              <a:gd name="T40" fmla="*/ 150 w 204"/>
              <a:gd name="T41" fmla="*/ 12 h 192"/>
              <a:gd name="T42" fmla="*/ 156 w 204"/>
              <a:gd name="T43" fmla="*/ 12 h 192"/>
              <a:gd name="T44" fmla="*/ 156 w 204"/>
              <a:gd name="T45" fmla="*/ 18 h 192"/>
              <a:gd name="T46" fmla="*/ 168 w 204"/>
              <a:gd name="T47" fmla="*/ 18 h 192"/>
              <a:gd name="T48" fmla="*/ 174 w 204"/>
              <a:gd name="T49" fmla="*/ 18 h 192"/>
              <a:gd name="T50" fmla="*/ 180 w 204"/>
              <a:gd name="T51" fmla="*/ 24 h 192"/>
              <a:gd name="T52" fmla="*/ 186 w 204"/>
              <a:gd name="T53" fmla="*/ 30 h 192"/>
              <a:gd name="T54" fmla="*/ 192 w 204"/>
              <a:gd name="T55" fmla="*/ 36 h 192"/>
              <a:gd name="T56" fmla="*/ 198 w 204"/>
              <a:gd name="T57" fmla="*/ 36 h 192"/>
              <a:gd name="T58" fmla="*/ 204 w 204"/>
              <a:gd name="T59" fmla="*/ 48 h 192"/>
              <a:gd name="T60" fmla="*/ 204 w 204"/>
              <a:gd name="T61" fmla="*/ 60 h 192"/>
              <a:gd name="T62" fmla="*/ 192 w 204"/>
              <a:gd name="T63" fmla="*/ 66 h 192"/>
              <a:gd name="T64" fmla="*/ 192 w 204"/>
              <a:gd name="T65" fmla="*/ 84 h 192"/>
              <a:gd name="T66" fmla="*/ 192 w 204"/>
              <a:gd name="T67" fmla="*/ 96 h 192"/>
              <a:gd name="T68" fmla="*/ 192 w 204"/>
              <a:gd name="T69" fmla="*/ 114 h 192"/>
              <a:gd name="T70" fmla="*/ 192 w 204"/>
              <a:gd name="T71" fmla="*/ 126 h 192"/>
              <a:gd name="T72" fmla="*/ 180 w 204"/>
              <a:gd name="T73" fmla="*/ 150 h 192"/>
              <a:gd name="T74" fmla="*/ 156 w 204"/>
              <a:gd name="T75" fmla="*/ 156 h 192"/>
              <a:gd name="T76" fmla="*/ 144 w 204"/>
              <a:gd name="T77" fmla="*/ 174 h 192"/>
              <a:gd name="T78" fmla="*/ 126 w 204"/>
              <a:gd name="T79" fmla="*/ 192 h 192"/>
              <a:gd name="T80" fmla="*/ 108 w 204"/>
              <a:gd name="T81" fmla="*/ 180 h 192"/>
              <a:gd name="T82" fmla="*/ 90 w 204"/>
              <a:gd name="T83" fmla="*/ 174 h 192"/>
              <a:gd name="T84" fmla="*/ 78 w 204"/>
              <a:gd name="T85" fmla="*/ 174 h 192"/>
              <a:gd name="T86" fmla="*/ 66 w 204"/>
              <a:gd name="T87" fmla="*/ 174 h 192"/>
              <a:gd name="T88" fmla="*/ 60 w 204"/>
              <a:gd name="T89" fmla="*/ 162 h 192"/>
              <a:gd name="T90" fmla="*/ 54 w 204"/>
              <a:gd name="T91" fmla="*/ 156 h 192"/>
              <a:gd name="T92" fmla="*/ 54 w 204"/>
              <a:gd name="T93" fmla="*/ 150 h 192"/>
              <a:gd name="T94" fmla="*/ 54 w 204"/>
              <a:gd name="T95" fmla="*/ 138 h 192"/>
              <a:gd name="T96" fmla="*/ 48 w 204"/>
              <a:gd name="T97" fmla="*/ 126 h 192"/>
              <a:gd name="T98" fmla="*/ 36 w 204"/>
              <a:gd name="T99" fmla="*/ 120 h 192"/>
              <a:gd name="T100" fmla="*/ 36 w 204"/>
              <a:gd name="T101" fmla="*/ 102 h 192"/>
              <a:gd name="T102" fmla="*/ 36 w 204"/>
              <a:gd name="T103" fmla="*/ 96 h 192"/>
              <a:gd name="T104" fmla="*/ 30 w 204"/>
              <a:gd name="T105" fmla="*/ 90 h 192"/>
              <a:gd name="T106" fmla="*/ 24 w 204"/>
              <a:gd name="T107" fmla="*/ 78 h 192"/>
              <a:gd name="T108" fmla="*/ 18 w 204"/>
              <a:gd name="T109" fmla="*/ 66 h 192"/>
              <a:gd name="T110" fmla="*/ 6 w 204"/>
              <a:gd name="T111" fmla="*/ 66 h 192"/>
              <a:gd name="T112" fmla="*/ 0 w 204"/>
              <a:gd name="T113" fmla="*/ 60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04" h="192">
                <a:moveTo>
                  <a:pt x="0" y="54"/>
                </a:move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8" y="30"/>
                </a:lnTo>
                <a:lnTo>
                  <a:pt x="24" y="30"/>
                </a:lnTo>
                <a:lnTo>
                  <a:pt x="24" y="30"/>
                </a:lnTo>
                <a:lnTo>
                  <a:pt x="30" y="30"/>
                </a:lnTo>
                <a:lnTo>
                  <a:pt x="30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42" y="30"/>
                </a:lnTo>
                <a:lnTo>
                  <a:pt x="42" y="30"/>
                </a:lnTo>
                <a:lnTo>
                  <a:pt x="48" y="30"/>
                </a:lnTo>
                <a:lnTo>
                  <a:pt x="48" y="30"/>
                </a:lnTo>
                <a:lnTo>
                  <a:pt x="54" y="30"/>
                </a:lnTo>
                <a:lnTo>
                  <a:pt x="54" y="30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48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36" y="18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60" y="18"/>
                </a:lnTo>
                <a:lnTo>
                  <a:pt x="60" y="12"/>
                </a:lnTo>
                <a:lnTo>
                  <a:pt x="60" y="12"/>
                </a:lnTo>
                <a:lnTo>
                  <a:pt x="66" y="6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6" y="12"/>
                </a:lnTo>
                <a:lnTo>
                  <a:pt x="96" y="12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2"/>
                </a:lnTo>
                <a:lnTo>
                  <a:pt x="120" y="6"/>
                </a:lnTo>
                <a:lnTo>
                  <a:pt x="126" y="0"/>
                </a:lnTo>
                <a:lnTo>
                  <a:pt x="126" y="0"/>
                </a:lnTo>
                <a:lnTo>
                  <a:pt x="126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50" y="12"/>
                </a:lnTo>
                <a:lnTo>
                  <a:pt x="144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74" y="18"/>
                </a:lnTo>
                <a:lnTo>
                  <a:pt x="174" y="24"/>
                </a:lnTo>
                <a:lnTo>
                  <a:pt x="174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30"/>
                </a:lnTo>
                <a:lnTo>
                  <a:pt x="186" y="30"/>
                </a:lnTo>
                <a:lnTo>
                  <a:pt x="192" y="30"/>
                </a:lnTo>
                <a:lnTo>
                  <a:pt x="192" y="30"/>
                </a:lnTo>
                <a:lnTo>
                  <a:pt x="192" y="30"/>
                </a:lnTo>
                <a:lnTo>
                  <a:pt x="192" y="30"/>
                </a:lnTo>
                <a:lnTo>
                  <a:pt x="192" y="36"/>
                </a:lnTo>
                <a:lnTo>
                  <a:pt x="192" y="36"/>
                </a:lnTo>
                <a:lnTo>
                  <a:pt x="192" y="36"/>
                </a:lnTo>
                <a:lnTo>
                  <a:pt x="192" y="36"/>
                </a:lnTo>
                <a:lnTo>
                  <a:pt x="192" y="36"/>
                </a:lnTo>
                <a:lnTo>
                  <a:pt x="192" y="36"/>
                </a:lnTo>
                <a:lnTo>
                  <a:pt x="192" y="36"/>
                </a:lnTo>
                <a:lnTo>
                  <a:pt x="192" y="36"/>
                </a:lnTo>
                <a:lnTo>
                  <a:pt x="192" y="36"/>
                </a:lnTo>
                <a:lnTo>
                  <a:pt x="198" y="36"/>
                </a:lnTo>
                <a:lnTo>
                  <a:pt x="198" y="42"/>
                </a:lnTo>
                <a:lnTo>
                  <a:pt x="198" y="42"/>
                </a:lnTo>
                <a:lnTo>
                  <a:pt x="204" y="42"/>
                </a:lnTo>
                <a:lnTo>
                  <a:pt x="204" y="42"/>
                </a:lnTo>
                <a:lnTo>
                  <a:pt x="204" y="42"/>
                </a:lnTo>
                <a:lnTo>
                  <a:pt x="204" y="42"/>
                </a:lnTo>
                <a:lnTo>
                  <a:pt x="204" y="48"/>
                </a:lnTo>
                <a:lnTo>
                  <a:pt x="198" y="48"/>
                </a:lnTo>
                <a:lnTo>
                  <a:pt x="198" y="48"/>
                </a:lnTo>
                <a:lnTo>
                  <a:pt x="204" y="54"/>
                </a:lnTo>
                <a:lnTo>
                  <a:pt x="204" y="54"/>
                </a:lnTo>
                <a:lnTo>
                  <a:pt x="204" y="60"/>
                </a:lnTo>
                <a:lnTo>
                  <a:pt x="204" y="60"/>
                </a:lnTo>
                <a:lnTo>
                  <a:pt x="204" y="60"/>
                </a:lnTo>
                <a:lnTo>
                  <a:pt x="204" y="60"/>
                </a:lnTo>
                <a:lnTo>
                  <a:pt x="198" y="60"/>
                </a:lnTo>
                <a:lnTo>
                  <a:pt x="198" y="60"/>
                </a:lnTo>
                <a:lnTo>
                  <a:pt x="198" y="60"/>
                </a:lnTo>
                <a:lnTo>
                  <a:pt x="198" y="60"/>
                </a:lnTo>
                <a:lnTo>
                  <a:pt x="198" y="60"/>
                </a:lnTo>
                <a:lnTo>
                  <a:pt x="192" y="66"/>
                </a:lnTo>
                <a:lnTo>
                  <a:pt x="192" y="72"/>
                </a:lnTo>
                <a:lnTo>
                  <a:pt x="192" y="72"/>
                </a:lnTo>
                <a:lnTo>
                  <a:pt x="192" y="72"/>
                </a:lnTo>
                <a:lnTo>
                  <a:pt x="192" y="78"/>
                </a:lnTo>
                <a:lnTo>
                  <a:pt x="186" y="78"/>
                </a:lnTo>
                <a:lnTo>
                  <a:pt x="192" y="78"/>
                </a:lnTo>
                <a:lnTo>
                  <a:pt x="192" y="84"/>
                </a:lnTo>
                <a:lnTo>
                  <a:pt x="192" y="84"/>
                </a:lnTo>
                <a:lnTo>
                  <a:pt x="192" y="84"/>
                </a:lnTo>
                <a:lnTo>
                  <a:pt x="192" y="84"/>
                </a:lnTo>
                <a:lnTo>
                  <a:pt x="192" y="90"/>
                </a:lnTo>
                <a:lnTo>
                  <a:pt x="192" y="90"/>
                </a:lnTo>
                <a:lnTo>
                  <a:pt x="192" y="96"/>
                </a:lnTo>
                <a:lnTo>
                  <a:pt x="192" y="96"/>
                </a:lnTo>
                <a:lnTo>
                  <a:pt x="192" y="102"/>
                </a:lnTo>
                <a:lnTo>
                  <a:pt x="198" y="102"/>
                </a:lnTo>
                <a:lnTo>
                  <a:pt x="192" y="102"/>
                </a:lnTo>
                <a:lnTo>
                  <a:pt x="192" y="102"/>
                </a:lnTo>
                <a:lnTo>
                  <a:pt x="192" y="108"/>
                </a:lnTo>
                <a:lnTo>
                  <a:pt x="192" y="108"/>
                </a:lnTo>
                <a:lnTo>
                  <a:pt x="192" y="114"/>
                </a:lnTo>
                <a:lnTo>
                  <a:pt x="192" y="120"/>
                </a:lnTo>
                <a:lnTo>
                  <a:pt x="192" y="120"/>
                </a:lnTo>
                <a:lnTo>
                  <a:pt x="192" y="120"/>
                </a:lnTo>
                <a:lnTo>
                  <a:pt x="192" y="126"/>
                </a:lnTo>
                <a:lnTo>
                  <a:pt x="192" y="126"/>
                </a:lnTo>
                <a:lnTo>
                  <a:pt x="192" y="126"/>
                </a:lnTo>
                <a:lnTo>
                  <a:pt x="192" y="126"/>
                </a:lnTo>
                <a:lnTo>
                  <a:pt x="192" y="132"/>
                </a:lnTo>
                <a:lnTo>
                  <a:pt x="186" y="138"/>
                </a:lnTo>
                <a:lnTo>
                  <a:pt x="186" y="144"/>
                </a:lnTo>
                <a:lnTo>
                  <a:pt x="186" y="144"/>
                </a:lnTo>
                <a:lnTo>
                  <a:pt x="186" y="144"/>
                </a:lnTo>
                <a:lnTo>
                  <a:pt x="180" y="150"/>
                </a:lnTo>
                <a:lnTo>
                  <a:pt x="180" y="150"/>
                </a:lnTo>
                <a:lnTo>
                  <a:pt x="180" y="150"/>
                </a:lnTo>
                <a:lnTo>
                  <a:pt x="174" y="150"/>
                </a:lnTo>
                <a:lnTo>
                  <a:pt x="174" y="156"/>
                </a:lnTo>
                <a:lnTo>
                  <a:pt x="174" y="156"/>
                </a:lnTo>
                <a:lnTo>
                  <a:pt x="168" y="156"/>
                </a:lnTo>
                <a:lnTo>
                  <a:pt x="162" y="156"/>
                </a:lnTo>
                <a:lnTo>
                  <a:pt x="156" y="156"/>
                </a:lnTo>
                <a:lnTo>
                  <a:pt x="156" y="156"/>
                </a:lnTo>
                <a:lnTo>
                  <a:pt x="150" y="162"/>
                </a:lnTo>
                <a:lnTo>
                  <a:pt x="150" y="162"/>
                </a:lnTo>
                <a:lnTo>
                  <a:pt x="150" y="162"/>
                </a:lnTo>
                <a:lnTo>
                  <a:pt x="150" y="162"/>
                </a:lnTo>
                <a:lnTo>
                  <a:pt x="144" y="168"/>
                </a:lnTo>
                <a:lnTo>
                  <a:pt x="144" y="174"/>
                </a:lnTo>
                <a:lnTo>
                  <a:pt x="144" y="174"/>
                </a:lnTo>
                <a:lnTo>
                  <a:pt x="138" y="174"/>
                </a:lnTo>
                <a:lnTo>
                  <a:pt x="138" y="174"/>
                </a:lnTo>
                <a:lnTo>
                  <a:pt x="132" y="180"/>
                </a:lnTo>
                <a:lnTo>
                  <a:pt x="132" y="186"/>
                </a:lnTo>
                <a:lnTo>
                  <a:pt x="132" y="186"/>
                </a:lnTo>
                <a:lnTo>
                  <a:pt x="126" y="192"/>
                </a:lnTo>
                <a:lnTo>
                  <a:pt x="120" y="192"/>
                </a:lnTo>
                <a:lnTo>
                  <a:pt x="120" y="192"/>
                </a:lnTo>
                <a:lnTo>
                  <a:pt x="114" y="192"/>
                </a:lnTo>
                <a:lnTo>
                  <a:pt x="114" y="186"/>
                </a:lnTo>
                <a:lnTo>
                  <a:pt x="114" y="186"/>
                </a:lnTo>
                <a:lnTo>
                  <a:pt x="108" y="180"/>
                </a:lnTo>
                <a:lnTo>
                  <a:pt x="108" y="180"/>
                </a:lnTo>
                <a:lnTo>
                  <a:pt x="102" y="180"/>
                </a:lnTo>
                <a:lnTo>
                  <a:pt x="102" y="174"/>
                </a:lnTo>
                <a:lnTo>
                  <a:pt x="102" y="174"/>
                </a:lnTo>
                <a:lnTo>
                  <a:pt x="96" y="174"/>
                </a:lnTo>
                <a:lnTo>
                  <a:pt x="96" y="174"/>
                </a:lnTo>
                <a:lnTo>
                  <a:pt x="96" y="174"/>
                </a:lnTo>
                <a:lnTo>
                  <a:pt x="90" y="174"/>
                </a:lnTo>
                <a:lnTo>
                  <a:pt x="90" y="174"/>
                </a:lnTo>
                <a:lnTo>
                  <a:pt x="90" y="174"/>
                </a:lnTo>
                <a:lnTo>
                  <a:pt x="84" y="174"/>
                </a:lnTo>
                <a:lnTo>
                  <a:pt x="84" y="174"/>
                </a:lnTo>
                <a:lnTo>
                  <a:pt x="84" y="174"/>
                </a:lnTo>
                <a:lnTo>
                  <a:pt x="84" y="174"/>
                </a:lnTo>
                <a:lnTo>
                  <a:pt x="78" y="174"/>
                </a:lnTo>
                <a:lnTo>
                  <a:pt x="78" y="180"/>
                </a:lnTo>
                <a:lnTo>
                  <a:pt x="72" y="180"/>
                </a:lnTo>
                <a:lnTo>
                  <a:pt x="72" y="180"/>
                </a:lnTo>
                <a:lnTo>
                  <a:pt x="66" y="180"/>
                </a:lnTo>
                <a:lnTo>
                  <a:pt x="66" y="174"/>
                </a:lnTo>
                <a:lnTo>
                  <a:pt x="66" y="174"/>
                </a:lnTo>
                <a:lnTo>
                  <a:pt x="66" y="174"/>
                </a:lnTo>
                <a:lnTo>
                  <a:pt x="66" y="174"/>
                </a:lnTo>
                <a:lnTo>
                  <a:pt x="66" y="168"/>
                </a:lnTo>
                <a:lnTo>
                  <a:pt x="66" y="168"/>
                </a:lnTo>
                <a:lnTo>
                  <a:pt x="60" y="168"/>
                </a:lnTo>
                <a:lnTo>
                  <a:pt x="60" y="168"/>
                </a:lnTo>
                <a:lnTo>
                  <a:pt x="60" y="168"/>
                </a:lnTo>
                <a:lnTo>
                  <a:pt x="60" y="162"/>
                </a:lnTo>
                <a:lnTo>
                  <a:pt x="60" y="162"/>
                </a:lnTo>
                <a:lnTo>
                  <a:pt x="60" y="162"/>
                </a:lnTo>
                <a:lnTo>
                  <a:pt x="60" y="162"/>
                </a:lnTo>
                <a:lnTo>
                  <a:pt x="54" y="162"/>
                </a:lnTo>
                <a:lnTo>
                  <a:pt x="54" y="162"/>
                </a:lnTo>
                <a:lnTo>
                  <a:pt x="54" y="156"/>
                </a:lnTo>
                <a:lnTo>
                  <a:pt x="54" y="156"/>
                </a:lnTo>
                <a:lnTo>
                  <a:pt x="54" y="156"/>
                </a:lnTo>
                <a:lnTo>
                  <a:pt x="54" y="156"/>
                </a:lnTo>
                <a:lnTo>
                  <a:pt x="54" y="156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54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2"/>
                </a:lnTo>
                <a:lnTo>
                  <a:pt x="54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26"/>
                </a:lnTo>
                <a:lnTo>
                  <a:pt x="48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0"/>
                </a:lnTo>
                <a:lnTo>
                  <a:pt x="42" y="120"/>
                </a:lnTo>
                <a:lnTo>
                  <a:pt x="42" y="120"/>
                </a:lnTo>
                <a:lnTo>
                  <a:pt x="36" y="120"/>
                </a:lnTo>
                <a:lnTo>
                  <a:pt x="42" y="114"/>
                </a:lnTo>
                <a:lnTo>
                  <a:pt x="36" y="114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96"/>
                </a:lnTo>
                <a:lnTo>
                  <a:pt x="36" y="96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18" y="78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0" y="66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69" name="Freeform 502"/>
          <p:cNvSpPr>
            <a:spLocks/>
          </p:cNvSpPr>
          <p:nvPr/>
        </p:nvSpPr>
        <p:spPr bwMode="auto">
          <a:xfrm>
            <a:off x="5958911" y="3775255"/>
            <a:ext cx="250538" cy="334053"/>
          </a:xfrm>
          <a:custGeom>
            <a:avLst/>
            <a:gdLst>
              <a:gd name="T0" fmla="*/ 0 w 234"/>
              <a:gd name="T1" fmla="*/ 84 h 312"/>
              <a:gd name="T2" fmla="*/ 12 w 234"/>
              <a:gd name="T3" fmla="*/ 66 h 312"/>
              <a:gd name="T4" fmla="*/ 30 w 234"/>
              <a:gd name="T5" fmla="*/ 30 h 312"/>
              <a:gd name="T6" fmla="*/ 42 w 234"/>
              <a:gd name="T7" fmla="*/ 24 h 312"/>
              <a:gd name="T8" fmla="*/ 48 w 234"/>
              <a:gd name="T9" fmla="*/ 12 h 312"/>
              <a:gd name="T10" fmla="*/ 78 w 234"/>
              <a:gd name="T11" fmla="*/ 6 h 312"/>
              <a:gd name="T12" fmla="*/ 78 w 234"/>
              <a:gd name="T13" fmla="*/ 36 h 312"/>
              <a:gd name="T14" fmla="*/ 90 w 234"/>
              <a:gd name="T15" fmla="*/ 54 h 312"/>
              <a:gd name="T16" fmla="*/ 108 w 234"/>
              <a:gd name="T17" fmla="*/ 48 h 312"/>
              <a:gd name="T18" fmla="*/ 138 w 234"/>
              <a:gd name="T19" fmla="*/ 60 h 312"/>
              <a:gd name="T20" fmla="*/ 174 w 234"/>
              <a:gd name="T21" fmla="*/ 60 h 312"/>
              <a:gd name="T22" fmla="*/ 186 w 234"/>
              <a:gd name="T23" fmla="*/ 78 h 312"/>
              <a:gd name="T24" fmla="*/ 192 w 234"/>
              <a:gd name="T25" fmla="*/ 96 h 312"/>
              <a:gd name="T26" fmla="*/ 192 w 234"/>
              <a:gd name="T27" fmla="*/ 108 h 312"/>
              <a:gd name="T28" fmla="*/ 174 w 234"/>
              <a:gd name="T29" fmla="*/ 132 h 312"/>
              <a:gd name="T30" fmla="*/ 186 w 234"/>
              <a:gd name="T31" fmla="*/ 144 h 312"/>
              <a:gd name="T32" fmla="*/ 186 w 234"/>
              <a:gd name="T33" fmla="*/ 150 h 312"/>
              <a:gd name="T34" fmla="*/ 192 w 234"/>
              <a:gd name="T35" fmla="*/ 156 h 312"/>
              <a:gd name="T36" fmla="*/ 180 w 234"/>
              <a:gd name="T37" fmla="*/ 162 h 312"/>
              <a:gd name="T38" fmla="*/ 174 w 234"/>
              <a:gd name="T39" fmla="*/ 162 h 312"/>
              <a:gd name="T40" fmla="*/ 162 w 234"/>
              <a:gd name="T41" fmla="*/ 168 h 312"/>
              <a:gd name="T42" fmla="*/ 162 w 234"/>
              <a:gd name="T43" fmla="*/ 186 h 312"/>
              <a:gd name="T44" fmla="*/ 168 w 234"/>
              <a:gd name="T45" fmla="*/ 216 h 312"/>
              <a:gd name="T46" fmla="*/ 198 w 234"/>
              <a:gd name="T47" fmla="*/ 234 h 312"/>
              <a:gd name="T48" fmla="*/ 204 w 234"/>
              <a:gd name="T49" fmla="*/ 246 h 312"/>
              <a:gd name="T50" fmla="*/ 216 w 234"/>
              <a:gd name="T51" fmla="*/ 252 h 312"/>
              <a:gd name="T52" fmla="*/ 228 w 234"/>
              <a:gd name="T53" fmla="*/ 270 h 312"/>
              <a:gd name="T54" fmla="*/ 234 w 234"/>
              <a:gd name="T55" fmla="*/ 288 h 312"/>
              <a:gd name="T56" fmla="*/ 228 w 234"/>
              <a:gd name="T57" fmla="*/ 300 h 312"/>
              <a:gd name="T58" fmla="*/ 234 w 234"/>
              <a:gd name="T59" fmla="*/ 306 h 312"/>
              <a:gd name="T60" fmla="*/ 228 w 234"/>
              <a:gd name="T61" fmla="*/ 312 h 312"/>
              <a:gd name="T62" fmla="*/ 222 w 234"/>
              <a:gd name="T63" fmla="*/ 312 h 312"/>
              <a:gd name="T64" fmla="*/ 210 w 234"/>
              <a:gd name="T65" fmla="*/ 312 h 312"/>
              <a:gd name="T66" fmla="*/ 198 w 234"/>
              <a:gd name="T67" fmla="*/ 312 h 312"/>
              <a:gd name="T68" fmla="*/ 180 w 234"/>
              <a:gd name="T69" fmla="*/ 306 h 312"/>
              <a:gd name="T70" fmla="*/ 174 w 234"/>
              <a:gd name="T71" fmla="*/ 294 h 312"/>
              <a:gd name="T72" fmla="*/ 162 w 234"/>
              <a:gd name="T73" fmla="*/ 282 h 312"/>
              <a:gd name="T74" fmla="*/ 150 w 234"/>
              <a:gd name="T75" fmla="*/ 276 h 312"/>
              <a:gd name="T76" fmla="*/ 150 w 234"/>
              <a:gd name="T77" fmla="*/ 270 h 312"/>
              <a:gd name="T78" fmla="*/ 144 w 234"/>
              <a:gd name="T79" fmla="*/ 258 h 312"/>
              <a:gd name="T80" fmla="*/ 138 w 234"/>
              <a:gd name="T81" fmla="*/ 252 h 312"/>
              <a:gd name="T82" fmla="*/ 126 w 234"/>
              <a:gd name="T83" fmla="*/ 240 h 312"/>
              <a:gd name="T84" fmla="*/ 120 w 234"/>
              <a:gd name="T85" fmla="*/ 258 h 312"/>
              <a:gd name="T86" fmla="*/ 96 w 234"/>
              <a:gd name="T87" fmla="*/ 282 h 312"/>
              <a:gd name="T88" fmla="*/ 66 w 234"/>
              <a:gd name="T89" fmla="*/ 282 h 312"/>
              <a:gd name="T90" fmla="*/ 42 w 234"/>
              <a:gd name="T91" fmla="*/ 312 h 312"/>
              <a:gd name="T92" fmla="*/ 36 w 234"/>
              <a:gd name="T93" fmla="*/ 306 h 312"/>
              <a:gd name="T94" fmla="*/ 30 w 234"/>
              <a:gd name="T95" fmla="*/ 294 h 312"/>
              <a:gd name="T96" fmla="*/ 12 w 234"/>
              <a:gd name="T97" fmla="*/ 288 h 312"/>
              <a:gd name="T98" fmla="*/ 12 w 234"/>
              <a:gd name="T99" fmla="*/ 264 h 312"/>
              <a:gd name="T100" fmla="*/ 12 w 234"/>
              <a:gd name="T101" fmla="*/ 252 h 312"/>
              <a:gd name="T102" fmla="*/ 24 w 234"/>
              <a:gd name="T103" fmla="*/ 234 h 312"/>
              <a:gd name="T104" fmla="*/ 30 w 234"/>
              <a:gd name="T105" fmla="*/ 204 h 312"/>
              <a:gd name="T106" fmla="*/ 24 w 234"/>
              <a:gd name="T107" fmla="*/ 186 h 312"/>
              <a:gd name="T108" fmla="*/ 18 w 234"/>
              <a:gd name="T109" fmla="*/ 174 h 312"/>
              <a:gd name="T110" fmla="*/ 12 w 234"/>
              <a:gd name="T111" fmla="*/ 162 h 312"/>
              <a:gd name="T112" fmla="*/ 0 w 234"/>
              <a:gd name="T113" fmla="*/ 168 h 312"/>
              <a:gd name="T114" fmla="*/ 6 w 234"/>
              <a:gd name="T115" fmla="*/ 150 h 312"/>
              <a:gd name="T116" fmla="*/ 18 w 234"/>
              <a:gd name="T117" fmla="*/ 144 h 312"/>
              <a:gd name="T118" fmla="*/ 24 w 234"/>
              <a:gd name="T119" fmla="*/ 132 h 312"/>
              <a:gd name="T120" fmla="*/ 42 w 234"/>
              <a:gd name="T121" fmla="*/ 126 h 312"/>
              <a:gd name="T122" fmla="*/ 30 w 234"/>
              <a:gd name="T123" fmla="*/ 102 h 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34" h="312">
                <a:moveTo>
                  <a:pt x="12" y="108"/>
                </a:moveTo>
                <a:lnTo>
                  <a:pt x="12" y="108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96"/>
                </a:lnTo>
                <a:lnTo>
                  <a:pt x="6" y="96"/>
                </a:lnTo>
                <a:lnTo>
                  <a:pt x="6" y="90"/>
                </a:lnTo>
                <a:lnTo>
                  <a:pt x="6" y="90"/>
                </a:lnTo>
                <a:lnTo>
                  <a:pt x="0" y="90"/>
                </a:lnTo>
                <a:lnTo>
                  <a:pt x="0" y="90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12" y="72"/>
                </a:lnTo>
                <a:lnTo>
                  <a:pt x="12" y="66"/>
                </a:lnTo>
                <a:lnTo>
                  <a:pt x="12" y="66"/>
                </a:lnTo>
                <a:lnTo>
                  <a:pt x="12" y="60"/>
                </a:lnTo>
                <a:lnTo>
                  <a:pt x="12" y="60"/>
                </a:lnTo>
                <a:lnTo>
                  <a:pt x="12" y="54"/>
                </a:lnTo>
                <a:lnTo>
                  <a:pt x="18" y="54"/>
                </a:lnTo>
                <a:lnTo>
                  <a:pt x="18" y="48"/>
                </a:lnTo>
                <a:lnTo>
                  <a:pt x="24" y="48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48" y="12"/>
                </a:lnTo>
                <a:lnTo>
                  <a:pt x="54" y="12"/>
                </a:lnTo>
                <a:lnTo>
                  <a:pt x="54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8" y="6"/>
                </a:lnTo>
                <a:lnTo>
                  <a:pt x="78" y="6"/>
                </a:lnTo>
                <a:lnTo>
                  <a:pt x="84" y="6"/>
                </a:lnTo>
                <a:lnTo>
                  <a:pt x="84" y="6"/>
                </a:lnTo>
                <a:lnTo>
                  <a:pt x="84" y="12"/>
                </a:lnTo>
                <a:lnTo>
                  <a:pt x="84" y="18"/>
                </a:lnTo>
                <a:lnTo>
                  <a:pt x="90" y="18"/>
                </a:lnTo>
                <a:lnTo>
                  <a:pt x="84" y="18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78" y="30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90" y="48"/>
                </a:lnTo>
                <a:lnTo>
                  <a:pt x="84" y="48"/>
                </a:lnTo>
                <a:lnTo>
                  <a:pt x="90" y="48"/>
                </a:lnTo>
                <a:lnTo>
                  <a:pt x="84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6" y="54"/>
                </a:lnTo>
                <a:lnTo>
                  <a:pt x="96" y="54"/>
                </a:lnTo>
                <a:lnTo>
                  <a:pt x="102" y="54"/>
                </a:lnTo>
                <a:lnTo>
                  <a:pt x="102" y="48"/>
                </a:lnTo>
                <a:lnTo>
                  <a:pt x="102" y="54"/>
                </a:lnTo>
                <a:lnTo>
                  <a:pt x="102" y="48"/>
                </a:lnTo>
                <a:lnTo>
                  <a:pt x="108" y="54"/>
                </a:lnTo>
                <a:lnTo>
                  <a:pt x="108" y="54"/>
                </a:lnTo>
                <a:lnTo>
                  <a:pt x="108" y="48"/>
                </a:lnTo>
                <a:lnTo>
                  <a:pt x="108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20" y="54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6" y="48"/>
                </a:lnTo>
                <a:lnTo>
                  <a:pt x="126" y="48"/>
                </a:lnTo>
                <a:lnTo>
                  <a:pt x="132" y="54"/>
                </a:lnTo>
                <a:lnTo>
                  <a:pt x="132" y="54"/>
                </a:lnTo>
                <a:lnTo>
                  <a:pt x="132" y="54"/>
                </a:lnTo>
                <a:lnTo>
                  <a:pt x="138" y="54"/>
                </a:lnTo>
                <a:lnTo>
                  <a:pt x="138" y="60"/>
                </a:lnTo>
                <a:lnTo>
                  <a:pt x="144" y="60"/>
                </a:lnTo>
                <a:lnTo>
                  <a:pt x="150" y="60"/>
                </a:lnTo>
                <a:lnTo>
                  <a:pt x="150" y="60"/>
                </a:lnTo>
                <a:lnTo>
                  <a:pt x="150" y="60"/>
                </a:lnTo>
                <a:lnTo>
                  <a:pt x="156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6"/>
                </a:lnTo>
                <a:lnTo>
                  <a:pt x="168" y="66"/>
                </a:lnTo>
                <a:lnTo>
                  <a:pt x="168" y="66"/>
                </a:lnTo>
                <a:lnTo>
                  <a:pt x="168" y="66"/>
                </a:lnTo>
                <a:lnTo>
                  <a:pt x="168" y="66"/>
                </a:lnTo>
                <a:lnTo>
                  <a:pt x="168" y="66"/>
                </a:lnTo>
                <a:lnTo>
                  <a:pt x="174" y="60"/>
                </a:lnTo>
                <a:lnTo>
                  <a:pt x="174" y="60"/>
                </a:lnTo>
                <a:lnTo>
                  <a:pt x="174" y="60"/>
                </a:lnTo>
                <a:lnTo>
                  <a:pt x="180" y="60"/>
                </a:lnTo>
                <a:lnTo>
                  <a:pt x="180" y="60"/>
                </a:lnTo>
                <a:lnTo>
                  <a:pt x="180" y="60"/>
                </a:lnTo>
                <a:lnTo>
                  <a:pt x="180" y="60"/>
                </a:lnTo>
                <a:lnTo>
                  <a:pt x="180" y="66"/>
                </a:lnTo>
                <a:lnTo>
                  <a:pt x="180" y="66"/>
                </a:lnTo>
                <a:lnTo>
                  <a:pt x="186" y="66"/>
                </a:lnTo>
                <a:lnTo>
                  <a:pt x="180" y="66"/>
                </a:lnTo>
                <a:lnTo>
                  <a:pt x="180" y="72"/>
                </a:lnTo>
                <a:lnTo>
                  <a:pt x="186" y="72"/>
                </a:lnTo>
                <a:lnTo>
                  <a:pt x="186" y="72"/>
                </a:lnTo>
                <a:lnTo>
                  <a:pt x="180" y="72"/>
                </a:lnTo>
                <a:lnTo>
                  <a:pt x="186" y="78"/>
                </a:lnTo>
                <a:lnTo>
                  <a:pt x="186" y="78"/>
                </a:lnTo>
                <a:lnTo>
                  <a:pt x="186" y="78"/>
                </a:lnTo>
                <a:lnTo>
                  <a:pt x="186" y="78"/>
                </a:lnTo>
                <a:lnTo>
                  <a:pt x="186" y="78"/>
                </a:lnTo>
                <a:lnTo>
                  <a:pt x="186" y="84"/>
                </a:lnTo>
                <a:lnTo>
                  <a:pt x="186" y="84"/>
                </a:lnTo>
                <a:lnTo>
                  <a:pt x="186" y="84"/>
                </a:lnTo>
                <a:lnTo>
                  <a:pt x="186" y="84"/>
                </a:lnTo>
                <a:lnTo>
                  <a:pt x="186" y="84"/>
                </a:lnTo>
                <a:lnTo>
                  <a:pt x="186" y="90"/>
                </a:lnTo>
                <a:lnTo>
                  <a:pt x="186" y="90"/>
                </a:lnTo>
                <a:lnTo>
                  <a:pt x="186" y="90"/>
                </a:lnTo>
                <a:lnTo>
                  <a:pt x="192" y="90"/>
                </a:lnTo>
                <a:lnTo>
                  <a:pt x="192" y="90"/>
                </a:lnTo>
                <a:lnTo>
                  <a:pt x="192" y="96"/>
                </a:lnTo>
                <a:lnTo>
                  <a:pt x="192" y="96"/>
                </a:lnTo>
                <a:lnTo>
                  <a:pt x="192" y="96"/>
                </a:lnTo>
                <a:lnTo>
                  <a:pt x="192" y="96"/>
                </a:lnTo>
                <a:lnTo>
                  <a:pt x="192" y="102"/>
                </a:lnTo>
                <a:lnTo>
                  <a:pt x="192" y="102"/>
                </a:lnTo>
                <a:lnTo>
                  <a:pt x="192" y="102"/>
                </a:lnTo>
                <a:lnTo>
                  <a:pt x="192" y="102"/>
                </a:lnTo>
                <a:lnTo>
                  <a:pt x="198" y="108"/>
                </a:lnTo>
                <a:lnTo>
                  <a:pt x="198" y="108"/>
                </a:lnTo>
                <a:lnTo>
                  <a:pt x="192" y="108"/>
                </a:lnTo>
                <a:lnTo>
                  <a:pt x="192" y="108"/>
                </a:lnTo>
                <a:lnTo>
                  <a:pt x="192" y="108"/>
                </a:lnTo>
                <a:lnTo>
                  <a:pt x="192" y="108"/>
                </a:lnTo>
                <a:lnTo>
                  <a:pt x="192" y="108"/>
                </a:lnTo>
                <a:lnTo>
                  <a:pt x="192" y="108"/>
                </a:lnTo>
                <a:lnTo>
                  <a:pt x="192" y="108"/>
                </a:lnTo>
                <a:lnTo>
                  <a:pt x="186" y="108"/>
                </a:lnTo>
                <a:lnTo>
                  <a:pt x="186" y="108"/>
                </a:lnTo>
                <a:lnTo>
                  <a:pt x="186" y="114"/>
                </a:lnTo>
                <a:lnTo>
                  <a:pt x="186" y="114"/>
                </a:lnTo>
                <a:lnTo>
                  <a:pt x="180" y="120"/>
                </a:lnTo>
                <a:lnTo>
                  <a:pt x="174" y="120"/>
                </a:lnTo>
                <a:lnTo>
                  <a:pt x="174" y="120"/>
                </a:lnTo>
                <a:lnTo>
                  <a:pt x="174" y="120"/>
                </a:lnTo>
                <a:lnTo>
                  <a:pt x="168" y="126"/>
                </a:lnTo>
                <a:lnTo>
                  <a:pt x="174" y="126"/>
                </a:lnTo>
                <a:lnTo>
                  <a:pt x="174" y="126"/>
                </a:lnTo>
                <a:lnTo>
                  <a:pt x="174" y="132"/>
                </a:lnTo>
                <a:lnTo>
                  <a:pt x="174" y="132"/>
                </a:lnTo>
                <a:lnTo>
                  <a:pt x="174" y="132"/>
                </a:lnTo>
                <a:lnTo>
                  <a:pt x="174" y="132"/>
                </a:lnTo>
                <a:lnTo>
                  <a:pt x="174" y="132"/>
                </a:lnTo>
                <a:lnTo>
                  <a:pt x="174" y="138"/>
                </a:lnTo>
                <a:lnTo>
                  <a:pt x="174" y="138"/>
                </a:lnTo>
                <a:lnTo>
                  <a:pt x="174" y="138"/>
                </a:lnTo>
                <a:lnTo>
                  <a:pt x="180" y="138"/>
                </a:lnTo>
                <a:lnTo>
                  <a:pt x="180" y="138"/>
                </a:lnTo>
                <a:lnTo>
                  <a:pt x="180" y="138"/>
                </a:lnTo>
                <a:lnTo>
                  <a:pt x="180" y="138"/>
                </a:lnTo>
                <a:lnTo>
                  <a:pt x="180" y="138"/>
                </a:lnTo>
                <a:lnTo>
                  <a:pt x="180" y="138"/>
                </a:lnTo>
                <a:lnTo>
                  <a:pt x="180" y="138"/>
                </a:lnTo>
                <a:lnTo>
                  <a:pt x="180" y="144"/>
                </a:lnTo>
                <a:lnTo>
                  <a:pt x="180" y="144"/>
                </a:lnTo>
                <a:lnTo>
                  <a:pt x="180" y="144"/>
                </a:lnTo>
                <a:lnTo>
                  <a:pt x="186" y="144"/>
                </a:lnTo>
                <a:lnTo>
                  <a:pt x="186" y="144"/>
                </a:lnTo>
                <a:lnTo>
                  <a:pt x="186" y="144"/>
                </a:lnTo>
                <a:lnTo>
                  <a:pt x="186" y="144"/>
                </a:lnTo>
                <a:lnTo>
                  <a:pt x="186" y="144"/>
                </a:lnTo>
                <a:lnTo>
                  <a:pt x="186" y="144"/>
                </a:lnTo>
                <a:lnTo>
                  <a:pt x="186" y="150"/>
                </a:lnTo>
                <a:lnTo>
                  <a:pt x="186" y="150"/>
                </a:lnTo>
                <a:lnTo>
                  <a:pt x="186" y="150"/>
                </a:lnTo>
                <a:lnTo>
                  <a:pt x="186" y="150"/>
                </a:lnTo>
                <a:lnTo>
                  <a:pt x="186" y="150"/>
                </a:lnTo>
                <a:lnTo>
                  <a:pt x="186" y="150"/>
                </a:lnTo>
                <a:lnTo>
                  <a:pt x="186" y="150"/>
                </a:lnTo>
                <a:lnTo>
                  <a:pt x="186" y="150"/>
                </a:lnTo>
                <a:lnTo>
                  <a:pt x="186" y="150"/>
                </a:lnTo>
                <a:lnTo>
                  <a:pt x="186" y="150"/>
                </a:lnTo>
                <a:lnTo>
                  <a:pt x="192" y="150"/>
                </a:lnTo>
                <a:lnTo>
                  <a:pt x="192" y="150"/>
                </a:lnTo>
                <a:lnTo>
                  <a:pt x="192" y="150"/>
                </a:lnTo>
                <a:lnTo>
                  <a:pt x="192" y="150"/>
                </a:lnTo>
                <a:lnTo>
                  <a:pt x="192" y="156"/>
                </a:lnTo>
                <a:lnTo>
                  <a:pt x="192" y="156"/>
                </a:lnTo>
                <a:lnTo>
                  <a:pt x="192" y="156"/>
                </a:lnTo>
                <a:lnTo>
                  <a:pt x="198" y="156"/>
                </a:lnTo>
                <a:lnTo>
                  <a:pt x="198" y="156"/>
                </a:lnTo>
                <a:lnTo>
                  <a:pt x="198" y="156"/>
                </a:lnTo>
                <a:lnTo>
                  <a:pt x="198" y="156"/>
                </a:lnTo>
                <a:lnTo>
                  <a:pt x="198" y="156"/>
                </a:lnTo>
                <a:lnTo>
                  <a:pt x="198" y="156"/>
                </a:lnTo>
                <a:lnTo>
                  <a:pt x="198" y="156"/>
                </a:lnTo>
                <a:lnTo>
                  <a:pt x="192" y="156"/>
                </a:lnTo>
                <a:lnTo>
                  <a:pt x="192" y="156"/>
                </a:lnTo>
                <a:lnTo>
                  <a:pt x="192" y="156"/>
                </a:lnTo>
                <a:lnTo>
                  <a:pt x="192" y="156"/>
                </a:lnTo>
                <a:lnTo>
                  <a:pt x="192" y="156"/>
                </a:lnTo>
                <a:lnTo>
                  <a:pt x="192" y="156"/>
                </a:lnTo>
                <a:lnTo>
                  <a:pt x="192" y="156"/>
                </a:lnTo>
                <a:lnTo>
                  <a:pt x="186" y="156"/>
                </a:lnTo>
                <a:lnTo>
                  <a:pt x="186" y="156"/>
                </a:lnTo>
                <a:lnTo>
                  <a:pt x="186" y="156"/>
                </a:lnTo>
                <a:lnTo>
                  <a:pt x="186" y="162"/>
                </a:lnTo>
                <a:lnTo>
                  <a:pt x="186" y="162"/>
                </a:lnTo>
                <a:lnTo>
                  <a:pt x="186" y="162"/>
                </a:lnTo>
                <a:lnTo>
                  <a:pt x="186" y="162"/>
                </a:lnTo>
                <a:lnTo>
                  <a:pt x="180" y="162"/>
                </a:lnTo>
                <a:lnTo>
                  <a:pt x="180" y="162"/>
                </a:lnTo>
                <a:lnTo>
                  <a:pt x="180" y="162"/>
                </a:lnTo>
                <a:lnTo>
                  <a:pt x="180" y="162"/>
                </a:lnTo>
                <a:lnTo>
                  <a:pt x="180" y="162"/>
                </a:lnTo>
                <a:lnTo>
                  <a:pt x="180" y="162"/>
                </a:lnTo>
                <a:lnTo>
                  <a:pt x="180" y="162"/>
                </a:lnTo>
                <a:lnTo>
                  <a:pt x="180" y="162"/>
                </a:lnTo>
                <a:lnTo>
                  <a:pt x="180" y="162"/>
                </a:lnTo>
                <a:lnTo>
                  <a:pt x="180" y="162"/>
                </a:lnTo>
                <a:lnTo>
                  <a:pt x="180" y="162"/>
                </a:lnTo>
                <a:lnTo>
                  <a:pt x="180" y="162"/>
                </a:lnTo>
                <a:lnTo>
                  <a:pt x="180" y="162"/>
                </a:lnTo>
                <a:lnTo>
                  <a:pt x="180" y="162"/>
                </a:lnTo>
                <a:lnTo>
                  <a:pt x="174" y="162"/>
                </a:lnTo>
                <a:lnTo>
                  <a:pt x="174" y="162"/>
                </a:lnTo>
                <a:lnTo>
                  <a:pt x="174" y="162"/>
                </a:lnTo>
                <a:lnTo>
                  <a:pt x="174" y="162"/>
                </a:lnTo>
                <a:lnTo>
                  <a:pt x="174" y="162"/>
                </a:lnTo>
                <a:lnTo>
                  <a:pt x="174" y="162"/>
                </a:lnTo>
                <a:lnTo>
                  <a:pt x="174" y="162"/>
                </a:lnTo>
                <a:lnTo>
                  <a:pt x="174" y="162"/>
                </a:lnTo>
                <a:lnTo>
                  <a:pt x="168" y="162"/>
                </a:lnTo>
                <a:lnTo>
                  <a:pt x="168" y="162"/>
                </a:lnTo>
                <a:lnTo>
                  <a:pt x="168" y="168"/>
                </a:lnTo>
                <a:lnTo>
                  <a:pt x="168" y="162"/>
                </a:lnTo>
                <a:lnTo>
                  <a:pt x="168" y="168"/>
                </a:lnTo>
                <a:lnTo>
                  <a:pt x="168" y="168"/>
                </a:lnTo>
                <a:lnTo>
                  <a:pt x="168" y="168"/>
                </a:lnTo>
                <a:lnTo>
                  <a:pt x="168" y="168"/>
                </a:lnTo>
                <a:lnTo>
                  <a:pt x="168" y="168"/>
                </a:lnTo>
                <a:lnTo>
                  <a:pt x="162" y="168"/>
                </a:lnTo>
                <a:lnTo>
                  <a:pt x="162" y="168"/>
                </a:lnTo>
                <a:lnTo>
                  <a:pt x="162" y="168"/>
                </a:lnTo>
                <a:lnTo>
                  <a:pt x="162" y="168"/>
                </a:lnTo>
                <a:lnTo>
                  <a:pt x="162" y="168"/>
                </a:lnTo>
                <a:lnTo>
                  <a:pt x="162" y="168"/>
                </a:lnTo>
                <a:lnTo>
                  <a:pt x="162" y="168"/>
                </a:lnTo>
                <a:lnTo>
                  <a:pt x="162" y="168"/>
                </a:lnTo>
                <a:lnTo>
                  <a:pt x="162" y="168"/>
                </a:lnTo>
                <a:lnTo>
                  <a:pt x="156" y="168"/>
                </a:lnTo>
                <a:lnTo>
                  <a:pt x="156" y="168"/>
                </a:lnTo>
                <a:lnTo>
                  <a:pt x="156" y="168"/>
                </a:lnTo>
                <a:lnTo>
                  <a:pt x="156" y="174"/>
                </a:lnTo>
                <a:lnTo>
                  <a:pt x="156" y="180"/>
                </a:lnTo>
                <a:lnTo>
                  <a:pt x="156" y="180"/>
                </a:lnTo>
                <a:lnTo>
                  <a:pt x="162" y="186"/>
                </a:lnTo>
                <a:lnTo>
                  <a:pt x="156" y="186"/>
                </a:lnTo>
                <a:lnTo>
                  <a:pt x="156" y="192"/>
                </a:lnTo>
                <a:lnTo>
                  <a:pt x="156" y="192"/>
                </a:lnTo>
                <a:lnTo>
                  <a:pt x="156" y="192"/>
                </a:lnTo>
                <a:lnTo>
                  <a:pt x="156" y="198"/>
                </a:lnTo>
                <a:lnTo>
                  <a:pt x="156" y="198"/>
                </a:lnTo>
                <a:lnTo>
                  <a:pt x="156" y="198"/>
                </a:lnTo>
                <a:lnTo>
                  <a:pt x="162" y="204"/>
                </a:lnTo>
                <a:lnTo>
                  <a:pt x="162" y="204"/>
                </a:lnTo>
                <a:lnTo>
                  <a:pt x="162" y="204"/>
                </a:lnTo>
                <a:lnTo>
                  <a:pt x="162" y="210"/>
                </a:lnTo>
                <a:lnTo>
                  <a:pt x="168" y="210"/>
                </a:lnTo>
                <a:lnTo>
                  <a:pt x="168" y="210"/>
                </a:lnTo>
                <a:lnTo>
                  <a:pt x="168" y="210"/>
                </a:lnTo>
                <a:lnTo>
                  <a:pt x="168" y="216"/>
                </a:lnTo>
                <a:lnTo>
                  <a:pt x="174" y="216"/>
                </a:lnTo>
                <a:lnTo>
                  <a:pt x="180" y="222"/>
                </a:lnTo>
                <a:lnTo>
                  <a:pt x="180" y="222"/>
                </a:lnTo>
                <a:lnTo>
                  <a:pt x="180" y="222"/>
                </a:lnTo>
                <a:lnTo>
                  <a:pt x="180" y="228"/>
                </a:lnTo>
                <a:lnTo>
                  <a:pt x="186" y="228"/>
                </a:lnTo>
                <a:lnTo>
                  <a:pt x="186" y="234"/>
                </a:lnTo>
                <a:lnTo>
                  <a:pt x="186" y="234"/>
                </a:lnTo>
                <a:lnTo>
                  <a:pt x="186" y="234"/>
                </a:lnTo>
                <a:lnTo>
                  <a:pt x="192" y="234"/>
                </a:lnTo>
                <a:lnTo>
                  <a:pt x="192" y="234"/>
                </a:lnTo>
                <a:lnTo>
                  <a:pt x="192" y="234"/>
                </a:lnTo>
                <a:lnTo>
                  <a:pt x="192" y="234"/>
                </a:lnTo>
                <a:lnTo>
                  <a:pt x="192" y="234"/>
                </a:lnTo>
                <a:lnTo>
                  <a:pt x="198" y="234"/>
                </a:lnTo>
                <a:lnTo>
                  <a:pt x="198" y="234"/>
                </a:lnTo>
                <a:lnTo>
                  <a:pt x="198" y="234"/>
                </a:lnTo>
                <a:lnTo>
                  <a:pt x="198" y="234"/>
                </a:lnTo>
                <a:lnTo>
                  <a:pt x="198" y="240"/>
                </a:lnTo>
                <a:lnTo>
                  <a:pt x="198" y="240"/>
                </a:lnTo>
                <a:lnTo>
                  <a:pt x="204" y="240"/>
                </a:lnTo>
                <a:lnTo>
                  <a:pt x="204" y="240"/>
                </a:lnTo>
                <a:lnTo>
                  <a:pt x="204" y="240"/>
                </a:lnTo>
                <a:lnTo>
                  <a:pt x="204" y="240"/>
                </a:lnTo>
                <a:lnTo>
                  <a:pt x="204" y="246"/>
                </a:lnTo>
                <a:lnTo>
                  <a:pt x="204" y="246"/>
                </a:lnTo>
                <a:lnTo>
                  <a:pt x="204" y="246"/>
                </a:lnTo>
                <a:lnTo>
                  <a:pt x="204" y="246"/>
                </a:lnTo>
                <a:lnTo>
                  <a:pt x="204" y="246"/>
                </a:lnTo>
                <a:lnTo>
                  <a:pt x="204" y="246"/>
                </a:lnTo>
                <a:lnTo>
                  <a:pt x="204" y="246"/>
                </a:lnTo>
                <a:lnTo>
                  <a:pt x="204" y="246"/>
                </a:lnTo>
                <a:lnTo>
                  <a:pt x="210" y="246"/>
                </a:lnTo>
                <a:lnTo>
                  <a:pt x="210" y="246"/>
                </a:lnTo>
                <a:lnTo>
                  <a:pt x="210" y="246"/>
                </a:lnTo>
                <a:lnTo>
                  <a:pt x="210" y="246"/>
                </a:lnTo>
                <a:lnTo>
                  <a:pt x="216" y="246"/>
                </a:lnTo>
                <a:lnTo>
                  <a:pt x="216" y="252"/>
                </a:lnTo>
                <a:lnTo>
                  <a:pt x="216" y="252"/>
                </a:lnTo>
                <a:lnTo>
                  <a:pt x="216" y="252"/>
                </a:lnTo>
                <a:lnTo>
                  <a:pt x="216" y="252"/>
                </a:lnTo>
                <a:lnTo>
                  <a:pt x="216" y="252"/>
                </a:lnTo>
                <a:lnTo>
                  <a:pt x="216" y="252"/>
                </a:lnTo>
                <a:lnTo>
                  <a:pt x="216" y="252"/>
                </a:lnTo>
                <a:lnTo>
                  <a:pt x="216" y="252"/>
                </a:lnTo>
                <a:lnTo>
                  <a:pt x="216" y="252"/>
                </a:lnTo>
                <a:lnTo>
                  <a:pt x="216" y="258"/>
                </a:lnTo>
                <a:lnTo>
                  <a:pt x="216" y="258"/>
                </a:lnTo>
                <a:lnTo>
                  <a:pt x="222" y="258"/>
                </a:lnTo>
                <a:lnTo>
                  <a:pt x="222" y="258"/>
                </a:lnTo>
                <a:lnTo>
                  <a:pt x="222" y="258"/>
                </a:lnTo>
                <a:lnTo>
                  <a:pt x="222" y="264"/>
                </a:lnTo>
                <a:lnTo>
                  <a:pt x="222" y="264"/>
                </a:lnTo>
                <a:lnTo>
                  <a:pt x="222" y="264"/>
                </a:lnTo>
                <a:lnTo>
                  <a:pt x="222" y="264"/>
                </a:lnTo>
                <a:lnTo>
                  <a:pt x="222" y="270"/>
                </a:lnTo>
                <a:lnTo>
                  <a:pt x="222" y="270"/>
                </a:lnTo>
                <a:lnTo>
                  <a:pt x="222" y="270"/>
                </a:lnTo>
                <a:lnTo>
                  <a:pt x="228" y="270"/>
                </a:lnTo>
                <a:lnTo>
                  <a:pt x="228" y="270"/>
                </a:lnTo>
                <a:lnTo>
                  <a:pt x="228" y="270"/>
                </a:lnTo>
                <a:lnTo>
                  <a:pt x="228" y="276"/>
                </a:lnTo>
                <a:lnTo>
                  <a:pt x="228" y="276"/>
                </a:lnTo>
                <a:lnTo>
                  <a:pt x="228" y="276"/>
                </a:lnTo>
                <a:lnTo>
                  <a:pt x="228" y="276"/>
                </a:lnTo>
                <a:lnTo>
                  <a:pt x="228" y="282"/>
                </a:lnTo>
                <a:lnTo>
                  <a:pt x="228" y="282"/>
                </a:lnTo>
                <a:lnTo>
                  <a:pt x="228" y="282"/>
                </a:lnTo>
                <a:lnTo>
                  <a:pt x="228" y="282"/>
                </a:lnTo>
                <a:lnTo>
                  <a:pt x="228" y="282"/>
                </a:lnTo>
                <a:lnTo>
                  <a:pt x="228" y="282"/>
                </a:lnTo>
                <a:lnTo>
                  <a:pt x="234" y="288"/>
                </a:lnTo>
                <a:lnTo>
                  <a:pt x="234" y="288"/>
                </a:lnTo>
                <a:lnTo>
                  <a:pt x="234" y="288"/>
                </a:lnTo>
                <a:lnTo>
                  <a:pt x="234" y="288"/>
                </a:lnTo>
                <a:lnTo>
                  <a:pt x="234" y="288"/>
                </a:lnTo>
                <a:lnTo>
                  <a:pt x="234" y="288"/>
                </a:lnTo>
                <a:lnTo>
                  <a:pt x="234" y="294"/>
                </a:lnTo>
                <a:lnTo>
                  <a:pt x="234" y="294"/>
                </a:lnTo>
                <a:lnTo>
                  <a:pt x="234" y="294"/>
                </a:lnTo>
                <a:lnTo>
                  <a:pt x="228" y="294"/>
                </a:lnTo>
                <a:lnTo>
                  <a:pt x="234" y="294"/>
                </a:lnTo>
                <a:lnTo>
                  <a:pt x="228" y="294"/>
                </a:lnTo>
                <a:lnTo>
                  <a:pt x="228" y="294"/>
                </a:lnTo>
                <a:lnTo>
                  <a:pt x="234" y="294"/>
                </a:lnTo>
                <a:lnTo>
                  <a:pt x="228" y="294"/>
                </a:lnTo>
                <a:lnTo>
                  <a:pt x="228" y="294"/>
                </a:lnTo>
                <a:lnTo>
                  <a:pt x="228" y="294"/>
                </a:lnTo>
                <a:lnTo>
                  <a:pt x="228" y="294"/>
                </a:lnTo>
                <a:lnTo>
                  <a:pt x="228" y="300"/>
                </a:lnTo>
                <a:lnTo>
                  <a:pt x="228" y="300"/>
                </a:lnTo>
                <a:lnTo>
                  <a:pt x="228" y="300"/>
                </a:lnTo>
                <a:lnTo>
                  <a:pt x="228" y="300"/>
                </a:lnTo>
                <a:lnTo>
                  <a:pt x="234" y="300"/>
                </a:lnTo>
                <a:lnTo>
                  <a:pt x="234" y="300"/>
                </a:lnTo>
                <a:lnTo>
                  <a:pt x="234" y="300"/>
                </a:lnTo>
                <a:lnTo>
                  <a:pt x="234" y="300"/>
                </a:lnTo>
                <a:lnTo>
                  <a:pt x="234" y="300"/>
                </a:lnTo>
                <a:lnTo>
                  <a:pt x="234" y="300"/>
                </a:lnTo>
                <a:lnTo>
                  <a:pt x="234" y="306"/>
                </a:lnTo>
                <a:lnTo>
                  <a:pt x="234" y="306"/>
                </a:lnTo>
                <a:lnTo>
                  <a:pt x="234" y="306"/>
                </a:lnTo>
                <a:lnTo>
                  <a:pt x="234" y="306"/>
                </a:lnTo>
                <a:lnTo>
                  <a:pt x="234" y="306"/>
                </a:lnTo>
                <a:lnTo>
                  <a:pt x="234" y="306"/>
                </a:lnTo>
                <a:lnTo>
                  <a:pt x="234" y="306"/>
                </a:lnTo>
                <a:lnTo>
                  <a:pt x="234" y="306"/>
                </a:lnTo>
                <a:lnTo>
                  <a:pt x="234" y="306"/>
                </a:lnTo>
                <a:lnTo>
                  <a:pt x="234" y="312"/>
                </a:lnTo>
                <a:lnTo>
                  <a:pt x="234" y="312"/>
                </a:lnTo>
                <a:lnTo>
                  <a:pt x="234" y="312"/>
                </a:lnTo>
                <a:lnTo>
                  <a:pt x="234" y="312"/>
                </a:lnTo>
                <a:lnTo>
                  <a:pt x="234" y="312"/>
                </a:lnTo>
                <a:lnTo>
                  <a:pt x="234" y="312"/>
                </a:lnTo>
                <a:lnTo>
                  <a:pt x="234" y="312"/>
                </a:lnTo>
                <a:lnTo>
                  <a:pt x="234" y="312"/>
                </a:lnTo>
                <a:lnTo>
                  <a:pt x="228" y="312"/>
                </a:lnTo>
                <a:lnTo>
                  <a:pt x="228" y="312"/>
                </a:lnTo>
                <a:lnTo>
                  <a:pt x="228" y="312"/>
                </a:lnTo>
                <a:lnTo>
                  <a:pt x="228" y="312"/>
                </a:lnTo>
                <a:lnTo>
                  <a:pt x="228" y="312"/>
                </a:lnTo>
                <a:lnTo>
                  <a:pt x="228" y="312"/>
                </a:lnTo>
                <a:lnTo>
                  <a:pt x="228" y="312"/>
                </a:lnTo>
                <a:lnTo>
                  <a:pt x="228" y="312"/>
                </a:lnTo>
                <a:lnTo>
                  <a:pt x="228" y="312"/>
                </a:lnTo>
                <a:lnTo>
                  <a:pt x="222" y="312"/>
                </a:lnTo>
                <a:lnTo>
                  <a:pt x="228" y="312"/>
                </a:lnTo>
                <a:lnTo>
                  <a:pt x="228" y="312"/>
                </a:lnTo>
                <a:lnTo>
                  <a:pt x="222" y="312"/>
                </a:lnTo>
                <a:lnTo>
                  <a:pt x="222" y="312"/>
                </a:lnTo>
                <a:lnTo>
                  <a:pt x="222" y="312"/>
                </a:lnTo>
                <a:lnTo>
                  <a:pt x="222" y="312"/>
                </a:lnTo>
                <a:lnTo>
                  <a:pt x="222" y="312"/>
                </a:lnTo>
                <a:lnTo>
                  <a:pt x="216" y="312"/>
                </a:lnTo>
                <a:lnTo>
                  <a:pt x="222" y="312"/>
                </a:lnTo>
                <a:lnTo>
                  <a:pt x="216" y="312"/>
                </a:lnTo>
                <a:lnTo>
                  <a:pt x="216" y="312"/>
                </a:lnTo>
                <a:lnTo>
                  <a:pt x="216" y="312"/>
                </a:lnTo>
                <a:lnTo>
                  <a:pt x="216" y="312"/>
                </a:lnTo>
                <a:lnTo>
                  <a:pt x="216" y="312"/>
                </a:lnTo>
                <a:lnTo>
                  <a:pt x="216" y="312"/>
                </a:lnTo>
                <a:lnTo>
                  <a:pt x="216" y="312"/>
                </a:lnTo>
                <a:lnTo>
                  <a:pt x="216" y="312"/>
                </a:lnTo>
                <a:lnTo>
                  <a:pt x="216" y="312"/>
                </a:lnTo>
                <a:lnTo>
                  <a:pt x="216" y="312"/>
                </a:lnTo>
                <a:lnTo>
                  <a:pt x="210" y="312"/>
                </a:lnTo>
                <a:lnTo>
                  <a:pt x="210" y="312"/>
                </a:lnTo>
                <a:lnTo>
                  <a:pt x="210" y="312"/>
                </a:lnTo>
                <a:lnTo>
                  <a:pt x="210" y="312"/>
                </a:lnTo>
                <a:lnTo>
                  <a:pt x="210" y="312"/>
                </a:lnTo>
                <a:lnTo>
                  <a:pt x="210" y="312"/>
                </a:lnTo>
                <a:lnTo>
                  <a:pt x="210" y="312"/>
                </a:lnTo>
                <a:lnTo>
                  <a:pt x="204" y="312"/>
                </a:lnTo>
                <a:lnTo>
                  <a:pt x="204" y="312"/>
                </a:lnTo>
                <a:lnTo>
                  <a:pt x="204" y="312"/>
                </a:lnTo>
                <a:lnTo>
                  <a:pt x="204" y="312"/>
                </a:lnTo>
                <a:lnTo>
                  <a:pt x="204" y="312"/>
                </a:lnTo>
                <a:lnTo>
                  <a:pt x="204" y="312"/>
                </a:lnTo>
                <a:lnTo>
                  <a:pt x="204" y="312"/>
                </a:lnTo>
                <a:lnTo>
                  <a:pt x="204" y="312"/>
                </a:lnTo>
                <a:lnTo>
                  <a:pt x="198" y="312"/>
                </a:lnTo>
                <a:lnTo>
                  <a:pt x="198" y="312"/>
                </a:lnTo>
                <a:lnTo>
                  <a:pt x="198" y="312"/>
                </a:lnTo>
                <a:lnTo>
                  <a:pt x="198" y="312"/>
                </a:lnTo>
                <a:lnTo>
                  <a:pt x="198" y="312"/>
                </a:lnTo>
                <a:lnTo>
                  <a:pt x="198" y="312"/>
                </a:lnTo>
                <a:lnTo>
                  <a:pt x="198" y="312"/>
                </a:lnTo>
                <a:lnTo>
                  <a:pt x="192" y="306"/>
                </a:lnTo>
                <a:lnTo>
                  <a:pt x="192" y="312"/>
                </a:lnTo>
                <a:lnTo>
                  <a:pt x="186" y="312"/>
                </a:lnTo>
                <a:lnTo>
                  <a:pt x="186" y="306"/>
                </a:lnTo>
                <a:lnTo>
                  <a:pt x="186" y="306"/>
                </a:lnTo>
                <a:lnTo>
                  <a:pt x="186" y="306"/>
                </a:lnTo>
                <a:lnTo>
                  <a:pt x="186" y="306"/>
                </a:lnTo>
                <a:lnTo>
                  <a:pt x="186" y="306"/>
                </a:lnTo>
                <a:lnTo>
                  <a:pt x="180" y="306"/>
                </a:lnTo>
                <a:lnTo>
                  <a:pt x="180" y="306"/>
                </a:lnTo>
                <a:lnTo>
                  <a:pt x="180" y="306"/>
                </a:lnTo>
                <a:lnTo>
                  <a:pt x="180" y="306"/>
                </a:lnTo>
                <a:lnTo>
                  <a:pt x="180" y="306"/>
                </a:lnTo>
                <a:lnTo>
                  <a:pt x="180" y="306"/>
                </a:lnTo>
                <a:lnTo>
                  <a:pt x="180" y="300"/>
                </a:lnTo>
                <a:lnTo>
                  <a:pt x="180" y="300"/>
                </a:lnTo>
                <a:lnTo>
                  <a:pt x="180" y="300"/>
                </a:lnTo>
                <a:lnTo>
                  <a:pt x="180" y="300"/>
                </a:lnTo>
                <a:lnTo>
                  <a:pt x="174" y="300"/>
                </a:lnTo>
                <a:lnTo>
                  <a:pt x="174" y="300"/>
                </a:lnTo>
                <a:lnTo>
                  <a:pt x="174" y="300"/>
                </a:lnTo>
                <a:lnTo>
                  <a:pt x="174" y="300"/>
                </a:lnTo>
                <a:lnTo>
                  <a:pt x="174" y="300"/>
                </a:lnTo>
                <a:lnTo>
                  <a:pt x="174" y="300"/>
                </a:lnTo>
                <a:lnTo>
                  <a:pt x="174" y="300"/>
                </a:lnTo>
                <a:lnTo>
                  <a:pt x="174" y="294"/>
                </a:lnTo>
                <a:lnTo>
                  <a:pt x="174" y="300"/>
                </a:lnTo>
                <a:lnTo>
                  <a:pt x="174" y="294"/>
                </a:lnTo>
                <a:lnTo>
                  <a:pt x="168" y="294"/>
                </a:lnTo>
                <a:lnTo>
                  <a:pt x="168" y="294"/>
                </a:lnTo>
                <a:lnTo>
                  <a:pt x="168" y="294"/>
                </a:lnTo>
                <a:lnTo>
                  <a:pt x="168" y="294"/>
                </a:lnTo>
                <a:lnTo>
                  <a:pt x="168" y="294"/>
                </a:lnTo>
                <a:lnTo>
                  <a:pt x="168" y="294"/>
                </a:lnTo>
                <a:lnTo>
                  <a:pt x="168" y="288"/>
                </a:lnTo>
                <a:lnTo>
                  <a:pt x="168" y="294"/>
                </a:lnTo>
                <a:lnTo>
                  <a:pt x="168" y="288"/>
                </a:lnTo>
                <a:lnTo>
                  <a:pt x="168" y="288"/>
                </a:lnTo>
                <a:lnTo>
                  <a:pt x="168" y="288"/>
                </a:lnTo>
                <a:lnTo>
                  <a:pt x="162" y="288"/>
                </a:lnTo>
                <a:lnTo>
                  <a:pt x="162" y="288"/>
                </a:lnTo>
                <a:lnTo>
                  <a:pt x="162" y="288"/>
                </a:lnTo>
                <a:lnTo>
                  <a:pt x="162" y="282"/>
                </a:lnTo>
                <a:lnTo>
                  <a:pt x="162" y="282"/>
                </a:lnTo>
                <a:lnTo>
                  <a:pt x="162" y="282"/>
                </a:lnTo>
                <a:lnTo>
                  <a:pt x="156" y="282"/>
                </a:lnTo>
                <a:lnTo>
                  <a:pt x="156" y="282"/>
                </a:lnTo>
                <a:lnTo>
                  <a:pt x="156" y="282"/>
                </a:lnTo>
                <a:lnTo>
                  <a:pt x="156" y="282"/>
                </a:lnTo>
                <a:lnTo>
                  <a:pt x="156" y="282"/>
                </a:lnTo>
                <a:lnTo>
                  <a:pt x="156" y="282"/>
                </a:lnTo>
                <a:lnTo>
                  <a:pt x="156" y="282"/>
                </a:lnTo>
                <a:lnTo>
                  <a:pt x="156" y="282"/>
                </a:lnTo>
                <a:lnTo>
                  <a:pt x="156" y="276"/>
                </a:lnTo>
                <a:lnTo>
                  <a:pt x="156" y="276"/>
                </a:lnTo>
                <a:lnTo>
                  <a:pt x="156" y="276"/>
                </a:lnTo>
                <a:lnTo>
                  <a:pt x="150" y="276"/>
                </a:lnTo>
                <a:lnTo>
                  <a:pt x="150" y="276"/>
                </a:lnTo>
                <a:lnTo>
                  <a:pt x="150" y="276"/>
                </a:lnTo>
                <a:lnTo>
                  <a:pt x="150" y="276"/>
                </a:lnTo>
                <a:lnTo>
                  <a:pt x="150" y="276"/>
                </a:lnTo>
                <a:lnTo>
                  <a:pt x="156" y="270"/>
                </a:lnTo>
                <a:lnTo>
                  <a:pt x="150" y="270"/>
                </a:lnTo>
                <a:lnTo>
                  <a:pt x="150" y="270"/>
                </a:lnTo>
                <a:lnTo>
                  <a:pt x="150" y="270"/>
                </a:lnTo>
                <a:lnTo>
                  <a:pt x="150" y="270"/>
                </a:lnTo>
                <a:lnTo>
                  <a:pt x="150" y="270"/>
                </a:lnTo>
                <a:lnTo>
                  <a:pt x="150" y="270"/>
                </a:lnTo>
                <a:lnTo>
                  <a:pt x="150" y="270"/>
                </a:lnTo>
                <a:lnTo>
                  <a:pt x="150" y="270"/>
                </a:lnTo>
                <a:lnTo>
                  <a:pt x="150" y="270"/>
                </a:lnTo>
                <a:lnTo>
                  <a:pt x="144" y="270"/>
                </a:lnTo>
                <a:lnTo>
                  <a:pt x="150" y="270"/>
                </a:lnTo>
                <a:lnTo>
                  <a:pt x="150" y="270"/>
                </a:lnTo>
                <a:lnTo>
                  <a:pt x="150" y="270"/>
                </a:lnTo>
                <a:lnTo>
                  <a:pt x="150" y="264"/>
                </a:lnTo>
                <a:lnTo>
                  <a:pt x="144" y="264"/>
                </a:lnTo>
                <a:lnTo>
                  <a:pt x="144" y="264"/>
                </a:lnTo>
                <a:lnTo>
                  <a:pt x="150" y="264"/>
                </a:lnTo>
                <a:lnTo>
                  <a:pt x="144" y="264"/>
                </a:lnTo>
                <a:lnTo>
                  <a:pt x="144" y="264"/>
                </a:lnTo>
                <a:lnTo>
                  <a:pt x="144" y="264"/>
                </a:lnTo>
                <a:lnTo>
                  <a:pt x="144" y="258"/>
                </a:lnTo>
                <a:lnTo>
                  <a:pt x="144" y="264"/>
                </a:lnTo>
                <a:lnTo>
                  <a:pt x="144" y="258"/>
                </a:lnTo>
                <a:lnTo>
                  <a:pt x="144" y="258"/>
                </a:lnTo>
                <a:lnTo>
                  <a:pt x="144" y="258"/>
                </a:lnTo>
                <a:lnTo>
                  <a:pt x="144" y="258"/>
                </a:lnTo>
                <a:lnTo>
                  <a:pt x="144" y="258"/>
                </a:lnTo>
                <a:lnTo>
                  <a:pt x="144" y="258"/>
                </a:lnTo>
                <a:lnTo>
                  <a:pt x="144" y="258"/>
                </a:lnTo>
                <a:lnTo>
                  <a:pt x="144" y="258"/>
                </a:lnTo>
                <a:lnTo>
                  <a:pt x="144" y="258"/>
                </a:lnTo>
                <a:lnTo>
                  <a:pt x="144" y="258"/>
                </a:lnTo>
                <a:lnTo>
                  <a:pt x="138" y="258"/>
                </a:lnTo>
                <a:lnTo>
                  <a:pt x="138" y="252"/>
                </a:lnTo>
                <a:lnTo>
                  <a:pt x="138" y="252"/>
                </a:lnTo>
                <a:lnTo>
                  <a:pt x="138" y="252"/>
                </a:lnTo>
                <a:lnTo>
                  <a:pt x="138" y="252"/>
                </a:lnTo>
                <a:lnTo>
                  <a:pt x="138" y="252"/>
                </a:lnTo>
                <a:lnTo>
                  <a:pt x="138" y="252"/>
                </a:lnTo>
                <a:lnTo>
                  <a:pt x="138" y="252"/>
                </a:lnTo>
                <a:lnTo>
                  <a:pt x="138" y="252"/>
                </a:lnTo>
                <a:lnTo>
                  <a:pt x="132" y="252"/>
                </a:lnTo>
                <a:lnTo>
                  <a:pt x="132" y="252"/>
                </a:lnTo>
                <a:lnTo>
                  <a:pt x="132" y="252"/>
                </a:lnTo>
                <a:lnTo>
                  <a:pt x="132" y="252"/>
                </a:lnTo>
                <a:lnTo>
                  <a:pt x="132" y="252"/>
                </a:lnTo>
                <a:lnTo>
                  <a:pt x="132" y="252"/>
                </a:lnTo>
                <a:lnTo>
                  <a:pt x="132" y="246"/>
                </a:lnTo>
                <a:lnTo>
                  <a:pt x="132" y="246"/>
                </a:lnTo>
                <a:lnTo>
                  <a:pt x="132" y="246"/>
                </a:lnTo>
                <a:lnTo>
                  <a:pt x="132" y="246"/>
                </a:lnTo>
                <a:lnTo>
                  <a:pt x="132" y="246"/>
                </a:lnTo>
                <a:lnTo>
                  <a:pt x="126" y="246"/>
                </a:lnTo>
                <a:lnTo>
                  <a:pt x="126" y="246"/>
                </a:lnTo>
                <a:lnTo>
                  <a:pt x="126" y="240"/>
                </a:lnTo>
                <a:lnTo>
                  <a:pt x="126" y="240"/>
                </a:lnTo>
                <a:lnTo>
                  <a:pt x="126" y="240"/>
                </a:lnTo>
                <a:lnTo>
                  <a:pt x="126" y="240"/>
                </a:lnTo>
                <a:lnTo>
                  <a:pt x="126" y="240"/>
                </a:lnTo>
                <a:lnTo>
                  <a:pt x="126" y="240"/>
                </a:lnTo>
                <a:lnTo>
                  <a:pt x="120" y="240"/>
                </a:lnTo>
                <a:lnTo>
                  <a:pt x="120" y="240"/>
                </a:lnTo>
                <a:lnTo>
                  <a:pt x="120" y="240"/>
                </a:lnTo>
                <a:lnTo>
                  <a:pt x="120" y="240"/>
                </a:lnTo>
                <a:lnTo>
                  <a:pt x="120" y="240"/>
                </a:lnTo>
                <a:lnTo>
                  <a:pt x="120" y="240"/>
                </a:lnTo>
                <a:lnTo>
                  <a:pt x="114" y="240"/>
                </a:lnTo>
                <a:lnTo>
                  <a:pt x="114" y="240"/>
                </a:lnTo>
                <a:lnTo>
                  <a:pt x="114" y="240"/>
                </a:lnTo>
                <a:lnTo>
                  <a:pt x="120" y="252"/>
                </a:lnTo>
                <a:lnTo>
                  <a:pt x="120" y="258"/>
                </a:lnTo>
                <a:lnTo>
                  <a:pt x="114" y="258"/>
                </a:lnTo>
                <a:lnTo>
                  <a:pt x="114" y="258"/>
                </a:lnTo>
                <a:lnTo>
                  <a:pt x="108" y="258"/>
                </a:lnTo>
                <a:lnTo>
                  <a:pt x="114" y="258"/>
                </a:lnTo>
                <a:lnTo>
                  <a:pt x="114" y="264"/>
                </a:lnTo>
                <a:lnTo>
                  <a:pt x="114" y="264"/>
                </a:lnTo>
                <a:lnTo>
                  <a:pt x="114" y="264"/>
                </a:lnTo>
                <a:lnTo>
                  <a:pt x="108" y="270"/>
                </a:lnTo>
                <a:lnTo>
                  <a:pt x="108" y="270"/>
                </a:lnTo>
                <a:lnTo>
                  <a:pt x="108" y="270"/>
                </a:lnTo>
                <a:lnTo>
                  <a:pt x="102" y="270"/>
                </a:lnTo>
                <a:lnTo>
                  <a:pt x="96" y="276"/>
                </a:lnTo>
                <a:lnTo>
                  <a:pt x="96" y="276"/>
                </a:lnTo>
                <a:lnTo>
                  <a:pt x="96" y="282"/>
                </a:lnTo>
                <a:lnTo>
                  <a:pt x="96" y="282"/>
                </a:lnTo>
                <a:lnTo>
                  <a:pt x="96" y="282"/>
                </a:lnTo>
                <a:lnTo>
                  <a:pt x="96" y="282"/>
                </a:lnTo>
                <a:lnTo>
                  <a:pt x="90" y="282"/>
                </a:lnTo>
                <a:lnTo>
                  <a:pt x="90" y="282"/>
                </a:lnTo>
                <a:lnTo>
                  <a:pt x="84" y="288"/>
                </a:lnTo>
                <a:lnTo>
                  <a:pt x="84" y="288"/>
                </a:lnTo>
                <a:lnTo>
                  <a:pt x="78" y="288"/>
                </a:lnTo>
                <a:lnTo>
                  <a:pt x="78" y="282"/>
                </a:lnTo>
                <a:lnTo>
                  <a:pt x="78" y="282"/>
                </a:lnTo>
                <a:lnTo>
                  <a:pt x="78" y="282"/>
                </a:lnTo>
                <a:lnTo>
                  <a:pt x="78" y="282"/>
                </a:lnTo>
                <a:lnTo>
                  <a:pt x="78" y="282"/>
                </a:lnTo>
                <a:lnTo>
                  <a:pt x="72" y="282"/>
                </a:lnTo>
                <a:lnTo>
                  <a:pt x="72" y="282"/>
                </a:lnTo>
                <a:lnTo>
                  <a:pt x="66" y="282"/>
                </a:lnTo>
                <a:lnTo>
                  <a:pt x="66" y="282"/>
                </a:lnTo>
                <a:lnTo>
                  <a:pt x="48" y="300"/>
                </a:lnTo>
                <a:lnTo>
                  <a:pt x="48" y="306"/>
                </a:lnTo>
                <a:lnTo>
                  <a:pt x="48" y="312"/>
                </a:lnTo>
                <a:lnTo>
                  <a:pt x="48" y="312"/>
                </a:lnTo>
                <a:lnTo>
                  <a:pt x="48" y="312"/>
                </a:lnTo>
                <a:lnTo>
                  <a:pt x="48" y="312"/>
                </a:lnTo>
                <a:lnTo>
                  <a:pt x="48" y="312"/>
                </a:lnTo>
                <a:lnTo>
                  <a:pt x="48" y="312"/>
                </a:lnTo>
                <a:lnTo>
                  <a:pt x="48" y="312"/>
                </a:lnTo>
                <a:lnTo>
                  <a:pt x="42" y="312"/>
                </a:lnTo>
                <a:lnTo>
                  <a:pt x="42" y="312"/>
                </a:lnTo>
                <a:lnTo>
                  <a:pt x="42" y="312"/>
                </a:lnTo>
                <a:lnTo>
                  <a:pt x="42" y="312"/>
                </a:lnTo>
                <a:lnTo>
                  <a:pt x="42" y="312"/>
                </a:lnTo>
                <a:lnTo>
                  <a:pt x="42" y="312"/>
                </a:lnTo>
                <a:lnTo>
                  <a:pt x="42" y="312"/>
                </a:lnTo>
                <a:lnTo>
                  <a:pt x="42" y="312"/>
                </a:lnTo>
                <a:lnTo>
                  <a:pt x="42" y="312"/>
                </a:lnTo>
                <a:lnTo>
                  <a:pt x="42" y="312"/>
                </a:lnTo>
                <a:lnTo>
                  <a:pt x="36" y="312"/>
                </a:lnTo>
                <a:lnTo>
                  <a:pt x="36" y="312"/>
                </a:lnTo>
                <a:lnTo>
                  <a:pt x="36" y="306"/>
                </a:lnTo>
                <a:lnTo>
                  <a:pt x="36" y="306"/>
                </a:lnTo>
                <a:lnTo>
                  <a:pt x="36" y="306"/>
                </a:lnTo>
                <a:lnTo>
                  <a:pt x="36" y="306"/>
                </a:lnTo>
                <a:lnTo>
                  <a:pt x="36" y="306"/>
                </a:lnTo>
                <a:lnTo>
                  <a:pt x="36" y="306"/>
                </a:lnTo>
                <a:lnTo>
                  <a:pt x="36" y="306"/>
                </a:lnTo>
                <a:lnTo>
                  <a:pt x="36" y="306"/>
                </a:lnTo>
                <a:lnTo>
                  <a:pt x="36" y="306"/>
                </a:lnTo>
                <a:lnTo>
                  <a:pt x="36" y="306"/>
                </a:lnTo>
                <a:lnTo>
                  <a:pt x="36" y="306"/>
                </a:lnTo>
                <a:lnTo>
                  <a:pt x="30" y="306"/>
                </a:lnTo>
                <a:lnTo>
                  <a:pt x="36" y="306"/>
                </a:lnTo>
                <a:lnTo>
                  <a:pt x="36" y="300"/>
                </a:lnTo>
                <a:lnTo>
                  <a:pt x="36" y="300"/>
                </a:lnTo>
                <a:lnTo>
                  <a:pt x="30" y="300"/>
                </a:lnTo>
                <a:lnTo>
                  <a:pt x="30" y="300"/>
                </a:lnTo>
                <a:lnTo>
                  <a:pt x="30" y="300"/>
                </a:lnTo>
                <a:lnTo>
                  <a:pt x="30" y="300"/>
                </a:lnTo>
                <a:lnTo>
                  <a:pt x="30" y="300"/>
                </a:lnTo>
                <a:lnTo>
                  <a:pt x="30" y="300"/>
                </a:lnTo>
                <a:lnTo>
                  <a:pt x="30" y="300"/>
                </a:lnTo>
                <a:lnTo>
                  <a:pt x="30" y="294"/>
                </a:lnTo>
                <a:lnTo>
                  <a:pt x="24" y="300"/>
                </a:lnTo>
                <a:lnTo>
                  <a:pt x="24" y="294"/>
                </a:lnTo>
                <a:lnTo>
                  <a:pt x="24" y="294"/>
                </a:lnTo>
                <a:lnTo>
                  <a:pt x="24" y="294"/>
                </a:lnTo>
                <a:lnTo>
                  <a:pt x="24" y="294"/>
                </a:lnTo>
                <a:lnTo>
                  <a:pt x="24" y="294"/>
                </a:lnTo>
                <a:lnTo>
                  <a:pt x="18" y="294"/>
                </a:lnTo>
                <a:lnTo>
                  <a:pt x="24" y="294"/>
                </a:lnTo>
                <a:lnTo>
                  <a:pt x="18" y="294"/>
                </a:lnTo>
                <a:lnTo>
                  <a:pt x="18" y="288"/>
                </a:lnTo>
                <a:lnTo>
                  <a:pt x="18" y="288"/>
                </a:lnTo>
                <a:lnTo>
                  <a:pt x="18" y="288"/>
                </a:lnTo>
                <a:lnTo>
                  <a:pt x="18" y="288"/>
                </a:lnTo>
                <a:lnTo>
                  <a:pt x="18" y="288"/>
                </a:lnTo>
                <a:lnTo>
                  <a:pt x="12" y="288"/>
                </a:lnTo>
                <a:lnTo>
                  <a:pt x="12" y="282"/>
                </a:lnTo>
                <a:lnTo>
                  <a:pt x="12" y="282"/>
                </a:lnTo>
                <a:lnTo>
                  <a:pt x="12" y="282"/>
                </a:lnTo>
                <a:lnTo>
                  <a:pt x="18" y="282"/>
                </a:lnTo>
                <a:lnTo>
                  <a:pt x="12" y="276"/>
                </a:lnTo>
                <a:lnTo>
                  <a:pt x="12" y="276"/>
                </a:lnTo>
                <a:lnTo>
                  <a:pt x="12" y="276"/>
                </a:lnTo>
                <a:lnTo>
                  <a:pt x="12" y="276"/>
                </a:lnTo>
                <a:lnTo>
                  <a:pt x="12" y="270"/>
                </a:lnTo>
                <a:lnTo>
                  <a:pt x="12" y="270"/>
                </a:lnTo>
                <a:lnTo>
                  <a:pt x="12" y="270"/>
                </a:lnTo>
                <a:lnTo>
                  <a:pt x="12" y="270"/>
                </a:lnTo>
                <a:lnTo>
                  <a:pt x="12" y="270"/>
                </a:lnTo>
                <a:lnTo>
                  <a:pt x="12" y="264"/>
                </a:lnTo>
                <a:lnTo>
                  <a:pt x="12" y="264"/>
                </a:lnTo>
                <a:lnTo>
                  <a:pt x="12" y="264"/>
                </a:lnTo>
                <a:lnTo>
                  <a:pt x="12" y="264"/>
                </a:lnTo>
                <a:lnTo>
                  <a:pt x="12" y="264"/>
                </a:lnTo>
                <a:lnTo>
                  <a:pt x="12" y="264"/>
                </a:lnTo>
                <a:lnTo>
                  <a:pt x="12" y="264"/>
                </a:lnTo>
                <a:lnTo>
                  <a:pt x="12" y="264"/>
                </a:lnTo>
                <a:lnTo>
                  <a:pt x="6" y="258"/>
                </a:lnTo>
                <a:lnTo>
                  <a:pt x="12" y="258"/>
                </a:lnTo>
                <a:lnTo>
                  <a:pt x="12" y="258"/>
                </a:lnTo>
                <a:lnTo>
                  <a:pt x="12" y="258"/>
                </a:lnTo>
                <a:lnTo>
                  <a:pt x="12" y="258"/>
                </a:lnTo>
                <a:lnTo>
                  <a:pt x="12" y="258"/>
                </a:lnTo>
                <a:lnTo>
                  <a:pt x="12" y="252"/>
                </a:lnTo>
                <a:lnTo>
                  <a:pt x="12" y="252"/>
                </a:lnTo>
                <a:lnTo>
                  <a:pt x="12" y="252"/>
                </a:lnTo>
                <a:lnTo>
                  <a:pt x="12" y="246"/>
                </a:lnTo>
                <a:lnTo>
                  <a:pt x="12" y="246"/>
                </a:lnTo>
                <a:lnTo>
                  <a:pt x="12" y="246"/>
                </a:lnTo>
                <a:lnTo>
                  <a:pt x="18" y="246"/>
                </a:lnTo>
                <a:lnTo>
                  <a:pt x="18" y="240"/>
                </a:lnTo>
                <a:lnTo>
                  <a:pt x="18" y="240"/>
                </a:lnTo>
                <a:lnTo>
                  <a:pt x="18" y="240"/>
                </a:lnTo>
                <a:lnTo>
                  <a:pt x="24" y="240"/>
                </a:lnTo>
                <a:lnTo>
                  <a:pt x="24" y="240"/>
                </a:lnTo>
                <a:lnTo>
                  <a:pt x="24" y="240"/>
                </a:lnTo>
                <a:lnTo>
                  <a:pt x="30" y="240"/>
                </a:lnTo>
                <a:lnTo>
                  <a:pt x="30" y="240"/>
                </a:lnTo>
                <a:lnTo>
                  <a:pt x="24" y="234"/>
                </a:lnTo>
                <a:lnTo>
                  <a:pt x="24" y="234"/>
                </a:lnTo>
                <a:lnTo>
                  <a:pt x="24" y="234"/>
                </a:lnTo>
                <a:lnTo>
                  <a:pt x="24" y="228"/>
                </a:lnTo>
                <a:lnTo>
                  <a:pt x="24" y="228"/>
                </a:lnTo>
                <a:lnTo>
                  <a:pt x="24" y="222"/>
                </a:lnTo>
                <a:lnTo>
                  <a:pt x="24" y="222"/>
                </a:lnTo>
                <a:lnTo>
                  <a:pt x="30" y="222"/>
                </a:lnTo>
                <a:lnTo>
                  <a:pt x="30" y="222"/>
                </a:lnTo>
                <a:lnTo>
                  <a:pt x="30" y="216"/>
                </a:lnTo>
                <a:lnTo>
                  <a:pt x="30" y="216"/>
                </a:lnTo>
                <a:lnTo>
                  <a:pt x="30" y="216"/>
                </a:lnTo>
                <a:lnTo>
                  <a:pt x="30" y="216"/>
                </a:lnTo>
                <a:lnTo>
                  <a:pt x="30" y="216"/>
                </a:lnTo>
                <a:lnTo>
                  <a:pt x="30" y="210"/>
                </a:lnTo>
                <a:lnTo>
                  <a:pt x="30" y="210"/>
                </a:lnTo>
                <a:lnTo>
                  <a:pt x="30" y="210"/>
                </a:lnTo>
                <a:lnTo>
                  <a:pt x="30" y="204"/>
                </a:lnTo>
                <a:lnTo>
                  <a:pt x="30" y="204"/>
                </a:lnTo>
                <a:lnTo>
                  <a:pt x="30" y="204"/>
                </a:lnTo>
                <a:lnTo>
                  <a:pt x="30" y="204"/>
                </a:lnTo>
                <a:lnTo>
                  <a:pt x="24" y="204"/>
                </a:lnTo>
                <a:lnTo>
                  <a:pt x="24" y="204"/>
                </a:lnTo>
                <a:lnTo>
                  <a:pt x="24" y="198"/>
                </a:lnTo>
                <a:lnTo>
                  <a:pt x="24" y="198"/>
                </a:lnTo>
                <a:lnTo>
                  <a:pt x="24" y="198"/>
                </a:lnTo>
                <a:lnTo>
                  <a:pt x="24" y="198"/>
                </a:lnTo>
                <a:lnTo>
                  <a:pt x="24" y="198"/>
                </a:lnTo>
                <a:lnTo>
                  <a:pt x="24" y="192"/>
                </a:lnTo>
                <a:lnTo>
                  <a:pt x="24" y="192"/>
                </a:lnTo>
                <a:lnTo>
                  <a:pt x="24" y="192"/>
                </a:lnTo>
                <a:lnTo>
                  <a:pt x="24" y="192"/>
                </a:lnTo>
                <a:lnTo>
                  <a:pt x="24" y="186"/>
                </a:lnTo>
                <a:lnTo>
                  <a:pt x="24" y="186"/>
                </a:lnTo>
                <a:lnTo>
                  <a:pt x="24" y="186"/>
                </a:lnTo>
                <a:lnTo>
                  <a:pt x="24" y="186"/>
                </a:lnTo>
                <a:lnTo>
                  <a:pt x="24" y="186"/>
                </a:lnTo>
                <a:lnTo>
                  <a:pt x="24" y="186"/>
                </a:lnTo>
                <a:lnTo>
                  <a:pt x="24" y="186"/>
                </a:lnTo>
                <a:lnTo>
                  <a:pt x="24" y="180"/>
                </a:lnTo>
                <a:lnTo>
                  <a:pt x="24" y="180"/>
                </a:lnTo>
                <a:lnTo>
                  <a:pt x="24" y="180"/>
                </a:lnTo>
                <a:lnTo>
                  <a:pt x="24" y="180"/>
                </a:lnTo>
                <a:lnTo>
                  <a:pt x="24" y="180"/>
                </a:lnTo>
                <a:lnTo>
                  <a:pt x="18" y="174"/>
                </a:lnTo>
                <a:lnTo>
                  <a:pt x="24" y="174"/>
                </a:lnTo>
                <a:lnTo>
                  <a:pt x="18" y="174"/>
                </a:lnTo>
                <a:lnTo>
                  <a:pt x="18" y="174"/>
                </a:lnTo>
                <a:lnTo>
                  <a:pt x="18" y="174"/>
                </a:lnTo>
                <a:lnTo>
                  <a:pt x="18" y="174"/>
                </a:lnTo>
                <a:lnTo>
                  <a:pt x="18" y="174"/>
                </a:lnTo>
                <a:lnTo>
                  <a:pt x="18" y="168"/>
                </a:lnTo>
                <a:lnTo>
                  <a:pt x="18" y="168"/>
                </a:lnTo>
                <a:lnTo>
                  <a:pt x="18" y="174"/>
                </a:lnTo>
                <a:lnTo>
                  <a:pt x="18" y="168"/>
                </a:lnTo>
                <a:lnTo>
                  <a:pt x="18" y="168"/>
                </a:lnTo>
                <a:lnTo>
                  <a:pt x="18" y="168"/>
                </a:lnTo>
                <a:lnTo>
                  <a:pt x="18" y="168"/>
                </a:lnTo>
                <a:lnTo>
                  <a:pt x="18" y="168"/>
                </a:lnTo>
                <a:lnTo>
                  <a:pt x="18" y="168"/>
                </a:lnTo>
                <a:lnTo>
                  <a:pt x="18" y="168"/>
                </a:lnTo>
                <a:lnTo>
                  <a:pt x="12" y="168"/>
                </a:lnTo>
                <a:lnTo>
                  <a:pt x="12" y="162"/>
                </a:lnTo>
                <a:lnTo>
                  <a:pt x="12" y="162"/>
                </a:lnTo>
                <a:lnTo>
                  <a:pt x="12" y="162"/>
                </a:lnTo>
                <a:lnTo>
                  <a:pt x="12" y="162"/>
                </a:lnTo>
                <a:lnTo>
                  <a:pt x="6" y="162"/>
                </a:lnTo>
                <a:lnTo>
                  <a:pt x="6" y="162"/>
                </a:lnTo>
                <a:lnTo>
                  <a:pt x="6" y="162"/>
                </a:lnTo>
                <a:lnTo>
                  <a:pt x="6" y="162"/>
                </a:lnTo>
                <a:lnTo>
                  <a:pt x="6" y="162"/>
                </a:lnTo>
                <a:lnTo>
                  <a:pt x="6" y="162"/>
                </a:lnTo>
                <a:lnTo>
                  <a:pt x="6" y="168"/>
                </a:lnTo>
                <a:lnTo>
                  <a:pt x="6" y="168"/>
                </a:lnTo>
                <a:lnTo>
                  <a:pt x="6" y="168"/>
                </a:lnTo>
                <a:lnTo>
                  <a:pt x="6" y="168"/>
                </a:lnTo>
                <a:lnTo>
                  <a:pt x="0" y="168"/>
                </a:lnTo>
                <a:lnTo>
                  <a:pt x="0" y="168"/>
                </a:lnTo>
                <a:lnTo>
                  <a:pt x="0" y="162"/>
                </a:lnTo>
                <a:lnTo>
                  <a:pt x="0" y="162"/>
                </a:lnTo>
                <a:lnTo>
                  <a:pt x="0" y="162"/>
                </a:lnTo>
                <a:lnTo>
                  <a:pt x="0" y="162"/>
                </a:lnTo>
                <a:lnTo>
                  <a:pt x="6" y="162"/>
                </a:lnTo>
                <a:lnTo>
                  <a:pt x="6" y="162"/>
                </a:lnTo>
                <a:lnTo>
                  <a:pt x="6" y="156"/>
                </a:lnTo>
                <a:lnTo>
                  <a:pt x="6" y="156"/>
                </a:lnTo>
                <a:lnTo>
                  <a:pt x="6" y="156"/>
                </a:lnTo>
                <a:lnTo>
                  <a:pt x="6" y="156"/>
                </a:lnTo>
                <a:lnTo>
                  <a:pt x="6" y="156"/>
                </a:lnTo>
                <a:lnTo>
                  <a:pt x="6" y="156"/>
                </a:lnTo>
                <a:lnTo>
                  <a:pt x="6" y="156"/>
                </a:lnTo>
                <a:lnTo>
                  <a:pt x="6" y="150"/>
                </a:lnTo>
                <a:lnTo>
                  <a:pt x="6" y="150"/>
                </a:lnTo>
                <a:lnTo>
                  <a:pt x="6" y="150"/>
                </a:lnTo>
                <a:lnTo>
                  <a:pt x="12" y="150"/>
                </a:lnTo>
                <a:lnTo>
                  <a:pt x="12" y="150"/>
                </a:lnTo>
                <a:lnTo>
                  <a:pt x="12" y="150"/>
                </a:lnTo>
                <a:lnTo>
                  <a:pt x="12" y="150"/>
                </a:lnTo>
                <a:lnTo>
                  <a:pt x="12" y="150"/>
                </a:lnTo>
                <a:lnTo>
                  <a:pt x="18" y="150"/>
                </a:lnTo>
                <a:lnTo>
                  <a:pt x="18" y="150"/>
                </a:lnTo>
                <a:lnTo>
                  <a:pt x="18" y="150"/>
                </a:lnTo>
                <a:lnTo>
                  <a:pt x="18" y="150"/>
                </a:lnTo>
                <a:lnTo>
                  <a:pt x="18" y="150"/>
                </a:lnTo>
                <a:lnTo>
                  <a:pt x="18" y="150"/>
                </a:lnTo>
                <a:lnTo>
                  <a:pt x="18" y="150"/>
                </a:lnTo>
                <a:lnTo>
                  <a:pt x="18" y="144"/>
                </a:lnTo>
                <a:lnTo>
                  <a:pt x="18" y="144"/>
                </a:lnTo>
                <a:lnTo>
                  <a:pt x="18" y="144"/>
                </a:lnTo>
                <a:lnTo>
                  <a:pt x="18" y="144"/>
                </a:lnTo>
                <a:lnTo>
                  <a:pt x="18" y="144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24" y="138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0"/>
                </a:lnTo>
                <a:lnTo>
                  <a:pt x="42" y="120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36" y="108"/>
                </a:lnTo>
                <a:lnTo>
                  <a:pt x="36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2" y="108"/>
                </a:lnTo>
                <a:lnTo>
                  <a:pt x="12" y="10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70" name="Freeform 503"/>
          <p:cNvSpPr>
            <a:spLocks/>
          </p:cNvSpPr>
          <p:nvPr/>
        </p:nvSpPr>
        <p:spPr bwMode="auto">
          <a:xfrm>
            <a:off x="5663405" y="3916585"/>
            <a:ext cx="289082" cy="295508"/>
          </a:xfrm>
          <a:custGeom>
            <a:avLst/>
            <a:gdLst>
              <a:gd name="T0" fmla="*/ 12 w 270"/>
              <a:gd name="T1" fmla="*/ 246 h 276"/>
              <a:gd name="T2" fmla="*/ 30 w 270"/>
              <a:gd name="T3" fmla="*/ 228 h 276"/>
              <a:gd name="T4" fmla="*/ 48 w 270"/>
              <a:gd name="T5" fmla="*/ 204 h 276"/>
              <a:gd name="T6" fmla="*/ 54 w 270"/>
              <a:gd name="T7" fmla="*/ 198 h 276"/>
              <a:gd name="T8" fmla="*/ 78 w 270"/>
              <a:gd name="T9" fmla="*/ 180 h 276"/>
              <a:gd name="T10" fmla="*/ 90 w 270"/>
              <a:gd name="T11" fmla="*/ 168 h 276"/>
              <a:gd name="T12" fmla="*/ 108 w 270"/>
              <a:gd name="T13" fmla="*/ 138 h 276"/>
              <a:gd name="T14" fmla="*/ 84 w 270"/>
              <a:gd name="T15" fmla="*/ 102 h 276"/>
              <a:gd name="T16" fmla="*/ 84 w 270"/>
              <a:gd name="T17" fmla="*/ 60 h 276"/>
              <a:gd name="T18" fmla="*/ 66 w 270"/>
              <a:gd name="T19" fmla="*/ 24 h 276"/>
              <a:gd name="T20" fmla="*/ 84 w 270"/>
              <a:gd name="T21" fmla="*/ 6 h 276"/>
              <a:gd name="T22" fmla="*/ 108 w 270"/>
              <a:gd name="T23" fmla="*/ 30 h 276"/>
              <a:gd name="T24" fmla="*/ 150 w 270"/>
              <a:gd name="T25" fmla="*/ 18 h 276"/>
              <a:gd name="T26" fmla="*/ 144 w 270"/>
              <a:gd name="T27" fmla="*/ 36 h 276"/>
              <a:gd name="T28" fmla="*/ 150 w 270"/>
              <a:gd name="T29" fmla="*/ 48 h 276"/>
              <a:gd name="T30" fmla="*/ 162 w 270"/>
              <a:gd name="T31" fmla="*/ 60 h 276"/>
              <a:gd name="T32" fmla="*/ 174 w 270"/>
              <a:gd name="T33" fmla="*/ 54 h 276"/>
              <a:gd name="T34" fmla="*/ 186 w 270"/>
              <a:gd name="T35" fmla="*/ 72 h 276"/>
              <a:gd name="T36" fmla="*/ 216 w 270"/>
              <a:gd name="T37" fmla="*/ 78 h 276"/>
              <a:gd name="T38" fmla="*/ 240 w 270"/>
              <a:gd name="T39" fmla="*/ 96 h 276"/>
              <a:gd name="T40" fmla="*/ 270 w 270"/>
              <a:gd name="T41" fmla="*/ 120 h 276"/>
              <a:gd name="T42" fmla="*/ 258 w 270"/>
              <a:gd name="T43" fmla="*/ 120 h 276"/>
              <a:gd name="T44" fmla="*/ 252 w 270"/>
              <a:gd name="T45" fmla="*/ 114 h 276"/>
              <a:gd name="T46" fmla="*/ 246 w 270"/>
              <a:gd name="T47" fmla="*/ 114 h 276"/>
              <a:gd name="T48" fmla="*/ 246 w 270"/>
              <a:gd name="T49" fmla="*/ 120 h 276"/>
              <a:gd name="T50" fmla="*/ 246 w 270"/>
              <a:gd name="T51" fmla="*/ 126 h 276"/>
              <a:gd name="T52" fmla="*/ 246 w 270"/>
              <a:gd name="T53" fmla="*/ 138 h 276"/>
              <a:gd name="T54" fmla="*/ 240 w 270"/>
              <a:gd name="T55" fmla="*/ 138 h 276"/>
              <a:gd name="T56" fmla="*/ 240 w 270"/>
              <a:gd name="T57" fmla="*/ 144 h 276"/>
              <a:gd name="T58" fmla="*/ 240 w 270"/>
              <a:gd name="T59" fmla="*/ 150 h 276"/>
              <a:gd name="T60" fmla="*/ 240 w 270"/>
              <a:gd name="T61" fmla="*/ 156 h 276"/>
              <a:gd name="T62" fmla="*/ 246 w 270"/>
              <a:gd name="T63" fmla="*/ 156 h 276"/>
              <a:gd name="T64" fmla="*/ 240 w 270"/>
              <a:gd name="T65" fmla="*/ 162 h 276"/>
              <a:gd name="T66" fmla="*/ 240 w 270"/>
              <a:gd name="T67" fmla="*/ 168 h 276"/>
              <a:gd name="T68" fmla="*/ 234 w 270"/>
              <a:gd name="T69" fmla="*/ 162 h 276"/>
              <a:gd name="T70" fmla="*/ 228 w 270"/>
              <a:gd name="T71" fmla="*/ 162 h 276"/>
              <a:gd name="T72" fmla="*/ 222 w 270"/>
              <a:gd name="T73" fmla="*/ 168 h 276"/>
              <a:gd name="T74" fmla="*/ 222 w 270"/>
              <a:gd name="T75" fmla="*/ 174 h 276"/>
              <a:gd name="T76" fmla="*/ 228 w 270"/>
              <a:gd name="T77" fmla="*/ 180 h 276"/>
              <a:gd name="T78" fmla="*/ 222 w 270"/>
              <a:gd name="T79" fmla="*/ 186 h 276"/>
              <a:gd name="T80" fmla="*/ 222 w 270"/>
              <a:gd name="T81" fmla="*/ 192 h 276"/>
              <a:gd name="T82" fmla="*/ 216 w 270"/>
              <a:gd name="T83" fmla="*/ 192 h 276"/>
              <a:gd name="T84" fmla="*/ 210 w 270"/>
              <a:gd name="T85" fmla="*/ 192 h 276"/>
              <a:gd name="T86" fmla="*/ 204 w 270"/>
              <a:gd name="T87" fmla="*/ 192 h 276"/>
              <a:gd name="T88" fmla="*/ 204 w 270"/>
              <a:gd name="T89" fmla="*/ 204 h 276"/>
              <a:gd name="T90" fmla="*/ 210 w 270"/>
              <a:gd name="T91" fmla="*/ 204 h 276"/>
              <a:gd name="T92" fmla="*/ 204 w 270"/>
              <a:gd name="T93" fmla="*/ 210 h 276"/>
              <a:gd name="T94" fmla="*/ 210 w 270"/>
              <a:gd name="T95" fmla="*/ 216 h 276"/>
              <a:gd name="T96" fmla="*/ 198 w 270"/>
              <a:gd name="T97" fmla="*/ 210 h 276"/>
              <a:gd name="T98" fmla="*/ 198 w 270"/>
              <a:gd name="T99" fmla="*/ 222 h 276"/>
              <a:gd name="T100" fmla="*/ 192 w 270"/>
              <a:gd name="T101" fmla="*/ 222 h 276"/>
              <a:gd name="T102" fmla="*/ 192 w 270"/>
              <a:gd name="T103" fmla="*/ 228 h 276"/>
              <a:gd name="T104" fmla="*/ 192 w 270"/>
              <a:gd name="T105" fmla="*/ 234 h 276"/>
              <a:gd name="T106" fmla="*/ 198 w 270"/>
              <a:gd name="T107" fmla="*/ 240 h 276"/>
              <a:gd name="T108" fmla="*/ 192 w 270"/>
              <a:gd name="T109" fmla="*/ 246 h 276"/>
              <a:gd name="T110" fmla="*/ 156 w 270"/>
              <a:gd name="T111" fmla="*/ 258 h 276"/>
              <a:gd name="T112" fmla="*/ 138 w 270"/>
              <a:gd name="T113" fmla="*/ 246 h 276"/>
              <a:gd name="T114" fmla="*/ 126 w 270"/>
              <a:gd name="T115" fmla="*/ 264 h 276"/>
              <a:gd name="T116" fmla="*/ 108 w 270"/>
              <a:gd name="T117" fmla="*/ 264 h 276"/>
              <a:gd name="T118" fmla="*/ 90 w 270"/>
              <a:gd name="T119" fmla="*/ 276 h 276"/>
              <a:gd name="T120" fmla="*/ 66 w 270"/>
              <a:gd name="T121" fmla="*/ 270 h 276"/>
              <a:gd name="T122" fmla="*/ 42 w 270"/>
              <a:gd name="T123" fmla="*/ 264 h 276"/>
              <a:gd name="T124" fmla="*/ 18 w 270"/>
              <a:gd name="T125" fmla="*/ 264 h 2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70" h="276">
                <a:moveTo>
                  <a:pt x="0" y="258"/>
                </a:moveTo>
                <a:lnTo>
                  <a:pt x="0" y="258"/>
                </a:lnTo>
                <a:lnTo>
                  <a:pt x="0" y="258"/>
                </a:lnTo>
                <a:lnTo>
                  <a:pt x="0" y="258"/>
                </a:lnTo>
                <a:lnTo>
                  <a:pt x="0" y="258"/>
                </a:lnTo>
                <a:lnTo>
                  <a:pt x="0" y="258"/>
                </a:lnTo>
                <a:lnTo>
                  <a:pt x="0" y="258"/>
                </a:lnTo>
                <a:lnTo>
                  <a:pt x="0" y="258"/>
                </a:lnTo>
                <a:lnTo>
                  <a:pt x="6" y="258"/>
                </a:lnTo>
                <a:lnTo>
                  <a:pt x="6" y="258"/>
                </a:lnTo>
                <a:lnTo>
                  <a:pt x="0" y="258"/>
                </a:lnTo>
                <a:lnTo>
                  <a:pt x="6" y="258"/>
                </a:lnTo>
                <a:lnTo>
                  <a:pt x="6" y="252"/>
                </a:lnTo>
                <a:lnTo>
                  <a:pt x="6" y="252"/>
                </a:lnTo>
                <a:lnTo>
                  <a:pt x="6" y="252"/>
                </a:lnTo>
                <a:lnTo>
                  <a:pt x="6" y="252"/>
                </a:lnTo>
                <a:lnTo>
                  <a:pt x="6" y="252"/>
                </a:lnTo>
                <a:lnTo>
                  <a:pt x="6" y="252"/>
                </a:lnTo>
                <a:lnTo>
                  <a:pt x="6" y="252"/>
                </a:lnTo>
                <a:lnTo>
                  <a:pt x="6" y="252"/>
                </a:lnTo>
                <a:lnTo>
                  <a:pt x="6" y="246"/>
                </a:lnTo>
                <a:lnTo>
                  <a:pt x="6" y="246"/>
                </a:lnTo>
                <a:lnTo>
                  <a:pt x="6" y="246"/>
                </a:lnTo>
                <a:lnTo>
                  <a:pt x="12" y="246"/>
                </a:lnTo>
                <a:lnTo>
                  <a:pt x="12" y="246"/>
                </a:lnTo>
                <a:lnTo>
                  <a:pt x="12" y="246"/>
                </a:lnTo>
                <a:lnTo>
                  <a:pt x="12" y="246"/>
                </a:lnTo>
                <a:lnTo>
                  <a:pt x="12" y="246"/>
                </a:lnTo>
                <a:lnTo>
                  <a:pt x="12" y="246"/>
                </a:lnTo>
                <a:lnTo>
                  <a:pt x="12" y="246"/>
                </a:lnTo>
                <a:lnTo>
                  <a:pt x="12" y="246"/>
                </a:lnTo>
                <a:lnTo>
                  <a:pt x="12" y="240"/>
                </a:lnTo>
                <a:lnTo>
                  <a:pt x="12" y="240"/>
                </a:lnTo>
                <a:lnTo>
                  <a:pt x="18" y="240"/>
                </a:lnTo>
                <a:lnTo>
                  <a:pt x="18" y="240"/>
                </a:lnTo>
                <a:lnTo>
                  <a:pt x="18" y="234"/>
                </a:lnTo>
                <a:lnTo>
                  <a:pt x="18" y="234"/>
                </a:lnTo>
                <a:lnTo>
                  <a:pt x="18" y="234"/>
                </a:lnTo>
                <a:lnTo>
                  <a:pt x="18" y="234"/>
                </a:lnTo>
                <a:lnTo>
                  <a:pt x="18" y="234"/>
                </a:lnTo>
                <a:lnTo>
                  <a:pt x="18" y="234"/>
                </a:lnTo>
                <a:lnTo>
                  <a:pt x="18" y="234"/>
                </a:lnTo>
                <a:lnTo>
                  <a:pt x="18" y="234"/>
                </a:lnTo>
                <a:lnTo>
                  <a:pt x="24" y="234"/>
                </a:lnTo>
                <a:lnTo>
                  <a:pt x="24" y="234"/>
                </a:lnTo>
                <a:lnTo>
                  <a:pt x="24" y="234"/>
                </a:lnTo>
                <a:lnTo>
                  <a:pt x="24" y="228"/>
                </a:lnTo>
                <a:lnTo>
                  <a:pt x="24" y="228"/>
                </a:lnTo>
                <a:lnTo>
                  <a:pt x="24" y="228"/>
                </a:lnTo>
                <a:lnTo>
                  <a:pt x="24" y="228"/>
                </a:lnTo>
                <a:lnTo>
                  <a:pt x="24" y="228"/>
                </a:lnTo>
                <a:lnTo>
                  <a:pt x="30" y="228"/>
                </a:lnTo>
                <a:lnTo>
                  <a:pt x="30" y="228"/>
                </a:lnTo>
                <a:lnTo>
                  <a:pt x="30" y="228"/>
                </a:lnTo>
                <a:lnTo>
                  <a:pt x="30" y="228"/>
                </a:lnTo>
                <a:lnTo>
                  <a:pt x="30" y="228"/>
                </a:lnTo>
                <a:lnTo>
                  <a:pt x="30" y="228"/>
                </a:lnTo>
                <a:lnTo>
                  <a:pt x="30" y="228"/>
                </a:lnTo>
                <a:lnTo>
                  <a:pt x="30" y="228"/>
                </a:lnTo>
                <a:lnTo>
                  <a:pt x="30" y="228"/>
                </a:lnTo>
                <a:lnTo>
                  <a:pt x="36" y="228"/>
                </a:lnTo>
                <a:lnTo>
                  <a:pt x="36" y="228"/>
                </a:lnTo>
                <a:lnTo>
                  <a:pt x="36" y="228"/>
                </a:lnTo>
                <a:lnTo>
                  <a:pt x="36" y="228"/>
                </a:lnTo>
                <a:lnTo>
                  <a:pt x="36" y="228"/>
                </a:lnTo>
                <a:lnTo>
                  <a:pt x="36" y="228"/>
                </a:lnTo>
                <a:lnTo>
                  <a:pt x="36" y="228"/>
                </a:lnTo>
                <a:lnTo>
                  <a:pt x="36" y="228"/>
                </a:lnTo>
                <a:lnTo>
                  <a:pt x="36" y="228"/>
                </a:lnTo>
                <a:lnTo>
                  <a:pt x="36" y="222"/>
                </a:lnTo>
                <a:lnTo>
                  <a:pt x="36" y="222"/>
                </a:lnTo>
                <a:lnTo>
                  <a:pt x="42" y="222"/>
                </a:lnTo>
                <a:lnTo>
                  <a:pt x="42" y="222"/>
                </a:lnTo>
                <a:lnTo>
                  <a:pt x="42" y="222"/>
                </a:lnTo>
                <a:lnTo>
                  <a:pt x="42" y="222"/>
                </a:lnTo>
                <a:lnTo>
                  <a:pt x="42" y="222"/>
                </a:lnTo>
                <a:lnTo>
                  <a:pt x="42" y="222"/>
                </a:lnTo>
                <a:lnTo>
                  <a:pt x="42" y="216"/>
                </a:lnTo>
                <a:lnTo>
                  <a:pt x="42" y="216"/>
                </a:lnTo>
                <a:lnTo>
                  <a:pt x="42" y="216"/>
                </a:lnTo>
                <a:lnTo>
                  <a:pt x="42" y="216"/>
                </a:lnTo>
                <a:lnTo>
                  <a:pt x="42" y="210"/>
                </a:lnTo>
                <a:lnTo>
                  <a:pt x="42" y="210"/>
                </a:lnTo>
                <a:lnTo>
                  <a:pt x="48" y="210"/>
                </a:lnTo>
                <a:lnTo>
                  <a:pt x="48" y="210"/>
                </a:lnTo>
                <a:lnTo>
                  <a:pt x="48" y="210"/>
                </a:lnTo>
                <a:lnTo>
                  <a:pt x="48" y="204"/>
                </a:lnTo>
                <a:lnTo>
                  <a:pt x="48" y="204"/>
                </a:lnTo>
                <a:lnTo>
                  <a:pt x="48" y="204"/>
                </a:lnTo>
                <a:lnTo>
                  <a:pt x="48" y="204"/>
                </a:lnTo>
                <a:lnTo>
                  <a:pt x="48" y="204"/>
                </a:lnTo>
                <a:lnTo>
                  <a:pt x="48" y="204"/>
                </a:lnTo>
                <a:lnTo>
                  <a:pt x="48" y="204"/>
                </a:lnTo>
                <a:lnTo>
                  <a:pt x="48" y="204"/>
                </a:lnTo>
                <a:lnTo>
                  <a:pt x="48" y="204"/>
                </a:lnTo>
                <a:lnTo>
                  <a:pt x="48" y="204"/>
                </a:lnTo>
                <a:lnTo>
                  <a:pt x="48" y="204"/>
                </a:lnTo>
                <a:lnTo>
                  <a:pt x="48" y="204"/>
                </a:lnTo>
                <a:lnTo>
                  <a:pt x="48" y="204"/>
                </a:lnTo>
                <a:lnTo>
                  <a:pt x="48" y="204"/>
                </a:lnTo>
                <a:lnTo>
                  <a:pt x="48" y="198"/>
                </a:lnTo>
                <a:lnTo>
                  <a:pt x="48" y="198"/>
                </a:lnTo>
                <a:lnTo>
                  <a:pt x="48" y="198"/>
                </a:lnTo>
                <a:lnTo>
                  <a:pt x="48" y="198"/>
                </a:lnTo>
                <a:lnTo>
                  <a:pt x="48" y="198"/>
                </a:lnTo>
                <a:lnTo>
                  <a:pt x="48" y="198"/>
                </a:lnTo>
                <a:lnTo>
                  <a:pt x="54" y="198"/>
                </a:lnTo>
                <a:lnTo>
                  <a:pt x="54" y="198"/>
                </a:lnTo>
                <a:lnTo>
                  <a:pt x="54" y="198"/>
                </a:lnTo>
                <a:lnTo>
                  <a:pt x="54" y="198"/>
                </a:lnTo>
                <a:lnTo>
                  <a:pt x="54" y="198"/>
                </a:lnTo>
                <a:lnTo>
                  <a:pt x="54" y="198"/>
                </a:lnTo>
                <a:lnTo>
                  <a:pt x="54" y="192"/>
                </a:lnTo>
                <a:lnTo>
                  <a:pt x="54" y="192"/>
                </a:lnTo>
                <a:lnTo>
                  <a:pt x="54" y="192"/>
                </a:lnTo>
                <a:lnTo>
                  <a:pt x="54" y="198"/>
                </a:lnTo>
                <a:lnTo>
                  <a:pt x="54" y="192"/>
                </a:lnTo>
                <a:lnTo>
                  <a:pt x="54" y="192"/>
                </a:lnTo>
                <a:lnTo>
                  <a:pt x="54" y="192"/>
                </a:lnTo>
                <a:lnTo>
                  <a:pt x="54" y="192"/>
                </a:lnTo>
                <a:lnTo>
                  <a:pt x="54" y="192"/>
                </a:lnTo>
                <a:lnTo>
                  <a:pt x="60" y="192"/>
                </a:lnTo>
                <a:lnTo>
                  <a:pt x="60" y="192"/>
                </a:lnTo>
                <a:lnTo>
                  <a:pt x="60" y="192"/>
                </a:lnTo>
                <a:lnTo>
                  <a:pt x="60" y="192"/>
                </a:lnTo>
                <a:lnTo>
                  <a:pt x="60" y="192"/>
                </a:lnTo>
                <a:lnTo>
                  <a:pt x="66" y="192"/>
                </a:lnTo>
                <a:lnTo>
                  <a:pt x="66" y="186"/>
                </a:lnTo>
                <a:lnTo>
                  <a:pt x="66" y="186"/>
                </a:lnTo>
                <a:lnTo>
                  <a:pt x="66" y="186"/>
                </a:lnTo>
                <a:lnTo>
                  <a:pt x="66" y="186"/>
                </a:lnTo>
                <a:lnTo>
                  <a:pt x="66" y="192"/>
                </a:lnTo>
                <a:lnTo>
                  <a:pt x="72" y="186"/>
                </a:lnTo>
                <a:lnTo>
                  <a:pt x="72" y="192"/>
                </a:lnTo>
                <a:lnTo>
                  <a:pt x="72" y="186"/>
                </a:lnTo>
                <a:lnTo>
                  <a:pt x="72" y="192"/>
                </a:lnTo>
                <a:lnTo>
                  <a:pt x="72" y="186"/>
                </a:lnTo>
                <a:lnTo>
                  <a:pt x="72" y="186"/>
                </a:lnTo>
                <a:lnTo>
                  <a:pt x="72" y="186"/>
                </a:lnTo>
                <a:lnTo>
                  <a:pt x="72" y="186"/>
                </a:lnTo>
                <a:lnTo>
                  <a:pt x="72" y="186"/>
                </a:lnTo>
                <a:lnTo>
                  <a:pt x="78" y="186"/>
                </a:lnTo>
                <a:lnTo>
                  <a:pt x="72" y="186"/>
                </a:lnTo>
                <a:lnTo>
                  <a:pt x="78" y="186"/>
                </a:lnTo>
                <a:lnTo>
                  <a:pt x="78" y="180"/>
                </a:lnTo>
                <a:lnTo>
                  <a:pt x="78" y="180"/>
                </a:lnTo>
                <a:lnTo>
                  <a:pt x="78" y="180"/>
                </a:lnTo>
                <a:lnTo>
                  <a:pt x="78" y="180"/>
                </a:lnTo>
                <a:lnTo>
                  <a:pt x="78" y="180"/>
                </a:lnTo>
                <a:lnTo>
                  <a:pt x="78" y="180"/>
                </a:lnTo>
                <a:lnTo>
                  <a:pt x="78" y="174"/>
                </a:lnTo>
                <a:lnTo>
                  <a:pt x="78" y="174"/>
                </a:lnTo>
                <a:lnTo>
                  <a:pt x="78" y="174"/>
                </a:lnTo>
                <a:lnTo>
                  <a:pt x="78" y="174"/>
                </a:lnTo>
                <a:lnTo>
                  <a:pt x="84" y="174"/>
                </a:lnTo>
                <a:lnTo>
                  <a:pt x="84" y="174"/>
                </a:lnTo>
                <a:lnTo>
                  <a:pt x="78" y="174"/>
                </a:lnTo>
                <a:lnTo>
                  <a:pt x="78" y="174"/>
                </a:lnTo>
                <a:lnTo>
                  <a:pt x="84" y="174"/>
                </a:lnTo>
                <a:lnTo>
                  <a:pt x="84" y="174"/>
                </a:lnTo>
                <a:lnTo>
                  <a:pt x="84" y="174"/>
                </a:lnTo>
                <a:lnTo>
                  <a:pt x="84" y="168"/>
                </a:lnTo>
                <a:lnTo>
                  <a:pt x="84" y="168"/>
                </a:lnTo>
                <a:lnTo>
                  <a:pt x="84" y="168"/>
                </a:lnTo>
                <a:lnTo>
                  <a:pt x="84" y="168"/>
                </a:lnTo>
                <a:lnTo>
                  <a:pt x="84" y="168"/>
                </a:lnTo>
                <a:lnTo>
                  <a:pt x="84" y="168"/>
                </a:lnTo>
                <a:lnTo>
                  <a:pt x="84" y="168"/>
                </a:lnTo>
                <a:lnTo>
                  <a:pt x="84" y="168"/>
                </a:lnTo>
                <a:lnTo>
                  <a:pt x="90" y="168"/>
                </a:lnTo>
                <a:lnTo>
                  <a:pt x="90" y="168"/>
                </a:lnTo>
                <a:lnTo>
                  <a:pt x="90" y="168"/>
                </a:lnTo>
                <a:lnTo>
                  <a:pt x="90" y="168"/>
                </a:lnTo>
                <a:lnTo>
                  <a:pt x="90" y="168"/>
                </a:lnTo>
                <a:lnTo>
                  <a:pt x="90" y="168"/>
                </a:lnTo>
                <a:lnTo>
                  <a:pt x="90" y="168"/>
                </a:lnTo>
                <a:lnTo>
                  <a:pt x="90" y="168"/>
                </a:lnTo>
                <a:lnTo>
                  <a:pt x="90" y="168"/>
                </a:lnTo>
                <a:lnTo>
                  <a:pt x="90" y="168"/>
                </a:lnTo>
                <a:lnTo>
                  <a:pt x="96" y="168"/>
                </a:lnTo>
                <a:lnTo>
                  <a:pt x="90" y="168"/>
                </a:lnTo>
                <a:lnTo>
                  <a:pt x="96" y="168"/>
                </a:lnTo>
                <a:lnTo>
                  <a:pt x="96" y="168"/>
                </a:lnTo>
                <a:lnTo>
                  <a:pt x="90" y="168"/>
                </a:lnTo>
                <a:lnTo>
                  <a:pt x="90" y="168"/>
                </a:lnTo>
                <a:lnTo>
                  <a:pt x="96" y="168"/>
                </a:lnTo>
                <a:lnTo>
                  <a:pt x="96" y="162"/>
                </a:lnTo>
                <a:lnTo>
                  <a:pt x="96" y="168"/>
                </a:lnTo>
                <a:lnTo>
                  <a:pt x="96" y="162"/>
                </a:lnTo>
                <a:lnTo>
                  <a:pt x="96" y="162"/>
                </a:lnTo>
                <a:lnTo>
                  <a:pt x="102" y="162"/>
                </a:lnTo>
                <a:lnTo>
                  <a:pt x="102" y="162"/>
                </a:lnTo>
                <a:lnTo>
                  <a:pt x="102" y="162"/>
                </a:lnTo>
                <a:lnTo>
                  <a:pt x="108" y="162"/>
                </a:lnTo>
                <a:lnTo>
                  <a:pt x="108" y="156"/>
                </a:lnTo>
                <a:lnTo>
                  <a:pt x="114" y="162"/>
                </a:lnTo>
                <a:lnTo>
                  <a:pt x="114" y="156"/>
                </a:lnTo>
                <a:lnTo>
                  <a:pt x="114" y="156"/>
                </a:lnTo>
                <a:lnTo>
                  <a:pt x="114" y="150"/>
                </a:lnTo>
                <a:lnTo>
                  <a:pt x="114" y="150"/>
                </a:lnTo>
                <a:lnTo>
                  <a:pt x="114" y="144"/>
                </a:lnTo>
                <a:lnTo>
                  <a:pt x="108" y="144"/>
                </a:lnTo>
                <a:lnTo>
                  <a:pt x="108" y="138"/>
                </a:lnTo>
                <a:lnTo>
                  <a:pt x="114" y="132"/>
                </a:lnTo>
                <a:lnTo>
                  <a:pt x="114" y="132"/>
                </a:lnTo>
                <a:lnTo>
                  <a:pt x="108" y="132"/>
                </a:lnTo>
                <a:lnTo>
                  <a:pt x="108" y="132"/>
                </a:lnTo>
                <a:lnTo>
                  <a:pt x="96" y="126"/>
                </a:lnTo>
                <a:lnTo>
                  <a:pt x="96" y="132"/>
                </a:lnTo>
                <a:lnTo>
                  <a:pt x="96" y="132"/>
                </a:lnTo>
                <a:lnTo>
                  <a:pt x="96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26"/>
                </a:lnTo>
                <a:lnTo>
                  <a:pt x="90" y="126"/>
                </a:lnTo>
                <a:lnTo>
                  <a:pt x="84" y="126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90" y="120"/>
                </a:lnTo>
                <a:lnTo>
                  <a:pt x="90" y="114"/>
                </a:lnTo>
                <a:lnTo>
                  <a:pt x="90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2"/>
                </a:lnTo>
                <a:lnTo>
                  <a:pt x="84" y="102"/>
                </a:lnTo>
                <a:lnTo>
                  <a:pt x="84" y="102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84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84" y="78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78" y="48"/>
                </a:lnTo>
                <a:lnTo>
                  <a:pt x="78" y="48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0"/>
                </a:lnTo>
                <a:lnTo>
                  <a:pt x="78" y="30"/>
                </a:lnTo>
                <a:lnTo>
                  <a:pt x="72" y="30"/>
                </a:lnTo>
                <a:lnTo>
                  <a:pt x="72" y="30"/>
                </a:lnTo>
                <a:lnTo>
                  <a:pt x="72" y="24"/>
                </a:lnTo>
                <a:lnTo>
                  <a:pt x="72" y="24"/>
                </a:lnTo>
                <a:lnTo>
                  <a:pt x="66" y="24"/>
                </a:lnTo>
                <a:lnTo>
                  <a:pt x="66" y="24"/>
                </a:lnTo>
                <a:lnTo>
                  <a:pt x="72" y="24"/>
                </a:lnTo>
                <a:lnTo>
                  <a:pt x="72" y="24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8" y="12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8" y="0"/>
                </a:lnTo>
                <a:lnTo>
                  <a:pt x="78" y="0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84" y="6"/>
                </a:lnTo>
                <a:lnTo>
                  <a:pt x="84" y="12"/>
                </a:lnTo>
                <a:lnTo>
                  <a:pt x="84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6" y="30"/>
                </a:lnTo>
                <a:lnTo>
                  <a:pt x="96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20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24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50" y="18"/>
                </a:lnTo>
                <a:lnTo>
                  <a:pt x="144" y="18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6"/>
                </a:lnTo>
                <a:lnTo>
                  <a:pt x="144" y="36"/>
                </a:lnTo>
                <a:lnTo>
                  <a:pt x="144" y="30"/>
                </a:lnTo>
                <a:lnTo>
                  <a:pt x="150" y="36"/>
                </a:lnTo>
                <a:lnTo>
                  <a:pt x="150" y="36"/>
                </a:lnTo>
                <a:lnTo>
                  <a:pt x="144" y="36"/>
                </a:lnTo>
                <a:lnTo>
                  <a:pt x="144" y="36"/>
                </a:lnTo>
                <a:lnTo>
                  <a:pt x="144" y="36"/>
                </a:lnTo>
                <a:lnTo>
                  <a:pt x="144" y="36"/>
                </a:lnTo>
                <a:lnTo>
                  <a:pt x="144" y="36"/>
                </a:lnTo>
                <a:lnTo>
                  <a:pt x="144" y="36"/>
                </a:lnTo>
                <a:lnTo>
                  <a:pt x="150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48"/>
                </a:lnTo>
                <a:lnTo>
                  <a:pt x="162" y="54"/>
                </a:lnTo>
                <a:lnTo>
                  <a:pt x="156" y="54"/>
                </a:lnTo>
                <a:lnTo>
                  <a:pt x="156" y="54"/>
                </a:lnTo>
                <a:lnTo>
                  <a:pt x="162" y="54"/>
                </a:lnTo>
                <a:lnTo>
                  <a:pt x="156" y="54"/>
                </a:lnTo>
                <a:lnTo>
                  <a:pt x="162" y="54"/>
                </a:lnTo>
                <a:lnTo>
                  <a:pt x="162" y="54"/>
                </a:lnTo>
                <a:lnTo>
                  <a:pt x="162" y="54"/>
                </a:lnTo>
                <a:lnTo>
                  <a:pt x="162" y="54"/>
                </a:lnTo>
                <a:lnTo>
                  <a:pt x="162" y="54"/>
                </a:lnTo>
                <a:lnTo>
                  <a:pt x="162" y="54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68" y="60"/>
                </a:lnTo>
                <a:lnTo>
                  <a:pt x="168" y="60"/>
                </a:lnTo>
                <a:lnTo>
                  <a:pt x="168" y="60"/>
                </a:lnTo>
                <a:lnTo>
                  <a:pt x="168" y="60"/>
                </a:lnTo>
                <a:lnTo>
                  <a:pt x="168" y="60"/>
                </a:lnTo>
                <a:lnTo>
                  <a:pt x="168" y="60"/>
                </a:lnTo>
                <a:lnTo>
                  <a:pt x="168" y="60"/>
                </a:lnTo>
                <a:lnTo>
                  <a:pt x="168" y="60"/>
                </a:lnTo>
                <a:lnTo>
                  <a:pt x="168" y="60"/>
                </a:lnTo>
                <a:lnTo>
                  <a:pt x="168" y="60"/>
                </a:lnTo>
                <a:lnTo>
                  <a:pt x="168" y="60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74" y="54"/>
                </a:lnTo>
                <a:lnTo>
                  <a:pt x="174" y="54"/>
                </a:lnTo>
                <a:lnTo>
                  <a:pt x="174" y="54"/>
                </a:lnTo>
                <a:lnTo>
                  <a:pt x="174" y="54"/>
                </a:lnTo>
                <a:lnTo>
                  <a:pt x="174" y="60"/>
                </a:lnTo>
                <a:lnTo>
                  <a:pt x="174" y="60"/>
                </a:lnTo>
                <a:lnTo>
                  <a:pt x="174" y="60"/>
                </a:lnTo>
                <a:lnTo>
                  <a:pt x="174" y="60"/>
                </a:lnTo>
                <a:lnTo>
                  <a:pt x="174" y="60"/>
                </a:lnTo>
                <a:lnTo>
                  <a:pt x="174" y="54"/>
                </a:lnTo>
                <a:lnTo>
                  <a:pt x="174" y="54"/>
                </a:lnTo>
                <a:lnTo>
                  <a:pt x="174" y="54"/>
                </a:lnTo>
                <a:lnTo>
                  <a:pt x="180" y="54"/>
                </a:lnTo>
                <a:lnTo>
                  <a:pt x="180" y="54"/>
                </a:lnTo>
                <a:lnTo>
                  <a:pt x="180" y="54"/>
                </a:lnTo>
                <a:lnTo>
                  <a:pt x="180" y="60"/>
                </a:lnTo>
                <a:lnTo>
                  <a:pt x="180" y="60"/>
                </a:lnTo>
                <a:lnTo>
                  <a:pt x="180" y="60"/>
                </a:lnTo>
                <a:lnTo>
                  <a:pt x="180" y="60"/>
                </a:lnTo>
                <a:lnTo>
                  <a:pt x="180" y="60"/>
                </a:lnTo>
                <a:lnTo>
                  <a:pt x="180" y="60"/>
                </a:lnTo>
                <a:lnTo>
                  <a:pt x="174" y="60"/>
                </a:lnTo>
                <a:lnTo>
                  <a:pt x="174" y="60"/>
                </a:lnTo>
                <a:lnTo>
                  <a:pt x="174" y="66"/>
                </a:lnTo>
                <a:lnTo>
                  <a:pt x="180" y="66"/>
                </a:lnTo>
                <a:lnTo>
                  <a:pt x="180" y="66"/>
                </a:lnTo>
                <a:lnTo>
                  <a:pt x="180" y="66"/>
                </a:lnTo>
                <a:lnTo>
                  <a:pt x="180" y="66"/>
                </a:lnTo>
                <a:lnTo>
                  <a:pt x="180" y="66"/>
                </a:lnTo>
                <a:lnTo>
                  <a:pt x="180" y="66"/>
                </a:lnTo>
                <a:lnTo>
                  <a:pt x="180" y="66"/>
                </a:lnTo>
                <a:lnTo>
                  <a:pt x="180" y="72"/>
                </a:lnTo>
                <a:lnTo>
                  <a:pt x="180" y="72"/>
                </a:lnTo>
                <a:lnTo>
                  <a:pt x="180" y="72"/>
                </a:lnTo>
                <a:lnTo>
                  <a:pt x="180" y="72"/>
                </a:lnTo>
                <a:lnTo>
                  <a:pt x="180" y="72"/>
                </a:lnTo>
                <a:lnTo>
                  <a:pt x="180" y="72"/>
                </a:lnTo>
                <a:lnTo>
                  <a:pt x="186" y="72"/>
                </a:lnTo>
                <a:lnTo>
                  <a:pt x="186" y="72"/>
                </a:lnTo>
                <a:lnTo>
                  <a:pt x="186" y="72"/>
                </a:lnTo>
                <a:lnTo>
                  <a:pt x="186" y="78"/>
                </a:lnTo>
                <a:lnTo>
                  <a:pt x="186" y="78"/>
                </a:lnTo>
                <a:lnTo>
                  <a:pt x="186" y="78"/>
                </a:lnTo>
                <a:lnTo>
                  <a:pt x="186" y="78"/>
                </a:lnTo>
                <a:lnTo>
                  <a:pt x="192" y="78"/>
                </a:lnTo>
                <a:lnTo>
                  <a:pt x="192" y="78"/>
                </a:lnTo>
                <a:lnTo>
                  <a:pt x="192" y="78"/>
                </a:lnTo>
                <a:lnTo>
                  <a:pt x="192" y="78"/>
                </a:lnTo>
                <a:lnTo>
                  <a:pt x="192" y="78"/>
                </a:lnTo>
                <a:lnTo>
                  <a:pt x="192" y="78"/>
                </a:lnTo>
                <a:lnTo>
                  <a:pt x="192" y="78"/>
                </a:lnTo>
                <a:lnTo>
                  <a:pt x="192" y="78"/>
                </a:lnTo>
                <a:lnTo>
                  <a:pt x="192" y="78"/>
                </a:lnTo>
                <a:lnTo>
                  <a:pt x="198" y="78"/>
                </a:lnTo>
                <a:lnTo>
                  <a:pt x="198" y="78"/>
                </a:lnTo>
                <a:lnTo>
                  <a:pt x="198" y="78"/>
                </a:lnTo>
                <a:lnTo>
                  <a:pt x="198" y="78"/>
                </a:lnTo>
                <a:lnTo>
                  <a:pt x="198" y="78"/>
                </a:lnTo>
                <a:lnTo>
                  <a:pt x="198" y="78"/>
                </a:lnTo>
                <a:lnTo>
                  <a:pt x="198" y="78"/>
                </a:lnTo>
                <a:lnTo>
                  <a:pt x="198" y="84"/>
                </a:lnTo>
                <a:lnTo>
                  <a:pt x="204" y="84"/>
                </a:lnTo>
                <a:lnTo>
                  <a:pt x="204" y="84"/>
                </a:lnTo>
                <a:lnTo>
                  <a:pt x="204" y="84"/>
                </a:lnTo>
                <a:lnTo>
                  <a:pt x="204" y="84"/>
                </a:lnTo>
                <a:lnTo>
                  <a:pt x="210" y="78"/>
                </a:lnTo>
                <a:lnTo>
                  <a:pt x="210" y="84"/>
                </a:lnTo>
                <a:lnTo>
                  <a:pt x="216" y="78"/>
                </a:lnTo>
                <a:lnTo>
                  <a:pt x="216" y="78"/>
                </a:lnTo>
                <a:lnTo>
                  <a:pt x="216" y="78"/>
                </a:lnTo>
                <a:lnTo>
                  <a:pt x="216" y="78"/>
                </a:lnTo>
                <a:lnTo>
                  <a:pt x="216" y="78"/>
                </a:lnTo>
                <a:lnTo>
                  <a:pt x="216" y="72"/>
                </a:lnTo>
                <a:lnTo>
                  <a:pt x="228" y="72"/>
                </a:lnTo>
                <a:lnTo>
                  <a:pt x="228" y="78"/>
                </a:lnTo>
                <a:lnTo>
                  <a:pt x="228" y="78"/>
                </a:lnTo>
                <a:lnTo>
                  <a:pt x="228" y="78"/>
                </a:lnTo>
                <a:lnTo>
                  <a:pt x="228" y="78"/>
                </a:lnTo>
                <a:lnTo>
                  <a:pt x="228" y="72"/>
                </a:lnTo>
                <a:lnTo>
                  <a:pt x="228" y="72"/>
                </a:lnTo>
                <a:lnTo>
                  <a:pt x="228" y="78"/>
                </a:lnTo>
                <a:lnTo>
                  <a:pt x="234" y="78"/>
                </a:lnTo>
                <a:lnTo>
                  <a:pt x="234" y="78"/>
                </a:lnTo>
                <a:lnTo>
                  <a:pt x="234" y="78"/>
                </a:lnTo>
                <a:lnTo>
                  <a:pt x="234" y="78"/>
                </a:lnTo>
                <a:lnTo>
                  <a:pt x="234" y="78"/>
                </a:lnTo>
                <a:lnTo>
                  <a:pt x="234" y="84"/>
                </a:lnTo>
                <a:lnTo>
                  <a:pt x="234" y="84"/>
                </a:lnTo>
                <a:lnTo>
                  <a:pt x="234" y="84"/>
                </a:lnTo>
                <a:lnTo>
                  <a:pt x="234" y="84"/>
                </a:lnTo>
                <a:lnTo>
                  <a:pt x="234" y="84"/>
                </a:lnTo>
                <a:lnTo>
                  <a:pt x="234" y="84"/>
                </a:lnTo>
                <a:lnTo>
                  <a:pt x="234" y="84"/>
                </a:lnTo>
                <a:lnTo>
                  <a:pt x="234" y="84"/>
                </a:lnTo>
                <a:lnTo>
                  <a:pt x="240" y="90"/>
                </a:lnTo>
                <a:lnTo>
                  <a:pt x="240" y="90"/>
                </a:lnTo>
                <a:lnTo>
                  <a:pt x="240" y="96"/>
                </a:lnTo>
                <a:lnTo>
                  <a:pt x="240" y="96"/>
                </a:lnTo>
                <a:lnTo>
                  <a:pt x="240" y="96"/>
                </a:lnTo>
                <a:lnTo>
                  <a:pt x="240" y="96"/>
                </a:lnTo>
                <a:lnTo>
                  <a:pt x="240" y="96"/>
                </a:lnTo>
                <a:lnTo>
                  <a:pt x="246" y="96"/>
                </a:lnTo>
                <a:lnTo>
                  <a:pt x="246" y="102"/>
                </a:lnTo>
                <a:lnTo>
                  <a:pt x="246" y="102"/>
                </a:lnTo>
                <a:lnTo>
                  <a:pt x="252" y="102"/>
                </a:lnTo>
                <a:lnTo>
                  <a:pt x="252" y="102"/>
                </a:lnTo>
                <a:lnTo>
                  <a:pt x="252" y="108"/>
                </a:lnTo>
                <a:lnTo>
                  <a:pt x="252" y="108"/>
                </a:lnTo>
                <a:lnTo>
                  <a:pt x="252" y="108"/>
                </a:lnTo>
                <a:lnTo>
                  <a:pt x="252" y="108"/>
                </a:lnTo>
                <a:lnTo>
                  <a:pt x="252" y="108"/>
                </a:lnTo>
                <a:lnTo>
                  <a:pt x="252" y="108"/>
                </a:lnTo>
                <a:lnTo>
                  <a:pt x="252" y="108"/>
                </a:lnTo>
                <a:lnTo>
                  <a:pt x="258" y="108"/>
                </a:lnTo>
                <a:lnTo>
                  <a:pt x="264" y="108"/>
                </a:lnTo>
                <a:lnTo>
                  <a:pt x="264" y="108"/>
                </a:lnTo>
                <a:lnTo>
                  <a:pt x="264" y="114"/>
                </a:lnTo>
                <a:lnTo>
                  <a:pt x="270" y="114"/>
                </a:lnTo>
                <a:lnTo>
                  <a:pt x="270" y="114"/>
                </a:lnTo>
                <a:lnTo>
                  <a:pt x="270" y="114"/>
                </a:lnTo>
                <a:lnTo>
                  <a:pt x="270" y="114"/>
                </a:lnTo>
                <a:lnTo>
                  <a:pt x="270" y="120"/>
                </a:lnTo>
                <a:lnTo>
                  <a:pt x="270" y="120"/>
                </a:lnTo>
                <a:lnTo>
                  <a:pt x="270" y="120"/>
                </a:lnTo>
                <a:lnTo>
                  <a:pt x="270" y="120"/>
                </a:lnTo>
                <a:lnTo>
                  <a:pt x="270" y="120"/>
                </a:lnTo>
                <a:lnTo>
                  <a:pt x="270" y="120"/>
                </a:lnTo>
                <a:lnTo>
                  <a:pt x="270" y="114"/>
                </a:lnTo>
                <a:lnTo>
                  <a:pt x="270" y="114"/>
                </a:lnTo>
                <a:lnTo>
                  <a:pt x="264" y="114"/>
                </a:lnTo>
                <a:lnTo>
                  <a:pt x="264" y="120"/>
                </a:lnTo>
                <a:lnTo>
                  <a:pt x="264" y="114"/>
                </a:lnTo>
                <a:lnTo>
                  <a:pt x="270" y="114"/>
                </a:lnTo>
                <a:lnTo>
                  <a:pt x="270" y="114"/>
                </a:lnTo>
                <a:lnTo>
                  <a:pt x="264" y="114"/>
                </a:lnTo>
                <a:lnTo>
                  <a:pt x="264" y="114"/>
                </a:lnTo>
                <a:lnTo>
                  <a:pt x="264" y="114"/>
                </a:lnTo>
                <a:lnTo>
                  <a:pt x="264" y="114"/>
                </a:lnTo>
                <a:lnTo>
                  <a:pt x="264" y="114"/>
                </a:lnTo>
                <a:lnTo>
                  <a:pt x="264" y="114"/>
                </a:lnTo>
                <a:lnTo>
                  <a:pt x="264" y="114"/>
                </a:lnTo>
                <a:lnTo>
                  <a:pt x="264" y="114"/>
                </a:lnTo>
                <a:lnTo>
                  <a:pt x="264" y="108"/>
                </a:lnTo>
                <a:lnTo>
                  <a:pt x="264" y="114"/>
                </a:lnTo>
                <a:lnTo>
                  <a:pt x="264" y="114"/>
                </a:lnTo>
                <a:lnTo>
                  <a:pt x="264" y="114"/>
                </a:lnTo>
                <a:lnTo>
                  <a:pt x="264" y="114"/>
                </a:lnTo>
                <a:lnTo>
                  <a:pt x="264" y="114"/>
                </a:lnTo>
                <a:lnTo>
                  <a:pt x="264" y="114"/>
                </a:lnTo>
                <a:lnTo>
                  <a:pt x="264" y="120"/>
                </a:lnTo>
                <a:lnTo>
                  <a:pt x="258" y="120"/>
                </a:lnTo>
                <a:lnTo>
                  <a:pt x="258" y="120"/>
                </a:lnTo>
                <a:lnTo>
                  <a:pt x="258" y="120"/>
                </a:lnTo>
                <a:lnTo>
                  <a:pt x="258" y="120"/>
                </a:lnTo>
                <a:lnTo>
                  <a:pt x="258" y="120"/>
                </a:lnTo>
                <a:lnTo>
                  <a:pt x="258" y="120"/>
                </a:lnTo>
                <a:lnTo>
                  <a:pt x="258" y="114"/>
                </a:lnTo>
                <a:lnTo>
                  <a:pt x="258" y="114"/>
                </a:lnTo>
                <a:lnTo>
                  <a:pt x="258" y="120"/>
                </a:lnTo>
                <a:lnTo>
                  <a:pt x="258" y="114"/>
                </a:lnTo>
                <a:lnTo>
                  <a:pt x="258" y="120"/>
                </a:lnTo>
                <a:lnTo>
                  <a:pt x="258" y="120"/>
                </a:lnTo>
                <a:lnTo>
                  <a:pt x="258" y="120"/>
                </a:lnTo>
                <a:lnTo>
                  <a:pt x="252" y="120"/>
                </a:lnTo>
                <a:lnTo>
                  <a:pt x="252" y="120"/>
                </a:lnTo>
                <a:lnTo>
                  <a:pt x="258" y="114"/>
                </a:lnTo>
                <a:lnTo>
                  <a:pt x="258" y="114"/>
                </a:lnTo>
                <a:lnTo>
                  <a:pt x="258" y="114"/>
                </a:lnTo>
                <a:lnTo>
                  <a:pt x="258" y="114"/>
                </a:lnTo>
                <a:lnTo>
                  <a:pt x="258" y="114"/>
                </a:lnTo>
                <a:lnTo>
                  <a:pt x="258" y="114"/>
                </a:lnTo>
                <a:lnTo>
                  <a:pt x="258" y="114"/>
                </a:lnTo>
                <a:lnTo>
                  <a:pt x="258" y="114"/>
                </a:lnTo>
                <a:lnTo>
                  <a:pt x="258" y="114"/>
                </a:lnTo>
                <a:lnTo>
                  <a:pt x="258" y="114"/>
                </a:lnTo>
                <a:lnTo>
                  <a:pt x="258" y="114"/>
                </a:lnTo>
                <a:lnTo>
                  <a:pt x="258" y="114"/>
                </a:lnTo>
                <a:lnTo>
                  <a:pt x="258" y="114"/>
                </a:lnTo>
                <a:lnTo>
                  <a:pt x="258" y="114"/>
                </a:lnTo>
                <a:lnTo>
                  <a:pt x="252" y="114"/>
                </a:lnTo>
                <a:lnTo>
                  <a:pt x="252" y="114"/>
                </a:lnTo>
                <a:lnTo>
                  <a:pt x="252" y="114"/>
                </a:lnTo>
                <a:lnTo>
                  <a:pt x="252" y="114"/>
                </a:lnTo>
                <a:lnTo>
                  <a:pt x="252" y="114"/>
                </a:lnTo>
                <a:lnTo>
                  <a:pt x="252" y="120"/>
                </a:lnTo>
                <a:lnTo>
                  <a:pt x="252" y="114"/>
                </a:lnTo>
                <a:lnTo>
                  <a:pt x="252" y="114"/>
                </a:lnTo>
                <a:lnTo>
                  <a:pt x="252" y="114"/>
                </a:lnTo>
                <a:lnTo>
                  <a:pt x="252" y="114"/>
                </a:lnTo>
                <a:lnTo>
                  <a:pt x="252" y="114"/>
                </a:lnTo>
                <a:lnTo>
                  <a:pt x="252" y="114"/>
                </a:lnTo>
                <a:lnTo>
                  <a:pt x="252" y="114"/>
                </a:lnTo>
                <a:lnTo>
                  <a:pt x="252" y="114"/>
                </a:lnTo>
                <a:lnTo>
                  <a:pt x="252" y="114"/>
                </a:lnTo>
                <a:lnTo>
                  <a:pt x="252" y="114"/>
                </a:lnTo>
                <a:lnTo>
                  <a:pt x="252" y="114"/>
                </a:lnTo>
                <a:lnTo>
                  <a:pt x="252" y="114"/>
                </a:lnTo>
                <a:lnTo>
                  <a:pt x="252" y="114"/>
                </a:lnTo>
                <a:lnTo>
                  <a:pt x="252" y="114"/>
                </a:lnTo>
                <a:lnTo>
                  <a:pt x="252" y="114"/>
                </a:lnTo>
                <a:lnTo>
                  <a:pt x="252" y="114"/>
                </a:lnTo>
                <a:lnTo>
                  <a:pt x="252" y="114"/>
                </a:lnTo>
                <a:lnTo>
                  <a:pt x="252" y="114"/>
                </a:lnTo>
                <a:lnTo>
                  <a:pt x="252" y="114"/>
                </a:lnTo>
                <a:lnTo>
                  <a:pt x="252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52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14"/>
                </a:lnTo>
                <a:lnTo>
                  <a:pt x="246" y="114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0" y="120"/>
                </a:lnTo>
                <a:lnTo>
                  <a:pt x="240" y="114"/>
                </a:lnTo>
                <a:lnTo>
                  <a:pt x="240" y="114"/>
                </a:lnTo>
                <a:lnTo>
                  <a:pt x="240" y="114"/>
                </a:lnTo>
                <a:lnTo>
                  <a:pt x="240" y="114"/>
                </a:lnTo>
                <a:lnTo>
                  <a:pt x="240" y="120"/>
                </a:lnTo>
                <a:lnTo>
                  <a:pt x="240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6"/>
                </a:lnTo>
                <a:lnTo>
                  <a:pt x="246" y="126"/>
                </a:lnTo>
                <a:lnTo>
                  <a:pt x="246" y="126"/>
                </a:lnTo>
                <a:lnTo>
                  <a:pt x="246" y="126"/>
                </a:lnTo>
                <a:lnTo>
                  <a:pt x="246" y="126"/>
                </a:lnTo>
                <a:lnTo>
                  <a:pt x="246" y="126"/>
                </a:lnTo>
                <a:lnTo>
                  <a:pt x="246" y="126"/>
                </a:lnTo>
                <a:lnTo>
                  <a:pt x="246" y="126"/>
                </a:lnTo>
                <a:lnTo>
                  <a:pt x="246" y="126"/>
                </a:lnTo>
                <a:lnTo>
                  <a:pt x="246" y="126"/>
                </a:lnTo>
                <a:lnTo>
                  <a:pt x="246" y="126"/>
                </a:lnTo>
                <a:lnTo>
                  <a:pt x="246" y="126"/>
                </a:lnTo>
                <a:lnTo>
                  <a:pt x="246" y="126"/>
                </a:lnTo>
                <a:lnTo>
                  <a:pt x="252" y="126"/>
                </a:lnTo>
                <a:lnTo>
                  <a:pt x="252" y="126"/>
                </a:lnTo>
                <a:lnTo>
                  <a:pt x="252" y="126"/>
                </a:lnTo>
                <a:lnTo>
                  <a:pt x="252" y="126"/>
                </a:lnTo>
                <a:lnTo>
                  <a:pt x="252" y="126"/>
                </a:lnTo>
                <a:lnTo>
                  <a:pt x="252" y="132"/>
                </a:lnTo>
                <a:lnTo>
                  <a:pt x="246" y="132"/>
                </a:lnTo>
                <a:lnTo>
                  <a:pt x="246" y="126"/>
                </a:lnTo>
                <a:lnTo>
                  <a:pt x="246" y="126"/>
                </a:lnTo>
                <a:lnTo>
                  <a:pt x="246" y="126"/>
                </a:lnTo>
                <a:lnTo>
                  <a:pt x="246" y="126"/>
                </a:lnTo>
                <a:lnTo>
                  <a:pt x="246" y="126"/>
                </a:lnTo>
                <a:lnTo>
                  <a:pt x="246" y="126"/>
                </a:lnTo>
                <a:lnTo>
                  <a:pt x="246" y="126"/>
                </a:lnTo>
                <a:lnTo>
                  <a:pt x="246" y="126"/>
                </a:lnTo>
                <a:lnTo>
                  <a:pt x="246" y="132"/>
                </a:lnTo>
                <a:lnTo>
                  <a:pt x="246" y="132"/>
                </a:lnTo>
                <a:lnTo>
                  <a:pt x="246" y="132"/>
                </a:lnTo>
                <a:lnTo>
                  <a:pt x="246" y="132"/>
                </a:lnTo>
                <a:lnTo>
                  <a:pt x="246" y="132"/>
                </a:lnTo>
                <a:lnTo>
                  <a:pt x="246" y="132"/>
                </a:lnTo>
                <a:lnTo>
                  <a:pt x="246" y="132"/>
                </a:lnTo>
                <a:lnTo>
                  <a:pt x="246" y="132"/>
                </a:lnTo>
                <a:lnTo>
                  <a:pt x="240" y="132"/>
                </a:lnTo>
                <a:lnTo>
                  <a:pt x="246" y="132"/>
                </a:lnTo>
                <a:lnTo>
                  <a:pt x="246" y="132"/>
                </a:lnTo>
                <a:lnTo>
                  <a:pt x="246" y="132"/>
                </a:lnTo>
                <a:lnTo>
                  <a:pt x="246" y="132"/>
                </a:lnTo>
                <a:lnTo>
                  <a:pt x="246" y="132"/>
                </a:lnTo>
                <a:lnTo>
                  <a:pt x="246" y="138"/>
                </a:lnTo>
                <a:lnTo>
                  <a:pt x="246" y="132"/>
                </a:lnTo>
                <a:lnTo>
                  <a:pt x="246" y="132"/>
                </a:lnTo>
                <a:lnTo>
                  <a:pt x="246" y="138"/>
                </a:lnTo>
                <a:lnTo>
                  <a:pt x="246" y="138"/>
                </a:lnTo>
                <a:lnTo>
                  <a:pt x="246" y="138"/>
                </a:lnTo>
                <a:lnTo>
                  <a:pt x="246" y="138"/>
                </a:lnTo>
                <a:lnTo>
                  <a:pt x="246" y="138"/>
                </a:lnTo>
                <a:lnTo>
                  <a:pt x="246" y="138"/>
                </a:lnTo>
                <a:lnTo>
                  <a:pt x="246" y="138"/>
                </a:lnTo>
                <a:lnTo>
                  <a:pt x="246" y="138"/>
                </a:lnTo>
                <a:lnTo>
                  <a:pt x="246" y="138"/>
                </a:lnTo>
                <a:lnTo>
                  <a:pt x="246" y="138"/>
                </a:lnTo>
                <a:lnTo>
                  <a:pt x="246" y="138"/>
                </a:lnTo>
                <a:lnTo>
                  <a:pt x="240" y="138"/>
                </a:lnTo>
                <a:lnTo>
                  <a:pt x="246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8"/>
                </a:lnTo>
                <a:lnTo>
                  <a:pt x="240" y="138"/>
                </a:lnTo>
                <a:lnTo>
                  <a:pt x="240" y="138"/>
                </a:lnTo>
                <a:lnTo>
                  <a:pt x="240" y="138"/>
                </a:lnTo>
                <a:lnTo>
                  <a:pt x="240" y="138"/>
                </a:lnTo>
                <a:lnTo>
                  <a:pt x="240" y="138"/>
                </a:lnTo>
                <a:lnTo>
                  <a:pt x="240" y="138"/>
                </a:lnTo>
                <a:lnTo>
                  <a:pt x="240" y="138"/>
                </a:lnTo>
                <a:lnTo>
                  <a:pt x="240" y="138"/>
                </a:lnTo>
                <a:lnTo>
                  <a:pt x="240" y="138"/>
                </a:lnTo>
                <a:lnTo>
                  <a:pt x="240" y="138"/>
                </a:lnTo>
                <a:lnTo>
                  <a:pt x="240" y="138"/>
                </a:lnTo>
                <a:lnTo>
                  <a:pt x="240" y="138"/>
                </a:lnTo>
                <a:lnTo>
                  <a:pt x="234" y="138"/>
                </a:lnTo>
                <a:lnTo>
                  <a:pt x="240" y="138"/>
                </a:lnTo>
                <a:lnTo>
                  <a:pt x="240" y="138"/>
                </a:lnTo>
                <a:lnTo>
                  <a:pt x="234" y="144"/>
                </a:lnTo>
                <a:lnTo>
                  <a:pt x="240" y="144"/>
                </a:lnTo>
                <a:lnTo>
                  <a:pt x="240" y="144"/>
                </a:lnTo>
                <a:lnTo>
                  <a:pt x="240" y="144"/>
                </a:lnTo>
                <a:lnTo>
                  <a:pt x="240" y="144"/>
                </a:lnTo>
                <a:lnTo>
                  <a:pt x="240" y="138"/>
                </a:lnTo>
                <a:lnTo>
                  <a:pt x="240" y="144"/>
                </a:lnTo>
                <a:lnTo>
                  <a:pt x="240" y="138"/>
                </a:lnTo>
                <a:lnTo>
                  <a:pt x="240" y="138"/>
                </a:lnTo>
                <a:lnTo>
                  <a:pt x="240" y="144"/>
                </a:lnTo>
                <a:lnTo>
                  <a:pt x="240" y="144"/>
                </a:lnTo>
                <a:lnTo>
                  <a:pt x="240" y="138"/>
                </a:lnTo>
                <a:lnTo>
                  <a:pt x="240" y="144"/>
                </a:lnTo>
                <a:lnTo>
                  <a:pt x="240" y="138"/>
                </a:lnTo>
                <a:lnTo>
                  <a:pt x="240" y="144"/>
                </a:lnTo>
                <a:lnTo>
                  <a:pt x="240" y="144"/>
                </a:lnTo>
                <a:lnTo>
                  <a:pt x="240" y="144"/>
                </a:lnTo>
                <a:lnTo>
                  <a:pt x="240" y="144"/>
                </a:lnTo>
                <a:lnTo>
                  <a:pt x="240" y="144"/>
                </a:lnTo>
                <a:lnTo>
                  <a:pt x="240" y="144"/>
                </a:lnTo>
                <a:lnTo>
                  <a:pt x="240" y="144"/>
                </a:lnTo>
                <a:lnTo>
                  <a:pt x="240" y="144"/>
                </a:lnTo>
                <a:lnTo>
                  <a:pt x="240" y="144"/>
                </a:lnTo>
                <a:lnTo>
                  <a:pt x="240" y="144"/>
                </a:lnTo>
                <a:lnTo>
                  <a:pt x="240" y="144"/>
                </a:lnTo>
                <a:lnTo>
                  <a:pt x="240" y="144"/>
                </a:lnTo>
                <a:lnTo>
                  <a:pt x="240" y="144"/>
                </a:lnTo>
                <a:lnTo>
                  <a:pt x="234" y="144"/>
                </a:lnTo>
                <a:lnTo>
                  <a:pt x="234" y="144"/>
                </a:lnTo>
                <a:lnTo>
                  <a:pt x="234" y="144"/>
                </a:lnTo>
                <a:lnTo>
                  <a:pt x="234" y="144"/>
                </a:lnTo>
                <a:lnTo>
                  <a:pt x="240" y="144"/>
                </a:lnTo>
                <a:lnTo>
                  <a:pt x="240" y="144"/>
                </a:lnTo>
                <a:lnTo>
                  <a:pt x="240" y="150"/>
                </a:lnTo>
                <a:lnTo>
                  <a:pt x="240" y="150"/>
                </a:lnTo>
                <a:lnTo>
                  <a:pt x="240" y="150"/>
                </a:lnTo>
                <a:lnTo>
                  <a:pt x="240" y="144"/>
                </a:lnTo>
                <a:lnTo>
                  <a:pt x="240" y="150"/>
                </a:lnTo>
                <a:lnTo>
                  <a:pt x="234" y="150"/>
                </a:lnTo>
                <a:lnTo>
                  <a:pt x="240" y="150"/>
                </a:lnTo>
                <a:lnTo>
                  <a:pt x="234" y="150"/>
                </a:lnTo>
                <a:lnTo>
                  <a:pt x="240" y="150"/>
                </a:lnTo>
                <a:lnTo>
                  <a:pt x="240" y="150"/>
                </a:lnTo>
                <a:lnTo>
                  <a:pt x="240" y="150"/>
                </a:lnTo>
                <a:lnTo>
                  <a:pt x="240" y="150"/>
                </a:lnTo>
                <a:lnTo>
                  <a:pt x="240" y="150"/>
                </a:lnTo>
                <a:lnTo>
                  <a:pt x="240" y="150"/>
                </a:lnTo>
                <a:lnTo>
                  <a:pt x="240" y="150"/>
                </a:lnTo>
                <a:lnTo>
                  <a:pt x="240" y="150"/>
                </a:lnTo>
                <a:lnTo>
                  <a:pt x="240" y="150"/>
                </a:lnTo>
                <a:lnTo>
                  <a:pt x="234" y="150"/>
                </a:lnTo>
                <a:lnTo>
                  <a:pt x="240" y="150"/>
                </a:lnTo>
                <a:lnTo>
                  <a:pt x="240" y="150"/>
                </a:lnTo>
                <a:lnTo>
                  <a:pt x="240" y="150"/>
                </a:lnTo>
                <a:lnTo>
                  <a:pt x="240" y="156"/>
                </a:lnTo>
                <a:lnTo>
                  <a:pt x="240" y="156"/>
                </a:lnTo>
                <a:lnTo>
                  <a:pt x="240" y="156"/>
                </a:lnTo>
                <a:lnTo>
                  <a:pt x="240" y="150"/>
                </a:lnTo>
                <a:lnTo>
                  <a:pt x="240" y="150"/>
                </a:lnTo>
                <a:lnTo>
                  <a:pt x="240" y="150"/>
                </a:lnTo>
                <a:lnTo>
                  <a:pt x="240" y="150"/>
                </a:lnTo>
                <a:lnTo>
                  <a:pt x="240" y="150"/>
                </a:lnTo>
                <a:lnTo>
                  <a:pt x="240" y="150"/>
                </a:lnTo>
                <a:lnTo>
                  <a:pt x="240" y="150"/>
                </a:lnTo>
                <a:lnTo>
                  <a:pt x="246" y="150"/>
                </a:lnTo>
                <a:lnTo>
                  <a:pt x="246" y="150"/>
                </a:lnTo>
                <a:lnTo>
                  <a:pt x="240" y="150"/>
                </a:lnTo>
                <a:lnTo>
                  <a:pt x="240" y="150"/>
                </a:lnTo>
                <a:lnTo>
                  <a:pt x="240" y="150"/>
                </a:lnTo>
                <a:lnTo>
                  <a:pt x="240" y="150"/>
                </a:lnTo>
                <a:lnTo>
                  <a:pt x="240" y="150"/>
                </a:lnTo>
                <a:lnTo>
                  <a:pt x="240" y="156"/>
                </a:lnTo>
                <a:lnTo>
                  <a:pt x="240" y="156"/>
                </a:lnTo>
                <a:lnTo>
                  <a:pt x="240" y="156"/>
                </a:lnTo>
                <a:lnTo>
                  <a:pt x="240" y="156"/>
                </a:lnTo>
                <a:lnTo>
                  <a:pt x="240" y="156"/>
                </a:lnTo>
                <a:lnTo>
                  <a:pt x="240" y="156"/>
                </a:lnTo>
                <a:lnTo>
                  <a:pt x="240" y="156"/>
                </a:lnTo>
                <a:lnTo>
                  <a:pt x="240" y="156"/>
                </a:lnTo>
                <a:lnTo>
                  <a:pt x="240" y="156"/>
                </a:lnTo>
                <a:lnTo>
                  <a:pt x="240" y="156"/>
                </a:lnTo>
                <a:lnTo>
                  <a:pt x="240" y="156"/>
                </a:lnTo>
                <a:lnTo>
                  <a:pt x="234" y="156"/>
                </a:lnTo>
                <a:lnTo>
                  <a:pt x="234" y="156"/>
                </a:lnTo>
                <a:lnTo>
                  <a:pt x="234" y="156"/>
                </a:lnTo>
                <a:lnTo>
                  <a:pt x="240" y="156"/>
                </a:lnTo>
                <a:lnTo>
                  <a:pt x="240" y="156"/>
                </a:lnTo>
                <a:lnTo>
                  <a:pt x="240" y="156"/>
                </a:lnTo>
                <a:lnTo>
                  <a:pt x="240" y="156"/>
                </a:lnTo>
                <a:lnTo>
                  <a:pt x="240" y="156"/>
                </a:lnTo>
                <a:lnTo>
                  <a:pt x="240" y="156"/>
                </a:lnTo>
                <a:lnTo>
                  <a:pt x="240" y="156"/>
                </a:lnTo>
                <a:lnTo>
                  <a:pt x="246" y="156"/>
                </a:lnTo>
                <a:lnTo>
                  <a:pt x="246" y="156"/>
                </a:lnTo>
                <a:lnTo>
                  <a:pt x="246" y="156"/>
                </a:lnTo>
                <a:lnTo>
                  <a:pt x="246" y="156"/>
                </a:lnTo>
                <a:lnTo>
                  <a:pt x="246" y="156"/>
                </a:lnTo>
                <a:lnTo>
                  <a:pt x="246" y="156"/>
                </a:lnTo>
                <a:lnTo>
                  <a:pt x="246" y="156"/>
                </a:lnTo>
                <a:lnTo>
                  <a:pt x="246" y="156"/>
                </a:lnTo>
                <a:lnTo>
                  <a:pt x="246" y="156"/>
                </a:lnTo>
                <a:lnTo>
                  <a:pt x="240" y="156"/>
                </a:lnTo>
                <a:lnTo>
                  <a:pt x="240" y="156"/>
                </a:lnTo>
                <a:lnTo>
                  <a:pt x="246" y="156"/>
                </a:lnTo>
                <a:lnTo>
                  <a:pt x="240" y="156"/>
                </a:lnTo>
                <a:lnTo>
                  <a:pt x="246" y="156"/>
                </a:lnTo>
                <a:lnTo>
                  <a:pt x="246" y="156"/>
                </a:lnTo>
                <a:lnTo>
                  <a:pt x="246" y="162"/>
                </a:lnTo>
                <a:lnTo>
                  <a:pt x="246" y="162"/>
                </a:lnTo>
                <a:lnTo>
                  <a:pt x="246" y="162"/>
                </a:lnTo>
                <a:lnTo>
                  <a:pt x="246" y="162"/>
                </a:lnTo>
                <a:lnTo>
                  <a:pt x="246" y="162"/>
                </a:lnTo>
                <a:lnTo>
                  <a:pt x="246" y="162"/>
                </a:lnTo>
                <a:lnTo>
                  <a:pt x="246" y="162"/>
                </a:lnTo>
                <a:lnTo>
                  <a:pt x="246" y="162"/>
                </a:lnTo>
                <a:lnTo>
                  <a:pt x="246" y="162"/>
                </a:lnTo>
                <a:lnTo>
                  <a:pt x="240" y="162"/>
                </a:lnTo>
                <a:lnTo>
                  <a:pt x="240" y="162"/>
                </a:lnTo>
                <a:lnTo>
                  <a:pt x="240" y="162"/>
                </a:lnTo>
                <a:lnTo>
                  <a:pt x="240" y="162"/>
                </a:lnTo>
                <a:lnTo>
                  <a:pt x="240" y="162"/>
                </a:lnTo>
                <a:lnTo>
                  <a:pt x="240" y="162"/>
                </a:lnTo>
                <a:lnTo>
                  <a:pt x="240" y="162"/>
                </a:lnTo>
                <a:lnTo>
                  <a:pt x="240" y="156"/>
                </a:lnTo>
                <a:lnTo>
                  <a:pt x="240" y="156"/>
                </a:lnTo>
                <a:lnTo>
                  <a:pt x="240" y="156"/>
                </a:lnTo>
                <a:lnTo>
                  <a:pt x="240" y="156"/>
                </a:lnTo>
                <a:lnTo>
                  <a:pt x="240" y="162"/>
                </a:lnTo>
                <a:lnTo>
                  <a:pt x="240" y="162"/>
                </a:lnTo>
                <a:lnTo>
                  <a:pt x="240" y="162"/>
                </a:lnTo>
                <a:lnTo>
                  <a:pt x="240" y="162"/>
                </a:lnTo>
                <a:lnTo>
                  <a:pt x="240" y="162"/>
                </a:lnTo>
                <a:lnTo>
                  <a:pt x="240" y="162"/>
                </a:lnTo>
                <a:lnTo>
                  <a:pt x="240" y="162"/>
                </a:lnTo>
                <a:lnTo>
                  <a:pt x="240" y="162"/>
                </a:lnTo>
                <a:lnTo>
                  <a:pt x="240" y="162"/>
                </a:lnTo>
                <a:lnTo>
                  <a:pt x="240" y="162"/>
                </a:lnTo>
                <a:lnTo>
                  <a:pt x="240" y="168"/>
                </a:lnTo>
                <a:lnTo>
                  <a:pt x="240" y="162"/>
                </a:lnTo>
                <a:lnTo>
                  <a:pt x="240" y="168"/>
                </a:lnTo>
                <a:lnTo>
                  <a:pt x="240" y="168"/>
                </a:lnTo>
                <a:lnTo>
                  <a:pt x="246" y="168"/>
                </a:lnTo>
                <a:lnTo>
                  <a:pt x="240" y="168"/>
                </a:lnTo>
                <a:lnTo>
                  <a:pt x="240" y="168"/>
                </a:lnTo>
                <a:lnTo>
                  <a:pt x="240" y="168"/>
                </a:lnTo>
                <a:lnTo>
                  <a:pt x="240" y="168"/>
                </a:lnTo>
                <a:lnTo>
                  <a:pt x="240" y="168"/>
                </a:lnTo>
                <a:lnTo>
                  <a:pt x="240" y="168"/>
                </a:lnTo>
                <a:lnTo>
                  <a:pt x="240" y="168"/>
                </a:lnTo>
                <a:lnTo>
                  <a:pt x="240" y="168"/>
                </a:lnTo>
                <a:lnTo>
                  <a:pt x="240" y="168"/>
                </a:lnTo>
                <a:lnTo>
                  <a:pt x="240" y="168"/>
                </a:lnTo>
                <a:lnTo>
                  <a:pt x="240" y="168"/>
                </a:lnTo>
                <a:lnTo>
                  <a:pt x="240" y="168"/>
                </a:lnTo>
                <a:lnTo>
                  <a:pt x="240" y="168"/>
                </a:lnTo>
                <a:lnTo>
                  <a:pt x="240" y="168"/>
                </a:lnTo>
                <a:lnTo>
                  <a:pt x="240" y="168"/>
                </a:lnTo>
                <a:lnTo>
                  <a:pt x="240" y="168"/>
                </a:lnTo>
                <a:lnTo>
                  <a:pt x="240" y="168"/>
                </a:lnTo>
                <a:lnTo>
                  <a:pt x="240" y="168"/>
                </a:lnTo>
                <a:lnTo>
                  <a:pt x="240" y="168"/>
                </a:lnTo>
                <a:lnTo>
                  <a:pt x="240" y="168"/>
                </a:lnTo>
                <a:lnTo>
                  <a:pt x="240" y="162"/>
                </a:lnTo>
                <a:lnTo>
                  <a:pt x="240" y="162"/>
                </a:lnTo>
                <a:lnTo>
                  <a:pt x="240" y="168"/>
                </a:lnTo>
                <a:lnTo>
                  <a:pt x="240" y="168"/>
                </a:lnTo>
                <a:lnTo>
                  <a:pt x="240" y="168"/>
                </a:lnTo>
                <a:lnTo>
                  <a:pt x="240" y="168"/>
                </a:lnTo>
                <a:lnTo>
                  <a:pt x="234" y="168"/>
                </a:lnTo>
                <a:lnTo>
                  <a:pt x="234" y="162"/>
                </a:lnTo>
                <a:lnTo>
                  <a:pt x="234" y="162"/>
                </a:lnTo>
                <a:lnTo>
                  <a:pt x="234" y="162"/>
                </a:lnTo>
                <a:lnTo>
                  <a:pt x="234" y="162"/>
                </a:lnTo>
                <a:lnTo>
                  <a:pt x="234" y="162"/>
                </a:lnTo>
                <a:lnTo>
                  <a:pt x="234" y="162"/>
                </a:lnTo>
                <a:lnTo>
                  <a:pt x="234" y="162"/>
                </a:lnTo>
                <a:lnTo>
                  <a:pt x="234" y="162"/>
                </a:lnTo>
                <a:lnTo>
                  <a:pt x="234" y="162"/>
                </a:lnTo>
                <a:lnTo>
                  <a:pt x="234" y="162"/>
                </a:lnTo>
                <a:lnTo>
                  <a:pt x="234" y="162"/>
                </a:lnTo>
                <a:lnTo>
                  <a:pt x="234" y="162"/>
                </a:lnTo>
                <a:lnTo>
                  <a:pt x="234" y="162"/>
                </a:lnTo>
                <a:lnTo>
                  <a:pt x="234" y="162"/>
                </a:lnTo>
                <a:lnTo>
                  <a:pt x="234" y="162"/>
                </a:lnTo>
                <a:lnTo>
                  <a:pt x="234" y="162"/>
                </a:lnTo>
                <a:lnTo>
                  <a:pt x="234" y="156"/>
                </a:lnTo>
                <a:lnTo>
                  <a:pt x="234" y="162"/>
                </a:lnTo>
                <a:lnTo>
                  <a:pt x="234" y="156"/>
                </a:lnTo>
                <a:lnTo>
                  <a:pt x="234" y="156"/>
                </a:lnTo>
                <a:lnTo>
                  <a:pt x="234" y="156"/>
                </a:lnTo>
                <a:lnTo>
                  <a:pt x="234" y="156"/>
                </a:lnTo>
                <a:lnTo>
                  <a:pt x="234" y="156"/>
                </a:lnTo>
                <a:lnTo>
                  <a:pt x="234" y="156"/>
                </a:lnTo>
                <a:lnTo>
                  <a:pt x="234" y="162"/>
                </a:lnTo>
                <a:lnTo>
                  <a:pt x="228" y="156"/>
                </a:lnTo>
                <a:lnTo>
                  <a:pt x="234" y="162"/>
                </a:lnTo>
                <a:lnTo>
                  <a:pt x="228" y="162"/>
                </a:lnTo>
                <a:lnTo>
                  <a:pt x="228" y="162"/>
                </a:lnTo>
                <a:lnTo>
                  <a:pt x="234" y="162"/>
                </a:lnTo>
                <a:lnTo>
                  <a:pt x="234" y="162"/>
                </a:lnTo>
                <a:lnTo>
                  <a:pt x="234" y="162"/>
                </a:lnTo>
                <a:lnTo>
                  <a:pt x="234" y="162"/>
                </a:lnTo>
                <a:lnTo>
                  <a:pt x="234" y="162"/>
                </a:lnTo>
                <a:lnTo>
                  <a:pt x="234" y="162"/>
                </a:lnTo>
                <a:lnTo>
                  <a:pt x="234" y="162"/>
                </a:lnTo>
                <a:lnTo>
                  <a:pt x="234" y="162"/>
                </a:lnTo>
                <a:lnTo>
                  <a:pt x="234" y="168"/>
                </a:lnTo>
                <a:lnTo>
                  <a:pt x="234" y="168"/>
                </a:lnTo>
                <a:lnTo>
                  <a:pt x="234" y="168"/>
                </a:lnTo>
                <a:lnTo>
                  <a:pt x="234" y="168"/>
                </a:lnTo>
                <a:lnTo>
                  <a:pt x="234" y="168"/>
                </a:lnTo>
                <a:lnTo>
                  <a:pt x="234" y="168"/>
                </a:lnTo>
                <a:lnTo>
                  <a:pt x="234" y="162"/>
                </a:lnTo>
                <a:lnTo>
                  <a:pt x="228" y="162"/>
                </a:lnTo>
                <a:lnTo>
                  <a:pt x="228" y="168"/>
                </a:lnTo>
                <a:lnTo>
                  <a:pt x="228" y="168"/>
                </a:lnTo>
                <a:lnTo>
                  <a:pt x="228" y="162"/>
                </a:lnTo>
                <a:lnTo>
                  <a:pt x="228" y="162"/>
                </a:lnTo>
                <a:lnTo>
                  <a:pt x="228" y="162"/>
                </a:lnTo>
                <a:lnTo>
                  <a:pt x="228" y="162"/>
                </a:lnTo>
                <a:lnTo>
                  <a:pt x="228" y="162"/>
                </a:lnTo>
                <a:lnTo>
                  <a:pt x="228" y="162"/>
                </a:lnTo>
                <a:lnTo>
                  <a:pt x="228" y="162"/>
                </a:lnTo>
                <a:lnTo>
                  <a:pt x="228" y="162"/>
                </a:lnTo>
                <a:lnTo>
                  <a:pt x="228" y="162"/>
                </a:lnTo>
                <a:lnTo>
                  <a:pt x="228" y="162"/>
                </a:lnTo>
                <a:lnTo>
                  <a:pt x="228" y="162"/>
                </a:lnTo>
                <a:lnTo>
                  <a:pt x="228" y="162"/>
                </a:lnTo>
                <a:lnTo>
                  <a:pt x="222" y="162"/>
                </a:lnTo>
                <a:lnTo>
                  <a:pt x="222" y="162"/>
                </a:lnTo>
                <a:lnTo>
                  <a:pt x="222" y="162"/>
                </a:lnTo>
                <a:lnTo>
                  <a:pt x="222" y="162"/>
                </a:lnTo>
                <a:lnTo>
                  <a:pt x="222" y="162"/>
                </a:lnTo>
                <a:lnTo>
                  <a:pt x="222" y="162"/>
                </a:lnTo>
                <a:lnTo>
                  <a:pt x="222" y="162"/>
                </a:lnTo>
                <a:lnTo>
                  <a:pt x="222" y="162"/>
                </a:lnTo>
                <a:lnTo>
                  <a:pt x="228" y="162"/>
                </a:lnTo>
                <a:lnTo>
                  <a:pt x="228" y="162"/>
                </a:lnTo>
                <a:lnTo>
                  <a:pt x="228" y="162"/>
                </a:lnTo>
                <a:lnTo>
                  <a:pt x="228" y="162"/>
                </a:lnTo>
                <a:lnTo>
                  <a:pt x="228" y="162"/>
                </a:lnTo>
                <a:lnTo>
                  <a:pt x="228" y="168"/>
                </a:lnTo>
                <a:lnTo>
                  <a:pt x="228" y="168"/>
                </a:lnTo>
                <a:lnTo>
                  <a:pt x="222" y="168"/>
                </a:lnTo>
                <a:lnTo>
                  <a:pt x="228" y="168"/>
                </a:lnTo>
                <a:lnTo>
                  <a:pt x="222" y="168"/>
                </a:lnTo>
                <a:lnTo>
                  <a:pt x="222" y="168"/>
                </a:lnTo>
                <a:lnTo>
                  <a:pt x="222" y="168"/>
                </a:lnTo>
                <a:lnTo>
                  <a:pt x="222" y="168"/>
                </a:lnTo>
                <a:lnTo>
                  <a:pt x="222" y="168"/>
                </a:lnTo>
                <a:lnTo>
                  <a:pt x="222" y="162"/>
                </a:lnTo>
                <a:lnTo>
                  <a:pt x="222" y="168"/>
                </a:lnTo>
                <a:lnTo>
                  <a:pt x="222" y="162"/>
                </a:lnTo>
                <a:lnTo>
                  <a:pt x="222" y="162"/>
                </a:lnTo>
                <a:lnTo>
                  <a:pt x="222" y="168"/>
                </a:lnTo>
                <a:lnTo>
                  <a:pt x="222" y="162"/>
                </a:lnTo>
                <a:lnTo>
                  <a:pt x="222" y="168"/>
                </a:lnTo>
                <a:lnTo>
                  <a:pt x="222" y="168"/>
                </a:lnTo>
                <a:lnTo>
                  <a:pt x="222" y="168"/>
                </a:lnTo>
                <a:lnTo>
                  <a:pt x="222" y="168"/>
                </a:lnTo>
                <a:lnTo>
                  <a:pt x="216" y="168"/>
                </a:lnTo>
                <a:lnTo>
                  <a:pt x="222" y="168"/>
                </a:lnTo>
                <a:lnTo>
                  <a:pt x="222" y="168"/>
                </a:lnTo>
                <a:lnTo>
                  <a:pt x="222" y="174"/>
                </a:lnTo>
                <a:lnTo>
                  <a:pt x="222" y="168"/>
                </a:lnTo>
                <a:lnTo>
                  <a:pt x="222" y="174"/>
                </a:lnTo>
                <a:lnTo>
                  <a:pt x="222" y="168"/>
                </a:lnTo>
                <a:lnTo>
                  <a:pt x="222" y="174"/>
                </a:lnTo>
                <a:lnTo>
                  <a:pt x="222" y="174"/>
                </a:lnTo>
                <a:lnTo>
                  <a:pt x="222" y="174"/>
                </a:lnTo>
                <a:lnTo>
                  <a:pt x="222" y="174"/>
                </a:lnTo>
                <a:lnTo>
                  <a:pt x="228" y="174"/>
                </a:lnTo>
                <a:lnTo>
                  <a:pt x="222" y="174"/>
                </a:lnTo>
                <a:lnTo>
                  <a:pt x="228" y="174"/>
                </a:lnTo>
                <a:lnTo>
                  <a:pt x="228" y="174"/>
                </a:lnTo>
                <a:lnTo>
                  <a:pt x="222" y="174"/>
                </a:lnTo>
                <a:lnTo>
                  <a:pt x="222" y="174"/>
                </a:lnTo>
                <a:lnTo>
                  <a:pt x="222" y="174"/>
                </a:lnTo>
                <a:lnTo>
                  <a:pt x="222" y="174"/>
                </a:lnTo>
                <a:lnTo>
                  <a:pt x="222" y="174"/>
                </a:lnTo>
                <a:lnTo>
                  <a:pt x="222" y="174"/>
                </a:lnTo>
                <a:lnTo>
                  <a:pt x="222" y="174"/>
                </a:lnTo>
                <a:lnTo>
                  <a:pt x="222" y="180"/>
                </a:lnTo>
                <a:lnTo>
                  <a:pt x="222" y="180"/>
                </a:lnTo>
                <a:lnTo>
                  <a:pt x="222" y="180"/>
                </a:lnTo>
                <a:lnTo>
                  <a:pt x="222" y="180"/>
                </a:lnTo>
                <a:lnTo>
                  <a:pt x="222" y="180"/>
                </a:lnTo>
                <a:lnTo>
                  <a:pt x="222" y="180"/>
                </a:lnTo>
                <a:lnTo>
                  <a:pt x="222" y="180"/>
                </a:lnTo>
                <a:lnTo>
                  <a:pt x="228" y="180"/>
                </a:lnTo>
                <a:lnTo>
                  <a:pt x="228" y="180"/>
                </a:lnTo>
                <a:lnTo>
                  <a:pt x="228" y="180"/>
                </a:lnTo>
                <a:lnTo>
                  <a:pt x="228" y="180"/>
                </a:lnTo>
                <a:lnTo>
                  <a:pt x="228" y="180"/>
                </a:lnTo>
                <a:lnTo>
                  <a:pt x="228" y="180"/>
                </a:lnTo>
                <a:lnTo>
                  <a:pt x="228" y="180"/>
                </a:lnTo>
                <a:lnTo>
                  <a:pt x="228" y="180"/>
                </a:lnTo>
                <a:lnTo>
                  <a:pt x="228" y="180"/>
                </a:lnTo>
                <a:lnTo>
                  <a:pt x="228" y="180"/>
                </a:lnTo>
                <a:lnTo>
                  <a:pt x="222" y="180"/>
                </a:lnTo>
                <a:lnTo>
                  <a:pt x="222" y="180"/>
                </a:lnTo>
                <a:lnTo>
                  <a:pt x="222" y="180"/>
                </a:lnTo>
                <a:lnTo>
                  <a:pt x="228" y="180"/>
                </a:lnTo>
                <a:lnTo>
                  <a:pt x="228" y="180"/>
                </a:lnTo>
                <a:lnTo>
                  <a:pt x="228" y="186"/>
                </a:lnTo>
                <a:lnTo>
                  <a:pt x="228" y="186"/>
                </a:lnTo>
                <a:lnTo>
                  <a:pt x="228" y="186"/>
                </a:lnTo>
                <a:lnTo>
                  <a:pt x="228" y="186"/>
                </a:lnTo>
                <a:lnTo>
                  <a:pt x="228" y="186"/>
                </a:lnTo>
                <a:lnTo>
                  <a:pt x="228" y="180"/>
                </a:lnTo>
                <a:lnTo>
                  <a:pt x="228" y="180"/>
                </a:lnTo>
                <a:lnTo>
                  <a:pt x="228" y="186"/>
                </a:lnTo>
                <a:lnTo>
                  <a:pt x="228" y="186"/>
                </a:lnTo>
                <a:lnTo>
                  <a:pt x="228" y="186"/>
                </a:lnTo>
                <a:lnTo>
                  <a:pt x="228" y="186"/>
                </a:lnTo>
                <a:lnTo>
                  <a:pt x="228" y="186"/>
                </a:lnTo>
                <a:lnTo>
                  <a:pt x="234" y="186"/>
                </a:lnTo>
                <a:lnTo>
                  <a:pt x="228" y="186"/>
                </a:lnTo>
                <a:lnTo>
                  <a:pt x="228" y="186"/>
                </a:lnTo>
                <a:lnTo>
                  <a:pt x="228" y="186"/>
                </a:lnTo>
                <a:lnTo>
                  <a:pt x="228" y="186"/>
                </a:lnTo>
                <a:lnTo>
                  <a:pt x="228" y="186"/>
                </a:lnTo>
                <a:lnTo>
                  <a:pt x="228" y="186"/>
                </a:lnTo>
                <a:lnTo>
                  <a:pt x="228" y="186"/>
                </a:lnTo>
                <a:lnTo>
                  <a:pt x="228" y="186"/>
                </a:lnTo>
                <a:lnTo>
                  <a:pt x="228" y="192"/>
                </a:lnTo>
                <a:lnTo>
                  <a:pt x="234" y="192"/>
                </a:lnTo>
                <a:lnTo>
                  <a:pt x="228" y="186"/>
                </a:lnTo>
                <a:lnTo>
                  <a:pt x="228" y="186"/>
                </a:lnTo>
                <a:lnTo>
                  <a:pt x="228" y="192"/>
                </a:lnTo>
                <a:lnTo>
                  <a:pt x="228" y="186"/>
                </a:lnTo>
                <a:lnTo>
                  <a:pt x="228" y="186"/>
                </a:lnTo>
                <a:lnTo>
                  <a:pt x="228" y="186"/>
                </a:lnTo>
                <a:lnTo>
                  <a:pt x="228" y="186"/>
                </a:lnTo>
                <a:lnTo>
                  <a:pt x="228" y="186"/>
                </a:lnTo>
                <a:lnTo>
                  <a:pt x="228" y="186"/>
                </a:lnTo>
                <a:lnTo>
                  <a:pt x="228" y="186"/>
                </a:lnTo>
                <a:lnTo>
                  <a:pt x="228" y="186"/>
                </a:lnTo>
                <a:lnTo>
                  <a:pt x="222" y="186"/>
                </a:lnTo>
                <a:lnTo>
                  <a:pt x="222" y="186"/>
                </a:lnTo>
                <a:lnTo>
                  <a:pt x="222" y="186"/>
                </a:lnTo>
                <a:lnTo>
                  <a:pt x="222" y="186"/>
                </a:lnTo>
                <a:lnTo>
                  <a:pt x="222" y="186"/>
                </a:lnTo>
                <a:lnTo>
                  <a:pt x="222" y="186"/>
                </a:lnTo>
                <a:lnTo>
                  <a:pt x="222" y="186"/>
                </a:lnTo>
                <a:lnTo>
                  <a:pt x="222" y="186"/>
                </a:lnTo>
                <a:lnTo>
                  <a:pt x="222" y="186"/>
                </a:lnTo>
                <a:lnTo>
                  <a:pt x="222" y="186"/>
                </a:lnTo>
                <a:lnTo>
                  <a:pt x="222" y="186"/>
                </a:lnTo>
                <a:lnTo>
                  <a:pt x="222" y="186"/>
                </a:lnTo>
                <a:lnTo>
                  <a:pt x="222" y="186"/>
                </a:lnTo>
                <a:lnTo>
                  <a:pt x="222" y="186"/>
                </a:lnTo>
                <a:lnTo>
                  <a:pt x="222" y="186"/>
                </a:lnTo>
                <a:lnTo>
                  <a:pt x="222" y="186"/>
                </a:lnTo>
                <a:lnTo>
                  <a:pt x="222" y="186"/>
                </a:lnTo>
                <a:lnTo>
                  <a:pt x="222" y="186"/>
                </a:lnTo>
                <a:lnTo>
                  <a:pt x="222" y="186"/>
                </a:lnTo>
                <a:lnTo>
                  <a:pt x="222" y="192"/>
                </a:lnTo>
                <a:lnTo>
                  <a:pt x="222" y="186"/>
                </a:lnTo>
                <a:lnTo>
                  <a:pt x="222" y="186"/>
                </a:lnTo>
                <a:lnTo>
                  <a:pt x="222" y="192"/>
                </a:lnTo>
                <a:lnTo>
                  <a:pt x="222" y="192"/>
                </a:lnTo>
                <a:lnTo>
                  <a:pt x="222" y="192"/>
                </a:lnTo>
                <a:lnTo>
                  <a:pt x="222" y="192"/>
                </a:lnTo>
                <a:lnTo>
                  <a:pt x="222" y="192"/>
                </a:lnTo>
                <a:lnTo>
                  <a:pt x="222" y="192"/>
                </a:lnTo>
                <a:lnTo>
                  <a:pt x="222" y="192"/>
                </a:lnTo>
                <a:lnTo>
                  <a:pt x="222" y="192"/>
                </a:lnTo>
                <a:lnTo>
                  <a:pt x="222" y="186"/>
                </a:lnTo>
                <a:lnTo>
                  <a:pt x="216" y="186"/>
                </a:lnTo>
                <a:lnTo>
                  <a:pt x="216" y="192"/>
                </a:lnTo>
                <a:lnTo>
                  <a:pt x="222" y="186"/>
                </a:lnTo>
                <a:lnTo>
                  <a:pt x="222" y="192"/>
                </a:lnTo>
                <a:lnTo>
                  <a:pt x="222" y="192"/>
                </a:lnTo>
                <a:lnTo>
                  <a:pt x="222" y="192"/>
                </a:lnTo>
                <a:lnTo>
                  <a:pt x="222" y="192"/>
                </a:lnTo>
                <a:lnTo>
                  <a:pt x="222" y="192"/>
                </a:lnTo>
                <a:lnTo>
                  <a:pt x="222" y="192"/>
                </a:lnTo>
                <a:lnTo>
                  <a:pt x="222" y="192"/>
                </a:lnTo>
                <a:lnTo>
                  <a:pt x="222" y="192"/>
                </a:lnTo>
                <a:lnTo>
                  <a:pt x="216" y="192"/>
                </a:lnTo>
                <a:lnTo>
                  <a:pt x="216" y="192"/>
                </a:lnTo>
                <a:lnTo>
                  <a:pt x="216" y="192"/>
                </a:lnTo>
                <a:lnTo>
                  <a:pt x="216" y="192"/>
                </a:lnTo>
                <a:lnTo>
                  <a:pt x="216" y="192"/>
                </a:lnTo>
                <a:lnTo>
                  <a:pt x="216" y="192"/>
                </a:lnTo>
                <a:lnTo>
                  <a:pt x="216" y="192"/>
                </a:lnTo>
                <a:lnTo>
                  <a:pt x="216" y="192"/>
                </a:lnTo>
                <a:lnTo>
                  <a:pt x="216" y="192"/>
                </a:lnTo>
                <a:lnTo>
                  <a:pt x="216" y="192"/>
                </a:lnTo>
                <a:lnTo>
                  <a:pt x="216" y="192"/>
                </a:lnTo>
                <a:lnTo>
                  <a:pt x="216" y="192"/>
                </a:lnTo>
                <a:lnTo>
                  <a:pt x="216" y="192"/>
                </a:lnTo>
                <a:lnTo>
                  <a:pt x="216" y="198"/>
                </a:lnTo>
                <a:lnTo>
                  <a:pt x="216" y="198"/>
                </a:lnTo>
                <a:lnTo>
                  <a:pt x="216" y="192"/>
                </a:lnTo>
                <a:lnTo>
                  <a:pt x="216" y="192"/>
                </a:lnTo>
                <a:lnTo>
                  <a:pt x="216" y="192"/>
                </a:lnTo>
                <a:lnTo>
                  <a:pt x="216" y="192"/>
                </a:lnTo>
                <a:lnTo>
                  <a:pt x="216" y="198"/>
                </a:lnTo>
                <a:lnTo>
                  <a:pt x="216" y="198"/>
                </a:lnTo>
                <a:lnTo>
                  <a:pt x="216" y="198"/>
                </a:lnTo>
                <a:lnTo>
                  <a:pt x="216" y="198"/>
                </a:lnTo>
                <a:lnTo>
                  <a:pt x="216" y="198"/>
                </a:lnTo>
                <a:lnTo>
                  <a:pt x="216" y="198"/>
                </a:lnTo>
                <a:lnTo>
                  <a:pt x="216" y="198"/>
                </a:lnTo>
                <a:lnTo>
                  <a:pt x="216" y="192"/>
                </a:lnTo>
                <a:lnTo>
                  <a:pt x="216" y="192"/>
                </a:lnTo>
                <a:lnTo>
                  <a:pt x="216" y="192"/>
                </a:lnTo>
                <a:lnTo>
                  <a:pt x="216" y="192"/>
                </a:lnTo>
                <a:lnTo>
                  <a:pt x="216" y="192"/>
                </a:lnTo>
                <a:lnTo>
                  <a:pt x="210" y="198"/>
                </a:lnTo>
                <a:lnTo>
                  <a:pt x="210" y="192"/>
                </a:lnTo>
                <a:lnTo>
                  <a:pt x="216" y="192"/>
                </a:lnTo>
                <a:lnTo>
                  <a:pt x="210" y="192"/>
                </a:lnTo>
                <a:lnTo>
                  <a:pt x="210" y="192"/>
                </a:lnTo>
                <a:lnTo>
                  <a:pt x="210" y="192"/>
                </a:lnTo>
                <a:lnTo>
                  <a:pt x="210" y="192"/>
                </a:lnTo>
                <a:lnTo>
                  <a:pt x="210" y="192"/>
                </a:lnTo>
                <a:lnTo>
                  <a:pt x="210" y="192"/>
                </a:lnTo>
                <a:lnTo>
                  <a:pt x="210" y="192"/>
                </a:lnTo>
                <a:lnTo>
                  <a:pt x="210" y="198"/>
                </a:lnTo>
                <a:lnTo>
                  <a:pt x="210" y="198"/>
                </a:lnTo>
                <a:lnTo>
                  <a:pt x="210" y="198"/>
                </a:lnTo>
                <a:lnTo>
                  <a:pt x="210" y="198"/>
                </a:lnTo>
                <a:lnTo>
                  <a:pt x="210" y="192"/>
                </a:lnTo>
                <a:lnTo>
                  <a:pt x="210" y="192"/>
                </a:lnTo>
                <a:lnTo>
                  <a:pt x="210" y="192"/>
                </a:lnTo>
                <a:lnTo>
                  <a:pt x="210" y="192"/>
                </a:lnTo>
                <a:lnTo>
                  <a:pt x="210" y="192"/>
                </a:lnTo>
                <a:lnTo>
                  <a:pt x="210" y="192"/>
                </a:lnTo>
                <a:lnTo>
                  <a:pt x="210" y="192"/>
                </a:lnTo>
                <a:lnTo>
                  <a:pt x="210" y="192"/>
                </a:lnTo>
                <a:lnTo>
                  <a:pt x="210" y="192"/>
                </a:lnTo>
                <a:lnTo>
                  <a:pt x="204" y="192"/>
                </a:lnTo>
                <a:lnTo>
                  <a:pt x="204" y="192"/>
                </a:lnTo>
                <a:lnTo>
                  <a:pt x="204" y="192"/>
                </a:lnTo>
                <a:lnTo>
                  <a:pt x="204" y="192"/>
                </a:lnTo>
                <a:lnTo>
                  <a:pt x="204" y="192"/>
                </a:lnTo>
                <a:lnTo>
                  <a:pt x="204" y="192"/>
                </a:lnTo>
                <a:lnTo>
                  <a:pt x="204" y="192"/>
                </a:lnTo>
                <a:lnTo>
                  <a:pt x="204" y="186"/>
                </a:lnTo>
                <a:lnTo>
                  <a:pt x="204" y="192"/>
                </a:lnTo>
                <a:lnTo>
                  <a:pt x="204" y="192"/>
                </a:lnTo>
                <a:lnTo>
                  <a:pt x="204" y="192"/>
                </a:lnTo>
                <a:lnTo>
                  <a:pt x="204" y="192"/>
                </a:lnTo>
                <a:lnTo>
                  <a:pt x="204" y="192"/>
                </a:lnTo>
                <a:lnTo>
                  <a:pt x="204" y="192"/>
                </a:lnTo>
                <a:lnTo>
                  <a:pt x="204" y="192"/>
                </a:lnTo>
                <a:lnTo>
                  <a:pt x="204" y="192"/>
                </a:lnTo>
                <a:lnTo>
                  <a:pt x="204" y="192"/>
                </a:lnTo>
                <a:lnTo>
                  <a:pt x="204" y="192"/>
                </a:lnTo>
                <a:lnTo>
                  <a:pt x="204" y="192"/>
                </a:lnTo>
                <a:lnTo>
                  <a:pt x="204" y="192"/>
                </a:lnTo>
                <a:lnTo>
                  <a:pt x="204" y="192"/>
                </a:lnTo>
                <a:lnTo>
                  <a:pt x="204" y="198"/>
                </a:lnTo>
                <a:lnTo>
                  <a:pt x="204" y="198"/>
                </a:lnTo>
                <a:lnTo>
                  <a:pt x="204" y="198"/>
                </a:lnTo>
                <a:lnTo>
                  <a:pt x="204" y="198"/>
                </a:lnTo>
                <a:lnTo>
                  <a:pt x="204" y="198"/>
                </a:lnTo>
                <a:lnTo>
                  <a:pt x="204" y="198"/>
                </a:lnTo>
                <a:lnTo>
                  <a:pt x="204" y="198"/>
                </a:lnTo>
                <a:lnTo>
                  <a:pt x="204" y="198"/>
                </a:lnTo>
                <a:lnTo>
                  <a:pt x="204" y="198"/>
                </a:lnTo>
                <a:lnTo>
                  <a:pt x="204" y="198"/>
                </a:lnTo>
                <a:lnTo>
                  <a:pt x="204" y="198"/>
                </a:lnTo>
                <a:lnTo>
                  <a:pt x="204" y="198"/>
                </a:lnTo>
                <a:lnTo>
                  <a:pt x="210" y="198"/>
                </a:lnTo>
                <a:lnTo>
                  <a:pt x="210" y="198"/>
                </a:lnTo>
                <a:lnTo>
                  <a:pt x="210" y="198"/>
                </a:lnTo>
                <a:lnTo>
                  <a:pt x="210" y="198"/>
                </a:lnTo>
                <a:lnTo>
                  <a:pt x="210" y="198"/>
                </a:lnTo>
                <a:lnTo>
                  <a:pt x="210" y="198"/>
                </a:lnTo>
                <a:lnTo>
                  <a:pt x="210" y="198"/>
                </a:lnTo>
                <a:lnTo>
                  <a:pt x="210" y="198"/>
                </a:lnTo>
                <a:lnTo>
                  <a:pt x="210" y="198"/>
                </a:lnTo>
                <a:lnTo>
                  <a:pt x="210" y="198"/>
                </a:lnTo>
                <a:lnTo>
                  <a:pt x="210" y="198"/>
                </a:lnTo>
                <a:lnTo>
                  <a:pt x="204" y="198"/>
                </a:lnTo>
                <a:lnTo>
                  <a:pt x="204" y="198"/>
                </a:lnTo>
                <a:lnTo>
                  <a:pt x="210" y="204"/>
                </a:lnTo>
                <a:lnTo>
                  <a:pt x="210" y="204"/>
                </a:lnTo>
                <a:lnTo>
                  <a:pt x="204" y="204"/>
                </a:lnTo>
                <a:lnTo>
                  <a:pt x="204" y="204"/>
                </a:lnTo>
                <a:lnTo>
                  <a:pt x="204" y="204"/>
                </a:lnTo>
                <a:lnTo>
                  <a:pt x="204" y="204"/>
                </a:lnTo>
                <a:lnTo>
                  <a:pt x="204" y="204"/>
                </a:lnTo>
                <a:lnTo>
                  <a:pt x="204" y="204"/>
                </a:lnTo>
                <a:lnTo>
                  <a:pt x="210" y="204"/>
                </a:lnTo>
                <a:lnTo>
                  <a:pt x="204" y="204"/>
                </a:lnTo>
                <a:lnTo>
                  <a:pt x="210" y="204"/>
                </a:lnTo>
                <a:lnTo>
                  <a:pt x="210" y="204"/>
                </a:lnTo>
                <a:lnTo>
                  <a:pt x="210" y="204"/>
                </a:lnTo>
                <a:lnTo>
                  <a:pt x="210" y="204"/>
                </a:lnTo>
                <a:lnTo>
                  <a:pt x="210" y="204"/>
                </a:lnTo>
                <a:lnTo>
                  <a:pt x="210" y="204"/>
                </a:lnTo>
                <a:lnTo>
                  <a:pt x="210" y="204"/>
                </a:lnTo>
                <a:lnTo>
                  <a:pt x="210" y="204"/>
                </a:lnTo>
                <a:lnTo>
                  <a:pt x="210" y="204"/>
                </a:lnTo>
                <a:lnTo>
                  <a:pt x="216" y="204"/>
                </a:lnTo>
                <a:lnTo>
                  <a:pt x="210" y="204"/>
                </a:lnTo>
                <a:lnTo>
                  <a:pt x="210" y="204"/>
                </a:lnTo>
                <a:lnTo>
                  <a:pt x="210" y="204"/>
                </a:lnTo>
                <a:lnTo>
                  <a:pt x="210" y="204"/>
                </a:lnTo>
                <a:lnTo>
                  <a:pt x="210" y="204"/>
                </a:lnTo>
                <a:lnTo>
                  <a:pt x="210" y="204"/>
                </a:lnTo>
                <a:lnTo>
                  <a:pt x="216" y="204"/>
                </a:lnTo>
                <a:lnTo>
                  <a:pt x="216" y="204"/>
                </a:lnTo>
                <a:lnTo>
                  <a:pt x="210" y="204"/>
                </a:lnTo>
                <a:lnTo>
                  <a:pt x="210" y="204"/>
                </a:lnTo>
                <a:lnTo>
                  <a:pt x="216" y="204"/>
                </a:lnTo>
                <a:lnTo>
                  <a:pt x="216" y="204"/>
                </a:lnTo>
                <a:lnTo>
                  <a:pt x="210" y="204"/>
                </a:lnTo>
                <a:lnTo>
                  <a:pt x="216" y="204"/>
                </a:lnTo>
                <a:lnTo>
                  <a:pt x="216" y="210"/>
                </a:lnTo>
                <a:lnTo>
                  <a:pt x="216" y="204"/>
                </a:lnTo>
                <a:lnTo>
                  <a:pt x="216" y="210"/>
                </a:lnTo>
                <a:lnTo>
                  <a:pt x="216" y="210"/>
                </a:lnTo>
                <a:lnTo>
                  <a:pt x="216" y="210"/>
                </a:lnTo>
                <a:lnTo>
                  <a:pt x="216" y="210"/>
                </a:lnTo>
                <a:lnTo>
                  <a:pt x="216" y="210"/>
                </a:lnTo>
                <a:lnTo>
                  <a:pt x="216" y="210"/>
                </a:lnTo>
                <a:lnTo>
                  <a:pt x="210" y="210"/>
                </a:lnTo>
                <a:lnTo>
                  <a:pt x="210" y="210"/>
                </a:lnTo>
                <a:lnTo>
                  <a:pt x="210" y="204"/>
                </a:lnTo>
                <a:lnTo>
                  <a:pt x="210" y="210"/>
                </a:lnTo>
                <a:lnTo>
                  <a:pt x="210" y="204"/>
                </a:lnTo>
                <a:lnTo>
                  <a:pt x="210" y="204"/>
                </a:lnTo>
                <a:lnTo>
                  <a:pt x="210" y="204"/>
                </a:lnTo>
                <a:lnTo>
                  <a:pt x="210" y="210"/>
                </a:lnTo>
                <a:lnTo>
                  <a:pt x="210" y="210"/>
                </a:lnTo>
                <a:lnTo>
                  <a:pt x="210" y="204"/>
                </a:lnTo>
                <a:lnTo>
                  <a:pt x="210" y="210"/>
                </a:lnTo>
                <a:lnTo>
                  <a:pt x="204" y="210"/>
                </a:lnTo>
                <a:lnTo>
                  <a:pt x="204" y="210"/>
                </a:lnTo>
                <a:lnTo>
                  <a:pt x="210" y="210"/>
                </a:lnTo>
                <a:lnTo>
                  <a:pt x="210" y="210"/>
                </a:lnTo>
                <a:lnTo>
                  <a:pt x="210" y="210"/>
                </a:lnTo>
                <a:lnTo>
                  <a:pt x="210" y="210"/>
                </a:lnTo>
                <a:lnTo>
                  <a:pt x="204" y="210"/>
                </a:lnTo>
                <a:lnTo>
                  <a:pt x="204" y="210"/>
                </a:lnTo>
                <a:lnTo>
                  <a:pt x="204" y="210"/>
                </a:lnTo>
                <a:lnTo>
                  <a:pt x="204" y="210"/>
                </a:lnTo>
                <a:lnTo>
                  <a:pt x="204" y="210"/>
                </a:lnTo>
                <a:lnTo>
                  <a:pt x="204" y="210"/>
                </a:lnTo>
                <a:lnTo>
                  <a:pt x="204" y="210"/>
                </a:lnTo>
                <a:lnTo>
                  <a:pt x="204" y="210"/>
                </a:lnTo>
                <a:lnTo>
                  <a:pt x="204" y="210"/>
                </a:lnTo>
                <a:lnTo>
                  <a:pt x="204" y="210"/>
                </a:lnTo>
                <a:lnTo>
                  <a:pt x="204" y="210"/>
                </a:lnTo>
                <a:lnTo>
                  <a:pt x="204" y="210"/>
                </a:lnTo>
                <a:lnTo>
                  <a:pt x="204" y="210"/>
                </a:lnTo>
                <a:lnTo>
                  <a:pt x="210" y="210"/>
                </a:lnTo>
                <a:lnTo>
                  <a:pt x="210" y="210"/>
                </a:lnTo>
                <a:lnTo>
                  <a:pt x="210" y="210"/>
                </a:lnTo>
                <a:lnTo>
                  <a:pt x="210" y="210"/>
                </a:lnTo>
                <a:lnTo>
                  <a:pt x="210" y="210"/>
                </a:lnTo>
                <a:lnTo>
                  <a:pt x="210" y="210"/>
                </a:lnTo>
                <a:lnTo>
                  <a:pt x="210" y="210"/>
                </a:lnTo>
                <a:lnTo>
                  <a:pt x="210" y="210"/>
                </a:lnTo>
                <a:lnTo>
                  <a:pt x="210" y="210"/>
                </a:lnTo>
                <a:lnTo>
                  <a:pt x="210" y="216"/>
                </a:lnTo>
                <a:lnTo>
                  <a:pt x="210" y="210"/>
                </a:lnTo>
                <a:lnTo>
                  <a:pt x="210" y="216"/>
                </a:lnTo>
                <a:lnTo>
                  <a:pt x="204" y="216"/>
                </a:lnTo>
                <a:lnTo>
                  <a:pt x="204" y="216"/>
                </a:lnTo>
                <a:lnTo>
                  <a:pt x="204" y="216"/>
                </a:lnTo>
                <a:lnTo>
                  <a:pt x="210" y="216"/>
                </a:lnTo>
                <a:lnTo>
                  <a:pt x="204" y="216"/>
                </a:lnTo>
                <a:lnTo>
                  <a:pt x="210" y="216"/>
                </a:lnTo>
                <a:lnTo>
                  <a:pt x="210" y="216"/>
                </a:lnTo>
                <a:lnTo>
                  <a:pt x="204" y="216"/>
                </a:lnTo>
                <a:lnTo>
                  <a:pt x="210" y="216"/>
                </a:lnTo>
                <a:lnTo>
                  <a:pt x="210" y="216"/>
                </a:lnTo>
                <a:lnTo>
                  <a:pt x="204" y="216"/>
                </a:lnTo>
                <a:lnTo>
                  <a:pt x="204" y="216"/>
                </a:lnTo>
                <a:lnTo>
                  <a:pt x="204" y="216"/>
                </a:lnTo>
                <a:lnTo>
                  <a:pt x="204" y="216"/>
                </a:lnTo>
                <a:lnTo>
                  <a:pt x="204" y="216"/>
                </a:lnTo>
                <a:lnTo>
                  <a:pt x="204" y="216"/>
                </a:lnTo>
                <a:lnTo>
                  <a:pt x="204" y="216"/>
                </a:lnTo>
                <a:lnTo>
                  <a:pt x="204" y="216"/>
                </a:lnTo>
                <a:lnTo>
                  <a:pt x="204" y="216"/>
                </a:lnTo>
                <a:lnTo>
                  <a:pt x="204" y="216"/>
                </a:lnTo>
                <a:lnTo>
                  <a:pt x="204" y="216"/>
                </a:lnTo>
                <a:lnTo>
                  <a:pt x="204" y="210"/>
                </a:lnTo>
                <a:lnTo>
                  <a:pt x="204" y="216"/>
                </a:lnTo>
                <a:lnTo>
                  <a:pt x="204" y="216"/>
                </a:lnTo>
                <a:lnTo>
                  <a:pt x="204" y="216"/>
                </a:lnTo>
                <a:lnTo>
                  <a:pt x="204" y="216"/>
                </a:lnTo>
                <a:lnTo>
                  <a:pt x="198" y="216"/>
                </a:lnTo>
                <a:lnTo>
                  <a:pt x="198" y="216"/>
                </a:lnTo>
                <a:lnTo>
                  <a:pt x="198" y="216"/>
                </a:lnTo>
                <a:lnTo>
                  <a:pt x="198" y="216"/>
                </a:lnTo>
                <a:lnTo>
                  <a:pt x="198" y="216"/>
                </a:lnTo>
                <a:lnTo>
                  <a:pt x="198" y="216"/>
                </a:lnTo>
                <a:lnTo>
                  <a:pt x="198" y="216"/>
                </a:lnTo>
                <a:lnTo>
                  <a:pt x="198" y="210"/>
                </a:lnTo>
                <a:lnTo>
                  <a:pt x="198" y="210"/>
                </a:lnTo>
                <a:lnTo>
                  <a:pt x="198" y="210"/>
                </a:lnTo>
                <a:lnTo>
                  <a:pt x="198" y="210"/>
                </a:lnTo>
                <a:lnTo>
                  <a:pt x="198" y="210"/>
                </a:lnTo>
                <a:lnTo>
                  <a:pt x="198" y="210"/>
                </a:lnTo>
                <a:lnTo>
                  <a:pt x="198" y="210"/>
                </a:lnTo>
                <a:lnTo>
                  <a:pt x="192" y="210"/>
                </a:lnTo>
                <a:lnTo>
                  <a:pt x="198" y="210"/>
                </a:lnTo>
                <a:lnTo>
                  <a:pt x="198" y="210"/>
                </a:lnTo>
                <a:lnTo>
                  <a:pt x="198" y="210"/>
                </a:lnTo>
                <a:lnTo>
                  <a:pt x="198" y="216"/>
                </a:lnTo>
                <a:lnTo>
                  <a:pt x="198" y="216"/>
                </a:lnTo>
                <a:lnTo>
                  <a:pt x="198" y="210"/>
                </a:lnTo>
                <a:lnTo>
                  <a:pt x="198" y="216"/>
                </a:lnTo>
                <a:lnTo>
                  <a:pt x="192" y="216"/>
                </a:lnTo>
                <a:lnTo>
                  <a:pt x="192" y="216"/>
                </a:lnTo>
                <a:lnTo>
                  <a:pt x="192" y="216"/>
                </a:lnTo>
                <a:lnTo>
                  <a:pt x="192" y="216"/>
                </a:lnTo>
                <a:lnTo>
                  <a:pt x="198" y="216"/>
                </a:lnTo>
                <a:lnTo>
                  <a:pt x="198" y="216"/>
                </a:lnTo>
                <a:lnTo>
                  <a:pt x="198" y="216"/>
                </a:lnTo>
                <a:lnTo>
                  <a:pt x="198" y="216"/>
                </a:lnTo>
                <a:lnTo>
                  <a:pt x="198" y="216"/>
                </a:lnTo>
                <a:lnTo>
                  <a:pt x="198" y="216"/>
                </a:lnTo>
                <a:lnTo>
                  <a:pt x="198" y="216"/>
                </a:lnTo>
                <a:lnTo>
                  <a:pt x="198" y="222"/>
                </a:lnTo>
                <a:lnTo>
                  <a:pt x="198" y="222"/>
                </a:lnTo>
                <a:lnTo>
                  <a:pt x="198" y="216"/>
                </a:lnTo>
                <a:lnTo>
                  <a:pt x="198" y="222"/>
                </a:lnTo>
                <a:lnTo>
                  <a:pt x="198" y="222"/>
                </a:lnTo>
                <a:lnTo>
                  <a:pt x="198" y="222"/>
                </a:lnTo>
                <a:lnTo>
                  <a:pt x="198" y="222"/>
                </a:lnTo>
                <a:lnTo>
                  <a:pt x="198" y="222"/>
                </a:lnTo>
                <a:lnTo>
                  <a:pt x="198" y="222"/>
                </a:lnTo>
                <a:lnTo>
                  <a:pt x="198" y="222"/>
                </a:lnTo>
                <a:lnTo>
                  <a:pt x="198" y="222"/>
                </a:lnTo>
                <a:lnTo>
                  <a:pt x="198" y="222"/>
                </a:lnTo>
                <a:lnTo>
                  <a:pt x="198" y="222"/>
                </a:lnTo>
                <a:lnTo>
                  <a:pt x="198" y="222"/>
                </a:lnTo>
                <a:lnTo>
                  <a:pt x="198" y="228"/>
                </a:lnTo>
                <a:lnTo>
                  <a:pt x="198" y="228"/>
                </a:lnTo>
                <a:lnTo>
                  <a:pt x="198" y="228"/>
                </a:lnTo>
                <a:lnTo>
                  <a:pt x="198" y="228"/>
                </a:lnTo>
                <a:lnTo>
                  <a:pt x="198" y="228"/>
                </a:lnTo>
                <a:lnTo>
                  <a:pt x="198" y="228"/>
                </a:lnTo>
                <a:lnTo>
                  <a:pt x="198" y="228"/>
                </a:lnTo>
                <a:lnTo>
                  <a:pt x="198" y="228"/>
                </a:lnTo>
                <a:lnTo>
                  <a:pt x="198" y="222"/>
                </a:lnTo>
                <a:lnTo>
                  <a:pt x="198" y="222"/>
                </a:lnTo>
                <a:lnTo>
                  <a:pt x="198" y="222"/>
                </a:lnTo>
                <a:lnTo>
                  <a:pt x="198" y="222"/>
                </a:lnTo>
                <a:lnTo>
                  <a:pt x="198" y="228"/>
                </a:lnTo>
                <a:lnTo>
                  <a:pt x="192" y="228"/>
                </a:lnTo>
                <a:lnTo>
                  <a:pt x="198" y="222"/>
                </a:lnTo>
                <a:lnTo>
                  <a:pt x="192" y="222"/>
                </a:lnTo>
                <a:lnTo>
                  <a:pt x="198" y="222"/>
                </a:lnTo>
                <a:lnTo>
                  <a:pt x="198" y="222"/>
                </a:lnTo>
                <a:lnTo>
                  <a:pt x="192" y="222"/>
                </a:lnTo>
                <a:lnTo>
                  <a:pt x="192" y="222"/>
                </a:lnTo>
                <a:lnTo>
                  <a:pt x="192" y="222"/>
                </a:lnTo>
                <a:lnTo>
                  <a:pt x="192" y="222"/>
                </a:lnTo>
                <a:lnTo>
                  <a:pt x="192" y="222"/>
                </a:lnTo>
                <a:lnTo>
                  <a:pt x="192" y="222"/>
                </a:lnTo>
                <a:lnTo>
                  <a:pt x="192" y="222"/>
                </a:lnTo>
                <a:lnTo>
                  <a:pt x="192" y="222"/>
                </a:lnTo>
                <a:lnTo>
                  <a:pt x="192" y="228"/>
                </a:lnTo>
                <a:lnTo>
                  <a:pt x="192" y="228"/>
                </a:lnTo>
                <a:lnTo>
                  <a:pt x="192" y="228"/>
                </a:lnTo>
                <a:lnTo>
                  <a:pt x="192" y="222"/>
                </a:lnTo>
                <a:lnTo>
                  <a:pt x="192" y="222"/>
                </a:lnTo>
                <a:lnTo>
                  <a:pt x="192" y="222"/>
                </a:lnTo>
                <a:lnTo>
                  <a:pt x="192" y="222"/>
                </a:lnTo>
                <a:lnTo>
                  <a:pt x="186" y="222"/>
                </a:lnTo>
                <a:lnTo>
                  <a:pt x="186" y="222"/>
                </a:lnTo>
                <a:lnTo>
                  <a:pt x="186" y="222"/>
                </a:lnTo>
                <a:lnTo>
                  <a:pt x="186" y="222"/>
                </a:lnTo>
                <a:lnTo>
                  <a:pt x="186" y="222"/>
                </a:lnTo>
                <a:lnTo>
                  <a:pt x="186" y="228"/>
                </a:lnTo>
                <a:lnTo>
                  <a:pt x="186" y="228"/>
                </a:lnTo>
                <a:lnTo>
                  <a:pt x="186" y="228"/>
                </a:lnTo>
                <a:lnTo>
                  <a:pt x="186" y="228"/>
                </a:lnTo>
                <a:lnTo>
                  <a:pt x="186" y="222"/>
                </a:lnTo>
                <a:lnTo>
                  <a:pt x="186" y="228"/>
                </a:lnTo>
                <a:lnTo>
                  <a:pt x="186" y="228"/>
                </a:lnTo>
                <a:lnTo>
                  <a:pt x="186" y="228"/>
                </a:lnTo>
                <a:lnTo>
                  <a:pt x="186" y="228"/>
                </a:lnTo>
                <a:lnTo>
                  <a:pt x="186" y="228"/>
                </a:lnTo>
                <a:lnTo>
                  <a:pt x="192" y="228"/>
                </a:lnTo>
                <a:lnTo>
                  <a:pt x="192" y="228"/>
                </a:lnTo>
                <a:lnTo>
                  <a:pt x="186" y="228"/>
                </a:lnTo>
                <a:lnTo>
                  <a:pt x="186" y="228"/>
                </a:lnTo>
                <a:lnTo>
                  <a:pt x="192" y="228"/>
                </a:lnTo>
                <a:lnTo>
                  <a:pt x="192" y="228"/>
                </a:lnTo>
                <a:lnTo>
                  <a:pt x="192" y="228"/>
                </a:lnTo>
                <a:lnTo>
                  <a:pt x="186" y="228"/>
                </a:lnTo>
                <a:lnTo>
                  <a:pt x="186" y="234"/>
                </a:lnTo>
                <a:lnTo>
                  <a:pt x="186" y="234"/>
                </a:lnTo>
                <a:lnTo>
                  <a:pt x="186" y="234"/>
                </a:lnTo>
                <a:lnTo>
                  <a:pt x="186" y="234"/>
                </a:lnTo>
                <a:lnTo>
                  <a:pt x="186" y="234"/>
                </a:lnTo>
                <a:lnTo>
                  <a:pt x="192" y="234"/>
                </a:lnTo>
                <a:lnTo>
                  <a:pt x="192" y="234"/>
                </a:lnTo>
                <a:lnTo>
                  <a:pt x="192" y="234"/>
                </a:lnTo>
                <a:lnTo>
                  <a:pt x="192" y="234"/>
                </a:lnTo>
                <a:lnTo>
                  <a:pt x="192" y="234"/>
                </a:lnTo>
                <a:lnTo>
                  <a:pt x="192" y="234"/>
                </a:lnTo>
                <a:lnTo>
                  <a:pt x="192" y="234"/>
                </a:lnTo>
                <a:lnTo>
                  <a:pt x="192" y="234"/>
                </a:lnTo>
                <a:lnTo>
                  <a:pt x="192" y="234"/>
                </a:lnTo>
                <a:lnTo>
                  <a:pt x="192" y="234"/>
                </a:lnTo>
                <a:lnTo>
                  <a:pt x="192" y="234"/>
                </a:lnTo>
                <a:lnTo>
                  <a:pt x="192" y="234"/>
                </a:lnTo>
                <a:lnTo>
                  <a:pt x="192" y="234"/>
                </a:lnTo>
                <a:lnTo>
                  <a:pt x="192" y="234"/>
                </a:lnTo>
                <a:lnTo>
                  <a:pt x="198" y="234"/>
                </a:lnTo>
                <a:lnTo>
                  <a:pt x="192" y="234"/>
                </a:lnTo>
                <a:lnTo>
                  <a:pt x="198" y="234"/>
                </a:lnTo>
                <a:lnTo>
                  <a:pt x="192" y="234"/>
                </a:lnTo>
                <a:lnTo>
                  <a:pt x="192" y="240"/>
                </a:lnTo>
                <a:lnTo>
                  <a:pt x="192" y="240"/>
                </a:lnTo>
                <a:lnTo>
                  <a:pt x="192" y="240"/>
                </a:lnTo>
                <a:lnTo>
                  <a:pt x="192" y="240"/>
                </a:lnTo>
                <a:lnTo>
                  <a:pt x="192" y="240"/>
                </a:lnTo>
                <a:lnTo>
                  <a:pt x="192" y="240"/>
                </a:lnTo>
                <a:lnTo>
                  <a:pt x="192" y="240"/>
                </a:lnTo>
                <a:lnTo>
                  <a:pt x="192" y="240"/>
                </a:lnTo>
                <a:lnTo>
                  <a:pt x="192" y="240"/>
                </a:lnTo>
                <a:lnTo>
                  <a:pt x="192" y="240"/>
                </a:lnTo>
                <a:lnTo>
                  <a:pt x="192" y="240"/>
                </a:lnTo>
                <a:lnTo>
                  <a:pt x="192" y="240"/>
                </a:lnTo>
                <a:lnTo>
                  <a:pt x="192" y="240"/>
                </a:lnTo>
                <a:lnTo>
                  <a:pt x="198" y="240"/>
                </a:lnTo>
                <a:lnTo>
                  <a:pt x="198" y="234"/>
                </a:lnTo>
                <a:lnTo>
                  <a:pt x="198" y="240"/>
                </a:lnTo>
                <a:lnTo>
                  <a:pt x="198" y="240"/>
                </a:lnTo>
                <a:lnTo>
                  <a:pt x="198" y="234"/>
                </a:lnTo>
                <a:lnTo>
                  <a:pt x="198" y="234"/>
                </a:lnTo>
                <a:lnTo>
                  <a:pt x="198" y="240"/>
                </a:lnTo>
                <a:lnTo>
                  <a:pt x="198" y="240"/>
                </a:lnTo>
                <a:lnTo>
                  <a:pt x="198" y="240"/>
                </a:lnTo>
                <a:lnTo>
                  <a:pt x="198" y="240"/>
                </a:lnTo>
                <a:lnTo>
                  <a:pt x="198" y="240"/>
                </a:lnTo>
                <a:lnTo>
                  <a:pt x="198" y="240"/>
                </a:lnTo>
                <a:lnTo>
                  <a:pt x="198" y="240"/>
                </a:lnTo>
                <a:lnTo>
                  <a:pt x="198" y="240"/>
                </a:lnTo>
                <a:lnTo>
                  <a:pt x="198" y="240"/>
                </a:lnTo>
                <a:lnTo>
                  <a:pt x="198" y="240"/>
                </a:lnTo>
                <a:lnTo>
                  <a:pt x="192" y="240"/>
                </a:lnTo>
                <a:lnTo>
                  <a:pt x="198" y="240"/>
                </a:lnTo>
                <a:lnTo>
                  <a:pt x="198" y="240"/>
                </a:lnTo>
                <a:lnTo>
                  <a:pt x="198" y="240"/>
                </a:lnTo>
                <a:lnTo>
                  <a:pt x="198" y="240"/>
                </a:lnTo>
                <a:lnTo>
                  <a:pt x="198" y="240"/>
                </a:lnTo>
                <a:lnTo>
                  <a:pt x="198" y="246"/>
                </a:lnTo>
                <a:lnTo>
                  <a:pt x="198" y="240"/>
                </a:lnTo>
                <a:lnTo>
                  <a:pt x="198" y="246"/>
                </a:lnTo>
                <a:lnTo>
                  <a:pt x="198" y="246"/>
                </a:lnTo>
                <a:lnTo>
                  <a:pt x="198" y="246"/>
                </a:lnTo>
                <a:lnTo>
                  <a:pt x="198" y="246"/>
                </a:lnTo>
                <a:lnTo>
                  <a:pt x="198" y="246"/>
                </a:lnTo>
                <a:lnTo>
                  <a:pt x="198" y="246"/>
                </a:lnTo>
                <a:lnTo>
                  <a:pt x="204" y="246"/>
                </a:lnTo>
                <a:lnTo>
                  <a:pt x="198" y="246"/>
                </a:lnTo>
                <a:lnTo>
                  <a:pt x="198" y="246"/>
                </a:lnTo>
                <a:lnTo>
                  <a:pt x="198" y="246"/>
                </a:lnTo>
                <a:lnTo>
                  <a:pt x="198" y="246"/>
                </a:lnTo>
                <a:lnTo>
                  <a:pt x="198" y="246"/>
                </a:lnTo>
                <a:lnTo>
                  <a:pt x="198" y="246"/>
                </a:lnTo>
                <a:lnTo>
                  <a:pt x="198" y="246"/>
                </a:lnTo>
                <a:lnTo>
                  <a:pt x="198" y="246"/>
                </a:lnTo>
                <a:lnTo>
                  <a:pt x="198" y="246"/>
                </a:lnTo>
                <a:lnTo>
                  <a:pt x="198" y="246"/>
                </a:lnTo>
                <a:lnTo>
                  <a:pt x="198" y="246"/>
                </a:lnTo>
                <a:lnTo>
                  <a:pt x="192" y="246"/>
                </a:lnTo>
                <a:lnTo>
                  <a:pt x="192" y="246"/>
                </a:lnTo>
                <a:lnTo>
                  <a:pt x="192" y="246"/>
                </a:lnTo>
                <a:lnTo>
                  <a:pt x="192" y="252"/>
                </a:lnTo>
                <a:lnTo>
                  <a:pt x="192" y="252"/>
                </a:lnTo>
                <a:lnTo>
                  <a:pt x="192" y="252"/>
                </a:lnTo>
                <a:lnTo>
                  <a:pt x="192" y="252"/>
                </a:lnTo>
                <a:lnTo>
                  <a:pt x="192" y="252"/>
                </a:lnTo>
                <a:lnTo>
                  <a:pt x="192" y="252"/>
                </a:lnTo>
                <a:lnTo>
                  <a:pt x="192" y="252"/>
                </a:lnTo>
                <a:lnTo>
                  <a:pt x="186" y="252"/>
                </a:lnTo>
                <a:lnTo>
                  <a:pt x="186" y="246"/>
                </a:lnTo>
                <a:lnTo>
                  <a:pt x="186" y="246"/>
                </a:lnTo>
                <a:lnTo>
                  <a:pt x="186" y="246"/>
                </a:lnTo>
                <a:lnTo>
                  <a:pt x="186" y="252"/>
                </a:lnTo>
                <a:lnTo>
                  <a:pt x="186" y="252"/>
                </a:lnTo>
                <a:lnTo>
                  <a:pt x="186" y="252"/>
                </a:lnTo>
                <a:lnTo>
                  <a:pt x="180" y="252"/>
                </a:lnTo>
                <a:lnTo>
                  <a:pt x="174" y="252"/>
                </a:lnTo>
                <a:lnTo>
                  <a:pt x="174" y="258"/>
                </a:lnTo>
                <a:lnTo>
                  <a:pt x="168" y="258"/>
                </a:lnTo>
                <a:lnTo>
                  <a:pt x="168" y="258"/>
                </a:lnTo>
                <a:lnTo>
                  <a:pt x="162" y="258"/>
                </a:lnTo>
                <a:lnTo>
                  <a:pt x="162" y="258"/>
                </a:lnTo>
                <a:lnTo>
                  <a:pt x="162" y="258"/>
                </a:lnTo>
                <a:lnTo>
                  <a:pt x="162" y="258"/>
                </a:lnTo>
                <a:lnTo>
                  <a:pt x="156" y="258"/>
                </a:lnTo>
                <a:lnTo>
                  <a:pt x="156" y="264"/>
                </a:lnTo>
                <a:lnTo>
                  <a:pt x="156" y="264"/>
                </a:lnTo>
                <a:lnTo>
                  <a:pt x="156" y="258"/>
                </a:lnTo>
                <a:lnTo>
                  <a:pt x="156" y="258"/>
                </a:lnTo>
                <a:lnTo>
                  <a:pt x="156" y="258"/>
                </a:lnTo>
                <a:lnTo>
                  <a:pt x="156" y="258"/>
                </a:lnTo>
                <a:lnTo>
                  <a:pt x="156" y="258"/>
                </a:lnTo>
                <a:lnTo>
                  <a:pt x="150" y="258"/>
                </a:lnTo>
                <a:lnTo>
                  <a:pt x="150" y="258"/>
                </a:lnTo>
                <a:lnTo>
                  <a:pt x="150" y="258"/>
                </a:lnTo>
                <a:lnTo>
                  <a:pt x="150" y="258"/>
                </a:lnTo>
                <a:lnTo>
                  <a:pt x="150" y="258"/>
                </a:lnTo>
                <a:lnTo>
                  <a:pt x="150" y="258"/>
                </a:lnTo>
                <a:lnTo>
                  <a:pt x="150" y="258"/>
                </a:lnTo>
                <a:lnTo>
                  <a:pt x="150" y="252"/>
                </a:lnTo>
                <a:lnTo>
                  <a:pt x="150" y="252"/>
                </a:lnTo>
                <a:lnTo>
                  <a:pt x="150" y="252"/>
                </a:lnTo>
                <a:lnTo>
                  <a:pt x="150" y="252"/>
                </a:lnTo>
                <a:lnTo>
                  <a:pt x="150" y="252"/>
                </a:lnTo>
                <a:lnTo>
                  <a:pt x="150" y="252"/>
                </a:lnTo>
                <a:lnTo>
                  <a:pt x="150" y="252"/>
                </a:lnTo>
                <a:lnTo>
                  <a:pt x="144" y="252"/>
                </a:lnTo>
                <a:lnTo>
                  <a:pt x="144" y="246"/>
                </a:lnTo>
                <a:lnTo>
                  <a:pt x="150" y="246"/>
                </a:lnTo>
                <a:lnTo>
                  <a:pt x="150" y="246"/>
                </a:lnTo>
                <a:lnTo>
                  <a:pt x="144" y="246"/>
                </a:lnTo>
                <a:lnTo>
                  <a:pt x="144" y="246"/>
                </a:lnTo>
                <a:lnTo>
                  <a:pt x="144" y="246"/>
                </a:lnTo>
                <a:lnTo>
                  <a:pt x="144" y="246"/>
                </a:lnTo>
                <a:lnTo>
                  <a:pt x="144" y="246"/>
                </a:lnTo>
                <a:lnTo>
                  <a:pt x="144" y="246"/>
                </a:lnTo>
                <a:lnTo>
                  <a:pt x="144" y="246"/>
                </a:lnTo>
                <a:lnTo>
                  <a:pt x="138" y="246"/>
                </a:lnTo>
                <a:lnTo>
                  <a:pt x="138" y="246"/>
                </a:lnTo>
                <a:lnTo>
                  <a:pt x="138" y="246"/>
                </a:lnTo>
                <a:lnTo>
                  <a:pt x="138" y="246"/>
                </a:lnTo>
                <a:lnTo>
                  <a:pt x="138" y="246"/>
                </a:lnTo>
                <a:lnTo>
                  <a:pt x="138" y="246"/>
                </a:lnTo>
                <a:lnTo>
                  <a:pt x="138" y="246"/>
                </a:lnTo>
                <a:lnTo>
                  <a:pt x="138" y="246"/>
                </a:lnTo>
                <a:lnTo>
                  <a:pt x="138" y="246"/>
                </a:lnTo>
                <a:lnTo>
                  <a:pt x="138" y="246"/>
                </a:lnTo>
                <a:lnTo>
                  <a:pt x="138" y="246"/>
                </a:lnTo>
                <a:lnTo>
                  <a:pt x="138" y="246"/>
                </a:lnTo>
                <a:lnTo>
                  <a:pt x="132" y="246"/>
                </a:lnTo>
                <a:lnTo>
                  <a:pt x="132" y="252"/>
                </a:lnTo>
                <a:lnTo>
                  <a:pt x="132" y="252"/>
                </a:lnTo>
                <a:lnTo>
                  <a:pt x="132" y="252"/>
                </a:lnTo>
                <a:lnTo>
                  <a:pt x="132" y="252"/>
                </a:lnTo>
                <a:lnTo>
                  <a:pt x="132" y="252"/>
                </a:lnTo>
                <a:lnTo>
                  <a:pt x="132" y="252"/>
                </a:lnTo>
                <a:lnTo>
                  <a:pt x="132" y="252"/>
                </a:lnTo>
                <a:lnTo>
                  <a:pt x="132" y="252"/>
                </a:lnTo>
                <a:lnTo>
                  <a:pt x="132" y="252"/>
                </a:lnTo>
                <a:lnTo>
                  <a:pt x="126" y="258"/>
                </a:lnTo>
                <a:lnTo>
                  <a:pt x="126" y="258"/>
                </a:lnTo>
                <a:lnTo>
                  <a:pt x="126" y="258"/>
                </a:lnTo>
                <a:lnTo>
                  <a:pt x="126" y="258"/>
                </a:lnTo>
                <a:lnTo>
                  <a:pt x="126" y="258"/>
                </a:lnTo>
                <a:lnTo>
                  <a:pt x="126" y="258"/>
                </a:lnTo>
                <a:lnTo>
                  <a:pt x="126" y="258"/>
                </a:lnTo>
                <a:lnTo>
                  <a:pt x="126" y="264"/>
                </a:lnTo>
                <a:lnTo>
                  <a:pt x="126" y="264"/>
                </a:lnTo>
                <a:lnTo>
                  <a:pt x="126" y="264"/>
                </a:lnTo>
                <a:lnTo>
                  <a:pt x="126" y="264"/>
                </a:lnTo>
                <a:lnTo>
                  <a:pt x="120" y="264"/>
                </a:lnTo>
                <a:lnTo>
                  <a:pt x="120" y="264"/>
                </a:lnTo>
                <a:lnTo>
                  <a:pt x="120" y="264"/>
                </a:lnTo>
                <a:lnTo>
                  <a:pt x="120" y="264"/>
                </a:lnTo>
                <a:lnTo>
                  <a:pt x="120" y="264"/>
                </a:lnTo>
                <a:lnTo>
                  <a:pt x="120" y="264"/>
                </a:lnTo>
                <a:lnTo>
                  <a:pt x="120" y="264"/>
                </a:lnTo>
                <a:lnTo>
                  <a:pt x="120" y="264"/>
                </a:lnTo>
                <a:lnTo>
                  <a:pt x="120" y="264"/>
                </a:lnTo>
                <a:lnTo>
                  <a:pt x="120" y="264"/>
                </a:lnTo>
                <a:lnTo>
                  <a:pt x="114" y="270"/>
                </a:lnTo>
                <a:lnTo>
                  <a:pt x="114" y="270"/>
                </a:lnTo>
                <a:lnTo>
                  <a:pt x="114" y="270"/>
                </a:lnTo>
                <a:lnTo>
                  <a:pt x="114" y="270"/>
                </a:lnTo>
                <a:lnTo>
                  <a:pt x="114" y="270"/>
                </a:lnTo>
                <a:lnTo>
                  <a:pt x="114" y="270"/>
                </a:lnTo>
                <a:lnTo>
                  <a:pt x="114" y="270"/>
                </a:lnTo>
                <a:lnTo>
                  <a:pt x="114" y="270"/>
                </a:lnTo>
                <a:lnTo>
                  <a:pt x="108" y="270"/>
                </a:lnTo>
                <a:lnTo>
                  <a:pt x="108" y="264"/>
                </a:lnTo>
                <a:lnTo>
                  <a:pt x="108" y="264"/>
                </a:lnTo>
                <a:lnTo>
                  <a:pt x="108" y="264"/>
                </a:lnTo>
                <a:lnTo>
                  <a:pt x="108" y="264"/>
                </a:lnTo>
                <a:lnTo>
                  <a:pt x="108" y="264"/>
                </a:lnTo>
                <a:lnTo>
                  <a:pt x="108" y="264"/>
                </a:lnTo>
                <a:lnTo>
                  <a:pt x="108" y="264"/>
                </a:lnTo>
                <a:lnTo>
                  <a:pt x="108" y="264"/>
                </a:lnTo>
                <a:lnTo>
                  <a:pt x="108" y="264"/>
                </a:lnTo>
                <a:lnTo>
                  <a:pt x="108" y="270"/>
                </a:lnTo>
                <a:lnTo>
                  <a:pt x="108" y="270"/>
                </a:lnTo>
                <a:lnTo>
                  <a:pt x="108" y="270"/>
                </a:lnTo>
                <a:lnTo>
                  <a:pt x="108" y="270"/>
                </a:lnTo>
                <a:lnTo>
                  <a:pt x="102" y="270"/>
                </a:lnTo>
                <a:lnTo>
                  <a:pt x="102" y="270"/>
                </a:lnTo>
                <a:lnTo>
                  <a:pt x="102" y="270"/>
                </a:lnTo>
                <a:lnTo>
                  <a:pt x="102" y="270"/>
                </a:lnTo>
                <a:lnTo>
                  <a:pt x="102" y="270"/>
                </a:lnTo>
                <a:lnTo>
                  <a:pt x="102" y="270"/>
                </a:lnTo>
                <a:lnTo>
                  <a:pt x="102" y="270"/>
                </a:lnTo>
                <a:lnTo>
                  <a:pt x="96" y="270"/>
                </a:lnTo>
                <a:lnTo>
                  <a:pt x="96" y="270"/>
                </a:lnTo>
                <a:lnTo>
                  <a:pt x="96" y="270"/>
                </a:lnTo>
                <a:lnTo>
                  <a:pt x="96" y="270"/>
                </a:lnTo>
                <a:lnTo>
                  <a:pt x="96" y="270"/>
                </a:lnTo>
                <a:lnTo>
                  <a:pt x="96" y="270"/>
                </a:lnTo>
                <a:lnTo>
                  <a:pt x="96" y="270"/>
                </a:lnTo>
                <a:lnTo>
                  <a:pt x="96" y="270"/>
                </a:lnTo>
                <a:lnTo>
                  <a:pt x="96" y="270"/>
                </a:lnTo>
                <a:lnTo>
                  <a:pt x="96" y="270"/>
                </a:lnTo>
                <a:lnTo>
                  <a:pt x="96" y="270"/>
                </a:lnTo>
                <a:lnTo>
                  <a:pt x="90" y="270"/>
                </a:lnTo>
                <a:lnTo>
                  <a:pt x="96" y="276"/>
                </a:lnTo>
                <a:lnTo>
                  <a:pt x="90" y="276"/>
                </a:lnTo>
                <a:lnTo>
                  <a:pt x="90" y="276"/>
                </a:lnTo>
                <a:lnTo>
                  <a:pt x="90" y="276"/>
                </a:lnTo>
                <a:lnTo>
                  <a:pt x="90" y="276"/>
                </a:lnTo>
                <a:lnTo>
                  <a:pt x="84" y="276"/>
                </a:lnTo>
                <a:lnTo>
                  <a:pt x="84" y="276"/>
                </a:lnTo>
                <a:lnTo>
                  <a:pt x="84" y="276"/>
                </a:lnTo>
                <a:lnTo>
                  <a:pt x="84" y="270"/>
                </a:lnTo>
                <a:lnTo>
                  <a:pt x="84" y="270"/>
                </a:lnTo>
                <a:lnTo>
                  <a:pt x="84" y="270"/>
                </a:lnTo>
                <a:lnTo>
                  <a:pt x="84" y="270"/>
                </a:lnTo>
                <a:lnTo>
                  <a:pt x="78" y="270"/>
                </a:lnTo>
                <a:lnTo>
                  <a:pt x="78" y="270"/>
                </a:lnTo>
                <a:lnTo>
                  <a:pt x="78" y="270"/>
                </a:lnTo>
                <a:lnTo>
                  <a:pt x="78" y="270"/>
                </a:lnTo>
                <a:lnTo>
                  <a:pt x="78" y="270"/>
                </a:lnTo>
                <a:lnTo>
                  <a:pt x="78" y="270"/>
                </a:lnTo>
                <a:lnTo>
                  <a:pt x="78" y="270"/>
                </a:lnTo>
                <a:lnTo>
                  <a:pt x="78" y="270"/>
                </a:lnTo>
                <a:lnTo>
                  <a:pt x="78" y="270"/>
                </a:lnTo>
                <a:lnTo>
                  <a:pt x="72" y="270"/>
                </a:lnTo>
                <a:lnTo>
                  <a:pt x="72" y="270"/>
                </a:lnTo>
                <a:lnTo>
                  <a:pt x="72" y="270"/>
                </a:lnTo>
                <a:lnTo>
                  <a:pt x="72" y="270"/>
                </a:lnTo>
                <a:lnTo>
                  <a:pt x="72" y="270"/>
                </a:lnTo>
                <a:lnTo>
                  <a:pt x="72" y="270"/>
                </a:lnTo>
                <a:lnTo>
                  <a:pt x="66" y="270"/>
                </a:lnTo>
                <a:lnTo>
                  <a:pt x="66" y="264"/>
                </a:lnTo>
                <a:lnTo>
                  <a:pt x="66" y="264"/>
                </a:lnTo>
                <a:lnTo>
                  <a:pt x="66" y="270"/>
                </a:lnTo>
                <a:lnTo>
                  <a:pt x="66" y="264"/>
                </a:lnTo>
                <a:lnTo>
                  <a:pt x="66" y="270"/>
                </a:lnTo>
                <a:lnTo>
                  <a:pt x="66" y="270"/>
                </a:lnTo>
                <a:lnTo>
                  <a:pt x="60" y="270"/>
                </a:lnTo>
                <a:lnTo>
                  <a:pt x="60" y="270"/>
                </a:lnTo>
                <a:lnTo>
                  <a:pt x="60" y="264"/>
                </a:lnTo>
                <a:lnTo>
                  <a:pt x="60" y="264"/>
                </a:lnTo>
                <a:lnTo>
                  <a:pt x="60" y="270"/>
                </a:lnTo>
                <a:lnTo>
                  <a:pt x="60" y="270"/>
                </a:lnTo>
                <a:lnTo>
                  <a:pt x="60" y="270"/>
                </a:lnTo>
                <a:lnTo>
                  <a:pt x="60" y="270"/>
                </a:lnTo>
                <a:lnTo>
                  <a:pt x="54" y="270"/>
                </a:lnTo>
                <a:lnTo>
                  <a:pt x="54" y="270"/>
                </a:lnTo>
                <a:lnTo>
                  <a:pt x="54" y="270"/>
                </a:lnTo>
                <a:lnTo>
                  <a:pt x="54" y="270"/>
                </a:lnTo>
                <a:lnTo>
                  <a:pt x="54" y="270"/>
                </a:lnTo>
                <a:lnTo>
                  <a:pt x="54" y="264"/>
                </a:lnTo>
                <a:lnTo>
                  <a:pt x="54" y="264"/>
                </a:lnTo>
                <a:lnTo>
                  <a:pt x="48" y="264"/>
                </a:lnTo>
                <a:lnTo>
                  <a:pt x="48" y="264"/>
                </a:lnTo>
                <a:lnTo>
                  <a:pt x="48" y="264"/>
                </a:lnTo>
                <a:lnTo>
                  <a:pt x="48" y="264"/>
                </a:lnTo>
                <a:lnTo>
                  <a:pt x="48" y="264"/>
                </a:lnTo>
                <a:lnTo>
                  <a:pt x="48" y="264"/>
                </a:lnTo>
                <a:lnTo>
                  <a:pt x="42" y="264"/>
                </a:lnTo>
                <a:lnTo>
                  <a:pt x="42" y="270"/>
                </a:lnTo>
                <a:lnTo>
                  <a:pt x="42" y="264"/>
                </a:lnTo>
                <a:lnTo>
                  <a:pt x="42" y="264"/>
                </a:lnTo>
                <a:lnTo>
                  <a:pt x="42" y="264"/>
                </a:lnTo>
                <a:lnTo>
                  <a:pt x="42" y="264"/>
                </a:lnTo>
                <a:lnTo>
                  <a:pt x="42" y="264"/>
                </a:lnTo>
                <a:lnTo>
                  <a:pt x="42" y="264"/>
                </a:lnTo>
                <a:lnTo>
                  <a:pt x="42" y="264"/>
                </a:lnTo>
                <a:lnTo>
                  <a:pt x="42" y="264"/>
                </a:lnTo>
                <a:lnTo>
                  <a:pt x="42" y="264"/>
                </a:lnTo>
                <a:lnTo>
                  <a:pt x="42" y="264"/>
                </a:lnTo>
                <a:lnTo>
                  <a:pt x="42" y="264"/>
                </a:lnTo>
                <a:lnTo>
                  <a:pt x="42" y="270"/>
                </a:lnTo>
                <a:lnTo>
                  <a:pt x="36" y="270"/>
                </a:lnTo>
                <a:lnTo>
                  <a:pt x="36" y="270"/>
                </a:lnTo>
                <a:lnTo>
                  <a:pt x="30" y="270"/>
                </a:lnTo>
                <a:lnTo>
                  <a:pt x="30" y="264"/>
                </a:lnTo>
                <a:lnTo>
                  <a:pt x="30" y="270"/>
                </a:lnTo>
                <a:lnTo>
                  <a:pt x="30" y="264"/>
                </a:lnTo>
                <a:lnTo>
                  <a:pt x="30" y="264"/>
                </a:lnTo>
                <a:lnTo>
                  <a:pt x="30" y="264"/>
                </a:lnTo>
                <a:lnTo>
                  <a:pt x="30" y="264"/>
                </a:lnTo>
                <a:lnTo>
                  <a:pt x="30" y="264"/>
                </a:lnTo>
                <a:lnTo>
                  <a:pt x="30" y="264"/>
                </a:lnTo>
                <a:lnTo>
                  <a:pt x="30" y="264"/>
                </a:lnTo>
                <a:lnTo>
                  <a:pt x="24" y="270"/>
                </a:lnTo>
                <a:lnTo>
                  <a:pt x="24" y="270"/>
                </a:lnTo>
                <a:lnTo>
                  <a:pt x="24" y="270"/>
                </a:lnTo>
                <a:lnTo>
                  <a:pt x="24" y="270"/>
                </a:lnTo>
                <a:lnTo>
                  <a:pt x="24" y="270"/>
                </a:lnTo>
                <a:lnTo>
                  <a:pt x="24" y="264"/>
                </a:lnTo>
                <a:lnTo>
                  <a:pt x="24" y="270"/>
                </a:lnTo>
                <a:lnTo>
                  <a:pt x="24" y="264"/>
                </a:lnTo>
                <a:lnTo>
                  <a:pt x="24" y="264"/>
                </a:lnTo>
                <a:lnTo>
                  <a:pt x="24" y="264"/>
                </a:lnTo>
                <a:lnTo>
                  <a:pt x="18" y="264"/>
                </a:lnTo>
                <a:lnTo>
                  <a:pt x="18" y="264"/>
                </a:lnTo>
                <a:lnTo>
                  <a:pt x="18" y="264"/>
                </a:lnTo>
                <a:lnTo>
                  <a:pt x="18" y="264"/>
                </a:lnTo>
                <a:lnTo>
                  <a:pt x="18" y="264"/>
                </a:lnTo>
                <a:lnTo>
                  <a:pt x="18" y="264"/>
                </a:lnTo>
                <a:lnTo>
                  <a:pt x="18" y="264"/>
                </a:lnTo>
                <a:lnTo>
                  <a:pt x="18" y="264"/>
                </a:lnTo>
                <a:lnTo>
                  <a:pt x="18" y="264"/>
                </a:lnTo>
                <a:lnTo>
                  <a:pt x="18" y="264"/>
                </a:lnTo>
                <a:lnTo>
                  <a:pt x="18" y="264"/>
                </a:lnTo>
                <a:lnTo>
                  <a:pt x="12" y="264"/>
                </a:lnTo>
                <a:lnTo>
                  <a:pt x="12" y="264"/>
                </a:lnTo>
                <a:lnTo>
                  <a:pt x="12" y="264"/>
                </a:lnTo>
                <a:lnTo>
                  <a:pt x="12" y="264"/>
                </a:lnTo>
                <a:lnTo>
                  <a:pt x="12" y="258"/>
                </a:lnTo>
                <a:lnTo>
                  <a:pt x="6" y="264"/>
                </a:lnTo>
                <a:lnTo>
                  <a:pt x="6" y="264"/>
                </a:lnTo>
                <a:lnTo>
                  <a:pt x="6" y="258"/>
                </a:lnTo>
                <a:lnTo>
                  <a:pt x="6" y="264"/>
                </a:lnTo>
                <a:lnTo>
                  <a:pt x="6" y="258"/>
                </a:lnTo>
                <a:lnTo>
                  <a:pt x="6" y="264"/>
                </a:lnTo>
                <a:lnTo>
                  <a:pt x="6" y="264"/>
                </a:lnTo>
                <a:lnTo>
                  <a:pt x="6" y="258"/>
                </a:lnTo>
                <a:lnTo>
                  <a:pt x="0" y="258"/>
                </a:lnTo>
                <a:lnTo>
                  <a:pt x="0" y="25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71" name="Freeform 504"/>
          <p:cNvSpPr>
            <a:spLocks/>
          </p:cNvSpPr>
          <p:nvPr/>
        </p:nvSpPr>
        <p:spPr bwMode="auto">
          <a:xfrm>
            <a:off x="6190177" y="3614652"/>
            <a:ext cx="308354" cy="211995"/>
          </a:xfrm>
          <a:custGeom>
            <a:avLst/>
            <a:gdLst>
              <a:gd name="T0" fmla="*/ 12 w 288"/>
              <a:gd name="T1" fmla="*/ 60 h 198"/>
              <a:gd name="T2" fmla="*/ 30 w 288"/>
              <a:gd name="T3" fmla="*/ 54 h 198"/>
              <a:gd name="T4" fmla="*/ 36 w 288"/>
              <a:gd name="T5" fmla="*/ 42 h 198"/>
              <a:gd name="T6" fmla="*/ 42 w 288"/>
              <a:gd name="T7" fmla="*/ 30 h 198"/>
              <a:gd name="T8" fmla="*/ 54 w 288"/>
              <a:gd name="T9" fmla="*/ 24 h 198"/>
              <a:gd name="T10" fmla="*/ 60 w 288"/>
              <a:gd name="T11" fmla="*/ 24 h 198"/>
              <a:gd name="T12" fmla="*/ 66 w 288"/>
              <a:gd name="T13" fmla="*/ 0 h 198"/>
              <a:gd name="T14" fmla="*/ 78 w 288"/>
              <a:gd name="T15" fmla="*/ 6 h 198"/>
              <a:gd name="T16" fmla="*/ 84 w 288"/>
              <a:gd name="T17" fmla="*/ 36 h 198"/>
              <a:gd name="T18" fmla="*/ 114 w 288"/>
              <a:gd name="T19" fmla="*/ 36 h 198"/>
              <a:gd name="T20" fmla="*/ 126 w 288"/>
              <a:gd name="T21" fmla="*/ 48 h 198"/>
              <a:gd name="T22" fmla="*/ 108 w 288"/>
              <a:gd name="T23" fmla="*/ 66 h 198"/>
              <a:gd name="T24" fmla="*/ 108 w 288"/>
              <a:gd name="T25" fmla="*/ 78 h 198"/>
              <a:gd name="T26" fmla="*/ 126 w 288"/>
              <a:gd name="T27" fmla="*/ 84 h 198"/>
              <a:gd name="T28" fmla="*/ 150 w 288"/>
              <a:gd name="T29" fmla="*/ 90 h 198"/>
              <a:gd name="T30" fmla="*/ 168 w 288"/>
              <a:gd name="T31" fmla="*/ 90 h 198"/>
              <a:gd name="T32" fmla="*/ 180 w 288"/>
              <a:gd name="T33" fmla="*/ 102 h 198"/>
              <a:gd name="T34" fmla="*/ 186 w 288"/>
              <a:gd name="T35" fmla="*/ 108 h 198"/>
              <a:gd name="T36" fmla="*/ 198 w 288"/>
              <a:gd name="T37" fmla="*/ 108 h 198"/>
              <a:gd name="T38" fmla="*/ 204 w 288"/>
              <a:gd name="T39" fmla="*/ 114 h 198"/>
              <a:gd name="T40" fmla="*/ 210 w 288"/>
              <a:gd name="T41" fmla="*/ 114 h 198"/>
              <a:gd name="T42" fmla="*/ 216 w 288"/>
              <a:gd name="T43" fmla="*/ 120 h 198"/>
              <a:gd name="T44" fmla="*/ 222 w 288"/>
              <a:gd name="T45" fmla="*/ 126 h 198"/>
              <a:gd name="T46" fmla="*/ 228 w 288"/>
              <a:gd name="T47" fmla="*/ 126 h 198"/>
              <a:gd name="T48" fmla="*/ 234 w 288"/>
              <a:gd name="T49" fmla="*/ 126 h 198"/>
              <a:gd name="T50" fmla="*/ 240 w 288"/>
              <a:gd name="T51" fmla="*/ 132 h 198"/>
              <a:gd name="T52" fmla="*/ 246 w 288"/>
              <a:gd name="T53" fmla="*/ 132 h 198"/>
              <a:gd name="T54" fmla="*/ 258 w 288"/>
              <a:gd name="T55" fmla="*/ 138 h 198"/>
              <a:gd name="T56" fmla="*/ 264 w 288"/>
              <a:gd name="T57" fmla="*/ 144 h 198"/>
              <a:gd name="T58" fmla="*/ 276 w 288"/>
              <a:gd name="T59" fmla="*/ 144 h 198"/>
              <a:gd name="T60" fmla="*/ 282 w 288"/>
              <a:gd name="T61" fmla="*/ 156 h 198"/>
              <a:gd name="T62" fmla="*/ 270 w 288"/>
              <a:gd name="T63" fmla="*/ 162 h 198"/>
              <a:gd name="T64" fmla="*/ 252 w 288"/>
              <a:gd name="T65" fmla="*/ 156 h 198"/>
              <a:gd name="T66" fmla="*/ 222 w 288"/>
              <a:gd name="T67" fmla="*/ 156 h 198"/>
              <a:gd name="T68" fmla="*/ 204 w 288"/>
              <a:gd name="T69" fmla="*/ 156 h 198"/>
              <a:gd name="T70" fmla="*/ 198 w 288"/>
              <a:gd name="T71" fmla="*/ 162 h 198"/>
              <a:gd name="T72" fmla="*/ 216 w 288"/>
              <a:gd name="T73" fmla="*/ 174 h 198"/>
              <a:gd name="T74" fmla="*/ 198 w 288"/>
              <a:gd name="T75" fmla="*/ 174 h 198"/>
              <a:gd name="T76" fmla="*/ 168 w 288"/>
              <a:gd name="T77" fmla="*/ 174 h 198"/>
              <a:gd name="T78" fmla="*/ 168 w 288"/>
              <a:gd name="T79" fmla="*/ 180 h 198"/>
              <a:gd name="T80" fmla="*/ 168 w 288"/>
              <a:gd name="T81" fmla="*/ 186 h 198"/>
              <a:gd name="T82" fmla="*/ 162 w 288"/>
              <a:gd name="T83" fmla="*/ 198 h 198"/>
              <a:gd name="T84" fmla="*/ 156 w 288"/>
              <a:gd name="T85" fmla="*/ 192 h 198"/>
              <a:gd name="T86" fmla="*/ 150 w 288"/>
              <a:gd name="T87" fmla="*/ 180 h 198"/>
              <a:gd name="T88" fmla="*/ 150 w 288"/>
              <a:gd name="T89" fmla="*/ 180 h 198"/>
              <a:gd name="T90" fmla="*/ 144 w 288"/>
              <a:gd name="T91" fmla="*/ 174 h 198"/>
              <a:gd name="T92" fmla="*/ 138 w 288"/>
              <a:gd name="T93" fmla="*/ 168 h 198"/>
              <a:gd name="T94" fmla="*/ 126 w 288"/>
              <a:gd name="T95" fmla="*/ 162 h 198"/>
              <a:gd name="T96" fmla="*/ 120 w 288"/>
              <a:gd name="T97" fmla="*/ 162 h 198"/>
              <a:gd name="T98" fmla="*/ 114 w 288"/>
              <a:gd name="T99" fmla="*/ 156 h 198"/>
              <a:gd name="T100" fmla="*/ 108 w 288"/>
              <a:gd name="T101" fmla="*/ 156 h 198"/>
              <a:gd name="T102" fmla="*/ 60 w 288"/>
              <a:gd name="T103" fmla="*/ 144 h 198"/>
              <a:gd name="T104" fmla="*/ 42 w 288"/>
              <a:gd name="T105" fmla="*/ 150 h 198"/>
              <a:gd name="T106" fmla="*/ 54 w 288"/>
              <a:gd name="T107" fmla="*/ 132 h 198"/>
              <a:gd name="T108" fmla="*/ 42 w 288"/>
              <a:gd name="T109" fmla="*/ 114 h 198"/>
              <a:gd name="T110" fmla="*/ 30 w 288"/>
              <a:gd name="T111" fmla="*/ 96 h 198"/>
              <a:gd name="T112" fmla="*/ 36 w 288"/>
              <a:gd name="T113" fmla="*/ 78 h 198"/>
              <a:gd name="T114" fmla="*/ 24 w 288"/>
              <a:gd name="T115" fmla="*/ 66 h 198"/>
              <a:gd name="T116" fmla="*/ 12 w 288"/>
              <a:gd name="T117" fmla="*/ 66 h 198"/>
              <a:gd name="T118" fmla="*/ 6 w 288"/>
              <a:gd name="T119" fmla="*/ 60 h 1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88" h="198">
                <a:moveTo>
                  <a:pt x="0" y="54"/>
                </a:move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12" y="54"/>
                </a:lnTo>
                <a:lnTo>
                  <a:pt x="12" y="54"/>
                </a:lnTo>
                <a:lnTo>
                  <a:pt x="12" y="60"/>
                </a:lnTo>
                <a:lnTo>
                  <a:pt x="12" y="54"/>
                </a:lnTo>
                <a:lnTo>
                  <a:pt x="12" y="60"/>
                </a:lnTo>
                <a:lnTo>
                  <a:pt x="12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24" y="54"/>
                </a:lnTo>
                <a:lnTo>
                  <a:pt x="24" y="54"/>
                </a:lnTo>
                <a:lnTo>
                  <a:pt x="30" y="54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6" y="54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42" y="48"/>
                </a:lnTo>
                <a:lnTo>
                  <a:pt x="36" y="42"/>
                </a:lnTo>
                <a:lnTo>
                  <a:pt x="42" y="42"/>
                </a:lnTo>
                <a:lnTo>
                  <a:pt x="42" y="42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54" y="24"/>
                </a:lnTo>
                <a:lnTo>
                  <a:pt x="54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18"/>
                </a:lnTo>
                <a:lnTo>
                  <a:pt x="66" y="18"/>
                </a:lnTo>
                <a:lnTo>
                  <a:pt x="66" y="18"/>
                </a:lnTo>
                <a:lnTo>
                  <a:pt x="66" y="12"/>
                </a:lnTo>
                <a:lnTo>
                  <a:pt x="66" y="12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6"/>
                </a:lnTo>
                <a:lnTo>
                  <a:pt x="90" y="0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12"/>
                </a:lnTo>
                <a:lnTo>
                  <a:pt x="78" y="18"/>
                </a:lnTo>
                <a:lnTo>
                  <a:pt x="78" y="18"/>
                </a:lnTo>
                <a:lnTo>
                  <a:pt x="84" y="24"/>
                </a:lnTo>
                <a:lnTo>
                  <a:pt x="84" y="30"/>
                </a:lnTo>
                <a:lnTo>
                  <a:pt x="84" y="36"/>
                </a:lnTo>
                <a:lnTo>
                  <a:pt x="84" y="36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6" y="42"/>
                </a:lnTo>
                <a:lnTo>
                  <a:pt x="96" y="42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8" y="36"/>
                </a:lnTo>
                <a:lnTo>
                  <a:pt x="114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8"/>
                </a:lnTo>
                <a:lnTo>
                  <a:pt x="126" y="48"/>
                </a:lnTo>
                <a:lnTo>
                  <a:pt x="120" y="54"/>
                </a:lnTo>
                <a:lnTo>
                  <a:pt x="120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8" y="78"/>
                </a:lnTo>
                <a:lnTo>
                  <a:pt x="102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6" y="84"/>
                </a:lnTo>
                <a:lnTo>
                  <a:pt x="126" y="84"/>
                </a:lnTo>
                <a:lnTo>
                  <a:pt x="132" y="90"/>
                </a:lnTo>
                <a:lnTo>
                  <a:pt x="132" y="90"/>
                </a:lnTo>
                <a:lnTo>
                  <a:pt x="132" y="90"/>
                </a:lnTo>
                <a:lnTo>
                  <a:pt x="132" y="90"/>
                </a:lnTo>
                <a:lnTo>
                  <a:pt x="138" y="84"/>
                </a:lnTo>
                <a:lnTo>
                  <a:pt x="138" y="84"/>
                </a:lnTo>
                <a:lnTo>
                  <a:pt x="144" y="90"/>
                </a:lnTo>
                <a:lnTo>
                  <a:pt x="144" y="90"/>
                </a:lnTo>
                <a:lnTo>
                  <a:pt x="144" y="90"/>
                </a:lnTo>
                <a:lnTo>
                  <a:pt x="150" y="90"/>
                </a:lnTo>
                <a:lnTo>
                  <a:pt x="150" y="84"/>
                </a:lnTo>
                <a:lnTo>
                  <a:pt x="150" y="84"/>
                </a:lnTo>
                <a:lnTo>
                  <a:pt x="156" y="84"/>
                </a:lnTo>
                <a:lnTo>
                  <a:pt x="156" y="84"/>
                </a:lnTo>
                <a:lnTo>
                  <a:pt x="156" y="84"/>
                </a:lnTo>
                <a:lnTo>
                  <a:pt x="156" y="84"/>
                </a:lnTo>
                <a:lnTo>
                  <a:pt x="156" y="84"/>
                </a:lnTo>
                <a:lnTo>
                  <a:pt x="162" y="84"/>
                </a:lnTo>
                <a:lnTo>
                  <a:pt x="162" y="84"/>
                </a:lnTo>
                <a:lnTo>
                  <a:pt x="168" y="90"/>
                </a:lnTo>
                <a:lnTo>
                  <a:pt x="168" y="90"/>
                </a:lnTo>
                <a:lnTo>
                  <a:pt x="174" y="90"/>
                </a:lnTo>
                <a:lnTo>
                  <a:pt x="174" y="96"/>
                </a:lnTo>
                <a:lnTo>
                  <a:pt x="174" y="96"/>
                </a:lnTo>
                <a:lnTo>
                  <a:pt x="174" y="96"/>
                </a:lnTo>
                <a:lnTo>
                  <a:pt x="174" y="96"/>
                </a:lnTo>
                <a:lnTo>
                  <a:pt x="174" y="96"/>
                </a:lnTo>
                <a:lnTo>
                  <a:pt x="180" y="102"/>
                </a:lnTo>
                <a:lnTo>
                  <a:pt x="180" y="102"/>
                </a:lnTo>
                <a:lnTo>
                  <a:pt x="180" y="102"/>
                </a:lnTo>
                <a:lnTo>
                  <a:pt x="180" y="102"/>
                </a:lnTo>
                <a:lnTo>
                  <a:pt x="180" y="102"/>
                </a:lnTo>
                <a:lnTo>
                  <a:pt x="180" y="102"/>
                </a:lnTo>
                <a:lnTo>
                  <a:pt x="180" y="102"/>
                </a:lnTo>
                <a:lnTo>
                  <a:pt x="180" y="102"/>
                </a:lnTo>
                <a:lnTo>
                  <a:pt x="180" y="102"/>
                </a:lnTo>
                <a:lnTo>
                  <a:pt x="180" y="102"/>
                </a:lnTo>
                <a:lnTo>
                  <a:pt x="180" y="102"/>
                </a:lnTo>
                <a:lnTo>
                  <a:pt x="180" y="102"/>
                </a:lnTo>
                <a:lnTo>
                  <a:pt x="186" y="108"/>
                </a:lnTo>
                <a:lnTo>
                  <a:pt x="186" y="108"/>
                </a:lnTo>
                <a:lnTo>
                  <a:pt x="186" y="108"/>
                </a:lnTo>
                <a:lnTo>
                  <a:pt x="186" y="108"/>
                </a:lnTo>
                <a:lnTo>
                  <a:pt x="186" y="108"/>
                </a:lnTo>
                <a:lnTo>
                  <a:pt x="192" y="108"/>
                </a:lnTo>
                <a:lnTo>
                  <a:pt x="192" y="108"/>
                </a:lnTo>
                <a:lnTo>
                  <a:pt x="192" y="108"/>
                </a:lnTo>
                <a:lnTo>
                  <a:pt x="192" y="108"/>
                </a:lnTo>
                <a:lnTo>
                  <a:pt x="198" y="108"/>
                </a:lnTo>
                <a:lnTo>
                  <a:pt x="198" y="108"/>
                </a:lnTo>
                <a:lnTo>
                  <a:pt x="198" y="108"/>
                </a:lnTo>
                <a:lnTo>
                  <a:pt x="198" y="108"/>
                </a:lnTo>
                <a:lnTo>
                  <a:pt x="198" y="108"/>
                </a:lnTo>
                <a:lnTo>
                  <a:pt x="204" y="108"/>
                </a:lnTo>
                <a:lnTo>
                  <a:pt x="204" y="108"/>
                </a:lnTo>
                <a:lnTo>
                  <a:pt x="204" y="108"/>
                </a:lnTo>
                <a:lnTo>
                  <a:pt x="204" y="108"/>
                </a:lnTo>
                <a:lnTo>
                  <a:pt x="204" y="108"/>
                </a:lnTo>
                <a:lnTo>
                  <a:pt x="204" y="108"/>
                </a:lnTo>
                <a:lnTo>
                  <a:pt x="204" y="114"/>
                </a:lnTo>
                <a:lnTo>
                  <a:pt x="204" y="114"/>
                </a:lnTo>
                <a:lnTo>
                  <a:pt x="204" y="114"/>
                </a:lnTo>
                <a:lnTo>
                  <a:pt x="204" y="114"/>
                </a:lnTo>
                <a:lnTo>
                  <a:pt x="204" y="114"/>
                </a:lnTo>
                <a:lnTo>
                  <a:pt x="210" y="114"/>
                </a:lnTo>
                <a:lnTo>
                  <a:pt x="210" y="114"/>
                </a:lnTo>
                <a:lnTo>
                  <a:pt x="210" y="114"/>
                </a:lnTo>
                <a:lnTo>
                  <a:pt x="210" y="114"/>
                </a:lnTo>
                <a:lnTo>
                  <a:pt x="210" y="114"/>
                </a:lnTo>
                <a:lnTo>
                  <a:pt x="210" y="114"/>
                </a:lnTo>
                <a:lnTo>
                  <a:pt x="210" y="114"/>
                </a:lnTo>
                <a:lnTo>
                  <a:pt x="210" y="120"/>
                </a:lnTo>
                <a:lnTo>
                  <a:pt x="216" y="120"/>
                </a:lnTo>
                <a:lnTo>
                  <a:pt x="216" y="120"/>
                </a:lnTo>
                <a:lnTo>
                  <a:pt x="210" y="120"/>
                </a:lnTo>
                <a:lnTo>
                  <a:pt x="216" y="120"/>
                </a:lnTo>
                <a:lnTo>
                  <a:pt x="216" y="120"/>
                </a:lnTo>
                <a:lnTo>
                  <a:pt x="216" y="120"/>
                </a:lnTo>
                <a:lnTo>
                  <a:pt x="216" y="120"/>
                </a:lnTo>
                <a:lnTo>
                  <a:pt x="216" y="120"/>
                </a:lnTo>
                <a:lnTo>
                  <a:pt x="216" y="120"/>
                </a:lnTo>
                <a:lnTo>
                  <a:pt x="216" y="120"/>
                </a:lnTo>
                <a:lnTo>
                  <a:pt x="216" y="120"/>
                </a:lnTo>
                <a:lnTo>
                  <a:pt x="222" y="120"/>
                </a:lnTo>
                <a:lnTo>
                  <a:pt x="222" y="120"/>
                </a:lnTo>
                <a:lnTo>
                  <a:pt x="222" y="120"/>
                </a:lnTo>
                <a:lnTo>
                  <a:pt x="222" y="120"/>
                </a:lnTo>
                <a:lnTo>
                  <a:pt x="222" y="120"/>
                </a:lnTo>
                <a:lnTo>
                  <a:pt x="222" y="120"/>
                </a:lnTo>
                <a:lnTo>
                  <a:pt x="222" y="126"/>
                </a:lnTo>
                <a:lnTo>
                  <a:pt x="222" y="126"/>
                </a:lnTo>
                <a:lnTo>
                  <a:pt x="222" y="126"/>
                </a:lnTo>
                <a:lnTo>
                  <a:pt x="222" y="126"/>
                </a:lnTo>
                <a:lnTo>
                  <a:pt x="222" y="126"/>
                </a:lnTo>
                <a:lnTo>
                  <a:pt x="222" y="126"/>
                </a:lnTo>
                <a:lnTo>
                  <a:pt x="228" y="126"/>
                </a:lnTo>
                <a:lnTo>
                  <a:pt x="228" y="126"/>
                </a:lnTo>
                <a:lnTo>
                  <a:pt x="228" y="126"/>
                </a:lnTo>
                <a:lnTo>
                  <a:pt x="228" y="126"/>
                </a:lnTo>
                <a:lnTo>
                  <a:pt x="228" y="126"/>
                </a:lnTo>
                <a:lnTo>
                  <a:pt x="228" y="126"/>
                </a:lnTo>
                <a:lnTo>
                  <a:pt x="228" y="126"/>
                </a:lnTo>
                <a:lnTo>
                  <a:pt x="228" y="126"/>
                </a:lnTo>
                <a:lnTo>
                  <a:pt x="234" y="126"/>
                </a:lnTo>
                <a:lnTo>
                  <a:pt x="228" y="126"/>
                </a:lnTo>
                <a:lnTo>
                  <a:pt x="234" y="126"/>
                </a:lnTo>
                <a:lnTo>
                  <a:pt x="234" y="126"/>
                </a:lnTo>
                <a:lnTo>
                  <a:pt x="234" y="126"/>
                </a:lnTo>
                <a:lnTo>
                  <a:pt x="234" y="126"/>
                </a:lnTo>
                <a:lnTo>
                  <a:pt x="234" y="126"/>
                </a:lnTo>
                <a:lnTo>
                  <a:pt x="234" y="126"/>
                </a:lnTo>
                <a:lnTo>
                  <a:pt x="234" y="126"/>
                </a:lnTo>
                <a:lnTo>
                  <a:pt x="234" y="126"/>
                </a:lnTo>
                <a:lnTo>
                  <a:pt x="234" y="126"/>
                </a:lnTo>
                <a:lnTo>
                  <a:pt x="234" y="126"/>
                </a:lnTo>
                <a:lnTo>
                  <a:pt x="240" y="126"/>
                </a:lnTo>
                <a:lnTo>
                  <a:pt x="240" y="126"/>
                </a:lnTo>
                <a:lnTo>
                  <a:pt x="240" y="126"/>
                </a:lnTo>
                <a:lnTo>
                  <a:pt x="240" y="126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46" y="132"/>
                </a:lnTo>
                <a:lnTo>
                  <a:pt x="246" y="132"/>
                </a:lnTo>
                <a:lnTo>
                  <a:pt x="246" y="132"/>
                </a:lnTo>
                <a:lnTo>
                  <a:pt x="246" y="132"/>
                </a:lnTo>
                <a:lnTo>
                  <a:pt x="246" y="132"/>
                </a:lnTo>
                <a:lnTo>
                  <a:pt x="246" y="132"/>
                </a:lnTo>
                <a:lnTo>
                  <a:pt x="246" y="132"/>
                </a:lnTo>
                <a:lnTo>
                  <a:pt x="246" y="132"/>
                </a:lnTo>
                <a:lnTo>
                  <a:pt x="246" y="138"/>
                </a:lnTo>
                <a:lnTo>
                  <a:pt x="252" y="132"/>
                </a:lnTo>
                <a:lnTo>
                  <a:pt x="252" y="138"/>
                </a:lnTo>
                <a:lnTo>
                  <a:pt x="252" y="138"/>
                </a:lnTo>
                <a:lnTo>
                  <a:pt x="252" y="138"/>
                </a:lnTo>
                <a:lnTo>
                  <a:pt x="252" y="138"/>
                </a:lnTo>
                <a:lnTo>
                  <a:pt x="258" y="138"/>
                </a:lnTo>
                <a:lnTo>
                  <a:pt x="258" y="138"/>
                </a:lnTo>
                <a:lnTo>
                  <a:pt x="258" y="138"/>
                </a:lnTo>
                <a:lnTo>
                  <a:pt x="258" y="138"/>
                </a:lnTo>
                <a:lnTo>
                  <a:pt x="258" y="138"/>
                </a:lnTo>
                <a:lnTo>
                  <a:pt x="258" y="138"/>
                </a:lnTo>
                <a:lnTo>
                  <a:pt x="258" y="138"/>
                </a:lnTo>
                <a:lnTo>
                  <a:pt x="258" y="138"/>
                </a:lnTo>
                <a:lnTo>
                  <a:pt x="258" y="144"/>
                </a:lnTo>
                <a:lnTo>
                  <a:pt x="264" y="138"/>
                </a:lnTo>
                <a:lnTo>
                  <a:pt x="264" y="144"/>
                </a:lnTo>
                <a:lnTo>
                  <a:pt x="264" y="144"/>
                </a:lnTo>
                <a:lnTo>
                  <a:pt x="264" y="144"/>
                </a:lnTo>
                <a:lnTo>
                  <a:pt x="264" y="144"/>
                </a:lnTo>
                <a:lnTo>
                  <a:pt x="264" y="144"/>
                </a:lnTo>
                <a:lnTo>
                  <a:pt x="264" y="144"/>
                </a:lnTo>
                <a:lnTo>
                  <a:pt x="264" y="144"/>
                </a:lnTo>
                <a:lnTo>
                  <a:pt x="264" y="144"/>
                </a:lnTo>
                <a:lnTo>
                  <a:pt x="270" y="144"/>
                </a:lnTo>
                <a:lnTo>
                  <a:pt x="276" y="144"/>
                </a:lnTo>
                <a:lnTo>
                  <a:pt x="276" y="144"/>
                </a:lnTo>
                <a:lnTo>
                  <a:pt x="276" y="144"/>
                </a:lnTo>
                <a:lnTo>
                  <a:pt x="276" y="144"/>
                </a:lnTo>
                <a:lnTo>
                  <a:pt x="276" y="144"/>
                </a:lnTo>
                <a:lnTo>
                  <a:pt x="282" y="144"/>
                </a:lnTo>
                <a:lnTo>
                  <a:pt x="282" y="144"/>
                </a:lnTo>
                <a:lnTo>
                  <a:pt x="282" y="144"/>
                </a:lnTo>
                <a:lnTo>
                  <a:pt x="282" y="144"/>
                </a:lnTo>
                <a:lnTo>
                  <a:pt x="282" y="144"/>
                </a:lnTo>
                <a:lnTo>
                  <a:pt x="282" y="144"/>
                </a:lnTo>
                <a:lnTo>
                  <a:pt x="288" y="144"/>
                </a:lnTo>
                <a:lnTo>
                  <a:pt x="288" y="144"/>
                </a:lnTo>
                <a:lnTo>
                  <a:pt x="282" y="150"/>
                </a:lnTo>
                <a:lnTo>
                  <a:pt x="282" y="156"/>
                </a:lnTo>
                <a:lnTo>
                  <a:pt x="282" y="162"/>
                </a:lnTo>
                <a:lnTo>
                  <a:pt x="282" y="162"/>
                </a:lnTo>
                <a:lnTo>
                  <a:pt x="282" y="162"/>
                </a:lnTo>
                <a:lnTo>
                  <a:pt x="282" y="162"/>
                </a:lnTo>
                <a:lnTo>
                  <a:pt x="282" y="162"/>
                </a:lnTo>
                <a:lnTo>
                  <a:pt x="276" y="162"/>
                </a:lnTo>
                <a:lnTo>
                  <a:pt x="276" y="162"/>
                </a:lnTo>
                <a:lnTo>
                  <a:pt x="276" y="162"/>
                </a:lnTo>
                <a:lnTo>
                  <a:pt x="270" y="162"/>
                </a:lnTo>
                <a:lnTo>
                  <a:pt x="270" y="162"/>
                </a:lnTo>
                <a:lnTo>
                  <a:pt x="270" y="162"/>
                </a:lnTo>
                <a:lnTo>
                  <a:pt x="270" y="162"/>
                </a:lnTo>
                <a:lnTo>
                  <a:pt x="270" y="162"/>
                </a:lnTo>
                <a:lnTo>
                  <a:pt x="264" y="162"/>
                </a:lnTo>
                <a:lnTo>
                  <a:pt x="264" y="162"/>
                </a:lnTo>
                <a:lnTo>
                  <a:pt x="264" y="162"/>
                </a:lnTo>
                <a:lnTo>
                  <a:pt x="258" y="156"/>
                </a:lnTo>
                <a:lnTo>
                  <a:pt x="258" y="156"/>
                </a:lnTo>
                <a:lnTo>
                  <a:pt x="252" y="156"/>
                </a:lnTo>
                <a:lnTo>
                  <a:pt x="252" y="156"/>
                </a:lnTo>
                <a:lnTo>
                  <a:pt x="252" y="156"/>
                </a:lnTo>
                <a:lnTo>
                  <a:pt x="252" y="156"/>
                </a:lnTo>
                <a:lnTo>
                  <a:pt x="246" y="156"/>
                </a:lnTo>
                <a:lnTo>
                  <a:pt x="246" y="156"/>
                </a:lnTo>
                <a:lnTo>
                  <a:pt x="246" y="156"/>
                </a:lnTo>
                <a:lnTo>
                  <a:pt x="234" y="156"/>
                </a:lnTo>
                <a:lnTo>
                  <a:pt x="234" y="156"/>
                </a:lnTo>
                <a:lnTo>
                  <a:pt x="234" y="156"/>
                </a:lnTo>
                <a:lnTo>
                  <a:pt x="228" y="150"/>
                </a:lnTo>
                <a:lnTo>
                  <a:pt x="222" y="156"/>
                </a:lnTo>
                <a:lnTo>
                  <a:pt x="222" y="156"/>
                </a:lnTo>
                <a:lnTo>
                  <a:pt x="222" y="162"/>
                </a:lnTo>
                <a:lnTo>
                  <a:pt x="216" y="162"/>
                </a:lnTo>
                <a:lnTo>
                  <a:pt x="216" y="162"/>
                </a:lnTo>
                <a:lnTo>
                  <a:pt x="216" y="162"/>
                </a:lnTo>
                <a:lnTo>
                  <a:pt x="210" y="156"/>
                </a:lnTo>
                <a:lnTo>
                  <a:pt x="210" y="156"/>
                </a:lnTo>
                <a:lnTo>
                  <a:pt x="204" y="156"/>
                </a:lnTo>
                <a:lnTo>
                  <a:pt x="204" y="156"/>
                </a:lnTo>
                <a:lnTo>
                  <a:pt x="204" y="156"/>
                </a:lnTo>
                <a:lnTo>
                  <a:pt x="204" y="156"/>
                </a:lnTo>
                <a:lnTo>
                  <a:pt x="204" y="156"/>
                </a:lnTo>
                <a:lnTo>
                  <a:pt x="204" y="156"/>
                </a:lnTo>
                <a:lnTo>
                  <a:pt x="204" y="156"/>
                </a:lnTo>
                <a:lnTo>
                  <a:pt x="204" y="156"/>
                </a:lnTo>
                <a:lnTo>
                  <a:pt x="198" y="156"/>
                </a:lnTo>
                <a:lnTo>
                  <a:pt x="198" y="156"/>
                </a:lnTo>
                <a:lnTo>
                  <a:pt x="198" y="156"/>
                </a:lnTo>
                <a:lnTo>
                  <a:pt x="198" y="156"/>
                </a:lnTo>
                <a:lnTo>
                  <a:pt x="198" y="162"/>
                </a:lnTo>
                <a:lnTo>
                  <a:pt x="204" y="168"/>
                </a:lnTo>
                <a:lnTo>
                  <a:pt x="204" y="168"/>
                </a:lnTo>
                <a:lnTo>
                  <a:pt x="204" y="168"/>
                </a:lnTo>
                <a:lnTo>
                  <a:pt x="204" y="168"/>
                </a:lnTo>
                <a:lnTo>
                  <a:pt x="210" y="168"/>
                </a:lnTo>
                <a:lnTo>
                  <a:pt x="216" y="168"/>
                </a:lnTo>
                <a:lnTo>
                  <a:pt x="216" y="168"/>
                </a:lnTo>
                <a:lnTo>
                  <a:pt x="216" y="168"/>
                </a:lnTo>
                <a:lnTo>
                  <a:pt x="216" y="168"/>
                </a:lnTo>
                <a:lnTo>
                  <a:pt x="216" y="174"/>
                </a:lnTo>
                <a:lnTo>
                  <a:pt x="216" y="174"/>
                </a:lnTo>
                <a:lnTo>
                  <a:pt x="210" y="174"/>
                </a:lnTo>
                <a:lnTo>
                  <a:pt x="210" y="174"/>
                </a:lnTo>
                <a:lnTo>
                  <a:pt x="204" y="174"/>
                </a:lnTo>
                <a:lnTo>
                  <a:pt x="204" y="174"/>
                </a:lnTo>
                <a:lnTo>
                  <a:pt x="198" y="174"/>
                </a:lnTo>
                <a:lnTo>
                  <a:pt x="198" y="174"/>
                </a:lnTo>
                <a:lnTo>
                  <a:pt x="198" y="174"/>
                </a:lnTo>
                <a:lnTo>
                  <a:pt x="198" y="174"/>
                </a:lnTo>
                <a:lnTo>
                  <a:pt x="198" y="174"/>
                </a:lnTo>
                <a:lnTo>
                  <a:pt x="192" y="174"/>
                </a:lnTo>
                <a:lnTo>
                  <a:pt x="192" y="174"/>
                </a:lnTo>
                <a:lnTo>
                  <a:pt x="186" y="174"/>
                </a:lnTo>
                <a:lnTo>
                  <a:pt x="186" y="174"/>
                </a:lnTo>
                <a:lnTo>
                  <a:pt x="180" y="174"/>
                </a:lnTo>
                <a:lnTo>
                  <a:pt x="174" y="174"/>
                </a:lnTo>
                <a:lnTo>
                  <a:pt x="174" y="174"/>
                </a:lnTo>
                <a:lnTo>
                  <a:pt x="174" y="174"/>
                </a:lnTo>
                <a:lnTo>
                  <a:pt x="168" y="174"/>
                </a:lnTo>
                <a:lnTo>
                  <a:pt x="168" y="174"/>
                </a:lnTo>
                <a:lnTo>
                  <a:pt x="168" y="174"/>
                </a:lnTo>
                <a:lnTo>
                  <a:pt x="168" y="174"/>
                </a:lnTo>
                <a:lnTo>
                  <a:pt x="168" y="174"/>
                </a:lnTo>
                <a:lnTo>
                  <a:pt x="168" y="174"/>
                </a:lnTo>
                <a:lnTo>
                  <a:pt x="168" y="174"/>
                </a:lnTo>
                <a:lnTo>
                  <a:pt x="168" y="174"/>
                </a:lnTo>
                <a:lnTo>
                  <a:pt x="168" y="174"/>
                </a:lnTo>
                <a:lnTo>
                  <a:pt x="168" y="174"/>
                </a:lnTo>
                <a:lnTo>
                  <a:pt x="168" y="180"/>
                </a:lnTo>
                <a:lnTo>
                  <a:pt x="168" y="180"/>
                </a:lnTo>
                <a:lnTo>
                  <a:pt x="168" y="180"/>
                </a:lnTo>
                <a:lnTo>
                  <a:pt x="168" y="180"/>
                </a:lnTo>
                <a:lnTo>
                  <a:pt x="168" y="180"/>
                </a:lnTo>
                <a:lnTo>
                  <a:pt x="168" y="186"/>
                </a:lnTo>
                <a:lnTo>
                  <a:pt x="168" y="186"/>
                </a:lnTo>
                <a:lnTo>
                  <a:pt x="168" y="186"/>
                </a:lnTo>
                <a:lnTo>
                  <a:pt x="168" y="186"/>
                </a:lnTo>
                <a:lnTo>
                  <a:pt x="168" y="186"/>
                </a:lnTo>
                <a:lnTo>
                  <a:pt x="168" y="186"/>
                </a:lnTo>
                <a:lnTo>
                  <a:pt x="168" y="186"/>
                </a:lnTo>
                <a:lnTo>
                  <a:pt x="168" y="186"/>
                </a:lnTo>
                <a:lnTo>
                  <a:pt x="168" y="192"/>
                </a:lnTo>
                <a:lnTo>
                  <a:pt x="168" y="192"/>
                </a:lnTo>
                <a:lnTo>
                  <a:pt x="168" y="192"/>
                </a:lnTo>
                <a:lnTo>
                  <a:pt x="168" y="192"/>
                </a:lnTo>
                <a:lnTo>
                  <a:pt x="162" y="192"/>
                </a:lnTo>
                <a:lnTo>
                  <a:pt x="162" y="192"/>
                </a:lnTo>
                <a:lnTo>
                  <a:pt x="162" y="192"/>
                </a:lnTo>
                <a:lnTo>
                  <a:pt x="162" y="198"/>
                </a:lnTo>
                <a:lnTo>
                  <a:pt x="162" y="198"/>
                </a:lnTo>
                <a:lnTo>
                  <a:pt x="162" y="198"/>
                </a:lnTo>
                <a:lnTo>
                  <a:pt x="162" y="198"/>
                </a:lnTo>
                <a:lnTo>
                  <a:pt x="162" y="198"/>
                </a:lnTo>
                <a:lnTo>
                  <a:pt x="162" y="198"/>
                </a:lnTo>
                <a:lnTo>
                  <a:pt x="156" y="198"/>
                </a:lnTo>
                <a:lnTo>
                  <a:pt x="162" y="198"/>
                </a:lnTo>
                <a:lnTo>
                  <a:pt x="156" y="192"/>
                </a:lnTo>
                <a:lnTo>
                  <a:pt x="156" y="192"/>
                </a:lnTo>
                <a:lnTo>
                  <a:pt x="162" y="192"/>
                </a:lnTo>
                <a:lnTo>
                  <a:pt x="156" y="192"/>
                </a:lnTo>
                <a:lnTo>
                  <a:pt x="156" y="192"/>
                </a:lnTo>
                <a:lnTo>
                  <a:pt x="156" y="192"/>
                </a:lnTo>
                <a:lnTo>
                  <a:pt x="156" y="192"/>
                </a:lnTo>
                <a:lnTo>
                  <a:pt x="156" y="186"/>
                </a:lnTo>
                <a:lnTo>
                  <a:pt x="156" y="186"/>
                </a:lnTo>
                <a:lnTo>
                  <a:pt x="156" y="186"/>
                </a:lnTo>
                <a:lnTo>
                  <a:pt x="150" y="186"/>
                </a:lnTo>
                <a:lnTo>
                  <a:pt x="150" y="186"/>
                </a:lnTo>
                <a:lnTo>
                  <a:pt x="150" y="186"/>
                </a:lnTo>
                <a:lnTo>
                  <a:pt x="150" y="180"/>
                </a:lnTo>
                <a:lnTo>
                  <a:pt x="150" y="180"/>
                </a:lnTo>
                <a:lnTo>
                  <a:pt x="150" y="180"/>
                </a:lnTo>
                <a:lnTo>
                  <a:pt x="150" y="180"/>
                </a:lnTo>
                <a:lnTo>
                  <a:pt x="150" y="180"/>
                </a:lnTo>
                <a:lnTo>
                  <a:pt x="150" y="180"/>
                </a:lnTo>
                <a:lnTo>
                  <a:pt x="156" y="180"/>
                </a:lnTo>
                <a:lnTo>
                  <a:pt x="150" y="180"/>
                </a:lnTo>
                <a:lnTo>
                  <a:pt x="150" y="180"/>
                </a:lnTo>
                <a:lnTo>
                  <a:pt x="150" y="180"/>
                </a:lnTo>
                <a:lnTo>
                  <a:pt x="150" y="180"/>
                </a:lnTo>
                <a:lnTo>
                  <a:pt x="150" y="180"/>
                </a:lnTo>
                <a:lnTo>
                  <a:pt x="150" y="180"/>
                </a:lnTo>
                <a:lnTo>
                  <a:pt x="150" y="180"/>
                </a:lnTo>
                <a:lnTo>
                  <a:pt x="150" y="174"/>
                </a:lnTo>
                <a:lnTo>
                  <a:pt x="150" y="174"/>
                </a:lnTo>
                <a:lnTo>
                  <a:pt x="150" y="174"/>
                </a:lnTo>
                <a:lnTo>
                  <a:pt x="144" y="174"/>
                </a:lnTo>
                <a:lnTo>
                  <a:pt x="144" y="174"/>
                </a:lnTo>
                <a:lnTo>
                  <a:pt x="150" y="174"/>
                </a:lnTo>
                <a:lnTo>
                  <a:pt x="144" y="174"/>
                </a:lnTo>
                <a:lnTo>
                  <a:pt x="144" y="174"/>
                </a:lnTo>
                <a:lnTo>
                  <a:pt x="144" y="174"/>
                </a:lnTo>
                <a:lnTo>
                  <a:pt x="144" y="174"/>
                </a:lnTo>
                <a:lnTo>
                  <a:pt x="144" y="174"/>
                </a:lnTo>
                <a:lnTo>
                  <a:pt x="144" y="174"/>
                </a:lnTo>
                <a:lnTo>
                  <a:pt x="138" y="174"/>
                </a:lnTo>
                <a:lnTo>
                  <a:pt x="138" y="174"/>
                </a:lnTo>
                <a:lnTo>
                  <a:pt x="138" y="168"/>
                </a:lnTo>
                <a:lnTo>
                  <a:pt x="138" y="168"/>
                </a:lnTo>
                <a:lnTo>
                  <a:pt x="138" y="168"/>
                </a:lnTo>
                <a:lnTo>
                  <a:pt x="138" y="168"/>
                </a:lnTo>
                <a:lnTo>
                  <a:pt x="138" y="168"/>
                </a:lnTo>
                <a:lnTo>
                  <a:pt x="138" y="168"/>
                </a:lnTo>
                <a:lnTo>
                  <a:pt x="138" y="162"/>
                </a:lnTo>
                <a:lnTo>
                  <a:pt x="132" y="162"/>
                </a:lnTo>
                <a:lnTo>
                  <a:pt x="132" y="162"/>
                </a:lnTo>
                <a:lnTo>
                  <a:pt x="132" y="162"/>
                </a:lnTo>
                <a:lnTo>
                  <a:pt x="132" y="162"/>
                </a:lnTo>
                <a:lnTo>
                  <a:pt x="132" y="162"/>
                </a:lnTo>
                <a:lnTo>
                  <a:pt x="126" y="162"/>
                </a:lnTo>
                <a:lnTo>
                  <a:pt x="126" y="162"/>
                </a:lnTo>
                <a:lnTo>
                  <a:pt x="126" y="162"/>
                </a:lnTo>
                <a:lnTo>
                  <a:pt x="126" y="162"/>
                </a:lnTo>
                <a:lnTo>
                  <a:pt x="126" y="162"/>
                </a:lnTo>
                <a:lnTo>
                  <a:pt x="126" y="162"/>
                </a:lnTo>
                <a:lnTo>
                  <a:pt x="126" y="162"/>
                </a:lnTo>
                <a:lnTo>
                  <a:pt x="120" y="162"/>
                </a:lnTo>
                <a:lnTo>
                  <a:pt x="120" y="162"/>
                </a:lnTo>
                <a:lnTo>
                  <a:pt x="120" y="162"/>
                </a:lnTo>
                <a:lnTo>
                  <a:pt x="120" y="162"/>
                </a:lnTo>
                <a:lnTo>
                  <a:pt x="120" y="162"/>
                </a:lnTo>
                <a:lnTo>
                  <a:pt x="120" y="162"/>
                </a:lnTo>
                <a:lnTo>
                  <a:pt x="120" y="162"/>
                </a:lnTo>
                <a:lnTo>
                  <a:pt x="120" y="162"/>
                </a:lnTo>
                <a:lnTo>
                  <a:pt x="120" y="162"/>
                </a:lnTo>
                <a:lnTo>
                  <a:pt x="114" y="156"/>
                </a:lnTo>
                <a:lnTo>
                  <a:pt x="114" y="162"/>
                </a:lnTo>
                <a:lnTo>
                  <a:pt x="114" y="156"/>
                </a:lnTo>
                <a:lnTo>
                  <a:pt x="114" y="162"/>
                </a:lnTo>
                <a:lnTo>
                  <a:pt x="114" y="156"/>
                </a:lnTo>
                <a:lnTo>
                  <a:pt x="114" y="162"/>
                </a:lnTo>
                <a:lnTo>
                  <a:pt x="108" y="162"/>
                </a:lnTo>
                <a:lnTo>
                  <a:pt x="108" y="162"/>
                </a:lnTo>
                <a:lnTo>
                  <a:pt x="108" y="156"/>
                </a:lnTo>
                <a:lnTo>
                  <a:pt x="108" y="156"/>
                </a:lnTo>
                <a:lnTo>
                  <a:pt x="108" y="156"/>
                </a:lnTo>
                <a:lnTo>
                  <a:pt x="108" y="156"/>
                </a:lnTo>
                <a:lnTo>
                  <a:pt x="108" y="156"/>
                </a:lnTo>
                <a:lnTo>
                  <a:pt x="108" y="156"/>
                </a:lnTo>
                <a:lnTo>
                  <a:pt x="108" y="156"/>
                </a:lnTo>
                <a:lnTo>
                  <a:pt x="108" y="156"/>
                </a:lnTo>
                <a:lnTo>
                  <a:pt x="102" y="156"/>
                </a:lnTo>
                <a:lnTo>
                  <a:pt x="102" y="156"/>
                </a:lnTo>
                <a:lnTo>
                  <a:pt x="96" y="156"/>
                </a:lnTo>
                <a:lnTo>
                  <a:pt x="90" y="150"/>
                </a:lnTo>
                <a:lnTo>
                  <a:pt x="84" y="150"/>
                </a:lnTo>
                <a:lnTo>
                  <a:pt x="72" y="150"/>
                </a:lnTo>
                <a:lnTo>
                  <a:pt x="66" y="156"/>
                </a:lnTo>
                <a:lnTo>
                  <a:pt x="60" y="144"/>
                </a:lnTo>
                <a:lnTo>
                  <a:pt x="60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50"/>
                </a:lnTo>
                <a:lnTo>
                  <a:pt x="54" y="144"/>
                </a:lnTo>
                <a:lnTo>
                  <a:pt x="48" y="150"/>
                </a:lnTo>
                <a:lnTo>
                  <a:pt x="48" y="150"/>
                </a:lnTo>
                <a:lnTo>
                  <a:pt x="48" y="150"/>
                </a:lnTo>
                <a:lnTo>
                  <a:pt x="42" y="150"/>
                </a:lnTo>
                <a:lnTo>
                  <a:pt x="42" y="150"/>
                </a:lnTo>
                <a:lnTo>
                  <a:pt x="42" y="150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38"/>
                </a:lnTo>
                <a:lnTo>
                  <a:pt x="48" y="138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48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26"/>
                </a:lnTo>
                <a:lnTo>
                  <a:pt x="48" y="126"/>
                </a:lnTo>
                <a:lnTo>
                  <a:pt x="48" y="120"/>
                </a:lnTo>
                <a:lnTo>
                  <a:pt x="42" y="120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96"/>
                </a:lnTo>
                <a:lnTo>
                  <a:pt x="30" y="96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84"/>
                </a:lnTo>
                <a:lnTo>
                  <a:pt x="42" y="84"/>
                </a:lnTo>
                <a:lnTo>
                  <a:pt x="42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0" y="72"/>
                </a:lnTo>
                <a:lnTo>
                  <a:pt x="30" y="72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0"/>
                </a:lnTo>
                <a:lnTo>
                  <a:pt x="12" y="66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0" y="60"/>
                </a:lnTo>
                <a:lnTo>
                  <a:pt x="0" y="60"/>
                </a:lnTo>
                <a:lnTo>
                  <a:pt x="0" y="5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72" name="Freeform 505"/>
          <p:cNvSpPr>
            <a:spLocks/>
          </p:cNvSpPr>
          <p:nvPr/>
        </p:nvSpPr>
        <p:spPr bwMode="auto">
          <a:xfrm>
            <a:off x="5573468" y="3499019"/>
            <a:ext cx="423987" cy="693802"/>
          </a:xfrm>
          <a:custGeom>
            <a:avLst/>
            <a:gdLst>
              <a:gd name="T0" fmla="*/ 90 w 396"/>
              <a:gd name="T1" fmla="*/ 132 h 648"/>
              <a:gd name="T2" fmla="*/ 48 w 396"/>
              <a:gd name="T3" fmla="*/ 60 h 648"/>
              <a:gd name="T4" fmla="*/ 54 w 396"/>
              <a:gd name="T5" fmla="*/ 48 h 648"/>
              <a:gd name="T6" fmla="*/ 66 w 396"/>
              <a:gd name="T7" fmla="*/ 66 h 648"/>
              <a:gd name="T8" fmla="*/ 72 w 396"/>
              <a:gd name="T9" fmla="*/ 78 h 648"/>
              <a:gd name="T10" fmla="*/ 96 w 396"/>
              <a:gd name="T11" fmla="*/ 84 h 648"/>
              <a:gd name="T12" fmla="*/ 114 w 396"/>
              <a:gd name="T13" fmla="*/ 84 h 648"/>
              <a:gd name="T14" fmla="*/ 138 w 396"/>
              <a:gd name="T15" fmla="*/ 72 h 648"/>
              <a:gd name="T16" fmla="*/ 156 w 396"/>
              <a:gd name="T17" fmla="*/ 54 h 648"/>
              <a:gd name="T18" fmla="*/ 174 w 396"/>
              <a:gd name="T19" fmla="*/ 36 h 648"/>
              <a:gd name="T20" fmla="*/ 180 w 396"/>
              <a:gd name="T21" fmla="*/ 18 h 648"/>
              <a:gd name="T22" fmla="*/ 198 w 396"/>
              <a:gd name="T23" fmla="*/ 18 h 648"/>
              <a:gd name="T24" fmla="*/ 216 w 396"/>
              <a:gd name="T25" fmla="*/ 18 h 648"/>
              <a:gd name="T26" fmla="*/ 228 w 396"/>
              <a:gd name="T27" fmla="*/ 18 h 648"/>
              <a:gd name="T28" fmla="*/ 246 w 396"/>
              <a:gd name="T29" fmla="*/ 12 h 648"/>
              <a:gd name="T30" fmla="*/ 258 w 396"/>
              <a:gd name="T31" fmla="*/ 6 h 648"/>
              <a:gd name="T32" fmla="*/ 276 w 396"/>
              <a:gd name="T33" fmla="*/ 0 h 648"/>
              <a:gd name="T34" fmla="*/ 282 w 396"/>
              <a:gd name="T35" fmla="*/ 6 h 648"/>
              <a:gd name="T36" fmla="*/ 294 w 396"/>
              <a:gd name="T37" fmla="*/ 12 h 648"/>
              <a:gd name="T38" fmla="*/ 306 w 396"/>
              <a:gd name="T39" fmla="*/ 18 h 648"/>
              <a:gd name="T40" fmla="*/ 324 w 396"/>
              <a:gd name="T41" fmla="*/ 18 h 648"/>
              <a:gd name="T42" fmla="*/ 336 w 396"/>
              <a:gd name="T43" fmla="*/ 24 h 648"/>
              <a:gd name="T44" fmla="*/ 342 w 396"/>
              <a:gd name="T45" fmla="*/ 36 h 648"/>
              <a:gd name="T46" fmla="*/ 354 w 396"/>
              <a:gd name="T47" fmla="*/ 42 h 648"/>
              <a:gd name="T48" fmla="*/ 372 w 396"/>
              <a:gd name="T49" fmla="*/ 48 h 648"/>
              <a:gd name="T50" fmla="*/ 378 w 396"/>
              <a:gd name="T51" fmla="*/ 54 h 648"/>
              <a:gd name="T52" fmla="*/ 390 w 396"/>
              <a:gd name="T53" fmla="*/ 54 h 648"/>
              <a:gd name="T54" fmla="*/ 342 w 396"/>
              <a:gd name="T55" fmla="*/ 228 h 648"/>
              <a:gd name="T56" fmla="*/ 318 w 396"/>
              <a:gd name="T57" fmla="*/ 258 h 648"/>
              <a:gd name="T58" fmla="*/ 306 w 396"/>
              <a:gd name="T59" fmla="*/ 282 h 648"/>
              <a:gd name="T60" fmla="*/ 216 w 396"/>
              <a:gd name="T61" fmla="*/ 300 h 648"/>
              <a:gd name="T62" fmla="*/ 162 w 396"/>
              <a:gd name="T63" fmla="*/ 318 h 648"/>
              <a:gd name="T64" fmla="*/ 144 w 396"/>
              <a:gd name="T65" fmla="*/ 366 h 648"/>
              <a:gd name="T66" fmla="*/ 156 w 396"/>
              <a:gd name="T67" fmla="*/ 390 h 648"/>
              <a:gd name="T68" fmla="*/ 156 w 396"/>
              <a:gd name="T69" fmla="*/ 414 h 648"/>
              <a:gd name="T70" fmla="*/ 168 w 396"/>
              <a:gd name="T71" fmla="*/ 444 h 648"/>
              <a:gd name="T72" fmla="*/ 168 w 396"/>
              <a:gd name="T73" fmla="*/ 468 h 648"/>
              <a:gd name="T74" fmla="*/ 168 w 396"/>
              <a:gd name="T75" fmla="*/ 498 h 648"/>
              <a:gd name="T76" fmla="*/ 180 w 396"/>
              <a:gd name="T77" fmla="*/ 516 h 648"/>
              <a:gd name="T78" fmla="*/ 180 w 396"/>
              <a:gd name="T79" fmla="*/ 558 h 648"/>
              <a:gd name="T80" fmla="*/ 168 w 396"/>
              <a:gd name="T81" fmla="*/ 558 h 648"/>
              <a:gd name="T82" fmla="*/ 162 w 396"/>
              <a:gd name="T83" fmla="*/ 570 h 648"/>
              <a:gd name="T84" fmla="*/ 150 w 396"/>
              <a:gd name="T85" fmla="*/ 576 h 648"/>
              <a:gd name="T86" fmla="*/ 138 w 396"/>
              <a:gd name="T87" fmla="*/ 588 h 648"/>
              <a:gd name="T88" fmla="*/ 132 w 396"/>
              <a:gd name="T89" fmla="*/ 594 h 648"/>
              <a:gd name="T90" fmla="*/ 120 w 396"/>
              <a:gd name="T91" fmla="*/ 618 h 648"/>
              <a:gd name="T92" fmla="*/ 108 w 396"/>
              <a:gd name="T93" fmla="*/ 618 h 648"/>
              <a:gd name="T94" fmla="*/ 96 w 396"/>
              <a:gd name="T95" fmla="*/ 636 h 648"/>
              <a:gd name="T96" fmla="*/ 84 w 396"/>
              <a:gd name="T97" fmla="*/ 648 h 648"/>
              <a:gd name="T98" fmla="*/ 72 w 396"/>
              <a:gd name="T99" fmla="*/ 642 h 648"/>
              <a:gd name="T100" fmla="*/ 54 w 396"/>
              <a:gd name="T101" fmla="*/ 642 h 648"/>
              <a:gd name="T102" fmla="*/ 30 w 396"/>
              <a:gd name="T103" fmla="*/ 642 h 648"/>
              <a:gd name="T104" fmla="*/ 30 w 396"/>
              <a:gd name="T105" fmla="*/ 612 h 648"/>
              <a:gd name="T106" fmla="*/ 36 w 396"/>
              <a:gd name="T107" fmla="*/ 588 h 648"/>
              <a:gd name="T108" fmla="*/ 42 w 396"/>
              <a:gd name="T109" fmla="*/ 540 h 648"/>
              <a:gd name="T110" fmla="*/ 42 w 396"/>
              <a:gd name="T111" fmla="*/ 486 h 648"/>
              <a:gd name="T112" fmla="*/ 24 w 396"/>
              <a:gd name="T113" fmla="*/ 468 h 648"/>
              <a:gd name="T114" fmla="*/ 24 w 396"/>
              <a:gd name="T115" fmla="*/ 450 h 648"/>
              <a:gd name="T116" fmla="*/ 6 w 396"/>
              <a:gd name="T117" fmla="*/ 402 h 648"/>
              <a:gd name="T118" fmla="*/ 18 w 396"/>
              <a:gd name="T119" fmla="*/ 378 h 6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96" h="648">
                <a:moveTo>
                  <a:pt x="18" y="306"/>
                </a:moveTo>
                <a:lnTo>
                  <a:pt x="36" y="270"/>
                </a:lnTo>
                <a:lnTo>
                  <a:pt x="48" y="240"/>
                </a:lnTo>
                <a:lnTo>
                  <a:pt x="60" y="240"/>
                </a:lnTo>
                <a:lnTo>
                  <a:pt x="60" y="240"/>
                </a:lnTo>
                <a:lnTo>
                  <a:pt x="60" y="234"/>
                </a:lnTo>
                <a:lnTo>
                  <a:pt x="60" y="234"/>
                </a:lnTo>
                <a:lnTo>
                  <a:pt x="60" y="234"/>
                </a:lnTo>
                <a:lnTo>
                  <a:pt x="60" y="234"/>
                </a:lnTo>
                <a:lnTo>
                  <a:pt x="60" y="234"/>
                </a:lnTo>
                <a:lnTo>
                  <a:pt x="60" y="222"/>
                </a:lnTo>
                <a:lnTo>
                  <a:pt x="54" y="222"/>
                </a:lnTo>
                <a:lnTo>
                  <a:pt x="78" y="138"/>
                </a:lnTo>
                <a:lnTo>
                  <a:pt x="90" y="138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84" y="132"/>
                </a:lnTo>
                <a:lnTo>
                  <a:pt x="84" y="132"/>
                </a:lnTo>
                <a:lnTo>
                  <a:pt x="78" y="120"/>
                </a:lnTo>
                <a:lnTo>
                  <a:pt x="78" y="120"/>
                </a:lnTo>
                <a:lnTo>
                  <a:pt x="72" y="114"/>
                </a:lnTo>
                <a:lnTo>
                  <a:pt x="60" y="84"/>
                </a:lnTo>
                <a:lnTo>
                  <a:pt x="60" y="84"/>
                </a:lnTo>
                <a:lnTo>
                  <a:pt x="60" y="78"/>
                </a:lnTo>
                <a:lnTo>
                  <a:pt x="60" y="78"/>
                </a:lnTo>
                <a:lnTo>
                  <a:pt x="60" y="72"/>
                </a:lnTo>
                <a:lnTo>
                  <a:pt x="60" y="72"/>
                </a:lnTo>
                <a:lnTo>
                  <a:pt x="54" y="72"/>
                </a:lnTo>
                <a:lnTo>
                  <a:pt x="54" y="66"/>
                </a:lnTo>
                <a:lnTo>
                  <a:pt x="54" y="66"/>
                </a:lnTo>
                <a:lnTo>
                  <a:pt x="54" y="60"/>
                </a:lnTo>
                <a:lnTo>
                  <a:pt x="54" y="60"/>
                </a:lnTo>
                <a:lnTo>
                  <a:pt x="48" y="60"/>
                </a:lnTo>
                <a:lnTo>
                  <a:pt x="48" y="60"/>
                </a:lnTo>
                <a:lnTo>
                  <a:pt x="48" y="54"/>
                </a:lnTo>
                <a:lnTo>
                  <a:pt x="54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54" y="48"/>
                </a:lnTo>
                <a:lnTo>
                  <a:pt x="54" y="48"/>
                </a:lnTo>
                <a:lnTo>
                  <a:pt x="54" y="42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6"/>
                </a:lnTo>
                <a:lnTo>
                  <a:pt x="66" y="66"/>
                </a:lnTo>
                <a:lnTo>
                  <a:pt x="60" y="66"/>
                </a:lnTo>
                <a:lnTo>
                  <a:pt x="60" y="66"/>
                </a:lnTo>
                <a:lnTo>
                  <a:pt x="66" y="66"/>
                </a:lnTo>
                <a:lnTo>
                  <a:pt x="60" y="66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66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8" y="78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84" y="84"/>
                </a:lnTo>
                <a:lnTo>
                  <a:pt x="84" y="84"/>
                </a:lnTo>
                <a:lnTo>
                  <a:pt x="84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84"/>
                </a:lnTo>
                <a:lnTo>
                  <a:pt x="96" y="90"/>
                </a:lnTo>
                <a:lnTo>
                  <a:pt x="96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20" y="84"/>
                </a:lnTo>
                <a:lnTo>
                  <a:pt x="120" y="78"/>
                </a:lnTo>
                <a:lnTo>
                  <a:pt x="120" y="84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78"/>
                </a:lnTo>
                <a:lnTo>
                  <a:pt x="132" y="78"/>
                </a:lnTo>
                <a:lnTo>
                  <a:pt x="132" y="78"/>
                </a:lnTo>
                <a:lnTo>
                  <a:pt x="138" y="78"/>
                </a:lnTo>
                <a:lnTo>
                  <a:pt x="138" y="78"/>
                </a:lnTo>
                <a:lnTo>
                  <a:pt x="138" y="78"/>
                </a:lnTo>
                <a:lnTo>
                  <a:pt x="138" y="72"/>
                </a:lnTo>
                <a:lnTo>
                  <a:pt x="144" y="72"/>
                </a:lnTo>
                <a:lnTo>
                  <a:pt x="144" y="72"/>
                </a:lnTo>
                <a:lnTo>
                  <a:pt x="144" y="72"/>
                </a:lnTo>
                <a:lnTo>
                  <a:pt x="144" y="72"/>
                </a:lnTo>
                <a:lnTo>
                  <a:pt x="144" y="72"/>
                </a:lnTo>
                <a:lnTo>
                  <a:pt x="144" y="72"/>
                </a:lnTo>
                <a:lnTo>
                  <a:pt x="150" y="66"/>
                </a:lnTo>
                <a:lnTo>
                  <a:pt x="150" y="66"/>
                </a:lnTo>
                <a:lnTo>
                  <a:pt x="150" y="66"/>
                </a:lnTo>
                <a:lnTo>
                  <a:pt x="150" y="66"/>
                </a:lnTo>
                <a:lnTo>
                  <a:pt x="150" y="60"/>
                </a:lnTo>
                <a:lnTo>
                  <a:pt x="150" y="60"/>
                </a:lnTo>
                <a:lnTo>
                  <a:pt x="156" y="60"/>
                </a:lnTo>
                <a:lnTo>
                  <a:pt x="156" y="60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2"/>
                </a:lnTo>
                <a:lnTo>
                  <a:pt x="168" y="48"/>
                </a:lnTo>
                <a:lnTo>
                  <a:pt x="168" y="42"/>
                </a:lnTo>
                <a:lnTo>
                  <a:pt x="168" y="42"/>
                </a:lnTo>
                <a:lnTo>
                  <a:pt x="168" y="42"/>
                </a:lnTo>
                <a:lnTo>
                  <a:pt x="168" y="42"/>
                </a:lnTo>
                <a:lnTo>
                  <a:pt x="168" y="42"/>
                </a:lnTo>
                <a:lnTo>
                  <a:pt x="168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18"/>
                </a:lnTo>
                <a:lnTo>
                  <a:pt x="180" y="18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92" y="18"/>
                </a:lnTo>
                <a:lnTo>
                  <a:pt x="192" y="18"/>
                </a:lnTo>
                <a:lnTo>
                  <a:pt x="192" y="18"/>
                </a:lnTo>
                <a:lnTo>
                  <a:pt x="192" y="18"/>
                </a:lnTo>
                <a:lnTo>
                  <a:pt x="192" y="18"/>
                </a:lnTo>
                <a:lnTo>
                  <a:pt x="198" y="18"/>
                </a:lnTo>
                <a:lnTo>
                  <a:pt x="198" y="18"/>
                </a:lnTo>
                <a:lnTo>
                  <a:pt x="198" y="18"/>
                </a:lnTo>
                <a:lnTo>
                  <a:pt x="198" y="18"/>
                </a:lnTo>
                <a:lnTo>
                  <a:pt x="198" y="18"/>
                </a:lnTo>
                <a:lnTo>
                  <a:pt x="198" y="18"/>
                </a:lnTo>
                <a:lnTo>
                  <a:pt x="198" y="18"/>
                </a:lnTo>
                <a:lnTo>
                  <a:pt x="198" y="18"/>
                </a:lnTo>
                <a:lnTo>
                  <a:pt x="198" y="18"/>
                </a:lnTo>
                <a:lnTo>
                  <a:pt x="198" y="18"/>
                </a:lnTo>
                <a:lnTo>
                  <a:pt x="198" y="18"/>
                </a:lnTo>
                <a:lnTo>
                  <a:pt x="198" y="18"/>
                </a:lnTo>
                <a:lnTo>
                  <a:pt x="198" y="18"/>
                </a:lnTo>
                <a:lnTo>
                  <a:pt x="204" y="18"/>
                </a:lnTo>
                <a:lnTo>
                  <a:pt x="204" y="18"/>
                </a:lnTo>
                <a:lnTo>
                  <a:pt x="204" y="18"/>
                </a:lnTo>
                <a:lnTo>
                  <a:pt x="204" y="18"/>
                </a:lnTo>
                <a:lnTo>
                  <a:pt x="204" y="18"/>
                </a:lnTo>
                <a:lnTo>
                  <a:pt x="204" y="18"/>
                </a:lnTo>
                <a:lnTo>
                  <a:pt x="204" y="18"/>
                </a:lnTo>
                <a:lnTo>
                  <a:pt x="204" y="18"/>
                </a:lnTo>
                <a:lnTo>
                  <a:pt x="210" y="18"/>
                </a:lnTo>
                <a:lnTo>
                  <a:pt x="210" y="18"/>
                </a:lnTo>
                <a:lnTo>
                  <a:pt x="210" y="18"/>
                </a:lnTo>
                <a:lnTo>
                  <a:pt x="216" y="18"/>
                </a:lnTo>
                <a:lnTo>
                  <a:pt x="216" y="18"/>
                </a:lnTo>
                <a:lnTo>
                  <a:pt x="216" y="18"/>
                </a:lnTo>
                <a:lnTo>
                  <a:pt x="216" y="18"/>
                </a:lnTo>
                <a:lnTo>
                  <a:pt x="216" y="18"/>
                </a:lnTo>
                <a:lnTo>
                  <a:pt x="216" y="12"/>
                </a:lnTo>
                <a:lnTo>
                  <a:pt x="216" y="12"/>
                </a:lnTo>
                <a:lnTo>
                  <a:pt x="216" y="12"/>
                </a:lnTo>
                <a:lnTo>
                  <a:pt x="216" y="12"/>
                </a:lnTo>
                <a:lnTo>
                  <a:pt x="216" y="12"/>
                </a:lnTo>
                <a:lnTo>
                  <a:pt x="222" y="18"/>
                </a:lnTo>
                <a:lnTo>
                  <a:pt x="222" y="12"/>
                </a:lnTo>
                <a:lnTo>
                  <a:pt x="222" y="12"/>
                </a:lnTo>
                <a:lnTo>
                  <a:pt x="222" y="18"/>
                </a:lnTo>
                <a:lnTo>
                  <a:pt x="222" y="18"/>
                </a:lnTo>
                <a:lnTo>
                  <a:pt x="222" y="18"/>
                </a:lnTo>
                <a:lnTo>
                  <a:pt x="222" y="18"/>
                </a:lnTo>
                <a:lnTo>
                  <a:pt x="228" y="18"/>
                </a:lnTo>
                <a:lnTo>
                  <a:pt x="228" y="18"/>
                </a:lnTo>
                <a:lnTo>
                  <a:pt x="228" y="18"/>
                </a:lnTo>
                <a:lnTo>
                  <a:pt x="228" y="18"/>
                </a:lnTo>
                <a:lnTo>
                  <a:pt x="228" y="18"/>
                </a:lnTo>
                <a:lnTo>
                  <a:pt x="234" y="12"/>
                </a:lnTo>
                <a:lnTo>
                  <a:pt x="234" y="12"/>
                </a:lnTo>
                <a:lnTo>
                  <a:pt x="234" y="12"/>
                </a:lnTo>
                <a:lnTo>
                  <a:pt x="234" y="12"/>
                </a:lnTo>
                <a:lnTo>
                  <a:pt x="234" y="12"/>
                </a:lnTo>
                <a:lnTo>
                  <a:pt x="234" y="12"/>
                </a:lnTo>
                <a:lnTo>
                  <a:pt x="234" y="12"/>
                </a:lnTo>
                <a:lnTo>
                  <a:pt x="240" y="12"/>
                </a:lnTo>
                <a:lnTo>
                  <a:pt x="240" y="12"/>
                </a:lnTo>
                <a:lnTo>
                  <a:pt x="234" y="12"/>
                </a:lnTo>
                <a:lnTo>
                  <a:pt x="234" y="12"/>
                </a:lnTo>
                <a:lnTo>
                  <a:pt x="240" y="12"/>
                </a:lnTo>
                <a:lnTo>
                  <a:pt x="240" y="12"/>
                </a:lnTo>
                <a:lnTo>
                  <a:pt x="240" y="12"/>
                </a:lnTo>
                <a:lnTo>
                  <a:pt x="240" y="12"/>
                </a:lnTo>
                <a:lnTo>
                  <a:pt x="240" y="12"/>
                </a:lnTo>
                <a:lnTo>
                  <a:pt x="240" y="12"/>
                </a:lnTo>
                <a:lnTo>
                  <a:pt x="240" y="12"/>
                </a:lnTo>
                <a:lnTo>
                  <a:pt x="246" y="12"/>
                </a:lnTo>
                <a:lnTo>
                  <a:pt x="246" y="12"/>
                </a:lnTo>
                <a:lnTo>
                  <a:pt x="246" y="12"/>
                </a:lnTo>
                <a:lnTo>
                  <a:pt x="246" y="6"/>
                </a:lnTo>
                <a:lnTo>
                  <a:pt x="246" y="6"/>
                </a:lnTo>
                <a:lnTo>
                  <a:pt x="246" y="6"/>
                </a:lnTo>
                <a:lnTo>
                  <a:pt x="246" y="6"/>
                </a:lnTo>
                <a:lnTo>
                  <a:pt x="246" y="6"/>
                </a:lnTo>
                <a:lnTo>
                  <a:pt x="246" y="6"/>
                </a:lnTo>
                <a:lnTo>
                  <a:pt x="246" y="6"/>
                </a:lnTo>
                <a:lnTo>
                  <a:pt x="246" y="6"/>
                </a:lnTo>
                <a:lnTo>
                  <a:pt x="246" y="6"/>
                </a:lnTo>
                <a:lnTo>
                  <a:pt x="246" y="6"/>
                </a:lnTo>
                <a:lnTo>
                  <a:pt x="246" y="6"/>
                </a:lnTo>
                <a:lnTo>
                  <a:pt x="252" y="6"/>
                </a:lnTo>
                <a:lnTo>
                  <a:pt x="252" y="6"/>
                </a:lnTo>
                <a:lnTo>
                  <a:pt x="252" y="6"/>
                </a:lnTo>
                <a:lnTo>
                  <a:pt x="252" y="6"/>
                </a:lnTo>
                <a:lnTo>
                  <a:pt x="252" y="6"/>
                </a:lnTo>
                <a:lnTo>
                  <a:pt x="252" y="6"/>
                </a:lnTo>
                <a:lnTo>
                  <a:pt x="252" y="0"/>
                </a:lnTo>
                <a:lnTo>
                  <a:pt x="258" y="6"/>
                </a:lnTo>
                <a:lnTo>
                  <a:pt x="258" y="0"/>
                </a:lnTo>
                <a:lnTo>
                  <a:pt x="258" y="0"/>
                </a:lnTo>
                <a:lnTo>
                  <a:pt x="258" y="0"/>
                </a:lnTo>
                <a:lnTo>
                  <a:pt x="258" y="0"/>
                </a:lnTo>
                <a:lnTo>
                  <a:pt x="258" y="0"/>
                </a:lnTo>
                <a:lnTo>
                  <a:pt x="258" y="0"/>
                </a:lnTo>
                <a:lnTo>
                  <a:pt x="264" y="0"/>
                </a:lnTo>
                <a:lnTo>
                  <a:pt x="264" y="0"/>
                </a:lnTo>
                <a:lnTo>
                  <a:pt x="264" y="0"/>
                </a:lnTo>
                <a:lnTo>
                  <a:pt x="264" y="0"/>
                </a:lnTo>
                <a:lnTo>
                  <a:pt x="264" y="0"/>
                </a:lnTo>
                <a:lnTo>
                  <a:pt x="264" y="0"/>
                </a:lnTo>
                <a:lnTo>
                  <a:pt x="264" y="0"/>
                </a:lnTo>
                <a:lnTo>
                  <a:pt x="264" y="0"/>
                </a:lnTo>
                <a:lnTo>
                  <a:pt x="270" y="0"/>
                </a:lnTo>
                <a:lnTo>
                  <a:pt x="270" y="0"/>
                </a:lnTo>
                <a:lnTo>
                  <a:pt x="270" y="0"/>
                </a:lnTo>
                <a:lnTo>
                  <a:pt x="270" y="0"/>
                </a:lnTo>
                <a:lnTo>
                  <a:pt x="276" y="0"/>
                </a:lnTo>
                <a:lnTo>
                  <a:pt x="276" y="0"/>
                </a:lnTo>
                <a:lnTo>
                  <a:pt x="276" y="0"/>
                </a:lnTo>
                <a:lnTo>
                  <a:pt x="276" y="0"/>
                </a:lnTo>
                <a:lnTo>
                  <a:pt x="276" y="0"/>
                </a:lnTo>
                <a:lnTo>
                  <a:pt x="276" y="0"/>
                </a:lnTo>
                <a:lnTo>
                  <a:pt x="276" y="0"/>
                </a:lnTo>
                <a:lnTo>
                  <a:pt x="282" y="0"/>
                </a:lnTo>
                <a:lnTo>
                  <a:pt x="282" y="0"/>
                </a:lnTo>
                <a:lnTo>
                  <a:pt x="282" y="0"/>
                </a:lnTo>
                <a:lnTo>
                  <a:pt x="282" y="6"/>
                </a:lnTo>
                <a:lnTo>
                  <a:pt x="282" y="6"/>
                </a:lnTo>
                <a:lnTo>
                  <a:pt x="282" y="6"/>
                </a:lnTo>
                <a:lnTo>
                  <a:pt x="282" y="6"/>
                </a:lnTo>
                <a:lnTo>
                  <a:pt x="282" y="6"/>
                </a:lnTo>
                <a:lnTo>
                  <a:pt x="282" y="6"/>
                </a:lnTo>
                <a:lnTo>
                  <a:pt x="282" y="6"/>
                </a:lnTo>
                <a:lnTo>
                  <a:pt x="282" y="6"/>
                </a:lnTo>
                <a:lnTo>
                  <a:pt x="282" y="6"/>
                </a:lnTo>
                <a:lnTo>
                  <a:pt x="282" y="6"/>
                </a:lnTo>
                <a:lnTo>
                  <a:pt x="282" y="6"/>
                </a:lnTo>
                <a:lnTo>
                  <a:pt x="282" y="6"/>
                </a:lnTo>
                <a:lnTo>
                  <a:pt x="282" y="6"/>
                </a:lnTo>
                <a:lnTo>
                  <a:pt x="282" y="6"/>
                </a:lnTo>
                <a:lnTo>
                  <a:pt x="282" y="12"/>
                </a:lnTo>
                <a:lnTo>
                  <a:pt x="282" y="6"/>
                </a:lnTo>
                <a:lnTo>
                  <a:pt x="288" y="6"/>
                </a:lnTo>
                <a:lnTo>
                  <a:pt x="288" y="6"/>
                </a:lnTo>
                <a:lnTo>
                  <a:pt x="288" y="6"/>
                </a:lnTo>
                <a:lnTo>
                  <a:pt x="288" y="6"/>
                </a:lnTo>
                <a:lnTo>
                  <a:pt x="288" y="6"/>
                </a:lnTo>
                <a:lnTo>
                  <a:pt x="288" y="12"/>
                </a:lnTo>
                <a:lnTo>
                  <a:pt x="288" y="12"/>
                </a:lnTo>
                <a:lnTo>
                  <a:pt x="288" y="12"/>
                </a:lnTo>
                <a:lnTo>
                  <a:pt x="294" y="6"/>
                </a:lnTo>
                <a:lnTo>
                  <a:pt x="294" y="12"/>
                </a:lnTo>
                <a:lnTo>
                  <a:pt x="294" y="12"/>
                </a:lnTo>
                <a:lnTo>
                  <a:pt x="294" y="12"/>
                </a:lnTo>
                <a:lnTo>
                  <a:pt x="294" y="12"/>
                </a:lnTo>
                <a:lnTo>
                  <a:pt x="294" y="12"/>
                </a:lnTo>
                <a:lnTo>
                  <a:pt x="294" y="12"/>
                </a:lnTo>
                <a:lnTo>
                  <a:pt x="294" y="12"/>
                </a:lnTo>
                <a:lnTo>
                  <a:pt x="294" y="12"/>
                </a:lnTo>
                <a:lnTo>
                  <a:pt x="294" y="12"/>
                </a:lnTo>
                <a:lnTo>
                  <a:pt x="300" y="12"/>
                </a:lnTo>
                <a:lnTo>
                  <a:pt x="300" y="12"/>
                </a:lnTo>
                <a:lnTo>
                  <a:pt x="300" y="12"/>
                </a:lnTo>
                <a:lnTo>
                  <a:pt x="300" y="12"/>
                </a:lnTo>
                <a:lnTo>
                  <a:pt x="300" y="12"/>
                </a:lnTo>
                <a:lnTo>
                  <a:pt x="300" y="12"/>
                </a:lnTo>
                <a:lnTo>
                  <a:pt x="300" y="12"/>
                </a:lnTo>
                <a:lnTo>
                  <a:pt x="300" y="12"/>
                </a:lnTo>
                <a:lnTo>
                  <a:pt x="306" y="12"/>
                </a:lnTo>
                <a:lnTo>
                  <a:pt x="306" y="12"/>
                </a:lnTo>
                <a:lnTo>
                  <a:pt x="306" y="12"/>
                </a:lnTo>
                <a:lnTo>
                  <a:pt x="306" y="12"/>
                </a:lnTo>
                <a:lnTo>
                  <a:pt x="306" y="18"/>
                </a:lnTo>
                <a:lnTo>
                  <a:pt x="306" y="18"/>
                </a:lnTo>
                <a:lnTo>
                  <a:pt x="306" y="12"/>
                </a:lnTo>
                <a:lnTo>
                  <a:pt x="306" y="12"/>
                </a:lnTo>
                <a:lnTo>
                  <a:pt x="306" y="12"/>
                </a:lnTo>
                <a:lnTo>
                  <a:pt x="306" y="18"/>
                </a:lnTo>
                <a:lnTo>
                  <a:pt x="312" y="18"/>
                </a:lnTo>
                <a:lnTo>
                  <a:pt x="312" y="18"/>
                </a:lnTo>
                <a:lnTo>
                  <a:pt x="312" y="18"/>
                </a:lnTo>
                <a:lnTo>
                  <a:pt x="312" y="18"/>
                </a:lnTo>
                <a:lnTo>
                  <a:pt x="312" y="18"/>
                </a:lnTo>
                <a:lnTo>
                  <a:pt x="312" y="18"/>
                </a:lnTo>
                <a:lnTo>
                  <a:pt x="312" y="18"/>
                </a:lnTo>
                <a:lnTo>
                  <a:pt x="318" y="18"/>
                </a:lnTo>
                <a:lnTo>
                  <a:pt x="318" y="18"/>
                </a:lnTo>
                <a:lnTo>
                  <a:pt x="318" y="18"/>
                </a:lnTo>
                <a:lnTo>
                  <a:pt x="318" y="18"/>
                </a:lnTo>
                <a:lnTo>
                  <a:pt x="318" y="18"/>
                </a:lnTo>
                <a:lnTo>
                  <a:pt x="318" y="24"/>
                </a:lnTo>
                <a:lnTo>
                  <a:pt x="324" y="18"/>
                </a:lnTo>
                <a:lnTo>
                  <a:pt x="324" y="18"/>
                </a:lnTo>
                <a:lnTo>
                  <a:pt x="324" y="24"/>
                </a:lnTo>
                <a:lnTo>
                  <a:pt x="324" y="24"/>
                </a:lnTo>
                <a:lnTo>
                  <a:pt x="324" y="18"/>
                </a:lnTo>
                <a:lnTo>
                  <a:pt x="324" y="18"/>
                </a:lnTo>
                <a:lnTo>
                  <a:pt x="324" y="18"/>
                </a:lnTo>
                <a:lnTo>
                  <a:pt x="324" y="24"/>
                </a:lnTo>
                <a:lnTo>
                  <a:pt x="324" y="18"/>
                </a:lnTo>
                <a:lnTo>
                  <a:pt x="324" y="18"/>
                </a:lnTo>
                <a:lnTo>
                  <a:pt x="324" y="24"/>
                </a:lnTo>
                <a:lnTo>
                  <a:pt x="330" y="24"/>
                </a:lnTo>
                <a:lnTo>
                  <a:pt x="330" y="24"/>
                </a:lnTo>
                <a:lnTo>
                  <a:pt x="330" y="24"/>
                </a:lnTo>
                <a:lnTo>
                  <a:pt x="330" y="24"/>
                </a:lnTo>
                <a:lnTo>
                  <a:pt x="330" y="18"/>
                </a:lnTo>
                <a:lnTo>
                  <a:pt x="330" y="18"/>
                </a:lnTo>
                <a:lnTo>
                  <a:pt x="330" y="24"/>
                </a:lnTo>
                <a:lnTo>
                  <a:pt x="330" y="24"/>
                </a:lnTo>
                <a:lnTo>
                  <a:pt x="330" y="24"/>
                </a:lnTo>
                <a:lnTo>
                  <a:pt x="330" y="24"/>
                </a:lnTo>
                <a:lnTo>
                  <a:pt x="336" y="24"/>
                </a:lnTo>
                <a:lnTo>
                  <a:pt x="336" y="24"/>
                </a:lnTo>
                <a:lnTo>
                  <a:pt x="336" y="24"/>
                </a:lnTo>
                <a:lnTo>
                  <a:pt x="336" y="24"/>
                </a:lnTo>
                <a:lnTo>
                  <a:pt x="336" y="24"/>
                </a:lnTo>
                <a:lnTo>
                  <a:pt x="336" y="24"/>
                </a:lnTo>
                <a:lnTo>
                  <a:pt x="336" y="24"/>
                </a:lnTo>
                <a:lnTo>
                  <a:pt x="336" y="30"/>
                </a:lnTo>
                <a:lnTo>
                  <a:pt x="336" y="30"/>
                </a:lnTo>
                <a:lnTo>
                  <a:pt x="336" y="30"/>
                </a:lnTo>
                <a:lnTo>
                  <a:pt x="336" y="30"/>
                </a:lnTo>
                <a:lnTo>
                  <a:pt x="336" y="30"/>
                </a:lnTo>
                <a:lnTo>
                  <a:pt x="336" y="30"/>
                </a:lnTo>
                <a:lnTo>
                  <a:pt x="336" y="30"/>
                </a:lnTo>
                <a:lnTo>
                  <a:pt x="336" y="30"/>
                </a:lnTo>
                <a:lnTo>
                  <a:pt x="336" y="30"/>
                </a:lnTo>
                <a:lnTo>
                  <a:pt x="336" y="30"/>
                </a:lnTo>
                <a:lnTo>
                  <a:pt x="336" y="30"/>
                </a:lnTo>
                <a:lnTo>
                  <a:pt x="342" y="30"/>
                </a:lnTo>
                <a:lnTo>
                  <a:pt x="342" y="36"/>
                </a:lnTo>
                <a:lnTo>
                  <a:pt x="342" y="36"/>
                </a:lnTo>
                <a:lnTo>
                  <a:pt x="342" y="36"/>
                </a:lnTo>
                <a:lnTo>
                  <a:pt x="342" y="36"/>
                </a:lnTo>
                <a:lnTo>
                  <a:pt x="342" y="36"/>
                </a:lnTo>
                <a:lnTo>
                  <a:pt x="342" y="36"/>
                </a:lnTo>
                <a:lnTo>
                  <a:pt x="342" y="36"/>
                </a:lnTo>
                <a:lnTo>
                  <a:pt x="342" y="36"/>
                </a:lnTo>
                <a:lnTo>
                  <a:pt x="342" y="36"/>
                </a:lnTo>
                <a:lnTo>
                  <a:pt x="342" y="36"/>
                </a:lnTo>
                <a:lnTo>
                  <a:pt x="342" y="36"/>
                </a:lnTo>
                <a:lnTo>
                  <a:pt x="348" y="36"/>
                </a:lnTo>
                <a:lnTo>
                  <a:pt x="348" y="36"/>
                </a:lnTo>
                <a:lnTo>
                  <a:pt x="348" y="36"/>
                </a:lnTo>
                <a:lnTo>
                  <a:pt x="348" y="36"/>
                </a:lnTo>
                <a:lnTo>
                  <a:pt x="348" y="36"/>
                </a:lnTo>
                <a:lnTo>
                  <a:pt x="348" y="36"/>
                </a:lnTo>
                <a:lnTo>
                  <a:pt x="348" y="36"/>
                </a:lnTo>
                <a:lnTo>
                  <a:pt x="348" y="36"/>
                </a:lnTo>
                <a:lnTo>
                  <a:pt x="348" y="36"/>
                </a:lnTo>
                <a:lnTo>
                  <a:pt x="354" y="42"/>
                </a:lnTo>
                <a:lnTo>
                  <a:pt x="354" y="42"/>
                </a:lnTo>
                <a:lnTo>
                  <a:pt x="354" y="42"/>
                </a:lnTo>
                <a:lnTo>
                  <a:pt x="354" y="42"/>
                </a:lnTo>
                <a:lnTo>
                  <a:pt x="354" y="42"/>
                </a:lnTo>
                <a:lnTo>
                  <a:pt x="354" y="42"/>
                </a:lnTo>
                <a:lnTo>
                  <a:pt x="354" y="42"/>
                </a:lnTo>
                <a:lnTo>
                  <a:pt x="354" y="42"/>
                </a:lnTo>
                <a:lnTo>
                  <a:pt x="360" y="42"/>
                </a:lnTo>
                <a:lnTo>
                  <a:pt x="360" y="42"/>
                </a:lnTo>
                <a:lnTo>
                  <a:pt x="360" y="42"/>
                </a:lnTo>
                <a:lnTo>
                  <a:pt x="360" y="42"/>
                </a:lnTo>
                <a:lnTo>
                  <a:pt x="360" y="42"/>
                </a:lnTo>
                <a:lnTo>
                  <a:pt x="360" y="42"/>
                </a:lnTo>
                <a:lnTo>
                  <a:pt x="360" y="42"/>
                </a:lnTo>
                <a:lnTo>
                  <a:pt x="360" y="42"/>
                </a:lnTo>
                <a:lnTo>
                  <a:pt x="366" y="42"/>
                </a:lnTo>
                <a:lnTo>
                  <a:pt x="366" y="42"/>
                </a:lnTo>
                <a:lnTo>
                  <a:pt x="366" y="42"/>
                </a:lnTo>
                <a:lnTo>
                  <a:pt x="366" y="48"/>
                </a:lnTo>
                <a:lnTo>
                  <a:pt x="366" y="48"/>
                </a:lnTo>
                <a:lnTo>
                  <a:pt x="366" y="48"/>
                </a:lnTo>
                <a:lnTo>
                  <a:pt x="366" y="48"/>
                </a:lnTo>
                <a:lnTo>
                  <a:pt x="372" y="48"/>
                </a:lnTo>
                <a:lnTo>
                  <a:pt x="372" y="48"/>
                </a:lnTo>
                <a:lnTo>
                  <a:pt x="372" y="48"/>
                </a:lnTo>
                <a:lnTo>
                  <a:pt x="372" y="48"/>
                </a:lnTo>
                <a:lnTo>
                  <a:pt x="372" y="48"/>
                </a:lnTo>
                <a:lnTo>
                  <a:pt x="372" y="48"/>
                </a:lnTo>
                <a:lnTo>
                  <a:pt x="372" y="48"/>
                </a:lnTo>
                <a:lnTo>
                  <a:pt x="372" y="48"/>
                </a:lnTo>
                <a:lnTo>
                  <a:pt x="378" y="48"/>
                </a:lnTo>
                <a:lnTo>
                  <a:pt x="372" y="48"/>
                </a:lnTo>
                <a:lnTo>
                  <a:pt x="378" y="48"/>
                </a:lnTo>
                <a:lnTo>
                  <a:pt x="378" y="48"/>
                </a:lnTo>
                <a:lnTo>
                  <a:pt x="378" y="48"/>
                </a:lnTo>
                <a:lnTo>
                  <a:pt x="378" y="48"/>
                </a:lnTo>
                <a:lnTo>
                  <a:pt x="378" y="48"/>
                </a:lnTo>
                <a:lnTo>
                  <a:pt x="378" y="48"/>
                </a:lnTo>
                <a:lnTo>
                  <a:pt x="378" y="48"/>
                </a:lnTo>
                <a:lnTo>
                  <a:pt x="378" y="48"/>
                </a:lnTo>
                <a:lnTo>
                  <a:pt x="378" y="48"/>
                </a:lnTo>
                <a:lnTo>
                  <a:pt x="378" y="48"/>
                </a:lnTo>
                <a:lnTo>
                  <a:pt x="378" y="48"/>
                </a:lnTo>
                <a:lnTo>
                  <a:pt x="378" y="48"/>
                </a:lnTo>
                <a:lnTo>
                  <a:pt x="378" y="54"/>
                </a:lnTo>
                <a:lnTo>
                  <a:pt x="378" y="54"/>
                </a:lnTo>
                <a:lnTo>
                  <a:pt x="378" y="54"/>
                </a:lnTo>
                <a:lnTo>
                  <a:pt x="378" y="54"/>
                </a:lnTo>
                <a:lnTo>
                  <a:pt x="378" y="54"/>
                </a:lnTo>
                <a:lnTo>
                  <a:pt x="378" y="54"/>
                </a:lnTo>
                <a:lnTo>
                  <a:pt x="384" y="54"/>
                </a:lnTo>
                <a:lnTo>
                  <a:pt x="384" y="54"/>
                </a:lnTo>
                <a:lnTo>
                  <a:pt x="384" y="54"/>
                </a:lnTo>
                <a:lnTo>
                  <a:pt x="384" y="54"/>
                </a:lnTo>
                <a:lnTo>
                  <a:pt x="384" y="54"/>
                </a:lnTo>
                <a:lnTo>
                  <a:pt x="384" y="54"/>
                </a:lnTo>
                <a:lnTo>
                  <a:pt x="384" y="54"/>
                </a:lnTo>
                <a:lnTo>
                  <a:pt x="384" y="54"/>
                </a:lnTo>
                <a:lnTo>
                  <a:pt x="384" y="54"/>
                </a:lnTo>
                <a:lnTo>
                  <a:pt x="384" y="54"/>
                </a:lnTo>
                <a:lnTo>
                  <a:pt x="384" y="54"/>
                </a:lnTo>
                <a:lnTo>
                  <a:pt x="384" y="54"/>
                </a:lnTo>
                <a:lnTo>
                  <a:pt x="384" y="60"/>
                </a:lnTo>
                <a:lnTo>
                  <a:pt x="390" y="54"/>
                </a:lnTo>
                <a:lnTo>
                  <a:pt x="390" y="54"/>
                </a:lnTo>
                <a:lnTo>
                  <a:pt x="390" y="54"/>
                </a:lnTo>
                <a:lnTo>
                  <a:pt x="390" y="60"/>
                </a:lnTo>
                <a:lnTo>
                  <a:pt x="390" y="60"/>
                </a:lnTo>
                <a:lnTo>
                  <a:pt x="390" y="60"/>
                </a:lnTo>
                <a:lnTo>
                  <a:pt x="390" y="60"/>
                </a:lnTo>
                <a:lnTo>
                  <a:pt x="390" y="60"/>
                </a:lnTo>
                <a:lnTo>
                  <a:pt x="390" y="60"/>
                </a:lnTo>
                <a:lnTo>
                  <a:pt x="390" y="60"/>
                </a:lnTo>
                <a:lnTo>
                  <a:pt x="390" y="60"/>
                </a:lnTo>
                <a:lnTo>
                  <a:pt x="396" y="60"/>
                </a:lnTo>
                <a:lnTo>
                  <a:pt x="396" y="60"/>
                </a:lnTo>
                <a:lnTo>
                  <a:pt x="396" y="60"/>
                </a:lnTo>
                <a:lnTo>
                  <a:pt x="396" y="60"/>
                </a:lnTo>
                <a:lnTo>
                  <a:pt x="396" y="60"/>
                </a:lnTo>
                <a:lnTo>
                  <a:pt x="384" y="90"/>
                </a:lnTo>
                <a:lnTo>
                  <a:pt x="372" y="138"/>
                </a:lnTo>
                <a:lnTo>
                  <a:pt x="372" y="138"/>
                </a:lnTo>
                <a:lnTo>
                  <a:pt x="372" y="138"/>
                </a:lnTo>
                <a:lnTo>
                  <a:pt x="366" y="168"/>
                </a:lnTo>
                <a:lnTo>
                  <a:pt x="360" y="180"/>
                </a:lnTo>
                <a:lnTo>
                  <a:pt x="342" y="228"/>
                </a:lnTo>
                <a:lnTo>
                  <a:pt x="342" y="228"/>
                </a:lnTo>
                <a:lnTo>
                  <a:pt x="342" y="234"/>
                </a:lnTo>
                <a:lnTo>
                  <a:pt x="336" y="234"/>
                </a:lnTo>
                <a:lnTo>
                  <a:pt x="336" y="234"/>
                </a:lnTo>
                <a:lnTo>
                  <a:pt x="336" y="234"/>
                </a:lnTo>
                <a:lnTo>
                  <a:pt x="336" y="234"/>
                </a:lnTo>
                <a:lnTo>
                  <a:pt x="336" y="234"/>
                </a:lnTo>
                <a:lnTo>
                  <a:pt x="330" y="240"/>
                </a:lnTo>
                <a:lnTo>
                  <a:pt x="330" y="240"/>
                </a:lnTo>
                <a:lnTo>
                  <a:pt x="330" y="240"/>
                </a:lnTo>
                <a:lnTo>
                  <a:pt x="324" y="246"/>
                </a:lnTo>
                <a:lnTo>
                  <a:pt x="324" y="246"/>
                </a:lnTo>
                <a:lnTo>
                  <a:pt x="324" y="246"/>
                </a:lnTo>
                <a:lnTo>
                  <a:pt x="318" y="246"/>
                </a:lnTo>
                <a:lnTo>
                  <a:pt x="318" y="252"/>
                </a:lnTo>
                <a:lnTo>
                  <a:pt x="318" y="252"/>
                </a:lnTo>
                <a:lnTo>
                  <a:pt x="318" y="252"/>
                </a:lnTo>
                <a:lnTo>
                  <a:pt x="318" y="252"/>
                </a:lnTo>
                <a:lnTo>
                  <a:pt x="318" y="258"/>
                </a:lnTo>
                <a:lnTo>
                  <a:pt x="318" y="258"/>
                </a:lnTo>
                <a:lnTo>
                  <a:pt x="312" y="258"/>
                </a:lnTo>
                <a:lnTo>
                  <a:pt x="312" y="258"/>
                </a:lnTo>
                <a:lnTo>
                  <a:pt x="312" y="258"/>
                </a:lnTo>
                <a:lnTo>
                  <a:pt x="312" y="258"/>
                </a:lnTo>
                <a:lnTo>
                  <a:pt x="312" y="264"/>
                </a:lnTo>
                <a:lnTo>
                  <a:pt x="312" y="264"/>
                </a:lnTo>
                <a:lnTo>
                  <a:pt x="312" y="264"/>
                </a:lnTo>
                <a:lnTo>
                  <a:pt x="312" y="264"/>
                </a:lnTo>
                <a:lnTo>
                  <a:pt x="312" y="264"/>
                </a:lnTo>
                <a:lnTo>
                  <a:pt x="312" y="264"/>
                </a:lnTo>
                <a:lnTo>
                  <a:pt x="312" y="264"/>
                </a:lnTo>
                <a:lnTo>
                  <a:pt x="312" y="264"/>
                </a:lnTo>
                <a:lnTo>
                  <a:pt x="312" y="270"/>
                </a:lnTo>
                <a:lnTo>
                  <a:pt x="312" y="270"/>
                </a:lnTo>
                <a:lnTo>
                  <a:pt x="306" y="270"/>
                </a:lnTo>
                <a:lnTo>
                  <a:pt x="306" y="276"/>
                </a:lnTo>
                <a:lnTo>
                  <a:pt x="306" y="276"/>
                </a:lnTo>
                <a:lnTo>
                  <a:pt x="306" y="276"/>
                </a:lnTo>
                <a:lnTo>
                  <a:pt x="306" y="276"/>
                </a:lnTo>
                <a:lnTo>
                  <a:pt x="306" y="282"/>
                </a:lnTo>
                <a:lnTo>
                  <a:pt x="306" y="282"/>
                </a:lnTo>
                <a:lnTo>
                  <a:pt x="300" y="282"/>
                </a:lnTo>
                <a:lnTo>
                  <a:pt x="300" y="282"/>
                </a:lnTo>
                <a:lnTo>
                  <a:pt x="300" y="282"/>
                </a:lnTo>
                <a:lnTo>
                  <a:pt x="300" y="282"/>
                </a:lnTo>
                <a:lnTo>
                  <a:pt x="300" y="288"/>
                </a:lnTo>
                <a:lnTo>
                  <a:pt x="294" y="288"/>
                </a:lnTo>
                <a:lnTo>
                  <a:pt x="294" y="288"/>
                </a:lnTo>
                <a:lnTo>
                  <a:pt x="294" y="294"/>
                </a:lnTo>
                <a:lnTo>
                  <a:pt x="294" y="288"/>
                </a:lnTo>
                <a:lnTo>
                  <a:pt x="294" y="294"/>
                </a:lnTo>
                <a:lnTo>
                  <a:pt x="288" y="294"/>
                </a:lnTo>
                <a:lnTo>
                  <a:pt x="288" y="294"/>
                </a:lnTo>
                <a:lnTo>
                  <a:pt x="288" y="294"/>
                </a:lnTo>
                <a:lnTo>
                  <a:pt x="288" y="270"/>
                </a:lnTo>
                <a:lnTo>
                  <a:pt x="228" y="270"/>
                </a:lnTo>
                <a:lnTo>
                  <a:pt x="216" y="270"/>
                </a:lnTo>
                <a:lnTo>
                  <a:pt x="216" y="270"/>
                </a:lnTo>
                <a:lnTo>
                  <a:pt x="216" y="300"/>
                </a:lnTo>
                <a:lnTo>
                  <a:pt x="216" y="300"/>
                </a:lnTo>
                <a:lnTo>
                  <a:pt x="216" y="300"/>
                </a:lnTo>
                <a:lnTo>
                  <a:pt x="216" y="300"/>
                </a:lnTo>
                <a:lnTo>
                  <a:pt x="216" y="300"/>
                </a:lnTo>
                <a:lnTo>
                  <a:pt x="216" y="300"/>
                </a:lnTo>
                <a:lnTo>
                  <a:pt x="216" y="300"/>
                </a:lnTo>
                <a:lnTo>
                  <a:pt x="210" y="300"/>
                </a:lnTo>
                <a:lnTo>
                  <a:pt x="210" y="300"/>
                </a:lnTo>
                <a:lnTo>
                  <a:pt x="204" y="306"/>
                </a:lnTo>
                <a:lnTo>
                  <a:pt x="204" y="300"/>
                </a:lnTo>
                <a:lnTo>
                  <a:pt x="204" y="306"/>
                </a:lnTo>
                <a:lnTo>
                  <a:pt x="204" y="300"/>
                </a:lnTo>
                <a:lnTo>
                  <a:pt x="168" y="312"/>
                </a:lnTo>
                <a:lnTo>
                  <a:pt x="168" y="318"/>
                </a:lnTo>
                <a:lnTo>
                  <a:pt x="168" y="318"/>
                </a:lnTo>
                <a:lnTo>
                  <a:pt x="168" y="318"/>
                </a:lnTo>
                <a:lnTo>
                  <a:pt x="168" y="318"/>
                </a:lnTo>
                <a:lnTo>
                  <a:pt x="168" y="318"/>
                </a:lnTo>
                <a:lnTo>
                  <a:pt x="168" y="318"/>
                </a:lnTo>
                <a:lnTo>
                  <a:pt x="168" y="318"/>
                </a:lnTo>
                <a:lnTo>
                  <a:pt x="162" y="318"/>
                </a:lnTo>
                <a:lnTo>
                  <a:pt x="162" y="318"/>
                </a:lnTo>
                <a:lnTo>
                  <a:pt x="162" y="318"/>
                </a:lnTo>
                <a:lnTo>
                  <a:pt x="162" y="318"/>
                </a:lnTo>
                <a:lnTo>
                  <a:pt x="162" y="318"/>
                </a:lnTo>
                <a:lnTo>
                  <a:pt x="162" y="318"/>
                </a:lnTo>
                <a:lnTo>
                  <a:pt x="162" y="318"/>
                </a:lnTo>
                <a:lnTo>
                  <a:pt x="162" y="318"/>
                </a:lnTo>
                <a:lnTo>
                  <a:pt x="162" y="318"/>
                </a:lnTo>
                <a:lnTo>
                  <a:pt x="156" y="318"/>
                </a:lnTo>
                <a:lnTo>
                  <a:pt x="156" y="318"/>
                </a:lnTo>
                <a:lnTo>
                  <a:pt x="156" y="318"/>
                </a:lnTo>
                <a:lnTo>
                  <a:pt x="156" y="318"/>
                </a:lnTo>
                <a:lnTo>
                  <a:pt x="156" y="318"/>
                </a:lnTo>
                <a:lnTo>
                  <a:pt x="156" y="318"/>
                </a:lnTo>
                <a:lnTo>
                  <a:pt x="150" y="318"/>
                </a:lnTo>
                <a:lnTo>
                  <a:pt x="150" y="318"/>
                </a:lnTo>
                <a:lnTo>
                  <a:pt x="150" y="318"/>
                </a:lnTo>
                <a:lnTo>
                  <a:pt x="150" y="318"/>
                </a:lnTo>
                <a:lnTo>
                  <a:pt x="144" y="348"/>
                </a:lnTo>
                <a:lnTo>
                  <a:pt x="144" y="366"/>
                </a:lnTo>
                <a:lnTo>
                  <a:pt x="144" y="366"/>
                </a:lnTo>
                <a:lnTo>
                  <a:pt x="144" y="366"/>
                </a:lnTo>
                <a:lnTo>
                  <a:pt x="144" y="366"/>
                </a:lnTo>
                <a:lnTo>
                  <a:pt x="150" y="366"/>
                </a:lnTo>
                <a:lnTo>
                  <a:pt x="150" y="372"/>
                </a:lnTo>
                <a:lnTo>
                  <a:pt x="150" y="372"/>
                </a:lnTo>
                <a:lnTo>
                  <a:pt x="150" y="372"/>
                </a:lnTo>
                <a:lnTo>
                  <a:pt x="150" y="372"/>
                </a:lnTo>
                <a:lnTo>
                  <a:pt x="150" y="378"/>
                </a:lnTo>
                <a:lnTo>
                  <a:pt x="150" y="378"/>
                </a:lnTo>
                <a:lnTo>
                  <a:pt x="150" y="378"/>
                </a:lnTo>
                <a:lnTo>
                  <a:pt x="150" y="384"/>
                </a:lnTo>
                <a:lnTo>
                  <a:pt x="150" y="384"/>
                </a:lnTo>
                <a:lnTo>
                  <a:pt x="150" y="384"/>
                </a:lnTo>
                <a:lnTo>
                  <a:pt x="150" y="390"/>
                </a:lnTo>
                <a:lnTo>
                  <a:pt x="156" y="390"/>
                </a:lnTo>
                <a:lnTo>
                  <a:pt x="156" y="390"/>
                </a:lnTo>
                <a:lnTo>
                  <a:pt x="156" y="390"/>
                </a:lnTo>
                <a:lnTo>
                  <a:pt x="156" y="390"/>
                </a:lnTo>
                <a:lnTo>
                  <a:pt x="156" y="390"/>
                </a:lnTo>
                <a:lnTo>
                  <a:pt x="156" y="396"/>
                </a:lnTo>
                <a:lnTo>
                  <a:pt x="156" y="396"/>
                </a:lnTo>
                <a:lnTo>
                  <a:pt x="156" y="396"/>
                </a:lnTo>
                <a:lnTo>
                  <a:pt x="156" y="396"/>
                </a:lnTo>
                <a:lnTo>
                  <a:pt x="156" y="396"/>
                </a:lnTo>
                <a:lnTo>
                  <a:pt x="162" y="402"/>
                </a:lnTo>
                <a:lnTo>
                  <a:pt x="156" y="402"/>
                </a:lnTo>
                <a:lnTo>
                  <a:pt x="156" y="402"/>
                </a:lnTo>
                <a:lnTo>
                  <a:pt x="156" y="402"/>
                </a:lnTo>
                <a:lnTo>
                  <a:pt x="156" y="402"/>
                </a:lnTo>
                <a:lnTo>
                  <a:pt x="162" y="402"/>
                </a:lnTo>
                <a:lnTo>
                  <a:pt x="162" y="408"/>
                </a:lnTo>
                <a:lnTo>
                  <a:pt x="162" y="408"/>
                </a:lnTo>
                <a:lnTo>
                  <a:pt x="162" y="408"/>
                </a:lnTo>
                <a:lnTo>
                  <a:pt x="162" y="408"/>
                </a:lnTo>
                <a:lnTo>
                  <a:pt x="156" y="414"/>
                </a:lnTo>
                <a:lnTo>
                  <a:pt x="156" y="414"/>
                </a:lnTo>
                <a:lnTo>
                  <a:pt x="150" y="414"/>
                </a:lnTo>
                <a:lnTo>
                  <a:pt x="150" y="414"/>
                </a:lnTo>
                <a:lnTo>
                  <a:pt x="156" y="414"/>
                </a:lnTo>
                <a:lnTo>
                  <a:pt x="156" y="414"/>
                </a:lnTo>
                <a:lnTo>
                  <a:pt x="156" y="420"/>
                </a:lnTo>
                <a:lnTo>
                  <a:pt x="156" y="420"/>
                </a:lnTo>
                <a:lnTo>
                  <a:pt x="162" y="420"/>
                </a:lnTo>
                <a:lnTo>
                  <a:pt x="162" y="420"/>
                </a:lnTo>
                <a:lnTo>
                  <a:pt x="162" y="426"/>
                </a:lnTo>
                <a:lnTo>
                  <a:pt x="162" y="426"/>
                </a:lnTo>
                <a:lnTo>
                  <a:pt x="162" y="426"/>
                </a:lnTo>
                <a:lnTo>
                  <a:pt x="162" y="432"/>
                </a:lnTo>
                <a:lnTo>
                  <a:pt x="162" y="432"/>
                </a:lnTo>
                <a:lnTo>
                  <a:pt x="162" y="432"/>
                </a:lnTo>
                <a:lnTo>
                  <a:pt x="162" y="432"/>
                </a:lnTo>
                <a:lnTo>
                  <a:pt x="162" y="438"/>
                </a:lnTo>
                <a:lnTo>
                  <a:pt x="162" y="438"/>
                </a:lnTo>
                <a:lnTo>
                  <a:pt x="168" y="438"/>
                </a:lnTo>
                <a:lnTo>
                  <a:pt x="168" y="438"/>
                </a:lnTo>
                <a:lnTo>
                  <a:pt x="168" y="438"/>
                </a:lnTo>
                <a:lnTo>
                  <a:pt x="168" y="438"/>
                </a:lnTo>
                <a:lnTo>
                  <a:pt x="168" y="444"/>
                </a:lnTo>
                <a:lnTo>
                  <a:pt x="168" y="444"/>
                </a:lnTo>
                <a:lnTo>
                  <a:pt x="168" y="444"/>
                </a:lnTo>
                <a:lnTo>
                  <a:pt x="168" y="444"/>
                </a:lnTo>
                <a:lnTo>
                  <a:pt x="168" y="444"/>
                </a:lnTo>
                <a:lnTo>
                  <a:pt x="168" y="450"/>
                </a:lnTo>
                <a:lnTo>
                  <a:pt x="168" y="450"/>
                </a:lnTo>
                <a:lnTo>
                  <a:pt x="168" y="450"/>
                </a:lnTo>
                <a:lnTo>
                  <a:pt x="168" y="450"/>
                </a:lnTo>
                <a:lnTo>
                  <a:pt x="168" y="450"/>
                </a:lnTo>
                <a:lnTo>
                  <a:pt x="168" y="456"/>
                </a:lnTo>
                <a:lnTo>
                  <a:pt x="168" y="456"/>
                </a:lnTo>
                <a:lnTo>
                  <a:pt x="168" y="456"/>
                </a:lnTo>
                <a:lnTo>
                  <a:pt x="168" y="456"/>
                </a:lnTo>
                <a:lnTo>
                  <a:pt x="168" y="456"/>
                </a:lnTo>
                <a:lnTo>
                  <a:pt x="168" y="456"/>
                </a:lnTo>
                <a:lnTo>
                  <a:pt x="168" y="456"/>
                </a:lnTo>
                <a:lnTo>
                  <a:pt x="168" y="462"/>
                </a:lnTo>
                <a:lnTo>
                  <a:pt x="168" y="462"/>
                </a:lnTo>
                <a:lnTo>
                  <a:pt x="168" y="462"/>
                </a:lnTo>
                <a:lnTo>
                  <a:pt x="168" y="462"/>
                </a:lnTo>
                <a:lnTo>
                  <a:pt x="168" y="468"/>
                </a:lnTo>
                <a:lnTo>
                  <a:pt x="174" y="468"/>
                </a:lnTo>
                <a:lnTo>
                  <a:pt x="174" y="468"/>
                </a:lnTo>
                <a:lnTo>
                  <a:pt x="174" y="468"/>
                </a:lnTo>
                <a:lnTo>
                  <a:pt x="168" y="474"/>
                </a:lnTo>
                <a:lnTo>
                  <a:pt x="168" y="480"/>
                </a:lnTo>
                <a:lnTo>
                  <a:pt x="168" y="480"/>
                </a:lnTo>
                <a:lnTo>
                  <a:pt x="168" y="480"/>
                </a:lnTo>
                <a:lnTo>
                  <a:pt x="168" y="480"/>
                </a:lnTo>
                <a:lnTo>
                  <a:pt x="168" y="480"/>
                </a:lnTo>
                <a:lnTo>
                  <a:pt x="168" y="480"/>
                </a:lnTo>
                <a:lnTo>
                  <a:pt x="168" y="480"/>
                </a:lnTo>
                <a:lnTo>
                  <a:pt x="168" y="486"/>
                </a:lnTo>
                <a:lnTo>
                  <a:pt x="168" y="486"/>
                </a:lnTo>
                <a:lnTo>
                  <a:pt x="168" y="486"/>
                </a:lnTo>
                <a:lnTo>
                  <a:pt x="168" y="486"/>
                </a:lnTo>
                <a:lnTo>
                  <a:pt x="168" y="492"/>
                </a:lnTo>
                <a:lnTo>
                  <a:pt x="168" y="492"/>
                </a:lnTo>
                <a:lnTo>
                  <a:pt x="168" y="492"/>
                </a:lnTo>
                <a:lnTo>
                  <a:pt x="168" y="498"/>
                </a:lnTo>
                <a:lnTo>
                  <a:pt x="168" y="498"/>
                </a:lnTo>
                <a:lnTo>
                  <a:pt x="168" y="498"/>
                </a:lnTo>
                <a:lnTo>
                  <a:pt x="168" y="498"/>
                </a:lnTo>
                <a:lnTo>
                  <a:pt x="168" y="504"/>
                </a:lnTo>
                <a:lnTo>
                  <a:pt x="168" y="504"/>
                </a:lnTo>
                <a:lnTo>
                  <a:pt x="168" y="504"/>
                </a:lnTo>
                <a:lnTo>
                  <a:pt x="174" y="504"/>
                </a:lnTo>
                <a:lnTo>
                  <a:pt x="174" y="504"/>
                </a:lnTo>
                <a:lnTo>
                  <a:pt x="174" y="510"/>
                </a:lnTo>
                <a:lnTo>
                  <a:pt x="168" y="510"/>
                </a:lnTo>
                <a:lnTo>
                  <a:pt x="168" y="510"/>
                </a:lnTo>
                <a:lnTo>
                  <a:pt x="168" y="510"/>
                </a:lnTo>
                <a:lnTo>
                  <a:pt x="168" y="516"/>
                </a:lnTo>
                <a:lnTo>
                  <a:pt x="174" y="516"/>
                </a:lnTo>
                <a:lnTo>
                  <a:pt x="174" y="516"/>
                </a:lnTo>
                <a:lnTo>
                  <a:pt x="174" y="522"/>
                </a:lnTo>
                <a:lnTo>
                  <a:pt x="174" y="522"/>
                </a:lnTo>
                <a:lnTo>
                  <a:pt x="180" y="522"/>
                </a:lnTo>
                <a:lnTo>
                  <a:pt x="180" y="522"/>
                </a:lnTo>
                <a:lnTo>
                  <a:pt x="180" y="522"/>
                </a:lnTo>
                <a:lnTo>
                  <a:pt x="180" y="516"/>
                </a:lnTo>
                <a:lnTo>
                  <a:pt x="192" y="522"/>
                </a:lnTo>
                <a:lnTo>
                  <a:pt x="192" y="522"/>
                </a:lnTo>
                <a:lnTo>
                  <a:pt x="198" y="522"/>
                </a:lnTo>
                <a:lnTo>
                  <a:pt x="198" y="522"/>
                </a:lnTo>
                <a:lnTo>
                  <a:pt x="192" y="528"/>
                </a:lnTo>
                <a:lnTo>
                  <a:pt x="192" y="534"/>
                </a:lnTo>
                <a:lnTo>
                  <a:pt x="198" y="534"/>
                </a:lnTo>
                <a:lnTo>
                  <a:pt x="198" y="540"/>
                </a:lnTo>
                <a:lnTo>
                  <a:pt x="198" y="540"/>
                </a:lnTo>
                <a:lnTo>
                  <a:pt x="198" y="546"/>
                </a:lnTo>
                <a:lnTo>
                  <a:pt x="198" y="546"/>
                </a:lnTo>
                <a:lnTo>
                  <a:pt x="198" y="552"/>
                </a:lnTo>
                <a:lnTo>
                  <a:pt x="192" y="546"/>
                </a:lnTo>
                <a:lnTo>
                  <a:pt x="192" y="552"/>
                </a:lnTo>
                <a:lnTo>
                  <a:pt x="186" y="552"/>
                </a:lnTo>
                <a:lnTo>
                  <a:pt x="186" y="552"/>
                </a:lnTo>
                <a:lnTo>
                  <a:pt x="186" y="552"/>
                </a:lnTo>
                <a:lnTo>
                  <a:pt x="180" y="552"/>
                </a:lnTo>
                <a:lnTo>
                  <a:pt x="180" y="552"/>
                </a:lnTo>
                <a:lnTo>
                  <a:pt x="180" y="558"/>
                </a:lnTo>
                <a:lnTo>
                  <a:pt x="180" y="552"/>
                </a:lnTo>
                <a:lnTo>
                  <a:pt x="180" y="558"/>
                </a:lnTo>
                <a:lnTo>
                  <a:pt x="174" y="558"/>
                </a:lnTo>
                <a:lnTo>
                  <a:pt x="174" y="558"/>
                </a:lnTo>
                <a:lnTo>
                  <a:pt x="180" y="558"/>
                </a:lnTo>
                <a:lnTo>
                  <a:pt x="180" y="558"/>
                </a:lnTo>
                <a:lnTo>
                  <a:pt x="174" y="558"/>
                </a:lnTo>
                <a:lnTo>
                  <a:pt x="180" y="558"/>
                </a:lnTo>
                <a:lnTo>
                  <a:pt x="174" y="558"/>
                </a:lnTo>
                <a:lnTo>
                  <a:pt x="174" y="558"/>
                </a:lnTo>
                <a:lnTo>
                  <a:pt x="174" y="558"/>
                </a:lnTo>
                <a:lnTo>
                  <a:pt x="174" y="558"/>
                </a:lnTo>
                <a:lnTo>
                  <a:pt x="174" y="558"/>
                </a:lnTo>
                <a:lnTo>
                  <a:pt x="174" y="558"/>
                </a:lnTo>
                <a:lnTo>
                  <a:pt x="174" y="558"/>
                </a:lnTo>
                <a:lnTo>
                  <a:pt x="174" y="558"/>
                </a:lnTo>
                <a:lnTo>
                  <a:pt x="174" y="558"/>
                </a:lnTo>
                <a:lnTo>
                  <a:pt x="174" y="558"/>
                </a:lnTo>
                <a:lnTo>
                  <a:pt x="168" y="558"/>
                </a:lnTo>
                <a:lnTo>
                  <a:pt x="168" y="558"/>
                </a:lnTo>
                <a:lnTo>
                  <a:pt x="168" y="558"/>
                </a:lnTo>
                <a:lnTo>
                  <a:pt x="168" y="558"/>
                </a:lnTo>
                <a:lnTo>
                  <a:pt x="168" y="558"/>
                </a:lnTo>
                <a:lnTo>
                  <a:pt x="168" y="558"/>
                </a:lnTo>
                <a:lnTo>
                  <a:pt x="168" y="558"/>
                </a:lnTo>
                <a:lnTo>
                  <a:pt x="168" y="558"/>
                </a:lnTo>
                <a:lnTo>
                  <a:pt x="168" y="564"/>
                </a:lnTo>
                <a:lnTo>
                  <a:pt x="168" y="564"/>
                </a:lnTo>
                <a:lnTo>
                  <a:pt x="168" y="564"/>
                </a:lnTo>
                <a:lnTo>
                  <a:pt x="162" y="564"/>
                </a:lnTo>
                <a:lnTo>
                  <a:pt x="162" y="564"/>
                </a:lnTo>
                <a:lnTo>
                  <a:pt x="168" y="564"/>
                </a:lnTo>
                <a:lnTo>
                  <a:pt x="168" y="564"/>
                </a:lnTo>
                <a:lnTo>
                  <a:pt x="162" y="564"/>
                </a:lnTo>
                <a:lnTo>
                  <a:pt x="162" y="564"/>
                </a:lnTo>
                <a:lnTo>
                  <a:pt x="162" y="564"/>
                </a:lnTo>
                <a:lnTo>
                  <a:pt x="162" y="564"/>
                </a:lnTo>
                <a:lnTo>
                  <a:pt x="162" y="570"/>
                </a:lnTo>
                <a:lnTo>
                  <a:pt x="162" y="570"/>
                </a:lnTo>
                <a:lnTo>
                  <a:pt x="162" y="570"/>
                </a:lnTo>
                <a:lnTo>
                  <a:pt x="162" y="570"/>
                </a:lnTo>
                <a:lnTo>
                  <a:pt x="162" y="570"/>
                </a:lnTo>
                <a:lnTo>
                  <a:pt x="162" y="570"/>
                </a:lnTo>
                <a:lnTo>
                  <a:pt x="162" y="576"/>
                </a:lnTo>
                <a:lnTo>
                  <a:pt x="156" y="576"/>
                </a:lnTo>
                <a:lnTo>
                  <a:pt x="162" y="576"/>
                </a:lnTo>
                <a:lnTo>
                  <a:pt x="156" y="576"/>
                </a:lnTo>
                <a:lnTo>
                  <a:pt x="156" y="576"/>
                </a:lnTo>
                <a:lnTo>
                  <a:pt x="156" y="576"/>
                </a:lnTo>
                <a:lnTo>
                  <a:pt x="156" y="576"/>
                </a:lnTo>
                <a:lnTo>
                  <a:pt x="156" y="576"/>
                </a:lnTo>
                <a:lnTo>
                  <a:pt x="156" y="582"/>
                </a:lnTo>
                <a:lnTo>
                  <a:pt x="156" y="576"/>
                </a:lnTo>
                <a:lnTo>
                  <a:pt x="156" y="582"/>
                </a:lnTo>
                <a:lnTo>
                  <a:pt x="156" y="576"/>
                </a:lnTo>
                <a:lnTo>
                  <a:pt x="150" y="582"/>
                </a:lnTo>
                <a:lnTo>
                  <a:pt x="150" y="576"/>
                </a:lnTo>
                <a:lnTo>
                  <a:pt x="150" y="576"/>
                </a:lnTo>
                <a:lnTo>
                  <a:pt x="150" y="576"/>
                </a:lnTo>
                <a:lnTo>
                  <a:pt x="150" y="576"/>
                </a:lnTo>
                <a:lnTo>
                  <a:pt x="150" y="582"/>
                </a:lnTo>
                <a:lnTo>
                  <a:pt x="144" y="582"/>
                </a:lnTo>
                <a:lnTo>
                  <a:pt x="144" y="582"/>
                </a:lnTo>
                <a:lnTo>
                  <a:pt x="144" y="582"/>
                </a:lnTo>
                <a:lnTo>
                  <a:pt x="144" y="582"/>
                </a:lnTo>
                <a:lnTo>
                  <a:pt x="144" y="582"/>
                </a:lnTo>
                <a:lnTo>
                  <a:pt x="138" y="582"/>
                </a:lnTo>
                <a:lnTo>
                  <a:pt x="138" y="582"/>
                </a:lnTo>
                <a:lnTo>
                  <a:pt x="138" y="582"/>
                </a:lnTo>
                <a:lnTo>
                  <a:pt x="138" y="582"/>
                </a:lnTo>
                <a:lnTo>
                  <a:pt x="138" y="582"/>
                </a:lnTo>
                <a:lnTo>
                  <a:pt x="138" y="588"/>
                </a:lnTo>
                <a:lnTo>
                  <a:pt x="138" y="582"/>
                </a:lnTo>
                <a:lnTo>
                  <a:pt x="138" y="582"/>
                </a:lnTo>
                <a:lnTo>
                  <a:pt x="138" y="582"/>
                </a:lnTo>
                <a:lnTo>
                  <a:pt x="138" y="588"/>
                </a:lnTo>
                <a:lnTo>
                  <a:pt x="138" y="588"/>
                </a:lnTo>
                <a:lnTo>
                  <a:pt x="138" y="588"/>
                </a:lnTo>
                <a:lnTo>
                  <a:pt x="138" y="588"/>
                </a:lnTo>
                <a:lnTo>
                  <a:pt x="138" y="588"/>
                </a:lnTo>
                <a:lnTo>
                  <a:pt x="138" y="588"/>
                </a:lnTo>
                <a:lnTo>
                  <a:pt x="132" y="588"/>
                </a:lnTo>
                <a:lnTo>
                  <a:pt x="132" y="588"/>
                </a:lnTo>
                <a:lnTo>
                  <a:pt x="132" y="588"/>
                </a:lnTo>
                <a:lnTo>
                  <a:pt x="132" y="588"/>
                </a:lnTo>
                <a:lnTo>
                  <a:pt x="132" y="588"/>
                </a:lnTo>
                <a:lnTo>
                  <a:pt x="132" y="588"/>
                </a:lnTo>
                <a:lnTo>
                  <a:pt x="132" y="594"/>
                </a:lnTo>
                <a:lnTo>
                  <a:pt x="132" y="594"/>
                </a:lnTo>
                <a:lnTo>
                  <a:pt x="132" y="594"/>
                </a:lnTo>
                <a:lnTo>
                  <a:pt x="132" y="594"/>
                </a:lnTo>
                <a:lnTo>
                  <a:pt x="132" y="594"/>
                </a:lnTo>
                <a:lnTo>
                  <a:pt x="132" y="594"/>
                </a:lnTo>
                <a:lnTo>
                  <a:pt x="132" y="594"/>
                </a:lnTo>
                <a:lnTo>
                  <a:pt x="132" y="594"/>
                </a:lnTo>
                <a:lnTo>
                  <a:pt x="132" y="594"/>
                </a:lnTo>
                <a:lnTo>
                  <a:pt x="132" y="594"/>
                </a:lnTo>
                <a:lnTo>
                  <a:pt x="132" y="594"/>
                </a:lnTo>
                <a:lnTo>
                  <a:pt x="132" y="594"/>
                </a:lnTo>
                <a:lnTo>
                  <a:pt x="132" y="594"/>
                </a:lnTo>
                <a:lnTo>
                  <a:pt x="132" y="594"/>
                </a:lnTo>
                <a:lnTo>
                  <a:pt x="132" y="600"/>
                </a:lnTo>
                <a:lnTo>
                  <a:pt x="132" y="600"/>
                </a:lnTo>
                <a:lnTo>
                  <a:pt x="132" y="600"/>
                </a:lnTo>
                <a:lnTo>
                  <a:pt x="126" y="600"/>
                </a:lnTo>
                <a:lnTo>
                  <a:pt x="126" y="600"/>
                </a:lnTo>
                <a:lnTo>
                  <a:pt x="126" y="606"/>
                </a:lnTo>
                <a:lnTo>
                  <a:pt x="126" y="606"/>
                </a:lnTo>
                <a:lnTo>
                  <a:pt x="126" y="606"/>
                </a:lnTo>
                <a:lnTo>
                  <a:pt x="126" y="606"/>
                </a:lnTo>
                <a:lnTo>
                  <a:pt x="126" y="612"/>
                </a:lnTo>
                <a:lnTo>
                  <a:pt x="126" y="612"/>
                </a:lnTo>
                <a:lnTo>
                  <a:pt x="126" y="612"/>
                </a:lnTo>
                <a:lnTo>
                  <a:pt x="126" y="612"/>
                </a:lnTo>
                <a:lnTo>
                  <a:pt x="126" y="612"/>
                </a:lnTo>
                <a:lnTo>
                  <a:pt x="126" y="612"/>
                </a:lnTo>
                <a:lnTo>
                  <a:pt x="120" y="612"/>
                </a:lnTo>
                <a:lnTo>
                  <a:pt x="120" y="612"/>
                </a:lnTo>
                <a:lnTo>
                  <a:pt x="120" y="618"/>
                </a:lnTo>
                <a:lnTo>
                  <a:pt x="120" y="618"/>
                </a:lnTo>
                <a:lnTo>
                  <a:pt x="120" y="618"/>
                </a:lnTo>
                <a:lnTo>
                  <a:pt x="120" y="618"/>
                </a:lnTo>
                <a:lnTo>
                  <a:pt x="120" y="618"/>
                </a:lnTo>
                <a:lnTo>
                  <a:pt x="120" y="618"/>
                </a:lnTo>
                <a:lnTo>
                  <a:pt x="120" y="618"/>
                </a:lnTo>
                <a:lnTo>
                  <a:pt x="120" y="618"/>
                </a:lnTo>
                <a:lnTo>
                  <a:pt x="120" y="618"/>
                </a:lnTo>
                <a:lnTo>
                  <a:pt x="114" y="618"/>
                </a:lnTo>
                <a:lnTo>
                  <a:pt x="114" y="618"/>
                </a:lnTo>
                <a:lnTo>
                  <a:pt x="114" y="618"/>
                </a:lnTo>
                <a:lnTo>
                  <a:pt x="114" y="618"/>
                </a:lnTo>
                <a:lnTo>
                  <a:pt x="114" y="618"/>
                </a:lnTo>
                <a:lnTo>
                  <a:pt x="114" y="618"/>
                </a:lnTo>
                <a:lnTo>
                  <a:pt x="114" y="618"/>
                </a:lnTo>
                <a:lnTo>
                  <a:pt x="114" y="618"/>
                </a:lnTo>
                <a:lnTo>
                  <a:pt x="114" y="618"/>
                </a:lnTo>
                <a:lnTo>
                  <a:pt x="108" y="618"/>
                </a:lnTo>
                <a:lnTo>
                  <a:pt x="108" y="618"/>
                </a:lnTo>
                <a:lnTo>
                  <a:pt x="108" y="618"/>
                </a:lnTo>
                <a:lnTo>
                  <a:pt x="108" y="618"/>
                </a:lnTo>
                <a:lnTo>
                  <a:pt x="108" y="618"/>
                </a:lnTo>
                <a:lnTo>
                  <a:pt x="108" y="624"/>
                </a:lnTo>
                <a:lnTo>
                  <a:pt x="108" y="624"/>
                </a:lnTo>
                <a:lnTo>
                  <a:pt x="108" y="624"/>
                </a:lnTo>
                <a:lnTo>
                  <a:pt x="102" y="624"/>
                </a:lnTo>
                <a:lnTo>
                  <a:pt x="102" y="624"/>
                </a:lnTo>
                <a:lnTo>
                  <a:pt x="102" y="624"/>
                </a:lnTo>
                <a:lnTo>
                  <a:pt x="102" y="624"/>
                </a:lnTo>
                <a:lnTo>
                  <a:pt x="102" y="624"/>
                </a:lnTo>
                <a:lnTo>
                  <a:pt x="102" y="624"/>
                </a:lnTo>
                <a:lnTo>
                  <a:pt x="102" y="624"/>
                </a:lnTo>
                <a:lnTo>
                  <a:pt x="102" y="624"/>
                </a:lnTo>
                <a:lnTo>
                  <a:pt x="102" y="630"/>
                </a:lnTo>
                <a:lnTo>
                  <a:pt x="102" y="630"/>
                </a:lnTo>
                <a:lnTo>
                  <a:pt x="96" y="630"/>
                </a:lnTo>
                <a:lnTo>
                  <a:pt x="96" y="630"/>
                </a:lnTo>
                <a:lnTo>
                  <a:pt x="96" y="636"/>
                </a:lnTo>
                <a:lnTo>
                  <a:pt x="96" y="636"/>
                </a:lnTo>
                <a:lnTo>
                  <a:pt x="96" y="636"/>
                </a:lnTo>
                <a:lnTo>
                  <a:pt x="96" y="636"/>
                </a:lnTo>
                <a:lnTo>
                  <a:pt x="96" y="636"/>
                </a:lnTo>
                <a:lnTo>
                  <a:pt x="96" y="636"/>
                </a:lnTo>
                <a:lnTo>
                  <a:pt x="96" y="636"/>
                </a:lnTo>
                <a:lnTo>
                  <a:pt x="96" y="636"/>
                </a:lnTo>
                <a:lnTo>
                  <a:pt x="90" y="636"/>
                </a:lnTo>
                <a:lnTo>
                  <a:pt x="90" y="636"/>
                </a:lnTo>
                <a:lnTo>
                  <a:pt x="90" y="636"/>
                </a:lnTo>
                <a:lnTo>
                  <a:pt x="90" y="642"/>
                </a:lnTo>
                <a:lnTo>
                  <a:pt x="90" y="642"/>
                </a:lnTo>
                <a:lnTo>
                  <a:pt x="90" y="642"/>
                </a:lnTo>
                <a:lnTo>
                  <a:pt x="90" y="642"/>
                </a:lnTo>
                <a:lnTo>
                  <a:pt x="90" y="642"/>
                </a:lnTo>
                <a:lnTo>
                  <a:pt x="90" y="642"/>
                </a:lnTo>
                <a:lnTo>
                  <a:pt x="90" y="642"/>
                </a:lnTo>
                <a:lnTo>
                  <a:pt x="90" y="642"/>
                </a:lnTo>
                <a:lnTo>
                  <a:pt x="90" y="648"/>
                </a:lnTo>
                <a:lnTo>
                  <a:pt x="84" y="648"/>
                </a:lnTo>
                <a:lnTo>
                  <a:pt x="90" y="648"/>
                </a:lnTo>
                <a:lnTo>
                  <a:pt x="90" y="648"/>
                </a:lnTo>
                <a:lnTo>
                  <a:pt x="84" y="648"/>
                </a:lnTo>
                <a:lnTo>
                  <a:pt x="84" y="648"/>
                </a:lnTo>
                <a:lnTo>
                  <a:pt x="84" y="648"/>
                </a:lnTo>
                <a:lnTo>
                  <a:pt x="84" y="648"/>
                </a:lnTo>
                <a:lnTo>
                  <a:pt x="84" y="648"/>
                </a:lnTo>
                <a:lnTo>
                  <a:pt x="84" y="648"/>
                </a:lnTo>
                <a:lnTo>
                  <a:pt x="84" y="648"/>
                </a:lnTo>
                <a:lnTo>
                  <a:pt x="84" y="648"/>
                </a:lnTo>
                <a:lnTo>
                  <a:pt x="84" y="648"/>
                </a:lnTo>
                <a:lnTo>
                  <a:pt x="84" y="648"/>
                </a:lnTo>
                <a:lnTo>
                  <a:pt x="78" y="648"/>
                </a:lnTo>
                <a:lnTo>
                  <a:pt x="78" y="648"/>
                </a:lnTo>
                <a:lnTo>
                  <a:pt x="78" y="648"/>
                </a:lnTo>
                <a:lnTo>
                  <a:pt x="72" y="648"/>
                </a:lnTo>
                <a:lnTo>
                  <a:pt x="78" y="648"/>
                </a:lnTo>
                <a:lnTo>
                  <a:pt x="78" y="642"/>
                </a:lnTo>
                <a:lnTo>
                  <a:pt x="72" y="648"/>
                </a:lnTo>
                <a:lnTo>
                  <a:pt x="72" y="642"/>
                </a:lnTo>
                <a:lnTo>
                  <a:pt x="72" y="642"/>
                </a:lnTo>
                <a:lnTo>
                  <a:pt x="72" y="642"/>
                </a:lnTo>
                <a:lnTo>
                  <a:pt x="72" y="642"/>
                </a:lnTo>
                <a:lnTo>
                  <a:pt x="72" y="642"/>
                </a:lnTo>
                <a:lnTo>
                  <a:pt x="72" y="642"/>
                </a:lnTo>
                <a:lnTo>
                  <a:pt x="72" y="642"/>
                </a:lnTo>
                <a:lnTo>
                  <a:pt x="72" y="642"/>
                </a:lnTo>
                <a:lnTo>
                  <a:pt x="72" y="642"/>
                </a:lnTo>
                <a:lnTo>
                  <a:pt x="72" y="636"/>
                </a:lnTo>
                <a:lnTo>
                  <a:pt x="66" y="642"/>
                </a:lnTo>
                <a:lnTo>
                  <a:pt x="66" y="642"/>
                </a:lnTo>
                <a:lnTo>
                  <a:pt x="66" y="642"/>
                </a:lnTo>
                <a:lnTo>
                  <a:pt x="66" y="642"/>
                </a:lnTo>
                <a:lnTo>
                  <a:pt x="60" y="636"/>
                </a:lnTo>
                <a:lnTo>
                  <a:pt x="60" y="636"/>
                </a:lnTo>
                <a:lnTo>
                  <a:pt x="60" y="636"/>
                </a:lnTo>
                <a:lnTo>
                  <a:pt x="60" y="642"/>
                </a:lnTo>
                <a:lnTo>
                  <a:pt x="60" y="642"/>
                </a:lnTo>
                <a:lnTo>
                  <a:pt x="60" y="642"/>
                </a:lnTo>
                <a:lnTo>
                  <a:pt x="54" y="642"/>
                </a:lnTo>
                <a:lnTo>
                  <a:pt x="54" y="642"/>
                </a:lnTo>
                <a:lnTo>
                  <a:pt x="54" y="642"/>
                </a:lnTo>
                <a:lnTo>
                  <a:pt x="54" y="642"/>
                </a:lnTo>
                <a:lnTo>
                  <a:pt x="54" y="642"/>
                </a:lnTo>
                <a:lnTo>
                  <a:pt x="54" y="642"/>
                </a:lnTo>
                <a:lnTo>
                  <a:pt x="54" y="642"/>
                </a:lnTo>
                <a:lnTo>
                  <a:pt x="54" y="642"/>
                </a:lnTo>
                <a:lnTo>
                  <a:pt x="54" y="642"/>
                </a:lnTo>
                <a:lnTo>
                  <a:pt x="48" y="642"/>
                </a:lnTo>
                <a:lnTo>
                  <a:pt x="48" y="642"/>
                </a:lnTo>
                <a:lnTo>
                  <a:pt x="48" y="648"/>
                </a:lnTo>
                <a:lnTo>
                  <a:pt x="48" y="648"/>
                </a:lnTo>
                <a:lnTo>
                  <a:pt x="48" y="642"/>
                </a:lnTo>
                <a:lnTo>
                  <a:pt x="48" y="642"/>
                </a:lnTo>
                <a:lnTo>
                  <a:pt x="42" y="642"/>
                </a:lnTo>
                <a:lnTo>
                  <a:pt x="42" y="642"/>
                </a:lnTo>
                <a:lnTo>
                  <a:pt x="42" y="642"/>
                </a:lnTo>
                <a:lnTo>
                  <a:pt x="42" y="642"/>
                </a:lnTo>
                <a:lnTo>
                  <a:pt x="36" y="642"/>
                </a:lnTo>
                <a:lnTo>
                  <a:pt x="36" y="642"/>
                </a:lnTo>
                <a:lnTo>
                  <a:pt x="36" y="642"/>
                </a:lnTo>
                <a:lnTo>
                  <a:pt x="36" y="642"/>
                </a:lnTo>
                <a:lnTo>
                  <a:pt x="30" y="642"/>
                </a:lnTo>
                <a:lnTo>
                  <a:pt x="30" y="642"/>
                </a:lnTo>
                <a:lnTo>
                  <a:pt x="30" y="642"/>
                </a:lnTo>
                <a:lnTo>
                  <a:pt x="30" y="636"/>
                </a:lnTo>
                <a:lnTo>
                  <a:pt x="30" y="636"/>
                </a:lnTo>
                <a:lnTo>
                  <a:pt x="24" y="636"/>
                </a:lnTo>
                <a:lnTo>
                  <a:pt x="24" y="636"/>
                </a:lnTo>
                <a:lnTo>
                  <a:pt x="24" y="636"/>
                </a:lnTo>
                <a:lnTo>
                  <a:pt x="24" y="636"/>
                </a:lnTo>
                <a:lnTo>
                  <a:pt x="24" y="636"/>
                </a:lnTo>
                <a:lnTo>
                  <a:pt x="24" y="636"/>
                </a:lnTo>
                <a:lnTo>
                  <a:pt x="24" y="636"/>
                </a:lnTo>
                <a:lnTo>
                  <a:pt x="18" y="636"/>
                </a:lnTo>
                <a:lnTo>
                  <a:pt x="18" y="630"/>
                </a:lnTo>
                <a:lnTo>
                  <a:pt x="24" y="630"/>
                </a:lnTo>
                <a:lnTo>
                  <a:pt x="24" y="630"/>
                </a:lnTo>
                <a:lnTo>
                  <a:pt x="24" y="624"/>
                </a:lnTo>
                <a:lnTo>
                  <a:pt x="24" y="624"/>
                </a:lnTo>
                <a:lnTo>
                  <a:pt x="30" y="624"/>
                </a:lnTo>
                <a:lnTo>
                  <a:pt x="30" y="618"/>
                </a:lnTo>
                <a:lnTo>
                  <a:pt x="30" y="612"/>
                </a:lnTo>
                <a:lnTo>
                  <a:pt x="30" y="612"/>
                </a:lnTo>
                <a:lnTo>
                  <a:pt x="30" y="612"/>
                </a:lnTo>
                <a:lnTo>
                  <a:pt x="30" y="612"/>
                </a:lnTo>
                <a:lnTo>
                  <a:pt x="30" y="612"/>
                </a:lnTo>
                <a:lnTo>
                  <a:pt x="30" y="612"/>
                </a:lnTo>
                <a:lnTo>
                  <a:pt x="30" y="612"/>
                </a:lnTo>
                <a:lnTo>
                  <a:pt x="24" y="606"/>
                </a:lnTo>
                <a:lnTo>
                  <a:pt x="24" y="606"/>
                </a:lnTo>
                <a:lnTo>
                  <a:pt x="30" y="606"/>
                </a:lnTo>
                <a:lnTo>
                  <a:pt x="30" y="606"/>
                </a:lnTo>
                <a:lnTo>
                  <a:pt x="30" y="600"/>
                </a:lnTo>
                <a:lnTo>
                  <a:pt x="36" y="594"/>
                </a:lnTo>
                <a:lnTo>
                  <a:pt x="30" y="594"/>
                </a:lnTo>
                <a:lnTo>
                  <a:pt x="30" y="594"/>
                </a:lnTo>
                <a:lnTo>
                  <a:pt x="30" y="594"/>
                </a:lnTo>
                <a:lnTo>
                  <a:pt x="30" y="594"/>
                </a:lnTo>
                <a:lnTo>
                  <a:pt x="30" y="594"/>
                </a:lnTo>
                <a:lnTo>
                  <a:pt x="36" y="588"/>
                </a:lnTo>
                <a:lnTo>
                  <a:pt x="36" y="588"/>
                </a:lnTo>
                <a:lnTo>
                  <a:pt x="36" y="588"/>
                </a:lnTo>
                <a:lnTo>
                  <a:pt x="36" y="588"/>
                </a:lnTo>
                <a:lnTo>
                  <a:pt x="30" y="582"/>
                </a:lnTo>
                <a:lnTo>
                  <a:pt x="30" y="582"/>
                </a:lnTo>
                <a:lnTo>
                  <a:pt x="30" y="576"/>
                </a:lnTo>
                <a:lnTo>
                  <a:pt x="30" y="576"/>
                </a:lnTo>
                <a:lnTo>
                  <a:pt x="30" y="576"/>
                </a:lnTo>
                <a:lnTo>
                  <a:pt x="30" y="576"/>
                </a:lnTo>
                <a:lnTo>
                  <a:pt x="30" y="570"/>
                </a:lnTo>
                <a:lnTo>
                  <a:pt x="24" y="570"/>
                </a:lnTo>
                <a:lnTo>
                  <a:pt x="24" y="570"/>
                </a:lnTo>
                <a:lnTo>
                  <a:pt x="24" y="564"/>
                </a:lnTo>
                <a:lnTo>
                  <a:pt x="24" y="564"/>
                </a:lnTo>
                <a:lnTo>
                  <a:pt x="30" y="564"/>
                </a:lnTo>
                <a:lnTo>
                  <a:pt x="30" y="558"/>
                </a:lnTo>
                <a:lnTo>
                  <a:pt x="30" y="558"/>
                </a:lnTo>
                <a:lnTo>
                  <a:pt x="30" y="558"/>
                </a:lnTo>
                <a:lnTo>
                  <a:pt x="36" y="552"/>
                </a:lnTo>
                <a:lnTo>
                  <a:pt x="36" y="546"/>
                </a:lnTo>
                <a:lnTo>
                  <a:pt x="42" y="540"/>
                </a:lnTo>
                <a:lnTo>
                  <a:pt x="42" y="540"/>
                </a:lnTo>
                <a:lnTo>
                  <a:pt x="42" y="540"/>
                </a:lnTo>
                <a:lnTo>
                  <a:pt x="42" y="540"/>
                </a:lnTo>
                <a:lnTo>
                  <a:pt x="36" y="534"/>
                </a:lnTo>
                <a:lnTo>
                  <a:pt x="30" y="534"/>
                </a:lnTo>
                <a:lnTo>
                  <a:pt x="30" y="534"/>
                </a:lnTo>
                <a:lnTo>
                  <a:pt x="30" y="534"/>
                </a:lnTo>
                <a:lnTo>
                  <a:pt x="42" y="528"/>
                </a:lnTo>
                <a:lnTo>
                  <a:pt x="42" y="522"/>
                </a:lnTo>
                <a:lnTo>
                  <a:pt x="42" y="522"/>
                </a:lnTo>
                <a:lnTo>
                  <a:pt x="42" y="516"/>
                </a:lnTo>
                <a:lnTo>
                  <a:pt x="42" y="516"/>
                </a:lnTo>
                <a:lnTo>
                  <a:pt x="42" y="510"/>
                </a:lnTo>
                <a:lnTo>
                  <a:pt x="36" y="504"/>
                </a:lnTo>
                <a:lnTo>
                  <a:pt x="36" y="504"/>
                </a:lnTo>
                <a:lnTo>
                  <a:pt x="42" y="498"/>
                </a:lnTo>
                <a:lnTo>
                  <a:pt x="42" y="498"/>
                </a:lnTo>
                <a:lnTo>
                  <a:pt x="48" y="492"/>
                </a:lnTo>
                <a:lnTo>
                  <a:pt x="42" y="492"/>
                </a:lnTo>
                <a:lnTo>
                  <a:pt x="42" y="486"/>
                </a:lnTo>
                <a:lnTo>
                  <a:pt x="42" y="486"/>
                </a:lnTo>
                <a:lnTo>
                  <a:pt x="42" y="486"/>
                </a:lnTo>
                <a:lnTo>
                  <a:pt x="42" y="492"/>
                </a:lnTo>
                <a:lnTo>
                  <a:pt x="42" y="492"/>
                </a:lnTo>
                <a:lnTo>
                  <a:pt x="36" y="486"/>
                </a:lnTo>
                <a:lnTo>
                  <a:pt x="36" y="486"/>
                </a:lnTo>
                <a:lnTo>
                  <a:pt x="36" y="486"/>
                </a:lnTo>
                <a:lnTo>
                  <a:pt x="36" y="486"/>
                </a:lnTo>
                <a:lnTo>
                  <a:pt x="30" y="486"/>
                </a:lnTo>
                <a:lnTo>
                  <a:pt x="30" y="486"/>
                </a:lnTo>
                <a:lnTo>
                  <a:pt x="30" y="480"/>
                </a:lnTo>
                <a:lnTo>
                  <a:pt x="36" y="480"/>
                </a:lnTo>
                <a:lnTo>
                  <a:pt x="36" y="474"/>
                </a:lnTo>
                <a:lnTo>
                  <a:pt x="42" y="474"/>
                </a:lnTo>
                <a:lnTo>
                  <a:pt x="42" y="474"/>
                </a:lnTo>
                <a:lnTo>
                  <a:pt x="36" y="468"/>
                </a:lnTo>
                <a:lnTo>
                  <a:pt x="36" y="468"/>
                </a:lnTo>
                <a:lnTo>
                  <a:pt x="30" y="468"/>
                </a:lnTo>
                <a:lnTo>
                  <a:pt x="30" y="468"/>
                </a:lnTo>
                <a:lnTo>
                  <a:pt x="24" y="468"/>
                </a:lnTo>
                <a:lnTo>
                  <a:pt x="24" y="468"/>
                </a:lnTo>
                <a:lnTo>
                  <a:pt x="30" y="462"/>
                </a:lnTo>
                <a:lnTo>
                  <a:pt x="30" y="462"/>
                </a:lnTo>
                <a:lnTo>
                  <a:pt x="30" y="462"/>
                </a:lnTo>
                <a:lnTo>
                  <a:pt x="36" y="462"/>
                </a:lnTo>
                <a:lnTo>
                  <a:pt x="42" y="462"/>
                </a:lnTo>
                <a:lnTo>
                  <a:pt x="42" y="462"/>
                </a:lnTo>
                <a:lnTo>
                  <a:pt x="36" y="462"/>
                </a:lnTo>
                <a:lnTo>
                  <a:pt x="36" y="462"/>
                </a:lnTo>
                <a:lnTo>
                  <a:pt x="36" y="456"/>
                </a:lnTo>
                <a:lnTo>
                  <a:pt x="30" y="456"/>
                </a:lnTo>
                <a:lnTo>
                  <a:pt x="30" y="450"/>
                </a:lnTo>
                <a:lnTo>
                  <a:pt x="30" y="450"/>
                </a:lnTo>
                <a:lnTo>
                  <a:pt x="30" y="450"/>
                </a:lnTo>
                <a:lnTo>
                  <a:pt x="30" y="456"/>
                </a:lnTo>
                <a:lnTo>
                  <a:pt x="24" y="456"/>
                </a:lnTo>
                <a:lnTo>
                  <a:pt x="24" y="456"/>
                </a:lnTo>
                <a:lnTo>
                  <a:pt x="24" y="456"/>
                </a:lnTo>
                <a:lnTo>
                  <a:pt x="24" y="450"/>
                </a:lnTo>
                <a:lnTo>
                  <a:pt x="24" y="450"/>
                </a:lnTo>
                <a:lnTo>
                  <a:pt x="24" y="450"/>
                </a:lnTo>
                <a:lnTo>
                  <a:pt x="24" y="450"/>
                </a:lnTo>
                <a:lnTo>
                  <a:pt x="18" y="444"/>
                </a:lnTo>
                <a:lnTo>
                  <a:pt x="18" y="444"/>
                </a:lnTo>
                <a:lnTo>
                  <a:pt x="24" y="438"/>
                </a:lnTo>
                <a:lnTo>
                  <a:pt x="18" y="432"/>
                </a:lnTo>
                <a:lnTo>
                  <a:pt x="18" y="432"/>
                </a:lnTo>
                <a:lnTo>
                  <a:pt x="24" y="426"/>
                </a:lnTo>
                <a:lnTo>
                  <a:pt x="24" y="426"/>
                </a:lnTo>
                <a:lnTo>
                  <a:pt x="18" y="420"/>
                </a:lnTo>
                <a:lnTo>
                  <a:pt x="12" y="420"/>
                </a:lnTo>
                <a:lnTo>
                  <a:pt x="12" y="414"/>
                </a:lnTo>
                <a:lnTo>
                  <a:pt x="6" y="408"/>
                </a:lnTo>
                <a:lnTo>
                  <a:pt x="12" y="408"/>
                </a:lnTo>
                <a:lnTo>
                  <a:pt x="12" y="402"/>
                </a:lnTo>
                <a:lnTo>
                  <a:pt x="12" y="402"/>
                </a:lnTo>
                <a:lnTo>
                  <a:pt x="12" y="402"/>
                </a:lnTo>
                <a:lnTo>
                  <a:pt x="6" y="396"/>
                </a:lnTo>
                <a:lnTo>
                  <a:pt x="6" y="396"/>
                </a:lnTo>
                <a:lnTo>
                  <a:pt x="6" y="402"/>
                </a:lnTo>
                <a:lnTo>
                  <a:pt x="6" y="402"/>
                </a:lnTo>
                <a:lnTo>
                  <a:pt x="0" y="402"/>
                </a:lnTo>
                <a:lnTo>
                  <a:pt x="0" y="402"/>
                </a:lnTo>
                <a:lnTo>
                  <a:pt x="0" y="396"/>
                </a:lnTo>
                <a:lnTo>
                  <a:pt x="0" y="396"/>
                </a:lnTo>
                <a:lnTo>
                  <a:pt x="0" y="396"/>
                </a:lnTo>
                <a:lnTo>
                  <a:pt x="6" y="390"/>
                </a:lnTo>
                <a:lnTo>
                  <a:pt x="6" y="390"/>
                </a:lnTo>
                <a:lnTo>
                  <a:pt x="6" y="390"/>
                </a:lnTo>
                <a:lnTo>
                  <a:pt x="6" y="390"/>
                </a:lnTo>
                <a:lnTo>
                  <a:pt x="0" y="390"/>
                </a:lnTo>
                <a:lnTo>
                  <a:pt x="0" y="390"/>
                </a:lnTo>
                <a:lnTo>
                  <a:pt x="0" y="390"/>
                </a:lnTo>
                <a:lnTo>
                  <a:pt x="0" y="390"/>
                </a:lnTo>
                <a:lnTo>
                  <a:pt x="0" y="384"/>
                </a:lnTo>
                <a:lnTo>
                  <a:pt x="6" y="384"/>
                </a:lnTo>
                <a:lnTo>
                  <a:pt x="6" y="384"/>
                </a:lnTo>
                <a:lnTo>
                  <a:pt x="6" y="384"/>
                </a:lnTo>
                <a:lnTo>
                  <a:pt x="12" y="378"/>
                </a:lnTo>
                <a:lnTo>
                  <a:pt x="12" y="378"/>
                </a:lnTo>
                <a:lnTo>
                  <a:pt x="18" y="378"/>
                </a:lnTo>
                <a:lnTo>
                  <a:pt x="18" y="372"/>
                </a:lnTo>
                <a:lnTo>
                  <a:pt x="18" y="372"/>
                </a:lnTo>
                <a:lnTo>
                  <a:pt x="24" y="372"/>
                </a:lnTo>
                <a:lnTo>
                  <a:pt x="24" y="372"/>
                </a:lnTo>
                <a:lnTo>
                  <a:pt x="24" y="372"/>
                </a:lnTo>
                <a:lnTo>
                  <a:pt x="24" y="366"/>
                </a:lnTo>
                <a:lnTo>
                  <a:pt x="30" y="366"/>
                </a:lnTo>
                <a:lnTo>
                  <a:pt x="30" y="366"/>
                </a:lnTo>
                <a:lnTo>
                  <a:pt x="30" y="372"/>
                </a:lnTo>
                <a:lnTo>
                  <a:pt x="36" y="372"/>
                </a:lnTo>
                <a:lnTo>
                  <a:pt x="36" y="372"/>
                </a:lnTo>
                <a:lnTo>
                  <a:pt x="36" y="366"/>
                </a:lnTo>
                <a:lnTo>
                  <a:pt x="42" y="366"/>
                </a:lnTo>
                <a:lnTo>
                  <a:pt x="42" y="360"/>
                </a:lnTo>
                <a:lnTo>
                  <a:pt x="6" y="336"/>
                </a:lnTo>
                <a:lnTo>
                  <a:pt x="18" y="30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73" name="Freeform 506"/>
          <p:cNvSpPr>
            <a:spLocks/>
          </p:cNvSpPr>
          <p:nvPr/>
        </p:nvSpPr>
        <p:spPr bwMode="auto">
          <a:xfrm>
            <a:off x="5734069" y="3010787"/>
            <a:ext cx="308354" cy="256964"/>
          </a:xfrm>
          <a:custGeom>
            <a:avLst/>
            <a:gdLst>
              <a:gd name="T0" fmla="*/ 30 w 288"/>
              <a:gd name="T1" fmla="*/ 186 h 240"/>
              <a:gd name="T2" fmla="*/ 66 w 288"/>
              <a:gd name="T3" fmla="*/ 144 h 240"/>
              <a:gd name="T4" fmla="*/ 96 w 288"/>
              <a:gd name="T5" fmla="*/ 138 h 240"/>
              <a:gd name="T6" fmla="*/ 102 w 288"/>
              <a:gd name="T7" fmla="*/ 132 h 240"/>
              <a:gd name="T8" fmla="*/ 114 w 288"/>
              <a:gd name="T9" fmla="*/ 126 h 240"/>
              <a:gd name="T10" fmla="*/ 126 w 288"/>
              <a:gd name="T11" fmla="*/ 132 h 240"/>
              <a:gd name="T12" fmla="*/ 132 w 288"/>
              <a:gd name="T13" fmla="*/ 126 h 240"/>
              <a:gd name="T14" fmla="*/ 144 w 288"/>
              <a:gd name="T15" fmla="*/ 126 h 240"/>
              <a:gd name="T16" fmla="*/ 150 w 288"/>
              <a:gd name="T17" fmla="*/ 126 h 240"/>
              <a:gd name="T18" fmla="*/ 156 w 288"/>
              <a:gd name="T19" fmla="*/ 120 h 240"/>
              <a:gd name="T20" fmla="*/ 156 w 288"/>
              <a:gd name="T21" fmla="*/ 108 h 240"/>
              <a:gd name="T22" fmla="*/ 162 w 288"/>
              <a:gd name="T23" fmla="*/ 102 h 240"/>
              <a:gd name="T24" fmla="*/ 174 w 288"/>
              <a:gd name="T25" fmla="*/ 102 h 240"/>
              <a:gd name="T26" fmla="*/ 180 w 288"/>
              <a:gd name="T27" fmla="*/ 96 h 240"/>
              <a:gd name="T28" fmla="*/ 192 w 288"/>
              <a:gd name="T29" fmla="*/ 96 h 240"/>
              <a:gd name="T30" fmla="*/ 198 w 288"/>
              <a:gd name="T31" fmla="*/ 90 h 240"/>
              <a:gd name="T32" fmla="*/ 204 w 288"/>
              <a:gd name="T33" fmla="*/ 84 h 240"/>
              <a:gd name="T34" fmla="*/ 210 w 288"/>
              <a:gd name="T35" fmla="*/ 84 h 240"/>
              <a:gd name="T36" fmla="*/ 222 w 288"/>
              <a:gd name="T37" fmla="*/ 84 h 240"/>
              <a:gd name="T38" fmla="*/ 222 w 288"/>
              <a:gd name="T39" fmla="*/ 78 h 240"/>
              <a:gd name="T40" fmla="*/ 228 w 288"/>
              <a:gd name="T41" fmla="*/ 78 h 240"/>
              <a:gd name="T42" fmla="*/ 234 w 288"/>
              <a:gd name="T43" fmla="*/ 72 h 240"/>
              <a:gd name="T44" fmla="*/ 228 w 288"/>
              <a:gd name="T45" fmla="*/ 60 h 240"/>
              <a:gd name="T46" fmla="*/ 234 w 288"/>
              <a:gd name="T47" fmla="*/ 54 h 240"/>
              <a:gd name="T48" fmla="*/ 246 w 288"/>
              <a:gd name="T49" fmla="*/ 48 h 240"/>
              <a:gd name="T50" fmla="*/ 246 w 288"/>
              <a:gd name="T51" fmla="*/ 36 h 240"/>
              <a:gd name="T52" fmla="*/ 240 w 288"/>
              <a:gd name="T53" fmla="*/ 18 h 240"/>
              <a:gd name="T54" fmla="*/ 240 w 288"/>
              <a:gd name="T55" fmla="*/ 12 h 240"/>
              <a:gd name="T56" fmla="*/ 252 w 288"/>
              <a:gd name="T57" fmla="*/ 6 h 240"/>
              <a:gd name="T58" fmla="*/ 258 w 288"/>
              <a:gd name="T59" fmla="*/ 12 h 240"/>
              <a:gd name="T60" fmla="*/ 258 w 288"/>
              <a:gd name="T61" fmla="*/ 24 h 240"/>
              <a:gd name="T62" fmla="*/ 270 w 288"/>
              <a:gd name="T63" fmla="*/ 36 h 240"/>
              <a:gd name="T64" fmla="*/ 276 w 288"/>
              <a:gd name="T65" fmla="*/ 42 h 240"/>
              <a:gd name="T66" fmla="*/ 270 w 288"/>
              <a:gd name="T67" fmla="*/ 54 h 240"/>
              <a:gd name="T68" fmla="*/ 276 w 288"/>
              <a:gd name="T69" fmla="*/ 60 h 240"/>
              <a:gd name="T70" fmla="*/ 282 w 288"/>
              <a:gd name="T71" fmla="*/ 72 h 240"/>
              <a:gd name="T72" fmla="*/ 282 w 288"/>
              <a:gd name="T73" fmla="*/ 84 h 240"/>
              <a:gd name="T74" fmla="*/ 282 w 288"/>
              <a:gd name="T75" fmla="*/ 90 h 240"/>
              <a:gd name="T76" fmla="*/ 276 w 288"/>
              <a:gd name="T77" fmla="*/ 90 h 240"/>
              <a:gd name="T78" fmla="*/ 270 w 288"/>
              <a:gd name="T79" fmla="*/ 96 h 240"/>
              <a:gd name="T80" fmla="*/ 258 w 288"/>
              <a:gd name="T81" fmla="*/ 108 h 240"/>
              <a:gd name="T82" fmla="*/ 246 w 288"/>
              <a:gd name="T83" fmla="*/ 114 h 240"/>
              <a:gd name="T84" fmla="*/ 216 w 288"/>
              <a:gd name="T85" fmla="*/ 114 h 240"/>
              <a:gd name="T86" fmla="*/ 162 w 288"/>
              <a:gd name="T87" fmla="*/ 150 h 240"/>
              <a:gd name="T88" fmla="*/ 150 w 288"/>
              <a:gd name="T89" fmla="*/ 150 h 240"/>
              <a:gd name="T90" fmla="*/ 132 w 288"/>
              <a:gd name="T91" fmla="*/ 156 h 240"/>
              <a:gd name="T92" fmla="*/ 138 w 288"/>
              <a:gd name="T93" fmla="*/ 174 h 240"/>
              <a:gd name="T94" fmla="*/ 102 w 288"/>
              <a:gd name="T95" fmla="*/ 180 h 240"/>
              <a:gd name="T96" fmla="*/ 114 w 288"/>
              <a:gd name="T97" fmla="*/ 186 h 240"/>
              <a:gd name="T98" fmla="*/ 108 w 288"/>
              <a:gd name="T99" fmla="*/ 192 h 240"/>
              <a:gd name="T100" fmla="*/ 96 w 288"/>
              <a:gd name="T101" fmla="*/ 198 h 240"/>
              <a:gd name="T102" fmla="*/ 96 w 288"/>
              <a:gd name="T103" fmla="*/ 216 h 240"/>
              <a:gd name="T104" fmla="*/ 84 w 288"/>
              <a:gd name="T105" fmla="*/ 222 h 240"/>
              <a:gd name="T106" fmla="*/ 72 w 288"/>
              <a:gd name="T107" fmla="*/ 228 h 240"/>
              <a:gd name="T108" fmla="*/ 60 w 288"/>
              <a:gd name="T109" fmla="*/ 234 h 240"/>
              <a:gd name="T110" fmla="*/ 36 w 288"/>
              <a:gd name="T111" fmla="*/ 240 h 240"/>
              <a:gd name="T112" fmla="*/ 12 w 288"/>
              <a:gd name="T113" fmla="*/ 234 h 240"/>
              <a:gd name="T114" fmla="*/ 6 w 288"/>
              <a:gd name="T115" fmla="*/ 2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88" h="240">
                <a:moveTo>
                  <a:pt x="6" y="222"/>
                </a:moveTo>
                <a:lnTo>
                  <a:pt x="12" y="204"/>
                </a:lnTo>
                <a:lnTo>
                  <a:pt x="24" y="198"/>
                </a:lnTo>
                <a:lnTo>
                  <a:pt x="24" y="198"/>
                </a:lnTo>
                <a:lnTo>
                  <a:pt x="24" y="192"/>
                </a:lnTo>
                <a:lnTo>
                  <a:pt x="24" y="192"/>
                </a:lnTo>
                <a:lnTo>
                  <a:pt x="24" y="192"/>
                </a:lnTo>
                <a:lnTo>
                  <a:pt x="24" y="192"/>
                </a:lnTo>
                <a:lnTo>
                  <a:pt x="24" y="192"/>
                </a:lnTo>
                <a:lnTo>
                  <a:pt x="24" y="192"/>
                </a:lnTo>
                <a:lnTo>
                  <a:pt x="30" y="186"/>
                </a:lnTo>
                <a:lnTo>
                  <a:pt x="30" y="186"/>
                </a:lnTo>
                <a:lnTo>
                  <a:pt x="36" y="180"/>
                </a:lnTo>
                <a:lnTo>
                  <a:pt x="36" y="174"/>
                </a:lnTo>
                <a:lnTo>
                  <a:pt x="36" y="168"/>
                </a:lnTo>
                <a:lnTo>
                  <a:pt x="42" y="168"/>
                </a:lnTo>
                <a:lnTo>
                  <a:pt x="42" y="162"/>
                </a:lnTo>
                <a:lnTo>
                  <a:pt x="48" y="156"/>
                </a:lnTo>
                <a:lnTo>
                  <a:pt x="60" y="150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66" y="144"/>
                </a:lnTo>
                <a:lnTo>
                  <a:pt x="72" y="144"/>
                </a:lnTo>
                <a:lnTo>
                  <a:pt x="78" y="138"/>
                </a:lnTo>
                <a:lnTo>
                  <a:pt x="84" y="144"/>
                </a:lnTo>
                <a:lnTo>
                  <a:pt x="90" y="144"/>
                </a:lnTo>
                <a:lnTo>
                  <a:pt x="90" y="144"/>
                </a:lnTo>
                <a:lnTo>
                  <a:pt x="90" y="144"/>
                </a:lnTo>
                <a:lnTo>
                  <a:pt x="90" y="144"/>
                </a:lnTo>
                <a:lnTo>
                  <a:pt x="90" y="138"/>
                </a:lnTo>
                <a:lnTo>
                  <a:pt x="90" y="138"/>
                </a:lnTo>
                <a:lnTo>
                  <a:pt x="96" y="138"/>
                </a:lnTo>
                <a:lnTo>
                  <a:pt x="96" y="138"/>
                </a:lnTo>
                <a:lnTo>
                  <a:pt x="96" y="138"/>
                </a:lnTo>
                <a:lnTo>
                  <a:pt x="96" y="138"/>
                </a:lnTo>
                <a:lnTo>
                  <a:pt x="96" y="138"/>
                </a:lnTo>
                <a:lnTo>
                  <a:pt x="96" y="132"/>
                </a:lnTo>
                <a:lnTo>
                  <a:pt x="102" y="132"/>
                </a:lnTo>
                <a:lnTo>
                  <a:pt x="96" y="132"/>
                </a:lnTo>
                <a:lnTo>
                  <a:pt x="102" y="132"/>
                </a:lnTo>
                <a:lnTo>
                  <a:pt x="102" y="132"/>
                </a:lnTo>
                <a:lnTo>
                  <a:pt x="102" y="132"/>
                </a:lnTo>
                <a:lnTo>
                  <a:pt x="102" y="132"/>
                </a:lnTo>
                <a:lnTo>
                  <a:pt x="102" y="132"/>
                </a:lnTo>
                <a:lnTo>
                  <a:pt x="102" y="132"/>
                </a:lnTo>
                <a:lnTo>
                  <a:pt x="102" y="126"/>
                </a:lnTo>
                <a:lnTo>
                  <a:pt x="102" y="126"/>
                </a:lnTo>
                <a:lnTo>
                  <a:pt x="108" y="126"/>
                </a:lnTo>
                <a:lnTo>
                  <a:pt x="108" y="132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14" y="126"/>
                </a:lnTo>
                <a:lnTo>
                  <a:pt x="114" y="126"/>
                </a:lnTo>
                <a:lnTo>
                  <a:pt x="114" y="126"/>
                </a:lnTo>
                <a:lnTo>
                  <a:pt x="114" y="126"/>
                </a:lnTo>
                <a:lnTo>
                  <a:pt x="114" y="126"/>
                </a:lnTo>
                <a:lnTo>
                  <a:pt x="120" y="126"/>
                </a:lnTo>
                <a:lnTo>
                  <a:pt x="120" y="126"/>
                </a:lnTo>
                <a:lnTo>
                  <a:pt x="114" y="126"/>
                </a:lnTo>
                <a:lnTo>
                  <a:pt x="120" y="132"/>
                </a:lnTo>
                <a:lnTo>
                  <a:pt x="120" y="132"/>
                </a:lnTo>
                <a:lnTo>
                  <a:pt x="126" y="132"/>
                </a:lnTo>
                <a:lnTo>
                  <a:pt x="126" y="132"/>
                </a:lnTo>
                <a:lnTo>
                  <a:pt x="126" y="132"/>
                </a:lnTo>
                <a:lnTo>
                  <a:pt x="126" y="132"/>
                </a:lnTo>
                <a:lnTo>
                  <a:pt x="126" y="132"/>
                </a:lnTo>
                <a:lnTo>
                  <a:pt x="126" y="126"/>
                </a:lnTo>
                <a:lnTo>
                  <a:pt x="126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32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38" y="126"/>
                </a:lnTo>
                <a:lnTo>
                  <a:pt x="138" y="132"/>
                </a:lnTo>
                <a:lnTo>
                  <a:pt x="138" y="126"/>
                </a:lnTo>
                <a:lnTo>
                  <a:pt x="138" y="132"/>
                </a:lnTo>
                <a:lnTo>
                  <a:pt x="138" y="132"/>
                </a:lnTo>
                <a:lnTo>
                  <a:pt x="138" y="132"/>
                </a:lnTo>
                <a:lnTo>
                  <a:pt x="144" y="132"/>
                </a:lnTo>
                <a:lnTo>
                  <a:pt x="144" y="132"/>
                </a:lnTo>
                <a:lnTo>
                  <a:pt x="144" y="126"/>
                </a:lnTo>
                <a:lnTo>
                  <a:pt x="144" y="126"/>
                </a:lnTo>
                <a:lnTo>
                  <a:pt x="144" y="126"/>
                </a:lnTo>
                <a:lnTo>
                  <a:pt x="144" y="126"/>
                </a:lnTo>
                <a:lnTo>
                  <a:pt x="144" y="126"/>
                </a:lnTo>
                <a:lnTo>
                  <a:pt x="144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56" y="120"/>
                </a:lnTo>
                <a:lnTo>
                  <a:pt x="156" y="120"/>
                </a:lnTo>
                <a:lnTo>
                  <a:pt x="156" y="120"/>
                </a:lnTo>
                <a:lnTo>
                  <a:pt x="156" y="120"/>
                </a:lnTo>
                <a:lnTo>
                  <a:pt x="150" y="120"/>
                </a:lnTo>
                <a:lnTo>
                  <a:pt x="156" y="120"/>
                </a:lnTo>
                <a:lnTo>
                  <a:pt x="156" y="120"/>
                </a:lnTo>
                <a:lnTo>
                  <a:pt x="150" y="114"/>
                </a:lnTo>
                <a:lnTo>
                  <a:pt x="156" y="114"/>
                </a:lnTo>
                <a:lnTo>
                  <a:pt x="150" y="114"/>
                </a:lnTo>
                <a:lnTo>
                  <a:pt x="150" y="114"/>
                </a:lnTo>
                <a:lnTo>
                  <a:pt x="150" y="114"/>
                </a:lnTo>
                <a:lnTo>
                  <a:pt x="150" y="108"/>
                </a:lnTo>
                <a:lnTo>
                  <a:pt x="156" y="108"/>
                </a:lnTo>
                <a:lnTo>
                  <a:pt x="156" y="108"/>
                </a:lnTo>
                <a:lnTo>
                  <a:pt x="156" y="108"/>
                </a:lnTo>
                <a:lnTo>
                  <a:pt x="156" y="108"/>
                </a:lnTo>
                <a:lnTo>
                  <a:pt x="156" y="108"/>
                </a:lnTo>
                <a:lnTo>
                  <a:pt x="156" y="108"/>
                </a:lnTo>
                <a:lnTo>
                  <a:pt x="156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2"/>
                </a:lnTo>
                <a:lnTo>
                  <a:pt x="162" y="102"/>
                </a:lnTo>
                <a:lnTo>
                  <a:pt x="162" y="102"/>
                </a:lnTo>
                <a:lnTo>
                  <a:pt x="168" y="102"/>
                </a:lnTo>
                <a:lnTo>
                  <a:pt x="168" y="102"/>
                </a:lnTo>
                <a:lnTo>
                  <a:pt x="168" y="102"/>
                </a:lnTo>
                <a:lnTo>
                  <a:pt x="168" y="102"/>
                </a:lnTo>
                <a:lnTo>
                  <a:pt x="168" y="102"/>
                </a:lnTo>
                <a:lnTo>
                  <a:pt x="168" y="102"/>
                </a:lnTo>
                <a:lnTo>
                  <a:pt x="168" y="102"/>
                </a:lnTo>
                <a:lnTo>
                  <a:pt x="168" y="102"/>
                </a:lnTo>
                <a:lnTo>
                  <a:pt x="174" y="102"/>
                </a:lnTo>
                <a:lnTo>
                  <a:pt x="174" y="102"/>
                </a:lnTo>
                <a:lnTo>
                  <a:pt x="174" y="102"/>
                </a:lnTo>
                <a:lnTo>
                  <a:pt x="174" y="102"/>
                </a:lnTo>
                <a:lnTo>
                  <a:pt x="174" y="96"/>
                </a:lnTo>
                <a:lnTo>
                  <a:pt x="174" y="102"/>
                </a:lnTo>
                <a:lnTo>
                  <a:pt x="174" y="96"/>
                </a:lnTo>
                <a:lnTo>
                  <a:pt x="174" y="96"/>
                </a:lnTo>
                <a:lnTo>
                  <a:pt x="180" y="102"/>
                </a:lnTo>
                <a:lnTo>
                  <a:pt x="180" y="96"/>
                </a:lnTo>
                <a:lnTo>
                  <a:pt x="180" y="102"/>
                </a:lnTo>
                <a:lnTo>
                  <a:pt x="180" y="96"/>
                </a:lnTo>
                <a:lnTo>
                  <a:pt x="180" y="96"/>
                </a:lnTo>
                <a:lnTo>
                  <a:pt x="180" y="96"/>
                </a:lnTo>
                <a:lnTo>
                  <a:pt x="186" y="96"/>
                </a:lnTo>
                <a:lnTo>
                  <a:pt x="186" y="96"/>
                </a:lnTo>
                <a:lnTo>
                  <a:pt x="186" y="96"/>
                </a:lnTo>
                <a:lnTo>
                  <a:pt x="186" y="96"/>
                </a:lnTo>
                <a:lnTo>
                  <a:pt x="186" y="96"/>
                </a:lnTo>
                <a:lnTo>
                  <a:pt x="186" y="96"/>
                </a:lnTo>
                <a:lnTo>
                  <a:pt x="186" y="96"/>
                </a:lnTo>
                <a:lnTo>
                  <a:pt x="186" y="96"/>
                </a:lnTo>
                <a:lnTo>
                  <a:pt x="192" y="96"/>
                </a:lnTo>
                <a:lnTo>
                  <a:pt x="192" y="96"/>
                </a:lnTo>
                <a:lnTo>
                  <a:pt x="192" y="96"/>
                </a:lnTo>
                <a:lnTo>
                  <a:pt x="192" y="96"/>
                </a:lnTo>
                <a:lnTo>
                  <a:pt x="192" y="96"/>
                </a:lnTo>
                <a:lnTo>
                  <a:pt x="192" y="90"/>
                </a:lnTo>
                <a:lnTo>
                  <a:pt x="192" y="90"/>
                </a:lnTo>
                <a:lnTo>
                  <a:pt x="198" y="90"/>
                </a:lnTo>
                <a:lnTo>
                  <a:pt x="198" y="90"/>
                </a:lnTo>
                <a:lnTo>
                  <a:pt x="198" y="90"/>
                </a:lnTo>
                <a:lnTo>
                  <a:pt x="198" y="90"/>
                </a:lnTo>
                <a:lnTo>
                  <a:pt x="198" y="90"/>
                </a:lnTo>
                <a:lnTo>
                  <a:pt x="198" y="90"/>
                </a:lnTo>
                <a:lnTo>
                  <a:pt x="198" y="90"/>
                </a:lnTo>
                <a:lnTo>
                  <a:pt x="198" y="84"/>
                </a:lnTo>
                <a:lnTo>
                  <a:pt x="198" y="84"/>
                </a:lnTo>
                <a:lnTo>
                  <a:pt x="204" y="90"/>
                </a:lnTo>
                <a:lnTo>
                  <a:pt x="204" y="90"/>
                </a:lnTo>
                <a:lnTo>
                  <a:pt x="204" y="84"/>
                </a:lnTo>
                <a:lnTo>
                  <a:pt x="204" y="84"/>
                </a:lnTo>
                <a:lnTo>
                  <a:pt x="204" y="84"/>
                </a:lnTo>
                <a:lnTo>
                  <a:pt x="204" y="84"/>
                </a:lnTo>
                <a:lnTo>
                  <a:pt x="204" y="84"/>
                </a:lnTo>
                <a:lnTo>
                  <a:pt x="204" y="84"/>
                </a:lnTo>
                <a:lnTo>
                  <a:pt x="204" y="84"/>
                </a:lnTo>
                <a:lnTo>
                  <a:pt x="210" y="84"/>
                </a:lnTo>
                <a:lnTo>
                  <a:pt x="210" y="84"/>
                </a:lnTo>
                <a:lnTo>
                  <a:pt x="210" y="84"/>
                </a:lnTo>
                <a:lnTo>
                  <a:pt x="210" y="84"/>
                </a:lnTo>
                <a:lnTo>
                  <a:pt x="210" y="84"/>
                </a:lnTo>
                <a:lnTo>
                  <a:pt x="210" y="84"/>
                </a:lnTo>
                <a:lnTo>
                  <a:pt x="210" y="84"/>
                </a:lnTo>
                <a:lnTo>
                  <a:pt x="210" y="84"/>
                </a:lnTo>
                <a:lnTo>
                  <a:pt x="210" y="84"/>
                </a:lnTo>
                <a:lnTo>
                  <a:pt x="210" y="84"/>
                </a:lnTo>
                <a:lnTo>
                  <a:pt x="216" y="84"/>
                </a:lnTo>
                <a:lnTo>
                  <a:pt x="216" y="84"/>
                </a:lnTo>
                <a:lnTo>
                  <a:pt x="216" y="84"/>
                </a:lnTo>
                <a:lnTo>
                  <a:pt x="216" y="84"/>
                </a:lnTo>
                <a:lnTo>
                  <a:pt x="216" y="84"/>
                </a:lnTo>
                <a:lnTo>
                  <a:pt x="216" y="84"/>
                </a:lnTo>
                <a:lnTo>
                  <a:pt x="216" y="84"/>
                </a:lnTo>
                <a:lnTo>
                  <a:pt x="216" y="84"/>
                </a:lnTo>
                <a:lnTo>
                  <a:pt x="216" y="84"/>
                </a:lnTo>
                <a:lnTo>
                  <a:pt x="222" y="84"/>
                </a:lnTo>
                <a:lnTo>
                  <a:pt x="222" y="84"/>
                </a:lnTo>
                <a:lnTo>
                  <a:pt x="222" y="84"/>
                </a:lnTo>
                <a:lnTo>
                  <a:pt x="222" y="84"/>
                </a:lnTo>
                <a:lnTo>
                  <a:pt x="222" y="84"/>
                </a:lnTo>
                <a:lnTo>
                  <a:pt x="222" y="78"/>
                </a:lnTo>
                <a:lnTo>
                  <a:pt x="222" y="84"/>
                </a:lnTo>
                <a:lnTo>
                  <a:pt x="222" y="78"/>
                </a:lnTo>
                <a:lnTo>
                  <a:pt x="222" y="78"/>
                </a:lnTo>
                <a:lnTo>
                  <a:pt x="222" y="78"/>
                </a:lnTo>
                <a:lnTo>
                  <a:pt x="222" y="78"/>
                </a:lnTo>
                <a:lnTo>
                  <a:pt x="222" y="78"/>
                </a:lnTo>
                <a:lnTo>
                  <a:pt x="222" y="78"/>
                </a:lnTo>
                <a:lnTo>
                  <a:pt x="222" y="78"/>
                </a:lnTo>
                <a:lnTo>
                  <a:pt x="222" y="78"/>
                </a:lnTo>
                <a:lnTo>
                  <a:pt x="228" y="78"/>
                </a:lnTo>
                <a:lnTo>
                  <a:pt x="228" y="78"/>
                </a:lnTo>
                <a:lnTo>
                  <a:pt x="228" y="78"/>
                </a:lnTo>
                <a:lnTo>
                  <a:pt x="228" y="78"/>
                </a:lnTo>
                <a:lnTo>
                  <a:pt x="228" y="78"/>
                </a:lnTo>
                <a:lnTo>
                  <a:pt x="228" y="78"/>
                </a:lnTo>
                <a:lnTo>
                  <a:pt x="228" y="78"/>
                </a:lnTo>
                <a:lnTo>
                  <a:pt x="228" y="78"/>
                </a:lnTo>
                <a:lnTo>
                  <a:pt x="228" y="78"/>
                </a:lnTo>
                <a:lnTo>
                  <a:pt x="228" y="78"/>
                </a:lnTo>
                <a:lnTo>
                  <a:pt x="228" y="78"/>
                </a:lnTo>
                <a:lnTo>
                  <a:pt x="228" y="78"/>
                </a:lnTo>
                <a:lnTo>
                  <a:pt x="228" y="78"/>
                </a:lnTo>
                <a:lnTo>
                  <a:pt x="234" y="78"/>
                </a:lnTo>
                <a:lnTo>
                  <a:pt x="234" y="78"/>
                </a:lnTo>
                <a:lnTo>
                  <a:pt x="234" y="78"/>
                </a:lnTo>
                <a:lnTo>
                  <a:pt x="234" y="78"/>
                </a:lnTo>
                <a:lnTo>
                  <a:pt x="234" y="78"/>
                </a:lnTo>
                <a:lnTo>
                  <a:pt x="234" y="72"/>
                </a:lnTo>
                <a:lnTo>
                  <a:pt x="234" y="72"/>
                </a:lnTo>
                <a:lnTo>
                  <a:pt x="234" y="72"/>
                </a:lnTo>
                <a:lnTo>
                  <a:pt x="228" y="72"/>
                </a:lnTo>
                <a:lnTo>
                  <a:pt x="228" y="72"/>
                </a:lnTo>
                <a:lnTo>
                  <a:pt x="234" y="72"/>
                </a:lnTo>
                <a:lnTo>
                  <a:pt x="234" y="72"/>
                </a:lnTo>
                <a:lnTo>
                  <a:pt x="234" y="66"/>
                </a:lnTo>
                <a:lnTo>
                  <a:pt x="228" y="66"/>
                </a:lnTo>
                <a:lnTo>
                  <a:pt x="228" y="60"/>
                </a:lnTo>
                <a:lnTo>
                  <a:pt x="228" y="60"/>
                </a:lnTo>
                <a:lnTo>
                  <a:pt x="228" y="60"/>
                </a:lnTo>
                <a:lnTo>
                  <a:pt x="228" y="60"/>
                </a:lnTo>
                <a:lnTo>
                  <a:pt x="228" y="60"/>
                </a:lnTo>
                <a:lnTo>
                  <a:pt x="228" y="60"/>
                </a:lnTo>
                <a:lnTo>
                  <a:pt x="228" y="60"/>
                </a:lnTo>
                <a:lnTo>
                  <a:pt x="228" y="54"/>
                </a:lnTo>
                <a:lnTo>
                  <a:pt x="228" y="54"/>
                </a:lnTo>
                <a:lnTo>
                  <a:pt x="228" y="54"/>
                </a:lnTo>
                <a:lnTo>
                  <a:pt x="228" y="54"/>
                </a:lnTo>
                <a:lnTo>
                  <a:pt x="228" y="54"/>
                </a:lnTo>
                <a:lnTo>
                  <a:pt x="234" y="54"/>
                </a:lnTo>
                <a:lnTo>
                  <a:pt x="234" y="54"/>
                </a:lnTo>
                <a:lnTo>
                  <a:pt x="234" y="54"/>
                </a:lnTo>
                <a:lnTo>
                  <a:pt x="234" y="54"/>
                </a:lnTo>
                <a:lnTo>
                  <a:pt x="234" y="48"/>
                </a:lnTo>
                <a:lnTo>
                  <a:pt x="234" y="48"/>
                </a:lnTo>
                <a:lnTo>
                  <a:pt x="240" y="48"/>
                </a:lnTo>
                <a:lnTo>
                  <a:pt x="240" y="48"/>
                </a:lnTo>
                <a:lnTo>
                  <a:pt x="240" y="48"/>
                </a:lnTo>
                <a:lnTo>
                  <a:pt x="240" y="48"/>
                </a:lnTo>
                <a:lnTo>
                  <a:pt x="240" y="48"/>
                </a:lnTo>
                <a:lnTo>
                  <a:pt x="240" y="48"/>
                </a:lnTo>
                <a:lnTo>
                  <a:pt x="246" y="48"/>
                </a:lnTo>
                <a:lnTo>
                  <a:pt x="246" y="48"/>
                </a:lnTo>
                <a:lnTo>
                  <a:pt x="246" y="48"/>
                </a:lnTo>
                <a:lnTo>
                  <a:pt x="246" y="42"/>
                </a:lnTo>
                <a:lnTo>
                  <a:pt x="246" y="42"/>
                </a:lnTo>
                <a:lnTo>
                  <a:pt x="246" y="42"/>
                </a:lnTo>
                <a:lnTo>
                  <a:pt x="246" y="42"/>
                </a:lnTo>
                <a:lnTo>
                  <a:pt x="246" y="36"/>
                </a:lnTo>
                <a:lnTo>
                  <a:pt x="246" y="36"/>
                </a:lnTo>
                <a:lnTo>
                  <a:pt x="246" y="36"/>
                </a:lnTo>
                <a:lnTo>
                  <a:pt x="246" y="36"/>
                </a:lnTo>
                <a:lnTo>
                  <a:pt x="246" y="36"/>
                </a:lnTo>
                <a:lnTo>
                  <a:pt x="246" y="36"/>
                </a:lnTo>
                <a:lnTo>
                  <a:pt x="246" y="30"/>
                </a:lnTo>
                <a:lnTo>
                  <a:pt x="246" y="30"/>
                </a:lnTo>
                <a:lnTo>
                  <a:pt x="246" y="30"/>
                </a:lnTo>
                <a:lnTo>
                  <a:pt x="246" y="24"/>
                </a:lnTo>
                <a:lnTo>
                  <a:pt x="246" y="24"/>
                </a:lnTo>
                <a:lnTo>
                  <a:pt x="246" y="24"/>
                </a:lnTo>
                <a:lnTo>
                  <a:pt x="246" y="18"/>
                </a:lnTo>
                <a:lnTo>
                  <a:pt x="246" y="18"/>
                </a:lnTo>
                <a:lnTo>
                  <a:pt x="240" y="18"/>
                </a:lnTo>
                <a:lnTo>
                  <a:pt x="240" y="18"/>
                </a:lnTo>
                <a:lnTo>
                  <a:pt x="240" y="18"/>
                </a:lnTo>
                <a:lnTo>
                  <a:pt x="240" y="18"/>
                </a:lnTo>
                <a:lnTo>
                  <a:pt x="240" y="18"/>
                </a:lnTo>
                <a:lnTo>
                  <a:pt x="240" y="12"/>
                </a:lnTo>
                <a:lnTo>
                  <a:pt x="240" y="12"/>
                </a:lnTo>
                <a:lnTo>
                  <a:pt x="240" y="12"/>
                </a:lnTo>
                <a:lnTo>
                  <a:pt x="240" y="12"/>
                </a:lnTo>
                <a:lnTo>
                  <a:pt x="240" y="12"/>
                </a:lnTo>
                <a:lnTo>
                  <a:pt x="240" y="12"/>
                </a:lnTo>
                <a:lnTo>
                  <a:pt x="240" y="12"/>
                </a:lnTo>
                <a:lnTo>
                  <a:pt x="240" y="12"/>
                </a:lnTo>
                <a:lnTo>
                  <a:pt x="240" y="12"/>
                </a:lnTo>
                <a:lnTo>
                  <a:pt x="240" y="12"/>
                </a:lnTo>
                <a:lnTo>
                  <a:pt x="240" y="6"/>
                </a:lnTo>
                <a:lnTo>
                  <a:pt x="240" y="6"/>
                </a:lnTo>
                <a:lnTo>
                  <a:pt x="246" y="6"/>
                </a:lnTo>
                <a:lnTo>
                  <a:pt x="246" y="6"/>
                </a:lnTo>
                <a:lnTo>
                  <a:pt x="246" y="6"/>
                </a:lnTo>
                <a:lnTo>
                  <a:pt x="246" y="6"/>
                </a:lnTo>
                <a:lnTo>
                  <a:pt x="252" y="0"/>
                </a:lnTo>
                <a:lnTo>
                  <a:pt x="252" y="0"/>
                </a:lnTo>
                <a:lnTo>
                  <a:pt x="252" y="6"/>
                </a:lnTo>
                <a:lnTo>
                  <a:pt x="252" y="6"/>
                </a:lnTo>
                <a:lnTo>
                  <a:pt x="252" y="6"/>
                </a:lnTo>
                <a:lnTo>
                  <a:pt x="252" y="6"/>
                </a:lnTo>
                <a:lnTo>
                  <a:pt x="258" y="6"/>
                </a:lnTo>
                <a:lnTo>
                  <a:pt x="258" y="6"/>
                </a:lnTo>
                <a:lnTo>
                  <a:pt x="258" y="12"/>
                </a:lnTo>
                <a:lnTo>
                  <a:pt x="258" y="12"/>
                </a:lnTo>
                <a:lnTo>
                  <a:pt x="258" y="12"/>
                </a:lnTo>
                <a:lnTo>
                  <a:pt x="258" y="12"/>
                </a:lnTo>
                <a:lnTo>
                  <a:pt x="258" y="12"/>
                </a:lnTo>
                <a:lnTo>
                  <a:pt x="258" y="12"/>
                </a:lnTo>
                <a:lnTo>
                  <a:pt x="258" y="12"/>
                </a:lnTo>
                <a:lnTo>
                  <a:pt x="258" y="18"/>
                </a:lnTo>
                <a:lnTo>
                  <a:pt x="264" y="18"/>
                </a:lnTo>
                <a:lnTo>
                  <a:pt x="264" y="18"/>
                </a:lnTo>
                <a:lnTo>
                  <a:pt x="264" y="18"/>
                </a:lnTo>
                <a:lnTo>
                  <a:pt x="264" y="18"/>
                </a:lnTo>
                <a:lnTo>
                  <a:pt x="264" y="24"/>
                </a:lnTo>
                <a:lnTo>
                  <a:pt x="264" y="24"/>
                </a:lnTo>
                <a:lnTo>
                  <a:pt x="264" y="24"/>
                </a:lnTo>
                <a:lnTo>
                  <a:pt x="264" y="24"/>
                </a:lnTo>
                <a:lnTo>
                  <a:pt x="264" y="24"/>
                </a:lnTo>
                <a:lnTo>
                  <a:pt x="258" y="24"/>
                </a:lnTo>
                <a:lnTo>
                  <a:pt x="258" y="24"/>
                </a:lnTo>
                <a:lnTo>
                  <a:pt x="264" y="24"/>
                </a:lnTo>
                <a:lnTo>
                  <a:pt x="264" y="24"/>
                </a:lnTo>
                <a:lnTo>
                  <a:pt x="264" y="30"/>
                </a:lnTo>
                <a:lnTo>
                  <a:pt x="264" y="30"/>
                </a:lnTo>
                <a:lnTo>
                  <a:pt x="264" y="30"/>
                </a:lnTo>
                <a:lnTo>
                  <a:pt x="270" y="36"/>
                </a:lnTo>
                <a:lnTo>
                  <a:pt x="270" y="36"/>
                </a:lnTo>
                <a:lnTo>
                  <a:pt x="270" y="30"/>
                </a:lnTo>
                <a:lnTo>
                  <a:pt x="270" y="30"/>
                </a:lnTo>
                <a:lnTo>
                  <a:pt x="270" y="36"/>
                </a:lnTo>
                <a:lnTo>
                  <a:pt x="270" y="36"/>
                </a:lnTo>
                <a:lnTo>
                  <a:pt x="270" y="36"/>
                </a:lnTo>
                <a:lnTo>
                  <a:pt x="276" y="36"/>
                </a:lnTo>
                <a:lnTo>
                  <a:pt x="276" y="36"/>
                </a:lnTo>
                <a:lnTo>
                  <a:pt x="276" y="36"/>
                </a:lnTo>
                <a:lnTo>
                  <a:pt x="270" y="36"/>
                </a:lnTo>
                <a:lnTo>
                  <a:pt x="270" y="36"/>
                </a:lnTo>
                <a:lnTo>
                  <a:pt x="270" y="42"/>
                </a:lnTo>
                <a:lnTo>
                  <a:pt x="276" y="42"/>
                </a:lnTo>
                <a:lnTo>
                  <a:pt x="276" y="42"/>
                </a:lnTo>
                <a:lnTo>
                  <a:pt x="276" y="42"/>
                </a:lnTo>
                <a:lnTo>
                  <a:pt x="270" y="42"/>
                </a:lnTo>
                <a:lnTo>
                  <a:pt x="276" y="42"/>
                </a:lnTo>
                <a:lnTo>
                  <a:pt x="276" y="48"/>
                </a:lnTo>
                <a:lnTo>
                  <a:pt x="276" y="48"/>
                </a:lnTo>
                <a:lnTo>
                  <a:pt x="270" y="42"/>
                </a:lnTo>
                <a:lnTo>
                  <a:pt x="270" y="42"/>
                </a:lnTo>
                <a:lnTo>
                  <a:pt x="270" y="48"/>
                </a:lnTo>
                <a:lnTo>
                  <a:pt x="270" y="48"/>
                </a:lnTo>
                <a:lnTo>
                  <a:pt x="270" y="48"/>
                </a:lnTo>
                <a:lnTo>
                  <a:pt x="270" y="54"/>
                </a:lnTo>
                <a:lnTo>
                  <a:pt x="270" y="54"/>
                </a:lnTo>
                <a:lnTo>
                  <a:pt x="276" y="54"/>
                </a:lnTo>
                <a:lnTo>
                  <a:pt x="276" y="54"/>
                </a:lnTo>
                <a:lnTo>
                  <a:pt x="276" y="54"/>
                </a:lnTo>
                <a:lnTo>
                  <a:pt x="276" y="54"/>
                </a:lnTo>
                <a:lnTo>
                  <a:pt x="276" y="54"/>
                </a:lnTo>
                <a:lnTo>
                  <a:pt x="276" y="54"/>
                </a:lnTo>
                <a:lnTo>
                  <a:pt x="276" y="54"/>
                </a:lnTo>
                <a:lnTo>
                  <a:pt x="276" y="54"/>
                </a:lnTo>
                <a:lnTo>
                  <a:pt x="276" y="60"/>
                </a:lnTo>
                <a:lnTo>
                  <a:pt x="276" y="60"/>
                </a:lnTo>
                <a:lnTo>
                  <a:pt x="276" y="60"/>
                </a:lnTo>
                <a:lnTo>
                  <a:pt x="276" y="60"/>
                </a:lnTo>
                <a:lnTo>
                  <a:pt x="276" y="60"/>
                </a:lnTo>
                <a:lnTo>
                  <a:pt x="282" y="66"/>
                </a:lnTo>
                <a:lnTo>
                  <a:pt x="276" y="66"/>
                </a:lnTo>
                <a:lnTo>
                  <a:pt x="276" y="72"/>
                </a:lnTo>
                <a:lnTo>
                  <a:pt x="282" y="72"/>
                </a:lnTo>
                <a:lnTo>
                  <a:pt x="282" y="72"/>
                </a:lnTo>
                <a:lnTo>
                  <a:pt x="282" y="72"/>
                </a:lnTo>
                <a:lnTo>
                  <a:pt x="282" y="72"/>
                </a:lnTo>
                <a:lnTo>
                  <a:pt x="282" y="72"/>
                </a:lnTo>
                <a:lnTo>
                  <a:pt x="282" y="72"/>
                </a:lnTo>
                <a:lnTo>
                  <a:pt x="288" y="72"/>
                </a:lnTo>
                <a:lnTo>
                  <a:pt x="288" y="72"/>
                </a:lnTo>
                <a:lnTo>
                  <a:pt x="288" y="72"/>
                </a:lnTo>
                <a:lnTo>
                  <a:pt x="288" y="78"/>
                </a:lnTo>
                <a:lnTo>
                  <a:pt x="288" y="78"/>
                </a:lnTo>
                <a:lnTo>
                  <a:pt x="288" y="78"/>
                </a:lnTo>
                <a:lnTo>
                  <a:pt x="288" y="78"/>
                </a:lnTo>
                <a:lnTo>
                  <a:pt x="282" y="78"/>
                </a:lnTo>
                <a:lnTo>
                  <a:pt x="282" y="84"/>
                </a:lnTo>
                <a:lnTo>
                  <a:pt x="282" y="84"/>
                </a:lnTo>
                <a:lnTo>
                  <a:pt x="282" y="84"/>
                </a:lnTo>
                <a:lnTo>
                  <a:pt x="282" y="84"/>
                </a:lnTo>
                <a:lnTo>
                  <a:pt x="282" y="84"/>
                </a:lnTo>
                <a:lnTo>
                  <a:pt x="282" y="84"/>
                </a:lnTo>
                <a:lnTo>
                  <a:pt x="282" y="84"/>
                </a:lnTo>
                <a:lnTo>
                  <a:pt x="282" y="84"/>
                </a:lnTo>
                <a:lnTo>
                  <a:pt x="282" y="84"/>
                </a:lnTo>
                <a:lnTo>
                  <a:pt x="282" y="84"/>
                </a:lnTo>
                <a:lnTo>
                  <a:pt x="282" y="84"/>
                </a:lnTo>
                <a:lnTo>
                  <a:pt x="282" y="84"/>
                </a:lnTo>
                <a:lnTo>
                  <a:pt x="282" y="90"/>
                </a:lnTo>
                <a:lnTo>
                  <a:pt x="282" y="90"/>
                </a:lnTo>
                <a:lnTo>
                  <a:pt x="282" y="90"/>
                </a:lnTo>
                <a:lnTo>
                  <a:pt x="282" y="90"/>
                </a:lnTo>
                <a:lnTo>
                  <a:pt x="282" y="90"/>
                </a:lnTo>
                <a:lnTo>
                  <a:pt x="282" y="90"/>
                </a:lnTo>
                <a:lnTo>
                  <a:pt x="276" y="90"/>
                </a:lnTo>
                <a:lnTo>
                  <a:pt x="276" y="90"/>
                </a:lnTo>
                <a:lnTo>
                  <a:pt x="276" y="90"/>
                </a:lnTo>
                <a:lnTo>
                  <a:pt x="276" y="90"/>
                </a:lnTo>
                <a:lnTo>
                  <a:pt x="276" y="96"/>
                </a:lnTo>
                <a:lnTo>
                  <a:pt x="276" y="90"/>
                </a:lnTo>
                <a:lnTo>
                  <a:pt x="276" y="90"/>
                </a:lnTo>
                <a:lnTo>
                  <a:pt x="276" y="96"/>
                </a:lnTo>
                <a:lnTo>
                  <a:pt x="276" y="96"/>
                </a:lnTo>
                <a:lnTo>
                  <a:pt x="276" y="96"/>
                </a:lnTo>
                <a:lnTo>
                  <a:pt x="276" y="96"/>
                </a:lnTo>
                <a:lnTo>
                  <a:pt x="270" y="96"/>
                </a:lnTo>
                <a:lnTo>
                  <a:pt x="270" y="96"/>
                </a:lnTo>
                <a:lnTo>
                  <a:pt x="270" y="96"/>
                </a:lnTo>
                <a:lnTo>
                  <a:pt x="270" y="96"/>
                </a:lnTo>
                <a:lnTo>
                  <a:pt x="270" y="96"/>
                </a:lnTo>
                <a:lnTo>
                  <a:pt x="270" y="96"/>
                </a:lnTo>
                <a:lnTo>
                  <a:pt x="270" y="96"/>
                </a:lnTo>
                <a:lnTo>
                  <a:pt x="270" y="96"/>
                </a:lnTo>
                <a:lnTo>
                  <a:pt x="264" y="96"/>
                </a:lnTo>
                <a:lnTo>
                  <a:pt x="264" y="96"/>
                </a:lnTo>
                <a:lnTo>
                  <a:pt x="264" y="96"/>
                </a:lnTo>
                <a:lnTo>
                  <a:pt x="264" y="96"/>
                </a:lnTo>
                <a:lnTo>
                  <a:pt x="264" y="96"/>
                </a:lnTo>
                <a:lnTo>
                  <a:pt x="264" y="102"/>
                </a:lnTo>
                <a:lnTo>
                  <a:pt x="264" y="102"/>
                </a:lnTo>
                <a:lnTo>
                  <a:pt x="264" y="102"/>
                </a:lnTo>
                <a:lnTo>
                  <a:pt x="264" y="108"/>
                </a:lnTo>
                <a:lnTo>
                  <a:pt x="258" y="108"/>
                </a:lnTo>
                <a:lnTo>
                  <a:pt x="258" y="108"/>
                </a:lnTo>
                <a:lnTo>
                  <a:pt x="258" y="108"/>
                </a:lnTo>
                <a:lnTo>
                  <a:pt x="258" y="114"/>
                </a:lnTo>
                <a:lnTo>
                  <a:pt x="258" y="114"/>
                </a:lnTo>
                <a:lnTo>
                  <a:pt x="258" y="114"/>
                </a:lnTo>
                <a:lnTo>
                  <a:pt x="252" y="114"/>
                </a:lnTo>
                <a:lnTo>
                  <a:pt x="252" y="108"/>
                </a:lnTo>
                <a:lnTo>
                  <a:pt x="252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0" y="120"/>
                </a:lnTo>
                <a:lnTo>
                  <a:pt x="240" y="120"/>
                </a:lnTo>
                <a:lnTo>
                  <a:pt x="234" y="126"/>
                </a:lnTo>
                <a:lnTo>
                  <a:pt x="234" y="126"/>
                </a:lnTo>
                <a:lnTo>
                  <a:pt x="228" y="120"/>
                </a:lnTo>
                <a:lnTo>
                  <a:pt x="222" y="120"/>
                </a:lnTo>
                <a:lnTo>
                  <a:pt x="216" y="114"/>
                </a:lnTo>
                <a:lnTo>
                  <a:pt x="216" y="114"/>
                </a:lnTo>
                <a:lnTo>
                  <a:pt x="216" y="114"/>
                </a:lnTo>
                <a:lnTo>
                  <a:pt x="174" y="138"/>
                </a:lnTo>
                <a:lnTo>
                  <a:pt x="174" y="138"/>
                </a:lnTo>
                <a:lnTo>
                  <a:pt x="168" y="138"/>
                </a:lnTo>
                <a:lnTo>
                  <a:pt x="168" y="144"/>
                </a:lnTo>
                <a:lnTo>
                  <a:pt x="162" y="144"/>
                </a:lnTo>
                <a:lnTo>
                  <a:pt x="162" y="144"/>
                </a:lnTo>
                <a:lnTo>
                  <a:pt x="162" y="144"/>
                </a:lnTo>
                <a:lnTo>
                  <a:pt x="162" y="144"/>
                </a:lnTo>
                <a:lnTo>
                  <a:pt x="162" y="150"/>
                </a:lnTo>
                <a:lnTo>
                  <a:pt x="162" y="150"/>
                </a:lnTo>
                <a:lnTo>
                  <a:pt x="162" y="150"/>
                </a:lnTo>
                <a:lnTo>
                  <a:pt x="156" y="150"/>
                </a:lnTo>
                <a:lnTo>
                  <a:pt x="156" y="150"/>
                </a:lnTo>
                <a:lnTo>
                  <a:pt x="156" y="150"/>
                </a:lnTo>
                <a:lnTo>
                  <a:pt x="156" y="150"/>
                </a:lnTo>
                <a:lnTo>
                  <a:pt x="156" y="150"/>
                </a:lnTo>
                <a:lnTo>
                  <a:pt x="156" y="150"/>
                </a:lnTo>
                <a:lnTo>
                  <a:pt x="156" y="150"/>
                </a:lnTo>
                <a:lnTo>
                  <a:pt x="150" y="150"/>
                </a:lnTo>
                <a:lnTo>
                  <a:pt x="150" y="150"/>
                </a:lnTo>
                <a:lnTo>
                  <a:pt x="150" y="150"/>
                </a:lnTo>
                <a:lnTo>
                  <a:pt x="150" y="150"/>
                </a:lnTo>
                <a:lnTo>
                  <a:pt x="144" y="150"/>
                </a:lnTo>
                <a:lnTo>
                  <a:pt x="144" y="150"/>
                </a:lnTo>
                <a:lnTo>
                  <a:pt x="144" y="156"/>
                </a:lnTo>
                <a:lnTo>
                  <a:pt x="144" y="156"/>
                </a:lnTo>
                <a:lnTo>
                  <a:pt x="138" y="156"/>
                </a:lnTo>
                <a:lnTo>
                  <a:pt x="138" y="156"/>
                </a:lnTo>
                <a:lnTo>
                  <a:pt x="138" y="156"/>
                </a:lnTo>
                <a:lnTo>
                  <a:pt x="138" y="156"/>
                </a:lnTo>
                <a:lnTo>
                  <a:pt x="132" y="156"/>
                </a:lnTo>
                <a:lnTo>
                  <a:pt x="132" y="156"/>
                </a:lnTo>
                <a:lnTo>
                  <a:pt x="132" y="156"/>
                </a:lnTo>
                <a:lnTo>
                  <a:pt x="132" y="156"/>
                </a:lnTo>
                <a:lnTo>
                  <a:pt x="132" y="162"/>
                </a:lnTo>
                <a:lnTo>
                  <a:pt x="132" y="162"/>
                </a:lnTo>
                <a:lnTo>
                  <a:pt x="132" y="162"/>
                </a:lnTo>
                <a:lnTo>
                  <a:pt x="132" y="168"/>
                </a:lnTo>
                <a:lnTo>
                  <a:pt x="138" y="168"/>
                </a:lnTo>
                <a:lnTo>
                  <a:pt x="138" y="168"/>
                </a:lnTo>
                <a:lnTo>
                  <a:pt x="138" y="174"/>
                </a:lnTo>
                <a:lnTo>
                  <a:pt x="138" y="174"/>
                </a:lnTo>
                <a:lnTo>
                  <a:pt x="138" y="174"/>
                </a:lnTo>
                <a:lnTo>
                  <a:pt x="138" y="174"/>
                </a:lnTo>
                <a:lnTo>
                  <a:pt x="138" y="180"/>
                </a:lnTo>
                <a:lnTo>
                  <a:pt x="138" y="180"/>
                </a:lnTo>
                <a:lnTo>
                  <a:pt x="138" y="180"/>
                </a:lnTo>
                <a:lnTo>
                  <a:pt x="108" y="168"/>
                </a:lnTo>
                <a:lnTo>
                  <a:pt x="108" y="168"/>
                </a:lnTo>
                <a:lnTo>
                  <a:pt x="108" y="174"/>
                </a:lnTo>
                <a:lnTo>
                  <a:pt x="108" y="174"/>
                </a:lnTo>
                <a:lnTo>
                  <a:pt x="108" y="174"/>
                </a:lnTo>
                <a:lnTo>
                  <a:pt x="108" y="174"/>
                </a:lnTo>
                <a:lnTo>
                  <a:pt x="108" y="180"/>
                </a:lnTo>
                <a:lnTo>
                  <a:pt x="102" y="180"/>
                </a:lnTo>
                <a:lnTo>
                  <a:pt x="102" y="180"/>
                </a:lnTo>
                <a:lnTo>
                  <a:pt x="108" y="180"/>
                </a:lnTo>
                <a:lnTo>
                  <a:pt x="108" y="180"/>
                </a:lnTo>
                <a:lnTo>
                  <a:pt x="108" y="180"/>
                </a:lnTo>
                <a:lnTo>
                  <a:pt x="108" y="186"/>
                </a:lnTo>
                <a:lnTo>
                  <a:pt x="108" y="186"/>
                </a:lnTo>
                <a:lnTo>
                  <a:pt x="108" y="186"/>
                </a:lnTo>
                <a:lnTo>
                  <a:pt x="108" y="186"/>
                </a:lnTo>
                <a:lnTo>
                  <a:pt x="108" y="186"/>
                </a:lnTo>
                <a:lnTo>
                  <a:pt x="108" y="186"/>
                </a:lnTo>
                <a:lnTo>
                  <a:pt x="114" y="186"/>
                </a:lnTo>
                <a:lnTo>
                  <a:pt x="114" y="186"/>
                </a:lnTo>
                <a:lnTo>
                  <a:pt x="114" y="186"/>
                </a:lnTo>
                <a:lnTo>
                  <a:pt x="114" y="186"/>
                </a:lnTo>
                <a:lnTo>
                  <a:pt x="114" y="186"/>
                </a:lnTo>
                <a:lnTo>
                  <a:pt x="114" y="186"/>
                </a:lnTo>
                <a:lnTo>
                  <a:pt x="114" y="192"/>
                </a:lnTo>
                <a:lnTo>
                  <a:pt x="108" y="192"/>
                </a:lnTo>
                <a:lnTo>
                  <a:pt x="108" y="192"/>
                </a:lnTo>
                <a:lnTo>
                  <a:pt x="108" y="192"/>
                </a:lnTo>
                <a:lnTo>
                  <a:pt x="108" y="192"/>
                </a:lnTo>
                <a:lnTo>
                  <a:pt x="108" y="192"/>
                </a:lnTo>
                <a:lnTo>
                  <a:pt x="102" y="198"/>
                </a:lnTo>
                <a:lnTo>
                  <a:pt x="102" y="198"/>
                </a:lnTo>
                <a:lnTo>
                  <a:pt x="102" y="198"/>
                </a:lnTo>
                <a:lnTo>
                  <a:pt x="102" y="198"/>
                </a:lnTo>
                <a:lnTo>
                  <a:pt x="96" y="198"/>
                </a:lnTo>
                <a:lnTo>
                  <a:pt x="96" y="198"/>
                </a:lnTo>
                <a:lnTo>
                  <a:pt x="96" y="198"/>
                </a:lnTo>
                <a:lnTo>
                  <a:pt x="96" y="198"/>
                </a:lnTo>
                <a:lnTo>
                  <a:pt x="96" y="198"/>
                </a:lnTo>
                <a:lnTo>
                  <a:pt x="96" y="198"/>
                </a:lnTo>
                <a:lnTo>
                  <a:pt x="96" y="198"/>
                </a:lnTo>
                <a:lnTo>
                  <a:pt x="96" y="204"/>
                </a:lnTo>
                <a:lnTo>
                  <a:pt x="90" y="204"/>
                </a:lnTo>
                <a:lnTo>
                  <a:pt x="90" y="204"/>
                </a:lnTo>
                <a:lnTo>
                  <a:pt x="96" y="204"/>
                </a:lnTo>
                <a:lnTo>
                  <a:pt x="96" y="204"/>
                </a:lnTo>
                <a:lnTo>
                  <a:pt x="96" y="210"/>
                </a:lnTo>
                <a:lnTo>
                  <a:pt x="96" y="210"/>
                </a:lnTo>
                <a:lnTo>
                  <a:pt x="96" y="210"/>
                </a:lnTo>
                <a:lnTo>
                  <a:pt x="96" y="216"/>
                </a:lnTo>
                <a:lnTo>
                  <a:pt x="96" y="216"/>
                </a:lnTo>
                <a:lnTo>
                  <a:pt x="96" y="216"/>
                </a:lnTo>
                <a:lnTo>
                  <a:pt x="96" y="216"/>
                </a:lnTo>
                <a:lnTo>
                  <a:pt x="96" y="216"/>
                </a:lnTo>
                <a:lnTo>
                  <a:pt x="90" y="216"/>
                </a:lnTo>
                <a:lnTo>
                  <a:pt x="90" y="216"/>
                </a:lnTo>
                <a:lnTo>
                  <a:pt x="90" y="216"/>
                </a:lnTo>
                <a:lnTo>
                  <a:pt x="90" y="222"/>
                </a:lnTo>
                <a:lnTo>
                  <a:pt x="90" y="222"/>
                </a:lnTo>
                <a:lnTo>
                  <a:pt x="90" y="222"/>
                </a:lnTo>
                <a:lnTo>
                  <a:pt x="90" y="222"/>
                </a:lnTo>
                <a:lnTo>
                  <a:pt x="84" y="222"/>
                </a:lnTo>
                <a:lnTo>
                  <a:pt x="84" y="222"/>
                </a:lnTo>
                <a:lnTo>
                  <a:pt x="84" y="222"/>
                </a:lnTo>
                <a:lnTo>
                  <a:pt x="84" y="222"/>
                </a:lnTo>
                <a:lnTo>
                  <a:pt x="78" y="228"/>
                </a:lnTo>
                <a:lnTo>
                  <a:pt x="78" y="228"/>
                </a:lnTo>
                <a:lnTo>
                  <a:pt x="78" y="228"/>
                </a:lnTo>
                <a:lnTo>
                  <a:pt x="78" y="228"/>
                </a:lnTo>
                <a:lnTo>
                  <a:pt x="78" y="228"/>
                </a:lnTo>
                <a:lnTo>
                  <a:pt x="78" y="228"/>
                </a:lnTo>
                <a:lnTo>
                  <a:pt x="72" y="228"/>
                </a:lnTo>
                <a:lnTo>
                  <a:pt x="72" y="228"/>
                </a:lnTo>
                <a:lnTo>
                  <a:pt x="72" y="228"/>
                </a:lnTo>
                <a:lnTo>
                  <a:pt x="72" y="234"/>
                </a:lnTo>
                <a:lnTo>
                  <a:pt x="66" y="234"/>
                </a:lnTo>
                <a:lnTo>
                  <a:pt x="66" y="234"/>
                </a:lnTo>
                <a:lnTo>
                  <a:pt x="66" y="240"/>
                </a:lnTo>
                <a:lnTo>
                  <a:pt x="66" y="240"/>
                </a:lnTo>
                <a:lnTo>
                  <a:pt x="66" y="240"/>
                </a:lnTo>
                <a:lnTo>
                  <a:pt x="66" y="240"/>
                </a:lnTo>
                <a:lnTo>
                  <a:pt x="60" y="240"/>
                </a:lnTo>
                <a:lnTo>
                  <a:pt x="60" y="240"/>
                </a:lnTo>
                <a:lnTo>
                  <a:pt x="60" y="240"/>
                </a:lnTo>
                <a:lnTo>
                  <a:pt x="60" y="234"/>
                </a:lnTo>
                <a:lnTo>
                  <a:pt x="60" y="234"/>
                </a:lnTo>
                <a:lnTo>
                  <a:pt x="60" y="234"/>
                </a:lnTo>
                <a:lnTo>
                  <a:pt x="60" y="234"/>
                </a:lnTo>
                <a:lnTo>
                  <a:pt x="42" y="234"/>
                </a:lnTo>
                <a:lnTo>
                  <a:pt x="42" y="234"/>
                </a:lnTo>
                <a:lnTo>
                  <a:pt x="36" y="234"/>
                </a:lnTo>
                <a:lnTo>
                  <a:pt x="36" y="234"/>
                </a:lnTo>
                <a:lnTo>
                  <a:pt x="36" y="240"/>
                </a:lnTo>
                <a:lnTo>
                  <a:pt x="36" y="240"/>
                </a:lnTo>
                <a:lnTo>
                  <a:pt x="36" y="240"/>
                </a:lnTo>
                <a:lnTo>
                  <a:pt x="36" y="240"/>
                </a:lnTo>
                <a:lnTo>
                  <a:pt x="30" y="240"/>
                </a:lnTo>
                <a:lnTo>
                  <a:pt x="30" y="240"/>
                </a:lnTo>
                <a:lnTo>
                  <a:pt x="30" y="240"/>
                </a:lnTo>
                <a:lnTo>
                  <a:pt x="30" y="234"/>
                </a:lnTo>
                <a:lnTo>
                  <a:pt x="24" y="234"/>
                </a:lnTo>
                <a:lnTo>
                  <a:pt x="24" y="234"/>
                </a:lnTo>
                <a:lnTo>
                  <a:pt x="24" y="234"/>
                </a:lnTo>
                <a:lnTo>
                  <a:pt x="24" y="234"/>
                </a:lnTo>
                <a:lnTo>
                  <a:pt x="12" y="234"/>
                </a:lnTo>
                <a:lnTo>
                  <a:pt x="12" y="234"/>
                </a:lnTo>
                <a:lnTo>
                  <a:pt x="12" y="234"/>
                </a:lnTo>
                <a:lnTo>
                  <a:pt x="12" y="234"/>
                </a:lnTo>
                <a:lnTo>
                  <a:pt x="12" y="234"/>
                </a:lnTo>
                <a:lnTo>
                  <a:pt x="6" y="234"/>
                </a:lnTo>
                <a:lnTo>
                  <a:pt x="6" y="234"/>
                </a:lnTo>
                <a:lnTo>
                  <a:pt x="6" y="234"/>
                </a:lnTo>
                <a:lnTo>
                  <a:pt x="6" y="228"/>
                </a:lnTo>
                <a:lnTo>
                  <a:pt x="6" y="228"/>
                </a:lnTo>
                <a:lnTo>
                  <a:pt x="6" y="228"/>
                </a:lnTo>
                <a:lnTo>
                  <a:pt x="6" y="228"/>
                </a:lnTo>
                <a:lnTo>
                  <a:pt x="6" y="228"/>
                </a:lnTo>
                <a:lnTo>
                  <a:pt x="6" y="228"/>
                </a:lnTo>
                <a:lnTo>
                  <a:pt x="6" y="228"/>
                </a:lnTo>
                <a:lnTo>
                  <a:pt x="0" y="222"/>
                </a:lnTo>
                <a:lnTo>
                  <a:pt x="6" y="222"/>
                </a:lnTo>
                <a:lnTo>
                  <a:pt x="6" y="222"/>
                </a:lnTo>
                <a:lnTo>
                  <a:pt x="6" y="222"/>
                </a:lnTo>
                <a:lnTo>
                  <a:pt x="6" y="22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74" name="Freeform 507"/>
          <p:cNvSpPr>
            <a:spLocks/>
          </p:cNvSpPr>
          <p:nvPr/>
        </p:nvSpPr>
        <p:spPr bwMode="auto">
          <a:xfrm>
            <a:off x="6125936" y="2663886"/>
            <a:ext cx="391867" cy="584593"/>
          </a:xfrm>
          <a:custGeom>
            <a:avLst/>
            <a:gdLst>
              <a:gd name="T0" fmla="*/ 36 w 366"/>
              <a:gd name="T1" fmla="*/ 516 h 546"/>
              <a:gd name="T2" fmla="*/ 24 w 366"/>
              <a:gd name="T3" fmla="*/ 486 h 546"/>
              <a:gd name="T4" fmla="*/ 24 w 366"/>
              <a:gd name="T5" fmla="*/ 468 h 546"/>
              <a:gd name="T6" fmla="*/ 60 w 366"/>
              <a:gd name="T7" fmla="*/ 444 h 546"/>
              <a:gd name="T8" fmla="*/ 90 w 366"/>
              <a:gd name="T9" fmla="*/ 426 h 546"/>
              <a:gd name="T10" fmla="*/ 102 w 366"/>
              <a:gd name="T11" fmla="*/ 396 h 546"/>
              <a:gd name="T12" fmla="*/ 108 w 366"/>
              <a:gd name="T13" fmla="*/ 378 h 546"/>
              <a:gd name="T14" fmla="*/ 114 w 366"/>
              <a:gd name="T15" fmla="*/ 360 h 546"/>
              <a:gd name="T16" fmla="*/ 126 w 366"/>
              <a:gd name="T17" fmla="*/ 330 h 546"/>
              <a:gd name="T18" fmla="*/ 144 w 366"/>
              <a:gd name="T19" fmla="*/ 318 h 546"/>
              <a:gd name="T20" fmla="*/ 150 w 366"/>
              <a:gd name="T21" fmla="*/ 294 h 546"/>
              <a:gd name="T22" fmla="*/ 156 w 366"/>
              <a:gd name="T23" fmla="*/ 282 h 546"/>
              <a:gd name="T24" fmla="*/ 162 w 366"/>
              <a:gd name="T25" fmla="*/ 270 h 546"/>
              <a:gd name="T26" fmla="*/ 168 w 366"/>
              <a:gd name="T27" fmla="*/ 258 h 546"/>
              <a:gd name="T28" fmla="*/ 174 w 366"/>
              <a:gd name="T29" fmla="*/ 246 h 546"/>
              <a:gd name="T30" fmla="*/ 180 w 366"/>
              <a:gd name="T31" fmla="*/ 228 h 546"/>
              <a:gd name="T32" fmla="*/ 168 w 366"/>
              <a:gd name="T33" fmla="*/ 204 h 546"/>
              <a:gd name="T34" fmla="*/ 162 w 366"/>
              <a:gd name="T35" fmla="*/ 186 h 546"/>
              <a:gd name="T36" fmla="*/ 150 w 366"/>
              <a:gd name="T37" fmla="*/ 174 h 546"/>
              <a:gd name="T38" fmla="*/ 132 w 366"/>
              <a:gd name="T39" fmla="*/ 144 h 546"/>
              <a:gd name="T40" fmla="*/ 114 w 366"/>
              <a:gd name="T41" fmla="*/ 114 h 546"/>
              <a:gd name="T42" fmla="*/ 84 w 366"/>
              <a:gd name="T43" fmla="*/ 90 h 546"/>
              <a:gd name="T44" fmla="*/ 96 w 366"/>
              <a:gd name="T45" fmla="*/ 36 h 546"/>
              <a:gd name="T46" fmla="*/ 126 w 366"/>
              <a:gd name="T47" fmla="*/ 6 h 546"/>
              <a:gd name="T48" fmla="*/ 138 w 366"/>
              <a:gd name="T49" fmla="*/ 18 h 546"/>
              <a:gd name="T50" fmla="*/ 150 w 366"/>
              <a:gd name="T51" fmla="*/ 36 h 546"/>
              <a:gd name="T52" fmla="*/ 168 w 366"/>
              <a:gd name="T53" fmla="*/ 48 h 546"/>
              <a:gd name="T54" fmla="*/ 186 w 366"/>
              <a:gd name="T55" fmla="*/ 54 h 546"/>
              <a:gd name="T56" fmla="*/ 210 w 366"/>
              <a:gd name="T57" fmla="*/ 66 h 546"/>
              <a:gd name="T58" fmla="*/ 234 w 366"/>
              <a:gd name="T59" fmla="*/ 66 h 546"/>
              <a:gd name="T60" fmla="*/ 246 w 366"/>
              <a:gd name="T61" fmla="*/ 78 h 546"/>
              <a:gd name="T62" fmla="*/ 258 w 366"/>
              <a:gd name="T63" fmla="*/ 90 h 546"/>
              <a:gd name="T64" fmla="*/ 270 w 366"/>
              <a:gd name="T65" fmla="*/ 102 h 546"/>
              <a:gd name="T66" fmla="*/ 270 w 366"/>
              <a:gd name="T67" fmla="*/ 114 h 546"/>
              <a:gd name="T68" fmla="*/ 264 w 366"/>
              <a:gd name="T69" fmla="*/ 132 h 546"/>
              <a:gd name="T70" fmla="*/ 276 w 366"/>
              <a:gd name="T71" fmla="*/ 138 h 546"/>
              <a:gd name="T72" fmla="*/ 276 w 366"/>
              <a:gd name="T73" fmla="*/ 150 h 546"/>
              <a:gd name="T74" fmla="*/ 282 w 366"/>
              <a:gd name="T75" fmla="*/ 168 h 546"/>
              <a:gd name="T76" fmla="*/ 276 w 366"/>
              <a:gd name="T77" fmla="*/ 186 h 546"/>
              <a:gd name="T78" fmla="*/ 270 w 366"/>
              <a:gd name="T79" fmla="*/ 204 h 546"/>
              <a:gd name="T80" fmla="*/ 270 w 366"/>
              <a:gd name="T81" fmla="*/ 228 h 546"/>
              <a:gd name="T82" fmla="*/ 270 w 366"/>
              <a:gd name="T83" fmla="*/ 246 h 546"/>
              <a:gd name="T84" fmla="*/ 288 w 366"/>
              <a:gd name="T85" fmla="*/ 258 h 546"/>
              <a:gd name="T86" fmla="*/ 306 w 366"/>
              <a:gd name="T87" fmla="*/ 300 h 546"/>
              <a:gd name="T88" fmla="*/ 330 w 366"/>
              <a:gd name="T89" fmla="*/ 282 h 546"/>
              <a:gd name="T90" fmla="*/ 360 w 366"/>
              <a:gd name="T91" fmla="*/ 306 h 546"/>
              <a:gd name="T92" fmla="*/ 348 w 366"/>
              <a:gd name="T93" fmla="*/ 324 h 546"/>
              <a:gd name="T94" fmla="*/ 324 w 366"/>
              <a:gd name="T95" fmla="*/ 396 h 546"/>
              <a:gd name="T96" fmla="*/ 324 w 366"/>
              <a:gd name="T97" fmla="*/ 426 h 546"/>
              <a:gd name="T98" fmla="*/ 312 w 366"/>
              <a:gd name="T99" fmla="*/ 450 h 546"/>
              <a:gd name="T100" fmla="*/ 306 w 366"/>
              <a:gd name="T101" fmla="*/ 456 h 546"/>
              <a:gd name="T102" fmla="*/ 300 w 366"/>
              <a:gd name="T103" fmla="*/ 468 h 546"/>
              <a:gd name="T104" fmla="*/ 282 w 366"/>
              <a:gd name="T105" fmla="*/ 468 h 546"/>
              <a:gd name="T106" fmla="*/ 264 w 366"/>
              <a:gd name="T107" fmla="*/ 468 h 546"/>
              <a:gd name="T108" fmla="*/ 228 w 366"/>
              <a:gd name="T109" fmla="*/ 486 h 546"/>
              <a:gd name="T110" fmla="*/ 204 w 366"/>
              <a:gd name="T111" fmla="*/ 480 h 546"/>
              <a:gd name="T112" fmla="*/ 180 w 366"/>
              <a:gd name="T113" fmla="*/ 510 h 546"/>
              <a:gd name="T114" fmla="*/ 156 w 366"/>
              <a:gd name="T115" fmla="*/ 534 h 546"/>
              <a:gd name="T116" fmla="*/ 132 w 366"/>
              <a:gd name="T117" fmla="*/ 522 h 546"/>
              <a:gd name="T118" fmla="*/ 120 w 366"/>
              <a:gd name="T119" fmla="*/ 540 h 546"/>
              <a:gd name="T120" fmla="*/ 96 w 366"/>
              <a:gd name="T121" fmla="*/ 540 h 546"/>
              <a:gd name="T122" fmla="*/ 78 w 366"/>
              <a:gd name="T123" fmla="*/ 540 h 546"/>
              <a:gd name="T124" fmla="*/ 54 w 366"/>
              <a:gd name="T125" fmla="*/ 534 h 5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66" h="546">
                <a:moveTo>
                  <a:pt x="42" y="528"/>
                </a:moveTo>
                <a:lnTo>
                  <a:pt x="36" y="528"/>
                </a:lnTo>
                <a:lnTo>
                  <a:pt x="36" y="528"/>
                </a:lnTo>
                <a:lnTo>
                  <a:pt x="36" y="528"/>
                </a:lnTo>
                <a:lnTo>
                  <a:pt x="36" y="528"/>
                </a:lnTo>
                <a:lnTo>
                  <a:pt x="36" y="528"/>
                </a:lnTo>
                <a:lnTo>
                  <a:pt x="36" y="528"/>
                </a:lnTo>
                <a:lnTo>
                  <a:pt x="36" y="528"/>
                </a:lnTo>
                <a:lnTo>
                  <a:pt x="36" y="528"/>
                </a:lnTo>
                <a:lnTo>
                  <a:pt x="36" y="528"/>
                </a:lnTo>
                <a:lnTo>
                  <a:pt x="30" y="528"/>
                </a:lnTo>
                <a:lnTo>
                  <a:pt x="36" y="528"/>
                </a:lnTo>
                <a:lnTo>
                  <a:pt x="36" y="528"/>
                </a:lnTo>
                <a:lnTo>
                  <a:pt x="30" y="528"/>
                </a:lnTo>
                <a:lnTo>
                  <a:pt x="36" y="528"/>
                </a:lnTo>
                <a:lnTo>
                  <a:pt x="36" y="522"/>
                </a:lnTo>
                <a:lnTo>
                  <a:pt x="36" y="522"/>
                </a:lnTo>
                <a:lnTo>
                  <a:pt x="36" y="522"/>
                </a:lnTo>
                <a:lnTo>
                  <a:pt x="36" y="522"/>
                </a:lnTo>
                <a:lnTo>
                  <a:pt x="36" y="522"/>
                </a:lnTo>
                <a:lnTo>
                  <a:pt x="36" y="522"/>
                </a:lnTo>
                <a:lnTo>
                  <a:pt x="36" y="522"/>
                </a:lnTo>
                <a:lnTo>
                  <a:pt x="36" y="522"/>
                </a:lnTo>
                <a:lnTo>
                  <a:pt x="36" y="516"/>
                </a:lnTo>
                <a:lnTo>
                  <a:pt x="36" y="516"/>
                </a:lnTo>
                <a:lnTo>
                  <a:pt x="36" y="516"/>
                </a:lnTo>
                <a:lnTo>
                  <a:pt x="36" y="516"/>
                </a:lnTo>
                <a:lnTo>
                  <a:pt x="36" y="516"/>
                </a:lnTo>
                <a:lnTo>
                  <a:pt x="36" y="516"/>
                </a:lnTo>
                <a:lnTo>
                  <a:pt x="36" y="510"/>
                </a:lnTo>
                <a:lnTo>
                  <a:pt x="36" y="510"/>
                </a:lnTo>
                <a:lnTo>
                  <a:pt x="36" y="510"/>
                </a:lnTo>
                <a:lnTo>
                  <a:pt x="36" y="510"/>
                </a:lnTo>
                <a:lnTo>
                  <a:pt x="36" y="504"/>
                </a:lnTo>
                <a:lnTo>
                  <a:pt x="36" y="504"/>
                </a:lnTo>
                <a:lnTo>
                  <a:pt x="36" y="504"/>
                </a:lnTo>
                <a:lnTo>
                  <a:pt x="36" y="504"/>
                </a:lnTo>
                <a:lnTo>
                  <a:pt x="36" y="504"/>
                </a:lnTo>
                <a:lnTo>
                  <a:pt x="36" y="504"/>
                </a:lnTo>
                <a:lnTo>
                  <a:pt x="36" y="498"/>
                </a:lnTo>
                <a:lnTo>
                  <a:pt x="36" y="498"/>
                </a:lnTo>
                <a:lnTo>
                  <a:pt x="36" y="498"/>
                </a:lnTo>
                <a:lnTo>
                  <a:pt x="36" y="492"/>
                </a:lnTo>
                <a:lnTo>
                  <a:pt x="36" y="492"/>
                </a:lnTo>
                <a:lnTo>
                  <a:pt x="30" y="492"/>
                </a:lnTo>
                <a:lnTo>
                  <a:pt x="30" y="492"/>
                </a:lnTo>
                <a:lnTo>
                  <a:pt x="30" y="486"/>
                </a:lnTo>
                <a:lnTo>
                  <a:pt x="24" y="486"/>
                </a:lnTo>
                <a:lnTo>
                  <a:pt x="24" y="486"/>
                </a:lnTo>
                <a:lnTo>
                  <a:pt x="24" y="486"/>
                </a:lnTo>
                <a:lnTo>
                  <a:pt x="24" y="486"/>
                </a:lnTo>
                <a:lnTo>
                  <a:pt x="24" y="486"/>
                </a:lnTo>
                <a:lnTo>
                  <a:pt x="24" y="486"/>
                </a:lnTo>
                <a:lnTo>
                  <a:pt x="24" y="480"/>
                </a:lnTo>
                <a:lnTo>
                  <a:pt x="18" y="480"/>
                </a:lnTo>
                <a:lnTo>
                  <a:pt x="18" y="480"/>
                </a:lnTo>
                <a:lnTo>
                  <a:pt x="18" y="480"/>
                </a:lnTo>
                <a:lnTo>
                  <a:pt x="12" y="480"/>
                </a:lnTo>
                <a:lnTo>
                  <a:pt x="12" y="474"/>
                </a:lnTo>
                <a:lnTo>
                  <a:pt x="6" y="474"/>
                </a:lnTo>
                <a:lnTo>
                  <a:pt x="6" y="474"/>
                </a:lnTo>
                <a:lnTo>
                  <a:pt x="0" y="474"/>
                </a:lnTo>
                <a:lnTo>
                  <a:pt x="12" y="474"/>
                </a:lnTo>
                <a:lnTo>
                  <a:pt x="18" y="474"/>
                </a:lnTo>
                <a:lnTo>
                  <a:pt x="18" y="474"/>
                </a:lnTo>
                <a:lnTo>
                  <a:pt x="18" y="474"/>
                </a:lnTo>
                <a:lnTo>
                  <a:pt x="24" y="468"/>
                </a:lnTo>
                <a:lnTo>
                  <a:pt x="24" y="468"/>
                </a:lnTo>
                <a:lnTo>
                  <a:pt x="24" y="468"/>
                </a:lnTo>
                <a:lnTo>
                  <a:pt x="24" y="468"/>
                </a:lnTo>
                <a:lnTo>
                  <a:pt x="24" y="468"/>
                </a:lnTo>
                <a:lnTo>
                  <a:pt x="24" y="468"/>
                </a:lnTo>
                <a:lnTo>
                  <a:pt x="30" y="468"/>
                </a:lnTo>
                <a:lnTo>
                  <a:pt x="30" y="462"/>
                </a:lnTo>
                <a:lnTo>
                  <a:pt x="30" y="468"/>
                </a:lnTo>
                <a:lnTo>
                  <a:pt x="30" y="462"/>
                </a:lnTo>
                <a:lnTo>
                  <a:pt x="30" y="462"/>
                </a:lnTo>
                <a:lnTo>
                  <a:pt x="36" y="462"/>
                </a:lnTo>
                <a:lnTo>
                  <a:pt x="36" y="462"/>
                </a:lnTo>
                <a:lnTo>
                  <a:pt x="36" y="462"/>
                </a:lnTo>
                <a:lnTo>
                  <a:pt x="36" y="462"/>
                </a:lnTo>
                <a:lnTo>
                  <a:pt x="42" y="462"/>
                </a:lnTo>
                <a:lnTo>
                  <a:pt x="42" y="462"/>
                </a:lnTo>
                <a:lnTo>
                  <a:pt x="42" y="462"/>
                </a:lnTo>
                <a:lnTo>
                  <a:pt x="42" y="462"/>
                </a:lnTo>
                <a:lnTo>
                  <a:pt x="42" y="456"/>
                </a:lnTo>
                <a:lnTo>
                  <a:pt x="42" y="456"/>
                </a:lnTo>
                <a:lnTo>
                  <a:pt x="42" y="456"/>
                </a:lnTo>
                <a:lnTo>
                  <a:pt x="48" y="456"/>
                </a:lnTo>
                <a:lnTo>
                  <a:pt x="48" y="456"/>
                </a:lnTo>
                <a:lnTo>
                  <a:pt x="48" y="450"/>
                </a:lnTo>
                <a:lnTo>
                  <a:pt x="48" y="450"/>
                </a:lnTo>
                <a:lnTo>
                  <a:pt x="54" y="450"/>
                </a:lnTo>
                <a:lnTo>
                  <a:pt x="54" y="450"/>
                </a:lnTo>
                <a:lnTo>
                  <a:pt x="54" y="450"/>
                </a:lnTo>
                <a:lnTo>
                  <a:pt x="60" y="444"/>
                </a:lnTo>
                <a:lnTo>
                  <a:pt x="66" y="444"/>
                </a:lnTo>
                <a:lnTo>
                  <a:pt x="66" y="444"/>
                </a:lnTo>
                <a:lnTo>
                  <a:pt x="66" y="438"/>
                </a:lnTo>
                <a:lnTo>
                  <a:pt x="66" y="438"/>
                </a:lnTo>
                <a:lnTo>
                  <a:pt x="66" y="438"/>
                </a:lnTo>
                <a:lnTo>
                  <a:pt x="66" y="438"/>
                </a:lnTo>
                <a:lnTo>
                  <a:pt x="72" y="438"/>
                </a:lnTo>
                <a:lnTo>
                  <a:pt x="72" y="438"/>
                </a:lnTo>
                <a:lnTo>
                  <a:pt x="72" y="438"/>
                </a:lnTo>
                <a:lnTo>
                  <a:pt x="72" y="438"/>
                </a:lnTo>
                <a:lnTo>
                  <a:pt x="78" y="438"/>
                </a:lnTo>
                <a:lnTo>
                  <a:pt x="78" y="438"/>
                </a:lnTo>
                <a:lnTo>
                  <a:pt x="84" y="438"/>
                </a:lnTo>
                <a:lnTo>
                  <a:pt x="84" y="432"/>
                </a:lnTo>
                <a:lnTo>
                  <a:pt x="84" y="432"/>
                </a:lnTo>
                <a:lnTo>
                  <a:pt x="84" y="432"/>
                </a:lnTo>
                <a:lnTo>
                  <a:pt x="84" y="432"/>
                </a:lnTo>
                <a:lnTo>
                  <a:pt x="84" y="432"/>
                </a:lnTo>
                <a:lnTo>
                  <a:pt x="84" y="432"/>
                </a:lnTo>
                <a:lnTo>
                  <a:pt x="84" y="432"/>
                </a:lnTo>
                <a:lnTo>
                  <a:pt x="84" y="432"/>
                </a:lnTo>
                <a:lnTo>
                  <a:pt x="84" y="426"/>
                </a:lnTo>
                <a:lnTo>
                  <a:pt x="84" y="426"/>
                </a:lnTo>
                <a:lnTo>
                  <a:pt x="90" y="426"/>
                </a:lnTo>
                <a:lnTo>
                  <a:pt x="90" y="426"/>
                </a:lnTo>
                <a:lnTo>
                  <a:pt x="90" y="426"/>
                </a:lnTo>
                <a:lnTo>
                  <a:pt x="90" y="426"/>
                </a:lnTo>
                <a:lnTo>
                  <a:pt x="90" y="426"/>
                </a:lnTo>
                <a:lnTo>
                  <a:pt x="90" y="420"/>
                </a:lnTo>
                <a:lnTo>
                  <a:pt x="90" y="420"/>
                </a:lnTo>
                <a:lnTo>
                  <a:pt x="90" y="420"/>
                </a:lnTo>
                <a:lnTo>
                  <a:pt x="90" y="420"/>
                </a:lnTo>
                <a:lnTo>
                  <a:pt x="96" y="420"/>
                </a:lnTo>
                <a:lnTo>
                  <a:pt x="96" y="420"/>
                </a:lnTo>
                <a:lnTo>
                  <a:pt x="96" y="420"/>
                </a:lnTo>
                <a:lnTo>
                  <a:pt x="96" y="420"/>
                </a:lnTo>
                <a:lnTo>
                  <a:pt x="96" y="420"/>
                </a:lnTo>
                <a:lnTo>
                  <a:pt x="96" y="414"/>
                </a:lnTo>
                <a:lnTo>
                  <a:pt x="96" y="414"/>
                </a:lnTo>
                <a:lnTo>
                  <a:pt x="96" y="414"/>
                </a:lnTo>
                <a:lnTo>
                  <a:pt x="96" y="414"/>
                </a:lnTo>
                <a:lnTo>
                  <a:pt x="96" y="408"/>
                </a:lnTo>
                <a:lnTo>
                  <a:pt x="96" y="408"/>
                </a:lnTo>
                <a:lnTo>
                  <a:pt x="96" y="408"/>
                </a:lnTo>
                <a:lnTo>
                  <a:pt x="96" y="408"/>
                </a:lnTo>
                <a:lnTo>
                  <a:pt x="96" y="402"/>
                </a:lnTo>
                <a:lnTo>
                  <a:pt x="96" y="402"/>
                </a:lnTo>
                <a:lnTo>
                  <a:pt x="102" y="396"/>
                </a:lnTo>
                <a:lnTo>
                  <a:pt x="102" y="396"/>
                </a:lnTo>
                <a:lnTo>
                  <a:pt x="102" y="396"/>
                </a:lnTo>
                <a:lnTo>
                  <a:pt x="102" y="390"/>
                </a:lnTo>
                <a:lnTo>
                  <a:pt x="102" y="390"/>
                </a:lnTo>
                <a:lnTo>
                  <a:pt x="102" y="390"/>
                </a:lnTo>
                <a:lnTo>
                  <a:pt x="102" y="390"/>
                </a:lnTo>
                <a:lnTo>
                  <a:pt x="102" y="390"/>
                </a:lnTo>
                <a:lnTo>
                  <a:pt x="108" y="390"/>
                </a:lnTo>
                <a:lnTo>
                  <a:pt x="108" y="390"/>
                </a:lnTo>
                <a:lnTo>
                  <a:pt x="108" y="384"/>
                </a:lnTo>
                <a:lnTo>
                  <a:pt x="108" y="384"/>
                </a:lnTo>
                <a:lnTo>
                  <a:pt x="108" y="384"/>
                </a:lnTo>
                <a:lnTo>
                  <a:pt x="108" y="384"/>
                </a:lnTo>
                <a:lnTo>
                  <a:pt x="108" y="384"/>
                </a:lnTo>
                <a:lnTo>
                  <a:pt x="108" y="384"/>
                </a:lnTo>
                <a:lnTo>
                  <a:pt x="108" y="384"/>
                </a:lnTo>
                <a:lnTo>
                  <a:pt x="108" y="384"/>
                </a:lnTo>
                <a:lnTo>
                  <a:pt x="108" y="378"/>
                </a:lnTo>
                <a:lnTo>
                  <a:pt x="108" y="378"/>
                </a:lnTo>
                <a:lnTo>
                  <a:pt x="108" y="378"/>
                </a:lnTo>
                <a:lnTo>
                  <a:pt x="108" y="378"/>
                </a:lnTo>
                <a:lnTo>
                  <a:pt x="108" y="378"/>
                </a:lnTo>
                <a:lnTo>
                  <a:pt x="108" y="378"/>
                </a:lnTo>
                <a:lnTo>
                  <a:pt x="108" y="378"/>
                </a:lnTo>
                <a:lnTo>
                  <a:pt x="108" y="378"/>
                </a:lnTo>
                <a:lnTo>
                  <a:pt x="108" y="378"/>
                </a:lnTo>
                <a:lnTo>
                  <a:pt x="108" y="378"/>
                </a:lnTo>
                <a:lnTo>
                  <a:pt x="108" y="378"/>
                </a:lnTo>
                <a:lnTo>
                  <a:pt x="108" y="378"/>
                </a:lnTo>
                <a:lnTo>
                  <a:pt x="108" y="378"/>
                </a:lnTo>
                <a:lnTo>
                  <a:pt x="108" y="378"/>
                </a:lnTo>
                <a:lnTo>
                  <a:pt x="108" y="372"/>
                </a:lnTo>
                <a:lnTo>
                  <a:pt x="108" y="372"/>
                </a:lnTo>
                <a:lnTo>
                  <a:pt x="108" y="372"/>
                </a:lnTo>
                <a:lnTo>
                  <a:pt x="108" y="372"/>
                </a:lnTo>
                <a:lnTo>
                  <a:pt x="108" y="372"/>
                </a:lnTo>
                <a:lnTo>
                  <a:pt x="108" y="366"/>
                </a:lnTo>
                <a:lnTo>
                  <a:pt x="108" y="366"/>
                </a:lnTo>
                <a:lnTo>
                  <a:pt x="114" y="366"/>
                </a:lnTo>
                <a:lnTo>
                  <a:pt x="114" y="366"/>
                </a:lnTo>
                <a:lnTo>
                  <a:pt x="114" y="366"/>
                </a:lnTo>
                <a:lnTo>
                  <a:pt x="114" y="366"/>
                </a:lnTo>
                <a:lnTo>
                  <a:pt x="114" y="366"/>
                </a:lnTo>
                <a:lnTo>
                  <a:pt x="114" y="366"/>
                </a:lnTo>
                <a:lnTo>
                  <a:pt x="114" y="360"/>
                </a:lnTo>
                <a:lnTo>
                  <a:pt x="114" y="360"/>
                </a:lnTo>
                <a:lnTo>
                  <a:pt x="114" y="360"/>
                </a:lnTo>
                <a:lnTo>
                  <a:pt x="114" y="360"/>
                </a:lnTo>
                <a:lnTo>
                  <a:pt x="120" y="360"/>
                </a:lnTo>
                <a:lnTo>
                  <a:pt x="120" y="360"/>
                </a:lnTo>
                <a:lnTo>
                  <a:pt x="120" y="354"/>
                </a:lnTo>
                <a:lnTo>
                  <a:pt x="120" y="354"/>
                </a:lnTo>
                <a:lnTo>
                  <a:pt x="120" y="354"/>
                </a:lnTo>
                <a:lnTo>
                  <a:pt x="120" y="354"/>
                </a:lnTo>
                <a:lnTo>
                  <a:pt x="120" y="348"/>
                </a:lnTo>
                <a:lnTo>
                  <a:pt x="120" y="348"/>
                </a:lnTo>
                <a:lnTo>
                  <a:pt x="126" y="348"/>
                </a:lnTo>
                <a:lnTo>
                  <a:pt x="126" y="348"/>
                </a:lnTo>
                <a:lnTo>
                  <a:pt x="120" y="348"/>
                </a:lnTo>
                <a:lnTo>
                  <a:pt x="126" y="348"/>
                </a:lnTo>
                <a:lnTo>
                  <a:pt x="120" y="342"/>
                </a:lnTo>
                <a:lnTo>
                  <a:pt x="120" y="342"/>
                </a:lnTo>
                <a:lnTo>
                  <a:pt x="126" y="342"/>
                </a:lnTo>
                <a:lnTo>
                  <a:pt x="126" y="342"/>
                </a:lnTo>
                <a:lnTo>
                  <a:pt x="126" y="342"/>
                </a:lnTo>
                <a:lnTo>
                  <a:pt x="126" y="342"/>
                </a:lnTo>
                <a:lnTo>
                  <a:pt x="126" y="336"/>
                </a:lnTo>
                <a:lnTo>
                  <a:pt x="126" y="336"/>
                </a:lnTo>
                <a:lnTo>
                  <a:pt x="126" y="336"/>
                </a:lnTo>
                <a:lnTo>
                  <a:pt x="126" y="336"/>
                </a:lnTo>
                <a:lnTo>
                  <a:pt x="126" y="336"/>
                </a:lnTo>
                <a:lnTo>
                  <a:pt x="126" y="330"/>
                </a:lnTo>
                <a:lnTo>
                  <a:pt x="132" y="330"/>
                </a:lnTo>
                <a:lnTo>
                  <a:pt x="132" y="330"/>
                </a:lnTo>
                <a:lnTo>
                  <a:pt x="132" y="330"/>
                </a:lnTo>
                <a:lnTo>
                  <a:pt x="132" y="330"/>
                </a:lnTo>
                <a:lnTo>
                  <a:pt x="138" y="330"/>
                </a:lnTo>
                <a:lnTo>
                  <a:pt x="138" y="324"/>
                </a:lnTo>
                <a:lnTo>
                  <a:pt x="138" y="324"/>
                </a:lnTo>
                <a:lnTo>
                  <a:pt x="138" y="324"/>
                </a:lnTo>
                <a:lnTo>
                  <a:pt x="138" y="324"/>
                </a:lnTo>
                <a:lnTo>
                  <a:pt x="138" y="324"/>
                </a:lnTo>
                <a:lnTo>
                  <a:pt x="138" y="324"/>
                </a:lnTo>
                <a:lnTo>
                  <a:pt x="138" y="318"/>
                </a:lnTo>
                <a:lnTo>
                  <a:pt x="138" y="318"/>
                </a:lnTo>
                <a:lnTo>
                  <a:pt x="138" y="318"/>
                </a:lnTo>
                <a:lnTo>
                  <a:pt x="138" y="318"/>
                </a:lnTo>
                <a:lnTo>
                  <a:pt x="138" y="318"/>
                </a:lnTo>
                <a:lnTo>
                  <a:pt x="138" y="318"/>
                </a:lnTo>
                <a:lnTo>
                  <a:pt x="138" y="318"/>
                </a:lnTo>
                <a:lnTo>
                  <a:pt x="144" y="318"/>
                </a:lnTo>
                <a:lnTo>
                  <a:pt x="144" y="318"/>
                </a:lnTo>
                <a:lnTo>
                  <a:pt x="144" y="318"/>
                </a:lnTo>
                <a:lnTo>
                  <a:pt x="144" y="318"/>
                </a:lnTo>
                <a:lnTo>
                  <a:pt x="144" y="318"/>
                </a:lnTo>
                <a:lnTo>
                  <a:pt x="144" y="318"/>
                </a:lnTo>
                <a:lnTo>
                  <a:pt x="144" y="318"/>
                </a:lnTo>
                <a:lnTo>
                  <a:pt x="144" y="318"/>
                </a:lnTo>
                <a:lnTo>
                  <a:pt x="144" y="318"/>
                </a:lnTo>
                <a:lnTo>
                  <a:pt x="144" y="318"/>
                </a:lnTo>
                <a:lnTo>
                  <a:pt x="144" y="312"/>
                </a:lnTo>
                <a:lnTo>
                  <a:pt x="144" y="312"/>
                </a:lnTo>
                <a:lnTo>
                  <a:pt x="144" y="312"/>
                </a:lnTo>
                <a:lnTo>
                  <a:pt x="144" y="306"/>
                </a:lnTo>
                <a:lnTo>
                  <a:pt x="144" y="306"/>
                </a:lnTo>
                <a:lnTo>
                  <a:pt x="144" y="306"/>
                </a:lnTo>
                <a:lnTo>
                  <a:pt x="144" y="306"/>
                </a:lnTo>
                <a:lnTo>
                  <a:pt x="144" y="306"/>
                </a:lnTo>
                <a:lnTo>
                  <a:pt x="144" y="306"/>
                </a:lnTo>
                <a:lnTo>
                  <a:pt x="144" y="300"/>
                </a:lnTo>
                <a:lnTo>
                  <a:pt x="144" y="300"/>
                </a:lnTo>
                <a:lnTo>
                  <a:pt x="144" y="300"/>
                </a:lnTo>
                <a:lnTo>
                  <a:pt x="144" y="300"/>
                </a:lnTo>
                <a:lnTo>
                  <a:pt x="144" y="300"/>
                </a:lnTo>
                <a:lnTo>
                  <a:pt x="150" y="300"/>
                </a:lnTo>
                <a:lnTo>
                  <a:pt x="144" y="300"/>
                </a:lnTo>
                <a:lnTo>
                  <a:pt x="144" y="300"/>
                </a:lnTo>
                <a:lnTo>
                  <a:pt x="144" y="300"/>
                </a:lnTo>
                <a:lnTo>
                  <a:pt x="150" y="300"/>
                </a:lnTo>
                <a:lnTo>
                  <a:pt x="150" y="294"/>
                </a:lnTo>
                <a:lnTo>
                  <a:pt x="144" y="294"/>
                </a:lnTo>
                <a:lnTo>
                  <a:pt x="150" y="294"/>
                </a:lnTo>
                <a:lnTo>
                  <a:pt x="150" y="294"/>
                </a:lnTo>
                <a:lnTo>
                  <a:pt x="150" y="294"/>
                </a:lnTo>
                <a:lnTo>
                  <a:pt x="150" y="294"/>
                </a:lnTo>
                <a:lnTo>
                  <a:pt x="150" y="288"/>
                </a:lnTo>
                <a:lnTo>
                  <a:pt x="150" y="288"/>
                </a:lnTo>
                <a:lnTo>
                  <a:pt x="150" y="288"/>
                </a:lnTo>
                <a:lnTo>
                  <a:pt x="150" y="288"/>
                </a:lnTo>
                <a:lnTo>
                  <a:pt x="150" y="288"/>
                </a:lnTo>
                <a:lnTo>
                  <a:pt x="150" y="288"/>
                </a:lnTo>
                <a:lnTo>
                  <a:pt x="150" y="288"/>
                </a:lnTo>
                <a:lnTo>
                  <a:pt x="150" y="282"/>
                </a:lnTo>
                <a:lnTo>
                  <a:pt x="156" y="282"/>
                </a:lnTo>
                <a:lnTo>
                  <a:pt x="150" y="282"/>
                </a:lnTo>
                <a:lnTo>
                  <a:pt x="156" y="282"/>
                </a:lnTo>
                <a:lnTo>
                  <a:pt x="156" y="282"/>
                </a:lnTo>
                <a:lnTo>
                  <a:pt x="156" y="282"/>
                </a:lnTo>
                <a:lnTo>
                  <a:pt x="156" y="282"/>
                </a:lnTo>
                <a:lnTo>
                  <a:pt x="156" y="282"/>
                </a:lnTo>
                <a:lnTo>
                  <a:pt x="156" y="282"/>
                </a:lnTo>
                <a:lnTo>
                  <a:pt x="156" y="282"/>
                </a:lnTo>
                <a:lnTo>
                  <a:pt x="156" y="276"/>
                </a:lnTo>
                <a:lnTo>
                  <a:pt x="156" y="282"/>
                </a:lnTo>
                <a:lnTo>
                  <a:pt x="156" y="276"/>
                </a:lnTo>
                <a:lnTo>
                  <a:pt x="156" y="276"/>
                </a:lnTo>
                <a:lnTo>
                  <a:pt x="156" y="276"/>
                </a:lnTo>
                <a:lnTo>
                  <a:pt x="156" y="276"/>
                </a:lnTo>
                <a:lnTo>
                  <a:pt x="156" y="276"/>
                </a:lnTo>
                <a:lnTo>
                  <a:pt x="156" y="276"/>
                </a:lnTo>
                <a:lnTo>
                  <a:pt x="156" y="276"/>
                </a:lnTo>
                <a:lnTo>
                  <a:pt x="156" y="276"/>
                </a:lnTo>
                <a:lnTo>
                  <a:pt x="156" y="276"/>
                </a:lnTo>
                <a:lnTo>
                  <a:pt x="156" y="276"/>
                </a:lnTo>
                <a:lnTo>
                  <a:pt x="156" y="270"/>
                </a:lnTo>
                <a:lnTo>
                  <a:pt x="156" y="270"/>
                </a:lnTo>
                <a:lnTo>
                  <a:pt x="162" y="270"/>
                </a:lnTo>
                <a:lnTo>
                  <a:pt x="162" y="270"/>
                </a:lnTo>
                <a:lnTo>
                  <a:pt x="162" y="270"/>
                </a:lnTo>
                <a:lnTo>
                  <a:pt x="162" y="270"/>
                </a:lnTo>
                <a:lnTo>
                  <a:pt x="162" y="270"/>
                </a:lnTo>
                <a:lnTo>
                  <a:pt x="162" y="270"/>
                </a:lnTo>
                <a:lnTo>
                  <a:pt x="162" y="270"/>
                </a:lnTo>
                <a:lnTo>
                  <a:pt x="162" y="270"/>
                </a:lnTo>
                <a:lnTo>
                  <a:pt x="162" y="270"/>
                </a:lnTo>
                <a:lnTo>
                  <a:pt x="162" y="270"/>
                </a:lnTo>
                <a:lnTo>
                  <a:pt x="162" y="270"/>
                </a:lnTo>
                <a:lnTo>
                  <a:pt x="162" y="270"/>
                </a:lnTo>
                <a:lnTo>
                  <a:pt x="162" y="264"/>
                </a:lnTo>
                <a:lnTo>
                  <a:pt x="162" y="264"/>
                </a:lnTo>
                <a:lnTo>
                  <a:pt x="162" y="264"/>
                </a:lnTo>
                <a:lnTo>
                  <a:pt x="162" y="264"/>
                </a:lnTo>
                <a:lnTo>
                  <a:pt x="162" y="264"/>
                </a:lnTo>
                <a:lnTo>
                  <a:pt x="162" y="264"/>
                </a:lnTo>
                <a:lnTo>
                  <a:pt x="162" y="264"/>
                </a:lnTo>
                <a:lnTo>
                  <a:pt x="162" y="264"/>
                </a:lnTo>
                <a:lnTo>
                  <a:pt x="162" y="264"/>
                </a:lnTo>
                <a:lnTo>
                  <a:pt x="162" y="264"/>
                </a:lnTo>
                <a:lnTo>
                  <a:pt x="162" y="264"/>
                </a:lnTo>
                <a:lnTo>
                  <a:pt x="162" y="264"/>
                </a:lnTo>
                <a:lnTo>
                  <a:pt x="162" y="264"/>
                </a:lnTo>
                <a:lnTo>
                  <a:pt x="168" y="264"/>
                </a:lnTo>
                <a:lnTo>
                  <a:pt x="168" y="264"/>
                </a:lnTo>
                <a:lnTo>
                  <a:pt x="162" y="264"/>
                </a:lnTo>
                <a:lnTo>
                  <a:pt x="168" y="258"/>
                </a:lnTo>
                <a:lnTo>
                  <a:pt x="168" y="264"/>
                </a:lnTo>
                <a:lnTo>
                  <a:pt x="168" y="258"/>
                </a:lnTo>
                <a:lnTo>
                  <a:pt x="168" y="258"/>
                </a:lnTo>
                <a:lnTo>
                  <a:pt x="168" y="258"/>
                </a:lnTo>
                <a:lnTo>
                  <a:pt x="168" y="258"/>
                </a:lnTo>
                <a:lnTo>
                  <a:pt x="168" y="258"/>
                </a:lnTo>
                <a:lnTo>
                  <a:pt x="168" y="258"/>
                </a:lnTo>
                <a:lnTo>
                  <a:pt x="168" y="258"/>
                </a:lnTo>
                <a:lnTo>
                  <a:pt x="168" y="252"/>
                </a:lnTo>
                <a:lnTo>
                  <a:pt x="168" y="258"/>
                </a:lnTo>
                <a:lnTo>
                  <a:pt x="168" y="252"/>
                </a:lnTo>
                <a:lnTo>
                  <a:pt x="168" y="252"/>
                </a:lnTo>
                <a:lnTo>
                  <a:pt x="168" y="252"/>
                </a:lnTo>
                <a:lnTo>
                  <a:pt x="168" y="252"/>
                </a:lnTo>
                <a:lnTo>
                  <a:pt x="168" y="252"/>
                </a:lnTo>
                <a:lnTo>
                  <a:pt x="168" y="252"/>
                </a:lnTo>
                <a:lnTo>
                  <a:pt x="168" y="252"/>
                </a:lnTo>
                <a:lnTo>
                  <a:pt x="168" y="252"/>
                </a:lnTo>
                <a:lnTo>
                  <a:pt x="168" y="252"/>
                </a:lnTo>
                <a:lnTo>
                  <a:pt x="168" y="246"/>
                </a:lnTo>
                <a:lnTo>
                  <a:pt x="168" y="246"/>
                </a:lnTo>
                <a:lnTo>
                  <a:pt x="168" y="246"/>
                </a:lnTo>
                <a:lnTo>
                  <a:pt x="168" y="252"/>
                </a:lnTo>
                <a:lnTo>
                  <a:pt x="168" y="252"/>
                </a:lnTo>
                <a:lnTo>
                  <a:pt x="168" y="246"/>
                </a:lnTo>
                <a:lnTo>
                  <a:pt x="168" y="246"/>
                </a:lnTo>
                <a:lnTo>
                  <a:pt x="174" y="246"/>
                </a:lnTo>
                <a:lnTo>
                  <a:pt x="168" y="246"/>
                </a:lnTo>
                <a:lnTo>
                  <a:pt x="168" y="246"/>
                </a:lnTo>
                <a:lnTo>
                  <a:pt x="174" y="246"/>
                </a:lnTo>
                <a:lnTo>
                  <a:pt x="174" y="246"/>
                </a:lnTo>
                <a:lnTo>
                  <a:pt x="168" y="246"/>
                </a:lnTo>
                <a:lnTo>
                  <a:pt x="174" y="240"/>
                </a:lnTo>
                <a:lnTo>
                  <a:pt x="168" y="240"/>
                </a:lnTo>
                <a:lnTo>
                  <a:pt x="174" y="240"/>
                </a:lnTo>
                <a:lnTo>
                  <a:pt x="174" y="240"/>
                </a:lnTo>
                <a:lnTo>
                  <a:pt x="174" y="240"/>
                </a:lnTo>
                <a:lnTo>
                  <a:pt x="174" y="240"/>
                </a:lnTo>
                <a:lnTo>
                  <a:pt x="174" y="240"/>
                </a:lnTo>
                <a:lnTo>
                  <a:pt x="174" y="240"/>
                </a:lnTo>
                <a:lnTo>
                  <a:pt x="174" y="234"/>
                </a:lnTo>
                <a:lnTo>
                  <a:pt x="174" y="234"/>
                </a:lnTo>
                <a:lnTo>
                  <a:pt x="174" y="234"/>
                </a:lnTo>
                <a:lnTo>
                  <a:pt x="174" y="234"/>
                </a:lnTo>
                <a:lnTo>
                  <a:pt x="174" y="234"/>
                </a:lnTo>
                <a:lnTo>
                  <a:pt x="174" y="228"/>
                </a:lnTo>
                <a:lnTo>
                  <a:pt x="174" y="228"/>
                </a:lnTo>
                <a:lnTo>
                  <a:pt x="174" y="228"/>
                </a:lnTo>
                <a:lnTo>
                  <a:pt x="174" y="228"/>
                </a:lnTo>
                <a:lnTo>
                  <a:pt x="174" y="228"/>
                </a:lnTo>
                <a:lnTo>
                  <a:pt x="174" y="228"/>
                </a:lnTo>
                <a:lnTo>
                  <a:pt x="180" y="228"/>
                </a:lnTo>
                <a:lnTo>
                  <a:pt x="180" y="228"/>
                </a:lnTo>
                <a:lnTo>
                  <a:pt x="174" y="228"/>
                </a:lnTo>
                <a:lnTo>
                  <a:pt x="180" y="228"/>
                </a:lnTo>
                <a:lnTo>
                  <a:pt x="180" y="222"/>
                </a:lnTo>
                <a:lnTo>
                  <a:pt x="180" y="228"/>
                </a:lnTo>
                <a:lnTo>
                  <a:pt x="180" y="228"/>
                </a:lnTo>
                <a:lnTo>
                  <a:pt x="180" y="228"/>
                </a:lnTo>
                <a:lnTo>
                  <a:pt x="180" y="228"/>
                </a:lnTo>
                <a:lnTo>
                  <a:pt x="180" y="222"/>
                </a:lnTo>
                <a:lnTo>
                  <a:pt x="180" y="222"/>
                </a:lnTo>
                <a:lnTo>
                  <a:pt x="180" y="222"/>
                </a:lnTo>
                <a:lnTo>
                  <a:pt x="180" y="216"/>
                </a:lnTo>
                <a:lnTo>
                  <a:pt x="180" y="222"/>
                </a:lnTo>
                <a:lnTo>
                  <a:pt x="180" y="216"/>
                </a:lnTo>
                <a:lnTo>
                  <a:pt x="180" y="216"/>
                </a:lnTo>
                <a:lnTo>
                  <a:pt x="180" y="216"/>
                </a:lnTo>
                <a:lnTo>
                  <a:pt x="180" y="216"/>
                </a:lnTo>
                <a:lnTo>
                  <a:pt x="180" y="216"/>
                </a:lnTo>
                <a:lnTo>
                  <a:pt x="180" y="210"/>
                </a:lnTo>
                <a:lnTo>
                  <a:pt x="174" y="210"/>
                </a:lnTo>
                <a:lnTo>
                  <a:pt x="174" y="210"/>
                </a:lnTo>
                <a:lnTo>
                  <a:pt x="174" y="210"/>
                </a:lnTo>
                <a:lnTo>
                  <a:pt x="168" y="210"/>
                </a:lnTo>
                <a:lnTo>
                  <a:pt x="168" y="204"/>
                </a:lnTo>
                <a:lnTo>
                  <a:pt x="168" y="204"/>
                </a:lnTo>
                <a:lnTo>
                  <a:pt x="168" y="204"/>
                </a:lnTo>
                <a:lnTo>
                  <a:pt x="168" y="204"/>
                </a:lnTo>
                <a:lnTo>
                  <a:pt x="168" y="204"/>
                </a:lnTo>
                <a:lnTo>
                  <a:pt x="168" y="204"/>
                </a:lnTo>
                <a:lnTo>
                  <a:pt x="174" y="198"/>
                </a:lnTo>
                <a:lnTo>
                  <a:pt x="174" y="198"/>
                </a:lnTo>
                <a:lnTo>
                  <a:pt x="168" y="198"/>
                </a:lnTo>
                <a:lnTo>
                  <a:pt x="168" y="204"/>
                </a:lnTo>
                <a:lnTo>
                  <a:pt x="168" y="198"/>
                </a:lnTo>
                <a:lnTo>
                  <a:pt x="168" y="198"/>
                </a:lnTo>
                <a:lnTo>
                  <a:pt x="168" y="198"/>
                </a:lnTo>
                <a:lnTo>
                  <a:pt x="168" y="198"/>
                </a:lnTo>
                <a:lnTo>
                  <a:pt x="168" y="198"/>
                </a:lnTo>
                <a:lnTo>
                  <a:pt x="162" y="198"/>
                </a:lnTo>
                <a:lnTo>
                  <a:pt x="162" y="192"/>
                </a:lnTo>
                <a:lnTo>
                  <a:pt x="162" y="192"/>
                </a:lnTo>
                <a:lnTo>
                  <a:pt x="168" y="192"/>
                </a:lnTo>
                <a:lnTo>
                  <a:pt x="162" y="192"/>
                </a:lnTo>
                <a:lnTo>
                  <a:pt x="162" y="192"/>
                </a:lnTo>
                <a:lnTo>
                  <a:pt x="162" y="192"/>
                </a:lnTo>
                <a:lnTo>
                  <a:pt x="162" y="192"/>
                </a:lnTo>
                <a:lnTo>
                  <a:pt x="162" y="192"/>
                </a:lnTo>
                <a:lnTo>
                  <a:pt x="162" y="192"/>
                </a:lnTo>
                <a:lnTo>
                  <a:pt x="162" y="186"/>
                </a:lnTo>
                <a:lnTo>
                  <a:pt x="162" y="186"/>
                </a:lnTo>
                <a:lnTo>
                  <a:pt x="162" y="186"/>
                </a:lnTo>
                <a:lnTo>
                  <a:pt x="162" y="186"/>
                </a:lnTo>
                <a:lnTo>
                  <a:pt x="168" y="186"/>
                </a:lnTo>
                <a:lnTo>
                  <a:pt x="168" y="186"/>
                </a:lnTo>
                <a:lnTo>
                  <a:pt x="168" y="180"/>
                </a:lnTo>
                <a:lnTo>
                  <a:pt x="162" y="180"/>
                </a:lnTo>
                <a:lnTo>
                  <a:pt x="162" y="180"/>
                </a:lnTo>
                <a:lnTo>
                  <a:pt x="162" y="180"/>
                </a:lnTo>
                <a:lnTo>
                  <a:pt x="162" y="180"/>
                </a:lnTo>
                <a:lnTo>
                  <a:pt x="162" y="180"/>
                </a:lnTo>
                <a:lnTo>
                  <a:pt x="162" y="174"/>
                </a:lnTo>
                <a:lnTo>
                  <a:pt x="162" y="174"/>
                </a:lnTo>
                <a:lnTo>
                  <a:pt x="156" y="174"/>
                </a:lnTo>
                <a:lnTo>
                  <a:pt x="156" y="174"/>
                </a:lnTo>
                <a:lnTo>
                  <a:pt x="156" y="174"/>
                </a:lnTo>
                <a:lnTo>
                  <a:pt x="156" y="174"/>
                </a:lnTo>
                <a:lnTo>
                  <a:pt x="156" y="174"/>
                </a:lnTo>
                <a:lnTo>
                  <a:pt x="156" y="174"/>
                </a:lnTo>
                <a:lnTo>
                  <a:pt x="156" y="174"/>
                </a:lnTo>
                <a:lnTo>
                  <a:pt x="156" y="174"/>
                </a:lnTo>
                <a:lnTo>
                  <a:pt x="156" y="174"/>
                </a:lnTo>
                <a:lnTo>
                  <a:pt x="156" y="174"/>
                </a:lnTo>
                <a:lnTo>
                  <a:pt x="156" y="168"/>
                </a:lnTo>
                <a:lnTo>
                  <a:pt x="150" y="174"/>
                </a:lnTo>
                <a:lnTo>
                  <a:pt x="150" y="174"/>
                </a:lnTo>
                <a:lnTo>
                  <a:pt x="150" y="168"/>
                </a:lnTo>
                <a:lnTo>
                  <a:pt x="150" y="168"/>
                </a:lnTo>
                <a:lnTo>
                  <a:pt x="150" y="168"/>
                </a:lnTo>
                <a:lnTo>
                  <a:pt x="150" y="162"/>
                </a:lnTo>
                <a:lnTo>
                  <a:pt x="144" y="162"/>
                </a:lnTo>
                <a:lnTo>
                  <a:pt x="144" y="162"/>
                </a:lnTo>
                <a:lnTo>
                  <a:pt x="144" y="162"/>
                </a:lnTo>
                <a:lnTo>
                  <a:pt x="144" y="156"/>
                </a:lnTo>
                <a:lnTo>
                  <a:pt x="144" y="156"/>
                </a:lnTo>
                <a:lnTo>
                  <a:pt x="144" y="156"/>
                </a:lnTo>
                <a:lnTo>
                  <a:pt x="144" y="156"/>
                </a:lnTo>
                <a:lnTo>
                  <a:pt x="138" y="150"/>
                </a:lnTo>
                <a:lnTo>
                  <a:pt x="138" y="150"/>
                </a:lnTo>
                <a:lnTo>
                  <a:pt x="138" y="150"/>
                </a:lnTo>
                <a:lnTo>
                  <a:pt x="138" y="150"/>
                </a:lnTo>
                <a:lnTo>
                  <a:pt x="138" y="144"/>
                </a:lnTo>
                <a:lnTo>
                  <a:pt x="138" y="144"/>
                </a:lnTo>
                <a:lnTo>
                  <a:pt x="138" y="144"/>
                </a:lnTo>
                <a:lnTo>
                  <a:pt x="132" y="144"/>
                </a:lnTo>
                <a:lnTo>
                  <a:pt x="132" y="144"/>
                </a:lnTo>
                <a:lnTo>
                  <a:pt x="132" y="144"/>
                </a:lnTo>
                <a:lnTo>
                  <a:pt x="132" y="144"/>
                </a:lnTo>
                <a:lnTo>
                  <a:pt x="132" y="144"/>
                </a:lnTo>
                <a:lnTo>
                  <a:pt x="132" y="144"/>
                </a:lnTo>
                <a:lnTo>
                  <a:pt x="132" y="138"/>
                </a:lnTo>
                <a:lnTo>
                  <a:pt x="132" y="138"/>
                </a:lnTo>
                <a:lnTo>
                  <a:pt x="126" y="138"/>
                </a:lnTo>
                <a:lnTo>
                  <a:pt x="126" y="144"/>
                </a:lnTo>
                <a:lnTo>
                  <a:pt x="126" y="138"/>
                </a:lnTo>
                <a:lnTo>
                  <a:pt x="126" y="138"/>
                </a:lnTo>
                <a:lnTo>
                  <a:pt x="126" y="138"/>
                </a:lnTo>
                <a:lnTo>
                  <a:pt x="126" y="138"/>
                </a:lnTo>
                <a:lnTo>
                  <a:pt x="120" y="132"/>
                </a:lnTo>
                <a:lnTo>
                  <a:pt x="120" y="132"/>
                </a:lnTo>
                <a:lnTo>
                  <a:pt x="120" y="132"/>
                </a:lnTo>
                <a:lnTo>
                  <a:pt x="114" y="132"/>
                </a:lnTo>
                <a:lnTo>
                  <a:pt x="114" y="132"/>
                </a:lnTo>
                <a:lnTo>
                  <a:pt x="120" y="132"/>
                </a:lnTo>
                <a:lnTo>
                  <a:pt x="120" y="132"/>
                </a:lnTo>
                <a:lnTo>
                  <a:pt x="114" y="132"/>
                </a:lnTo>
                <a:lnTo>
                  <a:pt x="114" y="126"/>
                </a:lnTo>
                <a:lnTo>
                  <a:pt x="114" y="126"/>
                </a:lnTo>
                <a:lnTo>
                  <a:pt x="120" y="126"/>
                </a:lnTo>
                <a:lnTo>
                  <a:pt x="120" y="126"/>
                </a:lnTo>
                <a:lnTo>
                  <a:pt x="114" y="126"/>
                </a:lnTo>
                <a:lnTo>
                  <a:pt x="114" y="126"/>
                </a:lnTo>
                <a:lnTo>
                  <a:pt x="114" y="120"/>
                </a:lnTo>
                <a:lnTo>
                  <a:pt x="114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2" y="108"/>
                </a:lnTo>
                <a:lnTo>
                  <a:pt x="102" y="102"/>
                </a:lnTo>
                <a:lnTo>
                  <a:pt x="102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78" y="84"/>
                </a:lnTo>
                <a:lnTo>
                  <a:pt x="78" y="84"/>
                </a:lnTo>
                <a:lnTo>
                  <a:pt x="78" y="78"/>
                </a:lnTo>
                <a:lnTo>
                  <a:pt x="78" y="78"/>
                </a:lnTo>
                <a:lnTo>
                  <a:pt x="78" y="72"/>
                </a:lnTo>
                <a:lnTo>
                  <a:pt x="78" y="66"/>
                </a:lnTo>
                <a:lnTo>
                  <a:pt x="84" y="60"/>
                </a:lnTo>
                <a:lnTo>
                  <a:pt x="84" y="60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48"/>
                </a:lnTo>
                <a:lnTo>
                  <a:pt x="84" y="48"/>
                </a:lnTo>
                <a:lnTo>
                  <a:pt x="90" y="48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36"/>
                </a:lnTo>
                <a:lnTo>
                  <a:pt x="96" y="36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8" y="30"/>
                </a:lnTo>
                <a:lnTo>
                  <a:pt x="108" y="24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6" y="12"/>
                </a:lnTo>
                <a:lnTo>
                  <a:pt x="126" y="6"/>
                </a:lnTo>
                <a:lnTo>
                  <a:pt x="120" y="6"/>
                </a:lnTo>
                <a:lnTo>
                  <a:pt x="126" y="0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12"/>
                </a:lnTo>
                <a:lnTo>
                  <a:pt x="126" y="12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30"/>
                </a:lnTo>
                <a:lnTo>
                  <a:pt x="144" y="30"/>
                </a:lnTo>
                <a:lnTo>
                  <a:pt x="144" y="24"/>
                </a:lnTo>
                <a:lnTo>
                  <a:pt x="144" y="24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6"/>
                </a:lnTo>
                <a:lnTo>
                  <a:pt x="144" y="36"/>
                </a:lnTo>
                <a:lnTo>
                  <a:pt x="144" y="36"/>
                </a:lnTo>
                <a:lnTo>
                  <a:pt x="150" y="30"/>
                </a:lnTo>
                <a:lnTo>
                  <a:pt x="150" y="30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54"/>
                </a:lnTo>
                <a:lnTo>
                  <a:pt x="162" y="54"/>
                </a:lnTo>
                <a:lnTo>
                  <a:pt x="162" y="54"/>
                </a:lnTo>
                <a:lnTo>
                  <a:pt x="162" y="54"/>
                </a:lnTo>
                <a:lnTo>
                  <a:pt x="162" y="54"/>
                </a:lnTo>
                <a:lnTo>
                  <a:pt x="168" y="48"/>
                </a:lnTo>
                <a:lnTo>
                  <a:pt x="168" y="48"/>
                </a:lnTo>
                <a:lnTo>
                  <a:pt x="168" y="54"/>
                </a:lnTo>
                <a:lnTo>
                  <a:pt x="174" y="54"/>
                </a:lnTo>
                <a:lnTo>
                  <a:pt x="174" y="54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54"/>
                </a:lnTo>
                <a:lnTo>
                  <a:pt x="180" y="54"/>
                </a:lnTo>
                <a:lnTo>
                  <a:pt x="180" y="54"/>
                </a:lnTo>
                <a:lnTo>
                  <a:pt x="180" y="54"/>
                </a:lnTo>
                <a:lnTo>
                  <a:pt x="180" y="54"/>
                </a:lnTo>
                <a:lnTo>
                  <a:pt x="180" y="54"/>
                </a:lnTo>
                <a:lnTo>
                  <a:pt x="180" y="54"/>
                </a:lnTo>
                <a:lnTo>
                  <a:pt x="180" y="54"/>
                </a:lnTo>
                <a:lnTo>
                  <a:pt x="180" y="54"/>
                </a:lnTo>
                <a:lnTo>
                  <a:pt x="180" y="54"/>
                </a:lnTo>
                <a:lnTo>
                  <a:pt x="186" y="54"/>
                </a:lnTo>
                <a:lnTo>
                  <a:pt x="186" y="54"/>
                </a:lnTo>
                <a:lnTo>
                  <a:pt x="180" y="54"/>
                </a:lnTo>
                <a:lnTo>
                  <a:pt x="180" y="54"/>
                </a:lnTo>
                <a:lnTo>
                  <a:pt x="186" y="54"/>
                </a:lnTo>
                <a:lnTo>
                  <a:pt x="186" y="60"/>
                </a:lnTo>
                <a:lnTo>
                  <a:pt x="186" y="54"/>
                </a:lnTo>
                <a:lnTo>
                  <a:pt x="186" y="54"/>
                </a:lnTo>
                <a:lnTo>
                  <a:pt x="186" y="60"/>
                </a:lnTo>
                <a:lnTo>
                  <a:pt x="192" y="60"/>
                </a:lnTo>
                <a:lnTo>
                  <a:pt x="192" y="60"/>
                </a:lnTo>
                <a:lnTo>
                  <a:pt x="192" y="60"/>
                </a:lnTo>
                <a:lnTo>
                  <a:pt x="192" y="60"/>
                </a:lnTo>
                <a:lnTo>
                  <a:pt x="192" y="54"/>
                </a:lnTo>
                <a:lnTo>
                  <a:pt x="192" y="60"/>
                </a:lnTo>
                <a:lnTo>
                  <a:pt x="192" y="60"/>
                </a:lnTo>
                <a:lnTo>
                  <a:pt x="198" y="60"/>
                </a:lnTo>
                <a:lnTo>
                  <a:pt x="198" y="60"/>
                </a:lnTo>
                <a:lnTo>
                  <a:pt x="198" y="60"/>
                </a:lnTo>
                <a:lnTo>
                  <a:pt x="198" y="60"/>
                </a:lnTo>
                <a:lnTo>
                  <a:pt x="204" y="60"/>
                </a:lnTo>
                <a:lnTo>
                  <a:pt x="204" y="60"/>
                </a:lnTo>
                <a:lnTo>
                  <a:pt x="204" y="60"/>
                </a:lnTo>
                <a:lnTo>
                  <a:pt x="204" y="66"/>
                </a:lnTo>
                <a:lnTo>
                  <a:pt x="204" y="66"/>
                </a:lnTo>
                <a:lnTo>
                  <a:pt x="204" y="66"/>
                </a:lnTo>
                <a:lnTo>
                  <a:pt x="210" y="66"/>
                </a:lnTo>
                <a:lnTo>
                  <a:pt x="210" y="66"/>
                </a:lnTo>
                <a:lnTo>
                  <a:pt x="210" y="66"/>
                </a:lnTo>
                <a:lnTo>
                  <a:pt x="210" y="66"/>
                </a:lnTo>
                <a:lnTo>
                  <a:pt x="210" y="66"/>
                </a:lnTo>
                <a:lnTo>
                  <a:pt x="210" y="66"/>
                </a:lnTo>
                <a:lnTo>
                  <a:pt x="210" y="60"/>
                </a:lnTo>
                <a:lnTo>
                  <a:pt x="216" y="60"/>
                </a:lnTo>
                <a:lnTo>
                  <a:pt x="216" y="60"/>
                </a:lnTo>
                <a:lnTo>
                  <a:pt x="216" y="66"/>
                </a:lnTo>
                <a:lnTo>
                  <a:pt x="222" y="66"/>
                </a:lnTo>
                <a:lnTo>
                  <a:pt x="222" y="66"/>
                </a:lnTo>
                <a:lnTo>
                  <a:pt x="222" y="66"/>
                </a:lnTo>
                <a:lnTo>
                  <a:pt x="222" y="66"/>
                </a:lnTo>
                <a:lnTo>
                  <a:pt x="222" y="66"/>
                </a:lnTo>
                <a:lnTo>
                  <a:pt x="222" y="66"/>
                </a:lnTo>
                <a:lnTo>
                  <a:pt x="222" y="66"/>
                </a:lnTo>
                <a:lnTo>
                  <a:pt x="222" y="66"/>
                </a:lnTo>
                <a:lnTo>
                  <a:pt x="228" y="60"/>
                </a:lnTo>
                <a:lnTo>
                  <a:pt x="228" y="66"/>
                </a:lnTo>
                <a:lnTo>
                  <a:pt x="228" y="66"/>
                </a:lnTo>
                <a:lnTo>
                  <a:pt x="228" y="66"/>
                </a:lnTo>
                <a:lnTo>
                  <a:pt x="228" y="66"/>
                </a:lnTo>
                <a:lnTo>
                  <a:pt x="228" y="66"/>
                </a:lnTo>
                <a:lnTo>
                  <a:pt x="228" y="66"/>
                </a:lnTo>
                <a:lnTo>
                  <a:pt x="228" y="66"/>
                </a:lnTo>
                <a:lnTo>
                  <a:pt x="228" y="66"/>
                </a:lnTo>
                <a:lnTo>
                  <a:pt x="234" y="66"/>
                </a:lnTo>
                <a:lnTo>
                  <a:pt x="234" y="66"/>
                </a:lnTo>
                <a:lnTo>
                  <a:pt x="234" y="66"/>
                </a:lnTo>
                <a:lnTo>
                  <a:pt x="234" y="66"/>
                </a:lnTo>
                <a:lnTo>
                  <a:pt x="234" y="66"/>
                </a:lnTo>
                <a:lnTo>
                  <a:pt x="234" y="66"/>
                </a:lnTo>
                <a:lnTo>
                  <a:pt x="234" y="66"/>
                </a:lnTo>
                <a:lnTo>
                  <a:pt x="234" y="66"/>
                </a:lnTo>
                <a:lnTo>
                  <a:pt x="234" y="66"/>
                </a:lnTo>
                <a:lnTo>
                  <a:pt x="240" y="66"/>
                </a:lnTo>
                <a:lnTo>
                  <a:pt x="240" y="66"/>
                </a:lnTo>
                <a:lnTo>
                  <a:pt x="240" y="66"/>
                </a:lnTo>
                <a:lnTo>
                  <a:pt x="240" y="66"/>
                </a:lnTo>
                <a:lnTo>
                  <a:pt x="240" y="72"/>
                </a:lnTo>
                <a:lnTo>
                  <a:pt x="240" y="72"/>
                </a:lnTo>
                <a:lnTo>
                  <a:pt x="240" y="72"/>
                </a:lnTo>
                <a:lnTo>
                  <a:pt x="240" y="72"/>
                </a:lnTo>
                <a:lnTo>
                  <a:pt x="240" y="72"/>
                </a:lnTo>
                <a:lnTo>
                  <a:pt x="240" y="72"/>
                </a:lnTo>
                <a:lnTo>
                  <a:pt x="246" y="72"/>
                </a:lnTo>
                <a:lnTo>
                  <a:pt x="246" y="72"/>
                </a:lnTo>
                <a:lnTo>
                  <a:pt x="246" y="72"/>
                </a:lnTo>
                <a:lnTo>
                  <a:pt x="246" y="72"/>
                </a:lnTo>
                <a:lnTo>
                  <a:pt x="246" y="72"/>
                </a:lnTo>
                <a:lnTo>
                  <a:pt x="246" y="72"/>
                </a:lnTo>
                <a:lnTo>
                  <a:pt x="246" y="78"/>
                </a:lnTo>
                <a:lnTo>
                  <a:pt x="246" y="78"/>
                </a:lnTo>
                <a:lnTo>
                  <a:pt x="246" y="78"/>
                </a:lnTo>
                <a:lnTo>
                  <a:pt x="246" y="78"/>
                </a:lnTo>
                <a:lnTo>
                  <a:pt x="252" y="78"/>
                </a:lnTo>
                <a:lnTo>
                  <a:pt x="252" y="78"/>
                </a:lnTo>
                <a:lnTo>
                  <a:pt x="252" y="78"/>
                </a:lnTo>
                <a:lnTo>
                  <a:pt x="252" y="78"/>
                </a:lnTo>
                <a:lnTo>
                  <a:pt x="252" y="78"/>
                </a:lnTo>
                <a:lnTo>
                  <a:pt x="252" y="78"/>
                </a:lnTo>
                <a:lnTo>
                  <a:pt x="252" y="78"/>
                </a:lnTo>
                <a:lnTo>
                  <a:pt x="252" y="84"/>
                </a:lnTo>
                <a:lnTo>
                  <a:pt x="252" y="84"/>
                </a:lnTo>
                <a:lnTo>
                  <a:pt x="252" y="84"/>
                </a:lnTo>
                <a:lnTo>
                  <a:pt x="252" y="84"/>
                </a:lnTo>
                <a:lnTo>
                  <a:pt x="252" y="84"/>
                </a:lnTo>
                <a:lnTo>
                  <a:pt x="252" y="84"/>
                </a:lnTo>
                <a:lnTo>
                  <a:pt x="258" y="84"/>
                </a:lnTo>
                <a:lnTo>
                  <a:pt x="258" y="84"/>
                </a:lnTo>
                <a:lnTo>
                  <a:pt x="258" y="84"/>
                </a:lnTo>
                <a:lnTo>
                  <a:pt x="258" y="84"/>
                </a:lnTo>
                <a:lnTo>
                  <a:pt x="258" y="84"/>
                </a:lnTo>
                <a:lnTo>
                  <a:pt x="258" y="84"/>
                </a:lnTo>
                <a:lnTo>
                  <a:pt x="258" y="90"/>
                </a:lnTo>
                <a:lnTo>
                  <a:pt x="258" y="90"/>
                </a:lnTo>
                <a:lnTo>
                  <a:pt x="252" y="90"/>
                </a:lnTo>
                <a:lnTo>
                  <a:pt x="258" y="90"/>
                </a:lnTo>
                <a:lnTo>
                  <a:pt x="258" y="90"/>
                </a:lnTo>
                <a:lnTo>
                  <a:pt x="258" y="90"/>
                </a:lnTo>
                <a:lnTo>
                  <a:pt x="258" y="90"/>
                </a:lnTo>
                <a:lnTo>
                  <a:pt x="258" y="90"/>
                </a:lnTo>
                <a:lnTo>
                  <a:pt x="258" y="90"/>
                </a:lnTo>
                <a:lnTo>
                  <a:pt x="258" y="90"/>
                </a:lnTo>
                <a:lnTo>
                  <a:pt x="258" y="90"/>
                </a:lnTo>
                <a:lnTo>
                  <a:pt x="258" y="90"/>
                </a:lnTo>
                <a:lnTo>
                  <a:pt x="258" y="96"/>
                </a:lnTo>
                <a:lnTo>
                  <a:pt x="258" y="96"/>
                </a:lnTo>
                <a:lnTo>
                  <a:pt x="264" y="96"/>
                </a:lnTo>
                <a:lnTo>
                  <a:pt x="264" y="96"/>
                </a:lnTo>
                <a:lnTo>
                  <a:pt x="264" y="96"/>
                </a:lnTo>
                <a:lnTo>
                  <a:pt x="264" y="96"/>
                </a:lnTo>
                <a:lnTo>
                  <a:pt x="264" y="102"/>
                </a:lnTo>
                <a:lnTo>
                  <a:pt x="264" y="96"/>
                </a:lnTo>
                <a:lnTo>
                  <a:pt x="264" y="102"/>
                </a:lnTo>
                <a:lnTo>
                  <a:pt x="264" y="102"/>
                </a:lnTo>
                <a:lnTo>
                  <a:pt x="264" y="102"/>
                </a:lnTo>
                <a:lnTo>
                  <a:pt x="270" y="102"/>
                </a:lnTo>
                <a:lnTo>
                  <a:pt x="270" y="102"/>
                </a:lnTo>
                <a:lnTo>
                  <a:pt x="270" y="102"/>
                </a:lnTo>
                <a:lnTo>
                  <a:pt x="270" y="102"/>
                </a:lnTo>
                <a:lnTo>
                  <a:pt x="270" y="102"/>
                </a:lnTo>
                <a:lnTo>
                  <a:pt x="264" y="102"/>
                </a:lnTo>
                <a:lnTo>
                  <a:pt x="270" y="102"/>
                </a:lnTo>
                <a:lnTo>
                  <a:pt x="270" y="102"/>
                </a:lnTo>
                <a:lnTo>
                  <a:pt x="270" y="102"/>
                </a:lnTo>
                <a:lnTo>
                  <a:pt x="270" y="102"/>
                </a:lnTo>
                <a:lnTo>
                  <a:pt x="270" y="108"/>
                </a:lnTo>
                <a:lnTo>
                  <a:pt x="270" y="108"/>
                </a:lnTo>
                <a:lnTo>
                  <a:pt x="270" y="108"/>
                </a:lnTo>
                <a:lnTo>
                  <a:pt x="270" y="108"/>
                </a:lnTo>
                <a:lnTo>
                  <a:pt x="270" y="108"/>
                </a:lnTo>
                <a:lnTo>
                  <a:pt x="270" y="108"/>
                </a:lnTo>
                <a:lnTo>
                  <a:pt x="270" y="108"/>
                </a:lnTo>
                <a:lnTo>
                  <a:pt x="270" y="114"/>
                </a:lnTo>
                <a:lnTo>
                  <a:pt x="270" y="114"/>
                </a:lnTo>
                <a:lnTo>
                  <a:pt x="270" y="114"/>
                </a:lnTo>
                <a:lnTo>
                  <a:pt x="270" y="114"/>
                </a:lnTo>
                <a:lnTo>
                  <a:pt x="270" y="114"/>
                </a:lnTo>
                <a:lnTo>
                  <a:pt x="270" y="114"/>
                </a:lnTo>
                <a:lnTo>
                  <a:pt x="270" y="114"/>
                </a:lnTo>
                <a:lnTo>
                  <a:pt x="270" y="114"/>
                </a:lnTo>
                <a:lnTo>
                  <a:pt x="270" y="114"/>
                </a:lnTo>
                <a:lnTo>
                  <a:pt x="270" y="114"/>
                </a:lnTo>
                <a:lnTo>
                  <a:pt x="270" y="114"/>
                </a:lnTo>
                <a:lnTo>
                  <a:pt x="270" y="120"/>
                </a:lnTo>
                <a:lnTo>
                  <a:pt x="270" y="114"/>
                </a:lnTo>
                <a:lnTo>
                  <a:pt x="270" y="114"/>
                </a:lnTo>
                <a:lnTo>
                  <a:pt x="270" y="120"/>
                </a:lnTo>
                <a:lnTo>
                  <a:pt x="270" y="120"/>
                </a:lnTo>
                <a:lnTo>
                  <a:pt x="270" y="120"/>
                </a:lnTo>
                <a:lnTo>
                  <a:pt x="270" y="120"/>
                </a:lnTo>
                <a:lnTo>
                  <a:pt x="264" y="120"/>
                </a:lnTo>
                <a:lnTo>
                  <a:pt x="270" y="120"/>
                </a:lnTo>
                <a:lnTo>
                  <a:pt x="270" y="120"/>
                </a:lnTo>
                <a:lnTo>
                  <a:pt x="270" y="120"/>
                </a:lnTo>
                <a:lnTo>
                  <a:pt x="270" y="120"/>
                </a:lnTo>
                <a:lnTo>
                  <a:pt x="264" y="120"/>
                </a:lnTo>
                <a:lnTo>
                  <a:pt x="264" y="126"/>
                </a:lnTo>
                <a:lnTo>
                  <a:pt x="264" y="126"/>
                </a:lnTo>
                <a:lnTo>
                  <a:pt x="264" y="126"/>
                </a:lnTo>
                <a:lnTo>
                  <a:pt x="264" y="126"/>
                </a:lnTo>
                <a:lnTo>
                  <a:pt x="264" y="126"/>
                </a:lnTo>
                <a:lnTo>
                  <a:pt x="264" y="126"/>
                </a:lnTo>
                <a:lnTo>
                  <a:pt x="264" y="126"/>
                </a:lnTo>
                <a:lnTo>
                  <a:pt x="264" y="126"/>
                </a:lnTo>
                <a:lnTo>
                  <a:pt x="264" y="126"/>
                </a:lnTo>
                <a:lnTo>
                  <a:pt x="264" y="132"/>
                </a:lnTo>
                <a:lnTo>
                  <a:pt x="264" y="132"/>
                </a:lnTo>
                <a:lnTo>
                  <a:pt x="264" y="132"/>
                </a:lnTo>
                <a:lnTo>
                  <a:pt x="264" y="132"/>
                </a:lnTo>
                <a:lnTo>
                  <a:pt x="264" y="132"/>
                </a:lnTo>
                <a:lnTo>
                  <a:pt x="264" y="132"/>
                </a:lnTo>
                <a:lnTo>
                  <a:pt x="264" y="132"/>
                </a:lnTo>
                <a:lnTo>
                  <a:pt x="264" y="132"/>
                </a:lnTo>
                <a:lnTo>
                  <a:pt x="264" y="138"/>
                </a:lnTo>
                <a:lnTo>
                  <a:pt x="264" y="132"/>
                </a:lnTo>
                <a:lnTo>
                  <a:pt x="270" y="138"/>
                </a:lnTo>
                <a:lnTo>
                  <a:pt x="264" y="138"/>
                </a:lnTo>
                <a:lnTo>
                  <a:pt x="270" y="138"/>
                </a:lnTo>
                <a:lnTo>
                  <a:pt x="270" y="138"/>
                </a:lnTo>
                <a:lnTo>
                  <a:pt x="270" y="138"/>
                </a:lnTo>
                <a:lnTo>
                  <a:pt x="270" y="138"/>
                </a:lnTo>
                <a:lnTo>
                  <a:pt x="270" y="138"/>
                </a:lnTo>
                <a:lnTo>
                  <a:pt x="270" y="138"/>
                </a:lnTo>
                <a:lnTo>
                  <a:pt x="270" y="138"/>
                </a:lnTo>
                <a:lnTo>
                  <a:pt x="270" y="138"/>
                </a:lnTo>
                <a:lnTo>
                  <a:pt x="270" y="138"/>
                </a:lnTo>
                <a:lnTo>
                  <a:pt x="270" y="138"/>
                </a:lnTo>
                <a:lnTo>
                  <a:pt x="270" y="138"/>
                </a:lnTo>
                <a:lnTo>
                  <a:pt x="276" y="144"/>
                </a:lnTo>
                <a:lnTo>
                  <a:pt x="276" y="138"/>
                </a:lnTo>
                <a:lnTo>
                  <a:pt x="276" y="138"/>
                </a:lnTo>
                <a:lnTo>
                  <a:pt x="276" y="144"/>
                </a:lnTo>
                <a:lnTo>
                  <a:pt x="276" y="138"/>
                </a:lnTo>
                <a:lnTo>
                  <a:pt x="276" y="144"/>
                </a:lnTo>
                <a:lnTo>
                  <a:pt x="276" y="138"/>
                </a:lnTo>
                <a:lnTo>
                  <a:pt x="276" y="138"/>
                </a:lnTo>
                <a:lnTo>
                  <a:pt x="276" y="144"/>
                </a:lnTo>
                <a:lnTo>
                  <a:pt x="276" y="144"/>
                </a:lnTo>
                <a:lnTo>
                  <a:pt x="276" y="144"/>
                </a:lnTo>
                <a:lnTo>
                  <a:pt x="276" y="144"/>
                </a:lnTo>
                <a:lnTo>
                  <a:pt x="276" y="144"/>
                </a:lnTo>
                <a:lnTo>
                  <a:pt x="276" y="144"/>
                </a:lnTo>
                <a:lnTo>
                  <a:pt x="276" y="144"/>
                </a:lnTo>
                <a:lnTo>
                  <a:pt x="276" y="144"/>
                </a:lnTo>
                <a:lnTo>
                  <a:pt x="276" y="144"/>
                </a:lnTo>
                <a:lnTo>
                  <a:pt x="276" y="144"/>
                </a:lnTo>
                <a:lnTo>
                  <a:pt x="276" y="144"/>
                </a:lnTo>
                <a:lnTo>
                  <a:pt x="282" y="144"/>
                </a:lnTo>
                <a:lnTo>
                  <a:pt x="276" y="150"/>
                </a:lnTo>
                <a:lnTo>
                  <a:pt x="276" y="150"/>
                </a:lnTo>
                <a:lnTo>
                  <a:pt x="276" y="150"/>
                </a:lnTo>
                <a:lnTo>
                  <a:pt x="276" y="150"/>
                </a:lnTo>
                <a:lnTo>
                  <a:pt x="276" y="150"/>
                </a:lnTo>
                <a:lnTo>
                  <a:pt x="276" y="150"/>
                </a:lnTo>
                <a:lnTo>
                  <a:pt x="282" y="150"/>
                </a:lnTo>
                <a:lnTo>
                  <a:pt x="276" y="156"/>
                </a:lnTo>
                <a:lnTo>
                  <a:pt x="282" y="156"/>
                </a:lnTo>
                <a:lnTo>
                  <a:pt x="282" y="156"/>
                </a:lnTo>
                <a:lnTo>
                  <a:pt x="282" y="156"/>
                </a:lnTo>
                <a:lnTo>
                  <a:pt x="282" y="156"/>
                </a:lnTo>
                <a:lnTo>
                  <a:pt x="276" y="156"/>
                </a:lnTo>
                <a:lnTo>
                  <a:pt x="276" y="156"/>
                </a:lnTo>
                <a:lnTo>
                  <a:pt x="282" y="156"/>
                </a:lnTo>
                <a:lnTo>
                  <a:pt x="282" y="156"/>
                </a:lnTo>
                <a:lnTo>
                  <a:pt x="282" y="162"/>
                </a:lnTo>
                <a:lnTo>
                  <a:pt x="282" y="162"/>
                </a:lnTo>
                <a:lnTo>
                  <a:pt x="282" y="162"/>
                </a:lnTo>
                <a:lnTo>
                  <a:pt x="282" y="162"/>
                </a:lnTo>
                <a:lnTo>
                  <a:pt x="282" y="162"/>
                </a:lnTo>
                <a:lnTo>
                  <a:pt x="282" y="162"/>
                </a:lnTo>
                <a:lnTo>
                  <a:pt x="282" y="162"/>
                </a:lnTo>
                <a:lnTo>
                  <a:pt x="282" y="168"/>
                </a:lnTo>
                <a:lnTo>
                  <a:pt x="282" y="168"/>
                </a:lnTo>
                <a:lnTo>
                  <a:pt x="282" y="168"/>
                </a:lnTo>
                <a:lnTo>
                  <a:pt x="282" y="168"/>
                </a:lnTo>
                <a:lnTo>
                  <a:pt x="282" y="168"/>
                </a:lnTo>
                <a:lnTo>
                  <a:pt x="282" y="168"/>
                </a:lnTo>
                <a:lnTo>
                  <a:pt x="282" y="168"/>
                </a:lnTo>
                <a:lnTo>
                  <a:pt x="282" y="168"/>
                </a:lnTo>
                <a:lnTo>
                  <a:pt x="282" y="168"/>
                </a:lnTo>
                <a:lnTo>
                  <a:pt x="282" y="174"/>
                </a:lnTo>
                <a:lnTo>
                  <a:pt x="282" y="174"/>
                </a:lnTo>
                <a:lnTo>
                  <a:pt x="282" y="174"/>
                </a:lnTo>
                <a:lnTo>
                  <a:pt x="282" y="174"/>
                </a:lnTo>
                <a:lnTo>
                  <a:pt x="282" y="174"/>
                </a:lnTo>
                <a:lnTo>
                  <a:pt x="282" y="174"/>
                </a:lnTo>
                <a:lnTo>
                  <a:pt x="282" y="174"/>
                </a:lnTo>
                <a:lnTo>
                  <a:pt x="282" y="174"/>
                </a:lnTo>
                <a:lnTo>
                  <a:pt x="282" y="174"/>
                </a:lnTo>
                <a:lnTo>
                  <a:pt x="282" y="174"/>
                </a:lnTo>
                <a:lnTo>
                  <a:pt x="276" y="180"/>
                </a:lnTo>
                <a:lnTo>
                  <a:pt x="282" y="180"/>
                </a:lnTo>
                <a:lnTo>
                  <a:pt x="282" y="180"/>
                </a:lnTo>
                <a:lnTo>
                  <a:pt x="282" y="180"/>
                </a:lnTo>
                <a:lnTo>
                  <a:pt x="282" y="180"/>
                </a:lnTo>
                <a:lnTo>
                  <a:pt x="282" y="180"/>
                </a:lnTo>
                <a:lnTo>
                  <a:pt x="282" y="180"/>
                </a:lnTo>
                <a:lnTo>
                  <a:pt x="282" y="180"/>
                </a:lnTo>
                <a:lnTo>
                  <a:pt x="276" y="180"/>
                </a:lnTo>
                <a:lnTo>
                  <a:pt x="282" y="186"/>
                </a:lnTo>
                <a:lnTo>
                  <a:pt x="282" y="186"/>
                </a:lnTo>
                <a:lnTo>
                  <a:pt x="276" y="186"/>
                </a:lnTo>
                <a:lnTo>
                  <a:pt x="276" y="186"/>
                </a:lnTo>
                <a:lnTo>
                  <a:pt x="276" y="186"/>
                </a:lnTo>
                <a:lnTo>
                  <a:pt x="276" y="186"/>
                </a:lnTo>
                <a:lnTo>
                  <a:pt x="276" y="186"/>
                </a:lnTo>
                <a:lnTo>
                  <a:pt x="276" y="186"/>
                </a:lnTo>
                <a:lnTo>
                  <a:pt x="276" y="186"/>
                </a:lnTo>
                <a:lnTo>
                  <a:pt x="276" y="192"/>
                </a:lnTo>
                <a:lnTo>
                  <a:pt x="276" y="192"/>
                </a:lnTo>
                <a:lnTo>
                  <a:pt x="276" y="192"/>
                </a:lnTo>
                <a:lnTo>
                  <a:pt x="276" y="192"/>
                </a:lnTo>
                <a:lnTo>
                  <a:pt x="270" y="192"/>
                </a:lnTo>
                <a:lnTo>
                  <a:pt x="270" y="192"/>
                </a:lnTo>
                <a:lnTo>
                  <a:pt x="270" y="192"/>
                </a:lnTo>
                <a:lnTo>
                  <a:pt x="270" y="192"/>
                </a:lnTo>
                <a:lnTo>
                  <a:pt x="276" y="192"/>
                </a:lnTo>
                <a:lnTo>
                  <a:pt x="270" y="192"/>
                </a:lnTo>
                <a:lnTo>
                  <a:pt x="270" y="198"/>
                </a:lnTo>
                <a:lnTo>
                  <a:pt x="270" y="198"/>
                </a:lnTo>
                <a:lnTo>
                  <a:pt x="270" y="198"/>
                </a:lnTo>
                <a:lnTo>
                  <a:pt x="270" y="198"/>
                </a:lnTo>
                <a:lnTo>
                  <a:pt x="270" y="198"/>
                </a:lnTo>
                <a:lnTo>
                  <a:pt x="270" y="204"/>
                </a:lnTo>
                <a:lnTo>
                  <a:pt x="270" y="204"/>
                </a:lnTo>
                <a:lnTo>
                  <a:pt x="270" y="204"/>
                </a:lnTo>
                <a:lnTo>
                  <a:pt x="270" y="204"/>
                </a:lnTo>
                <a:lnTo>
                  <a:pt x="270" y="204"/>
                </a:lnTo>
                <a:lnTo>
                  <a:pt x="270" y="204"/>
                </a:lnTo>
                <a:lnTo>
                  <a:pt x="270" y="204"/>
                </a:lnTo>
                <a:lnTo>
                  <a:pt x="270" y="210"/>
                </a:lnTo>
                <a:lnTo>
                  <a:pt x="270" y="210"/>
                </a:lnTo>
                <a:lnTo>
                  <a:pt x="270" y="210"/>
                </a:lnTo>
                <a:lnTo>
                  <a:pt x="270" y="210"/>
                </a:lnTo>
                <a:lnTo>
                  <a:pt x="270" y="210"/>
                </a:lnTo>
                <a:lnTo>
                  <a:pt x="270" y="216"/>
                </a:lnTo>
                <a:lnTo>
                  <a:pt x="270" y="216"/>
                </a:lnTo>
                <a:lnTo>
                  <a:pt x="270" y="216"/>
                </a:lnTo>
                <a:lnTo>
                  <a:pt x="270" y="216"/>
                </a:lnTo>
                <a:lnTo>
                  <a:pt x="270" y="216"/>
                </a:lnTo>
                <a:lnTo>
                  <a:pt x="270" y="216"/>
                </a:lnTo>
                <a:lnTo>
                  <a:pt x="270" y="216"/>
                </a:lnTo>
                <a:lnTo>
                  <a:pt x="270" y="222"/>
                </a:lnTo>
                <a:lnTo>
                  <a:pt x="270" y="222"/>
                </a:lnTo>
                <a:lnTo>
                  <a:pt x="270" y="222"/>
                </a:lnTo>
                <a:lnTo>
                  <a:pt x="270" y="222"/>
                </a:lnTo>
                <a:lnTo>
                  <a:pt x="270" y="222"/>
                </a:lnTo>
                <a:lnTo>
                  <a:pt x="270" y="228"/>
                </a:lnTo>
                <a:lnTo>
                  <a:pt x="270" y="228"/>
                </a:lnTo>
                <a:lnTo>
                  <a:pt x="270" y="228"/>
                </a:lnTo>
                <a:lnTo>
                  <a:pt x="270" y="234"/>
                </a:lnTo>
                <a:lnTo>
                  <a:pt x="270" y="234"/>
                </a:lnTo>
                <a:lnTo>
                  <a:pt x="270" y="234"/>
                </a:lnTo>
                <a:lnTo>
                  <a:pt x="270" y="234"/>
                </a:lnTo>
                <a:lnTo>
                  <a:pt x="270" y="234"/>
                </a:lnTo>
                <a:lnTo>
                  <a:pt x="270" y="234"/>
                </a:lnTo>
                <a:lnTo>
                  <a:pt x="270" y="240"/>
                </a:lnTo>
                <a:lnTo>
                  <a:pt x="270" y="240"/>
                </a:lnTo>
                <a:lnTo>
                  <a:pt x="270" y="240"/>
                </a:lnTo>
                <a:lnTo>
                  <a:pt x="270" y="240"/>
                </a:lnTo>
                <a:lnTo>
                  <a:pt x="270" y="240"/>
                </a:lnTo>
                <a:lnTo>
                  <a:pt x="270" y="240"/>
                </a:lnTo>
                <a:lnTo>
                  <a:pt x="270" y="240"/>
                </a:lnTo>
                <a:lnTo>
                  <a:pt x="270" y="240"/>
                </a:lnTo>
                <a:lnTo>
                  <a:pt x="270" y="246"/>
                </a:lnTo>
                <a:lnTo>
                  <a:pt x="270" y="246"/>
                </a:lnTo>
                <a:lnTo>
                  <a:pt x="270" y="246"/>
                </a:lnTo>
                <a:lnTo>
                  <a:pt x="270" y="246"/>
                </a:lnTo>
                <a:lnTo>
                  <a:pt x="270" y="246"/>
                </a:lnTo>
                <a:lnTo>
                  <a:pt x="270" y="246"/>
                </a:lnTo>
                <a:lnTo>
                  <a:pt x="270" y="246"/>
                </a:lnTo>
                <a:lnTo>
                  <a:pt x="270" y="246"/>
                </a:lnTo>
                <a:lnTo>
                  <a:pt x="270" y="246"/>
                </a:lnTo>
                <a:lnTo>
                  <a:pt x="270" y="246"/>
                </a:lnTo>
                <a:lnTo>
                  <a:pt x="270" y="246"/>
                </a:lnTo>
                <a:lnTo>
                  <a:pt x="270" y="246"/>
                </a:lnTo>
                <a:lnTo>
                  <a:pt x="270" y="246"/>
                </a:lnTo>
                <a:lnTo>
                  <a:pt x="270" y="246"/>
                </a:lnTo>
                <a:lnTo>
                  <a:pt x="270" y="252"/>
                </a:lnTo>
                <a:lnTo>
                  <a:pt x="270" y="252"/>
                </a:lnTo>
                <a:lnTo>
                  <a:pt x="270" y="246"/>
                </a:lnTo>
                <a:lnTo>
                  <a:pt x="276" y="246"/>
                </a:lnTo>
                <a:lnTo>
                  <a:pt x="276" y="246"/>
                </a:lnTo>
                <a:lnTo>
                  <a:pt x="276" y="252"/>
                </a:lnTo>
                <a:lnTo>
                  <a:pt x="276" y="246"/>
                </a:lnTo>
                <a:lnTo>
                  <a:pt x="276" y="252"/>
                </a:lnTo>
                <a:lnTo>
                  <a:pt x="276" y="252"/>
                </a:lnTo>
                <a:lnTo>
                  <a:pt x="282" y="252"/>
                </a:lnTo>
                <a:lnTo>
                  <a:pt x="282" y="252"/>
                </a:lnTo>
                <a:lnTo>
                  <a:pt x="282" y="252"/>
                </a:lnTo>
                <a:lnTo>
                  <a:pt x="282" y="252"/>
                </a:lnTo>
                <a:lnTo>
                  <a:pt x="282" y="252"/>
                </a:lnTo>
                <a:lnTo>
                  <a:pt x="282" y="252"/>
                </a:lnTo>
                <a:lnTo>
                  <a:pt x="282" y="252"/>
                </a:lnTo>
                <a:lnTo>
                  <a:pt x="288" y="252"/>
                </a:lnTo>
                <a:lnTo>
                  <a:pt x="288" y="252"/>
                </a:lnTo>
                <a:lnTo>
                  <a:pt x="288" y="252"/>
                </a:lnTo>
                <a:lnTo>
                  <a:pt x="288" y="258"/>
                </a:lnTo>
                <a:lnTo>
                  <a:pt x="288" y="258"/>
                </a:lnTo>
                <a:lnTo>
                  <a:pt x="294" y="258"/>
                </a:lnTo>
                <a:lnTo>
                  <a:pt x="294" y="264"/>
                </a:lnTo>
                <a:lnTo>
                  <a:pt x="294" y="264"/>
                </a:lnTo>
                <a:lnTo>
                  <a:pt x="294" y="264"/>
                </a:lnTo>
                <a:lnTo>
                  <a:pt x="294" y="264"/>
                </a:lnTo>
                <a:lnTo>
                  <a:pt x="294" y="264"/>
                </a:lnTo>
                <a:lnTo>
                  <a:pt x="294" y="264"/>
                </a:lnTo>
                <a:lnTo>
                  <a:pt x="300" y="270"/>
                </a:lnTo>
                <a:lnTo>
                  <a:pt x="300" y="276"/>
                </a:lnTo>
                <a:lnTo>
                  <a:pt x="300" y="276"/>
                </a:lnTo>
                <a:lnTo>
                  <a:pt x="300" y="282"/>
                </a:lnTo>
                <a:lnTo>
                  <a:pt x="300" y="282"/>
                </a:lnTo>
                <a:lnTo>
                  <a:pt x="300" y="282"/>
                </a:lnTo>
                <a:lnTo>
                  <a:pt x="300" y="282"/>
                </a:lnTo>
                <a:lnTo>
                  <a:pt x="300" y="282"/>
                </a:lnTo>
                <a:lnTo>
                  <a:pt x="300" y="288"/>
                </a:lnTo>
                <a:lnTo>
                  <a:pt x="300" y="288"/>
                </a:lnTo>
                <a:lnTo>
                  <a:pt x="300" y="294"/>
                </a:lnTo>
                <a:lnTo>
                  <a:pt x="300" y="294"/>
                </a:lnTo>
                <a:lnTo>
                  <a:pt x="300" y="300"/>
                </a:lnTo>
                <a:lnTo>
                  <a:pt x="300" y="300"/>
                </a:lnTo>
                <a:lnTo>
                  <a:pt x="306" y="300"/>
                </a:lnTo>
                <a:lnTo>
                  <a:pt x="306" y="300"/>
                </a:lnTo>
                <a:lnTo>
                  <a:pt x="300" y="300"/>
                </a:lnTo>
                <a:lnTo>
                  <a:pt x="300" y="300"/>
                </a:lnTo>
                <a:lnTo>
                  <a:pt x="306" y="294"/>
                </a:lnTo>
                <a:lnTo>
                  <a:pt x="306" y="294"/>
                </a:lnTo>
                <a:lnTo>
                  <a:pt x="312" y="288"/>
                </a:lnTo>
                <a:lnTo>
                  <a:pt x="312" y="288"/>
                </a:lnTo>
                <a:lnTo>
                  <a:pt x="312" y="288"/>
                </a:lnTo>
                <a:lnTo>
                  <a:pt x="318" y="288"/>
                </a:lnTo>
                <a:lnTo>
                  <a:pt x="318" y="288"/>
                </a:lnTo>
                <a:lnTo>
                  <a:pt x="318" y="288"/>
                </a:lnTo>
                <a:lnTo>
                  <a:pt x="318" y="288"/>
                </a:lnTo>
                <a:lnTo>
                  <a:pt x="318" y="288"/>
                </a:lnTo>
                <a:lnTo>
                  <a:pt x="318" y="288"/>
                </a:lnTo>
                <a:lnTo>
                  <a:pt x="324" y="288"/>
                </a:lnTo>
                <a:lnTo>
                  <a:pt x="324" y="288"/>
                </a:lnTo>
                <a:lnTo>
                  <a:pt x="324" y="288"/>
                </a:lnTo>
                <a:lnTo>
                  <a:pt x="330" y="288"/>
                </a:lnTo>
                <a:lnTo>
                  <a:pt x="330" y="288"/>
                </a:lnTo>
                <a:lnTo>
                  <a:pt x="330" y="288"/>
                </a:lnTo>
                <a:lnTo>
                  <a:pt x="330" y="288"/>
                </a:lnTo>
                <a:lnTo>
                  <a:pt x="330" y="288"/>
                </a:lnTo>
                <a:lnTo>
                  <a:pt x="330" y="288"/>
                </a:lnTo>
                <a:lnTo>
                  <a:pt x="330" y="288"/>
                </a:lnTo>
                <a:lnTo>
                  <a:pt x="330" y="282"/>
                </a:lnTo>
                <a:lnTo>
                  <a:pt x="336" y="282"/>
                </a:lnTo>
                <a:lnTo>
                  <a:pt x="336" y="282"/>
                </a:lnTo>
                <a:lnTo>
                  <a:pt x="336" y="282"/>
                </a:lnTo>
                <a:lnTo>
                  <a:pt x="336" y="282"/>
                </a:lnTo>
                <a:lnTo>
                  <a:pt x="342" y="282"/>
                </a:lnTo>
                <a:lnTo>
                  <a:pt x="342" y="282"/>
                </a:lnTo>
                <a:lnTo>
                  <a:pt x="348" y="282"/>
                </a:lnTo>
                <a:lnTo>
                  <a:pt x="348" y="282"/>
                </a:lnTo>
                <a:lnTo>
                  <a:pt x="348" y="288"/>
                </a:lnTo>
                <a:lnTo>
                  <a:pt x="348" y="288"/>
                </a:lnTo>
                <a:lnTo>
                  <a:pt x="348" y="288"/>
                </a:lnTo>
                <a:lnTo>
                  <a:pt x="354" y="288"/>
                </a:lnTo>
                <a:lnTo>
                  <a:pt x="354" y="288"/>
                </a:lnTo>
                <a:lnTo>
                  <a:pt x="354" y="288"/>
                </a:lnTo>
                <a:lnTo>
                  <a:pt x="360" y="288"/>
                </a:lnTo>
                <a:lnTo>
                  <a:pt x="360" y="294"/>
                </a:lnTo>
                <a:lnTo>
                  <a:pt x="366" y="294"/>
                </a:lnTo>
                <a:lnTo>
                  <a:pt x="366" y="294"/>
                </a:lnTo>
                <a:lnTo>
                  <a:pt x="366" y="294"/>
                </a:lnTo>
                <a:lnTo>
                  <a:pt x="366" y="294"/>
                </a:lnTo>
                <a:lnTo>
                  <a:pt x="366" y="300"/>
                </a:lnTo>
                <a:lnTo>
                  <a:pt x="360" y="300"/>
                </a:lnTo>
                <a:lnTo>
                  <a:pt x="366" y="306"/>
                </a:lnTo>
                <a:lnTo>
                  <a:pt x="360" y="306"/>
                </a:lnTo>
                <a:lnTo>
                  <a:pt x="360" y="306"/>
                </a:lnTo>
                <a:lnTo>
                  <a:pt x="360" y="306"/>
                </a:lnTo>
                <a:lnTo>
                  <a:pt x="360" y="312"/>
                </a:lnTo>
                <a:lnTo>
                  <a:pt x="360" y="312"/>
                </a:lnTo>
                <a:lnTo>
                  <a:pt x="360" y="312"/>
                </a:lnTo>
                <a:lnTo>
                  <a:pt x="360" y="306"/>
                </a:lnTo>
                <a:lnTo>
                  <a:pt x="360" y="306"/>
                </a:lnTo>
                <a:lnTo>
                  <a:pt x="360" y="306"/>
                </a:lnTo>
                <a:lnTo>
                  <a:pt x="360" y="306"/>
                </a:lnTo>
                <a:lnTo>
                  <a:pt x="360" y="306"/>
                </a:lnTo>
                <a:lnTo>
                  <a:pt x="354" y="306"/>
                </a:lnTo>
                <a:lnTo>
                  <a:pt x="354" y="306"/>
                </a:lnTo>
                <a:lnTo>
                  <a:pt x="354" y="312"/>
                </a:lnTo>
                <a:lnTo>
                  <a:pt x="354" y="312"/>
                </a:lnTo>
                <a:lnTo>
                  <a:pt x="354" y="312"/>
                </a:lnTo>
                <a:lnTo>
                  <a:pt x="354" y="312"/>
                </a:lnTo>
                <a:lnTo>
                  <a:pt x="354" y="312"/>
                </a:lnTo>
                <a:lnTo>
                  <a:pt x="354" y="312"/>
                </a:lnTo>
                <a:lnTo>
                  <a:pt x="354" y="312"/>
                </a:lnTo>
                <a:lnTo>
                  <a:pt x="354" y="312"/>
                </a:lnTo>
                <a:lnTo>
                  <a:pt x="354" y="318"/>
                </a:lnTo>
                <a:lnTo>
                  <a:pt x="354" y="318"/>
                </a:lnTo>
                <a:lnTo>
                  <a:pt x="348" y="318"/>
                </a:lnTo>
                <a:lnTo>
                  <a:pt x="348" y="324"/>
                </a:lnTo>
                <a:lnTo>
                  <a:pt x="342" y="330"/>
                </a:lnTo>
                <a:lnTo>
                  <a:pt x="342" y="330"/>
                </a:lnTo>
                <a:lnTo>
                  <a:pt x="348" y="330"/>
                </a:lnTo>
                <a:lnTo>
                  <a:pt x="342" y="336"/>
                </a:lnTo>
                <a:lnTo>
                  <a:pt x="342" y="336"/>
                </a:lnTo>
                <a:lnTo>
                  <a:pt x="342" y="336"/>
                </a:lnTo>
                <a:lnTo>
                  <a:pt x="342" y="342"/>
                </a:lnTo>
                <a:lnTo>
                  <a:pt x="342" y="342"/>
                </a:lnTo>
                <a:lnTo>
                  <a:pt x="336" y="348"/>
                </a:lnTo>
                <a:lnTo>
                  <a:pt x="336" y="348"/>
                </a:lnTo>
                <a:lnTo>
                  <a:pt x="336" y="354"/>
                </a:lnTo>
                <a:lnTo>
                  <a:pt x="336" y="354"/>
                </a:lnTo>
                <a:lnTo>
                  <a:pt x="336" y="360"/>
                </a:lnTo>
                <a:lnTo>
                  <a:pt x="330" y="360"/>
                </a:lnTo>
                <a:lnTo>
                  <a:pt x="330" y="360"/>
                </a:lnTo>
                <a:lnTo>
                  <a:pt x="330" y="366"/>
                </a:lnTo>
                <a:lnTo>
                  <a:pt x="324" y="372"/>
                </a:lnTo>
                <a:lnTo>
                  <a:pt x="324" y="378"/>
                </a:lnTo>
                <a:lnTo>
                  <a:pt x="324" y="378"/>
                </a:lnTo>
                <a:lnTo>
                  <a:pt x="324" y="384"/>
                </a:lnTo>
                <a:lnTo>
                  <a:pt x="324" y="384"/>
                </a:lnTo>
                <a:lnTo>
                  <a:pt x="324" y="390"/>
                </a:lnTo>
                <a:lnTo>
                  <a:pt x="324" y="390"/>
                </a:lnTo>
                <a:lnTo>
                  <a:pt x="324" y="396"/>
                </a:lnTo>
                <a:lnTo>
                  <a:pt x="324" y="396"/>
                </a:lnTo>
                <a:lnTo>
                  <a:pt x="324" y="396"/>
                </a:lnTo>
                <a:lnTo>
                  <a:pt x="324" y="396"/>
                </a:lnTo>
                <a:lnTo>
                  <a:pt x="324" y="402"/>
                </a:lnTo>
                <a:lnTo>
                  <a:pt x="324" y="402"/>
                </a:lnTo>
                <a:lnTo>
                  <a:pt x="324" y="402"/>
                </a:lnTo>
                <a:lnTo>
                  <a:pt x="330" y="402"/>
                </a:lnTo>
                <a:lnTo>
                  <a:pt x="330" y="408"/>
                </a:lnTo>
                <a:lnTo>
                  <a:pt x="324" y="408"/>
                </a:lnTo>
                <a:lnTo>
                  <a:pt x="324" y="408"/>
                </a:lnTo>
                <a:lnTo>
                  <a:pt x="324" y="414"/>
                </a:lnTo>
                <a:lnTo>
                  <a:pt x="324" y="414"/>
                </a:lnTo>
                <a:lnTo>
                  <a:pt x="324" y="414"/>
                </a:lnTo>
                <a:lnTo>
                  <a:pt x="324" y="414"/>
                </a:lnTo>
                <a:lnTo>
                  <a:pt x="324" y="414"/>
                </a:lnTo>
                <a:lnTo>
                  <a:pt x="324" y="414"/>
                </a:lnTo>
                <a:lnTo>
                  <a:pt x="324" y="420"/>
                </a:lnTo>
                <a:lnTo>
                  <a:pt x="324" y="420"/>
                </a:lnTo>
                <a:lnTo>
                  <a:pt x="324" y="420"/>
                </a:lnTo>
                <a:lnTo>
                  <a:pt x="324" y="420"/>
                </a:lnTo>
                <a:lnTo>
                  <a:pt x="324" y="420"/>
                </a:lnTo>
                <a:lnTo>
                  <a:pt x="324" y="420"/>
                </a:lnTo>
                <a:lnTo>
                  <a:pt x="324" y="426"/>
                </a:lnTo>
                <a:lnTo>
                  <a:pt x="324" y="426"/>
                </a:lnTo>
                <a:lnTo>
                  <a:pt x="324" y="426"/>
                </a:lnTo>
                <a:lnTo>
                  <a:pt x="324" y="426"/>
                </a:lnTo>
                <a:lnTo>
                  <a:pt x="324" y="426"/>
                </a:lnTo>
                <a:lnTo>
                  <a:pt x="324" y="426"/>
                </a:lnTo>
                <a:lnTo>
                  <a:pt x="324" y="426"/>
                </a:lnTo>
                <a:lnTo>
                  <a:pt x="324" y="432"/>
                </a:lnTo>
                <a:lnTo>
                  <a:pt x="324" y="432"/>
                </a:lnTo>
                <a:lnTo>
                  <a:pt x="324" y="432"/>
                </a:lnTo>
                <a:lnTo>
                  <a:pt x="324" y="438"/>
                </a:lnTo>
                <a:lnTo>
                  <a:pt x="324" y="438"/>
                </a:lnTo>
                <a:lnTo>
                  <a:pt x="324" y="438"/>
                </a:lnTo>
                <a:lnTo>
                  <a:pt x="324" y="444"/>
                </a:lnTo>
                <a:lnTo>
                  <a:pt x="324" y="444"/>
                </a:lnTo>
                <a:lnTo>
                  <a:pt x="324" y="444"/>
                </a:lnTo>
                <a:lnTo>
                  <a:pt x="318" y="444"/>
                </a:lnTo>
                <a:lnTo>
                  <a:pt x="318" y="444"/>
                </a:lnTo>
                <a:lnTo>
                  <a:pt x="318" y="444"/>
                </a:lnTo>
                <a:lnTo>
                  <a:pt x="318" y="444"/>
                </a:lnTo>
                <a:lnTo>
                  <a:pt x="318" y="444"/>
                </a:lnTo>
                <a:lnTo>
                  <a:pt x="318" y="444"/>
                </a:lnTo>
                <a:lnTo>
                  <a:pt x="318" y="450"/>
                </a:lnTo>
                <a:lnTo>
                  <a:pt x="318" y="450"/>
                </a:lnTo>
                <a:lnTo>
                  <a:pt x="312" y="450"/>
                </a:lnTo>
                <a:lnTo>
                  <a:pt x="312" y="450"/>
                </a:lnTo>
                <a:lnTo>
                  <a:pt x="312" y="450"/>
                </a:lnTo>
                <a:lnTo>
                  <a:pt x="312" y="450"/>
                </a:lnTo>
                <a:lnTo>
                  <a:pt x="312" y="450"/>
                </a:lnTo>
                <a:lnTo>
                  <a:pt x="312" y="450"/>
                </a:lnTo>
                <a:lnTo>
                  <a:pt x="312" y="450"/>
                </a:lnTo>
                <a:lnTo>
                  <a:pt x="312" y="450"/>
                </a:lnTo>
                <a:lnTo>
                  <a:pt x="312" y="450"/>
                </a:lnTo>
                <a:lnTo>
                  <a:pt x="312" y="450"/>
                </a:lnTo>
                <a:lnTo>
                  <a:pt x="312" y="450"/>
                </a:lnTo>
                <a:lnTo>
                  <a:pt x="312" y="450"/>
                </a:lnTo>
                <a:lnTo>
                  <a:pt x="312" y="450"/>
                </a:lnTo>
                <a:lnTo>
                  <a:pt x="312" y="456"/>
                </a:lnTo>
                <a:lnTo>
                  <a:pt x="312" y="456"/>
                </a:lnTo>
                <a:lnTo>
                  <a:pt x="312" y="456"/>
                </a:lnTo>
                <a:lnTo>
                  <a:pt x="312" y="456"/>
                </a:lnTo>
                <a:lnTo>
                  <a:pt x="312" y="456"/>
                </a:lnTo>
                <a:lnTo>
                  <a:pt x="306" y="456"/>
                </a:lnTo>
                <a:lnTo>
                  <a:pt x="306" y="456"/>
                </a:lnTo>
                <a:lnTo>
                  <a:pt x="306" y="456"/>
                </a:lnTo>
                <a:lnTo>
                  <a:pt x="306" y="456"/>
                </a:lnTo>
                <a:lnTo>
                  <a:pt x="306" y="456"/>
                </a:lnTo>
                <a:lnTo>
                  <a:pt x="306" y="456"/>
                </a:lnTo>
                <a:lnTo>
                  <a:pt x="306" y="456"/>
                </a:lnTo>
                <a:lnTo>
                  <a:pt x="306" y="456"/>
                </a:lnTo>
                <a:lnTo>
                  <a:pt x="306" y="456"/>
                </a:lnTo>
                <a:lnTo>
                  <a:pt x="306" y="456"/>
                </a:lnTo>
                <a:lnTo>
                  <a:pt x="306" y="456"/>
                </a:lnTo>
                <a:lnTo>
                  <a:pt x="306" y="456"/>
                </a:lnTo>
                <a:lnTo>
                  <a:pt x="306" y="456"/>
                </a:lnTo>
                <a:lnTo>
                  <a:pt x="306" y="462"/>
                </a:lnTo>
                <a:lnTo>
                  <a:pt x="306" y="462"/>
                </a:lnTo>
                <a:lnTo>
                  <a:pt x="306" y="462"/>
                </a:lnTo>
                <a:lnTo>
                  <a:pt x="306" y="462"/>
                </a:lnTo>
                <a:lnTo>
                  <a:pt x="306" y="462"/>
                </a:lnTo>
                <a:lnTo>
                  <a:pt x="306" y="462"/>
                </a:lnTo>
                <a:lnTo>
                  <a:pt x="300" y="462"/>
                </a:lnTo>
                <a:lnTo>
                  <a:pt x="300" y="462"/>
                </a:lnTo>
                <a:lnTo>
                  <a:pt x="300" y="462"/>
                </a:lnTo>
                <a:lnTo>
                  <a:pt x="300" y="462"/>
                </a:lnTo>
                <a:lnTo>
                  <a:pt x="300" y="462"/>
                </a:lnTo>
                <a:lnTo>
                  <a:pt x="300" y="462"/>
                </a:lnTo>
                <a:lnTo>
                  <a:pt x="300" y="462"/>
                </a:lnTo>
                <a:lnTo>
                  <a:pt x="300" y="462"/>
                </a:lnTo>
                <a:lnTo>
                  <a:pt x="300" y="462"/>
                </a:lnTo>
                <a:lnTo>
                  <a:pt x="300" y="462"/>
                </a:lnTo>
                <a:lnTo>
                  <a:pt x="300" y="468"/>
                </a:lnTo>
                <a:lnTo>
                  <a:pt x="300" y="462"/>
                </a:lnTo>
                <a:lnTo>
                  <a:pt x="300" y="468"/>
                </a:lnTo>
                <a:lnTo>
                  <a:pt x="300" y="462"/>
                </a:lnTo>
                <a:lnTo>
                  <a:pt x="294" y="462"/>
                </a:lnTo>
                <a:lnTo>
                  <a:pt x="294" y="462"/>
                </a:lnTo>
                <a:lnTo>
                  <a:pt x="294" y="462"/>
                </a:lnTo>
                <a:lnTo>
                  <a:pt x="294" y="462"/>
                </a:lnTo>
                <a:lnTo>
                  <a:pt x="294" y="468"/>
                </a:lnTo>
                <a:lnTo>
                  <a:pt x="294" y="468"/>
                </a:lnTo>
                <a:lnTo>
                  <a:pt x="294" y="468"/>
                </a:lnTo>
                <a:lnTo>
                  <a:pt x="294" y="468"/>
                </a:lnTo>
                <a:lnTo>
                  <a:pt x="294" y="462"/>
                </a:lnTo>
                <a:lnTo>
                  <a:pt x="294" y="462"/>
                </a:lnTo>
                <a:lnTo>
                  <a:pt x="294" y="462"/>
                </a:lnTo>
                <a:lnTo>
                  <a:pt x="294" y="468"/>
                </a:lnTo>
                <a:lnTo>
                  <a:pt x="288" y="468"/>
                </a:lnTo>
                <a:lnTo>
                  <a:pt x="288" y="468"/>
                </a:lnTo>
                <a:lnTo>
                  <a:pt x="288" y="468"/>
                </a:lnTo>
                <a:lnTo>
                  <a:pt x="288" y="468"/>
                </a:lnTo>
                <a:lnTo>
                  <a:pt x="288" y="468"/>
                </a:lnTo>
                <a:lnTo>
                  <a:pt x="288" y="468"/>
                </a:lnTo>
                <a:lnTo>
                  <a:pt x="288" y="468"/>
                </a:lnTo>
                <a:lnTo>
                  <a:pt x="288" y="468"/>
                </a:lnTo>
                <a:lnTo>
                  <a:pt x="288" y="468"/>
                </a:lnTo>
                <a:lnTo>
                  <a:pt x="288" y="468"/>
                </a:lnTo>
                <a:lnTo>
                  <a:pt x="282" y="468"/>
                </a:lnTo>
                <a:lnTo>
                  <a:pt x="282" y="468"/>
                </a:lnTo>
                <a:lnTo>
                  <a:pt x="282" y="468"/>
                </a:lnTo>
                <a:lnTo>
                  <a:pt x="282" y="474"/>
                </a:lnTo>
                <a:lnTo>
                  <a:pt x="282" y="474"/>
                </a:lnTo>
                <a:lnTo>
                  <a:pt x="282" y="474"/>
                </a:lnTo>
                <a:lnTo>
                  <a:pt x="282" y="474"/>
                </a:lnTo>
                <a:lnTo>
                  <a:pt x="276" y="474"/>
                </a:lnTo>
                <a:lnTo>
                  <a:pt x="276" y="474"/>
                </a:lnTo>
                <a:lnTo>
                  <a:pt x="276" y="474"/>
                </a:lnTo>
                <a:lnTo>
                  <a:pt x="276" y="474"/>
                </a:lnTo>
                <a:lnTo>
                  <a:pt x="270" y="474"/>
                </a:lnTo>
                <a:lnTo>
                  <a:pt x="270" y="474"/>
                </a:lnTo>
                <a:lnTo>
                  <a:pt x="270" y="474"/>
                </a:lnTo>
                <a:lnTo>
                  <a:pt x="270" y="474"/>
                </a:lnTo>
                <a:lnTo>
                  <a:pt x="270" y="474"/>
                </a:lnTo>
                <a:lnTo>
                  <a:pt x="270" y="474"/>
                </a:lnTo>
                <a:lnTo>
                  <a:pt x="264" y="474"/>
                </a:lnTo>
                <a:lnTo>
                  <a:pt x="264" y="474"/>
                </a:lnTo>
                <a:lnTo>
                  <a:pt x="264" y="474"/>
                </a:lnTo>
                <a:lnTo>
                  <a:pt x="264" y="474"/>
                </a:lnTo>
                <a:lnTo>
                  <a:pt x="264" y="474"/>
                </a:lnTo>
                <a:lnTo>
                  <a:pt x="264" y="474"/>
                </a:lnTo>
                <a:lnTo>
                  <a:pt x="264" y="468"/>
                </a:lnTo>
                <a:lnTo>
                  <a:pt x="264" y="468"/>
                </a:lnTo>
                <a:lnTo>
                  <a:pt x="258" y="474"/>
                </a:lnTo>
                <a:lnTo>
                  <a:pt x="258" y="474"/>
                </a:lnTo>
                <a:lnTo>
                  <a:pt x="258" y="474"/>
                </a:lnTo>
                <a:lnTo>
                  <a:pt x="258" y="474"/>
                </a:lnTo>
                <a:lnTo>
                  <a:pt x="258" y="474"/>
                </a:lnTo>
                <a:lnTo>
                  <a:pt x="252" y="474"/>
                </a:lnTo>
                <a:lnTo>
                  <a:pt x="252" y="474"/>
                </a:lnTo>
                <a:lnTo>
                  <a:pt x="252" y="480"/>
                </a:lnTo>
                <a:lnTo>
                  <a:pt x="252" y="480"/>
                </a:lnTo>
                <a:lnTo>
                  <a:pt x="246" y="480"/>
                </a:lnTo>
                <a:lnTo>
                  <a:pt x="246" y="480"/>
                </a:lnTo>
                <a:lnTo>
                  <a:pt x="246" y="486"/>
                </a:lnTo>
                <a:lnTo>
                  <a:pt x="246" y="486"/>
                </a:lnTo>
                <a:lnTo>
                  <a:pt x="240" y="486"/>
                </a:lnTo>
                <a:lnTo>
                  <a:pt x="240" y="486"/>
                </a:lnTo>
                <a:lnTo>
                  <a:pt x="240" y="486"/>
                </a:lnTo>
                <a:lnTo>
                  <a:pt x="240" y="486"/>
                </a:lnTo>
                <a:lnTo>
                  <a:pt x="234" y="486"/>
                </a:lnTo>
                <a:lnTo>
                  <a:pt x="234" y="486"/>
                </a:lnTo>
                <a:lnTo>
                  <a:pt x="234" y="486"/>
                </a:lnTo>
                <a:lnTo>
                  <a:pt x="234" y="486"/>
                </a:lnTo>
                <a:lnTo>
                  <a:pt x="234" y="486"/>
                </a:lnTo>
                <a:lnTo>
                  <a:pt x="228" y="486"/>
                </a:lnTo>
                <a:lnTo>
                  <a:pt x="228" y="486"/>
                </a:lnTo>
                <a:lnTo>
                  <a:pt x="228" y="480"/>
                </a:lnTo>
                <a:lnTo>
                  <a:pt x="222" y="480"/>
                </a:lnTo>
                <a:lnTo>
                  <a:pt x="222" y="480"/>
                </a:lnTo>
                <a:lnTo>
                  <a:pt x="222" y="492"/>
                </a:lnTo>
                <a:lnTo>
                  <a:pt x="222" y="492"/>
                </a:lnTo>
                <a:lnTo>
                  <a:pt x="216" y="516"/>
                </a:lnTo>
                <a:lnTo>
                  <a:pt x="216" y="516"/>
                </a:lnTo>
                <a:lnTo>
                  <a:pt x="216" y="516"/>
                </a:lnTo>
                <a:lnTo>
                  <a:pt x="216" y="510"/>
                </a:lnTo>
                <a:lnTo>
                  <a:pt x="210" y="504"/>
                </a:lnTo>
                <a:lnTo>
                  <a:pt x="210" y="498"/>
                </a:lnTo>
                <a:lnTo>
                  <a:pt x="210" y="498"/>
                </a:lnTo>
                <a:lnTo>
                  <a:pt x="210" y="498"/>
                </a:lnTo>
                <a:lnTo>
                  <a:pt x="210" y="498"/>
                </a:lnTo>
                <a:lnTo>
                  <a:pt x="210" y="492"/>
                </a:lnTo>
                <a:lnTo>
                  <a:pt x="210" y="492"/>
                </a:lnTo>
                <a:lnTo>
                  <a:pt x="210" y="492"/>
                </a:lnTo>
                <a:lnTo>
                  <a:pt x="210" y="486"/>
                </a:lnTo>
                <a:lnTo>
                  <a:pt x="210" y="486"/>
                </a:lnTo>
                <a:lnTo>
                  <a:pt x="210" y="486"/>
                </a:lnTo>
                <a:lnTo>
                  <a:pt x="204" y="486"/>
                </a:lnTo>
                <a:lnTo>
                  <a:pt x="204" y="486"/>
                </a:lnTo>
                <a:lnTo>
                  <a:pt x="204" y="480"/>
                </a:lnTo>
                <a:lnTo>
                  <a:pt x="204" y="480"/>
                </a:lnTo>
                <a:lnTo>
                  <a:pt x="204" y="480"/>
                </a:lnTo>
                <a:lnTo>
                  <a:pt x="204" y="480"/>
                </a:lnTo>
                <a:lnTo>
                  <a:pt x="204" y="480"/>
                </a:lnTo>
                <a:lnTo>
                  <a:pt x="204" y="480"/>
                </a:lnTo>
                <a:lnTo>
                  <a:pt x="198" y="480"/>
                </a:lnTo>
                <a:lnTo>
                  <a:pt x="198" y="480"/>
                </a:lnTo>
                <a:lnTo>
                  <a:pt x="198" y="480"/>
                </a:lnTo>
                <a:lnTo>
                  <a:pt x="198" y="480"/>
                </a:lnTo>
                <a:lnTo>
                  <a:pt x="198" y="486"/>
                </a:lnTo>
                <a:lnTo>
                  <a:pt x="192" y="486"/>
                </a:lnTo>
                <a:lnTo>
                  <a:pt x="192" y="486"/>
                </a:lnTo>
                <a:lnTo>
                  <a:pt x="192" y="492"/>
                </a:lnTo>
                <a:lnTo>
                  <a:pt x="192" y="492"/>
                </a:lnTo>
                <a:lnTo>
                  <a:pt x="192" y="492"/>
                </a:lnTo>
                <a:lnTo>
                  <a:pt x="192" y="498"/>
                </a:lnTo>
                <a:lnTo>
                  <a:pt x="192" y="498"/>
                </a:lnTo>
                <a:lnTo>
                  <a:pt x="192" y="498"/>
                </a:lnTo>
                <a:lnTo>
                  <a:pt x="186" y="498"/>
                </a:lnTo>
                <a:lnTo>
                  <a:pt x="186" y="498"/>
                </a:lnTo>
                <a:lnTo>
                  <a:pt x="186" y="504"/>
                </a:lnTo>
                <a:lnTo>
                  <a:pt x="186" y="504"/>
                </a:lnTo>
                <a:lnTo>
                  <a:pt x="186" y="504"/>
                </a:lnTo>
                <a:lnTo>
                  <a:pt x="180" y="504"/>
                </a:lnTo>
                <a:lnTo>
                  <a:pt x="180" y="510"/>
                </a:lnTo>
                <a:lnTo>
                  <a:pt x="180" y="510"/>
                </a:lnTo>
                <a:lnTo>
                  <a:pt x="174" y="516"/>
                </a:lnTo>
                <a:lnTo>
                  <a:pt x="174" y="516"/>
                </a:lnTo>
                <a:lnTo>
                  <a:pt x="174" y="516"/>
                </a:lnTo>
                <a:lnTo>
                  <a:pt x="174" y="516"/>
                </a:lnTo>
                <a:lnTo>
                  <a:pt x="174" y="522"/>
                </a:lnTo>
                <a:lnTo>
                  <a:pt x="174" y="522"/>
                </a:lnTo>
                <a:lnTo>
                  <a:pt x="174" y="522"/>
                </a:lnTo>
                <a:lnTo>
                  <a:pt x="168" y="522"/>
                </a:lnTo>
                <a:lnTo>
                  <a:pt x="168" y="522"/>
                </a:lnTo>
                <a:lnTo>
                  <a:pt x="168" y="528"/>
                </a:lnTo>
                <a:lnTo>
                  <a:pt x="168" y="528"/>
                </a:lnTo>
                <a:lnTo>
                  <a:pt x="168" y="528"/>
                </a:lnTo>
                <a:lnTo>
                  <a:pt x="168" y="528"/>
                </a:lnTo>
                <a:lnTo>
                  <a:pt x="168" y="528"/>
                </a:lnTo>
                <a:lnTo>
                  <a:pt x="168" y="528"/>
                </a:lnTo>
                <a:lnTo>
                  <a:pt x="162" y="528"/>
                </a:lnTo>
                <a:lnTo>
                  <a:pt x="162" y="528"/>
                </a:lnTo>
                <a:lnTo>
                  <a:pt x="162" y="528"/>
                </a:lnTo>
                <a:lnTo>
                  <a:pt x="162" y="528"/>
                </a:lnTo>
                <a:lnTo>
                  <a:pt x="162" y="534"/>
                </a:lnTo>
                <a:lnTo>
                  <a:pt x="162" y="528"/>
                </a:lnTo>
                <a:lnTo>
                  <a:pt x="156" y="528"/>
                </a:lnTo>
                <a:lnTo>
                  <a:pt x="156" y="534"/>
                </a:lnTo>
                <a:lnTo>
                  <a:pt x="156" y="534"/>
                </a:lnTo>
                <a:lnTo>
                  <a:pt x="156" y="534"/>
                </a:lnTo>
                <a:lnTo>
                  <a:pt x="156" y="528"/>
                </a:lnTo>
                <a:lnTo>
                  <a:pt x="156" y="528"/>
                </a:lnTo>
                <a:lnTo>
                  <a:pt x="156" y="528"/>
                </a:lnTo>
                <a:lnTo>
                  <a:pt x="156" y="528"/>
                </a:lnTo>
                <a:lnTo>
                  <a:pt x="150" y="528"/>
                </a:lnTo>
                <a:lnTo>
                  <a:pt x="150" y="528"/>
                </a:lnTo>
                <a:lnTo>
                  <a:pt x="150" y="528"/>
                </a:lnTo>
                <a:lnTo>
                  <a:pt x="150" y="528"/>
                </a:lnTo>
                <a:lnTo>
                  <a:pt x="150" y="528"/>
                </a:lnTo>
                <a:lnTo>
                  <a:pt x="150" y="528"/>
                </a:lnTo>
                <a:lnTo>
                  <a:pt x="150" y="528"/>
                </a:lnTo>
                <a:lnTo>
                  <a:pt x="144" y="528"/>
                </a:lnTo>
                <a:lnTo>
                  <a:pt x="144" y="528"/>
                </a:lnTo>
                <a:lnTo>
                  <a:pt x="144" y="528"/>
                </a:lnTo>
                <a:lnTo>
                  <a:pt x="144" y="528"/>
                </a:lnTo>
                <a:lnTo>
                  <a:pt x="144" y="522"/>
                </a:lnTo>
                <a:lnTo>
                  <a:pt x="138" y="522"/>
                </a:lnTo>
                <a:lnTo>
                  <a:pt x="138" y="528"/>
                </a:lnTo>
                <a:lnTo>
                  <a:pt x="138" y="528"/>
                </a:lnTo>
                <a:lnTo>
                  <a:pt x="138" y="522"/>
                </a:lnTo>
                <a:lnTo>
                  <a:pt x="138" y="522"/>
                </a:lnTo>
                <a:lnTo>
                  <a:pt x="132" y="522"/>
                </a:lnTo>
                <a:lnTo>
                  <a:pt x="132" y="522"/>
                </a:lnTo>
                <a:lnTo>
                  <a:pt x="132" y="522"/>
                </a:lnTo>
                <a:lnTo>
                  <a:pt x="132" y="522"/>
                </a:lnTo>
                <a:lnTo>
                  <a:pt x="132" y="522"/>
                </a:lnTo>
                <a:lnTo>
                  <a:pt x="132" y="522"/>
                </a:lnTo>
                <a:lnTo>
                  <a:pt x="126" y="522"/>
                </a:lnTo>
                <a:lnTo>
                  <a:pt x="126" y="522"/>
                </a:lnTo>
                <a:lnTo>
                  <a:pt x="126" y="522"/>
                </a:lnTo>
                <a:lnTo>
                  <a:pt x="126" y="522"/>
                </a:lnTo>
                <a:lnTo>
                  <a:pt x="126" y="528"/>
                </a:lnTo>
                <a:lnTo>
                  <a:pt x="126" y="528"/>
                </a:lnTo>
                <a:lnTo>
                  <a:pt x="120" y="528"/>
                </a:lnTo>
                <a:lnTo>
                  <a:pt x="120" y="528"/>
                </a:lnTo>
                <a:lnTo>
                  <a:pt x="120" y="534"/>
                </a:lnTo>
                <a:lnTo>
                  <a:pt x="120" y="534"/>
                </a:lnTo>
                <a:lnTo>
                  <a:pt x="120" y="534"/>
                </a:lnTo>
                <a:lnTo>
                  <a:pt x="120" y="534"/>
                </a:lnTo>
                <a:lnTo>
                  <a:pt x="120" y="534"/>
                </a:lnTo>
                <a:lnTo>
                  <a:pt x="120" y="534"/>
                </a:lnTo>
                <a:lnTo>
                  <a:pt x="120" y="534"/>
                </a:lnTo>
                <a:lnTo>
                  <a:pt x="120" y="534"/>
                </a:lnTo>
                <a:lnTo>
                  <a:pt x="120" y="534"/>
                </a:lnTo>
                <a:lnTo>
                  <a:pt x="120" y="534"/>
                </a:lnTo>
                <a:lnTo>
                  <a:pt x="120" y="540"/>
                </a:lnTo>
                <a:lnTo>
                  <a:pt x="114" y="540"/>
                </a:lnTo>
                <a:lnTo>
                  <a:pt x="114" y="540"/>
                </a:lnTo>
                <a:lnTo>
                  <a:pt x="114" y="540"/>
                </a:lnTo>
                <a:lnTo>
                  <a:pt x="114" y="540"/>
                </a:lnTo>
                <a:lnTo>
                  <a:pt x="114" y="540"/>
                </a:lnTo>
                <a:lnTo>
                  <a:pt x="114" y="546"/>
                </a:lnTo>
                <a:lnTo>
                  <a:pt x="114" y="546"/>
                </a:lnTo>
                <a:lnTo>
                  <a:pt x="108" y="546"/>
                </a:lnTo>
                <a:lnTo>
                  <a:pt x="108" y="546"/>
                </a:lnTo>
                <a:lnTo>
                  <a:pt x="108" y="546"/>
                </a:lnTo>
                <a:lnTo>
                  <a:pt x="108" y="540"/>
                </a:lnTo>
                <a:lnTo>
                  <a:pt x="108" y="540"/>
                </a:lnTo>
                <a:lnTo>
                  <a:pt x="108" y="540"/>
                </a:lnTo>
                <a:lnTo>
                  <a:pt x="102" y="540"/>
                </a:lnTo>
                <a:lnTo>
                  <a:pt x="102" y="540"/>
                </a:lnTo>
                <a:lnTo>
                  <a:pt x="102" y="540"/>
                </a:lnTo>
                <a:lnTo>
                  <a:pt x="102" y="540"/>
                </a:lnTo>
                <a:lnTo>
                  <a:pt x="96" y="540"/>
                </a:lnTo>
                <a:lnTo>
                  <a:pt x="96" y="540"/>
                </a:lnTo>
                <a:lnTo>
                  <a:pt x="96" y="540"/>
                </a:lnTo>
                <a:lnTo>
                  <a:pt x="96" y="540"/>
                </a:lnTo>
                <a:lnTo>
                  <a:pt x="96" y="540"/>
                </a:lnTo>
                <a:lnTo>
                  <a:pt x="96" y="540"/>
                </a:lnTo>
                <a:lnTo>
                  <a:pt x="96" y="540"/>
                </a:lnTo>
                <a:lnTo>
                  <a:pt x="96" y="546"/>
                </a:lnTo>
                <a:lnTo>
                  <a:pt x="96" y="546"/>
                </a:lnTo>
                <a:lnTo>
                  <a:pt x="96" y="546"/>
                </a:lnTo>
                <a:lnTo>
                  <a:pt x="90" y="546"/>
                </a:lnTo>
                <a:lnTo>
                  <a:pt x="90" y="546"/>
                </a:lnTo>
                <a:lnTo>
                  <a:pt x="90" y="546"/>
                </a:lnTo>
                <a:lnTo>
                  <a:pt x="90" y="546"/>
                </a:lnTo>
                <a:lnTo>
                  <a:pt x="90" y="546"/>
                </a:lnTo>
                <a:lnTo>
                  <a:pt x="90" y="546"/>
                </a:lnTo>
                <a:lnTo>
                  <a:pt x="90" y="546"/>
                </a:lnTo>
                <a:lnTo>
                  <a:pt x="90" y="546"/>
                </a:lnTo>
                <a:lnTo>
                  <a:pt x="90" y="546"/>
                </a:lnTo>
                <a:lnTo>
                  <a:pt x="90" y="540"/>
                </a:lnTo>
                <a:lnTo>
                  <a:pt x="90" y="540"/>
                </a:lnTo>
                <a:lnTo>
                  <a:pt x="84" y="546"/>
                </a:lnTo>
                <a:lnTo>
                  <a:pt x="84" y="546"/>
                </a:lnTo>
                <a:lnTo>
                  <a:pt x="84" y="540"/>
                </a:lnTo>
                <a:lnTo>
                  <a:pt x="84" y="540"/>
                </a:lnTo>
                <a:lnTo>
                  <a:pt x="84" y="540"/>
                </a:lnTo>
                <a:lnTo>
                  <a:pt x="78" y="540"/>
                </a:lnTo>
                <a:lnTo>
                  <a:pt x="78" y="540"/>
                </a:lnTo>
                <a:lnTo>
                  <a:pt x="78" y="540"/>
                </a:lnTo>
                <a:lnTo>
                  <a:pt x="78" y="540"/>
                </a:lnTo>
                <a:lnTo>
                  <a:pt x="78" y="540"/>
                </a:lnTo>
                <a:lnTo>
                  <a:pt x="78" y="540"/>
                </a:lnTo>
                <a:lnTo>
                  <a:pt x="72" y="540"/>
                </a:lnTo>
                <a:lnTo>
                  <a:pt x="72" y="540"/>
                </a:lnTo>
                <a:lnTo>
                  <a:pt x="72" y="540"/>
                </a:lnTo>
                <a:lnTo>
                  <a:pt x="72" y="540"/>
                </a:lnTo>
                <a:lnTo>
                  <a:pt x="72" y="540"/>
                </a:lnTo>
                <a:lnTo>
                  <a:pt x="72" y="540"/>
                </a:lnTo>
                <a:lnTo>
                  <a:pt x="66" y="540"/>
                </a:lnTo>
                <a:lnTo>
                  <a:pt x="66" y="540"/>
                </a:lnTo>
                <a:lnTo>
                  <a:pt x="66" y="540"/>
                </a:lnTo>
                <a:lnTo>
                  <a:pt x="66" y="540"/>
                </a:lnTo>
                <a:lnTo>
                  <a:pt x="66" y="540"/>
                </a:lnTo>
                <a:lnTo>
                  <a:pt x="66" y="540"/>
                </a:lnTo>
                <a:lnTo>
                  <a:pt x="66" y="540"/>
                </a:lnTo>
                <a:lnTo>
                  <a:pt x="60" y="540"/>
                </a:lnTo>
                <a:lnTo>
                  <a:pt x="60" y="540"/>
                </a:lnTo>
                <a:lnTo>
                  <a:pt x="60" y="540"/>
                </a:lnTo>
                <a:lnTo>
                  <a:pt x="60" y="540"/>
                </a:lnTo>
                <a:lnTo>
                  <a:pt x="60" y="540"/>
                </a:lnTo>
                <a:lnTo>
                  <a:pt x="60" y="540"/>
                </a:lnTo>
                <a:lnTo>
                  <a:pt x="60" y="540"/>
                </a:lnTo>
                <a:lnTo>
                  <a:pt x="60" y="540"/>
                </a:lnTo>
                <a:lnTo>
                  <a:pt x="60" y="534"/>
                </a:lnTo>
                <a:lnTo>
                  <a:pt x="54" y="534"/>
                </a:lnTo>
                <a:lnTo>
                  <a:pt x="54" y="534"/>
                </a:lnTo>
                <a:lnTo>
                  <a:pt x="54" y="534"/>
                </a:lnTo>
                <a:lnTo>
                  <a:pt x="54" y="534"/>
                </a:lnTo>
                <a:lnTo>
                  <a:pt x="54" y="534"/>
                </a:lnTo>
                <a:lnTo>
                  <a:pt x="54" y="534"/>
                </a:lnTo>
                <a:lnTo>
                  <a:pt x="54" y="534"/>
                </a:lnTo>
                <a:lnTo>
                  <a:pt x="54" y="534"/>
                </a:lnTo>
                <a:lnTo>
                  <a:pt x="54" y="534"/>
                </a:lnTo>
                <a:lnTo>
                  <a:pt x="54" y="534"/>
                </a:lnTo>
                <a:lnTo>
                  <a:pt x="54" y="534"/>
                </a:lnTo>
                <a:lnTo>
                  <a:pt x="54" y="534"/>
                </a:lnTo>
                <a:lnTo>
                  <a:pt x="54" y="534"/>
                </a:lnTo>
                <a:lnTo>
                  <a:pt x="54" y="534"/>
                </a:lnTo>
                <a:lnTo>
                  <a:pt x="54" y="528"/>
                </a:lnTo>
                <a:lnTo>
                  <a:pt x="42" y="528"/>
                </a:lnTo>
                <a:lnTo>
                  <a:pt x="42" y="528"/>
                </a:lnTo>
                <a:lnTo>
                  <a:pt x="42" y="528"/>
                </a:lnTo>
                <a:lnTo>
                  <a:pt x="42" y="528"/>
                </a:lnTo>
                <a:lnTo>
                  <a:pt x="42" y="528"/>
                </a:lnTo>
                <a:lnTo>
                  <a:pt x="42" y="528"/>
                </a:lnTo>
                <a:lnTo>
                  <a:pt x="42" y="52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75" name="Freeform 508"/>
          <p:cNvSpPr>
            <a:spLocks/>
          </p:cNvSpPr>
          <p:nvPr/>
        </p:nvSpPr>
        <p:spPr bwMode="auto">
          <a:xfrm>
            <a:off x="5502804" y="2124262"/>
            <a:ext cx="436835" cy="468959"/>
          </a:xfrm>
          <a:custGeom>
            <a:avLst/>
            <a:gdLst>
              <a:gd name="T0" fmla="*/ 24 w 408"/>
              <a:gd name="T1" fmla="*/ 204 h 438"/>
              <a:gd name="T2" fmla="*/ 36 w 408"/>
              <a:gd name="T3" fmla="*/ 186 h 438"/>
              <a:gd name="T4" fmla="*/ 36 w 408"/>
              <a:gd name="T5" fmla="*/ 180 h 438"/>
              <a:gd name="T6" fmla="*/ 36 w 408"/>
              <a:gd name="T7" fmla="*/ 156 h 438"/>
              <a:gd name="T8" fmla="*/ 42 w 408"/>
              <a:gd name="T9" fmla="*/ 138 h 438"/>
              <a:gd name="T10" fmla="*/ 48 w 408"/>
              <a:gd name="T11" fmla="*/ 120 h 438"/>
              <a:gd name="T12" fmla="*/ 48 w 408"/>
              <a:gd name="T13" fmla="*/ 96 h 438"/>
              <a:gd name="T14" fmla="*/ 36 w 408"/>
              <a:gd name="T15" fmla="*/ 66 h 438"/>
              <a:gd name="T16" fmla="*/ 54 w 408"/>
              <a:gd name="T17" fmla="*/ 42 h 438"/>
              <a:gd name="T18" fmla="*/ 72 w 408"/>
              <a:gd name="T19" fmla="*/ 6 h 438"/>
              <a:gd name="T20" fmla="*/ 96 w 408"/>
              <a:gd name="T21" fmla="*/ 36 h 438"/>
              <a:gd name="T22" fmla="*/ 108 w 408"/>
              <a:gd name="T23" fmla="*/ 84 h 438"/>
              <a:gd name="T24" fmla="*/ 132 w 408"/>
              <a:gd name="T25" fmla="*/ 114 h 438"/>
              <a:gd name="T26" fmla="*/ 132 w 408"/>
              <a:gd name="T27" fmla="*/ 138 h 438"/>
              <a:gd name="T28" fmla="*/ 138 w 408"/>
              <a:gd name="T29" fmla="*/ 156 h 438"/>
              <a:gd name="T30" fmla="*/ 138 w 408"/>
              <a:gd name="T31" fmla="*/ 174 h 438"/>
              <a:gd name="T32" fmla="*/ 162 w 408"/>
              <a:gd name="T33" fmla="*/ 192 h 438"/>
              <a:gd name="T34" fmla="*/ 180 w 408"/>
              <a:gd name="T35" fmla="*/ 204 h 438"/>
              <a:gd name="T36" fmla="*/ 204 w 408"/>
              <a:gd name="T37" fmla="*/ 222 h 438"/>
              <a:gd name="T38" fmla="*/ 210 w 408"/>
              <a:gd name="T39" fmla="*/ 240 h 438"/>
              <a:gd name="T40" fmla="*/ 234 w 408"/>
              <a:gd name="T41" fmla="*/ 246 h 438"/>
              <a:gd name="T42" fmla="*/ 246 w 408"/>
              <a:gd name="T43" fmla="*/ 264 h 438"/>
              <a:gd name="T44" fmla="*/ 312 w 408"/>
              <a:gd name="T45" fmla="*/ 270 h 438"/>
              <a:gd name="T46" fmla="*/ 366 w 408"/>
              <a:gd name="T47" fmla="*/ 276 h 438"/>
              <a:gd name="T48" fmla="*/ 366 w 408"/>
              <a:gd name="T49" fmla="*/ 276 h 438"/>
              <a:gd name="T50" fmla="*/ 360 w 408"/>
              <a:gd name="T51" fmla="*/ 282 h 438"/>
              <a:gd name="T52" fmla="*/ 354 w 408"/>
              <a:gd name="T53" fmla="*/ 294 h 438"/>
              <a:gd name="T54" fmla="*/ 372 w 408"/>
              <a:gd name="T55" fmla="*/ 312 h 438"/>
              <a:gd name="T56" fmla="*/ 384 w 408"/>
              <a:gd name="T57" fmla="*/ 324 h 438"/>
              <a:gd name="T58" fmla="*/ 402 w 408"/>
              <a:gd name="T59" fmla="*/ 336 h 438"/>
              <a:gd name="T60" fmla="*/ 402 w 408"/>
              <a:gd name="T61" fmla="*/ 360 h 438"/>
              <a:gd name="T62" fmla="*/ 384 w 408"/>
              <a:gd name="T63" fmla="*/ 378 h 438"/>
              <a:gd name="T64" fmla="*/ 354 w 408"/>
              <a:gd name="T65" fmla="*/ 396 h 438"/>
              <a:gd name="T66" fmla="*/ 342 w 408"/>
              <a:gd name="T67" fmla="*/ 390 h 438"/>
              <a:gd name="T68" fmla="*/ 312 w 408"/>
              <a:gd name="T69" fmla="*/ 402 h 438"/>
              <a:gd name="T70" fmla="*/ 318 w 408"/>
              <a:gd name="T71" fmla="*/ 414 h 438"/>
              <a:gd name="T72" fmla="*/ 306 w 408"/>
              <a:gd name="T73" fmla="*/ 420 h 438"/>
              <a:gd name="T74" fmla="*/ 288 w 408"/>
              <a:gd name="T75" fmla="*/ 438 h 438"/>
              <a:gd name="T76" fmla="*/ 270 w 408"/>
              <a:gd name="T77" fmla="*/ 426 h 438"/>
              <a:gd name="T78" fmla="*/ 258 w 408"/>
              <a:gd name="T79" fmla="*/ 420 h 438"/>
              <a:gd name="T80" fmla="*/ 252 w 408"/>
              <a:gd name="T81" fmla="*/ 408 h 438"/>
              <a:gd name="T82" fmla="*/ 240 w 408"/>
              <a:gd name="T83" fmla="*/ 396 h 438"/>
              <a:gd name="T84" fmla="*/ 216 w 408"/>
              <a:gd name="T85" fmla="*/ 396 h 438"/>
              <a:gd name="T86" fmla="*/ 204 w 408"/>
              <a:gd name="T87" fmla="*/ 402 h 438"/>
              <a:gd name="T88" fmla="*/ 192 w 408"/>
              <a:gd name="T89" fmla="*/ 402 h 438"/>
              <a:gd name="T90" fmla="*/ 168 w 408"/>
              <a:gd name="T91" fmla="*/ 408 h 438"/>
              <a:gd name="T92" fmla="*/ 144 w 408"/>
              <a:gd name="T93" fmla="*/ 414 h 438"/>
              <a:gd name="T94" fmla="*/ 138 w 408"/>
              <a:gd name="T95" fmla="*/ 396 h 438"/>
              <a:gd name="T96" fmla="*/ 102 w 408"/>
              <a:gd name="T97" fmla="*/ 402 h 438"/>
              <a:gd name="T98" fmla="*/ 78 w 408"/>
              <a:gd name="T99" fmla="*/ 396 h 438"/>
              <a:gd name="T100" fmla="*/ 42 w 408"/>
              <a:gd name="T101" fmla="*/ 402 h 438"/>
              <a:gd name="T102" fmla="*/ 48 w 408"/>
              <a:gd name="T103" fmla="*/ 372 h 438"/>
              <a:gd name="T104" fmla="*/ 54 w 408"/>
              <a:gd name="T105" fmla="*/ 348 h 438"/>
              <a:gd name="T106" fmla="*/ 60 w 408"/>
              <a:gd name="T107" fmla="*/ 324 h 438"/>
              <a:gd name="T108" fmla="*/ 54 w 408"/>
              <a:gd name="T109" fmla="*/ 300 h 438"/>
              <a:gd name="T110" fmla="*/ 48 w 408"/>
              <a:gd name="T111" fmla="*/ 276 h 438"/>
              <a:gd name="T112" fmla="*/ 12 w 408"/>
              <a:gd name="T113" fmla="*/ 264 h 438"/>
              <a:gd name="T114" fmla="*/ 0 w 408"/>
              <a:gd name="T115" fmla="*/ 240 h 438"/>
              <a:gd name="T116" fmla="*/ 12 w 408"/>
              <a:gd name="T117" fmla="*/ 222 h 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408" h="438">
                <a:moveTo>
                  <a:pt x="18" y="210"/>
                </a:moveTo>
                <a:lnTo>
                  <a:pt x="18" y="210"/>
                </a:lnTo>
                <a:lnTo>
                  <a:pt x="12" y="210"/>
                </a:lnTo>
                <a:lnTo>
                  <a:pt x="18" y="204"/>
                </a:lnTo>
                <a:lnTo>
                  <a:pt x="12" y="204"/>
                </a:lnTo>
                <a:lnTo>
                  <a:pt x="12" y="204"/>
                </a:lnTo>
                <a:lnTo>
                  <a:pt x="18" y="204"/>
                </a:lnTo>
                <a:lnTo>
                  <a:pt x="18" y="204"/>
                </a:lnTo>
                <a:lnTo>
                  <a:pt x="18" y="204"/>
                </a:lnTo>
                <a:lnTo>
                  <a:pt x="24" y="204"/>
                </a:lnTo>
                <a:lnTo>
                  <a:pt x="24" y="204"/>
                </a:lnTo>
                <a:lnTo>
                  <a:pt x="24" y="198"/>
                </a:lnTo>
                <a:lnTo>
                  <a:pt x="24" y="198"/>
                </a:lnTo>
                <a:lnTo>
                  <a:pt x="30" y="198"/>
                </a:lnTo>
                <a:lnTo>
                  <a:pt x="30" y="192"/>
                </a:lnTo>
                <a:lnTo>
                  <a:pt x="30" y="192"/>
                </a:lnTo>
                <a:lnTo>
                  <a:pt x="30" y="192"/>
                </a:lnTo>
                <a:lnTo>
                  <a:pt x="36" y="192"/>
                </a:lnTo>
                <a:lnTo>
                  <a:pt x="36" y="192"/>
                </a:lnTo>
                <a:lnTo>
                  <a:pt x="36" y="186"/>
                </a:lnTo>
                <a:lnTo>
                  <a:pt x="36" y="186"/>
                </a:lnTo>
                <a:lnTo>
                  <a:pt x="42" y="186"/>
                </a:lnTo>
                <a:lnTo>
                  <a:pt x="42" y="180"/>
                </a:lnTo>
                <a:lnTo>
                  <a:pt x="42" y="180"/>
                </a:lnTo>
                <a:lnTo>
                  <a:pt x="42" y="180"/>
                </a:lnTo>
                <a:lnTo>
                  <a:pt x="42" y="180"/>
                </a:lnTo>
                <a:lnTo>
                  <a:pt x="36" y="180"/>
                </a:lnTo>
                <a:lnTo>
                  <a:pt x="36" y="180"/>
                </a:lnTo>
                <a:lnTo>
                  <a:pt x="36" y="180"/>
                </a:lnTo>
                <a:lnTo>
                  <a:pt x="36" y="180"/>
                </a:lnTo>
                <a:lnTo>
                  <a:pt x="30" y="180"/>
                </a:lnTo>
                <a:lnTo>
                  <a:pt x="30" y="180"/>
                </a:lnTo>
                <a:lnTo>
                  <a:pt x="36" y="174"/>
                </a:lnTo>
                <a:lnTo>
                  <a:pt x="36" y="168"/>
                </a:lnTo>
                <a:lnTo>
                  <a:pt x="36" y="168"/>
                </a:lnTo>
                <a:lnTo>
                  <a:pt x="36" y="168"/>
                </a:lnTo>
                <a:lnTo>
                  <a:pt x="36" y="162"/>
                </a:lnTo>
                <a:lnTo>
                  <a:pt x="36" y="162"/>
                </a:lnTo>
                <a:lnTo>
                  <a:pt x="36" y="162"/>
                </a:lnTo>
                <a:lnTo>
                  <a:pt x="36" y="156"/>
                </a:lnTo>
                <a:lnTo>
                  <a:pt x="36" y="156"/>
                </a:lnTo>
                <a:lnTo>
                  <a:pt x="36" y="156"/>
                </a:lnTo>
                <a:lnTo>
                  <a:pt x="36" y="156"/>
                </a:lnTo>
                <a:lnTo>
                  <a:pt x="36" y="150"/>
                </a:lnTo>
                <a:lnTo>
                  <a:pt x="36" y="150"/>
                </a:lnTo>
                <a:lnTo>
                  <a:pt x="36" y="150"/>
                </a:lnTo>
                <a:lnTo>
                  <a:pt x="36" y="150"/>
                </a:lnTo>
                <a:lnTo>
                  <a:pt x="36" y="144"/>
                </a:lnTo>
                <a:lnTo>
                  <a:pt x="36" y="144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2"/>
                </a:lnTo>
                <a:lnTo>
                  <a:pt x="42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26"/>
                </a:lnTo>
                <a:lnTo>
                  <a:pt x="42" y="126"/>
                </a:lnTo>
                <a:lnTo>
                  <a:pt x="42" y="126"/>
                </a:lnTo>
                <a:lnTo>
                  <a:pt x="48" y="120"/>
                </a:lnTo>
                <a:lnTo>
                  <a:pt x="48" y="120"/>
                </a:lnTo>
                <a:lnTo>
                  <a:pt x="48" y="114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2"/>
                </a:lnTo>
                <a:lnTo>
                  <a:pt x="48" y="102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0"/>
                </a:lnTo>
                <a:lnTo>
                  <a:pt x="42" y="90"/>
                </a:lnTo>
                <a:lnTo>
                  <a:pt x="48" y="84"/>
                </a:lnTo>
                <a:lnTo>
                  <a:pt x="42" y="84"/>
                </a:lnTo>
                <a:lnTo>
                  <a:pt x="42" y="78"/>
                </a:lnTo>
                <a:lnTo>
                  <a:pt x="36" y="78"/>
                </a:lnTo>
                <a:lnTo>
                  <a:pt x="36" y="72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42" y="60"/>
                </a:lnTo>
                <a:lnTo>
                  <a:pt x="48" y="60"/>
                </a:lnTo>
                <a:lnTo>
                  <a:pt x="48" y="54"/>
                </a:lnTo>
                <a:lnTo>
                  <a:pt x="48" y="54"/>
                </a:lnTo>
                <a:lnTo>
                  <a:pt x="48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2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0"/>
                </a:lnTo>
                <a:lnTo>
                  <a:pt x="60" y="24"/>
                </a:lnTo>
                <a:lnTo>
                  <a:pt x="60" y="24"/>
                </a:lnTo>
                <a:lnTo>
                  <a:pt x="60" y="18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0"/>
                </a:lnTo>
                <a:lnTo>
                  <a:pt x="72" y="6"/>
                </a:lnTo>
                <a:lnTo>
                  <a:pt x="78" y="6"/>
                </a:lnTo>
                <a:lnTo>
                  <a:pt x="78" y="12"/>
                </a:lnTo>
                <a:lnTo>
                  <a:pt x="84" y="18"/>
                </a:lnTo>
                <a:lnTo>
                  <a:pt x="90" y="18"/>
                </a:lnTo>
                <a:lnTo>
                  <a:pt x="90" y="24"/>
                </a:lnTo>
                <a:lnTo>
                  <a:pt x="96" y="36"/>
                </a:lnTo>
                <a:lnTo>
                  <a:pt x="96" y="36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102" y="42"/>
                </a:lnTo>
                <a:lnTo>
                  <a:pt x="102" y="48"/>
                </a:lnTo>
                <a:lnTo>
                  <a:pt x="102" y="54"/>
                </a:lnTo>
                <a:lnTo>
                  <a:pt x="102" y="60"/>
                </a:lnTo>
                <a:lnTo>
                  <a:pt x="108" y="72"/>
                </a:lnTo>
                <a:lnTo>
                  <a:pt x="108" y="72"/>
                </a:lnTo>
                <a:lnTo>
                  <a:pt x="108" y="84"/>
                </a:lnTo>
                <a:lnTo>
                  <a:pt x="108" y="84"/>
                </a:lnTo>
                <a:lnTo>
                  <a:pt x="114" y="90"/>
                </a:lnTo>
                <a:lnTo>
                  <a:pt x="114" y="96"/>
                </a:lnTo>
                <a:lnTo>
                  <a:pt x="120" y="102"/>
                </a:lnTo>
                <a:lnTo>
                  <a:pt x="126" y="108"/>
                </a:lnTo>
                <a:lnTo>
                  <a:pt x="126" y="108"/>
                </a:lnTo>
                <a:lnTo>
                  <a:pt x="126" y="108"/>
                </a:lnTo>
                <a:lnTo>
                  <a:pt x="132" y="108"/>
                </a:lnTo>
                <a:lnTo>
                  <a:pt x="132" y="108"/>
                </a:lnTo>
                <a:lnTo>
                  <a:pt x="132" y="114"/>
                </a:lnTo>
                <a:lnTo>
                  <a:pt x="132" y="114"/>
                </a:lnTo>
                <a:lnTo>
                  <a:pt x="132" y="114"/>
                </a:lnTo>
                <a:lnTo>
                  <a:pt x="132" y="120"/>
                </a:lnTo>
                <a:lnTo>
                  <a:pt x="132" y="120"/>
                </a:lnTo>
                <a:lnTo>
                  <a:pt x="132" y="126"/>
                </a:lnTo>
                <a:lnTo>
                  <a:pt x="132" y="126"/>
                </a:lnTo>
                <a:lnTo>
                  <a:pt x="132" y="132"/>
                </a:lnTo>
                <a:lnTo>
                  <a:pt x="132" y="132"/>
                </a:lnTo>
                <a:lnTo>
                  <a:pt x="132" y="132"/>
                </a:lnTo>
                <a:lnTo>
                  <a:pt x="132" y="138"/>
                </a:lnTo>
                <a:lnTo>
                  <a:pt x="132" y="138"/>
                </a:lnTo>
                <a:lnTo>
                  <a:pt x="126" y="138"/>
                </a:lnTo>
                <a:lnTo>
                  <a:pt x="126" y="144"/>
                </a:lnTo>
                <a:lnTo>
                  <a:pt x="126" y="144"/>
                </a:lnTo>
                <a:lnTo>
                  <a:pt x="132" y="150"/>
                </a:lnTo>
                <a:lnTo>
                  <a:pt x="132" y="150"/>
                </a:lnTo>
                <a:lnTo>
                  <a:pt x="132" y="150"/>
                </a:lnTo>
                <a:lnTo>
                  <a:pt x="132" y="150"/>
                </a:lnTo>
                <a:lnTo>
                  <a:pt x="132" y="156"/>
                </a:lnTo>
                <a:lnTo>
                  <a:pt x="138" y="156"/>
                </a:lnTo>
                <a:lnTo>
                  <a:pt x="138" y="156"/>
                </a:lnTo>
                <a:lnTo>
                  <a:pt x="132" y="156"/>
                </a:lnTo>
                <a:lnTo>
                  <a:pt x="132" y="162"/>
                </a:lnTo>
                <a:lnTo>
                  <a:pt x="132" y="162"/>
                </a:lnTo>
                <a:lnTo>
                  <a:pt x="132" y="162"/>
                </a:lnTo>
                <a:lnTo>
                  <a:pt x="138" y="162"/>
                </a:lnTo>
                <a:lnTo>
                  <a:pt x="138" y="162"/>
                </a:lnTo>
                <a:lnTo>
                  <a:pt x="138" y="168"/>
                </a:lnTo>
                <a:lnTo>
                  <a:pt x="138" y="174"/>
                </a:lnTo>
                <a:lnTo>
                  <a:pt x="138" y="174"/>
                </a:lnTo>
                <a:lnTo>
                  <a:pt x="138" y="180"/>
                </a:lnTo>
                <a:lnTo>
                  <a:pt x="138" y="186"/>
                </a:lnTo>
                <a:lnTo>
                  <a:pt x="138" y="186"/>
                </a:lnTo>
                <a:lnTo>
                  <a:pt x="144" y="186"/>
                </a:lnTo>
                <a:lnTo>
                  <a:pt x="150" y="186"/>
                </a:lnTo>
                <a:lnTo>
                  <a:pt x="156" y="186"/>
                </a:lnTo>
                <a:lnTo>
                  <a:pt x="156" y="192"/>
                </a:lnTo>
                <a:lnTo>
                  <a:pt x="156" y="192"/>
                </a:lnTo>
                <a:lnTo>
                  <a:pt x="162" y="192"/>
                </a:lnTo>
                <a:lnTo>
                  <a:pt x="162" y="192"/>
                </a:lnTo>
                <a:lnTo>
                  <a:pt x="162" y="192"/>
                </a:lnTo>
                <a:lnTo>
                  <a:pt x="162" y="198"/>
                </a:lnTo>
                <a:lnTo>
                  <a:pt x="162" y="198"/>
                </a:lnTo>
                <a:lnTo>
                  <a:pt x="168" y="198"/>
                </a:lnTo>
                <a:lnTo>
                  <a:pt x="168" y="204"/>
                </a:lnTo>
                <a:lnTo>
                  <a:pt x="174" y="204"/>
                </a:lnTo>
                <a:lnTo>
                  <a:pt x="174" y="204"/>
                </a:lnTo>
                <a:lnTo>
                  <a:pt x="180" y="204"/>
                </a:lnTo>
                <a:lnTo>
                  <a:pt x="180" y="204"/>
                </a:lnTo>
                <a:lnTo>
                  <a:pt x="180" y="204"/>
                </a:lnTo>
                <a:lnTo>
                  <a:pt x="180" y="204"/>
                </a:lnTo>
                <a:lnTo>
                  <a:pt x="186" y="204"/>
                </a:lnTo>
                <a:lnTo>
                  <a:pt x="186" y="204"/>
                </a:lnTo>
                <a:lnTo>
                  <a:pt x="186" y="204"/>
                </a:lnTo>
                <a:lnTo>
                  <a:pt x="192" y="204"/>
                </a:lnTo>
                <a:lnTo>
                  <a:pt x="192" y="210"/>
                </a:lnTo>
                <a:lnTo>
                  <a:pt x="192" y="210"/>
                </a:lnTo>
                <a:lnTo>
                  <a:pt x="198" y="216"/>
                </a:lnTo>
                <a:lnTo>
                  <a:pt x="204" y="222"/>
                </a:lnTo>
                <a:lnTo>
                  <a:pt x="204" y="222"/>
                </a:lnTo>
                <a:lnTo>
                  <a:pt x="210" y="222"/>
                </a:lnTo>
                <a:lnTo>
                  <a:pt x="210" y="228"/>
                </a:lnTo>
                <a:lnTo>
                  <a:pt x="210" y="228"/>
                </a:lnTo>
                <a:lnTo>
                  <a:pt x="210" y="228"/>
                </a:lnTo>
                <a:lnTo>
                  <a:pt x="210" y="228"/>
                </a:lnTo>
                <a:lnTo>
                  <a:pt x="210" y="234"/>
                </a:lnTo>
                <a:lnTo>
                  <a:pt x="210" y="234"/>
                </a:lnTo>
                <a:lnTo>
                  <a:pt x="210" y="240"/>
                </a:lnTo>
                <a:lnTo>
                  <a:pt x="210" y="240"/>
                </a:lnTo>
                <a:lnTo>
                  <a:pt x="210" y="240"/>
                </a:lnTo>
                <a:lnTo>
                  <a:pt x="210" y="240"/>
                </a:lnTo>
                <a:lnTo>
                  <a:pt x="210" y="240"/>
                </a:lnTo>
                <a:lnTo>
                  <a:pt x="210" y="246"/>
                </a:lnTo>
                <a:lnTo>
                  <a:pt x="216" y="246"/>
                </a:lnTo>
                <a:lnTo>
                  <a:pt x="216" y="246"/>
                </a:lnTo>
                <a:lnTo>
                  <a:pt x="216" y="246"/>
                </a:lnTo>
                <a:lnTo>
                  <a:pt x="216" y="246"/>
                </a:lnTo>
                <a:lnTo>
                  <a:pt x="222" y="246"/>
                </a:lnTo>
                <a:lnTo>
                  <a:pt x="228" y="246"/>
                </a:lnTo>
                <a:lnTo>
                  <a:pt x="234" y="246"/>
                </a:lnTo>
                <a:lnTo>
                  <a:pt x="234" y="246"/>
                </a:lnTo>
                <a:lnTo>
                  <a:pt x="234" y="246"/>
                </a:lnTo>
                <a:lnTo>
                  <a:pt x="240" y="246"/>
                </a:lnTo>
                <a:lnTo>
                  <a:pt x="240" y="252"/>
                </a:lnTo>
                <a:lnTo>
                  <a:pt x="246" y="252"/>
                </a:lnTo>
                <a:lnTo>
                  <a:pt x="246" y="258"/>
                </a:lnTo>
                <a:lnTo>
                  <a:pt x="246" y="258"/>
                </a:lnTo>
                <a:lnTo>
                  <a:pt x="246" y="258"/>
                </a:lnTo>
                <a:lnTo>
                  <a:pt x="246" y="264"/>
                </a:lnTo>
                <a:lnTo>
                  <a:pt x="246" y="264"/>
                </a:lnTo>
                <a:lnTo>
                  <a:pt x="246" y="270"/>
                </a:lnTo>
                <a:lnTo>
                  <a:pt x="246" y="270"/>
                </a:lnTo>
                <a:lnTo>
                  <a:pt x="252" y="270"/>
                </a:lnTo>
                <a:lnTo>
                  <a:pt x="252" y="270"/>
                </a:lnTo>
                <a:lnTo>
                  <a:pt x="252" y="270"/>
                </a:lnTo>
                <a:lnTo>
                  <a:pt x="252" y="264"/>
                </a:lnTo>
                <a:lnTo>
                  <a:pt x="258" y="264"/>
                </a:lnTo>
                <a:lnTo>
                  <a:pt x="258" y="264"/>
                </a:lnTo>
                <a:lnTo>
                  <a:pt x="258" y="264"/>
                </a:lnTo>
                <a:lnTo>
                  <a:pt x="312" y="270"/>
                </a:lnTo>
                <a:lnTo>
                  <a:pt x="330" y="270"/>
                </a:lnTo>
                <a:lnTo>
                  <a:pt x="372" y="276"/>
                </a:lnTo>
                <a:lnTo>
                  <a:pt x="372" y="276"/>
                </a:lnTo>
                <a:lnTo>
                  <a:pt x="372" y="276"/>
                </a:lnTo>
                <a:lnTo>
                  <a:pt x="372" y="276"/>
                </a:lnTo>
                <a:lnTo>
                  <a:pt x="372" y="276"/>
                </a:lnTo>
                <a:lnTo>
                  <a:pt x="372" y="276"/>
                </a:lnTo>
                <a:lnTo>
                  <a:pt x="372" y="276"/>
                </a:lnTo>
                <a:lnTo>
                  <a:pt x="366" y="276"/>
                </a:lnTo>
                <a:lnTo>
                  <a:pt x="366" y="276"/>
                </a:lnTo>
                <a:lnTo>
                  <a:pt x="366" y="276"/>
                </a:lnTo>
                <a:lnTo>
                  <a:pt x="366" y="276"/>
                </a:lnTo>
                <a:lnTo>
                  <a:pt x="366" y="276"/>
                </a:lnTo>
                <a:lnTo>
                  <a:pt x="366" y="276"/>
                </a:lnTo>
                <a:lnTo>
                  <a:pt x="366" y="276"/>
                </a:lnTo>
                <a:lnTo>
                  <a:pt x="366" y="276"/>
                </a:lnTo>
                <a:lnTo>
                  <a:pt x="366" y="276"/>
                </a:lnTo>
                <a:lnTo>
                  <a:pt x="366" y="276"/>
                </a:lnTo>
                <a:lnTo>
                  <a:pt x="366" y="276"/>
                </a:lnTo>
                <a:lnTo>
                  <a:pt x="366" y="276"/>
                </a:lnTo>
                <a:lnTo>
                  <a:pt x="360" y="276"/>
                </a:lnTo>
                <a:lnTo>
                  <a:pt x="360" y="276"/>
                </a:lnTo>
                <a:lnTo>
                  <a:pt x="360" y="276"/>
                </a:lnTo>
                <a:lnTo>
                  <a:pt x="360" y="276"/>
                </a:lnTo>
                <a:lnTo>
                  <a:pt x="360" y="276"/>
                </a:lnTo>
                <a:lnTo>
                  <a:pt x="360" y="276"/>
                </a:lnTo>
                <a:lnTo>
                  <a:pt x="360" y="276"/>
                </a:lnTo>
                <a:lnTo>
                  <a:pt x="360" y="282"/>
                </a:lnTo>
                <a:lnTo>
                  <a:pt x="360" y="282"/>
                </a:lnTo>
                <a:lnTo>
                  <a:pt x="360" y="282"/>
                </a:lnTo>
                <a:lnTo>
                  <a:pt x="360" y="282"/>
                </a:lnTo>
                <a:lnTo>
                  <a:pt x="360" y="282"/>
                </a:lnTo>
                <a:lnTo>
                  <a:pt x="360" y="288"/>
                </a:lnTo>
                <a:lnTo>
                  <a:pt x="360" y="288"/>
                </a:lnTo>
                <a:lnTo>
                  <a:pt x="360" y="288"/>
                </a:lnTo>
                <a:lnTo>
                  <a:pt x="360" y="294"/>
                </a:lnTo>
                <a:lnTo>
                  <a:pt x="360" y="288"/>
                </a:lnTo>
                <a:lnTo>
                  <a:pt x="360" y="294"/>
                </a:lnTo>
                <a:lnTo>
                  <a:pt x="360" y="294"/>
                </a:lnTo>
                <a:lnTo>
                  <a:pt x="354" y="294"/>
                </a:lnTo>
                <a:lnTo>
                  <a:pt x="354" y="294"/>
                </a:lnTo>
                <a:lnTo>
                  <a:pt x="354" y="300"/>
                </a:lnTo>
                <a:lnTo>
                  <a:pt x="360" y="300"/>
                </a:lnTo>
                <a:lnTo>
                  <a:pt x="360" y="300"/>
                </a:lnTo>
                <a:lnTo>
                  <a:pt x="360" y="300"/>
                </a:lnTo>
                <a:lnTo>
                  <a:pt x="360" y="306"/>
                </a:lnTo>
                <a:lnTo>
                  <a:pt x="360" y="306"/>
                </a:lnTo>
                <a:lnTo>
                  <a:pt x="366" y="312"/>
                </a:lnTo>
                <a:lnTo>
                  <a:pt x="366" y="312"/>
                </a:lnTo>
                <a:lnTo>
                  <a:pt x="372" y="312"/>
                </a:lnTo>
                <a:lnTo>
                  <a:pt x="372" y="312"/>
                </a:lnTo>
                <a:lnTo>
                  <a:pt x="372" y="312"/>
                </a:lnTo>
                <a:lnTo>
                  <a:pt x="372" y="312"/>
                </a:lnTo>
                <a:lnTo>
                  <a:pt x="372" y="312"/>
                </a:lnTo>
                <a:lnTo>
                  <a:pt x="378" y="318"/>
                </a:lnTo>
                <a:lnTo>
                  <a:pt x="378" y="318"/>
                </a:lnTo>
                <a:lnTo>
                  <a:pt x="378" y="318"/>
                </a:lnTo>
                <a:lnTo>
                  <a:pt x="378" y="318"/>
                </a:lnTo>
                <a:lnTo>
                  <a:pt x="384" y="318"/>
                </a:lnTo>
                <a:lnTo>
                  <a:pt x="384" y="324"/>
                </a:lnTo>
                <a:lnTo>
                  <a:pt x="384" y="324"/>
                </a:lnTo>
                <a:lnTo>
                  <a:pt x="390" y="330"/>
                </a:lnTo>
                <a:lnTo>
                  <a:pt x="390" y="336"/>
                </a:lnTo>
                <a:lnTo>
                  <a:pt x="390" y="336"/>
                </a:lnTo>
                <a:lnTo>
                  <a:pt x="390" y="336"/>
                </a:lnTo>
                <a:lnTo>
                  <a:pt x="396" y="330"/>
                </a:lnTo>
                <a:lnTo>
                  <a:pt x="396" y="330"/>
                </a:lnTo>
                <a:lnTo>
                  <a:pt x="396" y="330"/>
                </a:lnTo>
                <a:lnTo>
                  <a:pt x="402" y="336"/>
                </a:lnTo>
                <a:lnTo>
                  <a:pt x="402" y="336"/>
                </a:lnTo>
                <a:lnTo>
                  <a:pt x="402" y="342"/>
                </a:lnTo>
                <a:lnTo>
                  <a:pt x="402" y="342"/>
                </a:lnTo>
                <a:lnTo>
                  <a:pt x="402" y="348"/>
                </a:lnTo>
                <a:lnTo>
                  <a:pt x="408" y="348"/>
                </a:lnTo>
                <a:lnTo>
                  <a:pt x="408" y="348"/>
                </a:lnTo>
                <a:lnTo>
                  <a:pt x="408" y="348"/>
                </a:lnTo>
                <a:lnTo>
                  <a:pt x="408" y="348"/>
                </a:lnTo>
                <a:lnTo>
                  <a:pt x="408" y="354"/>
                </a:lnTo>
                <a:lnTo>
                  <a:pt x="408" y="354"/>
                </a:lnTo>
                <a:lnTo>
                  <a:pt x="402" y="360"/>
                </a:lnTo>
                <a:lnTo>
                  <a:pt x="408" y="360"/>
                </a:lnTo>
                <a:lnTo>
                  <a:pt x="402" y="366"/>
                </a:lnTo>
                <a:lnTo>
                  <a:pt x="402" y="366"/>
                </a:lnTo>
                <a:lnTo>
                  <a:pt x="402" y="372"/>
                </a:lnTo>
                <a:lnTo>
                  <a:pt x="402" y="372"/>
                </a:lnTo>
                <a:lnTo>
                  <a:pt x="402" y="378"/>
                </a:lnTo>
                <a:lnTo>
                  <a:pt x="396" y="378"/>
                </a:lnTo>
                <a:lnTo>
                  <a:pt x="390" y="384"/>
                </a:lnTo>
                <a:lnTo>
                  <a:pt x="390" y="378"/>
                </a:lnTo>
                <a:lnTo>
                  <a:pt x="384" y="378"/>
                </a:lnTo>
                <a:lnTo>
                  <a:pt x="384" y="378"/>
                </a:lnTo>
                <a:lnTo>
                  <a:pt x="372" y="378"/>
                </a:lnTo>
                <a:lnTo>
                  <a:pt x="372" y="378"/>
                </a:lnTo>
                <a:lnTo>
                  <a:pt x="372" y="384"/>
                </a:lnTo>
                <a:lnTo>
                  <a:pt x="366" y="384"/>
                </a:lnTo>
                <a:lnTo>
                  <a:pt x="366" y="390"/>
                </a:lnTo>
                <a:lnTo>
                  <a:pt x="360" y="390"/>
                </a:lnTo>
                <a:lnTo>
                  <a:pt x="360" y="396"/>
                </a:lnTo>
                <a:lnTo>
                  <a:pt x="354" y="396"/>
                </a:lnTo>
                <a:lnTo>
                  <a:pt x="354" y="396"/>
                </a:lnTo>
                <a:lnTo>
                  <a:pt x="354" y="396"/>
                </a:lnTo>
                <a:lnTo>
                  <a:pt x="348" y="396"/>
                </a:lnTo>
                <a:lnTo>
                  <a:pt x="348" y="402"/>
                </a:lnTo>
                <a:lnTo>
                  <a:pt x="348" y="396"/>
                </a:lnTo>
                <a:lnTo>
                  <a:pt x="348" y="402"/>
                </a:lnTo>
                <a:lnTo>
                  <a:pt x="348" y="402"/>
                </a:lnTo>
                <a:lnTo>
                  <a:pt x="342" y="396"/>
                </a:lnTo>
                <a:lnTo>
                  <a:pt x="342" y="396"/>
                </a:lnTo>
                <a:lnTo>
                  <a:pt x="342" y="396"/>
                </a:lnTo>
                <a:lnTo>
                  <a:pt x="342" y="390"/>
                </a:lnTo>
                <a:lnTo>
                  <a:pt x="336" y="390"/>
                </a:lnTo>
                <a:lnTo>
                  <a:pt x="336" y="396"/>
                </a:lnTo>
                <a:lnTo>
                  <a:pt x="330" y="396"/>
                </a:lnTo>
                <a:lnTo>
                  <a:pt x="330" y="396"/>
                </a:lnTo>
                <a:lnTo>
                  <a:pt x="330" y="396"/>
                </a:lnTo>
                <a:lnTo>
                  <a:pt x="324" y="402"/>
                </a:lnTo>
                <a:lnTo>
                  <a:pt x="318" y="402"/>
                </a:lnTo>
                <a:lnTo>
                  <a:pt x="318" y="396"/>
                </a:lnTo>
                <a:lnTo>
                  <a:pt x="312" y="402"/>
                </a:lnTo>
                <a:lnTo>
                  <a:pt x="312" y="402"/>
                </a:lnTo>
                <a:lnTo>
                  <a:pt x="312" y="402"/>
                </a:lnTo>
                <a:lnTo>
                  <a:pt x="312" y="402"/>
                </a:lnTo>
                <a:lnTo>
                  <a:pt x="312" y="402"/>
                </a:lnTo>
                <a:lnTo>
                  <a:pt x="312" y="408"/>
                </a:lnTo>
                <a:lnTo>
                  <a:pt x="312" y="408"/>
                </a:lnTo>
                <a:lnTo>
                  <a:pt x="312" y="408"/>
                </a:lnTo>
                <a:lnTo>
                  <a:pt x="312" y="408"/>
                </a:lnTo>
                <a:lnTo>
                  <a:pt x="312" y="414"/>
                </a:lnTo>
                <a:lnTo>
                  <a:pt x="318" y="414"/>
                </a:lnTo>
                <a:lnTo>
                  <a:pt x="318" y="414"/>
                </a:lnTo>
                <a:lnTo>
                  <a:pt x="318" y="414"/>
                </a:lnTo>
                <a:lnTo>
                  <a:pt x="318" y="414"/>
                </a:lnTo>
                <a:lnTo>
                  <a:pt x="318" y="420"/>
                </a:lnTo>
                <a:lnTo>
                  <a:pt x="312" y="420"/>
                </a:lnTo>
                <a:lnTo>
                  <a:pt x="312" y="420"/>
                </a:lnTo>
                <a:lnTo>
                  <a:pt x="312" y="420"/>
                </a:lnTo>
                <a:lnTo>
                  <a:pt x="312" y="420"/>
                </a:lnTo>
                <a:lnTo>
                  <a:pt x="312" y="426"/>
                </a:lnTo>
                <a:lnTo>
                  <a:pt x="306" y="426"/>
                </a:lnTo>
                <a:lnTo>
                  <a:pt x="306" y="420"/>
                </a:lnTo>
                <a:lnTo>
                  <a:pt x="300" y="426"/>
                </a:lnTo>
                <a:lnTo>
                  <a:pt x="294" y="426"/>
                </a:lnTo>
                <a:lnTo>
                  <a:pt x="294" y="426"/>
                </a:lnTo>
                <a:lnTo>
                  <a:pt x="294" y="426"/>
                </a:lnTo>
                <a:lnTo>
                  <a:pt x="294" y="432"/>
                </a:lnTo>
                <a:lnTo>
                  <a:pt x="294" y="432"/>
                </a:lnTo>
                <a:lnTo>
                  <a:pt x="294" y="432"/>
                </a:lnTo>
                <a:lnTo>
                  <a:pt x="294" y="438"/>
                </a:lnTo>
                <a:lnTo>
                  <a:pt x="294" y="438"/>
                </a:lnTo>
                <a:lnTo>
                  <a:pt x="288" y="438"/>
                </a:lnTo>
                <a:lnTo>
                  <a:pt x="288" y="432"/>
                </a:lnTo>
                <a:lnTo>
                  <a:pt x="282" y="432"/>
                </a:lnTo>
                <a:lnTo>
                  <a:pt x="282" y="432"/>
                </a:lnTo>
                <a:lnTo>
                  <a:pt x="276" y="432"/>
                </a:lnTo>
                <a:lnTo>
                  <a:pt x="276" y="432"/>
                </a:lnTo>
                <a:lnTo>
                  <a:pt x="276" y="426"/>
                </a:lnTo>
                <a:lnTo>
                  <a:pt x="276" y="426"/>
                </a:lnTo>
                <a:lnTo>
                  <a:pt x="276" y="426"/>
                </a:lnTo>
                <a:lnTo>
                  <a:pt x="270" y="426"/>
                </a:lnTo>
                <a:lnTo>
                  <a:pt x="270" y="426"/>
                </a:lnTo>
                <a:lnTo>
                  <a:pt x="270" y="426"/>
                </a:lnTo>
                <a:lnTo>
                  <a:pt x="270" y="426"/>
                </a:lnTo>
                <a:lnTo>
                  <a:pt x="264" y="426"/>
                </a:lnTo>
                <a:lnTo>
                  <a:pt x="264" y="426"/>
                </a:lnTo>
                <a:lnTo>
                  <a:pt x="258" y="420"/>
                </a:lnTo>
                <a:lnTo>
                  <a:pt x="258" y="420"/>
                </a:lnTo>
                <a:lnTo>
                  <a:pt x="258" y="420"/>
                </a:lnTo>
                <a:lnTo>
                  <a:pt x="258" y="420"/>
                </a:lnTo>
                <a:lnTo>
                  <a:pt x="258" y="420"/>
                </a:lnTo>
                <a:lnTo>
                  <a:pt x="258" y="420"/>
                </a:lnTo>
                <a:lnTo>
                  <a:pt x="258" y="420"/>
                </a:lnTo>
                <a:lnTo>
                  <a:pt x="258" y="414"/>
                </a:lnTo>
                <a:lnTo>
                  <a:pt x="258" y="414"/>
                </a:lnTo>
                <a:lnTo>
                  <a:pt x="258" y="414"/>
                </a:lnTo>
                <a:lnTo>
                  <a:pt x="258" y="414"/>
                </a:lnTo>
                <a:lnTo>
                  <a:pt x="258" y="414"/>
                </a:lnTo>
                <a:lnTo>
                  <a:pt x="252" y="414"/>
                </a:lnTo>
                <a:lnTo>
                  <a:pt x="258" y="414"/>
                </a:lnTo>
                <a:lnTo>
                  <a:pt x="252" y="408"/>
                </a:lnTo>
                <a:lnTo>
                  <a:pt x="252" y="408"/>
                </a:lnTo>
                <a:lnTo>
                  <a:pt x="252" y="408"/>
                </a:lnTo>
                <a:lnTo>
                  <a:pt x="252" y="408"/>
                </a:lnTo>
                <a:lnTo>
                  <a:pt x="246" y="408"/>
                </a:lnTo>
                <a:lnTo>
                  <a:pt x="246" y="402"/>
                </a:lnTo>
                <a:lnTo>
                  <a:pt x="246" y="402"/>
                </a:lnTo>
                <a:lnTo>
                  <a:pt x="246" y="402"/>
                </a:lnTo>
                <a:lnTo>
                  <a:pt x="246" y="402"/>
                </a:lnTo>
                <a:lnTo>
                  <a:pt x="246" y="402"/>
                </a:lnTo>
                <a:lnTo>
                  <a:pt x="246" y="402"/>
                </a:lnTo>
                <a:lnTo>
                  <a:pt x="240" y="396"/>
                </a:lnTo>
                <a:lnTo>
                  <a:pt x="240" y="396"/>
                </a:lnTo>
                <a:lnTo>
                  <a:pt x="240" y="396"/>
                </a:lnTo>
                <a:lnTo>
                  <a:pt x="234" y="396"/>
                </a:lnTo>
                <a:lnTo>
                  <a:pt x="228" y="396"/>
                </a:lnTo>
                <a:lnTo>
                  <a:pt x="228" y="396"/>
                </a:lnTo>
                <a:lnTo>
                  <a:pt x="228" y="396"/>
                </a:lnTo>
                <a:lnTo>
                  <a:pt x="222" y="396"/>
                </a:lnTo>
                <a:lnTo>
                  <a:pt x="222" y="396"/>
                </a:lnTo>
                <a:lnTo>
                  <a:pt x="222" y="396"/>
                </a:lnTo>
                <a:lnTo>
                  <a:pt x="216" y="396"/>
                </a:lnTo>
                <a:lnTo>
                  <a:pt x="216" y="396"/>
                </a:lnTo>
                <a:lnTo>
                  <a:pt x="216" y="396"/>
                </a:lnTo>
                <a:lnTo>
                  <a:pt x="216" y="396"/>
                </a:lnTo>
                <a:lnTo>
                  <a:pt x="210" y="396"/>
                </a:lnTo>
                <a:lnTo>
                  <a:pt x="210" y="396"/>
                </a:lnTo>
                <a:lnTo>
                  <a:pt x="210" y="396"/>
                </a:lnTo>
                <a:lnTo>
                  <a:pt x="210" y="396"/>
                </a:lnTo>
                <a:lnTo>
                  <a:pt x="204" y="396"/>
                </a:lnTo>
                <a:lnTo>
                  <a:pt x="204" y="396"/>
                </a:lnTo>
                <a:lnTo>
                  <a:pt x="204" y="402"/>
                </a:lnTo>
                <a:lnTo>
                  <a:pt x="204" y="402"/>
                </a:lnTo>
                <a:lnTo>
                  <a:pt x="204" y="402"/>
                </a:lnTo>
                <a:lnTo>
                  <a:pt x="204" y="402"/>
                </a:lnTo>
                <a:lnTo>
                  <a:pt x="204" y="402"/>
                </a:lnTo>
                <a:lnTo>
                  <a:pt x="198" y="402"/>
                </a:lnTo>
                <a:lnTo>
                  <a:pt x="198" y="402"/>
                </a:lnTo>
                <a:lnTo>
                  <a:pt x="198" y="402"/>
                </a:lnTo>
                <a:lnTo>
                  <a:pt x="192" y="402"/>
                </a:lnTo>
                <a:lnTo>
                  <a:pt x="192" y="402"/>
                </a:lnTo>
                <a:lnTo>
                  <a:pt x="192" y="402"/>
                </a:lnTo>
                <a:lnTo>
                  <a:pt x="180" y="408"/>
                </a:lnTo>
                <a:lnTo>
                  <a:pt x="180" y="402"/>
                </a:lnTo>
                <a:lnTo>
                  <a:pt x="180" y="408"/>
                </a:lnTo>
                <a:lnTo>
                  <a:pt x="180" y="408"/>
                </a:lnTo>
                <a:lnTo>
                  <a:pt x="174" y="408"/>
                </a:lnTo>
                <a:lnTo>
                  <a:pt x="174" y="408"/>
                </a:lnTo>
                <a:lnTo>
                  <a:pt x="174" y="408"/>
                </a:lnTo>
                <a:lnTo>
                  <a:pt x="174" y="408"/>
                </a:lnTo>
                <a:lnTo>
                  <a:pt x="174" y="408"/>
                </a:lnTo>
                <a:lnTo>
                  <a:pt x="168" y="408"/>
                </a:lnTo>
                <a:lnTo>
                  <a:pt x="162" y="408"/>
                </a:lnTo>
                <a:lnTo>
                  <a:pt x="162" y="408"/>
                </a:lnTo>
                <a:lnTo>
                  <a:pt x="162" y="408"/>
                </a:lnTo>
                <a:lnTo>
                  <a:pt x="156" y="408"/>
                </a:lnTo>
                <a:lnTo>
                  <a:pt x="156" y="408"/>
                </a:lnTo>
                <a:lnTo>
                  <a:pt x="156" y="408"/>
                </a:lnTo>
                <a:lnTo>
                  <a:pt x="150" y="408"/>
                </a:lnTo>
                <a:lnTo>
                  <a:pt x="144" y="414"/>
                </a:lnTo>
                <a:lnTo>
                  <a:pt x="144" y="420"/>
                </a:lnTo>
                <a:lnTo>
                  <a:pt x="144" y="414"/>
                </a:lnTo>
                <a:lnTo>
                  <a:pt x="144" y="414"/>
                </a:lnTo>
                <a:lnTo>
                  <a:pt x="144" y="414"/>
                </a:lnTo>
                <a:lnTo>
                  <a:pt x="144" y="414"/>
                </a:lnTo>
                <a:lnTo>
                  <a:pt x="138" y="408"/>
                </a:lnTo>
                <a:lnTo>
                  <a:pt x="138" y="408"/>
                </a:lnTo>
                <a:lnTo>
                  <a:pt x="138" y="408"/>
                </a:lnTo>
                <a:lnTo>
                  <a:pt x="132" y="402"/>
                </a:lnTo>
                <a:lnTo>
                  <a:pt x="138" y="402"/>
                </a:lnTo>
                <a:lnTo>
                  <a:pt x="138" y="396"/>
                </a:lnTo>
                <a:lnTo>
                  <a:pt x="138" y="396"/>
                </a:lnTo>
                <a:lnTo>
                  <a:pt x="132" y="396"/>
                </a:lnTo>
                <a:lnTo>
                  <a:pt x="126" y="390"/>
                </a:lnTo>
                <a:lnTo>
                  <a:pt x="126" y="390"/>
                </a:lnTo>
                <a:lnTo>
                  <a:pt x="126" y="396"/>
                </a:lnTo>
                <a:lnTo>
                  <a:pt x="120" y="396"/>
                </a:lnTo>
                <a:lnTo>
                  <a:pt x="120" y="396"/>
                </a:lnTo>
                <a:lnTo>
                  <a:pt x="114" y="396"/>
                </a:lnTo>
                <a:lnTo>
                  <a:pt x="108" y="396"/>
                </a:lnTo>
                <a:lnTo>
                  <a:pt x="108" y="396"/>
                </a:lnTo>
                <a:lnTo>
                  <a:pt x="102" y="402"/>
                </a:lnTo>
                <a:lnTo>
                  <a:pt x="102" y="402"/>
                </a:lnTo>
                <a:lnTo>
                  <a:pt x="96" y="402"/>
                </a:lnTo>
                <a:lnTo>
                  <a:pt x="96" y="402"/>
                </a:lnTo>
                <a:lnTo>
                  <a:pt x="90" y="402"/>
                </a:lnTo>
                <a:lnTo>
                  <a:pt x="84" y="402"/>
                </a:lnTo>
                <a:lnTo>
                  <a:pt x="84" y="402"/>
                </a:lnTo>
                <a:lnTo>
                  <a:pt x="84" y="396"/>
                </a:lnTo>
                <a:lnTo>
                  <a:pt x="84" y="396"/>
                </a:lnTo>
                <a:lnTo>
                  <a:pt x="78" y="396"/>
                </a:lnTo>
                <a:lnTo>
                  <a:pt x="78" y="396"/>
                </a:lnTo>
                <a:lnTo>
                  <a:pt x="72" y="402"/>
                </a:lnTo>
                <a:lnTo>
                  <a:pt x="66" y="402"/>
                </a:lnTo>
                <a:lnTo>
                  <a:pt x="66" y="402"/>
                </a:lnTo>
                <a:lnTo>
                  <a:pt x="60" y="402"/>
                </a:lnTo>
                <a:lnTo>
                  <a:pt x="60" y="402"/>
                </a:lnTo>
                <a:lnTo>
                  <a:pt x="54" y="408"/>
                </a:lnTo>
                <a:lnTo>
                  <a:pt x="54" y="402"/>
                </a:lnTo>
                <a:lnTo>
                  <a:pt x="54" y="408"/>
                </a:lnTo>
                <a:lnTo>
                  <a:pt x="48" y="408"/>
                </a:lnTo>
                <a:lnTo>
                  <a:pt x="42" y="402"/>
                </a:lnTo>
                <a:lnTo>
                  <a:pt x="42" y="402"/>
                </a:lnTo>
                <a:lnTo>
                  <a:pt x="42" y="396"/>
                </a:lnTo>
                <a:lnTo>
                  <a:pt x="42" y="396"/>
                </a:lnTo>
                <a:lnTo>
                  <a:pt x="42" y="396"/>
                </a:lnTo>
                <a:lnTo>
                  <a:pt x="42" y="390"/>
                </a:lnTo>
                <a:lnTo>
                  <a:pt x="42" y="384"/>
                </a:lnTo>
                <a:lnTo>
                  <a:pt x="42" y="378"/>
                </a:lnTo>
                <a:lnTo>
                  <a:pt x="42" y="372"/>
                </a:lnTo>
                <a:lnTo>
                  <a:pt x="48" y="372"/>
                </a:lnTo>
                <a:lnTo>
                  <a:pt x="48" y="372"/>
                </a:lnTo>
                <a:lnTo>
                  <a:pt x="48" y="366"/>
                </a:lnTo>
                <a:lnTo>
                  <a:pt x="48" y="366"/>
                </a:lnTo>
                <a:lnTo>
                  <a:pt x="48" y="360"/>
                </a:lnTo>
                <a:lnTo>
                  <a:pt x="48" y="360"/>
                </a:lnTo>
                <a:lnTo>
                  <a:pt x="48" y="360"/>
                </a:lnTo>
                <a:lnTo>
                  <a:pt x="54" y="354"/>
                </a:lnTo>
                <a:lnTo>
                  <a:pt x="54" y="354"/>
                </a:lnTo>
                <a:lnTo>
                  <a:pt x="54" y="354"/>
                </a:lnTo>
                <a:lnTo>
                  <a:pt x="60" y="348"/>
                </a:lnTo>
                <a:lnTo>
                  <a:pt x="54" y="348"/>
                </a:lnTo>
                <a:lnTo>
                  <a:pt x="60" y="342"/>
                </a:lnTo>
                <a:lnTo>
                  <a:pt x="60" y="342"/>
                </a:lnTo>
                <a:lnTo>
                  <a:pt x="60" y="342"/>
                </a:lnTo>
                <a:lnTo>
                  <a:pt x="60" y="336"/>
                </a:lnTo>
                <a:lnTo>
                  <a:pt x="60" y="330"/>
                </a:lnTo>
                <a:lnTo>
                  <a:pt x="60" y="330"/>
                </a:lnTo>
                <a:lnTo>
                  <a:pt x="60" y="330"/>
                </a:lnTo>
                <a:lnTo>
                  <a:pt x="60" y="330"/>
                </a:lnTo>
                <a:lnTo>
                  <a:pt x="60" y="324"/>
                </a:lnTo>
                <a:lnTo>
                  <a:pt x="60" y="324"/>
                </a:lnTo>
                <a:lnTo>
                  <a:pt x="60" y="324"/>
                </a:lnTo>
                <a:lnTo>
                  <a:pt x="60" y="318"/>
                </a:lnTo>
                <a:lnTo>
                  <a:pt x="60" y="318"/>
                </a:lnTo>
                <a:lnTo>
                  <a:pt x="60" y="318"/>
                </a:lnTo>
                <a:lnTo>
                  <a:pt x="60" y="318"/>
                </a:lnTo>
                <a:lnTo>
                  <a:pt x="60" y="318"/>
                </a:lnTo>
                <a:lnTo>
                  <a:pt x="60" y="312"/>
                </a:lnTo>
                <a:lnTo>
                  <a:pt x="60" y="306"/>
                </a:lnTo>
                <a:lnTo>
                  <a:pt x="54" y="306"/>
                </a:lnTo>
                <a:lnTo>
                  <a:pt x="54" y="300"/>
                </a:lnTo>
                <a:lnTo>
                  <a:pt x="54" y="300"/>
                </a:lnTo>
                <a:lnTo>
                  <a:pt x="54" y="294"/>
                </a:lnTo>
                <a:lnTo>
                  <a:pt x="54" y="294"/>
                </a:lnTo>
                <a:lnTo>
                  <a:pt x="54" y="294"/>
                </a:lnTo>
                <a:lnTo>
                  <a:pt x="54" y="288"/>
                </a:lnTo>
                <a:lnTo>
                  <a:pt x="54" y="288"/>
                </a:lnTo>
                <a:lnTo>
                  <a:pt x="54" y="282"/>
                </a:lnTo>
                <a:lnTo>
                  <a:pt x="48" y="276"/>
                </a:lnTo>
                <a:lnTo>
                  <a:pt x="48" y="276"/>
                </a:lnTo>
                <a:lnTo>
                  <a:pt x="48" y="276"/>
                </a:lnTo>
                <a:lnTo>
                  <a:pt x="36" y="276"/>
                </a:lnTo>
                <a:lnTo>
                  <a:pt x="36" y="276"/>
                </a:lnTo>
                <a:lnTo>
                  <a:pt x="30" y="276"/>
                </a:lnTo>
                <a:lnTo>
                  <a:pt x="30" y="276"/>
                </a:lnTo>
                <a:lnTo>
                  <a:pt x="24" y="270"/>
                </a:lnTo>
                <a:lnTo>
                  <a:pt x="24" y="270"/>
                </a:lnTo>
                <a:lnTo>
                  <a:pt x="18" y="270"/>
                </a:lnTo>
                <a:lnTo>
                  <a:pt x="18" y="264"/>
                </a:lnTo>
                <a:lnTo>
                  <a:pt x="12" y="264"/>
                </a:lnTo>
                <a:lnTo>
                  <a:pt x="12" y="264"/>
                </a:lnTo>
                <a:lnTo>
                  <a:pt x="12" y="258"/>
                </a:lnTo>
                <a:lnTo>
                  <a:pt x="6" y="258"/>
                </a:lnTo>
                <a:lnTo>
                  <a:pt x="6" y="258"/>
                </a:lnTo>
                <a:lnTo>
                  <a:pt x="6" y="252"/>
                </a:lnTo>
                <a:lnTo>
                  <a:pt x="6" y="252"/>
                </a:lnTo>
                <a:lnTo>
                  <a:pt x="6" y="246"/>
                </a:lnTo>
                <a:lnTo>
                  <a:pt x="6" y="246"/>
                </a:lnTo>
                <a:lnTo>
                  <a:pt x="0" y="246"/>
                </a:lnTo>
                <a:lnTo>
                  <a:pt x="0" y="240"/>
                </a:lnTo>
                <a:lnTo>
                  <a:pt x="0" y="240"/>
                </a:lnTo>
                <a:lnTo>
                  <a:pt x="0" y="240"/>
                </a:lnTo>
                <a:lnTo>
                  <a:pt x="0" y="234"/>
                </a:lnTo>
                <a:lnTo>
                  <a:pt x="0" y="234"/>
                </a:lnTo>
                <a:lnTo>
                  <a:pt x="6" y="234"/>
                </a:lnTo>
                <a:lnTo>
                  <a:pt x="6" y="228"/>
                </a:lnTo>
                <a:lnTo>
                  <a:pt x="12" y="228"/>
                </a:lnTo>
                <a:lnTo>
                  <a:pt x="12" y="228"/>
                </a:lnTo>
                <a:lnTo>
                  <a:pt x="12" y="228"/>
                </a:lnTo>
                <a:lnTo>
                  <a:pt x="12" y="222"/>
                </a:lnTo>
                <a:lnTo>
                  <a:pt x="12" y="222"/>
                </a:lnTo>
                <a:lnTo>
                  <a:pt x="12" y="222"/>
                </a:lnTo>
                <a:lnTo>
                  <a:pt x="6" y="216"/>
                </a:lnTo>
                <a:lnTo>
                  <a:pt x="12" y="216"/>
                </a:lnTo>
                <a:lnTo>
                  <a:pt x="12" y="216"/>
                </a:lnTo>
                <a:lnTo>
                  <a:pt x="12" y="210"/>
                </a:lnTo>
                <a:lnTo>
                  <a:pt x="12" y="210"/>
                </a:lnTo>
                <a:lnTo>
                  <a:pt x="18" y="21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76" name="Freeform 509"/>
          <p:cNvSpPr>
            <a:spLocks/>
          </p:cNvSpPr>
          <p:nvPr/>
        </p:nvSpPr>
        <p:spPr bwMode="auto">
          <a:xfrm>
            <a:off x="6151633" y="3402657"/>
            <a:ext cx="141329" cy="218419"/>
          </a:xfrm>
          <a:custGeom>
            <a:avLst/>
            <a:gdLst>
              <a:gd name="T0" fmla="*/ 0 w 132"/>
              <a:gd name="T1" fmla="*/ 60 h 204"/>
              <a:gd name="T2" fmla="*/ 6 w 132"/>
              <a:gd name="T3" fmla="*/ 48 h 204"/>
              <a:gd name="T4" fmla="*/ 18 w 132"/>
              <a:gd name="T5" fmla="*/ 36 h 204"/>
              <a:gd name="T6" fmla="*/ 42 w 132"/>
              <a:gd name="T7" fmla="*/ 30 h 204"/>
              <a:gd name="T8" fmla="*/ 54 w 132"/>
              <a:gd name="T9" fmla="*/ 30 h 204"/>
              <a:gd name="T10" fmla="*/ 66 w 132"/>
              <a:gd name="T11" fmla="*/ 24 h 204"/>
              <a:gd name="T12" fmla="*/ 72 w 132"/>
              <a:gd name="T13" fmla="*/ 24 h 204"/>
              <a:gd name="T14" fmla="*/ 78 w 132"/>
              <a:gd name="T15" fmla="*/ 24 h 204"/>
              <a:gd name="T16" fmla="*/ 78 w 132"/>
              <a:gd name="T17" fmla="*/ 18 h 204"/>
              <a:gd name="T18" fmla="*/ 78 w 132"/>
              <a:gd name="T19" fmla="*/ 18 h 204"/>
              <a:gd name="T20" fmla="*/ 78 w 132"/>
              <a:gd name="T21" fmla="*/ 6 h 204"/>
              <a:gd name="T22" fmla="*/ 114 w 132"/>
              <a:gd name="T23" fmla="*/ 12 h 204"/>
              <a:gd name="T24" fmla="*/ 96 w 132"/>
              <a:gd name="T25" fmla="*/ 42 h 204"/>
              <a:gd name="T26" fmla="*/ 102 w 132"/>
              <a:gd name="T27" fmla="*/ 42 h 204"/>
              <a:gd name="T28" fmla="*/ 114 w 132"/>
              <a:gd name="T29" fmla="*/ 42 h 204"/>
              <a:gd name="T30" fmla="*/ 120 w 132"/>
              <a:gd name="T31" fmla="*/ 48 h 204"/>
              <a:gd name="T32" fmla="*/ 126 w 132"/>
              <a:gd name="T33" fmla="*/ 48 h 204"/>
              <a:gd name="T34" fmla="*/ 132 w 132"/>
              <a:gd name="T35" fmla="*/ 48 h 204"/>
              <a:gd name="T36" fmla="*/ 126 w 132"/>
              <a:gd name="T37" fmla="*/ 54 h 204"/>
              <a:gd name="T38" fmla="*/ 126 w 132"/>
              <a:gd name="T39" fmla="*/ 66 h 204"/>
              <a:gd name="T40" fmla="*/ 126 w 132"/>
              <a:gd name="T41" fmla="*/ 72 h 204"/>
              <a:gd name="T42" fmla="*/ 126 w 132"/>
              <a:gd name="T43" fmla="*/ 72 h 204"/>
              <a:gd name="T44" fmla="*/ 120 w 132"/>
              <a:gd name="T45" fmla="*/ 78 h 204"/>
              <a:gd name="T46" fmla="*/ 120 w 132"/>
              <a:gd name="T47" fmla="*/ 78 h 204"/>
              <a:gd name="T48" fmla="*/ 114 w 132"/>
              <a:gd name="T49" fmla="*/ 84 h 204"/>
              <a:gd name="T50" fmla="*/ 108 w 132"/>
              <a:gd name="T51" fmla="*/ 96 h 204"/>
              <a:gd name="T52" fmla="*/ 108 w 132"/>
              <a:gd name="T53" fmla="*/ 108 h 204"/>
              <a:gd name="T54" fmla="*/ 108 w 132"/>
              <a:gd name="T55" fmla="*/ 108 h 204"/>
              <a:gd name="T56" fmla="*/ 108 w 132"/>
              <a:gd name="T57" fmla="*/ 114 h 204"/>
              <a:gd name="T58" fmla="*/ 102 w 132"/>
              <a:gd name="T59" fmla="*/ 120 h 204"/>
              <a:gd name="T60" fmla="*/ 102 w 132"/>
              <a:gd name="T61" fmla="*/ 126 h 204"/>
              <a:gd name="T62" fmla="*/ 102 w 132"/>
              <a:gd name="T63" fmla="*/ 132 h 204"/>
              <a:gd name="T64" fmla="*/ 102 w 132"/>
              <a:gd name="T65" fmla="*/ 132 h 204"/>
              <a:gd name="T66" fmla="*/ 102 w 132"/>
              <a:gd name="T67" fmla="*/ 144 h 204"/>
              <a:gd name="T68" fmla="*/ 102 w 132"/>
              <a:gd name="T69" fmla="*/ 150 h 204"/>
              <a:gd name="T70" fmla="*/ 102 w 132"/>
              <a:gd name="T71" fmla="*/ 156 h 204"/>
              <a:gd name="T72" fmla="*/ 108 w 132"/>
              <a:gd name="T73" fmla="*/ 162 h 204"/>
              <a:gd name="T74" fmla="*/ 114 w 132"/>
              <a:gd name="T75" fmla="*/ 174 h 204"/>
              <a:gd name="T76" fmla="*/ 120 w 132"/>
              <a:gd name="T77" fmla="*/ 192 h 204"/>
              <a:gd name="T78" fmla="*/ 102 w 132"/>
              <a:gd name="T79" fmla="*/ 198 h 204"/>
              <a:gd name="T80" fmla="*/ 78 w 132"/>
              <a:gd name="T81" fmla="*/ 192 h 204"/>
              <a:gd name="T82" fmla="*/ 78 w 132"/>
              <a:gd name="T83" fmla="*/ 192 h 204"/>
              <a:gd name="T84" fmla="*/ 72 w 132"/>
              <a:gd name="T85" fmla="*/ 198 h 204"/>
              <a:gd name="T86" fmla="*/ 60 w 132"/>
              <a:gd name="T87" fmla="*/ 198 h 204"/>
              <a:gd name="T88" fmla="*/ 54 w 132"/>
              <a:gd name="T89" fmla="*/ 192 h 204"/>
              <a:gd name="T90" fmla="*/ 42 w 132"/>
              <a:gd name="T91" fmla="*/ 198 h 204"/>
              <a:gd name="T92" fmla="*/ 30 w 132"/>
              <a:gd name="T93" fmla="*/ 192 h 204"/>
              <a:gd name="T94" fmla="*/ 24 w 132"/>
              <a:gd name="T95" fmla="*/ 192 h 204"/>
              <a:gd name="T96" fmla="*/ 24 w 132"/>
              <a:gd name="T97" fmla="*/ 186 h 204"/>
              <a:gd name="T98" fmla="*/ 12 w 132"/>
              <a:gd name="T99" fmla="*/ 186 h 204"/>
              <a:gd name="T100" fmla="*/ 6 w 132"/>
              <a:gd name="T101" fmla="*/ 186 h 204"/>
              <a:gd name="T102" fmla="*/ 12 w 132"/>
              <a:gd name="T103" fmla="*/ 168 h 204"/>
              <a:gd name="T104" fmla="*/ 24 w 132"/>
              <a:gd name="T105" fmla="*/ 156 h 204"/>
              <a:gd name="T106" fmla="*/ 42 w 132"/>
              <a:gd name="T107" fmla="*/ 150 h 204"/>
              <a:gd name="T108" fmla="*/ 30 w 132"/>
              <a:gd name="T109" fmla="*/ 90 h 204"/>
              <a:gd name="T110" fmla="*/ 18 w 132"/>
              <a:gd name="T111" fmla="*/ 84 h 204"/>
              <a:gd name="T112" fmla="*/ 12 w 132"/>
              <a:gd name="T113" fmla="*/ 78 h 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32" h="204">
                <a:moveTo>
                  <a:pt x="6" y="66"/>
                </a:move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0"/>
                </a:lnTo>
                <a:lnTo>
                  <a:pt x="6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12" y="42"/>
                </a:lnTo>
                <a:lnTo>
                  <a:pt x="18" y="42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42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6" y="36"/>
                </a:lnTo>
                <a:lnTo>
                  <a:pt x="42" y="30"/>
                </a:lnTo>
                <a:lnTo>
                  <a:pt x="42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84" y="6"/>
                </a:lnTo>
                <a:lnTo>
                  <a:pt x="84" y="6"/>
                </a:lnTo>
                <a:lnTo>
                  <a:pt x="84" y="0"/>
                </a:lnTo>
                <a:lnTo>
                  <a:pt x="84" y="0"/>
                </a:lnTo>
                <a:lnTo>
                  <a:pt x="108" y="6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08" y="12"/>
                </a:lnTo>
                <a:lnTo>
                  <a:pt x="108" y="18"/>
                </a:lnTo>
                <a:lnTo>
                  <a:pt x="108" y="18"/>
                </a:lnTo>
                <a:lnTo>
                  <a:pt x="84" y="48"/>
                </a:lnTo>
                <a:lnTo>
                  <a:pt x="90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14" y="42"/>
                </a:lnTo>
                <a:lnTo>
                  <a:pt x="108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54"/>
                </a:lnTo>
                <a:lnTo>
                  <a:pt x="132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72"/>
                </a:lnTo>
                <a:lnTo>
                  <a:pt x="126" y="72"/>
                </a:lnTo>
                <a:lnTo>
                  <a:pt x="126" y="72"/>
                </a:lnTo>
                <a:lnTo>
                  <a:pt x="126" y="72"/>
                </a:lnTo>
                <a:lnTo>
                  <a:pt x="126" y="72"/>
                </a:lnTo>
                <a:lnTo>
                  <a:pt x="126" y="72"/>
                </a:lnTo>
                <a:lnTo>
                  <a:pt x="126" y="72"/>
                </a:lnTo>
                <a:lnTo>
                  <a:pt x="126" y="72"/>
                </a:lnTo>
                <a:lnTo>
                  <a:pt x="126" y="72"/>
                </a:lnTo>
                <a:lnTo>
                  <a:pt x="126" y="72"/>
                </a:lnTo>
                <a:lnTo>
                  <a:pt x="126" y="72"/>
                </a:lnTo>
                <a:lnTo>
                  <a:pt x="126" y="72"/>
                </a:lnTo>
                <a:lnTo>
                  <a:pt x="126" y="72"/>
                </a:lnTo>
                <a:lnTo>
                  <a:pt x="126" y="78"/>
                </a:lnTo>
                <a:lnTo>
                  <a:pt x="126" y="72"/>
                </a:lnTo>
                <a:lnTo>
                  <a:pt x="126" y="78"/>
                </a:lnTo>
                <a:lnTo>
                  <a:pt x="120" y="78"/>
                </a:lnTo>
                <a:lnTo>
                  <a:pt x="126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90"/>
                </a:lnTo>
                <a:lnTo>
                  <a:pt x="114" y="90"/>
                </a:lnTo>
                <a:lnTo>
                  <a:pt x="114" y="90"/>
                </a:lnTo>
                <a:lnTo>
                  <a:pt x="114" y="90"/>
                </a:lnTo>
                <a:lnTo>
                  <a:pt x="114" y="90"/>
                </a:lnTo>
                <a:lnTo>
                  <a:pt x="108" y="90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2" y="102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8" y="108"/>
                </a:lnTo>
                <a:lnTo>
                  <a:pt x="102" y="108"/>
                </a:lnTo>
                <a:lnTo>
                  <a:pt x="102" y="108"/>
                </a:lnTo>
                <a:lnTo>
                  <a:pt x="108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2" y="114"/>
                </a:lnTo>
                <a:lnTo>
                  <a:pt x="108" y="114"/>
                </a:lnTo>
                <a:lnTo>
                  <a:pt x="108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32"/>
                </a:lnTo>
                <a:lnTo>
                  <a:pt x="102" y="132"/>
                </a:lnTo>
                <a:lnTo>
                  <a:pt x="102" y="132"/>
                </a:lnTo>
                <a:lnTo>
                  <a:pt x="102" y="132"/>
                </a:lnTo>
                <a:lnTo>
                  <a:pt x="102" y="132"/>
                </a:lnTo>
                <a:lnTo>
                  <a:pt x="102" y="132"/>
                </a:lnTo>
                <a:lnTo>
                  <a:pt x="102" y="132"/>
                </a:lnTo>
                <a:lnTo>
                  <a:pt x="102" y="132"/>
                </a:lnTo>
                <a:lnTo>
                  <a:pt x="102" y="132"/>
                </a:lnTo>
                <a:lnTo>
                  <a:pt x="102" y="132"/>
                </a:lnTo>
                <a:lnTo>
                  <a:pt x="102" y="132"/>
                </a:lnTo>
                <a:lnTo>
                  <a:pt x="102" y="132"/>
                </a:lnTo>
                <a:lnTo>
                  <a:pt x="102" y="132"/>
                </a:lnTo>
                <a:lnTo>
                  <a:pt x="102" y="138"/>
                </a:lnTo>
                <a:lnTo>
                  <a:pt x="102" y="138"/>
                </a:lnTo>
                <a:lnTo>
                  <a:pt x="102" y="138"/>
                </a:lnTo>
                <a:lnTo>
                  <a:pt x="102" y="138"/>
                </a:lnTo>
                <a:lnTo>
                  <a:pt x="102" y="138"/>
                </a:lnTo>
                <a:lnTo>
                  <a:pt x="102" y="138"/>
                </a:lnTo>
                <a:lnTo>
                  <a:pt x="102" y="138"/>
                </a:lnTo>
                <a:lnTo>
                  <a:pt x="102" y="144"/>
                </a:lnTo>
                <a:lnTo>
                  <a:pt x="102" y="144"/>
                </a:lnTo>
                <a:lnTo>
                  <a:pt x="102" y="144"/>
                </a:lnTo>
                <a:lnTo>
                  <a:pt x="102" y="144"/>
                </a:lnTo>
                <a:lnTo>
                  <a:pt x="102" y="144"/>
                </a:lnTo>
                <a:lnTo>
                  <a:pt x="102" y="144"/>
                </a:lnTo>
                <a:lnTo>
                  <a:pt x="102" y="144"/>
                </a:lnTo>
                <a:lnTo>
                  <a:pt x="102" y="144"/>
                </a:lnTo>
                <a:lnTo>
                  <a:pt x="102" y="144"/>
                </a:lnTo>
                <a:lnTo>
                  <a:pt x="102" y="144"/>
                </a:lnTo>
                <a:lnTo>
                  <a:pt x="102" y="150"/>
                </a:lnTo>
                <a:lnTo>
                  <a:pt x="102" y="150"/>
                </a:lnTo>
                <a:lnTo>
                  <a:pt x="102" y="150"/>
                </a:lnTo>
                <a:lnTo>
                  <a:pt x="102" y="150"/>
                </a:lnTo>
                <a:lnTo>
                  <a:pt x="102" y="150"/>
                </a:lnTo>
                <a:lnTo>
                  <a:pt x="102" y="150"/>
                </a:lnTo>
                <a:lnTo>
                  <a:pt x="102" y="150"/>
                </a:lnTo>
                <a:lnTo>
                  <a:pt x="102" y="150"/>
                </a:lnTo>
                <a:lnTo>
                  <a:pt x="102" y="156"/>
                </a:lnTo>
                <a:lnTo>
                  <a:pt x="102" y="156"/>
                </a:lnTo>
                <a:lnTo>
                  <a:pt x="102" y="156"/>
                </a:lnTo>
                <a:lnTo>
                  <a:pt x="102" y="156"/>
                </a:lnTo>
                <a:lnTo>
                  <a:pt x="102" y="156"/>
                </a:lnTo>
                <a:lnTo>
                  <a:pt x="102" y="156"/>
                </a:lnTo>
                <a:lnTo>
                  <a:pt x="102" y="156"/>
                </a:lnTo>
                <a:lnTo>
                  <a:pt x="102" y="162"/>
                </a:lnTo>
                <a:lnTo>
                  <a:pt x="102" y="162"/>
                </a:lnTo>
                <a:lnTo>
                  <a:pt x="102" y="162"/>
                </a:lnTo>
                <a:lnTo>
                  <a:pt x="102" y="162"/>
                </a:lnTo>
                <a:lnTo>
                  <a:pt x="108" y="162"/>
                </a:lnTo>
                <a:lnTo>
                  <a:pt x="108" y="162"/>
                </a:lnTo>
                <a:lnTo>
                  <a:pt x="108" y="162"/>
                </a:lnTo>
                <a:lnTo>
                  <a:pt x="108" y="162"/>
                </a:lnTo>
                <a:lnTo>
                  <a:pt x="108" y="162"/>
                </a:lnTo>
                <a:lnTo>
                  <a:pt x="108" y="162"/>
                </a:lnTo>
                <a:lnTo>
                  <a:pt x="108" y="162"/>
                </a:lnTo>
                <a:lnTo>
                  <a:pt x="108" y="168"/>
                </a:lnTo>
                <a:lnTo>
                  <a:pt x="108" y="168"/>
                </a:lnTo>
                <a:lnTo>
                  <a:pt x="108" y="168"/>
                </a:lnTo>
                <a:lnTo>
                  <a:pt x="114" y="168"/>
                </a:lnTo>
                <a:lnTo>
                  <a:pt x="114" y="168"/>
                </a:lnTo>
                <a:lnTo>
                  <a:pt x="114" y="168"/>
                </a:lnTo>
                <a:lnTo>
                  <a:pt x="114" y="174"/>
                </a:lnTo>
                <a:lnTo>
                  <a:pt x="114" y="174"/>
                </a:lnTo>
                <a:lnTo>
                  <a:pt x="114" y="174"/>
                </a:lnTo>
                <a:lnTo>
                  <a:pt x="114" y="180"/>
                </a:lnTo>
                <a:lnTo>
                  <a:pt x="114" y="180"/>
                </a:lnTo>
                <a:lnTo>
                  <a:pt x="114" y="180"/>
                </a:lnTo>
                <a:lnTo>
                  <a:pt x="114" y="180"/>
                </a:lnTo>
                <a:lnTo>
                  <a:pt x="114" y="180"/>
                </a:lnTo>
                <a:lnTo>
                  <a:pt x="114" y="186"/>
                </a:lnTo>
                <a:lnTo>
                  <a:pt x="120" y="186"/>
                </a:lnTo>
                <a:lnTo>
                  <a:pt x="120" y="192"/>
                </a:lnTo>
                <a:lnTo>
                  <a:pt x="120" y="192"/>
                </a:lnTo>
                <a:lnTo>
                  <a:pt x="126" y="192"/>
                </a:lnTo>
                <a:lnTo>
                  <a:pt x="126" y="198"/>
                </a:lnTo>
                <a:lnTo>
                  <a:pt x="108" y="204"/>
                </a:lnTo>
                <a:lnTo>
                  <a:pt x="108" y="198"/>
                </a:lnTo>
                <a:lnTo>
                  <a:pt x="108" y="198"/>
                </a:lnTo>
                <a:lnTo>
                  <a:pt x="108" y="198"/>
                </a:lnTo>
                <a:lnTo>
                  <a:pt x="102" y="198"/>
                </a:lnTo>
                <a:lnTo>
                  <a:pt x="102" y="198"/>
                </a:lnTo>
                <a:lnTo>
                  <a:pt x="102" y="198"/>
                </a:lnTo>
                <a:lnTo>
                  <a:pt x="96" y="198"/>
                </a:lnTo>
                <a:lnTo>
                  <a:pt x="96" y="198"/>
                </a:lnTo>
                <a:lnTo>
                  <a:pt x="96" y="198"/>
                </a:lnTo>
                <a:lnTo>
                  <a:pt x="90" y="198"/>
                </a:lnTo>
                <a:lnTo>
                  <a:pt x="90" y="198"/>
                </a:lnTo>
                <a:lnTo>
                  <a:pt x="90" y="198"/>
                </a:lnTo>
                <a:lnTo>
                  <a:pt x="84" y="198"/>
                </a:lnTo>
                <a:lnTo>
                  <a:pt x="84" y="198"/>
                </a:lnTo>
                <a:lnTo>
                  <a:pt x="78" y="192"/>
                </a:lnTo>
                <a:lnTo>
                  <a:pt x="78" y="192"/>
                </a:lnTo>
                <a:lnTo>
                  <a:pt x="78" y="192"/>
                </a:lnTo>
                <a:lnTo>
                  <a:pt x="78" y="192"/>
                </a:lnTo>
                <a:lnTo>
                  <a:pt x="78" y="192"/>
                </a:lnTo>
                <a:lnTo>
                  <a:pt x="78" y="192"/>
                </a:lnTo>
                <a:lnTo>
                  <a:pt x="78" y="192"/>
                </a:lnTo>
                <a:lnTo>
                  <a:pt x="78" y="192"/>
                </a:lnTo>
                <a:lnTo>
                  <a:pt x="78" y="192"/>
                </a:lnTo>
                <a:lnTo>
                  <a:pt x="78" y="192"/>
                </a:lnTo>
                <a:lnTo>
                  <a:pt x="78" y="192"/>
                </a:lnTo>
                <a:lnTo>
                  <a:pt x="78" y="192"/>
                </a:lnTo>
                <a:lnTo>
                  <a:pt x="72" y="192"/>
                </a:lnTo>
                <a:lnTo>
                  <a:pt x="72" y="192"/>
                </a:lnTo>
                <a:lnTo>
                  <a:pt x="72" y="192"/>
                </a:lnTo>
                <a:lnTo>
                  <a:pt x="72" y="198"/>
                </a:lnTo>
                <a:lnTo>
                  <a:pt x="72" y="198"/>
                </a:lnTo>
                <a:lnTo>
                  <a:pt x="72" y="198"/>
                </a:lnTo>
                <a:lnTo>
                  <a:pt x="72" y="198"/>
                </a:lnTo>
                <a:lnTo>
                  <a:pt x="72" y="198"/>
                </a:lnTo>
                <a:lnTo>
                  <a:pt x="72" y="198"/>
                </a:lnTo>
                <a:lnTo>
                  <a:pt x="72" y="198"/>
                </a:lnTo>
                <a:lnTo>
                  <a:pt x="72" y="198"/>
                </a:lnTo>
                <a:lnTo>
                  <a:pt x="72" y="198"/>
                </a:lnTo>
                <a:lnTo>
                  <a:pt x="66" y="198"/>
                </a:lnTo>
                <a:lnTo>
                  <a:pt x="66" y="198"/>
                </a:lnTo>
                <a:lnTo>
                  <a:pt x="66" y="198"/>
                </a:lnTo>
                <a:lnTo>
                  <a:pt x="66" y="198"/>
                </a:lnTo>
                <a:lnTo>
                  <a:pt x="66" y="198"/>
                </a:lnTo>
                <a:lnTo>
                  <a:pt x="60" y="198"/>
                </a:lnTo>
                <a:lnTo>
                  <a:pt x="60" y="198"/>
                </a:lnTo>
                <a:lnTo>
                  <a:pt x="60" y="198"/>
                </a:lnTo>
                <a:lnTo>
                  <a:pt x="60" y="198"/>
                </a:lnTo>
                <a:lnTo>
                  <a:pt x="60" y="198"/>
                </a:lnTo>
                <a:lnTo>
                  <a:pt x="54" y="198"/>
                </a:lnTo>
                <a:lnTo>
                  <a:pt x="54" y="198"/>
                </a:lnTo>
                <a:lnTo>
                  <a:pt x="54" y="198"/>
                </a:lnTo>
                <a:lnTo>
                  <a:pt x="54" y="198"/>
                </a:lnTo>
                <a:lnTo>
                  <a:pt x="54" y="192"/>
                </a:lnTo>
                <a:lnTo>
                  <a:pt x="54" y="192"/>
                </a:lnTo>
                <a:lnTo>
                  <a:pt x="54" y="192"/>
                </a:lnTo>
                <a:lnTo>
                  <a:pt x="54" y="192"/>
                </a:lnTo>
                <a:lnTo>
                  <a:pt x="48" y="192"/>
                </a:lnTo>
                <a:lnTo>
                  <a:pt x="48" y="192"/>
                </a:lnTo>
                <a:lnTo>
                  <a:pt x="48" y="192"/>
                </a:lnTo>
                <a:lnTo>
                  <a:pt x="48" y="192"/>
                </a:lnTo>
                <a:lnTo>
                  <a:pt x="42" y="192"/>
                </a:lnTo>
                <a:lnTo>
                  <a:pt x="42" y="192"/>
                </a:lnTo>
                <a:lnTo>
                  <a:pt x="42" y="198"/>
                </a:lnTo>
                <a:lnTo>
                  <a:pt x="42" y="198"/>
                </a:lnTo>
                <a:lnTo>
                  <a:pt x="42" y="198"/>
                </a:lnTo>
                <a:lnTo>
                  <a:pt x="42" y="198"/>
                </a:lnTo>
                <a:lnTo>
                  <a:pt x="42" y="198"/>
                </a:lnTo>
                <a:lnTo>
                  <a:pt x="42" y="198"/>
                </a:lnTo>
                <a:lnTo>
                  <a:pt x="36" y="198"/>
                </a:lnTo>
                <a:lnTo>
                  <a:pt x="36" y="198"/>
                </a:lnTo>
                <a:lnTo>
                  <a:pt x="36" y="198"/>
                </a:lnTo>
                <a:lnTo>
                  <a:pt x="36" y="198"/>
                </a:lnTo>
                <a:lnTo>
                  <a:pt x="30" y="198"/>
                </a:lnTo>
                <a:lnTo>
                  <a:pt x="30" y="198"/>
                </a:lnTo>
                <a:lnTo>
                  <a:pt x="30" y="192"/>
                </a:lnTo>
                <a:lnTo>
                  <a:pt x="30" y="192"/>
                </a:lnTo>
                <a:lnTo>
                  <a:pt x="30" y="192"/>
                </a:lnTo>
                <a:lnTo>
                  <a:pt x="30" y="192"/>
                </a:lnTo>
                <a:lnTo>
                  <a:pt x="30" y="192"/>
                </a:lnTo>
                <a:lnTo>
                  <a:pt x="30" y="192"/>
                </a:lnTo>
                <a:lnTo>
                  <a:pt x="30" y="192"/>
                </a:lnTo>
                <a:lnTo>
                  <a:pt x="30" y="192"/>
                </a:lnTo>
                <a:lnTo>
                  <a:pt x="30" y="192"/>
                </a:lnTo>
                <a:lnTo>
                  <a:pt x="24" y="192"/>
                </a:lnTo>
                <a:lnTo>
                  <a:pt x="30" y="192"/>
                </a:lnTo>
                <a:lnTo>
                  <a:pt x="24" y="192"/>
                </a:lnTo>
                <a:lnTo>
                  <a:pt x="24" y="192"/>
                </a:lnTo>
                <a:lnTo>
                  <a:pt x="24" y="192"/>
                </a:lnTo>
                <a:lnTo>
                  <a:pt x="24" y="186"/>
                </a:lnTo>
                <a:lnTo>
                  <a:pt x="24" y="186"/>
                </a:lnTo>
                <a:lnTo>
                  <a:pt x="24" y="186"/>
                </a:lnTo>
                <a:lnTo>
                  <a:pt x="24" y="186"/>
                </a:lnTo>
                <a:lnTo>
                  <a:pt x="24" y="186"/>
                </a:lnTo>
                <a:lnTo>
                  <a:pt x="24" y="186"/>
                </a:lnTo>
                <a:lnTo>
                  <a:pt x="24" y="186"/>
                </a:lnTo>
                <a:lnTo>
                  <a:pt x="24" y="186"/>
                </a:lnTo>
                <a:lnTo>
                  <a:pt x="18" y="186"/>
                </a:lnTo>
                <a:lnTo>
                  <a:pt x="18" y="186"/>
                </a:lnTo>
                <a:lnTo>
                  <a:pt x="18" y="186"/>
                </a:lnTo>
                <a:lnTo>
                  <a:pt x="18" y="186"/>
                </a:lnTo>
                <a:lnTo>
                  <a:pt x="18" y="186"/>
                </a:lnTo>
                <a:lnTo>
                  <a:pt x="18" y="186"/>
                </a:lnTo>
                <a:lnTo>
                  <a:pt x="18" y="186"/>
                </a:lnTo>
                <a:lnTo>
                  <a:pt x="18" y="186"/>
                </a:lnTo>
                <a:lnTo>
                  <a:pt x="18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6" y="186"/>
                </a:lnTo>
                <a:lnTo>
                  <a:pt x="6" y="186"/>
                </a:lnTo>
                <a:lnTo>
                  <a:pt x="12" y="186"/>
                </a:lnTo>
                <a:lnTo>
                  <a:pt x="6" y="186"/>
                </a:lnTo>
                <a:lnTo>
                  <a:pt x="12" y="180"/>
                </a:lnTo>
                <a:lnTo>
                  <a:pt x="6" y="180"/>
                </a:lnTo>
                <a:lnTo>
                  <a:pt x="6" y="180"/>
                </a:lnTo>
                <a:lnTo>
                  <a:pt x="6" y="180"/>
                </a:lnTo>
                <a:lnTo>
                  <a:pt x="12" y="180"/>
                </a:lnTo>
                <a:lnTo>
                  <a:pt x="12" y="174"/>
                </a:lnTo>
                <a:lnTo>
                  <a:pt x="12" y="174"/>
                </a:lnTo>
                <a:lnTo>
                  <a:pt x="12" y="174"/>
                </a:lnTo>
                <a:lnTo>
                  <a:pt x="12" y="168"/>
                </a:lnTo>
                <a:lnTo>
                  <a:pt x="12" y="168"/>
                </a:lnTo>
                <a:lnTo>
                  <a:pt x="18" y="168"/>
                </a:lnTo>
                <a:lnTo>
                  <a:pt x="18" y="168"/>
                </a:lnTo>
                <a:lnTo>
                  <a:pt x="18" y="162"/>
                </a:lnTo>
                <a:lnTo>
                  <a:pt x="18" y="162"/>
                </a:lnTo>
                <a:lnTo>
                  <a:pt x="18" y="162"/>
                </a:lnTo>
                <a:lnTo>
                  <a:pt x="18" y="162"/>
                </a:lnTo>
                <a:lnTo>
                  <a:pt x="18" y="162"/>
                </a:lnTo>
                <a:lnTo>
                  <a:pt x="24" y="156"/>
                </a:lnTo>
                <a:lnTo>
                  <a:pt x="24" y="156"/>
                </a:lnTo>
                <a:lnTo>
                  <a:pt x="24" y="156"/>
                </a:lnTo>
                <a:lnTo>
                  <a:pt x="30" y="150"/>
                </a:lnTo>
                <a:lnTo>
                  <a:pt x="30" y="150"/>
                </a:lnTo>
                <a:lnTo>
                  <a:pt x="30" y="156"/>
                </a:lnTo>
                <a:lnTo>
                  <a:pt x="30" y="156"/>
                </a:lnTo>
                <a:lnTo>
                  <a:pt x="30" y="150"/>
                </a:lnTo>
                <a:lnTo>
                  <a:pt x="36" y="150"/>
                </a:lnTo>
                <a:lnTo>
                  <a:pt x="36" y="150"/>
                </a:lnTo>
                <a:lnTo>
                  <a:pt x="36" y="150"/>
                </a:lnTo>
                <a:lnTo>
                  <a:pt x="36" y="150"/>
                </a:lnTo>
                <a:lnTo>
                  <a:pt x="42" y="150"/>
                </a:lnTo>
                <a:lnTo>
                  <a:pt x="42" y="150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0"/>
                </a:lnTo>
                <a:lnTo>
                  <a:pt x="42" y="90"/>
                </a:lnTo>
                <a:lnTo>
                  <a:pt x="36" y="90"/>
                </a:lnTo>
                <a:lnTo>
                  <a:pt x="36" y="90"/>
                </a:lnTo>
                <a:lnTo>
                  <a:pt x="30" y="90"/>
                </a:lnTo>
                <a:lnTo>
                  <a:pt x="30" y="90"/>
                </a:lnTo>
                <a:lnTo>
                  <a:pt x="30" y="84"/>
                </a:lnTo>
                <a:lnTo>
                  <a:pt x="24" y="84"/>
                </a:lnTo>
                <a:lnTo>
                  <a:pt x="24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2" y="84"/>
                </a:lnTo>
                <a:lnTo>
                  <a:pt x="18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6" y="84"/>
                </a:lnTo>
                <a:lnTo>
                  <a:pt x="6" y="84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6" y="72"/>
                </a:lnTo>
                <a:lnTo>
                  <a:pt x="6" y="6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77" name="Freeform 510"/>
          <p:cNvSpPr>
            <a:spLocks/>
          </p:cNvSpPr>
          <p:nvPr/>
        </p:nvSpPr>
        <p:spPr bwMode="auto">
          <a:xfrm>
            <a:off x="6247993" y="2451891"/>
            <a:ext cx="430411" cy="533200"/>
          </a:xfrm>
          <a:custGeom>
            <a:avLst/>
            <a:gdLst>
              <a:gd name="T0" fmla="*/ 24 w 402"/>
              <a:gd name="T1" fmla="*/ 150 h 498"/>
              <a:gd name="T2" fmla="*/ 30 w 402"/>
              <a:gd name="T3" fmla="*/ 114 h 498"/>
              <a:gd name="T4" fmla="*/ 48 w 402"/>
              <a:gd name="T5" fmla="*/ 72 h 498"/>
              <a:gd name="T6" fmla="*/ 54 w 402"/>
              <a:gd name="T7" fmla="*/ 42 h 498"/>
              <a:gd name="T8" fmla="*/ 90 w 402"/>
              <a:gd name="T9" fmla="*/ 6 h 498"/>
              <a:gd name="T10" fmla="*/ 396 w 402"/>
              <a:gd name="T11" fmla="*/ 36 h 498"/>
              <a:gd name="T12" fmla="*/ 384 w 402"/>
              <a:gd name="T13" fmla="*/ 72 h 498"/>
              <a:gd name="T14" fmla="*/ 366 w 402"/>
              <a:gd name="T15" fmla="*/ 114 h 498"/>
              <a:gd name="T16" fmla="*/ 360 w 402"/>
              <a:gd name="T17" fmla="*/ 138 h 498"/>
              <a:gd name="T18" fmla="*/ 354 w 402"/>
              <a:gd name="T19" fmla="*/ 162 h 498"/>
              <a:gd name="T20" fmla="*/ 348 w 402"/>
              <a:gd name="T21" fmla="*/ 192 h 498"/>
              <a:gd name="T22" fmla="*/ 336 w 402"/>
              <a:gd name="T23" fmla="*/ 222 h 498"/>
              <a:gd name="T24" fmla="*/ 348 w 402"/>
              <a:gd name="T25" fmla="*/ 246 h 498"/>
              <a:gd name="T26" fmla="*/ 342 w 402"/>
              <a:gd name="T27" fmla="*/ 276 h 498"/>
              <a:gd name="T28" fmla="*/ 324 w 402"/>
              <a:gd name="T29" fmla="*/ 300 h 498"/>
              <a:gd name="T30" fmla="*/ 324 w 402"/>
              <a:gd name="T31" fmla="*/ 312 h 498"/>
              <a:gd name="T32" fmla="*/ 312 w 402"/>
              <a:gd name="T33" fmla="*/ 330 h 498"/>
              <a:gd name="T34" fmla="*/ 306 w 402"/>
              <a:gd name="T35" fmla="*/ 348 h 498"/>
              <a:gd name="T36" fmla="*/ 306 w 402"/>
              <a:gd name="T37" fmla="*/ 366 h 498"/>
              <a:gd name="T38" fmla="*/ 312 w 402"/>
              <a:gd name="T39" fmla="*/ 384 h 498"/>
              <a:gd name="T40" fmla="*/ 306 w 402"/>
              <a:gd name="T41" fmla="*/ 402 h 498"/>
              <a:gd name="T42" fmla="*/ 300 w 402"/>
              <a:gd name="T43" fmla="*/ 420 h 498"/>
              <a:gd name="T44" fmla="*/ 288 w 402"/>
              <a:gd name="T45" fmla="*/ 438 h 498"/>
              <a:gd name="T46" fmla="*/ 276 w 402"/>
              <a:gd name="T47" fmla="*/ 456 h 498"/>
              <a:gd name="T48" fmla="*/ 270 w 402"/>
              <a:gd name="T49" fmla="*/ 468 h 498"/>
              <a:gd name="T50" fmla="*/ 252 w 402"/>
              <a:gd name="T51" fmla="*/ 492 h 498"/>
              <a:gd name="T52" fmla="*/ 222 w 402"/>
              <a:gd name="T53" fmla="*/ 480 h 498"/>
              <a:gd name="T54" fmla="*/ 204 w 402"/>
              <a:gd name="T55" fmla="*/ 486 h 498"/>
              <a:gd name="T56" fmla="*/ 186 w 402"/>
              <a:gd name="T57" fmla="*/ 498 h 498"/>
              <a:gd name="T58" fmla="*/ 180 w 402"/>
              <a:gd name="T59" fmla="*/ 462 h 498"/>
              <a:gd name="T60" fmla="*/ 168 w 402"/>
              <a:gd name="T61" fmla="*/ 450 h 498"/>
              <a:gd name="T62" fmla="*/ 156 w 402"/>
              <a:gd name="T63" fmla="*/ 444 h 498"/>
              <a:gd name="T64" fmla="*/ 156 w 402"/>
              <a:gd name="T65" fmla="*/ 438 h 498"/>
              <a:gd name="T66" fmla="*/ 156 w 402"/>
              <a:gd name="T67" fmla="*/ 420 h 498"/>
              <a:gd name="T68" fmla="*/ 156 w 402"/>
              <a:gd name="T69" fmla="*/ 402 h 498"/>
              <a:gd name="T70" fmla="*/ 156 w 402"/>
              <a:gd name="T71" fmla="*/ 390 h 498"/>
              <a:gd name="T72" fmla="*/ 162 w 402"/>
              <a:gd name="T73" fmla="*/ 378 h 498"/>
              <a:gd name="T74" fmla="*/ 168 w 402"/>
              <a:gd name="T75" fmla="*/ 372 h 498"/>
              <a:gd name="T76" fmla="*/ 168 w 402"/>
              <a:gd name="T77" fmla="*/ 360 h 498"/>
              <a:gd name="T78" fmla="*/ 162 w 402"/>
              <a:gd name="T79" fmla="*/ 348 h 498"/>
              <a:gd name="T80" fmla="*/ 162 w 402"/>
              <a:gd name="T81" fmla="*/ 342 h 498"/>
              <a:gd name="T82" fmla="*/ 156 w 402"/>
              <a:gd name="T83" fmla="*/ 336 h 498"/>
              <a:gd name="T84" fmla="*/ 150 w 402"/>
              <a:gd name="T85" fmla="*/ 330 h 498"/>
              <a:gd name="T86" fmla="*/ 156 w 402"/>
              <a:gd name="T87" fmla="*/ 318 h 498"/>
              <a:gd name="T88" fmla="*/ 156 w 402"/>
              <a:gd name="T89" fmla="*/ 312 h 498"/>
              <a:gd name="T90" fmla="*/ 156 w 402"/>
              <a:gd name="T91" fmla="*/ 300 h 498"/>
              <a:gd name="T92" fmla="*/ 150 w 402"/>
              <a:gd name="T93" fmla="*/ 294 h 498"/>
              <a:gd name="T94" fmla="*/ 144 w 402"/>
              <a:gd name="T95" fmla="*/ 288 h 498"/>
              <a:gd name="T96" fmla="*/ 138 w 402"/>
              <a:gd name="T97" fmla="*/ 276 h 498"/>
              <a:gd name="T98" fmla="*/ 132 w 402"/>
              <a:gd name="T99" fmla="*/ 270 h 498"/>
              <a:gd name="T100" fmla="*/ 120 w 402"/>
              <a:gd name="T101" fmla="*/ 264 h 498"/>
              <a:gd name="T102" fmla="*/ 108 w 402"/>
              <a:gd name="T103" fmla="*/ 264 h 498"/>
              <a:gd name="T104" fmla="*/ 96 w 402"/>
              <a:gd name="T105" fmla="*/ 264 h 498"/>
              <a:gd name="T106" fmla="*/ 78 w 402"/>
              <a:gd name="T107" fmla="*/ 258 h 498"/>
              <a:gd name="T108" fmla="*/ 66 w 402"/>
              <a:gd name="T109" fmla="*/ 252 h 498"/>
              <a:gd name="T110" fmla="*/ 54 w 402"/>
              <a:gd name="T111" fmla="*/ 246 h 498"/>
              <a:gd name="T112" fmla="*/ 42 w 402"/>
              <a:gd name="T113" fmla="*/ 240 h 498"/>
              <a:gd name="T114" fmla="*/ 30 w 402"/>
              <a:gd name="T115" fmla="*/ 228 h 498"/>
              <a:gd name="T116" fmla="*/ 24 w 402"/>
              <a:gd name="T117" fmla="*/ 222 h 498"/>
              <a:gd name="T118" fmla="*/ 12 w 402"/>
              <a:gd name="T119" fmla="*/ 210 h 498"/>
              <a:gd name="T120" fmla="*/ 12 w 402"/>
              <a:gd name="T121" fmla="*/ 204 h 498"/>
              <a:gd name="T122" fmla="*/ 6 w 402"/>
              <a:gd name="T123" fmla="*/ 174 h 4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02" h="498">
                <a:moveTo>
                  <a:pt x="0" y="168"/>
                </a:moveTo>
                <a:lnTo>
                  <a:pt x="0" y="162"/>
                </a:lnTo>
                <a:lnTo>
                  <a:pt x="6" y="162"/>
                </a:lnTo>
                <a:lnTo>
                  <a:pt x="6" y="162"/>
                </a:lnTo>
                <a:lnTo>
                  <a:pt x="12" y="156"/>
                </a:lnTo>
                <a:lnTo>
                  <a:pt x="12" y="156"/>
                </a:lnTo>
                <a:lnTo>
                  <a:pt x="12" y="156"/>
                </a:lnTo>
                <a:lnTo>
                  <a:pt x="12" y="156"/>
                </a:lnTo>
                <a:lnTo>
                  <a:pt x="12" y="156"/>
                </a:lnTo>
                <a:lnTo>
                  <a:pt x="12" y="156"/>
                </a:lnTo>
                <a:lnTo>
                  <a:pt x="12" y="156"/>
                </a:lnTo>
                <a:lnTo>
                  <a:pt x="18" y="156"/>
                </a:lnTo>
                <a:lnTo>
                  <a:pt x="24" y="156"/>
                </a:lnTo>
                <a:lnTo>
                  <a:pt x="24" y="150"/>
                </a:lnTo>
                <a:lnTo>
                  <a:pt x="24" y="150"/>
                </a:lnTo>
                <a:lnTo>
                  <a:pt x="24" y="150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44"/>
                </a:lnTo>
                <a:lnTo>
                  <a:pt x="30" y="138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26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08"/>
                </a:lnTo>
                <a:lnTo>
                  <a:pt x="36" y="102"/>
                </a:lnTo>
                <a:lnTo>
                  <a:pt x="36" y="96"/>
                </a:lnTo>
                <a:lnTo>
                  <a:pt x="36" y="90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8" y="84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2" y="66"/>
                </a:lnTo>
                <a:lnTo>
                  <a:pt x="48" y="66"/>
                </a:lnTo>
                <a:lnTo>
                  <a:pt x="48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54"/>
                </a:lnTo>
                <a:lnTo>
                  <a:pt x="42" y="54"/>
                </a:lnTo>
                <a:lnTo>
                  <a:pt x="42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54" y="42"/>
                </a:lnTo>
                <a:lnTo>
                  <a:pt x="54" y="42"/>
                </a:lnTo>
                <a:lnTo>
                  <a:pt x="54" y="36"/>
                </a:lnTo>
                <a:lnTo>
                  <a:pt x="60" y="36"/>
                </a:lnTo>
                <a:lnTo>
                  <a:pt x="60" y="30"/>
                </a:lnTo>
                <a:lnTo>
                  <a:pt x="66" y="30"/>
                </a:lnTo>
                <a:lnTo>
                  <a:pt x="66" y="24"/>
                </a:lnTo>
                <a:lnTo>
                  <a:pt x="72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84" y="12"/>
                </a:lnTo>
                <a:lnTo>
                  <a:pt x="84" y="12"/>
                </a:lnTo>
                <a:lnTo>
                  <a:pt x="90" y="12"/>
                </a:lnTo>
                <a:lnTo>
                  <a:pt x="90" y="12"/>
                </a:lnTo>
                <a:lnTo>
                  <a:pt x="90" y="6"/>
                </a:lnTo>
                <a:lnTo>
                  <a:pt x="90" y="0"/>
                </a:lnTo>
                <a:lnTo>
                  <a:pt x="138" y="6"/>
                </a:lnTo>
                <a:lnTo>
                  <a:pt x="240" y="12"/>
                </a:lnTo>
                <a:lnTo>
                  <a:pt x="264" y="12"/>
                </a:lnTo>
                <a:lnTo>
                  <a:pt x="294" y="12"/>
                </a:lnTo>
                <a:lnTo>
                  <a:pt x="294" y="12"/>
                </a:lnTo>
                <a:lnTo>
                  <a:pt x="324" y="18"/>
                </a:lnTo>
                <a:lnTo>
                  <a:pt x="402" y="24"/>
                </a:lnTo>
                <a:lnTo>
                  <a:pt x="402" y="24"/>
                </a:lnTo>
                <a:lnTo>
                  <a:pt x="402" y="24"/>
                </a:lnTo>
                <a:lnTo>
                  <a:pt x="402" y="24"/>
                </a:lnTo>
                <a:lnTo>
                  <a:pt x="396" y="30"/>
                </a:lnTo>
                <a:lnTo>
                  <a:pt x="396" y="36"/>
                </a:lnTo>
                <a:lnTo>
                  <a:pt x="396" y="36"/>
                </a:lnTo>
                <a:lnTo>
                  <a:pt x="396" y="36"/>
                </a:lnTo>
                <a:lnTo>
                  <a:pt x="396" y="42"/>
                </a:lnTo>
                <a:lnTo>
                  <a:pt x="396" y="42"/>
                </a:lnTo>
                <a:lnTo>
                  <a:pt x="396" y="48"/>
                </a:lnTo>
                <a:lnTo>
                  <a:pt x="390" y="48"/>
                </a:lnTo>
                <a:lnTo>
                  <a:pt x="390" y="48"/>
                </a:lnTo>
                <a:lnTo>
                  <a:pt x="390" y="54"/>
                </a:lnTo>
                <a:lnTo>
                  <a:pt x="384" y="54"/>
                </a:lnTo>
                <a:lnTo>
                  <a:pt x="384" y="54"/>
                </a:lnTo>
                <a:lnTo>
                  <a:pt x="384" y="60"/>
                </a:lnTo>
                <a:lnTo>
                  <a:pt x="384" y="66"/>
                </a:lnTo>
                <a:lnTo>
                  <a:pt x="384" y="66"/>
                </a:lnTo>
                <a:lnTo>
                  <a:pt x="384" y="66"/>
                </a:lnTo>
                <a:lnTo>
                  <a:pt x="384" y="72"/>
                </a:lnTo>
                <a:lnTo>
                  <a:pt x="384" y="72"/>
                </a:lnTo>
                <a:lnTo>
                  <a:pt x="384" y="72"/>
                </a:lnTo>
                <a:lnTo>
                  <a:pt x="378" y="78"/>
                </a:lnTo>
                <a:lnTo>
                  <a:pt x="378" y="84"/>
                </a:lnTo>
                <a:lnTo>
                  <a:pt x="378" y="84"/>
                </a:lnTo>
                <a:lnTo>
                  <a:pt x="378" y="90"/>
                </a:lnTo>
                <a:lnTo>
                  <a:pt x="378" y="90"/>
                </a:lnTo>
                <a:lnTo>
                  <a:pt x="378" y="90"/>
                </a:lnTo>
                <a:lnTo>
                  <a:pt x="372" y="90"/>
                </a:lnTo>
                <a:lnTo>
                  <a:pt x="372" y="96"/>
                </a:lnTo>
                <a:lnTo>
                  <a:pt x="372" y="102"/>
                </a:lnTo>
                <a:lnTo>
                  <a:pt x="372" y="108"/>
                </a:lnTo>
                <a:lnTo>
                  <a:pt x="372" y="108"/>
                </a:lnTo>
                <a:lnTo>
                  <a:pt x="366" y="108"/>
                </a:lnTo>
                <a:lnTo>
                  <a:pt x="366" y="108"/>
                </a:lnTo>
                <a:lnTo>
                  <a:pt x="366" y="108"/>
                </a:lnTo>
                <a:lnTo>
                  <a:pt x="366" y="114"/>
                </a:lnTo>
                <a:lnTo>
                  <a:pt x="366" y="114"/>
                </a:lnTo>
                <a:lnTo>
                  <a:pt x="366" y="120"/>
                </a:lnTo>
                <a:lnTo>
                  <a:pt x="366" y="120"/>
                </a:lnTo>
                <a:lnTo>
                  <a:pt x="360" y="120"/>
                </a:lnTo>
                <a:lnTo>
                  <a:pt x="360" y="120"/>
                </a:lnTo>
                <a:lnTo>
                  <a:pt x="360" y="120"/>
                </a:lnTo>
                <a:lnTo>
                  <a:pt x="360" y="120"/>
                </a:lnTo>
                <a:lnTo>
                  <a:pt x="360" y="126"/>
                </a:lnTo>
                <a:lnTo>
                  <a:pt x="354" y="126"/>
                </a:lnTo>
                <a:lnTo>
                  <a:pt x="354" y="126"/>
                </a:lnTo>
                <a:lnTo>
                  <a:pt x="354" y="132"/>
                </a:lnTo>
                <a:lnTo>
                  <a:pt x="354" y="132"/>
                </a:lnTo>
                <a:lnTo>
                  <a:pt x="354" y="132"/>
                </a:lnTo>
                <a:lnTo>
                  <a:pt x="360" y="132"/>
                </a:lnTo>
                <a:lnTo>
                  <a:pt x="360" y="138"/>
                </a:lnTo>
                <a:lnTo>
                  <a:pt x="360" y="138"/>
                </a:lnTo>
                <a:lnTo>
                  <a:pt x="360" y="138"/>
                </a:lnTo>
                <a:lnTo>
                  <a:pt x="354" y="144"/>
                </a:lnTo>
                <a:lnTo>
                  <a:pt x="354" y="144"/>
                </a:lnTo>
                <a:lnTo>
                  <a:pt x="354" y="144"/>
                </a:lnTo>
                <a:lnTo>
                  <a:pt x="354" y="144"/>
                </a:lnTo>
                <a:lnTo>
                  <a:pt x="354" y="150"/>
                </a:lnTo>
                <a:lnTo>
                  <a:pt x="354" y="150"/>
                </a:lnTo>
                <a:lnTo>
                  <a:pt x="354" y="150"/>
                </a:lnTo>
                <a:lnTo>
                  <a:pt x="354" y="150"/>
                </a:lnTo>
                <a:lnTo>
                  <a:pt x="354" y="156"/>
                </a:lnTo>
                <a:lnTo>
                  <a:pt x="354" y="156"/>
                </a:lnTo>
                <a:lnTo>
                  <a:pt x="354" y="156"/>
                </a:lnTo>
                <a:lnTo>
                  <a:pt x="354" y="162"/>
                </a:lnTo>
                <a:lnTo>
                  <a:pt x="354" y="162"/>
                </a:lnTo>
                <a:lnTo>
                  <a:pt x="348" y="162"/>
                </a:lnTo>
                <a:lnTo>
                  <a:pt x="354" y="168"/>
                </a:lnTo>
                <a:lnTo>
                  <a:pt x="354" y="168"/>
                </a:lnTo>
                <a:lnTo>
                  <a:pt x="354" y="174"/>
                </a:lnTo>
                <a:lnTo>
                  <a:pt x="354" y="174"/>
                </a:lnTo>
                <a:lnTo>
                  <a:pt x="354" y="180"/>
                </a:lnTo>
                <a:lnTo>
                  <a:pt x="354" y="180"/>
                </a:lnTo>
                <a:lnTo>
                  <a:pt x="354" y="180"/>
                </a:lnTo>
                <a:lnTo>
                  <a:pt x="354" y="186"/>
                </a:lnTo>
                <a:lnTo>
                  <a:pt x="354" y="186"/>
                </a:lnTo>
                <a:lnTo>
                  <a:pt x="348" y="186"/>
                </a:lnTo>
                <a:lnTo>
                  <a:pt x="348" y="186"/>
                </a:lnTo>
                <a:lnTo>
                  <a:pt x="348" y="186"/>
                </a:lnTo>
                <a:lnTo>
                  <a:pt x="348" y="192"/>
                </a:lnTo>
                <a:lnTo>
                  <a:pt x="348" y="192"/>
                </a:lnTo>
                <a:lnTo>
                  <a:pt x="348" y="192"/>
                </a:lnTo>
                <a:lnTo>
                  <a:pt x="348" y="198"/>
                </a:lnTo>
                <a:lnTo>
                  <a:pt x="348" y="198"/>
                </a:lnTo>
                <a:lnTo>
                  <a:pt x="348" y="198"/>
                </a:lnTo>
                <a:lnTo>
                  <a:pt x="348" y="198"/>
                </a:lnTo>
                <a:lnTo>
                  <a:pt x="348" y="198"/>
                </a:lnTo>
                <a:lnTo>
                  <a:pt x="348" y="204"/>
                </a:lnTo>
                <a:lnTo>
                  <a:pt x="348" y="210"/>
                </a:lnTo>
                <a:lnTo>
                  <a:pt x="342" y="210"/>
                </a:lnTo>
                <a:lnTo>
                  <a:pt x="342" y="210"/>
                </a:lnTo>
                <a:lnTo>
                  <a:pt x="342" y="210"/>
                </a:lnTo>
                <a:lnTo>
                  <a:pt x="342" y="216"/>
                </a:lnTo>
                <a:lnTo>
                  <a:pt x="342" y="216"/>
                </a:lnTo>
                <a:lnTo>
                  <a:pt x="342" y="216"/>
                </a:lnTo>
                <a:lnTo>
                  <a:pt x="336" y="222"/>
                </a:lnTo>
                <a:lnTo>
                  <a:pt x="336" y="228"/>
                </a:lnTo>
                <a:lnTo>
                  <a:pt x="336" y="228"/>
                </a:lnTo>
                <a:lnTo>
                  <a:pt x="336" y="234"/>
                </a:lnTo>
                <a:lnTo>
                  <a:pt x="336" y="234"/>
                </a:lnTo>
                <a:lnTo>
                  <a:pt x="336" y="240"/>
                </a:lnTo>
                <a:lnTo>
                  <a:pt x="336" y="240"/>
                </a:lnTo>
                <a:lnTo>
                  <a:pt x="336" y="240"/>
                </a:lnTo>
                <a:lnTo>
                  <a:pt x="336" y="240"/>
                </a:lnTo>
                <a:lnTo>
                  <a:pt x="342" y="246"/>
                </a:lnTo>
                <a:lnTo>
                  <a:pt x="342" y="246"/>
                </a:lnTo>
                <a:lnTo>
                  <a:pt x="342" y="246"/>
                </a:lnTo>
                <a:lnTo>
                  <a:pt x="342" y="246"/>
                </a:lnTo>
                <a:lnTo>
                  <a:pt x="348" y="246"/>
                </a:lnTo>
                <a:lnTo>
                  <a:pt x="348" y="246"/>
                </a:lnTo>
                <a:lnTo>
                  <a:pt x="348" y="246"/>
                </a:lnTo>
                <a:lnTo>
                  <a:pt x="348" y="252"/>
                </a:lnTo>
                <a:lnTo>
                  <a:pt x="348" y="252"/>
                </a:lnTo>
                <a:lnTo>
                  <a:pt x="348" y="252"/>
                </a:lnTo>
                <a:lnTo>
                  <a:pt x="348" y="252"/>
                </a:lnTo>
                <a:lnTo>
                  <a:pt x="348" y="252"/>
                </a:lnTo>
                <a:lnTo>
                  <a:pt x="348" y="258"/>
                </a:lnTo>
                <a:lnTo>
                  <a:pt x="348" y="258"/>
                </a:lnTo>
                <a:lnTo>
                  <a:pt x="348" y="258"/>
                </a:lnTo>
                <a:lnTo>
                  <a:pt x="348" y="264"/>
                </a:lnTo>
                <a:lnTo>
                  <a:pt x="342" y="264"/>
                </a:lnTo>
                <a:lnTo>
                  <a:pt x="342" y="264"/>
                </a:lnTo>
                <a:lnTo>
                  <a:pt x="342" y="270"/>
                </a:lnTo>
                <a:lnTo>
                  <a:pt x="342" y="270"/>
                </a:lnTo>
                <a:lnTo>
                  <a:pt x="342" y="270"/>
                </a:lnTo>
                <a:lnTo>
                  <a:pt x="342" y="276"/>
                </a:lnTo>
                <a:lnTo>
                  <a:pt x="336" y="276"/>
                </a:lnTo>
                <a:lnTo>
                  <a:pt x="336" y="276"/>
                </a:lnTo>
                <a:lnTo>
                  <a:pt x="336" y="276"/>
                </a:lnTo>
                <a:lnTo>
                  <a:pt x="336" y="282"/>
                </a:lnTo>
                <a:lnTo>
                  <a:pt x="330" y="282"/>
                </a:lnTo>
                <a:lnTo>
                  <a:pt x="330" y="282"/>
                </a:lnTo>
                <a:lnTo>
                  <a:pt x="330" y="282"/>
                </a:lnTo>
                <a:lnTo>
                  <a:pt x="330" y="282"/>
                </a:lnTo>
                <a:lnTo>
                  <a:pt x="330" y="282"/>
                </a:lnTo>
                <a:lnTo>
                  <a:pt x="330" y="282"/>
                </a:lnTo>
                <a:lnTo>
                  <a:pt x="330" y="294"/>
                </a:lnTo>
                <a:lnTo>
                  <a:pt x="330" y="294"/>
                </a:lnTo>
                <a:lnTo>
                  <a:pt x="324" y="294"/>
                </a:lnTo>
                <a:lnTo>
                  <a:pt x="324" y="294"/>
                </a:lnTo>
                <a:lnTo>
                  <a:pt x="324" y="300"/>
                </a:lnTo>
                <a:lnTo>
                  <a:pt x="324" y="300"/>
                </a:lnTo>
                <a:lnTo>
                  <a:pt x="324" y="300"/>
                </a:lnTo>
                <a:lnTo>
                  <a:pt x="324" y="300"/>
                </a:lnTo>
                <a:lnTo>
                  <a:pt x="324" y="306"/>
                </a:lnTo>
                <a:lnTo>
                  <a:pt x="324" y="306"/>
                </a:lnTo>
                <a:lnTo>
                  <a:pt x="324" y="306"/>
                </a:lnTo>
                <a:lnTo>
                  <a:pt x="330" y="306"/>
                </a:lnTo>
                <a:lnTo>
                  <a:pt x="330" y="306"/>
                </a:lnTo>
                <a:lnTo>
                  <a:pt x="324" y="306"/>
                </a:lnTo>
                <a:lnTo>
                  <a:pt x="324" y="306"/>
                </a:lnTo>
                <a:lnTo>
                  <a:pt x="324" y="312"/>
                </a:lnTo>
                <a:lnTo>
                  <a:pt x="324" y="312"/>
                </a:lnTo>
                <a:lnTo>
                  <a:pt x="324" y="312"/>
                </a:lnTo>
                <a:lnTo>
                  <a:pt x="324" y="312"/>
                </a:lnTo>
                <a:lnTo>
                  <a:pt x="324" y="312"/>
                </a:lnTo>
                <a:lnTo>
                  <a:pt x="324" y="312"/>
                </a:lnTo>
                <a:lnTo>
                  <a:pt x="324" y="312"/>
                </a:lnTo>
                <a:lnTo>
                  <a:pt x="324" y="312"/>
                </a:lnTo>
                <a:lnTo>
                  <a:pt x="324" y="318"/>
                </a:lnTo>
                <a:lnTo>
                  <a:pt x="324" y="318"/>
                </a:lnTo>
                <a:lnTo>
                  <a:pt x="324" y="324"/>
                </a:lnTo>
                <a:lnTo>
                  <a:pt x="318" y="324"/>
                </a:lnTo>
                <a:lnTo>
                  <a:pt x="318" y="324"/>
                </a:lnTo>
                <a:lnTo>
                  <a:pt x="318" y="330"/>
                </a:lnTo>
                <a:lnTo>
                  <a:pt x="318" y="330"/>
                </a:lnTo>
                <a:lnTo>
                  <a:pt x="318" y="330"/>
                </a:lnTo>
                <a:lnTo>
                  <a:pt x="318" y="330"/>
                </a:lnTo>
                <a:lnTo>
                  <a:pt x="318" y="330"/>
                </a:lnTo>
                <a:lnTo>
                  <a:pt x="318" y="330"/>
                </a:lnTo>
                <a:lnTo>
                  <a:pt x="312" y="330"/>
                </a:lnTo>
                <a:lnTo>
                  <a:pt x="312" y="336"/>
                </a:lnTo>
                <a:lnTo>
                  <a:pt x="312" y="336"/>
                </a:lnTo>
                <a:lnTo>
                  <a:pt x="312" y="336"/>
                </a:lnTo>
                <a:lnTo>
                  <a:pt x="312" y="336"/>
                </a:lnTo>
                <a:lnTo>
                  <a:pt x="312" y="336"/>
                </a:lnTo>
                <a:lnTo>
                  <a:pt x="306" y="342"/>
                </a:lnTo>
                <a:lnTo>
                  <a:pt x="306" y="342"/>
                </a:lnTo>
                <a:lnTo>
                  <a:pt x="306" y="342"/>
                </a:lnTo>
                <a:lnTo>
                  <a:pt x="306" y="342"/>
                </a:lnTo>
                <a:lnTo>
                  <a:pt x="312" y="348"/>
                </a:lnTo>
                <a:lnTo>
                  <a:pt x="312" y="354"/>
                </a:lnTo>
                <a:lnTo>
                  <a:pt x="306" y="354"/>
                </a:lnTo>
                <a:lnTo>
                  <a:pt x="306" y="348"/>
                </a:lnTo>
                <a:lnTo>
                  <a:pt x="306" y="348"/>
                </a:lnTo>
                <a:lnTo>
                  <a:pt x="306" y="348"/>
                </a:lnTo>
                <a:lnTo>
                  <a:pt x="306" y="348"/>
                </a:lnTo>
                <a:lnTo>
                  <a:pt x="306" y="354"/>
                </a:lnTo>
                <a:lnTo>
                  <a:pt x="306" y="354"/>
                </a:lnTo>
                <a:lnTo>
                  <a:pt x="306" y="354"/>
                </a:lnTo>
                <a:lnTo>
                  <a:pt x="306" y="354"/>
                </a:lnTo>
                <a:lnTo>
                  <a:pt x="306" y="354"/>
                </a:lnTo>
                <a:lnTo>
                  <a:pt x="306" y="354"/>
                </a:lnTo>
                <a:lnTo>
                  <a:pt x="306" y="354"/>
                </a:lnTo>
                <a:lnTo>
                  <a:pt x="306" y="360"/>
                </a:lnTo>
                <a:lnTo>
                  <a:pt x="306" y="360"/>
                </a:lnTo>
                <a:lnTo>
                  <a:pt x="306" y="360"/>
                </a:lnTo>
                <a:lnTo>
                  <a:pt x="306" y="360"/>
                </a:lnTo>
                <a:lnTo>
                  <a:pt x="306" y="366"/>
                </a:lnTo>
                <a:lnTo>
                  <a:pt x="306" y="366"/>
                </a:lnTo>
                <a:lnTo>
                  <a:pt x="306" y="366"/>
                </a:lnTo>
                <a:lnTo>
                  <a:pt x="306" y="366"/>
                </a:lnTo>
                <a:lnTo>
                  <a:pt x="306" y="366"/>
                </a:lnTo>
                <a:lnTo>
                  <a:pt x="306" y="366"/>
                </a:lnTo>
                <a:lnTo>
                  <a:pt x="306" y="372"/>
                </a:lnTo>
                <a:lnTo>
                  <a:pt x="306" y="372"/>
                </a:lnTo>
                <a:lnTo>
                  <a:pt x="306" y="372"/>
                </a:lnTo>
                <a:lnTo>
                  <a:pt x="306" y="372"/>
                </a:lnTo>
                <a:lnTo>
                  <a:pt x="312" y="372"/>
                </a:lnTo>
                <a:lnTo>
                  <a:pt x="306" y="372"/>
                </a:lnTo>
                <a:lnTo>
                  <a:pt x="312" y="372"/>
                </a:lnTo>
                <a:lnTo>
                  <a:pt x="306" y="372"/>
                </a:lnTo>
                <a:lnTo>
                  <a:pt x="306" y="378"/>
                </a:lnTo>
                <a:lnTo>
                  <a:pt x="312" y="378"/>
                </a:lnTo>
                <a:lnTo>
                  <a:pt x="312" y="378"/>
                </a:lnTo>
                <a:lnTo>
                  <a:pt x="312" y="384"/>
                </a:lnTo>
                <a:lnTo>
                  <a:pt x="312" y="384"/>
                </a:lnTo>
                <a:lnTo>
                  <a:pt x="312" y="384"/>
                </a:lnTo>
                <a:lnTo>
                  <a:pt x="312" y="384"/>
                </a:lnTo>
                <a:lnTo>
                  <a:pt x="312" y="390"/>
                </a:lnTo>
                <a:lnTo>
                  <a:pt x="312" y="390"/>
                </a:lnTo>
                <a:lnTo>
                  <a:pt x="312" y="390"/>
                </a:lnTo>
                <a:lnTo>
                  <a:pt x="312" y="390"/>
                </a:lnTo>
                <a:lnTo>
                  <a:pt x="312" y="390"/>
                </a:lnTo>
                <a:lnTo>
                  <a:pt x="312" y="390"/>
                </a:lnTo>
                <a:lnTo>
                  <a:pt x="306" y="396"/>
                </a:lnTo>
                <a:lnTo>
                  <a:pt x="306" y="396"/>
                </a:lnTo>
                <a:lnTo>
                  <a:pt x="306" y="396"/>
                </a:lnTo>
                <a:lnTo>
                  <a:pt x="306" y="396"/>
                </a:lnTo>
                <a:lnTo>
                  <a:pt x="306" y="396"/>
                </a:lnTo>
                <a:lnTo>
                  <a:pt x="306" y="402"/>
                </a:lnTo>
                <a:lnTo>
                  <a:pt x="306" y="402"/>
                </a:lnTo>
                <a:lnTo>
                  <a:pt x="306" y="402"/>
                </a:lnTo>
                <a:lnTo>
                  <a:pt x="300" y="402"/>
                </a:lnTo>
                <a:lnTo>
                  <a:pt x="300" y="402"/>
                </a:lnTo>
                <a:lnTo>
                  <a:pt x="306" y="402"/>
                </a:lnTo>
                <a:lnTo>
                  <a:pt x="306" y="402"/>
                </a:lnTo>
                <a:lnTo>
                  <a:pt x="300" y="408"/>
                </a:lnTo>
                <a:lnTo>
                  <a:pt x="300" y="408"/>
                </a:lnTo>
                <a:lnTo>
                  <a:pt x="300" y="408"/>
                </a:lnTo>
                <a:lnTo>
                  <a:pt x="300" y="408"/>
                </a:lnTo>
                <a:lnTo>
                  <a:pt x="300" y="414"/>
                </a:lnTo>
                <a:lnTo>
                  <a:pt x="306" y="414"/>
                </a:lnTo>
                <a:lnTo>
                  <a:pt x="300" y="414"/>
                </a:lnTo>
                <a:lnTo>
                  <a:pt x="300" y="414"/>
                </a:lnTo>
                <a:lnTo>
                  <a:pt x="300" y="420"/>
                </a:lnTo>
                <a:lnTo>
                  <a:pt x="300" y="420"/>
                </a:lnTo>
                <a:lnTo>
                  <a:pt x="300" y="420"/>
                </a:lnTo>
                <a:lnTo>
                  <a:pt x="300" y="420"/>
                </a:lnTo>
                <a:lnTo>
                  <a:pt x="300" y="426"/>
                </a:lnTo>
                <a:lnTo>
                  <a:pt x="294" y="426"/>
                </a:lnTo>
                <a:lnTo>
                  <a:pt x="294" y="426"/>
                </a:lnTo>
                <a:lnTo>
                  <a:pt x="288" y="426"/>
                </a:lnTo>
                <a:lnTo>
                  <a:pt x="288" y="426"/>
                </a:lnTo>
                <a:lnTo>
                  <a:pt x="288" y="432"/>
                </a:lnTo>
                <a:lnTo>
                  <a:pt x="288" y="432"/>
                </a:lnTo>
                <a:lnTo>
                  <a:pt x="288" y="432"/>
                </a:lnTo>
                <a:lnTo>
                  <a:pt x="288" y="438"/>
                </a:lnTo>
                <a:lnTo>
                  <a:pt x="288" y="438"/>
                </a:lnTo>
                <a:lnTo>
                  <a:pt x="288" y="438"/>
                </a:lnTo>
                <a:lnTo>
                  <a:pt x="288" y="438"/>
                </a:lnTo>
                <a:lnTo>
                  <a:pt x="288" y="438"/>
                </a:lnTo>
                <a:lnTo>
                  <a:pt x="288" y="438"/>
                </a:lnTo>
                <a:lnTo>
                  <a:pt x="288" y="444"/>
                </a:lnTo>
                <a:lnTo>
                  <a:pt x="288" y="444"/>
                </a:lnTo>
                <a:lnTo>
                  <a:pt x="288" y="444"/>
                </a:lnTo>
                <a:lnTo>
                  <a:pt x="288" y="444"/>
                </a:lnTo>
                <a:lnTo>
                  <a:pt x="288" y="444"/>
                </a:lnTo>
                <a:lnTo>
                  <a:pt x="282" y="444"/>
                </a:lnTo>
                <a:lnTo>
                  <a:pt x="282" y="444"/>
                </a:lnTo>
                <a:lnTo>
                  <a:pt x="288" y="450"/>
                </a:lnTo>
                <a:lnTo>
                  <a:pt x="282" y="450"/>
                </a:lnTo>
                <a:lnTo>
                  <a:pt x="282" y="450"/>
                </a:lnTo>
                <a:lnTo>
                  <a:pt x="282" y="450"/>
                </a:lnTo>
                <a:lnTo>
                  <a:pt x="282" y="456"/>
                </a:lnTo>
                <a:lnTo>
                  <a:pt x="276" y="456"/>
                </a:lnTo>
                <a:lnTo>
                  <a:pt x="276" y="456"/>
                </a:lnTo>
                <a:lnTo>
                  <a:pt x="276" y="456"/>
                </a:lnTo>
                <a:lnTo>
                  <a:pt x="276" y="456"/>
                </a:lnTo>
                <a:lnTo>
                  <a:pt x="276" y="462"/>
                </a:lnTo>
                <a:lnTo>
                  <a:pt x="276" y="462"/>
                </a:lnTo>
                <a:lnTo>
                  <a:pt x="276" y="462"/>
                </a:lnTo>
                <a:lnTo>
                  <a:pt x="276" y="462"/>
                </a:lnTo>
                <a:lnTo>
                  <a:pt x="276" y="462"/>
                </a:lnTo>
                <a:lnTo>
                  <a:pt x="276" y="462"/>
                </a:lnTo>
                <a:lnTo>
                  <a:pt x="276" y="462"/>
                </a:lnTo>
                <a:lnTo>
                  <a:pt x="270" y="468"/>
                </a:lnTo>
                <a:lnTo>
                  <a:pt x="270" y="462"/>
                </a:lnTo>
                <a:lnTo>
                  <a:pt x="270" y="462"/>
                </a:lnTo>
                <a:lnTo>
                  <a:pt x="270" y="468"/>
                </a:lnTo>
                <a:lnTo>
                  <a:pt x="270" y="468"/>
                </a:lnTo>
                <a:lnTo>
                  <a:pt x="270" y="468"/>
                </a:lnTo>
                <a:lnTo>
                  <a:pt x="270" y="474"/>
                </a:lnTo>
                <a:lnTo>
                  <a:pt x="264" y="474"/>
                </a:lnTo>
                <a:lnTo>
                  <a:pt x="258" y="474"/>
                </a:lnTo>
                <a:lnTo>
                  <a:pt x="258" y="480"/>
                </a:lnTo>
                <a:lnTo>
                  <a:pt x="258" y="480"/>
                </a:lnTo>
                <a:lnTo>
                  <a:pt x="258" y="480"/>
                </a:lnTo>
                <a:lnTo>
                  <a:pt x="264" y="480"/>
                </a:lnTo>
                <a:lnTo>
                  <a:pt x="264" y="480"/>
                </a:lnTo>
                <a:lnTo>
                  <a:pt x="264" y="480"/>
                </a:lnTo>
                <a:lnTo>
                  <a:pt x="258" y="480"/>
                </a:lnTo>
                <a:lnTo>
                  <a:pt x="258" y="486"/>
                </a:lnTo>
                <a:lnTo>
                  <a:pt x="258" y="486"/>
                </a:lnTo>
                <a:lnTo>
                  <a:pt x="258" y="486"/>
                </a:lnTo>
                <a:lnTo>
                  <a:pt x="252" y="492"/>
                </a:lnTo>
                <a:lnTo>
                  <a:pt x="252" y="492"/>
                </a:lnTo>
                <a:lnTo>
                  <a:pt x="246" y="492"/>
                </a:lnTo>
                <a:lnTo>
                  <a:pt x="246" y="486"/>
                </a:lnTo>
                <a:lnTo>
                  <a:pt x="240" y="486"/>
                </a:lnTo>
                <a:lnTo>
                  <a:pt x="240" y="486"/>
                </a:lnTo>
                <a:lnTo>
                  <a:pt x="240" y="486"/>
                </a:lnTo>
                <a:lnTo>
                  <a:pt x="234" y="486"/>
                </a:lnTo>
                <a:lnTo>
                  <a:pt x="234" y="486"/>
                </a:lnTo>
                <a:lnTo>
                  <a:pt x="234" y="486"/>
                </a:lnTo>
                <a:lnTo>
                  <a:pt x="234" y="480"/>
                </a:lnTo>
                <a:lnTo>
                  <a:pt x="234" y="480"/>
                </a:lnTo>
                <a:lnTo>
                  <a:pt x="228" y="480"/>
                </a:lnTo>
                <a:lnTo>
                  <a:pt x="228" y="480"/>
                </a:lnTo>
                <a:lnTo>
                  <a:pt x="222" y="480"/>
                </a:lnTo>
                <a:lnTo>
                  <a:pt x="222" y="480"/>
                </a:lnTo>
                <a:lnTo>
                  <a:pt x="222" y="480"/>
                </a:lnTo>
                <a:lnTo>
                  <a:pt x="222" y="480"/>
                </a:lnTo>
                <a:lnTo>
                  <a:pt x="216" y="480"/>
                </a:lnTo>
                <a:lnTo>
                  <a:pt x="216" y="486"/>
                </a:lnTo>
                <a:lnTo>
                  <a:pt x="216" y="486"/>
                </a:lnTo>
                <a:lnTo>
                  <a:pt x="216" y="486"/>
                </a:lnTo>
                <a:lnTo>
                  <a:pt x="216" y="486"/>
                </a:lnTo>
                <a:lnTo>
                  <a:pt x="216" y="486"/>
                </a:lnTo>
                <a:lnTo>
                  <a:pt x="216" y="486"/>
                </a:lnTo>
                <a:lnTo>
                  <a:pt x="216" y="486"/>
                </a:lnTo>
                <a:lnTo>
                  <a:pt x="210" y="486"/>
                </a:lnTo>
                <a:lnTo>
                  <a:pt x="210" y="486"/>
                </a:lnTo>
                <a:lnTo>
                  <a:pt x="210" y="486"/>
                </a:lnTo>
                <a:lnTo>
                  <a:pt x="204" y="486"/>
                </a:lnTo>
                <a:lnTo>
                  <a:pt x="204" y="486"/>
                </a:lnTo>
                <a:lnTo>
                  <a:pt x="204" y="486"/>
                </a:lnTo>
                <a:lnTo>
                  <a:pt x="204" y="486"/>
                </a:lnTo>
                <a:lnTo>
                  <a:pt x="204" y="486"/>
                </a:lnTo>
                <a:lnTo>
                  <a:pt x="204" y="486"/>
                </a:lnTo>
                <a:lnTo>
                  <a:pt x="198" y="486"/>
                </a:lnTo>
                <a:lnTo>
                  <a:pt x="198" y="486"/>
                </a:lnTo>
                <a:lnTo>
                  <a:pt x="198" y="486"/>
                </a:lnTo>
                <a:lnTo>
                  <a:pt x="192" y="492"/>
                </a:lnTo>
                <a:lnTo>
                  <a:pt x="192" y="492"/>
                </a:lnTo>
                <a:lnTo>
                  <a:pt x="186" y="498"/>
                </a:lnTo>
                <a:lnTo>
                  <a:pt x="186" y="498"/>
                </a:lnTo>
                <a:lnTo>
                  <a:pt x="192" y="498"/>
                </a:lnTo>
                <a:lnTo>
                  <a:pt x="192" y="498"/>
                </a:lnTo>
                <a:lnTo>
                  <a:pt x="186" y="498"/>
                </a:lnTo>
                <a:lnTo>
                  <a:pt x="186" y="498"/>
                </a:lnTo>
                <a:lnTo>
                  <a:pt x="186" y="492"/>
                </a:lnTo>
                <a:lnTo>
                  <a:pt x="186" y="492"/>
                </a:lnTo>
                <a:lnTo>
                  <a:pt x="186" y="486"/>
                </a:lnTo>
                <a:lnTo>
                  <a:pt x="186" y="486"/>
                </a:lnTo>
                <a:lnTo>
                  <a:pt x="186" y="480"/>
                </a:lnTo>
                <a:lnTo>
                  <a:pt x="186" y="480"/>
                </a:lnTo>
                <a:lnTo>
                  <a:pt x="186" y="480"/>
                </a:lnTo>
                <a:lnTo>
                  <a:pt x="186" y="480"/>
                </a:lnTo>
                <a:lnTo>
                  <a:pt x="186" y="480"/>
                </a:lnTo>
                <a:lnTo>
                  <a:pt x="186" y="474"/>
                </a:lnTo>
                <a:lnTo>
                  <a:pt x="186" y="474"/>
                </a:lnTo>
                <a:lnTo>
                  <a:pt x="186" y="468"/>
                </a:lnTo>
                <a:lnTo>
                  <a:pt x="180" y="462"/>
                </a:lnTo>
                <a:lnTo>
                  <a:pt x="180" y="462"/>
                </a:lnTo>
                <a:lnTo>
                  <a:pt x="180" y="462"/>
                </a:lnTo>
                <a:lnTo>
                  <a:pt x="180" y="462"/>
                </a:lnTo>
                <a:lnTo>
                  <a:pt x="180" y="462"/>
                </a:lnTo>
                <a:lnTo>
                  <a:pt x="180" y="462"/>
                </a:lnTo>
                <a:lnTo>
                  <a:pt x="180" y="456"/>
                </a:lnTo>
                <a:lnTo>
                  <a:pt x="174" y="456"/>
                </a:lnTo>
                <a:lnTo>
                  <a:pt x="174" y="456"/>
                </a:lnTo>
                <a:lnTo>
                  <a:pt x="174" y="450"/>
                </a:lnTo>
                <a:lnTo>
                  <a:pt x="174" y="450"/>
                </a:lnTo>
                <a:lnTo>
                  <a:pt x="174" y="450"/>
                </a:lnTo>
                <a:lnTo>
                  <a:pt x="168" y="450"/>
                </a:lnTo>
                <a:lnTo>
                  <a:pt x="168" y="450"/>
                </a:lnTo>
                <a:lnTo>
                  <a:pt x="168" y="450"/>
                </a:lnTo>
                <a:lnTo>
                  <a:pt x="168" y="450"/>
                </a:lnTo>
                <a:lnTo>
                  <a:pt x="168" y="450"/>
                </a:lnTo>
                <a:lnTo>
                  <a:pt x="168" y="450"/>
                </a:lnTo>
                <a:lnTo>
                  <a:pt x="168" y="450"/>
                </a:lnTo>
                <a:lnTo>
                  <a:pt x="162" y="450"/>
                </a:lnTo>
                <a:lnTo>
                  <a:pt x="162" y="450"/>
                </a:lnTo>
                <a:lnTo>
                  <a:pt x="162" y="444"/>
                </a:lnTo>
                <a:lnTo>
                  <a:pt x="162" y="450"/>
                </a:lnTo>
                <a:lnTo>
                  <a:pt x="162" y="444"/>
                </a:lnTo>
                <a:lnTo>
                  <a:pt x="162" y="444"/>
                </a:lnTo>
                <a:lnTo>
                  <a:pt x="156" y="444"/>
                </a:lnTo>
                <a:lnTo>
                  <a:pt x="156" y="450"/>
                </a:lnTo>
                <a:lnTo>
                  <a:pt x="156" y="450"/>
                </a:lnTo>
                <a:lnTo>
                  <a:pt x="156" y="444"/>
                </a:lnTo>
                <a:lnTo>
                  <a:pt x="156" y="444"/>
                </a:lnTo>
                <a:lnTo>
                  <a:pt x="156" y="444"/>
                </a:lnTo>
                <a:lnTo>
                  <a:pt x="156" y="444"/>
                </a:lnTo>
                <a:lnTo>
                  <a:pt x="156" y="444"/>
                </a:lnTo>
                <a:lnTo>
                  <a:pt x="156" y="444"/>
                </a:lnTo>
                <a:lnTo>
                  <a:pt x="156" y="444"/>
                </a:lnTo>
                <a:lnTo>
                  <a:pt x="156" y="444"/>
                </a:lnTo>
                <a:lnTo>
                  <a:pt x="156" y="444"/>
                </a:lnTo>
                <a:lnTo>
                  <a:pt x="156" y="444"/>
                </a:lnTo>
                <a:lnTo>
                  <a:pt x="156" y="444"/>
                </a:lnTo>
                <a:lnTo>
                  <a:pt x="156" y="444"/>
                </a:lnTo>
                <a:lnTo>
                  <a:pt x="156" y="444"/>
                </a:lnTo>
                <a:lnTo>
                  <a:pt x="156" y="444"/>
                </a:lnTo>
                <a:lnTo>
                  <a:pt x="156" y="438"/>
                </a:lnTo>
                <a:lnTo>
                  <a:pt x="156" y="438"/>
                </a:lnTo>
                <a:lnTo>
                  <a:pt x="156" y="438"/>
                </a:lnTo>
                <a:lnTo>
                  <a:pt x="156" y="438"/>
                </a:lnTo>
                <a:lnTo>
                  <a:pt x="156" y="438"/>
                </a:lnTo>
                <a:lnTo>
                  <a:pt x="156" y="438"/>
                </a:lnTo>
                <a:lnTo>
                  <a:pt x="156" y="438"/>
                </a:lnTo>
                <a:lnTo>
                  <a:pt x="156" y="438"/>
                </a:lnTo>
                <a:lnTo>
                  <a:pt x="156" y="432"/>
                </a:lnTo>
                <a:lnTo>
                  <a:pt x="156" y="432"/>
                </a:lnTo>
                <a:lnTo>
                  <a:pt x="156" y="432"/>
                </a:lnTo>
                <a:lnTo>
                  <a:pt x="156" y="432"/>
                </a:lnTo>
                <a:lnTo>
                  <a:pt x="156" y="432"/>
                </a:lnTo>
                <a:lnTo>
                  <a:pt x="156" y="432"/>
                </a:lnTo>
                <a:lnTo>
                  <a:pt x="156" y="426"/>
                </a:lnTo>
                <a:lnTo>
                  <a:pt x="156" y="426"/>
                </a:lnTo>
                <a:lnTo>
                  <a:pt x="156" y="426"/>
                </a:lnTo>
                <a:lnTo>
                  <a:pt x="156" y="420"/>
                </a:lnTo>
                <a:lnTo>
                  <a:pt x="156" y="420"/>
                </a:lnTo>
                <a:lnTo>
                  <a:pt x="156" y="420"/>
                </a:lnTo>
                <a:lnTo>
                  <a:pt x="156" y="420"/>
                </a:lnTo>
                <a:lnTo>
                  <a:pt x="156" y="420"/>
                </a:lnTo>
                <a:lnTo>
                  <a:pt x="156" y="414"/>
                </a:lnTo>
                <a:lnTo>
                  <a:pt x="156" y="414"/>
                </a:lnTo>
                <a:lnTo>
                  <a:pt x="156" y="414"/>
                </a:lnTo>
                <a:lnTo>
                  <a:pt x="156" y="414"/>
                </a:lnTo>
                <a:lnTo>
                  <a:pt x="156" y="414"/>
                </a:lnTo>
                <a:lnTo>
                  <a:pt x="156" y="414"/>
                </a:lnTo>
                <a:lnTo>
                  <a:pt x="156" y="414"/>
                </a:lnTo>
                <a:lnTo>
                  <a:pt x="156" y="408"/>
                </a:lnTo>
                <a:lnTo>
                  <a:pt x="156" y="408"/>
                </a:lnTo>
                <a:lnTo>
                  <a:pt x="156" y="408"/>
                </a:lnTo>
                <a:lnTo>
                  <a:pt x="156" y="408"/>
                </a:lnTo>
                <a:lnTo>
                  <a:pt x="156" y="408"/>
                </a:lnTo>
                <a:lnTo>
                  <a:pt x="156" y="402"/>
                </a:lnTo>
                <a:lnTo>
                  <a:pt x="156" y="402"/>
                </a:lnTo>
                <a:lnTo>
                  <a:pt x="156" y="402"/>
                </a:lnTo>
                <a:lnTo>
                  <a:pt x="156" y="402"/>
                </a:lnTo>
                <a:lnTo>
                  <a:pt x="156" y="402"/>
                </a:lnTo>
                <a:lnTo>
                  <a:pt x="156" y="402"/>
                </a:lnTo>
                <a:lnTo>
                  <a:pt x="156" y="402"/>
                </a:lnTo>
                <a:lnTo>
                  <a:pt x="156" y="396"/>
                </a:lnTo>
                <a:lnTo>
                  <a:pt x="156" y="396"/>
                </a:lnTo>
                <a:lnTo>
                  <a:pt x="156" y="396"/>
                </a:lnTo>
                <a:lnTo>
                  <a:pt x="156" y="396"/>
                </a:lnTo>
                <a:lnTo>
                  <a:pt x="156" y="396"/>
                </a:lnTo>
                <a:lnTo>
                  <a:pt x="156" y="390"/>
                </a:lnTo>
                <a:lnTo>
                  <a:pt x="162" y="390"/>
                </a:lnTo>
                <a:lnTo>
                  <a:pt x="156" y="390"/>
                </a:lnTo>
                <a:lnTo>
                  <a:pt x="156" y="390"/>
                </a:lnTo>
                <a:lnTo>
                  <a:pt x="156" y="390"/>
                </a:lnTo>
                <a:lnTo>
                  <a:pt x="156" y="390"/>
                </a:lnTo>
                <a:lnTo>
                  <a:pt x="162" y="390"/>
                </a:lnTo>
                <a:lnTo>
                  <a:pt x="162" y="390"/>
                </a:lnTo>
                <a:lnTo>
                  <a:pt x="162" y="390"/>
                </a:lnTo>
                <a:lnTo>
                  <a:pt x="162" y="390"/>
                </a:lnTo>
                <a:lnTo>
                  <a:pt x="162" y="384"/>
                </a:lnTo>
                <a:lnTo>
                  <a:pt x="162" y="384"/>
                </a:lnTo>
                <a:lnTo>
                  <a:pt x="162" y="384"/>
                </a:lnTo>
                <a:lnTo>
                  <a:pt x="162" y="384"/>
                </a:lnTo>
                <a:lnTo>
                  <a:pt x="162" y="384"/>
                </a:lnTo>
                <a:lnTo>
                  <a:pt x="162" y="384"/>
                </a:lnTo>
                <a:lnTo>
                  <a:pt x="162" y="384"/>
                </a:lnTo>
                <a:lnTo>
                  <a:pt x="168" y="384"/>
                </a:lnTo>
                <a:lnTo>
                  <a:pt x="168" y="384"/>
                </a:lnTo>
                <a:lnTo>
                  <a:pt x="162" y="378"/>
                </a:lnTo>
                <a:lnTo>
                  <a:pt x="168" y="378"/>
                </a:lnTo>
                <a:lnTo>
                  <a:pt x="168" y="378"/>
                </a:lnTo>
                <a:lnTo>
                  <a:pt x="168" y="378"/>
                </a:lnTo>
                <a:lnTo>
                  <a:pt x="168" y="378"/>
                </a:lnTo>
                <a:lnTo>
                  <a:pt x="168" y="378"/>
                </a:lnTo>
                <a:lnTo>
                  <a:pt x="168" y="378"/>
                </a:lnTo>
                <a:lnTo>
                  <a:pt x="168" y="378"/>
                </a:lnTo>
                <a:lnTo>
                  <a:pt x="162" y="378"/>
                </a:lnTo>
                <a:lnTo>
                  <a:pt x="168" y="372"/>
                </a:lnTo>
                <a:lnTo>
                  <a:pt x="168" y="372"/>
                </a:lnTo>
                <a:lnTo>
                  <a:pt x="168" y="372"/>
                </a:lnTo>
                <a:lnTo>
                  <a:pt x="168" y="372"/>
                </a:lnTo>
                <a:lnTo>
                  <a:pt x="168" y="372"/>
                </a:lnTo>
                <a:lnTo>
                  <a:pt x="168" y="372"/>
                </a:lnTo>
                <a:lnTo>
                  <a:pt x="168" y="372"/>
                </a:lnTo>
                <a:lnTo>
                  <a:pt x="168" y="372"/>
                </a:lnTo>
                <a:lnTo>
                  <a:pt x="168" y="372"/>
                </a:lnTo>
                <a:lnTo>
                  <a:pt x="168" y="372"/>
                </a:lnTo>
                <a:lnTo>
                  <a:pt x="168" y="366"/>
                </a:lnTo>
                <a:lnTo>
                  <a:pt x="168" y="366"/>
                </a:lnTo>
                <a:lnTo>
                  <a:pt x="168" y="366"/>
                </a:lnTo>
                <a:lnTo>
                  <a:pt x="168" y="366"/>
                </a:lnTo>
                <a:lnTo>
                  <a:pt x="168" y="366"/>
                </a:lnTo>
                <a:lnTo>
                  <a:pt x="168" y="366"/>
                </a:lnTo>
                <a:lnTo>
                  <a:pt x="168" y="366"/>
                </a:lnTo>
                <a:lnTo>
                  <a:pt x="168" y="366"/>
                </a:lnTo>
                <a:lnTo>
                  <a:pt x="168" y="366"/>
                </a:lnTo>
                <a:lnTo>
                  <a:pt x="168" y="360"/>
                </a:lnTo>
                <a:lnTo>
                  <a:pt x="168" y="360"/>
                </a:lnTo>
                <a:lnTo>
                  <a:pt x="168" y="360"/>
                </a:lnTo>
                <a:lnTo>
                  <a:pt x="168" y="360"/>
                </a:lnTo>
                <a:lnTo>
                  <a:pt x="168" y="360"/>
                </a:lnTo>
                <a:lnTo>
                  <a:pt x="168" y="360"/>
                </a:lnTo>
                <a:lnTo>
                  <a:pt x="168" y="360"/>
                </a:lnTo>
                <a:lnTo>
                  <a:pt x="168" y="354"/>
                </a:lnTo>
                <a:lnTo>
                  <a:pt x="168" y="354"/>
                </a:lnTo>
                <a:lnTo>
                  <a:pt x="162" y="354"/>
                </a:lnTo>
                <a:lnTo>
                  <a:pt x="162" y="354"/>
                </a:lnTo>
                <a:lnTo>
                  <a:pt x="168" y="354"/>
                </a:lnTo>
                <a:lnTo>
                  <a:pt x="168" y="354"/>
                </a:lnTo>
                <a:lnTo>
                  <a:pt x="168" y="354"/>
                </a:lnTo>
                <a:lnTo>
                  <a:pt x="168" y="354"/>
                </a:lnTo>
                <a:lnTo>
                  <a:pt x="162" y="354"/>
                </a:lnTo>
                <a:lnTo>
                  <a:pt x="168" y="348"/>
                </a:lnTo>
                <a:lnTo>
                  <a:pt x="162" y="348"/>
                </a:lnTo>
                <a:lnTo>
                  <a:pt x="162" y="348"/>
                </a:lnTo>
                <a:lnTo>
                  <a:pt x="162" y="348"/>
                </a:lnTo>
                <a:lnTo>
                  <a:pt x="162" y="348"/>
                </a:lnTo>
                <a:lnTo>
                  <a:pt x="162" y="348"/>
                </a:lnTo>
                <a:lnTo>
                  <a:pt x="162" y="348"/>
                </a:lnTo>
                <a:lnTo>
                  <a:pt x="168" y="342"/>
                </a:lnTo>
                <a:lnTo>
                  <a:pt x="162" y="342"/>
                </a:lnTo>
                <a:lnTo>
                  <a:pt x="162" y="342"/>
                </a:lnTo>
                <a:lnTo>
                  <a:pt x="162" y="342"/>
                </a:lnTo>
                <a:lnTo>
                  <a:pt x="162" y="342"/>
                </a:lnTo>
                <a:lnTo>
                  <a:pt x="162" y="342"/>
                </a:lnTo>
                <a:lnTo>
                  <a:pt x="162" y="342"/>
                </a:lnTo>
                <a:lnTo>
                  <a:pt x="162" y="342"/>
                </a:lnTo>
                <a:lnTo>
                  <a:pt x="162" y="342"/>
                </a:lnTo>
                <a:lnTo>
                  <a:pt x="162" y="342"/>
                </a:lnTo>
                <a:lnTo>
                  <a:pt x="162" y="342"/>
                </a:lnTo>
                <a:lnTo>
                  <a:pt x="162" y="342"/>
                </a:lnTo>
                <a:lnTo>
                  <a:pt x="162" y="336"/>
                </a:lnTo>
                <a:lnTo>
                  <a:pt x="162" y="336"/>
                </a:lnTo>
                <a:lnTo>
                  <a:pt x="162" y="342"/>
                </a:lnTo>
                <a:lnTo>
                  <a:pt x="162" y="336"/>
                </a:lnTo>
                <a:lnTo>
                  <a:pt x="162" y="342"/>
                </a:lnTo>
                <a:lnTo>
                  <a:pt x="162" y="336"/>
                </a:lnTo>
                <a:lnTo>
                  <a:pt x="162" y="336"/>
                </a:lnTo>
                <a:lnTo>
                  <a:pt x="162" y="342"/>
                </a:lnTo>
                <a:lnTo>
                  <a:pt x="156" y="336"/>
                </a:lnTo>
                <a:lnTo>
                  <a:pt x="156" y="336"/>
                </a:lnTo>
                <a:lnTo>
                  <a:pt x="156" y="336"/>
                </a:lnTo>
                <a:lnTo>
                  <a:pt x="156" y="336"/>
                </a:lnTo>
                <a:lnTo>
                  <a:pt x="156" y="336"/>
                </a:lnTo>
                <a:lnTo>
                  <a:pt x="156" y="336"/>
                </a:lnTo>
                <a:lnTo>
                  <a:pt x="156" y="336"/>
                </a:lnTo>
                <a:lnTo>
                  <a:pt x="156" y="336"/>
                </a:lnTo>
                <a:lnTo>
                  <a:pt x="156" y="336"/>
                </a:lnTo>
                <a:lnTo>
                  <a:pt x="156" y="336"/>
                </a:lnTo>
                <a:lnTo>
                  <a:pt x="156" y="336"/>
                </a:lnTo>
                <a:lnTo>
                  <a:pt x="150" y="336"/>
                </a:lnTo>
                <a:lnTo>
                  <a:pt x="156" y="336"/>
                </a:lnTo>
                <a:lnTo>
                  <a:pt x="150" y="330"/>
                </a:lnTo>
                <a:lnTo>
                  <a:pt x="150" y="336"/>
                </a:lnTo>
                <a:lnTo>
                  <a:pt x="150" y="330"/>
                </a:lnTo>
                <a:lnTo>
                  <a:pt x="150" y="330"/>
                </a:lnTo>
                <a:lnTo>
                  <a:pt x="150" y="330"/>
                </a:lnTo>
                <a:lnTo>
                  <a:pt x="150" y="330"/>
                </a:lnTo>
                <a:lnTo>
                  <a:pt x="150" y="330"/>
                </a:lnTo>
                <a:lnTo>
                  <a:pt x="150" y="330"/>
                </a:lnTo>
                <a:lnTo>
                  <a:pt x="150" y="330"/>
                </a:lnTo>
                <a:lnTo>
                  <a:pt x="150" y="330"/>
                </a:lnTo>
                <a:lnTo>
                  <a:pt x="150" y="324"/>
                </a:lnTo>
                <a:lnTo>
                  <a:pt x="150" y="324"/>
                </a:lnTo>
                <a:lnTo>
                  <a:pt x="150" y="324"/>
                </a:lnTo>
                <a:lnTo>
                  <a:pt x="150" y="324"/>
                </a:lnTo>
                <a:lnTo>
                  <a:pt x="150" y="324"/>
                </a:lnTo>
                <a:lnTo>
                  <a:pt x="150" y="324"/>
                </a:lnTo>
                <a:lnTo>
                  <a:pt x="150" y="324"/>
                </a:lnTo>
                <a:lnTo>
                  <a:pt x="150" y="324"/>
                </a:lnTo>
                <a:lnTo>
                  <a:pt x="150" y="324"/>
                </a:lnTo>
                <a:lnTo>
                  <a:pt x="150" y="318"/>
                </a:lnTo>
                <a:lnTo>
                  <a:pt x="156" y="318"/>
                </a:lnTo>
                <a:lnTo>
                  <a:pt x="156" y="318"/>
                </a:lnTo>
                <a:lnTo>
                  <a:pt x="156" y="318"/>
                </a:lnTo>
                <a:lnTo>
                  <a:pt x="156" y="318"/>
                </a:lnTo>
                <a:lnTo>
                  <a:pt x="150" y="318"/>
                </a:lnTo>
                <a:lnTo>
                  <a:pt x="156" y="318"/>
                </a:lnTo>
                <a:lnTo>
                  <a:pt x="156" y="318"/>
                </a:lnTo>
                <a:lnTo>
                  <a:pt x="156" y="318"/>
                </a:lnTo>
                <a:lnTo>
                  <a:pt x="156" y="318"/>
                </a:lnTo>
                <a:lnTo>
                  <a:pt x="156" y="312"/>
                </a:lnTo>
                <a:lnTo>
                  <a:pt x="156" y="312"/>
                </a:lnTo>
                <a:lnTo>
                  <a:pt x="156" y="318"/>
                </a:lnTo>
                <a:lnTo>
                  <a:pt x="156" y="312"/>
                </a:lnTo>
                <a:lnTo>
                  <a:pt x="156" y="312"/>
                </a:lnTo>
                <a:lnTo>
                  <a:pt x="156" y="312"/>
                </a:lnTo>
                <a:lnTo>
                  <a:pt x="156" y="312"/>
                </a:lnTo>
                <a:lnTo>
                  <a:pt x="156" y="312"/>
                </a:lnTo>
                <a:lnTo>
                  <a:pt x="156" y="312"/>
                </a:lnTo>
                <a:lnTo>
                  <a:pt x="156" y="312"/>
                </a:lnTo>
                <a:lnTo>
                  <a:pt x="156" y="312"/>
                </a:lnTo>
                <a:lnTo>
                  <a:pt x="156" y="312"/>
                </a:lnTo>
                <a:lnTo>
                  <a:pt x="156" y="312"/>
                </a:lnTo>
                <a:lnTo>
                  <a:pt x="156" y="312"/>
                </a:lnTo>
                <a:lnTo>
                  <a:pt x="156" y="306"/>
                </a:lnTo>
                <a:lnTo>
                  <a:pt x="156" y="306"/>
                </a:lnTo>
                <a:lnTo>
                  <a:pt x="156" y="306"/>
                </a:lnTo>
                <a:lnTo>
                  <a:pt x="156" y="306"/>
                </a:lnTo>
                <a:lnTo>
                  <a:pt x="156" y="306"/>
                </a:lnTo>
                <a:lnTo>
                  <a:pt x="156" y="306"/>
                </a:lnTo>
                <a:lnTo>
                  <a:pt x="156" y="306"/>
                </a:lnTo>
                <a:lnTo>
                  <a:pt x="156" y="300"/>
                </a:lnTo>
                <a:lnTo>
                  <a:pt x="156" y="300"/>
                </a:lnTo>
                <a:lnTo>
                  <a:pt x="156" y="300"/>
                </a:lnTo>
                <a:lnTo>
                  <a:pt x="156" y="300"/>
                </a:lnTo>
                <a:lnTo>
                  <a:pt x="150" y="300"/>
                </a:lnTo>
                <a:lnTo>
                  <a:pt x="156" y="300"/>
                </a:lnTo>
                <a:lnTo>
                  <a:pt x="156" y="300"/>
                </a:lnTo>
                <a:lnTo>
                  <a:pt x="156" y="300"/>
                </a:lnTo>
                <a:lnTo>
                  <a:pt x="156" y="300"/>
                </a:lnTo>
                <a:lnTo>
                  <a:pt x="156" y="300"/>
                </a:lnTo>
                <a:lnTo>
                  <a:pt x="150" y="300"/>
                </a:lnTo>
                <a:lnTo>
                  <a:pt x="150" y="300"/>
                </a:lnTo>
                <a:lnTo>
                  <a:pt x="150" y="300"/>
                </a:lnTo>
                <a:lnTo>
                  <a:pt x="150" y="294"/>
                </a:lnTo>
                <a:lnTo>
                  <a:pt x="150" y="300"/>
                </a:lnTo>
                <a:lnTo>
                  <a:pt x="150" y="294"/>
                </a:lnTo>
                <a:lnTo>
                  <a:pt x="150" y="294"/>
                </a:lnTo>
                <a:lnTo>
                  <a:pt x="150" y="294"/>
                </a:lnTo>
                <a:lnTo>
                  <a:pt x="150" y="294"/>
                </a:lnTo>
                <a:lnTo>
                  <a:pt x="144" y="294"/>
                </a:lnTo>
                <a:lnTo>
                  <a:pt x="144" y="294"/>
                </a:lnTo>
                <a:lnTo>
                  <a:pt x="144" y="288"/>
                </a:lnTo>
                <a:lnTo>
                  <a:pt x="144" y="288"/>
                </a:lnTo>
                <a:lnTo>
                  <a:pt x="144" y="288"/>
                </a:lnTo>
                <a:lnTo>
                  <a:pt x="144" y="288"/>
                </a:lnTo>
                <a:lnTo>
                  <a:pt x="144" y="288"/>
                </a:lnTo>
                <a:lnTo>
                  <a:pt x="144" y="288"/>
                </a:lnTo>
                <a:lnTo>
                  <a:pt x="144" y="288"/>
                </a:lnTo>
                <a:lnTo>
                  <a:pt x="144" y="288"/>
                </a:lnTo>
                <a:lnTo>
                  <a:pt x="144" y="288"/>
                </a:lnTo>
                <a:lnTo>
                  <a:pt x="138" y="288"/>
                </a:lnTo>
                <a:lnTo>
                  <a:pt x="144" y="288"/>
                </a:lnTo>
                <a:lnTo>
                  <a:pt x="144" y="288"/>
                </a:lnTo>
                <a:lnTo>
                  <a:pt x="144" y="282"/>
                </a:lnTo>
                <a:lnTo>
                  <a:pt x="144" y="282"/>
                </a:lnTo>
                <a:lnTo>
                  <a:pt x="144" y="282"/>
                </a:lnTo>
                <a:lnTo>
                  <a:pt x="144" y="282"/>
                </a:lnTo>
                <a:lnTo>
                  <a:pt x="144" y="282"/>
                </a:lnTo>
                <a:lnTo>
                  <a:pt x="144" y="282"/>
                </a:lnTo>
                <a:lnTo>
                  <a:pt x="138" y="282"/>
                </a:lnTo>
                <a:lnTo>
                  <a:pt x="138" y="282"/>
                </a:lnTo>
                <a:lnTo>
                  <a:pt x="138" y="282"/>
                </a:lnTo>
                <a:lnTo>
                  <a:pt x="138" y="282"/>
                </a:lnTo>
                <a:lnTo>
                  <a:pt x="138" y="282"/>
                </a:lnTo>
                <a:lnTo>
                  <a:pt x="138" y="282"/>
                </a:lnTo>
                <a:lnTo>
                  <a:pt x="138" y="276"/>
                </a:lnTo>
                <a:lnTo>
                  <a:pt x="138" y="276"/>
                </a:lnTo>
                <a:lnTo>
                  <a:pt x="138" y="276"/>
                </a:lnTo>
                <a:lnTo>
                  <a:pt x="138" y="276"/>
                </a:lnTo>
                <a:lnTo>
                  <a:pt x="138" y="276"/>
                </a:lnTo>
                <a:lnTo>
                  <a:pt x="138" y="276"/>
                </a:lnTo>
                <a:lnTo>
                  <a:pt x="138" y="276"/>
                </a:lnTo>
                <a:lnTo>
                  <a:pt x="132" y="276"/>
                </a:lnTo>
                <a:lnTo>
                  <a:pt x="132" y="276"/>
                </a:lnTo>
                <a:lnTo>
                  <a:pt x="132" y="276"/>
                </a:lnTo>
                <a:lnTo>
                  <a:pt x="132" y="276"/>
                </a:lnTo>
                <a:lnTo>
                  <a:pt x="132" y="270"/>
                </a:lnTo>
                <a:lnTo>
                  <a:pt x="132" y="270"/>
                </a:lnTo>
                <a:lnTo>
                  <a:pt x="132" y="270"/>
                </a:lnTo>
                <a:lnTo>
                  <a:pt x="132" y="270"/>
                </a:lnTo>
                <a:lnTo>
                  <a:pt x="132" y="270"/>
                </a:lnTo>
                <a:lnTo>
                  <a:pt x="132" y="270"/>
                </a:lnTo>
                <a:lnTo>
                  <a:pt x="126" y="270"/>
                </a:lnTo>
                <a:lnTo>
                  <a:pt x="126" y="270"/>
                </a:lnTo>
                <a:lnTo>
                  <a:pt x="126" y="270"/>
                </a:lnTo>
                <a:lnTo>
                  <a:pt x="126" y="270"/>
                </a:lnTo>
                <a:lnTo>
                  <a:pt x="126" y="270"/>
                </a:lnTo>
                <a:lnTo>
                  <a:pt x="126" y="270"/>
                </a:lnTo>
                <a:lnTo>
                  <a:pt x="126" y="264"/>
                </a:lnTo>
                <a:lnTo>
                  <a:pt x="126" y="264"/>
                </a:lnTo>
                <a:lnTo>
                  <a:pt x="126" y="264"/>
                </a:lnTo>
                <a:lnTo>
                  <a:pt x="126" y="264"/>
                </a:lnTo>
                <a:lnTo>
                  <a:pt x="120" y="264"/>
                </a:lnTo>
                <a:lnTo>
                  <a:pt x="120" y="264"/>
                </a:lnTo>
                <a:lnTo>
                  <a:pt x="120" y="264"/>
                </a:lnTo>
                <a:lnTo>
                  <a:pt x="120" y="264"/>
                </a:lnTo>
                <a:lnTo>
                  <a:pt x="120" y="264"/>
                </a:lnTo>
                <a:lnTo>
                  <a:pt x="120" y="264"/>
                </a:lnTo>
                <a:lnTo>
                  <a:pt x="120" y="264"/>
                </a:lnTo>
                <a:lnTo>
                  <a:pt x="120" y="264"/>
                </a:lnTo>
                <a:lnTo>
                  <a:pt x="120" y="264"/>
                </a:lnTo>
                <a:lnTo>
                  <a:pt x="114" y="264"/>
                </a:lnTo>
                <a:lnTo>
                  <a:pt x="114" y="264"/>
                </a:lnTo>
                <a:lnTo>
                  <a:pt x="114" y="264"/>
                </a:lnTo>
                <a:lnTo>
                  <a:pt x="114" y="264"/>
                </a:lnTo>
                <a:lnTo>
                  <a:pt x="114" y="264"/>
                </a:lnTo>
                <a:lnTo>
                  <a:pt x="114" y="264"/>
                </a:lnTo>
                <a:lnTo>
                  <a:pt x="114" y="264"/>
                </a:lnTo>
                <a:lnTo>
                  <a:pt x="114" y="264"/>
                </a:lnTo>
                <a:lnTo>
                  <a:pt x="114" y="258"/>
                </a:lnTo>
                <a:lnTo>
                  <a:pt x="108" y="264"/>
                </a:lnTo>
                <a:lnTo>
                  <a:pt x="108" y="264"/>
                </a:lnTo>
                <a:lnTo>
                  <a:pt x="108" y="264"/>
                </a:lnTo>
                <a:lnTo>
                  <a:pt x="108" y="264"/>
                </a:lnTo>
                <a:lnTo>
                  <a:pt x="108" y="264"/>
                </a:lnTo>
                <a:lnTo>
                  <a:pt x="108" y="264"/>
                </a:lnTo>
                <a:lnTo>
                  <a:pt x="108" y="264"/>
                </a:lnTo>
                <a:lnTo>
                  <a:pt x="108" y="264"/>
                </a:lnTo>
                <a:lnTo>
                  <a:pt x="102" y="264"/>
                </a:lnTo>
                <a:lnTo>
                  <a:pt x="102" y="258"/>
                </a:lnTo>
                <a:lnTo>
                  <a:pt x="102" y="258"/>
                </a:lnTo>
                <a:lnTo>
                  <a:pt x="96" y="258"/>
                </a:lnTo>
                <a:lnTo>
                  <a:pt x="96" y="264"/>
                </a:lnTo>
                <a:lnTo>
                  <a:pt x="96" y="264"/>
                </a:lnTo>
                <a:lnTo>
                  <a:pt x="96" y="264"/>
                </a:lnTo>
                <a:lnTo>
                  <a:pt x="96" y="264"/>
                </a:lnTo>
                <a:lnTo>
                  <a:pt x="96" y="264"/>
                </a:lnTo>
                <a:lnTo>
                  <a:pt x="96" y="264"/>
                </a:lnTo>
                <a:lnTo>
                  <a:pt x="90" y="264"/>
                </a:lnTo>
                <a:lnTo>
                  <a:pt x="90" y="264"/>
                </a:lnTo>
                <a:lnTo>
                  <a:pt x="90" y="264"/>
                </a:lnTo>
                <a:lnTo>
                  <a:pt x="90" y="258"/>
                </a:lnTo>
                <a:lnTo>
                  <a:pt x="90" y="258"/>
                </a:lnTo>
                <a:lnTo>
                  <a:pt x="90" y="258"/>
                </a:lnTo>
                <a:lnTo>
                  <a:pt x="84" y="258"/>
                </a:lnTo>
                <a:lnTo>
                  <a:pt x="84" y="258"/>
                </a:lnTo>
                <a:lnTo>
                  <a:pt x="84" y="258"/>
                </a:lnTo>
                <a:lnTo>
                  <a:pt x="84" y="258"/>
                </a:lnTo>
                <a:lnTo>
                  <a:pt x="78" y="258"/>
                </a:lnTo>
                <a:lnTo>
                  <a:pt x="78" y="258"/>
                </a:lnTo>
                <a:lnTo>
                  <a:pt x="78" y="252"/>
                </a:lnTo>
                <a:lnTo>
                  <a:pt x="78" y="258"/>
                </a:lnTo>
                <a:lnTo>
                  <a:pt x="78" y="258"/>
                </a:lnTo>
                <a:lnTo>
                  <a:pt x="78" y="258"/>
                </a:lnTo>
                <a:lnTo>
                  <a:pt x="78" y="258"/>
                </a:lnTo>
                <a:lnTo>
                  <a:pt x="72" y="258"/>
                </a:lnTo>
                <a:lnTo>
                  <a:pt x="72" y="252"/>
                </a:lnTo>
                <a:lnTo>
                  <a:pt x="72" y="252"/>
                </a:lnTo>
                <a:lnTo>
                  <a:pt x="72" y="258"/>
                </a:lnTo>
                <a:lnTo>
                  <a:pt x="72" y="252"/>
                </a:lnTo>
                <a:lnTo>
                  <a:pt x="66" y="252"/>
                </a:lnTo>
                <a:lnTo>
                  <a:pt x="66" y="252"/>
                </a:lnTo>
                <a:lnTo>
                  <a:pt x="72" y="252"/>
                </a:lnTo>
                <a:lnTo>
                  <a:pt x="72" y="252"/>
                </a:lnTo>
                <a:lnTo>
                  <a:pt x="66" y="252"/>
                </a:lnTo>
                <a:lnTo>
                  <a:pt x="66" y="252"/>
                </a:lnTo>
                <a:lnTo>
                  <a:pt x="66" y="252"/>
                </a:lnTo>
                <a:lnTo>
                  <a:pt x="66" y="252"/>
                </a:lnTo>
                <a:lnTo>
                  <a:pt x="66" y="252"/>
                </a:lnTo>
                <a:lnTo>
                  <a:pt x="66" y="252"/>
                </a:lnTo>
                <a:lnTo>
                  <a:pt x="66" y="252"/>
                </a:lnTo>
                <a:lnTo>
                  <a:pt x="66" y="252"/>
                </a:lnTo>
                <a:lnTo>
                  <a:pt x="66" y="252"/>
                </a:lnTo>
                <a:lnTo>
                  <a:pt x="60" y="252"/>
                </a:lnTo>
                <a:lnTo>
                  <a:pt x="60" y="246"/>
                </a:lnTo>
                <a:lnTo>
                  <a:pt x="60" y="246"/>
                </a:lnTo>
                <a:lnTo>
                  <a:pt x="60" y="246"/>
                </a:lnTo>
                <a:lnTo>
                  <a:pt x="60" y="252"/>
                </a:lnTo>
                <a:lnTo>
                  <a:pt x="60" y="252"/>
                </a:lnTo>
                <a:lnTo>
                  <a:pt x="54" y="252"/>
                </a:lnTo>
                <a:lnTo>
                  <a:pt x="54" y="246"/>
                </a:lnTo>
                <a:lnTo>
                  <a:pt x="54" y="246"/>
                </a:lnTo>
                <a:lnTo>
                  <a:pt x="48" y="252"/>
                </a:lnTo>
                <a:lnTo>
                  <a:pt x="48" y="252"/>
                </a:lnTo>
                <a:lnTo>
                  <a:pt x="48" y="252"/>
                </a:lnTo>
                <a:lnTo>
                  <a:pt x="48" y="252"/>
                </a:lnTo>
                <a:lnTo>
                  <a:pt x="48" y="252"/>
                </a:lnTo>
                <a:lnTo>
                  <a:pt x="48" y="246"/>
                </a:lnTo>
                <a:lnTo>
                  <a:pt x="48" y="246"/>
                </a:lnTo>
                <a:lnTo>
                  <a:pt x="48" y="246"/>
                </a:lnTo>
                <a:lnTo>
                  <a:pt x="48" y="240"/>
                </a:lnTo>
                <a:lnTo>
                  <a:pt x="48" y="240"/>
                </a:lnTo>
                <a:lnTo>
                  <a:pt x="48" y="240"/>
                </a:lnTo>
                <a:lnTo>
                  <a:pt x="48" y="240"/>
                </a:lnTo>
                <a:lnTo>
                  <a:pt x="42" y="240"/>
                </a:lnTo>
                <a:lnTo>
                  <a:pt x="42" y="240"/>
                </a:lnTo>
                <a:lnTo>
                  <a:pt x="42" y="240"/>
                </a:lnTo>
                <a:lnTo>
                  <a:pt x="42" y="240"/>
                </a:lnTo>
                <a:lnTo>
                  <a:pt x="42" y="240"/>
                </a:lnTo>
                <a:lnTo>
                  <a:pt x="42" y="240"/>
                </a:lnTo>
                <a:lnTo>
                  <a:pt x="36" y="240"/>
                </a:lnTo>
                <a:lnTo>
                  <a:pt x="36" y="234"/>
                </a:lnTo>
                <a:lnTo>
                  <a:pt x="36" y="234"/>
                </a:lnTo>
                <a:lnTo>
                  <a:pt x="36" y="234"/>
                </a:lnTo>
                <a:lnTo>
                  <a:pt x="36" y="234"/>
                </a:lnTo>
                <a:lnTo>
                  <a:pt x="36" y="234"/>
                </a:lnTo>
                <a:lnTo>
                  <a:pt x="36" y="228"/>
                </a:lnTo>
                <a:lnTo>
                  <a:pt x="36" y="228"/>
                </a:lnTo>
                <a:lnTo>
                  <a:pt x="30" y="234"/>
                </a:lnTo>
                <a:lnTo>
                  <a:pt x="30" y="234"/>
                </a:lnTo>
                <a:lnTo>
                  <a:pt x="30" y="234"/>
                </a:lnTo>
                <a:lnTo>
                  <a:pt x="30" y="228"/>
                </a:lnTo>
                <a:lnTo>
                  <a:pt x="30" y="228"/>
                </a:lnTo>
                <a:lnTo>
                  <a:pt x="30" y="228"/>
                </a:lnTo>
                <a:lnTo>
                  <a:pt x="30" y="228"/>
                </a:lnTo>
                <a:lnTo>
                  <a:pt x="30" y="222"/>
                </a:lnTo>
                <a:lnTo>
                  <a:pt x="30" y="222"/>
                </a:lnTo>
                <a:lnTo>
                  <a:pt x="30" y="228"/>
                </a:lnTo>
                <a:lnTo>
                  <a:pt x="30" y="228"/>
                </a:lnTo>
                <a:lnTo>
                  <a:pt x="30" y="222"/>
                </a:lnTo>
                <a:lnTo>
                  <a:pt x="30" y="222"/>
                </a:lnTo>
                <a:lnTo>
                  <a:pt x="30" y="222"/>
                </a:lnTo>
                <a:lnTo>
                  <a:pt x="30" y="222"/>
                </a:lnTo>
                <a:lnTo>
                  <a:pt x="30" y="222"/>
                </a:lnTo>
                <a:lnTo>
                  <a:pt x="24" y="222"/>
                </a:lnTo>
                <a:lnTo>
                  <a:pt x="24" y="222"/>
                </a:lnTo>
                <a:lnTo>
                  <a:pt x="24" y="222"/>
                </a:lnTo>
                <a:lnTo>
                  <a:pt x="24" y="222"/>
                </a:lnTo>
                <a:lnTo>
                  <a:pt x="24" y="222"/>
                </a:lnTo>
                <a:lnTo>
                  <a:pt x="24" y="216"/>
                </a:lnTo>
                <a:lnTo>
                  <a:pt x="24" y="216"/>
                </a:lnTo>
                <a:lnTo>
                  <a:pt x="24" y="216"/>
                </a:lnTo>
                <a:lnTo>
                  <a:pt x="24" y="216"/>
                </a:lnTo>
                <a:lnTo>
                  <a:pt x="18" y="216"/>
                </a:lnTo>
                <a:lnTo>
                  <a:pt x="18" y="216"/>
                </a:lnTo>
                <a:lnTo>
                  <a:pt x="18" y="216"/>
                </a:lnTo>
                <a:lnTo>
                  <a:pt x="18" y="210"/>
                </a:lnTo>
                <a:lnTo>
                  <a:pt x="18" y="210"/>
                </a:lnTo>
                <a:lnTo>
                  <a:pt x="18" y="210"/>
                </a:lnTo>
                <a:lnTo>
                  <a:pt x="18" y="210"/>
                </a:lnTo>
                <a:lnTo>
                  <a:pt x="18" y="210"/>
                </a:lnTo>
                <a:lnTo>
                  <a:pt x="12" y="210"/>
                </a:lnTo>
                <a:lnTo>
                  <a:pt x="12" y="210"/>
                </a:lnTo>
                <a:lnTo>
                  <a:pt x="12" y="210"/>
                </a:lnTo>
                <a:lnTo>
                  <a:pt x="12" y="210"/>
                </a:lnTo>
                <a:lnTo>
                  <a:pt x="12" y="204"/>
                </a:lnTo>
                <a:lnTo>
                  <a:pt x="12" y="204"/>
                </a:lnTo>
                <a:lnTo>
                  <a:pt x="12" y="204"/>
                </a:lnTo>
                <a:lnTo>
                  <a:pt x="12" y="204"/>
                </a:lnTo>
                <a:lnTo>
                  <a:pt x="12" y="210"/>
                </a:lnTo>
                <a:lnTo>
                  <a:pt x="12" y="210"/>
                </a:lnTo>
                <a:lnTo>
                  <a:pt x="12" y="204"/>
                </a:lnTo>
                <a:lnTo>
                  <a:pt x="12" y="204"/>
                </a:lnTo>
                <a:lnTo>
                  <a:pt x="12" y="204"/>
                </a:lnTo>
                <a:lnTo>
                  <a:pt x="12" y="204"/>
                </a:lnTo>
                <a:lnTo>
                  <a:pt x="12" y="204"/>
                </a:lnTo>
                <a:lnTo>
                  <a:pt x="12" y="204"/>
                </a:lnTo>
                <a:lnTo>
                  <a:pt x="12" y="204"/>
                </a:lnTo>
                <a:lnTo>
                  <a:pt x="12" y="198"/>
                </a:lnTo>
                <a:lnTo>
                  <a:pt x="12" y="198"/>
                </a:lnTo>
                <a:lnTo>
                  <a:pt x="12" y="198"/>
                </a:lnTo>
                <a:lnTo>
                  <a:pt x="12" y="192"/>
                </a:lnTo>
                <a:lnTo>
                  <a:pt x="12" y="192"/>
                </a:lnTo>
                <a:lnTo>
                  <a:pt x="6" y="186"/>
                </a:lnTo>
                <a:lnTo>
                  <a:pt x="6" y="186"/>
                </a:lnTo>
                <a:lnTo>
                  <a:pt x="6" y="186"/>
                </a:lnTo>
                <a:lnTo>
                  <a:pt x="6" y="180"/>
                </a:lnTo>
                <a:lnTo>
                  <a:pt x="6" y="180"/>
                </a:lnTo>
                <a:lnTo>
                  <a:pt x="6" y="180"/>
                </a:lnTo>
                <a:lnTo>
                  <a:pt x="6" y="180"/>
                </a:lnTo>
                <a:lnTo>
                  <a:pt x="6" y="180"/>
                </a:lnTo>
                <a:lnTo>
                  <a:pt x="6" y="174"/>
                </a:lnTo>
                <a:lnTo>
                  <a:pt x="6" y="174"/>
                </a:lnTo>
                <a:lnTo>
                  <a:pt x="6" y="174"/>
                </a:lnTo>
                <a:lnTo>
                  <a:pt x="0" y="174"/>
                </a:lnTo>
                <a:lnTo>
                  <a:pt x="0" y="168"/>
                </a:lnTo>
                <a:lnTo>
                  <a:pt x="0" y="16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78" name="Freeform 511"/>
          <p:cNvSpPr>
            <a:spLocks/>
          </p:cNvSpPr>
          <p:nvPr/>
        </p:nvSpPr>
        <p:spPr bwMode="auto">
          <a:xfrm>
            <a:off x="5631285" y="3075028"/>
            <a:ext cx="192721" cy="141330"/>
          </a:xfrm>
          <a:custGeom>
            <a:avLst/>
            <a:gdLst>
              <a:gd name="T0" fmla="*/ 12 w 180"/>
              <a:gd name="T1" fmla="*/ 12 h 132"/>
              <a:gd name="T2" fmla="*/ 30 w 180"/>
              <a:gd name="T3" fmla="*/ 6 h 132"/>
              <a:gd name="T4" fmla="*/ 48 w 180"/>
              <a:gd name="T5" fmla="*/ 0 h 132"/>
              <a:gd name="T6" fmla="*/ 66 w 180"/>
              <a:gd name="T7" fmla="*/ 6 h 132"/>
              <a:gd name="T8" fmla="*/ 84 w 180"/>
              <a:gd name="T9" fmla="*/ 0 h 132"/>
              <a:gd name="T10" fmla="*/ 96 w 180"/>
              <a:gd name="T11" fmla="*/ 6 h 132"/>
              <a:gd name="T12" fmla="*/ 102 w 180"/>
              <a:gd name="T13" fmla="*/ 6 h 132"/>
              <a:gd name="T14" fmla="*/ 132 w 180"/>
              <a:gd name="T15" fmla="*/ 0 h 132"/>
              <a:gd name="T16" fmla="*/ 138 w 180"/>
              <a:gd name="T17" fmla="*/ 6 h 132"/>
              <a:gd name="T18" fmla="*/ 162 w 180"/>
              <a:gd name="T19" fmla="*/ 12 h 132"/>
              <a:gd name="T20" fmla="*/ 162 w 180"/>
              <a:gd name="T21" fmla="*/ 36 h 132"/>
              <a:gd name="T22" fmla="*/ 162 w 180"/>
              <a:gd name="T23" fmla="*/ 42 h 132"/>
              <a:gd name="T24" fmla="*/ 168 w 180"/>
              <a:gd name="T25" fmla="*/ 42 h 132"/>
              <a:gd name="T26" fmla="*/ 174 w 180"/>
              <a:gd name="T27" fmla="*/ 42 h 132"/>
              <a:gd name="T28" fmla="*/ 180 w 180"/>
              <a:gd name="T29" fmla="*/ 48 h 132"/>
              <a:gd name="T30" fmla="*/ 180 w 180"/>
              <a:gd name="T31" fmla="*/ 72 h 132"/>
              <a:gd name="T32" fmla="*/ 162 w 180"/>
              <a:gd name="T33" fmla="*/ 84 h 132"/>
              <a:gd name="T34" fmla="*/ 132 w 180"/>
              <a:gd name="T35" fmla="*/ 108 h 132"/>
              <a:gd name="T36" fmla="*/ 120 w 180"/>
              <a:gd name="T37" fmla="*/ 132 h 132"/>
              <a:gd name="T38" fmla="*/ 120 w 180"/>
              <a:gd name="T39" fmla="*/ 120 h 132"/>
              <a:gd name="T40" fmla="*/ 114 w 180"/>
              <a:gd name="T41" fmla="*/ 114 h 132"/>
              <a:gd name="T42" fmla="*/ 114 w 180"/>
              <a:gd name="T43" fmla="*/ 108 h 132"/>
              <a:gd name="T44" fmla="*/ 108 w 180"/>
              <a:gd name="T45" fmla="*/ 114 h 132"/>
              <a:gd name="T46" fmla="*/ 102 w 180"/>
              <a:gd name="T47" fmla="*/ 114 h 132"/>
              <a:gd name="T48" fmla="*/ 102 w 180"/>
              <a:gd name="T49" fmla="*/ 108 h 132"/>
              <a:gd name="T50" fmla="*/ 102 w 180"/>
              <a:gd name="T51" fmla="*/ 108 h 132"/>
              <a:gd name="T52" fmla="*/ 108 w 180"/>
              <a:gd name="T53" fmla="*/ 102 h 132"/>
              <a:gd name="T54" fmla="*/ 114 w 180"/>
              <a:gd name="T55" fmla="*/ 96 h 132"/>
              <a:gd name="T56" fmla="*/ 114 w 180"/>
              <a:gd name="T57" fmla="*/ 90 h 132"/>
              <a:gd name="T58" fmla="*/ 120 w 180"/>
              <a:gd name="T59" fmla="*/ 84 h 132"/>
              <a:gd name="T60" fmla="*/ 126 w 180"/>
              <a:gd name="T61" fmla="*/ 84 h 132"/>
              <a:gd name="T62" fmla="*/ 126 w 180"/>
              <a:gd name="T63" fmla="*/ 78 h 132"/>
              <a:gd name="T64" fmla="*/ 132 w 180"/>
              <a:gd name="T65" fmla="*/ 72 h 132"/>
              <a:gd name="T66" fmla="*/ 132 w 180"/>
              <a:gd name="T67" fmla="*/ 66 h 132"/>
              <a:gd name="T68" fmla="*/ 108 w 180"/>
              <a:gd name="T69" fmla="*/ 60 h 132"/>
              <a:gd name="T70" fmla="*/ 102 w 180"/>
              <a:gd name="T71" fmla="*/ 48 h 132"/>
              <a:gd name="T72" fmla="*/ 96 w 180"/>
              <a:gd name="T73" fmla="*/ 48 h 132"/>
              <a:gd name="T74" fmla="*/ 84 w 180"/>
              <a:gd name="T75" fmla="*/ 48 h 132"/>
              <a:gd name="T76" fmla="*/ 78 w 180"/>
              <a:gd name="T77" fmla="*/ 54 h 132"/>
              <a:gd name="T78" fmla="*/ 66 w 180"/>
              <a:gd name="T79" fmla="*/ 48 h 132"/>
              <a:gd name="T80" fmla="*/ 60 w 180"/>
              <a:gd name="T81" fmla="*/ 54 h 132"/>
              <a:gd name="T82" fmla="*/ 54 w 180"/>
              <a:gd name="T83" fmla="*/ 48 h 132"/>
              <a:gd name="T84" fmla="*/ 48 w 180"/>
              <a:gd name="T85" fmla="*/ 42 h 132"/>
              <a:gd name="T86" fmla="*/ 48 w 180"/>
              <a:gd name="T87" fmla="*/ 48 h 132"/>
              <a:gd name="T88" fmla="*/ 42 w 180"/>
              <a:gd name="T89" fmla="*/ 48 h 132"/>
              <a:gd name="T90" fmla="*/ 42 w 180"/>
              <a:gd name="T91" fmla="*/ 42 h 132"/>
              <a:gd name="T92" fmla="*/ 36 w 180"/>
              <a:gd name="T93" fmla="*/ 42 h 132"/>
              <a:gd name="T94" fmla="*/ 30 w 180"/>
              <a:gd name="T95" fmla="*/ 36 h 132"/>
              <a:gd name="T96" fmla="*/ 30 w 180"/>
              <a:gd name="T97" fmla="*/ 42 h 132"/>
              <a:gd name="T98" fmla="*/ 24 w 180"/>
              <a:gd name="T99" fmla="*/ 42 h 132"/>
              <a:gd name="T100" fmla="*/ 24 w 180"/>
              <a:gd name="T101" fmla="*/ 48 h 132"/>
              <a:gd name="T102" fmla="*/ 18 w 180"/>
              <a:gd name="T103" fmla="*/ 48 h 132"/>
              <a:gd name="T104" fmla="*/ 18 w 180"/>
              <a:gd name="T105" fmla="*/ 48 h 132"/>
              <a:gd name="T106" fmla="*/ 12 w 180"/>
              <a:gd name="T107" fmla="*/ 54 h 132"/>
              <a:gd name="T108" fmla="*/ 12 w 180"/>
              <a:gd name="T109" fmla="*/ 48 h 132"/>
              <a:gd name="T110" fmla="*/ 6 w 180"/>
              <a:gd name="T111" fmla="*/ 42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80" h="132">
                <a:moveTo>
                  <a:pt x="0" y="30"/>
                </a:moveTo>
                <a:lnTo>
                  <a:pt x="6" y="30"/>
                </a:lnTo>
                <a:lnTo>
                  <a:pt x="6" y="24"/>
                </a:lnTo>
                <a:lnTo>
                  <a:pt x="0" y="24"/>
                </a:lnTo>
                <a:lnTo>
                  <a:pt x="6" y="18"/>
                </a:lnTo>
                <a:lnTo>
                  <a:pt x="12" y="12"/>
                </a:lnTo>
                <a:lnTo>
                  <a:pt x="12" y="12"/>
                </a:lnTo>
                <a:lnTo>
                  <a:pt x="12" y="12"/>
                </a:lnTo>
                <a:lnTo>
                  <a:pt x="18" y="6"/>
                </a:lnTo>
                <a:lnTo>
                  <a:pt x="24" y="0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42" y="6"/>
                </a:lnTo>
                <a:lnTo>
                  <a:pt x="48" y="0"/>
                </a:lnTo>
                <a:lnTo>
                  <a:pt x="48" y="0"/>
                </a:lnTo>
                <a:lnTo>
                  <a:pt x="54" y="6"/>
                </a:lnTo>
                <a:lnTo>
                  <a:pt x="54" y="6"/>
                </a:lnTo>
                <a:lnTo>
                  <a:pt x="60" y="0"/>
                </a:lnTo>
                <a:lnTo>
                  <a:pt x="66" y="0"/>
                </a:lnTo>
                <a:lnTo>
                  <a:pt x="66" y="6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8" y="0"/>
                </a:lnTo>
                <a:lnTo>
                  <a:pt x="78" y="0"/>
                </a:lnTo>
                <a:lnTo>
                  <a:pt x="84" y="6"/>
                </a:lnTo>
                <a:lnTo>
                  <a:pt x="84" y="0"/>
                </a:lnTo>
                <a:lnTo>
                  <a:pt x="84" y="6"/>
                </a:lnTo>
                <a:lnTo>
                  <a:pt x="84" y="6"/>
                </a:lnTo>
                <a:lnTo>
                  <a:pt x="90" y="6"/>
                </a:lnTo>
                <a:lnTo>
                  <a:pt x="90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102" y="6"/>
                </a:lnTo>
                <a:lnTo>
                  <a:pt x="102" y="6"/>
                </a:lnTo>
                <a:lnTo>
                  <a:pt x="102" y="0"/>
                </a:lnTo>
                <a:lnTo>
                  <a:pt x="102" y="6"/>
                </a:lnTo>
                <a:lnTo>
                  <a:pt x="108" y="0"/>
                </a:lnTo>
                <a:lnTo>
                  <a:pt x="108" y="0"/>
                </a:lnTo>
                <a:lnTo>
                  <a:pt x="114" y="0"/>
                </a:lnTo>
                <a:lnTo>
                  <a:pt x="126" y="0"/>
                </a:lnTo>
                <a:lnTo>
                  <a:pt x="126" y="0"/>
                </a:lnTo>
                <a:lnTo>
                  <a:pt x="132" y="0"/>
                </a:lnTo>
                <a:lnTo>
                  <a:pt x="138" y="0"/>
                </a:lnTo>
                <a:lnTo>
                  <a:pt x="132" y="0"/>
                </a:lnTo>
                <a:lnTo>
                  <a:pt x="132" y="6"/>
                </a:lnTo>
                <a:lnTo>
                  <a:pt x="132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44" y="6"/>
                </a:lnTo>
                <a:lnTo>
                  <a:pt x="150" y="6"/>
                </a:lnTo>
                <a:lnTo>
                  <a:pt x="150" y="6"/>
                </a:lnTo>
                <a:lnTo>
                  <a:pt x="156" y="12"/>
                </a:lnTo>
                <a:lnTo>
                  <a:pt x="162" y="12"/>
                </a:lnTo>
                <a:lnTo>
                  <a:pt x="156" y="12"/>
                </a:lnTo>
                <a:lnTo>
                  <a:pt x="156" y="30"/>
                </a:lnTo>
                <a:lnTo>
                  <a:pt x="156" y="30"/>
                </a:lnTo>
                <a:lnTo>
                  <a:pt x="156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8" y="42"/>
                </a:lnTo>
                <a:lnTo>
                  <a:pt x="168" y="42"/>
                </a:lnTo>
                <a:lnTo>
                  <a:pt x="168" y="42"/>
                </a:lnTo>
                <a:lnTo>
                  <a:pt x="168" y="42"/>
                </a:lnTo>
                <a:lnTo>
                  <a:pt x="168" y="42"/>
                </a:lnTo>
                <a:lnTo>
                  <a:pt x="168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80" y="48"/>
                </a:lnTo>
                <a:lnTo>
                  <a:pt x="180" y="48"/>
                </a:lnTo>
                <a:lnTo>
                  <a:pt x="180" y="48"/>
                </a:lnTo>
                <a:lnTo>
                  <a:pt x="174" y="48"/>
                </a:lnTo>
                <a:lnTo>
                  <a:pt x="168" y="54"/>
                </a:lnTo>
                <a:lnTo>
                  <a:pt x="180" y="54"/>
                </a:lnTo>
                <a:lnTo>
                  <a:pt x="180" y="72"/>
                </a:lnTo>
                <a:lnTo>
                  <a:pt x="180" y="72"/>
                </a:lnTo>
                <a:lnTo>
                  <a:pt x="174" y="78"/>
                </a:lnTo>
                <a:lnTo>
                  <a:pt x="168" y="84"/>
                </a:lnTo>
                <a:lnTo>
                  <a:pt x="162" y="84"/>
                </a:lnTo>
                <a:lnTo>
                  <a:pt x="162" y="84"/>
                </a:lnTo>
                <a:lnTo>
                  <a:pt x="162" y="84"/>
                </a:lnTo>
                <a:lnTo>
                  <a:pt x="162" y="84"/>
                </a:lnTo>
                <a:lnTo>
                  <a:pt x="156" y="90"/>
                </a:lnTo>
                <a:lnTo>
                  <a:pt x="144" y="96"/>
                </a:lnTo>
                <a:lnTo>
                  <a:pt x="138" y="102"/>
                </a:lnTo>
                <a:lnTo>
                  <a:pt x="138" y="108"/>
                </a:lnTo>
                <a:lnTo>
                  <a:pt x="132" y="108"/>
                </a:lnTo>
                <a:lnTo>
                  <a:pt x="132" y="114"/>
                </a:lnTo>
                <a:lnTo>
                  <a:pt x="132" y="120"/>
                </a:lnTo>
                <a:lnTo>
                  <a:pt x="126" y="126"/>
                </a:lnTo>
                <a:lnTo>
                  <a:pt x="126" y="126"/>
                </a:lnTo>
                <a:lnTo>
                  <a:pt x="120" y="132"/>
                </a:lnTo>
                <a:lnTo>
                  <a:pt x="120" y="132"/>
                </a:lnTo>
                <a:lnTo>
                  <a:pt x="120" y="132"/>
                </a:lnTo>
                <a:lnTo>
                  <a:pt x="120" y="126"/>
                </a:lnTo>
                <a:lnTo>
                  <a:pt x="120" y="126"/>
                </a:lnTo>
                <a:lnTo>
                  <a:pt x="120" y="126"/>
                </a:lnTo>
                <a:lnTo>
                  <a:pt x="120" y="120"/>
                </a:lnTo>
                <a:lnTo>
                  <a:pt x="120" y="120"/>
                </a:lnTo>
                <a:lnTo>
                  <a:pt x="120" y="120"/>
                </a:lnTo>
                <a:lnTo>
                  <a:pt x="120" y="120"/>
                </a:lnTo>
                <a:lnTo>
                  <a:pt x="120" y="120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08"/>
                </a:lnTo>
                <a:lnTo>
                  <a:pt x="114" y="114"/>
                </a:lnTo>
                <a:lnTo>
                  <a:pt x="114" y="114"/>
                </a:lnTo>
                <a:lnTo>
                  <a:pt x="114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2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14" y="102"/>
                </a:lnTo>
                <a:lnTo>
                  <a:pt x="114" y="96"/>
                </a:lnTo>
                <a:lnTo>
                  <a:pt x="114" y="96"/>
                </a:lnTo>
                <a:lnTo>
                  <a:pt x="114" y="96"/>
                </a:lnTo>
                <a:lnTo>
                  <a:pt x="114" y="96"/>
                </a:lnTo>
                <a:lnTo>
                  <a:pt x="114" y="96"/>
                </a:lnTo>
                <a:lnTo>
                  <a:pt x="114" y="96"/>
                </a:lnTo>
                <a:lnTo>
                  <a:pt x="114" y="90"/>
                </a:lnTo>
                <a:lnTo>
                  <a:pt x="114" y="90"/>
                </a:lnTo>
                <a:lnTo>
                  <a:pt x="114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6" y="84"/>
                </a:lnTo>
                <a:lnTo>
                  <a:pt x="126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78"/>
                </a:lnTo>
                <a:lnTo>
                  <a:pt x="132" y="78"/>
                </a:lnTo>
                <a:lnTo>
                  <a:pt x="126" y="72"/>
                </a:lnTo>
                <a:lnTo>
                  <a:pt x="132" y="72"/>
                </a:lnTo>
                <a:lnTo>
                  <a:pt x="132" y="72"/>
                </a:lnTo>
                <a:lnTo>
                  <a:pt x="126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66"/>
                </a:lnTo>
                <a:lnTo>
                  <a:pt x="132" y="72"/>
                </a:lnTo>
                <a:lnTo>
                  <a:pt x="132" y="72"/>
                </a:lnTo>
                <a:lnTo>
                  <a:pt x="132" y="66"/>
                </a:lnTo>
                <a:lnTo>
                  <a:pt x="132" y="66"/>
                </a:lnTo>
                <a:lnTo>
                  <a:pt x="132" y="66"/>
                </a:lnTo>
                <a:lnTo>
                  <a:pt x="132" y="66"/>
                </a:lnTo>
                <a:lnTo>
                  <a:pt x="132" y="66"/>
                </a:lnTo>
                <a:lnTo>
                  <a:pt x="132" y="66"/>
                </a:lnTo>
                <a:lnTo>
                  <a:pt x="108" y="60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84" y="48"/>
                </a:lnTo>
                <a:lnTo>
                  <a:pt x="84" y="48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2" y="54"/>
                </a:lnTo>
                <a:lnTo>
                  <a:pt x="66" y="48"/>
                </a:lnTo>
                <a:lnTo>
                  <a:pt x="66" y="54"/>
                </a:lnTo>
                <a:lnTo>
                  <a:pt x="66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48" y="42"/>
                </a:lnTo>
                <a:lnTo>
                  <a:pt x="54" y="48"/>
                </a:lnTo>
                <a:lnTo>
                  <a:pt x="54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2"/>
                </a:lnTo>
                <a:lnTo>
                  <a:pt x="48" y="42"/>
                </a:lnTo>
                <a:lnTo>
                  <a:pt x="42" y="42"/>
                </a:lnTo>
                <a:lnTo>
                  <a:pt x="42" y="42"/>
                </a:lnTo>
                <a:lnTo>
                  <a:pt x="42" y="48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36" y="42"/>
                </a:lnTo>
                <a:lnTo>
                  <a:pt x="42" y="42"/>
                </a:lnTo>
                <a:lnTo>
                  <a:pt x="36" y="42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36"/>
                </a:lnTo>
                <a:lnTo>
                  <a:pt x="36" y="42"/>
                </a:lnTo>
                <a:lnTo>
                  <a:pt x="30" y="36"/>
                </a:lnTo>
                <a:lnTo>
                  <a:pt x="36" y="36"/>
                </a:lnTo>
                <a:lnTo>
                  <a:pt x="36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6" y="48"/>
                </a:lnTo>
                <a:lnTo>
                  <a:pt x="12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0" y="3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79" name="Freeform 512"/>
          <p:cNvSpPr>
            <a:spLocks/>
          </p:cNvSpPr>
          <p:nvPr/>
        </p:nvSpPr>
        <p:spPr bwMode="auto">
          <a:xfrm>
            <a:off x="6254417" y="2740975"/>
            <a:ext cx="385443" cy="578169"/>
          </a:xfrm>
          <a:custGeom>
            <a:avLst/>
            <a:gdLst>
              <a:gd name="T0" fmla="*/ 6 w 360"/>
              <a:gd name="T1" fmla="*/ 450 h 540"/>
              <a:gd name="T2" fmla="*/ 24 w 360"/>
              <a:gd name="T3" fmla="*/ 456 h 540"/>
              <a:gd name="T4" fmla="*/ 36 w 360"/>
              <a:gd name="T5" fmla="*/ 462 h 540"/>
              <a:gd name="T6" fmla="*/ 54 w 360"/>
              <a:gd name="T7" fmla="*/ 450 h 540"/>
              <a:gd name="T8" fmla="*/ 72 w 360"/>
              <a:gd name="T9" fmla="*/ 426 h 540"/>
              <a:gd name="T10" fmla="*/ 84 w 360"/>
              <a:gd name="T11" fmla="*/ 408 h 540"/>
              <a:gd name="T12" fmla="*/ 96 w 360"/>
              <a:gd name="T13" fmla="*/ 444 h 540"/>
              <a:gd name="T14" fmla="*/ 120 w 360"/>
              <a:gd name="T15" fmla="*/ 414 h 540"/>
              <a:gd name="T16" fmla="*/ 144 w 360"/>
              <a:gd name="T17" fmla="*/ 396 h 540"/>
              <a:gd name="T18" fmla="*/ 156 w 360"/>
              <a:gd name="T19" fmla="*/ 402 h 540"/>
              <a:gd name="T20" fmla="*/ 168 w 360"/>
              <a:gd name="T21" fmla="*/ 396 h 540"/>
              <a:gd name="T22" fmla="*/ 180 w 360"/>
              <a:gd name="T23" fmla="*/ 396 h 540"/>
              <a:gd name="T24" fmla="*/ 186 w 360"/>
              <a:gd name="T25" fmla="*/ 390 h 540"/>
              <a:gd name="T26" fmla="*/ 192 w 360"/>
              <a:gd name="T27" fmla="*/ 384 h 540"/>
              <a:gd name="T28" fmla="*/ 192 w 360"/>
              <a:gd name="T29" fmla="*/ 378 h 540"/>
              <a:gd name="T30" fmla="*/ 204 w 360"/>
              <a:gd name="T31" fmla="*/ 360 h 540"/>
              <a:gd name="T32" fmla="*/ 204 w 360"/>
              <a:gd name="T33" fmla="*/ 342 h 540"/>
              <a:gd name="T34" fmla="*/ 204 w 360"/>
              <a:gd name="T35" fmla="*/ 324 h 540"/>
              <a:gd name="T36" fmla="*/ 222 w 360"/>
              <a:gd name="T37" fmla="*/ 270 h 540"/>
              <a:gd name="T38" fmla="*/ 234 w 360"/>
              <a:gd name="T39" fmla="*/ 240 h 540"/>
              <a:gd name="T40" fmla="*/ 240 w 360"/>
              <a:gd name="T41" fmla="*/ 234 h 540"/>
              <a:gd name="T42" fmla="*/ 252 w 360"/>
              <a:gd name="T43" fmla="*/ 210 h 540"/>
              <a:gd name="T44" fmla="*/ 270 w 360"/>
              <a:gd name="T45" fmla="*/ 192 h 540"/>
              <a:gd name="T46" fmla="*/ 282 w 360"/>
              <a:gd name="T47" fmla="*/ 174 h 540"/>
              <a:gd name="T48" fmla="*/ 294 w 360"/>
              <a:gd name="T49" fmla="*/ 150 h 540"/>
              <a:gd name="T50" fmla="*/ 300 w 360"/>
              <a:gd name="T51" fmla="*/ 132 h 540"/>
              <a:gd name="T52" fmla="*/ 306 w 360"/>
              <a:gd name="T53" fmla="*/ 114 h 540"/>
              <a:gd name="T54" fmla="*/ 300 w 360"/>
              <a:gd name="T55" fmla="*/ 96 h 540"/>
              <a:gd name="T56" fmla="*/ 300 w 360"/>
              <a:gd name="T57" fmla="*/ 78 h 540"/>
              <a:gd name="T58" fmla="*/ 312 w 360"/>
              <a:gd name="T59" fmla="*/ 60 h 540"/>
              <a:gd name="T60" fmla="*/ 318 w 360"/>
              <a:gd name="T61" fmla="*/ 42 h 540"/>
              <a:gd name="T62" fmla="*/ 324 w 360"/>
              <a:gd name="T63" fmla="*/ 12 h 540"/>
              <a:gd name="T64" fmla="*/ 336 w 360"/>
              <a:gd name="T65" fmla="*/ 12 h 540"/>
              <a:gd name="T66" fmla="*/ 342 w 360"/>
              <a:gd name="T67" fmla="*/ 42 h 540"/>
              <a:gd name="T68" fmla="*/ 342 w 360"/>
              <a:gd name="T69" fmla="*/ 72 h 540"/>
              <a:gd name="T70" fmla="*/ 342 w 360"/>
              <a:gd name="T71" fmla="*/ 108 h 540"/>
              <a:gd name="T72" fmla="*/ 342 w 360"/>
              <a:gd name="T73" fmla="*/ 126 h 540"/>
              <a:gd name="T74" fmla="*/ 354 w 360"/>
              <a:gd name="T75" fmla="*/ 138 h 540"/>
              <a:gd name="T76" fmla="*/ 354 w 360"/>
              <a:gd name="T77" fmla="*/ 162 h 540"/>
              <a:gd name="T78" fmla="*/ 348 w 360"/>
              <a:gd name="T79" fmla="*/ 186 h 540"/>
              <a:gd name="T80" fmla="*/ 336 w 360"/>
              <a:gd name="T81" fmla="*/ 222 h 540"/>
              <a:gd name="T82" fmla="*/ 318 w 360"/>
              <a:gd name="T83" fmla="*/ 264 h 540"/>
              <a:gd name="T84" fmla="*/ 318 w 360"/>
              <a:gd name="T85" fmla="*/ 306 h 540"/>
              <a:gd name="T86" fmla="*/ 300 w 360"/>
              <a:gd name="T87" fmla="*/ 336 h 540"/>
              <a:gd name="T88" fmla="*/ 294 w 360"/>
              <a:gd name="T89" fmla="*/ 378 h 540"/>
              <a:gd name="T90" fmla="*/ 288 w 360"/>
              <a:gd name="T91" fmla="*/ 408 h 540"/>
              <a:gd name="T92" fmla="*/ 252 w 360"/>
              <a:gd name="T93" fmla="*/ 420 h 540"/>
              <a:gd name="T94" fmla="*/ 222 w 360"/>
              <a:gd name="T95" fmla="*/ 444 h 540"/>
              <a:gd name="T96" fmla="*/ 204 w 360"/>
              <a:gd name="T97" fmla="*/ 474 h 540"/>
              <a:gd name="T98" fmla="*/ 198 w 360"/>
              <a:gd name="T99" fmla="*/ 492 h 540"/>
              <a:gd name="T100" fmla="*/ 180 w 360"/>
              <a:gd name="T101" fmla="*/ 528 h 540"/>
              <a:gd name="T102" fmla="*/ 156 w 360"/>
              <a:gd name="T103" fmla="*/ 540 h 540"/>
              <a:gd name="T104" fmla="*/ 120 w 360"/>
              <a:gd name="T105" fmla="*/ 540 h 540"/>
              <a:gd name="T106" fmla="*/ 90 w 360"/>
              <a:gd name="T107" fmla="*/ 528 h 540"/>
              <a:gd name="T108" fmla="*/ 72 w 360"/>
              <a:gd name="T109" fmla="*/ 522 h 540"/>
              <a:gd name="T110" fmla="*/ 66 w 360"/>
              <a:gd name="T111" fmla="*/ 510 h 540"/>
              <a:gd name="T112" fmla="*/ 78 w 360"/>
              <a:gd name="T113" fmla="*/ 498 h 540"/>
              <a:gd name="T114" fmla="*/ 72 w 360"/>
              <a:gd name="T115" fmla="*/ 486 h 540"/>
              <a:gd name="T116" fmla="*/ 54 w 360"/>
              <a:gd name="T117" fmla="*/ 486 h 540"/>
              <a:gd name="T118" fmla="*/ 42 w 360"/>
              <a:gd name="T119" fmla="*/ 492 h 540"/>
              <a:gd name="T120" fmla="*/ 30 w 360"/>
              <a:gd name="T121" fmla="*/ 492 h 540"/>
              <a:gd name="T122" fmla="*/ 6 w 360"/>
              <a:gd name="T123" fmla="*/ 480 h 5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60" h="540">
                <a:moveTo>
                  <a:pt x="0" y="462"/>
                </a:moveTo>
                <a:lnTo>
                  <a:pt x="0" y="462"/>
                </a:lnTo>
                <a:lnTo>
                  <a:pt x="0" y="462"/>
                </a:lnTo>
                <a:lnTo>
                  <a:pt x="0" y="462"/>
                </a:lnTo>
                <a:lnTo>
                  <a:pt x="0" y="462"/>
                </a:lnTo>
                <a:lnTo>
                  <a:pt x="0" y="462"/>
                </a:lnTo>
                <a:lnTo>
                  <a:pt x="0" y="462"/>
                </a:lnTo>
                <a:lnTo>
                  <a:pt x="0" y="462"/>
                </a:lnTo>
                <a:lnTo>
                  <a:pt x="0" y="462"/>
                </a:lnTo>
                <a:lnTo>
                  <a:pt x="0" y="462"/>
                </a:lnTo>
                <a:lnTo>
                  <a:pt x="0" y="456"/>
                </a:lnTo>
                <a:lnTo>
                  <a:pt x="0" y="456"/>
                </a:lnTo>
                <a:lnTo>
                  <a:pt x="6" y="456"/>
                </a:lnTo>
                <a:lnTo>
                  <a:pt x="6" y="456"/>
                </a:lnTo>
                <a:lnTo>
                  <a:pt x="6" y="450"/>
                </a:lnTo>
                <a:lnTo>
                  <a:pt x="6" y="450"/>
                </a:lnTo>
                <a:lnTo>
                  <a:pt x="6" y="450"/>
                </a:lnTo>
                <a:lnTo>
                  <a:pt x="6" y="450"/>
                </a:lnTo>
                <a:lnTo>
                  <a:pt x="12" y="450"/>
                </a:lnTo>
                <a:lnTo>
                  <a:pt x="12" y="450"/>
                </a:lnTo>
                <a:lnTo>
                  <a:pt x="12" y="450"/>
                </a:lnTo>
                <a:lnTo>
                  <a:pt x="12" y="450"/>
                </a:lnTo>
                <a:lnTo>
                  <a:pt x="12" y="450"/>
                </a:lnTo>
                <a:lnTo>
                  <a:pt x="12" y="450"/>
                </a:lnTo>
                <a:lnTo>
                  <a:pt x="18" y="450"/>
                </a:lnTo>
                <a:lnTo>
                  <a:pt x="18" y="450"/>
                </a:lnTo>
                <a:lnTo>
                  <a:pt x="18" y="456"/>
                </a:lnTo>
                <a:lnTo>
                  <a:pt x="18" y="456"/>
                </a:lnTo>
                <a:lnTo>
                  <a:pt x="18" y="450"/>
                </a:lnTo>
                <a:lnTo>
                  <a:pt x="24" y="450"/>
                </a:lnTo>
                <a:lnTo>
                  <a:pt x="24" y="456"/>
                </a:lnTo>
                <a:lnTo>
                  <a:pt x="24" y="456"/>
                </a:lnTo>
                <a:lnTo>
                  <a:pt x="24" y="456"/>
                </a:lnTo>
                <a:lnTo>
                  <a:pt x="24" y="456"/>
                </a:lnTo>
                <a:lnTo>
                  <a:pt x="30" y="456"/>
                </a:lnTo>
                <a:lnTo>
                  <a:pt x="30" y="456"/>
                </a:lnTo>
                <a:lnTo>
                  <a:pt x="30" y="456"/>
                </a:lnTo>
                <a:lnTo>
                  <a:pt x="30" y="456"/>
                </a:lnTo>
                <a:lnTo>
                  <a:pt x="30" y="456"/>
                </a:lnTo>
                <a:lnTo>
                  <a:pt x="30" y="456"/>
                </a:lnTo>
                <a:lnTo>
                  <a:pt x="30" y="456"/>
                </a:lnTo>
                <a:lnTo>
                  <a:pt x="36" y="456"/>
                </a:lnTo>
                <a:lnTo>
                  <a:pt x="36" y="456"/>
                </a:lnTo>
                <a:lnTo>
                  <a:pt x="36" y="456"/>
                </a:lnTo>
                <a:lnTo>
                  <a:pt x="36" y="456"/>
                </a:lnTo>
                <a:lnTo>
                  <a:pt x="36" y="462"/>
                </a:lnTo>
                <a:lnTo>
                  <a:pt x="36" y="462"/>
                </a:lnTo>
                <a:lnTo>
                  <a:pt x="36" y="462"/>
                </a:lnTo>
                <a:lnTo>
                  <a:pt x="36" y="456"/>
                </a:lnTo>
                <a:lnTo>
                  <a:pt x="42" y="456"/>
                </a:lnTo>
                <a:lnTo>
                  <a:pt x="42" y="462"/>
                </a:lnTo>
                <a:lnTo>
                  <a:pt x="42" y="456"/>
                </a:lnTo>
                <a:lnTo>
                  <a:pt x="42" y="456"/>
                </a:lnTo>
                <a:lnTo>
                  <a:pt x="42" y="456"/>
                </a:lnTo>
                <a:lnTo>
                  <a:pt x="42" y="456"/>
                </a:lnTo>
                <a:lnTo>
                  <a:pt x="48" y="456"/>
                </a:lnTo>
                <a:lnTo>
                  <a:pt x="48" y="456"/>
                </a:lnTo>
                <a:lnTo>
                  <a:pt x="48" y="456"/>
                </a:lnTo>
                <a:lnTo>
                  <a:pt x="48" y="456"/>
                </a:lnTo>
                <a:lnTo>
                  <a:pt x="48" y="456"/>
                </a:lnTo>
                <a:lnTo>
                  <a:pt x="48" y="456"/>
                </a:lnTo>
                <a:lnTo>
                  <a:pt x="48" y="450"/>
                </a:lnTo>
                <a:lnTo>
                  <a:pt x="48" y="450"/>
                </a:lnTo>
                <a:lnTo>
                  <a:pt x="54" y="450"/>
                </a:lnTo>
                <a:lnTo>
                  <a:pt x="54" y="450"/>
                </a:lnTo>
                <a:lnTo>
                  <a:pt x="54" y="450"/>
                </a:lnTo>
                <a:lnTo>
                  <a:pt x="54" y="444"/>
                </a:lnTo>
                <a:lnTo>
                  <a:pt x="54" y="444"/>
                </a:lnTo>
                <a:lnTo>
                  <a:pt x="54" y="444"/>
                </a:lnTo>
                <a:lnTo>
                  <a:pt x="54" y="444"/>
                </a:lnTo>
                <a:lnTo>
                  <a:pt x="60" y="438"/>
                </a:lnTo>
                <a:lnTo>
                  <a:pt x="60" y="438"/>
                </a:lnTo>
                <a:lnTo>
                  <a:pt x="60" y="432"/>
                </a:lnTo>
                <a:lnTo>
                  <a:pt x="66" y="432"/>
                </a:lnTo>
                <a:lnTo>
                  <a:pt x="66" y="432"/>
                </a:lnTo>
                <a:lnTo>
                  <a:pt x="66" y="432"/>
                </a:lnTo>
                <a:lnTo>
                  <a:pt x="66" y="426"/>
                </a:lnTo>
                <a:lnTo>
                  <a:pt x="66" y="426"/>
                </a:lnTo>
                <a:lnTo>
                  <a:pt x="72" y="426"/>
                </a:lnTo>
                <a:lnTo>
                  <a:pt x="72" y="426"/>
                </a:lnTo>
                <a:lnTo>
                  <a:pt x="72" y="426"/>
                </a:lnTo>
                <a:lnTo>
                  <a:pt x="72" y="420"/>
                </a:lnTo>
                <a:lnTo>
                  <a:pt x="72" y="420"/>
                </a:lnTo>
                <a:lnTo>
                  <a:pt x="72" y="420"/>
                </a:lnTo>
                <a:lnTo>
                  <a:pt x="72" y="414"/>
                </a:lnTo>
                <a:lnTo>
                  <a:pt x="72" y="414"/>
                </a:lnTo>
                <a:lnTo>
                  <a:pt x="78" y="414"/>
                </a:lnTo>
                <a:lnTo>
                  <a:pt x="78" y="408"/>
                </a:lnTo>
                <a:lnTo>
                  <a:pt x="78" y="408"/>
                </a:lnTo>
                <a:lnTo>
                  <a:pt x="78" y="408"/>
                </a:lnTo>
                <a:lnTo>
                  <a:pt x="78" y="408"/>
                </a:lnTo>
                <a:lnTo>
                  <a:pt x="84" y="408"/>
                </a:lnTo>
                <a:lnTo>
                  <a:pt x="84" y="408"/>
                </a:lnTo>
                <a:lnTo>
                  <a:pt x="84" y="408"/>
                </a:lnTo>
                <a:lnTo>
                  <a:pt x="84" y="408"/>
                </a:lnTo>
                <a:lnTo>
                  <a:pt x="84" y="408"/>
                </a:lnTo>
                <a:lnTo>
                  <a:pt x="84" y="408"/>
                </a:lnTo>
                <a:lnTo>
                  <a:pt x="84" y="414"/>
                </a:lnTo>
                <a:lnTo>
                  <a:pt x="84" y="414"/>
                </a:lnTo>
                <a:lnTo>
                  <a:pt x="90" y="414"/>
                </a:lnTo>
                <a:lnTo>
                  <a:pt x="90" y="414"/>
                </a:lnTo>
                <a:lnTo>
                  <a:pt x="90" y="414"/>
                </a:lnTo>
                <a:lnTo>
                  <a:pt x="90" y="420"/>
                </a:lnTo>
                <a:lnTo>
                  <a:pt x="90" y="420"/>
                </a:lnTo>
                <a:lnTo>
                  <a:pt x="90" y="420"/>
                </a:lnTo>
                <a:lnTo>
                  <a:pt x="90" y="426"/>
                </a:lnTo>
                <a:lnTo>
                  <a:pt x="90" y="426"/>
                </a:lnTo>
                <a:lnTo>
                  <a:pt x="90" y="426"/>
                </a:lnTo>
                <a:lnTo>
                  <a:pt x="90" y="426"/>
                </a:lnTo>
                <a:lnTo>
                  <a:pt x="90" y="432"/>
                </a:lnTo>
                <a:lnTo>
                  <a:pt x="96" y="438"/>
                </a:lnTo>
                <a:lnTo>
                  <a:pt x="96" y="444"/>
                </a:lnTo>
                <a:lnTo>
                  <a:pt x="96" y="444"/>
                </a:lnTo>
                <a:lnTo>
                  <a:pt x="96" y="444"/>
                </a:lnTo>
                <a:lnTo>
                  <a:pt x="102" y="420"/>
                </a:lnTo>
                <a:lnTo>
                  <a:pt x="102" y="420"/>
                </a:lnTo>
                <a:lnTo>
                  <a:pt x="102" y="408"/>
                </a:lnTo>
                <a:lnTo>
                  <a:pt x="102" y="408"/>
                </a:lnTo>
                <a:lnTo>
                  <a:pt x="108" y="408"/>
                </a:lnTo>
                <a:lnTo>
                  <a:pt x="108" y="414"/>
                </a:lnTo>
                <a:lnTo>
                  <a:pt x="108" y="414"/>
                </a:lnTo>
                <a:lnTo>
                  <a:pt x="114" y="414"/>
                </a:lnTo>
                <a:lnTo>
                  <a:pt x="114" y="414"/>
                </a:lnTo>
                <a:lnTo>
                  <a:pt x="114" y="414"/>
                </a:lnTo>
                <a:lnTo>
                  <a:pt x="114" y="414"/>
                </a:lnTo>
                <a:lnTo>
                  <a:pt x="114" y="414"/>
                </a:lnTo>
                <a:lnTo>
                  <a:pt x="120" y="414"/>
                </a:lnTo>
                <a:lnTo>
                  <a:pt x="120" y="414"/>
                </a:lnTo>
                <a:lnTo>
                  <a:pt x="120" y="414"/>
                </a:lnTo>
                <a:lnTo>
                  <a:pt x="120" y="414"/>
                </a:lnTo>
                <a:lnTo>
                  <a:pt x="126" y="414"/>
                </a:lnTo>
                <a:lnTo>
                  <a:pt x="126" y="414"/>
                </a:lnTo>
                <a:lnTo>
                  <a:pt x="126" y="408"/>
                </a:lnTo>
                <a:lnTo>
                  <a:pt x="126" y="408"/>
                </a:lnTo>
                <a:lnTo>
                  <a:pt x="132" y="408"/>
                </a:lnTo>
                <a:lnTo>
                  <a:pt x="132" y="408"/>
                </a:lnTo>
                <a:lnTo>
                  <a:pt x="132" y="402"/>
                </a:lnTo>
                <a:lnTo>
                  <a:pt x="132" y="402"/>
                </a:lnTo>
                <a:lnTo>
                  <a:pt x="138" y="402"/>
                </a:lnTo>
                <a:lnTo>
                  <a:pt x="138" y="402"/>
                </a:lnTo>
                <a:lnTo>
                  <a:pt x="138" y="402"/>
                </a:lnTo>
                <a:lnTo>
                  <a:pt x="138" y="402"/>
                </a:lnTo>
                <a:lnTo>
                  <a:pt x="138" y="402"/>
                </a:lnTo>
                <a:lnTo>
                  <a:pt x="144" y="396"/>
                </a:lnTo>
                <a:lnTo>
                  <a:pt x="144" y="396"/>
                </a:lnTo>
                <a:lnTo>
                  <a:pt x="144" y="402"/>
                </a:lnTo>
                <a:lnTo>
                  <a:pt x="144" y="402"/>
                </a:lnTo>
                <a:lnTo>
                  <a:pt x="144" y="402"/>
                </a:lnTo>
                <a:lnTo>
                  <a:pt x="144" y="402"/>
                </a:lnTo>
                <a:lnTo>
                  <a:pt x="144" y="402"/>
                </a:lnTo>
                <a:lnTo>
                  <a:pt x="144" y="402"/>
                </a:lnTo>
                <a:lnTo>
                  <a:pt x="150" y="402"/>
                </a:lnTo>
                <a:lnTo>
                  <a:pt x="150" y="402"/>
                </a:lnTo>
                <a:lnTo>
                  <a:pt x="150" y="402"/>
                </a:lnTo>
                <a:lnTo>
                  <a:pt x="150" y="402"/>
                </a:lnTo>
                <a:lnTo>
                  <a:pt x="150" y="402"/>
                </a:lnTo>
                <a:lnTo>
                  <a:pt x="150" y="402"/>
                </a:lnTo>
                <a:lnTo>
                  <a:pt x="156" y="402"/>
                </a:lnTo>
                <a:lnTo>
                  <a:pt x="156" y="402"/>
                </a:lnTo>
                <a:lnTo>
                  <a:pt x="156" y="402"/>
                </a:lnTo>
                <a:lnTo>
                  <a:pt x="156" y="402"/>
                </a:lnTo>
                <a:lnTo>
                  <a:pt x="162" y="402"/>
                </a:lnTo>
                <a:lnTo>
                  <a:pt x="162" y="402"/>
                </a:lnTo>
                <a:lnTo>
                  <a:pt x="162" y="402"/>
                </a:lnTo>
                <a:lnTo>
                  <a:pt x="162" y="402"/>
                </a:lnTo>
                <a:lnTo>
                  <a:pt x="162" y="396"/>
                </a:lnTo>
                <a:lnTo>
                  <a:pt x="162" y="396"/>
                </a:lnTo>
                <a:lnTo>
                  <a:pt x="162" y="396"/>
                </a:lnTo>
                <a:lnTo>
                  <a:pt x="168" y="396"/>
                </a:lnTo>
                <a:lnTo>
                  <a:pt x="168" y="396"/>
                </a:lnTo>
                <a:lnTo>
                  <a:pt x="168" y="396"/>
                </a:lnTo>
                <a:lnTo>
                  <a:pt x="168" y="396"/>
                </a:lnTo>
                <a:lnTo>
                  <a:pt x="168" y="396"/>
                </a:lnTo>
                <a:lnTo>
                  <a:pt x="168" y="396"/>
                </a:lnTo>
                <a:lnTo>
                  <a:pt x="168" y="396"/>
                </a:lnTo>
                <a:lnTo>
                  <a:pt x="168" y="396"/>
                </a:lnTo>
                <a:lnTo>
                  <a:pt x="168" y="396"/>
                </a:lnTo>
                <a:lnTo>
                  <a:pt x="168" y="396"/>
                </a:lnTo>
                <a:lnTo>
                  <a:pt x="174" y="396"/>
                </a:lnTo>
                <a:lnTo>
                  <a:pt x="174" y="390"/>
                </a:lnTo>
                <a:lnTo>
                  <a:pt x="174" y="390"/>
                </a:lnTo>
                <a:lnTo>
                  <a:pt x="174" y="390"/>
                </a:lnTo>
                <a:lnTo>
                  <a:pt x="174" y="396"/>
                </a:lnTo>
                <a:lnTo>
                  <a:pt x="174" y="396"/>
                </a:lnTo>
                <a:lnTo>
                  <a:pt x="174" y="396"/>
                </a:lnTo>
                <a:lnTo>
                  <a:pt x="174" y="396"/>
                </a:lnTo>
                <a:lnTo>
                  <a:pt x="174" y="390"/>
                </a:lnTo>
                <a:lnTo>
                  <a:pt x="174" y="390"/>
                </a:lnTo>
                <a:lnTo>
                  <a:pt x="174" y="390"/>
                </a:lnTo>
                <a:lnTo>
                  <a:pt x="174" y="390"/>
                </a:lnTo>
                <a:lnTo>
                  <a:pt x="180" y="390"/>
                </a:lnTo>
                <a:lnTo>
                  <a:pt x="180" y="396"/>
                </a:lnTo>
                <a:lnTo>
                  <a:pt x="180" y="390"/>
                </a:lnTo>
                <a:lnTo>
                  <a:pt x="180" y="396"/>
                </a:lnTo>
                <a:lnTo>
                  <a:pt x="180" y="390"/>
                </a:lnTo>
                <a:lnTo>
                  <a:pt x="180" y="390"/>
                </a:lnTo>
                <a:lnTo>
                  <a:pt x="180" y="390"/>
                </a:lnTo>
                <a:lnTo>
                  <a:pt x="180" y="390"/>
                </a:lnTo>
                <a:lnTo>
                  <a:pt x="180" y="390"/>
                </a:lnTo>
                <a:lnTo>
                  <a:pt x="180" y="390"/>
                </a:lnTo>
                <a:lnTo>
                  <a:pt x="180" y="390"/>
                </a:lnTo>
                <a:lnTo>
                  <a:pt x="180" y="390"/>
                </a:lnTo>
                <a:lnTo>
                  <a:pt x="180" y="390"/>
                </a:lnTo>
                <a:lnTo>
                  <a:pt x="180" y="390"/>
                </a:lnTo>
                <a:lnTo>
                  <a:pt x="186" y="390"/>
                </a:lnTo>
                <a:lnTo>
                  <a:pt x="186" y="390"/>
                </a:lnTo>
                <a:lnTo>
                  <a:pt x="186" y="390"/>
                </a:lnTo>
                <a:lnTo>
                  <a:pt x="186" y="390"/>
                </a:lnTo>
                <a:lnTo>
                  <a:pt x="186" y="390"/>
                </a:lnTo>
                <a:lnTo>
                  <a:pt x="186" y="390"/>
                </a:lnTo>
                <a:lnTo>
                  <a:pt x="186" y="384"/>
                </a:lnTo>
                <a:lnTo>
                  <a:pt x="186" y="384"/>
                </a:lnTo>
                <a:lnTo>
                  <a:pt x="186" y="384"/>
                </a:lnTo>
                <a:lnTo>
                  <a:pt x="186" y="384"/>
                </a:lnTo>
                <a:lnTo>
                  <a:pt x="186" y="384"/>
                </a:lnTo>
                <a:lnTo>
                  <a:pt x="186" y="384"/>
                </a:lnTo>
                <a:lnTo>
                  <a:pt x="186" y="384"/>
                </a:lnTo>
                <a:lnTo>
                  <a:pt x="186" y="384"/>
                </a:lnTo>
                <a:lnTo>
                  <a:pt x="186" y="384"/>
                </a:lnTo>
                <a:lnTo>
                  <a:pt x="186" y="384"/>
                </a:lnTo>
                <a:lnTo>
                  <a:pt x="186" y="384"/>
                </a:lnTo>
                <a:lnTo>
                  <a:pt x="186" y="384"/>
                </a:lnTo>
                <a:lnTo>
                  <a:pt x="186" y="384"/>
                </a:lnTo>
                <a:lnTo>
                  <a:pt x="192" y="384"/>
                </a:lnTo>
                <a:lnTo>
                  <a:pt x="192" y="384"/>
                </a:lnTo>
                <a:lnTo>
                  <a:pt x="192" y="384"/>
                </a:lnTo>
                <a:lnTo>
                  <a:pt x="192" y="384"/>
                </a:lnTo>
                <a:lnTo>
                  <a:pt x="192" y="384"/>
                </a:lnTo>
                <a:lnTo>
                  <a:pt x="192" y="378"/>
                </a:lnTo>
                <a:lnTo>
                  <a:pt x="192" y="378"/>
                </a:lnTo>
                <a:lnTo>
                  <a:pt x="192" y="378"/>
                </a:lnTo>
                <a:lnTo>
                  <a:pt x="192" y="378"/>
                </a:lnTo>
                <a:lnTo>
                  <a:pt x="192" y="378"/>
                </a:lnTo>
                <a:lnTo>
                  <a:pt x="192" y="378"/>
                </a:lnTo>
                <a:lnTo>
                  <a:pt x="192" y="378"/>
                </a:lnTo>
                <a:lnTo>
                  <a:pt x="192" y="378"/>
                </a:lnTo>
                <a:lnTo>
                  <a:pt x="192" y="378"/>
                </a:lnTo>
                <a:lnTo>
                  <a:pt x="192" y="378"/>
                </a:lnTo>
                <a:lnTo>
                  <a:pt x="192" y="378"/>
                </a:lnTo>
                <a:lnTo>
                  <a:pt x="192" y="378"/>
                </a:lnTo>
                <a:lnTo>
                  <a:pt x="192" y="378"/>
                </a:lnTo>
                <a:lnTo>
                  <a:pt x="198" y="378"/>
                </a:lnTo>
                <a:lnTo>
                  <a:pt x="198" y="378"/>
                </a:lnTo>
                <a:lnTo>
                  <a:pt x="198" y="372"/>
                </a:lnTo>
                <a:lnTo>
                  <a:pt x="198" y="372"/>
                </a:lnTo>
                <a:lnTo>
                  <a:pt x="198" y="372"/>
                </a:lnTo>
                <a:lnTo>
                  <a:pt x="198" y="372"/>
                </a:lnTo>
                <a:lnTo>
                  <a:pt x="198" y="372"/>
                </a:lnTo>
                <a:lnTo>
                  <a:pt x="198" y="372"/>
                </a:lnTo>
                <a:lnTo>
                  <a:pt x="204" y="372"/>
                </a:lnTo>
                <a:lnTo>
                  <a:pt x="204" y="372"/>
                </a:lnTo>
                <a:lnTo>
                  <a:pt x="204" y="372"/>
                </a:lnTo>
                <a:lnTo>
                  <a:pt x="204" y="366"/>
                </a:lnTo>
                <a:lnTo>
                  <a:pt x="204" y="366"/>
                </a:lnTo>
                <a:lnTo>
                  <a:pt x="204" y="366"/>
                </a:lnTo>
                <a:lnTo>
                  <a:pt x="204" y="360"/>
                </a:lnTo>
                <a:lnTo>
                  <a:pt x="204" y="360"/>
                </a:lnTo>
                <a:lnTo>
                  <a:pt x="204" y="360"/>
                </a:lnTo>
                <a:lnTo>
                  <a:pt x="204" y="354"/>
                </a:lnTo>
                <a:lnTo>
                  <a:pt x="204" y="354"/>
                </a:lnTo>
                <a:lnTo>
                  <a:pt x="204" y="354"/>
                </a:lnTo>
                <a:lnTo>
                  <a:pt x="204" y="354"/>
                </a:lnTo>
                <a:lnTo>
                  <a:pt x="204" y="354"/>
                </a:lnTo>
                <a:lnTo>
                  <a:pt x="204" y="354"/>
                </a:lnTo>
                <a:lnTo>
                  <a:pt x="204" y="354"/>
                </a:lnTo>
                <a:lnTo>
                  <a:pt x="204" y="348"/>
                </a:lnTo>
                <a:lnTo>
                  <a:pt x="204" y="348"/>
                </a:lnTo>
                <a:lnTo>
                  <a:pt x="204" y="348"/>
                </a:lnTo>
                <a:lnTo>
                  <a:pt x="204" y="348"/>
                </a:lnTo>
                <a:lnTo>
                  <a:pt x="204" y="348"/>
                </a:lnTo>
                <a:lnTo>
                  <a:pt x="204" y="348"/>
                </a:lnTo>
                <a:lnTo>
                  <a:pt x="204" y="342"/>
                </a:lnTo>
                <a:lnTo>
                  <a:pt x="204" y="342"/>
                </a:lnTo>
                <a:lnTo>
                  <a:pt x="204" y="342"/>
                </a:lnTo>
                <a:lnTo>
                  <a:pt x="204" y="342"/>
                </a:lnTo>
                <a:lnTo>
                  <a:pt x="204" y="342"/>
                </a:lnTo>
                <a:lnTo>
                  <a:pt x="204" y="342"/>
                </a:lnTo>
                <a:lnTo>
                  <a:pt x="204" y="336"/>
                </a:lnTo>
                <a:lnTo>
                  <a:pt x="204" y="336"/>
                </a:lnTo>
                <a:lnTo>
                  <a:pt x="210" y="336"/>
                </a:lnTo>
                <a:lnTo>
                  <a:pt x="210" y="330"/>
                </a:lnTo>
                <a:lnTo>
                  <a:pt x="204" y="330"/>
                </a:lnTo>
                <a:lnTo>
                  <a:pt x="204" y="330"/>
                </a:lnTo>
                <a:lnTo>
                  <a:pt x="204" y="330"/>
                </a:lnTo>
                <a:lnTo>
                  <a:pt x="204" y="324"/>
                </a:lnTo>
                <a:lnTo>
                  <a:pt x="204" y="324"/>
                </a:lnTo>
                <a:lnTo>
                  <a:pt x="204" y="324"/>
                </a:lnTo>
                <a:lnTo>
                  <a:pt x="204" y="324"/>
                </a:lnTo>
                <a:lnTo>
                  <a:pt x="204" y="318"/>
                </a:lnTo>
                <a:lnTo>
                  <a:pt x="204" y="318"/>
                </a:lnTo>
                <a:lnTo>
                  <a:pt x="204" y="312"/>
                </a:lnTo>
                <a:lnTo>
                  <a:pt x="204" y="312"/>
                </a:lnTo>
                <a:lnTo>
                  <a:pt x="204" y="306"/>
                </a:lnTo>
                <a:lnTo>
                  <a:pt x="204" y="306"/>
                </a:lnTo>
                <a:lnTo>
                  <a:pt x="204" y="300"/>
                </a:lnTo>
                <a:lnTo>
                  <a:pt x="210" y="294"/>
                </a:lnTo>
                <a:lnTo>
                  <a:pt x="210" y="288"/>
                </a:lnTo>
                <a:lnTo>
                  <a:pt x="210" y="288"/>
                </a:lnTo>
                <a:lnTo>
                  <a:pt x="216" y="288"/>
                </a:lnTo>
                <a:lnTo>
                  <a:pt x="216" y="282"/>
                </a:lnTo>
                <a:lnTo>
                  <a:pt x="216" y="282"/>
                </a:lnTo>
                <a:lnTo>
                  <a:pt x="216" y="276"/>
                </a:lnTo>
                <a:lnTo>
                  <a:pt x="216" y="276"/>
                </a:lnTo>
                <a:lnTo>
                  <a:pt x="222" y="270"/>
                </a:lnTo>
                <a:lnTo>
                  <a:pt x="222" y="270"/>
                </a:lnTo>
                <a:lnTo>
                  <a:pt x="222" y="264"/>
                </a:lnTo>
                <a:lnTo>
                  <a:pt x="222" y="264"/>
                </a:lnTo>
                <a:lnTo>
                  <a:pt x="222" y="264"/>
                </a:lnTo>
                <a:lnTo>
                  <a:pt x="228" y="258"/>
                </a:lnTo>
                <a:lnTo>
                  <a:pt x="222" y="258"/>
                </a:lnTo>
                <a:lnTo>
                  <a:pt x="222" y="258"/>
                </a:lnTo>
                <a:lnTo>
                  <a:pt x="228" y="252"/>
                </a:lnTo>
                <a:lnTo>
                  <a:pt x="228" y="246"/>
                </a:lnTo>
                <a:lnTo>
                  <a:pt x="234" y="246"/>
                </a:lnTo>
                <a:lnTo>
                  <a:pt x="234" y="246"/>
                </a:lnTo>
                <a:lnTo>
                  <a:pt x="234" y="240"/>
                </a:lnTo>
                <a:lnTo>
                  <a:pt x="234" y="240"/>
                </a:lnTo>
                <a:lnTo>
                  <a:pt x="234" y="240"/>
                </a:lnTo>
                <a:lnTo>
                  <a:pt x="234" y="240"/>
                </a:lnTo>
                <a:lnTo>
                  <a:pt x="234" y="240"/>
                </a:lnTo>
                <a:lnTo>
                  <a:pt x="234" y="240"/>
                </a:lnTo>
                <a:lnTo>
                  <a:pt x="234" y="240"/>
                </a:lnTo>
                <a:lnTo>
                  <a:pt x="234" y="240"/>
                </a:lnTo>
                <a:lnTo>
                  <a:pt x="234" y="234"/>
                </a:lnTo>
                <a:lnTo>
                  <a:pt x="234" y="234"/>
                </a:lnTo>
                <a:lnTo>
                  <a:pt x="240" y="234"/>
                </a:lnTo>
                <a:lnTo>
                  <a:pt x="240" y="234"/>
                </a:lnTo>
                <a:lnTo>
                  <a:pt x="240" y="234"/>
                </a:lnTo>
                <a:lnTo>
                  <a:pt x="240" y="234"/>
                </a:lnTo>
                <a:lnTo>
                  <a:pt x="240" y="234"/>
                </a:lnTo>
                <a:lnTo>
                  <a:pt x="240" y="240"/>
                </a:lnTo>
                <a:lnTo>
                  <a:pt x="240" y="240"/>
                </a:lnTo>
                <a:lnTo>
                  <a:pt x="240" y="240"/>
                </a:lnTo>
                <a:lnTo>
                  <a:pt x="240" y="234"/>
                </a:lnTo>
                <a:lnTo>
                  <a:pt x="240" y="234"/>
                </a:lnTo>
                <a:lnTo>
                  <a:pt x="240" y="234"/>
                </a:lnTo>
                <a:lnTo>
                  <a:pt x="246" y="234"/>
                </a:lnTo>
                <a:lnTo>
                  <a:pt x="240" y="228"/>
                </a:lnTo>
                <a:lnTo>
                  <a:pt x="246" y="228"/>
                </a:lnTo>
                <a:lnTo>
                  <a:pt x="246" y="222"/>
                </a:lnTo>
                <a:lnTo>
                  <a:pt x="246" y="222"/>
                </a:lnTo>
                <a:lnTo>
                  <a:pt x="246" y="222"/>
                </a:lnTo>
                <a:lnTo>
                  <a:pt x="252" y="216"/>
                </a:lnTo>
                <a:lnTo>
                  <a:pt x="252" y="216"/>
                </a:lnTo>
                <a:lnTo>
                  <a:pt x="252" y="216"/>
                </a:lnTo>
                <a:lnTo>
                  <a:pt x="252" y="210"/>
                </a:lnTo>
                <a:lnTo>
                  <a:pt x="258" y="210"/>
                </a:lnTo>
                <a:lnTo>
                  <a:pt x="258" y="210"/>
                </a:lnTo>
                <a:lnTo>
                  <a:pt x="258" y="210"/>
                </a:lnTo>
                <a:lnTo>
                  <a:pt x="252" y="210"/>
                </a:lnTo>
                <a:lnTo>
                  <a:pt x="252" y="210"/>
                </a:lnTo>
                <a:lnTo>
                  <a:pt x="252" y="210"/>
                </a:lnTo>
                <a:lnTo>
                  <a:pt x="252" y="204"/>
                </a:lnTo>
                <a:lnTo>
                  <a:pt x="258" y="204"/>
                </a:lnTo>
                <a:lnTo>
                  <a:pt x="264" y="204"/>
                </a:lnTo>
                <a:lnTo>
                  <a:pt x="264" y="198"/>
                </a:lnTo>
                <a:lnTo>
                  <a:pt x="264" y="198"/>
                </a:lnTo>
                <a:lnTo>
                  <a:pt x="264" y="198"/>
                </a:lnTo>
                <a:lnTo>
                  <a:pt x="264" y="192"/>
                </a:lnTo>
                <a:lnTo>
                  <a:pt x="264" y="192"/>
                </a:lnTo>
                <a:lnTo>
                  <a:pt x="264" y="198"/>
                </a:lnTo>
                <a:lnTo>
                  <a:pt x="270" y="192"/>
                </a:lnTo>
                <a:lnTo>
                  <a:pt x="270" y="192"/>
                </a:lnTo>
                <a:lnTo>
                  <a:pt x="270" y="192"/>
                </a:lnTo>
                <a:lnTo>
                  <a:pt x="270" y="192"/>
                </a:lnTo>
                <a:lnTo>
                  <a:pt x="270" y="192"/>
                </a:lnTo>
                <a:lnTo>
                  <a:pt x="270" y="192"/>
                </a:lnTo>
                <a:lnTo>
                  <a:pt x="270" y="192"/>
                </a:lnTo>
                <a:lnTo>
                  <a:pt x="270" y="186"/>
                </a:lnTo>
                <a:lnTo>
                  <a:pt x="270" y="186"/>
                </a:lnTo>
                <a:lnTo>
                  <a:pt x="270" y="186"/>
                </a:lnTo>
                <a:lnTo>
                  <a:pt x="270" y="186"/>
                </a:lnTo>
                <a:lnTo>
                  <a:pt x="276" y="186"/>
                </a:lnTo>
                <a:lnTo>
                  <a:pt x="276" y="180"/>
                </a:lnTo>
                <a:lnTo>
                  <a:pt x="276" y="180"/>
                </a:lnTo>
                <a:lnTo>
                  <a:pt x="276" y="180"/>
                </a:lnTo>
                <a:lnTo>
                  <a:pt x="282" y="180"/>
                </a:lnTo>
                <a:lnTo>
                  <a:pt x="276" y="174"/>
                </a:lnTo>
                <a:lnTo>
                  <a:pt x="276" y="174"/>
                </a:lnTo>
                <a:lnTo>
                  <a:pt x="282" y="174"/>
                </a:lnTo>
                <a:lnTo>
                  <a:pt x="282" y="174"/>
                </a:lnTo>
                <a:lnTo>
                  <a:pt x="282" y="174"/>
                </a:lnTo>
                <a:lnTo>
                  <a:pt x="282" y="174"/>
                </a:lnTo>
                <a:lnTo>
                  <a:pt x="282" y="174"/>
                </a:lnTo>
                <a:lnTo>
                  <a:pt x="282" y="168"/>
                </a:lnTo>
                <a:lnTo>
                  <a:pt x="282" y="168"/>
                </a:lnTo>
                <a:lnTo>
                  <a:pt x="282" y="168"/>
                </a:lnTo>
                <a:lnTo>
                  <a:pt x="282" y="168"/>
                </a:lnTo>
                <a:lnTo>
                  <a:pt x="282" y="168"/>
                </a:lnTo>
                <a:lnTo>
                  <a:pt x="282" y="168"/>
                </a:lnTo>
                <a:lnTo>
                  <a:pt x="282" y="162"/>
                </a:lnTo>
                <a:lnTo>
                  <a:pt x="282" y="162"/>
                </a:lnTo>
                <a:lnTo>
                  <a:pt x="282" y="162"/>
                </a:lnTo>
                <a:lnTo>
                  <a:pt x="282" y="156"/>
                </a:lnTo>
                <a:lnTo>
                  <a:pt x="282" y="156"/>
                </a:lnTo>
                <a:lnTo>
                  <a:pt x="288" y="156"/>
                </a:lnTo>
                <a:lnTo>
                  <a:pt x="288" y="156"/>
                </a:lnTo>
                <a:lnTo>
                  <a:pt x="294" y="156"/>
                </a:lnTo>
                <a:lnTo>
                  <a:pt x="294" y="150"/>
                </a:lnTo>
                <a:lnTo>
                  <a:pt x="294" y="150"/>
                </a:lnTo>
                <a:lnTo>
                  <a:pt x="294" y="150"/>
                </a:lnTo>
                <a:lnTo>
                  <a:pt x="294" y="150"/>
                </a:lnTo>
                <a:lnTo>
                  <a:pt x="294" y="144"/>
                </a:lnTo>
                <a:lnTo>
                  <a:pt x="294" y="144"/>
                </a:lnTo>
                <a:lnTo>
                  <a:pt x="300" y="144"/>
                </a:lnTo>
                <a:lnTo>
                  <a:pt x="294" y="144"/>
                </a:lnTo>
                <a:lnTo>
                  <a:pt x="294" y="138"/>
                </a:lnTo>
                <a:lnTo>
                  <a:pt x="294" y="138"/>
                </a:lnTo>
                <a:lnTo>
                  <a:pt x="294" y="138"/>
                </a:lnTo>
                <a:lnTo>
                  <a:pt x="294" y="138"/>
                </a:lnTo>
                <a:lnTo>
                  <a:pt x="300" y="132"/>
                </a:lnTo>
                <a:lnTo>
                  <a:pt x="300" y="132"/>
                </a:lnTo>
                <a:lnTo>
                  <a:pt x="294" y="132"/>
                </a:lnTo>
                <a:lnTo>
                  <a:pt x="294" y="132"/>
                </a:lnTo>
                <a:lnTo>
                  <a:pt x="300" y="132"/>
                </a:lnTo>
                <a:lnTo>
                  <a:pt x="300" y="132"/>
                </a:lnTo>
                <a:lnTo>
                  <a:pt x="300" y="132"/>
                </a:lnTo>
                <a:lnTo>
                  <a:pt x="300" y="126"/>
                </a:lnTo>
                <a:lnTo>
                  <a:pt x="300" y="126"/>
                </a:lnTo>
                <a:lnTo>
                  <a:pt x="300" y="126"/>
                </a:lnTo>
                <a:lnTo>
                  <a:pt x="300" y="126"/>
                </a:lnTo>
                <a:lnTo>
                  <a:pt x="300" y="126"/>
                </a:lnTo>
                <a:lnTo>
                  <a:pt x="306" y="120"/>
                </a:lnTo>
                <a:lnTo>
                  <a:pt x="306" y="120"/>
                </a:lnTo>
                <a:lnTo>
                  <a:pt x="306" y="120"/>
                </a:lnTo>
                <a:lnTo>
                  <a:pt x="306" y="120"/>
                </a:lnTo>
                <a:lnTo>
                  <a:pt x="306" y="120"/>
                </a:lnTo>
                <a:lnTo>
                  <a:pt x="306" y="120"/>
                </a:lnTo>
                <a:lnTo>
                  <a:pt x="306" y="114"/>
                </a:lnTo>
                <a:lnTo>
                  <a:pt x="306" y="114"/>
                </a:lnTo>
                <a:lnTo>
                  <a:pt x="306" y="114"/>
                </a:lnTo>
                <a:lnTo>
                  <a:pt x="306" y="114"/>
                </a:lnTo>
                <a:lnTo>
                  <a:pt x="306" y="108"/>
                </a:lnTo>
                <a:lnTo>
                  <a:pt x="306" y="108"/>
                </a:lnTo>
                <a:lnTo>
                  <a:pt x="300" y="108"/>
                </a:lnTo>
                <a:lnTo>
                  <a:pt x="300" y="102"/>
                </a:lnTo>
                <a:lnTo>
                  <a:pt x="306" y="102"/>
                </a:lnTo>
                <a:lnTo>
                  <a:pt x="300" y="102"/>
                </a:lnTo>
                <a:lnTo>
                  <a:pt x="306" y="102"/>
                </a:lnTo>
                <a:lnTo>
                  <a:pt x="300" y="102"/>
                </a:lnTo>
                <a:lnTo>
                  <a:pt x="300" y="102"/>
                </a:lnTo>
                <a:lnTo>
                  <a:pt x="300" y="102"/>
                </a:lnTo>
                <a:lnTo>
                  <a:pt x="300" y="102"/>
                </a:lnTo>
                <a:lnTo>
                  <a:pt x="300" y="96"/>
                </a:lnTo>
                <a:lnTo>
                  <a:pt x="300" y="96"/>
                </a:lnTo>
                <a:lnTo>
                  <a:pt x="300" y="96"/>
                </a:lnTo>
                <a:lnTo>
                  <a:pt x="300" y="96"/>
                </a:lnTo>
                <a:lnTo>
                  <a:pt x="300" y="96"/>
                </a:lnTo>
                <a:lnTo>
                  <a:pt x="300" y="96"/>
                </a:lnTo>
                <a:lnTo>
                  <a:pt x="300" y="90"/>
                </a:lnTo>
                <a:lnTo>
                  <a:pt x="300" y="90"/>
                </a:lnTo>
                <a:lnTo>
                  <a:pt x="300" y="90"/>
                </a:lnTo>
                <a:lnTo>
                  <a:pt x="300" y="90"/>
                </a:lnTo>
                <a:lnTo>
                  <a:pt x="300" y="84"/>
                </a:lnTo>
                <a:lnTo>
                  <a:pt x="300" y="84"/>
                </a:lnTo>
                <a:lnTo>
                  <a:pt x="300" y="84"/>
                </a:lnTo>
                <a:lnTo>
                  <a:pt x="300" y="84"/>
                </a:lnTo>
                <a:lnTo>
                  <a:pt x="300" y="84"/>
                </a:lnTo>
                <a:lnTo>
                  <a:pt x="300" y="84"/>
                </a:lnTo>
                <a:lnTo>
                  <a:pt x="300" y="84"/>
                </a:lnTo>
                <a:lnTo>
                  <a:pt x="300" y="78"/>
                </a:lnTo>
                <a:lnTo>
                  <a:pt x="300" y="78"/>
                </a:lnTo>
                <a:lnTo>
                  <a:pt x="300" y="78"/>
                </a:lnTo>
                <a:lnTo>
                  <a:pt x="300" y="78"/>
                </a:lnTo>
                <a:lnTo>
                  <a:pt x="300" y="84"/>
                </a:lnTo>
                <a:lnTo>
                  <a:pt x="306" y="84"/>
                </a:lnTo>
                <a:lnTo>
                  <a:pt x="306" y="78"/>
                </a:lnTo>
                <a:lnTo>
                  <a:pt x="300" y="72"/>
                </a:lnTo>
                <a:lnTo>
                  <a:pt x="300" y="72"/>
                </a:lnTo>
                <a:lnTo>
                  <a:pt x="300" y="72"/>
                </a:lnTo>
                <a:lnTo>
                  <a:pt x="300" y="72"/>
                </a:lnTo>
                <a:lnTo>
                  <a:pt x="306" y="66"/>
                </a:lnTo>
                <a:lnTo>
                  <a:pt x="306" y="66"/>
                </a:lnTo>
                <a:lnTo>
                  <a:pt x="306" y="66"/>
                </a:lnTo>
                <a:lnTo>
                  <a:pt x="306" y="66"/>
                </a:lnTo>
                <a:lnTo>
                  <a:pt x="306" y="66"/>
                </a:lnTo>
                <a:lnTo>
                  <a:pt x="306" y="60"/>
                </a:lnTo>
                <a:lnTo>
                  <a:pt x="312" y="60"/>
                </a:lnTo>
                <a:lnTo>
                  <a:pt x="312" y="60"/>
                </a:lnTo>
                <a:lnTo>
                  <a:pt x="312" y="60"/>
                </a:lnTo>
                <a:lnTo>
                  <a:pt x="312" y="60"/>
                </a:lnTo>
                <a:lnTo>
                  <a:pt x="312" y="60"/>
                </a:lnTo>
                <a:lnTo>
                  <a:pt x="312" y="60"/>
                </a:lnTo>
                <a:lnTo>
                  <a:pt x="312" y="54"/>
                </a:lnTo>
                <a:lnTo>
                  <a:pt x="312" y="54"/>
                </a:lnTo>
                <a:lnTo>
                  <a:pt x="318" y="54"/>
                </a:lnTo>
                <a:lnTo>
                  <a:pt x="318" y="48"/>
                </a:lnTo>
                <a:lnTo>
                  <a:pt x="318" y="48"/>
                </a:lnTo>
                <a:lnTo>
                  <a:pt x="318" y="42"/>
                </a:lnTo>
                <a:lnTo>
                  <a:pt x="318" y="42"/>
                </a:lnTo>
                <a:lnTo>
                  <a:pt x="318" y="42"/>
                </a:lnTo>
                <a:lnTo>
                  <a:pt x="318" y="42"/>
                </a:lnTo>
                <a:lnTo>
                  <a:pt x="318" y="42"/>
                </a:lnTo>
                <a:lnTo>
                  <a:pt x="318" y="42"/>
                </a:lnTo>
                <a:lnTo>
                  <a:pt x="318" y="42"/>
                </a:lnTo>
                <a:lnTo>
                  <a:pt x="318" y="42"/>
                </a:lnTo>
                <a:lnTo>
                  <a:pt x="318" y="36"/>
                </a:lnTo>
                <a:lnTo>
                  <a:pt x="318" y="36"/>
                </a:lnTo>
                <a:lnTo>
                  <a:pt x="324" y="36"/>
                </a:lnTo>
                <a:lnTo>
                  <a:pt x="324" y="36"/>
                </a:lnTo>
                <a:lnTo>
                  <a:pt x="318" y="36"/>
                </a:lnTo>
                <a:lnTo>
                  <a:pt x="318" y="36"/>
                </a:lnTo>
                <a:lnTo>
                  <a:pt x="318" y="36"/>
                </a:lnTo>
                <a:lnTo>
                  <a:pt x="318" y="30"/>
                </a:lnTo>
                <a:lnTo>
                  <a:pt x="318" y="30"/>
                </a:lnTo>
                <a:lnTo>
                  <a:pt x="318" y="30"/>
                </a:lnTo>
                <a:lnTo>
                  <a:pt x="318" y="30"/>
                </a:lnTo>
                <a:lnTo>
                  <a:pt x="318" y="24"/>
                </a:lnTo>
                <a:lnTo>
                  <a:pt x="318" y="24"/>
                </a:lnTo>
                <a:lnTo>
                  <a:pt x="324" y="24"/>
                </a:lnTo>
                <a:lnTo>
                  <a:pt x="324" y="24"/>
                </a:lnTo>
                <a:lnTo>
                  <a:pt x="324" y="12"/>
                </a:lnTo>
                <a:lnTo>
                  <a:pt x="324" y="12"/>
                </a:lnTo>
                <a:lnTo>
                  <a:pt x="324" y="12"/>
                </a:lnTo>
                <a:lnTo>
                  <a:pt x="324" y="12"/>
                </a:lnTo>
                <a:lnTo>
                  <a:pt x="324" y="12"/>
                </a:lnTo>
                <a:lnTo>
                  <a:pt x="324" y="12"/>
                </a:lnTo>
                <a:lnTo>
                  <a:pt x="330" y="12"/>
                </a:lnTo>
                <a:lnTo>
                  <a:pt x="330" y="6"/>
                </a:lnTo>
                <a:lnTo>
                  <a:pt x="330" y="6"/>
                </a:lnTo>
                <a:lnTo>
                  <a:pt x="330" y="6"/>
                </a:lnTo>
                <a:lnTo>
                  <a:pt x="336" y="6"/>
                </a:lnTo>
                <a:lnTo>
                  <a:pt x="336" y="0"/>
                </a:lnTo>
                <a:lnTo>
                  <a:pt x="336" y="0"/>
                </a:lnTo>
                <a:lnTo>
                  <a:pt x="336" y="6"/>
                </a:lnTo>
                <a:lnTo>
                  <a:pt x="336" y="6"/>
                </a:lnTo>
                <a:lnTo>
                  <a:pt x="336" y="12"/>
                </a:lnTo>
                <a:lnTo>
                  <a:pt x="336" y="12"/>
                </a:lnTo>
                <a:lnTo>
                  <a:pt x="336" y="12"/>
                </a:lnTo>
                <a:lnTo>
                  <a:pt x="342" y="12"/>
                </a:lnTo>
                <a:lnTo>
                  <a:pt x="342" y="18"/>
                </a:lnTo>
                <a:lnTo>
                  <a:pt x="342" y="18"/>
                </a:lnTo>
                <a:lnTo>
                  <a:pt x="342" y="24"/>
                </a:lnTo>
                <a:lnTo>
                  <a:pt x="342" y="24"/>
                </a:lnTo>
                <a:lnTo>
                  <a:pt x="342" y="24"/>
                </a:lnTo>
                <a:lnTo>
                  <a:pt x="342" y="30"/>
                </a:lnTo>
                <a:lnTo>
                  <a:pt x="336" y="30"/>
                </a:lnTo>
                <a:lnTo>
                  <a:pt x="336" y="30"/>
                </a:lnTo>
                <a:lnTo>
                  <a:pt x="336" y="36"/>
                </a:lnTo>
                <a:lnTo>
                  <a:pt x="336" y="36"/>
                </a:lnTo>
                <a:lnTo>
                  <a:pt x="336" y="36"/>
                </a:lnTo>
                <a:lnTo>
                  <a:pt x="336" y="36"/>
                </a:lnTo>
                <a:lnTo>
                  <a:pt x="342" y="42"/>
                </a:lnTo>
                <a:lnTo>
                  <a:pt x="342" y="42"/>
                </a:lnTo>
                <a:lnTo>
                  <a:pt x="342" y="48"/>
                </a:lnTo>
                <a:lnTo>
                  <a:pt x="342" y="48"/>
                </a:lnTo>
                <a:lnTo>
                  <a:pt x="336" y="54"/>
                </a:lnTo>
                <a:lnTo>
                  <a:pt x="336" y="54"/>
                </a:lnTo>
                <a:lnTo>
                  <a:pt x="336" y="60"/>
                </a:lnTo>
                <a:lnTo>
                  <a:pt x="336" y="60"/>
                </a:lnTo>
                <a:lnTo>
                  <a:pt x="342" y="60"/>
                </a:lnTo>
                <a:lnTo>
                  <a:pt x="342" y="60"/>
                </a:lnTo>
                <a:lnTo>
                  <a:pt x="342" y="66"/>
                </a:lnTo>
                <a:lnTo>
                  <a:pt x="342" y="66"/>
                </a:lnTo>
                <a:lnTo>
                  <a:pt x="348" y="66"/>
                </a:lnTo>
                <a:lnTo>
                  <a:pt x="348" y="66"/>
                </a:lnTo>
                <a:lnTo>
                  <a:pt x="342" y="72"/>
                </a:lnTo>
                <a:lnTo>
                  <a:pt x="342" y="72"/>
                </a:lnTo>
                <a:lnTo>
                  <a:pt x="342" y="72"/>
                </a:lnTo>
                <a:lnTo>
                  <a:pt x="342" y="72"/>
                </a:lnTo>
                <a:lnTo>
                  <a:pt x="342" y="78"/>
                </a:lnTo>
                <a:lnTo>
                  <a:pt x="342" y="78"/>
                </a:lnTo>
                <a:lnTo>
                  <a:pt x="348" y="84"/>
                </a:lnTo>
                <a:lnTo>
                  <a:pt x="342" y="84"/>
                </a:lnTo>
                <a:lnTo>
                  <a:pt x="348" y="90"/>
                </a:lnTo>
                <a:lnTo>
                  <a:pt x="348" y="90"/>
                </a:lnTo>
                <a:lnTo>
                  <a:pt x="348" y="90"/>
                </a:lnTo>
                <a:lnTo>
                  <a:pt x="348" y="90"/>
                </a:lnTo>
                <a:lnTo>
                  <a:pt x="342" y="90"/>
                </a:lnTo>
                <a:lnTo>
                  <a:pt x="342" y="90"/>
                </a:lnTo>
                <a:lnTo>
                  <a:pt x="342" y="96"/>
                </a:lnTo>
                <a:lnTo>
                  <a:pt x="342" y="96"/>
                </a:lnTo>
                <a:lnTo>
                  <a:pt x="342" y="102"/>
                </a:lnTo>
                <a:lnTo>
                  <a:pt x="336" y="102"/>
                </a:lnTo>
                <a:lnTo>
                  <a:pt x="336" y="108"/>
                </a:lnTo>
                <a:lnTo>
                  <a:pt x="342" y="108"/>
                </a:lnTo>
                <a:lnTo>
                  <a:pt x="342" y="108"/>
                </a:lnTo>
                <a:lnTo>
                  <a:pt x="342" y="108"/>
                </a:lnTo>
                <a:lnTo>
                  <a:pt x="336" y="108"/>
                </a:lnTo>
                <a:lnTo>
                  <a:pt x="336" y="108"/>
                </a:lnTo>
                <a:lnTo>
                  <a:pt x="336" y="114"/>
                </a:lnTo>
                <a:lnTo>
                  <a:pt x="336" y="114"/>
                </a:lnTo>
                <a:lnTo>
                  <a:pt x="336" y="114"/>
                </a:lnTo>
                <a:lnTo>
                  <a:pt x="342" y="114"/>
                </a:lnTo>
                <a:lnTo>
                  <a:pt x="342" y="120"/>
                </a:lnTo>
                <a:lnTo>
                  <a:pt x="342" y="120"/>
                </a:lnTo>
                <a:lnTo>
                  <a:pt x="342" y="120"/>
                </a:lnTo>
                <a:lnTo>
                  <a:pt x="342" y="120"/>
                </a:lnTo>
                <a:lnTo>
                  <a:pt x="342" y="126"/>
                </a:lnTo>
                <a:lnTo>
                  <a:pt x="342" y="126"/>
                </a:lnTo>
                <a:lnTo>
                  <a:pt x="348" y="126"/>
                </a:lnTo>
                <a:lnTo>
                  <a:pt x="342" y="126"/>
                </a:lnTo>
                <a:lnTo>
                  <a:pt x="348" y="126"/>
                </a:lnTo>
                <a:lnTo>
                  <a:pt x="348" y="132"/>
                </a:lnTo>
                <a:lnTo>
                  <a:pt x="342" y="132"/>
                </a:lnTo>
                <a:lnTo>
                  <a:pt x="348" y="132"/>
                </a:lnTo>
                <a:lnTo>
                  <a:pt x="348" y="132"/>
                </a:lnTo>
                <a:lnTo>
                  <a:pt x="348" y="132"/>
                </a:lnTo>
                <a:lnTo>
                  <a:pt x="348" y="138"/>
                </a:lnTo>
                <a:lnTo>
                  <a:pt x="348" y="138"/>
                </a:lnTo>
                <a:lnTo>
                  <a:pt x="348" y="138"/>
                </a:lnTo>
                <a:lnTo>
                  <a:pt x="348" y="138"/>
                </a:lnTo>
                <a:lnTo>
                  <a:pt x="348" y="138"/>
                </a:lnTo>
                <a:lnTo>
                  <a:pt x="348" y="138"/>
                </a:lnTo>
                <a:lnTo>
                  <a:pt x="354" y="138"/>
                </a:lnTo>
                <a:lnTo>
                  <a:pt x="354" y="138"/>
                </a:lnTo>
                <a:lnTo>
                  <a:pt x="354" y="138"/>
                </a:lnTo>
                <a:lnTo>
                  <a:pt x="354" y="138"/>
                </a:lnTo>
                <a:lnTo>
                  <a:pt x="354" y="138"/>
                </a:lnTo>
                <a:lnTo>
                  <a:pt x="348" y="138"/>
                </a:lnTo>
                <a:lnTo>
                  <a:pt x="348" y="138"/>
                </a:lnTo>
                <a:lnTo>
                  <a:pt x="354" y="144"/>
                </a:lnTo>
                <a:lnTo>
                  <a:pt x="360" y="144"/>
                </a:lnTo>
                <a:lnTo>
                  <a:pt x="360" y="144"/>
                </a:lnTo>
                <a:lnTo>
                  <a:pt x="360" y="144"/>
                </a:lnTo>
                <a:lnTo>
                  <a:pt x="360" y="144"/>
                </a:lnTo>
                <a:lnTo>
                  <a:pt x="360" y="144"/>
                </a:lnTo>
                <a:lnTo>
                  <a:pt x="360" y="150"/>
                </a:lnTo>
                <a:lnTo>
                  <a:pt x="360" y="150"/>
                </a:lnTo>
                <a:lnTo>
                  <a:pt x="360" y="150"/>
                </a:lnTo>
                <a:lnTo>
                  <a:pt x="360" y="156"/>
                </a:lnTo>
                <a:lnTo>
                  <a:pt x="360" y="162"/>
                </a:lnTo>
                <a:lnTo>
                  <a:pt x="354" y="162"/>
                </a:lnTo>
                <a:lnTo>
                  <a:pt x="354" y="162"/>
                </a:lnTo>
                <a:lnTo>
                  <a:pt x="354" y="162"/>
                </a:lnTo>
                <a:lnTo>
                  <a:pt x="354" y="162"/>
                </a:lnTo>
                <a:lnTo>
                  <a:pt x="348" y="162"/>
                </a:lnTo>
                <a:lnTo>
                  <a:pt x="348" y="168"/>
                </a:lnTo>
                <a:lnTo>
                  <a:pt x="354" y="168"/>
                </a:lnTo>
                <a:lnTo>
                  <a:pt x="354" y="168"/>
                </a:lnTo>
                <a:lnTo>
                  <a:pt x="354" y="168"/>
                </a:lnTo>
                <a:lnTo>
                  <a:pt x="348" y="168"/>
                </a:lnTo>
                <a:lnTo>
                  <a:pt x="348" y="168"/>
                </a:lnTo>
                <a:lnTo>
                  <a:pt x="348" y="174"/>
                </a:lnTo>
                <a:lnTo>
                  <a:pt x="348" y="174"/>
                </a:lnTo>
                <a:lnTo>
                  <a:pt x="348" y="174"/>
                </a:lnTo>
                <a:lnTo>
                  <a:pt x="348" y="180"/>
                </a:lnTo>
                <a:lnTo>
                  <a:pt x="348" y="186"/>
                </a:lnTo>
                <a:lnTo>
                  <a:pt x="348" y="186"/>
                </a:lnTo>
                <a:lnTo>
                  <a:pt x="348" y="186"/>
                </a:lnTo>
                <a:lnTo>
                  <a:pt x="348" y="186"/>
                </a:lnTo>
                <a:lnTo>
                  <a:pt x="348" y="192"/>
                </a:lnTo>
                <a:lnTo>
                  <a:pt x="354" y="192"/>
                </a:lnTo>
                <a:lnTo>
                  <a:pt x="348" y="192"/>
                </a:lnTo>
                <a:lnTo>
                  <a:pt x="348" y="198"/>
                </a:lnTo>
                <a:lnTo>
                  <a:pt x="348" y="198"/>
                </a:lnTo>
                <a:lnTo>
                  <a:pt x="348" y="204"/>
                </a:lnTo>
                <a:lnTo>
                  <a:pt x="348" y="204"/>
                </a:lnTo>
                <a:lnTo>
                  <a:pt x="348" y="204"/>
                </a:lnTo>
                <a:lnTo>
                  <a:pt x="342" y="210"/>
                </a:lnTo>
                <a:lnTo>
                  <a:pt x="342" y="210"/>
                </a:lnTo>
                <a:lnTo>
                  <a:pt x="342" y="210"/>
                </a:lnTo>
                <a:lnTo>
                  <a:pt x="342" y="216"/>
                </a:lnTo>
                <a:lnTo>
                  <a:pt x="342" y="216"/>
                </a:lnTo>
                <a:lnTo>
                  <a:pt x="342" y="222"/>
                </a:lnTo>
                <a:lnTo>
                  <a:pt x="336" y="222"/>
                </a:lnTo>
                <a:lnTo>
                  <a:pt x="336" y="222"/>
                </a:lnTo>
                <a:lnTo>
                  <a:pt x="336" y="228"/>
                </a:lnTo>
                <a:lnTo>
                  <a:pt x="330" y="228"/>
                </a:lnTo>
                <a:lnTo>
                  <a:pt x="330" y="234"/>
                </a:lnTo>
                <a:lnTo>
                  <a:pt x="330" y="240"/>
                </a:lnTo>
                <a:lnTo>
                  <a:pt x="324" y="246"/>
                </a:lnTo>
                <a:lnTo>
                  <a:pt x="324" y="246"/>
                </a:lnTo>
                <a:lnTo>
                  <a:pt x="324" y="252"/>
                </a:lnTo>
                <a:lnTo>
                  <a:pt x="318" y="258"/>
                </a:lnTo>
                <a:lnTo>
                  <a:pt x="318" y="258"/>
                </a:lnTo>
                <a:lnTo>
                  <a:pt x="318" y="258"/>
                </a:lnTo>
                <a:lnTo>
                  <a:pt x="318" y="258"/>
                </a:lnTo>
                <a:lnTo>
                  <a:pt x="312" y="258"/>
                </a:lnTo>
                <a:lnTo>
                  <a:pt x="312" y="258"/>
                </a:lnTo>
                <a:lnTo>
                  <a:pt x="312" y="258"/>
                </a:lnTo>
                <a:lnTo>
                  <a:pt x="318" y="264"/>
                </a:lnTo>
                <a:lnTo>
                  <a:pt x="318" y="264"/>
                </a:lnTo>
                <a:lnTo>
                  <a:pt x="318" y="270"/>
                </a:lnTo>
                <a:lnTo>
                  <a:pt x="318" y="270"/>
                </a:lnTo>
                <a:lnTo>
                  <a:pt x="318" y="276"/>
                </a:lnTo>
                <a:lnTo>
                  <a:pt x="318" y="276"/>
                </a:lnTo>
                <a:lnTo>
                  <a:pt x="318" y="276"/>
                </a:lnTo>
                <a:lnTo>
                  <a:pt x="318" y="276"/>
                </a:lnTo>
                <a:lnTo>
                  <a:pt x="318" y="282"/>
                </a:lnTo>
                <a:lnTo>
                  <a:pt x="318" y="282"/>
                </a:lnTo>
                <a:lnTo>
                  <a:pt x="318" y="288"/>
                </a:lnTo>
                <a:lnTo>
                  <a:pt x="312" y="288"/>
                </a:lnTo>
                <a:lnTo>
                  <a:pt x="312" y="288"/>
                </a:lnTo>
                <a:lnTo>
                  <a:pt x="318" y="294"/>
                </a:lnTo>
                <a:lnTo>
                  <a:pt x="318" y="294"/>
                </a:lnTo>
                <a:lnTo>
                  <a:pt x="318" y="300"/>
                </a:lnTo>
                <a:lnTo>
                  <a:pt x="318" y="306"/>
                </a:lnTo>
                <a:lnTo>
                  <a:pt x="318" y="306"/>
                </a:lnTo>
                <a:lnTo>
                  <a:pt x="312" y="312"/>
                </a:lnTo>
                <a:lnTo>
                  <a:pt x="312" y="312"/>
                </a:lnTo>
                <a:lnTo>
                  <a:pt x="312" y="312"/>
                </a:lnTo>
                <a:lnTo>
                  <a:pt x="312" y="306"/>
                </a:lnTo>
                <a:lnTo>
                  <a:pt x="306" y="306"/>
                </a:lnTo>
                <a:lnTo>
                  <a:pt x="306" y="306"/>
                </a:lnTo>
                <a:lnTo>
                  <a:pt x="306" y="312"/>
                </a:lnTo>
                <a:lnTo>
                  <a:pt x="306" y="312"/>
                </a:lnTo>
                <a:lnTo>
                  <a:pt x="306" y="312"/>
                </a:lnTo>
                <a:lnTo>
                  <a:pt x="306" y="318"/>
                </a:lnTo>
                <a:lnTo>
                  <a:pt x="306" y="318"/>
                </a:lnTo>
                <a:lnTo>
                  <a:pt x="300" y="324"/>
                </a:lnTo>
                <a:lnTo>
                  <a:pt x="300" y="330"/>
                </a:lnTo>
                <a:lnTo>
                  <a:pt x="300" y="330"/>
                </a:lnTo>
                <a:lnTo>
                  <a:pt x="300" y="336"/>
                </a:lnTo>
                <a:lnTo>
                  <a:pt x="300" y="336"/>
                </a:lnTo>
                <a:lnTo>
                  <a:pt x="300" y="342"/>
                </a:lnTo>
                <a:lnTo>
                  <a:pt x="300" y="342"/>
                </a:lnTo>
                <a:lnTo>
                  <a:pt x="300" y="342"/>
                </a:lnTo>
                <a:lnTo>
                  <a:pt x="300" y="348"/>
                </a:lnTo>
                <a:lnTo>
                  <a:pt x="300" y="348"/>
                </a:lnTo>
                <a:lnTo>
                  <a:pt x="300" y="348"/>
                </a:lnTo>
                <a:lnTo>
                  <a:pt x="300" y="354"/>
                </a:lnTo>
                <a:lnTo>
                  <a:pt x="300" y="354"/>
                </a:lnTo>
                <a:lnTo>
                  <a:pt x="300" y="354"/>
                </a:lnTo>
                <a:lnTo>
                  <a:pt x="300" y="360"/>
                </a:lnTo>
                <a:lnTo>
                  <a:pt x="300" y="360"/>
                </a:lnTo>
                <a:lnTo>
                  <a:pt x="300" y="366"/>
                </a:lnTo>
                <a:lnTo>
                  <a:pt x="300" y="372"/>
                </a:lnTo>
                <a:lnTo>
                  <a:pt x="294" y="378"/>
                </a:lnTo>
                <a:lnTo>
                  <a:pt x="294" y="378"/>
                </a:lnTo>
                <a:lnTo>
                  <a:pt x="294" y="384"/>
                </a:lnTo>
                <a:lnTo>
                  <a:pt x="294" y="384"/>
                </a:lnTo>
                <a:lnTo>
                  <a:pt x="294" y="384"/>
                </a:lnTo>
                <a:lnTo>
                  <a:pt x="294" y="384"/>
                </a:lnTo>
                <a:lnTo>
                  <a:pt x="294" y="390"/>
                </a:lnTo>
                <a:lnTo>
                  <a:pt x="288" y="390"/>
                </a:lnTo>
                <a:lnTo>
                  <a:pt x="288" y="390"/>
                </a:lnTo>
                <a:lnTo>
                  <a:pt x="288" y="390"/>
                </a:lnTo>
                <a:lnTo>
                  <a:pt x="294" y="396"/>
                </a:lnTo>
                <a:lnTo>
                  <a:pt x="294" y="396"/>
                </a:lnTo>
                <a:lnTo>
                  <a:pt x="288" y="396"/>
                </a:lnTo>
                <a:lnTo>
                  <a:pt x="288" y="396"/>
                </a:lnTo>
                <a:lnTo>
                  <a:pt x="288" y="402"/>
                </a:lnTo>
                <a:lnTo>
                  <a:pt x="288" y="408"/>
                </a:lnTo>
                <a:lnTo>
                  <a:pt x="288" y="408"/>
                </a:lnTo>
                <a:lnTo>
                  <a:pt x="288" y="408"/>
                </a:lnTo>
                <a:lnTo>
                  <a:pt x="288" y="408"/>
                </a:lnTo>
                <a:lnTo>
                  <a:pt x="288" y="414"/>
                </a:lnTo>
                <a:lnTo>
                  <a:pt x="288" y="414"/>
                </a:lnTo>
                <a:lnTo>
                  <a:pt x="282" y="414"/>
                </a:lnTo>
                <a:lnTo>
                  <a:pt x="282" y="414"/>
                </a:lnTo>
                <a:lnTo>
                  <a:pt x="276" y="420"/>
                </a:lnTo>
                <a:lnTo>
                  <a:pt x="276" y="420"/>
                </a:lnTo>
                <a:lnTo>
                  <a:pt x="276" y="420"/>
                </a:lnTo>
                <a:lnTo>
                  <a:pt x="270" y="426"/>
                </a:lnTo>
                <a:lnTo>
                  <a:pt x="264" y="426"/>
                </a:lnTo>
                <a:lnTo>
                  <a:pt x="264" y="426"/>
                </a:lnTo>
                <a:lnTo>
                  <a:pt x="258" y="426"/>
                </a:lnTo>
                <a:lnTo>
                  <a:pt x="258" y="426"/>
                </a:lnTo>
                <a:lnTo>
                  <a:pt x="258" y="420"/>
                </a:lnTo>
                <a:lnTo>
                  <a:pt x="252" y="420"/>
                </a:lnTo>
                <a:lnTo>
                  <a:pt x="252" y="420"/>
                </a:lnTo>
                <a:lnTo>
                  <a:pt x="252" y="420"/>
                </a:lnTo>
                <a:lnTo>
                  <a:pt x="252" y="426"/>
                </a:lnTo>
                <a:lnTo>
                  <a:pt x="246" y="426"/>
                </a:lnTo>
                <a:lnTo>
                  <a:pt x="246" y="426"/>
                </a:lnTo>
                <a:lnTo>
                  <a:pt x="240" y="426"/>
                </a:lnTo>
                <a:lnTo>
                  <a:pt x="240" y="426"/>
                </a:lnTo>
                <a:lnTo>
                  <a:pt x="240" y="426"/>
                </a:lnTo>
                <a:lnTo>
                  <a:pt x="240" y="426"/>
                </a:lnTo>
                <a:lnTo>
                  <a:pt x="240" y="426"/>
                </a:lnTo>
                <a:lnTo>
                  <a:pt x="234" y="432"/>
                </a:lnTo>
                <a:lnTo>
                  <a:pt x="228" y="432"/>
                </a:lnTo>
                <a:lnTo>
                  <a:pt x="228" y="432"/>
                </a:lnTo>
                <a:lnTo>
                  <a:pt x="228" y="432"/>
                </a:lnTo>
                <a:lnTo>
                  <a:pt x="222" y="438"/>
                </a:lnTo>
                <a:lnTo>
                  <a:pt x="222" y="438"/>
                </a:lnTo>
                <a:lnTo>
                  <a:pt x="222" y="444"/>
                </a:lnTo>
                <a:lnTo>
                  <a:pt x="216" y="444"/>
                </a:lnTo>
                <a:lnTo>
                  <a:pt x="216" y="444"/>
                </a:lnTo>
                <a:lnTo>
                  <a:pt x="210" y="444"/>
                </a:lnTo>
                <a:lnTo>
                  <a:pt x="210" y="450"/>
                </a:lnTo>
                <a:lnTo>
                  <a:pt x="210" y="450"/>
                </a:lnTo>
                <a:lnTo>
                  <a:pt x="210" y="456"/>
                </a:lnTo>
                <a:lnTo>
                  <a:pt x="210" y="456"/>
                </a:lnTo>
                <a:lnTo>
                  <a:pt x="210" y="456"/>
                </a:lnTo>
                <a:lnTo>
                  <a:pt x="210" y="456"/>
                </a:lnTo>
                <a:lnTo>
                  <a:pt x="210" y="462"/>
                </a:lnTo>
                <a:lnTo>
                  <a:pt x="210" y="462"/>
                </a:lnTo>
                <a:lnTo>
                  <a:pt x="210" y="462"/>
                </a:lnTo>
                <a:lnTo>
                  <a:pt x="210" y="468"/>
                </a:lnTo>
                <a:lnTo>
                  <a:pt x="210" y="468"/>
                </a:lnTo>
                <a:lnTo>
                  <a:pt x="210" y="474"/>
                </a:lnTo>
                <a:lnTo>
                  <a:pt x="204" y="474"/>
                </a:lnTo>
                <a:lnTo>
                  <a:pt x="204" y="480"/>
                </a:lnTo>
                <a:lnTo>
                  <a:pt x="204" y="480"/>
                </a:lnTo>
                <a:lnTo>
                  <a:pt x="204" y="480"/>
                </a:lnTo>
                <a:lnTo>
                  <a:pt x="204" y="480"/>
                </a:lnTo>
                <a:lnTo>
                  <a:pt x="204" y="486"/>
                </a:lnTo>
                <a:lnTo>
                  <a:pt x="204" y="486"/>
                </a:lnTo>
                <a:lnTo>
                  <a:pt x="204" y="486"/>
                </a:lnTo>
                <a:lnTo>
                  <a:pt x="204" y="486"/>
                </a:lnTo>
                <a:lnTo>
                  <a:pt x="204" y="486"/>
                </a:lnTo>
                <a:lnTo>
                  <a:pt x="204" y="492"/>
                </a:lnTo>
                <a:lnTo>
                  <a:pt x="204" y="492"/>
                </a:lnTo>
                <a:lnTo>
                  <a:pt x="204" y="492"/>
                </a:lnTo>
                <a:lnTo>
                  <a:pt x="204" y="492"/>
                </a:lnTo>
                <a:lnTo>
                  <a:pt x="198" y="498"/>
                </a:lnTo>
                <a:lnTo>
                  <a:pt x="198" y="498"/>
                </a:lnTo>
                <a:lnTo>
                  <a:pt x="198" y="492"/>
                </a:lnTo>
                <a:lnTo>
                  <a:pt x="198" y="492"/>
                </a:lnTo>
                <a:lnTo>
                  <a:pt x="198" y="492"/>
                </a:lnTo>
                <a:lnTo>
                  <a:pt x="198" y="492"/>
                </a:lnTo>
                <a:lnTo>
                  <a:pt x="198" y="498"/>
                </a:lnTo>
                <a:lnTo>
                  <a:pt x="198" y="504"/>
                </a:lnTo>
                <a:lnTo>
                  <a:pt x="198" y="504"/>
                </a:lnTo>
                <a:lnTo>
                  <a:pt x="198" y="510"/>
                </a:lnTo>
                <a:lnTo>
                  <a:pt x="198" y="510"/>
                </a:lnTo>
                <a:lnTo>
                  <a:pt x="192" y="516"/>
                </a:lnTo>
                <a:lnTo>
                  <a:pt x="192" y="516"/>
                </a:lnTo>
                <a:lnTo>
                  <a:pt x="192" y="516"/>
                </a:lnTo>
                <a:lnTo>
                  <a:pt x="186" y="522"/>
                </a:lnTo>
                <a:lnTo>
                  <a:pt x="186" y="522"/>
                </a:lnTo>
                <a:lnTo>
                  <a:pt x="186" y="528"/>
                </a:lnTo>
                <a:lnTo>
                  <a:pt x="186" y="528"/>
                </a:lnTo>
                <a:lnTo>
                  <a:pt x="180" y="528"/>
                </a:lnTo>
                <a:lnTo>
                  <a:pt x="180" y="534"/>
                </a:lnTo>
                <a:lnTo>
                  <a:pt x="180" y="534"/>
                </a:lnTo>
                <a:lnTo>
                  <a:pt x="180" y="528"/>
                </a:lnTo>
                <a:lnTo>
                  <a:pt x="174" y="528"/>
                </a:lnTo>
                <a:lnTo>
                  <a:pt x="174" y="528"/>
                </a:lnTo>
                <a:lnTo>
                  <a:pt x="174" y="528"/>
                </a:lnTo>
                <a:lnTo>
                  <a:pt x="174" y="534"/>
                </a:lnTo>
                <a:lnTo>
                  <a:pt x="174" y="534"/>
                </a:lnTo>
                <a:lnTo>
                  <a:pt x="168" y="534"/>
                </a:lnTo>
                <a:lnTo>
                  <a:pt x="168" y="534"/>
                </a:lnTo>
                <a:lnTo>
                  <a:pt x="168" y="534"/>
                </a:lnTo>
                <a:lnTo>
                  <a:pt x="168" y="540"/>
                </a:lnTo>
                <a:lnTo>
                  <a:pt x="162" y="540"/>
                </a:lnTo>
                <a:lnTo>
                  <a:pt x="156" y="540"/>
                </a:lnTo>
                <a:lnTo>
                  <a:pt x="156" y="540"/>
                </a:lnTo>
                <a:lnTo>
                  <a:pt x="156" y="540"/>
                </a:lnTo>
                <a:lnTo>
                  <a:pt x="150" y="540"/>
                </a:lnTo>
                <a:lnTo>
                  <a:pt x="150" y="540"/>
                </a:lnTo>
                <a:lnTo>
                  <a:pt x="144" y="540"/>
                </a:lnTo>
                <a:lnTo>
                  <a:pt x="138" y="540"/>
                </a:lnTo>
                <a:lnTo>
                  <a:pt x="138" y="540"/>
                </a:lnTo>
                <a:lnTo>
                  <a:pt x="138" y="540"/>
                </a:lnTo>
                <a:lnTo>
                  <a:pt x="132" y="540"/>
                </a:lnTo>
                <a:lnTo>
                  <a:pt x="132" y="540"/>
                </a:lnTo>
                <a:lnTo>
                  <a:pt x="132" y="540"/>
                </a:lnTo>
                <a:lnTo>
                  <a:pt x="132" y="540"/>
                </a:lnTo>
                <a:lnTo>
                  <a:pt x="126" y="540"/>
                </a:lnTo>
                <a:lnTo>
                  <a:pt x="126" y="540"/>
                </a:lnTo>
                <a:lnTo>
                  <a:pt x="126" y="540"/>
                </a:lnTo>
                <a:lnTo>
                  <a:pt x="126" y="540"/>
                </a:lnTo>
                <a:lnTo>
                  <a:pt x="126" y="540"/>
                </a:lnTo>
                <a:lnTo>
                  <a:pt x="120" y="540"/>
                </a:lnTo>
                <a:lnTo>
                  <a:pt x="120" y="540"/>
                </a:lnTo>
                <a:lnTo>
                  <a:pt x="120" y="540"/>
                </a:lnTo>
                <a:lnTo>
                  <a:pt x="120" y="540"/>
                </a:lnTo>
                <a:lnTo>
                  <a:pt x="114" y="540"/>
                </a:lnTo>
                <a:lnTo>
                  <a:pt x="114" y="540"/>
                </a:lnTo>
                <a:lnTo>
                  <a:pt x="108" y="534"/>
                </a:lnTo>
                <a:lnTo>
                  <a:pt x="108" y="534"/>
                </a:lnTo>
                <a:lnTo>
                  <a:pt x="102" y="534"/>
                </a:lnTo>
                <a:lnTo>
                  <a:pt x="102" y="534"/>
                </a:lnTo>
                <a:lnTo>
                  <a:pt x="96" y="534"/>
                </a:lnTo>
                <a:lnTo>
                  <a:pt x="96" y="534"/>
                </a:lnTo>
                <a:lnTo>
                  <a:pt x="96" y="534"/>
                </a:lnTo>
                <a:lnTo>
                  <a:pt x="90" y="528"/>
                </a:lnTo>
                <a:lnTo>
                  <a:pt x="90" y="528"/>
                </a:lnTo>
                <a:lnTo>
                  <a:pt x="90" y="528"/>
                </a:lnTo>
                <a:lnTo>
                  <a:pt x="90" y="528"/>
                </a:lnTo>
                <a:lnTo>
                  <a:pt x="90" y="528"/>
                </a:lnTo>
                <a:lnTo>
                  <a:pt x="90" y="528"/>
                </a:lnTo>
                <a:lnTo>
                  <a:pt x="90" y="522"/>
                </a:lnTo>
                <a:lnTo>
                  <a:pt x="84" y="522"/>
                </a:lnTo>
                <a:lnTo>
                  <a:pt x="84" y="522"/>
                </a:lnTo>
                <a:lnTo>
                  <a:pt x="84" y="522"/>
                </a:lnTo>
                <a:lnTo>
                  <a:pt x="84" y="522"/>
                </a:lnTo>
                <a:lnTo>
                  <a:pt x="84" y="516"/>
                </a:lnTo>
                <a:lnTo>
                  <a:pt x="78" y="516"/>
                </a:lnTo>
                <a:lnTo>
                  <a:pt x="78" y="516"/>
                </a:lnTo>
                <a:lnTo>
                  <a:pt x="78" y="516"/>
                </a:lnTo>
                <a:lnTo>
                  <a:pt x="78" y="516"/>
                </a:lnTo>
                <a:lnTo>
                  <a:pt x="78" y="516"/>
                </a:lnTo>
                <a:lnTo>
                  <a:pt x="78" y="516"/>
                </a:lnTo>
                <a:lnTo>
                  <a:pt x="72" y="522"/>
                </a:lnTo>
                <a:lnTo>
                  <a:pt x="72" y="522"/>
                </a:lnTo>
                <a:lnTo>
                  <a:pt x="72" y="522"/>
                </a:lnTo>
                <a:lnTo>
                  <a:pt x="72" y="516"/>
                </a:lnTo>
                <a:lnTo>
                  <a:pt x="66" y="516"/>
                </a:lnTo>
                <a:lnTo>
                  <a:pt x="66" y="516"/>
                </a:lnTo>
                <a:lnTo>
                  <a:pt x="72" y="516"/>
                </a:lnTo>
                <a:lnTo>
                  <a:pt x="72" y="516"/>
                </a:lnTo>
                <a:lnTo>
                  <a:pt x="72" y="516"/>
                </a:lnTo>
                <a:lnTo>
                  <a:pt x="66" y="516"/>
                </a:lnTo>
                <a:lnTo>
                  <a:pt x="66" y="510"/>
                </a:lnTo>
                <a:lnTo>
                  <a:pt x="66" y="516"/>
                </a:lnTo>
                <a:lnTo>
                  <a:pt x="66" y="510"/>
                </a:lnTo>
                <a:lnTo>
                  <a:pt x="66" y="510"/>
                </a:lnTo>
                <a:lnTo>
                  <a:pt x="66" y="510"/>
                </a:lnTo>
                <a:lnTo>
                  <a:pt x="66" y="510"/>
                </a:lnTo>
                <a:lnTo>
                  <a:pt x="66" y="510"/>
                </a:lnTo>
                <a:lnTo>
                  <a:pt x="66" y="510"/>
                </a:lnTo>
                <a:lnTo>
                  <a:pt x="66" y="510"/>
                </a:lnTo>
                <a:lnTo>
                  <a:pt x="66" y="510"/>
                </a:lnTo>
                <a:lnTo>
                  <a:pt x="66" y="504"/>
                </a:lnTo>
                <a:lnTo>
                  <a:pt x="66" y="504"/>
                </a:lnTo>
                <a:lnTo>
                  <a:pt x="66" y="504"/>
                </a:lnTo>
                <a:lnTo>
                  <a:pt x="66" y="504"/>
                </a:lnTo>
                <a:lnTo>
                  <a:pt x="66" y="504"/>
                </a:lnTo>
                <a:lnTo>
                  <a:pt x="66" y="504"/>
                </a:lnTo>
                <a:lnTo>
                  <a:pt x="66" y="504"/>
                </a:lnTo>
                <a:lnTo>
                  <a:pt x="72" y="504"/>
                </a:lnTo>
                <a:lnTo>
                  <a:pt x="66" y="504"/>
                </a:lnTo>
                <a:lnTo>
                  <a:pt x="72" y="504"/>
                </a:lnTo>
                <a:lnTo>
                  <a:pt x="72" y="498"/>
                </a:lnTo>
                <a:lnTo>
                  <a:pt x="72" y="498"/>
                </a:lnTo>
                <a:lnTo>
                  <a:pt x="72" y="498"/>
                </a:lnTo>
                <a:lnTo>
                  <a:pt x="78" y="498"/>
                </a:lnTo>
                <a:lnTo>
                  <a:pt x="78" y="492"/>
                </a:lnTo>
                <a:lnTo>
                  <a:pt x="72" y="492"/>
                </a:lnTo>
                <a:lnTo>
                  <a:pt x="72" y="492"/>
                </a:lnTo>
                <a:lnTo>
                  <a:pt x="78" y="492"/>
                </a:lnTo>
                <a:lnTo>
                  <a:pt x="72" y="492"/>
                </a:lnTo>
                <a:lnTo>
                  <a:pt x="72" y="492"/>
                </a:lnTo>
                <a:lnTo>
                  <a:pt x="72" y="492"/>
                </a:lnTo>
                <a:lnTo>
                  <a:pt x="72" y="486"/>
                </a:lnTo>
                <a:lnTo>
                  <a:pt x="72" y="492"/>
                </a:lnTo>
                <a:lnTo>
                  <a:pt x="72" y="486"/>
                </a:lnTo>
                <a:lnTo>
                  <a:pt x="72" y="486"/>
                </a:lnTo>
                <a:lnTo>
                  <a:pt x="72" y="486"/>
                </a:lnTo>
                <a:lnTo>
                  <a:pt x="72" y="486"/>
                </a:lnTo>
                <a:lnTo>
                  <a:pt x="72" y="486"/>
                </a:lnTo>
                <a:lnTo>
                  <a:pt x="72" y="486"/>
                </a:lnTo>
                <a:lnTo>
                  <a:pt x="72" y="486"/>
                </a:lnTo>
                <a:lnTo>
                  <a:pt x="66" y="486"/>
                </a:lnTo>
                <a:lnTo>
                  <a:pt x="66" y="486"/>
                </a:lnTo>
                <a:lnTo>
                  <a:pt x="66" y="486"/>
                </a:lnTo>
                <a:lnTo>
                  <a:pt x="66" y="486"/>
                </a:lnTo>
                <a:lnTo>
                  <a:pt x="66" y="486"/>
                </a:lnTo>
                <a:lnTo>
                  <a:pt x="66" y="480"/>
                </a:lnTo>
                <a:lnTo>
                  <a:pt x="60" y="480"/>
                </a:lnTo>
                <a:lnTo>
                  <a:pt x="60" y="480"/>
                </a:lnTo>
                <a:lnTo>
                  <a:pt x="60" y="480"/>
                </a:lnTo>
                <a:lnTo>
                  <a:pt x="60" y="480"/>
                </a:lnTo>
                <a:lnTo>
                  <a:pt x="60" y="486"/>
                </a:lnTo>
                <a:lnTo>
                  <a:pt x="60" y="486"/>
                </a:lnTo>
                <a:lnTo>
                  <a:pt x="54" y="486"/>
                </a:lnTo>
                <a:lnTo>
                  <a:pt x="54" y="486"/>
                </a:lnTo>
                <a:lnTo>
                  <a:pt x="54" y="486"/>
                </a:lnTo>
                <a:lnTo>
                  <a:pt x="54" y="486"/>
                </a:lnTo>
                <a:lnTo>
                  <a:pt x="54" y="486"/>
                </a:lnTo>
                <a:lnTo>
                  <a:pt x="54" y="486"/>
                </a:lnTo>
                <a:lnTo>
                  <a:pt x="54" y="486"/>
                </a:lnTo>
                <a:lnTo>
                  <a:pt x="54" y="486"/>
                </a:lnTo>
                <a:lnTo>
                  <a:pt x="54" y="486"/>
                </a:lnTo>
                <a:lnTo>
                  <a:pt x="54" y="486"/>
                </a:lnTo>
                <a:lnTo>
                  <a:pt x="54" y="492"/>
                </a:lnTo>
                <a:lnTo>
                  <a:pt x="48" y="492"/>
                </a:lnTo>
                <a:lnTo>
                  <a:pt x="48" y="492"/>
                </a:lnTo>
                <a:lnTo>
                  <a:pt x="48" y="492"/>
                </a:lnTo>
                <a:lnTo>
                  <a:pt x="48" y="492"/>
                </a:lnTo>
                <a:lnTo>
                  <a:pt x="48" y="492"/>
                </a:lnTo>
                <a:lnTo>
                  <a:pt x="48" y="492"/>
                </a:lnTo>
                <a:lnTo>
                  <a:pt x="48" y="492"/>
                </a:lnTo>
                <a:lnTo>
                  <a:pt x="42" y="492"/>
                </a:lnTo>
                <a:lnTo>
                  <a:pt x="42" y="492"/>
                </a:lnTo>
                <a:lnTo>
                  <a:pt x="42" y="492"/>
                </a:lnTo>
                <a:lnTo>
                  <a:pt x="42" y="492"/>
                </a:lnTo>
                <a:lnTo>
                  <a:pt x="36" y="492"/>
                </a:lnTo>
                <a:lnTo>
                  <a:pt x="36" y="492"/>
                </a:lnTo>
                <a:lnTo>
                  <a:pt x="36" y="492"/>
                </a:lnTo>
                <a:lnTo>
                  <a:pt x="36" y="492"/>
                </a:lnTo>
                <a:lnTo>
                  <a:pt x="36" y="492"/>
                </a:lnTo>
                <a:lnTo>
                  <a:pt x="36" y="492"/>
                </a:lnTo>
                <a:lnTo>
                  <a:pt x="36" y="492"/>
                </a:lnTo>
                <a:lnTo>
                  <a:pt x="30" y="492"/>
                </a:lnTo>
                <a:lnTo>
                  <a:pt x="30" y="492"/>
                </a:lnTo>
                <a:lnTo>
                  <a:pt x="30" y="492"/>
                </a:lnTo>
                <a:lnTo>
                  <a:pt x="30" y="498"/>
                </a:lnTo>
                <a:lnTo>
                  <a:pt x="30" y="498"/>
                </a:lnTo>
                <a:lnTo>
                  <a:pt x="30" y="498"/>
                </a:lnTo>
                <a:lnTo>
                  <a:pt x="30" y="492"/>
                </a:lnTo>
                <a:lnTo>
                  <a:pt x="24" y="492"/>
                </a:lnTo>
                <a:lnTo>
                  <a:pt x="24" y="492"/>
                </a:lnTo>
                <a:lnTo>
                  <a:pt x="24" y="492"/>
                </a:lnTo>
                <a:lnTo>
                  <a:pt x="24" y="492"/>
                </a:lnTo>
                <a:lnTo>
                  <a:pt x="24" y="492"/>
                </a:lnTo>
                <a:lnTo>
                  <a:pt x="24" y="492"/>
                </a:lnTo>
                <a:lnTo>
                  <a:pt x="24" y="492"/>
                </a:lnTo>
                <a:lnTo>
                  <a:pt x="24" y="492"/>
                </a:lnTo>
                <a:lnTo>
                  <a:pt x="24" y="492"/>
                </a:lnTo>
                <a:lnTo>
                  <a:pt x="24" y="492"/>
                </a:lnTo>
                <a:lnTo>
                  <a:pt x="24" y="492"/>
                </a:lnTo>
                <a:lnTo>
                  <a:pt x="24" y="492"/>
                </a:lnTo>
                <a:lnTo>
                  <a:pt x="18" y="480"/>
                </a:lnTo>
                <a:lnTo>
                  <a:pt x="12" y="480"/>
                </a:lnTo>
                <a:lnTo>
                  <a:pt x="12" y="480"/>
                </a:lnTo>
                <a:lnTo>
                  <a:pt x="6" y="480"/>
                </a:lnTo>
                <a:lnTo>
                  <a:pt x="6" y="480"/>
                </a:lnTo>
                <a:lnTo>
                  <a:pt x="6" y="474"/>
                </a:lnTo>
                <a:lnTo>
                  <a:pt x="6" y="474"/>
                </a:lnTo>
                <a:lnTo>
                  <a:pt x="6" y="474"/>
                </a:lnTo>
                <a:lnTo>
                  <a:pt x="6" y="474"/>
                </a:lnTo>
                <a:lnTo>
                  <a:pt x="6" y="474"/>
                </a:lnTo>
                <a:lnTo>
                  <a:pt x="6" y="474"/>
                </a:lnTo>
                <a:lnTo>
                  <a:pt x="6" y="468"/>
                </a:lnTo>
                <a:lnTo>
                  <a:pt x="6" y="468"/>
                </a:lnTo>
                <a:lnTo>
                  <a:pt x="0" y="468"/>
                </a:lnTo>
                <a:lnTo>
                  <a:pt x="0" y="468"/>
                </a:lnTo>
                <a:lnTo>
                  <a:pt x="0" y="468"/>
                </a:lnTo>
                <a:lnTo>
                  <a:pt x="0" y="468"/>
                </a:lnTo>
                <a:lnTo>
                  <a:pt x="0" y="46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80" name="Freeform 513"/>
          <p:cNvSpPr>
            <a:spLocks/>
          </p:cNvSpPr>
          <p:nvPr/>
        </p:nvSpPr>
        <p:spPr bwMode="auto">
          <a:xfrm>
            <a:off x="6061696" y="3229207"/>
            <a:ext cx="334051" cy="224843"/>
          </a:xfrm>
          <a:custGeom>
            <a:avLst/>
            <a:gdLst>
              <a:gd name="T0" fmla="*/ 24 w 312"/>
              <a:gd name="T1" fmla="*/ 18 h 210"/>
              <a:gd name="T2" fmla="*/ 36 w 312"/>
              <a:gd name="T3" fmla="*/ 18 h 210"/>
              <a:gd name="T4" fmla="*/ 48 w 312"/>
              <a:gd name="T5" fmla="*/ 12 h 210"/>
              <a:gd name="T6" fmla="*/ 54 w 312"/>
              <a:gd name="T7" fmla="*/ 18 h 210"/>
              <a:gd name="T8" fmla="*/ 30 w 312"/>
              <a:gd name="T9" fmla="*/ 36 h 210"/>
              <a:gd name="T10" fmla="*/ 30 w 312"/>
              <a:gd name="T11" fmla="*/ 48 h 210"/>
              <a:gd name="T12" fmla="*/ 54 w 312"/>
              <a:gd name="T13" fmla="*/ 42 h 210"/>
              <a:gd name="T14" fmla="*/ 60 w 312"/>
              <a:gd name="T15" fmla="*/ 36 h 210"/>
              <a:gd name="T16" fmla="*/ 60 w 312"/>
              <a:gd name="T17" fmla="*/ 48 h 210"/>
              <a:gd name="T18" fmla="*/ 60 w 312"/>
              <a:gd name="T19" fmla="*/ 48 h 210"/>
              <a:gd name="T20" fmla="*/ 84 w 312"/>
              <a:gd name="T21" fmla="*/ 30 h 210"/>
              <a:gd name="T22" fmla="*/ 90 w 312"/>
              <a:gd name="T23" fmla="*/ 6 h 210"/>
              <a:gd name="T24" fmla="*/ 114 w 312"/>
              <a:gd name="T25" fmla="*/ 0 h 210"/>
              <a:gd name="T26" fmla="*/ 120 w 312"/>
              <a:gd name="T27" fmla="*/ 6 h 210"/>
              <a:gd name="T28" fmla="*/ 126 w 312"/>
              <a:gd name="T29" fmla="*/ 12 h 210"/>
              <a:gd name="T30" fmla="*/ 144 w 312"/>
              <a:gd name="T31" fmla="*/ 12 h 210"/>
              <a:gd name="T32" fmla="*/ 156 w 312"/>
              <a:gd name="T33" fmla="*/ 18 h 210"/>
              <a:gd name="T34" fmla="*/ 168 w 312"/>
              <a:gd name="T35" fmla="*/ 12 h 210"/>
              <a:gd name="T36" fmla="*/ 180 w 312"/>
              <a:gd name="T37" fmla="*/ 12 h 210"/>
              <a:gd name="T38" fmla="*/ 204 w 312"/>
              <a:gd name="T39" fmla="*/ 36 h 210"/>
              <a:gd name="T40" fmla="*/ 210 w 312"/>
              <a:gd name="T41" fmla="*/ 42 h 210"/>
              <a:gd name="T42" fmla="*/ 228 w 312"/>
              <a:gd name="T43" fmla="*/ 36 h 210"/>
              <a:gd name="T44" fmla="*/ 234 w 312"/>
              <a:gd name="T45" fmla="*/ 30 h 210"/>
              <a:gd name="T46" fmla="*/ 252 w 312"/>
              <a:gd name="T47" fmla="*/ 30 h 210"/>
              <a:gd name="T48" fmla="*/ 258 w 312"/>
              <a:gd name="T49" fmla="*/ 36 h 210"/>
              <a:gd name="T50" fmla="*/ 246 w 312"/>
              <a:gd name="T51" fmla="*/ 54 h 210"/>
              <a:gd name="T52" fmla="*/ 246 w 312"/>
              <a:gd name="T53" fmla="*/ 60 h 210"/>
              <a:gd name="T54" fmla="*/ 264 w 312"/>
              <a:gd name="T55" fmla="*/ 66 h 210"/>
              <a:gd name="T56" fmla="*/ 294 w 312"/>
              <a:gd name="T57" fmla="*/ 84 h 210"/>
              <a:gd name="T58" fmla="*/ 312 w 312"/>
              <a:gd name="T59" fmla="*/ 84 h 210"/>
              <a:gd name="T60" fmla="*/ 300 w 312"/>
              <a:gd name="T61" fmla="*/ 108 h 210"/>
              <a:gd name="T62" fmla="*/ 276 w 312"/>
              <a:gd name="T63" fmla="*/ 120 h 210"/>
              <a:gd name="T64" fmla="*/ 270 w 312"/>
              <a:gd name="T65" fmla="*/ 132 h 210"/>
              <a:gd name="T66" fmla="*/ 258 w 312"/>
              <a:gd name="T67" fmla="*/ 144 h 210"/>
              <a:gd name="T68" fmla="*/ 264 w 312"/>
              <a:gd name="T69" fmla="*/ 156 h 210"/>
              <a:gd name="T70" fmla="*/ 264 w 312"/>
              <a:gd name="T71" fmla="*/ 162 h 210"/>
              <a:gd name="T72" fmla="*/ 258 w 312"/>
              <a:gd name="T73" fmla="*/ 174 h 210"/>
              <a:gd name="T74" fmla="*/ 252 w 312"/>
              <a:gd name="T75" fmla="*/ 180 h 210"/>
              <a:gd name="T76" fmla="*/ 246 w 312"/>
              <a:gd name="T77" fmla="*/ 192 h 210"/>
              <a:gd name="T78" fmla="*/ 234 w 312"/>
              <a:gd name="T79" fmla="*/ 198 h 210"/>
              <a:gd name="T80" fmla="*/ 228 w 312"/>
              <a:gd name="T81" fmla="*/ 204 h 210"/>
              <a:gd name="T82" fmla="*/ 222 w 312"/>
              <a:gd name="T83" fmla="*/ 210 h 210"/>
              <a:gd name="T84" fmla="*/ 210 w 312"/>
              <a:gd name="T85" fmla="*/ 210 h 210"/>
              <a:gd name="T86" fmla="*/ 198 w 312"/>
              <a:gd name="T87" fmla="*/ 204 h 210"/>
              <a:gd name="T88" fmla="*/ 192 w 312"/>
              <a:gd name="T89" fmla="*/ 204 h 210"/>
              <a:gd name="T90" fmla="*/ 168 w 312"/>
              <a:gd name="T91" fmla="*/ 210 h 210"/>
              <a:gd name="T92" fmla="*/ 162 w 312"/>
              <a:gd name="T93" fmla="*/ 168 h 210"/>
              <a:gd name="T94" fmla="*/ 162 w 312"/>
              <a:gd name="T95" fmla="*/ 180 h 210"/>
              <a:gd name="T96" fmla="*/ 162 w 312"/>
              <a:gd name="T97" fmla="*/ 186 h 210"/>
              <a:gd name="T98" fmla="*/ 156 w 312"/>
              <a:gd name="T99" fmla="*/ 186 h 210"/>
              <a:gd name="T100" fmla="*/ 144 w 312"/>
              <a:gd name="T101" fmla="*/ 186 h 210"/>
              <a:gd name="T102" fmla="*/ 114 w 312"/>
              <a:gd name="T103" fmla="*/ 198 h 210"/>
              <a:gd name="T104" fmla="*/ 108 w 312"/>
              <a:gd name="T105" fmla="*/ 186 h 210"/>
              <a:gd name="T106" fmla="*/ 102 w 312"/>
              <a:gd name="T107" fmla="*/ 174 h 210"/>
              <a:gd name="T108" fmla="*/ 90 w 312"/>
              <a:gd name="T109" fmla="*/ 162 h 210"/>
              <a:gd name="T110" fmla="*/ 72 w 312"/>
              <a:gd name="T111" fmla="*/ 162 h 210"/>
              <a:gd name="T112" fmla="*/ 60 w 312"/>
              <a:gd name="T113" fmla="*/ 162 h 210"/>
              <a:gd name="T114" fmla="*/ 60 w 312"/>
              <a:gd name="T115" fmla="*/ 150 h 210"/>
              <a:gd name="T116" fmla="*/ 54 w 312"/>
              <a:gd name="T117" fmla="*/ 138 h 210"/>
              <a:gd name="T118" fmla="*/ 42 w 312"/>
              <a:gd name="T119" fmla="*/ 138 h 210"/>
              <a:gd name="T120" fmla="*/ 30 w 312"/>
              <a:gd name="T121" fmla="*/ 132 h 210"/>
              <a:gd name="T122" fmla="*/ 30 w 312"/>
              <a:gd name="T123" fmla="*/ 114 h 210"/>
              <a:gd name="T124" fmla="*/ 6 w 312"/>
              <a:gd name="T125" fmla="*/ 66 h 2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12" h="210">
                <a:moveTo>
                  <a:pt x="6" y="66"/>
                </a:move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30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30" y="18"/>
                </a:lnTo>
                <a:lnTo>
                  <a:pt x="24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0" y="36"/>
                </a:lnTo>
                <a:lnTo>
                  <a:pt x="30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8"/>
                </a:lnTo>
                <a:lnTo>
                  <a:pt x="30" y="42"/>
                </a:lnTo>
                <a:lnTo>
                  <a:pt x="30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8"/>
                </a:lnTo>
                <a:lnTo>
                  <a:pt x="42" y="42"/>
                </a:lnTo>
                <a:lnTo>
                  <a:pt x="42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8"/>
                </a:lnTo>
                <a:lnTo>
                  <a:pt x="60" y="42"/>
                </a:lnTo>
                <a:lnTo>
                  <a:pt x="54" y="42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54" y="48"/>
                </a:lnTo>
                <a:lnTo>
                  <a:pt x="54" y="48"/>
                </a:lnTo>
                <a:lnTo>
                  <a:pt x="60" y="54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54"/>
                </a:lnTo>
                <a:lnTo>
                  <a:pt x="60" y="54"/>
                </a:lnTo>
                <a:lnTo>
                  <a:pt x="66" y="54"/>
                </a:lnTo>
                <a:lnTo>
                  <a:pt x="66" y="48"/>
                </a:lnTo>
                <a:lnTo>
                  <a:pt x="66" y="48"/>
                </a:lnTo>
                <a:lnTo>
                  <a:pt x="72" y="48"/>
                </a:lnTo>
                <a:lnTo>
                  <a:pt x="72" y="48"/>
                </a:lnTo>
                <a:lnTo>
                  <a:pt x="78" y="48"/>
                </a:lnTo>
                <a:lnTo>
                  <a:pt x="78" y="48"/>
                </a:lnTo>
                <a:lnTo>
                  <a:pt x="78" y="42"/>
                </a:lnTo>
                <a:lnTo>
                  <a:pt x="78" y="42"/>
                </a:lnTo>
                <a:lnTo>
                  <a:pt x="84" y="36"/>
                </a:lnTo>
                <a:lnTo>
                  <a:pt x="84" y="36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24"/>
                </a:lnTo>
                <a:lnTo>
                  <a:pt x="78" y="24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6"/>
                </a:lnTo>
                <a:lnTo>
                  <a:pt x="84" y="6"/>
                </a:lnTo>
                <a:lnTo>
                  <a:pt x="90" y="6"/>
                </a:lnTo>
                <a:lnTo>
                  <a:pt x="90" y="6"/>
                </a:lnTo>
                <a:lnTo>
                  <a:pt x="96" y="6"/>
                </a:lnTo>
                <a:lnTo>
                  <a:pt x="96" y="6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14" y="0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20" y="6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8"/>
                </a:lnTo>
                <a:lnTo>
                  <a:pt x="144" y="18"/>
                </a:lnTo>
                <a:lnTo>
                  <a:pt x="150" y="12"/>
                </a:lnTo>
                <a:lnTo>
                  <a:pt x="150" y="12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74" y="18"/>
                </a:lnTo>
                <a:lnTo>
                  <a:pt x="174" y="18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80" y="12"/>
                </a:lnTo>
                <a:lnTo>
                  <a:pt x="180" y="6"/>
                </a:lnTo>
                <a:lnTo>
                  <a:pt x="180" y="12"/>
                </a:lnTo>
                <a:lnTo>
                  <a:pt x="180" y="12"/>
                </a:lnTo>
                <a:lnTo>
                  <a:pt x="180" y="12"/>
                </a:lnTo>
                <a:lnTo>
                  <a:pt x="180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86" y="24"/>
                </a:lnTo>
                <a:lnTo>
                  <a:pt x="186" y="24"/>
                </a:lnTo>
                <a:lnTo>
                  <a:pt x="192" y="24"/>
                </a:lnTo>
                <a:lnTo>
                  <a:pt x="192" y="24"/>
                </a:lnTo>
                <a:lnTo>
                  <a:pt x="198" y="24"/>
                </a:lnTo>
                <a:lnTo>
                  <a:pt x="204" y="36"/>
                </a:lnTo>
                <a:lnTo>
                  <a:pt x="204" y="36"/>
                </a:lnTo>
                <a:lnTo>
                  <a:pt x="204" y="36"/>
                </a:lnTo>
                <a:lnTo>
                  <a:pt x="204" y="36"/>
                </a:lnTo>
                <a:lnTo>
                  <a:pt x="204" y="36"/>
                </a:lnTo>
                <a:lnTo>
                  <a:pt x="204" y="36"/>
                </a:lnTo>
                <a:lnTo>
                  <a:pt x="204" y="36"/>
                </a:lnTo>
                <a:lnTo>
                  <a:pt x="204" y="36"/>
                </a:lnTo>
                <a:lnTo>
                  <a:pt x="204" y="36"/>
                </a:lnTo>
                <a:lnTo>
                  <a:pt x="204" y="36"/>
                </a:lnTo>
                <a:lnTo>
                  <a:pt x="204" y="36"/>
                </a:lnTo>
                <a:lnTo>
                  <a:pt x="204" y="36"/>
                </a:lnTo>
                <a:lnTo>
                  <a:pt x="210" y="36"/>
                </a:lnTo>
                <a:lnTo>
                  <a:pt x="210" y="42"/>
                </a:lnTo>
                <a:lnTo>
                  <a:pt x="210" y="42"/>
                </a:lnTo>
                <a:lnTo>
                  <a:pt x="210" y="42"/>
                </a:lnTo>
                <a:lnTo>
                  <a:pt x="210" y="36"/>
                </a:lnTo>
                <a:lnTo>
                  <a:pt x="210" y="36"/>
                </a:lnTo>
                <a:lnTo>
                  <a:pt x="210" y="36"/>
                </a:lnTo>
                <a:lnTo>
                  <a:pt x="216" y="36"/>
                </a:lnTo>
                <a:lnTo>
                  <a:pt x="216" y="36"/>
                </a:lnTo>
                <a:lnTo>
                  <a:pt x="216" y="36"/>
                </a:lnTo>
                <a:lnTo>
                  <a:pt x="216" y="36"/>
                </a:lnTo>
                <a:lnTo>
                  <a:pt x="216" y="36"/>
                </a:lnTo>
                <a:lnTo>
                  <a:pt x="216" y="36"/>
                </a:lnTo>
                <a:lnTo>
                  <a:pt x="216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8" y="36"/>
                </a:lnTo>
                <a:lnTo>
                  <a:pt x="228" y="36"/>
                </a:lnTo>
                <a:lnTo>
                  <a:pt x="228" y="36"/>
                </a:lnTo>
                <a:lnTo>
                  <a:pt x="228" y="36"/>
                </a:lnTo>
                <a:lnTo>
                  <a:pt x="228" y="36"/>
                </a:lnTo>
                <a:lnTo>
                  <a:pt x="228" y="36"/>
                </a:lnTo>
                <a:lnTo>
                  <a:pt x="228" y="36"/>
                </a:lnTo>
                <a:lnTo>
                  <a:pt x="234" y="36"/>
                </a:lnTo>
                <a:lnTo>
                  <a:pt x="234" y="30"/>
                </a:lnTo>
                <a:lnTo>
                  <a:pt x="234" y="30"/>
                </a:lnTo>
                <a:lnTo>
                  <a:pt x="234" y="30"/>
                </a:lnTo>
                <a:lnTo>
                  <a:pt x="234" y="30"/>
                </a:lnTo>
                <a:lnTo>
                  <a:pt x="234" y="30"/>
                </a:lnTo>
                <a:lnTo>
                  <a:pt x="234" y="30"/>
                </a:lnTo>
                <a:lnTo>
                  <a:pt x="234" y="30"/>
                </a:lnTo>
                <a:lnTo>
                  <a:pt x="234" y="30"/>
                </a:lnTo>
                <a:lnTo>
                  <a:pt x="234" y="30"/>
                </a:lnTo>
                <a:lnTo>
                  <a:pt x="234" y="30"/>
                </a:lnTo>
                <a:lnTo>
                  <a:pt x="240" y="30"/>
                </a:lnTo>
                <a:lnTo>
                  <a:pt x="240" y="30"/>
                </a:lnTo>
                <a:lnTo>
                  <a:pt x="240" y="24"/>
                </a:lnTo>
                <a:lnTo>
                  <a:pt x="240" y="24"/>
                </a:lnTo>
                <a:lnTo>
                  <a:pt x="240" y="24"/>
                </a:lnTo>
                <a:lnTo>
                  <a:pt x="240" y="24"/>
                </a:lnTo>
                <a:lnTo>
                  <a:pt x="246" y="24"/>
                </a:lnTo>
                <a:lnTo>
                  <a:pt x="246" y="30"/>
                </a:lnTo>
                <a:lnTo>
                  <a:pt x="246" y="30"/>
                </a:lnTo>
                <a:lnTo>
                  <a:pt x="246" y="30"/>
                </a:lnTo>
                <a:lnTo>
                  <a:pt x="246" y="30"/>
                </a:lnTo>
                <a:lnTo>
                  <a:pt x="246" y="30"/>
                </a:lnTo>
                <a:lnTo>
                  <a:pt x="252" y="30"/>
                </a:lnTo>
                <a:lnTo>
                  <a:pt x="252" y="30"/>
                </a:lnTo>
                <a:lnTo>
                  <a:pt x="252" y="30"/>
                </a:lnTo>
                <a:lnTo>
                  <a:pt x="252" y="30"/>
                </a:lnTo>
                <a:lnTo>
                  <a:pt x="252" y="30"/>
                </a:lnTo>
                <a:lnTo>
                  <a:pt x="252" y="30"/>
                </a:lnTo>
                <a:lnTo>
                  <a:pt x="252" y="30"/>
                </a:lnTo>
                <a:lnTo>
                  <a:pt x="252" y="36"/>
                </a:lnTo>
                <a:lnTo>
                  <a:pt x="252" y="30"/>
                </a:lnTo>
                <a:lnTo>
                  <a:pt x="252" y="36"/>
                </a:lnTo>
                <a:lnTo>
                  <a:pt x="252" y="36"/>
                </a:lnTo>
                <a:lnTo>
                  <a:pt x="252" y="36"/>
                </a:lnTo>
                <a:lnTo>
                  <a:pt x="258" y="36"/>
                </a:lnTo>
                <a:lnTo>
                  <a:pt x="252" y="36"/>
                </a:lnTo>
                <a:lnTo>
                  <a:pt x="252" y="36"/>
                </a:lnTo>
                <a:lnTo>
                  <a:pt x="258" y="36"/>
                </a:lnTo>
                <a:lnTo>
                  <a:pt x="258" y="42"/>
                </a:lnTo>
                <a:lnTo>
                  <a:pt x="252" y="42"/>
                </a:lnTo>
                <a:lnTo>
                  <a:pt x="252" y="42"/>
                </a:lnTo>
                <a:lnTo>
                  <a:pt x="252" y="42"/>
                </a:lnTo>
                <a:lnTo>
                  <a:pt x="252" y="48"/>
                </a:lnTo>
                <a:lnTo>
                  <a:pt x="246" y="48"/>
                </a:lnTo>
                <a:lnTo>
                  <a:pt x="252" y="48"/>
                </a:lnTo>
                <a:lnTo>
                  <a:pt x="246" y="48"/>
                </a:lnTo>
                <a:lnTo>
                  <a:pt x="246" y="48"/>
                </a:lnTo>
                <a:lnTo>
                  <a:pt x="246" y="48"/>
                </a:lnTo>
                <a:lnTo>
                  <a:pt x="246" y="48"/>
                </a:lnTo>
                <a:lnTo>
                  <a:pt x="246" y="48"/>
                </a:lnTo>
                <a:lnTo>
                  <a:pt x="246" y="48"/>
                </a:lnTo>
                <a:lnTo>
                  <a:pt x="246" y="48"/>
                </a:lnTo>
                <a:lnTo>
                  <a:pt x="246" y="54"/>
                </a:lnTo>
                <a:lnTo>
                  <a:pt x="246" y="54"/>
                </a:lnTo>
                <a:lnTo>
                  <a:pt x="246" y="54"/>
                </a:lnTo>
                <a:lnTo>
                  <a:pt x="246" y="54"/>
                </a:lnTo>
                <a:lnTo>
                  <a:pt x="246" y="54"/>
                </a:lnTo>
                <a:lnTo>
                  <a:pt x="246" y="54"/>
                </a:lnTo>
                <a:lnTo>
                  <a:pt x="246" y="54"/>
                </a:lnTo>
                <a:lnTo>
                  <a:pt x="246" y="54"/>
                </a:lnTo>
                <a:lnTo>
                  <a:pt x="246" y="60"/>
                </a:lnTo>
                <a:lnTo>
                  <a:pt x="246" y="54"/>
                </a:lnTo>
                <a:lnTo>
                  <a:pt x="246" y="60"/>
                </a:lnTo>
                <a:lnTo>
                  <a:pt x="252" y="60"/>
                </a:lnTo>
                <a:lnTo>
                  <a:pt x="252" y="60"/>
                </a:lnTo>
                <a:lnTo>
                  <a:pt x="252" y="60"/>
                </a:lnTo>
                <a:lnTo>
                  <a:pt x="246" y="60"/>
                </a:lnTo>
                <a:lnTo>
                  <a:pt x="246" y="60"/>
                </a:lnTo>
                <a:lnTo>
                  <a:pt x="252" y="60"/>
                </a:lnTo>
                <a:lnTo>
                  <a:pt x="252" y="66"/>
                </a:lnTo>
                <a:lnTo>
                  <a:pt x="252" y="66"/>
                </a:lnTo>
                <a:lnTo>
                  <a:pt x="252" y="66"/>
                </a:lnTo>
                <a:lnTo>
                  <a:pt x="258" y="60"/>
                </a:lnTo>
                <a:lnTo>
                  <a:pt x="258" y="60"/>
                </a:lnTo>
                <a:lnTo>
                  <a:pt x="258" y="60"/>
                </a:lnTo>
                <a:lnTo>
                  <a:pt x="258" y="60"/>
                </a:lnTo>
                <a:lnTo>
                  <a:pt x="258" y="60"/>
                </a:lnTo>
                <a:lnTo>
                  <a:pt x="258" y="60"/>
                </a:lnTo>
                <a:lnTo>
                  <a:pt x="264" y="60"/>
                </a:lnTo>
                <a:lnTo>
                  <a:pt x="264" y="66"/>
                </a:lnTo>
                <a:lnTo>
                  <a:pt x="264" y="66"/>
                </a:lnTo>
                <a:lnTo>
                  <a:pt x="264" y="66"/>
                </a:lnTo>
                <a:lnTo>
                  <a:pt x="264" y="66"/>
                </a:lnTo>
                <a:lnTo>
                  <a:pt x="270" y="66"/>
                </a:lnTo>
                <a:lnTo>
                  <a:pt x="270" y="72"/>
                </a:lnTo>
                <a:lnTo>
                  <a:pt x="270" y="72"/>
                </a:lnTo>
                <a:lnTo>
                  <a:pt x="270" y="72"/>
                </a:lnTo>
                <a:lnTo>
                  <a:pt x="270" y="72"/>
                </a:lnTo>
                <a:lnTo>
                  <a:pt x="270" y="72"/>
                </a:lnTo>
                <a:lnTo>
                  <a:pt x="270" y="72"/>
                </a:lnTo>
                <a:lnTo>
                  <a:pt x="276" y="78"/>
                </a:lnTo>
                <a:lnTo>
                  <a:pt x="276" y="78"/>
                </a:lnTo>
                <a:lnTo>
                  <a:pt x="276" y="78"/>
                </a:lnTo>
                <a:lnTo>
                  <a:pt x="282" y="78"/>
                </a:lnTo>
                <a:lnTo>
                  <a:pt x="282" y="78"/>
                </a:lnTo>
                <a:lnTo>
                  <a:pt x="288" y="78"/>
                </a:lnTo>
                <a:lnTo>
                  <a:pt x="288" y="78"/>
                </a:lnTo>
                <a:lnTo>
                  <a:pt x="294" y="84"/>
                </a:lnTo>
                <a:lnTo>
                  <a:pt x="294" y="84"/>
                </a:lnTo>
                <a:lnTo>
                  <a:pt x="300" y="84"/>
                </a:lnTo>
                <a:lnTo>
                  <a:pt x="300" y="84"/>
                </a:lnTo>
                <a:lnTo>
                  <a:pt x="300" y="84"/>
                </a:lnTo>
                <a:lnTo>
                  <a:pt x="300" y="84"/>
                </a:lnTo>
                <a:lnTo>
                  <a:pt x="306" y="84"/>
                </a:lnTo>
                <a:lnTo>
                  <a:pt x="306" y="84"/>
                </a:lnTo>
                <a:lnTo>
                  <a:pt x="306" y="84"/>
                </a:lnTo>
                <a:lnTo>
                  <a:pt x="306" y="84"/>
                </a:lnTo>
                <a:lnTo>
                  <a:pt x="306" y="84"/>
                </a:lnTo>
                <a:lnTo>
                  <a:pt x="312" y="84"/>
                </a:lnTo>
                <a:lnTo>
                  <a:pt x="312" y="84"/>
                </a:lnTo>
                <a:lnTo>
                  <a:pt x="312" y="84"/>
                </a:lnTo>
                <a:lnTo>
                  <a:pt x="312" y="84"/>
                </a:lnTo>
                <a:lnTo>
                  <a:pt x="312" y="84"/>
                </a:lnTo>
                <a:lnTo>
                  <a:pt x="312" y="90"/>
                </a:lnTo>
                <a:lnTo>
                  <a:pt x="312" y="90"/>
                </a:lnTo>
                <a:lnTo>
                  <a:pt x="312" y="90"/>
                </a:lnTo>
                <a:lnTo>
                  <a:pt x="312" y="90"/>
                </a:lnTo>
                <a:lnTo>
                  <a:pt x="306" y="96"/>
                </a:lnTo>
                <a:lnTo>
                  <a:pt x="306" y="96"/>
                </a:lnTo>
                <a:lnTo>
                  <a:pt x="306" y="96"/>
                </a:lnTo>
                <a:lnTo>
                  <a:pt x="306" y="102"/>
                </a:lnTo>
                <a:lnTo>
                  <a:pt x="306" y="102"/>
                </a:lnTo>
                <a:lnTo>
                  <a:pt x="306" y="102"/>
                </a:lnTo>
                <a:lnTo>
                  <a:pt x="306" y="102"/>
                </a:lnTo>
                <a:lnTo>
                  <a:pt x="306" y="108"/>
                </a:lnTo>
                <a:lnTo>
                  <a:pt x="306" y="108"/>
                </a:lnTo>
                <a:lnTo>
                  <a:pt x="300" y="108"/>
                </a:lnTo>
                <a:lnTo>
                  <a:pt x="300" y="108"/>
                </a:lnTo>
                <a:lnTo>
                  <a:pt x="300" y="108"/>
                </a:lnTo>
                <a:lnTo>
                  <a:pt x="300" y="108"/>
                </a:lnTo>
                <a:lnTo>
                  <a:pt x="300" y="108"/>
                </a:lnTo>
                <a:lnTo>
                  <a:pt x="300" y="108"/>
                </a:lnTo>
                <a:lnTo>
                  <a:pt x="294" y="108"/>
                </a:lnTo>
                <a:lnTo>
                  <a:pt x="288" y="114"/>
                </a:lnTo>
                <a:lnTo>
                  <a:pt x="288" y="114"/>
                </a:lnTo>
                <a:lnTo>
                  <a:pt x="288" y="114"/>
                </a:lnTo>
                <a:lnTo>
                  <a:pt x="282" y="114"/>
                </a:lnTo>
                <a:lnTo>
                  <a:pt x="282" y="114"/>
                </a:lnTo>
                <a:lnTo>
                  <a:pt x="282" y="114"/>
                </a:lnTo>
                <a:lnTo>
                  <a:pt x="282" y="114"/>
                </a:lnTo>
                <a:lnTo>
                  <a:pt x="282" y="114"/>
                </a:lnTo>
                <a:lnTo>
                  <a:pt x="276" y="114"/>
                </a:lnTo>
                <a:lnTo>
                  <a:pt x="276" y="120"/>
                </a:lnTo>
                <a:lnTo>
                  <a:pt x="276" y="120"/>
                </a:lnTo>
                <a:lnTo>
                  <a:pt x="276" y="120"/>
                </a:lnTo>
                <a:lnTo>
                  <a:pt x="276" y="120"/>
                </a:lnTo>
                <a:lnTo>
                  <a:pt x="276" y="126"/>
                </a:lnTo>
                <a:lnTo>
                  <a:pt x="276" y="126"/>
                </a:lnTo>
                <a:lnTo>
                  <a:pt x="270" y="126"/>
                </a:lnTo>
                <a:lnTo>
                  <a:pt x="270" y="126"/>
                </a:lnTo>
                <a:lnTo>
                  <a:pt x="270" y="126"/>
                </a:lnTo>
                <a:lnTo>
                  <a:pt x="276" y="132"/>
                </a:lnTo>
                <a:lnTo>
                  <a:pt x="276" y="132"/>
                </a:lnTo>
                <a:lnTo>
                  <a:pt x="276" y="132"/>
                </a:lnTo>
                <a:lnTo>
                  <a:pt x="276" y="132"/>
                </a:lnTo>
                <a:lnTo>
                  <a:pt x="276" y="132"/>
                </a:lnTo>
                <a:lnTo>
                  <a:pt x="270" y="132"/>
                </a:lnTo>
                <a:lnTo>
                  <a:pt x="270" y="132"/>
                </a:lnTo>
                <a:lnTo>
                  <a:pt x="270" y="132"/>
                </a:lnTo>
                <a:lnTo>
                  <a:pt x="270" y="132"/>
                </a:lnTo>
                <a:lnTo>
                  <a:pt x="270" y="132"/>
                </a:lnTo>
                <a:lnTo>
                  <a:pt x="264" y="132"/>
                </a:lnTo>
                <a:lnTo>
                  <a:pt x="264" y="132"/>
                </a:lnTo>
                <a:lnTo>
                  <a:pt x="264" y="132"/>
                </a:lnTo>
                <a:lnTo>
                  <a:pt x="264" y="132"/>
                </a:lnTo>
                <a:lnTo>
                  <a:pt x="264" y="132"/>
                </a:lnTo>
                <a:lnTo>
                  <a:pt x="258" y="138"/>
                </a:lnTo>
                <a:lnTo>
                  <a:pt x="258" y="138"/>
                </a:lnTo>
                <a:lnTo>
                  <a:pt x="258" y="138"/>
                </a:lnTo>
                <a:lnTo>
                  <a:pt x="258" y="138"/>
                </a:lnTo>
                <a:lnTo>
                  <a:pt x="258" y="138"/>
                </a:lnTo>
                <a:lnTo>
                  <a:pt x="258" y="138"/>
                </a:lnTo>
                <a:lnTo>
                  <a:pt x="258" y="144"/>
                </a:lnTo>
                <a:lnTo>
                  <a:pt x="258" y="144"/>
                </a:lnTo>
                <a:lnTo>
                  <a:pt x="258" y="144"/>
                </a:lnTo>
                <a:lnTo>
                  <a:pt x="258" y="144"/>
                </a:lnTo>
                <a:lnTo>
                  <a:pt x="258" y="144"/>
                </a:lnTo>
                <a:lnTo>
                  <a:pt x="258" y="150"/>
                </a:lnTo>
                <a:lnTo>
                  <a:pt x="258" y="150"/>
                </a:lnTo>
                <a:lnTo>
                  <a:pt x="258" y="150"/>
                </a:lnTo>
                <a:lnTo>
                  <a:pt x="258" y="150"/>
                </a:lnTo>
                <a:lnTo>
                  <a:pt x="258" y="150"/>
                </a:lnTo>
                <a:lnTo>
                  <a:pt x="264" y="150"/>
                </a:lnTo>
                <a:lnTo>
                  <a:pt x="264" y="150"/>
                </a:lnTo>
                <a:lnTo>
                  <a:pt x="264" y="150"/>
                </a:lnTo>
                <a:lnTo>
                  <a:pt x="264" y="150"/>
                </a:lnTo>
                <a:lnTo>
                  <a:pt x="264" y="156"/>
                </a:lnTo>
                <a:lnTo>
                  <a:pt x="264" y="156"/>
                </a:lnTo>
                <a:lnTo>
                  <a:pt x="264" y="156"/>
                </a:lnTo>
                <a:lnTo>
                  <a:pt x="264" y="156"/>
                </a:lnTo>
                <a:lnTo>
                  <a:pt x="264" y="156"/>
                </a:lnTo>
                <a:lnTo>
                  <a:pt x="270" y="156"/>
                </a:lnTo>
                <a:lnTo>
                  <a:pt x="264" y="156"/>
                </a:lnTo>
                <a:lnTo>
                  <a:pt x="270" y="162"/>
                </a:lnTo>
                <a:lnTo>
                  <a:pt x="270" y="162"/>
                </a:lnTo>
                <a:lnTo>
                  <a:pt x="270" y="162"/>
                </a:lnTo>
                <a:lnTo>
                  <a:pt x="264" y="162"/>
                </a:lnTo>
                <a:lnTo>
                  <a:pt x="264" y="162"/>
                </a:lnTo>
                <a:lnTo>
                  <a:pt x="264" y="162"/>
                </a:lnTo>
                <a:lnTo>
                  <a:pt x="264" y="162"/>
                </a:lnTo>
                <a:lnTo>
                  <a:pt x="264" y="162"/>
                </a:lnTo>
                <a:lnTo>
                  <a:pt x="264" y="162"/>
                </a:lnTo>
                <a:lnTo>
                  <a:pt x="264" y="162"/>
                </a:lnTo>
                <a:lnTo>
                  <a:pt x="264" y="168"/>
                </a:lnTo>
                <a:lnTo>
                  <a:pt x="264" y="168"/>
                </a:lnTo>
                <a:lnTo>
                  <a:pt x="264" y="168"/>
                </a:lnTo>
                <a:lnTo>
                  <a:pt x="264" y="168"/>
                </a:lnTo>
                <a:lnTo>
                  <a:pt x="264" y="168"/>
                </a:lnTo>
                <a:lnTo>
                  <a:pt x="264" y="168"/>
                </a:lnTo>
                <a:lnTo>
                  <a:pt x="258" y="168"/>
                </a:lnTo>
                <a:lnTo>
                  <a:pt x="258" y="168"/>
                </a:lnTo>
                <a:lnTo>
                  <a:pt x="258" y="168"/>
                </a:lnTo>
                <a:lnTo>
                  <a:pt x="258" y="174"/>
                </a:lnTo>
                <a:lnTo>
                  <a:pt x="258" y="174"/>
                </a:lnTo>
                <a:lnTo>
                  <a:pt x="258" y="174"/>
                </a:lnTo>
                <a:lnTo>
                  <a:pt x="258" y="174"/>
                </a:lnTo>
                <a:lnTo>
                  <a:pt x="258" y="174"/>
                </a:lnTo>
                <a:lnTo>
                  <a:pt x="258" y="174"/>
                </a:lnTo>
                <a:lnTo>
                  <a:pt x="258" y="174"/>
                </a:lnTo>
                <a:lnTo>
                  <a:pt x="252" y="174"/>
                </a:lnTo>
                <a:lnTo>
                  <a:pt x="252" y="174"/>
                </a:lnTo>
                <a:lnTo>
                  <a:pt x="252" y="174"/>
                </a:lnTo>
                <a:lnTo>
                  <a:pt x="252" y="174"/>
                </a:lnTo>
                <a:lnTo>
                  <a:pt x="252" y="174"/>
                </a:lnTo>
                <a:lnTo>
                  <a:pt x="252" y="174"/>
                </a:lnTo>
                <a:lnTo>
                  <a:pt x="252" y="174"/>
                </a:lnTo>
                <a:lnTo>
                  <a:pt x="252" y="174"/>
                </a:lnTo>
                <a:lnTo>
                  <a:pt x="252" y="174"/>
                </a:lnTo>
                <a:lnTo>
                  <a:pt x="252" y="174"/>
                </a:lnTo>
                <a:lnTo>
                  <a:pt x="252" y="174"/>
                </a:lnTo>
                <a:lnTo>
                  <a:pt x="252" y="180"/>
                </a:lnTo>
                <a:lnTo>
                  <a:pt x="252" y="180"/>
                </a:lnTo>
                <a:lnTo>
                  <a:pt x="252" y="180"/>
                </a:lnTo>
                <a:lnTo>
                  <a:pt x="252" y="180"/>
                </a:lnTo>
                <a:lnTo>
                  <a:pt x="252" y="180"/>
                </a:lnTo>
                <a:lnTo>
                  <a:pt x="252" y="180"/>
                </a:lnTo>
                <a:lnTo>
                  <a:pt x="252" y="180"/>
                </a:lnTo>
                <a:lnTo>
                  <a:pt x="252" y="180"/>
                </a:lnTo>
                <a:lnTo>
                  <a:pt x="252" y="180"/>
                </a:lnTo>
                <a:lnTo>
                  <a:pt x="252" y="180"/>
                </a:lnTo>
                <a:lnTo>
                  <a:pt x="246" y="186"/>
                </a:lnTo>
                <a:lnTo>
                  <a:pt x="246" y="186"/>
                </a:lnTo>
                <a:lnTo>
                  <a:pt x="246" y="186"/>
                </a:lnTo>
                <a:lnTo>
                  <a:pt x="246" y="186"/>
                </a:lnTo>
                <a:lnTo>
                  <a:pt x="246" y="186"/>
                </a:lnTo>
                <a:lnTo>
                  <a:pt x="246" y="192"/>
                </a:lnTo>
                <a:lnTo>
                  <a:pt x="246" y="192"/>
                </a:lnTo>
                <a:lnTo>
                  <a:pt x="246" y="192"/>
                </a:lnTo>
                <a:lnTo>
                  <a:pt x="246" y="192"/>
                </a:lnTo>
                <a:lnTo>
                  <a:pt x="246" y="192"/>
                </a:lnTo>
                <a:lnTo>
                  <a:pt x="246" y="192"/>
                </a:lnTo>
                <a:lnTo>
                  <a:pt x="240" y="192"/>
                </a:lnTo>
                <a:lnTo>
                  <a:pt x="240" y="192"/>
                </a:lnTo>
                <a:lnTo>
                  <a:pt x="240" y="192"/>
                </a:lnTo>
                <a:lnTo>
                  <a:pt x="240" y="198"/>
                </a:lnTo>
                <a:lnTo>
                  <a:pt x="240" y="198"/>
                </a:lnTo>
                <a:lnTo>
                  <a:pt x="240" y="198"/>
                </a:lnTo>
                <a:lnTo>
                  <a:pt x="240" y="198"/>
                </a:lnTo>
                <a:lnTo>
                  <a:pt x="240" y="198"/>
                </a:lnTo>
                <a:lnTo>
                  <a:pt x="240" y="198"/>
                </a:lnTo>
                <a:lnTo>
                  <a:pt x="234" y="198"/>
                </a:lnTo>
                <a:lnTo>
                  <a:pt x="234" y="198"/>
                </a:lnTo>
                <a:lnTo>
                  <a:pt x="234" y="198"/>
                </a:lnTo>
                <a:lnTo>
                  <a:pt x="234" y="198"/>
                </a:lnTo>
                <a:lnTo>
                  <a:pt x="234" y="198"/>
                </a:lnTo>
                <a:lnTo>
                  <a:pt x="228" y="198"/>
                </a:lnTo>
                <a:lnTo>
                  <a:pt x="234" y="198"/>
                </a:lnTo>
                <a:lnTo>
                  <a:pt x="228" y="198"/>
                </a:lnTo>
                <a:lnTo>
                  <a:pt x="228" y="204"/>
                </a:lnTo>
                <a:lnTo>
                  <a:pt x="228" y="204"/>
                </a:lnTo>
                <a:lnTo>
                  <a:pt x="228" y="204"/>
                </a:lnTo>
                <a:lnTo>
                  <a:pt x="228" y="204"/>
                </a:lnTo>
                <a:lnTo>
                  <a:pt x="228" y="204"/>
                </a:lnTo>
                <a:lnTo>
                  <a:pt x="228" y="204"/>
                </a:lnTo>
                <a:lnTo>
                  <a:pt x="228" y="204"/>
                </a:lnTo>
                <a:lnTo>
                  <a:pt x="222" y="204"/>
                </a:lnTo>
                <a:lnTo>
                  <a:pt x="222" y="204"/>
                </a:lnTo>
                <a:lnTo>
                  <a:pt x="228" y="204"/>
                </a:lnTo>
                <a:lnTo>
                  <a:pt x="228" y="204"/>
                </a:lnTo>
                <a:lnTo>
                  <a:pt x="228" y="204"/>
                </a:lnTo>
                <a:lnTo>
                  <a:pt x="228" y="204"/>
                </a:lnTo>
                <a:lnTo>
                  <a:pt x="228" y="204"/>
                </a:lnTo>
                <a:lnTo>
                  <a:pt x="222" y="204"/>
                </a:lnTo>
                <a:lnTo>
                  <a:pt x="222" y="210"/>
                </a:lnTo>
                <a:lnTo>
                  <a:pt x="222" y="210"/>
                </a:lnTo>
                <a:lnTo>
                  <a:pt x="222" y="210"/>
                </a:lnTo>
                <a:lnTo>
                  <a:pt x="222" y="210"/>
                </a:lnTo>
                <a:lnTo>
                  <a:pt x="222" y="210"/>
                </a:lnTo>
                <a:lnTo>
                  <a:pt x="222" y="210"/>
                </a:lnTo>
                <a:lnTo>
                  <a:pt x="222" y="210"/>
                </a:lnTo>
                <a:lnTo>
                  <a:pt x="222" y="210"/>
                </a:lnTo>
                <a:lnTo>
                  <a:pt x="222" y="210"/>
                </a:lnTo>
                <a:lnTo>
                  <a:pt x="222" y="210"/>
                </a:lnTo>
                <a:lnTo>
                  <a:pt x="222" y="210"/>
                </a:lnTo>
                <a:lnTo>
                  <a:pt x="222" y="210"/>
                </a:lnTo>
                <a:lnTo>
                  <a:pt x="216" y="210"/>
                </a:lnTo>
                <a:lnTo>
                  <a:pt x="216" y="210"/>
                </a:lnTo>
                <a:lnTo>
                  <a:pt x="216" y="210"/>
                </a:lnTo>
                <a:lnTo>
                  <a:pt x="216" y="210"/>
                </a:lnTo>
                <a:lnTo>
                  <a:pt x="216" y="210"/>
                </a:lnTo>
                <a:lnTo>
                  <a:pt x="216" y="210"/>
                </a:lnTo>
                <a:lnTo>
                  <a:pt x="216" y="210"/>
                </a:lnTo>
                <a:lnTo>
                  <a:pt x="216" y="210"/>
                </a:lnTo>
                <a:lnTo>
                  <a:pt x="216" y="210"/>
                </a:lnTo>
                <a:lnTo>
                  <a:pt x="210" y="210"/>
                </a:lnTo>
                <a:lnTo>
                  <a:pt x="210" y="210"/>
                </a:lnTo>
                <a:lnTo>
                  <a:pt x="210" y="210"/>
                </a:lnTo>
                <a:lnTo>
                  <a:pt x="210" y="210"/>
                </a:lnTo>
                <a:lnTo>
                  <a:pt x="210" y="210"/>
                </a:lnTo>
                <a:lnTo>
                  <a:pt x="210" y="210"/>
                </a:lnTo>
                <a:lnTo>
                  <a:pt x="210" y="210"/>
                </a:lnTo>
                <a:lnTo>
                  <a:pt x="210" y="210"/>
                </a:lnTo>
                <a:lnTo>
                  <a:pt x="210" y="210"/>
                </a:lnTo>
                <a:lnTo>
                  <a:pt x="210" y="210"/>
                </a:lnTo>
                <a:lnTo>
                  <a:pt x="210" y="210"/>
                </a:lnTo>
                <a:lnTo>
                  <a:pt x="210" y="210"/>
                </a:lnTo>
                <a:lnTo>
                  <a:pt x="204" y="210"/>
                </a:lnTo>
                <a:lnTo>
                  <a:pt x="204" y="210"/>
                </a:lnTo>
                <a:lnTo>
                  <a:pt x="204" y="210"/>
                </a:lnTo>
                <a:lnTo>
                  <a:pt x="204" y="210"/>
                </a:lnTo>
                <a:lnTo>
                  <a:pt x="204" y="204"/>
                </a:lnTo>
                <a:lnTo>
                  <a:pt x="204" y="204"/>
                </a:lnTo>
                <a:lnTo>
                  <a:pt x="198" y="204"/>
                </a:lnTo>
                <a:lnTo>
                  <a:pt x="198" y="204"/>
                </a:lnTo>
                <a:lnTo>
                  <a:pt x="198" y="204"/>
                </a:lnTo>
                <a:lnTo>
                  <a:pt x="198" y="204"/>
                </a:lnTo>
                <a:lnTo>
                  <a:pt x="198" y="204"/>
                </a:lnTo>
                <a:lnTo>
                  <a:pt x="198" y="204"/>
                </a:lnTo>
                <a:lnTo>
                  <a:pt x="198" y="204"/>
                </a:lnTo>
                <a:lnTo>
                  <a:pt x="198" y="204"/>
                </a:lnTo>
                <a:lnTo>
                  <a:pt x="198" y="204"/>
                </a:lnTo>
                <a:lnTo>
                  <a:pt x="198" y="204"/>
                </a:lnTo>
                <a:lnTo>
                  <a:pt x="192" y="204"/>
                </a:lnTo>
                <a:lnTo>
                  <a:pt x="198" y="204"/>
                </a:lnTo>
                <a:lnTo>
                  <a:pt x="192" y="204"/>
                </a:lnTo>
                <a:lnTo>
                  <a:pt x="192" y="204"/>
                </a:lnTo>
                <a:lnTo>
                  <a:pt x="192" y="204"/>
                </a:lnTo>
                <a:lnTo>
                  <a:pt x="192" y="204"/>
                </a:lnTo>
                <a:lnTo>
                  <a:pt x="186" y="204"/>
                </a:lnTo>
                <a:lnTo>
                  <a:pt x="186" y="204"/>
                </a:lnTo>
                <a:lnTo>
                  <a:pt x="186" y="204"/>
                </a:lnTo>
                <a:lnTo>
                  <a:pt x="186" y="204"/>
                </a:lnTo>
                <a:lnTo>
                  <a:pt x="186" y="204"/>
                </a:lnTo>
                <a:lnTo>
                  <a:pt x="186" y="204"/>
                </a:lnTo>
                <a:lnTo>
                  <a:pt x="186" y="204"/>
                </a:lnTo>
                <a:lnTo>
                  <a:pt x="186" y="204"/>
                </a:lnTo>
                <a:lnTo>
                  <a:pt x="180" y="204"/>
                </a:lnTo>
                <a:lnTo>
                  <a:pt x="180" y="204"/>
                </a:lnTo>
                <a:lnTo>
                  <a:pt x="180" y="204"/>
                </a:lnTo>
                <a:lnTo>
                  <a:pt x="180" y="204"/>
                </a:lnTo>
                <a:lnTo>
                  <a:pt x="180" y="204"/>
                </a:lnTo>
                <a:lnTo>
                  <a:pt x="174" y="204"/>
                </a:lnTo>
                <a:lnTo>
                  <a:pt x="168" y="210"/>
                </a:lnTo>
                <a:lnTo>
                  <a:pt x="192" y="180"/>
                </a:lnTo>
                <a:lnTo>
                  <a:pt x="192" y="180"/>
                </a:lnTo>
                <a:lnTo>
                  <a:pt x="192" y="174"/>
                </a:lnTo>
                <a:lnTo>
                  <a:pt x="198" y="174"/>
                </a:lnTo>
                <a:lnTo>
                  <a:pt x="198" y="174"/>
                </a:lnTo>
                <a:lnTo>
                  <a:pt x="198" y="174"/>
                </a:lnTo>
                <a:lnTo>
                  <a:pt x="198" y="174"/>
                </a:lnTo>
                <a:lnTo>
                  <a:pt x="192" y="168"/>
                </a:lnTo>
                <a:lnTo>
                  <a:pt x="168" y="162"/>
                </a:lnTo>
                <a:lnTo>
                  <a:pt x="168" y="162"/>
                </a:lnTo>
                <a:lnTo>
                  <a:pt x="168" y="168"/>
                </a:lnTo>
                <a:lnTo>
                  <a:pt x="168" y="168"/>
                </a:lnTo>
                <a:lnTo>
                  <a:pt x="162" y="168"/>
                </a:lnTo>
                <a:lnTo>
                  <a:pt x="162" y="168"/>
                </a:lnTo>
                <a:lnTo>
                  <a:pt x="162" y="168"/>
                </a:lnTo>
                <a:lnTo>
                  <a:pt x="162" y="168"/>
                </a:lnTo>
                <a:lnTo>
                  <a:pt x="162" y="168"/>
                </a:lnTo>
                <a:lnTo>
                  <a:pt x="162" y="168"/>
                </a:lnTo>
                <a:lnTo>
                  <a:pt x="162" y="174"/>
                </a:lnTo>
                <a:lnTo>
                  <a:pt x="162" y="174"/>
                </a:lnTo>
                <a:lnTo>
                  <a:pt x="162" y="174"/>
                </a:lnTo>
                <a:lnTo>
                  <a:pt x="162" y="174"/>
                </a:lnTo>
                <a:lnTo>
                  <a:pt x="162" y="174"/>
                </a:lnTo>
                <a:lnTo>
                  <a:pt x="162" y="174"/>
                </a:lnTo>
                <a:lnTo>
                  <a:pt x="162" y="174"/>
                </a:lnTo>
                <a:lnTo>
                  <a:pt x="162" y="174"/>
                </a:lnTo>
                <a:lnTo>
                  <a:pt x="162" y="180"/>
                </a:lnTo>
                <a:lnTo>
                  <a:pt x="162" y="180"/>
                </a:lnTo>
                <a:lnTo>
                  <a:pt x="162" y="180"/>
                </a:lnTo>
                <a:lnTo>
                  <a:pt x="162" y="180"/>
                </a:lnTo>
                <a:lnTo>
                  <a:pt x="162" y="180"/>
                </a:lnTo>
                <a:lnTo>
                  <a:pt x="162" y="180"/>
                </a:lnTo>
                <a:lnTo>
                  <a:pt x="162" y="180"/>
                </a:lnTo>
                <a:lnTo>
                  <a:pt x="162" y="180"/>
                </a:lnTo>
                <a:lnTo>
                  <a:pt x="162" y="180"/>
                </a:lnTo>
                <a:lnTo>
                  <a:pt x="162" y="180"/>
                </a:lnTo>
                <a:lnTo>
                  <a:pt x="162" y="180"/>
                </a:lnTo>
                <a:lnTo>
                  <a:pt x="162" y="180"/>
                </a:lnTo>
                <a:lnTo>
                  <a:pt x="162" y="180"/>
                </a:lnTo>
                <a:lnTo>
                  <a:pt x="162" y="186"/>
                </a:lnTo>
                <a:lnTo>
                  <a:pt x="162" y="186"/>
                </a:lnTo>
                <a:lnTo>
                  <a:pt x="162" y="186"/>
                </a:lnTo>
                <a:lnTo>
                  <a:pt x="162" y="186"/>
                </a:lnTo>
                <a:lnTo>
                  <a:pt x="162" y="186"/>
                </a:lnTo>
                <a:lnTo>
                  <a:pt x="162" y="186"/>
                </a:lnTo>
                <a:lnTo>
                  <a:pt x="162" y="186"/>
                </a:lnTo>
                <a:lnTo>
                  <a:pt x="162" y="186"/>
                </a:lnTo>
                <a:lnTo>
                  <a:pt x="162" y="186"/>
                </a:lnTo>
                <a:lnTo>
                  <a:pt x="162" y="186"/>
                </a:lnTo>
                <a:lnTo>
                  <a:pt x="162" y="186"/>
                </a:lnTo>
                <a:lnTo>
                  <a:pt x="162" y="186"/>
                </a:lnTo>
                <a:lnTo>
                  <a:pt x="156" y="186"/>
                </a:lnTo>
                <a:lnTo>
                  <a:pt x="156" y="186"/>
                </a:lnTo>
                <a:lnTo>
                  <a:pt x="156" y="186"/>
                </a:lnTo>
                <a:lnTo>
                  <a:pt x="156" y="186"/>
                </a:lnTo>
                <a:lnTo>
                  <a:pt x="156" y="186"/>
                </a:lnTo>
                <a:lnTo>
                  <a:pt x="156" y="186"/>
                </a:lnTo>
                <a:lnTo>
                  <a:pt x="156" y="186"/>
                </a:lnTo>
                <a:lnTo>
                  <a:pt x="156" y="186"/>
                </a:lnTo>
                <a:lnTo>
                  <a:pt x="156" y="186"/>
                </a:lnTo>
                <a:lnTo>
                  <a:pt x="156" y="186"/>
                </a:lnTo>
                <a:lnTo>
                  <a:pt x="156" y="186"/>
                </a:lnTo>
                <a:lnTo>
                  <a:pt x="156" y="186"/>
                </a:lnTo>
                <a:lnTo>
                  <a:pt x="150" y="186"/>
                </a:lnTo>
                <a:lnTo>
                  <a:pt x="150" y="186"/>
                </a:lnTo>
                <a:lnTo>
                  <a:pt x="150" y="186"/>
                </a:lnTo>
                <a:lnTo>
                  <a:pt x="150" y="186"/>
                </a:lnTo>
                <a:lnTo>
                  <a:pt x="150" y="186"/>
                </a:lnTo>
                <a:lnTo>
                  <a:pt x="150" y="186"/>
                </a:lnTo>
                <a:lnTo>
                  <a:pt x="150" y="186"/>
                </a:lnTo>
                <a:lnTo>
                  <a:pt x="150" y="186"/>
                </a:lnTo>
                <a:lnTo>
                  <a:pt x="144" y="186"/>
                </a:lnTo>
                <a:lnTo>
                  <a:pt x="144" y="186"/>
                </a:lnTo>
                <a:lnTo>
                  <a:pt x="144" y="186"/>
                </a:lnTo>
                <a:lnTo>
                  <a:pt x="144" y="186"/>
                </a:lnTo>
                <a:lnTo>
                  <a:pt x="144" y="186"/>
                </a:lnTo>
                <a:lnTo>
                  <a:pt x="138" y="192"/>
                </a:lnTo>
                <a:lnTo>
                  <a:pt x="138" y="192"/>
                </a:lnTo>
                <a:lnTo>
                  <a:pt x="138" y="192"/>
                </a:lnTo>
                <a:lnTo>
                  <a:pt x="138" y="192"/>
                </a:lnTo>
                <a:lnTo>
                  <a:pt x="138" y="192"/>
                </a:lnTo>
                <a:lnTo>
                  <a:pt x="132" y="192"/>
                </a:lnTo>
                <a:lnTo>
                  <a:pt x="132" y="192"/>
                </a:lnTo>
                <a:lnTo>
                  <a:pt x="132" y="192"/>
                </a:lnTo>
                <a:lnTo>
                  <a:pt x="132" y="192"/>
                </a:lnTo>
                <a:lnTo>
                  <a:pt x="126" y="192"/>
                </a:lnTo>
                <a:lnTo>
                  <a:pt x="126" y="192"/>
                </a:lnTo>
                <a:lnTo>
                  <a:pt x="120" y="198"/>
                </a:lnTo>
                <a:lnTo>
                  <a:pt x="114" y="198"/>
                </a:lnTo>
                <a:lnTo>
                  <a:pt x="114" y="198"/>
                </a:lnTo>
                <a:lnTo>
                  <a:pt x="114" y="198"/>
                </a:lnTo>
                <a:lnTo>
                  <a:pt x="108" y="204"/>
                </a:lnTo>
                <a:lnTo>
                  <a:pt x="108" y="198"/>
                </a:lnTo>
                <a:lnTo>
                  <a:pt x="108" y="198"/>
                </a:lnTo>
                <a:lnTo>
                  <a:pt x="108" y="198"/>
                </a:lnTo>
                <a:lnTo>
                  <a:pt x="108" y="198"/>
                </a:lnTo>
                <a:lnTo>
                  <a:pt x="102" y="198"/>
                </a:lnTo>
                <a:lnTo>
                  <a:pt x="102" y="192"/>
                </a:lnTo>
                <a:lnTo>
                  <a:pt x="108" y="192"/>
                </a:lnTo>
                <a:lnTo>
                  <a:pt x="108" y="192"/>
                </a:lnTo>
                <a:lnTo>
                  <a:pt x="108" y="192"/>
                </a:lnTo>
                <a:lnTo>
                  <a:pt x="108" y="192"/>
                </a:lnTo>
                <a:lnTo>
                  <a:pt x="108" y="192"/>
                </a:lnTo>
                <a:lnTo>
                  <a:pt x="108" y="192"/>
                </a:lnTo>
                <a:lnTo>
                  <a:pt x="108" y="186"/>
                </a:lnTo>
                <a:lnTo>
                  <a:pt x="108" y="186"/>
                </a:lnTo>
                <a:lnTo>
                  <a:pt x="108" y="180"/>
                </a:lnTo>
                <a:lnTo>
                  <a:pt x="108" y="180"/>
                </a:lnTo>
                <a:lnTo>
                  <a:pt x="108" y="180"/>
                </a:lnTo>
                <a:lnTo>
                  <a:pt x="108" y="180"/>
                </a:lnTo>
                <a:lnTo>
                  <a:pt x="108" y="174"/>
                </a:lnTo>
                <a:lnTo>
                  <a:pt x="108" y="174"/>
                </a:lnTo>
                <a:lnTo>
                  <a:pt x="108" y="174"/>
                </a:lnTo>
                <a:lnTo>
                  <a:pt x="108" y="174"/>
                </a:lnTo>
                <a:lnTo>
                  <a:pt x="108" y="174"/>
                </a:lnTo>
                <a:lnTo>
                  <a:pt x="108" y="174"/>
                </a:lnTo>
                <a:lnTo>
                  <a:pt x="108" y="174"/>
                </a:lnTo>
                <a:lnTo>
                  <a:pt x="102" y="174"/>
                </a:lnTo>
                <a:lnTo>
                  <a:pt x="102" y="174"/>
                </a:lnTo>
                <a:lnTo>
                  <a:pt x="102" y="174"/>
                </a:lnTo>
                <a:lnTo>
                  <a:pt x="102" y="174"/>
                </a:lnTo>
                <a:lnTo>
                  <a:pt x="102" y="174"/>
                </a:lnTo>
                <a:lnTo>
                  <a:pt x="96" y="174"/>
                </a:lnTo>
                <a:lnTo>
                  <a:pt x="96" y="168"/>
                </a:lnTo>
                <a:lnTo>
                  <a:pt x="96" y="168"/>
                </a:lnTo>
                <a:lnTo>
                  <a:pt x="96" y="168"/>
                </a:lnTo>
                <a:lnTo>
                  <a:pt x="96" y="168"/>
                </a:lnTo>
                <a:lnTo>
                  <a:pt x="96" y="168"/>
                </a:lnTo>
                <a:lnTo>
                  <a:pt x="96" y="168"/>
                </a:lnTo>
                <a:lnTo>
                  <a:pt x="90" y="168"/>
                </a:lnTo>
                <a:lnTo>
                  <a:pt x="90" y="168"/>
                </a:lnTo>
                <a:lnTo>
                  <a:pt x="90" y="168"/>
                </a:lnTo>
                <a:lnTo>
                  <a:pt x="90" y="168"/>
                </a:lnTo>
                <a:lnTo>
                  <a:pt x="90" y="162"/>
                </a:lnTo>
                <a:lnTo>
                  <a:pt x="90" y="162"/>
                </a:lnTo>
                <a:lnTo>
                  <a:pt x="90" y="162"/>
                </a:lnTo>
                <a:lnTo>
                  <a:pt x="90" y="162"/>
                </a:lnTo>
                <a:lnTo>
                  <a:pt x="84" y="162"/>
                </a:lnTo>
                <a:lnTo>
                  <a:pt x="84" y="162"/>
                </a:lnTo>
                <a:lnTo>
                  <a:pt x="84" y="162"/>
                </a:lnTo>
                <a:lnTo>
                  <a:pt x="84" y="162"/>
                </a:lnTo>
                <a:lnTo>
                  <a:pt x="84" y="162"/>
                </a:lnTo>
                <a:lnTo>
                  <a:pt x="84" y="162"/>
                </a:lnTo>
                <a:lnTo>
                  <a:pt x="84" y="156"/>
                </a:lnTo>
                <a:lnTo>
                  <a:pt x="78" y="156"/>
                </a:lnTo>
                <a:lnTo>
                  <a:pt x="78" y="162"/>
                </a:lnTo>
                <a:lnTo>
                  <a:pt x="78" y="156"/>
                </a:lnTo>
                <a:lnTo>
                  <a:pt x="78" y="162"/>
                </a:lnTo>
                <a:lnTo>
                  <a:pt x="72" y="162"/>
                </a:lnTo>
                <a:lnTo>
                  <a:pt x="72" y="162"/>
                </a:lnTo>
                <a:lnTo>
                  <a:pt x="72" y="162"/>
                </a:lnTo>
                <a:lnTo>
                  <a:pt x="72" y="162"/>
                </a:lnTo>
                <a:lnTo>
                  <a:pt x="72" y="162"/>
                </a:lnTo>
                <a:lnTo>
                  <a:pt x="72" y="162"/>
                </a:lnTo>
                <a:lnTo>
                  <a:pt x="72" y="162"/>
                </a:lnTo>
                <a:lnTo>
                  <a:pt x="72" y="162"/>
                </a:lnTo>
                <a:lnTo>
                  <a:pt x="66" y="162"/>
                </a:lnTo>
                <a:lnTo>
                  <a:pt x="66" y="162"/>
                </a:lnTo>
                <a:lnTo>
                  <a:pt x="66" y="162"/>
                </a:lnTo>
                <a:lnTo>
                  <a:pt x="66" y="162"/>
                </a:lnTo>
                <a:lnTo>
                  <a:pt x="66" y="162"/>
                </a:lnTo>
                <a:lnTo>
                  <a:pt x="66" y="162"/>
                </a:lnTo>
                <a:lnTo>
                  <a:pt x="66" y="162"/>
                </a:lnTo>
                <a:lnTo>
                  <a:pt x="60" y="162"/>
                </a:lnTo>
                <a:lnTo>
                  <a:pt x="60" y="162"/>
                </a:lnTo>
                <a:lnTo>
                  <a:pt x="60" y="162"/>
                </a:lnTo>
                <a:lnTo>
                  <a:pt x="60" y="162"/>
                </a:lnTo>
                <a:lnTo>
                  <a:pt x="54" y="162"/>
                </a:lnTo>
                <a:lnTo>
                  <a:pt x="54" y="162"/>
                </a:lnTo>
                <a:lnTo>
                  <a:pt x="54" y="162"/>
                </a:lnTo>
                <a:lnTo>
                  <a:pt x="54" y="162"/>
                </a:lnTo>
                <a:lnTo>
                  <a:pt x="60" y="162"/>
                </a:lnTo>
                <a:lnTo>
                  <a:pt x="60" y="156"/>
                </a:lnTo>
                <a:lnTo>
                  <a:pt x="60" y="162"/>
                </a:lnTo>
                <a:lnTo>
                  <a:pt x="60" y="156"/>
                </a:lnTo>
                <a:lnTo>
                  <a:pt x="60" y="156"/>
                </a:lnTo>
                <a:lnTo>
                  <a:pt x="60" y="156"/>
                </a:lnTo>
                <a:lnTo>
                  <a:pt x="60" y="150"/>
                </a:lnTo>
                <a:lnTo>
                  <a:pt x="60" y="150"/>
                </a:lnTo>
                <a:lnTo>
                  <a:pt x="60" y="150"/>
                </a:lnTo>
                <a:lnTo>
                  <a:pt x="60" y="150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54" y="138"/>
                </a:lnTo>
                <a:lnTo>
                  <a:pt x="60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48" y="144"/>
                </a:lnTo>
                <a:lnTo>
                  <a:pt x="48" y="138"/>
                </a:lnTo>
                <a:lnTo>
                  <a:pt x="48" y="138"/>
                </a:lnTo>
                <a:lnTo>
                  <a:pt x="48" y="144"/>
                </a:lnTo>
                <a:lnTo>
                  <a:pt x="48" y="144"/>
                </a:lnTo>
                <a:lnTo>
                  <a:pt x="42" y="144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30" y="132"/>
                </a:lnTo>
                <a:lnTo>
                  <a:pt x="24" y="132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30" y="126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2"/>
                </a:lnTo>
                <a:lnTo>
                  <a:pt x="24" y="102"/>
                </a:lnTo>
                <a:lnTo>
                  <a:pt x="24" y="96"/>
                </a:lnTo>
                <a:lnTo>
                  <a:pt x="24" y="84"/>
                </a:lnTo>
                <a:lnTo>
                  <a:pt x="12" y="84"/>
                </a:lnTo>
                <a:lnTo>
                  <a:pt x="12" y="84"/>
                </a:lnTo>
                <a:lnTo>
                  <a:pt x="0" y="78"/>
                </a:lnTo>
                <a:lnTo>
                  <a:pt x="6" y="6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81" name="Freeform 514"/>
          <p:cNvSpPr>
            <a:spLocks/>
          </p:cNvSpPr>
          <p:nvPr/>
        </p:nvSpPr>
        <p:spPr bwMode="auto">
          <a:xfrm>
            <a:off x="5380747" y="3197086"/>
            <a:ext cx="263386" cy="179875"/>
          </a:xfrm>
          <a:custGeom>
            <a:avLst/>
            <a:gdLst>
              <a:gd name="T0" fmla="*/ 6 w 246"/>
              <a:gd name="T1" fmla="*/ 144 h 168"/>
              <a:gd name="T2" fmla="*/ 12 w 246"/>
              <a:gd name="T3" fmla="*/ 132 h 168"/>
              <a:gd name="T4" fmla="*/ 24 w 246"/>
              <a:gd name="T5" fmla="*/ 126 h 168"/>
              <a:gd name="T6" fmla="*/ 36 w 246"/>
              <a:gd name="T7" fmla="*/ 114 h 168"/>
              <a:gd name="T8" fmla="*/ 42 w 246"/>
              <a:gd name="T9" fmla="*/ 102 h 168"/>
              <a:gd name="T10" fmla="*/ 54 w 246"/>
              <a:gd name="T11" fmla="*/ 84 h 168"/>
              <a:gd name="T12" fmla="*/ 54 w 246"/>
              <a:gd name="T13" fmla="*/ 72 h 168"/>
              <a:gd name="T14" fmla="*/ 60 w 246"/>
              <a:gd name="T15" fmla="*/ 54 h 168"/>
              <a:gd name="T16" fmla="*/ 66 w 246"/>
              <a:gd name="T17" fmla="*/ 48 h 168"/>
              <a:gd name="T18" fmla="*/ 78 w 246"/>
              <a:gd name="T19" fmla="*/ 42 h 168"/>
              <a:gd name="T20" fmla="*/ 90 w 246"/>
              <a:gd name="T21" fmla="*/ 30 h 168"/>
              <a:gd name="T22" fmla="*/ 90 w 246"/>
              <a:gd name="T23" fmla="*/ 18 h 168"/>
              <a:gd name="T24" fmla="*/ 90 w 246"/>
              <a:gd name="T25" fmla="*/ 0 h 168"/>
              <a:gd name="T26" fmla="*/ 240 w 246"/>
              <a:gd name="T27" fmla="*/ 0 h 168"/>
              <a:gd name="T28" fmla="*/ 246 w 246"/>
              <a:gd name="T29" fmla="*/ 12 h 168"/>
              <a:gd name="T30" fmla="*/ 240 w 246"/>
              <a:gd name="T31" fmla="*/ 24 h 168"/>
              <a:gd name="T32" fmla="*/ 234 w 246"/>
              <a:gd name="T33" fmla="*/ 42 h 168"/>
              <a:gd name="T34" fmla="*/ 240 w 246"/>
              <a:gd name="T35" fmla="*/ 66 h 168"/>
              <a:gd name="T36" fmla="*/ 240 w 246"/>
              <a:gd name="T37" fmla="*/ 90 h 168"/>
              <a:gd name="T38" fmla="*/ 246 w 246"/>
              <a:gd name="T39" fmla="*/ 90 h 168"/>
              <a:gd name="T40" fmla="*/ 246 w 246"/>
              <a:gd name="T41" fmla="*/ 96 h 168"/>
              <a:gd name="T42" fmla="*/ 246 w 246"/>
              <a:gd name="T43" fmla="*/ 102 h 168"/>
              <a:gd name="T44" fmla="*/ 246 w 246"/>
              <a:gd name="T45" fmla="*/ 102 h 168"/>
              <a:gd name="T46" fmla="*/ 246 w 246"/>
              <a:gd name="T47" fmla="*/ 108 h 168"/>
              <a:gd name="T48" fmla="*/ 246 w 246"/>
              <a:gd name="T49" fmla="*/ 114 h 168"/>
              <a:gd name="T50" fmla="*/ 240 w 246"/>
              <a:gd name="T51" fmla="*/ 126 h 168"/>
              <a:gd name="T52" fmla="*/ 240 w 246"/>
              <a:gd name="T53" fmla="*/ 126 h 168"/>
              <a:gd name="T54" fmla="*/ 240 w 246"/>
              <a:gd name="T55" fmla="*/ 120 h 168"/>
              <a:gd name="T56" fmla="*/ 234 w 246"/>
              <a:gd name="T57" fmla="*/ 120 h 168"/>
              <a:gd name="T58" fmla="*/ 234 w 246"/>
              <a:gd name="T59" fmla="*/ 114 h 168"/>
              <a:gd name="T60" fmla="*/ 228 w 246"/>
              <a:gd name="T61" fmla="*/ 108 h 168"/>
              <a:gd name="T62" fmla="*/ 228 w 246"/>
              <a:gd name="T63" fmla="*/ 102 h 168"/>
              <a:gd name="T64" fmla="*/ 228 w 246"/>
              <a:gd name="T65" fmla="*/ 96 h 168"/>
              <a:gd name="T66" fmla="*/ 228 w 246"/>
              <a:gd name="T67" fmla="*/ 96 h 168"/>
              <a:gd name="T68" fmla="*/ 228 w 246"/>
              <a:gd name="T69" fmla="*/ 90 h 168"/>
              <a:gd name="T70" fmla="*/ 228 w 246"/>
              <a:gd name="T71" fmla="*/ 84 h 168"/>
              <a:gd name="T72" fmla="*/ 228 w 246"/>
              <a:gd name="T73" fmla="*/ 84 h 168"/>
              <a:gd name="T74" fmla="*/ 228 w 246"/>
              <a:gd name="T75" fmla="*/ 78 h 168"/>
              <a:gd name="T76" fmla="*/ 222 w 246"/>
              <a:gd name="T77" fmla="*/ 72 h 168"/>
              <a:gd name="T78" fmla="*/ 222 w 246"/>
              <a:gd name="T79" fmla="*/ 66 h 168"/>
              <a:gd name="T80" fmla="*/ 222 w 246"/>
              <a:gd name="T81" fmla="*/ 60 h 168"/>
              <a:gd name="T82" fmla="*/ 216 w 246"/>
              <a:gd name="T83" fmla="*/ 66 h 168"/>
              <a:gd name="T84" fmla="*/ 222 w 246"/>
              <a:gd name="T85" fmla="*/ 84 h 168"/>
              <a:gd name="T86" fmla="*/ 210 w 246"/>
              <a:gd name="T87" fmla="*/ 90 h 168"/>
              <a:gd name="T88" fmla="*/ 204 w 246"/>
              <a:gd name="T89" fmla="*/ 96 h 168"/>
              <a:gd name="T90" fmla="*/ 204 w 246"/>
              <a:gd name="T91" fmla="*/ 102 h 168"/>
              <a:gd name="T92" fmla="*/ 180 w 246"/>
              <a:gd name="T93" fmla="*/ 114 h 168"/>
              <a:gd name="T94" fmla="*/ 180 w 246"/>
              <a:gd name="T95" fmla="*/ 132 h 168"/>
              <a:gd name="T96" fmla="*/ 174 w 246"/>
              <a:gd name="T97" fmla="*/ 132 h 168"/>
              <a:gd name="T98" fmla="*/ 168 w 246"/>
              <a:gd name="T99" fmla="*/ 132 h 168"/>
              <a:gd name="T100" fmla="*/ 162 w 246"/>
              <a:gd name="T101" fmla="*/ 126 h 168"/>
              <a:gd name="T102" fmla="*/ 162 w 246"/>
              <a:gd name="T103" fmla="*/ 120 h 168"/>
              <a:gd name="T104" fmla="*/ 156 w 246"/>
              <a:gd name="T105" fmla="*/ 114 h 168"/>
              <a:gd name="T106" fmla="*/ 150 w 246"/>
              <a:gd name="T107" fmla="*/ 114 h 168"/>
              <a:gd name="T108" fmla="*/ 138 w 246"/>
              <a:gd name="T109" fmla="*/ 120 h 168"/>
              <a:gd name="T110" fmla="*/ 114 w 246"/>
              <a:gd name="T111" fmla="*/ 132 h 168"/>
              <a:gd name="T112" fmla="*/ 108 w 246"/>
              <a:gd name="T113" fmla="*/ 144 h 168"/>
              <a:gd name="T114" fmla="*/ 96 w 246"/>
              <a:gd name="T115" fmla="*/ 162 h 168"/>
              <a:gd name="T116" fmla="*/ 12 w 246"/>
              <a:gd name="T117" fmla="*/ 156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46" h="168">
                <a:moveTo>
                  <a:pt x="12" y="144"/>
                </a:move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0" y="138"/>
                </a:lnTo>
                <a:lnTo>
                  <a:pt x="0" y="138"/>
                </a:lnTo>
                <a:lnTo>
                  <a:pt x="6" y="138"/>
                </a:lnTo>
                <a:lnTo>
                  <a:pt x="6" y="132"/>
                </a:lnTo>
                <a:lnTo>
                  <a:pt x="6" y="132"/>
                </a:lnTo>
                <a:lnTo>
                  <a:pt x="6" y="132"/>
                </a:lnTo>
                <a:lnTo>
                  <a:pt x="6" y="132"/>
                </a:lnTo>
                <a:lnTo>
                  <a:pt x="12" y="138"/>
                </a:lnTo>
                <a:lnTo>
                  <a:pt x="12" y="132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42" y="102"/>
                </a:lnTo>
                <a:lnTo>
                  <a:pt x="42" y="102"/>
                </a:lnTo>
                <a:lnTo>
                  <a:pt x="42" y="102"/>
                </a:lnTo>
                <a:lnTo>
                  <a:pt x="42" y="96"/>
                </a:lnTo>
                <a:lnTo>
                  <a:pt x="42" y="96"/>
                </a:lnTo>
                <a:lnTo>
                  <a:pt x="48" y="96"/>
                </a:lnTo>
                <a:lnTo>
                  <a:pt x="48" y="96"/>
                </a:lnTo>
                <a:lnTo>
                  <a:pt x="48" y="90"/>
                </a:lnTo>
                <a:lnTo>
                  <a:pt x="48" y="90"/>
                </a:lnTo>
                <a:lnTo>
                  <a:pt x="54" y="90"/>
                </a:lnTo>
                <a:lnTo>
                  <a:pt x="48" y="84"/>
                </a:lnTo>
                <a:lnTo>
                  <a:pt x="54" y="84"/>
                </a:lnTo>
                <a:lnTo>
                  <a:pt x="48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2"/>
                </a:lnTo>
                <a:lnTo>
                  <a:pt x="54" y="72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72" y="48"/>
                </a:lnTo>
                <a:lnTo>
                  <a:pt x="66" y="48"/>
                </a:lnTo>
                <a:lnTo>
                  <a:pt x="72" y="48"/>
                </a:lnTo>
                <a:lnTo>
                  <a:pt x="72" y="48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84" y="36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90" y="30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84" y="12"/>
                </a:lnTo>
                <a:lnTo>
                  <a:pt x="90" y="12"/>
                </a:lnTo>
                <a:lnTo>
                  <a:pt x="90" y="12"/>
                </a:lnTo>
                <a:lnTo>
                  <a:pt x="90" y="6"/>
                </a:lnTo>
                <a:lnTo>
                  <a:pt x="84" y="6"/>
                </a:lnTo>
                <a:lnTo>
                  <a:pt x="90" y="0"/>
                </a:lnTo>
                <a:lnTo>
                  <a:pt x="90" y="0"/>
                </a:lnTo>
                <a:lnTo>
                  <a:pt x="108" y="0"/>
                </a:lnTo>
                <a:lnTo>
                  <a:pt x="138" y="0"/>
                </a:lnTo>
                <a:lnTo>
                  <a:pt x="156" y="0"/>
                </a:lnTo>
                <a:lnTo>
                  <a:pt x="192" y="0"/>
                </a:lnTo>
                <a:lnTo>
                  <a:pt x="216" y="0"/>
                </a:lnTo>
                <a:lnTo>
                  <a:pt x="234" y="0"/>
                </a:lnTo>
                <a:lnTo>
                  <a:pt x="234" y="0"/>
                </a:lnTo>
                <a:lnTo>
                  <a:pt x="240" y="0"/>
                </a:lnTo>
                <a:lnTo>
                  <a:pt x="240" y="0"/>
                </a:lnTo>
                <a:lnTo>
                  <a:pt x="240" y="0"/>
                </a:lnTo>
                <a:lnTo>
                  <a:pt x="240" y="0"/>
                </a:lnTo>
                <a:lnTo>
                  <a:pt x="240" y="6"/>
                </a:lnTo>
                <a:lnTo>
                  <a:pt x="240" y="6"/>
                </a:lnTo>
                <a:lnTo>
                  <a:pt x="240" y="6"/>
                </a:lnTo>
                <a:lnTo>
                  <a:pt x="246" y="12"/>
                </a:lnTo>
                <a:lnTo>
                  <a:pt x="246" y="12"/>
                </a:lnTo>
                <a:lnTo>
                  <a:pt x="246" y="12"/>
                </a:lnTo>
                <a:lnTo>
                  <a:pt x="246" y="12"/>
                </a:lnTo>
                <a:lnTo>
                  <a:pt x="246" y="12"/>
                </a:lnTo>
                <a:lnTo>
                  <a:pt x="246" y="12"/>
                </a:lnTo>
                <a:lnTo>
                  <a:pt x="240" y="18"/>
                </a:lnTo>
                <a:lnTo>
                  <a:pt x="246" y="18"/>
                </a:lnTo>
                <a:lnTo>
                  <a:pt x="240" y="24"/>
                </a:lnTo>
                <a:lnTo>
                  <a:pt x="240" y="24"/>
                </a:lnTo>
                <a:lnTo>
                  <a:pt x="240" y="24"/>
                </a:lnTo>
                <a:lnTo>
                  <a:pt x="240" y="24"/>
                </a:lnTo>
                <a:lnTo>
                  <a:pt x="240" y="24"/>
                </a:lnTo>
                <a:lnTo>
                  <a:pt x="240" y="30"/>
                </a:lnTo>
                <a:lnTo>
                  <a:pt x="240" y="30"/>
                </a:lnTo>
                <a:lnTo>
                  <a:pt x="240" y="30"/>
                </a:lnTo>
                <a:lnTo>
                  <a:pt x="240" y="30"/>
                </a:lnTo>
                <a:lnTo>
                  <a:pt x="240" y="30"/>
                </a:lnTo>
                <a:lnTo>
                  <a:pt x="240" y="36"/>
                </a:lnTo>
                <a:lnTo>
                  <a:pt x="234" y="36"/>
                </a:lnTo>
                <a:lnTo>
                  <a:pt x="234" y="42"/>
                </a:lnTo>
                <a:lnTo>
                  <a:pt x="234" y="42"/>
                </a:lnTo>
                <a:lnTo>
                  <a:pt x="240" y="48"/>
                </a:lnTo>
                <a:lnTo>
                  <a:pt x="240" y="48"/>
                </a:lnTo>
                <a:lnTo>
                  <a:pt x="240" y="48"/>
                </a:lnTo>
                <a:lnTo>
                  <a:pt x="240" y="54"/>
                </a:lnTo>
                <a:lnTo>
                  <a:pt x="240" y="54"/>
                </a:lnTo>
                <a:lnTo>
                  <a:pt x="240" y="60"/>
                </a:lnTo>
                <a:lnTo>
                  <a:pt x="240" y="60"/>
                </a:lnTo>
                <a:lnTo>
                  <a:pt x="240" y="60"/>
                </a:lnTo>
                <a:lnTo>
                  <a:pt x="240" y="66"/>
                </a:lnTo>
                <a:lnTo>
                  <a:pt x="240" y="66"/>
                </a:lnTo>
                <a:lnTo>
                  <a:pt x="240" y="72"/>
                </a:lnTo>
                <a:lnTo>
                  <a:pt x="240" y="72"/>
                </a:lnTo>
                <a:lnTo>
                  <a:pt x="240" y="78"/>
                </a:lnTo>
                <a:lnTo>
                  <a:pt x="240" y="78"/>
                </a:lnTo>
                <a:lnTo>
                  <a:pt x="240" y="78"/>
                </a:lnTo>
                <a:lnTo>
                  <a:pt x="240" y="84"/>
                </a:lnTo>
                <a:lnTo>
                  <a:pt x="240" y="84"/>
                </a:lnTo>
                <a:lnTo>
                  <a:pt x="240" y="90"/>
                </a:lnTo>
                <a:lnTo>
                  <a:pt x="240" y="90"/>
                </a:lnTo>
                <a:lnTo>
                  <a:pt x="240" y="90"/>
                </a:lnTo>
                <a:lnTo>
                  <a:pt x="240" y="90"/>
                </a:lnTo>
                <a:lnTo>
                  <a:pt x="240" y="90"/>
                </a:lnTo>
                <a:lnTo>
                  <a:pt x="240" y="90"/>
                </a:lnTo>
                <a:lnTo>
                  <a:pt x="240" y="90"/>
                </a:lnTo>
                <a:lnTo>
                  <a:pt x="240" y="90"/>
                </a:lnTo>
                <a:lnTo>
                  <a:pt x="246" y="90"/>
                </a:lnTo>
                <a:lnTo>
                  <a:pt x="246" y="90"/>
                </a:lnTo>
                <a:lnTo>
                  <a:pt x="246" y="90"/>
                </a:lnTo>
                <a:lnTo>
                  <a:pt x="246" y="90"/>
                </a:lnTo>
                <a:lnTo>
                  <a:pt x="246" y="96"/>
                </a:lnTo>
                <a:lnTo>
                  <a:pt x="246" y="96"/>
                </a:lnTo>
                <a:lnTo>
                  <a:pt x="246" y="96"/>
                </a:lnTo>
                <a:lnTo>
                  <a:pt x="246" y="96"/>
                </a:lnTo>
                <a:lnTo>
                  <a:pt x="246" y="96"/>
                </a:lnTo>
                <a:lnTo>
                  <a:pt x="246" y="96"/>
                </a:lnTo>
                <a:lnTo>
                  <a:pt x="246" y="96"/>
                </a:lnTo>
                <a:lnTo>
                  <a:pt x="246" y="96"/>
                </a:lnTo>
                <a:lnTo>
                  <a:pt x="246" y="96"/>
                </a:lnTo>
                <a:lnTo>
                  <a:pt x="246" y="96"/>
                </a:lnTo>
                <a:lnTo>
                  <a:pt x="246" y="96"/>
                </a:lnTo>
                <a:lnTo>
                  <a:pt x="246" y="96"/>
                </a:lnTo>
                <a:lnTo>
                  <a:pt x="246" y="96"/>
                </a:lnTo>
                <a:lnTo>
                  <a:pt x="246" y="96"/>
                </a:lnTo>
                <a:lnTo>
                  <a:pt x="246" y="96"/>
                </a:lnTo>
                <a:lnTo>
                  <a:pt x="246" y="102"/>
                </a:lnTo>
                <a:lnTo>
                  <a:pt x="246" y="102"/>
                </a:lnTo>
                <a:lnTo>
                  <a:pt x="246" y="102"/>
                </a:lnTo>
                <a:lnTo>
                  <a:pt x="246" y="102"/>
                </a:lnTo>
                <a:lnTo>
                  <a:pt x="246" y="102"/>
                </a:lnTo>
                <a:lnTo>
                  <a:pt x="246" y="102"/>
                </a:lnTo>
                <a:lnTo>
                  <a:pt x="246" y="102"/>
                </a:lnTo>
                <a:lnTo>
                  <a:pt x="246" y="102"/>
                </a:lnTo>
                <a:lnTo>
                  <a:pt x="246" y="102"/>
                </a:lnTo>
                <a:lnTo>
                  <a:pt x="246" y="102"/>
                </a:lnTo>
                <a:lnTo>
                  <a:pt x="246" y="108"/>
                </a:lnTo>
                <a:lnTo>
                  <a:pt x="246" y="108"/>
                </a:lnTo>
                <a:lnTo>
                  <a:pt x="246" y="108"/>
                </a:lnTo>
                <a:lnTo>
                  <a:pt x="246" y="108"/>
                </a:lnTo>
                <a:lnTo>
                  <a:pt x="246" y="108"/>
                </a:lnTo>
                <a:lnTo>
                  <a:pt x="246" y="108"/>
                </a:lnTo>
                <a:lnTo>
                  <a:pt x="246" y="108"/>
                </a:lnTo>
                <a:lnTo>
                  <a:pt x="246" y="108"/>
                </a:lnTo>
                <a:lnTo>
                  <a:pt x="246" y="108"/>
                </a:lnTo>
                <a:lnTo>
                  <a:pt x="246" y="108"/>
                </a:lnTo>
                <a:lnTo>
                  <a:pt x="246" y="108"/>
                </a:lnTo>
                <a:lnTo>
                  <a:pt x="246" y="108"/>
                </a:lnTo>
                <a:lnTo>
                  <a:pt x="246" y="108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20"/>
                </a:lnTo>
                <a:lnTo>
                  <a:pt x="246" y="120"/>
                </a:lnTo>
                <a:lnTo>
                  <a:pt x="240" y="120"/>
                </a:lnTo>
                <a:lnTo>
                  <a:pt x="240" y="126"/>
                </a:lnTo>
                <a:lnTo>
                  <a:pt x="240" y="126"/>
                </a:lnTo>
                <a:lnTo>
                  <a:pt x="240" y="126"/>
                </a:lnTo>
                <a:lnTo>
                  <a:pt x="240" y="126"/>
                </a:lnTo>
                <a:lnTo>
                  <a:pt x="240" y="126"/>
                </a:lnTo>
                <a:lnTo>
                  <a:pt x="240" y="126"/>
                </a:lnTo>
                <a:lnTo>
                  <a:pt x="240" y="126"/>
                </a:lnTo>
                <a:lnTo>
                  <a:pt x="240" y="126"/>
                </a:lnTo>
                <a:lnTo>
                  <a:pt x="240" y="126"/>
                </a:lnTo>
                <a:lnTo>
                  <a:pt x="240" y="126"/>
                </a:lnTo>
                <a:lnTo>
                  <a:pt x="240" y="126"/>
                </a:lnTo>
                <a:lnTo>
                  <a:pt x="240" y="126"/>
                </a:lnTo>
                <a:lnTo>
                  <a:pt x="240" y="126"/>
                </a:lnTo>
                <a:lnTo>
                  <a:pt x="240" y="126"/>
                </a:lnTo>
                <a:lnTo>
                  <a:pt x="240" y="126"/>
                </a:lnTo>
                <a:lnTo>
                  <a:pt x="240" y="120"/>
                </a:lnTo>
                <a:lnTo>
                  <a:pt x="240" y="120"/>
                </a:lnTo>
                <a:lnTo>
                  <a:pt x="240" y="120"/>
                </a:lnTo>
                <a:lnTo>
                  <a:pt x="240" y="120"/>
                </a:lnTo>
                <a:lnTo>
                  <a:pt x="240" y="120"/>
                </a:lnTo>
                <a:lnTo>
                  <a:pt x="234" y="120"/>
                </a:lnTo>
                <a:lnTo>
                  <a:pt x="234" y="120"/>
                </a:lnTo>
                <a:lnTo>
                  <a:pt x="234" y="120"/>
                </a:lnTo>
                <a:lnTo>
                  <a:pt x="234" y="120"/>
                </a:lnTo>
                <a:lnTo>
                  <a:pt x="234" y="120"/>
                </a:lnTo>
                <a:lnTo>
                  <a:pt x="234" y="120"/>
                </a:lnTo>
                <a:lnTo>
                  <a:pt x="234" y="120"/>
                </a:lnTo>
                <a:lnTo>
                  <a:pt x="234" y="120"/>
                </a:lnTo>
                <a:lnTo>
                  <a:pt x="234" y="120"/>
                </a:lnTo>
                <a:lnTo>
                  <a:pt x="234" y="120"/>
                </a:lnTo>
                <a:lnTo>
                  <a:pt x="234" y="114"/>
                </a:lnTo>
                <a:lnTo>
                  <a:pt x="234" y="114"/>
                </a:lnTo>
                <a:lnTo>
                  <a:pt x="234" y="114"/>
                </a:lnTo>
                <a:lnTo>
                  <a:pt x="234" y="114"/>
                </a:lnTo>
                <a:lnTo>
                  <a:pt x="234" y="114"/>
                </a:lnTo>
                <a:lnTo>
                  <a:pt x="234" y="114"/>
                </a:lnTo>
                <a:lnTo>
                  <a:pt x="234" y="114"/>
                </a:lnTo>
                <a:lnTo>
                  <a:pt x="234" y="114"/>
                </a:lnTo>
                <a:lnTo>
                  <a:pt x="234" y="114"/>
                </a:lnTo>
                <a:lnTo>
                  <a:pt x="234" y="114"/>
                </a:lnTo>
                <a:lnTo>
                  <a:pt x="234" y="114"/>
                </a:lnTo>
                <a:lnTo>
                  <a:pt x="234" y="114"/>
                </a:lnTo>
                <a:lnTo>
                  <a:pt x="234" y="114"/>
                </a:lnTo>
                <a:lnTo>
                  <a:pt x="234" y="114"/>
                </a:lnTo>
                <a:lnTo>
                  <a:pt x="234" y="108"/>
                </a:lnTo>
                <a:lnTo>
                  <a:pt x="228" y="114"/>
                </a:lnTo>
                <a:lnTo>
                  <a:pt x="228" y="108"/>
                </a:lnTo>
                <a:lnTo>
                  <a:pt x="228" y="108"/>
                </a:lnTo>
                <a:lnTo>
                  <a:pt x="228" y="108"/>
                </a:lnTo>
                <a:lnTo>
                  <a:pt x="228" y="108"/>
                </a:lnTo>
                <a:lnTo>
                  <a:pt x="228" y="108"/>
                </a:lnTo>
                <a:lnTo>
                  <a:pt x="228" y="108"/>
                </a:lnTo>
                <a:lnTo>
                  <a:pt x="228" y="108"/>
                </a:lnTo>
                <a:lnTo>
                  <a:pt x="228" y="108"/>
                </a:lnTo>
                <a:lnTo>
                  <a:pt x="228" y="102"/>
                </a:lnTo>
                <a:lnTo>
                  <a:pt x="228" y="102"/>
                </a:lnTo>
                <a:lnTo>
                  <a:pt x="228" y="102"/>
                </a:lnTo>
                <a:lnTo>
                  <a:pt x="228" y="102"/>
                </a:lnTo>
                <a:lnTo>
                  <a:pt x="228" y="102"/>
                </a:lnTo>
                <a:lnTo>
                  <a:pt x="228" y="102"/>
                </a:lnTo>
                <a:lnTo>
                  <a:pt x="228" y="102"/>
                </a:lnTo>
                <a:lnTo>
                  <a:pt x="228" y="102"/>
                </a:lnTo>
                <a:lnTo>
                  <a:pt x="228" y="102"/>
                </a:lnTo>
                <a:lnTo>
                  <a:pt x="228" y="96"/>
                </a:lnTo>
                <a:lnTo>
                  <a:pt x="228" y="96"/>
                </a:lnTo>
                <a:lnTo>
                  <a:pt x="228" y="96"/>
                </a:lnTo>
                <a:lnTo>
                  <a:pt x="228" y="96"/>
                </a:lnTo>
                <a:lnTo>
                  <a:pt x="228" y="96"/>
                </a:lnTo>
                <a:lnTo>
                  <a:pt x="228" y="96"/>
                </a:lnTo>
                <a:lnTo>
                  <a:pt x="228" y="96"/>
                </a:lnTo>
                <a:lnTo>
                  <a:pt x="228" y="96"/>
                </a:lnTo>
                <a:lnTo>
                  <a:pt x="228" y="96"/>
                </a:lnTo>
                <a:lnTo>
                  <a:pt x="228" y="96"/>
                </a:lnTo>
                <a:lnTo>
                  <a:pt x="228" y="96"/>
                </a:lnTo>
                <a:lnTo>
                  <a:pt x="228" y="96"/>
                </a:lnTo>
                <a:lnTo>
                  <a:pt x="228" y="96"/>
                </a:lnTo>
                <a:lnTo>
                  <a:pt x="228" y="96"/>
                </a:lnTo>
                <a:lnTo>
                  <a:pt x="228" y="96"/>
                </a:lnTo>
                <a:lnTo>
                  <a:pt x="228" y="90"/>
                </a:lnTo>
                <a:lnTo>
                  <a:pt x="228" y="90"/>
                </a:lnTo>
                <a:lnTo>
                  <a:pt x="228" y="90"/>
                </a:lnTo>
                <a:lnTo>
                  <a:pt x="228" y="90"/>
                </a:lnTo>
                <a:lnTo>
                  <a:pt x="228" y="90"/>
                </a:lnTo>
                <a:lnTo>
                  <a:pt x="228" y="90"/>
                </a:lnTo>
                <a:lnTo>
                  <a:pt x="228" y="90"/>
                </a:lnTo>
                <a:lnTo>
                  <a:pt x="228" y="90"/>
                </a:lnTo>
                <a:lnTo>
                  <a:pt x="228" y="90"/>
                </a:lnTo>
                <a:lnTo>
                  <a:pt x="228" y="90"/>
                </a:lnTo>
                <a:lnTo>
                  <a:pt x="228" y="84"/>
                </a:lnTo>
                <a:lnTo>
                  <a:pt x="228" y="84"/>
                </a:lnTo>
                <a:lnTo>
                  <a:pt x="228" y="84"/>
                </a:lnTo>
                <a:lnTo>
                  <a:pt x="228" y="84"/>
                </a:lnTo>
                <a:lnTo>
                  <a:pt x="228" y="84"/>
                </a:lnTo>
                <a:lnTo>
                  <a:pt x="228" y="84"/>
                </a:lnTo>
                <a:lnTo>
                  <a:pt x="228" y="84"/>
                </a:lnTo>
                <a:lnTo>
                  <a:pt x="228" y="84"/>
                </a:lnTo>
                <a:lnTo>
                  <a:pt x="228" y="84"/>
                </a:lnTo>
                <a:lnTo>
                  <a:pt x="228" y="84"/>
                </a:lnTo>
                <a:lnTo>
                  <a:pt x="228" y="84"/>
                </a:lnTo>
                <a:lnTo>
                  <a:pt x="228" y="84"/>
                </a:lnTo>
                <a:lnTo>
                  <a:pt x="228" y="84"/>
                </a:lnTo>
                <a:lnTo>
                  <a:pt x="228" y="84"/>
                </a:lnTo>
                <a:lnTo>
                  <a:pt x="228" y="78"/>
                </a:lnTo>
                <a:lnTo>
                  <a:pt x="228" y="78"/>
                </a:lnTo>
                <a:lnTo>
                  <a:pt x="228" y="78"/>
                </a:lnTo>
                <a:lnTo>
                  <a:pt x="228" y="78"/>
                </a:lnTo>
                <a:lnTo>
                  <a:pt x="228" y="78"/>
                </a:lnTo>
                <a:lnTo>
                  <a:pt x="228" y="78"/>
                </a:lnTo>
                <a:lnTo>
                  <a:pt x="228" y="78"/>
                </a:lnTo>
                <a:lnTo>
                  <a:pt x="228" y="78"/>
                </a:lnTo>
                <a:lnTo>
                  <a:pt x="228" y="78"/>
                </a:lnTo>
                <a:lnTo>
                  <a:pt x="228" y="72"/>
                </a:lnTo>
                <a:lnTo>
                  <a:pt x="222" y="72"/>
                </a:lnTo>
                <a:lnTo>
                  <a:pt x="222" y="72"/>
                </a:lnTo>
                <a:lnTo>
                  <a:pt x="222" y="72"/>
                </a:lnTo>
                <a:lnTo>
                  <a:pt x="222" y="72"/>
                </a:lnTo>
                <a:lnTo>
                  <a:pt x="222" y="72"/>
                </a:lnTo>
                <a:lnTo>
                  <a:pt x="222" y="72"/>
                </a:lnTo>
                <a:lnTo>
                  <a:pt x="222" y="72"/>
                </a:lnTo>
                <a:lnTo>
                  <a:pt x="222" y="72"/>
                </a:lnTo>
                <a:lnTo>
                  <a:pt x="222" y="72"/>
                </a:lnTo>
                <a:lnTo>
                  <a:pt x="222" y="72"/>
                </a:lnTo>
                <a:lnTo>
                  <a:pt x="222" y="72"/>
                </a:lnTo>
                <a:lnTo>
                  <a:pt x="222" y="72"/>
                </a:lnTo>
                <a:lnTo>
                  <a:pt x="222" y="72"/>
                </a:lnTo>
                <a:lnTo>
                  <a:pt x="222" y="72"/>
                </a:lnTo>
                <a:lnTo>
                  <a:pt x="222" y="72"/>
                </a:lnTo>
                <a:lnTo>
                  <a:pt x="222" y="66"/>
                </a:lnTo>
                <a:lnTo>
                  <a:pt x="222" y="66"/>
                </a:lnTo>
                <a:lnTo>
                  <a:pt x="222" y="66"/>
                </a:lnTo>
                <a:lnTo>
                  <a:pt x="222" y="66"/>
                </a:lnTo>
                <a:lnTo>
                  <a:pt x="222" y="66"/>
                </a:lnTo>
                <a:lnTo>
                  <a:pt x="222" y="66"/>
                </a:lnTo>
                <a:lnTo>
                  <a:pt x="222" y="66"/>
                </a:lnTo>
                <a:lnTo>
                  <a:pt x="222" y="60"/>
                </a:lnTo>
                <a:lnTo>
                  <a:pt x="222" y="60"/>
                </a:lnTo>
                <a:lnTo>
                  <a:pt x="222" y="60"/>
                </a:lnTo>
                <a:lnTo>
                  <a:pt x="216" y="60"/>
                </a:lnTo>
                <a:lnTo>
                  <a:pt x="216" y="60"/>
                </a:lnTo>
                <a:lnTo>
                  <a:pt x="216" y="60"/>
                </a:lnTo>
                <a:lnTo>
                  <a:pt x="216" y="60"/>
                </a:lnTo>
                <a:lnTo>
                  <a:pt x="216" y="60"/>
                </a:lnTo>
                <a:lnTo>
                  <a:pt x="216" y="60"/>
                </a:lnTo>
                <a:lnTo>
                  <a:pt x="216" y="60"/>
                </a:lnTo>
                <a:lnTo>
                  <a:pt x="210" y="66"/>
                </a:lnTo>
                <a:lnTo>
                  <a:pt x="216" y="66"/>
                </a:lnTo>
                <a:lnTo>
                  <a:pt x="216" y="72"/>
                </a:lnTo>
                <a:lnTo>
                  <a:pt x="210" y="72"/>
                </a:lnTo>
                <a:lnTo>
                  <a:pt x="210" y="66"/>
                </a:lnTo>
                <a:lnTo>
                  <a:pt x="210" y="66"/>
                </a:lnTo>
                <a:lnTo>
                  <a:pt x="210" y="66"/>
                </a:lnTo>
                <a:lnTo>
                  <a:pt x="204" y="66"/>
                </a:lnTo>
                <a:lnTo>
                  <a:pt x="204" y="72"/>
                </a:lnTo>
                <a:lnTo>
                  <a:pt x="222" y="84"/>
                </a:lnTo>
                <a:lnTo>
                  <a:pt x="222" y="84"/>
                </a:lnTo>
                <a:lnTo>
                  <a:pt x="216" y="90"/>
                </a:lnTo>
                <a:lnTo>
                  <a:pt x="216" y="90"/>
                </a:lnTo>
                <a:lnTo>
                  <a:pt x="216" y="90"/>
                </a:lnTo>
                <a:lnTo>
                  <a:pt x="216" y="90"/>
                </a:lnTo>
                <a:lnTo>
                  <a:pt x="216" y="96"/>
                </a:lnTo>
                <a:lnTo>
                  <a:pt x="216" y="96"/>
                </a:lnTo>
                <a:lnTo>
                  <a:pt x="216" y="96"/>
                </a:lnTo>
                <a:lnTo>
                  <a:pt x="216" y="90"/>
                </a:lnTo>
                <a:lnTo>
                  <a:pt x="210" y="90"/>
                </a:lnTo>
                <a:lnTo>
                  <a:pt x="210" y="90"/>
                </a:lnTo>
                <a:lnTo>
                  <a:pt x="210" y="90"/>
                </a:lnTo>
                <a:lnTo>
                  <a:pt x="210" y="90"/>
                </a:lnTo>
                <a:lnTo>
                  <a:pt x="204" y="90"/>
                </a:lnTo>
                <a:lnTo>
                  <a:pt x="204" y="90"/>
                </a:lnTo>
                <a:lnTo>
                  <a:pt x="204" y="96"/>
                </a:lnTo>
                <a:lnTo>
                  <a:pt x="204" y="96"/>
                </a:lnTo>
                <a:lnTo>
                  <a:pt x="204" y="96"/>
                </a:lnTo>
                <a:lnTo>
                  <a:pt x="204" y="96"/>
                </a:lnTo>
                <a:lnTo>
                  <a:pt x="210" y="96"/>
                </a:lnTo>
                <a:lnTo>
                  <a:pt x="210" y="102"/>
                </a:lnTo>
                <a:lnTo>
                  <a:pt x="210" y="102"/>
                </a:lnTo>
                <a:lnTo>
                  <a:pt x="210" y="102"/>
                </a:lnTo>
                <a:lnTo>
                  <a:pt x="210" y="102"/>
                </a:lnTo>
                <a:lnTo>
                  <a:pt x="210" y="102"/>
                </a:lnTo>
                <a:lnTo>
                  <a:pt x="204" y="102"/>
                </a:lnTo>
                <a:lnTo>
                  <a:pt x="204" y="102"/>
                </a:lnTo>
                <a:lnTo>
                  <a:pt x="204" y="102"/>
                </a:lnTo>
                <a:lnTo>
                  <a:pt x="198" y="102"/>
                </a:lnTo>
                <a:lnTo>
                  <a:pt x="192" y="102"/>
                </a:lnTo>
                <a:lnTo>
                  <a:pt x="192" y="108"/>
                </a:lnTo>
                <a:lnTo>
                  <a:pt x="192" y="102"/>
                </a:lnTo>
                <a:lnTo>
                  <a:pt x="192" y="102"/>
                </a:lnTo>
                <a:lnTo>
                  <a:pt x="186" y="108"/>
                </a:lnTo>
                <a:lnTo>
                  <a:pt x="186" y="108"/>
                </a:lnTo>
                <a:lnTo>
                  <a:pt x="186" y="108"/>
                </a:lnTo>
                <a:lnTo>
                  <a:pt x="180" y="114"/>
                </a:lnTo>
                <a:lnTo>
                  <a:pt x="180" y="114"/>
                </a:lnTo>
                <a:lnTo>
                  <a:pt x="180" y="120"/>
                </a:lnTo>
                <a:lnTo>
                  <a:pt x="180" y="120"/>
                </a:lnTo>
                <a:lnTo>
                  <a:pt x="180" y="126"/>
                </a:lnTo>
                <a:lnTo>
                  <a:pt x="180" y="126"/>
                </a:lnTo>
                <a:lnTo>
                  <a:pt x="180" y="126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74" y="132"/>
                </a:lnTo>
                <a:lnTo>
                  <a:pt x="174" y="132"/>
                </a:lnTo>
                <a:lnTo>
                  <a:pt x="174" y="132"/>
                </a:lnTo>
                <a:lnTo>
                  <a:pt x="174" y="132"/>
                </a:lnTo>
                <a:lnTo>
                  <a:pt x="174" y="132"/>
                </a:lnTo>
                <a:lnTo>
                  <a:pt x="174" y="132"/>
                </a:lnTo>
                <a:lnTo>
                  <a:pt x="174" y="132"/>
                </a:lnTo>
                <a:lnTo>
                  <a:pt x="174" y="132"/>
                </a:lnTo>
                <a:lnTo>
                  <a:pt x="174" y="132"/>
                </a:lnTo>
                <a:lnTo>
                  <a:pt x="174" y="132"/>
                </a:lnTo>
                <a:lnTo>
                  <a:pt x="174" y="132"/>
                </a:lnTo>
                <a:lnTo>
                  <a:pt x="174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26"/>
                </a:lnTo>
                <a:lnTo>
                  <a:pt x="168" y="126"/>
                </a:lnTo>
                <a:lnTo>
                  <a:pt x="168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62" y="114"/>
                </a:lnTo>
                <a:lnTo>
                  <a:pt x="162" y="114"/>
                </a:lnTo>
                <a:lnTo>
                  <a:pt x="156" y="114"/>
                </a:lnTo>
                <a:lnTo>
                  <a:pt x="156" y="114"/>
                </a:lnTo>
                <a:lnTo>
                  <a:pt x="156" y="114"/>
                </a:lnTo>
                <a:lnTo>
                  <a:pt x="156" y="114"/>
                </a:lnTo>
                <a:lnTo>
                  <a:pt x="156" y="114"/>
                </a:lnTo>
                <a:lnTo>
                  <a:pt x="156" y="114"/>
                </a:lnTo>
                <a:lnTo>
                  <a:pt x="156" y="114"/>
                </a:lnTo>
                <a:lnTo>
                  <a:pt x="156" y="114"/>
                </a:lnTo>
                <a:lnTo>
                  <a:pt x="156" y="114"/>
                </a:lnTo>
                <a:lnTo>
                  <a:pt x="156" y="114"/>
                </a:lnTo>
                <a:lnTo>
                  <a:pt x="156" y="114"/>
                </a:lnTo>
                <a:lnTo>
                  <a:pt x="150" y="114"/>
                </a:lnTo>
                <a:lnTo>
                  <a:pt x="150" y="114"/>
                </a:lnTo>
                <a:lnTo>
                  <a:pt x="150" y="114"/>
                </a:lnTo>
                <a:lnTo>
                  <a:pt x="150" y="114"/>
                </a:lnTo>
                <a:lnTo>
                  <a:pt x="150" y="114"/>
                </a:lnTo>
                <a:lnTo>
                  <a:pt x="150" y="114"/>
                </a:lnTo>
                <a:lnTo>
                  <a:pt x="150" y="114"/>
                </a:lnTo>
                <a:lnTo>
                  <a:pt x="150" y="114"/>
                </a:lnTo>
                <a:lnTo>
                  <a:pt x="144" y="114"/>
                </a:lnTo>
                <a:lnTo>
                  <a:pt x="144" y="114"/>
                </a:lnTo>
                <a:lnTo>
                  <a:pt x="138" y="120"/>
                </a:lnTo>
                <a:lnTo>
                  <a:pt x="138" y="120"/>
                </a:lnTo>
                <a:lnTo>
                  <a:pt x="132" y="120"/>
                </a:lnTo>
                <a:lnTo>
                  <a:pt x="132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0" y="126"/>
                </a:lnTo>
                <a:lnTo>
                  <a:pt x="114" y="126"/>
                </a:lnTo>
                <a:lnTo>
                  <a:pt x="114" y="126"/>
                </a:lnTo>
                <a:lnTo>
                  <a:pt x="114" y="132"/>
                </a:lnTo>
                <a:lnTo>
                  <a:pt x="114" y="132"/>
                </a:lnTo>
                <a:lnTo>
                  <a:pt x="108" y="132"/>
                </a:lnTo>
                <a:lnTo>
                  <a:pt x="114" y="138"/>
                </a:lnTo>
                <a:lnTo>
                  <a:pt x="114" y="138"/>
                </a:lnTo>
                <a:lnTo>
                  <a:pt x="108" y="138"/>
                </a:lnTo>
                <a:lnTo>
                  <a:pt x="108" y="144"/>
                </a:lnTo>
                <a:lnTo>
                  <a:pt x="108" y="144"/>
                </a:lnTo>
                <a:lnTo>
                  <a:pt x="108" y="144"/>
                </a:lnTo>
                <a:lnTo>
                  <a:pt x="108" y="144"/>
                </a:lnTo>
                <a:lnTo>
                  <a:pt x="108" y="150"/>
                </a:lnTo>
                <a:lnTo>
                  <a:pt x="102" y="150"/>
                </a:lnTo>
                <a:lnTo>
                  <a:pt x="102" y="150"/>
                </a:lnTo>
                <a:lnTo>
                  <a:pt x="102" y="150"/>
                </a:lnTo>
                <a:lnTo>
                  <a:pt x="102" y="156"/>
                </a:lnTo>
                <a:lnTo>
                  <a:pt x="102" y="156"/>
                </a:lnTo>
                <a:lnTo>
                  <a:pt x="102" y="156"/>
                </a:lnTo>
                <a:lnTo>
                  <a:pt x="96" y="156"/>
                </a:lnTo>
                <a:lnTo>
                  <a:pt x="96" y="162"/>
                </a:lnTo>
                <a:lnTo>
                  <a:pt x="96" y="162"/>
                </a:lnTo>
                <a:lnTo>
                  <a:pt x="96" y="162"/>
                </a:lnTo>
                <a:lnTo>
                  <a:pt x="96" y="162"/>
                </a:lnTo>
                <a:lnTo>
                  <a:pt x="96" y="168"/>
                </a:lnTo>
                <a:lnTo>
                  <a:pt x="102" y="168"/>
                </a:lnTo>
                <a:lnTo>
                  <a:pt x="12" y="162"/>
                </a:lnTo>
                <a:lnTo>
                  <a:pt x="12" y="162"/>
                </a:lnTo>
                <a:lnTo>
                  <a:pt x="12" y="162"/>
                </a:lnTo>
                <a:lnTo>
                  <a:pt x="12" y="156"/>
                </a:lnTo>
                <a:lnTo>
                  <a:pt x="12" y="156"/>
                </a:lnTo>
                <a:lnTo>
                  <a:pt x="12" y="156"/>
                </a:lnTo>
                <a:lnTo>
                  <a:pt x="12" y="156"/>
                </a:lnTo>
                <a:lnTo>
                  <a:pt x="6" y="150"/>
                </a:lnTo>
                <a:lnTo>
                  <a:pt x="12" y="14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82" name="Freeform 515"/>
          <p:cNvSpPr>
            <a:spLocks/>
          </p:cNvSpPr>
          <p:nvPr/>
        </p:nvSpPr>
        <p:spPr bwMode="auto">
          <a:xfrm>
            <a:off x="5091664" y="2329833"/>
            <a:ext cx="603861" cy="623137"/>
          </a:xfrm>
          <a:custGeom>
            <a:avLst/>
            <a:gdLst>
              <a:gd name="T0" fmla="*/ 12 w 564"/>
              <a:gd name="T1" fmla="*/ 48 h 582"/>
              <a:gd name="T2" fmla="*/ 12 w 564"/>
              <a:gd name="T3" fmla="*/ 6 h 582"/>
              <a:gd name="T4" fmla="*/ 408 w 564"/>
              <a:gd name="T5" fmla="*/ 0 h 582"/>
              <a:gd name="T6" fmla="*/ 396 w 564"/>
              <a:gd name="T7" fmla="*/ 24 h 582"/>
              <a:gd name="T8" fmla="*/ 390 w 564"/>
              <a:gd name="T9" fmla="*/ 54 h 582"/>
              <a:gd name="T10" fmla="*/ 432 w 564"/>
              <a:gd name="T11" fmla="*/ 84 h 582"/>
              <a:gd name="T12" fmla="*/ 444 w 564"/>
              <a:gd name="T13" fmla="*/ 132 h 582"/>
              <a:gd name="T14" fmla="*/ 432 w 564"/>
              <a:gd name="T15" fmla="*/ 174 h 582"/>
              <a:gd name="T16" fmla="*/ 420 w 564"/>
              <a:gd name="T17" fmla="*/ 222 h 582"/>
              <a:gd name="T18" fmla="*/ 426 w 564"/>
              <a:gd name="T19" fmla="*/ 276 h 582"/>
              <a:gd name="T20" fmla="*/ 438 w 564"/>
              <a:gd name="T21" fmla="*/ 312 h 582"/>
              <a:gd name="T22" fmla="*/ 456 w 564"/>
              <a:gd name="T23" fmla="*/ 336 h 582"/>
              <a:gd name="T24" fmla="*/ 462 w 564"/>
              <a:gd name="T25" fmla="*/ 360 h 582"/>
              <a:gd name="T26" fmla="*/ 474 w 564"/>
              <a:gd name="T27" fmla="*/ 390 h 582"/>
              <a:gd name="T28" fmla="*/ 486 w 564"/>
              <a:gd name="T29" fmla="*/ 414 h 582"/>
              <a:gd name="T30" fmla="*/ 498 w 564"/>
              <a:gd name="T31" fmla="*/ 432 h 582"/>
              <a:gd name="T32" fmla="*/ 516 w 564"/>
              <a:gd name="T33" fmla="*/ 450 h 582"/>
              <a:gd name="T34" fmla="*/ 528 w 564"/>
              <a:gd name="T35" fmla="*/ 468 h 582"/>
              <a:gd name="T36" fmla="*/ 546 w 564"/>
              <a:gd name="T37" fmla="*/ 486 h 582"/>
              <a:gd name="T38" fmla="*/ 546 w 564"/>
              <a:gd name="T39" fmla="*/ 510 h 582"/>
              <a:gd name="T40" fmla="*/ 564 w 564"/>
              <a:gd name="T41" fmla="*/ 540 h 582"/>
              <a:gd name="T42" fmla="*/ 552 w 564"/>
              <a:gd name="T43" fmla="*/ 558 h 582"/>
              <a:gd name="T44" fmla="*/ 534 w 564"/>
              <a:gd name="T45" fmla="*/ 564 h 582"/>
              <a:gd name="T46" fmla="*/ 462 w 564"/>
              <a:gd name="T47" fmla="*/ 576 h 582"/>
              <a:gd name="T48" fmla="*/ 450 w 564"/>
              <a:gd name="T49" fmla="*/ 564 h 582"/>
              <a:gd name="T50" fmla="*/ 426 w 564"/>
              <a:gd name="T51" fmla="*/ 534 h 582"/>
              <a:gd name="T52" fmla="*/ 420 w 564"/>
              <a:gd name="T53" fmla="*/ 504 h 582"/>
              <a:gd name="T54" fmla="*/ 414 w 564"/>
              <a:gd name="T55" fmla="*/ 474 h 582"/>
              <a:gd name="T56" fmla="*/ 402 w 564"/>
              <a:gd name="T57" fmla="*/ 450 h 582"/>
              <a:gd name="T58" fmla="*/ 414 w 564"/>
              <a:gd name="T59" fmla="*/ 408 h 582"/>
              <a:gd name="T60" fmla="*/ 396 w 564"/>
              <a:gd name="T61" fmla="*/ 420 h 582"/>
              <a:gd name="T62" fmla="*/ 378 w 564"/>
              <a:gd name="T63" fmla="*/ 432 h 582"/>
              <a:gd name="T64" fmla="*/ 348 w 564"/>
              <a:gd name="T65" fmla="*/ 444 h 582"/>
              <a:gd name="T66" fmla="*/ 324 w 564"/>
              <a:gd name="T67" fmla="*/ 462 h 582"/>
              <a:gd name="T68" fmla="*/ 300 w 564"/>
              <a:gd name="T69" fmla="*/ 456 h 582"/>
              <a:gd name="T70" fmla="*/ 264 w 564"/>
              <a:gd name="T71" fmla="*/ 456 h 582"/>
              <a:gd name="T72" fmla="*/ 222 w 564"/>
              <a:gd name="T73" fmla="*/ 450 h 582"/>
              <a:gd name="T74" fmla="*/ 216 w 564"/>
              <a:gd name="T75" fmla="*/ 420 h 582"/>
              <a:gd name="T76" fmla="*/ 216 w 564"/>
              <a:gd name="T77" fmla="*/ 408 h 582"/>
              <a:gd name="T78" fmla="*/ 198 w 564"/>
              <a:gd name="T79" fmla="*/ 396 h 582"/>
              <a:gd name="T80" fmla="*/ 198 w 564"/>
              <a:gd name="T81" fmla="*/ 390 h 582"/>
              <a:gd name="T82" fmla="*/ 198 w 564"/>
              <a:gd name="T83" fmla="*/ 384 h 582"/>
              <a:gd name="T84" fmla="*/ 198 w 564"/>
              <a:gd name="T85" fmla="*/ 366 h 582"/>
              <a:gd name="T86" fmla="*/ 204 w 564"/>
              <a:gd name="T87" fmla="*/ 354 h 582"/>
              <a:gd name="T88" fmla="*/ 222 w 564"/>
              <a:gd name="T89" fmla="*/ 336 h 582"/>
              <a:gd name="T90" fmla="*/ 216 w 564"/>
              <a:gd name="T91" fmla="*/ 312 h 582"/>
              <a:gd name="T92" fmla="*/ 210 w 564"/>
              <a:gd name="T93" fmla="*/ 300 h 582"/>
              <a:gd name="T94" fmla="*/ 192 w 564"/>
              <a:gd name="T95" fmla="*/ 300 h 582"/>
              <a:gd name="T96" fmla="*/ 174 w 564"/>
              <a:gd name="T97" fmla="*/ 294 h 582"/>
              <a:gd name="T98" fmla="*/ 156 w 564"/>
              <a:gd name="T99" fmla="*/ 294 h 582"/>
              <a:gd name="T100" fmla="*/ 12 w 564"/>
              <a:gd name="T101" fmla="*/ 282 h 582"/>
              <a:gd name="T102" fmla="*/ 12 w 564"/>
              <a:gd name="T103" fmla="*/ 258 h 582"/>
              <a:gd name="T104" fmla="*/ 18 w 564"/>
              <a:gd name="T105" fmla="*/ 246 h 582"/>
              <a:gd name="T106" fmla="*/ 18 w 564"/>
              <a:gd name="T107" fmla="*/ 216 h 582"/>
              <a:gd name="T108" fmla="*/ 12 w 564"/>
              <a:gd name="T109" fmla="*/ 198 h 582"/>
              <a:gd name="T110" fmla="*/ 0 w 564"/>
              <a:gd name="T111" fmla="*/ 174 h 582"/>
              <a:gd name="T112" fmla="*/ 12 w 564"/>
              <a:gd name="T113" fmla="*/ 150 h 582"/>
              <a:gd name="T114" fmla="*/ 6 w 564"/>
              <a:gd name="T115" fmla="*/ 120 h 582"/>
              <a:gd name="T116" fmla="*/ 18 w 564"/>
              <a:gd name="T117" fmla="*/ 102 h 582"/>
              <a:gd name="T118" fmla="*/ 6 w 564"/>
              <a:gd name="T119" fmla="*/ 78 h 582"/>
              <a:gd name="T120" fmla="*/ 0 w 564"/>
              <a:gd name="T121" fmla="*/ 60 h 5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64" h="582">
                <a:moveTo>
                  <a:pt x="0" y="60"/>
                </a:move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54"/>
                </a:lnTo>
                <a:lnTo>
                  <a:pt x="12" y="54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2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12" y="36"/>
                </a:lnTo>
                <a:lnTo>
                  <a:pt x="12" y="36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24"/>
                </a:lnTo>
                <a:lnTo>
                  <a:pt x="18" y="18"/>
                </a:lnTo>
                <a:lnTo>
                  <a:pt x="18" y="18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2" y="6"/>
                </a:lnTo>
                <a:lnTo>
                  <a:pt x="12" y="6"/>
                </a:lnTo>
                <a:lnTo>
                  <a:pt x="12" y="6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102" y="0"/>
                </a:lnTo>
                <a:lnTo>
                  <a:pt x="102" y="0"/>
                </a:lnTo>
                <a:lnTo>
                  <a:pt x="114" y="0"/>
                </a:lnTo>
                <a:lnTo>
                  <a:pt x="156" y="0"/>
                </a:lnTo>
                <a:lnTo>
                  <a:pt x="156" y="0"/>
                </a:lnTo>
                <a:lnTo>
                  <a:pt x="228" y="0"/>
                </a:lnTo>
                <a:lnTo>
                  <a:pt x="324" y="0"/>
                </a:lnTo>
                <a:lnTo>
                  <a:pt x="330" y="0"/>
                </a:lnTo>
                <a:lnTo>
                  <a:pt x="408" y="0"/>
                </a:lnTo>
                <a:lnTo>
                  <a:pt x="414" y="0"/>
                </a:lnTo>
                <a:lnTo>
                  <a:pt x="414" y="6"/>
                </a:lnTo>
                <a:lnTo>
                  <a:pt x="408" y="6"/>
                </a:lnTo>
                <a:lnTo>
                  <a:pt x="408" y="6"/>
                </a:lnTo>
                <a:lnTo>
                  <a:pt x="408" y="12"/>
                </a:lnTo>
                <a:lnTo>
                  <a:pt x="408" y="12"/>
                </a:lnTo>
                <a:lnTo>
                  <a:pt x="402" y="12"/>
                </a:lnTo>
                <a:lnTo>
                  <a:pt x="402" y="12"/>
                </a:lnTo>
                <a:lnTo>
                  <a:pt x="402" y="12"/>
                </a:lnTo>
                <a:lnTo>
                  <a:pt x="396" y="12"/>
                </a:lnTo>
                <a:lnTo>
                  <a:pt x="396" y="12"/>
                </a:lnTo>
                <a:lnTo>
                  <a:pt x="402" y="12"/>
                </a:lnTo>
                <a:lnTo>
                  <a:pt x="396" y="18"/>
                </a:lnTo>
                <a:lnTo>
                  <a:pt x="402" y="18"/>
                </a:lnTo>
                <a:lnTo>
                  <a:pt x="402" y="18"/>
                </a:lnTo>
                <a:lnTo>
                  <a:pt x="396" y="18"/>
                </a:lnTo>
                <a:lnTo>
                  <a:pt x="396" y="18"/>
                </a:lnTo>
                <a:lnTo>
                  <a:pt x="396" y="24"/>
                </a:lnTo>
                <a:lnTo>
                  <a:pt x="396" y="24"/>
                </a:lnTo>
                <a:lnTo>
                  <a:pt x="390" y="24"/>
                </a:lnTo>
                <a:lnTo>
                  <a:pt x="396" y="30"/>
                </a:lnTo>
                <a:lnTo>
                  <a:pt x="396" y="30"/>
                </a:lnTo>
                <a:lnTo>
                  <a:pt x="396" y="30"/>
                </a:lnTo>
                <a:lnTo>
                  <a:pt x="396" y="36"/>
                </a:lnTo>
                <a:lnTo>
                  <a:pt x="396" y="36"/>
                </a:lnTo>
                <a:lnTo>
                  <a:pt x="396" y="36"/>
                </a:lnTo>
                <a:lnTo>
                  <a:pt x="390" y="36"/>
                </a:lnTo>
                <a:lnTo>
                  <a:pt x="390" y="42"/>
                </a:lnTo>
                <a:lnTo>
                  <a:pt x="384" y="42"/>
                </a:lnTo>
                <a:lnTo>
                  <a:pt x="384" y="42"/>
                </a:lnTo>
                <a:lnTo>
                  <a:pt x="384" y="48"/>
                </a:lnTo>
                <a:lnTo>
                  <a:pt x="384" y="48"/>
                </a:lnTo>
                <a:lnTo>
                  <a:pt x="384" y="48"/>
                </a:lnTo>
                <a:lnTo>
                  <a:pt x="384" y="54"/>
                </a:lnTo>
                <a:lnTo>
                  <a:pt x="390" y="54"/>
                </a:lnTo>
                <a:lnTo>
                  <a:pt x="390" y="54"/>
                </a:lnTo>
                <a:lnTo>
                  <a:pt x="390" y="60"/>
                </a:lnTo>
                <a:lnTo>
                  <a:pt x="390" y="60"/>
                </a:lnTo>
                <a:lnTo>
                  <a:pt x="390" y="66"/>
                </a:lnTo>
                <a:lnTo>
                  <a:pt x="390" y="66"/>
                </a:lnTo>
                <a:lnTo>
                  <a:pt x="396" y="66"/>
                </a:lnTo>
                <a:lnTo>
                  <a:pt x="396" y="72"/>
                </a:lnTo>
                <a:lnTo>
                  <a:pt x="396" y="72"/>
                </a:lnTo>
                <a:lnTo>
                  <a:pt x="402" y="72"/>
                </a:lnTo>
                <a:lnTo>
                  <a:pt x="402" y="78"/>
                </a:lnTo>
                <a:lnTo>
                  <a:pt x="408" y="78"/>
                </a:lnTo>
                <a:lnTo>
                  <a:pt x="408" y="78"/>
                </a:lnTo>
                <a:lnTo>
                  <a:pt x="414" y="84"/>
                </a:lnTo>
                <a:lnTo>
                  <a:pt x="414" y="84"/>
                </a:lnTo>
                <a:lnTo>
                  <a:pt x="420" y="84"/>
                </a:lnTo>
                <a:lnTo>
                  <a:pt x="420" y="84"/>
                </a:lnTo>
                <a:lnTo>
                  <a:pt x="432" y="84"/>
                </a:lnTo>
                <a:lnTo>
                  <a:pt x="432" y="84"/>
                </a:lnTo>
                <a:lnTo>
                  <a:pt x="432" y="84"/>
                </a:lnTo>
                <a:lnTo>
                  <a:pt x="438" y="90"/>
                </a:lnTo>
                <a:lnTo>
                  <a:pt x="438" y="96"/>
                </a:lnTo>
                <a:lnTo>
                  <a:pt x="438" y="96"/>
                </a:lnTo>
                <a:lnTo>
                  <a:pt x="438" y="102"/>
                </a:lnTo>
                <a:lnTo>
                  <a:pt x="438" y="102"/>
                </a:lnTo>
                <a:lnTo>
                  <a:pt x="438" y="102"/>
                </a:lnTo>
                <a:lnTo>
                  <a:pt x="438" y="108"/>
                </a:lnTo>
                <a:lnTo>
                  <a:pt x="438" y="108"/>
                </a:lnTo>
                <a:lnTo>
                  <a:pt x="438" y="114"/>
                </a:lnTo>
                <a:lnTo>
                  <a:pt x="444" y="114"/>
                </a:lnTo>
                <a:lnTo>
                  <a:pt x="444" y="120"/>
                </a:lnTo>
                <a:lnTo>
                  <a:pt x="444" y="126"/>
                </a:lnTo>
                <a:lnTo>
                  <a:pt x="444" y="126"/>
                </a:lnTo>
                <a:lnTo>
                  <a:pt x="444" y="126"/>
                </a:lnTo>
                <a:lnTo>
                  <a:pt x="444" y="126"/>
                </a:lnTo>
                <a:lnTo>
                  <a:pt x="444" y="126"/>
                </a:lnTo>
                <a:lnTo>
                  <a:pt x="444" y="132"/>
                </a:lnTo>
                <a:lnTo>
                  <a:pt x="444" y="132"/>
                </a:lnTo>
                <a:lnTo>
                  <a:pt x="444" y="132"/>
                </a:lnTo>
                <a:lnTo>
                  <a:pt x="444" y="138"/>
                </a:lnTo>
                <a:lnTo>
                  <a:pt x="444" y="138"/>
                </a:lnTo>
                <a:lnTo>
                  <a:pt x="444" y="138"/>
                </a:lnTo>
                <a:lnTo>
                  <a:pt x="444" y="138"/>
                </a:lnTo>
                <a:lnTo>
                  <a:pt x="444" y="144"/>
                </a:lnTo>
                <a:lnTo>
                  <a:pt x="444" y="150"/>
                </a:lnTo>
                <a:lnTo>
                  <a:pt x="444" y="150"/>
                </a:lnTo>
                <a:lnTo>
                  <a:pt x="444" y="150"/>
                </a:lnTo>
                <a:lnTo>
                  <a:pt x="438" y="156"/>
                </a:lnTo>
                <a:lnTo>
                  <a:pt x="444" y="156"/>
                </a:lnTo>
                <a:lnTo>
                  <a:pt x="438" y="162"/>
                </a:lnTo>
                <a:lnTo>
                  <a:pt x="438" y="162"/>
                </a:lnTo>
                <a:lnTo>
                  <a:pt x="438" y="162"/>
                </a:lnTo>
                <a:lnTo>
                  <a:pt x="432" y="168"/>
                </a:lnTo>
                <a:lnTo>
                  <a:pt x="432" y="168"/>
                </a:lnTo>
                <a:lnTo>
                  <a:pt x="432" y="168"/>
                </a:lnTo>
                <a:lnTo>
                  <a:pt x="432" y="174"/>
                </a:lnTo>
                <a:lnTo>
                  <a:pt x="432" y="174"/>
                </a:lnTo>
                <a:lnTo>
                  <a:pt x="432" y="180"/>
                </a:lnTo>
                <a:lnTo>
                  <a:pt x="432" y="180"/>
                </a:lnTo>
                <a:lnTo>
                  <a:pt x="426" y="180"/>
                </a:lnTo>
                <a:lnTo>
                  <a:pt x="426" y="186"/>
                </a:lnTo>
                <a:lnTo>
                  <a:pt x="426" y="192"/>
                </a:lnTo>
                <a:lnTo>
                  <a:pt x="426" y="198"/>
                </a:lnTo>
                <a:lnTo>
                  <a:pt x="426" y="204"/>
                </a:lnTo>
                <a:lnTo>
                  <a:pt x="426" y="204"/>
                </a:lnTo>
                <a:lnTo>
                  <a:pt x="426" y="204"/>
                </a:lnTo>
                <a:lnTo>
                  <a:pt x="426" y="210"/>
                </a:lnTo>
                <a:lnTo>
                  <a:pt x="426" y="210"/>
                </a:lnTo>
                <a:lnTo>
                  <a:pt x="426" y="210"/>
                </a:lnTo>
                <a:lnTo>
                  <a:pt x="426" y="216"/>
                </a:lnTo>
                <a:lnTo>
                  <a:pt x="426" y="216"/>
                </a:lnTo>
                <a:lnTo>
                  <a:pt x="426" y="216"/>
                </a:lnTo>
                <a:lnTo>
                  <a:pt x="426" y="222"/>
                </a:lnTo>
                <a:lnTo>
                  <a:pt x="420" y="222"/>
                </a:lnTo>
                <a:lnTo>
                  <a:pt x="420" y="228"/>
                </a:lnTo>
                <a:lnTo>
                  <a:pt x="420" y="228"/>
                </a:lnTo>
                <a:lnTo>
                  <a:pt x="414" y="228"/>
                </a:lnTo>
                <a:lnTo>
                  <a:pt x="420" y="234"/>
                </a:lnTo>
                <a:lnTo>
                  <a:pt x="420" y="240"/>
                </a:lnTo>
                <a:lnTo>
                  <a:pt x="420" y="240"/>
                </a:lnTo>
                <a:lnTo>
                  <a:pt x="420" y="246"/>
                </a:lnTo>
                <a:lnTo>
                  <a:pt x="426" y="246"/>
                </a:lnTo>
                <a:lnTo>
                  <a:pt x="420" y="252"/>
                </a:lnTo>
                <a:lnTo>
                  <a:pt x="426" y="252"/>
                </a:lnTo>
                <a:lnTo>
                  <a:pt x="426" y="258"/>
                </a:lnTo>
                <a:lnTo>
                  <a:pt x="426" y="258"/>
                </a:lnTo>
                <a:lnTo>
                  <a:pt x="426" y="264"/>
                </a:lnTo>
                <a:lnTo>
                  <a:pt x="426" y="264"/>
                </a:lnTo>
                <a:lnTo>
                  <a:pt x="426" y="270"/>
                </a:lnTo>
                <a:lnTo>
                  <a:pt x="426" y="270"/>
                </a:lnTo>
                <a:lnTo>
                  <a:pt x="426" y="276"/>
                </a:lnTo>
                <a:lnTo>
                  <a:pt x="426" y="276"/>
                </a:lnTo>
                <a:lnTo>
                  <a:pt x="426" y="276"/>
                </a:lnTo>
                <a:lnTo>
                  <a:pt x="426" y="282"/>
                </a:lnTo>
                <a:lnTo>
                  <a:pt x="426" y="282"/>
                </a:lnTo>
                <a:lnTo>
                  <a:pt x="432" y="282"/>
                </a:lnTo>
                <a:lnTo>
                  <a:pt x="432" y="282"/>
                </a:lnTo>
                <a:lnTo>
                  <a:pt x="432" y="288"/>
                </a:lnTo>
                <a:lnTo>
                  <a:pt x="432" y="288"/>
                </a:lnTo>
                <a:lnTo>
                  <a:pt x="432" y="288"/>
                </a:lnTo>
                <a:lnTo>
                  <a:pt x="438" y="288"/>
                </a:lnTo>
                <a:lnTo>
                  <a:pt x="438" y="294"/>
                </a:lnTo>
                <a:lnTo>
                  <a:pt x="438" y="294"/>
                </a:lnTo>
                <a:lnTo>
                  <a:pt x="438" y="294"/>
                </a:lnTo>
                <a:lnTo>
                  <a:pt x="438" y="300"/>
                </a:lnTo>
                <a:lnTo>
                  <a:pt x="438" y="300"/>
                </a:lnTo>
                <a:lnTo>
                  <a:pt x="438" y="306"/>
                </a:lnTo>
                <a:lnTo>
                  <a:pt x="438" y="306"/>
                </a:lnTo>
                <a:lnTo>
                  <a:pt x="438" y="306"/>
                </a:lnTo>
                <a:lnTo>
                  <a:pt x="438" y="312"/>
                </a:lnTo>
                <a:lnTo>
                  <a:pt x="438" y="312"/>
                </a:lnTo>
                <a:lnTo>
                  <a:pt x="438" y="312"/>
                </a:lnTo>
                <a:lnTo>
                  <a:pt x="438" y="312"/>
                </a:lnTo>
                <a:lnTo>
                  <a:pt x="444" y="318"/>
                </a:lnTo>
                <a:lnTo>
                  <a:pt x="444" y="318"/>
                </a:lnTo>
                <a:lnTo>
                  <a:pt x="450" y="324"/>
                </a:lnTo>
                <a:lnTo>
                  <a:pt x="450" y="324"/>
                </a:lnTo>
                <a:lnTo>
                  <a:pt x="450" y="324"/>
                </a:lnTo>
                <a:lnTo>
                  <a:pt x="450" y="324"/>
                </a:lnTo>
                <a:lnTo>
                  <a:pt x="450" y="324"/>
                </a:lnTo>
                <a:lnTo>
                  <a:pt x="450" y="324"/>
                </a:lnTo>
                <a:lnTo>
                  <a:pt x="456" y="324"/>
                </a:lnTo>
                <a:lnTo>
                  <a:pt x="456" y="324"/>
                </a:lnTo>
                <a:lnTo>
                  <a:pt x="456" y="330"/>
                </a:lnTo>
                <a:lnTo>
                  <a:pt x="456" y="330"/>
                </a:lnTo>
                <a:lnTo>
                  <a:pt x="456" y="330"/>
                </a:lnTo>
                <a:lnTo>
                  <a:pt x="456" y="336"/>
                </a:lnTo>
                <a:lnTo>
                  <a:pt x="456" y="336"/>
                </a:lnTo>
                <a:lnTo>
                  <a:pt x="456" y="336"/>
                </a:lnTo>
                <a:lnTo>
                  <a:pt x="456" y="342"/>
                </a:lnTo>
                <a:lnTo>
                  <a:pt x="450" y="342"/>
                </a:lnTo>
                <a:lnTo>
                  <a:pt x="450" y="342"/>
                </a:lnTo>
                <a:lnTo>
                  <a:pt x="456" y="348"/>
                </a:lnTo>
                <a:lnTo>
                  <a:pt x="456" y="348"/>
                </a:lnTo>
                <a:lnTo>
                  <a:pt x="456" y="348"/>
                </a:lnTo>
                <a:lnTo>
                  <a:pt x="456" y="348"/>
                </a:lnTo>
                <a:lnTo>
                  <a:pt x="450" y="348"/>
                </a:lnTo>
                <a:lnTo>
                  <a:pt x="450" y="354"/>
                </a:lnTo>
                <a:lnTo>
                  <a:pt x="450" y="354"/>
                </a:lnTo>
                <a:lnTo>
                  <a:pt x="456" y="354"/>
                </a:lnTo>
                <a:lnTo>
                  <a:pt x="456" y="354"/>
                </a:lnTo>
                <a:lnTo>
                  <a:pt x="456" y="354"/>
                </a:lnTo>
                <a:lnTo>
                  <a:pt x="456" y="360"/>
                </a:lnTo>
                <a:lnTo>
                  <a:pt x="456" y="360"/>
                </a:lnTo>
                <a:lnTo>
                  <a:pt x="456" y="360"/>
                </a:lnTo>
                <a:lnTo>
                  <a:pt x="462" y="360"/>
                </a:lnTo>
                <a:lnTo>
                  <a:pt x="462" y="366"/>
                </a:lnTo>
                <a:lnTo>
                  <a:pt x="462" y="366"/>
                </a:lnTo>
                <a:lnTo>
                  <a:pt x="462" y="366"/>
                </a:lnTo>
                <a:lnTo>
                  <a:pt x="462" y="366"/>
                </a:lnTo>
                <a:lnTo>
                  <a:pt x="462" y="366"/>
                </a:lnTo>
                <a:lnTo>
                  <a:pt x="462" y="372"/>
                </a:lnTo>
                <a:lnTo>
                  <a:pt x="462" y="372"/>
                </a:lnTo>
                <a:lnTo>
                  <a:pt x="462" y="378"/>
                </a:lnTo>
                <a:lnTo>
                  <a:pt x="462" y="378"/>
                </a:lnTo>
                <a:lnTo>
                  <a:pt x="462" y="378"/>
                </a:lnTo>
                <a:lnTo>
                  <a:pt x="468" y="378"/>
                </a:lnTo>
                <a:lnTo>
                  <a:pt x="468" y="378"/>
                </a:lnTo>
                <a:lnTo>
                  <a:pt x="468" y="384"/>
                </a:lnTo>
                <a:lnTo>
                  <a:pt x="468" y="384"/>
                </a:lnTo>
                <a:lnTo>
                  <a:pt x="468" y="384"/>
                </a:lnTo>
                <a:lnTo>
                  <a:pt x="468" y="390"/>
                </a:lnTo>
                <a:lnTo>
                  <a:pt x="468" y="390"/>
                </a:lnTo>
                <a:lnTo>
                  <a:pt x="474" y="390"/>
                </a:lnTo>
                <a:lnTo>
                  <a:pt x="474" y="390"/>
                </a:lnTo>
                <a:lnTo>
                  <a:pt x="480" y="396"/>
                </a:lnTo>
                <a:lnTo>
                  <a:pt x="474" y="396"/>
                </a:lnTo>
                <a:lnTo>
                  <a:pt x="480" y="396"/>
                </a:lnTo>
                <a:lnTo>
                  <a:pt x="480" y="402"/>
                </a:lnTo>
                <a:lnTo>
                  <a:pt x="480" y="402"/>
                </a:lnTo>
                <a:lnTo>
                  <a:pt x="480" y="402"/>
                </a:lnTo>
                <a:lnTo>
                  <a:pt x="480" y="402"/>
                </a:lnTo>
                <a:lnTo>
                  <a:pt x="486" y="408"/>
                </a:lnTo>
                <a:lnTo>
                  <a:pt x="486" y="408"/>
                </a:lnTo>
                <a:lnTo>
                  <a:pt x="480" y="408"/>
                </a:lnTo>
                <a:lnTo>
                  <a:pt x="480" y="408"/>
                </a:lnTo>
                <a:lnTo>
                  <a:pt x="486" y="408"/>
                </a:lnTo>
                <a:lnTo>
                  <a:pt x="486" y="408"/>
                </a:lnTo>
                <a:lnTo>
                  <a:pt x="486" y="408"/>
                </a:lnTo>
                <a:lnTo>
                  <a:pt x="486" y="408"/>
                </a:lnTo>
                <a:lnTo>
                  <a:pt x="486" y="414"/>
                </a:lnTo>
                <a:lnTo>
                  <a:pt x="486" y="414"/>
                </a:lnTo>
                <a:lnTo>
                  <a:pt x="486" y="414"/>
                </a:lnTo>
                <a:lnTo>
                  <a:pt x="486" y="414"/>
                </a:lnTo>
                <a:lnTo>
                  <a:pt x="492" y="414"/>
                </a:lnTo>
                <a:lnTo>
                  <a:pt x="492" y="414"/>
                </a:lnTo>
                <a:lnTo>
                  <a:pt x="486" y="420"/>
                </a:lnTo>
                <a:lnTo>
                  <a:pt x="492" y="420"/>
                </a:lnTo>
                <a:lnTo>
                  <a:pt x="486" y="420"/>
                </a:lnTo>
                <a:lnTo>
                  <a:pt x="486" y="426"/>
                </a:lnTo>
                <a:lnTo>
                  <a:pt x="486" y="426"/>
                </a:lnTo>
                <a:lnTo>
                  <a:pt x="486" y="426"/>
                </a:lnTo>
                <a:lnTo>
                  <a:pt x="486" y="432"/>
                </a:lnTo>
                <a:lnTo>
                  <a:pt x="492" y="432"/>
                </a:lnTo>
                <a:lnTo>
                  <a:pt x="492" y="432"/>
                </a:lnTo>
                <a:lnTo>
                  <a:pt x="492" y="432"/>
                </a:lnTo>
                <a:lnTo>
                  <a:pt x="492" y="432"/>
                </a:lnTo>
                <a:lnTo>
                  <a:pt x="492" y="432"/>
                </a:lnTo>
                <a:lnTo>
                  <a:pt x="492" y="438"/>
                </a:lnTo>
                <a:lnTo>
                  <a:pt x="498" y="432"/>
                </a:lnTo>
                <a:lnTo>
                  <a:pt x="498" y="432"/>
                </a:lnTo>
                <a:lnTo>
                  <a:pt x="498" y="438"/>
                </a:lnTo>
                <a:lnTo>
                  <a:pt x="498" y="438"/>
                </a:lnTo>
                <a:lnTo>
                  <a:pt x="498" y="438"/>
                </a:lnTo>
                <a:lnTo>
                  <a:pt x="504" y="438"/>
                </a:lnTo>
                <a:lnTo>
                  <a:pt x="504" y="438"/>
                </a:lnTo>
                <a:lnTo>
                  <a:pt x="504" y="444"/>
                </a:lnTo>
                <a:lnTo>
                  <a:pt x="504" y="444"/>
                </a:lnTo>
                <a:lnTo>
                  <a:pt x="510" y="444"/>
                </a:lnTo>
                <a:lnTo>
                  <a:pt x="510" y="444"/>
                </a:lnTo>
                <a:lnTo>
                  <a:pt x="510" y="444"/>
                </a:lnTo>
                <a:lnTo>
                  <a:pt x="510" y="444"/>
                </a:lnTo>
                <a:lnTo>
                  <a:pt x="510" y="444"/>
                </a:lnTo>
                <a:lnTo>
                  <a:pt x="516" y="450"/>
                </a:lnTo>
                <a:lnTo>
                  <a:pt x="516" y="450"/>
                </a:lnTo>
                <a:lnTo>
                  <a:pt x="516" y="450"/>
                </a:lnTo>
                <a:lnTo>
                  <a:pt x="516" y="450"/>
                </a:lnTo>
                <a:lnTo>
                  <a:pt x="516" y="450"/>
                </a:lnTo>
                <a:lnTo>
                  <a:pt x="516" y="450"/>
                </a:lnTo>
                <a:lnTo>
                  <a:pt x="516" y="456"/>
                </a:lnTo>
                <a:lnTo>
                  <a:pt x="516" y="456"/>
                </a:lnTo>
                <a:lnTo>
                  <a:pt x="516" y="456"/>
                </a:lnTo>
                <a:lnTo>
                  <a:pt x="522" y="456"/>
                </a:lnTo>
                <a:lnTo>
                  <a:pt x="522" y="456"/>
                </a:lnTo>
                <a:lnTo>
                  <a:pt x="522" y="456"/>
                </a:lnTo>
                <a:lnTo>
                  <a:pt x="522" y="456"/>
                </a:lnTo>
                <a:lnTo>
                  <a:pt x="522" y="456"/>
                </a:lnTo>
                <a:lnTo>
                  <a:pt x="522" y="462"/>
                </a:lnTo>
                <a:lnTo>
                  <a:pt x="522" y="462"/>
                </a:lnTo>
                <a:lnTo>
                  <a:pt x="522" y="462"/>
                </a:lnTo>
                <a:lnTo>
                  <a:pt x="522" y="462"/>
                </a:lnTo>
                <a:lnTo>
                  <a:pt x="522" y="462"/>
                </a:lnTo>
                <a:lnTo>
                  <a:pt x="522" y="462"/>
                </a:lnTo>
                <a:lnTo>
                  <a:pt x="528" y="462"/>
                </a:lnTo>
                <a:lnTo>
                  <a:pt x="528" y="462"/>
                </a:lnTo>
                <a:lnTo>
                  <a:pt x="528" y="468"/>
                </a:lnTo>
                <a:lnTo>
                  <a:pt x="528" y="468"/>
                </a:lnTo>
                <a:lnTo>
                  <a:pt x="528" y="468"/>
                </a:lnTo>
                <a:lnTo>
                  <a:pt x="534" y="468"/>
                </a:lnTo>
                <a:lnTo>
                  <a:pt x="534" y="468"/>
                </a:lnTo>
                <a:lnTo>
                  <a:pt x="534" y="468"/>
                </a:lnTo>
                <a:lnTo>
                  <a:pt x="534" y="468"/>
                </a:lnTo>
                <a:lnTo>
                  <a:pt x="540" y="468"/>
                </a:lnTo>
                <a:lnTo>
                  <a:pt x="540" y="474"/>
                </a:lnTo>
                <a:lnTo>
                  <a:pt x="540" y="474"/>
                </a:lnTo>
                <a:lnTo>
                  <a:pt x="540" y="474"/>
                </a:lnTo>
                <a:lnTo>
                  <a:pt x="540" y="474"/>
                </a:lnTo>
                <a:lnTo>
                  <a:pt x="540" y="474"/>
                </a:lnTo>
                <a:lnTo>
                  <a:pt x="540" y="474"/>
                </a:lnTo>
                <a:lnTo>
                  <a:pt x="546" y="474"/>
                </a:lnTo>
                <a:lnTo>
                  <a:pt x="546" y="480"/>
                </a:lnTo>
                <a:lnTo>
                  <a:pt x="546" y="480"/>
                </a:lnTo>
                <a:lnTo>
                  <a:pt x="546" y="480"/>
                </a:lnTo>
                <a:lnTo>
                  <a:pt x="546" y="486"/>
                </a:lnTo>
                <a:lnTo>
                  <a:pt x="546" y="486"/>
                </a:lnTo>
                <a:lnTo>
                  <a:pt x="546" y="492"/>
                </a:lnTo>
                <a:lnTo>
                  <a:pt x="546" y="498"/>
                </a:lnTo>
                <a:lnTo>
                  <a:pt x="546" y="498"/>
                </a:lnTo>
                <a:lnTo>
                  <a:pt x="546" y="498"/>
                </a:lnTo>
                <a:lnTo>
                  <a:pt x="546" y="498"/>
                </a:lnTo>
                <a:lnTo>
                  <a:pt x="546" y="504"/>
                </a:lnTo>
                <a:lnTo>
                  <a:pt x="546" y="504"/>
                </a:lnTo>
                <a:lnTo>
                  <a:pt x="546" y="504"/>
                </a:lnTo>
                <a:lnTo>
                  <a:pt x="546" y="504"/>
                </a:lnTo>
                <a:lnTo>
                  <a:pt x="546" y="504"/>
                </a:lnTo>
                <a:lnTo>
                  <a:pt x="552" y="504"/>
                </a:lnTo>
                <a:lnTo>
                  <a:pt x="552" y="510"/>
                </a:lnTo>
                <a:lnTo>
                  <a:pt x="552" y="510"/>
                </a:lnTo>
                <a:lnTo>
                  <a:pt x="552" y="510"/>
                </a:lnTo>
                <a:lnTo>
                  <a:pt x="546" y="510"/>
                </a:lnTo>
                <a:lnTo>
                  <a:pt x="552" y="510"/>
                </a:lnTo>
                <a:lnTo>
                  <a:pt x="546" y="510"/>
                </a:lnTo>
                <a:lnTo>
                  <a:pt x="546" y="516"/>
                </a:lnTo>
                <a:lnTo>
                  <a:pt x="546" y="516"/>
                </a:lnTo>
                <a:lnTo>
                  <a:pt x="552" y="516"/>
                </a:lnTo>
                <a:lnTo>
                  <a:pt x="552" y="522"/>
                </a:lnTo>
                <a:lnTo>
                  <a:pt x="552" y="528"/>
                </a:lnTo>
                <a:lnTo>
                  <a:pt x="552" y="528"/>
                </a:lnTo>
                <a:lnTo>
                  <a:pt x="552" y="528"/>
                </a:lnTo>
                <a:lnTo>
                  <a:pt x="558" y="528"/>
                </a:lnTo>
                <a:lnTo>
                  <a:pt x="558" y="528"/>
                </a:lnTo>
                <a:lnTo>
                  <a:pt x="558" y="534"/>
                </a:lnTo>
                <a:lnTo>
                  <a:pt x="558" y="534"/>
                </a:lnTo>
                <a:lnTo>
                  <a:pt x="558" y="534"/>
                </a:lnTo>
                <a:lnTo>
                  <a:pt x="564" y="534"/>
                </a:lnTo>
                <a:lnTo>
                  <a:pt x="564" y="534"/>
                </a:lnTo>
                <a:lnTo>
                  <a:pt x="564" y="534"/>
                </a:lnTo>
                <a:lnTo>
                  <a:pt x="564" y="540"/>
                </a:lnTo>
                <a:lnTo>
                  <a:pt x="564" y="540"/>
                </a:lnTo>
                <a:lnTo>
                  <a:pt x="564" y="540"/>
                </a:lnTo>
                <a:lnTo>
                  <a:pt x="564" y="540"/>
                </a:lnTo>
                <a:lnTo>
                  <a:pt x="564" y="540"/>
                </a:lnTo>
                <a:lnTo>
                  <a:pt x="558" y="546"/>
                </a:lnTo>
                <a:lnTo>
                  <a:pt x="564" y="546"/>
                </a:lnTo>
                <a:lnTo>
                  <a:pt x="564" y="546"/>
                </a:lnTo>
                <a:lnTo>
                  <a:pt x="564" y="546"/>
                </a:lnTo>
                <a:lnTo>
                  <a:pt x="558" y="552"/>
                </a:lnTo>
                <a:lnTo>
                  <a:pt x="558" y="552"/>
                </a:lnTo>
                <a:lnTo>
                  <a:pt x="558" y="552"/>
                </a:lnTo>
                <a:lnTo>
                  <a:pt x="558" y="552"/>
                </a:lnTo>
                <a:lnTo>
                  <a:pt x="558" y="552"/>
                </a:lnTo>
                <a:lnTo>
                  <a:pt x="558" y="552"/>
                </a:lnTo>
                <a:lnTo>
                  <a:pt x="558" y="552"/>
                </a:lnTo>
                <a:lnTo>
                  <a:pt x="552" y="558"/>
                </a:lnTo>
                <a:lnTo>
                  <a:pt x="552" y="558"/>
                </a:lnTo>
                <a:lnTo>
                  <a:pt x="552" y="558"/>
                </a:lnTo>
                <a:lnTo>
                  <a:pt x="552" y="558"/>
                </a:lnTo>
                <a:lnTo>
                  <a:pt x="552" y="558"/>
                </a:lnTo>
                <a:lnTo>
                  <a:pt x="552" y="558"/>
                </a:lnTo>
                <a:lnTo>
                  <a:pt x="552" y="558"/>
                </a:lnTo>
                <a:lnTo>
                  <a:pt x="546" y="558"/>
                </a:lnTo>
                <a:lnTo>
                  <a:pt x="546" y="558"/>
                </a:lnTo>
                <a:lnTo>
                  <a:pt x="546" y="558"/>
                </a:lnTo>
                <a:lnTo>
                  <a:pt x="546" y="564"/>
                </a:lnTo>
                <a:lnTo>
                  <a:pt x="546" y="564"/>
                </a:lnTo>
                <a:lnTo>
                  <a:pt x="546" y="564"/>
                </a:lnTo>
                <a:lnTo>
                  <a:pt x="546" y="564"/>
                </a:lnTo>
                <a:lnTo>
                  <a:pt x="540" y="564"/>
                </a:lnTo>
                <a:lnTo>
                  <a:pt x="540" y="564"/>
                </a:lnTo>
                <a:lnTo>
                  <a:pt x="540" y="564"/>
                </a:lnTo>
                <a:lnTo>
                  <a:pt x="540" y="564"/>
                </a:lnTo>
                <a:lnTo>
                  <a:pt x="540" y="564"/>
                </a:lnTo>
                <a:lnTo>
                  <a:pt x="540" y="564"/>
                </a:lnTo>
                <a:lnTo>
                  <a:pt x="534" y="564"/>
                </a:lnTo>
                <a:lnTo>
                  <a:pt x="534" y="564"/>
                </a:lnTo>
                <a:lnTo>
                  <a:pt x="534" y="564"/>
                </a:lnTo>
                <a:lnTo>
                  <a:pt x="528" y="564"/>
                </a:lnTo>
                <a:lnTo>
                  <a:pt x="522" y="570"/>
                </a:lnTo>
                <a:lnTo>
                  <a:pt x="522" y="570"/>
                </a:lnTo>
                <a:lnTo>
                  <a:pt x="516" y="570"/>
                </a:lnTo>
                <a:lnTo>
                  <a:pt x="516" y="570"/>
                </a:lnTo>
                <a:lnTo>
                  <a:pt x="516" y="570"/>
                </a:lnTo>
                <a:lnTo>
                  <a:pt x="516" y="570"/>
                </a:lnTo>
                <a:lnTo>
                  <a:pt x="516" y="570"/>
                </a:lnTo>
                <a:lnTo>
                  <a:pt x="516" y="570"/>
                </a:lnTo>
                <a:lnTo>
                  <a:pt x="516" y="570"/>
                </a:lnTo>
                <a:lnTo>
                  <a:pt x="510" y="570"/>
                </a:lnTo>
                <a:lnTo>
                  <a:pt x="510" y="570"/>
                </a:lnTo>
                <a:lnTo>
                  <a:pt x="510" y="576"/>
                </a:lnTo>
                <a:lnTo>
                  <a:pt x="504" y="582"/>
                </a:lnTo>
                <a:lnTo>
                  <a:pt x="480" y="576"/>
                </a:lnTo>
                <a:lnTo>
                  <a:pt x="462" y="576"/>
                </a:lnTo>
                <a:lnTo>
                  <a:pt x="462" y="576"/>
                </a:lnTo>
                <a:lnTo>
                  <a:pt x="462" y="576"/>
                </a:lnTo>
                <a:lnTo>
                  <a:pt x="456" y="576"/>
                </a:lnTo>
                <a:lnTo>
                  <a:pt x="456" y="576"/>
                </a:lnTo>
                <a:lnTo>
                  <a:pt x="456" y="576"/>
                </a:lnTo>
                <a:lnTo>
                  <a:pt x="456" y="576"/>
                </a:lnTo>
                <a:lnTo>
                  <a:pt x="450" y="576"/>
                </a:lnTo>
                <a:lnTo>
                  <a:pt x="450" y="576"/>
                </a:lnTo>
                <a:lnTo>
                  <a:pt x="450" y="576"/>
                </a:lnTo>
                <a:lnTo>
                  <a:pt x="450" y="576"/>
                </a:lnTo>
                <a:lnTo>
                  <a:pt x="450" y="576"/>
                </a:lnTo>
                <a:lnTo>
                  <a:pt x="450" y="570"/>
                </a:lnTo>
                <a:lnTo>
                  <a:pt x="450" y="570"/>
                </a:lnTo>
                <a:lnTo>
                  <a:pt x="450" y="570"/>
                </a:lnTo>
                <a:lnTo>
                  <a:pt x="450" y="570"/>
                </a:lnTo>
                <a:lnTo>
                  <a:pt x="450" y="570"/>
                </a:lnTo>
                <a:lnTo>
                  <a:pt x="450" y="570"/>
                </a:lnTo>
                <a:lnTo>
                  <a:pt x="450" y="570"/>
                </a:lnTo>
                <a:lnTo>
                  <a:pt x="450" y="570"/>
                </a:lnTo>
                <a:lnTo>
                  <a:pt x="450" y="564"/>
                </a:lnTo>
                <a:lnTo>
                  <a:pt x="450" y="558"/>
                </a:lnTo>
                <a:lnTo>
                  <a:pt x="450" y="558"/>
                </a:lnTo>
                <a:lnTo>
                  <a:pt x="450" y="552"/>
                </a:lnTo>
                <a:lnTo>
                  <a:pt x="450" y="552"/>
                </a:lnTo>
                <a:lnTo>
                  <a:pt x="450" y="552"/>
                </a:lnTo>
                <a:lnTo>
                  <a:pt x="444" y="552"/>
                </a:lnTo>
                <a:lnTo>
                  <a:pt x="450" y="552"/>
                </a:lnTo>
                <a:lnTo>
                  <a:pt x="444" y="552"/>
                </a:lnTo>
                <a:lnTo>
                  <a:pt x="444" y="546"/>
                </a:lnTo>
                <a:lnTo>
                  <a:pt x="444" y="546"/>
                </a:lnTo>
                <a:lnTo>
                  <a:pt x="444" y="546"/>
                </a:lnTo>
                <a:lnTo>
                  <a:pt x="444" y="546"/>
                </a:lnTo>
                <a:lnTo>
                  <a:pt x="438" y="540"/>
                </a:lnTo>
                <a:lnTo>
                  <a:pt x="438" y="540"/>
                </a:lnTo>
                <a:lnTo>
                  <a:pt x="432" y="540"/>
                </a:lnTo>
                <a:lnTo>
                  <a:pt x="432" y="534"/>
                </a:lnTo>
                <a:lnTo>
                  <a:pt x="432" y="534"/>
                </a:lnTo>
                <a:lnTo>
                  <a:pt x="426" y="534"/>
                </a:lnTo>
                <a:lnTo>
                  <a:pt x="426" y="534"/>
                </a:lnTo>
                <a:lnTo>
                  <a:pt x="426" y="528"/>
                </a:lnTo>
                <a:lnTo>
                  <a:pt x="426" y="528"/>
                </a:lnTo>
                <a:lnTo>
                  <a:pt x="426" y="522"/>
                </a:lnTo>
                <a:lnTo>
                  <a:pt x="426" y="522"/>
                </a:lnTo>
                <a:lnTo>
                  <a:pt x="426" y="522"/>
                </a:lnTo>
                <a:lnTo>
                  <a:pt x="420" y="522"/>
                </a:lnTo>
                <a:lnTo>
                  <a:pt x="420" y="522"/>
                </a:lnTo>
                <a:lnTo>
                  <a:pt x="420" y="522"/>
                </a:lnTo>
                <a:lnTo>
                  <a:pt x="420" y="522"/>
                </a:lnTo>
                <a:lnTo>
                  <a:pt x="420" y="516"/>
                </a:lnTo>
                <a:lnTo>
                  <a:pt x="420" y="516"/>
                </a:lnTo>
                <a:lnTo>
                  <a:pt x="420" y="516"/>
                </a:lnTo>
                <a:lnTo>
                  <a:pt x="420" y="510"/>
                </a:lnTo>
                <a:lnTo>
                  <a:pt x="420" y="510"/>
                </a:lnTo>
                <a:lnTo>
                  <a:pt x="420" y="510"/>
                </a:lnTo>
                <a:lnTo>
                  <a:pt x="420" y="504"/>
                </a:lnTo>
                <a:lnTo>
                  <a:pt x="420" y="504"/>
                </a:lnTo>
                <a:lnTo>
                  <a:pt x="420" y="498"/>
                </a:lnTo>
                <a:lnTo>
                  <a:pt x="420" y="498"/>
                </a:lnTo>
                <a:lnTo>
                  <a:pt x="420" y="498"/>
                </a:lnTo>
                <a:lnTo>
                  <a:pt x="414" y="492"/>
                </a:lnTo>
                <a:lnTo>
                  <a:pt x="414" y="492"/>
                </a:lnTo>
                <a:lnTo>
                  <a:pt x="414" y="492"/>
                </a:lnTo>
                <a:lnTo>
                  <a:pt x="414" y="492"/>
                </a:lnTo>
                <a:lnTo>
                  <a:pt x="414" y="486"/>
                </a:lnTo>
                <a:lnTo>
                  <a:pt x="414" y="486"/>
                </a:lnTo>
                <a:lnTo>
                  <a:pt x="414" y="486"/>
                </a:lnTo>
                <a:lnTo>
                  <a:pt x="414" y="480"/>
                </a:lnTo>
                <a:lnTo>
                  <a:pt x="414" y="480"/>
                </a:lnTo>
                <a:lnTo>
                  <a:pt x="414" y="480"/>
                </a:lnTo>
                <a:lnTo>
                  <a:pt x="414" y="480"/>
                </a:lnTo>
                <a:lnTo>
                  <a:pt x="414" y="480"/>
                </a:lnTo>
                <a:lnTo>
                  <a:pt x="414" y="480"/>
                </a:lnTo>
                <a:lnTo>
                  <a:pt x="414" y="474"/>
                </a:lnTo>
                <a:lnTo>
                  <a:pt x="414" y="474"/>
                </a:lnTo>
                <a:lnTo>
                  <a:pt x="414" y="474"/>
                </a:lnTo>
                <a:lnTo>
                  <a:pt x="414" y="468"/>
                </a:lnTo>
                <a:lnTo>
                  <a:pt x="408" y="468"/>
                </a:lnTo>
                <a:lnTo>
                  <a:pt x="408" y="462"/>
                </a:lnTo>
                <a:lnTo>
                  <a:pt x="408" y="462"/>
                </a:lnTo>
                <a:lnTo>
                  <a:pt x="408" y="462"/>
                </a:lnTo>
                <a:lnTo>
                  <a:pt x="408" y="462"/>
                </a:lnTo>
                <a:lnTo>
                  <a:pt x="408" y="456"/>
                </a:lnTo>
                <a:lnTo>
                  <a:pt x="408" y="456"/>
                </a:lnTo>
                <a:lnTo>
                  <a:pt x="408" y="456"/>
                </a:lnTo>
                <a:lnTo>
                  <a:pt x="408" y="456"/>
                </a:lnTo>
                <a:lnTo>
                  <a:pt x="408" y="456"/>
                </a:lnTo>
                <a:lnTo>
                  <a:pt x="408" y="456"/>
                </a:lnTo>
                <a:lnTo>
                  <a:pt x="402" y="450"/>
                </a:lnTo>
                <a:lnTo>
                  <a:pt x="402" y="450"/>
                </a:lnTo>
                <a:lnTo>
                  <a:pt x="402" y="450"/>
                </a:lnTo>
                <a:lnTo>
                  <a:pt x="402" y="450"/>
                </a:lnTo>
                <a:lnTo>
                  <a:pt x="402" y="450"/>
                </a:lnTo>
                <a:lnTo>
                  <a:pt x="408" y="444"/>
                </a:lnTo>
                <a:lnTo>
                  <a:pt x="408" y="444"/>
                </a:lnTo>
                <a:lnTo>
                  <a:pt x="408" y="444"/>
                </a:lnTo>
                <a:lnTo>
                  <a:pt x="408" y="438"/>
                </a:lnTo>
                <a:lnTo>
                  <a:pt x="408" y="438"/>
                </a:lnTo>
                <a:lnTo>
                  <a:pt x="408" y="438"/>
                </a:lnTo>
                <a:lnTo>
                  <a:pt x="408" y="432"/>
                </a:lnTo>
                <a:lnTo>
                  <a:pt x="408" y="432"/>
                </a:lnTo>
                <a:lnTo>
                  <a:pt x="408" y="426"/>
                </a:lnTo>
                <a:lnTo>
                  <a:pt x="408" y="426"/>
                </a:lnTo>
                <a:lnTo>
                  <a:pt x="408" y="420"/>
                </a:lnTo>
                <a:lnTo>
                  <a:pt x="408" y="420"/>
                </a:lnTo>
                <a:lnTo>
                  <a:pt x="408" y="420"/>
                </a:lnTo>
                <a:lnTo>
                  <a:pt x="408" y="420"/>
                </a:lnTo>
                <a:lnTo>
                  <a:pt x="408" y="414"/>
                </a:lnTo>
                <a:lnTo>
                  <a:pt x="414" y="414"/>
                </a:lnTo>
                <a:lnTo>
                  <a:pt x="414" y="408"/>
                </a:lnTo>
                <a:lnTo>
                  <a:pt x="414" y="408"/>
                </a:lnTo>
                <a:lnTo>
                  <a:pt x="414" y="408"/>
                </a:lnTo>
                <a:lnTo>
                  <a:pt x="414" y="408"/>
                </a:lnTo>
                <a:lnTo>
                  <a:pt x="414" y="408"/>
                </a:lnTo>
                <a:lnTo>
                  <a:pt x="414" y="408"/>
                </a:lnTo>
                <a:lnTo>
                  <a:pt x="408" y="408"/>
                </a:lnTo>
                <a:lnTo>
                  <a:pt x="408" y="408"/>
                </a:lnTo>
                <a:lnTo>
                  <a:pt x="408" y="408"/>
                </a:lnTo>
                <a:lnTo>
                  <a:pt x="408" y="408"/>
                </a:lnTo>
                <a:lnTo>
                  <a:pt x="402" y="414"/>
                </a:lnTo>
                <a:lnTo>
                  <a:pt x="402" y="414"/>
                </a:lnTo>
                <a:lnTo>
                  <a:pt x="402" y="414"/>
                </a:lnTo>
                <a:lnTo>
                  <a:pt x="402" y="414"/>
                </a:lnTo>
                <a:lnTo>
                  <a:pt x="402" y="414"/>
                </a:lnTo>
                <a:lnTo>
                  <a:pt x="402" y="414"/>
                </a:lnTo>
                <a:lnTo>
                  <a:pt x="402" y="414"/>
                </a:lnTo>
                <a:lnTo>
                  <a:pt x="402" y="420"/>
                </a:lnTo>
                <a:lnTo>
                  <a:pt x="396" y="420"/>
                </a:lnTo>
                <a:lnTo>
                  <a:pt x="396" y="420"/>
                </a:lnTo>
                <a:lnTo>
                  <a:pt x="396" y="420"/>
                </a:lnTo>
                <a:lnTo>
                  <a:pt x="396" y="420"/>
                </a:lnTo>
                <a:lnTo>
                  <a:pt x="396" y="420"/>
                </a:lnTo>
                <a:lnTo>
                  <a:pt x="396" y="420"/>
                </a:lnTo>
                <a:lnTo>
                  <a:pt x="396" y="420"/>
                </a:lnTo>
                <a:lnTo>
                  <a:pt x="390" y="420"/>
                </a:lnTo>
                <a:lnTo>
                  <a:pt x="390" y="420"/>
                </a:lnTo>
                <a:lnTo>
                  <a:pt x="390" y="420"/>
                </a:lnTo>
                <a:lnTo>
                  <a:pt x="390" y="420"/>
                </a:lnTo>
                <a:lnTo>
                  <a:pt x="384" y="420"/>
                </a:lnTo>
                <a:lnTo>
                  <a:pt x="384" y="426"/>
                </a:lnTo>
                <a:lnTo>
                  <a:pt x="384" y="426"/>
                </a:lnTo>
                <a:lnTo>
                  <a:pt x="384" y="426"/>
                </a:lnTo>
                <a:lnTo>
                  <a:pt x="384" y="426"/>
                </a:lnTo>
                <a:lnTo>
                  <a:pt x="378" y="426"/>
                </a:lnTo>
                <a:lnTo>
                  <a:pt x="378" y="426"/>
                </a:lnTo>
                <a:lnTo>
                  <a:pt x="378" y="432"/>
                </a:lnTo>
                <a:lnTo>
                  <a:pt x="378" y="432"/>
                </a:lnTo>
                <a:lnTo>
                  <a:pt x="378" y="432"/>
                </a:lnTo>
                <a:lnTo>
                  <a:pt x="378" y="432"/>
                </a:lnTo>
                <a:lnTo>
                  <a:pt x="372" y="432"/>
                </a:lnTo>
                <a:lnTo>
                  <a:pt x="372" y="432"/>
                </a:lnTo>
                <a:lnTo>
                  <a:pt x="372" y="438"/>
                </a:lnTo>
                <a:lnTo>
                  <a:pt x="366" y="438"/>
                </a:lnTo>
                <a:lnTo>
                  <a:pt x="366" y="438"/>
                </a:lnTo>
                <a:lnTo>
                  <a:pt x="366" y="438"/>
                </a:lnTo>
                <a:lnTo>
                  <a:pt x="366" y="438"/>
                </a:lnTo>
                <a:lnTo>
                  <a:pt x="360" y="444"/>
                </a:lnTo>
                <a:lnTo>
                  <a:pt x="360" y="444"/>
                </a:lnTo>
                <a:lnTo>
                  <a:pt x="360" y="444"/>
                </a:lnTo>
                <a:lnTo>
                  <a:pt x="360" y="444"/>
                </a:lnTo>
                <a:lnTo>
                  <a:pt x="354" y="444"/>
                </a:lnTo>
                <a:lnTo>
                  <a:pt x="354" y="444"/>
                </a:lnTo>
                <a:lnTo>
                  <a:pt x="354" y="444"/>
                </a:lnTo>
                <a:lnTo>
                  <a:pt x="348" y="444"/>
                </a:lnTo>
                <a:lnTo>
                  <a:pt x="348" y="444"/>
                </a:lnTo>
                <a:lnTo>
                  <a:pt x="342" y="444"/>
                </a:lnTo>
                <a:lnTo>
                  <a:pt x="342" y="450"/>
                </a:lnTo>
                <a:lnTo>
                  <a:pt x="342" y="444"/>
                </a:lnTo>
                <a:lnTo>
                  <a:pt x="342" y="450"/>
                </a:lnTo>
                <a:lnTo>
                  <a:pt x="336" y="450"/>
                </a:lnTo>
                <a:lnTo>
                  <a:pt x="336" y="450"/>
                </a:lnTo>
                <a:lnTo>
                  <a:pt x="336" y="450"/>
                </a:lnTo>
                <a:lnTo>
                  <a:pt x="336" y="450"/>
                </a:lnTo>
                <a:lnTo>
                  <a:pt x="336" y="450"/>
                </a:lnTo>
                <a:lnTo>
                  <a:pt x="336" y="450"/>
                </a:lnTo>
                <a:lnTo>
                  <a:pt x="336" y="450"/>
                </a:lnTo>
                <a:lnTo>
                  <a:pt x="336" y="450"/>
                </a:lnTo>
                <a:lnTo>
                  <a:pt x="330" y="450"/>
                </a:lnTo>
                <a:lnTo>
                  <a:pt x="330" y="456"/>
                </a:lnTo>
                <a:lnTo>
                  <a:pt x="324" y="456"/>
                </a:lnTo>
                <a:lnTo>
                  <a:pt x="330" y="456"/>
                </a:lnTo>
                <a:lnTo>
                  <a:pt x="324" y="456"/>
                </a:lnTo>
                <a:lnTo>
                  <a:pt x="324" y="462"/>
                </a:lnTo>
                <a:lnTo>
                  <a:pt x="324" y="462"/>
                </a:lnTo>
                <a:lnTo>
                  <a:pt x="324" y="462"/>
                </a:lnTo>
                <a:lnTo>
                  <a:pt x="324" y="462"/>
                </a:lnTo>
                <a:lnTo>
                  <a:pt x="318" y="462"/>
                </a:lnTo>
                <a:lnTo>
                  <a:pt x="318" y="462"/>
                </a:lnTo>
                <a:lnTo>
                  <a:pt x="318" y="462"/>
                </a:lnTo>
                <a:lnTo>
                  <a:pt x="318" y="462"/>
                </a:lnTo>
                <a:lnTo>
                  <a:pt x="318" y="462"/>
                </a:lnTo>
                <a:lnTo>
                  <a:pt x="312" y="456"/>
                </a:lnTo>
                <a:lnTo>
                  <a:pt x="312" y="456"/>
                </a:lnTo>
                <a:lnTo>
                  <a:pt x="312" y="456"/>
                </a:lnTo>
                <a:lnTo>
                  <a:pt x="312" y="456"/>
                </a:lnTo>
                <a:lnTo>
                  <a:pt x="312" y="456"/>
                </a:lnTo>
                <a:lnTo>
                  <a:pt x="312" y="456"/>
                </a:lnTo>
                <a:lnTo>
                  <a:pt x="306" y="456"/>
                </a:lnTo>
                <a:lnTo>
                  <a:pt x="306" y="456"/>
                </a:lnTo>
                <a:lnTo>
                  <a:pt x="300" y="456"/>
                </a:lnTo>
                <a:lnTo>
                  <a:pt x="300" y="456"/>
                </a:lnTo>
                <a:lnTo>
                  <a:pt x="300" y="450"/>
                </a:lnTo>
                <a:lnTo>
                  <a:pt x="294" y="450"/>
                </a:lnTo>
                <a:lnTo>
                  <a:pt x="294" y="456"/>
                </a:lnTo>
                <a:lnTo>
                  <a:pt x="288" y="456"/>
                </a:lnTo>
                <a:lnTo>
                  <a:pt x="288" y="456"/>
                </a:lnTo>
                <a:lnTo>
                  <a:pt x="288" y="456"/>
                </a:lnTo>
                <a:lnTo>
                  <a:pt x="282" y="456"/>
                </a:lnTo>
                <a:lnTo>
                  <a:pt x="282" y="456"/>
                </a:lnTo>
                <a:lnTo>
                  <a:pt x="282" y="456"/>
                </a:lnTo>
                <a:lnTo>
                  <a:pt x="276" y="456"/>
                </a:lnTo>
                <a:lnTo>
                  <a:pt x="276" y="456"/>
                </a:lnTo>
                <a:lnTo>
                  <a:pt x="276" y="456"/>
                </a:lnTo>
                <a:lnTo>
                  <a:pt x="276" y="456"/>
                </a:lnTo>
                <a:lnTo>
                  <a:pt x="270" y="456"/>
                </a:lnTo>
                <a:lnTo>
                  <a:pt x="270" y="456"/>
                </a:lnTo>
                <a:lnTo>
                  <a:pt x="264" y="456"/>
                </a:lnTo>
                <a:lnTo>
                  <a:pt x="264" y="456"/>
                </a:lnTo>
                <a:lnTo>
                  <a:pt x="264" y="456"/>
                </a:lnTo>
                <a:lnTo>
                  <a:pt x="264" y="456"/>
                </a:lnTo>
                <a:lnTo>
                  <a:pt x="264" y="456"/>
                </a:lnTo>
                <a:lnTo>
                  <a:pt x="258" y="456"/>
                </a:lnTo>
                <a:lnTo>
                  <a:pt x="258" y="456"/>
                </a:lnTo>
                <a:lnTo>
                  <a:pt x="258" y="456"/>
                </a:lnTo>
                <a:lnTo>
                  <a:pt x="258" y="456"/>
                </a:lnTo>
                <a:lnTo>
                  <a:pt x="258" y="456"/>
                </a:lnTo>
                <a:lnTo>
                  <a:pt x="252" y="456"/>
                </a:lnTo>
                <a:lnTo>
                  <a:pt x="252" y="456"/>
                </a:lnTo>
                <a:lnTo>
                  <a:pt x="252" y="456"/>
                </a:lnTo>
                <a:lnTo>
                  <a:pt x="252" y="456"/>
                </a:lnTo>
                <a:lnTo>
                  <a:pt x="246" y="456"/>
                </a:lnTo>
                <a:lnTo>
                  <a:pt x="246" y="456"/>
                </a:lnTo>
                <a:lnTo>
                  <a:pt x="240" y="462"/>
                </a:lnTo>
                <a:lnTo>
                  <a:pt x="240" y="462"/>
                </a:lnTo>
                <a:lnTo>
                  <a:pt x="228" y="450"/>
                </a:lnTo>
                <a:lnTo>
                  <a:pt x="222" y="450"/>
                </a:lnTo>
                <a:lnTo>
                  <a:pt x="222" y="450"/>
                </a:lnTo>
                <a:lnTo>
                  <a:pt x="222" y="444"/>
                </a:lnTo>
                <a:lnTo>
                  <a:pt x="222" y="444"/>
                </a:lnTo>
                <a:lnTo>
                  <a:pt x="222" y="444"/>
                </a:lnTo>
                <a:lnTo>
                  <a:pt x="222" y="444"/>
                </a:lnTo>
                <a:lnTo>
                  <a:pt x="222" y="438"/>
                </a:lnTo>
                <a:lnTo>
                  <a:pt x="222" y="438"/>
                </a:lnTo>
                <a:lnTo>
                  <a:pt x="222" y="438"/>
                </a:lnTo>
                <a:lnTo>
                  <a:pt x="222" y="438"/>
                </a:lnTo>
                <a:lnTo>
                  <a:pt x="222" y="432"/>
                </a:lnTo>
                <a:lnTo>
                  <a:pt x="222" y="432"/>
                </a:lnTo>
                <a:lnTo>
                  <a:pt x="222" y="426"/>
                </a:lnTo>
                <a:lnTo>
                  <a:pt x="222" y="426"/>
                </a:lnTo>
                <a:lnTo>
                  <a:pt x="216" y="426"/>
                </a:lnTo>
                <a:lnTo>
                  <a:pt x="216" y="426"/>
                </a:lnTo>
                <a:lnTo>
                  <a:pt x="216" y="426"/>
                </a:lnTo>
                <a:lnTo>
                  <a:pt x="216" y="426"/>
                </a:lnTo>
                <a:lnTo>
                  <a:pt x="216" y="420"/>
                </a:lnTo>
                <a:lnTo>
                  <a:pt x="216" y="420"/>
                </a:lnTo>
                <a:lnTo>
                  <a:pt x="216" y="420"/>
                </a:lnTo>
                <a:lnTo>
                  <a:pt x="216" y="420"/>
                </a:lnTo>
                <a:lnTo>
                  <a:pt x="216" y="420"/>
                </a:lnTo>
                <a:lnTo>
                  <a:pt x="216" y="420"/>
                </a:lnTo>
                <a:lnTo>
                  <a:pt x="216" y="414"/>
                </a:lnTo>
                <a:lnTo>
                  <a:pt x="216" y="414"/>
                </a:lnTo>
                <a:lnTo>
                  <a:pt x="216" y="414"/>
                </a:lnTo>
                <a:lnTo>
                  <a:pt x="216" y="414"/>
                </a:lnTo>
                <a:lnTo>
                  <a:pt x="216" y="414"/>
                </a:lnTo>
                <a:lnTo>
                  <a:pt x="216" y="414"/>
                </a:lnTo>
                <a:lnTo>
                  <a:pt x="216" y="414"/>
                </a:lnTo>
                <a:lnTo>
                  <a:pt x="210" y="414"/>
                </a:lnTo>
                <a:lnTo>
                  <a:pt x="216" y="408"/>
                </a:lnTo>
                <a:lnTo>
                  <a:pt x="216" y="408"/>
                </a:lnTo>
                <a:lnTo>
                  <a:pt x="216" y="408"/>
                </a:lnTo>
                <a:lnTo>
                  <a:pt x="216" y="408"/>
                </a:lnTo>
                <a:lnTo>
                  <a:pt x="210" y="408"/>
                </a:lnTo>
                <a:lnTo>
                  <a:pt x="216" y="408"/>
                </a:lnTo>
                <a:lnTo>
                  <a:pt x="210" y="408"/>
                </a:lnTo>
                <a:lnTo>
                  <a:pt x="210" y="402"/>
                </a:lnTo>
                <a:lnTo>
                  <a:pt x="210" y="402"/>
                </a:lnTo>
                <a:lnTo>
                  <a:pt x="210" y="402"/>
                </a:lnTo>
                <a:lnTo>
                  <a:pt x="210" y="402"/>
                </a:lnTo>
                <a:lnTo>
                  <a:pt x="210" y="402"/>
                </a:lnTo>
                <a:lnTo>
                  <a:pt x="204" y="402"/>
                </a:lnTo>
                <a:lnTo>
                  <a:pt x="204" y="402"/>
                </a:lnTo>
                <a:lnTo>
                  <a:pt x="204" y="402"/>
                </a:lnTo>
                <a:lnTo>
                  <a:pt x="204" y="402"/>
                </a:lnTo>
                <a:lnTo>
                  <a:pt x="204" y="402"/>
                </a:lnTo>
                <a:lnTo>
                  <a:pt x="198" y="402"/>
                </a:lnTo>
                <a:lnTo>
                  <a:pt x="204" y="402"/>
                </a:lnTo>
                <a:lnTo>
                  <a:pt x="198" y="402"/>
                </a:lnTo>
                <a:lnTo>
                  <a:pt x="198" y="402"/>
                </a:lnTo>
                <a:lnTo>
                  <a:pt x="198" y="396"/>
                </a:lnTo>
                <a:lnTo>
                  <a:pt x="198" y="396"/>
                </a:lnTo>
                <a:lnTo>
                  <a:pt x="198" y="396"/>
                </a:lnTo>
                <a:lnTo>
                  <a:pt x="198" y="396"/>
                </a:lnTo>
                <a:lnTo>
                  <a:pt x="198" y="396"/>
                </a:lnTo>
                <a:lnTo>
                  <a:pt x="198" y="396"/>
                </a:lnTo>
                <a:lnTo>
                  <a:pt x="198" y="396"/>
                </a:lnTo>
                <a:lnTo>
                  <a:pt x="198" y="396"/>
                </a:lnTo>
                <a:lnTo>
                  <a:pt x="198" y="396"/>
                </a:lnTo>
                <a:lnTo>
                  <a:pt x="198" y="396"/>
                </a:lnTo>
                <a:lnTo>
                  <a:pt x="198" y="396"/>
                </a:lnTo>
                <a:lnTo>
                  <a:pt x="198" y="396"/>
                </a:lnTo>
                <a:lnTo>
                  <a:pt x="198" y="396"/>
                </a:lnTo>
                <a:lnTo>
                  <a:pt x="198" y="396"/>
                </a:lnTo>
                <a:lnTo>
                  <a:pt x="198" y="390"/>
                </a:lnTo>
                <a:lnTo>
                  <a:pt x="198" y="390"/>
                </a:lnTo>
                <a:lnTo>
                  <a:pt x="198" y="390"/>
                </a:lnTo>
                <a:lnTo>
                  <a:pt x="198" y="390"/>
                </a:lnTo>
                <a:lnTo>
                  <a:pt x="198" y="390"/>
                </a:lnTo>
                <a:lnTo>
                  <a:pt x="198" y="390"/>
                </a:lnTo>
                <a:lnTo>
                  <a:pt x="198" y="390"/>
                </a:lnTo>
                <a:lnTo>
                  <a:pt x="198" y="390"/>
                </a:lnTo>
                <a:lnTo>
                  <a:pt x="198" y="390"/>
                </a:lnTo>
                <a:lnTo>
                  <a:pt x="198" y="390"/>
                </a:lnTo>
                <a:lnTo>
                  <a:pt x="198" y="390"/>
                </a:lnTo>
                <a:lnTo>
                  <a:pt x="198" y="390"/>
                </a:lnTo>
                <a:lnTo>
                  <a:pt x="198" y="390"/>
                </a:lnTo>
                <a:lnTo>
                  <a:pt x="198" y="390"/>
                </a:lnTo>
                <a:lnTo>
                  <a:pt x="198" y="390"/>
                </a:lnTo>
                <a:lnTo>
                  <a:pt x="198" y="390"/>
                </a:lnTo>
                <a:lnTo>
                  <a:pt x="198" y="390"/>
                </a:lnTo>
                <a:lnTo>
                  <a:pt x="198" y="384"/>
                </a:lnTo>
                <a:lnTo>
                  <a:pt x="198" y="384"/>
                </a:lnTo>
                <a:lnTo>
                  <a:pt x="198" y="384"/>
                </a:lnTo>
                <a:lnTo>
                  <a:pt x="198" y="384"/>
                </a:lnTo>
                <a:lnTo>
                  <a:pt x="198" y="384"/>
                </a:lnTo>
                <a:lnTo>
                  <a:pt x="198" y="384"/>
                </a:lnTo>
                <a:lnTo>
                  <a:pt x="198" y="384"/>
                </a:lnTo>
                <a:lnTo>
                  <a:pt x="198" y="384"/>
                </a:lnTo>
                <a:lnTo>
                  <a:pt x="198" y="378"/>
                </a:lnTo>
                <a:lnTo>
                  <a:pt x="198" y="378"/>
                </a:lnTo>
                <a:lnTo>
                  <a:pt x="198" y="378"/>
                </a:lnTo>
                <a:lnTo>
                  <a:pt x="198" y="378"/>
                </a:lnTo>
                <a:lnTo>
                  <a:pt x="198" y="378"/>
                </a:lnTo>
                <a:lnTo>
                  <a:pt x="192" y="372"/>
                </a:lnTo>
                <a:lnTo>
                  <a:pt x="198" y="372"/>
                </a:lnTo>
                <a:lnTo>
                  <a:pt x="198" y="372"/>
                </a:lnTo>
                <a:lnTo>
                  <a:pt x="198" y="372"/>
                </a:lnTo>
                <a:lnTo>
                  <a:pt x="198" y="372"/>
                </a:lnTo>
                <a:lnTo>
                  <a:pt x="198" y="372"/>
                </a:lnTo>
                <a:lnTo>
                  <a:pt x="198" y="372"/>
                </a:lnTo>
                <a:lnTo>
                  <a:pt x="198" y="366"/>
                </a:lnTo>
                <a:lnTo>
                  <a:pt x="198" y="366"/>
                </a:lnTo>
                <a:lnTo>
                  <a:pt x="198" y="366"/>
                </a:lnTo>
                <a:lnTo>
                  <a:pt x="198" y="366"/>
                </a:lnTo>
                <a:lnTo>
                  <a:pt x="198" y="366"/>
                </a:lnTo>
                <a:lnTo>
                  <a:pt x="198" y="366"/>
                </a:lnTo>
                <a:lnTo>
                  <a:pt x="198" y="366"/>
                </a:lnTo>
                <a:lnTo>
                  <a:pt x="198" y="360"/>
                </a:lnTo>
                <a:lnTo>
                  <a:pt x="198" y="360"/>
                </a:lnTo>
                <a:lnTo>
                  <a:pt x="198" y="360"/>
                </a:lnTo>
                <a:lnTo>
                  <a:pt x="198" y="360"/>
                </a:lnTo>
                <a:lnTo>
                  <a:pt x="198" y="360"/>
                </a:lnTo>
                <a:lnTo>
                  <a:pt x="198" y="360"/>
                </a:lnTo>
                <a:lnTo>
                  <a:pt x="198" y="360"/>
                </a:lnTo>
                <a:lnTo>
                  <a:pt x="198" y="360"/>
                </a:lnTo>
                <a:lnTo>
                  <a:pt x="198" y="360"/>
                </a:lnTo>
                <a:lnTo>
                  <a:pt x="198" y="360"/>
                </a:lnTo>
                <a:lnTo>
                  <a:pt x="198" y="360"/>
                </a:lnTo>
                <a:lnTo>
                  <a:pt x="198" y="360"/>
                </a:lnTo>
                <a:lnTo>
                  <a:pt x="198" y="360"/>
                </a:lnTo>
                <a:lnTo>
                  <a:pt x="198" y="360"/>
                </a:lnTo>
                <a:lnTo>
                  <a:pt x="198" y="360"/>
                </a:lnTo>
                <a:lnTo>
                  <a:pt x="204" y="354"/>
                </a:lnTo>
                <a:lnTo>
                  <a:pt x="204" y="354"/>
                </a:lnTo>
                <a:lnTo>
                  <a:pt x="204" y="354"/>
                </a:lnTo>
                <a:lnTo>
                  <a:pt x="210" y="354"/>
                </a:lnTo>
                <a:lnTo>
                  <a:pt x="204" y="348"/>
                </a:lnTo>
                <a:lnTo>
                  <a:pt x="204" y="348"/>
                </a:lnTo>
                <a:lnTo>
                  <a:pt x="210" y="348"/>
                </a:lnTo>
                <a:lnTo>
                  <a:pt x="210" y="348"/>
                </a:lnTo>
                <a:lnTo>
                  <a:pt x="210" y="348"/>
                </a:lnTo>
                <a:lnTo>
                  <a:pt x="210" y="348"/>
                </a:lnTo>
                <a:lnTo>
                  <a:pt x="210" y="348"/>
                </a:lnTo>
                <a:lnTo>
                  <a:pt x="216" y="342"/>
                </a:lnTo>
                <a:lnTo>
                  <a:pt x="216" y="342"/>
                </a:lnTo>
                <a:lnTo>
                  <a:pt x="216" y="342"/>
                </a:lnTo>
                <a:lnTo>
                  <a:pt x="216" y="342"/>
                </a:lnTo>
                <a:lnTo>
                  <a:pt x="222" y="342"/>
                </a:lnTo>
                <a:lnTo>
                  <a:pt x="222" y="342"/>
                </a:lnTo>
                <a:lnTo>
                  <a:pt x="222" y="342"/>
                </a:lnTo>
                <a:lnTo>
                  <a:pt x="222" y="336"/>
                </a:lnTo>
                <a:lnTo>
                  <a:pt x="222" y="336"/>
                </a:lnTo>
                <a:lnTo>
                  <a:pt x="222" y="336"/>
                </a:lnTo>
                <a:lnTo>
                  <a:pt x="222" y="336"/>
                </a:lnTo>
                <a:lnTo>
                  <a:pt x="222" y="330"/>
                </a:lnTo>
                <a:lnTo>
                  <a:pt x="222" y="330"/>
                </a:lnTo>
                <a:lnTo>
                  <a:pt x="222" y="330"/>
                </a:lnTo>
                <a:lnTo>
                  <a:pt x="222" y="330"/>
                </a:lnTo>
                <a:lnTo>
                  <a:pt x="222" y="324"/>
                </a:lnTo>
                <a:lnTo>
                  <a:pt x="216" y="324"/>
                </a:lnTo>
                <a:lnTo>
                  <a:pt x="216" y="324"/>
                </a:lnTo>
                <a:lnTo>
                  <a:pt x="216" y="324"/>
                </a:lnTo>
                <a:lnTo>
                  <a:pt x="216" y="318"/>
                </a:lnTo>
                <a:lnTo>
                  <a:pt x="216" y="318"/>
                </a:lnTo>
                <a:lnTo>
                  <a:pt x="216" y="318"/>
                </a:lnTo>
                <a:lnTo>
                  <a:pt x="210" y="312"/>
                </a:lnTo>
                <a:lnTo>
                  <a:pt x="216" y="312"/>
                </a:lnTo>
                <a:lnTo>
                  <a:pt x="216" y="312"/>
                </a:lnTo>
                <a:lnTo>
                  <a:pt x="216" y="312"/>
                </a:lnTo>
                <a:lnTo>
                  <a:pt x="216" y="312"/>
                </a:lnTo>
                <a:lnTo>
                  <a:pt x="216" y="312"/>
                </a:lnTo>
                <a:lnTo>
                  <a:pt x="216" y="312"/>
                </a:lnTo>
                <a:lnTo>
                  <a:pt x="216" y="312"/>
                </a:lnTo>
                <a:lnTo>
                  <a:pt x="216" y="312"/>
                </a:lnTo>
                <a:lnTo>
                  <a:pt x="216" y="312"/>
                </a:lnTo>
                <a:lnTo>
                  <a:pt x="216" y="312"/>
                </a:lnTo>
                <a:lnTo>
                  <a:pt x="210" y="306"/>
                </a:lnTo>
                <a:lnTo>
                  <a:pt x="210" y="306"/>
                </a:lnTo>
                <a:lnTo>
                  <a:pt x="210" y="306"/>
                </a:lnTo>
                <a:lnTo>
                  <a:pt x="210" y="306"/>
                </a:lnTo>
                <a:lnTo>
                  <a:pt x="210" y="306"/>
                </a:lnTo>
                <a:lnTo>
                  <a:pt x="210" y="306"/>
                </a:lnTo>
                <a:lnTo>
                  <a:pt x="210" y="306"/>
                </a:lnTo>
                <a:lnTo>
                  <a:pt x="216" y="306"/>
                </a:lnTo>
                <a:lnTo>
                  <a:pt x="216" y="300"/>
                </a:lnTo>
                <a:lnTo>
                  <a:pt x="210" y="300"/>
                </a:lnTo>
                <a:lnTo>
                  <a:pt x="210" y="300"/>
                </a:lnTo>
                <a:lnTo>
                  <a:pt x="210" y="300"/>
                </a:lnTo>
                <a:lnTo>
                  <a:pt x="210" y="300"/>
                </a:lnTo>
                <a:lnTo>
                  <a:pt x="210" y="300"/>
                </a:lnTo>
                <a:lnTo>
                  <a:pt x="210" y="300"/>
                </a:lnTo>
                <a:lnTo>
                  <a:pt x="210" y="306"/>
                </a:lnTo>
                <a:lnTo>
                  <a:pt x="204" y="300"/>
                </a:lnTo>
                <a:lnTo>
                  <a:pt x="204" y="300"/>
                </a:lnTo>
                <a:lnTo>
                  <a:pt x="204" y="300"/>
                </a:lnTo>
                <a:lnTo>
                  <a:pt x="204" y="300"/>
                </a:lnTo>
                <a:lnTo>
                  <a:pt x="204" y="300"/>
                </a:lnTo>
                <a:lnTo>
                  <a:pt x="198" y="300"/>
                </a:lnTo>
                <a:lnTo>
                  <a:pt x="198" y="300"/>
                </a:lnTo>
                <a:lnTo>
                  <a:pt x="198" y="300"/>
                </a:lnTo>
                <a:lnTo>
                  <a:pt x="198" y="300"/>
                </a:lnTo>
                <a:lnTo>
                  <a:pt x="198" y="300"/>
                </a:lnTo>
                <a:lnTo>
                  <a:pt x="198" y="300"/>
                </a:lnTo>
                <a:lnTo>
                  <a:pt x="198" y="300"/>
                </a:lnTo>
                <a:lnTo>
                  <a:pt x="192" y="300"/>
                </a:lnTo>
                <a:lnTo>
                  <a:pt x="192" y="300"/>
                </a:lnTo>
                <a:lnTo>
                  <a:pt x="192" y="300"/>
                </a:lnTo>
                <a:lnTo>
                  <a:pt x="192" y="300"/>
                </a:lnTo>
                <a:lnTo>
                  <a:pt x="192" y="300"/>
                </a:lnTo>
                <a:lnTo>
                  <a:pt x="186" y="300"/>
                </a:lnTo>
                <a:lnTo>
                  <a:pt x="186" y="300"/>
                </a:lnTo>
                <a:lnTo>
                  <a:pt x="186" y="300"/>
                </a:lnTo>
                <a:lnTo>
                  <a:pt x="186" y="300"/>
                </a:lnTo>
                <a:lnTo>
                  <a:pt x="186" y="300"/>
                </a:lnTo>
                <a:lnTo>
                  <a:pt x="180" y="300"/>
                </a:lnTo>
                <a:lnTo>
                  <a:pt x="180" y="300"/>
                </a:lnTo>
                <a:lnTo>
                  <a:pt x="180" y="300"/>
                </a:lnTo>
                <a:lnTo>
                  <a:pt x="174" y="300"/>
                </a:lnTo>
                <a:lnTo>
                  <a:pt x="174" y="300"/>
                </a:lnTo>
                <a:lnTo>
                  <a:pt x="174" y="300"/>
                </a:lnTo>
                <a:lnTo>
                  <a:pt x="174" y="294"/>
                </a:lnTo>
                <a:lnTo>
                  <a:pt x="174" y="294"/>
                </a:lnTo>
                <a:lnTo>
                  <a:pt x="174" y="294"/>
                </a:lnTo>
                <a:lnTo>
                  <a:pt x="174" y="294"/>
                </a:lnTo>
                <a:lnTo>
                  <a:pt x="174" y="294"/>
                </a:lnTo>
                <a:lnTo>
                  <a:pt x="174" y="294"/>
                </a:lnTo>
                <a:lnTo>
                  <a:pt x="168" y="294"/>
                </a:lnTo>
                <a:lnTo>
                  <a:pt x="168" y="294"/>
                </a:lnTo>
                <a:lnTo>
                  <a:pt x="168" y="294"/>
                </a:lnTo>
                <a:lnTo>
                  <a:pt x="168" y="294"/>
                </a:lnTo>
                <a:lnTo>
                  <a:pt x="168" y="294"/>
                </a:lnTo>
                <a:lnTo>
                  <a:pt x="168" y="300"/>
                </a:lnTo>
                <a:lnTo>
                  <a:pt x="168" y="300"/>
                </a:lnTo>
                <a:lnTo>
                  <a:pt x="168" y="300"/>
                </a:lnTo>
                <a:lnTo>
                  <a:pt x="162" y="300"/>
                </a:lnTo>
                <a:lnTo>
                  <a:pt x="162" y="300"/>
                </a:lnTo>
                <a:lnTo>
                  <a:pt x="162" y="300"/>
                </a:lnTo>
                <a:lnTo>
                  <a:pt x="162" y="300"/>
                </a:lnTo>
                <a:lnTo>
                  <a:pt x="162" y="300"/>
                </a:lnTo>
                <a:lnTo>
                  <a:pt x="162" y="294"/>
                </a:lnTo>
                <a:lnTo>
                  <a:pt x="156" y="294"/>
                </a:lnTo>
                <a:lnTo>
                  <a:pt x="156" y="294"/>
                </a:lnTo>
                <a:lnTo>
                  <a:pt x="156" y="294"/>
                </a:lnTo>
                <a:lnTo>
                  <a:pt x="156" y="294"/>
                </a:lnTo>
                <a:lnTo>
                  <a:pt x="156" y="294"/>
                </a:lnTo>
                <a:lnTo>
                  <a:pt x="156" y="294"/>
                </a:lnTo>
                <a:lnTo>
                  <a:pt x="156" y="288"/>
                </a:lnTo>
                <a:lnTo>
                  <a:pt x="156" y="294"/>
                </a:lnTo>
                <a:lnTo>
                  <a:pt x="150" y="294"/>
                </a:lnTo>
                <a:lnTo>
                  <a:pt x="156" y="288"/>
                </a:lnTo>
                <a:lnTo>
                  <a:pt x="156" y="288"/>
                </a:lnTo>
                <a:lnTo>
                  <a:pt x="150" y="288"/>
                </a:lnTo>
                <a:lnTo>
                  <a:pt x="150" y="288"/>
                </a:lnTo>
                <a:lnTo>
                  <a:pt x="150" y="282"/>
                </a:lnTo>
                <a:lnTo>
                  <a:pt x="78" y="282"/>
                </a:lnTo>
                <a:lnTo>
                  <a:pt x="78" y="288"/>
                </a:lnTo>
                <a:lnTo>
                  <a:pt x="24" y="282"/>
                </a:lnTo>
                <a:lnTo>
                  <a:pt x="12" y="282"/>
                </a:lnTo>
                <a:lnTo>
                  <a:pt x="6" y="282"/>
                </a:lnTo>
                <a:lnTo>
                  <a:pt x="12" y="282"/>
                </a:lnTo>
                <a:lnTo>
                  <a:pt x="12" y="282"/>
                </a:lnTo>
                <a:lnTo>
                  <a:pt x="12" y="282"/>
                </a:lnTo>
                <a:lnTo>
                  <a:pt x="12" y="282"/>
                </a:lnTo>
                <a:lnTo>
                  <a:pt x="12" y="282"/>
                </a:lnTo>
                <a:lnTo>
                  <a:pt x="12" y="276"/>
                </a:lnTo>
                <a:lnTo>
                  <a:pt x="12" y="276"/>
                </a:lnTo>
                <a:lnTo>
                  <a:pt x="12" y="276"/>
                </a:lnTo>
                <a:lnTo>
                  <a:pt x="12" y="276"/>
                </a:lnTo>
                <a:lnTo>
                  <a:pt x="12" y="276"/>
                </a:lnTo>
                <a:lnTo>
                  <a:pt x="12" y="270"/>
                </a:lnTo>
                <a:lnTo>
                  <a:pt x="12" y="270"/>
                </a:lnTo>
                <a:lnTo>
                  <a:pt x="12" y="270"/>
                </a:lnTo>
                <a:lnTo>
                  <a:pt x="12" y="270"/>
                </a:lnTo>
                <a:lnTo>
                  <a:pt x="12" y="264"/>
                </a:lnTo>
                <a:lnTo>
                  <a:pt x="12" y="264"/>
                </a:lnTo>
                <a:lnTo>
                  <a:pt x="12" y="264"/>
                </a:lnTo>
                <a:lnTo>
                  <a:pt x="18" y="264"/>
                </a:lnTo>
                <a:lnTo>
                  <a:pt x="12" y="258"/>
                </a:lnTo>
                <a:lnTo>
                  <a:pt x="12" y="258"/>
                </a:lnTo>
                <a:lnTo>
                  <a:pt x="12" y="258"/>
                </a:lnTo>
                <a:lnTo>
                  <a:pt x="18" y="258"/>
                </a:lnTo>
                <a:lnTo>
                  <a:pt x="18" y="258"/>
                </a:lnTo>
                <a:lnTo>
                  <a:pt x="18" y="258"/>
                </a:lnTo>
                <a:lnTo>
                  <a:pt x="18" y="258"/>
                </a:lnTo>
                <a:lnTo>
                  <a:pt x="18" y="258"/>
                </a:lnTo>
                <a:lnTo>
                  <a:pt x="18" y="258"/>
                </a:lnTo>
                <a:lnTo>
                  <a:pt x="18" y="258"/>
                </a:lnTo>
                <a:lnTo>
                  <a:pt x="18" y="252"/>
                </a:lnTo>
                <a:lnTo>
                  <a:pt x="18" y="252"/>
                </a:lnTo>
                <a:lnTo>
                  <a:pt x="18" y="252"/>
                </a:lnTo>
                <a:lnTo>
                  <a:pt x="18" y="252"/>
                </a:lnTo>
                <a:lnTo>
                  <a:pt x="18" y="252"/>
                </a:lnTo>
                <a:lnTo>
                  <a:pt x="18" y="246"/>
                </a:lnTo>
                <a:lnTo>
                  <a:pt x="18" y="246"/>
                </a:lnTo>
                <a:lnTo>
                  <a:pt x="18" y="246"/>
                </a:lnTo>
                <a:lnTo>
                  <a:pt x="18" y="246"/>
                </a:lnTo>
                <a:lnTo>
                  <a:pt x="18" y="246"/>
                </a:lnTo>
                <a:lnTo>
                  <a:pt x="18" y="246"/>
                </a:lnTo>
                <a:lnTo>
                  <a:pt x="18" y="246"/>
                </a:lnTo>
                <a:lnTo>
                  <a:pt x="18" y="240"/>
                </a:lnTo>
                <a:lnTo>
                  <a:pt x="18" y="240"/>
                </a:lnTo>
                <a:lnTo>
                  <a:pt x="18" y="240"/>
                </a:lnTo>
                <a:lnTo>
                  <a:pt x="18" y="240"/>
                </a:lnTo>
                <a:lnTo>
                  <a:pt x="18" y="240"/>
                </a:lnTo>
                <a:lnTo>
                  <a:pt x="18" y="234"/>
                </a:lnTo>
                <a:lnTo>
                  <a:pt x="18" y="234"/>
                </a:lnTo>
                <a:lnTo>
                  <a:pt x="18" y="234"/>
                </a:lnTo>
                <a:lnTo>
                  <a:pt x="18" y="228"/>
                </a:lnTo>
                <a:lnTo>
                  <a:pt x="18" y="228"/>
                </a:lnTo>
                <a:lnTo>
                  <a:pt x="18" y="228"/>
                </a:lnTo>
                <a:lnTo>
                  <a:pt x="18" y="222"/>
                </a:lnTo>
                <a:lnTo>
                  <a:pt x="18" y="222"/>
                </a:lnTo>
                <a:lnTo>
                  <a:pt x="18" y="216"/>
                </a:lnTo>
                <a:lnTo>
                  <a:pt x="18" y="216"/>
                </a:lnTo>
                <a:lnTo>
                  <a:pt x="18" y="216"/>
                </a:lnTo>
                <a:lnTo>
                  <a:pt x="18" y="210"/>
                </a:lnTo>
                <a:lnTo>
                  <a:pt x="18" y="210"/>
                </a:lnTo>
                <a:lnTo>
                  <a:pt x="18" y="210"/>
                </a:lnTo>
                <a:lnTo>
                  <a:pt x="18" y="210"/>
                </a:lnTo>
                <a:lnTo>
                  <a:pt x="18" y="210"/>
                </a:lnTo>
                <a:lnTo>
                  <a:pt x="18" y="210"/>
                </a:lnTo>
                <a:lnTo>
                  <a:pt x="18" y="210"/>
                </a:lnTo>
                <a:lnTo>
                  <a:pt x="18" y="204"/>
                </a:lnTo>
                <a:lnTo>
                  <a:pt x="18" y="204"/>
                </a:lnTo>
                <a:lnTo>
                  <a:pt x="18" y="204"/>
                </a:lnTo>
                <a:lnTo>
                  <a:pt x="18" y="204"/>
                </a:lnTo>
                <a:lnTo>
                  <a:pt x="12" y="204"/>
                </a:lnTo>
                <a:lnTo>
                  <a:pt x="12" y="198"/>
                </a:lnTo>
                <a:lnTo>
                  <a:pt x="12" y="198"/>
                </a:lnTo>
                <a:lnTo>
                  <a:pt x="12" y="198"/>
                </a:lnTo>
                <a:lnTo>
                  <a:pt x="12" y="198"/>
                </a:lnTo>
                <a:lnTo>
                  <a:pt x="12" y="198"/>
                </a:lnTo>
                <a:lnTo>
                  <a:pt x="6" y="198"/>
                </a:lnTo>
                <a:lnTo>
                  <a:pt x="12" y="198"/>
                </a:lnTo>
                <a:lnTo>
                  <a:pt x="6" y="192"/>
                </a:lnTo>
                <a:lnTo>
                  <a:pt x="6" y="192"/>
                </a:lnTo>
                <a:lnTo>
                  <a:pt x="6" y="186"/>
                </a:lnTo>
                <a:lnTo>
                  <a:pt x="6" y="186"/>
                </a:lnTo>
                <a:lnTo>
                  <a:pt x="6" y="186"/>
                </a:lnTo>
                <a:lnTo>
                  <a:pt x="6" y="186"/>
                </a:lnTo>
                <a:lnTo>
                  <a:pt x="6" y="180"/>
                </a:lnTo>
                <a:lnTo>
                  <a:pt x="6" y="180"/>
                </a:lnTo>
                <a:lnTo>
                  <a:pt x="6" y="180"/>
                </a:lnTo>
                <a:lnTo>
                  <a:pt x="6" y="180"/>
                </a:lnTo>
                <a:lnTo>
                  <a:pt x="6" y="180"/>
                </a:lnTo>
                <a:lnTo>
                  <a:pt x="6" y="180"/>
                </a:lnTo>
                <a:lnTo>
                  <a:pt x="6" y="174"/>
                </a:lnTo>
                <a:lnTo>
                  <a:pt x="0" y="174"/>
                </a:lnTo>
                <a:lnTo>
                  <a:pt x="0" y="174"/>
                </a:lnTo>
                <a:lnTo>
                  <a:pt x="0" y="174"/>
                </a:lnTo>
                <a:lnTo>
                  <a:pt x="6" y="174"/>
                </a:lnTo>
                <a:lnTo>
                  <a:pt x="6" y="168"/>
                </a:lnTo>
                <a:lnTo>
                  <a:pt x="6" y="168"/>
                </a:lnTo>
                <a:lnTo>
                  <a:pt x="6" y="168"/>
                </a:lnTo>
                <a:lnTo>
                  <a:pt x="6" y="168"/>
                </a:lnTo>
                <a:lnTo>
                  <a:pt x="6" y="162"/>
                </a:lnTo>
                <a:lnTo>
                  <a:pt x="6" y="162"/>
                </a:lnTo>
                <a:lnTo>
                  <a:pt x="6" y="162"/>
                </a:lnTo>
                <a:lnTo>
                  <a:pt x="6" y="162"/>
                </a:lnTo>
                <a:lnTo>
                  <a:pt x="12" y="156"/>
                </a:lnTo>
                <a:lnTo>
                  <a:pt x="12" y="156"/>
                </a:lnTo>
                <a:lnTo>
                  <a:pt x="12" y="156"/>
                </a:lnTo>
                <a:lnTo>
                  <a:pt x="12" y="156"/>
                </a:lnTo>
                <a:lnTo>
                  <a:pt x="12" y="150"/>
                </a:lnTo>
                <a:lnTo>
                  <a:pt x="12" y="150"/>
                </a:lnTo>
                <a:lnTo>
                  <a:pt x="12" y="150"/>
                </a:lnTo>
                <a:lnTo>
                  <a:pt x="12" y="150"/>
                </a:lnTo>
                <a:lnTo>
                  <a:pt x="12" y="150"/>
                </a:lnTo>
                <a:lnTo>
                  <a:pt x="12" y="150"/>
                </a:lnTo>
                <a:lnTo>
                  <a:pt x="12" y="144"/>
                </a:lnTo>
                <a:lnTo>
                  <a:pt x="12" y="144"/>
                </a:lnTo>
                <a:lnTo>
                  <a:pt x="12" y="144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14"/>
                </a:lnTo>
                <a:lnTo>
                  <a:pt x="12" y="114"/>
                </a:lnTo>
                <a:lnTo>
                  <a:pt x="18" y="114"/>
                </a:lnTo>
                <a:lnTo>
                  <a:pt x="12" y="114"/>
                </a:lnTo>
                <a:lnTo>
                  <a:pt x="18" y="114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83" name="Freeform 516"/>
          <p:cNvSpPr>
            <a:spLocks/>
          </p:cNvSpPr>
          <p:nvPr/>
        </p:nvSpPr>
        <p:spPr bwMode="auto">
          <a:xfrm>
            <a:off x="5483531" y="3216358"/>
            <a:ext cx="462532" cy="379022"/>
          </a:xfrm>
          <a:custGeom>
            <a:avLst/>
            <a:gdLst>
              <a:gd name="T0" fmla="*/ 18 w 432"/>
              <a:gd name="T1" fmla="*/ 120 h 354"/>
              <a:gd name="T2" fmla="*/ 54 w 432"/>
              <a:gd name="T3" fmla="*/ 96 h 354"/>
              <a:gd name="T4" fmla="*/ 66 w 432"/>
              <a:gd name="T5" fmla="*/ 108 h 354"/>
              <a:gd name="T6" fmla="*/ 78 w 432"/>
              <a:gd name="T7" fmla="*/ 114 h 354"/>
              <a:gd name="T8" fmla="*/ 84 w 432"/>
              <a:gd name="T9" fmla="*/ 96 h 354"/>
              <a:gd name="T10" fmla="*/ 108 w 432"/>
              <a:gd name="T11" fmla="*/ 78 h 354"/>
              <a:gd name="T12" fmla="*/ 114 w 432"/>
              <a:gd name="T13" fmla="*/ 48 h 354"/>
              <a:gd name="T14" fmla="*/ 126 w 432"/>
              <a:gd name="T15" fmla="*/ 48 h 354"/>
              <a:gd name="T16" fmla="*/ 132 w 432"/>
              <a:gd name="T17" fmla="*/ 60 h 354"/>
              <a:gd name="T18" fmla="*/ 132 w 432"/>
              <a:gd name="T19" fmla="*/ 72 h 354"/>
              <a:gd name="T20" fmla="*/ 132 w 432"/>
              <a:gd name="T21" fmla="*/ 78 h 354"/>
              <a:gd name="T22" fmla="*/ 138 w 432"/>
              <a:gd name="T23" fmla="*/ 96 h 354"/>
              <a:gd name="T24" fmla="*/ 138 w 432"/>
              <a:gd name="T25" fmla="*/ 102 h 354"/>
              <a:gd name="T26" fmla="*/ 144 w 432"/>
              <a:gd name="T27" fmla="*/ 108 h 354"/>
              <a:gd name="T28" fmla="*/ 150 w 432"/>
              <a:gd name="T29" fmla="*/ 90 h 354"/>
              <a:gd name="T30" fmla="*/ 150 w 432"/>
              <a:gd name="T31" fmla="*/ 78 h 354"/>
              <a:gd name="T32" fmla="*/ 144 w 432"/>
              <a:gd name="T33" fmla="*/ 72 h 354"/>
              <a:gd name="T34" fmla="*/ 144 w 432"/>
              <a:gd name="T35" fmla="*/ 18 h 354"/>
              <a:gd name="T36" fmla="*/ 156 w 432"/>
              <a:gd name="T37" fmla="*/ 24 h 354"/>
              <a:gd name="T38" fmla="*/ 168 w 432"/>
              <a:gd name="T39" fmla="*/ 66 h 354"/>
              <a:gd name="T40" fmla="*/ 168 w 432"/>
              <a:gd name="T41" fmla="*/ 72 h 354"/>
              <a:gd name="T42" fmla="*/ 186 w 432"/>
              <a:gd name="T43" fmla="*/ 72 h 354"/>
              <a:gd name="T44" fmla="*/ 204 w 432"/>
              <a:gd name="T45" fmla="*/ 84 h 354"/>
              <a:gd name="T46" fmla="*/ 234 w 432"/>
              <a:gd name="T47" fmla="*/ 84 h 354"/>
              <a:gd name="T48" fmla="*/ 252 w 432"/>
              <a:gd name="T49" fmla="*/ 84 h 354"/>
              <a:gd name="T50" fmla="*/ 306 w 432"/>
              <a:gd name="T51" fmla="*/ 78 h 354"/>
              <a:gd name="T52" fmla="*/ 294 w 432"/>
              <a:gd name="T53" fmla="*/ 102 h 354"/>
              <a:gd name="T54" fmla="*/ 318 w 432"/>
              <a:gd name="T55" fmla="*/ 120 h 354"/>
              <a:gd name="T56" fmla="*/ 306 w 432"/>
              <a:gd name="T57" fmla="*/ 138 h 354"/>
              <a:gd name="T58" fmla="*/ 306 w 432"/>
              <a:gd name="T59" fmla="*/ 144 h 354"/>
              <a:gd name="T60" fmla="*/ 336 w 432"/>
              <a:gd name="T61" fmla="*/ 138 h 354"/>
              <a:gd name="T62" fmla="*/ 330 w 432"/>
              <a:gd name="T63" fmla="*/ 162 h 354"/>
              <a:gd name="T64" fmla="*/ 342 w 432"/>
              <a:gd name="T65" fmla="*/ 156 h 354"/>
              <a:gd name="T66" fmla="*/ 354 w 432"/>
              <a:gd name="T67" fmla="*/ 150 h 354"/>
              <a:gd name="T68" fmla="*/ 360 w 432"/>
              <a:gd name="T69" fmla="*/ 144 h 354"/>
              <a:gd name="T70" fmla="*/ 366 w 432"/>
              <a:gd name="T71" fmla="*/ 132 h 354"/>
              <a:gd name="T72" fmla="*/ 396 w 432"/>
              <a:gd name="T73" fmla="*/ 144 h 354"/>
              <a:gd name="T74" fmla="*/ 414 w 432"/>
              <a:gd name="T75" fmla="*/ 150 h 354"/>
              <a:gd name="T76" fmla="*/ 414 w 432"/>
              <a:gd name="T77" fmla="*/ 288 h 354"/>
              <a:gd name="T78" fmla="*/ 402 w 432"/>
              <a:gd name="T79" fmla="*/ 288 h 354"/>
              <a:gd name="T80" fmla="*/ 390 w 432"/>
              <a:gd name="T81" fmla="*/ 276 h 354"/>
              <a:gd name="T82" fmla="*/ 372 w 432"/>
              <a:gd name="T83" fmla="*/ 276 h 354"/>
              <a:gd name="T84" fmla="*/ 366 w 432"/>
              <a:gd name="T85" fmla="*/ 270 h 354"/>
              <a:gd name="T86" fmla="*/ 348 w 432"/>
              <a:gd name="T87" fmla="*/ 264 h 354"/>
              <a:gd name="T88" fmla="*/ 330 w 432"/>
              <a:gd name="T89" fmla="*/ 270 h 354"/>
              <a:gd name="T90" fmla="*/ 318 w 432"/>
              <a:gd name="T91" fmla="*/ 276 h 354"/>
              <a:gd name="T92" fmla="*/ 300 w 432"/>
              <a:gd name="T93" fmla="*/ 276 h 354"/>
              <a:gd name="T94" fmla="*/ 282 w 432"/>
              <a:gd name="T95" fmla="*/ 282 h 354"/>
              <a:gd name="T96" fmla="*/ 270 w 432"/>
              <a:gd name="T97" fmla="*/ 282 h 354"/>
              <a:gd name="T98" fmla="*/ 258 w 432"/>
              <a:gd name="T99" fmla="*/ 294 h 354"/>
              <a:gd name="T100" fmla="*/ 240 w 432"/>
              <a:gd name="T101" fmla="*/ 312 h 354"/>
              <a:gd name="T102" fmla="*/ 228 w 432"/>
              <a:gd name="T103" fmla="*/ 336 h 354"/>
              <a:gd name="T104" fmla="*/ 198 w 432"/>
              <a:gd name="T105" fmla="*/ 348 h 354"/>
              <a:gd name="T106" fmla="*/ 180 w 432"/>
              <a:gd name="T107" fmla="*/ 354 h 354"/>
              <a:gd name="T108" fmla="*/ 156 w 432"/>
              <a:gd name="T109" fmla="*/ 342 h 354"/>
              <a:gd name="T110" fmla="*/ 150 w 432"/>
              <a:gd name="T111" fmla="*/ 324 h 354"/>
              <a:gd name="T112" fmla="*/ 108 w 432"/>
              <a:gd name="T113" fmla="*/ 306 h 354"/>
              <a:gd name="T114" fmla="*/ 78 w 432"/>
              <a:gd name="T115" fmla="*/ 288 h 354"/>
              <a:gd name="T116" fmla="*/ 66 w 432"/>
              <a:gd name="T117" fmla="*/ 276 h 354"/>
              <a:gd name="T118" fmla="*/ 48 w 432"/>
              <a:gd name="T119" fmla="*/ 246 h 354"/>
              <a:gd name="T120" fmla="*/ 42 w 432"/>
              <a:gd name="T121" fmla="*/ 234 h 354"/>
              <a:gd name="T122" fmla="*/ 42 w 432"/>
              <a:gd name="T123" fmla="*/ 204 h 354"/>
              <a:gd name="T124" fmla="*/ 66 w 432"/>
              <a:gd name="T125" fmla="*/ 156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32" h="354">
                <a:moveTo>
                  <a:pt x="6" y="150"/>
                </a:moveTo>
                <a:lnTo>
                  <a:pt x="0" y="150"/>
                </a:lnTo>
                <a:lnTo>
                  <a:pt x="0" y="144"/>
                </a:lnTo>
                <a:lnTo>
                  <a:pt x="0" y="144"/>
                </a:lnTo>
                <a:lnTo>
                  <a:pt x="0" y="144"/>
                </a:lnTo>
                <a:lnTo>
                  <a:pt x="0" y="144"/>
                </a:lnTo>
                <a:lnTo>
                  <a:pt x="0" y="138"/>
                </a:lnTo>
                <a:lnTo>
                  <a:pt x="6" y="138"/>
                </a:lnTo>
                <a:lnTo>
                  <a:pt x="6" y="138"/>
                </a:lnTo>
                <a:lnTo>
                  <a:pt x="6" y="138"/>
                </a:lnTo>
                <a:lnTo>
                  <a:pt x="6" y="132"/>
                </a:lnTo>
                <a:lnTo>
                  <a:pt x="6" y="132"/>
                </a:lnTo>
                <a:lnTo>
                  <a:pt x="6" y="132"/>
                </a:lnTo>
                <a:lnTo>
                  <a:pt x="12" y="132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0"/>
                </a:lnTo>
                <a:lnTo>
                  <a:pt x="18" y="120"/>
                </a:lnTo>
                <a:lnTo>
                  <a:pt x="18" y="120"/>
                </a:lnTo>
                <a:lnTo>
                  <a:pt x="12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08"/>
                </a:lnTo>
                <a:lnTo>
                  <a:pt x="18" y="108"/>
                </a:lnTo>
                <a:lnTo>
                  <a:pt x="24" y="108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6" y="102"/>
                </a:lnTo>
                <a:lnTo>
                  <a:pt x="36" y="102"/>
                </a:lnTo>
                <a:lnTo>
                  <a:pt x="42" y="102"/>
                </a:lnTo>
                <a:lnTo>
                  <a:pt x="42" y="102"/>
                </a:lnTo>
                <a:lnTo>
                  <a:pt x="48" y="96"/>
                </a:lnTo>
                <a:lnTo>
                  <a:pt x="48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6" y="96"/>
                </a:lnTo>
                <a:lnTo>
                  <a:pt x="66" y="96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78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2"/>
                </a:lnTo>
                <a:lnTo>
                  <a:pt x="84" y="102"/>
                </a:lnTo>
                <a:lnTo>
                  <a:pt x="84" y="96"/>
                </a:lnTo>
                <a:lnTo>
                  <a:pt x="84" y="96"/>
                </a:lnTo>
                <a:lnTo>
                  <a:pt x="90" y="90"/>
                </a:lnTo>
                <a:lnTo>
                  <a:pt x="90" y="90"/>
                </a:lnTo>
                <a:lnTo>
                  <a:pt x="90" y="90"/>
                </a:lnTo>
                <a:lnTo>
                  <a:pt x="96" y="84"/>
                </a:lnTo>
                <a:lnTo>
                  <a:pt x="96" y="84"/>
                </a:lnTo>
                <a:lnTo>
                  <a:pt x="96" y="90"/>
                </a:lnTo>
                <a:lnTo>
                  <a:pt x="96" y="84"/>
                </a:lnTo>
                <a:lnTo>
                  <a:pt x="102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2"/>
                </a:lnTo>
                <a:lnTo>
                  <a:pt x="108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20" y="72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6" y="66"/>
                </a:lnTo>
                <a:lnTo>
                  <a:pt x="126" y="66"/>
                </a:lnTo>
                <a:lnTo>
                  <a:pt x="108" y="54"/>
                </a:lnTo>
                <a:lnTo>
                  <a:pt x="108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54"/>
                </a:lnTo>
                <a:lnTo>
                  <a:pt x="120" y="54"/>
                </a:lnTo>
                <a:lnTo>
                  <a:pt x="120" y="48"/>
                </a:lnTo>
                <a:lnTo>
                  <a:pt x="114" y="48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32" y="54"/>
                </a:lnTo>
                <a:lnTo>
                  <a:pt x="132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66"/>
                </a:lnTo>
                <a:lnTo>
                  <a:pt x="132" y="66"/>
                </a:lnTo>
                <a:lnTo>
                  <a:pt x="132" y="66"/>
                </a:lnTo>
                <a:lnTo>
                  <a:pt x="132" y="66"/>
                </a:lnTo>
                <a:lnTo>
                  <a:pt x="132" y="66"/>
                </a:lnTo>
                <a:lnTo>
                  <a:pt x="132" y="66"/>
                </a:lnTo>
                <a:lnTo>
                  <a:pt x="132" y="66"/>
                </a:lnTo>
                <a:lnTo>
                  <a:pt x="132" y="66"/>
                </a:lnTo>
                <a:lnTo>
                  <a:pt x="132" y="66"/>
                </a:lnTo>
                <a:lnTo>
                  <a:pt x="132" y="66"/>
                </a:lnTo>
                <a:lnTo>
                  <a:pt x="132" y="66"/>
                </a:lnTo>
                <a:lnTo>
                  <a:pt x="132" y="66"/>
                </a:lnTo>
                <a:lnTo>
                  <a:pt x="132" y="66"/>
                </a:lnTo>
                <a:lnTo>
                  <a:pt x="132" y="66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84"/>
                </a:lnTo>
                <a:lnTo>
                  <a:pt x="132" y="84"/>
                </a:lnTo>
                <a:lnTo>
                  <a:pt x="132" y="84"/>
                </a:lnTo>
                <a:lnTo>
                  <a:pt x="132" y="84"/>
                </a:lnTo>
                <a:lnTo>
                  <a:pt x="132" y="84"/>
                </a:lnTo>
                <a:lnTo>
                  <a:pt x="132" y="84"/>
                </a:lnTo>
                <a:lnTo>
                  <a:pt x="132" y="84"/>
                </a:lnTo>
                <a:lnTo>
                  <a:pt x="132" y="84"/>
                </a:lnTo>
                <a:lnTo>
                  <a:pt x="132" y="84"/>
                </a:lnTo>
                <a:lnTo>
                  <a:pt x="132" y="90"/>
                </a:lnTo>
                <a:lnTo>
                  <a:pt x="132" y="90"/>
                </a:lnTo>
                <a:lnTo>
                  <a:pt x="132" y="90"/>
                </a:lnTo>
                <a:lnTo>
                  <a:pt x="132" y="90"/>
                </a:lnTo>
                <a:lnTo>
                  <a:pt x="132" y="90"/>
                </a:lnTo>
                <a:lnTo>
                  <a:pt x="132" y="90"/>
                </a:lnTo>
                <a:lnTo>
                  <a:pt x="132" y="90"/>
                </a:lnTo>
                <a:lnTo>
                  <a:pt x="132" y="90"/>
                </a:lnTo>
                <a:lnTo>
                  <a:pt x="132" y="96"/>
                </a:lnTo>
                <a:lnTo>
                  <a:pt x="138" y="90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2"/>
                </a:lnTo>
                <a:lnTo>
                  <a:pt x="150" y="102"/>
                </a:lnTo>
                <a:lnTo>
                  <a:pt x="150" y="102"/>
                </a:lnTo>
                <a:lnTo>
                  <a:pt x="150" y="96"/>
                </a:lnTo>
                <a:lnTo>
                  <a:pt x="150" y="96"/>
                </a:lnTo>
                <a:lnTo>
                  <a:pt x="150" y="96"/>
                </a:lnTo>
                <a:lnTo>
                  <a:pt x="150" y="96"/>
                </a:lnTo>
                <a:lnTo>
                  <a:pt x="150" y="96"/>
                </a:lnTo>
                <a:lnTo>
                  <a:pt x="150" y="96"/>
                </a:lnTo>
                <a:lnTo>
                  <a:pt x="150" y="96"/>
                </a:lnTo>
                <a:lnTo>
                  <a:pt x="150" y="96"/>
                </a:lnTo>
                <a:lnTo>
                  <a:pt x="150" y="96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84"/>
                </a:lnTo>
                <a:lnTo>
                  <a:pt x="150" y="84"/>
                </a:lnTo>
                <a:lnTo>
                  <a:pt x="150" y="84"/>
                </a:lnTo>
                <a:lnTo>
                  <a:pt x="150" y="84"/>
                </a:lnTo>
                <a:lnTo>
                  <a:pt x="150" y="84"/>
                </a:lnTo>
                <a:lnTo>
                  <a:pt x="150" y="84"/>
                </a:lnTo>
                <a:lnTo>
                  <a:pt x="150" y="84"/>
                </a:lnTo>
                <a:lnTo>
                  <a:pt x="150" y="84"/>
                </a:lnTo>
                <a:lnTo>
                  <a:pt x="150" y="84"/>
                </a:lnTo>
                <a:lnTo>
                  <a:pt x="150" y="84"/>
                </a:lnTo>
                <a:lnTo>
                  <a:pt x="150" y="78"/>
                </a:lnTo>
                <a:lnTo>
                  <a:pt x="150" y="78"/>
                </a:lnTo>
                <a:lnTo>
                  <a:pt x="150" y="78"/>
                </a:lnTo>
                <a:lnTo>
                  <a:pt x="150" y="78"/>
                </a:lnTo>
                <a:lnTo>
                  <a:pt x="150" y="78"/>
                </a:lnTo>
                <a:lnTo>
                  <a:pt x="150" y="78"/>
                </a:lnTo>
                <a:lnTo>
                  <a:pt x="150" y="78"/>
                </a:lnTo>
                <a:lnTo>
                  <a:pt x="150" y="78"/>
                </a:lnTo>
                <a:lnTo>
                  <a:pt x="150" y="78"/>
                </a:lnTo>
                <a:lnTo>
                  <a:pt x="150" y="78"/>
                </a:lnTo>
                <a:lnTo>
                  <a:pt x="150" y="78"/>
                </a:lnTo>
                <a:lnTo>
                  <a:pt x="150" y="78"/>
                </a:lnTo>
                <a:lnTo>
                  <a:pt x="150" y="78"/>
                </a:lnTo>
                <a:lnTo>
                  <a:pt x="150" y="78"/>
                </a:lnTo>
                <a:lnTo>
                  <a:pt x="150" y="78"/>
                </a:lnTo>
                <a:lnTo>
                  <a:pt x="150" y="72"/>
                </a:lnTo>
                <a:lnTo>
                  <a:pt x="150" y="72"/>
                </a:lnTo>
                <a:lnTo>
                  <a:pt x="150" y="72"/>
                </a:lnTo>
                <a:lnTo>
                  <a:pt x="150" y="72"/>
                </a:lnTo>
                <a:lnTo>
                  <a:pt x="144" y="72"/>
                </a:lnTo>
                <a:lnTo>
                  <a:pt x="144" y="72"/>
                </a:lnTo>
                <a:lnTo>
                  <a:pt x="144" y="72"/>
                </a:lnTo>
                <a:lnTo>
                  <a:pt x="144" y="72"/>
                </a:lnTo>
                <a:lnTo>
                  <a:pt x="144" y="72"/>
                </a:lnTo>
                <a:lnTo>
                  <a:pt x="144" y="72"/>
                </a:lnTo>
                <a:lnTo>
                  <a:pt x="144" y="72"/>
                </a:lnTo>
                <a:lnTo>
                  <a:pt x="144" y="72"/>
                </a:lnTo>
                <a:lnTo>
                  <a:pt x="144" y="66"/>
                </a:lnTo>
                <a:lnTo>
                  <a:pt x="144" y="66"/>
                </a:lnTo>
                <a:lnTo>
                  <a:pt x="144" y="60"/>
                </a:lnTo>
                <a:lnTo>
                  <a:pt x="144" y="60"/>
                </a:lnTo>
                <a:lnTo>
                  <a:pt x="144" y="60"/>
                </a:lnTo>
                <a:lnTo>
                  <a:pt x="144" y="54"/>
                </a:lnTo>
                <a:lnTo>
                  <a:pt x="144" y="54"/>
                </a:lnTo>
                <a:lnTo>
                  <a:pt x="144" y="48"/>
                </a:lnTo>
                <a:lnTo>
                  <a:pt x="144" y="48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44" y="36"/>
                </a:lnTo>
                <a:lnTo>
                  <a:pt x="144" y="36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38" y="24"/>
                </a:lnTo>
                <a:lnTo>
                  <a:pt x="138" y="24"/>
                </a:lnTo>
                <a:lnTo>
                  <a:pt x="138" y="18"/>
                </a:lnTo>
                <a:lnTo>
                  <a:pt x="144" y="18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50" y="0"/>
                </a:lnTo>
                <a:lnTo>
                  <a:pt x="150" y="0"/>
                </a:lnTo>
                <a:lnTo>
                  <a:pt x="150" y="0"/>
                </a:lnTo>
                <a:lnTo>
                  <a:pt x="150" y="0"/>
                </a:lnTo>
                <a:lnTo>
                  <a:pt x="150" y="0"/>
                </a:lnTo>
                <a:lnTo>
                  <a:pt x="150" y="0"/>
                </a:lnTo>
                <a:lnTo>
                  <a:pt x="156" y="0"/>
                </a:lnTo>
                <a:lnTo>
                  <a:pt x="156" y="18"/>
                </a:lnTo>
                <a:lnTo>
                  <a:pt x="156" y="18"/>
                </a:lnTo>
                <a:lnTo>
                  <a:pt x="156" y="24"/>
                </a:lnTo>
                <a:lnTo>
                  <a:pt x="156" y="24"/>
                </a:lnTo>
                <a:lnTo>
                  <a:pt x="162" y="24"/>
                </a:lnTo>
                <a:lnTo>
                  <a:pt x="162" y="30"/>
                </a:lnTo>
                <a:lnTo>
                  <a:pt x="162" y="30"/>
                </a:lnTo>
                <a:lnTo>
                  <a:pt x="162" y="30"/>
                </a:lnTo>
                <a:lnTo>
                  <a:pt x="162" y="36"/>
                </a:lnTo>
                <a:lnTo>
                  <a:pt x="168" y="36"/>
                </a:lnTo>
                <a:lnTo>
                  <a:pt x="168" y="42"/>
                </a:lnTo>
                <a:lnTo>
                  <a:pt x="168" y="42"/>
                </a:lnTo>
                <a:lnTo>
                  <a:pt x="168" y="48"/>
                </a:lnTo>
                <a:lnTo>
                  <a:pt x="174" y="54"/>
                </a:lnTo>
                <a:lnTo>
                  <a:pt x="174" y="54"/>
                </a:lnTo>
                <a:lnTo>
                  <a:pt x="174" y="54"/>
                </a:lnTo>
                <a:lnTo>
                  <a:pt x="174" y="54"/>
                </a:lnTo>
                <a:lnTo>
                  <a:pt x="174" y="60"/>
                </a:lnTo>
                <a:lnTo>
                  <a:pt x="168" y="60"/>
                </a:lnTo>
                <a:lnTo>
                  <a:pt x="174" y="60"/>
                </a:lnTo>
                <a:lnTo>
                  <a:pt x="174" y="60"/>
                </a:lnTo>
                <a:lnTo>
                  <a:pt x="168" y="60"/>
                </a:lnTo>
                <a:lnTo>
                  <a:pt x="174" y="60"/>
                </a:lnTo>
                <a:lnTo>
                  <a:pt x="168" y="60"/>
                </a:lnTo>
                <a:lnTo>
                  <a:pt x="168" y="66"/>
                </a:lnTo>
                <a:lnTo>
                  <a:pt x="174" y="66"/>
                </a:lnTo>
                <a:lnTo>
                  <a:pt x="174" y="66"/>
                </a:lnTo>
                <a:lnTo>
                  <a:pt x="168" y="66"/>
                </a:lnTo>
                <a:lnTo>
                  <a:pt x="174" y="66"/>
                </a:lnTo>
                <a:lnTo>
                  <a:pt x="174" y="66"/>
                </a:lnTo>
                <a:lnTo>
                  <a:pt x="174" y="66"/>
                </a:lnTo>
                <a:lnTo>
                  <a:pt x="174" y="66"/>
                </a:lnTo>
                <a:lnTo>
                  <a:pt x="174" y="66"/>
                </a:lnTo>
                <a:lnTo>
                  <a:pt x="168" y="66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2"/>
                </a:lnTo>
                <a:lnTo>
                  <a:pt x="168" y="78"/>
                </a:lnTo>
                <a:lnTo>
                  <a:pt x="168" y="78"/>
                </a:lnTo>
                <a:lnTo>
                  <a:pt x="168" y="78"/>
                </a:lnTo>
                <a:lnTo>
                  <a:pt x="168" y="78"/>
                </a:lnTo>
                <a:lnTo>
                  <a:pt x="168" y="78"/>
                </a:lnTo>
                <a:lnTo>
                  <a:pt x="174" y="78"/>
                </a:lnTo>
                <a:lnTo>
                  <a:pt x="174" y="78"/>
                </a:lnTo>
                <a:lnTo>
                  <a:pt x="174" y="78"/>
                </a:lnTo>
                <a:lnTo>
                  <a:pt x="174" y="78"/>
                </a:lnTo>
                <a:lnTo>
                  <a:pt x="174" y="78"/>
                </a:lnTo>
                <a:lnTo>
                  <a:pt x="174" y="78"/>
                </a:lnTo>
                <a:lnTo>
                  <a:pt x="174" y="78"/>
                </a:lnTo>
                <a:lnTo>
                  <a:pt x="174" y="78"/>
                </a:lnTo>
                <a:lnTo>
                  <a:pt x="174" y="78"/>
                </a:lnTo>
                <a:lnTo>
                  <a:pt x="180" y="78"/>
                </a:lnTo>
                <a:lnTo>
                  <a:pt x="180" y="78"/>
                </a:lnTo>
                <a:lnTo>
                  <a:pt x="180" y="72"/>
                </a:lnTo>
                <a:lnTo>
                  <a:pt x="186" y="72"/>
                </a:lnTo>
                <a:lnTo>
                  <a:pt x="186" y="72"/>
                </a:lnTo>
                <a:lnTo>
                  <a:pt x="186" y="72"/>
                </a:lnTo>
                <a:lnTo>
                  <a:pt x="186" y="72"/>
                </a:lnTo>
                <a:lnTo>
                  <a:pt x="192" y="72"/>
                </a:lnTo>
                <a:lnTo>
                  <a:pt x="192" y="78"/>
                </a:lnTo>
                <a:lnTo>
                  <a:pt x="192" y="72"/>
                </a:lnTo>
                <a:lnTo>
                  <a:pt x="192" y="78"/>
                </a:lnTo>
                <a:lnTo>
                  <a:pt x="192" y="78"/>
                </a:lnTo>
                <a:lnTo>
                  <a:pt x="192" y="78"/>
                </a:lnTo>
                <a:lnTo>
                  <a:pt x="192" y="78"/>
                </a:lnTo>
                <a:lnTo>
                  <a:pt x="192" y="78"/>
                </a:lnTo>
                <a:lnTo>
                  <a:pt x="198" y="78"/>
                </a:lnTo>
                <a:lnTo>
                  <a:pt x="198" y="78"/>
                </a:lnTo>
                <a:lnTo>
                  <a:pt x="192" y="84"/>
                </a:lnTo>
                <a:lnTo>
                  <a:pt x="192" y="84"/>
                </a:lnTo>
                <a:lnTo>
                  <a:pt x="192" y="84"/>
                </a:lnTo>
                <a:lnTo>
                  <a:pt x="192" y="84"/>
                </a:lnTo>
                <a:lnTo>
                  <a:pt x="198" y="84"/>
                </a:lnTo>
                <a:lnTo>
                  <a:pt x="198" y="84"/>
                </a:lnTo>
                <a:lnTo>
                  <a:pt x="198" y="90"/>
                </a:lnTo>
                <a:lnTo>
                  <a:pt x="198" y="90"/>
                </a:lnTo>
                <a:lnTo>
                  <a:pt x="204" y="84"/>
                </a:lnTo>
                <a:lnTo>
                  <a:pt x="204" y="84"/>
                </a:lnTo>
                <a:lnTo>
                  <a:pt x="204" y="84"/>
                </a:lnTo>
                <a:lnTo>
                  <a:pt x="204" y="84"/>
                </a:lnTo>
                <a:lnTo>
                  <a:pt x="204" y="84"/>
                </a:lnTo>
                <a:lnTo>
                  <a:pt x="204" y="84"/>
                </a:lnTo>
                <a:lnTo>
                  <a:pt x="204" y="84"/>
                </a:lnTo>
                <a:lnTo>
                  <a:pt x="204" y="84"/>
                </a:lnTo>
                <a:lnTo>
                  <a:pt x="204" y="84"/>
                </a:lnTo>
                <a:lnTo>
                  <a:pt x="204" y="90"/>
                </a:lnTo>
                <a:lnTo>
                  <a:pt x="210" y="90"/>
                </a:lnTo>
                <a:lnTo>
                  <a:pt x="210" y="90"/>
                </a:lnTo>
                <a:lnTo>
                  <a:pt x="210" y="90"/>
                </a:lnTo>
                <a:lnTo>
                  <a:pt x="228" y="84"/>
                </a:lnTo>
                <a:lnTo>
                  <a:pt x="228" y="84"/>
                </a:lnTo>
                <a:lnTo>
                  <a:pt x="228" y="84"/>
                </a:lnTo>
                <a:lnTo>
                  <a:pt x="228" y="90"/>
                </a:lnTo>
                <a:lnTo>
                  <a:pt x="228" y="90"/>
                </a:lnTo>
                <a:lnTo>
                  <a:pt x="234" y="90"/>
                </a:lnTo>
                <a:lnTo>
                  <a:pt x="234" y="90"/>
                </a:lnTo>
                <a:lnTo>
                  <a:pt x="234" y="90"/>
                </a:lnTo>
                <a:lnTo>
                  <a:pt x="234" y="84"/>
                </a:lnTo>
                <a:lnTo>
                  <a:pt x="234" y="84"/>
                </a:lnTo>
                <a:lnTo>
                  <a:pt x="234" y="84"/>
                </a:lnTo>
                <a:lnTo>
                  <a:pt x="234" y="84"/>
                </a:lnTo>
                <a:lnTo>
                  <a:pt x="234" y="84"/>
                </a:lnTo>
                <a:lnTo>
                  <a:pt x="240" y="84"/>
                </a:lnTo>
                <a:lnTo>
                  <a:pt x="240" y="84"/>
                </a:lnTo>
                <a:lnTo>
                  <a:pt x="240" y="78"/>
                </a:lnTo>
                <a:lnTo>
                  <a:pt x="240" y="78"/>
                </a:lnTo>
                <a:lnTo>
                  <a:pt x="246" y="78"/>
                </a:lnTo>
                <a:lnTo>
                  <a:pt x="246" y="78"/>
                </a:lnTo>
                <a:lnTo>
                  <a:pt x="246" y="78"/>
                </a:lnTo>
                <a:lnTo>
                  <a:pt x="252" y="78"/>
                </a:lnTo>
                <a:lnTo>
                  <a:pt x="252" y="78"/>
                </a:lnTo>
                <a:lnTo>
                  <a:pt x="252" y="78"/>
                </a:lnTo>
                <a:lnTo>
                  <a:pt x="252" y="84"/>
                </a:lnTo>
                <a:lnTo>
                  <a:pt x="252" y="84"/>
                </a:lnTo>
                <a:lnTo>
                  <a:pt x="252" y="84"/>
                </a:lnTo>
                <a:lnTo>
                  <a:pt x="252" y="84"/>
                </a:lnTo>
                <a:lnTo>
                  <a:pt x="252" y="84"/>
                </a:lnTo>
                <a:lnTo>
                  <a:pt x="252" y="84"/>
                </a:lnTo>
                <a:lnTo>
                  <a:pt x="252" y="84"/>
                </a:lnTo>
                <a:lnTo>
                  <a:pt x="252" y="84"/>
                </a:lnTo>
                <a:lnTo>
                  <a:pt x="258" y="84"/>
                </a:lnTo>
                <a:lnTo>
                  <a:pt x="258" y="84"/>
                </a:lnTo>
                <a:lnTo>
                  <a:pt x="258" y="84"/>
                </a:lnTo>
                <a:lnTo>
                  <a:pt x="258" y="84"/>
                </a:lnTo>
                <a:lnTo>
                  <a:pt x="264" y="84"/>
                </a:lnTo>
                <a:lnTo>
                  <a:pt x="264" y="84"/>
                </a:lnTo>
                <a:lnTo>
                  <a:pt x="264" y="84"/>
                </a:lnTo>
                <a:lnTo>
                  <a:pt x="264" y="84"/>
                </a:lnTo>
                <a:lnTo>
                  <a:pt x="264" y="84"/>
                </a:lnTo>
                <a:lnTo>
                  <a:pt x="270" y="84"/>
                </a:lnTo>
                <a:lnTo>
                  <a:pt x="270" y="84"/>
                </a:lnTo>
                <a:lnTo>
                  <a:pt x="270" y="84"/>
                </a:lnTo>
                <a:lnTo>
                  <a:pt x="270" y="84"/>
                </a:lnTo>
                <a:lnTo>
                  <a:pt x="270" y="84"/>
                </a:lnTo>
                <a:lnTo>
                  <a:pt x="270" y="84"/>
                </a:lnTo>
                <a:lnTo>
                  <a:pt x="306" y="72"/>
                </a:lnTo>
                <a:lnTo>
                  <a:pt x="306" y="72"/>
                </a:lnTo>
                <a:lnTo>
                  <a:pt x="306" y="78"/>
                </a:lnTo>
                <a:lnTo>
                  <a:pt x="300" y="78"/>
                </a:lnTo>
                <a:lnTo>
                  <a:pt x="306" y="78"/>
                </a:lnTo>
                <a:lnTo>
                  <a:pt x="306" y="78"/>
                </a:lnTo>
                <a:lnTo>
                  <a:pt x="300" y="78"/>
                </a:lnTo>
                <a:lnTo>
                  <a:pt x="300" y="84"/>
                </a:lnTo>
                <a:lnTo>
                  <a:pt x="300" y="84"/>
                </a:lnTo>
                <a:lnTo>
                  <a:pt x="300" y="84"/>
                </a:lnTo>
                <a:lnTo>
                  <a:pt x="300" y="84"/>
                </a:lnTo>
                <a:lnTo>
                  <a:pt x="300" y="84"/>
                </a:lnTo>
                <a:lnTo>
                  <a:pt x="294" y="84"/>
                </a:lnTo>
                <a:lnTo>
                  <a:pt x="294" y="90"/>
                </a:lnTo>
                <a:lnTo>
                  <a:pt x="294" y="90"/>
                </a:lnTo>
                <a:lnTo>
                  <a:pt x="294" y="90"/>
                </a:lnTo>
                <a:lnTo>
                  <a:pt x="294" y="90"/>
                </a:lnTo>
                <a:lnTo>
                  <a:pt x="294" y="90"/>
                </a:lnTo>
                <a:lnTo>
                  <a:pt x="294" y="96"/>
                </a:lnTo>
                <a:lnTo>
                  <a:pt x="294" y="96"/>
                </a:lnTo>
                <a:lnTo>
                  <a:pt x="294" y="96"/>
                </a:lnTo>
                <a:lnTo>
                  <a:pt x="294" y="96"/>
                </a:lnTo>
                <a:lnTo>
                  <a:pt x="294" y="102"/>
                </a:lnTo>
                <a:lnTo>
                  <a:pt x="294" y="102"/>
                </a:lnTo>
                <a:lnTo>
                  <a:pt x="294" y="102"/>
                </a:lnTo>
                <a:lnTo>
                  <a:pt x="294" y="102"/>
                </a:lnTo>
                <a:lnTo>
                  <a:pt x="294" y="102"/>
                </a:lnTo>
                <a:lnTo>
                  <a:pt x="294" y="102"/>
                </a:lnTo>
                <a:lnTo>
                  <a:pt x="300" y="108"/>
                </a:lnTo>
                <a:lnTo>
                  <a:pt x="300" y="108"/>
                </a:lnTo>
                <a:lnTo>
                  <a:pt x="300" y="108"/>
                </a:lnTo>
                <a:lnTo>
                  <a:pt x="300" y="108"/>
                </a:lnTo>
                <a:lnTo>
                  <a:pt x="306" y="108"/>
                </a:lnTo>
                <a:lnTo>
                  <a:pt x="306" y="108"/>
                </a:lnTo>
                <a:lnTo>
                  <a:pt x="306" y="108"/>
                </a:lnTo>
                <a:lnTo>
                  <a:pt x="306" y="108"/>
                </a:lnTo>
                <a:lnTo>
                  <a:pt x="306" y="108"/>
                </a:lnTo>
                <a:lnTo>
                  <a:pt x="306" y="114"/>
                </a:lnTo>
                <a:lnTo>
                  <a:pt x="312" y="114"/>
                </a:lnTo>
                <a:lnTo>
                  <a:pt x="312" y="114"/>
                </a:lnTo>
                <a:lnTo>
                  <a:pt x="312" y="114"/>
                </a:lnTo>
                <a:lnTo>
                  <a:pt x="312" y="114"/>
                </a:lnTo>
                <a:lnTo>
                  <a:pt x="312" y="114"/>
                </a:lnTo>
                <a:lnTo>
                  <a:pt x="318" y="114"/>
                </a:lnTo>
                <a:lnTo>
                  <a:pt x="318" y="114"/>
                </a:lnTo>
                <a:lnTo>
                  <a:pt x="312" y="120"/>
                </a:lnTo>
                <a:lnTo>
                  <a:pt x="318" y="120"/>
                </a:lnTo>
                <a:lnTo>
                  <a:pt x="318" y="120"/>
                </a:lnTo>
                <a:lnTo>
                  <a:pt x="318" y="120"/>
                </a:lnTo>
                <a:lnTo>
                  <a:pt x="318" y="126"/>
                </a:lnTo>
                <a:lnTo>
                  <a:pt x="312" y="126"/>
                </a:lnTo>
                <a:lnTo>
                  <a:pt x="312" y="126"/>
                </a:lnTo>
                <a:lnTo>
                  <a:pt x="312" y="126"/>
                </a:lnTo>
                <a:lnTo>
                  <a:pt x="312" y="126"/>
                </a:lnTo>
                <a:lnTo>
                  <a:pt x="312" y="126"/>
                </a:lnTo>
                <a:lnTo>
                  <a:pt x="312" y="132"/>
                </a:lnTo>
                <a:lnTo>
                  <a:pt x="312" y="132"/>
                </a:lnTo>
                <a:lnTo>
                  <a:pt x="312" y="132"/>
                </a:lnTo>
                <a:lnTo>
                  <a:pt x="312" y="132"/>
                </a:lnTo>
                <a:lnTo>
                  <a:pt x="312" y="132"/>
                </a:lnTo>
                <a:lnTo>
                  <a:pt x="306" y="132"/>
                </a:lnTo>
                <a:lnTo>
                  <a:pt x="306" y="132"/>
                </a:lnTo>
                <a:lnTo>
                  <a:pt x="306" y="132"/>
                </a:lnTo>
                <a:lnTo>
                  <a:pt x="306" y="132"/>
                </a:lnTo>
                <a:lnTo>
                  <a:pt x="306" y="132"/>
                </a:lnTo>
                <a:lnTo>
                  <a:pt x="306" y="132"/>
                </a:lnTo>
                <a:lnTo>
                  <a:pt x="306" y="132"/>
                </a:lnTo>
                <a:lnTo>
                  <a:pt x="306" y="132"/>
                </a:lnTo>
                <a:lnTo>
                  <a:pt x="306" y="138"/>
                </a:lnTo>
                <a:lnTo>
                  <a:pt x="306" y="138"/>
                </a:lnTo>
                <a:lnTo>
                  <a:pt x="306" y="138"/>
                </a:lnTo>
                <a:lnTo>
                  <a:pt x="300" y="138"/>
                </a:lnTo>
                <a:lnTo>
                  <a:pt x="300" y="138"/>
                </a:lnTo>
                <a:lnTo>
                  <a:pt x="300" y="138"/>
                </a:lnTo>
                <a:lnTo>
                  <a:pt x="300" y="144"/>
                </a:lnTo>
                <a:lnTo>
                  <a:pt x="300" y="144"/>
                </a:lnTo>
                <a:lnTo>
                  <a:pt x="300" y="144"/>
                </a:lnTo>
                <a:lnTo>
                  <a:pt x="300" y="144"/>
                </a:lnTo>
                <a:lnTo>
                  <a:pt x="300" y="144"/>
                </a:lnTo>
                <a:lnTo>
                  <a:pt x="300" y="144"/>
                </a:lnTo>
                <a:lnTo>
                  <a:pt x="294" y="144"/>
                </a:lnTo>
                <a:lnTo>
                  <a:pt x="294" y="150"/>
                </a:lnTo>
                <a:lnTo>
                  <a:pt x="294" y="150"/>
                </a:lnTo>
                <a:lnTo>
                  <a:pt x="300" y="150"/>
                </a:lnTo>
                <a:lnTo>
                  <a:pt x="300" y="150"/>
                </a:lnTo>
                <a:lnTo>
                  <a:pt x="300" y="144"/>
                </a:lnTo>
                <a:lnTo>
                  <a:pt x="300" y="144"/>
                </a:lnTo>
                <a:lnTo>
                  <a:pt x="306" y="144"/>
                </a:lnTo>
                <a:lnTo>
                  <a:pt x="306" y="144"/>
                </a:lnTo>
                <a:lnTo>
                  <a:pt x="306" y="144"/>
                </a:lnTo>
                <a:lnTo>
                  <a:pt x="306" y="144"/>
                </a:lnTo>
                <a:lnTo>
                  <a:pt x="306" y="144"/>
                </a:lnTo>
                <a:lnTo>
                  <a:pt x="312" y="144"/>
                </a:lnTo>
                <a:lnTo>
                  <a:pt x="312" y="144"/>
                </a:lnTo>
                <a:lnTo>
                  <a:pt x="312" y="144"/>
                </a:lnTo>
                <a:lnTo>
                  <a:pt x="312" y="144"/>
                </a:lnTo>
                <a:lnTo>
                  <a:pt x="318" y="144"/>
                </a:lnTo>
                <a:lnTo>
                  <a:pt x="318" y="144"/>
                </a:lnTo>
                <a:lnTo>
                  <a:pt x="318" y="144"/>
                </a:lnTo>
                <a:lnTo>
                  <a:pt x="318" y="138"/>
                </a:lnTo>
                <a:lnTo>
                  <a:pt x="324" y="144"/>
                </a:lnTo>
                <a:lnTo>
                  <a:pt x="324" y="138"/>
                </a:lnTo>
                <a:lnTo>
                  <a:pt x="324" y="138"/>
                </a:lnTo>
                <a:lnTo>
                  <a:pt x="324" y="138"/>
                </a:lnTo>
                <a:lnTo>
                  <a:pt x="324" y="138"/>
                </a:lnTo>
                <a:lnTo>
                  <a:pt x="324" y="138"/>
                </a:lnTo>
                <a:lnTo>
                  <a:pt x="324" y="138"/>
                </a:lnTo>
                <a:lnTo>
                  <a:pt x="324" y="138"/>
                </a:lnTo>
                <a:lnTo>
                  <a:pt x="324" y="132"/>
                </a:lnTo>
                <a:lnTo>
                  <a:pt x="336" y="132"/>
                </a:lnTo>
                <a:lnTo>
                  <a:pt x="336" y="138"/>
                </a:lnTo>
                <a:lnTo>
                  <a:pt x="336" y="138"/>
                </a:lnTo>
                <a:lnTo>
                  <a:pt x="336" y="144"/>
                </a:lnTo>
                <a:lnTo>
                  <a:pt x="336" y="144"/>
                </a:lnTo>
                <a:lnTo>
                  <a:pt x="336" y="150"/>
                </a:lnTo>
                <a:lnTo>
                  <a:pt x="336" y="150"/>
                </a:lnTo>
                <a:lnTo>
                  <a:pt x="336" y="150"/>
                </a:lnTo>
                <a:lnTo>
                  <a:pt x="330" y="150"/>
                </a:lnTo>
                <a:lnTo>
                  <a:pt x="330" y="156"/>
                </a:lnTo>
                <a:lnTo>
                  <a:pt x="324" y="156"/>
                </a:lnTo>
                <a:lnTo>
                  <a:pt x="324" y="162"/>
                </a:lnTo>
                <a:lnTo>
                  <a:pt x="330" y="162"/>
                </a:lnTo>
                <a:lnTo>
                  <a:pt x="324" y="162"/>
                </a:lnTo>
                <a:lnTo>
                  <a:pt x="330" y="162"/>
                </a:lnTo>
                <a:lnTo>
                  <a:pt x="330" y="162"/>
                </a:lnTo>
                <a:lnTo>
                  <a:pt x="330" y="162"/>
                </a:lnTo>
                <a:lnTo>
                  <a:pt x="330" y="162"/>
                </a:lnTo>
                <a:lnTo>
                  <a:pt x="330" y="162"/>
                </a:lnTo>
                <a:lnTo>
                  <a:pt x="330" y="162"/>
                </a:lnTo>
                <a:lnTo>
                  <a:pt x="330" y="162"/>
                </a:lnTo>
                <a:lnTo>
                  <a:pt x="330" y="162"/>
                </a:lnTo>
                <a:lnTo>
                  <a:pt x="330" y="162"/>
                </a:lnTo>
                <a:lnTo>
                  <a:pt x="330" y="162"/>
                </a:lnTo>
                <a:lnTo>
                  <a:pt x="330" y="162"/>
                </a:lnTo>
                <a:lnTo>
                  <a:pt x="336" y="162"/>
                </a:lnTo>
                <a:lnTo>
                  <a:pt x="336" y="162"/>
                </a:lnTo>
                <a:lnTo>
                  <a:pt x="336" y="162"/>
                </a:lnTo>
                <a:lnTo>
                  <a:pt x="336" y="162"/>
                </a:lnTo>
                <a:lnTo>
                  <a:pt x="336" y="162"/>
                </a:lnTo>
                <a:lnTo>
                  <a:pt x="336" y="162"/>
                </a:lnTo>
                <a:lnTo>
                  <a:pt x="336" y="162"/>
                </a:lnTo>
                <a:lnTo>
                  <a:pt x="342" y="162"/>
                </a:lnTo>
                <a:lnTo>
                  <a:pt x="336" y="162"/>
                </a:lnTo>
                <a:lnTo>
                  <a:pt x="336" y="156"/>
                </a:lnTo>
                <a:lnTo>
                  <a:pt x="336" y="156"/>
                </a:lnTo>
                <a:lnTo>
                  <a:pt x="336" y="156"/>
                </a:lnTo>
                <a:lnTo>
                  <a:pt x="342" y="156"/>
                </a:lnTo>
                <a:lnTo>
                  <a:pt x="342" y="156"/>
                </a:lnTo>
                <a:lnTo>
                  <a:pt x="342" y="156"/>
                </a:lnTo>
                <a:lnTo>
                  <a:pt x="342" y="156"/>
                </a:lnTo>
                <a:lnTo>
                  <a:pt x="342" y="156"/>
                </a:lnTo>
                <a:lnTo>
                  <a:pt x="342" y="156"/>
                </a:lnTo>
                <a:lnTo>
                  <a:pt x="342" y="156"/>
                </a:lnTo>
                <a:lnTo>
                  <a:pt x="342" y="156"/>
                </a:lnTo>
                <a:lnTo>
                  <a:pt x="342" y="156"/>
                </a:lnTo>
                <a:lnTo>
                  <a:pt x="342" y="156"/>
                </a:lnTo>
                <a:lnTo>
                  <a:pt x="348" y="156"/>
                </a:lnTo>
                <a:lnTo>
                  <a:pt x="348" y="156"/>
                </a:lnTo>
                <a:lnTo>
                  <a:pt x="348" y="156"/>
                </a:lnTo>
                <a:lnTo>
                  <a:pt x="348" y="156"/>
                </a:lnTo>
                <a:lnTo>
                  <a:pt x="348" y="150"/>
                </a:lnTo>
                <a:lnTo>
                  <a:pt x="348" y="156"/>
                </a:lnTo>
                <a:lnTo>
                  <a:pt x="348" y="156"/>
                </a:lnTo>
                <a:lnTo>
                  <a:pt x="348" y="150"/>
                </a:lnTo>
                <a:lnTo>
                  <a:pt x="348" y="150"/>
                </a:lnTo>
                <a:lnTo>
                  <a:pt x="348" y="156"/>
                </a:lnTo>
                <a:lnTo>
                  <a:pt x="348" y="156"/>
                </a:lnTo>
                <a:lnTo>
                  <a:pt x="348" y="150"/>
                </a:lnTo>
                <a:lnTo>
                  <a:pt x="348" y="150"/>
                </a:lnTo>
                <a:lnTo>
                  <a:pt x="348" y="150"/>
                </a:lnTo>
                <a:lnTo>
                  <a:pt x="348" y="150"/>
                </a:lnTo>
                <a:lnTo>
                  <a:pt x="354" y="150"/>
                </a:lnTo>
                <a:lnTo>
                  <a:pt x="354" y="150"/>
                </a:lnTo>
                <a:lnTo>
                  <a:pt x="354" y="150"/>
                </a:lnTo>
                <a:lnTo>
                  <a:pt x="354" y="150"/>
                </a:lnTo>
                <a:lnTo>
                  <a:pt x="354" y="150"/>
                </a:lnTo>
                <a:lnTo>
                  <a:pt x="354" y="150"/>
                </a:lnTo>
                <a:lnTo>
                  <a:pt x="354" y="150"/>
                </a:lnTo>
                <a:lnTo>
                  <a:pt x="354" y="150"/>
                </a:lnTo>
                <a:lnTo>
                  <a:pt x="354" y="150"/>
                </a:lnTo>
                <a:lnTo>
                  <a:pt x="354" y="150"/>
                </a:lnTo>
                <a:lnTo>
                  <a:pt x="354" y="150"/>
                </a:lnTo>
                <a:lnTo>
                  <a:pt x="354" y="150"/>
                </a:lnTo>
                <a:lnTo>
                  <a:pt x="354" y="150"/>
                </a:lnTo>
                <a:lnTo>
                  <a:pt x="354" y="150"/>
                </a:lnTo>
                <a:lnTo>
                  <a:pt x="360" y="150"/>
                </a:lnTo>
                <a:lnTo>
                  <a:pt x="360" y="150"/>
                </a:lnTo>
                <a:lnTo>
                  <a:pt x="360" y="150"/>
                </a:lnTo>
                <a:lnTo>
                  <a:pt x="354" y="150"/>
                </a:lnTo>
                <a:lnTo>
                  <a:pt x="354" y="150"/>
                </a:lnTo>
                <a:lnTo>
                  <a:pt x="360" y="144"/>
                </a:lnTo>
                <a:lnTo>
                  <a:pt x="360" y="150"/>
                </a:lnTo>
                <a:lnTo>
                  <a:pt x="360" y="150"/>
                </a:lnTo>
                <a:lnTo>
                  <a:pt x="360" y="144"/>
                </a:lnTo>
                <a:lnTo>
                  <a:pt x="360" y="144"/>
                </a:lnTo>
                <a:lnTo>
                  <a:pt x="360" y="144"/>
                </a:lnTo>
                <a:lnTo>
                  <a:pt x="360" y="144"/>
                </a:lnTo>
                <a:lnTo>
                  <a:pt x="360" y="144"/>
                </a:lnTo>
                <a:lnTo>
                  <a:pt x="360" y="144"/>
                </a:lnTo>
                <a:lnTo>
                  <a:pt x="360" y="144"/>
                </a:lnTo>
                <a:lnTo>
                  <a:pt x="360" y="144"/>
                </a:lnTo>
                <a:lnTo>
                  <a:pt x="360" y="144"/>
                </a:lnTo>
                <a:lnTo>
                  <a:pt x="366" y="144"/>
                </a:lnTo>
                <a:lnTo>
                  <a:pt x="366" y="144"/>
                </a:lnTo>
                <a:lnTo>
                  <a:pt x="366" y="144"/>
                </a:lnTo>
                <a:lnTo>
                  <a:pt x="360" y="144"/>
                </a:lnTo>
                <a:lnTo>
                  <a:pt x="366" y="144"/>
                </a:lnTo>
                <a:lnTo>
                  <a:pt x="366" y="138"/>
                </a:lnTo>
                <a:lnTo>
                  <a:pt x="360" y="138"/>
                </a:lnTo>
                <a:lnTo>
                  <a:pt x="360" y="138"/>
                </a:lnTo>
                <a:lnTo>
                  <a:pt x="366" y="138"/>
                </a:lnTo>
                <a:lnTo>
                  <a:pt x="366" y="138"/>
                </a:lnTo>
                <a:lnTo>
                  <a:pt x="366" y="138"/>
                </a:lnTo>
                <a:lnTo>
                  <a:pt x="366" y="138"/>
                </a:lnTo>
                <a:lnTo>
                  <a:pt x="366" y="138"/>
                </a:lnTo>
                <a:lnTo>
                  <a:pt x="366" y="132"/>
                </a:lnTo>
                <a:lnTo>
                  <a:pt x="366" y="132"/>
                </a:lnTo>
                <a:lnTo>
                  <a:pt x="366" y="138"/>
                </a:lnTo>
                <a:lnTo>
                  <a:pt x="366" y="138"/>
                </a:lnTo>
                <a:lnTo>
                  <a:pt x="366" y="138"/>
                </a:lnTo>
                <a:lnTo>
                  <a:pt x="372" y="132"/>
                </a:lnTo>
                <a:lnTo>
                  <a:pt x="372" y="132"/>
                </a:lnTo>
                <a:lnTo>
                  <a:pt x="372" y="132"/>
                </a:lnTo>
                <a:lnTo>
                  <a:pt x="372" y="132"/>
                </a:lnTo>
                <a:lnTo>
                  <a:pt x="372" y="132"/>
                </a:lnTo>
                <a:lnTo>
                  <a:pt x="372" y="132"/>
                </a:lnTo>
                <a:lnTo>
                  <a:pt x="372" y="132"/>
                </a:lnTo>
                <a:lnTo>
                  <a:pt x="372" y="126"/>
                </a:lnTo>
                <a:lnTo>
                  <a:pt x="378" y="126"/>
                </a:lnTo>
                <a:lnTo>
                  <a:pt x="390" y="150"/>
                </a:lnTo>
                <a:lnTo>
                  <a:pt x="390" y="150"/>
                </a:lnTo>
                <a:lnTo>
                  <a:pt x="390" y="150"/>
                </a:lnTo>
                <a:lnTo>
                  <a:pt x="390" y="150"/>
                </a:lnTo>
                <a:lnTo>
                  <a:pt x="396" y="150"/>
                </a:lnTo>
                <a:lnTo>
                  <a:pt x="396" y="150"/>
                </a:lnTo>
                <a:lnTo>
                  <a:pt x="396" y="144"/>
                </a:lnTo>
                <a:lnTo>
                  <a:pt x="396" y="144"/>
                </a:lnTo>
                <a:lnTo>
                  <a:pt x="396" y="150"/>
                </a:lnTo>
                <a:lnTo>
                  <a:pt x="396" y="150"/>
                </a:lnTo>
                <a:lnTo>
                  <a:pt x="396" y="150"/>
                </a:lnTo>
                <a:lnTo>
                  <a:pt x="396" y="150"/>
                </a:lnTo>
                <a:lnTo>
                  <a:pt x="402" y="150"/>
                </a:lnTo>
                <a:lnTo>
                  <a:pt x="402" y="150"/>
                </a:lnTo>
                <a:lnTo>
                  <a:pt x="402" y="150"/>
                </a:lnTo>
                <a:lnTo>
                  <a:pt x="408" y="150"/>
                </a:lnTo>
                <a:lnTo>
                  <a:pt x="408" y="150"/>
                </a:lnTo>
                <a:lnTo>
                  <a:pt x="408" y="150"/>
                </a:lnTo>
                <a:lnTo>
                  <a:pt x="408" y="150"/>
                </a:lnTo>
                <a:lnTo>
                  <a:pt x="408" y="150"/>
                </a:lnTo>
                <a:lnTo>
                  <a:pt x="408" y="150"/>
                </a:lnTo>
                <a:lnTo>
                  <a:pt x="408" y="150"/>
                </a:lnTo>
                <a:lnTo>
                  <a:pt x="414" y="150"/>
                </a:lnTo>
                <a:lnTo>
                  <a:pt x="414" y="150"/>
                </a:lnTo>
                <a:lnTo>
                  <a:pt x="414" y="150"/>
                </a:lnTo>
                <a:lnTo>
                  <a:pt x="414" y="150"/>
                </a:lnTo>
                <a:lnTo>
                  <a:pt x="414" y="150"/>
                </a:lnTo>
                <a:lnTo>
                  <a:pt x="414" y="150"/>
                </a:lnTo>
                <a:lnTo>
                  <a:pt x="414" y="150"/>
                </a:lnTo>
                <a:lnTo>
                  <a:pt x="414" y="150"/>
                </a:lnTo>
                <a:lnTo>
                  <a:pt x="414" y="156"/>
                </a:lnTo>
                <a:lnTo>
                  <a:pt x="414" y="156"/>
                </a:lnTo>
                <a:lnTo>
                  <a:pt x="420" y="156"/>
                </a:lnTo>
                <a:lnTo>
                  <a:pt x="420" y="156"/>
                </a:lnTo>
                <a:lnTo>
                  <a:pt x="420" y="156"/>
                </a:lnTo>
                <a:lnTo>
                  <a:pt x="420" y="156"/>
                </a:lnTo>
                <a:lnTo>
                  <a:pt x="420" y="156"/>
                </a:lnTo>
                <a:lnTo>
                  <a:pt x="420" y="156"/>
                </a:lnTo>
                <a:lnTo>
                  <a:pt x="420" y="156"/>
                </a:lnTo>
                <a:lnTo>
                  <a:pt x="426" y="156"/>
                </a:lnTo>
                <a:lnTo>
                  <a:pt x="426" y="156"/>
                </a:lnTo>
                <a:lnTo>
                  <a:pt x="426" y="156"/>
                </a:lnTo>
                <a:lnTo>
                  <a:pt x="426" y="156"/>
                </a:lnTo>
                <a:lnTo>
                  <a:pt x="432" y="156"/>
                </a:lnTo>
                <a:lnTo>
                  <a:pt x="432" y="162"/>
                </a:lnTo>
                <a:lnTo>
                  <a:pt x="432" y="186"/>
                </a:lnTo>
                <a:lnTo>
                  <a:pt x="420" y="240"/>
                </a:lnTo>
                <a:lnTo>
                  <a:pt x="420" y="288"/>
                </a:lnTo>
                <a:lnTo>
                  <a:pt x="420" y="288"/>
                </a:lnTo>
                <a:lnTo>
                  <a:pt x="414" y="288"/>
                </a:lnTo>
                <a:lnTo>
                  <a:pt x="414" y="288"/>
                </a:lnTo>
                <a:lnTo>
                  <a:pt x="414" y="288"/>
                </a:lnTo>
                <a:lnTo>
                  <a:pt x="414" y="288"/>
                </a:lnTo>
                <a:lnTo>
                  <a:pt x="414" y="282"/>
                </a:lnTo>
                <a:lnTo>
                  <a:pt x="414" y="282"/>
                </a:lnTo>
                <a:lnTo>
                  <a:pt x="414" y="288"/>
                </a:lnTo>
                <a:lnTo>
                  <a:pt x="414" y="288"/>
                </a:lnTo>
                <a:lnTo>
                  <a:pt x="414" y="288"/>
                </a:lnTo>
                <a:lnTo>
                  <a:pt x="414" y="288"/>
                </a:lnTo>
                <a:lnTo>
                  <a:pt x="408" y="288"/>
                </a:lnTo>
                <a:lnTo>
                  <a:pt x="408" y="282"/>
                </a:lnTo>
                <a:lnTo>
                  <a:pt x="408" y="282"/>
                </a:lnTo>
                <a:lnTo>
                  <a:pt x="408" y="288"/>
                </a:lnTo>
                <a:lnTo>
                  <a:pt x="408" y="282"/>
                </a:lnTo>
                <a:lnTo>
                  <a:pt x="408" y="282"/>
                </a:lnTo>
                <a:lnTo>
                  <a:pt x="408" y="282"/>
                </a:lnTo>
                <a:lnTo>
                  <a:pt x="408" y="288"/>
                </a:lnTo>
                <a:lnTo>
                  <a:pt x="408" y="288"/>
                </a:lnTo>
                <a:lnTo>
                  <a:pt x="408" y="282"/>
                </a:lnTo>
                <a:lnTo>
                  <a:pt x="408" y="282"/>
                </a:lnTo>
                <a:lnTo>
                  <a:pt x="402" y="288"/>
                </a:lnTo>
                <a:lnTo>
                  <a:pt x="402" y="282"/>
                </a:lnTo>
                <a:lnTo>
                  <a:pt x="402" y="282"/>
                </a:lnTo>
                <a:lnTo>
                  <a:pt x="402" y="282"/>
                </a:lnTo>
                <a:lnTo>
                  <a:pt x="402" y="282"/>
                </a:lnTo>
                <a:lnTo>
                  <a:pt x="402" y="282"/>
                </a:lnTo>
                <a:lnTo>
                  <a:pt x="396" y="282"/>
                </a:lnTo>
                <a:lnTo>
                  <a:pt x="396" y="282"/>
                </a:lnTo>
                <a:lnTo>
                  <a:pt x="396" y="282"/>
                </a:lnTo>
                <a:lnTo>
                  <a:pt x="396" y="282"/>
                </a:lnTo>
                <a:lnTo>
                  <a:pt x="396" y="282"/>
                </a:lnTo>
                <a:lnTo>
                  <a:pt x="396" y="282"/>
                </a:lnTo>
                <a:lnTo>
                  <a:pt x="396" y="282"/>
                </a:lnTo>
                <a:lnTo>
                  <a:pt x="390" y="282"/>
                </a:lnTo>
                <a:lnTo>
                  <a:pt x="390" y="276"/>
                </a:lnTo>
                <a:lnTo>
                  <a:pt x="390" y="276"/>
                </a:lnTo>
                <a:lnTo>
                  <a:pt x="390" y="276"/>
                </a:lnTo>
                <a:lnTo>
                  <a:pt x="390" y="282"/>
                </a:lnTo>
                <a:lnTo>
                  <a:pt x="390" y="282"/>
                </a:lnTo>
                <a:lnTo>
                  <a:pt x="390" y="276"/>
                </a:lnTo>
                <a:lnTo>
                  <a:pt x="390" y="276"/>
                </a:lnTo>
                <a:lnTo>
                  <a:pt x="390" y="276"/>
                </a:lnTo>
                <a:lnTo>
                  <a:pt x="390" y="276"/>
                </a:lnTo>
                <a:lnTo>
                  <a:pt x="384" y="276"/>
                </a:lnTo>
                <a:lnTo>
                  <a:pt x="384" y="276"/>
                </a:lnTo>
                <a:lnTo>
                  <a:pt x="384" y="276"/>
                </a:lnTo>
                <a:lnTo>
                  <a:pt x="384" y="276"/>
                </a:lnTo>
                <a:lnTo>
                  <a:pt x="384" y="276"/>
                </a:lnTo>
                <a:lnTo>
                  <a:pt x="384" y="276"/>
                </a:lnTo>
                <a:lnTo>
                  <a:pt x="384" y="276"/>
                </a:lnTo>
                <a:lnTo>
                  <a:pt x="384" y="276"/>
                </a:lnTo>
                <a:lnTo>
                  <a:pt x="378" y="276"/>
                </a:lnTo>
                <a:lnTo>
                  <a:pt x="378" y="276"/>
                </a:lnTo>
                <a:lnTo>
                  <a:pt x="378" y="276"/>
                </a:lnTo>
                <a:lnTo>
                  <a:pt x="378" y="276"/>
                </a:lnTo>
                <a:lnTo>
                  <a:pt x="378" y="276"/>
                </a:lnTo>
                <a:lnTo>
                  <a:pt x="378" y="276"/>
                </a:lnTo>
                <a:lnTo>
                  <a:pt x="378" y="276"/>
                </a:lnTo>
                <a:lnTo>
                  <a:pt x="378" y="276"/>
                </a:lnTo>
                <a:lnTo>
                  <a:pt x="378" y="276"/>
                </a:lnTo>
                <a:lnTo>
                  <a:pt x="378" y="270"/>
                </a:lnTo>
                <a:lnTo>
                  <a:pt x="372" y="276"/>
                </a:lnTo>
                <a:lnTo>
                  <a:pt x="372" y="276"/>
                </a:lnTo>
                <a:lnTo>
                  <a:pt x="372" y="276"/>
                </a:lnTo>
                <a:lnTo>
                  <a:pt x="372" y="270"/>
                </a:lnTo>
                <a:lnTo>
                  <a:pt x="372" y="270"/>
                </a:lnTo>
                <a:lnTo>
                  <a:pt x="372" y="270"/>
                </a:lnTo>
                <a:lnTo>
                  <a:pt x="372" y="270"/>
                </a:lnTo>
                <a:lnTo>
                  <a:pt x="372" y="270"/>
                </a:lnTo>
                <a:lnTo>
                  <a:pt x="366" y="270"/>
                </a:lnTo>
                <a:lnTo>
                  <a:pt x="366" y="276"/>
                </a:lnTo>
                <a:lnTo>
                  <a:pt x="366" y="270"/>
                </a:lnTo>
                <a:lnTo>
                  <a:pt x="366" y="270"/>
                </a:lnTo>
                <a:lnTo>
                  <a:pt x="366" y="270"/>
                </a:lnTo>
                <a:lnTo>
                  <a:pt x="366" y="270"/>
                </a:lnTo>
                <a:lnTo>
                  <a:pt x="366" y="270"/>
                </a:lnTo>
                <a:lnTo>
                  <a:pt x="366" y="270"/>
                </a:lnTo>
                <a:lnTo>
                  <a:pt x="366" y="270"/>
                </a:lnTo>
                <a:lnTo>
                  <a:pt x="366" y="270"/>
                </a:lnTo>
                <a:lnTo>
                  <a:pt x="366" y="270"/>
                </a:lnTo>
                <a:lnTo>
                  <a:pt x="366" y="270"/>
                </a:lnTo>
                <a:lnTo>
                  <a:pt x="366" y="270"/>
                </a:lnTo>
                <a:lnTo>
                  <a:pt x="366" y="270"/>
                </a:lnTo>
                <a:lnTo>
                  <a:pt x="366" y="270"/>
                </a:lnTo>
                <a:lnTo>
                  <a:pt x="366" y="270"/>
                </a:lnTo>
                <a:lnTo>
                  <a:pt x="366" y="264"/>
                </a:lnTo>
                <a:lnTo>
                  <a:pt x="366" y="264"/>
                </a:lnTo>
                <a:lnTo>
                  <a:pt x="366" y="264"/>
                </a:lnTo>
                <a:lnTo>
                  <a:pt x="360" y="264"/>
                </a:lnTo>
                <a:lnTo>
                  <a:pt x="360" y="264"/>
                </a:lnTo>
                <a:lnTo>
                  <a:pt x="360" y="264"/>
                </a:lnTo>
                <a:lnTo>
                  <a:pt x="360" y="264"/>
                </a:lnTo>
                <a:lnTo>
                  <a:pt x="360" y="264"/>
                </a:lnTo>
                <a:lnTo>
                  <a:pt x="360" y="264"/>
                </a:lnTo>
                <a:lnTo>
                  <a:pt x="360" y="264"/>
                </a:lnTo>
                <a:lnTo>
                  <a:pt x="354" y="264"/>
                </a:lnTo>
                <a:lnTo>
                  <a:pt x="354" y="264"/>
                </a:lnTo>
                <a:lnTo>
                  <a:pt x="354" y="264"/>
                </a:lnTo>
                <a:lnTo>
                  <a:pt x="354" y="264"/>
                </a:lnTo>
                <a:lnTo>
                  <a:pt x="348" y="264"/>
                </a:lnTo>
                <a:lnTo>
                  <a:pt x="348" y="264"/>
                </a:lnTo>
                <a:lnTo>
                  <a:pt x="348" y="264"/>
                </a:lnTo>
                <a:lnTo>
                  <a:pt x="348" y="264"/>
                </a:lnTo>
                <a:lnTo>
                  <a:pt x="348" y="264"/>
                </a:lnTo>
                <a:lnTo>
                  <a:pt x="348" y="264"/>
                </a:lnTo>
                <a:lnTo>
                  <a:pt x="348" y="264"/>
                </a:lnTo>
                <a:lnTo>
                  <a:pt x="348" y="264"/>
                </a:lnTo>
                <a:lnTo>
                  <a:pt x="342" y="264"/>
                </a:lnTo>
                <a:lnTo>
                  <a:pt x="342" y="264"/>
                </a:lnTo>
                <a:lnTo>
                  <a:pt x="342" y="264"/>
                </a:lnTo>
                <a:lnTo>
                  <a:pt x="342" y="264"/>
                </a:lnTo>
                <a:lnTo>
                  <a:pt x="342" y="264"/>
                </a:lnTo>
                <a:lnTo>
                  <a:pt x="342" y="264"/>
                </a:lnTo>
                <a:lnTo>
                  <a:pt x="342" y="270"/>
                </a:lnTo>
                <a:lnTo>
                  <a:pt x="336" y="264"/>
                </a:lnTo>
                <a:lnTo>
                  <a:pt x="336" y="270"/>
                </a:lnTo>
                <a:lnTo>
                  <a:pt x="336" y="270"/>
                </a:lnTo>
                <a:lnTo>
                  <a:pt x="336" y="270"/>
                </a:lnTo>
                <a:lnTo>
                  <a:pt x="336" y="270"/>
                </a:lnTo>
                <a:lnTo>
                  <a:pt x="336" y="270"/>
                </a:lnTo>
                <a:lnTo>
                  <a:pt x="336" y="270"/>
                </a:lnTo>
                <a:lnTo>
                  <a:pt x="330" y="270"/>
                </a:lnTo>
                <a:lnTo>
                  <a:pt x="330" y="270"/>
                </a:lnTo>
                <a:lnTo>
                  <a:pt x="330" y="270"/>
                </a:lnTo>
                <a:lnTo>
                  <a:pt x="330" y="270"/>
                </a:lnTo>
                <a:lnTo>
                  <a:pt x="330" y="270"/>
                </a:lnTo>
                <a:lnTo>
                  <a:pt x="330" y="270"/>
                </a:lnTo>
                <a:lnTo>
                  <a:pt x="330" y="270"/>
                </a:lnTo>
                <a:lnTo>
                  <a:pt x="330" y="270"/>
                </a:lnTo>
                <a:lnTo>
                  <a:pt x="330" y="270"/>
                </a:lnTo>
                <a:lnTo>
                  <a:pt x="330" y="270"/>
                </a:lnTo>
                <a:lnTo>
                  <a:pt x="330" y="270"/>
                </a:lnTo>
                <a:lnTo>
                  <a:pt x="330" y="276"/>
                </a:lnTo>
                <a:lnTo>
                  <a:pt x="330" y="276"/>
                </a:lnTo>
                <a:lnTo>
                  <a:pt x="330" y="276"/>
                </a:lnTo>
                <a:lnTo>
                  <a:pt x="324" y="276"/>
                </a:lnTo>
                <a:lnTo>
                  <a:pt x="324" y="276"/>
                </a:lnTo>
                <a:lnTo>
                  <a:pt x="324" y="276"/>
                </a:lnTo>
                <a:lnTo>
                  <a:pt x="324" y="276"/>
                </a:lnTo>
                <a:lnTo>
                  <a:pt x="324" y="276"/>
                </a:lnTo>
                <a:lnTo>
                  <a:pt x="324" y="276"/>
                </a:lnTo>
                <a:lnTo>
                  <a:pt x="324" y="276"/>
                </a:lnTo>
                <a:lnTo>
                  <a:pt x="318" y="276"/>
                </a:lnTo>
                <a:lnTo>
                  <a:pt x="318" y="276"/>
                </a:lnTo>
                <a:lnTo>
                  <a:pt x="324" y="276"/>
                </a:lnTo>
                <a:lnTo>
                  <a:pt x="324" y="276"/>
                </a:lnTo>
                <a:lnTo>
                  <a:pt x="318" y="276"/>
                </a:lnTo>
                <a:lnTo>
                  <a:pt x="318" y="276"/>
                </a:lnTo>
                <a:lnTo>
                  <a:pt x="318" y="276"/>
                </a:lnTo>
                <a:lnTo>
                  <a:pt x="318" y="276"/>
                </a:lnTo>
                <a:lnTo>
                  <a:pt x="318" y="276"/>
                </a:lnTo>
                <a:lnTo>
                  <a:pt x="318" y="276"/>
                </a:lnTo>
                <a:lnTo>
                  <a:pt x="318" y="276"/>
                </a:lnTo>
                <a:lnTo>
                  <a:pt x="312" y="282"/>
                </a:lnTo>
                <a:lnTo>
                  <a:pt x="312" y="282"/>
                </a:lnTo>
                <a:lnTo>
                  <a:pt x="312" y="282"/>
                </a:lnTo>
                <a:lnTo>
                  <a:pt x="312" y="282"/>
                </a:lnTo>
                <a:lnTo>
                  <a:pt x="312" y="282"/>
                </a:lnTo>
                <a:lnTo>
                  <a:pt x="306" y="282"/>
                </a:lnTo>
                <a:lnTo>
                  <a:pt x="306" y="282"/>
                </a:lnTo>
                <a:lnTo>
                  <a:pt x="306" y="282"/>
                </a:lnTo>
                <a:lnTo>
                  <a:pt x="306" y="282"/>
                </a:lnTo>
                <a:lnTo>
                  <a:pt x="306" y="276"/>
                </a:lnTo>
                <a:lnTo>
                  <a:pt x="306" y="276"/>
                </a:lnTo>
                <a:lnTo>
                  <a:pt x="306" y="282"/>
                </a:lnTo>
                <a:lnTo>
                  <a:pt x="300" y="276"/>
                </a:lnTo>
                <a:lnTo>
                  <a:pt x="300" y="276"/>
                </a:lnTo>
                <a:lnTo>
                  <a:pt x="300" y="276"/>
                </a:lnTo>
                <a:lnTo>
                  <a:pt x="300" y="276"/>
                </a:lnTo>
                <a:lnTo>
                  <a:pt x="300" y="276"/>
                </a:lnTo>
                <a:lnTo>
                  <a:pt x="300" y="282"/>
                </a:lnTo>
                <a:lnTo>
                  <a:pt x="300" y="282"/>
                </a:lnTo>
                <a:lnTo>
                  <a:pt x="300" y="282"/>
                </a:lnTo>
                <a:lnTo>
                  <a:pt x="300" y="282"/>
                </a:lnTo>
                <a:lnTo>
                  <a:pt x="300" y="282"/>
                </a:lnTo>
                <a:lnTo>
                  <a:pt x="294" y="282"/>
                </a:lnTo>
                <a:lnTo>
                  <a:pt x="294" y="282"/>
                </a:lnTo>
                <a:lnTo>
                  <a:pt x="294" y="282"/>
                </a:lnTo>
                <a:lnTo>
                  <a:pt x="288" y="282"/>
                </a:lnTo>
                <a:lnTo>
                  <a:pt x="288" y="282"/>
                </a:lnTo>
                <a:lnTo>
                  <a:pt x="288" y="282"/>
                </a:lnTo>
                <a:lnTo>
                  <a:pt x="288" y="282"/>
                </a:lnTo>
                <a:lnTo>
                  <a:pt x="288" y="282"/>
                </a:lnTo>
                <a:lnTo>
                  <a:pt x="288" y="282"/>
                </a:lnTo>
                <a:lnTo>
                  <a:pt x="288" y="282"/>
                </a:lnTo>
                <a:lnTo>
                  <a:pt x="288" y="282"/>
                </a:lnTo>
                <a:lnTo>
                  <a:pt x="282" y="282"/>
                </a:lnTo>
                <a:lnTo>
                  <a:pt x="282" y="282"/>
                </a:lnTo>
                <a:lnTo>
                  <a:pt x="282" y="282"/>
                </a:lnTo>
                <a:lnTo>
                  <a:pt x="282" y="282"/>
                </a:lnTo>
                <a:lnTo>
                  <a:pt x="282" y="282"/>
                </a:lnTo>
                <a:lnTo>
                  <a:pt x="282" y="282"/>
                </a:lnTo>
                <a:lnTo>
                  <a:pt x="282" y="282"/>
                </a:lnTo>
                <a:lnTo>
                  <a:pt x="282" y="282"/>
                </a:lnTo>
                <a:lnTo>
                  <a:pt x="282" y="282"/>
                </a:lnTo>
                <a:lnTo>
                  <a:pt x="282" y="282"/>
                </a:lnTo>
                <a:lnTo>
                  <a:pt x="282" y="282"/>
                </a:lnTo>
                <a:lnTo>
                  <a:pt x="282" y="282"/>
                </a:lnTo>
                <a:lnTo>
                  <a:pt x="282" y="282"/>
                </a:lnTo>
                <a:lnTo>
                  <a:pt x="276" y="282"/>
                </a:lnTo>
                <a:lnTo>
                  <a:pt x="276" y="282"/>
                </a:lnTo>
                <a:lnTo>
                  <a:pt x="276" y="282"/>
                </a:lnTo>
                <a:lnTo>
                  <a:pt x="276" y="282"/>
                </a:lnTo>
                <a:lnTo>
                  <a:pt x="276" y="282"/>
                </a:lnTo>
                <a:lnTo>
                  <a:pt x="270" y="282"/>
                </a:lnTo>
                <a:lnTo>
                  <a:pt x="270" y="282"/>
                </a:lnTo>
                <a:lnTo>
                  <a:pt x="270" y="282"/>
                </a:lnTo>
                <a:lnTo>
                  <a:pt x="270" y="282"/>
                </a:lnTo>
                <a:lnTo>
                  <a:pt x="270" y="282"/>
                </a:lnTo>
                <a:lnTo>
                  <a:pt x="270" y="282"/>
                </a:lnTo>
                <a:lnTo>
                  <a:pt x="270" y="282"/>
                </a:lnTo>
                <a:lnTo>
                  <a:pt x="270" y="282"/>
                </a:lnTo>
                <a:lnTo>
                  <a:pt x="264" y="282"/>
                </a:lnTo>
                <a:lnTo>
                  <a:pt x="264" y="282"/>
                </a:lnTo>
                <a:lnTo>
                  <a:pt x="264" y="288"/>
                </a:lnTo>
                <a:lnTo>
                  <a:pt x="264" y="288"/>
                </a:lnTo>
                <a:lnTo>
                  <a:pt x="264" y="288"/>
                </a:lnTo>
                <a:lnTo>
                  <a:pt x="264" y="288"/>
                </a:lnTo>
                <a:lnTo>
                  <a:pt x="264" y="288"/>
                </a:lnTo>
                <a:lnTo>
                  <a:pt x="264" y="288"/>
                </a:lnTo>
                <a:lnTo>
                  <a:pt x="264" y="288"/>
                </a:lnTo>
                <a:lnTo>
                  <a:pt x="258" y="288"/>
                </a:lnTo>
                <a:lnTo>
                  <a:pt x="258" y="294"/>
                </a:lnTo>
                <a:lnTo>
                  <a:pt x="258" y="294"/>
                </a:lnTo>
                <a:lnTo>
                  <a:pt x="258" y="294"/>
                </a:lnTo>
                <a:lnTo>
                  <a:pt x="258" y="294"/>
                </a:lnTo>
                <a:lnTo>
                  <a:pt x="258" y="294"/>
                </a:lnTo>
                <a:lnTo>
                  <a:pt x="258" y="294"/>
                </a:lnTo>
                <a:lnTo>
                  <a:pt x="258" y="294"/>
                </a:lnTo>
                <a:lnTo>
                  <a:pt x="258" y="294"/>
                </a:lnTo>
                <a:lnTo>
                  <a:pt x="258" y="294"/>
                </a:lnTo>
                <a:lnTo>
                  <a:pt x="258" y="300"/>
                </a:lnTo>
                <a:lnTo>
                  <a:pt x="258" y="300"/>
                </a:lnTo>
                <a:lnTo>
                  <a:pt x="258" y="300"/>
                </a:lnTo>
                <a:lnTo>
                  <a:pt x="258" y="300"/>
                </a:lnTo>
                <a:lnTo>
                  <a:pt x="258" y="300"/>
                </a:lnTo>
                <a:lnTo>
                  <a:pt x="258" y="300"/>
                </a:lnTo>
                <a:lnTo>
                  <a:pt x="258" y="300"/>
                </a:lnTo>
                <a:lnTo>
                  <a:pt x="252" y="300"/>
                </a:lnTo>
                <a:lnTo>
                  <a:pt x="252" y="306"/>
                </a:lnTo>
                <a:lnTo>
                  <a:pt x="252" y="306"/>
                </a:lnTo>
                <a:lnTo>
                  <a:pt x="252" y="306"/>
                </a:lnTo>
                <a:lnTo>
                  <a:pt x="252" y="306"/>
                </a:lnTo>
                <a:lnTo>
                  <a:pt x="252" y="306"/>
                </a:lnTo>
                <a:lnTo>
                  <a:pt x="252" y="312"/>
                </a:lnTo>
                <a:lnTo>
                  <a:pt x="246" y="306"/>
                </a:lnTo>
                <a:lnTo>
                  <a:pt x="246" y="312"/>
                </a:lnTo>
                <a:lnTo>
                  <a:pt x="246" y="312"/>
                </a:lnTo>
                <a:lnTo>
                  <a:pt x="240" y="312"/>
                </a:lnTo>
                <a:lnTo>
                  <a:pt x="240" y="312"/>
                </a:lnTo>
                <a:lnTo>
                  <a:pt x="240" y="312"/>
                </a:lnTo>
                <a:lnTo>
                  <a:pt x="240" y="312"/>
                </a:lnTo>
                <a:lnTo>
                  <a:pt x="240" y="318"/>
                </a:lnTo>
                <a:lnTo>
                  <a:pt x="240" y="318"/>
                </a:lnTo>
                <a:lnTo>
                  <a:pt x="240" y="318"/>
                </a:lnTo>
                <a:lnTo>
                  <a:pt x="240" y="318"/>
                </a:lnTo>
                <a:lnTo>
                  <a:pt x="240" y="318"/>
                </a:lnTo>
                <a:lnTo>
                  <a:pt x="240" y="318"/>
                </a:lnTo>
                <a:lnTo>
                  <a:pt x="240" y="318"/>
                </a:lnTo>
                <a:lnTo>
                  <a:pt x="240" y="324"/>
                </a:lnTo>
                <a:lnTo>
                  <a:pt x="240" y="324"/>
                </a:lnTo>
                <a:lnTo>
                  <a:pt x="234" y="324"/>
                </a:lnTo>
                <a:lnTo>
                  <a:pt x="234" y="324"/>
                </a:lnTo>
                <a:lnTo>
                  <a:pt x="234" y="330"/>
                </a:lnTo>
                <a:lnTo>
                  <a:pt x="234" y="330"/>
                </a:lnTo>
                <a:lnTo>
                  <a:pt x="234" y="330"/>
                </a:lnTo>
                <a:lnTo>
                  <a:pt x="234" y="330"/>
                </a:lnTo>
                <a:lnTo>
                  <a:pt x="228" y="336"/>
                </a:lnTo>
                <a:lnTo>
                  <a:pt x="228" y="336"/>
                </a:lnTo>
                <a:lnTo>
                  <a:pt x="228" y="336"/>
                </a:lnTo>
                <a:lnTo>
                  <a:pt x="228" y="336"/>
                </a:lnTo>
                <a:lnTo>
                  <a:pt x="228" y="336"/>
                </a:lnTo>
                <a:lnTo>
                  <a:pt x="228" y="336"/>
                </a:lnTo>
                <a:lnTo>
                  <a:pt x="222" y="336"/>
                </a:lnTo>
                <a:lnTo>
                  <a:pt x="222" y="342"/>
                </a:lnTo>
                <a:lnTo>
                  <a:pt x="222" y="342"/>
                </a:lnTo>
                <a:lnTo>
                  <a:pt x="222" y="342"/>
                </a:lnTo>
                <a:lnTo>
                  <a:pt x="216" y="342"/>
                </a:lnTo>
                <a:lnTo>
                  <a:pt x="216" y="342"/>
                </a:lnTo>
                <a:lnTo>
                  <a:pt x="210" y="342"/>
                </a:lnTo>
                <a:lnTo>
                  <a:pt x="210" y="342"/>
                </a:lnTo>
                <a:lnTo>
                  <a:pt x="210" y="342"/>
                </a:lnTo>
                <a:lnTo>
                  <a:pt x="204" y="342"/>
                </a:lnTo>
                <a:lnTo>
                  <a:pt x="204" y="342"/>
                </a:lnTo>
                <a:lnTo>
                  <a:pt x="204" y="342"/>
                </a:lnTo>
                <a:lnTo>
                  <a:pt x="204" y="342"/>
                </a:lnTo>
                <a:lnTo>
                  <a:pt x="204" y="342"/>
                </a:lnTo>
                <a:lnTo>
                  <a:pt x="204" y="342"/>
                </a:lnTo>
                <a:lnTo>
                  <a:pt x="204" y="342"/>
                </a:lnTo>
                <a:lnTo>
                  <a:pt x="204" y="348"/>
                </a:lnTo>
                <a:lnTo>
                  <a:pt x="204" y="342"/>
                </a:lnTo>
                <a:lnTo>
                  <a:pt x="204" y="348"/>
                </a:lnTo>
                <a:lnTo>
                  <a:pt x="198" y="348"/>
                </a:lnTo>
                <a:lnTo>
                  <a:pt x="198" y="348"/>
                </a:lnTo>
                <a:lnTo>
                  <a:pt x="198" y="348"/>
                </a:lnTo>
                <a:lnTo>
                  <a:pt x="198" y="348"/>
                </a:lnTo>
                <a:lnTo>
                  <a:pt x="198" y="348"/>
                </a:lnTo>
                <a:lnTo>
                  <a:pt x="198" y="348"/>
                </a:lnTo>
                <a:lnTo>
                  <a:pt x="198" y="348"/>
                </a:lnTo>
                <a:lnTo>
                  <a:pt x="198" y="348"/>
                </a:lnTo>
                <a:lnTo>
                  <a:pt x="192" y="348"/>
                </a:lnTo>
                <a:lnTo>
                  <a:pt x="192" y="348"/>
                </a:lnTo>
                <a:lnTo>
                  <a:pt x="192" y="348"/>
                </a:lnTo>
                <a:lnTo>
                  <a:pt x="192" y="348"/>
                </a:lnTo>
                <a:lnTo>
                  <a:pt x="192" y="348"/>
                </a:lnTo>
                <a:lnTo>
                  <a:pt x="192" y="348"/>
                </a:lnTo>
                <a:lnTo>
                  <a:pt x="186" y="348"/>
                </a:lnTo>
                <a:lnTo>
                  <a:pt x="186" y="348"/>
                </a:lnTo>
                <a:lnTo>
                  <a:pt x="186" y="348"/>
                </a:lnTo>
                <a:lnTo>
                  <a:pt x="186" y="348"/>
                </a:lnTo>
                <a:lnTo>
                  <a:pt x="186" y="348"/>
                </a:lnTo>
                <a:lnTo>
                  <a:pt x="186" y="348"/>
                </a:lnTo>
                <a:lnTo>
                  <a:pt x="186" y="348"/>
                </a:lnTo>
                <a:lnTo>
                  <a:pt x="180" y="348"/>
                </a:lnTo>
                <a:lnTo>
                  <a:pt x="180" y="354"/>
                </a:lnTo>
                <a:lnTo>
                  <a:pt x="180" y="348"/>
                </a:lnTo>
                <a:lnTo>
                  <a:pt x="180" y="354"/>
                </a:lnTo>
                <a:lnTo>
                  <a:pt x="180" y="354"/>
                </a:lnTo>
                <a:lnTo>
                  <a:pt x="180" y="354"/>
                </a:lnTo>
                <a:lnTo>
                  <a:pt x="174" y="354"/>
                </a:lnTo>
                <a:lnTo>
                  <a:pt x="174" y="354"/>
                </a:lnTo>
                <a:lnTo>
                  <a:pt x="174" y="354"/>
                </a:lnTo>
                <a:lnTo>
                  <a:pt x="174" y="354"/>
                </a:lnTo>
                <a:lnTo>
                  <a:pt x="168" y="354"/>
                </a:lnTo>
                <a:lnTo>
                  <a:pt x="168" y="348"/>
                </a:lnTo>
                <a:lnTo>
                  <a:pt x="168" y="348"/>
                </a:lnTo>
                <a:lnTo>
                  <a:pt x="162" y="348"/>
                </a:lnTo>
                <a:lnTo>
                  <a:pt x="162" y="348"/>
                </a:lnTo>
                <a:lnTo>
                  <a:pt x="162" y="348"/>
                </a:lnTo>
                <a:lnTo>
                  <a:pt x="162" y="342"/>
                </a:lnTo>
                <a:lnTo>
                  <a:pt x="156" y="342"/>
                </a:lnTo>
                <a:lnTo>
                  <a:pt x="156" y="342"/>
                </a:lnTo>
                <a:lnTo>
                  <a:pt x="156" y="342"/>
                </a:lnTo>
                <a:lnTo>
                  <a:pt x="156" y="342"/>
                </a:lnTo>
                <a:lnTo>
                  <a:pt x="156" y="342"/>
                </a:lnTo>
                <a:lnTo>
                  <a:pt x="156" y="342"/>
                </a:lnTo>
                <a:lnTo>
                  <a:pt x="156" y="342"/>
                </a:lnTo>
                <a:lnTo>
                  <a:pt x="156" y="336"/>
                </a:lnTo>
                <a:lnTo>
                  <a:pt x="156" y="336"/>
                </a:lnTo>
                <a:lnTo>
                  <a:pt x="156" y="336"/>
                </a:lnTo>
                <a:lnTo>
                  <a:pt x="156" y="336"/>
                </a:lnTo>
                <a:lnTo>
                  <a:pt x="150" y="330"/>
                </a:lnTo>
                <a:lnTo>
                  <a:pt x="150" y="336"/>
                </a:lnTo>
                <a:lnTo>
                  <a:pt x="150" y="336"/>
                </a:lnTo>
                <a:lnTo>
                  <a:pt x="150" y="336"/>
                </a:lnTo>
                <a:lnTo>
                  <a:pt x="150" y="336"/>
                </a:lnTo>
                <a:lnTo>
                  <a:pt x="150" y="336"/>
                </a:lnTo>
                <a:lnTo>
                  <a:pt x="150" y="336"/>
                </a:lnTo>
                <a:lnTo>
                  <a:pt x="144" y="330"/>
                </a:lnTo>
                <a:lnTo>
                  <a:pt x="150" y="330"/>
                </a:lnTo>
                <a:lnTo>
                  <a:pt x="144" y="330"/>
                </a:lnTo>
                <a:lnTo>
                  <a:pt x="144" y="330"/>
                </a:lnTo>
                <a:lnTo>
                  <a:pt x="150" y="330"/>
                </a:lnTo>
                <a:lnTo>
                  <a:pt x="150" y="330"/>
                </a:lnTo>
                <a:lnTo>
                  <a:pt x="150" y="324"/>
                </a:lnTo>
                <a:lnTo>
                  <a:pt x="150" y="324"/>
                </a:lnTo>
                <a:lnTo>
                  <a:pt x="150" y="324"/>
                </a:lnTo>
                <a:lnTo>
                  <a:pt x="150" y="324"/>
                </a:lnTo>
                <a:lnTo>
                  <a:pt x="150" y="324"/>
                </a:lnTo>
                <a:lnTo>
                  <a:pt x="144" y="324"/>
                </a:lnTo>
                <a:lnTo>
                  <a:pt x="144" y="324"/>
                </a:lnTo>
                <a:lnTo>
                  <a:pt x="144" y="324"/>
                </a:lnTo>
                <a:lnTo>
                  <a:pt x="144" y="324"/>
                </a:lnTo>
                <a:lnTo>
                  <a:pt x="144" y="324"/>
                </a:lnTo>
                <a:lnTo>
                  <a:pt x="144" y="324"/>
                </a:lnTo>
                <a:lnTo>
                  <a:pt x="144" y="318"/>
                </a:lnTo>
                <a:lnTo>
                  <a:pt x="144" y="318"/>
                </a:lnTo>
                <a:lnTo>
                  <a:pt x="144" y="318"/>
                </a:lnTo>
                <a:lnTo>
                  <a:pt x="144" y="318"/>
                </a:lnTo>
                <a:lnTo>
                  <a:pt x="144" y="312"/>
                </a:lnTo>
                <a:lnTo>
                  <a:pt x="144" y="312"/>
                </a:lnTo>
                <a:lnTo>
                  <a:pt x="144" y="312"/>
                </a:lnTo>
                <a:lnTo>
                  <a:pt x="138" y="306"/>
                </a:lnTo>
                <a:lnTo>
                  <a:pt x="138" y="312"/>
                </a:lnTo>
                <a:lnTo>
                  <a:pt x="138" y="312"/>
                </a:lnTo>
                <a:lnTo>
                  <a:pt x="120" y="300"/>
                </a:lnTo>
                <a:lnTo>
                  <a:pt x="108" y="306"/>
                </a:lnTo>
                <a:lnTo>
                  <a:pt x="108" y="306"/>
                </a:lnTo>
                <a:lnTo>
                  <a:pt x="108" y="306"/>
                </a:lnTo>
                <a:lnTo>
                  <a:pt x="108" y="306"/>
                </a:lnTo>
                <a:lnTo>
                  <a:pt x="102" y="306"/>
                </a:lnTo>
                <a:lnTo>
                  <a:pt x="102" y="306"/>
                </a:lnTo>
                <a:lnTo>
                  <a:pt x="102" y="306"/>
                </a:lnTo>
                <a:lnTo>
                  <a:pt x="102" y="306"/>
                </a:lnTo>
                <a:lnTo>
                  <a:pt x="102" y="306"/>
                </a:lnTo>
                <a:lnTo>
                  <a:pt x="102" y="306"/>
                </a:lnTo>
                <a:lnTo>
                  <a:pt x="96" y="300"/>
                </a:lnTo>
                <a:lnTo>
                  <a:pt x="96" y="300"/>
                </a:lnTo>
                <a:lnTo>
                  <a:pt x="96" y="300"/>
                </a:lnTo>
                <a:lnTo>
                  <a:pt x="96" y="300"/>
                </a:lnTo>
                <a:lnTo>
                  <a:pt x="90" y="300"/>
                </a:lnTo>
                <a:lnTo>
                  <a:pt x="90" y="294"/>
                </a:lnTo>
                <a:lnTo>
                  <a:pt x="90" y="294"/>
                </a:lnTo>
                <a:lnTo>
                  <a:pt x="90" y="294"/>
                </a:lnTo>
                <a:lnTo>
                  <a:pt x="84" y="294"/>
                </a:lnTo>
                <a:lnTo>
                  <a:pt x="84" y="294"/>
                </a:lnTo>
                <a:lnTo>
                  <a:pt x="84" y="288"/>
                </a:lnTo>
                <a:lnTo>
                  <a:pt x="84" y="288"/>
                </a:lnTo>
                <a:lnTo>
                  <a:pt x="78" y="288"/>
                </a:lnTo>
                <a:lnTo>
                  <a:pt x="78" y="288"/>
                </a:lnTo>
                <a:lnTo>
                  <a:pt x="78" y="288"/>
                </a:lnTo>
                <a:lnTo>
                  <a:pt x="78" y="288"/>
                </a:lnTo>
                <a:lnTo>
                  <a:pt x="78" y="288"/>
                </a:lnTo>
                <a:lnTo>
                  <a:pt x="78" y="282"/>
                </a:lnTo>
                <a:lnTo>
                  <a:pt x="72" y="288"/>
                </a:lnTo>
                <a:lnTo>
                  <a:pt x="72" y="282"/>
                </a:lnTo>
                <a:lnTo>
                  <a:pt x="72" y="288"/>
                </a:lnTo>
                <a:lnTo>
                  <a:pt x="72" y="288"/>
                </a:lnTo>
                <a:lnTo>
                  <a:pt x="72" y="282"/>
                </a:lnTo>
                <a:lnTo>
                  <a:pt x="72" y="282"/>
                </a:lnTo>
                <a:lnTo>
                  <a:pt x="72" y="282"/>
                </a:lnTo>
                <a:lnTo>
                  <a:pt x="72" y="282"/>
                </a:lnTo>
                <a:lnTo>
                  <a:pt x="72" y="276"/>
                </a:lnTo>
                <a:lnTo>
                  <a:pt x="66" y="276"/>
                </a:lnTo>
                <a:lnTo>
                  <a:pt x="66" y="276"/>
                </a:lnTo>
                <a:lnTo>
                  <a:pt x="66" y="276"/>
                </a:lnTo>
                <a:lnTo>
                  <a:pt x="66" y="276"/>
                </a:lnTo>
                <a:lnTo>
                  <a:pt x="66" y="276"/>
                </a:lnTo>
                <a:lnTo>
                  <a:pt x="66" y="276"/>
                </a:lnTo>
                <a:lnTo>
                  <a:pt x="66" y="276"/>
                </a:lnTo>
                <a:lnTo>
                  <a:pt x="66" y="276"/>
                </a:lnTo>
                <a:lnTo>
                  <a:pt x="66" y="270"/>
                </a:lnTo>
                <a:lnTo>
                  <a:pt x="60" y="270"/>
                </a:lnTo>
                <a:lnTo>
                  <a:pt x="60" y="270"/>
                </a:lnTo>
                <a:lnTo>
                  <a:pt x="60" y="270"/>
                </a:lnTo>
                <a:lnTo>
                  <a:pt x="60" y="270"/>
                </a:lnTo>
                <a:lnTo>
                  <a:pt x="60" y="270"/>
                </a:lnTo>
                <a:lnTo>
                  <a:pt x="60" y="264"/>
                </a:lnTo>
                <a:lnTo>
                  <a:pt x="60" y="264"/>
                </a:lnTo>
                <a:lnTo>
                  <a:pt x="54" y="264"/>
                </a:lnTo>
                <a:lnTo>
                  <a:pt x="54" y="258"/>
                </a:lnTo>
                <a:lnTo>
                  <a:pt x="54" y="252"/>
                </a:lnTo>
                <a:lnTo>
                  <a:pt x="54" y="252"/>
                </a:lnTo>
                <a:lnTo>
                  <a:pt x="54" y="252"/>
                </a:lnTo>
                <a:lnTo>
                  <a:pt x="48" y="252"/>
                </a:lnTo>
                <a:lnTo>
                  <a:pt x="48" y="252"/>
                </a:lnTo>
                <a:lnTo>
                  <a:pt x="48" y="252"/>
                </a:lnTo>
                <a:lnTo>
                  <a:pt x="48" y="252"/>
                </a:lnTo>
                <a:lnTo>
                  <a:pt x="48" y="252"/>
                </a:lnTo>
                <a:lnTo>
                  <a:pt x="48" y="252"/>
                </a:lnTo>
                <a:lnTo>
                  <a:pt x="48" y="246"/>
                </a:lnTo>
                <a:lnTo>
                  <a:pt x="48" y="246"/>
                </a:lnTo>
                <a:lnTo>
                  <a:pt x="48" y="246"/>
                </a:lnTo>
                <a:lnTo>
                  <a:pt x="48" y="246"/>
                </a:lnTo>
                <a:lnTo>
                  <a:pt x="48" y="246"/>
                </a:lnTo>
                <a:lnTo>
                  <a:pt x="48" y="246"/>
                </a:lnTo>
                <a:lnTo>
                  <a:pt x="48" y="246"/>
                </a:lnTo>
                <a:lnTo>
                  <a:pt x="54" y="246"/>
                </a:lnTo>
                <a:lnTo>
                  <a:pt x="48" y="246"/>
                </a:lnTo>
                <a:lnTo>
                  <a:pt x="48" y="240"/>
                </a:lnTo>
                <a:lnTo>
                  <a:pt x="48" y="240"/>
                </a:lnTo>
                <a:lnTo>
                  <a:pt x="48" y="240"/>
                </a:lnTo>
                <a:lnTo>
                  <a:pt x="48" y="240"/>
                </a:lnTo>
                <a:lnTo>
                  <a:pt x="48" y="240"/>
                </a:lnTo>
                <a:lnTo>
                  <a:pt x="48" y="234"/>
                </a:lnTo>
                <a:lnTo>
                  <a:pt x="48" y="234"/>
                </a:lnTo>
                <a:lnTo>
                  <a:pt x="48" y="234"/>
                </a:lnTo>
                <a:lnTo>
                  <a:pt x="48" y="234"/>
                </a:lnTo>
                <a:lnTo>
                  <a:pt x="48" y="234"/>
                </a:lnTo>
                <a:lnTo>
                  <a:pt x="48" y="234"/>
                </a:lnTo>
                <a:lnTo>
                  <a:pt x="48" y="234"/>
                </a:lnTo>
                <a:lnTo>
                  <a:pt x="42" y="234"/>
                </a:lnTo>
                <a:lnTo>
                  <a:pt x="42" y="228"/>
                </a:lnTo>
                <a:lnTo>
                  <a:pt x="42" y="228"/>
                </a:lnTo>
                <a:lnTo>
                  <a:pt x="42" y="228"/>
                </a:lnTo>
                <a:lnTo>
                  <a:pt x="42" y="228"/>
                </a:lnTo>
                <a:lnTo>
                  <a:pt x="48" y="228"/>
                </a:lnTo>
                <a:lnTo>
                  <a:pt x="42" y="228"/>
                </a:lnTo>
                <a:lnTo>
                  <a:pt x="48" y="222"/>
                </a:lnTo>
                <a:lnTo>
                  <a:pt x="42" y="222"/>
                </a:lnTo>
                <a:lnTo>
                  <a:pt x="48" y="222"/>
                </a:lnTo>
                <a:lnTo>
                  <a:pt x="42" y="222"/>
                </a:lnTo>
                <a:lnTo>
                  <a:pt x="48" y="222"/>
                </a:lnTo>
                <a:lnTo>
                  <a:pt x="42" y="222"/>
                </a:lnTo>
                <a:lnTo>
                  <a:pt x="48" y="216"/>
                </a:lnTo>
                <a:lnTo>
                  <a:pt x="42" y="216"/>
                </a:lnTo>
                <a:lnTo>
                  <a:pt x="42" y="216"/>
                </a:lnTo>
                <a:lnTo>
                  <a:pt x="42" y="210"/>
                </a:lnTo>
                <a:lnTo>
                  <a:pt x="48" y="210"/>
                </a:lnTo>
                <a:lnTo>
                  <a:pt x="48" y="210"/>
                </a:lnTo>
                <a:lnTo>
                  <a:pt x="48" y="210"/>
                </a:lnTo>
                <a:lnTo>
                  <a:pt x="42" y="210"/>
                </a:lnTo>
                <a:lnTo>
                  <a:pt x="42" y="204"/>
                </a:lnTo>
                <a:lnTo>
                  <a:pt x="42" y="204"/>
                </a:lnTo>
                <a:lnTo>
                  <a:pt x="42" y="198"/>
                </a:lnTo>
                <a:lnTo>
                  <a:pt x="48" y="198"/>
                </a:lnTo>
                <a:lnTo>
                  <a:pt x="48" y="192"/>
                </a:lnTo>
                <a:lnTo>
                  <a:pt x="48" y="186"/>
                </a:lnTo>
                <a:lnTo>
                  <a:pt x="48" y="186"/>
                </a:lnTo>
                <a:lnTo>
                  <a:pt x="48" y="186"/>
                </a:lnTo>
                <a:lnTo>
                  <a:pt x="54" y="180"/>
                </a:lnTo>
                <a:lnTo>
                  <a:pt x="54" y="180"/>
                </a:lnTo>
                <a:lnTo>
                  <a:pt x="60" y="180"/>
                </a:lnTo>
                <a:lnTo>
                  <a:pt x="60" y="174"/>
                </a:lnTo>
                <a:lnTo>
                  <a:pt x="60" y="174"/>
                </a:lnTo>
                <a:lnTo>
                  <a:pt x="60" y="174"/>
                </a:lnTo>
                <a:lnTo>
                  <a:pt x="60" y="168"/>
                </a:lnTo>
                <a:lnTo>
                  <a:pt x="60" y="162"/>
                </a:lnTo>
                <a:lnTo>
                  <a:pt x="60" y="162"/>
                </a:lnTo>
                <a:lnTo>
                  <a:pt x="60" y="162"/>
                </a:lnTo>
                <a:lnTo>
                  <a:pt x="60" y="162"/>
                </a:lnTo>
                <a:lnTo>
                  <a:pt x="60" y="162"/>
                </a:lnTo>
                <a:lnTo>
                  <a:pt x="60" y="156"/>
                </a:lnTo>
                <a:lnTo>
                  <a:pt x="66" y="156"/>
                </a:lnTo>
                <a:lnTo>
                  <a:pt x="66" y="156"/>
                </a:lnTo>
                <a:lnTo>
                  <a:pt x="66" y="150"/>
                </a:lnTo>
                <a:lnTo>
                  <a:pt x="66" y="150"/>
                </a:lnTo>
                <a:lnTo>
                  <a:pt x="66" y="150"/>
                </a:lnTo>
                <a:lnTo>
                  <a:pt x="66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54" y="144"/>
                </a:lnTo>
                <a:lnTo>
                  <a:pt x="54" y="150"/>
                </a:lnTo>
                <a:lnTo>
                  <a:pt x="54" y="150"/>
                </a:lnTo>
                <a:lnTo>
                  <a:pt x="48" y="150"/>
                </a:lnTo>
                <a:lnTo>
                  <a:pt x="6" y="15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84" name="Freeform 517"/>
          <p:cNvSpPr>
            <a:spLocks/>
          </p:cNvSpPr>
          <p:nvPr/>
        </p:nvSpPr>
        <p:spPr bwMode="auto">
          <a:xfrm>
            <a:off x="5444987" y="3055756"/>
            <a:ext cx="327627" cy="256964"/>
          </a:xfrm>
          <a:custGeom>
            <a:avLst/>
            <a:gdLst>
              <a:gd name="T0" fmla="*/ 0 w 306"/>
              <a:gd name="T1" fmla="*/ 30 h 240"/>
              <a:gd name="T2" fmla="*/ 0 w 306"/>
              <a:gd name="T3" fmla="*/ 18 h 240"/>
              <a:gd name="T4" fmla="*/ 6 w 306"/>
              <a:gd name="T5" fmla="*/ 12 h 240"/>
              <a:gd name="T6" fmla="*/ 6 w 306"/>
              <a:gd name="T7" fmla="*/ 6 h 240"/>
              <a:gd name="T8" fmla="*/ 6 w 306"/>
              <a:gd name="T9" fmla="*/ 0 h 240"/>
              <a:gd name="T10" fmla="*/ 132 w 306"/>
              <a:gd name="T11" fmla="*/ 6 h 240"/>
              <a:gd name="T12" fmla="*/ 132 w 306"/>
              <a:gd name="T13" fmla="*/ 12 h 240"/>
              <a:gd name="T14" fmla="*/ 126 w 306"/>
              <a:gd name="T15" fmla="*/ 24 h 240"/>
              <a:gd name="T16" fmla="*/ 120 w 306"/>
              <a:gd name="T17" fmla="*/ 30 h 240"/>
              <a:gd name="T18" fmla="*/ 114 w 306"/>
              <a:gd name="T19" fmla="*/ 48 h 240"/>
              <a:gd name="T20" fmla="*/ 174 w 306"/>
              <a:gd name="T21" fmla="*/ 48 h 240"/>
              <a:gd name="T22" fmla="*/ 180 w 306"/>
              <a:gd name="T23" fmla="*/ 66 h 240"/>
              <a:gd name="T24" fmla="*/ 192 w 306"/>
              <a:gd name="T25" fmla="*/ 66 h 240"/>
              <a:gd name="T26" fmla="*/ 192 w 306"/>
              <a:gd name="T27" fmla="*/ 66 h 240"/>
              <a:gd name="T28" fmla="*/ 204 w 306"/>
              <a:gd name="T29" fmla="*/ 60 h 240"/>
              <a:gd name="T30" fmla="*/ 210 w 306"/>
              <a:gd name="T31" fmla="*/ 60 h 240"/>
              <a:gd name="T32" fmla="*/ 216 w 306"/>
              <a:gd name="T33" fmla="*/ 60 h 240"/>
              <a:gd name="T34" fmla="*/ 222 w 306"/>
              <a:gd name="T35" fmla="*/ 66 h 240"/>
              <a:gd name="T36" fmla="*/ 228 w 306"/>
              <a:gd name="T37" fmla="*/ 66 h 240"/>
              <a:gd name="T38" fmla="*/ 240 w 306"/>
              <a:gd name="T39" fmla="*/ 72 h 240"/>
              <a:gd name="T40" fmla="*/ 258 w 306"/>
              <a:gd name="T41" fmla="*/ 72 h 240"/>
              <a:gd name="T42" fmla="*/ 276 w 306"/>
              <a:gd name="T43" fmla="*/ 66 h 240"/>
              <a:gd name="T44" fmla="*/ 306 w 306"/>
              <a:gd name="T45" fmla="*/ 84 h 240"/>
              <a:gd name="T46" fmla="*/ 300 w 306"/>
              <a:gd name="T47" fmla="*/ 90 h 240"/>
              <a:gd name="T48" fmla="*/ 300 w 306"/>
              <a:gd name="T49" fmla="*/ 102 h 240"/>
              <a:gd name="T50" fmla="*/ 288 w 306"/>
              <a:gd name="T51" fmla="*/ 108 h 240"/>
              <a:gd name="T52" fmla="*/ 282 w 306"/>
              <a:gd name="T53" fmla="*/ 120 h 240"/>
              <a:gd name="T54" fmla="*/ 276 w 306"/>
              <a:gd name="T55" fmla="*/ 126 h 240"/>
              <a:gd name="T56" fmla="*/ 276 w 306"/>
              <a:gd name="T57" fmla="*/ 132 h 240"/>
              <a:gd name="T58" fmla="*/ 288 w 306"/>
              <a:gd name="T59" fmla="*/ 132 h 240"/>
              <a:gd name="T60" fmla="*/ 294 w 306"/>
              <a:gd name="T61" fmla="*/ 138 h 240"/>
              <a:gd name="T62" fmla="*/ 294 w 306"/>
              <a:gd name="T63" fmla="*/ 156 h 240"/>
              <a:gd name="T64" fmla="*/ 276 w 306"/>
              <a:gd name="T65" fmla="*/ 186 h 240"/>
              <a:gd name="T66" fmla="*/ 270 w 306"/>
              <a:gd name="T67" fmla="*/ 192 h 240"/>
              <a:gd name="T68" fmla="*/ 264 w 306"/>
              <a:gd name="T69" fmla="*/ 198 h 240"/>
              <a:gd name="T70" fmla="*/ 264 w 306"/>
              <a:gd name="T71" fmla="*/ 204 h 240"/>
              <a:gd name="T72" fmla="*/ 258 w 306"/>
              <a:gd name="T73" fmla="*/ 210 h 240"/>
              <a:gd name="T74" fmla="*/ 258 w 306"/>
              <a:gd name="T75" fmla="*/ 210 h 240"/>
              <a:gd name="T76" fmla="*/ 252 w 306"/>
              <a:gd name="T77" fmla="*/ 222 h 240"/>
              <a:gd name="T78" fmla="*/ 240 w 306"/>
              <a:gd name="T79" fmla="*/ 240 h 240"/>
              <a:gd name="T80" fmla="*/ 234 w 306"/>
              <a:gd name="T81" fmla="*/ 240 h 240"/>
              <a:gd name="T82" fmla="*/ 228 w 306"/>
              <a:gd name="T83" fmla="*/ 228 h 240"/>
              <a:gd name="T84" fmla="*/ 216 w 306"/>
              <a:gd name="T85" fmla="*/ 228 h 240"/>
              <a:gd name="T86" fmla="*/ 204 w 306"/>
              <a:gd name="T87" fmla="*/ 228 h 240"/>
              <a:gd name="T88" fmla="*/ 204 w 306"/>
              <a:gd name="T89" fmla="*/ 222 h 240"/>
              <a:gd name="T90" fmla="*/ 210 w 306"/>
              <a:gd name="T91" fmla="*/ 216 h 240"/>
              <a:gd name="T92" fmla="*/ 204 w 306"/>
              <a:gd name="T93" fmla="*/ 210 h 240"/>
              <a:gd name="T94" fmla="*/ 198 w 306"/>
              <a:gd name="T95" fmla="*/ 180 h 240"/>
              <a:gd name="T96" fmla="*/ 186 w 306"/>
              <a:gd name="T97" fmla="*/ 150 h 240"/>
              <a:gd name="T98" fmla="*/ 180 w 306"/>
              <a:gd name="T99" fmla="*/ 138 h 240"/>
              <a:gd name="T100" fmla="*/ 96 w 306"/>
              <a:gd name="T101" fmla="*/ 132 h 240"/>
              <a:gd name="T102" fmla="*/ 36 w 306"/>
              <a:gd name="T103" fmla="*/ 114 h 240"/>
              <a:gd name="T104" fmla="*/ 42 w 306"/>
              <a:gd name="T105" fmla="*/ 96 h 240"/>
              <a:gd name="T106" fmla="*/ 18 w 306"/>
              <a:gd name="T107" fmla="*/ 78 h 240"/>
              <a:gd name="T108" fmla="*/ 0 w 306"/>
              <a:gd name="T109" fmla="*/ 84 h 240"/>
              <a:gd name="T110" fmla="*/ 6 w 306"/>
              <a:gd name="T111" fmla="*/ 66 h 240"/>
              <a:gd name="T112" fmla="*/ 0 w 306"/>
              <a:gd name="T113" fmla="*/ 60 h 240"/>
              <a:gd name="T114" fmla="*/ 0 w 306"/>
              <a:gd name="T115" fmla="*/ 54 h 240"/>
              <a:gd name="T116" fmla="*/ 0 w 306"/>
              <a:gd name="T117" fmla="*/ 36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06" h="240">
                <a:moveTo>
                  <a:pt x="0" y="36"/>
                </a:moveTo>
                <a:lnTo>
                  <a:pt x="0" y="36"/>
                </a:lnTo>
                <a:lnTo>
                  <a:pt x="0" y="36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30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24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2"/>
                </a:lnTo>
                <a:lnTo>
                  <a:pt x="6" y="12"/>
                </a:lnTo>
                <a:lnTo>
                  <a:pt x="0" y="12"/>
                </a:lnTo>
                <a:lnTo>
                  <a:pt x="0" y="12"/>
                </a:lnTo>
                <a:lnTo>
                  <a:pt x="6" y="12"/>
                </a:lnTo>
                <a:lnTo>
                  <a:pt x="6" y="12"/>
                </a:lnTo>
                <a:lnTo>
                  <a:pt x="0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6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6" y="0"/>
                </a:lnTo>
                <a:lnTo>
                  <a:pt x="54" y="0"/>
                </a:lnTo>
                <a:lnTo>
                  <a:pt x="132" y="0"/>
                </a:lnTo>
                <a:lnTo>
                  <a:pt x="132" y="0"/>
                </a:lnTo>
                <a:lnTo>
                  <a:pt x="132" y="0"/>
                </a:lnTo>
                <a:lnTo>
                  <a:pt x="132" y="0"/>
                </a:lnTo>
                <a:lnTo>
                  <a:pt x="132" y="0"/>
                </a:lnTo>
                <a:lnTo>
                  <a:pt x="132" y="0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26" y="6"/>
                </a:lnTo>
                <a:lnTo>
                  <a:pt x="126" y="6"/>
                </a:lnTo>
                <a:lnTo>
                  <a:pt x="132" y="12"/>
                </a:lnTo>
                <a:lnTo>
                  <a:pt x="132" y="12"/>
                </a:lnTo>
                <a:lnTo>
                  <a:pt x="126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14" y="30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8"/>
                </a:lnTo>
                <a:lnTo>
                  <a:pt x="114" y="48"/>
                </a:lnTo>
                <a:lnTo>
                  <a:pt x="144" y="42"/>
                </a:lnTo>
                <a:lnTo>
                  <a:pt x="156" y="42"/>
                </a:lnTo>
                <a:lnTo>
                  <a:pt x="162" y="36"/>
                </a:lnTo>
                <a:lnTo>
                  <a:pt x="168" y="36"/>
                </a:lnTo>
                <a:lnTo>
                  <a:pt x="174" y="36"/>
                </a:lnTo>
                <a:lnTo>
                  <a:pt x="180" y="36"/>
                </a:lnTo>
                <a:lnTo>
                  <a:pt x="174" y="42"/>
                </a:lnTo>
                <a:lnTo>
                  <a:pt x="180" y="42"/>
                </a:lnTo>
                <a:lnTo>
                  <a:pt x="180" y="48"/>
                </a:lnTo>
                <a:lnTo>
                  <a:pt x="174" y="48"/>
                </a:lnTo>
                <a:lnTo>
                  <a:pt x="180" y="48"/>
                </a:lnTo>
                <a:lnTo>
                  <a:pt x="180" y="48"/>
                </a:lnTo>
                <a:lnTo>
                  <a:pt x="180" y="54"/>
                </a:lnTo>
                <a:lnTo>
                  <a:pt x="180" y="60"/>
                </a:lnTo>
                <a:lnTo>
                  <a:pt x="180" y="60"/>
                </a:lnTo>
                <a:lnTo>
                  <a:pt x="180" y="66"/>
                </a:lnTo>
                <a:lnTo>
                  <a:pt x="180" y="66"/>
                </a:lnTo>
                <a:lnTo>
                  <a:pt x="180" y="66"/>
                </a:lnTo>
                <a:lnTo>
                  <a:pt x="180" y="66"/>
                </a:lnTo>
                <a:lnTo>
                  <a:pt x="186" y="66"/>
                </a:lnTo>
                <a:lnTo>
                  <a:pt x="180" y="66"/>
                </a:lnTo>
                <a:lnTo>
                  <a:pt x="186" y="72"/>
                </a:lnTo>
                <a:lnTo>
                  <a:pt x="186" y="72"/>
                </a:lnTo>
                <a:lnTo>
                  <a:pt x="186" y="72"/>
                </a:lnTo>
                <a:lnTo>
                  <a:pt x="186" y="72"/>
                </a:lnTo>
                <a:lnTo>
                  <a:pt x="186" y="72"/>
                </a:lnTo>
                <a:lnTo>
                  <a:pt x="186" y="72"/>
                </a:lnTo>
                <a:lnTo>
                  <a:pt x="186" y="72"/>
                </a:lnTo>
                <a:lnTo>
                  <a:pt x="192" y="72"/>
                </a:lnTo>
                <a:lnTo>
                  <a:pt x="192" y="72"/>
                </a:lnTo>
                <a:lnTo>
                  <a:pt x="192" y="72"/>
                </a:lnTo>
                <a:lnTo>
                  <a:pt x="192" y="66"/>
                </a:lnTo>
                <a:lnTo>
                  <a:pt x="192" y="66"/>
                </a:lnTo>
                <a:lnTo>
                  <a:pt x="192" y="66"/>
                </a:lnTo>
                <a:lnTo>
                  <a:pt x="192" y="66"/>
                </a:lnTo>
                <a:lnTo>
                  <a:pt x="192" y="66"/>
                </a:lnTo>
                <a:lnTo>
                  <a:pt x="192" y="66"/>
                </a:lnTo>
                <a:lnTo>
                  <a:pt x="192" y="66"/>
                </a:lnTo>
                <a:lnTo>
                  <a:pt x="192" y="66"/>
                </a:lnTo>
                <a:lnTo>
                  <a:pt x="192" y="66"/>
                </a:lnTo>
                <a:lnTo>
                  <a:pt x="192" y="66"/>
                </a:lnTo>
                <a:lnTo>
                  <a:pt x="192" y="66"/>
                </a:lnTo>
                <a:lnTo>
                  <a:pt x="192" y="66"/>
                </a:lnTo>
                <a:lnTo>
                  <a:pt x="198" y="66"/>
                </a:lnTo>
                <a:lnTo>
                  <a:pt x="198" y="66"/>
                </a:lnTo>
                <a:lnTo>
                  <a:pt x="198" y="66"/>
                </a:lnTo>
                <a:lnTo>
                  <a:pt x="198" y="60"/>
                </a:lnTo>
                <a:lnTo>
                  <a:pt x="198" y="60"/>
                </a:lnTo>
                <a:lnTo>
                  <a:pt x="198" y="60"/>
                </a:lnTo>
                <a:lnTo>
                  <a:pt x="198" y="60"/>
                </a:lnTo>
                <a:lnTo>
                  <a:pt x="198" y="60"/>
                </a:lnTo>
                <a:lnTo>
                  <a:pt x="198" y="60"/>
                </a:lnTo>
                <a:lnTo>
                  <a:pt x="198" y="60"/>
                </a:lnTo>
                <a:lnTo>
                  <a:pt x="204" y="60"/>
                </a:lnTo>
                <a:lnTo>
                  <a:pt x="204" y="60"/>
                </a:lnTo>
                <a:lnTo>
                  <a:pt x="204" y="60"/>
                </a:lnTo>
                <a:lnTo>
                  <a:pt x="204" y="54"/>
                </a:lnTo>
                <a:lnTo>
                  <a:pt x="204" y="54"/>
                </a:lnTo>
                <a:lnTo>
                  <a:pt x="204" y="54"/>
                </a:lnTo>
                <a:lnTo>
                  <a:pt x="210" y="54"/>
                </a:lnTo>
                <a:lnTo>
                  <a:pt x="210" y="54"/>
                </a:lnTo>
                <a:lnTo>
                  <a:pt x="204" y="54"/>
                </a:lnTo>
                <a:lnTo>
                  <a:pt x="210" y="60"/>
                </a:lnTo>
                <a:lnTo>
                  <a:pt x="210" y="54"/>
                </a:lnTo>
                <a:lnTo>
                  <a:pt x="210" y="60"/>
                </a:lnTo>
                <a:lnTo>
                  <a:pt x="210" y="60"/>
                </a:lnTo>
                <a:lnTo>
                  <a:pt x="210" y="60"/>
                </a:lnTo>
                <a:lnTo>
                  <a:pt x="210" y="60"/>
                </a:lnTo>
                <a:lnTo>
                  <a:pt x="210" y="54"/>
                </a:lnTo>
                <a:lnTo>
                  <a:pt x="210" y="54"/>
                </a:lnTo>
                <a:lnTo>
                  <a:pt x="210" y="54"/>
                </a:lnTo>
                <a:lnTo>
                  <a:pt x="210" y="54"/>
                </a:lnTo>
                <a:lnTo>
                  <a:pt x="210" y="60"/>
                </a:lnTo>
                <a:lnTo>
                  <a:pt x="216" y="60"/>
                </a:lnTo>
                <a:lnTo>
                  <a:pt x="210" y="60"/>
                </a:lnTo>
                <a:lnTo>
                  <a:pt x="216" y="60"/>
                </a:lnTo>
                <a:lnTo>
                  <a:pt x="216" y="60"/>
                </a:lnTo>
                <a:lnTo>
                  <a:pt x="216" y="60"/>
                </a:lnTo>
                <a:lnTo>
                  <a:pt x="216" y="60"/>
                </a:lnTo>
                <a:lnTo>
                  <a:pt x="216" y="66"/>
                </a:lnTo>
                <a:lnTo>
                  <a:pt x="216" y="60"/>
                </a:lnTo>
                <a:lnTo>
                  <a:pt x="216" y="60"/>
                </a:lnTo>
                <a:lnTo>
                  <a:pt x="222" y="60"/>
                </a:lnTo>
                <a:lnTo>
                  <a:pt x="222" y="60"/>
                </a:lnTo>
                <a:lnTo>
                  <a:pt x="222" y="66"/>
                </a:lnTo>
                <a:lnTo>
                  <a:pt x="222" y="66"/>
                </a:lnTo>
                <a:lnTo>
                  <a:pt x="222" y="66"/>
                </a:lnTo>
                <a:lnTo>
                  <a:pt x="222" y="66"/>
                </a:lnTo>
                <a:lnTo>
                  <a:pt x="222" y="66"/>
                </a:lnTo>
                <a:lnTo>
                  <a:pt x="228" y="66"/>
                </a:lnTo>
                <a:lnTo>
                  <a:pt x="228" y="66"/>
                </a:lnTo>
                <a:lnTo>
                  <a:pt x="222" y="60"/>
                </a:lnTo>
                <a:lnTo>
                  <a:pt x="228" y="60"/>
                </a:lnTo>
                <a:lnTo>
                  <a:pt x="228" y="60"/>
                </a:lnTo>
                <a:lnTo>
                  <a:pt x="228" y="60"/>
                </a:lnTo>
                <a:lnTo>
                  <a:pt x="228" y="60"/>
                </a:lnTo>
                <a:lnTo>
                  <a:pt x="228" y="60"/>
                </a:lnTo>
                <a:lnTo>
                  <a:pt x="228" y="66"/>
                </a:lnTo>
                <a:lnTo>
                  <a:pt x="228" y="66"/>
                </a:lnTo>
                <a:lnTo>
                  <a:pt x="228" y="66"/>
                </a:lnTo>
                <a:lnTo>
                  <a:pt x="228" y="66"/>
                </a:lnTo>
                <a:lnTo>
                  <a:pt x="234" y="66"/>
                </a:lnTo>
                <a:lnTo>
                  <a:pt x="234" y="72"/>
                </a:lnTo>
                <a:lnTo>
                  <a:pt x="234" y="72"/>
                </a:lnTo>
                <a:lnTo>
                  <a:pt x="234" y="72"/>
                </a:lnTo>
                <a:lnTo>
                  <a:pt x="234" y="72"/>
                </a:lnTo>
                <a:lnTo>
                  <a:pt x="234" y="72"/>
                </a:lnTo>
                <a:lnTo>
                  <a:pt x="240" y="72"/>
                </a:lnTo>
                <a:lnTo>
                  <a:pt x="240" y="72"/>
                </a:lnTo>
                <a:lnTo>
                  <a:pt x="240" y="66"/>
                </a:lnTo>
                <a:lnTo>
                  <a:pt x="246" y="72"/>
                </a:lnTo>
                <a:lnTo>
                  <a:pt x="252" y="72"/>
                </a:lnTo>
                <a:lnTo>
                  <a:pt x="252" y="72"/>
                </a:lnTo>
                <a:lnTo>
                  <a:pt x="252" y="72"/>
                </a:lnTo>
                <a:lnTo>
                  <a:pt x="252" y="72"/>
                </a:lnTo>
                <a:lnTo>
                  <a:pt x="252" y="72"/>
                </a:lnTo>
                <a:lnTo>
                  <a:pt x="252" y="72"/>
                </a:lnTo>
                <a:lnTo>
                  <a:pt x="258" y="72"/>
                </a:lnTo>
                <a:lnTo>
                  <a:pt x="258" y="72"/>
                </a:lnTo>
                <a:lnTo>
                  <a:pt x="258" y="72"/>
                </a:lnTo>
                <a:lnTo>
                  <a:pt x="258" y="72"/>
                </a:lnTo>
                <a:lnTo>
                  <a:pt x="258" y="66"/>
                </a:lnTo>
                <a:lnTo>
                  <a:pt x="258" y="66"/>
                </a:lnTo>
                <a:lnTo>
                  <a:pt x="264" y="66"/>
                </a:lnTo>
                <a:lnTo>
                  <a:pt x="264" y="66"/>
                </a:lnTo>
                <a:lnTo>
                  <a:pt x="264" y="66"/>
                </a:lnTo>
                <a:lnTo>
                  <a:pt x="270" y="66"/>
                </a:lnTo>
                <a:lnTo>
                  <a:pt x="270" y="66"/>
                </a:lnTo>
                <a:lnTo>
                  <a:pt x="270" y="66"/>
                </a:lnTo>
                <a:lnTo>
                  <a:pt x="276" y="66"/>
                </a:lnTo>
                <a:lnTo>
                  <a:pt x="276" y="66"/>
                </a:lnTo>
                <a:lnTo>
                  <a:pt x="276" y="66"/>
                </a:lnTo>
                <a:lnTo>
                  <a:pt x="276" y="66"/>
                </a:lnTo>
                <a:lnTo>
                  <a:pt x="276" y="66"/>
                </a:lnTo>
                <a:lnTo>
                  <a:pt x="282" y="66"/>
                </a:lnTo>
                <a:lnTo>
                  <a:pt x="282" y="72"/>
                </a:lnTo>
                <a:lnTo>
                  <a:pt x="282" y="72"/>
                </a:lnTo>
                <a:lnTo>
                  <a:pt x="282" y="72"/>
                </a:lnTo>
                <a:lnTo>
                  <a:pt x="282" y="72"/>
                </a:lnTo>
                <a:lnTo>
                  <a:pt x="282" y="78"/>
                </a:lnTo>
                <a:lnTo>
                  <a:pt x="306" y="84"/>
                </a:lnTo>
                <a:lnTo>
                  <a:pt x="306" y="84"/>
                </a:lnTo>
                <a:lnTo>
                  <a:pt x="306" y="84"/>
                </a:lnTo>
                <a:lnTo>
                  <a:pt x="306" y="84"/>
                </a:lnTo>
                <a:lnTo>
                  <a:pt x="306" y="84"/>
                </a:lnTo>
                <a:lnTo>
                  <a:pt x="306" y="84"/>
                </a:lnTo>
                <a:lnTo>
                  <a:pt x="306" y="90"/>
                </a:lnTo>
                <a:lnTo>
                  <a:pt x="306" y="90"/>
                </a:lnTo>
                <a:lnTo>
                  <a:pt x="306" y="84"/>
                </a:lnTo>
                <a:lnTo>
                  <a:pt x="306" y="90"/>
                </a:lnTo>
                <a:lnTo>
                  <a:pt x="306" y="90"/>
                </a:lnTo>
                <a:lnTo>
                  <a:pt x="306" y="90"/>
                </a:lnTo>
                <a:lnTo>
                  <a:pt x="300" y="90"/>
                </a:lnTo>
                <a:lnTo>
                  <a:pt x="306" y="90"/>
                </a:lnTo>
                <a:lnTo>
                  <a:pt x="306" y="90"/>
                </a:lnTo>
                <a:lnTo>
                  <a:pt x="300" y="90"/>
                </a:lnTo>
                <a:lnTo>
                  <a:pt x="306" y="96"/>
                </a:lnTo>
                <a:lnTo>
                  <a:pt x="300" y="96"/>
                </a:lnTo>
                <a:lnTo>
                  <a:pt x="300" y="96"/>
                </a:lnTo>
                <a:lnTo>
                  <a:pt x="300" y="96"/>
                </a:lnTo>
                <a:lnTo>
                  <a:pt x="300" y="96"/>
                </a:lnTo>
                <a:lnTo>
                  <a:pt x="300" y="96"/>
                </a:lnTo>
                <a:lnTo>
                  <a:pt x="300" y="96"/>
                </a:lnTo>
                <a:lnTo>
                  <a:pt x="300" y="102"/>
                </a:lnTo>
                <a:lnTo>
                  <a:pt x="294" y="102"/>
                </a:lnTo>
                <a:lnTo>
                  <a:pt x="294" y="102"/>
                </a:lnTo>
                <a:lnTo>
                  <a:pt x="294" y="102"/>
                </a:lnTo>
                <a:lnTo>
                  <a:pt x="294" y="102"/>
                </a:lnTo>
                <a:lnTo>
                  <a:pt x="294" y="102"/>
                </a:lnTo>
                <a:lnTo>
                  <a:pt x="294" y="102"/>
                </a:lnTo>
                <a:lnTo>
                  <a:pt x="294" y="102"/>
                </a:lnTo>
                <a:lnTo>
                  <a:pt x="294" y="108"/>
                </a:lnTo>
                <a:lnTo>
                  <a:pt x="294" y="108"/>
                </a:lnTo>
                <a:lnTo>
                  <a:pt x="294" y="108"/>
                </a:lnTo>
                <a:lnTo>
                  <a:pt x="288" y="108"/>
                </a:lnTo>
                <a:lnTo>
                  <a:pt x="288" y="108"/>
                </a:lnTo>
                <a:lnTo>
                  <a:pt x="288" y="108"/>
                </a:lnTo>
                <a:lnTo>
                  <a:pt x="288" y="114"/>
                </a:lnTo>
                <a:lnTo>
                  <a:pt x="288" y="114"/>
                </a:lnTo>
                <a:lnTo>
                  <a:pt x="288" y="114"/>
                </a:lnTo>
                <a:lnTo>
                  <a:pt x="288" y="114"/>
                </a:lnTo>
                <a:lnTo>
                  <a:pt x="288" y="114"/>
                </a:lnTo>
                <a:lnTo>
                  <a:pt x="288" y="114"/>
                </a:lnTo>
                <a:lnTo>
                  <a:pt x="288" y="120"/>
                </a:lnTo>
                <a:lnTo>
                  <a:pt x="282" y="120"/>
                </a:lnTo>
                <a:lnTo>
                  <a:pt x="282" y="120"/>
                </a:lnTo>
                <a:lnTo>
                  <a:pt x="282" y="120"/>
                </a:lnTo>
                <a:lnTo>
                  <a:pt x="282" y="120"/>
                </a:lnTo>
                <a:lnTo>
                  <a:pt x="282" y="120"/>
                </a:lnTo>
                <a:lnTo>
                  <a:pt x="282" y="120"/>
                </a:lnTo>
                <a:lnTo>
                  <a:pt x="282" y="120"/>
                </a:lnTo>
                <a:lnTo>
                  <a:pt x="282" y="126"/>
                </a:lnTo>
                <a:lnTo>
                  <a:pt x="282" y="126"/>
                </a:lnTo>
                <a:lnTo>
                  <a:pt x="276" y="126"/>
                </a:lnTo>
                <a:lnTo>
                  <a:pt x="276" y="126"/>
                </a:lnTo>
                <a:lnTo>
                  <a:pt x="276" y="126"/>
                </a:lnTo>
                <a:lnTo>
                  <a:pt x="276" y="126"/>
                </a:lnTo>
                <a:lnTo>
                  <a:pt x="276" y="126"/>
                </a:lnTo>
                <a:lnTo>
                  <a:pt x="276" y="126"/>
                </a:lnTo>
                <a:lnTo>
                  <a:pt x="276" y="126"/>
                </a:lnTo>
                <a:lnTo>
                  <a:pt x="276" y="126"/>
                </a:lnTo>
                <a:lnTo>
                  <a:pt x="276" y="132"/>
                </a:lnTo>
                <a:lnTo>
                  <a:pt x="276" y="132"/>
                </a:lnTo>
                <a:lnTo>
                  <a:pt x="276" y="132"/>
                </a:lnTo>
                <a:lnTo>
                  <a:pt x="276" y="132"/>
                </a:lnTo>
                <a:lnTo>
                  <a:pt x="276" y="132"/>
                </a:lnTo>
                <a:lnTo>
                  <a:pt x="276" y="132"/>
                </a:lnTo>
                <a:lnTo>
                  <a:pt x="276" y="132"/>
                </a:lnTo>
                <a:lnTo>
                  <a:pt x="276" y="132"/>
                </a:lnTo>
                <a:lnTo>
                  <a:pt x="282" y="132"/>
                </a:lnTo>
                <a:lnTo>
                  <a:pt x="282" y="132"/>
                </a:lnTo>
                <a:lnTo>
                  <a:pt x="282" y="132"/>
                </a:lnTo>
                <a:lnTo>
                  <a:pt x="282" y="132"/>
                </a:lnTo>
                <a:lnTo>
                  <a:pt x="282" y="132"/>
                </a:lnTo>
                <a:lnTo>
                  <a:pt x="288" y="132"/>
                </a:lnTo>
                <a:lnTo>
                  <a:pt x="288" y="132"/>
                </a:lnTo>
                <a:lnTo>
                  <a:pt x="288" y="132"/>
                </a:lnTo>
                <a:lnTo>
                  <a:pt x="288" y="126"/>
                </a:lnTo>
                <a:lnTo>
                  <a:pt x="288" y="132"/>
                </a:lnTo>
                <a:lnTo>
                  <a:pt x="288" y="132"/>
                </a:lnTo>
                <a:lnTo>
                  <a:pt x="288" y="132"/>
                </a:lnTo>
                <a:lnTo>
                  <a:pt x="288" y="132"/>
                </a:lnTo>
                <a:lnTo>
                  <a:pt x="288" y="132"/>
                </a:lnTo>
                <a:lnTo>
                  <a:pt x="288" y="132"/>
                </a:lnTo>
                <a:lnTo>
                  <a:pt x="288" y="132"/>
                </a:lnTo>
                <a:lnTo>
                  <a:pt x="288" y="132"/>
                </a:lnTo>
                <a:lnTo>
                  <a:pt x="294" y="138"/>
                </a:lnTo>
                <a:lnTo>
                  <a:pt x="294" y="138"/>
                </a:lnTo>
                <a:lnTo>
                  <a:pt x="294" y="138"/>
                </a:lnTo>
                <a:lnTo>
                  <a:pt x="294" y="138"/>
                </a:lnTo>
                <a:lnTo>
                  <a:pt x="294" y="138"/>
                </a:lnTo>
                <a:lnTo>
                  <a:pt x="294" y="144"/>
                </a:lnTo>
                <a:lnTo>
                  <a:pt x="294" y="144"/>
                </a:lnTo>
                <a:lnTo>
                  <a:pt x="294" y="144"/>
                </a:lnTo>
                <a:lnTo>
                  <a:pt x="294" y="150"/>
                </a:lnTo>
                <a:lnTo>
                  <a:pt x="294" y="150"/>
                </a:lnTo>
                <a:lnTo>
                  <a:pt x="294" y="150"/>
                </a:lnTo>
                <a:lnTo>
                  <a:pt x="294" y="150"/>
                </a:lnTo>
                <a:lnTo>
                  <a:pt x="294" y="150"/>
                </a:lnTo>
                <a:lnTo>
                  <a:pt x="294" y="150"/>
                </a:lnTo>
                <a:lnTo>
                  <a:pt x="294" y="156"/>
                </a:lnTo>
                <a:lnTo>
                  <a:pt x="294" y="156"/>
                </a:lnTo>
                <a:lnTo>
                  <a:pt x="282" y="162"/>
                </a:lnTo>
                <a:lnTo>
                  <a:pt x="276" y="180"/>
                </a:lnTo>
                <a:lnTo>
                  <a:pt x="276" y="180"/>
                </a:lnTo>
                <a:lnTo>
                  <a:pt x="276" y="180"/>
                </a:lnTo>
                <a:lnTo>
                  <a:pt x="276" y="180"/>
                </a:lnTo>
                <a:lnTo>
                  <a:pt x="270" y="180"/>
                </a:lnTo>
                <a:lnTo>
                  <a:pt x="276" y="186"/>
                </a:lnTo>
                <a:lnTo>
                  <a:pt x="276" y="186"/>
                </a:lnTo>
                <a:lnTo>
                  <a:pt x="276" y="186"/>
                </a:lnTo>
                <a:lnTo>
                  <a:pt x="276" y="186"/>
                </a:lnTo>
                <a:lnTo>
                  <a:pt x="276" y="186"/>
                </a:lnTo>
                <a:lnTo>
                  <a:pt x="276" y="186"/>
                </a:lnTo>
                <a:lnTo>
                  <a:pt x="276" y="186"/>
                </a:lnTo>
                <a:lnTo>
                  <a:pt x="276" y="192"/>
                </a:lnTo>
                <a:lnTo>
                  <a:pt x="276" y="192"/>
                </a:lnTo>
                <a:lnTo>
                  <a:pt x="276" y="186"/>
                </a:lnTo>
                <a:lnTo>
                  <a:pt x="276" y="186"/>
                </a:lnTo>
                <a:lnTo>
                  <a:pt x="276" y="192"/>
                </a:lnTo>
                <a:lnTo>
                  <a:pt x="270" y="192"/>
                </a:lnTo>
                <a:lnTo>
                  <a:pt x="270" y="192"/>
                </a:lnTo>
                <a:lnTo>
                  <a:pt x="270" y="192"/>
                </a:lnTo>
                <a:lnTo>
                  <a:pt x="270" y="192"/>
                </a:lnTo>
                <a:lnTo>
                  <a:pt x="270" y="192"/>
                </a:lnTo>
                <a:lnTo>
                  <a:pt x="270" y="192"/>
                </a:lnTo>
                <a:lnTo>
                  <a:pt x="270" y="192"/>
                </a:lnTo>
                <a:lnTo>
                  <a:pt x="270" y="192"/>
                </a:lnTo>
                <a:lnTo>
                  <a:pt x="270" y="192"/>
                </a:lnTo>
                <a:lnTo>
                  <a:pt x="270" y="198"/>
                </a:lnTo>
                <a:lnTo>
                  <a:pt x="270" y="198"/>
                </a:lnTo>
                <a:lnTo>
                  <a:pt x="264" y="198"/>
                </a:lnTo>
                <a:lnTo>
                  <a:pt x="264" y="198"/>
                </a:lnTo>
                <a:lnTo>
                  <a:pt x="264" y="198"/>
                </a:lnTo>
                <a:lnTo>
                  <a:pt x="264" y="198"/>
                </a:lnTo>
                <a:lnTo>
                  <a:pt x="264" y="198"/>
                </a:lnTo>
                <a:lnTo>
                  <a:pt x="264" y="198"/>
                </a:lnTo>
                <a:lnTo>
                  <a:pt x="264" y="198"/>
                </a:lnTo>
                <a:lnTo>
                  <a:pt x="264" y="198"/>
                </a:lnTo>
                <a:lnTo>
                  <a:pt x="264" y="198"/>
                </a:lnTo>
                <a:lnTo>
                  <a:pt x="264" y="198"/>
                </a:lnTo>
                <a:lnTo>
                  <a:pt x="264" y="198"/>
                </a:lnTo>
                <a:lnTo>
                  <a:pt x="264" y="198"/>
                </a:lnTo>
                <a:lnTo>
                  <a:pt x="264" y="204"/>
                </a:lnTo>
                <a:lnTo>
                  <a:pt x="264" y="204"/>
                </a:lnTo>
                <a:lnTo>
                  <a:pt x="264" y="204"/>
                </a:lnTo>
                <a:lnTo>
                  <a:pt x="264" y="204"/>
                </a:lnTo>
                <a:lnTo>
                  <a:pt x="264" y="204"/>
                </a:lnTo>
                <a:lnTo>
                  <a:pt x="264" y="204"/>
                </a:lnTo>
                <a:lnTo>
                  <a:pt x="264" y="204"/>
                </a:lnTo>
                <a:lnTo>
                  <a:pt x="264" y="204"/>
                </a:lnTo>
                <a:lnTo>
                  <a:pt x="258" y="204"/>
                </a:lnTo>
                <a:lnTo>
                  <a:pt x="258" y="204"/>
                </a:lnTo>
                <a:lnTo>
                  <a:pt x="258" y="204"/>
                </a:lnTo>
                <a:lnTo>
                  <a:pt x="258" y="204"/>
                </a:lnTo>
                <a:lnTo>
                  <a:pt x="258" y="210"/>
                </a:lnTo>
                <a:lnTo>
                  <a:pt x="258" y="210"/>
                </a:lnTo>
                <a:lnTo>
                  <a:pt x="258" y="210"/>
                </a:lnTo>
                <a:lnTo>
                  <a:pt x="258" y="210"/>
                </a:lnTo>
                <a:lnTo>
                  <a:pt x="258" y="210"/>
                </a:lnTo>
                <a:lnTo>
                  <a:pt x="258" y="210"/>
                </a:lnTo>
                <a:lnTo>
                  <a:pt x="258" y="210"/>
                </a:lnTo>
                <a:lnTo>
                  <a:pt x="258" y="210"/>
                </a:lnTo>
                <a:lnTo>
                  <a:pt x="258" y="210"/>
                </a:lnTo>
                <a:lnTo>
                  <a:pt x="258" y="210"/>
                </a:lnTo>
                <a:lnTo>
                  <a:pt x="258" y="210"/>
                </a:lnTo>
                <a:lnTo>
                  <a:pt x="258" y="210"/>
                </a:lnTo>
                <a:lnTo>
                  <a:pt x="258" y="216"/>
                </a:lnTo>
                <a:lnTo>
                  <a:pt x="258" y="216"/>
                </a:lnTo>
                <a:lnTo>
                  <a:pt x="258" y="216"/>
                </a:lnTo>
                <a:lnTo>
                  <a:pt x="258" y="216"/>
                </a:lnTo>
                <a:lnTo>
                  <a:pt x="252" y="216"/>
                </a:lnTo>
                <a:lnTo>
                  <a:pt x="252" y="216"/>
                </a:lnTo>
                <a:lnTo>
                  <a:pt x="252" y="216"/>
                </a:lnTo>
                <a:lnTo>
                  <a:pt x="252" y="222"/>
                </a:lnTo>
                <a:lnTo>
                  <a:pt x="252" y="222"/>
                </a:lnTo>
                <a:lnTo>
                  <a:pt x="252" y="222"/>
                </a:lnTo>
                <a:lnTo>
                  <a:pt x="252" y="222"/>
                </a:lnTo>
                <a:lnTo>
                  <a:pt x="246" y="228"/>
                </a:lnTo>
                <a:lnTo>
                  <a:pt x="246" y="228"/>
                </a:lnTo>
                <a:lnTo>
                  <a:pt x="246" y="228"/>
                </a:lnTo>
                <a:lnTo>
                  <a:pt x="252" y="234"/>
                </a:lnTo>
                <a:lnTo>
                  <a:pt x="246" y="234"/>
                </a:lnTo>
                <a:lnTo>
                  <a:pt x="246" y="234"/>
                </a:lnTo>
                <a:lnTo>
                  <a:pt x="246" y="240"/>
                </a:lnTo>
                <a:lnTo>
                  <a:pt x="246" y="240"/>
                </a:lnTo>
                <a:lnTo>
                  <a:pt x="246" y="240"/>
                </a:lnTo>
                <a:lnTo>
                  <a:pt x="246" y="240"/>
                </a:lnTo>
                <a:lnTo>
                  <a:pt x="240" y="240"/>
                </a:lnTo>
                <a:lnTo>
                  <a:pt x="240" y="234"/>
                </a:lnTo>
                <a:lnTo>
                  <a:pt x="240" y="234"/>
                </a:lnTo>
                <a:lnTo>
                  <a:pt x="240" y="234"/>
                </a:lnTo>
                <a:lnTo>
                  <a:pt x="240" y="234"/>
                </a:lnTo>
                <a:lnTo>
                  <a:pt x="240" y="234"/>
                </a:lnTo>
                <a:lnTo>
                  <a:pt x="240" y="234"/>
                </a:lnTo>
                <a:lnTo>
                  <a:pt x="240" y="234"/>
                </a:lnTo>
                <a:lnTo>
                  <a:pt x="240" y="234"/>
                </a:lnTo>
                <a:lnTo>
                  <a:pt x="240" y="234"/>
                </a:lnTo>
                <a:lnTo>
                  <a:pt x="234" y="240"/>
                </a:lnTo>
                <a:lnTo>
                  <a:pt x="234" y="240"/>
                </a:lnTo>
                <a:lnTo>
                  <a:pt x="234" y="234"/>
                </a:lnTo>
                <a:lnTo>
                  <a:pt x="234" y="234"/>
                </a:lnTo>
                <a:lnTo>
                  <a:pt x="228" y="234"/>
                </a:lnTo>
                <a:lnTo>
                  <a:pt x="228" y="234"/>
                </a:lnTo>
                <a:lnTo>
                  <a:pt x="228" y="234"/>
                </a:lnTo>
                <a:lnTo>
                  <a:pt x="228" y="234"/>
                </a:lnTo>
                <a:lnTo>
                  <a:pt x="234" y="228"/>
                </a:lnTo>
                <a:lnTo>
                  <a:pt x="234" y="228"/>
                </a:lnTo>
                <a:lnTo>
                  <a:pt x="228" y="228"/>
                </a:lnTo>
                <a:lnTo>
                  <a:pt x="228" y="228"/>
                </a:lnTo>
                <a:lnTo>
                  <a:pt x="228" y="228"/>
                </a:lnTo>
                <a:lnTo>
                  <a:pt x="228" y="228"/>
                </a:lnTo>
                <a:lnTo>
                  <a:pt x="228" y="228"/>
                </a:lnTo>
                <a:lnTo>
                  <a:pt x="228" y="222"/>
                </a:lnTo>
                <a:lnTo>
                  <a:pt x="228" y="228"/>
                </a:lnTo>
                <a:lnTo>
                  <a:pt x="228" y="222"/>
                </a:lnTo>
                <a:lnTo>
                  <a:pt x="222" y="222"/>
                </a:lnTo>
                <a:lnTo>
                  <a:pt x="222" y="222"/>
                </a:lnTo>
                <a:lnTo>
                  <a:pt x="222" y="222"/>
                </a:lnTo>
                <a:lnTo>
                  <a:pt x="222" y="222"/>
                </a:lnTo>
                <a:lnTo>
                  <a:pt x="216" y="222"/>
                </a:lnTo>
                <a:lnTo>
                  <a:pt x="216" y="228"/>
                </a:lnTo>
                <a:lnTo>
                  <a:pt x="216" y="228"/>
                </a:lnTo>
                <a:lnTo>
                  <a:pt x="210" y="228"/>
                </a:lnTo>
                <a:lnTo>
                  <a:pt x="210" y="228"/>
                </a:lnTo>
                <a:lnTo>
                  <a:pt x="210" y="228"/>
                </a:lnTo>
                <a:lnTo>
                  <a:pt x="210" y="228"/>
                </a:lnTo>
                <a:lnTo>
                  <a:pt x="210" y="228"/>
                </a:lnTo>
                <a:lnTo>
                  <a:pt x="210" y="228"/>
                </a:lnTo>
                <a:lnTo>
                  <a:pt x="210" y="228"/>
                </a:lnTo>
                <a:lnTo>
                  <a:pt x="210" y="228"/>
                </a:lnTo>
                <a:lnTo>
                  <a:pt x="210" y="228"/>
                </a:lnTo>
                <a:lnTo>
                  <a:pt x="204" y="228"/>
                </a:lnTo>
                <a:lnTo>
                  <a:pt x="204" y="228"/>
                </a:lnTo>
                <a:lnTo>
                  <a:pt x="204" y="228"/>
                </a:lnTo>
                <a:lnTo>
                  <a:pt x="204" y="228"/>
                </a:lnTo>
                <a:lnTo>
                  <a:pt x="204" y="228"/>
                </a:lnTo>
                <a:lnTo>
                  <a:pt x="204" y="222"/>
                </a:lnTo>
                <a:lnTo>
                  <a:pt x="204" y="222"/>
                </a:lnTo>
                <a:lnTo>
                  <a:pt x="204" y="222"/>
                </a:lnTo>
                <a:lnTo>
                  <a:pt x="204" y="222"/>
                </a:lnTo>
                <a:lnTo>
                  <a:pt x="204" y="222"/>
                </a:lnTo>
                <a:lnTo>
                  <a:pt x="204" y="222"/>
                </a:lnTo>
                <a:lnTo>
                  <a:pt x="204" y="222"/>
                </a:lnTo>
                <a:lnTo>
                  <a:pt x="204" y="222"/>
                </a:lnTo>
                <a:lnTo>
                  <a:pt x="204" y="222"/>
                </a:lnTo>
                <a:lnTo>
                  <a:pt x="204" y="222"/>
                </a:lnTo>
                <a:lnTo>
                  <a:pt x="204" y="222"/>
                </a:lnTo>
                <a:lnTo>
                  <a:pt x="204" y="222"/>
                </a:lnTo>
                <a:lnTo>
                  <a:pt x="204" y="222"/>
                </a:lnTo>
                <a:lnTo>
                  <a:pt x="204" y="216"/>
                </a:lnTo>
                <a:lnTo>
                  <a:pt x="210" y="216"/>
                </a:lnTo>
                <a:lnTo>
                  <a:pt x="210" y="216"/>
                </a:lnTo>
                <a:lnTo>
                  <a:pt x="210" y="216"/>
                </a:lnTo>
                <a:lnTo>
                  <a:pt x="210" y="216"/>
                </a:lnTo>
                <a:lnTo>
                  <a:pt x="210" y="216"/>
                </a:lnTo>
                <a:lnTo>
                  <a:pt x="204" y="216"/>
                </a:lnTo>
                <a:lnTo>
                  <a:pt x="210" y="216"/>
                </a:lnTo>
                <a:lnTo>
                  <a:pt x="210" y="216"/>
                </a:lnTo>
                <a:lnTo>
                  <a:pt x="204" y="216"/>
                </a:lnTo>
                <a:lnTo>
                  <a:pt x="204" y="210"/>
                </a:lnTo>
                <a:lnTo>
                  <a:pt x="210" y="210"/>
                </a:lnTo>
                <a:lnTo>
                  <a:pt x="204" y="210"/>
                </a:lnTo>
                <a:lnTo>
                  <a:pt x="210" y="210"/>
                </a:lnTo>
                <a:lnTo>
                  <a:pt x="210" y="210"/>
                </a:lnTo>
                <a:lnTo>
                  <a:pt x="204" y="210"/>
                </a:lnTo>
                <a:lnTo>
                  <a:pt x="210" y="210"/>
                </a:lnTo>
                <a:lnTo>
                  <a:pt x="210" y="204"/>
                </a:lnTo>
                <a:lnTo>
                  <a:pt x="210" y="204"/>
                </a:lnTo>
                <a:lnTo>
                  <a:pt x="210" y="204"/>
                </a:lnTo>
                <a:lnTo>
                  <a:pt x="210" y="204"/>
                </a:lnTo>
                <a:lnTo>
                  <a:pt x="204" y="198"/>
                </a:lnTo>
                <a:lnTo>
                  <a:pt x="204" y="192"/>
                </a:lnTo>
                <a:lnTo>
                  <a:pt x="204" y="192"/>
                </a:lnTo>
                <a:lnTo>
                  <a:pt x="204" y="186"/>
                </a:lnTo>
                <a:lnTo>
                  <a:pt x="198" y="186"/>
                </a:lnTo>
                <a:lnTo>
                  <a:pt x="198" y="180"/>
                </a:lnTo>
                <a:lnTo>
                  <a:pt x="198" y="180"/>
                </a:lnTo>
                <a:lnTo>
                  <a:pt x="198" y="180"/>
                </a:lnTo>
                <a:lnTo>
                  <a:pt x="198" y="174"/>
                </a:lnTo>
                <a:lnTo>
                  <a:pt x="192" y="174"/>
                </a:lnTo>
                <a:lnTo>
                  <a:pt x="192" y="174"/>
                </a:lnTo>
                <a:lnTo>
                  <a:pt x="192" y="168"/>
                </a:lnTo>
                <a:lnTo>
                  <a:pt x="192" y="168"/>
                </a:lnTo>
                <a:lnTo>
                  <a:pt x="192" y="150"/>
                </a:lnTo>
                <a:lnTo>
                  <a:pt x="186" y="150"/>
                </a:lnTo>
                <a:lnTo>
                  <a:pt x="186" y="150"/>
                </a:lnTo>
                <a:lnTo>
                  <a:pt x="186" y="150"/>
                </a:lnTo>
                <a:lnTo>
                  <a:pt x="186" y="150"/>
                </a:lnTo>
                <a:lnTo>
                  <a:pt x="186" y="150"/>
                </a:lnTo>
                <a:lnTo>
                  <a:pt x="186" y="150"/>
                </a:lnTo>
                <a:lnTo>
                  <a:pt x="180" y="150"/>
                </a:lnTo>
                <a:lnTo>
                  <a:pt x="186" y="144"/>
                </a:lnTo>
                <a:lnTo>
                  <a:pt x="186" y="144"/>
                </a:lnTo>
                <a:lnTo>
                  <a:pt x="186" y="144"/>
                </a:lnTo>
                <a:lnTo>
                  <a:pt x="186" y="144"/>
                </a:lnTo>
                <a:lnTo>
                  <a:pt x="186" y="144"/>
                </a:lnTo>
                <a:lnTo>
                  <a:pt x="186" y="144"/>
                </a:lnTo>
                <a:lnTo>
                  <a:pt x="180" y="138"/>
                </a:lnTo>
                <a:lnTo>
                  <a:pt x="180" y="138"/>
                </a:lnTo>
                <a:lnTo>
                  <a:pt x="180" y="138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74" y="132"/>
                </a:lnTo>
                <a:lnTo>
                  <a:pt x="174" y="132"/>
                </a:lnTo>
                <a:lnTo>
                  <a:pt x="156" y="132"/>
                </a:lnTo>
                <a:lnTo>
                  <a:pt x="132" y="132"/>
                </a:lnTo>
                <a:lnTo>
                  <a:pt x="96" y="132"/>
                </a:lnTo>
                <a:lnTo>
                  <a:pt x="78" y="132"/>
                </a:lnTo>
                <a:lnTo>
                  <a:pt x="48" y="132"/>
                </a:lnTo>
                <a:lnTo>
                  <a:pt x="30" y="132"/>
                </a:lnTo>
                <a:lnTo>
                  <a:pt x="30" y="126"/>
                </a:lnTo>
                <a:lnTo>
                  <a:pt x="30" y="126"/>
                </a:lnTo>
                <a:lnTo>
                  <a:pt x="36" y="120"/>
                </a:lnTo>
                <a:lnTo>
                  <a:pt x="30" y="120"/>
                </a:lnTo>
                <a:lnTo>
                  <a:pt x="30" y="114"/>
                </a:lnTo>
                <a:lnTo>
                  <a:pt x="30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08"/>
                </a:lnTo>
                <a:lnTo>
                  <a:pt x="42" y="108"/>
                </a:lnTo>
                <a:lnTo>
                  <a:pt x="36" y="108"/>
                </a:lnTo>
                <a:lnTo>
                  <a:pt x="42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6"/>
                </a:lnTo>
                <a:lnTo>
                  <a:pt x="42" y="90"/>
                </a:lnTo>
                <a:lnTo>
                  <a:pt x="42" y="90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78"/>
                </a:lnTo>
                <a:lnTo>
                  <a:pt x="42" y="78"/>
                </a:lnTo>
                <a:lnTo>
                  <a:pt x="30" y="78"/>
                </a:lnTo>
                <a:lnTo>
                  <a:pt x="18" y="78"/>
                </a:lnTo>
                <a:lnTo>
                  <a:pt x="18" y="78"/>
                </a:lnTo>
                <a:lnTo>
                  <a:pt x="6" y="78"/>
                </a:lnTo>
                <a:lnTo>
                  <a:pt x="6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6" y="84"/>
                </a:lnTo>
                <a:lnTo>
                  <a:pt x="6" y="84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54"/>
                </a:lnTo>
                <a:lnTo>
                  <a:pt x="0" y="54"/>
                </a:lnTo>
                <a:lnTo>
                  <a:pt x="6" y="54"/>
                </a:lnTo>
                <a:lnTo>
                  <a:pt x="0" y="54"/>
                </a:lnTo>
                <a:lnTo>
                  <a:pt x="6" y="54"/>
                </a:lnTo>
                <a:lnTo>
                  <a:pt x="0" y="54"/>
                </a:lnTo>
                <a:lnTo>
                  <a:pt x="0" y="48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85" name="Freeform 518"/>
          <p:cNvSpPr>
            <a:spLocks/>
          </p:cNvSpPr>
          <p:nvPr/>
        </p:nvSpPr>
        <p:spPr bwMode="auto">
          <a:xfrm>
            <a:off x="5220145" y="2766672"/>
            <a:ext cx="655253" cy="385446"/>
          </a:xfrm>
          <a:custGeom>
            <a:avLst/>
            <a:gdLst>
              <a:gd name="T0" fmla="*/ 6 w 612"/>
              <a:gd name="T1" fmla="*/ 216 h 360"/>
              <a:gd name="T2" fmla="*/ 24 w 612"/>
              <a:gd name="T3" fmla="*/ 210 h 360"/>
              <a:gd name="T4" fmla="*/ 42 w 612"/>
              <a:gd name="T5" fmla="*/ 186 h 360"/>
              <a:gd name="T6" fmla="*/ 48 w 612"/>
              <a:gd name="T7" fmla="*/ 174 h 360"/>
              <a:gd name="T8" fmla="*/ 54 w 612"/>
              <a:gd name="T9" fmla="*/ 150 h 360"/>
              <a:gd name="T10" fmla="*/ 72 w 612"/>
              <a:gd name="T11" fmla="*/ 132 h 360"/>
              <a:gd name="T12" fmla="*/ 90 w 612"/>
              <a:gd name="T13" fmla="*/ 84 h 360"/>
              <a:gd name="T14" fmla="*/ 108 w 612"/>
              <a:gd name="T15" fmla="*/ 72 h 360"/>
              <a:gd name="T16" fmla="*/ 138 w 612"/>
              <a:gd name="T17" fmla="*/ 48 h 360"/>
              <a:gd name="T18" fmla="*/ 168 w 612"/>
              <a:gd name="T19" fmla="*/ 48 h 360"/>
              <a:gd name="T20" fmla="*/ 204 w 612"/>
              <a:gd name="T21" fmla="*/ 54 h 360"/>
              <a:gd name="T22" fmla="*/ 222 w 612"/>
              <a:gd name="T23" fmla="*/ 36 h 360"/>
              <a:gd name="T24" fmla="*/ 258 w 612"/>
              <a:gd name="T25" fmla="*/ 24 h 360"/>
              <a:gd name="T26" fmla="*/ 282 w 612"/>
              <a:gd name="T27" fmla="*/ 6 h 360"/>
              <a:gd name="T28" fmla="*/ 288 w 612"/>
              <a:gd name="T29" fmla="*/ 12 h 360"/>
              <a:gd name="T30" fmla="*/ 288 w 612"/>
              <a:gd name="T31" fmla="*/ 48 h 360"/>
              <a:gd name="T32" fmla="*/ 294 w 612"/>
              <a:gd name="T33" fmla="*/ 78 h 360"/>
              <a:gd name="T34" fmla="*/ 300 w 612"/>
              <a:gd name="T35" fmla="*/ 114 h 360"/>
              <a:gd name="T36" fmla="*/ 330 w 612"/>
              <a:gd name="T37" fmla="*/ 144 h 360"/>
              <a:gd name="T38" fmla="*/ 336 w 612"/>
              <a:gd name="T39" fmla="*/ 168 h 360"/>
              <a:gd name="T40" fmla="*/ 408 w 612"/>
              <a:gd name="T41" fmla="*/ 156 h 360"/>
              <a:gd name="T42" fmla="*/ 414 w 612"/>
              <a:gd name="T43" fmla="*/ 168 h 360"/>
              <a:gd name="T44" fmla="*/ 402 w 612"/>
              <a:gd name="T45" fmla="*/ 192 h 360"/>
              <a:gd name="T46" fmla="*/ 438 w 612"/>
              <a:gd name="T47" fmla="*/ 210 h 360"/>
              <a:gd name="T48" fmla="*/ 456 w 612"/>
              <a:gd name="T49" fmla="*/ 258 h 360"/>
              <a:gd name="T50" fmla="*/ 486 w 612"/>
              <a:gd name="T51" fmla="*/ 246 h 360"/>
              <a:gd name="T52" fmla="*/ 510 w 612"/>
              <a:gd name="T53" fmla="*/ 228 h 360"/>
              <a:gd name="T54" fmla="*/ 522 w 612"/>
              <a:gd name="T55" fmla="*/ 240 h 360"/>
              <a:gd name="T56" fmla="*/ 522 w 612"/>
              <a:gd name="T57" fmla="*/ 258 h 360"/>
              <a:gd name="T58" fmla="*/ 516 w 612"/>
              <a:gd name="T59" fmla="*/ 270 h 360"/>
              <a:gd name="T60" fmla="*/ 564 w 612"/>
              <a:gd name="T61" fmla="*/ 252 h 360"/>
              <a:gd name="T62" fmla="*/ 570 w 612"/>
              <a:gd name="T63" fmla="*/ 264 h 360"/>
              <a:gd name="T64" fmla="*/ 576 w 612"/>
              <a:gd name="T65" fmla="*/ 282 h 360"/>
              <a:gd name="T66" fmla="*/ 582 w 612"/>
              <a:gd name="T67" fmla="*/ 288 h 360"/>
              <a:gd name="T68" fmla="*/ 594 w 612"/>
              <a:gd name="T69" fmla="*/ 288 h 360"/>
              <a:gd name="T70" fmla="*/ 606 w 612"/>
              <a:gd name="T71" fmla="*/ 300 h 360"/>
              <a:gd name="T72" fmla="*/ 612 w 612"/>
              <a:gd name="T73" fmla="*/ 312 h 360"/>
              <a:gd name="T74" fmla="*/ 576 w 612"/>
              <a:gd name="T75" fmla="*/ 348 h 360"/>
              <a:gd name="T76" fmla="*/ 552 w 612"/>
              <a:gd name="T77" fmla="*/ 330 h 360"/>
              <a:gd name="T78" fmla="*/ 534 w 612"/>
              <a:gd name="T79" fmla="*/ 294 h 360"/>
              <a:gd name="T80" fmla="*/ 480 w 612"/>
              <a:gd name="T81" fmla="*/ 294 h 360"/>
              <a:gd name="T82" fmla="*/ 432 w 612"/>
              <a:gd name="T83" fmla="*/ 288 h 360"/>
              <a:gd name="T84" fmla="*/ 324 w 612"/>
              <a:gd name="T85" fmla="*/ 318 h 360"/>
              <a:gd name="T86" fmla="*/ 336 w 612"/>
              <a:gd name="T87" fmla="*/ 294 h 360"/>
              <a:gd name="T88" fmla="*/ 336 w 612"/>
              <a:gd name="T89" fmla="*/ 276 h 360"/>
              <a:gd name="T90" fmla="*/ 216 w 612"/>
              <a:gd name="T91" fmla="*/ 270 h 360"/>
              <a:gd name="T92" fmla="*/ 216 w 612"/>
              <a:gd name="T93" fmla="*/ 282 h 360"/>
              <a:gd name="T94" fmla="*/ 210 w 612"/>
              <a:gd name="T95" fmla="*/ 300 h 360"/>
              <a:gd name="T96" fmla="*/ 198 w 612"/>
              <a:gd name="T97" fmla="*/ 312 h 360"/>
              <a:gd name="T98" fmla="*/ 168 w 612"/>
              <a:gd name="T99" fmla="*/ 318 h 360"/>
              <a:gd name="T100" fmla="*/ 168 w 612"/>
              <a:gd name="T101" fmla="*/ 288 h 360"/>
              <a:gd name="T102" fmla="*/ 168 w 612"/>
              <a:gd name="T103" fmla="*/ 270 h 360"/>
              <a:gd name="T104" fmla="*/ 144 w 612"/>
              <a:gd name="T105" fmla="*/ 276 h 360"/>
              <a:gd name="T106" fmla="*/ 120 w 612"/>
              <a:gd name="T107" fmla="*/ 276 h 360"/>
              <a:gd name="T108" fmla="*/ 90 w 612"/>
              <a:gd name="T109" fmla="*/ 276 h 360"/>
              <a:gd name="T110" fmla="*/ 54 w 612"/>
              <a:gd name="T111" fmla="*/ 276 h 360"/>
              <a:gd name="T112" fmla="*/ 36 w 612"/>
              <a:gd name="T113" fmla="*/ 264 h 360"/>
              <a:gd name="T114" fmla="*/ 30 w 612"/>
              <a:gd name="T115" fmla="*/ 252 h 360"/>
              <a:gd name="T116" fmla="*/ 30 w 612"/>
              <a:gd name="T117" fmla="*/ 246 h 360"/>
              <a:gd name="T118" fmla="*/ 18 w 612"/>
              <a:gd name="T119" fmla="*/ 234 h 360"/>
              <a:gd name="T120" fmla="*/ 0 w 612"/>
              <a:gd name="T121" fmla="*/ 228 h 3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12" h="360">
                <a:moveTo>
                  <a:pt x="0" y="228"/>
                </a:moveTo>
                <a:lnTo>
                  <a:pt x="0" y="228"/>
                </a:lnTo>
                <a:lnTo>
                  <a:pt x="0" y="228"/>
                </a:lnTo>
                <a:lnTo>
                  <a:pt x="0" y="228"/>
                </a:lnTo>
                <a:lnTo>
                  <a:pt x="0" y="228"/>
                </a:lnTo>
                <a:lnTo>
                  <a:pt x="0" y="228"/>
                </a:lnTo>
                <a:lnTo>
                  <a:pt x="0" y="228"/>
                </a:lnTo>
                <a:lnTo>
                  <a:pt x="0" y="222"/>
                </a:lnTo>
                <a:lnTo>
                  <a:pt x="0" y="222"/>
                </a:lnTo>
                <a:lnTo>
                  <a:pt x="0" y="222"/>
                </a:lnTo>
                <a:lnTo>
                  <a:pt x="0" y="222"/>
                </a:lnTo>
                <a:lnTo>
                  <a:pt x="0" y="222"/>
                </a:lnTo>
                <a:lnTo>
                  <a:pt x="0" y="222"/>
                </a:lnTo>
                <a:lnTo>
                  <a:pt x="0" y="222"/>
                </a:lnTo>
                <a:lnTo>
                  <a:pt x="0" y="222"/>
                </a:lnTo>
                <a:lnTo>
                  <a:pt x="0" y="222"/>
                </a:lnTo>
                <a:lnTo>
                  <a:pt x="6" y="216"/>
                </a:lnTo>
                <a:lnTo>
                  <a:pt x="6" y="216"/>
                </a:lnTo>
                <a:lnTo>
                  <a:pt x="6" y="216"/>
                </a:lnTo>
                <a:lnTo>
                  <a:pt x="6" y="216"/>
                </a:lnTo>
                <a:lnTo>
                  <a:pt x="6" y="216"/>
                </a:lnTo>
                <a:lnTo>
                  <a:pt x="6" y="216"/>
                </a:lnTo>
                <a:lnTo>
                  <a:pt x="6" y="216"/>
                </a:lnTo>
                <a:lnTo>
                  <a:pt x="6" y="216"/>
                </a:lnTo>
                <a:lnTo>
                  <a:pt x="6" y="216"/>
                </a:lnTo>
                <a:lnTo>
                  <a:pt x="6" y="216"/>
                </a:lnTo>
                <a:lnTo>
                  <a:pt x="6" y="216"/>
                </a:lnTo>
                <a:lnTo>
                  <a:pt x="6" y="216"/>
                </a:lnTo>
                <a:lnTo>
                  <a:pt x="6" y="216"/>
                </a:lnTo>
                <a:lnTo>
                  <a:pt x="6" y="210"/>
                </a:lnTo>
                <a:lnTo>
                  <a:pt x="12" y="210"/>
                </a:lnTo>
                <a:lnTo>
                  <a:pt x="12" y="216"/>
                </a:lnTo>
                <a:lnTo>
                  <a:pt x="12" y="210"/>
                </a:lnTo>
                <a:lnTo>
                  <a:pt x="12" y="210"/>
                </a:lnTo>
                <a:lnTo>
                  <a:pt x="18" y="210"/>
                </a:lnTo>
                <a:lnTo>
                  <a:pt x="18" y="210"/>
                </a:lnTo>
                <a:lnTo>
                  <a:pt x="18" y="210"/>
                </a:lnTo>
                <a:lnTo>
                  <a:pt x="18" y="210"/>
                </a:lnTo>
                <a:lnTo>
                  <a:pt x="18" y="210"/>
                </a:lnTo>
                <a:lnTo>
                  <a:pt x="24" y="210"/>
                </a:lnTo>
                <a:lnTo>
                  <a:pt x="24" y="204"/>
                </a:lnTo>
                <a:lnTo>
                  <a:pt x="24" y="204"/>
                </a:lnTo>
                <a:lnTo>
                  <a:pt x="30" y="204"/>
                </a:lnTo>
                <a:lnTo>
                  <a:pt x="30" y="204"/>
                </a:lnTo>
                <a:lnTo>
                  <a:pt x="30" y="204"/>
                </a:lnTo>
                <a:lnTo>
                  <a:pt x="30" y="204"/>
                </a:lnTo>
                <a:lnTo>
                  <a:pt x="30" y="204"/>
                </a:lnTo>
                <a:lnTo>
                  <a:pt x="36" y="204"/>
                </a:lnTo>
                <a:lnTo>
                  <a:pt x="36" y="204"/>
                </a:lnTo>
                <a:lnTo>
                  <a:pt x="36" y="198"/>
                </a:lnTo>
                <a:lnTo>
                  <a:pt x="36" y="198"/>
                </a:lnTo>
                <a:lnTo>
                  <a:pt x="36" y="198"/>
                </a:lnTo>
                <a:lnTo>
                  <a:pt x="42" y="198"/>
                </a:lnTo>
                <a:lnTo>
                  <a:pt x="42" y="198"/>
                </a:lnTo>
                <a:lnTo>
                  <a:pt x="42" y="198"/>
                </a:lnTo>
                <a:lnTo>
                  <a:pt x="42" y="192"/>
                </a:lnTo>
                <a:lnTo>
                  <a:pt x="42" y="192"/>
                </a:lnTo>
                <a:lnTo>
                  <a:pt x="42" y="192"/>
                </a:lnTo>
                <a:lnTo>
                  <a:pt x="42" y="192"/>
                </a:lnTo>
                <a:lnTo>
                  <a:pt x="42" y="186"/>
                </a:lnTo>
                <a:lnTo>
                  <a:pt x="42" y="186"/>
                </a:lnTo>
                <a:lnTo>
                  <a:pt x="42" y="186"/>
                </a:lnTo>
                <a:lnTo>
                  <a:pt x="42" y="186"/>
                </a:lnTo>
                <a:lnTo>
                  <a:pt x="42" y="186"/>
                </a:lnTo>
                <a:lnTo>
                  <a:pt x="42" y="186"/>
                </a:lnTo>
                <a:lnTo>
                  <a:pt x="42" y="180"/>
                </a:lnTo>
                <a:lnTo>
                  <a:pt x="42" y="180"/>
                </a:lnTo>
                <a:lnTo>
                  <a:pt x="42" y="180"/>
                </a:lnTo>
                <a:lnTo>
                  <a:pt x="42" y="180"/>
                </a:lnTo>
                <a:lnTo>
                  <a:pt x="42" y="180"/>
                </a:lnTo>
                <a:lnTo>
                  <a:pt x="42" y="180"/>
                </a:lnTo>
                <a:lnTo>
                  <a:pt x="42" y="180"/>
                </a:lnTo>
                <a:lnTo>
                  <a:pt x="42" y="180"/>
                </a:lnTo>
                <a:lnTo>
                  <a:pt x="42" y="180"/>
                </a:lnTo>
                <a:lnTo>
                  <a:pt x="42" y="180"/>
                </a:lnTo>
                <a:lnTo>
                  <a:pt x="42" y="174"/>
                </a:lnTo>
                <a:lnTo>
                  <a:pt x="48" y="174"/>
                </a:lnTo>
                <a:lnTo>
                  <a:pt x="48" y="174"/>
                </a:lnTo>
                <a:lnTo>
                  <a:pt x="48" y="174"/>
                </a:lnTo>
                <a:lnTo>
                  <a:pt x="48" y="174"/>
                </a:lnTo>
                <a:lnTo>
                  <a:pt x="48" y="174"/>
                </a:lnTo>
                <a:lnTo>
                  <a:pt x="48" y="174"/>
                </a:lnTo>
                <a:lnTo>
                  <a:pt x="48" y="174"/>
                </a:lnTo>
                <a:lnTo>
                  <a:pt x="48" y="168"/>
                </a:lnTo>
                <a:lnTo>
                  <a:pt x="48" y="168"/>
                </a:lnTo>
                <a:lnTo>
                  <a:pt x="48" y="168"/>
                </a:lnTo>
                <a:lnTo>
                  <a:pt x="48" y="162"/>
                </a:lnTo>
                <a:lnTo>
                  <a:pt x="48" y="162"/>
                </a:lnTo>
                <a:lnTo>
                  <a:pt x="54" y="162"/>
                </a:lnTo>
                <a:lnTo>
                  <a:pt x="54" y="162"/>
                </a:lnTo>
                <a:lnTo>
                  <a:pt x="54" y="162"/>
                </a:lnTo>
                <a:lnTo>
                  <a:pt x="54" y="156"/>
                </a:lnTo>
                <a:lnTo>
                  <a:pt x="54" y="156"/>
                </a:lnTo>
                <a:lnTo>
                  <a:pt x="54" y="156"/>
                </a:lnTo>
                <a:lnTo>
                  <a:pt x="54" y="156"/>
                </a:lnTo>
                <a:lnTo>
                  <a:pt x="54" y="156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66" y="138"/>
                </a:lnTo>
                <a:lnTo>
                  <a:pt x="66" y="138"/>
                </a:lnTo>
                <a:lnTo>
                  <a:pt x="66" y="138"/>
                </a:lnTo>
                <a:lnTo>
                  <a:pt x="66" y="138"/>
                </a:lnTo>
                <a:lnTo>
                  <a:pt x="66" y="132"/>
                </a:lnTo>
                <a:lnTo>
                  <a:pt x="66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8" y="132"/>
                </a:lnTo>
                <a:lnTo>
                  <a:pt x="78" y="126"/>
                </a:lnTo>
                <a:lnTo>
                  <a:pt x="78" y="126"/>
                </a:lnTo>
                <a:lnTo>
                  <a:pt x="78" y="126"/>
                </a:lnTo>
                <a:lnTo>
                  <a:pt x="78" y="120"/>
                </a:lnTo>
                <a:lnTo>
                  <a:pt x="78" y="114"/>
                </a:lnTo>
                <a:lnTo>
                  <a:pt x="84" y="108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84" y="96"/>
                </a:lnTo>
                <a:lnTo>
                  <a:pt x="78" y="96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90" y="84"/>
                </a:lnTo>
                <a:lnTo>
                  <a:pt x="90" y="84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6" y="78"/>
                </a:lnTo>
                <a:lnTo>
                  <a:pt x="96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14" y="66"/>
                </a:lnTo>
                <a:lnTo>
                  <a:pt x="114" y="66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60"/>
                </a:lnTo>
                <a:lnTo>
                  <a:pt x="114" y="54"/>
                </a:lnTo>
                <a:lnTo>
                  <a:pt x="114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6" y="48"/>
                </a:lnTo>
                <a:lnTo>
                  <a:pt x="126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2" y="48"/>
                </a:lnTo>
                <a:lnTo>
                  <a:pt x="138" y="48"/>
                </a:lnTo>
                <a:lnTo>
                  <a:pt x="138" y="48"/>
                </a:lnTo>
                <a:lnTo>
                  <a:pt x="138" y="48"/>
                </a:lnTo>
                <a:lnTo>
                  <a:pt x="138" y="48"/>
                </a:lnTo>
                <a:lnTo>
                  <a:pt x="138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50" y="48"/>
                </a:lnTo>
                <a:lnTo>
                  <a:pt x="150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8" y="48"/>
                </a:lnTo>
                <a:lnTo>
                  <a:pt x="168" y="48"/>
                </a:lnTo>
                <a:lnTo>
                  <a:pt x="168" y="48"/>
                </a:lnTo>
                <a:lnTo>
                  <a:pt x="174" y="48"/>
                </a:lnTo>
                <a:lnTo>
                  <a:pt x="174" y="42"/>
                </a:lnTo>
                <a:lnTo>
                  <a:pt x="180" y="42"/>
                </a:lnTo>
                <a:lnTo>
                  <a:pt x="180" y="48"/>
                </a:lnTo>
                <a:lnTo>
                  <a:pt x="180" y="48"/>
                </a:lnTo>
                <a:lnTo>
                  <a:pt x="186" y="48"/>
                </a:lnTo>
                <a:lnTo>
                  <a:pt x="186" y="48"/>
                </a:lnTo>
                <a:lnTo>
                  <a:pt x="192" y="48"/>
                </a:lnTo>
                <a:lnTo>
                  <a:pt x="192" y="48"/>
                </a:lnTo>
                <a:lnTo>
                  <a:pt x="192" y="48"/>
                </a:lnTo>
                <a:lnTo>
                  <a:pt x="192" y="48"/>
                </a:lnTo>
                <a:lnTo>
                  <a:pt x="192" y="48"/>
                </a:lnTo>
                <a:lnTo>
                  <a:pt x="192" y="48"/>
                </a:lnTo>
                <a:lnTo>
                  <a:pt x="198" y="54"/>
                </a:lnTo>
                <a:lnTo>
                  <a:pt x="198" y="54"/>
                </a:lnTo>
                <a:lnTo>
                  <a:pt x="198" y="54"/>
                </a:lnTo>
                <a:lnTo>
                  <a:pt x="198" y="54"/>
                </a:lnTo>
                <a:lnTo>
                  <a:pt x="198" y="54"/>
                </a:lnTo>
                <a:lnTo>
                  <a:pt x="204" y="54"/>
                </a:lnTo>
                <a:lnTo>
                  <a:pt x="204" y="54"/>
                </a:lnTo>
                <a:lnTo>
                  <a:pt x="204" y="54"/>
                </a:lnTo>
                <a:lnTo>
                  <a:pt x="204" y="54"/>
                </a:lnTo>
                <a:lnTo>
                  <a:pt x="204" y="48"/>
                </a:lnTo>
                <a:lnTo>
                  <a:pt x="210" y="48"/>
                </a:lnTo>
                <a:lnTo>
                  <a:pt x="204" y="48"/>
                </a:lnTo>
                <a:lnTo>
                  <a:pt x="210" y="48"/>
                </a:lnTo>
                <a:lnTo>
                  <a:pt x="210" y="42"/>
                </a:lnTo>
                <a:lnTo>
                  <a:pt x="216" y="42"/>
                </a:lnTo>
                <a:lnTo>
                  <a:pt x="216" y="42"/>
                </a:lnTo>
                <a:lnTo>
                  <a:pt x="216" y="42"/>
                </a:lnTo>
                <a:lnTo>
                  <a:pt x="216" y="42"/>
                </a:lnTo>
                <a:lnTo>
                  <a:pt x="216" y="42"/>
                </a:lnTo>
                <a:lnTo>
                  <a:pt x="216" y="42"/>
                </a:lnTo>
                <a:lnTo>
                  <a:pt x="216" y="42"/>
                </a:lnTo>
                <a:lnTo>
                  <a:pt x="216" y="42"/>
                </a:lnTo>
                <a:lnTo>
                  <a:pt x="222" y="42"/>
                </a:lnTo>
                <a:lnTo>
                  <a:pt x="222" y="36"/>
                </a:lnTo>
                <a:lnTo>
                  <a:pt x="222" y="42"/>
                </a:lnTo>
                <a:lnTo>
                  <a:pt x="222" y="36"/>
                </a:lnTo>
                <a:lnTo>
                  <a:pt x="228" y="36"/>
                </a:lnTo>
                <a:lnTo>
                  <a:pt x="228" y="36"/>
                </a:lnTo>
                <a:lnTo>
                  <a:pt x="234" y="36"/>
                </a:lnTo>
                <a:lnTo>
                  <a:pt x="234" y="36"/>
                </a:lnTo>
                <a:lnTo>
                  <a:pt x="234" y="36"/>
                </a:lnTo>
                <a:lnTo>
                  <a:pt x="240" y="36"/>
                </a:lnTo>
                <a:lnTo>
                  <a:pt x="240" y="36"/>
                </a:lnTo>
                <a:lnTo>
                  <a:pt x="240" y="36"/>
                </a:lnTo>
                <a:lnTo>
                  <a:pt x="240" y="36"/>
                </a:lnTo>
                <a:lnTo>
                  <a:pt x="246" y="30"/>
                </a:lnTo>
                <a:lnTo>
                  <a:pt x="246" y="30"/>
                </a:lnTo>
                <a:lnTo>
                  <a:pt x="246" y="30"/>
                </a:lnTo>
                <a:lnTo>
                  <a:pt x="246" y="30"/>
                </a:lnTo>
                <a:lnTo>
                  <a:pt x="252" y="30"/>
                </a:lnTo>
                <a:lnTo>
                  <a:pt x="252" y="24"/>
                </a:lnTo>
                <a:lnTo>
                  <a:pt x="252" y="24"/>
                </a:lnTo>
                <a:lnTo>
                  <a:pt x="258" y="24"/>
                </a:lnTo>
                <a:lnTo>
                  <a:pt x="258" y="24"/>
                </a:lnTo>
                <a:lnTo>
                  <a:pt x="258" y="24"/>
                </a:lnTo>
                <a:lnTo>
                  <a:pt x="258" y="24"/>
                </a:lnTo>
                <a:lnTo>
                  <a:pt x="258" y="18"/>
                </a:lnTo>
                <a:lnTo>
                  <a:pt x="258" y="18"/>
                </a:lnTo>
                <a:lnTo>
                  <a:pt x="264" y="18"/>
                </a:lnTo>
                <a:lnTo>
                  <a:pt x="264" y="18"/>
                </a:lnTo>
                <a:lnTo>
                  <a:pt x="264" y="18"/>
                </a:lnTo>
                <a:lnTo>
                  <a:pt x="264" y="18"/>
                </a:lnTo>
                <a:lnTo>
                  <a:pt x="264" y="12"/>
                </a:lnTo>
                <a:lnTo>
                  <a:pt x="270" y="12"/>
                </a:lnTo>
                <a:lnTo>
                  <a:pt x="270" y="12"/>
                </a:lnTo>
                <a:lnTo>
                  <a:pt x="270" y="12"/>
                </a:lnTo>
                <a:lnTo>
                  <a:pt x="270" y="12"/>
                </a:lnTo>
                <a:lnTo>
                  <a:pt x="276" y="12"/>
                </a:lnTo>
                <a:lnTo>
                  <a:pt x="276" y="12"/>
                </a:lnTo>
                <a:lnTo>
                  <a:pt x="276" y="12"/>
                </a:lnTo>
                <a:lnTo>
                  <a:pt x="276" y="12"/>
                </a:lnTo>
                <a:lnTo>
                  <a:pt x="276" y="12"/>
                </a:lnTo>
                <a:lnTo>
                  <a:pt x="276" y="12"/>
                </a:lnTo>
                <a:lnTo>
                  <a:pt x="276" y="12"/>
                </a:lnTo>
                <a:lnTo>
                  <a:pt x="282" y="12"/>
                </a:lnTo>
                <a:lnTo>
                  <a:pt x="282" y="6"/>
                </a:lnTo>
                <a:lnTo>
                  <a:pt x="282" y="6"/>
                </a:lnTo>
                <a:lnTo>
                  <a:pt x="282" y="6"/>
                </a:lnTo>
                <a:lnTo>
                  <a:pt x="282" y="6"/>
                </a:lnTo>
                <a:lnTo>
                  <a:pt x="282" y="6"/>
                </a:lnTo>
                <a:lnTo>
                  <a:pt x="282" y="6"/>
                </a:lnTo>
                <a:lnTo>
                  <a:pt x="282" y="6"/>
                </a:lnTo>
                <a:lnTo>
                  <a:pt x="288" y="0"/>
                </a:lnTo>
                <a:lnTo>
                  <a:pt x="288" y="0"/>
                </a:lnTo>
                <a:lnTo>
                  <a:pt x="288" y="0"/>
                </a:lnTo>
                <a:lnTo>
                  <a:pt x="288" y="0"/>
                </a:lnTo>
                <a:lnTo>
                  <a:pt x="294" y="0"/>
                </a:lnTo>
                <a:lnTo>
                  <a:pt x="294" y="0"/>
                </a:lnTo>
                <a:lnTo>
                  <a:pt x="294" y="0"/>
                </a:lnTo>
                <a:lnTo>
                  <a:pt x="294" y="0"/>
                </a:lnTo>
                <a:lnTo>
                  <a:pt x="294" y="0"/>
                </a:lnTo>
                <a:lnTo>
                  <a:pt x="294" y="0"/>
                </a:lnTo>
                <a:lnTo>
                  <a:pt x="294" y="6"/>
                </a:lnTo>
                <a:lnTo>
                  <a:pt x="288" y="6"/>
                </a:lnTo>
                <a:lnTo>
                  <a:pt x="288" y="12"/>
                </a:lnTo>
                <a:lnTo>
                  <a:pt x="288" y="12"/>
                </a:lnTo>
                <a:lnTo>
                  <a:pt x="288" y="12"/>
                </a:lnTo>
                <a:lnTo>
                  <a:pt x="288" y="12"/>
                </a:lnTo>
                <a:lnTo>
                  <a:pt x="288" y="18"/>
                </a:lnTo>
                <a:lnTo>
                  <a:pt x="288" y="18"/>
                </a:lnTo>
                <a:lnTo>
                  <a:pt x="288" y="24"/>
                </a:lnTo>
                <a:lnTo>
                  <a:pt x="288" y="24"/>
                </a:lnTo>
                <a:lnTo>
                  <a:pt x="288" y="30"/>
                </a:lnTo>
                <a:lnTo>
                  <a:pt x="288" y="30"/>
                </a:lnTo>
                <a:lnTo>
                  <a:pt x="288" y="30"/>
                </a:lnTo>
                <a:lnTo>
                  <a:pt x="288" y="36"/>
                </a:lnTo>
                <a:lnTo>
                  <a:pt x="288" y="36"/>
                </a:lnTo>
                <a:lnTo>
                  <a:pt x="288" y="36"/>
                </a:lnTo>
                <a:lnTo>
                  <a:pt x="282" y="42"/>
                </a:lnTo>
                <a:lnTo>
                  <a:pt x="282" y="42"/>
                </a:lnTo>
                <a:lnTo>
                  <a:pt x="282" y="42"/>
                </a:lnTo>
                <a:lnTo>
                  <a:pt x="282" y="42"/>
                </a:lnTo>
                <a:lnTo>
                  <a:pt x="282" y="42"/>
                </a:lnTo>
                <a:lnTo>
                  <a:pt x="288" y="48"/>
                </a:lnTo>
                <a:lnTo>
                  <a:pt x="288" y="48"/>
                </a:lnTo>
                <a:lnTo>
                  <a:pt x="288" y="48"/>
                </a:lnTo>
                <a:lnTo>
                  <a:pt x="288" y="48"/>
                </a:lnTo>
                <a:lnTo>
                  <a:pt x="288" y="48"/>
                </a:lnTo>
                <a:lnTo>
                  <a:pt x="288" y="48"/>
                </a:lnTo>
                <a:lnTo>
                  <a:pt x="288" y="54"/>
                </a:lnTo>
                <a:lnTo>
                  <a:pt x="288" y="54"/>
                </a:lnTo>
                <a:lnTo>
                  <a:pt x="288" y="54"/>
                </a:lnTo>
                <a:lnTo>
                  <a:pt x="288" y="54"/>
                </a:lnTo>
                <a:lnTo>
                  <a:pt x="288" y="60"/>
                </a:lnTo>
                <a:lnTo>
                  <a:pt x="294" y="60"/>
                </a:lnTo>
                <a:lnTo>
                  <a:pt x="294" y="66"/>
                </a:lnTo>
                <a:lnTo>
                  <a:pt x="294" y="66"/>
                </a:lnTo>
                <a:lnTo>
                  <a:pt x="294" y="66"/>
                </a:lnTo>
                <a:lnTo>
                  <a:pt x="294" y="72"/>
                </a:lnTo>
                <a:lnTo>
                  <a:pt x="294" y="72"/>
                </a:lnTo>
                <a:lnTo>
                  <a:pt x="294" y="72"/>
                </a:lnTo>
                <a:lnTo>
                  <a:pt x="294" y="72"/>
                </a:lnTo>
                <a:lnTo>
                  <a:pt x="294" y="72"/>
                </a:lnTo>
                <a:lnTo>
                  <a:pt x="294" y="72"/>
                </a:lnTo>
                <a:lnTo>
                  <a:pt x="294" y="78"/>
                </a:lnTo>
                <a:lnTo>
                  <a:pt x="294" y="78"/>
                </a:lnTo>
                <a:lnTo>
                  <a:pt x="294" y="78"/>
                </a:lnTo>
                <a:lnTo>
                  <a:pt x="294" y="84"/>
                </a:lnTo>
                <a:lnTo>
                  <a:pt x="294" y="84"/>
                </a:lnTo>
                <a:lnTo>
                  <a:pt x="294" y="84"/>
                </a:lnTo>
                <a:lnTo>
                  <a:pt x="294" y="84"/>
                </a:lnTo>
                <a:lnTo>
                  <a:pt x="300" y="90"/>
                </a:lnTo>
                <a:lnTo>
                  <a:pt x="300" y="90"/>
                </a:lnTo>
                <a:lnTo>
                  <a:pt x="300" y="90"/>
                </a:lnTo>
                <a:lnTo>
                  <a:pt x="300" y="96"/>
                </a:lnTo>
                <a:lnTo>
                  <a:pt x="300" y="96"/>
                </a:lnTo>
                <a:lnTo>
                  <a:pt x="300" y="102"/>
                </a:lnTo>
                <a:lnTo>
                  <a:pt x="300" y="102"/>
                </a:lnTo>
                <a:lnTo>
                  <a:pt x="300" y="102"/>
                </a:lnTo>
                <a:lnTo>
                  <a:pt x="300" y="108"/>
                </a:lnTo>
                <a:lnTo>
                  <a:pt x="300" y="108"/>
                </a:lnTo>
                <a:lnTo>
                  <a:pt x="300" y="108"/>
                </a:lnTo>
                <a:lnTo>
                  <a:pt x="300" y="114"/>
                </a:lnTo>
                <a:lnTo>
                  <a:pt x="300" y="114"/>
                </a:lnTo>
                <a:lnTo>
                  <a:pt x="300" y="114"/>
                </a:lnTo>
                <a:lnTo>
                  <a:pt x="300" y="114"/>
                </a:lnTo>
                <a:lnTo>
                  <a:pt x="306" y="114"/>
                </a:lnTo>
                <a:lnTo>
                  <a:pt x="306" y="114"/>
                </a:lnTo>
                <a:lnTo>
                  <a:pt x="306" y="114"/>
                </a:lnTo>
                <a:lnTo>
                  <a:pt x="306" y="120"/>
                </a:lnTo>
                <a:lnTo>
                  <a:pt x="306" y="120"/>
                </a:lnTo>
                <a:lnTo>
                  <a:pt x="306" y="126"/>
                </a:lnTo>
                <a:lnTo>
                  <a:pt x="306" y="126"/>
                </a:lnTo>
                <a:lnTo>
                  <a:pt x="312" y="126"/>
                </a:lnTo>
                <a:lnTo>
                  <a:pt x="312" y="126"/>
                </a:lnTo>
                <a:lnTo>
                  <a:pt x="312" y="132"/>
                </a:lnTo>
                <a:lnTo>
                  <a:pt x="318" y="132"/>
                </a:lnTo>
                <a:lnTo>
                  <a:pt x="318" y="132"/>
                </a:lnTo>
                <a:lnTo>
                  <a:pt x="324" y="138"/>
                </a:lnTo>
                <a:lnTo>
                  <a:pt x="324" y="138"/>
                </a:lnTo>
                <a:lnTo>
                  <a:pt x="324" y="138"/>
                </a:lnTo>
                <a:lnTo>
                  <a:pt x="324" y="138"/>
                </a:lnTo>
                <a:lnTo>
                  <a:pt x="324" y="144"/>
                </a:lnTo>
                <a:lnTo>
                  <a:pt x="330" y="144"/>
                </a:lnTo>
                <a:lnTo>
                  <a:pt x="324" y="144"/>
                </a:lnTo>
                <a:lnTo>
                  <a:pt x="330" y="144"/>
                </a:lnTo>
                <a:lnTo>
                  <a:pt x="330" y="144"/>
                </a:lnTo>
                <a:lnTo>
                  <a:pt x="330" y="144"/>
                </a:lnTo>
                <a:lnTo>
                  <a:pt x="330" y="150"/>
                </a:lnTo>
                <a:lnTo>
                  <a:pt x="330" y="150"/>
                </a:lnTo>
                <a:lnTo>
                  <a:pt x="330" y="156"/>
                </a:lnTo>
                <a:lnTo>
                  <a:pt x="330" y="162"/>
                </a:lnTo>
                <a:lnTo>
                  <a:pt x="330" y="162"/>
                </a:lnTo>
                <a:lnTo>
                  <a:pt x="330" y="162"/>
                </a:lnTo>
                <a:lnTo>
                  <a:pt x="330" y="162"/>
                </a:lnTo>
                <a:lnTo>
                  <a:pt x="330" y="162"/>
                </a:lnTo>
                <a:lnTo>
                  <a:pt x="330" y="162"/>
                </a:lnTo>
                <a:lnTo>
                  <a:pt x="330" y="162"/>
                </a:lnTo>
                <a:lnTo>
                  <a:pt x="330" y="162"/>
                </a:lnTo>
                <a:lnTo>
                  <a:pt x="330" y="168"/>
                </a:lnTo>
                <a:lnTo>
                  <a:pt x="330" y="168"/>
                </a:lnTo>
                <a:lnTo>
                  <a:pt x="330" y="168"/>
                </a:lnTo>
                <a:lnTo>
                  <a:pt x="330" y="168"/>
                </a:lnTo>
                <a:lnTo>
                  <a:pt x="330" y="168"/>
                </a:lnTo>
                <a:lnTo>
                  <a:pt x="336" y="168"/>
                </a:lnTo>
                <a:lnTo>
                  <a:pt x="336" y="168"/>
                </a:lnTo>
                <a:lnTo>
                  <a:pt x="336" y="168"/>
                </a:lnTo>
                <a:lnTo>
                  <a:pt x="336" y="168"/>
                </a:lnTo>
                <a:lnTo>
                  <a:pt x="342" y="168"/>
                </a:lnTo>
                <a:lnTo>
                  <a:pt x="342" y="168"/>
                </a:lnTo>
                <a:lnTo>
                  <a:pt x="342" y="168"/>
                </a:lnTo>
                <a:lnTo>
                  <a:pt x="360" y="168"/>
                </a:lnTo>
                <a:lnTo>
                  <a:pt x="384" y="174"/>
                </a:lnTo>
                <a:lnTo>
                  <a:pt x="390" y="168"/>
                </a:lnTo>
                <a:lnTo>
                  <a:pt x="390" y="162"/>
                </a:lnTo>
                <a:lnTo>
                  <a:pt x="390" y="162"/>
                </a:lnTo>
                <a:lnTo>
                  <a:pt x="396" y="162"/>
                </a:lnTo>
                <a:lnTo>
                  <a:pt x="396" y="162"/>
                </a:lnTo>
                <a:lnTo>
                  <a:pt x="396" y="162"/>
                </a:lnTo>
                <a:lnTo>
                  <a:pt x="396" y="162"/>
                </a:lnTo>
                <a:lnTo>
                  <a:pt x="396" y="162"/>
                </a:lnTo>
                <a:lnTo>
                  <a:pt x="396" y="162"/>
                </a:lnTo>
                <a:lnTo>
                  <a:pt x="396" y="162"/>
                </a:lnTo>
                <a:lnTo>
                  <a:pt x="402" y="162"/>
                </a:lnTo>
                <a:lnTo>
                  <a:pt x="402" y="162"/>
                </a:lnTo>
                <a:lnTo>
                  <a:pt x="408" y="156"/>
                </a:lnTo>
                <a:lnTo>
                  <a:pt x="414" y="156"/>
                </a:lnTo>
                <a:lnTo>
                  <a:pt x="414" y="156"/>
                </a:lnTo>
                <a:lnTo>
                  <a:pt x="414" y="156"/>
                </a:lnTo>
                <a:lnTo>
                  <a:pt x="420" y="156"/>
                </a:lnTo>
                <a:lnTo>
                  <a:pt x="420" y="162"/>
                </a:lnTo>
                <a:lnTo>
                  <a:pt x="420" y="162"/>
                </a:lnTo>
                <a:lnTo>
                  <a:pt x="420" y="162"/>
                </a:lnTo>
                <a:lnTo>
                  <a:pt x="414" y="162"/>
                </a:lnTo>
                <a:lnTo>
                  <a:pt x="414" y="162"/>
                </a:lnTo>
                <a:lnTo>
                  <a:pt x="414" y="162"/>
                </a:lnTo>
                <a:lnTo>
                  <a:pt x="414" y="162"/>
                </a:lnTo>
                <a:lnTo>
                  <a:pt x="414" y="168"/>
                </a:lnTo>
                <a:lnTo>
                  <a:pt x="414" y="168"/>
                </a:lnTo>
                <a:lnTo>
                  <a:pt x="414" y="168"/>
                </a:lnTo>
                <a:lnTo>
                  <a:pt x="414" y="168"/>
                </a:lnTo>
                <a:lnTo>
                  <a:pt x="414" y="168"/>
                </a:lnTo>
                <a:lnTo>
                  <a:pt x="414" y="168"/>
                </a:lnTo>
                <a:lnTo>
                  <a:pt x="414" y="168"/>
                </a:lnTo>
                <a:lnTo>
                  <a:pt x="414" y="168"/>
                </a:lnTo>
                <a:lnTo>
                  <a:pt x="414" y="168"/>
                </a:lnTo>
                <a:lnTo>
                  <a:pt x="414" y="168"/>
                </a:lnTo>
                <a:lnTo>
                  <a:pt x="408" y="168"/>
                </a:lnTo>
                <a:lnTo>
                  <a:pt x="408" y="174"/>
                </a:lnTo>
                <a:lnTo>
                  <a:pt x="408" y="174"/>
                </a:lnTo>
                <a:lnTo>
                  <a:pt x="408" y="174"/>
                </a:lnTo>
                <a:lnTo>
                  <a:pt x="408" y="180"/>
                </a:lnTo>
                <a:lnTo>
                  <a:pt x="402" y="180"/>
                </a:lnTo>
                <a:lnTo>
                  <a:pt x="402" y="180"/>
                </a:lnTo>
                <a:lnTo>
                  <a:pt x="402" y="180"/>
                </a:lnTo>
                <a:lnTo>
                  <a:pt x="402" y="180"/>
                </a:lnTo>
                <a:lnTo>
                  <a:pt x="402" y="186"/>
                </a:lnTo>
                <a:lnTo>
                  <a:pt x="402" y="186"/>
                </a:lnTo>
                <a:lnTo>
                  <a:pt x="402" y="186"/>
                </a:lnTo>
                <a:lnTo>
                  <a:pt x="402" y="186"/>
                </a:lnTo>
                <a:lnTo>
                  <a:pt x="402" y="192"/>
                </a:lnTo>
                <a:lnTo>
                  <a:pt x="402" y="192"/>
                </a:lnTo>
                <a:lnTo>
                  <a:pt x="402" y="192"/>
                </a:lnTo>
                <a:lnTo>
                  <a:pt x="402" y="192"/>
                </a:lnTo>
                <a:lnTo>
                  <a:pt x="402" y="192"/>
                </a:lnTo>
                <a:lnTo>
                  <a:pt x="402" y="192"/>
                </a:lnTo>
                <a:lnTo>
                  <a:pt x="402" y="192"/>
                </a:lnTo>
                <a:lnTo>
                  <a:pt x="402" y="192"/>
                </a:lnTo>
                <a:lnTo>
                  <a:pt x="402" y="198"/>
                </a:lnTo>
                <a:lnTo>
                  <a:pt x="408" y="198"/>
                </a:lnTo>
                <a:lnTo>
                  <a:pt x="408" y="204"/>
                </a:lnTo>
                <a:lnTo>
                  <a:pt x="408" y="204"/>
                </a:lnTo>
                <a:lnTo>
                  <a:pt x="408" y="204"/>
                </a:lnTo>
                <a:lnTo>
                  <a:pt x="408" y="204"/>
                </a:lnTo>
                <a:lnTo>
                  <a:pt x="408" y="210"/>
                </a:lnTo>
                <a:lnTo>
                  <a:pt x="414" y="210"/>
                </a:lnTo>
                <a:lnTo>
                  <a:pt x="414" y="210"/>
                </a:lnTo>
                <a:lnTo>
                  <a:pt x="408" y="216"/>
                </a:lnTo>
                <a:lnTo>
                  <a:pt x="420" y="216"/>
                </a:lnTo>
                <a:lnTo>
                  <a:pt x="426" y="216"/>
                </a:lnTo>
                <a:lnTo>
                  <a:pt x="426" y="216"/>
                </a:lnTo>
                <a:lnTo>
                  <a:pt x="426" y="210"/>
                </a:lnTo>
                <a:lnTo>
                  <a:pt x="426" y="210"/>
                </a:lnTo>
                <a:lnTo>
                  <a:pt x="432" y="210"/>
                </a:lnTo>
                <a:lnTo>
                  <a:pt x="432" y="210"/>
                </a:lnTo>
                <a:lnTo>
                  <a:pt x="438" y="210"/>
                </a:lnTo>
                <a:lnTo>
                  <a:pt x="438" y="210"/>
                </a:lnTo>
                <a:lnTo>
                  <a:pt x="432" y="216"/>
                </a:lnTo>
                <a:lnTo>
                  <a:pt x="432" y="216"/>
                </a:lnTo>
                <a:lnTo>
                  <a:pt x="438" y="216"/>
                </a:lnTo>
                <a:lnTo>
                  <a:pt x="438" y="216"/>
                </a:lnTo>
                <a:lnTo>
                  <a:pt x="438" y="216"/>
                </a:lnTo>
                <a:lnTo>
                  <a:pt x="438" y="216"/>
                </a:lnTo>
                <a:lnTo>
                  <a:pt x="438" y="216"/>
                </a:lnTo>
                <a:lnTo>
                  <a:pt x="438" y="222"/>
                </a:lnTo>
                <a:lnTo>
                  <a:pt x="438" y="222"/>
                </a:lnTo>
                <a:lnTo>
                  <a:pt x="438" y="222"/>
                </a:lnTo>
                <a:lnTo>
                  <a:pt x="438" y="228"/>
                </a:lnTo>
                <a:lnTo>
                  <a:pt x="438" y="228"/>
                </a:lnTo>
                <a:lnTo>
                  <a:pt x="438" y="228"/>
                </a:lnTo>
                <a:lnTo>
                  <a:pt x="438" y="228"/>
                </a:lnTo>
                <a:lnTo>
                  <a:pt x="438" y="228"/>
                </a:lnTo>
                <a:lnTo>
                  <a:pt x="438" y="234"/>
                </a:lnTo>
                <a:lnTo>
                  <a:pt x="438" y="234"/>
                </a:lnTo>
                <a:lnTo>
                  <a:pt x="438" y="252"/>
                </a:lnTo>
                <a:lnTo>
                  <a:pt x="456" y="258"/>
                </a:lnTo>
                <a:lnTo>
                  <a:pt x="456" y="258"/>
                </a:lnTo>
                <a:lnTo>
                  <a:pt x="456" y="252"/>
                </a:lnTo>
                <a:lnTo>
                  <a:pt x="456" y="252"/>
                </a:lnTo>
                <a:lnTo>
                  <a:pt x="462" y="252"/>
                </a:lnTo>
                <a:lnTo>
                  <a:pt x="462" y="252"/>
                </a:lnTo>
                <a:lnTo>
                  <a:pt x="462" y="252"/>
                </a:lnTo>
                <a:lnTo>
                  <a:pt x="468" y="252"/>
                </a:lnTo>
                <a:lnTo>
                  <a:pt x="468" y="252"/>
                </a:lnTo>
                <a:lnTo>
                  <a:pt x="468" y="252"/>
                </a:lnTo>
                <a:lnTo>
                  <a:pt x="474" y="252"/>
                </a:lnTo>
                <a:lnTo>
                  <a:pt x="474" y="246"/>
                </a:lnTo>
                <a:lnTo>
                  <a:pt x="474" y="246"/>
                </a:lnTo>
                <a:lnTo>
                  <a:pt x="480" y="246"/>
                </a:lnTo>
                <a:lnTo>
                  <a:pt x="480" y="246"/>
                </a:lnTo>
                <a:lnTo>
                  <a:pt x="480" y="246"/>
                </a:lnTo>
                <a:lnTo>
                  <a:pt x="480" y="246"/>
                </a:lnTo>
                <a:lnTo>
                  <a:pt x="480" y="246"/>
                </a:lnTo>
                <a:lnTo>
                  <a:pt x="486" y="246"/>
                </a:lnTo>
                <a:lnTo>
                  <a:pt x="486" y="246"/>
                </a:lnTo>
                <a:lnTo>
                  <a:pt x="486" y="246"/>
                </a:lnTo>
                <a:lnTo>
                  <a:pt x="486" y="240"/>
                </a:lnTo>
                <a:lnTo>
                  <a:pt x="486" y="240"/>
                </a:lnTo>
                <a:lnTo>
                  <a:pt x="486" y="240"/>
                </a:lnTo>
                <a:lnTo>
                  <a:pt x="492" y="240"/>
                </a:lnTo>
                <a:lnTo>
                  <a:pt x="492" y="240"/>
                </a:lnTo>
                <a:lnTo>
                  <a:pt x="492" y="240"/>
                </a:lnTo>
                <a:lnTo>
                  <a:pt x="492" y="240"/>
                </a:lnTo>
                <a:lnTo>
                  <a:pt x="492" y="240"/>
                </a:lnTo>
                <a:lnTo>
                  <a:pt x="498" y="240"/>
                </a:lnTo>
                <a:lnTo>
                  <a:pt x="498" y="240"/>
                </a:lnTo>
                <a:lnTo>
                  <a:pt x="498" y="240"/>
                </a:lnTo>
                <a:lnTo>
                  <a:pt x="504" y="234"/>
                </a:lnTo>
                <a:lnTo>
                  <a:pt x="504" y="234"/>
                </a:lnTo>
                <a:lnTo>
                  <a:pt x="504" y="234"/>
                </a:lnTo>
                <a:lnTo>
                  <a:pt x="504" y="234"/>
                </a:lnTo>
                <a:lnTo>
                  <a:pt x="510" y="234"/>
                </a:lnTo>
                <a:lnTo>
                  <a:pt x="510" y="228"/>
                </a:lnTo>
                <a:lnTo>
                  <a:pt x="510" y="228"/>
                </a:lnTo>
                <a:lnTo>
                  <a:pt x="510" y="228"/>
                </a:lnTo>
                <a:lnTo>
                  <a:pt x="510" y="228"/>
                </a:lnTo>
                <a:lnTo>
                  <a:pt x="510" y="222"/>
                </a:lnTo>
                <a:lnTo>
                  <a:pt x="516" y="222"/>
                </a:lnTo>
                <a:lnTo>
                  <a:pt x="516" y="222"/>
                </a:lnTo>
                <a:lnTo>
                  <a:pt x="516" y="222"/>
                </a:lnTo>
                <a:lnTo>
                  <a:pt x="516" y="222"/>
                </a:lnTo>
                <a:lnTo>
                  <a:pt x="516" y="222"/>
                </a:lnTo>
                <a:lnTo>
                  <a:pt x="522" y="228"/>
                </a:lnTo>
                <a:lnTo>
                  <a:pt x="522" y="228"/>
                </a:lnTo>
                <a:lnTo>
                  <a:pt x="522" y="228"/>
                </a:lnTo>
                <a:lnTo>
                  <a:pt x="522" y="228"/>
                </a:lnTo>
                <a:lnTo>
                  <a:pt x="522" y="228"/>
                </a:lnTo>
                <a:lnTo>
                  <a:pt x="522" y="228"/>
                </a:lnTo>
                <a:lnTo>
                  <a:pt x="522" y="228"/>
                </a:lnTo>
                <a:lnTo>
                  <a:pt x="522" y="234"/>
                </a:lnTo>
                <a:lnTo>
                  <a:pt x="528" y="234"/>
                </a:lnTo>
                <a:lnTo>
                  <a:pt x="522" y="234"/>
                </a:lnTo>
                <a:lnTo>
                  <a:pt x="522" y="234"/>
                </a:lnTo>
                <a:lnTo>
                  <a:pt x="522" y="234"/>
                </a:lnTo>
                <a:lnTo>
                  <a:pt x="522" y="234"/>
                </a:lnTo>
                <a:lnTo>
                  <a:pt x="522" y="240"/>
                </a:lnTo>
                <a:lnTo>
                  <a:pt x="522" y="240"/>
                </a:lnTo>
                <a:lnTo>
                  <a:pt x="522" y="240"/>
                </a:lnTo>
                <a:lnTo>
                  <a:pt x="522" y="240"/>
                </a:lnTo>
                <a:lnTo>
                  <a:pt x="522" y="240"/>
                </a:lnTo>
                <a:lnTo>
                  <a:pt x="522" y="240"/>
                </a:lnTo>
                <a:lnTo>
                  <a:pt x="522" y="240"/>
                </a:lnTo>
                <a:lnTo>
                  <a:pt x="522" y="246"/>
                </a:lnTo>
                <a:lnTo>
                  <a:pt x="522" y="246"/>
                </a:lnTo>
                <a:lnTo>
                  <a:pt x="522" y="246"/>
                </a:lnTo>
                <a:lnTo>
                  <a:pt x="522" y="246"/>
                </a:lnTo>
                <a:lnTo>
                  <a:pt x="522" y="252"/>
                </a:lnTo>
                <a:lnTo>
                  <a:pt x="522" y="252"/>
                </a:lnTo>
                <a:lnTo>
                  <a:pt x="522" y="252"/>
                </a:lnTo>
                <a:lnTo>
                  <a:pt x="522" y="252"/>
                </a:lnTo>
                <a:lnTo>
                  <a:pt x="522" y="258"/>
                </a:lnTo>
                <a:lnTo>
                  <a:pt x="522" y="258"/>
                </a:lnTo>
                <a:lnTo>
                  <a:pt x="522" y="258"/>
                </a:lnTo>
                <a:lnTo>
                  <a:pt x="522" y="258"/>
                </a:lnTo>
                <a:lnTo>
                  <a:pt x="522" y="258"/>
                </a:lnTo>
                <a:lnTo>
                  <a:pt x="522" y="258"/>
                </a:lnTo>
                <a:lnTo>
                  <a:pt x="516" y="258"/>
                </a:lnTo>
                <a:lnTo>
                  <a:pt x="516" y="258"/>
                </a:lnTo>
                <a:lnTo>
                  <a:pt x="516" y="258"/>
                </a:lnTo>
                <a:lnTo>
                  <a:pt x="516" y="264"/>
                </a:lnTo>
                <a:lnTo>
                  <a:pt x="516" y="264"/>
                </a:lnTo>
                <a:lnTo>
                  <a:pt x="516" y="264"/>
                </a:lnTo>
                <a:lnTo>
                  <a:pt x="516" y="264"/>
                </a:lnTo>
                <a:lnTo>
                  <a:pt x="516" y="264"/>
                </a:lnTo>
                <a:lnTo>
                  <a:pt x="516" y="264"/>
                </a:lnTo>
                <a:lnTo>
                  <a:pt x="516" y="264"/>
                </a:lnTo>
                <a:lnTo>
                  <a:pt x="516" y="264"/>
                </a:lnTo>
                <a:lnTo>
                  <a:pt x="516" y="264"/>
                </a:lnTo>
                <a:lnTo>
                  <a:pt x="516" y="264"/>
                </a:lnTo>
                <a:lnTo>
                  <a:pt x="516" y="264"/>
                </a:lnTo>
                <a:lnTo>
                  <a:pt x="516" y="270"/>
                </a:lnTo>
                <a:lnTo>
                  <a:pt x="516" y="270"/>
                </a:lnTo>
                <a:lnTo>
                  <a:pt x="516" y="270"/>
                </a:lnTo>
                <a:lnTo>
                  <a:pt x="516" y="270"/>
                </a:lnTo>
                <a:lnTo>
                  <a:pt x="516" y="270"/>
                </a:lnTo>
                <a:lnTo>
                  <a:pt x="516" y="270"/>
                </a:lnTo>
                <a:lnTo>
                  <a:pt x="516" y="276"/>
                </a:lnTo>
                <a:lnTo>
                  <a:pt x="516" y="276"/>
                </a:lnTo>
                <a:lnTo>
                  <a:pt x="516" y="276"/>
                </a:lnTo>
                <a:lnTo>
                  <a:pt x="516" y="282"/>
                </a:lnTo>
                <a:lnTo>
                  <a:pt x="516" y="282"/>
                </a:lnTo>
                <a:lnTo>
                  <a:pt x="540" y="282"/>
                </a:lnTo>
                <a:lnTo>
                  <a:pt x="540" y="258"/>
                </a:lnTo>
                <a:lnTo>
                  <a:pt x="540" y="258"/>
                </a:lnTo>
                <a:lnTo>
                  <a:pt x="540" y="246"/>
                </a:lnTo>
                <a:lnTo>
                  <a:pt x="558" y="246"/>
                </a:lnTo>
                <a:lnTo>
                  <a:pt x="558" y="246"/>
                </a:lnTo>
                <a:lnTo>
                  <a:pt x="558" y="246"/>
                </a:lnTo>
                <a:lnTo>
                  <a:pt x="558" y="252"/>
                </a:lnTo>
                <a:lnTo>
                  <a:pt x="558" y="252"/>
                </a:lnTo>
                <a:lnTo>
                  <a:pt x="558" y="246"/>
                </a:lnTo>
                <a:lnTo>
                  <a:pt x="558" y="252"/>
                </a:lnTo>
                <a:lnTo>
                  <a:pt x="564" y="252"/>
                </a:lnTo>
                <a:lnTo>
                  <a:pt x="564" y="252"/>
                </a:lnTo>
                <a:lnTo>
                  <a:pt x="564" y="252"/>
                </a:lnTo>
                <a:lnTo>
                  <a:pt x="564" y="252"/>
                </a:lnTo>
                <a:lnTo>
                  <a:pt x="558" y="252"/>
                </a:lnTo>
                <a:lnTo>
                  <a:pt x="564" y="252"/>
                </a:lnTo>
                <a:lnTo>
                  <a:pt x="564" y="252"/>
                </a:lnTo>
                <a:lnTo>
                  <a:pt x="564" y="258"/>
                </a:lnTo>
                <a:lnTo>
                  <a:pt x="564" y="258"/>
                </a:lnTo>
                <a:lnTo>
                  <a:pt x="564" y="258"/>
                </a:lnTo>
                <a:lnTo>
                  <a:pt x="564" y="258"/>
                </a:lnTo>
                <a:lnTo>
                  <a:pt x="564" y="258"/>
                </a:lnTo>
                <a:lnTo>
                  <a:pt x="564" y="258"/>
                </a:lnTo>
                <a:lnTo>
                  <a:pt x="564" y="258"/>
                </a:lnTo>
                <a:lnTo>
                  <a:pt x="564" y="258"/>
                </a:lnTo>
                <a:lnTo>
                  <a:pt x="564" y="258"/>
                </a:lnTo>
                <a:lnTo>
                  <a:pt x="564" y="258"/>
                </a:lnTo>
                <a:lnTo>
                  <a:pt x="564" y="264"/>
                </a:lnTo>
                <a:lnTo>
                  <a:pt x="570" y="264"/>
                </a:lnTo>
                <a:lnTo>
                  <a:pt x="570" y="264"/>
                </a:lnTo>
                <a:lnTo>
                  <a:pt x="564" y="264"/>
                </a:lnTo>
                <a:lnTo>
                  <a:pt x="564" y="264"/>
                </a:lnTo>
                <a:lnTo>
                  <a:pt x="564" y="264"/>
                </a:lnTo>
                <a:lnTo>
                  <a:pt x="570" y="264"/>
                </a:lnTo>
                <a:lnTo>
                  <a:pt x="570" y="270"/>
                </a:lnTo>
                <a:lnTo>
                  <a:pt x="570" y="270"/>
                </a:lnTo>
                <a:lnTo>
                  <a:pt x="570" y="270"/>
                </a:lnTo>
                <a:lnTo>
                  <a:pt x="570" y="270"/>
                </a:lnTo>
                <a:lnTo>
                  <a:pt x="570" y="270"/>
                </a:lnTo>
                <a:lnTo>
                  <a:pt x="570" y="270"/>
                </a:lnTo>
                <a:lnTo>
                  <a:pt x="570" y="270"/>
                </a:lnTo>
                <a:lnTo>
                  <a:pt x="570" y="270"/>
                </a:lnTo>
                <a:lnTo>
                  <a:pt x="570" y="270"/>
                </a:lnTo>
                <a:lnTo>
                  <a:pt x="570" y="276"/>
                </a:lnTo>
                <a:lnTo>
                  <a:pt x="570" y="276"/>
                </a:lnTo>
                <a:lnTo>
                  <a:pt x="570" y="276"/>
                </a:lnTo>
                <a:lnTo>
                  <a:pt x="570" y="276"/>
                </a:lnTo>
                <a:lnTo>
                  <a:pt x="570" y="276"/>
                </a:lnTo>
                <a:lnTo>
                  <a:pt x="570" y="276"/>
                </a:lnTo>
                <a:lnTo>
                  <a:pt x="570" y="276"/>
                </a:lnTo>
                <a:lnTo>
                  <a:pt x="570" y="276"/>
                </a:lnTo>
                <a:lnTo>
                  <a:pt x="570" y="276"/>
                </a:lnTo>
                <a:lnTo>
                  <a:pt x="576" y="276"/>
                </a:lnTo>
                <a:lnTo>
                  <a:pt x="576" y="282"/>
                </a:lnTo>
                <a:lnTo>
                  <a:pt x="576" y="282"/>
                </a:lnTo>
                <a:lnTo>
                  <a:pt x="576" y="282"/>
                </a:lnTo>
                <a:lnTo>
                  <a:pt x="576" y="282"/>
                </a:lnTo>
                <a:lnTo>
                  <a:pt x="576" y="282"/>
                </a:lnTo>
                <a:lnTo>
                  <a:pt x="576" y="282"/>
                </a:lnTo>
                <a:lnTo>
                  <a:pt x="576" y="282"/>
                </a:lnTo>
                <a:lnTo>
                  <a:pt x="576" y="282"/>
                </a:lnTo>
                <a:lnTo>
                  <a:pt x="576" y="282"/>
                </a:lnTo>
                <a:lnTo>
                  <a:pt x="576" y="282"/>
                </a:lnTo>
                <a:lnTo>
                  <a:pt x="576" y="282"/>
                </a:lnTo>
                <a:lnTo>
                  <a:pt x="576" y="282"/>
                </a:lnTo>
                <a:lnTo>
                  <a:pt x="576" y="282"/>
                </a:lnTo>
                <a:lnTo>
                  <a:pt x="576" y="288"/>
                </a:lnTo>
                <a:lnTo>
                  <a:pt x="576" y="288"/>
                </a:lnTo>
                <a:lnTo>
                  <a:pt x="582" y="288"/>
                </a:lnTo>
                <a:lnTo>
                  <a:pt x="582" y="288"/>
                </a:lnTo>
                <a:lnTo>
                  <a:pt x="582" y="288"/>
                </a:lnTo>
                <a:lnTo>
                  <a:pt x="582" y="288"/>
                </a:lnTo>
                <a:lnTo>
                  <a:pt x="582" y="288"/>
                </a:lnTo>
                <a:lnTo>
                  <a:pt x="582" y="288"/>
                </a:lnTo>
                <a:lnTo>
                  <a:pt x="582" y="288"/>
                </a:lnTo>
                <a:lnTo>
                  <a:pt x="582" y="288"/>
                </a:lnTo>
                <a:lnTo>
                  <a:pt x="582" y="288"/>
                </a:lnTo>
                <a:lnTo>
                  <a:pt x="582" y="288"/>
                </a:lnTo>
                <a:lnTo>
                  <a:pt x="582" y="288"/>
                </a:lnTo>
                <a:lnTo>
                  <a:pt x="588" y="288"/>
                </a:lnTo>
                <a:lnTo>
                  <a:pt x="588" y="288"/>
                </a:lnTo>
                <a:lnTo>
                  <a:pt x="588" y="288"/>
                </a:lnTo>
                <a:lnTo>
                  <a:pt x="588" y="288"/>
                </a:lnTo>
                <a:lnTo>
                  <a:pt x="588" y="288"/>
                </a:lnTo>
                <a:lnTo>
                  <a:pt x="588" y="288"/>
                </a:lnTo>
                <a:lnTo>
                  <a:pt x="588" y="288"/>
                </a:lnTo>
                <a:lnTo>
                  <a:pt x="588" y="288"/>
                </a:lnTo>
                <a:lnTo>
                  <a:pt x="588" y="288"/>
                </a:lnTo>
                <a:lnTo>
                  <a:pt x="588" y="288"/>
                </a:lnTo>
                <a:lnTo>
                  <a:pt x="588" y="288"/>
                </a:lnTo>
                <a:lnTo>
                  <a:pt x="594" y="288"/>
                </a:lnTo>
                <a:lnTo>
                  <a:pt x="594" y="288"/>
                </a:lnTo>
                <a:lnTo>
                  <a:pt x="594" y="288"/>
                </a:lnTo>
                <a:lnTo>
                  <a:pt x="594" y="288"/>
                </a:lnTo>
                <a:lnTo>
                  <a:pt x="594" y="288"/>
                </a:lnTo>
                <a:lnTo>
                  <a:pt x="594" y="288"/>
                </a:lnTo>
                <a:lnTo>
                  <a:pt x="594" y="288"/>
                </a:lnTo>
                <a:lnTo>
                  <a:pt x="600" y="288"/>
                </a:lnTo>
                <a:lnTo>
                  <a:pt x="600" y="288"/>
                </a:lnTo>
                <a:lnTo>
                  <a:pt x="600" y="288"/>
                </a:lnTo>
                <a:lnTo>
                  <a:pt x="600" y="288"/>
                </a:lnTo>
                <a:lnTo>
                  <a:pt x="600" y="288"/>
                </a:lnTo>
                <a:lnTo>
                  <a:pt x="600" y="288"/>
                </a:lnTo>
                <a:lnTo>
                  <a:pt x="600" y="288"/>
                </a:lnTo>
                <a:lnTo>
                  <a:pt x="600" y="288"/>
                </a:lnTo>
                <a:lnTo>
                  <a:pt x="606" y="288"/>
                </a:lnTo>
                <a:lnTo>
                  <a:pt x="606" y="288"/>
                </a:lnTo>
                <a:lnTo>
                  <a:pt x="606" y="288"/>
                </a:lnTo>
                <a:lnTo>
                  <a:pt x="606" y="288"/>
                </a:lnTo>
                <a:lnTo>
                  <a:pt x="606" y="288"/>
                </a:lnTo>
                <a:lnTo>
                  <a:pt x="606" y="294"/>
                </a:lnTo>
                <a:lnTo>
                  <a:pt x="606" y="294"/>
                </a:lnTo>
                <a:lnTo>
                  <a:pt x="606" y="294"/>
                </a:lnTo>
                <a:lnTo>
                  <a:pt x="606" y="300"/>
                </a:lnTo>
                <a:lnTo>
                  <a:pt x="606" y="300"/>
                </a:lnTo>
                <a:lnTo>
                  <a:pt x="606" y="300"/>
                </a:lnTo>
                <a:lnTo>
                  <a:pt x="606" y="300"/>
                </a:lnTo>
                <a:lnTo>
                  <a:pt x="606" y="300"/>
                </a:lnTo>
                <a:lnTo>
                  <a:pt x="606" y="300"/>
                </a:lnTo>
                <a:lnTo>
                  <a:pt x="612" y="300"/>
                </a:lnTo>
                <a:lnTo>
                  <a:pt x="612" y="300"/>
                </a:lnTo>
                <a:lnTo>
                  <a:pt x="612" y="300"/>
                </a:lnTo>
                <a:lnTo>
                  <a:pt x="612" y="300"/>
                </a:lnTo>
                <a:lnTo>
                  <a:pt x="612" y="300"/>
                </a:lnTo>
                <a:lnTo>
                  <a:pt x="612" y="306"/>
                </a:lnTo>
                <a:lnTo>
                  <a:pt x="612" y="306"/>
                </a:lnTo>
                <a:lnTo>
                  <a:pt x="612" y="306"/>
                </a:lnTo>
                <a:lnTo>
                  <a:pt x="612" y="306"/>
                </a:lnTo>
                <a:lnTo>
                  <a:pt x="612" y="306"/>
                </a:lnTo>
                <a:lnTo>
                  <a:pt x="612" y="306"/>
                </a:lnTo>
                <a:lnTo>
                  <a:pt x="612" y="312"/>
                </a:lnTo>
                <a:lnTo>
                  <a:pt x="612" y="312"/>
                </a:lnTo>
                <a:lnTo>
                  <a:pt x="612" y="312"/>
                </a:lnTo>
                <a:lnTo>
                  <a:pt x="612" y="312"/>
                </a:lnTo>
                <a:lnTo>
                  <a:pt x="612" y="312"/>
                </a:lnTo>
                <a:lnTo>
                  <a:pt x="612" y="318"/>
                </a:lnTo>
                <a:lnTo>
                  <a:pt x="606" y="318"/>
                </a:lnTo>
                <a:lnTo>
                  <a:pt x="606" y="318"/>
                </a:lnTo>
                <a:lnTo>
                  <a:pt x="606" y="324"/>
                </a:lnTo>
                <a:lnTo>
                  <a:pt x="606" y="324"/>
                </a:lnTo>
                <a:lnTo>
                  <a:pt x="600" y="330"/>
                </a:lnTo>
                <a:lnTo>
                  <a:pt x="594" y="330"/>
                </a:lnTo>
                <a:lnTo>
                  <a:pt x="588" y="336"/>
                </a:lnTo>
                <a:lnTo>
                  <a:pt x="588" y="336"/>
                </a:lnTo>
                <a:lnTo>
                  <a:pt x="582" y="336"/>
                </a:lnTo>
                <a:lnTo>
                  <a:pt x="582" y="342"/>
                </a:lnTo>
                <a:lnTo>
                  <a:pt x="582" y="342"/>
                </a:lnTo>
                <a:lnTo>
                  <a:pt x="582" y="342"/>
                </a:lnTo>
                <a:lnTo>
                  <a:pt x="582" y="342"/>
                </a:lnTo>
                <a:lnTo>
                  <a:pt x="582" y="348"/>
                </a:lnTo>
                <a:lnTo>
                  <a:pt x="582" y="348"/>
                </a:lnTo>
                <a:lnTo>
                  <a:pt x="576" y="348"/>
                </a:lnTo>
                <a:lnTo>
                  <a:pt x="576" y="348"/>
                </a:lnTo>
                <a:lnTo>
                  <a:pt x="576" y="348"/>
                </a:lnTo>
                <a:lnTo>
                  <a:pt x="564" y="360"/>
                </a:lnTo>
                <a:lnTo>
                  <a:pt x="564" y="360"/>
                </a:lnTo>
                <a:lnTo>
                  <a:pt x="564" y="342"/>
                </a:lnTo>
                <a:lnTo>
                  <a:pt x="552" y="342"/>
                </a:lnTo>
                <a:lnTo>
                  <a:pt x="558" y="336"/>
                </a:lnTo>
                <a:lnTo>
                  <a:pt x="564" y="336"/>
                </a:lnTo>
                <a:lnTo>
                  <a:pt x="564" y="336"/>
                </a:lnTo>
                <a:lnTo>
                  <a:pt x="564" y="336"/>
                </a:lnTo>
                <a:lnTo>
                  <a:pt x="558" y="330"/>
                </a:lnTo>
                <a:lnTo>
                  <a:pt x="558" y="330"/>
                </a:lnTo>
                <a:lnTo>
                  <a:pt x="558" y="330"/>
                </a:lnTo>
                <a:lnTo>
                  <a:pt x="558" y="330"/>
                </a:lnTo>
                <a:lnTo>
                  <a:pt x="558" y="330"/>
                </a:lnTo>
                <a:lnTo>
                  <a:pt x="558" y="330"/>
                </a:lnTo>
                <a:lnTo>
                  <a:pt x="558" y="330"/>
                </a:lnTo>
                <a:lnTo>
                  <a:pt x="558" y="330"/>
                </a:lnTo>
                <a:lnTo>
                  <a:pt x="552" y="330"/>
                </a:lnTo>
                <a:lnTo>
                  <a:pt x="552" y="330"/>
                </a:lnTo>
                <a:lnTo>
                  <a:pt x="552" y="330"/>
                </a:lnTo>
                <a:lnTo>
                  <a:pt x="552" y="330"/>
                </a:lnTo>
                <a:lnTo>
                  <a:pt x="552" y="330"/>
                </a:lnTo>
                <a:lnTo>
                  <a:pt x="552" y="330"/>
                </a:lnTo>
                <a:lnTo>
                  <a:pt x="546" y="330"/>
                </a:lnTo>
                <a:lnTo>
                  <a:pt x="546" y="330"/>
                </a:lnTo>
                <a:lnTo>
                  <a:pt x="546" y="330"/>
                </a:lnTo>
                <a:lnTo>
                  <a:pt x="546" y="330"/>
                </a:lnTo>
                <a:lnTo>
                  <a:pt x="546" y="330"/>
                </a:lnTo>
                <a:lnTo>
                  <a:pt x="546" y="330"/>
                </a:lnTo>
                <a:lnTo>
                  <a:pt x="546" y="330"/>
                </a:lnTo>
                <a:lnTo>
                  <a:pt x="546" y="330"/>
                </a:lnTo>
                <a:lnTo>
                  <a:pt x="546" y="324"/>
                </a:lnTo>
                <a:lnTo>
                  <a:pt x="546" y="324"/>
                </a:lnTo>
                <a:lnTo>
                  <a:pt x="546" y="324"/>
                </a:lnTo>
                <a:lnTo>
                  <a:pt x="540" y="324"/>
                </a:lnTo>
                <a:lnTo>
                  <a:pt x="540" y="318"/>
                </a:lnTo>
                <a:lnTo>
                  <a:pt x="540" y="318"/>
                </a:lnTo>
                <a:lnTo>
                  <a:pt x="540" y="300"/>
                </a:lnTo>
                <a:lnTo>
                  <a:pt x="546" y="300"/>
                </a:lnTo>
                <a:lnTo>
                  <a:pt x="540" y="300"/>
                </a:lnTo>
                <a:lnTo>
                  <a:pt x="534" y="294"/>
                </a:lnTo>
                <a:lnTo>
                  <a:pt x="534" y="294"/>
                </a:lnTo>
                <a:lnTo>
                  <a:pt x="528" y="294"/>
                </a:lnTo>
                <a:lnTo>
                  <a:pt x="522" y="294"/>
                </a:lnTo>
                <a:lnTo>
                  <a:pt x="522" y="294"/>
                </a:lnTo>
                <a:lnTo>
                  <a:pt x="522" y="294"/>
                </a:lnTo>
                <a:lnTo>
                  <a:pt x="516" y="294"/>
                </a:lnTo>
                <a:lnTo>
                  <a:pt x="516" y="294"/>
                </a:lnTo>
                <a:lnTo>
                  <a:pt x="516" y="288"/>
                </a:lnTo>
                <a:lnTo>
                  <a:pt x="522" y="288"/>
                </a:lnTo>
                <a:lnTo>
                  <a:pt x="516" y="288"/>
                </a:lnTo>
                <a:lnTo>
                  <a:pt x="510" y="288"/>
                </a:lnTo>
                <a:lnTo>
                  <a:pt x="510" y="288"/>
                </a:lnTo>
                <a:lnTo>
                  <a:pt x="498" y="288"/>
                </a:lnTo>
                <a:lnTo>
                  <a:pt x="492" y="288"/>
                </a:lnTo>
                <a:lnTo>
                  <a:pt x="492" y="288"/>
                </a:lnTo>
                <a:lnTo>
                  <a:pt x="486" y="294"/>
                </a:lnTo>
                <a:lnTo>
                  <a:pt x="486" y="288"/>
                </a:lnTo>
                <a:lnTo>
                  <a:pt x="486" y="294"/>
                </a:lnTo>
                <a:lnTo>
                  <a:pt x="486" y="294"/>
                </a:lnTo>
                <a:lnTo>
                  <a:pt x="480" y="294"/>
                </a:lnTo>
                <a:lnTo>
                  <a:pt x="480" y="294"/>
                </a:lnTo>
                <a:lnTo>
                  <a:pt x="480" y="294"/>
                </a:lnTo>
                <a:lnTo>
                  <a:pt x="480" y="294"/>
                </a:lnTo>
                <a:lnTo>
                  <a:pt x="474" y="294"/>
                </a:lnTo>
                <a:lnTo>
                  <a:pt x="474" y="294"/>
                </a:lnTo>
                <a:lnTo>
                  <a:pt x="468" y="294"/>
                </a:lnTo>
                <a:lnTo>
                  <a:pt x="468" y="294"/>
                </a:lnTo>
                <a:lnTo>
                  <a:pt x="468" y="288"/>
                </a:lnTo>
                <a:lnTo>
                  <a:pt x="468" y="294"/>
                </a:lnTo>
                <a:lnTo>
                  <a:pt x="462" y="288"/>
                </a:lnTo>
                <a:lnTo>
                  <a:pt x="462" y="288"/>
                </a:lnTo>
                <a:lnTo>
                  <a:pt x="456" y="294"/>
                </a:lnTo>
                <a:lnTo>
                  <a:pt x="456" y="294"/>
                </a:lnTo>
                <a:lnTo>
                  <a:pt x="450" y="294"/>
                </a:lnTo>
                <a:lnTo>
                  <a:pt x="450" y="294"/>
                </a:lnTo>
                <a:lnTo>
                  <a:pt x="450" y="288"/>
                </a:lnTo>
                <a:lnTo>
                  <a:pt x="444" y="288"/>
                </a:lnTo>
                <a:lnTo>
                  <a:pt x="438" y="294"/>
                </a:lnTo>
                <a:lnTo>
                  <a:pt x="438" y="294"/>
                </a:lnTo>
                <a:lnTo>
                  <a:pt x="432" y="288"/>
                </a:lnTo>
                <a:lnTo>
                  <a:pt x="432" y="288"/>
                </a:lnTo>
                <a:lnTo>
                  <a:pt x="426" y="294"/>
                </a:lnTo>
                <a:lnTo>
                  <a:pt x="420" y="294"/>
                </a:lnTo>
                <a:lnTo>
                  <a:pt x="414" y="294"/>
                </a:lnTo>
                <a:lnTo>
                  <a:pt x="414" y="294"/>
                </a:lnTo>
                <a:lnTo>
                  <a:pt x="414" y="294"/>
                </a:lnTo>
                <a:lnTo>
                  <a:pt x="408" y="294"/>
                </a:lnTo>
                <a:lnTo>
                  <a:pt x="408" y="288"/>
                </a:lnTo>
                <a:lnTo>
                  <a:pt x="402" y="294"/>
                </a:lnTo>
                <a:lnTo>
                  <a:pt x="396" y="300"/>
                </a:lnTo>
                <a:lnTo>
                  <a:pt x="396" y="300"/>
                </a:lnTo>
                <a:lnTo>
                  <a:pt x="396" y="300"/>
                </a:lnTo>
                <a:lnTo>
                  <a:pt x="390" y="306"/>
                </a:lnTo>
                <a:lnTo>
                  <a:pt x="384" y="306"/>
                </a:lnTo>
                <a:lnTo>
                  <a:pt x="378" y="306"/>
                </a:lnTo>
                <a:lnTo>
                  <a:pt x="372" y="306"/>
                </a:lnTo>
                <a:lnTo>
                  <a:pt x="366" y="312"/>
                </a:lnTo>
                <a:lnTo>
                  <a:pt x="354" y="312"/>
                </a:lnTo>
                <a:lnTo>
                  <a:pt x="324" y="318"/>
                </a:lnTo>
                <a:lnTo>
                  <a:pt x="324" y="318"/>
                </a:lnTo>
                <a:lnTo>
                  <a:pt x="324" y="312"/>
                </a:lnTo>
                <a:lnTo>
                  <a:pt x="324" y="312"/>
                </a:lnTo>
                <a:lnTo>
                  <a:pt x="324" y="312"/>
                </a:lnTo>
                <a:lnTo>
                  <a:pt x="324" y="306"/>
                </a:lnTo>
                <a:lnTo>
                  <a:pt x="324" y="306"/>
                </a:lnTo>
                <a:lnTo>
                  <a:pt x="324" y="306"/>
                </a:lnTo>
                <a:lnTo>
                  <a:pt x="324" y="306"/>
                </a:lnTo>
                <a:lnTo>
                  <a:pt x="324" y="306"/>
                </a:lnTo>
                <a:lnTo>
                  <a:pt x="324" y="300"/>
                </a:lnTo>
                <a:lnTo>
                  <a:pt x="330" y="300"/>
                </a:lnTo>
                <a:lnTo>
                  <a:pt x="330" y="300"/>
                </a:lnTo>
                <a:lnTo>
                  <a:pt x="330" y="300"/>
                </a:lnTo>
                <a:lnTo>
                  <a:pt x="330" y="300"/>
                </a:lnTo>
                <a:lnTo>
                  <a:pt x="330" y="300"/>
                </a:lnTo>
                <a:lnTo>
                  <a:pt x="330" y="300"/>
                </a:lnTo>
                <a:lnTo>
                  <a:pt x="330" y="300"/>
                </a:lnTo>
                <a:lnTo>
                  <a:pt x="330" y="300"/>
                </a:lnTo>
                <a:lnTo>
                  <a:pt x="330" y="294"/>
                </a:lnTo>
                <a:lnTo>
                  <a:pt x="330" y="294"/>
                </a:lnTo>
                <a:lnTo>
                  <a:pt x="336" y="294"/>
                </a:lnTo>
                <a:lnTo>
                  <a:pt x="336" y="294"/>
                </a:lnTo>
                <a:lnTo>
                  <a:pt x="336" y="294"/>
                </a:lnTo>
                <a:lnTo>
                  <a:pt x="336" y="294"/>
                </a:lnTo>
                <a:lnTo>
                  <a:pt x="336" y="294"/>
                </a:lnTo>
                <a:lnTo>
                  <a:pt x="336" y="294"/>
                </a:lnTo>
                <a:lnTo>
                  <a:pt x="336" y="288"/>
                </a:lnTo>
                <a:lnTo>
                  <a:pt x="336" y="288"/>
                </a:lnTo>
                <a:lnTo>
                  <a:pt x="336" y="288"/>
                </a:lnTo>
                <a:lnTo>
                  <a:pt x="336" y="288"/>
                </a:lnTo>
                <a:lnTo>
                  <a:pt x="336" y="288"/>
                </a:lnTo>
                <a:lnTo>
                  <a:pt x="336" y="288"/>
                </a:lnTo>
                <a:lnTo>
                  <a:pt x="342" y="288"/>
                </a:lnTo>
                <a:lnTo>
                  <a:pt x="342" y="282"/>
                </a:lnTo>
                <a:lnTo>
                  <a:pt x="342" y="282"/>
                </a:lnTo>
                <a:lnTo>
                  <a:pt x="342" y="282"/>
                </a:lnTo>
                <a:lnTo>
                  <a:pt x="336" y="282"/>
                </a:lnTo>
                <a:lnTo>
                  <a:pt x="342" y="282"/>
                </a:lnTo>
                <a:lnTo>
                  <a:pt x="342" y="282"/>
                </a:lnTo>
                <a:lnTo>
                  <a:pt x="336" y="276"/>
                </a:lnTo>
                <a:lnTo>
                  <a:pt x="336" y="276"/>
                </a:lnTo>
                <a:lnTo>
                  <a:pt x="342" y="276"/>
                </a:lnTo>
                <a:lnTo>
                  <a:pt x="342" y="276"/>
                </a:lnTo>
                <a:lnTo>
                  <a:pt x="342" y="276"/>
                </a:lnTo>
                <a:lnTo>
                  <a:pt x="342" y="276"/>
                </a:lnTo>
                <a:lnTo>
                  <a:pt x="342" y="276"/>
                </a:lnTo>
                <a:lnTo>
                  <a:pt x="342" y="276"/>
                </a:lnTo>
                <a:lnTo>
                  <a:pt x="342" y="270"/>
                </a:lnTo>
                <a:lnTo>
                  <a:pt x="342" y="270"/>
                </a:lnTo>
                <a:lnTo>
                  <a:pt x="342" y="270"/>
                </a:lnTo>
                <a:lnTo>
                  <a:pt x="342" y="270"/>
                </a:lnTo>
                <a:lnTo>
                  <a:pt x="342" y="270"/>
                </a:lnTo>
                <a:lnTo>
                  <a:pt x="342" y="270"/>
                </a:lnTo>
                <a:lnTo>
                  <a:pt x="264" y="270"/>
                </a:lnTo>
                <a:lnTo>
                  <a:pt x="216" y="270"/>
                </a:lnTo>
                <a:lnTo>
                  <a:pt x="216" y="270"/>
                </a:lnTo>
                <a:lnTo>
                  <a:pt x="216" y="270"/>
                </a:lnTo>
                <a:lnTo>
                  <a:pt x="216" y="270"/>
                </a:lnTo>
                <a:lnTo>
                  <a:pt x="216" y="270"/>
                </a:lnTo>
                <a:lnTo>
                  <a:pt x="216" y="270"/>
                </a:lnTo>
                <a:lnTo>
                  <a:pt x="216" y="270"/>
                </a:lnTo>
                <a:lnTo>
                  <a:pt x="216" y="270"/>
                </a:lnTo>
                <a:lnTo>
                  <a:pt x="216" y="276"/>
                </a:lnTo>
                <a:lnTo>
                  <a:pt x="216" y="276"/>
                </a:lnTo>
                <a:lnTo>
                  <a:pt x="216" y="276"/>
                </a:lnTo>
                <a:lnTo>
                  <a:pt x="216" y="276"/>
                </a:lnTo>
                <a:lnTo>
                  <a:pt x="216" y="276"/>
                </a:lnTo>
                <a:lnTo>
                  <a:pt x="216" y="276"/>
                </a:lnTo>
                <a:lnTo>
                  <a:pt x="216" y="276"/>
                </a:lnTo>
                <a:lnTo>
                  <a:pt x="216" y="276"/>
                </a:lnTo>
                <a:lnTo>
                  <a:pt x="216" y="276"/>
                </a:lnTo>
                <a:lnTo>
                  <a:pt x="216" y="276"/>
                </a:lnTo>
                <a:lnTo>
                  <a:pt x="216" y="276"/>
                </a:lnTo>
                <a:lnTo>
                  <a:pt x="216" y="276"/>
                </a:lnTo>
                <a:lnTo>
                  <a:pt x="216" y="276"/>
                </a:lnTo>
                <a:lnTo>
                  <a:pt x="216" y="276"/>
                </a:lnTo>
                <a:lnTo>
                  <a:pt x="216" y="282"/>
                </a:lnTo>
                <a:lnTo>
                  <a:pt x="216" y="282"/>
                </a:lnTo>
                <a:lnTo>
                  <a:pt x="216" y="282"/>
                </a:lnTo>
                <a:lnTo>
                  <a:pt x="210" y="282"/>
                </a:lnTo>
                <a:lnTo>
                  <a:pt x="216" y="282"/>
                </a:lnTo>
                <a:lnTo>
                  <a:pt x="216" y="282"/>
                </a:lnTo>
                <a:lnTo>
                  <a:pt x="210" y="282"/>
                </a:lnTo>
                <a:lnTo>
                  <a:pt x="210" y="282"/>
                </a:lnTo>
                <a:lnTo>
                  <a:pt x="216" y="282"/>
                </a:lnTo>
                <a:lnTo>
                  <a:pt x="210" y="282"/>
                </a:lnTo>
                <a:lnTo>
                  <a:pt x="210" y="288"/>
                </a:lnTo>
                <a:lnTo>
                  <a:pt x="210" y="288"/>
                </a:lnTo>
                <a:lnTo>
                  <a:pt x="210" y="288"/>
                </a:lnTo>
                <a:lnTo>
                  <a:pt x="210" y="288"/>
                </a:lnTo>
                <a:lnTo>
                  <a:pt x="210" y="288"/>
                </a:lnTo>
                <a:lnTo>
                  <a:pt x="210" y="288"/>
                </a:lnTo>
                <a:lnTo>
                  <a:pt x="210" y="288"/>
                </a:lnTo>
                <a:lnTo>
                  <a:pt x="210" y="294"/>
                </a:lnTo>
                <a:lnTo>
                  <a:pt x="210" y="294"/>
                </a:lnTo>
                <a:lnTo>
                  <a:pt x="210" y="294"/>
                </a:lnTo>
                <a:lnTo>
                  <a:pt x="210" y="294"/>
                </a:lnTo>
                <a:lnTo>
                  <a:pt x="210" y="294"/>
                </a:lnTo>
                <a:lnTo>
                  <a:pt x="210" y="294"/>
                </a:lnTo>
                <a:lnTo>
                  <a:pt x="210" y="300"/>
                </a:lnTo>
                <a:lnTo>
                  <a:pt x="210" y="300"/>
                </a:lnTo>
                <a:lnTo>
                  <a:pt x="210" y="300"/>
                </a:lnTo>
                <a:lnTo>
                  <a:pt x="210" y="300"/>
                </a:lnTo>
                <a:lnTo>
                  <a:pt x="210" y="300"/>
                </a:lnTo>
                <a:lnTo>
                  <a:pt x="210" y="300"/>
                </a:lnTo>
                <a:lnTo>
                  <a:pt x="210" y="300"/>
                </a:lnTo>
                <a:lnTo>
                  <a:pt x="210" y="300"/>
                </a:lnTo>
                <a:lnTo>
                  <a:pt x="210" y="306"/>
                </a:lnTo>
                <a:lnTo>
                  <a:pt x="210" y="306"/>
                </a:lnTo>
                <a:lnTo>
                  <a:pt x="210" y="306"/>
                </a:lnTo>
                <a:lnTo>
                  <a:pt x="210" y="306"/>
                </a:lnTo>
                <a:lnTo>
                  <a:pt x="210" y="306"/>
                </a:lnTo>
                <a:lnTo>
                  <a:pt x="210" y="312"/>
                </a:lnTo>
                <a:lnTo>
                  <a:pt x="204" y="306"/>
                </a:lnTo>
                <a:lnTo>
                  <a:pt x="204" y="312"/>
                </a:lnTo>
                <a:lnTo>
                  <a:pt x="204" y="312"/>
                </a:lnTo>
                <a:lnTo>
                  <a:pt x="204" y="312"/>
                </a:lnTo>
                <a:lnTo>
                  <a:pt x="204" y="312"/>
                </a:lnTo>
                <a:lnTo>
                  <a:pt x="204" y="312"/>
                </a:lnTo>
                <a:lnTo>
                  <a:pt x="198" y="312"/>
                </a:lnTo>
                <a:lnTo>
                  <a:pt x="198" y="312"/>
                </a:lnTo>
                <a:lnTo>
                  <a:pt x="192" y="312"/>
                </a:lnTo>
                <a:lnTo>
                  <a:pt x="192" y="312"/>
                </a:lnTo>
                <a:lnTo>
                  <a:pt x="192" y="318"/>
                </a:lnTo>
                <a:lnTo>
                  <a:pt x="192" y="312"/>
                </a:lnTo>
                <a:lnTo>
                  <a:pt x="192" y="318"/>
                </a:lnTo>
                <a:lnTo>
                  <a:pt x="186" y="318"/>
                </a:lnTo>
                <a:lnTo>
                  <a:pt x="186" y="318"/>
                </a:lnTo>
                <a:lnTo>
                  <a:pt x="186" y="318"/>
                </a:lnTo>
                <a:lnTo>
                  <a:pt x="186" y="318"/>
                </a:lnTo>
                <a:lnTo>
                  <a:pt x="186" y="324"/>
                </a:lnTo>
                <a:lnTo>
                  <a:pt x="180" y="324"/>
                </a:lnTo>
                <a:lnTo>
                  <a:pt x="180" y="330"/>
                </a:lnTo>
                <a:lnTo>
                  <a:pt x="180" y="330"/>
                </a:lnTo>
                <a:lnTo>
                  <a:pt x="180" y="336"/>
                </a:lnTo>
                <a:lnTo>
                  <a:pt x="180" y="336"/>
                </a:lnTo>
                <a:lnTo>
                  <a:pt x="180" y="336"/>
                </a:lnTo>
                <a:lnTo>
                  <a:pt x="174" y="324"/>
                </a:lnTo>
                <a:lnTo>
                  <a:pt x="174" y="324"/>
                </a:lnTo>
                <a:lnTo>
                  <a:pt x="174" y="318"/>
                </a:lnTo>
                <a:lnTo>
                  <a:pt x="168" y="318"/>
                </a:lnTo>
                <a:lnTo>
                  <a:pt x="174" y="312"/>
                </a:lnTo>
                <a:lnTo>
                  <a:pt x="174" y="312"/>
                </a:lnTo>
                <a:lnTo>
                  <a:pt x="168" y="312"/>
                </a:lnTo>
                <a:lnTo>
                  <a:pt x="168" y="312"/>
                </a:lnTo>
                <a:lnTo>
                  <a:pt x="168" y="306"/>
                </a:lnTo>
                <a:lnTo>
                  <a:pt x="168" y="300"/>
                </a:lnTo>
                <a:lnTo>
                  <a:pt x="168" y="300"/>
                </a:lnTo>
                <a:lnTo>
                  <a:pt x="168" y="300"/>
                </a:lnTo>
                <a:lnTo>
                  <a:pt x="168" y="300"/>
                </a:lnTo>
                <a:lnTo>
                  <a:pt x="168" y="300"/>
                </a:lnTo>
                <a:lnTo>
                  <a:pt x="168" y="300"/>
                </a:lnTo>
                <a:lnTo>
                  <a:pt x="168" y="300"/>
                </a:lnTo>
                <a:lnTo>
                  <a:pt x="168" y="300"/>
                </a:lnTo>
                <a:lnTo>
                  <a:pt x="168" y="300"/>
                </a:lnTo>
                <a:lnTo>
                  <a:pt x="168" y="294"/>
                </a:lnTo>
                <a:lnTo>
                  <a:pt x="168" y="294"/>
                </a:lnTo>
                <a:lnTo>
                  <a:pt x="168" y="294"/>
                </a:lnTo>
                <a:lnTo>
                  <a:pt x="168" y="288"/>
                </a:lnTo>
                <a:lnTo>
                  <a:pt x="168" y="288"/>
                </a:lnTo>
                <a:lnTo>
                  <a:pt x="168" y="288"/>
                </a:lnTo>
                <a:lnTo>
                  <a:pt x="168" y="288"/>
                </a:lnTo>
                <a:lnTo>
                  <a:pt x="174" y="288"/>
                </a:lnTo>
                <a:lnTo>
                  <a:pt x="174" y="288"/>
                </a:lnTo>
                <a:lnTo>
                  <a:pt x="174" y="282"/>
                </a:lnTo>
                <a:lnTo>
                  <a:pt x="174" y="282"/>
                </a:lnTo>
                <a:lnTo>
                  <a:pt x="174" y="282"/>
                </a:lnTo>
                <a:lnTo>
                  <a:pt x="174" y="282"/>
                </a:lnTo>
                <a:lnTo>
                  <a:pt x="174" y="276"/>
                </a:lnTo>
                <a:lnTo>
                  <a:pt x="174" y="276"/>
                </a:lnTo>
                <a:lnTo>
                  <a:pt x="174" y="276"/>
                </a:lnTo>
                <a:lnTo>
                  <a:pt x="174" y="276"/>
                </a:lnTo>
                <a:lnTo>
                  <a:pt x="174" y="276"/>
                </a:lnTo>
                <a:lnTo>
                  <a:pt x="174" y="276"/>
                </a:lnTo>
                <a:lnTo>
                  <a:pt x="174" y="270"/>
                </a:lnTo>
                <a:lnTo>
                  <a:pt x="174" y="270"/>
                </a:lnTo>
                <a:lnTo>
                  <a:pt x="174" y="270"/>
                </a:lnTo>
                <a:lnTo>
                  <a:pt x="174" y="270"/>
                </a:lnTo>
                <a:lnTo>
                  <a:pt x="174" y="264"/>
                </a:lnTo>
                <a:lnTo>
                  <a:pt x="168" y="270"/>
                </a:lnTo>
                <a:lnTo>
                  <a:pt x="168" y="270"/>
                </a:lnTo>
                <a:lnTo>
                  <a:pt x="168" y="270"/>
                </a:lnTo>
                <a:lnTo>
                  <a:pt x="168" y="270"/>
                </a:lnTo>
                <a:lnTo>
                  <a:pt x="168" y="270"/>
                </a:lnTo>
                <a:lnTo>
                  <a:pt x="162" y="270"/>
                </a:lnTo>
                <a:lnTo>
                  <a:pt x="162" y="276"/>
                </a:lnTo>
                <a:lnTo>
                  <a:pt x="162" y="276"/>
                </a:lnTo>
                <a:lnTo>
                  <a:pt x="162" y="270"/>
                </a:lnTo>
                <a:lnTo>
                  <a:pt x="156" y="270"/>
                </a:lnTo>
                <a:lnTo>
                  <a:pt x="156" y="270"/>
                </a:lnTo>
                <a:lnTo>
                  <a:pt x="156" y="270"/>
                </a:lnTo>
                <a:lnTo>
                  <a:pt x="156" y="270"/>
                </a:lnTo>
                <a:lnTo>
                  <a:pt x="150" y="270"/>
                </a:lnTo>
                <a:lnTo>
                  <a:pt x="150" y="270"/>
                </a:lnTo>
                <a:lnTo>
                  <a:pt x="150" y="270"/>
                </a:lnTo>
                <a:lnTo>
                  <a:pt x="150" y="270"/>
                </a:lnTo>
                <a:lnTo>
                  <a:pt x="150" y="270"/>
                </a:lnTo>
                <a:lnTo>
                  <a:pt x="150" y="276"/>
                </a:lnTo>
                <a:lnTo>
                  <a:pt x="150" y="276"/>
                </a:lnTo>
                <a:lnTo>
                  <a:pt x="144" y="276"/>
                </a:lnTo>
                <a:lnTo>
                  <a:pt x="144" y="276"/>
                </a:lnTo>
                <a:lnTo>
                  <a:pt x="144" y="276"/>
                </a:lnTo>
                <a:lnTo>
                  <a:pt x="138" y="276"/>
                </a:lnTo>
                <a:lnTo>
                  <a:pt x="138" y="282"/>
                </a:lnTo>
                <a:lnTo>
                  <a:pt x="138" y="282"/>
                </a:lnTo>
                <a:lnTo>
                  <a:pt x="138" y="282"/>
                </a:lnTo>
                <a:lnTo>
                  <a:pt x="138" y="282"/>
                </a:lnTo>
                <a:lnTo>
                  <a:pt x="138" y="282"/>
                </a:lnTo>
                <a:lnTo>
                  <a:pt x="138" y="282"/>
                </a:lnTo>
                <a:lnTo>
                  <a:pt x="132" y="282"/>
                </a:lnTo>
                <a:lnTo>
                  <a:pt x="132" y="282"/>
                </a:lnTo>
                <a:lnTo>
                  <a:pt x="132" y="282"/>
                </a:lnTo>
                <a:lnTo>
                  <a:pt x="132" y="282"/>
                </a:lnTo>
                <a:lnTo>
                  <a:pt x="132" y="282"/>
                </a:lnTo>
                <a:lnTo>
                  <a:pt x="132" y="282"/>
                </a:lnTo>
                <a:lnTo>
                  <a:pt x="126" y="276"/>
                </a:lnTo>
                <a:lnTo>
                  <a:pt x="120" y="270"/>
                </a:lnTo>
                <a:lnTo>
                  <a:pt x="120" y="270"/>
                </a:lnTo>
                <a:lnTo>
                  <a:pt x="120" y="270"/>
                </a:lnTo>
                <a:lnTo>
                  <a:pt x="120" y="270"/>
                </a:lnTo>
                <a:lnTo>
                  <a:pt x="120" y="276"/>
                </a:lnTo>
                <a:lnTo>
                  <a:pt x="120" y="276"/>
                </a:lnTo>
                <a:lnTo>
                  <a:pt x="120" y="276"/>
                </a:lnTo>
                <a:lnTo>
                  <a:pt x="120" y="276"/>
                </a:lnTo>
                <a:lnTo>
                  <a:pt x="120" y="282"/>
                </a:lnTo>
                <a:lnTo>
                  <a:pt x="120" y="282"/>
                </a:lnTo>
                <a:lnTo>
                  <a:pt x="120" y="282"/>
                </a:lnTo>
                <a:lnTo>
                  <a:pt x="114" y="288"/>
                </a:lnTo>
                <a:lnTo>
                  <a:pt x="114" y="294"/>
                </a:lnTo>
                <a:lnTo>
                  <a:pt x="114" y="294"/>
                </a:lnTo>
                <a:lnTo>
                  <a:pt x="114" y="294"/>
                </a:lnTo>
                <a:lnTo>
                  <a:pt x="102" y="282"/>
                </a:lnTo>
                <a:lnTo>
                  <a:pt x="102" y="282"/>
                </a:lnTo>
                <a:lnTo>
                  <a:pt x="102" y="282"/>
                </a:lnTo>
                <a:lnTo>
                  <a:pt x="96" y="276"/>
                </a:lnTo>
                <a:lnTo>
                  <a:pt x="96" y="276"/>
                </a:lnTo>
                <a:lnTo>
                  <a:pt x="96" y="276"/>
                </a:lnTo>
                <a:lnTo>
                  <a:pt x="96" y="276"/>
                </a:lnTo>
                <a:lnTo>
                  <a:pt x="96" y="276"/>
                </a:lnTo>
                <a:lnTo>
                  <a:pt x="90" y="276"/>
                </a:lnTo>
                <a:lnTo>
                  <a:pt x="90" y="276"/>
                </a:lnTo>
                <a:lnTo>
                  <a:pt x="90" y="276"/>
                </a:lnTo>
                <a:lnTo>
                  <a:pt x="90" y="276"/>
                </a:lnTo>
                <a:lnTo>
                  <a:pt x="90" y="276"/>
                </a:lnTo>
                <a:lnTo>
                  <a:pt x="90" y="276"/>
                </a:lnTo>
                <a:lnTo>
                  <a:pt x="90" y="276"/>
                </a:lnTo>
                <a:lnTo>
                  <a:pt x="84" y="270"/>
                </a:lnTo>
                <a:lnTo>
                  <a:pt x="84" y="270"/>
                </a:lnTo>
                <a:lnTo>
                  <a:pt x="84" y="270"/>
                </a:lnTo>
                <a:lnTo>
                  <a:pt x="78" y="270"/>
                </a:lnTo>
                <a:lnTo>
                  <a:pt x="78" y="270"/>
                </a:lnTo>
                <a:lnTo>
                  <a:pt x="78" y="270"/>
                </a:lnTo>
                <a:lnTo>
                  <a:pt x="72" y="270"/>
                </a:lnTo>
                <a:lnTo>
                  <a:pt x="72" y="270"/>
                </a:lnTo>
                <a:lnTo>
                  <a:pt x="66" y="270"/>
                </a:lnTo>
                <a:lnTo>
                  <a:pt x="66" y="270"/>
                </a:lnTo>
                <a:lnTo>
                  <a:pt x="66" y="270"/>
                </a:lnTo>
                <a:lnTo>
                  <a:pt x="66" y="270"/>
                </a:lnTo>
                <a:lnTo>
                  <a:pt x="60" y="270"/>
                </a:lnTo>
                <a:lnTo>
                  <a:pt x="60" y="276"/>
                </a:lnTo>
                <a:lnTo>
                  <a:pt x="54" y="276"/>
                </a:lnTo>
                <a:lnTo>
                  <a:pt x="54" y="276"/>
                </a:lnTo>
                <a:lnTo>
                  <a:pt x="48" y="276"/>
                </a:lnTo>
                <a:lnTo>
                  <a:pt x="48" y="276"/>
                </a:lnTo>
                <a:lnTo>
                  <a:pt x="48" y="276"/>
                </a:lnTo>
                <a:lnTo>
                  <a:pt x="48" y="276"/>
                </a:lnTo>
                <a:lnTo>
                  <a:pt x="48" y="270"/>
                </a:lnTo>
                <a:lnTo>
                  <a:pt x="48" y="270"/>
                </a:lnTo>
                <a:lnTo>
                  <a:pt x="48" y="270"/>
                </a:lnTo>
                <a:lnTo>
                  <a:pt x="48" y="270"/>
                </a:lnTo>
                <a:lnTo>
                  <a:pt x="48" y="270"/>
                </a:lnTo>
                <a:lnTo>
                  <a:pt x="42" y="270"/>
                </a:lnTo>
                <a:lnTo>
                  <a:pt x="42" y="270"/>
                </a:lnTo>
                <a:lnTo>
                  <a:pt x="42" y="270"/>
                </a:lnTo>
                <a:lnTo>
                  <a:pt x="42" y="270"/>
                </a:lnTo>
                <a:lnTo>
                  <a:pt x="42" y="270"/>
                </a:lnTo>
                <a:lnTo>
                  <a:pt x="42" y="270"/>
                </a:lnTo>
                <a:lnTo>
                  <a:pt x="42" y="270"/>
                </a:lnTo>
                <a:lnTo>
                  <a:pt x="42" y="264"/>
                </a:lnTo>
                <a:lnTo>
                  <a:pt x="36" y="264"/>
                </a:lnTo>
                <a:lnTo>
                  <a:pt x="36" y="264"/>
                </a:lnTo>
                <a:lnTo>
                  <a:pt x="36" y="264"/>
                </a:lnTo>
                <a:lnTo>
                  <a:pt x="36" y="264"/>
                </a:lnTo>
                <a:lnTo>
                  <a:pt x="36" y="264"/>
                </a:lnTo>
                <a:lnTo>
                  <a:pt x="36" y="264"/>
                </a:lnTo>
                <a:lnTo>
                  <a:pt x="36" y="258"/>
                </a:lnTo>
                <a:lnTo>
                  <a:pt x="36" y="258"/>
                </a:lnTo>
                <a:lnTo>
                  <a:pt x="36" y="264"/>
                </a:lnTo>
                <a:lnTo>
                  <a:pt x="36" y="258"/>
                </a:lnTo>
                <a:lnTo>
                  <a:pt x="30" y="258"/>
                </a:lnTo>
                <a:lnTo>
                  <a:pt x="36" y="258"/>
                </a:lnTo>
                <a:lnTo>
                  <a:pt x="30" y="258"/>
                </a:lnTo>
                <a:lnTo>
                  <a:pt x="30" y="258"/>
                </a:lnTo>
                <a:lnTo>
                  <a:pt x="30" y="252"/>
                </a:lnTo>
                <a:lnTo>
                  <a:pt x="30" y="252"/>
                </a:lnTo>
                <a:lnTo>
                  <a:pt x="30" y="252"/>
                </a:lnTo>
                <a:lnTo>
                  <a:pt x="30" y="252"/>
                </a:lnTo>
                <a:lnTo>
                  <a:pt x="30" y="252"/>
                </a:lnTo>
                <a:lnTo>
                  <a:pt x="30" y="252"/>
                </a:lnTo>
                <a:lnTo>
                  <a:pt x="30" y="252"/>
                </a:lnTo>
                <a:lnTo>
                  <a:pt x="30" y="252"/>
                </a:lnTo>
                <a:lnTo>
                  <a:pt x="30" y="252"/>
                </a:lnTo>
                <a:lnTo>
                  <a:pt x="30" y="252"/>
                </a:lnTo>
                <a:lnTo>
                  <a:pt x="30" y="252"/>
                </a:lnTo>
                <a:lnTo>
                  <a:pt x="30" y="252"/>
                </a:lnTo>
                <a:lnTo>
                  <a:pt x="30" y="252"/>
                </a:lnTo>
                <a:lnTo>
                  <a:pt x="30" y="252"/>
                </a:lnTo>
                <a:lnTo>
                  <a:pt x="30" y="252"/>
                </a:lnTo>
                <a:lnTo>
                  <a:pt x="30" y="252"/>
                </a:lnTo>
                <a:lnTo>
                  <a:pt x="24" y="252"/>
                </a:lnTo>
                <a:lnTo>
                  <a:pt x="30" y="246"/>
                </a:lnTo>
                <a:lnTo>
                  <a:pt x="30" y="246"/>
                </a:lnTo>
                <a:lnTo>
                  <a:pt x="30" y="246"/>
                </a:lnTo>
                <a:lnTo>
                  <a:pt x="30" y="246"/>
                </a:lnTo>
                <a:lnTo>
                  <a:pt x="30" y="246"/>
                </a:lnTo>
                <a:lnTo>
                  <a:pt x="30" y="246"/>
                </a:lnTo>
                <a:lnTo>
                  <a:pt x="30" y="246"/>
                </a:lnTo>
                <a:lnTo>
                  <a:pt x="30" y="246"/>
                </a:lnTo>
                <a:lnTo>
                  <a:pt x="30" y="246"/>
                </a:lnTo>
                <a:lnTo>
                  <a:pt x="30" y="246"/>
                </a:lnTo>
                <a:lnTo>
                  <a:pt x="30" y="246"/>
                </a:lnTo>
                <a:lnTo>
                  <a:pt x="30" y="240"/>
                </a:lnTo>
                <a:lnTo>
                  <a:pt x="30" y="240"/>
                </a:lnTo>
                <a:lnTo>
                  <a:pt x="30" y="240"/>
                </a:lnTo>
                <a:lnTo>
                  <a:pt x="30" y="240"/>
                </a:lnTo>
                <a:lnTo>
                  <a:pt x="24" y="240"/>
                </a:lnTo>
                <a:lnTo>
                  <a:pt x="24" y="240"/>
                </a:lnTo>
                <a:lnTo>
                  <a:pt x="24" y="240"/>
                </a:lnTo>
                <a:lnTo>
                  <a:pt x="24" y="240"/>
                </a:lnTo>
                <a:lnTo>
                  <a:pt x="24" y="240"/>
                </a:lnTo>
                <a:lnTo>
                  <a:pt x="24" y="240"/>
                </a:lnTo>
                <a:lnTo>
                  <a:pt x="24" y="240"/>
                </a:lnTo>
                <a:lnTo>
                  <a:pt x="24" y="240"/>
                </a:lnTo>
                <a:lnTo>
                  <a:pt x="18" y="240"/>
                </a:lnTo>
                <a:lnTo>
                  <a:pt x="18" y="240"/>
                </a:lnTo>
                <a:lnTo>
                  <a:pt x="18" y="240"/>
                </a:lnTo>
                <a:lnTo>
                  <a:pt x="18" y="240"/>
                </a:lnTo>
                <a:lnTo>
                  <a:pt x="18" y="240"/>
                </a:lnTo>
                <a:lnTo>
                  <a:pt x="18" y="240"/>
                </a:lnTo>
                <a:lnTo>
                  <a:pt x="18" y="234"/>
                </a:lnTo>
                <a:lnTo>
                  <a:pt x="18" y="234"/>
                </a:lnTo>
                <a:lnTo>
                  <a:pt x="12" y="234"/>
                </a:lnTo>
                <a:lnTo>
                  <a:pt x="12" y="234"/>
                </a:lnTo>
                <a:lnTo>
                  <a:pt x="12" y="234"/>
                </a:lnTo>
                <a:lnTo>
                  <a:pt x="12" y="234"/>
                </a:lnTo>
                <a:lnTo>
                  <a:pt x="12" y="234"/>
                </a:lnTo>
                <a:lnTo>
                  <a:pt x="12" y="234"/>
                </a:lnTo>
                <a:lnTo>
                  <a:pt x="12" y="234"/>
                </a:lnTo>
                <a:lnTo>
                  <a:pt x="12" y="234"/>
                </a:lnTo>
                <a:lnTo>
                  <a:pt x="12" y="234"/>
                </a:lnTo>
                <a:lnTo>
                  <a:pt x="12" y="234"/>
                </a:lnTo>
                <a:lnTo>
                  <a:pt x="6" y="234"/>
                </a:lnTo>
                <a:lnTo>
                  <a:pt x="6" y="234"/>
                </a:lnTo>
                <a:lnTo>
                  <a:pt x="6" y="234"/>
                </a:lnTo>
                <a:lnTo>
                  <a:pt x="6" y="234"/>
                </a:lnTo>
                <a:lnTo>
                  <a:pt x="6" y="234"/>
                </a:lnTo>
                <a:lnTo>
                  <a:pt x="6" y="234"/>
                </a:lnTo>
                <a:lnTo>
                  <a:pt x="6" y="234"/>
                </a:lnTo>
                <a:lnTo>
                  <a:pt x="0" y="234"/>
                </a:lnTo>
                <a:lnTo>
                  <a:pt x="0" y="228"/>
                </a:lnTo>
                <a:lnTo>
                  <a:pt x="0" y="228"/>
                </a:lnTo>
                <a:lnTo>
                  <a:pt x="0" y="234"/>
                </a:lnTo>
                <a:lnTo>
                  <a:pt x="0" y="234"/>
                </a:lnTo>
                <a:lnTo>
                  <a:pt x="0" y="228"/>
                </a:lnTo>
                <a:lnTo>
                  <a:pt x="0" y="228"/>
                </a:lnTo>
                <a:lnTo>
                  <a:pt x="0" y="228"/>
                </a:lnTo>
                <a:lnTo>
                  <a:pt x="0" y="228"/>
                </a:lnTo>
                <a:lnTo>
                  <a:pt x="0" y="22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86" name="Freeform 519"/>
          <p:cNvSpPr>
            <a:spLocks/>
          </p:cNvSpPr>
          <p:nvPr/>
        </p:nvSpPr>
        <p:spPr bwMode="auto">
          <a:xfrm>
            <a:off x="5952487" y="3139269"/>
            <a:ext cx="231266" cy="179875"/>
          </a:xfrm>
          <a:custGeom>
            <a:avLst/>
            <a:gdLst>
              <a:gd name="T0" fmla="*/ 6 w 216"/>
              <a:gd name="T1" fmla="*/ 132 h 168"/>
              <a:gd name="T2" fmla="*/ 6 w 216"/>
              <a:gd name="T3" fmla="*/ 120 h 168"/>
              <a:gd name="T4" fmla="*/ 18 w 216"/>
              <a:gd name="T5" fmla="*/ 114 h 168"/>
              <a:gd name="T6" fmla="*/ 18 w 216"/>
              <a:gd name="T7" fmla="*/ 96 h 168"/>
              <a:gd name="T8" fmla="*/ 54 w 216"/>
              <a:gd name="T9" fmla="*/ 66 h 168"/>
              <a:gd name="T10" fmla="*/ 72 w 216"/>
              <a:gd name="T11" fmla="*/ 60 h 168"/>
              <a:gd name="T12" fmla="*/ 102 w 216"/>
              <a:gd name="T13" fmla="*/ 42 h 168"/>
              <a:gd name="T14" fmla="*/ 126 w 216"/>
              <a:gd name="T15" fmla="*/ 30 h 168"/>
              <a:gd name="T16" fmla="*/ 144 w 216"/>
              <a:gd name="T17" fmla="*/ 18 h 168"/>
              <a:gd name="T18" fmla="*/ 168 w 216"/>
              <a:gd name="T19" fmla="*/ 6 h 168"/>
              <a:gd name="T20" fmla="*/ 180 w 216"/>
              <a:gd name="T21" fmla="*/ 0 h 168"/>
              <a:gd name="T22" fmla="*/ 186 w 216"/>
              <a:gd name="T23" fmla="*/ 0 h 168"/>
              <a:gd name="T24" fmla="*/ 198 w 216"/>
              <a:gd name="T25" fmla="*/ 6 h 168"/>
              <a:gd name="T26" fmla="*/ 210 w 216"/>
              <a:gd name="T27" fmla="*/ 0 h 168"/>
              <a:gd name="T28" fmla="*/ 210 w 216"/>
              <a:gd name="T29" fmla="*/ 12 h 168"/>
              <a:gd name="T30" fmla="*/ 198 w 216"/>
              <a:gd name="T31" fmla="*/ 18 h 168"/>
              <a:gd name="T32" fmla="*/ 186 w 216"/>
              <a:gd name="T33" fmla="*/ 24 h 168"/>
              <a:gd name="T34" fmla="*/ 174 w 216"/>
              <a:gd name="T35" fmla="*/ 30 h 168"/>
              <a:gd name="T36" fmla="*/ 186 w 216"/>
              <a:gd name="T37" fmla="*/ 36 h 168"/>
              <a:gd name="T38" fmla="*/ 192 w 216"/>
              <a:gd name="T39" fmla="*/ 48 h 168"/>
              <a:gd name="T40" fmla="*/ 198 w 216"/>
              <a:gd name="T41" fmla="*/ 60 h 168"/>
              <a:gd name="T42" fmla="*/ 198 w 216"/>
              <a:gd name="T43" fmla="*/ 72 h 168"/>
              <a:gd name="T44" fmla="*/ 198 w 216"/>
              <a:gd name="T45" fmla="*/ 78 h 168"/>
              <a:gd name="T46" fmla="*/ 198 w 216"/>
              <a:gd name="T47" fmla="*/ 84 h 168"/>
              <a:gd name="T48" fmla="*/ 204 w 216"/>
              <a:gd name="T49" fmla="*/ 84 h 168"/>
              <a:gd name="T50" fmla="*/ 186 w 216"/>
              <a:gd name="T51" fmla="*/ 90 h 168"/>
              <a:gd name="T52" fmla="*/ 186 w 216"/>
              <a:gd name="T53" fmla="*/ 108 h 168"/>
              <a:gd name="T54" fmla="*/ 180 w 216"/>
              <a:gd name="T55" fmla="*/ 132 h 168"/>
              <a:gd name="T56" fmla="*/ 162 w 216"/>
              <a:gd name="T57" fmla="*/ 132 h 168"/>
              <a:gd name="T58" fmla="*/ 162 w 216"/>
              <a:gd name="T59" fmla="*/ 132 h 168"/>
              <a:gd name="T60" fmla="*/ 162 w 216"/>
              <a:gd name="T61" fmla="*/ 126 h 168"/>
              <a:gd name="T62" fmla="*/ 162 w 216"/>
              <a:gd name="T63" fmla="*/ 120 h 168"/>
              <a:gd name="T64" fmla="*/ 156 w 216"/>
              <a:gd name="T65" fmla="*/ 120 h 168"/>
              <a:gd name="T66" fmla="*/ 156 w 216"/>
              <a:gd name="T67" fmla="*/ 126 h 168"/>
              <a:gd name="T68" fmla="*/ 138 w 216"/>
              <a:gd name="T69" fmla="*/ 126 h 168"/>
              <a:gd name="T70" fmla="*/ 132 w 216"/>
              <a:gd name="T71" fmla="*/ 126 h 168"/>
              <a:gd name="T72" fmla="*/ 126 w 216"/>
              <a:gd name="T73" fmla="*/ 126 h 168"/>
              <a:gd name="T74" fmla="*/ 144 w 216"/>
              <a:gd name="T75" fmla="*/ 114 h 168"/>
              <a:gd name="T76" fmla="*/ 150 w 216"/>
              <a:gd name="T77" fmla="*/ 102 h 168"/>
              <a:gd name="T78" fmla="*/ 150 w 216"/>
              <a:gd name="T79" fmla="*/ 96 h 168"/>
              <a:gd name="T80" fmla="*/ 150 w 216"/>
              <a:gd name="T81" fmla="*/ 96 h 168"/>
              <a:gd name="T82" fmla="*/ 144 w 216"/>
              <a:gd name="T83" fmla="*/ 96 h 168"/>
              <a:gd name="T84" fmla="*/ 132 w 216"/>
              <a:gd name="T85" fmla="*/ 102 h 168"/>
              <a:gd name="T86" fmla="*/ 126 w 216"/>
              <a:gd name="T87" fmla="*/ 102 h 168"/>
              <a:gd name="T88" fmla="*/ 120 w 216"/>
              <a:gd name="T89" fmla="*/ 102 h 168"/>
              <a:gd name="T90" fmla="*/ 114 w 216"/>
              <a:gd name="T91" fmla="*/ 96 h 168"/>
              <a:gd name="T92" fmla="*/ 108 w 216"/>
              <a:gd name="T93" fmla="*/ 102 h 168"/>
              <a:gd name="T94" fmla="*/ 102 w 216"/>
              <a:gd name="T95" fmla="*/ 102 h 168"/>
              <a:gd name="T96" fmla="*/ 96 w 216"/>
              <a:gd name="T97" fmla="*/ 102 h 168"/>
              <a:gd name="T98" fmla="*/ 72 w 216"/>
              <a:gd name="T99" fmla="*/ 114 h 168"/>
              <a:gd name="T100" fmla="*/ 60 w 216"/>
              <a:gd name="T101" fmla="*/ 126 h 168"/>
              <a:gd name="T102" fmla="*/ 60 w 216"/>
              <a:gd name="T103" fmla="*/ 132 h 168"/>
              <a:gd name="T104" fmla="*/ 48 w 216"/>
              <a:gd name="T105" fmla="*/ 132 h 168"/>
              <a:gd name="T106" fmla="*/ 42 w 216"/>
              <a:gd name="T107" fmla="*/ 144 h 168"/>
              <a:gd name="T108" fmla="*/ 18 w 216"/>
              <a:gd name="T109" fmla="*/ 168 h 168"/>
              <a:gd name="T110" fmla="*/ 6 w 216"/>
              <a:gd name="T111" fmla="*/ 156 h 168"/>
              <a:gd name="T112" fmla="*/ 6 w 216"/>
              <a:gd name="T113" fmla="*/ 144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16" h="168">
                <a:moveTo>
                  <a:pt x="6" y="138"/>
                </a:moveTo>
                <a:lnTo>
                  <a:pt x="6" y="138"/>
                </a:lnTo>
                <a:lnTo>
                  <a:pt x="0" y="138"/>
                </a:lnTo>
                <a:lnTo>
                  <a:pt x="0" y="138"/>
                </a:lnTo>
                <a:lnTo>
                  <a:pt x="6" y="138"/>
                </a:lnTo>
                <a:lnTo>
                  <a:pt x="6" y="138"/>
                </a:lnTo>
                <a:lnTo>
                  <a:pt x="6" y="132"/>
                </a:lnTo>
                <a:lnTo>
                  <a:pt x="6" y="132"/>
                </a:lnTo>
                <a:lnTo>
                  <a:pt x="6" y="132"/>
                </a:lnTo>
                <a:lnTo>
                  <a:pt x="12" y="126"/>
                </a:lnTo>
                <a:lnTo>
                  <a:pt x="12" y="132"/>
                </a:lnTo>
                <a:lnTo>
                  <a:pt x="0" y="132"/>
                </a:lnTo>
                <a:lnTo>
                  <a:pt x="0" y="132"/>
                </a:lnTo>
                <a:lnTo>
                  <a:pt x="0" y="132"/>
                </a:lnTo>
                <a:lnTo>
                  <a:pt x="0" y="126"/>
                </a:lnTo>
                <a:lnTo>
                  <a:pt x="6" y="126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14"/>
                </a:lnTo>
                <a:lnTo>
                  <a:pt x="12" y="114"/>
                </a:lnTo>
                <a:lnTo>
                  <a:pt x="12" y="114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08"/>
                </a:lnTo>
                <a:lnTo>
                  <a:pt x="24" y="108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2" y="96"/>
                </a:lnTo>
                <a:lnTo>
                  <a:pt x="36" y="78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54" y="66"/>
                </a:lnTo>
                <a:lnTo>
                  <a:pt x="54" y="60"/>
                </a:lnTo>
                <a:lnTo>
                  <a:pt x="60" y="60"/>
                </a:lnTo>
                <a:lnTo>
                  <a:pt x="60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72" y="54"/>
                </a:lnTo>
                <a:lnTo>
                  <a:pt x="72" y="60"/>
                </a:lnTo>
                <a:lnTo>
                  <a:pt x="72" y="60"/>
                </a:lnTo>
                <a:lnTo>
                  <a:pt x="78" y="60"/>
                </a:lnTo>
                <a:lnTo>
                  <a:pt x="78" y="60"/>
                </a:lnTo>
                <a:lnTo>
                  <a:pt x="84" y="54"/>
                </a:lnTo>
                <a:lnTo>
                  <a:pt x="84" y="54"/>
                </a:lnTo>
                <a:lnTo>
                  <a:pt x="90" y="48"/>
                </a:lnTo>
                <a:lnTo>
                  <a:pt x="90" y="48"/>
                </a:lnTo>
                <a:lnTo>
                  <a:pt x="96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20" y="36"/>
                </a:lnTo>
                <a:lnTo>
                  <a:pt x="126" y="36"/>
                </a:lnTo>
                <a:lnTo>
                  <a:pt x="126" y="30"/>
                </a:lnTo>
                <a:lnTo>
                  <a:pt x="126" y="30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32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62" y="12"/>
                </a:lnTo>
                <a:lnTo>
                  <a:pt x="162" y="6"/>
                </a:lnTo>
                <a:lnTo>
                  <a:pt x="168" y="6"/>
                </a:lnTo>
                <a:lnTo>
                  <a:pt x="168" y="6"/>
                </a:lnTo>
                <a:lnTo>
                  <a:pt x="168" y="0"/>
                </a:lnTo>
                <a:lnTo>
                  <a:pt x="174" y="0"/>
                </a:lnTo>
                <a:lnTo>
                  <a:pt x="174" y="0"/>
                </a:lnTo>
                <a:lnTo>
                  <a:pt x="174" y="0"/>
                </a:lnTo>
                <a:lnTo>
                  <a:pt x="174" y="0"/>
                </a:lnTo>
                <a:lnTo>
                  <a:pt x="174" y="0"/>
                </a:lnTo>
                <a:lnTo>
                  <a:pt x="174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6" y="0"/>
                </a:lnTo>
                <a:lnTo>
                  <a:pt x="186" y="0"/>
                </a:lnTo>
                <a:lnTo>
                  <a:pt x="186" y="0"/>
                </a:lnTo>
                <a:lnTo>
                  <a:pt x="186" y="0"/>
                </a:lnTo>
                <a:lnTo>
                  <a:pt x="186" y="0"/>
                </a:lnTo>
                <a:lnTo>
                  <a:pt x="186" y="0"/>
                </a:lnTo>
                <a:lnTo>
                  <a:pt x="192" y="0"/>
                </a:lnTo>
                <a:lnTo>
                  <a:pt x="192" y="0"/>
                </a:lnTo>
                <a:lnTo>
                  <a:pt x="192" y="0"/>
                </a:lnTo>
                <a:lnTo>
                  <a:pt x="198" y="0"/>
                </a:lnTo>
                <a:lnTo>
                  <a:pt x="198" y="0"/>
                </a:lnTo>
                <a:lnTo>
                  <a:pt x="198" y="0"/>
                </a:lnTo>
                <a:lnTo>
                  <a:pt x="198" y="6"/>
                </a:lnTo>
                <a:lnTo>
                  <a:pt x="204" y="0"/>
                </a:lnTo>
                <a:lnTo>
                  <a:pt x="204" y="0"/>
                </a:lnTo>
                <a:lnTo>
                  <a:pt x="204" y="0"/>
                </a:lnTo>
                <a:lnTo>
                  <a:pt x="204" y="0"/>
                </a:lnTo>
                <a:lnTo>
                  <a:pt x="204" y="0"/>
                </a:lnTo>
                <a:lnTo>
                  <a:pt x="204" y="0"/>
                </a:lnTo>
                <a:lnTo>
                  <a:pt x="204" y="0"/>
                </a:lnTo>
                <a:lnTo>
                  <a:pt x="210" y="0"/>
                </a:lnTo>
                <a:lnTo>
                  <a:pt x="210" y="0"/>
                </a:lnTo>
                <a:lnTo>
                  <a:pt x="210" y="0"/>
                </a:lnTo>
                <a:lnTo>
                  <a:pt x="210" y="0"/>
                </a:lnTo>
                <a:lnTo>
                  <a:pt x="216" y="0"/>
                </a:lnTo>
                <a:lnTo>
                  <a:pt x="216" y="6"/>
                </a:lnTo>
                <a:lnTo>
                  <a:pt x="216" y="6"/>
                </a:lnTo>
                <a:lnTo>
                  <a:pt x="216" y="6"/>
                </a:lnTo>
                <a:lnTo>
                  <a:pt x="210" y="6"/>
                </a:lnTo>
                <a:lnTo>
                  <a:pt x="210" y="6"/>
                </a:lnTo>
                <a:lnTo>
                  <a:pt x="210" y="12"/>
                </a:lnTo>
                <a:lnTo>
                  <a:pt x="210" y="12"/>
                </a:lnTo>
                <a:lnTo>
                  <a:pt x="204" y="12"/>
                </a:lnTo>
                <a:lnTo>
                  <a:pt x="204" y="12"/>
                </a:lnTo>
                <a:lnTo>
                  <a:pt x="204" y="12"/>
                </a:lnTo>
                <a:lnTo>
                  <a:pt x="204" y="18"/>
                </a:lnTo>
                <a:lnTo>
                  <a:pt x="204" y="18"/>
                </a:lnTo>
                <a:lnTo>
                  <a:pt x="204" y="18"/>
                </a:lnTo>
                <a:lnTo>
                  <a:pt x="204" y="18"/>
                </a:lnTo>
                <a:lnTo>
                  <a:pt x="198" y="18"/>
                </a:lnTo>
                <a:lnTo>
                  <a:pt x="198" y="18"/>
                </a:lnTo>
                <a:lnTo>
                  <a:pt x="198" y="18"/>
                </a:lnTo>
                <a:lnTo>
                  <a:pt x="198" y="18"/>
                </a:lnTo>
                <a:lnTo>
                  <a:pt x="192" y="18"/>
                </a:lnTo>
                <a:lnTo>
                  <a:pt x="192" y="18"/>
                </a:lnTo>
                <a:lnTo>
                  <a:pt x="192" y="24"/>
                </a:lnTo>
                <a:lnTo>
                  <a:pt x="192" y="18"/>
                </a:lnTo>
                <a:lnTo>
                  <a:pt x="192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74" y="30"/>
                </a:lnTo>
                <a:lnTo>
                  <a:pt x="162" y="30"/>
                </a:lnTo>
                <a:lnTo>
                  <a:pt x="168" y="30"/>
                </a:lnTo>
                <a:lnTo>
                  <a:pt x="168" y="30"/>
                </a:lnTo>
                <a:lnTo>
                  <a:pt x="174" y="30"/>
                </a:lnTo>
                <a:lnTo>
                  <a:pt x="174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lnTo>
                  <a:pt x="186" y="36"/>
                </a:lnTo>
                <a:lnTo>
                  <a:pt x="186" y="42"/>
                </a:lnTo>
                <a:lnTo>
                  <a:pt x="186" y="42"/>
                </a:lnTo>
                <a:lnTo>
                  <a:pt x="186" y="42"/>
                </a:lnTo>
                <a:lnTo>
                  <a:pt x="186" y="42"/>
                </a:lnTo>
                <a:lnTo>
                  <a:pt x="186" y="42"/>
                </a:lnTo>
                <a:lnTo>
                  <a:pt x="186" y="42"/>
                </a:lnTo>
                <a:lnTo>
                  <a:pt x="192" y="42"/>
                </a:lnTo>
                <a:lnTo>
                  <a:pt x="192" y="48"/>
                </a:lnTo>
                <a:lnTo>
                  <a:pt x="192" y="48"/>
                </a:lnTo>
                <a:lnTo>
                  <a:pt x="198" y="48"/>
                </a:lnTo>
                <a:lnTo>
                  <a:pt x="198" y="48"/>
                </a:lnTo>
                <a:lnTo>
                  <a:pt x="198" y="54"/>
                </a:lnTo>
                <a:lnTo>
                  <a:pt x="198" y="54"/>
                </a:lnTo>
                <a:lnTo>
                  <a:pt x="198" y="54"/>
                </a:lnTo>
                <a:lnTo>
                  <a:pt x="198" y="60"/>
                </a:lnTo>
                <a:lnTo>
                  <a:pt x="198" y="60"/>
                </a:lnTo>
                <a:lnTo>
                  <a:pt x="198" y="60"/>
                </a:lnTo>
                <a:lnTo>
                  <a:pt x="198" y="60"/>
                </a:lnTo>
                <a:lnTo>
                  <a:pt x="198" y="60"/>
                </a:lnTo>
                <a:lnTo>
                  <a:pt x="198" y="60"/>
                </a:lnTo>
                <a:lnTo>
                  <a:pt x="198" y="66"/>
                </a:lnTo>
                <a:lnTo>
                  <a:pt x="198" y="66"/>
                </a:lnTo>
                <a:lnTo>
                  <a:pt x="198" y="66"/>
                </a:lnTo>
                <a:lnTo>
                  <a:pt x="198" y="66"/>
                </a:lnTo>
                <a:lnTo>
                  <a:pt x="198" y="72"/>
                </a:lnTo>
                <a:lnTo>
                  <a:pt x="198" y="72"/>
                </a:lnTo>
                <a:lnTo>
                  <a:pt x="198" y="72"/>
                </a:lnTo>
                <a:lnTo>
                  <a:pt x="198" y="72"/>
                </a:lnTo>
                <a:lnTo>
                  <a:pt x="198" y="72"/>
                </a:lnTo>
                <a:lnTo>
                  <a:pt x="198" y="72"/>
                </a:lnTo>
                <a:lnTo>
                  <a:pt x="198" y="78"/>
                </a:lnTo>
                <a:lnTo>
                  <a:pt x="198" y="78"/>
                </a:lnTo>
                <a:lnTo>
                  <a:pt x="198" y="78"/>
                </a:lnTo>
                <a:lnTo>
                  <a:pt x="198" y="78"/>
                </a:lnTo>
                <a:lnTo>
                  <a:pt x="198" y="78"/>
                </a:lnTo>
                <a:lnTo>
                  <a:pt x="198" y="78"/>
                </a:lnTo>
                <a:lnTo>
                  <a:pt x="198" y="78"/>
                </a:lnTo>
                <a:lnTo>
                  <a:pt x="198" y="78"/>
                </a:lnTo>
                <a:lnTo>
                  <a:pt x="198" y="84"/>
                </a:lnTo>
                <a:lnTo>
                  <a:pt x="192" y="84"/>
                </a:lnTo>
                <a:lnTo>
                  <a:pt x="198" y="84"/>
                </a:lnTo>
                <a:lnTo>
                  <a:pt x="198" y="84"/>
                </a:lnTo>
                <a:lnTo>
                  <a:pt x="192" y="84"/>
                </a:lnTo>
                <a:lnTo>
                  <a:pt x="198" y="84"/>
                </a:lnTo>
                <a:lnTo>
                  <a:pt x="198" y="84"/>
                </a:lnTo>
                <a:lnTo>
                  <a:pt x="198" y="84"/>
                </a:lnTo>
                <a:lnTo>
                  <a:pt x="198" y="84"/>
                </a:lnTo>
                <a:lnTo>
                  <a:pt x="198" y="84"/>
                </a:lnTo>
                <a:lnTo>
                  <a:pt x="198" y="84"/>
                </a:lnTo>
                <a:lnTo>
                  <a:pt x="198" y="84"/>
                </a:lnTo>
                <a:lnTo>
                  <a:pt x="198" y="84"/>
                </a:lnTo>
                <a:lnTo>
                  <a:pt x="198" y="84"/>
                </a:lnTo>
                <a:lnTo>
                  <a:pt x="204" y="84"/>
                </a:lnTo>
                <a:lnTo>
                  <a:pt x="204" y="84"/>
                </a:lnTo>
                <a:lnTo>
                  <a:pt x="198" y="84"/>
                </a:lnTo>
                <a:lnTo>
                  <a:pt x="198" y="84"/>
                </a:lnTo>
                <a:lnTo>
                  <a:pt x="198" y="84"/>
                </a:lnTo>
                <a:lnTo>
                  <a:pt x="198" y="90"/>
                </a:lnTo>
                <a:lnTo>
                  <a:pt x="198" y="90"/>
                </a:lnTo>
                <a:lnTo>
                  <a:pt x="192" y="90"/>
                </a:lnTo>
                <a:lnTo>
                  <a:pt x="192" y="90"/>
                </a:lnTo>
                <a:lnTo>
                  <a:pt x="186" y="90"/>
                </a:lnTo>
                <a:lnTo>
                  <a:pt x="186" y="90"/>
                </a:lnTo>
                <a:lnTo>
                  <a:pt x="186" y="96"/>
                </a:lnTo>
                <a:lnTo>
                  <a:pt x="186" y="96"/>
                </a:lnTo>
                <a:lnTo>
                  <a:pt x="186" y="96"/>
                </a:lnTo>
                <a:lnTo>
                  <a:pt x="186" y="96"/>
                </a:lnTo>
                <a:lnTo>
                  <a:pt x="180" y="102"/>
                </a:lnTo>
                <a:lnTo>
                  <a:pt x="180" y="102"/>
                </a:lnTo>
                <a:lnTo>
                  <a:pt x="180" y="102"/>
                </a:lnTo>
                <a:lnTo>
                  <a:pt x="180" y="108"/>
                </a:lnTo>
                <a:lnTo>
                  <a:pt x="186" y="108"/>
                </a:lnTo>
                <a:lnTo>
                  <a:pt x="186" y="114"/>
                </a:lnTo>
                <a:lnTo>
                  <a:pt x="186" y="114"/>
                </a:lnTo>
                <a:lnTo>
                  <a:pt x="186" y="114"/>
                </a:lnTo>
                <a:lnTo>
                  <a:pt x="186" y="114"/>
                </a:lnTo>
                <a:lnTo>
                  <a:pt x="186" y="120"/>
                </a:lnTo>
                <a:lnTo>
                  <a:pt x="186" y="120"/>
                </a:lnTo>
                <a:lnTo>
                  <a:pt x="180" y="126"/>
                </a:lnTo>
                <a:lnTo>
                  <a:pt x="180" y="126"/>
                </a:lnTo>
                <a:lnTo>
                  <a:pt x="180" y="132"/>
                </a:lnTo>
                <a:lnTo>
                  <a:pt x="180" y="132"/>
                </a:lnTo>
                <a:lnTo>
                  <a:pt x="174" y="132"/>
                </a:lnTo>
                <a:lnTo>
                  <a:pt x="174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38"/>
                </a:lnTo>
                <a:lnTo>
                  <a:pt x="162" y="138"/>
                </a:lnTo>
                <a:lnTo>
                  <a:pt x="162" y="138"/>
                </a:lnTo>
                <a:lnTo>
                  <a:pt x="162" y="132"/>
                </a:lnTo>
                <a:lnTo>
                  <a:pt x="162" y="132"/>
                </a:lnTo>
                <a:lnTo>
                  <a:pt x="162" y="132"/>
                </a:lnTo>
                <a:lnTo>
                  <a:pt x="162" y="138"/>
                </a:lnTo>
                <a:lnTo>
                  <a:pt x="156" y="132"/>
                </a:lnTo>
                <a:lnTo>
                  <a:pt x="156" y="132"/>
                </a:lnTo>
                <a:lnTo>
                  <a:pt x="162" y="132"/>
                </a:lnTo>
                <a:lnTo>
                  <a:pt x="162" y="132"/>
                </a:lnTo>
                <a:lnTo>
                  <a:pt x="162" y="132"/>
                </a:lnTo>
                <a:lnTo>
                  <a:pt x="162" y="132"/>
                </a:lnTo>
                <a:lnTo>
                  <a:pt x="162" y="132"/>
                </a:lnTo>
                <a:lnTo>
                  <a:pt x="156" y="132"/>
                </a:lnTo>
                <a:lnTo>
                  <a:pt x="156" y="132"/>
                </a:lnTo>
                <a:lnTo>
                  <a:pt x="156" y="132"/>
                </a:lnTo>
                <a:lnTo>
                  <a:pt x="156" y="126"/>
                </a:lnTo>
                <a:lnTo>
                  <a:pt x="162" y="126"/>
                </a:lnTo>
                <a:lnTo>
                  <a:pt x="162" y="132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56" y="120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44" y="126"/>
                </a:lnTo>
                <a:lnTo>
                  <a:pt x="144" y="126"/>
                </a:lnTo>
                <a:lnTo>
                  <a:pt x="138" y="132"/>
                </a:lnTo>
                <a:lnTo>
                  <a:pt x="138" y="126"/>
                </a:lnTo>
                <a:lnTo>
                  <a:pt x="138" y="126"/>
                </a:lnTo>
                <a:lnTo>
                  <a:pt x="138" y="126"/>
                </a:lnTo>
                <a:lnTo>
                  <a:pt x="138" y="126"/>
                </a:lnTo>
                <a:lnTo>
                  <a:pt x="138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32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32" y="126"/>
                </a:lnTo>
                <a:lnTo>
                  <a:pt x="132" y="120"/>
                </a:lnTo>
                <a:lnTo>
                  <a:pt x="138" y="114"/>
                </a:lnTo>
                <a:lnTo>
                  <a:pt x="138" y="114"/>
                </a:lnTo>
                <a:lnTo>
                  <a:pt x="138" y="114"/>
                </a:lnTo>
                <a:lnTo>
                  <a:pt x="138" y="114"/>
                </a:lnTo>
                <a:lnTo>
                  <a:pt x="144" y="114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50" y="108"/>
                </a:lnTo>
                <a:lnTo>
                  <a:pt x="150" y="108"/>
                </a:lnTo>
                <a:lnTo>
                  <a:pt x="150" y="108"/>
                </a:lnTo>
                <a:lnTo>
                  <a:pt x="150" y="102"/>
                </a:lnTo>
                <a:lnTo>
                  <a:pt x="150" y="102"/>
                </a:lnTo>
                <a:lnTo>
                  <a:pt x="150" y="102"/>
                </a:lnTo>
                <a:lnTo>
                  <a:pt x="156" y="102"/>
                </a:lnTo>
                <a:lnTo>
                  <a:pt x="156" y="96"/>
                </a:lnTo>
                <a:lnTo>
                  <a:pt x="156" y="96"/>
                </a:lnTo>
                <a:lnTo>
                  <a:pt x="156" y="96"/>
                </a:lnTo>
                <a:lnTo>
                  <a:pt x="156" y="96"/>
                </a:lnTo>
                <a:lnTo>
                  <a:pt x="156" y="96"/>
                </a:lnTo>
                <a:lnTo>
                  <a:pt x="156" y="96"/>
                </a:lnTo>
                <a:lnTo>
                  <a:pt x="150" y="96"/>
                </a:lnTo>
                <a:lnTo>
                  <a:pt x="150" y="96"/>
                </a:lnTo>
                <a:lnTo>
                  <a:pt x="150" y="96"/>
                </a:lnTo>
                <a:lnTo>
                  <a:pt x="150" y="96"/>
                </a:lnTo>
                <a:lnTo>
                  <a:pt x="150" y="96"/>
                </a:lnTo>
                <a:lnTo>
                  <a:pt x="150" y="96"/>
                </a:lnTo>
                <a:lnTo>
                  <a:pt x="150" y="96"/>
                </a:lnTo>
                <a:lnTo>
                  <a:pt x="150" y="96"/>
                </a:lnTo>
                <a:lnTo>
                  <a:pt x="150" y="96"/>
                </a:lnTo>
                <a:lnTo>
                  <a:pt x="150" y="96"/>
                </a:lnTo>
                <a:lnTo>
                  <a:pt x="150" y="96"/>
                </a:lnTo>
                <a:lnTo>
                  <a:pt x="150" y="96"/>
                </a:lnTo>
                <a:lnTo>
                  <a:pt x="144" y="96"/>
                </a:lnTo>
                <a:lnTo>
                  <a:pt x="144" y="96"/>
                </a:lnTo>
                <a:lnTo>
                  <a:pt x="144" y="96"/>
                </a:lnTo>
                <a:lnTo>
                  <a:pt x="144" y="96"/>
                </a:lnTo>
                <a:lnTo>
                  <a:pt x="144" y="96"/>
                </a:lnTo>
                <a:lnTo>
                  <a:pt x="144" y="96"/>
                </a:lnTo>
                <a:lnTo>
                  <a:pt x="144" y="96"/>
                </a:lnTo>
                <a:lnTo>
                  <a:pt x="144" y="96"/>
                </a:lnTo>
                <a:lnTo>
                  <a:pt x="144" y="96"/>
                </a:lnTo>
                <a:lnTo>
                  <a:pt x="144" y="96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2" y="102"/>
                </a:lnTo>
                <a:lnTo>
                  <a:pt x="132" y="102"/>
                </a:lnTo>
                <a:lnTo>
                  <a:pt x="132" y="102"/>
                </a:lnTo>
                <a:lnTo>
                  <a:pt x="132" y="102"/>
                </a:lnTo>
                <a:lnTo>
                  <a:pt x="132" y="102"/>
                </a:lnTo>
                <a:lnTo>
                  <a:pt x="132" y="102"/>
                </a:lnTo>
                <a:lnTo>
                  <a:pt x="132" y="102"/>
                </a:lnTo>
                <a:lnTo>
                  <a:pt x="126" y="102"/>
                </a:lnTo>
                <a:lnTo>
                  <a:pt x="132" y="102"/>
                </a:lnTo>
                <a:lnTo>
                  <a:pt x="126" y="102"/>
                </a:lnTo>
                <a:lnTo>
                  <a:pt x="126" y="102"/>
                </a:lnTo>
                <a:lnTo>
                  <a:pt x="126" y="102"/>
                </a:lnTo>
                <a:lnTo>
                  <a:pt x="126" y="102"/>
                </a:lnTo>
                <a:lnTo>
                  <a:pt x="126" y="102"/>
                </a:lnTo>
                <a:lnTo>
                  <a:pt x="126" y="102"/>
                </a:lnTo>
                <a:lnTo>
                  <a:pt x="126" y="102"/>
                </a:lnTo>
                <a:lnTo>
                  <a:pt x="126" y="102"/>
                </a:lnTo>
                <a:lnTo>
                  <a:pt x="126" y="102"/>
                </a:lnTo>
                <a:lnTo>
                  <a:pt x="126" y="102"/>
                </a:lnTo>
                <a:lnTo>
                  <a:pt x="126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14" y="102"/>
                </a:lnTo>
                <a:lnTo>
                  <a:pt x="114" y="96"/>
                </a:lnTo>
                <a:lnTo>
                  <a:pt x="114" y="96"/>
                </a:lnTo>
                <a:lnTo>
                  <a:pt x="114" y="96"/>
                </a:lnTo>
                <a:lnTo>
                  <a:pt x="114" y="96"/>
                </a:lnTo>
                <a:lnTo>
                  <a:pt x="114" y="102"/>
                </a:lnTo>
                <a:lnTo>
                  <a:pt x="114" y="96"/>
                </a:lnTo>
                <a:lnTo>
                  <a:pt x="108" y="102"/>
                </a:lnTo>
                <a:lnTo>
                  <a:pt x="108" y="96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0" y="102"/>
                </a:lnTo>
                <a:lnTo>
                  <a:pt x="90" y="108"/>
                </a:lnTo>
                <a:lnTo>
                  <a:pt x="84" y="108"/>
                </a:lnTo>
                <a:lnTo>
                  <a:pt x="78" y="114"/>
                </a:lnTo>
                <a:lnTo>
                  <a:pt x="78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66" y="114"/>
                </a:lnTo>
                <a:lnTo>
                  <a:pt x="66" y="120"/>
                </a:lnTo>
                <a:lnTo>
                  <a:pt x="66" y="120"/>
                </a:lnTo>
                <a:lnTo>
                  <a:pt x="60" y="120"/>
                </a:lnTo>
                <a:lnTo>
                  <a:pt x="60" y="120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32"/>
                </a:lnTo>
                <a:lnTo>
                  <a:pt x="60" y="132"/>
                </a:lnTo>
                <a:lnTo>
                  <a:pt x="60" y="132"/>
                </a:lnTo>
                <a:lnTo>
                  <a:pt x="66" y="132"/>
                </a:lnTo>
                <a:lnTo>
                  <a:pt x="60" y="132"/>
                </a:lnTo>
                <a:lnTo>
                  <a:pt x="60" y="132"/>
                </a:lnTo>
                <a:lnTo>
                  <a:pt x="60" y="132"/>
                </a:lnTo>
                <a:lnTo>
                  <a:pt x="60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54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44"/>
                </a:lnTo>
                <a:lnTo>
                  <a:pt x="36" y="138"/>
                </a:lnTo>
                <a:lnTo>
                  <a:pt x="36" y="144"/>
                </a:lnTo>
                <a:lnTo>
                  <a:pt x="36" y="144"/>
                </a:lnTo>
                <a:lnTo>
                  <a:pt x="30" y="144"/>
                </a:lnTo>
                <a:lnTo>
                  <a:pt x="30" y="144"/>
                </a:lnTo>
                <a:lnTo>
                  <a:pt x="24" y="150"/>
                </a:lnTo>
                <a:lnTo>
                  <a:pt x="24" y="150"/>
                </a:lnTo>
                <a:lnTo>
                  <a:pt x="18" y="168"/>
                </a:lnTo>
                <a:lnTo>
                  <a:pt x="18" y="168"/>
                </a:lnTo>
                <a:lnTo>
                  <a:pt x="18" y="168"/>
                </a:lnTo>
                <a:lnTo>
                  <a:pt x="18" y="162"/>
                </a:lnTo>
                <a:lnTo>
                  <a:pt x="18" y="162"/>
                </a:lnTo>
                <a:lnTo>
                  <a:pt x="12" y="156"/>
                </a:lnTo>
                <a:lnTo>
                  <a:pt x="12" y="162"/>
                </a:lnTo>
                <a:lnTo>
                  <a:pt x="12" y="156"/>
                </a:lnTo>
                <a:lnTo>
                  <a:pt x="12" y="156"/>
                </a:lnTo>
                <a:lnTo>
                  <a:pt x="12" y="156"/>
                </a:lnTo>
                <a:lnTo>
                  <a:pt x="6" y="156"/>
                </a:lnTo>
                <a:lnTo>
                  <a:pt x="6" y="156"/>
                </a:lnTo>
                <a:lnTo>
                  <a:pt x="6" y="156"/>
                </a:lnTo>
                <a:lnTo>
                  <a:pt x="6" y="156"/>
                </a:lnTo>
                <a:lnTo>
                  <a:pt x="0" y="150"/>
                </a:lnTo>
                <a:lnTo>
                  <a:pt x="6" y="150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38"/>
                </a:lnTo>
                <a:lnTo>
                  <a:pt x="6" y="138"/>
                </a:lnTo>
                <a:lnTo>
                  <a:pt x="6" y="138"/>
                </a:lnTo>
                <a:lnTo>
                  <a:pt x="6" y="13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87" name="Freeform 520"/>
          <p:cNvSpPr>
            <a:spLocks/>
          </p:cNvSpPr>
          <p:nvPr/>
        </p:nvSpPr>
        <p:spPr bwMode="auto">
          <a:xfrm>
            <a:off x="5708373" y="3132845"/>
            <a:ext cx="327627" cy="391870"/>
          </a:xfrm>
          <a:custGeom>
            <a:avLst/>
            <a:gdLst>
              <a:gd name="T0" fmla="*/ 12 w 306"/>
              <a:gd name="T1" fmla="*/ 144 h 366"/>
              <a:gd name="T2" fmla="*/ 12 w 306"/>
              <a:gd name="T3" fmla="*/ 132 h 366"/>
              <a:gd name="T4" fmla="*/ 18 w 306"/>
              <a:gd name="T5" fmla="*/ 126 h 366"/>
              <a:gd name="T6" fmla="*/ 24 w 306"/>
              <a:gd name="T7" fmla="*/ 120 h 366"/>
              <a:gd name="T8" fmla="*/ 48 w 306"/>
              <a:gd name="T9" fmla="*/ 120 h 366"/>
              <a:gd name="T10" fmla="*/ 84 w 306"/>
              <a:gd name="T11" fmla="*/ 120 h 366"/>
              <a:gd name="T12" fmla="*/ 102 w 306"/>
              <a:gd name="T13" fmla="*/ 114 h 366"/>
              <a:gd name="T14" fmla="*/ 114 w 306"/>
              <a:gd name="T15" fmla="*/ 102 h 366"/>
              <a:gd name="T16" fmla="*/ 120 w 306"/>
              <a:gd name="T17" fmla="*/ 84 h 366"/>
              <a:gd name="T18" fmla="*/ 138 w 306"/>
              <a:gd name="T19" fmla="*/ 72 h 366"/>
              <a:gd name="T20" fmla="*/ 132 w 306"/>
              <a:gd name="T21" fmla="*/ 66 h 366"/>
              <a:gd name="T22" fmla="*/ 156 w 306"/>
              <a:gd name="T23" fmla="*/ 54 h 366"/>
              <a:gd name="T24" fmla="*/ 174 w 306"/>
              <a:gd name="T25" fmla="*/ 36 h 366"/>
              <a:gd name="T26" fmla="*/ 186 w 306"/>
              <a:gd name="T27" fmla="*/ 30 h 366"/>
              <a:gd name="T28" fmla="*/ 228 w 306"/>
              <a:gd name="T29" fmla="*/ 12 h 366"/>
              <a:gd name="T30" fmla="*/ 222 w 306"/>
              <a:gd name="T31" fmla="*/ 24 h 366"/>
              <a:gd name="T32" fmla="*/ 204 w 306"/>
              <a:gd name="T33" fmla="*/ 30 h 366"/>
              <a:gd name="T34" fmla="*/ 210 w 306"/>
              <a:gd name="T35" fmla="*/ 42 h 366"/>
              <a:gd name="T36" fmla="*/ 234 w 306"/>
              <a:gd name="T37" fmla="*/ 36 h 366"/>
              <a:gd name="T38" fmla="*/ 240 w 306"/>
              <a:gd name="T39" fmla="*/ 36 h 366"/>
              <a:gd name="T40" fmla="*/ 252 w 306"/>
              <a:gd name="T41" fmla="*/ 36 h 366"/>
              <a:gd name="T42" fmla="*/ 264 w 306"/>
              <a:gd name="T43" fmla="*/ 30 h 366"/>
              <a:gd name="T44" fmla="*/ 264 w 306"/>
              <a:gd name="T45" fmla="*/ 36 h 366"/>
              <a:gd name="T46" fmla="*/ 270 w 306"/>
              <a:gd name="T47" fmla="*/ 54 h 366"/>
              <a:gd name="T48" fmla="*/ 282 w 306"/>
              <a:gd name="T49" fmla="*/ 60 h 366"/>
              <a:gd name="T50" fmla="*/ 282 w 306"/>
              <a:gd name="T51" fmla="*/ 66 h 366"/>
              <a:gd name="T52" fmla="*/ 252 w 306"/>
              <a:gd name="T53" fmla="*/ 114 h 366"/>
              <a:gd name="T54" fmla="*/ 228 w 306"/>
              <a:gd name="T55" fmla="*/ 138 h 366"/>
              <a:gd name="T56" fmla="*/ 234 w 306"/>
              <a:gd name="T57" fmla="*/ 144 h 366"/>
              <a:gd name="T58" fmla="*/ 246 w 306"/>
              <a:gd name="T59" fmla="*/ 168 h 366"/>
              <a:gd name="T60" fmla="*/ 282 w 306"/>
              <a:gd name="T61" fmla="*/ 252 h 366"/>
              <a:gd name="T62" fmla="*/ 294 w 306"/>
              <a:gd name="T63" fmla="*/ 258 h 366"/>
              <a:gd name="T64" fmla="*/ 306 w 306"/>
              <a:gd name="T65" fmla="*/ 294 h 366"/>
              <a:gd name="T66" fmla="*/ 306 w 306"/>
              <a:gd name="T67" fmla="*/ 324 h 366"/>
              <a:gd name="T68" fmla="*/ 288 w 306"/>
              <a:gd name="T69" fmla="*/ 330 h 366"/>
              <a:gd name="T70" fmla="*/ 276 w 306"/>
              <a:gd name="T71" fmla="*/ 336 h 366"/>
              <a:gd name="T72" fmla="*/ 264 w 306"/>
              <a:gd name="T73" fmla="*/ 342 h 366"/>
              <a:gd name="T74" fmla="*/ 258 w 306"/>
              <a:gd name="T75" fmla="*/ 354 h 366"/>
              <a:gd name="T76" fmla="*/ 246 w 306"/>
              <a:gd name="T77" fmla="*/ 354 h 366"/>
              <a:gd name="T78" fmla="*/ 240 w 306"/>
              <a:gd name="T79" fmla="*/ 360 h 366"/>
              <a:gd name="T80" fmla="*/ 228 w 306"/>
              <a:gd name="T81" fmla="*/ 366 h 366"/>
              <a:gd name="T82" fmla="*/ 222 w 306"/>
              <a:gd name="T83" fmla="*/ 360 h 366"/>
              <a:gd name="T84" fmla="*/ 210 w 306"/>
              <a:gd name="T85" fmla="*/ 360 h 366"/>
              <a:gd name="T86" fmla="*/ 216 w 306"/>
              <a:gd name="T87" fmla="*/ 234 h 366"/>
              <a:gd name="T88" fmla="*/ 204 w 306"/>
              <a:gd name="T89" fmla="*/ 228 h 366"/>
              <a:gd name="T90" fmla="*/ 186 w 306"/>
              <a:gd name="T91" fmla="*/ 222 h 366"/>
              <a:gd name="T92" fmla="*/ 162 w 306"/>
              <a:gd name="T93" fmla="*/ 210 h 366"/>
              <a:gd name="T94" fmla="*/ 156 w 306"/>
              <a:gd name="T95" fmla="*/ 222 h 366"/>
              <a:gd name="T96" fmla="*/ 144 w 306"/>
              <a:gd name="T97" fmla="*/ 228 h 366"/>
              <a:gd name="T98" fmla="*/ 144 w 306"/>
              <a:gd name="T99" fmla="*/ 228 h 366"/>
              <a:gd name="T100" fmla="*/ 138 w 306"/>
              <a:gd name="T101" fmla="*/ 234 h 366"/>
              <a:gd name="T102" fmla="*/ 126 w 306"/>
              <a:gd name="T103" fmla="*/ 240 h 366"/>
              <a:gd name="T104" fmla="*/ 120 w 306"/>
              <a:gd name="T105" fmla="*/ 240 h 366"/>
              <a:gd name="T106" fmla="*/ 114 w 306"/>
              <a:gd name="T107" fmla="*/ 210 h 366"/>
              <a:gd name="T108" fmla="*/ 102 w 306"/>
              <a:gd name="T109" fmla="*/ 222 h 366"/>
              <a:gd name="T110" fmla="*/ 90 w 306"/>
              <a:gd name="T111" fmla="*/ 222 h 366"/>
              <a:gd name="T112" fmla="*/ 96 w 306"/>
              <a:gd name="T113" fmla="*/ 210 h 366"/>
              <a:gd name="T114" fmla="*/ 108 w 306"/>
              <a:gd name="T115" fmla="*/ 192 h 366"/>
              <a:gd name="T116" fmla="*/ 90 w 306"/>
              <a:gd name="T117" fmla="*/ 186 h 366"/>
              <a:gd name="T118" fmla="*/ 84 w 306"/>
              <a:gd name="T119" fmla="*/ 162 h 366"/>
              <a:gd name="T120" fmla="*/ 60 w 306"/>
              <a:gd name="T121" fmla="*/ 162 h 366"/>
              <a:gd name="T122" fmla="*/ 42 w 306"/>
              <a:gd name="T123" fmla="*/ 162 h 366"/>
              <a:gd name="T124" fmla="*/ 24 w 306"/>
              <a:gd name="T125" fmla="*/ 162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06" h="366">
                <a:moveTo>
                  <a:pt x="0" y="168"/>
                </a:moveTo>
                <a:lnTo>
                  <a:pt x="0" y="168"/>
                </a:lnTo>
                <a:lnTo>
                  <a:pt x="0" y="162"/>
                </a:lnTo>
                <a:lnTo>
                  <a:pt x="0" y="162"/>
                </a:lnTo>
                <a:lnTo>
                  <a:pt x="6" y="162"/>
                </a:lnTo>
                <a:lnTo>
                  <a:pt x="0" y="156"/>
                </a:lnTo>
                <a:lnTo>
                  <a:pt x="0" y="156"/>
                </a:lnTo>
                <a:lnTo>
                  <a:pt x="0" y="156"/>
                </a:lnTo>
                <a:lnTo>
                  <a:pt x="6" y="150"/>
                </a:lnTo>
                <a:lnTo>
                  <a:pt x="6" y="150"/>
                </a:lnTo>
                <a:lnTo>
                  <a:pt x="6" y="150"/>
                </a:lnTo>
                <a:lnTo>
                  <a:pt x="6" y="150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12" y="144"/>
                </a:lnTo>
                <a:lnTo>
                  <a:pt x="12" y="144"/>
                </a:lnTo>
                <a:lnTo>
                  <a:pt x="12" y="144"/>
                </a:lnTo>
                <a:lnTo>
                  <a:pt x="12" y="144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24" y="120"/>
                </a:lnTo>
                <a:lnTo>
                  <a:pt x="30" y="120"/>
                </a:lnTo>
                <a:lnTo>
                  <a:pt x="30" y="114"/>
                </a:lnTo>
                <a:lnTo>
                  <a:pt x="30" y="114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20"/>
                </a:lnTo>
                <a:lnTo>
                  <a:pt x="54" y="120"/>
                </a:lnTo>
                <a:lnTo>
                  <a:pt x="54" y="126"/>
                </a:lnTo>
                <a:lnTo>
                  <a:pt x="54" y="126"/>
                </a:lnTo>
                <a:lnTo>
                  <a:pt x="54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6"/>
                </a:lnTo>
                <a:lnTo>
                  <a:pt x="60" y="120"/>
                </a:lnTo>
                <a:lnTo>
                  <a:pt x="60" y="120"/>
                </a:lnTo>
                <a:lnTo>
                  <a:pt x="66" y="120"/>
                </a:lnTo>
                <a:lnTo>
                  <a:pt x="66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90" y="126"/>
                </a:lnTo>
                <a:lnTo>
                  <a:pt x="90" y="126"/>
                </a:lnTo>
                <a:lnTo>
                  <a:pt x="90" y="126"/>
                </a:lnTo>
                <a:lnTo>
                  <a:pt x="90" y="126"/>
                </a:lnTo>
                <a:lnTo>
                  <a:pt x="90" y="120"/>
                </a:lnTo>
                <a:lnTo>
                  <a:pt x="90" y="120"/>
                </a:lnTo>
                <a:lnTo>
                  <a:pt x="96" y="120"/>
                </a:lnTo>
                <a:lnTo>
                  <a:pt x="96" y="114"/>
                </a:lnTo>
                <a:lnTo>
                  <a:pt x="96" y="114"/>
                </a:lnTo>
                <a:lnTo>
                  <a:pt x="96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2"/>
                </a:lnTo>
                <a:lnTo>
                  <a:pt x="114" y="102"/>
                </a:lnTo>
                <a:lnTo>
                  <a:pt x="114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90"/>
                </a:lnTo>
                <a:lnTo>
                  <a:pt x="120" y="90"/>
                </a:lnTo>
                <a:lnTo>
                  <a:pt x="114" y="90"/>
                </a:lnTo>
                <a:lnTo>
                  <a:pt x="114" y="90"/>
                </a:lnTo>
                <a:lnTo>
                  <a:pt x="120" y="90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32" y="78"/>
                </a:lnTo>
                <a:lnTo>
                  <a:pt x="138" y="78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66"/>
                </a:lnTo>
                <a:lnTo>
                  <a:pt x="132" y="66"/>
                </a:lnTo>
                <a:lnTo>
                  <a:pt x="132" y="66"/>
                </a:lnTo>
                <a:lnTo>
                  <a:pt x="126" y="66"/>
                </a:lnTo>
                <a:lnTo>
                  <a:pt x="126" y="66"/>
                </a:lnTo>
                <a:lnTo>
                  <a:pt x="132" y="66"/>
                </a:lnTo>
                <a:lnTo>
                  <a:pt x="132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60"/>
                </a:lnTo>
                <a:lnTo>
                  <a:pt x="132" y="54"/>
                </a:lnTo>
                <a:lnTo>
                  <a:pt x="132" y="54"/>
                </a:lnTo>
                <a:lnTo>
                  <a:pt x="162" y="66"/>
                </a:lnTo>
                <a:lnTo>
                  <a:pt x="162" y="66"/>
                </a:lnTo>
                <a:lnTo>
                  <a:pt x="162" y="66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60"/>
                </a:lnTo>
                <a:lnTo>
                  <a:pt x="162" y="54"/>
                </a:lnTo>
                <a:lnTo>
                  <a:pt x="162" y="54"/>
                </a:lnTo>
                <a:lnTo>
                  <a:pt x="156" y="54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8" y="42"/>
                </a:lnTo>
                <a:lnTo>
                  <a:pt x="168" y="42"/>
                </a:lnTo>
                <a:lnTo>
                  <a:pt x="168" y="36"/>
                </a:lnTo>
                <a:lnTo>
                  <a:pt x="168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lnTo>
                  <a:pt x="186" y="36"/>
                </a:lnTo>
                <a:lnTo>
                  <a:pt x="186" y="36"/>
                </a:lnTo>
                <a:lnTo>
                  <a:pt x="186" y="36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92" y="30"/>
                </a:lnTo>
                <a:lnTo>
                  <a:pt x="192" y="24"/>
                </a:lnTo>
                <a:lnTo>
                  <a:pt x="198" y="24"/>
                </a:lnTo>
                <a:lnTo>
                  <a:pt x="198" y="24"/>
                </a:lnTo>
                <a:lnTo>
                  <a:pt x="240" y="0"/>
                </a:lnTo>
                <a:lnTo>
                  <a:pt x="240" y="0"/>
                </a:lnTo>
                <a:lnTo>
                  <a:pt x="240" y="6"/>
                </a:lnTo>
                <a:lnTo>
                  <a:pt x="240" y="6"/>
                </a:lnTo>
                <a:lnTo>
                  <a:pt x="240" y="6"/>
                </a:lnTo>
                <a:lnTo>
                  <a:pt x="240" y="6"/>
                </a:lnTo>
                <a:lnTo>
                  <a:pt x="234" y="6"/>
                </a:lnTo>
                <a:lnTo>
                  <a:pt x="234" y="6"/>
                </a:lnTo>
                <a:lnTo>
                  <a:pt x="234" y="12"/>
                </a:lnTo>
                <a:lnTo>
                  <a:pt x="234" y="12"/>
                </a:lnTo>
                <a:lnTo>
                  <a:pt x="228" y="12"/>
                </a:lnTo>
                <a:lnTo>
                  <a:pt x="228" y="12"/>
                </a:lnTo>
                <a:lnTo>
                  <a:pt x="228" y="12"/>
                </a:lnTo>
                <a:lnTo>
                  <a:pt x="228" y="12"/>
                </a:lnTo>
                <a:lnTo>
                  <a:pt x="228" y="12"/>
                </a:lnTo>
                <a:lnTo>
                  <a:pt x="228" y="12"/>
                </a:lnTo>
                <a:lnTo>
                  <a:pt x="222" y="12"/>
                </a:lnTo>
                <a:lnTo>
                  <a:pt x="222" y="12"/>
                </a:lnTo>
                <a:lnTo>
                  <a:pt x="222" y="18"/>
                </a:lnTo>
                <a:lnTo>
                  <a:pt x="222" y="18"/>
                </a:lnTo>
                <a:lnTo>
                  <a:pt x="222" y="18"/>
                </a:lnTo>
                <a:lnTo>
                  <a:pt x="222" y="18"/>
                </a:lnTo>
                <a:lnTo>
                  <a:pt x="222" y="18"/>
                </a:lnTo>
                <a:lnTo>
                  <a:pt x="222" y="18"/>
                </a:lnTo>
                <a:lnTo>
                  <a:pt x="222" y="18"/>
                </a:lnTo>
                <a:lnTo>
                  <a:pt x="222" y="18"/>
                </a:lnTo>
                <a:lnTo>
                  <a:pt x="222" y="24"/>
                </a:lnTo>
                <a:lnTo>
                  <a:pt x="222" y="24"/>
                </a:lnTo>
                <a:lnTo>
                  <a:pt x="222" y="24"/>
                </a:lnTo>
                <a:lnTo>
                  <a:pt x="222" y="24"/>
                </a:lnTo>
                <a:lnTo>
                  <a:pt x="216" y="24"/>
                </a:lnTo>
                <a:lnTo>
                  <a:pt x="216" y="24"/>
                </a:lnTo>
                <a:lnTo>
                  <a:pt x="216" y="24"/>
                </a:lnTo>
                <a:lnTo>
                  <a:pt x="216" y="24"/>
                </a:lnTo>
                <a:lnTo>
                  <a:pt x="210" y="30"/>
                </a:lnTo>
                <a:lnTo>
                  <a:pt x="210" y="30"/>
                </a:lnTo>
                <a:lnTo>
                  <a:pt x="210" y="30"/>
                </a:lnTo>
                <a:lnTo>
                  <a:pt x="210" y="30"/>
                </a:lnTo>
                <a:lnTo>
                  <a:pt x="210" y="30"/>
                </a:lnTo>
                <a:lnTo>
                  <a:pt x="210" y="30"/>
                </a:lnTo>
                <a:lnTo>
                  <a:pt x="210" y="30"/>
                </a:lnTo>
                <a:lnTo>
                  <a:pt x="204" y="30"/>
                </a:lnTo>
                <a:lnTo>
                  <a:pt x="204" y="30"/>
                </a:lnTo>
                <a:lnTo>
                  <a:pt x="204" y="30"/>
                </a:lnTo>
                <a:lnTo>
                  <a:pt x="204" y="30"/>
                </a:lnTo>
                <a:lnTo>
                  <a:pt x="204" y="36"/>
                </a:lnTo>
                <a:lnTo>
                  <a:pt x="204" y="36"/>
                </a:lnTo>
                <a:lnTo>
                  <a:pt x="204" y="36"/>
                </a:lnTo>
                <a:lnTo>
                  <a:pt x="204" y="36"/>
                </a:lnTo>
                <a:lnTo>
                  <a:pt x="204" y="36"/>
                </a:lnTo>
                <a:lnTo>
                  <a:pt x="204" y="36"/>
                </a:lnTo>
                <a:lnTo>
                  <a:pt x="204" y="36"/>
                </a:lnTo>
                <a:lnTo>
                  <a:pt x="204" y="36"/>
                </a:lnTo>
                <a:lnTo>
                  <a:pt x="210" y="36"/>
                </a:lnTo>
                <a:lnTo>
                  <a:pt x="210" y="36"/>
                </a:lnTo>
                <a:lnTo>
                  <a:pt x="210" y="36"/>
                </a:lnTo>
                <a:lnTo>
                  <a:pt x="210" y="36"/>
                </a:lnTo>
                <a:lnTo>
                  <a:pt x="210" y="42"/>
                </a:lnTo>
                <a:lnTo>
                  <a:pt x="210" y="42"/>
                </a:lnTo>
                <a:lnTo>
                  <a:pt x="210" y="42"/>
                </a:lnTo>
                <a:lnTo>
                  <a:pt x="210" y="42"/>
                </a:lnTo>
                <a:lnTo>
                  <a:pt x="216" y="36"/>
                </a:lnTo>
                <a:lnTo>
                  <a:pt x="216" y="42"/>
                </a:lnTo>
                <a:lnTo>
                  <a:pt x="216" y="36"/>
                </a:lnTo>
                <a:lnTo>
                  <a:pt x="216" y="42"/>
                </a:lnTo>
                <a:lnTo>
                  <a:pt x="216" y="42"/>
                </a:lnTo>
                <a:lnTo>
                  <a:pt x="216" y="42"/>
                </a:lnTo>
                <a:lnTo>
                  <a:pt x="216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8" y="42"/>
                </a:lnTo>
                <a:lnTo>
                  <a:pt x="228" y="36"/>
                </a:lnTo>
                <a:lnTo>
                  <a:pt x="234" y="36"/>
                </a:lnTo>
                <a:lnTo>
                  <a:pt x="234" y="36"/>
                </a:lnTo>
                <a:lnTo>
                  <a:pt x="234" y="36"/>
                </a:lnTo>
                <a:lnTo>
                  <a:pt x="234" y="36"/>
                </a:lnTo>
                <a:lnTo>
                  <a:pt x="234" y="36"/>
                </a:lnTo>
                <a:lnTo>
                  <a:pt x="234" y="36"/>
                </a:lnTo>
                <a:lnTo>
                  <a:pt x="234" y="36"/>
                </a:lnTo>
                <a:lnTo>
                  <a:pt x="240" y="36"/>
                </a:lnTo>
                <a:lnTo>
                  <a:pt x="240" y="36"/>
                </a:lnTo>
                <a:lnTo>
                  <a:pt x="240" y="36"/>
                </a:lnTo>
                <a:lnTo>
                  <a:pt x="240" y="36"/>
                </a:lnTo>
                <a:lnTo>
                  <a:pt x="240" y="36"/>
                </a:lnTo>
                <a:lnTo>
                  <a:pt x="240" y="36"/>
                </a:lnTo>
                <a:lnTo>
                  <a:pt x="240" y="36"/>
                </a:lnTo>
                <a:lnTo>
                  <a:pt x="240" y="36"/>
                </a:lnTo>
                <a:lnTo>
                  <a:pt x="240" y="36"/>
                </a:lnTo>
                <a:lnTo>
                  <a:pt x="240" y="36"/>
                </a:lnTo>
                <a:lnTo>
                  <a:pt x="240" y="36"/>
                </a:lnTo>
                <a:lnTo>
                  <a:pt x="246" y="36"/>
                </a:lnTo>
                <a:lnTo>
                  <a:pt x="246" y="36"/>
                </a:lnTo>
                <a:lnTo>
                  <a:pt x="246" y="36"/>
                </a:lnTo>
                <a:lnTo>
                  <a:pt x="246" y="36"/>
                </a:lnTo>
                <a:lnTo>
                  <a:pt x="246" y="30"/>
                </a:lnTo>
                <a:lnTo>
                  <a:pt x="246" y="30"/>
                </a:lnTo>
                <a:lnTo>
                  <a:pt x="246" y="30"/>
                </a:lnTo>
                <a:lnTo>
                  <a:pt x="246" y="30"/>
                </a:lnTo>
                <a:lnTo>
                  <a:pt x="246" y="36"/>
                </a:lnTo>
                <a:lnTo>
                  <a:pt x="246" y="36"/>
                </a:lnTo>
                <a:lnTo>
                  <a:pt x="246" y="30"/>
                </a:lnTo>
                <a:lnTo>
                  <a:pt x="246" y="36"/>
                </a:lnTo>
                <a:lnTo>
                  <a:pt x="246" y="30"/>
                </a:lnTo>
                <a:lnTo>
                  <a:pt x="252" y="30"/>
                </a:lnTo>
                <a:lnTo>
                  <a:pt x="252" y="30"/>
                </a:lnTo>
                <a:lnTo>
                  <a:pt x="252" y="36"/>
                </a:lnTo>
                <a:lnTo>
                  <a:pt x="252" y="36"/>
                </a:lnTo>
                <a:lnTo>
                  <a:pt x="252" y="30"/>
                </a:lnTo>
                <a:lnTo>
                  <a:pt x="252" y="30"/>
                </a:lnTo>
                <a:lnTo>
                  <a:pt x="252" y="30"/>
                </a:lnTo>
                <a:lnTo>
                  <a:pt x="252" y="36"/>
                </a:lnTo>
                <a:lnTo>
                  <a:pt x="258" y="36"/>
                </a:lnTo>
                <a:lnTo>
                  <a:pt x="258" y="36"/>
                </a:lnTo>
                <a:lnTo>
                  <a:pt x="258" y="36"/>
                </a:lnTo>
                <a:lnTo>
                  <a:pt x="258" y="36"/>
                </a:lnTo>
                <a:lnTo>
                  <a:pt x="258" y="36"/>
                </a:lnTo>
                <a:lnTo>
                  <a:pt x="258" y="36"/>
                </a:lnTo>
                <a:lnTo>
                  <a:pt x="258" y="36"/>
                </a:lnTo>
                <a:lnTo>
                  <a:pt x="258" y="36"/>
                </a:lnTo>
                <a:lnTo>
                  <a:pt x="258" y="36"/>
                </a:lnTo>
                <a:lnTo>
                  <a:pt x="264" y="36"/>
                </a:lnTo>
                <a:lnTo>
                  <a:pt x="264" y="30"/>
                </a:lnTo>
                <a:lnTo>
                  <a:pt x="264" y="30"/>
                </a:lnTo>
                <a:lnTo>
                  <a:pt x="264" y="30"/>
                </a:lnTo>
                <a:lnTo>
                  <a:pt x="264" y="30"/>
                </a:lnTo>
                <a:lnTo>
                  <a:pt x="264" y="30"/>
                </a:lnTo>
                <a:lnTo>
                  <a:pt x="264" y="30"/>
                </a:lnTo>
                <a:lnTo>
                  <a:pt x="264" y="30"/>
                </a:lnTo>
                <a:lnTo>
                  <a:pt x="264" y="30"/>
                </a:lnTo>
                <a:lnTo>
                  <a:pt x="264" y="30"/>
                </a:lnTo>
                <a:lnTo>
                  <a:pt x="264" y="30"/>
                </a:lnTo>
                <a:lnTo>
                  <a:pt x="264" y="30"/>
                </a:lnTo>
                <a:lnTo>
                  <a:pt x="264" y="30"/>
                </a:lnTo>
                <a:lnTo>
                  <a:pt x="270" y="30"/>
                </a:lnTo>
                <a:lnTo>
                  <a:pt x="270" y="30"/>
                </a:lnTo>
                <a:lnTo>
                  <a:pt x="270" y="36"/>
                </a:lnTo>
                <a:lnTo>
                  <a:pt x="270" y="36"/>
                </a:lnTo>
                <a:lnTo>
                  <a:pt x="264" y="36"/>
                </a:lnTo>
                <a:lnTo>
                  <a:pt x="264" y="36"/>
                </a:lnTo>
                <a:lnTo>
                  <a:pt x="264" y="36"/>
                </a:lnTo>
                <a:lnTo>
                  <a:pt x="264" y="36"/>
                </a:lnTo>
                <a:lnTo>
                  <a:pt x="270" y="36"/>
                </a:lnTo>
                <a:lnTo>
                  <a:pt x="270" y="36"/>
                </a:lnTo>
                <a:lnTo>
                  <a:pt x="264" y="36"/>
                </a:lnTo>
                <a:lnTo>
                  <a:pt x="270" y="42"/>
                </a:lnTo>
                <a:lnTo>
                  <a:pt x="270" y="42"/>
                </a:lnTo>
                <a:lnTo>
                  <a:pt x="264" y="42"/>
                </a:lnTo>
                <a:lnTo>
                  <a:pt x="270" y="48"/>
                </a:lnTo>
                <a:lnTo>
                  <a:pt x="270" y="48"/>
                </a:lnTo>
                <a:lnTo>
                  <a:pt x="270" y="48"/>
                </a:lnTo>
                <a:lnTo>
                  <a:pt x="270" y="48"/>
                </a:lnTo>
                <a:lnTo>
                  <a:pt x="270" y="48"/>
                </a:lnTo>
                <a:lnTo>
                  <a:pt x="270" y="48"/>
                </a:lnTo>
                <a:lnTo>
                  <a:pt x="270" y="54"/>
                </a:lnTo>
                <a:lnTo>
                  <a:pt x="270" y="54"/>
                </a:lnTo>
                <a:lnTo>
                  <a:pt x="270" y="54"/>
                </a:lnTo>
                <a:lnTo>
                  <a:pt x="270" y="54"/>
                </a:lnTo>
                <a:lnTo>
                  <a:pt x="270" y="54"/>
                </a:lnTo>
                <a:lnTo>
                  <a:pt x="270" y="54"/>
                </a:lnTo>
                <a:lnTo>
                  <a:pt x="270" y="54"/>
                </a:lnTo>
                <a:lnTo>
                  <a:pt x="270" y="54"/>
                </a:lnTo>
                <a:lnTo>
                  <a:pt x="276" y="54"/>
                </a:lnTo>
                <a:lnTo>
                  <a:pt x="276" y="60"/>
                </a:lnTo>
                <a:lnTo>
                  <a:pt x="276" y="54"/>
                </a:lnTo>
                <a:lnTo>
                  <a:pt x="276" y="54"/>
                </a:lnTo>
                <a:lnTo>
                  <a:pt x="282" y="54"/>
                </a:lnTo>
                <a:lnTo>
                  <a:pt x="282" y="60"/>
                </a:lnTo>
                <a:lnTo>
                  <a:pt x="282" y="54"/>
                </a:lnTo>
                <a:lnTo>
                  <a:pt x="282" y="54"/>
                </a:lnTo>
                <a:lnTo>
                  <a:pt x="282" y="60"/>
                </a:lnTo>
                <a:lnTo>
                  <a:pt x="282" y="60"/>
                </a:lnTo>
                <a:lnTo>
                  <a:pt x="282" y="60"/>
                </a:lnTo>
                <a:lnTo>
                  <a:pt x="288" y="60"/>
                </a:lnTo>
                <a:lnTo>
                  <a:pt x="288" y="66"/>
                </a:lnTo>
                <a:lnTo>
                  <a:pt x="288" y="66"/>
                </a:lnTo>
                <a:lnTo>
                  <a:pt x="288" y="66"/>
                </a:lnTo>
                <a:lnTo>
                  <a:pt x="294" y="66"/>
                </a:lnTo>
                <a:lnTo>
                  <a:pt x="294" y="66"/>
                </a:lnTo>
                <a:lnTo>
                  <a:pt x="294" y="66"/>
                </a:lnTo>
                <a:lnTo>
                  <a:pt x="300" y="60"/>
                </a:lnTo>
                <a:lnTo>
                  <a:pt x="294" y="66"/>
                </a:lnTo>
                <a:lnTo>
                  <a:pt x="294" y="66"/>
                </a:lnTo>
                <a:lnTo>
                  <a:pt x="294" y="66"/>
                </a:lnTo>
                <a:lnTo>
                  <a:pt x="288" y="66"/>
                </a:lnTo>
                <a:lnTo>
                  <a:pt x="288" y="66"/>
                </a:lnTo>
                <a:lnTo>
                  <a:pt x="282" y="66"/>
                </a:lnTo>
                <a:lnTo>
                  <a:pt x="282" y="72"/>
                </a:lnTo>
                <a:lnTo>
                  <a:pt x="276" y="72"/>
                </a:lnTo>
                <a:lnTo>
                  <a:pt x="276" y="72"/>
                </a:lnTo>
                <a:lnTo>
                  <a:pt x="276" y="72"/>
                </a:lnTo>
                <a:lnTo>
                  <a:pt x="276" y="72"/>
                </a:lnTo>
                <a:lnTo>
                  <a:pt x="276" y="72"/>
                </a:lnTo>
                <a:lnTo>
                  <a:pt x="264" y="84"/>
                </a:lnTo>
                <a:lnTo>
                  <a:pt x="240" y="102"/>
                </a:lnTo>
                <a:lnTo>
                  <a:pt x="246" y="102"/>
                </a:lnTo>
                <a:lnTo>
                  <a:pt x="246" y="102"/>
                </a:lnTo>
                <a:lnTo>
                  <a:pt x="246" y="102"/>
                </a:lnTo>
                <a:lnTo>
                  <a:pt x="252" y="108"/>
                </a:lnTo>
                <a:lnTo>
                  <a:pt x="252" y="108"/>
                </a:lnTo>
                <a:lnTo>
                  <a:pt x="252" y="108"/>
                </a:lnTo>
                <a:lnTo>
                  <a:pt x="252" y="108"/>
                </a:lnTo>
                <a:lnTo>
                  <a:pt x="252" y="114"/>
                </a:lnTo>
                <a:lnTo>
                  <a:pt x="246" y="114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6"/>
                </a:lnTo>
                <a:lnTo>
                  <a:pt x="246" y="126"/>
                </a:lnTo>
                <a:lnTo>
                  <a:pt x="246" y="126"/>
                </a:lnTo>
                <a:lnTo>
                  <a:pt x="240" y="120"/>
                </a:lnTo>
                <a:lnTo>
                  <a:pt x="240" y="120"/>
                </a:lnTo>
                <a:lnTo>
                  <a:pt x="234" y="120"/>
                </a:lnTo>
                <a:lnTo>
                  <a:pt x="234" y="126"/>
                </a:lnTo>
                <a:lnTo>
                  <a:pt x="234" y="126"/>
                </a:lnTo>
                <a:lnTo>
                  <a:pt x="234" y="126"/>
                </a:lnTo>
                <a:lnTo>
                  <a:pt x="234" y="132"/>
                </a:lnTo>
                <a:lnTo>
                  <a:pt x="228" y="132"/>
                </a:lnTo>
                <a:lnTo>
                  <a:pt x="228" y="138"/>
                </a:lnTo>
                <a:lnTo>
                  <a:pt x="228" y="138"/>
                </a:lnTo>
                <a:lnTo>
                  <a:pt x="228" y="138"/>
                </a:lnTo>
                <a:lnTo>
                  <a:pt x="240" y="138"/>
                </a:lnTo>
                <a:lnTo>
                  <a:pt x="240" y="132"/>
                </a:lnTo>
                <a:lnTo>
                  <a:pt x="234" y="138"/>
                </a:lnTo>
                <a:lnTo>
                  <a:pt x="234" y="138"/>
                </a:lnTo>
                <a:lnTo>
                  <a:pt x="234" y="138"/>
                </a:lnTo>
                <a:lnTo>
                  <a:pt x="234" y="144"/>
                </a:lnTo>
                <a:lnTo>
                  <a:pt x="234" y="144"/>
                </a:lnTo>
                <a:lnTo>
                  <a:pt x="228" y="144"/>
                </a:lnTo>
                <a:lnTo>
                  <a:pt x="228" y="144"/>
                </a:lnTo>
                <a:lnTo>
                  <a:pt x="234" y="144"/>
                </a:lnTo>
                <a:lnTo>
                  <a:pt x="234" y="144"/>
                </a:lnTo>
                <a:lnTo>
                  <a:pt x="234" y="144"/>
                </a:lnTo>
                <a:lnTo>
                  <a:pt x="234" y="144"/>
                </a:lnTo>
                <a:lnTo>
                  <a:pt x="234" y="144"/>
                </a:lnTo>
                <a:lnTo>
                  <a:pt x="234" y="150"/>
                </a:lnTo>
                <a:lnTo>
                  <a:pt x="234" y="150"/>
                </a:lnTo>
                <a:lnTo>
                  <a:pt x="234" y="150"/>
                </a:lnTo>
                <a:lnTo>
                  <a:pt x="234" y="150"/>
                </a:lnTo>
                <a:lnTo>
                  <a:pt x="234" y="156"/>
                </a:lnTo>
                <a:lnTo>
                  <a:pt x="228" y="156"/>
                </a:lnTo>
                <a:lnTo>
                  <a:pt x="234" y="162"/>
                </a:lnTo>
                <a:lnTo>
                  <a:pt x="234" y="162"/>
                </a:lnTo>
                <a:lnTo>
                  <a:pt x="234" y="162"/>
                </a:lnTo>
                <a:lnTo>
                  <a:pt x="234" y="162"/>
                </a:lnTo>
                <a:lnTo>
                  <a:pt x="240" y="162"/>
                </a:lnTo>
                <a:lnTo>
                  <a:pt x="240" y="162"/>
                </a:lnTo>
                <a:lnTo>
                  <a:pt x="240" y="162"/>
                </a:lnTo>
                <a:lnTo>
                  <a:pt x="240" y="168"/>
                </a:lnTo>
                <a:lnTo>
                  <a:pt x="240" y="162"/>
                </a:lnTo>
                <a:lnTo>
                  <a:pt x="246" y="168"/>
                </a:lnTo>
                <a:lnTo>
                  <a:pt x="246" y="168"/>
                </a:lnTo>
                <a:lnTo>
                  <a:pt x="246" y="174"/>
                </a:lnTo>
                <a:lnTo>
                  <a:pt x="246" y="174"/>
                </a:lnTo>
                <a:lnTo>
                  <a:pt x="246" y="174"/>
                </a:lnTo>
                <a:lnTo>
                  <a:pt x="252" y="192"/>
                </a:lnTo>
                <a:lnTo>
                  <a:pt x="252" y="210"/>
                </a:lnTo>
                <a:lnTo>
                  <a:pt x="264" y="240"/>
                </a:lnTo>
                <a:lnTo>
                  <a:pt x="264" y="246"/>
                </a:lnTo>
                <a:lnTo>
                  <a:pt x="264" y="246"/>
                </a:lnTo>
                <a:lnTo>
                  <a:pt x="270" y="246"/>
                </a:lnTo>
                <a:lnTo>
                  <a:pt x="276" y="246"/>
                </a:lnTo>
                <a:lnTo>
                  <a:pt x="282" y="246"/>
                </a:lnTo>
                <a:lnTo>
                  <a:pt x="282" y="246"/>
                </a:lnTo>
                <a:lnTo>
                  <a:pt x="282" y="252"/>
                </a:lnTo>
                <a:lnTo>
                  <a:pt x="282" y="252"/>
                </a:lnTo>
                <a:lnTo>
                  <a:pt x="282" y="252"/>
                </a:lnTo>
                <a:lnTo>
                  <a:pt x="282" y="252"/>
                </a:lnTo>
                <a:lnTo>
                  <a:pt x="288" y="252"/>
                </a:lnTo>
                <a:lnTo>
                  <a:pt x="288" y="252"/>
                </a:lnTo>
                <a:lnTo>
                  <a:pt x="288" y="252"/>
                </a:lnTo>
                <a:lnTo>
                  <a:pt x="288" y="252"/>
                </a:lnTo>
                <a:lnTo>
                  <a:pt x="288" y="252"/>
                </a:lnTo>
                <a:lnTo>
                  <a:pt x="288" y="252"/>
                </a:lnTo>
                <a:lnTo>
                  <a:pt x="288" y="252"/>
                </a:lnTo>
                <a:lnTo>
                  <a:pt x="288" y="252"/>
                </a:lnTo>
                <a:lnTo>
                  <a:pt x="288" y="252"/>
                </a:lnTo>
                <a:lnTo>
                  <a:pt x="288" y="252"/>
                </a:lnTo>
                <a:lnTo>
                  <a:pt x="288" y="246"/>
                </a:lnTo>
                <a:lnTo>
                  <a:pt x="288" y="252"/>
                </a:lnTo>
                <a:lnTo>
                  <a:pt x="288" y="258"/>
                </a:lnTo>
                <a:lnTo>
                  <a:pt x="294" y="258"/>
                </a:lnTo>
                <a:lnTo>
                  <a:pt x="294" y="258"/>
                </a:lnTo>
                <a:lnTo>
                  <a:pt x="294" y="258"/>
                </a:lnTo>
                <a:lnTo>
                  <a:pt x="300" y="258"/>
                </a:lnTo>
                <a:lnTo>
                  <a:pt x="300" y="258"/>
                </a:lnTo>
                <a:lnTo>
                  <a:pt x="300" y="264"/>
                </a:lnTo>
                <a:lnTo>
                  <a:pt x="300" y="270"/>
                </a:lnTo>
                <a:lnTo>
                  <a:pt x="300" y="276"/>
                </a:lnTo>
                <a:lnTo>
                  <a:pt x="300" y="276"/>
                </a:lnTo>
                <a:lnTo>
                  <a:pt x="300" y="276"/>
                </a:lnTo>
                <a:lnTo>
                  <a:pt x="300" y="276"/>
                </a:lnTo>
                <a:lnTo>
                  <a:pt x="306" y="282"/>
                </a:lnTo>
                <a:lnTo>
                  <a:pt x="306" y="288"/>
                </a:lnTo>
                <a:lnTo>
                  <a:pt x="306" y="288"/>
                </a:lnTo>
                <a:lnTo>
                  <a:pt x="306" y="288"/>
                </a:lnTo>
                <a:lnTo>
                  <a:pt x="306" y="294"/>
                </a:lnTo>
                <a:lnTo>
                  <a:pt x="306" y="294"/>
                </a:lnTo>
                <a:lnTo>
                  <a:pt x="306" y="294"/>
                </a:lnTo>
                <a:lnTo>
                  <a:pt x="306" y="300"/>
                </a:lnTo>
                <a:lnTo>
                  <a:pt x="306" y="300"/>
                </a:lnTo>
                <a:lnTo>
                  <a:pt x="306" y="300"/>
                </a:lnTo>
                <a:lnTo>
                  <a:pt x="306" y="300"/>
                </a:lnTo>
                <a:lnTo>
                  <a:pt x="300" y="306"/>
                </a:lnTo>
                <a:lnTo>
                  <a:pt x="300" y="312"/>
                </a:lnTo>
                <a:lnTo>
                  <a:pt x="306" y="312"/>
                </a:lnTo>
                <a:lnTo>
                  <a:pt x="306" y="312"/>
                </a:lnTo>
                <a:lnTo>
                  <a:pt x="306" y="312"/>
                </a:lnTo>
                <a:lnTo>
                  <a:pt x="306" y="318"/>
                </a:lnTo>
                <a:lnTo>
                  <a:pt x="306" y="318"/>
                </a:lnTo>
                <a:lnTo>
                  <a:pt x="306" y="318"/>
                </a:lnTo>
                <a:lnTo>
                  <a:pt x="306" y="318"/>
                </a:lnTo>
                <a:lnTo>
                  <a:pt x="306" y="318"/>
                </a:lnTo>
                <a:lnTo>
                  <a:pt x="306" y="324"/>
                </a:lnTo>
                <a:lnTo>
                  <a:pt x="306" y="324"/>
                </a:lnTo>
                <a:lnTo>
                  <a:pt x="306" y="324"/>
                </a:lnTo>
                <a:lnTo>
                  <a:pt x="306" y="324"/>
                </a:lnTo>
                <a:lnTo>
                  <a:pt x="306" y="330"/>
                </a:lnTo>
                <a:lnTo>
                  <a:pt x="300" y="324"/>
                </a:lnTo>
                <a:lnTo>
                  <a:pt x="294" y="330"/>
                </a:lnTo>
                <a:lnTo>
                  <a:pt x="294" y="330"/>
                </a:lnTo>
                <a:lnTo>
                  <a:pt x="294" y="330"/>
                </a:lnTo>
                <a:lnTo>
                  <a:pt x="294" y="330"/>
                </a:lnTo>
                <a:lnTo>
                  <a:pt x="294" y="330"/>
                </a:lnTo>
                <a:lnTo>
                  <a:pt x="294" y="330"/>
                </a:lnTo>
                <a:lnTo>
                  <a:pt x="294" y="330"/>
                </a:lnTo>
                <a:lnTo>
                  <a:pt x="294" y="330"/>
                </a:lnTo>
                <a:lnTo>
                  <a:pt x="294" y="330"/>
                </a:lnTo>
                <a:lnTo>
                  <a:pt x="294" y="330"/>
                </a:lnTo>
                <a:lnTo>
                  <a:pt x="294" y="330"/>
                </a:lnTo>
                <a:lnTo>
                  <a:pt x="288" y="330"/>
                </a:lnTo>
                <a:lnTo>
                  <a:pt x="288" y="330"/>
                </a:lnTo>
                <a:lnTo>
                  <a:pt x="288" y="330"/>
                </a:lnTo>
                <a:lnTo>
                  <a:pt x="288" y="330"/>
                </a:lnTo>
                <a:lnTo>
                  <a:pt x="288" y="330"/>
                </a:lnTo>
                <a:lnTo>
                  <a:pt x="282" y="330"/>
                </a:lnTo>
                <a:lnTo>
                  <a:pt x="282" y="330"/>
                </a:lnTo>
                <a:lnTo>
                  <a:pt x="282" y="330"/>
                </a:lnTo>
                <a:lnTo>
                  <a:pt x="282" y="330"/>
                </a:lnTo>
                <a:lnTo>
                  <a:pt x="282" y="330"/>
                </a:lnTo>
                <a:lnTo>
                  <a:pt x="282" y="330"/>
                </a:lnTo>
                <a:lnTo>
                  <a:pt x="282" y="330"/>
                </a:lnTo>
                <a:lnTo>
                  <a:pt x="282" y="330"/>
                </a:lnTo>
                <a:lnTo>
                  <a:pt x="276" y="336"/>
                </a:lnTo>
                <a:lnTo>
                  <a:pt x="276" y="336"/>
                </a:lnTo>
                <a:lnTo>
                  <a:pt x="276" y="336"/>
                </a:lnTo>
                <a:lnTo>
                  <a:pt x="276" y="336"/>
                </a:lnTo>
                <a:lnTo>
                  <a:pt x="276" y="336"/>
                </a:lnTo>
                <a:lnTo>
                  <a:pt x="276" y="336"/>
                </a:lnTo>
                <a:lnTo>
                  <a:pt x="276" y="336"/>
                </a:lnTo>
                <a:lnTo>
                  <a:pt x="276" y="336"/>
                </a:lnTo>
                <a:lnTo>
                  <a:pt x="270" y="342"/>
                </a:lnTo>
                <a:lnTo>
                  <a:pt x="270" y="342"/>
                </a:lnTo>
                <a:lnTo>
                  <a:pt x="270" y="342"/>
                </a:lnTo>
                <a:lnTo>
                  <a:pt x="270" y="342"/>
                </a:lnTo>
                <a:lnTo>
                  <a:pt x="270" y="342"/>
                </a:lnTo>
                <a:lnTo>
                  <a:pt x="270" y="342"/>
                </a:lnTo>
                <a:lnTo>
                  <a:pt x="270" y="342"/>
                </a:lnTo>
                <a:lnTo>
                  <a:pt x="270" y="342"/>
                </a:lnTo>
                <a:lnTo>
                  <a:pt x="270" y="342"/>
                </a:lnTo>
                <a:lnTo>
                  <a:pt x="270" y="342"/>
                </a:lnTo>
                <a:lnTo>
                  <a:pt x="264" y="342"/>
                </a:lnTo>
                <a:lnTo>
                  <a:pt x="264" y="342"/>
                </a:lnTo>
                <a:lnTo>
                  <a:pt x="264" y="342"/>
                </a:lnTo>
                <a:lnTo>
                  <a:pt x="264" y="342"/>
                </a:lnTo>
                <a:lnTo>
                  <a:pt x="264" y="342"/>
                </a:lnTo>
                <a:lnTo>
                  <a:pt x="264" y="348"/>
                </a:lnTo>
                <a:lnTo>
                  <a:pt x="264" y="348"/>
                </a:lnTo>
                <a:lnTo>
                  <a:pt x="264" y="348"/>
                </a:lnTo>
                <a:lnTo>
                  <a:pt x="264" y="348"/>
                </a:lnTo>
                <a:lnTo>
                  <a:pt x="264" y="348"/>
                </a:lnTo>
                <a:lnTo>
                  <a:pt x="258" y="348"/>
                </a:lnTo>
                <a:lnTo>
                  <a:pt x="258" y="348"/>
                </a:lnTo>
                <a:lnTo>
                  <a:pt x="258" y="348"/>
                </a:lnTo>
                <a:lnTo>
                  <a:pt x="258" y="354"/>
                </a:lnTo>
                <a:lnTo>
                  <a:pt x="258" y="354"/>
                </a:lnTo>
                <a:lnTo>
                  <a:pt x="258" y="354"/>
                </a:lnTo>
                <a:lnTo>
                  <a:pt x="258" y="354"/>
                </a:lnTo>
                <a:lnTo>
                  <a:pt x="258" y="354"/>
                </a:lnTo>
                <a:lnTo>
                  <a:pt x="258" y="354"/>
                </a:lnTo>
                <a:lnTo>
                  <a:pt x="258" y="354"/>
                </a:lnTo>
                <a:lnTo>
                  <a:pt x="258" y="354"/>
                </a:lnTo>
                <a:lnTo>
                  <a:pt x="258" y="354"/>
                </a:lnTo>
                <a:lnTo>
                  <a:pt x="252" y="354"/>
                </a:lnTo>
                <a:lnTo>
                  <a:pt x="252" y="354"/>
                </a:lnTo>
                <a:lnTo>
                  <a:pt x="252" y="354"/>
                </a:lnTo>
                <a:lnTo>
                  <a:pt x="252" y="354"/>
                </a:lnTo>
                <a:lnTo>
                  <a:pt x="252" y="354"/>
                </a:lnTo>
                <a:lnTo>
                  <a:pt x="252" y="354"/>
                </a:lnTo>
                <a:lnTo>
                  <a:pt x="252" y="354"/>
                </a:lnTo>
                <a:lnTo>
                  <a:pt x="252" y="354"/>
                </a:lnTo>
                <a:lnTo>
                  <a:pt x="252" y="354"/>
                </a:lnTo>
                <a:lnTo>
                  <a:pt x="252" y="354"/>
                </a:lnTo>
                <a:lnTo>
                  <a:pt x="252" y="354"/>
                </a:lnTo>
                <a:lnTo>
                  <a:pt x="246" y="354"/>
                </a:lnTo>
                <a:lnTo>
                  <a:pt x="246" y="354"/>
                </a:lnTo>
                <a:lnTo>
                  <a:pt x="246" y="354"/>
                </a:lnTo>
                <a:lnTo>
                  <a:pt x="246" y="354"/>
                </a:lnTo>
                <a:lnTo>
                  <a:pt x="246" y="360"/>
                </a:lnTo>
                <a:lnTo>
                  <a:pt x="246" y="360"/>
                </a:lnTo>
                <a:lnTo>
                  <a:pt x="246" y="360"/>
                </a:lnTo>
                <a:lnTo>
                  <a:pt x="246" y="360"/>
                </a:lnTo>
                <a:lnTo>
                  <a:pt x="246" y="360"/>
                </a:lnTo>
                <a:lnTo>
                  <a:pt x="246" y="360"/>
                </a:lnTo>
                <a:lnTo>
                  <a:pt x="246" y="360"/>
                </a:lnTo>
                <a:lnTo>
                  <a:pt x="240" y="360"/>
                </a:lnTo>
                <a:lnTo>
                  <a:pt x="240" y="360"/>
                </a:lnTo>
                <a:lnTo>
                  <a:pt x="240" y="360"/>
                </a:lnTo>
                <a:lnTo>
                  <a:pt x="240" y="360"/>
                </a:lnTo>
                <a:lnTo>
                  <a:pt x="240" y="360"/>
                </a:lnTo>
                <a:lnTo>
                  <a:pt x="240" y="360"/>
                </a:lnTo>
                <a:lnTo>
                  <a:pt x="240" y="360"/>
                </a:lnTo>
                <a:lnTo>
                  <a:pt x="240" y="366"/>
                </a:lnTo>
                <a:lnTo>
                  <a:pt x="240" y="366"/>
                </a:lnTo>
                <a:lnTo>
                  <a:pt x="240" y="366"/>
                </a:lnTo>
                <a:lnTo>
                  <a:pt x="234" y="366"/>
                </a:lnTo>
                <a:lnTo>
                  <a:pt x="234" y="366"/>
                </a:lnTo>
                <a:lnTo>
                  <a:pt x="234" y="366"/>
                </a:lnTo>
                <a:lnTo>
                  <a:pt x="234" y="366"/>
                </a:lnTo>
                <a:lnTo>
                  <a:pt x="234" y="366"/>
                </a:lnTo>
                <a:lnTo>
                  <a:pt x="234" y="366"/>
                </a:lnTo>
                <a:lnTo>
                  <a:pt x="234" y="366"/>
                </a:lnTo>
                <a:lnTo>
                  <a:pt x="234" y="366"/>
                </a:lnTo>
                <a:lnTo>
                  <a:pt x="228" y="366"/>
                </a:lnTo>
                <a:lnTo>
                  <a:pt x="228" y="366"/>
                </a:lnTo>
                <a:lnTo>
                  <a:pt x="228" y="366"/>
                </a:lnTo>
                <a:lnTo>
                  <a:pt x="228" y="366"/>
                </a:lnTo>
                <a:lnTo>
                  <a:pt x="228" y="366"/>
                </a:lnTo>
                <a:lnTo>
                  <a:pt x="228" y="366"/>
                </a:lnTo>
                <a:lnTo>
                  <a:pt x="228" y="366"/>
                </a:lnTo>
                <a:lnTo>
                  <a:pt x="228" y="366"/>
                </a:lnTo>
                <a:lnTo>
                  <a:pt x="228" y="366"/>
                </a:lnTo>
                <a:lnTo>
                  <a:pt x="228" y="360"/>
                </a:lnTo>
                <a:lnTo>
                  <a:pt x="222" y="360"/>
                </a:lnTo>
                <a:lnTo>
                  <a:pt x="222" y="360"/>
                </a:lnTo>
                <a:lnTo>
                  <a:pt x="222" y="360"/>
                </a:lnTo>
                <a:lnTo>
                  <a:pt x="222" y="366"/>
                </a:lnTo>
                <a:lnTo>
                  <a:pt x="222" y="360"/>
                </a:lnTo>
                <a:lnTo>
                  <a:pt x="222" y="360"/>
                </a:lnTo>
                <a:lnTo>
                  <a:pt x="222" y="366"/>
                </a:lnTo>
                <a:lnTo>
                  <a:pt x="222" y="360"/>
                </a:lnTo>
                <a:lnTo>
                  <a:pt x="222" y="360"/>
                </a:lnTo>
                <a:lnTo>
                  <a:pt x="222" y="360"/>
                </a:lnTo>
                <a:lnTo>
                  <a:pt x="222" y="360"/>
                </a:lnTo>
                <a:lnTo>
                  <a:pt x="222" y="360"/>
                </a:lnTo>
                <a:lnTo>
                  <a:pt x="222" y="360"/>
                </a:lnTo>
                <a:lnTo>
                  <a:pt x="216" y="360"/>
                </a:lnTo>
                <a:lnTo>
                  <a:pt x="216" y="360"/>
                </a:lnTo>
                <a:lnTo>
                  <a:pt x="216" y="360"/>
                </a:lnTo>
                <a:lnTo>
                  <a:pt x="216" y="360"/>
                </a:lnTo>
                <a:lnTo>
                  <a:pt x="216" y="360"/>
                </a:lnTo>
                <a:lnTo>
                  <a:pt x="216" y="360"/>
                </a:lnTo>
                <a:lnTo>
                  <a:pt x="216" y="360"/>
                </a:lnTo>
                <a:lnTo>
                  <a:pt x="216" y="360"/>
                </a:lnTo>
                <a:lnTo>
                  <a:pt x="216" y="360"/>
                </a:lnTo>
                <a:lnTo>
                  <a:pt x="210" y="360"/>
                </a:lnTo>
                <a:lnTo>
                  <a:pt x="210" y="360"/>
                </a:lnTo>
                <a:lnTo>
                  <a:pt x="210" y="360"/>
                </a:lnTo>
                <a:lnTo>
                  <a:pt x="210" y="360"/>
                </a:lnTo>
                <a:lnTo>
                  <a:pt x="210" y="366"/>
                </a:lnTo>
                <a:lnTo>
                  <a:pt x="210" y="366"/>
                </a:lnTo>
                <a:lnTo>
                  <a:pt x="210" y="360"/>
                </a:lnTo>
                <a:lnTo>
                  <a:pt x="210" y="366"/>
                </a:lnTo>
                <a:lnTo>
                  <a:pt x="210" y="366"/>
                </a:lnTo>
                <a:lnTo>
                  <a:pt x="210" y="366"/>
                </a:lnTo>
                <a:lnTo>
                  <a:pt x="210" y="366"/>
                </a:lnTo>
                <a:lnTo>
                  <a:pt x="210" y="366"/>
                </a:lnTo>
                <a:lnTo>
                  <a:pt x="210" y="318"/>
                </a:lnTo>
                <a:lnTo>
                  <a:pt x="222" y="264"/>
                </a:lnTo>
                <a:lnTo>
                  <a:pt x="222" y="240"/>
                </a:lnTo>
                <a:lnTo>
                  <a:pt x="222" y="234"/>
                </a:lnTo>
                <a:lnTo>
                  <a:pt x="216" y="234"/>
                </a:lnTo>
                <a:lnTo>
                  <a:pt x="216" y="234"/>
                </a:lnTo>
                <a:lnTo>
                  <a:pt x="216" y="234"/>
                </a:lnTo>
                <a:lnTo>
                  <a:pt x="216" y="234"/>
                </a:lnTo>
                <a:lnTo>
                  <a:pt x="210" y="234"/>
                </a:lnTo>
                <a:lnTo>
                  <a:pt x="210" y="234"/>
                </a:lnTo>
                <a:lnTo>
                  <a:pt x="210" y="234"/>
                </a:lnTo>
                <a:lnTo>
                  <a:pt x="210" y="234"/>
                </a:lnTo>
                <a:lnTo>
                  <a:pt x="210" y="234"/>
                </a:lnTo>
                <a:lnTo>
                  <a:pt x="210" y="234"/>
                </a:lnTo>
                <a:lnTo>
                  <a:pt x="210" y="234"/>
                </a:lnTo>
                <a:lnTo>
                  <a:pt x="204" y="234"/>
                </a:lnTo>
                <a:lnTo>
                  <a:pt x="204" y="234"/>
                </a:lnTo>
                <a:lnTo>
                  <a:pt x="204" y="228"/>
                </a:lnTo>
                <a:lnTo>
                  <a:pt x="204" y="228"/>
                </a:lnTo>
                <a:lnTo>
                  <a:pt x="204" y="228"/>
                </a:lnTo>
                <a:lnTo>
                  <a:pt x="204" y="228"/>
                </a:lnTo>
                <a:lnTo>
                  <a:pt x="204" y="228"/>
                </a:lnTo>
                <a:lnTo>
                  <a:pt x="204" y="228"/>
                </a:lnTo>
                <a:lnTo>
                  <a:pt x="204" y="228"/>
                </a:lnTo>
                <a:lnTo>
                  <a:pt x="204" y="228"/>
                </a:lnTo>
                <a:lnTo>
                  <a:pt x="198" y="228"/>
                </a:lnTo>
                <a:lnTo>
                  <a:pt x="198" y="228"/>
                </a:lnTo>
                <a:lnTo>
                  <a:pt x="198" y="228"/>
                </a:lnTo>
                <a:lnTo>
                  <a:pt x="198" y="228"/>
                </a:lnTo>
                <a:lnTo>
                  <a:pt x="198" y="228"/>
                </a:lnTo>
                <a:lnTo>
                  <a:pt x="198" y="228"/>
                </a:lnTo>
                <a:lnTo>
                  <a:pt x="198" y="228"/>
                </a:lnTo>
                <a:lnTo>
                  <a:pt x="192" y="228"/>
                </a:lnTo>
                <a:lnTo>
                  <a:pt x="192" y="228"/>
                </a:lnTo>
                <a:lnTo>
                  <a:pt x="192" y="228"/>
                </a:lnTo>
                <a:lnTo>
                  <a:pt x="186" y="228"/>
                </a:lnTo>
                <a:lnTo>
                  <a:pt x="186" y="228"/>
                </a:lnTo>
                <a:lnTo>
                  <a:pt x="186" y="228"/>
                </a:lnTo>
                <a:lnTo>
                  <a:pt x="186" y="228"/>
                </a:lnTo>
                <a:lnTo>
                  <a:pt x="186" y="222"/>
                </a:lnTo>
                <a:lnTo>
                  <a:pt x="186" y="222"/>
                </a:lnTo>
                <a:lnTo>
                  <a:pt x="186" y="228"/>
                </a:lnTo>
                <a:lnTo>
                  <a:pt x="186" y="228"/>
                </a:lnTo>
                <a:lnTo>
                  <a:pt x="180" y="228"/>
                </a:lnTo>
                <a:lnTo>
                  <a:pt x="180" y="228"/>
                </a:lnTo>
                <a:lnTo>
                  <a:pt x="180" y="228"/>
                </a:lnTo>
                <a:lnTo>
                  <a:pt x="180" y="228"/>
                </a:lnTo>
                <a:lnTo>
                  <a:pt x="168" y="204"/>
                </a:lnTo>
                <a:lnTo>
                  <a:pt x="162" y="204"/>
                </a:lnTo>
                <a:lnTo>
                  <a:pt x="162" y="210"/>
                </a:lnTo>
                <a:lnTo>
                  <a:pt x="162" y="210"/>
                </a:lnTo>
                <a:lnTo>
                  <a:pt x="162" y="210"/>
                </a:lnTo>
                <a:lnTo>
                  <a:pt x="162" y="210"/>
                </a:lnTo>
                <a:lnTo>
                  <a:pt x="162" y="210"/>
                </a:lnTo>
                <a:lnTo>
                  <a:pt x="162" y="210"/>
                </a:lnTo>
                <a:lnTo>
                  <a:pt x="162" y="210"/>
                </a:lnTo>
                <a:lnTo>
                  <a:pt x="156" y="216"/>
                </a:lnTo>
                <a:lnTo>
                  <a:pt x="156" y="216"/>
                </a:lnTo>
                <a:lnTo>
                  <a:pt x="156" y="216"/>
                </a:lnTo>
                <a:lnTo>
                  <a:pt x="156" y="210"/>
                </a:lnTo>
                <a:lnTo>
                  <a:pt x="156" y="210"/>
                </a:lnTo>
                <a:lnTo>
                  <a:pt x="156" y="216"/>
                </a:lnTo>
                <a:lnTo>
                  <a:pt x="156" y="216"/>
                </a:lnTo>
                <a:lnTo>
                  <a:pt x="156" y="216"/>
                </a:lnTo>
                <a:lnTo>
                  <a:pt x="156" y="216"/>
                </a:lnTo>
                <a:lnTo>
                  <a:pt x="156" y="216"/>
                </a:lnTo>
                <a:lnTo>
                  <a:pt x="150" y="216"/>
                </a:lnTo>
                <a:lnTo>
                  <a:pt x="150" y="216"/>
                </a:lnTo>
                <a:lnTo>
                  <a:pt x="156" y="216"/>
                </a:lnTo>
                <a:lnTo>
                  <a:pt x="156" y="222"/>
                </a:lnTo>
                <a:lnTo>
                  <a:pt x="150" y="222"/>
                </a:lnTo>
                <a:lnTo>
                  <a:pt x="156" y="222"/>
                </a:lnTo>
                <a:lnTo>
                  <a:pt x="156" y="222"/>
                </a:lnTo>
                <a:lnTo>
                  <a:pt x="156" y="222"/>
                </a:lnTo>
                <a:lnTo>
                  <a:pt x="150" y="222"/>
                </a:lnTo>
                <a:lnTo>
                  <a:pt x="150" y="222"/>
                </a:lnTo>
                <a:lnTo>
                  <a:pt x="150" y="222"/>
                </a:lnTo>
                <a:lnTo>
                  <a:pt x="150" y="222"/>
                </a:lnTo>
                <a:lnTo>
                  <a:pt x="150" y="222"/>
                </a:lnTo>
                <a:lnTo>
                  <a:pt x="150" y="222"/>
                </a:lnTo>
                <a:lnTo>
                  <a:pt x="150" y="222"/>
                </a:lnTo>
                <a:lnTo>
                  <a:pt x="150" y="222"/>
                </a:lnTo>
                <a:lnTo>
                  <a:pt x="150" y="222"/>
                </a:lnTo>
                <a:lnTo>
                  <a:pt x="150" y="228"/>
                </a:lnTo>
                <a:lnTo>
                  <a:pt x="150" y="228"/>
                </a:lnTo>
                <a:lnTo>
                  <a:pt x="150" y="222"/>
                </a:lnTo>
                <a:lnTo>
                  <a:pt x="144" y="228"/>
                </a:lnTo>
                <a:lnTo>
                  <a:pt x="144" y="228"/>
                </a:lnTo>
                <a:lnTo>
                  <a:pt x="150" y="228"/>
                </a:lnTo>
                <a:lnTo>
                  <a:pt x="150" y="228"/>
                </a:lnTo>
                <a:lnTo>
                  <a:pt x="150" y="228"/>
                </a:lnTo>
                <a:lnTo>
                  <a:pt x="144" y="228"/>
                </a:lnTo>
                <a:lnTo>
                  <a:pt x="144" y="228"/>
                </a:lnTo>
                <a:lnTo>
                  <a:pt x="144" y="228"/>
                </a:lnTo>
                <a:lnTo>
                  <a:pt x="144" y="228"/>
                </a:lnTo>
                <a:lnTo>
                  <a:pt x="144" y="228"/>
                </a:lnTo>
                <a:lnTo>
                  <a:pt x="144" y="228"/>
                </a:lnTo>
                <a:lnTo>
                  <a:pt x="144" y="228"/>
                </a:lnTo>
                <a:lnTo>
                  <a:pt x="144" y="228"/>
                </a:lnTo>
                <a:lnTo>
                  <a:pt x="144" y="228"/>
                </a:lnTo>
                <a:lnTo>
                  <a:pt x="144" y="228"/>
                </a:lnTo>
                <a:lnTo>
                  <a:pt x="144" y="228"/>
                </a:lnTo>
                <a:lnTo>
                  <a:pt x="144" y="228"/>
                </a:lnTo>
                <a:lnTo>
                  <a:pt x="144" y="228"/>
                </a:lnTo>
                <a:lnTo>
                  <a:pt x="144" y="228"/>
                </a:lnTo>
                <a:lnTo>
                  <a:pt x="138" y="228"/>
                </a:lnTo>
                <a:lnTo>
                  <a:pt x="138" y="228"/>
                </a:lnTo>
                <a:lnTo>
                  <a:pt x="138" y="228"/>
                </a:lnTo>
                <a:lnTo>
                  <a:pt x="138" y="228"/>
                </a:lnTo>
                <a:lnTo>
                  <a:pt x="138" y="234"/>
                </a:lnTo>
                <a:lnTo>
                  <a:pt x="138" y="234"/>
                </a:lnTo>
                <a:lnTo>
                  <a:pt x="138" y="228"/>
                </a:lnTo>
                <a:lnTo>
                  <a:pt x="138" y="228"/>
                </a:lnTo>
                <a:lnTo>
                  <a:pt x="138" y="234"/>
                </a:lnTo>
                <a:lnTo>
                  <a:pt x="138" y="234"/>
                </a:lnTo>
                <a:lnTo>
                  <a:pt x="138" y="228"/>
                </a:lnTo>
                <a:lnTo>
                  <a:pt x="138" y="234"/>
                </a:lnTo>
                <a:lnTo>
                  <a:pt x="138" y="234"/>
                </a:lnTo>
                <a:lnTo>
                  <a:pt x="138" y="234"/>
                </a:lnTo>
                <a:lnTo>
                  <a:pt x="138" y="234"/>
                </a:lnTo>
                <a:lnTo>
                  <a:pt x="132" y="234"/>
                </a:lnTo>
                <a:lnTo>
                  <a:pt x="132" y="234"/>
                </a:lnTo>
                <a:lnTo>
                  <a:pt x="132" y="234"/>
                </a:lnTo>
                <a:lnTo>
                  <a:pt x="132" y="234"/>
                </a:lnTo>
                <a:lnTo>
                  <a:pt x="132" y="234"/>
                </a:lnTo>
                <a:lnTo>
                  <a:pt x="132" y="234"/>
                </a:lnTo>
                <a:lnTo>
                  <a:pt x="132" y="234"/>
                </a:lnTo>
                <a:lnTo>
                  <a:pt x="132" y="234"/>
                </a:lnTo>
                <a:lnTo>
                  <a:pt x="132" y="234"/>
                </a:lnTo>
                <a:lnTo>
                  <a:pt x="132" y="234"/>
                </a:lnTo>
                <a:lnTo>
                  <a:pt x="126" y="234"/>
                </a:lnTo>
                <a:lnTo>
                  <a:pt x="126" y="234"/>
                </a:lnTo>
                <a:lnTo>
                  <a:pt x="126" y="234"/>
                </a:lnTo>
                <a:lnTo>
                  <a:pt x="126" y="240"/>
                </a:lnTo>
                <a:lnTo>
                  <a:pt x="132" y="240"/>
                </a:lnTo>
                <a:lnTo>
                  <a:pt x="126" y="240"/>
                </a:lnTo>
                <a:lnTo>
                  <a:pt x="126" y="240"/>
                </a:lnTo>
                <a:lnTo>
                  <a:pt x="126" y="240"/>
                </a:lnTo>
                <a:lnTo>
                  <a:pt x="126" y="240"/>
                </a:lnTo>
                <a:lnTo>
                  <a:pt x="126" y="240"/>
                </a:lnTo>
                <a:lnTo>
                  <a:pt x="126" y="240"/>
                </a:lnTo>
                <a:lnTo>
                  <a:pt x="126" y="240"/>
                </a:lnTo>
                <a:lnTo>
                  <a:pt x="120" y="240"/>
                </a:lnTo>
                <a:lnTo>
                  <a:pt x="120" y="240"/>
                </a:lnTo>
                <a:lnTo>
                  <a:pt x="120" y="240"/>
                </a:lnTo>
                <a:lnTo>
                  <a:pt x="120" y="240"/>
                </a:lnTo>
                <a:lnTo>
                  <a:pt x="120" y="240"/>
                </a:lnTo>
                <a:lnTo>
                  <a:pt x="120" y="240"/>
                </a:lnTo>
                <a:lnTo>
                  <a:pt x="120" y="240"/>
                </a:lnTo>
                <a:lnTo>
                  <a:pt x="120" y="240"/>
                </a:lnTo>
                <a:lnTo>
                  <a:pt x="120" y="240"/>
                </a:lnTo>
                <a:lnTo>
                  <a:pt x="120" y="240"/>
                </a:lnTo>
                <a:lnTo>
                  <a:pt x="120" y="240"/>
                </a:lnTo>
                <a:lnTo>
                  <a:pt x="114" y="240"/>
                </a:lnTo>
                <a:lnTo>
                  <a:pt x="120" y="240"/>
                </a:lnTo>
                <a:lnTo>
                  <a:pt x="114" y="240"/>
                </a:lnTo>
                <a:lnTo>
                  <a:pt x="114" y="234"/>
                </a:lnTo>
                <a:lnTo>
                  <a:pt x="120" y="234"/>
                </a:lnTo>
                <a:lnTo>
                  <a:pt x="120" y="228"/>
                </a:lnTo>
                <a:lnTo>
                  <a:pt x="126" y="228"/>
                </a:lnTo>
                <a:lnTo>
                  <a:pt x="126" y="228"/>
                </a:lnTo>
                <a:lnTo>
                  <a:pt x="126" y="228"/>
                </a:lnTo>
                <a:lnTo>
                  <a:pt x="126" y="222"/>
                </a:lnTo>
                <a:lnTo>
                  <a:pt x="126" y="222"/>
                </a:lnTo>
                <a:lnTo>
                  <a:pt x="126" y="216"/>
                </a:lnTo>
                <a:lnTo>
                  <a:pt x="126" y="216"/>
                </a:lnTo>
                <a:lnTo>
                  <a:pt x="126" y="210"/>
                </a:lnTo>
                <a:lnTo>
                  <a:pt x="114" y="210"/>
                </a:lnTo>
                <a:lnTo>
                  <a:pt x="114" y="216"/>
                </a:lnTo>
                <a:lnTo>
                  <a:pt x="114" y="216"/>
                </a:lnTo>
                <a:lnTo>
                  <a:pt x="114" y="216"/>
                </a:lnTo>
                <a:lnTo>
                  <a:pt x="114" y="216"/>
                </a:lnTo>
                <a:lnTo>
                  <a:pt x="114" y="216"/>
                </a:lnTo>
                <a:lnTo>
                  <a:pt x="114" y="216"/>
                </a:lnTo>
                <a:lnTo>
                  <a:pt x="114" y="216"/>
                </a:lnTo>
                <a:lnTo>
                  <a:pt x="114" y="222"/>
                </a:lnTo>
                <a:lnTo>
                  <a:pt x="108" y="216"/>
                </a:lnTo>
                <a:lnTo>
                  <a:pt x="108" y="222"/>
                </a:lnTo>
                <a:lnTo>
                  <a:pt x="108" y="222"/>
                </a:lnTo>
                <a:lnTo>
                  <a:pt x="108" y="222"/>
                </a:lnTo>
                <a:lnTo>
                  <a:pt x="102" y="222"/>
                </a:lnTo>
                <a:lnTo>
                  <a:pt x="102" y="222"/>
                </a:lnTo>
                <a:lnTo>
                  <a:pt x="102" y="222"/>
                </a:lnTo>
                <a:lnTo>
                  <a:pt x="102" y="222"/>
                </a:lnTo>
                <a:lnTo>
                  <a:pt x="96" y="222"/>
                </a:lnTo>
                <a:lnTo>
                  <a:pt x="96" y="222"/>
                </a:lnTo>
                <a:lnTo>
                  <a:pt x="96" y="222"/>
                </a:lnTo>
                <a:lnTo>
                  <a:pt x="96" y="222"/>
                </a:lnTo>
                <a:lnTo>
                  <a:pt x="96" y="222"/>
                </a:lnTo>
                <a:lnTo>
                  <a:pt x="90" y="222"/>
                </a:lnTo>
                <a:lnTo>
                  <a:pt x="90" y="222"/>
                </a:lnTo>
                <a:lnTo>
                  <a:pt x="90" y="228"/>
                </a:lnTo>
                <a:lnTo>
                  <a:pt x="90" y="228"/>
                </a:lnTo>
                <a:lnTo>
                  <a:pt x="84" y="228"/>
                </a:lnTo>
                <a:lnTo>
                  <a:pt x="84" y="228"/>
                </a:lnTo>
                <a:lnTo>
                  <a:pt x="84" y="222"/>
                </a:lnTo>
                <a:lnTo>
                  <a:pt x="90" y="222"/>
                </a:lnTo>
                <a:lnTo>
                  <a:pt x="90" y="222"/>
                </a:lnTo>
                <a:lnTo>
                  <a:pt x="90" y="222"/>
                </a:lnTo>
                <a:lnTo>
                  <a:pt x="90" y="222"/>
                </a:lnTo>
                <a:lnTo>
                  <a:pt x="90" y="222"/>
                </a:lnTo>
                <a:lnTo>
                  <a:pt x="90" y="222"/>
                </a:lnTo>
                <a:lnTo>
                  <a:pt x="90" y="216"/>
                </a:lnTo>
                <a:lnTo>
                  <a:pt x="90" y="216"/>
                </a:lnTo>
                <a:lnTo>
                  <a:pt x="90" y="216"/>
                </a:lnTo>
                <a:lnTo>
                  <a:pt x="96" y="216"/>
                </a:lnTo>
                <a:lnTo>
                  <a:pt x="96" y="216"/>
                </a:lnTo>
                <a:lnTo>
                  <a:pt x="96" y="216"/>
                </a:lnTo>
                <a:lnTo>
                  <a:pt x="96" y="210"/>
                </a:lnTo>
                <a:lnTo>
                  <a:pt x="96" y="210"/>
                </a:lnTo>
                <a:lnTo>
                  <a:pt x="96" y="210"/>
                </a:lnTo>
                <a:lnTo>
                  <a:pt x="96" y="210"/>
                </a:lnTo>
                <a:lnTo>
                  <a:pt x="96" y="210"/>
                </a:lnTo>
                <a:lnTo>
                  <a:pt x="96" y="210"/>
                </a:lnTo>
                <a:lnTo>
                  <a:pt x="96" y="210"/>
                </a:lnTo>
                <a:lnTo>
                  <a:pt x="96" y="210"/>
                </a:lnTo>
                <a:lnTo>
                  <a:pt x="102" y="210"/>
                </a:lnTo>
                <a:lnTo>
                  <a:pt x="102" y="210"/>
                </a:lnTo>
                <a:lnTo>
                  <a:pt x="102" y="210"/>
                </a:lnTo>
                <a:lnTo>
                  <a:pt x="102" y="210"/>
                </a:lnTo>
                <a:lnTo>
                  <a:pt x="102" y="210"/>
                </a:lnTo>
                <a:lnTo>
                  <a:pt x="102" y="204"/>
                </a:lnTo>
                <a:lnTo>
                  <a:pt x="102" y="204"/>
                </a:lnTo>
                <a:lnTo>
                  <a:pt x="102" y="204"/>
                </a:lnTo>
                <a:lnTo>
                  <a:pt x="102" y="204"/>
                </a:lnTo>
                <a:lnTo>
                  <a:pt x="102" y="204"/>
                </a:lnTo>
                <a:lnTo>
                  <a:pt x="108" y="204"/>
                </a:lnTo>
                <a:lnTo>
                  <a:pt x="108" y="198"/>
                </a:lnTo>
                <a:lnTo>
                  <a:pt x="108" y="198"/>
                </a:lnTo>
                <a:lnTo>
                  <a:pt x="108" y="198"/>
                </a:lnTo>
                <a:lnTo>
                  <a:pt x="102" y="198"/>
                </a:lnTo>
                <a:lnTo>
                  <a:pt x="108" y="192"/>
                </a:lnTo>
                <a:lnTo>
                  <a:pt x="108" y="192"/>
                </a:lnTo>
                <a:lnTo>
                  <a:pt x="102" y="192"/>
                </a:lnTo>
                <a:lnTo>
                  <a:pt x="102" y="192"/>
                </a:lnTo>
                <a:lnTo>
                  <a:pt x="102" y="192"/>
                </a:lnTo>
                <a:lnTo>
                  <a:pt x="102" y="192"/>
                </a:lnTo>
                <a:lnTo>
                  <a:pt x="102" y="192"/>
                </a:lnTo>
                <a:lnTo>
                  <a:pt x="96" y="192"/>
                </a:lnTo>
                <a:lnTo>
                  <a:pt x="96" y="186"/>
                </a:lnTo>
                <a:lnTo>
                  <a:pt x="96" y="186"/>
                </a:lnTo>
                <a:lnTo>
                  <a:pt x="96" y="186"/>
                </a:lnTo>
                <a:lnTo>
                  <a:pt x="96" y="186"/>
                </a:lnTo>
                <a:lnTo>
                  <a:pt x="96" y="186"/>
                </a:lnTo>
                <a:lnTo>
                  <a:pt x="90" y="186"/>
                </a:lnTo>
                <a:lnTo>
                  <a:pt x="90" y="186"/>
                </a:lnTo>
                <a:lnTo>
                  <a:pt x="90" y="186"/>
                </a:lnTo>
                <a:lnTo>
                  <a:pt x="90" y="186"/>
                </a:lnTo>
                <a:lnTo>
                  <a:pt x="84" y="180"/>
                </a:lnTo>
                <a:lnTo>
                  <a:pt x="84" y="180"/>
                </a:lnTo>
                <a:lnTo>
                  <a:pt x="84" y="180"/>
                </a:lnTo>
                <a:lnTo>
                  <a:pt x="84" y="180"/>
                </a:lnTo>
                <a:lnTo>
                  <a:pt x="84" y="180"/>
                </a:lnTo>
                <a:lnTo>
                  <a:pt x="84" y="180"/>
                </a:lnTo>
                <a:lnTo>
                  <a:pt x="84" y="174"/>
                </a:lnTo>
                <a:lnTo>
                  <a:pt x="84" y="174"/>
                </a:lnTo>
                <a:lnTo>
                  <a:pt x="84" y="174"/>
                </a:lnTo>
                <a:lnTo>
                  <a:pt x="84" y="174"/>
                </a:lnTo>
                <a:lnTo>
                  <a:pt x="84" y="168"/>
                </a:lnTo>
                <a:lnTo>
                  <a:pt x="84" y="168"/>
                </a:lnTo>
                <a:lnTo>
                  <a:pt x="84" y="168"/>
                </a:lnTo>
                <a:lnTo>
                  <a:pt x="84" y="168"/>
                </a:lnTo>
                <a:lnTo>
                  <a:pt x="84" y="168"/>
                </a:lnTo>
                <a:lnTo>
                  <a:pt x="84" y="162"/>
                </a:lnTo>
                <a:lnTo>
                  <a:pt x="90" y="162"/>
                </a:lnTo>
                <a:lnTo>
                  <a:pt x="90" y="162"/>
                </a:lnTo>
                <a:lnTo>
                  <a:pt x="90" y="162"/>
                </a:lnTo>
                <a:lnTo>
                  <a:pt x="90" y="162"/>
                </a:lnTo>
                <a:lnTo>
                  <a:pt x="90" y="162"/>
                </a:lnTo>
                <a:lnTo>
                  <a:pt x="90" y="156"/>
                </a:lnTo>
                <a:lnTo>
                  <a:pt x="96" y="156"/>
                </a:lnTo>
                <a:lnTo>
                  <a:pt x="96" y="156"/>
                </a:lnTo>
                <a:lnTo>
                  <a:pt x="90" y="156"/>
                </a:lnTo>
                <a:lnTo>
                  <a:pt x="96" y="156"/>
                </a:lnTo>
                <a:lnTo>
                  <a:pt x="96" y="150"/>
                </a:lnTo>
                <a:lnTo>
                  <a:pt x="96" y="150"/>
                </a:lnTo>
                <a:lnTo>
                  <a:pt x="60" y="162"/>
                </a:lnTo>
                <a:lnTo>
                  <a:pt x="60" y="162"/>
                </a:lnTo>
                <a:lnTo>
                  <a:pt x="60" y="162"/>
                </a:lnTo>
                <a:lnTo>
                  <a:pt x="60" y="162"/>
                </a:lnTo>
                <a:lnTo>
                  <a:pt x="60" y="162"/>
                </a:lnTo>
                <a:lnTo>
                  <a:pt x="60" y="162"/>
                </a:lnTo>
                <a:lnTo>
                  <a:pt x="54" y="162"/>
                </a:lnTo>
                <a:lnTo>
                  <a:pt x="54" y="162"/>
                </a:lnTo>
                <a:lnTo>
                  <a:pt x="54" y="162"/>
                </a:lnTo>
                <a:lnTo>
                  <a:pt x="54" y="162"/>
                </a:lnTo>
                <a:lnTo>
                  <a:pt x="54" y="162"/>
                </a:lnTo>
                <a:lnTo>
                  <a:pt x="48" y="162"/>
                </a:lnTo>
                <a:lnTo>
                  <a:pt x="48" y="162"/>
                </a:lnTo>
                <a:lnTo>
                  <a:pt x="48" y="162"/>
                </a:lnTo>
                <a:lnTo>
                  <a:pt x="48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56"/>
                </a:lnTo>
                <a:lnTo>
                  <a:pt x="42" y="156"/>
                </a:lnTo>
                <a:lnTo>
                  <a:pt x="42" y="156"/>
                </a:lnTo>
                <a:lnTo>
                  <a:pt x="36" y="156"/>
                </a:lnTo>
                <a:lnTo>
                  <a:pt x="36" y="156"/>
                </a:lnTo>
                <a:lnTo>
                  <a:pt x="36" y="156"/>
                </a:lnTo>
                <a:lnTo>
                  <a:pt x="30" y="156"/>
                </a:lnTo>
                <a:lnTo>
                  <a:pt x="30" y="156"/>
                </a:lnTo>
                <a:lnTo>
                  <a:pt x="30" y="162"/>
                </a:lnTo>
                <a:lnTo>
                  <a:pt x="30" y="162"/>
                </a:lnTo>
                <a:lnTo>
                  <a:pt x="24" y="162"/>
                </a:lnTo>
                <a:lnTo>
                  <a:pt x="24" y="162"/>
                </a:lnTo>
                <a:lnTo>
                  <a:pt x="24" y="162"/>
                </a:lnTo>
                <a:lnTo>
                  <a:pt x="24" y="162"/>
                </a:lnTo>
                <a:lnTo>
                  <a:pt x="24" y="162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18" y="168"/>
                </a:lnTo>
                <a:lnTo>
                  <a:pt x="18" y="168"/>
                </a:lnTo>
                <a:lnTo>
                  <a:pt x="18" y="162"/>
                </a:lnTo>
                <a:lnTo>
                  <a:pt x="18" y="162"/>
                </a:lnTo>
                <a:lnTo>
                  <a:pt x="18" y="162"/>
                </a:lnTo>
                <a:lnTo>
                  <a:pt x="0" y="16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88" name="Freeform 521"/>
          <p:cNvSpPr>
            <a:spLocks/>
          </p:cNvSpPr>
          <p:nvPr/>
        </p:nvSpPr>
        <p:spPr bwMode="auto">
          <a:xfrm>
            <a:off x="5830430" y="2554677"/>
            <a:ext cx="449683" cy="340477"/>
          </a:xfrm>
          <a:custGeom>
            <a:avLst/>
            <a:gdLst>
              <a:gd name="T0" fmla="*/ 24 w 420"/>
              <a:gd name="T1" fmla="*/ 78 h 318"/>
              <a:gd name="T2" fmla="*/ 42 w 420"/>
              <a:gd name="T3" fmla="*/ 66 h 318"/>
              <a:gd name="T4" fmla="*/ 60 w 420"/>
              <a:gd name="T5" fmla="*/ 60 h 318"/>
              <a:gd name="T6" fmla="*/ 78 w 420"/>
              <a:gd name="T7" fmla="*/ 72 h 318"/>
              <a:gd name="T8" fmla="*/ 102 w 420"/>
              <a:gd name="T9" fmla="*/ 72 h 318"/>
              <a:gd name="T10" fmla="*/ 114 w 420"/>
              <a:gd name="T11" fmla="*/ 66 h 318"/>
              <a:gd name="T12" fmla="*/ 150 w 420"/>
              <a:gd name="T13" fmla="*/ 48 h 318"/>
              <a:gd name="T14" fmla="*/ 198 w 420"/>
              <a:gd name="T15" fmla="*/ 30 h 318"/>
              <a:gd name="T16" fmla="*/ 204 w 420"/>
              <a:gd name="T17" fmla="*/ 24 h 318"/>
              <a:gd name="T18" fmla="*/ 216 w 420"/>
              <a:gd name="T19" fmla="*/ 24 h 318"/>
              <a:gd name="T20" fmla="*/ 216 w 420"/>
              <a:gd name="T21" fmla="*/ 18 h 318"/>
              <a:gd name="T22" fmla="*/ 222 w 420"/>
              <a:gd name="T23" fmla="*/ 18 h 318"/>
              <a:gd name="T24" fmla="*/ 228 w 420"/>
              <a:gd name="T25" fmla="*/ 24 h 318"/>
              <a:gd name="T26" fmla="*/ 234 w 420"/>
              <a:gd name="T27" fmla="*/ 18 h 318"/>
              <a:gd name="T28" fmla="*/ 246 w 420"/>
              <a:gd name="T29" fmla="*/ 12 h 318"/>
              <a:gd name="T30" fmla="*/ 264 w 420"/>
              <a:gd name="T31" fmla="*/ 6 h 318"/>
              <a:gd name="T32" fmla="*/ 282 w 420"/>
              <a:gd name="T33" fmla="*/ 6 h 318"/>
              <a:gd name="T34" fmla="*/ 330 w 420"/>
              <a:gd name="T35" fmla="*/ 18 h 318"/>
              <a:gd name="T36" fmla="*/ 414 w 420"/>
              <a:gd name="T37" fmla="*/ 54 h 318"/>
              <a:gd name="T38" fmla="*/ 390 w 420"/>
              <a:gd name="T39" fmla="*/ 72 h 318"/>
              <a:gd name="T40" fmla="*/ 396 w 420"/>
              <a:gd name="T41" fmla="*/ 90 h 318"/>
              <a:gd name="T42" fmla="*/ 390 w 420"/>
              <a:gd name="T43" fmla="*/ 114 h 318"/>
              <a:gd name="T44" fmla="*/ 372 w 420"/>
              <a:gd name="T45" fmla="*/ 144 h 318"/>
              <a:gd name="T46" fmla="*/ 360 w 420"/>
              <a:gd name="T47" fmla="*/ 162 h 318"/>
              <a:gd name="T48" fmla="*/ 360 w 420"/>
              <a:gd name="T49" fmla="*/ 198 h 318"/>
              <a:gd name="T50" fmla="*/ 348 w 420"/>
              <a:gd name="T51" fmla="*/ 204 h 318"/>
              <a:gd name="T52" fmla="*/ 342 w 420"/>
              <a:gd name="T53" fmla="*/ 210 h 318"/>
              <a:gd name="T54" fmla="*/ 330 w 420"/>
              <a:gd name="T55" fmla="*/ 216 h 318"/>
              <a:gd name="T56" fmla="*/ 324 w 420"/>
              <a:gd name="T57" fmla="*/ 216 h 318"/>
              <a:gd name="T58" fmla="*/ 312 w 420"/>
              <a:gd name="T59" fmla="*/ 222 h 318"/>
              <a:gd name="T60" fmla="*/ 306 w 420"/>
              <a:gd name="T61" fmla="*/ 222 h 318"/>
              <a:gd name="T62" fmla="*/ 294 w 420"/>
              <a:gd name="T63" fmla="*/ 222 h 318"/>
              <a:gd name="T64" fmla="*/ 288 w 420"/>
              <a:gd name="T65" fmla="*/ 228 h 318"/>
              <a:gd name="T66" fmla="*/ 282 w 420"/>
              <a:gd name="T67" fmla="*/ 234 h 318"/>
              <a:gd name="T68" fmla="*/ 276 w 420"/>
              <a:gd name="T69" fmla="*/ 240 h 318"/>
              <a:gd name="T70" fmla="*/ 264 w 420"/>
              <a:gd name="T71" fmla="*/ 240 h 318"/>
              <a:gd name="T72" fmla="*/ 252 w 420"/>
              <a:gd name="T73" fmla="*/ 246 h 318"/>
              <a:gd name="T74" fmla="*/ 240 w 420"/>
              <a:gd name="T75" fmla="*/ 252 h 318"/>
              <a:gd name="T76" fmla="*/ 234 w 420"/>
              <a:gd name="T77" fmla="*/ 264 h 318"/>
              <a:gd name="T78" fmla="*/ 216 w 420"/>
              <a:gd name="T79" fmla="*/ 270 h 318"/>
              <a:gd name="T80" fmla="*/ 204 w 420"/>
              <a:gd name="T81" fmla="*/ 276 h 318"/>
              <a:gd name="T82" fmla="*/ 204 w 420"/>
              <a:gd name="T83" fmla="*/ 288 h 318"/>
              <a:gd name="T84" fmla="*/ 186 w 420"/>
              <a:gd name="T85" fmla="*/ 294 h 318"/>
              <a:gd name="T86" fmla="*/ 144 w 420"/>
              <a:gd name="T87" fmla="*/ 288 h 318"/>
              <a:gd name="T88" fmla="*/ 120 w 420"/>
              <a:gd name="T89" fmla="*/ 312 h 318"/>
              <a:gd name="T90" fmla="*/ 114 w 420"/>
              <a:gd name="T91" fmla="*/ 306 h 318"/>
              <a:gd name="T92" fmla="*/ 108 w 420"/>
              <a:gd name="T93" fmla="*/ 300 h 318"/>
              <a:gd name="T94" fmla="*/ 96 w 420"/>
              <a:gd name="T95" fmla="*/ 282 h 318"/>
              <a:gd name="T96" fmla="*/ 102 w 420"/>
              <a:gd name="T97" fmla="*/ 270 h 318"/>
              <a:gd name="T98" fmla="*/ 102 w 420"/>
              <a:gd name="T99" fmla="*/ 258 h 318"/>
              <a:gd name="T100" fmla="*/ 96 w 420"/>
              <a:gd name="T101" fmla="*/ 246 h 318"/>
              <a:gd name="T102" fmla="*/ 96 w 420"/>
              <a:gd name="T103" fmla="*/ 228 h 318"/>
              <a:gd name="T104" fmla="*/ 96 w 420"/>
              <a:gd name="T105" fmla="*/ 216 h 318"/>
              <a:gd name="T106" fmla="*/ 84 w 420"/>
              <a:gd name="T107" fmla="*/ 198 h 318"/>
              <a:gd name="T108" fmla="*/ 84 w 420"/>
              <a:gd name="T109" fmla="*/ 186 h 318"/>
              <a:gd name="T110" fmla="*/ 78 w 420"/>
              <a:gd name="T111" fmla="*/ 174 h 318"/>
              <a:gd name="T112" fmla="*/ 78 w 420"/>
              <a:gd name="T113" fmla="*/ 168 h 318"/>
              <a:gd name="T114" fmla="*/ 84 w 420"/>
              <a:gd name="T115" fmla="*/ 156 h 318"/>
              <a:gd name="T116" fmla="*/ 90 w 420"/>
              <a:gd name="T117" fmla="*/ 144 h 318"/>
              <a:gd name="T118" fmla="*/ 96 w 420"/>
              <a:gd name="T119" fmla="*/ 120 h 318"/>
              <a:gd name="T120" fmla="*/ 66 w 420"/>
              <a:gd name="T121" fmla="*/ 114 h 318"/>
              <a:gd name="T122" fmla="*/ 18 w 420"/>
              <a:gd name="T123" fmla="*/ 96 h 3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20" h="318">
                <a:moveTo>
                  <a:pt x="0" y="90"/>
                </a:moveTo>
                <a:lnTo>
                  <a:pt x="0" y="90"/>
                </a:lnTo>
                <a:lnTo>
                  <a:pt x="0" y="84"/>
                </a:lnTo>
                <a:lnTo>
                  <a:pt x="0" y="84"/>
                </a:lnTo>
                <a:lnTo>
                  <a:pt x="6" y="84"/>
                </a:lnTo>
                <a:lnTo>
                  <a:pt x="12" y="84"/>
                </a:lnTo>
                <a:lnTo>
                  <a:pt x="12" y="84"/>
                </a:lnTo>
                <a:lnTo>
                  <a:pt x="12" y="78"/>
                </a:lnTo>
                <a:lnTo>
                  <a:pt x="18" y="84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2"/>
                </a:lnTo>
                <a:lnTo>
                  <a:pt x="30" y="72"/>
                </a:lnTo>
                <a:lnTo>
                  <a:pt x="30" y="72"/>
                </a:lnTo>
                <a:lnTo>
                  <a:pt x="36" y="72"/>
                </a:lnTo>
                <a:lnTo>
                  <a:pt x="36" y="72"/>
                </a:lnTo>
                <a:lnTo>
                  <a:pt x="36" y="72"/>
                </a:lnTo>
                <a:lnTo>
                  <a:pt x="36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8" y="66"/>
                </a:lnTo>
                <a:lnTo>
                  <a:pt x="48" y="66"/>
                </a:lnTo>
                <a:lnTo>
                  <a:pt x="48" y="60"/>
                </a:lnTo>
                <a:lnTo>
                  <a:pt x="48" y="60"/>
                </a:lnTo>
                <a:lnTo>
                  <a:pt x="54" y="60"/>
                </a:lnTo>
                <a:lnTo>
                  <a:pt x="54" y="60"/>
                </a:lnTo>
                <a:lnTo>
                  <a:pt x="54" y="54"/>
                </a:lnTo>
                <a:lnTo>
                  <a:pt x="54" y="60"/>
                </a:lnTo>
                <a:lnTo>
                  <a:pt x="60" y="60"/>
                </a:lnTo>
                <a:lnTo>
                  <a:pt x="60" y="60"/>
                </a:lnTo>
                <a:lnTo>
                  <a:pt x="60" y="66"/>
                </a:lnTo>
                <a:lnTo>
                  <a:pt x="60" y="60"/>
                </a:lnTo>
                <a:lnTo>
                  <a:pt x="60" y="60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72"/>
                </a:lnTo>
                <a:lnTo>
                  <a:pt x="60" y="72"/>
                </a:lnTo>
                <a:lnTo>
                  <a:pt x="66" y="72"/>
                </a:lnTo>
                <a:lnTo>
                  <a:pt x="66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2"/>
                </a:lnTo>
                <a:lnTo>
                  <a:pt x="108" y="72"/>
                </a:lnTo>
                <a:lnTo>
                  <a:pt x="108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20" y="66"/>
                </a:lnTo>
                <a:lnTo>
                  <a:pt x="132" y="66"/>
                </a:lnTo>
                <a:lnTo>
                  <a:pt x="138" y="60"/>
                </a:lnTo>
                <a:lnTo>
                  <a:pt x="138" y="60"/>
                </a:lnTo>
                <a:lnTo>
                  <a:pt x="138" y="54"/>
                </a:lnTo>
                <a:lnTo>
                  <a:pt x="138" y="54"/>
                </a:lnTo>
                <a:lnTo>
                  <a:pt x="138" y="54"/>
                </a:lnTo>
                <a:lnTo>
                  <a:pt x="144" y="54"/>
                </a:lnTo>
                <a:lnTo>
                  <a:pt x="144" y="48"/>
                </a:lnTo>
                <a:lnTo>
                  <a:pt x="144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42"/>
                </a:lnTo>
                <a:lnTo>
                  <a:pt x="156" y="42"/>
                </a:lnTo>
                <a:lnTo>
                  <a:pt x="156" y="42"/>
                </a:lnTo>
                <a:lnTo>
                  <a:pt x="162" y="30"/>
                </a:lnTo>
                <a:lnTo>
                  <a:pt x="168" y="30"/>
                </a:lnTo>
                <a:lnTo>
                  <a:pt x="174" y="30"/>
                </a:lnTo>
                <a:lnTo>
                  <a:pt x="192" y="30"/>
                </a:lnTo>
                <a:lnTo>
                  <a:pt x="198" y="30"/>
                </a:lnTo>
                <a:lnTo>
                  <a:pt x="198" y="30"/>
                </a:lnTo>
                <a:lnTo>
                  <a:pt x="198" y="30"/>
                </a:lnTo>
                <a:lnTo>
                  <a:pt x="198" y="30"/>
                </a:lnTo>
                <a:lnTo>
                  <a:pt x="198" y="24"/>
                </a:lnTo>
                <a:lnTo>
                  <a:pt x="198" y="24"/>
                </a:lnTo>
                <a:lnTo>
                  <a:pt x="198" y="24"/>
                </a:lnTo>
                <a:lnTo>
                  <a:pt x="198" y="24"/>
                </a:lnTo>
                <a:lnTo>
                  <a:pt x="204" y="24"/>
                </a:lnTo>
                <a:lnTo>
                  <a:pt x="204" y="24"/>
                </a:lnTo>
                <a:lnTo>
                  <a:pt x="204" y="24"/>
                </a:lnTo>
                <a:lnTo>
                  <a:pt x="204" y="24"/>
                </a:lnTo>
                <a:lnTo>
                  <a:pt x="204" y="24"/>
                </a:lnTo>
                <a:lnTo>
                  <a:pt x="204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6" y="24"/>
                </a:lnTo>
                <a:lnTo>
                  <a:pt x="216" y="24"/>
                </a:lnTo>
                <a:lnTo>
                  <a:pt x="216" y="24"/>
                </a:lnTo>
                <a:lnTo>
                  <a:pt x="216" y="24"/>
                </a:lnTo>
                <a:lnTo>
                  <a:pt x="216" y="24"/>
                </a:lnTo>
                <a:lnTo>
                  <a:pt x="216" y="24"/>
                </a:lnTo>
                <a:lnTo>
                  <a:pt x="216" y="24"/>
                </a:lnTo>
                <a:lnTo>
                  <a:pt x="216" y="18"/>
                </a:lnTo>
                <a:lnTo>
                  <a:pt x="216" y="18"/>
                </a:lnTo>
                <a:lnTo>
                  <a:pt x="216" y="18"/>
                </a:lnTo>
                <a:lnTo>
                  <a:pt x="216" y="18"/>
                </a:lnTo>
                <a:lnTo>
                  <a:pt x="216" y="18"/>
                </a:lnTo>
                <a:lnTo>
                  <a:pt x="216" y="18"/>
                </a:lnTo>
                <a:lnTo>
                  <a:pt x="216" y="18"/>
                </a:lnTo>
                <a:lnTo>
                  <a:pt x="216" y="18"/>
                </a:lnTo>
                <a:lnTo>
                  <a:pt x="216" y="18"/>
                </a:lnTo>
                <a:lnTo>
                  <a:pt x="216" y="18"/>
                </a:lnTo>
                <a:lnTo>
                  <a:pt x="216" y="18"/>
                </a:lnTo>
                <a:lnTo>
                  <a:pt x="222" y="18"/>
                </a:lnTo>
                <a:lnTo>
                  <a:pt x="222" y="18"/>
                </a:lnTo>
                <a:lnTo>
                  <a:pt x="222" y="18"/>
                </a:lnTo>
                <a:lnTo>
                  <a:pt x="222" y="18"/>
                </a:lnTo>
                <a:lnTo>
                  <a:pt x="222" y="18"/>
                </a:lnTo>
                <a:lnTo>
                  <a:pt x="222" y="18"/>
                </a:lnTo>
                <a:lnTo>
                  <a:pt x="222" y="18"/>
                </a:lnTo>
                <a:lnTo>
                  <a:pt x="222" y="18"/>
                </a:lnTo>
                <a:lnTo>
                  <a:pt x="222" y="18"/>
                </a:lnTo>
                <a:lnTo>
                  <a:pt x="222" y="18"/>
                </a:lnTo>
                <a:lnTo>
                  <a:pt x="222" y="18"/>
                </a:lnTo>
                <a:lnTo>
                  <a:pt x="222" y="18"/>
                </a:lnTo>
                <a:lnTo>
                  <a:pt x="222" y="18"/>
                </a:lnTo>
                <a:lnTo>
                  <a:pt x="222" y="24"/>
                </a:lnTo>
                <a:lnTo>
                  <a:pt x="222" y="24"/>
                </a:lnTo>
                <a:lnTo>
                  <a:pt x="222" y="24"/>
                </a:lnTo>
                <a:lnTo>
                  <a:pt x="222" y="24"/>
                </a:lnTo>
                <a:lnTo>
                  <a:pt x="222" y="24"/>
                </a:lnTo>
                <a:lnTo>
                  <a:pt x="228" y="24"/>
                </a:lnTo>
                <a:lnTo>
                  <a:pt x="228" y="24"/>
                </a:lnTo>
                <a:lnTo>
                  <a:pt x="228" y="24"/>
                </a:lnTo>
                <a:lnTo>
                  <a:pt x="228" y="24"/>
                </a:lnTo>
                <a:lnTo>
                  <a:pt x="228" y="24"/>
                </a:lnTo>
                <a:lnTo>
                  <a:pt x="228" y="24"/>
                </a:lnTo>
                <a:lnTo>
                  <a:pt x="228" y="24"/>
                </a:lnTo>
                <a:lnTo>
                  <a:pt x="228" y="24"/>
                </a:lnTo>
                <a:lnTo>
                  <a:pt x="228" y="24"/>
                </a:lnTo>
                <a:lnTo>
                  <a:pt x="228" y="24"/>
                </a:lnTo>
                <a:lnTo>
                  <a:pt x="228" y="24"/>
                </a:lnTo>
                <a:lnTo>
                  <a:pt x="228" y="24"/>
                </a:lnTo>
                <a:lnTo>
                  <a:pt x="234" y="24"/>
                </a:lnTo>
                <a:lnTo>
                  <a:pt x="234" y="24"/>
                </a:lnTo>
                <a:lnTo>
                  <a:pt x="234" y="24"/>
                </a:lnTo>
                <a:lnTo>
                  <a:pt x="234" y="18"/>
                </a:lnTo>
                <a:lnTo>
                  <a:pt x="234" y="18"/>
                </a:lnTo>
                <a:lnTo>
                  <a:pt x="234" y="18"/>
                </a:lnTo>
                <a:lnTo>
                  <a:pt x="240" y="18"/>
                </a:lnTo>
                <a:lnTo>
                  <a:pt x="240" y="18"/>
                </a:lnTo>
                <a:lnTo>
                  <a:pt x="240" y="18"/>
                </a:lnTo>
                <a:lnTo>
                  <a:pt x="240" y="18"/>
                </a:lnTo>
                <a:lnTo>
                  <a:pt x="246" y="18"/>
                </a:lnTo>
                <a:lnTo>
                  <a:pt x="246" y="18"/>
                </a:lnTo>
                <a:lnTo>
                  <a:pt x="246" y="18"/>
                </a:lnTo>
                <a:lnTo>
                  <a:pt x="246" y="18"/>
                </a:lnTo>
                <a:lnTo>
                  <a:pt x="246" y="18"/>
                </a:lnTo>
                <a:lnTo>
                  <a:pt x="246" y="18"/>
                </a:lnTo>
                <a:lnTo>
                  <a:pt x="246" y="12"/>
                </a:lnTo>
                <a:lnTo>
                  <a:pt x="246" y="12"/>
                </a:lnTo>
                <a:lnTo>
                  <a:pt x="252" y="12"/>
                </a:lnTo>
                <a:lnTo>
                  <a:pt x="252" y="12"/>
                </a:lnTo>
                <a:lnTo>
                  <a:pt x="252" y="12"/>
                </a:lnTo>
                <a:lnTo>
                  <a:pt x="252" y="6"/>
                </a:lnTo>
                <a:lnTo>
                  <a:pt x="258" y="6"/>
                </a:lnTo>
                <a:lnTo>
                  <a:pt x="258" y="6"/>
                </a:lnTo>
                <a:lnTo>
                  <a:pt x="258" y="6"/>
                </a:lnTo>
                <a:lnTo>
                  <a:pt x="258" y="6"/>
                </a:lnTo>
                <a:lnTo>
                  <a:pt x="258" y="6"/>
                </a:lnTo>
                <a:lnTo>
                  <a:pt x="258" y="6"/>
                </a:lnTo>
                <a:lnTo>
                  <a:pt x="264" y="6"/>
                </a:lnTo>
                <a:lnTo>
                  <a:pt x="264" y="6"/>
                </a:lnTo>
                <a:lnTo>
                  <a:pt x="264" y="6"/>
                </a:lnTo>
                <a:lnTo>
                  <a:pt x="264" y="6"/>
                </a:lnTo>
                <a:lnTo>
                  <a:pt x="264" y="6"/>
                </a:lnTo>
                <a:lnTo>
                  <a:pt x="264" y="6"/>
                </a:lnTo>
                <a:lnTo>
                  <a:pt x="270" y="6"/>
                </a:lnTo>
                <a:lnTo>
                  <a:pt x="270" y="0"/>
                </a:lnTo>
                <a:lnTo>
                  <a:pt x="270" y="6"/>
                </a:lnTo>
                <a:lnTo>
                  <a:pt x="270" y="0"/>
                </a:lnTo>
                <a:lnTo>
                  <a:pt x="270" y="0"/>
                </a:lnTo>
                <a:lnTo>
                  <a:pt x="276" y="6"/>
                </a:lnTo>
                <a:lnTo>
                  <a:pt x="276" y="6"/>
                </a:lnTo>
                <a:lnTo>
                  <a:pt x="276" y="6"/>
                </a:lnTo>
                <a:lnTo>
                  <a:pt x="276" y="0"/>
                </a:lnTo>
                <a:lnTo>
                  <a:pt x="282" y="6"/>
                </a:lnTo>
                <a:lnTo>
                  <a:pt x="282" y="6"/>
                </a:lnTo>
                <a:lnTo>
                  <a:pt x="288" y="6"/>
                </a:lnTo>
                <a:lnTo>
                  <a:pt x="288" y="6"/>
                </a:lnTo>
                <a:lnTo>
                  <a:pt x="294" y="6"/>
                </a:lnTo>
                <a:lnTo>
                  <a:pt x="294" y="6"/>
                </a:lnTo>
                <a:lnTo>
                  <a:pt x="294" y="12"/>
                </a:lnTo>
                <a:lnTo>
                  <a:pt x="300" y="12"/>
                </a:lnTo>
                <a:lnTo>
                  <a:pt x="306" y="12"/>
                </a:lnTo>
                <a:lnTo>
                  <a:pt x="312" y="18"/>
                </a:lnTo>
                <a:lnTo>
                  <a:pt x="312" y="18"/>
                </a:lnTo>
                <a:lnTo>
                  <a:pt x="318" y="18"/>
                </a:lnTo>
                <a:lnTo>
                  <a:pt x="324" y="18"/>
                </a:lnTo>
                <a:lnTo>
                  <a:pt x="330" y="18"/>
                </a:lnTo>
                <a:lnTo>
                  <a:pt x="336" y="18"/>
                </a:lnTo>
                <a:lnTo>
                  <a:pt x="348" y="12"/>
                </a:lnTo>
                <a:lnTo>
                  <a:pt x="348" y="12"/>
                </a:lnTo>
                <a:lnTo>
                  <a:pt x="378" y="24"/>
                </a:lnTo>
                <a:lnTo>
                  <a:pt x="390" y="30"/>
                </a:lnTo>
                <a:lnTo>
                  <a:pt x="414" y="48"/>
                </a:lnTo>
                <a:lnTo>
                  <a:pt x="420" y="48"/>
                </a:lnTo>
                <a:lnTo>
                  <a:pt x="420" y="48"/>
                </a:lnTo>
                <a:lnTo>
                  <a:pt x="420" y="48"/>
                </a:lnTo>
                <a:lnTo>
                  <a:pt x="420" y="48"/>
                </a:lnTo>
                <a:lnTo>
                  <a:pt x="414" y="54"/>
                </a:lnTo>
                <a:lnTo>
                  <a:pt x="414" y="54"/>
                </a:lnTo>
                <a:lnTo>
                  <a:pt x="414" y="54"/>
                </a:lnTo>
                <a:lnTo>
                  <a:pt x="414" y="60"/>
                </a:lnTo>
                <a:lnTo>
                  <a:pt x="408" y="60"/>
                </a:lnTo>
                <a:lnTo>
                  <a:pt x="402" y="60"/>
                </a:lnTo>
                <a:lnTo>
                  <a:pt x="402" y="60"/>
                </a:lnTo>
                <a:lnTo>
                  <a:pt x="402" y="60"/>
                </a:lnTo>
                <a:lnTo>
                  <a:pt x="402" y="60"/>
                </a:lnTo>
                <a:lnTo>
                  <a:pt x="402" y="60"/>
                </a:lnTo>
                <a:lnTo>
                  <a:pt x="402" y="60"/>
                </a:lnTo>
                <a:lnTo>
                  <a:pt x="402" y="60"/>
                </a:lnTo>
                <a:lnTo>
                  <a:pt x="396" y="66"/>
                </a:lnTo>
                <a:lnTo>
                  <a:pt x="396" y="66"/>
                </a:lnTo>
                <a:lnTo>
                  <a:pt x="390" y="66"/>
                </a:lnTo>
                <a:lnTo>
                  <a:pt x="390" y="72"/>
                </a:lnTo>
                <a:lnTo>
                  <a:pt x="390" y="72"/>
                </a:lnTo>
                <a:lnTo>
                  <a:pt x="390" y="78"/>
                </a:lnTo>
                <a:lnTo>
                  <a:pt x="396" y="78"/>
                </a:lnTo>
                <a:lnTo>
                  <a:pt x="396" y="78"/>
                </a:lnTo>
                <a:lnTo>
                  <a:pt x="396" y="78"/>
                </a:lnTo>
                <a:lnTo>
                  <a:pt x="396" y="84"/>
                </a:lnTo>
                <a:lnTo>
                  <a:pt x="396" y="84"/>
                </a:lnTo>
                <a:lnTo>
                  <a:pt x="396" y="84"/>
                </a:lnTo>
                <a:lnTo>
                  <a:pt x="396" y="84"/>
                </a:lnTo>
                <a:lnTo>
                  <a:pt x="396" y="84"/>
                </a:lnTo>
                <a:lnTo>
                  <a:pt x="396" y="90"/>
                </a:lnTo>
                <a:lnTo>
                  <a:pt x="396" y="90"/>
                </a:lnTo>
                <a:lnTo>
                  <a:pt x="396" y="90"/>
                </a:lnTo>
                <a:lnTo>
                  <a:pt x="402" y="96"/>
                </a:lnTo>
                <a:lnTo>
                  <a:pt x="402" y="96"/>
                </a:lnTo>
                <a:lnTo>
                  <a:pt x="402" y="102"/>
                </a:lnTo>
                <a:lnTo>
                  <a:pt x="402" y="102"/>
                </a:lnTo>
                <a:lnTo>
                  <a:pt x="402" y="102"/>
                </a:lnTo>
                <a:lnTo>
                  <a:pt x="396" y="108"/>
                </a:lnTo>
                <a:lnTo>
                  <a:pt x="402" y="108"/>
                </a:lnTo>
                <a:lnTo>
                  <a:pt x="402" y="114"/>
                </a:lnTo>
                <a:lnTo>
                  <a:pt x="396" y="114"/>
                </a:lnTo>
                <a:lnTo>
                  <a:pt x="396" y="114"/>
                </a:lnTo>
                <a:lnTo>
                  <a:pt x="396" y="114"/>
                </a:lnTo>
                <a:lnTo>
                  <a:pt x="396" y="114"/>
                </a:lnTo>
                <a:lnTo>
                  <a:pt x="390" y="114"/>
                </a:lnTo>
                <a:lnTo>
                  <a:pt x="390" y="120"/>
                </a:lnTo>
                <a:lnTo>
                  <a:pt x="390" y="120"/>
                </a:lnTo>
                <a:lnTo>
                  <a:pt x="390" y="120"/>
                </a:lnTo>
                <a:lnTo>
                  <a:pt x="384" y="126"/>
                </a:lnTo>
                <a:lnTo>
                  <a:pt x="384" y="132"/>
                </a:lnTo>
                <a:lnTo>
                  <a:pt x="378" y="132"/>
                </a:lnTo>
                <a:lnTo>
                  <a:pt x="378" y="132"/>
                </a:lnTo>
                <a:lnTo>
                  <a:pt x="378" y="132"/>
                </a:lnTo>
                <a:lnTo>
                  <a:pt x="378" y="132"/>
                </a:lnTo>
                <a:lnTo>
                  <a:pt x="372" y="138"/>
                </a:lnTo>
                <a:lnTo>
                  <a:pt x="372" y="138"/>
                </a:lnTo>
                <a:lnTo>
                  <a:pt x="372" y="144"/>
                </a:lnTo>
                <a:lnTo>
                  <a:pt x="372" y="144"/>
                </a:lnTo>
                <a:lnTo>
                  <a:pt x="372" y="144"/>
                </a:lnTo>
                <a:lnTo>
                  <a:pt x="366" y="144"/>
                </a:lnTo>
                <a:lnTo>
                  <a:pt x="366" y="144"/>
                </a:lnTo>
                <a:lnTo>
                  <a:pt x="366" y="144"/>
                </a:lnTo>
                <a:lnTo>
                  <a:pt x="366" y="150"/>
                </a:lnTo>
                <a:lnTo>
                  <a:pt x="360" y="150"/>
                </a:lnTo>
                <a:lnTo>
                  <a:pt x="360" y="150"/>
                </a:lnTo>
                <a:lnTo>
                  <a:pt x="360" y="156"/>
                </a:lnTo>
                <a:lnTo>
                  <a:pt x="360" y="156"/>
                </a:lnTo>
                <a:lnTo>
                  <a:pt x="360" y="156"/>
                </a:lnTo>
                <a:lnTo>
                  <a:pt x="360" y="156"/>
                </a:lnTo>
                <a:lnTo>
                  <a:pt x="360" y="162"/>
                </a:lnTo>
                <a:lnTo>
                  <a:pt x="360" y="162"/>
                </a:lnTo>
                <a:lnTo>
                  <a:pt x="354" y="168"/>
                </a:lnTo>
                <a:lnTo>
                  <a:pt x="354" y="174"/>
                </a:lnTo>
                <a:lnTo>
                  <a:pt x="354" y="180"/>
                </a:lnTo>
                <a:lnTo>
                  <a:pt x="354" y="180"/>
                </a:lnTo>
                <a:lnTo>
                  <a:pt x="354" y="186"/>
                </a:lnTo>
                <a:lnTo>
                  <a:pt x="354" y="186"/>
                </a:lnTo>
                <a:lnTo>
                  <a:pt x="360" y="192"/>
                </a:lnTo>
                <a:lnTo>
                  <a:pt x="360" y="192"/>
                </a:lnTo>
                <a:lnTo>
                  <a:pt x="360" y="192"/>
                </a:lnTo>
                <a:lnTo>
                  <a:pt x="360" y="198"/>
                </a:lnTo>
                <a:lnTo>
                  <a:pt x="360" y="198"/>
                </a:lnTo>
                <a:lnTo>
                  <a:pt x="360" y="198"/>
                </a:lnTo>
                <a:lnTo>
                  <a:pt x="360" y="198"/>
                </a:lnTo>
                <a:lnTo>
                  <a:pt x="360" y="198"/>
                </a:lnTo>
                <a:lnTo>
                  <a:pt x="360" y="198"/>
                </a:lnTo>
                <a:lnTo>
                  <a:pt x="354" y="198"/>
                </a:lnTo>
                <a:lnTo>
                  <a:pt x="354" y="198"/>
                </a:lnTo>
                <a:lnTo>
                  <a:pt x="354" y="204"/>
                </a:lnTo>
                <a:lnTo>
                  <a:pt x="354" y="198"/>
                </a:lnTo>
                <a:lnTo>
                  <a:pt x="354" y="198"/>
                </a:lnTo>
                <a:lnTo>
                  <a:pt x="354" y="204"/>
                </a:lnTo>
                <a:lnTo>
                  <a:pt x="354" y="204"/>
                </a:lnTo>
                <a:lnTo>
                  <a:pt x="354" y="204"/>
                </a:lnTo>
                <a:lnTo>
                  <a:pt x="354" y="204"/>
                </a:lnTo>
                <a:lnTo>
                  <a:pt x="348" y="204"/>
                </a:lnTo>
                <a:lnTo>
                  <a:pt x="348" y="204"/>
                </a:lnTo>
                <a:lnTo>
                  <a:pt x="354" y="204"/>
                </a:lnTo>
                <a:lnTo>
                  <a:pt x="354" y="204"/>
                </a:lnTo>
                <a:lnTo>
                  <a:pt x="354" y="210"/>
                </a:lnTo>
                <a:lnTo>
                  <a:pt x="348" y="204"/>
                </a:lnTo>
                <a:lnTo>
                  <a:pt x="348" y="204"/>
                </a:lnTo>
                <a:lnTo>
                  <a:pt x="348" y="210"/>
                </a:lnTo>
                <a:lnTo>
                  <a:pt x="348" y="210"/>
                </a:lnTo>
                <a:lnTo>
                  <a:pt x="348" y="210"/>
                </a:lnTo>
                <a:lnTo>
                  <a:pt x="348" y="210"/>
                </a:lnTo>
                <a:lnTo>
                  <a:pt x="348" y="210"/>
                </a:lnTo>
                <a:lnTo>
                  <a:pt x="348" y="210"/>
                </a:lnTo>
                <a:lnTo>
                  <a:pt x="348" y="210"/>
                </a:lnTo>
                <a:lnTo>
                  <a:pt x="342" y="210"/>
                </a:lnTo>
                <a:lnTo>
                  <a:pt x="342" y="210"/>
                </a:lnTo>
                <a:lnTo>
                  <a:pt x="342" y="210"/>
                </a:lnTo>
                <a:lnTo>
                  <a:pt x="342" y="210"/>
                </a:lnTo>
                <a:lnTo>
                  <a:pt x="342" y="210"/>
                </a:lnTo>
                <a:lnTo>
                  <a:pt x="342" y="210"/>
                </a:lnTo>
                <a:lnTo>
                  <a:pt x="342" y="210"/>
                </a:lnTo>
                <a:lnTo>
                  <a:pt x="336" y="210"/>
                </a:lnTo>
                <a:lnTo>
                  <a:pt x="336" y="210"/>
                </a:lnTo>
                <a:lnTo>
                  <a:pt x="336" y="216"/>
                </a:lnTo>
                <a:lnTo>
                  <a:pt x="336" y="216"/>
                </a:lnTo>
                <a:lnTo>
                  <a:pt x="336" y="216"/>
                </a:lnTo>
                <a:lnTo>
                  <a:pt x="330" y="216"/>
                </a:lnTo>
                <a:lnTo>
                  <a:pt x="330" y="216"/>
                </a:lnTo>
                <a:lnTo>
                  <a:pt x="330" y="216"/>
                </a:lnTo>
                <a:lnTo>
                  <a:pt x="330" y="222"/>
                </a:lnTo>
                <a:lnTo>
                  <a:pt x="330" y="216"/>
                </a:lnTo>
                <a:lnTo>
                  <a:pt x="330" y="216"/>
                </a:lnTo>
                <a:lnTo>
                  <a:pt x="330" y="216"/>
                </a:lnTo>
                <a:lnTo>
                  <a:pt x="330" y="216"/>
                </a:lnTo>
                <a:lnTo>
                  <a:pt x="330" y="216"/>
                </a:lnTo>
                <a:lnTo>
                  <a:pt x="324" y="216"/>
                </a:lnTo>
                <a:lnTo>
                  <a:pt x="324" y="216"/>
                </a:lnTo>
                <a:lnTo>
                  <a:pt x="324" y="216"/>
                </a:lnTo>
                <a:lnTo>
                  <a:pt x="324" y="216"/>
                </a:lnTo>
                <a:lnTo>
                  <a:pt x="324" y="216"/>
                </a:lnTo>
                <a:lnTo>
                  <a:pt x="324" y="216"/>
                </a:lnTo>
                <a:lnTo>
                  <a:pt x="324" y="216"/>
                </a:lnTo>
                <a:lnTo>
                  <a:pt x="324" y="216"/>
                </a:lnTo>
                <a:lnTo>
                  <a:pt x="324" y="216"/>
                </a:lnTo>
                <a:lnTo>
                  <a:pt x="324" y="216"/>
                </a:lnTo>
                <a:lnTo>
                  <a:pt x="324" y="216"/>
                </a:lnTo>
                <a:lnTo>
                  <a:pt x="324" y="216"/>
                </a:lnTo>
                <a:lnTo>
                  <a:pt x="318" y="216"/>
                </a:lnTo>
                <a:lnTo>
                  <a:pt x="318" y="216"/>
                </a:lnTo>
                <a:lnTo>
                  <a:pt x="318" y="216"/>
                </a:lnTo>
                <a:lnTo>
                  <a:pt x="318" y="216"/>
                </a:lnTo>
                <a:lnTo>
                  <a:pt x="318" y="216"/>
                </a:lnTo>
                <a:lnTo>
                  <a:pt x="312" y="216"/>
                </a:lnTo>
                <a:lnTo>
                  <a:pt x="312" y="222"/>
                </a:lnTo>
                <a:lnTo>
                  <a:pt x="312" y="216"/>
                </a:lnTo>
                <a:lnTo>
                  <a:pt x="312" y="216"/>
                </a:lnTo>
                <a:lnTo>
                  <a:pt x="312" y="216"/>
                </a:lnTo>
                <a:lnTo>
                  <a:pt x="312" y="216"/>
                </a:lnTo>
                <a:lnTo>
                  <a:pt x="312" y="216"/>
                </a:lnTo>
                <a:lnTo>
                  <a:pt x="306" y="222"/>
                </a:lnTo>
                <a:lnTo>
                  <a:pt x="306" y="222"/>
                </a:lnTo>
                <a:lnTo>
                  <a:pt x="306" y="222"/>
                </a:lnTo>
                <a:lnTo>
                  <a:pt x="306" y="222"/>
                </a:lnTo>
                <a:lnTo>
                  <a:pt x="306" y="222"/>
                </a:lnTo>
                <a:lnTo>
                  <a:pt x="306" y="222"/>
                </a:lnTo>
                <a:lnTo>
                  <a:pt x="306" y="222"/>
                </a:lnTo>
                <a:lnTo>
                  <a:pt x="306" y="222"/>
                </a:lnTo>
                <a:lnTo>
                  <a:pt x="306" y="222"/>
                </a:lnTo>
                <a:lnTo>
                  <a:pt x="306" y="222"/>
                </a:lnTo>
                <a:lnTo>
                  <a:pt x="300" y="222"/>
                </a:lnTo>
                <a:lnTo>
                  <a:pt x="300" y="222"/>
                </a:lnTo>
                <a:lnTo>
                  <a:pt x="300" y="222"/>
                </a:lnTo>
                <a:lnTo>
                  <a:pt x="300" y="222"/>
                </a:lnTo>
                <a:lnTo>
                  <a:pt x="300" y="222"/>
                </a:lnTo>
                <a:lnTo>
                  <a:pt x="300" y="222"/>
                </a:lnTo>
                <a:lnTo>
                  <a:pt x="300" y="222"/>
                </a:lnTo>
                <a:lnTo>
                  <a:pt x="294" y="222"/>
                </a:lnTo>
                <a:lnTo>
                  <a:pt x="300" y="222"/>
                </a:lnTo>
                <a:lnTo>
                  <a:pt x="300" y="222"/>
                </a:lnTo>
                <a:lnTo>
                  <a:pt x="294" y="222"/>
                </a:lnTo>
                <a:lnTo>
                  <a:pt x="294" y="222"/>
                </a:lnTo>
                <a:lnTo>
                  <a:pt x="294" y="222"/>
                </a:lnTo>
                <a:lnTo>
                  <a:pt x="294" y="222"/>
                </a:lnTo>
                <a:lnTo>
                  <a:pt x="294" y="228"/>
                </a:lnTo>
                <a:lnTo>
                  <a:pt x="294" y="228"/>
                </a:lnTo>
                <a:lnTo>
                  <a:pt x="294" y="228"/>
                </a:lnTo>
                <a:lnTo>
                  <a:pt x="294" y="228"/>
                </a:lnTo>
                <a:lnTo>
                  <a:pt x="288" y="228"/>
                </a:lnTo>
                <a:lnTo>
                  <a:pt x="288" y="228"/>
                </a:lnTo>
                <a:lnTo>
                  <a:pt x="288" y="228"/>
                </a:lnTo>
                <a:lnTo>
                  <a:pt x="288" y="228"/>
                </a:lnTo>
                <a:lnTo>
                  <a:pt x="288" y="228"/>
                </a:lnTo>
                <a:lnTo>
                  <a:pt x="288" y="228"/>
                </a:lnTo>
                <a:lnTo>
                  <a:pt x="288" y="228"/>
                </a:lnTo>
                <a:lnTo>
                  <a:pt x="288" y="228"/>
                </a:lnTo>
                <a:lnTo>
                  <a:pt x="288" y="228"/>
                </a:lnTo>
                <a:lnTo>
                  <a:pt x="288" y="228"/>
                </a:lnTo>
                <a:lnTo>
                  <a:pt x="288" y="228"/>
                </a:lnTo>
                <a:lnTo>
                  <a:pt x="288" y="228"/>
                </a:lnTo>
                <a:lnTo>
                  <a:pt x="282" y="228"/>
                </a:lnTo>
                <a:lnTo>
                  <a:pt x="282" y="228"/>
                </a:lnTo>
                <a:lnTo>
                  <a:pt x="282" y="228"/>
                </a:lnTo>
                <a:lnTo>
                  <a:pt x="282" y="228"/>
                </a:lnTo>
                <a:lnTo>
                  <a:pt x="282" y="228"/>
                </a:lnTo>
                <a:lnTo>
                  <a:pt x="282" y="234"/>
                </a:lnTo>
                <a:lnTo>
                  <a:pt x="282" y="234"/>
                </a:lnTo>
                <a:lnTo>
                  <a:pt x="282" y="234"/>
                </a:lnTo>
                <a:lnTo>
                  <a:pt x="282" y="234"/>
                </a:lnTo>
                <a:lnTo>
                  <a:pt x="276" y="234"/>
                </a:lnTo>
                <a:lnTo>
                  <a:pt x="276" y="240"/>
                </a:lnTo>
                <a:lnTo>
                  <a:pt x="276" y="234"/>
                </a:lnTo>
                <a:lnTo>
                  <a:pt x="276" y="240"/>
                </a:lnTo>
                <a:lnTo>
                  <a:pt x="276" y="240"/>
                </a:lnTo>
                <a:lnTo>
                  <a:pt x="276" y="240"/>
                </a:lnTo>
                <a:lnTo>
                  <a:pt x="276" y="240"/>
                </a:lnTo>
                <a:lnTo>
                  <a:pt x="276" y="240"/>
                </a:lnTo>
                <a:lnTo>
                  <a:pt x="276" y="240"/>
                </a:lnTo>
                <a:lnTo>
                  <a:pt x="276" y="240"/>
                </a:lnTo>
                <a:lnTo>
                  <a:pt x="276" y="240"/>
                </a:lnTo>
                <a:lnTo>
                  <a:pt x="270" y="240"/>
                </a:lnTo>
                <a:lnTo>
                  <a:pt x="270" y="240"/>
                </a:lnTo>
                <a:lnTo>
                  <a:pt x="270" y="240"/>
                </a:lnTo>
                <a:lnTo>
                  <a:pt x="270" y="240"/>
                </a:lnTo>
                <a:lnTo>
                  <a:pt x="270" y="240"/>
                </a:lnTo>
                <a:lnTo>
                  <a:pt x="270" y="240"/>
                </a:lnTo>
                <a:lnTo>
                  <a:pt x="270" y="240"/>
                </a:lnTo>
                <a:lnTo>
                  <a:pt x="270" y="240"/>
                </a:lnTo>
                <a:lnTo>
                  <a:pt x="270" y="240"/>
                </a:lnTo>
                <a:lnTo>
                  <a:pt x="270" y="240"/>
                </a:lnTo>
                <a:lnTo>
                  <a:pt x="270" y="240"/>
                </a:lnTo>
                <a:lnTo>
                  <a:pt x="264" y="240"/>
                </a:lnTo>
                <a:lnTo>
                  <a:pt x="264" y="240"/>
                </a:lnTo>
                <a:lnTo>
                  <a:pt x="264" y="240"/>
                </a:lnTo>
                <a:lnTo>
                  <a:pt x="264" y="246"/>
                </a:lnTo>
                <a:lnTo>
                  <a:pt x="264" y="246"/>
                </a:lnTo>
                <a:lnTo>
                  <a:pt x="264" y="240"/>
                </a:lnTo>
                <a:lnTo>
                  <a:pt x="264" y="246"/>
                </a:lnTo>
                <a:lnTo>
                  <a:pt x="264" y="246"/>
                </a:lnTo>
                <a:lnTo>
                  <a:pt x="258" y="246"/>
                </a:lnTo>
                <a:lnTo>
                  <a:pt x="258" y="246"/>
                </a:lnTo>
                <a:lnTo>
                  <a:pt x="258" y="246"/>
                </a:lnTo>
                <a:lnTo>
                  <a:pt x="258" y="246"/>
                </a:lnTo>
                <a:lnTo>
                  <a:pt x="258" y="246"/>
                </a:lnTo>
                <a:lnTo>
                  <a:pt x="258" y="246"/>
                </a:lnTo>
                <a:lnTo>
                  <a:pt x="252" y="246"/>
                </a:lnTo>
                <a:lnTo>
                  <a:pt x="252" y="246"/>
                </a:lnTo>
                <a:lnTo>
                  <a:pt x="252" y="246"/>
                </a:lnTo>
                <a:lnTo>
                  <a:pt x="252" y="246"/>
                </a:lnTo>
                <a:lnTo>
                  <a:pt x="252" y="252"/>
                </a:lnTo>
                <a:lnTo>
                  <a:pt x="252" y="252"/>
                </a:lnTo>
                <a:lnTo>
                  <a:pt x="246" y="252"/>
                </a:lnTo>
                <a:lnTo>
                  <a:pt x="246" y="252"/>
                </a:lnTo>
                <a:lnTo>
                  <a:pt x="246" y="252"/>
                </a:lnTo>
                <a:lnTo>
                  <a:pt x="246" y="252"/>
                </a:lnTo>
                <a:lnTo>
                  <a:pt x="246" y="252"/>
                </a:lnTo>
                <a:lnTo>
                  <a:pt x="246" y="252"/>
                </a:lnTo>
                <a:lnTo>
                  <a:pt x="246" y="252"/>
                </a:lnTo>
                <a:lnTo>
                  <a:pt x="240" y="252"/>
                </a:lnTo>
                <a:lnTo>
                  <a:pt x="240" y="252"/>
                </a:lnTo>
                <a:lnTo>
                  <a:pt x="240" y="252"/>
                </a:lnTo>
                <a:lnTo>
                  <a:pt x="240" y="252"/>
                </a:lnTo>
                <a:lnTo>
                  <a:pt x="234" y="258"/>
                </a:lnTo>
                <a:lnTo>
                  <a:pt x="234" y="258"/>
                </a:lnTo>
                <a:lnTo>
                  <a:pt x="234" y="258"/>
                </a:lnTo>
                <a:lnTo>
                  <a:pt x="234" y="258"/>
                </a:lnTo>
                <a:lnTo>
                  <a:pt x="234" y="258"/>
                </a:lnTo>
                <a:lnTo>
                  <a:pt x="234" y="258"/>
                </a:lnTo>
                <a:lnTo>
                  <a:pt x="234" y="258"/>
                </a:lnTo>
                <a:lnTo>
                  <a:pt x="234" y="258"/>
                </a:lnTo>
                <a:lnTo>
                  <a:pt x="234" y="264"/>
                </a:lnTo>
                <a:lnTo>
                  <a:pt x="234" y="264"/>
                </a:lnTo>
                <a:lnTo>
                  <a:pt x="234" y="264"/>
                </a:lnTo>
                <a:lnTo>
                  <a:pt x="234" y="264"/>
                </a:lnTo>
                <a:lnTo>
                  <a:pt x="234" y="264"/>
                </a:lnTo>
                <a:lnTo>
                  <a:pt x="228" y="264"/>
                </a:lnTo>
                <a:lnTo>
                  <a:pt x="228" y="264"/>
                </a:lnTo>
                <a:lnTo>
                  <a:pt x="228" y="270"/>
                </a:lnTo>
                <a:lnTo>
                  <a:pt x="228" y="264"/>
                </a:lnTo>
                <a:lnTo>
                  <a:pt x="228" y="270"/>
                </a:lnTo>
                <a:lnTo>
                  <a:pt x="222" y="270"/>
                </a:lnTo>
                <a:lnTo>
                  <a:pt x="222" y="270"/>
                </a:lnTo>
                <a:lnTo>
                  <a:pt x="222" y="270"/>
                </a:lnTo>
                <a:lnTo>
                  <a:pt x="222" y="270"/>
                </a:lnTo>
                <a:lnTo>
                  <a:pt x="216" y="270"/>
                </a:lnTo>
                <a:lnTo>
                  <a:pt x="216" y="270"/>
                </a:lnTo>
                <a:lnTo>
                  <a:pt x="216" y="270"/>
                </a:lnTo>
                <a:lnTo>
                  <a:pt x="210" y="270"/>
                </a:lnTo>
                <a:lnTo>
                  <a:pt x="210" y="270"/>
                </a:lnTo>
                <a:lnTo>
                  <a:pt x="210" y="270"/>
                </a:lnTo>
                <a:lnTo>
                  <a:pt x="210" y="270"/>
                </a:lnTo>
                <a:lnTo>
                  <a:pt x="210" y="270"/>
                </a:lnTo>
                <a:lnTo>
                  <a:pt x="210" y="276"/>
                </a:lnTo>
                <a:lnTo>
                  <a:pt x="210" y="276"/>
                </a:lnTo>
                <a:lnTo>
                  <a:pt x="210" y="276"/>
                </a:lnTo>
                <a:lnTo>
                  <a:pt x="204" y="276"/>
                </a:lnTo>
                <a:lnTo>
                  <a:pt x="204" y="276"/>
                </a:lnTo>
                <a:lnTo>
                  <a:pt x="204" y="276"/>
                </a:lnTo>
                <a:lnTo>
                  <a:pt x="210" y="282"/>
                </a:lnTo>
                <a:lnTo>
                  <a:pt x="204" y="282"/>
                </a:lnTo>
                <a:lnTo>
                  <a:pt x="210" y="282"/>
                </a:lnTo>
                <a:lnTo>
                  <a:pt x="204" y="282"/>
                </a:lnTo>
                <a:lnTo>
                  <a:pt x="204" y="282"/>
                </a:lnTo>
                <a:lnTo>
                  <a:pt x="204" y="282"/>
                </a:lnTo>
                <a:lnTo>
                  <a:pt x="204" y="282"/>
                </a:lnTo>
                <a:lnTo>
                  <a:pt x="204" y="282"/>
                </a:lnTo>
                <a:lnTo>
                  <a:pt x="204" y="288"/>
                </a:lnTo>
                <a:lnTo>
                  <a:pt x="204" y="288"/>
                </a:lnTo>
                <a:lnTo>
                  <a:pt x="204" y="288"/>
                </a:lnTo>
                <a:lnTo>
                  <a:pt x="204" y="288"/>
                </a:lnTo>
                <a:lnTo>
                  <a:pt x="204" y="288"/>
                </a:lnTo>
                <a:lnTo>
                  <a:pt x="198" y="288"/>
                </a:lnTo>
                <a:lnTo>
                  <a:pt x="198" y="288"/>
                </a:lnTo>
                <a:lnTo>
                  <a:pt x="198" y="288"/>
                </a:lnTo>
                <a:lnTo>
                  <a:pt x="198" y="288"/>
                </a:lnTo>
                <a:lnTo>
                  <a:pt x="198" y="288"/>
                </a:lnTo>
                <a:lnTo>
                  <a:pt x="198" y="288"/>
                </a:lnTo>
                <a:lnTo>
                  <a:pt x="192" y="288"/>
                </a:lnTo>
                <a:lnTo>
                  <a:pt x="192" y="288"/>
                </a:lnTo>
                <a:lnTo>
                  <a:pt x="192" y="288"/>
                </a:lnTo>
                <a:lnTo>
                  <a:pt x="192" y="288"/>
                </a:lnTo>
                <a:lnTo>
                  <a:pt x="192" y="288"/>
                </a:lnTo>
                <a:lnTo>
                  <a:pt x="192" y="288"/>
                </a:lnTo>
                <a:lnTo>
                  <a:pt x="186" y="294"/>
                </a:lnTo>
                <a:lnTo>
                  <a:pt x="186" y="288"/>
                </a:lnTo>
                <a:lnTo>
                  <a:pt x="186" y="294"/>
                </a:lnTo>
                <a:lnTo>
                  <a:pt x="186" y="294"/>
                </a:lnTo>
                <a:lnTo>
                  <a:pt x="186" y="294"/>
                </a:lnTo>
                <a:lnTo>
                  <a:pt x="180" y="294"/>
                </a:lnTo>
                <a:lnTo>
                  <a:pt x="186" y="294"/>
                </a:lnTo>
                <a:lnTo>
                  <a:pt x="180" y="294"/>
                </a:lnTo>
                <a:lnTo>
                  <a:pt x="180" y="294"/>
                </a:lnTo>
                <a:lnTo>
                  <a:pt x="180" y="294"/>
                </a:lnTo>
                <a:lnTo>
                  <a:pt x="144" y="294"/>
                </a:lnTo>
                <a:lnTo>
                  <a:pt x="144" y="294"/>
                </a:lnTo>
                <a:lnTo>
                  <a:pt x="144" y="294"/>
                </a:lnTo>
                <a:lnTo>
                  <a:pt x="144" y="288"/>
                </a:lnTo>
                <a:lnTo>
                  <a:pt x="138" y="288"/>
                </a:lnTo>
                <a:lnTo>
                  <a:pt x="138" y="288"/>
                </a:lnTo>
                <a:lnTo>
                  <a:pt x="138" y="288"/>
                </a:lnTo>
                <a:lnTo>
                  <a:pt x="138" y="294"/>
                </a:lnTo>
                <a:lnTo>
                  <a:pt x="138" y="294"/>
                </a:lnTo>
                <a:lnTo>
                  <a:pt x="132" y="294"/>
                </a:lnTo>
                <a:lnTo>
                  <a:pt x="132" y="294"/>
                </a:lnTo>
                <a:lnTo>
                  <a:pt x="126" y="300"/>
                </a:lnTo>
                <a:lnTo>
                  <a:pt x="126" y="300"/>
                </a:lnTo>
                <a:lnTo>
                  <a:pt x="126" y="300"/>
                </a:lnTo>
                <a:lnTo>
                  <a:pt x="126" y="306"/>
                </a:lnTo>
                <a:lnTo>
                  <a:pt x="120" y="306"/>
                </a:lnTo>
                <a:lnTo>
                  <a:pt x="120" y="312"/>
                </a:lnTo>
                <a:lnTo>
                  <a:pt x="126" y="312"/>
                </a:lnTo>
                <a:lnTo>
                  <a:pt x="120" y="318"/>
                </a:lnTo>
                <a:lnTo>
                  <a:pt x="120" y="318"/>
                </a:lnTo>
                <a:lnTo>
                  <a:pt x="114" y="312"/>
                </a:lnTo>
                <a:lnTo>
                  <a:pt x="114" y="312"/>
                </a:lnTo>
                <a:lnTo>
                  <a:pt x="114" y="312"/>
                </a:lnTo>
                <a:lnTo>
                  <a:pt x="114" y="312"/>
                </a:lnTo>
                <a:lnTo>
                  <a:pt x="114" y="312"/>
                </a:lnTo>
                <a:lnTo>
                  <a:pt x="114" y="312"/>
                </a:lnTo>
                <a:lnTo>
                  <a:pt x="114" y="306"/>
                </a:lnTo>
                <a:lnTo>
                  <a:pt x="114" y="306"/>
                </a:lnTo>
                <a:lnTo>
                  <a:pt x="114" y="306"/>
                </a:lnTo>
                <a:lnTo>
                  <a:pt x="114" y="306"/>
                </a:lnTo>
                <a:lnTo>
                  <a:pt x="114" y="306"/>
                </a:lnTo>
                <a:lnTo>
                  <a:pt x="114" y="306"/>
                </a:lnTo>
                <a:lnTo>
                  <a:pt x="114" y="306"/>
                </a:lnTo>
                <a:lnTo>
                  <a:pt x="108" y="306"/>
                </a:lnTo>
                <a:lnTo>
                  <a:pt x="108" y="306"/>
                </a:lnTo>
                <a:lnTo>
                  <a:pt x="108" y="306"/>
                </a:lnTo>
                <a:lnTo>
                  <a:pt x="108" y="306"/>
                </a:lnTo>
                <a:lnTo>
                  <a:pt x="108" y="300"/>
                </a:lnTo>
                <a:lnTo>
                  <a:pt x="108" y="300"/>
                </a:lnTo>
                <a:lnTo>
                  <a:pt x="108" y="300"/>
                </a:lnTo>
                <a:lnTo>
                  <a:pt x="108" y="300"/>
                </a:lnTo>
                <a:lnTo>
                  <a:pt x="108" y="300"/>
                </a:lnTo>
                <a:lnTo>
                  <a:pt x="108" y="300"/>
                </a:lnTo>
                <a:lnTo>
                  <a:pt x="108" y="300"/>
                </a:lnTo>
                <a:lnTo>
                  <a:pt x="108" y="294"/>
                </a:lnTo>
                <a:lnTo>
                  <a:pt x="108" y="294"/>
                </a:lnTo>
                <a:lnTo>
                  <a:pt x="108" y="294"/>
                </a:lnTo>
                <a:lnTo>
                  <a:pt x="102" y="294"/>
                </a:lnTo>
                <a:lnTo>
                  <a:pt x="102" y="294"/>
                </a:lnTo>
                <a:lnTo>
                  <a:pt x="102" y="294"/>
                </a:lnTo>
                <a:lnTo>
                  <a:pt x="102" y="294"/>
                </a:lnTo>
                <a:lnTo>
                  <a:pt x="102" y="288"/>
                </a:lnTo>
                <a:lnTo>
                  <a:pt x="96" y="288"/>
                </a:lnTo>
                <a:lnTo>
                  <a:pt x="96" y="288"/>
                </a:lnTo>
                <a:lnTo>
                  <a:pt x="96" y="282"/>
                </a:lnTo>
                <a:lnTo>
                  <a:pt x="96" y="282"/>
                </a:lnTo>
                <a:lnTo>
                  <a:pt x="96" y="282"/>
                </a:lnTo>
                <a:lnTo>
                  <a:pt x="96" y="282"/>
                </a:lnTo>
                <a:lnTo>
                  <a:pt x="96" y="282"/>
                </a:lnTo>
                <a:lnTo>
                  <a:pt x="96" y="282"/>
                </a:lnTo>
                <a:lnTo>
                  <a:pt x="96" y="276"/>
                </a:lnTo>
                <a:lnTo>
                  <a:pt x="96" y="276"/>
                </a:lnTo>
                <a:lnTo>
                  <a:pt x="96" y="276"/>
                </a:lnTo>
                <a:lnTo>
                  <a:pt x="96" y="276"/>
                </a:lnTo>
                <a:lnTo>
                  <a:pt x="96" y="276"/>
                </a:lnTo>
                <a:lnTo>
                  <a:pt x="96" y="276"/>
                </a:lnTo>
                <a:lnTo>
                  <a:pt x="102" y="276"/>
                </a:lnTo>
                <a:lnTo>
                  <a:pt x="102" y="270"/>
                </a:lnTo>
                <a:lnTo>
                  <a:pt x="102" y="270"/>
                </a:lnTo>
                <a:lnTo>
                  <a:pt x="102" y="270"/>
                </a:lnTo>
                <a:lnTo>
                  <a:pt x="102" y="264"/>
                </a:lnTo>
                <a:lnTo>
                  <a:pt x="102" y="264"/>
                </a:lnTo>
                <a:lnTo>
                  <a:pt x="102" y="264"/>
                </a:lnTo>
                <a:lnTo>
                  <a:pt x="102" y="264"/>
                </a:lnTo>
                <a:lnTo>
                  <a:pt x="102" y="258"/>
                </a:lnTo>
                <a:lnTo>
                  <a:pt x="102" y="258"/>
                </a:lnTo>
                <a:lnTo>
                  <a:pt x="102" y="258"/>
                </a:lnTo>
                <a:lnTo>
                  <a:pt x="102" y="258"/>
                </a:lnTo>
                <a:lnTo>
                  <a:pt x="102" y="258"/>
                </a:lnTo>
                <a:lnTo>
                  <a:pt x="102" y="258"/>
                </a:lnTo>
                <a:lnTo>
                  <a:pt x="102" y="258"/>
                </a:lnTo>
                <a:lnTo>
                  <a:pt x="102" y="258"/>
                </a:lnTo>
                <a:lnTo>
                  <a:pt x="102" y="258"/>
                </a:lnTo>
                <a:lnTo>
                  <a:pt x="102" y="252"/>
                </a:lnTo>
                <a:lnTo>
                  <a:pt x="102" y="252"/>
                </a:lnTo>
                <a:lnTo>
                  <a:pt x="102" y="252"/>
                </a:lnTo>
                <a:lnTo>
                  <a:pt x="102" y="252"/>
                </a:lnTo>
                <a:lnTo>
                  <a:pt x="102" y="252"/>
                </a:lnTo>
                <a:lnTo>
                  <a:pt x="102" y="252"/>
                </a:lnTo>
                <a:lnTo>
                  <a:pt x="102" y="252"/>
                </a:lnTo>
                <a:lnTo>
                  <a:pt x="102" y="252"/>
                </a:lnTo>
                <a:lnTo>
                  <a:pt x="96" y="252"/>
                </a:lnTo>
                <a:lnTo>
                  <a:pt x="96" y="252"/>
                </a:lnTo>
                <a:lnTo>
                  <a:pt x="96" y="252"/>
                </a:lnTo>
                <a:lnTo>
                  <a:pt x="96" y="246"/>
                </a:lnTo>
                <a:lnTo>
                  <a:pt x="96" y="246"/>
                </a:lnTo>
                <a:lnTo>
                  <a:pt x="96" y="246"/>
                </a:lnTo>
                <a:lnTo>
                  <a:pt x="96" y="246"/>
                </a:lnTo>
                <a:lnTo>
                  <a:pt x="96" y="240"/>
                </a:lnTo>
                <a:lnTo>
                  <a:pt x="96" y="240"/>
                </a:lnTo>
                <a:lnTo>
                  <a:pt x="96" y="240"/>
                </a:lnTo>
                <a:lnTo>
                  <a:pt x="96" y="240"/>
                </a:lnTo>
                <a:lnTo>
                  <a:pt x="96" y="240"/>
                </a:lnTo>
                <a:lnTo>
                  <a:pt x="96" y="240"/>
                </a:lnTo>
                <a:lnTo>
                  <a:pt x="96" y="240"/>
                </a:lnTo>
                <a:lnTo>
                  <a:pt x="96" y="234"/>
                </a:lnTo>
                <a:lnTo>
                  <a:pt x="96" y="234"/>
                </a:lnTo>
                <a:lnTo>
                  <a:pt x="96" y="228"/>
                </a:lnTo>
                <a:lnTo>
                  <a:pt x="96" y="228"/>
                </a:lnTo>
                <a:lnTo>
                  <a:pt x="102" y="228"/>
                </a:lnTo>
                <a:lnTo>
                  <a:pt x="102" y="228"/>
                </a:lnTo>
                <a:lnTo>
                  <a:pt x="102" y="228"/>
                </a:lnTo>
                <a:lnTo>
                  <a:pt x="102" y="228"/>
                </a:lnTo>
                <a:lnTo>
                  <a:pt x="102" y="228"/>
                </a:lnTo>
                <a:lnTo>
                  <a:pt x="102" y="222"/>
                </a:lnTo>
                <a:lnTo>
                  <a:pt x="102" y="222"/>
                </a:lnTo>
                <a:lnTo>
                  <a:pt x="102" y="222"/>
                </a:lnTo>
                <a:lnTo>
                  <a:pt x="96" y="222"/>
                </a:lnTo>
                <a:lnTo>
                  <a:pt x="96" y="222"/>
                </a:lnTo>
                <a:lnTo>
                  <a:pt x="96" y="216"/>
                </a:lnTo>
                <a:lnTo>
                  <a:pt x="96" y="216"/>
                </a:lnTo>
                <a:lnTo>
                  <a:pt x="96" y="210"/>
                </a:lnTo>
                <a:lnTo>
                  <a:pt x="96" y="210"/>
                </a:lnTo>
                <a:lnTo>
                  <a:pt x="96" y="210"/>
                </a:lnTo>
                <a:lnTo>
                  <a:pt x="96" y="210"/>
                </a:lnTo>
                <a:lnTo>
                  <a:pt x="90" y="210"/>
                </a:lnTo>
                <a:lnTo>
                  <a:pt x="90" y="204"/>
                </a:lnTo>
                <a:lnTo>
                  <a:pt x="90" y="204"/>
                </a:lnTo>
                <a:lnTo>
                  <a:pt x="90" y="204"/>
                </a:lnTo>
                <a:lnTo>
                  <a:pt x="90" y="204"/>
                </a:lnTo>
                <a:lnTo>
                  <a:pt x="90" y="204"/>
                </a:lnTo>
                <a:lnTo>
                  <a:pt x="90" y="204"/>
                </a:lnTo>
                <a:lnTo>
                  <a:pt x="90" y="204"/>
                </a:lnTo>
                <a:lnTo>
                  <a:pt x="84" y="198"/>
                </a:lnTo>
                <a:lnTo>
                  <a:pt x="84" y="198"/>
                </a:lnTo>
                <a:lnTo>
                  <a:pt x="84" y="198"/>
                </a:lnTo>
                <a:lnTo>
                  <a:pt x="84" y="198"/>
                </a:lnTo>
                <a:lnTo>
                  <a:pt x="84" y="198"/>
                </a:lnTo>
                <a:lnTo>
                  <a:pt x="84" y="198"/>
                </a:lnTo>
                <a:lnTo>
                  <a:pt x="84" y="192"/>
                </a:lnTo>
                <a:lnTo>
                  <a:pt x="84" y="192"/>
                </a:lnTo>
                <a:lnTo>
                  <a:pt x="84" y="192"/>
                </a:lnTo>
                <a:lnTo>
                  <a:pt x="84" y="192"/>
                </a:lnTo>
                <a:lnTo>
                  <a:pt x="78" y="192"/>
                </a:lnTo>
                <a:lnTo>
                  <a:pt x="78" y="192"/>
                </a:lnTo>
                <a:lnTo>
                  <a:pt x="78" y="192"/>
                </a:lnTo>
                <a:lnTo>
                  <a:pt x="84" y="186"/>
                </a:lnTo>
                <a:lnTo>
                  <a:pt x="84" y="186"/>
                </a:lnTo>
                <a:lnTo>
                  <a:pt x="84" y="186"/>
                </a:lnTo>
                <a:lnTo>
                  <a:pt x="84" y="186"/>
                </a:lnTo>
                <a:lnTo>
                  <a:pt x="84" y="180"/>
                </a:lnTo>
                <a:lnTo>
                  <a:pt x="78" y="180"/>
                </a:lnTo>
                <a:lnTo>
                  <a:pt x="78" y="174"/>
                </a:lnTo>
                <a:lnTo>
                  <a:pt x="84" y="174"/>
                </a:lnTo>
                <a:lnTo>
                  <a:pt x="84" y="180"/>
                </a:lnTo>
                <a:lnTo>
                  <a:pt x="84" y="180"/>
                </a:lnTo>
                <a:lnTo>
                  <a:pt x="84" y="174"/>
                </a:lnTo>
                <a:lnTo>
                  <a:pt x="84" y="174"/>
                </a:lnTo>
                <a:lnTo>
                  <a:pt x="78" y="174"/>
                </a:lnTo>
                <a:lnTo>
                  <a:pt x="78" y="174"/>
                </a:lnTo>
                <a:lnTo>
                  <a:pt x="78" y="174"/>
                </a:lnTo>
                <a:lnTo>
                  <a:pt x="84" y="174"/>
                </a:lnTo>
                <a:lnTo>
                  <a:pt x="78" y="174"/>
                </a:lnTo>
                <a:lnTo>
                  <a:pt x="78" y="174"/>
                </a:lnTo>
                <a:lnTo>
                  <a:pt x="78" y="174"/>
                </a:lnTo>
                <a:lnTo>
                  <a:pt x="78" y="174"/>
                </a:lnTo>
                <a:lnTo>
                  <a:pt x="78" y="174"/>
                </a:lnTo>
                <a:lnTo>
                  <a:pt x="78" y="174"/>
                </a:lnTo>
                <a:lnTo>
                  <a:pt x="78" y="174"/>
                </a:lnTo>
                <a:lnTo>
                  <a:pt x="78" y="174"/>
                </a:lnTo>
                <a:lnTo>
                  <a:pt x="78" y="168"/>
                </a:lnTo>
                <a:lnTo>
                  <a:pt x="78" y="168"/>
                </a:lnTo>
                <a:lnTo>
                  <a:pt x="78" y="168"/>
                </a:lnTo>
                <a:lnTo>
                  <a:pt x="78" y="168"/>
                </a:lnTo>
                <a:lnTo>
                  <a:pt x="78" y="168"/>
                </a:lnTo>
                <a:lnTo>
                  <a:pt x="72" y="168"/>
                </a:lnTo>
                <a:lnTo>
                  <a:pt x="72" y="168"/>
                </a:lnTo>
                <a:lnTo>
                  <a:pt x="78" y="162"/>
                </a:lnTo>
                <a:lnTo>
                  <a:pt x="78" y="162"/>
                </a:lnTo>
                <a:lnTo>
                  <a:pt x="78" y="168"/>
                </a:lnTo>
                <a:lnTo>
                  <a:pt x="78" y="168"/>
                </a:lnTo>
                <a:lnTo>
                  <a:pt x="78" y="168"/>
                </a:lnTo>
                <a:lnTo>
                  <a:pt x="78" y="162"/>
                </a:lnTo>
                <a:lnTo>
                  <a:pt x="78" y="162"/>
                </a:lnTo>
                <a:lnTo>
                  <a:pt x="78" y="162"/>
                </a:lnTo>
                <a:lnTo>
                  <a:pt x="84" y="156"/>
                </a:lnTo>
                <a:lnTo>
                  <a:pt x="84" y="156"/>
                </a:lnTo>
                <a:lnTo>
                  <a:pt x="84" y="156"/>
                </a:lnTo>
                <a:lnTo>
                  <a:pt x="84" y="156"/>
                </a:lnTo>
                <a:lnTo>
                  <a:pt x="84" y="156"/>
                </a:lnTo>
                <a:lnTo>
                  <a:pt x="84" y="156"/>
                </a:lnTo>
                <a:lnTo>
                  <a:pt x="84" y="156"/>
                </a:lnTo>
                <a:lnTo>
                  <a:pt x="90" y="150"/>
                </a:lnTo>
                <a:lnTo>
                  <a:pt x="90" y="150"/>
                </a:lnTo>
                <a:lnTo>
                  <a:pt x="90" y="150"/>
                </a:lnTo>
                <a:lnTo>
                  <a:pt x="90" y="150"/>
                </a:lnTo>
                <a:lnTo>
                  <a:pt x="90" y="144"/>
                </a:lnTo>
                <a:lnTo>
                  <a:pt x="90" y="144"/>
                </a:lnTo>
                <a:lnTo>
                  <a:pt x="90" y="144"/>
                </a:lnTo>
                <a:lnTo>
                  <a:pt x="96" y="144"/>
                </a:lnTo>
                <a:lnTo>
                  <a:pt x="96" y="138"/>
                </a:lnTo>
                <a:lnTo>
                  <a:pt x="102" y="138"/>
                </a:lnTo>
                <a:lnTo>
                  <a:pt x="102" y="138"/>
                </a:lnTo>
                <a:lnTo>
                  <a:pt x="102" y="132"/>
                </a:lnTo>
                <a:lnTo>
                  <a:pt x="102" y="132"/>
                </a:lnTo>
                <a:lnTo>
                  <a:pt x="108" y="126"/>
                </a:lnTo>
                <a:lnTo>
                  <a:pt x="102" y="126"/>
                </a:lnTo>
                <a:lnTo>
                  <a:pt x="102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6"/>
                </a:lnTo>
                <a:lnTo>
                  <a:pt x="96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14"/>
                </a:lnTo>
                <a:lnTo>
                  <a:pt x="90" y="114"/>
                </a:lnTo>
                <a:lnTo>
                  <a:pt x="90" y="114"/>
                </a:lnTo>
                <a:lnTo>
                  <a:pt x="84" y="114"/>
                </a:lnTo>
                <a:lnTo>
                  <a:pt x="84" y="114"/>
                </a:lnTo>
                <a:lnTo>
                  <a:pt x="78" y="120"/>
                </a:lnTo>
                <a:lnTo>
                  <a:pt x="78" y="120"/>
                </a:lnTo>
                <a:lnTo>
                  <a:pt x="78" y="120"/>
                </a:lnTo>
                <a:lnTo>
                  <a:pt x="72" y="120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0" y="114"/>
                </a:lnTo>
                <a:lnTo>
                  <a:pt x="48" y="108"/>
                </a:lnTo>
                <a:lnTo>
                  <a:pt x="42" y="102"/>
                </a:lnTo>
                <a:lnTo>
                  <a:pt x="42" y="102"/>
                </a:lnTo>
                <a:lnTo>
                  <a:pt x="36" y="102"/>
                </a:lnTo>
                <a:lnTo>
                  <a:pt x="36" y="102"/>
                </a:lnTo>
                <a:lnTo>
                  <a:pt x="30" y="102"/>
                </a:lnTo>
                <a:lnTo>
                  <a:pt x="30" y="102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18" y="96"/>
                </a:lnTo>
                <a:lnTo>
                  <a:pt x="18" y="96"/>
                </a:lnTo>
                <a:lnTo>
                  <a:pt x="6" y="90"/>
                </a:lnTo>
                <a:lnTo>
                  <a:pt x="6" y="90"/>
                </a:lnTo>
                <a:lnTo>
                  <a:pt x="0" y="9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89" name="Freeform 522"/>
          <p:cNvSpPr>
            <a:spLocks/>
          </p:cNvSpPr>
          <p:nvPr/>
        </p:nvSpPr>
        <p:spPr bwMode="auto">
          <a:xfrm>
            <a:off x="5791886" y="2419771"/>
            <a:ext cx="552468" cy="231267"/>
          </a:xfrm>
          <a:custGeom>
            <a:avLst/>
            <a:gdLst>
              <a:gd name="T0" fmla="*/ 24 w 516"/>
              <a:gd name="T1" fmla="*/ 150 h 216"/>
              <a:gd name="T2" fmla="*/ 42 w 516"/>
              <a:gd name="T3" fmla="*/ 144 h 216"/>
              <a:gd name="T4" fmla="*/ 42 w 516"/>
              <a:gd name="T5" fmla="*/ 132 h 216"/>
              <a:gd name="T6" fmla="*/ 48 w 516"/>
              <a:gd name="T7" fmla="*/ 120 h 216"/>
              <a:gd name="T8" fmla="*/ 72 w 516"/>
              <a:gd name="T9" fmla="*/ 114 h 216"/>
              <a:gd name="T10" fmla="*/ 78 w 516"/>
              <a:gd name="T11" fmla="*/ 120 h 216"/>
              <a:gd name="T12" fmla="*/ 102 w 516"/>
              <a:gd name="T13" fmla="*/ 108 h 216"/>
              <a:gd name="T14" fmla="*/ 132 w 516"/>
              <a:gd name="T15" fmla="*/ 102 h 216"/>
              <a:gd name="T16" fmla="*/ 138 w 516"/>
              <a:gd name="T17" fmla="*/ 78 h 216"/>
              <a:gd name="T18" fmla="*/ 132 w 516"/>
              <a:gd name="T19" fmla="*/ 60 h 216"/>
              <a:gd name="T20" fmla="*/ 120 w 516"/>
              <a:gd name="T21" fmla="*/ 54 h 216"/>
              <a:gd name="T22" fmla="*/ 102 w 516"/>
              <a:gd name="T23" fmla="*/ 36 h 216"/>
              <a:gd name="T24" fmla="*/ 90 w 516"/>
              <a:gd name="T25" fmla="*/ 30 h 216"/>
              <a:gd name="T26" fmla="*/ 90 w 516"/>
              <a:gd name="T27" fmla="*/ 18 h 216"/>
              <a:gd name="T28" fmla="*/ 90 w 516"/>
              <a:gd name="T29" fmla="*/ 6 h 216"/>
              <a:gd name="T30" fmla="*/ 90 w 516"/>
              <a:gd name="T31" fmla="*/ 0 h 216"/>
              <a:gd name="T32" fmla="*/ 96 w 516"/>
              <a:gd name="T33" fmla="*/ 0 h 216"/>
              <a:gd name="T34" fmla="*/ 102 w 516"/>
              <a:gd name="T35" fmla="*/ 0 h 216"/>
              <a:gd name="T36" fmla="*/ 258 w 516"/>
              <a:gd name="T37" fmla="*/ 12 h 216"/>
              <a:gd name="T38" fmla="*/ 516 w 516"/>
              <a:gd name="T39" fmla="*/ 42 h 216"/>
              <a:gd name="T40" fmla="*/ 492 w 516"/>
              <a:gd name="T41" fmla="*/ 60 h 216"/>
              <a:gd name="T42" fmla="*/ 474 w 516"/>
              <a:gd name="T43" fmla="*/ 78 h 216"/>
              <a:gd name="T44" fmla="*/ 474 w 516"/>
              <a:gd name="T45" fmla="*/ 96 h 216"/>
              <a:gd name="T46" fmla="*/ 474 w 516"/>
              <a:gd name="T47" fmla="*/ 108 h 216"/>
              <a:gd name="T48" fmla="*/ 462 w 516"/>
              <a:gd name="T49" fmla="*/ 132 h 216"/>
              <a:gd name="T50" fmla="*/ 456 w 516"/>
              <a:gd name="T51" fmla="*/ 156 h 216"/>
              <a:gd name="T52" fmla="*/ 414 w 516"/>
              <a:gd name="T53" fmla="*/ 150 h 216"/>
              <a:gd name="T54" fmla="*/ 348 w 516"/>
              <a:gd name="T55" fmla="*/ 144 h 216"/>
              <a:gd name="T56" fmla="*/ 318 w 516"/>
              <a:gd name="T57" fmla="*/ 132 h 216"/>
              <a:gd name="T58" fmla="*/ 306 w 516"/>
              <a:gd name="T59" fmla="*/ 132 h 216"/>
              <a:gd name="T60" fmla="*/ 300 w 516"/>
              <a:gd name="T61" fmla="*/ 132 h 216"/>
              <a:gd name="T62" fmla="*/ 288 w 516"/>
              <a:gd name="T63" fmla="*/ 138 h 216"/>
              <a:gd name="T64" fmla="*/ 282 w 516"/>
              <a:gd name="T65" fmla="*/ 144 h 216"/>
              <a:gd name="T66" fmla="*/ 270 w 516"/>
              <a:gd name="T67" fmla="*/ 144 h 216"/>
              <a:gd name="T68" fmla="*/ 264 w 516"/>
              <a:gd name="T69" fmla="*/ 150 h 216"/>
              <a:gd name="T70" fmla="*/ 264 w 516"/>
              <a:gd name="T71" fmla="*/ 150 h 216"/>
              <a:gd name="T72" fmla="*/ 258 w 516"/>
              <a:gd name="T73" fmla="*/ 144 h 216"/>
              <a:gd name="T74" fmla="*/ 258 w 516"/>
              <a:gd name="T75" fmla="*/ 144 h 216"/>
              <a:gd name="T76" fmla="*/ 252 w 516"/>
              <a:gd name="T77" fmla="*/ 144 h 216"/>
              <a:gd name="T78" fmla="*/ 252 w 516"/>
              <a:gd name="T79" fmla="*/ 150 h 216"/>
              <a:gd name="T80" fmla="*/ 246 w 516"/>
              <a:gd name="T81" fmla="*/ 150 h 216"/>
              <a:gd name="T82" fmla="*/ 246 w 516"/>
              <a:gd name="T83" fmla="*/ 150 h 216"/>
              <a:gd name="T84" fmla="*/ 234 w 516"/>
              <a:gd name="T85" fmla="*/ 150 h 216"/>
              <a:gd name="T86" fmla="*/ 210 w 516"/>
              <a:gd name="T87" fmla="*/ 156 h 216"/>
              <a:gd name="T88" fmla="*/ 186 w 516"/>
              <a:gd name="T89" fmla="*/ 168 h 216"/>
              <a:gd name="T90" fmla="*/ 174 w 516"/>
              <a:gd name="T91" fmla="*/ 180 h 216"/>
              <a:gd name="T92" fmla="*/ 150 w 516"/>
              <a:gd name="T93" fmla="*/ 192 h 216"/>
              <a:gd name="T94" fmla="*/ 144 w 516"/>
              <a:gd name="T95" fmla="*/ 204 h 216"/>
              <a:gd name="T96" fmla="*/ 132 w 516"/>
              <a:gd name="T97" fmla="*/ 198 h 216"/>
              <a:gd name="T98" fmla="*/ 120 w 516"/>
              <a:gd name="T99" fmla="*/ 198 h 216"/>
              <a:gd name="T100" fmla="*/ 102 w 516"/>
              <a:gd name="T101" fmla="*/ 198 h 216"/>
              <a:gd name="T102" fmla="*/ 96 w 516"/>
              <a:gd name="T103" fmla="*/ 186 h 216"/>
              <a:gd name="T104" fmla="*/ 84 w 516"/>
              <a:gd name="T105" fmla="*/ 186 h 216"/>
              <a:gd name="T106" fmla="*/ 72 w 516"/>
              <a:gd name="T107" fmla="*/ 192 h 216"/>
              <a:gd name="T108" fmla="*/ 60 w 516"/>
              <a:gd name="T109" fmla="*/ 204 h 216"/>
              <a:gd name="T110" fmla="*/ 48 w 516"/>
              <a:gd name="T111" fmla="*/ 210 h 216"/>
              <a:gd name="T112" fmla="*/ 18 w 516"/>
              <a:gd name="T113" fmla="*/ 216 h 216"/>
              <a:gd name="T114" fmla="*/ 0 w 516"/>
              <a:gd name="T115" fmla="*/ 210 h 216"/>
              <a:gd name="T116" fmla="*/ 6 w 516"/>
              <a:gd name="T117" fmla="*/ 198 h 216"/>
              <a:gd name="T118" fmla="*/ 18 w 516"/>
              <a:gd name="T119" fmla="*/ 186 h 2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16" h="216">
                <a:moveTo>
                  <a:pt x="24" y="162"/>
                </a:moveTo>
                <a:lnTo>
                  <a:pt x="24" y="162"/>
                </a:lnTo>
                <a:lnTo>
                  <a:pt x="24" y="156"/>
                </a:lnTo>
                <a:lnTo>
                  <a:pt x="24" y="156"/>
                </a:lnTo>
                <a:lnTo>
                  <a:pt x="24" y="156"/>
                </a:lnTo>
                <a:lnTo>
                  <a:pt x="24" y="150"/>
                </a:lnTo>
                <a:lnTo>
                  <a:pt x="24" y="150"/>
                </a:lnTo>
                <a:lnTo>
                  <a:pt x="24" y="150"/>
                </a:lnTo>
                <a:lnTo>
                  <a:pt x="30" y="150"/>
                </a:lnTo>
                <a:lnTo>
                  <a:pt x="36" y="144"/>
                </a:lnTo>
                <a:lnTo>
                  <a:pt x="36" y="150"/>
                </a:lnTo>
                <a:lnTo>
                  <a:pt x="42" y="150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48" y="144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2" y="138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8" y="120"/>
                </a:lnTo>
                <a:lnTo>
                  <a:pt x="48" y="126"/>
                </a:lnTo>
                <a:lnTo>
                  <a:pt x="54" y="126"/>
                </a:lnTo>
                <a:lnTo>
                  <a:pt x="60" y="120"/>
                </a:lnTo>
                <a:lnTo>
                  <a:pt x="60" y="120"/>
                </a:lnTo>
                <a:lnTo>
                  <a:pt x="60" y="120"/>
                </a:lnTo>
                <a:lnTo>
                  <a:pt x="66" y="120"/>
                </a:lnTo>
                <a:lnTo>
                  <a:pt x="66" y="114"/>
                </a:lnTo>
                <a:lnTo>
                  <a:pt x="72" y="114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8" y="126"/>
                </a:lnTo>
                <a:lnTo>
                  <a:pt x="78" y="126"/>
                </a:lnTo>
                <a:lnTo>
                  <a:pt x="78" y="120"/>
                </a:lnTo>
                <a:lnTo>
                  <a:pt x="78" y="126"/>
                </a:lnTo>
                <a:lnTo>
                  <a:pt x="78" y="120"/>
                </a:lnTo>
                <a:lnTo>
                  <a:pt x="84" y="120"/>
                </a:lnTo>
                <a:lnTo>
                  <a:pt x="84" y="120"/>
                </a:lnTo>
                <a:lnTo>
                  <a:pt x="84" y="120"/>
                </a:lnTo>
                <a:lnTo>
                  <a:pt x="90" y="120"/>
                </a:lnTo>
                <a:lnTo>
                  <a:pt x="90" y="114"/>
                </a:lnTo>
                <a:lnTo>
                  <a:pt x="96" y="114"/>
                </a:lnTo>
                <a:lnTo>
                  <a:pt x="96" y="108"/>
                </a:lnTo>
                <a:lnTo>
                  <a:pt x="102" y="108"/>
                </a:lnTo>
                <a:lnTo>
                  <a:pt x="102" y="102"/>
                </a:lnTo>
                <a:lnTo>
                  <a:pt x="102" y="102"/>
                </a:lnTo>
                <a:lnTo>
                  <a:pt x="114" y="102"/>
                </a:lnTo>
                <a:lnTo>
                  <a:pt x="114" y="102"/>
                </a:lnTo>
                <a:lnTo>
                  <a:pt x="120" y="102"/>
                </a:lnTo>
                <a:lnTo>
                  <a:pt x="120" y="108"/>
                </a:lnTo>
                <a:lnTo>
                  <a:pt x="126" y="102"/>
                </a:lnTo>
                <a:lnTo>
                  <a:pt x="132" y="102"/>
                </a:lnTo>
                <a:lnTo>
                  <a:pt x="132" y="96"/>
                </a:lnTo>
                <a:lnTo>
                  <a:pt x="132" y="96"/>
                </a:lnTo>
                <a:lnTo>
                  <a:pt x="132" y="90"/>
                </a:lnTo>
                <a:lnTo>
                  <a:pt x="132" y="90"/>
                </a:lnTo>
                <a:lnTo>
                  <a:pt x="138" y="84"/>
                </a:lnTo>
                <a:lnTo>
                  <a:pt x="132" y="84"/>
                </a:lnTo>
                <a:lnTo>
                  <a:pt x="138" y="78"/>
                </a:lnTo>
                <a:lnTo>
                  <a:pt x="138" y="78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2" y="72"/>
                </a:lnTo>
                <a:lnTo>
                  <a:pt x="132" y="66"/>
                </a:lnTo>
                <a:lnTo>
                  <a:pt x="132" y="66"/>
                </a:lnTo>
                <a:lnTo>
                  <a:pt x="132" y="60"/>
                </a:lnTo>
                <a:lnTo>
                  <a:pt x="132" y="60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54"/>
                </a:lnTo>
                <a:lnTo>
                  <a:pt x="114" y="48"/>
                </a:lnTo>
                <a:lnTo>
                  <a:pt x="114" y="48"/>
                </a:lnTo>
                <a:lnTo>
                  <a:pt x="114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96" y="36"/>
                </a:lnTo>
                <a:lnTo>
                  <a:pt x="96" y="36"/>
                </a:lnTo>
                <a:lnTo>
                  <a:pt x="90" y="30"/>
                </a:lnTo>
                <a:lnTo>
                  <a:pt x="90" y="30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84" y="24"/>
                </a:lnTo>
                <a:lnTo>
                  <a:pt x="84" y="18"/>
                </a:lnTo>
                <a:lnTo>
                  <a:pt x="84" y="18"/>
                </a:lnTo>
                <a:lnTo>
                  <a:pt x="90" y="18"/>
                </a:lnTo>
                <a:lnTo>
                  <a:pt x="90" y="18"/>
                </a:lnTo>
                <a:lnTo>
                  <a:pt x="90" y="12"/>
                </a:lnTo>
                <a:lnTo>
                  <a:pt x="90" y="18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210" y="6"/>
                </a:lnTo>
                <a:lnTo>
                  <a:pt x="240" y="12"/>
                </a:lnTo>
                <a:lnTo>
                  <a:pt x="258" y="12"/>
                </a:lnTo>
                <a:lnTo>
                  <a:pt x="324" y="18"/>
                </a:lnTo>
                <a:lnTo>
                  <a:pt x="390" y="24"/>
                </a:lnTo>
                <a:lnTo>
                  <a:pt x="450" y="24"/>
                </a:lnTo>
                <a:lnTo>
                  <a:pt x="510" y="30"/>
                </a:lnTo>
                <a:lnTo>
                  <a:pt x="516" y="30"/>
                </a:lnTo>
                <a:lnTo>
                  <a:pt x="516" y="36"/>
                </a:lnTo>
                <a:lnTo>
                  <a:pt x="516" y="42"/>
                </a:lnTo>
                <a:lnTo>
                  <a:pt x="516" y="42"/>
                </a:lnTo>
                <a:lnTo>
                  <a:pt x="510" y="42"/>
                </a:lnTo>
                <a:lnTo>
                  <a:pt x="510" y="42"/>
                </a:lnTo>
                <a:lnTo>
                  <a:pt x="504" y="48"/>
                </a:lnTo>
                <a:lnTo>
                  <a:pt x="504" y="48"/>
                </a:lnTo>
                <a:lnTo>
                  <a:pt x="504" y="48"/>
                </a:lnTo>
                <a:lnTo>
                  <a:pt x="498" y="48"/>
                </a:lnTo>
                <a:lnTo>
                  <a:pt x="492" y="54"/>
                </a:lnTo>
                <a:lnTo>
                  <a:pt x="492" y="60"/>
                </a:lnTo>
                <a:lnTo>
                  <a:pt x="486" y="60"/>
                </a:lnTo>
                <a:lnTo>
                  <a:pt x="486" y="66"/>
                </a:lnTo>
                <a:lnTo>
                  <a:pt x="480" y="66"/>
                </a:lnTo>
                <a:lnTo>
                  <a:pt x="480" y="72"/>
                </a:lnTo>
                <a:lnTo>
                  <a:pt x="480" y="72"/>
                </a:lnTo>
                <a:lnTo>
                  <a:pt x="474" y="78"/>
                </a:lnTo>
                <a:lnTo>
                  <a:pt x="474" y="78"/>
                </a:lnTo>
                <a:lnTo>
                  <a:pt x="474" y="78"/>
                </a:lnTo>
                <a:lnTo>
                  <a:pt x="468" y="78"/>
                </a:lnTo>
                <a:lnTo>
                  <a:pt x="468" y="84"/>
                </a:lnTo>
                <a:lnTo>
                  <a:pt x="468" y="84"/>
                </a:lnTo>
                <a:lnTo>
                  <a:pt x="468" y="90"/>
                </a:lnTo>
                <a:lnTo>
                  <a:pt x="468" y="90"/>
                </a:lnTo>
                <a:lnTo>
                  <a:pt x="468" y="90"/>
                </a:lnTo>
                <a:lnTo>
                  <a:pt x="474" y="90"/>
                </a:lnTo>
                <a:lnTo>
                  <a:pt x="474" y="96"/>
                </a:lnTo>
                <a:lnTo>
                  <a:pt x="468" y="96"/>
                </a:lnTo>
                <a:lnTo>
                  <a:pt x="474" y="102"/>
                </a:lnTo>
                <a:lnTo>
                  <a:pt x="474" y="102"/>
                </a:lnTo>
                <a:lnTo>
                  <a:pt x="474" y="102"/>
                </a:lnTo>
                <a:lnTo>
                  <a:pt x="474" y="102"/>
                </a:lnTo>
                <a:lnTo>
                  <a:pt x="474" y="108"/>
                </a:lnTo>
                <a:lnTo>
                  <a:pt x="474" y="108"/>
                </a:lnTo>
                <a:lnTo>
                  <a:pt x="474" y="108"/>
                </a:lnTo>
                <a:lnTo>
                  <a:pt x="474" y="108"/>
                </a:lnTo>
                <a:lnTo>
                  <a:pt x="474" y="114"/>
                </a:lnTo>
                <a:lnTo>
                  <a:pt x="468" y="114"/>
                </a:lnTo>
                <a:lnTo>
                  <a:pt x="468" y="114"/>
                </a:lnTo>
                <a:lnTo>
                  <a:pt x="468" y="114"/>
                </a:lnTo>
                <a:lnTo>
                  <a:pt x="462" y="120"/>
                </a:lnTo>
                <a:lnTo>
                  <a:pt x="462" y="126"/>
                </a:lnTo>
                <a:lnTo>
                  <a:pt x="462" y="132"/>
                </a:lnTo>
                <a:lnTo>
                  <a:pt x="456" y="138"/>
                </a:lnTo>
                <a:lnTo>
                  <a:pt x="456" y="144"/>
                </a:lnTo>
                <a:lnTo>
                  <a:pt x="456" y="144"/>
                </a:lnTo>
                <a:lnTo>
                  <a:pt x="456" y="144"/>
                </a:lnTo>
                <a:lnTo>
                  <a:pt x="462" y="150"/>
                </a:lnTo>
                <a:lnTo>
                  <a:pt x="462" y="150"/>
                </a:lnTo>
                <a:lnTo>
                  <a:pt x="462" y="150"/>
                </a:lnTo>
                <a:lnTo>
                  <a:pt x="456" y="156"/>
                </a:lnTo>
                <a:lnTo>
                  <a:pt x="456" y="162"/>
                </a:lnTo>
                <a:lnTo>
                  <a:pt x="456" y="162"/>
                </a:lnTo>
                <a:lnTo>
                  <a:pt x="456" y="162"/>
                </a:lnTo>
                <a:lnTo>
                  <a:pt x="456" y="168"/>
                </a:lnTo>
                <a:lnTo>
                  <a:pt x="456" y="174"/>
                </a:lnTo>
                <a:lnTo>
                  <a:pt x="450" y="174"/>
                </a:lnTo>
                <a:lnTo>
                  <a:pt x="426" y="156"/>
                </a:lnTo>
                <a:lnTo>
                  <a:pt x="414" y="150"/>
                </a:lnTo>
                <a:lnTo>
                  <a:pt x="384" y="138"/>
                </a:lnTo>
                <a:lnTo>
                  <a:pt x="384" y="138"/>
                </a:lnTo>
                <a:lnTo>
                  <a:pt x="372" y="144"/>
                </a:lnTo>
                <a:lnTo>
                  <a:pt x="366" y="144"/>
                </a:lnTo>
                <a:lnTo>
                  <a:pt x="360" y="144"/>
                </a:lnTo>
                <a:lnTo>
                  <a:pt x="354" y="144"/>
                </a:lnTo>
                <a:lnTo>
                  <a:pt x="348" y="144"/>
                </a:lnTo>
                <a:lnTo>
                  <a:pt x="348" y="144"/>
                </a:lnTo>
                <a:lnTo>
                  <a:pt x="342" y="138"/>
                </a:lnTo>
                <a:lnTo>
                  <a:pt x="336" y="138"/>
                </a:lnTo>
                <a:lnTo>
                  <a:pt x="330" y="138"/>
                </a:lnTo>
                <a:lnTo>
                  <a:pt x="330" y="132"/>
                </a:lnTo>
                <a:lnTo>
                  <a:pt x="330" y="132"/>
                </a:lnTo>
                <a:lnTo>
                  <a:pt x="324" y="132"/>
                </a:lnTo>
                <a:lnTo>
                  <a:pt x="324" y="132"/>
                </a:lnTo>
                <a:lnTo>
                  <a:pt x="318" y="132"/>
                </a:lnTo>
                <a:lnTo>
                  <a:pt x="318" y="132"/>
                </a:lnTo>
                <a:lnTo>
                  <a:pt x="312" y="126"/>
                </a:lnTo>
                <a:lnTo>
                  <a:pt x="312" y="132"/>
                </a:lnTo>
                <a:lnTo>
                  <a:pt x="312" y="132"/>
                </a:lnTo>
                <a:lnTo>
                  <a:pt x="312" y="132"/>
                </a:lnTo>
                <a:lnTo>
                  <a:pt x="306" y="126"/>
                </a:lnTo>
                <a:lnTo>
                  <a:pt x="306" y="126"/>
                </a:lnTo>
                <a:lnTo>
                  <a:pt x="306" y="132"/>
                </a:lnTo>
                <a:lnTo>
                  <a:pt x="306" y="126"/>
                </a:lnTo>
                <a:lnTo>
                  <a:pt x="306" y="132"/>
                </a:lnTo>
                <a:lnTo>
                  <a:pt x="300" y="132"/>
                </a:lnTo>
                <a:lnTo>
                  <a:pt x="300" y="132"/>
                </a:lnTo>
                <a:lnTo>
                  <a:pt x="300" y="132"/>
                </a:lnTo>
                <a:lnTo>
                  <a:pt x="300" y="132"/>
                </a:lnTo>
                <a:lnTo>
                  <a:pt x="300" y="132"/>
                </a:lnTo>
                <a:lnTo>
                  <a:pt x="300" y="132"/>
                </a:lnTo>
                <a:lnTo>
                  <a:pt x="294" y="132"/>
                </a:lnTo>
                <a:lnTo>
                  <a:pt x="294" y="132"/>
                </a:lnTo>
                <a:lnTo>
                  <a:pt x="294" y="132"/>
                </a:lnTo>
                <a:lnTo>
                  <a:pt x="294" y="132"/>
                </a:lnTo>
                <a:lnTo>
                  <a:pt x="294" y="132"/>
                </a:lnTo>
                <a:lnTo>
                  <a:pt x="294" y="132"/>
                </a:lnTo>
                <a:lnTo>
                  <a:pt x="288" y="132"/>
                </a:lnTo>
                <a:lnTo>
                  <a:pt x="288" y="138"/>
                </a:lnTo>
                <a:lnTo>
                  <a:pt x="288" y="138"/>
                </a:lnTo>
                <a:lnTo>
                  <a:pt x="288" y="138"/>
                </a:lnTo>
                <a:lnTo>
                  <a:pt x="282" y="138"/>
                </a:lnTo>
                <a:lnTo>
                  <a:pt x="282" y="138"/>
                </a:lnTo>
                <a:lnTo>
                  <a:pt x="282" y="144"/>
                </a:lnTo>
                <a:lnTo>
                  <a:pt x="282" y="144"/>
                </a:lnTo>
                <a:lnTo>
                  <a:pt x="282" y="144"/>
                </a:lnTo>
                <a:lnTo>
                  <a:pt x="282" y="144"/>
                </a:lnTo>
                <a:lnTo>
                  <a:pt x="282" y="144"/>
                </a:lnTo>
                <a:lnTo>
                  <a:pt x="282" y="144"/>
                </a:lnTo>
                <a:lnTo>
                  <a:pt x="276" y="144"/>
                </a:lnTo>
                <a:lnTo>
                  <a:pt x="276" y="144"/>
                </a:lnTo>
                <a:lnTo>
                  <a:pt x="276" y="144"/>
                </a:lnTo>
                <a:lnTo>
                  <a:pt x="276" y="144"/>
                </a:lnTo>
                <a:lnTo>
                  <a:pt x="270" y="144"/>
                </a:lnTo>
                <a:lnTo>
                  <a:pt x="270" y="144"/>
                </a:lnTo>
                <a:lnTo>
                  <a:pt x="270" y="144"/>
                </a:lnTo>
                <a:lnTo>
                  <a:pt x="270" y="150"/>
                </a:lnTo>
                <a:lnTo>
                  <a:pt x="270" y="150"/>
                </a:lnTo>
                <a:lnTo>
                  <a:pt x="270" y="150"/>
                </a:lnTo>
                <a:lnTo>
                  <a:pt x="264" y="150"/>
                </a:lnTo>
                <a:lnTo>
                  <a:pt x="264" y="150"/>
                </a:lnTo>
                <a:lnTo>
                  <a:pt x="264" y="150"/>
                </a:lnTo>
                <a:lnTo>
                  <a:pt x="264" y="150"/>
                </a:lnTo>
                <a:lnTo>
                  <a:pt x="264" y="150"/>
                </a:lnTo>
                <a:lnTo>
                  <a:pt x="264" y="150"/>
                </a:lnTo>
                <a:lnTo>
                  <a:pt x="264" y="150"/>
                </a:lnTo>
                <a:lnTo>
                  <a:pt x="264" y="150"/>
                </a:lnTo>
                <a:lnTo>
                  <a:pt x="264" y="150"/>
                </a:lnTo>
                <a:lnTo>
                  <a:pt x="264" y="150"/>
                </a:lnTo>
                <a:lnTo>
                  <a:pt x="264" y="150"/>
                </a:lnTo>
                <a:lnTo>
                  <a:pt x="264" y="150"/>
                </a:lnTo>
                <a:lnTo>
                  <a:pt x="258" y="150"/>
                </a:lnTo>
                <a:lnTo>
                  <a:pt x="258" y="150"/>
                </a:lnTo>
                <a:lnTo>
                  <a:pt x="258" y="150"/>
                </a:lnTo>
                <a:lnTo>
                  <a:pt x="258" y="150"/>
                </a:lnTo>
                <a:lnTo>
                  <a:pt x="258" y="150"/>
                </a:lnTo>
                <a:lnTo>
                  <a:pt x="258" y="144"/>
                </a:lnTo>
                <a:lnTo>
                  <a:pt x="258" y="144"/>
                </a:lnTo>
                <a:lnTo>
                  <a:pt x="258" y="144"/>
                </a:lnTo>
                <a:lnTo>
                  <a:pt x="258" y="144"/>
                </a:lnTo>
                <a:lnTo>
                  <a:pt x="258" y="144"/>
                </a:lnTo>
                <a:lnTo>
                  <a:pt x="258" y="144"/>
                </a:lnTo>
                <a:lnTo>
                  <a:pt x="258" y="144"/>
                </a:lnTo>
                <a:lnTo>
                  <a:pt x="258" y="144"/>
                </a:lnTo>
                <a:lnTo>
                  <a:pt x="258" y="144"/>
                </a:lnTo>
                <a:lnTo>
                  <a:pt x="258" y="144"/>
                </a:lnTo>
                <a:lnTo>
                  <a:pt x="258" y="144"/>
                </a:lnTo>
                <a:lnTo>
                  <a:pt x="258" y="144"/>
                </a:lnTo>
                <a:lnTo>
                  <a:pt x="258" y="144"/>
                </a:lnTo>
                <a:lnTo>
                  <a:pt x="252" y="144"/>
                </a:lnTo>
                <a:lnTo>
                  <a:pt x="252" y="144"/>
                </a:lnTo>
                <a:lnTo>
                  <a:pt x="252" y="144"/>
                </a:lnTo>
                <a:lnTo>
                  <a:pt x="252" y="144"/>
                </a:lnTo>
                <a:lnTo>
                  <a:pt x="252" y="144"/>
                </a:lnTo>
                <a:lnTo>
                  <a:pt x="252" y="144"/>
                </a:lnTo>
                <a:lnTo>
                  <a:pt x="252" y="144"/>
                </a:lnTo>
                <a:lnTo>
                  <a:pt x="252" y="144"/>
                </a:lnTo>
                <a:lnTo>
                  <a:pt x="252" y="144"/>
                </a:lnTo>
                <a:lnTo>
                  <a:pt x="252" y="144"/>
                </a:lnTo>
                <a:lnTo>
                  <a:pt x="252" y="144"/>
                </a:lnTo>
                <a:lnTo>
                  <a:pt x="252" y="150"/>
                </a:lnTo>
                <a:lnTo>
                  <a:pt x="252" y="150"/>
                </a:lnTo>
                <a:lnTo>
                  <a:pt x="252" y="150"/>
                </a:lnTo>
                <a:lnTo>
                  <a:pt x="252" y="150"/>
                </a:lnTo>
                <a:lnTo>
                  <a:pt x="252" y="150"/>
                </a:lnTo>
                <a:lnTo>
                  <a:pt x="252" y="150"/>
                </a:lnTo>
                <a:lnTo>
                  <a:pt x="252" y="150"/>
                </a:lnTo>
                <a:lnTo>
                  <a:pt x="246" y="150"/>
                </a:lnTo>
                <a:lnTo>
                  <a:pt x="246" y="150"/>
                </a:lnTo>
                <a:lnTo>
                  <a:pt x="246" y="150"/>
                </a:lnTo>
                <a:lnTo>
                  <a:pt x="246" y="150"/>
                </a:lnTo>
                <a:lnTo>
                  <a:pt x="246" y="150"/>
                </a:lnTo>
                <a:lnTo>
                  <a:pt x="246" y="150"/>
                </a:lnTo>
                <a:lnTo>
                  <a:pt x="246" y="150"/>
                </a:lnTo>
                <a:lnTo>
                  <a:pt x="246" y="150"/>
                </a:lnTo>
                <a:lnTo>
                  <a:pt x="246" y="150"/>
                </a:lnTo>
                <a:lnTo>
                  <a:pt x="246" y="150"/>
                </a:lnTo>
                <a:lnTo>
                  <a:pt x="246" y="150"/>
                </a:lnTo>
                <a:lnTo>
                  <a:pt x="246" y="150"/>
                </a:lnTo>
                <a:lnTo>
                  <a:pt x="240" y="150"/>
                </a:lnTo>
                <a:lnTo>
                  <a:pt x="240" y="150"/>
                </a:lnTo>
                <a:lnTo>
                  <a:pt x="240" y="150"/>
                </a:lnTo>
                <a:lnTo>
                  <a:pt x="240" y="150"/>
                </a:lnTo>
                <a:lnTo>
                  <a:pt x="240" y="150"/>
                </a:lnTo>
                <a:lnTo>
                  <a:pt x="240" y="150"/>
                </a:lnTo>
                <a:lnTo>
                  <a:pt x="234" y="150"/>
                </a:lnTo>
                <a:lnTo>
                  <a:pt x="234" y="150"/>
                </a:lnTo>
                <a:lnTo>
                  <a:pt x="234" y="150"/>
                </a:lnTo>
                <a:lnTo>
                  <a:pt x="234" y="150"/>
                </a:lnTo>
                <a:lnTo>
                  <a:pt x="234" y="156"/>
                </a:lnTo>
                <a:lnTo>
                  <a:pt x="234" y="156"/>
                </a:lnTo>
                <a:lnTo>
                  <a:pt x="234" y="156"/>
                </a:lnTo>
                <a:lnTo>
                  <a:pt x="234" y="156"/>
                </a:lnTo>
                <a:lnTo>
                  <a:pt x="228" y="156"/>
                </a:lnTo>
                <a:lnTo>
                  <a:pt x="210" y="156"/>
                </a:lnTo>
                <a:lnTo>
                  <a:pt x="204" y="156"/>
                </a:lnTo>
                <a:lnTo>
                  <a:pt x="198" y="156"/>
                </a:lnTo>
                <a:lnTo>
                  <a:pt x="192" y="168"/>
                </a:lnTo>
                <a:lnTo>
                  <a:pt x="192" y="168"/>
                </a:lnTo>
                <a:lnTo>
                  <a:pt x="186" y="168"/>
                </a:lnTo>
                <a:lnTo>
                  <a:pt x="186" y="168"/>
                </a:lnTo>
                <a:lnTo>
                  <a:pt x="186" y="168"/>
                </a:lnTo>
                <a:lnTo>
                  <a:pt x="186" y="168"/>
                </a:lnTo>
                <a:lnTo>
                  <a:pt x="186" y="174"/>
                </a:lnTo>
                <a:lnTo>
                  <a:pt x="186" y="174"/>
                </a:lnTo>
                <a:lnTo>
                  <a:pt x="186" y="174"/>
                </a:lnTo>
                <a:lnTo>
                  <a:pt x="180" y="174"/>
                </a:lnTo>
                <a:lnTo>
                  <a:pt x="180" y="174"/>
                </a:lnTo>
                <a:lnTo>
                  <a:pt x="180" y="180"/>
                </a:lnTo>
                <a:lnTo>
                  <a:pt x="174" y="180"/>
                </a:lnTo>
                <a:lnTo>
                  <a:pt x="174" y="180"/>
                </a:lnTo>
                <a:lnTo>
                  <a:pt x="174" y="180"/>
                </a:lnTo>
                <a:lnTo>
                  <a:pt x="174" y="186"/>
                </a:lnTo>
                <a:lnTo>
                  <a:pt x="174" y="186"/>
                </a:lnTo>
                <a:lnTo>
                  <a:pt x="168" y="192"/>
                </a:lnTo>
                <a:lnTo>
                  <a:pt x="156" y="192"/>
                </a:lnTo>
                <a:lnTo>
                  <a:pt x="150" y="192"/>
                </a:lnTo>
                <a:lnTo>
                  <a:pt x="150" y="192"/>
                </a:lnTo>
                <a:lnTo>
                  <a:pt x="150" y="192"/>
                </a:lnTo>
                <a:lnTo>
                  <a:pt x="150" y="192"/>
                </a:lnTo>
                <a:lnTo>
                  <a:pt x="150" y="192"/>
                </a:lnTo>
                <a:lnTo>
                  <a:pt x="150" y="192"/>
                </a:lnTo>
                <a:lnTo>
                  <a:pt x="144" y="192"/>
                </a:lnTo>
                <a:lnTo>
                  <a:pt x="144" y="198"/>
                </a:lnTo>
                <a:lnTo>
                  <a:pt x="144" y="198"/>
                </a:lnTo>
                <a:lnTo>
                  <a:pt x="144" y="204"/>
                </a:lnTo>
                <a:lnTo>
                  <a:pt x="144" y="204"/>
                </a:lnTo>
                <a:lnTo>
                  <a:pt x="138" y="204"/>
                </a:lnTo>
                <a:lnTo>
                  <a:pt x="138" y="198"/>
                </a:lnTo>
                <a:lnTo>
                  <a:pt x="138" y="198"/>
                </a:lnTo>
                <a:lnTo>
                  <a:pt x="138" y="198"/>
                </a:lnTo>
                <a:lnTo>
                  <a:pt x="138" y="198"/>
                </a:lnTo>
                <a:lnTo>
                  <a:pt x="132" y="198"/>
                </a:lnTo>
                <a:lnTo>
                  <a:pt x="132" y="198"/>
                </a:lnTo>
                <a:lnTo>
                  <a:pt x="132" y="198"/>
                </a:lnTo>
                <a:lnTo>
                  <a:pt x="126" y="198"/>
                </a:lnTo>
                <a:lnTo>
                  <a:pt x="126" y="198"/>
                </a:lnTo>
                <a:lnTo>
                  <a:pt x="126" y="198"/>
                </a:lnTo>
                <a:lnTo>
                  <a:pt x="126" y="198"/>
                </a:lnTo>
                <a:lnTo>
                  <a:pt x="126" y="198"/>
                </a:lnTo>
                <a:lnTo>
                  <a:pt x="120" y="198"/>
                </a:lnTo>
                <a:lnTo>
                  <a:pt x="120" y="198"/>
                </a:lnTo>
                <a:lnTo>
                  <a:pt x="120" y="198"/>
                </a:lnTo>
                <a:lnTo>
                  <a:pt x="114" y="198"/>
                </a:lnTo>
                <a:lnTo>
                  <a:pt x="114" y="198"/>
                </a:lnTo>
                <a:lnTo>
                  <a:pt x="114" y="198"/>
                </a:lnTo>
                <a:lnTo>
                  <a:pt x="108" y="198"/>
                </a:lnTo>
                <a:lnTo>
                  <a:pt x="108" y="198"/>
                </a:lnTo>
                <a:lnTo>
                  <a:pt x="108" y="198"/>
                </a:lnTo>
                <a:lnTo>
                  <a:pt x="108" y="198"/>
                </a:lnTo>
                <a:lnTo>
                  <a:pt x="102" y="198"/>
                </a:lnTo>
                <a:lnTo>
                  <a:pt x="102" y="198"/>
                </a:lnTo>
                <a:lnTo>
                  <a:pt x="96" y="198"/>
                </a:lnTo>
                <a:lnTo>
                  <a:pt x="96" y="198"/>
                </a:lnTo>
                <a:lnTo>
                  <a:pt x="96" y="192"/>
                </a:lnTo>
                <a:lnTo>
                  <a:pt x="96" y="192"/>
                </a:lnTo>
                <a:lnTo>
                  <a:pt x="96" y="192"/>
                </a:lnTo>
                <a:lnTo>
                  <a:pt x="96" y="186"/>
                </a:lnTo>
                <a:lnTo>
                  <a:pt x="96" y="186"/>
                </a:lnTo>
                <a:lnTo>
                  <a:pt x="96" y="192"/>
                </a:lnTo>
                <a:lnTo>
                  <a:pt x="96" y="186"/>
                </a:lnTo>
                <a:lnTo>
                  <a:pt x="96" y="186"/>
                </a:lnTo>
                <a:lnTo>
                  <a:pt x="90" y="186"/>
                </a:lnTo>
                <a:lnTo>
                  <a:pt x="90" y="180"/>
                </a:lnTo>
                <a:lnTo>
                  <a:pt x="90" y="186"/>
                </a:lnTo>
                <a:lnTo>
                  <a:pt x="90" y="186"/>
                </a:lnTo>
                <a:lnTo>
                  <a:pt x="84" y="186"/>
                </a:lnTo>
                <a:lnTo>
                  <a:pt x="84" y="186"/>
                </a:lnTo>
                <a:lnTo>
                  <a:pt x="84" y="192"/>
                </a:lnTo>
                <a:lnTo>
                  <a:pt x="84" y="192"/>
                </a:lnTo>
                <a:lnTo>
                  <a:pt x="78" y="192"/>
                </a:lnTo>
                <a:lnTo>
                  <a:pt x="78" y="192"/>
                </a:lnTo>
                <a:lnTo>
                  <a:pt x="78" y="192"/>
                </a:lnTo>
                <a:lnTo>
                  <a:pt x="78" y="192"/>
                </a:lnTo>
                <a:lnTo>
                  <a:pt x="72" y="192"/>
                </a:lnTo>
                <a:lnTo>
                  <a:pt x="72" y="198"/>
                </a:lnTo>
                <a:lnTo>
                  <a:pt x="72" y="198"/>
                </a:lnTo>
                <a:lnTo>
                  <a:pt x="72" y="198"/>
                </a:lnTo>
                <a:lnTo>
                  <a:pt x="66" y="198"/>
                </a:lnTo>
                <a:lnTo>
                  <a:pt x="66" y="198"/>
                </a:lnTo>
                <a:lnTo>
                  <a:pt x="60" y="198"/>
                </a:lnTo>
                <a:lnTo>
                  <a:pt x="60" y="204"/>
                </a:lnTo>
                <a:lnTo>
                  <a:pt x="60" y="204"/>
                </a:lnTo>
                <a:lnTo>
                  <a:pt x="60" y="204"/>
                </a:lnTo>
                <a:lnTo>
                  <a:pt x="54" y="204"/>
                </a:lnTo>
                <a:lnTo>
                  <a:pt x="54" y="204"/>
                </a:lnTo>
                <a:lnTo>
                  <a:pt x="54" y="204"/>
                </a:lnTo>
                <a:lnTo>
                  <a:pt x="54" y="210"/>
                </a:lnTo>
                <a:lnTo>
                  <a:pt x="48" y="204"/>
                </a:lnTo>
                <a:lnTo>
                  <a:pt x="48" y="210"/>
                </a:lnTo>
                <a:lnTo>
                  <a:pt x="48" y="210"/>
                </a:lnTo>
                <a:lnTo>
                  <a:pt x="42" y="210"/>
                </a:lnTo>
                <a:lnTo>
                  <a:pt x="36" y="210"/>
                </a:lnTo>
                <a:lnTo>
                  <a:pt x="36" y="210"/>
                </a:lnTo>
                <a:lnTo>
                  <a:pt x="36" y="216"/>
                </a:lnTo>
                <a:lnTo>
                  <a:pt x="36" y="216"/>
                </a:lnTo>
                <a:lnTo>
                  <a:pt x="24" y="216"/>
                </a:lnTo>
                <a:lnTo>
                  <a:pt x="18" y="216"/>
                </a:lnTo>
                <a:lnTo>
                  <a:pt x="18" y="216"/>
                </a:lnTo>
                <a:lnTo>
                  <a:pt x="12" y="216"/>
                </a:lnTo>
                <a:lnTo>
                  <a:pt x="12" y="210"/>
                </a:lnTo>
                <a:lnTo>
                  <a:pt x="12" y="210"/>
                </a:lnTo>
                <a:lnTo>
                  <a:pt x="6" y="210"/>
                </a:lnTo>
                <a:lnTo>
                  <a:pt x="6" y="210"/>
                </a:lnTo>
                <a:lnTo>
                  <a:pt x="0" y="210"/>
                </a:lnTo>
                <a:lnTo>
                  <a:pt x="0" y="210"/>
                </a:lnTo>
                <a:lnTo>
                  <a:pt x="0" y="210"/>
                </a:lnTo>
                <a:lnTo>
                  <a:pt x="0" y="204"/>
                </a:lnTo>
                <a:lnTo>
                  <a:pt x="0" y="204"/>
                </a:lnTo>
                <a:lnTo>
                  <a:pt x="0" y="204"/>
                </a:lnTo>
                <a:lnTo>
                  <a:pt x="0" y="204"/>
                </a:lnTo>
                <a:lnTo>
                  <a:pt x="6" y="198"/>
                </a:lnTo>
                <a:lnTo>
                  <a:pt x="6" y="198"/>
                </a:lnTo>
                <a:lnTo>
                  <a:pt x="6" y="198"/>
                </a:lnTo>
                <a:lnTo>
                  <a:pt x="6" y="198"/>
                </a:lnTo>
                <a:lnTo>
                  <a:pt x="6" y="198"/>
                </a:lnTo>
                <a:lnTo>
                  <a:pt x="6" y="192"/>
                </a:lnTo>
                <a:lnTo>
                  <a:pt x="6" y="192"/>
                </a:lnTo>
                <a:lnTo>
                  <a:pt x="6" y="192"/>
                </a:lnTo>
                <a:lnTo>
                  <a:pt x="12" y="192"/>
                </a:lnTo>
                <a:lnTo>
                  <a:pt x="12" y="186"/>
                </a:lnTo>
                <a:lnTo>
                  <a:pt x="12" y="186"/>
                </a:lnTo>
                <a:lnTo>
                  <a:pt x="18" y="186"/>
                </a:lnTo>
                <a:lnTo>
                  <a:pt x="18" y="180"/>
                </a:lnTo>
                <a:lnTo>
                  <a:pt x="18" y="180"/>
                </a:lnTo>
                <a:lnTo>
                  <a:pt x="24" y="174"/>
                </a:lnTo>
                <a:lnTo>
                  <a:pt x="24" y="174"/>
                </a:lnTo>
                <a:lnTo>
                  <a:pt x="24" y="162"/>
                </a:lnTo>
                <a:lnTo>
                  <a:pt x="24" y="16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90" name="Freeform 523"/>
          <p:cNvSpPr>
            <a:spLocks/>
          </p:cNvSpPr>
          <p:nvPr/>
        </p:nvSpPr>
        <p:spPr bwMode="auto">
          <a:xfrm>
            <a:off x="5933215" y="3242055"/>
            <a:ext cx="263386" cy="321205"/>
          </a:xfrm>
          <a:custGeom>
            <a:avLst/>
            <a:gdLst>
              <a:gd name="T0" fmla="*/ 6 w 246"/>
              <a:gd name="T1" fmla="*/ 258 h 300"/>
              <a:gd name="T2" fmla="*/ 12 w 246"/>
              <a:gd name="T3" fmla="*/ 258 h 300"/>
              <a:gd name="T4" fmla="*/ 18 w 246"/>
              <a:gd name="T5" fmla="*/ 264 h 300"/>
              <a:gd name="T6" fmla="*/ 30 w 246"/>
              <a:gd name="T7" fmla="*/ 264 h 300"/>
              <a:gd name="T8" fmla="*/ 36 w 246"/>
              <a:gd name="T9" fmla="*/ 258 h 300"/>
              <a:gd name="T10" fmla="*/ 42 w 246"/>
              <a:gd name="T11" fmla="*/ 252 h 300"/>
              <a:gd name="T12" fmla="*/ 54 w 246"/>
              <a:gd name="T13" fmla="*/ 246 h 300"/>
              <a:gd name="T14" fmla="*/ 60 w 246"/>
              <a:gd name="T15" fmla="*/ 240 h 300"/>
              <a:gd name="T16" fmla="*/ 72 w 246"/>
              <a:gd name="T17" fmla="*/ 228 h 300"/>
              <a:gd name="T18" fmla="*/ 84 w 246"/>
              <a:gd name="T19" fmla="*/ 228 h 300"/>
              <a:gd name="T20" fmla="*/ 96 w 246"/>
              <a:gd name="T21" fmla="*/ 222 h 300"/>
              <a:gd name="T22" fmla="*/ 96 w 246"/>
              <a:gd name="T23" fmla="*/ 198 h 300"/>
              <a:gd name="T24" fmla="*/ 90 w 246"/>
              <a:gd name="T25" fmla="*/ 162 h 300"/>
              <a:gd name="T26" fmla="*/ 78 w 246"/>
              <a:gd name="T27" fmla="*/ 150 h 300"/>
              <a:gd name="T28" fmla="*/ 54 w 246"/>
              <a:gd name="T29" fmla="*/ 144 h 300"/>
              <a:gd name="T30" fmla="*/ 60 w 246"/>
              <a:gd name="T31" fmla="*/ 42 h 300"/>
              <a:gd name="T32" fmla="*/ 72 w 246"/>
              <a:gd name="T33" fmla="*/ 36 h 300"/>
              <a:gd name="T34" fmla="*/ 78 w 246"/>
              <a:gd name="T35" fmla="*/ 30 h 300"/>
              <a:gd name="T36" fmla="*/ 114 w 246"/>
              <a:gd name="T37" fmla="*/ 6 h 300"/>
              <a:gd name="T38" fmla="*/ 120 w 246"/>
              <a:gd name="T39" fmla="*/ 6 h 300"/>
              <a:gd name="T40" fmla="*/ 132 w 246"/>
              <a:gd name="T41" fmla="*/ 0 h 300"/>
              <a:gd name="T42" fmla="*/ 120 w 246"/>
              <a:gd name="T43" fmla="*/ 66 h 300"/>
              <a:gd name="T44" fmla="*/ 150 w 246"/>
              <a:gd name="T45" fmla="*/ 102 h 300"/>
              <a:gd name="T46" fmla="*/ 150 w 246"/>
              <a:gd name="T47" fmla="*/ 120 h 300"/>
              <a:gd name="T48" fmla="*/ 162 w 246"/>
              <a:gd name="T49" fmla="*/ 126 h 300"/>
              <a:gd name="T50" fmla="*/ 174 w 246"/>
              <a:gd name="T51" fmla="*/ 126 h 300"/>
              <a:gd name="T52" fmla="*/ 180 w 246"/>
              <a:gd name="T53" fmla="*/ 132 h 300"/>
              <a:gd name="T54" fmla="*/ 174 w 246"/>
              <a:gd name="T55" fmla="*/ 150 h 300"/>
              <a:gd name="T56" fmla="*/ 192 w 246"/>
              <a:gd name="T57" fmla="*/ 150 h 300"/>
              <a:gd name="T58" fmla="*/ 204 w 246"/>
              <a:gd name="T59" fmla="*/ 150 h 300"/>
              <a:gd name="T60" fmla="*/ 216 w 246"/>
              <a:gd name="T61" fmla="*/ 156 h 300"/>
              <a:gd name="T62" fmla="*/ 228 w 246"/>
              <a:gd name="T63" fmla="*/ 162 h 300"/>
              <a:gd name="T64" fmla="*/ 228 w 246"/>
              <a:gd name="T65" fmla="*/ 180 h 300"/>
              <a:gd name="T66" fmla="*/ 210 w 246"/>
              <a:gd name="T67" fmla="*/ 198 h 300"/>
              <a:gd name="T68" fmla="*/ 210 w 246"/>
              <a:gd name="T69" fmla="*/ 216 h 300"/>
              <a:gd name="T70" fmla="*/ 210 w 246"/>
              <a:gd name="T71" fmla="*/ 234 h 300"/>
              <a:gd name="T72" fmla="*/ 222 w 246"/>
              <a:gd name="T73" fmla="*/ 234 h 300"/>
              <a:gd name="T74" fmla="*/ 246 w 246"/>
              <a:gd name="T75" fmla="*/ 246 h 300"/>
              <a:gd name="T76" fmla="*/ 228 w 246"/>
              <a:gd name="T77" fmla="*/ 264 h 300"/>
              <a:gd name="T78" fmla="*/ 204 w 246"/>
              <a:gd name="T79" fmla="*/ 276 h 300"/>
              <a:gd name="T80" fmla="*/ 198 w 246"/>
              <a:gd name="T81" fmla="*/ 288 h 300"/>
              <a:gd name="T82" fmla="*/ 186 w 246"/>
              <a:gd name="T83" fmla="*/ 294 h 300"/>
              <a:gd name="T84" fmla="*/ 174 w 246"/>
              <a:gd name="T85" fmla="*/ 300 h 300"/>
              <a:gd name="T86" fmla="*/ 156 w 246"/>
              <a:gd name="T87" fmla="*/ 300 h 300"/>
              <a:gd name="T88" fmla="*/ 156 w 246"/>
              <a:gd name="T89" fmla="*/ 288 h 300"/>
              <a:gd name="T90" fmla="*/ 144 w 246"/>
              <a:gd name="T91" fmla="*/ 276 h 300"/>
              <a:gd name="T92" fmla="*/ 126 w 246"/>
              <a:gd name="T93" fmla="*/ 282 h 300"/>
              <a:gd name="T94" fmla="*/ 108 w 246"/>
              <a:gd name="T95" fmla="*/ 282 h 300"/>
              <a:gd name="T96" fmla="*/ 96 w 246"/>
              <a:gd name="T97" fmla="*/ 294 h 300"/>
              <a:gd name="T98" fmla="*/ 78 w 246"/>
              <a:gd name="T99" fmla="*/ 294 h 300"/>
              <a:gd name="T100" fmla="*/ 72 w 246"/>
              <a:gd name="T101" fmla="*/ 300 h 300"/>
              <a:gd name="T102" fmla="*/ 60 w 246"/>
              <a:gd name="T103" fmla="*/ 300 h 300"/>
              <a:gd name="T104" fmla="*/ 54 w 246"/>
              <a:gd name="T105" fmla="*/ 300 h 300"/>
              <a:gd name="T106" fmla="*/ 48 w 246"/>
              <a:gd name="T107" fmla="*/ 294 h 300"/>
              <a:gd name="T108" fmla="*/ 42 w 246"/>
              <a:gd name="T109" fmla="*/ 288 h 300"/>
              <a:gd name="T110" fmla="*/ 36 w 246"/>
              <a:gd name="T111" fmla="*/ 288 h 300"/>
              <a:gd name="T112" fmla="*/ 24 w 246"/>
              <a:gd name="T113" fmla="*/ 282 h 300"/>
              <a:gd name="T114" fmla="*/ 12 w 246"/>
              <a:gd name="T115" fmla="*/ 276 h 300"/>
              <a:gd name="T116" fmla="*/ 6 w 246"/>
              <a:gd name="T117" fmla="*/ 276 h 300"/>
              <a:gd name="T118" fmla="*/ 0 w 246"/>
              <a:gd name="T119" fmla="*/ 270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46" h="300">
                <a:moveTo>
                  <a:pt x="0" y="264"/>
                </a:moveTo>
                <a:lnTo>
                  <a:pt x="0" y="264"/>
                </a:lnTo>
                <a:lnTo>
                  <a:pt x="0" y="264"/>
                </a:lnTo>
                <a:lnTo>
                  <a:pt x="0" y="264"/>
                </a:lnTo>
                <a:lnTo>
                  <a:pt x="0" y="264"/>
                </a:lnTo>
                <a:lnTo>
                  <a:pt x="0" y="264"/>
                </a:lnTo>
                <a:lnTo>
                  <a:pt x="0" y="258"/>
                </a:lnTo>
                <a:lnTo>
                  <a:pt x="0" y="264"/>
                </a:lnTo>
                <a:lnTo>
                  <a:pt x="0" y="264"/>
                </a:lnTo>
                <a:lnTo>
                  <a:pt x="0" y="258"/>
                </a:lnTo>
                <a:lnTo>
                  <a:pt x="0" y="258"/>
                </a:lnTo>
                <a:lnTo>
                  <a:pt x="0" y="258"/>
                </a:lnTo>
                <a:lnTo>
                  <a:pt x="0" y="258"/>
                </a:lnTo>
                <a:lnTo>
                  <a:pt x="6" y="258"/>
                </a:lnTo>
                <a:lnTo>
                  <a:pt x="6" y="258"/>
                </a:lnTo>
                <a:lnTo>
                  <a:pt x="6" y="258"/>
                </a:lnTo>
                <a:lnTo>
                  <a:pt x="6" y="258"/>
                </a:lnTo>
                <a:lnTo>
                  <a:pt x="6" y="258"/>
                </a:lnTo>
                <a:lnTo>
                  <a:pt x="6" y="258"/>
                </a:lnTo>
                <a:lnTo>
                  <a:pt x="6" y="258"/>
                </a:lnTo>
                <a:lnTo>
                  <a:pt x="6" y="258"/>
                </a:lnTo>
                <a:lnTo>
                  <a:pt x="6" y="258"/>
                </a:lnTo>
                <a:lnTo>
                  <a:pt x="12" y="258"/>
                </a:lnTo>
                <a:lnTo>
                  <a:pt x="12" y="258"/>
                </a:lnTo>
                <a:lnTo>
                  <a:pt x="12" y="258"/>
                </a:lnTo>
                <a:lnTo>
                  <a:pt x="12" y="258"/>
                </a:lnTo>
                <a:lnTo>
                  <a:pt x="12" y="258"/>
                </a:lnTo>
                <a:lnTo>
                  <a:pt x="12" y="258"/>
                </a:lnTo>
                <a:lnTo>
                  <a:pt x="12" y="264"/>
                </a:lnTo>
                <a:lnTo>
                  <a:pt x="12" y="258"/>
                </a:lnTo>
                <a:lnTo>
                  <a:pt x="12" y="258"/>
                </a:lnTo>
                <a:lnTo>
                  <a:pt x="12" y="264"/>
                </a:lnTo>
                <a:lnTo>
                  <a:pt x="12" y="258"/>
                </a:lnTo>
                <a:lnTo>
                  <a:pt x="12" y="258"/>
                </a:lnTo>
                <a:lnTo>
                  <a:pt x="12" y="258"/>
                </a:lnTo>
                <a:lnTo>
                  <a:pt x="18" y="258"/>
                </a:lnTo>
                <a:lnTo>
                  <a:pt x="18" y="264"/>
                </a:lnTo>
                <a:lnTo>
                  <a:pt x="18" y="264"/>
                </a:lnTo>
                <a:lnTo>
                  <a:pt x="18" y="264"/>
                </a:lnTo>
                <a:lnTo>
                  <a:pt x="18" y="264"/>
                </a:lnTo>
                <a:lnTo>
                  <a:pt x="18" y="264"/>
                </a:lnTo>
                <a:lnTo>
                  <a:pt x="18" y="264"/>
                </a:lnTo>
                <a:lnTo>
                  <a:pt x="18" y="264"/>
                </a:lnTo>
                <a:lnTo>
                  <a:pt x="18" y="264"/>
                </a:lnTo>
                <a:lnTo>
                  <a:pt x="18" y="264"/>
                </a:lnTo>
                <a:lnTo>
                  <a:pt x="24" y="264"/>
                </a:lnTo>
                <a:lnTo>
                  <a:pt x="24" y="264"/>
                </a:lnTo>
                <a:lnTo>
                  <a:pt x="24" y="264"/>
                </a:lnTo>
                <a:lnTo>
                  <a:pt x="24" y="264"/>
                </a:lnTo>
                <a:lnTo>
                  <a:pt x="24" y="264"/>
                </a:lnTo>
                <a:lnTo>
                  <a:pt x="24" y="264"/>
                </a:lnTo>
                <a:lnTo>
                  <a:pt x="24" y="264"/>
                </a:lnTo>
                <a:lnTo>
                  <a:pt x="24" y="264"/>
                </a:lnTo>
                <a:lnTo>
                  <a:pt x="30" y="264"/>
                </a:lnTo>
                <a:lnTo>
                  <a:pt x="30" y="264"/>
                </a:lnTo>
                <a:lnTo>
                  <a:pt x="30" y="264"/>
                </a:lnTo>
                <a:lnTo>
                  <a:pt x="30" y="258"/>
                </a:lnTo>
                <a:lnTo>
                  <a:pt x="30" y="258"/>
                </a:lnTo>
                <a:lnTo>
                  <a:pt x="30" y="258"/>
                </a:lnTo>
                <a:lnTo>
                  <a:pt x="30" y="258"/>
                </a:lnTo>
                <a:lnTo>
                  <a:pt x="30" y="258"/>
                </a:lnTo>
                <a:lnTo>
                  <a:pt x="30" y="258"/>
                </a:lnTo>
                <a:lnTo>
                  <a:pt x="30" y="258"/>
                </a:lnTo>
                <a:lnTo>
                  <a:pt x="36" y="258"/>
                </a:lnTo>
                <a:lnTo>
                  <a:pt x="36" y="258"/>
                </a:lnTo>
                <a:lnTo>
                  <a:pt x="36" y="258"/>
                </a:lnTo>
                <a:lnTo>
                  <a:pt x="36" y="258"/>
                </a:lnTo>
                <a:lnTo>
                  <a:pt x="36" y="258"/>
                </a:lnTo>
                <a:lnTo>
                  <a:pt x="36" y="258"/>
                </a:lnTo>
                <a:lnTo>
                  <a:pt x="36" y="258"/>
                </a:lnTo>
                <a:lnTo>
                  <a:pt x="36" y="252"/>
                </a:lnTo>
                <a:lnTo>
                  <a:pt x="36" y="252"/>
                </a:lnTo>
                <a:lnTo>
                  <a:pt x="36" y="252"/>
                </a:lnTo>
                <a:lnTo>
                  <a:pt x="36" y="252"/>
                </a:lnTo>
                <a:lnTo>
                  <a:pt x="42" y="252"/>
                </a:lnTo>
                <a:lnTo>
                  <a:pt x="42" y="252"/>
                </a:lnTo>
                <a:lnTo>
                  <a:pt x="42" y="252"/>
                </a:lnTo>
                <a:lnTo>
                  <a:pt x="42" y="252"/>
                </a:lnTo>
                <a:lnTo>
                  <a:pt x="42" y="252"/>
                </a:lnTo>
                <a:lnTo>
                  <a:pt x="42" y="252"/>
                </a:lnTo>
                <a:lnTo>
                  <a:pt x="42" y="252"/>
                </a:lnTo>
                <a:lnTo>
                  <a:pt x="42" y="252"/>
                </a:lnTo>
                <a:lnTo>
                  <a:pt x="42" y="252"/>
                </a:lnTo>
                <a:lnTo>
                  <a:pt x="42" y="252"/>
                </a:lnTo>
                <a:lnTo>
                  <a:pt x="42" y="252"/>
                </a:lnTo>
                <a:lnTo>
                  <a:pt x="48" y="252"/>
                </a:lnTo>
                <a:lnTo>
                  <a:pt x="48" y="252"/>
                </a:lnTo>
                <a:lnTo>
                  <a:pt x="48" y="252"/>
                </a:lnTo>
                <a:lnTo>
                  <a:pt x="48" y="252"/>
                </a:lnTo>
                <a:lnTo>
                  <a:pt x="48" y="252"/>
                </a:lnTo>
                <a:lnTo>
                  <a:pt x="48" y="252"/>
                </a:lnTo>
                <a:lnTo>
                  <a:pt x="48" y="252"/>
                </a:lnTo>
                <a:lnTo>
                  <a:pt x="48" y="252"/>
                </a:lnTo>
                <a:lnTo>
                  <a:pt x="48" y="252"/>
                </a:lnTo>
                <a:lnTo>
                  <a:pt x="48" y="246"/>
                </a:lnTo>
                <a:lnTo>
                  <a:pt x="48" y="246"/>
                </a:lnTo>
                <a:lnTo>
                  <a:pt x="48" y="246"/>
                </a:lnTo>
                <a:lnTo>
                  <a:pt x="54" y="246"/>
                </a:lnTo>
                <a:lnTo>
                  <a:pt x="54" y="246"/>
                </a:lnTo>
                <a:lnTo>
                  <a:pt x="54" y="246"/>
                </a:lnTo>
                <a:lnTo>
                  <a:pt x="54" y="246"/>
                </a:lnTo>
                <a:lnTo>
                  <a:pt x="54" y="246"/>
                </a:lnTo>
                <a:lnTo>
                  <a:pt x="54" y="240"/>
                </a:lnTo>
                <a:lnTo>
                  <a:pt x="54" y="240"/>
                </a:lnTo>
                <a:lnTo>
                  <a:pt x="54" y="240"/>
                </a:lnTo>
                <a:lnTo>
                  <a:pt x="54" y="240"/>
                </a:lnTo>
                <a:lnTo>
                  <a:pt x="54" y="240"/>
                </a:lnTo>
                <a:lnTo>
                  <a:pt x="60" y="240"/>
                </a:lnTo>
                <a:lnTo>
                  <a:pt x="60" y="240"/>
                </a:lnTo>
                <a:lnTo>
                  <a:pt x="60" y="240"/>
                </a:lnTo>
                <a:lnTo>
                  <a:pt x="60" y="240"/>
                </a:lnTo>
                <a:lnTo>
                  <a:pt x="60" y="240"/>
                </a:lnTo>
                <a:lnTo>
                  <a:pt x="60" y="240"/>
                </a:lnTo>
                <a:lnTo>
                  <a:pt x="60" y="240"/>
                </a:lnTo>
                <a:lnTo>
                  <a:pt x="60" y="240"/>
                </a:lnTo>
                <a:lnTo>
                  <a:pt x="60" y="240"/>
                </a:lnTo>
                <a:lnTo>
                  <a:pt x="60" y="240"/>
                </a:lnTo>
                <a:lnTo>
                  <a:pt x="66" y="234"/>
                </a:lnTo>
                <a:lnTo>
                  <a:pt x="66" y="234"/>
                </a:lnTo>
                <a:lnTo>
                  <a:pt x="66" y="234"/>
                </a:lnTo>
                <a:lnTo>
                  <a:pt x="66" y="234"/>
                </a:lnTo>
                <a:lnTo>
                  <a:pt x="66" y="234"/>
                </a:lnTo>
                <a:lnTo>
                  <a:pt x="66" y="234"/>
                </a:lnTo>
                <a:lnTo>
                  <a:pt x="66" y="234"/>
                </a:lnTo>
                <a:lnTo>
                  <a:pt x="66" y="234"/>
                </a:lnTo>
                <a:lnTo>
                  <a:pt x="72" y="228"/>
                </a:lnTo>
                <a:lnTo>
                  <a:pt x="72" y="228"/>
                </a:lnTo>
                <a:lnTo>
                  <a:pt x="72" y="228"/>
                </a:lnTo>
                <a:lnTo>
                  <a:pt x="72" y="228"/>
                </a:lnTo>
                <a:lnTo>
                  <a:pt x="72" y="228"/>
                </a:lnTo>
                <a:lnTo>
                  <a:pt x="72" y="228"/>
                </a:lnTo>
                <a:lnTo>
                  <a:pt x="72" y="228"/>
                </a:lnTo>
                <a:lnTo>
                  <a:pt x="72" y="228"/>
                </a:lnTo>
                <a:lnTo>
                  <a:pt x="78" y="228"/>
                </a:lnTo>
                <a:lnTo>
                  <a:pt x="78" y="228"/>
                </a:lnTo>
                <a:lnTo>
                  <a:pt x="78" y="228"/>
                </a:lnTo>
                <a:lnTo>
                  <a:pt x="78" y="228"/>
                </a:lnTo>
                <a:lnTo>
                  <a:pt x="78" y="228"/>
                </a:lnTo>
                <a:lnTo>
                  <a:pt x="84" y="228"/>
                </a:lnTo>
                <a:lnTo>
                  <a:pt x="84" y="228"/>
                </a:lnTo>
                <a:lnTo>
                  <a:pt x="84" y="228"/>
                </a:lnTo>
                <a:lnTo>
                  <a:pt x="84" y="228"/>
                </a:lnTo>
                <a:lnTo>
                  <a:pt x="84" y="228"/>
                </a:lnTo>
                <a:lnTo>
                  <a:pt x="84" y="228"/>
                </a:lnTo>
                <a:lnTo>
                  <a:pt x="84" y="228"/>
                </a:lnTo>
                <a:lnTo>
                  <a:pt x="84" y="228"/>
                </a:lnTo>
                <a:lnTo>
                  <a:pt x="84" y="228"/>
                </a:lnTo>
                <a:lnTo>
                  <a:pt x="84" y="228"/>
                </a:lnTo>
                <a:lnTo>
                  <a:pt x="84" y="228"/>
                </a:lnTo>
                <a:lnTo>
                  <a:pt x="90" y="222"/>
                </a:lnTo>
                <a:lnTo>
                  <a:pt x="96" y="228"/>
                </a:lnTo>
                <a:lnTo>
                  <a:pt x="96" y="222"/>
                </a:lnTo>
                <a:lnTo>
                  <a:pt x="96" y="222"/>
                </a:lnTo>
                <a:lnTo>
                  <a:pt x="96" y="222"/>
                </a:lnTo>
                <a:lnTo>
                  <a:pt x="96" y="222"/>
                </a:lnTo>
                <a:lnTo>
                  <a:pt x="96" y="216"/>
                </a:lnTo>
                <a:lnTo>
                  <a:pt x="96" y="216"/>
                </a:lnTo>
                <a:lnTo>
                  <a:pt x="96" y="216"/>
                </a:lnTo>
                <a:lnTo>
                  <a:pt x="96" y="216"/>
                </a:lnTo>
                <a:lnTo>
                  <a:pt x="96" y="216"/>
                </a:lnTo>
                <a:lnTo>
                  <a:pt x="96" y="210"/>
                </a:lnTo>
                <a:lnTo>
                  <a:pt x="96" y="210"/>
                </a:lnTo>
                <a:lnTo>
                  <a:pt x="96" y="210"/>
                </a:lnTo>
                <a:lnTo>
                  <a:pt x="90" y="210"/>
                </a:lnTo>
                <a:lnTo>
                  <a:pt x="90" y="204"/>
                </a:lnTo>
                <a:lnTo>
                  <a:pt x="96" y="198"/>
                </a:lnTo>
                <a:lnTo>
                  <a:pt x="96" y="198"/>
                </a:lnTo>
                <a:lnTo>
                  <a:pt x="96" y="198"/>
                </a:lnTo>
                <a:lnTo>
                  <a:pt x="96" y="198"/>
                </a:lnTo>
                <a:lnTo>
                  <a:pt x="96" y="192"/>
                </a:lnTo>
                <a:lnTo>
                  <a:pt x="96" y="192"/>
                </a:lnTo>
                <a:lnTo>
                  <a:pt x="96" y="192"/>
                </a:lnTo>
                <a:lnTo>
                  <a:pt x="96" y="186"/>
                </a:lnTo>
                <a:lnTo>
                  <a:pt x="96" y="186"/>
                </a:lnTo>
                <a:lnTo>
                  <a:pt x="96" y="186"/>
                </a:lnTo>
                <a:lnTo>
                  <a:pt x="96" y="180"/>
                </a:lnTo>
                <a:lnTo>
                  <a:pt x="90" y="174"/>
                </a:lnTo>
                <a:lnTo>
                  <a:pt x="90" y="174"/>
                </a:lnTo>
                <a:lnTo>
                  <a:pt x="90" y="174"/>
                </a:lnTo>
                <a:lnTo>
                  <a:pt x="90" y="174"/>
                </a:lnTo>
                <a:lnTo>
                  <a:pt x="90" y="168"/>
                </a:lnTo>
                <a:lnTo>
                  <a:pt x="90" y="162"/>
                </a:lnTo>
                <a:lnTo>
                  <a:pt x="90" y="156"/>
                </a:lnTo>
                <a:lnTo>
                  <a:pt x="90" y="156"/>
                </a:lnTo>
                <a:lnTo>
                  <a:pt x="84" y="156"/>
                </a:lnTo>
                <a:lnTo>
                  <a:pt x="84" y="156"/>
                </a:lnTo>
                <a:lnTo>
                  <a:pt x="84" y="156"/>
                </a:lnTo>
                <a:lnTo>
                  <a:pt x="78" y="156"/>
                </a:lnTo>
                <a:lnTo>
                  <a:pt x="78" y="150"/>
                </a:lnTo>
                <a:lnTo>
                  <a:pt x="78" y="144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50"/>
                </a:lnTo>
                <a:lnTo>
                  <a:pt x="72" y="150"/>
                </a:lnTo>
                <a:lnTo>
                  <a:pt x="72" y="150"/>
                </a:lnTo>
                <a:lnTo>
                  <a:pt x="72" y="150"/>
                </a:lnTo>
                <a:lnTo>
                  <a:pt x="72" y="150"/>
                </a:lnTo>
                <a:lnTo>
                  <a:pt x="72" y="144"/>
                </a:lnTo>
                <a:lnTo>
                  <a:pt x="72" y="144"/>
                </a:lnTo>
                <a:lnTo>
                  <a:pt x="66" y="144"/>
                </a:lnTo>
                <a:lnTo>
                  <a:pt x="60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38"/>
                </a:lnTo>
                <a:lnTo>
                  <a:pt x="42" y="108"/>
                </a:lnTo>
                <a:lnTo>
                  <a:pt x="42" y="90"/>
                </a:lnTo>
                <a:lnTo>
                  <a:pt x="36" y="72"/>
                </a:lnTo>
                <a:lnTo>
                  <a:pt x="42" y="54"/>
                </a:lnTo>
                <a:lnTo>
                  <a:pt x="42" y="54"/>
                </a:lnTo>
                <a:lnTo>
                  <a:pt x="48" y="48"/>
                </a:lnTo>
                <a:lnTo>
                  <a:pt x="48" y="48"/>
                </a:lnTo>
                <a:lnTo>
                  <a:pt x="54" y="48"/>
                </a:lnTo>
                <a:lnTo>
                  <a:pt x="54" y="48"/>
                </a:lnTo>
                <a:lnTo>
                  <a:pt x="54" y="42"/>
                </a:lnTo>
                <a:lnTo>
                  <a:pt x="60" y="48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6" y="42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84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24"/>
                </a:lnTo>
                <a:lnTo>
                  <a:pt x="78" y="24"/>
                </a:lnTo>
                <a:lnTo>
                  <a:pt x="84" y="24"/>
                </a:lnTo>
                <a:lnTo>
                  <a:pt x="84" y="24"/>
                </a:lnTo>
                <a:lnTo>
                  <a:pt x="84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6" y="18"/>
                </a:lnTo>
                <a:lnTo>
                  <a:pt x="96" y="18"/>
                </a:lnTo>
                <a:lnTo>
                  <a:pt x="102" y="12"/>
                </a:lnTo>
                <a:lnTo>
                  <a:pt x="108" y="12"/>
                </a:lnTo>
                <a:lnTo>
                  <a:pt x="108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0"/>
                </a:lnTo>
                <a:lnTo>
                  <a:pt x="126" y="6"/>
                </a:lnTo>
                <a:lnTo>
                  <a:pt x="132" y="0"/>
                </a:lnTo>
                <a:lnTo>
                  <a:pt x="132" y="6"/>
                </a:lnTo>
                <a:lnTo>
                  <a:pt x="132" y="0"/>
                </a:lnTo>
                <a:lnTo>
                  <a:pt x="132" y="0"/>
                </a:lnTo>
                <a:lnTo>
                  <a:pt x="132" y="0"/>
                </a:lnTo>
                <a:lnTo>
                  <a:pt x="132" y="0"/>
                </a:lnTo>
                <a:lnTo>
                  <a:pt x="132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2" y="18"/>
                </a:lnTo>
                <a:lnTo>
                  <a:pt x="132" y="30"/>
                </a:lnTo>
                <a:lnTo>
                  <a:pt x="132" y="30"/>
                </a:lnTo>
                <a:lnTo>
                  <a:pt x="132" y="36"/>
                </a:lnTo>
                <a:lnTo>
                  <a:pt x="126" y="54"/>
                </a:lnTo>
                <a:lnTo>
                  <a:pt x="120" y="66"/>
                </a:lnTo>
                <a:lnTo>
                  <a:pt x="132" y="72"/>
                </a:lnTo>
                <a:lnTo>
                  <a:pt x="132" y="72"/>
                </a:lnTo>
                <a:lnTo>
                  <a:pt x="144" y="72"/>
                </a:lnTo>
                <a:lnTo>
                  <a:pt x="144" y="84"/>
                </a:lnTo>
                <a:lnTo>
                  <a:pt x="144" y="90"/>
                </a:lnTo>
                <a:lnTo>
                  <a:pt x="144" y="90"/>
                </a:lnTo>
                <a:lnTo>
                  <a:pt x="144" y="96"/>
                </a:lnTo>
                <a:lnTo>
                  <a:pt x="144" y="96"/>
                </a:lnTo>
                <a:lnTo>
                  <a:pt x="144" y="96"/>
                </a:lnTo>
                <a:lnTo>
                  <a:pt x="144" y="96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50" y="102"/>
                </a:lnTo>
                <a:lnTo>
                  <a:pt x="150" y="102"/>
                </a:lnTo>
                <a:lnTo>
                  <a:pt x="150" y="102"/>
                </a:lnTo>
                <a:lnTo>
                  <a:pt x="150" y="102"/>
                </a:lnTo>
                <a:lnTo>
                  <a:pt x="150" y="102"/>
                </a:lnTo>
                <a:lnTo>
                  <a:pt x="150" y="108"/>
                </a:lnTo>
                <a:lnTo>
                  <a:pt x="150" y="108"/>
                </a:lnTo>
                <a:lnTo>
                  <a:pt x="150" y="108"/>
                </a:lnTo>
                <a:lnTo>
                  <a:pt x="150" y="108"/>
                </a:lnTo>
                <a:lnTo>
                  <a:pt x="150" y="114"/>
                </a:lnTo>
                <a:lnTo>
                  <a:pt x="144" y="114"/>
                </a:lnTo>
                <a:lnTo>
                  <a:pt x="144" y="114"/>
                </a:lnTo>
                <a:lnTo>
                  <a:pt x="144" y="114"/>
                </a:lnTo>
                <a:lnTo>
                  <a:pt x="144" y="120"/>
                </a:lnTo>
                <a:lnTo>
                  <a:pt x="150" y="120"/>
                </a:lnTo>
                <a:lnTo>
                  <a:pt x="150" y="120"/>
                </a:lnTo>
                <a:lnTo>
                  <a:pt x="150" y="120"/>
                </a:lnTo>
                <a:lnTo>
                  <a:pt x="150" y="120"/>
                </a:lnTo>
                <a:lnTo>
                  <a:pt x="150" y="120"/>
                </a:lnTo>
                <a:lnTo>
                  <a:pt x="150" y="120"/>
                </a:lnTo>
                <a:lnTo>
                  <a:pt x="156" y="120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26"/>
                </a:lnTo>
                <a:lnTo>
                  <a:pt x="168" y="126"/>
                </a:lnTo>
                <a:lnTo>
                  <a:pt x="168" y="132"/>
                </a:lnTo>
                <a:lnTo>
                  <a:pt x="174" y="126"/>
                </a:lnTo>
                <a:lnTo>
                  <a:pt x="174" y="126"/>
                </a:lnTo>
                <a:lnTo>
                  <a:pt x="174" y="126"/>
                </a:lnTo>
                <a:lnTo>
                  <a:pt x="174" y="126"/>
                </a:lnTo>
                <a:lnTo>
                  <a:pt x="174" y="126"/>
                </a:lnTo>
                <a:lnTo>
                  <a:pt x="174" y="126"/>
                </a:lnTo>
                <a:lnTo>
                  <a:pt x="174" y="126"/>
                </a:lnTo>
                <a:lnTo>
                  <a:pt x="174" y="126"/>
                </a:lnTo>
                <a:lnTo>
                  <a:pt x="180" y="126"/>
                </a:lnTo>
                <a:lnTo>
                  <a:pt x="174" y="126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2"/>
                </a:lnTo>
                <a:lnTo>
                  <a:pt x="180" y="138"/>
                </a:lnTo>
                <a:lnTo>
                  <a:pt x="180" y="138"/>
                </a:lnTo>
                <a:lnTo>
                  <a:pt x="180" y="138"/>
                </a:lnTo>
                <a:lnTo>
                  <a:pt x="180" y="138"/>
                </a:lnTo>
                <a:lnTo>
                  <a:pt x="180" y="144"/>
                </a:lnTo>
                <a:lnTo>
                  <a:pt x="180" y="144"/>
                </a:lnTo>
                <a:lnTo>
                  <a:pt x="180" y="144"/>
                </a:lnTo>
                <a:lnTo>
                  <a:pt x="180" y="150"/>
                </a:lnTo>
                <a:lnTo>
                  <a:pt x="180" y="144"/>
                </a:lnTo>
                <a:lnTo>
                  <a:pt x="180" y="150"/>
                </a:lnTo>
                <a:lnTo>
                  <a:pt x="174" y="150"/>
                </a:lnTo>
                <a:lnTo>
                  <a:pt x="174" y="150"/>
                </a:lnTo>
                <a:lnTo>
                  <a:pt x="174" y="150"/>
                </a:lnTo>
                <a:lnTo>
                  <a:pt x="174" y="150"/>
                </a:lnTo>
                <a:lnTo>
                  <a:pt x="180" y="150"/>
                </a:lnTo>
                <a:lnTo>
                  <a:pt x="180" y="150"/>
                </a:lnTo>
                <a:lnTo>
                  <a:pt x="180" y="150"/>
                </a:lnTo>
                <a:lnTo>
                  <a:pt x="180" y="150"/>
                </a:lnTo>
                <a:lnTo>
                  <a:pt x="186" y="150"/>
                </a:lnTo>
                <a:lnTo>
                  <a:pt x="186" y="150"/>
                </a:lnTo>
                <a:lnTo>
                  <a:pt x="186" y="150"/>
                </a:lnTo>
                <a:lnTo>
                  <a:pt x="186" y="150"/>
                </a:lnTo>
                <a:lnTo>
                  <a:pt x="186" y="150"/>
                </a:lnTo>
                <a:lnTo>
                  <a:pt x="186" y="150"/>
                </a:lnTo>
                <a:lnTo>
                  <a:pt x="186" y="150"/>
                </a:lnTo>
                <a:lnTo>
                  <a:pt x="192" y="150"/>
                </a:lnTo>
                <a:lnTo>
                  <a:pt x="192" y="150"/>
                </a:lnTo>
                <a:lnTo>
                  <a:pt x="192" y="150"/>
                </a:lnTo>
                <a:lnTo>
                  <a:pt x="192" y="150"/>
                </a:lnTo>
                <a:lnTo>
                  <a:pt x="192" y="150"/>
                </a:lnTo>
                <a:lnTo>
                  <a:pt x="192" y="150"/>
                </a:lnTo>
                <a:lnTo>
                  <a:pt x="192" y="150"/>
                </a:lnTo>
                <a:lnTo>
                  <a:pt x="192" y="150"/>
                </a:lnTo>
                <a:lnTo>
                  <a:pt x="198" y="150"/>
                </a:lnTo>
                <a:lnTo>
                  <a:pt x="198" y="144"/>
                </a:lnTo>
                <a:lnTo>
                  <a:pt x="198" y="150"/>
                </a:lnTo>
                <a:lnTo>
                  <a:pt x="198" y="144"/>
                </a:lnTo>
                <a:lnTo>
                  <a:pt x="204" y="144"/>
                </a:lnTo>
                <a:lnTo>
                  <a:pt x="204" y="150"/>
                </a:lnTo>
                <a:lnTo>
                  <a:pt x="204" y="150"/>
                </a:lnTo>
                <a:lnTo>
                  <a:pt x="204" y="150"/>
                </a:lnTo>
                <a:lnTo>
                  <a:pt x="204" y="150"/>
                </a:lnTo>
                <a:lnTo>
                  <a:pt x="204" y="150"/>
                </a:lnTo>
                <a:lnTo>
                  <a:pt x="204" y="150"/>
                </a:lnTo>
                <a:lnTo>
                  <a:pt x="210" y="150"/>
                </a:lnTo>
                <a:lnTo>
                  <a:pt x="210" y="150"/>
                </a:lnTo>
                <a:lnTo>
                  <a:pt x="210" y="150"/>
                </a:lnTo>
                <a:lnTo>
                  <a:pt x="210" y="150"/>
                </a:lnTo>
                <a:lnTo>
                  <a:pt x="210" y="156"/>
                </a:lnTo>
                <a:lnTo>
                  <a:pt x="210" y="156"/>
                </a:lnTo>
                <a:lnTo>
                  <a:pt x="210" y="156"/>
                </a:lnTo>
                <a:lnTo>
                  <a:pt x="210" y="156"/>
                </a:lnTo>
                <a:lnTo>
                  <a:pt x="216" y="156"/>
                </a:lnTo>
                <a:lnTo>
                  <a:pt x="216" y="156"/>
                </a:lnTo>
                <a:lnTo>
                  <a:pt x="216" y="156"/>
                </a:lnTo>
                <a:lnTo>
                  <a:pt x="216" y="156"/>
                </a:lnTo>
                <a:lnTo>
                  <a:pt x="216" y="156"/>
                </a:lnTo>
                <a:lnTo>
                  <a:pt x="216" y="156"/>
                </a:lnTo>
                <a:lnTo>
                  <a:pt x="216" y="162"/>
                </a:lnTo>
                <a:lnTo>
                  <a:pt x="222" y="162"/>
                </a:lnTo>
                <a:lnTo>
                  <a:pt x="222" y="162"/>
                </a:lnTo>
                <a:lnTo>
                  <a:pt x="222" y="162"/>
                </a:lnTo>
                <a:lnTo>
                  <a:pt x="222" y="162"/>
                </a:lnTo>
                <a:lnTo>
                  <a:pt x="222" y="162"/>
                </a:lnTo>
                <a:lnTo>
                  <a:pt x="228" y="162"/>
                </a:lnTo>
                <a:lnTo>
                  <a:pt x="228" y="162"/>
                </a:lnTo>
                <a:lnTo>
                  <a:pt x="228" y="162"/>
                </a:lnTo>
                <a:lnTo>
                  <a:pt x="228" y="162"/>
                </a:lnTo>
                <a:lnTo>
                  <a:pt x="228" y="162"/>
                </a:lnTo>
                <a:lnTo>
                  <a:pt x="228" y="162"/>
                </a:lnTo>
                <a:lnTo>
                  <a:pt x="228" y="162"/>
                </a:lnTo>
                <a:lnTo>
                  <a:pt x="228" y="168"/>
                </a:lnTo>
                <a:lnTo>
                  <a:pt x="228" y="168"/>
                </a:lnTo>
                <a:lnTo>
                  <a:pt x="228" y="168"/>
                </a:lnTo>
                <a:lnTo>
                  <a:pt x="228" y="168"/>
                </a:lnTo>
                <a:lnTo>
                  <a:pt x="228" y="174"/>
                </a:lnTo>
                <a:lnTo>
                  <a:pt x="228" y="174"/>
                </a:lnTo>
                <a:lnTo>
                  <a:pt x="228" y="180"/>
                </a:lnTo>
                <a:lnTo>
                  <a:pt x="228" y="180"/>
                </a:lnTo>
                <a:lnTo>
                  <a:pt x="228" y="180"/>
                </a:lnTo>
                <a:lnTo>
                  <a:pt x="228" y="180"/>
                </a:lnTo>
                <a:lnTo>
                  <a:pt x="228" y="180"/>
                </a:lnTo>
                <a:lnTo>
                  <a:pt x="228" y="180"/>
                </a:lnTo>
                <a:lnTo>
                  <a:pt x="222" y="180"/>
                </a:lnTo>
                <a:lnTo>
                  <a:pt x="222" y="186"/>
                </a:lnTo>
                <a:lnTo>
                  <a:pt x="222" y="186"/>
                </a:lnTo>
                <a:lnTo>
                  <a:pt x="222" y="186"/>
                </a:lnTo>
                <a:lnTo>
                  <a:pt x="222" y="186"/>
                </a:lnTo>
                <a:lnTo>
                  <a:pt x="222" y="186"/>
                </a:lnTo>
                <a:lnTo>
                  <a:pt x="222" y="186"/>
                </a:lnTo>
                <a:lnTo>
                  <a:pt x="222" y="186"/>
                </a:lnTo>
                <a:lnTo>
                  <a:pt x="222" y="186"/>
                </a:lnTo>
                <a:lnTo>
                  <a:pt x="222" y="192"/>
                </a:lnTo>
                <a:lnTo>
                  <a:pt x="216" y="192"/>
                </a:lnTo>
                <a:lnTo>
                  <a:pt x="210" y="198"/>
                </a:lnTo>
                <a:lnTo>
                  <a:pt x="210" y="198"/>
                </a:lnTo>
                <a:lnTo>
                  <a:pt x="210" y="198"/>
                </a:lnTo>
                <a:lnTo>
                  <a:pt x="210" y="198"/>
                </a:lnTo>
                <a:lnTo>
                  <a:pt x="204" y="198"/>
                </a:lnTo>
                <a:lnTo>
                  <a:pt x="204" y="204"/>
                </a:lnTo>
                <a:lnTo>
                  <a:pt x="204" y="204"/>
                </a:lnTo>
                <a:lnTo>
                  <a:pt x="204" y="204"/>
                </a:lnTo>
                <a:lnTo>
                  <a:pt x="204" y="210"/>
                </a:lnTo>
                <a:lnTo>
                  <a:pt x="204" y="210"/>
                </a:lnTo>
                <a:lnTo>
                  <a:pt x="204" y="210"/>
                </a:lnTo>
                <a:lnTo>
                  <a:pt x="210" y="210"/>
                </a:lnTo>
                <a:lnTo>
                  <a:pt x="210" y="210"/>
                </a:lnTo>
                <a:lnTo>
                  <a:pt x="210" y="216"/>
                </a:lnTo>
                <a:lnTo>
                  <a:pt x="210" y="216"/>
                </a:lnTo>
                <a:lnTo>
                  <a:pt x="210" y="216"/>
                </a:lnTo>
                <a:lnTo>
                  <a:pt x="210" y="216"/>
                </a:lnTo>
                <a:lnTo>
                  <a:pt x="210" y="216"/>
                </a:lnTo>
                <a:lnTo>
                  <a:pt x="210" y="216"/>
                </a:lnTo>
                <a:lnTo>
                  <a:pt x="210" y="216"/>
                </a:lnTo>
                <a:lnTo>
                  <a:pt x="210" y="222"/>
                </a:lnTo>
                <a:lnTo>
                  <a:pt x="210" y="216"/>
                </a:lnTo>
                <a:lnTo>
                  <a:pt x="210" y="222"/>
                </a:lnTo>
                <a:lnTo>
                  <a:pt x="210" y="222"/>
                </a:lnTo>
                <a:lnTo>
                  <a:pt x="210" y="222"/>
                </a:lnTo>
                <a:lnTo>
                  <a:pt x="216" y="222"/>
                </a:lnTo>
                <a:lnTo>
                  <a:pt x="216" y="228"/>
                </a:lnTo>
                <a:lnTo>
                  <a:pt x="216" y="228"/>
                </a:lnTo>
                <a:lnTo>
                  <a:pt x="216" y="228"/>
                </a:lnTo>
                <a:lnTo>
                  <a:pt x="210" y="234"/>
                </a:lnTo>
                <a:lnTo>
                  <a:pt x="210" y="234"/>
                </a:lnTo>
                <a:lnTo>
                  <a:pt x="216" y="234"/>
                </a:lnTo>
                <a:lnTo>
                  <a:pt x="216" y="234"/>
                </a:lnTo>
                <a:lnTo>
                  <a:pt x="216" y="234"/>
                </a:lnTo>
                <a:lnTo>
                  <a:pt x="216" y="234"/>
                </a:lnTo>
                <a:lnTo>
                  <a:pt x="216" y="234"/>
                </a:lnTo>
                <a:lnTo>
                  <a:pt x="216" y="234"/>
                </a:lnTo>
                <a:lnTo>
                  <a:pt x="222" y="234"/>
                </a:lnTo>
                <a:lnTo>
                  <a:pt x="216" y="234"/>
                </a:lnTo>
                <a:lnTo>
                  <a:pt x="222" y="234"/>
                </a:lnTo>
                <a:lnTo>
                  <a:pt x="222" y="234"/>
                </a:lnTo>
                <a:lnTo>
                  <a:pt x="222" y="234"/>
                </a:lnTo>
                <a:lnTo>
                  <a:pt x="222" y="234"/>
                </a:lnTo>
                <a:lnTo>
                  <a:pt x="222" y="234"/>
                </a:lnTo>
                <a:lnTo>
                  <a:pt x="228" y="234"/>
                </a:lnTo>
                <a:lnTo>
                  <a:pt x="228" y="234"/>
                </a:lnTo>
                <a:lnTo>
                  <a:pt x="234" y="234"/>
                </a:lnTo>
                <a:lnTo>
                  <a:pt x="234" y="240"/>
                </a:lnTo>
                <a:lnTo>
                  <a:pt x="234" y="240"/>
                </a:lnTo>
                <a:lnTo>
                  <a:pt x="240" y="240"/>
                </a:lnTo>
                <a:lnTo>
                  <a:pt x="240" y="240"/>
                </a:lnTo>
                <a:lnTo>
                  <a:pt x="246" y="240"/>
                </a:lnTo>
                <a:lnTo>
                  <a:pt x="246" y="240"/>
                </a:lnTo>
                <a:lnTo>
                  <a:pt x="246" y="246"/>
                </a:lnTo>
                <a:lnTo>
                  <a:pt x="246" y="246"/>
                </a:lnTo>
                <a:lnTo>
                  <a:pt x="246" y="246"/>
                </a:lnTo>
                <a:lnTo>
                  <a:pt x="246" y="246"/>
                </a:lnTo>
                <a:lnTo>
                  <a:pt x="246" y="246"/>
                </a:lnTo>
                <a:lnTo>
                  <a:pt x="246" y="246"/>
                </a:lnTo>
                <a:lnTo>
                  <a:pt x="240" y="246"/>
                </a:lnTo>
                <a:lnTo>
                  <a:pt x="240" y="246"/>
                </a:lnTo>
                <a:lnTo>
                  <a:pt x="240" y="246"/>
                </a:lnTo>
                <a:lnTo>
                  <a:pt x="240" y="246"/>
                </a:lnTo>
                <a:lnTo>
                  <a:pt x="234" y="252"/>
                </a:lnTo>
                <a:lnTo>
                  <a:pt x="234" y="252"/>
                </a:lnTo>
                <a:lnTo>
                  <a:pt x="234" y="252"/>
                </a:lnTo>
                <a:lnTo>
                  <a:pt x="234" y="252"/>
                </a:lnTo>
                <a:lnTo>
                  <a:pt x="228" y="252"/>
                </a:lnTo>
                <a:lnTo>
                  <a:pt x="228" y="258"/>
                </a:lnTo>
                <a:lnTo>
                  <a:pt x="228" y="258"/>
                </a:lnTo>
                <a:lnTo>
                  <a:pt x="228" y="258"/>
                </a:lnTo>
                <a:lnTo>
                  <a:pt x="228" y="264"/>
                </a:lnTo>
                <a:lnTo>
                  <a:pt x="222" y="264"/>
                </a:lnTo>
                <a:lnTo>
                  <a:pt x="222" y="264"/>
                </a:lnTo>
                <a:lnTo>
                  <a:pt x="222" y="264"/>
                </a:lnTo>
                <a:lnTo>
                  <a:pt x="216" y="270"/>
                </a:lnTo>
                <a:lnTo>
                  <a:pt x="216" y="270"/>
                </a:lnTo>
                <a:lnTo>
                  <a:pt x="216" y="270"/>
                </a:lnTo>
                <a:lnTo>
                  <a:pt x="216" y="270"/>
                </a:lnTo>
                <a:lnTo>
                  <a:pt x="216" y="276"/>
                </a:lnTo>
                <a:lnTo>
                  <a:pt x="210" y="276"/>
                </a:lnTo>
                <a:lnTo>
                  <a:pt x="210" y="276"/>
                </a:lnTo>
                <a:lnTo>
                  <a:pt x="210" y="276"/>
                </a:lnTo>
                <a:lnTo>
                  <a:pt x="210" y="276"/>
                </a:lnTo>
                <a:lnTo>
                  <a:pt x="210" y="276"/>
                </a:lnTo>
                <a:lnTo>
                  <a:pt x="204" y="276"/>
                </a:lnTo>
                <a:lnTo>
                  <a:pt x="204" y="276"/>
                </a:lnTo>
                <a:lnTo>
                  <a:pt x="204" y="276"/>
                </a:lnTo>
                <a:lnTo>
                  <a:pt x="204" y="276"/>
                </a:lnTo>
                <a:lnTo>
                  <a:pt x="198" y="282"/>
                </a:lnTo>
                <a:lnTo>
                  <a:pt x="198" y="282"/>
                </a:lnTo>
                <a:lnTo>
                  <a:pt x="198" y="282"/>
                </a:lnTo>
                <a:lnTo>
                  <a:pt x="198" y="282"/>
                </a:lnTo>
                <a:lnTo>
                  <a:pt x="198" y="282"/>
                </a:lnTo>
                <a:lnTo>
                  <a:pt x="198" y="282"/>
                </a:lnTo>
                <a:lnTo>
                  <a:pt x="198" y="282"/>
                </a:lnTo>
                <a:lnTo>
                  <a:pt x="198" y="282"/>
                </a:lnTo>
                <a:lnTo>
                  <a:pt x="198" y="282"/>
                </a:lnTo>
                <a:lnTo>
                  <a:pt x="198" y="288"/>
                </a:lnTo>
                <a:lnTo>
                  <a:pt x="198" y="288"/>
                </a:lnTo>
                <a:lnTo>
                  <a:pt x="198" y="288"/>
                </a:lnTo>
                <a:lnTo>
                  <a:pt x="198" y="288"/>
                </a:lnTo>
                <a:lnTo>
                  <a:pt x="198" y="294"/>
                </a:lnTo>
                <a:lnTo>
                  <a:pt x="198" y="294"/>
                </a:lnTo>
                <a:lnTo>
                  <a:pt x="198" y="294"/>
                </a:lnTo>
                <a:lnTo>
                  <a:pt x="198" y="294"/>
                </a:lnTo>
                <a:lnTo>
                  <a:pt x="198" y="294"/>
                </a:lnTo>
                <a:lnTo>
                  <a:pt x="192" y="294"/>
                </a:lnTo>
                <a:lnTo>
                  <a:pt x="192" y="294"/>
                </a:lnTo>
                <a:lnTo>
                  <a:pt x="192" y="294"/>
                </a:lnTo>
                <a:lnTo>
                  <a:pt x="192" y="294"/>
                </a:lnTo>
                <a:lnTo>
                  <a:pt x="192" y="294"/>
                </a:lnTo>
                <a:lnTo>
                  <a:pt x="192" y="294"/>
                </a:lnTo>
                <a:lnTo>
                  <a:pt x="186" y="294"/>
                </a:lnTo>
                <a:lnTo>
                  <a:pt x="186" y="294"/>
                </a:lnTo>
                <a:lnTo>
                  <a:pt x="186" y="294"/>
                </a:lnTo>
                <a:lnTo>
                  <a:pt x="186" y="294"/>
                </a:lnTo>
                <a:lnTo>
                  <a:pt x="186" y="294"/>
                </a:lnTo>
                <a:lnTo>
                  <a:pt x="186" y="294"/>
                </a:lnTo>
                <a:lnTo>
                  <a:pt x="180" y="294"/>
                </a:lnTo>
                <a:lnTo>
                  <a:pt x="180" y="294"/>
                </a:lnTo>
                <a:lnTo>
                  <a:pt x="180" y="294"/>
                </a:lnTo>
                <a:lnTo>
                  <a:pt x="180" y="294"/>
                </a:lnTo>
                <a:lnTo>
                  <a:pt x="180" y="294"/>
                </a:lnTo>
                <a:lnTo>
                  <a:pt x="174" y="300"/>
                </a:lnTo>
                <a:lnTo>
                  <a:pt x="174" y="300"/>
                </a:lnTo>
                <a:lnTo>
                  <a:pt x="174" y="300"/>
                </a:lnTo>
                <a:lnTo>
                  <a:pt x="174" y="300"/>
                </a:lnTo>
                <a:lnTo>
                  <a:pt x="174" y="300"/>
                </a:lnTo>
                <a:lnTo>
                  <a:pt x="168" y="300"/>
                </a:lnTo>
                <a:lnTo>
                  <a:pt x="168" y="300"/>
                </a:lnTo>
                <a:lnTo>
                  <a:pt x="168" y="300"/>
                </a:lnTo>
                <a:lnTo>
                  <a:pt x="168" y="300"/>
                </a:lnTo>
                <a:lnTo>
                  <a:pt x="162" y="300"/>
                </a:lnTo>
                <a:lnTo>
                  <a:pt x="162" y="300"/>
                </a:lnTo>
                <a:lnTo>
                  <a:pt x="162" y="300"/>
                </a:lnTo>
                <a:lnTo>
                  <a:pt x="162" y="300"/>
                </a:lnTo>
                <a:lnTo>
                  <a:pt x="162" y="300"/>
                </a:lnTo>
                <a:lnTo>
                  <a:pt x="162" y="300"/>
                </a:lnTo>
                <a:lnTo>
                  <a:pt x="162" y="300"/>
                </a:lnTo>
                <a:lnTo>
                  <a:pt x="162" y="300"/>
                </a:lnTo>
                <a:lnTo>
                  <a:pt x="156" y="300"/>
                </a:lnTo>
                <a:lnTo>
                  <a:pt x="156" y="300"/>
                </a:lnTo>
                <a:lnTo>
                  <a:pt x="156" y="300"/>
                </a:lnTo>
                <a:lnTo>
                  <a:pt x="156" y="300"/>
                </a:lnTo>
                <a:lnTo>
                  <a:pt x="156" y="300"/>
                </a:lnTo>
                <a:lnTo>
                  <a:pt x="156" y="294"/>
                </a:lnTo>
                <a:lnTo>
                  <a:pt x="156" y="294"/>
                </a:lnTo>
                <a:lnTo>
                  <a:pt x="156" y="294"/>
                </a:lnTo>
                <a:lnTo>
                  <a:pt x="156" y="294"/>
                </a:lnTo>
                <a:lnTo>
                  <a:pt x="156" y="294"/>
                </a:lnTo>
                <a:lnTo>
                  <a:pt x="156" y="294"/>
                </a:lnTo>
                <a:lnTo>
                  <a:pt x="156" y="288"/>
                </a:lnTo>
                <a:lnTo>
                  <a:pt x="156" y="288"/>
                </a:lnTo>
                <a:lnTo>
                  <a:pt x="156" y="288"/>
                </a:lnTo>
                <a:lnTo>
                  <a:pt x="156" y="288"/>
                </a:lnTo>
                <a:lnTo>
                  <a:pt x="156" y="288"/>
                </a:lnTo>
                <a:lnTo>
                  <a:pt x="156" y="288"/>
                </a:lnTo>
                <a:lnTo>
                  <a:pt x="150" y="288"/>
                </a:lnTo>
                <a:lnTo>
                  <a:pt x="150" y="288"/>
                </a:lnTo>
                <a:lnTo>
                  <a:pt x="150" y="288"/>
                </a:lnTo>
                <a:lnTo>
                  <a:pt x="150" y="288"/>
                </a:lnTo>
                <a:lnTo>
                  <a:pt x="150" y="288"/>
                </a:lnTo>
                <a:lnTo>
                  <a:pt x="144" y="282"/>
                </a:lnTo>
                <a:lnTo>
                  <a:pt x="144" y="282"/>
                </a:lnTo>
                <a:lnTo>
                  <a:pt x="144" y="282"/>
                </a:lnTo>
                <a:lnTo>
                  <a:pt x="144" y="282"/>
                </a:lnTo>
                <a:lnTo>
                  <a:pt x="144" y="282"/>
                </a:lnTo>
                <a:lnTo>
                  <a:pt x="144" y="282"/>
                </a:lnTo>
                <a:lnTo>
                  <a:pt x="144" y="276"/>
                </a:lnTo>
                <a:lnTo>
                  <a:pt x="144" y="282"/>
                </a:lnTo>
                <a:lnTo>
                  <a:pt x="138" y="276"/>
                </a:lnTo>
                <a:lnTo>
                  <a:pt x="138" y="276"/>
                </a:lnTo>
                <a:lnTo>
                  <a:pt x="138" y="276"/>
                </a:lnTo>
                <a:lnTo>
                  <a:pt x="138" y="276"/>
                </a:lnTo>
                <a:lnTo>
                  <a:pt x="132" y="282"/>
                </a:lnTo>
                <a:lnTo>
                  <a:pt x="132" y="276"/>
                </a:lnTo>
                <a:lnTo>
                  <a:pt x="132" y="276"/>
                </a:lnTo>
                <a:lnTo>
                  <a:pt x="132" y="276"/>
                </a:lnTo>
                <a:lnTo>
                  <a:pt x="132" y="276"/>
                </a:lnTo>
                <a:lnTo>
                  <a:pt x="132" y="276"/>
                </a:lnTo>
                <a:lnTo>
                  <a:pt x="132" y="276"/>
                </a:lnTo>
                <a:lnTo>
                  <a:pt x="132" y="276"/>
                </a:lnTo>
                <a:lnTo>
                  <a:pt x="126" y="282"/>
                </a:lnTo>
                <a:lnTo>
                  <a:pt x="126" y="276"/>
                </a:lnTo>
                <a:lnTo>
                  <a:pt x="126" y="282"/>
                </a:lnTo>
                <a:lnTo>
                  <a:pt x="120" y="282"/>
                </a:lnTo>
                <a:lnTo>
                  <a:pt x="120" y="282"/>
                </a:lnTo>
                <a:lnTo>
                  <a:pt x="120" y="282"/>
                </a:lnTo>
                <a:lnTo>
                  <a:pt x="120" y="282"/>
                </a:lnTo>
                <a:lnTo>
                  <a:pt x="120" y="282"/>
                </a:lnTo>
                <a:lnTo>
                  <a:pt x="114" y="282"/>
                </a:lnTo>
                <a:lnTo>
                  <a:pt x="114" y="282"/>
                </a:lnTo>
                <a:lnTo>
                  <a:pt x="114" y="282"/>
                </a:lnTo>
                <a:lnTo>
                  <a:pt x="114" y="282"/>
                </a:lnTo>
                <a:lnTo>
                  <a:pt x="114" y="282"/>
                </a:lnTo>
                <a:lnTo>
                  <a:pt x="114" y="282"/>
                </a:lnTo>
                <a:lnTo>
                  <a:pt x="108" y="282"/>
                </a:lnTo>
                <a:lnTo>
                  <a:pt x="108" y="288"/>
                </a:lnTo>
                <a:lnTo>
                  <a:pt x="108" y="288"/>
                </a:lnTo>
                <a:lnTo>
                  <a:pt x="108" y="288"/>
                </a:lnTo>
                <a:lnTo>
                  <a:pt x="108" y="288"/>
                </a:lnTo>
                <a:lnTo>
                  <a:pt x="108" y="288"/>
                </a:lnTo>
                <a:lnTo>
                  <a:pt x="108" y="288"/>
                </a:lnTo>
                <a:lnTo>
                  <a:pt x="108" y="288"/>
                </a:lnTo>
                <a:lnTo>
                  <a:pt x="102" y="288"/>
                </a:lnTo>
                <a:lnTo>
                  <a:pt x="102" y="294"/>
                </a:lnTo>
                <a:lnTo>
                  <a:pt x="102" y="294"/>
                </a:lnTo>
                <a:lnTo>
                  <a:pt x="102" y="294"/>
                </a:lnTo>
                <a:lnTo>
                  <a:pt x="102" y="294"/>
                </a:lnTo>
                <a:lnTo>
                  <a:pt x="102" y="294"/>
                </a:lnTo>
                <a:lnTo>
                  <a:pt x="96" y="294"/>
                </a:lnTo>
                <a:lnTo>
                  <a:pt x="96" y="294"/>
                </a:lnTo>
                <a:lnTo>
                  <a:pt x="96" y="294"/>
                </a:lnTo>
                <a:lnTo>
                  <a:pt x="96" y="294"/>
                </a:lnTo>
                <a:lnTo>
                  <a:pt x="90" y="294"/>
                </a:lnTo>
                <a:lnTo>
                  <a:pt x="90" y="294"/>
                </a:lnTo>
                <a:lnTo>
                  <a:pt x="90" y="294"/>
                </a:lnTo>
                <a:lnTo>
                  <a:pt x="90" y="294"/>
                </a:lnTo>
                <a:lnTo>
                  <a:pt x="84" y="294"/>
                </a:lnTo>
                <a:lnTo>
                  <a:pt x="84" y="294"/>
                </a:lnTo>
                <a:lnTo>
                  <a:pt x="78" y="294"/>
                </a:lnTo>
                <a:lnTo>
                  <a:pt x="78" y="294"/>
                </a:lnTo>
                <a:lnTo>
                  <a:pt x="78" y="294"/>
                </a:lnTo>
                <a:lnTo>
                  <a:pt x="78" y="300"/>
                </a:lnTo>
                <a:lnTo>
                  <a:pt x="78" y="294"/>
                </a:lnTo>
                <a:lnTo>
                  <a:pt x="78" y="300"/>
                </a:lnTo>
                <a:lnTo>
                  <a:pt x="78" y="300"/>
                </a:lnTo>
                <a:lnTo>
                  <a:pt x="78" y="300"/>
                </a:lnTo>
                <a:lnTo>
                  <a:pt x="78" y="300"/>
                </a:lnTo>
                <a:lnTo>
                  <a:pt x="72" y="300"/>
                </a:lnTo>
                <a:lnTo>
                  <a:pt x="72" y="300"/>
                </a:lnTo>
                <a:lnTo>
                  <a:pt x="72" y="300"/>
                </a:lnTo>
                <a:lnTo>
                  <a:pt x="72" y="300"/>
                </a:lnTo>
                <a:lnTo>
                  <a:pt x="72" y="300"/>
                </a:lnTo>
                <a:lnTo>
                  <a:pt x="72" y="300"/>
                </a:lnTo>
                <a:lnTo>
                  <a:pt x="72" y="300"/>
                </a:lnTo>
                <a:lnTo>
                  <a:pt x="72" y="300"/>
                </a:lnTo>
                <a:lnTo>
                  <a:pt x="72" y="300"/>
                </a:lnTo>
                <a:lnTo>
                  <a:pt x="72" y="300"/>
                </a:lnTo>
                <a:lnTo>
                  <a:pt x="72" y="300"/>
                </a:lnTo>
                <a:lnTo>
                  <a:pt x="72" y="300"/>
                </a:lnTo>
                <a:lnTo>
                  <a:pt x="66" y="300"/>
                </a:lnTo>
                <a:lnTo>
                  <a:pt x="66" y="300"/>
                </a:lnTo>
                <a:lnTo>
                  <a:pt x="66" y="300"/>
                </a:lnTo>
                <a:lnTo>
                  <a:pt x="66" y="300"/>
                </a:lnTo>
                <a:lnTo>
                  <a:pt x="66" y="300"/>
                </a:lnTo>
                <a:lnTo>
                  <a:pt x="66" y="300"/>
                </a:lnTo>
                <a:lnTo>
                  <a:pt x="66" y="300"/>
                </a:lnTo>
                <a:lnTo>
                  <a:pt x="66" y="300"/>
                </a:lnTo>
                <a:lnTo>
                  <a:pt x="66" y="300"/>
                </a:lnTo>
                <a:lnTo>
                  <a:pt x="66" y="300"/>
                </a:lnTo>
                <a:lnTo>
                  <a:pt x="60" y="300"/>
                </a:lnTo>
                <a:lnTo>
                  <a:pt x="60" y="300"/>
                </a:lnTo>
                <a:lnTo>
                  <a:pt x="60" y="300"/>
                </a:lnTo>
                <a:lnTo>
                  <a:pt x="60" y="300"/>
                </a:lnTo>
                <a:lnTo>
                  <a:pt x="60" y="300"/>
                </a:lnTo>
                <a:lnTo>
                  <a:pt x="60" y="300"/>
                </a:lnTo>
                <a:lnTo>
                  <a:pt x="60" y="300"/>
                </a:lnTo>
                <a:lnTo>
                  <a:pt x="60" y="300"/>
                </a:lnTo>
                <a:lnTo>
                  <a:pt x="60" y="300"/>
                </a:lnTo>
                <a:lnTo>
                  <a:pt x="54" y="300"/>
                </a:lnTo>
                <a:lnTo>
                  <a:pt x="54" y="300"/>
                </a:lnTo>
                <a:lnTo>
                  <a:pt x="54" y="300"/>
                </a:lnTo>
                <a:lnTo>
                  <a:pt x="54" y="300"/>
                </a:lnTo>
                <a:lnTo>
                  <a:pt x="54" y="300"/>
                </a:lnTo>
                <a:lnTo>
                  <a:pt x="54" y="300"/>
                </a:lnTo>
                <a:lnTo>
                  <a:pt x="54" y="300"/>
                </a:lnTo>
                <a:lnTo>
                  <a:pt x="54" y="300"/>
                </a:lnTo>
                <a:lnTo>
                  <a:pt x="54" y="294"/>
                </a:lnTo>
                <a:lnTo>
                  <a:pt x="54" y="294"/>
                </a:lnTo>
                <a:lnTo>
                  <a:pt x="54" y="294"/>
                </a:lnTo>
                <a:lnTo>
                  <a:pt x="48" y="300"/>
                </a:lnTo>
                <a:lnTo>
                  <a:pt x="48" y="294"/>
                </a:lnTo>
                <a:lnTo>
                  <a:pt x="48" y="294"/>
                </a:lnTo>
                <a:lnTo>
                  <a:pt x="48" y="294"/>
                </a:lnTo>
                <a:lnTo>
                  <a:pt x="48" y="294"/>
                </a:lnTo>
                <a:lnTo>
                  <a:pt x="48" y="294"/>
                </a:lnTo>
                <a:lnTo>
                  <a:pt x="48" y="294"/>
                </a:lnTo>
                <a:lnTo>
                  <a:pt x="48" y="294"/>
                </a:lnTo>
                <a:lnTo>
                  <a:pt x="48" y="294"/>
                </a:lnTo>
                <a:lnTo>
                  <a:pt x="48" y="294"/>
                </a:lnTo>
                <a:lnTo>
                  <a:pt x="48" y="294"/>
                </a:lnTo>
                <a:lnTo>
                  <a:pt x="48" y="294"/>
                </a:lnTo>
                <a:lnTo>
                  <a:pt x="48" y="294"/>
                </a:lnTo>
                <a:lnTo>
                  <a:pt x="42" y="294"/>
                </a:lnTo>
                <a:lnTo>
                  <a:pt x="42" y="294"/>
                </a:lnTo>
                <a:lnTo>
                  <a:pt x="42" y="294"/>
                </a:lnTo>
                <a:lnTo>
                  <a:pt x="42" y="294"/>
                </a:lnTo>
                <a:lnTo>
                  <a:pt x="42" y="294"/>
                </a:lnTo>
                <a:lnTo>
                  <a:pt x="42" y="294"/>
                </a:lnTo>
                <a:lnTo>
                  <a:pt x="42" y="288"/>
                </a:lnTo>
                <a:lnTo>
                  <a:pt x="42" y="288"/>
                </a:lnTo>
                <a:lnTo>
                  <a:pt x="42" y="288"/>
                </a:lnTo>
                <a:lnTo>
                  <a:pt x="42" y="288"/>
                </a:lnTo>
                <a:lnTo>
                  <a:pt x="42" y="288"/>
                </a:lnTo>
                <a:lnTo>
                  <a:pt x="42" y="288"/>
                </a:lnTo>
                <a:lnTo>
                  <a:pt x="42" y="288"/>
                </a:lnTo>
                <a:lnTo>
                  <a:pt x="42" y="288"/>
                </a:lnTo>
                <a:lnTo>
                  <a:pt x="42" y="288"/>
                </a:lnTo>
                <a:lnTo>
                  <a:pt x="42" y="288"/>
                </a:lnTo>
                <a:lnTo>
                  <a:pt x="42" y="288"/>
                </a:lnTo>
                <a:lnTo>
                  <a:pt x="42" y="288"/>
                </a:lnTo>
                <a:lnTo>
                  <a:pt x="36" y="288"/>
                </a:lnTo>
                <a:lnTo>
                  <a:pt x="42" y="288"/>
                </a:lnTo>
                <a:lnTo>
                  <a:pt x="36" y="288"/>
                </a:lnTo>
                <a:lnTo>
                  <a:pt x="36" y="288"/>
                </a:lnTo>
                <a:lnTo>
                  <a:pt x="36" y="288"/>
                </a:lnTo>
                <a:lnTo>
                  <a:pt x="36" y="288"/>
                </a:lnTo>
                <a:lnTo>
                  <a:pt x="36" y="288"/>
                </a:lnTo>
                <a:lnTo>
                  <a:pt x="36" y="288"/>
                </a:lnTo>
                <a:lnTo>
                  <a:pt x="36" y="288"/>
                </a:lnTo>
                <a:lnTo>
                  <a:pt x="36" y="288"/>
                </a:lnTo>
                <a:lnTo>
                  <a:pt x="30" y="288"/>
                </a:lnTo>
                <a:lnTo>
                  <a:pt x="30" y="288"/>
                </a:lnTo>
                <a:lnTo>
                  <a:pt x="30" y="288"/>
                </a:lnTo>
                <a:lnTo>
                  <a:pt x="30" y="288"/>
                </a:lnTo>
                <a:lnTo>
                  <a:pt x="30" y="282"/>
                </a:lnTo>
                <a:lnTo>
                  <a:pt x="30" y="282"/>
                </a:lnTo>
                <a:lnTo>
                  <a:pt x="30" y="282"/>
                </a:lnTo>
                <a:lnTo>
                  <a:pt x="24" y="282"/>
                </a:lnTo>
                <a:lnTo>
                  <a:pt x="24" y="282"/>
                </a:lnTo>
                <a:lnTo>
                  <a:pt x="24" y="282"/>
                </a:lnTo>
                <a:lnTo>
                  <a:pt x="24" y="282"/>
                </a:lnTo>
                <a:lnTo>
                  <a:pt x="24" y="282"/>
                </a:lnTo>
                <a:lnTo>
                  <a:pt x="24" y="282"/>
                </a:lnTo>
                <a:lnTo>
                  <a:pt x="24" y="282"/>
                </a:lnTo>
                <a:lnTo>
                  <a:pt x="24" y="282"/>
                </a:lnTo>
                <a:lnTo>
                  <a:pt x="18" y="282"/>
                </a:lnTo>
                <a:lnTo>
                  <a:pt x="18" y="282"/>
                </a:lnTo>
                <a:lnTo>
                  <a:pt x="18" y="282"/>
                </a:lnTo>
                <a:lnTo>
                  <a:pt x="18" y="282"/>
                </a:lnTo>
                <a:lnTo>
                  <a:pt x="18" y="282"/>
                </a:lnTo>
                <a:lnTo>
                  <a:pt x="18" y="282"/>
                </a:lnTo>
                <a:lnTo>
                  <a:pt x="18" y="282"/>
                </a:lnTo>
                <a:lnTo>
                  <a:pt x="18" y="282"/>
                </a:lnTo>
                <a:lnTo>
                  <a:pt x="12" y="276"/>
                </a:lnTo>
                <a:lnTo>
                  <a:pt x="12" y="276"/>
                </a:lnTo>
                <a:lnTo>
                  <a:pt x="12" y="276"/>
                </a:lnTo>
                <a:lnTo>
                  <a:pt x="12" y="276"/>
                </a:lnTo>
                <a:lnTo>
                  <a:pt x="12" y="276"/>
                </a:lnTo>
                <a:lnTo>
                  <a:pt x="12" y="276"/>
                </a:lnTo>
                <a:lnTo>
                  <a:pt x="12" y="276"/>
                </a:lnTo>
                <a:lnTo>
                  <a:pt x="12" y="276"/>
                </a:lnTo>
                <a:lnTo>
                  <a:pt x="12" y="276"/>
                </a:lnTo>
                <a:lnTo>
                  <a:pt x="6" y="276"/>
                </a:lnTo>
                <a:lnTo>
                  <a:pt x="6" y="276"/>
                </a:lnTo>
                <a:lnTo>
                  <a:pt x="6" y="276"/>
                </a:lnTo>
                <a:lnTo>
                  <a:pt x="6" y="276"/>
                </a:lnTo>
                <a:lnTo>
                  <a:pt x="6" y="276"/>
                </a:lnTo>
                <a:lnTo>
                  <a:pt x="6" y="276"/>
                </a:lnTo>
                <a:lnTo>
                  <a:pt x="6" y="276"/>
                </a:lnTo>
                <a:lnTo>
                  <a:pt x="6" y="276"/>
                </a:lnTo>
                <a:lnTo>
                  <a:pt x="6" y="276"/>
                </a:lnTo>
                <a:lnTo>
                  <a:pt x="6" y="276"/>
                </a:lnTo>
                <a:lnTo>
                  <a:pt x="6" y="276"/>
                </a:lnTo>
                <a:lnTo>
                  <a:pt x="6" y="270"/>
                </a:lnTo>
                <a:lnTo>
                  <a:pt x="0" y="270"/>
                </a:lnTo>
                <a:lnTo>
                  <a:pt x="0" y="270"/>
                </a:lnTo>
                <a:lnTo>
                  <a:pt x="0" y="270"/>
                </a:lnTo>
                <a:lnTo>
                  <a:pt x="0" y="270"/>
                </a:lnTo>
                <a:lnTo>
                  <a:pt x="0" y="270"/>
                </a:lnTo>
                <a:lnTo>
                  <a:pt x="0" y="270"/>
                </a:lnTo>
                <a:lnTo>
                  <a:pt x="0" y="270"/>
                </a:lnTo>
                <a:lnTo>
                  <a:pt x="0" y="270"/>
                </a:lnTo>
                <a:lnTo>
                  <a:pt x="0" y="270"/>
                </a:lnTo>
                <a:lnTo>
                  <a:pt x="0" y="270"/>
                </a:lnTo>
                <a:lnTo>
                  <a:pt x="0" y="270"/>
                </a:lnTo>
                <a:lnTo>
                  <a:pt x="0" y="264"/>
                </a:lnTo>
                <a:lnTo>
                  <a:pt x="0" y="264"/>
                </a:lnTo>
                <a:lnTo>
                  <a:pt x="0" y="264"/>
                </a:lnTo>
                <a:lnTo>
                  <a:pt x="0" y="264"/>
                </a:lnTo>
                <a:lnTo>
                  <a:pt x="0" y="264"/>
                </a:lnTo>
                <a:lnTo>
                  <a:pt x="0" y="264"/>
                </a:lnTo>
                <a:lnTo>
                  <a:pt x="0" y="26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91" name="Freeform 524"/>
          <p:cNvSpPr>
            <a:spLocks/>
          </p:cNvSpPr>
          <p:nvPr/>
        </p:nvSpPr>
        <p:spPr bwMode="auto">
          <a:xfrm>
            <a:off x="5926791" y="2766672"/>
            <a:ext cx="391867" cy="436839"/>
          </a:xfrm>
          <a:custGeom>
            <a:avLst/>
            <a:gdLst>
              <a:gd name="T0" fmla="*/ 78 w 366"/>
              <a:gd name="T1" fmla="*/ 342 h 408"/>
              <a:gd name="T2" fmla="*/ 90 w 366"/>
              <a:gd name="T3" fmla="*/ 324 h 408"/>
              <a:gd name="T4" fmla="*/ 102 w 366"/>
              <a:gd name="T5" fmla="*/ 318 h 408"/>
              <a:gd name="T6" fmla="*/ 108 w 366"/>
              <a:gd name="T7" fmla="*/ 300 h 408"/>
              <a:gd name="T8" fmla="*/ 96 w 366"/>
              <a:gd name="T9" fmla="*/ 282 h 408"/>
              <a:gd name="T10" fmla="*/ 90 w 366"/>
              <a:gd name="T11" fmla="*/ 270 h 408"/>
              <a:gd name="T12" fmla="*/ 78 w 366"/>
              <a:gd name="T13" fmla="*/ 252 h 408"/>
              <a:gd name="T14" fmla="*/ 78 w 366"/>
              <a:gd name="T15" fmla="*/ 234 h 408"/>
              <a:gd name="T16" fmla="*/ 126 w 366"/>
              <a:gd name="T17" fmla="*/ 234 h 408"/>
              <a:gd name="T18" fmla="*/ 126 w 366"/>
              <a:gd name="T19" fmla="*/ 210 h 408"/>
              <a:gd name="T20" fmla="*/ 132 w 366"/>
              <a:gd name="T21" fmla="*/ 192 h 408"/>
              <a:gd name="T22" fmla="*/ 144 w 366"/>
              <a:gd name="T23" fmla="*/ 174 h 408"/>
              <a:gd name="T24" fmla="*/ 156 w 366"/>
              <a:gd name="T25" fmla="*/ 156 h 408"/>
              <a:gd name="T26" fmla="*/ 168 w 366"/>
              <a:gd name="T27" fmla="*/ 132 h 408"/>
              <a:gd name="T28" fmla="*/ 168 w 366"/>
              <a:gd name="T29" fmla="*/ 114 h 408"/>
              <a:gd name="T30" fmla="*/ 168 w 366"/>
              <a:gd name="T31" fmla="*/ 102 h 408"/>
              <a:gd name="T32" fmla="*/ 174 w 366"/>
              <a:gd name="T33" fmla="*/ 90 h 408"/>
              <a:gd name="T34" fmla="*/ 180 w 366"/>
              <a:gd name="T35" fmla="*/ 78 h 408"/>
              <a:gd name="T36" fmla="*/ 192 w 366"/>
              <a:gd name="T37" fmla="*/ 72 h 408"/>
              <a:gd name="T38" fmla="*/ 192 w 366"/>
              <a:gd name="T39" fmla="*/ 60 h 408"/>
              <a:gd name="T40" fmla="*/ 204 w 366"/>
              <a:gd name="T41" fmla="*/ 48 h 408"/>
              <a:gd name="T42" fmla="*/ 216 w 366"/>
              <a:gd name="T43" fmla="*/ 36 h 408"/>
              <a:gd name="T44" fmla="*/ 222 w 366"/>
              <a:gd name="T45" fmla="*/ 36 h 408"/>
              <a:gd name="T46" fmla="*/ 234 w 366"/>
              <a:gd name="T47" fmla="*/ 36 h 408"/>
              <a:gd name="T48" fmla="*/ 240 w 366"/>
              <a:gd name="T49" fmla="*/ 24 h 408"/>
              <a:gd name="T50" fmla="*/ 252 w 366"/>
              <a:gd name="T51" fmla="*/ 12 h 408"/>
              <a:gd name="T52" fmla="*/ 264 w 366"/>
              <a:gd name="T53" fmla="*/ 0 h 408"/>
              <a:gd name="T54" fmla="*/ 288 w 366"/>
              <a:gd name="T55" fmla="*/ 6 h 408"/>
              <a:gd name="T56" fmla="*/ 306 w 366"/>
              <a:gd name="T57" fmla="*/ 36 h 408"/>
              <a:gd name="T58" fmla="*/ 318 w 366"/>
              <a:gd name="T59" fmla="*/ 48 h 408"/>
              <a:gd name="T60" fmla="*/ 336 w 366"/>
              <a:gd name="T61" fmla="*/ 72 h 408"/>
              <a:gd name="T62" fmla="*/ 348 w 366"/>
              <a:gd name="T63" fmla="*/ 84 h 408"/>
              <a:gd name="T64" fmla="*/ 354 w 366"/>
              <a:gd name="T65" fmla="*/ 102 h 408"/>
              <a:gd name="T66" fmla="*/ 366 w 366"/>
              <a:gd name="T67" fmla="*/ 114 h 408"/>
              <a:gd name="T68" fmla="*/ 366 w 366"/>
              <a:gd name="T69" fmla="*/ 132 h 408"/>
              <a:gd name="T70" fmla="*/ 360 w 366"/>
              <a:gd name="T71" fmla="*/ 144 h 408"/>
              <a:gd name="T72" fmla="*/ 354 w 366"/>
              <a:gd name="T73" fmla="*/ 156 h 408"/>
              <a:gd name="T74" fmla="*/ 348 w 366"/>
              <a:gd name="T75" fmla="*/ 168 h 408"/>
              <a:gd name="T76" fmla="*/ 348 w 366"/>
              <a:gd name="T77" fmla="*/ 174 h 408"/>
              <a:gd name="T78" fmla="*/ 342 w 366"/>
              <a:gd name="T79" fmla="*/ 186 h 408"/>
              <a:gd name="T80" fmla="*/ 336 w 366"/>
              <a:gd name="T81" fmla="*/ 198 h 408"/>
              <a:gd name="T82" fmla="*/ 330 w 366"/>
              <a:gd name="T83" fmla="*/ 210 h 408"/>
              <a:gd name="T84" fmla="*/ 324 w 366"/>
              <a:gd name="T85" fmla="*/ 222 h 408"/>
              <a:gd name="T86" fmla="*/ 312 w 366"/>
              <a:gd name="T87" fmla="*/ 246 h 408"/>
              <a:gd name="T88" fmla="*/ 300 w 366"/>
              <a:gd name="T89" fmla="*/ 264 h 408"/>
              <a:gd name="T90" fmla="*/ 294 w 366"/>
              <a:gd name="T91" fmla="*/ 282 h 408"/>
              <a:gd name="T92" fmla="*/ 294 w 366"/>
              <a:gd name="T93" fmla="*/ 294 h 408"/>
              <a:gd name="T94" fmla="*/ 282 w 366"/>
              <a:gd name="T95" fmla="*/ 318 h 408"/>
              <a:gd name="T96" fmla="*/ 270 w 366"/>
              <a:gd name="T97" fmla="*/ 336 h 408"/>
              <a:gd name="T98" fmla="*/ 246 w 366"/>
              <a:gd name="T99" fmla="*/ 348 h 408"/>
              <a:gd name="T100" fmla="*/ 216 w 366"/>
              <a:gd name="T101" fmla="*/ 348 h 408"/>
              <a:gd name="T102" fmla="*/ 198 w 366"/>
              <a:gd name="T103" fmla="*/ 348 h 408"/>
              <a:gd name="T104" fmla="*/ 150 w 366"/>
              <a:gd name="T105" fmla="*/ 372 h 408"/>
              <a:gd name="T106" fmla="*/ 102 w 366"/>
              <a:gd name="T107" fmla="*/ 408 h 408"/>
              <a:gd name="T108" fmla="*/ 72 w 366"/>
              <a:gd name="T109" fmla="*/ 396 h 408"/>
              <a:gd name="T110" fmla="*/ 66 w 366"/>
              <a:gd name="T111" fmla="*/ 384 h 408"/>
              <a:gd name="T112" fmla="*/ 60 w 366"/>
              <a:gd name="T113" fmla="*/ 372 h 408"/>
              <a:gd name="T114" fmla="*/ 48 w 366"/>
              <a:gd name="T115" fmla="*/ 378 h 408"/>
              <a:gd name="T116" fmla="*/ 36 w 366"/>
              <a:gd name="T117" fmla="*/ 378 h 408"/>
              <a:gd name="T118" fmla="*/ 18 w 366"/>
              <a:gd name="T119" fmla="*/ 384 h 408"/>
              <a:gd name="T120" fmla="*/ 0 w 366"/>
              <a:gd name="T121" fmla="*/ 378 h 408"/>
              <a:gd name="T122" fmla="*/ 12 w 366"/>
              <a:gd name="T123" fmla="*/ 366 h 408"/>
              <a:gd name="T124" fmla="*/ 24 w 366"/>
              <a:gd name="T125" fmla="*/ 354 h 4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66" h="408">
                <a:moveTo>
                  <a:pt x="36" y="342"/>
                </a:moveTo>
                <a:lnTo>
                  <a:pt x="36" y="342"/>
                </a:lnTo>
                <a:lnTo>
                  <a:pt x="36" y="342"/>
                </a:lnTo>
                <a:lnTo>
                  <a:pt x="42" y="348"/>
                </a:lnTo>
                <a:lnTo>
                  <a:pt x="48" y="348"/>
                </a:lnTo>
                <a:lnTo>
                  <a:pt x="54" y="354"/>
                </a:lnTo>
                <a:lnTo>
                  <a:pt x="54" y="354"/>
                </a:lnTo>
                <a:lnTo>
                  <a:pt x="60" y="348"/>
                </a:lnTo>
                <a:lnTo>
                  <a:pt x="60" y="348"/>
                </a:lnTo>
                <a:lnTo>
                  <a:pt x="66" y="342"/>
                </a:lnTo>
                <a:lnTo>
                  <a:pt x="66" y="342"/>
                </a:lnTo>
                <a:lnTo>
                  <a:pt x="66" y="342"/>
                </a:lnTo>
                <a:lnTo>
                  <a:pt x="66" y="342"/>
                </a:lnTo>
                <a:lnTo>
                  <a:pt x="66" y="342"/>
                </a:lnTo>
                <a:lnTo>
                  <a:pt x="72" y="342"/>
                </a:lnTo>
                <a:lnTo>
                  <a:pt x="72" y="336"/>
                </a:lnTo>
                <a:lnTo>
                  <a:pt x="72" y="342"/>
                </a:lnTo>
                <a:lnTo>
                  <a:pt x="78" y="342"/>
                </a:lnTo>
                <a:lnTo>
                  <a:pt x="78" y="342"/>
                </a:lnTo>
                <a:lnTo>
                  <a:pt x="78" y="342"/>
                </a:lnTo>
                <a:lnTo>
                  <a:pt x="78" y="336"/>
                </a:lnTo>
                <a:lnTo>
                  <a:pt x="78" y="336"/>
                </a:lnTo>
                <a:lnTo>
                  <a:pt x="78" y="336"/>
                </a:lnTo>
                <a:lnTo>
                  <a:pt x="84" y="336"/>
                </a:lnTo>
                <a:lnTo>
                  <a:pt x="84" y="330"/>
                </a:lnTo>
                <a:lnTo>
                  <a:pt x="84" y="330"/>
                </a:lnTo>
                <a:lnTo>
                  <a:pt x="84" y="330"/>
                </a:lnTo>
                <a:lnTo>
                  <a:pt x="84" y="324"/>
                </a:lnTo>
                <a:lnTo>
                  <a:pt x="84" y="324"/>
                </a:lnTo>
                <a:lnTo>
                  <a:pt x="84" y="324"/>
                </a:lnTo>
                <a:lnTo>
                  <a:pt x="84" y="324"/>
                </a:lnTo>
                <a:lnTo>
                  <a:pt x="84" y="324"/>
                </a:lnTo>
                <a:lnTo>
                  <a:pt x="90" y="324"/>
                </a:lnTo>
                <a:lnTo>
                  <a:pt x="90" y="324"/>
                </a:lnTo>
                <a:lnTo>
                  <a:pt x="90" y="324"/>
                </a:lnTo>
                <a:lnTo>
                  <a:pt x="90" y="324"/>
                </a:lnTo>
                <a:lnTo>
                  <a:pt x="90" y="324"/>
                </a:lnTo>
                <a:lnTo>
                  <a:pt x="90" y="324"/>
                </a:lnTo>
                <a:lnTo>
                  <a:pt x="90" y="324"/>
                </a:lnTo>
                <a:lnTo>
                  <a:pt x="90" y="324"/>
                </a:lnTo>
                <a:lnTo>
                  <a:pt x="96" y="324"/>
                </a:lnTo>
                <a:lnTo>
                  <a:pt x="96" y="324"/>
                </a:lnTo>
                <a:lnTo>
                  <a:pt x="96" y="324"/>
                </a:lnTo>
                <a:lnTo>
                  <a:pt x="96" y="324"/>
                </a:lnTo>
                <a:lnTo>
                  <a:pt x="96" y="318"/>
                </a:lnTo>
                <a:lnTo>
                  <a:pt x="96" y="318"/>
                </a:lnTo>
                <a:lnTo>
                  <a:pt x="96" y="324"/>
                </a:lnTo>
                <a:lnTo>
                  <a:pt x="96" y="318"/>
                </a:lnTo>
                <a:lnTo>
                  <a:pt x="96" y="318"/>
                </a:lnTo>
                <a:lnTo>
                  <a:pt x="96" y="318"/>
                </a:lnTo>
                <a:lnTo>
                  <a:pt x="96" y="318"/>
                </a:lnTo>
                <a:lnTo>
                  <a:pt x="102" y="318"/>
                </a:lnTo>
                <a:lnTo>
                  <a:pt x="102" y="318"/>
                </a:lnTo>
                <a:lnTo>
                  <a:pt x="102" y="318"/>
                </a:lnTo>
                <a:lnTo>
                  <a:pt x="102" y="318"/>
                </a:lnTo>
                <a:lnTo>
                  <a:pt x="102" y="318"/>
                </a:lnTo>
                <a:lnTo>
                  <a:pt x="102" y="318"/>
                </a:lnTo>
                <a:lnTo>
                  <a:pt x="102" y="312"/>
                </a:lnTo>
                <a:lnTo>
                  <a:pt x="102" y="312"/>
                </a:lnTo>
                <a:lnTo>
                  <a:pt x="102" y="312"/>
                </a:lnTo>
                <a:lnTo>
                  <a:pt x="102" y="312"/>
                </a:lnTo>
                <a:lnTo>
                  <a:pt x="102" y="312"/>
                </a:lnTo>
                <a:lnTo>
                  <a:pt x="102" y="312"/>
                </a:lnTo>
                <a:lnTo>
                  <a:pt x="102" y="312"/>
                </a:lnTo>
                <a:lnTo>
                  <a:pt x="102" y="312"/>
                </a:lnTo>
                <a:lnTo>
                  <a:pt x="102" y="312"/>
                </a:lnTo>
                <a:lnTo>
                  <a:pt x="102" y="312"/>
                </a:lnTo>
                <a:lnTo>
                  <a:pt x="102" y="312"/>
                </a:lnTo>
                <a:lnTo>
                  <a:pt x="102" y="312"/>
                </a:lnTo>
                <a:lnTo>
                  <a:pt x="102" y="306"/>
                </a:lnTo>
                <a:lnTo>
                  <a:pt x="108" y="306"/>
                </a:lnTo>
                <a:lnTo>
                  <a:pt x="108" y="306"/>
                </a:lnTo>
                <a:lnTo>
                  <a:pt x="108" y="306"/>
                </a:lnTo>
                <a:lnTo>
                  <a:pt x="108" y="306"/>
                </a:lnTo>
                <a:lnTo>
                  <a:pt x="108" y="300"/>
                </a:lnTo>
                <a:lnTo>
                  <a:pt x="108" y="300"/>
                </a:lnTo>
                <a:lnTo>
                  <a:pt x="108" y="300"/>
                </a:lnTo>
                <a:lnTo>
                  <a:pt x="102" y="300"/>
                </a:lnTo>
                <a:lnTo>
                  <a:pt x="102" y="300"/>
                </a:lnTo>
                <a:lnTo>
                  <a:pt x="102" y="300"/>
                </a:lnTo>
                <a:lnTo>
                  <a:pt x="102" y="300"/>
                </a:lnTo>
                <a:lnTo>
                  <a:pt x="102" y="300"/>
                </a:lnTo>
                <a:lnTo>
                  <a:pt x="102" y="300"/>
                </a:lnTo>
                <a:lnTo>
                  <a:pt x="96" y="300"/>
                </a:lnTo>
                <a:lnTo>
                  <a:pt x="96" y="294"/>
                </a:lnTo>
                <a:lnTo>
                  <a:pt x="102" y="294"/>
                </a:lnTo>
                <a:lnTo>
                  <a:pt x="96" y="288"/>
                </a:lnTo>
                <a:lnTo>
                  <a:pt x="96" y="288"/>
                </a:lnTo>
                <a:lnTo>
                  <a:pt x="96" y="288"/>
                </a:lnTo>
                <a:lnTo>
                  <a:pt x="96" y="288"/>
                </a:lnTo>
                <a:lnTo>
                  <a:pt x="96" y="288"/>
                </a:lnTo>
                <a:lnTo>
                  <a:pt x="96" y="282"/>
                </a:lnTo>
                <a:lnTo>
                  <a:pt x="96" y="282"/>
                </a:lnTo>
                <a:lnTo>
                  <a:pt x="96" y="282"/>
                </a:lnTo>
                <a:lnTo>
                  <a:pt x="96" y="282"/>
                </a:lnTo>
                <a:lnTo>
                  <a:pt x="96" y="282"/>
                </a:lnTo>
                <a:lnTo>
                  <a:pt x="96" y="282"/>
                </a:lnTo>
                <a:lnTo>
                  <a:pt x="96" y="282"/>
                </a:lnTo>
                <a:lnTo>
                  <a:pt x="96" y="282"/>
                </a:lnTo>
                <a:lnTo>
                  <a:pt x="90" y="282"/>
                </a:lnTo>
                <a:lnTo>
                  <a:pt x="90" y="282"/>
                </a:lnTo>
                <a:lnTo>
                  <a:pt x="90" y="276"/>
                </a:lnTo>
                <a:lnTo>
                  <a:pt x="90" y="276"/>
                </a:lnTo>
                <a:lnTo>
                  <a:pt x="90" y="276"/>
                </a:lnTo>
                <a:lnTo>
                  <a:pt x="90" y="270"/>
                </a:lnTo>
                <a:lnTo>
                  <a:pt x="90" y="270"/>
                </a:lnTo>
                <a:lnTo>
                  <a:pt x="96" y="276"/>
                </a:lnTo>
                <a:lnTo>
                  <a:pt x="96" y="276"/>
                </a:lnTo>
                <a:lnTo>
                  <a:pt x="96" y="270"/>
                </a:lnTo>
                <a:lnTo>
                  <a:pt x="90" y="270"/>
                </a:lnTo>
                <a:lnTo>
                  <a:pt x="96" y="270"/>
                </a:lnTo>
                <a:lnTo>
                  <a:pt x="96" y="270"/>
                </a:lnTo>
                <a:lnTo>
                  <a:pt x="96" y="270"/>
                </a:lnTo>
                <a:lnTo>
                  <a:pt x="90" y="270"/>
                </a:lnTo>
                <a:lnTo>
                  <a:pt x="90" y="264"/>
                </a:lnTo>
                <a:lnTo>
                  <a:pt x="90" y="264"/>
                </a:lnTo>
                <a:lnTo>
                  <a:pt x="96" y="264"/>
                </a:lnTo>
                <a:lnTo>
                  <a:pt x="96" y="264"/>
                </a:lnTo>
                <a:lnTo>
                  <a:pt x="96" y="264"/>
                </a:lnTo>
                <a:lnTo>
                  <a:pt x="90" y="264"/>
                </a:lnTo>
                <a:lnTo>
                  <a:pt x="90" y="264"/>
                </a:lnTo>
                <a:lnTo>
                  <a:pt x="90" y="264"/>
                </a:lnTo>
                <a:lnTo>
                  <a:pt x="90" y="258"/>
                </a:lnTo>
                <a:lnTo>
                  <a:pt x="90" y="258"/>
                </a:lnTo>
                <a:lnTo>
                  <a:pt x="90" y="264"/>
                </a:lnTo>
                <a:lnTo>
                  <a:pt x="90" y="264"/>
                </a:lnTo>
                <a:lnTo>
                  <a:pt x="84" y="258"/>
                </a:lnTo>
                <a:lnTo>
                  <a:pt x="84" y="258"/>
                </a:lnTo>
                <a:lnTo>
                  <a:pt x="84" y="258"/>
                </a:lnTo>
                <a:lnTo>
                  <a:pt x="84" y="252"/>
                </a:lnTo>
                <a:lnTo>
                  <a:pt x="84" y="252"/>
                </a:lnTo>
                <a:lnTo>
                  <a:pt x="78" y="252"/>
                </a:lnTo>
                <a:lnTo>
                  <a:pt x="78" y="252"/>
                </a:lnTo>
                <a:lnTo>
                  <a:pt x="84" y="252"/>
                </a:lnTo>
                <a:lnTo>
                  <a:pt x="84" y="252"/>
                </a:lnTo>
                <a:lnTo>
                  <a:pt x="84" y="252"/>
                </a:lnTo>
                <a:lnTo>
                  <a:pt x="84" y="252"/>
                </a:lnTo>
                <a:lnTo>
                  <a:pt x="84" y="252"/>
                </a:lnTo>
                <a:lnTo>
                  <a:pt x="84" y="246"/>
                </a:lnTo>
                <a:lnTo>
                  <a:pt x="84" y="246"/>
                </a:lnTo>
                <a:lnTo>
                  <a:pt x="84" y="246"/>
                </a:lnTo>
                <a:lnTo>
                  <a:pt x="84" y="246"/>
                </a:lnTo>
                <a:lnTo>
                  <a:pt x="78" y="246"/>
                </a:lnTo>
                <a:lnTo>
                  <a:pt x="78" y="240"/>
                </a:lnTo>
                <a:lnTo>
                  <a:pt x="78" y="240"/>
                </a:lnTo>
                <a:lnTo>
                  <a:pt x="78" y="240"/>
                </a:lnTo>
                <a:lnTo>
                  <a:pt x="78" y="240"/>
                </a:lnTo>
                <a:lnTo>
                  <a:pt x="78" y="240"/>
                </a:lnTo>
                <a:lnTo>
                  <a:pt x="78" y="240"/>
                </a:lnTo>
                <a:lnTo>
                  <a:pt x="78" y="240"/>
                </a:lnTo>
                <a:lnTo>
                  <a:pt x="78" y="234"/>
                </a:lnTo>
                <a:lnTo>
                  <a:pt x="78" y="234"/>
                </a:lnTo>
                <a:lnTo>
                  <a:pt x="72" y="234"/>
                </a:lnTo>
                <a:lnTo>
                  <a:pt x="72" y="234"/>
                </a:lnTo>
                <a:lnTo>
                  <a:pt x="72" y="234"/>
                </a:lnTo>
                <a:lnTo>
                  <a:pt x="72" y="234"/>
                </a:lnTo>
                <a:lnTo>
                  <a:pt x="72" y="228"/>
                </a:lnTo>
                <a:lnTo>
                  <a:pt x="72" y="228"/>
                </a:lnTo>
                <a:lnTo>
                  <a:pt x="102" y="246"/>
                </a:lnTo>
                <a:lnTo>
                  <a:pt x="114" y="252"/>
                </a:lnTo>
                <a:lnTo>
                  <a:pt x="120" y="246"/>
                </a:lnTo>
                <a:lnTo>
                  <a:pt x="120" y="246"/>
                </a:lnTo>
                <a:lnTo>
                  <a:pt x="126" y="246"/>
                </a:lnTo>
                <a:lnTo>
                  <a:pt x="126" y="246"/>
                </a:lnTo>
                <a:lnTo>
                  <a:pt x="126" y="240"/>
                </a:lnTo>
                <a:lnTo>
                  <a:pt x="126" y="240"/>
                </a:lnTo>
                <a:lnTo>
                  <a:pt x="126" y="240"/>
                </a:lnTo>
                <a:lnTo>
                  <a:pt x="126" y="240"/>
                </a:lnTo>
                <a:lnTo>
                  <a:pt x="126" y="240"/>
                </a:lnTo>
                <a:lnTo>
                  <a:pt x="126" y="234"/>
                </a:lnTo>
                <a:lnTo>
                  <a:pt x="126" y="234"/>
                </a:lnTo>
                <a:lnTo>
                  <a:pt x="126" y="234"/>
                </a:lnTo>
                <a:lnTo>
                  <a:pt x="126" y="234"/>
                </a:lnTo>
                <a:lnTo>
                  <a:pt x="126" y="234"/>
                </a:lnTo>
                <a:lnTo>
                  <a:pt x="126" y="228"/>
                </a:lnTo>
                <a:lnTo>
                  <a:pt x="126" y="228"/>
                </a:lnTo>
                <a:lnTo>
                  <a:pt x="126" y="228"/>
                </a:lnTo>
                <a:lnTo>
                  <a:pt x="126" y="222"/>
                </a:lnTo>
                <a:lnTo>
                  <a:pt x="126" y="222"/>
                </a:lnTo>
                <a:lnTo>
                  <a:pt x="126" y="222"/>
                </a:lnTo>
                <a:lnTo>
                  <a:pt x="126" y="222"/>
                </a:lnTo>
                <a:lnTo>
                  <a:pt x="126" y="222"/>
                </a:lnTo>
                <a:lnTo>
                  <a:pt x="126" y="216"/>
                </a:lnTo>
                <a:lnTo>
                  <a:pt x="126" y="216"/>
                </a:lnTo>
                <a:lnTo>
                  <a:pt x="126" y="216"/>
                </a:lnTo>
                <a:lnTo>
                  <a:pt x="126" y="216"/>
                </a:lnTo>
                <a:lnTo>
                  <a:pt x="126" y="216"/>
                </a:lnTo>
                <a:lnTo>
                  <a:pt x="126" y="216"/>
                </a:lnTo>
                <a:lnTo>
                  <a:pt x="126" y="216"/>
                </a:lnTo>
                <a:lnTo>
                  <a:pt x="126" y="210"/>
                </a:lnTo>
                <a:lnTo>
                  <a:pt x="126" y="210"/>
                </a:lnTo>
                <a:lnTo>
                  <a:pt x="126" y="210"/>
                </a:lnTo>
                <a:lnTo>
                  <a:pt x="126" y="210"/>
                </a:lnTo>
                <a:lnTo>
                  <a:pt x="126" y="210"/>
                </a:lnTo>
                <a:lnTo>
                  <a:pt x="126" y="210"/>
                </a:lnTo>
                <a:lnTo>
                  <a:pt x="126" y="210"/>
                </a:lnTo>
                <a:lnTo>
                  <a:pt x="126" y="210"/>
                </a:lnTo>
                <a:lnTo>
                  <a:pt x="126" y="210"/>
                </a:lnTo>
                <a:lnTo>
                  <a:pt x="126" y="204"/>
                </a:lnTo>
                <a:lnTo>
                  <a:pt x="126" y="204"/>
                </a:lnTo>
                <a:lnTo>
                  <a:pt x="126" y="204"/>
                </a:lnTo>
                <a:lnTo>
                  <a:pt x="126" y="204"/>
                </a:lnTo>
                <a:lnTo>
                  <a:pt x="126" y="198"/>
                </a:lnTo>
                <a:lnTo>
                  <a:pt x="126" y="198"/>
                </a:lnTo>
                <a:lnTo>
                  <a:pt x="132" y="192"/>
                </a:lnTo>
                <a:lnTo>
                  <a:pt x="132" y="192"/>
                </a:lnTo>
                <a:lnTo>
                  <a:pt x="132" y="192"/>
                </a:lnTo>
                <a:lnTo>
                  <a:pt x="132" y="192"/>
                </a:lnTo>
                <a:lnTo>
                  <a:pt x="132" y="192"/>
                </a:lnTo>
                <a:lnTo>
                  <a:pt x="132" y="192"/>
                </a:lnTo>
                <a:lnTo>
                  <a:pt x="132" y="192"/>
                </a:lnTo>
                <a:lnTo>
                  <a:pt x="132" y="192"/>
                </a:lnTo>
                <a:lnTo>
                  <a:pt x="132" y="186"/>
                </a:lnTo>
                <a:lnTo>
                  <a:pt x="132" y="192"/>
                </a:lnTo>
                <a:lnTo>
                  <a:pt x="132" y="186"/>
                </a:lnTo>
                <a:lnTo>
                  <a:pt x="132" y="186"/>
                </a:lnTo>
                <a:lnTo>
                  <a:pt x="132" y="186"/>
                </a:lnTo>
                <a:lnTo>
                  <a:pt x="138" y="186"/>
                </a:lnTo>
                <a:lnTo>
                  <a:pt x="138" y="186"/>
                </a:lnTo>
                <a:lnTo>
                  <a:pt x="138" y="186"/>
                </a:lnTo>
                <a:lnTo>
                  <a:pt x="138" y="186"/>
                </a:lnTo>
                <a:lnTo>
                  <a:pt x="138" y="180"/>
                </a:lnTo>
                <a:lnTo>
                  <a:pt x="138" y="180"/>
                </a:lnTo>
                <a:lnTo>
                  <a:pt x="138" y="180"/>
                </a:lnTo>
                <a:lnTo>
                  <a:pt x="138" y="180"/>
                </a:lnTo>
                <a:lnTo>
                  <a:pt x="144" y="180"/>
                </a:lnTo>
                <a:lnTo>
                  <a:pt x="144" y="174"/>
                </a:lnTo>
                <a:lnTo>
                  <a:pt x="144" y="174"/>
                </a:lnTo>
                <a:lnTo>
                  <a:pt x="144" y="174"/>
                </a:lnTo>
                <a:lnTo>
                  <a:pt x="144" y="174"/>
                </a:lnTo>
                <a:lnTo>
                  <a:pt x="144" y="174"/>
                </a:lnTo>
                <a:lnTo>
                  <a:pt x="144" y="174"/>
                </a:lnTo>
                <a:lnTo>
                  <a:pt x="144" y="168"/>
                </a:lnTo>
                <a:lnTo>
                  <a:pt x="150" y="168"/>
                </a:lnTo>
                <a:lnTo>
                  <a:pt x="150" y="168"/>
                </a:lnTo>
                <a:lnTo>
                  <a:pt x="150" y="168"/>
                </a:lnTo>
                <a:lnTo>
                  <a:pt x="150" y="168"/>
                </a:lnTo>
                <a:lnTo>
                  <a:pt x="150" y="168"/>
                </a:lnTo>
                <a:lnTo>
                  <a:pt x="150" y="168"/>
                </a:lnTo>
                <a:lnTo>
                  <a:pt x="150" y="162"/>
                </a:lnTo>
                <a:lnTo>
                  <a:pt x="150" y="162"/>
                </a:lnTo>
                <a:lnTo>
                  <a:pt x="150" y="162"/>
                </a:lnTo>
                <a:lnTo>
                  <a:pt x="156" y="162"/>
                </a:lnTo>
                <a:lnTo>
                  <a:pt x="156" y="156"/>
                </a:lnTo>
                <a:lnTo>
                  <a:pt x="156" y="156"/>
                </a:lnTo>
                <a:lnTo>
                  <a:pt x="156" y="156"/>
                </a:lnTo>
                <a:lnTo>
                  <a:pt x="156" y="156"/>
                </a:lnTo>
                <a:lnTo>
                  <a:pt x="156" y="156"/>
                </a:lnTo>
                <a:lnTo>
                  <a:pt x="156" y="150"/>
                </a:lnTo>
                <a:lnTo>
                  <a:pt x="156" y="150"/>
                </a:lnTo>
                <a:lnTo>
                  <a:pt x="156" y="150"/>
                </a:lnTo>
                <a:lnTo>
                  <a:pt x="156" y="150"/>
                </a:lnTo>
                <a:lnTo>
                  <a:pt x="162" y="144"/>
                </a:lnTo>
                <a:lnTo>
                  <a:pt x="162" y="144"/>
                </a:lnTo>
                <a:lnTo>
                  <a:pt x="162" y="144"/>
                </a:lnTo>
                <a:lnTo>
                  <a:pt x="156" y="144"/>
                </a:lnTo>
                <a:lnTo>
                  <a:pt x="162" y="144"/>
                </a:lnTo>
                <a:lnTo>
                  <a:pt x="162" y="138"/>
                </a:lnTo>
                <a:lnTo>
                  <a:pt x="162" y="138"/>
                </a:lnTo>
                <a:lnTo>
                  <a:pt x="162" y="138"/>
                </a:lnTo>
                <a:lnTo>
                  <a:pt x="162" y="138"/>
                </a:lnTo>
                <a:lnTo>
                  <a:pt x="162" y="138"/>
                </a:lnTo>
                <a:lnTo>
                  <a:pt x="168" y="132"/>
                </a:lnTo>
                <a:lnTo>
                  <a:pt x="162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26"/>
                </a:lnTo>
                <a:lnTo>
                  <a:pt x="168" y="126"/>
                </a:lnTo>
                <a:lnTo>
                  <a:pt x="168" y="126"/>
                </a:lnTo>
                <a:lnTo>
                  <a:pt x="168" y="126"/>
                </a:lnTo>
                <a:lnTo>
                  <a:pt x="168" y="126"/>
                </a:lnTo>
                <a:lnTo>
                  <a:pt x="168" y="126"/>
                </a:lnTo>
                <a:lnTo>
                  <a:pt x="168" y="120"/>
                </a:lnTo>
                <a:lnTo>
                  <a:pt x="168" y="120"/>
                </a:lnTo>
                <a:lnTo>
                  <a:pt x="168" y="120"/>
                </a:lnTo>
                <a:lnTo>
                  <a:pt x="168" y="120"/>
                </a:lnTo>
                <a:lnTo>
                  <a:pt x="168" y="120"/>
                </a:lnTo>
                <a:lnTo>
                  <a:pt x="168" y="120"/>
                </a:lnTo>
                <a:lnTo>
                  <a:pt x="168" y="120"/>
                </a:lnTo>
                <a:lnTo>
                  <a:pt x="168" y="114"/>
                </a:lnTo>
                <a:lnTo>
                  <a:pt x="168" y="114"/>
                </a:lnTo>
                <a:lnTo>
                  <a:pt x="168" y="114"/>
                </a:lnTo>
                <a:lnTo>
                  <a:pt x="168" y="114"/>
                </a:lnTo>
                <a:lnTo>
                  <a:pt x="168" y="114"/>
                </a:lnTo>
                <a:lnTo>
                  <a:pt x="168" y="108"/>
                </a:lnTo>
                <a:lnTo>
                  <a:pt x="168" y="108"/>
                </a:lnTo>
                <a:lnTo>
                  <a:pt x="168" y="108"/>
                </a:lnTo>
                <a:lnTo>
                  <a:pt x="168" y="108"/>
                </a:lnTo>
                <a:lnTo>
                  <a:pt x="168" y="108"/>
                </a:lnTo>
                <a:lnTo>
                  <a:pt x="168" y="108"/>
                </a:lnTo>
                <a:lnTo>
                  <a:pt x="168" y="102"/>
                </a:lnTo>
                <a:lnTo>
                  <a:pt x="168" y="102"/>
                </a:lnTo>
                <a:lnTo>
                  <a:pt x="168" y="102"/>
                </a:lnTo>
                <a:lnTo>
                  <a:pt x="168" y="102"/>
                </a:lnTo>
                <a:lnTo>
                  <a:pt x="168" y="102"/>
                </a:lnTo>
                <a:lnTo>
                  <a:pt x="168" y="102"/>
                </a:lnTo>
                <a:lnTo>
                  <a:pt x="168" y="102"/>
                </a:lnTo>
                <a:lnTo>
                  <a:pt x="168" y="102"/>
                </a:lnTo>
                <a:lnTo>
                  <a:pt x="168" y="102"/>
                </a:lnTo>
                <a:lnTo>
                  <a:pt x="168" y="102"/>
                </a:lnTo>
                <a:lnTo>
                  <a:pt x="168" y="102"/>
                </a:lnTo>
                <a:lnTo>
                  <a:pt x="168" y="102"/>
                </a:lnTo>
                <a:lnTo>
                  <a:pt x="168" y="96"/>
                </a:lnTo>
                <a:lnTo>
                  <a:pt x="168" y="96"/>
                </a:lnTo>
                <a:lnTo>
                  <a:pt x="168" y="96"/>
                </a:lnTo>
                <a:lnTo>
                  <a:pt x="168" y="96"/>
                </a:lnTo>
                <a:lnTo>
                  <a:pt x="168" y="96"/>
                </a:lnTo>
                <a:lnTo>
                  <a:pt x="168" y="96"/>
                </a:lnTo>
                <a:lnTo>
                  <a:pt x="168" y="96"/>
                </a:lnTo>
                <a:lnTo>
                  <a:pt x="168" y="96"/>
                </a:lnTo>
                <a:lnTo>
                  <a:pt x="168" y="96"/>
                </a:lnTo>
                <a:lnTo>
                  <a:pt x="174" y="96"/>
                </a:lnTo>
                <a:lnTo>
                  <a:pt x="168" y="90"/>
                </a:lnTo>
                <a:lnTo>
                  <a:pt x="168" y="90"/>
                </a:lnTo>
                <a:lnTo>
                  <a:pt x="168" y="90"/>
                </a:lnTo>
                <a:lnTo>
                  <a:pt x="168" y="90"/>
                </a:lnTo>
                <a:lnTo>
                  <a:pt x="174" y="90"/>
                </a:lnTo>
                <a:lnTo>
                  <a:pt x="174" y="90"/>
                </a:lnTo>
                <a:lnTo>
                  <a:pt x="174" y="90"/>
                </a:lnTo>
                <a:lnTo>
                  <a:pt x="174" y="90"/>
                </a:lnTo>
                <a:lnTo>
                  <a:pt x="174" y="84"/>
                </a:lnTo>
                <a:lnTo>
                  <a:pt x="174" y="84"/>
                </a:lnTo>
                <a:lnTo>
                  <a:pt x="174" y="84"/>
                </a:lnTo>
                <a:lnTo>
                  <a:pt x="174" y="84"/>
                </a:lnTo>
                <a:lnTo>
                  <a:pt x="174" y="84"/>
                </a:lnTo>
                <a:lnTo>
                  <a:pt x="174" y="84"/>
                </a:lnTo>
                <a:lnTo>
                  <a:pt x="174" y="84"/>
                </a:lnTo>
                <a:lnTo>
                  <a:pt x="174" y="84"/>
                </a:lnTo>
                <a:lnTo>
                  <a:pt x="174" y="84"/>
                </a:lnTo>
                <a:lnTo>
                  <a:pt x="174" y="84"/>
                </a:lnTo>
                <a:lnTo>
                  <a:pt x="174" y="78"/>
                </a:lnTo>
                <a:lnTo>
                  <a:pt x="180" y="78"/>
                </a:lnTo>
                <a:lnTo>
                  <a:pt x="180" y="78"/>
                </a:lnTo>
                <a:lnTo>
                  <a:pt x="180" y="78"/>
                </a:lnTo>
                <a:lnTo>
                  <a:pt x="180" y="78"/>
                </a:lnTo>
                <a:lnTo>
                  <a:pt x="180" y="78"/>
                </a:lnTo>
                <a:lnTo>
                  <a:pt x="180" y="78"/>
                </a:lnTo>
                <a:lnTo>
                  <a:pt x="180" y="78"/>
                </a:lnTo>
                <a:lnTo>
                  <a:pt x="180" y="78"/>
                </a:lnTo>
                <a:lnTo>
                  <a:pt x="186" y="78"/>
                </a:lnTo>
                <a:lnTo>
                  <a:pt x="186" y="78"/>
                </a:lnTo>
                <a:lnTo>
                  <a:pt x="186" y="78"/>
                </a:lnTo>
                <a:lnTo>
                  <a:pt x="186" y="78"/>
                </a:lnTo>
                <a:lnTo>
                  <a:pt x="186" y="78"/>
                </a:lnTo>
                <a:lnTo>
                  <a:pt x="186" y="78"/>
                </a:lnTo>
                <a:lnTo>
                  <a:pt x="186" y="78"/>
                </a:lnTo>
                <a:lnTo>
                  <a:pt x="186" y="72"/>
                </a:lnTo>
                <a:lnTo>
                  <a:pt x="186" y="72"/>
                </a:lnTo>
                <a:lnTo>
                  <a:pt x="186" y="72"/>
                </a:lnTo>
                <a:lnTo>
                  <a:pt x="186" y="72"/>
                </a:lnTo>
                <a:lnTo>
                  <a:pt x="186" y="72"/>
                </a:lnTo>
                <a:lnTo>
                  <a:pt x="192" y="72"/>
                </a:lnTo>
                <a:lnTo>
                  <a:pt x="192" y="72"/>
                </a:lnTo>
                <a:lnTo>
                  <a:pt x="192" y="72"/>
                </a:lnTo>
                <a:lnTo>
                  <a:pt x="192" y="72"/>
                </a:lnTo>
                <a:lnTo>
                  <a:pt x="192" y="72"/>
                </a:lnTo>
                <a:lnTo>
                  <a:pt x="192" y="66"/>
                </a:lnTo>
                <a:lnTo>
                  <a:pt x="192" y="66"/>
                </a:lnTo>
                <a:lnTo>
                  <a:pt x="192" y="66"/>
                </a:lnTo>
                <a:lnTo>
                  <a:pt x="192" y="66"/>
                </a:lnTo>
                <a:lnTo>
                  <a:pt x="192" y="66"/>
                </a:lnTo>
                <a:lnTo>
                  <a:pt x="192" y="66"/>
                </a:lnTo>
                <a:lnTo>
                  <a:pt x="192" y="66"/>
                </a:lnTo>
                <a:lnTo>
                  <a:pt x="192" y="66"/>
                </a:lnTo>
                <a:lnTo>
                  <a:pt x="192" y="60"/>
                </a:lnTo>
                <a:lnTo>
                  <a:pt x="192" y="60"/>
                </a:lnTo>
                <a:lnTo>
                  <a:pt x="192" y="60"/>
                </a:lnTo>
                <a:lnTo>
                  <a:pt x="192" y="60"/>
                </a:lnTo>
                <a:lnTo>
                  <a:pt x="192" y="60"/>
                </a:lnTo>
                <a:lnTo>
                  <a:pt x="192" y="60"/>
                </a:lnTo>
                <a:lnTo>
                  <a:pt x="192" y="60"/>
                </a:lnTo>
                <a:lnTo>
                  <a:pt x="192" y="60"/>
                </a:lnTo>
                <a:lnTo>
                  <a:pt x="192" y="60"/>
                </a:lnTo>
                <a:lnTo>
                  <a:pt x="192" y="60"/>
                </a:lnTo>
                <a:lnTo>
                  <a:pt x="192" y="60"/>
                </a:lnTo>
                <a:lnTo>
                  <a:pt x="198" y="54"/>
                </a:lnTo>
                <a:lnTo>
                  <a:pt x="198" y="54"/>
                </a:lnTo>
                <a:lnTo>
                  <a:pt x="198" y="54"/>
                </a:lnTo>
                <a:lnTo>
                  <a:pt x="198" y="54"/>
                </a:lnTo>
                <a:lnTo>
                  <a:pt x="198" y="54"/>
                </a:lnTo>
                <a:lnTo>
                  <a:pt x="198" y="54"/>
                </a:lnTo>
                <a:lnTo>
                  <a:pt x="198" y="54"/>
                </a:lnTo>
                <a:lnTo>
                  <a:pt x="198" y="54"/>
                </a:lnTo>
                <a:lnTo>
                  <a:pt x="204" y="54"/>
                </a:lnTo>
                <a:lnTo>
                  <a:pt x="204" y="54"/>
                </a:lnTo>
                <a:lnTo>
                  <a:pt x="204" y="54"/>
                </a:lnTo>
                <a:lnTo>
                  <a:pt x="204" y="54"/>
                </a:lnTo>
                <a:lnTo>
                  <a:pt x="204" y="48"/>
                </a:lnTo>
                <a:lnTo>
                  <a:pt x="204" y="48"/>
                </a:lnTo>
                <a:lnTo>
                  <a:pt x="204" y="48"/>
                </a:lnTo>
                <a:lnTo>
                  <a:pt x="204" y="48"/>
                </a:lnTo>
                <a:lnTo>
                  <a:pt x="204" y="48"/>
                </a:lnTo>
                <a:lnTo>
                  <a:pt x="204" y="48"/>
                </a:lnTo>
                <a:lnTo>
                  <a:pt x="204" y="48"/>
                </a:lnTo>
                <a:lnTo>
                  <a:pt x="204" y="48"/>
                </a:lnTo>
                <a:lnTo>
                  <a:pt x="210" y="42"/>
                </a:lnTo>
                <a:lnTo>
                  <a:pt x="210" y="42"/>
                </a:lnTo>
                <a:lnTo>
                  <a:pt x="210" y="42"/>
                </a:lnTo>
                <a:lnTo>
                  <a:pt x="210" y="42"/>
                </a:lnTo>
                <a:lnTo>
                  <a:pt x="210" y="42"/>
                </a:lnTo>
                <a:lnTo>
                  <a:pt x="210" y="42"/>
                </a:lnTo>
                <a:lnTo>
                  <a:pt x="210" y="42"/>
                </a:lnTo>
                <a:lnTo>
                  <a:pt x="210" y="42"/>
                </a:lnTo>
                <a:lnTo>
                  <a:pt x="210" y="42"/>
                </a:lnTo>
                <a:lnTo>
                  <a:pt x="210" y="42"/>
                </a:lnTo>
                <a:lnTo>
                  <a:pt x="216" y="42"/>
                </a:lnTo>
                <a:lnTo>
                  <a:pt x="216" y="42"/>
                </a:lnTo>
                <a:lnTo>
                  <a:pt x="216" y="42"/>
                </a:lnTo>
                <a:lnTo>
                  <a:pt x="216" y="42"/>
                </a:lnTo>
                <a:lnTo>
                  <a:pt x="216" y="42"/>
                </a:lnTo>
                <a:lnTo>
                  <a:pt x="216" y="42"/>
                </a:lnTo>
                <a:lnTo>
                  <a:pt x="216" y="36"/>
                </a:lnTo>
                <a:lnTo>
                  <a:pt x="216" y="36"/>
                </a:lnTo>
                <a:lnTo>
                  <a:pt x="216" y="36"/>
                </a:lnTo>
                <a:lnTo>
                  <a:pt x="216" y="36"/>
                </a:lnTo>
                <a:lnTo>
                  <a:pt x="216" y="36"/>
                </a:lnTo>
                <a:lnTo>
                  <a:pt x="216" y="36"/>
                </a:lnTo>
                <a:lnTo>
                  <a:pt x="216" y="36"/>
                </a:lnTo>
                <a:lnTo>
                  <a:pt x="216" y="36"/>
                </a:lnTo>
                <a:lnTo>
                  <a:pt x="216" y="36"/>
                </a:lnTo>
                <a:lnTo>
                  <a:pt x="216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8" y="36"/>
                </a:lnTo>
                <a:lnTo>
                  <a:pt x="222" y="36"/>
                </a:lnTo>
                <a:lnTo>
                  <a:pt x="222" y="42"/>
                </a:lnTo>
                <a:lnTo>
                  <a:pt x="228" y="36"/>
                </a:lnTo>
                <a:lnTo>
                  <a:pt x="228" y="36"/>
                </a:lnTo>
                <a:lnTo>
                  <a:pt x="228" y="36"/>
                </a:lnTo>
                <a:lnTo>
                  <a:pt x="228" y="36"/>
                </a:lnTo>
                <a:lnTo>
                  <a:pt x="228" y="36"/>
                </a:lnTo>
                <a:lnTo>
                  <a:pt x="228" y="36"/>
                </a:lnTo>
                <a:lnTo>
                  <a:pt x="228" y="36"/>
                </a:lnTo>
                <a:lnTo>
                  <a:pt x="234" y="36"/>
                </a:lnTo>
                <a:lnTo>
                  <a:pt x="234" y="36"/>
                </a:lnTo>
                <a:lnTo>
                  <a:pt x="234" y="36"/>
                </a:lnTo>
                <a:lnTo>
                  <a:pt x="234" y="36"/>
                </a:lnTo>
                <a:lnTo>
                  <a:pt x="234" y="36"/>
                </a:lnTo>
                <a:lnTo>
                  <a:pt x="234" y="36"/>
                </a:lnTo>
                <a:lnTo>
                  <a:pt x="234" y="36"/>
                </a:lnTo>
                <a:lnTo>
                  <a:pt x="234" y="36"/>
                </a:lnTo>
                <a:lnTo>
                  <a:pt x="234" y="30"/>
                </a:lnTo>
                <a:lnTo>
                  <a:pt x="234" y="36"/>
                </a:lnTo>
                <a:lnTo>
                  <a:pt x="234" y="30"/>
                </a:lnTo>
                <a:lnTo>
                  <a:pt x="234" y="30"/>
                </a:lnTo>
                <a:lnTo>
                  <a:pt x="234" y="30"/>
                </a:lnTo>
                <a:lnTo>
                  <a:pt x="234" y="30"/>
                </a:lnTo>
                <a:lnTo>
                  <a:pt x="234" y="30"/>
                </a:lnTo>
                <a:lnTo>
                  <a:pt x="234" y="30"/>
                </a:lnTo>
                <a:lnTo>
                  <a:pt x="234" y="30"/>
                </a:lnTo>
                <a:lnTo>
                  <a:pt x="234" y="30"/>
                </a:lnTo>
                <a:lnTo>
                  <a:pt x="234" y="30"/>
                </a:lnTo>
                <a:lnTo>
                  <a:pt x="234" y="30"/>
                </a:lnTo>
                <a:lnTo>
                  <a:pt x="234" y="30"/>
                </a:lnTo>
                <a:lnTo>
                  <a:pt x="234" y="30"/>
                </a:lnTo>
                <a:lnTo>
                  <a:pt x="234" y="30"/>
                </a:lnTo>
                <a:lnTo>
                  <a:pt x="240" y="24"/>
                </a:lnTo>
                <a:lnTo>
                  <a:pt x="240" y="24"/>
                </a:lnTo>
                <a:lnTo>
                  <a:pt x="240" y="24"/>
                </a:lnTo>
                <a:lnTo>
                  <a:pt x="240" y="24"/>
                </a:lnTo>
                <a:lnTo>
                  <a:pt x="240" y="24"/>
                </a:lnTo>
                <a:lnTo>
                  <a:pt x="240" y="24"/>
                </a:lnTo>
                <a:lnTo>
                  <a:pt x="240" y="24"/>
                </a:lnTo>
                <a:lnTo>
                  <a:pt x="240" y="18"/>
                </a:lnTo>
                <a:lnTo>
                  <a:pt x="240" y="18"/>
                </a:lnTo>
                <a:lnTo>
                  <a:pt x="240" y="18"/>
                </a:lnTo>
                <a:lnTo>
                  <a:pt x="246" y="18"/>
                </a:lnTo>
                <a:lnTo>
                  <a:pt x="246" y="18"/>
                </a:lnTo>
                <a:lnTo>
                  <a:pt x="246" y="18"/>
                </a:lnTo>
                <a:lnTo>
                  <a:pt x="246" y="12"/>
                </a:lnTo>
                <a:lnTo>
                  <a:pt x="246" y="12"/>
                </a:lnTo>
                <a:lnTo>
                  <a:pt x="252" y="12"/>
                </a:lnTo>
                <a:lnTo>
                  <a:pt x="252" y="12"/>
                </a:lnTo>
                <a:lnTo>
                  <a:pt x="252" y="12"/>
                </a:lnTo>
                <a:lnTo>
                  <a:pt x="252" y="12"/>
                </a:lnTo>
                <a:lnTo>
                  <a:pt x="252" y="12"/>
                </a:lnTo>
                <a:lnTo>
                  <a:pt x="252" y="12"/>
                </a:lnTo>
                <a:lnTo>
                  <a:pt x="252" y="12"/>
                </a:lnTo>
                <a:lnTo>
                  <a:pt x="258" y="12"/>
                </a:lnTo>
                <a:lnTo>
                  <a:pt x="258" y="12"/>
                </a:lnTo>
                <a:lnTo>
                  <a:pt x="258" y="12"/>
                </a:lnTo>
                <a:lnTo>
                  <a:pt x="258" y="12"/>
                </a:lnTo>
                <a:lnTo>
                  <a:pt x="258" y="12"/>
                </a:lnTo>
                <a:lnTo>
                  <a:pt x="258" y="12"/>
                </a:lnTo>
                <a:lnTo>
                  <a:pt x="258" y="12"/>
                </a:lnTo>
                <a:lnTo>
                  <a:pt x="258" y="6"/>
                </a:lnTo>
                <a:lnTo>
                  <a:pt x="258" y="6"/>
                </a:lnTo>
                <a:lnTo>
                  <a:pt x="264" y="12"/>
                </a:lnTo>
                <a:lnTo>
                  <a:pt x="264" y="6"/>
                </a:lnTo>
                <a:lnTo>
                  <a:pt x="264" y="6"/>
                </a:lnTo>
                <a:lnTo>
                  <a:pt x="258" y="6"/>
                </a:lnTo>
                <a:lnTo>
                  <a:pt x="258" y="6"/>
                </a:lnTo>
                <a:lnTo>
                  <a:pt x="264" y="6"/>
                </a:lnTo>
                <a:lnTo>
                  <a:pt x="264" y="6"/>
                </a:lnTo>
                <a:lnTo>
                  <a:pt x="264" y="6"/>
                </a:lnTo>
                <a:lnTo>
                  <a:pt x="264" y="6"/>
                </a:lnTo>
                <a:lnTo>
                  <a:pt x="264" y="0"/>
                </a:lnTo>
                <a:lnTo>
                  <a:pt x="264" y="0"/>
                </a:lnTo>
                <a:lnTo>
                  <a:pt x="264" y="6"/>
                </a:lnTo>
                <a:lnTo>
                  <a:pt x="264" y="0"/>
                </a:lnTo>
                <a:lnTo>
                  <a:pt x="264" y="0"/>
                </a:lnTo>
                <a:lnTo>
                  <a:pt x="270" y="0"/>
                </a:lnTo>
                <a:lnTo>
                  <a:pt x="270" y="0"/>
                </a:lnTo>
                <a:lnTo>
                  <a:pt x="270" y="0"/>
                </a:lnTo>
                <a:lnTo>
                  <a:pt x="270" y="0"/>
                </a:lnTo>
                <a:lnTo>
                  <a:pt x="270" y="0"/>
                </a:lnTo>
                <a:lnTo>
                  <a:pt x="276" y="0"/>
                </a:lnTo>
                <a:lnTo>
                  <a:pt x="276" y="0"/>
                </a:lnTo>
                <a:lnTo>
                  <a:pt x="276" y="0"/>
                </a:lnTo>
                <a:lnTo>
                  <a:pt x="276" y="0"/>
                </a:lnTo>
                <a:lnTo>
                  <a:pt x="282" y="6"/>
                </a:lnTo>
                <a:lnTo>
                  <a:pt x="282" y="6"/>
                </a:lnTo>
                <a:lnTo>
                  <a:pt x="282" y="6"/>
                </a:lnTo>
                <a:lnTo>
                  <a:pt x="282" y="6"/>
                </a:lnTo>
                <a:lnTo>
                  <a:pt x="282" y="6"/>
                </a:lnTo>
                <a:lnTo>
                  <a:pt x="288" y="6"/>
                </a:lnTo>
                <a:lnTo>
                  <a:pt x="288" y="6"/>
                </a:lnTo>
                <a:lnTo>
                  <a:pt x="288" y="12"/>
                </a:lnTo>
                <a:lnTo>
                  <a:pt x="294" y="12"/>
                </a:lnTo>
                <a:lnTo>
                  <a:pt x="294" y="12"/>
                </a:lnTo>
                <a:lnTo>
                  <a:pt x="294" y="12"/>
                </a:lnTo>
                <a:lnTo>
                  <a:pt x="294" y="18"/>
                </a:lnTo>
                <a:lnTo>
                  <a:pt x="294" y="18"/>
                </a:lnTo>
                <a:lnTo>
                  <a:pt x="294" y="18"/>
                </a:lnTo>
                <a:lnTo>
                  <a:pt x="294" y="18"/>
                </a:lnTo>
                <a:lnTo>
                  <a:pt x="300" y="18"/>
                </a:lnTo>
                <a:lnTo>
                  <a:pt x="300" y="24"/>
                </a:lnTo>
                <a:lnTo>
                  <a:pt x="300" y="30"/>
                </a:lnTo>
                <a:lnTo>
                  <a:pt x="300" y="30"/>
                </a:lnTo>
                <a:lnTo>
                  <a:pt x="306" y="30"/>
                </a:lnTo>
                <a:lnTo>
                  <a:pt x="306" y="30"/>
                </a:lnTo>
                <a:lnTo>
                  <a:pt x="300" y="30"/>
                </a:lnTo>
                <a:lnTo>
                  <a:pt x="300" y="30"/>
                </a:lnTo>
                <a:lnTo>
                  <a:pt x="300" y="36"/>
                </a:lnTo>
                <a:lnTo>
                  <a:pt x="306" y="36"/>
                </a:lnTo>
                <a:lnTo>
                  <a:pt x="306" y="36"/>
                </a:lnTo>
                <a:lnTo>
                  <a:pt x="300" y="36"/>
                </a:lnTo>
                <a:lnTo>
                  <a:pt x="300" y="36"/>
                </a:lnTo>
                <a:lnTo>
                  <a:pt x="306" y="36"/>
                </a:lnTo>
                <a:lnTo>
                  <a:pt x="306" y="36"/>
                </a:lnTo>
                <a:lnTo>
                  <a:pt x="306" y="36"/>
                </a:lnTo>
                <a:lnTo>
                  <a:pt x="312" y="42"/>
                </a:lnTo>
                <a:lnTo>
                  <a:pt x="312" y="42"/>
                </a:lnTo>
                <a:lnTo>
                  <a:pt x="312" y="42"/>
                </a:lnTo>
                <a:lnTo>
                  <a:pt x="312" y="42"/>
                </a:lnTo>
                <a:lnTo>
                  <a:pt x="312" y="48"/>
                </a:lnTo>
                <a:lnTo>
                  <a:pt x="312" y="42"/>
                </a:lnTo>
                <a:lnTo>
                  <a:pt x="318" y="42"/>
                </a:lnTo>
                <a:lnTo>
                  <a:pt x="318" y="42"/>
                </a:lnTo>
                <a:lnTo>
                  <a:pt x="318" y="48"/>
                </a:lnTo>
                <a:lnTo>
                  <a:pt x="318" y="48"/>
                </a:lnTo>
                <a:lnTo>
                  <a:pt x="318" y="48"/>
                </a:lnTo>
                <a:lnTo>
                  <a:pt x="318" y="48"/>
                </a:lnTo>
                <a:lnTo>
                  <a:pt x="318" y="48"/>
                </a:lnTo>
                <a:lnTo>
                  <a:pt x="318" y="48"/>
                </a:lnTo>
                <a:lnTo>
                  <a:pt x="324" y="48"/>
                </a:lnTo>
                <a:lnTo>
                  <a:pt x="324" y="48"/>
                </a:lnTo>
                <a:lnTo>
                  <a:pt x="324" y="48"/>
                </a:lnTo>
                <a:lnTo>
                  <a:pt x="324" y="54"/>
                </a:lnTo>
                <a:lnTo>
                  <a:pt x="324" y="54"/>
                </a:lnTo>
                <a:lnTo>
                  <a:pt x="324" y="54"/>
                </a:lnTo>
                <a:lnTo>
                  <a:pt x="324" y="54"/>
                </a:lnTo>
                <a:lnTo>
                  <a:pt x="330" y="60"/>
                </a:lnTo>
                <a:lnTo>
                  <a:pt x="330" y="60"/>
                </a:lnTo>
                <a:lnTo>
                  <a:pt x="330" y="60"/>
                </a:lnTo>
                <a:lnTo>
                  <a:pt x="330" y="60"/>
                </a:lnTo>
                <a:lnTo>
                  <a:pt x="330" y="66"/>
                </a:lnTo>
                <a:lnTo>
                  <a:pt x="330" y="66"/>
                </a:lnTo>
                <a:lnTo>
                  <a:pt x="330" y="66"/>
                </a:lnTo>
                <a:lnTo>
                  <a:pt x="336" y="66"/>
                </a:lnTo>
                <a:lnTo>
                  <a:pt x="336" y="72"/>
                </a:lnTo>
                <a:lnTo>
                  <a:pt x="336" y="72"/>
                </a:lnTo>
                <a:lnTo>
                  <a:pt x="336" y="72"/>
                </a:lnTo>
                <a:lnTo>
                  <a:pt x="336" y="78"/>
                </a:lnTo>
                <a:lnTo>
                  <a:pt x="336" y="78"/>
                </a:lnTo>
                <a:lnTo>
                  <a:pt x="342" y="72"/>
                </a:lnTo>
                <a:lnTo>
                  <a:pt x="342" y="78"/>
                </a:lnTo>
                <a:lnTo>
                  <a:pt x="342" y="78"/>
                </a:lnTo>
                <a:lnTo>
                  <a:pt x="342" y="78"/>
                </a:lnTo>
                <a:lnTo>
                  <a:pt x="342" y="78"/>
                </a:lnTo>
                <a:lnTo>
                  <a:pt x="342" y="78"/>
                </a:lnTo>
                <a:lnTo>
                  <a:pt x="342" y="78"/>
                </a:lnTo>
                <a:lnTo>
                  <a:pt x="342" y="78"/>
                </a:lnTo>
                <a:lnTo>
                  <a:pt x="342" y="78"/>
                </a:lnTo>
                <a:lnTo>
                  <a:pt x="342" y="78"/>
                </a:lnTo>
                <a:lnTo>
                  <a:pt x="342" y="78"/>
                </a:lnTo>
                <a:lnTo>
                  <a:pt x="348" y="78"/>
                </a:lnTo>
                <a:lnTo>
                  <a:pt x="348" y="78"/>
                </a:lnTo>
                <a:lnTo>
                  <a:pt x="348" y="84"/>
                </a:lnTo>
                <a:lnTo>
                  <a:pt x="348" y="84"/>
                </a:lnTo>
                <a:lnTo>
                  <a:pt x="348" y="84"/>
                </a:lnTo>
                <a:lnTo>
                  <a:pt x="348" y="84"/>
                </a:lnTo>
                <a:lnTo>
                  <a:pt x="348" y="84"/>
                </a:lnTo>
                <a:lnTo>
                  <a:pt x="354" y="84"/>
                </a:lnTo>
                <a:lnTo>
                  <a:pt x="354" y="90"/>
                </a:lnTo>
                <a:lnTo>
                  <a:pt x="354" y="90"/>
                </a:lnTo>
                <a:lnTo>
                  <a:pt x="348" y="90"/>
                </a:lnTo>
                <a:lnTo>
                  <a:pt x="348" y="90"/>
                </a:lnTo>
                <a:lnTo>
                  <a:pt x="348" y="90"/>
                </a:lnTo>
                <a:lnTo>
                  <a:pt x="348" y="90"/>
                </a:lnTo>
                <a:lnTo>
                  <a:pt x="348" y="96"/>
                </a:lnTo>
                <a:lnTo>
                  <a:pt x="348" y="96"/>
                </a:lnTo>
                <a:lnTo>
                  <a:pt x="348" y="96"/>
                </a:lnTo>
                <a:lnTo>
                  <a:pt x="348" y="96"/>
                </a:lnTo>
                <a:lnTo>
                  <a:pt x="348" y="96"/>
                </a:lnTo>
                <a:lnTo>
                  <a:pt x="348" y="96"/>
                </a:lnTo>
                <a:lnTo>
                  <a:pt x="354" y="96"/>
                </a:lnTo>
                <a:lnTo>
                  <a:pt x="348" y="96"/>
                </a:lnTo>
                <a:lnTo>
                  <a:pt x="348" y="96"/>
                </a:lnTo>
                <a:lnTo>
                  <a:pt x="348" y="102"/>
                </a:lnTo>
                <a:lnTo>
                  <a:pt x="354" y="102"/>
                </a:lnTo>
                <a:lnTo>
                  <a:pt x="354" y="102"/>
                </a:lnTo>
                <a:lnTo>
                  <a:pt x="354" y="102"/>
                </a:lnTo>
                <a:lnTo>
                  <a:pt x="354" y="102"/>
                </a:lnTo>
                <a:lnTo>
                  <a:pt x="354" y="102"/>
                </a:lnTo>
                <a:lnTo>
                  <a:pt x="354" y="108"/>
                </a:lnTo>
                <a:lnTo>
                  <a:pt x="354" y="102"/>
                </a:lnTo>
                <a:lnTo>
                  <a:pt x="360" y="102"/>
                </a:lnTo>
                <a:lnTo>
                  <a:pt x="360" y="102"/>
                </a:lnTo>
                <a:lnTo>
                  <a:pt x="354" y="108"/>
                </a:lnTo>
                <a:lnTo>
                  <a:pt x="354" y="108"/>
                </a:lnTo>
                <a:lnTo>
                  <a:pt x="354" y="108"/>
                </a:lnTo>
                <a:lnTo>
                  <a:pt x="354" y="108"/>
                </a:lnTo>
                <a:lnTo>
                  <a:pt x="354" y="108"/>
                </a:lnTo>
                <a:lnTo>
                  <a:pt x="354" y="108"/>
                </a:lnTo>
                <a:lnTo>
                  <a:pt x="354" y="114"/>
                </a:lnTo>
                <a:lnTo>
                  <a:pt x="360" y="114"/>
                </a:lnTo>
                <a:lnTo>
                  <a:pt x="360" y="114"/>
                </a:lnTo>
                <a:lnTo>
                  <a:pt x="360" y="114"/>
                </a:lnTo>
                <a:lnTo>
                  <a:pt x="366" y="114"/>
                </a:lnTo>
                <a:lnTo>
                  <a:pt x="366" y="120"/>
                </a:lnTo>
                <a:lnTo>
                  <a:pt x="366" y="120"/>
                </a:lnTo>
                <a:lnTo>
                  <a:pt x="366" y="120"/>
                </a:lnTo>
                <a:lnTo>
                  <a:pt x="366" y="120"/>
                </a:lnTo>
                <a:lnTo>
                  <a:pt x="366" y="120"/>
                </a:lnTo>
                <a:lnTo>
                  <a:pt x="366" y="126"/>
                </a:lnTo>
                <a:lnTo>
                  <a:pt x="366" y="120"/>
                </a:lnTo>
                <a:lnTo>
                  <a:pt x="366" y="126"/>
                </a:lnTo>
                <a:lnTo>
                  <a:pt x="366" y="126"/>
                </a:lnTo>
                <a:lnTo>
                  <a:pt x="366" y="126"/>
                </a:lnTo>
                <a:lnTo>
                  <a:pt x="366" y="132"/>
                </a:lnTo>
                <a:lnTo>
                  <a:pt x="366" y="132"/>
                </a:lnTo>
                <a:lnTo>
                  <a:pt x="366" y="132"/>
                </a:lnTo>
                <a:lnTo>
                  <a:pt x="366" y="132"/>
                </a:lnTo>
                <a:lnTo>
                  <a:pt x="366" y="126"/>
                </a:lnTo>
                <a:lnTo>
                  <a:pt x="366" y="132"/>
                </a:lnTo>
                <a:lnTo>
                  <a:pt x="360" y="132"/>
                </a:lnTo>
                <a:lnTo>
                  <a:pt x="366" y="132"/>
                </a:lnTo>
                <a:lnTo>
                  <a:pt x="366" y="132"/>
                </a:lnTo>
                <a:lnTo>
                  <a:pt x="360" y="132"/>
                </a:lnTo>
                <a:lnTo>
                  <a:pt x="360" y="132"/>
                </a:lnTo>
                <a:lnTo>
                  <a:pt x="360" y="132"/>
                </a:lnTo>
                <a:lnTo>
                  <a:pt x="360" y="132"/>
                </a:lnTo>
                <a:lnTo>
                  <a:pt x="360" y="132"/>
                </a:lnTo>
                <a:lnTo>
                  <a:pt x="360" y="132"/>
                </a:lnTo>
                <a:lnTo>
                  <a:pt x="360" y="138"/>
                </a:lnTo>
                <a:lnTo>
                  <a:pt x="360" y="138"/>
                </a:lnTo>
                <a:lnTo>
                  <a:pt x="360" y="138"/>
                </a:lnTo>
                <a:lnTo>
                  <a:pt x="360" y="138"/>
                </a:lnTo>
                <a:lnTo>
                  <a:pt x="360" y="138"/>
                </a:lnTo>
                <a:lnTo>
                  <a:pt x="360" y="144"/>
                </a:lnTo>
                <a:lnTo>
                  <a:pt x="360" y="144"/>
                </a:lnTo>
                <a:lnTo>
                  <a:pt x="360" y="144"/>
                </a:lnTo>
                <a:lnTo>
                  <a:pt x="360" y="144"/>
                </a:lnTo>
                <a:lnTo>
                  <a:pt x="360" y="144"/>
                </a:lnTo>
                <a:lnTo>
                  <a:pt x="360" y="144"/>
                </a:lnTo>
                <a:lnTo>
                  <a:pt x="354" y="144"/>
                </a:lnTo>
                <a:lnTo>
                  <a:pt x="360" y="144"/>
                </a:lnTo>
                <a:lnTo>
                  <a:pt x="354" y="150"/>
                </a:lnTo>
                <a:lnTo>
                  <a:pt x="360" y="150"/>
                </a:lnTo>
                <a:lnTo>
                  <a:pt x="360" y="150"/>
                </a:lnTo>
                <a:lnTo>
                  <a:pt x="354" y="150"/>
                </a:lnTo>
                <a:lnTo>
                  <a:pt x="354" y="150"/>
                </a:lnTo>
                <a:lnTo>
                  <a:pt x="360" y="150"/>
                </a:lnTo>
                <a:lnTo>
                  <a:pt x="354" y="150"/>
                </a:lnTo>
                <a:lnTo>
                  <a:pt x="354" y="150"/>
                </a:lnTo>
                <a:lnTo>
                  <a:pt x="354" y="156"/>
                </a:lnTo>
                <a:lnTo>
                  <a:pt x="354" y="156"/>
                </a:lnTo>
                <a:lnTo>
                  <a:pt x="354" y="150"/>
                </a:lnTo>
                <a:lnTo>
                  <a:pt x="354" y="150"/>
                </a:lnTo>
                <a:lnTo>
                  <a:pt x="354" y="150"/>
                </a:lnTo>
                <a:lnTo>
                  <a:pt x="354" y="156"/>
                </a:lnTo>
                <a:lnTo>
                  <a:pt x="354" y="156"/>
                </a:lnTo>
                <a:lnTo>
                  <a:pt x="354" y="156"/>
                </a:lnTo>
                <a:lnTo>
                  <a:pt x="354" y="156"/>
                </a:lnTo>
                <a:lnTo>
                  <a:pt x="354" y="156"/>
                </a:lnTo>
                <a:lnTo>
                  <a:pt x="354" y="156"/>
                </a:lnTo>
                <a:lnTo>
                  <a:pt x="354" y="156"/>
                </a:lnTo>
                <a:lnTo>
                  <a:pt x="354" y="156"/>
                </a:lnTo>
                <a:lnTo>
                  <a:pt x="354" y="156"/>
                </a:lnTo>
                <a:lnTo>
                  <a:pt x="354" y="162"/>
                </a:lnTo>
                <a:lnTo>
                  <a:pt x="354" y="156"/>
                </a:lnTo>
                <a:lnTo>
                  <a:pt x="354" y="162"/>
                </a:lnTo>
                <a:lnTo>
                  <a:pt x="354" y="162"/>
                </a:lnTo>
                <a:lnTo>
                  <a:pt x="354" y="162"/>
                </a:lnTo>
                <a:lnTo>
                  <a:pt x="354" y="162"/>
                </a:lnTo>
                <a:lnTo>
                  <a:pt x="354" y="162"/>
                </a:lnTo>
                <a:lnTo>
                  <a:pt x="354" y="162"/>
                </a:lnTo>
                <a:lnTo>
                  <a:pt x="354" y="162"/>
                </a:lnTo>
                <a:lnTo>
                  <a:pt x="354" y="168"/>
                </a:lnTo>
                <a:lnTo>
                  <a:pt x="354" y="162"/>
                </a:lnTo>
                <a:lnTo>
                  <a:pt x="348" y="168"/>
                </a:lnTo>
                <a:lnTo>
                  <a:pt x="354" y="168"/>
                </a:lnTo>
                <a:lnTo>
                  <a:pt x="354" y="168"/>
                </a:lnTo>
                <a:lnTo>
                  <a:pt x="348" y="168"/>
                </a:lnTo>
                <a:lnTo>
                  <a:pt x="348" y="168"/>
                </a:lnTo>
                <a:lnTo>
                  <a:pt x="348" y="168"/>
                </a:lnTo>
                <a:lnTo>
                  <a:pt x="348" y="168"/>
                </a:lnTo>
                <a:lnTo>
                  <a:pt x="348" y="168"/>
                </a:lnTo>
                <a:lnTo>
                  <a:pt x="348" y="168"/>
                </a:lnTo>
                <a:lnTo>
                  <a:pt x="348" y="168"/>
                </a:lnTo>
                <a:lnTo>
                  <a:pt x="348" y="168"/>
                </a:lnTo>
                <a:lnTo>
                  <a:pt x="348" y="168"/>
                </a:lnTo>
                <a:lnTo>
                  <a:pt x="348" y="168"/>
                </a:lnTo>
                <a:lnTo>
                  <a:pt x="348" y="168"/>
                </a:lnTo>
                <a:lnTo>
                  <a:pt x="348" y="168"/>
                </a:lnTo>
                <a:lnTo>
                  <a:pt x="348" y="168"/>
                </a:lnTo>
                <a:lnTo>
                  <a:pt x="348" y="174"/>
                </a:lnTo>
                <a:lnTo>
                  <a:pt x="348" y="174"/>
                </a:lnTo>
                <a:lnTo>
                  <a:pt x="348" y="174"/>
                </a:lnTo>
                <a:lnTo>
                  <a:pt x="348" y="174"/>
                </a:lnTo>
                <a:lnTo>
                  <a:pt x="348" y="174"/>
                </a:lnTo>
                <a:lnTo>
                  <a:pt x="348" y="174"/>
                </a:lnTo>
                <a:lnTo>
                  <a:pt x="348" y="174"/>
                </a:lnTo>
                <a:lnTo>
                  <a:pt x="348" y="174"/>
                </a:lnTo>
                <a:lnTo>
                  <a:pt x="348" y="174"/>
                </a:lnTo>
                <a:lnTo>
                  <a:pt x="348" y="174"/>
                </a:lnTo>
                <a:lnTo>
                  <a:pt x="348" y="174"/>
                </a:lnTo>
                <a:lnTo>
                  <a:pt x="348" y="174"/>
                </a:lnTo>
                <a:lnTo>
                  <a:pt x="342" y="174"/>
                </a:lnTo>
                <a:lnTo>
                  <a:pt x="342" y="174"/>
                </a:lnTo>
                <a:lnTo>
                  <a:pt x="342" y="180"/>
                </a:lnTo>
                <a:lnTo>
                  <a:pt x="342" y="180"/>
                </a:lnTo>
                <a:lnTo>
                  <a:pt x="342" y="180"/>
                </a:lnTo>
                <a:lnTo>
                  <a:pt x="342" y="180"/>
                </a:lnTo>
                <a:lnTo>
                  <a:pt x="342" y="180"/>
                </a:lnTo>
                <a:lnTo>
                  <a:pt x="342" y="180"/>
                </a:lnTo>
                <a:lnTo>
                  <a:pt x="342" y="180"/>
                </a:lnTo>
                <a:lnTo>
                  <a:pt x="342" y="180"/>
                </a:lnTo>
                <a:lnTo>
                  <a:pt x="342" y="180"/>
                </a:lnTo>
                <a:lnTo>
                  <a:pt x="342" y="180"/>
                </a:lnTo>
                <a:lnTo>
                  <a:pt x="342" y="186"/>
                </a:lnTo>
                <a:lnTo>
                  <a:pt x="342" y="180"/>
                </a:lnTo>
                <a:lnTo>
                  <a:pt x="342" y="186"/>
                </a:lnTo>
                <a:lnTo>
                  <a:pt x="342" y="186"/>
                </a:lnTo>
                <a:lnTo>
                  <a:pt x="342" y="186"/>
                </a:lnTo>
                <a:lnTo>
                  <a:pt x="342" y="186"/>
                </a:lnTo>
                <a:lnTo>
                  <a:pt x="342" y="186"/>
                </a:lnTo>
                <a:lnTo>
                  <a:pt x="342" y="186"/>
                </a:lnTo>
                <a:lnTo>
                  <a:pt x="342" y="186"/>
                </a:lnTo>
                <a:lnTo>
                  <a:pt x="336" y="186"/>
                </a:lnTo>
                <a:lnTo>
                  <a:pt x="342" y="186"/>
                </a:lnTo>
                <a:lnTo>
                  <a:pt x="336" y="186"/>
                </a:lnTo>
                <a:lnTo>
                  <a:pt x="336" y="192"/>
                </a:lnTo>
                <a:lnTo>
                  <a:pt x="336" y="192"/>
                </a:lnTo>
                <a:lnTo>
                  <a:pt x="336" y="192"/>
                </a:lnTo>
                <a:lnTo>
                  <a:pt x="336" y="192"/>
                </a:lnTo>
                <a:lnTo>
                  <a:pt x="336" y="192"/>
                </a:lnTo>
                <a:lnTo>
                  <a:pt x="336" y="192"/>
                </a:lnTo>
                <a:lnTo>
                  <a:pt x="336" y="192"/>
                </a:lnTo>
                <a:lnTo>
                  <a:pt x="336" y="198"/>
                </a:lnTo>
                <a:lnTo>
                  <a:pt x="336" y="198"/>
                </a:lnTo>
                <a:lnTo>
                  <a:pt x="336" y="198"/>
                </a:lnTo>
                <a:lnTo>
                  <a:pt x="336" y="198"/>
                </a:lnTo>
                <a:lnTo>
                  <a:pt x="330" y="198"/>
                </a:lnTo>
                <a:lnTo>
                  <a:pt x="336" y="198"/>
                </a:lnTo>
                <a:lnTo>
                  <a:pt x="336" y="204"/>
                </a:lnTo>
                <a:lnTo>
                  <a:pt x="330" y="204"/>
                </a:lnTo>
                <a:lnTo>
                  <a:pt x="330" y="204"/>
                </a:lnTo>
                <a:lnTo>
                  <a:pt x="330" y="204"/>
                </a:lnTo>
                <a:lnTo>
                  <a:pt x="336" y="204"/>
                </a:lnTo>
                <a:lnTo>
                  <a:pt x="330" y="204"/>
                </a:lnTo>
                <a:lnTo>
                  <a:pt x="330" y="204"/>
                </a:lnTo>
                <a:lnTo>
                  <a:pt x="330" y="204"/>
                </a:lnTo>
                <a:lnTo>
                  <a:pt x="330" y="204"/>
                </a:lnTo>
                <a:lnTo>
                  <a:pt x="330" y="204"/>
                </a:lnTo>
                <a:lnTo>
                  <a:pt x="330" y="210"/>
                </a:lnTo>
                <a:lnTo>
                  <a:pt x="330" y="210"/>
                </a:lnTo>
                <a:lnTo>
                  <a:pt x="330" y="210"/>
                </a:lnTo>
                <a:lnTo>
                  <a:pt x="330" y="210"/>
                </a:lnTo>
                <a:lnTo>
                  <a:pt x="330" y="210"/>
                </a:lnTo>
                <a:lnTo>
                  <a:pt x="330" y="210"/>
                </a:lnTo>
                <a:lnTo>
                  <a:pt x="330" y="216"/>
                </a:lnTo>
                <a:lnTo>
                  <a:pt x="330" y="216"/>
                </a:lnTo>
                <a:lnTo>
                  <a:pt x="330" y="216"/>
                </a:lnTo>
                <a:lnTo>
                  <a:pt x="330" y="222"/>
                </a:lnTo>
                <a:lnTo>
                  <a:pt x="330" y="222"/>
                </a:lnTo>
                <a:lnTo>
                  <a:pt x="330" y="222"/>
                </a:lnTo>
                <a:lnTo>
                  <a:pt x="330" y="222"/>
                </a:lnTo>
                <a:lnTo>
                  <a:pt x="330" y="222"/>
                </a:lnTo>
                <a:lnTo>
                  <a:pt x="330" y="222"/>
                </a:lnTo>
                <a:lnTo>
                  <a:pt x="330" y="222"/>
                </a:lnTo>
                <a:lnTo>
                  <a:pt x="330" y="222"/>
                </a:lnTo>
                <a:lnTo>
                  <a:pt x="330" y="222"/>
                </a:lnTo>
                <a:lnTo>
                  <a:pt x="330" y="222"/>
                </a:lnTo>
                <a:lnTo>
                  <a:pt x="324" y="222"/>
                </a:lnTo>
                <a:lnTo>
                  <a:pt x="324" y="222"/>
                </a:lnTo>
                <a:lnTo>
                  <a:pt x="324" y="222"/>
                </a:lnTo>
                <a:lnTo>
                  <a:pt x="324" y="222"/>
                </a:lnTo>
                <a:lnTo>
                  <a:pt x="324" y="222"/>
                </a:lnTo>
                <a:lnTo>
                  <a:pt x="324" y="222"/>
                </a:lnTo>
                <a:lnTo>
                  <a:pt x="324" y="222"/>
                </a:lnTo>
                <a:lnTo>
                  <a:pt x="324" y="228"/>
                </a:lnTo>
                <a:lnTo>
                  <a:pt x="324" y="228"/>
                </a:lnTo>
                <a:lnTo>
                  <a:pt x="324" y="228"/>
                </a:lnTo>
                <a:lnTo>
                  <a:pt x="324" y="228"/>
                </a:lnTo>
                <a:lnTo>
                  <a:pt x="324" y="228"/>
                </a:lnTo>
                <a:lnTo>
                  <a:pt x="324" y="228"/>
                </a:lnTo>
                <a:lnTo>
                  <a:pt x="324" y="234"/>
                </a:lnTo>
                <a:lnTo>
                  <a:pt x="318" y="234"/>
                </a:lnTo>
                <a:lnTo>
                  <a:pt x="318" y="234"/>
                </a:lnTo>
                <a:lnTo>
                  <a:pt x="318" y="234"/>
                </a:lnTo>
                <a:lnTo>
                  <a:pt x="318" y="234"/>
                </a:lnTo>
                <a:lnTo>
                  <a:pt x="312" y="234"/>
                </a:lnTo>
                <a:lnTo>
                  <a:pt x="312" y="240"/>
                </a:lnTo>
                <a:lnTo>
                  <a:pt x="312" y="240"/>
                </a:lnTo>
                <a:lnTo>
                  <a:pt x="312" y="240"/>
                </a:lnTo>
                <a:lnTo>
                  <a:pt x="312" y="240"/>
                </a:lnTo>
                <a:lnTo>
                  <a:pt x="312" y="240"/>
                </a:lnTo>
                <a:lnTo>
                  <a:pt x="312" y="246"/>
                </a:lnTo>
                <a:lnTo>
                  <a:pt x="312" y="246"/>
                </a:lnTo>
                <a:lnTo>
                  <a:pt x="312" y="246"/>
                </a:lnTo>
                <a:lnTo>
                  <a:pt x="312" y="246"/>
                </a:lnTo>
                <a:lnTo>
                  <a:pt x="306" y="246"/>
                </a:lnTo>
                <a:lnTo>
                  <a:pt x="306" y="246"/>
                </a:lnTo>
                <a:lnTo>
                  <a:pt x="312" y="252"/>
                </a:lnTo>
                <a:lnTo>
                  <a:pt x="306" y="252"/>
                </a:lnTo>
                <a:lnTo>
                  <a:pt x="312" y="252"/>
                </a:lnTo>
                <a:lnTo>
                  <a:pt x="312" y="252"/>
                </a:lnTo>
                <a:lnTo>
                  <a:pt x="306" y="252"/>
                </a:lnTo>
                <a:lnTo>
                  <a:pt x="306" y="252"/>
                </a:lnTo>
                <a:lnTo>
                  <a:pt x="306" y="258"/>
                </a:lnTo>
                <a:lnTo>
                  <a:pt x="306" y="258"/>
                </a:lnTo>
                <a:lnTo>
                  <a:pt x="306" y="258"/>
                </a:lnTo>
                <a:lnTo>
                  <a:pt x="306" y="258"/>
                </a:lnTo>
                <a:lnTo>
                  <a:pt x="306" y="264"/>
                </a:lnTo>
                <a:lnTo>
                  <a:pt x="306" y="264"/>
                </a:lnTo>
                <a:lnTo>
                  <a:pt x="300" y="264"/>
                </a:lnTo>
                <a:lnTo>
                  <a:pt x="300" y="264"/>
                </a:lnTo>
                <a:lnTo>
                  <a:pt x="300" y="264"/>
                </a:lnTo>
                <a:lnTo>
                  <a:pt x="300" y="264"/>
                </a:lnTo>
                <a:lnTo>
                  <a:pt x="300" y="270"/>
                </a:lnTo>
                <a:lnTo>
                  <a:pt x="300" y="270"/>
                </a:lnTo>
                <a:lnTo>
                  <a:pt x="300" y="270"/>
                </a:lnTo>
                <a:lnTo>
                  <a:pt x="300" y="270"/>
                </a:lnTo>
                <a:lnTo>
                  <a:pt x="300" y="270"/>
                </a:lnTo>
                <a:lnTo>
                  <a:pt x="300" y="270"/>
                </a:lnTo>
                <a:lnTo>
                  <a:pt x="294" y="270"/>
                </a:lnTo>
                <a:lnTo>
                  <a:pt x="294" y="270"/>
                </a:lnTo>
                <a:lnTo>
                  <a:pt x="294" y="276"/>
                </a:lnTo>
                <a:lnTo>
                  <a:pt x="294" y="276"/>
                </a:lnTo>
                <a:lnTo>
                  <a:pt x="294" y="276"/>
                </a:lnTo>
                <a:lnTo>
                  <a:pt x="294" y="276"/>
                </a:lnTo>
                <a:lnTo>
                  <a:pt x="294" y="276"/>
                </a:lnTo>
                <a:lnTo>
                  <a:pt x="294" y="282"/>
                </a:lnTo>
                <a:lnTo>
                  <a:pt x="294" y="282"/>
                </a:lnTo>
                <a:lnTo>
                  <a:pt x="294" y="282"/>
                </a:lnTo>
                <a:lnTo>
                  <a:pt x="294" y="282"/>
                </a:lnTo>
                <a:lnTo>
                  <a:pt x="294" y="282"/>
                </a:lnTo>
                <a:lnTo>
                  <a:pt x="294" y="282"/>
                </a:lnTo>
                <a:lnTo>
                  <a:pt x="294" y="282"/>
                </a:lnTo>
                <a:lnTo>
                  <a:pt x="294" y="282"/>
                </a:lnTo>
                <a:lnTo>
                  <a:pt x="294" y="282"/>
                </a:lnTo>
                <a:lnTo>
                  <a:pt x="294" y="282"/>
                </a:lnTo>
                <a:lnTo>
                  <a:pt x="294" y="282"/>
                </a:lnTo>
                <a:lnTo>
                  <a:pt x="294" y="282"/>
                </a:lnTo>
                <a:lnTo>
                  <a:pt x="294" y="282"/>
                </a:lnTo>
                <a:lnTo>
                  <a:pt x="294" y="282"/>
                </a:lnTo>
                <a:lnTo>
                  <a:pt x="294" y="288"/>
                </a:lnTo>
                <a:lnTo>
                  <a:pt x="294" y="288"/>
                </a:lnTo>
                <a:lnTo>
                  <a:pt x="294" y="288"/>
                </a:lnTo>
                <a:lnTo>
                  <a:pt x="294" y="288"/>
                </a:lnTo>
                <a:lnTo>
                  <a:pt x="294" y="288"/>
                </a:lnTo>
                <a:lnTo>
                  <a:pt x="294" y="288"/>
                </a:lnTo>
                <a:lnTo>
                  <a:pt x="294" y="288"/>
                </a:lnTo>
                <a:lnTo>
                  <a:pt x="294" y="288"/>
                </a:lnTo>
                <a:lnTo>
                  <a:pt x="294" y="294"/>
                </a:lnTo>
                <a:lnTo>
                  <a:pt x="294" y="294"/>
                </a:lnTo>
                <a:lnTo>
                  <a:pt x="288" y="294"/>
                </a:lnTo>
                <a:lnTo>
                  <a:pt x="288" y="294"/>
                </a:lnTo>
                <a:lnTo>
                  <a:pt x="288" y="294"/>
                </a:lnTo>
                <a:lnTo>
                  <a:pt x="288" y="294"/>
                </a:lnTo>
                <a:lnTo>
                  <a:pt x="288" y="294"/>
                </a:lnTo>
                <a:lnTo>
                  <a:pt x="288" y="300"/>
                </a:lnTo>
                <a:lnTo>
                  <a:pt x="288" y="300"/>
                </a:lnTo>
                <a:lnTo>
                  <a:pt x="288" y="300"/>
                </a:lnTo>
                <a:lnTo>
                  <a:pt x="282" y="306"/>
                </a:lnTo>
                <a:lnTo>
                  <a:pt x="282" y="306"/>
                </a:lnTo>
                <a:lnTo>
                  <a:pt x="282" y="312"/>
                </a:lnTo>
                <a:lnTo>
                  <a:pt x="282" y="312"/>
                </a:lnTo>
                <a:lnTo>
                  <a:pt x="282" y="312"/>
                </a:lnTo>
                <a:lnTo>
                  <a:pt x="282" y="312"/>
                </a:lnTo>
                <a:lnTo>
                  <a:pt x="282" y="318"/>
                </a:lnTo>
                <a:lnTo>
                  <a:pt x="282" y="318"/>
                </a:lnTo>
                <a:lnTo>
                  <a:pt x="282" y="318"/>
                </a:lnTo>
                <a:lnTo>
                  <a:pt x="282" y="318"/>
                </a:lnTo>
                <a:lnTo>
                  <a:pt x="282" y="324"/>
                </a:lnTo>
                <a:lnTo>
                  <a:pt x="282" y="324"/>
                </a:lnTo>
                <a:lnTo>
                  <a:pt x="282" y="324"/>
                </a:lnTo>
                <a:lnTo>
                  <a:pt x="282" y="324"/>
                </a:lnTo>
                <a:lnTo>
                  <a:pt x="282" y="324"/>
                </a:lnTo>
                <a:lnTo>
                  <a:pt x="276" y="324"/>
                </a:lnTo>
                <a:lnTo>
                  <a:pt x="276" y="324"/>
                </a:lnTo>
                <a:lnTo>
                  <a:pt x="276" y="324"/>
                </a:lnTo>
                <a:lnTo>
                  <a:pt x="276" y="324"/>
                </a:lnTo>
                <a:lnTo>
                  <a:pt x="276" y="330"/>
                </a:lnTo>
                <a:lnTo>
                  <a:pt x="276" y="330"/>
                </a:lnTo>
                <a:lnTo>
                  <a:pt x="276" y="330"/>
                </a:lnTo>
                <a:lnTo>
                  <a:pt x="276" y="330"/>
                </a:lnTo>
                <a:lnTo>
                  <a:pt x="276" y="330"/>
                </a:lnTo>
                <a:lnTo>
                  <a:pt x="270" y="330"/>
                </a:lnTo>
                <a:lnTo>
                  <a:pt x="270" y="330"/>
                </a:lnTo>
                <a:lnTo>
                  <a:pt x="270" y="336"/>
                </a:lnTo>
                <a:lnTo>
                  <a:pt x="270" y="336"/>
                </a:lnTo>
                <a:lnTo>
                  <a:pt x="270" y="336"/>
                </a:lnTo>
                <a:lnTo>
                  <a:pt x="270" y="336"/>
                </a:lnTo>
                <a:lnTo>
                  <a:pt x="270" y="336"/>
                </a:lnTo>
                <a:lnTo>
                  <a:pt x="270" y="336"/>
                </a:lnTo>
                <a:lnTo>
                  <a:pt x="270" y="336"/>
                </a:lnTo>
                <a:lnTo>
                  <a:pt x="270" y="336"/>
                </a:lnTo>
                <a:lnTo>
                  <a:pt x="270" y="342"/>
                </a:lnTo>
                <a:lnTo>
                  <a:pt x="264" y="342"/>
                </a:lnTo>
                <a:lnTo>
                  <a:pt x="264" y="342"/>
                </a:lnTo>
                <a:lnTo>
                  <a:pt x="258" y="342"/>
                </a:lnTo>
                <a:lnTo>
                  <a:pt x="258" y="342"/>
                </a:lnTo>
                <a:lnTo>
                  <a:pt x="258" y="342"/>
                </a:lnTo>
                <a:lnTo>
                  <a:pt x="258" y="342"/>
                </a:lnTo>
                <a:lnTo>
                  <a:pt x="252" y="342"/>
                </a:lnTo>
                <a:lnTo>
                  <a:pt x="252" y="342"/>
                </a:lnTo>
                <a:lnTo>
                  <a:pt x="252" y="342"/>
                </a:lnTo>
                <a:lnTo>
                  <a:pt x="252" y="342"/>
                </a:lnTo>
                <a:lnTo>
                  <a:pt x="252" y="348"/>
                </a:lnTo>
                <a:lnTo>
                  <a:pt x="252" y="348"/>
                </a:lnTo>
                <a:lnTo>
                  <a:pt x="246" y="348"/>
                </a:lnTo>
                <a:lnTo>
                  <a:pt x="240" y="354"/>
                </a:lnTo>
                <a:lnTo>
                  <a:pt x="240" y="348"/>
                </a:lnTo>
                <a:lnTo>
                  <a:pt x="234" y="348"/>
                </a:lnTo>
                <a:lnTo>
                  <a:pt x="234" y="348"/>
                </a:lnTo>
                <a:lnTo>
                  <a:pt x="234" y="348"/>
                </a:lnTo>
                <a:lnTo>
                  <a:pt x="234" y="348"/>
                </a:lnTo>
                <a:lnTo>
                  <a:pt x="228" y="348"/>
                </a:lnTo>
                <a:lnTo>
                  <a:pt x="228" y="348"/>
                </a:lnTo>
                <a:lnTo>
                  <a:pt x="228" y="348"/>
                </a:lnTo>
                <a:lnTo>
                  <a:pt x="228" y="348"/>
                </a:lnTo>
                <a:lnTo>
                  <a:pt x="228" y="348"/>
                </a:lnTo>
                <a:lnTo>
                  <a:pt x="228" y="348"/>
                </a:lnTo>
                <a:lnTo>
                  <a:pt x="228" y="348"/>
                </a:lnTo>
                <a:lnTo>
                  <a:pt x="222" y="354"/>
                </a:lnTo>
                <a:lnTo>
                  <a:pt x="222" y="348"/>
                </a:lnTo>
                <a:lnTo>
                  <a:pt x="222" y="348"/>
                </a:lnTo>
                <a:lnTo>
                  <a:pt x="222" y="348"/>
                </a:lnTo>
                <a:lnTo>
                  <a:pt x="216" y="348"/>
                </a:lnTo>
                <a:lnTo>
                  <a:pt x="216" y="348"/>
                </a:lnTo>
                <a:lnTo>
                  <a:pt x="216" y="348"/>
                </a:lnTo>
                <a:lnTo>
                  <a:pt x="210" y="348"/>
                </a:lnTo>
                <a:lnTo>
                  <a:pt x="210" y="348"/>
                </a:lnTo>
                <a:lnTo>
                  <a:pt x="210" y="348"/>
                </a:lnTo>
                <a:lnTo>
                  <a:pt x="210" y="348"/>
                </a:lnTo>
                <a:lnTo>
                  <a:pt x="210" y="348"/>
                </a:lnTo>
                <a:lnTo>
                  <a:pt x="210" y="348"/>
                </a:lnTo>
                <a:lnTo>
                  <a:pt x="204" y="348"/>
                </a:lnTo>
                <a:lnTo>
                  <a:pt x="204" y="348"/>
                </a:lnTo>
                <a:lnTo>
                  <a:pt x="204" y="348"/>
                </a:lnTo>
                <a:lnTo>
                  <a:pt x="204" y="348"/>
                </a:lnTo>
                <a:lnTo>
                  <a:pt x="204" y="348"/>
                </a:lnTo>
                <a:lnTo>
                  <a:pt x="204" y="348"/>
                </a:lnTo>
                <a:lnTo>
                  <a:pt x="198" y="348"/>
                </a:lnTo>
                <a:lnTo>
                  <a:pt x="198" y="348"/>
                </a:lnTo>
                <a:lnTo>
                  <a:pt x="198" y="348"/>
                </a:lnTo>
                <a:lnTo>
                  <a:pt x="198" y="348"/>
                </a:lnTo>
                <a:lnTo>
                  <a:pt x="198" y="348"/>
                </a:lnTo>
                <a:lnTo>
                  <a:pt x="198" y="348"/>
                </a:lnTo>
                <a:lnTo>
                  <a:pt x="192" y="348"/>
                </a:lnTo>
                <a:lnTo>
                  <a:pt x="192" y="354"/>
                </a:lnTo>
                <a:lnTo>
                  <a:pt x="192" y="354"/>
                </a:lnTo>
                <a:lnTo>
                  <a:pt x="186" y="354"/>
                </a:lnTo>
                <a:lnTo>
                  <a:pt x="186" y="360"/>
                </a:lnTo>
                <a:lnTo>
                  <a:pt x="180" y="360"/>
                </a:lnTo>
                <a:lnTo>
                  <a:pt x="180" y="360"/>
                </a:lnTo>
                <a:lnTo>
                  <a:pt x="180" y="360"/>
                </a:lnTo>
                <a:lnTo>
                  <a:pt x="180" y="360"/>
                </a:lnTo>
                <a:lnTo>
                  <a:pt x="168" y="366"/>
                </a:lnTo>
                <a:lnTo>
                  <a:pt x="168" y="366"/>
                </a:lnTo>
                <a:lnTo>
                  <a:pt x="168" y="366"/>
                </a:lnTo>
                <a:lnTo>
                  <a:pt x="162" y="366"/>
                </a:lnTo>
                <a:lnTo>
                  <a:pt x="162" y="366"/>
                </a:lnTo>
                <a:lnTo>
                  <a:pt x="162" y="366"/>
                </a:lnTo>
                <a:lnTo>
                  <a:pt x="162" y="366"/>
                </a:lnTo>
                <a:lnTo>
                  <a:pt x="156" y="366"/>
                </a:lnTo>
                <a:lnTo>
                  <a:pt x="150" y="372"/>
                </a:lnTo>
                <a:lnTo>
                  <a:pt x="150" y="372"/>
                </a:lnTo>
                <a:lnTo>
                  <a:pt x="150" y="372"/>
                </a:lnTo>
                <a:lnTo>
                  <a:pt x="150" y="378"/>
                </a:lnTo>
                <a:lnTo>
                  <a:pt x="150" y="378"/>
                </a:lnTo>
                <a:lnTo>
                  <a:pt x="150" y="384"/>
                </a:lnTo>
                <a:lnTo>
                  <a:pt x="144" y="384"/>
                </a:lnTo>
                <a:lnTo>
                  <a:pt x="138" y="384"/>
                </a:lnTo>
                <a:lnTo>
                  <a:pt x="138" y="384"/>
                </a:lnTo>
                <a:lnTo>
                  <a:pt x="138" y="384"/>
                </a:lnTo>
                <a:lnTo>
                  <a:pt x="126" y="390"/>
                </a:lnTo>
                <a:lnTo>
                  <a:pt x="126" y="390"/>
                </a:lnTo>
                <a:lnTo>
                  <a:pt x="126" y="390"/>
                </a:lnTo>
                <a:lnTo>
                  <a:pt x="126" y="390"/>
                </a:lnTo>
                <a:lnTo>
                  <a:pt x="120" y="390"/>
                </a:lnTo>
                <a:lnTo>
                  <a:pt x="114" y="396"/>
                </a:lnTo>
                <a:lnTo>
                  <a:pt x="114" y="396"/>
                </a:lnTo>
                <a:lnTo>
                  <a:pt x="108" y="402"/>
                </a:lnTo>
                <a:lnTo>
                  <a:pt x="108" y="402"/>
                </a:lnTo>
                <a:lnTo>
                  <a:pt x="102" y="408"/>
                </a:lnTo>
                <a:lnTo>
                  <a:pt x="102" y="408"/>
                </a:lnTo>
                <a:lnTo>
                  <a:pt x="96" y="408"/>
                </a:lnTo>
                <a:lnTo>
                  <a:pt x="96" y="408"/>
                </a:lnTo>
                <a:lnTo>
                  <a:pt x="96" y="402"/>
                </a:lnTo>
                <a:lnTo>
                  <a:pt x="90" y="408"/>
                </a:lnTo>
                <a:lnTo>
                  <a:pt x="90" y="408"/>
                </a:lnTo>
                <a:lnTo>
                  <a:pt x="90" y="408"/>
                </a:lnTo>
                <a:lnTo>
                  <a:pt x="84" y="408"/>
                </a:lnTo>
                <a:lnTo>
                  <a:pt x="84" y="408"/>
                </a:lnTo>
                <a:lnTo>
                  <a:pt x="84" y="408"/>
                </a:lnTo>
                <a:lnTo>
                  <a:pt x="84" y="402"/>
                </a:lnTo>
                <a:lnTo>
                  <a:pt x="78" y="402"/>
                </a:lnTo>
                <a:lnTo>
                  <a:pt x="78" y="402"/>
                </a:lnTo>
                <a:lnTo>
                  <a:pt x="78" y="402"/>
                </a:lnTo>
                <a:lnTo>
                  <a:pt x="78" y="396"/>
                </a:lnTo>
                <a:lnTo>
                  <a:pt x="78" y="396"/>
                </a:lnTo>
                <a:lnTo>
                  <a:pt x="78" y="402"/>
                </a:lnTo>
                <a:lnTo>
                  <a:pt x="78" y="396"/>
                </a:lnTo>
                <a:lnTo>
                  <a:pt x="72" y="396"/>
                </a:lnTo>
                <a:lnTo>
                  <a:pt x="72" y="396"/>
                </a:lnTo>
                <a:lnTo>
                  <a:pt x="72" y="402"/>
                </a:lnTo>
                <a:lnTo>
                  <a:pt x="72" y="396"/>
                </a:lnTo>
                <a:lnTo>
                  <a:pt x="66" y="396"/>
                </a:lnTo>
                <a:lnTo>
                  <a:pt x="66" y="396"/>
                </a:lnTo>
                <a:lnTo>
                  <a:pt x="66" y="396"/>
                </a:lnTo>
                <a:lnTo>
                  <a:pt x="66" y="396"/>
                </a:lnTo>
                <a:lnTo>
                  <a:pt x="66" y="396"/>
                </a:lnTo>
                <a:lnTo>
                  <a:pt x="66" y="396"/>
                </a:lnTo>
                <a:lnTo>
                  <a:pt x="66" y="396"/>
                </a:lnTo>
                <a:lnTo>
                  <a:pt x="66" y="396"/>
                </a:lnTo>
                <a:lnTo>
                  <a:pt x="66" y="390"/>
                </a:lnTo>
                <a:lnTo>
                  <a:pt x="66" y="390"/>
                </a:lnTo>
                <a:lnTo>
                  <a:pt x="66" y="390"/>
                </a:lnTo>
                <a:lnTo>
                  <a:pt x="66" y="390"/>
                </a:lnTo>
                <a:lnTo>
                  <a:pt x="66" y="390"/>
                </a:lnTo>
                <a:lnTo>
                  <a:pt x="66" y="390"/>
                </a:lnTo>
                <a:lnTo>
                  <a:pt x="60" y="384"/>
                </a:lnTo>
                <a:lnTo>
                  <a:pt x="66" y="384"/>
                </a:lnTo>
                <a:lnTo>
                  <a:pt x="66" y="384"/>
                </a:lnTo>
                <a:lnTo>
                  <a:pt x="60" y="378"/>
                </a:lnTo>
                <a:lnTo>
                  <a:pt x="66" y="378"/>
                </a:lnTo>
                <a:lnTo>
                  <a:pt x="66" y="378"/>
                </a:lnTo>
                <a:lnTo>
                  <a:pt x="60" y="378"/>
                </a:lnTo>
                <a:lnTo>
                  <a:pt x="60" y="378"/>
                </a:lnTo>
                <a:lnTo>
                  <a:pt x="60" y="378"/>
                </a:lnTo>
                <a:lnTo>
                  <a:pt x="60" y="378"/>
                </a:lnTo>
                <a:lnTo>
                  <a:pt x="66" y="378"/>
                </a:lnTo>
                <a:lnTo>
                  <a:pt x="66" y="378"/>
                </a:lnTo>
                <a:lnTo>
                  <a:pt x="66" y="372"/>
                </a:lnTo>
                <a:lnTo>
                  <a:pt x="66" y="372"/>
                </a:lnTo>
                <a:lnTo>
                  <a:pt x="60" y="372"/>
                </a:lnTo>
                <a:lnTo>
                  <a:pt x="60" y="372"/>
                </a:lnTo>
                <a:lnTo>
                  <a:pt x="60" y="372"/>
                </a:lnTo>
                <a:lnTo>
                  <a:pt x="60" y="372"/>
                </a:lnTo>
                <a:lnTo>
                  <a:pt x="60" y="372"/>
                </a:lnTo>
                <a:lnTo>
                  <a:pt x="60" y="372"/>
                </a:lnTo>
                <a:lnTo>
                  <a:pt x="60" y="372"/>
                </a:lnTo>
                <a:lnTo>
                  <a:pt x="60" y="372"/>
                </a:lnTo>
                <a:lnTo>
                  <a:pt x="60" y="372"/>
                </a:lnTo>
                <a:lnTo>
                  <a:pt x="60" y="372"/>
                </a:lnTo>
                <a:lnTo>
                  <a:pt x="60" y="372"/>
                </a:lnTo>
                <a:lnTo>
                  <a:pt x="60" y="372"/>
                </a:lnTo>
                <a:lnTo>
                  <a:pt x="60" y="378"/>
                </a:lnTo>
                <a:lnTo>
                  <a:pt x="54" y="378"/>
                </a:lnTo>
                <a:lnTo>
                  <a:pt x="54" y="378"/>
                </a:lnTo>
                <a:lnTo>
                  <a:pt x="54" y="378"/>
                </a:lnTo>
                <a:lnTo>
                  <a:pt x="54" y="378"/>
                </a:lnTo>
                <a:lnTo>
                  <a:pt x="54" y="378"/>
                </a:lnTo>
                <a:lnTo>
                  <a:pt x="54" y="378"/>
                </a:lnTo>
                <a:lnTo>
                  <a:pt x="54" y="378"/>
                </a:lnTo>
                <a:lnTo>
                  <a:pt x="54" y="378"/>
                </a:lnTo>
                <a:lnTo>
                  <a:pt x="54" y="378"/>
                </a:lnTo>
                <a:lnTo>
                  <a:pt x="48" y="378"/>
                </a:lnTo>
                <a:lnTo>
                  <a:pt x="48" y="372"/>
                </a:lnTo>
                <a:lnTo>
                  <a:pt x="48" y="372"/>
                </a:lnTo>
                <a:lnTo>
                  <a:pt x="48" y="372"/>
                </a:lnTo>
                <a:lnTo>
                  <a:pt x="48" y="378"/>
                </a:lnTo>
                <a:lnTo>
                  <a:pt x="48" y="378"/>
                </a:lnTo>
                <a:lnTo>
                  <a:pt x="48" y="372"/>
                </a:lnTo>
                <a:lnTo>
                  <a:pt x="48" y="372"/>
                </a:lnTo>
                <a:lnTo>
                  <a:pt x="42" y="372"/>
                </a:lnTo>
                <a:lnTo>
                  <a:pt x="42" y="378"/>
                </a:lnTo>
                <a:lnTo>
                  <a:pt x="42" y="372"/>
                </a:lnTo>
                <a:lnTo>
                  <a:pt x="42" y="378"/>
                </a:lnTo>
                <a:lnTo>
                  <a:pt x="42" y="378"/>
                </a:lnTo>
                <a:lnTo>
                  <a:pt x="42" y="372"/>
                </a:lnTo>
                <a:lnTo>
                  <a:pt x="42" y="372"/>
                </a:lnTo>
                <a:lnTo>
                  <a:pt x="42" y="372"/>
                </a:lnTo>
                <a:lnTo>
                  <a:pt x="42" y="372"/>
                </a:lnTo>
                <a:lnTo>
                  <a:pt x="42" y="378"/>
                </a:lnTo>
                <a:lnTo>
                  <a:pt x="42" y="378"/>
                </a:lnTo>
                <a:lnTo>
                  <a:pt x="42" y="378"/>
                </a:lnTo>
                <a:lnTo>
                  <a:pt x="42" y="378"/>
                </a:lnTo>
                <a:lnTo>
                  <a:pt x="36" y="378"/>
                </a:lnTo>
                <a:lnTo>
                  <a:pt x="36" y="378"/>
                </a:lnTo>
                <a:lnTo>
                  <a:pt x="36" y="378"/>
                </a:lnTo>
                <a:lnTo>
                  <a:pt x="36" y="378"/>
                </a:lnTo>
                <a:lnTo>
                  <a:pt x="36" y="378"/>
                </a:lnTo>
                <a:lnTo>
                  <a:pt x="36" y="378"/>
                </a:lnTo>
                <a:lnTo>
                  <a:pt x="36" y="378"/>
                </a:lnTo>
                <a:lnTo>
                  <a:pt x="36" y="378"/>
                </a:lnTo>
                <a:lnTo>
                  <a:pt x="36" y="378"/>
                </a:lnTo>
                <a:lnTo>
                  <a:pt x="36" y="378"/>
                </a:lnTo>
                <a:lnTo>
                  <a:pt x="36" y="378"/>
                </a:lnTo>
                <a:lnTo>
                  <a:pt x="30" y="378"/>
                </a:lnTo>
                <a:lnTo>
                  <a:pt x="30" y="378"/>
                </a:lnTo>
                <a:lnTo>
                  <a:pt x="30" y="378"/>
                </a:lnTo>
                <a:lnTo>
                  <a:pt x="30" y="378"/>
                </a:lnTo>
                <a:lnTo>
                  <a:pt x="30" y="378"/>
                </a:lnTo>
                <a:lnTo>
                  <a:pt x="30" y="378"/>
                </a:lnTo>
                <a:lnTo>
                  <a:pt x="30" y="378"/>
                </a:lnTo>
                <a:lnTo>
                  <a:pt x="24" y="378"/>
                </a:lnTo>
                <a:lnTo>
                  <a:pt x="24" y="384"/>
                </a:lnTo>
                <a:lnTo>
                  <a:pt x="18" y="384"/>
                </a:lnTo>
                <a:lnTo>
                  <a:pt x="18" y="384"/>
                </a:lnTo>
                <a:lnTo>
                  <a:pt x="18" y="384"/>
                </a:lnTo>
                <a:lnTo>
                  <a:pt x="12" y="384"/>
                </a:lnTo>
                <a:lnTo>
                  <a:pt x="12" y="384"/>
                </a:lnTo>
                <a:lnTo>
                  <a:pt x="12" y="384"/>
                </a:lnTo>
                <a:lnTo>
                  <a:pt x="12" y="384"/>
                </a:lnTo>
                <a:lnTo>
                  <a:pt x="12" y="378"/>
                </a:lnTo>
                <a:lnTo>
                  <a:pt x="12" y="384"/>
                </a:lnTo>
                <a:lnTo>
                  <a:pt x="12" y="378"/>
                </a:lnTo>
                <a:lnTo>
                  <a:pt x="6" y="384"/>
                </a:lnTo>
                <a:lnTo>
                  <a:pt x="6" y="384"/>
                </a:lnTo>
                <a:lnTo>
                  <a:pt x="6" y="384"/>
                </a:lnTo>
                <a:lnTo>
                  <a:pt x="6" y="384"/>
                </a:lnTo>
                <a:lnTo>
                  <a:pt x="6" y="378"/>
                </a:lnTo>
                <a:lnTo>
                  <a:pt x="6" y="378"/>
                </a:lnTo>
                <a:lnTo>
                  <a:pt x="6" y="378"/>
                </a:lnTo>
                <a:lnTo>
                  <a:pt x="6" y="378"/>
                </a:lnTo>
                <a:lnTo>
                  <a:pt x="0" y="378"/>
                </a:lnTo>
                <a:lnTo>
                  <a:pt x="0" y="378"/>
                </a:lnTo>
                <a:lnTo>
                  <a:pt x="0" y="378"/>
                </a:lnTo>
                <a:lnTo>
                  <a:pt x="0" y="378"/>
                </a:lnTo>
                <a:lnTo>
                  <a:pt x="0" y="378"/>
                </a:lnTo>
                <a:lnTo>
                  <a:pt x="0" y="378"/>
                </a:lnTo>
                <a:lnTo>
                  <a:pt x="0" y="378"/>
                </a:lnTo>
                <a:lnTo>
                  <a:pt x="0" y="378"/>
                </a:lnTo>
                <a:lnTo>
                  <a:pt x="0" y="372"/>
                </a:lnTo>
                <a:lnTo>
                  <a:pt x="0" y="372"/>
                </a:lnTo>
                <a:lnTo>
                  <a:pt x="0" y="372"/>
                </a:lnTo>
                <a:lnTo>
                  <a:pt x="0" y="372"/>
                </a:lnTo>
                <a:lnTo>
                  <a:pt x="6" y="372"/>
                </a:lnTo>
                <a:lnTo>
                  <a:pt x="6" y="372"/>
                </a:lnTo>
                <a:lnTo>
                  <a:pt x="6" y="372"/>
                </a:lnTo>
                <a:lnTo>
                  <a:pt x="6" y="372"/>
                </a:lnTo>
                <a:lnTo>
                  <a:pt x="6" y="372"/>
                </a:lnTo>
                <a:lnTo>
                  <a:pt x="6" y="372"/>
                </a:lnTo>
                <a:lnTo>
                  <a:pt x="6" y="372"/>
                </a:lnTo>
                <a:lnTo>
                  <a:pt x="12" y="366"/>
                </a:lnTo>
                <a:lnTo>
                  <a:pt x="12" y="366"/>
                </a:lnTo>
                <a:lnTo>
                  <a:pt x="12" y="366"/>
                </a:lnTo>
                <a:lnTo>
                  <a:pt x="12" y="366"/>
                </a:lnTo>
                <a:lnTo>
                  <a:pt x="18" y="366"/>
                </a:lnTo>
                <a:lnTo>
                  <a:pt x="18" y="366"/>
                </a:lnTo>
                <a:lnTo>
                  <a:pt x="18" y="366"/>
                </a:lnTo>
                <a:lnTo>
                  <a:pt x="18" y="366"/>
                </a:lnTo>
                <a:lnTo>
                  <a:pt x="18" y="360"/>
                </a:lnTo>
                <a:lnTo>
                  <a:pt x="18" y="360"/>
                </a:lnTo>
                <a:lnTo>
                  <a:pt x="18" y="360"/>
                </a:lnTo>
                <a:lnTo>
                  <a:pt x="18" y="360"/>
                </a:lnTo>
                <a:lnTo>
                  <a:pt x="18" y="360"/>
                </a:lnTo>
                <a:lnTo>
                  <a:pt x="18" y="360"/>
                </a:lnTo>
                <a:lnTo>
                  <a:pt x="18" y="360"/>
                </a:lnTo>
                <a:lnTo>
                  <a:pt x="18" y="360"/>
                </a:lnTo>
                <a:lnTo>
                  <a:pt x="18" y="354"/>
                </a:lnTo>
                <a:lnTo>
                  <a:pt x="18" y="354"/>
                </a:lnTo>
                <a:lnTo>
                  <a:pt x="24" y="354"/>
                </a:lnTo>
                <a:lnTo>
                  <a:pt x="24" y="354"/>
                </a:lnTo>
                <a:lnTo>
                  <a:pt x="24" y="354"/>
                </a:lnTo>
                <a:lnTo>
                  <a:pt x="24" y="354"/>
                </a:lnTo>
                <a:lnTo>
                  <a:pt x="24" y="354"/>
                </a:lnTo>
                <a:lnTo>
                  <a:pt x="24" y="354"/>
                </a:lnTo>
                <a:lnTo>
                  <a:pt x="30" y="354"/>
                </a:lnTo>
                <a:lnTo>
                  <a:pt x="30" y="354"/>
                </a:lnTo>
                <a:lnTo>
                  <a:pt x="30" y="348"/>
                </a:lnTo>
                <a:lnTo>
                  <a:pt x="30" y="348"/>
                </a:lnTo>
                <a:lnTo>
                  <a:pt x="36" y="348"/>
                </a:lnTo>
                <a:lnTo>
                  <a:pt x="36" y="348"/>
                </a:lnTo>
                <a:lnTo>
                  <a:pt x="36" y="348"/>
                </a:lnTo>
                <a:lnTo>
                  <a:pt x="36" y="348"/>
                </a:lnTo>
                <a:lnTo>
                  <a:pt x="36" y="342"/>
                </a:lnTo>
                <a:lnTo>
                  <a:pt x="36" y="34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92" name="Freeform 525"/>
          <p:cNvSpPr>
            <a:spLocks/>
          </p:cNvSpPr>
          <p:nvPr/>
        </p:nvSpPr>
        <p:spPr bwMode="auto">
          <a:xfrm>
            <a:off x="5534924" y="2541828"/>
            <a:ext cx="372595" cy="526776"/>
          </a:xfrm>
          <a:custGeom>
            <a:avLst/>
            <a:gdLst>
              <a:gd name="T0" fmla="*/ 30 w 348"/>
              <a:gd name="T1" fmla="*/ 12 h 492"/>
              <a:gd name="T2" fmla="*/ 72 w 348"/>
              <a:gd name="T3" fmla="*/ 12 h 492"/>
              <a:gd name="T4" fmla="*/ 108 w 348"/>
              <a:gd name="T5" fmla="*/ 18 h 492"/>
              <a:gd name="T6" fmla="*/ 138 w 348"/>
              <a:gd name="T7" fmla="*/ 18 h 492"/>
              <a:gd name="T8" fmla="*/ 168 w 348"/>
              <a:gd name="T9" fmla="*/ 12 h 492"/>
              <a:gd name="T10" fmla="*/ 186 w 348"/>
              <a:gd name="T11" fmla="*/ 6 h 492"/>
              <a:gd name="T12" fmla="*/ 216 w 348"/>
              <a:gd name="T13" fmla="*/ 12 h 492"/>
              <a:gd name="T14" fmla="*/ 228 w 348"/>
              <a:gd name="T15" fmla="*/ 30 h 492"/>
              <a:gd name="T16" fmla="*/ 246 w 348"/>
              <a:gd name="T17" fmla="*/ 42 h 492"/>
              <a:gd name="T18" fmla="*/ 252 w 348"/>
              <a:gd name="T19" fmla="*/ 78 h 492"/>
              <a:gd name="T20" fmla="*/ 240 w 348"/>
              <a:gd name="T21" fmla="*/ 96 h 492"/>
              <a:gd name="T22" fmla="*/ 300 w 348"/>
              <a:gd name="T23" fmla="*/ 108 h 492"/>
              <a:gd name="T24" fmla="*/ 342 w 348"/>
              <a:gd name="T25" fmla="*/ 138 h 492"/>
              <a:gd name="T26" fmla="*/ 324 w 348"/>
              <a:gd name="T27" fmla="*/ 162 h 492"/>
              <a:gd name="T28" fmla="*/ 300 w 348"/>
              <a:gd name="T29" fmla="*/ 192 h 492"/>
              <a:gd name="T30" fmla="*/ 282 w 348"/>
              <a:gd name="T31" fmla="*/ 222 h 492"/>
              <a:gd name="T32" fmla="*/ 258 w 348"/>
              <a:gd name="T33" fmla="*/ 228 h 492"/>
              <a:gd name="T34" fmla="*/ 240 w 348"/>
              <a:gd name="T35" fmla="*/ 216 h 492"/>
              <a:gd name="T36" fmla="*/ 216 w 348"/>
              <a:gd name="T37" fmla="*/ 210 h 492"/>
              <a:gd name="T38" fmla="*/ 198 w 348"/>
              <a:gd name="T39" fmla="*/ 210 h 492"/>
              <a:gd name="T40" fmla="*/ 174 w 348"/>
              <a:gd name="T41" fmla="*/ 228 h 492"/>
              <a:gd name="T42" fmla="*/ 186 w 348"/>
              <a:gd name="T43" fmla="*/ 258 h 492"/>
              <a:gd name="T44" fmla="*/ 192 w 348"/>
              <a:gd name="T45" fmla="*/ 270 h 492"/>
              <a:gd name="T46" fmla="*/ 198 w 348"/>
              <a:gd name="T47" fmla="*/ 288 h 492"/>
              <a:gd name="T48" fmla="*/ 210 w 348"/>
              <a:gd name="T49" fmla="*/ 312 h 492"/>
              <a:gd name="T50" fmla="*/ 222 w 348"/>
              <a:gd name="T51" fmla="*/ 336 h 492"/>
              <a:gd name="T52" fmla="*/ 222 w 348"/>
              <a:gd name="T53" fmla="*/ 354 h 492"/>
              <a:gd name="T54" fmla="*/ 228 w 348"/>
              <a:gd name="T55" fmla="*/ 378 h 492"/>
              <a:gd name="T56" fmla="*/ 240 w 348"/>
              <a:gd name="T57" fmla="*/ 396 h 492"/>
              <a:gd name="T58" fmla="*/ 246 w 348"/>
              <a:gd name="T59" fmla="*/ 408 h 492"/>
              <a:gd name="T60" fmla="*/ 258 w 348"/>
              <a:gd name="T61" fmla="*/ 420 h 492"/>
              <a:gd name="T62" fmla="*/ 264 w 348"/>
              <a:gd name="T63" fmla="*/ 438 h 492"/>
              <a:gd name="T64" fmla="*/ 264 w 348"/>
              <a:gd name="T65" fmla="*/ 450 h 492"/>
              <a:gd name="T66" fmla="*/ 246 w 348"/>
              <a:gd name="T67" fmla="*/ 456 h 492"/>
              <a:gd name="T68" fmla="*/ 222 w 348"/>
              <a:gd name="T69" fmla="*/ 474 h 492"/>
              <a:gd name="T70" fmla="*/ 228 w 348"/>
              <a:gd name="T71" fmla="*/ 468 h 492"/>
              <a:gd name="T72" fmla="*/ 228 w 348"/>
              <a:gd name="T73" fmla="*/ 450 h 492"/>
              <a:gd name="T74" fmla="*/ 228 w 348"/>
              <a:gd name="T75" fmla="*/ 438 h 492"/>
              <a:gd name="T76" fmla="*/ 210 w 348"/>
              <a:gd name="T77" fmla="*/ 444 h 492"/>
              <a:gd name="T78" fmla="*/ 192 w 348"/>
              <a:gd name="T79" fmla="*/ 456 h 492"/>
              <a:gd name="T80" fmla="*/ 168 w 348"/>
              <a:gd name="T81" fmla="*/ 462 h 492"/>
              <a:gd name="T82" fmla="*/ 144 w 348"/>
              <a:gd name="T83" fmla="*/ 432 h 492"/>
              <a:gd name="T84" fmla="*/ 132 w 348"/>
              <a:gd name="T85" fmla="*/ 426 h 492"/>
              <a:gd name="T86" fmla="*/ 108 w 348"/>
              <a:gd name="T87" fmla="*/ 402 h 492"/>
              <a:gd name="T88" fmla="*/ 114 w 348"/>
              <a:gd name="T89" fmla="*/ 384 h 492"/>
              <a:gd name="T90" fmla="*/ 120 w 348"/>
              <a:gd name="T91" fmla="*/ 372 h 492"/>
              <a:gd name="T92" fmla="*/ 132 w 348"/>
              <a:gd name="T93" fmla="*/ 360 h 492"/>
              <a:gd name="T94" fmla="*/ 144 w 348"/>
              <a:gd name="T95" fmla="*/ 354 h 492"/>
              <a:gd name="T96" fmla="*/ 144 w 348"/>
              <a:gd name="T97" fmla="*/ 336 h 492"/>
              <a:gd name="T98" fmla="*/ 138 w 348"/>
              <a:gd name="T99" fmla="*/ 312 h 492"/>
              <a:gd name="T100" fmla="*/ 132 w 348"/>
              <a:gd name="T101" fmla="*/ 282 h 492"/>
              <a:gd name="T102" fmla="*/ 114 w 348"/>
              <a:gd name="T103" fmla="*/ 270 h 492"/>
              <a:gd name="T104" fmla="*/ 108 w 348"/>
              <a:gd name="T105" fmla="*/ 258 h 492"/>
              <a:gd name="T106" fmla="*/ 90 w 348"/>
              <a:gd name="T107" fmla="*/ 246 h 492"/>
              <a:gd name="T108" fmla="*/ 72 w 348"/>
              <a:gd name="T109" fmla="*/ 234 h 492"/>
              <a:gd name="T110" fmla="*/ 72 w 348"/>
              <a:gd name="T111" fmla="*/ 210 h 492"/>
              <a:gd name="T112" fmla="*/ 54 w 348"/>
              <a:gd name="T113" fmla="*/ 192 h 492"/>
              <a:gd name="T114" fmla="*/ 48 w 348"/>
              <a:gd name="T115" fmla="*/ 168 h 492"/>
              <a:gd name="T116" fmla="*/ 42 w 348"/>
              <a:gd name="T117" fmla="*/ 150 h 492"/>
              <a:gd name="T118" fmla="*/ 36 w 348"/>
              <a:gd name="T119" fmla="*/ 126 h 492"/>
              <a:gd name="T120" fmla="*/ 24 w 348"/>
              <a:gd name="T121" fmla="*/ 96 h 492"/>
              <a:gd name="T122" fmla="*/ 12 w 348"/>
              <a:gd name="T123" fmla="*/ 66 h 4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48" h="492">
                <a:moveTo>
                  <a:pt x="0" y="30"/>
                </a:move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12" y="24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2"/>
                </a:lnTo>
                <a:lnTo>
                  <a:pt x="12" y="12"/>
                </a:lnTo>
                <a:lnTo>
                  <a:pt x="18" y="18"/>
                </a:lnTo>
                <a:lnTo>
                  <a:pt x="24" y="18"/>
                </a:lnTo>
                <a:lnTo>
                  <a:pt x="24" y="12"/>
                </a:lnTo>
                <a:lnTo>
                  <a:pt x="24" y="18"/>
                </a:lnTo>
                <a:lnTo>
                  <a:pt x="30" y="12"/>
                </a:lnTo>
                <a:lnTo>
                  <a:pt x="30" y="12"/>
                </a:lnTo>
                <a:lnTo>
                  <a:pt x="36" y="12"/>
                </a:lnTo>
                <a:lnTo>
                  <a:pt x="36" y="12"/>
                </a:lnTo>
                <a:lnTo>
                  <a:pt x="42" y="12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54" y="12"/>
                </a:lnTo>
                <a:lnTo>
                  <a:pt x="54" y="12"/>
                </a:lnTo>
                <a:lnTo>
                  <a:pt x="60" y="12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78" y="6"/>
                </a:lnTo>
                <a:lnTo>
                  <a:pt x="78" y="6"/>
                </a:lnTo>
                <a:lnTo>
                  <a:pt x="84" y="6"/>
                </a:lnTo>
                <a:lnTo>
                  <a:pt x="90" y="6"/>
                </a:lnTo>
                <a:lnTo>
                  <a:pt x="90" y="6"/>
                </a:lnTo>
                <a:lnTo>
                  <a:pt x="96" y="6"/>
                </a:lnTo>
                <a:lnTo>
                  <a:pt x="96" y="0"/>
                </a:lnTo>
                <a:lnTo>
                  <a:pt x="96" y="0"/>
                </a:lnTo>
                <a:lnTo>
                  <a:pt x="102" y="6"/>
                </a:lnTo>
                <a:lnTo>
                  <a:pt x="108" y="6"/>
                </a:lnTo>
                <a:lnTo>
                  <a:pt x="108" y="6"/>
                </a:lnTo>
                <a:lnTo>
                  <a:pt x="108" y="12"/>
                </a:lnTo>
                <a:lnTo>
                  <a:pt x="102" y="12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30"/>
                </a:lnTo>
                <a:lnTo>
                  <a:pt x="114" y="24"/>
                </a:lnTo>
                <a:lnTo>
                  <a:pt x="120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8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2"/>
                </a:lnTo>
                <a:lnTo>
                  <a:pt x="150" y="18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74" y="6"/>
                </a:lnTo>
                <a:lnTo>
                  <a:pt x="174" y="6"/>
                </a:lnTo>
                <a:lnTo>
                  <a:pt x="180" y="6"/>
                </a:lnTo>
                <a:lnTo>
                  <a:pt x="180" y="6"/>
                </a:lnTo>
                <a:lnTo>
                  <a:pt x="180" y="6"/>
                </a:lnTo>
                <a:lnTo>
                  <a:pt x="180" y="6"/>
                </a:lnTo>
                <a:lnTo>
                  <a:pt x="186" y="6"/>
                </a:lnTo>
                <a:lnTo>
                  <a:pt x="186" y="6"/>
                </a:lnTo>
                <a:lnTo>
                  <a:pt x="186" y="6"/>
                </a:lnTo>
                <a:lnTo>
                  <a:pt x="186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8" y="6"/>
                </a:lnTo>
                <a:lnTo>
                  <a:pt x="198" y="6"/>
                </a:lnTo>
                <a:lnTo>
                  <a:pt x="198" y="6"/>
                </a:lnTo>
                <a:lnTo>
                  <a:pt x="204" y="6"/>
                </a:lnTo>
                <a:lnTo>
                  <a:pt x="210" y="6"/>
                </a:lnTo>
                <a:lnTo>
                  <a:pt x="210" y="6"/>
                </a:lnTo>
                <a:lnTo>
                  <a:pt x="210" y="6"/>
                </a:lnTo>
                <a:lnTo>
                  <a:pt x="216" y="12"/>
                </a:lnTo>
                <a:lnTo>
                  <a:pt x="216" y="12"/>
                </a:lnTo>
                <a:lnTo>
                  <a:pt x="216" y="12"/>
                </a:lnTo>
                <a:lnTo>
                  <a:pt x="216" y="12"/>
                </a:lnTo>
                <a:lnTo>
                  <a:pt x="216" y="12"/>
                </a:lnTo>
                <a:lnTo>
                  <a:pt x="216" y="12"/>
                </a:lnTo>
                <a:lnTo>
                  <a:pt x="216" y="18"/>
                </a:lnTo>
                <a:lnTo>
                  <a:pt x="222" y="18"/>
                </a:lnTo>
                <a:lnTo>
                  <a:pt x="222" y="18"/>
                </a:lnTo>
                <a:lnTo>
                  <a:pt x="222" y="18"/>
                </a:lnTo>
                <a:lnTo>
                  <a:pt x="222" y="18"/>
                </a:lnTo>
                <a:lnTo>
                  <a:pt x="228" y="24"/>
                </a:lnTo>
                <a:lnTo>
                  <a:pt x="222" y="24"/>
                </a:lnTo>
                <a:lnTo>
                  <a:pt x="228" y="24"/>
                </a:lnTo>
                <a:lnTo>
                  <a:pt x="228" y="24"/>
                </a:lnTo>
                <a:lnTo>
                  <a:pt x="228" y="24"/>
                </a:lnTo>
                <a:lnTo>
                  <a:pt x="228" y="24"/>
                </a:lnTo>
                <a:lnTo>
                  <a:pt x="228" y="24"/>
                </a:lnTo>
                <a:lnTo>
                  <a:pt x="228" y="30"/>
                </a:lnTo>
                <a:lnTo>
                  <a:pt x="228" y="30"/>
                </a:lnTo>
                <a:lnTo>
                  <a:pt x="228" y="30"/>
                </a:lnTo>
                <a:lnTo>
                  <a:pt x="228" y="30"/>
                </a:lnTo>
                <a:lnTo>
                  <a:pt x="228" y="30"/>
                </a:lnTo>
                <a:lnTo>
                  <a:pt x="228" y="30"/>
                </a:lnTo>
                <a:lnTo>
                  <a:pt x="228" y="30"/>
                </a:lnTo>
                <a:lnTo>
                  <a:pt x="234" y="36"/>
                </a:lnTo>
                <a:lnTo>
                  <a:pt x="234" y="36"/>
                </a:lnTo>
                <a:lnTo>
                  <a:pt x="240" y="36"/>
                </a:lnTo>
                <a:lnTo>
                  <a:pt x="240" y="36"/>
                </a:lnTo>
                <a:lnTo>
                  <a:pt x="240" y="36"/>
                </a:lnTo>
                <a:lnTo>
                  <a:pt x="240" y="36"/>
                </a:lnTo>
                <a:lnTo>
                  <a:pt x="246" y="36"/>
                </a:lnTo>
                <a:lnTo>
                  <a:pt x="246" y="36"/>
                </a:lnTo>
                <a:lnTo>
                  <a:pt x="246" y="36"/>
                </a:lnTo>
                <a:lnTo>
                  <a:pt x="246" y="42"/>
                </a:lnTo>
                <a:lnTo>
                  <a:pt x="246" y="42"/>
                </a:lnTo>
                <a:lnTo>
                  <a:pt x="252" y="42"/>
                </a:lnTo>
                <a:lnTo>
                  <a:pt x="252" y="42"/>
                </a:lnTo>
                <a:lnTo>
                  <a:pt x="258" y="42"/>
                </a:lnTo>
                <a:lnTo>
                  <a:pt x="258" y="48"/>
                </a:lnTo>
                <a:lnTo>
                  <a:pt x="264" y="48"/>
                </a:lnTo>
                <a:lnTo>
                  <a:pt x="264" y="48"/>
                </a:lnTo>
                <a:lnTo>
                  <a:pt x="264" y="60"/>
                </a:lnTo>
                <a:lnTo>
                  <a:pt x="264" y="60"/>
                </a:lnTo>
                <a:lnTo>
                  <a:pt x="258" y="66"/>
                </a:lnTo>
                <a:lnTo>
                  <a:pt x="258" y="66"/>
                </a:lnTo>
                <a:lnTo>
                  <a:pt x="258" y="72"/>
                </a:lnTo>
                <a:lnTo>
                  <a:pt x="252" y="72"/>
                </a:lnTo>
                <a:lnTo>
                  <a:pt x="252" y="72"/>
                </a:lnTo>
                <a:lnTo>
                  <a:pt x="252" y="78"/>
                </a:lnTo>
                <a:lnTo>
                  <a:pt x="246" y="78"/>
                </a:lnTo>
                <a:lnTo>
                  <a:pt x="246" y="78"/>
                </a:lnTo>
                <a:lnTo>
                  <a:pt x="246" y="78"/>
                </a:lnTo>
                <a:lnTo>
                  <a:pt x="246" y="84"/>
                </a:lnTo>
                <a:lnTo>
                  <a:pt x="246" y="84"/>
                </a:lnTo>
                <a:lnTo>
                  <a:pt x="246" y="84"/>
                </a:lnTo>
                <a:lnTo>
                  <a:pt x="246" y="84"/>
                </a:lnTo>
                <a:lnTo>
                  <a:pt x="246" y="84"/>
                </a:lnTo>
                <a:lnTo>
                  <a:pt x="240" y="90"/>
                </a:lnTo>
                <a:lnTo>
                  <a:pt x="240" y="90"/>
                </a:lnTo>
                <a:lnTo>
                  <a:pt x="240" y="90"/>
                </a:lnTo>
                <a:lnTo>
                  <a:pt x="240" y="90"/>
                </a:lnTo>
                <a:lnTo>
                  <a:pt x="240" y="96"/>
                </a:lnTo>
                <a:lnTo>
                  <a:pt x="240" y="96"/>
                </a:lnTo>
                <a:lnTo>
                  <a:pt x="240" y="96"/>
                </a:lnTo>
                <a:lnTo>
                  <a:pt x="246" y="96"/>
                </a:lnTo>
                <a:lnTo>
                  <a:pt x="246" y="96"/>
                </a:lnTo>
                <a:lnTo>
                  <a:pt x="252" y="96"/>
                </a:lnTo>
                <a:lnTo>
                  <a:pt x="252" y="96"/>
                </a:lnTo>
                <a:lnTo>
                  <a:pt x="252" y="102"/>
                </a:lnTo>
                <a:lnTo>
                  <a:pt x="258" y="102"/>
                </a:lnTo>
                <a:lnTo>
                  <a:pt x="258" y="102"/>
                </a:lnTo>
                <a:lnTo>
                  <a:pt x="264" y="102"/>
                </a:lnTo>
                <a:lnTo>
                  <a:pt x="276" y="102"/>
                </a:lnTo>
                <a:lnTo>
                  <a:pt x="282" y="102"/>
                </a:lnTo>
                <a:lnTo>
                  <a:pt x="282" y="102"/>
                </a:lnTo>
                <a:lnTo>
                  <a:pt x="294" y="108"/>
                </a:lnTo>
                <a:lnTo>
                  <a:pt x="294" y="108"/>
                </a:lnTo>
                <a:lnTo>
                  <a:pt x="300" y="108"/>
                </a:lnTo>
                <a:lnTo>
                  <a:pt x="300" y="108"/>
                </a:lnTo>
                <a:lnTo>
                  <a:pt x="300" y="108"/>
                </a:lnTo>
                <a:lnTo>
                  <a:pt x="306" y="114"/>
                </a:lnTo>
                <a:lnTo>
                  <a:pt x="306" y="114"/>
                </a:lnTo>
                <a:lnTo>
                  <a:pt x="312" y="114"/>
                </a:lnTo>
                <a:lnTo>
                  <a:pt x="312" y="114"/>
                </a:lnTo>
                <a:lnTo>
                  <a:pt x="318" y="114"/>
                </a:lnTo>
                <a:lnTo>
                  <a:pt x="318" y="114"/>
                </a:lnTo>
                <a:lnTo>
                  <a:pt x="324" y="120"/>
                </a:lnTo>
                <a:lnTo>
                  <a:pt x="336" y="126"/>
                </a:lnTo>
                <a:lnTo>
                  <a:pt x="342" y="126"/>
                </a:lnTo>
                <a:lnTo>
                  <a:pt x="342" y="126"/>
                </a:lnTo>
                <a:lnTo>
                  <a:pt x="342" y="132"/>
                </a:lnTo>
                <a:lnTo>
                  <a:pt x="342" y="132"/>
                </a:lnTo>
                <a:lnTo>
                  <a:pt x="342" y="132"/>
                </a:lnTo>
                <a:lnTo>
                  <a:pt x="342" y="138"/>
                </a:lnTo>
                <a:lnTo>
                  <a:pt x="342" y="138"/>
                </a:lnTo>
                <a:lnTo>
                  <a:pt x="348" y="144"/>
                </a:lnTo>
                <a:lnTo>
                  <a:pt x="348" y="144"/>
                </a:lnTo>
                <a:lnTo>
                  <a:pt x="342" y="150"/>
                </a:lnTo>
                <a:lnTo>
                  <a:pt x="342" y="150"/>
                </a:lnTo>
                <a:lnTo>
                  <a:pt x="342" y="156"/>
                </a:lnTo>
                <a:lnTo>
                  <a:pt x="336" y="162"/>
                </a:lnTo>
                <a:lnTo>
                  <a:pt x="336" y="162"/>
                </a:lnTo>
                <a:lnTo>
                  <a:pt x="336" y="162"/>
                </a:lnTo>
                <a:lnTo>
                  <a:pt x="336" y="162"/>
                </a:lnTo>
                <a:lnTo>
                  <a:pt x="330" y="162"/>
                </a:lnTo>
                <a:lnTo>
                  <a:pt x="330" y="168"/>
                </a:lnTo>
                <a:lnTo>
                  <a:pt x="330" y="168"/>
                </a:lnTo>
                <a:lnTo>
                  <a:pt x="324" y="162"/>
                </a:lnTo>
                <a:lnTo>
                  <a:pt x="324" y="162"/>
                </a:lnTo>
                <a:lnTo>
                  <a:pt x="324" y="168"/>
                </a:lnTo>
                <a:lnTo>
                  <a:pt x="324" y="168"/>
                </a:lnTo>
                <a:lnTo>
                  <a:pt x="324" y="168"/>
                </a:lnTo>
                <a:lnTo>
                  <a:pt x="324" y="168"/>
                </a:lnTo>
                <a:lnTo>
                  <a:pt x="318" y="174"/>
                </a:lnTo>
                <a:lnTo>
                  <a:pt x="312" y="174"/>
                </a:lnTo>
                <a:lnTo>
                  <a:pt x="312" y="180"/>
                </a:lnTo>
                <a:lnTo>
                  <a:pt x="312" y="180"/>
                </a:lnTo>
                <a:lnTo>
                  <a:pt x="306" y="180"/>
                </a:lnTo>
                <a:lnTo>
                  <a:pt x="306" y="180"/>
                </a:lnTo>
                <a:lnTo>
                  <a:pt x="306" y="180"/>
                </a:lnTo>
                <a:lnTo>
                  <a:pt x="306" y="180"/>
                </a:lnTo>
                <a:lnTo>
                  <a:pt x="306" y="186"/>
                </a:lnTo>
                <a:lnTo>
                  <a:pt x="306" y="192"/>
                </a:lnTo>
                <a:lnTo>
                  <a:pt x="300" y="192"/>
                </a:lnTo>
                <a:lnTo>
                  <a:pt x="306" y="192"/>
                </a:lnTo>
                <a:lnTo>
                  <a:pt x="306" y="198"/>
                </a:lnTo>
                <a:lnTo>
                  <a:pt x="294" y="198"/>
                </a:lnTo>
                <a:lnTo>
                  <a:pt x="294" y="198"/>
                </a:lnTo>
                <a:lnTo>
                  <a:pt x="300" y="204"/>
                </a:lnTo>
                <a:lnTo>
                  <a:pt x="300" y="204"/>
                </a:lnTo>
                <a:lnTo>
                  <a:pt x="294" y="204"/>
                </a:lnTo>
                <a:lnTo>
                  <a:pt x="294" y="204"/>
                </a:lnTo>
                <a:lnTo>
                  <a:pt x="294" y="204"/>
                </a:lnTo>
                <a:lnTo>
                  <a:pt x="288" y="210"/>
                </a:lnTo>
                <a:lnTo>
                  <a:pt x="288" y="210"/>
                </a:lnTo>
                <a:lnTo>
                  <a:pt x="288" y="210"/>
                </a:lnTo>
                <a:lnTo>
                  <a:pt x="288" y="216"/>
                </a:lnTo>
                <a:lnTo>
                  <a:pt x="282" y="216"/>
                </a:lnTo>
                <a:lnTo>
                  <a:pt x="282" y="222"/>
                </a:lnTo>
                <a:lnTo>
                  <a:pt x="282" y="228"/>
                </a:lnTo>
                <a:lnTo>
                  <a:pt x="276" y="228"/>
                </a:lnTo>
                <a:lnTo>
                  <a:pt x="276" y="234"/>
                </a:lnTo>
                <a:lnTo>
                  <a:pt x="276" y="234"/>
                </a:lnTo>
                <a:lnTo>
                  <a:pt x="276" y="234"/>
                </a:lnTo>
                <a:lnTo>
                  <a:pt x="276" y="234"/>
                </a:lnTo>
                <a:lnTo>
                  <a:pt x="270" y="240"/>
                </a:lnTo>
                <a:lnTo>
                  <a:pt x="270" y="240"/>
                </a:lnTo>
                <a:lnTo>
                  <a:pt x="270" y="240"/>
                </a:lnTo>
                <a:lnTo>
                  <a:pt x="264" y="240"/>
                </a:lnTo>
                <a:lnTo>
                  <a:pt x="264" y="234"/>
                </a:lnTo>
                <a:lnTo>
                  <a:pt x="264" y="228"/>
                </a:lnTo>
                <a:lnTo>
                  <a:pt x="264" y="228"/>
                </a:lnTo>
                <a:lnTo>
                  <a:pt x="264" y="228"/>
                </a:lnTo>
                <a:lnTo>
                  <a:pt x="258" y="228"/>
                </a:lnTo>
                <a:lnTo>
                  <a:pt x="258" y="222"/>
                </a:lnTo>
                <a:lnTo>
                  <a:pt x="258" y="222"/>
                </a:lnTo>
                <a:lnTo>
                  <a:pt x="258" y="216"/>
                </a:lnTo>
                <a:lnTo>
                  <a:pt x="258" y="216"/>
                </a:lnTo>
                <a:lnTo>
                  <a:pt x="252" y="216"/>
                </a:lnTo>
                <a:lnTo>
                  <a:pt x="252" y="216"/>
                </a:lnTo>
                <a:lnTo>
                  <a:pt x="246" y="216"/>
                </a:lnTo>
                <a:lnTo>
                  <a:pt x="246" y="216"/>
                </a:lnTo>
                <a:lnTo>
                  <a:pt x="246" y="210"/>
                </a:lnTo>
                <a:lnTo>
                  <a:pt x="246" y="210"/>
                </a:lnTo>
                <a:lnTo>
                  <a:pt x="240" y="210"/>
                </a:lnTo>
                <a:lnTo>
                  <a:pt x="240" y="216"/>
                </a:lnTo>
                <a:lnTo>
                  <a:pt x="240" y="216"/>
                </a:lnTo>
                <a:lnTo>
                  <a:pt x="240" y="216"/>
                </a:lnTo>
                <a:lnTo>
                  <a:pt x="240" y="216"/>
                </a:lnTo>
                <a:lnTo>
                  <a:pt x="234" y="216"/>
                </a:lnTo>
                <a:lnTo>
                  <a:pt x="234" y="216"/>
                </a:lnTo>
                <a:lnTo>
                  <a:pt x="234" y="216"/>
                </a:lnTo>
                <a:lnTo>
                  <a:pt x="234" y="216"/>
                </a:lnTo>
                <a:lnTo>
                  <a:pt x="228" y="216"/>
                </a:lnTo>
                <a:lnTo>
                  <a:pt x="228" y="216"/>
                </a:lnTo>
                <a:lnTo>
                  <a:pt x="222" y="216"/>
                </a:lnTo>
                <a:lnTo>
                  <a:pt x="222" y="210"/>
                </a:lnTo>
                <a:lnTo>
                  <a:pt x="222" y="210"/>
                </a:lnTo>
                <a:lnTo>
                  <a:pt x="222" y="210"/>
                </a:lnTo>
                <a:lnTo>
                  <a:pt x="216" y="210"/>
                </a:lnTo>
                <a:lnTo>
                  <a:pt x="216" y="210"/>
                </a:lnTo>
                <a:lnTo>
                  <a:pt x="216" y="210"/>
                </a:lnTo>
                <a:lnTo>
                  <a:pt x="216" y="210"/>
                </a:lnTo>
                <a:lnTo>
                  <a:pt x="216" y="210"/>
                </a:lnTo>
                <a:lnTo>
                  <a:pt x="210" y="204"/>
                </a:lnTo>
                <a:lnTo>
                  <a:pt x="210" y="210"/>
                </a:lnTo>
                <a:lnTo>
                  <a:pt x="210" y="210"/>
                </a:lnTo>
                <a:lnTo>
                  <a:pt x="210" y="210"/>
                </a:lnTo>
                <a:lnTo>
                  <a:pt x="210" y="210"/>
                </a:lnTo>
                <a:lnTo>
                  <a:pt x="210" y="210"/>
                </a:lnTo>
                <a:lnTo>
                  <a:pt x="210" y="210"/>
                </a:lnTo>
                <a:lnTo>
                  <a:pt x="210" y="210"/>
                </a:lnTo>
                <a:lnTo>
                  <a:pt x="204" y="210"/>
                </a:lnTo>
                <a:lnTo>
                  <a:pt x="204" y="210"/>
                </a:lnTo>
                <a:lnTo>
                  <a:pt x="204" y="210"/>
                </a:lnTo>
                <a:lnTo>
                  <a:pt x="198" y="210"/>
                </a:lnTo>
                <a:lnTo>
                  <a:pt x="198" y="210"/>
                </a:lnTo>
                <a:lnTo>
                  <a:pt x="198" y="210"/>
                </a:lnTo>
                <a:lnTo>
                  <a:pt x="198" y="210"/>
                </a:lnTo>
                <a:lnTo>
                  <a:pt x="192" y="210"/>
                </a:lnTo>
                <a:lnTo>
                  <a:pt x="186" y="210"/>
                </a:lnTo>
                <a:lnTo>
                  <a:pt x="186" y="216"/>
                </a:lnTo>
                <a:lnTo>
                  <a:pt x="174" y="216"/>
                </a:lnTo>
                <a:lnTo>
                  <a:pt x="174" y="216"/>
                </a:lnTo>
                <a:lnTo>
                  <a:pt x="174" y="216"/>
                </a:lnTo>
                <a:lnTo>
                  <a:pt x="174" y="216"/>
                </a:lnTo>
                <a:lnTo>
                  <a:pt x="174" y="216"/>
                </a:lnTo>
                <a:lnTo>
                  <a:pt x="168" y="222"/>
                </a:lnTo>
                <a:lnTo>
                  <a:pt x="168" y="222"/>
                </a:lnTo>
                <a:lnTo>
                  <a:pt x="168" y="222"/>
                </a:lnTo>
                <a:lnTo>
                  <a:pt x="168" y="222"/>
                </a:lnTo>
                <a:lnTo>
                  <a:pt x="168" y="222"/>
                </a:lnTo>
                <a:lnTo>
                  <a:pt x="168" y="228"/>
                </a:lnTo>
                <a:lnTo>
                  <a:pt x="174" y="228"/>
                </a:lnTo>
                <a:lnTo>
                  <a:pt x="174" y="228"/>
                </a:lnTo>
                <a:lnTo>
                  <a:pt x="174" y="234"/>
                </a:lnTo>
                <a:lnTo>
                  <a:pt x="174" y="234"/>
                </a:lnTo>
                <a:lnTo>
                  <a:pt x="180" y="234"/>
                </a:lnTo>
                <a:lnTo>
                  <a:pt x="180" y="240"/>
                </a:lnTo>
                <a:lnTo>
                  <a:pt x="180" y="240"/>
                </a:lnTo>
                <a:lnTo>
                  <a:pt x="180" y="246"/>
                </a:lnTo>
                <a:lnTo>
                  <a:pt x="180" y="246"/>
                </a:lnTo>
                <a:lnTo>
                  <a:pt x="180" y="246"/>
                </a:lnTo>
                <a:lnTo>
                  <a:pt x="180" y="246"/>
                </a:lnTo>
                <a:lnTo>
                  <a:pt x="180" y="246"/>
                </a:lnTo>
                <a:lnTo>
                  <a:pt x="180" y="252"/>
                </a:lnTo>
                <a:lnTo>
                  <a:pt x="180" y="252"/>
                </a:lnTo>
                <a:lnTo>
                  <a:pt x="186" y="252"/>
                </a:lnTo>
                <a:lnTo>
                  <a:pt x="186" y="258"/>
                </a:lnTo>
                <a:lnTo>
                  <a:pt x="192" y="258"/>
                </a:lnTo>
                <a:lnTo>
                  <a:pt x="192" y="258"/>
                </a:lnTo>
                <a:lnTo>
                  <a:pt x="192" y="258"/>
                </a:lnTo>
                <a:lnTo>
                  <a:pt x="192" y="258"/>
                </a:lnTo>
                <a:lnTo>
                  <a:pt x="192" y="258"/>
                </a:lnTo>
                <a:lnTo>
                  <a:pt x="192" y="258"/>
                </a:lnTo>
                <a:lnTo>
                  <a:pt x="192" y="258"/>
                </a:lnTo>
                <a:lnTo>
                  <a:pt x="192" y="258"/>
                </a:lnTo>
                <a:lnTo>
                  <a:pt x="192" y="258"/>
                </a:lnTo>
                <a:lnTo>
                  <a:pt x="192" y="264"/>
                </a:lnTo>
                <a:lnTo>
                  <a:pt x="192" y="264"/>
                </a:lnTo>
                <a:lnTo>
                  <a:pt x="192" y="270"/>
                </a:lnTo>
                <a:lnTo>
                  <a:pt x="192" y="270"/>
                </a:lnTo>
                <a:lnTo>
                  <a:pt x="192" y="270"/>
                </a:lnTo>
                <a:lnTo>
                  <a:pt x="192" y="270"/>
                </a:lnTo>
                <a:lnTo>
                  <a:pt x="192" y="276"/>
                </a:lnTo>
                <a:lnTo>
                  <a:pt x="198" y="276"/>
                </a:lnTo>
                <a:lnTo>
                  <a:pt x="192" y="276"/>
                </a:lnTo>
                <a:lnTo>
                  <a:pt x="192" y="276"/>
                </a:lnTo>
                <a:lnTo>
                  <a:pt x="192" y="276"/>
                </a:lnTo>
                <a:lnTo>
                  <a:pt x="192" y="282"/>
                </a:lnTo>
                <a:lnTo>
                  <a:pt x="192" y="282"/>
                </a:lnTo>
                <a:lnTo>
                  <a:pt x="192" y="282"/>
                </a:lnTo>
                <a:lnTo>
                  <a:pt x="198" y="282"/>
                </a:lnTo>
                <a:lnTo>
                  <a:pt x="192" y="288"/>
                </a:lnTo>
                <a:lnTo>
                  <a:pt x="192" y="288"/>
                </a:lnTo>
                <a:lnTo>
                  <a:pt x="192" y="288"/>
                </a:lnTo>
                <a:lnTo>
                  <a:pt x="198" y="288"/>
                </a:lnTo>
                <a:lnTo>
                  <a:pt x="198" y="288"/>
                </a:lnTo>
                <a:lnTo>
                  <a:pt x="198" y="288"/>
                </a:lnTo>
                <a:lnTo>
                  <a:pt x="198" y="288"/>
                </a:lnTo>
                <a:lnTo>
                  <a:pt x="198" y="288"/>
                </a:lnTo>
                <a:lnTo>
                  <a:pt x="198" y="288"/>
                </a:lnTo>
                <a:lnTo>
                  <a:pt x="198" y="294"/>
                </a:lnTo>
                <a:lnTo>
                  <a:pt x="198" y="294"/>
                </a:lnTo>
                <a:lnTo>
                  <a:pt x="198" y="294"/>
                </a:lnTo>
                <a:lnTo>
                  <a:pt x="204" y="300"/>
                </a:lnTo>
                <a:lnTo>
                  <a:pt x="198" y="300"/>
                </a:lnTo>
                <a:lnTo>
                  <a:pt x="198" y="300"/>
                </a:lnTo>
                <a:lnTo>
                  <a:pt x="198" y="300"/>
                </a:lnTo>
                <a:lnTo>
                  <a:pt x="204" y="300"/>
                </a:lnTo>
                <a:lnTo>
                  <a:pt x="204" y="306"/>
                </a:lnTo>
                <a:lnTo>
                  <a:pt x="204" y="306"/>
                </a:lnTo>
                <a:lnTo>
                  <a:pt x="210" y="306"/>
                </a:lnTo>
                <a:lnTo>
                  <a:pt x="210" y="312"/>
                </a:lnTo>
                <a:lnTo>
                  <a:pt x="210" y="312"/>
                </a:lnTo>
                <a:lnTo>
                  <a:pt x="210" y="312"/>
                </a:lnTo>
                <a:lnTo>
                  <a:pt x="210" y="318"/>
                </a:lnTo>
                <a:lnTo>
                  <a:pt x="216" y="318"/>
                </a:lnTo>
                <a:lnTo>
                  <a:pt x="216" y="318"/>
                </a:lnTo>
                <a:lnTo>
                  <a:pt x="216" y="324"/>
                </a:lnTo>
                <a:lnTo>
                  <a:pt x="216" y="324"/>
                </a:lnTo>
                <a:lnTo>
                  <a:pt x="216" y="330"/>
                </a:lnTo>
                <a:lnTo>
                  <a:pt x="222" y="330"/>
                </a:lnTo>
                <a:lnTo>
                  <a:pt x="216" y="336"/>
                </a:lnTo>
                <a:lnTo>
                  <a:pt x="216" y="336"/>
                </a:lnTo>
                <a:lnTo>
                  <a:pt x="222" y="336"/>
                </a:lnTo>
                <a:lnTo>
                  <a:pt x="216" y="336"/>
                </a:lnTo>
                <a:lnTo>
                  <a:pt x="216" y="336"/>
                </a:lnTo>
                <a:lnTo>
                  <a:pt x="222" y="336"/>
                </a:lnTo>
                <a:lnTo>
                  <a:pt x="222" y="342"/>
                </a:lnTo>
                <a:lnTo>
                  <a:pt x="222" y="342"/>
                </a:lnTo>
                <a:lnTo>
                  <a:pt x="222" y="342"/>
                </a:lnTo>
                <a:lnTo>
                  <a:pt x="222" y="342"/>
                </a:lnTo>
                <a:lnTo>
                  <a:pt x="222" y="348"/>
                </a:lnTo>
                <a:lnTo>
                  <a:pt x="222" y="348"/>
                </a:lnTo>
                <a:lnTo>
                  <a:pt x="222" y="348"/>
                </a:lnTo>
                <a:lnTo>
                  <a:pt x="222" y="348"/>
                </a:lnTo>
                <a:lnTo>
                  <a:pt x="222" y="348"/>
                </a:lnTo>
                <a:lnTo>
                  <a:pt x="222" y="348"/>
                </a:lnTo>
                <a:lnTo>
                  <a:pt x="222" y="348"/>
                </a:lnTo>
                <a:lnTo>
                  <a:pt x="222" y="354"/>
                </a:lnTo>
                <a:lnTo>
                  <a:pt x="222" y="354"/>
                </a:lnTo>
                <a:lnTo>
                  <a:pt x="222" y="354"/>
                </a:lnTo>
                <a:lnTo>
                  <a:pt x="222" y="354"/>
                </a:lnTo>
                <a:lnTo>
                  <a:pt x="222" y="354"/>
                </a:lnTo>
                <a:lnTo>
                  <a:pt x="222" y="360"/>
                </a:lnTo>
                <a:lnTo>
                  <a:pt x="222" y="360"/>
                </a:lnTo>
                <a:lnTo>
                  <a:pt x="222" y="360"/>
                </a:lnTo>
                <a:lnTo>
                  <a:pt x="222" y="360"/>
                </a:lnTo>
                <a:lnTo>
                  <a:pt x="222" y="366"/>
                </a:lnTo>
                <a:lnTo>
                  <a:pt x="222" y="366"/>
                </a:lnTo>
                <a:lnTo>
                  <a:pt x="222" y="366"/>
                </a:lnTo>
                <a:lnTo>
                  <a:pt x="222" y="366"/>
                </a:lnTo>
                <a:lnTo>
                  <a:pt x="228" y="366"/>
                </a:lnTo>
                <a:lnTo>
                  <a:pt x="228" y="366"/>
                </a:lnTo>
                <a:lnTo>
                  <a:pt x="228" y="372"/>
                </a:lnTo>
                <a:lnTo>
                  <a:pt x="228" y="372"/>
                </a:lnTo>
                <a:lnTo>
                  <a:pt x="228" y="378"/>
                </a:lnTo>
                <a:lnTo>
                  <a:pt x="228" y="378"/>
                </a:lnTo>
                <a:lnTo>
                  <a:pt x="228" y="378"/>
                </a:lnTo>
                <a:lnTo>
                  <a:pt x="234" y="378"/>
                </a:lnTo>
                <a:lnTo>
                  <a:pt x="234" y="378"/>
                </a:lnTo>
                <a:lnTo>
                  <a:pt x="234" y="378"/>
                </a:lnTo>
                <a:lnTo>
                  <a:pt x="234" y="378"/>
                </a:lnTo>
                <a:lnTo>
                  <a:pt x="234" y="378"/>
                </a:lnTo>
                <a:lnTo>
                  <a:pt x="234" y="384"/>
                </a:lnTo>
                <a:lnTo>
                  <a:pt x="234" y="384"/>
                </a:lnTo>
                <a:lnTo>
                  <a:pt x="234" y="384"/>
                </a:lnTo>
                <a:lnTo>
                  <a:pt x="234" y="384"/>
                </a:lnTo>
                <a:lnTo>
                  <a:pt x="234" y="390"/>
                </a:lnTo>
                <a:lnTo>
                  <a:pt x="234" y="390"/>
                </a:lnTo>
                <a:lnTo>
                  <a:pt x="240" y="396"/>
                </a:lnTo>
                <a:lnTo>
                  <a:pt x="240" y="396"/>
                </a:lnTo>
                <a:lnTo>
                  <a:pt x="240" y="396"/>
                </a:lnTo>
                <a:lnTo>
                  <a:pt x="240" y="396"/>
                </a:lnTo>
                <a:lnTo>
                  <a:pt x="240" y="402"/>
                </a:lnTo>
                <a:lnTo>
                  <a:pt x="240" y="402"/>
                </a:lnTo>
                <a:lnTo>
                  <a:pt x="240" y="402"/>
                </a:lnTo>
                <a:lnTo>
                  <a:pt x="240" y="402"/>
                </a:lnTo>
                <a:lnTo>
                  <a:pt x="240" y="402"/>
                </a:lnTo>
                <a:lnTo>
                  <a:pt x="246" y="408"/>
                </a:lnTo>
                <a:lnTo>
                  <a:pt x="246" y="408"/>
                </a:lnTo>
                <a:lnTo>
                  <a:pt x="246" y="408"/>
                </a:lnTo>
                <a:lnTo>
                  <a:pt x="246" y="408"/>
                </a:lnTo>
                <a:lnTo>
                  <a:pt x="246" y="408"/>
                </a:lnTo>
                <a:lnTo>
                  <a:pt x="246" y="408"/>
                </a:lnTo>
                <a:lnTo>
                  <a:pt x="246" y="408"/>
                </a:lnTo>
                <a:lnTo>
                  <a:pt x="246" y="408"/>
                </a:lnTo>
                <a:lnTo>
                  <a:pt x="246" y="408"/>
                </a:lnTo>
                <a:lnTo>
                  <a:pt x="246" y="408"/>
                </a:lnTo>
                <a:lnTo>
                  <a:pt x="246" y="414"/>
                </a:lnTo>
                <a:lnTo>
                  <a:pt x="252" y="414"/>
                </a:lnTo>
                <a:lnTo>
                  <a:pt x="252" y="420"/>
                </a:lnTo>
                <a:lnTo>
                  <a:pt x="252" y="420"/>
                </a:lnTo>
                <a:lnTo>
                  <a:pt x="258" y="420"/>
                </a:lnTo>
                <a:lnTo>
                  <a:pt x="258" y="420"/>
                </a:lnTo>
                <a:lnTo>
                  <a:pt x="258" y="420"/>
                </a:lnTo>
                <a:lnTo>
                  <a:pt x="258" y="420"/>
                </a:lnTo>
                <a:lnTo>
                  <a:pt x="258" y="420"/>
                </a:lnTo>
                <a:lnTo>
                  <a:pt x="258" y="426"/>
                </a:lnTo>
                <a:lnTo>
                  <a:pt x="258" y="426"/>
                </a:lnTo>
                <a:lnTo>
                  <a:pt x="258" y="420"/>
                </a:lnTo>
                <a:lnTo>
                  <a:pt x="258" y="426"/>
                </a:lnTo>
                <a:lnTo>
                  <a:pt x="258" y="420"/>
                </a:lnTo>
                <a:lnTo>
                  <a:pt x="264" y="426"/>
                </a:lnTo>
                <a:lnTo>
                  <a:pt x="258" y="426"/>
                </a:lnTo>
                <a:lnTo>
                  <a:pt x="264" y="426"/>
                </a:lnTo>
                <a:lnTo>
                  <a:pt x="264" y="426"/>
                </a:lnTo>
                <a:lnTo>
                  <a:pt x="264" y="426"/>
                </a:lnTo>
                <a:lnTo>
                  <a:pt x="264" y="426"/>
                </a:lnTo>
                <a:lnTo>
                  <a:pt x="264" y="426"/>
                </a:lnTo>
                <a:lnTo>
                  <a:pt x="264" y="426"/>
                </a:lnTo>
                <a:lnTo>
                  <a:pt x="264" y="426"/>
                </a:lnTo>
                <a:lnTo>
                  <a:pt x="264" y="432"/>
                </a:lnTo>
                <a:lnTo>
                  <a:pt x="264" y="432"/>
                </a:lnTo>
                <a:lnTo>
                  <a:pt x="264" y="432"/>
                </a:lnTo>
                <a:lnTo>
                  <a:pt x="264" y="432"/>
                </a:lnTo>
                <a:lnTo>
                  <a:pt x="264" y="432"/>
                </a:lnTo>
                <a:lnTo>
                  <a:pt x="264" y="438"/>
                </a:lnTo>
                <a:lnTo>
                  <a:pt x="270" y="438"/>
                </a:lnTo>
                <a:lnTo>
                  <a:pt x="270" y="438"/>
                </a:lnTo>
                <a:lnTo>
                  <a:pt x="270" y="438"/>
                </a:lnTo>
                <a:lnTo>
                  <a:pt x="270" y="444"/>
                </a:lnTo>
                <a:lnTo>
                  <a:pt x="264" y="444"/>
                </a:lnTo>
                <a:lnTo>
                  <a:pt x="264" y="444"/>
                </a:lnTo>
                <a:lnTo>
                  <a:pt x="264" y="444"/>
                </a:lnTo>
                <a:lnTo>
                  <a:pt x="264" y="444"/>
                </a:lnTo>
                <a:lnTo>
                  <a:pt x="264" y="450"/>
                </a:lnTo>
                <a:lnTo>
                  <a:pt x="264" y="450"/>
                </a:lnTo>
                <a:lnTo>
                  <a:pt x="264" y="450"/>
                </a:lnTo>
                <a:lnTo>
                  <a:pt x="264" y="450"/>
                </a:lnTo>
                <a:lnTo>
                  <a:pt x="264" y="450"/>
                </a:lnTo>
                <a:lnTo>
                  <a:pt x="264" y="450"/>
                </a:lnTo>
                <a:lnTo>
                  <a:pt x="264" y="450"/>
                </a:lnTo>
                <a:lnTo>
                  <a:pt x="264" y="450"/>
                </a:lnTo>
                <a:lnTo>
                  <a:pt x="264" y="450"/>
                </a:lnTo>
                <a:lnTo>
                  <a:pt x="264" y="450"/>
                </a:lnTo>
                <a:lnTo>
                  <a:pt x="264" y="450"/>
                </a:lnTo>
                <a:lnTo>
                  <a:pt x="264" y="456"/>
                </a:lnTo>
                <a:lnTo>
                  <a:pt x="264" y="456"/>
                </a:lnTo>
                <a:lnTo>
                  <a:pt x="264" y="456"/>
                </a:lnTo>
                <a:lnTo>
                  <a:pt x="264" y="456"/>
                </a:lnTo>
                <a:lnTo>
                  <a:pt x="264" y="456"/>
                </a:lnTo>
                <a:lnTo>
                  <a:pt x="264" y="456"/>
                </a:lnTo>
                <a:lnTo>
                  <a:pt x="264" y="456"/>
                </a:lnTo>
                <a:lnTo>
                  <a:pt x="264" y="456"/>
                </a:lnTo>
                <a:lnTo>
                  <a:pt x="264" y="456"/>
                </a:lnTo>
                <a:lnTo>
                  <a:pt x="264" y="456"/>
                </a:lnTo>
                <a:lnTo>
                  <a:pt x="246" y="456"/>
                </a:lnTo>
                <a:lnTo>
                  <a:pt x="246" y="468"/>
                </a:lnTo>
                <a:lnTo>
                  <a:pt x="246" y="468"/>
                </a:lnTo>
                <a:lnTo>
                  <a:pt x="246" y="492"/>
                </a:lnTo>
                <a:lnTo>
                  <a:pt x="222" y="492"/>
                </a:lnTo>
                <a:lnTo>
                  <a:pt x="222" y="492"/>
                </a:lnTo>
                <a:lnTo>
                  <a:pt x="222" y="486"/>
                </a:lnTo>
                <a:lnTo>
                  <a:pt x="222" y="486"/>
                </a:lnTo>
                <a:lnTo>
                  <a:pt x="222" y="486"/>
                </a:lnTo>
                <a:lnTo>
                  <a:pt x="222" y="480"/>
                </a:lnTo>
                <a:lnTo>
                  <a:pt x="222" y="480"/>
                </a:lnTo>
                <a:lnTo>
                  <a:pt x="222" y="480"/>
                </a:lnTo>
                <a:lnTo>
                  <a:pt x="222" y="480"/>
                </a:lnTo>
                <a:lnTo>
                  <a:pt x="222" y="480"/>
                </a:lnTo>
                <a:lnTo>
                  <a:pt x="222" y="480"/>
                </a:lnTo>
                <a:lnTo>
                  <a:pt x="222" y="474"/>
                </a:lnTo>
                <a:lnTo>
                  <a:pt x="222" y="474"/>
                </a:lnTo>
                <a:lnTo>
                  <a:pt x="222" y="474"/>
                </a:lnTo>
                <a:lnTo>
                  <a:pt x="222" y="474"/>
                </a:lnTo>
                <a:lnTo>
                  <a:pt x="222" y="474"/>
                </a:lnTo>
                <a:lnTo>
                  <a:pt x="222" y="474"/>
                </a:lnTo>
                <a:lnTo>
                  <a:pt x="222" y="474"/>
                </a:lnTo>
                <a:lnTo>
                  <a:pt x="222" y="474"/>
                </a:lnTo>
                <a:lnTo>
                  <a:pt x="222" y="474"/>
                </a:lnTo>
                <a:lnTo>
                  <a:pt x="222" y="474"/>
                </a:lnTo>
                <a:lnTo>
                  <a:pt x="222" y="474"/>
                </a:lnTo>
                <a:lnTo>
                  <a:pt x="222" y="468"/>
                </a:lnTo>
                <a:lnTo>
                  <a:pt x="222" y="468"/>
                </a:lnTo>
                <a:lnTo>
                  <a:pt x="222" y="468"/>
                </a:lnTo>
                <a:lnTo>
                  <a:pt x="228" y="468"/>
                </a:lnTo>
                <a:lnTo>
                  <a:pt x="228" y="468"/>
                </a:lnTo>
                <a:lnTo>
                  <a:pt x="228" y="468"/>
                </a:lnTo>
                <a:lnTo>
                  <a:pt x="228" y="468"/>
                </a:lnTo>
                <a:lnTo>
                  <a:pt x="228" y="468"/>
                </a:lnTo>
                <a:lnTo>
                  <a:pt x="228" y="468"/>
                </a:lnTo>
                <a:lnTo>
                  <a:pt x="228" y="462"/>
                </a:lnTo>
                <a:lnTo>
                  <a:pt x="228" y="462"/>
                </a:lnTo>
                <a:lnTo>
                  <a:pt x="228" y="462"/>
                </a:lnTo>
                <a:lnTo>
                  <a:pt x="228" y="462"/>
                </a:lnTo>
                <a:lnTo>
                  <a:pt x="228" y="456"/>
                </a:lnTo>
                <a:lnTo>
                  <a:pt x="228" y="456"/>
                </a:lnTo>
                <a:lnTo>
                  <a:pt x="228" y="456"/>
                </a:lnTo>
                <a:lnTo>
                  <a:pt x="228" y="456"/>
                </a:lnTo>
                <a:lnTo>
                  <a:pt x="228" y="450"/>
                </a:lnTo>
                <a:lnTo>
                  <a:pt x="228" y="450"/>
                </a:lnTo>
                <a:lnTo>
                  <a:pt x="228" y="450"/>
                </a:lnTo>
                <a:lnTo>
                  <a:pt x="228" y="450"/>
                </a:lnTo>
                <a:lnTo>
                  <a:pt x="228" y="450"/>
                </a:lnTo>
                <a:lnTo>
                  <a:pt x="228" y="450"/>
                </a:lnTo>
                <a:lnTo>
                  <a:pt x="228" y="450"/>
                </a:lnTo>
                <a:lnTo>
                  <a:pt x="228" y="444"/>
                </a:lnTo>
                <a:lnTo>
                  <a:pt x="228" y="444"/>
                </a:lnTo>
                <a:lnTo>
                  <a:pt x="228" y="444"/>
                </a:lnTo>
                <a:lnTo>
                  <a:pt x="228" y="444"/>
                </a:lnTo>
                <a:lnTo>
                  <a:pt x="234" y="444"/>
                </a:lnTo>
                <a:lnTo>
                  <a:pt x="228" y="444"/>
                </a:lnTo>
                <a:lnTo>
                  <a:pt x="228" y="438"/>
                </a:lnTo>
                <a:lnTo>
                  <a:pt x="228" y="438"/>
                </a:lnTo>
                <a:lnTo>
                  <a:pt x="228" y="438"/>
                </a:lnTo>
                <a:lnTo>
                  <a:pt x="228" y="438"/>
                </a:lnTo>
                <a:lnTo>
                  <a:pt x="228" y="438"/>
                </a:lnTo>
                <a:lnTo>
                  <a:pt x="228" y="438"/>
                </a:lnTo>
                <a:lnTo>
                  <a:pt x="228" y="438"/>
                </a:lnTo>
                <a:lnTo>
                  <a:pt x="222" y="432"/>
                </a:lnTo>
                <a:lnTo>
                  <a:pt x="222" y="432"/>
                </a:lnTo>
                <a:lnTo>
                  <a:pt x="222" y="432"/>
                </a:lnTo>
                <a:lnTo>
                  <a:pt x="222" y="432"/>
                </a:lnTo>
                <a:lnTo>
                  <a:pt x="222" y="432"/>
                </a:lnTo>
                <a:lnTo>
                  <a:pt x="216" y="432"/>
                </a:lnTo>
                <a:lnTo>
                  <a:pt x="216" y="438"/>
                </a:lnTo>
                <a:lnTo>
                  <a:pt x="216" y="438"/>
                </a:lnTo>
                <a:lnTo>
                  <a:pt x="216" y="438"/>
                </a:lnTo>
                <a:lnTo>
                  <a:pt x="216" y="438"/>
                </a:lnTo>
                <a:lnTo>
                  <a:pt x="216" y="444"/>
                </a:lnTo>
                <a:lnTo>
                  <a:pt x="210" y="444"/>
                </a:lnTo>
                <a:lnTo>
                  <a:pt x="210" y="444"/>
                </a:lnTo>
                <a:lnTo>
                  <a:pt x="210" y="444"/>
                </a:lnTo>
                <a:lnTo>
                  <a:pt x="210" y="444"/>
                </a:lnTo>
                <a:lnTo>
                  <a:pt x="204" y="450"/>
                </a:lnTo>
                <a:lnTo>
                  <a:pt x="204" y="450"/>
                </a:lnTo>
                <a:lnTo>
                  <a:pt x="204" y="450"/>
                </a:lnTo>
                <a:lnTo>
                  <a:pt x="198" y="450"/>
                </a:lnTo>
                <a:lnTo>
                  <a:pt x="198" y="450"/>
                </a:lnTo>
                <a:lnTo>
                  <a:pt x="198" y="450"/>
                </a:lnTo>
                <a:lnTo>
                  <a:pt x="198" y="450"/>
                </a:lnTo>
                <a:lnTo>
                  <a:pt x="198" y="450"/>
                </a:lnTo>
                <a:lnTo>
                  <a:pt x="192" y="450"/>
                </a:lnTo>
                <a:lnTo>
                  <a:pt x="192" y="450"/>
                </a:lnTo>
                <a:lnTo>
                  <a:pt x="192" y="450"/>
                </a:lnTo>
                <a:lnTo>
                  <a:pt x="192" y="456"/>
                </a:lnTo>
                <a:lnTo>
                  <a:pt x="192" y="456"/>
                </a:lnTo>
                <a:lnTo>
                  <a:pt x="192" y="456"/>
                </a:lnTo>
                <a:lnTo>
                  <a:pt x="186" y="456"/>
                </a:lnTo>
                <a:lnTo>
                  <a:pt x="186" y="456"/>
                </a:lnTo>
                <a:lnTo>
                  <a:pt x="186" y="456"/>
                </a:lnTo>
                <a:lnTo>
                  <a:pt x="186" y="456"/>
                </a:lnTo>
                <a:lnTo>
                  <a:pt x="186" y="456"/>
                </a:lnTo>
                <a:lnTo>
                  <a:pt x="180" y="456"/>
                </a:lnTo>
                <a:lnTo>
                  <a:pt x="180" y="456"/>
                </a:lnTo>
                <a:lnTo>
                  <a:pt x="180" y="462"/>
                </a:lnTo>
                <a:lnTo>
                  <a:pt x="174" y="462"/>
                </a:lnTo>
                <a:lnTo>
                  <a:pt x="174" y="462"/>
                </a:lnTo>
                <a:lnTo>
                  <a:pt x="174" y="462"/>
                </a:lnTo>
                <a:lnTo>
                  <a:pt x="168" y="462"/>
                </a:lnTo>
                <a:lnTo>
                  <a:pt x="168" y="462"/>
                </a:lnTo>
                <a:lnTo>
                  <a:pt x="168" y="462"/>
                </a:lnTo>
                <a:lnTo>
                  <a:pt x="162" y="462"/>
                </a:lnTo>
                <a:lnTo>
                  <a:pt x="162" y="462"/>
                </a:lnTo>
                <a:lnTo>
                  <a:pt x="162" y="468"/>
                </a:lnTo>
                <a:lnTo>
                  <a:pt x="162" y="468"/>
                </a:lnTo>
                <a:lnTo>
                  <a:pt x="144" y="462"/>
                </a:lnTo>
                <a:lnTo>
                  <a:pt x="144" y="444"/>
                </a:lnTo>
                <a:lnTo>
                  <a:pt x="144" y="444"/>
                </a:lnTo>
                <a:lnTo>
                  <a:pt x="144" y="438"/>
                </a:lnTo>
                <a:lnTo>
                  <a:pt x="144" y="438"/>
                </a:lnTo>
                <a:lnTo>
                  <a:pt x="144" y="438"/>
                </a:lnTo>
                <a:lnTo>
                  <a:pt x="144" y="438"/>
                </a:lnTo>
                <a:lnTo>
                  <a:pt x="144" y="438"/>
                </a:lnTo>
                <a:lnTo>
                  <a:pt x="144" y="432"/>
                </a:lnTo>
                <a:lnTo>
                  <a:pt x="144" y="432"/>
                </a:lnTo>
                <a:lnTo>
                  <a:pt x="144" y="432"/>
                </a:lnTo>
                <a:lnTo>
                  <a:pt x="144" y="426"/>
                </a:lnTo>
                <a:lnTo>
                  <a:pt x="144" y="426"/>
                </a:lnTo>
                <a:lnTo>
                  <a:pt x="144" y="426"/>
                </a:lnTo>
                <a:lnTo>
                  <a:pt x="144" y="426"/>
                </a:lnTo>
                <a:lnTo>
                  <a:pt x="144" y="426"/>
                </a:lnTo>
                <a:lnTo>
                  <a:pt x="138" y="426"/>
                </a:lnTo>
                <a:lnTo>
                  <a:pt x="138" y="426"/>
                </a:lnTo>
                <a:lnTo>
                  <a:pt x="144" y="420"/>
                </a:lnTo>
                <a:lnTo>
                  <a:pt x="144" y="420"/>
                </a:lnTo>
                <a:lnTo>
                  <a:pt x="138" y="420"/>
                </a:lnTo>
                <a:lnTo>
                  <a:pt x="138" y="420"/>
                </a:lnTo>
                <a:lnTo>
                  <a:pt x="132" y="420"/>
                </a:lnTo>
                <a:lnTo>
                  <a:pt x="132" y="420"/>
                </a:lnTo>
                <a:lnTo>
                  <a:pt x="132" y="426"/>
                </a:lnTo>
                <a:lnTo>
                  <a:pt x="132" y="426"/>
                </a:lnTo>
                <a:lnTo>
                  <a:pt x="126" y="426"/>
                </a:lnTo>
                <a:lnTo>
                  <a:pt x="114" y="426"/>
                </a:lnTo>
                <a:lnTo>
                  <a:pt x="120" y="420"/>
                </a:lnTo>
                <a:lnTo>
                  <a:pt x="120" y="420"/>
                </a:lnTo>
                <a:lnTo>
                  <a:pt x="114" y="420"/>
                </a:lnTo>
                <a:lnTo>
                  <a:pt x="114" y="414"/>
                </a:lnTo>
                <a:lnTo>
                  <a:pt x="114" y="414"/>
                </a:lnTo>
                <a:lnTo>
                  <a:pt x="114" y="414"/>
                </a:lnTo>
                <a:lnTo>
                  <a:pt x="114" y="414"/>
                </a:lnTo>
                <a:lnTo>
                  <a:pt x="114" y="408"/>
                </a:lnTo>
                <a:lnTo>
                  <a:pt x="108" y="408"/>
                </a:lnTo>
                <a:lnTo>
                  <a:pt x="108" y="402"/>
                </a:lnTo>
                <a:lnTo>
                  <a:pt x="108" y="402"/>
                </a:lnTo>
                <a:lnTo>
                  <a:pt x="108" y="402"/>
                </a:lnTo>
                <a:lnTo>
                  <a:pt x="108" y="402"/>
                </a:lnTo>
                <a:lnTo>
                  <a:pt x="108" y="402"/>
                </a:lnTo>
                <a:lnTo>
                  <a:pt x="108" y="402"/>
                </a:lnTo>
                <a:lnTo>
                  <a:pt x="108" y="402"/>
                </a:lnTo>
                <a:lnTo>
                  <a:pt x="108" y="402"/>
                </a:lnTo>
                <a:lnTo>
                  <a:pt x="108" y="396"/>
                </a:lnTo>
                <a:lnTo>
                  <a:pt x="108" y="396"/>
                </a:lnTo>
                <a:lnTo>
                  <a:pt x="108" y="396"/>
                </a:lnTo>
                <a:lnTo>
                  <a:pt x="108" y="396"/>
                </a:lnTo>
                <a:lnTo>
                  <a:pt x="108" y="390"/>
                </a:lnTo>
                <a:lnTo>
                  <a:pt x="108" y="390"/>
                </a:lnTo>
                <a:lnTo>
                  <a:pt x="108" y="390"/>
                </a:lnTo>
                <a:lnTo>
                  <a:pt x="108" y="390"/>
                </a:lnTo>
                <a:lnTo>
                  <a:pt x="114" y="390"/>
                </a:lnTo>
                <a:lnTo>
                  <a:pt x="114" y="384"/>
                </a:lnTo>
                <a:lnTo>
                  <a:pt x="114" y="384"/>
                </a:lnTo>
                <a:lnTo>
                  <a:pt x="114" y="384"/>
                </a:lnTo>
                <a:lnTo>
                  <a:pt x="114" y="378"/>
                </a:lnTo>
                <a:lnTo>
                  <a:pt x="120" y="378"/>
                </a:lnTo>
                <a:lnTo>
                  <a:pt x="120" y="378"/>
                </a:lnTo>
                <a:lnTo>
                  <a:pt x="120" y="378"/>
                </a:lnTo>
                <a:lnTo>
                  <a:pt x="120" y="378"/>
                </a:lnTo>
                <a:lnTo>
                  <a:pt x="120" y="378"/>
                </a:lnTo>
                <a:lnTo>
                  <a:pt x="120" y="378"/>
                </a:lnTo>
                <a:lnTo>
                  <a:pt x="120" y="378"/>
                </a:lnTo>
                <a:lnTo>
                  <a:pt x="120" y="378"/>
                </a:lnTo>
                <a:lnTo>
                  <a:pt x="120" y="378"/>
                </a:lnTo>
                <a:lnTo>
                  <a:pt x="120" y="378"/>
                </a:lnTo>
                <a:lnTo>
                  <a:pt x="120" y="372"/>
                </a:lnTo>
                <a:lnTo>
                  <a:pt x="120" y="372"/>
                </a:lnTo>
                <a:lnTo>
                  <a:pt x="120" y="372"/>
                </a:lnTo>
                <a:lnTo>
                  <a:pt x="120" y="372"/>
                </a:lnTo>
                <a:lnTo>
                  <a:pt x="126" y="372"/>
                </a:lnTo>
                <a:lnTo>
                  <a:pt x="126" y="372"/>
                </a:lnTo>
                <a:lnTo>
                  <a:pt x="126" y="372"/>
                </a:lnTo>
                <a:lnTo>
                  <a:pt x="126" y="366"/>
                </a:lnTo>
                <a:lnTo>
                  <a:pt x="126" y="366"/>
                </a:lnTo>
                <a:lnTo>
                  <a:pt x="126" y="366"/>
                </a:lnTo>
                <a:lnTo>
                  <a:pt x="126" y="366"/>
                </a:lnTo>
                <a:lnTo>
                  <a:pt x="126" y="366"/>
                </a:lnTo>
                <a:lnTo>
                  <a:pt x="126" y="366"/>
                </a:lnTo>
                <a:lnTo>
                  <a:pt x="132" y="366"/>
                </a:lnTo>
                <a:lnTo>
                  <a:pt x="132" y="366"/>
                </a:lnTo>
                <a:lnTo>
                  <a:pt x="132" y="366"/>
                </a:lnTo>
                <a:lnTo>
                  <a:pt x="132" y="366"/>
                </a:lnTo>
                <a:lnTo>
                  <a:pt x="132" y="360"/>
                </a:lnTo>
                <a:lnTo>
                  <a:pt x="132" y="360"/>
                </a:lnTo>
                <a:lnTo>
                  <a:pt x="132" y="360"/>
                </a:lnTo>
                <a:lnTo>
                  <a:pt x="138" y="360"/>
                </a:lnTo>
                <a:lnTo>
                  <a:pt x="138" y="360"/>
                </a:lnTo>
                <a:lnTo>
                  <a:pt x="138" y="360"/>
                </a:lnTo>
                <a:lnTo>
                  <a:pt x="138" y="360"/>
                </a:lnTo>
                <a:lnTo>
                  <a:pt x="138" y="360"/>
                </a:lnTo>
                <a:lnTo>
                  <a:pt x="138" y="360"/>
                </a:lnTo>
                <a:lnTo>
                  <a:pt x="138" y="360"/>
                </a:lnTo>
                <a:lnTo>
                  <a:pt x="144" y="354"/>
                </a:lnTo>
                <a:lnTo>
                  <a:pt x="144" y="354"/>
                </a:lnTo>
                <a:lnTo>
                  <a:pt x="144" y="354"/>
                </a:lnTo>
                <a:lnTo>
                  <a:pt x="144" y="354"/>
                </a:lnTo>
                <a:lnTo>
                  <a:pt x="144" y="354"/>
                </a:lnTo>
                <a:lnTo>
                  <a:pt x="144" y="354"/>
                </a:lnTo>
                <a:lnTo>
                  <a:pt x="144" y="354"/>
                </a:lnTo>
                <a:lnTo>
                  <a:pt x="150" y="348"/>
                </a:lnTo>
                <a:lnTo>
                  <a:pt x="150" y="348"/>
                </a:lnTo>
                <a:lnTo>
                  <a:pt x="150" y="348"/>
                </a:lnTo>
                <a:lnTo>
                  <a:pt x="144" y="348"/>
                </a:lnTo>
                <a:lnTo>
                  <a:pt x="150" y="342"/>
                </a:lnTo>
                <a:lnTo>
                  <a:pt x="150" y="342"/>
                </a:lnTo>
                <a:lnTo>
                  <a:pt x="150" y="342"/>
                </a:lnTo>
                <a:lnTo>
                  <a:pt x="150" y="342"/>
                </a:lnTo>
                <a:lnTo>
                  <a:pt x="150" y="342"/>
                </a:lnTo>
                <a:lnTo>
                  <a:pt x="150" y="336"/>
                </a:lnTo>
                <a:lnTo>
                  <a:pt x="150" y="336"/>
                </a:lnTo>
                <a:lnTo>
                  <a:pt x="150" y="336"/>
                </a:lnTo>
                <a:lnTo>
                  <a:pt x="144" y="336"/>
                </a:lnTo>
                <a:lnTo>
                  <a:pt x="144" y="336"/>
                </a:lnTo>
                <a:lnTo>
                  <a:pt x="144" y="336"/>
                </a:lnTo>
                <a:lnTo>
                  <a:pt x="144" y="330"/>
                </a:lnTo>
                <a:lnTo>
                  <a:pt x="144" y="330"/>
                </a:lnTo>
                <a:lnTo>
                  <a:pt x="138" y="330"/>
                </a:lnTo>
                <a:lnTo>
                  <a:pt x="138" y="330"/>
                </a:lnTo>
                <a:lnTo>
                  <a:pt x="138" y="330"/>
                </a:lnTo>
                <a:lnTo>
                  <a:pt x="138" y="324"/>
                </a:lnTo>
                <a:lnTo>
                  <a:pt x="138" y="318"/>
                </a:lnTo>
                <a:lnTo>
                  <a:pt x="132" y="318"/>
                </a:lnTo>
                <a:lnTo>
                  <a:pt x="132" y="318"/>
                </a:lnTo>
                <a:lnTo>
                  <a:pt x="132" y="312"/>
                </a:lnTo>
                <a:lnTo>
                  <a:pt x="138" y="312"/>
                </a:lnTo>
                <a:lnTo>
                  <a:pt x="132" y="312"/>
                </a:lnTo>
                <a:lnTo>
                  <a:pt x="138" y="312"/>
                </a:lnTo>
                <a:lnTo>
                  <a:pt x="138" y="312"/>
                </a:lnTo>
                <a:lnTo>
                  <a:pt x="138" y="312"/>
                </a:lnTo>
                <a:lnTo>
                  <a:pt x="138" y="306"/>
                </a:lnTo>
                <a:lnTo>
                  <a:pt x="132" y="306"/>
                </a:lnTo>
                <a:lnTo>
                  <a:pt x="132" y="306"/>
                </a:lnTo>
                <a:lnTo>
                  <a:pt x="132" y="306"/>
                </a:lnTo>
                <a:lnTo>
                  <a:pt x="132" y="306"/>
                </a:lnTo>
                <a:lnTo>
                  <a:pt x="132" y="306"/>
                </a:lnTo>
                <a:lnTo>
                  <a:pt x="132" y="300"/>
                </a:lnTo>
                <a:lnTo>
                  <a:pt x="132" y="300"/>
                </a:lnTo>
                <a:lnTo>
                  <a:pt x="132" y="300"/>
                </a:lnTo>
                <a:lnTo>
                  <a:pt x="132" y="300"/>
                </a:lnTo>
                <a:lnTo>
                  <a:pt x="132" y="294"/>
                </a:lnTo>
                <a:lnTo>
                  <a:pt x="132" y="288"/>
                </a:lnTo>
                <a:lnTo>
                  <a:pt x="132" y="288"/>
                </a:lnTo>
                <a:lnTo>
                  <a:pt x="132" y="282"/>
                </a:lnTo>
                <a:lnTo>
                  <a:pt x="132" y="282"/>
                </a:lnTo>
                <a:lnTo>
                  <a:pt x="132" y="282"/>
                </a:lnTo>
                <a:lnTo>
                  <a:pt x="132" y="276"/>
                </a:lnTo>
                <a:lnTo>
                  <a:pt x="126" y="276"/>
                </a:lnTo>
                <a:lnTo>
                  <a:pt x="126" y="276"/>
                </a:lnTo>
                <a:lnTo>
                  <a:pt x="126" y="276"/>
                </a:lnTo>
                <a:lnTo>
                  <a:pt x="126" y="276"/>
                </a:lnTo>
                <a:lnTo>
                  <a:pt x="126" y="276"/>
                </a:lnTo>
                <a:lnTo>
                  <a:pt x="126" y="276"/>
                </a:lnTo>
                <a:lnTo>
                  <a:pt x="126" y="270"/>
                </a:lnTo>
                <a:lnTo>
                  <a:pt x="120" y="270"/>
                </a:lnTo>
                <a:lnTo>
                  <a:pt x="120" y="270"/>
                </a:lnTo>
                <a:lnTo>
                  <a:pt x="120" y="270"/>
                </a:lnTo>
                <a:lnTo>
                  <a:pt x="120" y="270"/>
                </a:lnTo>
                <a:lnTo>
                  <a:pt x="114" y="270"/>
                </a:lnTo>
                <a:lnTo>
                  <a:pt x="114" y="270"/>
                </a:lnTo>
                <a:lnTo>
                  <a:pt x="114" y="270"/>
                </a:lnTo>
                <a:lnTo>
                  <a:pt x="114" y="264"/>
                </a:lnTo>
                <a:lnTo>
                  <a:pt x="114" y="264"/>
                </a:lnTo>
                <a:lnTo>
                  <a:pt x="108" y="264"/>
                </a:lnTo>
                <a:lnTo>
                  <a:pt x="108" y="264"/>
                </a:lnTo>
                <a:lnTo>
                  <a:pt x="108" y="264"/>
                </a:lnTo>
                <a:lnTo>
                  <a:pt x="108" y="264"/>
                </a:lnTo>
                <a:lnTo>
                  <a:pt x="108" y="264"/>
                </a:lnTo>
                <a:lnTo>
                  <a:pt x="108" y="264"/>
                </a:lnTo>
                <a:lnTo>
                  <a:pt x="108" y="258"/>
                </a:lnTo>
                <a:lnTo>
                  <a:pt x="108" y="258"/>
                </a:lnTo>
                <a:lnTo>
                  <a:pt x="108" y="258"/>
                </a:lnTo>
                <a:lnTo>
                  <a:pt x="108" y="258"/>
                </a:lnTo>
                <a:lnTo>
                  <a:pt x="108" y="258"/>
                </a:lnTo>
                <a:lnTo>
                  <a:pt x="102" y="258"/>
                </a:lnTo>
                <a:lnTo>
                  <a:pt x="102" y="258"/>
                </a:lnTo>
                <a:lnTo>
                  <a:pt x="102" y="258"/>
                </a:lnTo>
                <a:lnTo>
                  <a:pt x="102" y="252"/>
                </a:lnTo>
                <a:lnTo>
                  <a:pt x="102" y="252"/>
                </a:lnTo>
                <a:lnTo>
                  <a:pt x="102" y="252"/>
                </a:lnTo>
                <a:lnTo>
                  <a:pt x="102" y="252"/>
                </a:lnTo>
                <a:lnTo>
                  <a:pt x="102" y="252"/>
                </a:lnTo>
                <a:lnTo>
                  <a:pt x="102" y="252"/>
                </a:lnTo>
                <a:lnTo>
                  <a:pt x="96" y="246"/>
                </a:lnTo>
                <a:lnTo>
                  <a:pt x="96" y="246"/>
                </a:lnTo>
                <a:lnTo>
                  <a:pt x="96" y="246"/>
                </a:lnTo>
                <a:lnTo>
                  <a:pt x="96" y="246"/>
                </a:lnTo>
                <a:lnTo>
                  <a:pt x="96" y="246"/>
                </a:lnTo>
                <a:lnTo>
                  <a:pt x="90" y="246"/>
                </a:lnTo>
                <a:lnTo>
                  <a:pt x="90" y="246"/>
                </a:lnTo>
                <a:lnTo>
                  <a:pt x="90" y="240"/>
                </a:lnTo>
                <a:lnTo>
                  <a:pt x="90" y="240"/>
                </a:lnTo>
                <a:lnTo>
                  <a:pt x="84" y="240"/>
                </a:lnTo>
                <a:lnTo>
                  <a:pt x="84" y="240"/>
                </a:lnTo>
                <a:lnTo>
                  <a:pt x="84" y="240"/>
                </a:lnTo>
                <a:lnTo>
                  <a:pt x="84" y="234"/>
                </a:lnTo>
                <a:lnTo>
                  <a:pt x="84" y="234"/>
                </a:lnTo>
                <a:lnTo>
                  <a:pt x="78" y="240"/>
                </a:lnTo>
                <a:lnTo>
                  <a:pt x="78" y="234"/>
                </a:lnTo>
                <a:lnTo>
                  <a:pt x="78" y="234"/>
                </a:lnTo>
                <a:lnTo>
                  <a:pt x="78" y="234"/>
                </a:lnTo>
                <a:lnTo>
                  <a:pt x="78" y="234"/>
                </a:lnTo>
                <a:lnTo>
                  <a:pt x="78" y="234"/>
                </a:lnTo>
                <a:lnTo>
                  <a:pt x="72" y="234"/>
                </a:lnTo>
                <a:lnTo>
                  <a:pt x="72" y="228"/>
                </a:lnTo>
                <a:lnTo>
                  <a:pt x="72" y="228"/>
                </a:lnTo>
                <a:lnTo>
                  <a:pt x="72" y="228"/>
                </a:lnTo>
                <a:lnTo>
                  <a:pt x="72" y="222"/>
                </a:lnTo>
                <a:lnTo>
                  <a:pt x="78" y="222"/>
                </a:lnTo>
                <a:lnTo>
                  <a:pt x="72" y="222"/>
                </a:lnTo>
                <a:lnTo>
                  <a:pt x="78" y="216"/>
                </a:lnTo>
                <a:lnTo>
                  <a:pt x="78" y="216"/>
                </a:lnTo>
                <a:lnTo>
                  <a:pt x="72" y="216"/>
                </a:lnTo>
                <a:lnTo>
                  <a:pt x="72" y="216"/>
                </a:lnTo>
                <a:lnTo>
                  <a:pt x="72" y="216"/>
                </a:lnTo>
                <a:lnTo>
                  <a:pt x="72" y="216"/>
                </a:lnTo>
                <a:lnTo>
                  <a:pt x="72" y="210"/>
                </a:lnTo>
                <a:lnTo>
                  <a:pt x="72" y="210"/>
                </a:lnTo>
                <a:lnTo>
                  <a:pt x="72" y="210"/>
                </a:lnTo>
                <a:lnTo>
                  <a:pt x="72" y="210"/>
                </a:lnTo>
                <a:lnTo>
                  <a:pt x="66" y="210"/>
                </a:lnTo>
                <a:lnTo>
                  <a:pt x="66" y="210"/>
                </a:lnTo>
                <a:lnTo>
                  <a:pt x="72" y="210"/>
                </a:lnTo>
                <a:lnTo>
                  <a:pt x="72" y="210"/>
                </a:lnTo>
                <a:lnTo>
                  <a:pt x="66" y="204"/>
                </a:lnTo>
                <a:lnTo>
                  <a:pt x="66" y="204"/>
                </a:lnTo>
                <a:lnTo>
                  <a:pt x="66" y="204"/>
                </a:lnTo>
                <a:lnTo>
                  <a:pt x="66" y="204"/>
                </a:lnTo>
                <a:lnTo>
                  <a:pt x="66" y="198"/>
                </a:lnTo>
                <a:lnTo>
                  <a:pt x="60" y="198"/>
                </a:lnTo>
                <a:lnTo>
                  <a:pt x="66" y="198"/>
                </a:lnTo>
                <a:lnTo>
                  <a:pt x="60" y="192"/>
                </a:lnTo>
                <a:lnTo>
                  <a:pt x="60" y="192"/>
                </a:lnTo>
                <a:lnTo>
                  <a:pt x="54" y="192"/>
                </a:lnTo>
                <a:lnTo>
                  <a:pt x="54" y="192"/>
                </a:lnTo>
                <a:lnTo>
                  <a:pt x="54" y="186"/>
                </a:lnTo>
                <a:lnTo>
                  <a:pt x="54" y="186"/>
                </a:lnTo>
                <a:lnTo>
                  <a:pt x="54" y="186"/>
                </a:lnTo>
                <a:lnTo>
                  <a:pt x="54" y="180"/>
                </a:lnTo>
                <a:lnTo>
                  <a:pt x="54" y="180"/>
                </a:lnTo>
                <a:lnTo>
                  <a:pt x="48" y="180"/>
                </a:lnTo>
                <a:lnTo>
                  <a:pt x="48" y="180"/>
                </a:lnTo>
                <a:lnTo>
                  <a:pt x="48" y="180"/>
                </a:lnTo>
                <a:lnTo>
                  <a:pt x="48" y="174"/>
                </a:lnTo>
                <a:lnTo>
                  <a:pt x="48" y="174"/>
                </a:lnTo>
                <a:lnTo>
                  <a:pt x="48" y="168"/>
                </a:lnTo>
                <a:lnTo>
                  <a:pt x="48" y="168"/>
                </a:lnTo>
                <a:lnTo>
                  <a:pt x="48" y="168"/>
                </a:lnTo>
                <a:lnTo>
                  <a:pt x="48" y="168"/>
                </a:lnTo>
                <a:lnTo>
                  <a:pt x="48" y="168"/>
                </a:lnTo>
                <a:lnTo>
                  <a:pt x="48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62"/>
                </a:lnTo>
                <a:lnTo>
                  <a:pt x="42" y="156"/>
                </a:lnTo>
                <a:lnTo>
                  <a:pt x="42" y="156"/>
                </a:lnTo>
                <a:lnTo>
                  <a:pt x="42" y="156"/>
                </a:lnTo>
                <a:lnTo>
                  <a:pt x="36" y="156"/>
                </a:lnTo>
                <a:lnTo>
                  <a:pt x="36" y="156"/>
                </a:lnTo>
                <a:lnTo>
                  <a:pt x="36" y="150"/>
                </a:lnTo>
                <a:lnTo>
                  <a:pt x="42" y="150"/>
                </a:lnTo>
                <a:lnTo>
                  <a:pt x="42" y="150"/>
                </a:lnTo>
                <a:lnTo>
                  <a:pt x="42" y="150"/>
                </a:lnTo>
                <a:lnTo>
                  <a:pt x="42" y="150"/>
                </a:lnTo>
                <a:lnTo>
                  <a:pt x="36" y="144"/>
                </a:lnTo>
                <a:lnTo>
                  <a:pt x="36" y="144"/>
                </a:lnTo>
                <a:lnTo>
                  <a:pt x="42" y="144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26"/>
                </a:lnTo>
                <a:lnTo>
                  <a:pt x="42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6"/>
                </a:lnTo>
                <a:lnTo>
                  <a:pt x="30" y="120"/>
                </a:lnTo>
                <a:lnTo>
                  <a:pt x="30" y="120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2"/>
                </a:lnTo>
                <a:lnTo>
                  <a:pt x="24" y="102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84"/>
                </a:lnTo>
                <a:lnTo>
                  <a:pt x="18" y="84"/>
                </a:lnTo>
                <a:lnTo>
                  <a:pt x="12" y="84"/>
                </a:lnTo>
                <a:lnTo>
                  <a:pt x="12" y="84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2"/>
                </a:lnTo>
                <a:lnTo>
                  <a:pt x="12" y="72"/>
                </a:lnTo>
                <a:lnTo>
                  <a:pt x="12" y="66"/>
                </a:lnTo>
                <a:lnTo>
                  <a:pt x="12" y="66"/>
                </a:lnTo>
                <a:lnTo>
                  <a:pt x="12" y="60"/>
                </a:lnTo>
                <a:lnTo>
                  <a:pt x="12" y="60"/>
                </a:lnTo>
                <a:lnTo>
                  <a:pt x="12" y="54"/>
                </a:lnTo>
                <a:lnTo>
                  <a:pt x="6" y="54"/>
                </a:lnTo>
                <a:lnTo>
                  <a:pt x="12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0" y="3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93" name="Freeform 526"/>
          <p:cNvSpPr>
            <a:spLocks/>
          </p:cNvSpPr>
          <p:nvPr/>
        </p:nvSpPr>
        <p:spPr bwMode="auto">
          <a:xfrm>
            <a:off x="5714797" y="2676734"/>
            <a:ext cx="468956" cy="488231"/>
          </a:xfrm>
          <a:custGeom>
            <a:avLst/>
            <a:gdLst>
              <a:gd name="T0" fmla="*/ 42 w 438"/>
              <a:gd name="T1" fmla="*/ 84 h 456"/>
              <a:gd name="T2" fmla="*/ 78 w 438"/>
              <a:gd name="T3" fmla="*/ 90 h 456"/>
              <a:gd name="T4" fmla="*/ 114 w 438"/>
              <a:gd name="T5" fmla="*/ 90 h 456"/>
              <a:gd name="T6" fmla="*/ 150 w 438"/>
              <a:gd name="T7" fmla="*/ 48 h 456"/>
              <a:gd name="T8" fmla="*/ 174 w 438"/>
              <a:gd name="T9" fmla="*/ 0 h 456"/>
              <a:gd name="T10" fmla="*/ 204 w 438"/>
              <a:gd name="T11" fmla="*/ 24 h 456"/>
              <a:gd name="T12" fmla="*/ 180 w 438"/>
              <a:gd name="T13" fmla="*/ 54 h 456"/>
              <a:gd name="T14" fmla="*/ 186 w 438"/>
              <a:gd name="T15" fmla="*/ 60 h 456"/>
              <a:gd name="T16" fmla="*/ 198 w 438"/>
              <a:gd name="T17" fmla="*/ 90 h 456"/>
              <a:gd name="T18" fmla="*/ 204 w 438"/>
              <a:gd name="T19" fmla="*/ 126 h 456"/>
              <a:gd name="T20" fmla="*/ 210 w 438"/>
              <a:gd name="T21" fmla="*/ 144 h 456"/>
              <a:gd name="T22" fmla="*/ 204 w 438"/>
              <a:gd name="T23" fmla="*/ 168 h 456"/>
              <a:gd name="T24" fmla="*/ 222 w 438"/>
              <a:gd name="T25" fmla="*/ 192 h 456"/>
              <a:gd name="T26" fmla="*/ 246 w 438"/>
              <a:gd name="T27" fmla="*/ 180 h 456"/>
              <a:gd name="T28" fmla="*/ 300 w 438"/>
              <a:gd name="T29" fmla="*/ 174 h 456"/>
              <a:gd name="T30" fmla="*/ 318 w 438"/>
              <a:gd name="T31" fmla="*/ 162 h 456"/>
              <a:gd name="T32" fmla="*/ 342 w 438"/>
              <a:gd name="T33" fmla="*/ 144 h 456"/>
              <a:gd name="T34" fmla="*/ 360 w 438"/>
              <a:gd name="T35" fmla="*/ 132 h 456"/>
              <a:gd name="T36" fmla="*/ 378 w 438"/>
              <a:gd name="T37" fmla="*/ 126 h 456"/>
              <a:gd name="T38" fmla="*/ 396 w 438"/>
              <a:gd name="T39" fmla="*/ 114 h 456"/>
              <a:gd name="T40" fmla="*/ 408 w 438"/>
              <a:gd name="T41" fmla="*/ 108 h 456"/>
              <a:gd name="T42" fmla="*/ 426 w 438"/>
              <a:gd name="T43" fmla="*/ 102 h 456"/>
              <a:gd name="T44" fmla="*/ 438 w 438"/>
              <a:gd name="T45" fmla="*/ 108 h 456"/>
              <a:gd name="T46" fmla="*/ 432 w 438"/>
              <a:gd name="T47" fmla="*/ 120 h 456"/>
              <a:gd name="T48" fmla="*/ 420 w 438"/>
              <a:gd name="T49" fmla="*/ 120 h 456"/>
              <a:gd name="T50" fmla="*/ 408 w 438"/>
              <a:gd name="T51" fmla="*/ 126 h 456"/>
              <a:gd name="T52" fmla="*/ 390 w 438"/>
              <a:gd name="T53" fmla="*/ 144 h 456"/>
              <a:gd name="T54" fmla="*/ 384 w 438"/>
              <a:gd name="T55" fmla="*/ 156 h 456"/>
              <a:gd name="T56" fmla="*/ 372 w 438"/>
              <a:gd name="T57" fmla="*/ 168 h 456"/>
              <a:gd name="T58" fmla="*/ 366 w 438"/>
              <a:gd name="T59" fmla="*/ 180 h 456"/>
              <a:gd name="T60" fmla="*/ 366 w 438"/>
              <a:gd name="T61" fmla="*/ 204 h 456"/>
              <a:gd name="T62" fmla="*/ 360 w 438"/>
              <a:gd name="T63" fmla="*/ 222 h 456"/>
              <a:gd name="T64" fmla="*/ 348 w 438"/>
              <a:gd name="T65" fmla="*/ 252 h 456"/>
              <a:gd name="T66" fmla="*/ 330 w 438"/>
              <a:gd name="T67" fmla="*/ 276 h 456"/>
              <a:gd name="T68" fmla="*/ 324 w 438"/>
              <a:gd name="T69" fmla="*/ 300 h 456"/>
              <a:gd name="T70" fmla="*/ 324 w 438"/>
              <a:gd name="T71" fmla="*/ 330 h 456"/>
              <a:gd name="T72" fmla="*/ 258 w 438"/>
              <a:gd name="T73" fmla="*/ 330 h 456"/>
              <a:gd name="T74" fmla="*/ 264 w 438"/>
              <a:gd name="T75" fmla="*/ 360 h 456"/>
              <a:gd name="T76" fmla="*/ 246 w 438"/>
              <a:gd name="T77" fmla="*/ 372 h 456"/>
              <a:gd name="T78" fmla="*/ 246 w 438"/>
              <a:gd name="T79" fmla="*/ 390 h 456"/>
              <a:gd name="T80" fmla="*/ 234 w 438"/>
              <a:gd name="T81" fmla="*/ 396 h 456"/>
              <a:gd name="T82" fmla="*/ 216 w 438"/>
              <a:gd name="T83" fmla="*/ 396 h 456"/>
              <a:gd name="T84" fmla="*/ 198 w 438"/>
              <a:gd name="T85" fmla="*/ 408 h 456"/>
              <a:gd name="T86" fmla="*/ 180 w 438"/>
              <a:gd name="T87" fmla="*/ 420 h 456"/>
              <a:gd name="T88" fmla="*/ 174 w 438"/>
              <a:gd name="T89" fmla="*/ 432 h 456"/>
              <a:gd name="T90" fmla="*/ 156 w 438"/>
              <a:gd name="T91" fmla="*/ 444 h 456"/>
              <a:gd name="T92" fmla="*/ 132 w 438"/>
              <a:gd name="T93" fmla="*/ 438 h 456"/>
              <a:gd name="T94" fmla="*/ 114 w 438"/>
              <a:gd name="T95" fmla="*/ 450 h 456"/>
              <a:gd name="T96" fmla="*/ 138 w 438"/>
              <a:gd name="T97" fmla="*/ 414 h 456"/>
              <a:gd name="T98" fmla="*/ 144 w 438"/>
              <a:gd name="T99" fmla="*/ 384 h 456"/>
              <a:gd name="T100" fmla="*/ 132 w 438"/>
              <a:gd name="T101" fmla="*/ 372 h 456"/>
              <a:gd name="T102" fmla="*/ 120 w 438"/>
              <a:gd name="T103" fmla="*/ 372 h 456"/>
              <a:gd name="T104" fmla="*/ 108 w 438"/>
              <a:gd name="T105" fmla="*/ 360 h 456"/>
              <a:gd name="T106" fmla="*/ 102 w 438"/>
              <a:gd name="T107" fmla="*/ 342 h 456"/>
              <a:gd name="T108" fmla="*/ 96 w 438"/>
              <a:gd name="T109" fmla="*/ 330 h 456"/>
              <a:gd name="T110" fmla="*/ 96 w 438"/>
              <a:gd name="T111" fmla="*/ 306 h 456"/>
              <a:gd name="T112" fmla="*/ 84 w 438"/>
              <a:gd name="T113" fmla="*/ 294 h 456"/>
              <a:gd name="T114" fmla="*/ 66 w 438"/>
              <a:gd name="T115" fmla="*/ 258 h 456"/>
              <a:gd name="T116" fmla="*/ 54 w 438"/>
              <a:gd name="T117" fmla="*/ 228 h 456"/>
              <a:gd name="T118" fmla="*/ 48 w 438"/>
              <a:gd name="T119" fmla="*/ 198 h 456"/>
              <a:gd name="T120" fmla="*/ 30 w 438"/>
              <a:gd name="T121" fmla="*/ 162 h 456"/>
              <a:gd name="T122" fmla="*/ 24 w 438"/>
              <a:gd name="T123" fmla="*/ 132 h 456"/>
              <a:gd name="T124" fmla="*/ 0 w 438"/>
              <a:gd name="T125" fmla="*/ 96 h 4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38" h="456">
                <a:moveTo>
                  <a:pt x="0" y="96"/>
                </a:moveTo>
                <a:lnTo>
                  <a:pt x="0" y="96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18" y="90"/>
                </a:lnTo>
                <a:lnTo>
                  <a:pt x="18" y="84"/>
                </a:lnTo>
                <a:lnTo>
                  <a:pt x="24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78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90"/>
                </a:lnTo>
                <a:lnTo>
                  <a:pt x="60" y="90"/>
                </a:lnTo>
                <a:lnTo>
                  <a:pt x="60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90"/>
                </a:lnTo>
                <a:lnTo>
                  <a:pt x="72" y="84"/>
                </a:lnTo>
                <a:lnTo>
                  <a:pt x="78" y="84"/>
                </a:lnTo>
                <a:lnTo>
                  <a:pt x="78" y="84"/>
                </a:lnTo>
                <a:lnTo>
                  <a:pt x="78" y="90"/>
                </a:lnTo>
                <a:lnTo>
                  <a:pt x="78" y="90"/>
                </a:lnTo>
                <a:lnTo>
                  <a:pt x="84" y="90"/>
                </a:lnTo>
                <a:lnTo>
                  <a:pt x="84" y="90"/>
                </a:lnTo>
                <a:lnTo>
                  <a:pt x="90" y="90"/>
                </a:lnTo>
                <a:lnTo>
                  <a:pt x="90" y="90"/>
                </a:lnTo>
                <a:lnTo>
                  <a:pt x="90" y="96"/>
                </a:lnTo>
                <a:lnTo>
                  <a:pt x="90" y="96"/>
                </a:lnTo>
                <a:lnTo>
                  <a:pt x="90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108"/>
                </a:lnTo>
                <a:lnTo>
                  <a:pt x="96" y="114"/>
                </a:lnTo>
                <a:lnTo>
                  <a:pt x="102" y="114"/>
                </a:lnTo>
                <a:lnTo>
                  <a:pt x="102" y="114"/>
                </a:lnTo>
                <a:lnTo>
                  <a:pt x="102" y="114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02"/>
                </a:lnTo>
                <a:lnTo>
                  <a:pt x="114" y="102"/>
                </a:lnTo>
                <a:lnTo>
                  <a:pt x="114" y="96"/>
                </a:lnTo>
                <a:lnTo>
                  <a:pt x="114" y="90"/>
                </a:lnTo>
                <a:lnTo>
                  <a:pt x="120" y="90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6" y="78"/>
                </a:lnTo>
                <a:lnTo>
                  <a:pt x="126" y="78"/>
                </a:lnTo>
                <a:lnTo>
                  <a:pt x="126" y="78"/>
                </a:lnTo>
                <a:lnTo>
                  <a:pt x="132" y="78"/>
                </a:lnTo>
                <a:lnTo>
                  <a:pt x="132" y="78"/>
                </a:lnTo>
                <a:lnTo>
                  <a:pt x="126" y="72"/>
                </a:lnTo>
                <a:lnTo>
                  <a:pt x="126" y="72"/>
                </a:lnTo>
                <a:lnTo>
                  <a:pt x="138" y="72"/>
                </a:lnTo>
                <a:lnTo>
                  <a:pt x="138" y="66"/>
                </a:lnTo>
                <a:lnTo>
                  <a:pt x="132" y="66"/>
                </a:lnTo>
                <a:lnTo>
                  <a:pt x="138" y="66"/>
                </a:lnTo>
                <a:lnTo>
                  <a:pt x="138" y="60"/>
                </a:lnTo>
                <a:lnTo>
                  <a:pt x="138" y="54"/>
                </a:lnTo>
                <a:lnTo>
                  <a:pt x="138" y="54"/>
                </a:lnTo>
                <a:lnTo>
                  <a:pt x="138" y="54"/>
                </a:lnTo>
                <a:lnTo>
                  <a:pt x="138" y="54"/>
                </a:lnTo>
                <a:lnTo>
                  <a:pt x="144" y="54"/>
                </a:lnTo>
                <a:lnTo>
                  <a:pt x="144" y="54"/>
                </a:lnTo>
                <a:lnTo>
                  <a:pt x="144" y="48"/>
                </a:lnTo>
                <a:lnTo>
                  <a:pt x="150" y="48"/>
                </a:lnTo>
                <a:lnTo>
                  <a:pt x="156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36"/>
                </a:lnTo>
                <a:lnTo>
                  <a:pt x="156" y="36"/>
                </a:lnTo>
                <a:lnTo>
                  <a:pt x="162" y="42"/>
                </a:lnTo>
                <a:lnTo>
                  <a:pt x="162" y="42"/>
                </a:lnTo>
                <a:lnTo>
                  <a:pt x="162" y="36"/>
                </a:lnTo>
                <a:lnTo>
                  <a:pt x="168" y="36"/>
                </a:lnTo>
                <a:lnTo>
                  <a:pt x="168" y="36"/>
                </a:lnTo>
                <a:lnTo>
                  <a:pt x="168" y="36"/>
                </a:lnTo>
                <a:lnTo>
                  <a:pt x="168" y="36"/>
                </a:lnTo>
                <a:lnTo>
                  <a:pt x="174" y="30"/>
                </a:lnTo>
                <a:lnTo>
                  <a:pt x="174" y="24"/>
                </a:lnTo>
                <a:lnTo>
                  <a:pt x="174" y="24"/>
                </a:lnTo>
                <a:lnTo>
                  <a:pt x="180" y="18"/>
                </a:lnTo>
                <a:lnTo>
                  <a:pt x="180" y="18"/>
                </a:lnTo>
                <a:lnTo>
                  <a:pt x="174" y="12"/>
                </a:lnTo>
                <a:lnTo>
                  <a:pt x="174" y="12"/>
                </a:lnTo>
                <a:lnTo>
                  <a:pt x="174" y="6"/>
                </a:lnTo>
                <a:lnTo>
                  <a:pt x="174" y="6"/>
                </a:lnTo>
                <a:lnTo>
                  <a:pt x="174" y="6"/>
                </a:lnTo>
                <a:lnTo>
                  <a:pt x="174" y="0"/>
                </a:lnTo>
                <a:lnTo>
                  <a:pt x="174" y="0"/>
                </a:lnTo>
                <a:lnTo>
                  <a:pt x="180" y="6"/>
                </a:lnTo>
                <a:lnTo>
                  <a:pt x="186" y="6"/>
                </a:lnTo>
                <a:lnTo>
                  <a:pt x="186" y="6"/>
                </a:lnTo>
                <a:lnTo>
                  <a:pt x="186" y="6"/>
                </a:lnTo>
                <a:lnTo>
                  <a:pt x="192" y="0"/>
                </a:lnTo>
                <a:lnTo>
                  <a:pt x="192" y="0"/>
                </a:lnTo>
                <a:lnTo>
                  <a:pt x="198" y="0"/>
                </a:lnTo>
                <a:lnTo>
                  <a:pt x="198" y="0"/>
                </a:lnTo>
                <a:lnTo>
                  <a:pt x="198" y="0"/>
                </a:lnTo>
                <a:lnTo>
                  <a:pt x="198" y="6"/>
                </a:lnTo>
                <a:lnTo>
                  <a:pt x="198" y="6"/>
                </a:lnTo>
                <a:lnTo>
                  <a:pt x="204" y="6"/>
                </a:lnTo>
                <a:lnTo>
                  <a:pt x="204" y="12"/>
                </a:lnTo>
                <a:lnTo>
                  <a:pt x="204" y="12"/>
                </a:lnTo>
                <a:lnTo>
                  <a:pt x="204" y="12"/>
                </a:lnTo>
                <a:lnTo>
                  <a:pt x="210" y="12"/>
                </a:lnTo>
                <a:lnTo>
                  <a:pt x="210" y="12"/>
                </a:lnTo>
                <a:lnTo>
                  <a:pt x="216" y="12"/>
                </a:lnTo>
                <a:lnTo>
                  <a:pt x="210" y="18"/>
                </a:lnTo>
                <a:lnTo>
                  <a:pt x="210" y="18"/>
                </a:lnTo>
                <a:lnTo>
                  <a:pt x="210" y="24"/>
                </a:lnTo>
                <a:lnTo>
                  <a:pt x="210" y="24"/>
                </a:lnTo>
                <a:lnTo>
                  <a:pt x="204" y="24"/>
                </a:lnTo>
                <a:lnTo>
                  <a:pt x="204" y="30"/>
                </a:lnTo>
                <a:lnTo>
                  <a:pt x="198" y="30"/>
                </a:lnTo>
                <a:lnTo>
                  <a:pt x="198" y="30"/>
                </a:lnTo>
                <a:lnTo>
                  <a:pt x="198" y="30"/>
                </a:lnTo>
                <a:lnTo>
                  <a:pt x="198" y="36"/>
                </a:lnTo>
                <a:lnTo>
                  <a:pt x="198" y="36"/>
                </a:lnTo>
                <a:lnTo>
                  <a:pt x="198" y="36"/>
                </a:lnTo>
                <a:lnTo>
                  <a:pt x="198" y="36"/>
                </a:lnTo>
                <a:lnTo>
                  <a:pt x="192" y="42"/>
                </a:lnTo>
                <a:lnTo>
                  <a:pt x="192" y="42"/>
                </a:lnTo>
                <a:lnTo>
                  <a:pt x="192" y="42"/>
                </a:lnTo>
                <a:lnTo>
                  <a:pt x="192" y="42"/>
                </a:lnTo>
                <a:lnTo>
                  <a:pt x="192" y="42"/>
                </a:lnTo>
                <a:lnTo>
                  <a:pt x="192" y="42"/>
                </a:lnTo>
                <a:lnTo>
                  <a:pt x="192" y="42"/>
                </a:lnTo>
                <a:lnTo>
                  <a:pt x="186" y="48"/>
                </a:lnTo>
                <a:lnTo>
                  <a:pt x="186" y="48"/>
                </a:lnTo>
                <a:lnTo>
                  <a:pt x="186" y="48"/>
                </a:lnTo>
                <a:lnTo>
                  <a:pt x="186" y="54"/>
                </a:lnTo>
                <a:lnTo>
                  <a:pt x="186" y="54"/>
                </a:lnTo>
                <a:lnTo>
                  <a:pt x="186" y="54"/>
                </a:lnTo>
                <a:lnTo>
                  <a:pt x="186" y="48"/>
                </a:lnTo>
                <a:lnTo>
                  <a:pt x="186" y="48"/>
                </a:lnTo>
                <a:lnTo>
                  <a:pt x="180" y="54"/>
                </a:lnTo>
                <a:lnTo>
                  <a:pt x="180" y="54"/>
                </a:lnTo>
                <a:lnTo>
                  <a:pt x="186" y="54"/>
                </a:lnTo>
                <a:lnTo>
                  <a:pt x="186" y="54"/>
                </a:lnTo>
                <a:lnTo>
                  <a:pt x="186" y="54"/>
                </a:lnTo>
                <a:lnTo>
                  <a:pt x="186" y="54"/>
                </a:lnTo>
                <a:lnTo>
                  <a:pt x="186" y="54"/>
                </a:lnTo>
                <a:lnTo>
                  <a:pt x="186" y="60"/>
                </a:lnTo>
                <a:lnTo>
                  <a:pt x="186" y="60"/>
                </a:lnTo>
                <a:lnTo>
                  <a:pt x="186" y="60"/>
                </a:lnTo>
                <a:lnTo>
                  <a:pt x="186" y="60"/>
                </a:lnTo>
                <a:lnTo>
                  <a:pt x="186" y="60"/>
                </a:lnTo>
                <a:lnTo>
                  <a:pt x="186" y="60"/>
                </a:lnTo>
                <a:lnTo>
                  <a:pt x="186" y="60"/>
                </a:lnTo>
                <a:lnTo>
                  <a:pt x="186" y="60"/>
                </a:lnTo>
                <a:lnTo>
                  <a:pt x="192" y="60"/>
                </a:lnTo>
                <a:lnTo>
                  <a:pt x="186" y="60"/>
                </a:lnTo>
                <a:lnTo>
                  <a:pt x="186" y="60"/>
                </a:lnTo>
                <a:lnTo>
                  <a:pt x="186" y="60"/>
                </a:lnTo>
                <a:lnTo>
                  <a:pt x="192" y="60"/>
                </a:lnTo>
                <a:lnTo>
                  <a:pt x="192" y="60"/>
                </a:lnTo>
                <a:lnTo>
                  <a:pt x="192" y="66"/>
                </a:lnTo>
                <a:lnTo>
                  <a:pt x="192" y="66"/>
                </a:lnTo>
                <a:lnTo>
                  <a:pt x="192" y="60"/>
                </a:lnTo>
                <a:lnTo>
                  <a:pt x="186" y="60"/>
                </a:lnTo>
                <a:lnTo>
                  <a:pt x="186" y="66"/>
                </a:lnTo>
                <a:lnTo>
                  <a:pt x="192" y="66"/>
                </a:lnTo>
                <a:lnTo>
                  <a:pt x="192" y="72"/>
                </a:lnTo>
                <a:lnTo>
                  <a:pt x="192" y="72"/>
                </a:lnTo>
                <a:lnTo>
                  <a:pt x="192" y="72"/>
                </a:lnTo>
                <a:lnTo>
                  <a:pt x="192" y="72"/>
                </a:lnTo>
                <a:lnTo>
                  <a:pt x="186" y="78"/>
                </a:lnTo>
                <a:lnTo>
                  <a:pt x="186" y="78"/>
                </a:lnTo>
                <a:lnTo>
                  <a:pt x="186" y="78"/>
                </a:lnTo>
                <a:lnTo>
                  <a:pt x="192" y="78"/>
                </a:lnTo>
                <a:lnTo>
                  <a:pt x="192" y="78"/>
                </a:lnTo>
                <a:lnTo>
                  <a:pt x="192" y="78"/>
                </a:lnTo>
                <a:lnTo>
                  <a:pt x="192" y="78"/>
                </a:lnTo>
                <a:lnTo>
                  <a:pt x="192" y="84"/>
                </a:lnTo>
                <a:lnTo>
                  <a:pt x="192" y="84"/>
                </a:lnTo>
                <a:lnTo>
                  <a:pt x="192" y="84"/>
                </a:lnTo>
                <a:lnTo>
                  <a:pt x="192" y="84"/>
                </a:lnTo>
                <a:lnTo>
                  <a:pt x="192" y="84"/>
                </a:lnTo>
                <a:lnTo>
                  <a:pt x="192" y="84"/>
                </a:lnTo>
                <a:lnTo>
                  <a:pt x="198" y="90"/>
                </a:lnTo>
                <a:lnTo>
                  <a:pt x="198" y="90"/>
                </a:lnTo>
                <a:lnTo>
                  <a:pt x="198" y="90"/>
                </a:lnTo>
                <a:lnTo>
                  <a:pt x="198" y="90"/>
                </a:lnTo>
                <a:lnTo>
                  <a:pt x="198" y="90"/>
                </a:lnTo>
                <a:lnTo>
                  <a:pt x="198" y="90"/>
                </a:lnTo>
                <a:lnTo>
                  <a:pt x="198" y="90"/>
                </a:lnTo>
                <a:lnTo>
                  <a:pt x="198" y="96"/>
                </a:lnTo>
                <a:lnTo>
                  <a:pt x="204" y="96"/>
                </a:lnTo>
                <a:lnTo>
                  <a:pt x="204" y="96"/>
                </a:lnTo>
                <a:lnTo>
                  <a:pt x="204" y="96"/>
                </a:lnTo>
                <a:lnTo>
                  <a:pt x="204" y="96"/>
                </a:lnTo>
                <a:lnTo>
                  <a:pt x="204" y="102"/>
                </a:lnTo>
                <a:lnTo>
                  <a:pt x="204" y="102"/>
                </a:lnTo>
                <a:lnTo>
                  <a:pt x="204" y="108"/>
                </a:lnTo>
                <a:lnTo>
                  <a:pt x="204" y="108"/>
                </a:lnTo>
                <a:lnTo>
                  <a:pt x="210" y="108"/>
                </a:lnTo>
                <a:lnTo>
                  <a:pt x="210" y="108"/>
                </a:lnTo>
                <a:lnTo>
                  <a:pt x="210" y="108"/>
                </a:lnTo>
                <a:lnTo>
                  <a:pt x="210" y="114"/>
                </a:lnTo>
                <a:lnTo>
                  <a:pt x="210" y="114"/>
                </a:lnTo>
                <a:lnTo>
                  <a:pt x="210" y="114"/>
                </a:lnTo>
                <a:lnTo>
                  <a:pt x="210" y="114"/>
                </a:lnTo>
                <a:lnTo>
                  <a:pt x="210" y="114"/>
                </a:lnTo>
                <a:lnTo>
                  <a:pt x="204" y="114"/>
                </a:lnTo>
                <a:lnTo>
                  <a:pt x="204" y="114"/>
                </a:lnTo>
                <a:lnTo>
                  <a:pt x="204" y="120"/>
                </a:lnTo>
                <a:lnTo>
                  <a:pt x="204" y="120"/>
                </a:lnTo>
                <a:lnTo>
                  <a:pt x="204" y="126"/>
                </a:lnTo>
                <a:lnTo>
                  <a:pt x="204" y="126"/>
                </a:lnTo>
                <a:lnTo>
                  <a:pt x="204" y="126"/>
                </a:lnTo>
                <a:lnTo>
                  <a:pt x="204" y="126"/>
                </a:lnTo>
                <a:lnTo>
                  <a:pt x="204" y="126"/>
                </a:lnTo>
                <a:lnTo>
                  <a:pt x="204" y="126"/>
                </a:lnTo>
                <a:lnTo>
                  <a:pt x="204" y="126"/>
                </a:lnTo>
                <a:lnTo>
                  <a:pt x="204" y="132"/>
                </a:lnTo>
                <a:lnTo>
                  <a:pt x="204" y="132"/>
                </a:lnTo>
                <a:lnTo>
                  <a:pt x="204" y="132"/>
                </a:lnTo>
                <a:lnTo>
                  <a:pt x="204" y="132"/>
                </a:lnTo>
                <a:lnTo>
                  <a:pt x="204" y="138"/>
                </a:lnTo>
                <a:lnTo>
                  <a:pt x="204" y="138"/>
                </a:lnTo>
                <a:lnTo>
                  <a:pt x="204" y="138"/>
                </a:lnTo>
                <a:lnTo>
                  <a:pt x="210" y="138"/>
                </a:lnTo>
                <a:lnTo>
                  <a:pt x="210" y="138"/>
                </a:lnTo>
                <a:lnTo>
                  <a:pt x="210" y="138"/>
                </a:lnTo>
                <a:lnTo>
                  <a:pt x="210" y="138"/>
                </a:lnTo>
                <a:lnTo>
                  <a:pt x="210" y="138"/>
                </a:lnTo>
                <a:lnTo>
                  <a:pt x="210" y="138"/>
                </a:lnTo>
                <a:lnTo>
                  <a:pt x="210" y="138"/>
                </a:lnTo>
                <a:lnTo>
                  <a:pt x="210" y="138"/>
                </a:lnTo>
                <a:lnTo>
                  <a:pt x="210" y="144"/>
                </a:lnTo>
                <a:lnTo>
                  <a:pt x="210" y="144"/>
                </a:lnTo>
                <a:lnTo>
                  <a:pt x="210" y="144"/>
                </a:lnTo>
                <a:lnTo>
                  <a:pt x="210" y="144"/>
                </a:lnTo>
                <a:lnTo>
                  <a:pt x="210" y="144"/>
                </a:lnTo>
                <a:lnTo>
                  <a:pt x="210" y="144"/>
                </a:lnTo>
                <a:lnTo>
                  <a:pt x="210" y="144"/>
                </a:lnTo>
                <a:lnTo>
                  <a:pt x="210" y="144"/>
                </a:lnTo>
                <a:lnTo>
                  <a:pt x="210" y="144"/>
                </a:lnTo>
                <a:lnTo>
                  <a:pt x="210" y="150"/>
                </a:lnTo>
                <a:lnTo>
                  <a:pt x="210" y="150"/>
                </a:lnTo>
                <a:lnTo>
                  <a:pt x="210" y="150"/>
                </a:lnTo>
                <a:lnTo>
                  <a:pt x="210" y="150"/>
                </a:lnTo>
                <a:lnTo>
                  <a:pt x="210" y="156"/>
                </a:lnTo>
                <a:lnTo>
                  <a:pt x="210" y="156"/>
                </a:lnTo>
                <a:lnTo>
                  <a:pt x="210" y="156"/>
                </a:lnTo>
                <a:lnTo>
                  <a:pt x="210" y="162"/>
                </a:lnTo>
                <a:lnTo>
                  <a:pt x="204" y="162"/>
                </a:lnTo>
                <a:lnTo>
                  <a:pt x="204" y="162"/>
                </a:lnTo>
                <a:lnTo>
                  <a:pt x="204" y="162"/>
                </a:lnTo>
                <a:lnTo>
                  <a:pt x="204" y="162"/>
                </a:lnTo>
                <a:lnTo>
                  <a:pt x="204" y="162"/>
                </a:lnTo>
                <a:lnTo>
                  <a:pt x="204" y="162"/>
                </a:lnTo>
                <a:lnTo>
                  <a:pt x="204" y="168"/>
                </a:lnTo>
                <a:lnTo>
                  <a:pt x="204" y="168"/>
                </a:lnTo>
                <a:lnTo>
                  <a:pt x="204" y="168"/>
                </a:lnTo>
                <a:lnTo>
                  <a:pt x="204" y="168"/>
                </a:lnTo>
                <a:lnTo>
                  <a:pt x="204" y="168"/>
                </a:lnTo>
                <a:lnTo>
                  <a:pt x="204" y="168"/>
                </a:lnTo>
                <a:lnTo>
                  <a:pt x="204" y="174"/>
                </a:lnTo>
                <a:lnTo>
                  <a:pt x="204" y="174"/>
                </a:lnTo>
                <a:lnTo>
                  <a:pt x="210" y="174"/>
                </a:lnTo>
                <a:lnTo>
                  <a:pt x="210" y="180"/>
                </a:lnTo>
                <a:lnTo>
                  <a:pt x="210" y="180"/>
                </a:lnTo>
                <a:lnTo>
                  <a:pt x="210" y="180"/>
                </a:lnTo>
                <a:lnTo>
                  <a:pt x="210" y="180"/>
                </a:lnTo>
                <a:lnTo>
                  <a:pt x="216" y="180"/>
                </a:lnTo>
                <a:lnTo>
                  <a:pt x="216" y="180"/>
                </a:lnTo>
                <a:lnTo>
                  <a:pt x="216" y="180"/>
                </a:lnTo>
                <a:lnTo>
                  <a:pt x="216" y="186"/>
                </a:lnTo>
                <a:lnTo>
                  <a:pt x="216" y="186"/>
                </a:lnTo>
                <a:lnTo>
                  <a:pt x="216" y="186"/>
                </a:lnTo>
                <a:lnTo>
                  <a:pt x="216" y="186"/>
                </a:lnTo>
                <a:lnTo>
                  <a:pt x="216" y="186"/>
                </a:lnTo>
                <a:lnTo>
                  <a:pt x="216" y="186"/>
                </a:lnTo>
                <a:lnTo>
                  <a:pt x="216" y="186"/>
                </a:lnTo>
                <a:lnTo>
                  <a:pt x="216" y="192"/>
                </a:lnTo>
                <a:lnTo>
                  <a:pt x="216" y="192"/>
                </a:lnTo>
                <a:lnTo>
                  <a:pt x="216" y="192"/>
                </a:lnTo>
                <a:lnTo>
                  <a:pt x="216" y="192"/>
                </a:lnTo>
                <a:lnTo>
                  <a:pt x="222" y="192"/>
                </a:lnTo>
                <a:lnTo>
                  <a:pt x="222" y="192"/>
                </a:lnTo>
                <a:lnTo>
                  <a:pt x="222" y="192"/>
                </a:lnTo>
                <a:lnTo>
                  <a:pt x="222" y="192"/>
                </a:lnTo>
                <a:lnTo>
                  <a:pt x="222" y="192"/>
                </a:lnTo>
                <a:lnTo>
                  <a:pt x="222" y="192"/>
                </a:lnTo>
                <a:lnTo>
                  <a:pt x="222" y="192"/>
                </a:lnTo>
                <a:lnTo>
                  <a:pt x="222" y="198"/>
                </a:lnTo>
                <a:lnTo>
                  <a:pt x="222" y="198"/>
                </a:lnTo>
                <a:lnTo>
                  <a:pt x="222" y="198"/>
                </a:lnTo>
                <a:lnTo>
                  <a:pt x="222" y="198"/>
                </a:lnTo>
                <a:lnTo>
                  <a:pt x="222" y="198"/>
                </a:lnTo>
                <a:lnTo>
                  <a:pt x="222" y="198"/>
                </a:lnTo>
                <a:lnTo>
                  <a:pt x="228" y="204"/>
                </a:lnTo>
                <a:lnTo>
                  <a:pt x="228" y="204"/>
                </a:lnTo>
                <a:lnTo>
                  <a:pt x="234" y="198"/>
                </a:lnTo>
                <a:lnTo>
                  <a:pt x="228" y="198"/>
                </a:lnTo>
                <a:lnTo>
                  <a:pt x="228" y="192"/>
                </a:lnTo>
                <a:lnTo>
                  <a:pt x="234" y="192"/>
                </a:lnTo>
                <a:lnTo>
                  <a:pt x="234" y="186"/>
                </a:lnTo>
                <a:lnTo>
                  <a:pt x="234" y="186"/>
                </a:lnTo>
                <a:lnTo>
                  <a:pt x="234" y="186"/>
                </a:lnTo>
                <a:lnTo>
                  <a:pt x="240" y="180"/>
                </a:lnTo>
                <a:lnTo>
                  <a:pt x="240" y="180"/>
                </a:lnTo>
                <a:lnTo>
                  <a:pt x="246" y="180"/>
                </a:lnTo>
                <a:lnTo>
                  <a:pt x="246" y="180"/>
                </a:lnTo>
                <a:lnTo>
                  <a:pt x="246" y="174"/>
                </a:lnTo>
                <a:lnTo>
                  <a:pt x="246" y="174"/>
                </a:lnTo>
                <a:lnTo>
                  <a:pt x="246" y="174"/>
                </a:lnTo>
                <a:lnTo>
                  <a:pt x="252" y="174"/>
                </a:lnTo>
                <a:lnTo>
                  <a:pt x="252" y="180"/>
                </a:lnTo>
                <a:lnTo>
                  <a:pt x="252" y="180"/>
                </a:lnTo>
                <a:lnTo>
                  <a:pt x="252" y="180"/>
                </a:lnTo>
                <a:lnTo>
                  <a:pt x="288" y="180"/>
                </a:lnTo>
                <a:lnTo>
                  <a:pt x="288" y="180"/>
                </a:lnTo>
                <a:lnTo>
                  <a:pt x="288" y="180"/>
                </a:lnTo>
                <a:lnTo>
                  <a:pt x="294" y="180"/>
                </a:lnTo>
                <a:lnTo>
                  <a:pt x="288" y="180"/>
                </a:lnTo>
                <a:lnTo>
                  <a:pt x="294" y="180"/>
                </a:lnTo>
                <a:lnTo>
                  <a:pt x="294" y="180"/>
                </a:lnTo>
                <a:lnTo>
                  <a:pt x="294" y="180"/>
                </a:lnTo>
                <a:lnTo>
                  <a:pt x="294" y="174"/>
                </a:lnTo>
                <a:lnTo>
                  <a:pt x="294" y="180"/>
                </a:lnTo>
                <a:lnTo>
                  <a:pt x="300" y="174"/>
                </a:lnTo>
                <a:lnTo>
                  <a:pt x="300" y="174"/>
                </a:lnTo>
                <a:lnTo>
                  <a:pt x="300" y="174"/>
                </a:lnTo>
                <a:lnTo>
                  <a:pt x="300" y="174"/>
                </a:lnTo>
                <a:lnTo>
                  <a:pt x="300" y="174"/>
                </a:lnTo>
                <a:lnTo>
                  <a:pt x="300" y="174"/>
                </a:lnTo>
                <a:lnTo>
                  <a:pt x="306" y="174"/>
                </a:lnTo>
                <a:lnTo>
                  <a:pt x="306" y="174"/>
                </a:lnTo>
                <a:lnTo>
                  <a:pt x="306" y="174"/>
                </a:lnTo>
                <a:lnTo>
                  <a:pt x="306" y="174"/>
                </a:lnTo>
                <a:lnTo>
                  <a:pt x="306" y="174"/>
                </a:lnTo>
                <a:lnTo>
                  <a:pt x="306" y="174"/>
                </a:lnTo>
                <a:lnTo>
                  <a:pt x="312" y="174"/>
                </a:lnTo>
                <a:lnTo>
                  <a:pt x="312" y="174"/>
                </a:lnTo>
                <a:lnTo>
                  <a:pt x="312" y="174"/>
                </a:lnTo>
                <a:lnTo>
                  <a:pt x="312" y="174"/>
                </a:lnTo>
                <a:lnTo>
                  <a:pt x="312" y="174"/>
                </a:lnTo>
                <a:lnTo>
                  <a:pt x="312" y="168"/>
                </a:lnTo>
                <a:lnTo>
                  <a:pt x="312" y="168"/>
                </a:lnTo>
                <a:lnTo>
                  <a:pt x="312" y="168"/>
                </a:lnTo>
                <a:lnTo>
                  <a:pt x="312" y="168"/>
                </a:lnTo>
                <a:lnTo>
                  <a:pt x="312" y="168"/>
                </a:lnTo>
                <a:lnTo>
                  <a:pt x="318" y="168"/>
                </a:lnTo>
                <a:lnTo>
                  <a:pt x="312" y="168"/>
                </a:lnTo>
                <a:lnTo>
                  <a:pt x="318" y="168"/>
                </a:lnTo>
                <a:lnTo>
                  <a:pt x="312" y="162"/>
                </a:lnTo>
                <a:lnTo>
                  <a:pt x="312" y="162"/>
                </a:lnTo>
                <a:lnTo>
                  <a:pt x="312" y="162"/>
                </a:lnTo>
                <a:lnTo>
                  <a:pt x="318" y="162"/>
                </a:lnTo>
                <a:lnTo>
                  <a:pt x="318" y="162"/>
                </a:lnTo>
                <a:lnTo>
                  <a:pt x="318" y="162"/>
                </a:lnTo>
                <a:lnTo>
                  <a:pt x="318" y="156"/>
                </a:lnTo>
                <a:lnTo>
                  <a:pt x="318" y="156"/>
                </a:lnTo>
                <a:lnTo>
                  <a:pt x="318" y="156"/>
                </a:lnTo>
                <a:lnTo>
                  <a:pt x="318" y="156"/>
                </a:lnTo>
                <a:lnTo>
                  <a:pt x="318" y="156"/>
                </a:lnTo>
                <a:lnTo>
                  <a:pt x="324" y="156"/>
                </a:lnTo>
                <a:lnTo>
                  <a:pt x="324" y="156"/>
                </a:lnTo>
                <a:lnTo>
                  <a:pt x="324" y="156"/>
                </a:lnTo>
                <a:lnTo>
                  <a:pt x="330" y="156"/>
                </a:lnTo>
                <a:lnTo>
                  <a:pt x="330" y="156"/>
                </a:lnTo>
                <a:lnTo>
                  <a:pt x="330" y="156"/>
                </a:lnTo>
                <a:lnTo>
                  <a:pt x="330" y="156"/>
                </a:lnTo>
                <a:lnTo>
                  <a:pt x="336" y="156"/>
                </a:lnTo>
                <a:lnTo>
                  <a:pt x="336" y="150"/>
                </a:lnTo>
                <a:lnTo>
                  <a:pt x="336" y="156"/>
                </a:lnTo>
                <a:lnTo>
                  <a:pt x="336" y="150"/>
                </a:lnTo>
                <a:lnTo>
                  <a:pt x="336" y="150"/>
                </a:lnTo>
                <a:lnTo>
                  <a:pt x="342" y="150"/>
                </a:lnTo>
                <a:lnTo>
                  <a:pt x="342" y="150"/>
                </a:lnTo>
                <a:lnTo>
                  <a:pt x="342" y="150"/>
                </a:lnTo>
                <a:lnTo>
                  <a:pt x="342" y="150"/>
                </a:lnTo>
                <a:lnTo>
                  <a:pt x="342" y="150"/>
                </a:lnTo>
                <a:lnTo>
                  <a:pt x="342" y="144"/>
                </a:lnTo>
                <a:lnTo>
                  <a:pt x="342" y="144"/>
                </a:lnTo>
                <a:lnTo>
                  <a:pt x="342" y="144"/>
                </a:lnTo>
                <a:lnTo>
                  <a:pt x="342" y="144"/>
                </a:lnTo>
                <a:lnTo>
                  <a:pt x="342" y="144"/>
                </a:lnTo>
                <a:lnTo>
                  <a:pt x="342" y="144"/>
                </a:lnTo>
                <a:lnTo>
                  <a:pt x="342" y="144"/>
                </a:lnTo>
                <a:lnTo>
                  <a:pt x="342" y="144"/>
                </a:lnTo>
                <a:lnTo>
                  <a:pt x="348" y="138"/>
                </a:lnTo>
                <a:lnTo>
                  <a:pt x="348" y="138"/>
                </a:lnTo>
                <a:lnTo>
                  <a:pt x="348" y="138"/>
                </a:lnTo>
                <a:lnTo>
                  <a:pt x="348" y="138"/>
                </a:lnTo>
                <a:lnTo>
                  <a:pt x="354" y="138"/>
                </a:lnTo>
                <a:lnTo>
                  <a:pt x="354" y="138"/>
                </a:lnTo>
                <a:lnTo>
                  <a:pt x="354" y="138"/>
                </a:lnTo>
                <a:lnTo>
                  <a:pt x="354" y="138"/>
                </a:lnTo>
                <a:lnTo>
                  <a:pt x="354" y="138"/>
                </a:lnTo>
                <a:lnTo>
                  <a:pt x="354" y="138"/>
                </a:lnTo>
                <a:lnTo>
                  <a:pt x="354" y="138"/>
                </a:lnTo>
                <a:lnTo>
                  <a:pt x="360" y="138"/>
                </a:lnTo>
                <a:lnTo>
                  <a:pt x="360" y="138"/>
                </a:lnTo>
                <a:lnTo>
                  <a:pt x="360" y="132"/>
                </a:lnTo>
                <a:lnTo>
                  <a:pt x="360" y="132"/>
                </a:lnTo>
                <a:lnTo>
                  <a:pt x="360" y="132"/>
                </a:lnTo>
                <a:lnTo>
                  <a:pt x="360" y="132"/>
                </a:lnTo>
                <a:lnTo>
                  <a:pt x="366" y="132"/>
                </a:lnTo>
                <a:lnTo>
                  <a:pt x="366" y="132"/>
                </a:lnTo>
                <a:lnTo>
                  <a:pt x="366" y="132"/>
                </a:lnTo>
                <a:lnTo>
                  <a:pt x="366" y="132"/>
                </a:lnTo>
                <a:lnTo>
                  <a:pt x="366" y="132"/>
                </a:lnTo>
                <a:lnTo>
                  <a:pt x="366" y="132"/>
                </a:lnTo>
                <a:lnTo>
                  <a:pt x="372" y="132"/>
                </a:lnTo>
                <a:lnTo>
                  <a:pt x="372" y="132"/>
                </a:lnTo>
                <a:lnTo>
                  <a:pt x="372" y="126"/>
                </a:lnTo>
                <a:lnTo>
                  <a:pt x="372" y="132"/>
                </a:lnTo>
                <a:lnTo>
                  <a:pt x="372" y="132"/>
                </a:lnTo>
                <a:lnTo>
                  <a:pt x="372" y="126"/>
                </a:lnTo>
                <a:lnTo>
                  <a:pt x="372" y="126"/>
                </a:lnTo>
                <a:lnTo>
                  <a:pt x="372" y="126"/>
                </a:lnTo>
                <a:lnTo>
                  <a:pt x="378" y="126"/>
                </a:lnTo>
                <a:lnTo>
                  <a:pt x="378" y="126"/>
                </a:lnTo>
                <a:lnTo>
                  <a:pt x="378" y="126"/>
                </a:lnTo>
                <a:lnTo>
                  <a:pt x="378" y="126"/>
                </a:lnTo>
                <a:lnTo>
                  <a:pt x="378" y="126"/>
                </a:lnTo>
                <a:lnTo>
                  <a:pt x="378" y="126"/>
                </a:lnTo>
                <a:lnTo>
                  <a:pt x="378" y="126"/>
                </a:lnTo>
                <a:lnTo>
                  <a:pt x="378" y="126"/>
                </a:lnTo>
                <a:lnTo>
                  <a:pt x="378" y="126"/>
                </a:lnTo>
                <a:lnTo>
                  <a:pt x="378" y="126"/>
                </a:lnTo>
                <a:lnTo>
                  <a:pt x="378" y="126"/>
                </a:lnTo>
                <a:lnTo>
                  <a:pt x="384" y="126"/>
                </a:lnTo>
                <a:lnTo>
                  <a:pt x="384" y="126"/>
                </a:lnTo>
                <a:lnTo>
                  <a:pt x="384" y="126"/>
                </a:lnTo>
                <a:lnTo>
                  <a:pt x="384" y="126"/>
                </a:lnTo>
                <a:lnTo>
                  <a:pt x="384" y="126"/>
                </a:lnTo>
                <a:lnTo>
                  <a:pt x="384" y="126"/>
                </a:lnTo>
                <a:lnTo>
                  <a:pt x="384" y="126"/>
                </a:lnTo>
                <a:lnTo>
                  <a:pt x="384" y="126"/>
                </a:lnTo>
                <a:lnTo>
                  <a:pt x="384" y="120"/>
                </a:lnTo>
                <a:lnTo>
                  <a:pt x="384" y="126"/>
                </a:lnTo>
                <a:lnTo>
                  <a:pt x="384" y="120"/>
                </a:lnTo>
                <a:lnTo>
                  <a:pt x="390" y="120"/>
                </a:lnTo>
                <a:lnTo>
                  <a:pt x="390" y="120"/>
                </a:lnTo>
                <a:lnTo>
                  <a:pt x="390" y="120"/>
                </a:lnTo>
                <a:lnTo>
                  <a:pt x="390" y="120"/>
                </a:lnTo>
                <a:lnTo>
                  <a:pt x="390" y="114"/>
                </a:lnTo>
                <a:lnTo>
                  <a:pt x="390" y="114"/>
                </a:lnTo>
                <a:lnTo>
                  <a:pt x="390" y="114"/>
                </a:lnTo>
                <a:lnTo>
                  <a:pt x="390" y="114"/>
                </a:lnTo>
                <a:lnTo>
                  <a:pt x="390" y="114"/>
                </a:lnTo>
                <a:lnTo>
                  <a:pt x="396" y="114"/>
                </a:lnTo>
                <a:lnTo>
                  <a:pt x="396" y="114"/>
                </a:lnTo>
                <a:lnTo>
                  <a:pt x="396" y="114"/>
                </a:lnTo>
                <a:lnTo>
                  <a:pt x="396" y="114"/>
                </a:lnTo>
                <a:lnTo>
                  <a:pt x="396" y="114"/>
                </a:lnTo>
                <a:lnTo>
                  <a:pt x="396" y="114"/>
                </a:lnTo>
                <a:lnTo>
                  <a:pt x="396" y="114"/>
                </a:lnTo>
                <a:lnTo>
                  <a:pt x="396" y="114"/>
                </a:lnTo>
                <a:lnTo>
                  <a:pt x="396" y="114"/>
                </a:lnTo>
                <a:lnTo>
                  <a:pt x="396" y="114"/>
                </a:lnTo>
                <a:lnTo>
                  <a:pt x="396" y="114"/>
                </a:lnTo>
                <a:lnTo>
                  <a:pt x="396" y="114"/>
                </a:lnTo>
                <a:lnTo>
                  <a:pt x="402" y="114"/>
                </a:lnTo>
                <a:lnTo>
                  <a:pt x="402" y="114"/>
                </a:lnTo>
                <a:lnTo>
                  <a:pt x="402" y="114"/>
                </a:lnTo>
                <a:lnTo>
                  <a:pt x="402" y="114"/>
                </a:lnTo>
                <a:lnTo>
                  <a:pt x="402" y="108"/>
                </a:lnTo>
                <a:lnTo>
                  <a:pt x="402" y="108"/>
                </a:lnTo>
                <a:lnTo>
                  <a:pt x="402" y="108"/>
                </a:lnTo>
                <a:lnTo>
                  <a:pt x="402" y="108"/>
                </a:lnTo>
                <a:lnTo>
                  <a:pt x="408" y="108"/>
                </a:lnTo>
                <a:lnTo>
                  <a:pt x="408" y="108"/>
                </a:lnTo>
                <a:lnTo>
                  <a:pt x="402" y="108"/>
                </a:lnTo>
                <a:lnTo>
                  <a:pt x="408" y="108"/>
                </a:lnTo>
                <a:lnTo>
                  <a:pt x="408" y="108"/>
                </a:lnTo>
                <a:lnTo>
                  <a:pt x="408" y="108"/>
                </a:lnTo>
                <a:lnTo>
                  <a:pt x="408" y="108"/>
                </a:lnTo>
                <a:lnTo>
                  <a:pt x="408" y="108"/>
                </a:lnTo>
                <a:lnTo>
                  <a:pt x="408" y="108"/>
                </a:lnTo>
                <a:lnTo>
                  <a:pt x="408" y="108"/>
                </a:lnTo>
                <a:lnTo>
                  <a:pt x="414" y="108"/>
                </a:lnTo>
                <a:lnTo>
                  <a:pt x="414" y="108"/>
                </a:lnTo>
                <a:lnTo>
                  <a:pt x="414" y="108"/>
                </a:lnTo>
                <a:lnTo>
                  <a:pt x="414" y="108"/>
                </a:lnTo>
                <a:lnTo>
                  <a:pt x="414" y="108"/>
                </a:lnTo>
                <a:lnTo>
                  <a:pt x="414" y="108"/>
                </a:lnTo>
                <a:lnTo>
                  <a:pt x="414" y="108"/>
                </a:lnTo>
                <a:lnTo>
                  <a:pt x="414" y="108"/>
                </a:lnTo>
                <a:lnTo>
                  <a:pt x="414" y="108"/>
                </a:lnTo>
                <a:lnTo>
                  <a:pt x="414" y="108"/>
                </a:lnTo>
                <a:lnTo>
                  <a:pt x="420" y="102"/>
                </a:lnTo>
                <a:lnTo>
                  <a:pt x="420" y="102"/>
                </a:lnTo>
                <a:lnTo>
                  <a:pt x="420" y="102"/>
                </a:lnTo>
                <a:lnTo>
                  <a:pt x="420" y="102"/>
                </a:lnTo>
                <a:lnTo>
                  <a:pt x="420" y="102"/>
                </a:lnTo>
                <a:lnTo>
                  <a:pt x="420" y="108"/>
                </a:lnTo>
                <a:lnTo>
                  <a:pt x="420" y="102"/>
                </a:lnTo>
                <a:lnTo>
                  <a:pt x="426" y="102"/>
                </a:lnTo>
                <a:lnTo>
                  <a:pt x="426" y="102"/>
                </a:lnTo>
                <a:lnTo>
                  <a:pt x="426" y="102"/>
                </a:lnTo>
                <a:lnTo>
                  <a:pt x="426" y="102"/>
                </a:lnTo>
                <a:lnTo>
                  <a:pt x="426" y="102"/>
                </a:lnTo>
                <a:lnTo>
                  <a:pt x="432" y="102"/>
                </a:lnTo>
                <a:lnTo>
                  <a:pt x="432" y="102"/>
                </a:lnTo>
                <a:lnTo>
                  <a:pt x="432" y="102"/>
                </a:lnTo>
                <a:lnTo>
                  <a:pt x="432" y="102"/>
                </a:lnTo>
                <a:lnTo>
                  <a:pt x="432" y="102"/>
                </a:lnTo>
                <a:lnTo>
                  <a:pt x="432" y="102"/>
                </a:lnTo>
                <a:lnTo>
                  <a:pt x="432" y="102"/>
                </a:lnTo>
                <a:lnTo>
                  <a:pt x="432" y="102"/>
                </a:lnTo>
                <a:lnTo>
                  <a:pt x="432" y="102"/>
                </a:lnTo>
                <a:lnTo>
                  <a:pt x="432" y="102"/>
                </a:lnTo>
                <a:lnTo>
                  <a:pt x="432" y="102"/>
                </a:lnTo>
                <a:lnTo>
                  <a:pt x="432" y="102"/>
                </a:lnTo>
                <a:lnTo>
                  <a:pt x="438" y="102"/>
                </a:lnTo>
                <a:lnTo>
                  <a:pt x="438" y="102"/>
                </a:lnTo>
                <a:lnTo>
                  <a:pt x="438" y="102"/>
                </a:lnTo>
                <a:lnTo>
                  <a:pt x="438" y="102"/>
                </a:lnTo>
                <a:lnTo>
                  <a:pt x="438" y="102"/>
                </a:lnTo>
                <a:lnTo>
                  <a:pt x="438" y="108"/>
                </a:lnTo>
                <a:lnTo>
                  <a:pt x="438" y="102"/>
                </a:lnTo>
                <a:lnTo>
                  <a:pt x="438" y="108"/>
                </a:lnTo>
                <a:lnTo>
                  <a:pt x="438" y="108"/>
                </a:lnTo>
                <a:lnTo>
                  <a:pt x="438" y="108"/>
                </a:lnTo>
                <a:lnTo>
                  <a:pt x="438" y="108"/>
                </a:lnTo>
                <a:lnTo>
                  <a:pt x="438" y="108"/>
                </a:lnTo>
                <a:lnTo>
                  <a:pt x="438" y="108"/>
                </a:lnTo>
                <a:lnTo>
                  <a:pt x="438" y="108"/>
                </a:lnTo>
                <a:lnTo>
                  <a:pt x="432" y="114"/>
                </a:lnTo>
                <a:lnTo>
                  <a:pt x="432" y="114"/>
                </a:lnTo>
                <a:lnTo>
                  <a:pt x="432" y="114"/>
                </a:lnTo>
                <a:lnTo>
                  <a:pt x="432" y="114"/>
                </a:lnTo>
                <a:lnTo>
                  <a:pt x="432" y="114"/>
                </a:lnTo>
                <a:lnTo>
                  <a:pt x="432" y="114"/>
                </a:lnTo>
                <a:lnTo>
                  <a:pt x="432" y="114"/>
                </a:lnTo>
                <a:lnTo>
                  <a:pt x="432" y="114"/>
                </a:lnTo>
                <a:lnTo>
                  <a:pt x="432" y="114"/>
                </a:lnTo>
                <a:lnTo>
                  <a:pt x="432" y="114"/>
                </a:lnTo>
                <a:lnTo>
                  <a:pt x="432" y="114"/>
                </a:lnTo>
                <a:lnTo>
                  <a:pt x="432" y="114"/>
                </a:lnTo>
                <a:lnTo>
                  <a:pt x="432" y="114"/>
                </a:lnTo>
                <a:lnTo>
                  <a:pt x="432" y="120"/>
                </a:lnTo>
                <a:lnTo>
                  <a:pt x="432" y="114"/>
                </a:lnTo>
                <a:lnTo>
                  <a:pt x="432" y="120"/>
                </a:lnTo>
                <a:lnTo>
                  <a:pt x="432" y="120"/>
                </a:lnTo>
                <a:lnTo>
                  <a:pt x="432" y="120"/>
                </a:lnTo>
                <a:lnTo>
                  <a:pt x="432" y="120"/>
                </a:lnTo>
                <a:lnTo>
                  <a:pt x="432" y="120"/>
                </a:lnTo>
                <a:lnTo>
                  <a:pt x="432" y="120"/>
                </a:lnTo>
                <a:lnTo>
                  <a:pt x="432" y="120"/>
                </a:lnTo>
                <a:lnTo>
                  <a:pt x="432" y="120"/>
                </a:lnTo>
                <a:lnTo>
                  <a:pt x="426" y="120"/>
                </a:lnTo>
                <a:lnTo>
                  <a:pt x="426" y="120"/>
                </a:lnTo>
                <a:lnTo>
                  <a:pt x="426" y="120"/>
                </a:lnTo>
                <a:lnTo>
                  <a:pt x="426" y="120"/>
                </a:lnTo>
                <a:lnTo>
                  <a:pt x="426" y="120"/>
                </a:lnTo>
                <a:lnTo>
                  <a:pt x="426" y="120"/>
                </a:lnTo>
                <a:lnTo>
                  <a:pt x="426" y="120"/>
                </a:lnTo>
                <a:lnTo>
                  <a:pt x="420" y="126"/>
                </a:lnTo>
                <a:lnTo>
                  <a:pt x="420" y="120"/>
                </a:lnTo>
                <a:lnTo>
                  <a:pt x="426" y="120"/>
                </a:lnTo>
                <a:lnTo>
                  <a:pt x="420" y="120"/>
                </a:lnTo>
                <a:lnTo>
                  <a:pt x="420" y="120"/>
                </a:lnTo>
                <a:lnTo>
                  <a:pt x="420" y="120"/>
                </a:lnTo>
                <a:lnTo>
                  <a:pt x="420" y="120"/>
                </a:lnTo>
                <a:lnTo>
                  <a:pt x="420" y="120"/>
                </a:lnTo>
                <a:lnTo>
                  <a:pt x="420" y="120"/>
                </a:lnTo>
                <a:lnTo>
                  <a:pt x="420" y="120"/>
                </a:lnTo>
                <a:lnTo>
                  <a:pt x="420" y="120"/>
                </a:lnTo>
                <a:lnTo>
                  <a:pt x="420" y="120"/>
                </a:lnTo>
                <a:lnTo>
                  <a:pt x="420" y="120"/>
                </a:lnTo>
                <a:lnTo>
                  <a:pt x="420" y="120"/>
                </a:lnTo>
                <a:lnTo>
                  <a:pt x="420" y="120"/>
                </a:lnTo>
                <a:lnTo>
                  <a:pt x="420" y="120"/>
                </a:lnTo>
                <a:lnTo>
                  <a:pt x="414" y="120"/>
                </a:lnTo>
                <a:lnTo>
                  <a:pt x="414" y="120"/>
                </a:lnTo>
                <a:lnTo>
                  <a:pt x="414" y="120"/>
                </a:lnTo>
                <a:lnTo>
                  <a:pt x="414" y="120"/>
                </a:lnTo>
                <a:lnTo>
                  <a:pt x="414" y="120"/>
                </a:lnTo>
                <a:lnTo>
                  <a:pt x="414" y="120"/>
                </a:lnTo>
                <a:lnTo>
                  <a:pt x="414" y="120"/>
                </a:lnTo>
                <a:lnTo>
                  <a:pt x="414" y="120"/>
                </a:lnTo>
                <a:lnTo>
                  <a:pt x="414" y="120"/>
                </a:lnTo>
                <a:lnTo>
                  <a:pt x="414" y="120"/>
                </a:lnTo>
                <a:lnTo>
                  <a:pt x="414" y="126"/>
                </a:lnTo>
                <a:lnTo>
                  <a:pt x="414" y="126"/>
                </a:lnTo>
                <a:lnTo>
                  <a:pt x="414" y="126"/>
                </a:lnTo>
                <a:lnTo>
                  <a:pt x="414" y="126"/>
                </a:lnTo>
                <a:lnTo>
                  <a:pt x="414" y="126"/>
                </a:lnTo>
                <a:lnTo>
                  <a:pt x="414" y="126"/>
                </a:lnTo>
                <a:lnTo>
                  <a:pt x="408" y="126"/>
                </a:lnTo>
                <a:lnTo>
                  <a:pt x="408" y="126"/>
                </a:lnTo>
                <a:lnTo>
                  <a:pt x="408" y="126"/>
                </a:lnTo>
                <a:lnTo>
                  <a:pt x="408" y="126"/>
                </a:lnTo>
                <a:lnTo>
                  <a:pt x="408" y="126"/>
                </a:lnTo>
                <a:lnTo>
                  <a:pt x="408" y="126"/>
                </a:lnTo>
                <a:lnTo>
                  <a:pt x="408" y="126"/>
                </a:lnTo>
                <a:lnTo>
                  <a:pt x="408" y="126"/>
                </a:lnTo>
                <a:lnTo>
                  <a:pt x="408" y="126"/>
                </a:lnTo>
                <a:lnTo>
                  <a:pt x="408" y="126"/>
                </a:lnTo>
                <a:lnTo>
                  <a:pt x="402" y="132"/>
                </a:lnTo>
                <a:lnTo>
                  <a:pt x="402" y="132"/>
                </a:lnTo>
                <a:lnTo>
                  <a:pt x="402" y="132"/>
                </a:lnTo>
                <a:lnTo>
                  <a:pt x="402" y="132"/>
                </a:lnTo>
                <a:lnTo>
                  <a:pt x="402" y="132"/>
                </a:lnTo>
                <a:lnTo>
                  <a:pt x="402" y="132"/>
                </a:lnTo>
                <a:lnTo>
                  <a:pt x="402" y="132"/>
                </a:lnTo>
                <a:lnTo>
                  <a:pt x="402" y="132"/>
                </a:lnTo>
                <a:lnTo>
                  <a:pt x="402" y="138"/>
                </a:lnTo>
                <a:lnTo>
                  <a:pt x="402" y="138"/>
                </a:lnTo>
                <a:lnTo>
                  <a:pt x="402" y="138"/>
                </a:lnTo>
                <a:lnTo>
                  <a:pt x="402" y="138"/>
                </a:lnTo>
                <a:lnTo>
                  <a:pt x="396" y="138"/>
                </a:lnTo>
                <a:lnTo>
                  <a:pt x="396" y="138"/>
                </a:lnTo>
                <a:lnTo>
                  <a:pt x="396" y="138"/>
                </a:lnTo>
                <a:lnTo>
                  <a:pt x="396" y="138"/>
                </a:lnTo>
                <a:lnTo>
                  <a:pt x="396" y="138"/>
                </a:lnTo>
                <a:lnTo>
                  <a:pt x="396" y="138"/>
                </a:lnTo>
                <a:lnTo>
                  <a:pt x="396" y="138"/>
                </a:lnTo>
                <a:lnTo>
                  <a:pt x="396" y="138"/>
                </a:lnTo>
                <a:lnTo>
                  <a:pt x="390" y="144"/>
                </a:lnTo>
                <a:lnTo>
                  <a:pt x="390" y="144"/>
                </a:lnTo>
                <a:lnTo>
                  <a:pt x="390" y="144"/>
                </a:lnTo>
                <a:lnTo>
                  <a:pt x="390" y="144"/>
                </a:lnTo>
                <a:lnTo>
                  <a:pt x="390" y="144"/>
                </a:lnTo>
                <a:lnTo>
                  <a:pt x="390" y="144"/>
                </a:lnTo>
                <a:lnTo>
                  <a:pt x="390" y="144"/>
                </a:lnTo>
                <a:lnTo>
                  <a:pt x="390" y="144"/>
                </a:lnTo>
                <a:lnTo>
                  <a:pt x="390" y="144"/>
                </a:lnTo>
                <a:lnTo>
                  <a:pt x="390" y="144"/>
                </a:lnTo>
                <a:lnTo>
                  <a:pt x="390" y="144"/>
                </a:lnTo>
                <a:lnTo>
                  <a:pt x="390" y="150"/>
                </a:lnTo>
                <a:lnTo>
                  <a:pt x="390" y="150"/>
                </a:lnTo>
                <a:lnTo>
                  <a:pt x="390" y="150"/>
                </a:lnTo>
                <a:lnTo>
                  <a:pt x="390" y="150"/>
                </a:lnTo>
                <a:lnTo>
                  <a:pt x="390" y="150"/>
                </a:lnTo>
                <a:lnTo>
                  <a:pt x="390" y="150"/>
                </a:lnTo>
                <a:lnTo>
                  <a:pt x="390" y="150"/>
                </a:lnTo>
                <a:lnTo>
                  <a:pt x="390" y="150"/>
                </a:lnTo>
                <a:lnTo>
                  <a:pt x="390" y="156"/>
                </a:lnTo>
                <a:lnTo>
                  <a:pt x="390" y="156"/>
                </a:lnTo>
                <a:lnTo>
                  <a:pt x="390" y="156"/>
                </a:lnTo>
                <a:lnTo>
                  <a:pt x="390" y="156"/>
                </a:lnTo>
                <a:lnTo>
                  <a:pt x="390" y="156"/>
                </a:lnTo>
                <a:lnTo>
                  <a:pt x="384" y="156"/>
                </a:lnTo>
                <a:lnTo>
                  <a:pt x="384" y="156"/>
                </a:lnTo>
                <a:lnTo>
                  <a:pt x="384" y="156"/>
                </a:lnTo>
                <a:lnTo>
                  <a:pt x="384" y="156"/>
                </a:lnTo>
                <a:lnTo>
                  <a:pt x="384" y="156"/>
                </a:lnTo>
                <a:lnTo>
                  <a:pt x="384" y="162"/>
                </a:lnTo>
                <a:lnTo>
                  <a:pt x="384" y="162"/>
                </a:lnTo>
                <a:lnTo>
                  <a:pt x="384" y="162"/>
                </a:lnTo>
                <a:lnTo>
                  <a:pt x="384" y="162"/>
                </a:lnTo>
                <a:lnTo>
                  <a:pt x="384" y="162"/>
                </a:lnTo>
                <a:lnTo>
                  <a:pt x="384" y="162"/>
                </a:lnTo>
                <a:lnTo>
                  <a:pt x="384" y="162"/>
                </a:lnTo>
                <a:lnTo>
                  <a:pt x="378" y="162"/>
                </a:lnTo>
                <a:lnTo>
                  <a:pt x="378" y="162"/>
                </a:lnTo>
                <a:lnTo>
                  <a:pt x="378" y="162"/>
                </a:lnTo>
                <a:lnTo>
                  <a:pt x="378" y="162"/>
                </a:lnTo>
                <a:lnTo>
                  <a:pt x="378" y="162"/>
                </a:lnTo>
                <a:lnTo>
                  <a:pt x="378" y="162"/>
                </a:lnTo>
                <a:lnTo>
                  <a:pt x="378" y="162"/>
                </a:lnTo>
                <a:lnTo>
                  <a:pt x="378" y="162"/>
                </a:lnTo>
                <a:lnTo>
                  <a:pt x="372" y="162"/>
                </a:lnTo>
                <a:lnTo>
                  <a:pt x="372" y="168"/>
                </a:lnTo>
                <a:lnTo>
                  <a:pt x="372" y="168"/>
                </a:lnTo>
                <a:lnTo>
                  <a:pt x="372" y="168"/>
                </a:lnTo>
                <a:lnTo>
                  <a:pt x="372" y="168"/>
                </a:lnTo>
                <a:lnTo>
                  <a:pt x="372" y="168"/>
                </a:lnTo>
                <a:lnTo>
                  <a:pt x="372" y="168"/>
                </a:lnTo>
                <a:lnTo>
                  <a:pt x="372" y="168"/>
                </a:lnTo>
                <a:lnTo>
                  <a:pt x="372" y="168"/>
                </a:lnTo>
                <a:lnTo>
                  <a:pt x="372" y="168"/>
                </a:lnTo>
                <a:lnTo>
                  <a:pt x="372" y="168"/>
                </a:lnTo>
                <a:lnTo>
                  <a:pt x="372" y="174"/>
                </a:lnTo>
                <a:lnTo>
                  <a:pt x="372" y="174"/>
                </a:lnTo>
                <a:lnTo>
                  <a:pt x="372" y="174"/>
                </a:lnTo>
                <a:lnTo>
                  <a:pt x="372" y="174"/>
                </a:lnTo>
                <a:lnTo>
                  <a:pt x="366" y="174"/>
                </a:lnTo>
                <a:lnTo>
                  <a:pt x="366" y="174"/>
                </a:lnTo>
                <a:lnTo>
                  <a:pt x="366" y="174"/>
                </a:lnTo>
                <a:lnTo>
                  <a:pt x="366" y="174"/>
                </a:lnTo>
                <a:lnTo>
                  <a:pt x="372" y="180"/>
                </a:lnTo>
                <a:lnTo>
                  <a:pt x="366" y="180"/>
                </a:lnTo>
                <a:lnTo>
                  <a:pt x="366" y="180"/>
                </a:lnTo>
                <a:lnTo>
                  <a:pt x="366" y="180"/>
                </a:lnTo>
                <a:lnTo>
                  <a:pt x="366" y="180"/>
                </a:lnTo>
                <a:lnTo>
                  <a:pt x="366" y="180"/>
                </a:lnTo>
                <a:lnTo>
                  <a:pt x="366" y="180"/>
                </a:lnTo>
                <a:lnTo>
                  <a:pt x="366" y="180"/>
                </a:lnTo>
                <a:lnTo>
                  <a:pt x="366" y="180"/>
                </a:lnTo>
                <a:lnTo>
                  <a:pt x="366" y="180"/>
                </a:lnTo>
                <a:lnTo>
                  <a:pt x="366" y="186"/>
                </a:lnTo>
                <a:lnTo>
                  <a:pt x="366" y="186"/>
                </a:lnTo>
                <a:lnTo>
                  <a:pt x="366" y="186"/>
                </a:lnTo>
                <a:lnTo>
                  <a:pt x="366" y="186"/>
                </a:lnTo>
                <a:lnTo>
                  <a:pt x="366" y="186"/>
                </a:lnTo>
                <a:lnTo>
                  <a:pt x="366" y="186"/>
                </a:lnTo>
                <a:lnTo>
                  <a:pt x="366" y="186"/>
                </a:lnTo>
                <a:lnTo>
                  <a:pt x="366" y="186"/>
                </a:lnTo>
                <a:lnTo>
                  <a:pt x="366" y="186"/>
                </a:lnTo>
                <a:lnTo>
                  <a:pt x="366" y="186"/>
                </a:lnTo>
                <a:lnTo>
                  <a:pt x="366" y="186"/>
                </a:lnTo>
                <a:lnTo>
                  <a:pt x="366" y="186"/>
                </a:lnTo>
                <a:lnTo>
                  <a:pt x="366" y="192"/>
                </a:lnTo>
                <a:lnTo>
                  <a:pt x="366" y="192"/>
                </a:lnTo>
                <a:lnTo>
                  <a:pt x="366" y="192"/>
                </a:lnTo>
                <a:lnTo>
                  <a:pt x="366" y="192"/>
                </a:lnTo>
                <a:lnTo>
                  <a:pt x="366" y="192"/>
                </a:lnTo>
                <a:lnTo>
                  <a:pt x="366" y="192"/>
                </a:lnTo>
                <a:lnTo>
                  <a:pt x="366" y="198"/>
                </a:lnTo>
                <a:lnTo>
                  <a:pt x="366" y="198"/>
                </a:lnTo>
                <a:lnTo>
                  <a:pt x="366" y="198"/>
                </a:lnTo>
                <a:lnTo>
                  <a:pt x="366" y="198"/>
                </a:lnTo>
                <a:lnTo>
                  <a:pt x="366" y="198"/>
                </a:lnTo>
                <a:lnTo>
                  <a:pt x="366" y="204"/>
                </a:lnTo>
                <a:lnTo>
                  <a:pt x="366" y="204"/>
                </a:lnTo>
                <a:lnTo>
                  <a:pt x="366" y="204"/>
                </a:lnTo>
                <a:lnTo>
                  <a:pt x="366" y="204"/>
                </a:lnTo>
                <a:lnTo>
                  <a:pt x="366" y="204"/>
                </a:lnTo>
                <a:lnTo>
                  <a:pt x="366" y="204"/>
                </a:lnTo>
                <a:lnTo>
                  <a:pt x="366" y="204"/>
                </a:lnTo>
                <a:lnTo>
                  <a:pt x="366" y="210"/>
                </a:lnTo>
                <a:lnTo>
                  <a:pt x="366" y="210"/>
                </a:lnTo>
                <a:lnTo>
                  <a:pt x="366" y="210"/>
                </a:lnTo>
                <a:lnTo>
                  <a:pt x="366" y="210"/>
                </a:lnTo>
                <a:lnTo>
                  <a:pt x="366" y="210"/>
                </a:lnTo>
                <a:lnTo>
                  <a:pt x="366" y="210"/>
                </a:lnTo>
                <a:lnTo>
                  <a:pt x="366" y="216"/>
                </a:lnTo>
                <a:lnTo>
                  <a:pt x="366" y="216"/>
                </a:lnTo>
                <a:lnTo>
                  <a:pt x="366" y="216"/>
                </a:lnTo>
                <a:lnTo>
                  <a:pt x="366" y="216"/>
                </a:lnTo>
                <a:lnTo>
                  <a:pt x="366" y="216"/>
                </a:lnTo>
                <a:lnTo>
                  <a:pt x="366" y="216"/>
                </a:lnTo>
                <a:lnTo>
                  <a:pt x="366" y="216"/>
                </a:lnTo>
                <a:lnTo>
                  <a:pt x="360" y="216"/>
                </a:lnTo>
                <a:lnTo>
                  <a:pt x="366" y="216"/>
                </a:lnTo>
                <a:lnTo>
                  <a:pt x="360" y="222"/>
                </a:lnTo>
                <a:lnTo>
                  <a:pt x="360" y="222"/>
                </a:lnTo>
                <a:lnTo>
                  <a:pt x="360" y="222"/>
                </a:lnTo>
                <a:lnTo>
                  <a:pt x="360" y="222"/>
                </a:lnTo>
                <a:lnTo>
                  <a:pt x="360" y="222"/>
                </a:lnTo>
                <a:lnTo>
                  <a:pt x="360" y="228"/>
                </a:lnTo>
                <a:lnTo>
                  <a:pt x="354" y="228"/>
                </a:lnTo>
                <a:lnTo>
                  <a:pt x="360" y="228"/>
                </a:lnTo>
                <a:lnTo>
                  <a:pt x="360" y="228"/>
                </a:lnTo>
                <a:lnTo>
                  <a:pt x="360" y="228"/>
                </a:lnTo>
                <a:lnTo>
                  <a:pt x="354" y="234"/>
                </a:lnTo>
                <a:lnTo>
                  <a:pt x="354" y="234"/>
                </a:lnTo>
                <a:lnTo>
                  <a:pt x="354" y="234"/>
                </a:lnTo>
                <a:lnTo>
                  <a:pt x="354" y="234"/>
                </a:lnTo>
                <a:lnTo>
                  <a:pt x="354" y="240"/>
                </a:lnTo>
                <a:lnTo>
                  <a:pt x="354" y="240"/>
                </a:lnTo>
                <a:lnTo>
                  <a:pt x="354" y="240"/>
                </a:lnTo>
                <a:lnTo>
                  <a:pt x="354" y="240"/>
                </a:lnTo>
                <a:lnTo>
                  <a:pt x="354" y="240"/>
                </a:lnTo>
                <a:lnTo>
                  <a:pt x="354" y="246"/>
                </a:lnTo>
                <a:lnTo>
                  <a:pt x="348" y="246"/>
                </a:lnTo>
                <a:lnTo>
                  <a:pt x="348" y="246"/>
                </a:lnTo>
                <a:lnTo>
                  <a:pt x="348" y="246"/>
                </a:lnTo>
                <a:lnTo>
                  <a:pt x="348" y="252"/>
                </a:lnTo>
                <a:lnTo>
                  <a:pt x="348" y="252"/>
                </a:lnTo>
                <a:lnTo>
                  <a:pt x="348" y="252"/>
                </a:lnTo>
                <a:lnTo>
                  <a:pt x="348" y="252"/>
                </a:lnTo>
                <a:lnTo>
                  <a:pt x="348" y="252"/>
                </a:lnTo>
                <a:lnTo>
                  <a:pt x="348" y="252"/>
                </a:lnTo>
                <a:lnTo>
                  <a:pt x="342" y="252"/>
                </a:lnTo>
                <a:lnTo>
                  <a:pt x="342" y="258"/>
                </a:lnTo>
                <a:lnTo>
                  <a:pt x="342" y="258"/>
                </a:lnTo>
                <a:lnTo>
                  <a:pt x="342" y="258"/>
                </a:lnTo>
                <a:lnTo>
                  <a:pt x="342" y="258"/>
                </a:lnTo>
                <a:lnTo>
                  <a:pt x="342" y="258"/>
                </a:lnTo>
                <a:lnTo>
                  <a:pt x="342" y="258"/>
                </a:lnTo>
                <a:lnTo>
                  <a:pt x="342" y="264"/>
                </a:lnTo>
                <a:lnTo>
                  <a:pt x="336" y="264"/>
                </a:lnTo>
                <a:lnTo>
                  <a:pt x="336" y="264"/>
                </a:lnTo>
                <a:lnTo>
                  <a:pt x="336" y="264"/>
                </a:lnTo>
                <a:lnTo>
                  <a:pt x="336" y="264"/>
                </a:lnTo>
                <a:lnTo>
                  <a:pt x="336" y="270"/>
                </a:lnTo>
                <a:lnTo>
                  <a:pt x="336" y="270"/>
                </a:lnTo>
                <a:lnTo>
                  <a:pt x="336" y="270"/>
                </a:lnTo>
                <a:lnTo>
                  <a:pt x="336" y="270"/>
                </a:lnTo>
                <a:lnTo>
                  <a:pt x="330" y="270"/>
                </a:lnTo>
                <a:lnTo>
                  <a:pt x="330" y="270"/>
                </a:lnTo>
                <a:lnTo>
                  <a:pt x="330" y="270"/>
                </a:lnTo>
                <a:lnTo>
                  <a:pt x="330" y="276"/>
                </a:lnTo>
                <a:lnTo>
                  <a:pt x="330" y="270"/>
                </a:lnTo>
                <a:lnTo>
                  <a:pt x="330" y="276"/>
                </a:lnTo>
                <a:lnTo>
                  <a:pt x="330" y="276"/>
                </a:lnTo>
                <a:lnTo>
                  <a:pt x="330" y="276"/>
                </a:lnTo>
                <a:lnTo>
                  <a:pt x="330" y="276"/>
                </a:lnTo>
                <a:lnTo>
                  <a:pt x="330" y="276"/>
                </a:lnTo>
                <a:lnTo>
                  <a:pt x="330" y="276"/>
                </a:lnTo>
                <a:lnTo>
                  <a:pt x="330" y="276"/>
                </a:lnTo>
                <a:lnTo>
                  <a:pt x="330" y="276"/>
                </a:lnTo>
                <a:lnTo>
                  <a:pt x="324" y="282"/>
                </a:lnTo>
                <a:lnTo>
                  <a:pt x="324" y="282"/>
                </a:lnTo>
                <a:lnTo>
                  <a:pt x="324" y="288"/>
                </a:lnTo>
                <a:lnTo>
                  <a:pt x="324" y="288"/>
                </a:lnTo>
                <a:lnTo>
                  <a:pt x="324" y="288"/>
                </a:lnTo>
                <a:lnTo>
                  <a:pt x="324" y="288"/>
                </a:lnTo>
                <a:lnTo>
                  <a:pt x="324" y="294"/>
                </a:lnTo>
                <a:lnTo>
                  <a:pt x="324" y="294"/>
                </a:lnTo>
                <a:lnTo>
                  <a:pt x="324" y="294"/>
                </a:lnTo>
                <a:lnTo>
                  <a:pt x="324" y="294"/>
                </a:lnTo>
                <a:lnTo>
                  <a:pt x="324" y="294"/>
                </a:lnTo>
                <a:lnTo>
                  <a:pt x="324" y="294"/>
                </a:lnTo>
                <a:lnTo>
                  <a:pt x="324" y="294"/>
                </a:lnTo>
                <a:lnTo>
                  <a:pt x="324" y="294"/>
                </a:lnTo>
                <a:lnTo>
                  <a:pt x="324" y="294"/>
                </a:lnTo>
                <a:lnTo>
                  <a:pt x="324" y="300"/>
                </a:lnTo>
                <a:lnTo>
                  <a:pt x="324" y="300"/>
                </a:lnTo>
                <a:lnTo>
                  <a:pt x="324" y="300"/>
                </a:lnTo>
                <a:lnTo>
                  <a:pt x="324" y="300"/>
                </a:lnTo>
                <a:lnTo>
                  <a:pt x="324" y="300"/>
                </a:lnTo>
                <a:lnTo>
                  <a:pt x="324" y="300"/>
                </a:lnTo>
                <a:lnTo>
                  <a:pt x="324" y="300"/>
                </a:lnTo>
                <a:lnTo>
                  <a:pt x="324" y="306"/>
                </a:lnTo>
                <a:lnTo>
                  <a:pt x="324" y="306"/>
                </a:lnTo>
                <a:lnTo>
                  <a:pt x="324" y="306"/>
                </a:lnTo>
                <a:lnTo>
                  <a:pt x="324" y="306"/>
                </a:lnTo>
                <a:lnTo>
                  <a:pt x="324" y="306"/>
                </a:lnTo>
                <a:lnTo>
                  <a:pt x="324" y="312"/>
                </a:lnTo>
                <a:lnTo>
                  <a:pt x="324" y="312"/>
                </a:lnTo>
                <a:lnTo>
                  <a:pt x="324" y="312"/>
                </a:lnTo>
                <a:lnTo>
                  <a:pt x="324" y="318"/>
                </a:lnTo>
                <a:lnTo>
                  <a:pt x="324" y="318"/>
                </a:lnTo>
                <a:lnTo>
                  <a:pt x="324" y="318"/>
                </a:lnTo>
                <a:lnTo>
                  <a:pt x="324" y="318"/>
                </a:lnTo>
                <a:lnTo>
                  <a:pt x="324" y="318"/>
                </a:lnTo>
                <a:lnTo>
                  <a:pt x="324" y="324"/>
                </a:lnTo>
                <a:lnTo>
                  <a:pt x="324" y="324"/>
                </a:lnTo>
                <a:lnTo>
                  <a:pt x="324" y="324"/>
                </a:lnTo>
                <a:lnTo>
                  <a:pt x="324" y="324"/>
                </a:lnTo>
                <a:lnTo>
                  <a:pt x="324" y="324"/>
                </a:lnTo>
                <a:lnTo>
                  <a:pt x="324" y="330"/>
                </a:lnTo>
                <a:lnTo>
                  <a:pt x="324" y="330"/>
                </a:lnTo>
                <a:lnTo>
                  <a:pt x="318" y="330"/>
                </a:lnTo>
                <a:lnTo>
                  <a:pt x="318" y="330"/>
                </a:lnTo>
                <a:lnTo>
                  <a:pt x="312" y="336"/>
                </a:lnTo>
                <a:lnTo>
                  <a:pt x="300" y="330"/>
                </a:lnTo>
                <a:lnTo>
                  <a:pt x="270" y="312"/>
                </a:lnTo>
                <a:lnTo>
                  <a:pt x="264" y="318"/>
                </a:lnTo>
                <a:lnTo>
                  <a:pt x="264" y="318"/>
                </a:lnTo>
                <a:lnTo>
                  <a:pt x="264" y="318"/>
                </a:lnTo>
                <a:lnTo>
                  <a:pt x="264" y="318"/>
                </a:lnTo>
                <a:lnTo>
                  <a:pt x="258" y="318"/>
                </a:lnTo>
                <a:lnTo>
                  <a:pt x="258" y="318"/>
                </a:lnTo>
                <a:lnTo>
                  <a:pt x="258" y="324"/>
                </a:lnTo>
                <a:lnTo>
                  <a:pt x="258" y="324"/>
                </a:lnTo>
                <a:lnTo>
                  <a:pt x="258" y="324"/>
                </a:lnTo>
                <a:lnTo>
                  <a:pt x="258" y="324"/>
                </a:lnTo>
                <a:lnTo>
                  <a:pt x="258" y="324"/>
                </a:lnTo>
                <a:lnTo>
                  <a:pt x="258" y="324"/>
                </a:lnTo>
                <a:lnTo>
                  <a:pt x="258" y="324"/>
                </a:lnTo>
                <a:lnTo>
                  <a:pt x="258" y="324"/>
                </a:lnTo>
                <a:lnTo>
                  <a:pt x="258" y="324"/>
                </a:lnTo>
                <a:lnTo>
                  <a:pt x="258" y="324"/>
                </a:lnTo>
                <a:lnTo>
                  <a:pt x="258" y="330"/>
                </a:lnTo>
                <a:lnTo>
                  <a:pt x="258" y="330"/>
                </a:lnTo>
                <a:lnTo>
                  <a:pt x="258" y="330"/>
                </a:lnTo>
                <a:lnTo>
                  <a:pt x="258" y="330"/>
                </a:lnTo>
                <a:lnTo>
                  <a:pt x="258" y="330"/>
                </a:lnTo>
                <a:lnTo>
                  <a:pt x="264" y="330"/>
                </a:lnTo>
                <a:lnTo>
                  <a:pt x="264" y="330"/>
                </a:lnTo>
                <a:lnTo>
                  <a:pt x="264" y="336"/>
                </a:lnTo>
                <a:lnTo>
                  <a:pt x="264" y="336"/>
                </a:lnTo>
                <a:lnTo>
                  <a:pt x="264" y="336"/>
                </a:lnTo>
                <a:lnTo>
                  <a:pt x="264" y="342"/>
                </a:lnTo>
                <a:lnTo>
                  <a:pt x="264" y="342"/>
                </a:lnTo>
                <a:lnTo>
                  <a:pt x="264" y="342"/>
                </a:lnTo>
                <a:lnTo>
                  <a:pt x="264" y="348"/>
                </a:lnTo>
                <a:lnTo>
                  <a:pt x="264" y="348"/>
                </a:lnTo>
                <a:lnTo>
                  <a:pt x="264" y="348"/>
                </a:lnTo>
                <a:lnTo>
                  <a:pt x="264" y="348"/>
                </a:lnTo>
                <a:lnTo>
                  <a:pt x="264" y="348"/>
                </a:lnTo>
                <a:lnTo>
                  <a:pt x="264" y="348"/>
                </a:lnTo>
                <a:lnTo>
                  <a:pt x="264" y="354"/>
                </a:lnTo>
                <a:lnTo>
                  <a:pt x="264" y="354"/>
                </a:lnTo>
                <a:lnTo>
                  <a:pt x="264" y="354"/>
                </a:lnTo>
                <a:lnTo>
                  <a:pt x="264" y="354"/>
                </a:lnTo>
                <a:lnTo>
                  <a:pt x="264" y="360"/>
                </a:lnTo>
                <a:lnTo>
                  <a:pt x="264" y="360"/>
                </a:lnTo>
                <a:lnTo>
                  <a:pt x="264" y="360"/>
                </a:lnTo>
                <a:lnTo>
                  <a:pt x="258" y="360"/>
                </a:lnTo>
                <a:lnTo>
                  <a:pt x="258" y="360"/>
                </a:lnTo>
                <a:lnTo>
                  <a:pt x="258" y="360"/>
                </a:lnTo>
                <a:lnTo>
                  <a:pt x="258" y="360"/>
                </a:lnTo>
                <a:lnTo>
                  <a:pt x="258" y="360"/>
                </a:lnTo>
                <a:lnTo>
                  <a:pt x="258" y="360"/>
                </a:lnTo>
                <a:lnTo>
                  <a:pt x="252" y="360"/>
                </a:lnTo>
                <a:lnTo>
                  <a:pt x="252" y="360"/>
                </a:lnTo>
                <a:lnTo>
                  <a:pt x="252" y="366"/>
                </a:lnTo>
                <a:lnTo>
                  <a:pt x="252" y="366"/>
                </a:lnTo>
                <a:lnTo>
                  <a:pt x="252" y="366"/>
                </a:lnTo>
                <a:lnTo>
                  <a:pt x="252" y="366"/>
                </a:lnTo>
                <a:lnTo>
                  <a:pt x="246" y="366"/>
                </a:lnTo>
                <a:lnTo>
                  <a:pt x="246" y="366"/>
                </a:lnTo>
                <a:lnTo>
                  <a:pt x="246" y="366"/>
                </a:lnTo>
                <a:lnTo>
                  <a:pt x="246" y="366"/>
                </a:lnTo>
                <a:lnTo>
                  <a:pt x="246" y="366"/>
                </a:lnTo>
                <a:lnTo>
                  <a:pt x="246" y="372"/>
                </a:lnTo>
                <a:lnTo>
                  <a:pt x="246" y="372"/>
                </a:lnTo>
                <a:lnTo>
                  <a:pt x="246" y="372"/>
                </a:lnTo>
                <a:lnTo>
                  <a:pt x="246" y="372"/>
                </a:lnTo>
                <a:lnTo>
                  <a:pt x="246" y="372"/>
                </a:lnTo>
                <a:lnTo>
                  <a:pt x="246" y="372"/>
                </a:lnTo>
                <a:lnTo>
                  <a:pt x="246" y="372"/>
                </a:lnTo>
                <a:lnTo>
                  <a:pt x="246" y="378"/>
                </a:lnTo>
                <a:lnTo>
                  <a:pt x="252" y="378"/>
                </a:lnTo>
                <a:lnTo>
                  <a:pt x="252" y="384"/>
                </a:lnTo>
                <a:lnTo>
                  <a:pt x="252" y="384"/>
                </a:lnTo>
                <a:lnTo>
                  <a:pt x="246" y="384"/>
                </a:lnTo>
                <a:lnTo>
                  <a:pt x="246" y="384"/>
                </a:lnTo>
                <a:lnTo>
                  <a:pt x="252" y="384"/>
                </a:lnTo>
                <a:lnTo>
                  <a:pt x="252" y="384"/>
                </a:lnTo>
                <a:lnTo>
                  <a:pt x="252" y="384"/>
                </a:lnTo>
                <a:lnTo>
                  <a:pt x="252" y="390"/>
                </a:lnTo>
                <a:lnTo>
                  <a:pt x="252" y="390"/>
                </a:lnTo>
                <a:lnTo>
                  <a:pt x="252" y="390"/>
                </a:lnTo>
                <a:lnTo>
                  <a:pt x="252" y="390"/>
                </a:lnTo>
                <a:lnTo>
                  <a:pt x="252" y="390"/>
                </a:lnTo>
                <a:lnTo>
                  <a:pt x="246" y="390"/>
                </a:lnTo>
                <a:lnTo>
                  <a:pt x="246" y="390"/>
                </a:lnTo>
                <a:lnTo>
                  <a:pt x="246" y="390"/>
                </a:lnTo>
                <a:lnTo>
                  <a:pt x="246" y="390"/>
                </a:lnTo>
                <a:lnTo>
                  <a:pt x="246" y="390"/>
                </a:lnTo>
                <a:lnTo>
                  <a:pt x="246" y="390"/>
                </a:lnTo>
                <a:lnTo>
                  <a:pt x="246" y="390"/>
                </a:lnTo>
                <a:lnTo>
                  <a:pt x="246" y="390"/>
                </a:lnTo>
                <a:lnTo>
                  <a:pt x="246" y="390"/>
                </a:lnTo>
                <a:lnTo>
                  <a:pt x="246" y="390"/>
                </a:lnTo>
                <a:lnTo>
                  <a:pt x="246" y="390"/>
                </a:lnTo>
                <a:lnTo>
                  <a:pt x="246" y="390"/>
                </a:lnTo>
                <a:lnTo>
                  <a:pt x="246" y="390"/>
                </a:lnTo>
                <a:lnTo>
                  <a:pt x="240" y="390"/>
                </a:lnTo>
                <a:lnTo>
                  <a:pt x="240" y="390"/>
                </a:lnTo>
                <a:lnTo>
                  <a:pt x="240" y="390"/>
                </a:lnTo>
                <a:lnTo>
                  <a:pt x="240" y="390"/>
                </a:lnTo>
                <a:lnTo>
                  <a:pt x="240" y="390"/>
                </a:lnTo>
                <a:lnTo>
                  <a:pt x="240" y="390"/>
                </a:lnTo>
                <a:lnTo>
                  <a:pt x="240" y="390"/>
                </a:lnTo>
                <a:lnTo>
                  <a:pt x="240" y="390"/>
                </a:lnTo>
                <a:lnTo>
                  <a:pt x="240" y="396"/>
                </a:lnTo>
                <a:lnTo>
                  <a:pt x="240" y="390"/>
                </a:lnTo>
                <a:lnTo>
                  <a:pt x="240" y="396"/>
                </a:lnTo>
                <a:lnTo>
                  <a:pt x="240" y="396"/>
                </a:lnTo>
                <a:lnTo>
                  <a:pt x="240" y="396"/>
                </a:lnTo>
                <a:lnTo>
                  <a:pt x="240" y="396"/>
                </a:lnTo>
                <a:lnTo>
                  <a:pt x="240" y="396"/>
                </a:lnTo>
                <a:lnTo>
                  <a:pt x="234" y="396"/>
                </a:lnTo>
                <a:lnTo>
                  <a:pt x="234" y="396"/>
                </a:lnTo>
                <a:lnTo>
                  <a:pt x="234" y="396"/>
                </a:lnTo>
                <a:lnTo>
                  <a:pt x="234" y="396"/>
                </a:lnTo>
                <a:lnTo>
                  <a:pt x="234" y="396"/>
                </a:lnTo>
                <a:lnTo>
                  <a:pt x="234" y="396"/>
                </a:lnTo>
                <a:lnTo>
                  <a:pt x="234" y="396"/>
                </a:lnTo>
                <a:lnTo>
                  <a:pt x="234" y="396"/>
                </a:lnTo>
                <a:lnTo>
                  <a:pt x="234" y="396"/>
                </a:lnTo>
                <a:lnTo>
                  <a:pt x="228" y="396"/>
                </a:lnTo>
                <a:lnTo>
                  <a:pt x="228" y="396"/>
                </a:lnTo>
                <a:lnTo>
                  <a:pt x="228" y="396"/>
                </a:lnTo>
                <a:lnTo>
                  <a:pt x="228" y="396"/>
                </a:lnTo>
                <a:lnTo>
                  <a:pt x="228" y="396"/>
                </a:lnTo>
                <a:lnTo>
                  <a:pt x="228" y="396"/>
                </a:lnTo>
                <a:lnTo>
                  <a:pt x="228" y="396"/>
                </a:lnTo>
                <a:lnTo>
                  <a:pt x="228" y="396"/>
                </a:lnTo>
                <a:lnTo>
                  <a:pt x="228" y="396"/>
                </a:lnTo>
                <a:lnTo>
                  <a:pt x="228" y="396"/>
                </a:lnTo>
                <a:lnTo>
                  <a:pt x="222" y="396"/>
                </a:lnTo>
                <a:lnTo>
                  <a:pt x="222" y="396"/>
                </a:lnTo>
                <a:lnTo>
                  <a:pt x="222" y="396"/>
                </a:lnTo>
                <a:lnTo>
                  <a:pt x="222" y="396"/>
                </a:lnTo>
                <a:lnTo>
                  <a:pt x="222" y="396"/>
                </a:lnTo>
                <a:lnTo>
                  <a:pt x="222" y="396"/>
                </a:lnTo>
                <a:lnTo>
                  <a:pt x="222" y="396"/>
                </a:lnTo>
                <a:lnTo>
                  <a:pt x="222" y="402"/>
                </a:lnTo>
                <a:lnTo>
                  <a:pt x="222" y="402"/>
                </a:lnTo>
                <a:lnTo>
                  <a:pt x="216" y="396"/>
                </a:lnTo>
                <a:lnTo>
                  <a:pt x="216" y="396"/>
                </a:lnTo>
                <a:lnTo>
                  <a:pt x="216" y="402"/>
                </a:lnTo>
                <a:lnTo>
                  <a:pt x="216" y="402"/>
                </a:lnTo>
                <a:lnTo>
                  <a:pt x="216" y="402"/>
                </a:lnTo>
                <a:lnTo>
                  <a:pt x="216" y="402"/>
                </a:lnTo>
                <a:lnTo>
                  <a:pt x="216" y="402"/>
                </a:lnTo>
                <a:lnTo>
                  <a:pt x="216" y="402"/>
                </a:lnTo>
                <a:lnTo>
                  <a:pt x="216" y="402"/>
                </a:lnTo>
                <a:lnTo>
                  <a:pt x="210" y="402"/>
                </a:lnTo>
                <a:lnTo>
                  <a:pt x="210" y="402"/>
                </a:lnTo>
                <a:lnTo>
                  <a:pt x="210" y="408"/>
                </a:lnTo>
                <a:lnTo>
                  <a:pt x="210" y="408"/>
                </a:lnTo>
                <a:lnTo>
                  <a:pt x="210" y="408"/>
                </a:lnTo>
                <a:lnTo>
                  <a:pt x="210" y="408"/>
                </a:lnTo>
                <a:lnTo>
                  <a:pt x="210" y="408"/>
                </a:lnTo>
                <a:lnTo>
                  <a:pt x="204" y="408"/>
                </a:lnTo>
                <a:lnTo>
                  <a:pt x="204" y="408"/>
                </a:lnTo>
                <a:lnTo>
                  <a:pt x="204" y="408"/>
                </a:lnTo>
                <a:lnTo>
                  <a:pt x="204" y="408"/>
                </a:lnTo>
                <a:lnTo>
                  <a:pt x="204" y="408"/>
                </a:lnTo>
                <a:lnTo>
                  <a:pt x="204" y="408"/>
                </a:lnTo>
                <a:lnTo>
                  <a:pt x="204" y="408"/>
                </a:lnTo>
                <a:lnTo>
                  <a:pt x="204" y="408"/>
                </a:lnTo>
                <a:lnTo>
                  <a:pt x="198" y="408"/>
                </a:lnTo>
                <a:lnTo>
                  <a:pt x="198" y="408"/>
                </a:lnTo>
                <a:lnTo>
                  <a:pt x="198" y="408"/>
                </a:lnTo>
                <a:lnTo>
                  <a:pt x="198" y="414"/>
                </a:lnTo>
                <a:lnTo>
                  <a:pt x="198" y="408"/>
                </a:lnTo>
                <a:lnTo>
                  <a:pt x="198" y="414"/>
                </a:lnTo>
                <a:lnTo>
                  <a:pt x="192" y="408"/>
                </a:lnTo>
                <a:lnTo>
                  <a:pt x="192" y="408"/>
                </a:lnTo>
                <a:lnTo>
                  <a:pt x="192" y="414"/>
                </a:lnTo>
                <a:lnTo>
                  <a:pt x="192" y="408"/>
                </a:lnTo>
                <a:lnTo>
                  <a:pt x="192" y="414"/>
                </a:lnTo>
                <a:lnTo>
                  <a:pt x="192" y="414"/>
                </a:lnTo>
                <a:lnTo>
                  <a:pt x="192" y="414"/>
                </a:lnTo>
                <a:lnTo>
                  <a:pt x="192" y="414"/>
                </a:lnTo>
                <a:lnTo>
                  <a:pt x="186" y="414"/>
                </a:lnTo>
                <a:lnTo>
                  <a:pt x="186" y="414"/>
                </a:lnTo>
                <a:lnTo>
                  <a:pt x="186" y="414"/>
                </a:lnTo>
                <a:lnTo>
                  <a:pt x="186" y="414"/>
                </a:lnTo>
                <a:lnTo>
                  <a:pt x="186" y="414"/>
                </a:lnTo>
                <a:lnTo>
                  <a:pt x="186" y="414"/>
                </a:lnTo>
                <a:lnTo>
                  <a:pt x="186" y="414"/>
                </a:lnTo>
                <a:lnTo>
                  <a:pt x="186" y="414"/>
                </a:lnTo>
                <a:lnTo>
                  <a:pt x="180" y="414"/>
                </a:lnTo>
                <a:lnTo>
                  <a:pt x="180" y="414"/>
                </a:lnTo>
                <a:lnTo>
                  <a:pt x="180" y="414"/>
                </a:lnTo>
                <a:lnTo>
                  <a:pt x="180" y="420"/>
                </a:lnTo>
                <a:lnTo>
                  <a:pt x="180" y="420"/>
                </a:lnTo>
                <a:lnTo>
                  <a:pt x="180" y="420"/>
                </a:lnTo>
                <a:lnTo>
                  <a:pt x="180" y="420"/>
                </a:lnTo>
                <a:lnTo>
                  <a:pt x="180" y="420"/>
                </a:lnTo>
                <a:lnTo>
                  <a:pt x="180" y="420"/>
                </a:lnTo>
                <a:lnTo>
                  <a:pt x="174" y="420"/>
                </a:lnTo>
                <a:lnTo>
                  <a:pt x="174" y="420"/>
                </a:lnTo>
                <a:lnTo>
                  <a:pt x="174" y="420"/>
                </a:lnTo>
                <a:lnTo>
                  <a:pt x="174" y="420"/>
                </a:lnTo>
                <a:lnTo>
                  <a:pt x="174" y="420"/>
                </a:lnTo>
                <a:lnTo>
                  <a:pt x="174" y="420"/>
                </a:lnTo>
                <a:lnTo>
                  <a:pt x="174" y="420"/>
                </a:lnTo>
                <a:lnTo>
                  <a:pt x="168" y="420"/>
                </a:lnTo>
                <a:lnTo>
                  <a:pt x="168" y="426"/>
                </a:lnTo>
                <a:lnTo>
                  <a:pt x="168" y="426"/>
                </a:lnTo>
                <a:lnTo>
                  <a:pt x="168" y="426"/>
                </a:lnTo>
                <a:lnTo>
                  <a:pt x="174" y="426"/>
                </a:lnTo>
                <a:lnTo>
                  <a:pt x="168" y="426"/>
                </a:lnTo>
                <a:lnTo>
                  <a:pt x="174" y="432"/>
                </a:lnTo>
                <a:lnTo>
                  <a:pt x="174" y="432"/>
                </a:lnTo>
                <a:lnTo>
                  <a:pt x="168" y="432"/>
                </a:lnTo>
                <a:lnTo>
                  <a:pt x="174" y="432"/>
                </a:lnTo>
                <a:lnTo>
                  <a:pt x="174" y="432"/>
                </a:lnTo>
                <a:lnTo>
                  <a:pt x="174" y="432"/>
                </a:lnTo>
                <a:lnTo>
                  <a:pt x="174" y="432"/>
                </a:lnTo>
                <a:lnTo>
                  <a:pt x="168" y="438"/>
                </a:lnTo>
                <a:lnTo>
                  <a:pt x="168" y="438"/>
                </a:lnTo>
                <a:lnTo>
                  <a:pt x="168" y="438"/>
                </a:lnTo>
                <a:lnTo>
                  <a:pt x="168" y="438"/>
                </a:lnTo>
                <a:lnTo>
                  <a:pt x="168" y="438"/>
                </a:lnTo>
                <a:lnTo>
                  <a:pt x="168" y="438"/>
                </a:lnTo>
                <a:lnTo>
                  <a:pt x="168" y="438"/>
                </a:lnTo>
                <a:lnTo>
                  <a:pt x="168" y="438"/>
                </a:lnTo>
                <a:lnTo>
                  <a:pt x="168" y="438"/>
                </a:lnTo>
                <a:lnTo>
                  <a:pt x="168" y="438"/>
                </a:lnTo>
                <a:lnTo>
                  <a:pt x="168" y="438"/>
                </a:lnTo>
                <a:lnTo>
                  <a:pt x="168" y="438"/>
                </a:lnTo>
                <a:lnTo>
                  <a:pt x="162" y="438"/>
                </a:lnTo>
                <a:lnTo>
                  <a:pt x="162" y="438"/>
                </a:lnTo>
                <a:lnTo>
                  <a:pt x="162" y="438"/>
                </a:lnTo>
                <a:lnTo>
                  <a:pt x="162" y="438"/>
                </a:lnTo>
                <a:lnTo>
                  <a:pt x="162" y="438"/>
                </a:lnTo>
                <a:lnTo>
                  <a:pt x="162" y="438"/>
                </a:lnTo>
                <a:lnTo>
                  <a:pt x="162" y="444"/>
                </a:lnTo>
                <a:lnTo>
                  <a:pt x="162" y="444"/>
                </a:lnTo>
                <a:lnTo>
                  <a:pt x="156" y="444"/>
                </a:lnTo>
                <a:lnTo>
                  <a:pt x="156" y="444"/>
                </a:lnTo>
                <a:lnTo>
                  <a:pt x="156" y="444"/>
                </a:lnTo>
                <a:lnTo>
                  <a:pt x="156" y="438"/>
                </a:lnTo>
                <a:lnTo>
                  <a:pt x="156" y="444"/>
                </a:lnTo>
                <a:lnTo>
                  <a:pt x="156" y="438"/>
                </a:lnTo>
                <a:lnTo>
                  <a:pt x="150" y="438"/>
                </a:lnTo>
                <a:lnTo>
                  <a:pt x="150" y="438"/>
                </a:lnTo>
                <a:lnTo>
                  <a:pt x="150" y="438"/>
                </a:lnTo>
                <a:lnTo>
                  <a:pt x="150" y="438"/>
                </a:lnTo>
                <a:lnTo>
                  <a:pt x="150" y="444"/>
                </a:lnTo>
                <a:lnTo>
                  <a:pt x="150" y="438"/>
                </a:lnTo>
                <a:lnTo>
                  <a:pt x="150" y="438"/>
                </a:lnTo>
                <a:lnTo>
                  <a:pt x="150" y="438"/>
                </a:lnTo>
                <a:lnTo>
                  <a:pt x="144" y="438"/>
                </a:lnTo>
                <a:lnTo>
                  <a:pt x="144" y="438"/>
                </a:lnTo>
                <a:lnTo>
                  <a:pt x="144" y="444"/>
                </a:lnTo>
                <a:lnTo>
                  <a:pt x="144" y="444"/>
                </a:lnTo>
                <a:lnTo>
                  <a:pt x="144" y="444"/>
                </a:lnTo>
                <a:lnTo>
                  <a:pt x="144" y="444"/>
                </a:lnTo>
                <a:lnTo>
                  <a:pt x="144" y="444"/>
                </a:lnTo>
                <a:lnTo>
                  <a:pt x="138" y="444"/>
                </a:lnTo>
                <a:lnTo>
                  <a:pt x="138" y="444"/>
                </a:lnTo>
                <a:lnTo>
                  <a:pt x="132" y="438"/>
                </a:lnTo>
                <a:lnTo>
                  <a:pt x="138" y="438"/>
                </a:lnTo>
                <a:lnTo>
                  <a:pt x="138" y="438"/>
                </a:lnTo>
                <a:lnTo>
                  <a:pt x="132" y="438"/>
                </a:lnTo>
                <a:lnTo>
                  <a:pt x="132" y="438"/>
                </a:lnTo>
                <a:lnTo>
                  <a:pt x="132" y="438"/>
                </a:lnTo>
                <a:lnTo>
                  <a:pt x="132" y="438"/>
                </a:lnTo>
                <a:lnTo>
                  <a:pt x="132" y="438"/>
                </a:lnTo>
                <a:lnTo>
                  <a:pt x="126" y="438"/>
                </a:lnTo>
                <a:lnTo>
                  <a:pt x="126" y="438"/>
                </a:lnTo>
                <a:lnTo>
                  <a:pt x="126" y="438"/>
                </a:lnTo>
                <a:lnTo>
                  <a:pt x="126" y="444"/>
                </a:lnTo>
                <a:lnTo>
                  <a:pt x="126" y="438"/>
                </a:lnTo>
                <a:lnTo>
                  <a:pt x="120" y="438"/>
                </a:lnTo>
                <a:lnTo>
                  <a:pt x="120" y="438"/>
                </a:lnTo>
                <a:lnTo>
                  <a:pt x="120" y="444"/>
                </a:lnTo>
                <a:lnTo>
                  <a:pt x="120" y="444"/>
                </a:lnTo>
                <a:lnTo>
                  <a:pt x="120" y="444"/>
                </a:lnTo>
                <a:lnTo>
                  <a:pt x="120" y="444"/>
                </a:lnTo>
                <a:lnTo>
                  <a:pt x="120" y="444"/>
                </a:lnTo>
                <a:lnTo>
                  <a:pt x="120" y="444"/>
                </a:lnTo>
                <a:lnTo>
                  <a:pt x="114" y="444"/>
                </a:lnTo>
                <a:lnTo>
                  <a:pt x="120" y="444"/>
                </a:lnTo>
                <a:lnTo>
                  <a:pt x="114" y="444"/>
                </a:lnTo>
                <a:lnTo>
                  <a:pt x="114" y="450"/>
                </a:lnTo>
                <a:lnTo>
                  <a:pt x="114" y="450"/>
                </a:lnTo>
                <a:lnTo>
                  <a:pt x="114" y="450"/>
                </a:lnTo>
                <a:lnTo>
                  <a:pt x="114" y="450"/>
                </a:lnTo>
                <a:lnTo>
                  <a:pt x="114" y="450"/>
                </a:lnTo>
                <a:lnTo>
                  <a:pt x="108" y="450"/>
                </a:lnTo>
                <a:lnTo>
                  <a:pt x="108" y="450"/>
                </a:lnTo>
                <a:lnTo>
                  <a:pt x="108" y="456"/>
                </a:lnTo>
                <a:lnTo>
                  <a:pt x="108" y="456"/>
                </a:lnTo>
                <a:lnTo>
                  <a:pt x="108" y="456"/>
                </a:lnTo>
                <a:lnTo>
                  <a:pt x="108" y="456"/>
                </a:lnTo>
                <a:lnTo>
                  <a:pt x="102" y="456"/>
                </a:lnTo>
                <a:lnTo>
                  <a:pt x="96" y="450"/>
                </a:lnTo>
                <a:lnTo>
                  <a:pt x="102" y="444"/>
                </a:lnTo>
                <a:lnTo>
                  <a:pt x="114" y="432"/>
                </a:lnTo>
                <a:lnTo>
                  <a:pt x="114" y="432"/>
                </a:lnTo>
                <a:lnTo>
                  <a:pt x="114" y="432"/>
                </a:lnTo>
                <a:lnTo>
                  <a:pt x="120" y="432"/>
                </a:lnTo>
                <a:lnTo>
                  <a:pt x="120" y="432"/>
                </a:lnTo>
                <a:lnTo>
                  <a:pt x="120" y="426"/>
                </a:lnTo>
                <a:lnTo>
                  <a:pt x="120" y="426"/>
                </a:lnTo>
                <a:lnTo>
                  <a:pt x="120" y="426"/>
                </a:lnTo>
                <a:lnTo>
                  <a:pt x="120" y="426"/>
                </a:lnTo>
                <a:lnTo>
                  <a:pt x="120" y="420"/>
                </a:lnTo>
                <a:lnTo>
                  <a:pt x="126" y="420"/>
                </a:lnTo>
                <a:lnTo>
                  <a:pt x="126" y="420"/>
                </a:lnTo>
                <a:lnTo>
                  <a:pt x="132" y="414"/>
                </a:lnTo>
                <a:lnTo>
                  <a:pt x="138" y="414"/>
                </a:lnTo>
                <a:lnTo>
                  <a:pt x="144" y="408"/>
                </a:lnTo>
                <a:lnTo>
                  <a:pt x="144" y="408"/>
                </a:lnTo>
                <a:lnTo>
                  <a:pt x="144" y="402"/>
                </a:lnTo>
                <a:lnTo>
                  <a:pt x="144" y="402"/>
                </a:lnTo>
                <a:lnTo>
                  <a:pt x="150" y="402"/>
                </a:lnTo>
                <a:lnTo>
                  <a:pt x="150" y="396"/>
                </a:lnTo>
                <a:lnTo>
                  <a:pt x="150" y="396"/>
                </a:lnTo>
                <a:lnTo>
                  <a:pt x="150" y="396"/>
                </a:lnTo>
                <a:lnTo>
                  <a:pt x="150" y="396"/>
                </a:lnTo>
                <a:lnTo>
                  <a:pt x="150" y="396"/>
                </a:lnTo>
                <a:lnTo>
                  <a:pt x="150" y="390"/>
                </a:lnTo>
                <a:lnTo>
                  <a:pt x="150" y="390"/>
                </a:lnTo>
                <a:lnTo>
                  <a:pt x="150" y="390"/>
                </a:lnTo>
                <a:lnTo>
                  <a:pt x="150" y="390"/>
                </a:lnTo>
                <a:lnTo>
                  <a:pt x="150" y="390"/>
                </a:lnTo>
                <a:lnTo>
                  <a:pt x="150" y="390"/>
                </a:lnTo>
                <a:lnTo>
                  <a:pt x="150" y="384"/>
                </a:lnTo>
                <a:lnTo>
                  <a:pt x="150" y="384"/>
                </a:lnTo>
                <a:lnTo>
                  <a:pt x="150" y="384"/>
                </a:lnTo>
                <a:lnTo>
                  <a:pt x="150" y="384"/>
                </a:lnTo>
                <a:lnTo>
                  <a:pt x="150" y="384"/>
                </a:lnTo>
                <a:lnTo>
                  <a:pt x="144" y="384"/>
                </a:lnTo>
                <a:lnTo>
                  <a:pt x="144" y="384"/>
                </a:lnTo>
                <a:lnTo>
                  <a:pt x="144" y="384"/>
                </a:lnTo>
                <a:lnTo>
                  <a:pt x="144" y="384"/>
                </a:lnTo>
                <a:lnTo>
                  <a:pt x="144" y="384"/>
                </a:lnTo>
                <a:lnTo>
                  <a:pt x="144" y="384"/>
                </a:lnTo>
                <a:lnTo>
                  <a:pt x="144" y="378"/>
                </a:lnTo>
                <a:lnTo>
                  <a:pt x="144" y="378"/>
                </a:lnTo>
                <a:lnTo>
                  <a:pt x="144" y="378"/>
                </a:lnTo>
                <a:lnTo>
                  <a:pt x="144" y="372"/>
                </a:lnTo>
                <a:lnTo>
                  <a:pt x="144" y="372"/>
                </a:lnTo>
                <a:lnTo>
                  <a:pt x="144" y="372"/>
                </a:lnTo>
                <a:lnTo>
                  <a:pt x="144" y="372"/>
                </a:lnTo>
                <a:lnTo>
                  <a:pt x="144" y="372"/>
                </a:lnTo>
                <a:lnTo>
                  <a:pt x="138" y="372"/>
                </a:lnTo>
                <a:lnTo>
                  <a:pt x="138" y="372"/>
                </a:lnTo>
                <a:lnTo>
                  <a:pt x="138" y="372"/>
                </a:lnTo>
                <a:lnTo>
                  <a:pt x="138" y="372"/>
                </a:lnTo>
                <a:lnTo>
                  <a:pt x="138" y="372"/>
                </a:lnTo>
                <a:lnTo>
                  <a:pt x="138" y="372"/>
                </a:lnTo>
                <a:lnTo>
                  <a:pt x="138" y="372"/>
                </a:lnTo>
                <a:lnTo>
                  <a:pt x="138" y="372"/>
                </a:lnTo>
                <a:lnTo>
                  <a:pt x="132" y="372"/>
                </a:lnTo>
                <a:lnTo>
                  <a:pt x="132" y="372"/>
                </a:lnTo>
                <a:lnTo>
                  <a:pt x="132" y="372"/>
                </a:lnTo>
                <a:lnTo>
                  <a:pt x="132" y="372"/>
                </a:lnTo>
                <a:lnTo>
                  <a:pt x="132" y="372"/>
                </a:lnTo>
                <a:lnTo>
                  <a:pt x="132" y="372"/>
                </a:lnTo>
                <a:lnTo>
                  <a:pt x="132" y="372"/>
                </a:lnTo>
                <a:lnTo>
                  <a:pt x="126" y="372"/>
                </a:lnTo>
                <a:lnTo>
                  <a:pt x="126" y="372"/>
                </a:lnTo>
                <a:lnTo>
                  <a:pt x="126" y="372"/>
                </a:lnTo>
                <a:lnTo>
                  <a:pt x="126" y="372"/>
                </a:lnTo>
                <a:lnTo>
                  <a:pt x="126" y="372"/>
                </a:lnTo>
                <a:lnTo>
                  <a:pt x="126" y="372"/>
                </a:lnTo>
                <a:lnTo>
                  <a:pt x="126" y="372"/>
                </a:lnTo>
                <a:lnTo>
                  <a:pt x="126" y="372"/>
                </a:lnTo>
                <a:lnTo>
                  <a:pt x="126" y="372"/>
                </a:lnTo>
                <a:lnTo>
                  <a:pt x="126" y="372"/>
                </a:lnTo>
                <a:lnTo>
                  <a:pt x="126" y="372"/>
                </a:lnTo>
                <a:lnTo>
                  <a:pt x="120" y="372"/>
                </a:lnTo>
                <a:lnTo>
                  <a:pt x="120" y="372"/>
                </a:lnTo>
                <a:lnTo>
                  <a:pt x="120" y="372"/>
                </a:lnTo>
                <a:lnTo>
                  <a:pt x="120" y="372"/>
                </a:lnTo>
                <a:lnTo>
                  <a:pt x="120" y="372"/>
                </a:lnTo>
                <a:lnTo>
                  <a:pt x="120" y="372"/>
                </a:lnTo>
                <a:lnTo>
                  <a:pt x="120" y="372"/>
                </a:lnTo>
                <a:lnTo>
                  <a:pt x="120" y="372"/>
                </a:lnTo>
                <a:lnTo>
                  <a:pt x="120" y="372"/>
                </a:lnTo>
                <a:lnTo>
                  <a:pt x="120" y="372"/>
                </a:lnTo>
                <a:lnTo>
                  <a:pt x="120" y="372"/>
                </a:lnTo>
                <a:lnTo>
                  <a:pt x="114" y="372"/>
                </a:lnTo>
                <a:lnTo>
                  <a:pt x="114" y="372"/>
                </a:lnTo>
                <a:lnTo>
                  <a:pt x="114" y="366"/>
                </a:lnTo>
                <a:lnTo>
                  <a:pt x="114" y="366"/>
                </a:lnTo>
                <a:lnTo>
                  <a:pt x="114" y="366"/>
                </a:lnTo>
                <a:lnTo>
                  <a:pt x="114" y="366"/>
                </a:lnTo>
                <a:lnTo>
                  <a:pt x="114" y="366"/>
                </a:lnTo>
                <a:lnTo>
                  <a:pt x="114" y="366"/>
                </a:lnTo>
                <a:lnTo>
                  <a:pt x="114" y="366"/>
                </a:lnTo>
                <a:lnTo>
                  <a:pt x="114" y="366"/>
                </a:lnTo>
                <a:lnTo>
                  <a:pt x="114" y="366"/>
                </a:lnTo>
                <a:lnTo>
                  <a:pt x="114" y="366"/>
                </a:lnTo>
                <a:lnTo>
                  <a:pt x="114" y="366"/>
                </a:lnTo>
                <a:lnTo>
                  <a:pt x="114" y="366"/>
                </a:lnTo>
                <a:lnTo>
                  <a:pt x="114" y="366"/>
                </a:lnTo>
                <a:lnTo>
                  <a:pt x="114" y="360"/>
                </a:lnTo>
                <a:lnTo>
                  <a:pt x="108" y="360"/>
                </a:lnTo>
                <a:lnTo>
                  <a:pt x="108" y="360"/>
                </a:lnTo>
                <a:lnTo>
                  <a:pt x="108" y="360"/>
                </a:lnTo>
                <a:lnTo>
                  <a:pt x="108" y="360"/>
                </a:lnTo>
                <a:lnTo>
                  <a:pt x="108" y="360"/>
                </a:lnTo>
                <a:lnTo>
                  <a:pt x="108" y="360"/>
                </a:lnTo>
                <a:lnTo>
                  <a:pt x="108" y="360"/>
                </a:lnTo>
                <a:lnTo>
                  <a:pt x="108" y="360"/>
                </a:lnTo>
                <a:lnTo>
                  <a:pt x="108" y="360"/>
                </a:lnTo>
                <a:lnTo>
                  <a:pt x="108" y="354"/>
                </a:lnTo>
                <a:lnTo>
                  <a:pt x="108" y="354"/>
                </a:lnTo>
                <a:lnTo>
                  <a:pt x="108" y="354"/>
                </a:lnTo>
                <a:lnTo>
                  <a:pt x="108" y="354"/>
                </a:lnTo>
                <a:lnTo>
                  <a:pt x="108" y="354"/>
                </a:lnTo>
                <a:lnTo>
                  <a:pt x="108" y="354"/>
                </a:lnTo>
                <a:lnTo>
                  <a:pt x="108" y="354"/>
                </a:lnTo>
                <a:lnTo>
                  <a:pt x="108" y="354"/>
                </a:lnTo>
                <a:lnTo>
                  <a:pt x="108" y="354"/>
                </a:lnTo>
                <a:lnTo>
                  <a:pt x="108" y="348"/>
                </a:lnTo>
                <a:lnTo>
                  <a:pt x="102" y="348"/>
                </a:lnTo>
                <a:lnTo>
                  <a:pt x="102" y="348"/>
                </a:lnTo>
                <a:lnTo>
                  <a:pt x="102" y="348"/>
                </a:lnTo>
                <a:lnTo>
                  <a:pt x="108" y="348"/>
                </a:lnTo>
                <a:lnTo>
                  <a:pt x="108" y="348"/>
                </a:lnTo>
                <a:lnTo>
                  <a:pt x="102" y="348"/>
                </a:lnTo>
                <a:lnTo>
                  <a:pt x="102" y="342"/>
                </a:lnTo>
                <a:lnTo>
                  <a:pt x="102" y="342"/>
                </a:lnTo>
                <a:lnTo>
                  <a:pt x="102" y="342"/>
                </a:lnTo>
                <a:lnTo>
                  <a:pt x="102" y="342"/>
                </a:lnTo>
                <a:lnTo>
                  <a:pt x="102" y="342"/>
                </a:lnTo>
                <a:lnTo>
                  <a:pt x="102" y="342"/>
                </a:lnTo>
                <a:lnTo>
                  <a:pt x="102" y="342"/>
                </a:lnTo>
                <a:lnTo>
                  <a:pt x="102" y="342"/>
                </a:lnTo>
                <a:lnTo>
                  <a:pt x="102" y="342"/>
                </a:lnTo>
                <a:lnTo>
                  <a:pt x="102" y="342"/>
                </a:lnTo>
                <a:lnTo>
                  <a:pt x="102" y="336"/>
                </a:lnTo>
                <a:lnTo>
                  <a:pt x="102" y="336"/>
                </a:lnTo>
                <a:lnTo>
                  <a:pt x="96" y="336"/>
                </a:lnTo>
                <a:lnTo>
                  <a:pt x="102" y="336"/>
                </a:lnTo>
                <a:lnTo>
                  <a:pt x="102" y="336"/>
                </a:lnTo>
                <a:lnTo>
                  <a:pt x="102" y="336"/>
                </a:lnTo>
                <a:lnTo>
                  <a:pt x="102" y="336"/>
                </a:lnTo>
                <a:lnTo>
                  <a:pt x="96" y="336"/>
                </a:lnTo>
                <a:lnTo>
                  <a:pt x="96" y="330"/>
                </a:lnTo>
                <a:lnTo>
                  <a:pt x="96" y="336"/>
                </a:lnTo>
                <a:lnTo>
                  <a:pt x="96" y="336"/>
                </a:lnTo>
                <a:lnTo>
                  <a:pt x="96" y="330"/>
                </a:lnTo>
                <a:lnTo>
                  <a:pt x="96" y="330"/>
                </a:lnTo>
                <a:lnTo>
                  <a:pt x="96" y="330"/>
                </a:lnTo>
                <a:lnTo>
                  <a:pt x="96" y="330"/>
                </a:lnTo>
                <a:lnTo>
                  <a:pt x="96" y="330"/>
                </a:lnTo>
                <a:lnTo>
                  <a:pt x="96" y="330"/>
                </a:lnTo>
                <a:lnTo>
                  <a:pt x="96" y="330"/>
                </a:lnTo>
                <a:lnTo>
                  <a:pt x="96" y="330"/>
                </a:lnTo>
                <a:lnTo>
                  <a:pt x="96" y="330"/>
                </a:lnTo>
                <a:lnTo>
                  <a:pt x="96" y="330"/>
                </a:lnTo>
                <a:lnTo>
                  <a:pt x="96" y="330"/>
                </a:lnTo>
                <a:lnTo>
                  <a:pt x="96" y="330"/>
                </a:lnTo>
                <a:lnTo>
                  <a:pt x="96" y="324"/>
                </a:lnTo>
                <a:lnTo>
                  <a:pt x="96" y="324"/>
                </a:lnTo>
                <a:lnTo>
                  <a:pt x="96" y="324"/>
                </a:lnTo>
                <a:lnTo>
                  <a:pt x="96" y="324"/>
                </a:lnTo>
                <a:lnTo>
                  <a:pt x="96" y="324"/>
                </a:lnTo>
                <a:lnTo>
                  <a:pt x="96" y="324"/>
                </a:lnTo>
                <a:lnTo>
                  <a:pt x="96" y="324"/>
                </a:lnTo>
                <a:lnTo>
                  <a:pt x="96" y="324"/>
                </a:lnTo>
                <a:lnTo>
                  <a:pt x="96" y="324"/>
                </a:lnTo>
                <a:lnTo>
                  <a:pt x="96" y="324"/>
                </a:lnTo>
                <a:lnTo>
                  <a:pt x="96" y="324"/>
                </a:lnTo>
                <a:lnTo>
                  <a:pt x="96" y="318"/>
                </a:lnTo>
                <a:lnTo>
                  <a:pt x="96" y="318"/>
                </a:lnTo>
                <a:lnTo>
                  <a:pt x="96" y="318"/>
                </a:lnTo>
                <a:lnTo>
                  <a:pt x="96" y="318"/>
                </a:lnTo>
                <a:lnTo>
                  <a:pt x="102" y="318"/>
                </a:lnTo>
                <a:lnTo>
                  <a:pt x="102" y="312"/>
                </a:lnTo>
                <a:lnTo>
                  <a:pt x="102" y="312"/>
                </a:lnTo>
                <a:lnTo>
                  <a:pt x="102" y="312"/>
                </a:lnTo>
                <a:lnTo>
                  <a:pt x="96" y="312"/>
                </a:lnTo>
                <a:lnTo>
                  <a:pt x="96" y="306"/>
                </a:lnTo>
                <a:lnTo>
                  <a:pt x="96" y="306"/>
                </a:lnTo>
                <a:lnTo>
                  <a:pt x="96" y="306"/>
                </a:lnTo>
                <a:lnTo>
                  <a:pt x="96" y="306"/>
                </a:lnTo>
                <a:lnTo>
                  <a:pt x="96" y="306"/>
                </a:lnTo>
                <a:lnTo>
                  <a:pt x="96" y="300"/>
                </a:lnTo>
                <a:lnTo>
                  <a:pt x="96" y="300"/>
                </a:lnTo>
                <a:lnTo>
                  <a:pt x="96" y="300"/>
                </a:lnTo>
                <a:lnTo>
                  <a:pt x="96" y="300"/>
                </a:lnTo>
                <a:lnTo>
                  <a:pt x="96" y="300"/>
                </a:lnTo>
                <a:lnTo>
                  <a:pt x="96" y="300"/>
                </a:lnTo>
                <a:lnTo>
                  <a:pt x="96" y="300"/>
                </a:lnTo>
                <a:lnTo>
                  <a:pt x="90" y="300"/>
                </a:lnTo>
                <a:lnTo>
                  <a:pt x="96" y="300"/>
                </a:lnTo>
                <a:lnTo>
                  <a:pt x="90" y="294"/>
                </a:lnTo>
                <a:lnTo>
                  <a:pt x="90" y="300"/>
                </a:lnTo>
                <a:lnTo>
                  <a:pt x="90" y="294"/>
                </a:lnTo>
                <a:lnTo>
                  <a:pt x="90" y="300"/>
                </a:lnTo>
                <a:lnTo>
                  <a:pt x="90" y="300"/>
                </a:lnTo>
                <a:lnTo>
                  <a:pt x="90" y="294"/>
                </a:lnTo>
                <a:lnTo>
                  <a:pt x="90" y="294"/>
                </a:lnTo>
                <a:lnTo>
                  <a:pt x="90" y="294"/>
                </a:lnTo>
                <a:lnTo>
                  <a:pt x="90" y="294"/>
                </a:lnTo>
                <a:lnTo>
                  <a:pt x="90" y="294"/>
                </a:lnTo>
                <a:lnTo>
                  <a:pt x="84" y="294"/>
                </a:lnTo>
                <a:lnTo>
                  <a:pt x="84" y="294"/>
                </a:lnTo>
                <a:lnTo>
                  <a:pt x="84" y="288"/>
                </a:lnTo>
                <a:lnTo>
                  <a:pt x="78" y="288"/>
                </a:lnTo>
                <a:lnTo>
                  <a:pt x="78" y="282"/>
                </a:lnTo>
                <a:lnTo>
                  <a:pt x="78" y="282"/>
                </a:lnTo>
                <a:lnTo>
                  <a:pt x="78" y="282"/>
                </a:lnTo>
                <a:lnTo>
                  <a:pt x="78" y="282"/>
                </a:lnTo>
                <a:lnTo>
                  <a:pt x="78" y="282"/>
                </a:lnTo>
                <a:lnTo>
                  <a:pt x="78" y="282"/>
                </a:lnTo>
                <a:lnTo>
                  <a:pt x="78" y="282"/>
                </a:lnTo>
                <a:lnTo>
                  <a:pt x="78" y="282"/>
                </a:lnTo>
                <a:lnTo>
                  <a:pt x="78" y="282"/>
                </a:lnTo>
                <a:lnTo>
                  <a:pt x="78" y="282"/>
                </a:lnTo>
                <a:lnTo>
                  <a:pt x="72" y="276"/>
                </a:lnTo>
                <a:lnTo>
                  <a:pt x="72" y="276"/>
                </a:lnTo>
                <a:lnTo>
                  <a:pt x="72" y="276"/>
                </a:lnTo>
                <a:lnTo>
                  <a:pt x="72" y="276"/>
                </a:lnTo>
                <a:lnTo>
                  <a:pt x="72" y="276"/>
                </a:lnTo>
                <a:lnTo>
                  <a:pt x="72" y="270"/>
                </a:lnTo>
                <a:lnTo>
                  <a:pt x="72" y="270"/>
                </a:lnTo>
                <a:lnTo>
                  <a:pt x="72" y="270"/>
                </a:lnTo>
                <a:lnTo>
                  <a:pt x="72" y="270"/>
                </a:lnTo>
                <a:lnTo>
                  <a:pt x="66" y="264"/>
                </a:lnTo>
                <a:lnTo>
                  <a:pt x="66" y="264"/>
                </a:lnTo>
                <a:lnTo>
                  <a:pt x="66" y="258"/>
                </a:lnTo>
                <a:lnTo>
                  <a:pt x="66" y="258"/>
                </a:lnTo>
                <a:lnTo>
                  <a:pt x="66" y="258"/>
                </a:lnTo>
                <a:lnTo>
                  <a:pt x="66" y="258"/>
                </a:lnTo>
                <a:lnTo>
                  <a:pt x="66" y="252"/>
                </a:lnTo>
                <a:lnTo>
                  <a:pt x="66" y="252"/>
                </a:lnTo>
                <a:lnTo>
                  <a:pt x="66" y="252"/>
                </a:lnTo>
                <a:lnTo>
                  <a:pt x="66" y="252"/>
                </a:lnTo>
                <a:lnTo>
                  <a:pt x="66" y="252"/>
                </a:lnTo>
                <a:lnTo>
                  <a:pt x="60" y="252"/>
                </a:lnTo>
                <a:lnTo>
                  <a:pt x="60" y="252"/>
                </a:lnTo>
                <a:lnTo>
                  <a:pt x="60" y="252"/>
                </a:lnTo>
                <a:lnTo>
                  <a:pt x="60" y="246"/>
                </a:lnTo>
                <a:lnTo>
                  <a:pt x="60" y="246"/>
                </a:lnTo>
                <a:lnTo>
                  <a:pt x="60" y="240"/>
                </a:lnTo>
                <a:lnTo>
                  <a:pt x="60" y="240"/>
                </a:lnTo>
                <a:lnTo>
                  <a:pt x="54" y="240"/>
                </a:lnTo>
                <a:lnTo>
                  <a:pt x="54" y="240"/>
                </a:lnTo>
                <a:lnTo>
                  <a:pt x="54" y="240"/>
                </a:lnTo>
                <a:lnTo>
                  <a:pt x="54" y="240"/>
                </a:lnTo>
                <a:lnTo>
                  <a:pt x="54" y="234"/>
                </a:lnTo>
                <a:lnTo>
                  <a:pt x="54" y="234"/>
                </a:lnTo>
                <a:lnTo>
                  <a:pt x="54" y="234"/>
                </a:lnTo>
                <a:lnTo>
                  <a:pt x="54" y="234"/>
                </a:lnTo>
                <a:lnTo>
                  <a:pt x="54" y="228"/>
                </a:lnTo>
                <a:lnTo>
                  <a:pt x="54" y="228"/>
                </a:lnTo>
                <a:lnTo>
                  <a:pt x="54" y="228"/>
                </a:lnTo>
                <a:lnTo>
                  <a:pt x="54" y="228"/>
                </a:lnTo>
                <a:lnTo>
                  <a:pt x="54" y="228"/>
                </a:lnTo>
                <a:lnTo>
                  <a:pt x="54" y="222"/>
                </a:lnTo>
                <a:lnTo>
                  <a:pt x="54" y="222"/>
                </a:lnTo>
                <a:lnTo>
                  <a:pt x="54" y="222"/>
                </a:lnTo>
                <a:lnTo>
                  <a:pt x="54" y="222"/>
                </a:lnTo>
                <a:lnTo>
                  <a:pt x="54" y="222"/>
                </a:lnTo>
                <a:lnTo>
                  <a:pt x="54" y="222"/>
                </a:lnTo>
                <a:lnTo>
                  <a:pt x="54" y="222"/>
                </a:lnTo>
                <a:lnTo>
                  <a:pt x="54" y="216"/>
                </a:lnTo>
                <a:lnTo>
                  <a:pt x="54" y="216"/>
                </a:lnTo>
                <a:lnTo>
                  <a:pt x="54" y="216"/>
                </a:lnTo>
                <a:lnTo>
                  <a:pt x="54" y="216"/>
                </a:lnTo>
                <a:lnTo>
                  <a:pt x="54" y="210"/>
                </a:lnTo>
                <a:lnTo>
                  <a:pt x="48" y="210"/>
                </a:lnTo>
                <a:lnTo>
                  <a:pt x="48" y="210"/>
                </a:lnTo>
                <a:lnTo>
                  <a:pt x="54" y="210"/>
                </a:lnTo>
                <a:lnTo>
                  <a:pt x="48" y="210"/>
                </a:lnTo>
                <a:lnTo>
                  <a:pt x="48" y="210"/>
                </a:lnTo>
                <a:lnTo>
                  <a:pt x="54" y="204"/>
                </a:lnTo>
                <a:lnTo>
                  <a:pt x="48" y="204"/>
                </a:lnTo>
                <a:lnTo>
                  <a:pt x="48" y="198"/>
                </a:lnTo>
                <a:lnTo>
                  <a:pt x="48" y="198"/>
                </a:lnTo>
                <a:lnTo>
                  <a:pt x="48" y="192"/>
                </a:lnTo>
                <a:lnTo>
                  <a:pt x="48" y="192"/>
                </a:lnTo>
                <a:lnTo>
                  <a:pt x="42" y="192"/>
                </a:lnTo>
                <a:lnTo>
                  <a:pt x="42" y="186"/>
                </a:lnTo>
                <a:lnTo>
                  <a:pt x="42" y="186"/>
                </a:lnTo>
                <a:lnTo>
                  <a:pt x="42" y="186"/>
                </a:lnTo>
                <a:lnTo>
                  <a:pt x="42" y="180"/>
                </a:lnTo>
                <a:lnTo>
                  <a:pt x="36" y="180"/>
                </a:lnTo>
                <a:lnTo>
                  <a:pt x="36" y="180"/>
                </a:lnTo>
                <a:lnTo>
                  <a:pt x="36" y="174"/>
                </a:lnTo>
                <a:lnTo>
                  <a:pt x="30" y="174"/>
                </a:lnTo>
                <a:lnTo>
                  <a:pt x="30" y="174"/>
                </a:lnTo>
                <a:lnTo>
                  <a:pt x="30" y="174"/>
                </a:lnTo>
                <a:lnTo>
                  <a:pt x="36" y="174"/>
                </a:lnTo>
                <a:lnTo>
                  <a:pt x="30" y="168"/>
                </a:lnTo>
                <a:lnTo>
                  <a:pt x="30" y="168"/>
                </a:lnTo>
                <a:lnTo>
                  <a:pt x="30" y="168"/>
                </a:lnTo>
                <a:lnTo>
                  <a:pt x="30" y="162"/>
                </a:lnTo>
                <a:lnTo>
                  <a:pt x="30" y="162"/>
                </a:lnTo>
                <a:lnTo>
                  <a:pt x="30" y="162"/>
                </a:lnTo>
                <a:lnTo>
                  <a:pt x="30" y="162"/>
                </a:lnTo>
                <a:lnTo>
                  <a:pt x="30" y="162"/>
                </a:lnTo>
                <a:lnTo>
                  <a:pt x="30" y="162"/>
                </a:lnTo>
                <a:lnTo>
                  <a:pt x="24" y="162"/>
                </a:lnTo>
                <a:lnTo>
                  <a:pt x="24" y="162"/>
                </a:lnTo>
                <a:lnTo>
                  <a:pt x="24" y="162"/>
                </a:lnTo>
                <a:lnTo>
                  <a:pt x="30" y="156"/>
                </a:lnTo>
                <a:lnTo>
                  <a:pt x="24" y="156"/>
                </a:lnTo>
                <a:lnTo>
                  <a:pt x="24" y="156"/>
                </a:lnTo>
                <a:lnTo>
                  <a:pt x="24" y="156"/>
                </a:lnTo>
                <a:lnTo>
                  <a:pt x="24" y="150"/>
                </a:lnTo>
                <a:lnTo>
                  <a:pt x="24" y="150"/>
                </a:lnTo>
                <a:lnTo>
                  <a:pt x="24" y="150"/>
                </a:lnTo>
                <a:lnTo>
                  <a:pt x="30" y="150"/>
                </a:lnTo>
                <a:lnTo>
                  <a:pt x="24" y="150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44"/>
                </a:lnTo>
                <a:lnTo>
                  <a:pt x="24" y="138"/>
                </a:lnTo>
                <a:lnTo>
                  <a:pt x="24" y="138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24" y="132"/>
                </a:lnTo>
                <a:lnTo>
                  <a:pt x="18" y="132"/>
                </a:lnTo>
                <a:lnTo>
                  <a:pt x="18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14"/>
                </a:lnTo>
                <a:lnTo>
                  <a:pt x="12" y="114"/>
                </a:lnTo>
                <a:lnTo>
                  <a:pt x="12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2"/>
                </a:lnTo>
                <a:lnTo>
                  <a:pt x="6" y="102"/>
                </a:lnTo>
                <a:lnTo>
                  <a:pt x="0" y="102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lnTo>
                  <a:pt x="0" y="9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94" name="Freeform 527"/>
          <p:cNvSpPr>
            <a:spLocks/>
          </p:cNvSpPr>
          <p:nvPr/>
        </p:nvSpPr>
        <p:spPr bwMode="auto">
          <a:xfrm>
            <a:off x="5239418" y="3049332"/>
            <a:ext cx="250538" cy="321205"/>
          </a:xfrm>
          <a:custGeom>
            <a:avLst/>
            <a:gdLst>
              <a:gd name="T0" fmla="*/ 24 w 234"/>
              <a:gd name="T1" fmla="*/ 6 h 300"/>
              <a:gd name="T2" fmla="*/ 30 w 234"/>
              <a:gd name="T3" fmla="*/ 6 h 300"/>
              <a:gd name="T4" fmla="*/ 36 w 234"/>
              <a:gd name="T5" fmla="*/ 12 h 300"/>
              <a:gd name="T6" fmla="*/ 54 w 234"/>
              <a:gd name="T7" fmla="*/ 6 h 300"/>
              <a:gd name="T8" fmla="*/ 72 w 234"/>
              <a:gd name="T9" fmla="*/ 12 h 300"/>
              <a:gd name="T10" fmla="*/ 78 w 234"/>
              <a:gd name="T11" fmla="*/ 12 h 300"/>
              <a:gd name="T12" fmla="*/ 96 w 234"/>
              <a:gd name="T13" fmla="*/ 30 h 300"/>
              <a:gd name="T14" fmla="*/ 102 w 234"/>
              <a:gd name="T15" fmla="*/ 12 h 300"/>
              <a:gd name="T16" fmla="*/ 114 w 234"/>
              <a:gd name="T17" fmla="*/ 18 h 300"/>
              <a:gd name="T18" fmla="*/ 120 w 234"/>
              <a:gd name="T19" fmla="*/ 18 h 300"/>
              <a:gd name="T20" fmla="*/ 132 w 234"/>
              <a:gd name="T21" fmla="*/ 6 h 300"/>
              <a:gd name="T22" fmla="*/ 138 w 234"/>
              <a:gd name="T23" fmla="*/ 6 h 300"/>
              <a:gd name="T24" fmla="*/ 150 w 234"/>
              <a:gd name="T25" fmla="*/ 6 h 300"/>
              <a:gd name="T26" fmla="*/ 156 w 234"/>
              <a:gd name="T27" fmla="*/ 12 h 300"/>
              <a:gd name="T28" fmla="*/ 156 w 234"/>
              <a:gd name="T29" fmla="*/ 18 h 300"/>
              <a:gd name="T30" fmla="*/ 150 w 234"/>
              <a:gd name="T31" fmla="*/ 30 h 300"/>
              <a:gd name="T32" fmla="*/ 150 w 234"/>
              <a:gd name="T33" fmla="*/ 36 h 300"/>
              <a:gd name="T34" fmla="*/ 150 w 234"/>
              <a:gd name="T35" fmla="*/ 54 h 300"/>
              <a:gd name="T36" fmla="*/ 162 w 234"/>
              <a:gd name="T37" fmla="*/ 66 h 300"/>
              <a:gd name="T38" fmla="*/ 174 w 234"/>
              <a:gd name="T39" fmla="*/ 48 h 300"/>
              <a:gd name="T40" fmla="*/ 186 w 234"/>
              <a:gd name="T41" fmla="*/ 48 h 300"/>
              <a:gd name="T42" fmla="*/ 192 w 234"/>
              <a:gd name="T43" fmla="*/ 42 h 300"/>
              <a:gd name="T44" fmla="*/ 198 w 234"/>
              <a:gd name="T45" fmla="*/ 54 h 300"/>
              <a:gd name="T46" fmla="*/ 192 w 234"/>
              <a:gd name="T47" fmla="*/ 60 h 300"/>
              <a:gd name="T48" fmla="*/ 192 w 234"/>
              <a:gd name="T49" fmla="*/ 72 h 300"/>
              <a:gd name="T50" fmla="*/ 198 w 234"/>
              <a:gd name="T51" fmla="*/ 72 h 300"/>
              <a:gd name="T52" fmla="*/ 198 w 234"/>
              <a:gd name="T53" fmla="*/ 84 h 300"/>
              <a:gd name="T54" fmla="*/ 192 w 234"/>
              <a:gd name="T55" fmla="*/ 90 h 300"/>
              <a:gd name="T56" fmla="*/ 222 w 234"/>
              <a:gd name="T57" fmla="*/ 84 h 300"/>
              <a:gd name="T58" fmla="*/ 234 w 234"/>
              <a:gd name="T59" fmla="*/ 96 h 300"/>
              <a:gd name="T60" fmla="*/ 228 w 234"/>
              <a:gd name="T61" fmla="*/ 108 h 300"/>
              <a:gd name="T62" fmla="*/ 222 w 234"/>
              <a:gd name="T63" fmla="*/ 120 h 300"/>
              <a:gd name="T64" fmla="*/ 222 w 234"/>
              <a:gd name="T65" fmla="*/ 144 h 300"/>
              <a:gd name="T66" fmla="*/ 222 w 234"/>
              <a:gd name="T67" fmla="*/ 162 h 300"/>
              <a:gd name="T68" fmla="*/ 216 w 234"/>
              <a:gd name="T69" fmla="*/ 168 h 300"/>
              <a:gd name="T70" fmla="*/ 210 w 234"/>
              <a:gd name="T71" fmla="*/ 180 h 300"/>
              <a:gd name="T72" fmla="*/ 204 w 234"/>
              <a:gd name="T73" fmla="*/ 186 h 300"/>
              <a:gd name="T74" fmla="*/ 198 w 234"/>
              <a:gd name="T75" fmla="*/ 192 h 300"/>
              <a:gd name="T76" fmla="*/ 192 w 234"/>
              <a:gd name="T77" fmla="*/ 204 h 300"/>
              <a:gd name="T78" fmla="*/ 186 w 234"/>
              <a:gd name="T79" fmla="*/ 216 h 300"/>
              <a:gd name="T80" fmla="*/ 180 w 234"/>
              <a:gd name="T81" fmla="*/ 228 h 300"/>
              <a:gd name="T82" fmla="*/ 168 w 234"/>
              <a:gd name="T83" fmla="*/ 246 h 300"/>
              <a:gd name="T84" fmla="*/ 162 w 234"/>
              <a:gd name="T85" fmla="*/ 258 h 300"/>
              <a:gd name="T86" fmla="*/ 156 w 234"/>
              <a:gd name="T87" fmla="*/ 264 h 300"/>
              <a:gd name="T88" fmla="*/ 144 w 234"/>
              <a:gd name="T89" fmla="*/ 270 h 300"/>
              <a:gd name="T90" fmla="*/ 132 w 234"/>
              <a:gd name="T91" fmla="*/ 276 h 300"/>
              <a:gd name="T92" fmla="*/ 138 w 234"/>
              <a:gd name="T93" fmla="*/ 282 h 300"/>
              <a:gd name="T94" fmla="*/ 144 w 234"/>
              <a:gd name="T95" fmla="*/ 300 h 300"/>
              <a:gd name="T96" fmla="*/ 36 w 234"/>
              <a:gd name="T97" fmla="*/ 84 h 300"/>
              <a:gd name="T98" fmla="*/ 30 w 234"/>
              <a:gd name="T99" fmla="*/ 72 h 300"/>
              <a:gd name="T100" fmla="*/ 24 w 234"/>
              <a:gd name="T101" fmla="*/ 66 h 300"/>
              <a:gd name="T102" fmla="*/ 24 w 234"/>
              <a:gd name="T103" fmla="*/ 60 h 300"/>
              <a:gd name="T104" fmla="*/ 18 w 234"/>
              <a:gd name="T105" fmla="*/ 60 h 300"/>
              <a:gd name="T106" fmla="*/ 24 w 234"/>
              <a:gd name="T107" fmla="*/ 54 h 300"/>
              <a:gd name="T108" fmla="*/ 18 w 234"/>
              <a:gd name="T109" fmla="*/ 54 h 300"/>
              <a:gd name="T110" fmla="*/ 18 w 234"/>
              <a:gd name="T111" fmla="*/ 48 h 300"/>
              <a:gd name="T112" fmla="*/ 12 w 234"/>
              <a:gd name="T113" fmla="*/ 42 h 300"/>
              <a:gd name="T114" fmla="*/ 12 w 234"/>
              <a:gd name="T115" fmla="*/ 30 h 300"/>
              <a:gd name="T116" fmla="*/ 12 w 234"/>
              <a:gd name="T117" fmla="*/ 24 h 300"/>
              <a:gd name="T118" fmla="*/ 12 w 234"/>
              <a:gd name="T119" fmla="*/ 18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34" h="300">
                <a:moveTo>
                  <a:pt x="18" y="6"/>
                </a:move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6" y="12"/>
                </a:lnTo>
                <a:lnTo>
                  <a:pt x="36" y="12"/>
                </a:lnTo>
                <a:lnTo>
                  <a:pt x="42" y="12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24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8" y="12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44" y="6"/>
                </a:lnTo>
                <a:lnTo>
                  <a:pt x="144" y="12"/>
                </a:lnTo>
                <a:lnTo>
                  <a:pt x="144" y="12"/>
                </a:lnTo>
                <a:lnTo>
                  <a:pt x="144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6" y="0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24"/>
                </a:lnTo>
                <a:lnTo>
                  <a:pt x="156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42"/>
                </a:lnTo>
                <a:lnTo>
                  <a:pt x="150" y="48"/>
                </a:lnTo>
                <a:lnTo>
                  <a:pt x="150" y="48"/>
                </a:lnTo>
                <a:lnTo>
                  <a:pt x="156" y="48"/>
                </a:lnTo>
                <a:lnTo>
                  <a:pt x="156" y="48"/>
                </a:lnTo>
                <a:lnTo>
                  <a:pt x="150" y="54"/>
                </a:lnTo>
                <a:lnTo>
                  <a:pt x="156" y="54"/>
                </a:lnTo>
                <a:lnTo>
                  <a:pt x="156" y="60"/>
                </a:lnTo>
                <a:lnTo>
                  <a:pt x="156" y="60"/>
                </a:lnTo>
                <a:lnTo>
                  <a:pt x="162" y="72"/>
                </a:lnTo>
                <a:lnTo>
                  <a:pt x="162" y="72"/>
                </a:lnTo>
                <a:lnTo>
                  <a:pt x="162" y="72"/>
                </a:lnTo>
                <a:lnTo>
                  <a:pt x="162" y="66"/>
                </a:lnTo>
                <a:lnTo>
                  <a:pt x="162" y="66"/>
                </a:lnTo>
                <a:lnTo>
                  <a:pt x="162" y="60"/>
                </a:lnTo>
                <a:lnTo>
                  <a:pt x="168" y="60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74" y="54"/>
                </a:lnTo>
                <a:lnTo>
                  <a:pt x="174" y="48"/>
                </a:lnTo>
                <a:lnTo>
                  <a:pt x="174" y="54"/>
                </a:lnTo>
                <a:lnTo>
                  <a:pt x="174" y="48"/>
                </a:lnTo>
                <a:lnTo>
                  <a:pt x="174" y="48"/>
                </a:lnTo>
                <a:lnTo>
                  <a:pt x="180" y="48"/>
                </a:lnTo>
                <a:lnTo>
                  <a:pt x="180" y="48"/>
                </a:lnTo>
                <a:lnTo>
                  <a:pt x="186" y="48"/>
                </a:lnTo>
                <a:lnTo>
                  <a:pt x="186" y="48"/>
                </a:lnTo>
                <a:lnTo>
                  <a:pt x="186" y="48"/>
                </a:lnTo>
                <a:lnTo>
                  <a:pt x="186" y="48"/>
                </a:lnTo>
                <a:lnTo>
                  <a:pt x="186" y="48"/>
                </a:lnTo>
                <a:lnTo>
                  <a:pt x="186" y="42"/>
                </a:lnTo>
                <a:lnTo>
                  <a:pt x="192" y="48"/>
                </a:lnTo>
                <a:lnTo>
                  <a:pt x="192" y="42"/>
                </a:lnTo>
                <a:lnTo>
                  <a:pt x="192" y="42"/>
                </a:lnTo>
                <a:lnTo>
                  <a:pt x="192" y="42"/>
                </a:lnTo>
                <a:lnTo>
                  <a:pt x="192" y="42"/>
                </a:lnTo>
                <a:lnTo>
                  <a:pt x="192" y="42"/>
                </a:lnTo>
                <a:lnTo>
                  <a:pt x="198" y="48"/>
                </a:lnTo>
                <a:lnTo>
                  <a:pt x="198" y="48"/>
                </a:lnTo>
                <a:lnTo>
                  <a:pt x="198" y="48"/>
                </a:lnTo>
                <a:lnTo>
                  <a:pt x="198" y="48"/>
                </a:lnTo>
                <a:lnTo>
                  <a:pt x="198" y="48"/>
                </a:lnTo>
                <a:lnTo>
                  <a:pt x="198" y="48"/>
                </a:lnTo>
                <a:lnTo>
                  <a:pt x="198" y="54"/>
                </a:lnTo>
                <a:lnTo>
                  <a:pt x="198" y="54"/>
                </a:lnTo>
                <a:lnTo>
                  <a:pt x="192" y="54"/>
                </a:lnTo>
                <a:lnTo>
                  <a:pt x="192" y="60"/>
                </a:lnTo>
                <a:lnTo>
                  <a:pt x="198" y="60"/>
                </a:lnTo>
                <a:lnTo>
                  <a:pt x="192" y="60"/>
                </a:lnTo>
                <a:lnTo>
                  <a:pt x="198" y="60"/>
                </a:lnTo>
                <a:lnTo>
                  <a:pt x="192" y="60"/>
                </a:lnTo>
                <a:lnTo>
                  <a:pt x="192" y="60"/>
                </a:lnTo>
                <a:lnTo>
                  <a:pt x="192" y="66"/>
                </a:lnTo>
                <a:lnTo>
                  <a:pt x="192" y="66"/>
                </a:lnTo>
                <a:lnTo>
                  <a:pt x="192" y="66"/>
                </a:lnTo>
                <a:lnTo>
                  <a:pt x="192" y="66"/>
                </a:lnTo>
                <a:lnTo>
                  <a:pt x="192" y="66"/>
                </a:lnTo>
                <a:lnTo>
                  <a:pt x="192" y="66"/>
                </a:lnTo>
                <a:lnTo>
                  <a:pt x="192" y="66"/>
                </a:lnTo>
                <a:lnTo>
                  <a:pt x="192" y="72"/>
                </a:lnTo>
                <a:lnTo>
                  <a:pt x="192" y="72"/>
                </a:lnTo>
                <a:lnTo>
                  <a:pt x="192" y="72"/>
                </a:lnTo>
                <a:lnTo>
                  <a:pt x="192" y="72"/>
                </a:lnTo>
                <a:lnTo>
                  <a:pt x="192" y="72"/>
                </a:lnTo>
                <a:lnTo>
                  <a:pt x="192" y="72"/>
                </a:lnTo>
                <a:lnTo>
                  <a:pt x="192" y="72"/>
                </a:lnTo>
                <a:lnTo>
                  <a:pt x="198" y="72"/>
                </a:lnTo>
                <a:lnTo>
                  <a:pt x="198" y="72"/>
                </a:lnTo>
                <a:lnTo>
                  <a:pt x="198" y="72"/>
                </a:lnTo>
                <a:lnTo>
                  <a:pt x="198" y="78"/>
                </a:lnTo>
                <a:lnTo>
                  <a:pt x="198" y="78"/>
                </a:lnTo>
                <a:lnTo>
                  <a:pt x="198" y="78"/>
                </a:lnTo>
                <a:lnTo>
                  <a:pt x="198" y="84"/>
                </a:lnTo>
                <a:lnTo>
                  <a:pt x="198" y="84"/>
                </a:lnTo>
                <a:lnTo>
                  <a:pt x="198" y="84"/>
                </a:lnTo>
                <a:lnTo>
                  <a:pt x="198" y="84"/>
                </a:lnTo>
                <a:lnTo>
                  <a:pt x="198" y="90"/>
                </a:lnTo>
                <a:lnTo>
                  <a:pt x="198" y="90"/>
                </a:lnTo>
                <a:lnTo>
                  <a:pt x="192" y="90"/>
                </a:lnTo>
                <a:lnTo>
                  <a:pt x="192" y="90"/>
                </a:lnTo>
                <a:lnTo>
                  <a:pt x="192" y="90"/>
                </a:lnTo>
                <a:lnTo>
                  <a:pt x="192" y="90"/>
                </a:lnTo>
                <a:lnTo>
                  <a:pt x="192" y="90"/>
                </a:lnTo>
                <a:lnTo>
                  <a:pt x="192" y="90"/>
                </a:lnTo>
                <a:lnTo>
                  <a:pt x="192" y="90"/>
                </a:lnTo>
                <a:lnTo>
                  <a:pt x="192" y="90"/>
                </a:lnTo>
                <a:lnTo>
                  <a:pt x="192" y="90"/>
                </a:lnTo>
                <a:lnTo>
                  <a:pt x="198" y="90"/>
                </a:lnTo>
                <a:lnTo>
                  <a:pt x="198" y="84"/>
                </a:lnTo>
                <a:lnTo>
                  <a:pt x="210" y="84"/>
                </a:lnTo>
                <a:lnTo>
                  <a:pt x="210" y="84"/>
                </a:lnTo>
                <a:lnTo>
                  <a:pt x="222" y="84"/>
                </a:lnTo>
                <a:lnTo>
                  <a:pt x="234" y="84"/>
                </a:lnTo>
                <a:lnTo>
                  <a:pt x="234" y="84"/>
                </a:lnTo>
                <a:lnTo>
                  <a:pt x="234" y="90"/>
                </a:lnTo>
                <a:lnTo>
                  <a:pt x="234" y="90"/>
                </a:lnTo>
                <a:lnTo>
                  <a:pt x="234" y="90"/>
                </a:lnTo>
                <a:lnTo>
                  <a:pt x="234" y="90"/>
                </a:lnTo>
                <a:lnTo>
                  <a:pt x="234" y="96"/>
                </a:lnTo>
                <a:lnTo>
                  <a:pt x="234" y="96"/>
                </a:lnTo>
                <a:lnTo>
                  <a:pt x="234" y="102"/>
                </a:lnTo>
                <a:lnTo>
                  <a:pt x="234" y="102"/>
                </a:lnTo>
                <a:lnTo>
                  <a:pt x="234" y="102"/>
                </a:lnTo>
                <a:lnTo>
                  <a:pt x="234" y="102"/>
                </a:lnTo>
                <a:lnTo>
                  <a:pt x="234" y="102"/>
                </a:lnTo>
                <a:lnTo>
                  <a:pt x="228" y="102"/>
                </a:lnTo>
                <a:lnTo>
                  <a:pt x="228" y="108"/>
                </a:lnTo>
                <a:lnTo>
                  <a:pt x="228" y="108"/>
                </a:lnTo>
                <a:lnTo>
                  <a:pt x="234" y="108"/>
                </a:lnTo>
                <a:lnTo>
                  <a:pt x="228" y="114"/>
                </a:lnTo>
                <a:lnTo>
                  <a:pt x="234" y="114"/>
                </a:lnTo>
                <a:lnTo>
                  <a:pt x="228" y="114"/>
                </a:lnTo>
                <a:lnTo>
                  <a:pt x="228" y="120"/>
                </a:lnTo>
                <a:lnTo>
                  <a:pt x="228" y="120"/>
                </a:lnTo>
                <a:lnTo>
                  <a:pt x="222" y="120"/>
                </a:lnTo>
                <a:lnTo>
                  <a:pt x="222" y="120"/>
                </a:lnTo>
                <a:lnTo>
                  <a:pt x="222" y="126"/>
                </a:lnTo>
                <a:lnTo>
                  <a:pt x="228" y="126"/>
                </a:lnTo>
                <a:lnTo>
                  <a:pt x="222" y="132"/>
                </a:lnTo>
                <a:lnTo>
                  <a:pt x="222" y="132"/>
                </a:lnTo>
                <a:lnTo>
                  <a:pt x="222" y="138"/>
                </a:lnTo>
                <a:lnTo>
                  <a:pt x="222" y="138"/>
                </a:lnTo>
                <a:lnTo>
                  <a:pt x="216" y="144"/>
                </a:lnTo>
                <a:lnTo>
                  <a:pt x="222" y="144"/>
                </a:lnTo>
                <a:lnTo>
                  <a:pt x="222" y="150"/>
                </a:lnTo>
                <a:lnTo>
                  <a:pt x="222" y="150"/>
                </a:lnTo>
                <a:lnTo>
                  <a:pt x="216" y="150"/>
                </a:lnTo>
                <a:lnTo>
                  <a:pt x="222" y="156"/>
                </a:lnTo>
                <a:lnTo>
                  <a:pt x="222" y="156"/>
                </a:lnTo>
                <a:lnTo>
                  <a:pt x="222" y="156"/>
                </a:lnTo>
                <a:lnTo>
                  <a:pt x="222" y="156"/>
                </a:lnTo>
                <a:lnTo>
                  <a:pt x="222" y="162"/>
                </a:lnTo>
                <a:lnTo>
                  <a:pt x="222" y="162"/>
                </a:lnTo>
                <a:lnTo>
                  <a:pt x="222" y="162"/>
                </a:lnTo>
                <a:lnTo>
                  <a:pt x="222" y="162"/>
                </a:lnTo>
                <a:lnTo>
                  <a:pt x="222" y="162"/>
                </a:lnTo>
                <a:lnTo>
                  <a:pt x="222" y="162"/>
                </a:lnTo>
                <a:lnTo>
                  <a:pt x="222" y="162"/>
                </a:lnTo>
                <a:lnTo>
                  <a:pt x="222" y="168"/>
                </a:lnTo>
                <a:lnTo>
                  <a:pt x="216" y="168"/>
                </a:lnTo>
                <a:lnTo>
                  <a:pt x="216" y="168"/>
                </a:lnTo>
                <a:lnTo>
                  <a:pt x="216" y="168"/>
                </a:lnTo>
                <a:lnTo>
                  <a:pt x="216" y="174"/>
                </a:lnTo>
                <a:lnTo>
                  <a:pt x="210" y="174"/>
                </a:lnTo>
                <a:lnTo>
                  <a:pt x="210" y="174"/>
                </a:lnTo>
                <a:lnTo>
                  <a:pt x="210" y="174"/>
                </a:lnTo>
                <a:lnTo>
                  <a:pt x="210" y="180"/>
                </a:lnTo>
                <a:lnTo>
                  <a:pt x="210" y="180"/>
                </a:lnTo>
                <a:lnTo>
                  <a:pt x="210" y="180"/>
                </a:lnTo>
                <a:lnTo>
                  <a:pt x="210" y="180"/>
                </a:lnTo>
                <a:lnTo>
                  <a:pt x="204" y="180"/>
                </a:lnTo>
                <a:lnTo>
                  <a:pt x="204" y="180"/>
                </a:lnTo>
                <a:lnTo>
                  <a:pt x="204" y="180"/>
                </a:lnTo>
                <a:lnTo>
                  <a:pt x="204" y="180"/>
                </a:lnTo>
                <a:lnTo>
                  <a:pt x="204" y="186"/>
                </a:lnTo>
                <a:lnTo>
                  <a:pt x="204" y="186"/>
                </a:lnTo>
                <a:lnTo>
                  <a:pt x="198" y="186"/>
                </a:lnTo>
                <a:lnTo>
                  <a:pt x="204" y="186"/>
                </a:lnTo>
                <a:lnTo>
                  <a:pt x="198" y="192"/>
                </a:lnTo>
                <a:lnTo>
                  <a:pt x="198" y="192"/>
                </a:lnTo>
                <a:lnTo>
                  <a:pt x="198" y="192"/>
                </a:lnTo>
                <a:lnTo>
                  <a:pt x="198" y="192"/>
                </a:lnTo>
                <a:lnTo>
                  <a:pt x="198" y="192"/>
                </a:lnTo>
                <a:lnTo>
                  <a:pt x="198" y="192"/>
                </a:lnTo>
                <a:lnTo>
                  <a:pt x="192" y="192"/>
                </a:lnTo>
                <a:lnTo>
                  <a:pt x="192" y="192"/>
                </a:lnTo>
                <a:lnTo>
                  <a:pt x="192" y="192"/>
                </a:lnTo>
                <a:lnTo>
                  <a:pt x="192" y="192"/>
                </a:lnTo>
                <a:lnTo>
                  <a:pt x="192" y="198"/>
                </a:lnTo>
                <a:lnTo>
                  <a:pt x="192" y="198"/>
                </a:lnTo>
                <a:lnTo>
                  <a:pt x="192" y="198"/>
                </a:lnTo>
                <a:lnTo>
                  <a:pt x="192" y="204"/>
                </a:lnTo>
                <a:lnTo>
                  <a:pt x="192" y="204"/>
                </a:lnTo>
                <a:lnTo>
                  <a:pt x="192" y="204"/>
                </a:lnTo>
                <a:lnTo>
                  <a:pt x="186" y="210"/>
                </a:lnTo>
                <a:lnTo>
                  <a:pt x="186" y="210"/>
                </a:lnTo>
                <a:lnTo>
                  <a:pt x="186" y="216"/>
                </a:lnTo>
                <a:lnTo>
                  <a:pt x="186" y="216"/>
                </a:lnTo>
                <a:lnTo>
                  <a:pt x="186" y="216"/>
                </a:lnTo>
                <a:lnTo>
                  <a:pt x="186" y="216"/>
                </a:lnTo>
                <a:lnTo>
                  <a:pt x="186" y="216"/>
                </a:lnTo>
                <a:lnTo>
                  <a:pt x="186" y="216"/>
                </a:lnTo>
                <a:lnTo>
                  <a:pt x="180" y="216"/>
                </a:lnTo>
                <a:lnTo>
                  <a:pt x="186" y="222"/>
                </a:lnTo>
                <a:lnTo>
                  <a:pt x="180" y="222"/>
                </a:lnTo>
                <a:lnTo>
                  <a:pt x="186" y="228"/>
                </a:lnTo>
                <a:lnTo>
                  <a:pt x="180" y="228"/>
                </a:lnTo>
                <a:lnTo>
                  <a:pt x="180" y="228"/>
                </a:lnTo>
                <a:lnTo>
                  <a:pt x="180" y="234"/>
                </a:lnTo>
                <a:lnTo>
                  <a:pt x="180" y="234"/>
                </a:lnTo>
                <a:lnTo>
                  <a:pt x="174" y="234"/>
                </a:lnTo>
                <a:lnTo>
                  <a:pt x="174" y="234"/>
                </a:lnTo>
                <a:lnTo>
                  <a:pt x="174" y="240"/>
                </a:lnTo>
                <a:lnTo>
                  <a:pt x="174" y="240"/>
                </a:lnTo>
                <a:lnTo>
                  <a:pt x="174" y="240"/>
                </a:lnTo>
                <a:lnTo>
                  <a:pt x="168" y="246"/>
                </a:lnTo>
                <a:lnTo>
                  <a:pt x="168" y="246"/>
                </a:lnTo>
                <a:lnTo>
                  <a:pt x="168" y="246"/>
                </a:lnTo>
                <a:lnTo>
                  <a:pt x="168" y="246"/>
                </a:lnTo>
                <a:lnTo>
                  <a:pt x="168" y="252"/>
                </a:lnTo>
                <a:lnTo>
                  <a:pt x="168" y="252"/>
                </a:lnTo>
                <a:lnTo>
                  <a:pt x="168" y="252"/>
                </a:lnTo>
                <a:lnTo>
                  <a:pt x="162" y="252"/>
                </a:lnTo>
                <a:lnTo>
                  <a:pt x="162" y="258"/>
                </a:lnTo>
                <a:lnTo>
                  <a:pt x="162" y="258"/>
                </a:lnTo>
                <a:lnTo>
                  <a:pt x="162" y="258"/>
                </a:lnTo>
                <a:lnTo>
                  <a:pt x="162" y="258"/>
                </a:lnTo>
                <a:lnTo>
                  <a:pt x="156" y="258"/>
                </a:lnTo>
                <a:lnTo>
                  <a:pt x="156" y="264"/>
                </a:lnTo>
                <a:lnTo>
                  <a:pt x="156" y="264"/>
                </a:lnTo>
                <a:lnTo>
                  <a:pt x="156" y="264"/>
                </a:lnTo>
                <a:lnTo>
                  <a:pt x="156" y="264"/>
                </a:lnTo>
                <a:lnTo>
                  <a:pt x="150" y="264"/>
                </a:lnTo>
                <a:lnTo>
                  <a:pt x="150" y="270"/>
                </a:lnTo>
                <a:lnTo>
                  <a:pt x="150" y="270"/>
                </a:lnTo>
                <a:lnTo>
                  <a:pt x="150" y="270"/>
                </a:lnTo>
                <a:lnTo>
                  <a:pt x="150" y="276"/>
                </a:lnTo>
                <a:lnTo>
                  <a:pt x="150" y="276"/>
                </a:lnTo>
                <a:lnTo>
                  <a:pt x="150" y="276"/>
                </a:lnTo>
                <a:lnTo>
                  <a:pt x="144" y="270"/>
                </a:lnTo>
                <a:lnTo>
                  <a:pt x="144" y="276"/>
                </a:lnTo>
                <a:lnTo>
                  <a:pt x="138" y="270"/>
                </a:lnTo>
                <a:lnTo>
                  <a:pt x="138" y="270"/>
                </a:lnTo>
                <a:lnTo>
                  <a:pt x="138" y="270"/>
                </a:lnTo>
                <a:lnTo>
                  <a:pt x="138" y="270"/>
                </a:lnTo>
                <a:lnTo>
                  <a:pt x="138" y="276"/>
                </a:lnTo>
                <a:lnTo>
                  <a:pt x="132" y="276"/>
                </a:lnTo>
                <a:lnTo>
                  <a:pt x="132" y="276"/>
                </a:lnTo>
                <a:lnTo>
                  <a:pt x="138" y="282"/>
                </a:lnTo>
                <a:lnTo>
                  <a:pt x="138" y="282"/>
                </a:lnTo>
                <a:lnTo>
                  <a:pt x="138" y="282"/>
                </a:lnTo>
                <a:lnTo>
                  <a:pt x="138" y="282"/>
                </a:lnTo>
                <a:lnTo>
                  <a:pt x="138" y="282"/>
                </a:lnTo>
                <a:lnTo>
                  <a:pt x="138" y="282"/>
                </a:lnTo>
                <a:lnTo>
                  <a:pt x="138" y="282"/>
                </a:lnTo>
                <a:lnTo>
                  <a:pt x="138" y="282"/>
                </a:lnTo>
                <a:lnTo>
                  <a:pt x="144" y="282"/>
                </a:lnTo>
                <a:lnTo>
                  <a:pt x="138" y="288"/>
                </a:lnTo>
                <a:lnTo>
                  <a:pt x="144" y="294"/>
                </a:lnTo>
                <a:lnTo>
                  <a:pt x="144" y="294"/>
                </a:lnTo>
                <a:lnTo>
                  <a:pt x="144" y="294"/>
                </a:lnTo>
                <a:lnTo>
                  <a:pt x="144" y="294"/>
                </a:lnTo>
                <a:lnTo>
                  <a:pt x="144" y="300"/>
                </a:lnTo>
                <a:lnTo>
                  <a:pt x="144" y="300"/>
                </a:lnTo>
                <a:lnTo>
                  <a:pt x="144" y="300"/>
                </a:lnTo>
                <a:lnTo>
                  <a:pt x="48" y="300"/>
                </a:lnTo>
                <a:lnTo>
                  <a:pt x="48" y="252"/>
                </a:lnTo>
                <a:lnTo>
                  <a:pt x="42" y="198"/>
                </a:lnTo>
                <a:lnTo>
                  <a:pt x="0" y="150"/>
                </a:lnTo>
                <a:lnTo>
                  <a:pt x="6" y="150"/>
                </a:lnTo>
                <a:lnTo>
                  <a:pt x="42" y="150"/>
                </a:lnTo>
                <a:lnTo>
                  <a:pt x="36" y="84"/>
                </a:lnTo>
                <a:lnTo>
                  <a:pt x="36" y="84"/>
                </a:lnTo>
                <a:lnTo>
                  <a:pt x="30" y="84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30" y="72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18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48"/>
                </a:lnTo>
                <a:lnTo>
                  <a:pt x="18" y="54"/>
                </a:lnTo>
                <a:lnTo>
                  <a:pt x="18" y="54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6" y="30"/>
                </a:lnTo>
                <a:lnTo>
                  <a:pt x="12" y="30"/>
                </a:lnTo>
                <a:lnTo>
                  <a:pt x="12" y="30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95" name="Freeform 528"/>
          <p:cNvSpPr>
            <a:spLocks/>
          </p:cNvSpPr>
          <p:nvPr/>
        </p:nvSpPr>
        <p:spPr bwMode="auto">
          <a:xfrm>
            <a:off x="6749069" y="3376961"/>
            <a:ext cx="154177" cy="122058"/>
          </a:xfrm>
          <a:custGeom>
            <a:avLst/>
            <a:gdLst>
              <a:gd name="T0" fmla="*/ 0 w 144"/>
              <a:gd name="T1" fmla="*/ 78 h 114"/>
              <a:gd name="T2" fmla="*/ 0 w 144"/>
              <a:gd name="T3" fmla="*/ 72 h 114"/>
              <a:gd name="T4" fmla="*/ 12 w 144"/>
              <a:gd name="T5" fmla="*/ 72 h 114"/>
              <a:gd name="T6" fmla="*/ 12 w 144"/>
              <a:gd name="T7" fmla="*/ 66 h 114"/>
              <a:gd name="T8" fmla="*/ 12 w 144"/>
              <a:gd name="T9" fmla="*/ 54 h 114"/>
              <a:gd name="T10" fmla="*/ 6 w 144"/>
              <a:gd name="T11" fmla="*/ 48 h 114"/>
              <a:gd name="T12" fmla="*/ 12 w 144"/>
              <a:gd name="T13" fmla="*/ 36 h 114"/>
              <a:gd name="T14" fmla="*/ 12 w 144"/>
              <a:gd name="T15" fmla="*/ 30 h 114"/>
              <a:gd name="T16" fmla="*/ 6 w 144"/>
              <a:gd name="T17" fmla="*/ 30 h 114"/>
              <a:gd name="T18" fmla="*/ 12 w 144"/>
              <a:gd name="T19" fmla="*/ 24 h 114"/>
              <a:gd name="T20" fmla="*/ 18 w 144"/>
              <a:gd name="T21" fmla="*/ 24 h 114"/>
              <a:gd name="T22" fmla="*/ 30 w 144"/>
              <a:gd name="T23" fmla="*/ 24 h 114"/>
              <a:gd name="T24" fmla="*/ 36 w 144"/>
              <a:gd name="T25" fmla="*/ 18 h 114"/>
              <a:gd name="T26" fmla="*/ 42 w 144"/>
              <a:gd name="T27" fmla="*/ 12 h 114"/>
              <a:gd name="T28" fmla="*/ 48 w 144"/>
              <a:gd name="T29" fmla="*/ 18 h 114"/>
              <a:gd name="T30" fmla="*/ 60 w 144"/>
              <a:gd name="T31" fmla="*/ 12 h 114"/>
              <a:gd name="T32" fmla="*/ 66 w 144"/>
              <a:gd name="T33" fmla="*/ 0 h 114"/>
              <a:gd name="T34" fmla="*/ 78 w 144"/>
              <a:gd name="T35" fmla="*/ 12 h 114"/>
              <a:gd name="T36" fmla="*/ 84 w 144"/>
              <a:gd name="T37" fmla="*/ 12 h 114"/>
              <a:gd name="T38" fmla="*/ 90 w 144"/>
              <a:gd name="T39" fmla="*/ 6 h 114"/>
              <a:gd name="T40" fmla="*/ 96 w 144"/>
              <a:gd name="T41" fmla="*/ 12 h 114"/>
              <a:gd name="T42" fmla="*/ 108 w 144"/>
              <a:gd name="T43" fmla="*/ 18 h 114"/>
              <a:gd name="T44" fmla="*/ 114 w 144"/>
              <a:gd name="T45" fmla="*/ 30 h 114"/>
              <a:gd name="T46" fmla="*/ 132 w 144"/>
              <a:gd name="T47" fmla="*/ 42 h 114"/>
              <a:gd name="T48" fmla="*/ 120 w 144"/>
              <a:gd name="T49" fmla="*/ 42 h 114"/>
              <a:gd name="T50" fmla="*/ 114 w 144"/>
              <a:gd name="T51" fmla="*/ 48 h 114"/>
              <a:gd name="T52" fmla="*/ 120 w 144"/>
              <a:gd name="T53" fmla="*/ 54 h 114"/>
              <a:gd name="T54" fmla="*/ 120 w 144"/>
              <a:gd name="T55" fmla="*/ 60 h 114"/>
              <a:gd name="T56" fmla="*/ 120 w 144"/>
              <a:gd name="T57" fmla="*/ 60 h 114"/>
              <a:gd name="T58" fmla="*/ 120 w 144"/>
              <a:gd name="T59" fmla="*/ 72 h 114"/>
              <a:gd name="T60" fmla="*/ 126 w 144"/>
              <a:gd name="T61" fmla="*/ 78 h 114"/>
              <a:gd name="T62" fmla="*/ 126 w 144"/>
              <a:gd name="T63" fmla="*/ 90 h 114"/>
              <a:gd name="T64" fmla="*/ 132 w 144"/>
              <a:gd name="T65" fmla="*/ 96 h 114"/>
              <a:gd name="T66" fmla="*/ 138 w 144"/>
              <a:gd name="T67" fmla="*/ 102 h 114"/>
              <a:gd name="T68" fmla="*/ 144 w 144"/>
              <a:gd name="T69" fmla="*/ 108 h 114"/>
              <a:gd name="T70" fmla="*/ 138 w 144"/>
              <a:gd name="T71" fmla="*/ 114 h 114"/>
              <a:gd name="T72" fmla="*/ 132 w 144"/>
              <a:gd name="T73" fmla="*/ 114 h 114"/>
              <a:gd name="T74" fmla="*/ 120 w 144"/>
              <a:gd name="T75" fmla="*/ 108 h 114"/>
              <a:gd name="T76" fmla="*/ 114 w 144"/>
              <a:gd name="T77" fmla="*/ 96 h 114"/>
              <a:gd name="T78" fmla="*/ 108 w 144"/>
              <a:gd name="T79" fmla="*/ 90 h 114"/>
              <a:gd name="T80" fmla="*/ 102 w 144"/>
              <a:gd name="T81" fmla="*/ 102 h 114"/>
              <a:gd name="T82" fmla="*/ 84 w 144"/>
              <a:gd name="T83" fmla="*/ 96 h 114"/>
              <a:gd name="T84" fmla="*/ 78 w 144"/>
              <a:gd name="T85" fmla="*/ 102 h 114"/>
              <a:gd name="T86" fmla="*/ 78 w 144"/>
              <a:gd name="T87" fmla="*/ 108 h 114"/>
              <a:gd name="T88" fmla="*/ 72 w 144"/>
              <a:gd name="T89" fmla="*/ 108 h 114"/>
              <a:gd name="T90" fmla="*/ 60 w 144"/>
              <a:gd name="T91" fmla="*/ 102 h 114"/>
              <a:gd name="T92" fmla="*/ 42 w 144"/>
              <a:gd name="T93" fmla="*/ 108 h 114"/>
              <a:gd name="T94" fmla="*/ 30 w 144"/>
              <a:gd name="T95" fmla="*/ 108 h 114"/>
              <a:gd name="T96" fmla="*/ 36 w 144"/>
              <a:gd name="T97" fmla="*/ 102 h 114"/>
              <a:gd name="T98" fmla="*/ 36 w 144"/>
              <a:gd name="T99" fmla="*/ 90 h 114"/>
              <a:gd name="T100" fmla="*/ 30 w 144"/>
              <a:gd name="T101" fmla="*/ 90 h 114"/>
              <a:gd name="T102" fmla="*/ 24 w 144"/>
              <a:gd name="T103" fmla="*/ 96 h 114"/>
              <a:gd name="T104" fmla="*/ 18 w 144"/>
              <a:gd name="T105" fmla="*/ 96 h 114"/>
              <a:gd name="T106" fmla="*/ 18 w 144"/>
              <a:gd name="T107" fmla="*/ 84 h 114"/>
              <a:gd name="T108" fmla="*/ 0 w 144"/>
              <a:gd name="T109" fmla="*/ 84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44" h="114">
                <a:moveTo>
                  <a:pt x="0" y="84"/>
                </a:move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2"/>
                </a:lnTo>
                <a:lnTo>
                  <a:pt x="0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2" y="66"/>
                </a:lnTo>
                <a:lnTo>
                  <a:pt x="12" y="66"/>
                </a:lnTo>
                <a:lnTo>
                  <a:pt x="12" y="60"/>
                </a:lnTo>
                <a:lnTo>
                  <a:pt x="18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54"/>
                </a:lnTo>
                <a:lnTo>
                  <a:pt x="12" y="54"/>
                </a:lnTo>
                <a:lnTo>
                  <a:pt x="6" y="54"/>
                </a:lnTo>
                <a:lnTo>
                  <a:pt x="6" y="54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12" y="48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8" y="36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18"/>
                </a:lnTo>
                <a:lnTo>
                  <a:pt x="30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54" y="18"/>
                </a:lnTo>
                <a:lnTo>
                  <a:pt x="54" y="18"/>
                </a:lnTo>
                <a:lnTo>
                  <a:pt x="60" y="18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6"/>
                </a:lnTo>
                <a:lnTo>
                  <a:pt x="84" y="12"/>
                </a:lnTo>
                <a:lnTo>
                  <a:pt x="84" y="12"/>
                </a:lnTo>
                <a:lnTo>
                  <a:pt x="84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24"/>
                </a:lnTo>
                <a:lnTo>
                  <a:pt x="108" y="12"/>
                </a:lnTo>
                <a:lnTo>
                  <a:pt x="108" y="12"/>
                </a:lnTo>
                <a:lnTo>
                  <a:pt x="108" y="18"/>
                </a:lnTo>
                <a:lnTo>
                  <a:pt x="108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6" y="36"/>
                </a:lnTo>
                <a:lnTo>
                  <a:pt x="126" y="36"/>
                </a:lnTo>
                <a:lnTo>
                  <a:pt x="132" y="36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8"/>
                </a:lnTo>
                <a:lnTo>
                  <a:pt x="132" y="48"/>
                </a:lnTo>
                <a:lnTo>
                  <a:pt x="126" y="42"/>
                </a:lnTo>
                <a:lnTo>
                  <a:pt x="126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14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6"/>
                </a:lnTo>
                <a:lnTo>
                  <a:pt x="120" y="66"/>
                </a:lnTo>
                <a:lnTo>
                  <a:pt x="126" y="66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90"/>
                </a:lnTo>
                <a:lnTo>
                  <a:pt x="126" y="90"/>
                </a:lnTo>
                <a:lnTo>
                  <a:pt x="126" y="90"/>
                </a:lnTo>
                <a:lnTo>
                  <a:pt x="126" y="90"/>
                </a:lnTo>
                <a:lnTo>
                  <a:pt x="126" y="90"/>
                </a:lnTo>
                <a:lnTo>
                  <a:pt x="132" y="96"/>
                </a:lnTo>
                <a:lnTo>
                  <a:pt x="132" y="96"/>
                </a:lnTo>
                <a:lnTo>
                  <a:pt x="132" y="96"/>
                </a:lnTo>
                <a:lnTo>
                  <a:pt x="132" y="96"/>
                </a:lnTo>
                <a:lnTo>
                  <a:pt x="132" y="96"/>
                </a:lnTo>
                <a:lnTo>
                  <a:pt x="132" y="102"/>
                </a:lnTo>
                <a:lnTo>
                  <a:pt x="132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2"/>
                </a:lnTo>
                <a:lnTo>
                  <a:pt x="138" y="108"/>
                </a:lnTo>
                <a:lnTo>
                  <a:pt x="138" y="102"/>
                </a:lnTo>
                <a:lnTo>
                  <a:pt x="138" y="108"/>
                </a:lnTo>
                <a:lnTo>
                  <a:pt x="138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08"/>
                </a:lnTo>
                <a:lnTo>
                  <a:pt x="144" y="114"/>
                </a:lnTo>
                <a:lnTo>
                  <a:pt x="138" y="114"/>
                </a:lnTo>
                <a:lnTo>
                  <a:pt x="138" y="114"/>
                </a:lnTo>
                <a:lnTo>
                  <a:pt x="138" y="114"/>
                </a:lnTo>
                <a:lnTo>
                  <a:pt x="138" y="108"/>
                </a:lnTo>
                <a:lnTo>
                  <a:pt x="138" y="108"/>
                </a:lnTo>
                <a:lnTo>
                  <a:pt x="132" y="108"/>
                </a:lnTo>
                <a:lnTo>
                  <a:pt x="132" y="108"/>
                </a:lnTo>
                <a:lnTo>
                  <a:pt x="132" y="114"/>
                </a:lnTo>
                <a:lnTo>
                  <a:pt x="126" y="114"/>
                </a:lnTo>
                <a:lnTo>
                  <a:pt x="126" y="114"/>
                </a:lnTo>
                <a:lnTo>
                  <a:pt x="126" y="114"/>
                </a:lnTo>
                <a:lnTo>
                  <a:pt x="120" y="114"/>
                </a:lnTo>
                <a:lnTo>
                  <a:pt x="120" y="114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2"/>
                </a:lnTo>
                <a:lnTo>
                  <a:pt x="120" y="102"/>
                </a:lnTo>
                <a:lnTo>
                  <a:pt x="114" y="102"/>
                </a:lnTo>
                <a:lnTo>
                  <a:pt x="114" y="96"/>
                </a:lnTo>
                <a:lnTo>
                  <a:pt x="114" y="96"/>
                </a:lnTo>
                <a:lnTo>
                  <a:pt x="114" y="96"/>
                </a:lnTo>
                <a:lnTo>
                  <a:pt x="114" y="96"/>
                </a:lnTo>
                <a:lnTo>
                  <a:pt x="114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8" y="90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102"/>
                </a:lnTo>
                <a:lnTo>
                  <a:pt x="102" y="102"/>
                </a:lnTo>
                <a:lnTo>
                  <a:pt x="102" y="102"/>
                </a:lnTo>
                <a:lnTo>
                  <a:pt x="96" y="102"/>
                </a:lnTo>
                <a:lnTo>
                  <a:pt x="96" y="102"/>
                </a:lnTo>
                <a:lnTo>
                  <a:pt x="96" y="96"/>
                </a:lnTo>
                <a:lnTo>
                  <a:pt x="90" y="96"/>
                </a:lnTo>
                <a:lnTo>
                  <a:pt x="90" y="96"/>
                </a:lnTo>
                <a:lnTo>
                  <a:pt x="90" y="96"/>
                </a:lnTo>
                <a:lnTo>
                  <a:pt x="84" y="96"/>
                </a:lnTo>
                <a:lnTo>
                  <a:pt x="84" y="96"/>
                </a:lnTo>
                <a:lnTo>
                  <a:pt x="84" y="102"/>
                </a:lnTo>
                <a:lnTo>
                  <a:pt x="84" y="96"/>
                </a:lnTo>
                <a:lnTo>
                  <a:pt x="84" y="102"/>
                </a:lnTo>
                <a:lnTo>
                  <a:pt x="84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84" y="108"/>
                </a:lnTo>
                <a:lnTo>
                  <a:pt x="84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54" y="108"/>
                </a:lnTo>
                <a:lnTo>
                  <a:pt x="54" y="108"/>
                </a:lnTo>
                <a:lnTo>
                  <a:pt x="48" y="108"/>
                </a:lnTo>
                <a:lnTo>
                  <a:pt x="48" y="108"/>
                </a:lnTo>
                <a:lnTo>
                  <a:pt x="42" y="108"/>
                </a:lnTo>
                <a:lnTo>
                  <a:pt x="42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6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2"/>
                </a:lnTo>
                <a:lnTo>
                  <a:pt x="36" y="102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0" y="84"/>
                </a:lnTo>
                <a:lnTo>
                  <a:pt x="30" y="84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24" y="90"/>
                </a:lnTo>
                <a:lnTo>
                  <a:pt x="30" y="90"/>
                </a:lnTo>
                <a:lnTo>
                  <a:pt x="24" y="90"/>
                </a:lnTo>
                <a:lnTo>
                  <a:pt x="24" y="90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2" y="96"/>
                </a:lnTo>
                <a:lnTo>
                  <a:pt x="12" y="96"/>
                </a:lnTo>
                <a:lnTo>
                  <a:pt x="12" y="90"/>
                </a:lnTo>
                <a:lnTo>
                  <a:pt x="18" y="84"/>
                </a:lnTo>
                <a:lnTo>
                  <a:pt x="18" y="84"/>
                </a:lnTo>
                <a:lnTo>
                  <a:pt x="12" y="84"/>
                </a:lnTo>
                <a:lnTo>
                  <a:pt x="12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lnTo>
                  <a:pt x="0" y="8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96" name="Freeform 529"/>
          <p:cNvSpPr>
            <a:spLocks/>
          </p:cNvSpPr>
          <p:nvPr/>
        </p:nvSpPr>
        <p:spPr bwMode="auto">
          <a:xfrm>
            <a:off x="6819734" y="3126421"/>
            <a:ext cx="340475" cy="398294"/>
          </a:xfrm>
          <a:custGeom>
            <a:avLst/>
            <a:gdLst>
              <a:gd name="T0" fmla="*/ 18 w 318"/>
              <a:gd name="T1" fmla="*/ 132 h 372"/>
              <a:gd name="T2" fmla="*/ 24 w 318"/>
              <a:gd name="T3" fmla="*/ 102 h 372"/>
              <a:gd name="T4" fmla="*/ 48 w 318"/>
              <a:gd name="T5" fmla="*/ 78 h 372"/>
              <a:gd name="T6" fmla="*/ 54 w 318"/>
              <a:gd name="T7" fmla="*/ 54 h 372"/>
              <a:gd name="T8" fmla="*/ 60 w 318"/>
              <a:gd name="T9" fmla="*/ 54 h 372"/>
              <a:gd name="T10" fmla="*/ 78 w 318"/>
              <a:gd name="T11" fmla="*/ 60 h 372"/>
              <a:gd name="T12" fmla="*/ 90 w 318"/>
              <a:gd name="T13" fmla="*/ 66 h 372"/>
              <a:gd name="T14" fmla="*/ 114 w 318"/>
              <a:gd name="T15" fmla="*/ 54 h 372"/>
              <a:gd name="T16" fmla="*/ 156 w 318"/>
              <a:gd name="T17" fmla="*/ 42 h 372"/>
              <a:gd name="T18" fmla="*/ 180 w 318"/>
              <a:gd name="T19" fmla="*/ 24 h 372"/>
              <a:gd name="T20" fmla="*/ 204 w 318"/>
              <a:gd name="T21" fmla="*/ 30 h 372"/>
              <a:gd name="T22" fmla="*/ 222 w 318"/>
              <a:gd name="T23" fmla="*/ 36 h 372"/>
              <a:gd name="T24" fmla="*/ 246 w 318"/>
              <a:gd name="T25" fmla="*/ 30 h 372"/>
              <a:gd name="T26" fmla="*/ 258 w 318"/>
              <a:gd name="T27" fmla="*/ 24 h 372"/>
              <a:gd name="T28" fmla="*/ 264 w 318"/>
              <a:gd name="T29" fmla="*/ 12 h 372"/>
              <a:gd name="T30" fmla="*/ 270 w 318"/>
              <a:gd name="T31" fmla="*/ 6 h 372"/>
              <a:gd name="T32" fmla="*/ 282 w 318"/>
              <a:gd name="T33" fmla="*/ 12 h 372"/>
              <a:gd name="T34" fmla="*/ 276 w 318"/>
              <a:gd name="T35" fmla="*/ 18 h 372"/>
              <a:gd name="T36" fmla="*/ 276 w 318"/>
              <a:gd name="T37" fmla="*/ 36 h 372"/>
              <a:gd name="T38" fmla="*/ 306 w 318"/>
              <a:gd name="T39" fmla="*/ 78 h 372"/>
              <a:gd name="T40" fmla="*/ 312 w 318"/>
              <a:gd name="T41" fmla="*/ 108 h 372"/>
              <a:gd name="T42" fmla="*/ 312 w 318"/>
              <a:gd name="T43" fmla="*/ 150 h 372"/>
              <a:gd name="T44" fmla="*/ 276 w 318"/>
              <a:gd name="T45" fmla="*/ 186 h 372"/>
              <a:gd name="T46" fmla="*/ 270 w 318"/>
              <a:gd name="T47" fmla="*/ 186 h 372"/>
              <a:gd name="T48" fmla="*/ 264 w 318"/>
              <a:gd name="T49" fmla="*/ 192 h 372"/>
              <a:gd name="T50" fmla="*/ 246 w 318"/>
              <a:gd name="T51" fmla="*/ 198 h 372"/>
              <a:gd name="T52" fmla="*/ 240 w 318"/>
              <a:gd name="T53" fmla="*/ 186 h 372"/>
              <a:gd name="T54" fmla="*/ 240 w 318"/>
              <a:gd name="T55" fmla="*/ 174 h 372"/>
              <a:gd name="T56" fmla="*/ 246 w 318"/>
              <a:gd name="T57" fmla="*/ 162 h 372"/>
              <a:gd name="T58" fmla="*/ 246 w 318"/>
              <a:gd name="T59" fmla="*/ 138 h 372"/>
              <a:gd name="T60" fmla="*/ 132 w 318"/>
              <a:gd name="T61" fmla="*/ 132 h 372"/>
              <a:gd name="T62" fmla="*/ 126 w 318"/>
              <a:gd name="T63" fmla="*/ 180 h 372"/>
              <a:gd name="T64" fmla="*/ 150 w 318"/>
              <a:gd name="T65" fmla="*/ 198 h 372"/>
              <a:gd name="T66" fmla="*/ 246 w 318"/>
              <a:gd name="T67" fmla="*/ 204 h 372"/>
              <a:gd name="T68" fmla="*/ 246 w 318"/>
              <a:gd name="T69" fmla="*/ 216 h 372"/>
              <a:gd name="T70" fmla="*/ 234 w 318"/>
              <a:gd name="T71" fmla="*/ 240 h 372"/>
              <a:gd name="T72" fmla="*/ 234 w 318"/>
              <a:gd name="T73" fmla="*/ 264 h 372"/>
              <a:gd name="T74" fmla="*/ 240 w 318"/>
              <a:gd name="T75" fmla="*/ 270 h 372"/>
              <a:gd name="T76" fmla="*/ 252 w 318"/>
              <a:gd name="T77" fmla="*/ 276 h 372"/>
              <a:gd name="T78" fmla="*/ 258 w 318"/>
              <a:gd name="T79" fmla="*/ 282 h 372"/>
              <a:gd name="T80" fmla="*/ 264 w 318"/>
              <a:gd name="T81" fmla="*/ 300 h 372"/>
              <a:gd name="T82" fmla="*/ 270 w 318"/>
              <a:gd name="T83" fmla="*/ 312 h 372"/>
              <a:gd name="T84" fmla="*/ 270 w 318"/>
              <a:gd name="T85" fmla="*/ 324 h 372"/>
              <a:gd name="T86" fmla="*/ 264 w 318"/>
              <a:gd name="T87" fmla="*/ 330 h 372"/>
              <a:gd name="T88" fmla="*/ 258 w 318"/>
              <a:gd name="T89" fmla="*/ 336 h 372"/>
              <a:gd name="T90" fmla="*/ 252 w 318"/>
              <a:gd name="T91" fmla="*/ 342 h 372"/>
              <a:gd name="T92" fmla="*/ 240 w 318"/>
              <a:gd name="T93" fmla="*/ 348 h 372"/>
              <a:gd name="T94" fmla="*/ 234 w 318"/>
              <a:gd name="T95" fmla="*/ 360 h 372"/>
              <a:gd name="T96" fmla="*/ 228 w 318"/>
              <a:gd name="T97" fmla="*/ 372 h 372"/>
              <a:gd name="T98" fmla="*/ 216 w 318"/>
              <a:gd name="T99" fmla="*/ 354 h 372"/>
              <a:gd name="T100" fmla="*/ 204 w 318"/>
              <a:gd name="T101" fmla="*/ 336 h 372"/>
              <a:gd name="T102" fmla="*/ 198 w 318"/>
              <a:gd name="T103" fmla="*/ 312 h 372"/>
              <a:gd name="T104" fmla="*/ 174 w 318"/>
              <a:gd name="T105" fmla="*/ 318 h 372"/>
              <a:gd name="T106" fmla="*/ 150 w 318"/>
              <a:gd name="T107" fmla="*/ 300 h 372"/>
              <a:gd name="T108" fmla="*/ 138 w 318"/>
              <a:gd name="T109" fmla="*/ 288 h 372"/>
              <a:gd name="T110" fmla="*/ 114 w 318"/>
              <a:gd name="T111" fmla="*/ 246 h 372"/>
              <a:gd name="T112" fmla="*/ 102 w 318"/>
              <a:gd name="T113" fmla="*/ 228 h 372"/>
              <a:gd name="T114" fmla="*/ 90 w 318"/>
              <a:gd name="T115" fmla="*/ 240 h 372"/>
              <a:gd name="T116" fmla="*/ 66 w 318"/>
              <a:gd name="T117" fmla="*/ 228 h 372"/>
              <a:gd name="T118" fmla="*/ 36 w 318"/>
              <a:gd name="T119" fmla="*/ 222 h 372"/>
              <a:gd name="T120" fmla="*/ 18 w 318"/>
              <a:gd name="T121" fmla="*/ 210 h 372"/>
              <a:gd name="T122" fmla="*/ 6 w 318"/>
              <a:gd name="T123" fmla="*/ 198 h 3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18" h="372">
                <a:moveTo>
                  <a:pt x="0" y="174"/>
                </a:moveTo>
                <a:lnTo>
                  <a:pt x="12" y="144"/>
                </a:lnTo>
                <a:lnTo>
                  <a:pt x="12" y="144"/>
                </a:lnTo>
                <a:lnTo>
                  <a:pt x="12" y="144"/>
                </a:lnTo>
                <a:lnTo>
                  <a:pt x="12" y="144"/>
                </a:lnTo>
                <a:lnTo>
                  <a:pt x="12" y="144"/>
                </a:lnTo>
                <a:lnTo>
                  <a:pt x="12" y="144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38"/>
                </a:lnTo>
                <a:lnTo>
                  <a:pt x="6" y="138"/>
                </a:lnTo>
                <a:lnTo>
                  <a:pt x="12" y="138"/>
                </a:lnTo>
                <a:lnTo>
                  <a:pt x="12" y="138"/>
                </a:lnTo>
                <a:lnTo>
                  <a:pt x="18" y="132"/>
                </a:lnTo>
                <a:lnTo>
                  <a:pt x="18" y="132"/>
                </a:lnTo>
                <a:lnTo>
                  <a:pt x="12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26"/>
                </a:lnTo>
                <a:lnTo>
                  <a:pt x="18" y="126"/>
                </a:lnTo>
                <a:lnTo>
                  <a:pt x="18" y="126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14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30" y="102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6" y="96"/>
                </a:lnTo>
                <a:lnTo>
                  <a:pt x="36" y="96"/>
                </a:lnTo>
                <a:lnTo>
                  <a:pt x="42" y="96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78"/>
                </a:lnTo>
                <a:lnTo>
                  <a:pt x="42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2"/>
                </a:lnTo>
                <a:lnTo>
                  <a:pt x="48" y="78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66"/>
                </a:lnTo>
                <a:lnTo>
                  <a:pt x="48" y="72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2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6" y="48"/>
                </a:lnTo>
                <a:lnTo>
                  <a:pt x="60" y="48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6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72" y="54"/>
                </a:lnTo>
                <a:lnTo>
                  <a:pt x="72" y="54"/>
                </a:lnTo>
                <a:lnTo>
                  <a:pt x="72" y="60"/>
                </a:lnTo>
                <a:lnTo>
                  <a:pt x="72" y="60"/>
                </a:lnTo>
                <a:lnTo>
                  <a:pt x="66" y="60"/>
                </a:lnTo>
                <a:lnTo>
                  <a:pt x="66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0"/>
                </a:lnTo>
                <a:lnTo>
                  <a:pt x="78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6"/>
                </a:lnTo>
                <a:lnTo>
                  <a:pt x="84" y="66"/>
                </a:lnTo>
                <a:lnTo>
                  <a:pt x="90" y="66"/>
                </a:lnTo>
                <a:lnTo>
                  <a:pt x="90" y="66"/>
                </a:lnTo>
                <a:lnTo>
                  <a:pt x="96" y="66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20" y="48"/>
                </a:lnTo>
                <a:lnTo>
                  <a:pt x="120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32" y="48"/>
                </a:lnTo>
                <a:lnTo>
                  <a:pt x="132" y="48"/>
                </a:lnTo>
                <a:lnTo>
                  <a:pt x="138" y="42"/>
                </a:lnTo>
                <a:lnTo>
                  <a:pt x="138" y="42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50" y="42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2"/>
                </a:lnTo>
                <a:lnTo>
                  <a:pt x="150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42"/>
                </a:lnTo>
                <a:lnTo>
                  <a:pt x="162" y="36"/>
                </a:lnTo>
                <a:lnTo>
                  <a:pt x="162" y="36"/>
                </a:lnTo>
                <a:lnTo>
                  <a:pt x="168" y="36"/>
                </a:lnTo>
                <a:lnTo>
                  <a:pt x="168" y="36"/>
                </a:lnTo>
                <a:lnTo>
                  <a:pt x="174" y="36"/>
                </a:lnTo>
                <a:lnTo>
                  <a:pt x="174" y="36"/>
                </a:lnTo>
                <a:lnTo>
                  <a:pt x="180" y="36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24"/>
                </a:lnTo>
                <a:lnTo>
                  <a:pt x="180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18"/>
                </a:lnTo>
                <a:lnTo>
                  <a:pt x="186" y="18"/>
                </a:lnTo>
                <a:lnTo>
                  <a:pt x="186" y="18"/>
                </a:lnTo>
                <a:lnTo>
                  <a:pt x="192" y="18"/>
                </a:lnTo>
                <a:lnTo>
                  <a:pt x="192" y="18"/>
                </a:lnTo>
                <a:lnTo>
                  <a:pt x="192" y="18"/>
                </a:lnTo>
                <a:lnTo>
                  <a:pt x="192" y="18"/>
                </a:lnTo>
                <a:lnTo>
                  <a:pt x="192" y="18"/>
                </a:lnTo>
                <a:lnTo>
                  <a:pt x="192" y="18"/>
                </a:lnTo>
                <a:lnTo>
                  <a:pt x="192" y="18"/>
                </a:lnTo>
                <a:lnTo>
                  <a:pt x="198" y="18"/>
                </a:lnTo>
                <a:lnTo>
                  <a:pt x="198" y="18"/>
                </a:lnTo>
                <a:lnTo>
                  <a:pt x="198" y="30"/>
                </a:lnTo>
                <a:lnTo>
                  <a:pt x="198" y="30"/>
                </a:lnTo>
                <a:lnTo>
                  <a:pt x="204" y="30"/>
                </a:lnTo>
                <a:lnTo>
                  <a:pt x="204" y="24"/>
                </a:lnTo>
                <a:lnTo>
                  <a:pt x="204" y="24"/>
                </a:lnTo>
                <a:lnTo>
                  <a:pt x="204" y="24"/>
                </a:lnTo>
                <a:lnTo>
                  <a:pt x="204" y="30"/>
                </a:lnTo>
                <a:lnTo>
                  <a:pt x="210" y="30"/>
                </a:lnTo>
                <a:lnTo>
                  <a:pt x="210" y="30"/>
                </a:lnTo>
                <a:lnTo>
                  <a:pt x="204" y="30"/>
                </a:lnTo>
                <a:lnTo>
                  <a:pt x="204" y="42"/>
                </a:lnTo>
                <a:lnTo>
                  <a:pt x="204" y="42"/>
                </a:lnTo>
                <a:lnTo>
                  <a:pt x="210" y="42"/>
                </a:lnTo>
                <a:lnTo>
                  <a:pt x="210" y="36"/>
                </a:lnTo>
                <a:lnTo>
                  <a:pt x="216" y="36"/>
                </a:lnTo>
                <a:lnTo>
                  <a:pt x="216" y="30"/>
                </a:lnTo>
                <a:lnTo>
                  <a:pt x="216" y="30"/>
                </a:lnTo>
                <a:lnTo>
                  <a:pt x="216" y="30"/>
                </a:lnTo>
                <a:lnTo>
                  <a:pt x="216" y="30"/>
                </a:lnTo>
                <a:lnTo>
                  <a:pt x="216" y="30"/>
                </a:lnTo>
                <a:lnTo>
                  <a:pt x="222" y="30"/>
                </a:lnTo>
                <a:lnTo>
                  <a:pt x="222" y="30"/>
                </a:lnTo>
                <a:lnTo>
                  <a:pt x="222" y="30"/>
                </a:lnTo>
                <a:lnTo>
                  <a:pt x="222" y="36"/>
                </a:lnTo>
                <a:lnTo>
                  <a:pt x="222" y="36"/>
                </a:lnTo>
                <a:lnTo>
                  <a:pt x="228" y="36"/>
                </a:lnTo>
                <a:lnTo>
                  <a:pt x="228" y="42"/>
                </a:lnTo>
                <a:lnTo>
                  <a:pt x="228" y="42"/>
                </a:lnTo>
                <a:lnTo>
                  <a:pt x="234" y="42"/>
                </a:lnTo>
                <a:lnTo>
                  <a:pt x="234" y="42"/>
                </a:lnTo>
                <a:lnTo>
                  <a:pt x="234" y="42"/>
                </a:lnTo>
                <a:lnTo>
                  <a:pt x="240" y="42"/>
                </a:lnTo>
                <a:lnTo>
                  <a:pt x="240" y="42"/>
                </a:lnTo>
                <a:lnTo>
                  <a:pt x="240" y="36"/>
                </a:lnTo>
                <a:lnTo>
                  <a:pt x="240" y="36"/>
                </a:lnTo>
                <a:lnTo>
                  <a:pt x="246" y="36"/>
                </a:lnTo>
                <a:lnTo>
                  <a:pt x="246" y="36"/>
                </a:lnTo>
                <a:lnTo>
                  <a:pt x="246" y="36"/>
                </a:lnTo>
                <a:lnTo>
                  <a:pt x="246" y="36"/>
                </a:lnTo>
                <a:lnTo>
                  <a:pt x="246" y="36"/>
                </a:lnTo>
                <a:lnTo>
                  <a:pt x="246" y="30"/>
                </a:lnTo>
                <a:lnTo>
                  <a:pt x="246" y="36"/>
                </a:lnTo>
                <a:lnTo>
                  <a:pt x="246" y="30"/>
                </a:lnTo>
                <a:lnTo>
                  <a:pt x="246" y="30"/>
                </a:lnTo>
                <a:lnTo>
                  <a:pt x="246" y="30"/>
                </a:lnTo>
                <a:lnTo>
                  <a:pt x="252" y="30"/>
                </a:lnTo>
                <a:lnTo>
                  <a:pt x="246" y="30"/>
                </a:lnTo>
                <a:lnTo>
                  <a:pt x="246" y="30"/>
                </a:lnTo>
                <a:lnTo>
                  <a:pt x="246" y="30"/>
                </a:lnTo>
                <a:lnTo>
                  <a:pt x="246" y="30"/>
                </a:lnTo>
                <a:lnTo>
                  <a:pt x="246" y="30"/>
                </a:lnTo>
                <a:lnTo>
                  <a:pt x="252" y="30"/>
                </a:lnTo>
                <a:lnTo>
                  <a:pt x="252" y="30"/>
                </a:lnTo>
                <a:lnTo>
                  <a:pt x="252" y="30"/>
                </a:lnTo>
                <a:lnTo>
                  <a:pt x="252" y="24"/>
                </a:lnTo>
                <a:lnTo>
                  <a:pt x="252" y="24"/>
                </a:lnTo>
                <a:lnTo>
                  <a:pt x="252" y="24"/>
                </a:lnTo>
                <a:lnTo>
                  <a:pt x="252" y="24"/>
                </a:lnTo>
                <a:lnTo>
                  <a:pt x="252" y="24"/>
                </a:lnTo>
                <a:lnTo>
                  <a:pt x="258" y="24"/>
                </a:lnTo>
                <a:lnTo>
                  <a:pt x="258" y="24"/>
                </a:lnTo>
                <a:lnTo>
                  <a:pt x="258" y="24"/>
                </a:lnTo>
                <a:lnTo>
                  <a:pt x="258" y="24"/>
                </a:lnTo>
                <a:lnTo>
                  <a:pt x="258" y="24"/>
                </a:lnTo>
                <a:lnTo>
                  <a:pt x="258" y="24"/>
                </a:lnTo>
                <a:lnTo>
                  <a:pt x="258" y="24"/>
                </a:lnTo>
                <a:lnTo>
                  <a:pt x="258" y="24"/>
                </a:lnTo>
                <a:lnTo>
                  <a:pt x="258" y="18"/>
                </a:lnTo>
                <a:lnTo>
                  <a:pt x="258" y="18"/>
                </a:lnTo>
                <a:lnTo>
                  <a:pt x="258" y="18"/>
                </a:lnTo>
                <a:lnTo>
                  <a:pt x="258" y="18"/>
                </a:lnTo>
                <a:lnTo>
                  <a:pt x="258" y="18"/>
                </a:lnTo>
                <a:lnTo>
                  <a:pt x="258" y="18"/>
                </a:lnTo>
                <a:lnTo>
                  <a:pt x="258" y="18"/>
                </a:lnTo>
                <a:lnTo>
                  <a:pt x="258" y="18"/>
                </a:lnTo>
                <a:lnTo>
                  <a:pt x="258" y="18"/>
                </a:lnTo>
                <a:lnTo>
                  <a:pt x="258" y="12"/>
                </a:lnTo>
                <a:lnTo>
                  <a:pt x="258" y="12"/>
                </a:lnTo>
                <a:lnTo>
                  <a:pt x="264" y="12"/>
                </a:lnTo>
                <a:lnTo>
                  <a:pt x="264" y="12"/>
                </a:lnTo>
                <a:lnTo>
                  <a:pt x="264" y="12"/>
                </a:lnTo>
                <a:lnTo>
                  <a:pt x="264" y="12"/>
                </a:lnTo>
                <a:lnTo>
                  <a:pt x="264" y="12"/>
                </a:lnTo>
                <a:lnTo>
                  <a:pt x="264" y="12"/>
                </a:lnTo>
                <a:lnTo>
                  <a:pt x="264" y="12"/>
                </a:lnTo>
                <a:lnTo>
                  <a:pt x="264" y="12"/>
                </a:lnTo>
                <a:lnTo>
                  <a:pt x="264" y="12"/>
                </a:lnTo>
                <a:lnTo>
                  <a:pt x="264" y="12"/>
                </a:lnTo>
                <a:lnTo>
                  <a:pt x="264" y="12"/>
                </a:lnTo>
                <a:lnTo>
                  <a:pt x="264" y="12"/>
                </a:lnTo>
                <a:lnTo>
                  <a:pt x="264" y="6"/>
                </a:lnTo>
                <a:lnTo>
                  <a:pt x="264" y="6"/>
                </a:lnTo>
                <a:lnTo>
                  <a:pt x="264" y="6"/>
                </a:lnTo>
                <a:lnTo>
                  <a:pt x="264" y="6"/>
                </a:lnTo>
                <a:lnTo>
                  <a:pt x="264" y="6"/>
                </a:lnTo>
                <a:lnTo>
                  <a:pt x="264" y="6"/>
                </a:lnTo>
                <a:lnTo>
                  <a:pt x="264" y="6"/>
                </a:lnTo>
                <a:lnTo>
                  <a:pt x="264" y="6"/>
                </a:lnTo>
                <a:lnTo>
                  <a:pt x="264" y="6"/>
                </a:lnTo>
                <a:lnTo>
                  <a:pt x="264" y="6"/>
                </a:lnTo>
                <a:lnTo>
                  <a:pt x="264" y="6"/>
                </a:lnTo>
                <a:lnTo>
                  <a:pt x="264" y="0"/>
                </a:lnTo>
                <a:lnTo>
                  <a:pt x="270" y="6"/>
                </a:lnTo>
                <a:lnTo>
                  <a:pt x="270" y="6"/>
                </a:lnTo>
                <a:lnTo>
                  <a:pt x="270" y="6"/>
                </a:lnTo>
                <a:lnTo>
                  <a:pt x="270" y="6"/>
                </a:lnTo>
                <a:lnTo>
                  <a:pt x="270" y="6"/>
                </a:lnTo>
                <a:lnTo>
                  <a:pt x="270" y="6"/>
                </a:lnTo>
                <a:lnTo>
                  <a:pt x="270" y="6"/>
                </a:lnTo>
                <a:lnTo>
                  <a:pt x="270" y="6"/>
                </a:lnTo>
                <a:lnTo>
                  <a:pt x="270" y="0"/>
                </a:lnTo>
                <a:lnTo>
                  <a:pt x="270" y="0"/>
                </a:lnTo>
                <a:lnTo>
                  <a:pt x="276" y="6"/>
                </a:lnTo>
                <a:lnTo>
                  <a:pt x="276" y="6"/>
                </a:lnTo>
                <a:lnTo>
                  <a:pt x="276" y="6"/>
                </a:lnTo>
                <a:lnTo>
                  <a:pt x="276" y="6"/>
                </a:lnTo>
                <a:lnTo>
                  <a:pt x="276" y="0"/>
                </a:lnTo>
                <a:lnTo>
                  <a:pt x="276" y="6"/>
                </a:lnTo>
                <a:lnTo>
                  <a:pt x="276" y="6"/>
                </a:lnTo>
                <a:lnTo>
                  <a:pt x="276" y="6"/>
                </a:lnTo>
                <a:lnTo>
                  <a:pt x="276" y="6"/>
                </a:lnTo>
                <a:lnTo>
                  <a:pt x="276" y="6"/>
                </a:lnTo>
                <a:lnTo>
                  <a:pt x="282" y="6"/>
                </a:lnTo>
                <a:lnTo>
                  <a:pt x="282" y="6"/>
                </a:lnTo>
                <a:lnTo>
                  <a:pt x="276" y="6"/>
                </a:lnTo>
                <a:lnTo>
                  <a:pt x="276" y="6"/>
                </a:lnTo>
                <a:lnTo>
                  <a:pt x="282" y="12"/>
                </a:lnTo>
                <a:lnTo>
                  <a:pt x="282" y="12"/>
                </a:lnTo>
                <a:lnTo>
                  <a:pt x="282" y="12"/>
                </a:lnTo>
                <a:lnTo>
                  <a:pt x="282" y="12"/>
                </a:lnTo>
                <a:lnTo>
                  <a:pt x="276" y="12"/>
                </a:lnTo>
                <a:lnTo>
                  <a:pt x="276" y="12"/>
                </a:lnTo>
                <a:lnTo>
                  <a:pt x="282" y="12"/>
                </a:lnTo>
                <a:lnTo>
                  <a:pt x="282" y="12"/>
                </a:lnTo>
                <a:lnTo>
                  <a:pt x="276" y="12"/>
                </a:lnTo>
                <a:lnTo>
                  <a:pt x="276" y="12"/>
                </a:lnTo>
                <a:lnTo>
                  <a:pt x="276" y="12"/>
                </a:lnTo>
                <a:lnTo>
                  <a:pt x="276" y="12"/>
                </a:lnTo>
                <a:lnTo>
                  <a:pt x="276" y="12"/>
                </a:lnTo>
                <a:lnTo>
                  <a:pt x="276" y="18"/>
                </a:lnTo>
                <a:lnTo>
                  <a:pt x="276" y="12"/>
                </a:lnTo>
                <a:lnTo>
                  <a:pt x="276" y="12"/>
                </a:lnTo>
                <a:lnTo>
                  <a:pt x="276" y="18"/>
                </a:lnTo>
                <a:lnTo>
                  <a:pt x="276" y="18"/>
                </a:lnTo>
                <a:lnTo>
                  <a:pt x="276" y="18"/>
                </a:lnTo>
                <a:lnTo>
                  <a:pt x="276" y="18"/>
                </a:lnTo>
                <a:lnTo>
                  <a:pt x="276" y="18"/>
                </a:lnTo>
                <a:lnTo>
                  <a:pt x="276" y="18"/>
                </a:lnTo>
                <a:lnTo>
                  <a:pt x="276" y="18"/>
                </a:lnTo>
                <a:lnTo>
                  <a:pt x="276" y="18"/>
                </a:lnTo>
                <a:lnTo>
                  <a:pt x="276" y="18"/>
                </a:lnTo>
                <a:lnTo>
                  <a:pt x="276" y="18"/>
                </a:lnTo>
                <a:lnTo>
                  <a:pt x="276" y="18"/>
                </a:lnTo>
                <a:lnTo>
                  <a:pt x="276" y="24"/>
                </a:lnTo>
                <a:lnTo>
                  <a:pt x="276" y="24"/>
                </a:lnTo>
                <a:lnTo>
                  <a:pt x="276" y="24"/>
                </a:lnTo>
                <a:lnTo>
                  <a:pt x="276" y="24"/>
                </a:lnTo>
                <a:lnTo>
                  <a:pt x="276" y="24"/>
                </a:lnTo>
                <a:lnTo>
                  <a:pt x="276" y="24"/>
                </a:lnTo>
                <a:lnTo>
                  <a:pt x="276" y="24"/>
                </a:lnTo>
                <a:lnTo>
                  <a:pt x="276" y="30"/>
                </a:lnTo>
                <a:lnTo>
                  <a:pt x="276" y="30"/>
                </a:lnTo>
                <a:lnTo>
                  <a:pt x="276" y="30"/>
                </a:lnTo>
                <a:lnTo>
                  <a:pt x="276" y="30"/>
                </a:lnTo>
                <a:lnTo>
                  <a:pt x="276" y="30"/>
                </a:lnTo>
                <a:lnTo>
                  <a:pt x="276" y="30"/>
                </a:lnTo>
                <a:lnTo>
                  <a:pt x="276" y="36"/>
                </a:lnTo>
                <a:lnTo>
                  <a:pt x="276" y="36"/>
                </a:lnTo>
                <a:lnTo>
                  <a:pt x="276" y="36"/>
                </a:lnTo>
                <a:lnTo>
                  <a:pt x="276" y="36"/>
                </a:lnTo>
                <a:lnTo>
                  <a:pt x="276" y="36"/>
                </a:lnTo>
                <a:lnTo>
                  <a:pt x="282" y="36"/>
                </a:lnTo>
                <a:lnTo>
                  <a:pt x="282" y="36"/>
                </a:lnTo>
                <a:lnTo>
                  <a:pt x="282" y="36"/>
                </a:lnTo>
                <a:lnTo>
                  <a:pt x="282" y="42"/>
                </a:lnTo>
                <a:lnTo>
                  <a:pt x="282" y="42"/>
                </a:lnTo>
                <a:lnTo>
                  <a:pt x="282" y="42"/>
                </a:lnTo>
                <a:lnTo>
                  <a:pt x="282" y="42"/>
                </a:lnTo>
                <a:lnTo>
                  <a:pt x="282" y="48"/>
                </a:lnTo>
                <a:lnTo>
                  <a:pt x="282" y="48"/>
                </a:lnTo>
                <a:lnTo>
                  <a:pt x="282" y="48"/>
                </a:lnTo>
                <a:lnTo>
                  <a:pt x="282" y="48"/>
                </a:lnTo>
                <a:lnTo>
                  <a:pt x="294" y="54"/>
                </a:lnTo>
                <a:lnTo>
                  <a:pt x="294" y="60"/>
                </a:lnTo>
                <a:lnTo>
                  <a:pt x="300" y="72"/>
                </a:lnTo>
                <a:lnTo>
                  <a:pt x="300" y="72"/>
                </a:lnTo>
                <a:lnTo>
                  <a:pt x="300" y="72"/>
                </a:lnTo>
                <a:lnTo>
                  <a:pt x="300" y="72"/>
                </a:lnTo>
                <a:lnTo>
                  <a:pt x="306" y="78"/>
                </a:lnTo>
                <a:lnTo>
                  <a:pt x="306" y="78"/>
                </a:lnTo>
                <a:lnTo>
                  <a:pt x="306" y="78"/>
                </a:lnTo>
                <a:lnTo>
                  <a:pt x="306" y="78"/>
                </a:lnTo>
                <a:lnTo>
                  <a:pt x="306" y="78"/>
                </a:lnTo>
                <a:lnTo>
                  <a:pt x="300" y="84"/>
                </a:lnTo>
                <a:lnTo>
                  <a:pt x="300" y="84"/>
                </a:lnTo>
                <a:lnTo>
                  <a:pt x="300" y="90"/>
                </a:lnTo>
                <a:lnTo>
                  <a:pt x="300" y="90"/>
                </a:lnTo>
                <a:lnTo>
                  <a:pt x="300" y="90"/>
                </a:lnTo>
                <a:lnTo>
                  <a:pt x="300" y="96"/>
                </a:lnTo>
                <a:lnTo>
                  <a:pt x="300" y="96"/>
                </a:lnTo>
                <a:lnTo>
                  <a:pt x="300" y="96"/>
                </a:lnTo>
                <a:lnTo>
                  <a:pt x="306" y="96"/>
                </a:lnTo>
                <a:lnTo>
                  <a:pt x="306" y="96"/>
                </a:lnTo>
                <a:lnTo>
                  <a:pt x="306" y="96"/>
                </a:lnTo>
                <a:lnTo>
                  <a:pt x="306" y="102"/>
                </a:lnTo>
                <a:lnTo>
                  <a:pt x="306" y="102"/>
                </a:lnTo>
                <a:lnTo>
                  <a:pt x="306" y="102"/>
                </a:lnTo>
                <a:lnTo>
                  <a:pt x="312" y="102"/>
                </a:lnTo>
                <a:lnTo>
                  <a:pt x="312" y="108"/>
                </a:lnTo>
                <a:lnTo>
                  <a:pt x="312" y="108"/>
                </a:lnTo>
                <a:lnTo>
                  <a:pt x="306" y="108"/>
                </a:lnTo>
                <a:lnTo>
                  <a:pt x="306" y="108"/>
                </a:lnTo>
                <a:lnTo>
                  <a:pt x="312" y="108"/>
                </a:lnTo>
                <a:lnTo>
                  <a:pt x="312" y="114"/>
                </a:lnTo>
                <a:lnTo>
                  <a:pt x="306" y="114"/>
                </a:lnTo>
                <a:lnTo>
                  <a:pt x="306" y="114"/>
                </a:lnTo>
                <a:lnTo>
                  <a:pt x="306" y="114"/>
                </a:lnTo>
                <a:lnTo>
                  <a:pt x="300" y="114"/>
                </a:lnTo>
                <a:lnTo>
                  <a:pt x="300" y="120"/>
                </a:lnTo>
                <a:lnTo>
                  <a:pt x="300" y="126"/>
                </a:lnTo>
                <a:lnTo>
                  <a:pt x="300" y="132"/>
                </a:lnTo>
                <a:lnTo>
                  <a:pt x="294" y="138"/>
                </a:lnTo>
                <a:lnTo>
                  <a:pt x="300" y="138"/>
                </a:lnTo>
                <a:lnTo>
                  <a:pt x="300" y="138"/>
                </a:lnTo>
                <a:lnTo>
                  <a:pt x="306" y="138"/>
                </a:lnTo>
                <a:lnTo>
                  <a:pt x="306" y="144"/>
                </a:lnTo>
                <a:lnTo>
                  <a:pt x="306" y="144"/>
                </a:lnTo>
                <a:lnTo>
                  <a:pt x="306" y="144"/>
                </a:lnTo>
                <a:lnTo>
                  <a:pt x="306" y="144"/>
                </a:lnTo>
                <a:lnTo>
                  <a:pt x="306" y="144"/>
                </a:lnTo>
                <a:lnTo>
                  <a:pt x="306" y="144"/>
                </a:lnTo>
                <a:lnTo>
                  <a:pt x="306" y="144"/>
                </a:lnTo>
                <a:lnTo>
                  <a:pt x="312" y="150"/>
                </a:lnTo>
                <a:lnTo>
                  <a:pt x="312" y="150"/>
                </a:lnTo>
                <a:lnTo>
                  <a:pt x="306" y="150"/>
                </a:lnTo>
                <a:lnTo>
                  <a:pt x="312" y="156"/>
                </a:lnTo>
                <a:lnTo>
                  <a:pt x="312" y="156"/>
                </a:lnTo>
                <a:lnTo>
                  <a:pt x="312" y="162"/>
                </a:lnTo>
                <a:lnTo>
                  <a:pt x="312" y="168"/>
                </a:lnTo>
                <a:lnTo>
                  <a:pt x="312" y="168"/>
                </a:lnTo>
                <a:lnTo>
                  <a:pt x="312" y="168"/>
                </a:lnTo>
                <a:lnTo>
                  <a:pt x="312" y="168"/>
                </a:lnTo>
                <a:lnTo>
                  <a:pt x="318" y="174"/>
                </a:lnTo>
                <a:lnTo>
                  <a:pt x="312" y="174"/>
                </a:lnTo>
                <a:lnTo>
                  <a:pt x="312" y="180"/>
                </a:lnTo>
                <a:lnTo>
                  <a:pt x="312" y="180"/>
                </a:lnTo>
                <a:lnTo>
                  <a:pt x="312" y="180"/>
                </a:lnTo>
                <a:lnTo>
                  <a:pt x="312" y="180"/>
                </a:lnTo>
                <a:lnTo>
                  <a:pt x="312" y="180"/>
                </a:lnTo>
                <a:lnTo>
                  <a:pt x="294" y="180"/>
                </a:lnTo>
                <a:lnTo>
                  <a:pt x="282" y="186"/>
                </a:lnTo>
                <a:lnTo>
                  <a:pt x="282" y="186"/>
                </a:lnTo>
                <a:lnTo>
                  <a:pt x="276" y="186"/>
                </a:lnTo>
                <a:lnTo>
                  <a:pt x="276" y="186"/>
                </a:lnTo>
                <a:lnTo>
                  <a:pt x="276" y="186"/>
                </a:lnTo>
                <a:lnTo>
                  <a:pt x="276" y="186"/>
                </a:lnTo>
                <a:lnTo>
                  <a:pt x="276" y="186"/>
                </a:lnTo>
                <a:lnTo>
                  <a:pt x="270" y="186"/>
                </a:lnTo>
                <a:lnTo>
                  <a:pt x="270" y="186"/>
                </a:lnTo>
                <a:lnTo>
                  <a:pt x="270" y="186"/>
                </a:lnTo>
                <a:lnTo>
                  <a:pt x="270" y="186"/>
                </a:lnTo>
                <a:lnTo>
                  <a:pt x="270" y="186"/>
                </a:lnTo>
                <a:lnTo>
                  <a:pt x="270" y="186"/>
                </a:lnTo>
                <a:lnTo>
                  <a:pt x="270" y="186"/>
                </a:lnTo>
                <a:lnTo>
                  <a:pt x="270" y="186"/>
                </a:lnTo>
                <a:lnTo>
                  <a:pt x="270" y="186"/>
                </a:lnTo>
                <a:lnTo>
                  <a:pt x="270" y="186"/>
                </a:lnTo>
                <a:lnTo>
                  <a:pt x="270" y="186"/>
                </a:lnTo>
                <a:lnTo>
                  <a:pt x="270" y="186"/>
                </a:lnTo>
                <a:lnTo>
                  <a:pt x="270" y="186"/>
                </a:lnTo>
                <a:lnTo>
                  <a:pt x="270" y="186"/>
                </a:lnTo>
                <a:lnTo>
                  <a:pt x="270" y="186"/>
                </a:lnTo>
                <a:lnTo>
                  <a:pt x="270" y="186"/>
                </a:lnTo>
                <a:lnTo>
                  <a:pt x="270" y="186"/>
                </a:lnTo>
                <a:lnTo>
                  <a:pt x="270" y="186"/>
                </a:lnTo>
                <a:lnTo>
                  <a:pt x="270" y="186"/>
                </a:lnTo>
                <a:lnTo>
                  <a:pt x="270" y="186"/>
                </a:lnTo>
                <a:lnTo>
                  <a:pt x="270" y="186"/>
                </a:lnTo>
                <a:lnTo>
                  <a:pt x="270" y="186"/>
                </a:lnTo>
                <a:lnTo>
                  <a:pt x="270" y="186"/>
                </a:lnTo>
                <a:lnTo>
                  <a:pt x="270" y="186"/>
                </a:lnTo>
                <a:lnTo>
                  <a:pt x="270" y="192"/>
                </a:lnTo>
                <a:lnTo>
                  <a:pt x="270" y="192"/>
                </a:lnTo>
                <a:lnTo>
                  <a:pt x="264" y="192"/>
                </a:lnTo>
                <a:lnTo>
                  <a:pt x="264" y="192"/>
                </a:lnTo>
                <a:lnTo>
                  <a:pt x="264" y="192"/>
                </a:lnTo>
                <a:lnTo>
                  <a:pt x="264" y="192"/>
                </a:lnTo>
                <a:lnTo>
                  <a:pt x="264" y="192"/>
                </a:lnTo>
                <a:lnTo>
                  <a:pt x="264" y="192"/>
                </a:lnTo>
                <a:lnTo>
                  <a:pt x="264" y="192"/>
                </a:lnTo>
                <a:lnTo>
                  <a:pt x="264" y="192"/>
                </a:lnTo>
                <a:lnTo>
                  <a:pt x="264" y="192"/>
                </a:lnTo>
                <a:lnTo>
                  <a:pt x="264" y="192"/>
                </a:lnTo>
                <a:lnTo>
                  <a:pt x="264" y="192"/>
                </a:lnTo>
                <a:lnTo>
                  <a:pt x="264" y="192"/>
                </a:lnTo>
                <a:lnTo>
                  <a:pt x="264" y="192"/>
                </a:lnTo>
                <a:lnTo>
                  <a:pt x="264" y="192"/>
                </a:lnTo>
                <a:lnTo>
                  <a:pt x="264" y="198"/>
                </a:lnTo>
                <a:lnTo>
                  <a:pt x="264" y="192"/>
                </a:lnTo>
                <a:lnTo>
                  <a:pt x="258" y="198"/>
                </a:lnTo>
                <a:lnTo>
                  <a:pt x="258" y="192"/>
                </a:lnTo>
                <a:lnTo>
                  <a:pt x="258" y="198"/>
                </a:lnTo>
                <a:lnTo>
                  <a:pt x="258" y="192"/>
                </a:lnTo>
                <a:lnTo>
                  <a:pt x="258" y="198"/>
                </a:lnTo>
                <a:lnTo>
                  <a:pt x="258" y="198"/>
                </a:lnTo>
                <a:lnTo>
                  <a:pt x="252" y="192"/>
                </a:lnTo>
                <a:lnTo>
                  <a:pt x="252" y="192"/>
                </a:lnTo>
                <a:lnTo>
                  <a:pt x="252" y="192"/>
                </a:lnTo>
                <a:lnTo>
                  <a:pt x="252" y="192"/>
                </a:lnTo>
                <a:lnTo>
                  <a:pt x="252" y="198"/>
                </a:lnTo>
                <a:lnTo>
                  <a:pt x="252" y="192"/>
                </a:lnTo>
                <a:lnTo>
                  <a:pt x="252" y="198"/>
                </a:lnTo>
                <a:lnTo>
                  <a:pt x="252" y="198"/>
                </a:lnTo>
                <a:lnTo>
                  <a:pt x="252" y="198"/>
                </a:lnTo>
                <a:lnTo>
                  <a:pt x="252" y="198"/>
                </a:lnTo>
                <a:lnTo>
                  <a:pt x="252" y="198"/>
                </a:lnTo>
                <a:lnTo>
                  <a:pt x="252" y="198"/>
                </a:lnTo>
                <a:lnTo>
                  <a:pt x="246" y="198"/>
                </a:lnTo>
                <a:lnTo>
                  <a:pt x="246" y="198"/>
                </a:lnTo>
                <a:lnTo>
                  <a:pt x="246" y="198"/>
                </a:lnTo>
                <a:lnTo>
                  <a:pt x="246" y="198"/>
                </a:lnTo>
                <a:lnTo>
                  <a:pt x="246" y="198"/>
                </a:lnTo>
                <a:lnTo>
                  <a:pt x="246" y="198"/>
                </a:lnTo>
                <a:lnTo>
                  <a:pt x="246" y="198"/>
                </a:lnTo>
                <a:lnTo>
                  <a:pt x="246" y="198"/>
                </a:lnTo>
                <a:lnTo>
                  <a:pt x="246" y="192"/>
                </a:lnTo>
                <a:lnTo>
                  <a:pt x="246" y="192"/>
                </a:lnTo>
                <a:lnTo>
                  <a:pt x="246" y="192"/>
                </a:lnTo>
                <a:lnTo>
                  <a:pt x="246" y="192"/>
                </a:lnTo>
                <a:lnTo>
                  <a:pt x="240" y="192"/>
                </a:lnTo>
                <a:lnTo>
                  <a:pt x="240" y="192"/>
                </a:lnTo>
                <a:lnTo>
                  <a:pt x="240" y="192"/>
                </a:lnTo>
                <a:lnTo>
                  <a:pt x="240" y="192"/>
                </a:lnTo>
                <a:lnTo>
                  <a:pt x="240" y="192"/>
                </a:lnTo>
                <a:lnTo>
                  <a:pt x="240" y="192"/>
                </a:lnTo>
                <a:lnTo>
                  <a:pt x="240" y="192"/>
                </a:lnTo>
                <a:lnTo>
                  <a:pt x="240" y="186"/>
                </a:lnTo>
                <a:lnTo>
                  <a:pt x="240" y="186"/>
                </a:lnTo>
                <a:lnTo>
                  <a:pt x="240" y="186"/>
                </a:lnTo>
                <a:lnTo>
                  <a:pt x="240" y="186"/>
                </a:lnTo>
                <a:lnTo>
                  <a:pt x="240" y="186"/>
                </a:lnTo>
                <a:lnTo>
                  <a:pt x="240" y="186"/>
                </a:lnTo>
                <a:lnTo>
                  <a:pt x="240" y="186"/>
                </a:lnTo>
                <a:lnTo>
                  <a:pt x="240" y="186"/>
                </a:lnTo>
                <a:lnTo>
                  <a:pt x="240" y="186"/>
                </a:lnTo>
                <a:lnTo>
                  <a:pt x="240" y="186"/>
                </a:lnTo>
                <a:lnTo>
                  <a:pt x="240" y="186"/>
                </a:lnTo>
                <a:lnTo>
                  <a:pt x="240" y="186"/>
                </a:lnTo>
                <a:lnTo>
                  <a:pt x="240" y="186"/>
                </a:lnTo>
                <a:lnTo>
                  <a:pt x="240" y="180"/>
                </a:lnTo>
                <a:lnTo>
                  <a:pt x="240" y="180"/>
                </a:lnTo>
                <a:lnTo>
                  <a:pt x="240" y="180"/>
                </a:lnTo>
                <a:lnTo>
                  <a:pt x="240" y="180"/>
                </a:lnTo>
                <a:lnTo>
                  <a:pt x="240" y="180"/>
                </a:lnTo>
                <a:lnTo>
                  <a:pt x="240" y="180"/>
                </a:lnTo>
                <a:lnTo>
                  <a:pt x="240" y="180"/>
                </a:lnTo>
                <a:lnTo>
                  <a:pt x="240" y="180"/>
                </a:lnTo>
                <a:lnTo>
                  <a:pt x="240" y="180"/>
                </a:lnTo>
                <a:lnTo>
                  <a:pt x="240" y="180"/>
                </a:lnTo>
                <a:lnTo>
                  <a:pt x="240" y="174"/>
                </a:lnTo>
                <a:lnTo>
                  <a:pt x="240" y="174"/>
                </a:lnTo>
                <a:lnTo>
                  <a:pt x="240" y="174"/>
                </a:lnTo>
                <a:lnTo>
                  <a:pt x="240" y="174"/>
                </a:lnTo>
                <a:lnTo>
                  <a:pt x="240" y="174"/>
                </a:lnTo>
                <a:lnTo>
                  <a:pt x="240" y="174"/>
                </a:lnTo>
                <a:lnTo>
                  <a:pt x="240" y="174"/>
                </a:lnTo>
                <a:lnTo>
                  <a:pt x="240" y="174"/>
                </a:lnTo>
                <a:lnTo>
                  <a:pt x="240" y="168"/>
                </a:lnTo>
                <a:lnTo>
                  <a:pt x="240" y="168"/>
                </a:lnTo>
                <a:lnTo>
                  <a:pt x="240" y="168"/>
                </a:lnTo>
                <a:lnTo>
                  <a:pt x="246" y="168"/>
                </a:lnTo>
                <a:lnTo>
                  <a:pt x="246" y="168"/>
                </a:lnTo>
                <a:lnTo>
                  <a:pt x="246" y="168"/>
                </a:lnTo>
                <a:lnTo>
                  <a:pt x="246" y="168"/>
                </a:lnTo>
                <a:lnTo>
                  <a:pt x="246" y="168"/>
                </a:lnTo>
                <a:lnTo>
                  <a:pt x="246" y="168"/>
                </a:lnTo>
                <a:lnTo>
                  <a:pt x="246" y="162"/>
                </a:lnTo>
                <a:lnTo>
                  <a:pt x="246" y="162"/>
                </a:lnTo>
                <a:lnTo>
                  <a:pt x="246" y="162"/>
                </a:lnTo>
                <a:lnTo>
                  <a:pt x="246" y="162"/>
                </a:lnTo>
                <a:lnTo>
                  <a:pt x="246" y="162"/>
                </a:lnTo>
                <a:lnTo>
                  <a:pt x="246" y="162"/>
                </a:lnTo>
                <a:lnTo>
                  <a:pt x="246" y="162"/>
                </a:lnTo>
                <a:lnTo>
                  <a:pt x="246" y="162"/>
                </a:lnTo>
                <a:lnTo>
                  <a:pt x="246" y="162"/>
                </a:lnTo>
                <a:lnTo>
                  <a:pt x="246" y="162"/>
                </a:lnTo>
                <a:lnTo>
                  <a:pt x="252" y="162"/>
                </a:lnTo>
                <a:lnTo>
                  <a:pt x="246" y="156"/>
                </a:lnTo>
                <a:lnTo>
                  <a:pt x="246" y="156"/>
                </a:lnTo>
                <a:lnTo>
                  <a:pt x="246" y="156"/>
                </a:lnTo>
                <a:lnTo>
                  <a:pt x="252" y="156"/>
                </a:lnTo>
                <a:lnTo>
                  <a:pt x="252" y="156"/>
                </a:lnTo>
                <a:lnTo>
                  <a:pt x="246" y="150"/>
                </a:lnTo>
                <a:lnTo>
                  <a:pt x="246" y="150"/>
                </a:lnTo>
                <a:lnTo>
                  <a:pt x="246" y="150"/>
                </a:lnTo>
                <a:lnTo>
                  <a:pt x="246" y="150"/>
                </a:lnTo>
                <a:lnTo>
                  <a:pt x="246" y="150"/>
                </a:lnTo>
                <a:lnTo>
                  <a:pt x="246" y="150"/>
                </a:lnTo>
                <a:lnTo>
                  <a:pt x="246" y="144"/>
                </a:lnTo>
                <a:lnTo>
                  <a:pt x="246" y="138"/>
                </a:lnTo>
                <a:lnTo>
                  <a:pt x="246" y="138"/>
                </a:lnTo>
                <a:lnTo>
                  <a:pt x="246" y="138"/>
                </a:lnTo>
                <a:lnTo>
                  <a:pt x="246" y="138"/>
                </a:lnTo>
                <a:lnTo>
                  <a:pt x="246" y="138"/>
                </a:lnTo>
                <a:lnTo>
                  <a:pt x="246" y="138"/>
                </a:lnTo>
                <a:lnTo>
                  <a:pt x="246" y="138"/>
                </a:lnTo>
                <a:lnTo>
                  <a:pt x="246" y="138"/>
                </a:lnTo>
                <a:lnTo>
                  <a:pt x="240" y="138"/>
                </a:lnTo>
                <a:lnTo>
                  <a:pt x="240" y="138"/>
                </a:lnTo>
                <a:lnTo>
                  <a:pt x="240" y="138"/>
                </a:lnTo>
                <a:lnTo>
                  <a:pt x="240" y="138"/>
                </a:lnTo>
                <a:lnTo>
                  <a:pt x="240" y="138"/>
                </a:lnTo>
                <a:lnTo>
                  <a:pt x="240" y="132"/>
                </a:lnTo>
                <a:lnTo>
                  <a:pt x="234" y="132"/>
                </a:lnTo>
                <a:lnTo>
                  <a:pt x="234" y="126"/>
                </a:lnTo>
                <a:lnTo>
                  <a:pt x="228" y="126"/>
                </a:lnTo>
                <a:lnTo>
                  <a:pt x="216" y="126"/>
                </a:lnTo>
                <a:lnTo>
                  <a:pt x="204" y="126"/>
                </a:lnTo>
                <a:lnTo>
                  <a:pt x="192" y="126"/>
                </a:lnTo>
                <a:lnTo>
                  <a:pt x="156" y="126"/>
                </a:lnTo>
                <a:lnTo>
                  <a:pt x="150" y="126"/>
                </a:lnTo>
                <a:lnTo>
                  <a:pt x="132" y="126"/>
                </a:lnTo>
                <a:lnTo>
                  <a:pt x="132" y="132"/>
                </a:lnTo>
                <a:lnTo>
                  <a:pt x="132" y="144"/>
                </a:lnTo>
                <a:lnTo>
                  <a:pt x="132" y="144"/>
                </a:lnTo>
                <a:lnTo>
                  <a:pt x="132" y="144"/>
                </a:lnTo>
                <a:lnTo>
                  <a:pt x="126" y="150"/>
                </a:lnTo>
                <a:lnTo>
                  <a:pt x="126" y="150"/>
                </a:lnTo>
                <a:lnTo>
                  <a:pt x="126" y="156"/>
                </a:lnTo>
                <a:lnTo>
                  <a:pt x="132" y="156"/>
                </a:lnTo>
                <a:lnTo>
                  <a:pt x="132" y="156"/>
                </a:lnTo>
                <a:lnTo>
                  <a:pt x="132" y="156"/>
                </a:lnTo>
                <a:lnTo>
                  <a:pt x="132" y="162"/>
                </a:lnTo>
                <a:lnTo>
                  <a:pt x="132" y="162"/>
                </a:lnTo>
                <a:lnTo>
                  <a:pt x="132" y="162"/>
                </a:lnTo>
                <a:lnTo>
                  <a:pt x="126" y="168"/>
                </a:lnTo>
                <a:lnTo>
                  <a:pt x="126" y="168"/>
                </a:lnTo>
                <a:lnTo>
                  <a:pt x="126" y="168"/>
                </a:lnTo>
                <a:lnTo>
                  <a:pt x="126" y="168"/>
                </a:lnTo>
                <a:lnTo>
                  <a:pt x="126" y="168"/>
                </a:lnTo>
                <a:lnTo>
                  <a:pt x="120" y="168"/>
                </a:lnTo>
                <a:lnTo>
                  <a:pt x="120" y="174"/>
                </a:lnTo>
                <a:lnTo>
                  <a:pt x="126" y="174"/>
                </a:lnTo>
                <a:lnTo>
                  <a:pt x="126" y="180"/>
                </a:lnTo>
                <a:lnTo>
                  <a:pt x="126" y="180"/>
                </a:lnTo>
                <a:lnTo>
                  <a:pt x="126" y="180"/>
                </a:lnTo>
                <a:lnTo>
                  <a:pt x="126" y="180"/>
                </a:lnTo>
                <a:lnTo>
                  <a:pt x="126" y="180"/>
                </a:lnTo>
                <a:lnTo>
                  <a:pt x="126" y="180"/>
                </a:lnTo>
                <a:lnTo>
                  <a:pt x="126" y="186"/>
                </a:lnTo>
                <a:lnTo>
                  <a:pt x="126" y="186"/>
                </a:lnTo>
                <a:lnTo>
                  <a:pt x="126" y="186"/>
                </a:lnTo>
                <a:lnTo>
                  <a:pt x="126" y="186"/>
                </a:lnTo>
                <a:lnTo>
                  <a:pt x="126" y="186"/>
                </a:lnTo>
                <a:lnTo>
                  <a:pt x="126" y="186"/>
                </a:lnTo>
                <a:lnTo>
                  <a:pt x="126" y="186"/>
                </a:lnTo>
                <a:lnTo>
                  <a:pt x="126" y="186"/>
                </a:lnTo>
                <a:lnTo>
                  <a:pt x="126" y="186"/>
                </a:lnTo>
                <a:lnTo>
                  <a:pt x="126" y="192"/>
                </a:lnTo>
                <a:lnTo>
                  <a:pt x="126" y="192"/>
                </a:lnTo>
                <a:lnTo>
                  <a:pt x="126" y="192"/>
                </a:lnTo>
                <a:lnTo>
                  <a:pt x="126" y="198"/>
                </a:lnTo>
                <a:lnTo>
                  <a:pt x="126" y="198"/>
                </a:lnTo>
                <a:lnTo>
                  <a:pt x="126" y="198"/>
                </a:lnTo>
                <a:lnTo>
                  <a:pt x="150" y="198"/>
                </a:lnTo>
                <a:lnTo>
                  <a:pt x="156" y="198"/>
                </a:lnTo>
                <a:lnTo>
                  <a:pt x="156" y="198"/>
                </a:lnTo>
                <a:lnTo>
                  <a:pt x="168" y="198"/>
                </a:lnTo>
                <a:lnTo>
                  <a:pt x="186" y="198"/>
                </a:lnTo>
                <a:lnTo>
                  <a:pt x="198" y="198"/>
                </a:lnTo>
                <a:lnTo>
                  <a:pt x="210" y="198"/>
                </a:lnTo>
                <a:lnTo>
                  <a:pt x="252" y="198"/>
                </a:lnTo>
                <a:lnTo>
                  <a:pt x="252" y="198"/>
                </a:lnTo>
                <a:lnTo>
                  <a:pt x="252" y="204"/>
                </a:lnTo>
                <a:lnTo>
                  <a:pt x="246" y="204"/>
                </a:lnTo>
                <a:lnTo>
                  <a:pt x="252" y="204"/>
                </a:lnTo>
                <a:lnTo>
                  <a:pt x="252" y="204"/>
                </a:lnTo>
                <a:lnTo>
                  <a:pt x="252" y="204"/>
                </a:lnTo>
                <a:lnTo>
                  <a:pt x="246" y="204"/>
                </a:lnTo>
                <a:lnTo>
                  <a:pt x="252" y="204"/>
                </a:lnTo>
                <a:lnTo>
                  <a:pt x="252" y="204"/>
                </a:lnTo>
                <a:lnTo>
                  <a:pt x="246" y="204"/>
                </a:lnTo>
                <a:lnTo>
                  <a:pt x="246" y="204"/>
                </a:lnTo>
                <a:lnTo>
                  <a:pt x="246" y="204"/>
                </a:lnTo>
                <a:lnTo>
                  <a:pt x="246" y="204"/>
                </a:lnTo>
                <a:lnTo>
                  <a:pt x="246" y="204"/>
                </a:lnTo>
                <a:lnTo>
                  <a:pt x="246" y="204"/>
                </a:lnTo>
                <a:lnTo>
                  <a:pt x="246" y="204"/>
                </a:lnTo>
                <a:lnTo>
                  <a:pt x="246" y="204"/>
                </a:lnTo>
                <a:lnTo>
                  <a:pt x="246" y="210"/>
                </a:lnTo>
                <a:lnTo>
                  <a:pt x="246" y="210"/>
                </a:lnTo>
                <a:lnTo>
                  <a:pt x="246" y="210"/>
                </a:lnTo>
                <a:lnTo>
                  <a:pt x="246" y="210"/>
                </a:lnTo>
                <a:lnTo>
                  <a:pt x="246" y="210"/>
                </a:lnTo>
                <a:lnTo>
                  <a:pt x="246" y="210"/>
                </a:lnTo>
                <a:lnTo>
                  <a:pt x="246" y="210"/>
                </a:lnTo>
                <a:lnTo>
                  <a:pt x="246" y="210"/>
                </a:lnTo>
                <a:lnTo>
                  <a:pt x="246" y="210"/>
                </a:lnTo>
                <a:lnTo>
                  <a:pt x="246" y="216"/>
                </a:lnTo>
                <a:lnTo>
                  <a:pt x="246" y="216"/>
                </a:lnTo>
                <a:lnTo>
                  <a:pt x="246" y="216"/>
                </a:lnTo>
                <a:lnTo>
                  <a:pt x="246" y="216"/>
                </a:lnTo>
                <a:lnTo>
                  <a:pt x="246" y="216"/>
                </a:lnTo>
                <a:lnTo>
                  <a:pt x="246" y="216"/>
                </a:lnTo>
                <a:lnTo>
                  <a:pt x="246" y="216"/>
                </a:lnTo>
                <a:lnTo>
                  <a:pt x="246" y="216"/>
                </a:lnTo>
                <a:lnTo>
                  <a:pt x="246" y="216"/>
                </a:lnTo>
                <a:lnTo>
                  <a:pt x="246" y="222"/>
                </a:lnTo>
                <a:lnTo>
                  <a:pt x="246" y="222"/>
                </a:lnTo>
                <a:lnTo>
                  <a:pt x="246" y="222"/>
                </a:lnTo>
                <a:lnTo>
                  <a:pt x="246" y="222"/>
                </a:lnTo>
                <a:lnTo>
                  <a:pt x="246" y="222"/>
                </a:lnTo>
                <a:lnTo>
                  <a:pt x="246" y="222"/>
                </a:lnTo>
                <a:lnTo>
                  <a:pt x="246" y="222"/>
                </a:lnTo>
                <a:lnTo>
                  <a:pt x="246" y="228"/>
                </a:lnTo>
                <a:lnTo>
                  <a:pt x="246" y="228"/>
                </a:lnTo>
                <a:lnTo>
                  <a:pt x="246" y="228"/>
                </a:lnTo>
                <a:lnTo>
                  <a:pt x="246" y="228"/>
                </a:lnTo>
                <a:lnTo>
                  <a:pt x="246" y="228"/>
                </a:lnTo>
                <a:lnTo>
                  <a:pt x="246" y="228"/>
                </a:lnTo>
                <a:lnTo>
                  <a:pt x="246" y="234"/>
                </a:lnTo>
                <a:lnTo>
                  <a:pt x="246" y="234"/>
                </a:lnTo>
                <a:lnTo>
                  <a:pt x="246" y="234"/>
                </a:lnTo>
                <a:lnTo>
                  <a:pt x="240" y="234"/>
                </a:lnTo>
                <a:lnTo>
                  <a:pt x="240" y="234"/>
                </a:lnTo>
                <a:lnTo>
                  <a:pt x="240" y="240"/>
                </a:lnTo>
                <a:lnTo>
                  <a:pt x="240" y="240"/>
                </a:lnTo>
                <a:lnTo>
                  <a:pt x="234" y="240"/>
                </a:lnTo>
                <a:lnTo>
                  <a:pt x="234" y="246"/>
                </a:lnTo>
                <a:lnTo>
                  <a:pt x="234" y="246"/>
                </a:lnTo>
                <a:lnTo>
                  <a:pt x="234" y="246"/>
                </a:lnTo>
                <a:lnTo>
                  <a:pt x="234" y="252"/>
                </a:lnTo>
                <a:lnTo>
                  <a:pt x="234" y="252"/>
                </a:lnTo>
                <a:lnTo>
                  <a:pt x="234" y="252"/>
                </a:lnTo>
                <a:lnTo>
                  <a:pt x="234" y="252"/>
                </a:lnTo>
                <a:lnTo>
                  <a:pt x="228" y="252"/>
                </a:lnTo>
                <a:lnTo>
                  <a:pt x="228" y="258"/>
                </a:lnTo>
                <a:lnTo>
                  <a:pt x="228" y="258"/>
                </a:lnTo>
                <a:lnTo>
                  <a:pt x="228" y="258"/>
                </a:lnTo>
                <a:lnTo>
                  <a:pt x="228" y="258"/>
                </a:lnTo>
                <a:lnTo>
                  <a:pt x="228" y="258"/>
                </a:lnTo>
                <a:lnTo>
                  <a:pt x="228" y="258"/>
                </a:lnTo>
                <a:lnTo>
                  <a:pt x="234" y="258"/>
                </a:lnTo>
                <a:lnTo>
                  <a:pt x="234" y="264"/>
                </a:lnTo>
                <a:lnTo>
                  <a:pt x="234" y="264"/>
                </a:lnTo>
                <a:lnTo>
                  <a:pt x="234" y="264"/>
                </a:lnTo>
                <a:lnTo>
                  <a:pt x="234" y="264"/>
                </a:lnTo>
                <a:lnTo>
                  <a:pt x="234" y="264"/>
                </a:lnTo>
                <a:lnTo>
                  <a:pt x="234" y="264"/>
                </a:lnTo>
                <a:lnTo>
                  <a:pt x="234" y="264"/>
                </a:lnTo>
                <a:lnTo>
                  <a:pt x="234" y="264"/>
                </a:lnTo>
                <a:lnTo>
                  <a:pt x="234" y="264"/>
                </a:lnTo>
                <a:lnTo>
                  <a:pt x="240" y="264"/>
                </a:lnTo>
                <a:lnTo>
                  <a:pt x="240" y="264"/>
                </a:lnTo>
                <a:lnTo>
                  <a:pt x="234" y="264"/>
                </a:lnTo>
                <a:lnTo>
                  <a:pt x="234" y="264"/>
                </a:lnTo>
                <a:lnTo>
                  <a:pt x="234" y="264"/>
                </a:lnTo>
                <a:lnTo>
                  <a:pt x="234" y="264"/>
                </a:lnTo>
                <a:lnTo>
                  <a:pt x="234" y="270"/>
                </a:lnTo>
                <a:lnTo>
                  <a:pt x="234" y="270"/>
                </a:lnTo>
                <a:lnTo>
                  <a:pt x="240" y="270"/>
                </a:lnTo>
                <a:lnTo>
                  <a:pt x="240" y="270"/>
                </a:lnTo>
                <a:lnTo>
                  <a:pt x="240" y="270"/>
                </a:lnTo>
                <a:lnTo>
                  <a:pt x="240" y="270"/>
                </a:lnTo>
                <a:lnTo>
                  <a:pt x="240" y="270"/>
                </a:lnTo>
                <a:lnTo>
                  <a:pt x="240" y="270"/>
                </a:lnTo>
                <a:lnTo>
                  <a:pt x="240" y="270"/>
                </a:lnTo>
                <a:lnTo>
                  <a:pt x="240" y="270"/>
                </a:lnTo>
                <a:lnTo>
                  <a:pt x="240" y="270"/>
                </a:lnTo>
                <a:lnTo>
                  <a:pt x="240" y="270"/>
                </a:lnTo>
                <a:lnTo>
                  <a:pt x="240" y="270"/>
                </a:lnTo>
                <a:lnTo>
                  <a:pt x="246" y="270"/>
                </a:lnTo>
                <a:lnTo>
                  <a:pt x="246" y="270"/>
                </a:lnTo>
                <a:lnTo>
                  <a:pt x="246" y="270"/>
                </a:lnTo>
                <a:lnTo>
                  <a:pt x="246" y="270"/>
                </a:lnTo>
                <a:lnTo>
                  <a:pt x="246" y="270"/>
                </a:lnTo>
                <a:lnTo>
                  <a:pt x="246" y="270"/>
                </a:lnTo>
                <a:lnTo>
                  <a:pt x="246" y="270"/>
                </a:lnTo>
                <a:lnTo>
                  <a:pt x="246" y="270"/>
                </a:lnTo>
                <a:lnTo>
                  <a:pt x="246" y="276"/>
                </a:lnTo>
                <a:lnTo>
                  <a:pt x="246" y="270"/>
                </a:lnTo>
                <a:lnTo>
                  <a:pt x="246" y="270"/>
                </a:lnTo>
                <a:lnTo>
                  <a:pt x="246" y="270"/>
                </a:lnTo>
                <a:lnTo>
                  <a:pt x="246" y="276"/>
                </a:lnTo>
                <a:lnTo>
                  <a:pt x="246" y="276"/>
                </a:lnTo>
                <a:lnTo>
                  <a:pt x="252" y="276"/>
                </a:lnTo>
                <a:lnTo>
                  <a:pt x="252" y="276"/>
                </a:lnTo>
                <a:lnTo>
                  <a:pt x="252" y="276"/>
                </a:lnTo>
                <a:lnTo>
                  <a:pt x="252" y="276"/>
                </a:lnTo>
                <a:lnTo>
                  <a:pt x="252" y="276"/>
                </a:lnTo>
                <a:lnTo>
                  <a:pt x="252" y="276"/>
                </a:lnTo>
                <a:lnTo>
                  <a:pt x="252" y="276"/>
                </a:lnTo>
                <a:lnTo>
                  <a:pt x="252" y="276"/>
                </a:lnTo>
                <a:lnTo>
                  <a:pt x="252" y="276"/>
                </a:lnTo>
                <a:lnTo>
                  <a:pt x="252" y="276"/>
                </a:lnTo>
                <a:lnTo>
                  <a:pt x="252" y="282"/>
                </a:lnTo>
                <a:lnTo>
                  <a:pt x="252" y="282"/>
                </a:lnTo>
                <a:lnTo>
                  <a:pt x="258" y="282"/>
                </a:lnTo>
                <a:lnTo>
                  <a:pt x="258" y="282"/>
                </a:lnTo>
                <a:lnTo>
                  <a:pt x="258" y="276"/>
                </a:lnTo>
                <a:lnTo>
                  <a:pt x="258" y="276"/>
                </a:lnTo>
                <a:lnTo>
                  <a:pt x="258" y="282"/>
                </a:lnTo>
                <a:lnTo>
                  <a:pt x="258" y="282"/>
                </a:lnTo>
                <a:lnTo>
                  <a:pt x="258" y="282"/>
                </a:lnTo>
                <a:lnTo>
                  <a:pt x="258" y="282"/>
                </a:lnTo>
                <a:lnTo>
                  <a:pt x="258" y="282"/>
                </a:lnTo>
                <a:lnTo>
                  <a:pt x="258" y="282"/>
                </a:lnTo>
                <a:lnTo>
                  <a:pt x="258" y="282"/>
                </a:lnTo>
                <a:lnTo>
                  <a:pt x="258" y="282"/>
                </a:lnTo>
                <a:lnTo>
                  <a:pt x="258" y="288"/>
                </a:lnTo>
                <a:lnTo>
                  <a:pt x="258" y="288"/>
                </a:lnTo>
                <a:lnTo>
                  <a:pt x="258" y="282"/>
                </a:lnTo>
                <a:lnTo>
                  <a:pt x="258" y="288"/>
                </a:lnTo>
                <a:lnTo>
                  <a:pt x="258" y="288"/>
                </a:lnTo>
                <a:lnTo>
                  <a:pt x="258" y="288"/>
                </a:lnTo>
                <a:lnTo>
                  <a:pt x="258" y="288"/>
                </a:lnTo>
                <a:lnTo>
                  <a:pt x="258" y="288"/>
                </a:lnTo>
                <a:lnTo>
                  <a:pt x="258" y="288"/>
                </a:lnTo>
                <a:lnTo>
                  <a:pt x="258" y="288"/>
                </a:lnTo>
                <a:lnTo>
                  <a:pt x="258" y="294"/>
                </a:lnTo>
                <a:lnTo>
                  <a:pt x="258" y="294"/>
                </a:lnTo>
                <a:lnTo>
                  <a:pt x="258" y="294"/>
                </a:lnTo>
                <a:lnTo>
                  <a:pt x="258" y="294"/>
                </a:lnTo>
                <a:lnTo>
                  <a:pt x="258" y="294"/>
                </a:lnTo>
                <a:lnTo>
                  <a:pt x="264" y="294"/>
                </a:lnTo>
                <a:lnTo>
                  <a:pt x="264" y="294"/>
                </a:lnTo>
                <a:lnTo>
                  <a:pt x="264" y="294"/>
                </a:lnTo>
                <a:lnTo>
                  <a:pt x="264" y="294"/>
                </a:lnTo>
                <a:lnTo>
                  <a:pt x="264" y="300"/>
                </a:lnTo>
                <a:lnTo>
                  <a:pt x="264" y="300"/>
                </a:lnTo>
                <a:lnTo>
                  <a:pt x="264" y="300"/>
                </a:lnTo>
                <a:lnTo>
                  <a:pt x="264" y="300"/>
                </a:lnTo>
                <a:lnTo>
                  <a:pt x="264" y="300"/>
                </a:lnTo>
                <a:lnTo>
                  <a:pt x="264" y="300"/>
                </a:lnTo>
                <a:lnTo>
                  <a:pt x="264" y="300"/>
                </a:lnTo>
                <a:lnTo>
                  <a:pt x="264" y="300"/>
                </a:lnTo>
                <a:lnTo>
                  <a:pt x="264" y="300"/>
                </a:lnTo>
                <a:lnTo>
                  <a:pt x="264" y="306"/>
                </a:lnTo>
                <a:lnTo>
                  <a:pt x="264" y="306"/>
                </a:lnTo>
                <a:lnTo>
                  <a:pt x="264" y="306"/>
                </a:lnTo>
                <a:lnTo>
                  <a:pt x="264" y="306"/>
                </a:lnTo>
                <a:lnTo>
                  <a:pt x="264" y="306"/>
                </a:lnTo>
                <a:lnTo>
                  <a:pt x="264" y="306"/>
                </a:lnTo>
                <a:lnTo>
                  <a:pt x="264" y="306"/>
                </a:lnTo>
                <a:lnTo>
                  <a:pt x="264" y="306"/>
                </a:lnTo>
                <a:lnTo>
                  <a:pt x="264" y="312"/>
                </a:lnTo>
                <a:lnTo>
                  <a:pt x="264" y="312"/>
                </a:lnTo>
                <a:lnTo>
                  <a:pt x="264" y="312"/>
                </a:lnTo>
                <a:lnTo>
                  <a:pt x="264" y="312"/>
                </a:lnTo>
                <a:lnTo>
                  <a:pt x="264" y="312"/>
                </a:lnTo>
                <a:lnTo>
                  <a:pt x="264" y="312"/>
                </a:lnTo>
                <a:lnTo>
                  <a:pt x="270" y="312"/>
                </a:lnTo>
                <a:lnTo>
                  <a:pt x="270" y="312"/>
                </a:lnTo>
                <a:lnTo>
                  <a:pt x="270" y="312"/>
                </a:lnTo>
                <a:lnTo>
                  <a:pt x="270" y="312"/>
                </a:lnTo>
                <a:lnTo>
                  <a:pt x="270" y="312"/>
                </a:lnTo>
                <a:lnTo>
                  <a:pt x="270" y="318"/>
                </a:lnTo>
                <a:lnTo>
                  <a:pt x="270" y="318"/>
                </a:lnTo>
                <a:lnTo>
                  <a:pt x="270" y="318"/>
                </a:lnTo>
                <a:lnTo>
                  <a:pt x="270" y="318"/>
                </a:lnTo>
                <a:lnTo>
                  <a:pt x="270" y="318"/>
                </a:lnTo>
                <a:lnTo>
                  <a:pt x="270" y="318"/>
                </a:lnTo>
                <a:lnTo>
                  <a:pt x="270" y="318"/>
                </a:lnTo>
                <a:lnTo>
                  <a:pt x="270" y="318"/>
                </a:lnTo>
                <a:lnTo>
                  <a:pt x="270" y="318"/>
                </a:lnTo>
                <a:lnTo>
                  <a:pt x="270" y="318"/>
                </a:lnTo>
                <a:lnTo>
                  <a:pt x="270" y="318"/>
                </a:lnTo>
                <a:lnTo>
                  <a:pt x="276" y="318"/>
                </a:lnTo>
                <a:lnTo>
                  <a:pt x="276" y="318"/>
                </a:lnTo>
                <a:lnTo>
                  <a:pt x="270" y="324"/>
                </a:lnTo>
                <a:lnTo>
                  <a:pt x="270" y="324"/>
                </a:lnTo>
                <a:lnTo>
                  <a:pt x="270" y="324"/>
                </a:lnTo>
                <a:lnTo>
                  <a:pt x="270" y="324"/>
                </a:lnTo>
                <a:lnTo>
                  <a:pt x="270" y="324"/>
                </a:lnTo>
                <a:lnTo>
                  <a:pt x="270" y="324"/>
                </a:lnTo>
                <a:lnTo>
                  <a:pt x="270" y="324"/>
                </a:lnTo>
                <a:lnTo>
                  <a:pt x="270" y="324"/>
                </a:lnTo>
                <a:lnTo>
                  <a:pt x="270" y="324"/>
                </a:lnTo>
                <a:lnTo>
                  <a:pt x="270" y="324"/>
                </a:lnTo>
                <a:lnTo>
                  <a:pt x="270" y="324"/>
                </a:lnTo>
                <a:lnTo>
                  <a:pt x="270" y="324"/>
                </a:lnTo>
                <a:lnTo>
                  <a:pt x="270" y="330"/>
                </a:lnTo>
                <a:lnTo>
                  <a:pt x="270" y="330"/>
                </a:lnTo>
                <a:lnTo>
                  <a:pt x="270" y="330"/>
                </a:lnTo>
                <a:lnTo>
                  <a:pt x="270" y="324"/>
                </a:lnTo>
                <a:lnTo>
                  <a:pt x="270" y="330"/>
                </a:lnTo>
                <a:lnTo>
                  <a:pt x="270" y="330"/>
                </a:lnTo>
                <a:lnTo>
                  <a:pt x="270" y="330"/>
                </a:lnTo>
                <a:lnTo>
                  <a:pt x="270" y="330"/>
                </a:lnTo>
                <a:lnTo>
                  <a:pt x="270" y="330"/>
                </a:lnTo>
                <a:lnTo>
                  <a:pt x="270" y="330"/>
                </a:lnTo>
                <a:lnTo>
                  <a:pt x="270" y="330"/>
                </a:lnTo>
                <a:lnTo>
                  <a:pt x="270" y="330"/>
                </a:lnTo>
                <a:lnTo>
                  <a:pt x="264" y="330"/>
                </a:lnTo>
                <a:lnTo>
                  <a:pt x="264" y="330"/>
                </a:lnTo>
                <a:lnTo>
                  <a:pt x="264" y="330"/>
                </a:lnTo>
                <a:lnTo>
                  <a:pt x="264" y="330"/>
                </a:lnTo>
                <a:lnTo>
                  <a:pt x="264" y="330"/>
                </a:lnTo>
                <a:lnTo>
                  <a:pt x="264" y="330"/>
                </a:lnTo>
                <a:lnTo>
                  <a:pt x="264" y="330"/>
                </a:lnTo>
                <a:lnTo>
                  <a:pt x="264" y="330"/>
                </a:lnTo>
                <a:lnTo>
                  <a:pt x="264" y="330"/>
                </a:lnTo>
                <a:lnTo>
                  <a:pt x="264" y="330"/>
                </a:lnTo>
                <a:lnTo>
                  <a:pt x="264" y="330"/>
                </a:lnTo>
                <a:lnTo>
                  <a:pt x="264" y="330"/>
                </a:lnTo>
                <a:lnTo>
                  <a:pt x="264" y="330"/>
                </a:lnTo>
                <a:lnTo>
                  <a:pt x="264" y="330"/>
                </a:lnTo>
                <a:lnTo>
                  <a:pt x="264" y="330"/>
                </a:lnTo>
                <a:lnTo>
                  <a:pt x="264" y="330"/>
                </a:lnTo>
                <a:lnTo>
                  <a:pt x="264" y="336"/>
                </a:lnTo>
                <a:lnTo>
                  <a:pt x="264" y="336"/>
                </a:lnTo>
                <a:lnTo>
                  <a:pt x="258" y="336"/>
                </a:lnTo>
                <a:lnTo>
                  <a:pt x="258" y="336"/>
                </a:lnTo>
                <a:lnTo>
                  <a:pt x="258" y="336"/>
                </a:lnTo>
                <a:lnTo>
                  <a:pt x="258" y="336"/>
                </a:lnTo>
                <a:lnTo>
                  <a:pt x="258" y="336"/>
                </a:lnTo>
                <a:lnTo>
                  <a:pt x="258" y="336"/>
                </a:lnTo>
                <a:lnTo>
                  <a:pt x="258" y="336"/>
                </a:lnTo>
                <a:lnTo>
                  <a:pt x="258" y="336"/>
                </a:lnTo>
                <a:lnTo>
                  <a:pt x="258" y="336"/>
                </a:lnTo>
                <a:lnTo>
                  <a:pt x="258" y="336"/>
                </a:lnTo>
                <a:lnTo>
                  <a:pt x="258" y="336"/>
                </a:lnTo>
                <a:lnTo>
                  <a:pt x="258" y="336"/>
                </a:lnTo>
                <a:lnTo>
                  <a:pt x="258" y="336"/>
                </a:lnTo>
                <a:lnTo>
                  <a:pt x="258" y="336"/>
                </a:lnTo>
                <a:lnTo>
                  <a:pt x="258" y="336"/>
                </a:lnTo>
                <a:lnTo>
                  <a:pt x="258" y="336"/>
                </a:lnTo>
                <a:lnTo>
                  <a:pt x="252" y="336"/>
                </a:lnTo>
                <a:lnTo>
                  <a:pt x="252" y="336"/>
                </a:lnTo>
                <a:lnTo>
                  <a:pt x="252" y="336"/>
                </a:lnTo>
                <a:lnTo>
                  <a:pt x="252" y="342"/>
                </a:lnTo>
                <a:lnTo>
                  <a:pt x="252" y="342"/>
                </a:lnTo>
                <a:lnTo>
                  <a:pt x="252" y="342"/>
                </a:lnTo>
                <a:lnTo>
                  <a:pt x="252" y="342"/>
                </a:lnTo>
                <a:lnTo>
                  <a:pt x="252" y="342"/>
                </a:lnTo>
                <a:lnTo>
                  <a:pt x="252" y="342"/>
                </a:lnTo>
                <a:lnTo>
                  <a:pt x="252" y="342"/>
                </a:lnTo>
                <a:lnTo>
                  <a:pt x="252" y="342"/>
                </a:lnTo>
                <a:lnTo>
                  <a:pt x="252" y="342"/>
                </a:lnTo>
                <a:lnTo>
                  <a:pt x="252" y="342"/>
                </a:lnTo>
                <a:lnTo>
                  <a:pt x="246" y="342"/>
                </a:lnTo>
                <a:lnTo>
                  <a:pt x="246" y="342"/>
                </a:lnTo>
                <a:lnTo>
                  <a:pt x="246" y="342"/>
                </a:lnTo>
                <a:lnTo>
                  <a:pt x="246" y="342"/>
                </a:lnTo>
                <a:lnTo>
                  <a:pt x="246" y="342"/>
                </a:lnTo>
                <a:lnTo>
                  <a:pt x="246" y="348"/>
                </a:lnTo>
                <a:lnTo>
                  <a:pt x="246" y="348"/>
                </a:lnTo>
                <a:lnTo>
                  <a:pt x="246" y="348"/>
                </a:lnTo>
                <a:lnTo>
                  <a:pt x="246" y="348"/>
                </a:lnTo>
                <a:lnTo>
                  <a:pt x="246" y="348"/>
                </a:lnTo>
                <a:lnTo>
                  <a:pt x="246" y="348"/>
                </a:lnTo>
                <a:lnTo>
                  <a:pt x="246" y="348"/>
                </a:lnTo>
                <a:lnTo>
                  <a:pt x="240" y="348"/>
                </a:lnTo>
                <a:lnTo>
                  <a:pt x="246" y="348"/>
                </a:lnTo>
                <a:lnTo>
                  <a:pt x="246" y="348"/>
                </a:lnTo>
                <a:lnTo>
                  <a:pt x="246" y="348"/>
                </a:lnTo>
                <a:lnTo>
                  <a:pt x="246" y="348"/>
                </a:lnTo>
                <a:lnTo>
                  <a:pt x="246" y="348"/>
                </a:lnTo>
                <a:lnTo>
                  <a:pt x="240" y="348"/>
                </a:lnTo>
                <a:lnTo>
                  <a:pt x="240" y="354"/>
                </a:lnTo>
                <a:lnTo>
                  <a:pt x="240" y="354"/>
                </a:lnTo>
                <a:lnTo>
                  <a:pt x="240" y="354"/>
                </a:lnTo>
                <a:lnTo>
                  <a:pt x="240" y="354"/>
                </a:lnTo>
                <a:lnTo>
                  <a:pt x="240" y="354"/>
                </a:lnTo>
                <a:lnTo>
                  <a:pt x="240" y="354"/>
                </a:lnTo>
                <a:lnTo>
                  <a:pt x="240" y="354"/>
                </a:lnTo>
                <a:lnTo>
                  <a:pt x="240" y="354"/>
                </a:lnTo>
                <a:lnTo>
                  <a:pt x="240" y="354"/>
                </a:lnTo>
                <a:lnTo>
                  <a:pt x="240" y="354"/>
                </a:lnTo>
                <a:lnTo>
                  <a:pt x="240" y="354"/>
                </a:lnTo>
                <a:lnTo>
                  <a:pt x="240" y="354"/>
                </a:lnTo>
                <a:lnTo>
                  <a:pt x="234" y="354"/>
                </a:lnTo>
                <a:lnTo>
                  <a:pt x="234" y="354"/>
                </a:lnTo>
                <a:lnTo>
                  <a:pt x="234" y="354"/>
                </a:lnTo>
                <a:lnTo>
                  <a:pt x="234" y="360"/>
                </a:lnTo>
                <a:lnTo>
                  <a:pt x="234" y="360"/>
                </a:lnTo>
                <a:lnTo>
                  <a:pt x="234" y="360"/>
                </a:lnTo>
                <a:lnTo>
                  <a:pt x="234" y="360"/>
                </a:lnTo>
                <a:lnTo>
                  <a:pt x="234" y="360"/>
                </a:lnTo>
                <a:lnTo>
                  <a:pt x="234" y="360"/>
                </a:lnTo>
                <a:lnTo>
                  <a:pt x="234" y="360"/>
                </a:lnTo>
                <a:lnTo>
                  <a:pt x="234" y="360"/>
                </a:lnTo>
                <a:lnTo>
                  <a:pt x="234" y="360"/>
                </a:lnTo>
                <a:lnTo>
                  <a:pt x="234" y="360"/>
                </a:lnTo>
                <a:lnTo>
                  <a:pt x="234" y="360"/>
                </a:lnTo>
                <a:lnTo>
                  <a:pt x="234" y="360"/>
                </a:lnTo>
                <a:lnTo>
                  <a:pt x="234" y="366"/>
                </a:lnTo>
                <a:lnTo>
                  <a:pt x="234" y="366"/>
                </a:lnTo>
                <a:lnTo>
                  <a:pt x="234" y="366"/>
                </a:lnTo>
                <a:lnTo>
                  <a:pt x="234" y="366"/>
                </a:lnTo>
                <a:lnTo>
                  <a:pt x="234" y="366"/>
                </a:lnTo>
                <a:lnTo>
                  <a:pt x="234" y="366"/>
                </a:lnTo>
                <a:lnTo>
                  <a:pt x="234" y="366"/>
                </a:lnTo>
                <a:lnTo>
                  <a:pt x="228" y="366"/>
                </a:lnTo>
                <a:lnTo>
                  <a:pt x="234" y="366"/>
                </a:lnTo>
                <a:lnTo>
                  <a:pt x="234" y="366"/>
                </a:lnTo>
                <a:lnTo>
                  <a:pt x="234" y="366"/>
                </a:lnTo>
                <a:lnTo>
                  <a:pt x="228" y="366"/>
                </a:lnTo>
                <a:lnTo>
                  <a:pt x="228" y="372"/>
                </a:lnTo>
                <a:lnTo>
                  <a:pt x="228" y="372"/>
                </a:lnTo>
                <a:lnTo>
                  <a:pt x="228" y="372"/>
                </a:lnTo>
                <a:lnTo>
                  <a:pt x="228" y="366"/>
                </a:lnTo>
                <a:lnTo>
                  <a:pt x="228" y="366"/>
                </a:lnTo>
                <a:lnTo>
                  <a:pt x="228" y="366"/>
                </a:lnTo>
                <a:lnTo>
                  <a:pt x="228" y="366"/>
                </a:lnTo>
                <a:lnTo>
                  <a:pt x="222" y="366"/>
                </a:lnTo>
                <a:lnTo>
                  <a:pt x="222" y="366"/>
                </a:lnTo>
                <a:lnTo>
                  <a:pt x="222" y="366"/>
                </a:lnTo>
                <a:lnTo>
                  <a:pt x="222" y="366"/>
                </a:lnTo>
                <a:lnTo>
                  <a:pt x="222" y="366"/>
                </a:lnTo>
                <a:lnTo>
                  <a:pt x="222" y="366"/>
                </a:lnTo>
                <a:lnTo>
                  <a:pt x="222" y="360"/>
                </a:lnTo>
                <a:lnTo>
                  <a:pt x="222" y="360"/>
                </a:lnTo>
                <a:lnTo>
                  <a:pt x="222" y="360"/>
                </a:lnTo>
                <a:lnTo>
                  <a:pt x="222" y="360"/>
                </a:lnTo>
                <a:lnTo>
                  <a:pt x="222" y="360"/>
                </a:lnTo>
                <a:lnTo>
                  <a:pt x="222" y="360"/>
                </a:lnTo>
                <a:lnTo>
                  <a:pt x="222" y="360"/>
                </a:lnTo>
                <a:lnTo>
                  <a:pt x="222" y="354"/>
                </a:lnTo>
                <a:lnTo>
                  <a:pt x="222" y="354"/>
                </a:lnTo>
                <a:lnTo>
                  <a:pt x="222" y="354"/>
                </a:lnTo>
                <a:lnTo>
                  <a:pt x="216" y="354"/>
                </a:lnTo>
                <a:lnTo>
                  <a:pt x="216" y="354"/>
                </a:lnTo>
                <a:lnTo>
                  <a:pt x="216" y="354"/>
                </a:lnTo>
                <a:lnTo>
                  <a:pt x="216" y="354"/>
                </a:lnTo>
                <a:lnTo>
                  <a:pt x="216" y="348"/>
                </a:lnTo>
                <a:lnTo>
                  <a:pt x="216" y="348"/>
                </a:lnTo>
                <a:lnTo>
                  <a:pt x="216" y="348"/>
                </a:lnTo>
                <a:lnTo>
                  <a:pt x="216" y="348"/>
                </a:lnTo>
                <a:lnTo>
                  <a:pt x="216" y="348"/>
                </a:lnTo>
                <a:lnTo>
                  <a:pt x="216" y="348"/>
                </a:lnTo>
                <a:lnTo>
                  <a:pt x="216" y="348"/>
                </a:lnTo>
                <a:lnTo>
                  <a:pt x="216" y="348"/>
                </a:lnTo>
                <a:lnTo>
                  <a:pt x="210" y="348"/>
                </a:lnTo>
                <a:lnTo>
                  <a:pt x="210" y="348"/>
                </a:lnTo>
                <a:lnTo>
                  <a:pt x="210" y="348"/>
                </a:lnTo>
                <a:lnTo>
                  <a:pt x="210" y="342"/>
                </a:lnTo>
                <a:lnTo>
                  <a:pt x="210" y="342"/>
                </a:lnTo>
                <a:lnTo>
                  <a:pt x="210" y="342"/>
                </a:lnTo>
                <a:lnTo>
                  <a:pt x="210" y="342"/>
                </a:lnTo>
                <a:lnTo>
                  <a:pt x="204" y="342"/>
                </a:lnTo>
                <a:lnTo>
                  <a:pt x="204" y="342"/>
                </a:lnTo>
                <a:lnTo>
                  <a:pt x="204" y="336"/>
                </a:lnTo>
                <a:lnTo>
                  <a:pt x="204" y="336"/>
                </a:lnTo>
                <a:lnTo>
                  <a:pt x="204" y="336"/>
                </a:lnTo>
                <a:lnTo>
                  <a:pt x="204" y="336"/>
                </a:lnTo>
                <a:lnTo>
                  <a:pt x="204" y="336"/>
                </a:lnTo>
                <a:lnTo>
                  <a:pt x="204" y="336"/>
                </a:lnTo>
                <a:lnTo>
                  <a:pt x="204" y="336"/>
                </a:lnTo>
                <a:lnTo>
                  <a:pt x="198" y="336"/>
                </a:lnTo>
                <a:lnTo>
                  <a:pt x="198" y="336"/>
                </a:lnTo>
                <a:lnTo>
                  <a:pt x="198" y="330"/>
                </a:lnTo>
                <a:lnTo>
                  <a:pt x="198" y="330"/>
                </a:lnTo>
                <a:lnTo>
                  <a:pt x="198" y="330"/>
                </a:lnTo>
                <a:lnTo>
                  <a:pt x="198" y="330"/>
                </a:lnTo>
                <a:lnTo>
                  <a:pt x="198" y="330"/>
                </a:lnTo>
                <a:lnTo>
                  <a:pt x="198" y="330"/>
                </a:lnTo>
                <a:lnTo>
                  <a:pt x="198" y="324"/>
                </a:lnTo>
                <a:lnTo>
                  <a:pt x="198" y="324"/>
                </a:lnTo>
                <a:lnTo>
                  <a:pt x="198" y="324"/>
                </a:lnTo>
                <a:lnTo>
                  <a:pt x="198" y="318"/>
                </a:lnTo>
                <a:lnTo>
                  <a:pt x="198" y="318"/>
                </a:lnTo>
                <a:lnTo>
                  <a:pt x="198" y="312"/>
                </a:lnTo>
                <a:lnTo>
                  <a:pt x="198" y="312"/>
                </a:lnTo>
                <a:lnTo>
                  <a:pt x="198" y="312"/>
                </a:lnTo>
                <a:lnTo>
                  <a:pt x="198" y="312"/>
                </a:lnTo>
                <a:lnTo>
                  <a:pt x="198" y="312"/>
                </a:lnTo>
                <a:lnTo>
                  <a:pt x="198" y="312"/>
                </a:lnTo>
                <a:lnTo>
                  <a:pt x="192" y="312"/>
                </a:lnTo>
                <a:lnTo>
                  <a:pt x="192" y="312"/>
                </a:lnTo>
                <a:lnTo>
                  <a:pt x="192" y="312"/>
                </a:lnTo>
                <a:lnTo>
                  <a:pt x="186" y="312"/>
                </a:lnTo>
                <a:lnTo>
                  <a:pt x="186" y="312"/>
                </a:lnTo>
                <a:lnTo>
                  <a:pt x="186" y="312"/>
                </a:lnTo>
                <a:lnTo>
                  <a:pt x="186" y="312"/>
                </a:lnTo>
                <a:lnTo>
                  <a:pt x="180" y="312"/>
                </a:lnTo>
                <a:lnTo>
                  <a:pt x="180" y="312"/>
                </a:lnTo>
                <a:lnTo>
                  <a:pt x="174" y="312"/>
                </a:lnTo>
                <a:lnTo>
                  <a:pt x="174" y="312"/>
                </a:lnTo>
                <a:lnTo>
                  <a:pt x="174" y="312"/>
                </a:lnTo>
                <a:lnTo>
                  <a:pt x="174" y="312"/>
                </a:lnTo>
                <a:lnTo>
                  <a:pt x="174" y="312"/>
                </a:lnTo>
                <a:lnTo>
                  <a:pt x="174" y="312"/>
                </a:lnTo>
                <a:lnTo>
                  <a:pt x="174" y="318"/>
                </a:lnTo>
                <a:lnTo>
                  <a:pt x="174" y="318"/>
                </a:lnTo>
                <a:lnTo>
                  <a:pt x="174" y="318"/>
                </a:lnTo>
                <a:lnTo>
                  <a:pt x="174" y="318"/>
                </a:lnTo>
                <a:lnTo>
                  <a:pt x="174" y="318"/>
                </a:lnTo>
                <a:lnTo>
                  <a:pt x="168" y="324"/>
                </a:lnTo>
                <a:lnTo>
                  <a:pt x="168" y="324"/>
                </a:lnTo>
                <a:lnTo>
                  <a:pt x="168" y="324"/>
                </a:lnTo>
                <a:lnTo>
                  <a:pt x="168" y="324"/>
                </a:lnTo>
                <a:lnTo>
                  <a:pt x="162" y="318"/>
                </a:lnTo>
                <a:lnTo>
                  <a:pt x="156" y="318"/>
                </a:lnTo>
                <a:lnTo>
                  <a:pt x="156" y="312"/>
                </a:lnTo>
                <a:lnTo>
                  <a:pt x="156" y="312"/>
                </a:lnTo>
                <a:lnTo>
                  <a:pt x="150" y="312"/>
                </a:lnTo>
                <a:lnTo>
                  <a:pt x="150" y="312"/>
                </a:lnTo>
                <a:lnTo>
                  <a:pt x="150" y="312"/>
                </a:lnTo>
                <a:lnTo>
                  <a:pt x="150" y="312"/>
                </a:lnTo>
                <a:lnTo>
                  <a:pt x="150" y="306"/>
                </a:lnTo>
                <a:lnTo>
                  <a:pt x="150" y="306"/>
                </a:lnTo>
                <a:lnTo>
                  <a:pt x="150" y="306"/>
                </a:lnTo>
                <a:lnTo>
                  <a:pt x="150" y="306"/>
                </a:lnTo>
                <a:lnTo>
                  <a:pt x="150" y="300"/>
                </a:lnTo>
                <a:lnTo>
                  <a:pt x="150" y="300"/>
                </a:lnTo>
                <a:lnTo>
                  <a:pt x="150" y="300"/>
                </a:lnTo>
                <a:lnTo>
                  <a:pt x="150" y="300"/>
                </a:lnTo>
                <a:lnTo>
                  <a:pt x="150" y="300"/>
                </a:lnTo>
                <a:lnTo>
                  <a:pt x="150" y="300"/>
                </a:lnTo>
                <a:lnTo>
                  <a:pt x="150" y="294"/>
                </a:lnTo>
                <a:lnTo>
                  <a:pt x="150" y="294"/>
                </a:lnTo>
                <a:lnTo>
                  <a:pt x="150" y="294"/>
                </a:lnTo>
                <a:lnTo>
                  <a:pt x="150" y="294"/>
                </a:lnTo>
                <a:lnTo>
                  <a:pt x="144" y="294"/>
                </a:lnTo>
                <a:lnTo>
                  <a:pt x="144" y="294"/>
                </a:lnTo>
                <a:lnTo>
                  <a:pt x="144" y="288"/>
                </a:lnTo>
                <a:lnTo>
                  <a:pt x="144" y="288"/>
                </a:lnTo>
                <a:lnTo>
                  <a:pt x="144" y="288"/>
                </a:lnTo>
                <a:lnTo>
                  <a:pt x="144" y="288"/>
                </a:lnTo>
                <a:lnTo>
                  <a:pt x="144" y="288"/>
                </a:lnTo>
                <a:lnTo>
                  <a:pt x="138" y="288"/>
                </a:lnTo>
                <a:lnTo>
                  <a:pt x="138" y="288"/>
                </a:lnTo>
                <a:lnTo>
                  <a:pt x="138" y="288"/>
                </a:lnTo>
                <a:lnTo>
                  <a:pt x="138" y="288"/>
                </a:lnTo>
                <a:lnTo>
                  <a:pt x="138" y="288"/>
                </a:lnTo>
                <a:lnTo>
                  <a:pt x="138" y="288"/>
                </a:lnTo>
                <a:lnTo>
                  <a:pt x="138" y="288"/>
                </a:lnTo>
                <a:lnTo>
                  <a:pt x="138" y="288"/>
                </a:lnTo>
                <a:lnTo>
                  <a:pt x="138" y="288"/>
                </a:lnTo>
                <a:lnTo>
                  <a:pt x="132" y="288"/>
                </a:lnTo>
                <a:lnTo>
                  <a:pt x="132" y="282"/>
                </a:lnTo>
                <a:lnTo>
                  <a:pt x="132" y="282"/>
                </a:lnTo>
                <a:lnTo>
                  <a:pt x="132" y="276"/>
                </a:lnTo>
                <a:lnTo>
                  <a:pt x="132" y="276"/>
                </a:lnTo>
                <a:lnTo>
                  <a:pt x="132" y="276"/>
                </a:lnTo>
                <a:lnTo>
                  <a:pt x="132" y="270"/>
                </a:lnTo>
                <a:lnTo>
                  <a:pt x="126" y="264"/>
                </a:lnTo>
                <a:lnTo>
                  <a:pt x="126" y="264"/>
                </a:lnTo>
                <a:lnTo>
                  <a:pt x="126" y="258"/>
                </a:lnTo>
                <a:lnTo>
                  <a:pt x="120" y="258"/>
                </a:lnTo>
                <a:lnTo>
                  <a:pt x="120" y="252"/>
                </a:lnTo>
                <a:lnTo>
                  <a:pt x="120" y="252"/>
                </a:lnTo>
                <a:lnTo>
                  <a:pt x="120" y="252"/>
                </a:lnTo>
                <a:lnTo>
                  <a:pt x="120" y="252"/>
                </a:lnTo>
                <a:lnTo>
                  <a:pt x="114" y="252"/>
                </a:lnTo>
                <a:lnTo>
                  <a:pt x="114" y="252"/>
                </a:lnTo>
                <a:lnTo>
                  <a:pt x="114" y="246"/>
                </a:lnTo>
                <a:lnTo>
                  <a:pt x="114" y="246"/>
                </a:lnTo>
                <a:lnTo>
                  <a:pt x="114" y="246"/>
                </a:lnTo>
                <a:lnTo>
                  <a:pt x="114" y="246"/>
                </a:lnTo>
                <a:lnTo>
                  <a:pt x="114" y="246"/>
                </a:lnTo>
                <a:lnTo>
                  <a:pt x="108" y="246"/>
                </a:lnTo>
                <a:lnTo>
                  <a:pt x="108" y="246"/>
                </a:lnTo>
                <a:lnTo>
                  <a:pt x="108" y="240"/>
                </a:lnTo>
                <a:lnTo>
                  <a:pt x="108" y="240"/>
                </a:lnTo>
                <a:lnTo>
                  <a:pt x="108" y="234"/>
                </a:lnTo>
                <a:lnTo>
                  <a:pt x="108" y="234"/>
                </a:lnTo>
                <a:lnTo>
                  <a:pt x="108" y="234"/>
                </a:lnTo>
                <a:lnTo>
                  <a:pt x="108" y="234"/>
                </a:lnTo>
                <a:lnTo>
                  <a:pt x="108" y="234"/>
                </a:lnTo>
                <a:lnTo>
                  <a:pt x="108" y="234"/>
                </a:lnTo>
                <a:lnTo>
                  <a:pt x="108" y="234"/>
                </a:lnTo>
                <a:lnTo>
                  <a:pt x="108" y="234"/>
                </a:lnTo>
                <a:lnTo>
                  <a:pt x="108" y="234"/>
                </a:lnTo>
                <a:lnTo>
                  <a:pt x="108" y="228"/>
                </a:lnTo>
                <a:lnTo>
                  <a:pt x="108" y="228"/>
                </a:lnTo>
                <a:lnTo>
                  <a:pt x="102" y="228"/>
                </a:lnTo>
                <a:lnTo>
                  <a:pt x="102" y="228"/>
                </a:lnTo>
                <a:lnTo>
                  <a:pt x="102" y="228"/>
                </a:lnTo>
                <a:lnTo>
                  <a:pt x="102" y="234"/>
                </a:lnTo>
                <a:lnTo>
                  <a:pt x="102" y="228"/>
                </a:lnTo>
                <a:lnTo>
                  <a:pt x="102" y="228"/>
                </a:lnTo>
                <a:lnTo>
                  <a:pt x="96" y="234"/>
                </a:lnTo>
                <a:lnTo>
                  <a:pt x="96" y="234"/>
                </a:lnTo>
                <a:lnTo>
                  <a:pt x="96" y="234"/>
                </a:lnTo>
                <a:lnTo>
                  <a:pt x="96" y="234"/>
                </a:lnTo>
                <a:lnTo>
                  <a:pt x="96" y="234"/>
                </a:lnTo>
                <a:lnTo>
                  <a:pt x="96" y="234"/>
                </a:lnTo>
                <a:lnTo>
                  <a:pt x="96" y="234"/>
                </a:lnTo>
                <a:lnTo>
                  <a:pt x="96" y="234"/>
                </a:lnTo>
                <a:lnTo>
                  <a:pt x="96" y="234"/>
                </a:lnTo>
                <a:lnTo>
                  <a:pt x="90" y="234"/>
                </a:lnTo>
                <a:lnTo>
                  <a:pt x="90" y="234"/>
                </a:lnTo>
                <a:lnTo>
                  <a:pt x="90" y="240"/>
                </a:lnTo>
                <a:lnTo>
                  <a:pt x="90" y="240"/>
                </a:lnTo>
                <a:lnTo>
                  <a:pt x="90" y="240"/>
                </a:lnTo>
                <a:lnTo>
                  <a:pt x="90" y="240"/>
                </a:lnTo>
                <a:lnTo>
                  <a:pt x="90" y="240"/>
                </a:lnTo>
                <a:lnTo>
                  <a:pt x="90" y="240"/>
                </a:lnTo>
                <a:lnTo>
                  <a:pt x="84" y="234"/>
                </a:lnTo>
                <a:lnTo>
                  <a:pt x="84" y="234"/>
                </a:lnTo>
                <a:lnTo>
                  <a:pt x="84" y="234"/>
                </a:lnTo>
                <a:lnTo>
                  <a:pt x="84" y="234"/>
                </a:lnTo>
                <a:lnTo>
                  <a:pt x="84" y="234"/>
                </a:lnTo>
                <a:lnTo>
                  <a:pt x="84" y="234"/>
                </a:lnTo>
                <a:lnTo>
                  <a:pt x="84" y="234"/>
                </a:lnTo>
                <a:lnTo>
                  <a:pt x="78" y="234"/>
                </a:lnTo>
                <a:lnTo>
                  <a:pt x="78" y="234"/>
                </a:lnTo>
                <a:lnTo>
                  <a:pt x="78" y="234"/>
                </a:lnTo>
                <a:lnTo>
                  <a:pt x="78" y="234"/>
                </a:lnTo>
                <a:lnTo>
                  <a:pt x="78" y="234"/>
                </a:lnTo>
                <a:lnTo>
                  <a:pt x="78" y="228"/>
                </a:lnTo>
                <a:lnTo>
                  <a:pt x="78" y="228"/>
                </a:lnTo>
                <a:lnTo>
                  <a:pt x="72" y="234"/>
                </a:lnTo>
                <a:lnTo>
                  <a:pt x="72" y="234"/>
                </a:lnTo>
                <a:lnTo>
                  <a:pt x="72" y="228"/>
                </a:lnTo>
                <a:lnTo>
                  <a:pt x="72" y="234"/>
                </a:lnTo>
                <a:lnTo>
                  <a:pt x="66" y="228"/>
                </a:lnTo>
                <a:lnTo>
                  <a:pt x="66" y="228"/>
                </a:lnTo>
                <a:lnTo>
                  <a:pt x="66" y="228"/>
                </a:lnTo>
                <a:lnTo>
                  <a:pt x="60" y="228"/>
                </a:lnTo>
                <a:lnTo>
                  <a:pt x="60" y="234"/>
                </a:lnTo>
                <a:lnTo>
                  <a:pt x="60" y="234"/>
                </a:lnTo>
                <a:lnTo>
                  <a:pt x="60" y="228"/>
                </a:lnTo>
                <a:lnTo>
                  <a:pt x="60" y="228"/>
                </a:lnTo>
                <a:lnTo>
                  <a:pt x="60" y="228"/>
                </a:lnTo>
                <a:lnTo>
                  <a:pt x="54" y="228"/>
                </a:lnTo>
                <a:lnTo>
                  <a:pt x="54" y="228"/>
                </a:lnTo>
                <a:lnTo>
                  <a:pt x="54" y="228"/>
                </a:lnTo>
                <a:lnTo>
                  <a:pt x="54" y="228"/>
                </a:lnTo>
                <a:lnTo>
                  <a:pt x="54" y="222"/>
                </a:lnTo>
                <a:lnTo>
                  <a:pt x="54" y="222"/>
                </a:lnTo>
                <a:lnTo>
                  <a:pt x="48" y="222"/>
                </a:lnTo>
                <a:lnTo>
                  <a:pt x="48" y="222"/>
                </a:lnTo>
                <a:lnTo>
                  <a:pt x="42" y="222"/>
                </a:lnTo>
                <a:lnTo>
                  <a:pt x="42" y="222"/>
                </a:lnTo>
                <a:lnTo>
                  <a:pt x="42" y="222"/>
                </a:lnTo>
                <a:lnTo>
                  <a:pt x="36" y="222"/>
                </a:lnTo>
                <a:lnTo>
                  <a:pt x="36" y="222"/>
                </a:lnTo>
                <a:lnTo>
                  <a:pt x="36" y="222"/>
                </a:lnTo>
                <a:lnTo>
                  <a:pt x="36" y="222"/>
                </a:lnTo>
                <a:lnTo>
                  <a:pt x="36" y="222"/>
                </a:lnTo>
                <a:lnTo>
                  <a:pt x="36" y="222"/>
                </a:lnTo>
                <a:lnTo>
                  <a:pt x="36" y="216"/>
                </a:lnTo>
                <a:lnTo>
                  <a:pt x="36" y="216"/>
                </a:lnTo>
                <a:lnTo>
                  <a:pt x="42" y="216"/>
                </a:lnTo>
                <a:lnTo>
                  <a:pt x="36" y="210"/>
                </a:lnTo>
                <a:lnTo>
                  <a:pt x="36" y="210"/>
                </a:lnTo>
                <a:lnTo>
                  <a:pt x="36" y="210"/>
                </a:lnTo>
                <a:lnTo>
                  <a:pt x="36" y="210"/>
                </a:lnTo>
                <a:lnTo>
                  <a:pt x="30" y="210"/>
                </a:lnTo>
                <a:lnTo>
                  <a:pt x="30" y="210"/>
                </a:lnTo>
                <a:lnTo>
                  <a:pt x="30" y="210"/>
                </a:lnTo>
                <a:lnTo>
                  <a:pt x="30" y="210"/>
                </a:lnTo>
                <a:lnTo>
                  <a:pt x="24" y="210"/>
                </a:lnTo>
                <a:lnTo>
                  <a:pt x="24" y="210"/>
                </a:lnTo>
                <a:lnTo>
                  <a:pt x="24" y="210"/>
                </a:lnTo>
                <a:lnTo>
                  <a:pt x="24" y="210"/>
                </a:lnTo>
                <a:lnTo>
                  <a:pt x="24" y="210"/>
                </a:lnTo>
                <a:lnTo>
                  <a:pt x="18" y="210"/>
                </a:lnTo>
                <a:lnTo>
                  <a:pt x="18" y="210"/>
                </a:lnTo>
                <a:lnTo>
                  <a:pt x="18" y="210"/>
                </a:lnTo>
                <a:lnTo>
                  <a:pt x="18" y="210"/>
                </a:lnTo>
                <a:lnTo>
                  <a:pt x="18" y="210"/>
                </a:lnTo>
                <a:lnTo>
                  <a:pt x="18" y="210"/>
                </a:lnTo>
                <a:lnTo>
                  <a:pt x="12" y="210"/>
                </a:lnTo>
                <a:lnTo>
                  <a:pt x="12" y="210"/>
                </a:lnTo>
                <a:lnTo>
                  <a:pt x="12" y="210"/>
                </a:lnTo>
                <a:lnTo>
                  <a:pt x="6" y="210"/>
                </a:lnTo>
                <a:lnTo>
                  <a:pt x="12" y="210"/>
                </a:lnTo>
                <a:lnTo>
                  <a:pt x="6" y="210"/>
                </a:lnTo>
                <a:lnTo>
                  <a:pt x="6" y="204"/>
                </a:lnTo>
                <a:lnTo>
                  <a:pt x="6" y="204"/>
                </a:lnTo>
                <a:lnTo>
                  <a:pt x="12" y="204"/>
                </a:lnTo>
                <a:lnTo>
                  <a:pt x="12" y="204"/>
                </a:lnTo>
                <a:lnTo>
                  <a:pt x="12" y="204"/>
                </a:lnTo>
                <a:lnTo>
                  <a:pt x="12" y="198"/>
                </a:lnTo>
                <a:lnTo>
                  <a:pt x="12" y="198"/>
                </a:lnTo>
                <a:lnTo>
                  <a:pt x="12" y="198"/>
                </a:lnTo>
                <a:lnTo>
                  <a:pt x="12" y="198"/>
                </a:lnTo>
                <a:lnTo>
                  <a:pt x="12" y="198"/>
                </a:lnTo>
                <a:lnTo>
                  <a:pt x="12" y="198"/>
                </a:lnTo>
                <a:lnTo>
                  <a:pt x="6" y="198"/>
                </a:lnTo>
                <a:lnTo>
                  <a:pt x="6" y="192"/>
                </a:lnTo>
                <a:lnTo>
                  <a:pt x="6" y="192"/>
                </a:lnTo>
                <a:lnTo>
                  <a:pt x="0" y="186"/>
                </a:lnTo>
                <a:lnTo>
                  <a:pt x="0" y="180"/>
                </a:lnTo>
                <a:lnTo>
                  <a:pt x="0" y="180"/>
                </a:lnTo>
                <a:lnTo>
                  <a:pt x="0" y="180"/>
                </a:lnTo>
                <a:lnTo>
                  <a:pt x="6" y="180"/>
                </a:lnTo>
                <a:lnTo>
                  <a:pt x="6" y="180"/>
                </a:lnTo>
                <a:lnTo>
                  <a:pt x="0" y="180"/>
                </a:lnTo>
                <a:lnTo>
                  <a:pt x="0" y="174"/>
                </a:lnTo>
                <a:lnTo>
                  <a:pt x="0" y="174"/>
                </a:lnTo>
                <a:lnTo>
                  <a:pt x="0" y="17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97" name="Freeform 530"/>
          <p:cNvSpPr>
            <a:spLocks/>
          </p:cNvSpPr>
          <p:nvPr/>
        </p:nvSpPr>
        <p:spPr bwMode="auto">
          <a:xfrm>
            <a:off x="6562772" y="3415505"/>
            <a:ext cx="224842" cy="199147"/>
          </a:xfrm>
          <a:custGeom>
            <a:avLst/>
            <a:gdLst>
              <a:gd name="T0" fmla="*/ 0 w 210"/>
              <a:gd name="T1" fmla="*/ 36 h 186"/>
              <a:gd name="T2" fmla="*/ 18 w 210"/>
              <a:gd name="T3" fmla="*/ 24 h 186"/>
              <a:gd name="T4" fmla="*/ 30 w 210"/>
              <a:gd name="T5" fmla="*/ 12 h 186"/>
              <a:gd name="T6" fmla="*/ 42 w 210"/>
              <a:gd name="T7" fmla="*/ 30 h 186"/>
              <a:gd name="T8" fmla="*/ 66 w 210"/>
              <a:gd name="T9" fmla="*/ 30 h 186"/>
              <a:gd name="T10" fmla="*/ 78 w 210"/>
              <a:gd name="T11" fmla="*/ 24 h 186"/>
              <a:gd name="T12" fmla="*/ 90 w 210"/>
              <a:gd name="T13" fmla="*/ 12 h 186"/>
              <a:gd name="T14" fmla="*/ 102 w 210"/>
              <a:gd name="T15" fmla="*/ 24 h 186"/>
              <a:gd name="T16" fmla="*/ 114 w 210"/>
              <a:gd name="T17" fmla="*/ 12 h 186"/>
              <a:gd name="T18" fmla="*/ 144 w 210"/>
              <a:gd name="T19" fmla="*/ 0 h 186"/>
              <a:gd name="T20" fmla="*/ 168 w 210"/>
              <a:gd name="T21" fmla="*/ 6 h 186"/>
              <a:gd name="T22" fmla="*/ 180 w 210"/>
              <a:gd name="T23" fmla="*/ 12 h 186"/>
              <a:gd name="T24" fmla="*/ 192 w 210"/>
              <a:gd name="T25" fmla="*/ 24 h 186"/>
              <a:gd name="T26" fmla="*/ 186 w 210"/>
              <a:gd name="T27" fmla="*/ 36 h 186"/>
              <a:gd name="T28" fmla="*/ 174 w 210"/>
              <a:gd name="T29" fmla="*/ 42 h 186"/>
              <a:gd name="T30" fmla="*/ 174 w 210"/>
              <a:gd name="T31" fmla="*/ 48 h 186"/>
              <a:gd name="T32" fmla="*/ 186 w 210"/>
              <a:gd name="T33" fmla="*/ 60 h 186"/>
              <a:gd name="T34" fmla="*/ 198 w 210"/>
              <a:gd name="T35" fmla="*/ 60 h 186"/>
              <a:gd name="T36" fmla="*/ 204 w 210"/>
              <a:gd name="T37" fmla="*/ 54 h 186"/>
              <a:gd name="T38" fmla="*/ 204 w 210"/>
              <a:gd name="T39" fmla="*/ 66 h 186"/>
              <a:gd name="T40" fmla="*/ 198 w 210"/>
              <a:gd name="T41" fmla="*/ 78 h 186"/>
              <a:gd name="T42" fmla="*/ 186 w 210"/>
              <a:gd name="T43" fmla="*/ 90 h 186"/>
              <a:gd name="T44" fmla="*/ 186 w 210"/>
              <a:gd name="T45" fmla="*/ 96 h 186"/>
              <a:gd name="T46" fmla="*/ 186 w 210"/>
              <a:gd name="T47" fmla="*/ 102 h 186"/>
              <a:gd name="T48" fmla="*/ 186 w 210"/>
              <a:gd name="T49" fmla="*/ 108 h 186"/>
              <a:gd name="T50" fmla="*/ 186 w 210"/>
              <a:gd name="T51" fmla="*/ 114 h 186"/>
              <a:gd name="T52" fmla="*/ 186 w 210"/>
              <a:gd name="T53" fmla="*/ 120 h 186"/>
              <a:gd name="T54" fmla="*/ 180 w 210"/>
              <a:gd name="T55" fmla="*/ 126 h 186"/>
              <a:gd name="T56" fmla="*/ 174 w 210"/>
              <a:gd name="T57" fmla="*/ 132 h 186"/>
              <a:gd name="T58" fmla="*/ 162 w 210"/>
              <a:gd name="T59" fmla="*/ 126 h 186"/>
              <a:gd name="T60" fmla="*/ 156 w 210"/>
              <a:gd name="T61" fmla="*/ 132 h 186"/>
              <a:gd name="T62" fmla="*/ 144 w 210"/>
              <a:gd name="T63" fmla="*/ 132 h 186"/>
              <a:gd name="T64" fmla="*/ 144 w 210"/>
              <a:gd name="T65" fmla="*/ 138 h 186"/>
              <a:gd name="T66" fmla="*/ 132 w 210"/>
              <a:gd name="T67" fmla="*/ 144 h 186"/>
              <a:gd name="T68" fmla="*/ 132 w 210"/>
              <a:gd name="T69" fmla="*/ 150 h 186"/>
              <a:gd name="T70" fmla="*/ 126 w 210"/>
              <a:gd name="T71" fmla="*/ 156 h 186"/>
              <a:gd name="T72" fmla="*/ 120 w 210"/>
              <a:gd name="T73" fmla="*/ 156 h 186"/>
              <a:gd name="T74" fmla="*/ 108 w 210"/>
              <a:gd name="T75" fmla="*/ 156 h 186"/>
              <a:gd name="T76" fmla="*/ 108 w 210"/>
              <a:gd name="T77" fmla="*/ 162 h 186"/>
              <a:gd name="T78" fmla="*/ 102 w 210"/>
              <a:gd name="T79" fmla="*/ 174 h 186"/>
              <a:gd name="T80" fmla="*/ 108 w 210"/>
              <a:gd name="T81" fmla="*/ 180 h 186"/>
              <a:gd name="T82" fmla="*/ 102 w 210"/>
              <a:gd name="T83" fmla="*/ 186 h 186"/>
              <a:gd name="T84" fmla="*/ 90 w 210"/>
              <a:gd name="T85" fmla="*/ 174 h 186"/>
              <a:gd name="T86" fmla="*/ 84 w 210"/>
              <a:gd name="T87" fmla="*/ 168 h 186"/>
              <a:gd name="T88" fmla="*/ 84 w 210"/>
              <a:gd name="T89" fmla="*/ 150 h 186"/>
              <a:gd name="T90" fmla="*/ 78 w 210"/>
              <a:gd name="T91" fmla="*/ 150 h 186"/>
              <a:gd name="T92" fmla="*/ 72 w 210"/>
              <a:gd name="T93" fmla="*/ 138 h 186"/>
              <a:gd name="T94" fmla="*/ 72 w 210"/>
              <a:gd name="T95" fmla="*/ 120 h 186"/>
              <a:gd name="T96" fmla="*/ 72 w 210"/>
              <a:gd name="T97" fmla="*/ 108 h 186"/>
              <a:gd name="T98" fmla="*/ 60 w 210"/>
              <a:gd name="T99" fmla="*/ 108 h 186"/>
              <a:gd name="T100" fmla="*/ 54 w 210"/>
              <a:gd name="T101" fmla="*/ 102 h 186"/>
              <a:gd name="T102" fmla="*/ 48 w 210"/>
              <a:gd name="T103" fmla="*/ 96 h 186"/>
              <a:gd name="T104" fmla="*/ 48 w 210"/>
              <a:gd name="T105" fmla="*/ 90 h 186"/>
              <a:gd name="T106" fmla="*/ 42 w 210"/>
              <a:gd name="T107" fmla="*/ 84 h 186"/>
              <a:gd name="T108" fmla="*/ 42 w 210"/>
              <a:gd name="T109" fmla="*/ 78 h 186"/>
              <a:gd name="T110" fmla="*/ 30 w 210"/>
              <a:gd name="T111" fmla="*/ 78 h 186"/>
              <a:gd name="T112" fmla="*/ 24 w 210"/>
              <a:gd name="T113" fmla="*/ 72 h 186"/>
              <a:gd name="T114" fmla="*/ 18 w 210"/>
              <a:gd name="T115" fmla="*/ 66 h 186"/>
              <a:gd name="T116" fmla="*/ 12 w 210"/>
              <a:gd name="T117" fmla="*/ 60 h 1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10" h="186">
                <a:moveTo>
                  <a:pt x="0" y="48"/>
                </a:moveTo>
                <a:lnTo>
                  <a:pt x="0" y="48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0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12" y="30"/>
                </a:lnTo>
                <a:lnTo>
                  <a:pt x="12" y="30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24" y="24"/>
                </a:lnTo>
                <a:lnTo>
                  <a:pt x="24" y="24"/>
                </a:lnTo>
                <a:lnTo>
                  <a:pt x="24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6" y="12"/>
                </a:lnTo>
                <a:lnTo>
                  <a:pt x="36" y="18"/>
                </a:lnTo>
                <a:lnTo>
                  <a:pt x="30" y="18"/>
                </a:lnTo>
                <a:lnTo>
                  <a:pt x="30" y="18"/>
                </a:lnTo>
                <a:lnTo>
                  <a:pt x="36" y="18"/>
                </a:lnTo>
                <a:lnTo>
                  <a:pt x="36" y="18"/>
                </a:lnTo>
                <a:lnTo>
                  <a:pt x="36" y="24"/>
                </a:lnTo>
                <a:lnTo>
                  <a:pt x="36" y="24"/>
                </a:lnTo>
                <a:lnTo>
                  <a:pt x="36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8" y="30"/>
                </a:lnTo>
                <a:lnTo>
                  <a:pt x="48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66" y="36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8" y="30"/>
                </a:lnTo>
                <a:lnTo>
                  <a:pt x="78" y="30"/>
                </a:lnTo>
                <a:lnTo>
                  <a:pt x="78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12"/>
                </a:lnTo>
                <a:lnTo>
                  <a:pt x="90" y="12"/>
                </a:lnTo>
                <a:lnTo>
                  <a:pt x="96" y="12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24"/>
                </a:lnTo>
                <a:lnTo>
                  <a:pt x="96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30"/>
                </a:lnTo>
                <a:lnTo>
                  <a:pt x="102" y="24"/>
                </a:lnTo>
                <a:lnTo>
                  <a:pt x="102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20" y="12"/>
                </a:lnTo>
                <a:lnTo>
                  <a:pt x="120" y="12"/>
                </a:lnTo>
                <a:lnTo>
                  <a:pt x="138" y="6"/>
                </a:lnTo>
                <a:lnTo>
                  <a:pt x="138" y="6"/>
                </a:lnTo>
                <a:lnTo>
                  <a:pt x="144" y="0"/>
                </a:lnTo>
                <a:lnTo>
                  <a:pt x="144" y="0"/>
                </a:lnTo>
                <a:lnTo>
                  <a:pt x="144" y="0"/>
                </a:lnTo>
                <a:lnTo>
                  <a:pt x="144" y="0"/>
                </a:lnTo>
                <a:lnTo>
                  <a:pt x="144" y="0"/>
                </a:lnTo>
                <a:lnTo>
                  <a:pt x="144" y="0"/>
                </a:lnTo>
                <a:lnTo>
                  <a:pt x="150" y="0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6" y="6"/>
                </a:lnTo>
                <a:lnTo>
                  <a:pt x="156" y="6"/>
                </a:lnTo>
                <a:lnTo>
                  <a:pt x="168" y="6"/>
                </a:lnTo>
                <a:lnTo>
                  <a:pt x="168" y="6"/>
                </a:lnTo>
                <a:lnTo>
                  <a:pt x="174" y="6"/>
                </a:lnTo>
                <a:lnTo>
                  <a:pt x="174" y="6"/>
                </a:lnTo>
                <a:lnTo>
                  <a:pt x="174" y="6"/>
                </a:lnTo>
                <a:lnTo>
                  <a:pt x="174" y="6"/>
                </a:lnTo>
                <a:lnTo>
                  <a:pt x="174" y="6"/>
                </a:lnTo>
                <a:lnTo>
                  <a:pt x="174" y="6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80" y="12"/>
                </a:lnTo>
                <a:lnTo>
                  <a:pt x="180" y="12"/>
                </a:lnTo>
                <a:lnTo>
                  <a:pt x="180" y="12"/>
                </a:lnTo>
                <a:lnTo>
                  <a:pt x="180" y="12"/>
                </a:lnTo>
                <a:lnTo>
                  <a:pt x="180" y="18"/>
                </a:lnTo>
                <a:lnTo>
                  <a:pt x="180" y="18"/>
                </a:lnTo>
                <a:lnTo>
                  <a:pt x="186" y="18"/>
                </a:lnTo>
                <a:lnTo>
                  <a:pt x="186" y="18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92" y="24"/>
                </a:lnTo>
                <a:lnTo>
                  <a:pt x="186" y="24"/>
                </a:lnTo>
                <a:lnTo>
                  <a:pt x="186" y="30"/>
                </a:lnTo>
                <a:lnTo>
                  <a:pt x="186" y="30"/>
                </a:lnTo>
                <a:lnTo>
                  <a:pt x="192" y="30"/>
                </a:lnTo>
                <a:lnTo>
                  <a:pt x="192" y="30"/>
                </a:lnTo>
                <a:lnTo>
                  <a:pt x="192" y="30"/>
                </a:lnTo>
                <a:lnTo>
                  <a:pt x="192" y="30"/>
                </a:lnTo>
                <a:lnTo>
                  <a:pt x="192" y="30"/>
                </a:lnTo>
                <a:lnTo>
                  <a:pt x="186" y="36"/>
                </a:lnTo>
                <a:lnTo>
                  <a:pt x="186" y="36"/>
                </a:lnTo>
                <a:lnTo>
                  <a:pt x="186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80" y="48"/>
                </a:lnTo>
                <a:lnTo>
                  <a:pt x="180" y="48"/>
                </a:lnTo>
                <a:lnTo>
                  <a:pt x="180" y="48"/>
                </a:lnTo>
                <a:lnTo>
                  <a:pt x="180" y="48"/>
                </a:lnTo>
                <a:lnTo>
                  <a:pt x="186" y="48"/>
                </a:lnTo>
                <a:lnTo>
                  <a:pt x="186" y="48"/>
                </a:lnTo>
                <a:lnTo>
                  <a:pt x="192" y="48"/>
                </a:lnTo>
                <a:lnTo>
                  <a:pt x="192" y="48"/>
                </a:lnTo>
                <a:lnTo>
                  <a:pt x="186" y="54"/>
                </a:lnTo>
                <a:lnTo>
                  <a:pt x="186" y="60"/>
                </a:lnTo>
                <a:lnTo>
                  <a:pt x="186" y="60"/>
                </a:lnTo>
                <a:lnTo>
                  <a:pt x="192" y="60"/>
                </a:lnTo>
                <a:lnTo>
                  <a:pt x="192" y="60"/>
                </a:lnTo>
                <a:lnTo>
                  <a:pt x="192" y="60"/>
                </a:lnTo>
                <a:lnTo>
                  <a:pt x="192" y="60"/>
                </a:lnTo>
                <a:lnTo>
                  <a:pt x="192" y="60"/>
                </a:lnTo>
                <a:lnTo>
                  <a:pt x="192" y="60"/>
                </a:lnTo>
                <a:lnTo>
                  <a:pt x="192" y="60"/>
                </a:lnTo>
                <a:lnTo>
                  <a:pt x="192" y="60"/>
                </a:lnTo>
                <a:lnTo>
                  <a:pt x="198" y="60"/>
                </a:lnTo>
                <a:lnTo>
                  <a:pt x="198" y="60"/>
                </a:lnTo>
                <a:lnTo>
                  <a:pt x="198" y="60"/>
                </a:lnTo>
                <a:lnTo>
                  <a:pt x="198" y="60"/>
                </a:lnTo>
                <a:lnTo>
                  <a:pt x="198" y="60"/>
                </a:lnTo>
                <a:lnTo>
                  <a:pt x="198" y="60"/>
                </a:lnTo>
                <a:lnTo>
                  <a:pt x="198" y="54"/>
                </a:lnTo>
                <a:lnTo>
                  <a:pt x="198" y="54"/>
                </a:lnTo>
                <a:lnTo>
                  <a:pt x="204" y="54"/>
                </a:lnTo>
                <a:lnTo>
                  <a:pt x="198" y="54"/>
                </a:lnTo>
                <a:lnTo>
                  <a:pt x="204" y="54"/>
                </a:lnTo>
                <a:lnTo>
                  <a:pt x="204" y="54"/>
                </a:lnTo>
                <a:lnTo>
                  <a:pt x="204" y="54"/>
                </a:lnTo>
                <a:lnTo>
                  <a:pt x="204" y="48"/>
                </a:lnTo>
                <a:lnTo>
                  <a:pt x="204" y="48"/>
                </a:lnTo>
                <a:lnTo>
                  <a:pt x="210" y="54"/>
                </a:lnTo>
                <a:lnTo>
                  <a:pt x="210" y="54"/>
                </a:lnTo>
                <a:lnTo>
                  <a:pt x="210" y="54"/>
                </a:lnTo>
                <a:lnTo>
                  <a:pt x="204" y="54"/>
                </a:lnTo>
                <a:lnTo>
                  <a:pt x="204" y="60"/>
                </a:lnTo>
                <a:lnTo>
                  <a:pt x="204" y="60"/>
                </a:lnTo>
                <a:lnTo>
                  <a:pt x="204" y="60"/>
                </a:lnTo>
                <a:lnTo>
                  <a:pt x="210" y="66"/>
                </a:lnTo>
                <a:lnTo>
                  <a:pt x="204" y="66"/>
                </a:lnTo>
                <a:lnTo>
                  <a:pt x="204" y="72"/>
                </a:lnTo>
                <a:lnTo>
                  <a:pt x="204" y="72"/>
                </a:lnTo>
                <a:lnTo>
                  <a:pt x="204" y="72"/>
                </a:lnTo>
                <a:lnTo>
                  <a:pt x="204" y="72"/>
                </a:lnTo>
                <a:lnTo>
                  <a:pt x="204" y="72"/>
                </a:lnTo>
                <a:lnTo>
                  <a:pt x="204" y="72"/>
                </a:lnTo>
                <a:lnTo>
                  <a:pt x="204" y="72"/>
                </a:lnTo>
                <a:lnTo>
                  <a:pt x="204" y="72"/>
                </a:lnTo>
                <a:lnTo>
                  <a:pt x="198" y="78"/>
                </a:lnTo>
                <a:lnTo>
                  <a:pt x="198" y="78"/>
                </a:lnTo>
                <a:lnTo>
                  <a:pt x="198" y="78"/>
                </a:lnTo>
                <a:lnTo>
                  <a:pt x="198" y="78"/>
                </a:lnTo>
                <a:lnTo>
                  <a:pt x="192" y="78"/>
                </a:lnTo>
                <a:lnTo>
                  <a:pt x="192" y="84"/>
                </a:lnTo>
                <a:lnTo>
                  <a:pt x="192" y="84"/>
                </a:lnTo>
                <a:lnTo>
                  <a:pt x="186" y="84"/>
                </a:lnTo>
                <a:lnTo>
                  <a:pt x="192" y="84"/>
                </a:lnTo>
                <a:lnTo>
                  <a:pt x="186" y="84"/>
                </a:lnTo>
                <a:lnTo>
                  <a:pt x="192" y="84"/>
                </a:lnTo>
                <a:lnTo>
                  <a:pt x="192" y="90"/>
                </a:lnTo>
                <a:lnTo>
                  <a:pt x="186" y="90"/>
                </a:lnTo>
                <a:lnTo>
                  <a:pt x="186" y="90"/>
                </a:lnTo>
                <a:lnTo>
                  <a:pt x="192" y="90"/>
                </a:lnTo>
                <a:lnTo>
                  <a:pt x="192" y="90"/>
                </a:lnTo>
                <a:lnTo>
                  <a:pt x="186" y="90"/>
                </a:lnTo>
                <a:lnTo>
                  <a:pt x="186" y="90"/>
                </a:lnTo>
                <a:lnTo>
                  <a:pt x="186" y="96"/>
                </a:lnTo>
                <a:lnTo>
                  <a:pt x="186" y="90"/>
                </a:lnTo>
                <a:lnTo>
                  <a:pt x="186" y="96"/>
                </a:lnTo>
                <a:lnTo>
                  <a:pt x="186" y="90"/>
                </a:lnTo>
                <a:lnTo>
                  <a:pt x="186" y="96"/>
                </a:lnTo>
                <a:lnTo>
                  <a:pt x="186" y="96"/>
                </a:lnTo>
                <a:lnTo>
                  <a:pt x="186" y="96"/>
                </a:lnTo>
                <a:lnTo>
                  <a:pt x="186" y="96"/>
                </a:lnTo>
                <a:lnTo>
                  <a:pt x="186" y="102"/>
                </a:lnTo>
                <a:lnTo>
                  <a:pt x="186" y="102"/>
                </a:lnTo>
                <a:lnTo>
                  <a:pt x="186" y="102"/>
                </a:lnTo>
                <a:lnTo>
                  <a:pt x="186" y="102"/>
                </a:lnTo>
                <a:lnTo>
                  <a:pt x="186" y="102"/>
                </a:lnTo>
                <a:lnTo>
                  <a:pt x="186" y="102"/>
                </a:lnTo>
                <a:lnTo>
                  <a:pt x="186" y="102"/>
                </a:lnTo>
                <a:lnTo>
                  <a:pt x="186" y="102"/>
                </a:lnTo>
                <a:lnTo>
                  <a:pt x="186" y="102"/>
                </a:lnTo>
                <a:lnTo>
                  <a:pt x="186" y="102"/>
                </a:lnTo>
                <a:lnTo>
                  <a:pt x="186" y="102"/>
                </a:lnTo>
                <a:lnTo>
                  <a:pt x="186" y="108"/>
                </a:lnTo>
                <a:lnTo>
                  <a:pt x="186" y="102"/>
                </a:lnTo>
                <a:lnTo>
                  <a:pt x="186" y="108"/>
                </a:lnTo>
                <a:lnTo>
                  <a:pt x="186" y="108"/>
                </a:lnTo>
                <a:lnTo>
                  <a:pt x="186" y="108"/>
                </a:lnTo>
                <a:lnTo>
                  <a:pt x="186" y="108"/>
                </a:lnTo>
                <a:lnTo>
                  <a:pt x="186" y="108"/>
                </a:lnTo>
                <a:lnTo>
                  <a:pt x="186" y="108"/>
                </a:lnTo>
                <a:lnTo>
                  <a:pt x="186" y="108"/>
                </a:lnTo>
                <a:lnTo>
                  <a:pt x="186" y="108"/>
                </a:lnTo>
                <a:lnTo>
                  <a:pt x="186" y="114"/>
                </a:lnTo>
                <a:lnTo>
                  <a:pt x="186" y="108"/>
                </a:lnTo>
                <a:lnTo>
                  <a:pt x="186" y="108"/>
                </a:lnTo>
                <a:lnTo>
                  <a:pt x="186" y="108"/>
                </a:lnTo>
                <a:lnTo>
                  <a:pt x="186" y="108"/>
                </a:lnTo>
                <a:lnTo>
                  <a:pt x="186" y="108"/>
                </a:lnTo>
                <a:lnTo>
                  <a:pt x="186" y="114"/>
                </a:lnTo>
                <a:lnTo>
                  <a:pt x="186" y="114"/>
                </a:lnTo>
                <a:lnTo>
                  <a:pt x="186" y="114"/>
                </a:lnTo>
                <a:lnTo>
                  <a:pt x="186" y="114"/>
                </a:lnTo>
                <a:lnTo>
                  <a:pt x="186" y="114"/>
                </a:lnTo>
                <a:lnTo>
                  <a:pt x="186" y="114"/>
                </a:lnTo>
                <a:lnTo>
                  <a:pt x="186" y="114"/>
                </a:lnTo>
                <a:lnTo>
                  <a:pt x="186" y="114"/>
                </a:lnTo>
                <a:lnTo>
                  <a:pt x="186" y="114"/>
                </a:lnTo>
                <a:lnTo>
                  <a:pt x="186" y="114"/>
                </a:lnTo>
                <a:lnTo>
                  <a:pt x="186" y="120"/>
                </a:lnTo>
                <a:lnTo>
                  <a:pt x="180" y="120"/>
                </a:lnTo>
                <a:lnTo>
                  <a:pt x="180" y="120"/>
                </a:lnTo>
                <a:lnTo>
                  <a:pt x="186" y="120"/>
                </a:lnTo>
                <a:lnTo>
                  <a:pt x="186" y="120"/>
                </a:lnTo>
                <a:lnTo>
                  <a:pt x="186" y="120"/>
                </a:lnTo>
                <a:lnTo>
                  <a:pt x="180" y="120"/>
                </a:lnTo>
                <a:lnTo>
                  <a:pt x="180" y="120"/>
                </a:lnTo>
                <a:lnTo>
                  <a:pt x="180" y="120"/>
                </a:lnTo>
                <a:lnTo>
                  <a:pt x="180" y="126"/>
                </a:lnTo>
                <a:lnTo>
                  <a:pt x="180" y="126"/>
                </a:lnTo>
                <a:lnTo>
                  <a:pt x="180" y="126"/>
                </a:lnTo>
                <a:lnTo>
                  <a:pt x="180" y="126"/>
                </a:lnTo>
                <a:lnTo>
                  <a:pt x="180" y="126"/>
                </a:lnTo>
                <a:lnTo>
                  <a:pt x="180" y="126"/>
                </a:lnTo>
                <a:lnTo>
                  <a:pt x="180" y="126"/>
                </a:lnTo>
                <a:lnTo>
                  <a:pt x="180" y="126"/>
                </a:lnTo>
                <a:lnTo>
                  <a:pt x="174" y="126"/>
                </a:lnTo>
                <a:lnTo>
                  <a:pt x="174" y="126"/>
                </a:lnTo>
                <a:lnTo>
                  <a:pt x="174" y="126"/>
                </a:lnTo>
                <a:lnTo>
                  <a:pt x="174" y="126"/>
                </a:lnTo>
                <a:lnTo>
                  <a:pt x="174" y="126"/>
                </a:lnTo>
                <a:lnTo>
                  <a:pt x="174" y="126"/>
                </a:lnTo>
                <a:lnTo>
                  <a:pt x="174" y="126"/>
                </a:lnTo>
                <a:lnTo>
                  <a:pt x="174" y="126"/>
                </a:lnTo>
                <a:lnTo>
                  <a:pt x="174" y="126"/>
                </a:lnTo>
                <a:lnTo>
                  <a:pt x="174" y="126"/>
                </a:lnTo>
                <a:lnTo>
                  <a:pt x="174" y="132"/>
                </a:lnTo>
                <a:lnTo>
                  <a:pt x="168" y="132"/>
                </a:lnTo>
                <a:lnTo>
                  <a:pt x="168" y="132"/>
                </a:lnTo>
                <a:lnTo>
                  <a:pt x="168" y="126"/>
                </a:lnTo>
                <a:lnTo>
                  <a:pt x="168" y="126"/>
                </a:lnTo>
                <a:lnTo>
                  <a:pt x="168" y="132"/>
                </a:lnTo>
                <a:lnTo>
                  <a:pt x="168" y="132"/>
                </a:lnTo>
                <a:lnTo>
                  <a:pt x="162" y="126"/>
                </a:lnTo>
                <a:lnTo>
                  <a:pt x="162" y="132"/>
                </a:lnTo>
                <a:lnTo>
                  <a:pt x="162" y="132"/>
                </a:lnTo>
                <a:lnTo>
                  <a:pt x="162" y="132"/>
                </a:lnTo>
                <a:lnTo>
                  <a:pt x="162" y="126"/>
                </a:lnTo>
                <a:lnTo>
                  <a:pt x="162" y="132"/>
                </a:lnTo>
                <a:lnTo>
                  <a:pt x="156" y="126"/>
                </a:lnTo>
                <a:lnTo>
                  <a:pt x="156" y="132"/>
                </a:lnTo>
                <a:lnTo>
                  <a:pt x="156" y="132"/>
                </a:lnTo>
                <a:lnTo>
                  <a:pt x="156" y="132"/>
                </a:lnTo>
                <a:lnTo>
                  <a:pt x="156" y="132"/>
                </a:lnTo>
                <a:lnTo>
                  <a:pt x="156" y="132"/>
                </a:lnTo>
                <a:lnTo>
                  <a:pt x="156" y="132"/>
                </a:lnTo>
                <a:lnTo>
                  <a:pt x="156" y="132"/>
                </a:lnTo>
                <a:lnTo>
                  <a:pt x="156" y="132"/>
                </a:lnTo>
                <a:lnTo>
                  <a:pt x="156" y="132"/>
                </a:lnTo>
                <a:lnTo>
                  <a:pt x="150" y="132"/>
                </a:lnTo>
                <a:lnTo>
                  <a:pt x="150" y="132"/>
                </a:lnTo>
                <a:lnTo>
                  <a:pt x="150" y="132"/>
                </a:lnTo>
                <a:lnTo>
                  <a:pt x="150" y="132"/>
                </a:lnTo>
                <a:lnTo>
                  <a:pt x="150" y="132"/>
                </a:lnTo>
                <a:lnTo>
                  <a:pt x="150" y="132"/>
                </a:lnTo>
                <a:lnTo>
                  <a:pt x="150" y="132"/>
                </a:lnTo>
                <a:lnTo>
                  <a:pt x="150" y="132"/>
                </a:lnTo>
                <a:lnTo>
                  <a:pt x="150" y="132"/>
                </a:lnTo>
                <a:lnTo>
                  <a:pt x="144" y="132"/>
                </a:lnTo>
                <a:lnTo>
                  <a:pt x="144" y="132"/>
                </a:lnTo>
                <a:lnTo>
                  <a:pt x="144" y="132"/>
                </a:lnTo>
                <a:lnTo>
                  <a:pt x="144" y="132"/>
                </a:lnTo>
                <a:lnTo>
                  <a:pt x="150" y="132"/>
                </a:lnTo>
                <a:lnTo>
                  <a:pt x="150" y="132"/>
                </a:lnTo>
                <a:lnTo>
                  <a:pt x="150" y="132"/>
                </a:lnTo>
                <a:lnTo>
                  <a:pt x="150" y="138"/>
                </a:lnTo>
                <a:lnTo>
                  <a:pt x="144" y="138"/>
                </a:lnTo>
                <a:lnTo>
                  <a:pt x="144" y="138"/>
                </a:lnTo>
                <a:lnTo>
                  <a:pt x="144" y="138"/>
                </a:lnTo>
                <a:lnTo>
                  <a:pt x="144" y="138"/>
                </a:lnTo>
                <a:lnTo>
                  <a:pt x="144" y="138"/>
                </a:lnTo>
                <a:lnTo>
                  <a:pt x="144" y="138"/>
                </a:lnTo>
                <a:lnTo>
                  <a:pt x="144" y="138"/>
                </a:lnTo>
                <a:lnTo>
                  <a:pt x="144" y="138"/>
                </a:lnTo>
                <a:lnTo>
                  <a:pt x="138" y="138"/>
                </a:lnTo>
                <a:lnTo>
                  <a:pt x="138" y="138"/>
                </a:lnTo>
                <a:lnTo>
                  <a:pt x="138" y="138"/>
                </a:lnTo>
                <a:lnTo>
                  <a:pt x="138" y="144"/>
                </a:lnTo>
                <a:lnTo>
                  <a:pt x="138" y="144"/>
                </a:lnTo>
                <a:lnTo>
                  <a:pt x="132" y="144"/>
                </a:lnTo>
                <a:lnTo>
                  <a:pt x="132" y="144"/>
                </a:lnTo>
                <a:lnTo>
                  <a:pt x="132" y="144"/>
                </a:lnTo>
                <a:lnTo>
                  <a:pt x="138" y="144"/>
                </a:lnTo>
                <a:lnTo>
                  <a:pt x="138" y="144"/>
                </a:lnTo>
                <a:lnTo>
                  <a:pt x="138" y="144"/>
                </a:lnTo>
                <a:lnTo>
                  <a:pt x="132" y="144"/>
                </a:lnTo>
                <a:lnTo>
                  <a:pt x="132" y="144"/>
                </a:lnTo>
                <a:lnTo>
                  <a:pt x="132" y="144"/>
                </a:lnTo>
                <a:lnTo>
                  <a:pt x="132" y="150"/>
                </a:lnTo>
                <a:lnTo>
                  <a:pt x="132" y="150"/>
                </a:lnTo>
                <a:lnTo>
                  <a:pt x="132" y="144"/>
                </a:lnTo>
                <a:lnTo>
                  <a:pt x="126" y="144"/>
                </a:lnTo>
                <a:lnTo>
                  <a:pt x="132" y="150"/>
                </a:lnTo>
                <a:lnTo>
                  <a:pt x="132" y="150"/>
                </a:lnTo>
                <a:lnTo>
                  <a:pt x="132" y="150"/>
                </a:lnTo>
                <a:lnTo>
                  <a:pt x="132" y="150"/>
                </a:lnTo>
                <a:lnTo>
                  <a:pt x="132" y="150"/>
                </a:lnTo>
                <a:lnTo>
                  <a:pt x="132" y="150"/>
                </a:lnTo>
                <a:lnTo>
                  <a:pt x="132" y="150"/>
                </a:lnTo>
                <a:lnTo>
                  <a:pt x="132" y="156"/>
                </a:lnTo>
                <a:lnTo>
                  <a:pt x="132" y="156"/>
                </a:lnTo>
                <a:lnTo>
                  <a:pt x="126" y="156"/>
                </a:lnTo>
                <a:lnTo>
                  <a:pt x="126" y="156"/>
                </a:lnTo>
                <a:lnTo>
                  <a:pt x="126" y="156"/>
                </a:lnTo>
                <a:lnTo>
                  <a:pt x="126" y="156"/>
                </a:lnTo>
                <a:lnTo>
                  <a:pt x="126" y="156"/>
                </a:lnTo>
                <a:lnTo>
                  <a:pt x="126" y="156"/>
                </a:lnTo>
                <a:lnTo>
                  <a:pt x="126" y="156"/>
                </a:lnTo>
                <a:lnTo>
                  <a:pt x="126" y="156"/>
                </a:lnTo>
                <a:lnTo>
                  <a:pt x="126" y="156"/>
                </a:lnTo>
                <a:lnTo>
                  <a:pt x="120" y="156"/>
                </a:lnTo>
                <a:lnTo>
                  <a:pt x="120" y="156"/>
                </a:lnTo>
                <a:lnTo>
                  <a:pt x="120" y="156"/>
                </a:lnTo>
                <a:lnTo>
                  <a:pt x="120" y="156"/>
                </a:lnTo>
                <a:lnTo>
                  <a:pt x="120" y="156"/>
                </a:lnTo>
                <a:lnTo>
                  <a:pt x="120" y="156"/>
                </a:lnTo>
                <a:lnTo>
                  <a:pt x="114" y="156"/>
                </a:lnTo>
                <a:lnTo>
                  <a:pt x="114" y="156"/>
                </a:lnTo>
                <a:lnTo>
                  <a:pt x="114" y="156"/>
                </a:lnTo>
                <a:lnTo>
                  <a:pt x="114" y="156"/>
                </a:lnTo>
                <a:lnTo>
                  <a:pt x="114" y="156"/>
                </a:lnTo>
                <a:lnTo>
                  <a:pt x="114" y="156"/>
                </a:lnTo>
                <a:lnTo>
                  <a:pt x="108" y="156"/>
                </a:lnTo>
                <a:lnTo>
                  <a:pt x="108" y="156"/>
                </a:lnTo>
                <a:lnTo>
                  <a:pt x="108" y="156"/>
                </a:lnTo>
                <a:lnTo>
                  <a:pt x="108" y="156"/>
                </a:lnTo>
                <a:lnTo>
                  <a:pt x="102" y="156"/>
                </a:lnTo>
                <a:lnTo>
                  <a:pt x="102" y="156"/>
                </a:lnTo>
                <a:lnTo>
                  <a:pt x="102" y="156"/>
                </a:lnTo>
                <a:lnTo>
                  <a:pt x="102" y="162"/>
                </a:lnTo>
                <a:lnTo>
                  <a:pt x="108" y="162"/>
                </a:lnTo>
                <a:lnTo>
                  <a:pt x="108" y="162"/>
                </a:lnTo>
                <a:lnTo>
                  <a:pt x="108" y="162"/>
                </a:lnTo>
                <a:lnTo>
                  <a:pt x="108" y="162"/>
                </a:lnTo>
                <a:lnTo>
                  <a:pt x="108" y="162"/>
                </a:lnTo>
                <a:lnTo>
                  <a:pt x="108" y="162"/>
                </a:lnTo>
                <a:lnTo>
                  <a:pt x="108" y="162"/>
                </a:lnTo>
                <a:lnTo>
                  <a:pt x="108" y="168"/>
                </a:lnTo>
                <a:lnTo>
                  <a:pt x="108" y="168"/>
                </a:lnTo>
                <a:lnTo>
                  <a:pt x="108" y="168"/>
                </a:lnTo>
                <a:lnTo>
                  <a:pt x="108" y="174"/>
                </a:lnTo>
                <a:lnTo>
                  <a:pt x="108" y="174"/>
                </a:lnTo>
                <a:lnTo>
                  <a:pt x="102" y="174"/>
                </a:lnTo>
                <a:lnTo>
                  <a:pt x="102" y="174"/>
                </a:lnTo>
                <a:lnTo>
                  <a:pt x="102" y="174"/>
                </a:lnTo>
                <a:lnTo>
                  <a:pt x="102" y="174"/>
                </a:lnTo>
                <a:lnTo>
                  <a:pt x="102" y="174"/>
                </a:lnTo>
                <a:lnTo>
                  <a:pt x="102" y="174"/>
                </a:lnTo>
                <a:lnTo>
                  <a:pt x="102" y="174"/>
                </a:lnTo>
                <a:lnTo>
                  <a:pt x="102" y="174"/>
                </a:lnTo>
                <a:lnTo>
                  <a:pt x="102" y="180"/>
                </a:lnTo>
                <a:lnTo>
                  <a:pt x="102" y="180"/>
                </a:lnTo>
                <a:lnTo>
                  <a:pt x="102" y="180"/>
                </a:lnTo>
                <a:lnTo>
                  <a:pt x="102" y="180"/>
                </a:lnTo>
                <a:lnTo>
                  <a:pt x="102" y="180"/>
                </a:lnTo>
                <a:lnTo>
                  <a:pt x="102" y="180"/>
                </a:lnTo>
                <a:lnTo>
                  <a:pt x="108" y="180"/>
                </a:lnTo>
                <a:lnTo>
                  <a:pt x="108" y="180"/>
                </a:lnTo>
                <a:lnTo>
                  <a:pt x="108" y="180"/>
                </a:lnTo>
                <a:lnTo>
                  <a:pt x="108" y="180"/>
                </a:lnTo>
                <a:lnTo>
                  <a:pt x="114" y="180"/>
                </a:lnTo>
                <a:lnTo>
                  <a:pt x="114" y="180"/>
                </a:lnTo>
                <a:lnTo>
                  <a:pt x="114" y="186"/>
                </a:lnTo>
                <a:lnTo>
                  <a:pt x="108" y="186"/>
                </a:lnTo>
                <a:lnTo>
                  <a:pt x="108" y="186"/>
                </a:lnTo>
                <a:lnTo>
                  <a:pt x="108" y="186"/>
                </a:lnTo>
                <a:lnTo>
                  <a:pt x="102" y="186"/>
                </a:lnTo>
                <a:lnTo>
                  <a:pt x="102" y="186"/>
                </a:lnTo>
                <a:lnTo>
                  <a:pt x="102" y="186"/>
                </a:lnTo>
                <a:lnTo>
                  <a:pt x="102" y="186"/>
                </a:lnTo>
                <a:lnTo>
                  <a:pt x="102" y="186"/>
                </a:lnTo>
                <a:lnTo>
                  <a:pt x="102" y="186"/>
                </a:lnTo>
                <a:lnTo>
                  <a:pt x="96" y="180"/>
                </a:lnTo>
                <a:lnTo>
                  <a:pt x="96" y="180"/>
                </a:lnTo>
                <a:lnTo>
                  <a:pt x="96" y="180"/>
                </a:lnTo>
                <a:lnTo>
                  <a:pt x="96" y="180"/>
                </a:lnTo>
                <a:lnTo>
                  <a:pt x="96" y="180"/>
                </a:lnTo>
                <a:lnTo>
                  <a:pt x="96" y="174"/>
                </a:lnTo>
                <a:lnTo>
                  <a:pt x="96" y="174"/>
                </a:lnTo>
                <a:lnTo>
                  <a:pt x="90" y="174"/>
                </a:lnTo>
                <a:lnTo>
                  <a:pt x="90" y="174"/>
                </a:lnTo>
                <a:lnTo>
                  <a:pt x="90" y="174"/>
                </a:lnTo>
                <a:lnTo>
                  <a:pt x="90" y="174"/>
                </a:lnTo>
                <a:lnTo>
                  <a:pt x="90" y="174"/>
                </a:lnTo>
                <a:lnTo>
                  <a:pt x="90" y="168"/>
                </a:lnTo>
                <a:lnTo>
                  <a:pt x="90" y="168"/>
                </a:lnTo>
                <a:lnTo>
                  <a:pt x="90" y="168"/>
                </a:lnTo>
                <a:lnTo>
                  <a:pt x="90" y="168"/>
                </a:lnTo>
                <a:lnTo>
                  <a:pt x="84" y="168"/>
                </a:lnTo>
                <a:lnTo>
                  <a:pt x="90" y="168"/>
                </a:lnTo>
                <a:lnTo>
                  <a:pt x="84" y="168"/>
                </a:lnTo>
                <a:lnTo>
                  <a:pt x="84" y="168"/>
                </a:lnTo>
                <a:lnTo>
                  <a:pt x="84" y="168"/>
                </a:lnTo>
                <a:lnTo>
                  <a:pt x="84" y="162"/>
                </a:lnTo>
                <a:lnTo>
                  <a:pt x="84" y="162"/>
                </a:lnTo>
                <a:lnTo>
                  <a:pt x="90" y="162"/>
                </a:lnTo>
                <a:lnTo>
                  <a:pt x="84" y="162"/>
                </a:lnTo>
                <a:lnTo>
                  <a:pt x="84" y="162"/>
                </a:lnTo>
                <a:lnTo>
                  <a:pt x="84" y="162"/>
                </a:lnTo>
                <a:lnTo>
                  <a:pt x="84" y="156"/>
                </a:lnTo>
                <a:lnTo>
                  <a:pt x="84" y="150"/>
                </a:lnTo>
                <a:lnTo>
                  <a:pt x="84" y="150"/>
                </a:lnTo>
                <a:lnTo>
                  <a:pt x="84" y="150"/>
                </a:lnTo>
                <a:lnTo>
                  <a:pt x="78" y="150"/>
                </a:lnTo>
                <a:lnTo>
                  <a:pt x="78" y="150"/>
                </a:lnTo>
                <a:lnTo>
                  <a:pt x="84" y="150"/>
                </a:lnTo>
                <a:lnTo>
                  <a:pt x="84" y="150"/>
                </a:lnTo>
                <a:lnTo>
                  <a:pt x="84" y="144"/>
                </a:lnTo>
                <a:lnTo>
                  <a:pt x="84" y="144"/>
                </a:lnTo>
                <a:lnTo>
                  <a:pt x="90" y="144"/>
                </a:lnTo>
                <a:lnTo>
                  <a:pt x="84" y="144"/>
                </a:lnTo>
                <a:lnTo>
                  <a:pt x="84" y="144"/>
                </a:lnTo>
                <a:lnTo>
                  <a:pt x="84" y="150"/>
                </a:lnTo>
                <a:lnTo>
                  <a:pt x="78" y="150"/>
                </a:lnTo>
                <a:lnTo>
                  <a:pt x="78" y="150"/>
                </a:lnTo>
                <a:lnTo>
                  <a:pt x="78" y="144"/>
                </a:lnTo>
                <a:lnTo>
                  <a:pt x="78" y="144"/>
                </a:lnTo>
                <a:lnTo>
                  <a:pt x="78" y="144"/>
                </a:lnTo>
                <a:lnTo>
                  <a:pt x="78" y="144"/>
                </a:lnTo>
                <a:lnTo>
                  <a:pt x="78" y="144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66" y="132"/>
                </a:lnTo>
                <a:lnTo>
                  <a:pt x="66" y="132"/>
                </a:lnTo>
                <a:lnTo>
                  <a:pt x="66" y="126"/>
                </a:lnTo>
                <a:lnTo>
                  <a:pt x="66" y="126"/>
                </a:lnTo>
                <a:lnTo>
                  <a:pt x="66" y="126"/>
                </a:lnTo>
                <a:lnTo>
                  <a:pt x="66" y="126"/>
                </a:lnTo>
                <a:lnTo>
                  <a:pt x="66" y="120"/>
                </a:lnTo>
                <a:lnTo>
                  <a:pt x="72" y="126"/>
                </a:lnTo>
                <a:lnTo>
                  <a:pt x="72" y="120"/>
                </a:lnTo>
                <a:lnTo>
                  <a:pt x="72" y="120"/>
                </a:lnTo>
                <a:lnTo>
                  <a:pt x="72" y="120"/>
                </a:lnTo>
                <a:lnTo>
                  <a:pt x="72" y="114"/>
                </a:lnTo>
                <a:lnTo>
                  <a:pt x="72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0" y="108"/>
                </a:lnTo>
                <a:lnTo>
                  <a:pt x="60" y="102"/>
                </a:lnTo>
                <a:lnTo>
                  <a:pt x="60" y="108"/>
                </a:lnTo>
                <a:lnTo>
                  <a:pt x="60" y="108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96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48" y="96"/>
                </a:lnTo>
                <a:lnTo>
                  <a:pt x="54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0"/>
                </a:lnTo>
                <a:lnTo>
                  <a:pt x="48" y="90"/>
                </a:lnTo>
                <a:lnTo>
                  <a:pt x="48" y="96"/>
                </a:lnTo>
                <a:lnTo>
                  <a:pt x="48" y="96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8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18" y="72"/>
                </a:lnTo>
                <a:lnTo>
                  <a:pt x="24" y="72"/>
                </a:lnTo>
                <a:lnTo>
                  <a:pt x="24" y="72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48"/>
                </a:lnTo>
                <a:lnTo>
                  <a:pt x="0" y="48"/>
                </a:lnTo>
                <a:lnTo>
                  <a:pt x="0" y="4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98" name="Freeform 531"/>
          <p:cNvSpPr>
            <a:spLocks/>
          </p:cNvSpPr>
          <p:nvPr/>
        </p:nvSpPr>
        <p:spPr bwMode="auto">
          <a:xfrm>
            <a:off x="6620588" y="3338416"/>
            <a:ext cx="147753" cy="115634"/>
          </a:xfrm>
          <a:custGeom>
            <a:avLst/>
            <a:gdLst>
              <a:gd name="T0" fmla="*/ 6 w 138"/>
              <a:gd name="T1" fmla="*/ 60 h 108"/>
              <a:gd name="T2" fmla="*/ 12 w 138"/>
              <a:gd name="T3" fmla="*/ 60 h 108"/>
              <a:gd name="T4" fmla="*/ 18 w 138"/>
              <a:gd name="T5" fmla="*/ 60 h 108"/>
              <a:gd name="T6" fmla="*/ 18 w 138"/>
              <a:gd name="T7" fmla="*/ 54 h 108"/>
              <a:gd name="T8" fmla="*/ 12 w 138"/>
              <a:gd name="T9" fmla="*/ 54 h 108"/>
              <a:gd name="T10" fmla="*/ 18 w 138"/>
              <a:gd name="T11" fmla="*/ 48 h 108"/>
              <a:gd name="T12" fmla="*/ 18 w 138"/>
              <a:gd name="T13" fmla="*/ 48 h 108"/>
              <a:gd name="T14" fmla="*/ 18 w 138"/>
              <a:gd name="T15" fmla="*/ 48 h 108"/>
              <a:gd name="T16" fmla="*/ 18 w 138"/>
              <a:gd name="T17" fmla="*/ 42 h 108"/>
              <a:gd name="T18" fmla="*/ 18 w 138"/>
              <a:gd name="T19" fmla="*/ 42 h 108"/>
              <a:gd name="T20" fmla="*/ 24 w 138"/>
              <a:gd name="T21" fmla="*/ 36 h 108"/>
              <a:gd name="T22" fmla="*/ 24 w 138"/>
              <a:gd name="T23" fmla="*/ 30 h 108"/>
              <a:gd name="T24" fmla="*/ 18 w 138"/>
              <a:gd name="T25" fmla="*/ 24 h 108"/>
              <a:gd name="T26" fmla="*/ 12 w 138"/>
              <a:gd name="T27" fmla="*/ 24 h 108"/>
              <a:gd name="T28" fmla="*/ 24 w 138"/>
              <a:gd name="T29" fmla="*/ 12 h 108"/>
              <a:gd name="T30" fmla="*/ 30 w 138"/>
              <a:gd name="T31" fmla="*/ 6 h 108"/>
              <a:gd name="T32" fmla="*/ 36 w 138"/>
              <a:gd name="T33" fmla="*/ 6 h 108"/>
              <a:gd name="T34" fmla="*/ 48 w 138"/>
              <a:gd name="T35" fmla="*/ 6 h 108"/>
              <a:gd name="T36" fmla="*/ 60 w 138"/>
              <a:gd name="T37" fmla="*/ 6 h 108"/>
              <a:gd name="T38" fmla="*/ 66 w 138"/>
              <a:gd name="T39" fmla="*/ 0 h 108"/>
              <a:gd name="T40" fmla="*/ 78 w 138"/>
              <a:gd name="T41" fmla="*/ 0 h 108"/>
              <a:gd name="T42" fmla="*/ 84 w 138"/>
              <a:gd name="T43" fmla="*/ 6 h 108"/>
              <a:gd name="T44" fmla="*/ 78 w 138"/>
              <a:gd name="T45" fmla="*/ 12 h 108"/>
              <a:gd name="T46" fmla="*/ 84 w 138"/>
              <a:gd name="T47" fmla="*/ 18 h 108"/>
              <a:gd name="T48" fmla="*/ 90 w 138"/>
              <a:gd name="T49" fmla="*/ 24 h 108"/>
              <a:gd name="T50" fmla="*/ 102 w 138"/>
              <a:gd name="T51" fmla="*/ 24 h 108"/>
              <a:gd name="T52" fmla="*/ 102 w 138"/>
              <a:gd name="T53" fmla="*/ 30 h 108"/>
              <a:gd name="T54" fmla="*/ 108 w 138"/>
              <a:gd name="T55" fmla="*/ 36 h 108"/>
              <a:gd name="T56" fmla="*/ 114 w 138"/>
              <a:gd name="T57" fmla="*/ 36 h 108"/>
              <a:gd name="T58" fmla="*/ 120 w 138"/>
              <a:gd name="T59" fmla="*/ 42 h 108"/>
              <a:gd name="T60" fmla="*/ 114 w 138"/>
              <a:gd name="T61" fmla="*/ 42 h 108"/>
              <a:gd name="T62" fmla="*/ 114 w 138"/>
              <a:gd name="T63" fmla="*/ 48 h 108"/>
              <a:gd name="T64" fmla="*/ 114 w 138"/>
              <a:gd name="T65" fmla="*/ 54 h 108"/>
              <a:gd name="T66" fmla="*/ 120 w 138"/>
              <a:gd name="T67" fmla="*/ 54 h 108"/>
              <a:gd name="T68" fmla="*/ 126 w 138"/>
              <a:gd name="T69" fmla="*/ 60 h 108"/>
              <a:gd name="T70" fmla="*/ 132 w 138"/>
              <a:gd name="T71" fmla="*/ 66 h 108"/>
              <a:gd name="T72" fmla="*/ 138 w 138"/>
              <a:gd name="T73" fmla="*/ 66 h 108"/>
              <a:gd name="T74" fmla="*/ 132 w 138"/>
              <a:gd name="T75" fmla="*/ 72 h 108"/>
              <a:gd name="T76" fmla="*/ 126 w 138"/>
              <a:gd name="T77" fmla="*/ 84 h 108"/>
              <a:gd name="T78" fmla="*/ 120 w 138"/>
              <a:gd name="T79" fmla="*/ 84 h 108"/>
              <a:gd name="T80" fmla="*/ 120 w 138"/>
              <a:gd name="T81" fmla="*/ 78 h 108"/>
              <a:gd name="T82" fmla="*/ 114 w 138"/>
              <a:gd name="T83" fmla="*/ 78 h 108"/>
              <a:gd name="T84" fmla="*/ 96 w 138"/>
              <a:gd name="T85" fmla="*/ 78 h 108"/>
              <a:gd name="T86" fmla="*/ 90 w 138"/>
              <a:gd name="T87" fmla="*/ 72 h 108"/>
              <a:gd name="T88" fmla="*/ 84 w 138"/>
              <a:gd name="T89" fmla="*/ 78 h 108"/>
              <a:gd name="T90" fmla="*/ 60 w 138"/>
              <a:gd name="T91" fmla="*/ 84 h 108"/>
              <a:gd name="T92" fmla="*/ 54 w 138"/>
              <a:gd name="T93" fmla="*/ 90 h 108"/>
              <a:gd name="T94" fmla="*/ 54 w 138"/>
              <a:gd name="T95" fmla="*/ 96 h 108"/>
              <a:gd name="T96" fmla="*/ 48 w 138"/>
              <a:gd name="T97" fmla="*/ 96 h 108"/>
              <a:gd name="T98" fmla="*/ 42 w 138"/>
              <a:gd name="T99" fmla="*/ 90 h 108"/>
              <a:gd name="T100" fmla="*/ 36 w 138"/>
              <a:gd name="T101" fmla="*/ 90 h 108"/>
              <a:gd name="T102" fmla="*/ 30 w 138"/>
              <a:gd name="T103" fmla="*/ 90 h 108"/>
              <a:gd name="T104" fmla="*/ 24 w 138"/>
              <a:gd name="T105" fmla="*/ 102 h 108"/>
              <a:gd name="T106" fmla="*/ 18 w 138"/>
              <a:gd name="T107" fmla="*/ 102 h 108"/>
              <a:gd name="T108" fmla="*/ 12 w 138"/>
              <a:gd name="T109" fmla="*/ 102 h 108"/>
              <a:gd name="T110" fmla="*/ 6 w 138"/>
              <a:gd name="T111" fmla="*/ 102 h 108"/>
              <a:gd name="T112" fmla="*/ 6 w 138"/>
              <a:gd name="T113" fmla="*/ 96 h 108"/>
              <a:gd name="T114" fmla="*/ 6 w 138"/>
              <a:gd name="T115" fmla="*/ 90 h 108"/>
              <a:gd name="T116" fmla="*/ 6 w 138"/>
              <a:gd name="T117" fmla="*/ 84 h 108"/>
              <a:gd name="T118" fmla="*/ 0 w 138"/>
              <a:gd name="T119" fmla="*/ 78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38" h="108">
                <a:moveTo>
                  <a:pt x="0" y="72"/>
                </a:moveTo>
                <a:lnTo>
                  <a:pt x="0" y="72"/>
                </a:lnTo>
                <a:lnTo>
                  <a:pt x="6" y="72"/>
                </a:lnTo>
                <a:lnTo>
                  <a:pt x="6" y="66"/>
                </a:lnTo>
                <a:lnTo>
                  <a:pt x="6" y="60"/>
                </a:lnTo>
                <a:lnTo>
                  <a:pt x="6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6"/>
                </a:lnTo>
                <a:lnTo>
                  <a:pt x="12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54"/>
                </a:lnTo>
                <a:lnTo>
                  <a:pt x="12" y="54"/>
                </a:lnTo>
                <a:lnTo>
                  <a:pt x="18" y="54"/>
                </a:lnTo>
                <a:lnTo>
                  <a:pt x="18" y="54"/>
                </a:lnTo>
                <a:lnTo>
                  <a:pt x="12" y="54"/>
                </a:lnTo>
                <a:lnTo>
                  <a:pt x="12" y="54"/>
                </a:lnTo>
                <a:lnTo>
                  <a:pt x="18" y="54"/>
                </a:lnTo>
                <a:lnTo>
                  <a:pt x="18" y="54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2" y="48"/>
                </a:lnTo>
                <a:lnTo>
                  <a:pt x="18" y="48"/>
                </a:lnTo>
                <a:lnTo>
                  <a:pt x="12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12" y="24"/>
                </a:lnTo>
                <a:lnTo>
                  <a:pt x="12" y="18"/>
                </a:lnTo>
                <a:lnTo>
                  <a:pt x="18" y="18"/>
                </a:lnTo>
                <a:lnTo>
                  <a:pt x="18" y="18"/>
                </a:lnTo>
                <a:lnTo>
                  <a:pt x="24" y="12"/>
                </a:lnTo>
                <a:lnTo>
                  <a:pt x="24" y="12"/>
                </a:lnTo>
                <a:lnTo>
                  <a:pt x="30" y="12"/>
                </a:lnTo>
                <a:lnTo>
                  <a:pt x="30" y="12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66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84" y="0"/>
                </a:lnTo>
                <a:lnTo>
                  <a:pt x="84" y="6"/>
                </a:lnTo>
                <a:lnTo>
                  <a:pt x="78" y="6"/>
                </a:lnTo>
                <a:lnTo>
                  <a:pt x="84" y="6"/>
                </a:lnTo>
                <a:lnTo>
                  <a:pt x="78" y="6"/>
                </a:lnTo>
                <a:lnTo>
                  <a:pt x="84" y="6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8"/>
                </a:lnTo>
                <a:lnTo>
                  <a:pt x="78" y="18"/>
                </a:lnTo>
                <a:lnTo>
                  <a:pt x="84" y="18"/>
                </a:lnTo>
                <a:lnTo>
                  <a:pt x="84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8"/>
                </a:lnTo>
                <a:lnTo>
                  <a:pt x="108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32" y="66"/>
                </a:lnTo>
                <a:lnTo>
                  <a:pt x="132" y="66"/>
                </a:lnTo>
                <a:lnTo>
                  <a:pt x="132" y="66"/>
                </a:lnTo>
                <a:lnTo>
                  <a:pt x="132" y="66"/>
                </a:lnTo>
                <a:lnTo>
                  <a:pt x="132" y="66"/>
                </a:lnTo>
                <a:lnTo>
                  <a:pt x="138" y="66"/>
                </a:lnTo>
                <a:lnTo>
                  <a:pt x="138" y="66"/>
                </a:lnTo>
                <a:lnTo>
                  <a:pt x="138" y="66"/>
                </a:lnTo>
                <a:lnTo>
                  <a:pt x="138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8"/>
                </a:lnTo>
                <a:lnTo>
                  <a:pt x="132" y="78"/>
                </a:lnTo>
                <a:lnTo>
                  <a:pt x="132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14" y="78"/>
                </a:lnTo>
                <a:lnTo>
                  <a:pt x="114" y="78"/>
                </a:lnTo>
                <a:lnTo>
                  <a:pt x="102" y="78"/>
                </a:lnTo>
                <a:lnTo>
                  <a:pt x="102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84" y="78"/>
                </a:lnTo>
                <a:lnTo>
                  <a:pt x="84" y="78"/>
                </a:lnTo>
                <a:lnTo>
                  <a:pt x="66" y="84"/>
                </a:lnTo>
                <a:lnTo>
                  <a:pt x="66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54" y="96"/>
                </a:lnTo>
                <a:lnTo>
                  <a:pt x="48" y="96"/>
                </a:lnTo>
                <a:lnTo>
                  <a:pt x="48" y="96"/>
                </a:lnTo>
                <a:lnTo>
                  <a:pt x="48" y="102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2" y="96"/>
                </a:lnTo>
                <a:lnTo>
                  <a:pt x="42" y="96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84"/>
                </a:lnTo>
                <a:lnTo>
                  <a:pt x="36" y="84"/>
                </a:lnTo>
                <a:lnTo>
                  <a:pt x="36" y="84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24" y="96"/>
                </a:lnTo>
                <a:lnTo>
                  <a:pt x="24" y="102"/>
                </a:lnTo>
                <a:lnTo>
                  <a:pt x="24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8"/>
                </a:lnTo>
                <a:lnTo>
                  <a:pt x="0" y="102"/>
                </a:lnTo>
                <a:lnTo>
                  <a:pt x="0" y="102"/>
                </a:lnTo>
                <a:lnTo>
                  <a:pt x="6" y="102"/>
                </a:lnTo>
                <a:lnTo>
                  <a:pt x="0" y="102"/>
                </a:lnTo>
                <a:lnTo>
                  <a:pt x="0" y="102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6" y="90"/>
                </a:lnTo>
                <a:lnTo>
                  <a:pt x="12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84"/>
                </a:lnTo>
                <a:lnTo>
                  <a:pt x="6" y="78"/>
                </a:lnTo>
                <a:lnTo>
                  <a:pt x="0" y="78"/>
                </a:lnTo>
                <a:lnTo>
                  <a:pt x="0" y="78"/>
                </a:lnTo>
                <a:lnTo>
                  <a:pt x="0" y="72"/>
                </a:lnTo>
                <a:lnTo>
                  <a:pt x="0" y="7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799" name="Freeform 532"/>
          <p:cNvSpPr>
            <a:spLocks/>
          </p:cNvSpPr>
          <p:nvPr/>
        </p:nvSpPr>
        <p:spPr bwMode="auto">
          <a:xfrm>
            <a:off x="6671981" y="3473322"/>
            <a:ext cx="256962" cy="231267"/>
          </a:xfrm>
          <a:custGeom>
            <a:avLst/>
            <a:gdLst>
              <a:gd name="T0" fmla="*/ 0 w 240"/>
              <a:gd name="T1" fmla="*/ 126 h 216"/>
              <a:gd name="T2" fmla="*/ 0 w 240"/>
              <a:gd name="T3" fmla="*/ 120 h 216"/>
              <a:gd name="T4" fmla="*/ 6 w 240"/>
              <a:gd name="T5" fmla="*/ 108 h 216"/>
              <a:gd name="T6" fmla="*/ 6 w 240"/>
              <a:gd name="T7" fmla="*/ 102 h 216"/>
              <a:gd name="T8" fmla="*/ 18 w 240"/>
              <a:gd name="T9" fmla="*/ 102 h 216"/>
              <a:gd name="T10" fmla="*/ 24 w 240"/>
              <a:gd name="T11" fmla="*/ 102 h 216"/>
              <a:gd name="T12" fmla="*/ 30 w 240"/>
              <a:gd name="T13" fmla="*/ 96 h 216"/>
              <a:gd name="T14" fmla="*/ 36 w 240"/>
              <a:gd name="T15" fmla="*/ 90 h 216"/>
              <a:gd name="T16" fmla="*/ 36 w 240"/>
              <a:gd name="T17" fmla="*/ 84 h 216"/>
              <a:gd name="T18" fmla="*/ 48 w 240"/>
              <a:gd name="T19" fmla="*/ 78 h 216"/>
              <a:gd name="T20" fmla="*/ 48 w 240"/>
              <a:gd name="T21" fmla="*/ 78 h 216"/>
              <a:gd name="T22" fmla="*/ 54 w 240"/>
              <a:gd name="T23" fmla="*/ 78 h 216"/>
              <a:gd name="T24" fmla="*/ 60 w 240"/>
              <a:gd name="T25" fmla="*/ 78 h 216"/>
              <a:gd name="T26" fmla="*/ 72 w 240"/>
              <a:gd name="T27" fmla="*/ 72 h 216"/>
              <a:gd name="T28" fmla="*/ 78 w 240"/>
              <a:gd name="T29" fmla="*/ 72 h 216"/>
              <a:gd name="T30" fmla="*/ 84 w 240"/>
              <a:gd name="T31" fmla="*/ 66 h 216"/>
              <a:gd name="T32" fmla="*/ 84 w 240"/>
              <a:gd name="T33" fmla="*/ 60 h 216"/>
              <a:gd name="T34" fmla="*/ 84 w 240"/>
              <a:gd name="T35" fmla="*/ 54 h 216"/>
              <a:gd name="T36" fmla="*/ 84 w 240"/>
              <a:gd name="T37" fmla="*/ 48 h 216"/>
              <a:gd name="T38" fmla="*/ 84 w 240"/>
              <a:gd name="T39" fmla="*/ 48 h 216"/>
              <a:gd name="T40" fmla="*/ 84 w 240"/>
              <a:gd name="T41" fmla="*/ 42 h 216"/>
              <a:gd name="T42" fmla="*/ 90 w 240"/>
              <a:gd name="T43" fmla="*/ 30 h 216"/>
              <a:gd name="T44" fmla="*/ 102 w 240"/>
              <a:gd name="T45" fmla="*/ 18 h 216"/>
              <a:gd name="T46" fmla="*/ 120 w 240"/>
              <a:gd name="T47" fmla="*/ 18 h 216"/>
              <a:gd name="T48" fmla="*/ 138 w 240"/>
              <a:gd name="T49" fmla="*/ 12 h 216"/>
              <a:gd name="T50" fmla="*/ 156 w 240"/>
              <a:gd name="T51" fmla="*/ 18 h 216"/>
              <a:gd name="T52" fmla="*/ 156 w 240"/>
              <a:gd name="T53" fmla="*/ 6 h 216"/>
              <a:gd name="T54" fmla="*/ 174 w 240"/>
              <a:gd name="T55" fmla="*/ 12 h 216"/>
              <a:gd name="T56" fmla="*/ 180 w 240"/>
              <a:gd name="T57" fmla="*/ 0 h 216"/>
              <a:gd name="T58" fmla="*/ 192 w 240"/>
              <a:gd name="T59" fmla="*/ 18 h 216"/>
              <a:gd name="T60" fmla="*/ 192 w 240"/>
              <a:gd name="T61" fmla="*/ 30 h 216"/>
              <a:gd name="T62" fmla="*/ 192 w 240"/>
              <a:gd name="T63" fmla="*/ 48 h 216"/>
              <a:gd name="T64" fmla="*/ 204 w 240"/>
              <a:gd name="T65" fmla="*/ 66 h 216"/>
              <a:gd name="T66" fmla="*/ 228 w 240"/>
              <a:gd name="T67" fmla="*/ 60 h 216"/>
              <a:gd name="T68" fmla="*/ 234 w 240"/>
              <a:gd name="T69" fmla="*/ 66 h 216"/>
              <a:gd name="T70" fmla="*/ 234 w 240"/>
              <a:gd name="T71" fmla="*/ 78 h 216"/>
              <a:gd name="T72" fmla="*/ 240 w 240"/>
              <a:gd name="T73" fmla="*/ 84 h 216"/>
              <a:gd name="T74" fmla="*/ 234 w 240"/>
              <a:gd name="T75" fmla="*/ 96 h 216"/>
              <a:gd name="T76" fmla="*/ 228 w 240"/>
              <a:gd name="T77" fmla="*/ 102 h 216"/>
              <a:gd name="T78" fmla="*/ 228 w 240"/>
              <a:gd name="T79" fmla="*/ 114 h 216"/>
              <a:gd name="T80" fmla="*/ 228 w 240"/>
              <a:gd name="T81" fmla="*/ 132 h 216"/>
              <a:gd name="T82" fmla="*/ 216 w 240"/>
              <a:gd name="T83" fmla="*/ 138 h 216"/>
              <a:gd name="T84" fmla="*/ 210 w 240"/>
              <a:gd name="T85" fmla="*/ 144 h 216"/>
              <a:gd name="T86" fmla="*/ 204 w 240"/>
              <a:gd name="T87" fmla="*/ 150 h 216"/>
              <a:gd name="T88" fmla="*/ 204 w 240"/>
              <a:gd name="T89" fmla="*/ 156 h 216"/>
              <a:gd name="T90" fmla="*/ 192 w 240"/>
              <a:gd name="T91" fmla="*/ 162 h 216"/>
              <a:gd name="T92" fmla="*/ 180 w 240"/>
              <a:gd name="T93" fmla="*/ 168 h 216"/>
              <a:gd name="T94" fmla="*/ 168 w 240"/>
              <a:gd name="T95" fmla="*/ 180 h 216"/>
              <a:gd name="T96" fmla="*/ 156 w 240"/>
              <a:gd name="T97" fmla="*/ 180 h 216"/>
              <a:gd name="T98" fmla="*/ 138 w 240"/>
              <a:gd name="T99" fmla="*/ 186 h 216"/>
              <a:gd name="T100" fmla="*/ 132 w 240"/>
              <a:gd name="T101" fmla="*/ 198 h 216"/>
              <a:gd name="T102" fmla="*/ 120 w 240"/>
              <a:gd name="T103" fmla="*/ 210 h 216"/>
              <a:gd name="T104" fmla="*/ 102 w 240"/>
              <a:gd name="T105" fmla="*/ 198 h 216"/>
              <a:gd name="T106" fmla="*/ 96 w 240"/>
              <a:gd name="T107" fmla="*/ 198 h 216"/>
              <a:gd name="T108" fmla="*/ 84 w 240"/>
              <a:gd name="T109" fmla="*/ 210 h 216"/>
              <a:gd name="T110" fmla="*/ 66 w 240"/>
              <a:gd name="T111" fmla="*/ 210 h 216"/>
              <a:gd name="T112" fmla="*/ 54 w 240"/>
              <a:gd name="T113" fmla="*/ 210 h 216"/>
              <a:gd name="T114" fmla="*/ 36 w 240"/>
              <a:gd name="T115" fmla="*/ 210 h 216"/>
              <a:gd name="T116" fmla="*/ 30 w 240"/>
              <a:gd name="T117" fmla="*/ 198 h 216"/>
              <a:gd name="T118" fmla="*/ 30 w 240"/>
              <a:gd name="T119" fmla="*/ 180 h 216"/>
              <a:gd name="T120" fmla="*/ 24 w 240"/>
              <a:gd name="T121" fmla="*/ 168 h 216"/>
              <a:gd name="T122" fmla="*/ 18 w 240"/>
              <a:gd name="T123" fmla="*/ 156 h 216"/>
              <a:gd name="T124" fmla="*/ 18 w 240"/>
              <a:gd name="T125" fmla="*/ 144 h 2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40" h="216">
                <a:moveTo>
                  <a:pt x="6" y="132"/>
                </a:moveTo>
                <a:lnTo>
                  <a:pt x="12" y="132"/>
                </a:lnTo>
                <a:lnTo>
                  <a:pt x="12" y="126"/>
                </a:lnTo>
                <a:lnTo>
                  <a:pt x="12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0" y="126"/>
                </a:lnTo>
                <a:lnTo>
                  <a:pt x="0" y="126"/>
                </a:lnTo>
                <a:lnTo>
                  <a:pt x="0" y="126"/>
                </a:lnTo>
                <a:lnTo>
                  <a:pt x="0" y="126"/>
                </a:lnTo>
                <a:lnTo>
                  <a:pt x="0" y="126"/>
                </a:lnTo>
                <a:lnTo>
                  <a:pt x="0" y="126"/>
                </a:lnTo>
                <a:lnTo>
                  <a:pt x="0" y="120"/>
                </a:lnTo>
                <a:lnTo>
                  <a:pt x="0" y="120"/>
                </a:lnTo>
                <a:lnTo>
                  <a:pt x="0" y="120"/>
                </a:lnTo>
                <a:lnTo>
                  <a:pt x="0" y="120"/>
                </a:lnTo>
                <a:lnTo>
                  <a:pt x="0" y="120"/>
                </a:lnTo>
                <a:lnTo>
                  <a:pt x="0" y="120"/>
                </a:lnTo>
                <a:lnTo>
                  <a:pt x="0" y="120"/>
                </a:lnTo>
                <a:lnTo>
                  <a:pt x="0" y="120"/>
                </a:lnTo>
                <a:lnTo>
                  <a:pt x="6" y="120"/>
                </a:lnTo>
                <a:lnTo>
                  <a:pt x="6" y="120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0" y="108"/>
                </a:lnTo>
                <a:lnTo>
                  <a:pt x="0" y="102"/>
                </a:lnTo>
                <a:lnTo>
                  <a:pt x="0" y="102"/>
                </a:lnTo>
                <a:lnTo>
                  <a:pt x="0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24" y="90"/>
                </a:lnTo>
                <a:lnTo>
                  <a:pt x="30" y="90"/>
                </a:lnTo>
                <a:lnTo>
                  <a:pt x="30" y="96"/>
                </a:lnTo>
                <a:lnTo>
                  <a:pt x="30" y="96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6" y="90"/>
                </a:lnTo>
                <a:lnTo>
                  <a:pt x="36" y="90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8" y="84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8"/>
                </a:lnTo>
                <a:lnTo>
                  <a:pt x="54" y="72"/>
                </a:lnTo>
                <a:lnTo>
                  <a:pt x="60" y="78"/>
                </a:lnTo>
                <a:lnTo>
                  <a:pt x="60" y="72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2"/>
                </a:lnTo>
                <a:lnTo>
                  <a:pt x="66" y="78"/>
                </a:lnTo>
                <a:lnTo>
                  <a:pt x="66" y="78"/>
                </a:lnTo>
                <a:lnTo>
                  <a:pt x="66" y="72"/>
                </a:lnTo>
                <a:lnTo>
                  <a:pt x="66" y="72"/>
                </a:lnTo>
                <a:lnTo>
                  <a:pt x="66" y="78"/>
                </a:lnTo>
                <a:lnTo>
                  <a:pt x="66" y="78"/>
                </a:lnTo>
                <a:lnTo>
                  <a:pt x="72" y="78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78" y="66"/>
                </a:lnTo>
                <a:lnTo>
                  <a:pt x="78" y="66"/>
                </a:lnTo>
                <a:lnTo>
                  <a:pt x="84" y="66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60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48"/>
                </a:lnTo>
                <a:lnTo>
                  <a:pt x="84" y="54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36"/>
                </a:lnTo>
                <a:lnTo>
                  <a:pt x="84" y="42"/>
                </a:lnTo>
                <a:lnTo>
                  <a:pt x="84" y="36"/>
                </a:lnTo>
                <a:lnTo>
                  <a:pt x="84" y="42"/>
                </a:lnTo>
                <a:lnTo>
                  <a:pt x="84" y="36"/>
                </a:lnTo>
                <a:lnTo>
                  <a:pt x="84" y="36"/>
                </a:lnTo>
                <a:lnTo>
                  <a:pt x="90" y="36"/>
                </a:lnTo>
                <a:lnTo>
                  <a:pt x="90" y="36"/>
                </a:lnTo>
                <a:lnTo>
                  <a:pt x="84" y="36"/>
                </a:lnTo>
                <a:lnTo>
                  <a:pt x="84" y="36"/>
                </a:lnTo>
                <a:lnTo>
                  <a:pt x="90" y="36"/>
                </a:lnTo>
                <a:lnTo>
                  <a:pt x="90" y="30"/>
                </a:lnTo>
                <a:lnTo>
                  <a:pt x="84" y="30"/>
                </a:lnTo>
                <a:lnTo>
                  <a:pt x="90" y="30"/>
                </a:lnTo>
                <a:lnTo>
                  <a:pt x="84" y="30"/>
                </a:lnTo>
                <a:lnTo>
                  <a:pt x="90" y="30"/>
                </a:lnTo>
                <a:lnTo>
                  <a:pt x="90" y="30"/>
                </a:lnTo>
                <a:lnTo>
                  <a:pt x="90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14" y="18"/>
                </a:lnTo>
                <a:lnTo>
                  <a:pt x="114" y="18"/>
                </a:lnTo>
                <a:lnTo>
                  <a:pt x="120" y="18"/>
                </a:lnTo>
                <a:lnTo>
                  <a:pt x="120" y="18"/>
                </a:lnTo>
                <a:lnTo>
                  <a:pt x="126" y="18"/>
                </a:lnTo>
                <a:lnTo>
                  <a:pt x="126" y="18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6" y="18"/>
                </a:lnTo>
                <a:lnTo>
                  <a:pt x="156" y="18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6"/>
                </a:lnTo>
                <a:lnTo>
                  <a:pt x="156" y="12"/>
                </a:lnTo>
                <a:lnTo>
                  <a:pt x="156" y="6"/>
                </a:lnTo>
                <a:lnTo>
                  <a:pt x="156" y="6"/>
                </a:lnTo>
                <a:lnTo>
                  <a:pt x="162" y="6"/>
                </a:lnTo>
                <a:lnTo>
                  <a:pt x="162" y="6"/>
                </a:lnTo>
                <a:lnTo>
                  <a:pt x="162" y="6"/>
                </a:lnTo>
                <a:lnTo>
                  <a:pt x="168" y="6"/>
                </a:lnTo>
                <a:lnTo>
                  <a:pt x="168" y="12"/>
                </a:lnTo>
                <a:lnTo>
                  <a:pt x="168" y="12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74" y="6"/>
                </a:lnTo>
                <a:lnTo>
                  <a:pt x="174" y="6"/>
                </a:lnTo>
                <a:lnTo>
                  <a:pt x="174" y="6"/>
                </a:lnTo>
                <a:lnTo>
                  <a:pt x="174" y="6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6" y="0"/>
                </a:lnTo>
                <a:lnTo>
                  <a:pt x="186" y="6"/>
                </a:lnTo>
                <a:lnTo>
                  <a:pt x="186" y="6"/>
                </a:lnTo>
                <a:lnTo>
                  <a:pt x="186" y="6"/>
                </a:lnTo>
                <a:lnTo>
                  <a:pt x="186" y="6"/>
                </a:lnTo>
                <a:lnTo>
                  <a:pt x="186" y="12"/>
                </a:lnTo>
                <a:lnTo>
                  <a:pt x="192" y="12"/>
                </a:lnTo>
                <a:lnTo>
                  <a:pt x="192" y="12"/>
                </a:lnTo>
                <a:lnTo>
                  <a:pt x="192" y="18"/>
                </a:lnTo>
                <a:lnTo>
                  <a:pt x="192" y="18"/>
                </a:lnTo>
                <a:lnTo>
                  <a:pt x="192" y="18"/>
                </a:lnTo>
                <a:lnTo>
                  <a:pt x="192" y="18"/>
                </a:lnTo>
                <a:lnTo>
                  <a:pt x="192" y="24"/>
                </a:lnTo>
                <a:lnTo>
                  <a:pt x="192" y="24"/>
                </a:lnTo>
                <a:lnTo>
                  <a:pt x="192" y="24"/>
                </a:lnTo>
                <a:lnTo>
                  <a:pt x="192" y="30"/>
                </a:lnTo>
                <a:lnTo>
                  <a:pt x="192" y="30"/>
                </a:lnTo>
                <a:lnTo>
                  <a:pt x="192" y="30"/>
                </a:lnTo>
                <a:lnTo>
                  <a:pt x="192" y="30"/>
                </a:lnTo>
                <a:lnTo>
                  <a:pt x="192" y="30"/>
                </a:lnTo>
                <a:lnTo>
                  <a:pt x="198" y="36"/>
                </a:lnTo>
                <a:lnTo>
                  <a:pt x="198" y="36"/>
                </a:lnTo>
                <a:lnTo>
                  <a:pt x="198" y="36"/>
                </a:lnTo>
                <a:lnTo>
                  <a:pt x="192" y="42"/>
                </a:lnTo>
                <a:lnTo>
                  <a:pt x="192" y="42"/>
                </a:lnTo>
                <a:lnTo>
                  <a:pt x="192" y="42"/>
                </a:lnTo>
                <a:lnTo>
                  <a:pt x="192" y="42"/>
                </a:lnTo>
                <a:lnTo>
                  <a:pt x="192" y="42"/>
                </a:lnTo>
                <a:lnTo>
                  <a:pt x="192" y="48"/>
                </a:lnTo>
                <a:lnTo>
                  <a:pt x="192" y="48"/>
                </a:lnTo>
                <a:lnTo>
                  <a:pt x="192" y="54"/>
                </a:lnTo>
                <a:lnTo>
                  <a:pt x="192" y="54"/>
                </a:lnTo>
                <a:lnTo>
                  <a:pt x="192" y="54"/>
                </a:lnTo>
                <a:lnTo>
                  <a:pt x="198" y="54"/>
                </a:lnTo>
                <a:lnTo>
                  <a:pt x="198" y="60"/>
                </a:lnTo>
                <a:lnTo>
                  <a:pt x="198" y="60"/>
                </a:lnTo>
                <a:lnTo>
                  <a:pt x="198" y="60"/>
                </a:lnTo>
                <a:lnTo>
                  <a:pt x="198" y="60"/>
                </a:lnTo>
                <a:lnTo>
                  <a:pt x="204" y="60"/>
                </a:lnTo>
                <a:lnTo>
                  <a:pt x="204" y="66"/>
                </a:lnTo>
                <a:lnTo>
                  <a:pt x="204" y="60"/>
                </a:lnTo>
                <a:lnTo>
                  <a:pt x="204" y="60"/>
                </a:lnTo>
                <a:lnTo>
                  <a:pt x="204" y="66"/>
                </a:lnTo>
                <a:lnTo>
                  <a:pt x="216" y="60"/>
                </a:lnTo>
                <a:lnTo>
                  <a:pt x="216" y="60"/>
                </a:lnTo>
                <a:lnTo>
                  <a:pt x="216" y="60"/>
                </a:lnTo>
                <a:lnTo>
                  <a:pt x="222" y="60"/>
                </a:lnTo>
                <a:lnTo>
                  <a:pt x="222" y="60"/>
                </a:lnTo>
                <a:lnTo>
                  <a:pt x="222" y="60"/>
                </a:lnTo>
                <a:lnTo>
                  <a:pt x="228" y="60"/>
                </a:lnTo>
                <a:lnTo>
                  <a:pt x="228" y="60"/>
                </a:lnTo>
                <a:lnTo>
                  <a:pt x="228" y="60"/>
                </a:lnTo>
                <a:lnTo>
                  <a:pt x="234" y="66"/>
                </a:lnTo>
                <a:lnTo>
                  <a:pt x="234" y="66"/>
                </a:lnTo>
                <a:lnTo>
                  <a:pt x="234" y="66"/>
                </a:lnTo>
                <a:lnTo>
                  <a:pt x="234" y="66"/>
                </a:lnTo>
                <a:lnTo>
                  <a:pt x="234" y="66"/>
                </a:lnTo>
                <a:lnTo>
                  <a:pt x="228" y="66"/>
                </a:lnTo>
                <a:lnTo>
                  <a:pt x="234" y="66"/>
                </a:lnTo>
                <a:lnTo>
                  <a:pt x="234" y="66"/>
                </a:lnTo>
                <a:lnTo>
                  <a:pt x="234" y="66"/>
                </a:lnTo>
                <a:lnTo>
                  <a:pt x="234" y="66"/>
                </a:lnTo>
                <a:lnTo>
                  <a:pt x="234" y="72"/>
                </a:lnTo>
                <a:lnTo>
                  <a:pt x="234" y="72"/>
                </a:lnTo>
                <a:lnTo>
                  <a:pt x="234" y="72"/>
                </a:lnTo>
                <a:lnTo>
                  <a:pt x="234" y="72"/>
                </a:lnTo>
                <a:lnTo>
                  <a:pt x="234" y="72"/>
                </a:lnTo>
                <a:lnTo>
                  <a:pt x="234" y="78"/>
                </a:lnTo>
                <a:lnTo>
                  <a:pt x="234" y="78"/>
                </a:lnTo>
                <a:lnTo>
                  <a:pt x="234" y="78"/>
                </a:lnTo>
                <a:lnTo>
                  <a:pt x="240" y="78"/>
                </a:lnTo>
                <a:lnTo>
                  <a:pt x="240" y="78"/>
                </a:lnTo>
                <a:lnTo>
                  <a:pt x="240" y="78"/>
                </a:lnTo>
                <a:lnTo>
                  <a:pt x="234" y="78"/>
                </a:lnTo>
                <a:lnTo>
                  <a:pt x="234" y="84"/>
                </a:lnTo>
                <a:lnTo>
                  <a:pt x="234" y="84"/>
                </a:lnTo>
                <a:lnTo>
                  <a:pt x="240" y="84"/>
                </a:lnTo>
                <a:lnTo>
                  <a:pt x="240" y="84"/>
                </a:lnTo>
                <a:lnTo>
                  <a:pt x="240" y="84"/>
                </a:lnTo>
                <a:lnTo>
                  <a:pt x="240" y="84"/>
                </a:lnTo>
                <a:lnTo>
                  <a:pt x="234" y="84"/>
                </a:lnTo>
                <a:lnTo>
                  <a:pt x="240" y="84"/>
                </a:lnTo>
                <a:lnTo>
                  <a:pt x="240" y="90"/>
                </a:lnTo>
                <a:lnTo>
                  <a:pt x="240" y="90"/>
                </a:lnTo>
                <a:lnTo>
                  <a:pt x="234" y="90"/>
                </a:lnTo>
                <a:lnTo>
                  <a:pt x="240" y="90"/>
                </a:lnTo>
                <a:lnTo>
                  <a:pt x="234" y="90"/>
                </a:lnTo>
                <a:lnTo>
                  <a:pt x="234" y="90"/>
                </a:lnTo>
                <a:lnTo>
                  <a:pt x="234" y="90"/>
                </a:lnTo>
                <a:lnTo>
                  <a:pt x="234" y="96"/>
                </a:lnTo>
                <a:lnTo>
                  <a:pt x="234" y="96"/>
                </a:lnTo>
                <a:lnTo>
                  <a:pt x="228" y="96"/>
                </a:lnTo>
                <a:lnTo>
                  <a:pt x="228" y="96"/>
                </a:lnTo>
                <a:lnTo>
                  <a:pt x="228" y="96"/>
                </a:lnTo>
                <a:lnTo>
                  <a:pt x="228" y="102"/>
                </a:lnTo>
                <a:lnTo>
                  <a:pt x="234" y="102"/>
                </a:lnTo>
                <a:lnTo>
                  <a:pt x="234" y="102"/>
                </a:lnTo>
                <a:lnTo>
                  <a:pt x="228" y="102"/>
                </a:lnTo>
                <a:lnTo>
                  <a:pt x="228" y="102"/>
                </a:lnTo>
                <a:lnTo>
                  <a:pt x="228" y="102"/>
                </a:lnTo>
                <a:lnTo>
                  <a:pt x="228" y="102"/>
                </a:lnTo>
                <a:lnTo>
                  <a:pt x="222" y="108"/>
                </a:lnTo>
                <a:lnTo>
                  <a:pt x="222" y="108"/>
                </a:lnTo>
                <a:lnTo>
                  <a:pt x="228" y="108"/>
                </a:lnTo>
                <a:lnTo>
                  <a:pt x="228" y="108"/>
                </a:lnTo>
                <a:lnTo>
                  <a:pt x="228" y="108"/>
                </a:lnTo>
                <a:lnTo>
                  <a:pt x="228" y="108"/>
                </a:lnTo>
                <a:lnTo>
                  <a:pt x="228" y="108"/>
                </a:lnTo>
                <a:lnTo>
                  <a:pt x="228" y="108"/>
                </a:lnTo>
                <a:lnTo>
                  <a:pt x="228" y="114"/>
                </a:lnTo>
                <a:lnTo>
                  <a:pt x="228" y="114"/>
                </a:lnTo>
                <a:lnTo>
                  <a:pt x="234" y="114"/>
                </a:lnTo>
                <a:lnTo>
                  <a:pt x="228" y="120"/>
                </a:lnTo>
                <a:lnTo>
                  <a:pt x="228" y="120"/>
                </a:lnTo>
                <a:lnTo>
                  <a:pt x="228" y="120"/>
                </a:lnTo>
                <a:lnTo>
                  <a:pt x="228" y="120"/>
                </a:lnTo>
                <a:lnTo>
                  <a:pt x="228" y="126"/>
                </a:lnTo>
                <a:lnTo>
                  <a:pt x="228" y="126"/>
                </a:lnTo>
                <a:lnTo>
                  <a:pt x="228" y="126"/>
                </a:lnTo>
                <a:lnTo>
                  <a:pt x="228" y="132"/>
                </a:lnTo>
                <a:lnTo>
                  <a:pt x="228" y="132"/>
                </a:lnTo>
                <a:lnTo>
                  <a:pt x="222" y="138"/>
                </a:lnTo>
                <a:lnTo>
                  <a:pt x="222" y="138"/>
                </a:lnTo>
                <a:lnTo>
                  <a:pt x="222" y="138"/>
                </a:lnTo>
                <a:lnTo>
                  <a:pt x="216" y="138"/>
                </a:lnTo>
                <a:lnTo>
                  <a:pt x="216" y="138"/>
                </a:lnTo>
                <a:lnTo>
                  <a:pt x="216" y="138"/>
                </a:lnTo>
                <a:lnTo>
                  <a:pt x="216" y="138"/>
                </a:lnTo>
                <a:lnTo>
                  <a:pt x="216" y="138"/>
                </a:lnTo>
                <a:lnTo>
                  <a:pt x="216" y="138"/>
                </a:lnTo>
                <a:lnTo>
                  <a:pt x="216" y="138"/>
                </a:lnTo>
                <a:lnTo>
                  <a:pt x="216" y="138"/>
                </a:lnTo>
                <a:lnTo>
                  <a:pt x="216" y="138"/>
                </a:lnTo>
                <a:lnTo>
                  <a:pt x="210" y="138"/>
                </a:lnTo>
                <a:lnTo>
                  <a:pt x="210" y="138"/>
                </a:lnTo>
                <a:lnTo>
                  <a:pt x="210" y="138"/>
                </a:lnTo>
                <a:lnTo>
                  <a:pt x="210" y="144"/>
                </a:lnTo>
                <a:lnTo>
                  <a:pt x="210" y="144"/>
                </a:lnTo>
                <a:lnTo>
                  <a:pt x="210" y="144"/>
                </a:lnTo>
                <a:lnTo>
                  <a:pt x="210" y="144"/>
                </a:lnTo>
                <a:lnTo>
                  <a:pt x="204" y="144"/>
                </a:lnTo>
                <a:lnTo>
                  <a:pt x="204" y="144"/>
                </a:lnTo>
                <a:lnTo>
                  <a:pt x="204" y="144"/>
                </a:lnTo>
                <a:lnTo>
                  <a:pt x="204" y="144"/>
                </a:lnTo>
                <a:lnTo>
                  <a:pt x="210" y="144"/>
                </a:lnTo>
                <a:lnTo>
                  <a:pt x="210" y="144"/>
                </a:lnTo>
                <a:lnTo>
                  <a:pt x="204" y="150"/>
                </a:lnTo>
                <a:lnTo>
                  <a:pt x="204" y="150"/>
                </a:lnTo>
                <a:lnTo>
                  <a:pt x="204" y="150"/>
                </a:lnTo>
                <a:lnTo>
                  <a:pt x="204" y="150"/>
                </a:lnTo>
                <a:lnTo>
                  <a:pt x="204" y="150"/>
                </a:lnTo>
                <a:lnTo>
                  <a:pt x="204" y="150"/>
                </a:lnTo>
                <a:lnTo>
                  <a:pt x="204" y="150"/>
                </a:lnTo>
                <a:lnTo>
                  <a:pt x="204" y="156"/>
                </a:lnTo>
                <a:lnTo>
                  <a:pt x="204" y="156"/>
                </a:lnTo>
                <a:lnTo>
                  <a:pt x="204" y="156"/>
                </a:lnTo>
                <a:lnTo>
                  <a:pt x="204" y="156"/>
                </a:lnTo>
                <a:lnTo>
                  <a:pt x="204" y="156"/>
                </a:lnTo>
                <a:lnTo>
                  <a:pt x="204" y="156"/>
                </a:lnTo>
                <a:lnTo>
                  <a:pt x="204" y="156"/>
                </a:lnTo>
                <a:lnTo>
                  <a:pt x="204" y="156"/>
                </a:lnTo>
                <a:lnTo>
                  <a:pt x="204" y="156"/>
                </a:lnTo>
                <a:lnTo>
                  <a:pt x="198" y="156"/>
                </a:lnTo>
                <a:lnTo>
                  <a:pt x="198" y="156"/>
                </a:lnTo>
                <a:lnTo>
                  <a:pt x="198" y="162"/>
                </a:lnTo>
                <a:lnTo>
                  <a:pt x="198" y="162"/>
                </a:lnTo>
                <a:lnTo>
                  <a:pt x="192" y="162"/>
                </a:lnTo>
                <a:lnTo>
                  <a:pt x="192" y="162"/>
                </a:lnTo>
                <a:lnTo>
                  <a:pt x="192" y="162"/>
                </a:lnTo>
                <a:lnTo>
                  <a:pt x="192" y="162"/>
                </a:lnTo>
                <a:lnTo>
                  <a:pt x="192" y="162"/>
                </a:lnTo>
                <a:lnTo>
                  <a:pt x="192" y="162"/>
                </a:lnTo>
                <a:lnTo>
                  <a:pt x="186" y="162"/>
                </a:lnTo>
                <a:lnTo>
                  <a:pt x="186" y="168"/>
                </a:lnTo>
                <a:lnTo>
                  <a:pt x="186" y="168"/>
                </a:lnTo>
                <a:lnTo>
                  <a:pt x="186" y="168"/>
                </a:lnTo>
                <a:lnTo>
                  <a:pt x="186" y="168"/>
                </a:lnTo>
                <a:lnTo>
                  <a:pt x="180" y="162"/>
                </a:lnTo>
                <a:lnTo>
                  <a:pt x="180" y="168"/>
                </a:lnTo>
                <a:lnTo>
                  <a:pt x="180" y="168"/>
                </a:lnTo>
                <a:lnTo>
                  <a:pt x="180" y="168"/>
                </a:lnTo>
                <a:lnTo>
                  <a:pt x="180" y="168"/>
                </a:lnTo>
                <a:lnTo>
                  <a:pt x="174" y="168"/>
                </a:lnTo>
                <a:lnTo>
                  <a:pt x="174" y="174"/>
                </a:lnTo>
                <a:lnTo>
                  <a:pt x="174" y="174"/>
                </a:lnTo>
                <a:lnTo>
                  <a:pt x="168" y="174"/>
                </a:lnTo>
                <a:lnTo>
                  <a:pt x="168" y="174"/>
                </a:lnTo>
                <a:lnTo>
                  <a:pt x="168" y="174"/>
                </a:lnTo>
                <a:lnTo>
                  <a:pt x="168" y="174"/>
                </a:lnTo>
                <a:lnTo>
                  <a:pt x="168" y="180"/>
                </a:lnTo>
                <a:lnTo>
                  <a:pt x="168" y="180"/>
                </a:lnTo>
                <a:lnTo>
                  <a:pt x="162" y="180"/>
                </a:lnTo>
                <a:lnTo>
                  <a:pt x="162" y="180"/>
                </a:lnTo>
                <a:lnTo>
                  <a:pt x="162" y="180"/>
                </a:lnTo>
                <a:lnTo>
                  <a:pt x="162" y="180"/>
                </a:lnTo>
                <a:lnTo>
                  <a:pt x="156" y="186"/>
                </a:lnTo>
                <a:lnTo>
                  <a:pt x="156" y="186"/>
                </a:lnTo>
                <a:lnTo>
                  <a:pt x="156" y="186"/>
                </a:lnTo>
                <a:lnTo>
                  <a:pt x="156" y="180"/>
                </a:lnTo>
                <a:lnTo>
                  <a:pt x="156" y="180"/>
                </a:lnTo>
                <a:lnTo>
                  <a:pt x="150" y="180"/>
                </a:lnTo>
                <a:lnTo>
                  <a:pt x="150" y="180"/>
                </a:lnTo>
                <a:lnTo>
                  <a:pt x="156" y="180"/>
                </a:lnTo>
                <a:lnTo>
                  <a:pt x="156" y="180"/>
                </a:lnTo>
                <a:lnTo>
                  <a:pt x="150" y="180"/>
                </a:lnTo>
                <a:lnTo>
                  <a:pt x="150" y="180"/>
                </a:lnTo>
                <a:lnTo>
                  <a:pt x="144" y="186"/>
                </a:lnTo>
                <a:lnTo>
                  <a:pt x="144" y="186"/>
                </a:lnTo>
                <a:lnTo>
                  <a:pt x="138" y="186"/>
                </a:lnTo>
                <a:lnTo>
                  <a:pt x="138" y="186"/>
                </a:lnTo>
                <a:lnTo>
                  <a:pt x="138" y="186"/>
                </a:lnTo>
                <a:lnTo>
                  <a:pt x="144" y="186"/>
                </a:lnTo>
                <a:lnTo>
                  <a:pt x="144" y="186"/>
                </a:lnTo>
                <a:lnTo>
                  <a:pt x="144" y="186"/>
                </a:lnTo>
                <a:lnTo>
                  <a:pt x="144" y="192"/>
                </a:lnTo>
                <a:lnTo>
                  <a:pt x="138" y="192"/>
                </a:lnTo>
                <a:lnTo>
                  <a:pt x="138" y="192"/>
                </a:lnTo>
                <a:lnTo>
                  <a:pt x="138" y="198"/>
                </a:lnTo>
                <a:lnTo>
                  <a:pt x="132" y="198"/>
                </a:lnTo>
                <a:lnTo>
                  <a:pt x="132" y="198"/>
                </a:lnTo>
                <a:lnTo>
                  <a:pt x="132" y="198"/>
                </a:lnTo>
                <a:lnTo>
                  <a:pt x="132" y="198"/>
                </a:lnTo>
                <a:lnTo>
                  <a:pt x="132" y="198"/>
                </a:lnTo>
                <a:lnTo>
                  <a:pt x="132" y="198"/>
                </a:lnTo>
                <a:lnTo>
                  <a:pt x="132" y="204"/>
                </a:lnTo>
                <a:lnTo>
                  <a:pt x="126" y="204"/>
                </a:lnTo>
                <a:lnTo>
                  <a:pt x="126" y="204"/>
                </a:lnTo>
                <a:lnTo>
                  <a:pt x="126" y="204"/>
                </a:lnTo>
                <a:lnTo>
                  <a:pt x="120" y="210"/>
                </a:lnTo>
                <a:lnTo>
                  <a:pt x="120" y="210"/>
                </a:lnTo>
                <a:lnTo>
                  <a:pt x="120" y="210"/>
                </a:lnTo>
                <a:lnTo>
                  <a:pt x="120" y="216"/>
                </a:lnTo>
                <a:lnTo>
                  <a:pt x="114" y="216"/>
                </a:lnTo>
                <a:lnTo>
                  <a:pt x="114" y="216"/>
                </a:lnTo>
                <a:lnTo>
                  <a:pt x="114" y="210"/>
                </a:lnTo>
                <a:lnTo>
                  <a:pt x="114" y="210"/>
                </a:lnTo>
                <a:lnTo>
                  <a:pt x="102" y="204"/>
                </a:lnTo>
                <a:lnTo>
                  <a:pt x="102" y="198"/>
                </a:lnTo>
                <a:lnTo>
                  <a:pt x="102" y="198"/>
                </a:lnTo>
                <a:lnTo>
                  <a:pt x="102" y="198"/>
                </a:lnTo>
                <a:lnTo>
                  <a:pt x="102" y="198"/>
                </a:lnTo>
                <a:lnTo>
                  <a:pt x="102" y="192"/>
                </a:lnTo>
                <a:lnTo>
                  <a:pt x="102" y="192"/>
                </a:lnTo>
                <a:lnTo>
                  <a:pt x="102" y="192"/>
                </a:lnTo>
                <a:lnTo>
                  <a:pt x="96" y="192"/>
                </a:lnTo>
                <a:lnTo>
                  <a:pt x="96" y="192"/>
                </a:lnTo>
                <a:lnTo>
                  <a:pt x="96" y="198"/>
                </a:lnTo>
                <a:lnTo>
                  <a:pt x="96" y="198"/>
                </a:lnTo>
                <a:lnTo>
                  <a:pt x="96" y="198"/>
                </a:lnTo>
                <a:lnTo>
                  <a:pt x="96" y="198"/>
                </a:lnTo>
                <a:lnTo>
                  <a:pt x="96" y="198"/>
                </a:lnTo>
                <a:lnTo>
                  <a:pt x="96" y="198"/>
                </a:lnTo>
                <a:lnTo>
                  <a:pt x="90" y="198"/>
                </a:lnTo>
                <a:lnTo>
                  <a:pt x="84" y="204"/>
                </a:lnTo>
                <a:lnTo>
                  <a:pt x="84" y="204"/>
                </a:lnTo>
                <a:lnTo>
                  <a:pt x="84" y="204"/>
                </a:lnTo>
                <a:lnTo>
                  <a:pt x="84" y="204"/>
                </a:lnTo>
                <a:lnTo>
                  <a:pt x="84" y="204"/>
                </a:lnTo>
                <a:lnTo>
                  <a:pt x="84" y="204"/>
                </a:lnTo>
                <a:lnTo>
                  <a:pt x="84" y="210"/>
                </a:lnTo>
                <a:lnTo>
                  <a:pt x="84" y="210"/>
                </a:lnTo>
                <a:lnTo>
                  <a:pt x="78" y="204"/>
                </a:lnTo>
                <a:lnTo>
                  <a:pt x="78" y="204"/>
                </a:lnTo>
                <a:lnTo>
                  <a:pt x="78" y="204"/>
                </a:lnTo>
                <a:lnTo>
                  <a:pt x="78" y="210"/>
                </a:lnTo>
                <a:lnTo>
                  <a:pt x="72" y="210"/>
                </a:lnTo>
                <a:lnTo>
                  <a:pt x="72" y="210"/>
                </a:lnTo>
                <a:lnTo>
                  <a:pt x="72" y="210"/>
                </a:lnTo>
                <a:lnTo>
                  <a:pt x="72" y="210"/>
                </a:lnTo>
                <a:lnTo>
                  <a:pt x="66" y="210"/>
                </a:lnTo>
                <a:lnTo>
                  <a:pt x="66" y="210"/>
                </a:lnTo>
                <a:lnTo>
                  <a:pt x="66" y="210"/>
                </a:lnTo>
                <a:lnTo>
                  <a:pt x="66" y="210"/>
                </a:lnTo>
                <a:lnTo>
                  <a:pt x="66" y="216"/>
                </a:lnTo>
                <a:lnTo>
                  <a:pt x="66" y="216"/>
                </a:lnTo>
                <a:lnTo>
                  <a:pt x="66" y="216"/>
                </a:lnTo>
                <a:lnTo>
                  <a:pt x="66" y="216"/>
                </a:lnTo>
                <a:lnTo>
                  <a:pt x="60" y="210"/>
                </a:lnTo>
                <a:lnTo>
                  <a:pt x="60" y="210"/>
                </a:lnTo>
                <a:lnTo>
                  <a:pt x="54" y="210"/>
                </a:lnTo>
                <a:lnTo>
                  <a:pt x="54" y="210"/>
                </a:lnTo>
                <a:lnTo>
                  <a:pt x="54" y="210"/>
                </a:lnTo>
                <a:lnTo>
                  <a:pt x="54" y="210"/>
                </a:lnTo>
                <a:lnTo>
                  <a:pt x="54" y="210"/>
                </a:lnTo>
                <a:lnTo>
                  <a:pt x="54" y="210"/>
                </a:lnTo>
                <a:lnTo>
                  <a:pt x="48" y="210"/>
                </a:lnTo>
                <a:lnTo>
                  <a:pt x="48" y="210"/>
                </a:lnTo>
                <a:lnTo>
                  <a:pt x="42" y="210"/>
                </a:lnTo>
                <a:lnTo>
                  <a:pt x="42" y="210"/>
                </a:lnTo>
                <a:lnTo>
                  <a:pt x="36" y="210"/>
                </a:lnTo>
                <a:lnTo>
                  <a:pt x="36" y="210"/>
                </a:lnTo>
                <a:lnTo>
                  <a:pt x="36" y="204"/>
                </a:lnTo>
                <a:lnTo>
                  <a:pt x="30" y="204"/>
                </a:lnTo>
                <a:lnTo>
                  <a:pt x="30" y="204"/>
                </a:lnTo>
                <a:lnTo>
                  <a:pt x="30" y="204"/>
                </a:lnTo>
                <a:lnTo>
                  <a:pt x="36" y="198"/>
                </a:lnTo>
                <a:lnTo>
                  <a:pt x="36" y="198"/>
                </a:lnTo>
                <a:lnTo>
                  <a:pt x="30" y="198"/>
                </a:lnTo>
                <a:lnTo>
                  <a:pt x="30" y="198"/>
                </a:lnTo>
                <a:lnTo>
                  <a:pt x="30" y="198"/>
                </a:lnTo>
                <a:lnTo>
                  <a:pt x="30" y="192"/>
                </a:lnTo>
                <a:lnTo>
                  <a:pt x="30" y="192"/>
                </a:lnTo>
                <a:lnTo>
                  <a:pt x="30" y="192"/>
                </a:lnTo>
                <a:lnTo>
                  <a:pt x="30" y="186"/>
                </a:lnTo>
                <a:lnTo>
                  <a:pt x="30" y="186"/>
                </a:lnTo>
                <a:lnTo>
                  <a:pt x="30" y="186"/>
                </a:lnTo>
                <a:lnTo>
                  <a:pt x="30" y="186"/>
                </a:lnTo>
                <a:lnTo>
                  <a:pt x="30" y="180"/>
                </a:lnTo>
                <a:lnTo>
                  <a:pt x="30" y="180"/>
                </a:lnTo>
                <a:lnTo>
                  <a:pt x="30" y="180"/>
                </a:lnTo>
                <a:lnTo>
                  <a:pt x="30" y="174"/>
                </a:lnTo>
                <a:lnTo>
                  <a:pt x="30" y="174"/>
                </a:lnTo>
                <a:lnTo>
                  <a:pt x="24" y="174"/>
                </a:lnTo>
                <a:lnTo>
                  <a:pt x="24" y="174"/>
                </a:lnTo>
                <a:lnTo>
                  <a:pt x="24" y="174"/>
                </a:lnTo>
                <a:lnTo>
                  <a:pt x="24" y="174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2"/>
                </a:lnTo>
                <a:lnTo>
                  <a:pt x="24" y="162"/>
                </a:lnTo>
                <a:lnTo>
                  <a:pt x="24" y="162"/>
                </a:lnTo>
                <a:lnTo>
                  <a:pt x="18" y="162"/>
                </a:lnTo>
                <a:lnTo>
                  <a:pt x="18" y="156"/>
                </a:lnTo>
                <a:lnTo>
                  <a:pt x="24" y="156"/>
                </a:lnTo>
                <a:lnTo>
                  <a:pt x="24" y="150"/>
                </a:lnTo>
                <a:lnTo>
                  <a:pt x="18" y="156"/>
                </a:lnTo>
                <a:lnTo>
                  <a:pt x="18" y="156"/>
                </a:lnTo>
                <a:lnTo>
                  <a:pt x="18" y="156"/>
                </a:lnTo>
                <a:lnTo>
                  <a:pt x="18" y="156"/>
                </a:lnTo>
                <a:lnTo>
                  <a:pt x="18" y="156"/>
                </a:lnTo>
                <a:lnTo>
                  <a:pt x="18" y="150"/>
                </a:lnTo>
                <a:lnTo>
                  <a:pt x="18" y="150"/>
                </a:lnTo>
                <a:lnTo>
                  <a:pt x="12" y="150"/>
                </a:lnTo>
                <a:lnTo>
                  <a:pt x="12" y="150"/>
                </a:lnTo>
                <a:lnTo>
                  <a:pt x="12" y="144"/>
                </a:lnTo>
                <a:lnTo>
                  <a:pt x="12" y="144"/>
                </a:lnTo>
                <a:lnTo>
                  <a:pt x="12" y="144"/>
                </a:lnTo>
                <a:lnTo>
                  <a:pt x="18" y="144"/>
                </a:lnTo>
                <a:lnTo>
                  <a:pt x="18" y="144"/>
                </a:lnTo>
                <a:lnTo>
                  <a:pt x="18" y="144"/>
                </a:lnTo>
                <a:lnTo>
                  <a:pt x="18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2"/>
                </a:lnTo>
                <a:lnTo>
                  <a:pt x="6" y="132"/>
                </a:lnTo>
                <a:lnTo>
                  <a:pt x="6" y="13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800" name="Freeform 533"/>
          <p:cNvSpPr>
            <a:spLocks/>
          </p:cNvSpPr>
          <p:nvPr/>
        </p:nvSpPr>
        <p:spPr bwMode="auto">
          <a:xfrm>
            <a:off x="6671981" y="2888730"/>
            <a:ext cx="353323" cy="308357"/>
          </a:xfrm>
          <a:custGeom>
            <a:avLst/>
            <a:gdLst>
              <a:gd name="T0" fmla="*/ 24 w 330"/>
              <a:gd name="T1" fmla="*/ 90 h 288"/>
              <a:gd name="T2" fmla="*/ 36 w 330"/>
              <a:gd name="T3" fmla="*/ 90 h 288"/>
              <a:gd name="T4" fmla="*/ 54 w 330"/>
              <a:gd name="T5" fmla="*/ 90 h 288"/>
              <a:gd name="T6" fmla="*/ 66 w 330"/>
              <a:gd name="T7" fmla="*/ 84 h 288"/>
              <a:gd name="T8" fmla="*/ 84 w 330"/>
              <a:gd name="T9" fmla="*/ 72 h 288"/>
              <a:gd name="T10" fmla="*/ 102 w 330"/>
              <a:gd name="T11" fmla="*/ 60 h 288"/>
              <a:gd name="T12" fmla="*/ 120 w 330"/>
              <a:gd name="T13" fmla="*/ 42 h 288"/>
              <a:gd name="T14" fmla="*/ 138 w 330"/>
              <a:gd name="T15" fmla="*/ 12 h 288"/>
              <a:gd name="T16" fmla="*/ 156 w 330"/>
              <a:gd name="T17" fmla="*/ 6 h 288"/>
              <a:gd name="T18" fmla="*/ 168 w 330"/>
              <a:gd name="T19" fmla="*/ 18 h 288"/>
              <a:gd name="T20" fmla="*/ 192 w 330"/>
              <a:gd name="T21" fmla="*/ 6 h 288"/>
              <a:gd name="T22" fmla="*/ 204 w 330"/>
              <a:gd name="T23" fmla="*/ 24 h 288"/>
              <a:gd name="T24" fmla="*/ 216 w 330"/>
              <a:gd name="T25" fmla="*/ 30 h 288"/>
              <a:gd name="T26" fmla="*/ 222 w 330"/>
              <a:gd name="T27" fmla="*/ 48 h 288"/>
              <a:gd name="T28" fmla="*/ 228 w 330"/>
              <a:gd name="T29" fmla="*/ 66 h 288"/>
              <a:gd name="T30" fmla="*/ 234 w 330"/>
              <a:gd name="T31" fmla="*/ 42 h 288"/>
              <a:gd name="T32" fmla="*/ 240 w 330"/>
              <a:gd name="T33" fmla="*/ 60 h 288"/>
              <a:gd name="T34" fmla="*/ 252 w 330"/>
              <a:gd name="T35" fmla="*/ 54 h 288"/>
              <a:gd name="T36" fmla="*/ 258 w 330"/>
              <a:gd name="T37" fmla="*/ 54 h 288"/>
              <a:gd name="T38" fmla="*/ 270 w 330"/>
              <a:gd name="T39" fmla="*/ 48 h 288"/>
              <a:gd name="T40" fmla="*/ 276 w 330"/>
              <a:gd name="T41" fmla="*/ 54 h 288"/>
              <a:gd name="T42" fmla="*/ 270 w 330"/>
              <a:gd name="T43" fmla="*/ 84 h 288"/>
              <a:gd name="T44" fmla="*/ 282 w 330"/>
              <a:gd name="T45" fmla="*/ 96 h 288"/>
              <a:gd name="T46" fmla="*/ 270 w 330"/>
              <a:gd name="T47" fmla="*/ 132 h 288"/>
              <a:gd name="T48" fmla="*/ 258 w 330"/>
              <a:gd name="T49" fmla="*/ 150 h 288"/>
              <a:gd name="T50" fmla="*/ 270 w 330"/>
              <a:gd name="T51" fmla="*/ 156 h 288"/>
              <a:gd name="T52" fmla="*/ 288 w 330"/>
              <a:gd name="T53" fmla="*/ 180 h 288"/>
              <a:gd name="T54" fmla="*/ 300 w 330"/>
              <a:gd name="T55" fmla="*/ 192 h 288"/>
              <a:gd name="T56" fmla="*/ 312 w 330"/>
              <a:gd name="T57" fmla="*/ 198 h 288"/>
              <a:gd name="T58" fmla="*/ 318 w 330"/>
              <a:gd name="T59" fmla="*/ 204 h 288"/>
              <a:gd name="T60" fmla="*/ 324 w 330"/>
              <a:gd name="T61" fmla="*/ 222 h 288"/>
              <a:gd name="T62" fmla="*/ 330 w 330"/>
              <a:gd name="T63" fmla="*/ 234 h 288"/>
              <a:gd name="T64" fmla="*/ 318 w 330"/>
              <a:gd name="T65" fmla="*/ 252 h 288"/>
              <a:gd name="T66" fmla="*/ 288 w 330"/>
              <a:gd name="T67" fmla="*/ 264 h 288"/>
              <a:gd name="T68" fmla="*/ 252 w 330"/>
              <a:gd name="T69" fmla="*/ 276 h 288"/>
              <a:gd name="T70" fmla="*/ 228 w 330"/>
              <a:gd name="T71" fmla="*/ 288 h 288"/>
              <a:gd name="T72" fmla="*/ 216 w 330"/>
              <a:gd name="T73" fmla="*/ 282 h 288"/>
              <a:gd name="T74" fmla="*/ 198 w 330"/>
              <a:gd name="T75" fmla="*/ 276 h 288"/>
              <a:gd name="T76" fmla="*/ 204 w 330"/>
              <a:gd name="T77" fmla="*/ 258 h 288"/>
              <a:gd name="T78" fmla="*/ 204 w 330"/>
              <a:gd name="T79" fmla="*/ 240 h 288"/>
              <a:gd name="T80" fmla="*/ 186 w 330"/>
              <a:gd name="T81" fmla="*/ 246 h 288"/>
              <a:gd name="T82" fmla="*/ 168 w 330"/>
              <a:gd name="T83" fmla="*/ 234 h 288"/>
              <a:gd name="T84" fmla="*/ 162 w 330"/>
              <a:gd name="T85" fmla="*/ 234 h 288"/>
              <a:gd name="T86" fmla="*/ 156 w 330"/>
              <a:gd name="T87" fmla="*/ 252 h 288"/>
              <a:gd name="T88" fmla="*/ 132 w 330"/>
              <a:gd name="T89" fmla="*/ 246 h 288"/>
              <a:gd name="T90" fmla="*/ 114 w 330"/>
              <a:gd name="T91" fmla="*/ 234 h 288"/>
              <a:gd name="T92" fmla="*/ 114 w 330"/>
              <a:gd name="T93" fmla="*/ 210 h 288"/>
              <a:gd name="T94" fmla="*/ 114 w 330"/>
              <a:gd name="T95" fmla="*/ 192 h 288"/>
              <a:gd name="T96" fmla="*/ 108 w 330"/>
              <a:gd name="T97" fmla="*/ 186 h 288"/>
              <a:gd name="T98" fmla="*/ 96 w 330"/>
              <a:gd name="T99" fmla="*/ 186 h 288"/>
              <a:gd name="T100" fmla="*/ 96 w 330"/>
              <a:gd name="T101" fmla="*/ 228 h 288"/>
              <a:gd name="T102" fmla="*/ 84 w 330"/>
              <a:gd name="T103" fmla="*/ 240 h 288"/>
              <a:gd name="T104" fmla="*/ 84 w 330"/>
              <a:gd name="T105" fmla="*/ 222 h 288"/>
              <a:gd name="T106" fmla="*/ 72 w 330"/>
              <a:gd name="T107" fmla="*/ 210 h 288"/>
              <a:gd name="T108" fmla="*/ 66 w 330"/>
              <a:gd name="T109" fmla="*/ 198 h 288"/>
              <a:gd name="T110" fmla="*/ 60 w 330"/>
              <a:gd name="T111" fmla="*/ 180 h 288"/>
              <a:gd name="T112" fmla="*/ 48 w 330"/>
              <a:gd name="T113" fmla="*/ 162 h 288"/>
              <a:gd name="T114" fmla="*/ 60 w 330"/>
              <a:gd name="T115" fmla="*/ 144 h 288"/>
              <a:gd name="T116" fmla="*/ 42 w 330"/>
              <a:gd name="T117" fmla="*/ 144 h 288"/>
              <a:gd name="T118" fmla="*/ 42 w 330"/>
              <a:gd name="T119" fmla="*/ 120 h 288"/>
              <a:gd name="T120" fmla="*/ 24 w 330"/>
              <a:gd name="T121" fmla="*/ 108 h 288"/>
              <a:gd name="T122" fmla="*/ 6 w 330"/>
              <a:gd name="T123" fmla="*/ 108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30" h="288">
                <a:moveTo>
                  <a:pt x="6" y="96"/>
                </a:move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0"/>
                </a:lnTo>
                <a:lnTo>
                  <a:pt x="18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0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78"/>
                </a:lnTo>
                <a:lnTo>
                  <a:pt x="66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84" y="72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8" y="60"/>
                </a:lnTo>
                <a:lnTo>
                  <a:pt x="108" y="54"/>
                </a:lnTo>
                <a:lnTo>
                  <a:pt x="108" y="54"/>
                </a:lnTo>
                <a:lnTo>
                  <a:pt x="108" y="60"/>
                </a:lnTo>
                <a:lnTo>
                  <a:pt x="114" y="60"/>
                </a:lnTo>
                <a:lnTo>
                  <a:pt x="114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6" y="54"/>
                </a:lnTo>
                <a:lnTo>
                  <a:pt x="126" y="54"/>
                </a:lnTo>
                <a:lnTo>
                  <a:pt x="120" y="54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36"/>
                </a:lnTo>
                <a:lnTo>
                  <a:pt x="120" y="36"/>
                </a:lnTo>
                <a:lnTo>
                  <a:pt x="126" y="36"/>
                </a:lnTo>
                <a:lnTo>
                  <a:pt x="126" y="30"/>
                </a:lnTo>
                <a:lnTo>
                  <a:pt x="126" y="30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8" y="12"/>
                </a:lnTo>
                <a:lnTo>
                  <a:pt x="132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50" y="0"/>
                </a:lnTo>
                <a:lnTo>
                  <a:pt x="150" y="0"/>
                </a:lnTo>
                <a:lnTo>
                  <a:pt x="150" y="0"/>
                </a:lnTo>
                <a:lnTo>
                  <a:pt x="150" y="0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8" y="12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86" y="0"/>
                </a:lnTo>
                <a:lnTo>
                  <a:pt x="186" y="0"/>
                </a:lnTo>
                <a:lnTo>
                  <a:pt x="186" y="0"/>
                </a:lnTo>
                <a:lnTo>
                  <a:pt x="186" y="0"/>
                </a:lnTo>
                <a:lnTo>
                  <a:pt x="186" y="0"/>
                </a:lnTo>
                <a:lnTo>
                  <a:pt x="186" y="0"/>
                </a:lnTo>
                <a:lnTo>
                  <a:pt x="186" y="0"/>
                </a:lnTo>
                <a:lnTo>
                  <a:pt x="186" y="0"/>
                </a:lnTo>
                <a:lnTo>
                  <a:pt x="186" y="0"/>
                </a:lnTo>
                <a:lnTo>
                  <a:pt x="186" y="0"/>
                </a:lnTo>
                <a:lnTo>
                  <a:pt x="186" y="0"/>
                </a:lnTo>
                <a:lnTo>
                  <a:pt x="186" y="0"/>
                </a:lnTo>
                <a:lnTo>
                  <a:pt x="186" y="6"/>
                </a:lnTo>
                <a:lnTo>
                  <a:pt x="186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12"/>
                </a:lnTo>
                <a:lnTo>
                  <a:pt x="198" y="12"/>
                </a:lnTo>
                <a:lnTo>
                  <a:pt x="198" y="6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2"/>
                </a:lnTo>
                <a:lnTo>
                  <a:pt x="204" y="12"/>
                </a:lnTo>
                <a:lnTo>
                  <a:pt x="204" y="18"/>
                </a:lnTo>
                <a:lnTo>
                  <a:pt x="204" y="18"/>
                </a:lnTo>
                <a:lnTo>
                  <a:pt x="204" y="18"/>
                </a:lnTo>
                <a:lnTo>
                  <a:pt x="204" y="24"/>
                </a:lnTo>
                <a:lnTo>
                  <a:pt x="204" y="24"/>
                </a:lnTo>
                <a:lnTo>
                  <a:pt x="204" y="24"/>
                </a:lnTo>
                <a:lnTo>
                  <a:pt x="204" y="24"/>
                </a:lnTo>
                <a:lnTo>
                  <a:pt x="204" y="24"/>
                </a:lnTo>
                <a:lnTo>
                  <a:pt x="204" y="24"/>
                </a:lnTo>
                <a:lnTo>
                  <a:pt x="204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0" y="24"/>
                </a:lnTo>
                <a:lnTo>
                  <a:pt x="216" y="24"/>
                </a:lnTo>
                <a:lnTo>
                  <a:pt x="216" y="24"/>
                </a:lnTo>
                <a:lnTo>
                  <a:pt x="216" y="24"/>
                </a:lnTo>
                <a:lnTo>
                  <a:pt x="216" y="30"/>
                </a:lnTo>
                <a:lnTo>
                  <a:pt x="216" y="30"/>
                </a:lnTo>
                <a:lnTo>
                  <a:pt x="216" y="30"/>
                </a:lnTo>
                <a:lnTo>
                  <a:pt x="216" y="30"/>
                </a:lnTo>
                <a:lnTo>
                  <a:pt x="222" y="30"/>
                </a:lnTo>
                <a:lnTo>
                  <a:pt x="222" y="30"/>
                </a:lnTo>
                <a:lnTo>
                  <a:pt x="222" y="30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48"/>
                </a:lnTo>
                <a:lnTo>
                  <a:pt x="222" y="48"/>
                </a:lnTo>
                <a:lnTo>
                  <a:pt x="222" y="48"/>
                </a:lnTo>
                <a:lnTo>
                  <a:pt x="222" y="48"/>
                </a:lnTo>
                <a:lnTo>
                  <a:pt x="222" y="48"/>
                </a:lnTo>
                <a:lnTo>
                  <a:pt x="222" y="48"/>
                </a:lnTo>
                <a:lnTo>
                  <a:pt x="222" y="48"/>
                </a:lnTo>
                <a:lnTo>
                  <a:pt x="222" y="48"/>
                </a:lnTo>
                <a:lnTo>
                  <a:pt x="222" y="54"/>
                </a:lnTo>
                <a:lnTo>
                  <a:pt x="222" y="54"/>
                </a:lnTo>
                <a:lnTo>
                  <a:pt x="222" y="54"/>
                </a:lnTo>
                <a:lnTo>
                  <a:pt x="222" y="54"/>
                </a:lnTo>
                <a:lnTo>
                  <a:pt x="222" y="54"/>
                </a:lnTo>
                <a:lnTo>
                  <a:pt x="222" y="54"/>
                </a:lnTo>
                <a:lnTo>
                  <a:pt x="222" y="60"/>
                </a:lnTo>
                <a:lnTo>
                  <a:pt x="222" y="60"/>
                </a:lnTo>
                <a:lnTo>
                  <a:pt x="222" y="60"/>
                </a:lnTo>
                <a:lnTo>
                  <a:pt x="222" y="60"/>
                </a:lnTo>
                <a:lnTo>
                  <a:pt x="222" y="60"/>
                </a:lnTo>
                <a:lnTo>
                  <a:pt x="222" y="66"/>
                </a:lnTo>
                <a:lnTo>
                  <a:pt x="222" y="66"/>
                </a:lnTo>
                <a:lnTo>
                  <a:pt x="222" y="66"/>
                </a:lnTo>
                <a:lnTo>
                  <a:pt x="228" y="66"/>
                </a:lnTo>
                <a:lnTo>
                  <a:pt x="228" y="60"/>
                </a:lnTo>
                <a:lnTo>
                  <a:pt x="222" y="60"/>
                </a:lnTo>
                <a:lnTo>
                  <a:pt x="228" y="60"/>
                </a:lnTo>
                <a:lnTo>
                  <a:pt x="228" y="54"/>
                </a:lnTo>
                <a:lnTo>
                  <a:pt x="228" y="54"/>
                </a:lnTo>
                <a:lnTo>
                  <a:pt x="228" y="54"/>
                </a:lnTo>
                <a:lnTo>
                  <a:pt x="228" y="54"/>
                </a:lnTo>
                <a:lnTo>
                  <a:pt x="228" y="48"/>
                </a:lnTo>
                <a:lnTo>
                  <a:pt x="228" y="48"/>
                </a:lnTo>
                <a:lnTo>
                  <a:pt x="228" y="48"/>
                </a:lnTo>
                <a:lnTo>
                  <a:pt x="228" y="48"/>
                </a:lnTo>
                <a:lnTo>
                  <a:pt x="228" y="42"/>
                </a:lnTo>
                <a:lnTo>
                  <a:pt x="234" y="42"/>
                </a:lnTo>
                <a:lnTo>
                  <a:pt x="234" y="42"/>
                </a:lnTo>
                <a:lnTo>
                  <a:pt x="234" y="42"/>
                </a:lnTo>
                <a:lnTo>
                  <a:pt x="234" y="42"/>
                </a:lnTo>
                <a:lnTo>
                  <a:pt x="234" y="42"/>
                </a:lnTo>
                <a:lnTo>
                  <a:pt x="234" y="42"/>
                </a:lnTo>
                <a:lnTo>
                  <a:pt x="234" y="42"/>
                </a:lnTo>
                <a:lnTo>
                  <a:pt x="234" y="42"/>
                </a:lnTo>
                <a:lnTo>
                  <a:pt x="234" y="42"/>
                </a:lnTo>
                <a:lnTo>
                  <a:pt x="234" y="48"/>
                </a:lnTo>
                <a:lnTo>
                  <a:pt x="234" y="48"/>
                </a:lnTo>
                <a:lnTo>
                  <a:pt x="234" y="48"/>
                </a:lnTo>
                <a:lnTo>
                  <a:pt x="234" y="48"/>
                </a:lnTo>
                <a:lnTo>
                  <a:pt x="234" y="48"/>
                </a:lnTo>
                <a:lnTo>
                  <a:pt x="234" y="48"/>
                </a:lnTo>
                <a:lnTo>
                  <a:pt x="234" y="48"/>
                </a:lnTo>
                <a:lnTo>
                  <a:pt x="234" y="54"/>
                </a:lnTo>
                <a:lnTo>
                  <a:pt x="234" y="54"/>
                </a:lnTo>
                <a:lnTo>
                  <a:pt x="234" y="54"/>
                </a:lnTo>
                <a:lnTo>
                  <a:pt x="234" y="54"/>
                </a:lnTo>
                <a:lnTo>
                  <a:pt x="234" y="54"/>
                </a:lnTo>
                <a:lnTo>
                  <a:pt x="234" y="54"/>
                </a:lnTo>
                <a:lnTo>
                  <a:pt x="240" y="54"/>
                </a:lnTo>
                <a:lnTo>
                  <a:pt x="240" y="60"/>
                </a:lnTo>
                <a:lnTo>
                  <a:pt x="240" y="60"/>
                </a:lnTo>
                <a:lnTo>
                  <a:pt x="240" y="60"/>
                </a:lnTo>
                <a:lnTo>
                  <a:pt x="240" y="60"/>
                </a:lnTo>
                <a:lnTo>
                  <a:pt x="240" y="60"/>
                </a:lnTo>
                <a:lnTo>
                  <a:pt x="240" y="60"/>
                </a:lnTo>
                <a:lnTo>
                  <a:pt x="240" y="60"/>
                </a:lnTo>
                <a:lnTo>
                  <a:pt x="240" y="60"/>
                </a:lnTo>
                <a:lnTo>
                  <a:pt x="240" y="60"/>
                </a:lnTo>
                <a:lnTo>
                  <a:pt x="240" y="60"/>
                </a:lnTo>
                <a:lnTo>
                  <a:pt x="240" y="60"/>
                </a:lnTo>
                <a:lnTo>
                  <a:pt x="240" y="60"/>
                </a:lnTo>
                <a:lnTo>
                  <a:pt x="240" y="60"/>
                </a:lnTo>
                <a:lnTo>
                  <a:pt x="240" y="60"/>
                </a:lnTo>
                <a:lnTo>
                  <a:pt x="246" y="60"/>
                </a:lnTo>
                <a:lnTo>
                  <a:pt x="246" y="60"/>
                </a:lnTo>
                <a:lnTo>
                  <a:pt x="246" y="60"/>
                </a:lnTo>
                <a:lnTo>
                  <a:pt x="246" y="60"/>
                </a:lnTo>
                <a:lnTo>
                  <a:pt x="246" y="60"/>
                </a:lnTo>
                <a:lnTo>
                  <a:pt x="246" y="60"/>
                </a:lnTo>
                <a:lnTo>
                  <a:pt x="246" y="60"/>
                </a:lnTo>
                <a:lnTo>
                  <a:pt x="246" y="60"/>
                </a:lnTo>
                <a:lnTo>
                  <a:pt x="252" y="54"/>
                </a:lnTo>
                <a:lnTo>
                  <a:pt x="252" y="54"/>
                </a:lnTo>
                <a:lnTo>
                  <a:pt x="252" y="54"/>
                </a:lnTo>
                <a:lnTo>
                  <a:pt x="252" y="54"/>
                </a:lnTo>
                <a:lnTo>
                  <a:pt x="252" y="54"/>
                </a:lnTo>
                <a:lnTo>
                  <a:pt x="252" y="60"/>
                </a:lnTo>
                <a:lnTo>
                  <a:pt x="252" y="54"/>
                </a:lnTo>
                <a:lnTo>
                  <a:pt x="252" y="54"/>
                </a:lnTo>
                <a:lnTo>
                  <a:pt x="252" y="54"/>
                </a:lnTo>
                <a:lnTo>
                  <a:pt x="252" y="54"/>
                </a:lnTo>
                <a:lnTo>
                  <a:pt x="252" y="54"/>
                </a:lnTo>
                <a:lnTo>
                  <a:pt x="258" y="54"/>
                </a:lnTo>
                <a:lnTo>
                  <a:pt x="258" y="54"/>
                </a:lnTo>
                <a:lnTo>
                  <a:pt x="258" y="54"/>
                </a:lnTo>
                <a:lnTo>
                  <a:pt x="258" y="54"/>
                </a:lnTo>
                <a:lnTo>
                  <a:pt x="258" y="54"/>
                </a:lnTo>
                <a:lnTo>
                  <a:pt x="258" y="54"/>
                </a:lnTo>
                <a:lnTo>
                  <a:pt x="258" y="54"/>
                </a:lnTo>
                <a:lnTo>
                  <a:pt x="258" y="54"/>
                </a:lnTo>
                <a:lnTo>
                  <a:pt x="258" y="54"/>
                </a:lnTo>
                <a:lnTo>
                  <a:pt x="258" y="54"/>
                </a:lnTo>
                <a:lnTo>
                  <a:pt x="258" y="54"/>
                </a:lnTo>
                <a:lnTo>
                  <a:pt x="258" y="54"/>
                </a:lnTo>
                <a:lnTo>
                  <a:pt x="258" y="54"/>
                </a:lnTo>
                <a:lnTo>
                  <a:pt x="258" y="54"/>
                </a:lnTo>
                <a:lnTo>
                  <a:pt x="258" y="54"/>
                </a:lnTo>
                <a:lnTo>
                  <a:pt x="264" y="48"/>
                </a:lnTo>
                <a:lnTo>
                  <a:pt x="264" y="48"/>
                </a:lnTo>
                <a:lnTo>
                  <a:pt x="264" y="54"/>
                </a:lnTo>
                <a:lnTo>
                  <a:pt x="264" y="48"/>
                </a:lnTo>
                <a:lnTo>
                  <a:pt x="264" y="54"/>
                </a:lnTo>
                <a:lnTo>
                  <a:pt x="264" y="48"/>
                </a:lnTo>
                <a:lnTo>
                  <a:pt x="264" y="48"/>
                </a:lnTo>
                <a:lnTo>
                  <a:pt x="264" y="48"/>
                </a:lnTo>
                <a:lnTo>
                  <a:pt x="264" y="48"/>
                </a:lnTo>
                <a:lnTo>
                  <a:pt x="264" y="48"/>
                </a:lnTo>
                <a:lnTo>
                  <a:pt x="264" y="48"/>
                </a:lnTo>
                <a:lnTo>
                  <a:pt x="270" y="48"/>
                </a:lnTo>
                <a:lnTo>
                  <a:pt x="270" y="48"/>
                </a:lnTo>
                <a:lnTo>
                  <a:pt x="270" y="48"/>
                </a:lnTo>
                <a:lnTo>
                  <a:pt x="270" y="48"/>
                </a:lnTo>
                <a:lnTo>
                  <a:pt x="270" y="48"/>
                </a:lnTo>
                <a:lnTo>
                  <a:pt x="270" y="48"/>
                </a:lnTo>
                <a:lnTo>
                  <a:pt x="270" y="48"/>
                </a:lnTo>
                <a:lnTo>
                  <a:pt x="270" y="48"/>
                </a:lnTo>
                <a:lnTo>
                  <a:pt x="276" y="42"/>
                </a:lnTo>
                <a:lnTo>
                  <a:pt x="270" y="42"/>
                </a:lnTo>
                <a:lnTo>
                  <a:pt x="276" y="42"/>
                </a:lnTo>
                <a:lnTo>
                  <a:pt x="276" y="42"/>
                </a:lnTo>
                <a:lnTo>
                  <a:pt x="276" y="42"/>
                </a:lnTo>
                <a:lnTo>
                  <a:pt x="276" y="42"/>
                </a:lnTo>
                <a:lnTo>
                  <a:pt x="276" y="42"/>
                </a:lnTo>
                <a:lnTo>
                  <a:pt x="276" y="42"/>
                </a:lnTo>
                <a:lnTo>
                  <a:pt x="276" y="42"/>
                </a:lnTo>
                <a:lnTo>
                  <a:pt x="276" y="48"/>
                </a:lnTo>
                <a:lnTo>
                  <a:pt x="276" y="48"/>
                </a:lnTo>
                <a:lnTo>
                  <a:pt x="276" y="48"/>
                </a:lnTo>
                <a:lnTo>
                  <a:pt x="276" y="48"/>
                </a:lnTo>
                <a:lnTo>
                  <a:pt x="276" y="48"/>
                </a:lnTo>
                <a:lnTo>
                  <a:pt x="276" y="48"/>
                </a:lnTo>
                <a:lnTo>
                  <a:pt x="276" y="48"/>
                </a:lnTo>
                <a:lnTo>
                  <a:pt x="276" y="54"/>
                </a:lnTo>
                <a:lnTo>
                  <a:pt x="276" y="54"/>
                </a:lnTo>
                <a:lnTo>
                  <a:pt x="276" y="54"/>
                </a:lnTo>
                <a:lnTo>
                  <a:pt x="276" y="54"/>
                </a:lnTo>
                <a:lnTo>
                  <a:pt x="276" y="54"/>
                </a:lnTo>
                <a:lnTo>
                  <a:pt x="276" y="54"/>
                </a:lnTo>
                <a:lnTo>
                  <a:pt x="276" y="54"/>
                </a:lnTo>
                <a:lnTo>
                  <a:pt x="276" y="60"/>
                </a:lnTo>
                <a:lnTo>
                  <a:pt x="276" y="60"/>
                </a:lnTo>
                <a:lnTo>
                  <a:pt x="276" y="66"/>
                </a:lnTo>
                <a:lnTo>
                  <a:pt x="276" y="66"/>
                </a:lnTo>
                <a:lnTo>
                  <a:pt x="276" y="66"/>
                </a:lnTo>
                <a:lnTo>
                  <a:pt x="276" y="72"/>
                </a:lnTo>
                <a:lnTo>
                  <a:pt x="276" y="72"/>
                </a:lnTo>
                <a:lnTo>
                  <a:pt x="276" y="78"/>
                </a:lnTo>
                <a:lnTo>
                  <a:pt x="276" y="78"/>
                </a:lnTo>
                <a:lnTo>
                  <a:pt x="276" y="84"/>
                </a:lnTo>
                <a:lnTo>
                  <a:pt x="276" y="84"/>
                </a:lnTo>
                <a:lnTo>
                  <a:pt x="276" y="84"/>
                </a:lnTo>
                <a:lnTo>
                  <a:pt x="276" y="78"/>
                </a:lnTo>
                <a:lnTo>
                  <a:pt x="276" y="78"/>
                </a:lnTo>
                <a:lnTo>
                  <a:pt x="270" y="84"/>
                </a:lnTo>
                <a:lnTo>
                  <a:pt x="270" y="84"/>
                </a:lnTo>
                <a:lnTo>
                  <a:pt x="270" y="84"/>
                </a:lnTo>
                <a:lnTo>
                  <a:pt x="270" y="84"/>
                </a:lnTo>
                <a:lnTo>
                  <a:pt x="270" y="84"/>
                </a:lnTo>
                <a:lnTo>
                  <a:pt x="276" y="90"/>
                </a:lnTo>
                <a:lnTo>
                  <a:pt x="276" y="84"/>
                </a:lnTo>
                <a:lnTo>
                  <a:pt x="276" y="84"/>
                </a:lnTo>
                <a:lnTo>
                  <a:pt x="276" y="90"/>
                </a:lnTo>
                <a:lnTo>
                  <a:pt x="276" y="90"/>
                </a:lnTo>
                <a:lnTo>
                  <a:pt x="276" y="90"/>
                </a:lnTo>
                <a:lnTo>
                  <a:pt x="282" y="90"/>
                </a:lnTo>
                <a:lnTo>
                  <a:pt x="282" y="90"/>
                </a:lnTo>
                <a:lnTo>
                  <a:pt x="282" y="96"/>
                </a:lnTo>
                <a:lnTo>
                  <a:pt x="282" y="96"/>
                </a:lnTo>
                <a:lnTo>
                  <a:pt x="282" y="96"/>
                </a:lnTo>
                <a:lnTo>
                  <a:pt x="282" y="96"/>
                </a:lnTo>
                <a:lnTo>
                  <a:pt x="282" y="96"/>
                </a:lnTo>
                <a:lnTo>
                  <a:pt x="288" y="96"/>
                </a:lnTo>
                <a:lnTo>
                  <a:pt x="288" y="96"/>
                </a:lnTo>
                <a:lnTo>
                  <a:pt x="282" y="96"/>
                </a:lnTo>
                <a:lnTo>
                  <a:pt x="282" y="102"/>
                </a:lnTo>
                <a:lnTo>
                  <a:pt x="282" y="108"/>
                </a:lnTo>
                <a:lnTo>
                  <a:pt x="282" y="108"/>
                </a:lnTo>
                <a:lnTo>
                  <a:pt x="282" y="108"/>
                </a:lnTo>
                <a:lnTo>
                  <a:pt x="282" y="108"/>
                </a:lnTo>
                <a:lnTo>
                  <a:pt x="282" y="108"/>
                </a:lnTo>
                <a:lnTo>
                  <a:pt x="276" y="114"/>
                </a:lnTo>
                <a:lnTo>
                  <a:pt x="282" y="114"/>
                </a:lnTo>
                <a:lnTo>
                  <a:pt x="282" y="114"/>
                </a:lnTo>
                <a:lnTo>
                  <a:pt x="276" y="114"/>
                </a:lnTo>
                <a:lnTo>
                  <a:pt x="282" y="120"/>
                </a:lnTo>
                <a:lnTo>
                  <a:pt x="282" y="120"/>
                </a:lnTo>
                <a:lnTo>
                  <a:pt x="276" y="126"/>
                </a:lnTo>
                <a:lnTo>
                  <a:pt x="276" y="126"/>
                </a:lnTo>
                <a:lnTo>
                  <a:pt x="276" y="126"/>
                </a:lnTo>
                <a:lnTo>
                  <a:pt x="276" y="126"/>
                </a:lnTo>
                <a:lnTo>
                  <a:pt x="270" y="126"/>
                </a:lnTo>
                <a:lnTo>
                  <a:pt x="270" y="126"/>
                </a:lnTo>
                <a:lnTo>
                  <a:pt x="270" y="132"/>
                </a:lnTo>
                <a:lnTo>
                  <a:pt x="270" y="132"/>
                </a:lnTo>
                <a:lnTo>
                  <a:pt x="270" y="132"/>
                </a:lnTo>
                <a:lnTo>
                  <a:pt x="270" y="132"/>
                </a:lnTo>
                <a:lnTo>
                  <a:pt x="270" y="132"/>
                </a:lnTo>
                <a:lnTo>
                  <a:pt x="264" y="138"/>
                </a:lnTo>
                <a:lnTo>
                  <a:pt x="264" y="138"/>
                </a:lnTo>
                <a:lnTo>
                  <a:pt x="264" y="132"/>
                </a:lnTo>
                <a:lnTo>
                  <a:pt x="258" y="132"/>
                </a:lnTo>
                <a:lnTo>
                  <a:pt x="258" y="132"/>
                </a:lnTo>
                <a:lnTo>
                  <a:pt x="258" y="132"/>
                </a:lnTo>
                <a:lnTo>
                  <a:pt x="252" y="132"/>
                </a:lnTo>
                <a:lnTo>
                  <a:pt x="252" y="132"/>
                </a:lnTo>
                <a:lnTo>
                  <a:pt x="252" y="138"/>
                </a:lnTo>
                <a:lnTo>
                  <a:pt x="252" y="138"/>
                </a:lnTo>
                <a:lnTo>
                  <a:pt x="252" y="138"/>
                </a:lnTo>
                <a:lnTo>
                  <a:pt x="252" y="138"/>
                </a:lnTo>
                <a:lnTo>
                  <a:pt x="258" y="144"/>
                </a:lnTo>
                <a:lnTo>
                  <a:pt x="258" y="144"/>
                </a:lnTo>
                <a:lnTo>
                  <a:pt x="258" y="144"/>
                </a:lnTo>
                <a:lnTo>
                  <a:pt x="258" y="144"/>
                </a:lnTo>
                <a:lnTo>
                  <a:pt x="258" y="150"/>
                </a:lnTo>
                <a:lnTo>
                  <a:pt x="258" y="150"/>
                </a:lnTo>
                <a:lnTo>
                  <a:pt x="258" y="144"/>
                </a:lnTo>
                <a:lnTo>
                  <a:pt x="258" y="150"/>
                </a:lnTo>
                <a:lnTo>
                  <a:pt x="258" y="144"/>
                </a:lnTo>
                <a:lnTo>
                  <a:pt x="264" y="150"/>
                </a:lnTo>
                <a:lnTo>
                  <a:pt x="264" y="150"/>
                </a:lnTo>
                <a:lnTo>
                  <a:pt x="264" y="150"/>
                </a:lnTo>
                <a:lnTo>
                  <a:pt x="264" y="150"/>
                </a:lnTo>
                <a:lnTo>
                  <a:pt x="264" y="150"/>
                </a:lnTo>
                <a:lnTo>
                  <a:pt x="264" y="150"/>
                </a:lnTo>
                <a:lnTo>
                  <a:pt x="264" y="150"/>
                </a:lnTo>
                <a:lnTo>
                  <a:pt x="264" y="150"/>
                </a:lnTo>
                <a:lnTo>
                  <a:pt x="264" y="156"/>
                </a:lnTo>
                <a:lnTo>
                  <a:pt x="270" y="156"/>
                </a:lnTo>
                <a:lnTo>
                  <a:pt x="270" y="156"/>
                </a:lnTo>
                <a:lnTo>
                  <a:pt x="270" y="156"/>
                </a:lnTo>
                <a:lnTo>
                  <a:pt x="270" y="156"/>
                </a:lnTo>
                <a:lnTo>
                  <a:pt x="270" y="156"/>
                </a:lnTo>
                <a:lnTo>
                  <a:pt x="270" y="156"/>
                </a:lnTo>
                <a:lnTo>
                  <a:pt x="270" y="156"/>
                </a:lnTo>
                <a:lnTo>
                  <a:pt x="270" y="156"/>
                </a:lnTo>
                <a:lnTo>
                  <a:pt x="276" y="162"/>
                </a:lnTo>
                <a:lnTo>
                  <a:pt x="276" y="162"/>
                </a:lnTo>
                <a:lnTo>
                  <a:pt x="276" y="162"/>
                </a:lnTo>
                <a:lnTo>
                  <a:pt x="276" y="162"/>
                </a:lnTo>
                <a:lnTo>
                  <a:pt x="276" y="162"/>
                </a:lnTo>
                <a:lnTo>
                  <a:pt x="276" y="162"/>
                </a:lnTo>
                <a:lnTo>
                  <a:pt x="276" y="168"/>
                </a:lnTo>
                <a:lnTo>
                  <a:pt x="276" y="168"/>
                </a:lnTo>
                <a:lnTo>
                  <a:pt x="276" y="168"/>
                </a:lnTo>
                <a:lnTo>
                  <a:pt x="276" y="168"/>
                </a:lnTo>
                <a:lnTo>
                  <a:pt x="276" y="168"/>
                </a:lnTo>
                <a:lnTo>
                  <a:pt x="276" y="174"/>
                </a:lnTo>
                <a:lnTo>
                  <a:pt x="282" y="174"/>
                </a:lnTo>
                <a:lnTo>
                  <a:pt x="282" y="174"/>
                </a:lnTo>
                <a:lnTo>
                  <a:pt x="282" y="174"/>
                </a:lnTo>
                <a:lnTo>
                  <a:pt x="282" y="174"/>
                </a:lnTo>
                <a:lnTo>
                  <a:pt x="282" y="174"/>
                </a:lnTo>
                <a:lnTo>
                  <a:pt x="282" y="180"/>
                </a:lnTo>
                <a:lnTo>
                  <a:pt x="288" y="180"/>
                </a:lnTo>
                <a:lnTo>
                  <a:pt x="288" y="180"/>
                </a:lnTo>
                <a:lnTo>
                  <a:pt x="288" y="180"/>
                </a:lnTo>
                <a:lnTo>
                  <a:pt x="288" y="180"/>
                </a:lnTo>
                <a:lnTo>
                  <a:pt x="294" y="180"/>
                </a:lnTo>
                <a:lnTo>
                  <a:pt x="288" y="186"/>
                </a:lnTo>
                <a:lnTo>
                  <a:pt x="294" y="186"/>
                </a:lnTo>
                <a:lnTo>
                  <a:pt x="294" y="186"/>
                </a:lnTo>
                <a:lnTo>
                  <a:pt x="294" y="186"/>
                </a:lnTo>
                <a:lnTo>
                  <a:pt x="294" y="186"/>
                </a:lnTo>
                <a:lnTo>
                  <a:pt x="294" y="186"/>
                </a:lnTo>
                <a:lnTo>
                  <a:pt x="300" y="186"/>
                </a:lnTo>
                <a:lnTo>
                  <a:pt x="300" y="186"/>
                </a:lnTo>
                <a:lnTo>
                  <a:pt x="294" y="186"/>
                </a:lnTo>
                <a:lnTo>
                  <a:pt x="300" y="192"/>
                </a:lnTo>
                <a:lnTo>
                  <a:pt x="300" y="192"/>
                </a:lnTo>
                <a:lnTo>
                  <a:pt x="300" y="186"/>
                </a:lnTo>
                <a:lnTo>
                  <a:pt x="300" y="186"/>
                </a:lnTo>
                <a:lnTo>
                  <a:pt x="300" y="186"/>
                </a:lnTo>
                <a:lnTo>
                  <a:pt x="300" y="186"/>
                </a:lnTo>
                <a:lnTo>
                  <a:pt x="300" y="192"/>
                </a:lnTo>
                <a:lnTo>
                  <a:pt x="300" y="186"/>
                </a:lnTo>
                <a:lnTo>
                  <a:pt x="300" y="192"/>
                </a:lnTo>
                <a:lnTo>
                  <a:pt x="306" y="192"/>
                </a:lnTo>
                <a:lnTo>
                  <a:pt x="306" y="192"/>
                </a:lnTo>
                <a:lnTo>
                  <a:pt x="306" y="192"/>
                </a:lnTo>
                <a:lnTo>
                  <a:pt x="306" y="192"/>
                </a:lnTo>
                <a:lnTo>
                  <a:pt x="306" y="192"/>
                </a:lnTo>
                <a:lnTo>
                  <a:pt x="306" y="192"/>
                </a:lnTo>
                <a:lnTo>
                  <a:pt x="306" y="192"/>
                </a:lnTo>
                <a:lnTo>
                  <a:pt x="312" y="192"/>
                </a:lnTo>
                <a:lnTo>
                  <a:pt x="312" y="192"/>
                </a:lnTo>
                <a:lnTo>
                  <a:pt x="306" y="192"/>
                </a:lnTo>
                <a:lnTo>
                  <a:pt x="306" y="198"/>
                </a:lnTo>
                <a:lnTo>
                  <a:pt x="306" y="198"/>
                </a:lnTo>
                <a:lnTo>
                  <a:pt x="306" y="198"/>
                </a:lnTo>
                <a:lnTo>
                  <a:pt x="312" y="198"/>
                </a:lnTo>
                <a:lnTo>
                  <a:pt x="312" y="198"/>
                </a:lnTo>
                <a:lnTo>
                  <a:pt x="312" y="198"/>
                </a:lnTo>
                <a:lnTo>
                  <a:pt x="312" y="198"/>
                </a:lnTo>
                <a:lnTo>
                  <a:pt x="312" y="198"/>
                </a:lnTo>
                <a:lnTo>
                  <a:pt x="312" y="198"/>
                </a:lnTo>
                <a:lnTo>
                  <a:pt x="312" y="198"/>
                </a:lnTo>
                <a:lnTo>
                  <a:pt x="318" y="198"/>
                </a:lnTo>
                <a:lnTo>
                  <a:pt x="312" y="198"/>
                </a:lnTo>
                <a:lnTo>
                  <a:pt x="318" y="198"/>
                </a:lnTo>
                <a:lnTo>
                  <a:pt x="318" y="198"/>
                </a:lnTo>
                <a:lnTo>
                  <a:pt x="318" y="198"/>
                </a:lnTo>
                <a:lnTo>
                  <a:pt x="318" y="198"/>
                </a:lnTo>
                <a:lnTo>
                  <a:pt x="318" y="198"/>
                </a:lnTo>
                <a:lnTo>
                  <a:pt x="318" y="198"/>
                </a:lnTo>
                <a:lnTo>
                  <a:pt x="318" y="198"/>
                </a:lnTo>
                <a:lnTo>
                  <a:pt x="318" y="198"/>
                </a:lnTo>
                <a:lnTo>
                  <a:pt x="318" y="198"/>
                </a:lnTo>
                <a:lnTo>
                  <a:pt x="318" y="198"/>
                </a:lnTo>
                <a:lnTo>
                  <a:pt x="318" y="198"/>
                </a:lnTo>
                <a:lnTo>
                  <a:pt x="318" y="204"/>
                </a:lnTo>
                <a:lnTo>
                  <a:pt x="318" y="204"/>
                </a:lnTo>
                <a:lnTo>
                  <a:pt x="318" y="204"/>
                </a:lnTo>
                <a:lnTo>
                  <a:pt x="318" y="204"/>
                </a:lnTo>
                <a:lnTo>
                  <a:pt x="318" y="204"/>
                </a:lnTo>
                <a:lnTo>
                  <a:pt x="318" y="204"/>
                </a:lnTo>
                <a:lnTo>
                  <a:pt x="318" y="204"/>
                </a:lnTo>
                <a:lnTo>
                  <a:pt x="318" y="204"/>
                </a:lnTo>
                <a:lnTo>
                  <a:pt x="318" y="204"/>
                </a:lnTo>
                <a:lnTo>
                  <a:pt x="318" y="210"/>
                </a:lnTo>
                <a:lnTo>
                  <a:pt x="318" y="210"/>
                </a:lnTo>
                <a:lnTo>
                  <a:pt x="318" y="210"/>
                </a:lnTo>
                <a:lnTo>
                  <a:pt x="318" y="210"/>
                </a:lnTo>
                <a:lnTo>
                  <a:pt x="318" y="210"/>
                </a:lnTo>
                <a:lnTo>
                  <a:pt x="318" y="210"/>
                </a:lnTo>
                <a:lnTo>
                  <a:pt x="318" y="210"/>
                </a:lnTo>
                <a:lnTo>
                  <a:pt x="318" y="210"/>
                </a:lnTo>
                <a:lnTo>
                  <a:pt x="318" y="216"/>
                </a:lnTo>
                <a:lnTo>
                  <a:pt x="318" y="216"/>
                </a:lnTo>
                <a:lnTo>
                  <a:pt x="318" y="216"/>
                </a:lnTo>
                <a:lnTo>
                  <a:pt x="318" y="216"/>
                </a:lnTo>
                <a:lnTo>
                  <a:pt x="318" y="216"/>
                </a:lnTo>
                <a:lnTo>
                  <a:pt x="318" y="216"/>
                </a:lnTo>
                <a:lnTo>
                  <a:pt x="318" y="222"/>
                </a:lnTo>
                <a:lnTo>
                  <a:pt x="324" y="222"/>
                </a:lnTo>
                <a:lnTo>
                  <a:pt x="324" y="222"/>
                </a:lnTo>
                <a:lnTo>
                  <a:pt x="324" y="222"/>
                </a:lnTo>
                <a:lnTo>
                  <a:pt x="324" y="222"/>
                </a:lnTo>
                <a:lnTo>
                  <a:pt x="324" y="222"/>
                </a:lnTo>
                <a:lnTo>
                  <a:pt x="324" y="222"/>
                </a:lnTo>
                <a:lnTo>
                  <a:pt x="324" y="222"/>
                </a:lnTo>
                <a:lnTo>
                  <a:pt x="330" y="222"/>
                </a:lnTo>
                <a:lnTo>
                  <a:pt x="330" y="228"/>
                </a:lnTo>
                <a:lnTo>
                  <a:pt x="330" y="228"/>
                </a:lnTo>
                <a:lnTo>
                  <a:pt x="330" y="228"/>
                </a:lnTo>
                <a:lnTo>
                  <a:pt x="330" y="228"/>
                </a:lnTo>
                <a:lnTo>
                  <a:pt x="330" y="228"/>
                </a:lnTo>
                <a:lnTo>
                  <a:pt x="330" y="228"/>
                </a:lnTo>
                <a:lnTo>
                  <a:pt x="330" y="228"/>
                </a:lnTo>
                <a:lnTo>
                  <a:pt x="330" y="228"/>
                </a:lnTo>
                <a:lnTo>
                  <a:pt x="330" y="228"/>
                </a:lnTo>
                <a:lnTo>
                  <a:pt x="330" y="228"/>
                </a:lnTo>
                <a:lnTo>
                  <a:pt x="330" y="234"/>
                </a:lnTo>
                <a:lnTo>
                  <a:pt x="330" y="234"/>
                </a:lnTo>
                <a:lnTo>
                  <a:pt x="330" y="234"/>
                </a:lnTo>
                <a:lnTo>
                  <a:pt x="330" y="234"/>
                </a:lnTo>
                <a:lnTo>
                  <a:pt x="330" y="234"/>
                </a:lnTo>
                <a:lnTo>
                  <a:pt x="324" y="234"/>
                </a:lnTo>
                <a:lnTo>
                  <a:pt x="324" y="240"/>
                </a:lnTo>
                <a:lnTo>
                  <a:pt x="330" y="240"/>
                </a:lnTo>
                <a:lnTo>
                  <a:pt x="330" y="240"/>
                </a:lnTo>
                <a:lnTo>
                  <a:pt x="330" y="240"/>
                </a:lnTo>
                <a:lnTo>
                  <a:pt x="324" y="240"/>
                </a:lnTo>
                <a:lnTo>
                  <a:pt x="324" y="240"/>
                </a:lnTo>
                <a:lnTo>
                  <a:pt x="324" y="240"/>
                </a:lnTo>
                <a:lnTo>
                  <a:pt x="324" y="246"/>
                </a:lnTo>
                <a:lnTo>
                  <a:pt x="324" y="246"/>
                </a:lnTo>
                <a:lnTo>
                  <a:pt x="324" y="246"/>
                </a:lnTo>
                <a:lnTo>
                  <a:pt x="324" y="246"/>
                </a:lnTo>
                <a:lnTo>
                  <a:pt x="324" y="246"/>
                </a:lnTo>
                <a:lnTo>
                  <a:pt x="324" y="246"/>
                </a:lnTo>
                <a:lnTo>
                  <a:pt x="318" y="246"/>
                </a:lnTo>
                <a:lnTo>
                  <a:pt x="318" y="246"/>
                </a:lnTo>
                <a:lnTo>
                  <a:pt x="318" y="252"/>
                </a:lnTo>
                <a:lnTo>
                  <a:pt x="318" y="252"/>
                </a:lnTo>
                <a:lnTo>
                  <a:pt x="318" y="252"/>
                </a:lnTo>
                <a:lnTo>
                  <a:pt x="318" y="252"/>
                </a:lnTo>
                <a:lnTo>
                  <a:pt x="318" y="252"/>
                </a:lnTo>
                <a:lnTo>
                  <a:pt x="318" y="252"/>
                </a:lnTo>
                <a:lnTo>
                  <a:pt x="318" y="258"/>
                </a:lnTo>
                <a:lnTo>
                  <a:pt x="312" y="258"/>
                </a:lnTo>
                <a:lnTo>
                  <a:pt x="312" y="258"/>
                </a:lnTo>
                <a:lnTo>
                  <a:pt x="306" y="258"/>
                </a:lnTo>
                <a:lnTo>
                  <a:pt x="306" y="258"/>
                </a:lnTo>
                <a:lnTo>
                  <a:pt x="300" y="258"/>
                </a:lnTo>
                <a:lnTo>
                  <a:pt x="300" y="258"/>
                </a:lnTo>
                <a:lnTo>
                  <a:pt x="294" y="264"/>
                </a:lnTo>
                <a:lnTo>
                  <a:pt x="294" y="264"/>
                </a:lnTo>
                <a:lnTo>
                  <a:pt x="294" y="264"/>
                </a:lnTo>
                <a:lnTo>
                  <a:pt x="294" y="264"/>
                </a:lnTo>
                <a:lnTo>
                  <a:pt x="294" y="264"/>
                </a:lnTo>
                <a:lnTo>
                  <a:pt x="294" y="264"/>
                </a:lnTo>
                <a:lnTo>
                  <a:pt x="294" y="264"/>
                </a:lnTo>
                <a:lnTo>
                  <a:pt x="288" y="264"/>
                </a:lnTo>
                <a:lnTo>
                  <a:pt x="288" y="264"/>
                </a:lnTo>
                <a:lnTo>
                  <a:pt x="288" y="270"/>
                </a:lnTo>
                <a:lnTo>
                  <a:pt x="288" y="270"/>
                </a:lnTo>
                <a:lnTo>
                  <a:pt x="288" y="270"/>
                </a:lnTo>
                <a:lnTo>
                  <a:pt x="288" y="270"/>
                </a:lnTo>
                <a:lnTo>
                  <a:pt x="288" y="270"/>
                </a:lnTo>
                <a:lnTo>
                  <a:pt x="288" y="264"/>
                </a:lnTo>
                <a:lnTo>
                  <a:pt x="282" y="264"/>
                </a:lnTo>
                <a:lnTo>
                  <a:pt x="282" y="264"/>
                </a:lnTo>
                <a:lnTo>
                  <a:pt x="282" y="264"/>
                </a:lnTo>
                <a:lnTo>
                  <a:pt x="276" y="264"/>
                </a:lnTo>
                <a:lnTo>
                  <a:pt x="276" y="264"/>
                </a:lnTo>
                <a:lnTo>
                  <a:pt x="270" y="270"/>
                </a:lnTo>
                <a:lnTo>
                  <a:pt x="270" y="270"/>
                </a:lnTo>
                <a:lnTo>
                  <a:pt x="264" y="270"/>
                </a:lnTo>
                <a:lnTo>
                  <a:pt x="264" y="270"/>
                </a:lnTo>
                <a:lnTo>
                  <a:pt x="264" y="270"/>
                </a:lnTo>
                <a:lnTo>
                  <a:pt x="258" y="270"/>
                </a:lnTo>
                <a:lnTo>
                  <a:pt x="258" y="270"/>
                </a:lnTo>
                <a:lnTo>
                  <a:pt x="252" y="276"/>
                </a:lnTo>
                <a:lnTo>
                  <a:pt x="252" y="276"/>
                </a:lnTo>
                <a:lnTo>
                  <a:pt x="252" y="276"/>
                </a:lnTo>
                <a:lnTo>
                  <a:pt x="252" y="276"/>
                </a:lnTo>
                <a:lnTo>
                  <a:pt x="252" y="276"/>
                </a:lnTo>
                <a:lnTo>
                  <a:pt x="246" y="276"/>
                </a:lnTo>
                <a:lnTo>
                  <a:pt x="246" y="276"/>
                </a:lnTo>
                <a:lnTo>
                  <a:pt x="246" y="276"/>
                </a:lnTo>
                <a:lnTo>
                  <a:pt x="246" y="276"/>
                </a:lnTo>
                <a:lnTo>
                  <a:pt x="240" y="276"/>
                </a:lnTo>
                <a:lnTo>
                  <a:pt x="240" y="276"/>
                </a:lnTo>
                <a:lnTo>
                  <a:pt x="240" y="276"/>
                </a:lnTo>
                <a:lnTo>
                  <a:pt x="240" y="282"/>
                </a:lnTo>
                <a:lnTo>
                  <a:pt x="240" y="282"/>
                </a:lnTo>
                <a:lnTo>
                  <a:pt x="234" y="282"/>
                </a:lnTo>
                <a:lnTo>
                  <a:pt x="234" y="282"/>
                </a:lnTo>
                <a:lnTo>
                  <a:pt x="234" y="282"/>
                </a:lnTo>
                <a:lnTo>
                  <a:pt x="234" y="282"/>
                </a:lnTo>
                <a:lnTo>
                  <a:pt x="234" y="282"/>
                </a:lnTo>
                <a:lnTo>
                  <a:pt x="234" y="282"/>
                </a:lnTo>
                <a:lnTo>
                  <a:pt x="234" y="288"/>
                </a:lnTo>
                <a:lnTo>
                  <a:pt x="228" y="288"/>
                </a:lnTo>
                <a:lnTo>
                  <a:pt x="228" y="288"/>
                </a:lnTo>
                <a:lnTo>
                  <a:pt x="222" y="288"/>
                </a:lnTo>
                <a:lnTo>
                  <a:pt x="222" y="288"/>
                </a:lnTo>
                <a:lnTo>
                  <a:pt x="222" y="282"/>
                </a:lnTo>
                <a:lnTo>
                  <a:pt x="222" y="282"/>
                </a:lnTo>
                <a:lnTo>
                  <a:pt x="222" y="282"/>
                </a:lnTo>
                <a:lnTo>
                  <a:pt x="216" y="282"/>
                </a:lnTo>
                <a:lnTo>
                  <a:pt x="216" y="282"/>
                </a:lnTo>
                <a:lnTo>
                  <a:pt x="216" y="288"/>
                </a:lnTo>
                <a:lnTo>
                  <a:pt x="216" y="288"/>
                </a:lnTo>
                <a:lnTo>
                  <a:pt x="216" y="288"/>
                </a:lnTo>
                <a:lnTo>
                  <a:pt x="216" y="282"/>
                </a:lnTo>
                <a:lnTo>
                  <a:pt x="216" y="282"/>
                </a:lnTo>
                <a:lnTo>
                  <a:pt x="216" y="282"/>
                </a:lnTo>
                <a:lnTo>
                  <a:pt x="216" y="282"/>
                </a:lnTo>
                <a:lnTo>
                  <a:pt x="216" y="282"/>
                </a:lnTo>
                <a:lnTo>
                  <a:pt x="216" y="282"/>
                </a:lnTo>
                <a:lnTo>
                  <a:pt x="216" y="282"/>
                </a:lnTo>
                <a:lnTo>
                  <a:pt x="216" y="282"/>
                </a:lnTo>
                <a:lnTo>
                  <a:pt x="216" y="282"/>
                </a:lnTo>
                <a:lnTo>
                  <a:pt x="216" y="282"/>
                </a:lnTo>
                <a:lnTo>
                  <a:pt x="216" y="282"/>
                </a:lnTo>
                <a:lnTo>
                  <a:pt x="216" y="282"/>
                </a:lnTo>
                <a:lnTo>
                  <a:pt x="210" y="282"/>
                </a:lnTo>
                <a:lnTo>
                  <a:pt x="210" y="282"/>
                </a:lnTo>
                <a:lnTo>
                  <a:pt x="210" y="282"/>
                </a:lnTo>
                <a:lnTo>
                  <a:pt x="210" y="282"/>
                </a:lnTo>
                <a:lnTo>
                  <a:pt x="210" y="282"/>
                </a:lnTo>
                <a:lnTo>
                  <a:pt x="204" y="282"/>
                </a:lnTo>
                <a:lnTo>
                  <a:pt x="204" y="282"/>
                </a:lnTo>
                <a:lnTo>
                  <a:pt x="210" y="282"/>
                </a:lnTo>
                <a:lnTo>
                  <a:pt x="210" y="282"/>
                </a:lnTo>
                <a:lnTo>
                  <a:pt x="210" y="276"/>
                </a:lnTo>
                <a:lnTo>
                  <a:pt x="210" y="276"/>
                </a:lnTo>
                <a:lnTo>
                  <a:pt x="204" y="276"/>
                </a:lnTo>
                <a:lnTo>
                  <a:pt x="204" y="276"/>
                </a:lnTo>
                <a:lnTo>
                  <a:pt x="204" y="276"/>
                </a:lnTo>
                <a:lnTo>
                  <a:pt x="204" y="276"/>
                </a:lnTo>
                <a:lnTo>
                  <a:pt x="198" y="276"/>
                </a:lnTo>
                <a:lnTo>
                  <a:pt x="198" y="276"/>
                </a:lnTo>
                <a:lnTo>
                  <a:pt x="198" y="276"/>
                </a:lnTo>
                <a:lnTo>
                  <a:pt x="198" y="276"/>
                </a:lnTo>
                <a:lnTo>
                  <a:pt x="198" y="276"/>
                </a:lnTo>
                <a:lnTo>
                  <a:pt x="204" y="276"/>
                </a:lnTo>
                <a:lnTo>
                  <a:pt x="198" y="276"/>
                </a:lnTo>
                <a:lnTo>
                  <a:pt x="198" y="276"/>
                </a:lnTo>
                <a:lnTo>
                  <a:pt x="198" y="276"/>
                </a:lnTo>
                <a:lnTo>
                  <a:pt x="198" y="270"/>
                </a:lnTo>
                <a:lnTo>
                  <a:pt x="204" y="270"/>
                </a:lnTo>
                <a:lnTo>
                  <a:pt x="198" y="270"/>
                </a:lnTo>
                <a:lnTo>
                  <a:pt x="198" y="270"/>
                </a:lnTo>
                <a:lnTo>
                  <a:pt x="198" y="270"/>
                </a:lnTo>
                <a:lnTo>
                  <a:pt x="198" y="264"/>
                </a:lnTo>
                <a:lnTo>
                  <a:pt x="198" y="264"/>
                </a:lnTo>
                <a:lnTo>
                  <a:pt x="198" y="264"/>
                </a:lnTo>
                <a:lnTo>
                  <a:pt x="198" y="264"/>
                </a:lnTo>
                <a:lnTo>
                  <a:pt x="204" y="264"/>
                </a:lnTo>
                <a:lnTo>
                  <a:pt x="198" y="264"/>
                </a:lnTo>
                <a:lnTo>
                  <a:pt x="204" y="258"/>
                </a:lnTo>
                <a:lnTo>
                  <a:pt x="204" y="258"/>
                </a:lnTo>
                <a:lnTo>
                  <a:pt x="204" y="258"/>
                </a:lnTo>
                <a:lnTo>
                  <a:pt x="204" y="258"/>
                </a:lnTo>
                <a:lnTo>
                  <a:pt x="204" y="258"/>
                </a:lnTo>
                <a:lnTo>
                  <a:pt x="204" y="258"/>
                </a:lnTo>
                <a:lnTo>
                  <a:pt x="204" y="258"/>
                </a:lnTo>
                <a:lnTo>
                  <a:pt x="204" y="258"/>
                </a:lnTo>
                <a:lnTo>
                  <a:pt x="204" y="252"/>
                </a:lnTo>
                <a:lnTo>
                  <a:pt x="204" y="252"/>
                </a:lnTo>
                <a:lnTo>
                  <a:pt x="204" y="252"/>
                </a:lnTo>
                <a:lnTo>
                  <a:pt x="204" y="252"/>
                </a:lnTo>
                <a:lnTo>
                  <a:pt x="204" y="252"/>
                </a:lnTo>
                <a:lnTo>
                  <a:pt x="204" y="252"/>
                </a:lnTo>
                <a:lnTo>
                  <a:pt x="204" y="246"/>
                </a:lnTo>
                <a:lnTo>
                  <a:pt x="204" y="246"/>
                </a:lnTo>
                <a:lnTo>
                  <a:pt x="204" y="246"/>
                </a:lnTo>
                <a:lnTo>
                  <a:pt x="204" y="246"/>
                </a:lnTo>
                <a:lnTo>
                  <a:pt x="204" y="240"/>
                </a:lnTo>
                <a:lnTo>
                  <a:pt x="204" y="240"/>
                </a:lnTo>
                <a:lnTo>
                  <a:pt x="204" y="240"/>
                </a:lnTo>
                <a:lnTo>
                  <a:pt x="204" y="240"/>
                </a:lnTo>
                <a:lnTo>
                  <a:pt x="198" y="240"/>
                </a:lnTo>
                <a:lnTo>
                  <a:pt x="198" y="240"/>
                </a:lnTo>
                <a:lnTo>
                  <a:pt x="198" y="240"/>
                </a:lnTo>
                <a:lnTo>
                  <a:pt x="198" y="240"/>
                </a:lnTo>
                <a:lnTo>
                  <a:pt x="198" y="240"/>
                </a:lnTo>
                <a:lnTo>
                  <a:pt x="198" y="240"/>
                </a:lnTo>
                <a:lnTo>
                  <a:pt x="198" y="240"/>
                </a:lnTo>
                <a:lnTo>
                  <a:pt x="198" y="240"/>
                </a:lnTo>
                <a:lnTo>
                  <a:pt x="192" y="240"/>
                </a:lnTo>
                <a:lnTo>
                  <a:pt x="192" y="240"/>
                </a:lnTo>
                <a:lnTo>
                  <a:pt x="192" y="240"/>
                </a:lnTo>
                <a:lnTo>
                  <a:pt x="192" y="240"/>
                </a:lnTo>
                <a:lnTo>
                  <a:pt x="192" y="240"/>
                </a:lnTo>
                <a:lnTo>
                  <a:pt x="192" y="240"/>
                </a:lnTo>
                <a:lnTo>
                  <a:pt x="192" y="246"/>
                </a:lnTo>
                <a:lnTo>
                  <a:pt x="186" y="246"/>
                </a:lnTo>
                <a:lnTo>
                  <a:pt x="186" y="246"/>
                </a:lnTo>
                <a:lnTo>
                  <a:pt x="186" y="246"/>
                </a:lnTo>
                <a:lnTo>
                  <a:pt x="186" y="246"/>
                </a:lnTo>
                <a:lnTo>
                  <a:pt x="186" y="246"/>
                </a:lnTo>
                <a:lnTo>
                  <a:pt x="180" y="246"/>
                </a:lnTo>
                <a:lnTo>
                  <a:pt x="180" y="246"/>
                </a:lnTo>
                <a:lnTo>
                  <a:pt x="180" y="246"/>
                </a:lnTo>
                <a:lnTo>
                  <a:pt x="180" y="240"/>
                </a:lnTo>
                <a:lnTo>
                  <a:pt x="180" y="240"/>
                </a:lnTo>
                <a:lnTo>
                  <a:pt x="180" y="246"/>
                </a:lnTo>
                <a:lnTo>
                  <a:pt x="174" y="240"/>
                </a:lnTo>
                <a:lnTo>
                  <a:pt x="174" y="246"/>
                </a:lnTo>
                <a:lnTo>
                  <a:pt x="174" y="240"/>
                </a:lnTo>
                <a:lnTo>
                  <a:pt x="174" y="240"/>
                </a:lnTo>
                <a:lnTo>
                  <a:pt x="174" y="240"/>
                </a:lnTo>
                <a:lnTo>
                  <a:pt x="174" y="240"/>
                </a:lnTo>
                <a:lnTo>
                  <a:pt x="174" y="240"/>
                </a:lnTo>
                <a:lnTo>
                  <a:pt x="174" y="240"/>
                </a:lnTo>
                <a:lnTo>
                  <a:pt x="174" y="240"/>
                </a:lnTo>
                <a:lnTo>
                  <a:pt x="168" y="240"/>
                </a:lnTo>
                <a:lnTo>
                  <a:pt x="168" y="240"/>
                </a:lnTo>
                <a:lnTo>
                  <a:pt x="168" y="240"/>
                </a:lnTo>
                <a:lnTo>
                  <a:pt x="168" y="234"/>
                </a:lnTo>
                <a:lnTo>
                  <a:pt x="168" y="234"/>
                </a:lnTo>
                <a:lnTo>
                  <a:pt x="168" y="234"/>
                </a:lnTo>
                <a:lnTo>
                  <a:pt x="168" y="234"/>
                </a:lnTo>
                <a:lnTo>
                  <a:pt x="168" y="234"/>
                </a:lnTo>
                <a:lnTo>
                  <a:pt x="168" y="228"/>
                </a:lnTo>
                <a:lnTo>
                  <a:pt x="168" y="228"/>
                </a:lnTo>
                <a:lnTo>
                  <a:pt x="168" y="234"/>
                </a:lnTo>
                <a:lnTo>
                  <a:pt x="168" y="234"/>
                </a:lnTo>
                <a:lnTo>
                  <a:pt x="168" y="234"/>
                </a:lnTo>
                <a:lnTo>
                  <a:pt x="168" y="234"/>
                </a:lnTo>
                <a:lnTo>
                  <a:pt x="168" y="234"/>
                </a:lnTo>
                <a:lnTo>
                  <a:pt x="168" y="234"/>
                </a:lnTo>
                <a:lnTo>
                  <a:pt x="168" y="228"/>
                </a:lnTo>
                <a:lnTo>
                  <a:pt x="168" y="228"/>
                </a:lnTo>
                <a:lnTo>
                  <a:pt x="168" y="228"/>
                </a:lnTo>
                <a:lnTo>
                  <a:pt x="168" y="228"/>
                </a:lnTo>
                <a:lnTo>
                  <a:pt x="162" y="234"/>
                </a:lnTo>
                <a:lnTo>
                  <a:pt x="162" y="228"/>
                </a:lnTo>
                <a:lnTo>
                  <a:pt x="162" y="234"/>
                </a:lnTo>
                <a:lnTo>
                  <a:pt x="162" y="234"/>
                </a:lnTo>
                <a:lnTo>
                  <a:pt x="162" y="234"/>
                </a:lnTo>
                <a:lnTo>
                  <a:pt x="168" y="234"/>
                </a:lnTo>
                <a:lnTo>
                  <a:pt x="168" y="234"/>
                </a:lnTo>
                <a:lnTo>
                  <a:pt x="162" y="234"/>
                </a:lnTo>
                <a:lnTo>
                  <a:pt x="162" y="234"/>
                </a:lnTo>
                <a:lnTo>
                  <a:pt x="162" y="234"/>
                </a:lnTo>
                <a:lnTo>
                  <a:pt x="162" y="234"/>
                </a:lnTo>
                <a:lnTo>
                  <a:pt x="162" y="234"/>
                </a:lnTo>
                <a:lnTo>
                  <a:pt x="162" y="240"/>
                </a:lnTo>
                <a:lnTo>
                  <a:pt x="162" y="240"/>
                </a:lnTo>
                <a:lnTo>
                  <a:pt x="168" y="240"/>
                </a:lnTo>
                <a:lnTo>
                  <a:pt x="162" y="246"/>
                </a:lnTo>
                <a:lnTo>
                  <a:pt x="168" y="246"/>
                </a:lnTo>
                <a:lnTo>
                  <a:pt x="168" y="246"/>
                </a:lnTo>
                <a:lnTo>
                  <a:pt x="162" y="246"/>
                </a:lnTo>
                <a:lnTo>
                  <a:pt x="162" y="246"/>
                </a:lnTo>
                <a:lnTo>
                  <a:pt x="162" y="246"/>
                </a:lnTo>
                <a:lnTo>
                  <a:pt x="162" y="246"/>
                </a:lnTo>
                <a:lnTo>
                  <a:pt x="162" y="252"/>
                </a:lnTo>
                <a:lnTo>
                  <a:pt x="162" y="252"/>
                </a:lnTo>
                <a:lnTo>
                  <a:pt x="156" y="252"/>
                </a:lnTo>
                <a:lnTo>
                  <a:pt x="156" y="252"/>
                </a:lnTo>
                <a:lnTo>
                  <a:pt x="156" y="252"/>
                </a:lnTo>
                <a:lnTo>
                  <a:pt x="156" y="252"/>
                </a:lnTo>
                <a:lnTo>
                  <a:pt x="150" y="252"/>
                </a:lnTo>
                <a:lnTo>
                  <a:pt x="150" y="252"/>
                </a:lnTo>
                <a:lnTo>
                  <a:pt x="150" y="252"/>
                </a:lnTo>
                <a:lnTo>
                  <a:pt x="150" y="252"/>
                </a:lnTo>
                <a:lnTo>
                  <a:pt x="150" y="252"/>
                </a:lnTo>
                <a:lnTo>
                  <a:pt x="150" y="252"/>
                </a:lnTo>
                <a:lnTo>
                  <a:pt x="144" y="258"/>
                </a:lnTo>
                <a:lnTo>
                  <a:pt x="144" y="252"/>
                </a:lnTo>
                <a:lnTo>
                  <a:pt x="144" y="252"/>
                </a:lnTo>
                <a:lnTo>
                  <a:pt x="144" y="252"/>
                </a:lnTo>
                <a:lnTo>
                  <a:pt x="144" y="252"/>
                </a:lnTo>
                <a:lnTo>
                  <a:pt x="138" y="252"/>
                </a:lnTo>
                <a:lnTo>
                  <a:pt x="138" y="252"/>
                </a:lnTo>
                <a:lnTo>
                  <a:pt x="138" y="252"/>
                </a:lnTo>
                <a:lnTo>
                  <a:pt x="132" y="246"/>
                </a:lnTo>
                <a:lnTo>
                  <a:pt x="132" y="246"/>
                </a:lnTo>
                <a:lnTo>
                  <a:pt x="132" y="246"/>
                </a:lnTo>
                <a:lnTo>
                  <a:pt x="132" y="246"/>
                </a:lnTo>
                <a:lnTo>
                  <a:pt x="132" y="246"/>
                </a:lnTo>
                <a:lnTo>
                  <a:pt x="132" y="246"/>
                </a:lnTo>
                <a:lnTo>
                  <a:pt x="132" y="246"/>
                </a:lnTo>
                <a:lnTo>
                  <a:pt x="132" y="240"/>
                </a:lnTo>
                <a:lnTo>
                  <a:pt x="126" y="246"/>
                </a:lnTo>
                <a:lnTo>
                  <a:pt x="126" y="240"/>
                </a:lnTo>
                <a:lnTo>
                  <a:pt x="126" y="240"/>
                </a:lnTo>
                <a:lnTo>
                  <a:pt x="126" y="240"/>
                </a:lnTo>
                <a:lnTo>
                  <a:pt x="126" y="240"/>
                </a:lnTo>
                <a:lnTo>
                  <a:pt x="120" y="234"/>
                </a:lnTo>
                <a:lnTo>
                  <a:pt x="120" y="234"/>
                </a:lnTo>
                <a:lnTo>
                  <a:pt x="120" y="234"/>
                </a:lnTo>
                <a:lnTo>
                  <a:pt x="120" y="234"/>
                </a:lnTo>
                <a:lnTo>
                  <a:pt x="114" y="240"/>
                </a:lnTo>
                <a:lnTo>
                  <a:pt x="114" y="234"/>
                </a:lnTo>
                <a:lnTo>
                  <a:pt x="114" y="234"/>
                </a:lnTo>
                <a:lnTo>
                  <a:pt x="108" y="234"/>
                </a:lnTo>
                <a:lnTo>
                  <a:pt x="108" y="234"/>
                </a:lnTo>
                <a:lnTo>
                  <a:pt x="114" y="234"/>
                </a:lnTo>
                <a:lnTo>
                  <a:pt x="108" y="234"/>
                </a:lnTo>
                <a:lnTo>
                  <a:pt x="108" y="228"/>
                </a:lnTo>
                <a:lnTo>
                  <a:pt x="108" y="228"/>
                </a:lnTo>
                <a:lnTo>
                  <a:pt x="108" y="228"/>
                </a:lnTo>
                <a:lnTo>
                  <a:pt x="108" y="228"/>
                </a:lnTo>
                <a:lnTo>
                  <a:pt x="114" y="222"/>
                </a:lnTo>
                <a:lnTo>
                  <a:pt x="114" y="222"/>
                </a:lnTo>
                <a:lnTo>
                  <a:pt x="114" y="222"/>
                </a:lnTo>
                <a:lnTo>
                  <a:pt x="114" y="222"/>
                </a:lnTo>
                <a:lnTo>
                  <a:pt x="114" y="222"/>
                </a:lnTo>
                <a:lnTo>
                  <a:pt x="120" y="222"/>
                </a:lnTo>
                <a:lnTo>
                  <a:pt x="120" y="222"/>
                </a:lnTo>
                <a:lnTo>
                  <a:pt x="120" y="222"/>
                </a:lnTo>
                <a:lnTo>
                  <a:pt x="120" y="222"/>
                </a:lnTo>
                <a:lnTo>
                  <a:pt x="114" y="210"/>
                </a:lnTo>
                <a:lnTo>
                  <a:pt x="114" y="210"/>
                </a:lnTo>
                <a:lnTo>
                  <a:pt x="114" y="210"/>
                </a:lnTo>
                <a:lnTo>
                  <a:pt x="114" y="210"/>
                </a:lnTo>
                <a:lnTo>
                  <a:pt x="114" y="210"/>
                </a:lnTo>
                <a:lnTo>
                  <a:pt x="114" y="210"/>
                </a:lnTo>
                <a:lnTo>
                  <a:pt x="114" y="204"/>
                </a:lnTo>
                <a:lnTo>
                  <a:pt x="114" y="204"/>
                </a:lnTo>
                <a:lnTo>
                  <a:pt x="114" y="204"/>
                </a:lnTo>
                <a:lnTo>
                  <a:pt x="114" y="204"/>
                </a:lnTo>
                <a:lnTo>
                  <a:pt x="114" y="204"/>
                </a:lnTo>
                <a:lnTo>
                  <a:pt x="114" y="204"/>
                </a:lnTo>
                <a:lnTo>
                  <a:pt x="114" y="204"/>
                </a:lnTo>
                <a:lnTo>
                  <a:pt x="114" y="204"/>
                </a:lnTo>
                <a:lnTo>
                  <a:pt x="114" y="204"/>
                </a:lnTo>
                <a:lnTo>
                  <a:pt x="114" y="204"/>
                </a:lnTo>
                <a:lnTo>
                  <a:pt x="114" y="204"/>
                </a:lnTo>
                <a:lnTo>
                  <a:pt x="114" y="198"/>
                </a:lnTo>
                <a:lnTo>
                  <a:pt x="114" y="198"/>
                </a:lnTo>
                <a:lnTo>
                  <a:pt x="114" y="198"/>
                </a:lnTo>
                <a:lnTo>
                  <a:pt x="114" y="198"/>
                </a:lnTo>
                <a:lnTo>
                  <a:pt x="114" y="198"/>
                </a:lnTo>
                <a:lnTo>
                  <a:pt x="114" y="192"/>
                </a:lnTo>
                <a:lnTo>
                  <a:pt x="114" y="192"/>
                </a:lnTo>
                <a:lnTo>
                  <a:pt x="114" y="192"/>
                </a:lnTo>
                <a:lnTo>
                  <a:pt x="114" y="192"/>
                </a:lnTo>
                <a:lnTo>
                  <a:pt x="114" y="192"/>
                </a:lnTo>
                <a:lnTo>
                  <a:pt x="114" y="192"/>
                </a:lnTo>
                <a:lnTo>
                  <a:pt x="114" y="192"/>
                </a:lnTo>
                <a:lnTo>
                  <a:pt x="114" y="192"/>
                </a:lnTo>
                <a:lnTo>
                  <a:pt x="114" y="186"/>
                </a:lnTo>
                <a:lnTo>
                  <a:pt x="114" y="186"/>
                </a:lnTo>
                <a:lnTo>
                  <a:pt x="108" y="192"/>
                </a:lnTo>
                <a:lnTo>
                  <a:pt x="108" y="192"/>
                </a:lnTo>
                <a:lnTo>
                  <a:pt x="108" y="192"/>
                </a:lnTo>
                <a:lnTo>
                  <a:pt x="108" y="192"/>
                </a:lnTo>
                <a:lnTo>
                  <a:pt x="108" y="192"/>
                </a:lnTo>
                <a:lnTo>
                  <a:pt x="108" y="192"/>
                </a:lnTo>
                <a:lnTo>
                  <a:pt x="108" y="192"/>
                </a:lnTo>
                <a:lnTo>
                  <a:pt x="108" y="192"/>
                </a:lnTo>
                <a:lnTo>
                  <a:pt x="108" y="192"/>
                </a:lnTo>
                <a:lnTo>
                  <a:pt x="108" y="192"/>
                </a:lnTo>
                <a:lnTo>
                  <a:pt x="108" y="192"/>
                </a:lnTo>
                <a:lnTo>
                  <a:pt x="102" y="192"/>
                </a:lnTo>
                <a:lnTo>
                  <a:pt x="102" y="192"/>
                </a:lnTo>
                <a:lnTo>
                  <a:pt x="108" y="186"/>
                </a:lnTo>
                <a:lnTo>
                  <a:pt x="108" y="186"/>
                </a:lnTo>
                <a:lnTo>
                  <a:pt x="108" y="186"/>
                </a:lnTo>
                <a:lnTo>
                  <a:pt x="102" y="186"/>
                </a:lnTo>
                <a:lnTo>
                  <a:pt x="102" y="186"/>
                </a:lnTo>
                <a:lnTo>
                  <a:pt x="102" y="186"/>
                </a:lnTo>
                <a:lnTo>
                  <a:pt x="102" y="186"/>
                </a:lnTo>
                <a:lnTo>
                  <a:pt x="102" y="186"/>
                </a:lnTo>
                <a:lnTo>
                  <a:pt x="102" y="186"/>
                </a:lnTo>
                <a:lnTo>
                  <a:pt x="102" y="186"/>
                </a:lnTo>
                <a:lnTo>
                  <a:pt x="102" y="186"/>
                </a:lnTo>
                <a:lnTo>
                  <a:pt x="102" y="180"/>
                </a:lnTo>
                <a:lnTo>
                  <a:pt x="102" y="180"/>
                </a:lnTo>
                <a:lnTo>
                  <a:pt x="102" y="180"/>
                </a:lnTo>
                <a:lnTo>
                  <a:pt x="96" y="180"/>
                </a:lnTo>
                <a:lnTo>
                  <a:pt x="96" y="180"/>
                </a:lnTo>
                <a:lnTo>
                  <a:pt x="96" y="180"/>
                </a:lnTo>
                <a:lnTo>
                  <a:pt x="96" y="180"/>
                </a:lnTo>
                <a:lnTo>
                  <a:pt x="96" y="180"/>
                </a:lnTo>
                <a:lnTo>
                  <a:pt x="96" y="180"/>
                </a:lnTo>
                <a:lnTo>
                  <a:pt x="96" y="186"/>
                </a:lnTo>
                <a:lnTo>
                  <a:pt x="96" y="186"/>
                </a:lnTo>
                <a:lnTo>
                  <a:pt x="102" y="186"/>
                </a:lnTo>
                <a:lnTo>
                  <a:pt x="108" y="216"/>
                </a:lnTo>
                <a:lnTo>
                  <a:pt x="102" y="216"/>
                </a:lnTo>
                <a:lnTo>
                  <a:pt x="102" y="216"/>
                </a:lnTo>
                <a:lnTo>
                  <a:pt x="102" y="216"/>
                </a:lnTo>
                <a:lnTo>
                  <a:pt x="102" y="216"/>
                </a:lnTo>
                <a:lnTo>
                  <a:pt x="102" y="216"/>
                </a:lnTo>
                <a:lnTo>
                  <a:pt x="96" y="216"/>
                </a:lnTo>
                <a:lnTo>
                  <a:pt x="96" y="216"/>
                </a:lnTo>
                <a:lnTo>
                  <a:pt x="96" y="216"/>
                </a:lnTo>
                <a:lnTo>
                  <a:pt x="96" y="216"/>
                </a:lnTo>
                <a:lnTo>
                  <a:pt x="96" y="222"/>
                </a:lnTo>
                <a:lnTo>
                  <a:pt x="96" y="222"/>
                </a:lnTo>
                <a:lnTo>
                  <a:pt x="96" y="222"/>
                </a:lnTo>
                <a:lnTo>
                  <a:pt x="96" y="222"/>
                </a:lnTo>
                <a:lnTo>
                  <a:pt x="96" y="222"/>
                </a:lnTo>
                <a:lnTo>
                  <a:pt x="96" y="222"/>
                </a:lnTo>
                <a:lnTo>
                  <a:pt x="96" y="228"/>
                </a:lnTo>
                <a:lnTo>
                  <a:pt x="96" y="228"/>
                </a:lnTo>
                <a:lnTo>
                  <a:pt x="96" y="228"/>
                </a:lnTo>
                <a:lnTo>
                  <a:pt x="96" y="228"/>
                </a:lnTo>
                <a:lnTo>
                  <a:pt x="96" y="228"/>
                </a:lnTo>
                <a:lnTo>
                  <a:pt x="96" y="228"/>
                </a:lnTo>
                <a:lnTo>
                  <a:pt x="96" y="228"/>
                </a:lnTo>
                <a:lnTo>
                  <a:pt x="96" y="228"/>
                </a:lnTo>
                <a:lnTo>
                  <a:pt x="96" y="228"/>
                </a:lnTo>
                <a:lnTo>
                  <a:pt x="96" y="228"/>
                </a:lnTo>
                <a:lnTo>
                  <a:pt x="96" y="234"/>
                </a:lnTo>
                <a:lnTo>
                  <a:pt x="96" y="234"/>
                </a:lnTo>
                <a:lnTo>
                  <a:pt x="96" y="234"/>
                </a:lnTo>
                <a:lnTo>
                  <a:pt x="90" y="234"/>
                </a:lnTo>
                <a:lnTo>
                  <a:pt x="96" y="240"/>
                </a:lnTo>
                <a:lnTo>
                  <a:pt x="90" y="240"/>
                </a:lnTo>
                <a:lnTo>
                  <a:pt x="90" y="240"/>
                </a:lnTo>
                <a:lnTo>
                  <a:pt x="90" y="240"/>
                </a:lnTo>
                <a:lnTo>
                  <a:pt x="90" y="240"/>
                </a:lnTo>
                <a:lnTo>
                  <a:pt x="90" y="240"/>
                </a:lnTo>
                <a:lnTo>
                  <a:pt x="90" y="246"/>
                </a:lnTo>
                <a:lnTo>
                  <a:pt x="84" y="240"/>
                </a:lnTo>
                <a:lnTo>
                  <a:pt x="84" y="240"/>
                </a:lnTo>
                <a:lnTo>
                  <a:pt x="84" y="240"/>
                </a:lnTo>
                <a:lnTo>
                  <a:pt x="84" y="240"/>
                </a:lnTo>
                <a:lnTo>
                  <a:pt x="84" y="234"/>
                </a:lnTo>
                <a:lnTo>
                  <a:pt x="84" y="234"/>
                </a:lnTo>
                <a:lnTo>
                  <a:pt x="84" y="228"/>
                </a:lnTo>
                <a:lnTo>
                  <a:pt x="84" y="228"/>
                </a:lnTo>
                <a:lnTo>
                  <a:pt x="84" y="228"/>
                </a:lnTo>
                <a:lnTo>
                  <a:pt x="84" y="228"/>
                </a:lnTo>
                <a:lnTo>
                  <a:pt x="84" y="228"/>
                </a:lnTo>
                <a:lnTo>
                  <a:pt x="84" y="222"/>
                </a:lnTo>
                <a:lnTo>
                  <a:pt x="84" y="222"/>
                </a:lnTo>
                <a:lnTo>
                  <a:pt x="84" y="222"/>
                </a:lnTo>
                <a:lnTo>
                  <a:pt x="84" y="222"/>
                </a:lnTo>
                <a:lnTo>
                  <a:pt x="84" y="222"/>
                </a:lnTo>
                <a:lnTo>
                  <a:pt x="84" y="222"/>
                </a:lnTo>
                <a:lnTo>
                  <a:pt x="84" y="222"/>
                </a:lnTo>
                <a:lnTo>
                  <a:pt x="84" y="222"/>
                </a:lnTo>
                <a:lnTo>
                  <a:pt x="84" y="222"/>
                </a:lnTo>
                <a:lnTo>
                  <a:pt x="84" y="222"/>
                </a:lnTo>
                <a:lnTo>
                  <a:pt x="84" y="222"/>
                </a:lnTo>
                <a:lnTo>
                  <a:pt x="84" y="216"/>
                </a:lnTo>
                <a:lnTo>
                  <a:pt x="78" y="216"/>
                </a:lnTo>
                <a:lnTo>
                  <a:pt x="78" y="216"/>
                </a:lnTo>
                <a:lnTo>
                  <a:pt x="78" y="216"/>
                </a:lnTo>
                <a:lnTo>
                  <a:pt x="78" y="216"/>
                </a:lnTo>
                <a:lnTo>
                  <a:pt x="78" y="216"/>
                </a:lnTo>
                <a:lnTo>
                  <a:pt x="78" y="216"/>
                </a:lnTo>
                <a:lnTo>
                  <a:pt x="72" y="216"/>
                </a:lnTo>
                <a:lnTo>
                  <a:pt x="78" y="210"/>
                </a:lnTo>
                <a:lnTo>
                  <a:pt x="72" y="210"/>
                </a:lnTo>
                <a:lnTo>
                  <a:pt x="72" y="210"/>
                </a:lnTo>
                <a:lnTo>
                  <a:pt x="72" y="216"/>
                </a:lnTo>
                <a:lnTo>
                  <a:pt x="72" y="216"/>
                </a:lnTo>
                <a:lnTo>
                  <a:pt x="72" y="210"/>
                </a:lnTo>
                <a:lnTo>
                  <a:pt x="72" y="210"/>
                </a:lnTo>
                <a:lnTo>
                  <a:pt x="72" y="210"/>
                </a:lnTo>
                <a:lnTo>
                  <a:pt x="72" y="210"/>
                </a:lnTo>
                <a:lnTo>
                  <a:pt x="72" y="210"/>
                </a:lnTo>
                <a:lnTo>
                  <a:pt x="72" y="210"/>
                </a:lnTo>
                <a:lnTo>
                  <a:pt x="72" y="210"/>
                </a:lnTo>
                <a:lnTo>
                  <a:pt x="72" y="210"/>
                </a:lnTo>
                <a:lnTo>
                  <a:pt x="66" y="210"/>
                </a:lnTo>
                <a:lnTo>
                  <a:pt x="66" y="210"/>
                </a:lnTo>
                <a:lnTo>
                  <a:pt x="66" y="210"/>
                </a:lnTo>
                <a:lnTo>
                  <a:pt x="66" y="210"/>
                </a:lnTo>
                <a:lnTo>
                  <a:pt x="72" y="204"/>
                </a:lnTo>
                <a:lnTo>
                  <a:pt x="66" y="204"/>
                </a:lnTo>
                <a:lnTo>
                  <a:pt x="66" y="204"/>
                </a:lnTo>
                <a:lnTo>
                  <a:pt x="66" y="204"/>
                </a:lnTo>
                <a:lnTo>
                  <a:pt x="66" y="204"/>
                </a:lnTo>
                <a:lnTo>
                  <a:pt x="66" y="204"/>
                </a:lnTo>
                <a:lnTo>
                  <a:pt x="66" y="204"/>
                </a:lnTo>
                <a:lnTo>
                  <a:pt x="66" y="198"/>
                </a:lnTo>
                <a:lnTo>
                  <a:pt x="66" y="198"/>
                </a:lnTo>
                <a:lnTo>
                  <a:pt x="66" y="198"/>
                </a:lnTo>
                <a:lnTo>
                  <a:pt x="66" y="198"/>
                </a:lnTo>
                <a:lnTo>
                  <a:pt x="66" y="198"/>
                </a:lnTo>
                <a:lnTo>
                  <a:pt x="66" y="198"/>
                </a:lnTo>
                <a:lnTo>
                  <a:pt x="66" y="198"/>
                </a:lnTo>
                <a:lnTo>
                  <a:pt x="66" y="198"/>
                </a:lnTo>
                <a:lnTo>
                  <a:pt x="66" y="198"/>
                </a:lnTo>
                <a:lnTo>
                  <a:pt x="66" y="192"/>
                </a:lnTo>
                <a:lnTo>
                  <a:pt x="66" y="192"/>
                </a:lnTo>
                <a:lnTo>
                  <a:pt x="66" y="192"/>
                </a:lnTo>
                <a:lnTo>
                  <a:pt x="66" y="192"/>
                </a:lnTo>
                <a:lnTo>
                  <a:pt x="60" y="192"/>
                </a:lnTo>
                <a:lnTo>
                  <a:pt x="60" y="192"/>
                </a:lnTo>
                <a:lnTo>
                  <a:pt x="66" y="192"/>
                </a:lnTo>
                <a:lnTo>
                  <a:pt x="60" y="192"/>
                </a:lnTo>
                <a:lnTo>
                  <a:pt x="60" y="186"/>
                </a:lnTo>
                <a:lnTo>
                  <a:pt x="60" y="186"/>
                </a:lnTo>
                <a:lnTo>
                  <a:pt x="60" y="192"/>
                </a:lnTo>
                <a:lnTo>
                  <a:pt x="60" y="186"/>
                </a:lnTo>
                <a:lnTo>
                  <a:pt x="60" y="186"/>
                </a:lnTo>
                <a:lnTo>
                  <a:pt x="60" y="186"/>
                </a:lnTo>
                <a:lnTo>
                  <a:pt x="60" y="186"/>
                </a:lnTo>
                <a:lnTo>
                  <a:pt x="60" y="186"/>
                </a:lnTo>
                <a:lnTo>
                  <a:pt x="60" y="180"/>
                </a:lnTo>
                <a:lnTo>
                  <a:pt x="60" y="180"/>
                </a:lnTo>
                <a:lnTo>
                  <a:pt x="60" y="180"/>
                </a:lnTo>
                <a:lnTo>
                  <a:pt x="60" y="180"/>
                </a:lnTo>
                <a:lnTo>
                  <a:pt x="60" y="180"/>
                </a:lnTo>
                <a:lnTo>
                  <a:pt x="60" y="180"/>
                </a:lnTo>
                <a:lnTo>
                  <a:pt x="60" y="180"/>
                </a:lnTo>
                <a:lnTo>
                  <a:pt x="54" y="180"/>
                </a:lnTo>
                <a:lnTo>
                  <a:pt x="60" y="180"/>
                </a:lnTo>
                <a:lnTo>
                  <a:pt x="60" y="174"/>
                </a:lnTo>
                <a:lnTo>
                  <a:pt x="60" y="174"/>
                </a:lnTo>
                <a:lnTo>
                  <a:pt x="60" y="174"/>
                </a:lnTo>
                <a:lnTo>
                  <a:pt x="60" y="174"/>
                </a:lnTo>
                <a:lnTo>
                  <a:pt x="60" y="168"/>
                </a:lnTo>
                <a:lnTo>
                  <a:pt x="54" y="168"/>
                </a:lnTo>
                <a:lnTo>
                  <a:pt x="54" y="168"/>
                </a:lnTo>
                <a:lnTo>
                  <a:pt x="54" y="168"/>
                </a:lnTo>
                <a:lnTo>
                  <a:pt x="54" y="168"/>
                </a:lnTo>
                <a:lnTo>
                  <a:pt x="54" y="168"/>
                </a:lnTo>
                <a:lnTo>
                  <a:pt x="54" y="162"/>
                </a:lnTo>
                <a:lnTo>
                  <a:pt x="54" y="168"/>
                </a:lnTo>
                <a:lnTo>
                  <a:pt x="48" y="162"/>
                </a:lnTo>
                <a:lnTo>
                  <a:pt x="48" y="162"/>
                </a:lnTo>
                <a:lnTo>
                  <a:pt x="54" y="162"/>
                </a:lnTo>
                <a:lnTo>
                  <a:pt x="54" y="162"/>
                </a:lnTo>
                <a:lnTo>
                  <a:pt x="54" y="162"/>
                </a:lnTo>
                <a:lnTo>
                  <a:pt x="54" y="162"/>
                </a:lnTo>
                <a:lnTo>
                  <a:pt x="54" y="156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60" y="150"/>
                </a:lnTo>
                <a:lnTo>
                  <a:pt x="60" y="150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44"/>
                </a:lnTo>
                <a:lnTo>
                  <a:pt x="48" y="144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2" y="138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38"/>
                </a:lnTo>
                <a:lnTo>
                  <a:pt x="48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44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2"/>
                </a:lnTo>
                <a:lnTo>
                  <a:pt x="42" y="132"/>
                </a:lnTo>
                <a:lnTo>
                  <a:pt x="48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0"/>
                </a:lnTo>
                <a:lnTo>
                  <a:pt x="48" y="120"/>
                </a:lnTo>
                <a:lnTo>
                  <a:pt x="48" y="120"/>
                </a:lnTo>
                <a:lnTo>
                  <a:pt x="42" y="120"/>
                </a:lnTo>
                <a:lnTo>
                  <a:pt x="42" y="120"/>
                </a:lnTo>
                <a:lnTo>
                  <a:pt x="42" y="120"/>
                </a:lnTo>
                <a:lnTo>
                  <a:pt x="42" y="120"/>
                </a:lnTo>
                <a:lnTo>
                  <a:pt x="42" y="120"/>
                </a:lnTo>
                <a:lnTo>
                  <a:pt x="42" y="114"/>
                </a:lnTo>
                <a:lnTo>
                  <a:pt x="42" y="114"/>
                </a:lnTo>
                <a:lnTo>
                  <a:pt x="42" y="114"/>
                </a:lnTo>
                <a:lnTo>
                  <a:pt x="36" y="114"/>
                </a:lnTo>
                <a:lnTo>
                  <a:pt x="36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24" y="108"/>
                </a:lnTo>
                <a:lnTo>
                  <a:pt x="24" y="108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18" y="114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12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96"/>
                </a:lnTo>
                <a:lnTo>
                  <a:pt x="0" y="102"/>
                </a:lnTo>
                <a:lnTo>
                  <a:pt x="0" y="102"/>
                </a:lnTo>
                <a:lnTo>
                  <a:pt x="0" y="96"/>
                </a:lnTo>
                <a:lnTo>
                  <a:pt x="6" y="96"/>
                </a:lnTo>
                <a:lnTo>
                  <a:pt x="6" y="96"/>
                </a:lnTo>
                <a:lnTo>
                  <a:pt x="6" y="9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801" name="Freeform 534"/>
          <p:cNvSpPr>
            <a:spLocks/>
          </p:cNvSpPr>
          <p:nvPr/>
        </p:nvSpPr>
        <p:spPr bwMode="auto">
          <a:xfrm>
            <a:off x="6941791" y="2888730"/>
            <a:ext cx="314778" cy="282660"/>
          </a:xfrm>
          <a:custGeom>
            <a:avLst/>
            <a:gdLst>
              <a:gd name="T0" fmla="*/ 18 w 294"/>
              <a:gd name="T1" fmla="*/ 132 h 264"/>
              <a:gd name="T2" fmla="*/ 30 w 294"/>
              <a:gd name="T3" fmla="*/ 108 h 264"/>
              <a:gd name="T4" fmla="*/ 30 w 294"/>
              <a:gd name="T5" fmla="*/ 90 h 264"/>
              <a:gd name="T6" fmla="*/ 24 w 294"/>
              <a:gd name="T7" fmla="*/ 78 h 264"/>
              <a:gd name="T8" fmla="*/ 24 w 294"/>
              <a:gd name="T9" fmla="*/ 66 h 264"/>
              <a:gd name="T10" fmla="*/ 36 w 294"/>
              <a:gd name="T11" fmla="*/ 60 h 264"/>
              <a:gd name="T12" fmla="*/ 42 w 294"/>
              <a:gd name="T13" fmla="*/ 60 h 264"/>
              <a:gd name="T14" fmla="*/ 54 w 294"/>
              <a:gd name="T15" fmla="*/ 60 h 264"/>
              <a:gd name="T16" fmla="*/ 66 w 294"/>
              <a:gd name="T17" fmla="*/ 66 h 264"/>
              <a:gd name="T18" fmla="*/ 96 w 294"/>
              <a:gd name="T19" fmla="*/ 72 h 264"/>
              <a:gd name="T20" fmla="*/ 90 w 294"/>
              <a:gd name="T21" fmla="*/ 54 h 264"/>
              <a:gd name="T22" fmla="*/ 90 w 294"/>
              <a:gd name="T23" fmla="*/ 48 h 264"/>
              <a:gd name="T24" fmla="*/ 96 w 294"/>
              <a:gd name="T25" fmla="*/ 42 h 264"/>
              <a:gd name="T26" fmla="*/ 114 w 294"/>
              <a:gd name="T27" fmla="*/ 54 h 264"/>
              <a:gd name="T28" fmla="*/ 120 w 294"/>
              <a:gd name="T29" fmla="*/ 60 h 264"/>
              <a:gd name="T30" fmla="*/ 138 w 294"/>
              <a:gd name="T31" fmla="*/ 54 h 264"/>
              <a:gd name="T32" fmla="*/ 150 w 294"/>
              <a:gd name="T33" fmla="*/ 48 h 264"/>
              <a:gd name="T34" fmla="*/ 156 w 294"/>
              <a:gd name="T35" fmla="*/ 48 h 264"/>
              <a:gd name="T36" fmla="*/ 168 w 294"/>
              <a:gd name="T37" fmla="*/ 48 h 264"/>
              <a:gd name="T38" fmla="*/ 174 w 294"/>
              <a:gd name="T39" fmla="*/ 42 h 264"/>
              <a:gd name="T40" fmla="*/ 192 w 294"/>
              <a:gd name="T41" fmla="*/ 30 h 264"/>
              <a:gd name="T42" fmla="*/ 198 w 294"/>
              <a:gd name="T43" fmla="*/ 30 h 264"/>
              <a:gd name="T44" fmla="*/ 252 w 294"/>
              <a:gd name="T45" fmla="*/ 0 h 264"/>
              <a:gd name="T46" fmla="*/ 258 w 294"/>
              <a:gd name="T47" fmla="*/ 12 h 264"/>
              <a:gd name="T48" fmla="*/ 258 w 294"/>
              <a:gd name="T49" fmla="*/ 24 h 264"/>
              <a:gd name="T50" fmla="*/ 282 w 294"/>
              <a:gd name="T51" fmla="*/ 18 h 264"/>
              <a:gd name="T52" fmla="*/ 276 w 294"/>
              <a:gd name="T53" fmla="*/ 24 h 264"/>
              <a:gd name="T54" fmla="*/ 246 w 294"/>
              <a:gd name="T55" fmla="*/ 30 h 264"/>
              <a:gd name="T56" fmla="*/ 240 w 294"/>
              <a:gd name="T57" fmla="*/ 42 h 264"/>
              <a:gd name="T58" fmla="*/ 228 w 294"/>
              <a:gd name="T59" fmla="*/ 54 h 264"/>
              <a:gd name="T60" fmla="*/ 216 w 294"/>
              <a:gd name="T61" fmla="*/ 54 h 264"/>
              <a:gd name="T62" fmla="*/ 216 w 294"/>
              <a:gd name="T63" fmla="*/ 72 h 264"/>
              <a:gd name="T64" fmla="*/ 210 w 294"/>
              <a:gd name="T65" fmla="*/ 78 h 264"/>
              <a:gd name="T66" fmla="*/ 204 w 294"/>
              <a:gd name="T67" fmla="*/ 84 h 264"/>
              <a:gd name="T68" fmla="*/ 204 w 294"/>
              <a:gd name="T69" fmla="*/ 90 h 264"/>
              <a:gd name="T70" fmla="*/ 198 w 294"/>
              <a:gd name="T71" fmla="*/ 102 h 264"/>
              <a:gd name="T72" fmla="*/ 198 w 294"/>
              <a:gd name="T73" fmla="*/ 114 h 264"/>
              <a:gd name="T74" fmla="*/ 198 w 294"/>
              <a:gd name="T75" fmla="*/ 132 h 264"/>
              <a:gd name="T76" fmla="*/ 198 w 294"/>
              <a:gd name="T77" fmla="*/ 150 h 264"/>
              <a:gd name="T78" fmla="*/ 180 w 294"/>
              <a:gd name="T79" fmla="*/ 168 h 264"/>
              <a:gd name="T80" fmla="*/ 162 w 294"/>
              <a:gd name="T81" fmla="*/ 174 h 264"/>
              <a:gd name="T82" fmla="*/ 150 w 294"/>
              <a:gd name="T83" fmla="*/ 204 h 264"/>
              <a:gd name="T84" fmla="*/ 156 w 294"/>
              <a:gd name="T85" fmla="*/ 222 h 264"/>
              <a:gd name="T86" fmla="*/ 150 w 294"/>
              <a:gd name="T87" fmla="*/ 228 h 264"/>
              <a:gd name="T88" fmla="*/ 150 w 294"/>
              <a:gd name="T89" fmla="*/ 234 h 264"/>
              <a:gd name="T90" fmla="*/ 144 w 294"/>
              <a:gd name="T91" fmla="*/ 240 h 264"/>
              <a:gd name="T92" fmla="*/ 138 w 294"/>
              <a:gd name="T93" fmla="*/ 246 h 264"/>
              <a:gd name="T94" fmla="*/ 132 w 294"/>
              <a:gd name="T95" fmla="*/ 252 h 264"/>
              <a:gd name="T96" fmla="*/ 114 w 294"/>
              <a:gd name="T97" fmla="*/ 264 h 264"/>
              <a:gd name="T98" fmla="*/ 96 w 294"/>
              <a:gd name="T99" fmla="*/ 264 h 264"/>
              <a:gd name="T100" fmla="*/ 84 w 294"/>
              <a:gd name="T101" fmla="*/ 240 h 264"/>
              <a:gd name="T102" fmla="*/ 78 w 294"/>
              <a:gd name="T103" fmla="*/ 234 h 264"/>
              <a:gd name="T104" fmla="*/ 72 w 294"/>
              <a:gd name="T105" fmla="*/ 222 h 264"/>
              <a:gd name="T106" fmla="*/ 66 w 294"/>
              <a:gd name="T107" fmla="*/ 210 h 264"/>
              <a:gd name="T108" fmla="*/ 66 w 294"/>
              <a:gd name="T109" fmla="*/ 204 h 264"/>
              <a:gd name="T110" fmla="*/ 60 w 294"/>
              <a:gd name="T111" fmla="*/ 198 h 264"/>
              <a:gd name="T112" fmla="*/ 54 w 294"/>
              <a:gd name="T113" fmla="*/ 192 h 264"/>
              <a:gd name="T114" fmla="*/ 48 w 294"/>
              <a:gd name="T115" fmla="*/ 192 h 264"/>
              <a:gd name="T116" fmla="*/ 36 w 294"/>
              <a:gd name="T117" fmla="*/ 180 h 264"/>
              <a:gd name="T118" fmla="*/ 24 w 294"/>
              <a:gd name="T119" fmla="*/ 162 h 264"/>
              <a:gd name="T120" fmla="*/ 12 w 294"/>
              <a:gd name="T121" fmla="*/ 150 h 264"/>
              <a:gd name="T122" fmla="*/ 6 w 294"/>
              <a:gd name="T123" fmla="*/ 144 h 2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94" h="264">
                <a:moveTo>
                  <a:pt x="0" y="138"/>
                </a:moveTo>
                <a:lnTo>
                  <a:pt x="0" y="138"/>
                </a:lnTo>
                <a:lnTo>
                  <a:pt x="0" y="132"/>
                </a:lnTo>
                <a:lnTo>
                  <a:pt x="0" y="132"/>
                </a:lnTo>
                <a:lnTo>
                  <a:pt x="6" y="132"/>
                </a:lnTo>
                <a:lnTo>
                  <a:pt x="6" y="132"/>
                </a:lnTo>
                <a:lnTo>
                  <a:pt x="6" y="132"/>
                </a:lnTo>
                <a:lnTo>
                  <a:pt x="12" y="132"/>
                </a:lnTo>
                <a:lnTo>
                  <a:pt x="12" y="138"/>
                </a:lnTo>
                <a:lnTo>
                  <a:pt x="12" y="138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8" y="126"/>
                </a:lnTo>
                <a:lnTo>
                  <a:pt x="18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30" y="120"/>
                </a:lnTo>
                <a:lnTo>
                  <a:pt x="30" y="120"/>
                </a:lnTo>
                <a:lnTo>
                  <a:pt x="24" y="114"/>
                </a:lnTo>
                <a:lnTo>
                  <a:pt x="30" y="114"/>
                </a:lnTo>
                <a:lnTo>
                  <a:pt x="30" y="114"/>
                </a:lnTo>
                <a:lnTo>
                  <a:pt x="24" y="114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2"/>
                </a:lnTo>
                <a:lnTo>
                  <a:pt x="30" y="96"/>
                </a:lnTo>
                <a:lnTo>
                  <a:pt x="36" y="96"/>
                </a:lnTo>
                <a:lnTo>
                  <a:pt x="36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0"/>
                </a:lnTo>
                <a:lnTo>
                  <a:pt x="30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84"/>
                </a:lnTo>
                <a:lnTo>
                  <a:pt x="24" y="84"/>
                </a:lnTo>
                <a:lnTo>
                  <a:pt x="24" y="90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24" y="78"/>
                </a:lnTo>
                <a:lnTo>
                  <a:pt x="24" y="78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78"/>
                </a:lnTo>
                <a:lnTo>
                  <a:pt x="24" y="78"/>
                </a:lnTo>
                <a:lnTo>
                  <a:pt x="24" y="72"/>
                </a:lnTo>
                <a:lnTo>
                  <a:pt x="24" y="72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30" y="66"/>
                </a:lnTo>
                <a:lnTo>
                  <a:pt x="30" y="66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60"/>
                </a:lnTo>
                <a:lnTo>
                  <a:pt x="36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66" y="66"/>
                </a:lnTo>
                <a:lnTo>
                  <a:pt x="72" y="66"/>
                </a:lnTo>
                <a:lnTo>
                  <a:pt x="72" y="66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6" y="78"/>
                </a:lnTo>
                <a:lnTo>
                  <a:pt x="96" y="72"/>
                </a:lnTo>
                <a:lnTo>
                  <a:pt x="96" y="72"/>
                </a:lnTo>
                <a:lnTo>
                  <a:pt x="90" y="72"/>
                </a:lnTo>
                <a:lnTo>
                  <a:pt x="90" y="72"/>
                </a:lnTo>
                <a:lnTo>
                  <a:pt x="90" y="72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6" y="42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14" y="54"/>
                </a:lnTo>
                <a:lnTo>
                  <a:pt x="114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32" y="54"/>
                </a:lnTo>
                <a:lnTo>
                  <a:pt x="132" y="54"/>
                </a:lnTo>
                <a:lnTo>
                  <a:pt x="132" y="60"/>
                </a:lnTo>
                <a:lnTo>
                  <a:pt x="138" y="60"/>
                </a:lnTo>
                <a:lnTo>
                  <a:pt x="138" y="54"/>
                </a:lnTo>
                <a:lnTo>
                  <a:pt x="138" y="60"/>
                </a:lnTo>
                <a:lnTo>
                  <a:pt x="138" y="60"/>
                </a:lnTo>
                <a:lnTo>
                  <a:pt x="138" y="60"/>
                </a:lnTo>
                <a:lnTo>
                  <a:pt x="138" y="60"/>
                </a:lnTo>
                <a:lnTo>
                  <a:pt x="138" y="60"/>
                </a:lnTo>
                <a:lnTo>
                  <a:pt x="144" y="54"/>
                </a:lnTo>
                <a:lnTo>
                  <a:pt x="144" y="54"/>
                </a:lnTo>
                <a:lnTo>
                  <a:pt x="144" y="54"/>
                </a:lnTo>
                <a:lnTo>
                  <a:pt x="144" y="54"/>
                </a:lnTo>
                <a:lnTo>
                  <a:pt x="144" y="54"/>
                </a:lnTo>
                <a:lnTo>
                  <a:pt x="144" y="54"/>
                </a:lnTo>
                <a:lnTo>
                  <a:pt x="144" y="48"/>
                </a:lnTo>
                <a:lnTo>
                  <a:pt x="144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6" y="48"/>
                </a:lnTo>
                <a:lnTo>
                  <a:pt x="150" y="54"/>
                </a:lnTo>
                <a:lnTo>
                  <a:pt x="150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54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8" y="48"/>
                </a:lnTo>
                <a:lnTo>
                  <a:pt x="162" y="48"/>
                </a:lnTo>
                <a:lnTo>
                  <a:pt x="168" y="48"/>
                </a:lnTo>
                <a:lnTo>
                  <a:pt x="168" y="48"/>
                </a:lnTo>
                <a:lnTo>
                  <a:pt x="168" y="48"/>
                </a:lnTo>
                <a:lnTo>
                  <a:pt x="168" y="42"/>
                </a:lnTo>
                <a:lnTo>
                  <a:pt x="168" y="48"/>
                </a:lnTo>
                <a:lnTo>
                  <a:pt x="168" y="42"/>
                </a:lnTo>
                <a:lnTo>
                  <a:pt x="168" y="48"/>
                </a:lnTo>
                <a:lnTo>
                  <a:pt x="168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80" y="42"/>
                </a:lnTo>
                <a:lnTo>
                  <a:pt x="180" y="42"/>
                </a:lnTo>
                <a:lnTo>
                  <a:pt x="180" y="42"/>
                </a:lnTo>
                <a:lnTo>
                  <a:pt x="180" y="42"/>
                </a:lnTo>
                <a:lnTo>
                  <a:pt x="180" y="42"/>
                </a:lnTo>
                <a:lnTo>
                  <a:pt x="180" y="36"/>
                </a:lnTo>
                <a:lnTo>
                  <a:pt x="180" y="36"/>
                </a:lnTo>
                <a:lnTo>
                  <a:pt x="186" y="36"/>
                </a:lnTo>
                <a:lnTo>
                  <a:pt x="186" y="36"/>
                </a:lnTo>
                <a:lnTo>
                  <a:pt x="186" y="36"/>
                </a:lnTo>
                <a:lnTo>
                  <a:pt x="186" y="36"/>
                </a:lnTo>
                <a:lnTo>
                  <a:pt x="192" y="30"/>
                </a:lnTo>
                <a:lnTo>
                  <a:pt x="192" y="30"/>
                </a:lnTo>
                <a:lnTo>
                  <a:pt x="192" y="30"/>
                </a:lnTo>
                <a:lnTo>
                  <a:pt x="192" y="30"/>
                </a:lnTo>
                <a:lnTo>
                  <a:pt x="192" y="30"/>
                </a:lnTo>
                <a:lnTo>
                  <a:pt x="192" y="30"/>
                </a:lnTo>
                <a:lnTo>
                  <a:pt x="192" y="36"/>
                </a:lnTo>
                <a:lnTo>
                  <a:pt x="192" y="36"/>
                </a:lnTo>
                <a:lnTo>
                  <a:pt x="192" y="36"/>
                </a:lnTo>
                <a:lnTo>
                  <a:pt x="192" y="30"/>
                </a:lnTo>
                <a:lnTo>
                  <a:pt x="198" y="30"/>
                </a:lnTo>
                <a:lnTo>
                  <a:pt x="198" y="30"/>
                </a:lnTo>
                <a:lnTo>
                  <a:pt x="198" y="30"/>
                </a:lnTo>
                <a:lnTo>
                  <a:pt x="198" y="30"/>
                </a:lnTo>
                <a:lnTo>
                  <a:pt x="198" y="30"/>
                </a:lnTo>
                <a:lnTo>
                  <a:pt x="198" y="30"/>
                </a:lnTo>
                <a:lnTo>
                  <a:pt x="198" y="24"/>
                </a:lnTo>
                <a:lnTo>
                  <a:pt x="198" y="24"/>
                </a:lnTo>
                <a:lnTo>
                  <a:pt x="198" y="24"/>
                </a:lnTo>
                <a:lnTo>
                  <a:pt x="198" y="24"/>
                </a:lnTo>
                <a:lnTo>
                  <a:pt x="210" y="18"/>
                </a:lnTo>
                <a:lnTo>
                  <a:pt x="222" y="18"/>
                </a:lnTo>
                <a:lnTo>
                  <a:pt x="246" y="18"/>
                </a:lnTo>
                <a:lnTo>
                  <a:pt x="246" y="18"/>
                </a:lnTo>
                <a:lnTo>
                  <a:pt x="246" y="18"/>
                </a:lnTo>
                <a:lnTo>
                  <a:pt x="246" y="18"/>
                </a:lnTo>
                <a:lnTo>
                  <a:pt x="252" y="18"/>
                </a:lnTo>
                <a:lnTo>
                  <a:pt x="252" y="18"/>
                </a:lnTo>
                <a:lnTo>
                  <a:pt x="252" y="0"/>
                </a:lnTo>
                <a:lnTo>
                  <a:pt x="252" y="0"/>
                </a:lnTo>
                <a:lnTo>
                  <a:pt x="252" y="6"/>
                </a:lnTo>
                <a:lnTo>
                  <a:pt x="252" y="6"/>
                </a:lnTo>
                <a:lnTo>
                  <a:pt x="252" y="6"/>
                </a:lnTo>
                <a:lnTo>
                  <a:pt x="252" y="6"/>
                </a:lnTo>
                <a:lnTo>
                  <a:pt x="252" y="6"/>
                </a:lnTo>
                <a:lnTo>
                  <a:pt x="252" y="6"/>
                </a:lnTo>
                <a:lnTo>
                  <a:pt x="258" y="6"/>
                </a:lnTo>
                <a:lnTo>
                  <a:pt x="258" y="6"/>
                </a:lnTo>
                <a:lnTo>
                  <a:pt x="258" y="6"/>
                </a:lnTo>
                <a:lnTo>
                  <a:pt x="258" y="6"/>
                </a:lnTo>
                <a:lnTo>
                  <a:pt x="258" y="6"/>
                </a:lnTo>
                <a:lnTo>
                  <a:pt x="258" y="6"/>
                </a:lnTo>
                <a:lnTo>
                  <a:pt x="258" y="12"/>
                </a:lnTo>
                <a:lnTo>
                  <a:pt x="258" y="12"/>
                </a:lnTo>
                <a:lnTo>
                  <a:pt x="258" y="12"/>
                </a:lnTo>
                <a:lnTo>
                  <a:pt x="258" y="12"/>
                </a:lnTo>
                <a:lnTo>
                  <a:pt x="258" y="12"/>
                </a:lnTo>
                <a:lnTo>
                  <a:pt x="258" y="12"/>
                </a:lnTo>
                <a:lnTo>
                  <a:pt x="258" y="18"/>
                </a:lnTo>
                <a:lnTo>
                  <a:pt x="258" y="18"/>
                </a:lnTo>
                <a:lnTo>
                  <a:pt x="258" y="18"/>
                </a:lnTo>
                <a:lnTo>
                  <a:pt x="258" y="18"/>
                </a:lnTo>
                <a:lnTo>
                  <a:pt x="258" y="18"/>
                </a:lnTo>
                <a:lnTo>
                  <a:pt x="258" y="18"/>
                </a:lnTo>
                <a:lnTo>
                  <a:pt x="258" y="18"/>
                </a:lnTo>
                <a:lnTo>
                  <a:pt x="258" y="18"/>
                </a:lnTo>
                <a:lnTo>
                  <a:pt x="258" y="24"/>
                </a:lnTo>
                <a:lnTo>
                  <a:pt x="258" y="24"/>
                </a:lnTo>
                <a:lnTo>
                  <a:pt x="264" y="24"/>
                </a:lnTo>
                <a:lnTo>
                  <a:pt x="264" y="24"/>
                </a:lnTo>
                <a:lnTo>
                  <a:pt x="264" y="24"/>
                </a:lnTo>
                <a:lnTo>
                  <a:pt x="270" y="18"/>
                </a:lnTo>
                <a:lnTo>
                  <a:pt x="270" y="24"/>
                </a:lnTo>
                <a:lnTo>
                  <a:pt x="270" y="18"/>
                </a:lnTo>
                <a:lnTo>
                  <a:pt x="270" y="18"/>
                </a:lnTo>
                <a:lnTo>
                  <a:pt x="276" y="18"/>
                </a:lnTo>
                <a:lnTo>
                  <a:pt x="276" y="18"/>
                </a:lnTo>
                <a:lnTo>
                  <a:pt x="276" y="18"/>
                </a:lnTo>
                <a:lnTo>
                  <a:pt x="282" y="18"/>
                </a:lnTo>
                <a:lnTo>
                  <a:pt x="282" y="18"/>
                </a:lnTo>
                <a:lnTo>
                  <a:pt x="282" y="18"/>
                </a:lnTo>
                <a:lnTo>
                  <a:pt x="282" y="18"/>
                </a:lnTo>
                <a:lnTo>
                  <a:pt x="288" y="18"/>
                </a:lnTo>
                <a:lnTo>
                  <a:pt x="288" y="18"/>
                </a:lnTo>
                <a:lnTo>
                  <a:pt x="288" y="12"/>
                </a:lnTo>
                <a:lnTo>
                  <a:pt x="294" y="12"/>
                </a:lnTo>
                <a:lnTo>
                  <a:pt x="294" y="12"/>
                </a:lnTo>
                <a:lnTo>
                  <a:pt x="294" y="18"/>
                </a:lnTo>
                <a:lnTo>
                  <a:pt x="288" y="18"/>
                </a:lnTo>
                <a:lnTo>
                  <a:pt x="288" y="18"/>
                </a:lnTo>
                <a:lnTo>
                  <a:pt x="288" y="24"/>
                </a:lnTo>
                <a:lnTo>
                  <a:pt x="282" y="24"/>
                </a:lnTo>
                <a:lnTo>
                  <a:pt x="282" y="24"/>
                </a:lnTo>
                <a:lnTo>
                  <a:pt x="282" y="24"/>
                </a:lnTo>
                <a:lnTo>
                  <a:pt x="282" y="24"/>
                </a:lnTo>
                <a:lnTo>
                  <a:pt x="276" y="24"/>
                </a:lnTo>
                <a:lnTo>
                  <a:pt x="276" y="24"/>
                </a:lnTo>
                <a:lnTo>
                  <a:pt x="276" y="24"/>
                </a:lnTo>
                <a:lnTo>
                  <a:pt x="276" y="24"/>
                </a:lnTo>
                <a:lnTo>
                  <a:pt x="276" y="24"/>
                </a:lnTo>
                <a:lnTo>
                  <a:pt x="276" y="24"/>
                </a:lnTo>
                <a:lnTo>
                  <a:pt x="276" y="24"/>
                </a:lnTo>
                <a:lnTo>
                  <a:pt x="270" y="24"/>
                </a:lnTo>
                <a:lnTo>
                  <a:pt x="270" y="30"/>
                </a:lnTo>
                <a:lnTo>
                  <a:pt x="270" y="30"/>
                </a:lnTo>
                <a:lnTo>
                  <a:pt x="270" y="30"/>
                </a:lnTo>
                <a:lnTo>
                  <a:pt x="270" y="30"/>
                </a:lnTo>
                <a:lnTo>
                  <a:pt x="270" y="30"/>
                </a:lnTo>
                <a:lnTo>
                  <a:pt x="270" y="30"/>
                </a:lnTo>
                <a:lnTo>
                  <a:pt x="246" y="30"/>
                </a:lnTo>
                <a:lnTo>
                  <a:pt x="246" y="30"/>
                </a:lnTo>
                <a:lnTo>
                  <a:pt x="246" y="36"/>
                </a:lnTo>
                <a:lnTo>
                  <a:pt x="246" y="36"/>
                </a:lnTo>
                <a:lnTo>
                  <a:pt x="246" y="36"/>
                </a:lnTo>
                <a:lnTo>
                  <a:pt x="246" y="36"/>
                </a:lnTo>
                <a:lnTo>
                  <a:pt x="246" y="36"/>
                </a:lnTo>
                <a:lnTo>
                  <a:pt x="246" y="36"/>
                </a:lnTo>
                <a:lnTo>
                  <a:pt x="240" y="36"/>
                </a:lnTo>
                <a:lnTo>
                  <a:pt x="240" y="36"/>
                </a:lnTo>
                <a:lnTo>
                  <a:pt x="240" y="36"/>
                </a:lnTo>
                <a:lnTo>
                  <a:pt x="240" y="42"/>
                </a:lnTo>
                <a:lnTo>
                  <a:pt x="240" y="42"/>
                </a:lnTo>
                <a:lnTo>
                  <a:pt x="240" y="42"/>
                </a:lnTo>
                <a:lnTo>
                  <a:pt x="240" y="42"/>
                </a:lnTo>
                <a:lnTo>
                  <a:pt x="240" y="42"/>
                </a:lnTo>
                <a:lnTo>
                  <a:pt x="240" y="42"/>
                </a:lnTo>
                <a:lnTo>
                  <a:pt x="234" y="42"/>
                </a:lnTo>
                <a:lnTo>
                  <a:pt x="234" y="42"/>
                </a:lnTo>
                <a:lnTo>
                  <a:pt x="234" y="48"/>
                </a:lnTo>
                <a:lnTo>
                  <a:pt x="234" y="48"/>
                </a:lnTo>
                <a:lnTo>
                  <a:pt x="234" y="48"/>
                </a:lnTo>
                <a:lnTo>
                  <a:pt x="234" y="48"/>
                </a:lnTo>
                <a:lnTo>
                  <a:pt x="234" y="48"/>
                </a:lnTo>
                <a:lnTo>
                  <a:pt x="234" y="48"/>
                </a:lnTo>
                <a:lnTo>
                  <a:pt x="234" y="48"/>
                </a:lnTo>
                <a:lnTo>
                  <a:pt x="234" y="48"/>
                </a:lnTo>
                <a:lnTo>
                  <a:pt x="228" y="54"/>
                </a:lnTo>
                <a:lnTo>
                  <a:pt x="228" y="54"/>
                </a:lnTo>
                <a:lnTo>
                  <a:pt x="228" y="54"/>
                </a:lnTo>
                <a:lnTo>
                  <a:pt x="228" y="54"/>
                </a:lnTo>
                <a:lnTo>
                  <a:pt x="228" y="54"/>
                </a:lnTo>
                <a:lnTo>
                  <a:pt x="228" y="54"/>
                </a:lnTo>
                <a:lnTo>
                  <a:pt x="228" y="54"/>
                </a:lnTo>
                <a:lnTo>
                  <a:pt x="228" y="54"/>
                </a:lnTo>
                <a:lnTo>
                  <a:pt x="222" y="54"/>
                </a:lnTo>
                <a:lnTo>
                  <a:pt x="222" y="54"/>
                </a:lnTo>
                <a:lnTo>
                  <a:pt x="222" y="54"/>
                </a:lnTo>
                <a:lnTo>
                  <a:pt x="222" y="54"/>
                </a:lnTo>
                <a:lnTo>
                  <a:pt x="222" y="54"/>
                </a:lnTo>
                <a:lnTo>
                  <a:pt x="216" y="54"/>
                </a:lnTo>
                <a:lnTo>
                  <a:pt x="216" y="54"/>
                </a:lnTo>
                <a:lnTo>
                  <a:pt x="216" y="54"/>
                </a:lnTo>
                <a:lnTo>
                  <a:pt x="216" y="60"/>
                </a:lnTo>
                <a:lnTo>
                  <a:pt x="216" y="60"/>
                </a:lnTo>
                <a:lnTo>
                  <a:pt x="216" y="60"/>
                </a:lnTo>
                <a:lnTo>
                  <a:pt x="216" y="60"/>
                </a:lnTo>
                <a:lnTo>
                  <a:pt x="216" y="60"/>
                </a:lnTo>
                <a:lnTo>
                  <a:pt x="216" y="66"/>
                </a:lnTo>
                <a:lnTo>
                  <a:pt x="216" y="66"/>
                </a:lnTo>
                <a:lnTo>
                  <a:pt x="216" y="66"/>
                </a:lnTo>
                <a:lnTo>
                  <a:pt x="216" y="66"/>
                </a:lnTo>
                <a:lnTo>
                  <a:pt x="216" y="66"/>
                </a:lnTo>
                <a:lnTo>
                  <a:pt x="216" y="66"/>
                </a:lnTo>
                <a:lnTo>
                  <a:pt x="216" y="66"/>
                </a:lnTo>
                <a:lnTo>
                  <a:pt x="216" y="66"/>
                </a:lnTo>
                <a:lnTo>
                  <a:pt x="216" y="72"/>
                </a:lnTo>
                <a:lnTo>
                  <a:pt x="216" y="72"/>
                </a:lnTo>
                <a:lnTo>
                  <a:pt x="216" y="72"/>
                </a:lnTo>
                <a:lnTo>
                  <a:pt x="216" y="72"/>
                </a:lnTo>
                <a:lnTo>
                  <a:pt x="216" y="72"/>
                </a:lnTo>
                <a:lnTo>
                  <a:pt x="216" y="72"/>
                </a:lnTo>
                <a:lnTo>
                  <a:pt x="216" y="72"/>
                </a:lnTo>
                <a:lnTo>
                  <a:pt x="210" y="78"/>
                </a:lnTo>
                <a:lnTo>
                  <a:pt x="210" y="72"/>
                </a:lnTo>
                <a:lnTo>
                  <a:pt x="210" y="72"/>
                </a:lnTo>
                <a:lnTo>
                  <a:pt x="210" y="78"/>
                </a:lnTo>
                <a:lnTo>
                  <a:pt x="210" y="78"/>
                </a:lnTo>
                <a:lnTo>
                  <a:pt x="210" y="78"/>
                </a:lnTo>
                <a:lnTo>
                  <a:pt x="210" y="78"/>
                </a:lnTo>
                <a:lnTo>
                  <a:pt x="210" y="78"/>
                </a:lnTo>
                <a:lnTo>
                  <a:pt x="210" y="78"/>
                </a:lnTo>
                <a:lnTo>
                  <a:pt x="210" y="78"/>
                </a:lnTo>
                <a:lnTo>
                  <a:pt x="210" y="78"/>
                </a:lnTo>
                <a:lnTo>
                  <a:pt x="210" y="78"/>
                </a:lnTo>
                <a:lnTo>
                  <a:pt x="210" y="78"/>
                </a:lnTo>
                <a:lnTo>
                  <a:pt x="210" y="78"/>
                </a:lnTo>
                <a:lnTo>
                  <a:pt x="210" y="78"/>
                </a:lnTo>
                <a:lnTo>
                  <a:pt x="204" y="84"/>
                </a:lnTo>
                <a:lnTo>
                  <a:pt x="210" y="84"/>
                </a:lnTo>
                <a:lnTo>
                  <a:pt x="204" y="84"/>
                </a:lnTo>
                <a:lnTo>
                  <a:pt x="204" y="84"/>
                </a:lnTo>
                <a:lnTo>
                  <a:pt x="204" y="84"/>
                </a:lnTo>
                <a:lnTo>
                  <a:pt x="204" y="84"/>
                </a:lnTo>
                <a:lnTo>
                  <a:pt x="204" y="84"/>
                </a:lnTo>
                <a:lnTo>
                  <a:pt x="204" y="84"/>
                </a:lnTo>
                <a:lnTo>
                  <a:pt x="204" y="84"/>
                </a:lnTo>
                <a:lnTo>
                  <a:pt x="204" y="84"/>
                </a:lnTo>
                <a:lnTo>
                  <a:pt x="204" y="90"/>
                </a:lnTo>
                <a:lnTo>
                  <a:pt x="204" y="90"/>
                </a:lnTo>
                <a:lnTo>
                  <a:pt x="204" y="90"/>
                </a:lnTo>
                <a:lnTo>
                  <a:pt x="204" y="90"/>
                </a:lnTo>
                <a:lnTo>
                  <a:pt x="204" y="90"/>
                </a:lnTo>
                <a:lnTo>
                  <a:pt x="204" y="90"/>
                </a:lnTo>
                <a:lnTo>
                  <a:pt x="204" y="90"/>
                </a:lnTo>
                <a:lnTo>
                  <a:pt x="204" y="90"/>
                </a:lnTo>
                <a:lnTo>
                  <a:pt x="204" y="90"/>
                </a:lnTo>
                <a:lnTo>
                  <a:pt x="204" y="90"/>
                </a:lnTo>
                <a:lnTo>
                  <a:pt x="204" y="90"/>
                </a:lnTo>
                <a:lnTo>
                  <a:pt x="204" y="96"/>
                </a:lnTo>
                <a:lnTo>
                  <a:pt x="204" y="96"/>
                </a:lnTo>
                <a:lnTo>
                  <a:pt x="204" y="96"/>
                </a:lnTo>
                <a:lnTo>
                  <a:pt x="204" y="96"/>
                </a:lnTo>
                <a:lnTo>
                  <a:pt x="204" y="96"/>
                </a:lnTo>
                <a:lnTo>
                  <a:pt x="204" y="96"/>
                </a:lnTo>
                <a:lnTo>
                  <a:pt x="204" y="96"/>
                </a:lnTo>
                <a:lnTo>
                  <a:pt x="204" y="102"/>
                </a:lnTo>
                <a:lnTo>
                  <a:pt x="204" y="102"/>
                </a:lnTo>
                <a:lnTo>
                  <a:pt x="204" y="102"/>
                </a:lnTo>
                <a:lnTo>
                  <a:pt x="204" y="102"/>
                </a:lnTo>
                <a:lnTo>
                  <a:pt x="198" y="102"/>
                </a:lnTo>
                <a:lnTo>
                  <a:pt x="198" y="102"/>
                </a:lnTo>
                <a:lnTo>
                  <a:pt x="198" y="102"/>
                </a:lnTo>
                <a:lnTo>
                  <a:pt x="198" y="102"/>
                </a:lnTo>
                <a:lnTo>
                  <a:pt x="198" y="102"/>
                </a:lnTo>
                <a:lnTo>
                  <a:pt x="198" y="102"/>
                </a:lnTo>
                <a:lnTo>
                  <a:pt x="198" y="102"/>
                </a:lnTo>
                <a:lnTo>
                  <a:pt x="198" y="102"/>
                </a:lnTo>
                <a:lnTo>
                  <a:pt x="192" y="108"/>
                </a:lnTo>
                <a:lnTo>
                  <a:pt x="198" y="108"/>
                </a:lnTo>
                <a:lnTo>
                  <a:pt x="198" y="108"/>
                </a:lnTo>
                <a:lnTo>
                  <a:pt x="198" y="108"/>
                </a:lnTo>
                <a:lnTo>
                  <a:pt x="198" y="108"/>
                </a:lnTo>
                <a:lnTo>
                  <a:pt x="204" y="108"/>
                </a:lnTo>
                <a:lnTo>
                  <a:pt x="204" y="108"/>
                </a:lnTo>
                <a:lnTo>
                  <a:pt x="204" y="114"/>
                </a:lnTo>
                <a:lnTo>
                  <a:pt x="198" y="114"/>
                </a:lnTo>
                <a:lnTo>
                  <a:pt x="204" y="114"/>
                </a:lnTo>
                <a:lnTo>
                  <a:pt x="204" y="114"/>
                </a:lnTo>
                <a:lnTo>
                  <a:pt x="204" y="120"/>
                </a:lnTo>
                <a:lnTo>
                  <a:pt x="204" y="120"/>
                </a:lnTo>
                <a:lnTo>
                  <a:pt x="198" y="120"/>
                </a:lnTo>
                <a:lnTo>
                  <a:pt x="198" y="120"/>
                </a:lnTo>
                <a:lnTo>
                  <a:pt x="198" y="126"/>
                </a:lnTo>
                <a:lnTo>
                  <a:pt x="198" y="126"/>
                </a:lnTo>
                <a:lnTo>
                  <a:pt x="198" y="126"/>
                </a:lnTo>
                <a:lnTo>
                  <a:pt x="198" y="126"/>
                </a:lnTo>
                <a:lnTo>
                  <a:pt x="198" y="126"/>
                </a:lnTo>
                <a:lnTo>
                  <a:pt x="198" y="132"/>
                </a:lnTo>
                <a:lnTo>
                  <a:pt x="198" y="132"/>
                </a:lnTo>
                <a:lnTo>
                  <a:pt x="198" y="132"/>
                </a:lnTo>
                <a:lnTo>
                  <a:pt x="198" y="132"/>
                </a:lnTo>
                <a:lnTo>
                  <a:pt x="198" y="132"/>
                </a:lnTo>
                <a:lnTo>
                  <a:pt x="198" y="138"/>
                </a:lnTo>
                <a:lnTo>
                  <a:pt x="198" y="138"/>
                </a:lnTo>
                <a:lnTo>
                  <a:pt x="192" y="138"/>
                </a:lnTo>
                <a:lnTo>
                  <a:pt x="192" y="138"/>
                </a:lnTo>
                <a:lnTo>
                  <a:pt x="192" y="138"/>
                </a:lnTo>
                <a:lnTo>
                  <a:pt x="192" y="144"/>
                </a:lnTo>
                <a:lnTo>
                  <a:pt x="198" y="144"/>
                </a:lnTo>
                <a:lnTo>
                  <a:pt x="198" y="144"/>
                </a:lnTo>
                <a:lnTo>
                  <a:pt x="198" y="150"/>
                </a:lnTo>
                <a:lnTo>
                  <a:pt x="198" y="150"/>
                </a:lnTo>
                <a:lnTo>
                  <a:pt x="198" y="150"/>
                </a:lnTo>
                <a:lnTo>
                  <a:pt x="198" y="150"/>
                </a:lnTo>
                <a:lnTo>
                  <a:pt x="198" y="156"/>
                </a:lnTo>
                <a:lnTo>
                  <a:pt x="198" y="156"/>
                </a:lnTo>
                <a:lnTo>
                  <a:pt x="198" y="156"/>
                </a:lnTo>
                <a:lnTo>
                  <a:pt x="198" y="162"/>
                </a:lnTo>
                <a:lnTo>
                  <a:pt x="198" y="162"/>
                </a:lnTo>
                <a:lnTo>
                  <a:pt x="192" y="162"/>
                </a:lnTo>
                <a:lnTo>
                  <a:pt x="192" y="162"/>
                </a:lnTo>
                <a:lnTo>
                  <a:pt x="192" y="162"/>
                </a:lnTo>
                <a:lnTo>
                  <a:pt x="192" y="162"/>
                </a:lnTo>
                <a:lnTo>
                  <a:pt x="186" y="162"/>
                </a:lnTo>
                <a:lnTo>
                  <a:pt x="186" y="162"/>
                </a:lnTo>
                <a:lnTo>
                  <a:pt x="186" y="168"/>
                </a:lnTo>
                <a:lnTo>
                  <a:pt x="186" y="168"/>
                </a:lnTo>
                <a:lnTo>
                  <a:pt x="180" y="168"/>
                </a:lnTo>
                <a:lnTo>
                  <a:pt x="180" y="168"/>
                </a:lnTo>
                <a:lnTo>
                  <a:pt x="180" y="168"/>
                </a:lnTo>
                <a:lnTo>
                  <a:pt x="180" y="168"/>
                </a:lnTo>
                <a:lnTo>
                  <a:pt x="180" y="168"/>
                </a:lnTo>
                <a:lnTo>
                  <a:pt x="180" y="168"/>
                </a:lnTo>
                <a:lnTo>
                  <a:pt x="180" y="168"/>
                </a:lnTo>
                <a:lnTo>
                  <a:pt x="180" y="168"/>
                </a:lnTo>
                <a:lnTo>
                  <a:pt x="174" y="168"/>
                </a:lnTo>
                <a:lnTo>
                  <a:pt x="174" y="168"/>
                </a:lnTo>
                <a:lnTo>
                  <a:pt x="174" y="168"/>
                </a:lnTo>
                <a:lnTo>
                  <a:pt x="174" y="168"/>
                </a:lnTo>
                <a:lnTo>
                  <a:pt x="168" y="168"/>
                </a:lnTo>
                <a:lnTo>
                  <a:pt x="168" y="174"/>
                </a:lnTo>
                <a:lnTo>
                  <a:pt x="162" y="174"/>
                </a:lnTo>
                <a:lnTo>
                  <a:pt x="162" y="174"/>
                </a:lnTo>
                <a:lnTo>
                  <a:pt x="162" y="180"/>
                </a:lnTo>
                <a:lnTo>
                  <a:pt x="156" y="186"/>
                </a:lnTo>
                <a:lnTo>
                  <a:pt x="156" y="186"/>
                </a:lnTo>
                <a:lnTo>
                  <a:pt x="156" y="192"/>
                </a:lnTo>
                <a:lnTo>
                  <a:pt x="150" y="192"/>
                </a:lnTo>
                <a:lnTo>
                  <a:pt x="156" y="192"/>
                </a:lnTo>
                <a:lnTo>
                  <a:pt x="150" y="192"/>
                </a:lnTo>
                <a:lnTo>
                  <a:pt x="150" y="192"/>
                </a:lnTo>
                <a:lnTo>
                  <a:pt x="150" y="198"/>
                </a:lnTo>
                <a:lnTo>
                  <a:pt x="150" y="198"/>
                </a:lnTo>
                <a:lnTo>
                  <a:pt x="150" y="198"/>
                </a:lnTo>
                <a:lnTo>
                  <a:pt x="150" y="204"/>
                </a:lnTo>
                <a:lnTo>
                  <a:pt x="150" y="204"/>
                </a:lnTo>
                <a:lnTo>
                  <a:pt x="150" y="210"/>
                </a:lnTo>
                <a:lnTo>
                  <a:pt x="150" y="210"/>
                </a:lnTo>
                <a:lnTo>
                  <a:pt x="150" y="210"/>
                </a:lnTo>
                <a:lnTo>
                  <a:pt x="150" y="210"/>
                </a:lnTo>
                <a:lnTo>
                  <a:pt x="156" y="216"/>
                </a:lnTo>
                <a:lnTo>
                  <a:pt x="156" y="216"/>
                </a:lnTo>
                <a:lnTo>
                  <a:pt x="156" y="216"/>
                </a:lnTo>
                <a:lnTo>
                  <a:pt x="156" y="216"/>
                </a:lnTo>
                <a:lnTo>
                  <a:pt x="156" y="222"/>
                </a:lnTo>
                <a:lnTo>
                  <a:pt x="156" y="222"/>
                </a:lnTo>
                <a:lnTo>
                  <a:pt x="156" y="222"/>
                </a:lnTo>
                <a:lnTo>
                  <a:pt x="156" y="222"/>
                </a:lnTo>
                <a:lnTo>
                  <a:pt x="156" y="222"/>
                </a:lnTo>
                <a:lnTo>
                  <a:pt x="156" y="222"/>
                </a:lnTo>
                <a:lnTo>
                  <a:pt x="156" y="228"/>
                </a:lnTo>
                <a:lnTo>
                  <a:pt x="156" y="228"/>
                </a:lnTo>
                <a:lnTo>
                  <a:pt x="156" y="228"/>
                </a:lnTo>
                <a:lnTo>
                  <a:pt x="156" y="228"/>
                </a:lnTo>
                <a:lnTo>
                  <a:pt x="156" y="228"/>
                </a:lnTo>
                <a:lnTo>
                  <a:pt x="156" y="228"/>
                </a:lnTo>
                <a:lnTo>
                  <a:pt x="156" y="228"/>
                </a:lnTo>
                <a:lnTo>
                  <a:pt x="156" y="228"/>
                </a:lnTo>
                <a:lnTo>
                  <a:pt x="150" y="222"/>
                </a:lnTo>
                <a:lnTo>
                  <a:pt x="150" y="228"/>
                </a:lnTo>
                <a:lnTo>
                  <a:pt x="150" y="228"/>
                </a:lnTo>
                <a:lnTo>
                  <a:pt x="150" y="228"/>
                </a:lnTo>
                <a:lnTo>
                  <a:pt x="150" y="228"/>
                </a:lnTo>
                <a:lnTo>
                  <a:pt x="150" y="228"/>
                </a:lnTo>
                <a:lnTo>
                  <a:pt x="150" y="228"/>
                </a:lnTo>
                <a:lnTo>
                  <a:pt x="150" y="228"/>
                </a:lnTo>
                <a:lnTo>
                  <a:pt x="150" y="228"/>
                </a:lnTo>
                <a:lnTo>
                  <a:pt x="150" y="228"/>
                </a:lnTo>
                <a:lnTo>
                  <a:pt x="150" y="228"/>
                </a:lnTo>
                <a:lnTo>
                  <a:pt x="150" y="228"/>
                </a:lnTo>
                <a:lnTo>
                  <a:pt x="150" y="234"/>
                </a:lnTo>
                <a:lnTo>
                  <a:pt x="150" y="234"/>
                </a:lnTo>
                <a:lnTo>
                  <a:pt x="150" y="234"/>
                </a:lnTo>
                <a:lnTo>
                  <a:pt x="150" y="234"/>
                </a:lnTo>
                <a:lnTo>
                  <a:pt x="150" y="234"/>
                </a:lnTo>
                <a:lnTo>
                  <a:pt x="150" y="234"/>
                </a:lnTo>
                <a:lnTo>
                  <a:pt x="150" y="234"/>
                </a:lnTo>
                <a:lnTo>
                  <a:pt x="150" y="234"/>
                </a:lnTo>
                <a:lnTo>
                  <a:pt x="150" y="234"/>
                </a:lnTo>
                <a:lnTo>
                  <a:pt x="150" y="234"/>
                </a:lnTo>
                <a:lnTo>
                  <a:pt x="150" y="234"/>
                </a:lnTo>
                <a:lnTo>
                  <a:pt x="150" y="234"/>
                </a:lnTo>
                <a:lnTo>
                  <a:pt x="144" y="234"/>
                </a:lnTo>
                <a:lnTo>
                  <a:pt x="144" y="234"/>
                </a:lnTo>
                <a:lnTo>
                  <a:pt x="144" y="240"/>
                </a:lnTo>
                <a:lnTo>
                  <a:pt x="144" y="240"/>
                </a:lnTo>
                <a:lnTo>
                  <a:pt x="144" y="240"/>
                </a:lnTo>
                <a:lnTo>
                  <a:pt x="144" y="240"/>
                </a:lnTo>
                <a:lnTo>
                  <a:pt x="144" y="240"/>
                </a:lnTo>
                <a:lnTo>
                  <a:pt x="144" y="240"/>
                </a:lnTo>
                <a:lnTo>
                  <a:pt x="144" y="240"/>
                </a:lnTo>
                <a:lnTo>
                  <a:pt x="144" y="240"/>
                </a:lnTo>
                <a:lnTo>
                  <a:pt x="144" y="240"/>
                </a:lnTo>
                <a:lnTo>
                  <a:pt x="144" y="246"/>
                </a:lnTo>
                <a:lnTo>
                  <a:pt x="144" y="246"/>
                </a:lnTo>
                <a:lnTo>
                  <a:pt x="144" y="246"/>
                </a:lnTo>
                <a:lnTo>
                  <a:pt x="144" y="246"/>
                </a:lnTo>
                <a:lnTo>
                  <a:pt x="144" y="246"/>
                </a:lnTo>
                <a:lnTo>
                  <a:pt x="144" y="246"/>
                </a:lnTo>
                <a:lnTo>
                  <a:pt x="144" y="246"/>
                </a:lnTo>
                <a:lnTo>
                  <a:pt x="144" y="246"/>
                </a:lnTo>
                <a:lnTo>
                  <a:pt x="138" y="246"/>
                </a:lnTo>
                <a:lnTo>
                  <a:pt x="138" y="246"/>
                </a:lnTo>
                <a:lnTo>
                  <a:pt x="138" y="246"/>
                </a:lnTo>
                <a:lnTo>
                  <a:pt x="138" y="246"/>
                </a:lnTo>
                <a:lnTo>
                  <a:pt x="138" y="246"/>
                </a:lnTo>
                <a:lnTo>
                  <a:pt x="138" y="252"/>
                </a:lnTo>
                <a:lnTo>
                  <a:pt x="138" y="252"/>
                </a:lnTo>
                <a:lnTo>
                  <a:pt x="138" y="252"/>
                </a:lnTo>
                <a:lnTo>
                  <a:pt x="132" y="252"/>
                </a:lnTo>
                <a:lnTo>
                  <a:pt x="132" y="252"/>
                </a:lnTo>
                <a:lnTo>
                  <a:pt x="132" y="252"/>
                </a:lnTo>
                <a:lnTo>
                  <a:pt x="132" y="252"/>
                </a:lnTo>
                <a:lnTo>
                  <a:pt x="132" y="252"/>
                </a:lnTo>
                <a:lnTo>
                  <a:pt x="138" y="252"/>
                </a:lnTo>
                <a:lnTo>
                  <a:pt x="132" y="252"/>
                </a:lnTo>
                <a:lnTo>
                  <a:pt x="132" y="252"/>
                </a:lnTo>
                <a:lnTo>
                  <a:pt x="132" y="252"/>
                </a:lnTo>
                <a:lnTo>
                  <a:pt x="132" y="258"/>
                </a:lnTo>
                <a:lnTo>
                  <a:pt x="132" y="252"/>
                </a:lnTo>
                <a:lnTo>
                  <a:pt x="132" y="258"/>
                </a:lnTo>
                <a:lnTo>
                  <a:pt x="132" y="258"/>
                </a:lnTo>
                <a:lnTo>
                  <a:pt x="132" y="258"/>
                </a:lnTo>
                <a:lnTo>
                  <a:pt x="132" y="258"/>
                </a:lnTo>
                <a:lnTo>
                  <a:pt x="132" y="258"/>
                </a:lnTo>
                <a:lnTo>
                  <a:pt x="126" y="258"/>
                </a:lnTo>
                <a:lnTo>
                  <a:pt x="126" y="258"/>
                </a:lnTo>
                <a:lnTo>
                  <a:pt x="126" y="264"/>
                </a:lnTo>
                <a:lnTo>
                  <a:pt x="126" y="264"/>
                </a:lnTo>
                <a:lnTo>
                  <a:pt x="120" y="264"/>
                </a:lnTo>
                <a:lnTo>
                  <a:pt x="120" y="264"/>
                </a:lnTo>
                <a:lnTo>
                  <a:pt x="120" y="264"/>
                </a:lnTo>
                <a:lnTo>
                  <a:pt x="114" y="264"/>
                </a:lnTo>
                <a:lnTo>
                  <a:pt x="114" y="264"/>
                </a:lnTo>
                <a:lnTo>
                  <a:pt x="114" y="258"/>
                </a:lnTo>
                <a:lnTo>
                  <a:pt x="108" y="258"/>
                </a:lnTo>
                <a:lnTo>
                  <a:pt x="108" y="258"/>
                </a:lnTo>
                <a:lnTo>
                  <a:pt x="108" y="252"/>
                </a:lnTo>
                <a:lnTo>
                  <a:pt x="108" y="252"/>
                </a:lnTo>
                <a:lnTo>
                  <a:pt x="108" y="252"/>
                </a:lnTo>
                <a:lnTo>
                  <a:pt x="102" y="252"/>
                </a:lnTo>
                <a:lnTo>
                  <a:pt x="102" y="252"/>
                </a:lnTo>
                <a:lnTo>
                  <a:pt x="102" y="252"/>
                </a:lnTo>
                <a:lnTo>
                  <a:pt x="102" y="252"/>
                </a:lnTo>
                <a:lnTo>
                  <a:pt x="102" y="252"/>
                </a:lnTo>
                <a:lnTo>
                  <a:pt x="102" y="258"/>
                </a:lnTo>
                <a:lnTo>
                  <a:pt x="96" y="258"/>
                </a:lnTo>
                <a:lnTo>
                  <a:pt x="96" y="264"/>
                </a:lnTo>
                <a:lnTo>
                  <a:pt x="90" y="264"/>
                </a:lnTo>
                <a:lnTo>
                  <a:pt x="90" y="264"/>
                </a:lnTo>
                <a:lnTo>
                  <a:pt x="90" y="252"/>
                </a:lnTo>
                <a:lnTo>
                  <a:pt x="96" y="252"/>
                </a:lnTo>
                <a:lnTo>
                  <a:pt x="96" y="252"/>
                </a:lnTo>
                <a:lnTo>
                  <a:pt x="90" y="252"/>
                </a:lnTo>
                <a:lnTo>
                  <a:pt x="90" y="246"/>
                </a:lnTo>
                <a:lnTo>
                  <a:pt x="90" y="246"/>
                </a:lnTo>
                <a:lnTo>
                  <a:pt x="90" y="246"/>
                </a:lnTo>
                <a:lnTo>
                  <a:pt x="90" y="252"/>
                </a:lnTo>
                <a:lnTo>
                  <a:pt x="84" y="252"/>
                </a:lnTo>
                <a:lnTo>
                  <a:pt x="84" y="252"/>
                </a:lnTo>
                <a:lnTo>
                  <a:pt x="84" y="240"/>
                </a:lnTo>
                <a:lnTo>
                  <a:pt x="84" y="240"/>
                </a:lnTo>
                <a:lnTo>
                  <a:pt x="78" y="240"/>
                </a:lnTo>
                <a:lnTo>
                  <a:pt x="78" y="240"/>
                </a:lnTo>
                <a:lnTo>
                  <a:pt x="78" y="240"/>
                </a:lnTo>
                <a:lnTo>
                  <a:pt x="78" y="240"/>
                </a:lnTo>
                <a:lnTo>
                  <a:pt x="78" y="240"/>
                </a:lnTo>
                <a:lnTo>
                  <a:pt x="78" y="240"/>
                </a:lnTo>
                <a:lnTo>
                  <a:pt x="78" y="240"/>
                </a:lnTo>
                <a:lnTo>
                  <a:pt x="72" y="240"/>
                </a:lnTo>
                <a:lnTo>
                  <a:pt x="72" y="234"/>
                </a:lnTo>
                <a:lnTo>
                  <a:pt x="78" y="234"/>
                </a:lnTo>
                <a:lnTo>
                  <a:pt x="78" y="234"/>
                </a:lnTo>
                <a:lnTo>
                  <a:pt x="78" y="234"/>
                </a:lnTo>
                <a:lnTo>
                  <a:pt x="78" y="234"/>
                </a:lnTo>
                <a:lnTo>
                  <a:pt x="78" y="234"/>
                </a:lnTo>
                <a:lnTo>
                  <a:pt x="78" y="228"/>
                </a:lnTo>
                <a:lnTo>
                  <a:pt x="78" y="228"/>
                </a:lnTo>
                <a:lnTo>
                  <a:pt x="78" y="228"/>
                </a:lnTo>
                <a:lnTo>
                  <a:pt x="78" y="228"/>
                </a:lnTo>
                <a:lnTo>
                  <a:pt x="78" y="228"/>
                </a:lnTo>
                <a:lnTo>
                  <a:pt x="78" y="228"/>
                </a:lnTo>
                <a:lnTo>
                  <a:pt x="78" y="228"/>
                </a:lnTo>
                <a:lnTo>
                  <a:pt x="78" y="228"/>
                </a:lnTo>
                <a:lnTo>
                  <a:pt x="78" y="228"/>
                </a:lnTo>
                <a:lnTo>
                  <a:pt x="78" y="228"/>
                </a:lnTo>
                <a:lnTo>
                  <a:pt x="78" y="222"/>
                </a:lnTo>
                <a:lnTo>
                  <a:pt x="72" y="222"/>
                </a:lnTo>
                <a:lnTo>
                  <a:pt x="72" y="222"/>
                </a:lnTo>
                <a:lnTo>
                  <a:pt x="72" y="222"/>
                </a:lnTo>
                <a:lnTo>
                  <a:pt x="72" y="222"/>
                </a:lnTo>
                <a:lnTo>
                  <a:pt x="72" y="222"/>
                </a:lnTo>
                <a:lnTo>
                  <a:pt x="72" y="222"/>
                </a:lnTo>
                <a:lnTo>
                  <a:pt x="72" y="222"/>
                </a:lnTo>
                <a:lnTo>
                  <a:pt x="66" y="222"/>
                </a:lnTo>
                <a:lnTo>
                  <a:pt x="66" y="216"/>
                </a:lnTo>
                <a:lnTo>
                  <a:pt x="66" y="216"/>
                </a:lnTo>
                <a:lnTo>
                  <a:pt x="66" y="216"/>
                </a:lnTo>
                <a:lnTo>
                  <a:pt x="66" y="216"/>
                </a:lnTo>
                <a:lnTo>
                  <a:pt x="66" y="216"/>
                </a:lnTo>
                <a:lnTo>
                  <a:pt x="66" y="216"/>
                </a:lnTo>
                <a:lnTo>
                  <a:pt x="66" y="210"/>
                </a:lnTo>
                <a:lnTo>
                  <a:pt x="66" y="210"/>
                </a:lnTo>
                <a:lnTo>
                  <a:pt x="66" y="210"/>
                </a:lnTo>
                <a:lnTo>
                  <a:pt x="66" y="210"/>
                </a:lnTo>
                <a:lnTo>
                  <a:pt x="66" y="210"/>
                </a:lnTo>
                <a:lnTo>
                  <a:pt x="66" y="210"/>
                </a:lnTo>
                <a:lnTo>
                  <a:pt x="66" y="210"/>
                </a:lnTo>
                <a:lnTo>
                  <a:pt x="66" y="210"/>
                </a:lnTo>
                <a:lnTo>
                  <a:pt x="66" y="204"/>
                </a:lnTo>
                <a:lnTo>
                  <a:pt x="66" y="204"/>
                </a:lnTo>
                <a:lnTo>
                  <a:pt x="66" y="204"/>
                </a:lnTo>
                <a:lnTo>
                  <a:pt x="66" y="204"/>
                </a:lnTo>
                <a:lnTo>
                  <a:pt x="66" y="204"/>
                </a:lnTo>
                <a:lnTo>
                  <a:pt x="66" y="204"/>
                </a:lnTo>
                <a:lnTo>
                  <a:pt x="66" y="204"/>
                </a:lnTo>
                <a:lnTo>
                  <a:pt x="66" y="204"/>
                </a:lnTo>
                <a:lnTo>
                  <a:pt x="66" y="204"/>
                </a:lnTo>
                <a:lnTo>
                  <a:pt x="66" y="198"/>
                </a:lnTo>
                <a:lnTo>
                  <a:pt x="66" y="198"/>
                </a:lnTo>
                <a:lnTo>
                  <a:pt x="66" y="198"/>
                </a:lnTo>
                <a:lnTo>
                  <a:pt x="66" y="198"/>
                </a:lnTo>
                <a:lnTo>
                  <a:pt x="66" y="198"/>
                </a:lnTo>
                <a:lnTo>
                  <a:pt x="66" y="198"/>
                </a:lnTo>
                <a:lnTo>
                  <a:pt x="66" y="198"/>
                </a:lnTo>
                <a:lnTo>
                  <a:pt x="66" y="198"/>
                </a:lnTo>
                <a:lnTo>
                  <a:pt x="66" y="198"/>
                </a:lnTo>
                <a:lnTo>
                  <a:pt x="66" y="198"/>
                </a:lnTo>
                <a:lnTo>
                  <a:pt x="66" y="198"/>
                </a:lnTo>
                <a:lnTo>
                  <a:pt x="60" y="198"/>
                </a:lnTo>
                <a:lnTo>
                  <a:pt x="66" y="198"/>
                </a:lnTo>
                <a:lnTo>
                  <a:pt x="60" y="198"/>
                </a:lnTo>
                <a:lnTo>
                  <a:pt x="60" y="198"/>
                </a:lnTo>
                <a:lnTo>
                  <a:pt x="60" y="198"/>
                </a:lnTo>
                <a:lnTo>
                  <a:pt x="60" y="198"/>
                </a:lnTo>
                <a:lnTo>
                  <a:pt x="60" y="198"/>
                </a:lnTo>
                <a:lnTo>
                  <a:pt x="60" y="198"/>
                </a:lnTo>
                <a:lnTo>
                  <a:pt x="60" y="198"/>
                </a:lnTo>
                <a:lnTo>
                  <a:pt x="54" y="198"/>
                </a:lnTo>
                <a:lnTo>
                  <a:pt x="54" y="198"/>
                </a:lnTo>
                <a:lnTo>
                  <a:pt x="54" y="198"/>
                </a:lnTo>
                <a:lnTo>
                  <a:pt x="54" y="192"/>
                </a:lnTo>
                <a:lnTo>
                  <a:pt x="60" y="192"/>
                </a:lnTo>
                <a:lnTo>
                  <a:pt x="60" y="192"/>
                </a:lnTo>
                <a:lnTo>
                  <a:pt x="54" y="192"/>
                </a:lnTo>
                <a:lnTo>
                  <a:pt x="54" y="192"/>
                </a:lnTo>
                <a:lnTo>
                  <a:pt x="54" y="192"/>
                </a:lnTo>
                <a:lnTo>
                  <a:pt x="54" y="192"/>
                </a:lnTo>
                <a:lnTo>
                  <a:pt x="54" y="192"/>
                </a:lnTo>
                <a:lnTo>
                  <a:pt x="54" y="192"/>
                </a:lnTo>
                <a:lnTo>
                  <a:pt x="54" y="192"/>
                </a:lnTo>
                <a:lnTo>
                  <a:pt x="48" y="192"/>
                </a:lnTo>
                <a:lnTo>
                  <a:pt x="48" y="186"/>
                </a:lnTo>
                <a:lnTo>
                  <a:pt x="48" y="192"/>
                </a:lnTo>
                <a:lnTo>
                  <a:pt x="48" y="186"/>
                </a:lnTo>
                <a:lnTo>
                  <a:pt x="48" y="186"/>
                </a:lnTo>
                <a:lnTo>
                  <a:pt x="48" y="186"/>
                </a:lnTo>
                <a:lnTo>
                  <a:pt x="48" y="186"/>
                </a:lnTo>
                <a:lnTo>
                  <a:pt x="48" y="192"/>
                </a:lnTo>
                <a:lnTo>
                  <a:pt x="48" y="192"/>
                </a:lnTo>
                <a:lnTo>
                  <a:pt x="42" y="186"/>
                </a:lnTo>
                <a:lnTo>
                  <a:pt x="48" y="186"/>
                </a:lnTo>
                <a:lnTo>
                  <a:pt x="48" y="186"/>
                </a:lnTo>
                <a:lnTo>
                  <a:pt x="42" y="186"/>
                </a:lnTo>
                <a:lnTo>
                  <a:pt x="42" y="186"/>
                </a:lnTo>
                <a:lnTo>
                  <a:pt x="42" y="186"/>
                </a:lnTo>
                <a:lnTo>
                  <a:pt x="42" y="186"/>
                </a:lnTo>
                <a:lnTo>
                  <a:pt x="42" y="186"/>
                </a:lnTo>
                <a:lnTo>
                  <a:pt x="36" y="186"/>
                </a:lnTo>
                <a:lnTo>
                  <a:pt x="42" y="180"/>
                </a:lnTo>
                <a:lnTo>
                  <a:pt x="36" y="180"/>
                </a:lnTo>
                <a:lnTo>
                  <a:pt x="36" y="180"/>
                </a:lnTo>
                <a:lnTo>
                  <a:pt x="36" y="180"/>
                </a:lnTo>
                <a:lnTo>
                  <a:pt x="36" y="180"/>
                </a:lnTo>
                <a:lnTo>
                  <a:pt x="30" y="180"/>
                </a:lnTo>
                <a:lnTo>
                  <a:pt x="30" y="174"/>
                </a:lnTo>
                <a:lnTo>
                  <a:pt x="30" y="174"/>
                </a:lnTo>
                <a:lnTo>
                  <a:pt x="30" y="174"/>
                </a:lnTo>
                <a:lnTo>
                  <a:pt x="30" y="174"/>
                </a:lnTo>
                <a:lnTo>
                  <a:pt x="30" y="174"/>
                </a:lnTo>
                <a:lnTo>
                  <a:pt x="24" y="174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2"/>
                </a:lnTo>
                <a:lnTo>
                  <a:pt x="24" y="162"/>
                </a:lnTo>
                <a:lnTo>
                  <a:pt x="24" y="162"/>
                </a:lnTo>
                <a:lnTo>
                  <a:pt x="24" y="162"/>
                </a:lnTo>
                <a:lnTo>
                  <a:pt x="24" y="162"/>
                </a:lnTo>
                <a:lnTo>
                  <a:pt x="24" y="162"/>
                </a:lnTo>
                <a:lnTo>
                  <a:pt x="18" y="156"/>
                </a:lnTo>
                <a:lnTo>
                  <a:pt x="18" y="156"/>
                </a:lnTo>
                <a:lnTo>
                  <a:pt x="18" y="156"/>
                </a:lnTo>
                <a:lnTo>
                  <a:pt x="18" y="156"/>
                </a:lnTo>
                <a:lnTo>
                  <a:pt x="18" y="156"/>
                </a:lnTo>
                <a:lnTo>
                  <a:pt x="18" y="156"/>
                </a:lnTo>
                <a:lnTo>
                  <a:pt x="18" y="156"/>
                </a:lnTo>
                <a:lnTo>
                  <a:pt x="18" y="156"/>
                </a:lnTo>
                <a:lnTo>
                  <a:pt x="12" y="156"/>
                </a:lnTo>
                <a:lnTo>
                  <a:pt x="12" y="150"/>
                </a:lnTo>
                <a:lnTo>
                  <a:pt x="12" y="150"/>
                </a:lnTo>
                <a:lnTo>
                  <a:pt x="12" y="150"/>
                </a:lnTo>
                <a:lnTo>
                  <a:pt x="12" y="150"/>
                </a:lnTo>
                <a:lnTo>
                  <a:pt x="12" y="150"/>
                </a:lnTo>
                <a:lnTo>
                  <a:pt x="12" y="150"/>
                </a:lnTo>
                <a:lnTo>
                  <a:pt x="12" y="150"/>
                </a:lnTo>
                <a:lnTo>
                  <a:pt x="12" y="150"/>
                </a:lnTo>
                <a:lnTo>
                  <a:pt x="6" y="144"/>
                </a:lnTo>
                <a:lnTo>
                  <a:pt x="6" y="150"/>
                </a:lnTo>
                <a:lnTo>
                  <a:pt x="6" y="144"/>
                </a:lnTo>
                <a:lnTo>
                  <a:pt x="6" y="150"/>
                </a:lnTo>
                <a:lnTo>
                  <a:pt x="6" y="150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0" y="138"/>
                </a:lnTo>
                <a:lnTo>
                  <a:pt x="0" y="138"/>
                </a:lnTo>
                <a:lnTo>
                  <a:pt x="0" y="13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802" name="Freeform 535"/>
          <p:cNvSpPr>
            <a:spLocks/>
          </p:cNvSpPr>
          <p:nvPr/>
        </p:nvSpPr>
        <p:spPr bwMode="auto">
          <a:xfrm>
            <a:off x="7102392" y="2920850"/>
            <a:ext cx="179873" cy="282660"/>
          </a:xfrm>
          <a:custGeom>
            <a:avLst/>
            <a:gdLst>
              <a:gd name="T0" fmla="*/ 0 w 168"/>
              <a:gd name="T1" fmla="*/ 180 h 264"/>
              <a:gd name="T2" fmla="*/ 6 w 168"/>
              <a:gd name="T3" fmla="*/ 162 h 264"/>
              <a:gd name="T4" fmla="*/ 24 w 168"/>
              <a:gd name="T5" fmla="*/ 138 h 264"/>
              <a:gd name="T6" fmla="*/ 36 w 168"/>
              <a:gd name="T7" fmla="*/ 138 h 264"/>
              <a:gd name="T8" fmla="*/ 48 w 168"/>
              <a:gd name="T9" fmla="*/ 126 h 264"/>
              <a:gd name="T10" fmla="*/ 42 w 168"/>
              <a:gd name="T11" fmla="*/ 108 h 264"/>
              <a:gd name="T12" fmla="*/ 48 w 168"/>
              <a:gd name="T13" fmla="*/ 96 h 264"/>
              <a:gd name="T14" fmla="*/ 54 w 168"/>
              <a:gd name="T15" fmla="*/ 78 h 264"/>
              <a:gd name="T16" fmla="*/ 48 w 168"/>
              <a:gd name="T17" fmla="*/ 72 h 264"/>
              <a:gd name="T18" fmla="*/ 54 w 168"/>
              <a:gd name="T19" fmla="*/ 66 h 264"/>
              <a:gd name="T20" fmla="*/ 54 w 168"/>
              <a:gd name="T21" fmla="*/ 60 h 264"/>
              <a:gd name="T22" fmla="*/ 60 w 168"/>
              <a:gd name="T23" fmla="*/ 54 h 264"/>
              <a:gd name="T24" fmla="*/ 60 w 168"/>
              <a:gd name="T25" fmla="*/ 48 h 264"/>
              <a:gd name="T26" fmla="*/ 66 w 168"/>
              <a:gd name="T27" fmla="*/ 42 h 264"/>
              <a:gd name="T28" fmla="*/ 66 w 168"/>
              <a:gd name="T29" fmla="*/ 30 h 264"/>
              <a:gd name="T30" fmla="*/ 72 w 168"/>
              <a:gd name="T31" fmla="*/ 24 h 264"/>
              <a:gd name="T32" fmla="*/ 84 w 168"/>
              <a:gd name="T33" fmla="*/ 18 h 264"/>
              <a:gd name="T34" fmla="*/ 90 w 168"/>
              <a:gd name="T35" fmla="*/ 12 h 264"/>
              <a:gd name="T36" fmla="*/ 96 w 168"/>
              <a:gd name="T37" fmla="*/ 6 h 264"/>
              <a:gd name="T38" fmla="*/ 120 w 168"/>
              <a:gd name="T39" fmla="*/ 12 h 264"/>
              <a:gd name="T40" fmla="*/ 114 w 168"/>
              <a:gd name="T41" fmla="*/ 24 h 264"/>
              <a:gd name="T42" fmla="*/ 120 w 168"/>
              <a:gd name="T43" fmla="*/ 42 h 264"/>
              <a:gd name="T44" fmla="*/ 150 w 168"/>
              <a:gd name="T45" fmla="*/ 30 h 264"/>
              <a:gd name="T46" fmla="*/ 132 w 168"/>
              <a:gd name="T47" fmla="*/ 42 h 264"/>
              <a:gd name="T48" fmla="*/ 126 w 168"/>
              <a:gd name="T49" fmla="*/ 54 h 264"/>
              <a:gd name="T50" fmla="*/ 126 w 168"/>
              <a:gd name="T51" fmla="*/ 66 h 264"/>
              <a:gd name="T52" fmla="*/ 126 w 168"/>
              <a:gd name="T53" fmla="*/ 84 h 264"/>
              <a:gd name="T54" fmla="*/ 126 w 168"/>
              <a:gd name="T55" fmla="*/ 90 h 264"/>
              <a:gd name="T56" fmla="*/ 126 w 168"/>
              <a:gd name="T57" fmla="*/ 108 h 264"/>
              <a:gd name="T58" fmla="*/ 126 w 168"/>
              <a:gd name="T59" fmla="*/ 126 h 264"/>
              <a:gd name="T60" fmla="*/ 126 w 168"/>
              <a:gd name="T61" fmla="*/ 138 h 264"/>
              <a:gd name="T62" fmla="*/ 144 w 168"/>
              <a:gd name="T63" fmla="*/ 150 h 264"/>
              <a:gd name="T64" fmla="*/ 150 w 168"/>
              <a:gd name="T65" fmla="*/ 156 h 264"/>
              <a:gd name="T66" fmla="*/ 162 w 168"/>
              <a:gd name="T67" fmla="*/ 168 h 264"/>
              <a:gd name="T68" fmla="*/ 168 w 168"/>
              <a:gd name="T69" fmla="*/ 180 h 264"/>
              <a:gd name="T70" fmla="*/ 156 w 168"/>
              <a:gd name="T71" fmla="*/ 180 h 264"/>
              <a:gd name="T72" fmla="*/ 156 w 168"/>
              <a:gd name="T73" fmla="*/ 192 h 264"/>
              <a:gd name="T74" fmla="*/ 156 w 168"/>
              <a:gd name="T75" fmla="*/ 198 h 264"/>
              <a:gd name="T76" fmla="*/ 156 w 168"/>
              <a:gd name="T77" fmla="*/ 210 h 264"/>
              <a:gd name="T78" fmla="*/ 156 w 168"/>
              <a:gd name="T79" fmla="*/ 216 h 264"/>
              <a:gd name="T80" fmla="*/ 156 w 168"/>
              <a:gd name="T81" fmla="*/ 228 h 264"/>
              <a:gd name="T82" fmla="*/ 150 w 168"/>
              <a:gd name="T83" fmla="*/ 240 h 264"/>
              <a:gd name="T84" fmla="*/ 138 w 168"/>
              <a:gd name="T85" fmla="*/ 246 h 264"/>
              <a:gd name="T86" fmla="*/ 120 w 168"/>
              <a:gd name="T87" fmla="*/ 246 h 264"/>
              <a:gd name="T88" fmla="*/ 114 w 168"/>
              <a:gd name="T89" fmla="*/ 234 h 264"/>
              <a:gd name="T90" fmla="*/ 102 w 168"/>
              <a:gd name="T91" fmla="*/ 222 h 264"/>
              <a:gd name="T92" fmla="*/ 90 w 168"/>
              <a:gd name="T93" fmla="*/ 222 h 264"/>
              <a:gd name="T94" fmla="*/ 84 w 168"/>
              <a:gd name="T95" fmla="*/ 234 h 264"/>
              <a:gd name="T96" fmla="*/ 90 w 168"/>
              <a:gd name="T97" fmla="*/ 252 h 264"/>
              <a:gd name="T98" fmla="*/ 90 w 168"/>
              <a:gd name="T99" fmla="*/ 264 h 264"/>
              <a:gd name="T100" fmla="*/ 72 w 168"/>
              <a:gd name="T101" fmla="*/ 264 h 264"/>
              <a:gd name="T102" fmla="*/ 36 w 168"/>
              <a:gd name="T103" fmla="*/ 264 h 264"/>
              <a:gd name="T104" fmla="*/ 18 w 168"/>
              <a:gd name="T105" fmla="*/ 228 h 264"/>
              <a:gd name="T106" fmla="*/ 12 w 168"/>
              <a:gd name="T107" fmla="*/ 222 h 264"/>
              <a:gd name="T108" fmla="*/ 12 w 168"/>
              <a:gd name="T109" fmla="*/ 210 h 264"/>
              <a:gd name="T110" fmla="*/ 12 w 168"/>
              <a:gd name="T111" fmla="*/ 204 h 264"/>
              <a:gd name="T112" fmla="*/ 18 w 168"/>
              <a:gd name="T113" fmla="*/ 204 h 264"/>
              <a:gd name="T114" fmla="*/ 12 w 168"/>
              <a:gd name="T115" fmla="*/ 198 h 2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68" h="264">
                <a:moveTo>
                  <a:pt x="6" y="192"/>
                </a:moveTo>
                <a:lnTo>
                  <a:pt x="6" y="192"/>
                </a:lnTo>
                <a:lnTo>
                  <a:pt x="6" y="192"/>
                </a:lnTo>
                <a:lnTo>
                  <a:pt x="6" y="192"/>
                </a:lnTo>
                <a:lnTo>
                  <a:pt x="6" y="192"/>
                </a:lnTo>
                <a:lnTo>
                  <a:pt x="6" y="192"/>
                </a:lnTo>
                <a:lnTo>
                  <a:pt x="6" y="186"/>
                </a:lnTo>
                <a:lnTo>
                  <a:pt x="6" y="186"/>
                </a:lnTo>
                <a:lnTo>
                  <a:pt x="6" y="186"/>
                </a:lnTo>
                <a:lnTo>
                  <a:pt x="6" y="186"/>
                </a:lnTo>
                <a:lnTo>
                  <a:pt x="0" y="180"/>
                </a:lnTo>
                <a:lnTo>
                  <a:pt x="0" y="180"/>
                </a:lnTo>
                <a:lnTo>
                  <a:pt x="0" y="180"/>
                </a:lnTo>
                <a:lnTo>
                  <a:pt x="0" y="180"/>
                </a:lnTo>
                <a:lnTo>
                  <a:pt x="0" y="174"/>
                </a:lnTo>
                <a:lnTo>
                  <a:pt x="0" y="174"/>
                </a:lnTo>
                <a:lnTo>
                  <a:pt x="0" y="168"/>
                </a:lnTo>
                <a:lnTo>
                  <a:pt x="0" y="168"/>
                </a:lnTo>
                <a:lnTo>
                  <a:pt x="0" y="168"/>
                </a:lnTo>
                <a:lnTo>
                  <a:pt x="0" y="162"/>
                </a:lnTo>
                <a:lnTo>
                  <a:pt x="0" y="162"/>
                </a:lnTo>
                <a:lnTo>
                  <a:pt x="6" y="162"/>
                </a:lnTo>
                <a:lnTo>
                  <a:pt x="0" y="162"/>
                </a:lnTo>
                <a:lnTo>
                  <a:pt x="6" y="162"/>
                </a:lnTo>
                <a:lnTo>
                  <a:pt x="6" y="156"/>
                </a:lnTo>
                <a:lnTo>
                  <a:pt x="6" y="156"/>
                </a:lnTo>
                <a:lnTo>
                  <a:pt x="12" y="150"/>
                </a:lnTo>
                <a:lnTo>
                  <a:pt x="12" y="144"/>
                </a:lnTo>
                <a:lnTo>
                  <a:pt x="12" y="144"/>
                </a:lnTo>
                <a:lnTo>
                  <a:pt x="18" y="144"/>
                </a:lnTo>
                <a:lnTo>
                  <a:pt x="18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30" y="138"/>
                </a:lnTo>
                <a:lnTo>
                  <a:pt x="30" y="138"/>
                </a:lnTo>
                <a:lnTo>
                  <a:pt x="30" y="138"/>
                </a:lnTo>
                <a:lnTo>
                  <a:pt x="30" y="138"/>
                </a:lnTo>
                <a:lnTo>
                  <a:pt x="30" y="138"/>
                </a:lnTo>
                <a:lnTo>
                  <a:pt x="30" y="138"/>
                </a:lnTo>
                <a:lnTo>
                  <a:pt x="30" y="138"/>
                </a:lnTo>
                <a:lnTo>
                  <a:pt x="30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2"/>
                </a:lnTo>
                <a:lnTo>
                  <a:pt x="36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14"/>
                </a:lnTo>
                <a:lnTo>
                  <a:pt x="48" y="114"/>
                </a:lnTo>
                <a:lnTo>
                  <a:pt x="42" y="114"/>
                </a:lnTo>
                <a:lnTo>
                  <a:pt x="42" y="108"/>
                </a:lnTo>
                <a:lnTo>
                  <a:pt x="42" y="108"/>
                </a:lnTo>
                <a:lnTo>
                  <a:pt x="42" y="108"/>
                </a:lnTo>
                <a:lnTo>
                  <a:pt x="48" y="108"/>
                </a:lnTo>
                <a:lnTo>
                  <a:pt x="48" y="108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102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6"/>
                </a:lnTo>
                <a:lnTo>
                  <a:pt x="48" y="90"/>
                </a:lnTo>
                <a:lnTo>
                  <a:pt x="48" y="90"/>
                </a:lnTo>
                <a:lnTo>
                  <a:pt x="54" y="90"/>
                </a:lnTo>
                <a:lnTo>
                  <a:pt x="54" y="90"/>
                </a:lnTo>
                <a:lnTo>
                  <a:pt x="54" y="84"/>
                </a:lnTo>
                <a:lnTo>
                  <a:pt x="54" y="84"/>
                </a:lnTo>
                <a:lnTo>
                  <a:pt x="48" y="84"/>
                </a:lnTo>
                <a:lnTo>
                  <a:pt x="54" y="84"/>
                </a:lnTo>
                <a:lnTo>
                  <a:pt x="54" y="78"/>
                </a:lnTo>
                <a:lnTo>
                  <a:pt x="54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2" y="78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60" y="54"/>
                </a:lnTo>
                <a:lnTo>
                  <a:pt x="54" y="54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2"/>
                </a:lnTo>
                <a:lnTo>
                  <a:pt x="60" y="42"/>
                </a:lnTo>
                <a:lnTo>
                  <a:pt x="60" y="48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2"/>
                </a:lnTo>
                <a:lnTo>
                  <a:pt x="84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0"/>
                </a:lnTo>
                <a:lnTo>
                  <a:pt x="96" y="0"/>
                </a:lnTo>
                <a:lnTo>
                  <a:pt x="120" y="0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30"/>
                </a:lnTo>
                <a:lnTo>
                  <a:pt x="120" y="30"/>
                </a:lnTo>
                <a:lnTo>
                  <a:pt x="114" y="30"/>
                </a:lnTo>
                <a:lnTo>
                  <a:pt x="120" y="30"/>
                </a:lnTo>
                <a:lnTo>
                  <a:pt x="114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6" y="36"/>
                </a:lnTo>
                <a:lnTo>
                  <a:pt x="126" y="36"/>
                </a:lnTo>
                <a:lnTo>
                  <a:pt x="132" y="36"/>
                </a:lnTo>
                <a:lnTo>
                  <a:pt x="132" y="36"/>
                </a:lnTo>
                <a:lnTo>
                  <a:pt x="138" y="30"/>
                </a:lnTo>
                <a:lnTo>
                  <a:pt x="138" y="30"/>
                </a:lnTo>
                <a:lnTo>
                  <a:pt x="144" y="30"/>
                </a:lnTo>
                <a:lnTo>
                  <a:pt x="144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36"/>
                </a:lnTo>
                <a:lnTo>
                  <a:pt x="144" y="36"/>
                </a:lnTo>
                <a:lnTo>
                  <a:pt x="144" y="36"/>
                </a:lnTo>
                <a:lnTo>
                  <a:pt x="144" y="42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2" y="42"/>
                </a:lnTo>
                <a:lnTo>
                  <a:pt x="132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32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72"/>
                </a:lnTo>
                <a:lnTo>
                  <a:pt x="132" y="66"/>
                </a:lnTo>
                <a:lnTo>
                  <a:pt x="132" y="72"/>
                </a:lnTo>
                <a:lnTo>
                  <a:pt x="138" y="72"/>
                </a:lnTo>
                <a:lnTo>
                  <a:pt x="132" y="72"/>
                </a:lnTo>
                <a:lnTo>
                  <a:pt x="126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78"/>
                </a:lnTo>
                <a:lnTo>
                  <a:pt x="126" y="84"/>
                </a:lnTo>
                <a:lnTo>
                  <a:pt x="120" y="84"/>
                </a:lnTo>
                <a:lnTo>
                  <a:pt x="120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90"/>
                </a:lnTo>
                <a:lnTo>
                  <a:pt x="126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6" y="90"/>
                </a:lnTo>
                <a:lnTo>
                  <a:pt x="126" y="96"/>
                </a:lnTo>
                <a:lnTo>
                  <a:pt x="126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26" y="102"/>
                </a:lnTo>
                <a:lnTo>
                  <a:pt x="126" y="102"/>
                </a:lnTo>
                <a:lnTo>
                  <a:pt x="126" y="108"/>
                </a:lnTo>
                <a:lnTo>
                  <a:pt x="126" y="108"/>
                </a:lnTo>
                <a:lnTo>
                  <a:pt x="120" y="114"/>
                </a:lnTo>
                <a:lnTo>
                  <a:pt x="120" y="114"/>
                </a:lnTo>
                <a:lnTo>
                  <a:pt x="120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32"/>
                </a:lnTo>
                <a:lnTo>
                  <a:pt x="126" y="132"/>
                </a:lnTo>
                <a:lnTo>
                  <a:pt x="126" y="132"/>
                </a:lnTo>
                <a:lnTo>
                  <a:pt x="126" y="132"/>
                </a:lnTo>
                <a:lnTo>
                  <a:pt x="126" y="132"/>
                </a:lnTo>
                <a:lnTo>
                  <a:pt x="126" y="138"/>
                </a:lnTo>
                <a:lnTo>
                  <a:pt x="126" y="138"/>
                </a:lnTo>
                <a:lnTo>
                  <a:pt x="126" y="138"/>
                </a:lnTo>
                <a:lnTo>
                  <a:pt x="120" y="138"/>
                </a:lnTo>
                <a:lnTo>
                  <a:pt x="120" y="138"/>
                </a:lnTo>
                <a:lnTo>
                  <a:pt x="126" y="138"/>
                </a:lnTo>
                <a:lnTo>
                  <a:pt x="126" y="138"/>
                </a:lnTo>
                <a:lnTo>
                  <a:pt x="132" y="138"/>
                </a:lnTo>
                <a:lnTo>
                  <a:pt x="132" y="144"/>
                </a:lnTo>
                <a:lnTo>
                  <a:pt x="132" y="144"/>
                </a:lnTo>
                <a:lnTo>
                  <a:pt x="132" y="144"/>
                </a:lnTo>
                <a:lnTo>
                  <a:pt x="138" y="144"/>
                </a:lnTo>
                <a:lnTo>
                  <a:pt x="138" y="144"/>
                </a:lnTo>
                <a:lnTo>
                  <a:pt x="138" y="144"/>
                </a:lnTo>
                <a:lnTo>
                  <a:pt x="144" y="150"/>
                </a:lnTo>
                <a:lnTo>
                  <a:pt x="144" y="150"/>
                </a:lnTo>
                <a:lnTo>
                  <a:pt x="144" y="150"/>
                </a:lnTo>
                <a:lnTo>
                  <a:pt x="144" y="150"/>
                </a:lnTo>
                <a:lnTo>
                  <a:pt x="144" y="150"/>
                </a:lnTo>
                <a:lnTo>
                  <a:pt x="144" y="150"/>
                </a:lnTo>
                <a:lnTo>
                  <a:pt x="144" y="150"/>
                </a:lnTo>
                <a:lnTo>
                  <a:pt x="150" y="150"/>
                </a:lnTo>
                <a:lnTo>
                  <a:pt x="150" y="150"/>
                </a:lnTo>
                <a:lnTo>
                  <a:pt x="150" y="150"/>
                </a:lnTo>
                <a:lnTo>
                  <a:pt x="150" y="156"/>
                </a:lnTo>
                <a:lnTo>
                  <a:pt x="150" y="156"/>
                </a:lnTo>
                <a:lnTo>
                  <a:pt x="150" y="156"/>
                </a:lnTo>
                <a:lnTo>
                  <a:pt x="150" y="156"/>
                </a:lnTo>
                <a:lnTo>
                  <a:pt x="156" y="156"/>
                </a:lnTo>
                <a:lnTo>
                  <a:pt x="156" y="156"/>
                </a:lnTo>
                <a:lnTo>
                  <a:pt x="156" y="156"/>
                </a:lnTo>
                <a:lnTo>
                  <a:pt x="156" y="156"/>
                </a:lnTo>
                <a:lnTo>
                  <a:pt x="156" y="156"/>
                </a:lnTo>
                <a:lnTo>
                  <a:pt x="156" y="156"/>
                </a:lnTo>
                <a:lnTo>
                  <a:pt x="156" y="162"/>
                </a:lnTo>
                <a:lnTo>
                  <a:pt x="162" y="162"/>
                </a:lnTo>
                <a:lnTo>
                  <a:pt x="162" y="162"/>
                </a:lnTo>
                <a:lnTo>
                  <a:pt x="162" y="168"/>
                </a:lnTo>
                <a:lnTo>
                  <a:pt x="162" y="168"/>
                </a:lnTo>
                <a:lnTo>
                  <a:pt x="162" y="168"/>
                </a:lnTo>
                <a:lnTo>
                  <a:pt x="162" y="168"/>
                </a:lnTo>
                <a:lnTo>
                  <a:pt x="168" y="168"/>
                </a:lnTo>
                <a:lnTo>
                  <a:pt x="168" y="168"/>
                </a:lnTo>
                <a:lnTo>
                  <a:pt x="168" y="168"/>
                </a:lnTo>
                <a:lnTo>
                  <a:pt x="168" y="174"/>
                </a:lnTo>
                <a:lnTo>
                  <a:pt x="168" y="174"/>
                </a:lnTo>
                <a:lnTo>
                  <a:pt x="168" y="174"/>
                </a:lnTo>
                <a:lnTo>
                  <a:pt x="168" y="174"/>
                </a:lnTo>
                <a:lnTo>
                  <a:pt x="168" y="174"/>
                </a:lnTo>
                <a:lnTo>
                  <a:pt x="168" y="180"/>
                </a:lnTo>
                <a:lnTo>
                  <a:pt x="162" y="180"/>
                </a:lnTo>
                <a:lnTo>
                  <a:pt x="162" y="180"/>
                </a:lnTo>
                <a:lnTo>
                  <a:pt x="162" y="180"/>
                </a:lnTo>
                <a:lnTo>
                  <a:pt x="162" y="180"/>
                </a:lnTo>
                <a:lnTo>
                  <a:pt x="162" y="180"/>
                </a:lnTo>
                <a:lnTo>
                  <a:pt x="156" y="180"/>
                </a:lnTo>
                <a:lnTo>
                  <a:pt x="156" y="180"/>
                </a:lnTo>
                <a:lnTo>
                  <a:pt x="156" y="180"/>
                </a:lnTo>
                <a:lnTo>
                  <a:pt x="156" y="180"/>
                </a:lnTo>
                <a:lnTo>
                  <a:pt x="156" y="180"/>
                </a:lnTo>
                <a:lnTo>
                  <a:pt x="156" y="180"/>
                </a:lnTo>
                <a:lnTo>
                  <a:pt x="156" y="180"/>
                </a:lnTo>
                <a:lnTo>
                  <a:pt x="156" y="180"/>
                </a:lnTo>
                <a:lnTo>
                  <a:pt x="156" y="186"/>
                </a:lnTo>
                <a:lnTo>
                  <a:pt x="156" y="186"/>
                </a:lnTo>
                <a:lnTo>
                  <a:pt x="156" y="186"/>
                </a:lnTo>
                <a:lnTo>
                  <a:pt x="156" y="186"/>
                </a:lnTo>
                <a:lnTo>
                  <a:pt x="156" y="186"/>
                </a:lnTo>
                <a:lnTo>
                  <a:pt x="156" y="192"/>
                </a:lnTo>
                <a:lnTo>
                  <a:pt x="156" y="192"/>
                </a:lnTo>
                <a:lnTo>
                  <a:pt x="156" y="192"/>
                </a:lnTo>
                <a:lnTo>
                  <a:pt x="156" y="192"/>
                </a:lnTo>
                <a:lnTo>
                  <a:pt x="156" y="192"/>
                </a:lnTo>
                <a:lnTo>
                  <a:pt x="156" y="192"/>
                </a:lnTo>
                <a:lnTo>
                  <a:pt x="156" y="192"/>
                </a:lnTo>
                <a:lnTo>
                  <a:pt x="162" y="192"/>
                </a:lnTo>
                <a:lnTo>
                  <a:pt x="156" y="198"/>
                </a:lnTo>
                <a:lnTo>
                  <a:pt x="156" y="198"/>
                </a:lnTo>
                <a:lnTo>
                  <a:pt x="156" y="198"/>
                </a:lnTo>
                <a:lnTo>
                  <a:pt x="156" y="198"/>
                </a:lnTo>
                <a:lnTo>
                  <a:pt x="156" y="198"/>
                </a:lnTo>
                <a:lnTo>
                  <a:pt x="156" y="198"/>
                </a:lnTo>
                <a:lnTo>
                  <a:pt x="156" y="198"/>
                </a:lnTo>
                <a:lnTo>
                  <a:pt x="156" y="198"/>
                </a:lnTo>
                <a:lnTo>
                  <a:pt x="156" y="198"/>
                </a:lnTo>
                <a:lnTo>
                  <a:pt x="156" y="198"/>
                </a:lnTo>
                <a:lnTo>
                  <a:pt x="156" y="204"/>
                </a:lnTo>
                <a:lnTo>
                  <a:pt x="156" y="204"/>
                </a:lnTo>
                <a:lnTo>
                  <a:pt x="156" y="204"/>
                </a:lnTo>
                <a:lnTo>
                  <a:pt x="156" y="204"/>
                </a:lnTo>
                <a:lnTo>
                  <a:pt x="156" y="210"/>
                </a:lnTo>
                <a:lnTo>
                  <a:pt x="156" y="210"/>
                </a:lnTo>
                <a:lnTo>
                  <a:pt x="156" y="210"/>
                </a:lnTo>
                <a:lnTo>
                  <a:pt x="156" y="210"/>
                </a:lnTo>
                <a:lnTo>
                  <a:pt x="156" y="210"/>
                </a:lnTo>
                <a:lnTo>
                  <a:pt x="156" y="210"/>
                </a:lnTo>
                <a:lnTo>
                  <a:pt x="156" y="210"/>
                </a:lnTo>
                <a:lnTo>
                  <a:pt x="156" y="210"/>
                </a:lnTo>
                <a:lnTo>
                  <a:pt x="150" y="210"/>
                </a:lnTo>
                <a:lnTo>
                  <a:pt x="156" y="210"/>
                </a:lnTo>
                <a:lnTo>
                  <a:pt x="150" y="216"/>
                </a:lnTo>
                <a:lnTo>
                  <a:pt x="150" y="216"/>
                </a:lnTo>
                <a:lnTo>
                  <a:pt x="156" y="216"/>
                </a:lnTo>
                <a:lnTo>
                  <a:pt x="156" y="216"/>
                </a:lnTo>
                <a:lnTo>
                  <a:pt x="156" y="216"/>
                </a:lnTo>
                <a:lnTo>
                  <a:pt x="156" y="216"/>
                </a:lnTo>
                <a:lnTo>
                  <a:pt x="156" y="216"/>
                </a:lnTo>
                <a:lnTo>
                  <a:pt x="156" y="222"/>
                </a:lnTo>
                <a:lnTo>
                  <a:pt x="156" y="222"/>
                </a:lnTo>
                <a:lnTo>
                  <a:pt x="156" y="222"/>
                </a:lnTo>
                <a:lnTo>
                  <a:pt x="156" y="222"/>
                </a:lnTo>
                <a:lnTo>
                  <a:pt x="156" y="222"/>
                </a:lnTo>
                <a:lnTo>
                  <a:pt x="156" y="222"/>
                </a:lnTo>
                <a:lnTo>
                  <a:pt x="156" y="228"/>
                </a:lnTo>
                <a:lnTo>
                  <a:pt x="156" y="228"/>
                </a:lnTo>
                <a:lnTo>
                  <a:pt x="156" y="228"/>
                </a:lnTo>
                <a:lnTo>
                  <a:pt x="156" y="228"/>
                </a:lnTo>
                <a:lnTo>
                  <a:pt x="156" y="234"/>
                </a:lnTo>
                <a:lnTo>
                  <a:pt x="150" y="234"/>
                </a:lnTo>
                <a:lnTo>
                  <a:pt x="150" y="234"/>
                </a:lnTo>
                <a:lnTo>
                  <a:pt x="150" y="234"/>
                </a:lnTo>
                <a:lnTo>
                  <a:pt x="150" y="234"/>
                </a:lnTo>
                <a:lnTo>
                  <a:pt x="150" y="234"/>
                </a:lnTo>
                <a:lnTo>
                  <a:pt x="150" y="240"/>
                </a:lnTo>
                <a:lnTo>
                  <a:pt x="150" y="240"/>
                </a:lnTo>
                <a:lnTo>
                  <a:pt x="150" y="240"/>
                </a:lnTo>
                <a:lnTo>
                  <a:pt x="150" y="240"/>
                </a:lnTo>
                <a:lnTo>
                  <a:pt x="150" y="246"/>
                </a:lnTo>
                <a:lnTo>
                  <a:pt x="144" y="240"/>
                </a:lnTo>
                <a:lnTo>
                  <a:pt x="144" y="246"/>
                </a:lnTo>
                <a:lnTo>
                  <a:pt x="144" y="246"/>
                </a:lnTo>
                <a:lnTo>
                  <a:pt x="144" y="246"/>
                </a:lnTo>
                <a:lnTo>
                  <a:pt x="144" y="246"/>
                </a:lnTo>
                <a:lnTo>
                  <a:pt x="138" y="246"/>
                </a:lnTo>
                <a:lnTo>
                  <a:pt x="138" y="246"/>
                </a:lnTo>
                <a:lnTo>
                  <a:pt x="138" y="246"/>
                </a:lnTo>
                <a:lnTo>
                  <a:pt x="138" y="246"/>
                </a:lnTo>
                <a:lnTo>
                  <a:pt x="138" y="246"/>
                </a:lnTo>
                <a:lnTo>
                  <a:pt x="138" y="240"/>
                </a:lnTo>
                <a:lnTo>
                  <a:pt x="132" y="246"/>
                </a:lnTo>
                <a:lnTo>
                  <a:pt x="138" y="246"/>
                </a:lnTo>
                <a:lnTo>
                  <a:pt x="132" y="246"/>
                </a:lnTo>
                <a:lnTo>
                  <a:pt x="132" y="246"/>
                </a:lnTo>
                <a:lnTo>
                  <a:pt x="126" y="246"/>
                </a:lnTo>
                <a:lnTo>
                  <a:pt x="126" y="246"/>
                </a:lnTo>
                <a:lnTo>
                  <a:pt x="126" y="246"/>
                </a:lnTo>
                <a:lnTo>
                  <a:pt x="126" y="246"/>
                </a:lnTo>
                <a:lnTo>
                  <a:pt x="126" y="246"/>
                </a:lnTo>
                <a:lnTo>
                  <a:pt x="120" y="246"/>
                </a:lnTo>
                <a:lnTo>
                  <a:pt x="120" y="246"/>
                </a:lnTo>
                <a:lnTo>
                  <a:pt x="120" y="246"/>
                </a:lnTo>
                <a:lnTo>
                  <a:pt x="120" y="246"/>
                </a:lnTo>
                <a:lnTo>
                  <a:pt x="114" y="246"/>
                </a:lnTo>
                <a:lnTo>
                  <a:pt x="114" y="240"/>
                </a:lnTo>
                <a:lnTo>
                  <a:pt x="114" y="240"/>
                </a:lnTo>
                <a:lnTo>
                  <a:pt x="114" y="240"/>
                </a:lnTo>
                <a:lnTo>
                  <a:pt x="114" y="240"/>
                </a:lnTo>
                <a:lnTo>
                  <a:pt x="114" y="240"/>
                </a:lnTo>
                <a:lnTo>
                  <a:pt x="114" y="234"/>
                </a:lnTo>
                <a:lnTo>
                  <a:pt x="114" y="234"/>
                </a:lnTo>
                <a:lnTo>
                  <a:pt x="114" y="234"/>
                </a:lnTo>
                <a:lnTo>
                  <a:pt x="114" y="234"/>
                </a:lnTo>
                <a:lnTo>
                  <a:pt x="114" y="234"/>
                </a:lnTo>
                <a:lnTo>
                  <a:pt x="114" y="228"/>
                </a:lnTo>
                <a:lnTo>
                  <a:pt x="114" y="228"/>
                </a:lnTo>
                <a:lnTo>
                  <a:pt x="114" y="228"/>
                </a:lnTo>
                <a:lnTo>
                  <a:pt x="108" y="228"/>
                </a:lnTo>
                <a:lnTo>
                  <a:pt x="108" y="228"/>
                </a:lnTo>
                <a:lnTo>
                  <a:pt x="108" y="228"/>
                </a:lnTo>
                <a:lnTo>
                  <a:pt x="108" y="228"/>
                </a:lnTo>
                <a:lnTo>
                  <a:pt x="102" y="222"/>
                </a:lnTo>
                <a:lnTo>
                  <a:pt x="102" y="222"/>
                </a:lnTo>
                <a:lnTo>
                  <a:pt x="102" y="222"/>
                </a:lnTo>
                <a:lnTo>
                  <a:pt x="96" y="222"/>
                </a:lnTo>
                <a:lnTo>
                  <a:pt x="96" y="222"/>
                </a:lnTo>
                <a:lnTo>
                  <a:pt x="96" y="216"/>
                </a:lnTo>
                <a:lnTo>
                  <a:pt x="96" y="216"/>
                </a:lnTo>
                <a:lnTo>
                  <a:pt x="90" y="216"/>
                </a:lnTo>
                <a:lnTo>
                  <a:pt x="90" y="216"/>
                </a:lnTo>
                <a:lnTo>
                  <a:pt x="90" y="216"/>
                </a:lnTo>
                <a:lnTo>
                  <a:pt x="90" y="216"/>
                </a:lnTo>
                <a:lnTo>
                  <a:pt x="90" y="222"/>
                </a:lnTo>
                <a:lnTo>
                  <a:pt x="90" y="222"/>
                </a:lnTo>
                <a:lnTo>
                  <a:pt x="90" y="222"/>
                </a:lnTo>
                <a:lnTo>
                  <a:pt x="84" y="222"/>
                </a:lnTo>
                <a:lnTo>
                  <a:pt x="84" y="222"/>
                </a:lnTo>
                <a:lnTo>
                  <a:pt x="84" y="222"/>
                </a:lnTo>
                <a:lnTo>
                  <a:pt x="84" y="228"/>
                </a:lnTo>
                <a:lnTo>
                  <a:pt x="84" y="228"/>
                </a:lnTo>
                <a:lnTo>
                  <a:pt x="84" y="228"/>
                </a:lnTo>
                <a:lnTo>
                  <a:pt x="84" y="228"/>
                </a:lnTo>
                <a:lnTo>
                  <a:pt x="84" y="234"/>
                </a:lnTo>
                <a:lnTo>
                  <a:pt x="84" y="234"/>
                </a:lnTo>
                <a:lnTo>
                  <a:pt x="84" y="234"/>
                </a:lnTo>
                <a:lnTo>
                  <a:pt x="84" y="234"/>
                </a:lnTo>
                <a:lnTo>
                  <a:pt x="90" y="234"/>
                </a:lnTo>
                <a:lnTo>
                  <a:pt x="90" y="240"/>
                </a:lnTo>
                <a:lnTo>
                  <a:pt x="84" y="240"/>
                </a:lnTo>
                <a:lnTo>
                  <a:pt x="84" y="246"/>
                </a:lnTo>
                <a:lnTo>
                  <a:pt x="84" y="246"/>
                </a:lnTo>
                <a:lnTo>
                  <a:pt x="84" y="246"/>
                </a:lnTo>
                <a:lnTo>
                  <a:pt x="84" y="252"/>
                </a:lnTo>
                <a:lnTo>
                  <a:pt x="84" y="252"/>
                </a:lnTo>
                <a:lnTo>
                  <a:pt x="90" y="252"/>
                </a:lnTo>
                <a:lnTo>
                  <a:pt x="90" y="252"/>
                </a:lnTo>
                <a:lnTo>
                  <a:pt x="90" y="252"/>
                </a:lnTo>
                <a:lnTo>
                  <a:pt x="90" y="252"/>
                </a:lnTo>
                <a:lnTo>
                  <a:pt x="84" y="258"/>
                </a:lnTo>
                <a:lnTo>
                  <a:pt x="90" y="258"/>
                </a:lnTo>
                <a:lnTo>
                  <a:pt x="90" y="258"/>
                </a:lnTo>
                <a:lnTo>
                  <a:pt x="90" y="258"/>
                </a:lnTo>
                <a:lnTo>
                  <a:pt x="90" y="264"/>
                </a:lnTo>
                <a:lnTo>
                  <a:pt x="90" y="264"/>
                </a:lnTo>
                <a:lnTo>
                  <a:pt x="90" y="264"/>
                </a:lnTo>
                <a:lnTo>
                  <a:pt x="90" y="264"/>
                </a:lnTo>
                <a:lnTo>
                  <a:pt x="84" y="264"/>
                </a:lnTo>
                <a:lnTo>
                  <a:pt x="84" y="264"/>
                </a:lnTo>
                <a:lnTo>
                  <a:pt x="84" y="264"/>
                </a:lnTo>
                <a:lnTo>
                  <a:pt x="84" y="264"/>
                </a:lnTo>
                <a:lnTo>
                  <a:pt x="84" y="264"/>
                </a:lnTo>
                <a:lnTo>
                  <a:pt x="78" y="264"/>
                </a:lnTo>
                <a:lnTo>
                  <a:pt x="78" y="264"/>
                </a:lnTo>
                <a:lnTo>
                  <a:pt x="78" y="264"/>
                </a:lnTo>
                <a:lnTo>
                  <a:pt x="72" y="264"/>
                </a:lnTo>
                <a:lnTo>
                  <a:pt x="72" y="264"/>
                </a:lnTo>
                <a:lnTo>
                  <a:pt x="72" y="264"/>
                </a:lnTo>
                <a:lnTo>
                  <a:pt x="66" y="264"/>
                </a:lnTo>
                <a:lnTo>
                  <a:pt x="66" y="264"/>
                </a:lnTo>
                <a:lnTo>
                  <a:pt x="60" y="258"/>
                </a:lnTo>
                <a:lnTo>
                  <a:pt x="60" y="258"/>
                </a:lnTo>
                <a:lnTo>
                  <a:pt x="54" y="258"/>
                </a:lnTo>
                <a:lnTo>
                  <a:pt x="48" y="258"/>
                </a:lnTo>
                <a:lnTo>
                  <a:pt x="42" y="258"/>
                </a:lnTo>
                <a:lnTo>
                  <a:pt x="42" y="258"/>
                </a:lnTo>
                <a:lnTo>
                  <a:pt x="36" y="264"/>
                </a:lnTo>
                <a:lnTo>
                  <a:pt x="36" y="264"/>
                </a:lnTo>
                <a:lnTo>
                  <a:pt x="36" y="264"/>
                </a:lnTo>
                <a:lnTo>
                  <a:pt x="30" y="252"/>
                </a:lnTo>
                <a:lnTo>
                  <a:pt x="30" y="246"/>
                </a:lnTo>
                <a:lnTo>
                  <a:pt x="18" y="240"/>
                </a:lnTo>
                <a:lnTo>
                  <a:pt x="18" y="240"/>
                </a:lnTo>
                <a:lnTo>
                  <a:pt x="18" y="240"/>
                </a:lnTo>
                <a:lnTo>
                  <a:pt x="18" y="240"/>
                </a:lnTo>
                <a:lnTo>
                  <a:pt x="18" y="234"/>
                </a:lnTo>
                <a:lnTo>
                  <a:pt x="18" y="234"/>
                </a:lnTo>
                <a:lnTo>
                  <a:pt x="18" y="234"/>
                </a:lnTo>
                <a:lnTo>
                  <a:pt x="18" y="234"/>
                </a:lnTo>
                <a:lnTo>
                  <a:pt x="18" y="228"/>
                </a:lnTo>
                <a:lnTo>
                  <a:pt x="18" y="228"/>
                </a:lnTo>
                <a:lnTo>
                  <a:pt x="18" y="228"/>
                </a:lnTo>
                <a:lnTo>
                  <a:pt x="12" y="228"/>
                </a:lnTo>
                <a:lnTo>
                  <a:pt x="12" y="228"/>
                </a:lnTo>
                <a:lnTo>
                  <a:pt x="12" y="228"/>
                </a:lnTo>
                <a:lnTo>
                  <a:pt x="12" y="228"/>
                </a:lnTo>
                <a:lnTo>
                  <a:pt x="12" y="228"/>
                </a:lnTo>
                <a:lnTo>
                  <a:pt x="12" y="222"/>
                </a:lnTo>
                <a:lnTo>
                  <a:pt x="12" y="222"/>
                </a:lnTo>
                <a:lnTo>
                  <a:pt x="12" y="222"/>
                </a:lnTo>
                <a:lnTo>
                  <a:pt x="12" y="222"/>
                </a:lnTo>
                <a:lnTo>
                  <a:pt x="12" y="222"/>
                </a:lnTo>
                <a:lnTo>
                  <a:pt x="12" y="222"/>
                </a:lnTo>
                <a:lnTo>
                  <a:pt x="12" y="216"/>
                </a:lnTo>
                <a:lnTo>
                  <a:pt x="12" y="216"/>
                </a:lnTo>
                <a:lnTo>
                  <a:pt x="12" y="216"/>
                </a:lnTo>
                <a:lnTo>
                  <a:pt x="12" y="216"/>
                </a:lnTo>
                <a:lnTo>
                  <a:pt x="12" y="216"/>
                </a:lnTo>
                <a:lnTo>
                  <a:pt x="12" y="216"/>
                </a:lnTo>
                <a:lnTo>
                  <a:pt x="12" y="216"/>
                </a:lnTo>
                <a:lnTo>
                  <a:pt x="12" y="210"/>
                </a:lnTo>
                <a:lnTo>
                  <a:pt x="12" y="210"/>
                </a:lnTo>
                <a:lnTo>
                  <a:pt x="12" y="210"/>
                </a:lnTo>
                <a:lnTo>
                  <a:pt x="12" y="210"/>
                </a:lnTo>
                <a:lnTo>
                  <a:pt x="12" y="210"/>
                </a:lnTo>
                <a:lnTo>
                  <a:pt x="12" y="210"/>
                </a:lnTo>
                <a:lnTo>
                  <a:pt x="12" y="210"/>
                </a:lnTo>
                <a:lnTo>
                  <a:pt x="12" y="210"/>
                </a:lnTo>
                <a:lnTo>
                  <a:pt x="12" y="210"/>
                </a:lnTo>
                <a:lnTo>
                  <a:pt x="12" y="210"/>
                </a:lnTo>
                <a:lnTo>
                  <a:pt x="12" y="210"/>
                </a:lnTo>
                <a:lnTo>
                  <a:pt x="12" y="204"/>
                </a:lnTo>
                <a:lnTo>
                  <a:pt x="12" y="204"/>
                </a:lnTo>
                <a:lnTo>
                  <a:pt x="12" y="210"/>
                </a:lnTo>
                <a:lnTo>
                  <a:pt x="12" y="204"/>
                </a:lnTo>
                <a:lnTo>
                  <a:pt x="12" y="204"/>
                </a:lnTo>
                <a:lnTo>
                  <a:pt x="12" y="204"/>
                </a:lnTo>
                <a:lnTo>
                  <a:pt x="12" y="204"/>
                </a:lnTo>
                <a:lnTo>
                  <a:pt x="12" y="204"/>
                </a:lnTo>
                <a:lnTo>
                  <a:pt x="18" y="204"/>
                </a:lnTo>
                <a:lnTo>
                  <a:pt x="18" y="204"/>
                </a:lnTo>
                <a:lnTo>
                  <a:pt x="12" y="204"/>
                </a:lnTo>
                <a:lnTo>
                  <a:pt x="12" y="204"/>
                </a:lnTo>
                <a:lnTo>
                  <a:pt x="18" y="204"/>
                </a:lnTo>
                <a:lnTo>
                  <a:pt x="18" y="204"/>
                </a:lnTo>
                <a:lnTo>
                  <a:pt x="18" y="204"/>
                </a:lnTo>
                <a:lnTo>
                  <a:pt x="18" y="204"/>
                </a:lnTo>
                <a:lnTo>
                  <a:pt x="12" y="198"/>
                </a:lnTo>
                <a:lnTo>
                  <a:pt x="12" y="198"/>
                </a:lnTo>
                <a:lnTo>
                  <a:pt x="18" y="198"/>
                </a:lnTo>
                <a:lnTo>
                  <a:pt x="18" y="198"/>
                </a:lnTo>
                <a:lnTo>
                  <a:pt x="12" y="198"/>
                </a:lnTo>
                <a:lnTo>
                  <a:pt x="12" y="198"/>
                </a:lnTo>
                <a:lnTo>
                  <a:pt x="12" y="198"/>
                </a:lnTo>
                <a:lnTo>
                  <a:pt x="12" y="198"/>
                </a:lnTo>
                <a:lnTo>
                  <a:pt x="12" y="198"/>
                </a:lnTo>
                <a:lnTo>
                  <a:pt x="12" y="192"/>
                </a:lnTo>
                <a:lnTo>
                  <a:pt x="12" y="198"/>
                </a:lnTo>
                <a:lnTo>
                  <a:pt x="12" y="198"/>
                </a:lnTo>
                <a:lnTo>
                  <a:pt x="12" y="198"/>
                </a:lnTo>
                <a:lnTo>
                  <a:pt x="12" y="198"/>
                </a:lnTo>
                <a:lnTo>
                  <a:pt x="6" y="192"/>
                </a:lnTo>
                <a:lnTo>
                  <a:pt x="6" y="19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803" name="Freeform 536"/>
          <p:cNvSpPr>
            <a:spLocks/>
          </p:cNvSpPr>
          <p:nvPr/>
        </p:nvSpPr>
        <p:spPr bwMode="auto">
          <a:xfrm>
            <a:off x="6511379" y="3319144"/>
            <a:ext cx="134905" cy="147754"/>
          </a:xfrm>
          <a:custGeom>
            <a:avLst/>
            <a:gdLst>
              <a:gd name="T0" fmla="*/ 6 w 126"/>
              <a:gd name="T1" fmla="*/ 48 h 138"/>
              <a:gd name="T2" fmla="*/ 42 w 126"/>
              <a:gd name="T3" fmla="*/ 54 h 138"/>
              <a:gd name="T4" fmla="*/ 42 w 126"/>
              <a:gd name="T5" fmla="*/ 42 h 138"/>
              <a:gd name="T6" fmla="*/ 36 w 126"/>
              <a:gd name="T7" fmla="*/ 36 h 138"/>
              <a:gd name="T8" fmla="*/ 36 w 126"/>
              <a:gd name="T9" fmla="*/ 30 h 138"/>
              <a:gd name="T10" fmla="*/ 30 w 126"/>
              <a:gd name="T11" fmla="*/ 24 h 138"/>
              <a:gd name="T12" fmla="*/ 30 w 126"/>
              <a:gd name="T13" fmla="*/ 18 h 138"/>
              <a:gd name="T14" fmla="*/ 30 w 126"/>
              <a:gd name="T15" fmla="*/ 12 h 138"/>
              <a:gd name="T16" fmla="*/ 24 w 126"/>
              <a:gd name="T17" fmla="*/ 6 h 138"/>
              <a:gd name="T18" fmla="*/ 30 w 126"/>
              <a:gd name="T19" fmla="*/ 6 h 138"/>
              <a:gd name="T20" fmla="*/ 42 w 126"/>
              <a:gd name="T21" fmla="*/ 6 h 138"/>
              <a:gd name="T22" fmla="*/ 48 w 126"/>
              <a:gd name="T23" fmla="*/ 12 h 138"/>
              <a:gd name="T24" fmla="*/ 54 w 126"/>
              <a:gd name="T25" fmla="*/ 12 h 138"/>
              <a:gd name="T26" fmla="*/ 60 w 126"/>
              <a:gd name="T27" fmla="*/ 18 h 138"/>
              <a:gd name="T28" fmla="*/ 66 w 126"/>
              <a:gd name="T29" fmla="*/ 18 h 138"/>
              <a:gd name="T30" fmla="*/ 78 w 126"/>
              <a:gd name="T31" fmla="*/ 12 h 138"/>
              <a:gd name="T32" fmla="*/ 84 w 126"/>
              <a:gd name="T33" fmla="*/ 6 h 138"/>
              <a:gd name="T34" fmla="*/ 90 w 126"/>
              <a:gd name="T35" fmla="*/ 0 h 138"/>
              <a:gd name="T36" fmla="*/ 96 w 126"/>
              <a:gd name="T37" fmla="*/ 6 h 138"/>
              <a:gd name="T38" fmla="*/ 108 w 126"/>
              <a:gd name="T39" fmla="*/ 12 h 138"/>
              <a:gd name="T40" fmla="*/ 120 w 126"/>
              <a:gd name="T41" fmla="*/ 18 h 138"/>
              <a:gd name="T42" fmla="*/ 126 w 126"/>
              <a:gd name="T43" fmla="*/ 24 h 138"/>
              <a:gd name="T44" fmla="*/ 120 w 126"/>
              <a:gd name="T45" fmla="*/ 42 h 138"/>
              <a:gd name="T46" fmla="*/ 120 w 126"/>
              <a:gd name="T47" fmla="*/ 42 h 138"/>
              <a:gd name="T48" fmla="*/ 126 w 126"/>
              <a:gd name="T49" fmla="*/ 54 h 138"/>
              <a:gd name="T50" fmla="*/ 120 w 126"/>
              <a:gd name="T51" fmla="*/ 60 h 138"/>
              <a:gd name="T52" fmla="*/ 120 w 126"/>
              <a:gd name="T53" fmla="*/ 66 h 138"/>
              <a:gd name="T54" fmla="*/ 114 w 126"/>
              <a:gd name="T55" fmla="*/ 66 h 138"/>
              <a:gd name="T56" fmla="*/ 120 w 126"/>
              <a:gd name="T57" fmla="*/ 72 h 138"/>
              <a:gd name="T58" fmla="*/ 120 w 126"/>
              <a:gd name="T59" fmla="*/ 72 h 138"/>
              <a:gd name="T60" fmla="*/ 114 w 126"/>
              <a:gd name="T61" fmla="*/ 78 h 138"/>
              <a:gd name="T62" fmla="*/ 108 w 126"/>
              <a:gd name="T63" fmla="*/ 78 h 138"/>
              <a:gd name="T64" fmla="*/ 102 w 126"/>
              <a:gd name="T65" fmla="*/ 96 h 138"/>
              <a:gd name="T66" fmla="*/ 108 w 126"/>
              <a:gd name="T67" fmla="*/ 102 h 138"/>
              <a:gd name="T68" fmla="*/ 108 w 126"/>
              <a:gd name="T69" fmla="*/ 114 h 138"/>
              <a:gd name="T70" fmla="*/ 108 w 126"/>
              <a:gd name="T71" fmla="*/ 120 h 138"/>
              <a:gd name="T72" fmla="*/ 96 w 126"/>
              <a:gd name="T73" fmla="*/ 120 h 138"/>
              <a:gd name="T74" fmla="*/ 84 w 126"/>
              <a:gd name="T75" fmla="*/ 108 h 138"/>
              <a:gd name="T76" fmla="*/ 78 w 126"/>
              <a:gd name="T77" fmla="*/ 102 h 138"/>
              <a:gd name="T78" fmla="*/ 72 w 126"/>
              <a:gd name="T79" fmla="*/ 108 h 138"/>
              <a:gd name="T80" fmla="*/ 60 w 126"/>
              <a:gd name="T81" fmla="*/ 114 h 138"/>
              <a:gd name="T82" fmla="*/ 54 w 126"/>
              <a:gd name="T83" fmla="*/ 126 h 138"/>
              <a:gd name="T84" fmla="*/ 48 w 126"/>
              <a:gd name="T85" fmla="*/ 132 h 138"/>
              <a:gd name="T86" fmla="*/ 48 w 126"/>
              <a:gd name="T87" fmla="*/ 132 h 138"/>
              <a:gd name="T88" fmla="*/ 42 w 126"/>
              <a:gd name="T89" fmla="*/ 132 h 138"/>
              <a:gd name="T90" fmla="*/ 36 w 126"/>
              <a:gd name="T91" fmla="*/ 126 h 138"/>
              <a:gd name="T92" fmla="*/ 36 w 126"/>
              <a:gd name="T93" fmla="*/ 120 h 138"/>
              <a:gd name="T94" fmla="*/ 30 w 126"/>
              <a:gd name="T95" fmla="*/ 120 h 138"/>
              <a:gd name="T96" fmla="*/ 30 w 126"/>
              <a:gd name="T97" fmla="*/ 120 h 138"/>
              <a:gd name="T98" fmla="*/ 30 w 126"/>
              <a:gd name="T99" fmla="*/ 108 h 138"/>
              <a:gd name="T100" fmla="*/ 30 w 126"/>
              <a:gd name="T101" fmla="*/ 102 h 138"/>
              <a:gd name="T102" fmla="*/ 24 w 126"/>
              <a:gd name="T103" fmla="*/ 96 h 138"/>
              <a:gd name="T104" fmla="*/ 18 w 126"/>
              <a:gd name="T105" fmla="*/ 90 h 138"/>
              <a:gd name="T106" fmla="*/ 18 w 126"/>
              <a:gd name="T107" fmla="*/ 84 h 138"/>
              <a:gd name="T108" fmla="*/ 18 w 126"/>
              <a:gd name="T109" fmla="*/ 84 h 138"/>
              <a:gd name="T110" fmla="*/ 12 w 126"/>
              <a:gd name="T111" fmla="*/ 78 h 138"/>
              <a:gd name="T112" fmla="*/ 6 w 126"/>
              <a:gd name="T113" fmla="*/ 72 h 138"/>
              <a:gd name="T114" fmla="*/ 6 w 126"/>
              <a:gd name="T115" fmla="*/ 72 h 138"/>
              <a:gd name="T116" fmla="*/ 0 w 126"/>
              <a:gd name="T117" fmla="*/ 60 h 138"/>
              <a:gd name="T118" fmla="*/ 0 w 126"/>
              <a:gd name="T119" fmla="*/ 54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26" h="138">
                <a:moveTo>
                  <a:pt x="0" y="54"/>
                </a:moveTo>
                <a:lnTo>
                  <a:pt x="0" y="54"/>
                </a:lnTo>
                <a:lnTo>
                  <a:pt x="0" y="54"/>
                </a:lnTo>
                <a:lnTo>
                  <a:pt x="6" y="54"/>
                </a:lnTo>
                <a:lnTo>
                  <a:pt x="6" y="54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18" y="48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6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0" y="30"/>
                </a:lnTo>
                <a:lnTo>
                  <a:pt x="30" y="30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2"/>
                </a:lnTo>
                <a:lnTo>
                  <a:pt x="30" y="12"/>
                </a:lnTo>
                <a:lnTo>
                  <a:pt x="24" y="12"/>
                </a:lnTo>
                <a:lnTo>
                  <a:pt x="24" y="6"/>
                </a:lnTo>
                <a:lnTo>
                  <a:pt x="24" y="12"/>
                </a:lnTo>
                <a:lnTo>
                  <a:pt x="24" y="6"/>
                </a:lnTo>
                <a:lnTo>
                  <a:pt x="24" y="12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12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8"/>
                </a:lnTo>
                <a:lnTo>
                  <a:pt x="54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2"/>
                </a:lnTo>
                <a:lnTo>
                  <a:pt x="78" y="18"/>
                </a:lnTo>
                <a:lnTo>
                  <a:pt x="78" y="12"/>
                </a:lnTo>
                <a:lnTo>
                  <a:pt x="78" y="12"/>
                </a:lnTo>
                <a:lnTo>
                  <a:pt x="84" y="18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90" y="6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108" y="6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20" y="12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24"/>
                </a:lnTo>
                <a:lnTo>
                  <a:pt x="126" y="24"/>
                </a:lnTo>
                <a:lnTo>
                  <a:pt x="126" y="30"/>
                </a:lnTo>
                <a:lnTo>
                  <a:pt x="126" y="30"/>
                </a:lnTo>
                <a:lnTo>
                  <a:pt x="120" y="36"/>
                </a:lnTo>
                <a:lnTo>
                  <a:pt x="120" y="36"/>
                </a:lnTo>
                <a:lnTo>
                  <a:pt x="114" y="36"/>
                </a:lnTo>
                <a:lnTo>
                  <a:pt x="114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6" y="42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48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6" y="54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14" y="66"/>
                </a:lnTo>
                <a:lnTo>
                  <a:pt x="120" y="66"/>
                </a:lnTo>
                <a:lnTo>
                  <a:pt x="114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72"/>
                </a:lnTo>
                <a:lnTo>
                  <a:pt x="120" y="72"/>
                </a:lnTo>
                <a:lnTo>
                  <a:pt x="114" y="72"/>
                </a:lnTo>
                <a:lnTo>
                  <a:pt x="114" y="72"/>
                </a:lnTo>
                <a:lnTo>
                  <a:pt x="120" y="72"/>
                </a:lnTo>
                <a:lnTo>
                  <a:pt x="120" y="72"/>
                </a:lnTo>
                <a:lnTo>
                  <a:pt x="114" y="72"/>
                </a:lnTo>
                <a:lnTo>
                  <a:pt x="120" y="72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14" y="78"/>
                </a:lnTo>
                <a:lnTo>
                  <a:pt x="114" y="84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84"/>
                </a:lnTo>
                <a:lnTo>
                  <a:pt x="108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90"/>
                </a:lnTo>
                <a:lnTo>
                  <a:pt x="102" y="96"/>
                </a:lnTo>
                <a:lnTo>
                  <a:pt x="102" y="96"/>
                </a:lnTo>
                <a:lnTo>
                  <a:pt x="108" y="96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08" y="102"/>
                </a:lnTo>
                <a:lnTo>
                  <a:pt x="114" y="102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2" y="120"/>
                </a:lnTo>
                <a:lnTo>
                  <a:pt x="102" y="120"/>
                </a:lnTo>
                <a:lnTo>
                  <a:pt x="108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96" y="120"/>
                </a:lnTo>
                <a:lnTo>
                  <a:pt x="96" y="120"/>
                </a:lnTo>
                <a:lnTo>
                  <a:pt x="90" y="120"/>
                </a:lnTo>
                <a:lnTo>
                  <a:pt x="90" y="120"/>
                </a:lnTo>
                <a:lnTo>
                  <a:pt x="90" y="120"/>
                </a:lnTo>
                <a:lnTo>
                  <a:pt x="84" y="120"/>
                </a:lnTo>
                <a:lnTo>
                  <a:pt x="84" y="114"/>
                </a:lnTo>
                <a:lnTo>
                  <a:pt x="84" y="114"/>
                </a:lnTo>
                <a:lnTo>
                  <a:pt x="84" y="108"/>
                </a:lnTo>
                <a:lnTo>
                  <a:pt x="84" y="108"/>
                </a:lnTo>
                <a:lnTo>
                  <a:pt x="78" y="108"/>
                </a:lnTo>
                <a:lnTo>
                  <a:pt x="78" y="108"/>
                </a:lnTo>
                <a:lnTo>
                  <a:pt x="84" y="108"/>
                </a:lnTo>
                <a:lnTo>
                  <a:pt x="84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8"/>
                </a:lnTo>
                <a:lnTo>
                  <a:pt x="78" y="108"/>
                </a:lnTo>
                <a:lnTo>
                  <a:pt x="78" y="108"/>
                </a:lnTo>
                <a:lnTo>
                  <a:pt x="72" y="108"/>
                </a:lnTo>
                <a:lnTo>
                  <a:pt x="72" y="114"/>
                </a:lnTo>
                <a:lnTo>
                  <a:pt x="72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14"/>
                </a:lnTo>
                <a:lnTo>
                  <a:pt x="60" y="120"/>
                </a:lnTo>
                <a:lnTo>
                  <a:pt x="60" y="120"/>
                </a:lnTo>
                <a:lnTo>
                  <a:pt x="54" y="120"/>
                </a:lnTo>
                <a:lnTo>
                  <a:pt x="54" y="126"/>
                </a:lnTo>
                <a:lnTo>
                  <a:pt x="54" y="126"/>
                </a:lnTo>
                <a:lnTo>
                  <a:pt x="54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2"/>
                </a:lnTo>
                <a:lnTo>
                  <a:pt x="48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36" y="132"/>
                </a:lnTo>
                <a:lnTo>
                  <a:pt x="36" y="132"/>
                </a:lnTo>
                <a:lnTo>
                  <a:pt x="36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6"/>
                </a:lnTo>
                <a:lnTo>
                  <a:pt x="36" y="120"/>
                </a:lnTo>
                <a:lnTo>
                  <a:pt x="36" y="126"/>
                </a:lnTo>
                <a:lnTo>
                  <a:pt x="36" y="120"/>
                </a:lnTo>
                <a:lnTo>
                  <a:pt x="30" y="126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78"/>
                </a:lnTo>
                <a:lnTo>
                  <a:pt x="18" y="78"/>
                </a:lnTo>
                <a:lnTo>
                  <a:pt x="18" y="84"/>
                </a:lnTo>
                <a:lnTo>
                  <a:pt x="18" y="84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0" y="66"/>
                </a:lnTo>
                <a:lnTo>
                  <a:pt x="0" y="60"/>
                </a:lnTo>
                <a:lnTo>
                  <a:pt x="0" y="60"/>
                </a:lnTo>
                <a:lnTo>
                  <a:pt x="6" y="60"/>
                </a:lnTo>
                <a:lnTo>
                  <a:pt x="6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54"/>
                </a:lnTo>
                <a:lnTo>
                  <a:pt x="0" y="5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804" name="Freeform 537"/>
          <p:cNvSpPr>
            <a:spLocks/>
          </p:cNvSpPr>
          <p:nvPr/>
        </p:nvSpPr>
        <p:spPr bwMode="auto">
          <a:xfrm>
            <a:off x="6704101" y="3254903"/>
            <a:ext cx="179873" cy="147754"/>
          </a:xfrm>
          <a:custGeom>
            <a:avLst/>
            <a:gdLst>
              <a:gd name="T0" fmla="*/ 12 w 168"/>
              <a:gd name="T1" fmla="*/ 72 h 138"/>
              <a:gd name="T2" fmla="*/ 18 w 168"/>
              <a:gd name="T3" fmla="*/ 72 h 138"/>
              <a:gd name="T4" fmla="*/ 24 w 168"/>
              <a:gd name="T5" fmla="*/ 72 h 138"/>
              <a:gd name="T6" fmla="*/ 24 w 168"/>
              <a:gd name="T7" fmla="*/ 66 h 138"/>
              <a:gd name="T8" fmla="*/ 30 w 168"/>
              <a:gd name="T9" fmla="*/ 60 h 138"/>
              <a:gd name="T10" fmla="*/ 36 w 168"/>
              <a:gd name="T11" fmla="*/ 54 h 138"/>
              <a:gd name="T12" fmla="*/ 30 w 168"/>
              <a:gd name="T13" fmla="*/ 48 h 138"/>
              <a:gd name="T14" fmla="*/ 18 w 168"/>
              <a:gd name="T15" fmla="*/ 42 h 138"/>
              <a:gd name="T16" fmla="*/ 18 w 168"/>
              <a:gd name="T17" fmla="*/ 42 h 138"/>
              <a:gd name="T18" fmla="*/ 18 w 168"/>
              <a:gd name="T19" fmla="*/ 36 h 138"/>
              <a:gd name="T20" fmla="*/ 24 w 168"/>
              <a:gd name="T21" fmla="*/ 36 h 138"/>
              <a:gd name="T22" fmla="*/ 30 w 168"/>
              <a:gd name="T23" fmla="*/ 36 h 138"/>
              <a:gd name="T24" fmla="*/ 30 w 168"/>
              <a:gd name="T25" fmla="*/ 36 h 138"/>
              <a:gd name="T26" fmla="*/ 36 w 168"/>
              <a:gd name="T27" fmla="*/ 30 h 138"/>
              <a:gd name="T28" fmla="*/ 48 w 168"/>
              <a:gd name="T29" fmla="*/ 42 h 138"/>
              <a:gd name="T30" fmla="*/ 48 w 168"/>
              <a:gd name="T31" fmla="*/ 48 h 138"/>
              <a:gd name="T32" fmla="*/ 54 w 168"/>
              <a:gd name="T33" fmla="*/ 36 h 138"/>
              <a:gd name="T34" fmla="*/ 60 w 168"/>
              <a:gd name="T35" fmla="*/ 30 h 138"/>
              <a:gd name="T36" fmla="*/ 66 w 168"/>
              <a:gd name="T37" fmla="*/ 24 h 138"/>
              <a:gd name="T38" fmla="*/ 66 w 168"/>
              <a:gd name="T39" fmla="*/ 18 h 138"/>
              <a:gd name="T40" fmla="*/ 66 w 168"/>
              <a:gd name="T41" fmla="*/ 6 h 138"/>
              <a:gd name="T42" fmla="*/ 66 w 168"/>
              <a:gd name="T43" fmla="*/ 6 h 138"/>
              <a:gd name="T44" fmla="*/ 72 w 168"/>
              <a:gd name="T45" fmla="*/ 6 h 138"/>
              <a:gd name="T46" fmla="*/ 78 w 168"/>
              <a:gd name="T47" fmla="*/ 12 h 138"/>
              <a:gd name="T48" fmla="*/ 96 w 168"/>
              <a:gd name="T49" fmla="*/ 6 h 138"/>
              <a:gd name="T50" fmla="*/ 102 w 168"/>
              <a:gd name="T51" fmla="*/ 0 h 138"/>
              <a:gd name="T52" fmla="*/ 108 w 168"/>
              <a:gd name="T53" fmla="*/ 6 h 138"/>
              <a:gd name="T54" fmla="*/ 108 w 168"/>
              <a:gd name="T55" fmla="*/ 12 h 138"/>
              <a:gd name="T56" fmla="*/ 108 w 168"/>
              <a:gd name="T57" fmla="*/ 18 h 138"/>
              <a:gd name="T58" fmla="*/ 114 w 168"/>
              <a:gd name="T59" fmla="*/ 24 h 138"/>
              <a:gd name="T60" fmla="*/ 120 w 168"/>
              <a:gd name="T61" fmla="*/ 24 h 138"/>
              <a:gd name="T62" fmla="*/ 108 w 168"/>
              <a:gd name="T63" fmla="*/ 60 h 138"/>
              <a:gd name="T64" fmla="*/ 120 w 168"/>
              <a:gd name="T65" fmla="*/ 78 h 138"/>
              <a:gd name="T66" fmla="*/ 114 w 168"/>
              <a:gd name="T67" fmla="*/ 84 h 138"/>
              <a:gd name="T68" fmla="*/ 126 w 168"/>
              <a:gd name="T69" fmla="*/ 90 h 138"/>
              <a:gd name="T70" fmla="*/ 132 w 168"/>
              <a:gd name="T71" fmla="*/ 90 h 138"/>
              <a:gd name="T72" fmla="*/ 144 w 168"/>
              <a:gd name="T73" fmla="*/ 90 h 138"/>
              <a:gd name="T74" fmla="*/ 144 w 168"/>
              <a:gd name="T75" fmla="*/ 102 h 138"/>
              <a:gd name="T76" fmla="*/ 156 w 168"/>
              <a:gd name="T77" fmla="*/ 102 h 138"/>
              <a:gd name="T78" fmla="*/ 168 w 168"/>
              <a:gd name="T79" fmla="*/ 108 h 138"/>
              <a:gd name="T80" fmla="*/ 168 w 168"/>
              <a:gd name="T81" fmla="*/ 120 h 138"/>
              <a:gd name="T82" fmla="*/ 156 w 168"/>
              <a:gd name="T83" fmla="*/ 126 h 138"/>
              <a:gd name="T84" fmla="*/ 138 w 168"/>
              <a:gd name="T85" fmla="*/ 126 h 138"/>
              <a:gd name="T86" fmla="*/ 132 w 168"/>
              <a:gd name="T87" fmla="*/ 120 h 138"/>
              <a:gd name="T88" fmla="*/ 126 w 168"/>
              <a:gd name="T89" fmla="*/ 126 h 138"/>
              <a:gd name="T90" fmla="*/ 114 w 168"/>
              <a:gd name="T91" fmla="*/ 120 h 138"/>
              <a:gd name="T92" fmla="*/ 102 w 168"/>
              <a:gd name="T93" fmla="*/ 120 h 138"/>
              <a:gd name="T94" fmla="*/ 102 w 168"/>
              <a:gd name="T95" fmla="*/ 126 h 138"/>
              <a:gd name="T96" fmla="*/ 84 w 168"/>
              <a:gd name="T97" fmla="*/ 132 h 138"/>
              <a:gd name="T98" fmla="*/ 78 w 168"/>
              <a:gd name="T99" fmla="*/ 132 h 138"/>
              <a:gd name="T100" fmla="*/ 72 w 168"/>
              <a:gd name="T101" fmla="*/ 138 h 138"/>
              <a:gd name="T102" fmla="*/ 60 w 168"/>
              <a:gd name="T103" fmla="*/ 138 h 138"/>
              <a:gd name="T104" fmla="*/ 54 w 168"/>
              <a:gd name="T105" fmla="*/ 138 h 138"/>
              <a:gd name="T106" fmla="*/ 48 w 168"/>
              <a:gd name="T107" fmla="*/ 132 h 138"/>
              <a:gd name="T108" fmla="*/ 36 w 168"/>
              <a:gd name="T109" fmla="*/ 132 h 138"/>
              <a:gd name="T110" fmla="*/ 30 w 168"/>
              <a:gd name="T111" fmla="*/ 120 h 138"/>
              <a:gd name="T112" fmla="*/ 42 w 168"/>
              <a:gd name="T113" fmla="*/ 120 h 138"/>
              <a:gd name="T114" fmla="*/ 30 w 168"/>
              <a:gd name="T115" fmla="*/ 114 h 138"/>
              <a:gd name="T116" fmla="*/ 24 w 168"/>
              <a:gd name="T117" fmla="*/ 108 h 138"/>
              <a:gd name="T118" fmla="*/ 12 w 168"/>
              <a:gd name="T119" fmla="*/ 102 h 138"/>
              <a:gd name="T120" fmla="*/ 0 w 168"/>
              <a:gd name="T121" fmla="*/ 90 h 138"/>
              <a:gd name="T122" fmla="*/ 0 w 168"/>
              <a:gd name="T123" fmla="*/ 78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68" h="138">
                <a:moveTo>
                  <a:pt x="0" y="78"/>
                </a:moveTo>
                <a:lnTo>
                  <a:pt x="0" y="78"/>
                </a:ln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66"/>
                </a:lnTo>
                <a:lnTo>
                  <a:pt x="18" y="72"/>
                </a:lnTo>
                <a:lnTo>
                  <a:pt x="18" y="72"/>
                </a:lnTo>
                <a:lnTo>
                  <a:pt x="18" y="66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6" y="60"/>
                </a:lnTo>
                <a:lnTo>
                  <a:pt x="36" y="60"/>
                </a:lnTo>
                <a:lnTo>
                  <a:pt x="36" y="54"/>
                </a:lnTo>
                <a:lnTo>
                  <a:pt x="36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2"/>
                </a:lnTo>
                <a:lnTo>
                  <a:pt x="24" y="48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24" y="42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6"/>
                </a:lnTo>
                <a:lnTo>
                  <a:pt x="48" y="36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2"/>
                </a:lnTo>
                <a:lnTo>
                  <a:pt x="48" y="42"/>
                </a:lnTo>
                <a:lnTo>
                  <a:pt x="54" y="42"/>
                </a:lnTo>
                <a:lnTo>
                  <a:pt x="54" y="42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0"/>
                </a:lnTo>
                <a:lnTo>
                  <a:pt x="54" y="30"/>
                </a:lnTo>
                <a:lnTo>
                  <a:pt x="60" y="36"/>
                </a:lnTo>
                <a:lnTo>
                  <a:pt x="60" y="30"/>
                </a:lnTo>
                <a:lnTo>
                  <a:pt x="60" y="36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0" y="12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6"/>
                </a:lnTo>
                <a:lnTo>
                  <a:pt x="84" y="6"/>
                </a:lnTo>
                <a:lnTo>
                  <a:pt x="84" y="6"/>
                </a:lnTo>
                <a:lnTo>
                  <a:pt x="90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8" y="0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18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60"/>
                </a:lnTo>
                <a:lnTo>
                  <a:pt x="114" y="60"/>
                </a:lnTo>
                <a:lnTo>
                  <a:pt x="114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6"/>
                </a:lnTo>
                <a:lnTo>
                  <a:pt x="114" y="72"/>
                </a:lnTo>
                <a:lnTo>
                  <a:pt x="114" y="72"/>
                </a:lnTo>
                <a:lnTo>
                  <a:pt x="114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90"/>
                </a:lnTo>
                <a:lnTo>
                  <a:pt x="120" y="90"/>
                </a:lnTo>
                <a:lnTo>
                  <a:pt x="114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6" y="90"/>
                </a:lnTo>
                <a:lnTo>
                  <a:pt x="126" y="90"/>
                </a:lnTo>
                <a:lnTo>
                  <a:pt x="126" y="90"/>
                </a:lnTo>
                <a:lnTo>
                  <a:pt x="126" y="90"/>
                </a:lnTo>
                <a:lnTo>
                  <a:pt x="126" y="90"/>
                </a:lnTo>
                <a:lnTo>
                  <a:pt x="126" y="90"/>
                </a:lnTo>
                <a:lnTo>
                  <a:pt x="132" y="90"/>
                </a:lnTo>
                <a:lnTo>
                  <a:pt x="132" y="90"/>
                </a:lnTo>
                <a:lnTo>
                  <a:pt x="132" y="90"/>
                </a:lnTo>
                <a:lnTo>
                  <a:pt x="132" y="90"/>
                </a:lnTo>
                <a:lnTo>
                  <a:pt x="132" y="90"/>
                </a:lnTo>
                <a:lnTo>
                  <a:pt x="138" y="90"/>
                </a:lnTo>
                <a:lnTo>
                  <a:pt x="138" y="90"/>
                </a:lnTo>
                <a:lnTo>
                  <a:pt x="138" y="90"/>
                </a:lnTo>
                <a:lnTo>
                  <a:pt x="138" y="90"/>
                </a:lnTo>
                <a:lnTo>
                  <a:pt x="144" y="90"/>
                </a:lnTo>
                <a:lnTo>
                  <a:pt x="144" y="90"/>
                </a:lnTo>
                <a:lnTo>
                  <a:pt x="144" y="90"/>
                </a:lnTo>
                <a:lnTo>
                  <a:pt x="144" y="90"/>
                </a:lnTo>
                <a:lnTo>
                  <a:pt x="150" y="96"/>
                </a:lnTo>
                <a:lnTo>
                  <a:pt x="144" y="96"/>
                </a:lnTo>
                <a:lnTo>
                  <a:pt x="144" y="96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44" y="102"/>
                </a:lnTo>
                <a:lnTo>
                  <a:pt x="150" y="102"/>
                </a:lnTo>
                <a:lnTo>
                  <a:pt x="150" y="102"/>
                </a:lnTo>
                <a:lnTo>
                  <a:pt x="150" y="102"/>
                </a:lnTo>
                <a:lnTo>
                  <a:pt x="156" y="102"/>
                </a:lnTo>
                <a:lnTo>
                  <a:pt x="156" y="102"/>
                </a:lnTo>
                <a:lnTo>
                  <a:pt x="162" y="102"/>
                </a:lnTo>
                <a:lnTo>
                  <a:pt x="162" y="102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8" y="108"/>
                </a:lnTo>
                <a:lnTo>
                  <a:pt x="168" y="108"/>
                </a:lnTo>
                <a:lnTo>
                  <a:pt x="168" y="108"/>
                </a:lnTo>
                <a:lnTo>
                  <a:pt x="168" y="114"/>
                </a:lnTo>
                <a:lnTo>
                  <a:pt x="168" y="114"/>
                </a:lnTo>
                <a:lnTo>
                  <a:pt x="168" y="114"/>
                </a:lnTo>
                <a:lnTo>
                  <a:pt x="168" y="120"/>
                </a:lnTo>
                <a:lnTo>
                  <a:pt x="168" y="120"/>
                </a:lnTo>
                <a:lnTo>
                  <a:pt x="168" y="120"/>
                </a:lnTo>
                <a:lnTo>
                  <a:pt x="168" y="120"/>
                </a:lnTo>
                <a:lnTo>
                  <a:pt x="168" y="126"/>
                </a:lnTo>
                <a:lnTo>
                  <a:pt x="162" y="126"/>
                </a:lnTo>
                <a:lnTo>
                  <a:pt x="162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50" y="126"/>
                </a:lnTo>
                <a:lnTo>
                  <a:pt x="138" y="138"/>
                </a:lnTo>
                <a:lnTo>
                  <a:pt x="138" y="126"/>
                </a:lnTo>
                <a:lnTo>
                  <a:pt x="138" y="126"/>
                </a:lnTo>
                <a:lnTo>
                  <a:pt x="138" y="126"/>
                </a:lnTo>
                <a:lnTo>
                  <a:pt x="138" y="126"/>
                </a:lnTo>
                <a:lnTo>
                  <a:pt x="138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26"/>
                </a:lnTo>
                <a:lnTo>
                  <a:pt x="132" y="120"/>
                </a:lnTo>
                <a:lnTo>
                  <a:pt x="132" y="120"/>
                </a:lnTo>
                <a:lnTo>
                  <a:pt x="132" y="120"/>
                </a:lnTo>
                <a:lnTo>
                  <a:pt x="126" y="120"/>
                </a:lnTo>
                <a:lnTo>
                  <a:pt x="126" y="126"/>
                </a:lnTo>
                <a:lnTo>
                  <a:pt x="126" y="126"/>
                </a:lnTo>
                <a:lnTo>
                  <a:pt x="126" y="120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0" y="126"/>
                </a:lnTo>
                <a:lnTo>
                  <a:pt x="120" y="126"/>
                </a:lnTo>
                <a:lnTo>
                  <a:pt x="120" y="126"/>
                </a:lnTo>
                <a:lnTo>
                  <a:pt x="120" y="126"/>
                </a:lnTo>
                <a:lnTo>
                  <a:pt x="114" y="120"/>
                </a:lnTo>
                <a:lnTo>
                  <a:pt x="114" y="120"/>
                </a:lnTo>
                <a:lnTo>
                  <a:pt x="114" y="120"/>
                </a:lnTo>
                <a:lnTo>
                  <a:pt x="114" y="120"/>
                </a:lnTo>
                <a:lnTo>
                  <a:pt x="108" y="120"/>
                </a:lnTo>
                <a:lnTo>
                  <a:pt x="108" y="114"/>
                </a:lnTo>
                <a:lnTo>
                  <a:pt x="108" y="114"/>
                </a:lnTo>
                <a:lnTo>
                  <a:pt x="108" y="114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0"/>
                </a:lnTo>
                <a:lnTo>
                  <a:pt x="102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26"/>
                </a:lnTo>
                <a:lnTo>
                  <a:pt x="102" y="132"/>
                </a:lnTo>
                <a:lnTo>
                  <a:pt x="96" y="132"/>
                </a:lnTo>
                <a:lnTo>
                  <a:pt x="96" y="132"/>
                </a:lnTo>
                <a:lnTo>
                  <a:pt x="90" y="132"/>
                </a:lnTo>
                <a:lnTo>
                  <a:pt x="90" y="132"/>
                </a:lnTo>
                <a:lnTo>
                  <a:pt x="90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84" y="126"/>
                </a:lnTo>
                <a:lnTo>
                  <a:pt x="78" y="132"/>
                </a:lnTo>
                <a:lnTo>
                  <a:pt x="78" y="132"/>
                </a:lnTo>
                <a:lnTo>
                  <a:pt x="78" y="132"/>
                </a:lnTo>
                <a:lnTo>
                  <a:pt x="78" y="132"/>
                </a:lnTo>
                <a:lnTo>
                  <a:pt x="78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66" y="138"/>
                </a:lnTo>
                <a:lnTo>
                  <a:pt x="66" y="138"/>
                </a:lnTo>
                <a:lnTo>
                  <a:pt x="66" y="138"/>
                </a:lnTo>
                <a:lnTo>
                  <a:pt x="66" y="138"/>
                </a:lnTo>
                <a:lnTo>
                  <a:pt x="60" y="138"/>
                </a:lnTo>
                <a:lnTo>
                  <a:pt x="60" y="138"/>
                </a:lnTo>
                <a:lnTo>
                  <a:pt x="60" y="138"/>
                </a:lnTo>
                <a:lnTo>
                  <a:pt x="60" y="138"/>
                </a:lnTo>
                <a:lnTo>
                  <a:pt x="60" y="138"/>
                </a:lnTo>
                <a:lnTo>
                  <a:pt x="60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2"/>
                </a:lnTo>
                <a:lnTo>
                  <a:pt x="48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42" y="132"/>
                </a:lnTo>
                <a:lnTo>
                  <a:pt x="36" y="132"/>
                </a:lnTo>
                <a:lnTo>
                  <a:pt x="36" y="132"/>
                </a:lnTo>
                <a:lnTo>
                  <a:pt x="36" y="132"/>
                </a:lnTo>
                <a:lnTo>
                  <a:pt x="36" y="132"/>
                </a:lnTo>
                <a:lnTo>
                  <a:pt x="36" y="126"/>
                </a:lnTo>
                <a:lnTo>
                  <a:pt x="36" y="126"/>
                </a:lnTo>
                <a:lnTo>
                  <a:pt x="30" y="126"/>
                </a:lnTo>
                <a:lnTo>
                  <a:pt x="30" y="126"/>
                </a:lnTo>
                <a:lnTo>
                  <a:pt x="30" y="120"/>
                </a:lnTo>
                <a:lnTo>
                  <a:pt x="30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42" y="120"/>
                </a:lnTo>
                <a:lnTo>
                  <a:pt x="42" y="120"/>
                </a:lnTo>
                <a:lnTo>
                  <a:pt x="42" y="120"/>
                </a:lnTo>
                <a:lnTo>
                  <a:pt x="42" y="120"/>
                </a:lnTo>
                <a:lnTo>
                  <a:pt x="42" y="120"/>
                </a:lnTo>
                <a:lnTo>
                  <a:pt x="42" y="120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0" y="114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2"/>
                </a:lnTo>
                <a:lnTo>
                  <a:pt x="24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6" y="102"/>
                </a:lnTo>
                <a:lnTo>
                  <a:pt x="6" y="96"/>
                </a:lnTo>
                <a:lnTo>
                  <a:pt x="0" y="96"/>
                </a:lnTo>
                <a:lnTo>
                  <a:pt x="0" y="96"/>
                </a:lnTo>
                <a:lnTo>
                  <a:pt x="0" y="90"/>
                </a:lnTo>
                <a:lnTo>
                  <a:pt x="0" y="90"/>
                </a:lnTo>
                <a:lnTo>
                  <a:pt x="0" y="90"/>
                </a:lnTo>
                <a:lnTo>
                  <a:pt x="6" y="84"/>
                </a:lnTo>
                <a:lnTo>
                  <a:pt x="0" y="84"/>
                </a:lnTo>
                <a:lnTo>
                  <a:pt x="6" y="84"/>
                </a:lnTo>
                <a:lnTo>
                  <a:pt x="0" y="84"/>
                </a:lnTo>
                <a:lnTo>
                  <a:pt x="6" y="84"/>
                </a:lnTo>
                <a:lnTo>
                  <a:pt x="6" y="78"/>
                </a:lnTo>
                <a:lnTo>
                  <a:pt x="0" y="78"/>
                </a:lnTo>
                <a:lnTo>
                  <a:pt x="0" y="7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805" name="Freeform 538"/>
          <p:cNvSpPr>
            <a:spLocks/>
          </p:cNvSpPr>
          <p:nvPr/>
        </p:nvSpPr>
        <p:spPr bwMode="auto">
          <a:xfrm>
            <a:off x="6864702" y="3460474"/>
            <a:ext cx="231266" cy="218419"/>
          </a:xfrm>
          <a:custGeom>
            <a:avLst/>
            <a:gdLst>
              <a:gd name="T0" fmla="*/ 12 w 216"/>
              <a:gd name="T1" fmla="*/ 174 h 204"/>
              <a:gd name="T2" fmla="*/ 24 w 216"/>
              <a:gd name="T3" fmla="*/ 168 h 204"/>
              <a:gd name="T4" fmla="*/ 24 w 216"/>
              <a:gd name="T5" fmla="*/ 162 h 204"/>
              <a:gd name="T6" fmla="*/ 30 w 216"/>
              <a:gd name="T7" fmla="*/ 156 h 204"/>
              <a:gd name="T8" fmla="*/ 36 w 216"/>
              <a:gd name="T9" fmla="*/ 150 h 204"/>
              <a:gd name="T10" fmla="*/ 48 w 216"/>
              <a:gd name="T11" fmla="*/ 138 h 204"/>
              <a:gd name="T12" fmla="*/ 48 w 216"/>
              <a:gd name="T13" fmla="*/ 120 h 204"/>
              <a:gd name="T14" fmla="*/ 48 w 216"/>
              <a:gd name="T15" fmla="*/ 114 h 204"/>
              <a:gd name="T16" fmla="*/ 60 w 216"/>
              <a:gd name="T17" fmla="*/ 102 h 204"/>
              <a:gd name="T18" fmla="*/ 60 w 216"/>
              <a:gd name="T19" fmla="*/ 90 h 204"/>
              <a:gd name="T20" fmla="*/ 66 w 216"/>
              <a:gd name="T21" fmla="*/ 90 h 204"/>
              <a:gd name="T22" fmla="*/ 66 w 216"/>
              <a:gd name="T23" fmla="*/ 84 h 204"/>
              <a:gd name="T24" fmla="*/ 90 w 216"/>
              <a:gd name="T25" fmla="*/ 84 h 204"/>
              <a:gd name="T26" fmla="*/ 102 w 216"/>
              <a:gd name="T27" fmla="*/ 78 h 204"/>
              <a:gd name="T28" fmla="*/ 114 w 216"/>
              <a:gd name="T29" fmla="*/ 60 h 204"/>
              <a:gd name="T30" fmla="*/ 102 w 216"/>
              <a:gd name="T31" fmla="*/ 48 h 204"/>
              <a:gd name="T32" fmla="*/ 108 w 216"/>
              <a:gd name="T33" fmla="*/ 36 h 204"/>
              <a:gd name="T34" fmla="*/ 120 w 216"/>
              <a:gd name="T35" fmla="*/ 30 h 204"/>
              <a:gd name="T36" fmla="*/ 126 w 216"/>
              <a:gd name="T37" fmla="*/ 18 h 204"/>
              <a:gd name="T38" fmla="*/ 132 w 216"/>
              <a:gd name="T39" fmla="*/ 6 h 204"/>
              <a:gd name="T40" fmla="*/ 138 w 216"/>
              <a:gd name="T41" fmla="*/ 0 h 204"/>
              <a:gd name="T42" fmla="*/ 156 w 216"/>
              <a:gd name="T43" fmla="*/ 0 h 204"/>
              <a:gd name="T44" fmla="*/ 156 w 216"/>
              <a:gd name="T45" fmla="*/ 18 h 204"/>
              <a:gd name="T46" fmla="*/ 162 w 216"/>
              <a:gd name="T47" fmla="*/ 24 h 204"/>
              <a:gd name="T48" fmla="*/ 174 w 216"/>
              <a:gd name="T49" fmla="*/ 36 h 204"/>
              <a:gd name="T50" fmla="*/ 180 w 216"/>
              <a:gd name="T51" fmla="*/ 42 h 204"/>
              <a:gd name="T52" fmla="*/ 180 w 216"/>
              <a:gd name="T53" fmla="*/ 54 h 204"/>
              <a:gd name="T54" fmla="*/ 180 w 216"/>
              <a:gd name="T55" fmla="*/ 60 h 204"/>
              <a:gd name="T56" fmla="*/ 180 w 216"/>
              <a:gd name="T57" fmla="*/ 66 h 204"/>
              <a:gd name="T58" fmla="*/ 180 w 216"/>
              <a:gd name="T59" fmla="*/ 72 h 204"/>
              <a:gd name="T60" fmla="*/ 186 w 216"/>
              <a:gd name="T61" fmla="*/ 78 h 204"/>
              <a:gd name="T62" fmla="*/ 204 w 216"/>
              <a:gd name="T63" fmla="*/ 78 h 204"/>
              <a:gd name="T64" fmla="*/ 210 w 216"/>
              <a:gd name="T65" fmla="*/ 96 h 204"/>
              <a:gd name="T66" fmla="*/ 204 w 216"/>
              <a:gd name="T67" fmla="*/ 108 h 204"/>
              <a:gd name="T68" fmla="*/ 204 w 216"/>
              <a:gd name="T69" fmla="*/ 114 h 204"/>
              <a:gd name="T70" fmla="*/ 204 w 216"/>
              <a:gd name="T71" fmla="*/ 126 h 204"/>
              <a:gd name="T72" fmla="*/ 204 w 216"/>
              <a:gd name="T73" fmla="*/ 132 h 204"/>
              <a:gd name="T74" fmla="*/ 204 w 216"/>
              <a:gd name="T75" fmla="*/ 138 h 204"/>
              <a:gd name="T76" fmla="*/ 210 w 216"/>
              <a:gd name="T77" fmla="*/ 144 h 204"/>
              <a:gd name="T78" fmla="*/ 204 w 216"/>
              <a:gd name="T79" fmla="*/ 156 h 204"/>
              <a:gd name="T80" fmla="*/ 192 w 216"/>
              <a:gd name="T81" fmla="*/ 156 h 204"/>
              <a:gd name="T82" fmla="*/ 192 w 216"/>
              <a:gd name="T83" fmla="*/ 162 h 204"/>
              <a:gd name="T84" fmla="*/ 186 w 216"/>
              <a:gd name="T85" fmla="*/ 168 h 204"/>
              <a:gd name="T86" fmla="*/ 180 w 216"/>
              <a:gd name="T87" fmla="*/ 168 h 204"/>
              <a:gd name="T88" fmla="*/ 168 w 216"/>
              <a:gd name="T89" fmla="*/ 174 h 204"/>
              <a:gd name="T90" fmla="*/ 168 w 216"/>
              <a:gd name="T91" fmla="*/ 180 h 204"/>
              <a:gd name="T92" fmla="*/ 162 w 216"/>
              <a:gd name="T93" fmla="*/ 186 h 204"/>
              <a:gd name="T94" fmla="*/ 156 w 216"/>
              <a:gd name="T95" fmla="*/ 186 h 204"/>
              <a:gd name="T96" fmla="*/ 150 w 216"/>
              <a:gd name="T97" fmla="*/ 198 h 204"/>
              <a:gd name="T98" fmla="*/ 138 w 216"/>
              <a:gd name="T99" fmla="*/ 198 h 204"/>
              <a:gd name="T100" fmla="*/ 132 w 216"/>
              <a:gd name="T101" fmla="*/ 204 h 204"/>
              <a:gd name="T102" fmla="*/ 126 w 216"/>
              <a:gd name="T103" fmla="*/ 204 h 204"/>
              <a:gd name="T104" fmla="*/ 120 w 216"/>
              <a:gd name="T105" fmla="*/ 198 h 204"/>
              <a:gd name="T106" fmla="*/ 108 w 216"/>
              <a:gd name="T107" fmla="*/ 198 h 204"/>
              <a:gd name="T108" fmla="*/ 90 w 216"/>
              <a:gd name="T109" fmla="*/ 192 h 204"/>
              <a:gd name="T110" fmla="*/ 78 w 216"/>
              <a:gd name="T111" fmla="*/ 192 h 204"/>
              <a:gd name="T112" fmla="*/ 66 w 216"/>
              <a:gd name="T113" fmla="*/ 186 h 204"/>
              <a:gd name="T114" fmla="*/ 54 w 216"/>
              <a:gd name="T115" fmla="*/ 186 h 204"/>
              <a:gd name="T116" fmla="*/ 36 w 216"/>
              <a:gd name="T117" fmla="*/ 186 h 204"/>
              <a:gd name="T118" fmla="*/ 18 w 216"/>
              <a:gd name="T119" fmla="*/ 186 h 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16" h="204">
                <a:moveTo>
                  <a:pt x="0" y="180"/>
                </a:moveTo>
                <a:lnTo>
                  <a:pt x="0" y="180"/>
                </a:lnTo>
                <a:lnTo>
                  <a:pt x="0" y="180"/>
                </a:lnTo>
                <a:lnTo>
                  <a:pt x="0" y="180"/>
                </a:lnTo>
                <a:lnTo>
                  <a:pt x="0" y="174"/>
                </a:lnTo>
                <a:lnTo>
                  <a:pt x="6" y="180"/>
                </a:lnTo>
                <a:lnTo>
                  <a:pt x="6" y="180"/>
                </a:lnTo>
                <a:lnTo>
                  <a:pt x="6" y="180"/>
                </a:lnTo>
                <a:lnTo>
                  <a:pt x="6" y="180"/>
                </a:lnTo>
                <a:lnTo>
                  <a:pt x="6" y="174"/>
                </a:lnTo>
                <a:lnTo>
                  <a:pt x="12" y="174"/>
                </a:lnTo>
                <a:lnTo>
                  <a:pt x="12" y="174"/>
                </a:lnTo>
                <a:lnTo>
                  <a:pt x="12" y="174"/>
                </a:lnTo>
                <a:lnTo>
                  <a:pt x="12" y="174"/>
                </a:lnTo>
                <a:lnTo>
                  <a:pt x="12" y="174"/>
                </a:lnTo>
                <a:lnTo>
                  <a:pt x="12" y="174"/>
                </a:lnTo>
                <a:lnTo>
                  <a:pt x="18" y="174"/>
                </a:lnTo>
                <a:lnTo>
                  <a:pt x="18" y="174"/>
                </a:lnTo>
                <a:lnTo>
                  <a:pt x="18" y="168"/>
                </a:lnTo>
                <a:lnTo>
                  <a:pt x="18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8"/>
                </a:lnTo>
                <a:lnTo>
                  <a:pt x="24" y="162"/>
                </a:lnTo>
                <a:lnTo>
                  <a:pt x="24" y="162"/>
                </a:lnTo>
                <a:lnTo>
                  <a:pt x="24" y="162"/>
                </a:lnTo>
                <a:lnTo>
                  <a:pt x="24" y="162"/>
                </a:lnTo>
                <a:lnTo>
                  <a:pt x="24" y="162"/>
                </a:lnTo>
                <a:lnTo>
                  <a:pt x="24" y="162"/>
                </a:lnTo>
                <a:lnTo>
                  <a:pt x="24" y="162"/>
                </a:lnTo>
                <a:lnTo>
                  <a:pt x="30" y="156"/>
                </a:lnTo>
                <a:lnTo>
                  <a:pt x="30" y="156"/>
                </a:lnTo>
                <a:lnTo>
                  <a:pt x="24" y="156"/>
                </a:lnTo>
                <a:lnTo>
                  <a:pt x="24" y="156"/>
                </a:lnTo>
                <a:lnTo>
                  <a:pt x="24" y="156"/>
                </a:lnTo>
                <a:lnTo>
                  <a:pt x="24" y="156"/>
                </a:lnTo>
                <a:lnTo>
                  <a:pt x="30" y="156"/>
                </a:lnTo>
                <a:lnTo>
                  <a:pt x="30" y="156"/>
                </a:lnTo>
                <a:lnTo>
                  <a:pt x="30" y="156"/>
                </a:lnTo>
                <a:lnTo>
                  <a:pt x="30" y="156"/>
                </a:lnTo>
                <a:lnTo>
                  <a:pt x="30" y="150"/>
                </a:lnTo>
                <a:lnTo>
                  <a:pt x="30" y="150"/>
                </a:lnTo>
                <a:lnTo>
                  <a:pt x="30" y="150"/>
                </a:lnTo>
                <a:lnTo>
                  <a:pt x="36" y="150"/>
                </a:lnTo>
                <a:lnTo>
                  <a:pt x="36" y="150"/>
                </a:lnTo>
                <a:lnTo>
                  <a:pt x="36" y="150"/>
                </a:lnTo>
                <a:lnTo>
                  <a:pt x="36" y="150"/>
                </a:lnTo>
                <a:lnTo>
                  <a:pt x="36" y="150"/>
                </a:lnTo>
                <a:lnTo>
                  <a:pt x="36" y="150"/>
                </a:lnTo>
                <a:lnTo>
                  <a:pt x="36" y="150"/>
                </a:lnTo>
                <a:lnTo>
                  <a:pt x="36" y="150"/>
                </a:lnTo>
                <a:lnTo>
                  <a:pt x="36" y="150"/>
                </a:lnTo>
                <a:lnTo>
                  <a:pt x="42" y="150"/>
                </a:lnTo>
                <a:lnTo>
                  <a:pt x="42" y="150"/>
                </a:lnTo>
                <a:lnTo>
                  <a:pt x="42" y="150"/>
                </a:lnTo>
                <a:lnTo>
                  <a:pt x="48" y="144"/>
                </a:lnTo>
                <a:lnTo>
                  <a:pt x="48" y="144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48" y="132"/>
                </a:lnTo>
                <a:lnTo>
                  <a:pt x="54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20"/>
                </a:lnTo>
                <a:lnTo>
                  <a:pt x="42" y="120"/>
                </a:lnTo>
                <a:lnTo>
                  <a:pt x="42" y="120"/>
                </a:lnTo>
                <a:lnTo>
                  <a:pt x="48" y="114"/>
                </a:lnTo>
                <a:lnTo>
                  <a:pt x="48" y="114"/>
                </a:lnTo>
                <a:lnTo>
                  <a:pt x="48" y="114"/>
                </a:lnTo>
                <a:lnTo>
                  <a:pt x="48" y="114"/>
                </a:lnTo>
                <a:lnTo>
                  <a:pt x="54" y="114"/>
                </a:lnTo>
                <a:lnTo>
                  <a:pt x="54" y="114"/>
                </a:lnTo>
                <a:lnTo>
                  <a:pt x="48" y="114"/>
                </a:lnTo>
                <a:lnTo>
                  <a:pt x="48" y="108"/>
                </a:lnTo>
                <a:lnTo>
                  <a:pt x="48" y="108"/>
                </a:lnTo>
                <a:lnTo>
                  <a:pt x="48" y="108"/>
                </a:lnTo>
                <a:lnTo>
                  <a:pt x="54" y="108"/>
                </a:lnTo>
                <a:lnTo>
                  <a:pt x="54" y="108"/>
                </a:lnTo>
                <a:lnTo>
                  <a:pt x="54" y="102"/>
                </a:lnTo>
                <a:lnTo>
                  <a:pt x="54" y="102"/>
                </a:lnTo>
                <a:lnTo>
                  <a:pt x="54" y="102"/>
                </a:lnTo>
                <a:lnTo>
                  <a:pt x="60" y="102"/>
                </a:lnTo>
                <a:lnTo>
                  <a:pt x="54" y="102"/>
                </a:lnTo>
                <a:lnTo>
                  <a:pt x="60" y="102"/>
                </a:lnTo>
                <a:lnTo>
                  <a:pt x="60" y="102"/>
                </a:lnTo>
                <a:lnTo>
                  <a:pt x="60" y="96"/>
                </a:lnTo>
                <a:lnTo>
                  <a:pt x="54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60" y="96"/>
                </a:lnTo>
                <a:lnTo>
                  <a:pt x="54" y="96"/>
                </a:lnTo>
                <a:lnTo>
                  <a:pt x="54" y="96"/>
                </a:lnTo>
                <a:lnTo>
                  <a:pt x="54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54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90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84"/>
                </a:lnTo>
                <a:lnTo>
                  <a:pt x="66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2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90" y="90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6" y="84"/>
                </a:lnTo>
                <a:lnTo>
                  <a:pt x="96" y="84"/>
                </a:lnTo>
                <a:lnTo>
                  <a:pt x="96" y="78"/>
                </a:lnTo>
                <a:lnTo>
                  <a:pt x="96" y="78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54"/>
                </a:lnTo>
                <a:lnTo>
                  <a:pt x="108" y="54"/>
                </a:lnTo>
                <a:lnTo>
                  <a:pt x="108" y="54"/>
                </a:lnTo>
                <a:lnTo>
                  <a:pt x="108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36"/>
                </a:lnTo>
                <a:lnTo>
                  <a:pt x="108" y="42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30"/>
                </a:lnTo>
                <a:lnTo>
                  <a:pt x="114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0"/>
                </a:lnTo>
                <a:lnTo>
                  <a:pt x="132" y="0"/>
                </a:lnTo>
                <a:lnTo>
                  <a:pt x="132" y="0"/>
                </a:lnTo>
                <a:lnTo>
                  <a:pt x="132" y="0"/>
                </a:lnTo>
                <a:lnTo>
                  <a:pt x="132" y="0"/>
                </a:lnTo>
                <a:lnTo>
                  <a:pt x="132" y="0"/>
                </a:lnTo>
                <a:lnTo>
                  <a:pt x="138" y="0"/>
                </a:lnTo>
                <a:lnTo>
                  <a:pt x="138" y="0"/>
                </a:lnTo>
                <a:lnTo>
                  <a:pt x="144" y="0"/>
                </a:lnTo>
                <a:lnTo>
                  <a:pt x="144" y="0"/>
                </a:lnTo>
                <a:lnTo>
                  <a:pt x="144" y="0"/>
                </a:lnTo>
                <a:lnTo>
                  <a:pt x="144" y="0"/>
                </a:lnTo>
                <a:lnTo>
                  <a:pt x="150" y="0"/>
                </a:lnTo>
                <a:lnTo>
                  <a:pt x="150" y="0"/>
                </a:lnTo>
                <a:lnTo>
                  <a:pt x="150" y="0"/>
                </a:lnTo>
                <a:lnTo>
                  <a:pt x="156" y="0"/>
                </a:lnTo>
                <a:lnTo>
                  <a:pt x="156" y="0"/>
                </a:lnTo>
                <a:lnTo>
                  <a:pt x="156" y="0"/>
                </a:lnTo>
                <a:lnTo>
                  <a:pt x="156" y="0"/>
                </a:lnTo>
                <a:lnTo>
                  <a:pt x="156" y="0"/>
                </a:lnTo>
                <a:lnTo>
                  <a:pt x="156" y="0"/>
                </a:lnTo>
                <a:lnTo>
                  <a:pt x="156" y="6"/>
                </a:lnTo>
                <a:lnTo>
                  <a:pt x="156" y="6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24"/>
                </a:lnTo>
                <a:lnTo>
                  <a:pt x="156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30"/>
                </a:lnTo>
                <a:lnTo>
                  <a:pt x="162" y="30"/>
                </a:lnTo>
                <a:lnTo>
                  <a:pt x="168" y="30"/>
                </a:lnTo>
                <a:lnTo>
                  <a:pt x="168" y="30"/>
                </a:lnTo>
                <a:lnTo>
                  <a:pt x="168" y="30"/>
                </a:lnTo>
                <a:lnTo>
                  <a:pt x="168" y="30"/>
                </a:lnTo>
                <a:lnTo>
                  <a:pt x="168" y="36"/>
                </a:lnTo>
                <a:lnTo>
                  <a:pt x="168" y="36"/>
                </a:lnTo>
                <a:lnTo>
                  <a:pt x="168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80" y="42"/>
                </a:lnTo>
                <a:lnTo>
                  <a:pt x="180" y="42"/>
                </a:lnTo>
                <a:lnTo>
                  <a:pt x="180" y="42"/>
                </a:lnTo>
                <a:lnTo>
                  <a:pt x="180" y="48"/>
                </a:lnTo>
                <a:lnTo>
                  <a:pt x="180" y="48"/>
                </a:lnTo>
                <a:lnTo>
                  <a:pt x="180" y="48"/>
                </a:lnTo>
                <a:lnTo>
                  <a:pt x="180" y="48"/>
                </a:lnTo>
                <a:lnTo>
                  <a:pt x="180" y="48"/>
                </a:lnTo>
                <a:lnTo>
                  <a:pt x="180" y="48"/>
                </a:lnTo>
                <a:lnTo>
                  <a:pt x="180" y="48"/>
                </a:lnTo>
                <a:lnTo>
                  <a:pt x="180" y="54"/>
                </a:lnTo>
                <a:lnTo>
                  <a:pt x="180" y="54"/>
                </a:lnTo>
                <a:lnTo>
                  <a:pt x="180" y="54"/>
                </a:lnTo>
                <a:lnTo>
                  <a:pt x="180" y="54"/>
                </a:lnTo>
                <a:lnTo>
                  <a:pt x="180" y="54"/>
                </a:lnTo>
                <a:lnTo>
                  <a:pt x="180" y="54"/>
                </a:lnTo>
                <a:lnTo>
                  <a:pt x="180" y="54"/>
                </a:lnTo>
                <a:lnTo>
                  <a:pt x="180" y="54"/>
                </a:lnTo>
                <a:lnTo>
                  <a:pt x="180" y="60"/>
                </a:lnTo>
                <a:lnTo>
                  <a:pt x="180" y="60"/>
                </a:lnTo>
                <a:lnTo>
                  <a:pt x="180" y="60"/>
                </a:lnTo>
                <a:lnTo>
                  <a:pt x="180" y="60"/>
                </a:lnTo>
                <a:lnTo>
                  <a:pt x="180" y="60"/>
                </a:lnTo>
                <a:lnTo>
                  <a:pt x="180" y="60"/>
                </a:lnTo>
                <a:lnTo>
                  <a:pt x="180" y="60"/>
                </a:lnTo>
                <a:lnTo>
                  <a:pt x="180" y="60"/>
                </a:lnTo>
                <a:lnTo>
                  <a:pt x="180" y="60"/>
                </a:lnTo>
                <a:lnTo>
                  <a:pt x="180" y="60"/>
                </a:lnTo>
                <a:lnTo>
                  <a:pt x="180" y="60"/>
                </a:lnTo>
                <a:lnTo>
                  <a:pt x="180" y="60"/>
                </a:lnTo>
                <a:lnTo>
                  <a:pt x="180" y="66"/>
                </a:lnTo>
                <a:lnTo>
                  <a:pt x="180" y="66"/>
                </a:lnTo>
                <a:lnTo>
                  <a:pt x="180" y="66"/>
                </a:lnTo>
                <a:lnTo>
                  <a:pt x="180" y="66"/>
                </a:lnTo>
                <a:lnTo>
                  <a:pt x="180" y="66"/>
                </a:lnTo>
                <a:lnTo>
                  <a:pt x="180" y="66"/>
                </a:lnTo>
                <a:lnTo>
                  <a:pt x="180" y="66"/>
                </a:lnTo>
                <a:lnTo>
                  <a:pt x="180" y="66"/>
                </a:lnTo>
                <a:lnTo>
                  <a:pt x="180" y="66"/>
                </a:lnTo>
                <a:lnTo>
                  <a:pt x="180" y="66"/>
                </a:lnTo>
                <a:lnTo>
                  <a:pt x="180" y="66"/>
                </a:lnTo>
                <a:lnTo>
                  <a:pt x="180" y="66"/>
                </a:lnTo>
                <a:lnTo>
                  <a:pt x="180" y="72"/>
                </a:lnTo>
                <a:lnTo>
                  <a:pt x="180" y="72"/>
                </a:lnTo>
                <a:lnTo>
                  <a:pt x="180" y="72"/>
                </a:lnTo>
                <a:lnTo>
                  <a:pt x="180" y="72"/>
                </a:lnTo>
                <a:lnTo>
                  <a:pt x="180" y="72"/>
                </a:lnTo>
                <a:lnTo>
                  <a:pt x="180" y="72"/>
                </a:lnTo>
                <a:lnTo>
                  <a:pt x="180" y="78"/>
                </a:lnTo>
                <a:lnTo>
                  <a:pt x="180" y="78"/>
                </a:lnTo>
                <a:lnTo>
                  <a:pt x="180" y="78"/>
                </a:lnTo>
                <a:lnTo>
                  <a:pt x="186" y="78"/>
                </a:lnTo>
                <a:lnTo>
                  <a:pt x="186" y="78"/>
                </a:lnTo>
                <a:lnTo>
                  <a:pt x="186" y="78"/>
                </a:lnTo>
                <a:lnTo>
                  <a:pt x="186" y="78"/>
                </a:lnTo>
                <a:lnTo>
                  <a:pt x="186" y="78"/>
                </a:lnTo>
                <a:lnTo>
                  <a:pt x="186" y="84"/>
                </a:lnTo>
                <a:lnTo>
                  <a:pt x="186" y="84"/>
                </a:lnTo>
                <a:lnTo>
                  <a:pt x="186" y="84"/>
                </a:lnTo>
                <a:lnTo>
                  <a:pt x="192" y="78"/>
                </a:lnTo>
                <a:lnTo>
                  <a:pt x="192" y="78"/>
                </a:lnTo>
                <a:lnTo>
                  <a:pt x="198" y="78"/>
                </a:lnTo>
                <a:lnTo>
                  <a:pt x="198" y="78"/>
                </a:lnTo>
                <a:lnTo>
                  <a:pt x="198" y="78"/>
                </a:lnTo>
                <a:lnTo>
                  <a:pt x="204" y="78"/>
                </a:lnTo>
                <a:lnTo>
                  <a:pt x="204" y="78"/>
                </a:lnTo>
                <a:lnTo>
                  <a:pt x="204" y="78"/>
                </a:lnTo>
                <a:lnTo>
                  <a:pt x="204" y="84"/>
                </a:lnTo>
                <a:lnTo>
                  <a:pt x="210" y="84"/>
                </a:lnTo>
                <a:lnTo>
                  <a:pt x="210" y="84"/>
                </a:lnTo>
                <a:lnTo>
                  <a:pt x="210" y="90"/>
                </a:lnTo>
                <a:lnTo>
                  <a:pt x="216" y="90"/>
                </a:lnTo>
                <a:lnTo>
                  <a:pt x="216" y="90"/>
                </a:lnTo>
                <a:lnTo>
                  <a:pt x="210" y="96"/>
                </a:lnTo>
                <a:lnTo>
                  <a:pt x="210" y="96"/>
                </a:lnTo>
                <a:lnTo>
                  <a:pt x="210" y="96"/>
                </a:lnTo>
                <a:lnTo>
                  <a:pt x="210" y="96"/>
                </a:lnTo>
                <a:lnTo>
                  <a:pt x="210" y="96"/>
                </a:lnTo>
                <a:lnTo>
                  <a:pt x="210" y="96"/>
                </a:lnTo>
                <a:lnTo>
                  <a:pt x="210" y="96"/>
                </a:lnTo>
                <a:lnTo>
                  <a:pt x="210" y="102"/>
                </a:lnTo>
                <a:lnTo>
                  <a:pt x="210" y="102"/>
                </a:lnTo>
                <a:lnTo>
                  <a:pt x="210" y="102"/>
                </a:lnTo>
                <a:lnTo>
                  <a:pt x="210" y="102"/>
                </a:lnTo>
                <a:lnTo>
                  <a:pt x="210" y="102"/>
                </a:lnTo>
                <a:lnTo>
                  <a:pt x="210" y="102"/>
                </a:lnTo>
                <a:lnTo>
                  <a:pt x="210" y="102"/>
                </a:lnTo>
                <a:lnTo>
                  <a:pt x="210" y="102"/>
                </a:lnTo>
                <a:lnTo>
                  <a:pt x="204" y="108"/>
                </a:lnTo>
                <a:lnTo>
                  <a:pt x="204" y="108"/>
                </a:lnTo>
                <a:lnTo>
                  <a:pt x="204" y="108"/>
                </a:lnTo>
                <a:lnTo>
                  <a:pt x="204" y="108"/>
                </a:lnTo>
                <a:lnTo>
                  <a:pt x="204" y="108"/>
                </a:lnTo>
                <a:lnTo>
                  <a:pt x="204" y="108"/>
                </a:lnTo>
                <a:lnTo>
                  <a:pt x="204" y="114"/>
                </a:lnTo>
                <a:lnTo>
                  <a:pt x="204" y="114"/>
                </a:lnTo>
                <a:lnTo>
                  <a:pt x="204" y="114"/>
                </a:lnTo>
                <a:lnTo>
                  <a:pt x="204" y="114"/>
                </a:lnTo>
                <a:lnTo>
                  <a:pt x="204" y="114"/>
                </a:lnTo>
                <a:lnTo>
                  <a:pt x="204" y="114"/>
                </a:lnTo>
                <a:lnTo>
                  <a:pt x="204" y="114"/>
                </a:lnTo>
                <a:lnTo>
                  <a:pt x="204" y="114"/>
                </a:lnTo>
                <a:lnTo>
                  <a:pt x="204" y="120"/>
                </a:lnTo>
                <a:lnTo>
                  <a:pt x="204" y="120"/>
                </a:lnTo>
                <a:lnTo>
                  <a:pt x="198" y="120"/>
                </a:lnTo>
                <a:lnTo>
                  <a:pt x="198" y="120"/>
                </a:lnTo>
                <a:lnTo>
                  <a:pt x="198" y="120"/>
                </a:lnTo>
                <a:lnTo>
                  <a:pt x="198" y="120"/>
                </a:lnTo>
                <a:lnTo>
                  <a:pt x="198" y="120"/>
                </a:lnTo>
                <a:lnTo>
                  <a:pt x="204" y="126"/>
                </a:lnTo>
                <a:lnTo>
                  <a:pt x="204" y="126"/>
                </a:lnTo>
                <a:lnTo>
                  <a:pt x="204" y="126"/>
                </a:lnTo>
                <a:lnTo>
                  <a:pt x="204" y="126"/>
                </a:lnTo>
                <a:lnTo>
                  <a:pt x="204" y="126"/>
                </a:lnTo>
                <a:lnTo>
                  <a:pt x="204" y="126"/>
                </a:lnTo>
                <a:lnTo>
                  <a:pt x="204" y="126"/>
                </a:lnTo>
                <a:lnTo>
                  <a:pt x="204" y="126"/>
                </a:lnTo>
                <a:lnTo>
                  <a:pt x="204" y="126"/>
                </a:lnTo>
                <a:lnTo>
                  <a:pt x="204" y="132"/>
                </a:lnTo>
                <a:lnTo>
                  <a:pt x="204" y="132"/>
                </a:lnTo>
                <a:lnTo>
                  <a:pt x="204" y="132"/>
                </a:lnTo>
                <a:lnTo>
                  <a:pt x="204" y="132"/>
                </a:lnTo>
                <a:lnTo>
                  <a:pt x="204" y="132"/>
                </a:lnTo>
                <a:lnTo>
                  <a:pt x="204" y="132"/>
                </a:lnTo>
                <a:lnTo>
                  <a:pt x="204" y="132"/>
                </a:lnTo>
                <a:lnTo>
                  <a:pt x="204" y="132"/>
                </a:lnTo>
                <a:lnTo>
                  <a:pt x="204" y="132"/>
                </a:lnTo>
                <a:lnTo>
                  <a:pt x="204" y="132"/>
                </a:lnTo>
                <a:lnTo>
                  <a:pt x="204" y="132"/>
                </a:lnTo>
                <a:lnTo>
                  <a:pt x="204" y="138"/>
                </a:lnTo>
                <a:lnTo>
                  <a:pt x="210" y="138"/>
                </a:lnTo>
                <a:lnTo>
                  <a:pt x="210" y="138"/>
                </a:lnTo>
                <a:lnTo>
                  <a:pt x="204" y="138"/>
                </a:lnTo>
                <a:lnTo>
                  <a:pt x="204" y="138"/>
                </a:lnTo>
                <a:lnTo>
                  <a:pt x="204" y="138"/>
                </a:lnTo>
                <a:lnTo>
                  <a:pt x="204" y="144"/>
                </a:lnTo>
                <a:lnTo>
                  <a:pt x="204" y="144"/>
                </a:lnTo>
                <a:lnTo>
                  <a:pt x="210" y="144"/>
                </a:lnTo>
                <a:lnTo>
                  <a:pt x="210" y="144"/>
                </a:lnTo>
                <a:lnTo>
                  <a:pt x="210" y="144"/>
                </a:lnTo>
                <a:lnTo>
                  <a:pt x="210" y="144"/>
                </a:lnTo>
                <a:lnTo>
                  <a:pt x="210" y="144"/>
                </a:lnTo>
                <a:lnTo>
                  <a:pt x="210" y="144"/>
                </a:lnTo>
                <a:lnTo>
                  <a:pt x="210" y="144"/>
                </a:lnTo>
                <a:lnTo>
                  <a:pt x="210" y="150"/>
                </a:lnTo>
                <a:lnTo>
                  <a:pt x="210" y="144"/>
                </a:lnTo>
                <a:lnTo>
                  <a:pt x="210" y="150"/>
                </a:lnTo>
                <a:lnTo>
                  <a:pt x="210" y="150"/>
                </a:lnTo>
                <a:lnTo>
                  <a:pt x="210" y="150"/>
                </a:lnTo>
                <a:lnTo>
                  <a:pt x="210" y="150"/>
                </a:lnTo>
                <a:lnTo>
                  <a:pt x="210" y="150"/>
                </a:lnTo>
                <a:lnTo>
                  <a:pt x="210" y="150"/>
                </a:lnTo>
                <a:lnTo>
                  <a:pt x="204" y="150"/>
                </a:lnTo>
                <a:lnTo>
                  <a:pt x="204" y="150"/>
                </a:lnTo>
                <a:lnTo>
                  <a:pt x="204" y="156"/>
                </a:lnTo>
                <a:lnTo>
                  <a:pt x="204" y="150"/>
                </a:lnTo>
                <a:lnTo>
                  <a:pt x="198" y="156"/>
                </a:lnTo>
                <a:lnTo>
                  <a:pt x="204" y="156"/>
                </a:lnTo>
                <a:lnTo>
                  <a:pt x="204" y="156"/>
                </a:lnTo>
                <a:lnTo>
                  <a:pt x="198" y="156"/>
                </a:lnTo>
                <a:lnTo>
                  <a:pt x="198" y="156"/>
                </a:lnTo>
                <a:lnTo>
                  <a:pt x="198" y="156"/>
                </a:lnTo>
                <a:lnTo>
                  <a:pt x="198" y="156"/>
                </a:lnTo>
                <a:lnTo>
                  <a:pt x="198" y="156"/>
                </a:lnTo>
                <a:lnTo>
                  <a:pt x="198" y="156"/>
                </a:lnTo>
                <a:lnTo>
                  <a:pt x="192" y="156"/>
                </a:lnTo>
                <a:lnTo>
                  <a:pt x="198" y="162"/>
                </a:lnTo>
                <a:lnTo>
                  <a:pt x="198" y="162"/>
                </a:lnTo>
                <a:lnTo>
                  <a:pt x="198" y="162"/>
                </a:lnTo>
                <a:lnTo>
                  <a:pt x="192" y="162"/>
                </a:lnTo>
                <a:lnTo>
                  <a:pt x="192" y="162"/>
                </a:lnTo>
                <a:lnTo>
                  <a:pt x="192" y="162"/>
                </a:lnTo>
                <a:lnTo>
                  <a:pt x="192" y="162"/>
                </a:lnTo>
                <a:lnTo>
                  <a:pt x="192" y="162"/>
                </a:lnTo>
                <a:lnTo>
                  <a:pt x="192" y="162"/>
                </a:lnTo>
                <a:lnTo>
                  <a:pt x="192" y="162"/>
                </a:lnTo>
                <a:lnTo>
                  <a:pt x="192" y="162"/>
                </a:lnTo>
                <a:lnTo>
                  <a:pt x="192" y="162"/>
                </a:lnTo>
                <a:lnTo>
                  <a:pt x="192" y="162"/>
                </a:lnTo>
                <a:lnTo>
                  <a:pt x="192" y="162"/>
                </a:lnTo>
                <a:lnTo>
                  <a:pt x="186" y="162"/>
                </a:lnTo>
                <a:lnTo>
                  <a:pt x="186" y="162"/>
                </a:lnTo>
                <a:lnTo>
                  <a:pt x="186" y="168"/>
                </a:lnTo>
                <a:lnTo>
                  <a:pt x="186" y="162"/>
                </a:lnTo>
                <a:lnTo>
                  <a:pt x="186" y="168"/>
                </a:lnTo>
                <a:lnTo>
                  <a:pt x="186" y="168"/>
                </a:lnTo>
                <a:lnTo>
                  <a:pt x="186" y="168"/>
                </a:lnTo>
                <a:lnTo>
                  <a:pt x="186" y="168"/>
                </a:lnTo>
                <a:lnTo>
                  <a:pt x="186" y="168"/>
                </a:lnTo>
                <a:lnTo>
                  <a:pt x="180" y="168"/>
                </a:lnTo>
                <a:lnTo>
                  <a:pt x="180" y="168"/>
                </a:lnTo>
                <a:lnTo>
                  <a:pt x="180" y="168"/>
                </a:lnTo>
                <a:lnTo>
                  <a:pt x="180" y="168"/>
                </a:lnTo>
                <a:lnTo>
                  <a:pt x="180" y="174"/>
                </a:lnTo>
                <a:lnTo>
                  <a:pt x="180" y="174"/>
                </a:lnTo>
                <a:lnTo>
                  <a:pt x="180" y="174"/>
                </a:lnTo>
                <a:lnTo>
                  <a:pt x="180" y="168"/>
                </a:lnTo>
                <a:lnTo>
                  <a:pt x="180" y="168"/>
                </a:lnTo>
                <a:lnTo>
                  <a:pt x="180" y="168"/>
                </a:lnTo>
                <a:lnTo>
                  <a:pt x="180" y="168"/>
                </a:lnTo>
                <a:lnTo>
                  <a:pt x="174" y="168"/>
                </a:lnTo>
                <a:lnTo>
                  <a:pt x="174" y="168"/>
                </a:lnTo>
                <a:lnTo>
                  <a:pt x="174" y="168"/>
                </a:lnTo>
                <a:lnTo>
                  <a:pt x="174" y="168"/>
                </a:lnTo>
                <a:lnTo>
                  <a:pt x="174" y="174"/>
                </a:lnTo>
                <a:lnTo>
                  <a:pt x="174" y="168"/>
                </a:lnTo>
                <a:lnTo>
                  <a:pt x="174" y="174"/>
                </a:lnTo>
                <a:lnTo>
                  <a:pt x="174" y="174"/>
                </a:lnTo>
                <a:lnTo>
                  <a:pt x="174" y="174"/>
                </a:lnTo>
                <a:lnTo>
                  <a:pt x="168" y="174"/>
                </a:lnTo>
                <a:lnTo>
                  <a:pt x="168" y="174"/>
                </a:lnTo>
                <a:lnTo>
                  <a:pt x="168" y="174"/>
                </a:lnTo>
                <a:lnTo>
                  <a:pt x="168" y="174"/>
                </a:lnTo>
                <a:lnTo>
                  <a:pt x="168" y="174"/>
                </a:lnTo>
                <a:lnTo>
                  <a:pt x="168" y="174"/>
                </a:lnTo>
                <a:lnTo>
                  <a:pt x="168" y="174"/>
                </a:lnTo>
                <a:lnTo>
                  <a:pt x="168" y="174"/>
                </a:lnTo>
                <a:lnTo>
                  <a:pt x="168" y="174"/>
                </a:lnTo>
                <a:lnTo>
                  <a:pt x="168" y="174"/>
                </a:lnTo>
                <a:lnTo>
                  <a:pt x="168" y="174"/>
                </a:lnTo>
                <a:lnTo>
                  <a:pt x="168" y="180"/>
                </a:lnTo>
                <a:lnTo>
                  <a:pt x="168" y="180"/>
                </a:lnTo>
                <a:lnTo>
                  <a:pt x="162" y="180"/>
                </a:lnTo>
                <a:lnTo>
                  <a:pt x="168" y="180"/>
                </a:lnTo>
                <a:lnTo>
                  <a:pt x="168" y="180"/>
                </a:lnTo>
                <a:lnTo>
                  <a:pt x="168" y="180"/>
                </a:lnTo>
                <a:lnTo>
                  <a:pt x="168" y="186"/>
                </a:lnTo>
                <a:lnTo>
                  <a:pt x="168" y="186"/>
                </a:lnTo>
                <a:lnTo>
                  <a:pt x="168" y="186"/>
                </a:lnTo>
                <a:lnTo>
                  <a:pt x="162" y="186"/>
                </a:lnTo>
                <a:lnTo>
                  <a:pt x="162" y="186"/>
                </a:lnTo>
                <a:lnTo>
                  <a:pt x="162" y="186"/>
                </a:lnTo>
                <a:lnTo>
                  <a:pt x="162" y="186"/>
                </a:lnTo>
                <a:lnTo>
                  <a:pt x="162" y="186"/>
                </a:lnTo>
                <a:lnTo>
                  <a:pt x="162" y="186"/>
                </a:lnTo>
                <a:lnTo>
                  <a:pt x="162" y="186"/>
                </a:lnTo>
                <a:lnTo>
                  <a:pt x="156" y="186"/>
                </a:lnTo>
                <a:lnTo>
                  <a:pt x="156" y="186"/>
                </a:lnTo>
                <a:lnTo>
                  <a:pt x="156" y="192"/>
                </a:lnTo>
                <a:lnTo>
                  <a:pt x="156" y="192"/>
                </a:lnTo>
                <a:lnTo>
                  <a:pt x="156" y="192"/>
                </a:lnTo>
                <a:lnTo>
                  <a:pt x="156" y="192"/>
                </a:lnTo>
                <a:lnTo>
                  <a:pt x="156" y="186"/>
                </a:lnTo>
                <a:lnTo>
                  <a:pt x="150" y="192"/>
                </a:lnTo>
                <a:lnTo>
                  <a:pt x="150" y="192"/>
                </a:lnTo>
                <a:lnTo>
                  <a:pt x="150" y="192"/>
                </a:lnTo>
                <a:lnTo>
                  <a:pt x="150" y="192"/>
                </a:lnTo>
                <a:lnTo>
                  <a:pt x="150" y="192"/>
                </a:lnTo>
                <a:lnTo>
                  <a:pt x="150" y="192"/>
                </a:lnTo>
                <a:lnTo>
                  <a:pt x="150" y="192"/>
                </a:lnTo>
                <a:lnTo>
                  <a:pt x="150" y="192"/>
                </a:lnTo>
                <a:lnTo>
                  <a:pt x="150" y="192"/>
                </a:lnTo>
                <a:lnTo>
                  <a:pt x="150" y="198"/>
                </a:lnTo>
                <a:lnTo>
                  <a:pt x="150" y="198"/>
                </a:lnTo>
                <a:lnTo>
                  <a:pt x="150" y="198"/>
                </a:lnTo>
                <a:lnTo>
                  <a:pt x="144" y="198"/>
                </a:lnTo>
                <a:lnTo>
                  <a:pt x="144" y="198"/>
                </a:lnTo>
                <a:lnTo>
                  <a:pt x="144" y="198"/>
                </a:lnTo>
                <a:lnTo>
                  <a:pt x="144" y="198"/>
                </a:lnTo>
                <a:lnTo>
                  <a:pt x="144" y="192"/>
                </a:lnTo>
                <a:lnTo>
                  <a:pt x="144" y="192"/>
                </a:lnTo>
                <a:lnTo>
                  <a:pt x="144" y="192"/>
                </a:lnTo>
                <a:lnTo>
                  <a:pt x="144" y="192"/>
                </a:lnTo>
                <a:lnTo>
                  <a:pt x="138" y="198"/>
                </a:lnTo>
                <a:lnTo>
                  <a:pt x="138" y="198"/>
                </a:lnTo>
                <a:lnTo>
                  <a:pt x="138" y="198"/>
                </a:lnTo>
                <a:lnTo>
                  <a:pt x="138" y="198"/>
                </a:lnTo>
                <a:lnTo>
                  <a:pt x="138" y="198"/>
                </a:lnTo>
                <a:lnTo>
                  <a:pt x="138" y="198"/>
                </a:lnTo>
                <a:lnTo>
                  <a:pt x="138" y="198"/>
                </a:lnTo>
                <a:lnTo>
                  <a:pt x="138" y="198"/>
                </a:lnTo>
                <a:lnTo>
                  <a:pt x="138" y="198"/>
                </a:lnTo>
                <a:lnTo>
                  <a:pt x="138" y="198"/>
                </a:lnTo>
                <a:lnTo>
                  <a:pt x="138" y="198"/>
                </a:lnTo>
                <a:lnTo>
                  <a:pt x="132" y="204"/>
                </a:lnTo>
                <a:lnTo>
                  <a:pt x="132" y="204"/>
                </a:lnTo>
                <a:lnTo>
                  <a:pt x="132" y="204"/>
                </a:lnTo>
                <a:lnTo>
                  <a:pt x="138" y="204"/>
                </a:lnTo>
                <a:lnTo>
                  <a:pt x="138" y="204"/>
                </a:lnTo>
                <a:lnTo>
                  <a:pt x="132" y="204"/>
                </a:lnTo>
                <a:lnTo>
                  <a:pt x="132" y="204"/>
                </a:lnTo>
                <a:lnTo>
                  <a:pt x="132" y="204"/>
                </a:lnTo>
                <a:lnTo>
                  <a:pt x="132" y="204"/>
                </a:lnTo>
                <a:lnTo>
                  <a:pt x="126" y="204"/>
                </a:lnTo>
                <a:lnTo>
                  <a:pt x="126" y="204"/>
                </a:lnTo>
                <a:lnTo>
                  <a:pt x="126" y="204"/>
                </a:lnTo>
                <a:lnTo>
                  <a:pt x="126" y="204"/>
                </a:lnTo>
                <a:lnTo>
                  <a:pt x="126" y="204"/>
                </a:lnTo>
                <a:lnTo>
                  <a:pt x="126" y="204"/>
                </a:lnTo>
                <a:lnTo>
                  <a:pt x="120" y="204"/>
                </a:lnTo>
                <a:lnTo>
                  <a:pt x="120" y="204"/>
                </a:lnTo>
                <a:lnTo>
                  <a:pt x="120" y="204"/>
                </a:lnTo>
                <a:lnTo>
                  <a:pt x="120" y="204"/>
                </a:lnTo>
                <a:lnTo>
                  <a:pt x="120" y="204"/>
                </a:lnTo>
                <a:lnTo>
                  <a:pt x="120" y="204"/>
                </a:lnTo>
                <a:lnTo>
                  <a:pt x="120" y="198"/>
                </a:lnTo>
                <a:lnTo>
                  <a:pt x="120" y="198"/>
                </a:lnTo>
                <a:lnTo>
                  <a:pt x="120" y="198"/>
                </a:lnTo>
                <a:lnTo>
                  <a:pt x="114" y="198"/>
                </a:lnTo>
                <a:lnTo>
                  <a:pt x="114" y="198"/>
                </a:lnTo>
                <a:lnTo>
                  <a:pt x="114" y="198"/>
                </a:lnTo>
                <a:lnTo>
                  <a:pt x="114" y="198"/>
                </a:lnTo>
                <a:lnTo>
                  <a:pt x="114" y="198"/>
                </a:lnTo>
                <a:lnTo>
                  <a:pt x="114" y="198"/>
                </a:lnTo>
                <a:lnTo>
                  <a:pt x="114" y="198"/>
                </a:lnTo>
                <a:lnTo>
                  <a:pt x="108" y="198"/>
                </a:lnTo>
                <a:lnTo>
                  <a:pt x="108" y="198"/>
                </a:lnTo>
                <a:lnTo>
                  <a:pt x="108" y="198"/>
                </a:lnTo>
                <a:lnTo>
                  <a:pt x="108" y="198"/>
                </a:lnTo>
                <a:lnTo>
                  <a:pt x="108" y="198"/>
                </a:lnTo>
                <a:lnTo>
                  <a:pt x="108" y="198"/>
                </a:lnTo>
                <a:lnTo>
                  <a:pt x="102" y="198"/>
                </a:lnTo>
                <a:lnTo>
                  <a:pt x="102" y="198"/>
                </a:lnTo>
                <a:lnTo>
                  <a:pt x="102" y="198"/>
                </a:lnTo>
                <a:lnTo>
                  <a:pt x="96" y="192"/>
                </a:lnTo>
                <a:lnTo>
                  <a:pt x="96" y="192"/>
                </a:lnTo>
                <a:lnTo>
                  <a:pt x="96" y="192"/>
                </a:lnTo>
                <a:lnTo>
                  <a:pt x="96" y="192"/>
                </a:lnTo>
                <a:lnTo>
                  <a:pt x="96" y="192"/>
                </a:lnTo>
                <a:lnTo>
                  <a:pt x="90" y="192"/>
                </a:lnTo>
                <a:lnTo>
                  <a:pt x="90" y="186"/>
                </a:lnTo>
                <a:lnTo>
                  <a:pt x="90" y="186"/>
                </a:lnTo>
                <a:lnTo>
                  <a:pt x="90" y="186"/>
                </a:lnTo>
                <a:lnTo>
                  <a:pt x="84" y="186"/>
                </a:lnTo>
                <a:lnTo>
                  <a:pt x="84" y="186"/>
                </a:lnTo>
                <a:lnTo>
                  <a:pt x="84" y="186"/>
                </a:lnTo>
                <a:lnTo>
                  <a:pt x="84" y="186"/>
                </a:lnTo>
                <a:lnTo>
                  <a:pt x="78" y="186"/>
                </a:lnTo>
                <a:lnTo>
                  <a:pt x="78" y="192"/>
                </a:lnTo>
                <a:lnTo>
                  <a:pt x="78" y="192"/>
                </a:lnTo>
                <a:lnTo>
                  <a:pt x="78" y="192"/>
                </a:lnTo>
                <a:lnTo>
                  <a:pt x="78" y="192"/>
                </a:lnTo>
                <a:lnTo>
                  <a:pt x="78" y="192"/>
                </a:lnTo>
                <a:lnTo>
                  <a:pt x="78" y="192"/>
                </a:lnTo>
                <a:lnTo>
                  <a:pt x="72" y="192"/>
                </a:lnTo>
                <a:lnTo>
                  <a:pt x="72" y="192"/>
                </a:lnTo>
                <a:lnTo>
                  <a:pt x="72" y="192"/>
                </a:lnTo>
                <a:lnTo>
                  <a:pt x="72" y="192"/>
                </a:lnTo>
                <a:lnTo>
                  <a:pt x="72" y="192"/>
                </a:lnTo>
                <a:lnTo>
                  <a:pt x="66" y="192"/>
                </a:lnTo>
                <a:lnTo>
                  <a:pt x="66" y="192"/>
                </a:lnTo>
                <a:lnTo>
                  <a:pt x="66" y="186"/>
                </a:lnTo>
                <a:lnTo>
                  <a:pt x="66" y="186"/>
                </a:lnTo>
                <a:lnTo>
                  <a:pt x="66" y="186"/>
                </a:lnTo>
                <a:lnTo>
                  <a:pt x="60" y="192"/>
                </a:lnTo>
                <a:lnTo>
                  <a:pt x="60" y="186"/>
                </a:lnTo>
                <a:lnTo>
                  <a:pt x="54" y="192"/>
                </a:lnTo>
                <a:lnTo>
                  <a:pt x="54" y="192"/>
                </a:lnTo>
                <a:lnTo>
                  <a:pt x="54" y="192"/>
                </a:lnTo>
                <a:lnTo>
                  <a:pt x="54" y="192"/>
                </a:lnTo>
                <a:lnTo>
                  <a:pt x="54" y="186"/>
                </a:lnTo>
                <a:lnTo>
                  <a:pt x="54" y="186"/>
                </a:lnTo>
                <a:lnTo>
                  <a:pt x="54" y="186"/>
                </a:lnTo>
                <a:lnTo>
                  <a:pt x="48" y="192"/>
                </a:lnTo>
                <a:lnTo>
                  <a:pt x="48" y="186"/>
                </a:lnTo>
                <a:lnTo>
                  <a:pt x="48" y="186"/>
                </a:lnTo>
                <a:lnTo>
                  <a:pt x="48" y="186"/>
                </a:lnTo>
                <a:lnTo>
                  <a:pt x="48" y="186"/>
                </a:lnTo>
                <a:lnTo>
                  <a:pt x="42" y="186"/>
                </a:lnTo>
                <a:lnTo>
                  <a:pt x="42" y="186"/>
                </a:lnTo>
                <a:lnTo>
                  <a:pt x="42" y="186"/>
                </a:lnTo>
                <a:lnTo>
                  <a:pt x="42" y="186"/>
                </a:lnTo>
                <a:lnTo>
                  <a:pt x="36" y="186"/>
                </a:lnTo>
                <a:lnTo>
                  <a:pt x="36" y="186"/>
                </a:lnTo>
                <a:lnTo>
                  <a:pt x="36" y="186"/>
                </a:lnTo>
                <a:lnTo>
                  <a:pt x="36" y="186"/>
                </a:lnTo>
                <a:lnTo>
                  <a:pt x="30" y="186"/>
                </a:lnTo>
                <a:lnTo>
                  <a:pt x="30" y="186"/>
                </a:lnTo>
                <a:lnTo>
                  <a:pt x="30" y="186"/>
                </a:lnTo>
                <a:lnTo>
                  <a:pt x="30" y="186"/>
                </a:lnTo>
                <a:lnTo>
                  <a:pt x="24" y="186"/>
                </a:lnTo>
                <a:lnTo>
                  <a:pt x="24" y="186"/>
                </a:lnTo>
                <a:lnTo>
                  <a:pt x="24" y="186"/>
                </a:lnTo>
                <a:lnTo>
                  <a:pt x="18" y="186"/>
                </a:lnTo>
                <a:lnTo>
                  <a:pt x="18" y="186"/>
                </a:lnTo>
                <a:lnTo>
                  <a:pt x="18" y="186"/>
                </a:lnTo>
                <a:lnTo>
                  <a:pt x="12" y="186"/>
                </a:lnTo>
                <a:lnTo>
                  <a:pt x="12" y="192"/>
                </a:lnTo>
                <a:lnTo>
                  <a:pt x="12" y="192"/>
                </a:lnTo>
                <a:lnTo>
                  <a:pt x="12" y="186"/>
                </a:lnTo>
                <a:lnTo>
                  <a:pt x="6" y="186"/>
                </a:lnTo>
                <a:lnTo>
                  <a:pt x="6" y="186"/>
                </a:lnTo>
                <a:lnTo>
                  <a:pt x="0" y="186"/>
                </a:lnTo>
                <a:lnTo>
                  <a:pt x="0" y="180"/>
                </a:lnTo>
                <a:lnTo>
                  <a:pt x="0" y="18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806" name="Freeform 539"/>
          <p:cNvSpPr>
            <a:spLocks/>
          </p:cNvSpPr>
          <p:nvPr/>
        </p:nvSpPr>
        <p:spPr bwMode="auto">
          <a:xfrm>
            <a:off x="6260842" y="3396233"/>
            <a:ext cx="430411" cy="372598"/>
          </a:xfrm>
          <a:custGeom>
            <a:avLst/>
            <a:gdLst>
              <a:gd name="T0" fmla="*/ 0 w 402"/>
              <a:gd name="T1" fmla="*/ 126 h 348"/>
              <a:gd name="T2" fmla="*/ 6 w 402"/>
              <a:gd name="T3" fmla="*/ 120 h 348"/>
              <a:gd name="T4" fmla="*/ 6 w 402"/>
              <a:gd name="T5" fmla="*/ 108 h 348"/>
              <a:gd name="T6" fmla="*/ 12 w 402"/>
              <a:gd name="T7" fmla="*/ 90 h 348"/>
              <a:gd name="T8" fmla="*/ 18 w 402"/>
              <a:gd name="T9" fmla="*/ 84 h 348"/>
              <a:gd name="T10" fmla="*/ 24 w 402"/>
              <a:gd name="T11" fmla="*/ 72 h 348"/>
              <a:gd name="T12" fmla="*/ 24 w 402"/>
              <a:gd name="T13" fmla="*/ 60 h 348"/>
              <a:gd name="T14" fmla="*/ 36 w 402"/>
              <a:gd name="T15" fmla="*/ 54 h 348"/>
              <a:gd name="T16" fmla="*/ 42 w 402"/>
              <a:gd name="T17" fmla="*/ 48 h 348"/>
              <a:gd name="T18" fmla="*/ 60 w 402"/>
              <a:gd name="T19" fmla="*/ 36 h 348"/>
              <a:gd name="T20" fmla="*/ 66 w 402"/>
              <a:gd name="T21" fmla="*/ 18 h 348"/>
              <a:gd name="T22" fmla="*/ 78 w 402"/>
              <a:gd name="T23" fmla="*/ 12 h 348"/>
              <a:gd name="T24" fmla="*/ 90 w 402"/>
              <a:gd name="T25" fmla="*/ 12 h 348"/>
              <a:gd name="T26" fmla="*/ 114 w 402"/>
              <a:gd name="T27" fmla="*/ 12 h 348"/>
              <a:gd name="T28" fmla="*/ 138 w 402"/>
              <a:gd name="T29" fmla="*/ 0 h 348"/>
              <a:gd name="T30" fmla="*/ 156 w 402"/>
              <a:gd name="T31" fmla="*/ 12 h 348"/>
              <a:gd name="T32" fmla="*/ 174 w 402"/>
              <a:gd name="T33" fmla="*/ 24 h 348"/>
              <a:gd name="T34" fmla="*/ 198 w 402"/>
              <a:gd name="T35" fmla="*/ 24 h 348"/>
              <a:gd name="T36" fmla="*/ 216 w 402"/>
              <a:gd name="T37" fmla="*/ 24 h 348"/>
              <a:gd name="T38" fmla="*/ 222 w 402"/>
              <a:gd name="T39" fmla="*/ 12 h 348"/>
              <a:gd name="T40" fmla="*/ 240 w 402"/>
              <a:gd name="T41" fmla="*/ 0 h 348"/>
              <a:gd name="T42" fmla="*/ 252 w 402"/>
              <a:gd name="T43" fmla="*/ 12 h 348"/>
              <a:gd name="T44" fmla="*/ 258 w 402"/>
              <a:gd name="T45" fmla="*/ 30 h 348"/>
              <a:gd name="T46" fmla="*/ 264 w 402"/>
              <a:gd name="T47" fmla="*/ 48 h 348"/>
              <a:gd name="T48" fmla="*/ 270 w 402"/>
              <a:gd name="T49" fmla="*/ 54 h 348"/>
              <a:gd name="T50" fmla="*/ 288 w 402"/>
              <a:gd name="T51" fmla="*/ 72 h 348"/>
              <a:gd name="T52" fmla="*/ 306 w 402"/>
              <a:gd name="T53" fmla="*/ 90 h 348"/>
              <a:gd name="T54" fmla="*/ 312 w 402"/>
              <a:gd name="T55" fmla="*/ 96 h 348"/>
              <a:gd name="T56" fmla="*/ 324 w 402"/>
              <a:gd name="T57" fmla="*/ 102 h 348"/>
              <a:gd name="T58" fmla="*/ 330 w 402"/>
              <a:gd name="T59" fmla="*/ 114 h 348"/>
              <a:gd name="T60" fmla="*/ 342 w 402"/>
              <a:gd name="T61" fmla="*/ 126 h 348"/>
              <a:gd name="T62" fmla="*/ 354 w 402"/>
              <a:gd name="T63" fmla="*/ 132 h 348"/>
              <a:gd name="T64" fmla="*/ 360 w 402"/>
              <a:gd name="T65" fmla="*/ 162 h 348"/>
              <a:gd name="T66" fmla="*/ 366 w 402"/>
              <a:gd name="T67" fmla="*/ 174 h 348"/>
              <a:gd name="T68" fmla="*/ 372 w 402"/>
              <a:gd name="T69" fmla="*/ 192 h 348"/>
              <a:gd name="T70" fmla="*/ 396 w 402"/>
              <a:gd name="T71" fmla="*/ 210 h 348"/>
              <a:gd name="T72" fmla="*/ 378 w 402"/>
              <a:gd name="T73" fmla="*/ 228 h 348"/>
              <a:gd name="T74" fmla="*/ 348 w 402"/>
              <a:gd name="T75" fmla="*/ 222 h 348"/>
              <a:gd name="T76" fmla="*/ 324 w 402"/>
              <a:gd name="T77" fmla="*/ 228 h 348"/>
              <a:gd name="T78" fmla="*/ 294 w 402"/>
              <a:gd name="T79" fmla="*/ 240 h 348"/>
              <a:gd name="T80" fmla="*/ 270 w 402"/>
              <a:gd name="T81" fmla="*/ 240 h 348"/>
              <a:gd name="T82" fmla="*/ 252 w 402"/>
              <a:gd name="T83" fmla="*/ 246 h 348"/>
              <a:gd name="T84" fmla="*/ 216 w 402"/>
              <a:gd name="T85" fmla="*/ 270 h 348"/>
              <a:gd name="T86" fmla="*/ 198 w 402"/>
              <a:gd name="T87" fmla="*/ 264 h 348"/>
              <a:gd name="T88" fmla="*/ 174 w 402"/>
              <a:gd name="T89" fmla="*/ 276 h 348"/>
              <a:gd name="T90" fmla="*/ 186 w 402"/>
              <a:gd name="T91" fmla="*/ 294 h 348"/>
              <a:gd name="T92" fmla="*/ 204 w 402"/>
              <a:gd name="T93" fmla="*/ 300 h 348"/>
              <a:gd name="T94" fmla="*/ 204 w 402"/>
              <a:gd name="T95" fmla="*/ 348 h 348"/>
              <a:gd name="T96" fmla="*/ 186 w 402"/>
              <a:gd name="T97" fmla="*/ 342 h 348"/>
              <a:gd name="T98" fmla="*/ 168 w 402"/>
              <a:gd name="T99" fmla="*/ 330 h 348"/>
              <a:gd name="T100" fmla="*/ 156 w 402"/>
              <a:gd name="T101" fmla="*/ 330 h 348"/>
              <a:gd name="T102" fmla="*/ 144 w 402"/>
              <a:gd name="T103" fmla="*/ 324 h 348"/>
              <a:gd name="T104" fmla="*/ 138 w 402"/>
              <a:gd name="T105" fmla="*/ 312 h 348"/>
              <a:gd name="T106" fmla="*/ 114 w 402"/>
              <a:gd name="T107" fmla="*/ 306 h 348"/>
              <a:gd name="T108" fmla="*/ 90 w 402"/>
              <a:gd name="T109" fmla="*/ 288 h 348"/>
              <a:gd name="T110" fmla="*/ 48 w 402"/>
              <a:gd name="T111" fmla="*/ 288 h 348"/>
              <a:gd name="T112" fmla="*/ 48 w 402"/>
              <a:gd name="T113" fmla="*/ 258 h 348"/>
              <a:gd name="T114" fmla="*/ 30 w 402"/>
              <a:gd name="T115" fmla="*/ 246 h 348"/>
              <a:gd name="T116" fmla="*/ 24 w 402"/>
              <a:gd name="T117" fmla="*/ 198 h 348"/>
              <a:gd name="T118" fmla="*/ 6 w 402"/>
              <a:gd name="T119" fmla="*/ 168 h 348"/>
              <a:gd name="T120" fmla="*/ 0 w 402"/>
              <a:gd name="T121" fmla="*/ 156 h 348"/>
              <a:gd name="T122" fmla="*/ 0 w 402"/>
              <a:gd name="T123" fmla="*/ 144 h 3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02" h="348">
                <a:moveTo>
                  <a:pt x="0" y="138"/>
                </a:moveTo>
                <a:lnTo>
                  <a:pt x="0" y="138"/>
                </a:lnTo>
                <a:lnTo>
                  <a:pt x="0" y="138"/>
                </a:lnTo>
                <a:lnTo>
                  <a:pt x="0" y="138"/>
                </a:lnTo>
                <a:lnTo>
                  <a:pt x="0" y="138"/>
                </a:lnTo>
                <a:lnTo>
                  <a:pt x="0" y="138"/>
                </a:lnTo>
                <a:lnTo>
                  <a:pt x="0" y="138"/>
                </a:lnTo>
                <a:lnTo>
                  <a:pt x="0" y="132"/>
                </a:lnTo>
                <a:lnTo>
                  <a:pt x="0" y="132"/>
                </a:lnTo>
                <a:lnTo>
                  <a:pt x="0" y="132"/>
                </a:lnTo>
                <a:lnTo>
                  <a:pt x="0" y="132"/>
                </a:lnTo>
                <a:lnTo>
                  <a:pt x="0" y="132"/>
                </a:lnTo>
                <a:lnTo>
                  <a:pt x="0" y="132"/>
                </a:lnTo>
                <a:lnTo>
                  <a:pt x="0" y="132"/>
                </a:lnTo>
                <a:lnTo>
                  <a:pt x="0" y="132"/>
                </a:lnTo>
                <a:lnTo>
                  <a:pt x="0" y="132"/>
                </a:lnTo>
                <a:lnTo>
                  <a:pt x="0" y="132"/>
                </a:lnTo>
                <a:lnTo>
                  <a:pt x="0" y="126"/>
                </a:lnTo>
                <a:lnTo>
                  <a:pt x="0" y="126"/>
                </a:lnTo>
                <a:lnTo>
                  <a:pt x="0" y="126"/>
                </a:lnTo>
                <a:lnTo>
                  <a:pt x="0" y="126"/>
                </a:lnTo>
                <a:lnTo>
                  <a:pt x="0" y="126"/>
                </a:lnTo>
                <a:lnTo>
                  <a:pt x="0" y="126"/>
                </a:lnTo>
                <a:lnTo>
                  <a:pt x="0" y="126"/>
                </a:lnTo>
                <a:lnTo>
                  <a:pt x="0" y="126"/>
                </a:lnTo>
                <a:lnTo>
                  <a:pt x="0" y="126"/>
                </a:lnTo>
                <a:lnTo>
                  <a:pt x="6" y="126"/>
                </a:lnTo>
                <a:lnTo>
                  <a:pt x="6" y="120"/>
                </a:lnTo>
                <a:lnTo>
                  <a:pt x="0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6" y="114"/>
                </a:lnTo>
                <a:lnTo>
                  <a:pt x="0" y="114"/>
                </a:lnTo>
                <a:lnTo>
                  <a:pt x="0" y="114"/>
                </a:lnTo>
                <a:lnTo>
                  <a:pt x="0" y="114"/>
                </a:lnTo>
                <a:lnTo>
                  <a:pt x="6" y="114"/>
                </a:lnTo>
                <a:lnTo>
                  <a:pt x="0" y="114"/>
                </a:lnTo>
                <a:lnTo>
                  <a:pt x="0" y="114"/>
                </a:lnTo>
                <a:lnTo>
                  <a:pt x="6" y="114"/>
                </a:lnTo>
                <a:lnTo>
                  <a:pt x="0" y="114"/>
                </a:lnTo>
                <a:lnTo>
                  <a:pt x="0" y="114"/>
                </a:lnTo>
                <a:lnTo>
                  <a:pt x="0" y="114"/>
                </a:lnTo>
                <a:lnTo>
                  <a:pt x="0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8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8" y="90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24" y="84"/>
                </a:lnTo>
                <a:lnTo>
                  <a:pt x="18" y="84"/>
                </a:lnTo>
                <a:lnTo>
                  <a:pt x="24" y="84"/>
                </a:lnTo>
                <a:lnTo>
                  <a:pt x="24" y="78"/>
                </a:lnTo>
                <a:lnTo>
                  <a:pt x="24" y="84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72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30" y="60"/>
                </a:lnTo>
                <a:lnTo>
                  <a:pt x="30" y="60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36" y="48"/>
                </a:lnTo>
                <a:lnTo>
                  <a:pt x="36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2"/>
                </a:lnTo>
                <a:lnTo>
                  <a:pt x="48" y="42"/>
                </a:lnTo>
                <a:lnTo>
                  <a:pt x="42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84" y="6"/>
                </a:lnTo>
                <a:lnTo>
                  <a:pt x="84" y="6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84" y="12"/>
                </a:lnTo>
                <a:lnTo>
                  <a:pt x="90" y="6"/>
                </a:lnTo>
                <a:lnTo>
                  <a:pt x="84" y="12"/>
                </a:lnTo>
                <a:lnTo>
                  <a:pt x="84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2"/>
                </a:lnTo>
                <a:lnTo>
                  <a:pt x="132" y="12"/>
                </a:lnTo>
                <a:lnTo>
                  <a:pt x="132" y="6"/>
                </a:lnTo>
                <a:lnTo>
                  <a:pt x="132" y="6"/>
                </a:lnTo>
                <a:lnTo>
                  <a:pt x="138" y="0"/>
                </a:lnTo>
                <a:lnTo>
                  <a:pt x="138" y="0"/>
                </a:lnTo>
                <a:lnTo>
                  <a:pt x="138" y="0"/>
                </a:lnTo>
                <a:lnTo>
                  <a:pt x="138" y="0"/>
                </a:lnTo>
                <a:lnTo>
                  <a:pt x="138" y="6"/>
                </a:lnTo>
                <a:lnTo>
                  <a:pt x="138" y="0"/>
                </a:lnTo>
                <a:lnTo>
                  <a:pt x="144" y="0"/>
                </a:lnTo>
                <a:lnTo>
                  <a:pt x="144" y="0"/>
                </a:lnTo>
                <a:lnTo>
                  <a:pt x="144" y="0"/>
                </a:lnTo>
                <a:lnTo>
                  <a:pt x="144" y="0"/>
                </a:lnTo>
                <a:lnTo>
                  <a:pt x="144" y="6"/>
                </a:lnTo>
                <a:lnTo>
                  <a:pt x="150" y="0"/>
                </a:lnTo>
                <a:lnTo>
                  <a:pt x="150" y="0"/>
                </a:lnTo>
                <a:lnTo>
                  <a:pt x="150" y="6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74" y="24"/>
                </a:lnTo>
                <a:lnTo>
                  <a:pt x="174" y="24"/>
                </a:lnTo>
                <a:lnTo>
                  <a:pt x="174" y="24"/>
                </a:lnTo>
                <a:lnTo>
                  <a:pt x="174" y="24"/>
                </a:lnTo>
                <a:lnTo>
                  <a:pt x="174" y="24"/>
                </a:lnTo>
                <a:lnTo>
                  <a:pt x="174" y="24"/>
                </a:lnTo>
                <a:lnTo>
                  <a:pt x="174" y="24"/>
                </a:lnTo>
                <a:lnTo>
                  <a:pt x="180" y="24"/>
                </a:lnTo>
                <a:lnTo>
                  <a:pt x="180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92" y="18"/>
                </a:lnTo>
                <a:lnTo>
                  <a:pt x="192" y="18"/>
                </a:lnTo>
                <a:lnTo>
                  <a:pt x="192" y="18"/>
                </a:lnTo>
                <a:lnTo>
                  <a:pt x="192" y="18"/>
                </a:lnTo>
                <a:lnTo>
                  <a:pt x="192" y="24"/>
                </a:lnTo>
                <a:lnTo>
                  <a:pt x="198" y="24"/>
                </a:lnTo>
                <a:lnTo>
                  <a:pt x="198" y="24"/>
                </a:lnTo>
                <a:lnTo>
                  <a:pt x="198" y="24"/>
                </a:lnTo>
                <a:lnTo>
                  <a:pt x="198" y="24"/>
                </a:lnTo>
                <a:lnTo>
                  <a:pt x="204" y="24"/>
                </a:lnTo>
                <a:lnTo>
                  <a:pt x="204" y="24"/>
                </a:lnTo>
                <a:lnTo>
                  <a:pt x="204" y="24"/>
                </a:lnTo>
                <a:lnTo>
                  <a:pt x="204" y="24"/>
                </a:lnTo>
                <a:lnTo>
                  <a:pt x="204" y="24"/>
                </a:lnTo>
                <a:lnTo>
                  <a:pt x="204" y="24"/>
                </a:lnTo>
                <a:lnTo>
                  <a:pt x="204" y="24"/>
                </a:lnTo>
                <a:lnTo>
                  <a:pt x="204" y="18"/>
                </a:lnTo>
                <a:lnTo>
                  <a:pt x="204" y="18"/>
                </a:lnTo>
                <a:lnTo>
                  <a:pt x="204" y="18"/>
                </a:lnTo>
                <a:lnTo>
                  <a:pt x="204" y="18"/>
                </a:lnTo>
                <a:lnTo>
                  <a:pt x="210" y="18"/>
                </a:lnTo>
                <a:lnTo>
                  <a:pt x="210" y="18"/>
                </a:lnTo>
                <a:lnTo>
                  <a:pt x="210" y="18"/>
                </a:lnTo>
                <a:lnTo>
                  <a:pt x="210" y="18"/>
                </a:lnTo>
                <a:lnTo>
                  <a:pt x="210" y="18"/>
                </a:lnTo>
                <a:lnTo>
                  <a:pt x="216" y="18"/>
                </a:lnTo>
                <a:lnTo>
                  <a:pt x="216" y="24"/>
                </a:lnTo>
                <a:lnTo>
                  <a:pt x="216" y="24"/>
                </a:lnTo>
                <a:lnTo>
                  <a:pt x="216" y="24"/>
                </a:lnTo>
                <a:lnTo>
                  <a:pt x="216" y="24"/>
                </a:lnTo>
                <a:lnTo>
                  <a:pt x="216" y="24"/>
                </a:lnTo>
                <a:lnTo>
                  <a:pt x="222" y="24"/>
                </a:lnTo>
                <a:lnTo>
                  <a:pt x="216" y="24"/>
                </a:lnTo>
                <a:lnTo>
                  <a:pt x="222" y="24"/>
                </a:lnTo>
                <a:lnTo>
                  <a:pt x="222" y="24"/>
                </a:lnTo>
                <a:lnTo>
                  <a:pt x="222" y="24"/>
                </a:lnTo>
                <a:lnTo>
                  <a:pt x="222" y="24"/>
                </a:lnTo>
                <a:lnTo>
                  <a:pt x="222" y="24"/>
                </a:lnTo>
                <a:lnTo>
                  <a:pt x="222" y="18"/>
                </a:lnTo>
                <a:lnTo>
                  <a:pt x="222" y="18"/>
                </a:lnTo>
                <a:lnTo>
                  <a:pt x="222" y="18"/>
                </a:lnTo>
                <a:lnTo>
                  <a:pt x="222" y="18"/>
                </a:lnTo>
                <a:lnTo>
                  <a:pt x="222" y="18"/>
                </a:lnTo>
                <a:lnTo>
                  <a:pt x="228" y="18"/>
                </a:lnTo>
                <a:lnTo>
                  <a:pt x="222" y="18"/>
                </a:lnTo>
                <a:lnTo>
                  <a:pt x="228" y="18"/>
                </a:lnTo>
                <a:lnTo>
                  <a:pt x="222" y="12"/>
                </a:lnTo>
                <a:lnTo>
                  <a:pt x="228" y="12"/>
                </a:lnTo>
                <a:lnTo>
                  <a:pt x="222" y="12"/>
                </a:lnTo>
                <a:lnTo>
                  <a:pt x="228" y="12"/>
                </a:lnTo>
                <a:lnTo>
                  <a:pt x="228" y="12"/>
                </a:lnTo>
                <a:lnTo>
                  <a:pt x="228" y="12"/>
                </a:lnTo>
                <a:lnTo>
                  <a:pt x="228" y="12"/>
                </a:lnTo>
                <a:lnTo>
                  <a:pt x="228" y="12"/>
                </a:lnTo>
                <a:lnTo>
                  <a:pt x="228" y="12"/>
                </a:lnTo>
                <a:lnTo>
                  <a:pt x="234" y="12"/>
                </a:lnTo>
                <a:lnTo>
                  <a:pt x="234" y="12"/>
                </a:lnTo>
                <a:lnTo>
                  <a:pt x="234" y="12"/>
                </a:lnTo>
                <a:lnTo>
                  <a:pt x="234" y="6"/>
                </a:lnTo>
                <a:lnTo>
                  <a:pt x="234" y="6"/>
                </a:lnTo>
                <a:lnTo>
                  <a:pt x="234" y="6"/>
                </a:lnTo>
                <a:lnTo>
                  <a:pt x="234" y="6"/>
                </a:lnTo>
                <a:lnTo>
                  <a:pt x="234" y="6"/>
                </a:lnTo>
                <a:lnTo>
                  <a:pt x="234" y="6"/>
                </a:lnTo>
                <a:lnTo>
                  <a:pt x="240" y="6"/>
                </a:lnTo>
                <a:lnTo>
                  <a:pt x="240" y="0"/>
                </a:lnTo>
                <a:lnTo>
                  <a:pt x="240" y="6"/>
                </a:lnTo>
                <a:lnTo>
                  <a:pt x="240" y="0"/>
                </a:lnTo>
                <a:lnTo>
                  <a:pt x="240" y="0"/>
                </a:lnTo>
                <a:lnTo>
                  <a:pt x="240" y="0"/>
                </a:lnTo>
                <a:lnTo>
                  <a:pt x="246" y="0"/>
                </a:lnTo>
                <a:lnTo>
                  <a:pt x="246" y="6"/>
                </a:lnTo>
                <a:lnTo>
                  <a:pt x="246" y="6"/>
                </a:lnTo>
                <a:lnTo>
                  <a:pt x="246" y="6"/>
                </a:lnTo>
                <a:lnTo>
                  <a:pt x="246" y="6"/>
                </a:lnTo>
                <a:lnTo>
                  <a:pt x="246" y="6"/>
                </a:lnTo>
                <a:lnTo>
                  <a:pt x="246" y="6"/>
                </a:lnTo>
                <a:lnTo>
                  <a:pt x="246" y="6"/>
                </a:lnTo>
                <a:lnTo>
                  <a:pt x="246" y="6"/>
                </a:lnTo>
                <a:lnTo>
                  <a:pt x="246" y="6"/>
                </a:lnTo>
                <a:lnTo>
                  <a:pt x="246" y="6"/>
                </a:lnTo>
                <a:lnTo>
                  <a:pt x="246" y="6"/>
                </a:lnTo>
                <a:lnTo>
                  <a:pt x="252" y="12"/>
                </a:lnTo>
                <a:lnTo>
                  <a:pt x="252" y="12"/>
                </a:lnTo>
                <a:lnTo>
                  <a:pt x="252" y="6"/>
                </a:lnTo>
                <a:lnTo>
                  <a:pt x="252" y="6"/>
                </a:lnTo>
                <a:lnTo>
                  <a:pt x="252" y="12"/>
                </a:lnTo>
                <a:lnTo>
                  <a:pt x="252" y="12"/>
                </a:lnTo>
                <a:lnTo>
                  <a:pt x="252" y="12"/>
                </a:lnTo>
                <a:lnTo>
                  <a:pt x="252" y="12"/>
                </a:lnTo>
                <a:lnTo>
                  <a:pt x="252" y="12"/>
                </a:lnTo>
                <a:lnTo>
                  <a:pt x="252" y="12"/>
                </a:lnTo>
                <a:lnTo>
                  <a:pt x="252" y="18"/>
                </a:lnTo>
                <a:lnTo>
                  <a:pt x="252" y="18"/>
                </a:lnTo>
                <a:lnTo>
                  <a:pt x="252" y="18"/>
                </a:lnTo>
                <a:lnTo>
                  <a:pt x="252" y="18"/>
                </a:lnTo>
                <a:lnTo>
                  <a:pt x="252" y="18"/>
                </a:lnTo>
                <a:lnTo>
                  <a:pt x="252" y="18"/>
                </a:lnTo>
                <a:lnTo>
                  <a:pt x="252" y="18"/>
                </a:lnTo>
                <a:lnTo>
                  <a:pt x="258" y="24"/>
                </a:lnTo>
                <a:lnTo>
                  <a:pt x="258" y="24"/>
                </a:lnTo>
                <a:lnTo>
                  <a:pt x="258" y="24"/>
                </a:lnTo>
                <a:lnTo>
                  <a:pt x="258" y="24"/>
                </a:lnTo>
                <a:lnTo>
                  <a:pt x="258" y="24"/>
                </a:lnTo>
                <a:lnTo>
                  <a:pt x="258" y="24"/>
                </a:lnTo>
                <a:lnTo>
                  <a:pt x="258" y="24"/>
                </a:lnTo>
                <a:lnTo>
                  <a:pt x="258" y="24"/>
                </a:lnTo>
                <a:lnTo>
                  <a:pt x="258" y="30"/>
                </a:lnTo>
                <a:lnTo>
                  <a:pt x="258" y="30"/>
                </a:lnTo>
                <a:lnTo>
                  <a:pt x="258" y="30"/>
                </a:lnTo>
                <a:lnTo>
                  <a:pt x="264" y="30"/>
                </a:lnTo>
                <a:lnTo>
                  <a:pt x="264" y="30"/>
                </a:lnTo>
                <a:lnTo>
                  <a:pt x="264" y="30"/>
                </a:lnTo>
                <a:lnTo>
                  <a:pt x="264" y="36"/>
                </a:lnTo>
                <a:lnTo>
                  <a:pt x="264" y="36"/>
                </a:lnTo>
                <a:lnTo>
                  <a:pt x="264" y="36"/>
                </a:lnTo>
                <a:lnTo>
                  <a:pt x="264" y="36"/>
                </a:lnTo>
                <a:lnTo>
                  <a:pt x="264" y="36"/>
                </a:lnTo>
                <a:lnTo>
                  <a:pt x="264" y="36"/>
                </a:lnTo>
                <a:lnTo>
                  <a:pt x="264" y="42"/>
                </a:lnTo>
                <a:lnTo>
                  <a:pt x="264" y="42"/>
                </a:lnTo>
                <a:lnTo>
                  <a:pt x="264" y="42"/>
                </a:lnTo>
                <a:lnTo>
                  <a:pt x="264" y="42"/>
                </a:lnTo>
                <a:lnTo>
                  <a:pt x="264" y="42"/>
                </a:lnTo>
                <a:lnTo>
                  <a:pt x="264" y="42"/>
                </a:lnTo>
                <a:lnTo>
                  <a:pt x="264" y="48"/>
                </a:lnTo>
                <a:lnTo>
                  <a:pt x="264" y="48"/>
                </a:lnTo>
                <a:lnTo>
                  <a:pt x="264" y="48"/>
                </a:lnTo>
                <a:lnTo>
                  <a:pt x="264" y="48"/>
                </a:lnTo>
                <a:lnTo>
                  <a:pt x="264" y="48"/>
                </a:lnTo>
                <a:lnTo>
                  <a:pt x="264" y="48"/>
                </a:lnTo>
                <a:lnTo>
                  <a:pt x="264" y="48"/>
                </a:lnTo>
                <a:lnTo>
                  <a:pt x="264" y="48"/>
                </a:lnTo>
                <a:lnTo>
                  <a:pt x="264" y="48"/>
                </a:lnTo>
                <a:lnTo>
                  <a:pt x="264" y="48"/>
                </a:lnTo>
                <a:lnTo>
                  <a:pt x="264" y="48"/>
                </a:lnTo>
                <a:lnTo>
                  <a:pt x="264" y="48"/>
                </a:lnTo>
                <a:lnTo>
                  <a:pt x="264" y="48"/>
                </a:lnTo>
                <a:lnTo>
                  <a:pt x="264" y="54"/>
                </a:lnTo>
                <a:lnTo>
                  <a:pt x="270" y="48"/>
                </a:lnTo>
                <a:lnTo>
                  <a:pt x="270" y="54"/>
                </a:lnTo>
                <a:lnTo>
                  <a:pt x="270" y="48"/>
                </a:lnTo>
                <a:lnTo>
                  <a:pt x="270" y="54"/>
                </a:lnTo>
                <a:lnTo>
                  <a:pt x="270" y="54"/>
                </a:lnTo>
                <a:lnTo>
                  <a:pt x="270" y="54"/>
                </a:lnTo>
                <a:lnTo>
                  <a:pt x="270" y="54"/>
                </a:lnTo>
                <a:lnTo>
                  <a:pt x="270" y="54"/>
                </a:lnTo>
                <a:lnTo>
                  <a:pt x="270" y="54"/>
                </a:lnTo>
                <a:lnTo>
                  <a:pt x="270" y="54"/>
                </a:lnTo>
                <a:lnTo>
                  <a:pt x="270" y="60"/>
                </a:lnTo>
                <a:lnTo>
                  <a:pt x="270" y="60"/>
                </a:lnTo>
                <a:lnTo>
                  <a:pt x="276" y="60"/>
                </a:lnTo>
                <a:lnTo>
                  <a:pt x="276" y="60"/>
                </a:lnTo>
                <a:lnTo>
                  <a:pt x="276" y="60"/>
                </a:lnTo>
                <a:lnTo>
                  <a:pt x="276" y="60"/>
                </a:lnTo>
                <a:lnTo>
                  <a:pt x="276" y="60"/>
                </a:lnTo>
                <a:lnTo>
                  <a:pt x="276" y="60"/>
                </a:lnTo>
                <a:lnTo>
                  <a:pt x="276" y="60"/>
                </a:lnTo>
                <a:lnTo>
                  <a:pt x="276" y="60"/>
                </a:lnTo>
                <a:lnTo>
                  <a:pt x="282" y="60"/>
                </a:lnTo>
                <a:lnTo>
                  <a:pt x="282" y="60"/>
                </a:lnTo>
                <a:lnTo>
                  <a:pt x="282" y="66"/>
                </a:lnTo>
                <a:lnTo>
                  <a:pt x="282" y="66"/>
                </a:lnTo>
                <a:lnTo>
                  <a:pt x="282" y="66"/>
                </a:lnTo>
                <a:lnTo>
                  <a:pt x="282" y="66"/>
                </a:lnTo>
                <a:lnTo>
                  <a:pt x="288" y="66"/>
                </a:lnTo>
                <a:lnTo>
                  <a:pt x="288" y="72"/>
                </a:lnTo>
                <a:lnTo>
                  <a:pt x="288" y="72"/>
                </a:lnTo>
                <a:lnTo>
                  <a:pt x="288" y="72"/>
                </a:lnTo>
                <a:lnTo>
                  <a:pt x="294" y="78"/>
                </a:lnTo>
                <a:lnTo>
                  <a:pt x="294" y="78"/>
                </a:lnTo>
                <a:lnTo>
                  <a:pt x="294" y="78"/>
                </a:lnTo>
                <a:lnTo>
                  <a:pt x="294" y="78"/>
                </a:lnTo>
                <a:lnTo>
                  <a:pt x="294" y="78"/>
                </a:lnTo>
                <a:lnTo>
                  <a:pt x="300" y="84"/>
                </a:lnTo>
                <a:lnTo>
                  <a:pt x="300" y="84"/>
                </a:lnTo>
                <a:lnTo>
                  <a:pt x="300" y="84"/>
                </a:lnTo>
                <a:lnTo>
                  <a:pt x="300" y="84"/>
                </a:lnTo>
                <a:lnTo>
                  <a:pt x="300" y="84"/>
                </a:lnTo>
                <a:lnTo>
                  <a:pt x="300" y="84"/>
                </a:lnTo>
                <a:lnTo>
                  <a:pt x="300" y="84"/>
                </a:lnTo>
                <a:lnTo>
                  <a:pt x="300" y="84"/>
                </a:lnTo>
                <a:lnTo>
                  <a:pt x="300" y="84"/>
                </a:lnTo>
                <a:lnTo>
                  <a:pt x="300" y="84"/>
                </a:lnTo>
                <a:lnTo>
                  <a:pt x="300" y="84"/>
                </a:lnTo>
                <a:lnTo>
                  <a:pt x="300" y="84"/>
                </a:lnTo>
                <a:lnTo>
                  <a:pt x="300" y="84"/>
                </a:lnTo>
                <a:lnTo>
                  <a:pt x="306" y="90"/>
                </a:lnTo>
                <a:lnTo>
                  <a:pt x="306" y="90"/>
                </a:lnTo>
                <a:lnTo>
                  <a:pt x="300" y="90"/>
                </a:lnTo>
                <a:lnTo>
                  <a:pt x="306" y="90"/>
                </a:lnTo>
                <a:lnTo>
                  <a:pt x="306" y="90"/>
                </a:lnTo>
                <a:lnTo>
                  <a:pt x="306" y="90"/>
                </a:lnTo>
                <a:lnTo>
                  <a:pt x="306" y="90"/>
                </a:lnTo>
                <a:lnTo>
                  <a:pt x="306" y="90"/>
                </a:lnTo>
                <a:lnTo>
                  <a:pt x="306" y="90"/>
                </a:lnTo>
                <a:lnTo>
                  <a:pt x="306" y="90"/>
                </a:lnTo>
                <a:lnTo>
                  <a:pt x="306" y="90"/>
                </a:lnTo>
                <a:lnTo>
                  <a:pt x="306" y="96"/>
                </a:lnTo>
                <a:lnTo>
                  <a:pt x="306" y="96"/>
                </a:lnTo>
                <a:lnTo>
                  <a:pt x="306" y="96"/>
                </a:lnTo>
                <a:lnTo>
                  <a:pt x="312" y="96"/>
                </a:lnTo>
                <a:lnTo>
                  <a:pt x="312" y="96"/>
                </a:lnTo>
                <a:lnTo>
                  <a:pt x="312" y="96"/>
                </a:lnTo>
                <a:lnTo>
                  <a:pt x="312" y="96"/>
                </a:lnTo>
                <a:lnTo>
                  <a:pt x="312" y="96"/>
                </a:lnTo>
                <a:lnTo>
                  <a:pt x="312" y="96"/>
                </a:lnTo>
                <a:lnTo>
                  <a:pt x="312" y="96"/>
                </a:lnTo>
                <a:lnTo>
                  <a:pt x="312" y="96"/>
                </a:lnTo>
                <a:lnTo>
                  <a:pt x="318" y="96"/>
                </a:lnTo>
                <a:lnTo>
                  <a:pt x="318" y="96"/>
                </a:lnTo>
                <a:lnTo>
                  <a:pt x="318" y="96"/>
                </a:lnTo>
                <a:lnTo>
                  <a:pt x="318" y="96"/>
                </a:lnTo>
                <a:lnTo>
                  <a:pt x="318" y="96"/>
                </a:lnTo>
                <a:lnTo>
                  <a:pt x="318" y="96"/>
                </a:lnTo>
                <a:lnTo>
                  <a:pt x="324" y="96"/>
                </a:lnTo>
                <a:lnTo>
                  <a:pt x="324" y="96"/>
                </a:lnTo>
                <a:lnTo>
                  <a:pt x="324" y="96"/>
                </a:lnTo>
                <a:lnTo>
                  <a:pt x="324" y="96"/>
                </a:lnTo>
                <a:lnTo>
                  <a:pt x="324" y="102"/>
                </a:lnTo>
                <a:lnTo>
                  <a:pt x="324" y="102"/>
                </a:lnTo>
                <a:lnTo>
                  <a:pt x="324" y="102"/>
                </a:lnTo>
                <a:lnTo>
                  <a:pt x="324" y="102"/>
                </a:lnTo>
                <a:lnTo>
                  <a:pt x="324" y="102"/>
                </a:lnTo>
                <a:lnTo>
                  <a:pt x="324" y="102"/>
                </a:lnTo>
                <a:lnTo>
                  <a:pt x="330" y="102"/>
                </a:lnTo>
                <a:lnTo>
                  <a:pt x="324" y="102"/>
                </a:lnTo>
                <a:lnTo>
                  <a:pt x="324" y="102"/>
                </a:lnTo>
                <a:lnTo>
                  <a:pt x="324" y="102"/>
                </a:lnTo>
                <a:lnTo>
                  <a:pt x="324" y="102"/>
                </a:lnTo>
                <a:lnTo>
                  <a:pt x="324" y="108"/>
                </a:lnTo>
                <a:lnTo>
                  <a:pt x="324" y="108"/>
                </a:lnTo>
                <a:lnTo>
                  <a:pt x="324" y="108"/>
                </a:lnTo>
                <a:lnTo>
                  <a:pt x="324" y="108"/>
                </a:lnTo>
                <a:lnTo>
                  <a:pt x="330" y="108"/>
                </a:lnTo>
                <a:lnTo>
                  <a:pt x="330" y="108"/>
                </a:lnTo>
                <a:lnTo>
                  <a:pt x="330" y="108"/>
                </a:lnTo>
                <a:lnTo>
                  <a:pt x="330" y="108"/>
                </a:lnTo>
                <a:lnTo>
                  <a:pt x="330" y="114"/>
                </a:lnTo>
                <a:lnTo>
                  <a:pt x="330" y="114"/>
                </a:lnTo>
                <a:lnTo>
                  <a:pt x="330" y="108"/>
                </a:lnTo>
                <a:lnTo>
                  <a:pt x="330" y="108"/>
                </a:lnTo>
                <a:lnTo>
                  <a:pt x="330" y="114"/>
                </a:lnTo>
                <a:lnTo>
                  <a:pt x="330" y="114"/>
                </a:lnTo>
                <a:lnTo>
                  <a:pt x="330" y="114"/>
                </a:lnTo>
                <a:lnTo>
                  <a:pt x="330" y="114"/>
                </a:lnTo>
                <a:lnTo>
                  <a:pt x="330" y="114"/>
                </a:lnTo>
                <a:lnTo>
                  <a:pt x="336" y="114"/>
                </a:lnTo>
                <a:lnTo>
                  <a:pt x="330" y="114"/>
                </a:lnTo>
                <a:lnTo>
                  <a:pt x="336" y="120"/>
                </a:lnTo>
                <a:lnTo>
                  <a:pt x="336" y="120"/>
                </a:lnTo>
                <a:lnTo>
                  <a:pt x="336" y="120"/>
                </a:lnTo>
                <a:lnTo>
                  <a:pt x="336" y="120"/>
                </a:lnTo>
                <a:lnTo>
                  <a:pt x="336" y="114"/>
                </a:lnTo>
                <a:lnTo>
                  <a:pt x="336" y="120"/>
                </a:lnTo>
                <a:lnTo>
                  <a:pt x="336" y="120"/>
                </a:lnTo>
                <a:lnTo>
                  <a:pt x="336" y="120"/>
                </a:lnTo>
                <a:lnTo>
                  <a:pt x="336" y="120"/>
                </a:lnTo>
                <a:lnTo>
                  <a:pt x="336" y="120"/>
                </a:lnTo>
                <a:lnTo>
                  <a:pt x="336" y="120"/>
                </a:lnTo>
                <a:lnTo>
                  <a:pt x="336" y="120"/>
                </a:lnTo>
                <a:lnTo>
                  <a:pt x="336" y="120"/>
                </a:lnTo>
                <a:lnTo>
                  <a:pt x="336" y="120"/>
                </a:lnTo>
                <a:lnTo>
                  <a:pt x="342" y="120"/>
                </a:lnTo>
                <a:lnTo>
                  <a:pt x="342" y="120"/>
                </a:lnTo>
                <a:lnTo>
                  <a:pt x="342" y="120"/>
                </a:lnTo>
                <a:lnTo>
                  <a:pt x="342" y="120"/>
                </a:lnTo>
                <a:lnTo>
                  <a:pt x="342" y="126"/>
                </a:lnTo>
                <a:lnTo>
                  <a:pt x="342" y="126"/>
                </a:lnTo>
                <a:lnTo>
                  <a:pt x="342" y="120"/>
                </a:lnTo>
                <a:lnTo>
                  <a:pt x="342" y="126"/>
                </a:lnTo>
                <a:lnTo>
                  <a:pt x="348" y="126"/>
                </a:lnTo>
                <a:lnTo>
                  <a:pt x="348" y="126"/>
                </a:lnTo>
                <a:lnTo>
                  <a:pt x="348" y="126"/>
                </a:lnTo>
                <a:lnTo>
                  <a:pt x="348" y="126"/>
                </a:lnTo>
                <a:lnTo>
                  <a:pt x="348" y="126"/>
                </a:lnTo>
                <a:lnTo>
                  <a:pt x="348" y="126"/>
                </a:lnTo>
                <a:lnTo>
                  <a:pt x="348" y="126"/>
                </a:lnTo>
                <a:lnTo>
                  <a:pt x="354" y="126"/>
                </a:lnTo>
                <a:lnTo>
                  <a:pt x="354" y="126"/>
                </a:lnTo>
                <a:lnTo>
                  <a:pt x="354" y="126"/>
                </a:lnTo>
                <a:lnTo>
                  <a:pt x="354" y="126"/>
                </a:lnTo>
                <a:lnTo>
                  <a:pt x="354" y="132"/>
                </a:lnTo>
                <a:lnTo>
                  <a:pt x="354" y="132"/>
                </a:lnTo>
                <a:lnTo>
                  <a:pt x="354" y="132"/>
                </a:lnTo>
                <a:lnTo>
                  <a:pt x="348" y="132"/>
                </a:lnTo>
                <a:lnTo>
                  <a:pt x="348" y="132"/>
                </a:lnTo>
                <a:lnTo>
                  <a:pt x="348" y="132"/>
                </a:lnTo>
                <a:lnTo>
                  <a:pt x="354" y="132"/>
                </a:lnTo>
                <a:lnTo>
                  <a:pt x="354" y="132"/>
                </a:lnTo>
                <a:lnTo>
                  <a:pt x="354" y="138"/>
                </a:lnTo>
                <a:lnTo>
                  <a:pt x="354" y="138"/>
                </a:lnTo>
                <a:lnTo>
                  <a:pt x="354" y="138"/>
                </a:lnTo>
                <a:lnTo>
                  <a:pt x="354" y="144"/>
                </a:lnTo>
                <a:lnTo>
                  <a:pt x="348" y="138"/>
                </a:lnTo>
                <a:lnTo>
                  <a:pt x="348" y="144"/>
                </a:lnTo>
                <a:lnTo>
                  <a:pt x="348" y="144"/>
                </a:lnTo>
                <a:lnTo>
                  <a:pt x="348" y="144"/>
                </a:lnTo>
                <a:lnTo>
                  <a:pt x="348" y="144"/>
                </a:lnTo>
                <a:lnTo>
                  <a:pt x="348" y="150"/>
                </a:lnTo>
                <a:lnTo>
                  <a:pt x="348" y="150"/>
                </a:lnTo>
                <a:lnTo>
                  <a:pt x="354" y="156"/>
                </a:lnTo>
                <a:lnTo>
                  <a:pt x="354" y="156"/>
                </a:lnTo>
                <a:lnTo>
                  <a:pt x="354" y="156"/>
                </a:lnTo>
                <a:lnTo>
                  <a:pt x="354" y="156"/>
                </a:lnTo>
                <a:lnTo>
                  <a:pt x="360" y="156"/>
                </a:lnTo>
                <a:lnTo>
                  <a:pt x="360" y="156"/>
                </a:lnTo>
                <a:lnTo>
                  <a:pt x="360" y="156"/>
                </a:lnTo>
                <a:lnTo>
                  <a:pt x="360" y="162"/>
                </a:lnTo>
                <a:lnTo>
                  <a:pt x="360" y="162"/>
                </a:lnTo>
                <a:lnTo>
                  <a:pt x="360" y="162"/>
                </a:lnTo>
                <a:lnTo>
                  <a:pt x="360" y="162"/>
                </a:lnTo>
                <a:lnTo>
                  <a:pt x="360" y="162"/>
                </a:lnTo>
                <a:lnTo>
                  <a:pt x="360" y="168"/>
                </a:lnTo>
                <a:lnTo>
                  <a:pt x="360" y="168"/>
                </a:lnTo>
                <a:lnTo>
                  <a:pt x="366" y="168"/>
                </a:lnTo>
                <a:lnTo>
                  <a:pt x="366" y="162"/>
                </a:lnTo>
                <a:lnTo>
                  <a:pt x="366" y="162"/>
                </a:lnTo>
                <a:lnTo>
                  <a:pt x="372" y="162"/>
                </a:lnTo>
                <a:lnTo>
                  <a:pt x="366" y="162"/>
                </a:lnTo>
                <a:lnTo>
                  <a:pt x="366" y="162"/>
                </a:lnTo>
                <a:lnTo>
                  <a:pt x="366" y="168"/>
                </a:lnTo>
                <a:lnTo>
                  <a:pt x="366" y="168"/>
                </a:lnTo>
                <a:lnTo>
                  <a:pt x="360" y="168"/>
                </a:lnTo>
                <a:lnTo>
                  <a:pt x="360" y="168"/>
                </a:lnTo>
                <a:lnTo>
                  <a:pt x="366" y="168"/>
                </a:lnTo>
                <a:lnTo>
                  <a:pt x="366" y="168"/>
                </a:lnTo>
                <a:lnTo>
                  <a:pt x="366" y="168"/>
                </a:lnTo>
                <a:lnTo>
                  <a:pt x="366" y="174"/>
                </a:lnTo>
                <a:lnTo>
                  <a:pt x="366" y="180"/>
                </a:lnTo>
                <a:lnTo>
                  <a:pt x="366" y="180"/>
                </a:lnTo>
                <a:lnTo>
                  <a:pt x="366" y="180"/>
                </a:lnTo>
                <a:lnTo>
                  <a:pt x="372" y="180"/>
                </a:lnTo>
                <a:lnTo>
                  <a:pt x="366" y="180"/>
                </a:lnTo>
                <a:lnTo>
                  <a:pt x="366" y="180"/>
                </a:lnTo>
                <a:lnTo>
                  <a:pt x="366" y="186"/>
                </a:lnTo>
                <a:lnTo>
                  <a:pt x="366" y="186"/>
                </a:lnTo>
                <a:lnTo>
                  <a:pt x="366" y="186"/>
                </a:lnTo>
                <a:lnTo>
                  <a:pt x="372" y="186"/>
                </a:lnTo>
                <a:lnTo>
                  <a:pt x="366" y="186"/>
                </a:lnTo>
                <a:lnTo>
                  <a:pt x="372" y="186"/>
                </a:lnTo>
                <a:lnTo>
                  <a:pt x="372" y="186"/>
                </a:lnTo>
                <a:lnTo>
                  <a:pt x="372" y="186"/>
                </a:lnTo>
                <a:lnTo>
                  <a:pt x="372" y="186"/>
                </a:lnTo>
                <a:lnTo>
                  <a:pt x="372" y="192"/>
                </a:lnTo>
                <a:lnTo>
                  <a:pt x="372" y="192"/>
                </a:lnTo>
                <a:lnTo>
                  <a:pt x="372" y="192"/>
                </a:lnTo>
                <a:lnTo>
                  <a:pt x="372" y="192"/>
                </a:lnTo>
                <a:lnTo>
                  <a:pt x="372" y="192"/>
                </a:lnTo>
                <a:lnTo>
                  <a:pt x="378" y="192"/>
                </a:lnTo>
                <a:lnTo>
                  <a:pt x="378" y="192"/>
                </a:lnTo>
                <a:lnTo>
                  <a:pt x="378" y="198"/>
                </a:lnTo>
                <a:lnTo>
                  <a:pt x="378" y="198"/>
                </a:lnTo>
                <a:lnTo>
                  <a:pt x="378" y="198"/>
                </a:lnTo>
                <a:lnTo>
                  <a:pt x="378" y="198"/>
                </a:lnTo>
                <a:lnTo>
                  <a:pt x="378" y="198"/>
                </a:lnTo>
                <a:lnTo>
                  <a:pt x="384" y="204"/>
                </a:lnTo>
                <a:lnTo>
                  <a:pt x="384" y="204"/>
                </a:lnTo>
                <a:lnTo>
                  <a:pt x="384" y="204"/>
                </a:lnTo>
                <a:lnTo>
                  <a:pt x="384" y="204"/>
                </a:lnTo>
                <a:lnTo>
                  <a:pt x="384" y="204"/>
                </a:lnTo>
                <a:lnTo>
                  <a:pt x="384" y="204"/>
                </a:lnTo>
                <a:lnTo>
                  <a:pt x="390" y="204"/>
                </a:lnTo>
                <a:lnTo>
                  <a:pt x="390" y="204"/>
                </a:lnTo>
                <a:lnTo>
                  <a:pt x="390" y="204"/>
                </a:lnTo>
                <a:lnTo>
                  <a:pt x="390" y="204"/>
                </a:lnTo>
                <a:lnTo>
                  <a:pt x="396" y="204"/>
                </a:lnTo>
                <a:lnTo>
                  <a:pt x="396" y="210"/>
                </a:lnTo>
                <a:lnTo>
                  <a:pt x="396" y="210"/>
                </a:lnTo>
                <a:lnTo>
                  <a:pt x="402" y="210"/>
                </a:lnTo>
                <a:lnTo>
                  <a:pt x="402" y="216"/>
                </a:lnTo>
                <a:lnTo>
                  <a:pt x="402" y="216"/>
                </a:lnTo>
                <a:lnTo>
                  <a:pt x="402" y="216"/>
                </a:lnTo>
                <a:lnTo>
                  <a:pt x="396" y="216"/>
                </a:lnTo>
                <a:lnTo>
                  <a:pt x="396" y="216"/>
                </a:lnTo>
                <a:lnTo>
                  <a:pt x="396" y="216"/>
                </a:lnTo>
                <a:lnTo>
                  <a:pt x="396" y="222"/>
                </a:lnTo>
                <a:lnTo>
                  <a:pt x="396" y="222"/>
                </a:lnTo>
                <a:lnTo>
                  <a:pt x="396" y="222"/>
                </a:lnTo>
                <a:lnTo>
                  <a:pt x="396" y="222"/>
                </a:lnTo>
                <a:lnTo>
                  <a:pt x="390" y="222"/>
                </a:lnTo>
                <a:lnTo>
                  <a:pt x="390" y="222"/>
                </a:lnTo>
                <a:lnTo>
                  <a:pt x="390" y="222"/>
                </a:lnTo>
                <a:lnTo>
                  <a:pt x="390" y="222"/>
                </a:lnTo>
                <a:lnTo>
                  <a:pt x="390" y="222"/>
                </a:lnTo>
                <a:lnTo>
                  <a:pt x="384" y="222"/>
                </a:lnTo>
                <a:lnTo>
                  <a:pt x="384" y="228"/>
                </a:lnTo>
                <a:lnTo>
                  <a:pt x="384" y="228"/>
                </a:lnTo>
                <a:lnTo>
                  <a:pt x="378" y="228"/>
                </a:lnTo>
                <a:lnTo>
                  <a:pt x="378" y="228"/>
                </a:lnTo>
                <a:lnTo>
                  <a:pt x="378" y="228"/>
                </a:lnTo>
                <a:lnTo>
                  <a:pt x="372" y="234"/>
                </a:lnTo>
                <a:lnTo>
                  <a:pt x="372" y="234"/>
                </a:lnTo>
                <a:lnTo>
                  <a:pt x="372" y="234"/>
                </a:lnTo>
                <a:lnTo>
                  <a:pt x="366" y="234"/>
                </a:lnTo>
                <a:lnTo>
                  <a:pt x="360" y="234"/>
                </a:lnTo>
                <a:lnTo>
                  <a:pt x="360" y="228"/>
                </a:lnTo>
                <a:lnTo>
                  <a:pt x="360" y="228"/>
                </a:lnTo>
                <a:lnTo>
                  <a:pt x="360" y="228"/>
                </a:lnTo>
                <a:lnTo>
                  <a:pt x="360" y="228"/>
                </a:lnTo>
                <a:lnTo>
                  <a:pt x="354" y="228"/>
                </a:lnTo>
                <a:lnTo>
                  <a:pt x="354" y="228"/>
                </a:lnTo>
                <a:lnTo>
                  <a:pt x="354" y="228"/>
                </a:lnTo>
                <a:lnTo>
                  <a:pt x="354" y="222"/>
                </a:lnTo>
                <a:lnTo>
                  <a:pt x="354" y="222"/>
                </a:lnTo>
                <a:lnTo>
                  <a:pt x="354" y="228"/>
                </a:lnTo>
                <a:lnTo>
                  <a:pt x="354" y="228"/>
                </a:lnTo>
                <a:lnTo>
                  <a:pt x="348" y="222"/>
                </a:lnTo>
                <a:lnTo>
                  <a:pt x="348" y="222"/>
                </a:lnTo>
                <a:lnTo>
                  <a:pt x="348" y="222"/>
                </a:lnTo>
                <a:lnTo>
                  <a:pt x="348" y="222"/>
                </a:lnTo>
                <a:lnTo>
                  <a:pt x="342" y="222"/>
                </a:lnTo>
                <a:lnTo>
                  <a:pt x="342" y="222"/>
                </a:lnTo>
                <a:lnTo>
                  <a:pt x="342" y="222"/>
                </a:lnTo>
                <a:lnTo>
                  <a:pt x="342" y="222"/>
                </a:lnTo>
                <a:lnTo>
                  <a:pt x="342" y="222"/>
                </a:lnTo>
                <a:lnTo>
                  <a:pt x="342" y="222"/>
                </a:lnTo>
                <a:lnTo>
                  <a:pt x="336" y="222"/>
                </a:lnTo>
                <a:lnTo>
                  <a:pt x="336" y="228"/>
                </a:lnTo>
                <a:lnTo>
                  <a:pt x="336" y="228"/>
                </a:lnTo>
                <a:lnTo>
                  <a:pt x="336" y="228"/>
                </a:lnTo>
                <a:lnTo>
                  <a:pt x="336" y="228"/>
                </a:lnTo>
                <a:lnTo>
                  <a:pt x="330" y="228"/>
                </a:lnTo>
                <a:lnTo>
                  <a:pt x="330" y="228"/>
                </a:lnTo>
                <a:lnTo>
                  <a:pt x="330" y="228"/>
                </a:lnTo>
                <a:lnTo>
                  <a:pt x="330" y="228"/>
                </a:lnTo>
                <a:lnTo>
                  <a:pt x="324" y="222"/>
                </a:lnTo>
                <a:lnTo>
                  <a:pt x="324" y="228"/>
                </a:lnTo>
                <a:lnTo>
                  <a:pt x="324" y="228"/>
                </a:lnTo>
                <a:lnTo>
                  <a:pt x="324" y="228"/>
                </a:lnTo>
                <a:lnTo>
                  <a:pt x="318" y="222"/>
                </a:lnTo>
                <a:lnTo>
                  <a:pt x="318" y="222"/>
                </a:lnTo>
                <a:lnTo>
                  <a:pt x="318" y="222"/>
                </a:lnTo>
                <a:lnTo>
                  <a:pt x="312" y="222"/>
                </a:lnTo>
                <a:lnTo>
                  <a:pt x="312" y="228"/>
                </a:lnTo>
                <a:lnTo>
                  <a:pt x="312" y="228"/>
                </a:lnTo>
                <a:lnTo>
                  <a:pt x="312" y="228"/>
                </a:lnTo>
                <a:lnTo>
                  <a:pt x="318" y="228"/>
                </a:lnTo>
                <a:lnTo>
                  <a:pt x="318" y="234"/>
                </a:lnTo>
                <a:lnTo>
                  <a:pt x="318" y="234"/>
                </a:lnTo>
                <a:lnTo>
                  <a:pt x="312" y="240"/>
                </a:lnTo>
                <a:lnTo>
                  <a:pt x="312" y="240"/>
                </a:lnTo>
                <a:lnTo>
                  <a:pt x="306" y="246"/>
                </a:lnTo>
                <a:lnTo>
                  <a:pt x="300" y="246"/>
                </a:lnTo>
                <a:lnTo>
                  <a:pt x="300" y="240"/>
                </a:lnTo>
                <a:lnTo>
                  <a:pt x="300" y="240"/>
                </a:lnTo>
                <a:lnTo>
                  <a:pt x="300" y="240"/>
                </a:lnTo>
                <a:lnTo>
                  <a:pt x="294" y="240"/>
                </a:lnTo>
                <a:lnTo>
                  <a:pt x="294" y="240"/>
                </a:lnTo>
                <a:lnTo>
                  <a:pt x="294" y="240"/>
                </a:lnTo>
                <a:lnTo>
                  <a:pt x="294" y="240"/>
                </a:lnTo>
                <a:lnTo>
                  <a:pt x="294" y="240"/>
                </a:lnTo>
                <a:lnTo>
                  <a:pt x="294" y="240"/>
                </a:lnTo>
                <a:lnTo>
                  <a:pt x="294" y="246"/>
                </a:lnTo>
                <a:lnTo>
                  <a:pt x="288" y="246"/>
                </a:lnTo>
                <a:lnTo>
                  <a:pt x="282" y="246"/>
                </a:lnTo>
                <a:lnTo>
                  <a:pt x="282" y="246"/>
                </a:lnTo>
                <a:lnTo>
                  <a:pt x="282" y="246"/>
                </a:lnTo>
                <a:lnTo>
                  <a:pt x="282" y="246"/>
                </a:lnTo>
                <a:lnTo>
                  <a:pt x="276" y="246"/>
                </a:lnTo>
                <a:lnTo>
                  <a:pt x="276" y="246"/>
                </a:lnTo>
                <a:lnTo>
                  <a:pt x="276" y="246"/>
                </a:lnTo>
                <a:lnTo>
                  <a:pt x="276" y="246"/>
                </a:lnTo>
                <a:lnTo>
                  <a:pt x="276" y="246"/>
                </a:lnTo>
                <a:lnTo>
                  <a:pt x="270" y="240"/>
                </a:lnTo>
                <a:lnTo>
                  <a:pt x="270" y="240"/>
                </a:lnTo>
                <a:lnTo>
                  <a:pt x="270" y="240"/>
                </a:lnTo>
                <a:lnTo>
                  <a:pt x="270" y="240"/>
                </a:lnTo>
                <a:lnTo>
                  <a:pt x="270" y="240"/>
                </a:lnTo>
                <a:lnTo>
                  <a:pt x="270" y="240"/>
                </a:lnTo>
                <a:lnTo>
                  <a:pt x="270" y="240"/>
                </a:lnTo>
                <a:lnTo>
                  <a:pt x="264" y="240"/>
                </a:lnTo>
                <a:lnTo>
                  <a:pt x="264" y="240"/>
                </a:lnTo>
                <a:lnTo>
                  <a:pt x="264" y="246"/>
                </a:lnTo>
                <a:lnTo>
                  <a:pt x="264" y="246"/>
                </a:lnTo>
                <a:lnTo>
                  <a:pt x="264" y="246"/>
                </a:lnTo>
                <a:lnTo>
                  <a:pt x="264" y="246"/>
                </a:lnTo>
                <a:lnTo>
                  <a:pt x="264" y="246"/>
                </a:lnTo>
                <a:lnTo>
                  <a:pt x="264" y="246"/>
                </a:lnTo>
                <a:lnTo>
                  <a:pt x="258" y="246"/>
                </a:lnTo>
                <a:lnTo>
                  <a:pt x="258" y="246"/>
                </a:lnTo>
                <a:lnTo>
                  <a:pt x="258" y="246"/>
                </a:lnTo>
                <a:lnTo>
                  <a:pt x="258" y="246"/>
                </a:lnTo>
                <a:lnTo>
                  <a:pt x="258" y="246"/>
                </a:lnTo>
                <a:lnTo>
                  <a:pt x="258" y="246"/>
                </a:lnTo>
                <a:lnTo>
                  <a:pt x="258" y="246"/>
                </a:lnTo>
                <a:lnTo>
                  <a:pt x="258" y="240"/>
                </a:lnTo>
                <a:lnTo>
                  <a:pt x="252" y="240"/>
                </a:lnTo>
                <a:lnTo>
                  <a:pt x="252" y="246"/>
                </a:lnTo>
                <a:lnTo>
                  <a:pt x="252" y="240"/>
                </a:lnTo>
                <a:lnTo>
                  <a:pt x="252" y="240"/>
                </a:lnTo>
                <a:lnTo>
                  <a:pt x="246" y="240"/>
                </a:lnTo>
                <a:lnTo>
                  <a:pt x="246" y="240"/>
                </a:lnTo>
                <a:lnTo>
                  <a:pt x="246" y="240"/>
                </a:lnTo>
                <a:lnTo>
                  <a:pt x="240" y="240"/>
                </a:lnTo>
                <a:lnTo>
                  <a:pt x="240" y="246"/>
                </a:lnTo>
                <a:lnTo>
                  <a:pt x="240" y="246"/>
                </a:lnTo>
                <a:lnTo>
                  <a:pt x="240" y="246"/>
                </a:lnTo>
                <a:lnTo>
                  <a:pt x="240" y="252"/>
                </a:lnTo>
                <a:lnTo>
                  <a:pt x="228" y="264"/>
                </a:lnTo>
                <a:lnTo>
                  <a:pt x="228" y="264"/>
                </a:lnTo>
                <a:lnTo>
                  <a:pt x="228" y="270"/>
                </a:lnTo>
                <a:lnTo>
                  <a:pt x="222" y="270"/>
                </a:lnTo>
                <a:lnTo>
                  <a:pt x="222" y="270"/>
                </a:lnTo>
                <a:lnTo>
                  <a:pt x="222" y="270"/>
                </a:lnTo>
                <a:lnTo>
                  <a:pt x="216" y="270"/>
                </a:lnTo>
                <a:lnTo>
                  <a:pt x="216" y="270"/>
                </a:lnTo>
                <a:lnTo>
                  <a:pt x="216" y="270"/>
                </a:lnTo>
                <a:lnTo>
                  <a:pt x="216" y="270"/>
                </a:lnTo>
                <a:lnTo>
                  <a:pt x="216" y="270"/>
                </a:lnTo>
                <a:lnTo>
                  <a:pt x="216" y="270"/>
                </a:lnTo>
                <a:lnTo>
                  <a:pt x="216" y="264"/>
                </a:lnTo>
                <a:lnTo>
                  <a:pt x="216" y="270"/>
                </a:lnTo>
                <a:lnTo>
                  <a:pt x="210" y="264"/>
                </a:lnTo>
                <a:lnTo>
                  <a:pt x="210" y="264"/>
                </a:lnTo>
                <a:lnTo>
                  <a:pt x="210" y="264"/>
                </a:lnTo>
                <a:lnTo>
                  <a:pt x="210" y="264"/>
                </a:lnTo>
                <a:lnTo>
                  <a:pt x="210" y="264"/>
                </a:lnTo>
                <a:lnTo>
                  <a:pt x="210" y="264"/>
                </a:lnTo>
                <a:lnTo>
                  <a:pt x="204" y="264"/>
                </a:lnTo>
                <a:lnTo>
                  <a:pt x="204" y="264"/>
                </a:lnTo>
                <a:lnTo>
                  <a:pt x="204" y="264"/>
                </a:lnTo>
                <a:lnTo>
                  <a:pt x="204" y="264"/>
                </a:lnTo>
                <a:lnTo>
                  <a:pt x="198" y="264"/>
                </a:lnTo>
                <a:lnTo>
                  <a:pt x="198" y="264"/>
                </a:lnTo>
                <a:lnTo>
                  <a:pt x="198" y="264"/>
                </a:lnTo>
                <a:lnTo>
                  <a:pt x="198" y="264"/>
                </a:lnTo>
                <a:lnTo>
                  <a:pt x="198" y="264"/>
                </a:lnTo>
                <a:lnTo>
                  <a:pt x="198" y="264"/>
                </a:lnTo>
                <a:lnTo>
                  <a:pt x="198" y="264"/>
                </a:lnTo>
                <a:lnTo>
                  <a:pt x="192" y="264"/>
                </a:lnTo>
                <a:lnTo>
                  <a:pt x="192" y="264"/>
                </a:lnTo>
                <a:lnTo>
                  <a:pt x="192" y="264"/>
                </a:lnTo>
                <a:lnTo>
                  <a:pt x="192" y="264"/>
                </a:lnTo>
                <a:lnTo>
                  <a:pt x="192" y="264"/>
                </a:lnTo>
                <a:lnTo>
                  <a:pt x="192" y="264"/>
                </a:lnTo>
                <a:lnTo>
                  <a:pt x="186" y="264"/>
                </a:lnTo>
                <a:lnTo>
                  <a:pt x="186" y="264"/>
                </a:lnTo>
                <a:lnTo>
                  <a:pt x="186" y="270"/>
                </a:lnTo>
                <a:lnTo>
                  <a:pt x="186" y="270"/>
                </a:lnTo>
                <a:lnTo>
                  <a:pt x="186" y="270"/>
                </a:lnTo>
                <a:lnTo>
                  <a:pt x="186" y="276"/>
                </a:lnTo>
                <a:lnTo>
                  <a:pt x="186" y="276"/>
                </a:lnTo>
                <a:lnTo>
                  <a:pt x="180" y="276"/>
                </a:lnTo>
                <a:lnTo>
                  <a:pt x="180" y="276"/>
                </a:lnTo>
                <a:lnTo>
                  <a:pt x="168" y="270"/>
                </a:lnTo>
                <a:lnTo>
                  <a:pt x="174" y="276"/>
                </a:lnTo>
                <a:lnTo>
                  <a:pt x="174" y="276"/>
                </a:lnTo>
                <a:lnTo>
                  <a:pt x="174" y="276"/>
                </a:lnTo>
                <a:lnTo>
                  <a:pt x="174" y="276"/>
                </a:lnTo>
                <a:lnTo>
                  <a:pt x="174" y="282"/>
                </a:lnTo>
                <a:lnTo>
                  <a:pt x="174" y="282"/>
                </a:lnTo>
                <a:lnTo>
                  <a:pt x="174" y="282"/>
                </a:lnTo>
                <a:lnTo>
                  <a:pt x="174" y="288"/>
                </a:lnTo>
                <a:lnTo>
                  <a:pt x="174" y="288"/>
                </a:lnTo>
                <a:lnTo>
                  <a:pt x="174" y="288"/>
                </a:lnTo>
                <a:lnTo>
                  <a:pt x="174" y="288"/>
                </a:lnTo>
                <a:lnTo>
                  <a:pt x="174" y="288"/>
                </a:lnTo>
                <a:lnTo>
                  <a:pt x="174" y="288"/>
                </a:lnTo>
                <a:lnTo>
                  <a:pt x="180" y="288"/>
                </a:lnTo>
                <a:lnTo>
                  <a:pt x="180" y="288"/>
                </a:lnTo>
                <a:lnTo>
                  <a:pt x="180" y="294"/>
                </a:lnTo>
                <a:lnTo>
                  <a:pt x="180" y="294"/>
                </a:lnTo>
                <a:lnTo>
                  <a:pt x="180" y="294"/>
                </a:lnTo>
                <a:lnTo>
                  <a:pt x="180" y="294"/>
                </a:lnTo>
                <a:lnTo>
                  <a:pt x="180" y="294"/>
                </a:lnTo>
                <a:lnTo>
                  <a:pt x="186" y="294"/>
                </a:lnTo>
                <a:lnTo>
                  <a:pt x="186" y="294"/>
                </a:lnTo>
                <a:lnTo>
                  <a:pt x="186" y="294"/>
                </a:lnTo>
                <a:lnTo>
                  <a:pt x="186" y="294"/>
                </a:lnTo>
                <a:lnTo>
                  <a:pt x="186" y="294"/>
                </a:lnTo>
                <a:lnTo>
                  <a:pt x="186" y="294"/>
                </a:lnTo>
                <a:lnTo>
                  <a:pt x="186" y="294"/>
                </a:lnTo>
                <a:lnTo>
                  <a:pt x="186" y="294"/>
                </a:lnTo>
                <a:lnTo>
                  <a:pt x="186" y="294"/>
                </a:lnTo>
                <a:lnTo>
                  <a:pt x="186" y="294"/>
                </a:lnTo>
                <a:lnTo>
                  <a:pt x="186" y="294"/>
                </a:lnTo>
                <a:lnTo>
                  <a:pt x="186" y="300"/>
                </a:lnTo>
                <a:lnTo>
                  <a:pt x="186" y="300"/>
                </a:lnTo>
                <a:lnTo>
                  <a:pt x="192" y="300"/>
                </a:lnTo>
                <a:lnTo>
                  <a:pt x="192" y="300"/>
                </a:lnTo>
                <a:lnTo>
                  <a:pt x="192" y="300"/>
                </a:lnTo>
                <a:lnTo>
                  <a:pt x="192" y="300"/>
                </a:lnTo>
                <a:lnTo>
                  <a:pt x="192" y="300"/>
                </a:lnTo>
                <a:lnTo>
                  <a:pt x="192" y="300"/>
                </a:lnTo>
                <a:lnTo>
                  <a:pt x="192" y="300"/>
                </a:lnTo>
                <a:lnTo>
                  <a:pt x="198" y="300"/>
                </a:lnTo>
                <a:lnTo>
                  <a:pt x="198" y="300"/>
                </a:lnTo>
                <a:lnTo>
                  <a:pt x="204" y="300"/>
                </a:lnTo>
                <a:lnTo>
                  <a:pt x="204" y="300"/>
                </a:lnTo>
                <a:lnTo>
                  <a:pt x="204" y="300"/>
                </a:lnTo>
                <a:lnTo>
                  <a:pt x="204" y="300"/>
                </a:lnTo>
                <a:lnTo>
                  <a:pt x="204" y="300"/>
                </a:lnTo>
                <a:lnTo>
                  <a:pt x="204" y="300"/>
                </a:lnTo>
                <a:lnTo>
                  <a:pt x="204" y="300"/>
                </a:lnTo>
                <a:lnTo>
                  <a:pt x="204" y="300"/>
                </a:lnTo>
                <a:lnTo>
                  <a:pt x="204" y="300"/>
                </a:lnTo>
                <a:lnTo>
                  <a:pt x="204" y="300"/>
                </a:lnTo>
                <a:lnTo>
                  <a:pt x="204" y="306"/>
                </a:lnTo>
                <a:lnTo>
                  <a:pt x="204" y="306"/>
                </a:lnTo>
                <a:lnTo>
                  <a:pt x="198" y="306"/>
                </a:lnTo>
                <a:lnTo>
                  <a:pt x="198" y="306"/>
                </a:lnTo>
                <a:lnTo>
                  <a:pt x="198" y="306"/>
                </a:lnTo>
                <a:lnTo>
                  <a:pt x="198" y="312"/>
                </a:lnTo>
                <a:lnTo>
                  <a:pt x="198" y="342"/>
                </a:lnTo>
                <a:lnTo>
                  <a:pt x="204" y="342"/>
                </a:lnTo>
                <a:lnTo>
                  <a:pt x="198" y="342"/>
                </a:lnTo>
                <a:lnTo>
                  <a:pt x="198" y="342"/>
                </a:lnTo>
                <a:lnTo>
                  <a:pt x="204" y="348"/>
                </a:lnTo>
                <a:lnTo>
                  <a:pt x="198" y="348"/>
                </a:lnTo>
                <a:lnTo>
                  <a:pt x="198" y="348"/>
                </a:lnTo>
                <a:lnTo>
                  <a:pt x="198" y="348"/>
                </a:lnTo>
                <a:lnTo>
                  <a:pt x="198" y="348"/>
                </a:lnTo>
                <a:lnTo>
                  <a:pt x="198" y="348"/>
                </a:lnTo>
                <a:lnTo>
                  <a:pt x="198" y="348"/>
                </a:lnTo>
                <a:lnTo>
                  <a:pt x="198" y="348"/>
                </a:lnTo>
                <a:lnTo>
                  <a:pt x="198" y="348"/>
                </a:lnTo>
                <a:lnTo>
                  <a:pt x="198" y="342"/>
                </a:lnTo>
                <a:lnTo>
                  <a:pt x="192" y="348"/>
                </a:lnTo>
                <a:lnTo>
                  <a:pt x="192" y="342"/>
                </a:lnTo>
                <a:lnTo>
                  <a:pt x="192" y="342"/>
                </a:lnTo>
                <a:lnTo>
                  <a:pt x="192" y="342"/>
                </a:lnTo>
                <a:lnTo>
                  <a:pt x="192" y="342"/>
                </a:lnTo>
                <a:lnTo>
                  <a:pt x="192" y="342"/>
                </a:lnTo>
                <a:lnTo>
                  <a:pt x="192" y="342"/>
                </a:lnTo>
                <a:lnTo>
                  <a:pt x="192" y="342"/>
                </a:lnTo>
                <a:lnTo>
                  <a:pt x="192" y="342"/>
                </a:lnTo>
                <a:lnTo>
                  <a:pt x="186" y="342"/>
                </a:lnTo>
                <a:lnTo>
                  <a:pt x="186" y="342"/>
                </a:lnTo>
                <a:lnTo>
                  <a:pt x="186" y="342"/>
                </a:lnTo>
                <a:lnTo>
                  <a:pt x="186" y="342"/>
                </a:lnTo>
                <a:lnTo>
                  <a:pt x="186" y="336"/>
                </a:lnTo>
                <a:lnTo>
                  <a:pt x="180" y="342"/>
                </a:lnTo>
                <a:lnTo>
                  <a:pt x="180" y="336"/>
                </a:lnTo>
                <a:lnTo>
                  <a:pt x="180" y="336"/>
                </a:lnTo>
                <a:lnTo>
                  <a:pt x="180" y="336"/>
                </a:lnTo>
                <a:lnTo>
                  <a:pt x="180" y="336"/>
                </a:lnTo>
                <a:lnTo>
                  <a:pt x="180" y="336"/>
                </a:lnTo>
                <a:lnTo>
                  <a:pt x="180" y="336"/>
                </a:lnTo>
                <a:lnTo>
                  <a:pt x="180" y="336"/>
                </a:lnTo>
                <a:lnTo>
                  <a:pt x="180" y="336"/>
                </a:lnTo>
                <a:lnTo>
                  <a:pt x="174" y="336"/>
                </a:lnTo>
                <a:lnTo>
                  <a:pt x="174" y="336"/>
                </a:lnTo>
                <a:lnTo>
                  <a:pt x="174" y="336"/>
                </a:lnTo>
                <a:lnTo>
                  <a:pt x="174" y="330"/>
                </a:lnTo>
                <a:lnTo>
                  <a:pt x="174" y="330"/>
                </a:lnTo>
                <a:lnTo>
                  <a:pt x="174" y="330"/>
                </a:lnTo>
                <a:lnTo>
                  <a:pt x="174" y="330"/>
                </a:lnTo>
                <a:lnTo>
                  <a:pt x="168" y="330"/>
                </a:lnTo>
                <a:lnTo>
                  <a:pt x="168" y="330"/>
                </a:lnTo>
                <a:lnTo>
                  <a:pt x="168" y="330"/>
                </a:lnTo>
                <a:lnTo>
                  <a:pt x="168" y="330"/>
                </a:lnTo>
                <a:lnTo>
                  <a:pt x="168" y="330"/>
                </a:lnTo>
                <a:lnTo>
                  <a:pt x="168" y="330"/>
                </a:lnTo>
                <a:lnTo>
                  <a:pt x="168" y="330"/>
                </a:lnTo>
                <a:lnTo>
                  <a:pt x="168" y="330"/>
                </a:lnTo>
                <a:lnTo>
                  <a:pt x="168" y="330"/>
                </a:lnTo>
                <a:lnTo>
                  <a:pt x="168" y="330"/>
                </a:lnTo>
                <a:lnTo>
                  <a:pt x="162" y="330"/>
                </a:lnTo>
                <a:lnTo>
                  <a:pt x="168" y="330"/>
                </a:lnTo>
                <a:lnTo>
                  <a:pt x="162" y="330"/>
                </a:lnTo>
                <a:lnTo>
                  <a:pt x="162" y="330"/>
                </a:lnTo>
                <a:lnTo>
                  <a:pt x="162" y="330"/>
                </a:lnTo>
                <a:lnTo>
                  <a:pt x="162" y="330"/>
                </a:lnTo>
                <a:lnTo>
                  <a:pt x="162" y="330"/>
                </a:lnTo>
                <a:lnTo>
                  <a:pt x="162" y="330"/>
                </a:lnTo>
                <a:lnTo>
                  <a:pt x="162" y="330"/>
                </a:lnTo>
                <a:lnTo>
                  <a:pt x="162" y="330"/>
                </a:lnTo>
                <a:lnTo>
                  <a:pt x="156" y="330"/>
                </a:lnTo>
                <a:lnTo>
                  <a:pt x="156" y="330"/>
                </a:lnTo>
                <a:lnTo>
                  <a:pt x="156" y="330"/>
                </a:lnTo>
                <a:lnTo>
                  <a:pt x="156" y="330"/>
                </a:lnTo>
                <a:lnTo>
                  <a:pt x="156" y="330"/>
                </a:lnTo>
                <a:lnTo>
                  <a:pt x="156" y="330"/>
                </a:lnTo>
                <a:lnTo>
                  <a:pt x="156" y="324"/>
                </a:lnTo>
                <a:lnTo>
                  <a:pt x="156" y="324"/>
                </a:lnTo>
                <a:lnTo>
                  <a:pt x="156" y="324"/>
                </a:lnTo>
                <a:lnTo>
                  <a:pt x="156" y="324"/>
                </a:lnTo>
                <a:lnTo>
                  <a:pt x="156" y="324"/>
                </a:lnTo>
                <a:lnTo>
                  <a:pt x="156" y="324"/>
                </a:lnTo>
                <a:lnTo>
                  <a:pt x="150" y="324"/>
                </a:lnTo>
                <a:lnTo>
                  <a:pt x="150" y="324"/>
                </a:lnTo>
                <a:lnTo>
                  <a:pt x="150" y="324"/>
                </a:lnTo>
                <a:lnTo>
                  <a:pt x="150" y="324"/>
                </a:lnTo>
                <a:lnTo>
                  <a:pt x="150" y="324"/>
                </a:lnTo>
                <a:lnTo>
                  <a:pt x="150" y="324"/>
                </a:lnTo>
                <a:lnTo>
                  <a:pt x="150" y="324"/>
                </a:lnTo>
                <a:lnTo>
                  <a:pt x="150" y="324"/>
                </a:lnTo>
                <a:lnTo>
                  <a:pt x="144" y="324"/>
                </a:lnTo>
                <a:lnTo>
                  <a:pt x="150" y="324"/>
                </a:lnTo>
                <a:lnTo>
                  <a:pt x="150" y="324"/>
                </a:lnTo>
                <a:lnTo>
                  <a:pt x="144" y="324"/>
                </a:lnTo>
                <a:lnTo>
                  <a:pt x="144" y="318"/>
                </a:lnTo>
                <a:lnTo>
                  <a:pt x="144" y="318"/>
                </a:lnTo>
                <a:lnTo>
                  <a:pt x="144" y="318"/>
                </a:lnTo>
                <a:lnTo>
                  <a:pt x="144" y="318"/>
                </a:lnTo>
                <a:lnTo>
                  <a:pt x="144" y="318"/>
                </a:lnTo>
                <a:lnTo>
                  <a:pt x="144" y="318"/>
                </a:lnTo>
                <a:lnTo>
                  <a:pt x="144" y="318"/>
                </a:lnTo>
                <a:lnTo>
                  <a:pt x="138" y="318"/>
                </a:lnTo>
                <a:lnTo>
                  <a:pt x="138" y="318"/>
                </a:lnTo>
                <a:lnTo>
                  <a:pt x="138" y="318"/>
                </a:lnTo>
                <a:lnTo>
                  <a:pt x="138" y="318"/>
                </a:lnTo>
                <a:lnTo>
                  <a:pt x="138" y="318"/>
                </a:lnTo>
                <a:lnTo>
                  <a:pt x="138" y="312"/>
                </a:lnTo>
                <a:lnTo>
                  <a:pt x="138" y="312"/>
                </a:lnTo>
                <a:lnTo>
                  <a:pt x="138" y="312"/>
                </a:lnTo>
                <a:lnTo>
                  <a:pt x="138" y="312"/>
                </a:lnTo>
                <a:lnTo>
                  <a:pt x="138" y="312"/>
                </a:lnTo>
                <a:lnTo>
                  <a:pt x="138" y="312"/>
                </a:lnTo>
                <a:lnTo>
                  <a:pt x="132" y="312"/>
                </a:lnTo>
                <a:lnTo>
                  <a:pt x="132" y="312"/>
                </a:lnTo>
                <a:lnTo>
                  <a:pt x="132" y="312"/>
                </a:lnTo>
                <a:lnTo>
                  <a:pt x="132" y="312"/>
                </a:lnTo>
                <a:lnTo>
                  <a:pt x="132" y="312"/>
                </a:lnTo>
                <a:lnTo>
                  <a:pt x="126" y="312"/>
                </a:lnTo>
                <a:lnTo>
                  <a:pt x="126" y="312"/>
                </a:lnTo>
                <a:lnTo>
                  <a:pt x="126" y="312"/>
                </a:lnTo>
                <a:lnTo>
                  <a:pt x="126" y="312"/>
                </a:lnTo>
                <a:lnTo>
                  <a:pt x="120" y="312"/>
                </a:lnTo>
                <a:lnTo>
                  <a:pt x="120" y="312"/>
                </a:lnTo>
                <a:lnTo>
                  <a:pt x="120" y="312"/>
                </a:lnTo>
                <a:lnTo>
                  <a:pt x="120" y="312"/>
                </a:lnTo>
                <a:lnTo>
                  <a:pt x="120" y="312"/>
                </a:lnTo>
                <a:lnTo>
                  <a:pt x="114" y="306"/>
                </a:lnTo>
                <a:lnTo>
                  <a:pt x="114" y="306"/>
                </a:lnTo>
                <a:lnTo>
                  <a:pt x="114" y="306"/>
                </a:lnTo>
                <a:lnTo>
                  <a:pt x="114" y="306"/>
                </a:lnTo>
                <a:lnTo>
                  <a:pt x="114" y="306"/>
                </a:lnTo>
                <a:lnTo>
                  <a:pt x="114" y="306"/>
                </a:lnTo>
                <a:lnTo>
                  <a:pt x="114" y="306"/>
                </a:lnTo>
                <a:lnTo>
                  <a:pt x="114" y="306"/>
                </a:lnTo>
                <a:lnTo>
                  <a:pt x="114" y="306"/>
                </a:lnTo>
                <a:lnTo>
                  <a:pt x="114" y="306"/>
                </a:lnTo>
                <a:lnTo>
                  <a:pt x="114" y="306"/>
                </a:lnTo>
                <a:lnTo>
                  <a:pt x="114" y="306"/>
                </a:lnTo>
                <a:lnTo>
                  <a:pt x="108" y="300"/>
                </a:lnTo>
                <a:lnTo>
                  <a:pt x="108" y="300"/>
                </a:lnTo>
                <a:lnTo>
                  <a:pt x="108" y="300"/>
                </a:lnTo>
                <a:lnTo>
                  <a:pt x="108" y="300"/>
                </a:lnTo>
                <a:lnTo>
                  <a:pt x="108" y="300"/>
                </a:lnTo>
                <a:lnTo>
                  <a:pt x="108" y="294"/>
                </a:lnTo>
                <a:lnTo>
                  <a:pt x="102" y="294"/>
                </a:lnTo>
                <a:lnTo>
                  <a:pt x="102" y="294"/>
                </a:lnTo>
                <a:lnTo>
                  <a:pt x="96" y="288"/>
                </a:lnTo>
                <a:lnTo>
                  <a:pt x="96" y="288"/>
                </a:lnTo>
                <a:lnTo>
                  <a:pt x="90" y="288"/>
                </a:lnTo>
                <a:lnTo>
                  <a:pt x="90" y="288"/>
                </a:lnTo>
                <a:lnTo>
                  <a:pt x="90" y="288"/>
                </a:lnTo>
                <a:lnTo>
                  <a:pt x="90" y="288"/>
                </a:lnTo>
                <a:lnTo>
                  <a:pt x="90" y="288"/>
                </a:lnTo>
                <a:lnTo>
                  <a:pt x="84" y="288"/>
                </a:lnTo>
                <a:lnTo>
                  <a:pt x="84" y="288"/>
                </a:lnTo>
                <a:lnTo>
                  <a:pt x="84" y="294"/>
                </a:lnTo>
                <a:lnTo>
                  <a:pt x="78" y="294"/>
                </a:lnTo>
                <a:lnTo>
                  <a:pt x="78" y="294"/>
                </a:lnTo>
                <a:lnTo>
                  <a:pt x="78" y="294"/>
                </a:lnTo>
                <a:lnTo>
                  <a:pt x="72" y="288"/>
                </a:lnTo>
                <a:lnTo>
                  <a:pt x="72" y="288"/>
                </a:lnTo>
                <a:lnTo>
                  <a:pt x="66" y="294"/>
                </a:lnTo>
                <a:lnTo>
                  <a:pt x="66" y="294"/>
                </a:lnTo>
                <a:lnTo>
                  <a:pt x="66" y="294"/>
                </a:lnTo>
                <a:lnTo>
                  <a:pt x="66" y="294"/>
                </a:lnTo>
                <a:lnTo>
                  <a:pt x="60" y="288"/>
                </a:lnTo>
                <a:lnTo>
                  <a:pt x="60" y="288"/>
                </a:lnTo>
                <a:lnTo>
                  <a:pt x="54" y="288"/>
                </a:lnTo>
                <a:lnTo>
                  <a:pt x="54" y="288"/>
                </a:lnTo>
                <a:lnTo>
                  <a:pt x="54" y="288"/>
                </a:lnTo>
                <a:lnTo>
                  <a:pt x="48" y="288"/>
                </a:lnTo>
                <a:lnTo>
                  <a:pt x="48" y="288"/>
                </a:lnTo>
                <a:lnTo>
                  <a:pt x="48" y="288"/>
                </a:lnTo>
                <a:lnTo>
                  <a:pt x="42" y="288"/>
                </a:lnTo>
                <a:lnTo>
                  <a:pt x="42" y="282"/>
                </a:lnTo>
                <a:lnTo>
                  <a:pt x="42" y="282"/>
                </a:lnTo>
                <a:lnTo>
                  <a:pt x="42" y="282"/>
                </a:lnTo>
                <a:lnTo>
                  <a:pt x="36" y="282"/>
                </a:lnTo>
                <a:lnTo>
                  <a:pt x="42" y="282"/>
                </a:lnTo>
                <a:lnTo>
                  <a:pt x="36" y="276"/>
                </a:lnTo>
                <a:lnTo>
                  <a:pt x="36" y="276"/>
                </a:lnTo>
                <a:lnTo>
                  <a:pt x="36" y="276"/>
                </a:lnTo>
                <a:lnTo>
                  <a:pt x="36" y="276"/>
                </a:lnTo>
                <a:lnTo>
                  <a:pt x="36" y="270"/>
                </a:lnTo>
                <a:lnTo>
                  <a:pt x="36" y="270"/>
                </a:lnTo>
                <a:lnTo>
                  <a:pt x="42" y="270"/>
                </a:lnTo>
                <a:lnTo>
                  <a:pt x="42" y="264"/>
                </a:lnTo>
                <a:lnTo>
                  <a:pt x="42" y="264"/>
                </a:lnTo>
                <a:lnTo>
                  <a:pt x="48" y="264"/>
                </a:lnTo>
                <a:lnTo>
                  <a:pt x="48" y="258"/>
                </a:lnTo>
                <a:lnTo>
                  <a:pt x="48" y="258"/>
                </a:lnTo>
                <a:lnTo>
                  <a:pt x="48" y="258"/>
                </a:lnTo>
                <a:lnTo>
                  <a:pt x="48" y="258"/>
                </a:lnTo>
                <a:lnTo>
                  <a:pt x="54" y="258"/>
                </a:lnTo>
                <a:lnTo>
                  <a:pt x="54" y="258"/>
                </a:lnTo>
                <a:lnTo>
                  <a:pt x="60" y="252"/>
                </a:lnTo>
                <a:lnTo>
                  <a:pt x="60" y="252"/>
                </a:lnTo>
                <a:lnTo>
                  <a:pt x="60" y="246"/>
                </a:lnTo>
                <a:lnTo>
                  <a:pt x="60" y="246"/>
                </a:lnTo>
                <a:lnTo>
                  <a:pt x="60" y="246"/>
                </a:lnTo>
                <a:lnTo>
                  <a:pt x="60" y="246"/>
                </a:lnTo>
                <a:lnTo>
                  <a:pt x="54" y="246"/>
                </a:lnTo>
                <a:lnTo>
                  <a:pt x="54" y="240"/>
                </a:lnTo>
                <a:lnTo>
                  <a:pt x="54" y="240"/>
                </a:lnTo>
                <a:lnTo>
                  <a:pt x="54" y="240"/>
                </a:lnTo>
                <a:lnTo>
                  <a:pt x="48" y="240"/>
                </a:lnTo>
                <a:lnTo>
                  <a:pt x="42" y="240"/>
                </a:lnTo>
                <a:lnTo>
                  <a:pt x="36" y="240"/>
                </a:lnTo>
                <a:lnTo>
                  <a:pt x="36" y="240"/>
                </a:lnTo>
                <a:lnTo>
                  <a:pt x="36" y="240"/>
                </a:lnTo>
                <a:lnTo>
                  <a:pt x="30" y="246"/>
                </a:lnTo>
                <a:lnTo>
                  <a:pt x="30" y="246"/>
                </a:lnTo>
                <a:lnTo>
                  <a:pt x="24" y="246"/>
                </a:lnTo>
                <a:lnTo>
                  <a:pt x="24" y="246"/>
                </a:lnTo>
                <a:lnTo>
                  <a:pt x="24" y="246"/>
                </a:lnTo>
                <a:lnTo>
                  <a:pt x="18" y="240"/>
                </a:lnTo>
                <a:lnTo>
                  <a:pt x="18" y="240"/>
                </a:lnTo>
                <a:lnTo>
                  <a:pt x="18" y="234"/>
                </a:lnTo>
                <a:lnTo>
                  <a:pt x="18" y="228"/>
                </a:lnTo>
                <a:lnTo>
                  <a:pt x="12" y="222"/>
                </a:lnTo>
                <a:lnTo>
                  <a:pt x="12" y="222"/>
                </a:lnTo>
                <a:lnTo>
                  <a:pt x="12" y="216"/>
                </a:lnTo>
                <a:lnTo>
                  <a:pt x="12" y="210"/>
                </a:lnTo>
                <a:lnTo>
                  <a:pt x="12" y="210"/>
                </a:lnTo>
                <a:lnTo>
                  <a:pt x="12" y="210"/>
                </a:lnTo>
                <a:lnTo>
                  <a:pt x="12" y="210"/>
                </a:lnTo>
                <a:lnTo>
                  <a:pt x="18" y="210"/>
                </a:lnTo>
                <a:lnTo>
                  <a:pt x="18" y="210"/>
                </a:lnTo>
                <a:lnTo>
                  <a:pt x="18" y="210"/>
                </a:lnTo>
                <a:lnTo>
                  <a:pt x="24" y="204"/>
                </a:lnTo>
                <a:lnTo>
                  <a:pt x="24" y="198"/>
                </a:lnTo>
                <a:lnTo>
                  <a:pt x="18" y="198"/>
                </a:lnTo>
                <a:lnTo>
                  <a:pt x="18" y="198"/>
                </a:lnTo>
                <a:lnTo>
                  <a:pt x="18" y="192"/>
                </a:lnTo>
                <a:lnTo>
                  <a:pt x="12" y="192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0"/>
                </a:lnTo>
                <a:lnTo>
                  <a:pt x="12" y="180"/>
                </a:lnTo>
                <a:lnTo>
                  <a:pt x="12" y="180"/>
                </a:lnTo>
                <a:lnTo>
                  <a:pt x="12" y="174"/>
                </a:lnTo>
                <a:lnTo>
                  <a:pt x="12" y="174"/>
                </a:lnTo>
                <a:lnTo>
                  <a:pt x="12" y="174"/>
                </a:lnTo>
                <a:lnTo>
                  <a:pt x="6" y="174"/>
                </a:lnTo>
                <a:lnTo>
                  <a:pt x="6" y="174"/>
                </a:lnTo>
                <a:lnTo>
                  <a:pt x="6" y="174"/>
                </a:lnTo>
                <a:lnTo>
                  <a:pt x="6" y="168"/>
                </a:lnTo>
                <a:lnTo>
                  <a:pt x="6" y="168"/>
                </a:lnTo>
                <a:lnTo>
                  <a:pt x="6" y="168"/>
                </a:lnTo>
                <a:lnTo>
                  <a:pt x="6" y="168"/>
                </a:lnTo>
                <a:lnTo>
                  <a:pt x="6" y="168"/>
                </a:lnTo>
                <a:lnTo>
                  <a:pt x="6" y="168"/>
                </a:lnTo>
                <a:lnTo>
                  <a:pt x="6" y="168"/>
                </a:lnTo>
                <a:lnTo>
                  <a:pt x="0" y="168"/>
                </a:lnTo>
                <a:lnTo>
                  <a:pt x="0" y="168"/>
                </a:lnTo>
                <a:lnTo>
                  <a:pt x="0" y="168"/>
                </a:lnTo>
                <a:lnTo>
                  <a:pt x="0" y="168"/>
                </a:lnTo>
                <a:lnTo>
                  <a:pt x="0" y="162"/>
                </a:lnTo>
                <a:lnTo>
                  <a:pt x="0" y="162"/>
                </a:lnTo>
                <a:lnTo>
                  <a:pt x="0" y="162"/>
                </a:lnTo>
                <a:lnTo>
                  <a:pt x="0" y="162"/>
                </a:lnTo>
                <a:lnTo>
                  <a:pt x="0" y="162"/>
                </a:lnTo>
                <a:lnTo>
                  <a:pt x="0" y="162"/>
                </a:lnTo>
                <a:lnTo>
                  <a:pt x="0" y="162"/>
                </a:lnTo>
                <a:lnTo>
                  <a:pt x="0" y="156"/>
                </a:lnTo>
                <a:lnTo>
                  <a:pt x="0" y="156"/>
                </a:lnTo>
                <a:lnTo>
                  <a:pt x="0" y="156"/>
                </a:lnTo>
                <a:lnTo>
                  <a:pt x="0" y="156"/>
                </a:lnTo>
                <a:lnTo>
                  <a:pt x="0" y="156"/>
                </a:lnTo>
                <a:lnTo>
                  <a:pt x="0" y="156"/>
                </a:lnTo>
                <a:lnTo>
                  <a:pt x="0" y="156"/>
                </a:lnTo>
                <a:lnTo>
                  <a:pt x="0" y="156"/>
                </a:lnTo>
                <a:lnTo>
                  <a:pt x="0" y="150"/>
                </a:lnTo>
                <a:lnTo>
                  <a:pt x="0" y="150"/>
                </a:lnTo>
                <a:lnTo>
                  <a:pt x="0" y="150"/>
                </a:lnTo>
                <a:lnTo>
                  <a:pt x="0" y="150"/>
                </a:lnTo>
                <a:lnTo>
                  <a:pt x="0" y="150"/>
                </a:lnTo>
                <a:lnTo>
                  <a:pt x="0" y="150"/>
                </a:lnTo>
                <a:lnTo>
                  <a:pt x="0" y="150"/>
                </a:lnTo>
                <a:lnTo>
                  <a:pt x="0" y="150"/>
                </a:lnTo>
                <a:lnTo>
                  <a:pt x="0" y="150"/>
                </a:lnTo>
                <a:lnTo>
                  <a:pt x="0" y="150"/>
                </a:lnTo>
                <a:lnTo>
                  <a:pt x="0" y="144"/>
                </a:lnTo>
                <a:lnTo>
                  <a:pt x="0" y="144"/>
                </a:lnTo>
                <a:lnTo>
                  <a:pt x="0" y="144"/>
                </a:lnTo>
                <a:lnTo>
                  <a:pt x="0" y="144"/>
                </a:lnTo>
                <a:lnTo>
                  <a:pt x="0" y="144"/>
                </a:lnTo>
                <a:lnTo>
                  <a:pt x="0" y="144"/>
                </a:lnTo>
                <a:lnTo>
                  <a:pt x="0" y="144"/>
                </a:lnTo>
                <a:lnTo>
                  <a:pt x="0" y="138"/>
                </a:lnTo>
                <a:lnTo>
                  <a:pt x="0" y="138"/>
                </a:lnTo>
                <a:lnTo>
                  <a:pt x="0" y="138"/>
                </a:lnTo>
                <a:lnTo>
                  <a:pt x="0" y="138"/>
                </a:lnTo>
                <a:lnTo>
                  <a:pt x="0" y="138"/>
                </a:lnTo>
                <a:lnTo>
                  <a:pt x="0" y="138"/>
                </a:lnTo>
                <a:lnTo>
                  <a:pt x="0" y="138"/>
                </a:lnTo>
                <a:close/>
              </a:path>
            </a:pathLst>
          </a:custGeom>
          <a:solidFill>
            <a:srgbClr val="263143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807" name="Freeform 540"/>
          <p:cNvSpPr>
            <a:spLocks/>
          </p:cNvSpPr>
          <p:nvPr/>
        </p:nvSpPr>
        <p:spPr bwMode="auto">
          <a:xfrm>
            <a:off x="6337930" y="3261327"/>
            <a:ext cx="218418" cy="160602"/>
          </a:xfrm>
          <a:custGeom>
            <a:avLst/>
            <a:gdLst>
              <a:gd name="T0" fmla="*/ 12 w 204"/>
              <a:gd name="T1" fmla="*/ 102 h 150"/>
              <a:gd name="T2" fmla="*/ 18 w 204"/>
              <a:gd name="T3" fmla="*/ 102 h 150"/>
              <a:gd name="T4" fmla="*/ 18 w 204"/>
              <a:gd name="T5" fmla="*/ 90 h 150"/>
              <a:gd name="T6" fmla="*/ 30 w 204"/>
              <a:gd name="T7" fmla="*/ 84 h 150"/>
              <a:gd name="T8" fmla="*/ 48 w 204"/>
              <a:gd name="T9" fmla="*/ 78 h 150"/>
              <a:gd name="T10" fmla="*/ 54 w 204"/>
              <a:gd name="T11" fmla="*/ 60 h 150"/>
              <a:gd name="T12" fmla="*/ 72 w 204"/>
              <a:gd name="T13" fmla="*/ 54 h 150"/>
              <a:gd name="T14" fmla="*/ 90 w 204"/>
              <a:gd name="T15" fmla="*/ 48 h 150"/>
              <a:gd name="T16" fmla="*/ 102 w 204"/>
              <a:gd name="T17" fmla="*/ 42 h 150"/>
              <a:gd name="T18" fmla="*/ 120 w 204"/>
              <a:gd name="T19" fmla="*/ 24 h 150"/>
              <a:gd name="T20" fmla="*/ 120 w 204"/>
              <a:gd name="T21" fmla="*/ 12 h 150"/>
              <a:gd name="T22" fmla="*/ 126 w 204"/>
              <a:gd name="T23" fmla="*/ 0 h 150"/>
              <a:gd name="T24" fmla="*/ 138 w 204"/>
              <a:gd name="T25" fmla="*/ 12 h 150"/>
              <a:gd name="T26" fmla="*/ 138 w 204"/>
              <a:gd name="T27" fmla="*/ 12 h 150"/>
              <a:gd name="T28" fmla="*/ 144 w 204"/>
              <a:gd name="T29" fmla="*/ 12 h 150"/>
              <a:gd name="T30" fmla="*/ 144 w 204"/>
              <a:gd name="T31" fmla="*/ 24 h 150"/>
              <a:gd name="T32" fmla="*/ 144 w 204"/>
              <a:gd name="T33" fmla="*/ 30 h 150"/>
              <a:gd name="T34" fmla="*/ 150 w 204"/>
              <a:gd name="T35" fmla="*/ 36 h 150"/>
              <a:gd name="T36" fmla="*/ 150 w 204"/>
              <a:gd name="T37" fmla="*/ 42 h 150"/>
              <a:gd name="T38" fmla="*/ 156 w 204"/>
              <a:gd name="T39" fmla="*/ 48 h 150"/>
              <a:gd name="T40" fmla="*/ 162 w 204"/>
              <a:gd name="T41" fmla="*/ 54 h 150"/>
              <a:gd name="T42" fmla="*/ 168 w 204"/>
              <a:gd name="T43" fmla="*/ 54 h 150"/>
              <a:gd name="T44" fmla="*/ 168 w 204"/>
              <a:gd name="T45" fmla="*/ 60 h 150"/>
              <a:gd name="T46" fmla="*/ 180 w 204"/>
              <a:gd name="T47" fmla="*/ 60 h 150"/>
              <a:gd name="T48" fmla="*/ 186 w 204"/>
              <a:gd name="T49" fmla="*/ 66 h 150"/>
              <a:gd name="T50" fmla="*/ 192 w 204"/>
              <a:gd name="T51" fmla="*/ 72 h 150"/>
              <a:gd name="T52" fmla="*/ 192 w 204"/>
              <a:gd name="T53" fmla="*/ 78 h 150"/>
              <a:gd name="T54" fmla="*/ 198 w 204"/>
              <a:gd name="T55" fmla="*/ 84 h 150"/>
              <a:gd name="T56" fmla="*/ 198 w 204"/>
              <a:gd name="T57" fmla="*/ 90 h 150"/>
              <a:gd name="T58" fmla="*/ 204 w 204"/>
              <a:gd name="T59" fmla="*/ 102 h 150"/>
              <a:gd name="T60" fmla="*/ 168 w 204"/>
              <a:gd name="T61" fmla="*/ 102 h 150"/>
              <a:gd name="T62" fmla="*/ 162 w 204"/>
              <a:gd name="T63" fmla="*/ 114 h 150"/>
              <a:gd name="T64" fmla="*/ 168 w 204"/>
              <a:gd name="T65" fmla="*/ 120 h 150"/>
              <a:gd name="T66" fmla="*/ 168 w 204"/>
              <a:gd name="T67" fmla="*/ 126 h 150"/>
              <a:gd name="T68" fmla="*/ 162 w 204"/>
              <a:gd name="T69" fmla="*/ 132 h 150"/>
              <a:gd name="T70" fmla="*/ 156 w 204"/>
              <a:gd name="T71" fmla="*/ 138 h 150"/>
              <a:gd name="T72" fmla="*/ 156 w 204"/>
              <a:gd name="T73" fmla="*/ 144 h 150"/>
              <a:gd name="T74" fmla="*/ 150 w 204"/>
              <a:gd name="T75" fmla="*/ 150 h 150"/>
              <a:gd name="T76" fmla="*/ 144 w 204"/>
              <a:gd name="T77" fmla="*/ 144 h 150"/>
              <a:gd name="T78" fmla="*/ 132 w 204"/>
              <a:gd name="T79" fmla="*/ 144 h 150"/>
              <a:gd name="T80" fmla="*/ 126 w 204"/>
              <a:gd name="T81" fmla="*/ 150 h 150"/>
              <a:gd name="T82" fmla="*/ 114 w 204"/>
              <a:gd name="T83" fmla="*/ 150 h 150"/>
              <a:gd name="T84" fmla="*/ 102 w 204"/>
              <a:gd name="T85" fmla="*/ 150 h 150"/>
              <a:gd name="T86" fmla="*/ 96 w 204"/>
              <a:gd name="T87" fmla="*/ 150 h 150"/>
              <a:gd name="T88" fmla="*/ 84 w 204"/>
              <a:gd name="T89" fmla="*/ 144 h 150"/>
              <a:gd name="T90" fmla="*/ 84 w 204"/>
              <a:gd name="T91" fmla="*/ 138 h 150"/>
              <a:gd name="T92" fmla="*/ 72 w 204"/>
              <a:gd name="T93" fmla="*/ 126 h 150"/>
              <a:gd name="T94" fmla="*/ 60 w 204"/>
              <a:gd name="T95" fmla="*/ 132 h 150"/>
              <a:gd name="T96" fmla="*/ 48 w 204"/>
              <a:gd name="T97" fmla="*/ 144 h 150"/>
              <a:gd name="T98" fmla="*/ 42 w 204"/>
              <a:gd name="T99" fmla="*/ 138 h 150"/>
              <a:gd name="T100" fmla="*/ 30 w 204"/>
              <a:gd name="T101" fmla="*/ 138 h 150"/>
              <a:gd name="T102" fmla="*/ 18 w 204"/>
              <a:gd name="T103" fmla="*/ 138 h 150"/>
              <a:gd name="T104" fmla="*/ 12 w 204"/>
              <a:gd name="T105" fmla="*/ 138 h 150"/>
              <a:gd name="T106" fmla="*/ 6 w 204"/>
              <a:gd name="T107" fmla="*/ 132 h 150"/>
              <a:gd name="T108" fmla="*/ 6 w 204"/>
              <a:gd name="T109" fmla="*/ 126 h 150"/>
              <a:gd name="T110" fmla="*/ 0 w 204"/>
              <a:gd name="T111" fmla="*/ 120 h 150"/>
              <a:gd name="T112" fmla="*/ 0 w 204"/>
              <a:gd name="T113" fmla="*/ 108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04" h="150">
                <a:moveTo>
                  <a:pt x="0" y="108"/>
                </a:moveTo>
                <a:lnTo>
                  <a:pt x="0" y="108"/>
                </a:lnTo>
                <a:lnTo>
                  <a:pt x="0" y="108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8" y="96"/>
                </a:lnTo>
                <a:lnTo>
                  <a:pt x="18" y="96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6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8" y="78"/>
                </a:lnTo>
                <a:lnTo>
                  <a:pt x="48" y="78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54"/>
                </a:lnTo>
                <a:lnTo>
                  <a:pt x="54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6" y="54"/>
                </a:lnTo>
                <a:lnTo>
                  <a:pt x="72" y="54"/>
                </a:lnTo>
                <a:lnTo>
                  <a:pt x="72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84" y="54"/>
                </a:lnTo>
                <a:lnTo>
                  <a:pt x="90" y="54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6" y="48"/>
                </a:lnTo>
                <a:lnTo>
                  <a:pt x="96" y="48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102" y="42"/>
                </a:lnTo>
                <a:lnTo>
                  <a:pt x="102" y="48"/>
                </a:lnTo>
                <a:lnTo>
                  <a:pt x="102" y="48"/>
                </a:lnTo>
                <a:lnTo>
                  <a:pt x="102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36"/>
                </a:lnTo>
                <a:lnTo>
                  <a:pt x="108" y="36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20" y="24"/>
                </a:lnTo>
                <a:lnTo>
                  <a:pt x="120" y="24"/>
                </a:lnTo>
                <a:lnTo>
                  <a:pt x="120" y="18"/>
                </a:lnTo>
                <a:lnTo>
                  <a:pt x="120" y="18"/>
                </a:lnTo>
                <a:lnTo>
                  <a:pt x="120" y="12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12"/>
                </a:lnTo>
                <a:lnTo>
                  <a:pt x="120" y="12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0"/>
                </a:lnTo>
                <a:lnTo>
                  <a:pt x="126" y="0"/>
                </a:lnTo>
                <a:lnTo>
                  <a:pt x="126" y="0"/>
                </a:lnTo>
                <a:lnTo>
                  <a:pt x="126" y="0"/>
                </a:lnTo>
                <a:lnTo>
                  <a:pt x="126" y="0"/>
                </a:lnTo>
                <a:lnTo>
                  <a:pt x="132" y="0"/>
                </a:lnTo>
                <a:lnTo>
                  <a:pt x="132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38" y="12"/>
                </a:lnTo>
                <a:lnTo>
                  <a:pt x="132" y="12"/>
                </a:lnTo>
                <a:lnTo>
                  <a:pt x="132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2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50" y="30"/>
                </a:lnTo>
                <a:lnTo>
                  <a:pt x="150" y="30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48"/>
                </a:lnTo>
                <a:lnTo>
                  <a:pt x="156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48"/>
                </a:lnTo>
                <a:lnTo>
                  <a:pt x="162" y="54"/>
                </a:lnTo>
                <a:lnTo>
                  <a:pt x="162" y="54"/>
                </a:lnTo>
                <a:lnTo>
                  <a:pt x="162" y="54"/>
                </a:lnTo>
                <a:lnTo>
                  <a:pt x="162" y="54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68" y="54"/>
                </a:lnTo>
                <a:lnTo>
                  <a:pt x="168" y="60"/>
                </a:lnTo>
                <a:lnTo>
                  <a:pt x="168" y="60"/>
                </a:lnTo>
                <a:lnTo>
                  <a:pt x="168" y="60"/>
                </a:lnTo>
                <a:lnTo>
                  <a:pt x="174" y="60"/>
                </a:lnTo>
                <a:lnTo>
                  <a:pt x="174" y="60"/>
                </a:lnTo>
                <a:lnTo>
                  <a:pt x="174" y="60"/>
                </a:lnTo>
                <a:lnTo>
                  <a:pt x="174" y="60"/>
                </a:lnTo>
                <a:lnTo>
                  <a:pt x="174" y="60"/>
                </a:lnTo>
                <a:lnTo>
                  <a:pt x="180" y="60"/>
                </a:lnTo>
                <a:lnTo>
                  <a:pt x="180" y="60"/>
                </a:lnTo>
                <a:lnTo>
                  <a:pt x="180" y="60"/>
                </a:lnTo>
                <a:lnTo>
                  <a:pt x="180" y="60"/>
                </a:lnTo>
                <a:lnTo>
                  <a:pt x="180" y="60"/>
                </a:lnTo>
                <a:lnTo>
                  <a:pt x="180" y="60"/>
                </a:lnTo>
                <a:lnTo>
                  <a:pt x="180" y="60"/>
                </a:lnTo>
                <a:lnTo>
                  <a:pt x="180" y="60"/>
                </a:lnTo>
                <a:lnTo>
                  <a:pt x="180" y="60"/>
                </a:lnTo>
                <a:lnTo>
                  <a:pt x="186" y="66"/>
                </a:lnTo>
                <a:lnTo>
                  <a:pt x="186" y="66"/>
                </a:lnTo>
                <a:lnTo>
                  <a:pt x="186" y="60"/>
                </a:lnTo>
                <a:lnTo>
                  <a:pt x="186" y="66"/>
                </a:lnTo>
                <a:lnTo>
                  <a:pt x="186" y="60"/>
                </a:lnTo>
                <a:lnTo>
                  <a:pt x="186" y="66"/>
                </a:lnTo>
                <a:lnTo>
                  <a:pt x="192" y="66"/>
                </a:lnTo>
                <a:lnTo>
                  <a:pt x="192" y="66"/>
                </a:lnTo>
                <a:lnTo>
                  <a:pt x="192" y="72"/>
                </a:lnTo>
                <a:lnTo>
                  <a:pt x="192" y="72"/>
                </a:lnTo>
                <a:lnTo>
                  <a:pt x="192" y="72"/>
                </a:lnTo>
                <a:lnTo>
                  <a:pt x="192" y="72"/>
                </a:lnTo>
                <a:lnTo>
                  <a:pt x="192" y="72"/>
                </a:lnTo>
                <a:lnTo>
                  <a:pt x="192" y="72"/>
                </a:lnTo>
                <a:lnTo>
                  <a:pt x="192" y="72"/>
                </a:lnTo>
                <a:lnTo>
                  <a:pt x="192" y="78"/>
                </a:lnTo>
                <a:lnTo>
                  <a:pt x="192" y="78"/>
                </a:lnTo>
                <a:lnTo>
                  <a:pt x="192" y="78"/>
                </a:lnTo>
                <a:lnTo>
                  <a:pt x="192" y="78"/>
                </a:lnTo>
                <a:lnTo>
                  <a:pt x="192" y="78"/>
                </a:lnTo>
                <a:lnTo>
                  <a:pt x="192" y="78"/>
                </a:lnTo>
                <a:lnTo>
                  <a:pt x="192" y="84"/>
                </a:lnTo>
                <a:lnTo>
                  <a:pt x="192" y="84"/>
                </a:lnTo>
                <a:lnTo>
                  <a:pt x="198" y="84"/>
                </a:lnTo>
                <a:lnTo>
                  <a:pt x="198" y="84"/>
                </a:lnTo>
                <a:lnTo>
                  <a:pt x="198" y="84"/>
                </a:lnTo>
                <a:lnTo>
                  <a:pt x="198" y="84"/>
                </a:lnTo>
                <a:lnTo>
                  <a:pt x="198" y="84"/>
                </a:lnTo>
                <a:lnTo>
                  <a:pt x="198" y="84"/>
                </a:lnTo>
                <a:lnTo>
                  <a:pt x="198" y="84"/>
                </a:lnTo>
                <a:lnTo>
                  <a:pt x="198" y="84"/>
                </a:lnTo>
                <a:lnTo>
                  <a:pt x="198" y="90"/>
                </a:lnTo>
                <a:lnTo>
                  <a:pt x="198" y="90"/>
                </a:lnTo>
                <a:lnTo>
                  <a:pt x="198" y="90"/>
                </a:lnTo>
                <a:lnTo>
                  <a:pt x="198" y="90"/>
                </a:lnTo>
                <a:lnTo>
                  <a:pt x="198" y="90"/>
                </a:lnTo>
                <a:lnTo>
                  <a:pt x="198" y="90"/>
                </a:lnTo>
                <a:lnTo>
                  <a:pt x="198" y="90"/>
                </a:lnTo>
                <a:lnTo>
                  <a:pt x="198" y="96"/>
                </a:lnTo>
                <a:lnTo>
                  <a:pt x="198" y="96"/>
                </a:lnTo>
                <a:lnTo>
                  <a:pt x="198" y="96"/>
                </a:lnTo>
                <a:lnTo>
                  <a:pt x="204" y="96"/>
                </a:lnTo>
                <a:lnTo>
                  <a:pt x="204" y="102"/>
                </a:lnTo>
                <a:lnTo>
                  <a:pt x="204" y="102"/>
                </a:lnTo>
                <a:lnTo>
                  <a:pt x="204" y="102"/>
                </a:lnTo>
                <a:lnTo>
                  <a:pt x="204" y="102"/>
                </a:lnTo>
                <a:lnTo>
                  <a:pt x="204" y="102"/>
                </a:lnTo>
                <a:lnTo>
                  <a:pt x="204" y="102"/>
                </a:lnTo>
                <a:lnTo>
                  <a:pt x="204" y="108"/>
                </a:lnTo>
                <a:lnTo>
                  <a:pt x="204" y="108"/>
                </a:lnTo>
                <a:lnTo>
                  <a:pt x="204" y="108"/>
                </a:lnTo>
                <a:lnTo>
                  <a:pt x="180" y="102"/>
                </a:lnTo>
                <a:lnTo>
                  <a:pt x="168" y="102"/>
                </a:lnTo>
                <a:lnTo>
                  <a:pt x="168" y="102"/>
                </a:lnTo>
                <a:lnTo>
                  <a:pt x="168" y="102"/>
                </a:lnTo>
                <a:lnTo>
                  <a:pt x="168" y="102"/>
                </a:lnTo>
                <a:lnTo>
                  <a:pt x="168" y="102"/>
                </a:lnTo>
                <a:lnTo>
                  <a:pt x="168" y="108"/>
                </a:lnTo>
                <a:lnTo>
                  <a:pt x="168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14"/>
                </a:lnTo>
                <a:lnTo>
                  <a:pt x="162" y="114"/>
                </a:lnTo>
                <a:lnTo>
                  <a:pt x="162" y="114"/>
                </a:lnTo>
                <a:lnTo>
                  <a:pt x="168" y="114"/>
                </a:lnTo>
                <a:lnTo>
                  <a:pt x="168" y="114"/>
                </a:lnTo>
                <a:lnTo>
                  <a:pt x="162" y="114"/>
                </a:lnTo>
                <a:lnTo>
                  <a:pt x="162" y="114"/>
                </a:lnTo>
                <a:lnTo>
                  <a:pt x="162" y="120"/>
                </a:lnTo>
                <a:lnTo>
                  <a:pt x="168" y="120"/>
                </a:lnTo>
                <a:lnTo>
                  <a:pt x="168" y="120"/>
                </a:lnTo>
                <a:lnTo>
                  <a:pt x="168" y="120"/>
                </a:lnTo>
                <a:lnTo>
                  <a:pt x="168" y="120"/>
                </a:lnTo>
                <a:lnTo>
                  <a:pt x="168" y="126"/>
                </a:lnTo>
                <a:lnTo>
                  <a:pt x="168" y="126"/>
                </a:lnTo>
                <a:lnTo>
                  <a:pt x="168" y="126"/>
                </a:lnTo>
                <a:lnTo>
                  <a:pt x="168" y="126"/>
                </a:lnTo>
                <a:lnTo>
                  <a:pt x="168" y="126"/>
                </a:lnTo>
                <a:lnTo>
                  <a:pt x="168" y="126"/>
                </a:lnTo>
                <a:lnTo>
                  <a:pt x="168" y="126"/>
                </a:lnTo>
                <a:lnTo>
                  <a:pt x="168" y="126"/>
                </a:lnTo>
                <a:lnTo>
                  <a:pt x="168" y="126"/>
                </a:lnTo>
                <a:lnTo>
                  <a:pt x="168" y="126"/>
                </a:lnTo>
                <a:lnTo>
                  <a:pt x="168" y="126"/>
                </a:lnTo>
                <a:lnTo>
                  <a:pt x="168" y="132"/>
                </a:lnTo>
                <a:lnTo>
                  <a:pt x="168" y="126"/>
                </a:lnTo>
                <a:lnTo>
                  <a:pt x="168" y="132"/>
                </a:lnTo>
                <a:lnTo>
                  <a:pt x="162" y="132"/>
                </a:lnTo>
                <a:lnTo>
                  <a:pt x="162" y="132"/>
                </a:lnTo>
                <a:lnTo>
                  <a:pt x="162" y="132"/>
                </a:lnTo>
                <a:lnTo>
                  <a:pt x="162" y="132"/>
                </a:lnTo>
                <a:lnTo>
                  <a:pt x="162" y="132"/>
                </a:lnTo>
                <a:lnTo>
                  <a:pt x="162" y="132"/>
                </a:lnTo>
                <a:lnTo>
                  <a:pt x="162" y="138"/>
                </a:lnTo>
                <a:lnTo>
                  <a:pt x="162" y="138"/>
                </a:lnTo>
                <a:lnTo>
                  <a:pt x="162" y="138"/>
                </a:lnTo>
                <a:lnTo>
                  <a:pt x="156" y="138"/>
                </a:lnTo>
                <a:lnTo>
                  <a:pt x="156" y="138"/>
                </a:lnTo>
                <a:lnTo>
                  <a:pt x="156" y="138"/>
                </a:lnTo>
                <a:lnTo>
                  <a:pt x="156" y="138"/>
                </a:lnTo>
                <a:lnTo>
                  <a:pt x="156" y="138"/>
                </a:lnTo>
                <a:lnTo>
                  <a:pt x="156" y="138"/>
                </a:lnTo>
                <a:lnTo>
                  <a:pt x="150" y="138"/>
                </a:lnTo>
                <a:lnTo>
                  <a:pt x="156" y="138"/>
                </a:lnTo>
                <a:lnTo>
                  <a:pt x="150" y="138"/>
                </a:lnTo>
                <a:lnTo>
                  <a:pt x="156" y="144"/>
                </a:lnTo>
                <a:lnTo>
                  <a:pt x="150" y="144"/>
                </a:lnTo>
                <a:lnTo>
                  <a:pt x="156" y="144"/>
                </a:lnTo>
                <a:lnTo>
                  <a:pt x="150" y="144"/>
                </a:lnTo>
                <a:lnTo>
                  <a:pt x="150" y="144"/>
                </a:lnTo>
                <a:lnTo>
                  <a:pt x="150" y="144"/>
                </a:lnTo>
                <a:lnTo>
                  <a:pt x="150" y="144"/>
                </a:lnTo>
                <a:lnTo>
                  <a:pt x="150" y="144"/>
                </a:lnTo>
                <a:lnTo>
                  <a:pt x="150" y="150"/>
                </a:lnTo>
                <a:lnTo>
                  <a:pt x="150" y="150"/>
                </a:lnTo>
                <a:lnTo>
                  <a:pt x="150" y="150"/>
                </a:lnTo>
                <a:lnTo>
                  <a:pt x="150" y="150"/>
                </a:lnTo>
                <a:lnTo>
                  <a:pt x="150" y="150"/>
                </a:lnTo>
                <a:lnTo>
                  <a:pt x="144" y="150"/>
                </a:lnTo>
                <a:lnTo>
                  <a:pt x="150" y="150"/>
                </a:lnTo>
                <a:lnTo>
                  <a:pt x="144" y="150"/>
                </a:lnTo>
                <a:lnTo>
                  <a:pt x="144" y="150"/>
                </a:lnTo>
                <a:lnTo>
                  <a:pt x="144" y="150"/>
                </a:lnTo>
                <a:lnTo>
                  <a:pt x="144" y="150"/>
                </a:lnTo>
                <a:lnTo>
                  <a:pt x="144" y="150"/>
                </a:lnTo>
                <a:lnTo>
                  <a:pt x="144" y="144"/>
                </a:lnTo>
                <a:lnTo>
                  <a:pt x="138" y="144"/>
                </a:lnTo>
                <a:lnTo>
                  <a:pt x="138" y="144"/>
                </a:lnTo>
                <a:lnTo>
                  <a:pt x="138" y="144"/>
                </a:lnTo>
                <a:lnTo>
                  <a:pt x="138" y="144"/>
                </a:lnTo>
                <a:lnTo>
                  <a:pt x="138" y="144"/>
                </a:lnTo>
                <a:lnTo>
                  <a:pt x="132" y="144"/>
                </a:lnTo>
                <a:lnTo>
                  <a:pt x="132" y="144"/>
                </a:lnTo>
                <a:lnTo>
                  <a:pt x="132" y="144"/>
                </a:lnTo>
                <a:lnTo>
                  <a:pt x="132" y="144"/>
                </a:lnTo>
                <a:lnTo>
                  <a:pt x="132" y="150"/>
                </a:lnTo>
                <a:lnTo>
                  <a:pt x="132" y="150"/>
                </a:lnTo>
                <a:lnTo>
                  <a:pt x="132" y="150"/>
                </a:lnTo>
                <a:lnTo>
                  <a:pt x="132" y="150"/>
                </a:lnTo>
                <a:lnTo>
                  <a:pt x="132" y="150"/>
                </a:lnTo>
                <a:lnTo>
                  <a:pt x="132" y="150"/>
                </a:lnTo>
                <a:lnTo>
                  <a:pt x="132" y="150"/>
                </a:lnTo>
                <a:lnTo>
                  <a:pt x="126" y="150"/>
                </a:lnTo>
                <a:lnTo>
                  <a:pt x="126" y="150"/>
                </a:lnTo>
                <a:lnTo>
                  <a:pt x="126" y="150"/>
                </a:lnTo>
                <a:lnTo>
                  <a:pt x="126" y="150"/>
                </a:lnTo>
                <a:lnTo>
                  <a:pt x="120" y="150"/>
                </a:lnTo>
                <a:lnTo>
                  <a:pt x="120" y="144"/>
                </a:lnTo>
                <a:lnTo>
                  <a:pt x="120" y="144"/>
                </a:lnTo>
                <a:lnTo>
                  <a:pt x="120" y="144"/>
                </a:lnTo>
                <a:lnTo>
                  <a:pt x="120" y="144"/>
                </a:lnTo>
                <a:lnTo>
                  <a:pt x="114" y="150"/>
                </a:lnTo>
                <a:lnTo>
                  <a:pt x="114" y="150"/>
                </a:lnTo>
                <a:lnTo>
                  <a:pt x="114" y="150"/>
                </a:lnTo>
                <a:lnTo>
                  <a:pt x="114" y="150"/>
                </a:lnTo>
                <a:lnTo>
                  <a:pt x="108" y="150"/>
                </a:lnTo>
                <a:lnTo>
                  <a:pt x="108" y="150"/>
                </a:lnTo>
                <a:lnTo>
                  <a:pt x="102" y="150"/>
                </a:lnTo>
                <a:lnTo>
                  <a:pt x="102" y="150"/>
                </a:lnTo>
                <a:lnTo>
                  <a:pt x="102" y="150"/>
                </a:lnTo>
                <a:lnTo>
                  <a:pt x="102" y="150"/>
                </a:lnTo>
                <a:lnTo>
                  <a:pt x="102" y="150"/>
                </a:lnTo>
                <a:lnTo>
                  <a:pt x="102" y="150"/>
                </a:lnTo>
                <a:lnTo>
                  <a:pt x="102" y="150"/>
                </a:lnTo>
                <a:lnTo>
                  <a:pt x="96" y="150"/>
                </a:lnTo>
                <a:lnTo>
                  <a:pt x="96" y="150"/>
                </a:lnTo>
                <a:lnTo>
                  <a:pt x="96" y="150"/>
                </a:lnTo>
                <a:lnTo>
                  <a:pt x="96" y="150"/>
                </a:lnTo>
                <a:lnTo>
                  <a:pt x="96" y="150"/>
                </a:lnTo>
                <a:lnTo>
                  <a:pt x="96" y="150"/>
                </a:lnTo>
                <a:lnTo>
                  <a:pt x="96" y="150"/>
                </a:lnTo>
                <a:lnTo>
                  <a:pt x="90" y="150"/>
                </a:lnTo>
                <a:lnTo>
                  <a:pt x="90" y="150"/>
                </a:lnTo>
                <a:lnTo>
                  <a:pt x="90" y="150"/>
                </a:lnTo>
                <a:lnTo>
                  <a:pt x="90" y="144"/>
                </a:lnTo>
                <a:lnTo>
                  <a:pt x="90" y="144"/>
                </a:lnTo>
                <a:lnTo>
                  <a:pt x="90" y="144"/>
                </a:lnTo>
                <a:lnTo>
                  <a:pt x="90" y="144"/>
                </a:lnTo>
                <a:lnTo>
                  <a:pt x="90" y="144"/>
                </a:lnTo>
                <a:lnTo>
                  <a:pt x="84" y="144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2"/>
                </a:lnTo>
                <a:lnTo>
                  <a:pt x="84" y="132"/>
                </a:lnTo>
                <a:lnTo>
                  <a:pt x="84" y="132"/>
                </a:lnTo>
                <a:lnTo>
                  <a:pt x="78" y="132"/>
                </a:lnTo>
                <a:lnTo>
                  <a:pt x="78" y="126"/>
                </a:lnTo>
                <a:lnTo>
                  <a:pt x="78" y="126"/>
                </a:lnTo>
                <a:lnTo>
                  <a:pt x="72" y="132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72" y="126"/>
                </a:lnTo>
                <a:lnTo>
                  <a:pt x="66" y="126"/>
                </a:lnTo>
                <a:lnTo>
                  <a:pt x="66" y="132"/>
                </a:lnTo>
                <a:lnTo>
                  <a:pt x="66" y="126"/>
                </a:lnTo>
                <a:lnTo>
                  <a:pt x="66" y="126"/>
                </a:lnTo>
                <a:lnTo>
                  <a:pt x="66" y="126"/>
                </a:lnTo>
                <a:lnTo>
                  <a:pt x="66" y="126"/>
                </a:lnTo>
                <a:lnTo>
                  <a:pt x="60" y="132"/>
                </a:lnTo>
                <a:lnTo>
                  <a:pt x="60" y="132"/>
                </a:lnTo>
                <a:lnTo>
                  <a:pt x="60" y="138"/>
                </a:lnTo>
                <a:lnTo>
                  <a:pt x="54" y="138"/>
                </a:lnTo>
                <a:lnTo>
                  <a:pt x="54" y="144"/>
                </a:lnTo>
                <a:lnTo>
                  <a:pt x="54" y="144"/>
                </a:lnTo>
                <a:lnTo>
                  <a:pt x="54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44"/>
                </a:lnTo>
                <a:lnTo>
                  <a:pt x="48" y="138"/>
                </a:lnTo>
                <a:lnTo>
                  <a:pt x="48" y="138"/>
                </a:lnTo>
                <a:lnTo>
                  <a:pt x="48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42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6" y="138"/>
                </a:lnTo>
                <a:lnTo>
                  <a:pt x="30" y="138"/>
                </a:lnTo>
                <a:lnTo>
                  <a:pt x="30" y="138"/>
                </a:lnTo>
                <a:lnTo>
                  <a:pt x="30" y="138"/>
                </a:lnTo>
                <a:lnTo>
                  <a:pt x="30" y="138"/>
                </a:lnTo>
                <a:lnTo>
                  <a:pt x="30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24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8" y="138"/>
                </a:lnTo>
                <a:lnTo>
                  <a:pt x="12" y="138"/>
                </a:lnTo>
                <a:lnTo>
                  <a:pt x="12" y="138"/>
                </a:lnTo>
                <a:lnTo>
                  <a:pt x="18" y="132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2"/>
                </a:lnTo>
                <a:lnTo>
                  <a:pt x="12" y="132"/>
                </a:lnTo>
                <a:lnTo>
                  <a:pt x="6" y="132"/>
                </a:lnTo>
                <a:lnTo>
                  <a:pt x="6" y="132"/>
                </a:lnTo>
                <a:lnTo>
                  <a:pt x="6" y="132"/>
                </a:lnTo>
                <a:lnTo>
                  <a:pt x="6" y="132"/>
                </a:lnTo>
                <a:lnTo>
                  <a:pt x="6" y="132"/>
                </a:lnTo>
                <a:lnTo>
                  <a:pt x="6" y="132"/>
                </a:lnTo>
                <a:lnTo>
                  <a:pt x="6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6" y="126"/>
                </a:lnTo>
                <a:lnTo>
                  <a:pt x="12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6" y="120"/>
                </a:lnTo>
                <a:lnTo>
                  <a:pt x="0" y="120"/>
                </a:lnTo>
                <a:lnTo>
                  <a:pt x="0" y="120"/>
                </a:lnTo>
                <a:lnTo>
                  <a:pt x="0" y="120"/>
                </a:lnTo>
                <a:lnTo>
                  <a:pt x="0" y="120"/>
                </a:lnTo>
                <a:lnTo>
                  <a:pt x="0" y="120"/>
                </a:lnTo>
                <a:lnTo>
                  <a:pt x="0" y="114"/>
                </a:lnTo>
                <a:lnTo>
                  <a:pt x="0" y="114"/>
                </a:lnTo>
                <a:lnTo>
                  <a:pt x="0" y="114"/>
                </a:lnTo>
                <a:lnTo>
                  <a:pt x="0" y="114"/>
                </a:lnTo>
                <a:lnTo>
                  <a:pt x="0" y="114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lnTo>
                  <a:pt x="0" y="10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808" name="Freeform 541"/>
          <p:cNvSpPr>
            <a:spLocks/>
          </p:cNvSpPr>
          <p:nvPr/>
        </p:nvSpPr>
        <p:spPr bwMode="auto">
          <a:xfrm>
            <a:off x="6472835" y="3068604"/>
            <a:ext cx="269810" cy="282660"/>
          </a:xfrm>
          <a:custGeom>
            <a:avLst/>
            <a:gdLst>
              <a:gd name="T0" fmla="*/ 6 w 252"/>
              <a:gd name="T1" fmla="*/ 156 h 264"/>
              <a:gd name="T2" fmla="*/ 18 w 252"/>
              <a:gd name="T3" fmla="*/ 132 h 264"/>
              <a:gd name="T4" fmla="*/ 42 w 252"/>
              <a:gd name="T5" fmla="*/ 120 h 264"/>
              <a:gd name="T6" fmla="*/ 72 w 252"/>
              <a:gd name="T7" fmla="*/ 114 h 264"/>
              <a:gd name="T8" fmla="*/ 84 w 252"/>
              <a:gd name="T9" fmla="*/ 90 h 264"/>
              <a:gd name="T10" fmla="*/ 90 w 252"/>
              <a:gd name="T11" fmla="*/ 72 h 264"/>
              <a:gd name="T12" fmla="*/ 96 w 252"/>
              <a:gd name="T13" fmla="*/ 36 h 264"/>
              <a:gd name="T14" fmla="*/ 102 w 252"/>
              <a:gd name="T15" fmla="*/ 0 h 264"/>
              <a:gd name="T16" fmla="*/ 114 w 252"/>
              <a:gd name="T17" fmla="*/ 6 h 264"/>
              <a:gd name="T18" fmla="*/ 120 w 252"/>
              <a:gd name="T19" fmla="*/ 18 h 264"/>
              <a:gd name="T20" fmla="*/ 126 w 252"/>
              <a:gd name="T21" fmla="*/ 30 h 264"/>
              <a:gd name="T22" fmla="*/ 120 w 252"/>
              <a:gd name="T23" fmla="*/ 36 h 264"/>
              <a:gd name="T24" fmla="*/ 114 w 252"/>
              <a:gd name="T25" fmla="*/ 48 h 264"/>
              <a:gd name="T26" fmla="*/ 114 w 252"/>
              <a:gd name="T27" fmla="*/ 60 h 264"/>
              <a:gd name="T28" fmla="*/ 108 w 252"/>
              <a:gd name="T29" fmla="*/ 66 h 264"/>
              <a:gd name="T30" fmla="*/ 114 w 252"/>
              <a:gd name="T31" fmla="*/ 66 h 264"/>
              <a:gd name="T32" fmla="*/ 114 w 252"/>
              <a:gd name="T33" fmla="*/ 78 h 264"/>
              <a:gd name="T34" fmla="*/ 114 w 252"/>
              <a:gd name="T35" fmla="*/ 84 h 264"/>
              <a:gd name="T36" fmla="*/ 114 w 252"/>
              <a:gd name="T37" fmla="*/ 90 h 264"/>
              <a:gd name="T38" fmla="*/ 120 w 252"/>
              <a:gd name="T39" fmla="*/ 102 h 264"/>
              <a:gd name="T40" fmla="*/ 138 w 252"/>
              <a:gd name="T41" fmla="*/ 114 h 264"/>
              <a:gd name="T42" fmla="*/ 150 w 252"/>
              <a:gd name="T43" fmla="*/ 120 h 264"/>
              <a:gd name="T44" fmla="*/ 186 w 252"/>
              <a:gd name="T45" fmla="*/ 108 h 264"/>
              <a:gd name="T46" fmla="*/ 192 w 252"/>
              <a:gd name="T47" fmla="*/ 120 h 264"/>
              <a:gd name="T48" fmla="*/ 204 w 252"/>
              <a:gd name="T49" fmla="*/ 126 h 264"/>
              <a:gd name="T50" fmla="*/ 210 w 252"/>
              <a:gd name="T51" fmla="*/ 132 h 264"/>
              <a:gd name="T52" fmla="*/ 216 w 252"/>
              <a:gd name="T53" fmla="*/ 132 h 264"/>
              <a:gd name="T54" fmla="*/ 210 w 252"/>
              <a:gd name="T55" fmla="*/ 150 h 264"/>
              <a:gd name="T56" fmla="*/ 204 w 252"/>
              <a:gd name="T57" fmla="*/ 174 h 264"/>
              <a:gd name="T58" fmla="*/ 204 w 252"/>
              <a:gd name="T59" fmla="*/ 192 h 264"/>
              <a:gd name="T60" fmla="*/ 210 w 252"/>
              <a:gd name="T61" fmla="*/ 204 h 264"/>
              <a:gd name="T62" fmla="*/ 222 w 252"/>
              <a:gd name="T63" fmla="*/ 216 h 264"/>
              <a:gd name="T64" fmla="*/ 234 w 252"/>
              <a:gd name="T65" fmla="*/ 216 h 264"/>
              <a:gd name="T66" fmla="*/ 246 w 252"/>
              <a:gd name="T67" fmla="*/ 222 h 264"/>
              <a:gd name="T68" fmla="*/ 246 w 252"/>
              <a:gd name="T69" fmla="*/ 234 h 264"/>
              <a:gd name="T70" fmla="*/ 240 w 252"/>
              <a:gd name="T71" fmla="*/ 246 h 264"/>
              <a:gd name="T72" fmla="*/ 234 w 252"/>
              <a:gd name="T73" fmla="*/ 246 h 264"/>
              <a:gd name="T74" fmla="*/ 222 w 252"/>
              <a:gd name="T75" fmla="*/ 246 h 264"/>
              <a:gd name="T76" fmla="*/ 204 w 252"/>
              <a:gd name="T77" fmla="*/ 258 h 264"/>
              <a:gd name="T78" fmla="*/ 180 w 252"/>
              <a:gd name="T79" fmla="*/ 258 h 264"/>
              <a:gd name="T80" fmla="*/ 162 w 252"/>
              <a:gd name="T81" fmla="*/ 264 h 264"/>
              <a:gd name="T82" fmla="*/ 150 w 252"/>
              <a:gd name="T83" fmla="*/ 252 h 264"/>
              <a:gd name="T84" fmla="*/ 132 w 252"/>
              <a:gd name="T85" fmla="*/ 234 h 264"/>
              <a:gd name="T86" fmla="*/ 120 w 252"/>
              <a:gd name="T87" fmla="*/ 240 h 264"/>
              <a:gd name="T88" fmla="*/ 108 w 252"/>
              <a:gd name="T89" fmla="*/ 252 h 264"/>
              <a:gd name="T90" fmla="*/ 90 w 252"/>
              <a:gd name="T91" fmla="*/ 252 h 264"/>
              <a:gd name="T92" fmla="*/ 84 w 252"/>
              <a:gd name="T93" fmla="*/ 246 h 264"/>
              <a:gd name="T94" fmla="*/ 66 w 252"/>
              <a:gd name="T95" fmla="*/ 240 h 264"/>
              <a:gd name="T96" fmla="*/ 54 w 252"/>
              <a:gd name="T97" fmla="*/ 240 h 264"/>
              <a:gd name="T98" fmla="*/ 48 w 252"/>
              <a:gd name="T99" fmla="*/ 240 h 264"/>
              <a:gd name="T100" fmla="*/ 42 w 252"/>
              <a:gd name="T101" fmla="*/ 234 h 264"/>
              <a:gd name="T102" fmla="*/ 36 w 252"/>
              <a:gd name="T103" fmla="*/ 228 h 264"/>
              <a:gd name="T104" fmla="*/ 30 w 252"/>
              <a:gd name="T105" fmla="*/ 222 h 264"/>
              <a:gd name="T106" fmla="*/ 24 w 252"/>
              <a:gd name="T107" fmla="*/ 216 h 264"/>
              <a:gd name="T108" fmla="*/ 18 w 252"/>
              <a:gd name="T109" fmla="*/ 210 h 264"/>
              <a:gd name="T110" fmla="*/ 18 w 252"/>
              <a:gd name="T111" fmla="*/ 198 h 264"/>
              <a:gd name="T112" fmla="*/ 12 w 252"/>
              <a:gd name="T113" fmla="*/ 192 h 264"/>
              <a:gd name="T114" fmla="*/ 12 w 252"/>
              <a:gd name="T115" fmla="*/ 186 h 2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52" h="264">
                <a:moveTo>
                  <a:pt x="0" y="180"/>
                </a:moveTo>
                <a:lnTo>
                  <a:pt x="0" y="180"/>
                </a:lnTo>
                <a:lnTo>
                  <a:pt x="0" y="174"/>
                </a:lnTo>
                <a:lnTo>
                  <a:pt x="0" y="174"/>
                </a:lnTo>
                <a:lnTo>
                  <a:pt x="0" y="174"/>
                </a:lnTo>
                <a:lnTo>
                  <a:pt x="0" y="174"/>
                </a:lnTo>
                <a:lnTo>
                  <a:pt x="0" y="168"/>
                </a:lnTo>
                <a:lnTo>
                  <a:pt x="6" y="168"/>
                </a:lnTo>
                <a:lnTo>
                  <a:pt x="6" y="162"/>
                </a:lnTo>
                <a:lnTo>
                  <a:pt x="6" y="162"/>
                </a:lnTo>
                <a:lnTo>
                  <a:pt x="6" y="156"/>
                </a:lnTo>
                <a:lnTo>
                  <a:pt x="6" y="156"/>
                </a:lnTo>
                <a:lnTo>
                  <a:pt x="6" y="156"/>
                </a:lnTo>
                <a:lnTo>
                  <a:pt x="6" y="150"/>
                </a:lnTo>
                <a:lnTo>
                  <a:pt x="6" y="150"/>
                </a:lnTo>
                <a:lnTo>
                  <a:pt x="6" y="150"/>
                </a:lnTo>
                <a:lnTo>
                  <a:pt x="6" y="150"/>
                </a:lnTo>
                <a:lnTo>
                  <a:pt x="6" y="144"/>
                </a:lnTo>
                <a:lnTo>
                  <a:pt x="6" y="144"/>
                </a:lnTo>
                <a:lnTo>
                  <a:pt x="6" y="138"/>
                </a:lnTo>
                <a:lnTo>
                  <a:pt x="12" y="138"/>
                </a:lnTo>
                <a:lnTo>
                  <a:pt x="12" y="138"/>
                </a:lnTo>
                <a:lnTo>
                  <a:pt x="18" y="138"/>
                </a:lnTo>
                <a:lnTo>
                  <a:pt x="18" y="132"/>
                </a:lnTo>
                <a:lnTo>
                  <a:pt x="18" y="132"/>
                </a:lnTo>
                <a:lnTo>
                  <a:pt x="24" y="126"/>
                </a:lnTo>
                <a:lnTo>
                  <a:pt x="24" y="126"/>
                </a:lnTo>
                <a:lnTo>
                  <a:pt x="24" y="126"/>
                </a:lnTo>
                <a:lnTo>
                  <a:pt x="30" y="126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42" y="120"/>
                </a:lnTo>
                <a:lnTo>
                  <a:pt x="42" y="120"/>
                </a:lnTo>
                <a:lnTo>
                  <a:pt x="48" y="120"/>
                </a:lnTo>
                <a:lnTo>
                  <a:pt x="48" y="114"/>
                </a:lnTo>
                <a:lnTo>
                  <a:pt x="48" y="114"/>
                </a:lnTo>
                <a:lnTo>
                  <a:pt x="48" y="114"/>
                </a:lnTo>
                <a:lnTo>
                  <a:pt x="54" y="114"/>
                </a:lnTo>
                <a:lnTo>
                  <a:pt x="54" y="120"/>
                </a:lnTo>
                <a:lnTo>
                  <a:pt x="54" y="120"/>
                </a:lnTo>
                <a:lnTo>
                  <a:pt x="60" y="120"/>
                </a:lnTo>
                <a:lnTo>
                  <a:pt x="60" y="120"/>
                </a:lnTo>
                <a:lnTo>
                  <a:pt x="66" y="120"/>
                </a:lnTo>
                <a:lnTo>
                  <a:pt x="72" y="114"/>
                </a:lnTo>
                <a:lnTo>
                  <a:pt x="72" y="114"/>
                </a:lnTo>
                <a:lnTo>
                  <a:pt x="72" y="114"/>
                </a:lnTo>
                <a:lnTo>
                  <a:pt x="78" y="108"/>
                </a:lnTo>
                <a:lnTo>
                  <a:pt x="78" y="108"/>
                </a:lnTo>
                <a:lnTo>
                  <a:pt x="84" y="108"/>
                </a:lnTo>
                <a:lnTo>
                  <a:pt x="84" y="108"/>
                </a:lnTo>
                <a:lnTo>
                  <a:pt x="84" y="102"/>
                </a:lnTo>
                <a:lnTo>
                  <a:pt x="84" y="102"/>
                </a:lnTo>
                <a:lnTo>
                  <a:pt x="84" y="102"/>
                </a:lnTo>
                <a:lnTo>
                  <a:pt x="84" y="102"/>
                </a:lnTo>
                <a:lnTo>
                  <a:pt x="84" y="96"/>
                </a:lnTo>
                <a:lnTo>
                  <a:pt x="84" y="90"/>
                </a:lnTo>
                <a:lnTo>
                  <a:pt x="84" y="90"/>
                </a:lnTo>
                <a:lnTo>
                  <a:pt x="90" y="90"/>
                </a:lnTo>
                <a:lnTo>
                  <a:pt x="90" y="90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90" y="84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8"/>
                </a:lnTo>
                <a:lnTo>
                  <a:pt x="90" y="72"/>
                </a:lnTo>
                <a:lnTo>
                  <a:pt x="90" y="72"/>
                </a:lnTo>
                <a:lnTo>
                  <a:pt x="96" y="66"/>
                </a:lnTo>
                <a:lnTo>
                  <a:pt x="96" y="60"/>
                </a:lnTo>
                <a:lnTo>
                  <a:pt x="96" y="54"/>
                </a:lnTo>
                <a:lnTo>
                  <a:pt x="96" y="54"/>
                </a:lnTo>
                <a:lnTo>
                  <a:pt x="96" y="48"/>
                </a:lnTo>
                <a:lnTo>
                  <a:pt x="96" y="48"/>
                </a:lnTo>
                <a:lnTo>
                  <a:pt x="96" y="48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0"/>
                </a:lnTo>
                <a:lnTo>
                  <a:pt x="96" y="30"/>
                </a:lnTo>
                <a:lnTo>
                  <a:pt x="96" y="24"/>
                </a:lnTo>
                <a:lnTo>
                  <a:pt x="96" y="24"/>
                </a:lnTo>
                <a:lnTo>
                  <a:pt x="96" y="18"/>
                </a:lnTo>
                <a:lnTo>
                  <a:pt x="102" y="12"/>
                </a:lnTo>
                <a:lnTo>
                  <a:pt x="102" y="12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0"/>
                </a:lnTo>
                <a:lnTo>
                  <a:pt x="102" y="0"/>
                </a:lnTo>
                <a:lnTo>
                  <a:pt x="108" y="0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14" y="0"/>
                </a:lnTo>
                <a:lnTo>
                  <a:pt x="114" y="0"/>
                </a:lnTo>
                <a:lnTo>
                  <a:pt x="114" y="0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20" y="6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6" y="18"/>
                </a:lnTo>
                <a:lnTo>
                  <a:pt x="126" y="24"/>
                </a:lnTo>
                <a:lnTo>
                  <a:pt x="120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42"/>
                </a:lnTo>
                <a:lnTo>
                  <a:pt x="114" y="36"/>
                </a:lnTo>
                <a:lnTo>
                  <a:pt x="114" y="36"/>
                </a:lnTo>
                <a:lnTo>
                  <a:pt x="114" y="36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2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48"/>
                </a:lnTo>
                <a:lnTo>
                  <a:pt x="114" y="54"/>
                </a:lnTo>
                <a:lnTo>
                  <a:pt x="108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14" y="60"/>
                </a:lnTo>
                <a:lnTo>
                  <a:pt x="108" y="60"/>
                </a:lnTo>
                <a:lnTo>
                  <a:pt x="114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72"/>
                </a:lnTo>
                <a:lnTo>
                  <a:pt x="114" y="66"/>
                </a:lnTo>
                <a:lnTo>
                  <a:pt x="114" y="66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14" y="72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90"/>
                </a:lnTo>
                <a:lnTo>
                  <a:pt x="114" y="90"/>
                </a:lnTo>
                <a:lnTo>
                  <a:pt x="114" y="90"/>
                </a:lnTo>
                <a:lnTo>
                  <a:pt x="114" y="90"/>
                </a:lnTo>
                <a:lnTo>
                  <a:pt x="114" y="90"/>
                </a:lnTo>
                <a:lnTo>
                  <a:pt x="114" y="90"/>
                </a:lnTo>
                <a:lnTo>
                  <a:pt x="114" y="96"/>
                </a:lnTo>
                <a:lnTo>
                  <a:pt x="114" y="96"/>
                </a:lnTo>
                <a:lnTo>
                  <a:pt x="114" y="96"/>
                </a:lnTo>
                <a:lnTo>
                  <a:pt x="114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102"/>
                </a:lnTo>
                <a:lnTo>
                  <a:pt x="120" y="102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14"/>
                </a:lnTo>
                <a:lnTo>
                  <a:pt x="126" y="114"/>
                </a:lnTo>
                <a:lnTo>
                  <a:pt x="126" y="114"/>
                </a:lnTo>
                <a:lnTo>
                  <a:pt x="126" y="114"/>
                </a:lnTo>
                <a:lnTo>
                  <a:pt x="126" y="108"/>
                </a:lnTo>
                <a:lnTo>
                  <a:pt x="132" y="114"/>
                </a:lnTo>
                <a:lnTo>
                  <a:pt x="138" y="114"/>
                </a:lnTo>
                <a:lnTo>
                  <a:pt x="138" y="114"/>
                </a:lnTo>
                <a:lnTo>
                  <a:pt x="138" y="114"/>
                </a:lnTo>
                <a:lnTo>
                  <a:pt x="144" y="114"/>
                </a:lnTo>
                <a:lnTo>
                  <a:pt x="144" y="114"/>
                </a:lnTo>
                <a:lnTo>
                  <a:pt x="144" y="114"/>
                </a:lnTo>
                <a:lnTo>
                  <a:pt x="144" y="114"/>
                </a:lnTo>
                <a:lnTo>
                  <a:pt x="144" y="120"/>
                </a:lnTo>
                <a:lnTo>
                  <a:pt x="144" y="120"/>
                </a:lnTo>
                <a:lnTo>
                  <a:pt x="150" y="120"/>
                </a:lnTo>
                <a:lnTo>
                  <a:pt x="150" y="120"/>
                </a:lnTo>
                <a:lnTo>
                  <a:pt x="150" y="120"/>
                </a:lnTo>
                <a:lnTo>
                  <a:pt x="150" y="120"/>
                </a:lnTo>
                <a:lnTo>
                  <a:pt x="150" y="120"/>
                </a:lnTo>
                <a:lnTo>
                  <a:pt x="156" y="120"/>
                </a:lnTo>
                <a:lnTo>
                  <a:pt x="156" y="126"/>
                </a:lnTo>
                <a:lnTo>
                  <a:pt x="156" y="126"/>
                </a:lnTo>
                <a:lnTo>
                  <a:pt x="162" y="120"/>
                </a:lnTo>
                <a:lnTo>
                  <a:pt x="162" y="126"/>
                </a:lnTo>
                <a:lnTo>
                  <a:pt x="162" y="120"/>
                </a:lnTo>
                <a:lnTo>
                  <a:pt x="162" y="120"/>
                </a:lnTo>
                <a:lnTo>
                  <a:pt x="162" y="120"/>
                </a:lnTo>
                <a:lnTo>
                  <a:pt x="168" y="120"/>
                </a:lnTo>
                <a:lnTo>
                  <a:pt x="174" y="120"/>
                </a:lnTo>
                <a:lnTo>
                  <a:pt x="180" y="108"/>
                </a:lnTo>
                <a:lnTo>
                  <a:pt x="186" y="108"/>
                </a:lnTo>
                <a:lnTo>
                  <a:pt x="186" y="108"/>
                </a:lnTo>
                <a:lnTo>
                  <a:pt x="186" y="108"/>
                </a:lnTo>
                <a:lnTo>
                  <a:pt x="186" y="108"/>
                </a:lnTo>
                <a:lnTo>
                  <a:pt x="186" y="108"/>
                </a:lnTo>
                <a:lnTo>
                  <a:pt x="186" y="108"/>
                </a:lnTo>
                <a:lnTo>
                  <a:pt x="186" y="114"/>
                </a:lnTo>
                <a:lnTo>
                  <a:pt x="192" y="114"/>
                </a:lnTo>
                <a:lnTo>
                  <a:pt x="192" y="114"/>
                </a:lnTo>
                <a:lnTo>
                  <a:pt x="192" y="114"/>
                </a:lnTo>
                <a:lnTo>
                  <a:pt x="192" y="114"/>
                </a:lnTo>
                <a:lnTo>
                  <a:pt x="192" y="120"/>
                </a:lnTo>
                <a:lnTo>
                  <a:pt x="192" y="120"/>
                </a:lnTo>
                <a:lnTo>
                  <a:pt x="198" y="120"/>
                </a:lnTo>
                <a:lnTo>
                  <a:pt x="198" y="120"/>
                </a:lnTo>
                <a:lnTo>
                  <a:pt x="198" y="120"/>
                </a:lnTo>
                <a:lnTo>
                  <a:pt x="198" y="120"/>
                </a:lnTo>
                <a:lnTo>
                  <a:pt x="198" y="120"/>
                </a:lnTo>
                <a:lnTo>
                  <a:pt x="198" y="126"/>
                </a:lnTo>
                <a:lnTo>
                  <a:pt x="198" y="126"/>
                </a:lnTo>
                <a:lnTo>
                  <a:pt x="198" y="126"/>
                </a:lnTo>
                <a:lnTo>
                  <a:pt x="198" y="126"/>
                </a:lnTo>
                <a:lnTo>
                  <a:pt x="198" y="126"/>
                </a:lnTo>
                <a:lnTo>
                  <a:pt x="204" y="126"/>
                </a:lnTo>
                <a:lnTo>
                  <a:pt x="204" y="126"/>
                </a:lnTo>
                <a:lnTo>
                  <a:pt x="204" y="126"/>
                </a:lnTo>
                <a:lnTo>
                  <a:pt x="204" y="126"/>
                </a:lnTo>
                <a:lnTo>
                  <a:pt x="204" y="126"/>
                </a:lnTo>
                <a:lnTo>
                  <a:pt x="204" y="126"/>
                </a:lnTo>
                <a:lnTo>
                  <a:pt x="204" y="126"/>
                </a:lnTo>
                <a:lnTo>
                  <a:pt x="204" y="126"/>
                </a:lnTo>
                <a:lnTo>
                  <a:pt x="204" y="126"/>
                </a:lnTo>
                <a:lnTo>
                  <a:pt x="204" y="126"/>
                </a:lnTo>
                <a:lnTo>
                  <a:pt x="210" y="126"/>
                </a:lnTo>
                <a:lnTo>
                  <a:pt x="204" y="126"/>
                </a:lnTo>
                <a:lnTo>
                  <a:pt x="210" y="132"/>
                </a:lnTo>
                <a:lnTo>
                  <a:pt x="210" y="132"/>
                </a:lnTo>
                <a:lnTo>
                  <a:pt x="210" y="132"/>
                </a:lnTo>
                <a:lnTo>
                  <a:pt x="210" y="132"/>
                </a:lnTo>
                <a:lnTo>
                  <a:pt x="210" y="132"/>
                </a:lnTo>
                <a:lnTo>
                  <a:pt x="210" y="132"/>
                </a:lnTo>
                <a:lnTo>
                  <a:pt x="210" y="132"/>
                </a:lnTo>
                <a:lnTo>
                  <a:pt x="210" y="132"/>
                </a:lnTo>
                <a:lnTo>
                  <a:pt x="210" y="132"/>
                </a:lnTo>
                <a:lnTo>
                  <a:pt x="210" y="132"/>
                </a:lnTo>
                <a:lnTo>
                  <a:pt x="216" y="132"/>
                </a:lnTo>
                <a:lnTo>
                  <a:pt x="216" y="132"/>
                </a:lnTo>
                <a:lnTo>
                  <a:pt x="216" y="132"/>
                </a:lnTo>
                <a:lnTo>
                  <a:pt x="216" y="132"/>
                </a:lnTo>
                <a:lnTo>
                  <a:pt x="216" y="138"/>
                </a:lnTo>
                <a:lnTo>
                  <a:pt x="216" y="138"/>
                </a:lnTo>
                <a:lnTo>
                  <a:pt x="216" y="138"/>
                </a:lnTo>
                <a:lnTo>
                  <a:pt x="216" y="138"/>
                </a:lnTo>
                <a:lnTo>
                  <a:pt x="216" y="144"/>
                </a:lnTo>
                <a:lnTo>
                  <a:pt x="216" y="144"/>
                </a:lnTo>
                <a:lnTo>
                  <a:pt x="216" y="144"/>
                </a:lnTo>
                <a:lnTo>
                  <a:pt x="216" y="144"/>
                </a:lnTo>
                <a:lnTo>
                  <a:pt x="210" y="150"/>
                </a:lnTo>
                <a:lnTo>
                  <a:pt x="210" y="150"/>
                </a:lnTo>
                <a:lnTo>
                  <a:pt x="210" y="150"/>
                </a:lnTo>
                <a:lnTo>
                  <a:pt x="210" y="150"/>
                </a:lnTo>
                <a:lnTo>
                  <a:pt x="210" y="156"/>
                </a:lnTo>
                <a:lnTo>
                  <a:pt x="210" y="156"/>
                </a:lnTo>
                <a:lnTo>
                  <a:pt x="210" y="156"/>
                </a:lnTo>
                <a:lnTo>
                  <a:pt x="210" y="162"/>
                </a:lnTo>
                <a:lnTo>
                  <a:pt x="204" y="162"/>
                </a:lnTo>
                <a:lnTo>
                  <a:pt x="204" y="162"/>
                </a:lnTo>
                <a:lnTo>
                  <a:pt x="210" y="162"/>
                </a:lnTo>
                <a:lnTo>
                  <a:pt x="210" y="162"/>
                </a:lnTo>
                <a:lnTo>
                  <a:pt x="204" y="168"/>
                </a:lnTo>
                <a:lnTo>
                  <a:pt x="204" y="168"/>
                </a:lnTo>
                <a:lnTo>
                  <a:pt x="204" y="174"/>
                </a:lnTo>
                <a:lnTo>
                  <a:pt x="204" y="174"/>
                </a:lnTo>
                <a:lnTo>
                  <a:pt x="204" y="174"/>
                </a:lnTo>
                <a:lnTo>
                  <a:pt x="204" y="174"/>
                </a:lnTo>
                <a:lnTo>
                  <a:pt x="204" y="180"/>
                </a:lnTo>
                <a:lnTo>
                  <a:pt x="204" y="180"/>
                </a:lnTo>
                <a:lnTo>
                  <a:pt x="204" y="180"/>
                </a:lnTo>
                <a:lnTo>
                  <a:pt x="204" y="180"/>
                </a:lnTo>
                <a:lnTo>
                  <a:pt x="204" y="186"/>
                </a:lnTo>
                <a:lnTo>
                  <a:pt x="204" y="186"/>
                </a:lnTo>
                <a:lnTo>
                  <a:pt x="204" y="186"/>
                </a:lnTo>
                <a:lnTo>
                  <a:pt x="204" y="186"/>
                </a:lnTo>
                <a:lnTo>
                  <a:pt x="204" y="186"/>
                </a:lnTo>
                <a:lnTo>
                  <a:pt x="204" y="192"/>
                </a:lnTo>
                <a:lnTo>
                  <a:pt x="204" y="192"/>
                </a:lnTo>
                <a:lnTo>
                  <a:pt x="204" y="192"/>
                </a:lnTo>
                <a:lnTo>
                  <a:pt x="204" y="192"/>
                </a:lnTo>
                <a:lnTo>
                  <a:pt x="204" y="198"/>
                </a:lnTo>
                <a:lnTo>
                  <a:pt x="210" y="204"/>
                </a:lnTo>
                <a:lnTo>
                  <a:pt x="204" y="204"/>
                </a:lnTo>
                <a:lnTo>
                  <a:pt x="210" y="204"/>
                </a:lnTo>
                <a:lnTo>
                  <a:pt x="210" y="204"/>
                </a:lnTo>
                <a:lnTo>
                  <a:pt x="210" y="204"/>
                </a:lnTo>
                <a:lnTo>
                  <a:pt x="210" y="204"/>
                </a:lnTo>
                <a:lnTo>
                  <a:pt x="210" y="204"/>
                </a:lnTo>
                <a:lnTo>
                  <a:pt x="210" y="204"/>
                </a:lnTo>
                <a:lnTo>
                  <a:pt x="216" y="210"/>
                </a:lnTo>
                <a:lnTo>
                  <a:pt x="216" y="210"/>
                </a:lnTo>
                <a:lnTo>
                  <a:pt x="216" y="210"/>
                </a:lnTo>
                <a:lnTo>
                  <a:pt x="216" y="210"/>
                </a:lnTo>
                <a:lnTo>
                  <a:pt x="216" y="210"/>
                </a:lnTo>
                <a:lnTo>
                  <a:pt x="210" y="216"/>
                </a:lnTo>
                <a:lnTo>
                  <a:pt x="216" y="222"/>
                </a:lnTo>
                <a:lnTo>
                  <a:pt x="216" y="216"/>
                </a:lnTo>
                <a:lnTo>
                  <a:pt x="216" y="216"/>
                </a:lnTo>
                <a:lnTo>
                  <a:pt x="222" y="216"/>
                </a:lnTo>
                <a:lnTo>
                  <a:pt x="222" y="216"/>
                </a:lnTo>
                <a:lnTo>
                  <a:pt x="222" y="216"/>
                </a:lnTo>
                <a:lnTo>
                  <a:pt x="222" y="216"/>
                </a:lnTo>
                <a:lnTo>
                  <a:pt x="228" y="216"/>
                </a:lnTo>
                <a:lnTo>
                  <a:pt x="228" y="216"/>
                </a:lnTo>
                <a:lnTo>
                  <a:pt x="234" y="216"/>
                </a:lnTo>
                <a:lnTo>
                  <a:pt x="234" y="216"/>
                </a:lnTo>
                <a:lnTo>
                  <a:pt x="234" y="216"/>
                </a:lnTo>
                <a:lnTo>
                  <a:pt x="234" y="216"/>
                </a:lnTo>
                <a:lnTo>
                  <a:pt x="234" y="216"/>
                </a:lnTo>
                <a:lnTo>
                  <a:pt x="234" y="216"/>
                </a:lnTo>
                <a:lnTo>
                  <a:pt x="234" y="216"/>
                </a:lnTo>
                <a:lnTo>
                  <a:pt x="234" y="216"/>
                </a:lnTo>
                <a:lnTo>
                  <a:pt x="234" y="216"/>
                </a:lnTo>
                <a:lnTo>
                  <a:pt x="234" y="216"/>
                </a:lnTo>
                <a:lnTo>
                  <a:pt x="240" y="216"/>
                </a:lnTo>
                <a:lnTo>
                  <a:pt x="240" y="216"/>
                </a:lnTo>
                <a:lnTo>
                  <a:pt x="240" y="216"/>
                </a:lnTo>
                <a:lnTo>
                  <a:pt x="240" y="222"/>
                </a:lnTo>
                <a:lnTo>
                  <a:pt x="246" y="216"/>
                </a:lnTo>
                <a:lnTo>
                  <a:pt x="246" y="222"/>
                </a:lnTo>
                <a:lnTo>
                  <a:pt x="246" y="222"/>
                </a:lnTo>
                <a:lnTo>
                  <a:pt x="246" y="222"/>
                </a:lnTo>
                <a:lnTo>
                  <a:pt x="246" y="222"/>
                </a:lnTo>
                <a:lnTo>
                  <a:pt x="246" y="222"/>
                </a:lnTo>
                <a:lnTo>
                  <a:pt x="246" y="222"/>
                </a:lnTo>
                <a:lnTo>
                  <a:pt x="246" y="222"/>
                </a:lnTo>
                <a:lnTo>
                  <a:pt x="246" y="228"/>
                </a:lnTo>
                <a:lnTo>
                  <a:pt x="246" y="228"/>
                </a:lnTo>
                <a:lnTo>
                  <a:pt x="246" y="228"/>
                </a:lnTo>
                <a:lnTo>
                  <a:pt x="252" y="228"/>
                </a:lnTo>
                <a:lnTo>
                  <a:pt x="252" y="228"/>
                </a:lnTo>
                <a:lnTo>
                  <a:pt x="252" y="234"/>
                </a:lnTo>
                <a:lnTo>
                  <a:pt x="252" y="234"/>
                </a:lnTo>
                <a:lnTo>
                  <a:pt x="246" y="234"/>
                </a:lnTo>
                <a:lnTo>
                  <a:pt x="246" y="234"/>
                </a:lnTo>
                <a:lnTo>
                  <a:pt x="246" y="234"/>
                </a:lnTo>
                <a:lnTo>
                  <a:pt x="246" y="234"/>
                </a:lnTo>
                <a:lnTo>
                  <a:pt x="246" y="234"/>
                </a:lnTo>
                <a:lnTo>
                  <a:pt x="246" y="234"/>
                </a:lnTo>
                <a:lnTo>
                  <a:pt x="246" y="234"/>
                </a:lnTo>
                <a:lnTo>
                  <a:pt x="246" y="240"/>
                </a:lnTo>
                <a:lnTo>
                  <a:pt x="246" y="240"/>
                </a:lnTo>
                <a:lnTo>
                  <a:pt x="246" y="240"/>
                </a:lnTo>
                <a:lnTo>
                  <a:pt x="246" y="240"/>
                </a:lnTo>
                <a:lnTo>
                  <a:pt x="240" y="240"/>
                </a:lnTo>
                <a:lnTo>
                  <a:pt x="240" y="240"/>
                </a:lnTo>
                <a:lnTo>
                  <a:pt x="240" y="240"/>
                </a:lnTo>
                <a:lnTo>
                  <a:pt x="240" y="246"/>
                </a:lnTo>
                <a:lnTo>
                  <a:pt x="240" y="246"/>
                </a:lnTo>
                <a:lnTo>
                  <a:pt x="240" y="246"/>
                </a:lnTo>
                <a:lnTo>
                  <a:pt x="240" y="246"/>
                </a:lnTo>
                <a:lnTo>
                  <a:pt x="240" y="246"/>
                </a:lnTo>
                <a:lnTo>
                  <a:pt x="240" y="246"/>
                </a:lnTo>
                <a:lnTo>
                  <a:pt x="240" y="246"/>
                </a:lnTo>
                <a:lnTo>
                  <a:pt x="234" y="246"/>
                </a:lnTo>
                <a:lnTo>
                  <a:pt x="234" y="246"/>
                </a:lnTo>
                <a:lnTo>
                  <a:pt x="234" y="246"/>
                </a:lnTo>
                <a:lnTo>
                  <a:pt x="234" y="246"/>
                </a:lnTo>
                <a:lnTo>
                  <a:pt x="234" y="246"/>
                </a:lnTo>
                <a:lnTo>
                  <a:pt x="234" y="240"/>
                </a:lnTo>
                <a:lnTo>
                  <a:pt x="234" y="246"/>
                </a:lnTo>
                <a:lnTo>
                  <a:pt x="234" y="246"/>
                </a:lnTo>
                <a:lnTo>
                  <a:pt x="228" y="240"/>
                </a:lnTo>
                <a:lnTo>
                  <a:pt x="228" y="246"/>
                </a:lnTo>
                <a:lnTo>
                  <a:pt x="228" y="246"/>
                </a:lnTo>
                <a:lnTo>
                  <a:pt x="228" y="246"/>
                </a:lnTo>
                <a:lnTo>
                  <a:pt x="228" y="246"/>
                </a:lnTo>
                <a:lnTo>
                  <a:pt x="228" y="246"/>
                </a:lnTo>
                <a:lnTo>
                  <a:pt x="228" y="246"/>
                </a:lnTo>
                <a:lnTo>
                  <a:pt x="228" y="246"/>
                </a:lnTo>
                <a:lnTo>
                  <a:pt x="222" y="246"/>
                </a:lnTo>
                <a:lnTo>
                  <a:pt x="222" y="246"/>
                </a:lnTo>
                <a:lnTo>
                  <a:pt x="222" y="246"/>
                </a:lnTo>
                <a:lnTo>
                  <a:pt x="222" y="246"/>
                </a:lnTo>
                <a:lnTo>
                  <a:pt x="222" y="252"/>
                </a:lnTo>
                <a:lnTo>
                  <a:pt x="216" y="252"/>
                </a:lnTo>
                <a:lnTo>
                  <a:pt x="216" y="252"/>
                </a:lnTo>
                <a:lnTo>
                  <a:pt x="216" y="252"/>
                </a:lnTo>
                <a:lnTo>
                  <a:pt x="216" y="252"/>
                </a:lnTo>
                <a:lnTo>
                  <a:pt x="210" y="252"/>
                </a:lnTo>
                <a:lnTo>
                  <a:pt x="210" y="252"/>
                </a:lnTo>
                <a:lnTo>
                  <a:pt x="210" y="252"/>
                </a:lnTo>
                <a:lnTo>
                  <a:pt x="210" y="252"/>
                </a:lnTo>
                <a:lnTo>
                  <a:pt x="204" y="252"/>
                </a:lnTo>
                <a:lnTo>
                  <a:pt x="204" y="258"/>
                </a:lnTo>
                <a:lnTo>
                  <a:pt x="198" y="258"/>
                </a:lnTo>
                <a:lnTo>
                  <a:pt x="198" y="258"/>
                </a:lnTo>
                <a:lnTo>
                  <a:pt x="198" y="258"/>
                </a:lnTo>
                <a:lnTo>
                  <a:pt x="198" y="258"/>
                </a:lnTo>
                <a:lnTo>
                  <a:pt x="192" y="258"/>
                </a:lnTo>
                <a:lnTo>
                  <a:pt x="192" y="258"/>
                </a:lnTo>
                <a:lnTo>
                  <a:pt x="186" y="258"/>
                </a:lnTo>
                <a:lnTo>
                  <a:pt x="186" y="258"/>
                </a:lnTo>
                <a:lnTo>
                  <a:pt x="186" y="258"/>
                </a:lnTo>
                <a:lnTo>
                  <a:pt x="180" y="258"/>
                </a:lnTo>
                <a:lnTo>
                  <a:pt x="180" y="258"/>
                </a:lnTo>
                <a:lnTo>
                  <a:pt x="180" y="258"/>
                </a:lnTo>
                <a:lnTo>
                  <a:pt x="174" y="258"/>
                </a:lnTo>
                <a:lnTo>
                  <a:pt x="174" y="258"/>
                </a:lnTo>
                <a:lnTo>
                  <a:pt x="174" y="258"/>
                </a:lnTo>
                <a:lnTo>
                  <a:pt x="174" y="258"/>
                </a:lnTo>
                <a:lnTo>
                  <a:pt x="174" y="258"/>
                </a:lnTo>
                <a:lnTo>
                  <a:pt x="168" y="258"/>
                </a:lnTo>
                <a:lnTo>
                  <a:pt x="168" y="258"/>
                </a:lnTo>
                <a:lnTo>
                  <a:pt x="168" y="258"/>
                </a:lnTo>
                <a:lnTo>
                  <a:pt x="168" y="258"/>
                </a:lnTo>
                <a:lnTo>
                  <a:pt x="168" y="264"/>
                </a:lnTo>
                <a:lnTo>
                  <a:pt x="168" y="264"/>
                </a:lnTo>
                <a:lnTo>
                  <a:pt x="162" y="264"/>
                </a:lnTo>
                <a:lnTo>
                  <a:pt x="162" y="258"/>
                </a:lnTo>
                <a:lnTo>
                  <a:pt x="162" y="258"/>
                </a:lnTo>
                <a:lnTo>
                  <a:pt x="162" y="252"/>
                </a:lnTo>
                <a:lnTo>
                  <a:pt x="162" y="252"/>
                </a:lnTo>
                <a:lnTo>
                  <a:pt x="162" y="252"/>
                </a:lnTo>
                <a:lnTo>
                  <a:pt x="156" y="252"/>
                </a:lnTo>
                <a:lnTo>
                  <a:pt x="156" y="252"/>
                </a:lnTo>
                <a:lnTo>
                  <a:pt x="156" y="252"/>
                </a:lnTo>
                <a:lnTo>
                  <a:pt x="156" y="252"/>
                </a:lnTo>
                <a:lnTo>
                  <a:pt x="156" y="246"/>
                </a:lnTo>
                <a:lnTo>
                  <a:pt x="150" y="252"/>
                </a:lnTo>
                <a:lnTo>
                  <a:pt x="150" y="252"/>
                </a:lnTo>
                <a:lnTo>
                  <a:pt x="150" y="252"/>
                </a:lnTo>
                <a:lnTo>
                  <a:pt x="144" y="246"/>
                </a:lnTo>
                <a:lnTo>
                  <a:pt x="144" y="246"/>
                </a:lnTo>
                <a:lnTo>
                  <a:pt x="144" y="246"/>
                </a:lnTo>
                <a:lnTo>
                  <a:pt x="144" y="246"/>
                </a:lnTo>
                <a:lnTo>
                  <a:pt x="144" y="246"/>
                </a:lnTo>
                <a:lnTo>
                  <a:pt x="144" y="240"/>
                </a:lnTo>
                <a:lnTo>
                  <a:pt x="132" y="240"/>
                </a:lnTo>
                <a:lnTo>
                  <a:pt x="132" y="240"/>
                </a:lnTo>
                <a:lnTo>
                  <a:pt x="132" y="240"/>
                </a:lnTo>
                <a:lnTo>
                  <a:pt x="132" y="234"/>
                </a:lnTo>
                <a:lnTo>
                  <a:pt x="132" y="234"/>
                </a:lnTo>
                <a:lnTo>
                  <a:pt x="132" y="234"/>
                </a:lnTo>
                <a:lnTo>
                  <a:pt x="132" y="234"/>
                </a:lnTo>
                <a:lnTo>
                  <a:pt x="132" y="234"/>
                </a:lnTo>
                <a:lnTo>
                  <a:pt x="126" y="234"/>
                </a:lnTo>
                <a:lnTo>
                  <a:pt x="126" y="234"/>
                </a:lnTo>
                <a:lnTo>
                  <a:pt x="126" y="234"/>
                </a:lnTo>
                <a:lnTo>
                  <a:pt x="126" y="240"/>
                </a:lnTo>
                <a:lnTo>
                  <a:pt x="120" y="240"/>
                </a:lnTo>
                <a:lnTo>
                  <a:pt x="120" y="240"/>
                </a:lnTo>
                <a:lnTo>
                  <a:pt x="120" y="240"/>
                </a:lnTo>
                <a:lnTo>
                  <a:pt x="120" y="240"/>
                </a:lnTo>
                <a:lnTo>
                  <a:pt x="120" y="240"/>
                </a:lnTo>
                <a:lnTo>
                  <a:pt x="120" y="246"/>
                </a:lnTo>
                <a:lnTo>
                  <a:pt x="120" y="246"/>
                </a:lnTo>
                <a:lnTo>
                  <a:pt x="120" y="246"/>
                </a:lnTo>
                <a:lnTo>
                  <a:pt x="120" y="246"/>
                </a:lnTo>
                <a:lnTo>
                  <a:pt x="120" y="252"/>
                </a:lnTo>
                <a:lnTo>
                  <a:pt x="114" y="246"/>
                </a:lnTo>
                <a:lnTo>
                  <a:pt x="114" y="246"/>
                </a:lnTo>
                <a:lnTo>
                  <a:pt x="114" y="252"/>
                </a:lnTo>
                <a:lnTo>
                  <a:pt x="108" y="246"/>
                </a:lnTo>
                <a:lnTo>
                  <a:pt x="108" y="252"/>
                </a:lnTo>
                <a:lnTo>
                  <a:pt x="108" y="252"/>
                </a:lnTo>
                <a:lnTo>
                  <a:pt x="108" y="252"/>
                </a:lnTo>
                <a:lnTo>
                  <a:pt x="102" y="252"/>
                </a:lnTo>
                <a:lnTo>
                  <a:pt x="102" y="252"/>
                </a:lnTo>
                <a:lnTo>
                  <a:pt x="102" y="252"/>
                </a:lnTo>
                <a:lnTo>
                  <a:pt x="96" y="252"/>
                </a:lnTo>
                <a:lnTo>
                  <a:pt x="96" y="252"/>
                </a:lnTo>
                <a:lnTo>
                  <a:pt x="96" y="252"/>
                </a:lnTo>
                <a:lnTo>
                  <a:pt x="96" y="252"/>
                </a:lnTo>
                <a:lnTo>
                  <a:pt x="96" y="252"/>
                </a:lnTo>
                <a:lnTo>
                  <a:pt x="96" y="252"/>
                </a:lnTo>
                <a:lnTo>
                  <a:pt x="96" y="252"/>
                </a:lnTo>
                <a:lnTo>
                  <a:pt x="96" y="252"/>
                </a:lnTo>
                <a:lnTo>
                  <a:pt x="90" y="252"/>
                </a:lnTo>
                <a:lnTo>
                  <a:pt x="90" y="252"/>
                </a:lnTo>
                <a:lnTo>
                  <a:pt x="90" y="246"/>
                </a:lnTo>
                <a:lnTo>
                  <a:pt x="90" y="246"/>
                </a:lnTo>
                <a:lnTo>
                  <a:pt x="90" y="246"/>
                </a:lnTo>
                <a:lnTo>
                  <a:pt x="90" y="246"/>
                </a:lnTo>
                <a:lnTo>
                  <a:pt x="90" y="246"/>
                </a:lnTo>
                <a:lnTo>
                  <a:pt x="84" y="246"/>
                </a:lnTo>
                <a:lnTo>
                  <a:pt x="84" y="246"/>
                </a:lnTo>
                <a:lnTo>
                  <a:pt x="84" y="246"/>
                </a:lnTo>
                <a:lnTo>
                  <a:pt x="84" y="246"/>
                </a:lnTo>
                <a:lnTo>
                  <a:pt x="84" y="246"/>
                </a:lnTo>
                <a:lnTo>
                  <a:pt x="84" y="246"/>
                </a:lnTo>
                <a:lnTo>
                  <a:pt x="84" y="246"/>
                </a:lnTo>
                <a:lnTo>
                  <a:pt x="78" y="246"/>
                </a:lnTo>
                <a:lnTo>
                  <a:pt x="78" y="246"/>
                </a:lnTo>
                <a:lnTo>
                  <a:pt x="78" y="240"/>
                </a:lnTo>
                <a:lnTo>
                  <a:pt x="78" y="240"/>
                </a:lnTo>
                <a:lnTo>
                  <a:pt x="78" y="240"/>
                </a:lnTo>
                <a:lnTo>
                  <a:pt x="78" y="240"/>
                </a:lnTo>
                <a:lnTo>
                  <a:pt x="72" y="240"/>
                </a:lnTo>
                <a:lnTo>
                  <a:pt x="72" y="240"/>
                </a:lnTo>
                <a:lnTo>
                  <a:pt x="72" y="240"/>
                </a:lnTo>
                <a:lnTo>
                  <a:pt x="72" y="240"/>
                </a:lnTo>
                <a:lnTo>
                  <a:pt x="66" y="240"/>
                </a:lnTo>
                <a:lnTo>
                  <a:pt x="66" y="240"/>
                </a:lnTo>
                <a:lnTo>
                  <a:pt x="66" y="240"/>
                </a:lnTo>
                <a:lnTo>
                  <a:pt x="66" y="240"/>
                </a:lnTo>
                <a:lnTo>
                  <a:pt x="66" y="240"/>
                </a:lnTo>
                <a:lnTo>
                  <a:pt x="66" y="240"/>
                </a:lnTo>
                <a:lnTo>
                  <a:pt x="60" y="240"/>
                </a:lnTo>
                <a:lnTo>
                  <a:pt x="60" y="240"/>
                </a:lnTo>
                <a:lnTo>
                  <a:pt x="60" y="240"/>
                </a:lnTo>
                <a:lnTo>
                  <a:pt x="60" y="240"/>
                </a:lnTo>
                <a:lnTo>
                  <a:pt x="60" y="246"/>
                </a:lnTo>
                <a:lnTo>
                  <a:pt x="60" y="246"/>
                </a:lnTo>
                <a:lnTo>
                  <a:pt x="54" y="240"/>
                </a:lnTo>
                <a:lnTo>
                  <a:pt x="54" y="240"/>
                </a:lnTo>
                <a:lnTo>
                  <a:pt x="54" y="240"/>
                </a:lnTo>
                <a:lnTo>
                  <a:pt x="54" y="240"/>
                </a:lnTo>
                <a:lnTo>
                  <a:pt x="54" y="240"/>
                </a:lnTo>
                <a:lnTo>
                  <a:pt x="54" y="240"/>
                </a:lnTo>
                <a:lnTo>
                  <a:pt x="54" y="240"/>
                </a:lnTo>
                <a:lnTo>
                  <a:pt x="54" y="240"/>
                </a:lnTo>
                <a:lnTo>
                  <a:pt x="54" y="240"/>
                </a:lnTo>
                <a:lnTo>
                  <a:pt x="48" y="240"/>
                </a:lnTo>
                <a:lnTo>
                  <a:pt x="48" y="240"/>
                </a:lnTo>
                <a:lnTo>
                  <a:pt x="48" y="240"/>
                </a:lnTo>
                <a:lnTo>
                  <a:pt x="48" y="240"/>
                </a:lnTo>
                <a:lnTo>
                  <a:pt x="48" y="240"/>
                </a:lnTo>
                <a:lnTo>
                  <a:pt x="42" y="240"/>
                </a:lnTo>
                <a:lnTo>
                  <a:pt x="42" y="240"/>
                </a:lnTo>
                <a:lnTo>
                  <a:pt x="42" y="240"/>
                </a:lnTo>
                <a:lnTo>
                  <a:pt x="42" y="234"/>
                </a:lnTo>
                <a:lnTo>
                  <a:pt x="42" y="234"/>
                </a:lnTo>
                <a:lnTo>
                  <a:pt x="42" y="234"/>
                </a:lnTo>
                <a:lnTo>
                  <a:pt x="42" y="234"/>
                </a:lnTo>
                <a:lnTo>
                  <a:pt x="42" y="234"/>
                </a:lnTo>
                <a:lnTo>
                  <a:pt x="42" y="234"/>
                </a:lnTo>
                <a:lnTo>
                  <a:pt x="42" y="234"/>
                </a:lnTo>
                <a:lnTo>
                  <a:pt x="42" y="234"/>
                </a:lnTo>
                <a:lnTo>
                  <a:pt x="42" y="234"/>
                </a:lnTo>
                <a:lnTo>
                  <a:pt x="42" y="234"/>
                </a:lnTo>
                <a:lnTo>
                  <a:pt x="42" y="234"/>
                </a:lnTo>
                <a:lnTo>
                  <a:pt x="42" y="234"/>
                </a:lnTo>
                <a:lnTo>
                  <a:pt x="42" y="234"/>
                </a:lnTo>
                <a:lnTo>
                  <a:pt x="42" y="234"/>
                </a:lnTo>
                <a:lnTo>
                  <a:pt x="36" y="234"/>
                </a:lnTo>
                <a:lnTo>
                  <a:pt x="36" y="234"/>
                </a:lnTo>
                <a:lnTo>
                  <a:pt x="36" y="234"/>
                </a:lnTo>
                <a:lnTo>
                  <a:pt x="36" y="234"/>
                </a:lnTo>
                <a:lnTo>
                  <a:pt x="36" y="228"/>
                </a:lnTo>
                <a:lnTo>
                  <a:pt x="36" y="228"/>
                </a:lnTo>
                <a:lnTo>
                  <a:pt x="36" y="228"/>
                </a:lnTo>
                <a:lnTo>
                  <a:pt x="36" y="228"/>
                </a:lnTo>
                <a:lnTo>
                  <a:pt x="36" y="228"/>
                </a:lnTo>
                <a:lnTo>
                  <a:pt x="36" y="228"/>
                </a:lnTo>
                <a:lnTo>
                  <a:pt x="36" y="228"/>
                </a:lnTo>
                <a:lnTo>
                  <a:pt x="36" y="228"/>
                </a:lnTo>
                <a:lnTo>
                  <a:pt x="30" y="228"/>
                </a:lnTo>
                <a:lnTo>
                  <a:pt x="30" y="228"/>
                </a:lnTo>
                <a:lnTo>
                  <a:pt x="30" y="222"/>
                </a:lnTo>
                <a:lnTo>
                  <a:pt x="30" y="222"/>
                </a:lnTo>
                <a:lnTo>
                  <a:pt x="30" y="222"/>
                </a:lnTo>
                <a:lnTo>
                  <a:pt x="30" y="222"/>
                </a:lnTo>
                <a:lnTo>
                  <a:pt x="24" y="222"/>
                </a:lnTo>
                <a:lnTo>
                  <a:pt x="24" y="222"/>
                </a:lnTo>
                <a:lnTo>
                  <a:pt x="24" y="222"/>
                </a:lnTo>
                <a:lnTo>
                  <a:pt x="24" y="222"/>
                </a:lnTo>
                <a:lnTo>
                  <a:pt x="24" y="222"/>
                </a:lnTo>
                <a:lnTo>
                  <a:pt x="24" y="222"/>
                </a:lnTo>
                <a:lnTo>
                  <a:pt x="24" y="216"/>
                </a:lnTo>
                <a:lnTo>
                  <a:pt x="24" y="216"/>
                </a:lnTo>
                <a:lnTo>
                  <a:pt x="24" y="216"/>
                </a:lnTo>
                <a:lnTo>
                  <a:pt x="24" y="216"/>
                </a:lnTo>
                <a:lnTo>
                  <a:pt x="24" y="216"/>
                </a:lnTo>
                <a:lnTo>
                  <a:pt x="24" y="216"/>
                </a:lnTo>
                <a:lnTo>
                  <a:pt x="24" y="216"/>
                </a:lnTo>
                <a:lnTo>
                  <a:pt x="24" y="216"/>
                </a:lnTo>
                <a:lnTo>
                  <a:pt x="24" y="216"/>
                </a:lnTo>
                <a:lnTo>
                  <a:pt x="24" y="216"/>
                </a:lnTo>
                <a:lnTo>
                  <a:pt x="24" y="216"/>
                </a:lnTo>
                <a:lnTo>
                  <a:pt x="24" y="216"/>
                </a:lnTo>
                <a:lnTo>
                  <a:pt x="24" y="216"/>
                </a:lnTo>
                <a:lnTo>
                  <a:pt x="24" y="210"/>
                </a:lnTo>
                <a:lnTo>
                  <a:pt x="24" y="210"/>
                </a:lnTo>
                <a:lnTo>
                  <a:pt x="18" y="210"/>
                </a:lnTo>
                <a:lnTo>
                  <a:pt x="18" y="210"/>
                </a:lnTo>
                <a:lnTo>
                  <a:pt x="18" y="210"/>
                </a:lnTo>
                <a:lnTo>
                  <a:pt x="18" y="204"/>
                </a:lnTo>
                <a:lnTo>
                  <a:pt x="18" y="204"/>
                </a:lnTo>
                <a:lnTo>
                  <a:pt x="18" y="204"/>
                </a:lnTo>
                <a:lnTo>
                  <a:pt x="18" y="204"/>
                </a:lnTo>
                <a:lnTo>
                  <a:pt x="18" y="204"/>
                </a:lnTo>
                <a:lnTo>
                  <a:pt x="18" y="204"/>
                </a:lnTo>
                <a:lnTo>
                  <a:pt x="18" y="204"/>
                </a:lnTo>
                <a:lnTo>
                  <a:pt x="18" y="204"/>
                </a:lnTo>
                <a:lnTo>
                  <a:pt x="18" y="198"/>
                </a:lnTo>
                <a:lnTo>
                  <a:pt x="18" y="198"/>
                </a:lnTo>
                <a:lnTo>
                  <a:pt x="18" y="198"/>
                </a:lnTo>
                <a:lnTo>
                  <a:pt x="18" y="198"/>
                </a:lnTo>
                <a:lnTo>
                  <a:pt x="18" y="198"/>
                </a:lnTo>
                <a:lnTo>
                  <a:pt x="18" y="198"/>
                </a:lnTo>
                <a:lnTo>
                  <a:pt x="18" y="198"/>
                </a:lnTo>
                <a:lnTo>
                  <a:pt x="18" y="192"/>
                </a:lnTo>
                <a:lnTo>
                  <a:pt x="18" y="198"/>
                </a:lnTo>
                <a:lnTo>
                  <a:pt x="18" y="198"/>
                </a:lnTo>
                <a:lnTo>
                  <a:pt x="18" y="198"/>
                </a:lnTo>
                <a:lnTo>
                  <a:pt x="18" y="192"/>
                </a:lnTo>
                <a:lnTo>
                  <a:pt x="18" y="192"/>
                </a:lnTo>
                <a:lnTo>
                  <a:pt x="18" y="192"/>
                </a:lnTo>
                <a:lnTo>
                  <a:pt x="18" y="192"/>
                </a:lnTo>
                <a:lnTo>
                  <a:pt x="12" y="192"/>
                </a:lnTo>
                <a:lnTo>
                  <a:pt x="12" y="192"/>
                </a:lnTo>
                <a:lnTo>
                  <a:pt x="12" y="192"/>
                </a:lnTo>
                <a:lnTo>
                  <a:pt x="12" y="192"/>
                </a:lnTo>
                <a:lnTo>
                  <a:pt x="12" y="192"/>
                </a:lnTo>
                <a:lnTo>
                  <a:pt x="12" y="192"/>
                </a:lnTo>
                <a:lnTo>
                  <a:pt x="12" y="192"/>
                </a:lnTo>
                <a:lnTo>
                  <a:pt x="12" y="192"/>
                </a:lnTo>
                <a:lnTo>
                  <a:pt x="6" y="192"/>
                </a:lnTo>
                <a:lnTo>
                  <a:pt x="6" y="192"/>
                </a:lnTo>
                <a:lnTo>
                  <a:pt x="12" y="192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12" y="186"/>
                </a:lnTo>
                <a:lnTo>
                  <a:pt x="6" y="186"/>
                </a:lnTo>
                <a:lnTo>
                  <a:pt x="6" y="180"/>
                </a:lnTo>
                <a:lnTo>
                  <a:pt x="0" y="180"/>
                </a:lnTo>
                <a:lnTo>
                  <a:pt x="0" y="18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809" name="Freeform 542"/>
          <p:cNvSpPr>
            <a:spLocks/>
          </p:cNvSpPr>
          <p:nvPr/>
        </p:nvSpPr>
        <p:spPr bwMode="auto">
          <a:xfrm>
            <a:off x="6691253" y="3081452"/>
            <a:ext cx="199146" cy="224843"/>
          </a:xfrm>
          <a:custGeom>
            <a:avLst/>
            <a:gdLst>
              <a:gd name="T0" fmla="*/ 6 w 186"/>
              <a:gd name="T1" fmla="*/ 144 h 210"/>
              <a:gd name="T2" fmla="*/ 12 w 186"/>
              <a:gd name="T3" fmla="*/ 126 h 210"/>
              <a:gd name="T4" fmla="*/ 24 w 186"/>
              <a:gd name="T5" fmla="*/ 102 h 210"/>
              <a:gd name="T6" fmla="*/ 36 w 186"/>
              <a:gd name="T7" fmla="*/ 102 h 210"/>
              <a:gd name="T8" fmla="*/ 42 w 186"/>
              <a:gd name="T9" fmla="*/ 96 h 210"/>
              <a:gd name="T10" fmla="*/ 42 w 186"/>
              <a:gd name="T11" fmla="*/ 84 h 210"/>
              <a:gd name="T12" fmla="*/ 42 w 186"/>
              <a:gd name="T13" fmla="*/ 78 h 210"/>
              <a:gd name="T14" fmla="*/ 48 w 186"/>
              <a:gd name="T15" fmla="*/ 66 h 210"/>
              <a:gd name="T16" fmla="*/ 48 w 186"/>
              <a:gd name="T17" fmla="*/ 60 h 210"/>
              <a:gd name="T18" fmla="*/ 42 w 186"/>
              <a:gd name="T19" fmla="*/ 54 h 210"/>
              <a:gd name="T20" fmla="*/ 42 w 186"/>
              <a:gd name="T21" fmla="*/ 48 h 210"/>
              <a:gd name="T22" fmla="*/ 54 w 186"/>
              <a:gd name="T23" fmla="*/ 42 h 210"/>
              <a:gd name="T24" fmla="*/ 54 w 186"/>
              <a:gd name="T25" fmla="*/ 36 h 210"/>
              <a:gd name="T26" fmla="*/ 60 w 186"/>
              <a:gd name="T27" fmla="*/ 36 h 210"/>
              <a:gd name="T28" fmla="*/ 66 w 186"/>
              <a:gd name="T29" fmla="*/ 42 h 210"/>
              <a:gd name="T30" fmla="*/ 66 w 186"/>
              <a:gd name="T31" fmla="*/ 60 h 210"/>
              <a:gd name="T32" fmla="*/ 78 w 186"/>
              <a:gd name="T33" fmla="*/ 48 h 210"/>
              <a:gd name="T34" fmla="*/ 78 w 186"/>
              <a:gd name="T35" fmla="*/ 42 h 210"/>
              <a:gd name="T36" fmla="*/ 84 w 186"/>
              <a:gd name="T37" fmla="*/ 36 h 210"/>
              <a:gd name="T38" fmla="*/ 84 w 186"/>
              <a:gd name="T39" fmla="*/ 0 h 210"/>
              <a:gd name="T40" fmla="*/ 90 w 186"/>
              <a:gd name="T41" fmla="*/ 6 h 210"/>
              <a:gd name="T42" fmla="*/ 90 w 186"/>
              <a:gd name="T43" fmla="*/ 12 h 210"/>
              <a:gd name="T44" fmla="*/ 96 w 186"/>
              <a:gd name="T45" fmla="*/ 18 h 210"/>
              <a:gd name="T46" fmla="*/ 96 w 186"/>
              <a:gd name="T47" fmla="*/ 24 h 210"/>
              <a:gd name="T48" fmla="*/ 102 w 186"/>
              <a:gd name="T49" fmla="*/ 42 h 210"/>
              <a:gd name="T50" fmla="*/ 96 w 186"/>
              <a:gd name="T51" fmla="*/ 54 h 210"/>
              <a:gd name="T52" fmla="*/ 108 w 186"/>
              <a:gd name="T53" fmla="*/ 60 h 210"/>
              <a:gd name="T54" fmla="*/ 120 w 186"/>
              <a:gd name="T55" fmla="*/ 72 h 210"/>
              <a:gd name="T56" fmla="*/ 132 w 186"/>
              <a:gd name="T57" fmla="*/ 72 h 210"/>
              <a:gd name="T58" fmla="*/ 150 w 186"/>
              <a:gd name="T59" fmla="*/ 66 h 210"/>
              <a:gd name="T60" fmla="*/ 144 w 186"/>
              <a:gd name="T61" fmla="*/ 54 h 210"/>
              <a:gd name="T62" fmla="*/ 150 w 186"/>
              <a:gd name="T63" fmla="*/ 54 h 210"/>
              <a:gd name="T64" fmla="*/ 150 w 186"/>
              <a:gd name="T65" fmla="*/ 60 h 210"/>
              <a:gd name="T66" fmla="*/ 162 w 186"/>
              <a:gd name="T67" fmla="*/ 60 h 210"/>
              <a:gd name="T68" fmla="*/ 174 w 186"/>
              <a:gd name="T69" fmla="*/ 60 h 210"/>
              <a:gd name="T70" fmla="*/ 186 w 186"/>
              <a:gd name="T71" fmla="*/ 60 h 210"/>
              <a:gd name="T72" fmla="*/ 186 w 186"/>
              <a:gd name="T73" fmla="*/ 72 h 210"/>
              <a:gd name="T74" fmla="*/ 180 w 186"/>
              <a:gd name="T75" fmla="*/ 84 h 210"/>
              <a:gd name="T76" fmla="*/ 174 w 186"/>
              <a:gd name="T77" fmla="*/ 96 h 210"/>
              <a:gd name="T78" fmla="*/ 168 w 186"/>
              <a:gd name="T79" fmla="*/ 108 h 210"/>
              <a:gd name="T80" fmla="*/ 162 w 186"/>
              <a:gd name="T81" fmla="*/ 120 h 210"/>
              <a:gd name="T82" fmla="*/ 150 w 186"/>
              <a:gd name="T83" fmla="*/ 138 h 210"/>
              <a:gd name="T84" fmla="*/ 138 w 186"/>
              <a:gd name="T85" fmla="*/ 150 h 210"/>
              <a:gd name="T86" fmla="*/ 138 w 186"/>
              <a:gd name="T87" fmla="*/ 168 h 210"/>
              <a:gd name="T88" fmla="*/ 126 w 186"/>
              <a:gd name="T89" fmla="*/ 180 h 210"/>
              <a:gd name="T90" fmla="*/ 120 w 186"/>
              <a:gd name="T91" fmla="*/ 174 h 210"/>
              <a:gd name="T92" fmla="*/ 120 w 186"/>
              <a:gd name="T93" fmla="*/ 168 h 210"/>
              <a:gd name="T94" fmla="*/ 108 w 186"/>
              <a:gd name="T95" fmla="*/ 162 h 210"/>
              <a:gd name="T96" fmla="*/ 90 w 186"/>
              <a:gd name="T97" fmla="*/ 174 h 210"/>
              <a:gd name="T98" fmla="*/ 84 w 186"/>
              <a:gd name="T99" fmla="*/ 168 h 210"/>
              <a:gd name="T100" fmla="*/ 78 w 186"/>
              <a:gd name="T101" fmla="*/ 168 h 210"/>
              <a:gd name="T102" fmla="*/ 78 w 186"/>
              <a:gd name="T103" fmla="*/ 180 h 210"/>
              <a:gd name="T104" fmla="*/ 72 w 186"/>
              <a:gd name="T105" fmla="*/ 192 h 210"/>
              <a:gd name="T106" fmla="*/ 60 w 186"/>
              <a:gd name="T107" fmla="*/ 204 h 210"/>
              <a:gd name="T108" fmla="*/ 60 w 186"/>
              <a:gd name="T109" fmla="*/ 204 h 210"/>
              <a:gd name="T110" fmla="*/ 48 w 186"/>
              <a:gd name="T111" fmla="*/ 192 h 210"/>
              <a:gd name="T112" fmla="*/ 42 w 186"/>
              <a:gd name="T113" fmla="*/ 198 h 210"/>
              <a:gd name="T114" fmla="*/ 36 w 186"/>
              <a:gd name="T115" fmla="*/ 198 h 210"/>
              <a:gd name="T116" fmla="*/ 24 w 186"/>
              <a:gd name="T117" fmla="*/ 204 h 210"/>
              <a:gd name="T118" fmla="*/ 12 w 186"/>
              <a:gd name="T119" fmla="*/ 198 h 210"/>
              <a:gd name="T120" fmla="*/ 0 w 186"/>
              <a:gd name="T121" fmla="*/ 180 h 210"/>
              <a:gd name="T122" fmla="*/ 0 w 186"/>
              <a:gd name="T123" fmla="*/ 168 h 2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86" h="210">
                <a:moveTo>
                  <a:pt x="0" y="162"/>
                </a:moveTo>
                <a:lnTo>
                  <a:pt x="0" y="162"/>
                </a:lnTo>
                <a:lnTo>
                  <a:pt x="0" y="156"/>
                </a:lnTo>
                <a:lnTo>
                  <a:pt x="0" y="156"/>
                </a:lnTo>
                <a:lnTo>
                  <a:pt x="6" y="150"/>
                </a:lnTo>
                <a:lnTo>
                  <a:pt x="6" y="150"/>
                </a:lnTo>
                <a:lnTo>
                  <a:pt x="0" y="150"/>
                </a:lnTo>
                <a:lnTo>
                  <a:pt x="0" y="150"/>
                </a:lnTo>
                <a:lnTo>
                  <a:pt x="6" y="150"/>
                </a:lnTo>
                <a:lnTo>
                  <a:pt x="6" y="144"/>
                </a:lnTo>
                <a:lnTo>
                  <a:pt x="6" y="144"/>
                </a:lnTo>
                <a:lnTo>
                  <a:pt x="6" y="144"/>
                </a:lnTo>
                <a:lnTo>
                  <a:pt x="6" y="138"/>
                </a:lnTo>
                <a:lnTo>
                  <a:pt x="6" y="138"/>
                </a:lnTo>
                <a:lnTo>
                  <a:pt x="6" y="138"/>
                </a:lnTo>
                <a:lnTo>
                  <a:pt x="6" y="138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32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14"/>
                </a:lnTo>
                <a:lnTo>
                  <a:pt x="12" y="114"/>
                </a:lnTo>
                <a:lnTo>
                  <a:pt x="12" y="114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24" y="108"/>
                </a:lnTo>
                <a:lnTo>
                  <a:pt x="24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42" y="102"/>
                </a:lnTo>
                <a:lnTo>
                  <a:pt x="42" y="96"/>
                </a:lnTo>
                <a:lnTo>
                  <a:pt x="42" y="96"/>
                </a:lnTo>
                <a:lnTo>
                  <a:pt x="36" y="96"/>
                </a:lnTo>
                <a:lnTo>
                  <a:pt x="42" y="96"/>
                </a:lnTo>
                <a:lnTo>
                  <a:pt x="36" y="96"/>
                </a:lnTo>
                <a:lnTo>
                  <a:pt x="42" y="96"/>
                </a:lnTo>
                <a:lnTo>
                  <a:pt x="36" y="96"/>
                </a:lnTo>
                <a:lnTo>
                  <a:pt x="42" y="96"/>
                </a:lnTo>
                <a:lnTo>
                  <a:pt x="36" y="96"/>
                </a:lnTo>
                <a:lnTo>
                  <a:pt x="42" y="90"/>
                </a:lnTo>
                <a:lnTo>
                  <a:pt x="36" y="90"/>
                </a:lnTo>
                <a:lnTo>
                  <a:pt x="42" y="90"/>
                </a:lnTo>
                <a:lnTo>
                  <a:pt x="42" y="90"/>
                </a:lnTo>
                <a:lnTo>
                  <a:pt x="36" y="90"/>
                </a:lnTo>
                <a:lnTo>
                  <a:pt x="42" y="90"/>
                </a:lnTo>
                <a:lnTo>
                  <a:pt x="42" y="90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54"/>
                </a:lnTo>
                <a:lnTo>
                  <a:pt x="48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8" y="42"/>
                </a:lnTo>
                <a:lnTo>
                  <a:pt x="48" y="42"/>
                </a:lnTo>
                <a:lnTo>
                  <a:pt x="48" y="48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48" y="42"/>
                </a:lnTo>
                <a:lnTo>
                  <a:pt x="54" y="36"/>
                </a:lnTo>
                <a:lnTo>
                  <a:pt x="54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6" y="36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54"/>
                </a:lnTo>
                <a:lnTo>
                  <a:pt x="66" y="54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72" y="66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8" y="60"/>
                </a:lnTo>
                <a:lnTo>
                  <a:pt x="72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90" y="36"/>
                </a:lnTo>
                <a:lnTo>
                  <a:pt x="84" y="6"/>
                </a:lnTo>
                <a:lnTo>
                  <a:pt x="78" y="6"/>
                </a:lnTo>
                <a:lnTo>
                  <a:pt x="78" y="6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84" y="12"/>
                </a:lnTo>
                <a:lnTo>
                  <a:pt x="84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6" y="6"/>
                </a:lnTo>
                <a:lnTo>
                  <a:pt x="96" y="6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54"/>
                </a:lnTo>
                <a:lnTo>
                  <a:pt x="96" y="54"/>
                </a:lnTo>
                <a:lnTo>
                  <a:pt x="90" y="54"/>
                </a:lnTo>
                <a:lnTo>
                  <a:pt x="90" y="54"/>
                </a:lnTo>
                <a:lnTo>
                  <a:pt x="96" y="54"/>
                </a:lnTo>
                <a:lnTo>
                  <a:pt x="96" y="54"/>
                </a:lnTo>
                <a:lnTo>
                  <a:pt x="96" y="60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2" y="54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6"/>
                </a:lnTo>
                <a:lnTo>
                  <a:pt x="114" y="60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14" y="66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6" y="72"/>
                </a:lnTo>
                <a:lnTo>
                  <a:pt x="126" y="72"/>
                </a:lnTo>
                <a:lnTo>
                  <a:pt x="126" y="72"/>
                </a:lnTo>
                <a:lnTo>
                  <a:pt x="126" y="72"/>
                </a:lnTo>
                <a:lnTo>
                  <a:pt x="126" y="78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38" y="72"/>
                </a:lnTo>
                <a:lnTo>
                  <a:pt x="144" y="72"/>
                </a:lnTo>
                <a:lnTo>
                  <a:pt x="144" y="72"/>
                </a:lnTo>
                <a:lnTo>
                  <a:pt x="144" y="66"/>
                </a:lnTo>
                <a:lnTo>
                  <a:pt x="144" y="66"/>
                </a:lnTo>
                <a:lnTo>
                  <a:pt x="144" y="66"/>
                </a:lnTo>
                <a:lnTo>
                  <a:pt x="144" y="66"/>
                </a:lnTo>
                <a:lnTo>
                  <a:pt x="150" y="66"/>
                </a:lnTo>
                <a:lnTo>
                  <a:pt x="150" y="66"/>
                </a:lnTo>
                <a:lnTo>
                  <a:pt x="144" y="66"/>
                </a:lnTo>
                <a:lnTo>
                  <a:pt x="150" y="60"/>
                </a:lnTo>
                <a:lnTo>
                  <a:pt x="144" y="60"/>
                </a:lnTo>
                <a:lnTo>
                  <a:pt x="144" y="60"/>
                </a:lnTo>
                <a:lnTo>
                  <a:pt x="144" y="54"/>
                </a:lnTo>
                <a:lnTo>
                  <a:pt x="144" y="54"/>
                </a:lnTo>
                <a:lnTo>
                  <a:pt x="144" y="54"/>
                </a:lnTo>
                <a:lnTo>
                  <a:pt x="144" y="54"/>
                </a:lnTo>
                <a:lnTo>
                  <a:pt x="144" y="54"/>
                </a:lnTo>
                <a:lnTo>
                  <a:pt x="150" y="54"/>
                </a:lnTo>
                <a:lnTo>
                  <a:pt x="150" y="54"/>
                </a:lnTo>
                <a:lnTo>
                  <a:pt x="144" y="54"/>
                </a:lnTo>
                <a:lnTo>
                  <a:pt x="144" y="54"/>
                </a:lnTo>
                <a:lnTo>
                  <a:pt x="144" y="54"/>
                </a:lnTo>
                <a:lnTo>
                  <a:pt x="144" y="48"/>
                </a:lnTo>
                <a:lnTo>
                  <a:pt x="144" y="54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54"/>
                </a:lnTo>
                <a:lnTo>
                  <a:pt x="150" y="54"/>
                </a:lnTo>
                <a:lnTo>
                  <a:pt x="150" y="54"/>
                </a:lnTo>
                <a:lnTo>
                  <a:pt x="150" y="54"/>
                </a:lnTo>
                <a:lnTo>
                  <a:pt x="150" y="54"/>
                </a:lnTo>
                <a:lnTo>
                  <a:pt x="150" y="54"/>
                </a:lnTo>
                <a:lnTo>
                  <a:pt x="150" y="48"/>
                </a:lnTo>
                <a:lnTo>
                  <a:pt x="150" y="48"/>
                </a:lnTo>
                <a:lnTo>
                  <a:pt x="150" y="54"/>
                </a:lnTo>
                <a:lnTo>
                  <a:pt x="150" y="54"/>
                </a:lnTo>
                <a:lnTo>
                  <a:pt x="150" y="54"/>
                </a:lnTo>
                <a:lnTo>
                  <a:pt x="150" y="54"/>
                </a:lnTo>
                <a:lnTo>
                  <a:pt x="150" y="54"/>
                </a:lnTo>
                <a:lnTo>
                  <a:pt x="150" y="60"/>
                </a:lnTo>
                <a:lnTo>
                  <a:pt x="150" y="60"/>
                </a:lnTo>
                <a:lnTo>
                  <a:pt x="150" y="60"/>
                </a:lnTo>
                <a:lnTo>
                  <a:pt x="156" y="60"/>
                </a:lnTo>
                <a:lnTo>
                  <a:pt x="156" y="60"/>
                </a:lnTo>
                <a:lnTo>
                  <a:pt x="156" y="60"/>
                </a:lnTo>
                <a:lnTo>
                  <a:pt x="156" y="60"/>
                </a:lnTo>
                <a:lnTo>
                  <a:pt x="156" y="60"/>
                </a:lnTo>
                <a:lnTo>
                  <a:pt x="156" y="60"/>
                </a:lnTo>
                <a:lnTo>
                  <a:pt x="156" y="60"/>
                </a:lnTo>
                <a:lnTo>
                  <a:pt x="156" y="66"/>
                </a:lnTo>
                <a:lnTo>
                  <a:pt x="156" y="60"/>
                </a:lnTo>
                <a:lnTo>
                  <a:pt x="162" y="66"/>
                </a:lnTo>
                <a:lnTo>
                  <a:pt x="162" y="60"/>
                </a:lnTo>
                <a:lnTo>
                  <a:pt x="162" y="60"/>
                </a:lnTo>
                <a:lnTo>
                  <a:pt x="162" y="66"/>
                </a:lnTo>
                <a:lnTo>
                  <a:pt x="162" y="66"/>
                </a:lnTo>
                <a:lnTo>
                  <a:pt x="162" y="66"/>
                </a:lnTo>
                <a:lnTo>
                  <a:pt x="168" y="66"/>
                </a:lnTo>
                <a:lnTo>
                  <a:pt x="168" y="66"/>
                </a:lnTo>
                <a:lnTo>
                  <a:pt x="168" y="66"/>
                </a:lnTo>
                <a:lnTo>
                  <a:pt x="168" y="66"/>
                </a:lnTo>
                <a:lnTo>
                  <a:pt x="168" y="66"/>
                </a:lnTo>
                <a:lnTo>
                  <a:pt x="174" y="66"/>
                </a:lnTo>
                <a:lnTo>
                  <a:pt x="174" y="60"/>
                </a:lnTo>
                <a:lnTo>
                  <a:pt x="174" y="60"/>
                </a:lnTo>
                <a:lnTo>
                  <a:pt x="174" y="60"/>
                </a:lnTo>
                <a:lnTo>
                  <a:pt x="174" y="60"/>
                </a:lnTo>
                <a:lnTo>
                  <a:pt x="174" y="60"/>
                </a:lnTo>
                <a:lnTo>
                  <a:pt x="174" y="60"/>
                </a:lnTo>
                <a:lnTo>
                  <a:pt x="180" y="60"/>
                </a:lnTo>
                <a:lnTo>
                  <a:pt x="180" y="60"/>
                </a:lnTo>
                <a:lnTo>
                  <a:pt x="180" y="60"/>
                </a:lnTo>
                <a:lnTo>
                  <a:pt x="180" y="60"/>
                </a:lnTo>
                <a:lnTo>
                  <a:pt x="180" y="60"/>
                </a:lnTo>
                <a:lnTo>
                  <a:pt x="180" y="60"/>
                </a:lnTo>
                <a:lnTo>
                  <a:pt x="180" y="60"/>
                </a:lnTo>
                <a:lnTo>
                  <a:pt x="180" y="60"/>
                </a:lnTo>
                <a:lnTo>
                  <a:pt x="186" y="60"/>
                </a:lnTo>
                <a:lnTo>
                  <a:pt x="186" y="60"/>
                </a:lnTo>
                <a:lnTo>
                  <a:pt x="186" y="60"/>
                </a:lnTo>
                <a:lnTo>
                  <a:pt x="186" y="60"/>
                </a:lnTo>
                <a:lnTo>
                  <a:pt x="186" y="66"/>
                </a:lnTo>
                <a:lnTo>
                  <a:pt x="186" y="66"/>
                </a:lnTo>
                <a:lnTo>
                  <a:pt x="186" y="66"/>
                </a:lnTo>
                <a:lnTo>
                  <a:pt x="186" y="66"/>
                </a:lnTo>
                <a:lnTo>
                  <a:pt x="186" y="72"/>
                </a:lnTo>
                <a:lnTo>
                  <a:pt x="186" y="72"/>
                </a:lnTo>
                <a:lnTo>
                  <a:pt x="186" y="72"/>
                </a:lnTo>
                <a:lnTo>
                  <a:pt x="186" y="72"/>
                </a:lnTo>
                <a:lnTo>
                  <a:pt x="186" y="72"/>
                </a:lnTo>
                <a:lnTo>
                  <a:pt x="186" y="72"/>
                </a:lnTo>
                <a:lnTo>
                  <a:pt x="186" y="78"/>
                </a:lnTo>
                <a:lnTo>
                  <a:pt x="186" y="78"/>
                </a:lnTo>
                <a:lnTo>
                  <a:pt x="186" y="78"/>
                </a:lnTo>
                <a:lnTo>
                  <a:pt x="186" y="78"/>
                </a:lnTo>
                <a:lnTo>
                  <a:pt x="186" y="78"/>
                </a:lnTo>
                <a:lnTo>
                  <a:pt x="186" y="78"/>
                </a:lnTo>
                <a:lnTo>
                  <a:pt x="186" y="78"/>
                </a:lnTo>
                <a:lnTo>
                  <a:pt x="186" y="78"/>
                </a:lnTo>
                <a:lnTo>
                  <a:pt x="180" y="84"/>
                </a:lnTo>
                <a:lnTo>
                  <a:pt x="186" y="84"/>
                </a:lnTo>
                <a:lnTo>
                  <a:pt x="180" y="84"/>
                </a:lnTo>
                <a:lnTo>
                  <a:pt x="180" y="84"/>
                </a:lnTo>
                <a:lnTo>
                  <a:pt x="180" y="84"/>
                </a:lnTo>
                <a:lnTo>
                  <a:pt x="180" y="84"/>
                </a:lnTo>
                <a:lnTo>
                  <a:pt x="180" y="90"/>
                </a:lnTo>
                <a:lnTo>
                  <a:pt x="180" y="90"/>
                </a:lnTo>
                <a:lnTo>
                  <a:pt x="180" y="90"/>
                </a:lnTo>
                <a:lnTo>
                  <a:pt x="180" y="90"/>
                </a:lnTo>
                <a:lnTo>
                  <a:pt x="180" y="90"/>
                </a:lnTo>
                <a:lnTo>
                  <a:pt x="180" y="90"/>
                </a:lnTo>
                <a:lnTo>
                  <a:pt x="180" y="90"/>
                </a:lnTo>
                <a:lnTo>
                  <a:pt x="180" y="90"/>
                </a:lnTo>
                <a:lnTo>
                  <a:pt x="174" y="96"/>
                </a:lnTo>
                <a:lnTo>
                  <a:pt x="174" y="96"/>
                </a:lnTo>
                <a:lnTo>
                  <a:pt x="174" y="96"/>
                </a:lnTo>
                <a:lnTo>
                  <a:pt x="174" y="96"/>
                </a:lnTo>
                <a:lnTo>
                  <a:pt x="174" y="102"/>
                </a:lnTo>
                <a:lnTo>
                  <a:pt x="174" y="102"/>
                </a:lnTo>
                <a:lnTo>
                  <a:pt x="174" y="102"/>
                </a:lnTo>
                <a:lnTo>
                  <a:pt x="174" y="102"/>
                </a:lnTo>
                <a:lnTo>
                  <a:pt x="174" y="108"/>
                </a:lnTo>
                <a:lnTo>
                  <a:pt x="174" y="108"/>
                </a:lnTo>
                <a:lnTo>
                  <a:pt x="174" y="108"/>
                </a:lnTo>
                <a:lnTo>
                  <a:pt x="168" y="114"/>
                </a:lnTo>
                <a:lnTo>
                  <a:pt x="168" y="108"/>
                </a:lnTo>
                <a:lnTo>
                  <a:pt x="168" y="114"/>
                </a:lnTo>
                <a:lnTo>
                  <a:pt x="168" y="114"/>
                </a:lnTo>
                <a:lnTo>
                  <a:pt x="168" y="114"/>
                </a:lnTo>
                <a:lnTo>
                  <a:pt x="168" y="114"/>
                </a:lnTo>
                <a:lnTo>
                  <a:pt x="168" y="120"/>
                </a:lnTo>
                <a:lnTo>
                  <a:pt x="168" y="114"/>
                </a:lnTo>
                <a:lnTo>
                  <a:pt x="168" y="120"/>
                </a:lnTo>
                <a:lnTo>
                  <a:pt x="168" y="120"/>
                </a:lnTo>
                <a:lnTo>
                  <a:pt x="168" y="120"/>
                </a:lnTo>
                <a:lnTo>
                  <a:pt x="168" y="120"/>
                </a:lnTo>
                <a:lnTo>
                  <a:pt x="162" y="120"/>
                </a:lnTo>
                <a:lnTo>
                  <a:pt x="162" y="120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32"/>
                </a:lnTo>
                <a:lnTo>
                  <a:pt x="162" y="132"/>
                </a:lnTo>
                <a:lnTo>
                  <a:pt x="162" y="132"/>
                </a:lnTo>
                <a:lnTo>
                  <a:pt x="162" y="132"/>
                </a:lnTo>
                <a:lnTo>
                  <a:pt x="162" y="138"/>
                </a:lnTo>
                <a:lnTo>
                  <a:pt x="156" y="138"/>
                </a:lnTo>
                <a:lnTo>
                  <a:pt x="156" y="138"/>
                </a:lnTo>
                <a:lnTo>
                  <a:pt x="150" y="138"/>
                </a:lnTo>
                <a:lnTo>
                  <a:pt x="150" y="138"/>
                </a:lnTo>
                <a:lnTo>
                  <a:pt x="150" y="138"/>
                </a:lnTo>
                <a:lnTo>
                  <a:pt x="150" y="144"/>
                </a:lnTo>
                <a:lnTo>
                  <a:pt x="144" y="144"/>
                </a:lnTo>
                <a:lnTo>
                  <a:pt x="144" y="144"/>
                </a:lnTo>
                <a:lnTo>
                  <a:pt x="144" y="144"/>
                </a:lnTo>
                <a:lnTo>
                  <a:pt x="144" y="144"/>
                </a:lnTo>
                <a:lnTo>
                  <a:pt x="144" y="144"/>
                </a:lnTo>
                <a:lnTo>
                  <a:pt x="144" y="144"/>
                </a:lnTo>
                <a:lnTo>
                  <a:pt x="144" y="144"/>
                </a:lnTo>
                <a:lnTo>
                  <a:pt x="138" y="150"/>
                </a:lnTo>
                <a:lnTo>
                  <a:pt x="138" y="150"/>
                </a:lnTo>
                <a:lnTo>
                  <a:pt x="138" y="150"/>
                </a:lnTo>
                <a:lnTo>
                  <a:pt x="138" y="156"/>
                </a:lnTo>
                <a:lnTo>
                  <a:pt x="138" y="156"/>
                </a:lnTo>
                <a:lnTo>
                  <a:pt x="138" y="156"/>
                </a:lnTo>
                <a:lnTo>
                  <a:pt x="138" y="156"/>
                </a:lnTo>
                <a:lnTo>
                  <a:pt x="138" y="162"/>
                </a:lnTo>
                <a:lnTo>
                  <a:pt x="138" y="162"/>
                </a:lnTo>
                <a:lnTo>
                  <a:pt x="138" y="162"/>
                </a:lnTo>
                <a:lnTo>
                  <a:pt x="138" y="162"/>
                </a:lnTo>
                <a:lnTo>
                  <a:pt x="138" y="162"/>
                </a:lnTo>
                <a:lnTo>
                  <a:pt x="138" y="162"/>
                </a:lnTo>
                <a:lnTo>
                  <a:pt x="138" y="168"/>
                </a:lnTo>
                <a:lnTo>
                  <a:pt x="138" y="168"/>
                </a:lnTo>
                <a:lnTo>
                  <a:pt x="138" y="168"/>
                </a:lnTo>
                <a:lnTo>
                  <a:pt x="138" y="174"/>
                </a:lnTo>
                <a:lnTo>
                  <a:pt x="138" y="174"/>
                </a:lnTo>
                <a:lnTo>
                  <a:pt x="138" y="174"/>
                </a:lnTo>
                <a:lnTo>
                  <a:pt x="132" y="174"/>
                </a:lnTo>
                <a:lnTo>
                  <a:pt x="138" y="174"/>
                </a:lnTo>
                <a:lnTo>
                  <a:pt x="138" y="174"/>
                </a:lnTo>
                <a:lnTo>
                  <a:pt x="132" y="180"/>
                </a:lnTo>
                <a:lnTo>
                  <a:pt x="132" y="180"/>
                </a:lnTo>
                <a:lnTo>
                  <a:pt x="126" y="180"/>
                </a:lnTo>
                <a:lnTo>
                  <a:pt x="126" y="180"/>
                </a:lnTo>
                <a:lnTo>
                  <a:pt x="126" y="186"/>
                </a:lnTo>
                <a:lnTo>
                  <a:pt x="126" y="186"/>
                </a:lnTo>
                <a:lnTo>
                  <a:pt x="126" y="180"/>
                </a:lnTo>
                <a:lnTo>
                  <a:pt x="126" y="180"/>
                </a:lnTo>
                <a:lnTo>
                  <a:pt x="126" y="180"/>
                </a:lnTo>
                <a:lnTo>
                  <a:pt x="120" y="180"/>
                </a:lnTo>
                <a:lnTo>
                  <a:pt x="120" y="180"/>
                </a:lnTo>
                <a:lnTo>
                  <a:pt x="120" y="180"/>
                </a:lnTo>
                <a:lnTo>
                  <a:pt x="120" y="180"/>
                </a:lnTo>
                <a:lnTo>
                  <a:pt x="120" y="180"/>
                </a:lnTo>
                <a:lnTo>
                  <a:pt x="120" y="174"/>
                </a:lnTo>
                <a:lnTo>
                  <a:pt x="120" y="174"/>
                </a:lnTo>
                <a:lnTo>
                  <a:pt x="120" y="174"/>
                </a:lnTo>
                <a:lnTo>
                  <a:pt x="120" y="174"/>
                </a:lnTo>
                <a:lnTo>
                  <a:pt x="120" y="174"/>
                </a:lnTo>
                <a:lnTo>
                  <a:pt x="120" y="174"/>
                </a:lnTo>
                <a:lnTo>
                  <a:pt x="120" y="174"/>
                </a:lnTo>
                <a:lnTo>
                  <a:pt x="120" y="174"/>
                </a:lnTo>
                <a:lnTo>
                  <a:pt x="120" y="174"/>
                </a:lnTo>
                <a:lnTo>
                  <a:pt x="120" y="168"/>
                </a:lnTo>
                <a:lnTo>
                  <a:pt x="120" y="168"/>
                </a:lnTo>
                <a:lnTo>
                  <a:pt x="120" y="168"/>
                </a:lnTo>
                <a:lnTo>
                  <a:pt x="120" y="168"/>
                </a:lnTo>
                <a:lnTo>
                  <a:pt x="120" y="168"/>
                </a:lnTo>
                <a:lnTo>
                  <a:pt x="120" y="168"/>
                </a:lnTo>
                <a:lnTo>
                  <a:pt x="120" y="168"/>
                </a:lnTo>
                <a:lnTo>
                  <a:pt x="120" y="168"/>
                </a:lnTo>
                <a:lnTo>
                  <a:pt x="120" y="168"/>
                </a:lnTo>
                <a:lnTo>
                  <a:pt x="120" y="162"/>
                </a:lnTo>
                <a:lnTo>
                  <a:pt x="114" y="162"/>
                </a:lnTo>
                <a:lnTo>
                  <a:pt x="114" y="162"/>
                </a:lnTo>
                <a:lnTo>
                  <a:pt x="114" y="162"/>
                </a:lnTo>
                <a:lnTo>
                  <a:pt x="114" y="162"/>
                </a:lnTo>
                <a:lnTo>
                  <a:pt x="114" y="162"/>
                </a:lnTo>
                <a:lnTo>
                  <a:pt x="114" y="162"/>
                </a:lnTo>
                <a:lnTo>
                  <a:pt x="108" y="162"/>
                </a:lnTo>
                <a:lnTo>
                  <a:pt x="108" y="168"/>
                </a:lnTo>
                <a:lnTo>
                  <a:pt x="108" y="168"/>
                </a:lnTo>
                <a:lnTo>
                  <a:pt x="108" y="168"/>
                </a:lnTo>
                <a:lnTo>
                  <a:pt x="108" y="168"/>
                </a:lnTo>
                <a:lnTo>
                  <a:pt x="108" y="168"/>
                </a:lnTo>
                <a:lnTo>
                  <a:pt x="108" y="168"/>
                </a:lnTo>
                <a:lnTo>
                  <a:pt x="108" y="168"/>
                </a:lnTo>
                <a:lnTo>
                  <a:pt x="102" y="168"/>
                </a:lnTo>
                <a:lnTo>
                  <a:pt x="96" y="168"/>
                </a:lnTo>
                <a:lnTo>
                  <a:pt x="96" y="168"/>
                </a:lnTo>
                <a:lnTo>
                  <a:pt x="90" y="168"/>
                </a:lnTo>
                <a:lnTo>
                  <a:pt x="90" y="174"/>
                </a:lnTo>
                <a:lnTo>
                  <a:pt x="90" y="174"/>
                </a:lnTo>
                <a:lnTo>
                  <a:pt x="90" y="174"/>
                </a:lnTo>
                <a:lnTo>
                  <a:pt x="90" y="174"/>
                </a:lnTo>
                <a:lnTo>
                  <a:pt x="84" y="174"/>
                </a:lnTo>
                <a:lnTo>
                  <a:pt x="84" y="174"/>
                </a:lnTo>
                <a:lnTo>
                  <a:pt x="84" y="174"/>
                </a:lnTo>
                <a:lnTo>
                  <a:pt x="84" y="168"/>
                </a:lnTo>
                <a:lnTo>
                  <a:pt x="84" y="168"/>
                </a:lnTo>
                <a:lnTo>
                  <a:pt x="84" y="168"/>
                </a:lnTo>
                <a:lnTo>
                  <a:pt x="84" y="168"/>
                </a:lnTo>
                <a:lnTo>
                  <a:pt x="84" y="168"/>
                </a:lnTo>
                <a:lnTo>
                  <a:pt x="84" y="168"/>
                </a:lnTo>
                <a:lnTo>
                  <a:pt x="84" y="168"/>
                </a:lnTo>
                <a:lnTo>
                  <a:pt x="78" y="168"/>
                </a:lnTo>
                <a:lnTo>
                  <a:pt x="78" y="168"/>
                </a:lnTo>
                <a:lnTo>
                  <a:pt x="78" y="168"/>
                </a:lnTo>
                <a:lnTo>
                  <a:pt x="78" y="168"/>
                </a:lnTo>
                <a:lnTo>
                  <a:pt x="78" y="168"/>
                </a:lnTo>
                <a:lnTo>
                  <a:pt x="78" y="168"/>
                </a:lnTo>
                <a:lnTo>
                  <a:pt x="78" y="168"/>
                </a:lnTo>
                <a:lnTo>
                  <a:pt x="78" y="168"/>
                </a:lnTo>
                <a:lnTo>
                  <a:pt x="78" y="168"/>
                </a:lnTo>
                <a:lnTo>
                  <a:pt x="78" y="168"/>
                </a:lnTo>
                <a:lnTo>
                  <a:pt x="78" y="168"/>
                </a:lnTo>
                <a:lnTo>
                  <a:pt x="72" y="168"/>
                </a:lnTo>
                <a:lnTo>
                  <a:pt x="72" y="174"/>
                </a:lnTo>
                <a:lnTo>
                  <a:pt x="78" y="174"/>
                </a:lnTo>
                <a:lnTo>
                  <a:pt x="78" y="174"/>
                </a:lnTo>
                <a:lnTo>
                  <a:pt x="78" y="174"/>
                </a:lnTo>
                <a:lnTo>
                  <a:pt x="78" y="174"/>
                </a:lnTo>
                <a:lnTo>
                  <a:pt x="78" y="174"/>
                </a:lnTo>
                <a:lnTo>
                  <a:pt x="78" y="180"/>
                </a:lnTo>
                <a:lnTo>
                  <a:pt x="78" y="180"/>
                </a:lnTo>
                <a:lnTo>
                  <a:pt x="78" y="180"/>
                </a:lnTo>
                <a:lnTo>
                  <a:pt x="78" y="180"/>
                </a:lnTo>
                <a:lnTo>
                  <a:pt x="78" y="180"/>
                </a:lnTo>
                <a:lnTo>
                  <a:pt x="78" y="180"/>
                </a:lnTo>
                <a:lnTo>
                  <a:pt x="78" y="180"/>
                </a:lnTo>
                <a:lnTo>
                  <a:pt x="78" y="180"/>
                </a:lnTo>
                <a:lnTo>
                  <a:pt x="78" y="186"/>
                </a:lnTo>
                <a:lnTo>
                  <a:pt x="78" y="186"/>
                </a:lnTo>
                <a:lnTo>
                  <a:pt x="78" y="186"/>
                </a:lnTo>
                <a:lnTo>
                  <a:pt x="78" y="186"/>
                </a:lnTo>
                <a:lnTo>
                  <a:pt x="78" y="186"/>
                </a:lnTo>
                <a:lnTo>
                  <a:pt x="78" y="186"/>
                </a:lnTo>
                <a:lnTo>
                  <a:pt x="72" y="192"/>
                </a:lnTo>
                <a:lnTo>
                  <a:pt x="72" y="192"/>
                </a:lnTo>
                <a:lnTo>
                  <a:pt x="72" y="192"/>
                </a:lnTo>
                <a:lnTo>
                  <a:pt x="72" y="198"/>
                </a:lnTo>
                <a:lnTo>
                  <a:pt x="72" y="192"/>
                </a:lnTo>
                <a:lnTo>
                  <a:pt x="72" y="198"/>
                </a:lnTo>
                <a:lnTo>
                  <a:pt x="66" y="192"/>
                </a:lnTo>
                <a:lnTo>
                  <a:pt x="66" y="192"/>
                </a:lnTo>
                <a:lnTo>
                  <a:pt x="66" y="198"/>
                </a:lnTo>
                <a:lnTo>
                  <a:pt x="66" y="198"/>
                </a:lnTo>
                <a:lnTo>
                  <a:pt x="66" y="198"/>
                </a:lnTo>
                <a:lnTo>
                  <a:pt x="66" y="204"/>
                </a:lnTo>
                <a:lnTo>
                  <a:pt x="66" y="204"/>
                </a:lnTo>
                <a:lnTo>
                  <a:pt x="60" y="204"/>
                </a:lnTo>
                <a:lnTo>
                  <a:pt x="60" y="204"/>
                </a:lnTo>
                <a:lnTo>
                  <a:pt x="60" y="210"/>
                </a:lnTo>
                <a:lnTo>
                  <a:pt x="60" y="210"/>
                </a:lnTo>
                <a:lnTo>
                  <a:pt x="60" y="210"/>
                </a:lnTo>
                <a:lnTo>
                  <a:pt x="60" y="210"/>
                </a:lnTo>
                <a:lnTo>
                  <a:pt x="60" y="210"/>
                </a:lnTo>
                <a:lnTo>
                  <a:pt x="60" y="210"/>
                </a:lnTo>
                <a:lnTo>
                  <a:pt x="60" y="210"/>
                </a:lnTo>
                <a:lnTo>
                  <a:pt x="60" y="210"/>
                </a:lnTo>
                <a:lnTo>
                  <a:pt x="60" y="204"/>
                </a:lnTo>
                <a:lnTo>
                  <a:pt x="60" y="204"/>
                </a:lnTo>
                <a:lnTo>
                  <a:pt x="60" y="204"/>
                </a:lnTo>
                <a:lnTo>
                  <a:pt x="60" y="204"/>
                </a:lnTo>
                <a:lnTo>
                  <a:pt x="60" y="198"/>
                </a:lnTo>
                <a:lnTo>
                  <a:pt x="54" y="198"/>
                </a:lnTo>
                <a:lnTo>
                  <a:pt x="54" y="192"/>
                </a:lnTo>
                <a:lnTo>
                  <a:pt x="54" y="192"/>
                </a:lnTo>
                <a:lnTo>
                  <a:pt x="54" y="192"/>
                </a:lnTo>
                <a:lnTo>
                  <a:pt x="54" y="192"/>
                </a:lnTo>
                <a:lnTo>
                  <a:pt x="48" y="192"/>
                </a:lnTo>
                <a:lnTo>
                  <a:pt x="48" y="192"/>
                </a:lnTo>
                <a:lnTo>
                  <a:pt x="48" y="192"/>
                </a:lnTo>
                <a:lnTo>
                  <a:pt x="48" y="192"/>
                </a:lnTo>
                <a:lnTo>
                  <a:pt x="48" y="192"/>
                </a:lnTo>
                <a:lnTo>
                  <a:pt x="48" y="192"/>
                </a:lnTo>
                <a:lnTo>
                  <a:pt x="48" y="192"/>
                </a:lnTo>
                <a:lnTo>
                  <a:pt x="48" y="192"/>
                </a:lnTo>
                <a:lnTo>
                  <a:pt x="42" y="198"/>
                </a:lnTo>
                <a:lnTo>
                  <a:pt x="42" y="198"/>
                </a:lnTo>
                <a:lnTo>
                  <a:pt x="42" y="198"/>
                </a:lnTo>
                <a:lnTo>
                  <a:pt x="42" y="198"/>
                </a:lnTo>
                <a:lnTo>
                  <a:pt x="42" y="198"/>
                </a:lnTo>
                <a:lnTo>
                  <a:pt x="42" y="198"/>
                </a:lnTo>
                <a:lnTo>
                  <a:pt x="42" y="198"/>
                </a:lnTo>
                <a:lnTo>
                  <a:pt x="42" y="198"/>
                </a:lnTo>
                <a:lnTo>
                  <a:pt x="42" y="198"/>
                </a:lnTo>
                <a:lnTo>
                  <a:pt x="42" y="198"/>
                </a:lnTo>
                <a:lnTo>
                  <a:pt x="42" y="198"/>
                </a:lnTo>
                <a:lnTo>
                  <a:pt x="42" y="198"/>
                </a:lnTo>
                <a:lnTo>
                  <a:pt x="42" y="198"/>
                </a:lnTo>
                <a:lnTo>
                  <a:pt x="36" y="198"/>
                </a:lnTo>
                <a:lnTo>
                  <a:pt x="36" y="198"/>
                </a:lnTo>
                <a:lnTo>
                  <a:pt x="36" y="198"/>
                </a:lnTo>
                <a:lnTo>
                  <a:pt x="36" y="198"/>
                </a:lnTo>
                <a:lnTo>
                  <a:pt x="36" y="198"/>
                </a:lnTo>
                <a:lnTo>
                  <a:pt x="36" y="198"/>
                </a:lnTo>
                <a:lnTo>
                  <a:pt x="36" y="198"/>
                </a:lnTo>
                <a:lnTo>
                  <a:pt x="36" y="198"/>
                </a:lnTo>
                <a:lnTo>
                  <a:pt x="36" y="198"/>
                </a:lnTo>
                <a:lnTo>
                  <a:pt x="36" y="198"/>
                </a:lnTo>
                <a:lnTo>
                  <a:pt x="30" y="198"/>
                </a:lnTo>
                <a:lnTo>
                  <a:pt x="30" y="198"/>
                </a:lnTo>
                <a:lnTo>
                  <a:pt x="30" y="198"/>
                </a:lnTo>
                <a:lnTo>
                  <a:pt x="36" y="204"/>
                </a:lnTo>
                <a:lnTo>
                  <a:pt x="30" y="204"/>
                </a:lnTo>
                <a:lnTo>
                  <a:pt x="30" y="204"/>
                </a:lnTo>
                <a:lnTo>
                  <a:pt x="30" y="204"/>
                </a:lnTo>
                <a:lnTo>
                  <a:pt x="30" y="204"/>
                </a:lnTo>
                <a:lnTo>
                  <a:pt x="30" y="204"/>
                </a:lnTo>
                <a:lnTo>
                  <a:pt x="30" y="204"/>
                </a:lnTo>
                <a:lnTo>
                  <a:pt x="24" y="204"/>
                </a:lnTo>
                <a:lnTo>
                  <a:pt x="24" y="204"/>
                </a:lnTo>
                <a:lnTo>
                  <a:pt x="18" y="204"/>
                </a:lnTo>
                <a:lnTo>
                  <a:pt x="18" y="204"/>
                </a:lnTo>
                <a:lnTo>
                  <a:pt x="18" y="204"/>
                </a:lnTo>
                <a:lnTo>
                  <a:pt x="18" y="204"/>
                </a:lnTo>
                <a:lnTo>
                  <a:pt x="12" y="204"/>
                </a:lnTo>
                <a:lnTo>
                  <a:pt x="12" y="204"/>
                </a:lnTo>
                <a:lnTo>
                  <a:pt x="12" y="210"/>
                </a:lnTo>
                <a:lnTo>
                  <a:pt x="6" y="204"/>
                </a:lnTo>
                <a:lnTo>
                  <a:pt x="12" y="198"/>
                </a:lnTo>
                <a:lnTo>
                  <a:pt x="12" y="198"/>
                </a:lnTo>
                <a:lnTo>
                  <a:pt x="12" y="198"/>
                </a:lnTo>
                <a:lnTo>
                  <a:pt x="12" y="198"/>
                </a:lnTo>
                <a:lnTo>
                  <a:pt x="12" y="198"/>
                </a:lnTo>
                <a:lnTo>
                  <a:pt x="6" y="192"/>
                </a:lnTo>
                <a:lnTo>
                  <a:pt x="6" y="192"/>
                </a:lnTo>
                <a:lnTo>
                  <a:pt x="6" y="192"/>
                </a:lnTo>
                <a:lnTo>
                  <a:pt x="6" y="192"/>
                </a:lnTo>
                <a:lnTo>
                  <a:pt x="6" y="192"/>
                </a:lnTo>
                <a:lnTo>
                  <a:pt x="6" y="192"/>
                </a:lnTo>
                <a:lnTo>
                  <a:pt x="0" y="192"/>
                </a:lnTo>
                <a:lnTo>
                  <a:pt x="6" y="192"/>
                </a:lnTo>
                <a:lnTo>
                  <a:pt x="0" y="186"/>
                </a:lnTo>
                <a:lnTo>
                  <a:pt x="0" y="180"/>
                </a:lnTo>
                <a:lnTo>
                  <a:pt x="0" y="180"/>
                </a:lnTo>
                <a:lnTo>
                  <a:pt x="0" y="180"/>
                </a:lnTo>
                <a:lnTo>
                  <a:pt x="0" y="180"/>
                </a:lnTo>
                <a:lnTo>
                  <a:pt x="0" y="174"/>
                </a:lnTo>
                <a:lnTo>
                  <a:pt x="0" y="174"/>
                </a:lnTo>
                <a:lnTo>
                  <a:pt x="0" y="174"/>
                </a:lnTo>
                <a:lnTo>
                  <a:pt x="0" y="174"/>
                </a:lnTo>
                <a:lnTo>
                  <a:pt x="0" y="174"/>
                </a:lnTo>
                <a:lnTo>
                  <a:pt x="0" y="168"/>
                </a:lnTo>
                <a:lnTo>
                  <a:pt x="0" y="168"/>
                </a:lnTo>
                <a:lnTo>
                  <a:pt x="0" y="168"/>
                </a:lnTo>
                <a:lnTo>
                  <a:pt x="0" y="168"/>
                </a:lnTo>
                <a:lnTo>
                  <a:pt x="0" y="162"/>
                </a:lnTo>
                <a:lnTo>
                  <a:pt x="0" y="162"/>
                </a:lnTo>
                <a:lnTo>
                  <a:pt x="0" y="16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810" name="Freeform 543"/>
          <p:cNvSpPr>
            <a:spLocks/>
          </p:cNvSpPr>
          <p:nvPr/>
        </p:nvSpPr>
        <p:spPr bwMode="auto">
          <a:xfrm>
            <a:off x="6440715" y="3633925"/>
            <a:ext cx="269810" cy="186299"/>
          </a:xfrm>
          <a:custGeom>
            <a:avLst/>
            <a:gdLst>
              <a:gd name="T0" fmla="*/ 12 w 252"/>
              <a:gd name="T1" fmla="*/ 54 h 174"/>
              <a:gd name="T2" fmla="*/ 18 w 252"/>
              <a:gd name="T3" fmla="*/ 42 h 174"/>
              <a:gd name="T4" fmla="*/ 30 w 252"/>
              <a:gd name="T5" fmla="*/ 42 h 174"/>
              <a:gd name="T6" fmla="*/ 36 w 252"/>
              <a:gd name="T7" fmla="*/ 42 h 174"/>
              <a:gd name="T8" fmla="*/ 48 w 252"/>
              <a:gd name="T9" fmla="*/ 48 h 174"/>
              <a:gd name="T10" fmla="*/ 54 w 252"/>
              <a:gd name="T11" fmla="*/ 48 h 174"/>
              <a:gd name="T12" fmla="*/ 72 w 252"/>
              <a:gd name="T13" fmla="*/ 24 h 174"/>
              <a:gd name="T14" fmla="*/ 84 w 252"/>
              <a:gd name="T15" fmla="*/ 24 h 174"/>
              <a:gd name="T16" fmla="*/ 90 w 252"/>
              <a:gd name="T17" fmla="*/ 24 h 174"/>
              <a:gd name="T18" fmla="*/ 96 w 252"/>
              <a:gd name="T19" fmla="*/ 18 h 174"/>
              <a:gd name="T20" fmla="*/ 102 w 252"/>
              <a:gd name="T21" fmla="*/ 18 h 174"/>
              <a:gd name="T22" fmla="*/ 114 w 252"/>
              <a:gd name="T23" fmla="*/ 24 h 174"/>
              <a:gd name="T24" fmla="*/ 126 w 252"/>
              <a:gd name="T25" fmla="*/ 18 h 174"/>
              <a:gd name="T26" fmla="*/ 144 w 252"/>
              <a:gd name="T27" fmla="*/ 18 h 174"/>
              <a:gd name="T28" fmla="*/ 150 w 252"/>
              <a:gd name="T29" fmla="*/ 0 h 174"/>
              <a:gd name="T30" fmla="*/ 162 w 252"/>
              <a:gd name="T31" fmla="*/ 6 h 174"/>
              <a:gd name="T32" fmla="*/ 174 w 252"/>
              <a:gd name="T33" fmla="*/ 0 h 174"/>
              <a:gd name="T34" fmla="*/ 180 w 252"/>
              <a:gd name="T35" fmla="*/ 0 h 174"/>
              <a:gd name="T36" fmla="*/ 186 w 252"/>
              <a:gd name="T37" fmla="*/ 6 h 174"/>
              <a:gd name="T38" fmla="*/ 204 w 252"/>
              <a:gd name="T39" fmla="*/ 12 h 174"/>
              <a:gd name="T40" fmla="*/ 222 w 252"/>
              <a:gd name="T41" fmla="*/ 0 h 174"/>
              <a:gd name="T42" fmla="*/ 228 w 252"/>
              <a:gd name="T43" fmla="*/ 0 h 174"/>
              <a:gd name="T44" fmla="*/ 234 w 252"/>
              <a:gd name="T45" fmla="*/ 6 h 174"/>
              <a:gd name="T46" fmla="*/ 240 w 252"/>
              <a:gd name="T47" fmla="*/ 18 h 174"/>
              <a:gd name="T48" fmla="*/ 246 w 252"/>
              <a:gd name="T49" fmla="*/ 24 h 174"/>
              <a:gd name="T50" fmla="*/ 246 w 252"/>
              <a:gd name="T51" fmla="*/ 36 h 174"/>
              <a:gd name="T52" fmla="*/ 252 w 252"/>
              <a:gd name="T53" fmla="*/ 48 h 174"/>
              <a:gd name="T54" fmla="*/ 246 w 252"/>
              <a:gd name="T55" fmla="*/ 66 h 174"/>
              <a:gd name="T56" fmla="*/ 216 w 252"/>
              <a:gd name="T57" fmla="*/ 72 h 174"/>
              <a:gd name="T58" fmla="*/ 198 w 252"/>
              <a:gd name="T59" fmla="*/ 90 h 174"/>
              <a:gd name="T60" fmla="*/ 186 w 252"/>
              <a:gd name="T61" fmla="*/ 102 h 174"/>
              <a:gd name="T62" fmla="*/ 186 w 252"/>
              <a:gd name="T63" fmla="*/ 120 h 174"/>
              <a:gd name="T64" fmla="*/ 168 w 252"/>
              <a:gd name="T65" fmla="*/ 126 h 174"/>
              <a:gd name="T66" fmla="*/ 156 w 252"/>
              <a:gd name="T67" fmla="*/ 138 h 174"/>
              <a:gd name="T68" fmla="*/ 144 w 252"/>
              <a:gd name="T69" fmla="*/ 150 h 174"/>
              <a:gd name="T70" fmla="*/ 144 w 252"/>
              <a:gd name="T71" fmla="*/ 168 h 174"/>
              <a:gd name="T72" fmla="*/ 132 w 252"/>
              <a:gd name="T73" fmla="*/ 168 h 174"/>
              <a:gd name="T74" fmla="*/ 120 w 252"/>
              <a:gd name="T75" fmla="*/ 162 h 174"/>
              <a:gd name="T76" fmla="*/ 120 w 252"/>
              <a:gd name="T77" fmla="*/ 156 h 174"/>
              <a:gd name="T78" fmla="*/ 114 w 252"/>
              <a:gd name="T79" fmla="*/ 150 h 174"/>
              <a:gd name="T80" fmla="*/ 102 w 252"/>
              <a:gd name="T81" fmla="*/ 144 h 174"/>
              <a:gd name="T82" fmla="*/ 96 w 252"/>
              <a:gd name="T83" fmla="*/ 144 h 174"/>
              <a:gd name="T84" fmla="*/ 84 w 252"/>
              <a:gd name="T85" fmla="*/ 144 h 174"/>
              <a:gd name="T86" fmla="*/ 78 w 252"/>
              <a:gd name="T87" fmla="*/ 138 h 174"/>
              <a:gd name="T88" fmla="*/ 72 w 252"/>
              <a:gd name="T89" fmla="*/ 138 h 174"/>
              <a:gd name="T90" fmla="*/ 66 w 252"/>
              <a:gd name="T91" fmla="*/ 132 h 174"/>
              <a:gd name="T92" fmla="*/ 66 w 252"/>
              <a:gd name="T93" fmla="*/ 132 h 174"/>
              <a:gd name="T94" fmla="*/ 54 w 252"/>
              <a:gd name="T95" fmla="*/ 132 h 174"/>
              <a:gd name="T96" fmla="*/ 48 w 252"/>
              <a:gd name="T97" fmla="*/ 126 h 174"/>
              <a:gd name="T98" fmla="*/ 30 w 252"/>
              <a:gd name="T99" fmla="*/ 126 h 174"/>
              <a:gd name="T100" fmla="*/ 30 w 252"/>
              <a:gd name="T101" fmla="*/ 84 h 174"/>
              <a:gd name="T102" fmla="*/ 36 w 252"/>
              <a:gd name="T103" fmla="*/ 78 h 174"/>
              <a:gd name="T104" fmla="*/ 24 w 252"/>
              <a:gd name="T105" fmla="*/ 78 h 174"/>
              <a:gd name="T106" fmla="*/ 18 w 252"/>
              <a:gd name="T107" fmla="*/ 78 h 174"/>
              <a:gd name="T108" fmla="*/ 18 w 252"/>
              <a:gd name="T109" fmla="*/ 72 h 174"/>
              <a:gd name="T110" fmla="*/ 12 w 252"/>
              <a:gd name="T111" fmla="*/ 72 h 174"/>
              <a:gd name="T112" fmla="*/ 6 w 252"/>
              <a:gd name="T113" fmla="*/ 66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52" h="174">
                <a:moveTo>
                  <a:pt x="6" y="60"/>
                </a:move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0" y="48"/>
                </a:lnTo>
                <a:lnTo>
                  <a:pt x="12" y="54"/>
                </a:lnTo>
                <a:lnTo>
                  <a:pt x="12" y="54"/>
                </a:lnTo>
                <a:lnTo>
                  <a:pt x="18" y="54"/>
                </a:lnTo>
                <a:lnTo>
                  <a:pt x="18" y="54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2"/>
                </a:lnTo>
                <a:lnTo>
                  <a:pt x="18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8" y="48"/>
                </a:lnTo>
                <a:lnTo>
                  <a:pt x="48" y="42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60" y="48"/>
                </a:lnTo>
                <a:lnTo>
                  <a:pt x="60" y="42"/>
                </a:lnTo>
                <a:lnTo>
                  <a:pt x="60" y="42"/>
                </a:lnTo>
                <a:lnTo>
                  <a:pt x="72" y="30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84" y="18"/>
                </a:lnTo>
                <a:lnTo>
                  <a:pt x="84" y="18"/>
                </a:lnTo>
                <a:lnTo>
                  <a:pt x="84" y="24"/>
                </a:lnTo>
                <a:lnTo>
                  <a:pt x="84" y="18"/>
                </a:lnTo>
                <a:lnTo>
                  <a:pt x="90" y="18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18"/>
                </a:lnTo>
                <a:lnTo>
                  <a:pt x="96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08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20" y="24"/>
                </a:lnTo>
                <a:lnTo>
                  <a:pt x="126" y="24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24"/>
                </a:lnTo>
                <a:lnTo>
                  <a:pt x="138" y="24"/>
                </a:lnTo>
                <a:lnTo>
                  <a:pt x="144" y="18"/>
                </a:lnTo>
                <a:lnTo>
                  <a:pt x="144" y="18"/>
                </a:lnTo>
                <a:lnTo>
                  <a:pt x="150" y="12"/>
                </a:lnTo>
                <a:lnTo>
                  <a:pt x="150" y="12"/>
                </a:lnTo>
                <a:lnTo>
                  <a:pt x="150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0"/>
                </a:lnTo>
                <a:lnTo>
                  <a:pt x="150" y="0"/>
                </a:lnTo>
                <a:lnTo>
                  <a:pt x="150" y="0"/>
                </a:lnTo>
                <a:lnTo>
                  <a:pt x="150" y="0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56" y="0"/>
                </a:lnTo>
                <a:lnTo>
                  <a:pt x="162" y="6"/>
                </a:lnTo>
                <a:lnTo>
                  <a:pt x="162" y="6"/>
                </a:lnTo>
                <a:lnTo>
                  <a:pt x="162" y="6"/>
                </a:lnTo>
                <a:lnTo>
                  <a:pt x="162" y="6"/>
                </a:lnTo>
                <a:lnTo>
                  <a:pt x="168" y="6"/>
                </a:lnTo>
                <a:lnTo>
                  <a:pt x="168" y="6"/>
                </a:lnTo>
                <a:lnTo>
                  <a:pt x="168" y="6"/>
                </a:lnTo>
                <a:lnTo>
                  <a:pt x="168" y="6"/>
                </a:lnTo>
                <a:lnTo>
                  <a:pt x="168" y="0"/>
                </a:lnTo>
                <a:lnTo>
                  <a:pt x="174" y="0"/>
                </a:lnTo>
                <a:lnTo>
                  <a:pt x="174" y="0"/>
                </a:lnTo>
                <a:lnTo>
                  <a:pt x="174" y="0"/>
                </a:lnTo>
                <a:lnTo>
                  <a:pt x="174" y="0"/>
                </a:lnTo>
                <a:lnTo>
                  <a:pt x="174" y="0"/>
                </a:lnTo>
                <a:lnTo>
                  <a:pt x="174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6" y="6"/>
                </a:lnTo>
                <a:lnTo>
                  <a:pt x="186" y="6"/>
                </a:lnTo>
                <a:lnTo>
                  <a:pt x="186" y="0"/>
                </a:lnTo>
                <a:lnTo>
                  <a:pt x="186" y="0"/>
                </a:lnTo>
                <a:lnTo>
                  <a:pt x="186" y="6"/>
                </a:lnTo>
                <a:lnTo>
                  <a:pt x="186" y="6"/>
                </a:lnTo>
                <a:lnTo>
                  <a:pt x="186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6"/>
                </a:lnTo>
                <a:lnTo>
                  <a:pt x="192" y="12"/>
                </a:lnTo>
                <a:lnTo>
                  <a:pt x="198" y="12"/>
                </a:lnTo>
                <a:lnTo>
                  <a:pt x="204" y="12"/>
                </a:lnTo>
                <a:lnTo>
                  <a:pt x="204" y="12"/>
                </a:lnTo>
                <a:lnTo>
                  <a:pt x="204" y="12"/>
                </a:lnTo>
                <a:lnTo>
                  <a:pt x="210" y="6"/>
                </a:lnTo>
                <a:lnTo>
                  <a:pt x="210" y="6"/>
                </a:lnTo>
                <a:lnTo>
                  <a:pt x="210" y="6"/>
                </a:lnTo>
                <a:lnTo>
                  <a:pt x="216" y="6"/>
                </a:lnTo>
                <a:lnTo>
                  <a:pt x="216" y="6"/>
                </a:lnTo>
                <a:lnTo>
                  <a:pt x="216" y="0"/>
                </a:lnTo>
                <a:lnTo>
                  <a:pt x="222" y="0"/>
                </a:lnTo>
                <a:lnTo>
                  <a:pt x="222" y="0"/>
                </a:lnTo>
                <a:lnTo>
                  <a:pt x="222" y="0"/>
                </a:lnTo>
                <a:lnTo>
                  <a:pt x="222" y="0"/>
                </a:lnTo>
                <a:lnTo>
                  <a:pt x="222" y="0"/>
                </a:lnTo>
                <a:lnTo>
                  <a:pt x="228" y="0"/>
                </a:lnTo>
                <a:lnTo>
                  <a:pt x="228" y="0"/>
                </a:lnTo>
                <a:lnTo>
                  <a:pt x="228" y="0"/>
                </a:lnTo>
                <a:lnTo>
                  <a:pt x="228" y="0"/>
                </a:lnTo>
                <a:lnTo>
                  <a:pt x="228" y="0"/>
                </a:lnTo>
                <a:lnTo>
                  <a:pt x="234" y="0"/>
                </a:lnTo>
                <a:lnTo>
                  <a:pt x="234" y="0"/>
                </a:lnTo>
                <a:lnTo>
                  <a:pt x="234" y="6"/>
                </a:lnTo>
                <a:lnTo>
                  <a:pt x="234" y="6"/>
                </a:lnTo>
                <a:lnTo>
                  <a:pt x="234" y="6"/>
                </a:lnTo>
                <a:lnTo>
                  <a:pt x="234" y="6"/>
                </a:lnTo>
                <a:lnTo>
                  <a:pt x="234" y="6"/>
                </a:lnTo>
                <a:lnTo>
                  <a:pt x="240" y="0"/>
                </a:lnTo>
                <a:lnTo>
                  <a:pt x="240" y="6"/>
                </a:lnTo>
                <a:lnTo>
                  <a:pt x="234" y="6"/>
                </a:lnTo>
                <a:lnTo>
                  <a:pt x="234" y="12"/>
                </a:lnTo>
                <a:lnTo>
                  <a:pt x="240" y="12"/>
                </a:lnTo>
                <a:lnTo>
                  <a:pt x="240" y="12"/>
                </a:lnTo>
                <a:lnTo>
                  <a:pt x="240" y="12"/>
                </a:lnTo>
                <a:lnTo>
                  <a:pt x="240" y="18"/>
                </a:lnTo>
                <a:lnTo>
                  <a:pt x="240" y="18"/>
                </a:lnTo>
                <a:lnTo>
                  <a:pt x="240" y="18"/>
                </a:lnTo>
                <a:lnTo>
                  <a:pt x="240" y="18"/>
                </a:lnTo>
                <a:lnTo>
                  <a:pt x="240" y="24"/>
                </a:lnTo>
                <a:lnTo>
                  <a:pt x="240" y="24"/>
                </a:lnTo>
                <a:lnTo>
                  <a:pt x="240" y="24"/>
                </a:lnTo>
                <a:lnTo>
                  <a:pt x="240" y="24"/>
                </a:lnTo>
                <a:lnTo>
                  <a:pt x="246" y="24"/>
                </a:lnTo>
                <a:lnTo>
                  <a:pt x="246" y="24"/>
                </a:lnTo>
                <a:lnTo>
                  <a:pt x="246" y="30"/>
                </a:lnTo>
                <a:lnTo>
                  <a:pt x="246" y="30"/>
                </a:lnTo>
                <a:lnTo>
                  <a:pt x="246" y="30"/>
                </a:lnTo>
                <a:lnTo>
                  <a:pt x="246" y="36"/>
                </a:lnTo>
                <a:lnTo>
                  <a:pt x="246" y="36"/>
                </a:lnTo>
                <a:lnTo>
                  <a:pt x="246" y="36"/>
                </a:lnTo>
                <a:lnTo>
                  <a:pt x="246" y="36"/>
                </a:lnTo>
                <a:lnTo>
                  <a:pt x="246" y="42"/>
                </a:lnTo>
                <a:lnTo>
                  <a:pt x="246" y="42"/>
                </a:lnTo>
                <a:lnTo>
                  <a:pt x="246" y="42"/>
                </a:lnTo>
                <a:lnTo>
                  <a:pt x="246" y="48"/>
                </a:lnTo>
                <a:lnTo>
                  <a:pt x="246" y="48"/>
                </a:lnTo>
                <a:lnTo>
                  <a:pt x="246" y="48"/>
                </a:lnTo>
                <a:lnTo>
                  <a:pt x="252" y="48"/>
                </a:lnTo>
                <a:lnTo>
                  <a:pt x="252" y="48"/>
                </a:lnTo>
                <a:lnTo>
                  <a:pt x="246" y="54"/>
                </a:lnTo>
                <a:lnTo>
                  <a:pt x="246" y="54"/>
                </a:lnTo>
                <a:lnTo>
                  <a:pt x="246" y="54"/>
                </a:lnTo>
                <a:lnTo>
                  <a:pt x="252" y="54"/>
                </a:lnTo>
                <a:lnTo>
                  <a:pt x="252" y="60"/>
                </a:lnTo>
                <a:lnTo>
                  <a:pt x="246" y="60"/>
                </a:lnTo>
                <a:lnTo>
                  <a:pt x="246" y="66"/>
                </a:lnTo>
                <a:lnTo>
                  <a:pt x="246" y="66"/>
                </a:lnTo>
                <a:lnTo>
                  <a:pt x="240" y="66"/>
                </a:lnTo>
                <a:lnTo>
                  <a:pt x="234" y="66"/>
                </a:lnTo>
                <a:lnTo>
                  <a:pt x="228" y="66"/>
                </a:lnTo>
                <a:lnTo>
                  <a:pt x="222" y="66"/>
                </a:lnTo>
                <a:lnTo>
                  <a:pt x="222" y="66"/>
                </a:lnTo>
                <a:lnTo>
                  <a:pt x="216" y="66"/>
                </a:lnTo>
                <a:lnTo>
                  <a:pt x="216" y="72"/>
                </a:lnTo>
                <a:lnTo>
                  <a:pt x="216" y="72"/>
                </a:lnTo>
                <a:lnTo>
                  <a:pt x="210" y="72"/>
                </a:lnTo>
                <a:lnTo>
                  <a:pt x="210" y="72"/>
                </a:lnTo>
                <a:lnTo>
                  <a:pt x="210" y="78"/>
                </a:lnTo>
                <a:lnTo>
                  <a:pt x="204" y="84"/>
                </a:lnTo>
                <a:lnTo>
                  <a:pt x="204" y="84"/>
                </a:lnTo>
                <a:lnTo>
                  <a:pt x="204" y="84"/>
                </a:lnTo>
                <a:lnTo>
                  <a:pt x="204" y="84"/>
                </a:lnTo>
                <a:lnTo>
                  <a:pt x="198" y="90"/>
                </a:lnTo>
                <a:lnTo>
                  <a:pt x="198" y="90"/>
                </a:lnTo>
                <a:lnTo>
                  <a:pt x="198" y="90"/>
                </a:lnTo>
                <a:lnTo>
                  <a:pt x="198" y="96"/>
                </a:lnTo>
                <a:lnTo>
                  <a:pt x="198" y="96"/>
                </a:lnTo>
                <a:lnTo>
                  <a:pt x="192" y="102"/>
                </a:lnTo>
                <a:lnTo>
                  <a:pt x="192" y="102"/>
                </a:lnTo>
                <a:lnTo>
                  <a:pt x="192" y="102"/>
                </a:lnTo>
                <a:lnTo>
                  <a:pt x="186" y="102"/>
                </a:lnTo>
                <a:lnTo>
                  <a:pt x="186" y="102"/>
                </a:lnTo>
                <a:lnTo>
                  <a:pt x="186" y="102"/>
                </a:lnTo>
                <a:lnTo>
                  <a:pt x="186" y="108"/>
                </a:lnTo>
                <a:lnTo>
                  <a:pt x="186" y="108"/>
                </a:lnTo>
                <a:lnTo>
                  <a:pt x="186" y="114"/>
                </a:lnTo>
                <a:lnTo>
                  <a:pt x="186" y="114"/>
                </a:lnTo>
                <a:lnTo>
                  <a:pt x="186" y="120"/>
                </a:lnTo>
                <a:lnTo>
                  <a:pt x="186" y="120"/>
                </a:lnTo>
                <a:lnTo>
                  <a:pt x="180" y="126"/>
                </a:lnTo>
                <a:lnTo>
                  <a:pt x="180" y="126"/>
                </a:lnTo>
                <a:lnTo>
                  <a:pt x="180" y="126"/>
                </a:lnTo>
                <a:lnTo>
                  <a:pt x="180" y="126"/>
                </a:lnTo>
                <a:lnTo>
                  <a:pt x="180" y="126"/>
                </a:lnTo>
                <a:lnTo>
                  <a:pt x="168" y="126"/>
                </a:lnTo>
                <a:lnTo>
                  <a:pt x="168" y="126"/>
                </a:lnTo>
                <a:lnTo>
                  <a:pt x="168" y="126"/>
                </a:lnTo>
                <a:lnTo>
                  <a:pt x="168" y="126"/>
                </a:lnTo>
                <a:lnTo>
                  <a:pt x="168" y="126"/>
                </a:lnTo>
                <a:lnTo>
                  <a:pt x="162" y="126"/>
                </a:lnTo>
                <a:lnTo>
                  <a:pt x="168" y="132"/>
                </a:lnTo>
                <a:lnTo>
                  <a:pt x="162" y="132"/>
                </a:lnTo>
                <a:lnTo>
                  <a:pt x="156" y="132"/>
                </a:lnTo>
                <a:lnTo>
                  <a:pt x="156" y="138"/>
                </a:lnTo>
                <a:lnTo>
                  <a:pt x="156" y="138"/>
                </a:lnTo>
                <a:lnTo>
                  <a:pt x="156" y="138"/>
                </a:lnTo>
                <a:lnTo>
                  <a:pt x="156" y="138"/>
                </a:lnTo>
                <a:lnTo>
                  <a:pt x="150" y="144"/>
                </a:lnTo>
                <a:lnTo>
                  <a:pt x="150" y="144"/>
                </a:lnTo>
                <a:lnTo>
                  <a:pt x="144" y="150"/>
                </a:lnTo>
                <a:lnTo>
                  <a:pt x="144" y="150"/>
                </a:lnTo>
                <a:lnTo>
                  <a:pt x="144" y="150"/>
                </a:lnTo>
                <a:lnTo>
                  <a:pt x="144" y="150"/>
                </a:lnTo>
                <a:lnTo>
                  <a:pt x="144" y="156"/>
                </a:lnTo>
                <a:lnTo>
                  <a:pt x="144" y="156"/>
                </a:lnTo>
                <a:lnTo>
                  <a:pt x="144" y="162"/>
                </a:lnTo>
                <a:lnTo>
                  <a:pt x="138" y="162"/>
                </a:lnTo>
                <a:lnTo>
                  <a:pt x="138" y="162"/>
                </a:lnTo>
                <a:lnTo>
                  <a:pt x="138" y="162"/>
                </a:lnTo>
                <a:lnTo>
                  <a:pt x="138" y="168"/>
                </a:lnTo>
                <a:lnTo>
                  <a:pt x="144" y="168"/>
                </a:lnTo>
                <a:lnTo>
                  <a:pt x="144" y="174"/>
                </a:lnTo>
                <a:lnTo>
                  <a:pt x="144" y="174"/>
                </a:lnTo>
                <a:lnTo>
                  <a:pt x="144" y="174"/>
                </a:lnTo>
                <a:lnTo>
                  <a:pt x="144" y="174"/>
                </a:lnTo>
                <a:lnTo>
                  <a:pt x="138" y="174"/>
                </a:lnTo>
                <a:lnTo>
                  <a:pt x="132" y="168"/>
                </a:lnTo>
                <a:lnTo>
                  <a:pt x="132" y="168"/>
                </a:lnTo>
                <a:lnTo>
                  <a:pt x="132" y="168"/>
                </a:lnTo>
                <a:lnTo>
                  <a:pt x="132" y="168"/>
                </a:lnTo>
                <a:lnTo>
                  <a:pt x="126" y="168"/>
                </a:lnTo>
                <a:lnTo>
                  <a:pt x="126" y="168"/>
                </a:lnTo>
                <a:lnTo>
                  <a:pt x="126" y="162"/>
                </a:lnTo>
                <a:lnTo>
                  <a:pt x="120" y="162"/>
                </a:lnTo>
                <a:lnTo>
                  <a:pt x="120" y="162"/>
                </a:lnTo>
                <a:lnTo>
                  <a:pt x="120" y="162"/>
                </a:lnTo>
                <a:lnTo>
                  <a:pt x="120" y="162"/>
                </a:lnTo>
                <a:lnTo>
                  <a:pt x="120" y="162"/>
                </a:lnTo>
                <a:lnTo>
                  <a:pt x="120" y="162"/>
                </a:lnTo>
                <a:lnTo>
                  <a:pt x="120" y="162"/>
                </a:lnTo>
                <a:lnTo>
                  <a:pt x="120" y="162"/>
                </a:lnTo>
                <a:lnTo>
                  <a:pt x="120" y="162"/>
                </a:lnTo>
                <a:lnTo>
                  <a:pt x="120" y="156"/>
                </a:lnTo>
                <a:lnTo>
                  <a:pt x="120" y="156"/>
                </a:lnTo>
                <a:lnTo>
                  <a:pt x="120" y="156"/>
                </a:lnTo>
                <a:lnTo>
                  <a:pt x="120" y="156"/>
                </a:lnTo>
                <a:lnTo>
                  <a:pt x="114" y="156"/>
                </a:lnTo>
                <a:lnTo>
                  <a:pt x="114" y="156"/>
                </a:lnTo>
                <a:lnTo>
                  <a:pt x="114" y="150"/>
                </a:lnTo>
                <a:lnTo>
                  <a:pt x="114" y="150"/>
                </a:lnTo>
                <a:lnTo>
                  <a:pt x="114" y="150"/>
                </a:lnTo>
                <a:lnTo>
                  <a:pt x="114" y="150"/>
                </a:lnTo>
                <a:lnTo>
                  <a:pt x="114" y="150"/>
                </a:lnTo>
                <a:lnTo>
                  <a:pt x="108" y="150"/>
                </a:lnTo>
                <a:lnTo>
                  <a:pt x="108" y="150"/>
                </a:lnTo>
                <a:lnTo>
                  <a:pt x="108" y="150"/>
                </a:lnTo>
                <a:lnTo>
                  <a:pt x="108" y="150"/>
                </a:lnTo>
                <a:lnTo>
                  <a:pt x="108" y="150"/>
                </a:lnTo>
                <a:lnTo>
                  <a:pt x="102" y="150"/>
                </a:lnTo>
                <a:lnTo>
                  <a:pt x="102" y="150"/>
                </a:lnTo>
                <a:lnTo>
                  <a:pt x="102" y="144"/>
                </a:lnTo>
                <a:lnTo>
                  <a:pt x="96" y="144"/>
                </a:lnTo>
                <a:lnTo>
                  <a:pt x="96" y="144"/>
                </a:lnTo>
                <a:lnTo>
                  <a:pt x="96" y="144"/>
                </a:lnTo>
                <a:lnTo>
                  <a:pt x="96" y="144"/>
                </a:lnTo>
                <a:lnTo>
                  <a:pt x="96" y="144"/>
                </a:lnTo>
                <a:lnTo>
                  <a:pt x="96" y="144"/>
                </a:lnTo>
                <a:lnTo>
                  <a:pt x="96" y="144"/>
                </a:lnTo>
                <a:lnTo>
                  <a:pt x="96" y="144"/>
                </a:lnTo>
                <a:lnTo>
                  <a:pt x="90" y="144"/>
                </a:lnTo>
                <a:lnTo>
                  <a:pt x="90" y="144"/>
                </a:lnTo>
                <a:lnTo>
                  <a:pt x="90" y="144"/>
                </a:lnTo>
                <a:lnTo>
                  <a:pt x="90" y="144"/>
                </a:lnTo>
                <a:lnTo>
                  <a:pt x="90" y="144"/>
                </a:lnTo>
                <a:lnTo>
                  <a:pt x="84" y="144"/>
                </a:lnTo>
                <a:lnTo>
                  <a:pt x="84" y="144"/>
                </a:lnTo>
                <a:lnTo>
                  <a:pt x="84" y="144"/>
                </a:lnTo>
                <a:lnTo>
                  <a:pt x="84" y="144"/>
                </a:lnTo>
                <a:lnTo>
                  <a:pt x="84" y="144"/>
                </a:lnTo>
                <a:lnTo>
                  <a:pt x="84" y="144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84" y="138"/>
                </a:lnTo>
                <a:lnTo>
                  <a:pt x="78" y="138"/>
                </a:lnTo>
                <a:lnTo>
                  <a:pt x="78" y="138"/>
                </a:lnTo>
                <a:lnTo>
                  <a:pt x="78" y="138"/>
                </a:lnTo>
                <a:lnTo>
                  <a:pt x="72" y="138"/>
                </a:lnTo>
                <a:lnTo>
                  <a:pt x="78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8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72" y="132"/>
                </a:lnTo>
                <a:lnTo>
                  <a:pt x="66" y="132"/>
                </a:lnTo>
                <a:lnTo>
                  <a:pt x="66" y="132"/>
                </a:lnTo>
                <a:lnTo>
                  <a:pt x="66" y="132"/>
                </a:lnTo>
                <a:lnTo>
                  <a:pt x="66" y="132"/>
                </a:lnTo>
                <a:lnTo>
                  <a:pt x="66" y="132"/>
                </a:lnTo>
                <a:lnTo>
                  <a:pt x="66" y="132"/>
                </a:lnTo>
                <a:lnTo>
                  <a:pt x="66" y="132"/>
                </a:lnTo>
                <a:lnTo>
                  <a:pt x="66" y="132"/>
                </a:lnTo>
                <a:lnTo>
                  <a:pt x="66" y="132"/>
                </a:lnTo>
                <a:lnTo>
                  <a:pt x="66" y="132"/>
                </a:lnTo>
                <a:lnTo>
                  <a:pt x="60" y="132"/>
                </a:lnTo>
                <a:lnTo>
                  <a:pt x="60" y="132"/>
                </a:lnTo>
                <a:lnTo>
                  <a:pt x="60" y="132"/>
                </a:lnTo>
                <a:lnTo>
                  <a:pt x="60" y="132"/>
                </a:lnTo>
                <a:lnTo>
                  <a:pt x="60" y="132"/>
                </a:lnTo>
                <a:lnTo>
                  <a:pt x="60" y="132"/>
                </a:lnTo>
                <a:lnTo>
                  <a:pt x="60" y="132"/>
                </a:lnTo>
                <a:lnTo>
                  <a:pt x="54" y="132"/>
                </a:lnTo>
                <a:lnTo>
                  <a:pt x="54" y="126"/>
                </a:lnTo>
                <a:lnTo>
                  <a:pt x="54" y="126"/>
                </a:lnTo>
                <a:lnTo>
                  <a:pt x="54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8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42" y="126"/>
                </a:lnTo>
                <a:lnTo>
                  <a:pt x="36" y="126"/>
                </a:lnTo>
                <a:lnTo>
                  <a:pt x="30" y="126"/>
                </a:lnTo>
                <a:lnTo>
                  <a:pt x="36" y="126"/>
                </a:lnTo>
                <a:lnTo>
                  <a:pt x="30" y="120"/>
                </a:lnTo>
                <a:lnTo>
                  <a:pt x="30" y="120"/>
                </a:lnTo>
                <a:lnTo>
                  <a:pt x="36" y="120"/>
                </a:lnTo>
                <a:lnTo>
                  <a:pt x="30" y="120"/>
                </a:lnTo>
                <a:lnTo>
                  <a:pt x="30" y="90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6" y="84"/>
                </a:lnTo>
                <a:lnTo>
                  <a:pt x="36" y="84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0" y="78"/>
                </a:lnTo>
                <a:lnTo>
                  <a:pt x="30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18" y="78"/>
                </a:lnTo>
                <a:lnTo>
                  <a:pt x="18" y="78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66"/>
                </a:lnTo>
                <a:lnTo>
                  <a:pt x="12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0"/>
                </a:lnTo>
                <a:lnTo>
                  <a:pt x="6" y="6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811" name="Freeform 544"/>
          <p:cNvSpPr>
            <a:spLocks/>
          </p:cNvSpPr>
          <p:nvPr/>
        </p:nvSpPr>
        <p:spPr bwMode="auto">
          <a:xfrm>
            <a:off x="6864702" y="3370537"/>
            <a:ext cx="134905" cy="186299"/>
          </a:xfrm>
          <a:custGeom>
            <a:avLst/>
            <a:gdLst>
              <a:gd name="T0" fmla="*/ 6 w 126"/>
              <a:gd name="T1" fmla="*/ 18 h 174"/>
              <a:gd name="T2" fmla="*/ 18 w 126"/>
              <a:gd name="T3" fmla="*/ 12 h 174"/>
              <a:gd name="T4" fmla="*/ 18 w 126"/>
              <a:gd name="T5" fmla="*/ 6 h 174"/>
              <a:gd name="T6" fmla="*/ 30 w 126"/>
              <a:gd name="T7" fmla="*/ 6 h 174"/>
              <a:gd name="T8" fmla="*/ 36 w 126"/>
              <a:gd name="T9" fmla="*/ 6 h 174"/>
              <a:gd name="T10" fmla="*/ 42 w 126"/>
              <a:gd name="T11" fmla="*/ 6 h 174"/>
              <a:gd name="T12" fmla="*/ 48 w 126"/>
              <a:gd name="T13" fmla="*/ 12 h 174"/>
              <a:gd name="T14" fmla="*/ 54 w 126"/>
              <a:gd name="T15" fmla="*/ 6 h 174"/>
              <a:gd name="T16" fmla="*/ 60 w 126"/>
              <a:gd name="T17" fmla="*/ 6 h 174"/>
              <a:gd name="T18" fmla="*/ 66 w 126"/>
              <a:gd name="T19" fmla="*/ 6 h 174"/>
              <a:gd name="T20" fmla="*/ 66 w 126"/>
              <a:gd name="T21" fmla="*/ 6 h 174"/>
              <a:gd name="T22" fmla="*/ 72 w 126"/>
              <a:gd name="T23" fmla="*/ 18 h 174"/>
              <a:gd name="T24" fmla="*/ 78 w 126"/>
              <a:gd name="T25" fmla="*/ 24 h 174"/>
              <a:gd name="T26" fmla="*/ 90 w 126"/>
              <a:gd name="T27" fmla="*/ 48 h 174"/>
              <a:gd name="T28" fmla="*/ 96 w 126"/>
              <a:gd name="T29" fmla="*/ 60 h 174"/>
              <a:gd name="T30" fmla="*/ 96 w 126"/>
              <a:gd name="T31" fmla="*/ 60 h 174"/>
              <a:gd name="T32" fmla="*/ 102 w 126"/>
              <a:gd name="T33" fmla="*/ 66 h 174"/>
              <a:gd name="T34" fmla="*/ 108 w 126"/>
              <a:gd name="T35" fmla="*/ 72 h 174"/>
              <a:gd name="T36" fmla="*/ 108 w 126"/>
              <a:gd name="T37" fmla="*/ 78 h 174"/>
              <a:gd name="T38" fmla="*/ 114 w 126"/>
              <a:gd name="T39" fmla="*/ 90 h 174"/>
              <a:gd name="T40" fmla="*/ 126 w 126"/>
              <a:gd name="T41" fmla="*/ 102 h 174"/>
              <a:gd name="T42" fmla="*/ 120 w 126"/>
              <a:gd name="T43" fmla="*/ 108 h 174"/>
              <a:gd name="T44" fmla="*/ 120 w 126"/>
              <a:gd name="T45" fmla="*/ 114 h 174"/>
              <a:gd name="T46" fmla="*/ 114 w 126"/>
              <a:gd name="T47" fmla="*/ 120 h 174"/>
              <a:gd name="T48" fmla="*/ 108 w 126"/>
              <a:gd name="T49" fmla="*/ 126 h 174"/>
              <a:gd name="T50" fmla="*/ 108 w 126"/>
              <a:gd name="T51" fmla="*/ 132 h 174"/>
              <a:gd name="T52" fmla="*/ 108 w 126"/>
              <a:gd name="T53" fmla="*/ 144 h 174"/>
              <a:gd name="T54" fmla="*/ 108 w 126"/>
              <a:gd name="T55" fmla="*/ 150 h 174"/>
              <a:gd name="T56" fmla="*/ 102 w 126"/>
              <a:gd name="T57" fmla="*/ 162 h 174"/>
              <a:gd name="T58" fmla="*/ 96 w 126"/>
              <a:gd name="T59" fmla="*/ 162 h 174"/>
              <a:gd name="T60" fmla="*/ 78 w 126"/>
              <a:gd name="T61" fmla="*/ 162 h 174"/>
              <a:gd name="T62" fmla="*/ 66 w 126"/>
              <a:gd name="T63" fmla="*/ 162 h 174"/>
              <a:gd name="T64" fmla="*/ 66 w 126"/>
              <a:gd name="T65" fmla="*/ 168 h 174"/>
              <a:gd name="T66" fmla="*/ 60 w 126"/>
              <a:gd name="T67" fmla="*/ 174 h 174"/>
              <a:gd name="T68" fmla="*/ 54 w 126"/>
              <a:gd name="T69" fmla="*/ 174 h 174"/>
              <a:gd name="T70" fmla="*/ 54 w 126"/>
              <a:gd name="T71" fmla="*/ 162 h 174"/>
              <a:gd name="T72" fmla="*/ 54 w 126"/>
              <a:gd name="T73" fmla="*/ 162 h 174"/>
              <a:gd name="T74" fmla="*/ 42 w 126"/>
              <a:gd name="T75" fmla="*/ 156 h 174"/>
              <a:gd name="T76" fmla="*/ 24 w 126"/>
              <a:gd name="T77" fmla="*/ 156 h 174"/>
              <a:gd name="T78" fmla="*/ 18 w 126"/>
              <a:gd name="T79" fmla="*/ 150 h 174"/>
              <a:gd name="T80" fmla="*/ 12 w 126"/>
              <a:gd name="T81" fmla="*/ 138 h 174"/>
              <a:gd name="T82" fmla="*/ 12 w 126"/>
              <a:gd name="T83" fmla="*/ 126 h 174"/>
              <a:gd name="T84" fmla="*/ 12 w 126"/>
              <a:gd name="T85" fmla="*/ 120 h 174"/>
              <a:gd name="T86" fmla="*/ 24 w 126"/>
              <a:gd name="T87" fmla="*/ 114 h 174"/>
              <a:gd name="T88" fmla="*/ 36 w 126"/>
              <a:gd name="T89" fmla="*/ 114 h 174"/>
              <a:gd name="T90" fmla="*/ 30 w 126"/>
              <a:gd name="T91" fmla="*/ 114 h 174"/>
              <a:gd name="T92" fmla="*/ 30 w 126"/>
              <a:gd name="T93" fmla="*/ 108 h 174"/>
              <a:gd name="T94" fmla="*/ 24 w 126"/>
              <a:gd name="T95" fmla="*/ 102 h 174"/>
              <a:gd name="T96" fmla="*/ 18 w 126"/>
              <a:gd name="T97" fmla="*/ 90 h 174"/>
              <a:gd name="T98" fmla="*/ 12 w 126"/>
              <a:gd name="T99" fmla="*/ 84 h 174"/>
              <a:gd name="T100" fmla="*/ 12 w 126"/>
              <a:gd name="T101" fmla="*/ 78 h 174"/>
              <a:gd name="T102" fmla="*/ 12 w 126"/>
              <a:gd name="T103" fmla="*/ 66 h 174"/>
              <a:gd name="T104" fmla="*/ 12 w 126"/>
              <a:gd name="T105" fmla="*/ 66 h 174"/>
              <a:gd name="T106" fmla="*/ 12 w 126"/>
              <a:gd name="T107" fmla="*/ 54 h 174"/>
              <a:gd name="T108" fmla="*/ 6 w 126"/>
              <a:gd name="T109" fmla="*/ 48 h 174"/>
              <a:gd name="T110" fmla="*/ 18 w 126"/>
              <a:gd name="T111" fmla="*/ 48 h 174"/>
              <a:gd name="T112" fmla="*/ 18 w 126"/>
              <a:gd name="T113" fmla="*/ 42 h 174"/>
              <a:gd name="T114" fmla="*/ 6 w 126"/>
              <a:gd name="T115" fmla="*/ 30 h 174"/>
              <a:gd name="T116" fmla="*/ 0 w 126"/>
              <a:gd name="T117" fmla="*/ 18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26" h="174">
                <a:moveTo>
                  <a:pt x="0" y="18"/>
                </a:move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0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12" y="18"/>
                </a:lnTo>
                <a:lnTo>
                  <a:pt x="12" y="18"/>
                </a:lnTo>
                <a:lnTo>
                  <a:pt x="18" y="18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6"/>
                </a:lnTo>
                <a:lnTo>
                  <a:pt x="18" y="0"/>
                </a:lnTo>
                <a:lnTo>
                  <a:pt x="24" y="0"/>
                </a:lnTo>
                <a:lnTo>
                  <a:pt x="24" y="0"/>
                </a:lnTo>
                <a:lnTo>
                  <a:pt x="24" y="0"/>
                </a:lnTo>
                <a:lnTo>
                  <a:pt x="30" y="6"/>
                </a:lnTo>
                <a:lnTo>
                  <a:pt x="30" y="0"/>
                </a:lnTo>
                <a:lnTo>
                  <a:pt x="30" y="6"/>
                </a:lnTo>
                <a:lnTo>
                  <a:pt x="30" y="6"/>
                </a:lnTo>
                <a:lnTo>
                  <a:pt x="36" y="0"/>
                </a:lnTo>
                <a:lnTo>
                  <a:pt x="36" y="0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60" y="0"/>
                </a:lnTo>
                <a:lnTo>
                  <a:pt x="60" y="0"/>
                </a:lnTo>
                <a:lnTo>
                  <a:pt x="60" y="6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6" y="0"/>
                </a:lnTo>
                <a:lnTo>
                  <a:pt x="66" y="0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12"/>
                </a:lnTo>
                <a:lnTo>
                  <a:pt x="66" y="12"/>
                </a:lnTo>
                <a:lnTo>
                  <a:pt x="66" y="18"/>
                </a:lnTo>
                <a:lnTo>
                  <a:pt x="66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24"/>
                </a:lnTo>
                <a:lnTo>
                  <a:pt x="72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30"/>
                </a:lnTo>
                <a:lnTo>
                  <a:pt x="84" y="30"/>
                </a:lnTo>
                <a:lnTo>
                  <a:pt x="84" y="36"/>
                </a:lnTo>
                <a:lnTo>
                  <a:pt x="84" y="36"/>
                </a:lnTo>
                <a:lnTo>
                  <a:pt x="90" y="42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54"/>
                </a:lnTo>
                <a:lnTo>
                  <a:pt x="90" y="54"/>
                </a:lnTo>
                <a:lnTo>
                  <a:pt x="90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0"/>
                </a:lnTo>
                <a:lnTo>
                  <a:pt x="102" y="66"/>
                </a:lnTo>
                <a:lnTo>
                  <a:pt x="102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90"/>
                </a:lnTo>
                <a:lnTo>
                  <a:pt x="120" y="90"/>
                </a:lnTo>
                <a:lnTo>
                  <a:pt x="126" y="96"/>
                </a:lnTo>
                <a:lnTo>
                  <a:pt x="126" y="96"/>
                </a:lnTo>
                <a:lnTo>
                  <a:pt x="126" y="96"/>
                </a:lnTo>
                <a:lnTo>
                  <a:pt x="126" y="96"/>
                </a:lnTo>
                <a:lnTo>
                  <a:pt x="126" y="96"/>
                </a:lnTo>
                <a:lnTo>
                  <a:pt x="126" y="102"/>
                </a:lnTo>
                <a:lnTo>
                  <a:pt x="126" y="102"/>
                </a:lnTo>
                <a:lnTo>
                  <a:pt x="126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2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14"/>
                </a:lnTo>
                <a:lnTo>
                  <a:pt x="120" y="114"/>
                </a:lnTo>
                <a:lnTo>
                  <a:pt x="120" y="114"/>
                </a:lnTo>
                <a:lnTo>
                  <a:pt x="120" y="114"/>
                </a:lnTo>
                <a:lnTo>
                  <a:pt x="114" y="114"/>
                </a:lnTo>
                <a:lnTo>
                  <a:pt x="114" y="114"/>
                </a:lnTo>
                <a:lnTo>
                  <a:pt x="114" y="120"/>
                </a:lnTo>
                <a:lnTo>
                  <a:pt x="114" y="120"/>
                </a:lnTo>
                <a:lnTo>
                  <a:pt x="114" y="120"/>
                </a:lnTo>
                <a:lnTo>
                  <a:pt x="114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0"/>
                </a:lnTo>
                <a:lnTo>
                  <a:pt x="108" y="126"/>
                </a:lnTo>
                <a:lnTo>
                  <a:pt x="108" y="120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8" y="126"/>
                </a:lnTo>
                <a:lnTo>
                  <a:pt x="102" y="132"/>
                </a:lnTo>
                <a:lnTo>
                  <a:pt x="102" y="132"/>
                </a:lnTo>
                <a:lnTo>
                  <a:pt x="102" y="132"/>
                </a:lnTo>
                <a:lnTo>
                  <a:pt x="108" y="132"/>
                </a:lnTo>
                <a:lnTo>
                  <a:pt x="108" y="138"/>
                </a:lnTo>
                <a:lnTo>
                  <a:pt x="108" y="138"/>
                </a:lnTo>
                <a:lnTo>
                  <a:pt x="108" y="138"/>
                </a:lnTo>
                <a:lnTo>
                  <a:pt x="108" y="144"/>
                </a:lnTo>
                <a:lnTo>
                  <a:pt x="108" y="144"/>
                </a:lnTo>
                <a:lnTo>
                  <a:pt x="108" y="144"/>
                </a:lnTo>
                <a:lnTo>
                  <a:pt x="108" y="144"/>
                </a:lnTo>
                <a:lnTo>
                  <a:pt x="108" y="144"/>
                </a:lnTo>
                <a:lnTo>
                  <a:pt x="108" y="144"/>
                </a:lnTo>
                <a:lnTo>
                  <a:pt x="114" y="144"/>
                </a:lnTo>
                <a:lnTo>
                  <a:pt x="114" y="150"/>
                </a:lnTo>
                <a:lnTo>
                  <a:pt x="114" y="150"/>
                </a:lnTo>
                <a:lnTo>
                  <a:pt x="108" y="150"/>
                </a:lnTo>
                <a:lnTo>
                  <a:pt x="108" y="150"/>
                </a:lnTo>
                <a:lnTo>
                  <a:pt x="108" y="150"/>
                </a:lnTo>
                <a:lnTo>
                  <a:pt x="102" y="156"/>
                </a:lnTo>
                <a:lnTo>
                  <a:pt x="102" y="156"/>
                </a:lnTo>
                <a:lnTo>
                  <a:pt x="102" y="156"/>
                </a:lnTo>
                <a:lnTo>
                  <a:pt x="102" y="162"/>
                </a:lnTo>
                <a:lnTo>
                  <a:pt x="102" y="162"/>
                </a:lnTo>
                <a:lnTo>
                  <a:pt x="102" y="162"/>
                </a:lnTo>
                <a:lnTo>
                  <a:pt x="102" y="162"/>
                </a:lnTo>
                <a:lnTo>
                  <a:pt x="102" y="162"/>
                </a:lnTo>
                <a:lnTo>
                  <a:pt x="102" y="168"/>
                </a:lnTo>
                <a:lnTo>
                  <a:pt x="102" y="168"/>
                </a:lnTo>
                <a:lnTo>
                  <a:pt x="102" y="168"/>
                </a:lnTo>
                <a:lnTo>
                  <a:pt x="96" y="162"/>
                </a:lnTo>
                <a:lnTo>
                  <a:pt x="96" y="162"/>
                </a:lnTo>
                <a:lnTo>
                  <a:pt x="96" y="168"/>
                </a:lnTo>
                <a:lnTo>
                  <a:pt x="96" y="168"/>
                </a:lnTo>
                <a:lnTo>
                  <a:pt x="90" y="168"/>
                </a:lnTo>
                <a:lnTo>
                  <a:pt x="90" y="168"/>
                </a:lnTo>
                <a:lnTo>
                  <a:pt x="90" y="168"/>
                </a:lnTo>
                <a:lnTo>
                  <a:pt x="90" y="174"/>
                </a:lnTo>
                <a:lnTo>
                  <a:pt x="78" y="162"/>
                </a:lnTo>
                <a:lnTo>
                  <a:pt x="78" y="162"/>
                </a:lnTo>
                <a:lnTo>
                  <a:pt x="78" y="162"/>
                </a:lnTo>
                <a:lnTo>
                  <a:pt x="72" y="162"/>
                </a:lnTo>
                <a:lnTo>
                  <a:pt x="72" y="162"/>
                </a:lnTo>
                <a:lnTo>
                  <a:pt x="72" y="162"/>
                </a:lnTo>
                <a:lnTo>
                  <a:pt x="72" y="162"/>
                </a:lnTo>
                <a:lnTo>
                  <a:pt x="66" y="162"/>
                </a:lnTo>
                <a:lnTo>
                  <a:pt x="66" y="168"/>
                </a:lnTo>
                <a:lnTo>
                  <a:pt x="66" y="168"/>
                </a:lnTo>
                <a:lnTo>
                  <a:pt x="66" y="168"/>
                </a:lnTo>
                <a:lnTo>
                  <a:pt x="66" y="168"/>
                </a:lnTo>
                <a:lnTo>
                  <a:pt x="66" y="168"/>
                </a:lnTo>
                <a:lnTo>
                  <a:pt x="66" y="168"/>
                </a:lnTo>
                <a:lnTo>
                  <a:pt x="66" y="168"/>
                </a:lnTo>
                <a:lnTo>
                  <a:pt x="66" y="168"/>
                </a:lnTo>
                <a:lnTo>
                  <a:pt x="66" y="174"/>
                </a:lnTo>
                <a:lnTo>
                  <a:pt x="66" y="174"/>
                </a:lnTo>
                <a:lnTo>
                  <a:pt x="66" y="174"/>
                </a:lnTo>
                <a:lnTo>
                  <a:pt x="66" y="174"/>
                </a:lnTo>
                <a:lnTo>
                  <a:pt x="60" y="174"/>
                </a:lnTo>
                <a:lnTo>
                  <a:pt x="60" y="174"/>
                </a:lnTo>
                <a:lnTo>
                  <a:pt x="60" y="174"/>
                </a:lnTo>
                <a:lnTo>
                  <a:pt x="60" y="174"/>
                </a:lnTo>
                <a:lnTo>
                  <a:pt x="60" y="174"/>
                </a:lnTo>
                <a:lnTo>
                  <a:pt x="60" y="174"/>
                </a:lnTo>
                <a:lnTo>
                  <a:pt x="60" y="174"/>
                </a:lnTo>
                <a:lnTo>
                  <a:pt x="54" y="174"/>
                </a:lnTo>
                <a:lnTo>
                  <a:pt x="54" y="174"/>
                </a:lnTo>
                <a:lnTo>
                  <a:pt x="54" y="174"/>
                </a:lnTo>
                <a:lnTo>
                  <a:pt x="54" y="168"/>
                </a:lnTo>
                <a:lnTo>
                  <a:pt x="54" y="168"/>
                </a:lnTo>
                <a:lnTo>
                  <a:pt x="54" y="168"/>
                </a:lnTo>
                <a:lnTo>
                  <a:pt x="54" y="168"/>
                </a:lnTo>
                <a:lnTo>
                  <a:pt x="54" y="168"/>
                </a:lnTo>
                <a:lnTo>
                  <a:pt x="54" y="162"/>
                </a:lnTo>
                <a:lnTo>
                  <a:pt x="54" y="162"/>
                </a:lnTo>
                <a:lnTo>
                  <a:pt x="54" y="162"/>
                </a:lnTo>
                <a:lnTo>
                  <a:pt x="54" y="162"/>
                </a:lnTo>
                <a:lnTo>
                  <a:pt x="48" y="162"/>
                </a:lnTo>
                <a:lnTo>
                  <a:pt x="54" y="162"/>
                </a:lnTo>
                <a:lnTo>
                  <a:pt x="54" y="162"/>
                </a:lnTo>
                <a:lnTo>
                  <a:pt x="54" y="162"/>
                </a:lnTo>
                <a:lnTo>
                  <a:pt x="54" y="162"/>
                </a:lnTo>
                <a:lnTo>
                  <a:pt x="54" y="162"/>
                </a:lnTo>
                <a:lnTo>
                  <a:pt x="48" y="156"/>
                </a:lnTo>
                <a:lnTo>
                  <a:pt x="48" y="156"/>
                </a:lnTo>
                <a:lnTo>
                  <a:pt x="48" y="156"/>
                </a:lnTo>
                <a:lnTo>
                  <a:pt x="42" y="156"/>
                </a:lnTo>
                <a:lnTo>
                  <a:pt x="42" y="156"/>
                </a:lnTo>
                <a:lnTo>
                  <a:pt x="42" y="156"/>
                </a:lnTo>
                <a:lnTo>
                  <a:pt x="36" y="156"/>
                </a:lnTo>
                <a:lnTo>
                  <a:pt x="36" y="156"/>
                </a:lnTo>
                <a:lnTo>
                  <a:pt x="36" y="156"/>
                </a:lnTo>
                <a:lnTo>
                  <a:pt x="24" y="162"/>
                </a:lnTo>
                <a:lnTo>
                  <a:pt x="24" y="156"/>
                </a:lnTo>
                <a:lnTo>
                  <a:pt x="24" y="156"/>
                </a:lnTo>
                <a:lnTo>
                  <a:pt x="24" y="162"/>
                </a:lnTo>
                <a:lnTo>
                  <a:pt x="24" y="156"/>
                </a:lnTo>
                <a:lnTo>
                  <a:pt x="18" y="156"/>
                </a:lnTo>
                <a:lnTo>
                  <a:pt x="18" y="156"/>
                </a:lnTo>
                <a:lnTo>
                  <a:pt x="18" y="156"/>
                </a:lnTo>
                <a:lnTo>
                  <a:pt x="18" y="156"/>
                </a:lnTo>
                <a:lnTo>
                  <a:pt x="18" y="150"/>
                </a:lnTo>
                <a:lnTo>
                  <a:pt x="12" y="150"/>
                </a:lnTo>
                <a:lnTo>
                  <a:pt x="12" y="150"/>
                </a:lnTo>
                <a:lnTo>
                  <a:pt x="12" y="150"/>
                </a:lnTo>
                <a:lnTo>
                  <a:pt x="12" y="144"/>
                </a:lnTo>
                <a:lnTo>
                  <a:pt x="12" y="144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12" y="138"/>
                </a:lnTo>
                <a:lnTo>
                  <a:pt x="18" y="132"/>
                </a:lnTo>
                <a:lnTo>
                  <a:pt x="18" y="132"/>
                </a:lnTo>
                <a:lnTo>
                  <a:pt x="18" y="132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6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2" y="120"/>
                </a:lnTo>
                <a:lnTo>
                  <a:pt x="18" y="120"/>
                </a:lnTo>
                <a:lnTo>
                  <a:pt x="18" y="120"/>
                </a:lnTo>
                <a:lnTo>
                  <a:pt x="18" y="120"/>
                </a:lnTo>
                <a:lnTo>
                  <a:pt x="24" y="120"/>
                </a:lnTo>
                <a:lnTo>
                  <a:pt x="24" y="114"/>
                </a:lnTo>
                <a:lnTo>
                  <a:pt x="24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20"/>
                </a:lnTo>
                <a:lnTo>
                  <a:pt x="30" y="120"/>
                </a:lnTo>
                <a:lnTo>
                  <a:pt x="30" y="120"/>
                </a:lnTo>
                <a:lnTo>
                  <a:pt x="36" y="120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6" y="114"/>
                </a:lnTo>
                <a:lnTo>
                  <a:pt x="30" y="114"/>
                </a:lnTo>
                <a:lnTo>
                  <a:pt x="30" y="114"/>
                </a:lnTo>
                <a:lnTo>
                  <a:pt x="30" y="108"/>
                </a:lnTo>
                <a:lnTo>
                  <a:pt x="30" y="114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30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24" y="102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6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8" y="72"/>
                </a:lnTo>
                <a:lnTo>
                  <a:pt x="12" y="72"/>
                </a:lnTo>
                <a:lnTo>
                  <a:pt x="12" y="72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6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54"/>
                </a:lnTo>
                <a:lnTo>
                  <a:pt x="12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48"/>
                </a:lnTo>
                <a:lnTo>
                  <a:pt x="6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8" y="48"/>
                </a:lnTo>
                <a:lnTo>
                  <a:pt x="18" y="48"/>
                </a:lnTo>
                <a:lnTo>
                  <a:pt x="24" y="54"/>
                </a:lnTo>
                <a:lnTo>
                  <a:pt x="24" y="54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2"/>
                </a:lnTo>
                <a:lnTo>
                  <a:pt x="18" y="42"/>
                </a:lnTo>
                <a:lnTo>
                  <a:pt x="18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0" y="24"/>
                </a:lnTo>
                <a:lnTo>
                  <a:pt x="0" y="24"/>
                </a:lnTo>
                <a:lnTo>
                  <a:pt x="0" y="18"/>
                </a:lnTo>
                <a:lnTo>
                  <a:pt x="0" y="1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812" name="Freeform 545"/>
          <p:cNvSpPr>
            <a:spLocks/>
          </p:cNvSpPr>
          <p:nvPr/>
        </p:nvSpPr>
        <p:spPr bwMode="auto">
          <a:xfrm>
            <a:off x="6588468" y="2830913"/>
            <a:ext cx="211994" cy="379022"/>
          </a:xfrm>
          <a:custGeom>
            <a:avLst/>
            <a:gdLst>
              <a:gd name="T0" fmla="*/ 0 w 198"/>
              <a:gd name="T1" fmla="*/ 282 h 354"/>
              <a:gd name="T2" fmla="*/ 6 w 198"/>
              <a:gd name="T3" fmla="*/ 270 h 354"/>
              <a:gd name="T4" fmla="*/ 12 w 198"/>
              <a:gd name="T5" fmla="*/ 258 h 354"/>
              <a:gd name="T6" fmla="*/ 12 w 198"/>
              <a:gd name="T7" fmla="*/ 246 h 354"/>
              <a:gd name="T8" fmla="*/ 6 w 198"/>
              <a:gd name="T9" fmla="*/ 228 h 354"/>
              <a:gd name="T10" fmla="*/ 6 w 198"/>
              <a:gd name="T11" fmla="*/ 198 h 354"/>
              <a:gd name="T12" fmla="*/ 12 w 198"/>
              <a:gd name="T13" fmla="*/ 168 h 354"/>
              <a:gd name="T14" fmla="*/ 36 w 198"/>
              <a:gd name="T15" fmla="*/ 120 h 354"/>
              <a:gd name="T16" fmla="*/ 36 w 198"/>
              <a:gd name="T17" fmla="*/ 84 h 354"/>
              <a:gd name="T18" fmla="*/ 48 w 198"/>
              <a:gd name="T19" fmla="*/ 60 h 354"/>
              <a:gd name="T20" fmla="*/ 54 w 198"/>
              <a:gd name="T21" fmla="*/ 42 h 354"/>
              <a:gd name="T22" fmla="*/ 60 w 198"/>
              <a:gd name="T23" fmla="*/ 36 h 354"/>
              <a:gd name="T24" fmla="*/ 66 w 198"/>
              <a:gd name="T25" fmla="*/ 24 h 354"/>
              <a:gd name="T26" fmla="*/ 72 w 198"/>
              <a:gd name="T27" fmla="*/ 12 h 354"/>
              <a:gd name="T28" fmla="*/ 90 w 198"/>
              <a:gd name="T29" fmla="*/ 6 h 354"/>
              <a:gd name="T30" fmla="*/ 90 w 198"/>
              <a:gd name="T31" fmla="*/ 6 h 354"/>
              <a:gd name="T32" fmla="*/ 90 w 198"/>
              <a:gd name="T33" fmla="*/ 18 h 354"/>
              <a:gd name="T34" fmla="*/ 78 w 198"/>
              <a:gd name="T35" fmla="*/ 36 h 354"/>
              <a:gd name="T36" fmla="*/ 78 w 198"/>
              <a:gd name="T37" fmla="*/ 42 h 354"/>
              <a:gd name="T38" fmla="*/ 78 w 198"/>
              <a:gd name="T39" fmla="*/ 54 h 354"/>
              <a:gd name="T40" fmla="*/ 84 w 198"/>
              <a:gd name="T41" fmla="*/ 60 h 354"/>
              <a:gd name="T42" fmla="*/ 96 w 198"/>
              <a:gd name="T43" fmla="*/ 66 h 354"/>
              <a:gd name="T44" fmla="*/ 126 w 198"/>
              <a:gd name="T45" fmla="*/ 78 h 354"/>
              <a:gd name="T46" fmla="*/ 174 w 198"/>
              <a:gd name="T47" fmla="*/ 114 h 354"/>
              <a:gd name="T48" fmla="*/ 162 w 198"/>
              <a:gd name="T49" fmla="*/ 126 h 354"/>
              <a:gd name="T50" fmla="*/ 150 w 198"/>
              <a:gd name="T51" fmla="*/ 132 h 354"/>
              <a:gd name="T52" fmla="*/ 138 w 198"/>
              <a:gd name="T53" fmla="*/ 138 h 354"/>
              <a:gd name="T54" fmla="*/ 126 w 198"/>
              <a:gd name="T55" fmla="*/ 144 h 354"/>
              <a:gd name="T56" fmla="*/ 114 w 198"/>
              <a:gd name="T57" fmla="*/ 144 h 354"/>
              <a:gd name="T58" fmla="*/ 102 w 198"/>
              <a:gd name="T59" fmla="*/ 144 h 354"/>
              <a:gd name="T60" fmla="*/ 84 w 198"/>
              <a:gd name="T61" fmla="*/ 150 h 354"/>
              <a:gd name="T62" fmla="*/ 84 w 198"/>
              <a:gd name="T63" fmla="*/ 156 h 354"/>
              <a:gd name="T64" fmla="*/ 90 w 198"/>
              <a:gd name="T65" fmla="*/ 162 h 354"/>
              <a:gd name="T66" fmla="*/ 108 w 198"/>
              <a:gd name="T67" fmla="*/ 168 h 354"/>
              <a:gd name="T68" fmla="*/ 126 w 198"/>
              <a:gd name="T69" fmla="*/ 174 h 354"/>
              <a:gd name="T70" fmla="*/ 120 w 198"/>
              <a:gd name="T71" fmla="*/ 192 h 354"/>
              <a:gd name="T72" fmla="*/ 126 w 198"/>
              <a:gd name="T73" fmla="*/ 192 h 354"/>
              <a:gd name="T74" fmla="*/ 132 w 198"/>
              <a:gd name="T75" fmla="*/ 204 h 354"/>
              <a:gd name="T76" fmla="*/ 132 w 198"/>
              <a:gd name="T77" fmla="*/ 222 h 354"/>
              <a:gd name="T78" fmla="*/ 138 w 198"/>
              <a:gd name="T79" fmla="*/ 234 h 354"/>
              <a:gd name="T80" fmla="*/ 144 w 198"/>
              <a:gd name="T81" fmla="*/ 246 h 354"/>
              <a:gd name="T82" fmla="*/ 150 w 198"/>
              <a:gd name="T83" fmla="*/ 258 h 354"/>
              <a:gd name="T84" fmla="*/ 150 w 198"/>
              <a:gd name="T85" fmla="*/ 264 h 354"/>
              <a:gd name="T86" fmla="*/ 144 w 198"/>
              <a:gd name="T87" fmla="*/ 270 h 354"/>
              <a:gd name="T88" fmla="*/ 144 w 198"/>
              <a:gd name="T89" fmla="*/ 276 h 354"/>
              <a:gd name="T90" fmla="*/ 138 w 198"/>
              <a:gd name="T91" fmla="*/ 288 h 354"/>
              <a:gd name="T92" fmla="*/ 150 w 198"/>
              <a:gd name="T93" fmla="*/ 294 h 354"/>
              <a:gd name="T94" fmla="*/ 144 w 198"/>
              <a:gd name="T95" fmla="*/ 306 h 354"/>
              <a:gd name="T96" fmla="*/ 138 w 198"/>
              <a:gd name="T97" fmla="*/ 318 h 354"/>
              <a:gd name="T98" fmla="*/ 132 w 198"/>
              <a:gd name="T99" fmla="*/ 330 h 354"/>
              <a:gd name="T100" fmla="*/ 126 w 198"/>
              <a:gd name="T101" fmla="*/ 336 h 354"/>
              <a:gd name="T102" fmla="*/ 102 w 198"/>
              <a:gd name="T103" fmla="*/ 354 h 354"/>
              <a:gd name="T104" fmla="*/ 96 w 198"/>
              <a:gd name="T105" fmla="*/ 348 h 354"/>
              <a:gd name="T106" fmla="*/ 84 w 198"/>
              <a:gd name="T107" fmla="*/ 342 h 354"/>
              <a:gd name="T108" fmla="*/ 54 w 198"/>
              <a:gd name="T109" fmla="*/ 342 h 354"/>
              <a:gd name="T110" fmla="*/ 36 w 198"/>
              <a:gd name="T111" fmla="*/ 336 h 354"/>
              <a:gd name="T112" fmla="*/ 12 w 198"/>
              <a:gd name="T113" fmla="*/ 324 h 354"/>
              <a:gd name="T114" fmla="*/ 6 w 198"/>
              <a:gd name="T115" fmla="*/ 306 h 354"/>
              <a:gd name="T116" fmla="*/ 6 w 198"/>
              <a:gd name="T117" fmla="*/ 300 h 354"/>
              <a:gd name="T118" fmla="*/ 6 w 198"/>
              <a:gd name="T119" fmla="*/ 288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98" h="354">
                <a:moveTo>
                  <a:pt x="6" y="288"/>
                </a:moveTo>
                <a:lnTo>
                  <a:pt x="6" y="288"/>
                </a:lnTo>
                <a:lnTo>
                  <a:pt x="6" y="288"/>
                </a:lnTo>
                <a:lnTo>
                  <a:pt x="0" y="288"/>
                </a:lnTo>
                <a:lnTo>
                  <a:pt x="0" y="288"/>
                </a:lnTo>
                <a:lnTo>
                  <a:pt x="0" y="288"/>
                </a:lnTo>
                <a:lnTo>
                  <a:pt x="0" y="288"/>
                </a:lnTo>
                <a:lnTo>
                  <a:pt x="0" y="288"/>
                </a:lnTo>
                <a:lnTo>
                  <a:pt x="0" y="288"/>
                </a:lnTo>
                <a:lnTo>
                  <a:pt x="0" y="282"/>
                </a:lnTo>
                <a:lnTo>
                  <a:pt x="0" y="282"/>
                </a:lnTo>
                <a:lnTo>
                  <a:pt x="0" y="282"/>
                </a:lnTo>
                <a:lnTo>
                  <a:pt x="0" y="282"/>
                </a:lnTo>
                <a:lnTo>
                  <a:pt x="0" y="282"/>
                </a:lnTo>
                <a:lnTo>
                  <a:pt x="0" y="282"/>
                </a:lnTo>
                <a:lnTo>
                  <a:pt x="0" y="282"/>
                </a:lnTo>
                <a:lnTo>
                  <a:pt x="0" y="282"/>
                </a:lnTo>
                <a:lnTo>
                  <a:pt x="0" y="282"/>
                </a:lnTo>
                <a:lnTo>
                  <a:pt x="6" y="282"/>
                </a:lnTo>
                <a:lnTo>
                  <a:pt x="0" y="282"/>
                </a:lnTo>
                <a:lnTo>
                  <a:pt x="6" y="282"/>
                </a:lnTo>
                <a:lnTo>
                  <a:pt x="6" y="276"/>
                </a:lnTo>
                <a:lnTo>
                  <a:pt x="6" y="276"/>
                </a:lnTo>
                <a:lnTo>
                  <a:pt x="6" y="276"/>
                </a:lnTo>
                <a:lnTo>
                  <a:pt x="0" y="276"/>
                </a:lnTo>
                <a:lnTo>
                  <a:pt x="6" y="276"/>
                </a:lnTo>
                <a:lnTo>
                  <a:pt x="6" y="270"/>
                </a:lnTo>
                <a:lnTo>
                  <a:pt x="6" y="270"/>
                </a:lnTo>
                <a:lnTo>
                  <a:pt x="6" y="270"/>
                </a:lnTo>
                <a:lnTo>
                  <a:pt x="6" y="270"/>
                </a:lnTo>
                <a:lnTo>
                  <a:pt x="6" y="270"/>
                </a:lnTo>
                <a:lnTo>
                  <a:pt x="6" y="270"/>
                </a:lnTo>
                <a:lnTo>
                  <a:pt x="6" y="270"/>
                </a:lnTo>
                <a:lnTo>
                  <a:pt x="6" y="270"/>
                </a:lnTo>
                <a:lnTo>
                  <a:pt x="6" y="264"/>
                </a:lnTo>
                <a:lnTo>
                  <a:pt x="6" y="264"/>
                </a:lnTo>
                <a:lnTo>
                  <a:pt x="6" y="264"/>
                </a:lnTo>
                <a:lnTo>
                  <a:pt x="6" y="264"/>
                </a:lnTo>
                <a:lnTo>
                  <a:pt x="6" y="264"/>
                </a:lnTo>
                <a:lnTo>
                  <a:pt x="6" y="258"/>
                </a:lnTo>
                <a:lnTo>
                  <a:pt x="6" y="258"/>
                </a:lnTo>
                <a:lnTo>
                  <a:pt x="6" y="258"/>
                </a:lnTo>
                <a:lnTo>
                  <a:pt x="12" y="264"/>
                </a:lnTo>
                <a:lnTo>
                  <a:pt x="12" y="258"/>
                </a:lnTo>
                <a:lnTo>
                  <a:pt x="12" y="258"/>
                </a:lnTo>
                <a:lnTo>
                  <a:pt x="12" y="258"/>
                </a:lnTo>
                <a:lnTo>
                  <a:pt x="12" y="258"/>
                </a:lnTo>
                <a:lnTo>
                  <a:pt x="12" y="258"/>
                </a:lnTo>
                <a:lnTo>
                  <a:pt x="12" y="258"/>
                </a:lnTo>
                <a:lnTo>
                  <a:pt x="12" y="258"/>
                </a:lnTo>
                <a:lnTo>
                  <a:pt x="12" y="252"/>
                </a:lnTo>
                <a:lnTo>
                  <a:pt x="12" y="252"/>
                </a:lnTo>
                <a:lnTo>
                  <a:pt x="12" y="252"/>
                </a:lnTo>
                <a:lnTo>
                  <a:pt x="12" y="252"/>
                </a:lnTo>
                <a:lnTo>
                  <a:pt x="18" y="252"/>
                </a:lnTo>
                <a:lnTo>
                  <a:pt x="18" y="252"/>
                </a:lnTo>
                <a:lnTo>
                  <a:pt x="18" y="252"/>
                </a:lnTo>
                <a:lnTo>
                  <a:pt x="18" y="252"/>
                </a:lnTo>
                <a:lnTo>
                  <a:pt x="18" y="252"/>
                </a:lnTo>
                <a:lnTo>
                  <a:pt x="18" y="246"/>
                </a:lnTo>
                <a:lnTo>
                  <a:pt x="18" y="246"/>
                </a:lnTo>
                <a:lnTo>
                  <a:pt x="18" y="246"/>
                </a:lnTo>
                <a:lnTo>
                  <a:pt x="18" y="246"/>
                </a:lnTo>
                <a:lnTo>
                  <a:pt x="12" y="246"/>
                </a:lnTo>
                <a:lnTo>
                  <a:pt x="18" y="246"/>
                </a:lnTo>
                <a:lnTo>
                  <a:pt x="18" y="240"/>
                </a:lnTo>
                <a:lnTo>
                  <a:pt x="12" y="240"/>
                </a:lnTo>
                <a:lnTo>
                  <a:pt x="12" y="240"/>
                </a:lnTo>
                <a:lnTo>
                  <a:pt x="12" y="240"/>
                </a:lnTo>
                <a:lnTo>
                  <a:pt x="12" y="240"/>
                </a:lnTo>
                <a:lnTo>
                  <a:pt x="12" y="240"/>
                </a:lnTo>
                <a:lnTo>
                  <a:pt x="12" y="234"/>
                </a:lnTo>
                <a:lnTo>
                  <a:pt x="12" y="234"/>
                </a:lnTo>
                <a:lnTo>
                  <a:pt x="12" y="234"/>
                </a:lnTo>
                <a:lnTo>
                  <a:pt x="12" y="234"/>
                </a:lnTo>
                <a:lnTo>
                  <a:pt x="12" y="234"/>
                </a:lnTo>
                <a:lnTo>
                  <a:pt x="12" y="234"/>
                </a:lnTo>
                <a:lnTo>
                  <a:pt x="12" y="234"/>
                </a:lnTo>
                <a:lnTo>
                  <a:pt x="12" y="228"/>
                </a:lnTo>
                <a:lnTo>
                  <a:pt x="6" y="228"/>
                </a:lnTo>
                <a:lnTo>
                  <a:pt x="6" y="228"/>
                </a:lnTo>
                <a:lnTo>
                  <a:pt x="6" y="228"/>
                </a:lnTo>
                <a:lnTo>
                  <a:pt x="6" y="228"/>
                </a:lnTo>
                <a:lnTo>
                  <a:pt x="6" y="228"/>
                </a:lnTo>
                <a:lnTo>
                  <a:pt x="6" y="222"/>
                </a:lnTo>
                <a:lnTo>
                  <a:pt x="6" y="222"/>
                </a:lnTo>
                <a:lnTo>
                  <a:pt x="6" y="222"/>
                </a:lnTo>
                <a:lnTo>
                  <a:pt x="6" y="222"/>
                </a:lnTo>
                <a:lnTo>
                  <a:pt x="6" y="216"/>
                </a:lnTo>
                <a:lnTo>
                  <a:pt x="6" y="210"/>
                </a:lnTo>
                <a:lnTo>
                  <a:pt x="6" y="210"/>
                </a:lnTo>
                <a:lnTo>
                  <a:pt x="0" y="204"/>
                </a:lnTo>
                <a:lnTo>
                  <a:pt x="0" y="204"/>
                </a:lnTo>
                <a:lnTo>
                  <a:pt x="6" y="204"/>
                </a:lnTo>
                <a:lnTo>
                  <a:pt x="6" y="198"/>
                </a:lnTo>
                <a:lnTo>
                  <a:pt x="6" y="198"/>
                </a:lnTo>
                <a:lnTo>
                  <a:pt x="6" y="192"/>
                </a:lnTo>
                <a:lnTo>
                  <a:pt x="6" y="192"/>
                </a:lnTo>
                <a:lnTo>
                  <a:pt x="6" y="192"/>
                </a:lnTo>
                <a:lnTo>
                  <a:pt x="6" y="192"/>
                </a:lnTo>
                <a:lnTo>
                  <a:pt x="6" y="186"/>
                </a:lnTo>
                <a:lnTo>
                  <a:pt x="6" y="186"/>
                </a:lnTo>
                <a:lnTo>
                  <a:pt x="6" y="180"/>
                </a:lnTo>
                <a:lnTo>
                  <a:pt x="6" y="180"/>
                </a:lnTo>
                <a:lnTo>
                  <a:pt x="0" y="174"/>
                </a:lnTo>
                <a:lnTo>
                  <a:pt x="0" y="174"/>
                </a:lnTo>
                <a:lnTo>
                  <a:pt x="0" y="174"/>
                </a:lnTo>
                <a:lnTo>
                  <a:pt x="6" y="174"/>
                </a:lnTo>
                <a:lnTo>
                  <a:pt x="6" y="174"/>
                </a:lnTo>
                <a:lnTo>
                  <a:pt x="6" y="174"/>
                </a:lnTo>
                <a:lnTo>
                  <a:pt x="6" y="174"/>
                </a:lnTo>
                <a:lnTo>
                  <a:pt x="12" y="168"/>
                </a:lnTo>
                <a:lnTo>
                  <a:pt x="12" y="162"/>
                </a:lnTo>
                <a:lnTo>
                  <a:pt x="12" y="162"/>
                </a:lnTo>
                <a:lnTo>
                  <a:pt x="18" y="156"/>
                </a:lnTo>
                <a:lnTo>
                  <a:pt x="18" y="150"/>
                </a:lnTo>
                <a:lnTo>
                  <a:pt x="18" y="144"/>
                </a:lnTo>
                <a:lnTo>
                  <a:pt x="24" y="144"/>
                </a:lnTo>
                <a:lnTo>
                  <a:pt x="24" y="138"/>
                </a:lnTo>
                <a:lnTo>
                  <a:pt x="24" y="138"/>
                </a:lnTo>
                <a:lnTo>
                  <a:pt x="30" y="138"/>
                </a:lnTo>
                <a:lnTo>
                  <a:pt x="30" y="132"/>
                </a:lnTo>
                <a:lnTo>
                  <a:pt x="30" y="132"/>
                </a:lnTo>
                <a:lnTo>
                  <a:pt x="30" y="126"/>
                </a:lnTo>
                <a:lnTo>
                  <a:pt x="30" y="126"/>
                </a:lnTo>
                <a:lnTo>
                  <a:pt x="30" y="126"/>
                </a:lnTo>
                <a:lnTo>
                  <a:pt x="36" y="120"/>
                </a:lnTo>
                <a:lnTo>
                  <a:pt x="36" y="120"/>
                </a:lnTo>
                <a:lnTo>
                  <a:pt x="36" y="120"/>
                </a:lnTo>
                <a:lnTo>
                  <a:pt x="36" y="114"/>
                </a:lnTo>
                <a:lnTo>
                  <a:pt x="36" y="114"/>
                </a:lnTo>
                <a:lnTo>
                  <a:pt x="36" y="108"/>
                </a:lnTo>
                <a:lnTo>
                  <a:pt x="42" y="108"/>
                </a:lnTo>
                <a:lnTo>
                  <a:pt x="36" y="108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102"/>
                </a:lnTo>
                <a:lnTo>
                  <a:pt x="36" y="96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84"/>
                </a:lnTo>
                <a:lnTo>
                  <a:pt x="36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36" y="84"/>
                </a:lnTo>
                <a:lnTo>
                  <a:pt x="36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8" y="78"/>
                </a:lnTo>
                <a:lnTo>
                  <a:pt x="48" y="72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54" y="54"/>
                </a:lnTo>
                <a:lnTo>
                  <a:pt x="48" y="54"/>
                </a:lnTo>
                <a:lnTo>
                  <a:pt x="54" y="54"/>
                </a:lnTo>
                <a:lnTo>
                  <a:pt x="54" y="54"/>
                </a:lnTo>
                <a:lnTo>
                  <a:pt x="48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36"/>
                </a:lnTo>
                <a:lnTo>
                  <a:pt x="60" y="42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0"/>
                </a:lnTo>
                <a:lnTo>
                  <a:pt x="60" y="36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6" y="30"/>
                </a:lnTo>
                <a:lnTo>
                  <a:pt x="66" y="30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84" y="12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0"/>
                </a:lnTo>
                <a:lnTo>
                  <a:pt x="90" y="0"/>
                </a:lnTo>
                <a:lnTo>
                  <a:pt x="96" y="0"/>
                </a:lnTo>
                <a:lnTo>
                  <a:pt x="96" y="0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90" y="18"/>
                </a:lnTo>
                <a:lnTo>
                  <a:pt x="90" y="24"/>
                </a:lnTo>
                <a:lnTo>
                  <a:pt x="90" y="24"/>
                </a:lnTo>
                <a:lnTo>
                  <a:pt x="90" y="18"/>
                </a:lnTo>
                <a:lnTo>
                  <a:pt x="90" y="18"/>
                </a:lnTo>
                <a:lnTo>
                  <a:pt x="90" y="18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2" y="54"/>
                </a:lnTo>
                <a:lnTo>
                  <a:pt x="72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84" y="60"/>
                </a:lnTo>
                <a:lnTo>
                  <a:pt x="78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90" y="60"/>
                </a:lnTo>
                <a:lnTo>
                  <a:pt x="90" y="60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8" y="66"/>
                </a:lnTo>
                <a:lnTo>
                  <a:pt x="108" y="66"/>
                </a:lnTo>
                <a:lnTo>
                  <a:pt x="108" y="72"/>
                </a:lnTo>
                <a:lnTo>
                  <a:pt x="108" y="72"/>
                </a:lnTo>
                <a:lnTo>
                  <a:pt x="114" y="72"/>
                </a:lnTo>
                <a:lnTo>
                  <a:pt x="114" y="72"/>
                </a:lnTo>
                <a:lnTo>
                  <a:pt x="114" y="72"/>
                </a:lnTo>
                <a:lnTo>
                  <a:pt x="120" y="72"/>
                </a:lnTo>
                <a:lnTo>
                  <a:pt x="120" y="72"/>
                </a:lnTo>
                <a:lnTo>
                  <a:pt x="126" y="72"/>
                </a:lnTo>
                <a:lnTo>
                  <a:pt x="126" y="72"/>
                </a:lnTo>
                <a:lnTo>
                  <a:pt x="126" y="72"/>
                </a:lnTo>
                <a:lnTo>
                  <a:pt x="126" y="78"/>
                </a:lnTo>
                <a:lnTo>
                  <a:pt x="168" y="96"/>
                </a:lnTo>
                <a:lnTo>
                  <a:pt x="168" y="96"/>
                </a:lnTo>
                <a:lnTo>
                  <a:pt x="186" y="108"/>
                </a:lnTo>
                <a:lnTo>
                  <a:pt x="198" y="114"/>
                </a:lnTo>
                <a:lnTo>
                  <a:pt x="198" y="114"/>
                </a:lnTo>
                <a:lnTo>
                  <a:pt x="198" y="114"/>
                </a:lnTo>
                <a:lnTo>
                  <a:pt x="192" y="114"/>
                </a:lnTo>
                <a:lnTo>
                  <a:pt x="192" y="114"/>
                </a:lnTo>
                <a:lnTo>
                  <a:pt x="186" y="114"/>
                </a:lnTo>
                <a:lnTo>
                  <a:pt x="186" y="108"/>
                </a:lnTo>
                <a:lnTo>
                  <a:pt x="186" y="108"/>
                </a:lnTo>
                <a:lnTo>
                  <a:pt x="186" y="114"/>
                </a:lnTo>
                <a:lnTo>
                  <a:pt x="180" y="114"/>
                </a:lnTo>
                <a:lnTo>
                  <a:pt x="180" y="114"/>
                </a:lnTo>
                <a:lnTo>
                  <a:pt x="180" y="114"/>
                </a:lnTo>
                <a:lnTo>
                  <a:pt x="174" y="114"/>
                </a:lnTo>
                <a:lnTo>
                  <a:pt x="174" y="114"/>
                </a:lnTo>
                <a:lnTo>
                  <a:pt x="174" y="114"/>
                </a:lnTo>
                <a:lnTo>
                  <a:pt x="168" y="114"/>
                </a:lnTo>
                <a:lnTo>
                  <a:pt x="168" y="114"/>
                </a:lnTo>
                <a:lnTo>
                  <a:pt x="168" y="114"/>
                </a:lnTo>
                <a:lnTo>
                  <a:pt x="168" y="120"/>
                </a:lnTo>
                <a:lnTo>
                  <a:pt x="168" y="120"/>
                </a:lnTo>
                <a:lnTo>
                  <a:pt x="168" y="120"/>
                </a:lnTo>
                <a:lnTo>
                  <a:pt x="168" y="120"/>
                </a:lnTo>
                <a:lnTo>
                  <a:pt x="168" y="120"/>
                </a:lnTo>
                <a:lnTo>
                  <a:pt x="168" y="120"/>
                </a:lnTo>
                <a:lnTo>
                  <a:pt x="168" y="120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62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26"/>
                </a:lnTo>
                <a:lnTo>
                  <a:pt x="156" y="132"/>
                </a:lnTo>
                <a:lnTo>
                  <a:pt x="156" y="132"/>
                </a:lnTo>
                <a:lnTo>
                  <a:pt x="156" y="132"/>
                </a:lnTo>
                <a:lnTo>
                  <a:pt x="156" y="132"/>
                </a:lnTo>
                <a:lnTo>
                  <a:pt x="150" y="132"/>
                </a:lnTo>
                <a:lnTo>
                  <a:pt x="150" y="132"/>
                </a:lnTo>
                <a:lnTo>
                  <a:pt x="150" y="132"/>
                </a:lnTo>
                <a:lnTo>
                  <a:pt x="150" y="132"/>
                </a:lnTo>
                <a:lnTo>
                  <a:pt x="150" y="132"/>
                </a:lnTo>
                <a:lnTo>
                  <a:pt x="150" y="132"/>
                </a:lnTo>
                <a:lnTo>
                  <a:pt x="150" y="132"/>
                </a:lnTo>
                <a:lnTo>
                  <a:pt x="144" y="132"/>
                </a:lnTo>
                <a:lnTo>
                  <a:pt x="144" y="132"/>
                </a:lnTo>
                <a:lnTo>
                  <a:pt x="144" y="138"/>
                </a:lnTo>
                <a:lnTo>
                  <a:pt x="144" y="138"/>
                </a:lnTo>
                <a:lnTo>
                  <a:pt x="144" y="138"/>
                </a:lnTo>
                <a:lnTo>
                  <a:pt x="144" y="138"/>
                </a:lnTo>
                <a:lnTo>
                  <a:pt x="144" y="138"/>
                </a:lnTo>
                <a:lnTo>
                  <a:pt x="144" y="138"/>
                </a:lnTo>
                <a:lnTo>
                  <a:pt x="144" y="138"/>
                </a:lnTo>
                <a:lnTo>
                  <a:pt x="144" y="138"/>
                </a:lnTo>
                <a:lnTo>
                  <a:pt x="144" y="138"/>
                </a:lnTo>
                <a:lnTo>
                  <a:pt x="138" y="138"/>
                </a:lnTo>
                <a:lnTo>
                  <a:pt x="138" y="138"/>
                </a:lnTo>
                <a:lnTo>
                  <a:pt x="138" y="138"/>
                </a:lnTo>
                <a:lnTo>
                  <a:pt x="138" y="138"/>
                </a:lnTo>
                <a:lnTo>
                  <a:pt x="138" y="138"/>
                </a:lnTo>
                <a:lnTo>
                  <a:pt x="138" y="138"/>
                </a:lnTo>
                <a:lnTo>
                  <a:pt x="138" y="138"/>
                </a:lnTo>
                <a:lnTo>
                  <a:pt x="132" y="144"/>
                </a:lnTo>
                <a:lnTo>
                  <a:pt x="132" y="144"/>
                </a:lnTo>
                <a:lnTo>
                  <a:pt x="132" y="144"/>
                </a:lnTo>
                <a:lnTo>
                  <a:pt x="132" y="144"/>
                </a:lnTo>
                <a:lnTo>
                  <a:pt x="132" y="144"/>
                </a:lnTo>
                <a:lnTo>
                  <a:pt x="132" y="144"/>
                </a:lnTo>
                <a:lnTo>
                  <a:pt x="126" y="144"/>
                </a:lnTo>
                <a:lnTo>
                  <a:pt x="126" y="144"/>
                </a:lnTo>
                <a:lnTo>
                  <a:pt x="126" y="144"/>
                </a:lnTo>
                <a:lnTo>
                  <a:pt x="126" y="144"/>
                </a:lnTo>
                <a:lnTo>
                  <a:pt x="126" y="144"/>
                </a:lnTo>
                <a:lnTo>
                  <a:pt x="126" y="144"/>
                </a:lnTo>
                <a:lnTo>
                  <a:pt x="120" y="144"/>
                </a:lnTo>
                <a:lnTo>
                  <a:pt x="120" y="144"/>
                </a:lnTo>
                <a:lnTo>
                  <a:pt x="120" y="144"/>
                </a:lnTo>
                <a:lnTo>
                  <a:pt x="120" y="144"/>
                </a:lnTo>
                <a:lnTo>
                  <a:pt x="120" y="144"/>
                </a:lnTo>
                <a:lnTo>
                  <a:pt x="120" y="144"/>
                </a:lnTo>
                <a:lnTo>
                  <a:pt x="120" y="144"/>
                </a:lnTo>
                <a:lnTo>
                  <a:pt x="114" y="144"/>
                </a:lnTo>
                <a:lnTo>
                  <a:pt x="114" y="144"/>
                </a:lnTo>
                <a:lnTo>
                  <a:pt x="114" y="144"/>
                </a:lnTo>
                <a:lnTo>
                  <a:pt x="114" y="144"/>
                </a:lnTo>
                <a:lnTo>
                  <a:pt x="114" y="144"/>
                </a:lnTo>
                <a:lnTo>
                  <a:pt x="114" y="144"/>
                </a:lnTo>
                <a:lnTo>
                  <a:pt x="114" y="144"/>
                </a:lnTo>
                <a:lnTo>
                  <a:pt x="114" y="144"/>
                </a:lnTo>
                <a:lnTo>
                  <a:pt x="114" y="144"/>
                </a:lnTo>
                <a:lnTo>
                  <a:pt x="114" y="144"/>
                </a:lnTo>
                <a:lnTo>
                  <a:pt x="114" y="144"/>
                </a:lnTo>
                <a:lnTo>
                  <a:pt x="114" y="144"/>
                </a:lnTo>
                <a:lnTo>
                  <a:pt x="114" y="144"/>
                </a:lnTo>
                <a:lnTo>
                  <a:pt x="108" y="144"/>
                </a:lnTo>
                <a:lnTo>
                  <a:pt x="108" y="144"/>
                </a:lnTo>
                <a:lnTo>
                  <a:pt x="108" y="144"/>
                </a:lnTo>
                <a:lnTo>
                  <a:pt x="108" y="144"/>
                </a:lnTo>
                <a:lnTo>
                  <a:pt x="108" y="144"/>
                </a:lnTo>
                <a:lnTo>
                  <a:pt x="108" y="144"/>
                </a:lnTo>
                <a:lnTo>
                  <a:pt x="108" y="144"/>
                </a:lnTo>
                <a:lnTo>
                  <a:pt x="108" y="144"/>
                </a:lnTo>
                <a:lnTo>
                  <a:pt x="102" y="144"/>
                </a:lnTo>
                <a:lnTo>
                  <a:pt x="102" y="144"/>
                </a:lnTo>
                <a:lnTo>
                  <a:pt x="102" y="144"/>
                </a:lnTo>
                <a:lnTo>
                  <a:pt x="102" y="144"/>
                </a:lnTo>
                <a:lnTo>
                  <a:pt x="102" y="144"/>
                </a:lnTo>
                <a:lnTo>
                  <a:pt x="102" y="144"/>
                </a:lnTo>
                <a:lnTo>
                  <a:pt x="96" y="144"/>
                </a:lnTo>
                <a:lnTo>
                  <a:pt x="96" y="144"/>
                </a:lnTo>
                <a:lnTo>
                  <a:pt x="96" y="150"/>
                </a:lnTo>
                <a:lnTo>
                  <a:pt x="96" y="150"/>
                </a:lnTo>
                <a:lnTo>
                  <a:pt x="96" y="150"/>
                </a:lnTo>
                <a:lnTo>
                  <a:pt x="96" y="150"/>
                </a:lnTo>
                <a:lnTo>
                  <a:pt x="96" y="150"/>
                </a:lnTo>
                <a:lnTo>
                  <a:pt x="90" y="150"/>
                </a:lnTo>
                <a:lnTo>
                  <a:pt x="90" y="150"/>
                </a:lnTo>
                <a:lnTo>
                  <a:pt x="90" y="150"/>
                </a:lnTo>
                <a:lnTo>
                  <a:pt x="84" y="150"/>
                </a:lnTo>
                <a:lnTo>
                  <a:pt x="84" y="150"/>
                </a:lnTo>
                <a:lnTo>
                  <a:pt x="84" y="150"/>
                </a:lnTo>
                <a:lnTo>
                  <a:pt x="84" y="150"/>
                </a:lnTo>
                <a:lnTo>
                  <a:pt x="84" y="150"/>
                </a:lnTo>
                <a:lnTo>
                  <a:pt x="84" y="150"/>
                </a:lnTo>
                <a:lnTo>
                  <a:pt x="84" y="150"/>
                </a:lnTo>
                <a:lnTo>
                  <a:pt x="84" y="150"/>
                </a:lnTo>
                <a:lnTo>
                  <a:pt x="84" y="150"/>
                </a:lnTo>
                <a:lnTo>
                  <a:pt x="84" y="150"/>
                </a:lnTo>
                <a:lnTo>
                  <a:pt x="84" y="150"/>
                </a:lnTo>
                <a:lnTo>
                  <a:pt x="78" y="150"/>
                </a:lnTo>
                <a:lnTo>
                  <a:pt x="78" y="156"/>
                </a:lnTo>
                <a:lnTo>
                  <a:pt x="78" y="156"/>
                </a:lnTo>
                <a:lnTo>
                  <a:pt x="84" y="150"/>
                </a:lnTo>
                <a:lnTo>
                  <a:pt x="84" y="156"/>
                </a:lnTo>
                <a:lnTo>
                  <a:pt x="84" y="156"/>
                </a:lnTo>
                <a:lnTo>
                  <a:pt x="84" y="156"/>
                </a:lnTo>
                <a:lnTo>
                  <a:pt x="84" y="156"/>
                </a:lnTo>
                <a:lnTo>
                  <a:pt x="84" y="162"/>
                </a:lnTo>
                <a:lnTo>
                  <a:pt x="84" y="162"/>
                </a:lnTo>
                <a:lnTo>
                  <a:pt x="84" y="162"/>
                </a:lnTo>
                <a:lnTo>
                  <a:pt x="84" y="162"/>
                </a:lnTo>
                <a:lnTo>
                  <a:pt x="84" y="162"/>
                </a:lnTo>
                <a:lnTo>
                  <a:pt x="84" y="162"/>
                </a:lnTo>
                <a:lnTo>
                  <a:pt x="84" y="162"/>
                </a:lnTo>
                <a:lnTo>
                  <a:pt x="84" y="162"/>
                </a:lnTo>
                <a:lnTo>
                  <a:pt x="84" y="162"/>
                </a:lnTo>
                <a:lnTo>
                  <a:pt x="90" y="162"/>
                </a:lnTo>
                <a:lnTo>
                  <a:pt x="90" y="162"/>
                </a:lnTo>
                <a:lnTo>
                  <a:pt x="90" y="162"/>
                </a:lnTo>
                <a:lnTo>
                  <a:pt x="90" y="162"/>
                </a:lnTo>
                <a:lnTo>
                  <a:pt x="90" y="162"/>
                </a:lnTo>
                <a:lnTo>
                  <a:pt x="90" y="162"/>
                </a:lnTo>
                <a:lnTo>
                  <a:pt x="90" y="162"/>
                </a:lnTo>
                <a:lnTo>
                  <a:pt x="90" y="162"/>
                </a:lnTo>
                <a:lnTo>
                  <a:pt x="96" y="162"/>
                </a:lnTo>
                <a:lnTo>
                  <a:pt x="96" y="162"/>
                </a:lnTo>
                <a:lnTo>
                  <a:pt x="96" y="162"/>
                </a:lnTo>
                <a:lnTo>
                  <a:pt x="96" y="162"/>
                </a:lnTo>
                <a:lnTo>
                  <a:pt x="96" y="162"/>
                </a:lnTo>
                <a:lnTo>
                  <a:pt x="96" y="168"/>
                </a:lnTo>
                <a:lnTo>
                  <a:pt x="102" y="168"/>
                </a:lnTo>
                <a:lnTo>
                  <a:pt x="102" y="168"/>
                </a:lnTo>
                <a:lnTo>
                  <a:pt x="102" y="168"/>
                </a:lnTo>
                <a:lnTo>
                  <a:pt x="102" y="162"/>
                </a:lnTo>
                <a:lnTo>
                  <a:pt x="102" y="162"/>
                </a:lnTo>
                <a:lnTo>
                  <a:pt x="102" y="168"/>
                </a:lnTo>
                <a:lnTo>
                  <a:pt x="102" y="168"/>
                </a:lnTo>
                <a:lnTo>
                  <a:pt x="102" y="168"/>
                </a:lnTo>
                <a:lnTo>
                  <a:pt x="108" y="168"/>
                </a:lnTo>
                <a:lnTo>
                  <a:pt x="108" y="168"/>
                </a:lnTo>
                <a:lnTo>
                  <a:pt x="108" y="168"/>
                </a:lnTo>
                <a:lnTo>
                  <a:pt x="108" y="168"/>
                </a:lnTo>
                <a:lnTo>
                  <a:pt x="108" y="168"/>
                </a:lnTo>
                <a:lnTo>
                  <a:pt x="108" y="168"/>
                </a:lnTo>
                <a:lnTo>
                  <a:pt x="114" y="168"/>
                </a:lnTo>
                <a:lnTo>
                  <a:pt x="114" y="168"/>
                </a:lnTo>
                <a:lnTo>
                  <a:pt x="120" y="168"/>
                </a:lnTo>
                <a:lnTo>
                  <a:pt x="120" y="168"/>
                </a:lnTo>
                <a:lnTo>
                  <a:pt x="120" y="168"/>
                </a:lnTo>
                <a:lnTo>
                  <a:pt x="120" y="174"/>
                </a:lnTo>
                <a:lnTo>
                  <a:pt x="120" y="174"/>
                </a:lnTo>
                <a:lnTo>
                  <a:pt x="120" y="174"/>
                </a:lnTo>
                <a:lnTo>
                  <a:pt x="120" y="174"/>
                </a:lnTo>
                <a:lnTo>
                  <a:pt x="120" y="174"/>
                </a:lnTo>
                <a:lnTo>
                  <a:pt x="126" y="174"/>
                </a:lnTo>
                <a:lnTo>
                  <a:pt x="126" y="174"/>
                </a:lnTo>
                <a:lnTo>
                  <a:pt x="126" y="174"/>
                </a:lnTo>
                <a:lnTo>
                  <a:pt x="126" y="180"/>
                </a:lnTo>
                <a:lnTo>
                  <a:pt x="126" y="180"/>
                </a:lnTo>
                <a:lnTo>
                  <a:pt x="126" y="180"/>
                </a:lnTo>
                <a:lnTo>
                  <a:pt x="126" y="180"/>
                </a:lnTo>
                <a:lnTo>
                  <a:pt x="120" y="180"/>
                </a:lnTo>
                <a:lnTo>
                  <a:pt x="120" y="186"/>
                </a:lnTo>
                <a:lnTo>
                  <a:pt x="120" y="186"/>
                </a:lnTo>
                <a:lnTo>
                  <a:pt x="120" y="186"/>
                </a:lnTo>
                <a:lnTo>
                  <a:pt x="120" y="186"/>
                </a:lnTo>
                <a:lnTo>
                  <a:pt x="126" y="186"/>
                </a:lnTo>
                <a:lnTo>
                  <a:pt x="120" y="186"/>
                </a:lnTo>
                <a:lnTo>
                  <a:pt x="120" y="186"/>
                </a:lnTo>
                <a:lnTo>
                  <a:pt x="120" y="192"/>
                </a:lnTo>
                <a:lnTo>
                  <a:pt x="120" y="192"/>
                </a:lnTo>
                <a:lnTo>
                  <a:pt x="120" y="192"/>
                </a:lnTo>
                <a:lnTo>
                  <a:pt x="120" y="198"/>
                </a:lnTo>
                <a:lnTo>
                  <a:pt x="120" y="198"/>
                </a:lnTo>
                <a:lnTo>
                  <a:pt x="120" y="198"/>
                </a:lnTo>
                <a:lnTo>
                  <a:pt x="120" y="198"/>
                </a:lnTo>
                <a:lnTo>
                  <a:pt x="126" y="198"/>
                </a:lnTo>
                <a:lnTo>
                  <a:pt x="120" y="192"/>
                </a:lnTo>
                <a:lnTo>
                  <a:pt x="120" y="198"/>
                </a:lnTo>
                <a:lnTo>
                  <a:pt x="120" y="198"/>
                </a:lnTo>
                <a:lnTo>
                  <a:pt x="120" y="198"/>
                </a:lnTo>
                <a:lnTo>
                  <a:pt x="120" y="198"/>
                </a:lnTo>
                <a:lnTo>
                  <a:pt x="120" y="192"/>
                </a:lnTo>
                <a:lnTo>
                  <a:pt x="126" y="192"/>
                </a:lnTo>
                <a:lnTo>
                  <a:pt x="126" y="192"/>
                </a:lnTo>
                <a:lnTo>
                  <a:pt x="126" y="192"/>
                </a:lnTo>
                <a:lnTo>
                  <a:pt x="126" y="192"/>
                </a:lnTo>
                <a:lnTo>
                  <a:pt x="126" y="198"/>
                </a:lnTo>
                <a:lnTo>
                  <a:pt x="132" y="198"/>
                </a:lnTo>
                <a:lnTo>
                  <a:pt x="132" y="198"/>
                </a:lnTo>
                <a:lnTo>
                  <a:pt x="132" y="198"/>
                </a:lnTo>
                <a:lnTo>
                  <a:pt x="132" y="198"/>
                </a:lnTo>
                <a:lnTo>
                  <a:pt x="132" y="198"/>
                </a:lnTo>
                <a:lnTo>
                  <a:pt x="138" y="198"/>
                </a:lnTo>
                <a:lnTo>
                  <a:pt x="138" y="198"/>
                </a:lnTo>
                <a:lnTo>
                  <a:pt x="138" y="198"/>
                </a:lnTo>
                <a:lnTo>
                  <a:pt x="138" y="198"/>
                </a:lnTo>
                <a:lnTo>
                  <a:pt x="138" y="198"/>
                </a:lnTo>
                <a:lnTo>
                  <a:pt x="138" y="204"/>
                </a:lnTo>
                <a:lnTo>
                  <a:pt x="138" y="204"/>
                </a:lnTo>
                <a:lnTo>
                  <a:pt x="132" y="204"/>
                </a:lnTo>
                <a:lnTo>
                  <a:pt x="132" y="204"/>
                </a:lnTo>
                <a:lnTo>
                  <a:pt x="132" y="204"/>
                </a:lnTo>
                <a:lnTo>
                  <a:pt x="132" y="204"/>
                </a:lnTo>
                <a:lnTo>
                  <a:pt x="132" y="204"/>
                </a:lnTo>
                <a:lnTo>
                  <a:pt x="132" y="204"/>
                </a:lnTo>
                <a:lnTo>
                  <a:pt x="132" y="204"/>
                </a:lnTo>
                <a:lnTo>
                  <a:pt x="132" y="210"/>
                </a:lnTo>
                <a:lnTo>
                  <a:pt x="132" y="216"/>
                </a:lnTo>
                <a:lnTo>
                  <a:pt x="132" y="216"/>
                </a:lnTo>
                <a:lnTo>
                  <a:pt x="132" y="216"/>
                </a:lnTo>
                <a:lnTo>
                  <a:pt x="132" y="216"/>
                </a:lnTo>
                <a:lnTo>
                  <a:pt x="126" y="216"/>
                </a:lnTo>
                <a:lnTo>
                  <a:pt x="126" y="216"/>
                </a:lnTo>
                <a:lnTo>
                  <a:pt x="132" y="222"/>
                </a:lnTo>
                <a:lnTo>
                  <a:pt x="132" y="216"/>
                </a:lnTo>
                <a:lnTo>
                  <a:pt x="132" y="222"/>
                </a:lnTo>
                <a:lnTo>
                  <a:pt x="132" y="222"/>
                </a:lnTo>
                <a:lnTo>
                  <a:pt x="132" y="222"/>
                </a:lnTo>
                <a:lnTo>
                  <a:pt x="132" y="222"/>
                </a:lnTo>
                <a:lnTo>
                  <a:pt x="132" y="222"/>
                </a:lnTo>
                <a:lnTo>
                  <a:pt x="138" y="222"/>
                </a:lnTo>
                <a:lnTo>
                  <a:pt x="138" y="228"/>
                </a:lnTo>
                <a:lnTo>
                  <a:pt x="138" y="228"/>
                </a:lnTo>
                <a:lnTo>
                  <a:pt x="138" y="228"/>
                </a:lnTo>
                <a:lnTo>
                  <a:pt x="138" y="228"/>
                </a:lnTo>
                <a:lnTo>
                  <a:pt x="138" y="234"/>
                </a:lnTo>
                <a:lnTo>
                  <a:pt x="132" y="234"/>
                </a:lnTo>
                <a:lnTo>
                  <a:pt x="138" y="234"/>
                </a:lnTo>
                <a:lnTo>
                  <a:pt x="138" y="234"/>
                </a:lnTo>
                <a:lnTo>
                  <a:pt x="138" y="234"/>
                </a:lnTo>
                <a:lnTo>
                  <a:pt x="138" y="234"/>
                </a:lnTo>
                <a:lnTo>
                  <a:pt x="138" y="234"/>
                </a:lnTo>
                <a:lnTo>
                  <a:pt x="138" y="234"/>
                </a:lnTo>
                <a:lnTo>
                  <a:pt x="138" y="234"/>
                </a:lnTo>
                <a:lnTo>
                  <a:pt x="138" y="240"/>
                </a:lnTo>
                <a:lnTo>
                  <a:pt x="138" y="240"/>
                </a:lnTo>
                <a:lnTo>
                  <a:pt x="138" y="240"/>
                </a:lnTo>
                <a:lnTo>
                  <a:pt x="138" y="240"/>
                </a:lnTo>
                <a:lnTo>
                  <a:pt x="138" y="240"/>
                </a:lnTo>
                <a:lnTo>
                  <a:pt x="138" y="246"/>
                </a:lnTo>
                <a:lnTo>
                  <a:pt x="138" y="240"/>
                </a:lnTo>
                <a:lnTo>
                  <a:pt x="138" y="240"/>
                </a:lnTo>
                <a:lnTo>
                  <a:pt x="138" y="246"/>
                </a:lnTo>
                <a:lnTo>
                  <a:pt x="144" y="246"/>
                </a:lnTo>
                <a:lnTo>
                  <a:pt x="138" y="246"/>
                </a:lnTo>
                <a:lnTo>
                  <a:pt x="138" y="246"/>
                </a:lnTo>
                <a:lnTo>
                  <a:pt x="144" y="246"/>
                </a:lnTo>
                <a:lnTo>
                  <a:pt x="144" y="246"/>
                </a:lnTo>
                <a:lnTo>
                  <a:pt x="144" y="246"/>
                </a:lnTo>
                <a:lnTo>
                  <a:pt x="144" y="246"/>
                </a:lnTo>
                <a:lnTo>
                  <a:pt x="144" y="252"/>
                </a:lnTo>
                <a:lnTo>
                  <a:pt x="144" y="252"/>
                </a:lnTo>
                <a:lnTo>
                  <a:pt x="144" y="252"/>
                </a:lnTo>
                <a:lnTo>
                  <a:pt x="144" y="252"/>
                </a:lnTo>
                <a:lnTo>
                  <a:pt x="144" y="252"/>
                </a:lnTo>
                <a:lnTo>
                  <a:pt x="144" y="252"/>
                </a:lnTo>
                <a:lnTo>
                  <a:pt x="144" y="252"/>
                </a:lnTo>
                <a:lnTo>
                  <a:pt x="144" y="252"/>
                </a:lnTo>
                <a:lnTo>
                  <a:pt x="144" y="252"/>
                </a:lnTo>
                <a:lnTo>
                  <a:pt x="144" y="258"/>
                </a:lnTo>
                <a:lnTo>
                  <a:pt x="144" y="258"/>
                </a:lnTo>
                <a:lnTo>
                  <a:pt x="144" y="258"/>
                </a:lnTo>
                <a:lnTo>
                  <a:pt x="144" y="258"/>
                </a:lnTo>
                <a:lnTo>
                  <a:pt x="144" y="258"/>
                </a:lnTo>
                <a:lnTo>
                  <a:pt x="144" y="258"/>
                </a:lnTo>
                <a:lnTo>
                  <a:pt x="150" y="258"/>
                </a:lnTo>
                <a:lnTo>
                  <a:pt x="144" y="264"/>
                </a:lnTo>
                <a:lnTo>
                  <a:pt x="144" y="264"/>
                </a:lnTo>
                <a:lnTo>
                  <a:pt x="144" y="264"/>
                </a:lnTo>
                <a:lnTo>
                  <a:pt x="144" y="264"/>
                </a:lnTo>
                <a:lnTo>
                  <a:pt x="150" y="264"/>
                </a:lnTo>
                <a:lnTo>
                  <a:pt x="150" y="264"/>
                </a:lnTo>
                <a:lnTo>
                  <a:pt x="150" y="264"/>
                </a:lnTo>
                <a:lnTo>
                  <a:pt x="150" y="264"/>
                </a:lnTo>
                <a:lnTo>
                  <a:pt x="150" y="264"/>
                </a:lnTo>
                <a:lnTo>
                  <a:pt x="150" y="264"/>
                </a:lnTo>
                <a:lnTo>
                  <a:pt x="150" y="264"/>
                </a:lnTo>
                <a:lnTo>
                  <a:pt x="150" y="264"/>
                </a:lnTo>
                <a:lnTo>
                  <a:pt x="150" y="270"/>
                </a:lnTo>
                <a:lnTo>
                  <a:pt x="150" y="270"/>
                </a:lnTo>
                <a:lnTo>
                  <a:pt x="150" y="264"/>
                </a:lnTo>
                <a:lnTo>
                  <a:pt x="150" y="264"/>
                </a:lnTo>
                <a:lnTo>
                  <a:pt x="156" y="264"/>
                </a:lnTo>
                <a:lnTo>
                  <a:pt x="150" y="270"/>
                </a:lnTo>
                <a:lnTo>
                  <a:pt x="156" y="270"/>
                </a:lnTo>
                <a:lnTo>
                  <a:pt x="156" y="270"/>
                </a:lnTo>
                <a:lnTo>
                  <a:pt x="156" y="270"/>
                </a:lnTo>
                <a:lnTo>
                  <a:pt x="156" y="270"/>
                </a:lnTo>
                <a:lnTo>
                  <a:pt x="150" y="270"/>
                </a:lnTo>
                <a:lnTo>
                  <a:pt x="150" y="270"/>
                </a:lnTo>
                <a:lnTo>
                  <a:pt x="150" y="270"/>
                </a:lnTo>
                <a:lnTo>
                  <a:pt x="150" y="270"/>
                </a:lnTo>
                <a:lnTo>
                  <a:pt x="150" y="270"/>
                </a:lnTo>
                <a:lnTo>
                  <a:pt x="150" y="270"/>
                </a:lnTo>
                <a:lnTo>
                  <a:pt x="150" y="270"/>
                </a:lnTo>
                <a:lnTo>
                  <a:pt x="150" y="270"/>
                </a:lnTo>
                <a:lnTo>
                  <a:pt x="144" y="270"/>
                </a:lnTo>
                <a:lnTo>
                  <a:pt x="144" y="270"/>
                </a:lnTo>
                <a:lnTo>
                  <a:pt x="144" y="270"/>
                </a:lnTo>
                <a:lnTo>
                  <a:pt x="150" y="270"/>
                </a:lnTo>
                <a:lnTo>
                  <a:pt x="150" y="270"/>
                </a:lnTo>
                <a:lnTo>
                  <a:pt x="144" y="276"/>
                </a:lnTo>
                <a:lnTo>
                  <a:pt x="150" y="276"/>
                </a:lnTo>
                <a:lnTo>
                  <a:pt x="150" y="276"/>
                </a:lnTo>
                <a:lnTo>
                  <a:pt x="150" y="276"/>
                </a:lnTo>
                <a:lnTo>
                  <a:pt x="150" y="276"/>
                </a:lnTo>
                <a:lnTo>
                  <a:pt x="150" y="276"/>
                </a:lnTo>
                <a:lnTo>
                  <a:pt x="144" y="276"/>
                </a:lnTo>
                <a:lnTo>
                  <a:pt x="144" y="276"/>
                </a:lnTo>
                <a:lnTo>
                  <a:pt x="144" y="276"/>
                </a:lnTo>
                <a:lnTo>
                  <a:pt x="144" y="276"/>
                </a:lnTo>
                <a:lnTo>
                  <a:pt x="144" y="282"/>
                </a:lnTo>
                <a:lnTo>
                  <a:pt x="144" y="276"/>
                </a:lnTo>
                <a:lnTo>
                  <a:pt x="144" y="276"/>
                </a:lnTo>
                <a:lnTo>
                  <a:pt x="138" y="282"/>
                </a:lnTo>
                <a:lnTo>
                  <a:pt x="138" y="282"/>
                </a:lnTo>
                <a:lnTo>
                  <a:pt x="138" y="282"/>
                </a:lnTo>
                <a:lnTo>
                  <a:pt x="138" y="282"/>
                </a:lnTo>
                <a:lnTo>
                  <a:pt x="138" y="282"/>
                </a:lnTo>
                <a:lnTo>
                  <a:pt x="138" y="282"/>
                </a:lnTo>
                <a:lnTo>
                  <a:pt x="138" y="282"/>
                </a:lnTo>
                <a:lnTo>
                  <a:pt x="138" y="282"/>
                </a:lnTo>
                <a:lnTo>
                  <a:pt x="138" y="282"/>
                </a:lnTo>
                <a:lnTo>
                  <a:pt x="138" y="282"/>
                </a:lnTo>
                <a:lnTo>
                  <a:pt x="138" y="288"/>
                </a:lnTo>
                <a:lnTo>
                  <a:pt x="138" y="288"/>
                </a:lnTo>
                <a:lnTo>
                  <a:pt x="138" y="288"/>
                </a:lnTo>
                <a:lnTo>
                  <a:pt x="138" y="288"/>
                </a:lnTo>
                <a:lnTo>
                  <a:pt x="138" y="288"/>
                </a:lnTo>
                <a:lnTo>
                  <a:pt x="138" y="288"/>
                </a:lnTo>
                <a:lnTo>
                  <a:pt x="138" y="288"/>
                </a:lnTo>
                <a:lnTo>
                  <a:pt x="138" y="288"/>
                </a:lnTo>
                <a:lnTo>
                  <a:pt x="138" y="288"/>
                </a:lnTo>
                <a:lnTo>
                  <a:pt x="138" y="288"/>
                </a:lnTo>
                <a:lnTo>
                  <a:pt x="144" y="288"/>
                </a:lnTo>
                <a:lnTo>
                  <a:pt x="144" y="288"/>
                </a:lnTo>
                <a:lnTo>
                  <a:pt x="144" y="294"/>
                </a:lnTo>
                <a:lnTo>
                  <a:pt x="144" y="294"/>
                </a:lnTo>
                <a:lnTo>
                  <a:pt x="144" y="294"/>
                </a:lnTo>
                <a:lnTo>
                  <a:pt x="144" y="294"/>
                </a:lnTo>
                <a:lnTo>
                  <a:pt x="144" y="294"/>
                </a:lnTo>
                <a:lnTo>
                  <a:pt x="144" y="294"/>
                </a:lnTo>
                <a:lnTo>
                  <a:pt x="144" y="294"/>
                </a:lnTo>
                <a:lnTo>
                  <a:pt x="150" y="294"/>
                </a:lnTo>
                <a:lnTo>
                  <a:pt x="150" y="294"/>
                </a:lnTo>
                <a:lnTo>
                  <a:pt x="150" y="294"/>
                </a:lnTo>
                <a:lnTo>
                  <a:pt x="150" y="294"/>
                </a:lnTo>
                <a:lnTo>
                  <a:pt x="150" y="294"/>
                </a:lnTo>
                <a:lnTo>
                  <a:pt x="150" y="300"/>
                </a:lnTo>
                <a:lnTo>
                  <a:pt x="150" y="300"/>
                </a:lnTo>
                <a:lnTo>
                  <a:pt x="150" y="300"/>
                </a:lnTo>
                <a:lnTo>
                  <a:pt x="150" y="300"/>
                </a:lnTo>
                <a:lnTo>
                  <a:pt x="150" y="300"/>
                </a:lnTo>
                <a:lnTo>
                  <a:pt x="150" y="300"/>
                </a:lnTo>
                <a:lnTo>
                  <a:pt x="144" y="300"/>
                </a:lnTo>
                <a:lnTo>
                  <a:pt x="144" y="306"/>
                </a:lnTo>
                <a:lnTo>
                  <a:pt x="144" y="306"/>
                </a:lnTo>
                <a:lnTo>
                  <a:pt x="144" y="306"/>
                </a:lnTo>
                <a:lnTo>
                  <a:pt x="144" y="306"/>
                </a:lnTo>
                <a:lnTo>
                  <a:pt x="144" y="306"/>
                </a:lnTo>
                <a:lnTo>
                  <a:pt x="144" y="306"/>
                </a:lnTo>
                <a:lnTo>
                  <a:pt x="144" y="306"/>
                </a:lnTo>
                <a:lnTo>
                  <a:pt x="138" y="306"/>
                </a:lnTo>
                <a:lnTo>
                  <a:pt x="138" y="312"/>
                </a:lnTo>
                <a:lnTo>
                  <a:pt x="138" y="312"/>
                </a:lnTo>
                <a:lnTo>
                  <a:pt x="138" y="312"/>
                </a:lnTo>
                <a:lnTo>
                  <a:pt x="138" y="312"/>
                </a:lnTo>
                <a:lnTo>
                  <a:pt x="138" y="312"/>
                </a:lnTo>
                <a:lnTo>
                  <a:pt x="138" y="312"/>
                </a:lnTo>
                <a:lnTo>
                  <a:pt x="138" y="312"/>
                </a:lnTo>
                <a:lnTo>
                  <a:pt x="138" y="312"/>
                </a:lnTo>
                <a:lnTo>
                  <a:pt x="138" y="312"/>
                </a:lnTo>
                <a:lnTo>
                  <a:pt x="138" y="312"/>
                </a:lnTo>
                <a:lnTo>
                  <a:pt x="138" y="318"/>
                </a:lnTo>
                <a:lnTo>
                  <a:pt x="138" y="318"/>
                </a:lnTo>
                <a:lnTo>
                  <a:pt x="138" y="318"/>
                </a:lnTo>
                <a:lnTo>
                  <a:pt x="138" y="318"/>
                </a:lnTo>
                <a:lnTo>
                  <a:pt x="138" y="318"/>
                </a:lnTo>
                <a:lnTo>
                  <a:pt x="138" y="318"/>
                </a:lnTo>
                <a:lnTo>
                  <a:pt x="138" y="318"/>
                </a:lnTo>
                <a:lnTo>
                  <a:pt x="138" y="318"/>
                </a:lnTo>
                <a:lnTo>
                  <a:pt x="138" y="318"/>
                </a:lnTo>
                <a:lnTo>
                  <a:pt x="138" y="324"/>
                </a:lnTo>
                <a:lnTo>
                  <a:pt x="138" y="324"/>
                </a:lnTo>
                <a:lnTo>
                  <a:pt x="132" y="324"/>
                </a:lnTo>
                <a:lnTo>
                  <a:pt x="138" y="324"/>
                </a:lnTo>
                <a:lnTo>
                  <a:pt x="138" y="324"/>
                </a:lnTo>
                <a:lnTo>
                  <a:pt x="132" y="324"/>
                </a:lnTo>
                <a:lnTo>
                  <a:pt x="138" y="324"/>
                </a:lnTo>
                <a:lnTo>
                  <a:pt x="132" y="330"/>
                </a:lnTo>
                <a:lnTo>
                  <a:pt x="138" y="330"/>
                </a:lnTo>
                <a:lnTo>
                  <a:pt x="132" y="330"/>
                </a:lnTo>
                <a:lnTo>
                  <a:pt x="138" y="330"/>
                </a:lnTo>
                <a:lnTo>
                  <a:pt x="132" y="330"/>
                </a:lnTo>
                <a:lnTo>
                  <a:pt x="138" y="330"/>
                </a:lnTo>
                <a:lnTo>
                  <a:pt x="132" y="330"/>
                </a:lnTo>
                <a:lnTo>
                  <a:pt x="138" y="330"/>
                </a:lnTo>
                <a:lnTo>
                  <a:pt x="138" y="330"/>
                </a:lnTo>
                <a:lnTo>
                  <a:pt x="138" y="336"/>
                </a:lnTo>
                <a:lnTo>
                  <a:pt x="132" y="336"/>
                </a:lnTo>
                <a:lnTo>
                  <a:pt x="132" y="336"/>
                </a:lnTo>
                <a:lnTo>
                  <a:pt x="132" y="336"/>
                </a:lnTo>
                <a:lnTo>
                  <a:pt x="132" y="336"/>
                </a:lnTo>
                <a:lnTo>
                  <a:pt x="132" y="336"/>
                </a:lnTo>
                <a:lnTo>
                  <a:pt x="132" y="336"/>
                </a:lnTo>
                <a:lnTo>
                  <a:pt x="132" y="336"/>
                </a:lnTo>
                <a:lnTo>
                  <a:pt x="132" y="336"/>
                </a:lnTo>
                <a:lnTo>
                  <a:pt x="132" y="336"/>
                </a:lnTo>
                <a:lnTo>
                  <a:pt x="126" y="336"/>
                </a:lnTo>
                <a:lnTo>
                  <a:pt x="126" y="336"/>
                </a:lnTo>
                <a:lnTo>
                  <a:pt x="126" y="336"/>
                </a:lnTo>
                <a:lnTo>
                  <a:pt x="126" y="336"/>
                </a:lnTo>
                <a:lnTo>
                  <a:pt x="126" y="336"/>
                </a:lnTo>
                <a:lnTo>
                  <a:pt x="126" y="336"/>
                </a:lnTo>
                <a:lnTo>
                  <a:pt x="120" y="336"/>
                </a:lnTo>
                <a:lnTo>
                  <a:pt x="120" y="342"/>
                </a:lnTo>
                <a:lnTo>
                  <a:pt x="114" y="342"/>
                </a:lnTo>
                <a:lnTo>
                  <a:pt x="114" y="342"/>
                </a:lnTo>
                <a:lnTo>
                  <a:pt x="114" y="342"/>
                </a:lnTo>
                <a:lnTo>
                  <a:pt x="108" y="348"/>
                </a:lnTo>
                <a:lnTo>
                  <a:pt x="108" y="348"/>
                </a:lnTo>
                <a:lnTo>
                  <a:pt x="108" y="348"/>
                </a:lnTo>
                <a:lnTo>
                  <a:pt x="108" y="354"/>
                </a:lnTo>
                <a:lnTo>
                  <a:pt x="108" y="354"/>
                </a:lnTo>
                <a:lnTo>
                  <a:pt x="108" y="354"/>
                </a:lnTo>
                <a:lnTo>
                  <a:pt x="102" y="354"/>
                </a:lnTo>
                <a:lnTo>
                  <a:pt x="102" y="354"/>
                </a:lnTo>
                <a:lnTo>
                  <a:pt x="102" y="354"/>
                </a:lnTo>
                <a:lnTo>
                  <a:pt x="102" y="354"/>
                </a:lnTo>
                <a:lnTo>
                  <a:pt x="102" y="354"/>
                </a:lnTo>
                <a:lnTo>
                  <a:pt x="102" y="354"/>
                </a:lnTo>
                <a:lnTo>
                  <a:pt x="102" y="354"/>
                </a:lnTo>
                <a:lnTo>
                  <a:pt x="102" y="354"/>
                </a:lnTo>
                <a:lnTo>
                  <a:pt x="102" y="354"/>
                </a:lnTo>
                <a:lnTo>
                  <a:pt x="102" y="354"/>
                </a:lnTo>
                <a:lnTo>
                  <a:pt x="96" y="348"/>
                </a:lnTo>
                <a:lnTo>
                  <a:pt x="102" y="348"/>
                </a:lnTo>
                <a:lnTo>
                  <a:pt x="96" y="348"/>
                </a:lnTo>
                <a:lnTo>
                  <a:pt x="96" y="348"/>
                </a:lnTo>
                <a:lnTo>
                  <a:pt x="96" y="348"/>
                </a:lnTo>
                <a:lnTo>
                  <a:pt x="96" y="348"/>
                </a:lnTo>
                <a:lnTo>
                  <a:pt x="96" y="348"/>
                </a:lnTo>
                <a:lnTo>
                  <a:pt x="96" y="348"/>
                </a:lnTo>
                <a:lnTo>
                  <a:pt x="96" y="348"/>
                </a:lnTo>
                <a:lnTo>
                  <a:pt x="96" y="348"/>
                </a:lnTo>
                <a:lnTo>
                  <a:pt x="96" y="348"/>
                </a:lnTo>
                <a:lnTo>
                  <a:pt x="96" y="348"/>
                </a:lnTo>
                <a:lnTo>
                  <a:pt x="90" y="348"/>
                </a:lnTo>
                <a:lnTo>
                  <a:pt x="90" y="348"/>
                </a:lnTo>
                <a:lnTo>
                  <a:pt x="90" y="348"/>
                </a:lnTo>
                <a:lnTo>
                  <a:pt x="90" y="348"/>
                </a:lnTo>
                <a:lnTo>
                  <a:pt x="90" y="348"/>
                </a:lnTo>
                <a:lnTo>
                  <a:pt x="90" y="342"/>
                </a:lnTo>
                <a:lnTo>
                  <a:pt x="90" y="342"/>
                </a:lnTo>
                <a:lnTo>
                  <a:pt x="90" y="342"/>
                </a:lnTo>
                <a:lnTo>
                  <a:pt x="90" y="342"/>
                </a:lnTo>
                <a:lnTo>
                  <a:pt x="90" y="342"/>
                </a:lnTo>
                <a:lnTo>
                  <a:pt x="84" y="342"/>
                </a:lnTo>
                <a:lnTo>
                  <a:pt x="84" y="342"/>
                </a:lnTo>
                <a:lnTo>
                  <a:pt x="84" y="336"/>
                </a:lnTo>
                <a:lnTo>
                  <a:pt x="84" y="336"/>
                </a:lnTo>
                <a:lnTo>
                  <a:pt x="84" y="336"/>
                </a:lnTo>
                <a:lnTo>
                  <a:pt x="84" y="336"/>
                </a:lnTo>
                <a:lnTo>
                  <a:pt x="78" y="336"/>
                </a:lnTo>
                <a:lnTo>
                  <a:pt x="78" y="330"/>
                </a:lnTo>
                <a:lnTo>
                  <a:pt x="78" y="330"/>
                </a:lnTo>
                <a:lnTo>
                  <a:pt x="78" y="330"/>
                </a:lnTo>
                <a:lnTo>
                  <a:pt x="78" y="330"/>
                </a:lnTo>
                <a:lnTo>
                  <a:pt x="78" y="330"/>
                </a:lnTo>
                <a:lnTo>
                  <a:pt x="78" y="330"/>
                </a:lnTo>
                <a:lnTo>
                  <a:pt x="72" y="330"/>
                </a:lnTo>
                <a:lnTo>
                  <a:pt x="66" y="342"/>
                </a:lnTo>
                <a:lnTo>
                  <a:pt x="60" y="342"/>
                </a:lnTo>
                <a:lnTo>
                  <a:pt x="54" y="342"/>
                </a:lnTo>
                <a:lnTo>
                  <a:pt x="54" y="342"/>
                </a:lnTo>
                <a:lnTo>
                  <a:pt x="54" y="342"/>
                </a:lnTo>
                <a:lnTo>
                  <a:pt x="54" y="348"/>
                </a:lnTo>
                <a:lnTo>
                  <a:pt x="54" y="342"/>
                </a:lnTo>
                <a:lnTo>
                  <a:pt x="48" y="348"/>
                </a:lnTo>
                <a:lnTo>
                  <a:pt x="48" y="348"/>
                </a:lnTo>
                <a:lnTo>
                  <a:pt x="48" y="342"/>
                </a:lnTo>
                <a:lnTo>
                  <a:pt x="42" y="342"/>
                </a:lnTo>
                <a:lnTo>
                  <a:pt x="42" y="342"/>
                </a:lnTo>
                <a:lnTo>
                  <a:pt x="42" y="342"/>
                </a:lnTo>
                <a:lnTo>
                  <a:pt x="42" y="342"/>
                </a:lnTo>
                <a:lnTo>
                  <a:pt x="42" y="342"/>
                </a:lnTo>
                <a:lnTo>
                  <a:pt x="36" y="342"/>
                </a:lnTo>
                <a:lnTo>
                  <a:pt x="36" y="342"/>
                </a:lnTo>
                <a:lnTo>
                  <a:pt x="36" y="336"/>
                </a:lnTo>
                <a:lnTo>
                  <a:pt x="36" y="336"/>
                </a:lnTo>
                <a:lnTo>
                  <a:pt x="36" y="336"/>
                </a:lnTo>
                <a:lnTo>
                  <a:pt x="36" y="336"/>
                </a:lnTo>
                <a:lnTo>
                  <a:pt x="30" y="336"/>
                </a:lnTo>
                <a:lnTo>
                  <a:pt x="30" y="336"/>
                </a:lnTo>
                <a:lnTo>
                  <a:pt x="30" y="336"/>
                </a:lnTo>
                <a:lnTo>
                  <a:pt x="24" y="336"/>
                </a:lnTo>
                <a:lnTo>
                  <a:pt x="18" y="330"/>
                </a:lnTo>
                <a:lnTo>
                  <a:pt x="18" y="336"/>
                </a:lnTo>
                <a:lnTo>
                  <a:pt x="18" y="336"/>
                </a:lnTo>
                <a:lnTo>
                  <a:pt x="18" y="336"/>
                </a:lnTo>
                <a:lnTo>
                  <a:pt x="12" y="336"/>
                </a:lnTo>
                <a:lnTo>
                  <a:pt x="12" y="330"/>
                </a:lnTo>
                <a:lnTo>
                  <a:pt x="12" y="330"/>
                </a:lnTo>
                <a:lnTo>
                  <a:pt x="12" y="330"/>
                </a:lnTo>
                <a:lnTo>
                  <a:pt x="12" y="330"/>
                </a:lnTo>
                <a:lnTo>
                  <a:pt x="12" y="324"/>
                </a:lnTo>
                <a:lnTo>
                  <a:pt x="12" y="324"/>
                </a:lnTo>
                <a:lnTo>
                  <a:pt x="12" y="318"/>
                </a:lnTo>
                <a:lnTo>
                  <a:pt x="12" y="318"/>
                </a:lnTo>
                <a:lnTo>
                  <a:pt x="12" y="318"/>
                </a:lnTo>
                <a:lnTo>
                  <a:pt x="6" y="318"/>
                </a:lnTo>
                <a:lnTo>
                  <a:pt x="6" y="318"/>
                </a:lnTo>
                <a:lnTo>
                  <a:pt x="6" y="318"/>
                </a:lnTo>
                <a:lnTo>
                  <a:pt x="6" y="318"/>
                </a:lnTo>
                <a:lnTo>
                  <a:pt x="6" y="312"/>
                </a:lnTo>
                <a:lnTo>
                  <a:pt x="6" y="312"/>
                </a:lnTo>
                <a:lnTo>
                  <a:pt x="6" y="312"/>
                </a:lnTo>
                <a:lnTo>
                  <a:pt x="6" y="312"/>
                </a:lnTo>
                <a:lnTo>
                  <a:pt x="6" y="312"/>
                </a:lnTo>
                <a:lnTo>
                  <a:pt x="6" y="312"/>
                </a:lnTo>
                <a:lnTo>
                  <a:pt x="6" y="306"/>
                </a:lnTo>
                <a:lnTo>
                  <a:pt x="6" y="306"/>
                </a:lnTo>
                <a:lnTo>
                  <a:pt x="6" y="306"/>
                </a:lnTo>
                <a:lnTo>
                  <a:pt x="6" y="306"/>
                </a:lnTo>
                <a:lnTo>
                  <a:pt x="6" y="306"/>
                </a:lnTo>
                <a:lnTo>
                  <a:pt x="6" y="306"/>
                </a:lnTo>
                <a:lnTo>
                  <a:pt x="6" y="306"/>
                </a:lnTo>
                <a:lnTo>
                  <a:pt x="6" y="306"/>
                </a:lnTo>
                <a:lnTo>
                  <a:pt x="6" y="306"/>
                </a:lnTo>
                <a:lnTo>
                  <a:pt x="6" y="306"/>
                </a:lnTo>
                <a:lnTo>
                  <a:pt x="6" y="306"/>
                </a:lnTo>
                <a:lnTo>
                  <a:pt x="6" y="300"/>
                </a:lnTo>
                <a:lnTo>
                  <a:pt x="6" y="300"/>
                </a:lnTo>
                <a:lnTo>
                  <a:pt x="6" y="300"/>
                </a:lnTo>
                <a:lnTo>
                  <a:pt x="6" y="300"/>
                </a:lnTo>
                <a:lnTo>
                  <a:pt x="6" y="300"/>
                </a:lnTo>
                <a:lnTo>
                  <a:pt x="6" y="300"/>
                </a:lnTo>
                <a:lnTo>
                  <a:pt x="6" y="300"/>
                </a:lnTo>
                <a:lnTo>
                  <a:pt x="6" y="300"/>
                </a:lnTo>
                <a:lnTo>
                  <a:pt x="6" y="300"/>
                </a:lnTo>
                <a:lnTo>
                  <a:pt x="6" y="300"/>
                </a:lnTo>
                <a:lnTo>
                  <a:pt x="6" y="300"/>
                </a:lnTo>
                <a:lnTo>
                  <a:pt x="6" y="294"/>
                </a:lnTo>
                <a:lnTo>
                  <a:pt x="0" y="294"/>
                </a:lnTo>
                <a:lnTo>
                  <a:pt x="0" y="294"/>
                </a:lnTo>
                <a:lnTo>
                  <a:pt x="0" y="294"/>
                </a:lnTo>
                <a:lnTo>
                  <a:pt x="0" y="294"/>
                </a:lnTo>
                <a:lnTo>
                  <a:pt x="0" y="294"/>
                </a:lnTo>
                <a:lnTo>
                  <a:pt x="0" y="294"/>
                </a:lnTo>
                <a:lnTo>
                  <a:pt x="0" y="294"/>
                </a:lnTo>
                <a:lnTo>
                  <a:pt x="0" y="294"/>
                </a:lnTo>
                <a:lnTo>
                  <a:pt x="0" y="294"/>
                </a:lnTo>
                <a:lnTo>
                  <a:pt x="0" y="294"/>
                </a:lnTo>
                <a:lnTo>
                  <a:pt x="6" y="288"/>
                </a:lnTo>
                <a:lnTo>
                  <a:pt x="6" y="288"/>
                </a:lnTo>
                <a:lnTo>
                  <a:pt x="6" y="294"/>
                </a:lnTo>
                <a:lnTo>
                  <a:pt x="6" y="288"/>
                </a:lnTo>
                <a:lnTo>
                  <a:pt x="6" y="28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813" name="Freeform 546"/>
          <p:cNvSpPr>
            <a:spLocks/>
          </p:cNvSpPr>
          <p:nvPr/>
        </p:nvSpPr>
        <p:spPr bwMode="auto">
          <a:xfrm>
            <a:off x="6948215" y="3261327"/>
            <a:ext cx="141329" cy="77089"/>
          </a:xfrm>
          <a:custGeom>
            <a:avLst/>
            <a:gdLst>
              <a:gd name="T0" fmla="*/ 6 w 132"/>
              <a:gd name="T1" fmla="*/ 42 h 72"/>
              <a:gd name="T2" fmla="*/ 6 w 132"/>
              <a:gd name="T3" fmla="*/ 42 h 72"/>
              <a:gd name="T4" fmla="*/ 12 w 132"/>
              <a:gd name="T5" fmla="*/ 36 h 72"/>
              <a:gd name="T6" fmla="*/ 12 w 132"/>
              <a:gd name="T7" fmla="*/ 30 h 72"/>
              <a:gd name="T8" fmla="*/ 6 w 132"/>
              <a:gd name="T9" fmla="*/ 24 h 72"/>
              <a:gd name="T10" fmla="*/ 12 w 132"/>
              <a:gd name="T11" fmla="*/ 18 h 72"/>
              <a:gd name="T12" fmla="*/ 30 w 132"/>
              <a:gd name="T13" fmla="*/ 0 h 72"/>
              <a:gd name="T14" fmla="*/ 84 w 132"/>
              <a:gd name="T15" fmla="*/ 0 h 72"/>
              <a:gd name="T16" fmla="*/ 114 w 132"/>
              <a:gd name="T17" fmla="*/ 0 h 72"/>
              <a:gd name="T18" fmla="*/ 120 w 132"/>
              <a:gd name="T19" fmla="*/ 12 h 72"/>
              <a:gd name="T20" fmla="*/ 120 w 132"/>
              <a:gd name="T21" fmla="*/ 12 h 72"/>
              <a:gd name="T22" fmla="*/ 126 w 132"/>
              <a:gd name="T23" fmla="*/ 12 h 72"/>
              <a:gd name="T24" fmla="*/ 126 w 132"/>
              <a:gd name="T25" fmla="*/ 12 h 72"/>
              <a:gd name="T26" fmla="*/ 126 w 132"/>
              <a:gd name="T27" fmla="*/ 12 h 72"/>
              <a:gd name="T28" fmla="*/ 126 w 132"/>
              <a:gd name="T29" fmla="*/ 24 h 72"/>
              <a:gd name="T30" fmla="*/ 126 w 132"/>
              <a:gd name="T31" fmla="*/ 24 h 72"/>
              <a:gd name="T32" fmla="*/ 132 w 132"/>
              <a:gd name="T33" fmla="*/ 30 h 72"/>
              <a:gd name="T34" fmla="*/ 126 w 132"/>
              <a:gd name="T35" fmla="*/ 30 h 72"/>
              <a:gd name="T36" fmla="*/ 126 w 132"/>
              <a:gd name="T37" fmla="*/ 36 h 72"/>
              <a:gd name="T38" fmla="*/ 126 w 132"/>
              <a:gd name="T39" fmla="*/ 36 h 72"/>
              <a:gd name="T40" fmla="*/ 126 w 132"/>
              <a:gd name="T41" fmla="*/ 36 h 72"/>
              <a:gd name="T42" fmla="*/ 126 w 132"/>
              <a:gd name="T43" fmla="*/ 42 h 72"/>
              <a:gd name="T44" fmla="*/ 126 w 132"/>
              <a:gd name="T45" fmla="*/ 42 h 72"/>
              <a:gd name="T46" fmla="*/ 120 w 132"/>
              <a:gd name="T47" fmla="*/ 42 h 72"/>
              <a:gd name="T48" fmla="*/ 120 w 132"/>
              <a:gd name="T49" fmla="*/ 48 h 72"/>
              <a:gd name="T50" fmla="*/ 120 w 132"/>
              <a:gd name="T51" fmla="*/ 48 h 72"/>
              <a:gd name="T52" fmla="*/ 120 w 132"/>
              <a:gd name="T53" fmla="*/ 48 h 72"/>
              <a:gd name="T54" fmla="*/ 120 w 132"/>
              <a:gd name="T55" fmla="*/ 54 h 72"/>
              <a:gd name="T56" fmla="*/ 120 w 132"/>
              <a:gd name="T57" fmla="*/ 54 h 72"/>
              <a:gd name="T58" fmla="*/ 120 w 132"/>
              <a:gd name="T59" fmla="*/ 54 h 72"/>
              <a:gd name="T60" fmla="*/ 120 w 132"/>
              <a:gd name="T61" fmla="*/ 60 h 72"/>
              <a:gd name="T62" fmla="*/ 120 w 132"/>
              <a:gd name="T63" fmla="*/ 60 h 72"/>
              <a:gd name="T64" fmla="*/ 120 w 132"/>
              <a:gd name="T65" fmla="*/ 60 h 72"/>
              <a:gd name="T66" fmla="*/ 120 w 132"/>
              <a:gd name="T67" fmla="*/ 60 h 72"/>
              <a:gd name="T68" fmla="*/ 120 w 132"/>
              <a:gd name="T69" fmla="*/ 60 h 72"/>
              <a:gd name="T70" fmla="*/ 120 w 132"/>
              <a:gd name="T71" fmla="*/ 66 h 72"/>
              <a:gd name="T72" fmla="*/ 120 w 132"/>
              <a:gd name="T73" fmla="*/ 66 h 72"/>
              <a:gd name="T74" fmla="*/ 126 w 132"/>
              <a:gd name="T75" fmla="*/ 66 h 72"/>
              <a:gd name="T76" fmla="*/ 126 w 132"/>
              <a:gd name="T77" fmla="*/ 72 h 72"/>
              <a:gd name="T78" fmla="*/ 126 w 132"/>
              <a:gd name="T79" fmla="*/ 72 h 72"/>
              <a:gd name="T80" fmla="*/ 126 w 132"/>
              <a:gd name="T81" fmla="*/ 72 h 72"/>
              <a:gd name="T82" fmla="*/ 132 w 132"/>
              <a:gd name="T83" fmla="*/ 72 h 72"/>
              <a:gd name="T84" fmla="*/ 90 w 132"/>
              <a:gd name="T85" fmla="*/ 72 h 72"/>
              <a:gd name="T86" fmla="*/ 48 w 132"/>
              <a:gd name="T87" fmla="*/ 72 h 72"/>
              <a:gd name="T88" fmla="*/ 30 w 132"/>
              <a:gd name="T89" fmla="*/ 72 h 72"/>
              <a:gd name="T90" fmla="*/ 6 w 132"/>
              <a:gd name="T91" fmla="*/ 72 h 72"/>
              <a:gd name="T92" fmla="*/ 6 w 132"/>
              <a:gd name="T93" fmla="*/ 66 h 72"/>
              <a:gd name="T94" fmla="*/ 6 w 132"/>
              <a:gd name="T95" fmla="*/ 60 h 72"/>
              <a:gd name="T96" fmla="*/ 6 w 132"/>
              <a:gd name="T97" fmla="*/ 60 h 72"/>
              <a:gd name="T98" fmla="*/ 6 w 132"/>
              <a:gd name="T99" fmla="*/ 60 h 72"/>
              <a:gd name="T100" fmla="*/ 6 w 132"/>
              <a:gd name="T101" fmla="*/ 54 h 72"/>
              <a:gd name="T102" fmla="*/ 6 w 132"/>
              <a:gd name="T103" fmla="*/ 54 h 72"/>
              <a:gd name="T104" fmla="*/ 0 w 132"/>
              <a:gd name="T105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32" h="72">
                <a:moveTo>
                  <a:pt x="0" y="42"/>
                </a:move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6" y="30"/>
                </a:lnTo>
                <a:lnTo>
                  <a:pt x="6" y="24"/>
                </a:lnTo>
                <a:lnTo>
                  <a:pt x="6" y="24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6"/>
                </a:lnTo>
                <a:lnTo>
                  <a:pt x="12" y="0"/>
                </a:lnTo>
                <a:lnTo>
                  <a:pt x="30" y="0"/>
                </a:lnTo>
                <a:lnTo>
                  <a:pt x="36" y="0"/>
                </a:lnTo>
                <a:lnTo>
                  <a:pt x="72" y="0"/>
                </a:lnTo>
                <a:lnTo>
                  <a:pt x="84" y="0"/>
                </a:lnTo>
                <a:lnTo>
                  <a:pt x="96" y="0"/>
                </a:lnTo>
                <a:lnTo>
                  <a:pt x="108" y="0"/>
                </a:lnTo>
                <a:lnTo>
                  <a:pt x="114" y="0"/>
                </a:lnTo>
                <a:lnTo>
                  <a:pt x="114" y="6"/>
                </a:lnTo>
                <a:lnTo>
                  <a:pt x="120" y="6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8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32" y="30"/>
                </a:lnTo>
                <a:lnTo>
                  <a:pt x="132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32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6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54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0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0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66"/>
                </a:lnTo>
                <a:lnTo>
                  <a:pt x="126" y="72"/>
                </a:lnTo>
                <a:lnTo>
                  <a:pt x="126" y="72"/>
                </a:lnTo>
                <a:lnTo>
                  <a:pt x="126" y="72"/>
                </a:lnTo>
                <a:lnTo>
                  <a:pt x="126" y="72"/>
                </a:lnTo>
                <a:lnTo>
                  <a:pt x="126" y="72"/>
                </a:lnTo>
                <a:lnTo>
                  <a:pt x="126" y="72"/>
                </a:lnTo>
                <a:lnTo>
                  <a:pt x="126" y="72"/>
                </a:lnTo>
                <a:lnTo>
                  <a:pt x="126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132" y="72"/>
                </a:lnTo>
                <a:lnTo>
                  <a:pt x="90" y="72"/>
                </a:lnTo>
                <a:lnTo>
                  <a:pt x="78" y="72"/>
                </a:lnTo>
                <a:lnTo>
                  <a:pt x="66" y="72"/>
                </a:lnTo>
                <a:lnTo>
                  <a:pt x="48" y="72"/>
                </a:lnTo>
                <a:lnTo>
                  <a:pt x="36" y="72"/>
                </a:lnTo>
                <a:lnTo>
                  <a:pt x="36" y="72"/>
                </a:lnTo>
                <a:lnTo>
                  <a:pt x="30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48"/>
                </a:lnTo>
                <a:lnTo>
                  <a:pt x="0" y="48"/>
                </a:lnTo>
                <a:lnTo>
                  <a:pt x="0" y="4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814" name="Freeform 547"/>
          <p:cNvSpPr>
            <a:spLocks noEditPoints="1"/>
          </p:cNvSpPr>
          <p:nvPr/>
        </p:nvSpPr>
        <p:spPr bwMode="auto">
          <a:xfrm>
            <a:off x="6928943" y="1179920"/>
            <a:ext cx="192721" cy="83513"/>
          </a:xfrm>
          <a:custGeom>
            <a:avLst/>
            <a:gdLst>
              <a:gd name="T0" fmla="*/ 12 w 180"/>
              <a:gd name="T1" fmla="*/ 36 h 78"/>
              <a:gd name="T2" fmla="*/ 24 w 180"/>
              <a:gd name="T3" fmla="*/ 18 h 78"/>
              <a:gd name="T4" fmla="*/ 60 w 180"/>
              <a:gd name="T5" fmla="*/ 18 h 78"/>
              <a:gd name="T6" fmla="*/ 60 w 180"/>
              <a:gd name="T7" fmla="*/ 18 h 78"/>
              <a:gd name="T8" fmla="*/ 66 w 180"/>
              <a:gd name="T9" fmla="*/ 6 h 78"/>
              <a:gd name="T10" fmla="*/ 72 w 180"/>
              <a:gd name="T11" fmla="*/ 6 h 78"/>
              <a:gd name="T12" fmla="*/ 78 w 180"/>
              <a:gd name="T13" fmla="*/ 0 h 78"/>
              <a:gd name="T14" fmla="*/ 78 w 180"/>
              <a:gd name="T15" fmla="*/ 6 h 78"/>
              <a:gd name="T16" fmla="*/ 78 w 180"/>
              <a:gd name="T17" fmla="*/ 12 h 78"/>
              <a:gd name="T18" fmla="*/ 78 w 180"/>
              <a:gd name="T19" fmla="*/ 12 h 78"/>
              <a:gd name="T20" fmla="*/ 84 w 180"/>
              <a:gd name="T21" fmla="*/ 6 h 78"/>
              <a:gd name="T22" fmla="*/ 84 w 180"/>
              <a:gd name="T23" fmla="*/ 0 h 78"/>
              <a:gd name="T24" fmla="*/ 90 w 180"/>
              <a:gd name="T25" fmla="*/ 6 h 78"/>
              <a:gd name="T26" fmla="*/ 90 w 180"/>
              <a:gd name="T27" fmla="*/ 6 h 78"/>
              <a:gd name="T28" fmla="*/ 90 w 180"/>
              <a:gd name="T29" fmla="*/ 0 h 78"/>
              <a:gd name="T30" fmla="*/ 96 w 180"/>
              <a:gd name="T31" fmla="*/ 0 h 78"/>
              <a:gd name="T32" fmla="*/ 102 w 180"/>
              <a:gd name="T33" fmla="*/ 6 h 78"/>
              <a:gd name="T34" fmla="*/ 102 w 180"/>
              <a:gd name="T35" fmla="*/ 12 h 78"/>
              <a:gd name="T36" fmla="*/ 108 w 180"/>
              <a:gd name="T37" fmla="*/ 18 h 78"/>
              <a:gd name="T38" fmla="*/ 114 w 180"/>
              <a:gd name="T39" fmla="*/ 6 h 78"/>
              <a:gd name="T40" fmla="*/ 120 w 180"/>
              <a:gd name="T41" fmla="*/ 12 h 78"/>
              <a:gd name="T42" fmla="*/ 120 w 180"/>
              <a:gd name="T43" fmla="*/ 18 h 78"/>
              <a:gd name="T44" fmla="*/ 126 w 180"/>
              <a:gd name="T45" fmla="*/ 24 h 78"/>
              <a:gd name="T46" fmla="*/ 126 w 180"/>
              <a:gd name="T47" fmla="*/ 6 h 78"/>
              <a:gd name="T48" fmla="*/ 132 w 180"/>
              <a:gd name="T49" fmla="*/ 12 h 78"/>
              <a:gd name="T50" fmla="*/ 132 w 180"/>
              <a:gd name="T51" fmla="*/ 12 h 78"/>
              <a:gd name="T52" fmla="*/ 138 w 180"/>
              <a:gd name="T53" fmla="*/ 6 h 78"/>
              <a:gd name="T54" fmla="*/ 150 w 180"/>
              <a:gd name="T55" fmla="*/ 6 h 78"/>
              <a:gd name="T56" fmla="*/ 150 w 180"/>
              <a:gd name="T57" fmla="*/ 12 h 78"/>
              <a:gd name="T58" fmla="*/ 156 w 180"/>
              <a:gd name="T59" fmla="*/ 12 h 78"/>
              <a:gd name="T60" fmla="*/ 156 w 180"/>
              <a:gd name="T61" fmla="*/ 12 h 78"/>
              <a:gd name="T62" fmla="*/ 156 w 180"/>
              <a:gd name="T63" fmla="*/ 18 h 78"/>
              <a:gd name="T64" fmla="*/ 162 w 180"/>
              <a:gd name="T65" fmla="*/ 18 h 78"/>
              <a:gd name="T66" fmla="*/ 162 w 180"/>
              <a:gd name="T67" fmla="*/ 18 h 78"/>
              <a:gd name="T68" fmla="*/ 168 w 180"/>
              <a:gd name="T69" fmla="*/ 12 h 78"/>
              <a:gd name="T70" fmla="*/ 162 w 180"/>
              <a:gd name="T71" fmla="*/ 24 h 78"/>
              <a:gd name="T72" fmla="*/ 168 w 180"/>
              <a:gd name="T73" fmla="*/ 30 h 78"/>
              <a:gd name="T74" fmla="*/ 168 w 180"/>
              <a:gd name="T75" fmla="*/ 24 h 78"/>
              <a:gd name="T76" fmla="*/ 168 w 180"/>
              <a:gd name="T77" fmla="*/ 18 h 78"/>
              <a:gd name="T78" fmla="*/ 180 w 180"/>
              <a:gd name="T79" fmla="*/ 18 h 78"/>
              <a:gd name="T80" fmla="*/ 180 w 180"/>
              <a:gd name="T81" fmla="*/ 24 h 78"/>
              <a:gd name="T82" fmla="*/ 180 w 180"/>
              <a:gd name="T83" fmla="*/ 24 h 78"/>
              <a:gd name="T84" fmla="*/ 180 w 180"/>
              <a:gd name="T85" fmla="*/ 24 h 78"/>
              <a:gd name="T86" fmla="*/ 180 w 180"/>
              <a:gd name="T87" fmla="*/ 30 h 78"/>
              <a:gd name="T88" fmla="*/ 174 w 180"/>
              <a:gd name="T89" fmla="*/ 42 h 78"/>
              <a:gd name="T90" fmla="*/ 162 w 180"/>
              <a:gd name="T91" fmla="*/ 42 h 78"/>
              <a:gd name="T92" fmla="*/ 150 w 180"/>
              <a:gd name="T93" fmla="*/ 48 h 78"/>
              <a:gd name="T94" fmla="*/ 150 w 180"/>
              <a:gd name="T95" fmla="*/ 36 h 78"/>
              <a:gd name="T96" fmla="*/ 138 w 180"/>
              <a:gd name="T97" fmla="*/ 36 h 78"/>
              <a:gd name="T98" fmla="*/ 138 w 180"/>
              <a:gd name="T99" fmla="*/ 42 h 78"/>
              <a:gd name="T100" fmla="*/ 138 w 180"/>
              <a:gd name="T101" fmla="*/ 48 h 78"/>
              <a:gd name="T102" fmla="*/ 138 w 180"/>
              <a:gd name="T103" fmla="*/ 54 h 78"/>
              <a:gd name="T104" fmla="*/ 132 w 180"/>
              <a:gd name="T105" fmla="*/ 54 h 78"/>
              <a:gd name="T106" fmla="*/ 96 w 180"/>
              <a:gd name="T107" fmla="*/ 66 h 78"/>
              <a:gd name="T108" fmla="*/ 90 w 180"/>
              <a:gd name="T109" fmla="*/ 66 h 78"/>
              <a:gd name="T110" fmla="*/ 78 w 180"/>
              <a:gd name="T111" fmla="*/ 66 h 78"/>
              <a:gd name="T112" fmla="*/ 66 w 180"/>
              <a:gd name="T113" fmla="*/ 66 h 78"/>
              <a:gd name="T114" fmla="*/ 42 w 180"/>
              <a:gd name="T115" fmla="*/ 60 h 78"/>
              <a:gd name="T116" fmla="*/ 36 w 180"/>
              <a:gd name="T117" fmla="*/ 60 h 78"/>
              <a:gd name="T118" fmla="*/ 24 w 180"/>
              <a:gd name="T119" fmla="*/ 60 h 78"/>
              <a:gd name="T120" fmla="*/ 0 w 180"/>
              <a:gd name="T121" fmla="*/ 54 h 78"/>
              <a:gd name="T122" fmla="*/ 78 w 180"/>
              <a:gd name="T123" fmla="*/ 12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80" h="78">
                <a:moveTo>
                  <a:pt x="0" y="54"/>
                </a:moveTo>
                <a:lnTo>
                  <a:pt x="0" y="54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12" y="36"/>
                </a:lnTo>
                <a:lnTo>
                  <a:pt x="12" y="36"/>
                </a:lnTo>
                <a:lnTo>
                  <a:pt x="12" y="30"/>
                </a:lnTo>
                <a:lnTo>
                  <a:pt x="12" y="30"/>
                </a:lnTo>
                <a:lnTo>
                  <a:pt x="18" y="24"/>
                </a:lnTo>
                <a:lnTo>
                  <a:pt x="18" y="18"/>
                </a:lnTo>
                <a:lnTo>
                  <a:pt x="18" y="18"/>
                </a:lnTo>
                <a:lnTo>
                  <a:pt x="24" y="18"/>
                </a:lnTo>
                <a:lnTo>
                  <a:pt x="24" y="18"/>
                </a:lnTo>
                <a:lnTo>
                  <a:pt x="24" y="12"/>
                </a:lnTo>
                <a:lnTo>
                  <a:pt x="24" y="6"/>
                </a:lnTo>
                <a:lnTo>
                  <a:pt x="30" y="6"/>
                </a:lnTo>
                <a:lnTo>
                  <a:pt x="24" y="6"/>
                </a:lnTo>
                <a:lnTo>
                  <a:pt x="60" y="12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6" y="12"/>
                </a:lnTo>
                <a:lnTo>
                  <a:pt x="66" y="12"/>
                </a:lnTo>
                <a:lnTo>
                  <a:pt x="66" y="6"/>
                </a:lnTo>
                <a:lnTo>
                  <a:pt x="66" y="12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8" y="0"/>
                </a:lnTo>
                <a:lnTo>
                  <a:pt x="78" y="0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2" y="18"/>
                </a:lnTo>
                <a:lnTo>
                  <a:pt x="78" y="18"/>
                </a:lnTo>
                <a:lnTo>
                  <a:pt x="78" y="12"/>
                </a:lnTo>
                <a:lnTo>
                  <a:pt x="78" y="12"/>
                </a:lnTo>
                <a:lnTo>
                  <a:pt x="78" y="18"/>
                </a:lnTo>
                <a:lnTo>
                  <a:pt x="78" y="18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84" y="12"/>
                </a:lnTo>
                <a:lnTo>
                  <a:pt x="84" y="12"/>
                </a:lnTo>
                <a:lnTo>
                  <a:pt x="78" y="6"/>
                </a:lnTo>
                <a:lnTo>
                  <a:pt x="78" y="6"/>
                </a:lnTo>
                <a:lnTo>
                  <a:pt x="84" y="6"/>
                </a:lnTo>
                <a:lnTo>
                  <a:pt x="84" y="6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0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8" y="6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8" y="12"/>
                </a:lnTo>
                <a:lnTo>
                  <a:pt x="102" y="12"/>
                </a:lnTo>
                <a:lnTo>
                  <a:pt x="108" y="12"/>
                </a:lnTo>
                <a:lnTo>
                  <a:pt x="108" y="12"/>
                </a:lnTo>
                <a:lnTo>
                  <a:pt x="102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14" y="12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20" y="6"/>
                </a:lnTo>
                <a:lnTo>
                  <a:pt x="120" y="6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6" y="24"/>
                </a:lnTo>
                <a:lnTo>
                  <a:pt x="126" y="24"/>
                </a:lnTo>
                <a:lnTo>
                  <a:pt x="126" y="30"/>
                </a:lnTo>
                <a:lnTo>
                  <a:pt x="126" y="24"/>
                </a:lnTo>
                <a:lnTo>
                  <a:pt x="126" y="30"/>
                </a:lnTo>
                <a:lnTo>
                  <a:pt x="126" y="24"/>
                </a:lnTo>
                <a:lnTo>
                  <a:pt x="126" y="24"/>
                </a:lnTo>
                <a:lnTo>
                  <a:pt x="126" y="18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6"/>
                </a:lnTo>
                <a:lnTo>
                  <a:pt x="138" y="6"/>
                </a:lnTo>
                <a:lnTo>
                  <a:pt x="138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2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24"/>
                </a:lnTo>
                <a:lnTo>
                  <a:pt x="168" y="24"/>
                </a:lnTo>
                <a:lnTo>
                  <a:pt x="162" y="24"/>
                </a:lnTo>
                <a:lnTo>
                  <a:pt x="168" y="30"/>
                </a:lnTo>
                <a:lnTo>
                  <a:pt x="168" y="30"/>
                </a:lnTo>
                <a:lnTo>
                  <a:pt x="168" y="30"/>
                </a:lnTo>
                <a:lnTo>
                  <a:pt x="168" y="24"/>
                </a:lnTo>
                <a:lnTo>
                  <a:pt x="168" y="24"/>
                </a:lnTo>
                <a:lnTo>
                  <a:pt x="168" y="30"/>
                </a:lnTo>
                <a:lnTo>
                  <a:pt x="168" y="30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18"/>
                </a:lnTo>
                <a:lnTo>
                  <a:pt x="168" y="24"/>
                </a:lnTo>
                <a:lnTo>
                  <a:pt x="168" y="24"/>
                </a:lnTo>
                <a:lnTo>
                  <a:pt x="168" y="24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74" y="18"/>
                </a:lnTo>
                <a:lnTo>
                  <a:pt x="174" y="18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74" y="18"/>
                </a:lnTo>
                <a:lnTo>
                  <a:pt x="180" y="18"/>
                </a:lnTo>
                <a:lnTo>
                  <a:pt x="180" y="18"/>
                </a:lnTo>
                <a:lnTo>
                  <a:pt x="174" y="18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74" y="24"/>
                </a:lnTo>
                <a:lnTo>
                  <a:pt x="174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24"/>
                </a:lnTo>
                <a:lnTo>
                  <a:pt x="180" y="24"/>
                </a:lnTo>
                <a:lnTo>
                  <a:pt x="180" y="18"/>
                </a:lnTo>
                <a:lnTo>
                  <a:pt x="180" y="18"/>
                </a:lnTo>
                <a:lnTo>
                  <a:pt x="180" y="24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68" y="42"/>
                </a:lnTo>
                <a:lnTo>
                  <a:pt x="168" y="42"/>
                </a:lnTo>
                <a:lnTo>
                  <a:pt x="168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8"/>
                </a:lnTo>
                <a:lnTo>
                  <a:pt x="156" y="48"/>
                </a:lnTo>
                <a:lnTo>
                  <a:pt x="156" y="48"/>
                </a:lnTo>
                <a:lnTo>
                  <a:pt x="156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6" y="42"/>
                </a:lnTo>
                <a:lnTo>
                  <a:pt x="150" y="42"/>
                </a:lnTo>
                <a:lnTo>
                  <a:pt x="150" y="42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44" y="36"/>
                </a:lnTo>
                <a:lnTo>
                  <a:pt x="144" y="36"/>
                </a:lnTo>
                <a:lnTo>
                  <a:pt x="144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36"/>
                </a:lnTo>
                <a:lnTo>
                  <a:pt x="138" y="42"/>
                </a:lnTo>
                <a:lnTo>
                  <a:pt x="138" y="42"/>
                </a:lnTo>
                <a:lnTo>
                  <a:pt x="138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2"/>
                </a:lnTo>
                <a:lnTo>
                  <a:pt x="132" y="48"/>
                </a:lnTo>
                <a:lnTo>
                  <a:pt x="132" y="48"/>
                </a:lnTo>
                <a:lnTo>
                  <a:pt x="138" y="48"/>
                </a:lnTo>
                <a:lnTo>
                  <a:pt x="132" y="48"/>
                </a:lnTo>
                <a:lnTo>
                  <a:pt x="138" y="48"/>
                </a:lnTo>
                <a:lnTo>
                  <a:pt x="138" y="48"/>
                </a:lnTo>
                <a:lnTo>
                  <a:pt x="138" y="48"/>
                </a:lnTo>
                <a:lnTo>
                  <a:pt x="132" y="48"/>
                </a:lnTo>
                <a:lnTo>
                  <a:pt x="132" y="54"/>
                </a:lnTo>
                <a:lnTo>
                  <a:pt x="138" y="54"/>
                </a:lnTo>
                <a:lnTo>
                  <a:pt x="138" y="54"/>
                </a:lnTo>
                <a:lnTo>
                  <a:pt x="138" y="54"/>
                </a:lnTo>
                <a:lnTo>
                  <a:pt x="138" y="54"/>
                </a:lnTo>
                <a:lnTo>
                  <a:pt x="132" y="54"/>
                </a:lnTo>
                <a:lnTo>
                  <a:pt x="132" y="54"/>
                </a:lnTo>
                <a:lnTo>
                  <a:pt x="132" y="54"/>
                </a:lnTo>
                <a:lnTo>
                  <a:pt x="132" y="54"/>
                </a:lnTo>
                <a:lnTo>
                  <a:pt x="120" y="60"/>
                </a:lnTo>
                <a:lnTo>
                  <a:pt x="120" y="60"/>
                </a:lnTo>
                <a:lnTo>
                  <a:pt x="108" y="60"/>
                </a:lnTo>
                <a:lnTo>
                  <a:pt x="108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78" y="66"/>
                </a:lnTo>
                <a:lnTo>
                  <a:pt x="78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66" y="66"/>
                </a:lnTo>
                <a:lnTo>
                  <a:pt x="66" y="60"/>
                </a:lnTo>
                <a:lnTo>
                  <a:pt x="66" y="66"/>
                </a:lnTo>
                <a:lnTo>
                  <a:pt x="60" y="66"/>
                </a:lnTo>
                <a:lnTo>
                  <a:pt x="60" y="66"/>
                </a:lnTo>
                <a:lnTo>
                  <a:pt x="60" y="72"/>
                </a:lnTo>
                <a:lnTo>
                  <a:pt x="60" y="72"/>
                </a:lnTo>
                <a:lnTo>
                  <a:pt x="54" y="72"/>
                </a:lnTo>
                <a:lnTo>
                  <a:pt x="54" y="78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18" y="60"/>
                </a:lnTo>
                <a:lnTo>
                  <a:pt x="18" y="60"/>
                </a:lnTo>
                <a:lnTo>
                  <a:pt x="0" y="54"/>
                </a:lnTo>
                <a:lnTo>
                  <a:pt x="0" y="54"/>
                </a:lnTo>
                <a:close/>
                <a:moveTo>
                  <a:pt x="78" y="12"/>
                </a:move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815" name="Freeform 548"/>
          <p:cNvSpPr>
            <a:spLocks noEditPoints="1"/>
          </p:cNvSpPr>
          <p:nvPr/>
        </p:nvSpPr>
        <p:spPr bwMode="auto">
          <a:xfrm>
            <a:off x="7012455" y="1199192"/>
            <a:ext cx="250538" cy="122058"/>
          </a:xfrm>
          <a:custGeom>
            <a:avLst/>
            <a:gdLst>
              <a:gd name="T0" fmla="*/ 12 w 234"/>
              <a:gd name="T1" fmla="*/ 48 h 114"/>
              <a:gd name="T2" fmla="*/ 54 w 234"/>
              <a:gd name="T3" fmla="*/ 36 h 114"/>
              <a:gd name="T4" fmla="*/ 60 w 234"/>
              <a:gd name="T5" fmla="*/ 30 h 114"/>
              <a:gd name="T6" fmla="*/ 60 w 234"/>
              <a:gd name="T7" fmla="*/ 18 h 114"/>
              <a:gd name="T8" fmla="*/ 72 w 234"/>
              <a:gd name="T9" fmla="*/ 18 h 114"/>
              <a:gd name="T10" fmla="*/ 78 w 234"/>
              <a:gd name="T11" fmla="*/ 30 h 114"/>
              <a:gd name="T12" fmla="*/ 96 w 234"/>
              <a:gd name="T13" fmla="*/ 24 h 114"/>
              <a:gd name="T14" fmla="*/ 108 w 234"/>
              <a:gd name="T15" fmla="*/ 12 h 114"/>
              <a:gd name="T16" fmla="*/ 108 w 234"/>
              <a:gd name="T17" fmla="*/ 6 h 114"/>
              <a:gd name="T18" fmla="*/ 114 w 234"/>
              <a:gd name="T19" fmla="*/ 6 h 114"/>
              <a:gd name="T20" fmla="*/ 114 w 234"/>
              <a:gd name="T21" fmla="*/ 12 h 114"/>
              <a:gd name="T22" fmla="*/ 120 w 234"/>
              <a:gd name="T23" fmla="*/ 18 h 114"/>
              <a:gd name="T24" fmla="*/ 120 w 234"/>
              <a:gd name="T25" fmla="*/ 24 h 114"/>
              <a:gd name="T26" fmla="*/ 126 w 234"/>
              <a:gd name="T27" fmla="*/ 18 h 114"/>
              <a:gd name="T28" fmla="*/ 126 w 234"/>
              <a:gd name="T29" fmla="*/ 6 h 114"/>
              <a:gd name="T30" fmla="*/ 132 w 234"/>
              <a:gd name="T31" fmla="*/ 6 h 114"/>
              <a:gd name="T32" fmla="*/ 132 w 234"/>
              <a:gd name="T33" fmla="*/ 18 h 114"/>
              <a:gd name="T34" fmla="*/ 132 w 234"/>
              <a:gd name="T35" fmla="*/ 18 h 114"/>
              <a:gd name="T36" fmla="*/ 132 w 234"/>
              <a:gd name="T37" fmla="*/ 24 h 114"/>
              <a:gd name="T38" fmla="*/ 138 w 234"/>
              <a:gd name="T39" fmla="*/ 24 h 114"/>
              <a:gd name="T40" fmla="*/ 138 w 234"/>
              <a:gd name="T41" fmla="*/ 18 h 114"/>
              <a:gd name="T42" fmla="*/ 144 w 234"/>
              <a:gd name="T43" fmla="*/ 30 h 114"/>
              <a:gd name="T44" fmla="*/ 150 w 234"/>
              <a:gd name="T45" fmla="*/ 18 h 114"/>
              <a:gd name="T46" fmla="*/ 150 w 234"/>
              <a:gd name="T47" fmla="*/ 18 h 114"/>
              <a:gd name="T48" fmla="*/ 156 w 234"/>
              <a:gd name="T49" fmla="*/ 12 h 114"/>
              <a:gd name="T50" fmla="*/ 162 w 234"/>
              <a:gd name="T51" fmla="*/ 18 h 114"/>
              <a:gd name="T52" fmla="*/ 156 w 234"/>
              <a:gd name="T53" fmla="*/ 24 h 114"/>
              <a:gd name="T54" fmla="*/ 156 w 234"/>
              <a:gd name="T55" fmla="*/ 36 h 114"/>
              <a:gd name="T56" fmla="*/ 156 w 234"/>
              <a:gd name="T57" fmla="*/ 36 h 114"/>
              <a:gd name="T58" fmla="*/ 168 w 234"/>
              <a:gd name="T59" fmla="*/ 30 h 114"/>
              <a:gd name="T60" fmla="*/ 168 w 234"/>
              <a:gd name="T61" fmla="*/ 36 h 114"/>
              <a:gd name="T62" fmla="*/ 174 w 234"/>
              <a:gd name="T63" fmla="*/ 30 h 114"/>
              <a:gd name="T64" fmla="*/ 180 w 234"/>
              <a:gd name="T65" fmla="*/ 24 h 114"/>
              <a:gd name="T66" fmla="*/ 180 w 234"/>
              <a:gd name="T67" fmla="*/ 30 h 114"/>
              <a:gd name="T68" fmla="*/ 180 w 234"/>
              <a:gd name="T69" fmla="*/ 30 h 114"/>
              <a:gd name="T70" fmla="*/ 180 w 234"/>
              <a:gd name="T71" fmla="*/ 42 h 114"/>
              <a:gd name="T72" fmla="*/ 180 w 234"/>
              <a:gd name="T73" fmla="*/ 48 h 114"/>
              <a:gd name="T74" fmla="*/ 186 w 234"/>
              <a:gd name="T75" fmla="*/ 42 h 114"/>
              <a:gd name="T76" fmla="*/ 186 w 234"/>
              <a:gd name="T77" fmla="*/ 42 h 114"/>
              <a:gd name="T78" fmla="*/ 192 w 234"/>
              <a:gd name="T79" fmla="*/ 48 h 114"/>
              <a:gd name="T80" fmla="*/ 198 w 234"/>
              <a:gd name="T81" fmla="*/ 42 h 114"/>
              <a:gd name="T82" fmla="*/ 192 w 234"/>
              <a:gd name="T83" fmla="*/ 60 h 114"/>
              <a:gd name="T84" fmla="*/ 132 w 234"/>
              <a:gd name="T85" fmla="*/ 108 h 114"/>
              <a:gd name="T86" fmla="*/ 132 w 234"/>
              <a:gd name="T87" fmla="*/ 102 h 114"/>
              <a:gd name="T88" fmla="*/ 120 w 234"/>
              <a:gd name="T89" fmla="*/ 78 h 114"/>
              <a:gd name="T90" fmla="*/ 102 w 234"/>
              <a:gd name="T91" fmla="*/ 84 h 114"/>
              <a:gd name="T92" fmla="*/ 96 w 234"/>
              <a:gd name="T93" fmla="*/ 78 h 114"/>
              <a:gd name="T94" fmla="*/ 72 w 234"/>
              <a:gd name="T95" fmla="*/ 108 h 114"/>
              <a:gd name="T96" fmla="*/ 66 w 234"/>
              <a:gd name="T97" fmla="*/ 102 h 114"/>
              <a:gd name="T98" fmla="*/ 30 w 234"/>
              <a:gd name="T99" fmla="*/ 96 h 114"/>
              <a:gd name="T100" fmla="*/ 0 w 234"/>
              <a:gd name="T101" fmla="*/ 78 h 114"/>
              <a:gd name="T102" fmla="*/ 0 w 234"/>
              <a:gd name="T103" fmla="*/ 54 h 114"/>
              <a:gd name="T104" fmla="*/ 102 w 234"/>
              <a:gd name="T105" fmla="*/ 6 h 114"/>
              <a:gd name="T106" fmla="*/ 108 w 234"/>
              <a:gd name="T107" fmla="*/ 0 h 114"/>
              <a:gd name="T108" fmla="*/ 162 w 234"/>
              <a:gd name="T109" fmla="*/ 18 h 114"/>
              <a:gd name="T110" fmla="*/ 180 w 234"/>
              <a:gd name="T111" fmla="*/ 36 h 114"/>
              <a:gd name="T112" fmla="*/ 186 w 234"/>
              <a:gd name="T113" fmla="*/ 42 h 114"/>
              <a:gd name="T114" fmla="*/ 186 w 234"/>
              <a:gd name="T115" fmla="*/ 30 h 114"/>
              <a:gd name="T116" fmla="*/ 192 w 234"/>
              <a:gd name="T117" fmla="*/ 42 h 114"/>
              <a:gd name="T118" fmla="*/ 198 w 234"/>
              <a:gd name="T119" fmla="*/ 36 h 114"/>
              <a:gd name="T120" fmla="*/ 216 w 234"/>
              <a:gd name="T121" fmla="*/ 30 h 114"/>
              <a:gd name="T122" fmla="*/ 228 w 234"/>
              <a:gd name="T123" fmla="*/ 48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34" h="114">
                <a:moveTo>
                  <a:pt x="6" y="48"/>
                </a:move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30" y="48"/>
                </a:lnTo>
                <a:lnTo>
                  <a:pt x="30" y="42"/>
                </a:lnTo>
                <a:lnTo>
                  <a:pt x="42" y="42"/>
                </a:lnTo>
                <a:lnTo>
                  <a:pt x="42" y="42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54" y="36"/>
                </a:lnTo>
                <a:lnTo>
                  <a:pt x="54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54" y="30"/>
                </a:lnTo>
                <a:lnTo>
                  <a:pt x="60" y="30"/>
                </a:lnTo>
                <a:lnTo>
                  <a:pt x="54" y="30"/>
                </a:lnTo>
                <a:lnTo>
                  <a:pt x="54" y="30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24"/>
                </a:lnTo>
                <a:lnTo>
                  <a:pt x="72" y="24"/>
                </a:lnTo>
                <a:lnTo>
                  <a:pt x="78" y="24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84" y="30"/>
                </a:lnTo>
                <a:lnTo>
                  <a:pt x="84" y="24"/>
                </a:lnTo>
                <a:lnTo>
                  <a:pt x="84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8" y="12"/>
                </a:lnTo>
                <a:lnTo>
                  <a:pt x="108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12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0"/>
                </a:lnTo>
                <a:lnTo>
                  <a:pt x="108" y="0"/>
                </a:lnTo>
                <a:lnTo>
                  <a:pt x="114" y="0"/>
                </a:lnTo>
                <a:lnTo>
                  <a:pt x="114" y="0"/>
                </a:lnTo>
                <a:lnTo>
                  <a:pt x="114" y="0"/>
                </a:lnTo>
                <a:lnTo>
                  <a:pt x="114" y="0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24"/>
                </a:lnTo>
                <a:lnTo>
                  <a:pt x="114" y="24"/>
                </a:lnTo>
                <a:lnTo>
                  <a:pt x="114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6" y="12"/>
                </a:lnTo>
                <a:lnTo>
                  <a:pt x="126" y="12"/>
                </a:lnTo>
                <a:lnTo>
                  <a:pt x="126" y="18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6" y="6"/>
                </a:lnTo>
                <a:lnTo>
                  <a:pt x="126" y="6"/>
                </a:lnTo>
                <a:lnTo>
                  <a:pt x="126" y="12"/>
                </a:lnTo>
                <a:lnTo>
                  <a:pt x="126" y="12"/>
                </a:lnTo>
                <a:lnTo>
                  <a:pt x="126" y="6"/>
                </a:lnTo>
                <a:lnTo>
                  <a:pt x="132" y="6"/>
                </a:lnTo>
                <a:lnTo>
                  <a:pt x="132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26" y="12"/>
                </a:lnTo>
                <a:lnTo>
                  <a:pt x="126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26" y="18"/>
                </a:lnTo>
                <a:lnTo>
                  <a:pt x="126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24"/>
                </a:lnTo>
                <a:lnTo>
                  <a:pt x="132" y="24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18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30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30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18"/>
                </a:lnTo>
                <a:lnTo>
                  <a:pt x="156" y="18"/>
                </a:lnTo>
                <a:lnTo>
                  <a:pt x="156" y="24"/>
                </a:lnTo>
                <a:lnTo>
                  <a:pt x="156" y="18"/>
                </a:lnTo>
                <a:lnTo>
                  <a:pt x="156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2"/>
                </a:lnTo>
                <a:lnTo>
                  <a:pt x="150" y="12"/>
                </a:lnTo>
                <a:lnTo>
                  <a:pt x="150" y="18"/>
                </a:lnTo>
                <a:lnTo>
                  <a:pt x="156" y="18"/>
                </a:lnTo>
                <a:lnTo>
                  <a:pt x="156" y="18"/>
                </a:lnTo>
                <a:lnTo>
                  <a:pt x="150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56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8" y="30"/>
                </a:lnTo>
                <a:lnTo>
                  <a:pt x="168" y="36"/>
                </a:lnTo>
                <a:lnTo>
                  <a:pt x="168" y="30"/>
                </a:lnTo>
                <a:lnTo>
                  <a:pt x="168" y="30"/>
                </a:lnTo>
                <a:lnTo>
                  <a:pt x="168" y="30"/>
                </a:lnTo>
                <a:lnTo>
                  <a:pt x="168" y="30"/>
                </a:lnTo>
                <a:lnTo>
                  <a:pt x="168" y="30"/>
                </a:lnTo>
                <a:lnTo>
                  <a:pt x="168" y="30"/>
                </a:lnTo>
                <a:lnTo>
                  <a:pt x="168" y="30"/>
                </a:lnTo>
                <a:lnTo>
                  <a:pt x="168" y="30"/>
                </a:lnTo>
                <a:lnTo>
                  <a:pt x="168" y="30"/>
                </a:lnTo>
                <a:lnTo>
                  <a:pt x="168" y="36"/>
                </a:lnTo>
                <a:lnTo>
                  <a:pt x="168" y="36"/>
                </a:lnTo>
                <a:lnTo>
                  <a:pt x="168" y="36"/>
                </a:lnTo>
                <a:lnTo>
                  <a:pt x="168" y="36"/>
                </a:lnTo>
                <a:lnTo>
                  <a:pt x="168" y="36"/>
                </a:lnTo>
                <a:lnTo>
                  <a:pt x="168" y="36"/>
                </a:lnTo>
                <a:lnTo>
                  <a:pt x="168" y="36"/>
                </a:lnTo>
                <a:lnTo>
                  <a:pt x="174" y="30"/>
                </a:lnTo>
                <a:lnTo>
                  <a:pt x="174" y="36"/>
                </a:lnTo>
                <a:lnTo>
                  <a:pt x="174" y="30"/>
                </a:lnTo>
                <a:lnTo>
                  <a:pt x="168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30"/>
                </a:lnTo>
                <a:lnTo>
                  <a:pt x="174" y="24"/>
                </a:lnTo>
                <a:lnTo>
                  <a:pt x="174" y="24"/>
                </a:lnTo>
                <a:lnTo>
                  <a:pt x="174" y="24"/>
                </a:lnTo>
                <a:lnTo>
                  <a:pt x="174" y="24"/>
                </a:lnTo>
                <a:lnTo>
                  <a:pt x="174" y="24"/>
                </a:lnTo>
                <a:lnTo>
                  <a:pt x="174" y="24"/>
                </a:lnTo>
                <a:lnTo>
                  <a:pt x="174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0" y="30"/>
                </a:lnTo>
                <a:lnTo>
                  <a:pt x="180" y="30"/>
                </a:lnTo>
                <a:lnTo>
                  <a:pt x="180" y="24"/>
                </a:lnTo>
                <a:lnTo>
                  <a:pt x="180" y="24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6"/>
                </a:lnTo>
                <a:lnTo>
                  <a:pt x="180" y="30"/>
                </a:lnTo>
                <a:lnTo>
                  <a:pt x="180" y="36"/>
                </a:lnTo>
                <a:lnTo>
                  <a:pt x="180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42"/>
                </a:lnTo>
                <a:lnTo>
                  <a:pt x="180" y="42"/>
                </a:lnTo>
                <a:lnTo>
                  <a:pt x="180" y="42"/>
                </a:lnTo>
                <a:lnTo>
                  <a:pt x="174" y="42"/>
                </a:lnTo>
                <a:lnTo>
                  <a:pt x="180" y="42"/>
                </a:lnTo>
                <a:lnTo>
                  <a:pt x="180" y="42"/>
                </a:lnTo>
                <a:lnTo>
                  <a:pt x="180" y="42"/>
                </a:lnTo>
                <a:lnTo>
                  <a:pt x="180" y="42"/>
                </a:lnTo>
                <a:lnTo>
                  <a:pt x="180" y="42"/>
                </a:lnTo>
                <a:lnTo>
                  <a:pt x="180" y="42"/>
                </a:lnTo>
                <a:lnTo>
                  <a:pt x="180" y="48"/>
                </a:lnTo>
                <a:lnTo>
                  <a:pt x="180" y="48"/>
                </a:lnTo>
                <a:lnTo>
                  <a:pt x="180" y="48"/>
                </a:lnTo>
                <a:lnTo>
                  <a:pt x="180" y="42"/>
                </a:lnTo>
                <a:lnTo>
                  <a:pt x="180" y="42"/>
                </a:lnTo>
                <a:lnTo>
                  <a:pt x="180" y="42"/>
                </a:lnTo>
                <a:lnTo>
                  <a:pt x="180" y="42"/>
                </a:lnTo>
                <a:lnTo>
                  <a:pt x="180" y="42"/>
                </a:lnTo>
                <a:lnTo>
                  <a:pt x="180" y="42"/>
                </a:lnTo>
                <a:lnTo>
                  <a:pt x="180" y="42"/>
                </a:lnTo>
                <a:lnTo>
                  <a:pt x="186" y="42"/>
                </a:lnTo>
                <a:lnTo>
                  <a:pt x="186" y="42"/>
                </a:lnTo>
                <a:lnTo>
                  <a:pt x="186" y="42"/>
                </a:lnTo>
                <a:lnTo>
                  <a:pt x="186" y="48"/>
                </a:lnTo>
                <a:lnTo>
                  <a:pt x="186" y="48"/>
                </a:lnTo>
                <a:lnTo>
                  <a:pt x="186" y="48"/>
                </a:lnTo>
                <a:lnTo>
                  <a:pt x="186" y="48"/>
                </a:lnTo>
                <a:lnTo>
                  <a:pt x="186" y="48"/>
                </a:lnTo>
                <a:lnTo>
                  <a:pt x="186" y="48"/>
                </a:lnTo>
                <a:lnTo>
                  <a:pt x="186" y="48"/>
                </a:lnTo>
                <a:lnTo>
                  <a:pt x="186" y="48"/>
                </a:lnTo>
                <a:lnTo>
                  <a:pt x="186" y="48"/>
                </a:lnTo>
                <a:lnTo>
                  <a:pt x="186" y="48"/>
                </a:lnTo>
                <a:lnTo>
                  <a:pt x="186" y="42"/>
                </a:lnTo>
                <a:lnTo>
                  <a:pt x="186" y="42"/>
                </a:lnTo>
                <a:lnTo>
                  <a:pt x="186" y="42"/>
                </a:lnTo>
                <a:lnTo>
                  <a:pt x="186" y="42"/>
                </a:lnTo>
                <a:lnTo>
                  <a:pt x="186" y="42"/>
                </a:lnTo>
                <a:lnTo>
                  <a:pt x="186" y="36"/>
                </a:lnTo>
                <a:lnTo>
                  <a:pt x="186" y="36"/>
                </a:lnTo>
                <a:lnTo>
                  <a:pt x="192" y="36"/>
                </a:lnTo>
                <a:lnTo>
                  <a:pt x="186" y="42"/>
                </a:lnTo>
                <a:lnTo>
                  <a:pt x="192" y="42"/>
                </a:lnTo>
                <a:lnTo>
                  <a:pt x="192" y="48"/>
                </a:lnTo>
                <a:lnTo>
                  <a:pt x="192" y="48"/>
                </a:lnTo>
                <a:lnTo>
                  <a:pt x="192" y="48"/>
                </a:lnTo>
                <a:lnTo>
                  <a:pt x="192" y="42"/>
                </a:lnTo>
                <a:lnTo>
                  <a:pt x="192" y="42"/>
                </a:lnTo>
                <a:lnTo>
                  <a:pt x="192" y="42"/>
                </a:lnTo>
                <a:lnTo>
                  <a:pt x="192" y="42"/>
                </a:lnTo>
                <a:lnTo>
                  <a:pt x="192" y="42"/>
                </a:lnTo>
                <a:lnTo>
                  <a:pt x="192" y="42"/>
                </a:lnTo>
                <a:lnTo>
                  <a:pt x="198" y="42"/>
                </a:lnTo>
                <a:lnTo>
                  <a:pt x="192" y="42"/>
                </a:lnTo>
                <a:lnTo>
                  <a:pt x="198" y="42"/>
                </a:lnTo>
                <a:lnTo>
                  <a:pt x="198" y="42"/>
                </a:lnTo>
                <a:lnTo>
                  <a:pt x="198" y="48"/>
                </a:lnTo>
                <a:lnTo>
                  <a:pt x="192" y="48"/>
                </a:lnTo>
                <a:lnTo>
                  <a:pt x="192" y="48"/>
                </a:lnTo>
                <a:lnTo>
                  <a:pt x="198" y="48"/>
                </a:lnTo>
                <a:lnTo>
                  <a:pt x="192" y="54"/>
                </a:lnTo>
                <a:lnTo>
                  <a:pt x="198" y="54"/>
                </a:lnTo>
                <a:lnTo>
                  <a:pt x="198" y="54"/>
                </a:lnTo>
                <a:lnTo>
                  <a:pt x="192" y="54"/>
                </a:lnTo>
                <a:lnTo>
                  <a:pt x="192" y="60"/>
                </a:lnTo>
                <a:lnTo>
                  <a:pt x="192" y="60"/>
                </a:lnTo>
                <a:lnTo>
                  <a:pt x="192" y="60"/>
                </a:lnTo>
                <a:lnTo>
                  <a:pt x="192" y="60"/>
                </a:lnTo>
                <a:lnTo>
                  <a:pt x="192" y="60"/>
                </a:lnTo>
                <a:lnTo>
                  <a:pt x="192" y="60"/>
                </a:lnTo>
                <a:lnTo>
                  <a:pt x="192" y="66"/>
                </a:lnTo>
                <a:lnTo>
                  <a:pt x="192" y="66"/>
                </a:lnTo>
                <a:lnTo>
                  <a:pt x="192" y="66"/>
                </a:lnTo>
                <a:lnTo>
                  <a:pt x="186" y="72"/>
                </a:lnTo>
                <a:lnTo>
                  <a:pt x="168" y="84"/>
                </a:lnTo>
                <a:lnTo>
                  <a:pt x="132" y="108"/>
                </a:lnTo>
                <a:lnTo>
                  <a:pt x="132" y="114"/>
                </a:lnTo>
                <a:lnTo>
                  <a:pt x="132" y="108"/>
                </a:lnTo>
                <a:lnTo>
                  <a:pt x="126" y="114"/>
                </a:lnTo>
                <a:lnTo>
                  <a:pt x="126" y="114"/>
                </a:lnTo>
                <a:lnTo>
                  <a:pt x="126" y="114"/>
                </a:lnTo>
                <a:lnTo>
                  <a:pt x="126" y="114"/>
                </a:lnTo>
                <a:lnTo>
                  <a:pt x="126" y="108"/>
                </a:lnTo>
                <a:lnTo>
                  <a:pt x="126" y="108"/>
                </a:lnTo>
                <a:lnTo>
                  <a:pt x="126" y="108"/>
                </a:lnTo>
                <a:lnTo>
                  <a:pt x="126" y="108"/>
                </a:lnTo>
                <a:lnTo>
                  <a:pt x="132" y="102"/>
                </a:lnTo>
                <a:lnTo>
                  <a:pt x="132" y="102"/>
                </a:lnTo>
                <a:lnTo>
                  <a:pt x="132" y="102"/>
                </a:lnTo>
                <a:lnTo>
                  <a:pt x="126" y="96"/>
                </a:lnTo>
                <a:lnTo>
                  <a:pt x="126" y="96"/>
                </a:lnTo>
                <a:lnTo>
                  <a:pt x="120" y="96"/>
                </a:lnTo>
                <a:lnTo>
                  <a:pt x="120" y="96"/>
                </a:lnTo>
                <a:lnTo>
                  <a:pt x="120" y="90"/>
                </a:lnTo>
                <a:lnTo>
                  <a:pt x="120" y="84"/>
                </a:lnTo>
                <a:lnTo>
                  <a:pt x="120" y="84"/>
                </a:lnTo>
                <a:lnTo>
                  <a:pt x="120" y="84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14" y="78"/>
                </a:lnTo>
                <a:lnTo>
                  <a:pt x="108" y="78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2" y="84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90" y="78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90"/>
                </a:lnTo>
                <a:lnTo>
                  <a:pt x="90" y="90"/>
                </a:lnTo>
                <a:lnTo>
                  <a:pt x="84" y="90"/>
                </a:lnTo>
                <a:lnTo>
                  <a:pt x="84" y="90"/>
                </a:lnTo>
                <a:lnTo>
                  <a:pt x="84" y="90"/>
                </a:lnTo>
                <a:lnTo>
                  <a:pt x="78" y="102"/>
                </a:lnTo>
                <a:lnTo>
                  <a:pt x="72" y="108"/>
                </a:lnTo>
                <a:lnTo>
                  <a:pt x="66" y="114"/>
                </a:lnTo>
                <a:lnTo>
                  <a:pt x="66" y="114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72" y="108"/>
                </a:lnTo>
                <a:lnTo>
                  <a:pt x="72" y="108"/>
                </a:lnTo>
                <a:lnTo>
                  <a:pt x="72" y="102"/>
                </a:lnTo>
                <a:lnTo>
                  <a:pt x="72" y="102"/>
                </a:lnTo>
                <a:lnTo>
                  <a:pt x="72" y="102"/>
                </a:lnTo>
                <a:lnTo>
                  <a:pt x="66" y="102"/>
                </a:lnTo>
                <a:lnTo>
                  <a:pt x="66" y="102"/>
                </a:lnTo>
                <a:lnTo>
                  <a:pt x="66" y="108"/>
                </a:lnTo>
                <a:lnTo>
                  <a:pt x="66" y="108"/>
                </a:lnTo>
                <a:lnTo>
                  <a:pt x="66" y="108"/>
                </a:lnTo>
                <a:lnTo>
                  <a:pt x="66" y="102"/>
                </a:lnTo>
                <a:lnTo>
                  <a:pt x="66" y="102"/>
                </a:lnTo>
                <a:lnTo>
                  <a:pt x="60" y="102"/>
                </a:lnTo>
                <a:lnTo>
                  <a:pt x="54" y="102"/>
                </a:lnTo>
                <a:lnTo>
                  <a:pt x="48" y="102"/>
                </a:lnTo>
                <a:lnTo>
                  <a:pt x="42" y="102"/>
                </a:lnTo>
                <a:lnTo>
                  <a:pt x="30" y="96"/>
                </a:lnTo>
                <a:lnTo>
                  <a:pt x="24" y="96"/>
                </a:lnTo>
                <a:lnTo>
                  <a:pt x="24" y="96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12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0" y="78"/>
                </a:lnTo>
                <a:lnTo>
                  <a:pt x="0" y="78"/>
                </a:lnTo>
                <a:lnTo>
                  <a:pt x="0" y="78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0" y="72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0" y="60"/>
                </a:lnTo>
                <a:lnTo>
                  <a:pt x="0" y="54"/>
                </a:lnTo>
                <a:lnTo>
                  <a:pt x="6" y="54"/>
                </a:lnTo>
                <a:lnTo>
                  <a:pt x="6" y="48"/>
                </a:lnTo>
                <a:close/>
                <a:moveTo>
                  <a:pt x="108" y="0"/>
                </a:move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close/>
                <a:moveTo>
                  <a:pt x="102" y="6"/>
                </a:moveTo>
                <a:lnTo>
                  <a:pt x="102" y="6"/>
                </a:lnTo>
                <a:lnTo>
                  <a:pt x="102" y="6"/>
                </a:lnTo>
                <a:lnTo>
                  <a:pt x="108" y="0"/>
                </a:lnTo>
                <a:lnTo>
                  <a:pt x="108" y="6"/>
                </a:lnTo>
                <a:lnTo>
                  <a:pt x="108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lnTo>
                  <a:pt x="102" y="6"/>
                </a:lnTo>
                <a:close/>
                <a:moveTo>
                  <a:pt x="108" y="0"/>
                </a:moveTo>
                <a:lnTo>
                  <a:pt x="108" y="6"/>
                </a:lnTo>
                <a:lnTo>
                  <a:pt x="108" y="0"/>
                </a:lnTo>
                <a:lnTo>
                  <a:pt x="108" y="0"/>
                </a:lnTo>
                <a:close/>
                <a:moveTo>
                  <a:pt x="162" y="18"/>
                </a:move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close/>
                <a:moveTo>
                  <a:pt x="162" y="18"/>
                </a:moveTo>
                <a:lnTo>
                  <a:pt x="162" y="18"/>
                </a:lnTo>
                <a:lnTo>
                  <a:pt x="162" y="18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18"/>
                </a:lnTo>
                <a:close/>
                <a:moveTo>
                  <a:pt x="180" y="36"/>
                </a:move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close/>
                <a:moveTo>
                  <a:pt x="180" y="42"/>
                </a:moveTo>
                <a:lnTo>
                  <a:pt x="180" y="42"/>
                </a:lnTo>
                <a:lnTo>
                  <a:pt x="180" y="42"/>
                </a:lnTo>
                <a:lnTo>
                  <a:pt x="180" y="42"/>
                </a:lnTo>
                <a:lnTo>
                  <a:pt x="186" y="42"/>
                </a:lnTo>
                <a:lnTo>
                  <a:pt x="186" y="42"/>
                </a:lnTo>
                <a:lnTo>
                  <a:pt x="186" y="42"/>
                </a:lnTo>
                <a:lnTo>
                  <a:pt x="186" y="42"/>
                </a:lnTo>
                <a:lnTo>
                  <a:pt x="180" y="42"/>
                </a:lnTo>
                <a:lnTo>
                  <a:pt x="180" y="42"/>
                </a:lnTo>
                <a:close/>
                <a:moveTo>
                  <a:pt x="186" y="36"/>
                </a:moveTo>
                <a:lnTo>
                  <a:pt x="186" y="36"/>
                </a:lnTo>
                <a:lnTo>
                  <a:pt x="186" y="36"/>
                </a:lnTo>
                <a:lnTo>
                  <a:pt x="186" y="36"/>
                </a:lnTo>
                <a:lnTo>
                  <a:pt x="186" y="36"/>
                </a:lnTo>
                <a:lnTo>
                  <a:pt x="186" y="36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86" y="36"/>
                </a:lnTo>
                <a:close/>
                <a:moveTo>
                  <a:pt x="192" y="42"/>
                </a:moveTo>
                <a:lnTo>
                  <a:pt x="192" y="42"/>
                </a:lnTo>
                <a:lnTo>
                  <a:pt x="192" y="36"/>
                </a:lnTo>
                <a:lnTo>
                  <a:pt x="192" y="36"/>
                </a:lnTo>
                <a:lnTo>
                  <a:pt x="192" y="42"/>
                </a:lnTo>
                <a:lnTo>
                  <a:pt x="192" y="42"/>
                </a:lnTo>
                <a:lnTo>
                  <a:pt x="192" y="42"/>
                </a:lnTo>
                <a:lnTo>
                  <a:pt x="192" y="42"/>
                </a:lnTo>
                <a:close/>
                <a:moveTo>
                  <a:pt x="198" y="36"/>
                </a:moveTo>
                <a:lnTo>
                  <a:pt x="198" y="36"/>
                </a:lnTo>
                <a:lnTo>
                  <a:pt x="198" y="30"/>
                </a:lnTo>
                <a:lnTo>
                  <a:pt x="198" y="30"/>
                </a:lnTo>
                <a:lnTo>
                  <a:pt x="198" y="36"/>
                </a:lnTo>
                <a:lnTo>
                  <a:pt x="198" y="36"/>
                </a:lnTo>
                <a:lnTo>
                  <a:pt x="198" y="36"/>
                </a:lnTo>
                <a:lnTo>
                  <a:pt x="198" y="36"/>
                </a:lnTo>
                <a:lnTo>
                  <a:pt x="198" y="36"/>
                </a:lnTo>
                <a:lnTo>
                  <a:pt x="198" y="36"/>
                </a:lnTo>
                <a:lnTo>
                  <a:pt x="198" y="36"/>
                </a:lnTo>
                <a:close/>
                <a:moveTo>
                  <a:pt x="204" y="30"/>
                </a:moveTo>
                <a:lnTo>
                  <a:pt x="204" y="30"/>
                </a:lnTo>
                <a:lnTo>
                  <a:pt x="204" y="30"/>
                </a:lnTo>
                <a:lnTo>
                  <a:pt x="204" y="30"/>
                </a:lnTo>
                <a:lnTo>
                  <a:pt x="204" y="30"/>
                </a:lnTo>
                <a:lnTo>
                  <a:pt x="204" y="30"/>
                </a:lnTo>
                <a:close/>
                <a:moveTo>
                  <a:pt x="216" y="30"/>
                </a:moveTo>
                <a:lnTo>
                  <a:pt x="216" y="30"/>
                </a:lnTo>
                <a:lnTo>
                  <a:pt x="216" y="30"/>
                </a:lnTo>
                <a:lnTo>
                  <a:pt x="216" y="30"/>
                </a:lnTo>
                <a:lnTo>
                  <a:pt x="216" y="30"/>
                </a:lnTo>
                <a:lnTo>
                  <a:pt x="216" y="30"/>
                </a:lnTo>
                <a:lnTo>
                  <a:pt x="216" y="30"/>
                </a:lnTo>
                <a:lnTo>
                  <a:pt x="216" y="30"/>
                </a:lnTo>
                <a:lnTo>
                  <a:pt x="216" y="30"/>
                </a:lnTo>
                <a:lnTo>
                  <a:pt x="216" y="30"/>
                </a:lnTo>
                <a:close/>
                <a:moveTo>
                  <a:pt x="228" y="48"/>
                </a:moveTo>
                <a:lnTo>
                  <a:pt x="228" y="48"/>
                </a:lnTo>
                <a:lnTo>
                  <a:pt x="228" y="48"/>
                </a:lnTo>
                <a:lnTo>
                  <a:pt x="228" y="48"/>
                </a:lnTo>
                <a:lnTo>
                  <a:pt x="228" y="48"/>
                </a:lnTo>
                <a:lnTo>
                  <a:pt x="228" y="48"/>
                </a:lnTo>
                <a:lnTo>
                  <a:pt x="228" y="48"/>
                </a:lnTo>
                <a:lnTo>
                  <a:pt x="234" y="54"/>
                </a:lnTo>
                <a:lnTo>
                  <a:pt x="234" y="54"/>
                </a:lnTo>
                <a:lnTo>
                  <a:pt x="234" y="54"/>
                </a:lnTo>
                <a:lnTo>
                  <a:pt x="228" y="48"/>
                </a:lnTo>
                <a:lnTo>
                  <a:pt x="228" y="4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816" name="Freeform 549"/>
          <p:cNvSpPr>
            <a:spLocks noEditPoints="1"/>
          </p:cNvSpPr>
          <p:nvPr/>
        </p:nvSpPr>
        <p:spPr bwMode="auto">
          <a:xfrm>
            <a:off x="7359354" y="1282706"/>
            <a:ext cx="141329" cy="244116"/>
          </a:xfrm>
          <a:custGeom>
            <a:avLst/>
            <a:gdLst>
              <a:gd name="T0" fmla="*/ 96 w 132"/>
              <a:gd name="T1" fmla="*/ 66 h 228"/>
              <a:gd name="T2" fmla="*/ 96 w 132"/>
              <a:gd name="T3" fmla="*/ 66 h 228"/>
              <a:gd name="T4" fmla="*/ 102 w 132"/>
              <a:gd name="T5" fmla="*/ 72 h 228"/>
              <a:gd name="T6" fmla="*/ 120 w 132"/>
              <a:gd name="T7" fmla="*/ 96 h 228"/>
              <a:gd name="T8" fmla="*/ 114 w 132"/>
              <a:gd name="T9" fmla="*/ 108 h 228"/>
              <a:gd name="T10" fmla="*/ 120 w 132"/>
              <a:gd name="T11" fmla="*/ 108 h 228"/>
              <a:gd name="T12" fmla="*/ 66 w 132"/>
              <a:gd name="T13" fmla="*/ 6 h 228"/>
              <a:gd name="T14" fmla="*/ 66 w 132"/>
              <a:gd name="T15" fmla="*/ 6 h 228"/>
              <a:gd name="T16" fmla="*/ 60 w 132"/>
              <a:gd name="T17" fmla="*/ 6 h 228"/>
              <a:gd name="T18" fmla="*/ 60 w 132"/>
              <a:gd name="T19" fmla="*/ 0 h 228"/>
              <a:gd name="T20" fmla="*/ 54 w 132"/>
              <a:gd name="T21" fmla="*/ 12 h 228"/>
              <a:gd name="T22" fmla="*/ 48 w 132"/>
              <a:gd name="T23" fmla="*/ 6 h 228"/>
              <a:gd name="T24" fmla="*/ 48 w 132"/>
              <a:gd name="T25" fmla="*/ 18 h 228"/>
              <a:gd name="T26" fmla="*/ 42 w 132"/>
              <a:gd name="T27" fmla="*/ 6 h 228"/>
              <a:gd name="T28" fmla="*/ 36 w 132"/>
              <a:gd name="T29" fmla="*/ 12 h 228"/>
              <a:gd name="T30" fmla="*/ 30 w 132"/>
              <a:gd name="T31" fmla="*/ 12 h 228"/>
              <a:gd name="T32" fmla="*/ 30 w 132"/>
              <a:gd name="T33" fmla="*/ 12 h 228"/>
              <a:gd name="T34" fmla="*/ 30 w 132"/>
              <a:gd name="T35" fmla="*/ 12 h 228"/>
              <a:gd name="T36" fmla="*/ 30 w 132"/>
              <a:gd name="T37" fmla="*/ 24 h 228"/>
              <a:gd name="T38" fmla="*/ 30 w 132"/>
              <a:gd name="T39" fmla="*/ 24 h 228"/>
              <a:gd name="T40" fmla="*/ 78 w 132"/>
              <a:gd name="T41" fmla="*/ 24 h 228"/>
              <a:gd name="T42" fmla="*/ 72 w 132"/>
              <a:gd name="T43" fmla="*/ 36 h 228"/>
              <a:gd name="T44" fmla="*/ 78 w 132"/>
              <a:gd name="T45" fmla="*/ 36 h 228"/>
              <a:gd name="T46" fmla="*/ 78 w 132"/>
              <a:gd name="T47" fmla="*/ 36 h 228"/>
              <a:gd name="T48" fmla="*/ 84 w 132"/>
              <a:gd name="T49" fmla="*/ 36 h 228"/>
              <a:gd name="T50" fmla="*/ 78 w 132"/>
              <a:gd name="T51" fmla="*/ 36 h 228"/>
              <a:gd name="T52" fmla="*/ 78 w 132"/>
              <a:gd name="T53" fmla="*/ 54 h 228"/>
              <a:gd name="T54" fmla="*/ 102 w 132"/>
              <a:gd name="T55" fmla="*/ 60 h 228"/>
              <a:gd name="T56" fmla="*/ 108 w 132"/>
              <a:gd name="T57" fmla="*/ 72 h 228"/>
              <a:gd name="T58" fmla="*/ 102 w 132"/>
              <a:gd name="T59" fmla="*/ 84 h 228"/>
              <a:gd name="T60" fmla="*/ 108 w 132"/>
              <a:gd name="T61" fmla="*/ 84 h 228"/>
              <a:gd name="T62" fmla="*/ 114 w 132"/>
              <a:gd name="T63" fmla="*/ 96 h 228"/>
              <a:gd name="T64" fmla="*/ 126 w 132"/>
              <a:gd name="T65" fmla="*/ 120 h 228"/>
              <a:gd name="T66" fmla="*/ 132 w 132"/>
              <a:gd name="T67" fmla="*/ 132 h 228"/>
              <a:gd name="T68" fmla="*/ 126 w 132"/>
              <a:gd name="T69" fmla="*/ 156 h 228"/>
              <a:gd name="T70" fmla="*/ 96 w 132"/>
              <a:gd name="T71" fmla="*/ 228 h 228"/>
              <a:gd name="T72" fmla="*/ 72 w 132"/>
              <a:gd name="T73" fmla="*/ 210 h 228"/>
              <a:gd name="T74" fmla="*/ 72 w 132"/>
              <a:gd name="T75" fmla="*/ 186 h 228"/>
              <a:gd name="T76" fmla="*/ 72 w 132"/>
              <a:gd name="T77" fmla="*/ 162 h 228"/>
              <a:gd name="T78" fmla="*/ 54 w 132"/>
              <a:gd name="T79" fmla="*/ 144 h 228"/>
              <a:gd name="T80" fmla="*/ 18 w 132"/>
              <a:gd name="T81" fmla="*/ 90 h 228"/>
              <a:gd name="T82" fmla="*/ 24 w 132"/>
              <a:gd name="T83" fmla="*/ 78 h 228"/>
              <a:gd name="T84" fmla="*/ 6 w 132"/>
              <a:gd name="T85" fmla="*/ 48 h 228"/>
              <a:gd name="T86" fmla="*/ 24 w 132"/>
              <a:gd name="T87" fmla="*/ 30 h 228"/>
              <a:gd name="T88" fmla="*/ 30 w 132"/>
              <a:gd name="T89" fmla="*/ 24 h 228"/>
              <a:gd name="T90" fmla="*/ 30 w 132"/>
              <a:gd name="T91" fmla="*/ 18 h 228"/>
              <a:gd name="T92" fmla="*/ 30 w 132"/>
              <a:gd name="T93" fmla="*/ 24 h 228"/>
              <a:gd name="T94" fmla="*/ 36 w 132"/>
              <a:gd name="T95" fmla="*/ 24 h 228"/>
              <a:gd name="T96" fmla="*/ 36 w 132"/>
              <a:gd name="T97" fmla="*/ 24 h 228"/>
              <a:gd name="T98" fmla="*/ 54 w 132"/>
              <a:gd name="T99" fmla="*/ 24 h 228"/>
              <a:gd name="T100" fmla="*/ 66 w 132"/>
              <a:gd name="T101" fmla="*/ 18 h 228"/>
              <a:gd name="T102" fmla="*/ 66 w 132"/>
              <a:gd name="T103" fmla="*/ 24 h 228"/>
              <a:gd name="T104" fmla="*/ 60 w 132"/>
              <a:gd name="T105" fmla="*/ 30 h 228"/>
              <a:gd name="T106" fmla="*/ 72 w 132"/>
              <a:gd name="T107" fmla="*/ 36 h 228"/>
              <a:gd name="T108" fmla="*/ 78 w 132"/>
              <a:gd name="T109" fmla="*/ 36 h 228"/>
              <a:gd name="T110" fmla="*/ 84 w 132"/>
              <a:gd name="T111" fmla="*/ 36 h 228"/>
              <a:gd name="T112" fmla="*/ 90 w 132"/>
              <a:gd name="T113" fmla="*/ 42 h 228"/>
              <a:gd name="T114" fmla="*/ 78 w 132"/>
              <a:gd name="T115" fmla="*/ 48 h 228"/>
              <a:gd name="T116" fmla="*/ 78 w 132"/>
              <a:gd name="T117" fmla="*/ 60 h 228"/>
              <a:gd name="T118" fmla="*/ 84 w 132"/>
              <a:gd name="T119" fmla="*/ 60 h 228"/>
              <a:gd name="T120" fmla="*/ 72 w 132"/>
              <a:gd name="T121" fmla="*/ 66 h 228"/>
              <a:gd name="T122" fmla="*/ 84 w 132"/>
              <a:gd name="T123" fmla="*/ 66 h 228"/>
              <a:gd name="T124" fmla="*/ 90 w 132"/>
              <a:gd name="T125" fmla="*/ 66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32" h="228">
                <a:moveTo>
                  <a:pt x="96" y="66"/>
                </a:move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0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close/>
                <a:moveTo>
                  <a:pt x="96" y="66"/>
                </a:move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close/>
                <a:moveTo>
                  <a:pt x="96" y="66"/>
                </a:moveTo>
                <a:lnTo>
                  <a:pt x="96" y="66"/>
                </a:lnTo>
                <a:lnTo>
                  <a:pt x="102" y="60"/>
                </a:lnTo>
                <a:lnTo>
                  <a:pt x="102" y="66"/>
                </a:lnTo>
                <a:lnTo>
                  <a:pt x="102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close/>
                <a:moveTo>
                  <a:pt x="102" y="72"/>
                </a:moveTo>
                <a:lnTo>
                  <a:pt x="96" y="72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66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close/>
                <a:moveTo>
                  <a:pt x="96" y="72"/>
                </a:moveTo>
                <a:lnTo>
                  <a:pt x="96" y="72"/>
                </a:lnTo>
                <a:lnTo>
                  <a:pt x="96" y="72"/>
                </a:lnTo>
                <a:lnTo>
                  <a:pt x="96" y="66"/>
                </a:lnTo>
                <a:lnTo>
                  <a:pt x="96" y="66"/>
                </a:lnTo>
                <a:lnTo>
                  <a:pt x="96" y="72"/>
                </a:lnTo>
                <a:lnTo>
                  <a:pt x="102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close/>
                <a:moveTo>
                  <a:pt x="114" y="96"/>
                </a:moveTo>
                <a:lnTo>
                  <a:pt x="120" y="96"/>
                </a:lnTo>
                <a:lnTo>
                  <a:pt x="120" y="96"/>
                </a:lnTo>
                <a:lnTo>
                  <a:pt x="120" y="96"/>
                </a:lnTo>
                <a:lnTo>
                  <a:pt x="114" y="96"/>
                </a:lnTo>
                <a:close/>
                <a:moveTo>
                  <a:pt x="114" y="102"/>
                </a:moveTo>
                <a:lnTo>
                  <a:pt x="120" y="102"/>
                </a:lnTo>
                <a:lnTo>
                  <a:pt x="120" y="102"/>
                </a:lnTo>
                <a:lnTo>
                  <a:pt x="114" y="102"/>
                </a:lnTo>
                <a:lnTo>
                  <a:pt x="114" y="102"/>
                </a:lnTo>
                <a:close/>
                <a:moveTo>
                  <a:pt x="114" y="108"/>
                </a:move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2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close/>
                <a:moveTo>
                  <a:pt x="114" y="108"/>
                </a:move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20" y="108"/>
                </a:lnTo>
                <a:lnTo>
                  <a:pt x="114" y="108"/>
                </a:lnTo>
                <a:lnTo>
                  <a:pt x="114" y="108"/>
                </a:lnTo>
                <a:close/>
                <a:moveTo>
                  <a:pt x="102" y="84"/>
                </a:moveTo>
                <a:lnTo>
                  <a:pt x="102" y="78"/>
                </a:lnTo>
                <a:lnTo>
                  <a:pt x="102" y="78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close/>
                <a:moveTo>
                  <a:pt x="66" y="6"/>
                </a:move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0" y="6"/>
                </a:lnTo>
                <a:lnTo>
                  <a:pt x="66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60" y="0"/>
                </a:lnTo>
                <a:lnTo>
                  <a:pt x="60" y="0"/>
                </a:lnTo>
                <a:lnTo>
                  <a:pt x="66" y="0"/>
                </a:lnTo>
                <a:lnTo>
                  <a:pt x="66" y="6"/>
                </a:lnTo>
                <a:lnTo>
                  <a:pt x="66" y="6"/>
                </a:lnTo>
                <a:close/>
                <a:moveTo>
                  <a:pt x="60" y="6"/>
                </a:move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close/>
                <a:moveTo>
                  <a:pt x="54" y="6"/>
                </a:move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0"/>
                </a:lnTo>
                <a:lnTo>
                  <a:pt x="54" y="6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48" y="12"/>
                </a:lnTo>
                <a:lnTo>
                  <a:pt x="48" y="12"/>
                </a:lnTo>
                <a:lnTo>
                  <a:pt x="48" y="18"/>
                </a:lnTo>
                <a:lnTo>
                  <a:pt x="42" y="12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close/>
                <a:moveTo>
                  <a:pt x="42" y="6"/>
                </a:move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2" y="6"/>
                </a:lnTo>
                <a:lnTo>
                  <a:pt x="42" y="6"/>
                </a:lnTo>
                <a:close/>
                <a:moveTo>
                  <a:pt x="42" y="12"/>
                </a:moveTo>
                <a:lnTo>
                  <a:pt x="42" y="12"/>
                </a:lnTo>
                <a:lnTo>
                  <a:pt x="48" y="12"/>
                </a:lnTo>
                <a:lnTo>
                  <a:pt x="48" y="18"/>
                </a:lnTo>
                <a:lnTo>
                  <a:pt x="48" y="18"/>
                </a:lnTo>
                <a:lnTo>
                  <a:pt x="42" y="12"/>
                </a:lnTo>
                <a:close/>
                <a:moveTo>
                  <a:pt x="42" y="6"/>
                </a:moveTo>
                <a:lnTo>
                  <a:pt x="42" y="6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6"/>
                </a:lnTo>
                <a:lnTo>
                  <a:pt x="42" y="6"/>
                </a:lnTo>
                <a:close/>
                <a:moveTo>
                  <a:pt x="42" y="6"/>
                </a:move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close/>
                <a:moveTo>
                  <a:pt x="42" y="6"/>
                </a:move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close/>
                <a:moveTo>
                  <a:pt x="36" y="18"/>
                </a:move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close/>
                <a:moveTo>
                  <a:pt x="36" y="18"/>
                </a:move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close/>
                <a:moveTo>
                  <a:pt x="36" y="24"/>
                </a:moveTo>
                <a:lnTo>
                  <a:pt x="36" y="18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close/>
                <a:moveTo>
                  <a:pt x="30" y="12"/>
                </a:move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close/>
                <a:moveTo>
                  <a:pt x="30" y="12"/>
                </a:move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close/>
                <a:moveTo>
                  <a:pt x="30" y="12"/>
                </a:move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close/>
                <a:moveTo>
                  <a:pt x="30" y="24"/>
                </a:move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close/>
                <a:moveTo>
                  <a:pt x="30" y="24"/>
                </a:move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close/>
                <a:moveTo>
                  <a:pt x="72" y="30"/>
                </a:moveTo>
                <a:lnTo>
                  <a:pt x="72" y="30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8" y="30"/>
                </a:lnTo>
                <a:lnTo>
                  <a:pt x="72" y="30"/>
                </a:lnTo>
                <a:close/>
                <a:moveTo>
                  <a:pt x="72" y="30"/>
                </a:moveTo>
                <a:lnTo>
                  <a:pt x="72" y="24"/>
                </a:lnTo>
                <a:lnTo>
                  <a:pt x="78" y="24"/>
                </a:lnTo>
                <a:lnTo>
                  <a:pt x="78" y="24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66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lnTo>
                  <a:pt x="72" y="30"/>
                </a:lnTo>
                <a:close/>
                <a:moveTo>
                  <a:pt x="66" y="36"/>
                </a:move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66" y="36"/>
                </a:lnTo>
                <a:close/>
                <a:moveTo>
                  <a:pt x="72" y="36"/>
                </a:move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close/>
                <a:moveTo>
                  <a:pt x="78" y="36"/>
                </a:moveTo>
                <a:lnTo>
                  <a:pt x="78" y="36"/>
                </a:lnTo>
                <a:lnTo>
                  <a:pt x="78" y="36"/>
                </a:lnTo>
                <a:lnTo>
                  <a:pt x="78" y="30"/>
                </a:lnTo>
                <a:lnTo>
                  <a:pt x="78" y="30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78" y="36"/>
                </a:lnTo>
                <a:lnTo>
                  <a:pt x="78" y="36"/>
                </a:lnTo>
                <a:close/>
                <a:moveTo>
                  <a:pt x="78" y="42"/>
                </a:move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42"/>
                </a:lnTo>
                <a:lnTo>
                  <a:pt x="78" y="42"/>
                </a:lnTo>
                <a:close/>
                <a:moveTo>
                  <a:pt x="84" y="36"/>
                </a:move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36"/>
                </a:lnTo>
                <a:close/>
                <a:moveTo>
                  <a:pt x="78" y="36"/>
                </a:move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close/>
                <a:moveTo>
                  <a:pt x="78" y="48"/>
                </a:moveTo>
                <a:lnTo>
                  <a:pt x="78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78" y="48"/>
                </a:lnTo>
                <a:close/>
                <a:moveTo>
                  <a:pt x="78" y="48"/>
                </a:move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close/>
                <a:moveTo>
                  <a:pt x="78" y="54"/>
                </a:moveTo>
                <a:lnTo>
                  <a:pt x="78" y="48"/>
                </a:lnTo>
                <a:lnTo>
                  <a:pt x="84" y="54"/>
                </a:lnTo>
                <a:lnTo>
                  <a:pt x="78" y="54"/>
                </a:lnTo>
                <a:lnTo>
                  <a:pt x="78" y="54"/>
                </a:lnTo>
                <a:close/>
                <a:moveTo>
                  <a:pt x="90" y="66"/>
                </a:moveTo>
                <a:lnTo>
                  <a:pt x="90" y="66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6" y="60"/>
                </a:lnTo>
                <a:lnTo>
                  <a:pt x="90" y="60"/>
                </a:lnTo>
                <a:lnTo>
                  <a:pt x="90" y="54"/>
                </a:lnTo>
                <a:lnTo>
                  <a:pt x="90" y="54"/>
                </a:lnTo>
                <a:lnTo>
                  <a:pt x="96" y="54"/>
                </a:lnTo>
                <a:lnTo>
                  <a:pt x="96" y="54"/>
                </a:lnTo>
                <a:lnTo>
                  <a:pt x="102" y="60"/>
                </a:lnTo>
                <a:lnTo>
                  <a:pt x="102" y="60"/>
                </a:lnTo>
                <a:lnTo>
                  <a:pt x="96" y="60"/>
                </a:lnTo>
                <a:lnTo>
                  <a:pt x="96" y="66"/>
                </a:lnTo>
                <a:lnTo>
                  <a:pt x="96" y="66"/>
                </a:lnTo>
                <a:lnTo>
                  <a:pt x="96" y="66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66"/>
                </a:lnTo>
                <a:lnTo>
                  <a:pt x="108" y="72"/>
                </a:lnTo>
                <a:lnTo>
                  <a:pt x="108" y="72"/>
                </a:lnTo>
                <a:lnTo>
                  <a:pt x="108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96" y="78"/>
                </a:lnTo>
                <a:lnTo>
                  <a:pt x="96" y="78"/>
                </a:lnTo>
                <a:lnTo>
                  <a:pt x="96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78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84"/>
                </a:lnTo>
                <a:lnTo>
                  <a:pt x="102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90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90"/>
                </a:lnTo>
                <a:lnTo>
                  <a:pt x="114" y="90"/>
                </a:lnTo>
                <a:lnTo>
                  <a:pt x="114" y="90"/>
                </a:lnTo>
                <a:lnTo>
                  <a:pt x="114" y="90"/>
                </a:lnTo>
                <a:lnTo>
                  <a:pt x="114" y="90"/>
                </a:lnTo>
                <a:lnTo>
                  <a:pt x="114" y="90"/>
                </a:lnTo>
                <a:lnTo>
                  <a:pt x="114" y="90"/>
                </a:lnTo>
                <a:lnTo>
                  <a:pt x="114" y="96"/>
                </a:lnTo>
                <a:lnTo>
                  <a:pt x="114" y="96"/>
                </a:lnTo>
                <a:lnTo>
                  <a:pt x="114" y="96"/>
                </a:lnTo>
                <a:lnTo>
                  <a:pt x="114" y="96"/>
                </a:lnTo>
                <a:lnTo>
                  <a:pt x="114" y="96"/>
                </a:lnTo>
                <a:lnTo>
                  <a:pt x="114" y="96"/>
                </a:lnTo>
                <a:lnTo>
                  <a:pt x="114" y="96"/>
                </a:lnTo>
                <a:lnTo>
                  <a:pt x="114" y="96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14" y="108"/>
                </a:lnTo>
                <a:lnTo>
                  <a:pt x="120" y="114"/>
                </a:lnTo>
                <a:lnTo>
                  <a:pt x="120" y="114"/>
                </a:lnTo>
                <a:lnTo>
                  <a:pt x="120" y="114"/>
                </a:lnTo>
                <a:lnTo>
                  <a:pt x="120" y="114"/>
                </a:lnTo>
                <a:lnTo>
                  <a:pt x="120" y="114"/>
                </a:lnTo>
                <a:lnTo>
                  <a:pt x="120" y="120"/>
                </a:lnTo>
                <a:lnTo>
                  <a:pt x="120" y="114"/>
                </a:lnTo>
                <a:lnTo>
                  <a:pt x="120" y="114"/>
                </a:lnTo>
                <a:lnTo>
                  <a:pt x="120" y="114"/>
                </a:lnTo>
                <a:lnTo>
                  <a:pt x="120" y="114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0" y="120"/>
                </a:lnTo>
                <a:lnTo>
                  <a:pt x="120" y="120"/>
                </a:lnTo>
                <a:lnTo>
                  <a:pt x="120" y="120"/>
                </a:lnTo>
                <a:lnTo>
                  <a:pt x="120" y="120"/>
                </a:lnTo>
                <a:lnTo>
                  <a:pt x="120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0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26" y="126"/>
                </a:lnTo>
                <a:lnTo>
                  <a:pt x="132" y="132"/>
                </a:lnTo>
                <a:lnTo>
                  <a:pt x="132" y="132"/>
                </a:lnTo>
                <a:lnTo>
                  <a:pt x="132" y="138"/>
                </a:lnTo>
                <a:lnTo>
                  <a:pt x="132" y="138"/>
                </a:lnTo>
                <a:lnTo>
                  <a:pt x="126" y="138"/>
                </a:lnTo>
                <a:lnTo>
                  <a:pt x="126" y="138"/>
                </a:lnTo>
                <a:lnTo>
                  <a:pt x="126" y="138"/>
                </a:lnTo>
                <a:lnTo>
                  <a:pt x="126" y="138"/>
                </a:lnTo>
                <a:lnTo>
                  <a:pt x="126" y="138"/>
                </a:lnTo>
                <a:lnTo>
                  <a:pt x="126" y="138"/>
                </a:lnTo>
                <a:lnTo>
                  <a:pt x="126" y="138"/>
                </a:lnTo>
                <a:lnTo>
                  <a:pt x="126" y="144"/>
                </a:lnTo>
                <a:lnTo>
                  <a:pt x="126" y="144"/>
                </a:lnTo>
                <a:lnTo>
                  <a:pt x="126" y="144"/>
                </a:lnTo>
                <a:lnTo>
                  <a:pt x="126" y="144"/>
                </a:lnTo>
                <a:lnTo>
                  <a:pt x="126" y="144"/>
                </a:lnTo>
                <a:lnTo>
                  <a:pt x="126" y="144"/>
                </a:lnTo>
                <a:lnTo>
                  <a:pt x="126" y="144"/>
                </a:lnTo>
                <a:lnTo>
                  <a:pt x="120" y="144"/>
                </a:lnTo>
                <a:lnTo>
                  <a:pt x="126" y="150"/>
                </a:lnTo>
                <a:lnTo>
                  <a:pt x="126" y="156"/>
                </a:lnTo>
                <a:lnTo>
                  <a:pt x="126" y="156"/>
                </a:lnTo>
                <a:lnTo>
                  <a:pt x="120" y="168"/>
                </a:lnTo>
                <a:lnTo>
                  <a:pt x="120" y="168"/>
                </a:lnTo>
                <a:lnTo>
                  <a:pt x="120" y="174"/>
                </a:lnTo>
                <a:lnTo>
                  <a:pt x="120" y="174"/>
                </a:lnTo>
                <a:lnTo>
                  <a:pt x="120" y="180"/>
                </a:lnTo>
                <a:lnTo>
                  <a:pt x="120" y="186"/>
                </a:lnTo>
                <a:lnTo>
                  <a:pt x="120" y="192"/>
                </a:lnTo>
                <a:lnTo>
                  <a:pt x="120" y="198"/>
                </a:lnTo>
                <a:lnTo>
                  <a:pt x="120" y="198"/>
                </a:lnTo>
                <a:lnTo>
                  <a:pt x="120" y="210"/>
                </a:lnTo>
                <a:lnTo>
                  <a:pt x="120" y="216"/>
                </a:lnTo>
                <a:lnTo>
                  <a:pt x="120" y="216"/>
                </a:lnTo>
                <a:lnTo>
                  <a:pt x="114" y="222"/>
                </a:lnTo>
                <a:lnTo>
                  <a:pt x="102" y="228"/>
                </a:lnTo>
                <a:lnTo>
                  <a:pt x="102" y="228"/>
                </a:lnTo>
                <a:lnTo>
                  <a:pt x="102" y="228"/>
                </a:lnTo>
                <a:lnTo>
                  <a:pt x="102" y="228"/>
                </a:lnTo>
                <a:lnTo>
                  <a:pt x="96" y="228"/>
                </a:lnTo>
                <a:lnTo>
                  <a:pt x="96" y="222"/>
                </a:lnTo>
                <a:lnTo>
                  <a:pt x="90" y="216"/>
                </a:lnTo>
                <a:lnTo>
                  <a:pt x="90" y="216"/>
                </a:lnTo>
                <a:lnTo>
                  <a:pt x="90" y="210"/>
                </a:lnTo>
                <a:lnTo>
                  <a:pt x="96" y="210"/>
                </a:lnTo>
                <a:lnTo>
                  <a:pt x="90" y="210"/>
                </a:lnTo>
                <a:lnTo>
                  <a:pt x="90" y="210"/>
                </a:lnTo>
                <a:lnTo>
                  <a:pt x="90" y="210"/>
                </a:lnTo>
                <a:lnTo>
                  <a:pt x="90" y="210"/>
                </a:lnTo>
                <a:lnTo>
                  <a:pt x="90" y="210"/>
                </a:lnTo>
                <a:lnTo>
                  <a:pt x="90" y="210"/>
                </a:lnTo>
                <a:lnTo>
                  <a:pt x="84" y="210"/>
                </a:lnTo>
                <a:lnTo>
                  <a:pt x="84" y="210"/>
                </a:lnTo>
                <a:lnTo>
                  <a:pt x="84" y="210"/>
                </a:lnTo>
                <a:lnTo>
                  <a:pt x="78" y="204"/>
                </a:lnTo>
                <a:lnTo>
                  <a:pt x="78" y="210"/>
                </a:lnTo>
                <a:lnTo>
                  <a:pt x="72" y="210"/>
                </a:lnTo>
                <a:lnTo>
                  <a:pt x="72" y="210"/>
                </a:lnTo>
                <a:lnTo>
                  <a:pt x="72" y="210"/>
                </a:lnTo>
                <a:lnTo>
                  <a:pt x="72" y="210"/>
                </a:lnTo>
                <a:lnTo>
                  <a:pt x="72" y="204"/>
                </a:lnTo>
                <a:lnTo>
                  <a:pt x="72" y="204"/>
                </a:lnTo>
                <a:lnTo>
                  <a:pt x="72" y="204"/>
                </a:lnTo>
                <a:lnTo>
                  <a:pt x="72" y="204"/>
                </a:lnTo>
                <a:lnTo>
                  <a:pt x="72" y="204"/>
                </a:lnTo>
                <a:lnTo>
                  <a:pt x="72" y="198"/>
                </a:lnTo>
                <a:lnTo>
                  <a:pt x="72" y="198"/>
                </a:lnTo>
                <a:lnTo>
                  <a:pt x="72" y="198"/>
                </a:lnTo>
                <a:lnTo>
                  <a:pt x="72" y="198"/>
                </a:lnTo>
                <a:lnTo>
                  <a:pt x="72" y="198"/>
                </a:lnTo>
                <a:lnTo>
                  <a:pt x="66" y="192"/>
                </a:lnTo>
                <a:lnTo>
                  <a:pt x="72" y="192"/>
                </a:lnTo>
                <a:lnTo>
                  <a:pt x="72" y="192"/>
                </a:lnTo>
                <a:lnTo>
                  <a:pt x="72" y="192"/>
                </a:lnTo>
                <a:lnTo>
                  <a:pt x="72" y="192"/>
                </a:lnTo>
                <a:lnTo>
                  <a:pt x="72" y="192"/>
                </a:lnTo>
                <a:lnTo>
                  <a:pt x="72" y="192"/>
                </a:lnTo>
                <a:lnTo>
                  <a:pt x="72" y="186"/>
                </a:lnTo>
                <a:lnTo>
                  <a:pt x="72" y="186"/>
                </a:lnTo>
                <a:lnTo>
                  <a:pt x="72" y="186"/>
                </a:lnTo>
                <a:lnTo>
                  <a:pt x="72" y="180"/>
                </a:lnTo>
                <a:lnTo>
                  <a:pt x="72" y="180"/>
                </a:lnTo>
                <a:lnTo>
                  <a:pt x="72" y="180"/>
                </a:lnTo>
                <a:lnTo>
                  <a:pt x="78" y="180"/>
                </a:lnTo>
                <a:lnTo>
                  <a:pt x="78" y="174"/>
                </a:lnTo>
                <a:lnTo>
                  <a:pt x="78" y="174"/>
                </a:lnTo>
                <a:lnTo>
                  <a:pt x="84" y="174"/>
                </a:lnTo>
                <a:lnTo>
                  <a:pt x="84" y="174"/>
                </a:lnTo>
                <a:lnTo>
                  <a:pt x="84" y="174"/>
                </a:lnTo>
                <a:lnTo>
                  <a:pt x="78" y="174"/>
                </a:lnTo>
                <a:lnTo>
                  <a:pt x="78" y="168"/>
                </a:lnTo>
                <a:lnTo>
                  <a:pt x="78" y="168"/>
                </a:lnTo>
                <a:lnTo>
                  <a:pt x="72" y="168"/>
                </a:lnTo>
                <a:lnTo>
                  <a:pt x="72" y="168"/>
                </a:lnTo>
                <a:lnTo>
                  <a:pt x="72" y="162"/>
                </a:lnTo>
                <a:lnTo>
                  <a:pt x="72" y="162"/>
                </a:lnTo>
                <a:lnTo>
                  <a:pt x="72" y="162"/>
                </a:lnTo>
                <a:lnTo>
                  <a:pt x="66" y="162"/>
                </a:lnTo>
                <a:lnTo>
                  <a:pt x="66" y="162"/>
                </a:lnTo>
                <a:lnTo>
                  <a:pt x="66" y="162"/>
                </a:lnTo>
                <a:lnTo>
                  <a:pt x="66" y="162"/>
                </a:lnTo>
                <a:lnTo>
                  <a:pt x="60" y="162"/>
                </a:lnTo>
                <a:lnTo>
                  <a:pt x="60" y="162"/>
                </a:lnTo>
                <a:lnTo>
                  <a:pt x="60" y="162"/>
                </a:lnTo>
                <a:lnTo>
                  <a:pt x="60" y="162"/>
                </a:lnTo>
                <a:lnTo>
                  <a:pt x="60" y="162"/>
                </a:lnTo>
                <a:lnTo>
                  <a:pt x="54" y="156"/>
                </a:lnTo>
                <a:lnTo>
                  <a:pt x="54" y="156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54" y="150"/>
                </a:lnTo>
                <a:lnTo>
                  <a:pt x="54" y="144"/>
                </a:lnTo>
                <a:lnTo>
                  <a:pt x="54" y="144"/>
                </a:lnTo>
                <a:lnTo>
                  <a:pt x="54" y="144"/>
                </a:lnTo>
                <a:lnTo>
                  <a:pt x="54" y="144"/>
                </a:lnTo>
                <a:lnTo>
                  <a:pt x="60" y="144"/>
                </a:lnTo>
                <a:lnTo>
                  <a:pt x="60" y="144"/>
                </a:lnTo>
                <a:lnTo>
                  <a:pt x="60" y="144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54" y="138"/>
                </a:lnTo>
                <a:lnTo>
                  <a:pt x="48" y="126"/>
                </a:lnTo>
                <a:lnTo>
                  <a:pt x="48" y="126"/>
                </a:lnTo>
                <a:lnTo>
                  <a:pt x="48" y="120"/>
                </a:lnTo>
                <a:lnTo>
                  <a:pt x="48" y="114"/>
                </a:lnTo>
                <a:lnTo>
                  <a:pt x="36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6"/>
                </a:lnTo>
                <a:lnTo>
                  <a:pt x="24" y="90"/>
                </a:lnTo>
                <a:lnTo>
                  <a:pt x="24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90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30" y="84"/>
                </a:lnTo>
                <a:lnTo>
                  <a:pt x="30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2" y="72"/>
                </a:lnTo>
                <a:lnTo>
                  <a:pt x="12" y="72"/>
                </a:lnTo>
                <a:lnTo>
                  <a:pt x="12" y="66"/>
                </a:lnTo>
                <a:lnTo>
                  <a:pt x="18" y="66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6" y="60"/>
                </a:lnTo>
                <a:lnTo>
                  <a:pt x="6" y="60"/>
                </a:lnTo>
                <a:lnTo>
                  <a:pt x="0" y="60"/>
                </a:lnTo>
                <a:lnTo>
                  <a:pt x="0" y="60"/>
                </a:lnTo>
                <a:lnTo>
                  <a:pt x="0" y="54"/>
                </a:lnTo>
                <a:lnTo>
                  <a:pt x="0" y="48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8" y="36"/>
                </a:lnTo>
                <a:lnTo>
                  <a:pt x="18" y="36"/>
                </a:lnTo>
                <a:lnTo>
                  <a:pt x="18" y="30"/>
                </a:lnTo>
                <a:lnTo>
                  <a:pt x="18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6"/>
                </a:lnTo>
                <a:lnTo>
                  <a:pt x="30" y="30"/>
                </a:lnTo>
                <a:lnTo>
                  <a:pt x="30" y="36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6" y="18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6" y="6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0" y="18"/>
                </a:lnTo>
                <a:lnTo>
                  <a:pt x="36" y="24"/>
                </a:lnTo>
                <a:lnTo>
                  <a:pt x="36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6" y="24"/>
                </a:lnTo>
                <a:lnTo>
                  <a:pt x="36" y="24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24"/>
                </a:lnTo>
                <a:lnTo>
                  <a:pt x="36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8" y="24"/>
                </a:lnTo>
                <a:lnTo>
                  <a:pt x="48" y="24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54" y="30"/>
                </a:lnTo>
                <a:lnTo>
                  <a:pt x="54" y="30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24"/>
                </a:lnTo>
                <a:lnTo>
                  <a:pt x="54" y="24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24"/>
                </a:lnTo>
                <a:lnTo>
                  <a:pt x="60" y="24"/>
                </a:lnTo>
                <a:lnTo>
                  <a:pt x="60" y="24"/>
                </a:lnTo>
                <a:lnTo>
                  <a:pt x="54" y="24"/>
                </a:lnTo>
                <a:lnTo>
                  <a:pt x="54" y="24"/>
                </a:lnTo>
                <a:lnTo>
                  <a:pt x="60" y="24"/>
                </a:lnTo>
                <a:lnTo>
                  <a:pt x="60" y="18"/>
                </a:lnTo>
                <a:lnTo>
                  <a:pt x="60" y="18"/>
                </a:lnTo>
                <a:lnTo>
                  <a:pt x="66" y="24"/>
                </a:lnTo>
                <a:lnTo>
                  <a:pt x="60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72" y="18"/>
                </a:lnTo>
                <a:lnTo>
                  <a:pt x="66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66" y="18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0" y="24"/>
                </a:lnTo>
                <a:lnTo>
                  <a:pt x="60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6" y="24"/>
                </a:lnTo>
                <a:lnTo>
                  <a:pt x="60" y="24"/>
                </a:lnTo>
                <a:lnTo>
                  <a:pt x="66" y="24"/>
                </a:lnTo>
                <a:lnTo>
                  <a:pt x="66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0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36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36"/>
                </a:lnTo>
                <a:lnTo>
                  <a:pt x="72" y="36"/>
                </a:lnTo>
                <a:lnTo>
                  <a:pt x="72" y="36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8" y="42"/>
                </a:lnTo>
                <a:lnTo>
                  <a:pt x="78" y="48"/>
                </a:lnTo>
                <a:lnTo>
                  <a:pt x="72" y="48"/>
                </a:lnTo>
                <a:lnTo>
                  <a:pt x="72" y="48"/>
                </a:lnTo>
                <a:lnTo>
                  <a:pt x="78" y="42"/>
                </a:lnTo>
                <a:lnTo>
                  <a:pt x="78" y="42"/>
                </a:lnTo>
                <a:lnTo>
                  <a:pt x="72" y="42"/>
                </a:lnTo>
                <a:lnTo>
                  <a:pt x="72" y="36"/>
                </a:lnTo>
                <a:lnTo>
                  <a:pt x="72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36"/>
                </a:lnTo>
                <a:lnTo>
                  <a:pt x="84" y="42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36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8" y="54"/>
                </a:lnTo>
                <a:lnTo>
                  <a:pt x="78" y="54"/>
                </a:lnTo>
                <a:lnTo>
                  <a:pt x="78" y="60"/>
                </a:lnTo>
                <a:lnTo>
                  <a:pt x="78" y="60"/>
                </a:lnTo>
                <a:lnTo>
                  <a:pt x="72" y="60"/>
                </a:lnTo>
                <a:lnTo>
                  <a:pt x="72" y="60"/>
                </a:lnTo>
                <a:lnTo>
                  <a:pt x="72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78" y="66"/>
                </a:lnTo>
                <a:lnTo>
                  <a:pt x="78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66" y="66"/>
                </a:lnTo>
                <a:lnTo>
                  <a:pt x="66" y="72"/>
                </a:lnTo>
                <a:lnTo>
                  <a:pt x="72" y="72"/>
                </a:lnTo>
                <a:lnTo>
                  <a:pt x="72" y="66"/>
                </a:lnTo>
                <a:lnTo>
                  <a:pt x="72" y="66"/>
                </a:lnTo>
                <a:lnTo>
                  <a:pt x="72" y="66"/>
                </a:lnTo>
                <a:lnTo>
                  <a:pt x="78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0"/>
                </a:lnTo>
                <a:lnTo>
                  <a:pt x="90" y="60"/>
                </a:lnTo>
                <a:lnTo>
                  <a:pt x="90" y="66"/>
                </a:lnTo>
                <a:lnTo>
                  <a:pt x="90" y="66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817" name="Freeform 550"/>
          <p:cNvSpPr>
            <a:spLocks noEditPoints="1"/>
          </p:cNvSpPr>
          <p:nvPr/>
        </p:nvSpPr>
        <p:spPr bwMode="auto">
          <a:xfrm>
            <a:off x="7487835" y="1436884"/>
            <a:ext cx="64240" cy="57817"/>
          </a:xfrm>
          <a:custGeom>
            <a:avLst/>
            <a:gdLst>
              <a:gd name="T0" fmla="*/ 0 w 60"/>
              <a:gd name="T1" fmla="*/ 48 h 54"/>
              <a:gd name="T2" fmla="*/ 0 w 60"/>
              <a:gd name="T3" fmla="*/ 36 h 54"/>
              <a:gd name="T4" fmla="*/ 0 w 60"/>
              <a:gd name="T5" fmla="*/ 30 h 54"/>
              <a:gd name="T6" fmla="*/ 0 w 60"/>
              <a:gd name="T7" fmla="*/ 24 h 54"/>
              <a:gd name="T8" fmla="*/ 6 w 60"/>
              <a:gd name="T9" fmla="*/ 12 h 54"/>
              <a:gd name="T10" fmla="*/ 6 w 60"/>
              <a:gd name="T11" fmla="*/ 6 h 54"/>
              <a:gd name="T12" fmla="*/ 18 w 60"/>
              <a:gd name="T13" fmla="*/ 12 h 54"/>
              <a:gd name="T14" fmla="*/ 18 w 60"/>
              <a:gd name="T15" fmla="*/ 12 h 54"/>
              <a:gd name="T16" fmla="*/ 24 w 60"/>
              <a:gd name="T17" fmla="*/ 12 h 54"/>
              <a:gd name="T18" fmla="*/ 30 w 60"/>
              <a:gd name="T19" fmla="*/ 12 h 54"/>
              <a:gd name="T20" fmla="*/ 36 w 60"/>
              <a:gd name="T21" fmla="*/ 6 h 54"/>
              <a:gd name="T22" fmla="*/ 36 w 60"/>
              <a:gd name="T23" fmla="*/ 6 h 54"/>
              <a:gd name="T24" fmla="*/ 36 w 60"/>
              <a:gd name="T25" fmla="*/ 6 h 54"/>
              <a:gd name="T26" fmla="*/ 42 w 60"/>
              <a:gd name="T27" fmla="*/ 6 h 54"/>
              <a:gd name="T28" fmla="*/ 42 w 60"/>
              <a:gd name="T29" fmla="*/ 0 h 54"/>
              <a:gd name="T30" fmla="*/ 42 w 60"/>
              <a:gd name="T31" fmla="*/ 0 h 54"/>
              <a:gd name="T32" fmla="*/ 42 w 60"/>
              <a:gd name="T33" fmla="*/ 0 h 54"/>
              <a:gd name="T34" fmla="*/ 42 w 60"/>
              <a:gd name="T35" fmla="*/ 0 h 54"/>
              <a:gd name="T36" fmla="*/ 42 w 60"/>
              <a:gd name="T37" fmla="*/ 0 h 54"/>
              <a:gd name="T38" fmla="*/ 48 w 60"/>
              <a:gd name="T39" fmla="*/ 0 h 54"/>
              <a:gd name="T40" fmla="*/ 48 w 60"/>
              <a:gd name="T41" fmla="*/ 0 h 54"/>
              <a:gd name="T42" fmla="*/ 42 w 60"/>
              <a:gd name="T43" fmla="*/ 0 h 54"/>
              <a:gd name="T44" fmla="*/ 48 w 60"/>
              <a:gd name="T45" fmla="*/ 0 h 54"/>
              <a:gd name="T46" fmla="*/ 54 w 60"/>
              <a:gd name="T47" fmla="*/ 0 h 54"/>
              <a:gd name="T48" fmla="*/ 54 w 60"/>
              <a:gd name="T49" fmla="*/ 0 h 54"/>
              <a:gd name="T50" fmla="*/ 54 w 60"/>
              <a:gd name="T51" fmla="*/ 0 h 54"/>
              <a:gd name="T52" fmla="*/ 54 w 60"/>
              <a:gd name="T53" fmla="*/ 6 h 54"/>
              <a:gd name="T54" fmla="*/ 54 w 60"/>
              <a:gd name="T55" fmla="*/ 6 h 54"/>
              <a:gd name="T56" fmla="*/ 54 w 60"/>
              <a:gd name="T57" fmla="*/ 6 h 54"/>
              <a:gd name="T58" fmla="*/ 48 w 60"/>
              <a:gd name="T59" fmla="*/ 6 h 54"/>
              <a:gd name="T60" fmla="*/ 48 w 60"/>
              <a:gd name="T61" fmla="*/ 6 h 54"/>
              <a:gd name="T62" fmla="*/ 48 w 60"/>
              <a:gd name="T63" fmla="*/ 6 h 54"/>
              <a:gd name="T64" fmla="*/ 48 w 60"/>
              <a:gd name="T65" fmla="*/ 6 h 54"/>
              <a:gd name="T66" fmla="*/ 48 w 60"/>
              <a:gd name="T67" fmla="*/ 6 h 54"/>
              <a:gd name="T68" fmla="*/ 48 w 60"/>
              <a:gd name="T69" fmla="*/ 6 h 54"/>
              <a:gd name="T70" fmla="*/ 42 w 60"/>
              <a:gd name="T71" fmla="*/ 6 h 54"/>
              <a:gd name="T72" fmla="*/ 42 w 60"/>
              <a:gd name="T73" fmla="*/ 6 h 54"/>
              <a:gd name="T74" fmla="*/ 42 w 60"/>
              <a:gd name="T75" fmla="*/ 6 h 54"/>
              <a:gd name="T76" fmla="*/ 42 w 60"/>
              <a:gd name="T77" fmla="*/ 6 h 54"/>
              <a:gd name="T78" fmla="*/ 48 w 60"/>
              <a:gd name="T79" fmla="*/ 6 h 54"/>
              <a:gd name="T80" fmla="*/ 48 w 60"/>
              <a:gd name="T81" fmla="*/ 6 h 54"/>
              <a:gd name="T82" fmla="*/ 48 w 60"/>
              <a:gd name="T83" fmla="*/ 12 h 54"/>
              <a:gd name="T84" fmla="*/ 54 w 60"/>
              <a:gd name="T85" fmla="*/ 6 h 54"/>
              <a:gd name="T86" fmla="*/ 60 w 60"/>
              <a:gd name="T87" fmla="*/ 12 h 54"/>
              <a:gd name="T88" fmla="*/ 54 w 60"/>
              <a:gd name="T89" fmla="*/ 24 h 54"/>
              <a:gd name="T90" fmla="*/ 48 w 60"/>
              <a:gd name="T91" fmla="*/ 30 h 54"/>
              <a:gd name="T92" fmla="*/ 42 w 60"/>
              <a:gd name="T93" fmla="*/ 36 h 54"/>
              <a:gd name="T94" fmla="*/ 42 w 60"/>
              <a:gd name="T95" fmla="*/ 42 h 54"/>
              <a:gd name="T96" fmla="*/ 36 w 60"/>
              <a:gd name="T97" fmla="*/ 42 h 54"/>
              <a:gd name="T98" fmla="*/ 30 w 60"/>
              <a:gd name="T99" fmla="*/ 42 h 54"/>
              <a:gd name="T100" fmla="*/ 30 w 60"/>
              <a:gd name="T101" fmla="*/ 42 h 54"/>
              <a:gd name="T102" fmla="*/ 18 w 60"/>
              <a:gd name="T103" fmla="*/ 48 h 54"/>
              <a:gd name="T104" fmla="*/ 18 w 60"/>
              <a:gd name="T105" fmla="*/ 48 h 54"/>
              <a:gd name="T106" fmla="*/ 12 w 60"/>
              <a:gd name="T107" fmla="*/ 48 h 54"/>
              <a:gd name="T108" fmla="*/ 12 w 60"/>
              <a:gd name="T109" fmla="*/ 48 h 54"/>
              <a:gd name="T110" fmla="*/ 6 w 60"/>
              <a:gd name="T111" fmla="*/ 48 h 54"/>
              <a:gd name="T112" fmla="*/ 6 w 60"/>
              <a:gd name="T113" fmla="*/ 54 h 54"/>
              <a:gd name="T114" fmla="*/ 0 w 60"/>
              <a:gd name="T115" fmla="*/ 54 h 54"/>
              <a:gd name="T116" fmla="*/ 54 w 60"/>
              <a:gd name="T117" fmla="*/ 0 h 54"/>
              <a:gd name="T118" fmla="*/ 54 w 60"/>
              <a:gd name="T119" fmla="*/ 0 h 54"/>
              <a:gd name="T120" fmla="*/ 54 w 60"/>
              <a:gd name="T121" fmla="*/ 0 h 54"/>
              <a:gd name="T122" fmla="*/ 54 w 60"/>
              <a:gd name="T123" fmla="*/ 0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0" h="54">
                <a:moveTo>
                  <a:pt x="0" y="54"/>
                </a:moveTo>
                <a:lnTo>
                  <a:pt x="0" y="48"/>
                </a:lnTo>
                <a:lnTo>
                  <a:pt x="0" y="42"/>
                </a:lnTo>
                <a:lnTo>
                  <a:pt x="0" y="36"/>
                </a:lnTo>
                <a:lnTo>
                  <a:pt x="0" y="30"/>
                </a:lnTo>
                <a:lnTo>
                  <a:pt x="0" y="30"/>
                </a:lnTo>
                <a:lnTo>
                  <a:pt x="0" y="24"/>
                </a:lnTo>
                <a:lnTo>
                  <a:pt x="0" y="24"/>
                </a:lnTo>
                <a:lnTo>
                  <a:pt x="6" y="12"/>
                </a:lnTo>
                <a:lnTo>
                  <a:pt x="6" y="12"/>
                </a:lnTo>
                <a:lnTo>
                  <a:pt x="6" y="6"/>
                </a:lnTo>
                <a:lnTo>
                  <a:pt x="6" y="6"/>
                </a:lnTo>
                <a:lnTo>
                  <a:pt x="12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30" y="12"/>
                </a:lnTo>
                <a:lnTo>
                  <a:pt x="30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2" y="0"/>
                </a:lnTo>
                <a:lnTo>
                  <a:pt x="42" y="6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0"/>
                </a:lnTo>
                <a:lnTo>
                  <a:pt x="42" y="6"/>
                </a:lnTo>
                <a:lnTo>
                  <a:pt x="48" y="0"/>
                </a:lnTo>
                <a:lnTo>
                  <a:pt x="48" y="6"/>
                </a:lnTo>
                <a:lnTo>
                  <a:pt x="48" y="0"/>
                </a:lnTo>
                <a:lnTo>
                  <a:pt x="48" y="0"/>
                </a:lnTo>
                <a:lnTo>
                  <a:pt x="42" y="0"/>
                </a:lnTo>
                <a:lnTo>
                  <a:pt x="42" y="0"/>
                </a:lnTo>
                <a:lnTo>
                  <a:pt x="48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12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12"/>
                </a:lnTo>
                <a:lnTo>
                  <a:pt x="48" y="12"/>
                </a:lnTo>
                <a:lnTo>
                  <a:pt x="48" y="6"/>
                </a:lnTo>
                <a:lnTo>
                  <a:pt x="54" y="6"/>
                </a:lnTo>
                <a:lnTo>
                  <a:pt x="60" y="6"/>
                </a:lnTo>
                <a:lnTo>
                  <a:pt x="60" y="12"/>
                </a:lnTo>
                <a:lnTo>
                  <a:pt x="60" y="18"/>
                </a:lnTo>
                <a:lnTo>
                  <a:pt x="54" y="24"/>
                </a:lnTo>
                <a:lnTo>
                  <a:pt x="54" y="24"/>
                </a:lnTo>
                <a:lnTo>
                  <a:pt x="48" y="30"/>
                </a:lnTo>
                <a:lnTo>
                  <a:pt x="48" y="30"/>
                </a:lnTo>
                <a:lnTo>
                  <a:pt x="42" y="36"/>
                </a:lnTo>
                <a:lnTo>
                  <a:pt x="42" y="36"/>
                </a:lnTo>
                <a:lnTo>
                  <a:pt x="42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24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6" y="48"/>
                </a:lnTo>
                <a:lnTo>
                  <a:pt x="6" y="48"/>
                </a:lnTo>
                <a:lnTo>
                  <a:pt x="6" y="54"/>
                </a:lnTo>
                <a:lnTo>
                  <a:pt x="6" y="54"/>
                </a:lnTo>
                <a:lnTo>
                  <a:pt x="0" y="54"/>
                </a:lnTo>
                <a:lnTo>
                  <a:pt x="0" y="54"/>
                </a:lnTo>
                <a:close/>
                <a:moveTo>
                  <a:pt x="54" y="0"/>
                </a:move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818" name="Freeform 551"/>
          <p:cNvSpPr>
            <a:spLocks noEditPoints="1"/>
          </p:cNvSpPr>
          <p:nvPr/>
        </p:nvSpPr>
        <p:spPr bwMode="auto">
          <a:xfrm>
            <a:off x="7121664" y="1250585"/>
            <a:ext cx="269810" cy="423990"/>
          </a:xfrm>
          <a:custGeom>
            <a:avLst/>
            <a:gdLst>
              <a:gd name="T0" fmla="*/ 180 w 252"/>
              <a:gd name="T1" fmla="*/ 18 h 396"/>
              <a:gd name="T2" fmla="*/ 168 w 252"/>
              <a:gd name="T3" fmla="*/ 18 h 396"/>
              <a:gd name="T4" fmla="*/ 144 w 252"/>
              <a:gd name="T5" fmla="*/ 6 h 396"/>
              <a:gd name="T6" fmla="*/ 162 w 252"/>
              <a:gd name="T7" fmla="*/ 12 h 396"/>
              <a:gd name="T8" fmla="*/ 162 w 252"/>
              <a:gd name="T9" fmla="*/ 24 h 396"/>
              <a:gd name="T10" fmla="*/ 156 w 252"/>
              <a:gd name="T11" fmla="*/ 24 h 396"/>
              <a:gd name="T12" fmla="*/ 12 w 252"/>
              <a:gd name="T13" fmla="*/ 312 h 396"/>
              <a:gd name="T14" fmla="*/ 18 w 252"/>
              <a:gd name="T15" fmla="*/ 300 h 396"/>
              <a:gd name="T16" fmla="*/ 30 w 252"/>
              <a:gd name="T17" fmla="*/ 288 h 396"/>
              <a:gd name="T18" fmla="*/ 42 w 252"/>
              <a:gd name="T19" fmla="*/ 270 h 396"/>
              <a:gd name="T20" fmla="*/ 54 w 252"/>
              <a:gd name="T21" fmla="*/ 246 h 396"/>
              <a:gd name="T22" fmla="*/ 60 w 252"/>
              <a:gd name="T23" fmla="*/ 234 h 396"/>
              <a:gd name="T24" fmla="*/ 54 w 252"/>
              <a:gd name="T25" fmla="*/ 222 h 396"/>
              <a:gd name="T26" fmla="*/ 66 w 252"/>
              <a:gd name="T27" fmla="*/ 204 h 396"/>
              <a:gd name="T28" fmla="*/ 84 w 252"/>
              <a:gd name="T29" fmla="*/ 168 h 396"/>
              <a:gd name="T30" fmla="*/ 102 w 252"/>
              <a:gd name="T31" fmla="*/ 144 h 396"/>
              <a:gd name="T32" fmla="*/ 96 w 252"/>
              <a:gd name="T33" fmla="*/ 90 h 396"/>
              <a:gd name="T34" fmla="*/ 120 w 252"/>
              <a:gd name="T35" fmla="*/ 66 h 396"/>
              <a:gd name="T36" fmla="*/ 126 w 252"/>
              <a:gd name="T37" fmla="*/ 18 h 396"/>
              <a:gd name="T38" fmla="*/ 138 w 252"/>
              <a:gd name="T39" fmla="*/ 0 h 396"/>
              <a:gd name="T40" fmla="*/ 138 w 252"/>
              <a:gd name="T41" fmla="*/ 12 h 396"/>
              <a:gd name="T42" fmla="*/ 144 w 252"/>
              <a:gd name="T43" fmla="*/ 18 h 396"/>
              <a:gd name="T44" fmla="*/ 156 w 252"/>
              <a:gd name="T45" fmla="*/ 6 h 396"/>
              <a:gd name="T46" fmla="*/ 156 w 252"/>
              <a:gd name="T47" fmla="*/ 18 h 396"/>
              <a:gd name="T48" fmla="*/ 156 w 252"/>
              <a:gd name="T49" fmla="*/ 18 h 396"/>
              <a:gd name="T50" fmla="*/ 168 w 252"/>
              <a:gd name="T51" fmla="*/ 12 h 396"/>
              <a:gd name="T52" fmla="*/ 162 w 252"/>
              <a:gd name="T53" fmla="*/ 30 h 396"/>
              <a:gd name="T54" fmla="*/ 174 w 252"/>
              <a:gd name="T55" fmla="*/ 12 h 396"/>
              <a:gd name="T56" fmla="*/ 174 w 252"/>
              <a:gd name="T57" fmla="*/ 24 h 396"/>
              <a:gd name="T58" fmla="*/ 168 w 252"/>
              <a:gd name="T59" fmla="*/ 42 h 396"/>
              <a:gd name="T60" fmla="*/ 186 w 252"/>
              <a:gd name="T61" fmla="*/ 36 h 396"/>
              <a:gd name="T62" fmla="*/ 192 w 252"/>
              <a:gd name="T63" fmla="*/ 36 h 396"/>
              <a:gd name="T64" fmla="*/ 198 w 252"/>
              <a:gd name="T65" fmla="*/ 36 h 396"/>
              <a:gd name="T66" fmla="*/ 198 w 252"/>
              <a:gd name="T67" fmla="*/ 42 h 396"/>
              <a:gd name="T68" fmla="*/ 216 w 252"/>
              <a:gd name="T69" fmla="*/ 36 h 396"/>
              <a:gd name="T70" fmla="*/ 210 w 252"/>
              <a:gd name="T71" fmla="*/ 60 h 396"/>
              <a:gd name="T72" fmla="*/ 216 w 252"/>
              <a:gd name="T73" fmla="*/ 54 h 396"/>
              <a:gd name="T74" fmla="*/ 222 w 252"/>
              <a:gd name="T75" fmla="*/ 42 h 396"/>
              <a:gd name="T76" fmla="*/ 228 w 252"/>
              <a:gd name="T77" fmla="*/ 36 h 396"/>
              <a:gd name="T78" fmla="*/ 228 w 252"/>
              <a:gd name="T79" fmla="*/ 48 h 396"/>
              <a:gd name="T80" fmla="*/ 216 w 252"/>
              <a:gd name="T81" fmla="*/ 60 h 396"/>
              <a:gd name="T82" fmla="*/ 228 w 252"/>
              <a:gd name="T83" fmla="*/ 54 h 396"/>
              <a:gd name="T84" fmla="*/ 216 w 252"/>
              <a:gd name="T85" fmla="*/ 78 h 396"/>
              <a:gd name="T86" fmla="*/ 246 w 252"/>
              <a:gd name="T87" fmla="*/ 108 h 396"/>
              <a:gd name="T88" fmla="*/ 240 w 252"/>
              <a:gd name="T89" fmla="*/ 126 h 396"/>
              <a:gd name="T90" fmla="*/ 234 w 252"/>
              <a:gd name="T91" fmla="*/ 138 h 396"/>
              <a:gd name="T92" fmla="*/ 228 w 252"/>
              <a:gd name="T93" fmla="*/ 150 h 396"/>
              <a:gd name="T94" fmla="*/ 204 w 252"/>
              <a:gd name="T95" fmla="*/ 168 h 396"/>
              <a:gd name="T96" fmla="*/ 180 w 252"/>
              <a:gd name="T97" fmla="*/ 162 h 396"/>
              <a:gd name="T98" fmla="*/ 126 w 252"/>
              <a:gd name="T99" fmla="*/ 222 h 396"/>
              <a:gd name="T100" fmla="*/ 78 w 252"/>
              <a:gd name="T101" fmla="*/ 318 h 396"/>
              <a:gd name="T102" fmla="*/ 36 w 252"/>
              <a:gd name="T103" fmla="*/ 384 h 396"/>
              <a:gd name="T104" fmla="*/ 12 w 252"/>
              <a:gd name="T105" fmla="*/ 360 h 396"/>
              <a:gd name="T106" fmla="*/ 6 w 252"/>
              <a:gd name="T107" fmla="*/ 336 h 396"/>
              <a:gd name="T108" fmla="*/ 222 w 252"/>
              <a:gd name="T109" fmla="*/ 36 h 396"/>
              <a:gd name="T110" fmla="*/ 198 w 252"/>
              <a:gd name="T111" fmla="*/ 42 h 396"/>
              <a:gd name="T112" fmla="*/ 198 w 252"/>
              <a:gd name="T113" fmla="*/ 24 h 396"/>
              <a:gd name="T114" fmla="*/ 186 w 252"/>
              <a:gd name="T115" fmla="*/ 36 h 396"/>
              <a:gd name="T116" fmla="*/ 192 w 252"/>
              <a:gd name="T117" fmla="*/ 24 h 396"/>
              <a:gd name="T118" fmla="*/ 186 w 252"/>
              <a:gd name="T119" fmla="*/ 24 h 396"/>
              <a:gd name="T120" fmla="*/ 186 w 252"/>
              <a:gd name="T121" fmla="*/ 30 h 396"/>
              <a:gd name="T122" fmla="*/ 186 w 252"/>
              <a:gd name="T123" fmla="*/ 24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52" h="396">
                <a:moveTo>
                  <a:pt x="186" y="24"/>
                </a:move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86" y="24"/>
                </a:lnTo>
                <a:lnTo>
                  <a:pt x="186" y="24"/>
                </a:lnTo>
                <a:close/>
                <a:moveTo>
                  <a:pt x="180" y="30"/>
                </a:move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36"/>
                </a:lnTo>
                <a:lnTo>
                  <a:pt x="180" y="30"/>
                </a:lnTo>
                <a:lnTo>
                  <a:pt x="180" y="30"/>
                </a:lnTo>
                <a:close/>
                <a:moveTo>
                  <a:pt x="180" y="24"/>
                </a:move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24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18"/>
                </a:lnTo>
                <a:lnTo>
                  <a:pt x="180" y="24"/>
                </a:lnTo>
                <a:lnTo>
                  <a:pt x="180" y="24"/>
                </a:lnTo>
                <a:lnTo>
                  <a:pt x="180" y="24"/>
                </a:lnTo>
                <a:close/>
                <a:moveTo>
                  <a:pt x="168" y="18"/>
                </a:move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close/>
                <a:moveTo>
                  <a:pt x="162" y="18"/>
                </a:moveTo>
                <a:lnTo>
                  <a:pt x="162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24"/>
                </a:lnTo>
                <a:lnTo>
                  <a:pt x="162" y="18"/>
                </a:lnTo>
                <a:lnTo>
                  <a:pt x="162" y="18"/>
                </a:lnTo>
                <a:close/>
                <a:moveTo>
                  <a:pt x="144" y="6"/>
                </a:move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close/>
                <a:moveTo>
                  <a:pt x="162" y="6"/>
                </a:moveTo>
                <a:lnTo>
                  <a:pt x="162" y="6"/>
                </a:lnTo>
                <a:lnTo>
                  <a:pt x="162" y="6"/>
                </a:lnTo>
                <a:lnTo>
                  <a:pt x="168" y="6"/>
                </a:lnTo>
                <a:lnTo>
                  <a:pt x="162" y="6"/>
                </a:lnTo>
                <a:lnTo>
                  <a:pt x="162" y="6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6"/>
                </a:lnTo>
                <a:close/>
                <a:moveTo>
                  <a:pt x="162" y="12"/>
                </a:move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close/>
                <a:moveTo>
                  <a:pt x="162" y="12"/>
                </a:move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lnTo>
                  <a:pt x="162" y="12"/>
                </a:lnTo>
                <a:close/>
                <a:moveTo>
                  <a:pt x="162" y="24"/>
                </a:moveTo>
                <a:lnTo>
                  <a:pt x="162" y="24"/>
                </a:lnTo>
                <a:lnTo>
                  <a:pt x="168" y="24"/>
                </a:lnTo>
                <a:lnTo>
                  <a:pt x="168" y="24"/>
                </a:lnTo>
                <a:lnTo>
                  <a:pt x="162" y="24"/>
                </a:lnTo>
                <a:lnTo>
                  <a:pt x="162" y="24"/>
                </a:lnTo>
                <a:close/>
                <a:moveTo>
                  <a:pt x="162" y="24"/>
                </a:move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close/>
                <a:moveTo>
                  <a:pt x="156" y="24"/>
                </a:move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close/>
                <a:moveTo>
                  <a:pt x="0" y="324"/>
                </a:moveTo>
                <a:lnTo>
                  <a:pt x="6" y="324"/>
                </a:lnTo>
                <a:lnTo>
                  <a:pt x="6" y="324"/>
                </a:lnTo>
                <a:lnTo>
                  <a:pt x="0" y="324"/>
                </a:lnTo>
                <a:lnTo>
                  <a:pt x="6" y="324"/>
                </a:lnTo>
                <a:lnTo>
                  <a:pt x="6" y="324"/>
                </a:lnTo>
                <a:lnTo>
                  <a:pt x="6" y="324"/>
                </a:lnTo>
                <a:lnTo>
                  <a:pt x="6" y="324"/>
                </a:lnTo>
                <a:lnTo>
                  <a:pt x="6" y="324"/>
                </a:lnTo>
                <a:lnTo>
                  <a:pt x="6" y="324"/>
                </a:lnTo>
                <a:lnTo>
                  <a:pt x="6" y="324"/>
                </a:lnTo>
                <a:lnTo>
                  <a:pt x="6" y="324"/>
                </a:lnTo>
                <a:lnTo>
                  <a:pt x="12" y="324"/>
                </a:lnTo>
                <a:lnTo>
                  <a:pt x="12" y="318"/>
                </a:lnTo>
                <a:lnTo>
                  <a:pt x="12" y="318"/>
                </a:lnTo>
                <a:lnTo>
                  <a:pt x="12" y="318"/>
                </a:lnTo>
                <a:lnTo>
                  <a:pt x="12" y="318"/>
                </a:lnTo>
                <a:lnTo>
                  <a:pt x="12" y="318"/>
                </a:lnTo>
                <a:lnTo>
                  <a:pt x="12" y="318"/>
                </a:lnTo>
                <a:lnTo>
                  <a:pt x="12" y="318"/>
                </a:lnTo>
                <a:lnTo>
                  <a:pt x="12" y="318"/>
                </a:lnTo>
                <a:lnTo>
                  <a:pt x="12" y="318"/>
                </a:lnTo>
                <a:lnTo>
                  <a:pt x="12" y="312"/>
                </a:lnTo>
                <a:lnTo>
                  <a:pt x="12" y="312"/>
                </a:lnTo>
                <a:lnTo>
                  <a:pt x="12" y="312"/>
                </a:lnTo>
                <a:lnTo>
                  <a:pt x="12" y="312"/>
                </a:lnTo>
                <a:lnTo>
                  <a:pt x="12" y="312"/>
                </a:lnTo>
                <a:lnTo>
                  <a:pt x="12" y="312"/>
                </a:lnTo>
                <a:lnTo>
                  <a:pt x="12" y="312"/>
                </a:lnTo>
                <a:lnTo>
                  <a:pt x="12" y="312"/>
                </a:lnTo>
                <a:lnTo>
                  <a:pt x="18" y="312"/>
                </a:lnTo>
                <a:lnTo>
                  <a:pt x="18" y="312"/>
                </a:lnTo>
                <a:lnTo>
                  <a:pt x="12" y="312"/>
                </a:lnTo>
                <a:lnTo>
                  <a:pt x="12" y="312"/>
                </a:lnTo>
                <a:lnTo>
                  <a:pt x="12" y="306"/>
                </a:lnTo>
                <a:lnTo>
                  <a:pt x="12" y="306"/>
                </a:lnTo>
                <a:lnTo>
                  <a:pt x="12" y="306"/>
                </a:lnTo>
                <a:lnTo>
                  <a:pt x="18" y="306"/>
                </a:lnTo>
                <a:lnTo>
                  <a:pt x="18" y="306"/>
                </a:lnTo>
                <a:lnTo>
                  <a:pt x="12" y="306"/>
                </a:lnTo>
                <a:lnTo>
                  <a:pt x="18" y="306"/>
                </a:lnTo>
                <a:lnTo>
                  <a:pt x="12" y="306"/>
                </a:lnTo>
                <a:lnTo>
                  <a:pt x="18" y="306"/>
                </a:lnTo>
                <a:lnTo>
                  <a:pt x="18" y="306"/>
                </a:lnTo>
                <a:lnTo>
                  <a:pt x="18" y="300"/>
                </a:lnTo>
                <a:lnTo>
                  <a:pt x="18" y="300"/>
                </a:lnTo>
                <a:lnTo>
                  <a:pt x="18" y="300"/>
                </a:lnTo>
                <a:lnTo>
                  <a:pt x="18" y="300"/>
                </a:lnTo>
                <a:lnTo>
                  <a:pt x="18" y="300"/>
                </a:lnTo>
                <a:lnTo>
                  <a:pt x="18" y="300"/>
                </a:lnTo>
                <a:lnTo>
                  <a:pt x="18" y="300"/>
                </a:lnTo>
                <a:lnTo>
                  <a:pt x="18" y="300"/>
                </a:lnTo>
                <a:lnTo>
                  <a:pt x="18" y="300"/>
                </a:lnTo>
                <a:lnTo>
                  <a:pt x="18" y="300"/>
                </a:lnTo>
                <a:lnTo>
                  <a:pt x="18" y="300"/>
                </a:lnTo>
                <a:lnTo>
                  <a:pt x="18" y="300"/>
                </a:lnTo>
                <a:lnTo>
                  <a:pt x="24" y="300"/>
                </a:lnTo>
                <a:lnTo>
                  <a:pt x="18" y="300"/>
                </a:lnTo>
                <a:lnTo>
                  <a:pt x="18" y="300"/>
                </a:lnTo>
                <a:lnTo>
                  <a:pt x="24" y="294"/>
                </a:lnTo>
                <a:lnTo>
                  <a:pt x="24" y="294"/>
                </a:lnTo>
                <a:lnTo>
                  <a:pt x="24" y="294"/>
                </a:lnTo>
                <a:lnTo>
                  <a:pt x="24" y="300"/>
                </a:lnTo>
                <a:lnTo>
                  <a:pt x="24" y="294"/>
                </a:lnTo>
                <a:lnTo>
                  <a:pt x="24" y="294"/>
                </a:lnTo>
                <a:lnTo>
                  <a:pt x="24" y="294"/>
                </a:lnTo>
                <a:lnTo>
                  <a:pt x="24" y="294"/>
                </a:lnTo>
                <a:lnTo>
                  <a:pt x="24" y="294"/>
                </a:lnTo>
                <a:lnTo>
                  <a:pt x="30" y="294"/>
                </a:lnTo>
                <a:lnTo>
                  <a:pt x="30" y="294"/>
                </a:lnTo>
                <a:lnTo>
                  <a:pt x="30" y="294"/>
                </a:lnTo>
                <a:lnTo>
                  <a:pt x="30" y="294"/>
                </a:lnTo>
                <a:lnTo>
                  <a:pt x="30" y="294"/>
                </a:lnTo>
                <a:lnTo>
                  <a:pt x="30" y="294"/>
                </a:lnTo>
                <a:lnTo>
                  <a:pt x="30" y="294"/>
                </a:lnTo>
                <a:lnTo>
                  <a:pt x="30" y="294"/>
                </a:lnTo>
                <a:lnTo>
                  <a:pt x="30" y="288"/>
                </a:lnTo>
                <a:lnTo>
                  <a:pt x="30" y="288"/>
                </a:lnTo>
                <a:lnTo>
                  <a:pt x="30" y="288"/>
                </a:lnTo>
                <a:lnTo>
                  <a:pt x="30" y="288"/>
                </a:lnTo>
                <a:lnTo>
                  <a:pt x="30" y="288"/>
                </a:lnTo>
                <a:lnTo>
                  <a:pt x="30" y="288"/>
                </a:lnTo>
                <a:lnTo>
                  <a:pt x="36" y="288"/>
                </a:lnTo>
                <a:lnTo>
                  <a:pt x="30" y="282"/>
                </a:lnTo>
                <a:lnTo>
                  <a:pt x="36" y="282"/>
                </a:lnTo>
                <a:lnTo>
                  <a:pt x="36" y="282"/>
                </a:lnTo>
                <a:lnTo>
                  <a:pt x="36" y="282"/>
                </a:lnTo>
                <a:lnTo>
                  <a:pt x="36" y="282"/>
                </a:lnTo>
                <a:lnTo>
                  <a:pt x="36" y="282"/>
                </a:lnTo>
                <a:lnTo>
                  <a:pt x="36" y="282"/>
                </a:lnTo>
                <a:lnTo>
                  <a:pt x="36" y="282"/>
                </a:lnTo>
                <a:lnTo>
                  <a:pt x="42" y="282"/>
                </a:lnTo>
                <a:lnTo>
                  <a:pt x="42" y="282"/>
                </a:lnTo>
                <a:lnTo>
                  <a:pt x="42" y="282"/>
                </a:lnTo>
                <a:lnTo>
                  <a:pt x="36" y="276"/>
                </a:lnTo>
                <a:lnTo>
                  <a:pt x="42" y="276"/>
                </a:lnTo>
                <a:lnTo>
                  <a:pt x="42" y="276"/>
                </a:lnTo>
                <a:lnTo>
                  <a:pt x="36" y="276"/>
                </a:lnTo>
                <a:lnTo>
                  <a:pt x="36" y="276"/>
                </a:lnTo>
                <a:lnTo>
                  <a:pt x="42" y="276"/>
                </a:lnTo>
                <a:lnTo>
                  <a:pt x="42" y="276"/>
                </a:lnTo>
                <a:lnTo>
                  <a:pt x="42" y="276"/>
                </a:lnTo>
                <a:lnTo>
                  <a:pt x="42" y="276"/>
                </a:lnTo>
                <a:lnTo>
                  <a:pt x="42" y="276"/>
                </a:lnTo>
                <a:lnTo>
                  <a:pt x="42" y="270"/>
                </a:lnTo>
                <a:lnTo>
                  <a:pt x="42" y="270"/>
                </a:lnTo>
                <a:lnTo>
                  <a:pt x="42" y="270"/>
                </a:lnTo>
                <a:lnTo>
                  <a:pt x="42" y="270"/>
                </a:lnTo>
                <a:lnTo>
                  <a:pt x="42" y="270"/>
                </a:lnTo>
                <a:lnTo>
                  <a:pt x="42" y="270"/>
                </a:lnTo>
                <a:lnTo>
                  <a:pt x="42" y="270"/>
                </a:lnTo>
                <a:lnTo>
                  <a:pt x="42" y="270"/>
                </a:lnTo>
                <a:lnTo>
                  <a:pt x="42" y="270"/>
                </a:lnTo>
                <a:lnTo>
                  <a:pt x="42" y="264"/>
                </a:lnTo>
                <a:lnTo>
                  <a:pt x="42" y="264"/>
                </a:lnTo>
                <a:lnTo>
                  <a:pt x="42" y="264"/>
                </a:lnTo>
                <a:lnTo>
                  <a:pt x="42" y="270"/>
                </a:lnTo>
                <a:lnTo>
                  <a:pt x="48" y="270"/>
                </a:lnTo>
                <a:lnTo>
                  <a:pt x="48" y="270"/>
                </a:lnTo>
                <a:lnTo>
                  <a:pt x="48" y="264"/>
                </a:lnTo>
                <a:lnTo>
                  <a:pt x="48" y="264"/>
                </a:lnTo>
                <a:lnTo>
                  <a:pt x="48" y="264"/>
                </a:lnTo>
                <a:lnTo>
                  <a:pt x="48" y="264"/>
                </a:lnTo>
                <a:lnTo>
                  <a:pt x="48" y="258"/>
                </a:lnTo>
                <a:lnTo>
                  <a:pt x="48" y="258"/>
                </a:lnTo>
                <a:lnTo>
                  <a:pt x="48" y="258"/>
                </a:lnTo>
                <a:lnTo>
                  <a:pt x="48" y="258"/>
                </a:lnTo>
                <a:lnTo>
                  <a:pt x="48" y="252"/>
                </a:lnTo>
                <a:lnTo>
                  <a:pt x="54" y="252"/>
                </a:lnTo>
                <a:lnTo>
                  <a:pt x="48" y="252"/>
                </a:lnTo>
                <a:lnTo>
                  <a:pt x="48" y="252"/>
                </a:lnTo>
                <a:lnTo>
                  <a:pt x="48" y="252"/>
                </a:lnTo>
                <a:lnTo>
                  <a:pt x="54" y="252"/>
                </a:lnTo>
                <a:lnTo>
                  <a:pt x="54" y="252"/>
                </a:lnTo>
                <a:lnTo>
                  <a:pt x="54" y="252"/>
                </a:lnTo>
                <a:lnTo>
                  <a:pt x="54" y="252"/>
                </a:lnTo>
                <a:lnTo>
                  <a:pt x="54" y="246"/>
                </a:lnTo>
                <a:lnTo>
                  <a:pt x="54" y="246"/>
                </a:lnTo>
                <a:lnTo>
                  <a:pt x="54" y="246"/>
                </a:lnTo>
                <a:lnTo>
                  <a:pt x="54" y="246"/>
                </a:lnTo>
                <a:lnTo>
                  <a:pt x="54" y="246"/>
                </a:lnTo>
                <a:lnTo>
                  <a:pt x="48" y="246"/>
                </a:lnTo>
                <a:lnTo>
                  <a:pt x="54" y="246"/>
                </a:lnTo>
                <a:lnTo>
                  <a:pt x="54" y="246"/>
                </a:lnTo>
                <a:lnTo>
                  <a:pt x="54" y="240"/>
                </a:lnTo>
                <a:lnTo>
                  <a:pt x="54" y="240"/>
                </a:lnTo>
                <a:lnTo>
                  <a:pt x="54" y="240"/>
                </a:lnTo>
                <a:lnTo>
                  <a:pt x="54" y="240"/>
                </a:lnTo>
                <a:lnTo>
                  <a:pt x="48" y="240"/>
                </a:lnTo>
                <a:lnTo>
                  <a:pt x="48" y="240"/>
                </a:lnTo>
                <a:lnTo>
                  <a:pt x="48" y="234"/>
                </a:lnTo>
                <a:lnTo>
                  <a:pt x="54" y="234"/>
                </a:lnTo>
                <a:lnTo>
                  <a:pt x="54" y="234"/>
                </a:lnTo>
                <a:lnTo>
                  <a:pt x="54" y="240"/>
                </a:lnTo>
                <a:lnTo>
                  <a:pt x="54" y="234"/>
                </a:lnTo>
                <a:lnTo>
                  <a:pt x="54" y="234"/>
                </a:lnTo>
                <a:lnTo>
                  <a:pt x="54" y="234"/>
                </a:lnTo>
                <a:lnTo>
                  <a:pt x="54" y="234"/>
                </a:lnTo>
                <a:lnTo>
                  <a:pt x="54" y="234"/>
                </a:lnTo>
                <a:lnTo>
                  <a:pt x="54" y="234"/>
                </a:lnTo>
                <a:lnTo>
                  <a:pt x="54" y="234"/>
                </a:lnTo>
                <a:lnTo>
                  <a:pt x="54" y="234"/>
                </a:lnTo>
                <a:lnTo>
                  <a:pt x="54" y="234"/>
                </a:lnTo>
                <a:lnTo>
                  <a:pt x="60" y="234"/>
                </a:lnTo>
                <a:lnTo>
                  <a:pt x="60" y="234"/>
                </a:lnTo>
                <a:lnTo>
                  <a:pt x="60" y="234"/>
                </a:lnTo>
                <a:lnTo>
                  <a:pt x="60" y="234"/>
                </a:lnTo>
                <a:lnTo>
                  <a:pt x="60" y="228"/>
                </a:lnTo>
                <a:lnTo>
                  <a:pt x="60" y="228"/>
                </a:lnTo>
                <a:lnTo>
                  <a:pt x="60" y="228"/>
                </a:lnTo>
                <a:lnTo>
                  <a:pt x="60" y="234"/>
                </a:lnTo>
                <a:lnTo>
                  <a:pt x="60" y="234"/>
                </a:lnTo>
                <a:lnTo>
                  <a:pt x="66" y="234"/>
                </a:lnTo>
                <a:lnTo>
                  <a:pt x="60" y="228"/>
                </a:lnTo>
                <a:lnTo>
                  <a:pt x="60" y="228"/>
                </a:lnTo>
                <a:lnTo>
                  <a:pt x="60" y="228"/>
                </a:lnTo>
                <a:lnTo>
                  <a:pt x="60" y="228"/>
                </a:lnTo>
                <a:lnTo>
                  <a:pt x="60" y="228"/>
                </a:lnTo>
                <a:lnTo>
                  <a:pt x="60" y="228"/>
                </a:lnTo>
                <a:lnTo>
                  <a:pt x="60" y="228"/>
                </a:lnTo>
                <a:lnTo>
                  <a:pt x="60" y="228"/>
                </a:lnTo>
                <a:lnTo>
                  <a:pt x="60" y="228"/>
                </a:lnTo>
                <a:lnTo>
                  <a:pt x="60" y="228"/>
                </a:lnTo>
                <a:lnTo>
                  <a:pt x="60" y="228"/>
                </a:lnTo>
                <a:lnTo>
                  <a:pt x="60" y="222"/>
                </a:lnTo>
                <a:lnTo>
                  <a:pt x="60" y="222"/>
                </a:lnTo>
                <a:lnTo>
                  <a:pt x="60" y="228"/>
                </a:lnTo>
                <a:lnTo>
                  <a:pt x="60" y="228"/>
                </a:lnTo>
                <a:lnTo>
                  <a:pt x="54" y="228"/>
                </a:lnTo>
                <a:lnTo>
                  <a:pt x="54" y="228"/>
                </a:lnTo>
                <a:lnTo>
                  <a:pt x="54" y="222"/>
                </a:lnTo>
                <a:lnTo>
                  <a:pt x="54" y="222"/>
                </a:lnTo>
                <a:lnTo>
                  <a:pt x="54" y="222"/>
                </a:lnTo>
                <a:lnTo>
                  <a:pt x="54" y="222"/>
                </a:lnTo>
                <a:lnTo>
                  <a:pt x="54" y="222"/>
                </a:lnTo>
                <a:lnTo>
                  <a:pt x="54" y="222"/>
                </a:lnTo>
                <a:lnTo>
                  <a:pt x="54" y="216"/>
                </a:lnTo>
                <a:lnTo>
                  <a:pt x="54" y="216"/>
                </a:lnTo>
                <a:lnTo>
                  <a:pt x="54" y="216"/>
                </a:lnTo>
                <a:lnTo>
                  <a:pt x="54" y="216"/>
                </a:lnTo>
                <a:lnTo>
                  <a:pt x="48" y="216"/>
                </a:lnTo>
                <a:lnTo>
                  <a:pt x="54" y="216"/>
                </a:lnTo>
                <a:lnTo>
                  <a:pt x="48" y="216"/>
                </a:lnTo>
                <a:lnTo>
                  <a:pt x="54" y="210"/>
                </a:lnTo>
                <a:lnTo>
                  <a:pt x="54" y="210"/>
                </a:lnTo>
                <a:lnTo>
                  <a:pt x="54" y="210"/>
                </a:lnTo>
                <a:lnTo>
                  <a:pt x="54" y="210"/>
                </a:lnTo>
                <a:lnTo>
                  <a:pt x="54" y="210"/>
                </a:lnTo>
                <a:lnTo>
                  <a:pt x="54" y="210"/>
                </a:lnTo>
                <a:lnTo>
                  <a:pt x="54" y="210"/>
                </a:lnTo>
                <a:lnTo>
                  <a:pt x="60" y="210"/>
                </a:lnTo>
                <a:lnTo>
                  <a:pt x="60" y="210"/>
                </a:lnTo>
                <a:lnTo>
                  <a:pt x="60" y="204"/>
                </a:lnTo>
                <a:lnTo>
                  <a:pt x="60" y="204"/>
                </a:lnTo>
                <a:lnTo>
                  <a:pt x="60" y="204"/>
                </a:lnTo>
                <a:lnTo>
                  <a:pt x="60" y="210"/>
                </a:lnTo>
                <a:lnTo>
                  <a:pt x="60" y="210"/>
                </a:lnTo>
                <a:lnTo>
                  <a:pt x="60" y="204"/>
                </a:lnTo>
                <a:lnTo>
                  <a:pt x="66" y="204"/>
                </a:lnTo>
                <a:lnTo>
                  <a:pt x="66" y="204"/>
                </a:lnTo>
                <a:lnTo>
                  <a:pt x="66" y="204"/>
                </a:lnTo>
                <a:lnTo>
                  <a:pt x="66" y="204"/>
                </a:lnTo>
                <a:lnTo>
                  <a:pt x="72" y="204"/>
                </a:lnTo>
                <a:lnTo>
                  <a:pt x="72" y="198"/>
                </a:lnTo>
                <a:lnTo>
                  <a:pt x="72" y="198"/>
                </a:lnTo>
                <a:lnTo>
                  <a:pt x="72" y="198"/>
                </a:lnTo>
                <a:lnTo>
                  <a:pt x="72" y="198"/>
                </a:lnTo>
                <a:lnTo>
                  <a:pt x="72" y="198"/>
                </a:lnTo>
                <a:lnTo>
                  <a:pt x="72" y="192"/>
                </a:lnTo>
                <a:lnTo>
                  <a:pt x="72" y="192"/>
                </a:lnTo>
                <a:lnTo>
                  <a:pt x="72" y="192"/>
                </a:lnTo>
                <a:lnTo>
                  <a:pt x="78" y="192"/>
                </a:lnTo>
                <a:lnTo>
                  <a:pt x="78" y="192"/>
                </a:lnTo>
                <a:lnTo>
                  <a:pt x="78" y="192"/>
                </a:lnTo>
                <a:lnTo>
                  <a:pt x="84" y="192"/>
                </a:lnTo>
                <a:lnTo>
                  <a:pt x="84" y="192"/>
                </a:lnTo>
                <a:lnTo>
                  <a:pt x="84" y="192"/>
                </a:lnTo>
                <a:lnTo>
                  <a:pt x="84" y="186"/>
                </a:lnTo>
                <a:lnTo>
                  <a:pt x="84" y="186"/>
                </a:lnTo>
                <a:lnTo>
                  <a:pt x="84" y="186"/>
                </a:lnTo>
                <a:lnTo>
                  <a:pt x="84" y="186"/>
                </a:lnTo>
                <a:lnTo>
                  <a:pt x="84" y="186"/>
                </a:lnTo>
                <a:lnTo>
                  <a:pt x="84" y="180"/>
                </a:lnTo>
                <a:lnTo>
                  <a:pt x="84" y="180"/>
                </a:lnTo>
                <a:lnTo>
                  <a:pt x="78" y="180"/>
                </a:lnTo>
                <a:lnTo>
                  <a:pt x="84" y="180"/>
                </a:lnTo>
                <a:lnTo>
                  <a:pt x="78" y="174"/>
                </a:lnTo>
                <a:lnTo>
                  <a:pt x="84" y="174"/>
                </a:lnTo>
                <a:lnTo>
                  <a:pt x="84" y="174"/>
                </a:lnTo>
                <a:lnTo>
                  <a:pt x="84" y="168"/>
                </a:lnTo>
                <a:lnTo>
                  <a:pt x="84" y="168"/>
                </a:lnTo>
                <a:lnTo>
                  <a:pt x="84" y="168"/>
                </a:lnTo>
                <a:lnTo>
                  <a:pt x="84" y="168"/>
                </a:lnTo>
                <a:lnTo>
                  <a:pt x="78" y="174"/>
                </a:lnTo>
                <a:lnTo>
                  <a:pt x="78" y="174"/>
                </a:lnTo>
                <a:lnTo>
                  <a:pt x="78" y="168"/>
                </a:lnTo>
                <a:lnTo>
                  <a:pt x="78" y="168"/>
                </a:lnTo>
                <a:lnTo>
                  <a:pt x="78" y="168"/>
                </a:lnTo>
                <a:lnTo>
                  <a:pt x="78" y="168"/>
                </a:lnTo>
                <a:lnTo>
                  <a:pt x="84" y="168"/>
                </a:lnTo>
                <a:lnTo>
                  <a:pt x="84" y="162"/>
                </a:lnTo>
                <a:lnTo>
                  <a:pt x="84" y="162"/>
                </a:lnTo>
                <a:lnTo>
                  <a:pt x="84" y="162"/>
                </a:lnTo>
                <a:lnTo>
                  <a:pt x="84" y="156"/>
                </a:lnTo>
                <a:lnTo>
                  <a:pt x="84" y="156"/>
                </a:lnTo>
                <a:lnTo>
                  <a:pt x="84" y="156"/>
                </a:lnTo>
                <a:lnTo>
                  <a:pt x="84" y="150"/>
                </a:lnTo>
                <a:lnTo>
                  <a:pt x="84" y="156"/>
                </a:lnTo>
                <a:lnTo>
                  <a:pt x="90" y="156"/>
                </a:lnTo>
                <a:lnTo>
                  <a:pt x="90" y="156"/>
                </a:lnTo>
                <a:lnTo>
                  <a:pt x="90" y="150"/>
                </a:lnTo>
                <a:lnTo>
                  <a:pt x="90" y="150"/>
                </a:lnTo>
                <a:lnTo>
                  <a:pt x="96" y="150"/>
                </a:lnTo>
                <a:lnTo>
                  <a:pt x="96" y="150"/>
                </a:lnTo>
                <a:lnTo>
                  <a:pt x="96" y="144"/>
                </a:lnTo>
                <a:lnTo>
                  <a:pt x="96" y="144"/>
                </a:lnTo>
                <a:lnTo>
                  <a:pt x="102" y="144"/>
                </a:lnTo>
                <a:lnTo>
                  <a:pt x="102" y="144"/>
                </a:lnTo>
                <a:lnTo>
                  <a:pt x="102" y="144"/>
                </a:lnTo>
                <a:lnTo>
                  <a:pt x="102" y="138"/>
                </a:lnTo>
                <a:lnTo>
                  <a:pt x="102" y="138"/>
                </a:lnTo>
                <a:lnTo>
                  <a:pt x="102" y="138"/>
                </a:lnTo>
                <a:lnTo>
                  <a:pt x="102" y="132"/>
                </a:lnTo>
                <a:lnTo>
                  <a:pt x="102" y="132"/>
                </a:lnTo>
                <a:lnTo>
                  <a:pt x="102" y="132"/>
                </a:lnTo>
                <a:lnTo>
                  <a:pt x="102" y="126"/>
                </a:lnTo>
                <a:lnTo>
                  <a:pt x="102" y="126"/>
                </a:lnTo>
                <a:lnTo>
                  <a:pt x="108" y="126"/>
                </a:lnTo>
                <a:lnTo>
                  <a:pt x="108" y="120"/>
                </a:lnTo>
                <a:lnTo>
                  <a:pt x="108" y="120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08"/>
                </a:lnTo>
                <a:lnTo>
                  <a:pt x="108" y="102"/>
                </a:lnTo>
                <a:lnTo>
                  <a:pt x="108" y="96"/>
                </a:lnTo>
                <a:lnTo>
                  <a:pt x="108" y="96"/>
                </a:lnTo>
                <a:lnTo>
                  <a:pt x="108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102" y="96"/>
                </a:lnTo>
                <a:lnTo>
                  <a:pt x="96" y="96"/>
                </a:lnTo>
                <a:lnTo>
                  <a:pt x="96" y="96"/>
                </a:lnTo>
                <a:lnTo>
                  <a:pt x="96" y="96"/>
                </a:lnTo>
                <a:lnTo>
                  <a:pt x="96" y="90"/>
                </a:lnTo>
                <a:lnTo>
                  <a:pt x="96" y="90"/>
                </a:lnTo>
                <a:lnTo>
                  <a:pt x="96" y="90"/>
                </a:lnTo>
                <a:lnTo>
                  <a:pt x="96" y="84"/>
                </a:lnTo>
                <a:lnTo>
                  <a:pt x="102" y="84"/>
                </a:lnTo>
                <a:lnTo>
                  <a:pt x="102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08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14" y="84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8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72"/>
                </a:lnTo>
                <a:lnTo>
                  <a:pt x="120" y="66"/>
                </a:lnTo>
                <a:lnTo>
                  <a:pt x="120" y="66"/>
                </a:lnTo>
                <a:lnTo>
                  <a:pt x="120" y="60"/>
                </a:lnTo>
                <a:lnTo>
                  <a:pt x="120" y="60"/>
                </a:lnTo>
                <a:lnTo>
                  <a:pt x="114" y="54"/>
                </a:lnTo>
                <a:lnTo>
                  <a:pt x="114" y="54"/>
                </a:lnTo>
                <a:lnTo>
                  <a:pt x="114" y="54"/>
                </a:lnTo>
                <a:lnTo>
                  <a:pt x="120" y="48"/>
                </a:lnTo>
                <a:lnTo>
                  <a:pt x="120" y="48"/>
                </a:lnTo>
                <a:lnTo>
                  <a:pt x="120" y="48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0" y="42"/>
                </a:lnTo>
                <a:lnTo>
                  <a:pt x="126" y="36"/>
                </a:lnTo>
                <a:lnTo>
                  <a:pt x="126" y="36"/>
                </a:lnTo>
                <a:lnTo>
                  <a:pt x="126" y="36"/>
                </a:lnTo>
                <a:lnTo>
                  <a:pt x="120" y="36"/>
                </a:lnTo>
                <a:lnTo>
                  <a:pt x="120" y="36"/>
                </a:lnTo>
                <a:lnTo>
                  <a:pt x="120" y="30"/>
                </a:lnTo>
                <a:lnTo>
                  <a:pt x="120" y="30"/>
                </a:lnTo>
                <a:lnTo>
                  <a:pt x="114" y="30"/>
                </a:lnTo>
                <a:lnTo>
                  <a:pt x="120" y="24"/>
                </a:lnTo>
                <a:lnTo>
                  <a:pt x="120" y="24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8"/>
                </a:lnTo>
                <a:lnTo>
                  <a:pt x="126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6"/>
                </a:lnTo>
                <a:lnTo>
                  <a:pt x="132" y="6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6"/>
                </a:lnTo>
                <a:lnTo>
                  <a:pt x="132" y="6"/>
                </a:lnTo>
                <a:lnTo>
                  <a:pt x="132" y="6"/>
                </a:lnTo>
                <a:lnTo>
                  <a:pt x="138" y="0"/>
                </a:lnTo>
                <a:lnTo>
                  <a:pt x="138" y="0"/>
                </a:lnTo>
                <a:lnTo>
                  <a:pt x="138" y="6"/>
                </a:lnTo>
                <a:lnTo>
                  <a:pt x="138" y="0"/>
                </a:lnTo>
                <a:lnTo>
                  <a:pt x="138" y="0"/>
                </a:lnTo>
                <a:lnTo>
                  <a:pt x="138" y="0"/>
                </a:lnTo>
                <a:lnTo>
                  <a:pt x="138" y="0"/>
                </a:lnTo>
                <a:lnTo>
                  <a:pt x="138" y="0"/>
                </a:lnTo>
                <a:lnTo>
                  <a:pt x="138" y="0"/>
                </a:lnTo>
                <a:lnTo>
                  <a:pt x="138" y="6"/>
                </a:lnTo>
                <a:lnTo>
                  <a:pt x="138" y="0"/>
                </a:lnTo>
                <a:lnTo>
                  <a:pt x="138" y="0"/>
                </a:lnTo>
                <a:lnTo>
                  <a:pt x="138" y="0"/>
                </a:lnTo>
                <a:lnTo>
                  <a:pt x="138" y="0"/>
                </a:lnTo>
                <a:lnTo>
                  <a:pt x="144" y="0"/>
                </a:lnTo>
                <a:lnTo>
                  <a:pt x="144" y="0"/>
                </a:lnTo>
                <a:lnTo>
                  <a:pt x="144" y="0"/>
                </a:lnTo>
                <a:lnTo>
                  <a:pt x="138" y="0"/>
                </a:lnTo>
                <a:lnTo>
                  <a:pt x="144" y="0"/>
                </a:lnTo>
                <a:lnTo>
                  <a:pt x="144" y="0"/>
                </a:lnTo>
                <a:lnTo>
                  <a:pt x="144" y="0"/>
                </a:lnTo>
                <a:lnTo>
                  <a:pt x="144" y="0"/>
                </a:lnTo>
                <a:lnTo>
                  <a:pt x="144" y="0"/>
                </a:lnTo>
                <a:lnTo>
                  <a:pt x="144" y="6"/>
                </a:lnTo>
                <a:lnTo>
                  <a:pt x="144" y="0"/>
                </a:lnTo>
                <a:lnTo>
                  <a:pt x="138" y="6"/>
                </a:lnTo>
                <a:lnTo>
                  <a:pt x="138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38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6"/>
                </a:lnTo>
                <a:lnTo>
                  <a:pt x="144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2"/>
                </a:lnTo>
                <a:lnTo>
                  <a:pt x="144" y="12"/>
                </a:lnTo>
                <a:lnTo>
                  <a:pt x="138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2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50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6"/>
                </a:lnTo>
                <a:lnTo>
                  <a:pt x="150" y="6"/>
                </a:lnTo>
                <a:lnTo>
                  <a:pt x="150" y="6"/>
                </a:lnTo>
                <a:lnTo>
                  <a:pt x="156" y="6"/>
                </a:lnTo>
                <a:lnTo>
                  <a:pt x="156" y="6"/>
                </a:lnTo>
                <a:lnTo>
                  <a:pt x="150" y="6"/>
                </a:lnTo>
                <a:lnTo>
                  <a:pt x="150" y="6"/>
                </a:lnTo>
                <a:lnTo>
                  <a:pt x="156" y="0"/>
                </a:lnTo>
                <a:lnTo>
                  <a:pt x="156" y="0"/>
                </a:lnTo>
                <a:lnTo>
                  <a:pt x="156" y="0"/>
                </a:lnTo>
                <a:lnTo>
                  <a:pt x="156" y="0"/>
                </a:lnTo>
                <a:lnTo>
                  <a:pt x="156" y="0"/>
                </a:lnTo>
                <a:lnTo>
                  <a:pt x="156" y="0"/>
                </a:lnTo>
                <a:lnTo>
                  <a:pt x="156" y="0"/>
                </a:lnTo>
                <a:lnTo>
                  <a:pt x="156" y="0"/>
                </a:lnTo>
                <a:lnTo>
                  <a:pt x="156" y="0"/>
                </a:lnTo>
                <a:lnTo>
                  <a:pt x="156" y="0"/>
                </a:lnTo>
                <a:lnTo>
                  <a:pt x="156" y="0"/>
                </a:lnTo>
                <a:lnTo>
                  <a:pt x="156" y="0"/>
                </a:lnTo>
                <a:lnTo>
                  <a:pt x="156" y="0"/>
                </a:lnTo>
                <a:lnTo>
                  <a:pt x="162" y="0"/>
                </a:lnTo>
                <a:lnTo>
                  <a:pt x="162" y="6"/>
                </a:lnTo>
                <a:lnTo>
                  <a:pt x="162" y="6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56" y="6"/>
                </a:lnTo>
                <a:lnTo>
                  <a:pt x="156" y="12"/>
                </a:lnTo>
                <a:lnTo>
                  <a:pt x="156" y="12"/>
                </a:lnTo>
                <a:lnTo>
                  <a:pt x="150" y="12"/>
                </a:lnTo>
                <a:lnTo>
                  <a:pt x="150" y="12"/>
                </a:lnTo>
                <a:lnTo>
                  <a:pt x="150" y="18"/>
                </a:lnTo>
                <a:lnTo>
                  <a:pt x="150" y="12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8"/>
                </a:lnTo>
                <a:lnTo>
                  <a:pt x="150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8"/>
                </a:lnTo>
                <a:lnTo>
                  <a:pt x="150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2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0" y="18"/>
                </a:lnTo>
                <a:lnTo>
                  <a:pt x="150" y="24"/>
                </a:lnTo>
                <a:lnTo>
                  <a:pt x="150" y="18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0" y="24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18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18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24"/>
                </a:lnTo>
                <a:lnTo>
                  <a:pt x="156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30"/>
                </a:lnTo>
                <a:lnTo>
                  <a:pt x="156" y="24"/>
                </a:lnTo>
                <a:lnTo>
                  <a:pt x="162" y="24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24"/>
                </a:lnTo>
                <a:lnTo>
                  <a:pt x="162" y="24"/>
                </a:lnTo>
                <a:lnTo>
                  <a:pt x="162" y="18"/>
                </a:lnTo>
                <a:lnTo>
                  <a:pt x="162" y="18"/>
                </a:lnTo>
                <a:lnTo>
                  <a:pt x="162" y="12"/>
                </a:lnTo>
                <a:lnTo>
                  <a:pt x="162" y="12"/>
                </a:lnTo>
                <a:lnTo>
                  <a:pt x="168" y="12"/>
                </a:lnTo>
                <a:lnTo>
                  <a:pt x="162" y="12"/>
                </a:lnTo>
                <a:lnTo>
                  <a:pt x="168" y="12"/>
                </a:lnTo>
                <a:lnTo>
                  <a:pt x="168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18"/>
                </a:lnTo>
                <a:lnTo>
                  <a:pt x="162" y="24"/>
                </a:lnTo>
                <a:lnTo>
                  <a:pt x="162" y="24"/>
                </a:lnTo>
                <a:lnTo>
                  <a:pt x="156" y="30"/>
                </a:lnTo>
                <a:lnTo>
                  <a:pt x="162" y="30"/>
                </a:lnTo>
                <a:lnTo>
                  <a:pt x="162" y="30"/>
                </a:lnTo>
                <a:lnTo>
                  <a:pt x="162" y="30"/>
                </a:lnTo>
                <a:lnTo>
                  <a:pt x="162" y="30"/>
                </a:lnTo>
                <a:lnTo>
                  <a:pt x="162" y="36"/>
                </a:lnTo>
                <a:lnTo>
                  <a:pt x="162" y="30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6"/>
                </a:lnTo>
                <a:lnTo>
                  <a:pt x="162" y="30"/>
                </a:lnTo>
                <a:lnTo>
                  <a:pt x="162" y="30"/>
                </a:lnTo>
                <a:lnTo>
                  <a:pt x="162" y="30"/>
                </a:lnTo>
                <a:lnTo>
                  <a:pt x="162" y="30"/>
                </a:lnTo>
                <a:lnTo>
                  <a:pt x="162" y="30"/>
                </a:lnTo>
                <a:lnTo>
                  <a:pt x="162" y="30"/>
                </a:lnTo>
                <a:lnTo>
                  <a:pt x="162" y="30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2" y="24"/>
                </a:lnTo>
                <a:lnTo>
                  <a:pt x="168" y="24"/>
                </a:lnTo>
                <a:lnTo>
                  <a:pt x="168" y="24"/>
                </a:lnTo>
                <a:lnTo>
                  <a:pt x="162" y="30"/>
                </a:lnTo>
                <a:lnTo>
                  <a:pt x="162" y="30"/>
                </a:lnTo>
                <a:lnTo>
                  <a:pt x="162" y="30"/>
                </a:lnTo>
                <a:lnTo>
                  <a:pt x="162" y="30"/>
                </a:lnTo>
                <a:lnTo>
                  <a:pt x="162" y="30"/>
                </a:lnTo>
                <a:lnTo>
                  <a:pt x="168" y="24"/>
                </a:lnTo>
                <a:lnTo>
                  <a:pt x="168" y="30"/>
                </a:lnTo>
                <a:lnTo>
                  <a:pt x="168" y="30"/>
                </a:lnTo>
                <a:lnTo>
                  <a:pt x="168" y="24"/>
                </a:lnTo>
                <a:lnTo>
                  <a:pt x="168" y="24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74" y="12"/>
                </a:lnTo>
                <a:lnTo>
                  <a:pt x="174" y="6"/>
                </a:lnTo>
                <a:lnTo>
                  <a:pt x="180" y="6"/>
                </a:lnTo>
                <a:lnTo>
                  <a:pt x="180" y="12"/>
                </a:lnTo>
                <a:lnTo>
                  <a:pt x="180" y="12"/>
                </a:lnTo>
                <a:lnTo>
                  <a:pt x="180" y="12"/>
                </a:lnTo>
                <a:lnTo>
                  <a:pt x="180" y="12"/>
                </a:lnTo>
                <a:lnTo>
                  <a:pt x="180" y="12"/>
                </a:lnTo>
                <a:lnTo>
                  <a:pt x="180" y="12"/>
                </a:lnTo>
                <a:lnTo>
                  <a:pt x="180" y="12"/>
                </a:lnTo>
                <a:lnTo>
                  <a:pt x="180" y="12"/>
                </a:lnTo>
                <a:lnTo>
                  <a:pt x="180" y="12"/>
                </a:lnTo>
                <a:lnTo>
                  <a:pt x="174" y="18"/>
                </a:lnTo>
                <a:lnTo>
                  <a:pt x="174" y="18"/>
                </a:lnTo>
                <a:lnTo>
                  <a:pt x="174" y="18"/>
                </a:lnTo>
                <a:lnTo>
                  <a:pt x="174" y="18"/>
                </a:lnTo>
                <a:lnTo>
                  <a:pt x="174" y="18"/>
                </a:lnTo>
                <a:lnTo>
                  <a:pt x="174" y="18"/>
                </a:lnTo>
                <a:lnTo>
                  <a:pt x="174" y="18"/>
                </a:lnTo>
                <a:lnTo>
                  <a:pt x="174" y="18"/>
                </a:lnTo>
                <a:lnTo>
                  <a:pt x="174" y="24"/>
                </a:lnTo>
                <a:lnTo>
                  <a:pt x="174" y="24"/>
                </a:lnTo>
                <a:lnTo>
                  <a:pt x="174" y="24"/>
                </a:lnTo>
                <a:lnTo>
                  <a:pt x="174" y="24"/>
                </a:lnTo>
                <a:lnTo>
                  <a:pt x="174" y="24"/>
                </a:lnTo>
                <a:lnTo>
                  <a:pt x="174" y="24"/>
                </a:lnTo>
                <a:lnTo>
                  <a:pt x="174" y="24"/>
                </a:lnTo>
                <a:lnTo>
                  <a:pt x="174" y="24"/>
                </a:lnTo>
                <a:lnTo>
                  <a:pt x="180" y="24"/>
                </a:lnTo>
                <a:lnTo>
                  <a:pt x="180" y="30"/>
                </a:lnTo>
                <a:lnTo>
                  <a:pt x="174" y="30"/>
                </a:lnTo>
                <a:lnTo>
                  <a:pt x="180" y="30"/>
                </a:lnTo>
                <a:lnTo>
                  <a:pt x="174" y="30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30"/>
                </a:lnTo>
                <a:lnTo>
                  <a:pt x="174" y="30"/>
                </a:lnTo>
                <a:lnTo>
                  <a:pt x="180" y="30"/>
                </a:ln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lnTo>
                  <a:pt x="174" y="36"/>
                </a:lnTo>
                <a:lnTo>
                  <a:pt x="174" y="36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68" y="42"/>
                </a:lnTo>
                <a:lnTo>
                  <a:pt x="174" y="42"/>
                </a:lnTo>
                <a:lnTo>
                  <a:pt x="168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80" y="36"/>
                </a:lnTo>
                <a:lnTo>
                  <a:pt x="174" y="42"/>
                </a:lnTo>
                <a:lnTo>
                  <a:pt x="174" y="42"/>
                </a:lnTo>
                <a:lnTo>
                  <a:pt x="174" y="48"/>
                </a:lnTo>
                <a:lnTo>
                  <a:pt x="174" y="42"/>
                </a:lnTo>
                <a:lnTo>
                  <a:pt x="174" y="42"/>
                </a:lnTo>
                <a:lnTo>
                  <a:pt x="180" y="42"/>
                </a:lnTo>
                <a:lnTo>
                  <a:pt x="180" y="42"/>
                </a:lnTo>
                <a:lnTo>
                  <a:pt x="180" y="42"/>
                </a:lnTo>
                <a:lnTo>
                  <a:pt x="180" y="42"/>
                </a:lnTo>
                <a:lnTo>
                  <a:pt x="180" y="42"/>
                </a:lnTo>
                <a:lnTo>
                  <a:pt x="180" y="42"/>
                </a:lnTo>
                <a:lnTo>
                  <a:pt x="180" y="42"/>
                </a:lnTo>
                <a:lnTo>
                  <a:pt x="180" y="42"/>
                </a:lnTo>
                <a:lnTo>
                  <a:pt x="180" y="42"/>
                </a:lnTo>
                <a:lnTo>
                  <a:pt x="186" y="42"/>
                </a:lnTo>
                <a:lnTo>
                  <a:pt x="186" y="42"/>
                </a:lnTo>
                <a:lnTo>
                  <a:pt x="186" y="36"/>
                </a:lnTo>
                <a:lnTo>
                  <a:pt x="186" y="36"/>
                </a:lnTo>
                <a:lnTo>
                  <a:pt x="186" y="36"/>
                </a:lnTo>
                <a:lnTo>
                  <a:pt x="186" y="36"/>
                </a:lnTo>
                <a:lnTo>
                  <a:pt x="186" y="30"/>
                </a:lnTo>
                <a:lnTo>
                  <a:pt x="186" y="30"/>
                </a:lnTo>
                <a:lnTo>
                  <a:pt x="192" y="30"/>
                </a:lnTo>
                <a:lnTo>
                  <a:pt x="192" y="24"/>
                </a:lnTo>
                <a:lnTo>
                  <a:pt x="192" y="30"/>
                </a:lnTo>
                <a:lnTo>
                  <a:pt x="192" y="24"/>
                </a:lnTo>
                <a:lnTo>
                  <a:pt x="192" y="24"/>
                </a:lnTo>
                <a:lnTo>
                  <a:pt x="192" y="24"/>
                </a:lnTo>
                <a:lnTo>
                  <a:pt x="192" y="30"/>
                </a:lnTo>
                <a:lnTo>
                  <a:pt x="192" y="30"/>
                </a:lnTo>
                <a:lnTo>
                  <a:pt x="192" y="30"/>
                </a:lnTo>
                <a:lnTo>
                  <a:pt x="192" y="30"/>
                </a:lnTo>
                <a:lnTo>
                  <a:pt x="192" y="30"/>
                </a:lnTo>
                <a:lnTo>
                  <a:pt x="192" y="30"/>
                </a:lnTo>
                <a:lnTo>
                  <a:pt x="192" y="30"/>
                </a:lnTo>
                <a:lnTo>
                  <a:pt x="192" y="30"/>
                </a:lnTo>
                <a:lnTo>
                  <a:pt x="192" y="30"/>
                </a:lnTo>
                <a:lnTo>
                  <a:pt x="192" y="36"/>
                </a:lnTo>
                <a:lnTo>
                  <a:pt x="192" y="36"/>
                </a:lnTo>
                <a:lnTo>
                  <a:pt x="192" y="36"/>
                </a:lnTo>
                <a:lnTo>
                  <a:pt x="192" y="36"/>
                </a:lnTo>
                <a:lnTo>
                  <a:pt x="192" y="36"/>
                </a:lnTo>
                <a:lnTo>
                  <a:pt x="192" y="36"/>
                </a:lnTo>
                <a:lnTo>
                  <a:pt x="192" y="36"/>
                </a:lnTo>
                <a:lnTo>
                  <a:pt x="192" y="36"/>
                </a:lnTo>
                <a:lnTo>
                  <a:pt x="192" y="36"/>
                </a:lnTo>
                <a:lnTo>
                  <a:pt x="192" y="36"/>
                </a:lnTo>
                <a:lnTo>
                  <a:pt x="192" y="36"/>
                </a:lnTo>
                <a:lnTo>
                  <a:pt x="192" y="36"/>
                </a:lnTo>
                <a:lnTo>
                  <a:pt x="192" y="36"/>
                </a:lnTo>
                <a:lnTo>
                  <a:pt x="192" y="36"/>
                </a:lnTo>
                <a:lnTo>
                  <a:pt x="192" y="36"/>
                </a:lnTo>
                <a:lnTo>
                  <a:pt x="192" y="36"/>
                </a:lnTo>
                <a:lnTo>
                  <a:pt x="192" y="30"/>
                </a:lnTo>
                <a:lnTo>
                  <a:pt x="192" y="30"/>
                </a:lnTo>
                <a:lnTo>
                  <a:pt x="192" y="30"/>
                </a:lnTo>
                <a:lnTo>
                  <a:pt x="198" y="30"/>
                </a:lnTo>
                <a:lnTo>
                  <a:pt x="198" y="30"/>
                </a:lnTo>
                <a:lnTo>
                  <a:pt x="198" y="30"/>
                </a:lnTo>
                <a:lnTo>
                  <a:pt x="198" y="30"/>
                </a:lnTo>
                <a:lnTo>
                  <a:pt x="198" y="36"/>
                </a:lnTo>
                <a:lnTo>
                  <a:pt x="192" y="36"/>
                </a:lnTo>
                <a:lnTo>
                  <a:pt x="192" y="36"/>
                </a:lnTo>
                <a:lnTo>
                  <a:pt x="192" y="36"/>
                </a:lnTo>
                <a:lnTo>
                  <a:pt x="192" y="36"/>
                </a:lnTo>
                <a:lnTo>
                  <a:pt x="192" y="36"/>
                </a:lnTo>
                <a:lnTo>
                  <a:pt x="198" y="36"/>
                </a:lnTo>
                <a:lnTo>
                  <a:pt x="198" y="30"/>
                </a:lnTo>
                <a:lnTo>
                  <a:pt x="198" y="30"/>
                </a:lnTo>
                <a:lnTo>
                  <a:pt x="198" y="30"/>
                </a:lnTo>
                <a:lnTo>
                  <a:pt x="198" y="36"/>
                </a:lnTo>
                <a:lnTo>
                  <a:pt x="198" y="30"/>
                </a:lnTo>
                <a:lnTo>
                  <a:pt x="198" y="36"/>
                </a:lnTo>
                <a:lnTo>
                  <a:pt x="198" y="36"/>
                </a:lnTo>
                <a:lnTo>
                  <a:pt x="198" y="36"/>
                </a:lnTo>
                <a:lnTo>
                  <a:pt x="198" y="36"/>
                </a:lnTo>
                <a:lnTo>
                  <a:pt x="198" y="36"/>
                </a:lnTo>
                <a:lnTo>
                  <a:pt x="198" y="36"/>
                </a:lnTo>
                <a:lnTo>
                  <a:pt x="192" y="36"/>
                </a:lnTo>
                <a:lnTo>
                  <a:pt x="192" y="42"/>
                </a:lnTo>
                <a:lnTo>
                  <a:pt x="198" y="36"/>
                </a:lnTo>
                <a:lnTo>
                  <a:pt x="198" y="36"/>
                </a:lnTo>
                <a:lnTo>
                  <a:pt x="198" y="36"/>
                </a:lnTo>
                <a:lnTo>
                  <a:pt x="198" y="36"/>
                </a:lnTo>
                <a:lnTo>
                  <a:pt x="198" y="36"/>
                </a:lnTo>
                <a:lnTo>
                  <a:pt x="198" y="36"/>
                </a:lnTo>
                <a:lnTo>
                  <a:pt x="198" y="36"/>
                </a:lnTo>
                <a:lnTo>
                  <a:pt x="198" y="36"/>
                </a:lnTo>
                <a:lnTo>
                  <a:pt x="198" y="30"/>
                </a:lnTo>
                <a:lnTo>
                  <a:pt x="204" y="30"/>
                </a:lnTo>
                <a:lnTo>
                  <a:pt x="204" y="30"/>
                </a:lnTo>
                <a:lnTo>
                  <a:pt x="204" y="30"/>
                </a:lnTo>
                <a:lnTo>
                  <a:pt x="204" y="30"/>
                </a:lnTo>
                <a:lnTo>
                  <a:pt x="204" y="30"/>
                </a:lnTo>
                <a:lnTo>
                  <a:pt x="204" y="36"/>
                </a:lnTo>
                <a:lnTo>
                  <a:pt x="204" y="36"/>
                </a:lnTo>
                <a:lnTo>
                  <a:pt x="198" y="36"/>
                </a:lnTo>
                <a:lnTo>
                  <a:pt x="198" y="36"/>
                </a:lnTo>
                <a:lnTo>
                  <a:pt x="198" y="36"/>
                </a:lnTo>
                <a:lnTo>
                  <a:pt x="204" y="36"/>
                </a:lnTo>
                <a:lnTo>
                  <a:pt x="204" y="36"/>
                </a:lnTo>
                <a:lnTo>
                  <a:pt x="198" y="36"/>
                </a:lnTo>
                <a:lnTo>
                  <a:pt x="198" y="42"/>
                </a:lnTo>
                <a:lnTo>
                  <a:pt x="198" y="42"/>
                </a:lnTo>
                <a:lnTo>
                  <a:pt x="198" y="42"/>
                </a:lnTo>
                <a:lnTo>
                  <a:pt x="198" y="42"/>
                </a:lnTo>
                <a:lnTo>
                  <a:pt x="198" y="42"/>
                </a:lnTo>
                <a:lnTo>
                  <a:pt x="204" y="36"/>
                </a:lnTo>
                <a:lnTo>
                  <a:pt x="204" y="36"/>
                </a:lnTo>
                <a:lnTo>
                  <a:pt x="204" y="42"/>
                </a:lnTo>
                <a:lnTo>
                  <a:pt x="198" y="42"/>
                </a:lnTo>
                <a:lnTo>
                  <a:pt x="198" y="48"/>
                </a:lnTo>
                <a:lnTo>
                  <a:pt x="204" y="42"/>
                </a:lnTo>
                <a:lnTo>
                  <a:pt x="204" y="42"/>
                </a:lnTo>
                <a:lnTo>
                  <a:pt x="204" y="42"/>
                </a:lnTo>
                <a:lnTo>
                  <a:pt x="204" y="42"/>
                </a:lnTo>
                <a:lnTo>
                  <a:pt x="204" y="42"/>
                </a:lnTo>
                <a:lnTo>
                  <a:pt x="210" y="36"/>
                </a:lnTo>
                <a:lnTo>
                  <a:pt x="210" y="36"/>
                </a:lnTo>
                <a:lnTo>
                  <a:pt x="210" y="36"/>
                </a:lnTo>
                <a:lnTo>
                  <a:pt x="210" y="36"/>
                </a:lnTo>
                <a:lnTo>
                  <a:pt x="210" y="36"/>
                </a:lnTo>
                <a:lnTo>
                  <a:pt x="210" y="30"/>
                </a:lnTo>
                <a:lnTo>
                  <a:pt x="210" y="30"/>
                </a:lnTo>
                <a:lnTo>
                  <a:pt x="210" y="30"/>
                </a:lnTo>
                <a:lnTo>
                  <a:pt x="210" y="30"/>
                </a:lnTo>
                <a:lnTo>
                  <a:pt x="210" y="30"/>
                </a:lnTo>
                <a:lnTo>
                  <a:pt x="210" y="30"/>
                </a:lnTo>
                <a:lnTo>
                  <a:pt x="216" y="30"/>
                </a:lnTo>
                <a:lnTo>
                  <a:pt x="216" y="30"/>
                </a:lnTo>
                <a:lnTo>
                  <a:pt x="216" y="36"/>
                </a:lnTo>
                <a:lnTo>
                  <a:pt x="216" y="36"/>
                </a:lnTo>
                <a:lnTo>
                  <a:pt x="216" y="36"/>
                </a:lnTo>
                <a:lnTo>
                  <a:pt x="216" y="36"/>
                </a:lnTo>
                <a:lnTo>
                  <a:pt x="210" y="36"/>
                </a:lnTo>
                <a:lnTo>
                  <a:pt x="210" y="36"/>
                </a:lnTo>
                <a:lnTo>
                  <a:pt x="210" y="36"/>
                </a:lnTo>
                <a:lnTo>
                  <a:pt x="210" y="36"/>
                </a:lnTo>
                <a:lnTo>
                  <a:pt x="210" y="36"/>
                </a:lnTo>
                <a:lnTo>
                  <a:pt x="210" y="42"/>
                </a:lnTo>
                <a:lnTo>
                  <a:pt x="210" y="36"/>
                </a:lnTo>
                <a:lnTo>
                  <a:pt x="210" y="42"/>
                </a:lnTo>
                <a:lnTo>
                  <a:pt x="210" y="36"/>
                </a:lnTo>
                <a:lnTo>
                  <a:pt x="210" y="42"/>
                </a:lnTo>
                <a:lnTo>
                  <a:pt x="210" y="42"/>
                </a:lnTo>
                <a:lnTo>
                  <a:pt x="204" y="48"/>
                </a:lnTo>
                <a:lnTo>
                  <a:pt x="204" y="48"/>
                </a:lnTo>
                <a:lnTo>
                  <a:pt x="204" y="48"/>
                </a:lnTo>
                <a:lnTo>
                  <a:pt x="204" y="48"/>
                </a:lnTo>
                <a:lnTo>
                  <a:pt x="204" y="48"/>
                </a:lnTo>
                <a:lnTo>
                  <a:pt x="204" y="48"/>
                </a:lnTo>
                <a:lnTo>
                  <a:pt x="204" y="54"/>
                </a:lnTo>
                <a:lnTo>
                  <a:pt x="204" y="54"/>
                </a:lnTo>
                <a:lnTo>
                  <a:pt x="204" y="54"/>
                </a:lnTo>
                <a:lnTo>
                  <a:pt x="210" y="54"/>
                </a:lnTo>
                <a:lnTo>
                  <a:pt x="210" y="54"/>
                </a:lnTo>
                <a:lnTo>
                  <a:pt x="204" y="54"/>
                </a:lnTo>
                <a:lnTo>
                  <a:pt x="210" y="54"/>
                </a:lnTo>
                <a:lnTo>
                  <a:pt x="210" y="54"/>
                </a:lnTo>
                <a:lnTo>
                  <a:pt x="210" y="60"/>
                </a:lnTo>
                <a:lnTo>
                  <a:pt x="210" y="60"/>
                </a:lnTo>
                <a:lnTo>
                  <a:pt x="204" y="60"/>
                </a:lnTo>
                <a:lnTo>
                  <a:pt x="204" y="60"/>
                </a:lnTo>
                <a:lnTo>
                  <a:pt x="204" y="60"/>
                </a:lnTo>
                <a:lnTo>
                  <a:pt x="204" y="60"/>
                </a:lnTo>
                <a:lnTo>
                  <a:pt x="204" y="60"/>
                </a:lnTo>
                <a:lnTo>
                  <a:pt x="204" y="60"/>
                </a:lnTo>
                <a:lnTo>
                  <a:pt x="204" y="60"/>
                </a:lnTo>
                <a:lnTo>
                  <a:pt x="210" y="60"/>
                </a:lnTo>
                <a:lnTo>
                  <a:pt x="210" y="60"/>
                </a:lnTo>
                <a:lnTo>
                  <a:pt x="210" y="60"/>
                </a:lnTo>
                <a:lnTo>
                  <a:pt x="210" y="60"/>
                </a:lnTo>
                <a:lnTo>
                  <a:pt x="210" y="60"/>
                </a:lnTo>
                <a:lnTo>
                  <a:pt x="210" y="54"/>
                </a:lnTo>
                <a:lnTo>
                  <a:pt x="210" y="54"/>
                </a:lnTo>
                <a:lnTo>
                  <a:pt x="210" y="54"/>
                </a:lnTo>
                <a:lnTo>
                  <a:pt x="210" y="48"/>
                </a:lnTo>
                <a:lnTo>
                  <a:pt x="210" y="48"/>
                </a:lnTo>
                <a:lnTo>
                  <a:pt x="210" y="48"/>
                </a:lnTo>
                <a:lnTo>
                  <a:pt x="216" y="48"/>
                </a:lnTo>
                <a:lnTo>
                  <a:pt x="216" y="48"/>
                </a:lnTo>
                <a:lnTo>
                  <a:pt x="216" y="48"/>
                </a:lnTo>
                <a:lnTo>
                  <a:pt x="216" y="48"/>
                </a:lnTo>
                <a:lnTo>
                  <a:pt x="216" y="48"/>
                </a:lnTo>
                <a:lnTo>
                  <a:pt x="210" y="54"/>
                </a:lnTo>
                <a:lnTo>
                  <a:pt x="216" y="54"/>
                </a:lnTo>
                <a:lnTo>
                  <a:pt x="216" y="54"/>
                </a:lnTo>
                <a:lnTo>
                  <a:pt x="216" y="54"/>
                </a:lnTo>
                <a:lnTo>
                  <a:pt x="216" y="54"/>
                </a:lnTo>
                <a:lnTo>
                  <a:pt x="216" y="48"/>
                </a:lnTo>
                <a:lnTo>
                  <a:pt x="216" y="48"/>
                </a:lnTo>
                <a:lnTo>
                  <a:pt x="216" y="48"/>
                </a:lnTo>
                <a:lnTo>
                  <a:pt x="216" y="48"/>
                </a:lnTo>
                <a:lnTo>
                  <a:pt x="216" y="48"/>
                </a:lnTo>
                <a:lnTo>
                  <a:pt x="216" y="48"/>
                </a:lnTo>
                <a:lnTo>
                  <a:pt x="216" y="54"/>
                </a:lnTo>
                <a:lnTo>
                  <a:pt x="216" y="54"/>
                </a:lnTo>
                <a:lnTo>
                  <a:pt x="216" y="54"/>
                </a:lnTo>
                <a:lnTo>
                  <a:pt x="216" y="48"/>
                </a:lnTo>
                <a:lnTo>
                  <a:pt x="216" y="48"/>
                </a:lnTo>
                <a:lnTo>
                  <a:pt x="216" y="48"/>
                </a:lnTo>
                <a:lnTo>
                  <a:pt x="216" y="48"/>
                </a:lnTo>
                <a:lnTo>
                  <a:pt x="216" y="48"/>
                </a:lnTo>
                <a:lnTo>
                  <a:pt x="216" y="48"/>
                </a:lnTo>
                <a:lnTo>
                  <a:pt x="216" y="48"/>
                </a:lnTo>
                <a:lnTo>
                  <a:pt x="216" y="48"/>
                </a:lnTo>
                <a:lnTo>
                  <a:pt x="216" y="48"/>
                </a:lnTo>
                <a:lnTo>
                  <a:pt x="222" y="48"/>
                </a:lnTo>
                <a:lnTo>
                  <a:pt x="222" y="48"/>
                </a:lnTo>
                <a:lnTo>
                  <a:pt x="222" y="48"/>
                </a:lnTo>
                <a:lnTo>
                  <a:pt x="222" y="48"/>
                </a:lnTo>
                <a:lnTo>
                  <a:pt x="222" y="48"/>
                </a:lnTo>
                <a:lnTo>
                  <a:pt x="216" y="48"/>
                </a:lnTo>
                <a:lnTo>
                  <a:pt x="216" y="48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8" y="42"/>
                </a:lnTo>
                <a:lnTo>
                  <a:pt x="228" y="36"/>
                </a:lnTo>
                <a:lnTo>
                  <a:pt x="222" y="36"/>
                </a:lnTo>
                <a:lnTo>
                  <a:pt x="228" y="36"/>
                </a:lnTo>
                <a:lnTo>
                  <a:pt x="222" y="36"/>
                </a:lnTo>
                <a:lnTo>
                  <a:pt x="228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0"/>
                </a:lnTo>
                <a:lnTo>
                  <a:pt x="222" y="30"/>
                </a:lnTo>
                <a:lnTo>
                  <a:pt x="228" y="36"/>
                </a:lnTo>
                <a:lnTo>
                  <a:pt x="228" y="36"/>
                </a:lnTo>
                <a:lnTo>
                  <a:pt x="228" y="36"/>
                </a:lnTo>
                <a:lnTo>
                  <a:pt x="228" y="36"/>
                </a:lnTo>
                <a:lnTo>
                  <a:pt x="228" y="36"/>
                </a:lnTo>
                <a:lnTo>
                  <a:pt x="228" y="36"/>
                </a:lnTo>
                <a:lnTo>
                  <a:pt x="228" y="36"/>
                </a:lnTo>
                <a:lnTo>
                  <a:pt x="228" y="42"/>
                </a:lnTo>
                <a:lnTo>
                  <a:pt x="228" y="42"/>
                </a:lnTo>
                <a:lnTo>
                  <a:pt x="228" y="42"/>
                </a:lnTo>
                <a:lnTo>
                  <a:pt x="228" y="42"/>
                </a:lnTo>
                <a:lnTo>
                  <a:pt x="228" y="42"/>
                </a:lnTo>
                <a:lnTo>
                  <a:pt x="228" y="42"/>
                </a:lnTo>
                <a:lnTo>
                  <a:pt x="228" y="48"/>
                </a:lnTo>
                <a:lnTo>
                  <a:pt x="228" y="48"/>
                </a:lnTo>
                <a:lnTo>
                  <a:pt x="228" y="48"/>
                </a:lnTo>
                <a:lnTo>
                  <a:pt x="228" y="48"/>
                </a:lnTo>
                <a:lnTo>
                  <a:pt x="228" y="42"/>
                </a:lnTo>
                <a:lnTo>
                  <a:pt x="228" y="48"/>
                </a:lnTo>
                <a:lnTo>
                  <a:pt x="228" y="48"/>
                </a:lnTo>
                <a:lnTo>
                  <a:pt x="228" y="48"/>
                </a:lnTo>
                <a:lnTo>
                  <a:pt x="228" y="48"/>
                </a:lnTo>
                <a:lnTo>
                  <a:pt x="228" y="48"/>
                </a:lnTo>
                <a:lnTo>
                  <a:pt x="228" y="48"/>
                </a:lnTo>
                <a:lnTo>
                  <a:pt x="228" y="48"/>
                </a:lnTo>
                <a:lnTo>
                  <a:pt x="228" y="48"/>
                </a:lnTo>
                <a:lnTo>
                  <a:pt x="228" y="48"/>
                </a:lnTo>
                <a:lnTo>
                  <a:pt x="222" y="48"/>
                </a:lnTo>
                <a:lnTo>
                  <a:pt x="222" y="54"/>
                </a:lnTo>
                <a:lnTo>
                  <a:pt x="216" y="54"/>
                </a:lnTo>
                <a:lnTo>
                  <a:pt x="216" y="54"/>
                </a:lnTo>
                <a:lnTo>
                  <a:pt x="216" y="54"/>
                </a:lnTo>
                <a:lnTo>
                  <a:pt x="216" y="60"/>
                </a:lnTo>
                <a:lnTo>
                  <a:pt x="222" y="60"/>
                </a:lnTo>
                <a:lnTo>
                  <a:pt x="222" y="60"/>
                </a:lnTo>
                <a:lnTo>
                  <a:pt x="216" y="60"/>
                </a:lnTo>
                <a:lnTo>
                  <a:pt x="216" y="54"/>
                </a:lnTo>
                <a:lnTo>
                  <a:pt x="222" y="54"/>
                </a:lnTo>
                <a:lnTo>
                  <a:pt x="222" y="54"/>
                </a:lnTo>
                <a:lnTo>
                  <a:pt x="222" y="54"/>
                </a:lnTo>
                <a:lnTo>
                  <a:pt x="222" y="54"/>
                </a:lnTo>
                <a:lnTo>
                  <a:pt x="222" y="54"/>
                </a:lnTo>
                <a:lnTo>
                  <a:pt x="222" y="54"/>
                </a:lnTo>
                <a:lnTo>
                  <a:pt x="222" y="60"/>
                </a:lnTo>
                <a:lnTo>
                  <a:pt x="222" y="60"/>
                </a:lnTo>
                <a:lnTo>
                  <a:pt x="222" y="60"/>
                </a:lnTo>
                <a:lnTo>
                  <a:pt x="222" y="60"/>
                </a:lnTo>
                <a:lnTo>
                  <a:pt x="222" y="60"/>
                </a:lnTo>
                <a:lnTo>
                  <a:pt x="216" y="60"/>
                </a:lnTo>
                <a:lnTo>
                  <a:pt x="216" y="60"/>
                </a:lnTo>
                <a:lnTo>
                  <a:pt x="216" y="60"/>
                </a:lnTo>
                <a:lnTo>
                  <a:pt x="216" y="66"/>
                </a:lnTo>
                <a:lnTo>
                  <a:pt x="216" y="66"/>
                </a:lnTo>
                <a:lnTo>
                  <a:pt x="216" y="66"/>
                </a:lnTo>
                <a:lnTo>
                  <a:pt x="216" y="66"/>
                </a:lnTo>
                <a:lnTo>
                  <a:pt x="216" y="60"/>
                </a:lnTo>
                <a:lnTo>
                  <a:pt x="216" y="60"/>
                </a:lnTo>
                <a:lnTo>
                  <a:pt x="222" y="66"/>
                </a:lnTo>
                <a:lnTo>
                  <a:pt x="222" y="66"/>
                </a:lnTo>
                <a:lnTo>
                  <a:pt x="222" y="60"/>
                </a:lnTo>
                <a:lnTo>
                  <a:pt x="222" y="60"/>
                </a:lnTo>
                <a:lnTo>
                  <a:pt x="222" y="60"/>
                </a:lnTo>
                <a:lnTo>
                  <a:pt x="222" y="60"/>
                </a:lnTo>
                <a:lnTo>
                  <a:pt x="222" y="54"/>
                </a:lnTo>
                <a:lnTo>
                  <a:pt x="222" y="54"/>
                </a:lnTo>
                <a:lnTo>
                  <a:pt x="222" y="54"/>
                </a:lnTo>
                <a:lnTo>
                  <a:pt x="228" y="54"/>
                </a:lnTo>
                <a:lnTo>
                  <a:pt x="228" y="54"/>
                </a:lnTo>
                <a:lnTo>
                  <a:pt x="228" y="60"/>
                </a:lnTo>
                <a:lnTo>
                  <a:pt x="222" y="60"/>
                </a:lnTo>
                <a:lnTo>
                  <a:pt x="228" y="60"/>
                </a:lnTo>
                <a:lnTo>
                  <a:pt x="228" y="60"/>
                </a:lnTo>
                <a:lnTo>
                  <a:pt x="228" y="60"/>
                </a:lnTo>
                <a:lnTo>
                  <a:pt x="228" y="60"/>
                </a:lnTo>
                <a:lnTo>
                  <a:pt x="228" y="54"/>
                </a:lnTo>
                <a:lnTo>
                  <a:pt x="228" y="54"/>
                </a:lnTo>
                <a:lnTo>
                  <a:pt x="228" y="54"/>
                </a:lnTo>
                <a:lnTo>
                  <a:pt x="228" y="54"/>
                </a:lnTo>
                <a:lnTo>
                  <a:pt x="228" y="60"/>
                </a:lnTo>
                <a:lnTo>
                  <a:pt x="228" y="60"/>
                </a:lnTo>
                <a:lnTo>
                  <a:pt x="228" y="60"/>
                </a:lnTo>
                <a:lnTo>
                  <a:pt x="228" y="66"/>
                </a:lnTo>
                <a:lnTo>
                  <a:pt x="228" y="66"/>
                </a:lnTo>
                <a:lnTo>
                  <a:pt x="222" y="66"/>
                </a:lnTo>
                <a:lnTo>
                  <a:pt x="222" y="66"/>
                </a:lnTo>
                <a:lnTo>
                  <a:pt x="222" y="72"/>
                </a:lnTo>
                <a:lnTo>
                  <a:pt x="222" y="72"/>
                </a:lnTo>
                <a:lnTo>
                  <a:pt x="222" y="72"/>
                </a:lnTo>
                <a:lnTo>
                  <a:pt x="222" y="72"/>
                </a:lnTo>
                <a:lnTo>
                  <a:pt x="222" y="72"/>
                </a:lnTo>
                <a:lnTo>
                  <a:pt x="222" y="72"/>
                </a:lnTo>
                <a:lnTo>
                  <a:pt x="222" y="72"/>
                </a:lnTo>
                <a:lnTo>
                  <a:pt x="222" y="72"/>
                </a:lnTo>
                <a:lnTo>
                  <a:pt x="222" y="72"/>
                </a:lnTo>
                <a:lnTo>
                  <a:pt x="222" y="78"/>
                </a:lnTo>
                <a:lnTo>
                  <a:pt x="222" y="78"/>
                </a:lnTo>
                <a:lnTo>
                  <a:pt x="222" y="78"/>
                </a:lnTo>
                <a:lnTo>
                  <a:pt x="216" y="78"/>
                </a:lnTo>
                <a:lnTo>
                  <a:pt x="216" y="78"/>
                </a:lnTo>
                <a:lnTo>
                  <a:pt x="216" y="84"/>
                </a:lnTo>
                <a:lnTo>
                  <a:pt x="216" y="84"/>
                </a:lnTo>
                <a:lnTo>
                  <a:pt x="216" y="84"/>
                </a:lnTo>
                <a:lnTo>
                  <a:pt x="216" y="84"/>
                </a:lnTo>
                <a:lnTo>
                  <a:pt x="216" y="84"/>
                </a:lnTo>
                <a:lnTo>
                  <a:pt x="216" y="78"/>
                </a:lnTo>
                <a:lnTo>
                  <a:pt x="216" y="78"/>
                </a:lnTo>
                <a:lnTo>
                  <a:pt x="222" y="78"/>
                </a:lnTo>
                <a:lnTo>
                  <a:pt x="222" y="78"/>
                </a:lnTo>
                <a:lnTo>
                  <a:pt x="222" y="84"/>
                </a:lnTo>
                <a:lnTo>
                  <a:pt x="222" y="84"/>
                </a:lnTo>
                <a:lnTo>
                  <a:pt x="216" y="84"/>
                </a:lnTo>
                <a:lnTo>
                  <a:pt x="222" y="84"/>
                </a:lnTo>
                <a:lnTo>
                  <a:pt x="222" y="84"/>
                </a:lnTo>
                <a:lnTo>
                  <a:pt x="222" y="78"/>
                </a:lnTo>
                <a:lnTo>
                  <a:pt x="222" y="78"/>
                </a:lnTo>
                <a:lnTo>
                  <a:pt x="222" y="84"/>
                </a:lnTo>
                <a:lnTo>
                  <a:pt x="222" y="84"/>
                </a:lnTo>
                <a:lnTo>
                  <a:pt x="222" y="90"/>
                </a:lnTo>
                <a:lnTo>
                  <a:pt x="222" y="90"/>
                </a:lnTo>
                <a:lnTo>
                  <a:pt x="228" y="90"/>
                </a:lnTo>
                <a:lnTo>
                  <a:pt x="228" y="90"/>
                </a:lnTo>
                <a:lnTo>
                  <a:pt x="234" y="90"/>
                </a:lnTo>
                <a:lnTo>
                  <a:pt x="234" y="90"/>
                </a:lnTo>
                <a:lnTo>
                  <a:pt x="234" y="90"/>
                </a:lnTo>
                <a:lnTo>
                  <a:pt x="240" y="96"/>
                </a:lnTo>
                <a:lnTo>
                  <a:pt x="234" y="96"/>
                </a:lnTo>
                <a:lnTo>
                  <a:pt x="234" y="102"/>
                </a:lnTo>
                <a:lnTo>
                  <a:pt x="234" y="102"/>
                </a:lnTo>
                <a:lnTo>
                  <a:pt x="240" y="102"/>
                </a:lnTo>
                <a:lnTo>
                  <a:pt x="240" y="102"/>
                </a:lnTo>
                <a:lnTo>
                  <a:pt x="240" y="102"/>
                </a:lnTo>
                <a:lnTo>
                  <a:pt x="246" y="102"/>
                </a:lnTo>
                <a:lnTo>
                  <a:pt x="246" y="108"/>
                </a:lnTo>
                <a:lnTo>
                  <a:pt x="246" y="108"/>
                </a:lnTo>
                <a:lnTo>
                  <a:pt x="246" y="108"/>
                </a:lnTo>
                <a:lnTo>
                  <a:pt x="252" y="108"/>
                </a:lnTo>
                <a:lnTo>
                  <a:pt x="252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14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0"/>
                </a:lnTo>
                <a:lnTo>
                  <a:pt x="240" y="120"/>
                </a:lnTo>
                <a:lnTo>
                  <a:pt x="240" y="120"/>
                </a:lnTo>
                <a:lnTo>
                  <a:pt x="240" y="120"/>
                </a:lnTo>
                <a:lnTo>
                  <a:pt x="246" y="120"/>
                </a:lnTo>
                <a:lnTo>
                  <a:pt x="246" y="120"/>
                </a:lnTo>
                <a:lnTo>
                  <a:pt x="246" y="126"/>
                </a:lnTo>
                <a:lnTo>
                  <a:pt x="246" y="126"/>
                </a:lnTo>
                <a:lnTo>
                  <a:pt x="246" y="126"/>
                </a:lnTo>
                <a:lnTo>
                  <a:pt x="246" y="126"/>
                </a:lnTo>
                <a:lnTo>
                  <a:pt x="246" y="126"/>
                </a:lnTo>
                <a:lnTo>
                  <a:pt x="240" y="126"/>
                </a:lnTo>
                <a:lnTo>
                  <a:pt x="240" y="126"/>
                </a:lnTo>
                <a:lnTo>
                  <a:pt x="240" y="126"/>
                </a:lnTo>
                <a:lnTo>
                  <a:pt x="240" y="126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40" y="132"/>
                </a:lnTo>
                <a:lnTo>
                  <a:pt x="234" y="132"/>
                </a:lnTo>
                <a:lnTo>
                  <a:pt x="234" y="132"/>
                </a:lnTo>
                <a:lnTo>
                  <a:pt x="234" y="132"/>
                </a:lnTo>
                <a:lnTo>
                  <a:pt x="234" y="132"/>
                </a:lnTo>
                <a:lnTo>
                  <a:pt x="234" y="132"/>
                </a:lnTo>
                <a:lnTo>
                  <a:pt x="234" y="132"/>
                </a:lnTo>
                <a:lnTo>
                  <a:pt x="234" y="132"/>
                </a:lnTo>
                <a:lnTo>
                  <a:pt x="234" y="132"/>
                </a:lnTo>
                <a:lnTo>
                  <a:pt x="234" y="132"/>
                </a:lnTo>
                <a:lnTo>
                  <a:pt x="234" y="132"/>
                </a:lnTo>
                <a:lnTo>
                  <a:pt x="234" y="132"/>
                </a:lnTo>
                <a:lnTo>
                  <a:pt x="234" y="132"/>
                </a:lnTo>
                <a:lnTo>
                  <a:pt x="234" y="138"/>
                </a:lnTo>
                <a:lnTo>
                  <a:pt x="234" y="138"/>
                </a:lnTo>
                <a:lnTo>
                  <a:pt x="234" y="138"/>
                </a:lnTo>
                <a:lnTo>
                  <a:pt x="234" y="138"/>
                </a:lnTo>
                <a:lnTo>
                  <a:pt x="234" y="138"/>
                </a:lnTo>
                <a:lnTo>
                  <a:pt x="234" y="138"/>
                </a:lnTo>
                <a:lnTo>
                  <a:pt x="234" y="138"/>
                </a:lnTo>
                <a:lnTo>
                  <a:pt x="234" y="138"/>
                </a:lnTo>
                <a:lnTo>
                  <a:pt x="234" y="144"/>
                </a:lnTo>
                <a:lnTo>
                  <a:pt x="234" y="144"/>
                </a:lnTo>
                <a:lnTo>
                  <a:pt x="228" y="144"/>
                </a:lnTo>
                <a:lnTo>
                  <a:pt x="228" y="144"/>
                </a:lnTo>
                <a:lnTo>
                  <a:pt x="234" y="144"/>
                </a:lnTo>
                <a:lnTo>
                  <a:pt x="234" y="144"/>
                </a:lnTo>
                <a:lnTo>
                  <a:pt x="234" y="144"/>
                </a:lnTo>
                <a:lnTo>
                  <a:pt x="228" y="144"/>
                </a:lnTo>
                <a:lnTo>
                  <a:pt x="228" y="144"/>
                </a:lnTo>
                <a:lnTo>
                  <a:pt x="228" y="144"/>
                </a:lnTo>
                <a:lnTo>
                  <a:pt x="228" y="144"/>
                </a:lnTo>
                <a:lnTo>
                  <a:pt x="234" y="144"/>
                </a:lnTo>
                <a:lnTo>
                  <a:pt x="234" y="144"/>
                </a:lnTo>
                <a:lnTo>
                  <a:pt x="234" y="144"/>
                </a:lnTo>
                <a:lnTo>
                  <a:pt x="234" y="144"/>
                </a:lnTo>
                <a:lnTo>
                  <a:pt x="228" y="144"/>
                </a:lnTo>
                <a:lnTo>
                  <a:pt x="228" y="144"/>
                </a:lnTo>
                <a:lnTo>
                  <a:pt x="228" y="150"/>
                </a:lnTo>
                <a:lnTo>
                  <a:pt x="234" y="150"/>
                </a:lnTo>
                <a:lnTo>
                  <a:pt x="228" y="150"/>
                </a:lnTo>
                <a:lnTo>
                  <a:pt x="228" y="150"/>
                </a:lnTo>
                <a:lnTo>
                  <a:pt x="228" y="150"/>
                </a:lnTo>
                <a:lnTo>
                  <a:pt x="228" y="150"/>
                </a:lnTo>
                <a:lnTo>
                  <a:pt x="228" y="150"/>
                </a:lnTo>
                <a:lnTo>
                  <a:pt x="228" y="150"/>
                </a:lnTo>
                <a:lnTo>
                  <a:pt x="228" y="156"/>
                </a:lnTo>
                <a:lnTo>
                  <a:pt x="228" y="156"/>
                </a:lnTo>
                <a:lnTo>
                  <a:pt x="222" y="156"/>
                </a:lnTo>
                <a:lnTo>
                  <a:pt x="222" y="162"/>
                </a:lnTo>
                <a:lnTo>
                  <a:pt x="222" y="162"/>
                </a:lnTo>
                <a:lnTo>
                  <a:pt x="222" y="168"/>
                </a:lnTo>
                <a:lnTo>
                  <a:pt x="222" y="168"/>
                </a:lnTo>
                <a:lnTo>
                  <a:pt x="222" y="162"/>
                </a:lnTo>
                <a:lnTo>
                  <a:pt x="216" y="162"/>
                </a:lnTo>
                <a:lnTo>
                  <a:pt x="216" y="162"/>
                </a:lnTo>
                <a:lnTo>
                  <a:pt x="216" y="156"/>
                </a:lnTo>
                <a:lnTo>
                  <a:pt x="216" y="156"/>
                </a:lnTo>
                <a:lnTo>
                  <a:pt x="216" y="162"/>
                </a:lnTo>
                <a:lnTo>
                  <a:pt x="216" y="162"/>
                </a:lnTo>
                <a:lnTo>
                  <a:pt x="210" y="162"/>
                </a:lnTo>
                <a:lnTo>
                  <a:pt x="210" y="162"/>
                </a:lnTo>
                <a:lnTo>
                  <a:pt x="210" y="162"/>
                </a:lnTo>
                <a:lnTo>
                  <a:pt x="210" y="162"/>
                </a:lnTo>
                <a:lnTo>
                  <a:pt x="210" y="162"/>
                </a:lnTo>
                <a:lnTo>
                  <a:pt x="204" y="162"/>
                </a:lnTo>
                <a:lnTo>
                  <a:pt x="204" y="162"/>
                </a:lnTo>
                <a:lnTo>
                  <a:pt x="204" y="168"/>
                </a:lnTo>
                <a:lnTo>
                  <a:pt x="204" y="168"/>
                </a:lnTo>
                <a:lnTo>
                  <a:pt x="204" y="168"/>
                </a:lnTo>
                <a:lnTo>
                  <a:pt x="204" y="168"/>
                </a:lnTo>
                <a:lnTo>
                  <a:pt x="204" y="168"/>
                </a:lnTo>
                <a:lnTo>
                  <a:pt x="204" y="168"/>
                </a:lnTo>
                <a:lnTo>
                  <a:pt x="204" y="168"/>
                </a:lnTo>
                <a:lnTo>
                  <a:pt x="204" y="168"/>
                </a:lnTo>
                <a:lnTo>
                  <a:pt x="204" y="168"/>
                </a:lnTo>
                <a:lnTo>
                  <a:pt x="204" y="168"/>
                </a:lnTo>
                <a:lnTo>
                  <a:pt x="204" y="168"/>
                </a:lnTo>
                <a:lnTo>
                  <a:pt x="204" y="168"/>
                </a:lnTo>
                <a:lnTo>
                  <a:pt x="204" y="168"/>
                </a:lnTo>
                <a:lnTo>
                  <a:pt x="204" y="168"/>
                </a:lnTo>
                <a:lnTo>
                  <a:pt x="204" y="168"/>
                </a:lnTo>
                <a:lnTo>
                  <a:pt x="198" y="168"/>
                </a:lnTo>
                <a:lnTo>
                  <a:pt x="198" y="168"/>
                </a:lnTo>
                <a:lnTo>
                  <a:pt x="198" y="168"/>
                </a:lnTo>
                <a:lnTo>
                  <a:pt x="198" y="168"/>
                </a:lnTo>
                <a:lnTo>
                  <a:pt x="198" y="168"/>
                </a:lnTo>
                <a:lnTo>
                  <a:pt x="198" y="168"/>
                </a:lnTo>
                <a:lnTo>
                  <a:pt x="198" y="168"/>
                </a:lnTo>
                <a:lnTo>
                  <a:pt x="198" y="168"/>
                </a:lnTo>
                <a:lnTo>
                  <a:pt x="198" y="168"/>
                </a:lnTo>
                <a:lnTo>
                  <a:pt x="198" y="174"/>
                </a:lnTo>
                <a:lnTo>
                  <a:pt x="192" y="174"/>
                </a:lnTo>
                <a:lnTo>
                  <a:pt x="192" y="174"/>
                </a:lnTo>
                <a:lnTo>
                  <a:pt x="192" y="174"/>
                </a:lnTo>
                <a:lnTo>
                  <a:pt x="192" y="174"/>
                </a:lnTo>
                <a:lnTo>
                  <a:pt x="192" y="168"/>
                </a:lnTo>
                <a:lnTo>
                  <a:pt x="192" y="174"/>
                </a:lnTo>
                <a:lnTo>
                  <a:pt x="186" y="168"/>
                </a:lnTo>
                <a:lnTo>
                  <a:pt x="186" y="168"/>
                </a:lnTo>
                <a:lnTo>
                  <a:pt x="186" y="168"/>
                </a:lnTo>
                <a:lnTo>
                  <a:pt x="180" y="162"/>
                </a:lnTo>
                <a:lnTo>
                  <a:pt x="180" y="150"/>
                </a:lnTo>
                <a:lnTo>
                  <a:pt x="174" y="156"/>
                </a:lnTo>
                <a:lnTo>
                  <a:pt x="174" y="144"/>
                </a:lnTo>
                <a:lnTo>
                  <a:pt x="174" y="144"/>
                </a:lnTo>
                <a:lnTo>
                  <a:pt x="168" y="144"/>
                </a:lnTo>
                <a:lnTo>
                  <a:pt x="162" y="150"/>
                </a:lnTo>
                <a:lnTo>
                  <a:pt x="162" y="150"/>
                </a:lnTo>
                <a:lnTo>
                  <a:pt x="162" y="156"/>
                </a:lnTo>
                <a:lnTo>
                  <a:pt x="162" y="156"/>
                </a:lnTo>
                <a:lnTo>
                  <a:pt x="156" y="162"/>
                </a:lnTo>
                <a:lnTo>
                  <a:pt x="156" y="168"/>
                </a:lnTo>
                <a:lnTo>
                  <a:pt x="156" y="168"/>
                </a:lnTo>
                <a:lnTo>
                  <a:pt x="150" y="174"/>
                </a:lnTo>
                <a:lnTo>
                  <a:pt x="150" y="180"/>
                </a:lnTo>
                <a:lnTo>
                  <a:pt x="150" y="180"/>
                </a:lnTo>
                <a:lnTo>
                  <a:pt x="150" y="186"/>
                </a:lnTo>
                <a:lnTo>
                  <a:pt x="150" y="192"/>
                </a:lnTo>
                <a:lnTo>
                  <a:pt x="150" y="192"/>
                </a:lnTo>
                <a:lnTo>
                  <a:pt x="144" y="198"/>
                </a:lnTo>
                <a:lnTo>
                  <a:pt x="144" y="198"/>
                </a:lnTo>
                <a:lnTo>
                  <a:pt x="138" y="204"/>
                </a:lnTo>
                <a:lnTo>
                  <a:pt x="132" y="210"/>
                </a:lnTo>
                <a:lnTo>
                  <a:pt x="132" y="210"/>
                </a:lnTo>
                <a:lnTo>
                  <a:pt x="132" y="210"/>
                </a:lnTo>
                <a:lnTo>
                  <a:pt x="126" y="216"/>
                </a:lnTo>
                <a:lnTo>
                  <a:pt x="132" y="216"/>
                </a:lnTo>
                <a:lnTo>
                  <a:pt x="126" y="222"/>
                </a:lnTo>
                <a:lnTo>
                  <a:pt x="126" y="222"/>
                </a:lnTo>
                <a:lnTo>
                  <a:pt x="126" y="222"/>
                </a:lnTo>
                <a:lnTo>
                  <a:pt x="126" y="222"/>
                </a:lnTo>
                <a:lnTo>
                  <a:pt x="126" y="228"/>
                </a:lnTo>
                <a:lnTo>
                  <a:pt x="126" y="228"/>
                </a:lnTo>
                <a:lnTo>
                  <a:pt x="120" y="234"/>
                </a:lnTo>
                <a:lnTo>
                  <a:pt x="120" y="234"/>
                </a:lnTo>
                <a:lnTo>
                  <a:pt x="120" y="234"/>
                </a:lnTo>
                <a:lnTo>
                  <a:pt x="120" y="240"/>
                </a:lnTo>
                <a:lnTo>
                  <a:pt x="120" y="240"/>
                </a:lnTo>
                <a:lnTo>
                  <a:pt x="114" y="246"/>
                </a:lnTo>
                <a:lnTo>
                  <a:pt x="114" y="246"/>
                </a:lnTo>
                <a:lnTo>
                  <a:pt x="114" y="246"/>
                </a:lnTo>
                <a:lnTo>
                  <a:pt x="114" y="252"/>
                </a:lnTo>
                <a:lnTo>
                  <a:pt x="114" y="258"/>
                </a:lnTo>
                <a:lnTo>
                  <a:pt x="108" y="258"/>
                </a:lnTo>
                <a:lnTo>
                  <a:pt x="102" y="258"/>
                </a:lnTo>
                <a:lnTo>
                  <a:pt x="102" y="264"/>
                </a:lnTo>
                <a:lnTo>
                  <a:pt x="90" y="270"/>
                </a:lnTo>
                <a:lnTo>
                  <a:pt x="90" y="276"/>
                </a:lnTo>
                <a:lnTo>
                  <a:pt x="84" y="276"/>
                </a:lnTo>
                <a:lnTo>
                  <a:pt x="84" y="282"/>
                </a:lnTo>
                <a:lnTo>
                  <a:pt x="90" y="288"/>
                </a:lnTo>
                <a:lnTo>
                  <a:pt x="84" y="294"/>
                </a:lnTo>
                <a:lnTo>
                  <a:pt x="84" y="300"/>
                </a:lnTo>
                <a:lnTo>
                  <a:pt x="84" y="306"/>
                </a:lnTo>
                <a:lnTo>
                  <a:pt x="84" y="312"/>
                </a:lnTo>
                <a:lnTo>
                  <a:pt x="78" y="318"/>
                </a:lnTo>
                <a:lnTo>
                  <a:pt x="78" y="318"/>
                </a:lnTo>
                <a:lnTo>
                  <a:pt x="72" y="318"/>
                </a:lnTo>
                <a:lnTo>
                  <a:pt x="66" y="324"/>
                </a:lnTo>
                <a:lnTo>
                  <a:pt x="60" y="330"/>
                </a:lnTo>
                <a:lnTo>
                  <a:pt x="54" y="330"/>
                </a:lnTo>
                <a:lnTo>
                  <a:pt x="48" y="342"/>
                </a:lnTo>
                <a:lnTo>
                  <a:pt x="48" y="342"/>
                </a:lnTo>
                <a:lnTo>
                  <a:pt x="48" y="342"/>
                </a:lnTo>
                <a:lnTo>
                  <a:pt x="48" y="342"/>
                </a:lnTo>
                <a:lnTo>
                  <a:pt x="48" y="342"/>
                </a:lnTo>
                <a:lnTo>
                  <a:pt x="48" y="348"/>
                </a:lnTo>
                <a:lnTo>
                  <a:pt x="42" y="354"/>
                </a:lnTo>
                <a:lnTo>
                  <a:pt x="42" y="354"/>
                </a:lnTo>
                <a:lnTo>
                  <a:pt x="42" y="354"/>
                </a:lnTo>
                <a:lnTo>
                  <a:pt x="42" y="354"/>
                </a:lnTo>
                <a:lnTo>
                  <a:pt x="42" y="354"/>
                </a:lnTo>
                <a:lnTo>
                  <a:pt x="42" y="360"/>
                </a:lnTo>
                <a:lnTo>
                  <a:pt x="42" y="360"/>
                </a:lnTo>
                <a:lnTo>
                  <a:pt x="42" y="360"/>
                </a:lnTo>
                <a:lnTo>
                  <a:pt x="48" y="366"/>
                </a:lnTo>
                <a:lnTo>
                  <a:pt x="48" y="366"/>
                </a:lnTo>
                <a:lnTo>
                  <a:pt x="48" y="366"/>
                </a:lnTo>
                <a:lnTo>
                  <a:pt x="42" y="372"/>
                </a:lnTo>
                <a:lnTo>
                  <a:pt x="42" y="378"/>
                </a:lnTo>
                <a:lnTo>
                  <a:pt x="42" y="378"/>
                </a:lnTo>
                <a:lnTo>
                  <a:pt x="36" y="378"/>
                </a:lnTo>
                <a:lnTo>
                  <a:pt x="36" y="384"/>
                </a:lnTo>
                <a:lnTo>
                  <a:pt x="36" y="384"/>
                </a:lnTo>
                <a:lnTo>
                  <a:pt x="36" y="384"/>
                </a:lnTo>
                <a:lnTo>
                  <a:pt x="36" y="384"/>
                </a:lnTo>
                <a:lnTo>
                  <a:pt x="30" y="384"/>
                </a:lnTo>
                <a:lnTo>
                  <a:pt x="24" y="384"/>
                </a:lnTo>
                <a:lnTo>
                  <a:pt x="24" y="390"/>
                </a:lnTo>
                <a:lnTo>
                  <a:pt x="24" y="390"/>
                </a:lnTo>
                <a:lnTo>
                  <a:pt x="18" y="390"/>
                </a:lnTo>
                <a:lnTo>
                  <a:pt x="18" y="396"/>
                </a:lnTo>
                <a:lnTo>
                  <a:pt x="18" y="396"/>
                </a:lnTo>
                <a:lnTo>
                  <a:pt x="18" y="396"/>
                </a:lnTo>
                <a:lnTo>
                  <a:pt x="18" y="390"/>
                </a:lnTo>
                <a:lnTo>
                  <a:pt x="18" y="390"/>
                </a:lnTo>
                <a:lnTo>
                  <a:pt x="18" y="390"/>
                </a:lnTo>
                <a:lnTo>
                  <a:pt x="18" y="390"/>
                </a:lnTo>
                <a:lnTo>
                  <a:pt x="18" y="384"/>
                </a:lnTo>
                <a:lnTo>
                  <a:pt x="18" y="384"/>
                </a:lnTo>
                <a:lnTo>
                  <a:pt x="18" y="384"/>
                </a:lnTo>
                <a:lnTo>
                  <a:pt x="18" y="384"/>
                </a:lnTo>
                <a:lnTo>
                  <a:pt x="18" y="378"/>
                </a:lnTo>
                <a:lnTo>
                  <a:pt x="18" y="378"/>
                </a:lnTo>
                <a:lnTo>
                  <a:pt x="18" y="372"/>
                </a:lnTo>
                <a:lnTo>
                  <a:pt x="18" y="372"/>
                </a:lnTo>
                <a:lnTo>
                  <a:pt x="12" y="372"/>
                </a:lnTo>
                <a:lnTo>
                  <a:pt x="18" y="372"/>
                </a:lnTo>
                <a:lnTo>
                  <a:pt x="18" y="372"/>
                </a:lnTo>
                <a:lnTo>
                  <a:pt x="18" y="366"/>
                </a:lnTo>
                <a:lnTo>
                  <a:pt x="12" y="360"/>
                </a:lnTo>
                <a:lnTo>
                  <a:pt x="12" y="360"/>
                </a:lnTo>
                <a:lnTo>
                  <a:pt x="12" y="360"/>
                </a:lnTo>
                <a:lnTo>
                  <a:pt x="12" y="360"/>
                </a:lnTo>
                <a:lnTo>
                  <a:pt x="12" y="360"/>
                </a:lnTo>
                <a:lnTo>
                  <a:pt x="12" y="360"/>
                </a:lnTo>
                <a:lnTo>
                  <a:pt x="12" y="360"/>
                </a:lnTo>
                <a:lnTo>
                  <a:pt x="12" y="354"/>
                </a:lnTo>
                <a:lnTo>
                  <a:pt x="12" y="354"/>
                </a:lnTo>
                <a:lnTo>
                  <a:pt x="12" y="354"/>
                </a:lnTo>
                <a:lnTo>
                  <a:pt x="12" y="354"/>
                </a:lnTo>
                <a:lnTo>
                  <a:pt x="12" y="354"/>
                </a:lnTo>
                <a:lnTo>
                  <a:pt x="12" y="354"/>
                </a:lnTo>
                <a:lnTo>
                  <a:pt x="12" y="348"/>
                </a:lnTo>
                <a:lnTo>
                  <a:pt x="12" y="348"/>
                </a:lnTo>
                <a:lnTo>
                  <a:pt x="12" y="348"/>
                </a:lnTo>
                <a:lnTo>
                  <a:pt x="12" y="348"/>
                </a:lnTo>
                <a:lnTo>
                  <a:pt x="12" y="348"/>
                </a:lnTo>
                <a:lnTo>
                  <a:pt x="12" y="348"/>
                </a:lnTo>
                <a:lnTo>
                  <a:pt x="6" y="348"/>
                </a:lnTo>
                <a:lnTo>
                  <a:pt x="6" y="342"/>
                </a:lnTo>
                <a:lnTo>
                  <a:pt x="6" y="342"/>
                </a:lnTo>
                <a:lnTo>
                  <a:pt x="6" y="342"/>
                </a:lnTo>
                <a:lnTo>
                  <a:pt x="6" y="342"/>
                </a:lnTo>
                <a:lnTo>
                  <a:pt x="6" y="342"/>
                </a:lnTo>
                <a:lnTo>
                  <a:pt x="6" y="336"/>
                </a:lnTo>
                <a:lnTo>
                  <a:pt x="6" y="336"/>
                </a:lnTo>
                <a:lnTo>
                  <a:pt x="6" y="336"/>
                </a:lnTo>
                <a:lnTo>
                  <a:pt x="6" y="336"/>
                </a:lnTo>
                <a:lnTo>
                  <a:pt x="6" y="336"/>
                </a:lnTo>
                <a:lnTo>
                  <a:pt x="6" y="336"/>
                </a:lnTo>
                <a:lnTo>
                  <a:pt x="6" y="336"/>
                </a:lnTo>
                <a:lnTo>
                  <a:pt x="6" y="330"/>
                </a:lnTo>
                <a:lnTo>
                  <a:pt x="6" y="330"/>
                </a:lnTo>
                <a:lnTo>
                  <a:pt x="6" y="330"/>
                </a:lnTo>
                <a:lnTo>
                  <a:pt x="6" y="330"/>
                </a:lnTo>
                <a:lnTo>
                  <a:pt x="6" y="330"/>
                </a:lnTo>
                <a:lnTo>
                  <a:pt x="6" y="330"/>
                </a:lnTo>
                <a:lnTo>
                  <a:pt x="6" y="330"/>
                </a:lnTo>
                <a:lnTo>
                  <a:pt x="6" y="330"/>
                </a:lnTo>
                <a:lnTo>
                  <a:pt x="6" y="330"/>
                </a:lnTo>
                <a:lnTo>
                  <a:pt x="6" y="330"/>
                </a:lnTo>
                <a:lnTo>
                  <a:pt x="6" y="324"/>
                </a:lnTo>
                <a:lnTo>
                  <a:pt x="0" y="324"/>
                </a:lnTo>
                <a:close/>
                <a:moveTo>
                  <a:pt x="228" y="48"/>
                </a:moveTo>
                <a:lnTo>
                  <a:pt x="228" y="48"/>
                </a:lnTo>
                <a:lnTo>
                  <a:pt x="228" y="48"/>
                </a:lnTo>
                <a:lnTo>
                  <a:pt x="228" y="48"/>
                </a:lnTo>
                <a:lnTo>
                  <a:pt x="228" y="48"/>
                </a:lnTo>
                <a:lnTo>
                  <a:pt x="228" y="48"/>
                </a:lnTo>
                <a:lnTo>
                  <a:pt x="228" y="48"/>
                </a:lnTo>
                <a:lnTo>
                  <a:pt x="228" y="48"/>
                </a:lnTo>
                <a:lnTo>
                  <a:pt x="228" y="48"/>
                </a:lnTo>
                <a:close/>
                <a:moveTo>
                  <a:pt x="222" y="36"/>
                </a:move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lnTo>
                  <a:pt x="222" y="36"/>
                </a:lnTo>
                <a:close/>
                <a:moveTo>
                  <a:pt x="216" y="48"/>
                </a:moveTo>
                <a:lnTo>
                  <a:pt x="216" y="42"/>
                </a:lnTo>
                <a:lnTo>
                  <a:pt x="216" y="42"/>
                </a:lnTo>
                <a:lnTo>
                  <a:pt x="216" y="42"/>
                </a:lnTo>
                <a:lnTo>
                  <a:pt x="216" y="42"/>
                </a:lnTo>
                <a:lnTo>
                  <a:pt x="216" y="48"/>
                </a:lnTo>
                <a:lnTo>
                  <a:pt x="216" y="48"/>
                </a:lnTo>
                <a:close/>
                <a:moveTo>
                  <a:pt x="204" y="36"/>
                </a:moveTo>
                <a:lnTo>
                  <a:pt x="204" y="36"/>
                </a:lnTo>
                <a:lnTo>
                  <a:pt x="204" y="36"/>
                </a:lnTo>
                <a:lnTo>
                  <a:pt x="204" y="36"/>
                </a:lnTo>
                <a:lnTo>
                  <a:pt x="210" y="36"/>
                </a:lnTo>
                <a:lnTo>
                  <a:pt x="210" y="36"/>
                </a:lnTo>
                <a:lnTo>
                  <a:pt x="204" y="36"/>
                </a:lnTo>
                <a:close/>
                <a:moveTo>
                  <a:pt x="204" y="42"/>
                </a:moveTo>
                <a:lnTo>
                  <a:pt x="204" y="42"/>
                </a:lnTo>
                <a:lnTo>
                  <a:pt x="204" y="36"/>
                </a:lnTo>
                <a:lnTo>
                  <a:pt x="204" y="42"/>
                </a:lnTo>
                <a:lnTo>
                  <a:pt x="204" y="42"/>
                </a:lnTo>
                <a:lnTo>
                  <a:pt x="204" y="42"/>
                </a:lnTo>
                <a:lnTo>
                  <a:pt x="204" y="42"/>
                </a:lnTo>
                <a:close/>
                <a:moveTo>
                  <a:pt x="198" y="42"/>
                </a:moveTo>
                <a:lnTo>
                  <a:pt x="198" y="42"/>
                </a:lnTo>
                <a:lnTo>
                  <a:pt x="198" y="42"/>
                </a:lnTo>
                <a:lnTo>
                  <a:pt x="198" y="42"/>
                </a:lnTo>
                <a:lnTo>
                  <a:pt x="198" y="42"/>
                </a:lnTo>
                <a:lnTo>
                  <a:pt x="204" y="42"/>
                </a:lnTo>
                <a:lnTo>
                  <a:pt x="204" y="42"/>
                </a:lnTo>
                <a:lnTo>
                  <a:pt x="204" y="42"/>
                </a:lnTo>
                <a:lnTo>
                  <a:pt x="204" y="42"/>
                </a:lnTo>
                <a:lnTo>
                  <a:pt x="204" y="42"/>
                </a:lnTo>
                <a:lnTo>
                  <a:pt x="204" y="42"/>
                </a:lnTo>
                <a:lnTo>
                  <a:pt x="204" y="42"/>
                </a:lnTo>
                <a:lnTo>
                  <a:pt x="204" y="42"/>
                </a:lnTo>
                <a:lnTo>
                  <a:pt x="198" y="42"/>
                </a:lnTo>
                <a:close/>
                <a:moveTo>
                  <a:pt x="198" y="30"/>
                </a:moveTo>
                <a:lnTo>
                  <a:pt x="198" y="30"/>
                </a:lnTo>
                <a:lnTo>
                  <a:pt x="198" y="30"/>
                </a:lnTo>
                <a:lnTo>
                  <a:pt x="198" y="30"/>
                </a:lnTo>
                <a:lnTo>
                  <a:pt x="198" y="30"/>
                </a:lnTo>
                <a:lnTo>
                  <a:pt x="198" y="30"/>
                </a:lnTo>
                <a:close/>
                <a:moveTo>
                  <a:pt x="198" y="30"/>
                </a:moveTo>
                <a:lnTo>
                  <a:pt x="198" y="24"/>
                </a:lnTo>
                <a:lnTo>
                  <a:pt x="198" y="24"/>
                </a:lnTo>
                <a:lnTo>
                  <a:pt x="198" y="30"/>
                </a:lnTo>
                <a:lnTo>
                  <a:pt x="198" y="30"/>
                </a:lnTo>
                <a:lnTo>
                  <a:pt x="198" y="30"/>
                </a:lnTo>
                <a:lnTo>
                  <a:pt x="198" y="30"/>
                </a:lnTo>
                <a:close/>
                <a:moveTo>
                  <a:pt x="192" y="24"/>
                </a:moveTo>
                <a:lnTo>
                  <a:pt x="192" y="24"/>
                </a:lnTo>
                <a:lnTo>
                  <a:pt x="198" y="24"/>
                </a:lnTo>
                <a:lnTo>
                  <a:pt x="198" y="24"/>
                </a:lnTo>
                <a:lnTo>
                  <a:pt x="198" y="24"/>
                </a:lnTo>
                <a:lnTo>
                  <a:pt x="198" y="24"/>
                </a:lnTo>
                <a:lnTo>
                  <a:pt x="198" y="30"/>
                </a:lnTo>
                <a:lnTo>
                  <a:pt x="192" y="30"/>
                </a:lnTo>
                <a:lnTo>
                  <a:pt x="192" y="24"/>
                </a:lnTo>
                <a:close/>
                <a:moveTo>
                  <a:pt x="186" y="30"/>
                </a:moveTo>
                <a:lnTo>
                  <a:pt x="186" y="30"/>
                </a:lnTo>
                <a:lnTo>
                  <a:pt x="186" y="36"/>
                </a:lnTo>
                <a:lnTo>
                  <a:pt x="186" y="36"/>
                </a:lnTo>
                <a:lnTo>
                  <a:pt x="186" y="36"/>
                </a:lnTo>
                <a:lnTo>
                  <a:pt x="186" y="30"/>
                </a:lnTo>
                <a:close/>
                <a:moveTo>
                  <a:pt x="186" y="30"/>
                </a:move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86" y="36"/>
                </a:lnTo>
                <a:lnTo>
                  <a:pt x="186" y="36"/>
                </a:lnTo>
                <a:lnTo>
                  <a:pt x="186" y="36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close/>
                <a:moveTo>
                  <a:pt x="186" y="36"/>
                </a:moveTo>
                <a:lnTo>
                  <a:pt x="186" y="36"/>
                </a:lnTo>
                <a:lnTo>
                  <a:pt x="186" y="36"/>
                </a:lnTo>
                <a:lnTo>
                  <a:pt x="186" y="36"/>
                </a:lnTo>
                <a:lnTo>
                  <a:pt x="186" y="36"/>
                </a:lnTo>
                <a:lnTo>
                  <a:pt x="186" y="36"/>
                </a:lnTo>
                <a:lnTo>
                  <a:pt x="186" y="36"/>
                </a:lnTo>
                <a:lnTo>
                  <a:pt x="186" y="36"/>
                </a:lnTo>
                <a:lnTo>
                  <a:pt x="186" y="36"/>
                </a:lnTo>
                <a:lnTo>
                  <a:pt x="186" y="42"/>
                </a:lnTo>
                <a:lnTo>
                  <a:pt x="186" y="42"/>
                </a:lnTo>
                <a:lnTo>
                  <a:pt x="186" y="42"/>
                </a:lnTo>
                <a:lnTo>
                  <a:pt x="186" y="42"/>
                </a:lnTo>
                <a:lnTo>
                  <a:pt x="186" y="42"/>
                </a:lnTo>
                <a:lnTo>
                  <a:pt x="186" y="42"/>
                </a:lnTo>
                <a:lnTo>
                  <a:pt x="186" y="42"/>
                </a:lnTo>
                <a:lnTo>
                  <a:pt x="186" y="42"/>
                </a:lnTo>
                <a:lnTo>
                  <a:pt x="186" y="36"/>
                </a:lnTo>
                <a:lnTo>
                  <a:pt x="186" y="36"/>
                </a:lnTo>
                <a:lnTo>
                  <a:pt x="186" y="36"/>
                </a:lnTo>
                <a:close/>
                <a:moveTo>
                  <a:pt x="198" y="24"/>
                </a:moveTo>
                <a:lnTo>
                  <a:pt x="198" y="24"/>
                </a:lnTo>
                <a:lnTo>
                  <a:pt x="198" y="24"/>
                </a:lnTo>
                <a:lnTo>
                  <a:pt x="198" y="24"/>
                </a:lnTo>
                <a:lnTo>
                  <a:pt x="192" y="24"/>
                </a:lnTo>
                <a:lnTo>
                  <a:pt x="192" y="24"/>
                </a:lnTo>
                <a:lnTo>
                  <a:pt x="192" y="24"/>
                </a:lnTo>
                <a:lnTo>
                  <a:pt x="192" y="24"/>
                </a:lnTo>
                <a:lnTo>
                  <a:pt x="192" y="18"/>
                </a:lnTo>
                <a:lnTo>
                  <a:pt x="198" y="18"/>
                </a:lnTo>
                <a:lnTo>
                  <a:pt x="198" y="18"/>
                </a:lnTo>
                <a:lnTo>
                  <a:pt x="192" y="18"/>
                </a:lnTo>
                <a:lnTo>
                  <a:pt x="192" y="18"/>
                </a:lnTo>
                <a:lnTo>
                  <a:pt x="192" y="18"/>
                </a:lnTo>
                <a:lnTo>
                  <a:pt x="192" y="18"/>
                </a:lnTo>
                <a:lnTo>
                  <a:pt x="198" y="18"/>
                </a:lnTo>
                <a:lnTo>
                  <a:pt x="198" y="18"/>
                </a:lnTo>
                <a:lnTo>
                  <a:pt x="198" y="18"/>
                </a:lnTo>
                <a:lnTo>
                  <a:pt x="198" y="18"/>
                </a:lnTo>
                <a:lnTo>
                  <a:pt x="198" y="18"/>
                </a:lnTo>
                <a:lnTo>
                  <a:pt x="198" y="24"/>
                </a:lnTo>
                <a:lnTo>
                  <a:pt x="198" y="18"/>
                </a:lnTo>
                <a:lnTo>
                  <a:pt x="198" y="24"/>
                </a:lnTo>
                <a:close/>
                <a:moveTo>
                  <a:pt x="192" y="6"/>
                </a:moveTo>
                <a:lnTo>
                  <a:pt x="192" y="6"/>
                </a:lnTo>
                <a:lnTo>
                  <a:pt x="192" y="12"/>
                </a:lnTo>
                <a:lnTo>
                  <a:pt x="192" y="12"/>
                </a:lnTo>
                <a:lnTo>
                  <a:pt x="192" y="12"/>
                </a:lnTo>
                <a:lnTo>
                  <a:pt x="186" y="18"/>
                </a:lnTo>
                <a:lnTo>
                  <a:pt x="186" y="12"/>
                </a:lnTo>
                <a:lnTo>
                  <a:pt x="186" y="18"/>
                </a:lnTo>
                <a:lnTo>
                  <a:pt x="186" y="18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86" y="36"/>
                </a:lnTo>
                <a:lnTo>
                  <a:pt x="186" y="36"/>
                </a:lnTo>
                <a:lnTo>
                  <a:pt x="186" y="36"/>
                </a:lnTo>
                <a:lnTo>
                  <a:pt x="186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36"/>
                </a:lnTo>
                <a:lnTo>
                  <a:pt x="180" y="30"/>
                </a:lnTo>
                <a:lnTo>
                  <a:pt x="180" y="30"/>
                </a:lnTo>
                <a:lnTo>
                  <a:pt x="180" y="30"/>
                </a:lnTo>
                <a:lnTo>
                  <a:pt x="180" y="24"/>
                </a:lnTo>
                <a:lnTo>
                  <a:pt x="180" y="24"/>
                </a:lnTo>
                <a:lnTo>
                  <a:pt x="186" y="30"/>
                </a:lnTo>
                <a:lnTo>
                  <a:pt x="186" y="30"/>
                </a:lnTo>
                <a:lnTo>
                  <a:pt x="186" y="30"/>
                </a:lnTo>
                <a:lnTo>
                  <a:pt x="180" y="30"/>
                </a:lnTo>
                <a:lnTo>
                  <a:pt x="180" y="30"/>
                </a:lnTo>
                <a:lnTo>
                  <a:pt x="186" y="30"/>
                </a:lnTo>
                <a:lnTo>
                  <a:pt x="186" y="30"/>
                </a:lnTo>
                <a:lnTo>
                  <a:pt x="180" y="30"/>
                </a:lnTo>
                <a:lnTo>
                  <a:pt x="186" y="30"/>
                </a:lnTo>
                <a:lnTo>
                  <a:pt x="186" y="30"/>
                </a:lnTo>
                <a:lnTo>
                  <a:pt x="186" y="24"/>
                </a:lnTo>
                <a:lnTo>
                  <a:pt x="186" y="24"/>
                </a:lnTo>
                <a:lnTo>
                  <a:pt x="186" y="18"/>
                </a:lnTo>
                <a:lnTo>
                  <a:pt x="186" y="12"/>
                </a:lnTo>
                <a:lnTo>
                  <a:pt x="186" y="12"/>
                </a:lnTo>
                <a:lnTo>
                  <a:pt x="186" y="12"/>
                </a:lnTo>
                <a:lnTo>
                  <a:pt x="186" y="6"/>
                </a:lnTo>
                <a:lnTo>
                  <a:pt x="186" y="12"/>
                </a:lnTo>
                <a:lnTo>
                  <a:pt x="186" y="12"/>
                </a:lnTo>
                <a:lnTo>
                  <a:pt x="186" y="6"/>
                </a:lnTo>
                <a:lnTo>
                  <a:pt x="186" y="6"/>
                </a:lnTo>
                <a:lnTo>
                  <a:pt x="186" y="6"/>
                </a:lnTo>
                <a:lnTo>
                  <a:pt x="186" y="6"/>
                </a:lnTo>
                <a:lnTo>
                  <a:pt x="186" y="6"/>
                </a:lnTo>
                <a:lnTo>
                  <a:pt x="192" y="6"/>
                </a:lnTo>
                <a:close/>
                <a:moveTo>
                  <a:pt x="186" y="24"/>
                </a:move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lnTo>
                  <a:pt x="186" y="2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819" name="Freeform 552"/>
          <p:cNvSpPr>
            <a:spLocks noEditPoints="1"/>
          </p:cNvSpPr>
          <p:nvPr/>
        </p:nvSpPr>
        <p:spPr bwMode="auto">
          <a:xfrm>
            <a:off x="8779069" y="2060021"/>
            <a:ext cx="51392" cy="70665"/>
          </a:xfrm>
          <a:custGeom>
            <a:avLst/>
            <a:gdLst>
              <a:gd name="T0" fmla="*/ 42 w 48"/>
              <a:gd name="T1" fmla="*/ 18 h 66"/>
              <a:gd name="T2" fmla="*/ 42 w 48"/>
              <a:gd name="T3" fmla="*/ 18 h 66"/>
              <a:gd name="T4" fmla="*/ 42 w 48"/>
              <a:gd name="T5" fmla="*/ 18 h 66"/>
              <a:gd name="T6" fmla="*/ 42 w 48"/>
              <a:gd name="T7" fmla="*/ 12 h 66"/>
              <a:gd name="T8" fmla="*/ 42 w 48"/>
              <a:gd name="T9" fmla="*/ 12 h 66"/>
              <a:gd name="T10" fmla="*/ 42 w 48"/>
              <a:gd name="T11" fmla="*/ 12 h 66"/>
              <a:gd name="T12" fmla="*/ 42 w 48"/>
              <a:gd name="T13" fmla="*/ 18 h 66"/>
              <a:gd name="T14" fmla="*/ 42 w 48"/>
              <a:gd name="T15" fmla="*/ 18 h 66"/>
              <a:gd name="T16" fmla="*/ 42 w 48"/>
              <a:gd name="T17" fmla="*/ 18 h 66"/>
              <a:gd name="T18" fmla="*/ 6 w 48"/>
              <a:gd name="T19" fmla="*/ 18 h 66"/>
              <a:gd name="T20" fmla="*/ 6 w 48"/>
              <a:gd name="T21" fmla="*/ 12 h 66"/>
              <a:gd name="T22" fmla="*/ 6 w 48"/>
              <a:gd name="T23" fmla="*/ 12 h 66"/>
              <a:gd name="T24" fmla="*/ 12 w 48"/>
              <a:gd name="T25" fmla="*/ 12 h 66"/>
              <a:gd name="T26" fmla="*/ 18 w 48"/>
              <a:gd name="T27" fmla="*/ 6 h 66"/>
              <a:gd name="T28" fmla="*/ 30 w 48"/>
              <a:gd name="T29" fmla="*/ 6 h 66"/>
              <a:gd name="T30" fmla="*/ 30 w 48"/>
              <a:gd name="T31" fmla="*/ 0 h 66"/>
              <a:gd name="T32" fmla="*/ 36 w 48"/>
              <a:gd name="T33" fmla="*/ 0 h 66"/>
              <a:gd name="T34" fmla="*/ 42 w 48"/>
              <a:gd name="T35" fmla="*/ 6 h 66"/>
              <a:gd name="T36" fmla="*/ 42 w 48"/>
              <a:gd name="T37" fmla="*/ 12 h 66"/>
              <a:gd name="T38" fmla="*/ 42 w 48"/>
              <a:gd name="T39" fmla="*/ 12 h 66"/>
              <a:gd name="T40" fmla="*/ 42 w 48"/>
              <a:gd name="T41" fmla="*/ 18 h 66"/>
              <a:gd name="T42" fmla="*/ 42 w 48"/>
              <a:gd name="T43" fmla="*/ 18 h 66"/>
              <a:gd name="T44" fmla="*/ 42 w 48"/>
              <a:gd name="T45" fmla="*/ 12 h 66"/>
              <a:gd name="T46" fmla="*/ 42 w 48"/>
              <a:gd name="T47" fmla="*/ 24 h 66"/>
              <a:gd name="T48" fmla="*/ 42 w 48"/>
              <a:gd name="T49" fmla="*/ 24 h 66"/>
              <a:gd name="T50" fmla="*/ 48 w 48"/>
              <a:gd name="T51" fmla="*/ 36 h 66"/>
              <a:gd name="T52" fmla="*/ 48 w 48"/>
              <a:gd name="T53" fmla="*/ 36 h 66"/>
              <a:gd name="T54" fmla="*/ 48 w 48"/>
              <a:gd name="T55" fmla="*/ 48 h 66"/>
              <a:gd name="T56" fmla="*/ 48 w 48"/>
              <a:gd name="T57" fmla="*/ 54 h 66"/>
              <a:gd name="T58" fmla="*/ 48 w 48"/>
              <a:gd name="T59" fmla="*/ 60 h 66"/>
              <a:gd name="T60" fmla="*/ 48 w 48"/>
              <a:gd name="T61" fmla="*/ 66 h 66"/>
              <a:gd name="T62" fmla="*/ 48 w 48"/>
              <a:gd name="T63" fmla="*/ 66 h 66"/>
              <a:gd name="T64" fmla="*/ 48 w 48"/>
              <a:gd name="T65" fmla="*/ 66 h 66"/>
              <a:gd name="T66" fmla="*/ 42 w 48"/>
              <a:gd name="T67" fmla="*/ 60 h 66"/>
              <a:gd name="T68" fmla="*/ 42 w 48"/>
              <a:gd name="T69" fmla="*/ 60 h 66"/>
              <a:gd name="T70" fmla="*/ 36 w 48"/>
              <a:gd name="T71" fmla="*/ 60 h 66"/>
              <a:gd name="T72" fmla="*/ 36 w 48"/>
              <a:gd name="T73" fmla="*/ 54 h 66"/>
              <a:gd name="T74" fmla="*/ 30 w 48"/>
              <a:gd name="T75" fmla="*/ 54 h 66"/>
              <a:gd name="T76" fmla="*/ 30 w 48"/>
              <a:gd name="T77" fmla="*/ 54 h 66"/>
              <a:gd name="T78" fmla="*/ 24 w 48"/>
              <a:gd name="T79" fmla="*/ 54 h 66"/>
              <a:gd name="T80" fmla="*/ 18 w 48"/>
              <a:gd name="T81" fmla="*/ 54 h 66"/>
              <a:gd name="T82" fmla="*/ 18 w 48"/>
              <a:gd name="T83" fmla="*/ 36 h 66"/>
              <a:gd name="T84" fmla="*/ 18 w 48"/>
              <a:gd name="T85" fmla="*/ 36 h 66"/>
              <a:gd name="T86" fmla="*/ 0 w 48"/>
              <a:gd name="T87" fmla="*/ 24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8" h="66">
                <a:moveTo>
                  <a:pt x="42" y="18"/>
                </a:move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8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close/>
                <a:moveTo>
                  <a:pt x="0" y="24"/>
                </a:moveTo>
                <a:lnTo>
                  <a:pt x="6" y="18"/>
                </a:lnTo>
                <a:lnTo>
                  <a:pt x="6" y="18"/>
                </a:lnTo>
                <a:lnTo>
                  <a:pt x="6" y="18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12"/>
                </a:lnTo>
                <a:lnTo>
                  <a:pt x="6" y="6"/>
                </a:lnTo>
                <a:lnTo>
                  <a:pt x="12" y="12"/>
                </a:lnTo>
                <a:lnTo>
                  <a:pt x="12" y="12"/>
                </a:lnTo>
                <a:lnTo>
                  <a:pt x="12" y="6"/>
                </a:lnTo>
                <a:lnTo>
                  <a:pt x="12" y="6"/>
                </a:lnTo>
                <a:lnTo>
                  <a:pt x="18" y="6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6"/>
                </a:lnTo>
                <a:lnTo>
                  <a:pt x="30" y="6"/>
                </a:lnTo>
                <a:lnTo>
                  <a:pt x="30" y="0"/>
                </a:lnTo>
                <a:lnTo>
                  <a:pt x="36" y="0"/>
                </a:lnTo>
                <a:lnTo>
                  <a:pt x="36" y="0"/>
                </a:lnTo>
                <a:lnTo>
                  <a:pt x="36" y="0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6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8" y="18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30"/>
                </a:lnTo>
                <a:lnTo>
                  <a:pt x="48" y="30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42"/>
                </a:lnTo>
                <a:lnTo>
                  <a:pt x="48" y="42"/>
                </a:lnTo>
                <a:lnTo>
                  <a:pt x="48" y="48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60"/>
                </a:lnTo>
                <a:lnTo>
                  <a:pt x="48" y="60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36" y="60"/>
                </a:lnTo>
                <a:lnTo>
                  <a:pt x="36" y="60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48"/>
                </a:lnTo>
                <a:lnTo>
                  <a:pt x="30" y="48"/>
                </a:lnTo>
                <a:lnTo>
                  <a:pt x="30" y="54"/>
                </a:lnTo>
                <a:lnTo>
                  <a:pt x="30" y="54"/>
                </a:lnTo>
                <a:lnTo>
                  <a:pt x="24" y="54"/>
                </a:lnTo>
                <a:lnTo>
                  <a:pt x="24" y="54"/>
                </a:lnTo>
                <a:lnTo>
                  <a:pt x="24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2" y="48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0"/>
                </a:lnTo>
                <a:lnTo>
                  <a:pt x="12" y="30"/>
                </a:lnTo>
                <a:lnTo>
                  <a:pt x="0" y="2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821" name="Freeform 554"/>
          <p:cNvSpPr>
            <a:spLocks noEditPoints="1"/>
          </p:cNvSpPr>
          <p:nvPr/>
        </p:nvSpPr>
        <p:spPr bwMode="auto">
          <a:xfrm>
            <a:off x="7789765" y="4167125"/>
            <a:ext cx="160601" cy="64241"/>
          </a:xfrm>
          <a:custGeom>
            <a:avLst/>
            <a:gdLst>
              <a:gd name="T0" fmla="*/ 6 w 150"/>
              <a:gd name="T1" fmla="*/ 42 h 60"/>
              <a:gd name="T2" fmla="*/ 12 w 150"/>
              <a:gd name="T3" fmla="*/ 36 h 60"/>
              <a:gd name="T4" fmla="*/ 12 w 150"/>
              <a:gd name="T5" fmla="*/ 30 h 60"/>
              <a:gd name="T6" fmla="*/ 18 w 150"/>
              <a:gd name="T7" fmla="*/ 30 h 60"/>
              <a:gd name="T8" fmla="*/ 24 w 150"/>
              <a:gd name="T9" fmla="*/ 30 h 60"/>
              <a:gd name="T10" fmla="*/ 30 w 150"/>
              <a:gd name="T11" fmla="*/ 24 h 60"/>
              <a:gd name="T12" fmla="*/ 42 w 150"/>
              <a:gd name="T13" fmla="*/ 18 h 60"/>
              <a:gd name="T14" fmla="*/ 42 w 150"/>
              <a:gd name="T15" fmla="*/ 12 h 60"/>
              <a:gd name="T16" fmla="*/ 48 w 150"/>
              <a:gd name="T17" fmla="*/ 12 h 60"/>
              <a:gd name="T18" fmla="*/ 48 w 150"/>
              <a:gd name="T19" fmla="*/ 12 h 60"/>
              <a:gd name="T20" fmla="*/ 54 w 150"/>
              <a:gd name="T21" fmla="*/ 12 h 60"/>
              <a:gd name="T22" fmla="*/ 54 w 150"/>
              <a:gd name="T23" fmla="*/ 12 h 60"/>
              <a:gd name="T24" fmla="*/ 60 w 150"/>
              <a:gd name="T25" fmla="*/ 18 h 60"/>
              <a:gd name="T26" fmla="*/ 66 w 150"/>
              <a:gd name="T27" fmla="*/ 12 h 60"/>
              <a:gd name="T28" fmla="*/ 72 w 150"/>
              <a:gd name="T29" fmla="*/ 12 h 60"/>
              <a:gd name="T30" fmla="*/ 78 w 150"/>
              <a:gd name="T31" fmla="*/ 12 h 60"/>
              <a:gd name="T32" fmla="*/ 78 w 150"/>
              <a:gd name="T33" fmla="*/ 12 h 60"/>
              <a:gd name="T34" fmla="*/ 84 w 150"/>
              <a:gd name="T35" fmla="*/ 12 h 60"/>
              <a:gd name="T36" fmla="*/ 90 w 150"/>
              <a:gd name="T37" fmla="*/ 12 h 60"/>
              <a:gd name="T38" fmla="*/ 102 w 150"/>
              <a:gd name="T39" fmla="*/ 0 h 60"/>
              <a:gd name="T40" fmla="*/ 108 w 150"/>
              <a:gd name="T41" fmla="*/ 0 h 60"/>
              <a:gd name="T42" fmla="*/ 132 w 150"/>
              <a:gd name="T43" fmla="*/ 12 h 60"/>
              <a:gd name="T44" fmla="*/ 138 w 150"/>
              <a:gd name="T45" fmla="*/ 18 h 60"/>
              <a:gd name="T46" fmla="*/ 138 w 150"/>
              <a:gd name="T47" fmla="*/ 18 h 60"/>
              <a:gd name="T48" fmla="*/ 138 w 150"/>
              <a:gd name="T49" fmla="*/ 18 h 60"/>
              <a:gd name="T50" fmla="*/ 144 w 150"/>
              <a:gd name="T51" fmla="*/ 12 h 60"/>
              <a:gd name="T52" fmla="*/ 144 w 150"/>
              <a:gd name="T53" fmla="*/ 18 h 60"/>
              <a:gd name="T54" fmla="*/ 150 w 150"/>
              <a:gd name="T55" fmla="*/ 12 h 60"/>
              <a:gd name="T56" fmla="*/ 132 w 150"/>
              <a:gd name="T57" fmla="*/ 24 h 60"/>
              <a:gd name="T58" fmla="*/ 96 w 150"/>
              <a:gd name="T59" fmla="*/ 30 h 60"/>
              <a:gd name="T60" fmla="*/ 78 w 150"/>
              <a:gd name="T61" fmla="*/ 42 h 60"/>
              <a:gd name="T62" fmla="*/ 66 w 150"/>
              <a:gd name="T63" fmla="*/ 48 h 60"/>
              <a:gd name="T64" fmla="*/ 66 w 150"/>
              <a:gd name="T65" fmla="*/ 54 h 60"/>
              <a:gd name="T66" fmla="*/ 60 w 150"/>
              <a:gd name="T67" fmla="*/ 54 h 60"/>
              <a:gd name="T68" fmla="*/ 54 w 150"/>
              <a:gd name="T69" fmla="*/ 54 h 60"/>
              <a:gd name="T70" fmla="*/ 48 w 150"/>
              <a:gd name="T71" fmla="*/ 54 h 60"/>
              <a:gd name="T72" fmla="*/ 42 w 150"/>
              <a:gd name="T73" fmla="*/ 54 h 60"/>
              <a:gd name="T74" fmla="*/ 42 w 150"/>
              <a:gd name="T75" fmla="*/ 54 h 60"/>
              <a:gd name="T76" fmla="*/ 30 w 150"/>
              <a:gd name="T77" fmla="*/ 54 h 60"/>
              <a:gd name="T78" fmla="*/ 24 w 150"/>
              <a:gd name="T79" fmla="*/ 60 h 60"/>
              <a:gd name="T80" fmla="*/ 24 w 150"/>
              <a:gd name="T81" fmla="*/ 60 h 60"/>
              <a:gd name="T82" fmla="*/ 18 w 150"/>
              <a:gd name="T83" fmla="*/ 54 h 60"/>
              <a:gd name="T84" fmla="*/ 18 w 150"/>
              <a:gd name="T85" fmla="*/ 60 h 60"/>
              <a:gd name="T86" fmla="*/ 12 w 150"/>
              <a:gd name="T87" fmla="*/ 60 h 60"/>
              <a:gd name="T88" fmla="*/ 6 w 150"/>
              <a:gd name="T89" fmla="*/ 60 h 60"/>
              <a:gd name="T90" fmla="*/ 6 w 150"/>
              <a:gd name="T91" fmla="*/ 54 h 60"/>
              <a:gd name="T92" fmla="*/ 6 w 150"/>
              <a:gd name="T93" fmla="*/ 54 h 60"/>
              <a:gd name="T94" fmla="*/ 6 w 150"/>
              <a:gd name="T95" fmla="*/ 48 h 60"/>
              <a:gd name="T96" fmla="*/ 0 w 150"/>
              <a:gd name="T97" fmla="*/ 42 h 60"/>
              <a:gd name="T98" fmla="*/ 78 w 150"/>
              <a:gd name="T99" fmla="*/ 54 h 60"/>
              <a:gd name="T100" fmla="*/ 78 w 150"/>
              <a:gd name="T101" fmla="*/ 54 h 60"/>
              <a:gd name="T102" fmla="*/ 78 w 150"/>
              <a:gd name="T103" fmla="*/ 54 h 60"/>
              <a:gd name="T104" fmla="*/ 78 w 150"/>
              <a:gd name="T105" fmla="*/ 54 h 60"/>
              <a:gd name="T106" fmla="*/ 78 w 150"/>
              <a:gd name="T107" fmla="*/ 54 h 60"/>
              <a:gd name="T108" fmla="*/ 78 w 150"/>
              <a:gd name="T109" fmla="*/ 54 h 60"/>
              <a:gd name="T110" fmla="*/ 78 w 150"/>
              <a:gd name="T111" fmla="*/ 54 h 60"/>
              <a:gd name="T112" fmla="*/ 78 w 150"/>
              <a:gd name="T113" fmla="*/ 54 h 60"/>
              <a:gd name="T114" fmla="*/ 78 w 150"/>
              <a:gd name="T115" fmla="*/ 54 h 60"/>
              <a:gd name="T116" fmla="*/ 72 w 150"/>
              <a:gd name="T117" fmla="*/ 54 h 60"/>
              <a:gd name="T118" fmla="*/ 72 w 150"/>
              <a:gd name="T119" fmla="*/ 54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50" h="60">
                <a:moveTo>
                  <a:pt x="0" y="42"/>
                </a:moveTo>
                <a:lnTo>
                  <a:pt x="0" y="42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12" y="36"/>
                </a:lnTo>
                <a:lnTo>
                  <a:pt x="12" y="36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30" y="24"/>
                </a:lnTo>
                <a:lnTo>
                  <a:pt x="30" y="24"/>
                </a:lnTo>
                <a:lnTo>
                  <a:pt x="36" y="18"/>
                </a:lnTo>
                <a:lnTo>
                  <a:pt x="36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12"/>
                </a:lnTo>
                <a:lnTo>
                  <a:pt x="48" y="6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60" y="18"/>
                </a:lnTo>
                <a:lnTo>
                  <a:pt x="60" y="18"/>
                </a:lnTo>
                <a:lnTo>
                  <a:pt x="66" y="18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84" y="12"/>
                </a:lnTo>
                <a:lnTo>
                  <a:pt x="84" y="12"/>
                </a:lnTo>
                <a:lnTo>
                  <a:pt x="84" y="6"/>
                </a:lnTo>
                <a:lnTo>
                  <a:pt x="84" y="12"/>
                </a:lnTo>
                <a:lnTo>
                  <a:pt x="90" y="6"/>
                </a:lnTo>
                <a:lnTo>
                  <a:pt x="90" y="6"/>
                </a:lnTo>
                <a:lnTo>
                  <a:pt x="90" y="12"/>
                </a:lnTo>
                <a:lnTo>
                  <a:pt x="90" y="12"/>
                </a:lnTo>
                <a:lnTo>
                  <a:pt x="96" y="12"/>
                </a:lnTo>
                <a:lnTo>
                  <a:pt x="96" y="6"/>
                </a:lnTo>
                <a:lnTo>
                  <a:pt x="102" y="6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26" y="6"/>
                </a:lnTo>
                <a:lnTo>
                  <a:pt x="132" y="12"/>
                </a:lnTo>
                <a:lnTo>
                  <a:pt x="132" y="18"/>
                </a:lnTo>
                <a:lnTo>
                  <a:pt x="132" y="18"/>
                </a:lnTo>
                <a:lnTo>
                  <a:pt x="138" y="12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2"/>
                </a:lnTo>
                <a:lnTo>
                  <a:pt x="144" y="18"/>
                </a:lnTo>
                <a:lnTo>
                  <a:pt x="144" y="12"/>
                </a:lnTo>
                <a:lnTo>
                  <a:pt x="144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12"/>
                </a:lnTo>
                <a:lnTo>
                  <a:pt x="144" y="12"/>
                </a:lnTo>
                <a:lnTo>
                  <a:pt x="150" y="12"/>
                </a:lnTo>
                <a:lnTo>
                  <a:pt x="150" y="12"/>
                </a:lnTo>
                <a:lnTo>
                  <a:pt x="144" y="18"/>
                </a:lnTo>
                <a:lnTo>
                  <a:pt x="138" y="18"/>
                </a:lnTo>
                <a:lnTo>
                  <a:pt x="132" y="24"/>
                </a:lnTo>
                <a:lnTo>
                  <a:pt x="126" y="24"/>
                </a:lnTo>
                <a:lnTo>
                  <a:pt x="108" y="30"/>
                </a:lnTo>
                <a:lnTo>
                  <a:pt x="102" y="30"/>
                </a:lnTo>
                <a:lnTo>
                  <a:pt x="96" y="30"/>
                </a:lnTo>
                <a:lnTo>
                  <a:pt x="90" y="36"/>
                </a:lnTo>
                <a:lnTo>
                  <a:pt x="84" y="36"/>
                </a:lnTo>
                <a:lnTo>
                  <a:pt x="84" y="36"/>
                </a:lnTo>
                <a:lnTo>
                  <a:pt x="78" y="42"/>
                </a:lnTo>
                <a:lnTo>
                  <a:pt x="72" y="42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6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60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60"/>
                </a:lnTo>
                <a:lnTo>
                  <a:pt x="54" y="54"/>
                </a:lnTo>
                <a:lnTo>
                  <a:pt x="54" y="60"/>
                </a:lnTo>
                <a:lnTo>
                  <a:pt x="48" y="54"/>
                </a:lnTo>
                <a:lnTo>
                  <a:pt x="48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0" y="54"/>
                </a:lnTo>
                <a:lnTo>
                  <a:pt x="30" y="54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close/>
                <a:moveTo>
                  <a:pt x="78" y="54"/>
                </a:move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close/>
                <a:moveTo>
                  <a:pt x="72" y="54"/>
                </a:move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822" name="Freeform 555"/>
          <p:cNvSpPr>
            <a:spLocks noEditPoints="1"/>
          </p:cNvSpPr>
          <p:nvPr/>
        </p:nvSpPr>
        <p:spPr bwMode="auto">
          <a:xfrm>
            <a:off x="7423595" y="4289182"/>
            <a:ext cx="109209" cy="70665"/>
          </a:xfrm>
          <a:custGeom>
            <a:avLst/>
            <a:gdLst>
              <a:gd name="T0" fmla="*/ 48 w 102"/>
              <a:gd name="T1" fmla="*/ 24 h 66"/>
              <a:gd name="T2" fmla="*/ 72 w 102"/>
              <a:gd name="T3" fmla="*/ 48 h 66"/>
              <a:gd name="T4" fmla="*/ 72 w 102"/>
              <a:gd name="T5" fmla="*/ 36 h 66"/>
              <a:gd name="T6" fmla="*/ 84 w 102"/>
              <a:gd name="T7" fmla="*/ 30 h 66"/>
              <a:gd name="T8" fmla="*/ 96 w 102"/>
              <a:gd name="T9" fmla="*/ 36 h 66"/>
              <a:gd name="T10" fmla="*/ 102 w 102"/>
              <a:gd name="T11" fmla="*/ 42 h 66"/>
              <a:gd name="T12" fmla="*/ 90 w 102"/>
              <a:gd name="T13" fmla="*/ 42 h 66"/>
              <a:gd name="T14" fmla="*/ 12 w 102"/>
              <a:gd name="T15" fmla="*/ 36 h 66"/>
              <a:gd name="T16" fmla="*/ 12 w 102"/>
              <a:gd name="T17" fmla="*/ 24 h 66"/>
              <a:gd name="T18" fmla="*/ 24 w 102"/>
              <a:gd name="T19" fmla="*/ 12 h 66"/>
              <a:gd name="T20" fmla="*/ 48 w 102"/>
              <a:gd name="T21" fmla="*/ 6 h 66"/>
              <a:gd name="T22" fmla="*/ 60 w 102"/>
              <a:gd name="T23" fmla="*/ 0 h 66"/>
              <a:gd name="T24" fmla="*/ 84 w 102"/>
              <a:gd name="T25" fmla="*/ 0 h 66"/>
              <a:gd name="T26" fmla="*/ 96 w 102"/>
              <a:gd name="T27" fmla="*/ 18 h 66"/>
              <a:gd name="T28" fmla="*/ 84 w 102"/>
              <a:gd name="T29" fmla="*/ 24 h 66"/>
              <a:gd name="T30" fmla="*/ 78 w 102"/>
              <a:gd name="T31" fmla="*/ 24 h 66"/>
              <a:gd name="T32" fmla="*/ 72 w 102"/>
              <a:gd name="T33" fmla="*/ 24 h 66"/>
              <a:gd name="T34" fmla="*/ 72 w 102"/>
              <a:gd name="T35" fmla="*/ 12 h 66"/>
              <a:gd name="T36" fmla="*/ 66 w 102"/>
              <a:gd name="T37" fmla="*/ 12 h 66"/>
              <a:gd name="T38" fmla="*/ 60 w 102"/>
              <a:gd name="T39" fmla="*/ 12 h 66"/>
              <a:gd name="T40" fmla="*/ 60 w 102"/>
              <a:gd name="T41" fmla="*/ 24 h 66"/>
              <a:gd name="T42" fmla="*/ 42 w 102"/>
              <a:gd name="T43" fmla="*/ 24 h 66"/>
              <a:gd name="T44" fmla="*/ 30 w 102"/>
              <a:gd name="T45" fmla="*/ 30 h 66"/>
              <a:gd name="T46" fmla="*/ 24 w 102"/>
              <a:gd name="T47" fmla="*/ 42 h 66"/>
              <a:gd name="T48" fmla="*/ 24 w 102"/>
              <a:gd name="T49" fmla="*/ 48 h 66"/>
              <a:gd name="T50" fmla="*/ 36 w 102"/>
              <a:gd name="T51" fmla="*/ 48 h 66"/>
              <a:gd name="T52" fmla="*/ 24 w 102"/>
              <a:gd name="T53" fmla="*/ 54 h 66"/>
              <a:gd name="T54" fmla="*/ 36 w 102"/>
              <a:gd name="T55" fmla="*/ 54 h 66"/>
              <a:gd name="T56" fmla="*/ 48 w 102"/>
              <a:gd name="T57" fmla="*/ 54 h 66"/>
              <a:gd name="T58" fmla="*/ 36 w 102"/>
              <a:gd name="T59" fmla="*/ 66 h 66"/>
              <a:gd name="T60" fmla="*/ 24 w 102"/>
              <a:gd name="T61" fmla="*/ 66 h 66"/>
              <a:gd name="T62" fmla="*/ 12 w 102"/>
              <a:gd name="T63" fmla="*/ 54 h 66"/>
              <a:gd name="T64" fmla="*/ 24 w 102"/>
              <a:gd name="T65" fmla="*/ 66 h 66"/>
              <a:gd name="T66" fmla="*/ 30 w 102"/>
              <a:gd name="T67" fmla="*/ 66 h 66"/>
              <a:gd name="T68" fmla="*/ 42 w 102"/>
              <a:gd name="T69" fmla="*/ 66 h 66"/>
              <a:gd name="T70" fmla="*/ 42 w 102"/>
              <a:gd name="T71" fmla="*/ 48 h 66"/>
              <a:gd name="T72" fmla="*/ 42 w 102"/>
              <a:gd name="T73" fmla="*/ 48 h 66"/>
              <a:gd name="T74" fmla="*/ 42 w 102"/>
              <a:gd name="T75" fmla="*/ 42 h 66"/>
              <a:gd name="T76" fmla="*/ 42 w 102"/>
              <a:gd name="T77" fmla="*/ 48 h 66"/>
              <a:gd name="T78" fmla="*/ 42 w 102"/>
              <a:gd name="T79" fmla="*/ 42 h 66"/>
              <a:gd name="T80" fmla="*/ 30 w 102"/>
              <a:gd name="T81" fmla="*/ 48 h 66"/>
              <a:gd name="T82" fmla="*/ 36 w 102"/>
              <a:gd name="T83" fmla="*/ 48 h 66"/>
              <a:gd name="T84" fmla="*/ 24 w 102"/>
              <a:gd name="T85" fmla="*/ 48 h 66"/>
              <a:gd name="T86" fmla="*/ 30 w 102"/>
              <a:gd name="T87" fmla="*/ 42 h 66"/>
              <a:gd name="T88" fmla="*/ 30 w 102"/>
              <a:gd name="T89" fmla="*/ 42 h 66"/>
              <a:gd name="T90" fmla="*/ 30 w 102"/>
              <a:gd name="T91" fmla="*/ 42 h 66"/>
              <a:gd name="T92" fmla="*/ 30 w 102"/>
              <a:gd name="T93" fmla="*/ 36 h 66"/>
              <a:gd name="T94" fmla="*/ 30 w 102"/>
              <a:gd name="T95" fmla="*/ 36 h 66"/>
              <a:gd name="T96" fmla="*/ 30 w 102"/>
              <a:gd name="T97" fmla="*/ 30 h 66"/>
              <a:gd name="T98" fmla="*/ 30 w 102"/>
              <a:gd name="T99" fmla="*/ 30 h 66"/>
              <a:gd name="T100" fmla="*/ 30 w 102"/>
              <a:gd name="T101" fmla="*/ 30 h 66"/>
              <a:gd name="T102" fmla="*/ 36 w 102"/>
              <a:gd name="T103" fmla="*/ 30 h 66"/>
              <a:gd name="T104" fmla="*/ 30 w 102"/>
              <a:gd name="T105" fmla="*/ 30 h 66"/>
              <a:gd name="T106" fmla="*/ 36 w 102"/>
              <a:gd name="T107" fmla="*/ 30 h 66"/>
              <a:gd name="T108" fmla="*/ 36 w 102"/>
              <a:gd name="T109" fmla="*/ 24 h 66"/>
              <a:gd name="T110" fmla="*/ 36 w 102"/>
              <a:gd name="T111" fmla="*/ 24 h 66"/>
              <a:gd name="T112" fmla="*/ 36 w 102"/>
              <a:gd name="T113" fmla="*/ 24 h 66"/>
              <a:gd name="T114" fmla="*/ 36 w 102"/>
              <a:gd name="T115" fmla="*/ 30 h 66"/>
              <a:gd name="T116" fmla="*/ 42 w 102"/>
              <a:gd name="T117" fmla="*/ 30 h 66"/>
              <a:gd name="T118" fmla="*/ 42 w 102"/>
              <a:gd name="T119" fmla="*/ 24 h 66"/>
              <a:gd name="T120" fmla="*/ 42 w 102"/>
              <a:gd name="T121" fmla="*/ 30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2" h="66">
                <a:moveTo>
                  <a:pt x="42" y="24"/>
                </a:move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close/>
                <a:moveTo>
                  <a:pt x="48" y="24"/>
                </a:move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close/>
                <a:moveTo>
                  <a:pt x="84" y="48"/>
                </a:moveTo>
                <a:lnTo>
                  <a:pt x="84" y="48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78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84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6"/>
                </a:lnTo>
                <a:lnTo>
                  <a:pt x="90" y="30"/>
                </a:lnTo>
                <a:lnTo>
                  <a:pt x="90" y="30"/>
                </a:lnTo>
                <a:lnTo>
                  <a:pt x="90" y="36"/>
                </a:lnTo>
                <a:lnTo>
                  <a:pt x="90" y="36"/>
                </a:lnTo>
                <a:lnTo>
                  <a:pt x="90" y="30"/>
                </a:lnTo>
                <a:lnTo>
                  <a:pt x="90" y="36"/>
                </a:lnTo>
                <a:lnTo>
                  <a:pt x="90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96" y="36"/>
                </a:lnTo>
                <a:lnTo>
                  <a:pt x="96" y="36"/>
                </a:lnTo>
                <a:lnTo>
                  <a:pt x="102" y="36"/>
                </a:lnTo>
                <a:lnTo>
                  <a:pt x="96" y="42"/>
                </a:lnTo>
                <a:lnTo>
                  <a:pt x="96" y="42"/>
                </a:lnTo>
                <a:lnTo>
                  <a:pt x="102" y="42"/>
                </a:lnTo>
                <a:lnTo>
                  <a:pt x="102" y="36"/>
                </a:lnTo>
                <a:lnTo>
                  <a:pt x="102" y="36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8"/>
                </a:lnTo>
                <a:lnTo>
                  <a:pt x="90" y="42"/>
                </a:lnTo>
                <a:lnTo>
                  <a:pt x="90" y="42"/>
                </a:lnTo>
                <a:lnTo>
                  <a:pt x="84" y="42"/>
                </a:lnTo>
                <a:lnTo>
                  <a:pt x="84" y="42"/>
                </a:lnTo>
                <a:lnTo>
                  <a:pt x="84" y="42"/>
                </a:lnTo>
                <a:lnTo>
                  <a:pt x="84" y="48"/>
                </a:lnTo>
                <a:close/>
                <a:moveTo>
                  <a:pt x="0" y="48"/>
                </a:move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6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30" y="6"/>
                </a:lnTo>
                <a:lnTo>
                  <a:pt x="30" y="12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0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0"/>
                </a:lnTo>
                <a:lnTo>
                  <a:pt x="48" y="0"/>
                </a:lnTo>
                <a:lnTo>
                  <a:pt x="48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lnTo>
                  <a:pt x="54" y="6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0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2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78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0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90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84" y="24"/>
                </a:lnTo>
                <a:lnTo>
                  <a:pt x="90" y="24"/>
                </a:lnTo>
                <a:lnTo>
                  <a:pt x="90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84" y="18"/>
                </a:lnTo>
                <a:lnTo>
                  <a:pt x="78" y="18"/>
                </a:lnTo>
                <a:lnTo>
                  <a:pt x="78" y="18"/>
                </a:lnTo>
                <a:lnTo>
                  <a:pt x="78" y="24"/>
                </a:lnTo>
                <a:lnTo>
                  <a:pt x="78" y="18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8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24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8" y="18"/>
                </a:lnTo>
                <a:lnTo>
                  <a:pt x="78" y="18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6"/>
                </a:lnTo>
                <a:lnTo>
                  <a:pt x="72" y="12"/>
                </a:lnTo>
                <a:lnTo>
                  <a:pt x="72" y="6"/>
                </a:lnTo>
                <a:lnTo>
                  <a:pt x="72" y="6"/>
                </a:lnTo>
                <a:lnTo>
                  <a:pt x="72" y="12"/>
                </a:lnTo>
                <a:lnTo>
                  <a:pt x="72" y="6"/>
                </a:lnTo>
                <a:lnTo>
                  <a:pt x="72" y="6"/>
                </a:lnTo>
                <a:lnTo>
                  <a:pt x="72" y="12"/>
                </a:lnTo>
                <a:lnTo>
                  <a:pt x="66" y="12"/>
                </a:lnTo>
                <a:lnTo>
                  <a:pt x="72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8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24"/>
                </a:lnTo>
                <a:lnTo>
                  <a:pt x="60" y="24"/>
                </a:lnTo>
                <a:lnTo>
                  <a:pt x="60" y="24"/>
                </a:lnTo>
                <a:lnTo>
                  <a:pt x="60" y="18"/>
                </a:lnTo>
                <a:lnTo>
                  <a:pt x="54" y="24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36" y="30"/>
                </a:lnTo>
                <a:lnTo>
                  <a:pt x="42" y="24"/>
                </a:lnTo>
                <a:lnTo>
                  <a:pt x="42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24" y="30"/>
                </a:lnTo>
                <a:lnTo>
                  <a:pt x="30" y="30"/>
                </a:lnTo>
                <a:lnTo>
                  <a:pt x="24" y="30"/>
                </a:lnTo>
                <a:lnTo>
                  <a:pt x="30" y="30"/>
                </a:lnTo>
                <a:lnTo>
                  <a:pt x="24" y="30"/>
                </a:lnTo>
                <a:lnTo>
                  <a:pt x="24" y="30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6" y="42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24" y="54"/>
                </a:lnTo>
                <a:lnTo>
                  <a:pt x="30" y="54"/>
                </a:lnTo>
                <a:lnTo>
                  <a:pt x="30" y="48"/>
                </a:lnTo>
                <a:lnTo>
                  <a:pt x="30" y="54"/>
                </a:lnTo>
                <a:lnTo>
                  <a:pt x="30" y="54"/>
                </a:lnTo>
                <a:lnTo>
                  <a:pt x="30" y="48"/>
                </a:lnTo>
                <a:lnTo>
                  <a:pt x="30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54"/>
                </a:lnTo>
                <a:lnTo>
                  <a:pt x="30" y="54"/>
                </a:lnTo>
                <a:lnTo>
                  <a:pt x="30" y="60"/>
                </a:lnTo>
                <a:lnTo>
                  <a:pt x="36" y="60"/>
                </a:lnTo>
                <a:lnTo>
                  <a:pt x="30" y="60"/>
                </a:lnTo>
                <a:lnTo>
                  <a:pt x="30" y="54"/>
                </a:lnTo>
                <a:lnTo>
                  <a:pt x="30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54" y="60"/>
                </a:lnTo>
                <a:lnTo>
                  <a:pt x="48" y="60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60"/>
                </a:lnTo>
                <a:lnTo>
                  <a:pt x="48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6"/>
                </a:lnTo>
                <a:lnTo>
                  <a:pt x="42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6" y="60"/>
                </a:lnTo>
                <a:lnTo>
                  <a:pt x="36" y="60"/>
                </a:lnTo>
                <a:lnTo>
                  <a:pt x="30" y="60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0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6"/>
                </a:lnTo>
                <a:lnTo>
                  <a:pt x="18" y="60"/>
                </a:lnTo>
                <a:lnTo>
                  <a:pt x="18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54"/>
                </a:lnTo>
                <a:lnTo>
                  <a:pt x="12" y="54"/>
                </a:lnTo>
                <a:lnTo>
                  <a:pt x="6" y="54"/>
                </a:lnTo>
                <a:lnTo>
                  <a:pt x="12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0" y="54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close/>
                <a:moveTo>
                  <a:pt x="24" y="66"/>
                </a:move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lnTo>
                  <a:pt x="24" y="66"/>
                </a:lnTo>
                <a:close/>
                <a:moveTo>
                  <a:pt x="30" y="66"/>
                </a:move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close/>
                <a:moveTo>
                  <a:pt x="42" y="66"/>
                </a:move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close/>
                <a:moveTo>
                  <a:pt x="42" y="54"/>
                </a:move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close/>
                <a:moveTo>
                  <a:pt x="42" y="48"/>
                </a:move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close/>
                <a:moveTo>
                  <a:pt x="42" y="48"/>
                </a:move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close/>
                <a:moveTo>
                  <a:pt x="36" y="48"/>
                </a:moveTo>
                <a:lnTo>
                  <a:pt x="36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close/>
                <a:moveTo>
                  <a:pt x="42" y="42"/>
                </a:move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2"/>
                </a:lnTo>
                <a:close/>
                <a:moveTo>
                  <a:pt x="42" y="42"/>
                </a:move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close/>
                <a:moveTo>
                  <a:pt x="30" y="48"/>
                </a:move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close/>
                <a:moveTo>
                  <a:pt x="30" y="48"/>
                </a:move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close/>
                <a:moveTo>
                  <a:pt x="24" y="48"/>
                </a:move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close/>
                <a:moveTo>
                  <a:pt x="30" y="42"/>
                </a:move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close/>
                <a:moveTo>
                  <a:pt x="30" y="42"/>
                </a:move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close/>
                <a:moveTo>
                  <a:pt x="30" y="42"/>
                </a:move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close/>
                <a:moveTo>
                  <a:pt x="24" y="42"/>
                </a:moveTo>
                <a:lnTo>
                  <a:pt x="24" y="42"/>
                </a:lnTo>
                <a:lnTo>
                  <a:pt x="30" y="36"/>
                </a:lnTo>
                <a:lnTo>
                  <a:pt x="30" y="42"/>
                </a:lnTo>
                <a:lnTo>
                  <a:pt x="24" y="42"/>
                </a:lnTo>
                <a:lnTo>
                  <a:pt x="24" y="42"/>
                </a:lnTo>
                <a:close/>
                <a:moveTo>
                  <a:pt x="30" y="36"/>
                </a:move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close/>
                <a:moveTo>
                  <a:pt x="24" y="36"/>
                </a:move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close/>
                <a:moveTo>
                  <a:pt x="30" y="36"/>
                </a:move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close/>
                <a:moveTo>
                  <a:pt x="30" y="30"/>
                </a:move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0"/>
                </a:lnTo>
                <a:close/>
                <a:moveTo>
                  <a:pt x="24" y="36"/>
                </a:moveTo>
                <a:lnTo>
                  <a:pt x="24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lnTo>
                  <a:pt x="24" y="36"/>
                </a:lnTo>
                <a:close/>
                <a:moveTo>
                  <a:pt x="30" y="30"/>
                </a:move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close/>
                <a:moveTo>
                  <a:pt x="30" y="30"/>
                </a:move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lnTo>
                  <a:pt x="30" y="30"/>
                </a:lnTo>
                <a:close/>
                <a:moveTo>
                  <a:pt x="36" y="30"/>
                </a:move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close/>
                <a:moveTo>
                  <a:pt x="36" y="24"/>
                </a:move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close/>
                <a:moveTo>
                  <a:pt x="36" y="24"/>
                </a:move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close/>
                <a:moveTo>
                  <a:pt x="36" y="30"/>
                </a:moveTo>
                <a:lnTo>
                  <a:pt x="36" y="30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24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close/>
                <a:moveTo>
                  <a:pt x="36" y="30"/>
                </a:move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close/>
                <a:moveTo>
                  <a:pt x="36" y="30"/>
                </a:move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36" y="30"/>
                </a:lnTo>
                <a:lnTo>
                  <a:pt x="36" y="30"/>
                </a:lnTo>
                <a:close/>
                <a:moveTo>
                  <a:pt x="36" y="30"/>
                </a:moveTo>
                <a:lnTo>
                  <a:pt x="36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close/>
                <a:moveTo>
                  <a:pt x="42" y="30"/>
                </a:move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lnTo>
                  <a:pt x="42" y="3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823" name="Freeform 556"/>
          <p:cNvSpPr>
            <a:spLocks noEditPoints="1"/>
          </p:cNvSpPr>
          <p:nvPr/>
        </p:nvSpPr>
        <p:spPr bwMode="auto">
          <a:xfrm>
            <a:off x="7519955" y="4257062"/>
            <a:ext cx="83513" cy="64241"/>
          </a:xfrm>
          <a:custGeom>
            <a:avLst/>
            <a:gdLst>
              <a:gd name="T0" fmla="*/ 30 w 78"/>
              <a:gd name="T1" fmla="*/ 42 h 60"/>
              <a:gd name="T2" fmla="*/ 30 w 78"/>
              <a:gd name="T3" fmla="*/ 42 h 60"/>
              <a:gd name="T4" fmla="*/ 30 w 78"/>
              <a:gd name="T5" fmla="*/ 42 h 60"/>
              <a:gd name="T6" fmla="*/ 36 w 78"/>
              <a:gd name="T7" fmla="*/ 42 h 60"/>
              <a:gd name="T8" fmla="*/ 36 w 78"/>
              <a:gd name="T9" fmla="*/ 42 h 60"/>
              <a:gd name="T10" fmla="*/ 42 w 78"/>
              <a:gd name="T11" fmla="*/ 42 h 60"/>
              <a:gd name="T12" fmla="*/ 42 w 78"/>
              <a:gd name="T13" fmla="*/ 42 h 60"/>
              <a:gd name="T14" fmla="*/ 42 w 78"/>
              <a:gd name="T15" fmla="*/ 42 h 60"/>
              <a:gd name="T16" fmla="*/ 42 w 78"/>
              <a:gd name="T17" fmla="*/ 42 h 60"/>
              <a:gd name="T18" fmla="*/ 42 w 78"/>
              <a:gd name="T19" fmla="*/ 42 h 60"/>
              <a:gd name="T20" fmla="*/ 48 w 78"/>
              <a:gd name="T21" fmla="*/ 42 h 60"/>
              <a:gd name="T22" fmla="*/ 48 w 78"/>
              <a:gd name="T23" fmla="*/ 42 h 60"/>
              <a:gd name="T24" fmla="*/ 42 w 78"/>
              <a:gd name="T25" fmla="*/ 42 h 60"/>
              <a:gd name="T26" fmla="*/ 6 w 78"/>
              <a:gd name="T27" fmla="*/ 36 h 60"/>
              <a:gd name="T28" fmla="*/ 24 w 78"/>
              <a:gd name="T29" fmla="*/ 30 h 60"/>
              <a:gd name="T30" fmla="*/ 36 w 78"/>
              <a:gd name="T31" fmla="*/ 30 h 60"/>
              <a:gd name="T32" fmla="*/ 42 w 78"/>
              <a:gd name="T33" fmla="*/ 24 h 60"/>
              <a:gd name="T34" fmla="*/ 48 w 78"/>
              <a:gd name="T35" fmla="*/ 18 h 60"/>
              <a:gd name="T36" fmla="*/ 54 w 78"/>
              <a:gd name="T37" fmla="*/ 6 h 60"/>
              <a:gd name="T38" fmla="*/ 66 w 78"/>
              <a:gd name="T39" fmla="*/ 0 h 60"/>
              <a:gd name="T40" fmla="*/ 72 w 78"/>
              <a:gd name="T41" fmla="*/ 6 h 60"/>
              <a:gd name="T42" fmla="*/ 72 w 78"/>
              <a:gd name="T43" fmla="*/ 18 h 60"/>
              <a:gd name="T44" fmla="*/ 60 w 78"/>
              <a:gd name="T45" fmla="*/ 30 h 60"/>
              <a:gd name="T46" fmla="*/ 54 w 78"/>
              <a:gd name="T47" fmla="*/ 36 h 60"/>
              <a:gd name="T48" fmla="*/ 48 w 78"/>
              <a:gd name="T49" fmla="*/ 42 h 60"/>
              <a:gd name="T50" fmla="*/ 42 w 78"/>
              <a:gd name="T51" fmla="*/ 36 h 60"/>
              <a:gd name="T52" fmla="*/ 30 w 78"/>
              <a:gd name="T53" fmla="*/ 42 h 60"/>
              <a:gd name="T54" fmla="*/ 24 w 78"/>
              <a:gd name="T55" fmla="*/ 48 h 60"/>
              <a:gd name="T56" fmla="*/ 18 w 78"/>
              <a:gd name="T57" fmla="*/ 42 h 60"/>
              <a:gd name="T58" fmla="*/ 6 w 78"/>
              <a:gd name="T59" fmla="*/ 54 h 60"/>
              <a:gd name="T60" fmla="*/ 6 w 78"/>
              <a:gd name="T61" fmla="*/ 48 h 60"/>
              <a:gd name="T62" fmla="*/ 6 w 78"/>
              <a:gd name="T63" fmla="*/ 54 h 60"/>
              <a:gd name="T64" fmla="*/ 6 w 78"/>
              <a:gd name="T65" fmla="*/ 54 h 60"/>
              <a:gd name="T66" fmla="*/ 6 w 78"/>
              <a:gd name="T67" fmla="*/ 54 h 60"/>
              <a:gd name="T68" fmla="*/ 12 w 78"/>
              <a:gd name="T69" fmla="*/ 54 h 60"/>
              <a:gd name="T70" fmla="*/ 12 w 78"/>
              <a:gd name="T71" fmla="*/ 54 h 60"/>
              <a:gd name="T72" fmla="*/ 12 w 78"/>
              <a:gd name="T73" fmla="*/ 54 h 60"/>
              <a:gd name="T74" fmla="*/ 12 w 78"/>
              <a:gd name="T75" fmla="*/ 54 h 60"/>
              <a:gd name="T76" fmla="*/ 24 w 78"/>
              <a:gd name="T77" fmla="*/ 48 h 60"/>
              <a:gd name="T78" fmla="*/ 48 w 78"/>
              <a:gd name="T79" fmla="*/ 54 h 60"/>
              <a:gd name="T80" fmla="*/ 30 w 78"/>
              <a:gd name="T81" fmla="*/ 60 h 60"/>
              <a:gd name="T82" fmla="*/ 30 w 78"/>
              <a:gd name="T83" fmla="*/ 54 h 60"/>
              <a:gd name="T84" fmla="*/ 42 w 78"/>
              <a:gd name="T85" fmla="*/ 54 h 60"/>
              <a:gd name="T86" fmla="*/ 36 w 78"/>
              <a:gd name="T87" fmla="*/ 54 h 60"/>
              <a:gd name="T88" fmla="*/ 36 w 78"/>
              <a:gd name="T89" fmla="*/ 54 h 60"/>
              <a:gd name="T90" fmla="*/ 30 w 78"/>
              <a:gd name="T91" fmla="*/ 54 h 60"/>
              <a:gd name="T92" fmla="*/ 30 w 78"/>
              <a:gd name="T93" fmla="*/ 54 h 60"/>
              <a:gd name="T94" fmla="*/ 30 w 78"/>
              <a:gd name="T95" fmla="*/ 54 h 60"/>
              <a:gd name="T96" fmla="*/ 36 w 78"/>
              <a:gd name="T97" fmla="*/ 48 h 60"/>
              <a:gd name="T98" fmla="*/ 30 w 78"/>
              <a:gd name="T99" fmla="*/ 48 h 60"/>
              <a:gd name="T100" fmla="*/ 30 w 78"/>
              <a:gd name="T101" fmla="*/ 48 h 60"/>
              <a:gd name="T102" fmla="*/ 30 w 78"/>
              <a:gd name="T103" fmla="*/ 48 h 60"/>
              <a:gd name="T104" fmla="*/ 36 w 78"/>
              <a:gd name="T105" fmla="*/ 48 h 60"/>
              <a:gd name="T106" fmla="*/ 36 w 78"/>
              <a:gd name="T107" fmla="*/ 48 h 60"/>
              <a:gd name="T108" fmla="*/ 36 w 78"/>
              <a:gd name="T109" fmla="*/ 48 h 60"/>
              <a:gd name="T110" fmla="*/ 36 w 78"/>
              <a:gd name="T111" fmla="*/ 48 h 60"/>
              <a:gd name="T112" fmla="*/ 36 w 78"/>
              <a:gd name="T113" fmla="*/ 48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8" h="60">
                <a:moveTo>
                  <a:pt x="30" y="42"/>
                </a:moveTo>
                <a:lnTo>
                  <a:pt x="30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close/>
                <a:moveTo>
                  <a:pt x="30" y="42"/>
                </a:move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close/>
                <a:moveTo>
                  <a:pt x="30" y="42"/>
                </a:move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close/>
                <a:moveTo>
                  <a:pt x="36" y="42"/>
                </a:move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close/>
                <a:moveTo>
                  <a:pt x="42" y="42"/>
                </a:moveTo>
                <a:lnTo>
                  <a:pt x="42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36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close/>
                <a:moveTo>
                  <a:pt x="42" y="42"/>
                </a:move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close/>
                <a:moveTo>
                  <a:pt x="42" y="42"/>
                </a:move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8" y="42"/>
                </a:lnTo>
                <a:lnTo>
                  <a:pt x="48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close/>
                <a:moveTo>
                  <a:pt x="0" y="42"/>
                </a:moveTo>
                <a:lnTo>
                  <a:pt x="0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12" y="30"/>
                </a:lnTo>
                <a:lnTo>
                  <a:pt x="12" y="30"/>
                </a:lnTo>
                <a:lnTo>
                  <a:pt x="12" y="30"/>
                </a:lnTo>
                <a:lnTo>
                  <a:pt x="18" y="36"/>
                </a:lnTo>
                <a:lnTo>
                  <a:pt x="18" y="36"/>
                </a:lnTo>
                <a:lnTo>
                  <a:pt x="18" y="30"/>
                </a:lnTo>
                <a:lnTo>
                  <a:pt x="24" y="36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30" y="30"/>
                </a:lnTo>
                <a:lnTo>
                  <a:pt x="30" y="30"/>
                </a:lnTo>
                <a:lnTo>
                  <a:pt x="30" y="36"/>
                </a:lnTo>
                <a:lnTo>
                  <a:pt x="36" y="36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30"/>
                </a:lnTo>
                <a:lnTo>
                  <a:pt x="36" y="24"/>
                </a:lnTo>
                <a:lnTo>
                  <a:pt x="42" y="30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8" y="24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2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12"/>
                </a:lnTo>
                <a:lnTo>
                  <a:pt x="54" y="6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6"/>
                </a:lnTo>
                <a:lnTo>
                  <a:pt x="66" y="0"/>
                </a:lnTo>
                <a:lnTo>
                  <a:pt x="66" y="0"/>
                </a:lnTo>
                <a:lnTo>
                  <a:pt x="66" y="0"/>
                </a:lnTo>
                <a:lnTo>
                  <a:pt x="66" y="6"/>
                </a:lnTo>
                <a:lnTo>
                  <a:pt x="66" y="0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8" y="24"/>
                </a:lnTo>
                <a:lnTo>
                  <a:pt x="72" y="24"/>
                </a:lnTo>
                <a:lnTo>
                  <a:pt x="78" y="24"/>
                </a:lnTo>
                <a:lnTo>
                  <a:pt x="78" y="24"/>
                </a:lnTo>
                <a:lnTo>
                  <a:pt x="72" y="30"/>
                </a:lnTo>
                <a:lnTo>
                  <a:pt x="72" y="30"/>
                </a:lnTo>
                <a:lnTo>
                  <a:pt x="66" y="30"/>
                </a:lnTo>
                <a:lnTo>
                  <a:pt x="66" y="30"/>
                </a:lnTo>
                <a:lnTo>
                  <a:pt x="60" y="30"/>
                </a:lnTo>
                <a:lnTo>
                  <a:pt x="60" y="30"/>
                </a:lnTo>
                <a:lnTo>
                  <a:pt x="60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8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42" y="36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30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2"/>
                </a:lnTo>
                <a:lnTo>
                  <a:pt x="24" y="48"/>
                </a:lnTo>
                <a:lnTo>
                  <a:pt x="18" y="48"/>
                </a:lnTo>
                <a:lnTo>
                  <a:pt x="18" y="48"/>
                </a:lnTo>
                <a:lnTo>
                  <a:pt x="24" y="42"/>
                </a:lnTo>
                <a:lnTo>
                  <a:pt x="18" y="42"/>
                </a:lnTo>
                <a:lnTo>
                  <a:pt x="24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48"/>
                </a:lnTo>
                <a:lnTo>
                  <a:pt x="18" y="48"/>
                </a:lnTo>
                <a:lnTo>
                  <a:pt x="12" y="48"/>
                </a:lnTo>
                <a:lnTo>
                  <a:pt x="12" y="48"/>
                </a:lnTo>
                <a:lnTo>
                  <a:pt x="12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close/>
                <a:moveTo>
                  <a:pt x="6" y="54"/>
                </a:move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close/>
                <a:moveTo>
                  <a:pt x="6" y="54"/>
                </a:move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close/>
                <a:moveTo>
                  <a:pt x="12" y="54"/>
                </a:move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close/>
                <a:moveTo>
                  <a:pt x="12" y="54"/>
                </a:move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lnTo>
                  <a:pt x="12" y="54"/>
                </a:lnTo>
                <a:close/>
                <a:moveTo>
                  <a:pt x="18" y="48"/>
                </a:moveTo>
                <a:lnTo>
                  <a:pt x="18" y="48"/>
                </a:lnTo>
                <a:lnTo>
                  <a:pt x="24" y="48"/>
                </a:lnTo>
                <a:lnTo>
                  <a:pt x="24" y="48"/>
                </a:lnTo>
                <a:lnTo>
                  <a:pt x="24" y="48"/>
                </a:lnTo>
                <a:lnTo>
                  <a:pt x="18" y="48"/>
                </a:lnTo>
                <a:lnTo>
                  <a:pt x="18" y="48"/>
                </a:lnTo>
                <a:lnTo>
                  <a:pt x="18" y="48"/>
                </a:lnTo>
                <a:close/>
                <a:moveTo>
                  <a:pt x="18" y="48"/>
                </a:moveTo>
                <a:lnTo>
                  <a:pt x="24" y="48"/>
                </a:lnTo>
                <a:lnTo>
                  <a:pt x="24" y="48"/>
                </a:lnTo>
                <a:lnTo>
                  <a:pt x="18" y="48"/>
                </a:lnTo>
                <a:close/>
                <a:moveTo>
                  <a:pt x="42" y="54"/>
                </a:moveTo>
                <a:lnTo>
                  <a:pt x="48" y="54"/>
                </a:lnTo>
                <a:lnTo>
                  <a:pt x="54" y="54"/>
                </a:lnTo>
                <a:lnTo>
                  <a:pt x="66" y="54"/>
                </a:lnTo>
                <a:lnTo>
                  <a:pt x="72" y="54"/>
                </a:lnTo>
                <a:lnTo>
                  <a:pt x="72" y="54"/>
                </a:lnTo>
                <a:lnTo>
                  <a:pt x="54" y="54"/>
                </a:lnTo>
                <a:lnTo>
                  <a:pt x="42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30" y="60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42" y="60"/>
                </a:lnTo>
                <a:lnTo>
                  <a:pt x="42" y="60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42" y="54"/>
                </a:lnTo>
                <a:lnTo>
                  <a:pt x="42" y="54"/>
                </a:lnTo>
                <a:close/>
                <a:moveTo>
                  <a:pt x="36" y="54"/>
                </a:move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lnTo>
                  <a:pt x="36" y="54"/>
                </a:lnTo>
                <a:close/>
                <a:moveTo>
                  <a:pt x="30" y="54"/>
                </a:move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lnTo>
                  <a:pt x="30" y="54"/>
                </a:lnTo>
                <a:close/>
                <a:moveTo>
                  <a:pt x="30" y="48"/>
                </a:move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close/>
                <a:moveTo>
                  <a:pt x="30" y="48"/>
                </a:move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lnTo>
                  <a:pt x="30" y="48"/>
                </a:lnTo>
                <a:close/>
                <a:moveTo>
                  <a:pt x="36" y="48"/>
                </a:move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close/>
                <a:moveTo>
                  <a:pt x="36" y="48"/>
                </a:move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close/>
                <a:moveTo>
                  <a:pt x="36" y="48"/>
                </a:move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close/>
                <a:moveTo>
                  <a:pt x="36" y="48"/>
                </a:move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824" name="Freeform 557"/>
          <p:cNvSpPr>
            <a:spLocks noEditPoints="1"/>
          </p:cNvSpPr>
          <p:nvPr/>
        </p:nvSpPr>
        <p:spPr bwMode="auto">
          <a:xfrm>
            <a:off x="7577772" y="4231366"/>
            <a:ext cx="160601" cy="89937"/>
          </a:xfrm>
          <a:custGeom>
            <a:avLst/>
            <a:gdLst>
              <a:gd name="T0" fmla="*/ 0 w 150"/>
              <a:gd name="T1" fmla="*/ 60 h 84"/>
              <a:gd name="T2" fmla="*/ 18 w 150"/>
              <a:gd name="T3" fmla="*/ 54 h 84"/>
              <a:gd name="T4" fmla="*/ 18 w 150"/>
              <a:gd name="T5" fmla="*/ 30 h 84"/>
              <a:gd name="T6" fmla="*/ 24 w 150"/>
              <a:gd name="T7" fmla="*/ 24 h 84"/>
              <a:gd name="T8" fmla="*/ 30 w 150"/>
              <a:gd name="T9" fmla="*/ 18 h 84"/>
              <a:gd name="T10" fmla="*/ 54 w 150"/>
              <a:gd name="T11" fmla="*/ 12 h 84"/>
              <a:gd name="T12" fmla="*/ 72 w 150"/>
              <a:gd name="T13" fmla="*/ 12 h 84"/>
              <a:gd name="T14" fmla="*/ 90 w 150"/>
              <a:gd name="T15" fmla="*/ 12 h 84"/>
              <a:gd name="T16" fmla="*/ 96 w 150"/>
              <a:gd name="T17" fmla="*/ 0 h 84"/>
              <a:gd name="T18" fmla="*/ 114 w 150"/>
              <a:gd name="T19" fmla="*/ 0 h 84"/>
              <a:gd name="T20" fmla="*/ 120 w 150"/>
              <a:gd name="T21" fmla="*/ 18 h 84"/>
              <a:gd name="T22" fmla="*/ 126 w 150"/>
              <a:gd name="T23" fmla="*/ 24 h 84"/>
              <a:gd name="T24" fmla="*/ 144 w 150"/>
              <a:gd name="T25" fmla="*/ 42 h 84"/>
              <a:gd name="T26" fmla="*/ 144 w 150"/>
              <a:gd name="T27" fmla="*/ 54 h 84"/>
              <a:gd name="T28" fmla="*/ 150 w 150"/>
              <a:gd name="T29" fmla="*/ 66 h 84"/>
              <a:gd name="T30" fmla="*/ 102 w 150"/>
              <a:gd name="T31" fmla="*/ 72 h 84"/>
              <a:gd name="T32" fmla="*/ 90 w 150"/>
              <a:gd name="T33" fmla="*/ 66 h 84"/>
              <a:gd name="T34" fmla="*/ 90 w 150"/>
              <a:gd name="T35" fmla="*/ 60 h 84"/>
              <a:gd name="T36" fmla="*/ 90 w 150"/>
              <a:gd name="T37" fmla="*/ 54 h 84"/>
              <a:gd name="T38" fmla="*/ 96 w 150"/>
              <a:gd name="T39" fmla="*/ 36 h 84"/>
              <a:gd name="T40" fmla="*/ 96 w 150"/>
              <a:gd name="T41" fmla="*/ 30 h 84"/>
              <a:gd name="T42" fmla="*/ 84 w 150"/>
              <a:gd name="T43" fmla="*/ 36 h 84"/>
              <a:gd name="T44" fmla="*/ 72 w 150"/>
              <a:gd name="T45" fmla="*/ 42 h 84"/>
              <a:gd name="T46" fmla="*/ 66 w 150"/>
              <a:gd name="T47" fmla="*/ 48 h 84"/>
              <a:gd name="T48" fmla="*/ 78 w 150"/>
              <a:gd name="T49" fmla="*/ 60 h 84"/>
              <a:gd name="T50" fmla="*/ 84 w 150"/>
              <a:gd name="T51" fmla="*/ 60 h 84"/>
              <a:gd name="T52" fmla="*/ 78 w 150"/>
              <a:gd name="T53" fmla="*/ 66 h 84"/>
              <a:gd name="T54" fmla="*/ 78 w 150"/>
              <a:gd name="T55" fmla="*/ 72 h 84"/>
              <a:gd name="T56" fmla="*/ 60 w 150"/>
              <a:gd name="T57" fmla="*/ 72 h 84"/>
              <a:gd name="T58" fmla="*/ 48 w 150"/>
              <a:gd name="T59" fmla="*/ 72 h 84"/>
              <a:gd name="T60" fmla="*/ 54 w 150"/>
              <a:gd name="T61" fmla="*/ 72 h 84"/>
              <a:gd name="T62" fmla="*/ 42 w 150"/>
              <a:gd name="T63" fmla="*/ 78 h 84"/>
              <a:gd name="T64" fmla="*/ 30 w 150"/>
              <a:gd name="T65" fmla="*/ 84 h 84"/>
              <a:gd name="T66" fmla="*/ 30 w 150"/>
              <a:gd name="T67" fmla="*/ 78 h 84"/>
              <a:gd name="T68" fmla="*/ 18 w 150"/>
              <a:gd name="T69" fmla="*/ 72 h 84"/>
              <a:gd name="T70" fmla="*/ 6 w 150"/>
              <a:gd name="T71" fmla="*/ 66 h 84"/>
              <a:gd name="T72" fmla="*/ 36 w 150"/>
              <a:gd name="T73" fmla="*/ 78 h 84"/>
              <a:gd name="T74" fmla="*/ 36 w 150"/>
              <a:gd name="T75" fmla="*/ 78 h 84"/>
              <a:gd name="T76" fmla="*/ 36 w 150"/>
              <a:gd name="T77" fmla="*/ 84 h 84"/>
              <a:gd name="T78" fmla="*/ 30 w 150"/>
              <a:gd name="T79" fmla="*/ 84 h 84"/>
              <a:gd name="T80" fmla="*/ 60 w 150"/>
              <a:gd name="T81" fmla="*/ 78 h 84"/>
              <a:gd name="T82" fmla="*/ 66 w 150"/>
              <a:gd name="T83" fmla="*/ 78 h 84"/>
              <a:gd name="T84" fmla="*/ 66 w 150"/>
              <a:gd name="T85" fmla="*/ 78 h 84"/>
              <a:gd name="T86" fmla="*/ 66 w 150"/>
              <a:gd name="T87" fmla="*/ 78 h 84"/>
              <a:gd name="T88" fmla="*/ 78 w 150"/>
              <a:gd name="T89" fmla="*/ 84 h 84"/>
              <a:gd name="T90" fmla="*/ 78 w 150"/>
              <a:gd name="T91" fmla="*/ 84 h 84"/>
              <a:gd name="T92" fmla="*/ 78 w 150"/>
              <a:gd name="T93" fmla="*/ 84 h 84"/>
              <a:gd name="T94" fmla="*/ 78 w 150"/>
              <a:gd name="T95" fmla="*/ 78 h 84"/>
              <a:gd name="T96" fmla="*/ 78 w 150"/>
              <a:gd name="T97" fmla="*/ 78 h 84"/>
              <a:gd name="T98" fmla="*/ 78 w 150"/>
              <a:gd name="T99" fmla="*/ 78 h 84"/>
              <a:gd name="T100" fmla="*/ 78 w 150"/>
              <a:gd name="T101" fmla="*/ 78 h 84"/>
              <a:gd name="T102" fmla="*/ 78 w 150"/>
              <a:gd name="T103" fmla="*/ 78 h 84"/>
              <a:gd name="T104" fmla="*/ 78 w 150"/>
              <a:gd name="T105" fmla="*/ 78 h 84"/>
              <a:gd name="T106" fmla="*/ 84 w 150"/>
              <a:gd name="T107" fmla="*/ 78 h 84"/>
              <a:gd name="T108" fmla="*/ 84 w 150"/>
              <a:gd name="T109" fmla="*/ 84 h 84"/>
              <a:gd name="T110" fmla="*/ 72 w 150"/>
              <a:gd name="T111" fmla="*/ 54 h 84"/>
              <a:gd name="T112" fmla="*/ 78 w 150"/>
              <a:gd name="T113" fmla="*/ 48 h 84"/>
              <a:gd name="T114" fmla="*/ 72 w 150"/>
              <a:gd name="T115" fmla="*/ 48 h 84"/>
              <a:gd name="T116" fmla="*/ 78 w 150"/>
              <a:gd name="T117" fmla="*/ 48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50" h="84">
                <a:moveTo>
                  <a:pt x="90" y="42"/>
                </a:move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close/>
                <a:moveTo>
                  <a:pt x="0" y="60"/>
                </a:move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12" y="54"/>
                </a:lnTo>
                <a:lnTo>
                  <a:pt x="12" y="54"/>
                </a:lnTo>
                <a:lnTo>
                  <a:pt x="18" y="54"/>
                </a:lnTo>
                <a:lnTo>
                  <a:pt x="18" y="54"/>
                </a:lnTo>
                <a:lnTo>
                  <a:pt x="24" y="48"/>
                </a:lnTo>
                <a:lnTo>
                  <a:pt x="24" y="48"/>
                </a:lnTo>
                <a:lnTo>
                  <a:pt x="18" y="48"/>
                </a:lnTo>
                <a:lnTo>
                  <a:pt x="24" y="48"/>
                </a:lnTo>
                <a:lnTo>
                  <a:pt x="18" y="42"/>
                </a:lnTo>
                <a:lnTo>
                  <a:pt x="18" y="42"/>
                </a:lnTo>
                <a:lnTo>
                  <a:pt x="18" y="42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30"/>
                </a:lnTo>
                <a:lnTo>
                  <a:pt x="18" y="24"/>
                </a:lnTo>
                <a:lnTo>
                  <a:pt x="18" y="24"/>
                </a:lnTo>
                <a:lnTo>
                  <a:pt x="18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24" y="18"/>
                </a:lnTo>
                <a:lnTo>
                  <a:pt x="24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0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6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2" y="12"/>
                </a:lnTo>
                <a:lnTo>
                  <a:pt x="48" y="12"/>
                </a:lnTo>
                <a:lnTo>
                  <a:pt x="48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66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8" y="18"/>
                </a:lnTo>
                <a:lnTo>
                  <a:pt x="84" y="12"/>
                </a:lnTo>
                <a:lnTo>
                  <a:pt x="84" y="12"/>
                </a:lnTo>
                <a:lnTo>
                  <a:pt x="90" y="12"/>
                </a:lnTo>
                <a:lnTo>
                  <a:pt x="96" y="6"/>
                </a:lnTo>
                <a:lnTo>
                  <a:pt x="96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96" y="0"/>
                </a:lnTo>
                <a:lnTo>
                  <a:pt x="102" y="0"/>
                </a:lnTo>
                <a:lnTo>
                  <a:pt x="102" y="0"/>
                </a:lnTo>
                <a:lnTo>
                  <a:pt x="102" y="6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8" y="6"/>
                </a:lnTo>
                <a:lnTo>
                  <a:pt x="108" y="0"/>
                </a:lnTo>
                <a:lnTo>
                  <a:pt x="108" y="6"/>
                </a:lnTo>
                <a:lnTo>
                  <a:pt x="108" y="0"/>
                </a:lnTo>
                <a:lnTo>
                  <a:pt x="108" y="0"/>
                </a:lnTo>
                <a:lnTo>
                  <a:pt x="108" y="0"/>
                </a:lnTo>
                <a:lnTo>
                  <a:pt x="114" y="0"/>
                </a:lnTo>
                <a:lnTo>
                  <a:pt x="114" y="0"/>
                </a:lnTo>
                <a:lnTo>
                  <a:pt x="114" y="0"/>
                </a:lnTo>
                <a:lnTo>
                  <a:pt x="114" y="0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20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12"/>
                </a:lnTo>
                <a:lnTo>
                  <a:pt x="120" y="12"/>
                </a:lnTo>
                <a:lnTo>
                  <a:pt x="120" y="12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20" y="18"/>
                </a:lnTo>
                <a:lnTo>
                  <a:pt x="114" y="18"/>
                </a:lnTo>
                <a:lnTo>
                  <a:pt x="114" y="24"/>
                </a:lnTo>
                <a:lnTo>
                  <a:pt x="114" y="24"/>
                </a:lnTo>
                <a:lnTo>
                  <a:pt x="114" y="24"/>
                </a:lnTo>
                <a:lnTo>
                  <a:pt x="114" y="30"/>
                </a:lnTo>
                <a:lnTo>
                  <a:pt x="114" y="30"/>
                </a:lnTo>
                <a:lnTo>
                  <a:pt x="120" y="24"/>
                </a:lnTo>
                <a:lnTo>
                  <a:pt x="126" y="24"/>
                </a:lnTo>
                <a:lnTo>
                  <a:pt x="126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30"/>
                </a:lnTo>
                <a:lnTo>
                  <a:pt x="132" y="30"/>
                </a:lnTo>
                <a:lnTo>
                  <a:pt x="138" y="30"/>
                </a:lnTo>
                <a:lnTo>
                  <a:pt x="138" y="36"/>
                </a:lnTo>
                <a:lnTo>
                  <a:pt x="144" y="36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44" y="42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44" y="48"/>
                </a:lnTo>
                <a:lnTo>
                  <a:pt x="150" y="48"/>
                </a:lnTo>
                <a:lnTo>
                  <a:pt x="144" y="54"/>
                </a:lnTo>
                <a:lnTo>
                  <a:pt x="144" y="54"/>
                </a:lnTo>
                <a:lnTo>
                  <a:pt x="150" y="54"/>
                </a:lnTo>
                <a:lnTo>
                  <a:pt x="150" y="54"/>
                </a:lnTo>
                <a:lnTo>
                  <a:pt x="144" y="54"/>
                </a:lnTo>
                <a:lnTo>
                  <a:pt x="144" y="54"/>
                </a:lnTo>
                <a:lnTo>
                  <a:pt x="144" y="60"/>
                </a:lnTo>
                <a:lnTo>
                  <a:pt x="144" y="60"/>
                </a:lnTo>
                <a:lnTo>
                  <a:pt x="144" y="60"/>
                </a:lnTo>
                <a:lnTo>
                  <a:pt x="144" y="60"/>
                </a:lnTo>
                <a:lnTo>
                  <a:pt x="144" y="60"/>
                </a:lnTo>
                <a:lnTo>
                  <a:pt x="150" y="60"/>
                </a:lnTo>
                <a:lnTo>
                  <a:pt x="150" y="60"/>
                </a:lnTo>
                <a:lnTo>
                  <a:pt x="150" y="66"/>
                </a:lnTo>
                <a:lnTo>
                  <a:pt x="144" y="66"/>
                </a:lnTo>
                <a:lnTo>
                  <a:pt x="144" y="66"/>
                </a:lnTo>
                <a:lnTo>
                  <a:pt x="144" y="66"/>
                </a:lnTo>
                <a:lnTo>
                  <a:pt x="144" y="66"/>
                </a:lnTo>
                <a:lnTo>
                  <a:pt x="144" y="66"/>
                </a:lnTo>
                <a:lnTo>
                  <a:pt x="138" y="66"/>
                </a:lnTo>
                <a:lnTo>
                  <a:pt x="126" y="66"/>
                </a:lnTo>
                <a:lnTo>
                  <a:pt x="120" y="66"/>
                </a:lnTo>
                <a:lnTo>
                  <a:pt x="114" y="72"/>
                </a:lnTo>
                <a:lnTo>
                  <a:pt x="108" y="66"/>
                </a:lnTo>
                <a:lnTo>
                  <a:pt x="102" y="66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102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72"/>
                </a:lnTo>
                <a:lnTo>
                  <a:pt x="96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84" y="66"/>
                </a:lnTo>
                <a:lnTo>
                  <a:pt x="84" y="66"/>
                </a:lnTo>
                <a:lnTo>
                  <a:pt x="84" y="60"/>
                </a:lnTo>
                <a:lnTo>
                  <a:pt x="84" y="60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6"/>
                </a:lnTo>
                <a:lnTo>
                  <a:pt x="90" y="60"/>
                </a:lnTo>
                <a:lnTo>
                  <a:pt x="90" y="60"/>
                </a:lnTo>
                <a:lnTo>
                  <a:pt x="90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54"/>
                </a:lnTo>
                <a:lnTo>
                  <a:pt x="84" y="54"/>
                </a:lnTo>
                <a:lnTo>
                  <a:pt x="90" y="60"/>
                </a:lnTo>
                <a:lnTo>
                  <a:pt x="90" y="60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54"/>
                </a:lnTo>
                <a:lnTo>
                  <a:pt x="90" y="48"/>
                </a:lnTo>
                <a:lnTo>
                  <a:pt x="90" y="48"/>
                </a:lnTo>
                <a:lnTo>
                  <a:pt x="96" y="48"/>
                </a:lnTo>
                <a:lnTo>
                  <a:pt x="90" y="48"/>
                </a:lnTo>
                <a:lnTo>
                  <a:pt x="90" y="48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102" y="42"/>
                </a:lnTo>
                <a:lnTo>
                  <a:pt x="96" y="36"/>
                </a:lnTo>
                <a:lnTo>
                  <a:pt x="102" y="36"/>
                </a:lnTo>
                <a:lnTo>
                  <a:pt x="96" y="36"/>
                </a:lnTo>
                <a:lnTo>
                  <a:pt x="96" y="36"/>
                </a:lnTo>
                <a:lnTo>
                  <a:pt x="96" y="36"/>
                </a:lnTo>
                <a:lnTo>
                  <a:pt x="102" y="36"/>
                </a:lnTo>
                <a:lnTo>
                  <a:pt x="96" y="36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6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6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6"/>
                </a:lnTo>
                <a:lnTo>
                  <a:pt x="90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84" y="36"/>
                </a:lnTo>
                <a:lnTo>
                  <a:pt x="78" y="36"/>
                </a:lnTo>
                <a:lnTo>
                  <a:pt x="72" y="36"/>
                </a:lnTo>
                <a:lnTo>
                  <a:pt x="78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36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8" y="54"/>
                </a:lnTo>
                <a:lnTo>
                  <a:pt x="78" y="54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84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84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78" y="60"/>
                </a:lnTo>
                <a:lnTo>
                  <a:pt x="84" y="60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78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84" y="66"/>
                </a:lnTo>
                <a:lnTo>
                  <a:pt x="78" y="66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2" y="72"/>
                </a:lnTo>
                <a:lnTo>
                  <a:pt x="72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6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60" y="72"/>
                </a:lnTo>
                <a:lnTo>
                  <a:pt x="54" y="72"/>
                </a:lnTo>
                <a:lnTo>
                  <a:pt x="60" y="72"/>
                </a:lnTo>
                <a:lnTo>
                  <a:pt x="60" y="72"/>
                </a:lnTo>
                <a:lnTo>
                  <a:pt x="54" y="72"/>
                </a:lnTo>
                <a:lnTo>
                  <a:pt x="54" y="72"/>
                </a:lnTo>
                <a:lnTo>
                  <a:pt x="54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6" y="72"/>
                </a:lnTo>
                <a:lnTo>
                  <a:pt x="60" y="72"/>
                </a:lnTo>
                <a:lnTo>
                  <a:pt x="54" y="72"/>
                </a:lnTo>
                <a:lnTo>
                  <a:pt x="48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42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78"/>
                </a:lnTo>
                <a:lnTo>
                  <a:pt x="24" y="78"/>
                </a:lnTo>
                <a:lnTo>
                  <a:pt x="18" y="78"/>
                </a:lnTo>
                <a:lnTo>
                  <a:pt x="18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30" y="78"/>
                </a:lnTo>
                <a:lnTo>
                  <a:pt x="30" y="84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2"/>
                </a:lnTo>
                <a:lnTo>
                  <a:pt x="24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8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lnTo>
                  <a:pt x="12" y="66"/>
                </a:lnTo>
                <a:lnTo>
                  <a:pt x="6" y="72"/>
                </a:lnTo>
                <a:lnTo>
                  <a:pt x="12" y="66"/>
                </a:lnTo>
                <a:lnTo>
                  <a:pt x="6" y="66"/>
                </a:lnTo>
                <a:lnTo>
                  <a:pt x="6" y="66"/>
                </a:lnTo>
                <a:lnTo>
                  <a:pt x="6" y="66"/>
                </a:lnTo>
                <a:lnTo>
                  <a:pt x="0" y="66"/>
                </a:lnTo>
                <a:lnTo>
                  <a:pt x="0" y="66"/>
                </a:lnTo>
                <a:lnTo>
                  <a:pt x="0" y="60"/>
                </a:lnTo>
                <a:lnTo>
                  <a:pt x="0" y="60"/>
                </a:lnTo>
                <a:lnTo>
                  <a:pt x="0" y="60"/>
                </a:lnTo>
                <a:close/>
                <a:moveTo>
                  <a:pt x="12" y="72"/>
                </a:moveTo>
                <a:lnTo>
                  <a:pt x="12" y="72"/>
                </a:lnTo>
                <a:lnTo>
                  <a:pt x="12" y="72"/>
                </a:lnTo>
                <a:lnTo>
                  <a:pt x="12" y="72"/>
                </a:lnTo>
                <a:close/>
                <a:moveTo>
                  <a:pt x="36" y="78"/>
                </a:move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close/>
                <a:moveTo>
                  <a:pt x="36" y="84"/>
                </a:move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78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lnTo>
                  <a:pt x="36" y="84"/>
                </a:lnTo>
                <a:close/>
                <a:moveTo>
                  <a:pt x="30" y="84"/>
                </a:move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lnTo>
                  <a:pt x="30" y="84"/>
                </a:lnTo>
                <a:close/>
                <a:moveTo>
                  <a:pt x="60" y="78"/>
                </a:move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close/>
                <a:moveTo>
                  <a:pt x="66" y="78"/>
                </a:move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close/>
                <a:moveTo>
                  <a:pt x="66" y="78"/>
                </a:move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close/>
                <a:moveTo>
                  <a:pt x="78" y="84"/>
                </a:move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close/>
                <a:moveTo>
                  <a:pt x="78" y="84"/>
                </a:move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close/>
                <a:moveTo>
                  <a:pt x="78" y="78"/>
                </a:move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close/>
                <a:moveTo>
                  <a:pt x="78" y="78"/>
                </a:move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close/>
                <a:moveTo>
                  <a:pt x="78" y="78"/>
                </a:move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close/>
                <a:moveTo>
                  <a:pt x="78" y="78"/>
                </a:move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close/>
                <a:moveTo>
                  <a:pt x="84" y="78"/>
                </a:move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close/>
                <a:moveTo>
                  <a:pt x="78" y="54"/>
                </a:move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8" y="54"/>
                </a:lnTo>
                <a:close/>
                <a:moveTo>
                  <a:pt x="84" y="48"/>
                </a:move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84" y="48"/>
                </a:lnTo>
                <a:lnTo>
                  <a:pt x="78" y="48"/>
                </a:lnTo>
                <a:lnTo>
                  <a:pt x="78" y="48"/>
                </a:lnTo>
                <a:lnTo>
                  <a:pt x="78" y="54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2" y="48"/>
                </a:lnTo>
                <a:lnTo>
                  <a:pt x="72" y="54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66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8"/>
                </a:lnTo>
                <a:lnTo>
                  <a:pt x="72" y="42"/>
                </a:lnTo>
                <a:lnTo>
                  <a:pt x="72" y="42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8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78" y="42"/>
                </a:lnTo>
                <a:lnTo>
                  <a:pt x="84" y="42"/>
                </a:lnTo>
                <a:lnTo>
                  <a:pt x="84" y="42"/>
                </a:lnTo>
                <a:lnTo>
                  <a:pt x="84" y="48"/>
                </a:lnTo>
                <a:lnTo>
                  <a:pt x="84" y="4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825" name="Freeform 558"/>
          <p:cNvSpPr>
            <a:spLocks noEditPoints="1"/>
          </p:cNvSpPr>
          <p:nvPr/>
        </p:nvSpPr>
        <p:spPr bwMode="auto">
          <a:xfrm>
            <a:off x="7288690" y="4334151"/>
            <a:ext cx="160601" cy="109210"/>
          </a:xfrm>
          <a:custGeom>
            <a:avLst/>
            <a:gdLst>
              <a:gd name="T0" fmla="*/ 108 w 150"/>
              <a:gd name="T1" fmla="*/ 48 h 102"/>
              <a:gd name="T2" fmla="*/ 120 w 150"/>
              <a:gd name="T3" fmla="*/ 24 h 102"/>
              <a:gd name="T4" fmla="*/ 126 w 150"/>
              <a:gd name="T5" fmla="*/ 24 h 102"/>
              <a:gd name="T6" fmla="*/ 126 w 150"/>
              <a:gd name="T7" fmla="*/ 24 h 102"/>
              <a:gd name="T8" fmla="*/ 132 w 150"/>
              <a:gd name="T9" fmla="*/ 30 h 102"/>
              <a:gd name="T10" fmla="*/ 132 w 150"/>
              <a:gd name="T11" fmla="*/ 30 h 102"/>
              <a:gd name="T12" fmla="*/ 126 w 150"/>
              <a:gd name="T13" fmla="*/ 30 h 102"/>
              <a:gd name="T14" fmla="*/ 132 w 150"/>
              <a:gd name="T15" fmla="*/ 30 h 102"/>
              <a:gd name="T16" fmla="*/ 0 w 150"/>
              <a:gd name="T17" fmla="*/ 78 h 102"/>
              <a:gd name="T18" fmla="*/ 18 w 150"/>
              <a:gd name="T19" fmla="*/ 60 h 102"/>
              <a:gd name="T20" fmla="*/ 36 w 150"/>
              <a:gd name="T21" fmla="*/ 60 h 102"/>
              <a:gd name="T22" fmla="*/ 54 w 150"/>
              <a:gd name="T23" fmla="*/ 48 h 102"/>
              <a:gd name="T24" fmla="*/ 72 w 150"/>
              <a:gd name="T25" fmla="*/ 48 h 102"/>
              <a:gd name="T26" fmla="*/ 90 w 150"/>
              <a:gd name="T27" fmla="*/ 30 h 102"/>
              <a:gd name="T28" fmla="*/ 102 w 150"/>
              <a:gd name="T29" fmla="*/ 24 h 102"/>
              <a:gd name="T30" fmla="*/ 108 w 150"/>
              <a:gd name="T31" fmla="*/ 18 h 102"/>
              <a:gd name="T32" fmla="*/ 114 w 150"/>
              <a:gd name="T33" fmla="*/ 6 h 102"/>
              <a:gd name="T34" fmla="*/ 126 w 150"/>
              <a:gd name="T35" fmla="*/ 6 h 102"/>
              <a:gd name="T36" fmla="*/ 138 w 150"/>
              <a:gd name="T37" fmla="*/ 18 h 102"/>
              <a:gd name="T38" fmla="*/ 138 w 150"/>
              <a:gd name="T39" fmla="*/ 24 h 102"/>
              <a:gd name="T40" fmla="*/ 126 w 150"/>
              <a:gd name="T41" fmla="*/ 24 h 102"/>
              <a:gd name="T42" fmla="*/ 114 w 150"/>
              <a:gd name="T43" fmla="*/ 30 h 102"/>
              <a:gd name="T44" fmla="*/ 102 w 150"/>
              <a:gd name="T45" fmla="*/ 36 h 102"/>
              <a:gd name="T46" fmla="*/ 102 w 150"/>
              <a:gd name="T47" fmla="*/ 42 h 102"/>
              <a:gd name="T48" fmla="*/ 96 w 150"/>
              <a:gd name="T49" fmla="*/ 48 h 102"/>
              <a:gd name="T50" fmla="*/ 90 w 150"/>
              <a:gd name="T51" fmla="*/ 42 h 102"/>
              <a:gd name="T52" fmla="*/ 84 w 150"/>
              <a:gd name="T53" fmla="*/ 48 h 102"/>
              <a:gd name="T54" fmla="*/ 78 w 150"/>
              <a:gd name="T55" fmla="*/ 54 h 102"/>
              <a:gd name="T56" fmla="*/ 66 w 150"/>
              <a:gd name="T57" fmla="*/ 60 h 102"/>
              <a:gd name="T58" fmla="*/ 60 w 150"/>
              <a:gd name="T59" fmla="*/ 72 h 102"/>
              <a:gd name="T60" fmla="*/ 54 w 150"/>
              <a:gd name="T61" fmla="*/ 84 h 102"/>
              <a:gd name="T62" fmla="*/ 42 w 150"/>
              <a:gd name="T63" fmla="*/ 78 h 102"/>
              <a:gd name="T64" fmla="*/ 24 w 150"/>
              <a:gd name="T65" fmla="*/ 78 h 102"/>
              <a:gd name="T66" fmla="*/ 6 w 150"/>
              <a:gd name="T67" fmla="*/ 78 h 102"/>
              <a:gd name="T68" fmla="*/ 18 w 150"/>
              <a:gd name="T69" fmla="*/ 78 h 102"/>
              <a:gd name="T70" fmla="*/ 18 w 150"/>
              <a:gd name="T71" fmla="*/ 84 h 102"/>
              <a:gd name="T72" fmla="*/ 12 w 150"/>
              <a:gd name="T73" fmla="*/ 90 h 102"/>
              <a:gd name="T74" fmla="*/ 12 w 150"/>
              <a:gd name="T75" fmla="*/ 90 h 102"/>
              <a:gd name="T76" fmla="*/ 12 w 150"/>
              <a:gd name="T77" fmla="*/ 90 h 102"/>
              <a:gd name="T78" fmla="*/ 12 w 150"/>
              <a:gd name="T79" fmla="*/ 90 h 102"/>
              <a:gd name="T80" fmla="*/ 18 w 150"/>
              <a:gd name="T81" fmla="*/ 90 h 102"/>
              <a:gd name="T82" fmla="*/ 42 w 150"/>
              <a:gd name="T83" fmla="*/ 90 h 102"/>
              <a:gd name="T84" fmla="*/ 42 w 150"/>
              <a:gd name="T85" fmla="*/ 90 h 102"/>
              <a:gd name="T86" fmla="*/ 54 w 150"/>
              <a:gd name="T87" fmla="*/ 84 h 102"/>
              <a:gd name="T88" fmla="*/ 66 w 150"/>
              <a:gd name="T89" fmla="*/ 78 h 102"/>
              <a:gd name="T90" fmla="*/ 78 w 150"/>
              <a:gd name="T91" fmla="*/ 78 h 102"/>
              <a:gd name="T92" fmla="*/ 84 w 150"/>
              <a:gd name="T93" fmla="*/ 84 h 102"/>
              <a:gd name="T94" fmla="*/ 78 w 150"/>
              <a:gd name="T95" fmla="*/ 90 h 102"/>
              <a:gd name="T96" fmla="*/ 84 w 150"/>
              <a:gd name="T97" fmla="*/ 96 h 102"/>
              <a:gd name="T98" fmla="*/ 72 w 150"/>
              <a:gd name="T99" fmla="*/ 96 h 102"/>
              <a:gd name="T100" fmla="*/ 54 w 150"/>
              <a:gd name="T101" fmla="*/ 90 h 102"/>
              <a:gd name="T102" fmla="*/ 72 w 150"/>
              <a:gd name="T103" fmla="*/ 96 h 102"/>
              <a:gd name="T104" fmla="*/ 72 w 150"/>
              <a:gd name="T105" fmla="*/ 96 h 102"/>
              <a:gd name="T106" fmla="*/ 78 w 150"/>
              <a:gd name="T107" fmla="*/ 90 h 102"/>
              <a:gd name="T108" fmla="*/ 84 w 150"/>
              <a:gd name="T109" fmla="*/ 84 h 102"/>
              <a:gd name="T110" fmla="*/ 90 w 150"/>
              <a:gd name="T111" fmla="*/ 84 h 102"/>
              <a:gd name="T112" fmla="*/ 90 w 150"/>
              <a:gd name="T113" fmla="*/ 84 h 102"/>
              <a:gd name="T114" fmla="*/ 108 w 150"/>
              <a:gd name="T115" fmla="*/ 72 h 102"/>
              <a:gd name="T116" fmla="*/ 72 w 150"/>
              <a:gd name="T117" fmla="*/ 54 h 102"/>
              <a:gd name="T118" fmla="*/ 72 w 150"/>
              <a:gd name="T119" fmla="*/ 54 h 102"/>
              <a:gd name="T120" fmla="*/ 90 w 150"/>
              <a:gd name="T121" fmla="*/ 48 h 102"/>
              <a:gd name="T122" fmla="*/ 102 w 150"/>
              <a:gd name="T123" fmla="*/ 48 h 102"/>
              <a:gd name="T124" fmla="*/ 108 w 150"/>
              <a:gd name="T125" fmla="*/ 42 h 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50" h="102">
                <a:moveTo>
                  <a:pt x="108" y="48"/>
                </a:move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close/>
                <a:moveTo>
                  <a:pt x="108" y="48"/>
                </a:move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close/>
                <a:moveTo>
                  <a:pt x="120" y="30"/>
                </a:moveTo>
                <a:lnTo>
                  <a:pt x="120" y="30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30"/>
                </a:lnTo>
                <a:lnTo>
                  <a:pt x="120" y="30"/>
                </a:lnTo>
                <a:close/>
                <a:moveTo>
                  <a:pt x="120" y="30"/>
                </a:move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lnTo>
                  <a:pt x="120" y="30"/>
                </a:lnTo>
                <a:close/>
                <a:moveTo>
                  <a:pt x="126" y="24"/>
                </a:move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close/>
                <a:moveTo>
                  <a:pt x="126" y="24"/>
                </a:move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close/>
                <a:moveTo>
                  <a:pt x="126" y="24"/>
                </a:moveTo>
                <a:lnTo>
                  <a:pt x="126" y="24"/>
                </a:lnTo>
                <a:lnTo>
                  <a:pt x="126" y="24"/>
                </a:lnTo>
                <a:lnTo>
                  <a:pt x="126" y="30"/>
                </a:lnTo>
                <a:lnTo>
                  <a:pt x="126" y="24"/>
                </a:lnTo>
                <a:lnTo>
                  <a:pt x="126" y="24"/>
                </a:lnTo>
                <a:close/>
                <a:moveTo>
                  <a:pt x="132" y="30"/>
                </a:move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close/>
                <a:moveTo>
                  <a:pt x="132" y="30"/>
                </a:move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close/>
                <a:moveTo>
                  <a:pt x="126" y="30"/>
                </a:move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lnTo>
                  <a:pt x="126" y="30"/>
                </a:lnTo>
                <a:close/>
                <a:moveTo>
                  <a:pt x="132" y="30"/>
                </a:move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close/>
                <a:moveTo>
                  <a:pt x="132" y="30"/>
                </a:move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close/>
                <a:moveTo>
                  <a:pt x="0" y="78"/>
                </a:moveTo>
                <a:lnTo>
                  <a:pt x="6" y="72"/>
                </a:lnTo>
                <a:lnTo>
                  <a:pt x="6" y="72"/>
                </a:lnTo>
                <a:lnTo>
                  <a:pt x="6" y="66"/>
                </a:lnTo>
                <a:lnTo>
                  <a:pt x="6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8" y="66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6" y="60"/>
                </a:lnTo>
                <a:lnTo>
                  <a:pt x="36" y="60"/>
                </a:lnTo>
                <a:lnTo>
                  <a:pt x="36" y="60"/>
                </a:lnTo>
                <a:lnTo>
                  <a:pt x="42" y="54"/>
                </a:lnTo>
                <a:lnTo>
                  <a:pt x="42" y="54"/>
                </a:lnTo>
                <a:lnTo>
                  <a:pt x="42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54" y="54"/>
                </a:lnTo>
                <a:lnTo>
                  <a:pt x="54" y="54"/>
                </a:lnTo>
                <a:lnTo>
                  <a:pt x="54" y="54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72" y="48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8" y="42"/>
                </a:lnTo>
                <a:lnTo>
                  <a:pt x="78" y="42"/>
                </a:lnTo>
                <a:lnTo>
                  <a:pt x="78" y="36"/>
                </a:lnTo>
                <a:lnTo>
                  <a:pt x="84" y="36"/>
                </a:lnTo>
                <a:lnTo>
                  <a:pt x="84" y="36"/>
                </a:lnTo>
                <a:lnTo>
                  <a:pt x="90" y="36"/>
                </a:lnTo>
                <a:lnTo>
                  <a:pt x="90" y="36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30"/>
                </a:lnTo>
                <a:lnTo>
                  <a:pt x="90" y="24"/>
                </a:lnTo>
                <a:lnTo>
                  <a:pt x="90" y="24"/>
                </a:lnTo>
                <a:lnTo>
                  <a:pt x="96" y="24"/>
                </a:lnTo>
                <a:lnTo>
                  <a:pt x="96" y="24"/>
                </a:lnTo>
                <a:lnTo>
                  <a:pt x="96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24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2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08" y="18"/>
                </a:lnTo>
                <a:lnTo>
                  <a:pt x="114" y="18"/>
                </a:lnTo>
                <a:lnTo>
                  <a:pt x="108" y="12"/>
                </a:lnTo>
                <a:lnTo>
                  <a:pt x="114" y="12"/>
                </a:lnTo>
                <a:lnTo>
                  <a:pt x="108" y="12"/>
                </a:lnTo>
                <a:lnTo>
                  <a:pt x="114" y="12"/>
                </a:lnTo>
                <a:lnTo>
                  <a:pt x="114" y="12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14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0" y="6"/>
                </a:lnTo>
                <a:lnTo>
                  <a:pt x="126" y="0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6"/>
                </a:lnTo>
                <a:lnTo>
                  <a:pt x="126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2" y="12"/>
                </a:lnTo>
                <a:lnTo>
                  <a:pt x="138" y="12"/>
                </a:lnTo>
                <a:lnTo>
                  <a:pt x="132" y="12"/>
                </a:lnTo>
                <a:lnTo>
                  <a:pt x="138" y="12"/>
                </a:lnTo>
                <a:lnTo>
                  <a:pt x="138" y="12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38" y="18"/>
                </a:lnTo>
                <a:lnTo>
                  <a:pt x="144" y="18"/>
                </a:lnTo>
                <a:lnTo>
                  <a:pt x="144" y="18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50" y="24"/>
                </a:lnTo>
                <a:lnTo>
                  <a:pt x="150" y="24"/>
                </a:lnTo>
                <a:lnTo>
                  <a:pt x="144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8" y="24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30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32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24"/>
                </a:lnTo>
                <a:lnTo>
                  <a:pt x="126" y="18"/>
                </a:lnTo>
                <a:lnTo>
                  <a:pt x="126" y="18"/>
                </a:lnTo>
                <a:lnTo>
                  <a:pt x="126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24"/>
                </a:lnTo>
                <a:lnTo>
                  <a:pt x="120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14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8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0"/>
                </a:lnTo>
                <a:lnTo>
                  <a:pt x="102" y="36"/>
                </a:lnTo>
                <a:lnTo>
                  <a:pt x="102" y="36"/>
                </a:lnTo>
                <a:lnTo>
                  <a:pt x="102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6"/>
                </a:lnTo>
                <a:lnTo>
                  <a:pt x="102" y="36"/>
                </a:lnTo>
                <a:lnTo>
                  <a:pt x="102" y="36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102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8"/>
                </a:lnTo>
                <a:lnTo>
                  <a:pt x="96" y="48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6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2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90" y="48"/>
                </a:lnTo>
                <a:lnTo>
                  <a:pt x="84" y="42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84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8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66" y="54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6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54" y="60"/>
                </a:lnTo>
                <a:lnTo>
                  <a:pt x="54" y="66"/>
                </a:lnTo>
                <a:lnTo>
                  <a:pt x="54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2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78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84"/>
                </a:lnTo>
                <a:lnTo>
                  <a:pt x="42" y="78"/>
                </a:lnTo>
                <a:lnTo>
                  <a:pt x="42" y="78"/>
                </a:lnTo>
                <a:lnTo>
                  <a:pt x="36" y="78"/>
                </a:lnTo>
                <a:lnTo>
                  <a:pt x="36" y="78"/>
                </a:lnTo>
                <a:lnTo>
                  <a:pt x="30" y="84"/>
                </a:lnTo>
                <a:lnTo>
                  <a:pt x="30" y="84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30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24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0" y="78"/>
                </a:lnTo>
                <a:close/>
                <a:moveTo>
                  <a:pt x="18" y="78"/>
                </a:move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close/>
                <a:moveTo>
                  <a:pt x="18" y="84"/>
                </a:move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78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lnTo>
                  <a:pt x="18" y="84"/>
                </a:lnTo>
                <a:close/>
                <a:moveTo>
                  <a:pt x="24" y="84"/>
                </a:move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lnTo>
                  <a:pt x="24" y="84"/>
                </a:lnTo>
                <a:close/>
                <a:moveTo>
                  <a:pt x="12" y="90"/>
                </a:move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close/>
                <a:moveTo>
                  <a:pt x="12" y="90"/>
                </a:move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close/>
                <a:moveTo>
                  <a:pt x="12" y="90"/>
                </a:move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close/>
                <a:moveTo>
                  <a:pt x="18" y="90"/>
                </a:move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close/>
                <a:moveTo>
                  <a:pt x="18" y="90"/>
                </a:move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lnTo>
                  <a:pt x="18" y="90"/>
                </a:lnTo>
                <a:close/>
                <a:moveTo>
                  <a:pt x="42" y="90"/>
                </a:move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84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close/>
                <a:moveTo>
                  <a:pt x="54" y="84"/>
                </a:move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lnTo>
                  <a:pt x="54" y="84"/>
                </a:lnTo>
                <a:close/>
                <a:moveTo>
                  <a:pt x="60" y="84"/>
                </a:move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close/>
                <a:moveTo>
                  <a:pt x="60" y="84"/>
                </a:moveTo>
                <a:lnTo>
                  <a:pt x="60" y="84"/>
                </a:lnTo>
                <a:lnTo>
                  <a:pt x="60" y="84"/>
                </a:lnTo>
                <a:lnTo>
                  <a:pt x="60" y="84"/>
                </a:lnTo>
                <a:close/>
                <a:moveTo>
                  <a:pt x="66" y="84"/>
                </a:moveTo>
                <a:lnTo>
                  <a:pt x="66" y="84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8"/>
                </a:lnTo>
                <a:lnTo>
                  <a:pt x="66" y="72"/>
                </a:lnTo>
                <a:lnTo>
                  <a:pt x="66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2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2"/>
                </a:lnTo>
                <a:lnTo>
                  <a:pt x="78" y="78"/>
                </a:lnTo>
                <a:lnTo>
                  <a:pt x="78" y="78"/>
                </a:lnTo>
                <a:lnTo>
                  <a:pt x="78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84" y="78"/>
                </a:lnTo>
                <a:lnTo>
                  <a:pt x="78" y="84"/>
                </a:lnTo>
                <a:lnTo>
                  <a:pt x="78" y="84"/>
                </a:lnTo>
                <a:lnTo>
                  <a:pt x="84" y="84"/>
                </a:lnTo>
                <a:lnTo>
                  <a:pt x="84" y="84"/>
                </a:lnTo>
                <a:lnTo>
                  <a:pt x="78" y="84"/>
                </a:lnTo>
                <a:lnTo>
                  <a:pt x="78" y="84"/>
                </a:lnTo>
                <a:lnTo>
                  <a:pt x="78" y="84"/>
                </a:lnTo>
                <a:lnTo>
                  <a:pt x="84" y="84"/>
                </a:lnTo>
                <a:lnTo>
                  <a:pt x="78" y="84"/>
                </a:lnTo>
                <a:lnTo>
                  <a:pt x="78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78" y="84"/>
                </a:lnTo>
                <a:lnTo>
                  <a:pt x="78" y="84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2" y="90"/>
                </a:lnTo>
                <a:lnTo>
                  <a:pt x="72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6"/>
                </a:lnTo>
                <a:lnTo>
                  <a:pt x="78" y="90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96"/>
                </a:lnTo>
                <a:lnTo>
                  <a:pt x="84" y="102"/>
                </a:lnTo>
                <a:lnTo>
                  <a:pt x="84" y="102"/>
                </a:lnTo>
                <a:lnTo>
                  <a:pt x="84" y="102"/>
                </a:lnTo>
                <a:lnTo>
                  <a:pt x="84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102"/>
                </a:lnTo>
                <a:lnTo>
                  <a:pt x="78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6" y="96"/>
                </a:lnTo>
                <a:lnTo>
                  <a:pt x="60" y="96"/>
                </a:lnTo>
                <a:lnTo>
                  <a:pt x="60" y="102"/>
                </a:lnTo>
                <a:lnTo>
                  <a:pt x="54" y="102"/>
                </a:lnTo>
                <a:lnTo>
                  <a:pt x="54" y="96"/>
                </a:lnTo>
                <a:lnTo>
                  <a:pt x="54" y="96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54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0" y="90"/>
                </a:lnTo>
                <a:lnTo>
                  <a:pt x="66" y="84"/>
                </a:lnTo>
                <a:close/>
                <a:moveTo>
                  <a:pt x="72" y="96"/>
                </a:move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close/>
                <a:moveTo>
                  <a:pt x="72" y="96"/>
                </a:move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lnTo>
                  <a:pt x="72" y="96"/>
                </a:lnTo>
                <a:close/>
                <a:moveTo>
                  <a:pt x="78" y="90"/>
                </a:move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close/>
                <a:moveTo>
                  <a:pt x="78" y="90"/>
                </a:move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lnTo>
                  <a:pt x="78" y="90"/>
                </a:lnTo>
                <a:close/>
                <a:moveTo>
                  <a:pt x="84" y="84"/>
                </a:move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lnTo>
                  <a:pt x="84" y="84"/>
                </a:lnTo>
                <a:close/>
                <a:moveTo>
                  <a:pt x="90" y="84"/>
                </a:move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close/>
                <a:moveTo>
                  <a:pt x="90" y="84"/>
                </a:moveTo>
                <a:lnTo>
                  <a:pt x="90" y="78"/>
                </a:lnTo>
                <a:lnTo>
                  <a:pt x="96" y="78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6" y="84"/>
                </a:lnTo>
                <a:lnTo>
                  <a:pt x="90" y="84"/>
                </a:lnTo>
                <a:lnTo>
                  <a:pt x="90" y="84"/>
                </a:lnTo>
                <a:lnTo>
                  <a:pt x="90" y="84"/>
                </a:lnTo>
                <a:close/>
                <a:moveTo>
                  <a:pt x="108" y="72"/>
                </a:move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14" y="72"/>
                </a:lnTo>
                <a:lnTo>
                  <a:pt x="114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8"/>
                </a:lnTo>
                <a:lnTo>
                  <a:pt x="108" y="72"/>
                </a:lnTo>
                <a:close/>
                <a:moveTo>
                  <a:pt x="108" y="72"/>
                </a:move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lnTo>
                  <a:pt x="108" y="72"/>
                </a:lnTo>
                <a:close/>
                <a:moveTo>
                  <a:pt x="72" y="54"/>
                </a:moveTo>
                <a:lnTo>
                  <a:pt x="72" y="54"/>
                </a:lnTo>
                <a:lnTo>
                  <a:pt x="78" y="54"/>
                </a:lnTo>
                <a:lnTo>
                  <a:pt x="78" y="54"/>
                </a:lnTo>
                <a:lnTo>
                  <a:pt x="72" y="54"/>
                </a:lnTo>
                <a:close/>
                <a:moveTo>
                  <a:pt x="72" y="54"/>
                </a:move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close/>
                <a:moveTo>
                  <a:pt x="72" y="54"/>
                </a:move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lnTo>
                  <a:pt x="72" y="54"/>
                </a:lnTo>
                <a:close/>
                <a:moveTo>
                  <a:pt x="84" y="48"/>
                </a:move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close/>
                <a:moveTo>
                  <a:pt x="84" y="48"/>
                </a:moveTo>
                <a:lnTo>
                  <a:pt x="84" y="48"/>
                </a:lnTo>
                <a:lnTo>
                  <a:pt x="84" y="48"/>
                </a:lnTo>
                <a:lnTo>
                  <a:pt x="84" y="48"/>
                </a:lnTo>
                <a:close/>
                <a:moveTo>
                  <a:pt x="90" y="48"/>
                </a:moveTo>
                <a:lnTo>
                  <a:pt x="90" y="48"/>
                </a:lnTo>
                <a:lnTo>
                  <a:pt x="96" y="48"/>
                </a:lnTo>
                <a:lnTo>
                  <a:pt x="96" y="54"/>
                </a:lnTo>
                <a:lnTo>
                  <a:pt x="90" y="48"/>
                </a:lnTo>
                <a:lnTo>
                  <a:pt x="90" y="54"/>
                </a:lnTo>
                <a:lnTo>
                  <a:pt x="90" y="48"/>
                </a:lnTo>
                <a:close/>
                <a:moveTo>
                  <a:pt x="102" y="48"/>
                </a:moveTo>
                <a:lnTo>
                  <a:pt x="102" y="48"/>
                </a:lnTo>
                <a:lnTo>
                  <a:pt x="108" y="48"/>
                </a:lnTo>
                <a:lnTo>
                  <a:pt x="108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lnTo>
                  <a:pt x="102" y="48"/>
                </a:lnTo>
                <a:close/>
                <a:moveTo>
                  <a:pt x="108" y="42"/>
                </a:move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lnTo>
                  <a:pt x="108" y="42"/>
                </a:lnTo>
                <a:close/>
                <a:moveTo>
                  <a:pt x="108" y="48"/>
                </a:move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lnTo>
                  <a:pt x="108" y="48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826" name="Freeform 559"/>
          <p:cNvSpPr>
            <a:spLocks noEditPoints="1"/>
          </p:cNvSpPr>
          <p:nvPr/>
        </p:nvSpPr>
        <p:spPr bwMode="auto">
          <a:xfrm>
            <a:off x="7083120" y="4436937"/>
            <a:ext cx="102785" cy="70665"/>
          </a:xfrm>
          <a:custGeom>
            <a:avLst/>
            <a:gdLst>
              <a:gd name="T0" fmla="*/ 0 w 96"/>
              <a:gd name="T1" fmla="*/ 48 h 66"/>
              <a:gd name="T2" fmla="*/ 6 w 96"/>
              <a:gd name="T3" fmla="*/ 48 h 66"/>
              <a:gd name="T4" fmla="*/ 6 w 96"/>
              <a:gd name="T5" fmla="*/ 42 h 66"/>
              <a:gd name="T6" fmla="*/ 6 w 96"/>
              <a:gd name="T7" fmla="*/ 36 h 66"/>
              <a:gd name="T8" fmla="*/ 6 w 96"/>
              <a:gd name="T9" fmla="*/ 30 h 66"/>
              <a:gd name="T10" fmla="*/ 6 w 96"/>
              <a:gd name="T11" fmla="*/ 30 h 66"/>
              <a:gd name="T12" fmla="*/ 12 w 96"/>
              <a:gd name="T13" fmla="*/ 24 h 66"/>
              <a:gd name="T14" fmla="*/ 12 w 96"/>
              <a:gd name="T15" fmla="*/ 24 h 66"/>
              <a:gd name="T16" fmla="*/ 18 w 96"/>
              <a:gd name="T17" fmla="*/ 18 h 66"/>
              <a:gd name="T18" fmla="*/ 24 w 96"/>
              <a:gd name="T19" fmla="*/ 12 h 66"/>
              <a:gd name="T20" fmla="*/ 30 w 96"/>
              <a:gd name="T21" fmla="*/ 12 h 66"/>
              <a:gd name="T22" fmla="*/ 30 w 96"/>
              <a:gd name="T23" fmla="*/ 12 h 66"/>
              <a:gd name="T24" fmla="*/ 36 w 96"/>
              <a:gd name="T25" fmla="*/ 12 h 66"/>
              <a:gd name="T26" fmla="*/ 42 w 96"/>
              <a:gd name="T27" fmla="*/ 18 h 66"/>
              <a:gd name="T28" fmla="*/ 42 w 96"/>
              <a:gd name="T29" fmla="*/ 18 h 66"/>
              <a:gd name="T30" fmla="*/ 48 w 96"/>
              <a:gd name="T31" fmla="*/ 18 h 66"/>
              <a:gd name="T32" fmla="*/ 54 w 96"/>
              <a:gd name="T33" fmla="*/ 18 h 66"/>
              <a:gd name="T34" fmla="*/ 60 w 96"/>
              <a:gd name="T35" fmla="*/ 18 h 66"/>
              <a:gd name="T36" fmla="*/ 60 w 96"/>
              <a:gd name="T37" fmla="*/ 12 h 66"/>
              <a:gd name="T38" fmla="*/ 60 w 96"/>
              <a:gd name="T39" fmla="*/ 12 h 66"/>
              <a:gd name="T40" fmla="*/ 66 w 96"/>
              <a:gd name="T41" fmla="*/ 6 h 66"/>
              <a:gd name="T42" fmla="*/ 66 w 96"/>
              <a:gd name="T43" fmla="*/ 6 h 66"/>
              <a:gd name="T44" fmla="*/ 72 w 96"/>
              <a:gd name="T45" fmla="*/ 6 h 66"/>
              <a:gd name="T46" fmla="*/ 72 w 96"/>
              <a:gd name="T47" fmla="*/ 12 h 66"/>
              <a:gd name="T48" fmla="*/ 78 w 96"/>
              <a:gd name="T49" fmla="*/ 12 h 66"/>
              <a:gd name="T50" fmla="*/ 84 w 96"/>
              <a:gd name="T51" fmla="*/ 6 h 66"/>
              <a:gd name="T52" fmla="*/ 90 w 96"/>
              <a:gd name="T53" fmla="*/ 12 h 66"/>
              <a:gd name="T54" fmla="*/ 96 w 96"/>
              <a:gd name="T55" fmla="*/ 12 h 66"/>
              <a:gd name="T56" fmla="*/ 96 w 96"/>
              <a:gd name="T57" fmla="*/ 18 h 66"/>
              <a:gd name="T58" fmla="*/ 72 w 96"/>
              <a:gd name="T59" fmla="*/ 36 h 66"/>
              <a:gd name="T60" fmla="*/ 42 w 96"/>
              <a:gd name="T61" fmla="*/ 54 h 66"/>
              <a:gd name="T62" fmla="*/ 42 w 96"/>
              <a:gd name="T63" fmla="*/ 60 h 66"/>
              <a:gd name="T64" fmla="*/ 42 w 96"/>
              <a:gd name="T65" fmla="*/ 66 h 66"/>
              <a:gd name="T66" fmla="*/ 42 w 96"/>
              <a:gd name="T67" fmla="*/ 66 h 66"/>
              <a:gd name="T68" fmla="*/ 30 w 96"/>
              <a:gd name="T69" fmla="*/ 66 h 66"/>
              <a:gd name="T70" fmla="*/ 30 w 96"/>
              <a:gd name="T71" fmla="*/ 60 h 66"/>
              <a:gd name="T72" fmla="*/ 24 w 96"/>
              <a:gd name="T73" fmla="*/ 60 h 66"/>
              <a:gd name="T74" fmla="*/ 24 w 96"/>
              <a:gd name="T75" fmla="*/ 60 h 66"/>
              <a:gd name="T76" fmla="*/ 18 w 96"/>
              <a:gd name="T77" fmla="*/ 60 h 66"/>
              <a:gd name="T78" fmla="*/ 12 w 96"/>
              <a:gd name="T79" fmla="*/ 60 h 66"/>
              <a:gd name="T80" fmla="*/ 6 w 96"/>
              <a:gd name="T81" fmla="*/ 60 h 66"/>
              <a:gd name="T82" fmla="*/ 0 w 96"/>
              <a:gd name="T83" fmla="*/ 54 h 66"/>
              <a:gd name="T84" fmla="*/ 0 w 96"/>
              <a:gd name="T85" fmla="*/ 54 h 66"/>
              <a:gd name="T86" fmla="*/ 48 w 96"/>
              <a:gd name="T87" fmla="*/ 60 h 66"/>
              <a:gd name="T88" fmla="*/ 48 w 96"/>
              <a:gd name="T89" fmla="*/ 60 h 66"/>
              <a:gd name="T90" fmla="*/ 48 w 96"/>
              <a:gd name="T91" fmla="*/ 60 h 66"/>
              <a:gd name="T92" fmla="*/ 48 w 96"/>
              <a:gd name="T93" fmla="*/ 60 h 66"/>
              <a:gd name="T94" fmla="*/ 54 w 96"/>
              <a:gd name="T95" fmla="*/ 60 h 66"/>
              <a:gd name="T96" fmla="*/ 54 w 96"/>
              <a:gd name="T97" fmla="*/ 60 h 66"/>
              <a:gd name="T98" fmla="*/ 54 w 96"/>
              <a:gd name="T99" fmla="*/ 60 h 66"/>
              <a:gd name="T100" fmla="*/ 54 w 96"/>
              <a:gd name="T101" fmla="*/ 60 h 66"/>
              <a:gd name="T102" fmla="*/ 54 w 96"/>
              <a:gd name="T103" fmla="*/ 60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96" h="66">
                <a:moveTo>
                  <a:pt x="0" y="54"/>
                </a:moveTo>
                <a:lnTo>
                  <a:pt x="0" y="54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12" y="30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2" y="24"/>
                </a:lnTo>
                <a:lnTo>
                  <a:pt x="18" y="18"/>
                </a:lnTo>
                <a:lnTo>
                  <a:pt x="18" y="18"/>
                </a:lnTo>
                <a:lnTo>
                  <a:pt x="18" y="18"/>
                </a:lnTo>
                <a:lnTo>
                  <a:pt x="24" y="18"/>
                </a:lnTo>
                <a:lnTo>
                  <a:pt x="24" y="18"/>
                </a:lnTo>
                <a:lnTo>
                  <a:pt x="24" y="18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24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36" y="12"/>
                </a:lnTo>
                <a:lnTo>
                  <a:pt x="42" y="12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2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6"/>
                </a:lnTo>
                <a:lnTo>
                  <a:pt x="60" y="6"/>
                </a:lnTo>
                <a:lnTo>
                  <a:pt x="60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66" y="6"/>
                </a:lnTo>
                <a:lnTo>
                  <a:pt x="72" y="0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2" y="6"/>
                </a:lnTo>
                <a:lnTo>
                  <a:pt x="78" y="6"/>
                </a:lnTo>
                <a:lnTo>
                  <a:pt x="78" y="6"/>
                </a:lnTo>
                <a:lnTo>
                  <a:pt x="78" y="6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84" y="12"/>
                </a:lnTo>
                <a:lnTo>
                  <a:pt x="84" y="6"/>
                </a:lnTo>
                <a:lnTo>
                  <a:pt x="84" y="6"/>
                </a:lnTo>
                <a:lnTo>
                  <a:pt x="84" y="6"/>
                </a:lnTo>
                <a:lnTo>
                  <a:pt x="84" y="12"/>
                </a:lnTo>
                <a:lnTo>
                  <a:pt x="84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2"/>
                </a:lnTo>
                <a:lnTo>
                  <a:pt x="96" y="18"/>
                </a:lnTo>
                <a:lnTo>
                  <a:pt x="96" y="18"/>
                </a:lnTo>
                <a:lnTo>
                  <a:pt x="96" y="18"/>
                </a:lnTo>
                <a:lnTo>
                  <a:pt x="96" y="24"/>
                </a:lnTo>
                <a:lnTo>
                  <a:pt x="96" y="24"/>
                </a:lnTo>
                <a:lnTo>
                  <a:pt x="84" y="30"/>
                </a:lnTo>
                <a:lnTo>
                  <a:pt x="72" y="36"/>
                </a:lnTo>
                <a:lnTo>
                  <a:pt x="72" y="36"/>
                </a:lnTo>
                <a:lnTo>
                  <a:pt x="66" y="36"/>
                </a:lnTo>
                <a:lnTo>
                  <a:pt x="60" y="42"/>
                </a:lnTo>
                <a:lnTo>
                  <a:pt x="54" y="48"/>
                </a:lnTo>
                <a:lnTo>
                  <a:pt x="42" y="54"/>
                </a:lnTo>
                <a:lnTo>
                  <a:pt x="42" y="54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0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42" y="66"/>
                </a:lnTo>
                <a:lnTo>
                  <a:pt x="36" y="66"/>
                </a:lnTo>
                <a:lnTo>
                  <a:pt x="36" y="66"/>
                </a:lnTo>
                <a:lnTo>
                  <a:pt x="36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6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30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24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12" y="60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lnTo>
                  <a:pt x="0" y="54"/>
                </a:lnTo>
                <a:close/>
                <a:moveTo>
                  <a:pt x="48" y="60"/>
                </a:move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close/>
                <a:moveTo>
                  <a:pt x="54" y="60"/>
                </a:move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close/>
                <a:moveTo>
                  <a:pt x="54" y="60"/>
                </a:move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827" name="Freeform 560"/>
          <p:cNvSpPr>
            <a:spLocks noEditPoints="1"/>
          </p:cNvSpPr>
          <p:nvPr/>
        </p:nvSpPr>
        <p:spPr bwMode="auto">
          <a:xfrm>
            <a:off x="7179481" y="4398392"/>
            <a:ext cx="115633" cy="64241"/>
          </a:xfrm>
          <a:custGeom>
            <a:avLst/>
            <a:gdLst>
              <a:gd name="T0" fmla="*/ 0 w 108"/>
              <a:gd name="T1" fmla="*/ 42 h 60"/>
              <a:gd name="T2" fmla="*/ 6 w 108"/>
              <a:gd name="T3" fmla="*/ 42 h 60"/>
              <a:gd name="T4" fmla="*/ 12 w 108"/>
              <a:gd name="T5" fmla="*/ 42 h 60"/>
              <a:gd name="T6" fmla="*/ 18 w 108"/>
              <a:gd name="T7" fmla="*/ 36 h 60"/>
              <a:gd name="T8" fmla="*/ 24 w 108"/>
              <a:gd name="T9" fmla="*/ 30 h 60"/>
              <a:gd name="T10" fmla="*/ 24 w 108"/>
              <a:gd name="T11" fmla="*/ 30 h 60"/>
              <a:gd name="T12" fmla="*/ 24 w 108"/>
              <a:gd name="T13" fmla="*/ 24 h 60"/>
              <a:gd name="T14" fmla="*/ 30 w 108"/>
              <a:gd name="T15" fmla="*/ 24 h 60"/>
              <a:gd name="T16" fmla="*/ 30 w 108"/>
              <a:gd name="T17" fmla="*/ 24 h 60"/>
              <a:gd name="T18" fmla="*/ 42 w 108"/>
              <a:gd name="T19" fmla="*/ 18 h 60"/>
              <a:gd name="T20" fmla="*/ 48 w 108"/>
              <a:gd name="T21" fmla="*/ 18 h 60"/>
              <a:gd name="T22" fmla="*/ 54 w 108"/>
              <a:gd name="T23" fmla="*/ 18 h 60"/>
              <a:gd name="T24" fmla="*/ 54 w 108"/>
              <a:gd name="T25" fmla="*/ 12 h 60"/>
              <a:gd name="T26" fmla="*/ 60 w 108"/>
              <a:gd name="T27" fmla="*/ 12 h 60"/>
              <a:gd name="T28" fmla="*/ 60 w 108"/>
              <a:gd name="T29" fmla="*/ 12 h 60"/>
              <a:gd name="T30" fmla="*/ 66 w 108"/>
              <a:gd name="T31" fmla="*/ 12 h 60"/>
              <a:gd name="T32" fmla="*/ 66 w 108"/>
              <a:gd name="T33" fmla="*/ 12 h 60"/>
              <a:gd name="T34" fmla="*/ 72 w 108"/>
              <a:gd name="T35" fmla="*/ 12 h 60"/>
              <a:gd name="T36" fmla="*/ 72 w 108"/>
              <a:gd name="T37" fmla="*/ 12 h 60"/>
              <a:gd name="T38" fmla="*/ 78 w 108"/>
              <a:gd name="T39" fmla="*/ 12 h 60"/>
              <a:gd name="T40" fmla="*/ 84 w 108"/>
              <a:gd name="T41" fmla="*/ 6 h 60"/>
              <a:gd name="T42" fmla="*/ 90 w 108"/>
              <a:gd name="T43" fmla="*/ 6 h 60"/>
              <a:gd name="T44" fmla="*/ 96 w 108"/>
              <a:gd name="T45" fmla="*/ 6 h 60"/>
              <a:gd name="T46" fmla="*/ 96 w 108"/>
              <a:gd name="T47" fmla="*/ 0 h 60"/>
              <a:gd name="T48" fmla="*/ 102 w 108"/>
              <a:gd name="T49" fmla="*/ 0 h 60"/>
              <a:gd name="T50" fmla="*/ 108 w 108"/>
              <a:gd name="T51" fmla="*/ 6 h 60"/>
              <a:gd name="T52" fmla="*/ 108 w 108"/>
              <a:gd name="T53" fmla="*/ 6 h 60"/>
              <a:gd name="T54" fmla="*/ 108 w 108"/>
              <a:gd name="T55" fmla="*/ 12 h 60"/>
              <a:gd name="T56" fmla="*/ 84 w 108"/>
              <a:gd name="T57" fmla="*/ 18 h 60"/>
              <a:gd name="T58" fmla="*/ 78 w 108"/>
              <a:gd name="T59" fmla="*/ 24 h 60"/>
              <a:gd name="T60" fmla="*/ 78 w 108"/>
              <a:gd name="T61" fmla="*/ 24 h 60"/>
              <a:gd name="T62" fmla="*/ 66 w 108"/>
              <a:gd name="T63" fmla="*/ 24 h 60"/>
              <a:gd name="T64" fmla="*/ 66 w 108"/>
              <a:gd name="T65" fmla="*/ 30 h 60"/>
              <a:gd name="T66" fmla="*/ 66 w 108"/>
              <a:gd name="T67" fmla="*/ 30 h 60"/>
              <a:gd name="T68" fmla="*/ 66 w 108"/>
              <a:gd name="T69" fmla="*/ 36 h 60"/>
              <a:gd name="T70" fmla="*/ 60 w 108"/>
              <a:gd name="T71" fmla="*/ 36 h 60"/>
              <a:gd name="T72" fmla="*/ 60 w 108"/>
              <a:gd name="T73" fmla="*/ 42 h 60"/>
              <a:gd name="T74" fmla="*/ 60 w 108"/>
              <a:gd name="T75" fmla="*/ 42 h 60"/>
              <a:gd name="T76" fmla="*/ 60 w 108"/>
              <a:gd name="T77" fmla="*/ 48 h 60"/>
              <a:gd name="T78" fmla="*/ 60 w 108"/>
              <a:gd name="T79" fmla="*/ 48 h 60"/>
              <a:gd name="T80" fmla="*/ 48 w 108"/>
              <a:gd name="T81" fmla="*/ 48 h 60"/>
              <a:gd name="T82" fmla="*/ 48 w 108"/>
              <a:gd name="T83" fmla="*/ 48 h 60"/>
              <a:gd name="T84" fmla="*/ 48 w 108"/>
              <a:gd name="T85" fmla="*/ 48 h 60"/>
              <a:gd name="T86" fmla="*/ 42 w 108"/>
              <a:gd name="T87" fmla="*/ 48 h 60"/>
              <a:gd name="T88" fmla="*/ 42 w 108"/>
              <a:gd name="T89" fmla="*/ 48 h 60"/>
              <a:gd name="T90" fmla="*/ 42 w 108"/>
              <a:gd name="T91" fmla="*/ 42 h 60"/>
              <a:gd name="T92" fmla="*/ 36 w 108"/>
              <a:gd name="T93" fmla="*/ 42 h 60"/>
              <a:gd name="T94" fmla="*/ 36 w 108"/>
              <a:gd name="T95" fmla="*/ 42 h 60"/>
              <a:gd name="T96" fmla="*/ 36 w 108"/>
              <a:gd name="T97" fmla="*/ 48 h 60"/>
              <a:gd name="T98" fmla="*/ 36 w 108"/>
              <a:gd name="T99" fmla="*/ 48 h 60"/>
              <a:gd name="T100" fmla="*/ 30 w 108"/>
              <a:gd name="T101" fmla="*/ 54 h 60"/>
              <a:gd name="T102" fmla="*/ 18 w 108"/>
              <a:gd name="T103" fmla="*/ 54 h 60"/>
              <a:gd name="T104" fmla="*/ 6 w 108"/>
              <a:gd name="T105" fmla="*/ 54 h 60"/>
              <a:gd name="T106" fmla="*/ 6 w 108"/>
              <a:gd name="T107" fmla="*/ 48 h 60"/>
              <a:gd name="T108" fmla="*/ 0 w 108"/>
              <a:gd name="T109" fmla="*/ 48 h 60"/>
              <a:gd name="T110" fmla="*/ 78 w 108"/>
              <a:gd name="T111" fmla="*/ 24 h 60"/>
              <a:gd name="T112" fmla="*/ 78 w 108"/>
              <a:gd name="T113" fmla="*/ 24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60">
                <a:moveTo>
                  <a:pt x="0" y="48"/>
                </a:moveTo>
                <a:lnTo>
                  <a:pt x="0" y="48"/>
                </a:lnTo>
                <a:lnTo>
                  <a:pt x="0" y="48"/>
                </a:lnTo>
                <a:lnTo>
                  <a:pt x="0" y="42"/>
                </a:lnTo>
                <a:lnTo>
                  <a:pt x="0" y="42"/>
                </a:lnTo>
                <a:lnTo>
                  <a:pt x="6" y="42"/>
                </a:lnTo>
                <a:lnTo>
                  <a:pt x="6" y="42"/>
                </a:lnTo>
                <a:lnTo>
                  <a:pt x="6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42"/>
                </a:lnTo>
                <a:lnTo>
                  <a:pt x="12" y="36"/>
                </a:lnTo>
                <a:lnTo>
                  <a:pt x="12" y="36"/>
                </a:lnTo>
                <a:lnTo>
                  <a:pt x="18" y="36"/>
                </a:lnTo>
                <a:lnTo>
                  <a:pt x="18" y="36"/>
                </a:lnTo>
                <a:lnTo>
                  <a:pt x="18" y="36"/>
                </a:lnTo>
                <a:lnTo>
                  <a:pt x="18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24" y="30"/>
                </a:lnTo>
                <a:lnTo>
                  <a:pt x="30" y="24"/>
                </a:lnTo>
                <a:lnTo>
                  <a:pt x="24" y="24"/>
                </a:lnTo>
                <a:lnTo>
                  <a:pt x="24" y="24"/>
                </a:lnTo>
                <a:lnTo>
                  <a:pt x="24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0" y="24"/>
                </a:lnTo>
                <a:lnTo>
                  <a:pt x="36" y="24"/>
                </a:lnTo>
                <a:lnTo>
                  <a:pt x="36" y="18"/>
                </a:lnTo>
                <a:lnTo>
                  <a:pt x="36" y="18"/>
                </a:lnTo>
                <a:lnTo>
                  <a:pt x="42" y="18"/>
                </a:lnTo>
                <a:lnTo>
                  <a:pt x="42" y="18"/>
                </a:lnTo>
                <a:lnTo>
                  <a:pt x="42" y="24"/>
                </a:lnTo>
                <a:lnTo>
                  <a:pt x="42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54" y="18"/>
                </a:lnTo>
                <a:lnTo>
                  <a:pt x="54" y="18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0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78" y="12"/>
                </a:lnTo>
                <a:lnTo>
                  <a:pt x="84" y="12"/>
                </a:lnTo>
                <a:lnTo>
                  <a:pt x="84" y="6"/>
                </a:lnTo>
                <a:lnTo>
                  <a:pt x="84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0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6"/>
                </a:lnTo>
                <a:lnTo>
                  <a:pt x="96" y="0"/>
                </a:lnTo>
                <a:lnTo>
                  <a:pt x="96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2" y="0"/>
                </a:lnTo>
                <a:lnTo>
                  <a:pt x="108" y="0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6"/>
                </a:lnTo>
                <a:lnTo>
                  <a:pt x="108" y="12"/>
                </a:lnTo>
                <a:lnTo>
                  <a:pt x="108" y="12"/>
                </a:lnTo>
                <a:lnTo>
                  <a:pt x="102" y="18"/>
                </a:lnTo>
                <a:lnTo>
                  <a:pt x="96" y="18"/>
                </a:lnTo>
                <a:lnTo>
                  <a:pt x="84" y="18"/>
                </a:lnTo>
                <a:lnTo>
                  <a:pt x="84" y="18"/>
                </a:lnTo>
                <a:lnTo>
                  <a:pt x="84" y="24"/>
                </a:lnTo>
                <a:lnTo>
                  <a:pt x="84" y="18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2" y="24"/>
                </a:lnTo>
                <a:lnTo>
                  <a:pt x="66" y="24"/>
                </a:lnTo>
                <a:lnTo>
                  <a:pt x="66" y="24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0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0" y="36"/>
                </a:lnTo>
                <a:lnTo>
                  <a:pt x="60" y="42"/>
                </a:lnTo>
                <a:lnTo>
                  <a:pt x="60" y="42"/>
                </a:lnTo>
                <a:lnTo>
                  <a:pt x="60" y="36"/>
                </a:lnTo>
                <a:lnTo>
                  <a:pt x="60" y="42"/>
                </a:lnTo>
                <a:lnTo>
                  <a:pt x="66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2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60" y="48"/>
                </a:lnTo>
                <a:lnTo>
                  <a:pt x="54" y="48"/>
                </a:lnTo>
                <a:lnTo>
                  <a:pt x="54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48"/>
                </a:lnTo>
                <a:lnTo>
                  <a:pt x="48" y="48"/>
                </a:lnTo>
                <a:lnTo>
                  <a:pt x="48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2"/>
                </a:lnTo>
                <a:lnTo>
                  <a:pt x="36" y="48"/>
                </a:lnTo>
                <a:lnTo>
                  <a:pt x="36" y="48"/>
                </a:lnTo>
                <a:lnTo>
                  <a:pt x="30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6" y="48"/>
                </a:lnTo>
                <a:lnTo>
                  <a:pt x="30" y="54"/>
                </a:lnTo>
                <a:lnTo>
                  <a:pt x="30" y="54"/>
                </a:lnTo>
                <a:lnTo>
                  <a:pt x="30" y="48"/>
                </a:lnTo>
                <a:lnTo>
                  <a:pt x="30" y="48"/>
                </a:lnTo>
                <a:lnTo>
                  <a:pt x="24" y="48"/>
                </a:lnTo>
                <a:lnTo>
                  <a:pt x="18" y="54"/>
                </a:lnTo>
                <a:lnTo>
                  <a:pt x="6" y="60"/>
                </a:lnTo>
                <a:lnTo>
                  <a:pt x="6" y="60"/>
                </a:lnTo>
                <a:lnTo>
                  <a:pt x="6" y="54"/>
                </a:lnTo>
                <a:lnTo>
                  <a:pt x="6" y="54"/>
                </a:lnTo>
                <a:lnTo>
                  <a:pt x="6" y="54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6" y="48"/>
                </a:lnTo>
                <a:lnTo>
                  <a:pt x="0" y="48"/>
                </a:lnTo>
                <a:lnTo>
                  <a:pt x="0" y="48"/>
                </a:lnTo>
                <a:lnTo>
                  <a:pt x="0" y="48"/>
                </a:lnTo>
                <a:close/>
                <a:moveTo>
                  <a:pt x="78" y="24"/>
                </a:move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828" name="Freeform 561"/>
          <p:cNvSpPr>
            <a:spLocks noEditPoints="1"/>
          </p:cNvSpPr>
          <p:nvPr/>
        </p:nvSpPr>
        <p:spPr bwMode="auto">
          <a:xfrm>
            <a:off x="6858278" y="4905896"/>
            <a:ext cx="83513" cy="115634"/>
          </a:xfrm>
          <a:custGeom>
            <a:avLst/>
            <a:gdLst>
              <a:gd name="T0" fmla="*/ 0 w 78"/>
              <a:gd name="T1" fmla="*/ 42 h 108"/>
              <a:gd name="T2" fmla="*/ 6 w 78"/>
              <a:gd name="T3" fmla="*/ 36 h 108"/>
              <a:gd name="T4" fmla="*/ 6 w 78"/>
              <a:gd name="T5" fmla="*/ 24 h 108"/>
              <a:gd name="T6" fmla="*/ 18 w 78"/>
              <a:gd name="T7" fmla="*/ 12 h 108"/>
              <a:gd name="T8" fmla="*/ 24 w 78"/>
              <a:gd name="T9" fmla="*/ 6 h 108"/>
              <a:gd name="T10" fmla="*/ 36 w 78"/>
              <a:gd name="T11" fmla="*/ 6 h 108"/>
              <a:gd name="T12" fmla="*/ 42 w 78"/>
              <a:gd name="T13" fmla="*/ 6 h 108"/>
              <a:gd name="T14" fmla="*/ 48 w 78"/>
              <a:gd name="T15" fmla="*/ 6 h 108"/>
              <a:gd name="T16" fmla="*/ 54 w 78"/>
              <a:gd name="T17" fmla="*/ 6 h 108"/>
              <a:gd name="T18" fmla="*/ 54 w 78"/>
              <a:gd name="T19" fmla="*/ 12 h 108"/>
              <a:gd name="T20" fmla="*/ 48 w 78"/>
              <a:gd name="T21" fmla="*/ 18 h 108"/>
              <a:gd name="T22" fmla="*/ 48 w 78"/>
              <a:gd name="T23" fmla="*/ 18 h 108"/>
              <a:gd name="T24" fmla="*/ 42 w 78"/>
              <a:gd name="T25" fmla="*/ 24 h 108"/>
              <a:gd name="T26" fmla="*/ 48 w 78"/>
              <a:gd name="T27" fmla="*/ 42 h 108"/>
              <a:gd name="T28" fmla="*/ 42 w 78"/>
              <a:gd name="T29" fmla="*/ 42 h 108"/>
              <a:gd name="T30" fmla="*/ 42 w 78"/>
              <a:gd name="T31" fmla="*/ 48 h 108"/>
              <a:gd name="T32" fmla="*/ 48 w 78"/>
              <a:gd name="T33" fmla="*/ 60 h 108"/>
              <a:gd name="T34" fmla="*/ 48 w 78"/>
              <a:gd name="T35" fmla="*/ 72 h 108"/>
              <a:gd name="T36" fmla="*/ 48 w 78"/>
              <a:gd name="T37" fmla="*/ 78 h 108"/>
              <a:gd name="T38" fmla="*/ 42 w 78"/>
              <a:gd name="T39" fmla="*/ 84 h 108"/>
              <a:gd name="T40" fmla="*/ 36 w 78"/>
              <a:gd name="T41" fmla="*/ 90 h 108"/>
              <a:gd name="T42" fmla="*/ 36 w 78"/>
              <a:gd name="T43" fmla="*/ 96 h 108"/>
              <a:gd name="T44" fmla="*/ 30 w 78"/>
              <a:gd name="T45" fmla="*/ 96 h 108"/>
              <a:gd name="T46" fmla="*/ 30 w 78"/>
              <a:gd name="T47" fmla="*/ 102 h 108"/>
              <a:gd name="T48" fmla="*/ 24 w 78"/>
              <a:gd name="T49" fmla="*/ 108 h 108"/>
              <a:gd name="T50" fmla="*/ 18 w 78"/>
              <a:gd name="T51" fmla="*/ 108 h 108"/>
              <a:gd name="T52" fmla="*/ 18 w 78"/>
              <a:gd name="T53" fmla="*/ 102 h 108"/>
              <a:gd name="T54" fmla="*/ 12 w 78"/>
              <a:gd name="T55" fmla="*/ 102 h 108"/>
              <a:gd name="T56" fmla="*/ 6 w 78"/>
              <a:gd name="T57" fmla="*/ 102 h 108"/>
              <a:gd name="T58" fmla="*/ 12 w 78"/>
              <a:gd name="T59" fmla="*/ 96 h 108"/>
              <a:gd name="T60" fmla="*/ 12 w 78"/>
              <a:gd name="T61" fmla="*/ 84 h 108"/>
              <a:gd name="T62" fmla="*/ 18 w 78"/>
              <a:gd name="T63" fmla="*/ 78 h 108"/>
              <a:gd name="T64" fmla="*/ 12 w 78"/>
              <a:gd name="T65" fmla="*/ 78 h 108"/>
              <a:gd name="T66" fmla="*/ 6 w 78"/>
              <a:gd name="T67" fmla="*/ 72 h 108"/>
              <a:gd name="T68" fmla="*/ 6 w 78"/>
              <a:gd name="T69" fmla="*/ 66 h 108"/>
              <a:gd name="T70" fmla="*/ 18 w 78"/>
              <a:gd name="T71" fmla="*/ 60 h 108"/>
              <a:gd name="T72" fmla="*/ 18 w 78"/>
              <a:gd name="T73" fmla="*/ 54 h 108"/>
              <a:gd name="T74" fmla="*/ 12 w 78"/>
              <a:gd name="T75" fmla="*/ 48 h 108"/>
              <a:gd name="T76" fmla="*/ 48 w 78"/>
              <a:gd name="T77" fmla="*/ 30 h 108"/>
              <a:gd name="T78" fmla="*/ 48 w 78"/>
              <a:gd name="T79" fmla="*/ 30 h 108"/>
              <a:gd name="T80" fmla="*/ 48 w 78"/>
              <a:gd name="T81" fmla="*/ 24 h 108"/>
              <a:gd name="T82" fmla="*/ 48 w 78"/>
              <a:gd name="T83" fmla="*/ 24 h 108"/>
              <a:gd name="T84" fmla="*/ 48 w 78"/>
              <a:gd name="T85" fmla="*/ 72 h 108"/>
              <a:gd name="T86" fmla="*/ 48 w 78"/>
              <a:gd name="T87" fmla="*/ 66 h 108"/>
              <a:gd name="T88" fmla="*/ 48 w 78"/>
              <a:gd name="T89" fmla="*/ 54 h 108"/>
              <a:gd name="T90" fmla="*/ 54 w 78"/>
              <a:gd name="T91" fmla="*/ 48 h 108"/>
              <a:gd name="T92" fmla="*/ 48 w 78"/>
              <a:gd name="T93" fmla="*/ 42 h 108"/>
              <a:gd name="T94" fmla="*/ 60 w 78"/>
              <a:gd name="T95" fmla="*/ 36 h 108"/>
              <a:gd name="T96" fmla="*/ 54 w 78"/>
              <a:gd name="T97" fmla="*/ 30 h 108"/>
              <a:gd name="T98" fmla="*/ 54 w 78"/>
              <a:gd name="T99" fmla="*/ 24 h 108"/>
              <a:gd name="T100" fmla="*/ 60 w 78"/>
              <a:gd name="T101" fmla="*/ 18 h 108"/>
              <a:gd name="T102" fmla="*/ 66 w 78"/>
              <a:gd name="T103" fmla="*/ 12 h 108"/>
              <a:gd name="T104" fmla="*/ 72 w 78"/>
              <a:gd name="T105" fmla="*/ 18 h 108"/>
              <a:gd name="T106" fmla="*/ 72 w 78"/>
              <a:gd name="T107" fmla="*/ 30 h 108"/>
              <a:gd name="T108" fmla="*/ 66 w 78"/>
              <a:gd name="T109" fmla="*/ 42 h 108"/>
              <a:gd name="T110" fmla="*/ 66 w 78"/>
              <a:gd name="T111" fmla="*/ 48 h 108"/>
              <a:gd name="T112" fmla="*/ 60 w 78"/>
              <a:gd name="T113" fmla="*/ 60 h 108"/>
              <a:gd name="T114" fmla="*/ 60 w 78"/>
              <a:gd name="T115" fmla="*/ 66 h 108"/>
              <a:gd name="T116" fmla="*/ 54 w 78"/>
              <a:gd name="T117" fmla="*/ 66 h 108"/>
              <a:gd name="T118" fmla="*/ 48 w 78"/>
              <a:gd name="T119" fmla="*/ 54 h 108"/>
              <a:gd name="T120" fmla="*/ 48 w 78"/>
              <a:gd name="T121" fmla="*/ 54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78" h="108">
                <a:moveTo>
                  <a:pt x="0" y="48"/>
                </a:move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0" y="42"/>
                </a:lnTo>
                <a:lnTo>
                  <a:pt x="6" y="36"/>
                </a:lnTo>
                <a:lnTo>
                  <a:pt x="0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36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24"/>
                </a:lnTo>
                <a:lnTo>
                  <a:pt x="6" y="18"/>
                </a:lnTo>
                <a:lnTo>
                  <a:pt x="12" y="18"/>
                </a:lnTo>
                <a:lnTo>
                  <a:pt x="12" y="18"/>
                </a:lnTo>
                <a:lnTo>
                  <a:pt x="12" y="18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18" y="12"/>
                </a:lnTo>
                <a:lnTo>
                  <a:pt x="24" y="6"/>
                </a:lnTo>
                <a:lnTo>
                  <a:pt x="24" y="12"/>
                </a:lnTo>
                <a:lnTo>
                  <a:pt x="24" y="6"/>
                </a:lnTo>
                <a:lnTo>
                  <a:pt x="24" y="6"/>
                </a:lnTo>
                <a:lnTo>
                  <a:pt x="30" y="6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0" y="12"/>
                </a:lnTo>
                <a:lnTo>
                  <a:pt x="36" y="12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12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36" y="6"/>
                </a:lnTo>
                <a:lnTo>
                  <a:pt x="42" y="6"/>
                </a:lnTo>
                <a:lnTo>
                  <a:pt x="42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48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0"/>
                </a:lnTo>
                <a:lnTo>
                  <a:pt x="54" y="0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6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54" y="12"/>
                </a:lnTo>
                <a:lnTo>
                  <a:pt x="48" y="12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8" y="18"/>
                </a:lnTo>
                <a:lnTo>
                  <a:pt x="42" y="18"/>
                </a:lnTo>
                <a:lnTo>
                  <a:pt x="42" y="18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24"/>
                </a:lnTo>
                <a:lnTo>
                  <a:pt x="42" y="30"/>
                </a:lnTo>
                <a:lnTo>
                  <a:pt x="42" y="30"/>
                </a:lnTo>
                <a:lnTo>
                  <a:pt x="42" y="36"/>
                </a:lnTo>
                <a:lnTo>
                  <a:pt x="42" y="36"/>
                </a:lnTo>
                <a:lnTo>
                  <a:pt x="48" y="36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2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2" y="48"/>
                </a:lnTo>
                <a:lnTo>
                  <a:pt x="48" y="48"/>
                </a:lnTo>
                <a:lnTo>
                  <a:pt x="42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78"/>
                </a:lnTo>
                <a:lnTo>
                  <a:pt x="48" y="84"/>
                </a:lnTo>
                <a:lnTo>
                  <a:pt x="48" y="84"/>
                </a:lnTo>
                <a:lnTo>
                  <a:pt x="48" y="84"/>
                </a:lnTo>
                <a:lnTo>
                  <a:pt x="42" y="84"/>
                </a:lnTo>
                <a:lnTo>
                  <a:pt x="42" y="84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42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0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6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96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30" y="102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24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8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8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12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6" y="102"/>
                </a:lnTo>
                <a:lnTo>
                  <a:pt x="12" y="102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6"/>
                </a:lnTo>
                <a:lnTo>
                  <a:pt x="12" y="90"/>
                </a:lnTo>
                <a:lnTo>
                  <a:pt x="12" y="90"/>
                </a:lnTo>
                <a:lnTo>
                  <a:pt x="12" y="90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2" y="84"/>
                </a:lnTo>
                <a:lnTo>
                  <a:pt x="18" y="84"/>
                </a:lnTo>
                <a:lnTo>
                  <a:pt x="18" y="84"/>
                </a:lnTo>
                <a:lnTo>
                  <a:pt x="18" y="78"/>
                </a:lnTo>
                <a:lnTo>
                  <a:pt x="18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6" y="78"/>
                </a:lnTo>
                <a:lnTo>
                  <a:pt x="6" y="78"/>
                </a:lnTo>
                <a:lnTo>
                  <a:pt x="6" y="78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6" y="72"/>
                </a:lnTo>
                <a:lnTo>
                  <a:pt x="12" y="72"/>
                </a:lnTo>
                <a:lnTo>
                  <a:pt x="6" y="66"/>
                </a:lnTo>
                <a:lnTo>
                  <a:pt x="12" y="66"/>
                </a:lnTo>
                <a:lnTo>
                  <a:pt x="12" y="66"/>
                </a:lnTo>
                <a:lnTo>
                  <a:pt x="6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6"/>
                </a:lnTo>
                <a:lnTo>
                  <a:pt x="12" y="60"/>
                </a:lnTo>
                <a:lnTo>
                  <a:pt x="18" y="60"/>
                </a:lnTo>
                <a:lnTo>
                  <a:pt x="18" y="60"/>
                </a:lnTo>
                <a:lnTo>
                  <a:pt x="18" y="60"/>
                </a:lnTo>
                <a:lnTo>
                  <a:pt x="12" y="60"/>
                </a:lnTo>
                <a:lnTo>
                  <a:pt x="12" y="60"/>
                </a:lnTo>
                <a:lnTo>
                  <a:pt x="18" y="60"/>
                </a:lnTo>
                <a:lnTo>
                  <a:pt x="18" y="54"/>
                </a:lnTo>
                <a:lnTo>
                  <a:pt x="18" y="60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8" y="54"/>
                </a:lnTo>
                <a:lnTo>
                  <a:pt x="12" y="48"/>
                </a:lnTo>
                <a:lnTo>
                  <a:pt x="12" y="48"/>
                </a:lnTo>
                <a:lnTo>
                  <a:pt x="18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12" y="48"/>
                </a:lnTo>
                <a:lnTo>
                  <a:pt x="0" y="48"/>
                </a:lnTo>
                <a:close/>
                <a:moveTo>
                  <a:pt x="48" y="30"/>
                </a:move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lnTo>
                  <a:pt x="48" y="30"/>
                </a:lnTo>
                <a:close/>
                <a:moveTo>
                  <a:pt x="48" y="24"/>
                </a:move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lnTo>
                  <a:pt x="48" y="24"/>
                </a:lnTo>
                <a:close/>
                <a:moveTo>
                  <a:pt x="54" y="72"/>
                </a:move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72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6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48" y="60"/>
                </a:lnTo>
                <a:lnTo>
                  <a:pt x="54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54" y="48"/>
                </a:lnTo>
                <a:lnTo>
                  <a:pt x="54" y="48"/>
                </a:lnTo>
                <a:lnTo>
                  <a:pt x="54" y="48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54" y="42"/>
                </a:lnTo>
                <a:lnTo>
                  <a:pt x="48" y="42"/>
                </a:lnTo>
                <a:lnTo>
                  <a:pt x="48" y="42"/>
                </a:lnTo>
                <a:lnTo>
                  <a:pt x="48" y="42"/>
                </a:lnTo>
                <a:lnTo>
                  <a:pt x="54" y="42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54" y="36"/>
                </a:lnTo>
                <a:lnTo>
                  <a:pt x="60" y="36"/>
                </a:lnTo>
                <a:lnTo>
                  <a:pt x="54" y="36"/>
                </a:lnTo>
                <a:lnTo>
                  <a:pt x="54" y="36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30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24"/>
                </a:lnTo>
                <a:lnTo>
                  <a:pt x="54" y="18"/>
                </a:lnTo>
                <a:lnTo>
                  <a:pt x="60" y="18"/>
                </a:lnTo>
                <a:lnTo>
                  <a:pt x="60" y="18"/>
                </a:lnTo>
                <a:lnTo>
                  <a:pt x="60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8"/>
                </a:lnTo>
                <a:lnTo>
                  <a:pt x="66" y="12"/>
                </a:lnTo>
                <a:lnTo>
                  <a:pt x="66" y="12"/>
                </a:lnTo>
                <a:lnTo>
                  <a:pt x="66" y="12"/>
                </a:lnTo>
                <a:lnTo>
                  <a:pt x="72" y="12"/>
                </a:lnTo>
                <a:lnTo>
                  <a:pt x="72" y="12"/>
                </a:lnTo>
                <a:lnTo>
                  <a:pt x="72" y="12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2" y="18"/>
                </a:lnTo>
                <a:lnTo>
                  <a:pt x="78" y="24"/>
                </a:lnTo>
                <a:lnTo>
                  <a:pt x="78" y="18"/>
                </a:lnTo>
                <a:lnTo>
                  <a:pt x="78" y="24"/>
                </a:lnTo>
                <a:lnTo>
                  <a:pt x="78" y="24"/>
                </a:lnTo>
                <a:lnTo>
                  <a:pt x="78" y="24"/>
                </a:lnTo>
                <a:lnTo>
                  <a:pt x="72" y="24"/>
                </a:lnTo>
                <a:lnTo>
                  <a:pt x="72" y="24"/>
                </a:lnTo>
                <a:lnTo>
                  <a:pt x="72" y="30"/>
                </a:lnTo>
                <a:lnTo>
                  <a:pt x="72" y="30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66" y="36"/>
                </a:lnTo>
                <a:lnTo>
                  <a:pt x="72" y="36"/>
                </a:lnTo>
                <a:lnTo>
                  <a:pt x="66" y="42"/>
                </a:lnTo>
                <a:lnTo>
                  <a:pt x="72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2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6" y="48"/>
                </a:lnTo>
                <a:lnTo>
                  <a:pt x="60" y="48"/>
                </a:lnTo>
                <a:lnTo>
                  <a:pt x="60" y="54"/>
                </a:lnTo>
                <a:lnTo>
                  <a:pt x="60" y="54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0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60" y="66"/>
                </a:lnTo>
                <a:lnTo>
                  <a:pt x="54" y="66"/>
                </a:lnTo>
                <a:lnTo>
                  <a:pt x="54" y="66"/>
                </a:lnTo>
                <a:lnTo>
                  <a:pt x="54" y="66"/>
                </a:lnTo>
                <a:lnTo>
                  <a:pt x="54" y="72"/>
                </a:lnTo>
                <a:lnTo>
                  <a:pt x="54" y="72"/>
                </a:lnTo>
                <a:close/>
                <a:moveTo>
                  <a:pt x="48" y="54"/>
                </a:move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lnTo>
                  <a:pt x="48" y="54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829" name="Freeform 562"/>
          <p:cNvSpPr>
            <a:spLocks noEditPoints="1"/>
          </p:cNvSpPr>
          <p:nvPr/>
        </p:nvSpPr>
        <p:spPr bwMode="auto">
          <a:xfrm>
            <a:off x="6215873" y="5490488"/>
            <a:ext cx="327627" cy="314781"/>
          </a:xfrm>
          <a:custGeom>
            <a:avLst/>
            <a:gdLst>
              <a:gd name="T0" fmla="*/ 6 w 306"/>
              <a:gd name="T1" fmla="*/ 276 h 294"/>
              <a:gd name="T2" fmla="*/ 12 w 306"/>
              <a:gd name="T3" fmla="*/ 270 h 294"/>
              <a:gd name="T4" fmla="*/ 12 w 306"/>
              <a:gd name="T5" fmla="*/ 270 h 294"/>
              <a:gd name="T6" fmla="*/ 12 w 306"/>
              <a:gd name="T7" fmla="*/ 264 h 294"/>
              <a:gd name="T8" fmla="*/ 18 w 306"/>
              <a:gd name="T9" fmla="*/ 252 h 294"/>
              <a:gd name="T10" fmla="*/ 18 w 306"/>
              <a:gd name="T11" fmla="*/ 216 h 294"/>
              <a:gd name="T12" fmla="*/ 18 w 306"/>
              <a:gd name="T13" fmla="*/ 216 h 294"/>
              <a:gd name="T14" fmla="*/ 18 w 306"/>
              <a:gd name="T15" fmla="*/ 222 h 294"/>
              <a:gd name="T16" fmla="*/ 30 w 306"/>
              <a:gd name="T17" fmla="*/ 204 h 294"/>
              <a:gd name="T18" fmla="*/ 36 w 306"/>
              <a:gd name="T19" fmla="*/ 216 h 294"/>
              <a:gd name="T20" fmla="*/ 54 w 306"/>
              <a:gd name="T21" fmla="*/ 198 h 294"/>
              <a:gd name="T22" fmla="*/ 54 w 306"/>
              <a:gd name="T23" fmla="*/ 180 h 294"/>
              <a:gd name="T24" fmla="*/ 60 w 306"/>
              <a:gd name="T25" fmla="*/ 174 h 294"/>
              <a:gd name="T26" fmla="*/ 66 w 306"/>
              <a:gd name="T27" fmla="*/ 174 h 294"/>
              <a:gd name="T28" fmla="*/ 72 w 306"/>
              <a:gd name="T29" fmla="*/ 174 h 294"/>
              <a:gd name="T30" fmla="*/ 90 w 306"/>
              <a:gd name="T31" fmla="*/ 186 h 294"/>
              <a:gd name="T32" fmla="*/ 114 w 306"/>
              <a:gd name="T33" fmla="*/ 168 h 294"/>
              <a:gd name="T34" fmla="*/ 126 w 306"/>
              <a:gd name="T35" fmla="*/ 132 h 294"/>
              <a:gd name="T36" fmla="*/ 114 w 306"/>
              <a:gd name="T37" fmla="*/ 108 h 294"/>
              <a:gd name="T38" fmla="*/ 120 w 306"/>
              <a:gd name="T39" fmla="*/ 84 h 294"/>
              <a:gd name="T40" fmla="*/ 132 w 306"/>
              <a:gd name="T41" fmla="*/ 84 h 294"/>
              <a:gd name="T42" fmla="*/ 144 w 306"/>
              <a:gd name="T43" fmla="*/ 78 h 294"/>
              <a:gd name="T44" fmla="*/ 150 w 306"/>
              <a:gd name="T45" fmla="*/ 66 h 294"/>
              <a:gd name="T46" fmla="*/ 150 w 306"/>
              <a:gd name="T47" fmla="*/ 48 h 294"/>
              <a:gd name="T48" fmla="*/ 150 w 306"/>
              <a:gd name="T49" fmla="*/ 42 h 294"/>
              <a:gd name="T50" fmla="*/ 162 w 306"/>
              <a:gd name="T51" fmla="*/ 42 h 294"/>
              <a:gd name="T52" fmla="*/ 174 w 306"/>
              <a:gd name="T53" fmla="*/ 42 h 294"/>
              <a:gd name="T54" fmla="*/ 174 w 306"/>
              <a:gd name="T55" fmla="*/ 42 h 294"/>
              <a:gd name="T56" fmla="*/ 174 w 306"/>
              <a:gd name="T57" fmla="*/ 48 h 294"/>
              <a:gd name="T58" fmla="*/ 174 w 306"/>
              <a:gd name="T59" fmla="*/ 54 h 294"/>
              <a:gd name="T60" fmla="*/ 180 w 306"/>
              <a:gd name="T61" fmla="*/ 54 h 294"/>
              <a:gd name="T62" fmla="*/ 186 w 306"/>
              <a:gd name="T63" fmla="*/ 66 h 294"/>
              <a:gd name="T64" fmla="*/ 186 w 306"/>
              <a:gd name="T65" fmla="*/ 72 h 294"/>
              <a:gd name="T66" fmla="*/ 192 w 306"/>
              <a:gd name="T67" fmla="*/ 78 h 294"/>
              <a:gd name="T68" fmla="*/ 192 w 306"/>
              <a:gd name="T69" fmla="*/ 78 h 294"/>
              <a:gd name="T70" fmla="*/ 180 w 306"/>
              <a:gd name="T71" fmla="*/ 96 h 294"/>
              <a:gd name="T72" fmla="*/ 150 w 306"/>
              <a:gd name="T73" fmla="*/ 150 h 294"/>
              <a:gd name="T74" fmla="*/ 126 w 306"/>
              <a:gd name="T75" fmla="*/ 210 h 294"/>
              <a:gd name="T76" fmla="*/ 54 w 306"/>
              <a:gd name="T77" fmla="*/ 276 h 294"/>
              <a:gd name="T78" fmla="*/ 18 w 306"/>
              <a:gd name="T79" fmla="*/ 294 h 294"/>
              <a:gd name="T80" fmla="*/ 18 w 306"/>
              <a:gd name="T81" fmla="*/ 288 h 294"/>
              <a:gd name="T82" fmla="*/ 6 w 306"/>
              <a:gd name="T83" fmla="*/ 288 h 294"/>
              <a:gd name="T84" fmla="*/ 6 w 306"/>
              <a:gd name="T85" fmla="*/ 282 h 294"/>
              <a:gd name="T86" fmla="*/ 192 w 306"/>
              <a:gd name="T87" fmla="*/ 84 h 294"/>
              <a:gd name="T88" fmla="*/ 198 w 306"/>
              <a:gd name="T89" fmla="*/ 72 h 294"/>
              <a:gd name="T90" fmla="*/ 198 w 306"/>
              <a:gd name="T91" fmla="*/ 66 h 294"/>
              <a:gd name="T92" fmla="*/ 198 w 306"/>
              <a:gd name="T93" fmla="*/ 54 h 294"/>
              <a:gd name="T94" fmla="*/ 192 w 306"/>
              <a:gd name="T95" fmla="*/ 48 h 294"/>
              <a:gd name="T96" fmla="*/ 186 w 306"/>
              <a:gd name="T97" fmla="*/ 42 h 294"/>
              <a:gd name="T98" fmla="*/ 192 w 306"/>
              <a:gd name="T99" fmla="*/ 42 h 294"/>
              <a:gd name="T100" fmla="*/ 216 w 306"/>
              <a:gd name="T101" fmla="*/ 54 h 294"/>
              <a:gd name="T102" fmla="*/ 228 w 306"/>
              <a:gd name="T103" fmla="*/ 48 h 294"/>
              <a:gd name="T104" fmla="*/ 228 w 306"/>
              <a:gd name="T105" fmla="*/ 42 h 294"/>
              <a:gd name="T106" fmla="*/ 222 w 306"/>
              <a:gd name="T107" fmla="*/ 42 h 294"/>
              <a:gd name="T108" fmla="*/ 240 w 306"/>
              <a:gd name="T109" fmla="*/ 42 h 294"/>
              <a:gd name="T110" fmla="*/ 270 w 306"/>
              <a:gd name="T111" fmla="*/ 12 h 294"/>
              <a:gd name="T112" fmla="*/ 270 w 306"/>
              <a:gd name="T113" fmla="*/ 18 h 294"/>
              <a:gd name="T114" fmla="*/ 276 w 306"/>
              <a:gd name="T115" fmla="*/ 18 h 294"/>
              <a:gd name="T116" fmla="*/ 270 w 306"/>
              <a:gd name="T117" fmla="*/ 12 h 294"/>
              <a:gd name="T118" fmla="*/ 282 w 306"/>
              <a:gd name="T119" fmla="*/ 6 h 294"/>
              <a:gd name="T120" fmla="*/ 300 w 306"/>
              <a:gd name="T121" fmla="*/ 0 h 294"/>
              <a:gd name="T122" fmla="*/ 282 w 306"/>
              <a:gd name="T123" fmla="*/ 30 h 294"/>
              <a:gd name="T124" fmla="*/ 216 w 306"/>
              <a:gd name="T125" fmla="*/ 66 h 2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06" h="294">
                <a:moveTo>
                  <a:pt x="6" y="276"/>
                </a:moveTo>
                <a:lnTo>
                  <a:pt x="6" y="276"/>
                </a:lnTo>
                <a:lnTo>
                  <a:pt x="6" y="282"/>
                </a:lnTo>
                <a:lnTo>
                  <a:pt x="6" y="276"/>
                </a:lnTo>
                <a:lnTo>
                  <a:pt x="6" y="276"/>
                </a:lnTo>
                <a:lnTo>
                  <a:pt x="6" y="276"/>
                </a:lnTo>
                <a:lnTo>
                  <a:pt x="6" y="270"/>
                </a:lnTo>
                <a:lnTo>
                  <a:pt x="6" y="270"/>
                </a:lnTo>
                <a:lnTo>
                  <a:pt x="6" y="270"/>
                </a:lnTo>
                <a:lnTo>
                  <a:pt x="12" y="270"/>
                </a:lnTo>
                <a:lnTo>
                  <a:pt x="12" y="270"/>
                </a:lnTo>
                <a:lnTo>
                  <a:pt x="12" y="270"/>
                </a:lnTo>
                <a:lnTo>
                  <a:pt x="6" y="270"/>
                </a:lnTo>
                <a:lnTo>
                  <a:pt x="6" y="270"/>
                </a:lnTo>
                <a:lnTo>
                  <a:pt x="12" y="276"/>
                </a:lnTo>
                <a:lnTo>
                  <a:pt x="12" y="276"/>
                </a:lnTo>
                <a:lnTo>
                  <a:pt x="12" y="276"/>
                </a:lnTo>
                <a:lnTo>
                  <a:pt x="12" y="270"/>
                </a:lnTo>
                <a:lnTo>
                  <a:pt x="12" y="270"/>
                </a:lnTo>
                <a:lnTo>
                  <a:pt x="12" y="270"/>
                </a:lnTo>
                <a:lnTo>
                  <a:pt x="12" y="270"/>
                </a:lnTo>
                <a:lnTo>
                  <a:pt x="12" y="264"/>
                </a:lnTo>
                <a:lnTo>
                  <a:pt x="12" y="264"/>
                </a:lnTo>
                <a:lnTo>
                  <a:pt x="12" y="264"/>
                </a:lnTo>
                <a:lnTo>
                  <a:pt x="12" y="264"/>
                </a:lnTo>
                <a:lnTo>
                  <a:pt x="18" y="264"/>
                </a:lnTo>
                <a:lnTo>
                  <a:pt x="18" y="264"/>
                </a:lnTo>
                <a:lnTo>
                  <a:pt x="18" y="264"/>
                </a:lnTo>
                <a:lnTo>
                  <a:pt x="18" y="258"/>
                </a:lnTo>
                <a:lnTo>
                  <a:pt x="18" y="252"/>
                </a:lnTo>
                <a:lnTo>
                  <a:pt x="18" y="252"/>
                </a:lnTo>
                <a:lnTo>
                  <a:pt x="12" y="246"/>
                </a:lnTo>
                <a:lnTo>
                  <a:pt x="12" y="234"/>
                </a:lnTo>
                <a:lnTo>
                  <a:pt x="18" y="222"/>
                </a:lnTo>
                <a:lnTo>
                  <a:pt x="18" y="222"/>
                </a:lnTo>
                <a:lnTo>
                  <a:pt x="18" y="216"/>
                </a:lnTo>
                <a:lnTo>
                  <a:pt x="18" y="216"/>
                </a:lnTo>
                <a:lnTo>
                  <a:pt x="18" y="216"/>
                </a:lnTo>
                <a:lnTo>
                  <a:pt x="18" y="216"/>
                </a:lnTo>
                <a:lnTo>
                  <a:pt x="18" y="216"/>
                </a:lnTo>
                <a:lnTo>
                  <a:pt x="18" y="216"/>
                </a:lnTo>
                <a:lnTo>
                  <a:pt x="18" y="216"/>
                </a:lnTo>
                <a:lnTo>
                  <a:pt x="18" y="216"/>
                </a:lnTo>
                <a:lnTo>
                  <a:pt x="18" y="216"/>
                </a:lnTo>
                <a:lnTo>
                  <a:pt x="18" y="222"/>
                </a:lnTo>
                <a:lnTo>
                  <a:pt x="18" y="222"/>
                </a:lnTo>
                <a:lnTo>
                  <a:pt x="18" y="222"/>
                </a:lnTo>
                <a:lnTo>
                  <a:pt x="18" y="222"/>
                </a:lnTo>
                <a:lnTo>
                  <a:pt x="24" y="216"/>
                </a:lnTo>
                <a:lnTo>
                  <a:pt x="24" y="216"/>
                </a:lnTo>
                <a:lnTo>
                  <a:pt x="24" y="216"/>
                </a:lnTo>
                <a:lnTo>
                  <a:pt x="24" y="210"/>
                </a:lnTo>
                <a:lnTo>
                  <a:pt x="30" y="210"/>
                </a:lnTo>
                <a:lnTo>
                  <a:pt x="30" y="204"/>
                </a:lnTo>
                <a:lnTo>
                  <a:pt x="30" y="204"/>
                </a:lnTo>
                <a:lnTo>
                  <a:pt x="30" y="210"/>
                </a:lnTo>
                <a:lnTo>
                  <a:pt x="30" y="210"/>
                </a:lnTo>
                <a:lnTo>
                  <a:pt x="30" y="210"/>
                </a:lnTo>
                <a:lnTo>
                  <a:pt x="30" y="210"/>
                </a:lnTo>
                <a:lnTo>
                  <a:pt x="36" y="216"/>
                </a:lnTo>
                <a:lnTo>
                  <a:pt x="36" y="216"/>
                </a:lnTo>
                <a:lnTo>
                  <a:pt x="42" y="210"/>
                </a:lnTo>
                <a:lnTo>
                  <a:pt x="42" y="210"/>
                </a:lnTo>
                <a:lnTo>
                  <a:pt x="48" y="204"/>
                </a:lnTo>
                <a:lnTo>
                  <a:pt x="48" y="198"/>
                </a:lnTo>
                <a:lnTo>
                  <a:pt x="54" y="198"/>
                </a:lnTo>
                <a:lnTo>
                  <a:pt x="54" y="192"/>
                </a:lnTo>
                <a:lnTo>
                  <a:pt x="48" y="186"/>
                </a:lnTo>
                <a:lnTo>
                  <a:pt x="54" y="186"/>
                </a:lnTo>
                <a:lnTo>
                  <a:pt x="54" y="186"/>
                </a:lnTo>
                <a:lnTo>
                  <a:pt x="48" y="186"/>
                </a:lnTo>
                <a:lnTo>
                  <a:pt x="54" y="180"/>
                </a:lnTo>
                <a:lnTo>
                  <a:pt x="54" y="174"/>
                </a:lnTo>
                <a:lnTo>
                  <a:pt x="54" y="174"/>
                </a:lnTo>
                <a:lnTo>
                  <a:pt x="60" y="174"/>
                </a:lnTo>
                <a:lnTo>
                  <a:pt x="60" y="174"/>
                </a:lnTo>
                <a:lnTo>
                  <a:pt x="60" y="174"/>
                </a:lnTo>
                <a:lnTo>
                  <a:pt x="60" y="174"/>
                </a:lnTo>
                <a:lnTo>
                  <a:pt x="60" y="174"/>
                </a:lnTo>
                <a:lnTo>
                  <a:pt x="60" y="174"/>
                </a:lnTo>
                <a:lnTo>
                  <a:pt x="60" y="180"/>
                </a:lnTo>
                <a:lnTo>
                  <a:pt x="66" y="180"/>
                </a:lnTo>
                <a:lnTo>
                  <a:pt x="66" y="174"/>
                </a:lnTo>
                <a:lnTo>
                  <a:pt x="66" y="174"/>
                </a:lnTo>
                <a:lnTo>
                  <a:pt x="72" y="168"/>
                </a:lnTo>
                <a:lnTo>
                  <a:pt x="72" y="168"/>
                </a:lnTo>
                <a:lnTo>
                  <a:pt x="72" y="168"/>
                </a:lnTo>
                <a:lnTo>
                  <a:pt x="72" y="168"/>
                </a:lnTo>
                <a:lnTo>
                  <a:pt x="72" y="168"/>
                </a:lnTo>
                <a:lnTo>
                  <a:pt x="72" y="174"/>
                </a:lnTo>
                <a:lnTo>
                  <a:pt x="72" y="174"/>
                </a:lnTo>
                <a:lnTo>
                  <a:pt x="78" y="180"/>
                </a:lnTo>
                <a:lnTo>
                  <a:pt x="78" y="180"/>
                </a:lnTo>
                <a:lnTo>
                  <a:pt x="84" y="180"/>
                </a:lnTo>
                <a:lnTo>
                  <a:pt x="84" y="186"/>
                </a:lnTo>
                <a:lnTo>
                  <a:pt x="90" y="186"/>
                </a:lnTo>
                <a:lnTo>
                  <a:pt x="96" y="186"/>
                </a:lnTo>
                <a:lnTo>
                  <a:pt x="96" y="186"/>
                </a:lnTo>
                <a:lnTo>
                  <a:pt x="102" y="186"/>
                </a:lnTo>
                <a:lnTo>
                  <a:pt x="102" y="180"/>
                </a:lnTo>
                <a:lnTo>
                  <a:pt x="108" y="174"/>
                </a:lnTo>
                <a:lnTo>
                  <a:pt x="114" y="168"/>
                </a:lnTo>
                <a:lnTo>
                  <a:pt x="120" y="150"/>
                </a:lnTo>
                <a:lnTo>
                  <a:pt x="126" y="150"/>
                </a:lnTo>
                <a:lnTo>
                  <a:pt x="126" y="144"/>
                </a:lnTo>
                <a:lnTo>
                  <a:pt x="126" y="138"/>
                </a:lnTo>
                <a:lnTo>
                  <a:pt x="126" y="138"/>
                </a:lnTo>
                <a:lnTo>
                  <a:pt x="126" y="132"/>
                </a:lnTo>
                <a:lnTo>
                  <a:pt x="126" y="132"/>
                </a:lnTo>
                <a:lnTo>
                  <a:pt x="120" y="126"/>
                </a:lnTo>
                <a:lnTo>
                  <a:pt x="114" y="114"/>
                </a:lnTo>
                <a:lnTo>
                  <a:pt x="114" y="114"/>
                </a:lnTo>
                <a:lnTo>
                  <a:pt x="114" y="108"/>
                </a:lnTo>
                <a:lnTo>
                  <a:pt x="114" y="108"/>
                </a:lnTo>
                <a:lnTo>
                  <a:pt x="114" y="102"/>
                </a:lnTo>
                <a:lnTo>
                  <a:pt x="120" y="96"/>
                </a:lnTo>
                <a:lnTo>
                  <a:pt x="120" y="90"/>
                </a:lnTo>
                <a:lnTo>
                  <a:pt x="120" y="90"/>
                </a:lnTo>
                <a:lnTo>
                  <a:pt x="120" y="90"/>
                </a:lnTo>
                <a:lnTo>
                  <a:pt x="120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26" y="84"/>
                </a:lnTo>
                <a:lnTo>
                  <a:pt x="132" y="84"/>
                </a:lnTo>
                <a:lnTo>
                  <a:pt x="132" y="84"/>
                </a:lnTo>
                <a:lnTo>
                  <a:pt x="132" y="78"/>
                </a:lnTo>
                <a:lnTo>
                  <a:pt x="138" y="78"/>
                </a:lnTo>
                <a:lnTo>
                  <a:pt x="144" y="78"/>
                </a:lnTo>
                <a:lnTo>
                  <a:pt x="144" y="78"/>
                </a:lnTo>
                <a:lnTo>
                  <a:pt x="144" y="78"/>
                </a:lnTo>
                <a:lnTo>
                  <a:pt x="144" y="78"/>
                </a:lnTo>
                <a:lnTo>
                  <a:pt x="150" y="72"/>
                </a:lnTo>
                <a:lnTo>
                  <a:pt x="150" y="72"/>
                </a:lnTo>
                <a:lnTo>
                  <a:pt x="150" y="72"/>
                </a:lnTo>
                <a:lnTo>
                  <a:pt x="150" y="72"/>
                </a:lnTo>
                <a:lnTo>
                  <a:pt x="150" y="66"/>
                </a:lnTo>
                <a:lnTo>
                  <a:pt x="150" y="66"/>
                </a:lnTo>
                <a:lnTo>
                  <a:pt x="150" y="66"/>
                </a:lnTo>
                <a:lnTo>
                  <a:pt x="150" y="60"/>
                </a:lnTo>
                <a:lnTo>
                  <a:pt x="156" y="54"/>
                </a:lnTo>
                <a:lnTo>
                  <a:pt x="150" y="54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8"/>
                </a:lnTo>
                <a:lnTo>
                  <a:pt x="150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42"/>
                </a:lnTo>
                <a:lnTo>
                  <a:pt x="156" y="42"/>
                </a:lnTo>
                <a:lnTo>
                  <a:pt x="162" y="42"/>
                </a:lnTo>
                <a:lnTo>
                  <a:pt x="162" y="42"/>
                </a:lnTo>
                <a:lnTo>
                  <a:pt x="162" y="42"/>
                </a:lnTo>
                <a:lnTo>
                  <a:pt x="168" y="42"/>
                </a:lnTo>
                <a:lnTo>
                  <a:pt x="168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2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74" y="48"/>
                </a:lnTo>
                <a:lnTo>
                  <a:pt x="168" y="48"/>
                </a:lnTo>
                <a:lnTo>
                  <a:pt x="168" y="48"/>
                </a:lnTo>
                <a:lnTo>
                  <a:pt x="168" y="54"/>
                </a:lnTo>
                <a:lnTo>
                  <a:pt x="174" y="54"/>
                </a:lnTo>
                <a:lnTo>
                  <a:pt x="174" y="54"/>
                </a:lnTo>
                <a:lnTo>
                  <a:pt x="174" y="54"/>
                </a:lnTo>
                <a:lnTo>
                  <a:pt x="174" y="54"/>
                </a:lnTo>
                <a:lnTo>
                  <a:pt x="174" y="54"/>
                </a:lnTo>
                <a:lnTo>
                  <a:pt x="174" y="54"/>
                </a:lnTo>
                <a:lnTo>
                  <a:pt x="174" y="54"/>
                </a:lnTo>
                <a:lnTo>
                  <a:pt x="180" y="54"/>
                </a:lnTo>
                <a:lnTo>
                  <a:pt x="180" y="54"/>
                </a:lnTo>
                <a:lnTo>
                  <a:pt x="186" y="60"/>
                </a:lnTo>
                <a:lnTo>
                  <a:pt x="186" y="60"/>
                </a:lnTo>
                <a:lnTo>
                  <a:pt x="186" y="60"/>
                </a:lnTo>
                <a:lnTo>
                  <a:pt x="186" y="60"/>
                </a:lnTo>
                <a:lnTo>
                  <a:pt x="186" y="60"/>
                </a:lnTo>
                <a:lnTo>
                  <a:pt x="186" y="66"/>
                </a:lnTo>
                <a:lnTo>
                  <a:pt x="192" y="66"/>
                </a:lnTo>
                <a:lnTo>
                  <a:pt x="192" y="72"/>
                </a:lnTo>
                <a:lnTo>
                  <a:pt x="192" y="72"/>
                </a:lnTo>
                <a:lnTo>
                  <a:pt x="192" y="72"/>
                </a:lnTo>
                <a:lnTo>
                  <a:pt x="192" y="72"/>
                </a:lnTo>
                <a:lnTo>
                  <a:pt x="186" y="72"/>
                </a:lnTo>
                <a:lnTo>
                  <a:pt x="186" y="72"/>
                </a:lnTo>
                <a:lnTo>
                  <a:pt x="186" y="72"/>
                </a:lnTo>
                <a:lnTo>
                  <a:pt x="192" y="72"/>
                </a:lnTo>
                <a:lnTo>
                  <a:pt x="192" y="72"/>
                </a:lnTo>
                <a:lnTo>
                  <a:pt x="192" y="72"/>
                </a:lnTo>
                <a:lnTo>
                  <a:pt x="192" y="78"/>
                </a:lnTo>
                <a:lnTo>
                  <a:pt x="192" y="78"/>
                </a:lnTo>
                <a:lnTo>
                  <a:pt x="192" y="78"/>
                </a:lnTo>
                <a:lnTo>
                  <a:pt x="192" y="78"/>
                </a:lnTo>
                <a:lnTo>
                  <a:pt x="192" y="78"/>
                </a:lnTo>
                <a:lnTo>
                  <a:pt x="192" y="78"/>
                </a:lnTo>
                <a:lnTo>
                  <a:pt x="192" y="78"/>
                </a:lnTo>
                <a:lnTo>
                  <a:pt x="192" y="84"/>
                </a:lnTo>
                <a:lnTo>
                  <a:pt x="192" y="90"/>
                </a:lnTo>
                <a:lnTo>
                  <a:pt x="192" y="90"/>
                </a:lnTo>
                <a:lnTo>
                  <a:pt x="186" y="90"/>
                </a:lnTo>
                <a:lnTo>
                  <a:pt x="180" y="96"/>
                </a:lnTo>
                <a:lnTo>
                  <a:pt x="180" y="96"/>
                </a:lnTo>
                <a:lnTo>
                  <a:pt x="174" y="102"/>
                </a:lnTo>
                <a:lnTo>
                  <a:pt x="168" y="108"/>
                </a:lnTo>
                <a:lnTo>
                  <a:pt x="162" y="114"/>
                </a:lnTo>
                <a:lnTo>
                  <a:pt x="156" y="126"/>
                </a:lnTo>
                <a:lnTo>
                  <a:pt x="156" y="132"/>
                </a:lnTo>
                <a:lnTo>
                  <a:pt x="150" y="150"/>
                </a:lnTo>
                <a:lnTo>
                  <a:pt x="150" y="150"/>
                </a:lnTo>
                <a:lnTo>
                  <a:pt x="144" y="162"/>
                </a:lnTo>
                <a:lnTo>
                  <a:pt x="144" y="174"/>
                </a:lnTo>
                <a:lnTo>
                  <a:pt x="138" y="186"/>
                </a:lnTo>
                <a:lnTo>
                  <a:pt x="132" y="198"/>
                </a:lnTo>
                <a:lnTo>
                  <a:pt x="126" y="210"/>
                </a:lnTo>
                <a:lnTo>
                  <a:pt x="120" y="216"/>
                </a:lnTo>
                <a:lnTo>
                  <a:pt x="114" y="222"/>
                </a:lnTo>
                <a:lnTo>
                  <a:pt x="108" y="234"/>
                </a:lnTo>
                <a:lnTo>
                  <a:pt x="102" y="240"/>
                </a:lnTo>
                <a:lnTo>
                  <a:pt x="66" y="264"/>
                </a:lnTo>
                <a:lnTo>
                  <a:pt x="54" y="276"/>
                </a:lnTo>
                <a:lnTo>
                  <a:pt x="42" y="288"/>
                </a:lnTo>
                <a:lnTo>
                  <a:pt x="36" y="288"/>
                </a:lnTo>
                <a:lnTo>
                  <a:pt x="24" y="294"/>
                </a:lnTo>
                <a:lnTo>
                  <a:pt x="24" y="294"/>
                </a:lnTo>
                <a:lnTo>
                  <a:pt x="18" y="294"/>
                </a:lnTo>
                <a:lnTo>
                  <a:pt x="18" y="294"/>
                </a:lnTo>
                <a:lnTo>
                  <a:pt x="18" y="294"/>
                </a:lnTo>
                <a:lnTo>
                  <a:pt x="18" y="294"/>
                </a:lnTo>
                <a:lnTo>
                  <a:pt x="18" y="294"/>
                </a:lnTo>
                <a:lnTo>
                  <a:pt x="18" y="294"/>
                </a:lnTo>
                <a:lnTo>
                  <a:pt x="18" y="294"/>
                </a:lnTo>
                <a:lnTo>
                  <a:pt x="18" y="288"/>
                </a:lnTo>
                <a:lnTo>
                  <a:pt x="12" y="288"/>
                </a:lnTo>
                <a:lnTo>
                  <a:pt x="18" y="288"/>
                </a:lnTo>
                <a:lnTo>
                  <a:pt x="6" y="288"/>
                </a:lnTo>
                <a:lnTo>
                  <a:pt x="6" y="288"/>
                </a:lnTo>
                <a:lnTo>
                  <a:pt x="6" y="288"/>
                </a:lnTo>
                <a:lnTo>
                  <a:pt x="6" y="288"/>
                </a:lnTo>
                <a:lnTo>
                  <a:pt x="6" y="288"/>
                </a:lnTo>
                <a:lnTo>
                  <a:pt x="6" y="288"/>
                </a:lnTo>
                <a:lnTo>
                  <a:pt x="6" y="288"/>
                </a:lnTo>
                <a:lnTo>
                  <a:pt x="0" y="282"/>
                </a:lnTo>
                <a:lnTo>
                  <a:pt x="6" y="282"/>
                </a:lnTo>
                <a:lnTo>
                  <a:pt x="6" y="282"/>
                </a:lnTo>
                <a:lnTo>
                  <a:pt x="0" y="282"/>
                </a:lnTo>
                <a:lnTo>
                  <a:pt x="6" y="276"/>
                </a:lnTo>
                <a:close/>
                <a:moveTo>
                  <a:pt x="192" y="90"/>
                </a:moveTo>
                <a:lnTo>
                  <a:pt x="192" y="84"/>
                </a:lnTo>
                <a:lnTo>
                  <a:pt x="192" y="84"/>
                </a:lnTo>
                <a:lnTo>
                  <a:pt x="192" y="84"/>
                </a:lnTo>
                <a:lnTo>
                  <a:pt x="192" y="84"/>
                </a:lnTo>
                <a:lnTo>
                  <a:pt x="192" y="84"/>
                </a:lnTo>
                <a:lnTo>
                  <a:pt x="192" y="84"/>
                </a:lnTo>
                <a:lnTo>
                  <a:pt x="198" y="78"/>
                </a:lnTo>
                <a:lnTo>
                  <a:pt x="198" y="78"/>
                </a:lnTo>
                <a:lnTo>
                  <a:pt x="198" y="72"/>
                </a:lnTo>
                <a:lnTo>
                  <a:pt x="198" y="72"/>
                </a:lnTo>
                <a:lnTo>
                  <a:pt x="198" y="72"/>
                </a:lnTo>
                <a:lnTo>
                  <a:pt x="198" y="66"/>
                </a:lnTo>
                <a:lnTo>
                  <a:pt x="198" y="66"/>
                </a:lnTo>
                <a:lnTo>
                  <a:pt x="198" y="66"/>
                </a:lnTo>
                <a:lnTo>
                  <a:pt x="198" y="66"/>
                </a:lnTo>
                <a:lnTo>
                  <a:pt x="204" y="66"/>
                </a:lnTo>
                <a:lnTo>
                  <a:pt x="198" y="60"/>
                </a:lnTo>
                <a:lnTo>
                  <a:pt x="198" y="60"/>
                </a:lnTo>
                <a:lnTo>
                  <a:pt x="198" y="60"/>
                </a:lnTo>
                <a:lnTo>
                  <a:pt x="198" y="54"/>
                </a:lnTo>
                <a:lnTo>
                  <a:pt x="198" y="54"/>
                </a:lnTo>
                <a:lnTo>
                  <a:pt x="198" y="54"/>
                </a:lnTo>
                <a:lnTo>
                  <a:pt x="192" y="54"/>
                </a:lnTo>
                <a:lnTo>
                  <a:pt x="192" y="54"/>
                </a:lnTo>
                <a:lnTo>
                  <a:pt x="192" y="48"/>
                </a:lnTo>
                <a:lnTo>
                  <a:pt x="192" y="48"/>
                </a:lnTo>
                <a:lnTo>
                  <a:pt x="192" y="48"/>
                </a:lnTo>
                <a:lnTo>
                  <a:pt x="192" y="48"/>
                </a:lnTo>
                <a:lnTo>
                  <a:pt x="192" y="48"/>
                </a:lnTo>
                <a:lnTo>
                  <a:pt x="192" y="48"/>
                </a:lnTo>
                <a:lnTo>
                  <a:pt x="192" y="42"/>
                </a:lnTo>
                <a:lnTo>
                  <a:pt x="186" y="42"/>
                </a:lnTo>
                <a:lnTo>
                  <a:pt x="186" y="42"/>
                </a:lnTo>
                <a:lnTo>
                  <a:pt x="186" y="42"/>
                </a:lnTo>
                <a:lnTo>
                  <a:pt x="192" y="42"/>
                </a:lnTo>
                <a:lnTo>
                  <a:pt x="192" y="42"/>
                </a:lnTo>
                <a:lnTo>
                  <a:pt x="192" y="42"/>
                </a:lnTo>
                <a:lnTo>
                  <a:pt x="192" y="48"/>
                </a:lnTo>
                <a:lnTo>
                  <a:pt x="192" y="42"/>
                </a:lnTo>
                <a:lnTo>
                  <a:pt x="198" y="42"/>
                </a:lnTo>
                <a:lnTo>
                  <a:pt x="198" y="42"/>
                </a:lnTo>
                <a:lnTo>
                  <a:pt x="204" y="48"/>
                </a:lnTo>
                <a:lnTo>
                  <a:pt x="210" y="48"/>
                </a:lnTo>
                <a:lnTo>
                  <a:pt x="210" y="48"/>
                </a:lnTo>
                <a:lnTo>
                  <a:pt x="216" y="54"/>
                </a:lnTo>
                <a:lnTo>
                  <a:pt x="222" y="54"/>
                </a:lnTo>
                <a:lnTo>
                  <a:pt x="222" y="54"/>
                </a:lnTo>
                <a:lnTo>
                  <a:pt x="222" y="48"/>
                </a:lnTo>
                <a:lnTo>
                  <a:pt x="228" y="48"/>
                </a:lnTo>
                <a:lnTo>
                  <a:pt x="228" y="48"/>
                </a:lnTo>
                <a:lnTo>
                  <a:pt x="228" y="48"/>
                </a:lnTo>
                <a:lnTo>
                  <a:pt x="228" y="48"/>
                </a:lnTo>
                <a:lnTo>
                  <a:pt x="228" y="42"/>
                </a:lnTo>
                <a:lnTo>
                  <a:pt x="228" y="42"/>
                </a:lnTo>
                <a:lnTo>
                  <a:pt x="228" y="42"/>
                </a:lnTo>
                <a:lnTo>
                  <a:pt x="228" y="42"/>
                </a:lnTo>
                <a:lnTo>
                  <a:pt x="228" y="42"/>
                </a:lnTo>
                <a:lnTo>
                  <a:pt x="228" y="42"/>
                </a:lnTo>
                <a:lnTo>
                  <a:pt x="228" y="42"/>
                </a:lnTo>
                <a:lnTo>
                  <a:pt x="228" y="42"/>
                </a:lnTo>
                <a:lnTo>
                  <a:pt x="228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2" y="42"/>
                </a:lnTo>
                <a:lnTo>
                  <a:pt x="228" y="42"/>
                </a:lnTo>
                <a:lnTo>
                  <a:pt x="234" y="42"/>
                </a:lnTo>
                <a:lnTo>
                  <a:pt x="240" y="42"/>
                </a:lnTo>
                <a:lnTo>
                  <a:pt x="240" y="42"/>
                </a:lnTo>
                <a:lnTo>
                  <a:pt x="246" y="42"/>
                </a:lnTo>
                <a:lnTo>
                  <a:pt x="258" y="30"/>
                </a:lnTo>
                <a:lnTo>
                  <a:pt x="264" y="24"/>
                </a:lnTo>
                <a:lnTo>
                  <a:pt x="264" y="18"/>
                </a:lnTo>
                <a:lnTo>
                  <a:pt x="270" y="12"/>
                </a:lnTo>
                <a:lnTo>
                  <a:pt x="270" y="12"/>
                </a:lnTo>
                <a:lnTo>
                  <a:pt x="270" y="12"/>
                </a:lnTo>
                <a:lnTo>
                  <a:pt x="270" y="12"/>
                </a:lnTo>
                <a:lnTo>
                  <a:pt x="270" y="12"/>
                </a:lnTo>
                <a:lnTo>
                  <a:pt x="270" y="18"/>
                </a:lnTo>
                <a:lnTo>
                  <a:pt x="270" y="18"/>
                </a:lnTo>
                <a:lnTo>
                  <a:pt x="270" y="18"/>
                </a:lnTo>
                <a:lnTo>
                  <a:pt x="276" y="18"/>
                </a:lnTo>
                <a:lnTo>
                  <a:pt x="276" y="18"/>
                </a:lnTo>
                <a:lnTo>
                  <a:pt x="276" y="18"/>
                </a:lnTo>
                <a:lnTo>
                  <a:pt x="276" y="18"/>
                </a:lnTo>
                <a:lnTo>
                  <a:pt x="276" y="18"/>
                </a:lnTo>
                <a:lnTo>
                  <a:pt x="270" y="12"/>
                </a:lnTo>
                <a:lnTo>
                  <a:pt x="276" y="6"/>
                </a:lnTo>
                <a:lnTo>
                  <a:pt x="276" y="6"/>
                </a:lnTo>
                <a:lnTo>
                  <a:pt x="270" y="12"/>
                </a:lnTo>
                <a:lnTo>
                  <a:pt x="270" y="12"/>
                </a:lnTo>
                <a:lnTo>
                  <a:pt x="270" y="12"/>
                </a:lnTo>
                <a:lnTo>
                  <a:pt x="276" y="6"/>
                </a:lnTo>
                <a:lnTo>
                  <a:pt x="276" y="6"/>
                </a:lnTo>
                <a:lnTo>
                  <a:pt x="276" y="0"/>
                </a:lnTo>
                <a:lnTo>
                  <a:pt x="276" y="0"/>
                </a:lnTo>
                <a:lnTo>
                  <a:pt x="276" y="6"/>
                </a:lnTo>
                <a:lnTo>
                  <a:pt x="282" y="6"/>
                </a:lnTo>
                <a:lnTo>
                  <a:pt x="282" y="6"/>
                </a:lnTo>
                <a:lnTo>
                  <a:pt x="288" y="6"/>
                </a:lnTo>
                <a:lnTo>
                  <a:pt x="294" y="6"/>
                </a:lnTo>
                <a:lnTo>
                  <a:pt x="294" y="0"/>
                </a:lnTo>
                <a:lnTo>
                  <a:pt x="300" y="0"/>
                </a:lnTo>
                <a:lnTo>
                  <a:pt x="300" y="0"/>
                </a:lnTo>
                <a:lnTo>
                  <a:pt x="306" y="0"/>
                </a:lnTo>
                <a:lnTo>
                  <a:pt x="306" y="6"/>
                </a:lnTo>
                <a:lnTo>
                  <a:pt x="306" y="6"/>
                </a:lnTo>
                <a:lnTo>
                  <a:pt x="300" y="12"/>
                </a:lnTo>
                <a:lnTo>
                  <a:pt x="288" y="18"/>
                </a:lnTo>
                <a:lnTo>
                  <a:pt x="282" y="30"/>
                </a:lnTo>
                <a:lnTo>
                  <a:pt x="270" y="36"/>
                </a:lnTo>
                <a:lnTo>
                  <a:pt x="264" y="36"/>
                </a:lnTo>
                <a:lnTo>
                  <a:pt x="252" y="42"/>
                </a:lnTo>
                <a:lnTo>
                  <a:pt x="240" y="48"/>
                </a:lnTo>
                <a:lnTo>
                  <a:pt x="228" y="60"/>
                </a:lnTo>
                <a:lnTo>
                  <a:pt x="216" y="66"/>
                </a:lnTo>
                <a:lnTo>
                  <a:pt x="216" y="66"/>
                </a:lnTo>
                <a:lnTo>
                  <a:pt x="204" y="72"/>
                </a:lnTo>
                <a:lnTo>
                  <a:pt x="192" y="90"/>
                </a:lnTo>
                <a:lnTo>
                  <a:pt x="192" y="90"/>
                </a:lnTo>
                <a:close/>
              </a:path>
            </a:pathLst>
          </a:custGeom>
          <a:solidFill>
            <a:srgbClr val="D6D6CE"/>
          </a:solidFill>
          <a:ln w="31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265" name="Freeform 564"/>
          <p:cNvSpPr>
            <a:spLocks/>
          </p:cNvSpPr>
          <p:nvPr/>
        </p:nvSpPr>
        <p:spPr bwMode="auto">
          <a:xfrm>
            <a:off x="5084902" y="2124555"/>
            <a:ext cx="2195322" cy="2332938"/>
          </a:xfrm>
          <a:custGeom>
            <a:avLst/>
            <a:gdLst>
              <a:gd name="T0" fmla="*/ 234 w 2052"/>
              <a:gd name="T1" fmla="*/ 192 h 2178"/>
              <a:gd name="T2" fmla="*/ 438 w 2052"/>
              <a:gd name="T3" fmla="*/ 108 h 2178"/>
              <a:gd name="T4" fmla="*/ 480 w 2052"/>
              <a:gd name="T5" fmla="*/ 24 h 2178"/>
              <a:gd name="T6" fmla="*/ 522 w 2052"/>
              <a:gd name="T7" fmla="*/ 174 h 2178"/>
              <a:gd name="T8" fmla="*/ 612 w 2052"/>
              <a:gd name="T9" fmla="*/ 246 h 2178"/>
              <a:gd name="T10" fmla="*/ 1404 w 2052"/>
              <a:gd name="T11" fmla="*/ 324 h 2178"/>
              <a:gd name="T12" fmla="*/ 1440 w 2052"/>
              <a:gd name="T13" fmla="*/ 444 h 2178"/>
              <a:gd name="T14" fmla="*/ 1422 w 2052"/>
              <a:gd name="T15" fmla="*/ 576 h 2178"/>
              <a:gd name="T16" fmla="*/ 1428 w 2052"/>
              <a:gd name="T17" fmla="*/ 696 h 2178"/>
              <a:gd name="T18" fmla="*/ 1470 w 2052"/>
              <a:gd name="T19" fmla="*/ 678 h 2178"/>
              <a:gd name="T20" fmla="*/ 1476 w 2052"/>
              <a:gd name="T21" fmla="*/ 702 h 2178"/>
              <a:gd name="T22" fmla="*/ 1602 w 2052"/>
              <a:gd name="T23" fmla="*/ 744 h 2178"/>
              <a:gd name="T24" fmla="*/ 1686 w 2052"/>
              <a:gd name="T25" fmla="*/ 738 h 2178"/>
              <a:gd name="T26" fmla="*/ 1728 w 2052"/>
              <a:gd name="T27" fmla="*/ 774 h 2178"/>
              <a:gd name="T28" fmla="*/ 1770 w 2052"/>
              <a:gd name="T29" fmla="*/ 774 h 2178"/>
              <a:gd name="T30" fmla="*/ 1836 w 2052"/>
              <a:gd name="T31" fmla="*/ 762 h 2178"/>
              <a:gd name="T32" fmla="*/ 1914 w 2052"/>
              <a:gd name="T33" fmla="*/ 750 h 2178"/>
              <a:gd name="T34" fmla="*/ 2010 w 2052"/>
              <a:gd name="T35" fmla="*/ 732 h 2178"/>
              <a:gd name="T36" fmla="*/ 2022 w 2052"/>
              <a:gd name="T37" fmla="*/ 780 h 2178"/>
              <a:gd name="T38" fmla="*/ 2010 w 2052"/>
              <a:gd name="T39" fmla="*/ 864 h 2178"/>
              <a:gd name="T40" fmla="*/ 2040 w 2052"/>
              <a:gd name="T41" fmla="*/ 936 h 2178"/>
              <a:gd name="T42" fmla="*/ 2010 w 2052"/>
              <a:gd name="T43" fmla="*/ 990 h 2178"/>
              <a:gd name="T44" fmla="*/ 1962 w 2052"/>
              <a:gd name="T45" fmla="*/ 1008 h 2178"/>
              <a:gd name="T46" fmla="*/ 1920 w 2052"/>
              <a:gd name="T47" fmla="*/ 1080 h 2178"/>
              <a:gd name="T48" fmla="*/ 1866 w 2052"/>
              <a:gd name="T49" fmla="*/ 1134 h 2178"/>
              <a:gd name="T50" fmla="*/ 1860 w 2052"/>
              <a:gd name="T51" fmla="*/ 1206 h 2178"/>
              <a:gd name="T52" fmla="*/ 1890 w 2052"/>
              <a:gd name="T53" fmla="*/ 1266 h 2178"/>
              <a:gd name="T54" fmla="*/ 1836 w 2052"/>
              <a:gd name="T55" fmla="*/ 1308 h 2178"/>
              <a:gd name="T56" fmla="*/ 1866 w 2052"/>
              <a:gd name="T57" fmla="*/ 1386 h 2178"/>
              <a:gd name="T58" fmla="*/ 1824 w 2052"/>
              <a:gd name="T59" fmla="*/ 1428 h 2178"/>
              <a:gd name="T60" fmla="*/ 1746 w 2052"/>
              <a:gd name="T61" fmla="*/ 1434 h 2178"/>
              <a:gd name="T62" fmla="*/ 1644 w 2052"/>
              <a:gd name="T63" fmla="*/ 1440 h 2178"/>
              <a:gd name="T64" fmla="*/ 1566 w 2052"/>
              <a:gd name="T65" fmla="*/ 1464 h 2178"/>
              <a:gd name="T66" fmla="*/ 1458 w 2052"/>
              <a:gd name="T67" fmla="*/ 1512 h 2178"/>
              <a:gd name="T68" fmla="*/ 1398 w 2052"/>
              <a:gd name="T69" fmla="*/ 1596 h 2178"/>
              <a:gd name="T70" fmla="*/ 1344 w 2052"/>
              <a:gd name="T71" fmla="*/ 1698 h 2178"/>
              <a:gd name="T72" fmla="*/ 1272 w 2052"/>
              <a:gd name="T73" fmla="*/ 1806 h 2178"/>
              <a:gd name="T74" fmla="*/ 1206 w 2052"/>
              <a:gd name="T75" fmla="*/ 1926 h 2178"/>
              <a:gd name="T76" fmla="*/ 1098 w 2052"/>
              <a:gd name="T77" fmla="*/ 2004 h 2178"/>
              <a:gd name="T78" fmla="*/ 990 w 2052"/>
              <a:gd name="T79" fmla="*/ 2118 h 2178"/>
              <a:gd name="T80" fmla="*/ 912 w 2052"/>
              <a:gd name="T81" fmla="*/ 2148 h 2178"/>
              <a:gd name="T82" fmla="*/ 816 w 2052"/>
              <a:gd name="T83" fmla="*/ 2172 h 2178"/>
              <a:gd name="T84" fmla="*/ 798 w 2052"/>
              <a:gd name="T85" fmla="*/ 2070 h 2178"/>
              <a:gd name="T86" fmla="*/ 768 w 2052"/>
              <a:gd name="T87" fmla="*/ 1968 h 2178"/>
              <a:gd name="T88" fmla="*/ 696 w 2052"/>
              <a:gd name="T89" fmla="*/ 1944 h 2178"/>
              <a:gd name="T90" fmla="*/ 606 w 2052"/>
              <a:gd name="T91" fmla="*/ 1938 h 2178"/>
              <a:gd name="T92" fmla="*/ 552 w 2052"/>
              <a:gd name="T93" fmla="*/ 1938 h 2178"/>
              <a:gd name="T94" fmla="*/ 498 w 2052"/>
              <a:gd name="T95" fmla="*/ 1926 h 2178"/>
              <a:gd name="T96" fmla="*/ 486 w 2052"/>
              <a:gd name="T97" fmla="*/ 1830 h 2178"/>
              <a:gd name="T98" fmla="*/ 480 w 2052"/>
              <a:gd name="T99" fmla="*/ 1734 h 2178"/>
              <a:gd name="T100" fmla="*/ 480 w 2052"/>
              <a:gd name="T101" fmla="*/ 1650 h 2178"/>
              <a:gd name="T102" fmla="*/ 504 w 2052"/>
              <a:gd name="T103" fmla="*/ 1344 h 2178"/>
              <a:gd name="T104" fmla="*/ 420 w 2052"/>
              <a:gd name="T105" fmla="*/ 1278 h 2178"/>
              <a:gd name="T106" fmla="*/ 282 w 2052"/>
              <a:gd name="T107" fmla="*/ 1164 h 2178"/>
              <a:gd name="T108" fmla="*/ 150 w 2052"/>
              <a:gd name="T109" fmla="*/ 894 h 2178"/>
              <a:gd name="T110" fmla="*/ 132 w 2052"/>
              <a:gd name="T111" fmla="*/ 834 h 2178"/>
              <a:gd name="T112" fmla="*/ 168 w 2052"/>
              <a:gd name="T113" fmla="*/ 786 h 2178"/>
              <a:gd name="T114" fmla="*/ 216 w 2052"/>
              <a:gd name="T115" fmla="*/ 678 h 2178"/>
              <a:gd name="T116" fmla="*/ 198 w 2052"/>
              <a:gd name="T117" fmla="*/ 582 h 2178"/>
              <a:gd name="T118" fmla="*/ 216 w 2052"/>
              <a:gd name="T119" fmla="*/ 498 h 2178"/>
              <a:gd name="T120" fmla="*/ 18 w 2052"/>
              <a:gd name="T121" fmla="*/ 462 h 2178"/>
              <a:gd name="T122" fmla="*/ 12 w 2052"/>
              <a:gd name="T123" fmla="*/ 372 h 2178"/>
              <a:gd name="T124" fmla="*/ 12 w 2052"/>
              <a:gd name="T125" fmla="*/ 282 h 2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052" h="2178">
                <a:moveTo>
                  <a:pt x="0" y="252"/>
                </a:moveTo>
                <a:lnTo>
                  <a:pt x="0" y="252"/>
                </a:lnTo>
                <a:lnTo>
                  <a:pt x="6" y="252"/>
                </a:lnTo>
                <a:lnTo>
                  <a:pt x="6" y="246"/>
                </a:lnTo>
                <a:lnTo>
                  <a:pt x="12" y="252"/>
                </a:lnTo>
                <a:lnTo>
                  <a:pt x="18" y="252"/>
                </a:lnTo>
                <a:lnTo>
                  <a:pt x="12" y="246"/>
                </a:lnTo>
                <a:lnTo>
                  <a:pt x="18" y="246"/>
                </a:lnTo>
                <a:lnTo>
                  <a:pt x="18" y="240"/>
                </a:lnTo>
                <a:lnTo>
                  <a:pt x="12" y="240"/>
                </a:lnTo>
                <a:lnTo>
                  <a:pt x="12" y="234"/>
                </a:lnTo>
                <a:lnTo>
                  <a:pt x="12" y="228"/>
                </a:lnTo>
                <a:lnTo>
                  <a:pt x="12" y="222"/>
                </a:lnTo>
                <a:lnTo>
                  <a:pt x="18" y="216"/>
                </a:lnTo>
                <a:lnTo>
                  <a:pt x="18" y="210"/>
                </a:lnTo>
                <a:lnTo>
                  <a:pt x="24" y="204"/>
                </a:lnTo>
                <a:lnTo>
                  <a:pt x="18" y="204"/>
                </a:lnTo>
                <a:lnTo>
                  <a:pt x="18" y="198"/>
                </a:lnTo>
                <a:lnTo>
                  <a:pt x="18" y="192"/>
                </a:lnTo>
                <a:lnTo>
                  <a:pt x="12" y="192"/>
                </a:lnTo>
                <a:lnTo>
                  <a:pt x="6" y="192"/>
                </a:lnTo>
                <a:lnTo>
                  <a:pt x="102" y="192"/>
                </a:lnTo>
                <a:lnTo>
                  <a:pt x="108" y="192"/>
                </a:lnTo>
                <a:lnTo>
                  <a:pt x="114" y="192"/>
                </a:lnTo>
                <a:lnTo>
                  <a:pt x="162" y="192"/>
                </a:lnTo>
                <a:lnTo>
                  <a:pt x="234" y="192"/>
                </a:lnTo>
                <a:lnTo>
                  <a:pt x="330" y="192"/>
                </a:lnTo>
                <a:lnTo>
                  <a:pt x="408" y="192"/>
                </a:lnTo>
                <a:lnTo>
                  <a:pt x="414" y="192"/>
                </a:lnTo>
                <a:lnTo>
                  <a:pt x="420" y="192"/>
                </a:lnTo>
                <a:lnTo>
                  <a:pt x="420" y="186"/>
                </a:lnTo>
                <a:lnTo>
                  <a:pt x="426" y="186"/>
                </a:lnTo>
                <a:lnTo>
                  <a:pt x="432" y="180"/>
                </a:lnTo>
                <a:lnTo>
                  <a:pt x="426" y="180"/>
                </a:lnTo>
                <a:lnTo>
                  <a:pt x="420" y="180"/>
                </a:lnTo>
                <a:lnTo>
                  <a:pt x="420" y="174"/>
                </a:lnTo>
                <a:lnTo>
                  <a:pt x="420" y="168"/>
                </a:lnTo>
                <a:lnTo>
                  <a:pt x="426" y="168"/>
                </a:lnTo>
                <a:lnTo>
                  <a:pt x="426" y="162"/>
                </a:lnTo>
                <a:lnTo>
                  <a:pt x="420" y="162"/>
                </a:lnTo>
                <a:lnTo>
                  <a:pt x="420" y="156"/>
                </a:lnTo>
                <a:lnTo>
                  <a:pt x="420" y="150"/>
                </a:lnTo>
                <a:lnTo>
                  <a:pt x="426" y="144"/>
                </a:lnTo>
                <a:lnTo>
                  <a:pt x="426" y="138"/>
                </a:lnTo>
                <a:lnTo>
                  <a:pt x="432" y="138"/>
                </a:lnTo>
                <a:lnTo>
                  <a:pt x="426" y="132"/>
                </a:lnTo>
                <a:lnTo>
                  <a:pt x="432" y="132"/>
                </a:lnTo>
                <a:lnTo>
                  <a:pt x="432" y="126"/>
                </a:lnTo>
                <a:lnTo>
                  <a:pt x="432" y="120"/>
                </a:lnTo>
                <a:lnTo>
                  <a:pt x="432" y="114"/>
                </a:lnTo>
                <a:lnTo>
                  <a:pt x="432" y="108"/>
                </a:lnTo>
                <a:lnTo>
                  <a:pt x="438" y="108"/>
                </a:lnTo>
                <a:lnTo>
                  <a:pt x="438" y="102"/>
                </a:lnTo>
                <a:lnTo>
                  <a:pt x="438" y="96"/>
                </a:lnTo>
                <a:lnTo>
                  <a:pt x="432" y="90"/>
                </a:lnTo>
                <a:lnTo>
                  <a:pt x="432" y="84"/>
                </a:lnTo>
                <a:lnTo>
                  <a:pt x="426" y="78"/>
                </a:lnTo>
                <a:lnTo>
                  <a:pt x="426" y="72"/>
                </a:lnTo>
                <a:lnTo>
                  <a:pt x="426" y="66"/>
                </a:lnTo>
                <a:lnTo>
                  <a:pt x="432" y="60"/>
                </a:lnTo>
                <a:lnTo>
                  <a:pt x="438" y="60"/>
                </a:lnTo>
                <a:lnTo>
                  <a:pt x="438" y="54"/>
                </a:lnTo>
                <a:lnTo>
                  <a:pt x="438" y="48"/>
                </a:lnTo>
                <a:lnTo>
                  <a:pt x="444" y="48"/>
                </a:lnTo>
                <a:lnTo>
                  <a:pt x="444" y="42"/>
                </a:lnTo>
                <a:lnTo>
                  <a:pt x="450" y="36"/>
                </a:lnTo>
                <a:lnTo>
                  <a:pt x="444" y="30"/>
                </a:lnTo>
                <a:lnTo>
                  <a:pt x="444" y="24"/>
                </a:lnTo>
                <a:lnTo>
                  <a:pt x="444" y="18"/>
                </a:lnTo>
                <a:lnTo>
                  <a:pt x="450" y="6"/>
                </a:lnTo>
                <a:lnTo>
                  <a:pt x="456" y="6"/>
                </a:lnTo>
                <a:lnTo>
                  <a:pt x="456" y="0"/>
                </a:lnTo>
                <a:lnTo>
                  <a:pt x="456" y="6"/>
                </a:lnTo>
                <a:lnTo>
                  <a:pt x="468" y="6"/>
                </a:lnTo>
                <a:lnTo>
                  <a:pt x="468" y="12"/>
                </a:lnTo>
                <a:lnTo>
                  <a:pt x="468" y="18"/>
                </a:lnTo>
                <a:lnTo>
                  <a:pt x="474" y="18"/>
                </a:lnTo>
                <a:lnTo>
                  <a:pt x="480" y="24"/>
                </a:lnTo>
                <a:lnTo>
                  <a:pt x="480" y="36"/>
                </a:lnTo>
                <a:lnTo>
                  <a:pt x="480" y="42"/>
                </a:lnTo>
                <a:lnTo>
                  <a:pt x="486" y="42"/>
                </a:lnTo>
                <a:lnTo>
                  <a:pt x="486" y="48"/>
                </a:lnTo>
                <a:lnTo>
                  <a:pt x="492" y="54"/>
                </a:lnTo>
                <a:lnTo>
                  <a:pt x="492" y="60"/>
                </a:lnTo>
                <a:lnTo>
                  <a:pt x="498" y="72"/>
                </a:lnTo>
                <a:lnTo>
                  <a:pt x="498" y="84"/>
                </a:lnTo>
                <a:lnTo>
                  <a:pt x="498" y="90"/>
                </a:lnTo>
                <a:lnTo>
                  <a:pt x="504" y="96"/>
                </a:lnTo>
                <a:lnTo>
                  <a:pt x="510" y="102"/>
                </a:lnTo>
                <a:lnTo>
                  <a:pt x="510" y="108"/>
                </a:lnTo>
                <a:lnTo>
                  <a:pt x="516" y="108"/>
                </a:lnTo>
                <a:lnTo>
                  <a:pt x="522" y="114"/>
                </a:lnTo>
                <a:lnTo>
                  <a:pt x="522" y="120"/>
                </a:lnTo>
                <a:lnTo>
                  <a:pt x="516" y="120"/>
                </a:lnTo>
                <a:lnTo>
                  <a:pt x="516" y="126"/>
                </a:lnTo>
                <a:lnTo>
                  <a:pt x="516" y="132"/>
                </a:lnTo>
                <a:lnTo>
                  <a:pt x="516" y="138"/>
                </a:lnTo>
                <a:lnTo>
                  <a:pt x="516" y="144"/>
                </a:lnTo>
                <a:lnTo>
                  <a:pt x="522" y="150"/>
                </a:lnTo>
                <a:lnTo>
                  <a:pt x="516" y="150"/>
                </a:lnTo>
                <a:lnTo>
                  <a:pt x="522" y="156"/>
                </a:lnTo>
                <a:lnTo>
                  <a:pt x="522" y="162"/>
                </a:lnTo>
                <a:lnTo>
                  <a:pt x="522" y="168"/>
                </a:lnTo>
                <a:lnTo>
                  <a:pt x="522" y="174"/>
                </a:lnTo>
                <a:lnTo>
                  <a:pt x="528" y="174"/>
                </a:lnTo>
                <a:lnTo>
                  <a:pt x="528" y="180"/>
                </a:lnTo>
                <a:lnTo>
                  <a:pt x="528" y="186"/>
                </a:lnTo>
                <a:lnTo>
                  <a:pt x="534" y="186"/>
                </a:lnTo>
                <a:lnTo>
                  <a:pt x="540" y="186"/>
                </a:lnTo>
                <a:lnTo>
                  <a:pt x="546" y="192"/>
                </a:lnTo>
                <a:lnTo>
                  <a:pt x="552" y="192"/>
                </a:lnTo>
                <a:lnTo>
                  <a:pt x="552" y="198"/>
                </a:lnTo>
                <a:lnTo>
                  <a:pt x="558" y="204"/>
                </a:lnTo>
                <a:lnTo>
                  <a:pt x="564" y="204"/>
                </a:lnTo>
                <a:lnTo>
                  <a:pt x="570" y="204"/>
                </a:lnTo>
                <a:lnTo>
                  <a:pt x="576" y="204"/>
                </a:lnTo>
                <a:lnTo>
                  <a:pt x="576" y="210"/>
                </a:lnTo>
                <a:lnTo>
                  <a:pt x="582" y="210"/>
                </a:lnTo>
                <a:lnTo>
                  <a:pt x="588" y="216"/>
                </a:lnTo>
                <a:lnTo>
                  <a:pt x="594" y="222"/>
                </a:lnTo>
                <a:lnTo>
                  <a:pt x="594" y="228"/>
                </a:lnTo>
                <a:lnTo>
                  <a:pt x="600" y="228"/>
                </a:lnTo>
                <a:lnTo>
                  <a:pt x="600" y="234"/>
                </a:lnTo>
                <a:lnTo>
                  <a:pt x="594" y="234"/>
                </a:lnTo>
                <a:lnTo>
                  <a:pt x="600" y="240"/>
                </a:lnTo>
                <a:lnTo>
                  <a:pt x="594" y="240"/>
                </a:lnTo>
                <a:lnTo>
                  <a:pt x="600" y="240"/>
                </a:lnTo>
                <a:lnTo>
                  <a:pt x="600" y="246"/>
                </a:lnTo>
                <a:lnTo>
                  <a:pt x="606" y="246"/>
                </a:lnTo>
                <a:lnTo>
                  <a:pt x="612" y="246"/>
                </a:lnTo>
                <a:lnTo>
                  <a:pt x="618" y="246"/>
                </a:lnTo>
                <a:lnTo>
                  <a:pt x="624" y="246"/>
                </a:lnTo>
                <a:lnTo>
                  <a:pt x="630" y="252"/>
                </a:lnTo>
                <a:lnTo>
                  <a:pt x="630" y="258"/>
                </a:lnTo>
                <a:lnTo>
                  <a:pt x="636" y="258"/>
                </a:lnTo>
                <a:lnTo>
                  <a:pt x="636" y="264"/>
                </a:lnTo>
                <a:lnTo>
                  <a:pt x="636" y="270"/>
                </a:lnTo>
                <a:lnTo>
                  <a:pt x="642" y="270"/>
                </a:lnTo>
                <a:lnTo>
                  <a:pt x="642" y="264"/>
                </a:lnTo>
                <a:lnTo>
                  <a:pt x="648" y="264"/>
                </a:lnTo>
                <a:lnTo>
                  <a:pt x="702" y="270"/>
                </a:lnTo>
                <a:lnTo>
                  <a:pt x="714" y="270"/>
                </a:lnTo>
                <a:lnTo>
                  <a:pt x="762" y="276"/>
                </a:lnTo>
                <a:lnTo>
                  <a:pt x="864" y="282"/>
                </a:lnTo>
                <a:lnTo>
                  <a:pt x="900" y="288"/>
                </a:lnTo>
                <a:lnTo>
                  <a:pt x="918" y="288"/>
                </a:lnTo>
                <a:lnTo>
                  <a:pt x="984" y="294"/>
                </a:lnTo>
                <a:lnTo>
                  <a:pt x="1050" y="300"/>
                </a:lnTo>
                <a:lnTo>
                  <a:pt x="1110" y="300"/>
                </a:lnTo>
                <a:lnTo>
                  <a:pt x="1170" y="306"/>
                </a:lnTo>
                <a:lnTo>
                  <a:pt x="1176" y="306"/>
                </a:lnTo>
                <a:lnTo>
                  <a:pt x="1224" y="312"/>
                </a:lnTo>
                <a:lnTo>
                  <a:pt x="1326" y="318"/>
                </a:lnTo>
                <a:lnTo>
                  <a:pt x="1344" y="318"/>
                </a:lnTo>
                <a:lnTo>
                  <a:pt x="1380" y="318"/>
                </a:lnTo>
                <a:lnTo>
                  <a:pt x="1404" y="324"/>
                </a:lnTo>
                <a:lnTo>
                  <a:pt x="1488" y="330"/>
                </a:lnTo>
                <a:lnTo>
                  <a:pt x="1482" y="330"/>
                </a:lnTo>
                <a:lnTo>
                  <a:pt x="1482" y="336"/>
                </a:lnTo>
                <a:lnTo>
                  <a:pt x="1482" y="342"/>
                </a:lnTo>
                <a:lnTo>
                  <a:pt x="1476" y="348"/>
                </a:lnTo>
                <a:lnTo>
                  <a:pt x="1476" y="354"/>
                </a:lnTo>
                <a:lnTo>
                  <a:pt x="1470" y="354"/>
                </a:lnTo>
                <a:lnTo>
                  <a:pt x="1470" y="360"/>
                </a:lnTo>
                <a:lnTo>
                  <a:pt x="1464" y="366"/>
                </a:lnTo>
                <a:lnTo>
                  <a:pt x="1464" y="372"/>
                </a:lnTo>
                <a:lnTo>
                  <a:pt x="1464" y="378"/>
                </a:lnTo>
                <a:lnTo>
                  <a:pt x="1464" y="384"/>
                </a:lnTo>
                <a:lnTo>
                  <a:pt x="1464" y="390"/>
                </a:lnTo>
                <a:lnTo>
                  <a:pt x="1464" y="396"/>
                </a:lnTo>
                <a:lnTo>
                  <a:pt x="1458" y="396"/>
                </a:lnTo>
                <a:lnTo>
                  <a:pt x="1452" y="402"/>
                </a:lnTo>
                <a:lnTo>
                  <a:pt x="1452" y="408"/>
                </a:lnTo>
                <a:lnTo>
                  <a:pt x="1452" y="414"/>
                </a:lnTo>
                <a:lnTo>
                  <a:pt x="1446" y="414"/>
                </a:lnTo>
                <a:lnTo>
                  <a:pt x="1452" y="414"/>
                </a:lnTo>
                <a:lnTo>
                  <a:pt x="1446" y="420"/>
                </a:lnTo>
                <a:lnTo>
                  <a:pt x="1446" y="426"/>
                </a:lnTo>
                <a:lnTo>
                  <a:pt x="1440" y="426"/>
                </a:lnTo>
                <a:lnTo>
                  <a:pt x="1440" y="432"/>
                </a:lnTo>
                <a:lnTo>
                  <a:pt x="1440" y="438"/>
                </a:lnTo>
                <a:lnTo>
                  <a:pt x="1440" y="444"/>
                </a:lnTo>
                <a:lnTo>
                  <a:pt x="1440" y="450"/>
                </a:lnTo>
                <a:lnTo>
                  <a:pt x="1434" y="456"/>
                </a:lnTo>
                <a:lnTo>
                  <a:pt x="1434" y="462"/>
                </a:lnTo>
                <a:lnTo>
                  <a:pt x="1440" y="462"/>
                </a:lnTo>
                <a:lnTo>
                  <a:pt x="1440" y="468"/>
                </a:lnTo>
                <a:lnTo>
                  <a:pt x="1434" y="468"/>
                </a:lnTo>
                <a:lnTo>
                  <a:pt x="1434" y="474"/>
                </a:lnTo>
                <a:lnTo>
                  <a:pt x="1434" y="480"/>
                </a:lnTo>
                <a:lnTo>
                  <a:pt x="1434" y="486"/>
                </a:lnTo>
                <a:lnTo>
                  <a:pt x="1434" y="492"/>
                </a:lnTo>
                <a:lnTo>
                  <a:pt x="1428" y="492"/>
                </a:lnTo>
                <a:lnTo>
                  <a:pt x="1428" y="498"/>
                </a:lnTo>
                <a:lnTo>
                  <a:pt x="1428" y="504"/>
                </a:lnTo>
                <a:lnTo>
                  <a:pt x="1428" y="510"/>
                </a:lnTo>
                <a:lnTo>
                  <a:pt x="1428" y="516"/>
                </a:lnTo>
                <a:lnTo>
                  <a:pt x="1422" y="522"/>
                </a:lnTo>
                <a:lnTo>
                  <a:pt x="1422" y="528"/>
                </a:lnTo>
                <a:lnTo>
                  <a:pt x="1422" y="534"/>
                </a:lnTo>
                <a:lnTo>
                  <a:pt x="1422" y="540"/>
                </a:lnTo>
                <a:lnTo>
                  <a:pt x="1422" y="546"/>
                </a:lnTo>
                <a:lnTo>
                  <a:pt x="1422" y="552"/>
                </a:lnTo>
                <a:lnTo>
                  <a:pt x="1428" y="552"/>
                </a:lnTo>
                <a:lnTo>
                  <a:pt x="1428" y="558"/>
                </a:lnTo>
                <a:lnTo>
                  <a:pt x="1428" y="564"/>
                </a:lnTo>
                <a:lnTo>
                  <a:pt x="1428" y="570"/>
                </a:lnTo>
                <a:lnTo>
                  <a:pt x="1422" y="576"/>
                </a:lnTo>
                <a:lnTo>
                  <a:pt x="1422" y="582"/>
                </a:lnTo>
                <a:lnTo>
                  <a:pt x="1428" y="582"/>
                </a:lnTo>
                <a:lnTo>
                  <a:pt x="1428" y="588"/>
                </a:lnTo>
                <a:lnTo>
                  <a:pt x="1434" y="594"/>
                </a:lnTo>
                <a:lnTo>
                  <a:pt x="1428" y="600"/>
                </a:lnTo>
                <a:lnTo>
                  <a:pt x="1428" y="606"/>
                </a:lnTo>
                <a:lnTo>
                  <a:pt x="1428" y="612"/>
                </a:lnTo>
                <a:lnTo>
                  <a:pt x="1428" y="618"/>
                </a:lnTo>
                <a:lnTo>
                  <a:pt x="1428" y="624"/>
                </a:lnTo>
                <a:lnTo>
                  <a:pt x="1428" y="630"/>
                </a:lnTo>
                <a:lnTo>
                  <a:pt x="1428" y="636"/>
                </a:lnTo>
                <a:lnTo>
                  <a:pt x="1434" y="636"/>
                </a:lnTo>
                <a:lnTo>
                  <a:pt x="1434" y="642"/>
                </a:lnTo>
                <a:lnTo>
                  <a:pt x="1434" y="648"/>
                </a:lnTo>
                <a:lnTo>
                  <a:pt x="1434" y="654"/>
                </a:lnTo>
                <a:lnTo>
                  <a:pt x="1434" y="660"/>
                </a:lnTo>
                <a:lnTo>
                  <a:pt x="1434" y="666"/>
                </a:lnTo>
                <a:lnTo>
                  <a:pt x="1434" y="672"/>
                </a:lnTo>
                <a:lnTo>
                  <a:pt x="1428" y="672"/>
                </a:lnTo>
                <a:lnTo>
                  <a:pt x="1428" y="678"/>
                </a:lnTo>
                <a:lnTo>
                  <a:pt x="1428" y="684"/>
                </a:lnTo>
                <a:lnTo>
                  <a:pt x="1422" y="684"/>
                </a:lnTo>
                <a:lnTo>
                  <a:pt x="1422" y="690"/>
                </a:lnTo>
                <a:lnTo>
                  <a:pt x="1428" y="690"/>
                </a:lnTo>
                <a:lnTo>
                  <a:pt x="1434" y="696"/>
                </a:lnTo>
                <a:lnTo>
                  <a:pt x="1428" y="696"/>
                </a:lnTo>
                <a:lnTo>
                  <a:pt x="1434" y="702"/>
                </a:lnTo>
                <a:lnTo>
                  <a:pt x="1434" y="708"/>
                </a:lnTo>
                <a:lnTo>
                  <a:pt x="1434" y="714"/>
                </a:lnTo>
                <a:lnTo>
                  <a:pt x="1440" y="714"/>
                </a:lnTo>
                <a:lnTo>
                  <a:pt x="1440" y="720"/>
                </a:lnTo>
                <a:lnTo>
                  <a:pt x="1446" y="720"/>
                </a:lnTo>
                <a:lnTo>
                  <a:pt x="1452" y="720"/>
                </a:lnTo>
                <a:lnTo>
                  <a:pt x="1452" y="714"/>
                </a:lnTo>
                <a:lnTo>
                  <a:pt x="1452" y="708"/>
                </a:lnTo>
                <a:lnTo>
                  <a:pt x="1458" y="708"/>
                </a:lnTo>
                <a:lnTo>
                  <a:pt x="1452" y="708"/>
                </a:lnTo>
                <a:lnTo>
                  <a:pt x="1452" y="702"/>
                </a:lnTo>
                <a:lnTo>
                  <a:pt x="1458" y="702"/>
                </a:lnTo>
                <a:lnTo>
                  <a:pt x="1452" y="702"/>
                </a:lnTo>
                <a:lnTo>
                  <a:pt x="1458" y="702"/>
                </a:lnTo>
                <a:lnTo>
                  <a:pt x="1458" y="696"/>
                </a:lnTo>
                <a:lnTo>
                  <a:pt x="1458" y="702"/>
                </a:lnTo>
                <a:lnTo>
                  <a:pt x="1458" y="696"/>
                </a:lnTo>
                <a:lnTo>
                  <a:pt x="1458" y="690"/>
                </a:lnTo>
                <a:lnTo>
                  <a:pt x="1464" y="696"/>
                </a:lnTo>
                <a:lnTo>
                  <a:pt x="1464" y="690"/>
                </a:lnTo>
                <a:lnTo>
                  <a:pt x="1464" y="684"/>
                </a:lnTo>
                <a:lnTo>
                  <a:pt x="1470" y="684"/>
                </a:lnTo>
                <a:lnTo>
                  <a:pt x="1470" y="678"/>
                </a:lnTo>
                <a:lnTo>
                  <a:pt x="1476" y="678"/>
                </a:lnTo>
                <a:lnTo>
                  <a:pt x="1470" y="678"/>
                </a:lnTo>
                <a:lnTo>
                  <a:pt x="1476" y="678"/>
                </a:lnTo>
                <a:lnTo>
                  <a:pt x="1476" y="672"/>
                </a:lnTo>
                <a:lnTo>
                  <a:pt x="1482" y="672"/>
                </a:lnTo>
                <a:lnTo>
                  <a:pt x="1482" y="666"/>
                </a:lnTo>
                <a:lnTo>
                  <a:pt x="1488" y="666"/>
                </a:lnTo>
                <a:lnTo>
                  <a:pt x="1494" y="666"/>
                </a:lnTo>
                <a:lnTo>
                  <a:pt x="1488" y="660"/>
                </a:lnTo>
                <a:lnTo>
                  <a:pt x="1494" y="660"/>
                </a:lnTo>
                <a:lnTo>
                  <a:pt x="1494" y="666"/>
                </a:lnTo>
                <a:lnTo>
                  <a:pt x="1494" y="660"/>
                </a:lnTo>
                <a:lnTo>
                  <a:pt x="1500" y="660"/>
                </a:lnTo>
                <a:lnTo>
                  <a:pt x="1494" y="660"/>
                </a:lnTo>
                <a:lnTo>
                  <a:pt x="1494" y="666"/>
                </a:lnTo>
                <a:lnTo>
                  <a:pt x="1488" y="666"/>
                </a:lnTo>
                <a:lnTo>
                  <a:pt x="1488" y="672"/>
                </a:lnTo>
                <a:lnTo>
                  <a:pt x="1488" y="678"/>
                </a:lnTo>
                <a:lnTo>
                  <a:pt x="1488" y="684"/>
                </a:lnTo>
                <a:lnTo>
                  <a:pt x="1488" y="678"/>
                </a:lnTo>
                <a:lnTo>
                  <a:pt x="1494" y="684"/>
                </a:lnTo>
                <a:lnTo>
                  <a:pt x="1488" y="684"/>
                </a:lnTo>
                <a:lnTo>
                  <a:pt x="1482" y="684"/>
                </a:lnTo>
                <a:lnTo>
                  <a:pt x="1488" y="690"/>
                </a:lnTo>
                <a:lnTo>
                  <a:pt x="1482" y="690"/>
                </a:lnTo>
                <a:lnTo>
                  <a:pt x="1482" y="696"/>
                </a:lnTo>
                <a:lnTo>
                  <a:pt x="1476" y="696"/>
                </a:lnTo>
                <a:lnTo>
                  <a:pt x="1476" y="702"/>
                </a:lnTo>
                <a:lnTo>
                  <a:pt x="1482" y="702"/>
                </a:lnTo>
                <a:lnTo>
                  <a:pt x="1476" y="702"/>
                </a:lnTo>
                <a:lnTo>
                  <a:pt x="1476" y="708"/>
                </a:lnTo>
                <a:lnTo>
                  <a:pt x="1476" y="714"/>
                </a:lnTo>
                <a:lnTo>
                  <a:pt x="1476" y="720"/>
                </a:lnTo>
                <a:lnTo>
                  <a:pt x="1482" y="720"/>
                </a:lnTo>
                <a:lnTo>
                  <a:pt x="1488" y="720"/>
                </a:lnTo>
                <a:lnTo>
                  <a:pt x="1488" y="726"/>
                </a:lnTo>
                <a:lnTo>
                  <a:pt x="1494" y="726"/>
                </a:lnTo>
                <a:lnTo>
                  <a:pt x="1500" y="726"/>
                </a:lnTo>
                <a:lnTo>
                  <a:pt x="1506" y="726"/>
                </a:lnTo>
                <a:lnTo>
                  <a:pt x="1512" y="726"/>
                </a:lnTo>
                <a:lnTo>
                  <a:pt x="1512" y="732"/>
                </a:lnTo>
                <a:lnTo>
                  <a:pt x="1518" y="732"/>
                </a:lnTo>
                <a:lnTo>
                  <a:pt x="1524" y="732"/>
                </a:lnTo>
                <a:lnTo>
                  <a:pt x="1530" y="732"/>
                </a:lnTo>
                <a:lnTo>
                  <a:pt x="1530" y="738"/>
                </a:lnTo>
                <a:lnTo>
                  <a:pt x="1566" y="756"/>
                </a:lnTo>
                <a:lnTo>
                  <a:pt x="1584" y="768"/>
                </a:lnTo>
                <a:lnTo>
                  <a:pt x="1596" y="774"/>
                </a:lnTo>
                <a:lnTo>
                  <a:pt x="1602" y="774"/>
                </a:lnTo>
                <a:lnTo>
                  <a:pt x="1602" y="768"/>
                </a:lnTo>
                <a:lnTo>
                  <a:pt x="1602" y="762"/>
                </a:lnTo>
                <a:lnTo>
                  <a:pt x="1602" y="756"/>
                </a:lnTo>
                <a:lnTo>
                  <a:pt x="1602" y="750"/>
                </a:lnTo>
                <a:lnTo>
                  <a:pt x="1602" y="744"/>
                </a:lnTo>
                <a:lnTo>
                  <a:pt x="1608" y="744"/>
                </a:lnTo>
                <a:lnTo>
                  <a:pt x="1608" y="738"/>
                </a:lnTo>
                <a:lnTo>
                  <a:pt x="1608" y="732"/>
                </a:lnTo>
                <a:lnTo>
                  <a:pt x="1614" y="732"/>
                </a:lnTo>
                <a:lnTo>
                  <a:pt x="1614" y="726"/>
                </a:lnTo>
                <a:lnTo>
                  <a:pt x="1614" y="720"/>
                </a:lnTo>
                <a:lnTo>
                  <a:pt x="1620" y="720"/>
                </a:lnTo>
                <a:lnTo>
                  <a:pt x="1626" y="720"/>
                </a:lnTo>
                <a:lnTo>
                  <a:pt x="1626" y="714"/>
                </a:lnTo>
                <a:lnTo>
                  <a:pt x="1632" y="714"/>
                </a:lnTo>
                <a:lnTo>
                  <a:pt x="1632" y="720"/>
                </a:lnTo>
                <a:lnTo>
                  <a:pt x="1638" y="720"/>
                </a:lnTo>
                <a:lnTo>
                  <a:pt x="1638" y="726"/>
                </a:lnTo>
                <a:lnTo>
                  <a:pt x="1644" y="726"/>
                </a:lnTo>
                <a:lnTo>
                  <a:pt x="1644" y="732"/>
                </a:lnTo>
                <a:lnTo>
                  <a:pt x="1650" y="732"/>
                </a:lnTo>
                <a:lnTo>
                  <a:pt x="1662" y="714"/>
                </a:lnTo>
                <a:lnTo>
                  <a:pt x="1668" y="714"/>
                </a:lnTo>
                <a:lnTo>
                  <a:pt x="1668" y="720"/>
                </a:lnTo>
                <a:lnTo>
                  <a:pt x="1674" y="720"/>
                </a:lnTo>
                <a:lnTo>
                  <a:pt x="1674" y="726"/>
                </a:lnTo>
                <a:lnTo>
                  <a:pt x="1674" y="720"/>
                </a:lnTo>
                <a:lnTo>
                  <a:pt x="1680" y="726"/>
                </a:lnTo>
                <a:lnTo>
                  <a:pt x="1680" y="732"/>
                </a:lnTo>
                <a:lnTo>
                  <a:pt x="1680" y="738"/>
                </a:lnTo>
                <a:lnTo>
                  <a:pt x="1686" y="738"/>
                </a:lnTo>
                <a:lnTo>
                  <a:pt x="1692" y="738"/>
                </a:lnTo>
                <a:lnTo>
                  <a:pt x="1692" y="744"/>
                </a:lnTo>
                <a:lnTo>
                  <a:pt x="1698" y="744"/>
                </a:lnTo>
                <a:lnTo>
                  <a:pt x="1698" y="750"/>
                </a:lnTo>
                <a:lnTo>
                  <a:pt x="1704" y="756"/>
                </a:lnTo>
                <a:lnTo>
                  <a:pt x="1698" y="756"/>
                </a:lnTo>
                <a:lnTo>
                  <a:pt x="1698" y="762"/>
                </a:lnTo>
                <a:lnTo>
                  <a:pt x="1704" y="762"/>
                </a:lnTo>
                <a:lnTo>
                  <a:pt x="1698" y="762"/>
                </a:lnTo>
                <a:lnTo>
                  <a:pt x="1704" y="762"/>
                </a:lnTo>
                <a:lnTo>
                  <a:pt x="1704" y="768"/>
                </a:lnTo>
                <a:lnTo>
                  <a:pt x="1698" y="768"/>
                </a:lnTo>
                <a:lnTo>
                  <a:pt x="1698" y="774"/>
                </a:lnTo>
                <a:lnTo>
                  <a:pt x="1698" y="780"/>
                </a:lnTo>
                <a:lnTo>
                  <a:pt x="1704" y="780"/>
                </a:lnTo>
                <a:lnTo>
                  <a:pt x="1704" y="774"/>
                </a:lnTo>
                <a:lnTo>
                  <a:pt x="1704" y="768"/>
                </a:lnTo>
                <a:lnTo>
                  <a:pt x="1704" y="762"/>
                </a:lnTo>
                <a:lnTo>
                  <a:pt x="1710" y="762"/>
                </a:lnTo>
                <a:lnTo>
                  <a:pt x="1710" y="756"/>
                </a:lnTo>
                <a:lnTo>
                  <a:pt x="1716" y="756"/>
                </a:lnTo>
                <a:lnTo>
                  <a:pt x="1716" y="762"/>
                </a:lnTo>
                <a:lnTo>
                  <a:pt x="1716" y="768"/>
                </a:lnTo>
                <a:lnTo>
                  <a:pt x="1716" y="774"/>
                </a:lnTo>
                <a:lnTo>
                  <a:pt x="1722" y="774"/>
                </a:lnTo>
                <a:lnTo>
                  <a:pt x="1728" y="774"/>
                </a:lnTo>
                <a:lnTo>
                  <a:pt x="1728" y="768"/>
                </a:lnTo>
                <a:lnTo>
                  <a:pt x="1734" y="768"/>
                </a:lnTo>
                <a:lnTo>
                  <a:pt x="1734" y="774"/>
                </a:lnTo>
                <a:lnTo>
                  <a:pt x="1734" y="768"/>
                </a:lnTo>
                <a:lnTo>
                  <a:pt x="1740" y="768"/>
                </a:lnTo>
                <a:lnTo>
                  <a:pt x="1740" y="762"/>
                </a:lnTo>
                <a:lnTo>
                  <a:pt x="1740" y="768"/>
                </a:lnTo>
                <a:lnTo>
                  <a:pt x="1740" y="762"/>
                </a:lnTo>
                <a:lnTo>
                  <a:pt x="1740" y="768"/>
                </a:lnTo>
                <a:lnTo>
                  <a:pt x="1740" y="762"/>
                </a:lnTo>
                <a:lnTo>
                  <a:pt x="1746" y="762"/>
                </a:lnTo>
                <a:lnTo>
                  <a:pt x="1752" y="762"/>
                </a:lnTo>
                <a:lnTo>
                  <a:pt x="1752" y="756"/>
                </a:lnTo>
                <a:lnTo>
                  <a:pt x="1758" y="756"/>
                </a:lnTo>
                <a:lnTo>
                  <a:pt x="1758" y="762"/>
                </a:lnTo>
                <a:lnTo>
                  <a:pt x="1758" y="768"/>
                </a:lnTo>
                <a:lnTo>
                  <a:pt x="1752" y="768"/>
                </a:lnTo>
                <a:lnTo>
                  <a:pt x="1758" y="768"/>
                </a:lnTo>
                <a:lnTo>
                  <a:pt x="1758" y="774"/>
                </a:lnTo>
                <a:lnTo>
                  <a:pt x="1752" y="780"/>
                </a:lnTo>
                <a:lnTo>
                  <a:pt x="1758" y="780"/>
                </a:lnTo>
                <a:lnTo>
                  <a:pt x="1764" y="774"/>
                </a:lnTo>
                <a:lnTo>
                  <a:pt x="1770" y="774"/>
                </a:lnTo>
                <a:lnTo>
                  <a:pt x="1764" y="768"/>
                </a:lnTo>
                <a:lnTo>
                  <a:pt x="1770" y="768"/>
                </a:lnTo>
                <a:lnTo>
                  <a:pt x="1770" y="774"/>
                </a:lnTo>
                <a:lnTo>
                  <a:pt x="1776" y="774"/>
                </a:lnTo>
                <a:lnTo>
                  <a:pt x="1782" y="774"/>
                </a:lnTo>
                <a:lnTo>
                  <a:pt x="1782" y="780"/>
                </a:lnTo>
                <a:lnTo>
                  <a:pt x="1788" y="774"/>
                </a:lnTo>
                <a:lnTo>
                  <a:pt x="1788" y="780"/>
                </a:lnTo>
                <a:lnTo>
                  <a:pt x="1794" y="780"/>
                </a:lnTo>
                <a:lnTo>
                  <a:pt x="1800" y="780"/>
                </a:lnTo>
                <a:lnTo>
                  <a:pt x="1818" y="798"/>
                </a:lnTo>
                <a:lnTo>
                  <a:pt x="1824" y="792"/>
                </a:lnTo>
                <a:lnTo>
                  <a:pt x="1824" y="786"/>
                </a:lnTo>
                <a:lnTo>
                  <a:pt x="1824" y="780"/>
                </a:lnTo>
                <a:lnTo>
                  <a:pt x="1818" y="780"/>
                </a:lnTo>
                <a:lnTo>
                  <a:pt x="1824" y="780"/>
                </a:lnTo>
                <a:lnTo>
                  <a:pt x="1824" y="774"/>
                </a:lnTo>
                <a:lnTo>
                  <a:pt x="1824" y="768"/>
                </a:lnTo>
                <a:lnTo>
                  <a:pt x="1818" y="768"/>
                </a:lnTo>
                <a:lnTo>
                  <a:pt x="1818" y="762"/>
                </a:lnTo>
                <a:lnTo>
                  <a:pt x="1824" y="762"/>
                </a:lnTo>
                <a:lnTo>
                  <a:pt x="1818" y="762"/>
                </a:lnTo>
                <a:lnTo>
                  <a:pt x="1824" y="762"/>
                </a:lnTo>
                <a:lnTo>
                  <a:pt x="1824" y="756"/>
                </a:lnTo>
                <a:lnTo>
                  <a:pt x="1824" y="750"/>
                </a:lnTo>
                <a:lnTo>
                  <a:pt x="1830" y="756"/>
                </a:lnTo>
                <a:lnTo>
                  <a:pt x="1836" y="756"/>
                </a:lnTo>
                <a:lnTo>
                  <a:pt x="1830" y="756"/>
                </a:lnTo>
                <a:lnTo>
                  <a:pt x="1836" y="762"/>
                </a:lnTo>
                <a:lnTo>
                  <a:pt x="1842" y="762"/>
                </a:lnTo>
                <a:lnTo>
                  <a:pt x="1842" y="768"/>
                </a:lnTo>
                <a:lnTo>
                  <a:pt x="1848" y="768"/>
                </a:lnTo>
                <a:lnTo>
                  <a:pt x="1848" y="774"/>
                </a:lnTo>
                <a:lnTo>
                  <a:pt x="1854" y="774"/>
                </a:lnTo>
                <a:lnTo>
                  <a:pt x="1854" y="768"/>
                </a:lnTo>
                <a:lnTo>
                  <a:pt x="1860" y="768"/>
                </a:lnTo>
                <a:lnTo>
                  <a:pt x="1866" y="774"/>
                </a:lnTo>
                <a:lnTo>
                  <a:pt x="1866" y="768"/>
                </a:lnTo>
                <a:lnTo>
                  <a:pt x="1866" y="774"/>
                </a:lnTo>
                <a:lnTo>
                  <a:pt x="1872" y="774"/>
                </a:lnTo>
                <a:lnTo>
                  <a:pt x="1872" y="768"/>
                </a:lnTo>
                <a:lnTo>
                  <a:pt x="1878" y="768"/>
                </a:lnTo>
                <a:lnTo>
                  <a:pt x="1878" y="762"/>
                </a:lnTo>
                <a:lnTo>
                  <a:pt x="1884" y="762"/>
                </a:lnTo>
                <a:lnTo>
                  <a:pt x="1884" y="768"/>
                </a:lnTo>
                <a:lnTo>
                  <a:pt x="1890" y="762"/>
                </a:lnTo>
                <a:lnTo>
                  <a:pt x="1896" y="762"/>
                </a:lnTo>
                <a:lnTo>
                  <a:pt x="1896" y="756"/>
                </a:lnTo>
                <a:lnTo>
                  <a:pt x="1896" y="762"/>
                </a:lnTo>
                <a:lnTo>
                  <a:pt x="1902" y="756"/>
                </a:lnTo>
                <a:lnTo>
                  <a:pt x="1902" y="762"/>
                </a:lnTo>
                <a:lnTo>
                  <a:pt x="1902" y="756"/>
                </a:lnTo>
                <a:lnTo>
                  <a:pt x="1908" y="756"/>
                </a:lnTo>
                <a:lnTo>
                  <a:pt x="1914" y="756"/>
                </a:lnTo>
                <a:lnTo>
                  <a:pt x="1914" y="750"/>
                </a:lnTo>
                <a:lnTo>
                  <a:pt x="1920" y="750"/>
                </a:lnTo>
                <a:lnTo>
                  <a:pt x="1920" y="744"/>
                </a:lnTo>
                <a:lnTo>
                  <a:pt x="1926" y="744"/>
                </a:lnTo>
                <a:lnTo>
                  <a:pt x="1926" y="750"/>
                </a:lnTo>
                <a:lnTo>
                  <a:pt x="1926" y="744"/>
                </a:lnTo>
                <a:lnTo>
                  <a:pt x="1932" y="738"/>
                </a:lnTo>
                <a:lnTo>
                  <a:pt x="1938" y="732"/>
                </a:lnTo>
                <a:lnTo>
                  <a:pt x="1956" y="732"/>
                </a:lnTo>
                <a:lnTo>
                  <a:pt x="1974" y="732"/>
                </a:lnTo>
                <a:lnTo>
                  <a:pt x="1980" y="732"/>
                </a:lnTo>
                <a:lnTo>
                  <a:pt x="1980" y="714"/>
                </a:lnTo>
                <a:lnTo>
                  <a:pt x="1986" y="714"/>
                </a:lnTo>
                <a:lnTo>
                  <a:pt x="1986" y="720"/>
                </a:lnTo>
                <a:lnTo>
                  <a:pt x="1992" y="720"/>
                </a:lnTo>
                <a:lnTo>
                  <a:pt x="1992" y="726"/>
                </a:lnTo>
                <a:lnTo>
                  <a:pt x="1992" y="732"/>
                </a:lnTo>
                <a:lnTo>
                  <a:pt x="1986" y="732"/>
                </a:lnTo>
                <a:lnTo>
                  <a:pt x="1992" y="732"/>
                </a:lnTo>
                <a:lnTo>
                  <a:pt x="1986" y="738"/>
                </a:lnTo>
                <a:lnTo>
                  <a:pt x="1992" y="738"/>
                </a:lnTo>
                <a:lnTo>
                  <a:pt x="1998" y="738"/>
                </a:lnTo>
                <a:lnTo>
                  <a:pt x="1998" y="732"/>
                </a:lnTo>
                <a:lnTo>
                  <a:pt x="1998" y="738"/>
                </a:lnTo>
                <a:lnTo>
                  <a:pt x="1998" y="732"/>
                </a:lnTo>
                <a:lnTo>
                  <a:pt x="2004" y="732"/>
                </a:lnTo>
                <a:lnTo>
                  <a:pt x="2010" y="732"/>
                </a:lnTo>
                <a:lnTo>
                  <a:pt x="2016" y="732"/>
                </a:lnTo>
                <a:lnTo>
                  <a:pt x="2022" y="726"/>
                </a:lnTo>
                <a:lnTo>
                  <a:pt x="2022" y="732"/>
                </a:lnTo>
                <a:lnTo>
                  <a:pt x="2016" y="738"/>
                </a:lnTo>
                <a:lnTo>
                  <a:pt x="2010" y="738"/>
                </a:lnTo>
                <a:lnTo>
                  <a:pt x="2004" y="738"/>
                </a:lnTo>
                <a:lnTo>
                  <a:pt x="2004" y="744"/>
                </a:lnTo>
                <a:lnTo>
                  <a:pt x="1998" y="744"/>
                </a:lnTo>
                <a:lnTo>
                  <a:pt x="1998" y="750"/>
                </a:lnTo>
                <a:lnTo>
                  <a:pt x="1998" y="756"/>
                </a:lnTo>
                <a:lnTo>
                  <a:pt x="1998" y="762"/>
                </a:lnTo>
                <a:lnTo>
                  <a:pt x="1998" y="768"/>
                </a:lnTo>
                <a:lnTo>
                  <a:pt x="1992" y="768"/>
                </a:lnTo>
                <a:lnTo>
                  <a:pt x="1992" y="774"/>
                </a:lnTo>
                <a:lnTo>
                  <a:pt x="1998" y="774"/>
                </a:lnTo>
                <a:lnTo>
                  <a:pt x="1998" y="780"/>
                </a:lnTo>
                <a:lnTo>
                  <a:pt x="1998" y="786"/>
                </a:lnTo>
                <a:lnTo>
                  <a:pt x="2004" y="786"/>
                </a:lnTo>
                <a:lnTo>
                  <a:pt x="2004" y="780"/>
                </a:lnTo>
                <a:lnTo>
                  <a:pt x="2010" y="780"/>
                </a:lnTo>
                <a:lnTo>
                  <a:pt x="2016" y="780"/>
                </a:lnTo>
                <a:lnTo>
                  <a:pt x="2022" y="774"/>
                </a:lnTo>
                <a:lnTo>
                  <a:pt x="2028" y="774"/>
                </a:lnTo>
                <a:lnTo>
                  <a:pt x="2034" y="774"/>
                </a:lnTo>
                <a:lnTo>
                  <a:pt x="2028" y="780"/>
                </a:lnTo>
                <a:lnTo>
                  <a:pt x="2022" y="780"/>
                </a:lnTo>
                <a:lnTo>
                  <a:pt x="2022" y="786"/>
                </a:lnTo>
                <a:lnTo>
                  <a:pt x="2016" y="786"/>
                </a:lnTo>
                <a:lnTo>
                  <a:pt x="2010" y="792"/>
                </a:lnTo>
                <a:lnTo>
                  <a:pt x="2004" y="792"/>
                </a:lnTo>
                <a:lnTo>
                  <a:pt x="2004" y="798"/>
                </a:lnTo>
                <a:lnTo>
                  <a:pt x="2010" y="798"/>
                </a:lnTo>
                <a:lnTo>
                  <a:pt x="2010" y="804"/>
                </a:lnTo>
                <a:lnTo>
                  <a:pt x="2004" y="804"/>
                </a:lnTo>
                <a:lnTo>
                  <a:pt x="2004" y="810"/>
                </a:lnTo>
                <a:lnTo>
                  <a:pt x="2010" y="810"/>
                </a:lnTo>
                <a:lnTo>
                  <a:pt x="2010" y="816"/>
                </a:lnTo>
                <a:lnTo>
                  <a:pt x="2016" y="810"/>
                </a:lnTo>
                <a:lnTo>
                  <a:pt x="2016" y="816"/>
                </a:lnTo>
                <a:lnTo>
                  <a:pt x="2010" y="816"/>
                </a:lnTo>
                <a:lnTo>
                  <a:pt x="2010" y="822"/>
                </a:lnTo>
                <a:lnTo>
                  <a:pt x="2004" y="822"/>
                </a:lnTo>
                <a:lnTo>
                  <a:pt x="2004" y="828"/>
                </a:lnTo>
                <a:lnTo>
                  <a:pt x="2004" y="834"/>
                </a:lnTo>
                <a:lnTo>
                  <a:pt x="2010" y="840"/>
                </a:lnTo>
                <a:lnTo>
                  <a:pt x="2004" y="840"/>
                </a:lnTo>
                <a:lnTo>
                  <a:pt x="1998" y="840"/>
                </a:lnTo>
                <a:lnTo>
                  <a:pt x="2004" y="846"/>
                </a:lnTo>
                <a:lnTo>
                  <a:pt x="2004" y="852"/>
                </a:lnTo>
                <a:lnTo>
                  <a:pt x="2004" y="858"/>
                </a:lnTo>
                <a:lnTo>
                  <a:pt x="2004" y="864"/>
                </a:lnTo>
                <a:lnTo>
                  <a:pt x="2010" y="864"/>
                </a:lnTo>
                <a:lnTo>
                  <a:pt x="2010" y="870"/>
                </a:lnTo>
                <a:lnTo>
                  <a:pt x="2010" y="876"/>
                </a:lnTo>
                <a:lnTo>
                  <a:pt x="2004" y="876"/>
                </a:lnTo>
                <a:lnTo>
                  <a:pt x="2010" y="876"/>
                </a:lnTo>
                <a:lnTo>
                  <a:pt x="2004" y="882"/>
                </a:lnTo>
                <a:lnTo>
                  <a:pt x="2010" y="882"/>
                </a:lnTo>
                <a:lnTo>
                  <a:pt x="2010" y="888"/>
                </a:lnTo>
                <a:lnTo>
                  <a:pt x="2016" y="888"/>
                </a:lnTo>
                <a:lnTo>
                  <a:pt x="2022" y="888"/>
                </a:lnTo>
                <a:lnTo>
                  <a:pt x="2022" y="894"/>
                </a:lnTo>
                <a:lnTo>
                  <a:pt x="2028" y="894"/>
                </a:lnTo>
                <a:lnTo>
                  <a:pt x="2028" y="900"/>
                </a:lnTo>
                <a:lnTo>
                  <a:pt x="2034" y="900"/>
                </a:lnTo>
                <a:lnTo>
                  <a:pt x="2040" y="900"/>
                </a:lnTo>
                <a:lnTo>
                  <a:pt x="2040" y="906"/>
                </a:lnTo>
                <a:lnTo>
                  <a:pt x="2046" y="912"/>
                </a:lnTo>
                <a:lnTo>
                  <a:pt x="2052" y="912"/>
                </a:lnTo>
                <a:lnTo>
                  <a:pt x="2052" y="918"/>
                </a:lnTo>
                <a:lnTo>
                  <a:pt x="2046" y="918"/>
                </a:lnTo>
                <a:lnTo>
                  <a:pt x="2046" y="924"/>
                </a:lnTo>
                <a:lnTo>
                  <a:pt x="2040" y="924"/>
                </a:lnTo>
                <a:lnTo>
                  <a:pt x="2034" y="924"/>
                </a:lnTo>
                <a:lnTo>
                  <a:pt x="2040" y="924"/>
                </a:lnTo>
                <a:lnTo>
                  <a:pt x="2034" y="930"/>
                </a:lnTo>
                <a:lnTo>
                  <a:pt x="2040" y="930"/>
                </a:lnTo>
                <a:lnTo>
                  <a:pt x="2040" y="936"/>
                </a:lnTo>
                <a:lnTo>
                  <a:pt x="2034" y="936"/>
                </a:lnTo>
                <a:lnTo>
                  <a:pt x="2040" y="936"/>
                </a:lnTo>
                <a:lnTo>
                  <a:pt x="2034" y="936"/>
                </a:lnTo>
                <a:lnTo>
                  <a:pt x="2040" y="936"/>
                </a:lnTo>
                <a:lnTo>
                  <a:pt x="2040" y="942"/>
                </a:lnTo>
                <a:lnTo>
                  <a:pt x="2040" y="948"/>
                </a:lnTo>
                <a:lnTo>
                  <a:pt x="2034" y="948"/>
                </a:lnTo>
                <a:lnTo>
                  <a:pt x="2040" y="948"/>
                </a:lnTo>
                <a:lnTo>
                  <a:pt x="2040" y="954"/>
                </a:lnTo>
                <a:lnTo>
                  <a:pt x="2034" y="954"/>
                </a:lnTo>
                <a:lnTo>
                  <a:pt x="2034" y="960"/>
                </a:lnTo>
                <a:lnTo>
                  <a:pt x="2034" y="966"/>
                </a:lnTo>
                <a:lnTo>
                  <a:pt x="2034" y="972"/>
                </a:lnTo>
                <a:lnTo>
                  <a:pt x="2034" y="978"/>
                </a:lnTo>
                <a:lnTo>
                  <a:pt x="2028" y="978"/>
                </a:lnTo>
                <a:lnTo>
                  <a:pt x="2034" y="978"/>
                </a:lnTo>
                <a:lnTo>
                  <a:pt x="2034" y="984"/>
                </a:lnTo>
                <a:lnTo>
                  <a:pt x="2028" y="984"/>
                </a:lnTo>
                <a:lnTo>
                  <a:pt x="2028" y="990"/>
                </a:lnTo>
                <a:lnTo>
                  <a:pt x="2028" y="984"/>
                </a:lnTo>
                <a:lnTo>
                  <a:pt x="2028" y="990"/>
                </a:lnTo>
                <a:lnTo>
                  <a:pt x="2022" y="990"/>
                </a:lnTo>
                <a:lnTo>
                  <a:pt x="2016" y="990"/>
                </a:lnTo>
                <a:lnTo>
                  <a:pt x="2016" y="984"/>
                </a:lnTo>
                <a:lnTo>
                  <a:pt x="2016" y="990"/>
                </a:lnTo>
                <a:lnTo>
                  <a:pt x="2010" y="990"/>
                </a:lnTo>
                <a:lnTo>
                  <a:pt x="2004" y="990"/>
                </a:lnTo>
                <a:lnTo>
                  <a:pt x="1998" y="990"/>
                </a:lnTo>
                <a:lnTo>
                  <a:pt x="1998" y="984"/>
                </a:lnTo>
                <a:lnTo>
                  <a:pt x="1998" y="978"/>
                </a:lnTo>
                <a:lnTo>
                  <a:pt x="1992" y="978"/>
                </a:lnTo>
                <a:lnTo>
                  <a:pt x="1998" y="978"/>
                </a:lnTo>
                <a:lnTo>
                  <a:pt x="1998" y="972"/>
                </a:lnTo>
                <a:lnTo>
                  <a:pt x="1992" y="972"/>
                </a:lnTo>
                <a:lnTo>
                  <a:pt x="1986" y="972"/>
                </a:lnTo>
                <a:lnTo>
                  <a:pt x="1986" y="966"/>
                </a:lnTo>
                <a:lnTo>
                  <a:pt x="1980" y="966"/>
                </a:lnTo>
                <a:lnTo>
                  <a:pt x="1974" y="966"/>
                </a:lnTo>
                <a:lnTo>
                  <a:pt x="1974" y="960"/>
                </a:lnTo>
                <a:lnTo>
                  <a:pt x="1968" y="960"/>
                </a:lnTo>
                <a:lnTo>
                  <a:pt x="1974" y="966"/>
                </a:lnTo>
                <a:lnTo>
                  <a:pt x="1968" y="966"/>
                </a:lnTo>
                <a:lnTo>
                  <a:pt x="1962" y="972"/>
                </a:lnTo>
                <a:lnTo>
                  <a:pt x="1962" y="978"/>
                </a:lnTo>
                <a:lnTo>
                  <a:pt x="1968" y="978"/>
                </a:lnTo>
                <a:lnTo>
                  <a:pt x="1968" y="984"/>
                </a:lnTo>
                <a:lnTo>
                  <a:pt x="1968" y="990"/>
                </a:lnTo>
                <a:lnTo>
                  <a:pt x="1968" y="996"/>
                </a:lnTo>
                <a:lnTo>
                  <a:pt x="1968" y="1002"/>
                </a:lnTo>
                <a:lnTo>
                  <a:pt x="1974" y="1008"/>
                </a:lnTo>
                <a:lnTo>
                  <a:pt x="1968" y="1008"/>
                </a:lnTo>
                <a:lnTo>
                  <a:pt x="1962" y="1008"/>
                </a:lnTo>
                <a:lnTo>
                  <a:pt x="1956" y="1008"/>
                </a:lnTo>
                <a:lnTo>
                  <a:pt x="1950" y="1008"/>
                </a:lnTo>
                <a:lnTo>
                  <a:pt x="1944" y="1008"/>
                </a:lnTo>
                <a:lnTo>
                  <a:pt x="1944" y="1002"/>
                </a:lnTo>
                <a:lnTo>
                  <a:pt x="1938" y="1002"/>
                </a:lnTo>
                <a:lnTo>
                  <a:pt x="1932" y="1002"/>
                </a:lnTo>
                <a:lnTo>
                  <a:pt x="1926" y="1002"/>
                </a:lnTo>
                <a:lnTo>
                  <a:pt x="1920" y="1008"/>
                </a:lnTo>
                <a:lnTo>
                  <a:pt x="1914" y="1008"/>
                </a:lnTo>
                <a:lnTo>
                  <a:pt x="1920" y="1008"/>
                </a:lnTo>
                <a:lnTo>
                  <a:pt x="1920" y="1014"/>
                </a:lnTo>
                <a:lnTo>
                  <a:pt x="1920" y="1020"/>
                </a:lnTo>
                <a:lnTo>
                  <a:pt x="1914" y="1026"/>
                </a:lnTo>
                <a:lnTo>
                  <a:pt x="1914" y="1032"/>
                </a:lnTo>
                <a:lnTo>
                  <a:pt x="1920" y="1032"/>
                </a:lnTo>
                <a:lnTo>
                  <a:pt x="1920" y="1038"/>
                </a:lnTo>
                <a:lnTo>
                  <a:pt x="1926" y="1038"/>
                </a:lnTo>
                <a:lnTo>
                  <a:pt x="1926" y="1044"/>
                </a:lnTo>
                <a:lnTo>
                  <a:pt x="1926" y="1050"/>
                </a:lnTo>
                <a:lnTo>
                  <a:pt x="1920" y="1050"/>
                </a:lnTo>
                <a:lnTo>
                  <a:pt x="1914" y="1056"/>
                </a:lnTo>
                <a:lnTo>
                  <a:pt x="1914" y="1062"/>
                </a:lnTo>
                <a:lnTo>
                  <a:pt x="1914" y="1068"/>
                </a:lnTo>
                <a:lnTo>
                  <a:pt x="1914" y="1074"/>
                </a:lnTo>
                <a:lnTo>
                  <a:pt x="1920" y="1074"/>
                </a:lnTo>
                <a:lnTo>
                  <a:pt x="1920" y="1080"/>
                </a:lnTo>
                <a:lnTo>
                  <a:pt x="1926" y="1080"/>
                </a:lnTo>
                <a:lnTo>
                  <a:pt x="1926" y="1086"/>
                </a:lnTo>
                <a:lnTo>
                  <a:pt x="1926" y="1092"/>
                </a:lnTo>
                <a:lnTo>
                  <a:pt x="1932" y="1092"/>
                </a:lnTo>
                <a:lnTo>
                  <a:pt x="1932" y="1098"/>
                </a:lnTo>
                <a:lnTo>
                  <a:pt x="1932" y="1104"/>
                </a:lnTo>
                <a:lnTo>
                  <a:pt x="1932" y="1110"/>
                </a:lnTo>
                <a:lnTo>
                  <a:pt x="1932" y="1116"/>
                </a:lnTo>
                <a:lnTo>
                  <a:pt x="1914" y="1116"/>
                </a:lnTo>
                <a:lnTo>
                  <a:pt x="1902" y="1122"/>
                </a:lnTo>
                <a:lnTo>
                  <a:pt x="1896" y="1122"/>
                </a:lnTo>
                <a:lnTo>
                  <a:pt x="1890" y="1122"/>
                </a:lnTo>
                <a:lnTo>
                  <a:pt x="1884" y="1122"/>
                </a:lnTo>
                <a:lnTo>
                  <a:pt x="1884" y="1128"/>
                </a:lnTo>
                <a:lnTo>
                  <a:pt x="1878" y="1128"/>
                </a:lnTo>
                <a:lnTo>
                  <a:pt x="1878" y="1134"/>
                </a:lnTo>
                <a:lnTo>
                  <a:pt x="1878" y="1128"/>
                </a:lnTo>
                <a:lnTo>
                  <a:pt x="1878" y="1134"/>
                </a:lnTo>
                <a:lnTo>
                  <a:pt x="1878" y="1128"/>
                </a:lnTo>
                <a:lnTo>
                  <a:pt x="1878" y="1134"/>
                </a:lnTo>
                <a:lnTo>
                  <a:pt x="1878" y="1128"/>
                </a:lnTo>
                <a:lnTo>
                  <a:pt x="1872" y="1134"/>
                </a:lnTo>
                <a:lnTo>
                  <a:pt x="1872" y="1128"/>
                </a:lnTo>
                <a:lnTo>
                  <a:pt x="1872" y="1134"/>
                </a:lnTo>
                <a:lnTo>
                  <a:pt x="1872" y="1128"/>
                </a:lnTo>
                <a:lnTo>
                  <a:pt x="1866" y="1134"/>
                </a:lnTo>
                <a:lnTo>
                  <a:pt x="1866" y="1140"/>
                </a:lnTo>
                <a:lnTo>
                  <a:pt x="1860" y="1140"/>
                </a:lnTo>
                <a:lnTo>
                  <a:pt x="1866" y="1140"/>
                </a:lnTo>
                <a:lnTo>
                  <a:pt x="1866" y="1146"/>
                </a:lnTo>
                <a:lnTo>
                  <a:pt x="1860" y="1146"/>
                </a:lnTo>
                <a:lnTo>
                  <a:pt x="1866" y="1146"/>
                </a:lnTo>
                <a:lnTo>
                  <a:pt x="1860" y="1146"/>
                </a:lnTo>
                <a:lnTo>
                  <a:pt x="1860" y="1152"/>
                </a:lnTo>
                <a:lnTo>
                  <a:pt x="1866" y="1152"/>
                </a:lnTo>
                <a:lnTo>
                  <a:pt x="1860" y="1152"/>
                </a:lnTo>
                <a:lnTo>
                  <a:pt x="1866" y="1152"/>
                </a:lnTo>
                <a:lnTo>
                  <a:pt x="1866" y="1158"/>
                </a:lnTo>
                <a:lnTo>
                  <a:pt x="1866" y="1164"/>
                </a:lnTo>
                <a:lnTo>
                  <a:pt x="1860" y="1164"/>
                </a:lnTo>
                <a:lnTo>
                  <a:pt x="1860" y="1170"/>
                </a:lnTo>
                <a:lnTo>
                  <a:pt x="1860" y="1176"/>
                </a:lnTo>
                <a:lnTo>
                  <a:pt x="1854" y="1176"/>
                </a:lnTo>
                <a:lnTo>
                  <a:pt x="1854" y="1182"/>
                </a:lnTo>
                <a:lnTo>
                  <a:pt x="1848" y="1188"/>
                </a:lnTo>
                <a:lnTo>
                  <a:pt x="1848" y="1194"/>
                </a:lnTo>
                <a:lnTo>
                  <a:pt x="1848" y="1200"/>
                </a:lnTo>
                <a:lnTo>
                  <a:pt x="1854" y="1200"/>
                </a:lnTo>
                <a:lnTo>
                  <a:pt x="1854" y="1206"/>
                </a:lnTo>
                <a:lnTo>
                  <a:pt x="1860" y="1206"/>
                </a:lnTo>
                <a:lnTo>
                  <a:pt x="1866" y="1206"/>
                </a:lnTo>
                <a:lnTo>
                  <a:pt x="1860" y="1206"/>
                </a:lnTo>
                <a:lnTo>
                  <a:pt x="1866" y="1206"/>
                </a:lnTo>
                <a:lnTo>
                  <a:pt x="1860" y="1206"/>
                </a:lnTo>
                <a:lnTo>
                  <a:pt x="1866" y="1212"/>
                </a:lnTo>
                <a:lnTo>
                  <a:pt x="1866" y="1206"/>
                </a:lnTo>
                <a:lnTo>
                  <a:pt x="1866" y="1212"/>
                </a:lnTo>
                <a:lnTo>
                  <a:pt x="1872" y="1212"/>
                </a:lnTo>
                <a:lnTo>
                  <a:pt x="1872" y="1218"/>
                </a:lnTo>
                <a:lnTo>
                  <a:pt x="1872" y="1212"/>
                </a:lnTo>
                <a:lnTo>
                  <a:pt x="1872" y="1218"/>
                </a:lnTo>
                <a:lnTo>
                  <a:pt x="1872" y="1224"/>
                </a:lnTo>
                <a:lnTo>
                  <a:pt x="1878" y="1218"/>
                </a:lnTo>
                <a:lnTo>
                  <a:pt x="1878" y="1224"/>
                </a:lnTo>
                <a:lnTo>
                  <a:pt x="1878" y="1230"/>
                </a:lnTo>
                <a:lnTo>
                  <a:pt x="1878" y="1236"/>
                </a:lnTo>
                <a:lnTo>
                  <a:pt x="1884" y="1236"/>
                </a:lnTo>
                <a:lnTo>
                  <a:pt x="1878" y="1236"/>
                </a:lnTo>
                <a:lnTo>
                  <a:pt x="1878" y="1242"/>
                </a:lnTo>
                <a:lnTo>
                  <a:pt x="1884" y="1242"/>
                </a:lnTo>
                <a:lnTo>
                  <a:pt x="1878" y="1248"/>
                </a:lnTo>
                <a:lnTo>
                  <a:pt x="1884" y="1248"/>
                </a:lnTo>
                <a:lnTo>
                  <a:pt x="1884" y="1254"/>
                </a:lnTo>
                <a:lnTo>
                  <a:pt x="1890" y="1254"/>
                </a:lnTo>
                <a:lnTo>
                  <a:pt x="1884" y="1254"/>
                </a:lnTo>
                <a:lnTo>
                  <a:pt x="1890" y="1254"/>
                </a:lnTo>
                <a:lnTo>
                  <a:pt x="1890" y="1260"/>
                </a:lnTo>
                <a:lnTo>
                  <a:pt x="1890" y="1266"/>
                </a:lnTo>
                <a:lnTo>
                  <a:pt x="1884" y="1260"/>
                </a:lnTo>
                <a:lnTo>
                  <a:pt x="1884" y="1266"/>
                </a:lnTo>
                <a:lnTo>
                  <a:pt x="1878" y="1266"/>
                </a:lnTo>
                <a:lnTo>
                  <a:pt x="1878" y="1272"/>
                </a:lnTo>
                <a:lnTo>
                  <a:pt x="1872" y="1272"/>
                </a:lnTo>
                <a:lnTo>
                  <a:pt x="1872" y="1278"/>
                </a:lnTo>
                <a:lnTo>
                  <a:pt x="1866" y="1278"/>
                </a:lnTo>
                <a:lnTo>
                  <a:pt x="1860" y="1284"/>
                </a:lnTo>
                <a:lnTo>
                  <a:pt x="1860" y="1290"/>
                </a:lnTo>
                <a:lnTo>
                  <a:pt x="1854" y="1290"/>
                </a:lnTo>
                <a:lnTo>
                  <a:pt x="1860" y="1290"/>
                </a:lnTo>
                <a:lnTo>
                  <a:pt x="1854" y="1290"/>
                </a:lnTo>
                <a:lnTo>
                  <a:pt x="1860" y="1290"/>
                </a:lnTo>
                <a:lnTo>
                  <a:pt x="1854" y="1290"/>
                </a:lnTo>
                <a:lnTo>
                  <a:pt x="1854" y="1296"/>
                </a:lnTo>
                <a:lnTo>
                  <a:pt x="1848" y="1296"/>
                </a:lnTo>
                <a:lnTo>
                  <a:pt x="1854" y="1296"/>
                </a:lnTo>
                <a:lnTo>
                  <a:pt x="1848" y="1302"/>
                </a:lnTo>
                <a:lnTo>
                  <a:pt x="1854" y="1302"/>
                </a:lnTo>
                <a:lnTo>
                  <a:pt x="1848" y="1302"/>
                </a:lnTo>
                <a:lnTo>
                  <a:pt x="1848" y="1308"/>
                </a:lnTo>
                <a:lnTo>
                  <a:pt x="1848" y="1302"/>
                </a:lnTo>
                <a:lnTo>
                  <a:pt x="1842" y="1302"/>
                </a:lnTo>
                <a:lnTo>
                  <a:pt x="1836" y="1308"/>
                </a:lnTo>
                <a:lnTo>
                  <a:pt x="1842" y="1308"/>
                </a:lnTo>
                <a:lnTo>
                  <a:pt x="1836" y="1308"/>
                </a:lnTo>
                <a:lnTo>
                  <a:pt x="1836" y="1314"/>
                </a:lnTo>
                <a:lnTo>
                  <a:pt x="1836" y="1320"/>
                </a:lnTo>
                <a:lnTo>
                  <a:pt x="1842" y="1320"/>
                </a:lnTo>
                <a:lnTo>
                  <a:pt x="1842" y="1326"/>
                </a:lnTo>
                <a:lnTo>
                  <a:pt x="1848" y="1326"/>
                </a:lnTo>
                <a:lnTo>
                  <a:pt x="1848" y="1332"/>
                </a:lnTo>
                <a:lnTo>
                  <a:pt x="1848" y="1326"/>
                </a:lnTo>
                <a:lnTo>
                  <a:pt x="1854" y="1326"/>
                </a:lnTo>
                <a:lnTo>
                  <a:pt x="1860" y="1326"/>
                </a:lnTo>
                <a:lnTo>
                  <a:pt x="1866" y="1326"/>
                </a:lnTo>
                <a:lnTo>
                  <a:pt x="1866" y="1332"/>
                </a:lnTo>
                <a:lnTo>
                  <a:pt x="1872" y="1332"/>
                </a:lnTo>
                <a:lnTo>
                  <a:pt x="1872" y="1338"/>
                </a:lnTo>
                <a:lnTo>
                  <a:pt x="1872" y="1344"/>
                </a:lnTo>
                <a:lnTo>
                  <a:pt x="1872" y="1350"/>
                </a:lnTo>
                <a:lnTo>
                  <a:pt x="1866" y="1350"/>
                </a:lnTo>
                <a:lnTo>
                  <a:pt x="1866" y="1356"/>
                </a:lnTo>
                <a:lnTo>
                  <a:pt x="1860" y="1356"/>
                </a:lnTo>
                <a:lnTo>
                  <a:pt x="1866" y="1356"/>
                </a:lnTo>
                <a:lnTo>
                  <a:pt x="1866" y="1362"/>
                </a:lnTo>
                <a:lnTo>
                  <a:pt x="1860" y="1362"/>
                </a:lnTo>
                <a:lnTo>
                  <a:pt x="1860" y="1368"/>
                </a:lnTo>
                <a:lnTo>
                  <a:pt x="1860" y="1374"/>
                </a:lnTo>
                <a:lnTo>
                  <a:pt x="1860" y="1380"/>
                </a:lnTo>
                <a:lnTo>
                  <a:pt x="1866" y="1380"/>
                </a:lnTo>
                <a:lnTo>
                  <a:pt x="1866" y="1386"/>
                </a:lnTo>
                <a:lnTo>
                  <a:pt x="1866" y="1392"/>
                </a:lnTo>
                <a:lnTo>
                  <a:pt x="1872" y="1398"/>
                </a:lnTo>
                <a:lnTo>
                  <a:pt x="1872" y="1392"/>
                </a:lnTo>
                <a:lnTo>
                  <a:pt x="1872" y="1398"/>
                </a:lnTo>
                <a:lnTo>
                  <a:pt x="1866" y="1398"/>
                </a:lnTo>
                <a:lnTo>
                  <a:pt x="1860" y="1398"/>
                </a:lnTo>
                <a:lnTo>
                  <a:pt x="1860" y="1404"/>
                </a:lnTo>
                <a:lnTo>
                  <a:pt x="1860" y="1398"/>
                </a:lnTo>
                <a:lnTo>
                  <a:pt x="1860" y="1404"/>
                </a:lnTo>
                <a:lnTo>
                  <a:pt x="1854" y="1404"/>
                </a:lnTo>
                <a:lnTo>
                  <a:pt x="1854" y="1410"/>
                </a:lnTo>
                <a:lnTo>
                  <a:pt x="1848" y="1410"/>
                </a:lnTo>
                <a:lnTo>
                  <a:pt x="1854" y="1410"/>
                </a:lnTo>
                <a:lnTo>
                  <a:pt x="1848" y="1410"/>
                </a:lnTo>
                <a:lnTo>
                  <a:pt x="1848" y="1416"/>
                </a:lnTo>
                <a:lnTo>
                  <a:pt x="1842" y="1410"/>
                </a:lnTo>
                <a:lnTo>
                  <a:pt x="1842" y="1416"/>
                </a:lnTo>
                <a:lnTo>
                  <a:pt x="1836" y="1416"/>
                </a:lnTo>
                <a:lnTo>
                  <a:pt x="1836" y="1422"/>
                </a:lnTo>
                <a:lnTo>
                  <a:pt x="1836" y="1416"/>
                </a:lnTo>
                <a:lnTo>
                  <a:pt x="1830" y="1416"/>
                </a:lnTo>
                <a:lnTo>
                  <a:pt x="1830" y="1422"/>
                </a:lnTo>
                <a:lnTo>
                  <a:pt x="1830" y="1416"/>
                </a:lnTo>
                <a:lnTo>
                  <a:pt x="1830" y="1422"/>
                </a:lnTo>
                <a:lnTo>
                  <a:pt x="1824" y="1422"/>
                </a:lnTo>
                <a:lnTo>
                  <a:pt x="1824" y="1428"/>
                </a:lnTo>
                <a:lnTo>
                  <a:pt x="1830" y="1428"/>
                </a:lnTo>
                <a:lnTo>
                  <a:pt x="1824" y="1434"/>
                </a:lnTo>
                <a:lnTo>
                  <a:pt x="1818" y="1434"/>
                </a:lnTo>
                <a:lnTo>
                  <a:pt x="1818" y="1440"/>
                </a:lnTo>
                <a:lnTo>
                  <a:pt x="1812" y="1440"/>
                </a:lnTo>
                <a:lnTo>
                  <a:pt x="1812" y="1434"/>
                </a:lnTo>
                <a:lnTo>
                  <a:pt x="1812" y="1440"/>
                </a:lnTo>
                <a:lnTo>
                  <a:pt x="1806" y="1440"/>
                </a:lnTo>
                <a:lnTo>
                  <a:pt x="1812" y="1440"/>
                </a:lnTo>
                <a:lnTo>
                  <a:pt x="1812" y="1446"/>
                </a:lnTo>
                <a:lnTo>
                  <a:pt x="1806" y="1446"/>
                </a:lnTo>
                <a:lnTo>
                  <a:pt x="1800" y="1446"/>
                </a:lnTo>
                <a:lnTo>
                  <a:pt x="1800" y="1440"/>
                </a:lnTo>
                <a:lnTo>
                  <a:pt x="1800" y="1446"/>
                </a:lnTo>
                <a:lnTo>
                  <a:pt x="1794" y="1446"/>
                </a:lnTo>
                <a:lnTo>
                  <a:pt x="1794" y="1452"/>
                </a:lnTo>
                <a:lnTo>
                  <a:pt x="1788" y="1452"/>
                </a:lnTo>
                <a:lnTo>
                  <a:pt x="1782" y="1452"/>
                </a:lnTo>
                <a:lnTo>
                  <a:pt x="1782" y="1446"/>
                </a:lnTo>
                <a:lnTo>
                  <a:pt x="1776" y="1446"/>
                </a:lnTo>
                <a:lnTo>
                  <a:pt x="1770" y="1446"/>
                </a:lnTo>
                <a:lnTo>
                  <a:pt x="1764" y="1446"/>
                </a:lnTo>
                <a:lnTo>
                  <a:pt x="1758" y="1446"/>
                </a:lnTo>
                <a:lnTo>
                  <a:pt x="1758" y="1440"/>
                </a:lnTo>
                <a:lnTo>
                  <a:pt x="1752" y="1440"/>
                </a:lnTo>
                <a:lnTo>
                  <a:pt x="1746" y="1434"/>
                </a:lnTo>
                <a:lnTo>
                  <a:pt x="1740" y="1434"/>
                </a:lnTo>
                <a:lnTo>
                  <a:pt x="1734" y="1440"/>
                </a:lnTo>
                <a:lnTo>
                  <a:pt x="1740" y="1440"/>
                </a:lnTo>
                <a:lnTo>
                  <a:pt x="1734" y="1440"/>
                </a:lnTo>
                <a:lnTo>
                  <a:pt x="1728" y="1440"/>
                </a:lnTo>
                <a:lnTo>
                  <a:pt x="1722" y="1440"/>
                </a:lnTo>
                <a:lnTo>
                  <a:pt x="1722" y="1434"/>
                </a:lnTo>
                <a:lnTo>
                  <a:pt x="1722" y="1440"/>
                </a:lnTo>
                <a:lnTo>
                  <a:pt x="1716" y="1434"/>
                </a:lnTo>
                <a:lnTo>
                  <a:pt x="1716" y="1440"/>
                </a:lnTo>
                <a:lnTo>
                  <a:pt x="1716" y="1434"/>
                </a:lnTo>
                <a:lnTo>
                  <a:pt x="1710" y="1434"/>
                </a:lnTo>
                <a:lnTo>
                  <a:pt x="1710" y="1440"/>
                </a:lnTo>
                <a:lnTo>
                  <a:pt x="1710" y="1434"/>
                </a:lnTo>
                <a:lnTo>
                  <a:pt x="1704" y="1434"/>
                </a:lnTo>
                <a:lnTo>
                  <a:pt x="1698" y="1434"/>
                </a:lnTo>
                <a:lnTo>
                  <a:pt x="1692" y="1434"/>
                </a:lnTo>
                <a:lnTo>
                  <a:pt x="1686" y="1434"/>
                </a:lnTo>
                <a:lnTo>
                  <a:pt x="1680" y="1434"/>
                </a:lnTo>
                <a:lnTo>
                  <a:pt x="1674" y="1434"/>
                </a:lnTo>
                <a:lnTo>
                  <a:pt x="1668" y="1440"/>
                </a:lnTo>
                <a:lnTo>
                  <a:pt x="1668" y="1434"/>
                </a:lnTo>
                <a:lnTo>
                  <a:pt x="1662" y="1434"/>
                </a:lnTo>
                <a:lnTo>
                  <a:pt x="1656" y="1428"/>
                </a:lnTo>
                <a:lnTo>
                  <a:pt x="1650" y="1434"/>
                </a:lnTo>
                <a:lnTo>
                  <a:pt x="1644" y="1440"/>
                </a:lnTo>
                <a:lnTo>
                  <a:pt x="1638" y="1440"/>
                </a:lnTo>
                <a:lnTo>
                  <a:pt x="1638" y="1446"/>
                </a:lnTo>
                <a:lnTo>
                  <a:pt x="1632" y="1446"/>
                </a:lnTo>
                <a:lnTo>
                  <a:pt x="1632" y="1440"/>
                </a:lnTo>
                <a:lnTo>
                  <a:pt x="1626" y="1440"/>
                </a:lnTo>
                <a:lnTo>
                  <a:pt x="1626" y="1446"/>
                </a:lnTo>
                <a:lnTo>
                  <a:pt x="1620" y="1446"/>
                </a:lnTo>
                <a:lnTo>
                  <a:pt x="1620" y="1452"/>
                </a:lnTo>
                <a:lnTo>
                  <a:pt x="1614" y="1452"/>
                </a:lnTo>
                <a:lnTo>
                  <a:pt x="1614" y="1458"/>
                </a:lnTo>
                <a:lnTo>
                  <a:pt x="1608" y="1458"/>
                </a:lnTo>
                <a:lnTo>
                  <a:pt x="1608" y="1464"/>
                </a:lnTo>
                <a:lnTo>
                  <a:pt x="1602" y="1464"/>
                </a:lnTo>
                <a:lnTo>
                  <a:pt x="1602" y="1470"/>
                </a:lnTo>
                <a:lnTo>
                  <a:pt x="1596" y="1470"/>
                </a:lnTo>
                <a:lnTo>
                  <a:pt x="1596" y="1476"/>
                </a:lnTo>
                <a:lnTo>
                  <a:pt x="1590" y="1470"/>
                </a:lnTo>
                <a:lnTo>
                  <a:pt x="1584" y="1464"/>
                </a:lnTo>
                <a:lnTo>
                  <a:pt x="1584" y="1458"/>
                </a:lnTo>
                <a:lnTo>
                  <a:pt x="1584" y="1452"/>
                </a:lnTo>
                <a:lnTo>
                  <a:pt x="1578" y="1452"/>
                </a:lnTo>
                <a:lnTo>
                  <a:pt x="1578" y="1458"/>
                </a:lnTo>
                <a:lnTo>
                  <a:pt x="1572" y="1458"/>
                </a:lnTo>
                <a:lnTo>
                  <a:pt x="1566" y="1464"/>
                </a:lnTo>
                <a:lnTo>
                  <a:pt x="1560" y="1464"/>
                </a:lnTo>
                <a:lnTo>
                  <a:pt x="1566" y="1464"/>
                </a:lnTo>
                <a:lnTo>
                  <a:pt x="1566" y="1470"/>
                </a:lnTo>
                <a:lnTo>
                  <a:pt x="1560" y="1470"/>
                </a:lnTo>
                <a:lnTo>
                  <a:pt x="1560" y="1464"/>
                </a:lnTo>
                <a:lnTo>
                  <a:pt x="1554" y="1464"/>
                </a:lnTo>
                <a:lnTo>
                  <a:pt x="1554" y="1470"/>
                </a:lnTo>
                <a:lnTo>
                  <a:pt x="1548" y="1470"/>
                </a:lnTo>
                <a:lnTo>
                  <a:pt x="1542" y="1476"/>
                </a:lnTo>
                <a:lnTo>
                  <a:pt x="1542" y="1470"/>
                </a:lnTo>
                <a:lnTo>
                  <a:pt x="1536" y="1470"/>
                </a:lnTo>
                <a:lnTo>
                  <a:pt x="1530" y="1470"/>
                </a:lnTo>
                <a:lnTo>
                  <a:pt x="1524" y="1470"/>
                </a:lnTo>
                <a:lnTo>
                  <a:pt x="1518" y="1470"/>
                </a:lnTo>
                <a:lnTo>
                  <a:pt x="1512" y="1470"/>
                </a:lnTo>
                <a:lnTo>
                  <a:pt x="1512" y="1476"/>
                </a:lnTo>
                <a:lnTo>
                  <a:pt x="1506" y="1476"/>
                </a:lnTo>
                <a:lnTo>
                  <a:pt x="1494" y="1476"/>
                </a:lnTo>
                <a:lnTo>
                  <a:pt x="1488" y="1476"/>
                </a:lnTo>
                <a:lnTo>
                  <a:pt x="1482" y="1476"/>
                </a:lnTo>
                <a:lnTo>
                  <a:pt x="1476" y="1482"/>
                </a:lnTo>
                <a:lnTo>
                  <a:pt x="1470" y="1488"/>
                </a:lnTo>
                <a:lnTo>
                  <a:pt x="1470" y="1494"/>
                </a:lnTo>
                <a:lnTo>
                  <a:pt x="1464" y="1494"/>
                </a:lnTo>
                <a:lnTo>
                  <a:pt x="1464" y="1500"/>
                </a:lnTo>
                <a:lnTo>
                  <a:pt x="1458" y="1500"/>
                </a:lnTo>
                <a:lnTo>
                  <a:pt x="1458" y="1506"/>
                </a:lnTo>
                <a:lnTo>
                  <a:pt x="1458" y="1512"/>
                </a:lnTo>
                <a:lnTo>
                  <a:pt x="1452" y="1512"/>
                </a:lnTo>
                <a:lnTo>
                  <a:pt x="1452" y="1518"/>
                </a:lnTo>
                <a:lnTo>
                  <a:pt x="1452" y="1524"/>
                </a:lnTo>
                <a:lnTo>
                  <a:pt x="1446" y="1530"/>
                </a:lnTo>
                <a:lnTo>
                  <a:pt x="1446" y="1536"/>
                </a:lnTo>
                <a:lnTo>
                  <a:pt x="1440" y="1536"/>
                </a:lnTo>
                <a:lnTo>
                  <a:pt x="1434" y="1536"/>
                </a:lnTo>
                <a:lnTo>
                  <a:pt x="1428" y="1536"/>
                </a:lnTo>
                <a:lnTo>
                  <a:pt x="1428" y="1542"/>
                </a:lnTo>
                <a:lnTo>
                  <a:pt x="1422" y="1542"/>
                </a:lnTo>
                <a:lnTo>
                  <a:pt x="1422" y="1548"/>
                </a:lnTo>
                <a:lnTo>
                  <a:pt x="1416" y="1548"/>
                </a:lnTo>
                <a:lnTo>
                  <a:pt x="1416" y="1554"/>
                </a:lnTo>
                <a:lnTo>
                  <a:pt x="1410" y="1560"/>
                </a:lnTo>
                <a:lnTo>
                  <a:pt x="1410" y="1566"/>
                </a:lnTo>
                <a:lnTo>
                  <a:pt x="1404" y="1566"/>
                </a:lnTo>
                <a:lnTo>
                  <a:pt x="1404" y="1572"/>
                </a:lnTo>
                <a:lnTo>
                  <a:pt x="1404" y="1578"/>
                </a:lnTo>
                <a:lnTo>
                  <a:pt x="1410" y="1584"/>
                </a:lnTo>
                <a:lnTo>
                  <a:pt x="1404" y="1584"/>
                </a:lnTo>
                <a:lnTo>
                  <a:pt x="1398" y="1584"/>
                </a:lnTo>
                <a:lnTo>
                  <a:pt x="1392" y="1578"/>
                </a:lnTo>
                <a:lnTo>
                  <a:pt x="1392" y="1584"/>
                </a:lnTo>
                <a:lnTo>
                  <a:pt x="1392" y="1590"/>
                </a:lnTo>
                <a:lnTo>
                  <a:pt x="1398" y="1590"/>
                </a:lnTo>
                <a:lnTo>
                  <a:pt x="1398" y="1596"/>
                </a:lnTo>
                <a:lnTo>
                  <a:pt x="1392" y="1596"/>
                </a:lnTo>
                <a:lnTo>
                  <a:pt x="1386" y="1596"/>
                </a:lnTo>
                <a:lnTo>
                  <a:pt x="1386" y="1602"/>
                </a:lnTo>
                <a:lnTo>
                  <a:pt x="1386" y="1608"/>
                </a:lnTo>
                <a:lnTo>
                  <a:pt x="1380" y="1608"/>
                </a:lnTo>
                <a:lnTo>
                  <a:pt x="1380" y="1614"/>
                </a:lnTo>
                <a:lnTo>
                  <a:pt x="1380" y="1620"/>
                </a:lnTo>
                <a:lnTo>
                  <a:pt x="1386" y="1626"/>
                </a:lnTo>
                <a:lnTo>
                  <a:pt x="1386" y="1632"/>
                </a:lnTo>
                <a:lnTo>
                  <a:pt x="1386" y="1638"/>
                </a:lnTo>
                <a:lnTo>
                  <a:pt x="1386" y="1644"/>
                </a:lnTo>
                <a:lnTo>
                  <a:pt x="1386" y="1650"/>
                </a:lnTo>
                <a:lnTo>
                  <a:pt x="1386" y="1656"/>
                </a:lnTo>
                <a:lnTo>
                  <a:pt x="1386" y="1662"/>
                </a:lnTo>
                <a:lnTo>
                  <a:pt x="1380" y="1668"/>
                </a:lnTo>
                <a:lnTo>
                  <a:pt x="1380" y="1674"/>
                </a:lnTo>
                <a:lnTo>
                  <a:pt x="1380" y="1680"/>
                </a:lnTo>
                <a:lnTo>
                  <a:pt x="1374" y="1680"/>
                </a:lnTo>
                <a:lnTo>
                  <a:pt x="1374" y="1686"/>
                </a:lnTo>
                <a:lnTo>
                  <a:pt x="1368" y="1686"/>
                </a:lnTo>
                <a:lnTo>
                  <a:pt x="1368" y="1692"/>
                </a:lnTo>
                <a:lnTo>
                  <a:pt x="1362" y="1692"/>
                </a:lnTo>
                <a:lnTo>
                  <a:pt x="1356" y="1692"/>
                </a:lnTo>
                <a:lnTo>
                  <a:pt x="1350" y="1692"/>
                </a:lnTo>
                <a:lnTo>
                  <a:pt x="1344" y="1692"/>
                </a:lnTo>
                <a:lnTo>
                  <a:pt x="1344" y="1698"/>
                </a:lnTo>
                <a:lnTo>
                  <a:pt x="1338" y="1698"/>
                </a:lnTo>
                <a:lnTo>
                  <a:pt x="1338" y="1704"/>
                </a:lnTo>
                <a:lnTo>
                  <a:pt x="1332" y="1710"/>
                </a:lnTo>
                <a:lnTo>
                  <a:pt x="1326" y="1710"/>
                </a:lnTo>
                <a:lnTo>
                  <a:pt x="1326" y="1716"/>
                </a:lnTo>
                <a:lnTo>
                  <a:pt x="1320" y="1722"/>
                </a:lnTo>
                <a:lnTo>
                  <a:pt x="1320" y="1728"/>
                </a:lnTo>
                <a:lnTo>
                  <a:pt x="1314" y="1728"/>
                </a:lnTo>
                <a:lnTo>
                  <a:pt x="1308" y="1734"/>
                </a:lnTo>
                <a:lnTo>
                  <a:pt x="1302" y="1746"/>
                </a:lnTo>
                <a:lnTo>
                  <a:pt x="1302" y="1752"/>
                </a:lnTo>
                <a:lnTo>
                  <a:pt x="1302" y="1758"/>
                </a:lnTo>
                <a:lnTo>
                  <a:pt x="1302" y="1764"/>
                </a:lnTo>
                <a:lnTo>
                  <a:pt x="1308" y="1764"/>
                </a:lnTo>
                <a:lnTo>
                  <a:pt x="1308" y="1770"/>
                </a:lnTo>
                <a:lnTo>
                  <a:pt x="1302" y="1776"/>
                </a:lnTo>
                <a:lnTo>
                  <a:pt x="1296" y="1776"/>
                </a:lnTo>
                <a:lnTo>
                  <a:pt x="1290" y="1776"/>
                </a:lnTo>
                <a:lnTo>
                  <a:pt x="1290" y="1782"/>
                </a:lnTo>
                <a:lnTo>
                  <a:pt x="1284" y="1782"/>
                </a:lnTo>
                <a:lnTo>
                  <a:pt x="1284" y="1788"/>
                </a:lnTo>
                <a:lnTo>
                  <a:pt x="1284" y="1794"/>
                </a:lnTo>
                <a:lnTo>
                  <a:pt x="1278" y="1794"/>
                </a:lnTo>
                <a:lnTo>
                  <a:pt x="1278" y="1800"/>
                </a:lnTo>
                <a:lnTo>
                  <a:pt x="1272" y="1800"/>
                </a:lnTo>
                <a:lnTo>
                  <a:pt x="1272" y="1806"/>
                </a:lnTo>
                <a:lnTo>
                  <a:pt x="1272" y="1812"/>
                </a:lnTo>
                <a:lnTo>
                  <a:pt x="1278" y="1818"/>
                </a:lnTo>
                <a:lnTo>
                  <a:pt x="1272" y="1818"/>
                </a:lnTo>
                <a:lnTo>
                  <a:pt x="1272" y="1824"/>
                </a:lnTo>
                <a:lnTo>
                  <a:pt x="1266" y="1830"/>
                </a:lnTo>
                <a:lnTo>
                  <a:pt x="1266" y="1836"/>
                </a:lnTo>
                <a:lnTo>
                  <a:pt x="1266" y="1842"/>
                </a:lnTo>
                <a:lnTo>
                  <a:pt x="1260" y="1842"/>
                </a:lnTo>
                <a:lnTo>
                  <a:pt x="1260" y="1848"/>
                </a:lnTo>
                <a:lnTo>
                  <a:pt x="1254" y="1848"/>
                </a:lnTo>
                <a:lnTo>
                  <a:pt x="1248" y="1848"/>
                </a:lnTo>
                <a:lnTo>
                  <a:pt x="1242" y="1848"/>
                </a:lnTo>
                <a:lnTo>
                  <a:pt x="1242" y="1854"/>
                </a:lnTo>
                <a:lnTo>
                  <a:pt x="1248" y="1860"/>
                </a:lnTo>
                <a:lnTo>
                  <a:pt x="1248" y="1866"/>
                </a:lnTo>
                <a:lnTo>
                  <a:pt x="1248" y="1872"/>
                </a:lnTo>
                <a:lnTo>
                  <a:pt x="1242" y="1878"/>
                </a:lnTo>
                <a:lnTo>
                  <a:pt x="1236" y="1878"/>
                </a:lnTo>
                <a:lnTo>
                  <a:pt x="1230" y="1884"/>
                </a:lnTo>
                <a:lnTo>
                  <a:pt x="1230" y="1890"/>
                </a:lnTo>
                <a:lnTo>
                  <a:pt x="1224" y="1896"/>
                </a:lnTo>
                <a:lnTo>
                  <a:pt x="1224" y="1902"/>
                </a:lnTo>
                <a:lnTo>
                  <a:pt x="1218" y="1902"/>
                </a:lnTo>
                <a:lnTo>
                  <a:pt x="1212" y="1908"/>
                </a:lnTo>
                <a:lnTo>
                  <a:pt x="1212" y="1920"/>
                </a:lnTo>
                <a:lnTo>
                  <a:pt x="1206" y="1926"/>
                </a:lnTo>
                <a:lnTo>
                  <a:pt x="1200" y="1926"/>
                </a:lnTo>
                <a:lnTo>
                  <a:pt x="1200" y="1932"/>
                </a:lnTo>
                <a:lnTo>
                  <a:pt x="1194" y="1932"/>
                </a:lnTo>
                <a:lnTo>
                  <a:pt x="1194" y="1938"/>
                </a:lnTo>
                <a:lnTo>
                  <a:pt x="1188" y="1938"/>
                </a:lnTo>
                <a:lnTo>
                  <a:pt x="1182" y="1944"/>
                </a:lnTo>
                <a:lnTo>
                  <a:pt x="1176" y="1944"/>
                </a:lnTo>
                <a:lnTo>
                  <a:pt x="1176" y="1950"/>
                </a:lnTo>
                <a:lnTo>
                  <a:pt x="1170" y="1950"/>
                </a:lnTo>
                <a:lnTo>
                  <a:pt x="1164" y="1950"/>
                </a:lnTo>
                <a:lnTo>
                  <a:pt x="1164" y="1956"/>
                </a:lnTo>
                <a:lnTo>
                  <a:pt x="1158" y="1956"/>
                </a:lnTo>
                <a:lnTo>
                  <a:pt x="1152" y="1962"/>
                </a:lnTo>
                <a:lnTo>
                  <a:pt x="1146" y="1962"/>
                </a:lnTo>
                <a:lnTo>
                  <a:pt x="1146" y="1968"/>
                </a:lnTo>
                <a:lnTo>
                  <a:pt x="1140" y="1968"/>
                </a:lnTo>
                <a:lnTo>
                  <a:pt x="1134" y="1974"/>
                </a:lnTo>
                <a:lnTo>
                  <a:pt x="1128" y="1974"/>
                </a:lnTo>
                <a:lnTo>
                  <a:pt x="1122" y="1980"/>
                </a:lnTo>
                <a:lnTo>
                  <a:pt x="1116" y="1980"/>
                </a:lnTo>
                <a:lnTo>
                  <a:pt x="1116" y="1986"/>
                </a:lnTo>
                <a:lnTo>
                  <a:pt x="1110" y="1986"/>
                </a:lnTo>
                <a:lnTo>
                  <a:pt x="1110" y="1992"/>
                </a:lnTo>
                <a:lnTo>
                  <a:pt x="1110" y="1998"/>
                </a:lnTo>
                <a:lnTo>
                  <a:pt x="1104" y="2004"/>
                </a:lnTo>
                <a:lnTo>
                  <a:pt x="1098" y="2004"/>
                </a:lnTo>
                <a:lnTo>
                  <a:pt x="1092" y="2004"/>
                </a:lnTo>
                <a:lnTo>
                  <a:pt x="1086" y="2010"/>
                </a:lnTo>
                <a:lnTo>
                  <a:pt x="1080" y="2010"/>
                </a:lnTo>
                <a:lnTo>
                  <a:pt x="1074" y="2016"/>
                </a:lnTo>
                <a:lnTo>
                  <a:pt x="1068" y="2022"/>
                </a:lnTo>
                <a:lnTo>
                  <a:pt x="1062" y="2022"/>
                </a:lnTo>
                <a:lnTo>
                  <a:pt x="1056" y="2022"/>
                </a:lnTo>
                <a:lnTo>
                  <a:pt x="1056" y="2028"/>
                </a:lnTo>
                <a:lnTo>
                  <a:pt x="1050" y="2028"/>
                </a:lnTo>
                <a:lnTo>
                  <a:pt x="1050" y="2034"/>
                </a:lnTo>
                <a:lnTo>
                  <a:pt x="1044" y="2034"/>
                </a:lnTo>
                <a:lnTo>
                  <a:pt x="1044" y="2040"/>
                </a:lnTo>
                <a:lnTo>
                  <a:pt x="1044" y="2058"/>
                </a:lnTo>
                <a:lnTo>
                  <a:pt x="1038" y="2058"/>
                </a:lnTo>
                <a:lnTo>
                  <a:pt x="1038" y="2064"/>
                </a:lnTo>
                <a:lnTo>
                  <a:pt x="1038" y="2070"/>
                </a:lnTo>
                <a:lnTo>
                  <a:pt x="1032" y="2076"/>
                </a:lnTo>
                <a:lnTo>
                  <a:pt x="1032" y="2082"/>
                </a:lnTo>
                <a:lnTo>
                  <a:pt x="1026" y="2088"/>
                </a:lnTo>
                <a:lnTo>
                  <a:pt x="1020" y="2094"/>
                </a:lnTo>
                <a:lnTo>
                  <a:pt x="1014" y="2094"/>
                </a:lnTo>
                <a:lnTo>
                  <a:pt x="1002" y="2100"/>
                </a:lnTo>
                <a:lnTo>
                  <a:pt x="996" y="2100"/>
                </a:lnTo>
                <a:lnTo>
                  <a:pt x="996" y="2106"/>
                </a:lnTo>
                <a:lnTo>
                  <a:pt x="996" y="2112"/>
                </a:lnTo>
                <a:lnTo>
                  <a:pt x="990" y="2118"/>
                </a:lnTo>
                <a:lnTo>
                  <a:pt x="990" y="2124"/>
                </a:lnTo>
                <a:lnTo>
                  <a:pt x="990" y="2130"/>
                </a:lnTo>
                <a:lnTo>
                  <a:pt x="990" y="2136"/>
                </a:lnTo>
                <a:lnTo>
                  <a:pt x="984" y="2142"/>
                </a:lnTo>
                <a:lnTo>
                  <a:pt x="984" y="2148"/>
                </a:lnTo>
                <a:lnTo>
                  <a:pt x="984" y="2154"/>
                </a:lnTo>
                <a:lnTo>
                  <a:pt x="984" y="2166"/>
                </a:lnTo>
                <a:lnTo>
                  <a:pt x="978" y="2166"/>
                </a:lnTo>
                <a:lnTo>
                  <a:pt x="972" y="2172"/>
                </a:lnTo>
                <a:lnTo>
                  <a:pt x="966" y="2178"/>
                </a:lnTo>
                <a:lnTo>
                  <a:pt x="960" y="2178"/>
                </a:lnTo>
                <a:lnTo>
                  <a:pt x="954" y="2178"/>
                </a:lnTo>
                <a:lnTo>
                  <a:pt x="954" y="2172"/>
                </a:lnTo>
                <a:lnTo>
                  <a:pt x="948" y="2172"/>
                </a:lnTo>
                <a:lnTo>
                  <a:pt x="942" y="2166"/>
                </a:lnTo>
                <a:lnTo>
                  <a:pt x="942" y="2160"/>
                </a:lnTo>
                <a:lnTo>
                  <a:pt x="936" y="2160"/>
                </a:lnTo>
                <a:lnTo>
                  <a:pt x="930" y="2160"/>
                </a:lnTo>
                <a:lnTo>
                  <a:pt x="930" y="2154"/>
                </a:lnTo>
                <a:lnTo>
                  <a:pt x="924" y="2154"/>
                </a:lnTo>
                <a:lnTo>
                  <a:pt x="918" y="2154"/>
                </a:lnTo>
                <a:lnTo>
                  <a:pt x="924" y="2154"/>
                </a:lnTo>
                <a:lnTo>
                  <a:pt x="918" y="2154"/>
                </a:lnTo>
                <a:lnTo>
                  <a:pt x="918" y="2148"/>
                </a:lnTo>
                <a:lnTo>
                  <a:pt x="918" y="2154"/>
                </a:lnTo>
                <a:lnTo>
                  <a:pt x="912" y="2148"/>
                </a:lnTo>
                <a:lnTo>
                  <a:pt x="906" y="2148"/>
                </a:lnTo>
                <a:lnTo>
                  <a:pt x="906" y="2154"/>
                </a:lnTo>
                <a:lnTo>
                  <a:pt x="900" y="2154"/>
                </a:lnTo>
                <a:lnTo>
                  <a:pt x="894" y="2154"/>
                </a:lnTo>
                <a:lnTo>
                  <a:pt x="888" y="2154"/>
                </a:lnTo>
                <a:lnTo>
                  <a:pt x="882" y="2160"/>
                </a:lnTo>
                <a:lnTo>
                  <a:pt x="876" y="2160"/>
                </a:lnTo>
                <a:lnTo>
                  <a:pt x="876" y="2166"/>
                </a:lnTo>
                <a:lnTo>
                  <a:pt x="870" y="2166"/>
                </a:lnTo>
                <a:lnTo>
                  <a:pt x="864" y="2166"/>
                </a:lnTo>
                <a:lnTo>
                  <a:pt x="858" y="2166"/>
                </a:lnTo>
                <a:lnTo>
                  <a:pt x="858" y="2172"/>
                </a:lnTo>
                <a:lnTo>
                  <a:pt x="858" y="2166"/>
                </a:lnTo>
                <a:lnTo>
                  <a:pt x="852" y="2172"/>
                </a:lnTo>
                <a:lnTo>
                  <a:pt x="852" y="2166"/>
                </a:lnTo>
                <a:lnTo>
                  <a:pt x="846" y="2166"/>
                </a:lnTo>
                <a:lnTo>
                  <a:pt x="846" y="2172"/>
                </a:lnTo>
                <a:lnTo>
                  <a:pt x="846" y="2166"/>
                </a:lnTo>
                <a:lnTo>
                  <a:pt x="846" y="2172"/>
                </a:lnTo>
                <a:lnTo>
                  <a:pt x="840" y="2172"/>
                </a:lnTo>
                <a:lnTo>
                  <a:pt x="834" y="2172"/>
                </a:lnTo>
                <a:lnTo>
                  <a:pt x="828" y="2172"/>
                </a:lnTo>
                <a:lnTo>
                  <a:pt x="828" y="2166"/>
                </a:lnTo>
                <a:lnTo>
                  <a:pt x="822" y="2166"/>
                </a:lnTo>
                <a:lnTo>
                  <a:pt x="822" y="2172"/>
                </a:lnTo>
                <a:lnTo>
                  <a:pt x="816" y="2172"/>
                </a:lnTo>
                <a:lnTo>
                  <a:pt x="816" y="2166"/>
                </a:lnTo>
                <a:lnTo>
                  <a:pt x="810" y="2166"/>
                </a:lnTo>
                <a:lnTo>
                  <a:pt x="810" y="2160"/>
                </a:lnTo>
                <a:lnTo>
                  <a:pt x="810" y="2154"/>
                </a:lnTo>
                <a:lnTo>
                  <a:pt x="810" y="2148"/>
                </a:lnTo>
                <a:lnTo>
                  <a:pt x="804" y="2148"/>
                </a:lnTo>
                <a:lnTo>
                  <a:pt x="810" y="2142"/>
                </a:lnTo>
                <a:lnTo>
                  <a:pt x="810" y="2136"/>
                </a:lnTo>
                <a:lnTo>
                  <a:pt x="804" y="2136"/>
                </a:lnTo>
                <a:lnTo>
                  <a:pt x="804" y="2130"/>
                </a:lnTo>
                <a:lnTo>
                  <a:pt x="804" y="2124"/>
                </a:lnTo>
                <a:lnTo>
                  <a:pt x="798" y="2124"/>
                </a:lnTo>
                <a:lnTo>
                  <a:pt x="798" y="2118"/>
                </a:lnTo>
                <a:lnTo>
                  <a:pt x="798" y="2112"/>
                </a:lnTo>
                <a:lnTo>
                  <a:pt x="792" y="2112"/>
                </a:lnTo>
                <a:lnTo>
                  <a:pt x="792" y="2106"/>
                </a:lnTo>
                <a:lnTo>
                  <a:pt x="792" y="2100"/>
                </a:lnTo>
                <a:lnTo>
                  <a:pt x="798" y="2094"/>
                </a:lnTo>
                <a:lnTo>
                  <a:pt x="798" y="2088"/>
                </a:lnTo>
                <a:lnTo>
                  <a:pt x="798" y="2082"/>
                </a:lnTo>
                <a:lnTo>
                  <a:pt x="792" y="2082"/>
                </a:lnTo>
                <a:lnTo>
                  <a:pt x="792" y="2076"/>
                </a:lnTo>
                <a:lnTo>
                  <a:pt x="798" y="2076"/>
                </a:lnTo>
                <a:lnTo>
                  <a:pt x="792" y="2076"/>
                </a:lnTo>
                <a:lnTo>
                  <a:pt x="792" y="2070"/>
                </a:lnTo>
                <a:lnTo>
                  <a:pt x="798" y="2070"/>
                </a:lnTo>
                <a:lnTo>
                  <a:pt x="792" y="2070"/>
                </a:lnTo>
                <a:lnTo>
                  <a:pt x="798" y="2070"/>
                </a:lnTo>
                <a:lnTo>
                  <a:pt x="798" y="2064"/>
                </a:lnTo>
                <a:lnTo>
                  <a:pt x="792" y="2064"/>
                </a:lnTo>
                <a:lnTo>
                  <a:pt x="792" y="2058"/>
                </a:lnTo>
                <a:lnTo>
                  <a:pt x="786" y="2058"/>
                </a:lnTo>
                <a:lnTo>
                  <a:pt x="786" y="2052"/>
                </a:lnTo>
                <a:lnTo>
                  <a:pt x="786" y="2046"/>
                </a:lnTo>
                <a:lnTo>
                  <a:pt x="780" y="2046"/>
                </a:lnTo>
                <a:lnTo>
                  <a:pt x="780" y="2040"/>
                </a:lnTo>
                <a:lnTo>
                  <a:pt x="786" y="2040"/>
                </a:lnTo>
                <a:lnTo>
                  <a:pt x="780" y="2034"/>
                </a:lnTo>
                <a:lnTo>
                  <a:pt x="780" y="2028"/>
                </a:lnTo>
                <a:lnTo>
                  <a:pt x="780" y="2022"/>
                </a:lnTo>
                <a:lnTo>
                  <a:pt x="780" y="2016"/>
                </a:lnTo>
                <a:lnTo>
                  <a:pt x="780" y="2010"/>
                </a:lnTo>
                <a:lnTo>
                  <a:pt x="786" y="2010"/>
                </a:lnTo>
                <a:lnTo>
                  <a:pt x="786" y="2004"/>
                </a:lnTo>
                <a:lnTo>
                  <a:pt x="786" y="1998"/>
                </a:lnTo>
                <a:lnTo>
                  <a:pt x="786" y="1992"/>
                </a:lnTo>
                <a:lnTo>
                  <a:pt x="780" y="1992"/>
                </a:lnTo>
                <a:lnTo>
                  <a:pt x="780" y="1986"/>
                </a:lnTo>
                <a:lnTo>
                  <a:pt x="774" y="1986"/>
                </a:lnTo>
                <a:lnTo>
                  <a:pt x="774" y="1980"/>
                </a:lnTo>
                <a:lnTo>
                  <a:pt x="768" y="1974"/>
                </a:lnTo>
                <a:lnTo>
                  <a:pt x="768" y="1968"/>
                </a:lnTo>
                <a:lnTo>
                  <a:pt x="768" y="1962"/>
                </a:lnTo>
                <a:lnTo>
                  <a:pt x="762" y="1962"/>
                </a:lnTo>
                <a:lnTo>
                  <a:pt x="762" y="1956"/>
                </a:lnTo>
                <a:lnTo>
                  <a:pt x="756" y="1956"/>
                </a:lnTo>
                <a:lnTo>
                  <a:pt x="756" y="1950"/>
                </a:lnTo>
                <a:lnTo>
                  <a:pt x="750" y="1950"/>
                </a:lnTo>
                <a:lnTo>
                  <a:pt x="744" y="1944"/>
                </a:lnTo>
                <a:lnTo>
                  <a:pt x="744" y="1950"/>
                </a:lnTo>
                <a:lnTo>
                  <a:pt x="744" y="1944"/>
                </a:lnTo>
                <a:lnTo>
                  <a:pt x="744" y="1950"/>
                </a:lnTo>
                <a:lnTo>
                  <a:pt x="738" y="1950"/>
                </a:lnTo>
                <a:lnTo>
                  <a:pt x="738" y="1944"/>
                </a:lnTo>
                <a:lnTo>
                  <a:pt x="732" y="1950"/>
                </a:lnTo>
                <a:lnTo>
                  <a:pt x="726" y="1944"/>
                </a:lnTo>
                <a:lnTo>
                  <a:pt x="726" y="1950"/>
                </a:lnTo>
                <a:lnTo>
                  <a:pt x="720" y="1950"/>
                </a:lnTo>
                <a:lnTo>
                  <a:pt x="720" y="1944"/>
                </a:lnTo>
                <a:lnTo>
                  <a:pt x="720" y="1950"/>
                </a:lnTo>
                <a:lnTo>
                  <a:pt x="714" y="1950"/>
                </a:lnTo>
                <a:lnTo>
                  <a:pt x="714" y="1944"/>
                </a:lnTo>
                <a:lnTo>
                  <a:pt x="708" y="1944"/>
                </a:lnTo>
                <a:lnTo>
                  <a:pt x="708" y="1950"/>
                </a:lnTo>
                <a:lnTo>
                  <a:pt x="708" y="1944"/>
                </a:lnTo>
                <a:lnTo>
                  <a:pt x="702" y="1944"/>
                </a:lnTo>
                <a:lnTo>
                  <a:pt x="702" y="1938"/>
                </a:lnTo>
                <a:lnTo>
                  <a:pt x="696" y="1944"/>
                </a:lnTo>
                <a:lnTo>
                  <a:pt x="696" y="1938"/>
                </a:lnTo>
                <a:lnTo>
                  <a:pt x="690" y="1938"/>
                </a:lnTo>
                <a:lnTo>
                  <a:pt x="690" y="1932"/>
                </a:lnTo>
                <a:lnTo>
                  <a:pt x="684" y="1932"/>
                </a:lnTo>
                <a:lnTo>
                  <a:pt x="684" y="1926"/>
                </a:lnTo>
                <a:lnTo>
                  <a:pt x="684" y="1920"/>
                </a:lnTo>
                <a:lnTo>
                  <a:pt x="678" y="1920"/>
                </a:lnTo>
                <a:lnTo>
                  <a:pt x="672" y="1920"/>
                </a:lnTo>
                <a:lnTo>
                  <a:pt x="666" y="1926"/>
                </a:lnTo>
                <a:lnTo>
                  <a:pt x="666" y="1932"/>
                </a:lnTo>
                <a:lnTo>
                  <a:pt x="660" y="1932"/>
                </a:lnTo>
                <a:lnTo>
                  <a:pt x="660" y="1938"/>
                </a:lnTo>
                <a:lnTo>
                  <a:pt x="654" y="1938"/>
                </a:lnTo>
                <a:lnTo>
                  <a:pt x="654" y="1944"/>
                </a:lnTo>
                <a:lnTo>
                  <a:pt x="648" y="1944"/>
                </a:lnTo>
                <a:lnTo>
                  <a:pt x="648" y="1938"/>
                </a:lnTo>
                <a:lnTo>
                  <a:pt x="642" y="1938"/>
                </a:lnTo>
                <a:lnTo>
                  <a:pt x="642" y="1944"/>
                </a:lnTo>
                <a:lnTo>
                  <a:pt x="636" y="1944"/>
                </a:lnTo>
                <a:lnTo>
                  <a:pt x="630" y="1944"/>
                </a:lnTo>
                <a:lnTo>
                  <a:pt x="630" y="1950"/>
                </a:lnTo>
                <a:lnTo>
                  <a:pt x="624" y="1950"/>
                </a:lnTo>
                <a:lnTo>
                  <a:pt x="618" y="1944"/>
                </a:lnTo>
                <a:lnTo>
                  <a:pt x="612" y="1944"/>
                </a:lnTo>
                <a:lnTo>
                  <a:pt x="606" y="1944"/>
                </a:lnTo>
                <a:lnTo>
                  <a:pt x="606" y="1938"/>
                </a:lnTo>
                <a:lnTo>
                  <a:pt x="606" y="1944"/>
                </a:lnTo>
                <a:lnTo>
                  <a:pt x="600" y="1938"/>
                </a:lnTo>
                <a:lnTo>
                  <a:pt x="600" y="1944"/>
                </a:lnTo>
                <a:lnTo>
                  <a:pt x="600" y="1938"/>
                </a:lnTo>
                <a:lnTo>
                  <a:pt x="594" y="1938"/>
                </a:lnTo>
                <a:lnTo>
                  <a:pt x="594" y="1944"/>
                </a:lnTo>
                <a:lnTo>
                  <a:pt x="588" y="1944"/>
                </a:lnTo>
                <a:lnTo>
                  <a:pt x="588" y="1938"/>
                </a:lnTo>
                <a:lnTo>
                  <a:pt x="582" y="1938"/>
                </a:lnTo>
                <a:lnTo>
                  <a:pt x="582" y="1944"/>
                </a:lnTo>
                <a:lnTo>
                  <a:pt x="582" y="1938"/>
                </a:lnTo>
                <a:lnTo>
                  <a:pt x="576" y="1938"/>
                </a:lnTo>
                <a:lnTo>
                  <a:pt x="576" y="1944"/>
                </a:lnTo>
                <a:lnTo>
                  <a:pt x="570" y="1944"/>
                </a:lnTo>
                <a:lnTo>
                  <a:pt x="570" y="1938"/>
                </a:lnTo>
                <a:lnTo>
                  <a:pt x="570" y="1944"/>
                </a:lnTo>
                <a:lnTo>
                  <a:pt x="570" y="1938"/>
                </a:lnTo>
                <a:lnTo>
                  <a:pt x="564" y="1938"/>
                </a:lnTo>
                <a:lnTo>
                  <a:pt x="564" y="1944"/>
                </a:lnTo>
                <a:lnTo>
                  <a:pt x="558" y="1944"/>
                </a:lnTo>
                <a:lnTo>
                  <a:pt x="558" y="1938"/>
                </a:lnTo>
                <a:lnTo>
                  <a:pt x="558" y="1944"/>
                </a:lnTo>
                <a:lnTo>
                  <a:pt x="558" y="1938"/>
                </a:lnTo>
                <a:lnTo>
                  <a:pt x="552" y="1938"/>
                </a:lnTo>
                <a:lnTo>
                  <a:pt x="558" y="1938"/>
                </a:lnTo>
                <a:lnTo>
                  <a:pt x="552" y="1938"/>
                </a:lnTo>
                <a:lnTo>
                  <a:pt x="546" y="1938"/>
                </a:lnTo>
                <a:lnTo>
                  <a:pt x="546" y="1932"/>
                </a:lnTo>
                <a:lnTo>
                  <a:pt x="546" y="1938"/>
                </a:lnTo>
                <a:lnTo>
                  <a:pt x="546" y="1932"/>
                </a:lnTo>
                <a:lnTo>
                  <a:pt x="546" y="1938"/>
                </a:lnTo>
                <a:lnTo>
                  <a:pt x="546" y="1932"/>
                </a:lnTo>
                <a:lnTo>
                  <a:pt x="540" y="1938"/>
                </a:lnTo>
                <a:lnTo>
                  <a:pt x="540" y="1932"/>
                </a:lnTo>
                <a:lnTo>
                  <a:pt x="534" y="1932"/>
                </a:lnTo>
                <a:lnTo>
                  <a:pt x="528" y="1932"/>
                </a:lnTo>
                <a:lnTo>
                  <a:pt x="528" y="1926"/>
                </a:lnTo>
                <a:lnTo>
                  <a:pt x="528" y="1932"/>
                </a:lnTo>
                <a:lnTo>
                  <a:pt x="528" y="1926"/>
                </a:lnTo>
                <a:lnTo>
                  <a:pt x="522" y="1926"/>
                </a:lnTo>
                <a:lnTo>
                  <a:pt x="528" y="1926"/>
                </a:lnTo>
                <a:lnTo>
                  <a:pt x="522" y="1926"/>
                </a:lnTo>
                <a:lnTo>
                  <a:pt x="528" y="1926"/>
                </a:lnTo>
                <a:lnTo>
                  <a:pt x="522" y="1920"/>
                </a:lnTo>
                <a:lnTo>
                  <a:pt x="522" y="1926"/>
                </a:lnTo>
                <a:lnTo>
                  <a:pt x="516" y="1926"/>
                </a:lnTo>
                <a:lnTo>
                  <a:pt x="516" y="1920"/>
                </a:lnTo>
                <a:lnTo>
                  <a:pt x="510" y="1920"/>
                </a:lnTo>
                <a:lnTo>
                  <a:pt x="510" y="1926"/>
                </a:lnTo>
                <a:lnTo>
                  <a:pt x="504" y="1926"/>
                </a:lnTo>
                <a:lnTo>
                  <a:pt x="498" y="1932"/>
                </a:lnTo>
                <a:lnTo>
                  <a:pt x="498" y="1926"/>
                </a:lnTo>
                <a:lnTo>
                  <a:pt x="492" y="1926"/>
                </a:lnTo>
                <a:lnTo>
                  <a:pt x="486" y="1926"/>
                </a:lnTo>
                <a:lnTo>
                  <a:pt x="480" y="1920"/>
                </a:lnTo>
                <a:lnTo>
                  <a:pt x="474" y="1920"/>
                </a:lnTo>
                <a:lnTo>
                  <a:pt x="474" y="1914"/>
                </a:lnTo>
                <a:lnTo>
                  <a:pt x="480" y="1914"/>
                </a:lnTo>
                <a:lnTo>
                  <a:pt x="480" y="1908"/>
                </a:lnTo>
                <a:lnTo>
                  <a:pt x="480" y="1902"/>
                </a:lnTo>
                <a:lnTo>
                  <a:pt x="480" y="1896"/>
                </a:lnTo>
                <a:lnTo>
                  <a:pt x="486" y="1896"/>
                </a:lnTo>
                <a:lnTo>
                  <a:pt x="480" y="1890"/>
                </a:lnTo>
                <a:lnTo>
                  <a:pt x="486" y="1890"/>
                </a:lnTo>
                <a:lnTo>
                  <a:pt x="486" y="1884"/>
                </a:lnTo>
                <a:lnTo>
                  <a:pt x="486" y="1878"/>
                </a:lnTo>
                <a:lnTo>
                  <a:pt x="480" y="1878"/>
                </a:lnTo>
                <a:lnTo>
                  <a:pt x="486" y="1872"/>
                </a:lnTo>
                <a:lnTo>
                  <a:pt x="492" y="1872"/>
                </a:lnTo>
                <a:lnTo>
                  <a:pt x="486" y="1866"/>
                </a:lnTo>
                <a:lnTo>
                  <a:pt x="480" y="1860"/>
                </a:lnTo>
                <a:lnTo>
                  <a:pt x="486" y="1860"/>
                </a:lnTo>
                <a:lnTo>
                  <a:pt x="486" y="1854"/>
                </a:lnTo>
                <a:lnTo>
                  <a:pt x="480" y="1854"/>
                </a:lnTo>
                <a:lnTo>
                  <a:pt x="480" y="1848"/>
                </a:lnTo>
                <a:lnTo>
                  <a:pt x="486" y="1842"/>
                </a:lnTo>
                <a:lnTo>
                  <a:pt x="486" y="1836"/>
                </a:lnTo>
                <a:lnTo>
                  <a:pt x="486" y="1830"/>
                </a:lnTo>
                <a:lnTo>
                  <a:pt x="492" y="1824"/>
                </a:lnTo>
                <a:lnTo>
                  <a:pt x="486" y="1818"/>
                </a:lnTo>
                <a:lnTo>
                  <a:pt x="492" y="1812"/>
                </a:lnTo>
                <a:lnTo>
                  <a:pt x="492" y="1806"/>
                </a:lnTo>
                <a:lnTo>
                  <a:pt x="492" y="1800"/>
                </a:lnTo>
                <a:lnTo>
                  <a:pt x="492" y="1794"/>
                </a:lnTo>
                <a:lnTo>
                  <a:pt x="492" y="1788"/>
                </a:lnTo>
                <a:lnTo>
                  <a:pt x="492" y="1782"/>
                </a:lnTo>
                <a:lnTo>
                  <a:pt x="498" y="1782"/>
                </a:lnTo>
                <a:lnTo>
                  <a:pt x="498" y="1776"/>
                </a:lnTo>
                <a:lnTo>
                  <a:pt x="498" y="1770"/>
                </a:lnTo>
                <a:lnTo>
                  <a:pt x="492" y="1776"/>
                </a:lnTo>
                <a:lnTo>
                  <a:pt x="492" y="1770"/>
                </a:lnTo>
                <a:lnTo>
                  <a:pt x="486" y="1770"/>
                </a:lnTo>
                <a:lnTo>
                  <a:pt x="486" y="1764"/>
                </a:lnTo>
                <a:lnTo>
                  <a:pt x="492" y="1758"/>
                </a:lnTo>
                <a:lnTo>
                  <a:pt x="486" y="1752"/>
                </a:lnTo>
                <a:lnTo>
                  <a:pt x="480" y="1752"/>
                </a:lnTo>
                <a:lnTo>
                  <a:pt x="480" y="1746"/>
                </a:lnTo>
                <a:lnTo>
                  <a:pt x="486" y="1746"/>
                </a:lnTo>
                <a:lnTo>
                  <a:pt x="492" y="1746"/>
                </a:lnTo>
                <a:lnTo>
                  <a:pt x="486" y="1740"/>
                </a:lnTo>
                <a:lnTo>
                  <a:pt x="486" y="1734"/>
                </a:lnTo>
                <a:lnTo>
                  <a:pt x="480" y="1740"/>
                </a:lnTo>
                <a:lnTo>
                  <a:pt x="474" y="1740"/>
                </a:lnTo>
                <a:lnTo>
                  <a:pt x="480" y="1734"/>
                </a:lnTo>
                <a:lnTo>
                  <a:pt x="474" y="1734"/>
                </a:lnTo>
                <a:lnTo>
                  <a:pt x="474" y="1728"/>
                </a:lnTo>
                <a:lnTo>
                  <a:pt x="474" y="1722"/>
                </a:lnTo>
                <a:lnTo>
                  <a:pt x="474" y="1716"/>
                </a:lnTo>
                <a:lnTo>
                  <a:pt x="474" y="1710"/>
                </a:lnTo>
                <a:lnTo>
                  <a:pt x="474" y="1704"/>
                </a:lnTo>
                <a:lnTo>
                  <a:pt x="468" y="1704"/>
                </a:lnTo>
                <a:lnTo>
                  <a:pt x="462" y="1698"/>
                </a:lnTo>
                <a:lnTo>
                  <a:pt x="462" y="1692"/>
                </a:lnTo>
                <a:lnTo>
                  <a:pt x="462" y="1686"/>
                </a:lnTo>
                <a:lnTo>
                  <a:pt x="462" y="1680"/>
                </a:lnTo>
                <a:lnTo>
                  <a:pt x="456" y="1680"/>
                </a:lnTo>
                <a:lnTo>
                  <a:pt x="456" y="1686"/>
                </a:lnTo>
                <a:lnTo>
                  <a:pt x="450" y="1680"/>
                </a:lnTo>
                <a:lnTo>
                  <a:pt x="456" y="1680"/>
                </a:lnTo>
                <a:lnTo>
                  <a:pt x="456" y="1674"/>
                </a:lnTo>
                <a:lnTo>
                  <a:pt x="450" y="1674"/>
                </a:lnTo>
                <a:lnTo>
                  <a:pt x="456" y="1674"/>
                </a:lnTo>
                <a:lnTo>
                  <a:pt x="456" y="1668"/>
                </a:lnTo>
                <a:lnTo>
                  <a:pt x="462" y="1668"/>
                </a:lnTo>
                <a:lnTo>
                  <a:pt x="462" y="1662"/>
                </a:lnTo>
                <a:lnTo>
                  <a:pt x="468" y="1662"/>
                </a:lnTo>
                <a:lnTo>
                  <a:pt x="468" y="1656"/>
                </a:lnTo>
                <a:lnTo>
                  <a:pt x="474" y="1656"/>
                </a:lnTo>
                <a:lnTo>
                  <a:pt x="480" y="1656"/>
                </a:lnTo>
                <a:lnTo>
                  <a:pt x="480" y="1650"/>
                </a:lnTo>
                <a:lnTo>
                  <a:pt x="486" y="1656"/>
                </a:lnTo>
                <a:lnTo>
                  <a:pt x="492" y="1650"/>
                </a:lnTo>
                <a:lnTo>
                  <a:pt x="492" y="1644"/>
                </a:lnTo>
                <a:lnTo>
                  <a:pt x="456" y="1620"/>
                </a:lnTo>
                <a:lnTo>
                  <a:pt x="468" y="1590"/>
                </a:lnTo>
                <a:lnTo>
                  <a:pt x="492" y="1554"/>
                </a:lnTo>
                <a:lnTo>
                  <a:pt x="504" y="1524"/>
                </a:lnTo>
                <a:lnTo>
                  <a:pt x="510" y="1524"/>
                </a:lnTo>
                <a:lnTo>
                  <a:pt x="516" y="1524"/>
                </a:lnTo>
                <a:lnTo>
                  <a:pt x="516" y="1518"/>
                </a:lnTo>
                <a:lnTo>
                  <a:pt x="510" y="1518"/>
                </a:lnTo>
                <a:lnTo>
                  <a:pt x="510" y="1506"/>
                </a:lnTo>
                <a:lnTo>
                  <a:pt x="504" y="1506"/>
                </a:lnTo>
                <a:lnTo>
                  <a:pt x="534" y="1422"/>
                </a:lnTo>
                <a:lnTo>
                  <a:pt x="546" y="1422"/>
                </a:lnTo>
                <a:lnTo>
                  <a:pt x="546" y="1416"/>
                </a:lnTo>
                <a:lnTo>
                  <a:pt x="540" y="1416"/>
                </a:lnTo>
                <a:lnTo>
                  <a:pt x="528" y="1404"/>
                </a:lnTo>
                <a:lnTo>
                  <a:pt x="528" y="1398"/>
                </a:lnTo>
                <a:lnTo>
                  <a:pt x="510" y="1368"/>
                </a:lnTo>
                <a:lnTo>
                  <a:pt x="516" y="1368"/>
                </a:lnTo>
                <a:lnTo>
                  <a:pt x="516" y="1362"/>
                </a:lnTo>
                <a:lnTo>
                  <a:pt x="510" y="1362"/>
                </a:lnTo>
                <a:lnTo>
                  <a:pt x="510" y="1356"/>
                </a:lnTo>
                <a:lnTo>
                  <a:pt x="510" y="1350"/>
                </a:lnTo>
                <a:lnTo>
                  <a:pt x="504" y="1344"/>
                </a:lnTo>
                <a:lnTo>
                  <a:pt x="504" y="1338"/>
                </a:lnTo>
                <a:lnTo>
                  <a:pt x="504" y="1332"/>
                </a:lnTo>
                <a:lnTo>
                  <a:pt x="498" y="1332"/>
                </a:lnTo>
                <a:lnTo>
                  <a:pt x="504" y="1332"/>
                </a:lnTo>
                <a:lnTo>
                  <a:pt x="492" y="1320"/>
                </a:lnTo>
                <a:lnTo>
                  <a:pt x="474" y="1326"/>
                </a:lnTo>
                <a:lnTo>
                  <a:pt x="468" y="1326"/>
                </a:lnTo>
                <a:lnTo>
                  <a:pt x="468" y="1320"/>
                </a:lnTo>
                <a:lnTo>
                  <a:pt x="462" y="1320"/>
                </a:lnTo>
                <a:lnTo>
                  <a:pt x="456" y="1320"/>
                </a:lnTo>
                <a:lnTo>
                  <a:pt x="456" y="1314"/>
                </a:lnTo>
                <a:lnTo>
                  <a:pt x="456" y="1308"/>
                </a:lnTo>
                <a:lnTo>
                  <a:pt x="450" y="1308"/>
                </a:lnTo>
                <a:lnTo>
                  <a:pt x="444" y="1308"/>
                </a:lnTo>
                <a:lnTo>
                  <a:pt x="444" y="1302"/>
                </a:lnTo>
                <a:lnTo>
                  <a:pt x="444" y="1308"/>
                </a:lnTo>
                <a:lnTo>
                  <a:pt x="444" y="1302"/>
                </a:lnTo>
                <a:lnTo>
                  <a:pt x="444" y="1308"/>
                </a:lnTo>
                <a:lnTo>
                  <a:pt x="438" y="1302"/>
                </a:lnTo>
                <a:lnTo>
                  <a:pt x="438" y="1296"/>
                </a:lnTo>
                <a:lnTo>
                  <a:pt x="432" y="1296"/>
                </a:lnTo>
                <a:lnTo>
                  <a:pt x="432" y="1290"/>
                </a:lnTo>
                <a:lnTo>
                  <a:pt x="426" y="1290"/>
                </a:lnTo>
                <a:lnTo>
                  <a:pt x="426" y="1284"/>
                </a:lnTo>
                <a:lnTo>
                  <a:pt x="420" y="1284"/>
                </a:lnTo>
                <a:lnTo>
                  <a:pt x="420" y="1278"/>
                </a:lnTo>
                <a:lnTo>
                  <a:pt x="426" y="1272"/>
                </a:lnTo>
                <a:lnTo>
                  <a:pt x="420" y="1272"/>
                </a:lnTo>
                <a:lnTo>
                  <a:pt x="420" y="1266"/>
                </a:lnTo>
                <a:lnTo>
                  <a:pt x="420" y="1260"/>
                </a:lnTo>
                <a:lnTo>
                  <a:pt x="414" y="1254"/>
                </a:lnTo>
                <a:lnTo>
                  <a:pt x="414" y="1248"/>
                </a:lnTo>
                <a:lnTo>
                  <a:pt x="414" y="1242"/>
                </a:lnTo>
                <a:lnTo>
                  <a:pt x="414" y="1236"/>
                </a:lnTo>
                <a:lnTo>
                  <a:pt x="414" y="1230"/>
                </a:lnTo>
                <a:lnTo>
                  <a:pt x="414" y="1224"/>
                </a:lnTo>
                <a:lnTo>
                  <a:pt x="414" y="1218"/>
                </a:lnTo>
                <a:lnTo>
                  <a:pt x="414" y="1212"/>
                </a:lnTo>
                <a:lnTo>
                  <a:pt x="420" y="1206"/>
                </a:lnTo>
                <a:lnTo>
                  <a:pt x="426" y="1200"/>
                </a:lnTo>
                <a:lnTo>
                  <a:pt x="432" y="1194"/>
                </a:lnTo>
                <a:lnTo>
                  <a:pt x="432" y="1188"/>
                </a:lnTo>
                <a:lnTo>
                  <a:pt x="426" y="1182"/>
                </a:lnTo>
                <a:lnTo>
                  <a:pt x="432" y="1182"/>
                </a:lnTo>
                <a:lnTo>
                  <a:pt x="432" y="1176"/>
                </a:lnTo>
                <a:lnTo>
                  <a:pt x="432" y="1170"/>
                </a:lnTo>
                <a:lnTo>
                  <a:pt x="432" y="1164"/>
                </a:lnTo>
                <a:lnTo>
                  <a:pt x="426" y="1164"/>
                </a:lnTo>
                <a:lnTo>
                  <a:pt x="426" y="1170"/>
                </a:lnTo>
                <a:lnTo>
                  <a:pt x="420" y="1170"/>
                </a:lnTo>
                <a:lnTo>
                  <a:pt x="372" y="1170"/>
                </a:lnTo>
                <a:lnTo>
                  <a:pt x="282" y="1164"/>
                </a:lnTo>
                <a:lnTo>
                  <a:pt x="192" y="1164"/>
                </a:lnTo>
                <a:lnTo>
                  <a:pt x="186" y="1116"/>
                </a:lnTo>
                <a:lnTo>
                  <a:pt x="180" y="1062"/>
                </a:lnTo>
                <a:lnTo>
                  <a:pt x="138" y="1014"/>
                </a:lnTo>
                <a:lnTo>
                  <a:pt x="150" y="1014"/>
                </a:lnTo>
                <a:lnTo>
                  <a:pt x="180" y="1014"/>
                </a:lnTo>
                <a:lnTo>
                  <a:pt x="180" y="948"/>
                </a:lnTo>
                <a:lnTo>
                  <a:pt x="174" y="948"/>
                </a:lnTo>
                <a:lnTo>
                  <a:pt x="174" y="942"/>
                </a:lnTo>
                <a:lnTo>
                  <a:pt x="168" y="942"/>
                </a:lnTo>
                <a:lnTo>
                  <a:pt x="174" y="942"/>
                </a:lnTo>
                <a:lnTo>
                  <a:pt x="168" y="942"/>
                </a:lnTo>
                <a:lnTo>
                  <a:pt x="168" y="936"/>
                </a:lnTo>
                <a:lnTo>
                  <a:pt x="168" y="930"/>
                </a:lnTo>
                <a:lnTo>
                  <a:pt x="162" y="930"/>
                </a:lnTo>
                <a:lnTo>
                  <a:pt x="162" y="924"/>
                </a:lnTo>
                <a:lnTo>
                  <a:pt x="162" y="918"/>
                </a:lnTo>
                <a:lnTo>
                  <a:pt x="162" y="912"/>
                </a:lnTo>
                <a:lnTo>
                  <a:pt x="162" y="918"/>
                </a:lnTo>
                <a:lnTo>
                  <a:pt x="162" y="912"/>
                </a:lnTo>
                <a:lnTo>
                  <a:pt x="156" y="912"/>
                </a:lnTo>
                <a:lnTo>
                  <a:pt x="156" y="906"/>
                </a:lnTo>
                <a:lnTo>
                  <a:pt x="156" y="900"/>
                </a:lnTo>
                <a:lnTo>
                  <a:pt x="150" y="894"/>
                </a:lnTo>
                <a:lnTo>
                  <a:pt x="156" y="894"/>
                </a:lnTo>
                <a:lnTo>
                  <a:pt x="150" y="894"/>
                </a:lnTo>
                <a:lnTo>
                  <a:pt x="150" y="888"/>
                </a:lnTo>
                <a:lnTo>
                  <a:pt x="150" y="882"/>
                </a:lnTo>
                <a:lnTo>
                  <a:pt x="156" y="882"/>
                </a:lnTo>
                <a:lnTo>
                  <a:pt x="156" y="876"/>
                </a:lnTo>
                <a:lnTo>
                  <a:pt x="162" y="870"/>
                </a:lnTo>
                <a:lnTo>
                  <a:pt x="162" y="864"/>
                </a:lnTo>
                <a:lnTo>
                  <a:pt x="156" y="864"/>
                </a:lnTo>
                <a:lnTo>
                  <a:pt x="162" y="864"/>
                </a:lnTo>
                <a:lnTo>
                  <a:pt x="162" y="858"/>
                </a:lnTo>
                <a:lnTo>
                  <a:pt x="156" y="858"/>
                </a:lnTo>
                <a:lnTo>
                  <a:pt x="156" y="864"/>
                </a:lnTo>
                <a:lnTo>
                  <a:pt x="156" y="858"/>
                </a:lnTo>
                <a:lnTo>
                  <a:pt x="156" y="852"/>
                </a:lnTo>
                <a:lnTo>
                  <a:pt x="150" y="852"/>
                </a:lnTo>
                <a:lnTo>
                  <a:pt x="156" y="852"/>
                </a:lnTo>
                <a:lnTo>
                  <a:pt x="150" y="852"/>
                </a:lnTo>
                <a:lnTo>
                  <a:pt x="150" y="846"/>
                </a:lnTo>
                <a:lnTo>
                  <a:pt x="156" y="846"/>
                </a:lnTo>
                <a:lnTo>
                  <a:pt x="150" y="846"/>
                </a:lnTo>
                <a:lnTo>
                  <a:pt x="150" y="840"/>
                </a:lnTo>
                <a:lnTo>
                  <a:pt x="156" y="840"/>
                </a:lnTo>
                <a:lnTo>
                  <a:pt x="150" y="840"/>
                </a:lnTo>
                <a:lnTo>
                  <a:pt x="144" y="840"/>
                </a:lnTo>
                <a:lnTo>
                  <a:pt x="138" y="840"/>
                </a:lnTo>
                <a:lnTo>
                  <a:pt x="138" y="834"/>
                </a:lnTo>
                <a:lnTo>
                  <a:pt x="132" y="834"/>
                </a:lnTo>
                <a:lnTo>
                  <a:pt x="138" y="834"/>
                </a:lnTo>
                <a:lnTo>
                  <a:pt x="132" y="834"/>
                </a:lnTo>
                <a:lnTo>
                  <a:pt x="126" y="834"/>
                </a:lnTo>
                <a:lnTo>
                  <a:pt x="126" y="828"/>
                </a:lnTo>
                <a:lnTo>
                  <a:pt x="126" y="834"/>
                </a:lnTo>
                <a:lnTo>
                  <a:pt x="120" y="828"/>
                </a:lnTo>
                <a:lnTo>
                  <a:pt x="126" y="828"/>
                </a:lnTo>
                <a:lnTo>
                  <a:pt x="120" y="822"/>
                </a:lnTo>
                <a:lnTo>
                  <a:pt x="126" y="822"/>
                </a:lnTo>
                <a:lnTo>
                  <a:pt x="120" y="822"/>
                </a:lnTo>
                <a:lnTo>
                  <a:pt x="126" y="822"/>
                </a:lnTo>
                <a:lnTo>
                  <a:pt x="126" y="816"/>
                </a:lnTo>
                <a:lnTo>
                  <a:pt x="132" y="816"/>
                </a:lnTo>
                <a:lnTo>
                  <a:pt x="132" y="810"/>
                </a:lnTo>
                <a:lnTo>
                  <a:pt x="138" y="816"/>
                </a:lnTo>
                <a:lnTo>
                  <a:pt x="138" y="810"/>
                </a:lnTo>
                <a:lnTo>
                  <a:pt x="144" y="810"/>
                </a:lnTo>
                <a:lnTo>
                  <a:pt x="144" y="804"/>
                </a:lnTo>
                <a:lnTo>
                  <a:pt x="150" y="804"/>
                </a:lnTo>
                <a:lnTo>
                  <a:pt x="156" y="804"/>
                </a:lnTo>
                <a:lnTo>
                  <a:pt x="162" y="798"/>
                </a:lnTo>
                <a:lnTo>
                  <a:pt x="162" y="792"/>
                </a:lnTo>
                <a:lnTo>
                  <a:pt x="168" y="792"/>
                </a:lnTo>
                <a:lnTo>
                  <a:pt x="162" y="792"/>
                </a:lnTo>
                <a:lnTo>
                  <a:pt x="162" y="786"/>
                </a:lnTo>
                <a:lnTo>
                  <a:pt x="168" y="786"/>
                </a:lnTo>
                <a:lnTo>
                  <a:pt x="168" y="780"/>
                </a:lnTo>
                <a:lnTo>
                  <a:pt x="168" y="774"/>
                </a:lnTo>
                <a:lnTo>
                  <a:pt x="174" y="774"/>
                </a:lnTo>
                <a:lnTo>
                  <a:pt x="174" y="768"/>
                </a:lnTo>
                <a:lnTo>
                  <a:pt x="174" y="762"/>
                </a:lnTo>
                <a:lnTo>
                  <a:pt x="180" y="756"/>
                </a:lnTo>
                <a:lnTo>
                  <a:pt x="180" y="750"/>
                </a:lnTo>
                <a:lnTo>
                  <a:pt x="174" y="750"/>
                </a:lnTo>
                <a:lnTo>
                  <a:pt x="180" y="750"/>
                </a:lnTo>
                <a:lnTo>
                  <a:pt x="180" y="744"/>
                </a:lnTo>
                <a:lnTo>
                  <a:pt x="186" y="744"/>
                </a:lnTo>
                <a:lnTo>
                  <a:pt x="186" y="738"/>
                </a:lnTo>
                <a:lnTo>
                  <a:pt x="192" y="732"/>
                </a:lnTo>
                <a:lnTo>
                  <a:pt x="198" y="732"/>
                </a:lnTo>
                <a:lnTo>
                  <a:pt x="198" y="726"/>
                </a:lnTo>
                <a:lnTo>
                  <a:pt x="204" y="726"/>
                </a:lnTo>
                <a:lnTo>
                  <a:pt x="204" y="720"/>
                </a:lnTo>
                <a:lnTo>
                  <a:pt x="204" y="714"/>
                </a:lnTo>
                <a:lnTo>
                  <a:pt x="204" y="708"/>
                </a:lnTo>
                <a:lnTo>
                  <a:pt x="204" y="702"/>
                </a:lnTo>
                <a:lnTo>
                  <a:pt x="204" y="696"/>
                </a:lnTo>
                <a:lnTo>
                  <a:pt x="204" y="690"/>
                </a:lnTo>
                <a:lnTo>
                  <a:pt x="204" y="684"/>
                </a:lnTo>
                <a:lnTo>
                  <a:pt x="210" y="684"/>
                </a:lnTo>
                <a:lnTo>
                  <a:pt x="210" y="678"/>
                </a:lnTo>
                <a:lnTo>
                  <a:pt x="216" y="678"/>
                </a:lnTo>
                <a:lnTo>
                  <a:pt x="222" y="672"/>
                </a:lnTo>
                <a:lnTo>
                  <a:pt x="228" y="672"/>
                </a:lnTo>
                <a:lnTo>
                  <a:pt x="234" y="672"/>
                </a:lnTo>
                <a:lnTo>
                  <a:pt x="234" y="666"/>
                </a:lnTo>
                <a:lnTo>
                  <a:pt x="234" y="660"/>
                </a:lnTo>
                <a:lnTo>
                  <a:pt x="240" y="660"/>
                </a:lnTo>
                <a:lnTo>
                  <a:pt x="240" y="654"/>
                </a:lnTo>
                <a:lnTo>
                  <a:pt x="246" y="654"/>
                </a:lnTo>
                <a:lnTo>
                  <a:pt x="228" y="642"/>
                </a:lnTo>
                <a:lnTo>
                  <a:pt x="228" y="636"/>
                </a:lnTo>
                <a:lnTo>
                  <a:pt x="228" y="630"/>
                </a:lnTo>
                <a:lnTo>
                  <a:pt x="228" y="624"/>
                </a:lnTo>
                <a:lnTo>
                  <a:pt x="222" y="624"/>
                </a:lnTo>
                <a:lnTo>
                  <a:pt x="222" y="618"/>
                </a:lnTo>
                <a:lnTo>
                  <a:pt x="216" y="618"/>
                </a:lnTo>
                <a:lnTo>
                  <a:pt x="216" y="612"/>
                </a:lnTo>
                <a:lnTo>
                  <a:pt x="216" y="606"/>
                </a:lnTo>
                <a:lnTo>
                  <a:pt x="216" y="600"/>
                </a:lnTo>
                <a:lnTo>
                  <a:pt x="216" y="594"/>
                </a:lnTo>
                <a:lnTo>
                  <a:pt x="210" y="594"/>
                </a:lnTo>
                <a:lnTo>
                  <a:pt x="204" y="594"/>
                </a:lnTo>
                <a:lnTo>
                  <a:pt x="204" y="588"/>
                </a:lnTo>
                <a:lnTo>
                  <a:pt x="198" y="588"/>
                </a:lnTo>
                <a:lnTo>
                  <a:pt x="198" y="582"/>
                </a:lnTo>
                <a:lnTo>
                  <a:pt x="204" y="582"/>
                </a:lnTo>
                <a:lnTo>
                  <a:pt x="198" y="582"/>
                </a:lnTo>
                <a:lnTo>
                  <a:pt x="204" y="582"/>
                </a:lnTo>
                <a:lnTo>
                  <a:pt x="198" y="582"/>
                </a:lnTo>
                <a:lnTo>
                  <a:pt x="204" y="582"/>
                </a:lnTo>
                <a:lnTo>
                  <a:pt x="198" y="582"/>
                </a:lnTo>
                <a:lnTo>
                  <a:pt x="198" y="576"/>
                </a:lnTo>
                <a:lnTo>
                  <a:pt x="198" y="570"/>
                </a:lnTo>
                <a:lnTo>
                  <a:pt x="198" y="564"/>
                </a:lnTo>
                <a:lnTo>
                  <a:pt x="198" y="558"/>
                </a:lnTo>
                <a:lnTo>
                  <a:pt x="198" y="552"/>
                </a:lnTo>
                <a:lnTo>
                  <a:pt x="204" y="552"/>
                </a:lnTo>
                <a:lnTo>
                  <a:pt x="198" y="552"/>
                </a:lnTo>
                <a:lnTo>
                  <a:pt x="204" y="552"/>
                </a:lnTo>
                <a:lnTo>
                  <a:pt x="198" y="552"/>
                </a:lnTo>
                <a:lnTo>
                  <a:pt x="204" y="552"/>
                </a:lnTo>
                <a:lnTo>
                  <a:pt x="204" y="546"/>
                </a:lnTo>
                <a:lnTo>
                  <a:pt x="210" y="546"/>
                </a:lnTo>
                <a:lnTo>
                  <a:pt x="210" y="540"/>
                </a:lnTo>
                <a:lnTo>
                  <a:pt x="216" y="540"/>
                </a:lnTo>
                <a:lnTo>
                  <a:pt x="216" y="534"/>
                </a:lnTo>
                <a:lnTo>
                  <a:pt x="222" y="534"/>
                </a:lnTo>
                <a:lnTo>
                  <a:pt x="222" y="528"/>
                </a:lnTo>
                <a:lnTo>
                  <a:pt x="222" y="522"/>
                </a:lnTo>
                <a:lnTo>
                  <a:pt x="222" y="516"/>
                </a:lnTo>
                <a:lnTo>
                  <a:pt x="216" y="510"/>
                </a:lnTo>
                <a:lnTo>
                  <a:pt x="216" y="504"/>
                </a:lnTo>
                <a:lnTo>
                  <a:pt x="216" y="498"/>
                </a:lnTo>
                <a:lnTo>
                  <a:pt x="216" y="492"/>
                </a:lnTo>
                <a:lnTo>
                  <a:pt x="210" y="492"/>
                </a:lnTo>
                <a:lnTo>
                  <a:pt x="210" y="498"/>
                </a:lnTo>
                <a:lnTo>
                  <a:pt x="210" y="492"/>
                </a:lnTo>
                <a:lnTo>
                  <a:pt x="204" y="492"/>
                </a:lnTo>
                <a:lnTo>
                  <a:pt x="198" y="492"/>
                </a:lnTo>
                <a:lnTo>
                  <a:pt x="192" y="492"/>
                </a:lnTo>
                <a:lnTo>
                  <a:pt x="186" y="492"/>
                </a:lnTo>
                <a:lnTo>
                  <a:pt x="180" y="492"/>
                </a:lnTo>
                <a:lnTo>
                  <a:pt x="180" y="486"/>
                </a:lnTo>
                <a:lnTo>
                  <a:pt x="174" y="486"/>
                </a:lnTo>
                <a:lnTo>
                  <a:pt x="168" y="486"/>
                </a:lnTo>
                <a:lnTo>
                  <a:pt x="168" y="492"/>
                </a:lnTo>
                <a:lnTo>
                  <a:pt x="162" y="492"/>
                </a:lnTo>
                <a:lnTo>
                  <a:pt x="162" y="486"/>
                </a:lnTo>
                <a:lnTo>
                  <a:pt x="156" y="480"/>
                </a:lnTo>
                <a:lnTo>
                  <a:pt x="156" y="486"/>
                </a:lnTo>
                <a:lnTo>
                  <a:pt x="156" y="480"/>
                </a:lnTo>
                <a:lnTo>
                  <a:pt x="156" y="474"/>
                </a:lnTo>
                <a:lnTo>
                  <a:pt x="84" y="474"/>
                </a:lnTo>
                <a:lnTo>
                  <a:pt x="84" y="480"/>
                </a:lnTo>
                <a:lnTo>
                  <a:pt x="30" y="474"/>
                </a:lnTo>
                <a:lnTo>
                  <a:pt x="12" y="474"/>
                </a:lnTo>
                <a:lnTo>
                  <a:pt x="18" y="474"/>
                </a:lnTo>
                <a:lnTo>
                  <a:pt x="18" y="468"/>
                </a:lnTo>
                <a:lnTo>
                  <a:pt x="18" y="462"/>
                </a:lnTo>
                <a:lnTo>
                  <a:pt x="18" y="456"/>
                </a:lnTo>
                <a:lnTo>
                  <a:pt x="18" y="450"/>
                </a:lnTo>
                <a:lnTo>
                  <a:pt x="24" y="450"/>
                </a:lnTo>
                <a:lnTo>
                  <a:pt x="18" y="444"/>
                </a:lnTo>
                <a:lnTo>
                  <a:pt x="24" y="444"/>
                </a:lnTo>
                <a:lnTo>
                  <a:pt x="18" y="444"/>
                </a:lnTo>
                <a:lnTo>
                  <a:pt x="24" y="444"/>
                </a:lnTo>
                <a:lnTo>
                  <a:pt x="24" y="438"/>
                </a:lnTo>
                <a:lnTo>
                  <a:pt x="18" y="438"/>
                </a:lnTo>
                <a:lnTo>
                  <a:pt x="18" y="432"/>
                </a:lnTo>
                <a:lnTo>
                  <a:pt x="24" y="432"/>
                </a:lnTo>
                <a:lnTo>
                  <a:pt x="18" y="432"/>
                </a:lnTo>
                <a:lnTo>
                  <a:pt x="24" y="426"/>
                </a:lnTo>
                <a:lnTo>
                  <a:pt x="18" y="426"/>
                </a:lnTo>
                <a:lnTo>
                  <a:pt x="24" y="426"/>
                </a:lnTo>
                <a:lnTo>
                  <a:pt x="24" y="420"/>
                </a:lnTo>
                <a:lnTo>
                  <a:pt x="24" y="414"/>
                </a:lnTo>
                <a:lnTo>
                  <a:pt x="24" y="408"/>
                </a:lnTo>
                <a:lnTo>
                  <a:pt x="24" y="402"/>
                </a:lnTo>
                <a:lnTo>
                  <a:pt x="18" y="402"/>
                </a:lnTo>
                <a:lnTo>
                  <a:pt x="18" y="396"/>
                </a:lnTo>
                <a:lnTo>
                  <a:pt x="18" y="390"/>
                </a:lnTo>
                <a:lnTo>
                  <a:pt x="12" y="390"/>
                </a:lnTo>
                <a:lnTo>
                  <a:pt x="12" y="384"/>
                </a:lnTo>
                <a:lnTo>
                  <a:pt x="6" y="378"/>
                </a:lnTo>
                <a:lnTo>
                  <a:pt x="12" y="372"/>
                </a:lnTo>
                <a:lnTo>
                  <a:pt x="6" y="372"/>
                </a:lnTo>
                <a:lnTo>
                  <a:pt x="6" y="366"/>
                </a:lnTo>
                <a:lnTo>
                  <a:pt x="6" y="360"/>
                </a:lnTo>
                <a:lnTo>
                  <a:pt x="6" y="354"/>
                </a:lnTo>
                <a:lnTo>
                  <a:pt x="12" y="354"/>
                </a:lnTo>
                <a:lnTo>
                  <a:pt x="12" y="348"/>
                </a:lnTo>
                <a:lnTo>
                  <a:pt x="12" y="342"/>
                </a:lnTo>
                <a:lnTo>
                  <a:pt x="18" y="342"/>
                </a:lnTo>
                <a:lnTo>
                  <a:pt x="12" y="342"/>
                </a:lnTo>
                <a:lnTo>
                  <a:pt x="18" y="336"/>
                </a:lnTo>
                <a:lnTo>
                  <a:pt x="18" y="330"/>
                </a:lnTo>
                <a:lnTo>
                  <a:pt x="18" y="324"/>
                </a:lnTo>
                <a:lnTo>
                  <a:pt x="12" y="324"/>
                </a:lnTo>
                <a:lnTo>
                  <a:pt x="18" y="324"/>
                </a:lnTo>
                <a:lnTo>
                  <a:pt x="12" y="318"/>
                </a:lnTo>
                <a:lnTo>
                  <a:pt x="12" y="312"/>
                </a:lnTo>
                <a:lnTo>
                  <a:pt x="6" y="312"/>
                </a:lnTo>
                <a:lnTo>
                  <a:pt x="12" y="312"/>
                </a:lnTo>
                <a:lnTo>
                  <a:pt x="18" y="306"/>
                </a:lnTo>
                <a:lnTo>
                  <a:pt x="24" y="300"/>
                </a:lnTo>
                <a:lnTo>
                  <a:pt x="18" y="300"/>
                </a:lnTo>
                <a:lnTo>
                  <a:pt x="18" y="294"/>
                </a:lnTo>
                <a:lnTo>
                  <a:pt x="18" y="288"/>
                </a:lnTo>
                <a:lnTo>
                  <a:pt x="12" y="282"/>
                </a:lnTo>
                <a:lnTo>
                  <a:pt x="18" y="282"/>
                </a:lnTo>
                <a:lnTo>
                  <a:pt x="12" y="282"/>
                </a:lnTo>
                <a:lnTo>
                  <a:pt x="6" y="282"/>
                </a:lnTo>
                <a:lnTo>
                  <a:pt x="6" y="276"/>
                </a:lnTo>
                <a:lnTo>
                  <a:pt x="12" y="276"/>
                </a:lnTo>
                <a:lnTo>
                  <a:pt x="12" y="270"/>
                </a:lnTo>
                <a:lnTo>
                  <a:pt x="6" y="264"/>
                </a:lnTo>
                <a:lnTo>
                  <a:pt x="0" y="264"/>
                </a:lnTo>
                <a:lnTo>
                  <a:pt x="6" y="258"/>
                </a:lnTo>
                <a:lnTo>
                  <a:pt x="6" y="252"/>
                </a:lnTo>
                <a:lnTo>
                  <a:pt x="0" y="252"/>
                </a:lnTo>
                <a:close/>
              </a:path>
            </a:pathLst>
          </a:custGeom>
          <a:noFill/>
          <a:ln w="3175" cap="rnd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266" name="Freeform 565"/>
          <p:cNvSpPr>
            <a:spLocks/>
          </p:cNvSpPr>
          <p:nvPr/>
        </p:nvSpPr>
        <p:spPr bwMode="auto">
          <a:xfrm>
            <a:off x="5641924" y="4245607"/>
            <a:ext cx="1343405" cy="1561845"/>
          </a:xfrm>
          <a:custGeom>
            <a:avLst/>
            <a:gdLst>
              <a:gd name="T0" fmla="*/ 108 w 1254"/>
              <a:gd name="T1" fmla="*/ 900 h 1458"/>
              <a:gd name="T2" fmla="*/ 162 w 1254"/>
              <a:gd name="T3" fmla="*/ 834 h 1458"/>
              <a:gd name="T4" fmla="*/ 228 w 1254"/>
              <a:gd name="T5" fmla="*/ 768 h 1458"/>
              <a:gd name="T6" fmla="*/ 264 w 1254"/>
              <a:gd name="T7" fmla="*/ 726 h 1458"/>
              <a:gd name="T8" fmla="*/ 318 w 1254"/>
              <a:gd name="T9" fmla="*/ 696 h 1458"/>
              <a:gd name="T10" fmla="*/ 360 w 1254"/>
              <a:gd name="T11" fmla="*/ 666 h 1458"/>
              <a:gd name="T12" fmla="*/ 408 w 1254"/>
              <a:gd name="T13" fmla="*/ 648 h 1458"/>
              <a:gd name="T14" fmla="*/ 450 w 1254"/>
              <a:gd name="T15" fmla="*/ 612 h 1458"/>
              <a:gd name="T16" fmla="*/ 492 w 1254"/>
              <a:gd name="T17" fmla="*/ 606 h 1458"/>
              <a:gd name="T18" fmla="*/ 510 w 1254"/>
              <a:gd name="T19" fmla="*/ 570 h 1458"/>
              <a:gd name="T20" fmla="*/ 504 w 1254"/>
              <a:gd name="T21" fmla="*/ 540 h 1458"/>
              <a:gd name="T22" fmla="*/ 510 w 1254"/>
              <a:gd name="T23" fmla="*/ 498 h 1458"/>
              <a:gd name="T24" fmla="*/ 504 w 1254"/>
              <a:gd name="T25" fmla="*/ 450 h 1458"/>
              <a:gd name="T26" fmla="*/ 492 w 1254"/>
              <a:gd name="T27" fmla="*/ 432 h 1458"/>
              <a:gd name="T28" fmla="*/ 480 w 1254"/>
              <a:gd name="T29" fmla="*/ 402 h 1458"/>
              <a:gd name="T30" fmla="*/ 438 w 1254"/>
              <a:gd name="T31" fmla="*/ 396 h 1458"/>
              <a:gd name="T32" fmla="*/ 390 w 1254"/>
              <a:gd name="T33" fmla="*/ 384 h 1458"/>
              <a:gd name="T34" fmla="*/ 420 w 1254"/>
              <a:gd name="T35" fmla="*/ 306 h 1458"/>
              <a:gd name="T36" fmla="*/ 432 w 1254"/>
              <a:gd name="T37" fmla="*/ 216 h 1458"/>
              <a:gd name="T38" fmla="*/ 474 w 1254"/>
              <a:gd name="T39" fmla="*/ 120 h 1458"/>
              <a:gd name="T40" fmla="*/ 540 w 1254"/>
              <a:gd name="T41" fmla="*/ 42 h 1458"/>
              <a:gd name="T42" fmla="*/ 618 w 1254"/>
              <a:gd name="T43" fmla="*/ 6 h 1458"/>
              <a:gd name="T44" fmla="*/ 708 w 1254"/>
              <a:gd name="T45" fmla="*/ 18 h 1458"/>
              <a:gd name="T46" fmla="*/ 792 w 1254"/>
              <a:gd name="T47" fmla="*/ 18 h 1458"/>
              <a:gd name="T48" fmla="*/ 870 w 1254"/>
              <a:gd name="T49" fmla="*/ 30 h 1458"/>
              <a:gd name="T50" fmla="*/ 942 w 1254"/>
              <a:gd name="T51" fmla="*/ 48 h 1458"/>
              <a:gd name="T52" fmla="*/ 1008 w 1254"/>
              <a:gd name="T53" fmla="*/ 66 h 1458"/>
              <a:gd name="T54" fmla="*/ 1044 w 1254"/>
              <a:gd name="T55" fmla="*/ 96 h 1458"/>
              <a:gd name="T56" fmla="*/ 1050 w 1254"/>
              <a:gd name="T57" fmla="*/ 150 h 1458"/>
              <a:gd name="T58" fmla="*/ 1074 w 1254"/>
              <a:gd name="T59" fmla="*/ 204 h 1458"/>
              <a:gd name="T60" fmla="*/ 1086 w 1254"/>
              <a:gd name="T61" fmla="*/ 270 h 1458"/>
              <a:gd name="T62" fmla="*/ 1128 w 1254"/>
              <a:gd name="T63" fmla="*/ 276 h 1458"/>
              <a:gd name="T64" fmla="*/ 1164 w 1254"/>
              <a:gd name="T65" fmla="*/ 282 h 1458"/>
              <a:gd name="T66" fmla="*/ 1176 w 1254"/>
              <a:gd name="T67" fmla="*/ 324 h 1458"/>
              <a:gd name="T68" fmla="*/ 1224 w 1254"/>
              <a:gd name="T69" fmla="*/ 318 h 1458"/>
              <a:gd name="T70" fmla="*/ 1248 w 1254"/>
              <a:gd name="T71" fmla="*/ 348 h 1458"/>
              <a:gd name="T72" fmla="*/ 1200 w 1254"/>
              <a:gd name="T73" fmla="*/ 408 h 1458"/>
              <a:gd name="T74" fmla="*/ 1188 w 1254"/>
              <a:gd name="T75" fmla="*/ 486 h 1458"/>
              <a:gd name="T76" fmla="*/ 1170 w 1254"/>
              <a:gd name="T77" fmla="*/ 564 h 1458"/>
              <a:gd name="T78" fmla="*/ 1188 w 1254"/>
              <a:gd name="T79" fmla="*/ 600 h 1458"/>
              <a:gd name="T80" fmla="*/ 1182 w 1254"/>
              <a:gd name="T81" fmla="*/ 618 h 1458"/>
              <a:gd name="T82" fmla="*/ 1176 w 1254"/>
              <a:gd name="T83" fmla="*/ 660 h 1458"/>
              <a:gd name="T84" fmla="*/ 1170 w 1254"/>
              <a:gd name="T85" fmla="*/ 726 h 1458"/>
              <a:gd name="T86" fmla="*/ 1134 w 1254"/>
              <a:gd name="T87" fmla="*/ 798 h 1458"/>
              <a:gd name="T88" fmla="*/ 990 w 1254"/>
              <a:gd name="T89" fmla="*/ 942 h 1458"/>
              <a:gd name="T90" fmla="*/ 930 w 1254"/>
              <a:gd name="T91" fmla="*/ 1062 h 1458"/>
              <a:gd name="T92" fmla="*/ 804 w 1254"/>
              <a:gd name="T93" fmla="*/ 1200 h 1458"/>
              <a:gd name="T94" fmla="*/ 684 w 1254"/>
              <a:gd name="T95" fmla="*/ 1296 h 1458"/>
              <a:gd name="T96" fmla="*/ 534 w 1254"/>
              <a:gd name="T97" fmla="*/ 1452 h 1458"/>
              <a:gd name="T98" fmla="*/ 594 w 1254"/>
              <a:gd name="T99" fmla="*/ 1332 h 1458"/>
              <a:gd name="T100" fmla="*/ 528 w 1254"/>
              <a:gd name="T101" fmla="*/ 1290 h 1458"/>
              <a:gd name="T102" fmla="*/ 492 w 1254"/>
              <a:gd name="T103" fmla="*/ 1230 h 1458"/>
              <a:gd name="T104" fmla="*/ 408 w 1254"/>
              <a:gd name="T105" fmla="*/ 1170 h 1458"/>
              <a:gd name="T106" fmla="*/ 354 w 1254"/>
              <a:gd name="T107" fmla="*/ 1152 h 1458"/>
              <a:gd name="T108" fmla="*/ 300 w 1254"/>
              <a:gd name="T109" fmla="*/ 1116 h 1458"/>
              <a:gd name="T110" fmla="*/ 258 w 1254"/>
              <a:gd name="T111" fmla="*/ 1086 h 1458"/>
              <a:gd name="T112" fmla="*/ 210 w 1254"/>
              <a:gd name="T113" fmla="*/ 1116 h 1458"/>
              <a:gd name="T114" fmla="*/ 186 w 1254"/>
              <a:gd name="T115" fmla="*/ 1050 h 1458"/>
              <a:gd name="T116" fmla="*/ 150 w 1254"/>
              <a:gd name="T117" fmla="*/ 1020 h 1458"/>
              <a:gd name="T118" fmla="*/ 114 w 1254"/>
              <a:gd name="T119" fmla="*/ 990 h 1458"/>
              <a:gd name="T120" fmla="*/ 60 w 1254"/>
              <a:gd name="T121" fmla="*/ 1002 h 1458"/>
              <a:gd name="T122" fmla="*/ 12 w 1254"/>
              <a:gd name="T123" fmla="*/ 996 h 14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254" h="1458">
                <a:moveTo>
                  <a:pt x="42" y="966"/>
                </a:moveTo>
                <a:lnTo>
                  <a:pt x="42" y="966"/>
                </a:lnTo>
                <a:lnTo>
                  <a:pt x="42" y="960"/>
                </a:lnTo>
                <a:lnTo>
                  <a:pt x="42" y="954"/>
                </a:lnTo>
                <a:lnTo>
                  <a:pt x="42" y="948"/>
                </a:lnTo>
                <a:lnTo>
                  <a:pt x="54" y="942"/>
                </a:lnTo>
                <a:lnTo>
                  <a:pt x="60" y="942"/>
                </a:lnTo>
                <a:lnTo>
                  <a:pt x="66" y="942"/>
                </a:lnTo>
                <a:lnTo>
                  <a:pt x="72" y="936"/>
                </a:lnTo>
                <a:lnTo>
                  <a:pt x="78" y="936"/>
                </a:lnTo>
                <a:lnTo>
                  <a:pt x="84" y="924"/>
                </a:lnTo>
                <a:lnTo>
                  <a:pt x="84" y="918"/>
                </a:lnTo>
                <a:lnTo>
                  <a:pt x="90" y="918"/>
                </a:lnTo>
                <a:lnTo>
                  <a:pt x="96" y="912"/>
                </a:lnTo>
                <a:lnTo>
                  <a:pt x="102" y="906"/>
                </a:lnTo>
                <a:lnTo>
                  <a:pt x="108" y="906"/>
                </a:lnTo>
                <a:lnTo>
                  <a:pt x="108" y="900"/>
                </a:lnTo>
                <a:lnTo>
                  <a:pt x="114" y="900"/>
                </a:lnTo>
                <a:lnTo>
                  <a:pt x="114" y="894"/>
                </a:lnTo>
                <a:lnTo>
                  <a:pt x="114" y="888"/>
                </a:lnTo>
                <a:lnTo>
                  <a:pt x="120" y="888"/>
                </a:lnTo>
                <a:lnTo>
                  <a:pt x="126" y="876"/>
                </a:lnTo>
                <a:lnTo>
                  <a:pt x="126" y="870"/>
                </a:lnTo>
                <a:lnTo>
                  <a:pt x="132" y="870"/>
                </a:lnTo>
                <a:lnTo>
                  <a:pt x="132" y="864"/>
                </a:lnTo>
                <a:lnTo>
                  <a:pt x="138" y="858"/>
                </a:lnTo>
                <a:lnTo>
                  <a:pt x="144" y="858"/>
                </a:lnTo>
                <a:lnTo>
                  <a:pt x="144" y="852"/>
                </a:lnTo>
                <a:lnTo>
                  <a:pt x="150" y="852"/>
                </a:lnTo>
                <a:lnTo>
                  <a:pt x="156" y="852"/>
                </a:lnTo>
                <a:lnTo>
                  <a:pt x="162" y="846"/>
                </a:lnTo>
                <a:lnTo>
                  <a:pt x="156" y="840"/>
                </a:lnTo>
                <a:lnTo>
                  <a:pt x="162" y="840"/>
                </a:lnTo>
                <a:lnTo>
                  <a:pt x="162" y="834"/>
                </a:lnTo>
                <a:lnTo>
                  <a:pt x="168" y="834"/>
                </a:lnTo>
                <a:lnTo>
                  <a:pt x="174" y="828"/>
                </a:lnTo>
                <a:lnTo>
                  <a:pt x="174" y="822"/>
                </a:lnTo>
                <a:lnTo>
                  <a:pt x="174" y="816"/>
                </a:lnTo>
                <a:lnTo>
                  <a:pt x="180" y="816"/>
                </a:lnTo>
                <a:lnTo>
                  <a:pt x="186" y="810"/>
                </a:lnTo>
                <a:lnTo>
                  <a:pt x="192" y="810"/>
                </a:lnTo>
                <a:lnTo>
                  <a:pt x="192" y="804"/>
                </a:lnTo>
                <a:lnTo>
                  <a:pt x="198" y="804"/>
                </a:lnTo>
                <a:lnTo>
                  <a:pt x="204" y="792"/>
                </a:lnTo>
                <a:lnTo>
                  <a:pt x="210" y="792"/>
                </a:lnTo>
                <a:lnTo>
                  <a:pt x="210" y="786"/>
                </a:lnTo>
                <a:lnTo>
                  <a:pt x="210" y="780"/>
                </a:lnTo>
                <a:lnTo>
                  <a:pt x="216" y="774"/>
                </a:lnTo>
                <a:lnTo>
                  <a:pt x="222" y="774"/>
                </a:lnTo>
                <a:lnTo>
                  <a:pt x="228" y="774"/>
                </a:lnTo>
                <a:lnTo>
                  <a:pt x="228" y="768"/>
                </a:lnTo>
                <a:lnTo>
                  <a:pt x="228" y="762"/>
                </a:lnTo>
                <a:lnTo>
                  <a:pt x="228" y="756"/>
                </a:lnTo>
                <a:lnTo>
                  <a:pt x="234" y="756"/>
                </a:lnTo>
                <a:lnTo>
                  <a:pt x="234" y="762"/>
                </a:lnTo>
                <a:lnTo>
                  <a:pt x="246" y="762"/>
                </a:lnTo>
                <a:lnTo>
                  <a:pt x="252" y="768"/>
                </a:lnTo>
                <a:lnTo>
                  <a:pt x="252" y="762"/>
                </a:lnTo>
                <a:lnTo>
                  <a:pt x="258" y="756"/>
                </a:lnTo>
                <a:lnTo>
                  <a:pt x="252" y="750"/>
                </a:lnTo>
                <a:lnTo>
                  <a:pt x="246" y="750"/>
                </a:lnTo>
                <a:lnTo>
                  <a:pt x="240" y="750"/>
                </a:lnTo>
                <a:lnTo>
                  <a:pt x="240" y="744"/>
                </a:lnTo>
                <a:lnTo>
                  <a:pt x="246" y="744"/>
                </a:lnTo>
                <a:lnTo>
                  <a:pt x="252" y="738"/>
                </a:lnTo>
                <a:lnTo>
                  <a:pt x="258" y="738"/>
                </a:lnTo>
                <a:lnTo>
                  <a:pt x="264" y="732"/>
                </a:lnTo>
                <a:lnTo>
                  <a:pt x="264" y="726"/>
                </a:lnTo>
                <a:lnTo>
                  <a:pt x="270" y="726"/>
                </a:lnTo>
                <a:lnTo>
                  <a:pt x="264" y="732"/>
                </a:lnTo>
                <a:lnTo>
                  <a:pt x="270" y="732"/>
                </a:lnTo>
                <a:lnTo>
                  <a:pt x="276" y="726"/>
                </a:lnTo>
                <a:lnTo>
                  <a:pt x="276" y="720"/>
                </a:lnTo>
                <a:lnTo>
                  <a:pt x="282" y="720"/>
                </a:lnTo>
                <a:lnTo>
                  <a:pt x="282" y="726"/>
                </a:lnTo>
                <a:lnTo>
                  <a:pt x="288" y="726"/>
                </a:lnTo>
                <a:lnTo>
                  <a:pt x="288" y="720"/>
                </a:lnTo>
                <a:lnTo>
                  <a:pt x="294" y="714"/>
                </a:lnTo>
                <a:lnTo>
                  <a:pt x="294" y="708"/>
                </a:lnTo>
                <a:lnTo>
                  <a:pt x="300" y="708"/>
                </a:lnTo>
                <a:lnTo>
                  <a:pt x="300" y="702"/>
                </a:lnTo>
                <a:lnTo>
                  <a:pt x="306" y="702"/>
                </a:lnTo>
                <a:lnTo>
                  <a:pt x="312" y="702"/>
                </a:lnTo>
                <a:lnTo>
                  <a:pt x="312" y="696"/>
                </a:lnTo>
                <a:lnTo>
                  <a:pt x="318" y="696"/>
                </a:lnTo>
                <a:lnTo>
                  <a:pt x="324" y="696"/>
                </a:lnTo>
                <a:lnTo>
                  <a:pt x="330" y="696"/>
                </a:lnTo>
                <a:lnTo>
                  <a:pt x="324" y="696"/>
                </a:lnTo>
                <a:lnTo>
                  <a:pt x="330" y="690"/>
                </a:lnTo>
                <a:lnTo>
                  <a:pt x="336" y="690"/>
                </a:lnTo>
                <a:lnTo>
                  <a:pt x="336" y="696"/>
                </a:lnTo>
                <a:lnTo>
                  <a:pt x="342" y="690"/>
                </a:lnTo>
                <a:lnTo>
                  <a:pt x="336" y="690"/>
                </a:lnTo>
                <a:lnTo>
                  <a:pt x="330" y="684"/>
                </a:lnTo>
                <a:lnTo>
                  <a:pt x="336" y="684"/>
                </a:lnTo>
                <a:lnTo>
                  <a:pt x="342" y="684"/>
                </a:lnTo>
                <a:lnTo>
                  <a:pt x="348" y="684"/>
                </a:lnTo>
                <a:lnTo>
                  <a:pt x="354" y="684"/>
                </a:lnTo>
                <a:lnTo>
                  <a:pt x="354" y="678"/>
                </a:lnTo>
                <a:lnTo>
                  <a:pt x="354" y="672"/>
                </a:lnTo>
                <a:lnTo>
                  <a:pt x="354" y="666"/>
                </a:lnTo>
                <a:lnTo>
                  <a:pt x="360" y="666"/>
                </a:lnTo>
                <a:lnTo>
                  <a:pt x="360" y="660"/>
                </a:lnTo>
                <a:lnTo>
                  <a:pt x="366" y="660"/>
                </a:lnTo>
                <a:lnTo>
                  <a:pt x="366" y="654"/>
                </a:lnTo>
                <a:lnTo>
                  <a:pt x="366" y="648"/>
                </a:lnTo>
                <a:lnTo>
                  <a:pt x="372" y="654"/>
                </a:lnTo>
                <a:lnTo>
                  <a:pt x="372" y="660"/>
                </a:lnTo>
                <a:lnTo>
                  <a:pt x="378" y="654"/>
                </a:lnTo>
                <a:lnTo>
                  <a:pt x="384" y="654"/>
                </a:lnTo>
                <a:lnTo>
                  <a:pt x="384" y="648"/>
                </a:lnTo>
                <a:lnTo>
                  <a:pt x="390" y="648"/>
                </a:lnTo>
                <a:lnTo>
                  <a:pt x="390" y="654"/>
                </a:lnTo>
                <a:lnTo>
                  <a:pt x="396" y="654"/>
                </a:lnTo>
                <a:lnTo>
                  <a:pt x="396" y="648"/>
                </a:lnTo>
                <a:lnTo>
                  <a:pt x="396" y="642"/>
                </a:lnTo>
                <a:lnTo>
                  <a:pt x="402" y="642"/>
                </a:lnTo>
                <a:lnTo>
                  <a:pt x="402" y="648"/>
                </a:lnTo>
                <a:lnTo>
                  <a:pt x="408" y="648"/>
                </a:lnTo>
                <a:lnTo>
                  <a:pt x="408" y="642"/>
                </a:lnTo>
                <a:lnTo>
                  <a:pt x="414" y="642"/>
                </a:lnTo>
                <a:lnTo>
                  <a:pt x="414" y="636"/>
                </a:lnTo>
                <a:lnTo>
                  <a:pt x="420" y="636"/>
                </a:lnTo>
                <a:lnTo>
                  <a:pt x="426" y="636"/>
                </a:lnTo>
                <a:lnTo>
                  <a:pt x="426" y="642"/>
                </a:lnTo>
                <a:lnTo>
                  <a:pt x="432" y="642"/>
                </a:lnTo>
                <a:lnTo>
                  <a:pt x="432" y="636"/>
                </a:lnTo>
                <a:lnTo>
                  <a:pt x="432" y="642"/>
                </a:lnTo>
                <a:lnTo>
                  <a:pt x="438" y="642"/>
                </a:lnTo>
                <a:lnTo>
                  <a:pt x="438" y="636"/>
                </a:lnTo>
                <a:lnTo>
                  <a:pt x="438" y="630"/>
                </a:lnTo>
                <a:lnTo>
                  <a:pt x="444" y="630"/>
                </a:lnTo>
                <a:lnTo>
                  <a:pt x="444" y="624"/>
                </a:lnTo>
                <a:lnTo>
                  <a:pt x="450" y="624"/>
                </a:lnTo>
                <a:lnTo>
                  <a:pt x="450" y="618"/>
                </a:lnTo>
                <a:lnTo>
                  <a:pt x="450" y="612"/>
                </a:lnTo>
                <a:lnTo>
                  <a:pt x="450" y="618"/>
                </a:lnTo>
                <a:lnTo>
                  <a:pt x="456" y="618"/>
                </a:lnTo>
                <a:lnTo>
                  <a:pt x="450" y="618"/>
                </a:lnTo>
                <a:lnTo>
                  <a:pt x="456" y="618"/>
                </a:lnTo>
                <a:lnTo>
                  <a:pt x="456" y="624"/>
                </a:lnTo>
                <a:lnTo>
                  <a:pt x="462" y="624"/>
                </a:lnTo>
                <a:lnTo>
                  <a:pt x="462" y="618"/>
                </a:lnTo>
                <a:lnTo>
                  <a:pt x="468" y="618"/>
                </a:lnTo>
                <a:lnTo>
                  <a:pt x="468" y="612"/>
                </a:lnTo>
                <a:lnTo>
                  <a:pt x="474" y="612"/>
                </a:lnTo>
                <a:lnTo>
                  <a:pt x="474" y="606"/>
                </a:lnTo>
                <a:lnTo>
                  <a:pt x="480" y="606"/>
                </a:lnTo>
                <a:lnTo>
                  <a:pt x="480" y="600"/>
                </a:lnTo>
                <a:lnTo>
                  <a:pt x="486" y="606"/>
                </a:lnTo>
                <a:lnTo>
                  <a:pt x="486" y="600"/>
                </a:lnTo>
                <a:lnTo>
                  <a:pt x="492" y="600"/>
                </a:lnTo>
                <a:lnTo>
                  <a:pt x="492" y="606"/>
                </a:lnTo>
                <a:lnTo>
                  <a:pt x="498" y="606"/>
                </a:lnTo>
                <a:lnTo>
                  <a:pt x="492" y="600"/>
                </a:lnTo>
                <a:lnTo>
                  <a:pt x="498" y="600"/>
                </a:lnTo>
                <a:lnTo>
                  <a:pt x="498" y="594"/>
                </a:lnTo>
                <a:lnTo>
                  <a:pt x="504" y="594"/>
                </a:lnTo>
                <a:lnTo>
                  <a:pt x="498" y="594"/>
                </a:lnTo>
                <a:lnTo>
                  <a:pt x="498" y="588"/>
                </a:lnTo>
                <a:lnTo>
                  <a:pt x="504" y="594"/>
                </a:lnTo>
                <a:lnTo>
                  <a:pt x="504" y="588"/>
                </a:lnTo>
                <a:lnTo>
                  <a:pt x="498" y="588"/>
                </a:lnTo>
                <a:lnTo>
                  <a:pt x="504" y="588"/>
                </a:lnTo>
                <a:lnTo>
                  <a:pt x="504" y="582"/>
                </a:lnTo>
                <a:lnTo>
                  <a:pt x="510" y="582"/>
                </a:lnTo>
                <a:lnTo>
                  <a:pt x="504" y="582"/>
                </a:lnTo>
                <a:lnTo>
                  <a:pt x="510" y="582"/>
                </a:lnTo>
                <a:lnTo>
                  <a:pt x="510" y="576"/>
                </a:lnTo>
                <a:lnTo>
                  <a:pt x="510" y="570"/>
                </a:lnTo>
                <a:lnTo>
                  <a:pt x="516" y="576"/>
                </a:lnTo>
                <a:lnTo>
                  <a:pt x="510" y="570"/>
                </a:lnTo>
                <a:lnTo>
                  <a:pt x="516" y="570"/>
                </a:lnTo>
                <a:lnTo>
                  <a:pt x="510" y="564"/>
                </a:lnTo>
                <a:lnTo>
                  <a:pt x="516" y="564"/>
                </a:lnTo>
                <a:lnTo>
                  <a:pt x="510" y="564"/>
                </a:lnTo>
                <a:lnTo>
                  <a:pt x="516" y="564"/>
                </a:lnTo>
                <a:lnTo>
                  <a:pt x="516" y="558"/>
                </a:lnTo>
                <a:lnTo>
                  <a:pt x="510" y="558"/>
                </a:lnTo>
                <a:lnTo>
                  <a:pt x="510" y="552"/>
                </a:lnTo>
                <a:lnTo>
                  <a:pt x="504" y="552"/>
                </a:lnTo>
                <a:lnTo>
                  <a:pt x="510" y="552"/>
                </a:lnTo>
                <a:lnTo>
                  <a:pt x="510" y="546"/>
                </a:lnTo>
                <a:lnTo>
                  <a:pt x="504" y="546"/>
                </a:lnTo>
                <a:lnTo>
                  <a:pt x="510" y="546"/>
                </a:lnTo>
                <a:lnTo>
                  <a:pt x="510" y="540"/>
                </a:lnTo>
                <a:lnTo>
                  <a:pt x="504" y="540"/>
                </a:lnTo>
                <a:lnTo>
                  <a:pt x="510" y="540"/>
                </a:lnTo>
                <a:lnTo>
                  <a:pt x="510" y="534"/>
                </a:lnTo>
                <a:lnTo>
                  <a:pt x="510" y="540"/>
                </a:lnTo>
                <a:lnTo>
                  <a:pt x="510" y="534"/>
                </a:lnTo>
                <a:lnTo>
                  <a:pt x="504" y="534"/>
                </a:lnTo>
                <a:lnTo>
                  <a:pt x="510" y="534"/>
                </a:lnTo>
                <a:lnTo>
                  <a:pt x="510" y="528"/>
                </a:lnTo>
                <a:lnTo>
                  <a:pt x="510" y="522"/>
                </a:lnTo>
                <a:lnTo>
                  <a:pt x="510" y="528"/>
                </a:lnTo>
                <a:lnTo>
                  <a:pt x="510" y="522"/>
                </a:lnTo>
                <a:lnTo>
                  <a:pt x="510" y="516"/>
                </a:lnTo>
                <a:lnTo>
                  <a:pt x="516" y="516"/>
                </a:lnTo>
                <a:lnTo>
                  <a:pt x="510" y="516"/>
                </a:lnTo>
                <a:lnTo>
                  <a:pt x="510" y="510"/>
                </a:lnTo>
                <a:lnTo>
                  <a:pt x="516" y="510"/>
                </a:lnTo>
                <a:lnTo>
                  <a:pt x="510" y="504"/>
                </a:lnTo>
                <a:lnTo>
                  <a:pt x="510" y="498"/>
                </a:lnTo>
                <a:lnTo>
                  <a:pt x="516" y="498"/>
                </a:lnTo>
                <a:lnTo>
                  <a:pt x="510" y="498"/>
                </a:lnTo>
                <a:lnTo>
                  <a:pt x="516" y="498"/>
                </a:lnTo>
                <a:lnTo>
                  <a:pt x="516" y="492"/>
                </a:lnTo>
                <a:lnTo>
                  <a:pt x="522" y="486"/>
                </a:lnTo>
                <a:lnTo>
                  <a:pt x="522" y="480"/>
                </a:lnTo>
                <a:lnTo>
                  <a:pt x="516" y="480"/>
                </a:lnTo>
                <a:lnTo>
                  <a:pt x="522" y="480"/>
                </a:lnTo>
                <a:lnTo>
                  <a:pt x="516" y="480"/>
                </a:lnTo>
                <a:lnTo>
                  <a:pt x="516" y="474"/>
                </a:lnTo>
                <a:lnTo>
                  <a:pt x="510" y="474"/>
                </a:lnTo>
                <a:lnTo>
                  <a:pt x="510" y="468"/>
                </a:lnTo>
                <a:lnTo>
                  <a:pt x="504" y="468"/>
                </a:lnTo>
                <a:lnTo>
                  <a:pt x="510" y="462"/>
                </a:lnTo>
                <a:lnTo>
                  <a:pt x="510" y="456"/>
                </a:lnTo>
                <a:lnTo>
                  <a:pt x="504" y="456"/>
                </a:lnTo>
                <a:lnTo>
                  <a:pt x="504" y="450"/>
                </a:lnTo>
                <a:lnTo>
                  <a:pt x="498" y="450"/>
                </a:lnTo>
                <a:lnTo>
                  <a:pt x="492" y="450"/>
                </a:lnTo>
                <a:lnTo>
                  <a:pt x="492" y="444"/>
                </a:lnTo>
                <a:lnTo>
                  <a:pt x="498" y="444"/>
                </a:lnTo>
                <a:lnTo>
                  <a:pt x="492" y="444"/>
                </a:lnTo>
                <a:lnTo>
                  <a:pt x="498" y="444"/>
                </a:lnTo>
                <a:lnTo>
                  <a:pt x="492" y="444"/>
                </a:lnTo>
                <a:lnTo>
                  <a:pt x="498" y="444"/>
                </a:lnTo>
                <a:lnTo>
                  <a:pt x="498" y="438"/>
                </a:lnTo>
                <a:lnTo>
                  <a:pt x="492" y="438"/>
                </a:lnTo>
                <a:lnTo>
                  <a:pt x="498" y="438"/>
                </a:lnTo>
                <a:lnTo>
                  <a:pt x="492" y="438"/>
                </a:lnTo>
                <a:lnTo>
                  <a:pt x="498" y="438"/>
                </a:lnTo>
                <a:lnTo>
                  <a:pt x="498" y="432"/>
                </a:lnTo>
                <a:lnTo>
                  <a:pt x="492" y="432"/>
                </a:lnTo>
                <a:lnTo>
                  <a:pt x="498" y="432"/>
                </a:lnTo>
                <a:lnTo>
                  <a:pt x="492" y="432"/>
                </a:lnTo>
                <a:lnTo>
                  <a:pt x="492" y="426"/>
                </a:lnTo>
                <a:lnTo>
                  <a:pt x="498" y="426"/>
                </a:lnTo>
                <a:lnTo>
                  <a:pt x="492" y="426"/>
                </a:lnTo>
                <a:lnTo>
                  <a:pt x="498" y="426"/>
                </a:lnTo>
                <a:lnTo>
                  <a:pt x="492" y="420"/>
                </a:lnTo>
                <a:lnTo>
                  <a:pt x="492" y="414"/>
                </a:lnTo>
                <a:lnTo>
                  <a:pt x="492" y="408"/>
                </a:lnTo>
                <a:lnTo>
                  <a:pt x="486" y="408"/>
                </a:lnTo>
                <a:lnTo>
                  <a:pt x="492" y="408"/>
                </a:lnTo>
                <a:lnTo>
                  <a:pt x="492" y="402"/>
                </a:lnTo>
                <a:lnTo>
                  <a:pt x="486" y="408"/>
                </a:lnTo>
                <a:lnTo>
                  <a:pt x="486" y="402"/>
                </a:lnTo>
                <a:lnTo>
                  <a:pt x="480" y="402"/>
                </a:lnTo>
                <a:lnTo>
                  <a:pt x="480" y="408"/>
                </a:lnTo>
                <a:lnTo>
                  <a:pt x="480" y="402"/>
                </a:lnTo>
                <a:lnTo>
                  <a:pt x="474" y="402"/>
                </a:lnTo>
                <a:lnTo>
                  <a:pt x="480" y="402"/>
                </a:lnTo>
                <a:lnTo>
                  <a:pt x="474" y="396"/>
                </a:lnTo>
                <a:lnTo>
                  <a:pt x="468" y="396"/>
                </a:lnTo>
                <a:lnTo>
                  <a:pt x="462" y="396"/>
                </a:lnTo>
                <a:lnTo>
                  <a:pt x="462" y="402"/>
                </a:lnTo>
                <a:lnTo>
                  <a:pt x="456" y="402"/>
                </a:lnTo>
                <a:lnTo>
                  <a:pt x="456" y="396"/>
                </a:lnTo>
                <a:lnTo>
                  <a:pt x="462" y="390"/>
                </a:lnTo>
                <a:lnTo>
                  <a:pt x="462" y="384"/>
                </a:lnTo>
                <a:lnTo>
                  <a:pt x="456" y="390"/>
                </a:lnTo>
                <a:lnTo>
                  <a:pt x="450" y="390"/>
                </a:lnTo>
                <a:lnTo>
                  <a:pt x="444" y="390"/>
                </a:lnTo>
                <a:lnTo>
                  <a:pt x="444" y="396"/>
                </a:lnTo>
                <a:lnTo>
                  <a:pt x="450" y="396"/>
                </a:lnTo>
                <a:lnTo>
                  <a:pt x="444" y="396"/>
                </a:lnTo>
                <a:lnTo>
                  <a:pt x="444" y="402"/>
                </a:lnTo>
                <a:lnTo>
                  <a:pt x="438" y="402"/>
                </a:lnTo>
                <a:lnTo>
                  <a:pt x="438" y="396"/>
                </a:lnTo>
                <a:lnTo>
                  <a:pt x="432" y="396"/>
                </a:lnTo>
                <a:lnTo>
                  <a:pt x="426" y="402"/>
                </a:lnTo>
                <a:lnTo>
                  <a:pt x="426" y="396"/>
                </a:lnTo>
                <a:lnTo>
                  <a:pt x="426" y="402"/>
                </a:lnTo>
                <a:lnTo>
                  <a:pt x="420" y="402"/>
                </a:lnTo>
                <a:lnTo>
                  <a:pt x="420" y="408"/>
                </a:lnTo>
                <a:lnTo>
                  <a:pt x="420" y="414"/>
                </a:lnTo>
                <a:lnTo>
                  <a:pt x="414" y="414"/>
                </a:lnTo>
                <a:lnTo>
                  <a:pt x="414" y="408"/>
                </a:lnTo>
                <a:lnTo>
                  <a:pt x="414" y="402"/>
                </a:lnTo>
                <a:lnTo>
                  <a:pt x="408" y="402"/>
                </a:lnTo>
                <a:lnTo>
                  <a:pt x="402" y="402"/>
                </a:lnTo>
                <a:lnTo>
                  <a:pt x="402" y="396"/>
                </a:lnTo>
                <a:lnTo>
                  <a:pt x="396" y="396"/>
                </a:lnTo>
                <a:lnTo>
                  <a:pt x="396" y="390"/>
                </a:lnTo>
                <a:lnTo>
                  <a:pt x="396" y="384"/>
                </a:lnTo>
                <a:lnTo>
                  <a:pt x="390" y="384"/>
                </a:lnTo>
                <a:lnTo>
                  <a:pt x="390" y="378"/>
                </a:lnTo>
                <a:lnTo>
                  <a:pt x="396" y="378"/>
                </a:lnTo>
                <a:lnTo>
                  <a:pt x="396" y="372"/>
                </a:lnTo>
                <a:lnTo>
                  <a:pt x="402" y="372"/>
                </a:lnTo>
                <a:lnTo>
                  <a:pt x="402" y="366"/>
                </a:lnTo>
                <a:lnTo>
                  <a:pt x="408" y="360"/>
                </a:lnTo>
                <a:lnTo>
                  <a:pt x="408" y="354"/>
                </a:lnTo>
                <a:lnTo>
                  <a:pt x="414" y="348"/>
                </a:lnTo>
                <a:lnTo>
                  <a:pt x="414" y="342"/>
                </a:lnTo>
                <a:lnTo>
                  <a:pt x="420" y="342"/>
                </a:lnTo>
                <a:lnTo>
                  <a:pt x="414" y="336"/>
                </a:lnTo>
                <a:lnTo>
                  <a:pt x="414" y="330"/>
                </a:lnTo>
                <a:lnTo>
                  <a:pt x="414" y="324"/>
                </a:lnTo>
                <a:lnTo>
                  <a:pt x="414" y="318"/>
                </a:lnTo>
                <a:lnTo>
                  <a:pt x="414" y="312"/>
                </a:lnTo>
                <a:lnTo>
                  <a:pt x="420" y="312"/>
                </a:lnTo>
                <a:lnTo>
                  <a:pt x="420" y="306"/>
                </a:lnTo>
                <a:lnTo>
                  <a:pt x="420" y="300"/>
                </a:lnTo>
                <a:lnTo>
                  <a:pt x="420" y="294"/>
                </a:lnTo>
                <a:lnTo>
                  <a:pt x="426" y="294"/>
                </a:lnTo>
                <a:lnTo>
                  <a:pt x="426" y="288"/>
                </a:lnTo>
                <a:lnTo>
                  <a:pt x="426" y="282"/>
                </a:lnTo>
                <a:lnTo>
                  <a:pt x="432" y="282"/>
                </a:lnTo>
                <a:lnTo>
                  <a:pt x="432" y="276"/>
                </a:lnTo>
                <a:lnTo>
                  <a:pt x="432" y="270"/>
                </a:lnTo>
                <a:lnTo>
                  <a:pt x="432" y="264"/>
                </a:lnTo>
                <a:lnTo>
                  <a:pt x="432" y="258"/>
                </a:lnTo>
                <a:lnTo>
                  <a:pt x="432" y="252"/>
                </a:lnTo>
                <a:lnTo>
                  <a:pt x="432" y="246"/>
                </a:lnTo>
                <a:lnTo>
                  <a:pt x="438" y="246"/>
                </a:lnTo>
                <a:lnTo>
                  <a:pt x="438" y="240"/>
                </a:lnTo>
                <a:lnTo>
                  <a:pt x="438" y="228"/>
                </a:lnTo>
                <a:lnTo>
                  <a:pt x="432" y="222"/>
                </a:lnTo>
                <a:lnTo>
                  <a:pt x="432" y="216"/>
                </a:lnTo>
                <a:lnTo>
                  <a:pt x="426" y="210"/>
                </a:lnTo>
                <a:lnTo>
                  <a:pt x="432" y="204"/>
                </a:lnTo>
                <a:lnTo>
                  <a:pt x="438" y="198"/>
                </a:lnTo>
                <a:lnTo>
                  <a:pt x="444" y="198"/>
                </a:lnTo>
                <a:lnTo>
                  <a:pt x="450" y="192"/>
                </a:lnTo>
                <a:lnTo>
                  <a:pt x="456" y="186"/>
                </a:lnTo>
                <a:lnTo>
                  <a:pt x="462" y="186"/>
                </a:lnTo>
                <a:lnTo>
                  <a:pt x="462" y="174"/>
                </a:lnTo>
                <a:lnTo>
                  <a:pt x="462" y="168"/>
                </a:lnTo>
                <a:lnTo>
                  <a:pt x="462" y="162"/>
                </a:lnTo>
                <a:lnTo>
                  <a:pt x="468" y="156"/>
                </a:lnTo>
                <a:lnTo>
                  <a:pt x="468" y="150"/>
                </a:lnTo>
                <a:lnTo>
                  <a:pt x="468" y="144"/>
                </a:lnTo>
                <a:lnTo>
                  <a:pt x="468" y="138"/>
                </a:lnTo>
                <a:lnTo>
                  <a:pt x="474" y="132"/>
                </a:lnTo>
                <a:lnTo>
                  <a:pt x="474" y="126"/>
                </a:lnTo>
                <a:lnTo>
                  <a:pt x="474" y="120"/>
                </a:lnTo>
                <a:lnTo>
                  <a:pt x="480" y="120"/>
                </a:lnTo>
                <a:lnTo>
                  <a:pt x="492" y="114"/>
                </a:lnTo>
                <a:lnTo>
                  <a:pt x="498" y="114"/>
                </a:lnTo>
                <a:lnTo>
                  <a:pt x="504" y="108"/>
                </a:lnTo>
                <a:lnTo>
                  <a:pt x="510" y="102"/>
                </a:lnTo>
                <a:lnTo>
                  <a:pt x="510" y="96"/>
                </a:lnTo>
                <a:lnTo>
                  <a:pt x="516" y="90"/>
                </a:lnTo>
                <a:lnTo>
                  <a:pt x="516" y="84"/>
                </a:lnTo>
                <a:lnTo>
                  <a:pt x="516" y="78"/>
                </a:lnTo>
                <a:lnTo>
                  <a:pt x="522" y="78"/>
                </a:lnTo>
                <a:lnTo>
                  <a:pt x="522" y="60"/>
                </a:lnTo>
                <a:lnTo>
                  <a:pt x="522" y="54"/>
                </a:lnTo>
                <a:lnTo>
                  <a:pt x="528" y="54"/>
                </a:lnTo>
                <a:lnTo>
                  <a:pt x="528" y="48"/>
                </a:lnTo>
                <a:lnTo>
                  <a:pt x="534" y="48"/>
                </a:lnTo>
                <a:lnTo>
                  <a:pt x="534" y="42"/>
                </a:lnTo>
                <a:lnTo>
                  <a:pt x="540" y="42"/>
                </a:lnTo>
                <a:lnTo>
                  <a:pt x="546" y="42"/>
                </a:lnTo>
                <a:lnTo>
                  <a:pt x="552" y="36"/>
                </a:lnTo>
                <a:lnTo>
                  <a:pt x="558" y="30"/>
                </a:lnTo>
                <a:lnTo>
                  <a:pt x="564" y="30"/>
                </a:lnTo>
                <a:lnTo>
                  <a:pt x="570" y="24"/>
                </a:lnTo>
                <a:lnTo>
                  <a:pt x="576" y="24"/>
                </a:lnTo>
                <a:lnTo>
                  <a:pt x="582" y="24"/>
                </a:lnTo>
                <a:lnTo>
                  <a:pt x="588" y="18"/>
                </a:lnTo>
                <a:lnTo>
                  <a:pt x="588" y="12"/>
                </a:lnTo>
                <a:lnTo>
                  <a:pt x="594" y="12"/>
                </a:lnTo>
                <a:lnTo>
                  <a:pt x="594" y="18"/>
                </a:lnTo>
                <a:lnTo>
                  <a:pt x="594" y="12"/>
                </a:lnTo>
                <a:lnTo>
                  <a:pt x="600" y="12"/>
                </a:lnTo>
                <a:lnTo>
                  <a:pt x="600" y="6"/>
                </a:lnTo>
                <a:lnTo>
                  <a:pt x="606" y="6"/>
                </a:lnTo>
                <a:lnTo>
                  <a:pt x="612" y="6"/>
                </a:lnTo>
                <a:lnTo>
                  <a:pt x="618" y="6"/>
                </a:lnTo>
                <a:lnTo>
                  <a:pt x="624" y="12"/>
                </a:lnTo>
                <a:lnTo>
                  <a:pt x="630" y="6"/>
                </a:lnTo>
                <a:lnTo>
                  <a:pt x="630" y="12"/>
                </a:lnTo>
                <a:lnTo>
                  <a:pt x="636" y="12"/>
                </a:lnTo>
                <a:lnTo>
                  <a:pt x="642" y="12"/>
                </a:lnTo>
                <a:lnTo>
                  <a:pt x="648" y="12"/>
                </a:lnTo>
                <a:lnTo>
                  <a:pt x="654" y="6"/>
                </a:lnTo>
                <a:lnTo>
                  <a:pt x="660" y="6"/>
                </a:lnTo>
                <a:lnTo>
                  <a:pt x="666" y="12"/>
                </a:lnTo>
                <a:lnTo>
                  <a:pt x="672" y="12"/>
                </a:lnTo>
                <a:lnTo>
                  <a:pt x="678" y="12"/>
                </a:lnTo>
                <a:lnTo>
                  <a:pt x="684" y="12"/>
                </a:lnTo>
                <a:lnTo>
                  <a:pt x="690" y="12"/>
                </a:lnTo>
                <a:lnTo>
                  <a:pt x="696" y="12"/>
                </a:lnTo>
                <a:lnTo>
                  <a:pt x="702" y="12"/>
                </a:lnTo>
                <a:lnTo>
                  <a:pt x="702" y="18"/>
                </a:lnTo>
                <a:lnTo>
                  <a:pt x="708" y="18"/>
                </a:lnTo>
                <a:lnTo>
                  <a:pt x="714" y="12"/>
                </a:lnTo>
                <a:lnTo>
                  <a:pt x="714" y="6"/>
                </a:lnTo>
                <a:lnTo>
                  <a:pt x="714" y="0"/>
                </a:lnTo>
                <a:lnTo>
                  <a:pt x="720" y="0"/>
                </a:lnTo>
                <a:lnTo>
                  <a:pt x="726" y="0"/>
                </a:lnTo>
                <a:lnTo>
                  <a:pt x="732" y="0"/>
                </a:lnTo>
                <a:lnTo>
                  <a:pt x="738" y="6"/>
                </a:lnTo>
                <a:lnTo>
                  <a:pt x="744" y="6"/>
                </a:lnTo>
                <a:lnTo>
                  <a:pt x="750" y="12"/>
                </a:lnTo>
                <a:lnTo>
                  <a:pt x="756" y="12"/>
                </a:lnTo>
                <a:lnTo>
                  <a:pt x="762" y="12"/>
                </a:lnTo>
                <a:lnTo>
                  <a:pt x="768" y="12"/>
                </a:lnTo>
                <a:lnTo>
                  <a:pt x="768" y="18"/>
                </a:lnTo>
                <a:lnTo>
                  <a:pt x="774" y="18"/>
                </a:lnTo>
                <a:lnTo>
                  <a:pt x="780" y="18"/>
                </a:lnTo>
                <a:lnTo>
                  <a:pt x="786" y="18"/>
                </a:lnTo>
                <a:lnTo>
                  <a:pt x="792" y="18"/>
                </a:lnTo>
                <a:lnTo>
                  <a:pt x="792" y="24"/>
                </a:lnTo>
                <a:lnTo>
                  <a:pt x="792" y="18"/>
                </a:lnTo>
                <a:lnTo>
                  <a:pt x="798" y="18"/>
                </a:lnTo>
                <a:lnTo>
                  <a:pt x="804" y="18"/>
                </a:lnTo>
                <a:lnTo>
                  <a:pt x="810" y="18"/>
                </a:lnTo>
                <a:lnTo>
                  <a:pt x="816" y="18"/>
                </a:lnTo>
                <a:lnTo>
                  <a:pt x="822" y="18"/>
                </a:lnTo>
                <a:lnTo>
                  <a:pt x="828" y="18"/>
                </a:lnTo>
                <a:lnTo>
                  <a:pt x="834" y="18"/>
                </a:lnTo>
                <a:lnTo>
                  <a:pt x="834" y="24"/>
                </a:lnTo>
                <a:lnTo>
                  <a:pt x="840" y="24"/>
                </a:lnTo>
                <a:lnTo>
                  <a:pt x="846" y="30"/>
                </a:lnTo>
                <a:lnTo>
                  <a:pt x="852" y="30"/>
                </a:lnTo>
                <a:lnTo>
                  <a:pt x="858" y="30"/>
                </a:lnTo>
                <a:lnTo>
                  <a:pt x="864" y="36"/>
                </a:lnTo>
                <a:lnTo>
                  <a:pt x="864" y="30"/>
                </a:lnTo>
                <a:lnTo>
                  <a:pt x="870" y="30"/>
                </a:lnTo>
                <a:lnTo>
                  <a:pt x="870" y="36"/>
                </a:lnTo>
                <a:lnTo>
                  <a:pt x="876" y="36"/>
                </a:lnTo>
                <a:lnTo>
                  <a:pt x="882" y="36"/>
                </a:lnTo>
                <a:lnTo>
                  <a:pt x="888" y="42"/>
                </a:lnTo>
                <a:lnTo>
                  <a:pt x="888" y="48"/>
                </a:lnTo>
                <a:lnTo>
                  <a:pt x="888" y="54"/>
                </a:lnTo>
                <a:lnTo>
                  <a:pt x="894" y="54"/>
                </a:lnTo>
                <a:lnTo>
                  <a:pt x="900" y="54"/>
                </a:lnTo>
                <a:lnTo>
                  <a:pt x="906" y="48"/>
                </a:lnTo>
                <a:lnTo>
                  <a:pt x="912" y="48"/>
                </a:lnTo>
                <a:lnTo>
                  <a:pt x="918" y="48"/>
                </a:lnTo>
                <a:lnTo>
                  <a:pt x="924" y="48"/>
                </a:lnTo>
                <a:lnTo>
                  <a:pt x="924" y="54"/>
                </a:lnTo>
                <a:lnTo>
                  <a:pt x="930" y="54"/>
                </a:lnTo>
                <a:lnTo>
                  <a:pt x="936" y="54"/>
                </a:lnTo>
                <a:lnTo>
                  <a:pt x="942" y="54"/>
                </a:lnTo>
                <a:lnTo>
                  <a:pt x="942" y="48"/>
                </a:lnTo>
                <a:lnTo>
                  <a:pt x="948" y="48"/>
                </a:lnTo>
                <a:lnTo>
                  <a:pt x="948" y="54"/>
                </a:lnTo>
                <a:lnTo>
                  <a:pt x="954" y="54"/>
                </a:lnTo>
                <a:lnTo>
                  <a:pt x="960" y="54"/>
                </a:lnTo>
                <a:lnTo>
                  <a:pt x="966" y="54"/>
                </a:lnTo>
                <a:lnTo>
                  <a:pt x="972" y="54"/>
                </a:lnTo>
                <a:lnTo>
                  <a:pt x="978" y="54"/>
                </a:lnTo>
                <a:lnTo>
                  <a:pt x="984" y="48"/>
                </a:lnTo>
                <a:lnTo>
                  <a:pt x="984" y="54"/>
                </a:lnTo>
                <a:lnTo>
                  <a:pt x="990" y="48"/>
                </a:lnTo>
                <a:lnTo>
                  <a:pt x="996" y="54"/>
                </a:lnTo>
                <a:lnTo>
                  <a:pt x="996" y="48"/>
                </a:lnTo>
                <a:lnTo>
                  <a:pt x="1002" y="54"/>
                </a:lnTo>
                <a:lnTo>
                  <a:pt x="996" y="54"/>
                </a:lnTo>
                <a:lnTo>
                  <a:pt x="1002" y="60"/>
                </a:lnTo>
                <a:lnTo>
                  <a:pt x="1008" y="60"/>
                </a:lnTo>
                <a:lnTo>
                  <a:pt x="1008" y="66"/>
                </a:lnTo>
                <a:lnTo>
                  <a:pt x="1008" y="72"/>
                </a:lnTo>
                <a:lnTo>
                  <a:pt x="1008" y="66"/>
                </a:lnTo>
                <a:lnTo>
                  <a:pt x="1008" y="72"/>
                </a:lnTo>
                <a:lnTo>
                  <a:pt x="1014" y="72"/>
                </a:lnTo>
                <a:lnTo>
                  <a:pt x="1020" y="72"/>
                </a:lnTo>
                <a:lnTo>
                  <a:pt x="1026" y="72"/>
                </a:lnTo>
                <a:lnTo>
                  <a:pt x="1032" y="72"/>
                </a:lnTo>
                <a:lnTo>
                  <a:pt x="1032" y="78"/>
                </a:lnTo>
                <a:lnTo>
                  <a:pt x="1026" y="78"/>
                </a:lnTo>
                <a:lnTo>
                  <a:pt x="1032" y="78"/>
                </a:lnTo>
                <a:lnTo>
                  <a:pt x="1032" y="84"/>
                </a:lnTo>
                <a:lnTo>
                  <a:pt x="1032" y="78"/>
                </a:lnTo>
                <a:lnTo>
                  <a:pt x="1032" y="84"/>
                </a:lnTo>
                <a:lnTo>
                  <a:pt x="1038" y="84"/>
                </a:lnTo>
                <a:lnTo>
                  <a:pt x="1038" y="90"/>
                </a:lnTo>
                <a:lnTo>
                  <a:pt x="1038" y="96"/>
                </a:lnTo>
                <a:lnTo>
                  <a:pt x="1044" y="96"/>
                </a:lnTo>
                <a:lnTo>
                  <a:pt x="1044" y="102"/>
                </a:lnTo>
                <a:lnTo>
                  <a:pt x="1044" y="108"/>
                </a:lnTo>
                <a:lnTo>
                  <a:pt x="1050" y="108"/>
                </a:lnTo>
                <a:lnTo>
                  <a:pt x="1050" y="114"/>
                </a:lnTo>
                <a:lnTo>
                  <a:pt x="1044" y="108"/>
                </a:lnTo>
                <a:lnTo>
                  <a:pt x="1044" y="114"/>
                </a:lnTo>
                <a:lnTo>
                  <a:pt x="1050" y="114"/>
                </a:lnTo>
                <a:lnTo>
                  <a:pt x="1050" y="120"/>
                </a:lnTo>
                <a:lnTo>
                  <a:pt x="1044" y="120"/>
                </a:lnTo>
                <a:lnTo>
                  <a:pt x="1044" y="126"/>
                </a:lnTo>
                <a:lnTo>
                  <a:pt x="1044" y="120"/>
                </a:lnTo>
                <a:lnTo>
                  <a:pt x="1044" y="126"/>
                </a:lnTo>
                <a:lnTo>
                  <a:pt x="1044" y="132"/>
                </a:lnTo>
                <a:lnTo>
                  <a:pt x="1044" y="138"/>
                </a:lnTo>
                <a:lnTo>
                  <a:pt x="1044" y="144"/>
                </a:lnTo>
                <a:lnTo>
                  <a:pt x="1050" y="144"/>
                </a:lnTo>
                <a:lnTo>
                  <a:pt x="1050" y="150"/>
                </a:lnTo>
                <a:lnTo>
                  <a:pt x="1050" y="156"/>
                </a:lnTo>
                <a:lnTo>
                  <a:pt x="1050" y="162"/>
                </a:lnTo>
                <a:lnTo>
                  <a:pt x="1050" y="168"/>
                </a:lnTo>
                <a:lnTo>
                  <a:pt x="1044" y="168"/>
                </a:lnTo>
                <a:lnTo>
                  <a:pt x="1044" y="174"/>
                </a:lnTo>
                <a:lnTo>
                  <a:pt x="1050" y="174"/>
                </a:lnTo>
                <a:lnTo>
                  <a:pt x="1050" y="180"/>
                </a:lnTo>
                <a:lnTo>
                  <a:pt x="1056" y="180"/>
                </a:lnTo>
                <a:lnTo>
                  <a:pt x="1056" y="186"/>
                </a:lnTo>
                <a:lnTo>
                  <a:pt x="1062" y="186"/>
                </a:lnTo>
                <a:lnTo>
                  <a:pt x="1056" y="186"/>
                </a:lnTo>
                <a:lnTo>
                  <a:pt x="1062" y="186"/>
                </a:lnTo>
                <a:lnTo>
                  <a:pt x="1062" y="192"/>
                </a:lnTo>
                <a:lnTo>
                  <a:pt x="1062" y="198"/>
                </a:lnTo>
                <a:lnTo>
                  <a:pt x="1068" y="198"/>
                </a:lnTo>
                <a:lnTo>
                  <a:pt x="1068" y="204"/>
                </a:lnTo>
                <a:lnTo>
                  <a:pt x="1074" y="204"/>
                </a:lnTo>
                <a:lnTo>
                  <a:pt x="1080" y="204"/>
                </a:lnTo>
                <a:lnTo>
                  <a:pt x="1080" y="210"/>
                </a:lnTo>
                <a:lnTo>
                  <a:pt x="1080" y="216"/>
                </a:lnTo>
                <a:lnTo>
                  <a:pt x="1080" y="222"/>
                </a:lnTo>
                <a:lnTo>
                  <a:pt x="1086" y="222"/>
                </a:lnTo>
                <a:lnTo>
                  <a:pt x="1086" y="228"/>
                </a:lnTo>
                <a:lnTo>
                  <a:pt x="1086" y="234"/>
                </a:lnTo>
                <a:lnTo>
                  <a:pt x="1092" y="234"/>
                </a:lnTo>
                <a:lnTo>
                  <a:pt x="1098" y="234"/>
                </a:lnTo>
                <a:lnTo>
                  <a:pt x="1098" y="240"/>
                </a:lnTo>
                <a:lnTo>
                  <a:pt x="1092" y="240"/>
                </a:lnTo>
                <a:lnTo>
                  <a:pt x="1092" y="246"/>
                </a:lnTo>
                <a:lnTo>
                  <a:pt x="1092" y="252"/>
                </a:lnTo>
                <a:lnTo>
                  <a:pt x="1092" y="258"/>
                </a:lnTo>
                <a:lnTo>
                  <a:pt x="1086" y="258"/>
                </a:lnTo>
                <a:lnTo>
                  <a:pt x="1086" y="264"/>
                </a:lnTo>
                <a:lnTo>
                  <a:pt x="1086" y="270"/>
                </a:lnTo>
                <a:lnTo>
                  <a:pt x="1086" y="276"/>
                </a:lnTo>
                <a:lnTo>
                  <a:pt x="1086" y="282"/>
                </a:lnTo>
                <a:lnTo>
                  <a:pt x="1092" y="282"/>
                </a:lnTo>
                <a:lnTo>
                  <a:pt x="1098" y="282"/>
                </a:lnTo>
                <a:lnTo>
                  <a:pt x="1098" y="276"/>
                </a:lnTo>
                <a:lnTo>
                  <a:pt x="1104" y="276"/>
                </a:lnTo>
                <a:lnTo>
                  <a:pt x="1110" y="282"/>
                </a:lnTo>
                <a:lnTo>
                  <a:pt x="1110" y="276"/>
                </a:lnTo>
                <a:lnTo>
                  <a:pt x="1110" y="282"/>
                </a:lnTo>
                <a:lnTo>
                  <a:pt x="1116" y="282"/>
                </a:lnTo>
                <a:lnTo>
                  <a:pt x="1116" y="276"/>
                </a:lnTo>
                <a:lnTo>
                  <a:pt x="1116" y="282"/>
                </a:lnTo>
                <a:lnTo>
                  <a:pt x="1116" y="276"/>
                </a:lnTo>
                <a:lnTo>
                  <a:pt x="1122" y="276"/>
                </a:lnTo>
                <a:lnTo>
                  <a:pt x="1116" y="276"/>
                </a:lnTo>
                <a:lnTo>
                  <a:pt x="1122" y="276"/>
                </a:lnTo>
                <a:lnTo>
                  <a:pt x="1128" y="276"/>
                </a:lnTo>
                <a:lnTo>
                  <a:pt x="1128" y="282"/>
                </a:lnTo>
                <a:lnTo>
                  <a:pt x="1134" y="276"/>
                </a:lnTo>
                <a:lnTo>
                  <a:pt x="1134" y="282"/>
                </a:lnTo>
                <a:lnTo>
                  <a:pt x="1134" y="276"/>
                </a:lnTo>
                <a:lnTo>
                  <a:pt x="1140" y="276"/>
                </a:lnTo>
                <a:lnTo>
                  <a:pt x="1146" y="276"/>
                </a:lnTo>
                <a:lnTo>
                  <a:pt x="1140" y="276"/>
                </a:lnTo>
                <a:lnTo>
                  <a:pt x="1146" y="276"/>
                </a:lnTo>
                <a:lnTo>
                  <a:pt x="1152" y="276"/>
                </a:lnTo>
                <a:lnTo>
                  <a:pt x="1152" y="282"/>
                </a:lnTo>
                <a:lnTo>
                  <a:pt x="1158" y="282"/>
                </a:lnTo>
                <a:lnTo>
                  <a:pt x="1164" y="282"/>
                </a:lnTo>
                <a:lnTo>
                  <a:pt x="1164" y="276"/>
                </a:lnTo>
                <a:lnTo>
                  <a:pt x="1170" y="282"/>
                </a:lnTo>
                <a:lnTo>
                  <a:pt x="1164" y="282"/>
                </a:lnTo>
                <a:lnTo>
                  <a:pt x="1170" y="282"/>
                </a:lnTo>
                <a:lnTo>
                  <a:pt x="1164" y="282"/>
                </a:lnTo>
                <a:lnTo>
                  <a:pt x="1170" y="282"/>
                </a:lnTo>
                <a:lnTo>
                  <a:pt x="1164" y="282"/>
                </a:lnTo>
                <a:lnTo>
                  <a:pt x="1170" y="282"/>
                </a:lnTo>
                <a:lnTo>
                  <a:pt x="1176" y="276"/>
                </a:lnTo>
                <a:lnTo>
                  <a:pt x="1176" y="282"/>
                </a:lnTo>
                <a:lnTo>
                  <a:pt x="1176" y="276"/>
                </a:lnTo>
                <a:lnTo>
                  <a:pt x="1182" y="282"/>
                </a:lnTo>
                <a:lnTo>
                  <a:pt x="1182" y="288"/>
                </a:lnTo>
                <a:lnTo>
                  <a:pt x="1188" y="288"/>
                </a:lnTo>
                <a:lnTo>
                  <a:pt x="1188" y="294"/>
                </a:lnTo>
                <a:lnTo>
                  <a:pt x="1182" y="294"/>
                </a:lnTo>
                <a:lnTo>
                  <a:pt x="1182" y="300"/>
                </a:lnTo>
                <a:lnTo>
                  <a:pt x="1182" y="306"/>
                </a:lnTo>
                <a:lnTo>
                  <a:pt x="1182" y="312"/>
                </a:lnTo>
                <a:lnTo>
                  <a:pt x="1182" y="318"/>
                </a:lnTo>
                <a:lnTo>
                  <a:pt x="1176" y="318"/>
                </a:lnTo>
                <a:lnTo>
                  <a:pt x="1176" y="324"/>
                </a:lnTo>
                <a:lnTo>
                  <a:pt x="1176" y="330"/>
                </a:lnTo>
                <a:lnTo>
                  <a:pt x="1182" y="330"/>
                </a:lnTo>
                <a:lnTo>
                  <a:pt x="1182" y="336"/>
                </a:lnTo>
                <a:lnTo>
                  <a:pt x="1188" y="336"/>
                </a:lnTo>
                <a:lnTo>
                  <a:pt x="1188" y="330"/>
                </a:lnTo>
                <a:lnTo>
                  <a:pt x="1194" y="330"/>
                </a:lnTo>
                <a:lnTo>
                  <a:pt x="1194" y="324"/>
                </a:lnTo>
                <a:lnTo>
                  <a:pt x="1200" y="318"/>
                </a:lnTo>
                <a:lnTo>
                  <a:pt x="1206" y="318"/>
                </a:lnTo>
                <a:lnTo>
                  <a:pt x="1206" y="324"/>
                </a:lnTo>
                <a:lnTo>
                  <a:pt x="1212" y="324"/>
                </a:lnTo>
                <a:lnTo>
                  <a:pt x="1206" y="324"/>
                </a:lnTo>
                <a:lnTo>
                  <a:pt x="1212" y="324"/>
                </a:lnTo>
                <a:lnTo>
                  <a:pt x="1212" y="330"/>
                </a:lnTo>
                <a:lnTo>
                  <a:pt x="1218" y="324"/>
                </a:lnTo>
                <a:lnTo>
                  <a:pt x="1218" y="318"/>
                </a:lnTo>
                <a:lnTo>
                  <a:pt x="1224" y="318"/>
                </a:lnTo>
                <a:lnTo>
                  <a:pt x="1218" y="318"/>
                </a:lnTo>
                <a:lnTo>
                  <a:pt x="1224" y="318"/>
                </a:lnTo>
                <a:lnTo>
                  <a:pt x="1224" y="324"/>
                </a:lnTo>
                <a:lnTo>
                  <a:pt x="1230" y="324"/>
                </a:lnTo>
                <a:lnTo>
                  <a:pt x="1224" y="324"/>
                </a:lnTo>
                <a:lnTo>
                  <a:pt x="1230" y="330"/>
                </a:lnTo>
                <a:lnTo>
                  <a:pt x="1224" y="330"/>
                </a:lnTo>
                <a:lnTo>
                  <a:pt x="1230" y="330"/>
                </a:lnTo>
                <a:lnTo>
                  <a:pt x="1230" y="336"/>
                </a:lnTo>
                <a:lnTo>
                  <a:pt x="1230" y="342"/>
                </a:lnTo>
                <a:lnTo>
                  <a:pt x="1236" y="342"/>
                </a:lnTo>
                <a:lnTo>
                  <a:pt x="1230" y="342"/>
                </a:lnTo>
                <a:lnTo>
                  <a:pt x="1230" y="348"/>
                </a:lnTo>
                <a:lnTo>
                  <a:pt x="1236" y="348"/>
                </a:lnTo>
                <a:lnTo>
                  <a:pt x="1242" y="354"/>
                </a:lnTo>
                <a:lnTo>
                  <a:pt x="1248" y="354"/>
                </a:lnTo>
                <a:lnTo>
                  <a:pt x="1248" y="348"/>
                </a:lnTo>
                <a:lnTo>
                  <a:pt x="1254" y="348"/>
                </a:lnTo>
                <a:lnTo>
                  <a:pt x="1248" y="348"/>
                </a:lnTo>
                <a:lnTo>
                  <a:pt x="1254" y="354"/>
                </a:lnTo>
                <a:lnTo>
                  <a:pt x="1242" y="360"/>
                </a:lnTo>
                <a:lnTo>
                  <a:pt x="1236" y="366"/>
                </a:lnTo>
                <a:lnTo>
                  <a:pt x="1230" y="372"/>
                </a:lnTo>
                <a:lnTo>
                  <a:pt x="1230" y="378"/>
                </a:lnTo>
                <a:lnTo>
                  <a:pt x="1230" y="384"/>
                </a:lnTo>
                <a:lnTo>
                  <a:pt x="1224" y="384"/>
                </a:lnTo>
                <a:lnTo>
                  <a:pt x="1218" y="384"/>
                </a:lnTo>
                <a:lnTo>
                  <a:pt x="1212" y="384"/>
                </a:lnTo>
                <a:lnTo>
                  <a:pt x="1218" y="390"/>
                </a:lnTo>
                <a:lnTo>
                  <a:pt x="1218" y="396"/>
                </a:lnTo>
                <a:lnTo>
                  <a:pt x="1212" y="396"/>
                </a:lnTo>
                <a:lnTo>
                  <a:pt x="1206" y="396"/>
                </a:lnTo>
                <a:lnTo>
                  <a:pt x="1200" y="402"/>
                </a:lnTo>
                <a:lnTo>
                  <a:pt x="1200" y="408"/>
                </a:lnTo>
                <a:lnTo>
                  <a:pt x="1194" y="414"/>
                </a:lnTo>
                <a:lnTo>
                  <a:pt x="1188" y="426"/>
                </a:lnTo>
                <a:lnTo>
                  <a:pt x="1182" y="432"/>
                </a:lnTo>
                <a:lnTo>
                  <a:pt x="1188" y="432"/>
                </a:lnTo>
                <a:lnTo>
                  <a:pt x="1182" y="432"/>
                </a:lnTo>
                <a:lnTo>
                  <a:pt x="1182" y="438"/>
                </a:lnTo>
                <a:lnTo>
                  <a:pt x="1182" y="444"/>
                </a:lnTo>
                <a:lnTo>
                  <a:pt x="1176" y="444"/>
                </a:lnTo>
                <a:lnTo>
                  <a:pt x="1176" y="450"/>
                </a:lnTo>
                <a:lnTo>
                  <a:pt x="1176" y="456"/>
                </a:lnTo>
                <a:lnTo>
                  <a:pt x="1176" y="462"/>
                </a:lnTo>
                <a:lnTo>
                  <a:pt x="1176" y="468"/>
                </a:lnTo>
                <a:lnTo>
                  <a:pt x="1176" y="474"/>
                </a:lnTo>
                <a:lnTo>
                  <a:pt x="1182" y="474"/>
                </a:lnTo>
                <a:lnTo>
                  <a:pt x="1188" y="474"/>
                </a:lnTo>
                <a:lnTo>
                  <a:pt x="1188" y="480"/>
                </a:lnTo>
                <a:lnTo>
                  <a:pt x="1188" y="486"/>
                </a:lnTo>
                <a:lnTo>
                  <a:pt x="1182" y="492"/>
                </a:lnTo>
                <a:lnTo>
                  <a:pt x="1182" y="498"/>
                </a:lnTo>
                <a:lnTo>
                  <a:pt x="1176" y="504"/>
                </a:lnTo>
                <a:lnTo>
                  <a:pt x="1176" y="510"/>
                </a:lnTo>
                <a:lnTo>
                  <a:pt x="1176" y="516"/>
                </a:lnTo>
                <a:lnTo>
                  <a:pt x="1170" y="516"/>
                </a:lnTo>
                <a:lnTo>
                  <a:pt x="1170" y="522"/>
                </a:lnTo>
                <a:lnTo>
                  <a:pt x="1170" y="528"/>
                </a:lnTo>
                <a:lnTo>
                  <a:pt x="1164" y="534"/>
                </a:lnTo>
                <a:lnTo>
                  <a:pt x="1164" y="540"/>
                </a:lnTo>
                <a:lnTo>
                  <a:pt x="1164" y="546"/>
                </a:lnTo>
                <a:lnTo>
                  <a:pt x="1164" y="552"/>
                </a:lnTo>
                <a:lnTo>
                  <a:pt x="1170" y="552"/>
                </a:lnTo>
                <a:lnTo>
                  <a:pt x="1176" y="552"/>
                </a:lnTo>
                <a:lnTo>
                  <a:pt x="1176" y="558"/>
                </a:lnTo>
                <a:lnTo>
                  <a:pt x="1170" y="558"/>
                </a:lnTo>
                <a:lnTo>
                  <a:pt x="1170" y="564"/>
                </a:lnTo>
                <a:lnTo>
                  <a:pt x="1170" y="570"/>
                </a:lnTo>
                <a:lnTo>
                  <a:pt x="1176" y="570"/>
                </a:lnTo>
                <a:lnTo>
                  <a:pt x="1170" y="576"/>
                </a:lnTo>
                <a:lnTo>
                  <a:pt x="1176" y="576"/>
                </a:lnTo>
                <a:lnTo>
                  <a:pt x="1170" y="576"/>
                </a:lnTo>
                <a:lnTo>
                  <a:pt x="1176" y="576"/>
                </a:lnTo>
                <a:lnTo>
                  <a:pt x="1170" y="576"/>
                </a:lnTo>
                <a:lnTo>
                  <a:pt x="1176" y="582"/>
                </a:lnTo>
                <a:lnTo>
                  <a:pt x="1182" y="582"/>
                </a:lnTo>
                <a:lnTo>
                  <a:pt x="1176" y="582"/>
                </a:lnTo>
                <a:lnTo>
                  <a:pt x="1182" y="582"/>
                </a:lnTo>
                <a:lnTo>
                  <a:pt x="1182" y="588"/>
                </a:lnTo>
                <a:lnTo>
                  <a:pt x="1176" y="588"/>
                </a:lnTo>
                <a:lnTo>
                  <a:pt x="1176" y="594"/>
                </a:lnTo>
                <a:lnTo>
                  <a:pt x="1176" y="600"/>
                </a:lnTo>
                <a:lnTo>
                  <a:pt x="1182" y="600"/>
                </a:lnTo>
                <a:lnTo>
                  <a:pt x="1188" y="600"/>
                </a:lnTo>
                <a:lnTo>
                  <a:pt x="1182" y="600"/>
                </a:lnTo>
                <a:lnTo>
                  <a:pt x="1188" y="600"/>
                </a:lnTo>
                <a:lnTo>
                  <a:pt x="1188" y="594"/>
                </a:lnTo>
                <a:lnTo>
                  <a:pt x="1188" y="600"/>
                </a:lnTo>
                <a:lnTo>
                  <a:pt x="1194" y="600"/>
                </a:lnTo>
                <a:lnTo>
                  <a:pt x="1188" y="606"/>
                </a:lnTo>
                <a:lnTo>
                  <a:pt x="1194" y="606"/>
                </a:lnTo>
                <a:lnTo>
                  <a:pt x="1194" y="612"/>
                </a:lnTo>
                <a:lnTo>
                  <a:pt x="1188" y="612"/>
                </a:lnTo>
                <a:lnTo>
                  <a:pt x="1188" y="606"/>
                </a:lnTo>
                <a:lnTo>
                  <a:pt x="1182" y="606"/>
                </a:lnTo>
                <a:lnTo>
                  <a:pt x="1182" y="612"/>
                </a:lnTo>
                <a:lnTo>
                  <a:pt x="1176" y="612"/>
                </a:lnTo>
                <a:lnTo>
                  <a:pt x="1176" y="618"/>
                </a:lnTo>
                <a:lnTo>
                  <a:pt x="1176" y="624"/>
                </a:lnTo>
                <a:lnTo>
                  <a:pt x="1182" y="624"/>
                </a:lnTo>
                <a:lnTo>
                  <a:pt x="1182" y="618"/>
                </a:lnTo>
                <a:lnTo>
                  <a:pt x="1182" y="624"/>
                </a:lnTo>
                <a:lnTo>
                  <a:pt x="1188" y="624"/>
                </a:lnTo>
                <a:lnTo>
                  <a:pt x="1188" y="630"/>
                </a:lnTo>
                <a:lnTo>
                  <a:pt x="1182" y="630"/>
                </a:lnTo>
                <a:lnTo>
                  <a:pt x="1188" y="630"/>
                </a:lnTo>
                <a:lnTo>
                  <a:pt x="1182" y="630"/>
                </a:lnTo>
                <a:lnTo>
                  <a:pt x="1188" y="630"/>
                </a:lnTo>
                <a:lnTo>
                  <a:pt x="1182" y="630"/>
                </a:lnTo>
                <a:lnTo>
                  <a:pt x="1182" y="636"/>
                </a:lnTo>
                <a:lnTo>
                  <a:pt x="1176" y="636"/>
                </a:lnTo>
                <a:lnTo>
                  <a:pt x="1170" y="642"/>
                </a:lnTo>
                <a:lnTo>
                  <a:pt x="1170" y="648"/>
                </a:lnTo>
                <a:lnTo>
                  <a:pt x="1176" y="654"/>
                </a:lnTo>
                <a:lnTo>
                  <a:pt x="1182" y="660"/>
                </a:lnTo>
                <a:lnTo>
                  <a:pt x="1176" y="660"/>
                </a:lnTo>
                <a:lnTo>
                  <a:pt x="1170" y="660"/>
                </a:lnTo>
                <a:lnTo>
                  <a:pt x="1176" y="660"/>
                </a:lnTo>
                <a:lnTo>
                  <a:pt x="1170" y="660"/>
                </a:lnTo>
                <a:lnTo>
                  <a:pt x="1170" y="666"/>
                </a:lnTo>
                <a:lnTo>
                  <a:pt x="1176" y="666"/>
                </a:lnTo>
                <a:lnTo>
                  <a:pt x="1176" y="672"/>
                </a:lnTo>
                <a:lnTo>
                  <a:pt x="1176" y="678"/>
                </a:lnTo>
                <a:lnTo>
                  <a:pt x="1176" y="684"/>
                </a:lnTo>
                <a:lnTo>
                  <a:pt x="1182" y="690"/>
                </a:lnTo>
                <a:lnTo>
                  <a:pt x="1176" y="690"/>
                </a:lnTo>
                <a:lnTo>
                  <a:pt x="1176" y="696"/>
                </a:lnTo>
                <a:lnTo>
                  <a:pt x="1182" y="696"/>
                </a:lnTo>
                <a:lnTo>
                  <a:pt x="1176" y="702"/>
                </a:lnTo>
                <a:lnTo>
                  <a:pt x="1176" y="708"/>
                </a:lnTo>
                <a:lnTo>
                  <a:pt x="1170" y="714"/>
                </a:lnTo>
                <a:lnTo>
                  <a:pt x="1176" y="714"/>
                </a:lnTo>
                <a:lnTo>
                  <a:pt x="1176" y="720"/>
                </a:lnTo>
                <a:lnTo>
                  <a:pt x="1170" y="720"/>
                </a:lnTo>
                <a:lnTo>
                  <a:pt x="1170" y="726"/>
                </a:lnTo>
                <a:lnTo>
                  <a:pt x="1170" y="732"/>
                </a:lnTo>
                <a:lnTo>
                  <a:pt x="1170" y="738"/>
                </a:lnTo>
                <a:lnTo>
                  <a:pt x="1170" y="744"/>
                </a:lnTo>
                <a:lnTo>
                  <a:pt x="1164" y="744"/>
                </a:lnTo>
                <a:lnTo>
                  <a:pt x="1164" y="750"/>
                </a:lnTo>
                <a:lnTo>
                  <a:pt x="1164" y="756"/>
                </a:lnTo>
                <a:lnTo>
                  <a:pt x="1158" y="762"/>
                </a:lnTo>
                <a:lnTo>
                  <a:pt x="1158" y="768"/>
                </a:lnTo>
                <a:lnTo>
                  <a:pt x="1152" y="774"/>
                </a:lnTo>
                <a:lnTo>
                  <a:pt x="1158" y="774"/>
                </a:lnTo>
                <a:lnTo>
                  <a:pt x="1158" y="780"/>
                </a:lnTo>
                <a:lnTo>
                  <a:pt x="1152" y="780"/>
                </a:lnTo>
                <a:lnTo>
                  <a:pt x="1152" y="786"/>
                </a:lnTo>
                <a:lnTo>
                  <a:pt x="1146" y="792"/>
                </a:lnTo>
                <a:lnTo>
                  <a:pt x="1152" y="792"/>
                </a:lnTo>
                <a:lnTo>
                  <a:pt x="1146" y="792"/>
                </a:lnTo>
                <a:lnTo>
                  <a:pt x="1134" y="798"/>
                </a:lnTo>
                <a:lnTo>
                  <a:pt x="1122" y="804"/>
                </a:lnTo>
                <a:lnTo>
                  <a:pt x="1116" y="810"/>
                </a:lnTo>
                <a:lnTo>
                  <a:pt x="1098" y="816"/>
                </a:lnTo>
                <a:lnTo>
                  <a:pt x="1086" y="828"/>
                </a:lnTo>
                <a:lnTo>
                  <a:pt x="1080" y="834"/>
                </a:lnTo>
                <a:lnTo>
                  <a:pt x="1074" y="834"/>
                </a:lnTo>
                <a:lnTo>
                  <a:pt x="1068" y="840"/>
                </a:lnTo>
                <a:lnTo>
                  <a:pt x="1056" y="852"/>
                </a:lnTo>
                <a:lnTo>
                  <a:pt x="1038" y="876"/>
                </a:lnTo>
                <a:lnTo>
                  <a:pt x="1032" y="882"/>
                </a:lnTo>
                <a:lnTo>
                  <a:pt x="1032" y="888"/>
                </a:lnTo>
                <a:lnTo>
                  <a:pt x="1026" y="894"/>
                </a:lnTo>
                <a:lnTo>
                  <a:pt x="1020" y="900"/>
                </a:lnTo>
                <a:lnTo>
                  <a:pt x="1002" y="924"/>
                </a:lnTo>
                <a:lnTo>
                  <a:pt x="1002" y="930"/>
                </a:lnTo>
                <a:lnTo>
                  <a:pt x="996" y="936"/>
                </a:lnTo>
                <a:lnTo>
                  <a:pt x="990" y="942"/>
                </a:lnTo>
                <a:lnTo>
                  <a:pt x="990" y="948"/>
                </a:lnTo>
                <a:lnTo>
                  <a:pt x="984" y="954"/>
                </a:lnTo>
                <a:lnTo>
                  <a:pt x="984" y="960"/>
                </a:lnTo>
                <a:lnTo>
                  <a:pt x="978" y="972"/>
                </a:lnTo>
                <a:lnTo>
                  <a:pt x="978" y="978"/>
                </a:lnTo>
                <a:lnTo>
                  <a:pt x="972" y="978"/>
                </a:lnTo>
                <a:lnTo>
                  <a:pt x="972" y="984"/>
                </a:lnTo>
                <a:lnTo>
                  <a:pt x="966" y="1002"/>
                </a:lnTo>
                <a:lnTo>
                  <a:pt x="966" y="1008"/>
                </a:lnTo>
                <a:lnTo>
                  <a:pt x="960" y="1008"/>
                </a:lnTo>
                <a:lnTo>
                  <a:pt x="960" y="1014"/>
                </a:lnTo>
                <a:lnTo>
                  <a:pt x="954" y="1026"/>
                </a:lnTo>
                <a:lnTo>
                  <a:pt x="954" y="1032"/>
                </a:lnTo>
                <a:lnTo>
                  <a:pt x="948" y="1038"/>
                </a:lnTo>
                <a:lnTo>
                  <a:pt x="948" y="1044"/>
                </a:lnTo>
                <a:lnTo>
                  <a:pt x="936" y="1056"/>
                </a:lnTo>
                <a:lnTo>
                  <a:pt x="930" y="1062"/>
                </a:lnTo>
                <a:lnTo>
                  <a:pt x="918" y="1080"/>
                </a:lnTo>
                <a:lnTo>
                  <a:pt x="906" y="1098"/>
                </a:lnTo>
                <a:lnTo>
                  <a:pt x="900" y="1110"/>
                </a:lnTo>
                <a:lnTo>
                  <a:pt x="894" y="1116"/>
                </a:lnTo>
                <a:lnTo>
                  <a:pt x="888" y="1122"/>
                </a:lnTo>
                <a:lnTo>
                  <a:pt x="882" y="1128"/>
                </a:lnTo>
                <a:lnTo>
                  <a:pt x="876" y="1134"/>
                </a:lnTo>
                <a:lnTo>
                  <a:pt x="870" y="1140"/>
                </a:lnTo>
                <a:lnTo>
                  <a:pt x="858" y="1152"/>
                </a:lnTo>
                <a:lnTo>
                  <a:pt x="846" y="1158"/>
                </a:lnTo>
                <a:lnTo>
                  <a:pt x="840" y="1164"/>
                </a:lnTo>
                <a:lnTo>
                  <a:pt x="840" y="1170"/>
                </a:lnTo>
                <a:lnTo>
                  <a:pt x="834" y="1170"/>
                </a:lnTo>
                <a:lnTo>
                  <a:pt x="834" y="1176"/>
                </a:lnTo>
                <a:lnTo>
                  <a:pt x="822" y="1182"/>
                </a:lnTo>
                <a:lnTo>
                  <a:pt x="810" y="1194"/>
                </a:lnTo>
                <a:lnTo>
                  <a:pt x="804" y="1200"/>
                </a:lnTo>
                <a:lnTo>
                  <a:pt x="792" y="1200"/>
                </a:lnTo>
                <a:lnTo>
                  <a:pt x="780" y="1206"/>
                </a:lnTo>
                <a:lnTo>
                  <a:pt x="768" y="1212"/>
                </a:lnTo>
                <a:lnTo>
                  <a:pt x="756" y="1224"/>
                </a:lnTo>
                <a:lnTo>
                  <a:pt x="750" y="1230"/>
                </a:lnTo>
                <a:lnTo>
                  <a:pt x="744" y="1230"/>
                </a:lnTo>
                <a:lnTo>
                  <a:pt x="738" y="1236"/>
                </a:lnTo>
                <a:lnTo>
                  <a:pt x="726" y="1254"/>
                </a:lnTo>
                <a:lnTo>
                  <a:pt x="726" y="1260"/>
                </a:lnTo>
                <a:lnTo>
                  <a:pt x="720" y="1254"/>
                </a:lnTo>
                <a:lnTo>
                  <a:pt x="714" y="1260"/>
                </a:lnTo>
                <a:lnTo>
                  <a:pt x="708" y="1260"/>
                </a:lnTo>
                <a:lnTo>
                  <a:pt x="702" y="1266"/>
                </a:lnTo>
                <a:lnTo>
                  <a:pt x="702" y="1272"/>
                </a:lnTo>
                <a:lnTo>
                  <a:pt x="696" y="1278"/>
                </a:lnTo>
                <a:lnTo>
                  <a:pt x="690" y="1290"/>
                </a:lnTo>
                <a:lnTo>
                  <a:pt x="684" y="1296"/>
                </a:lnTo>
                <a:lnTo>
                  <a:pt x="678" y="1314"/>
                </a:lnTo>
                <a:lnTo>
                  <a:pt x="678" y="1326"/>
                </a:lnTo>
                <a:lnTo>
                  <a:pt x="672" y="1338"/>
                </a:lnTo>
                <a:lnTo>
                  <a:pt x="666" y="1350"/>
                </a:lnTo>
                <a:lnTo>
                  <a:pt x="660" y="1362"/>
                </a:lnTo>
                <a:lnTo>
                  <a:pt x="654" y="1374"/>
                </a:lnTo>
                <a:lnTo>
                  <a:pt x="654" y="1380"/>
                </a:lnTo>
                <a:lnTo>
                  <a:pt x="648" y="1386"/>
                </a:lnTo>
                <a:lnTo>
                  <a:pt x="636" y="1398"/>
                </a:lnTo>
                <a:lnTo>
                  <a:pt x="630" y="1404"/>
                </a:lnTo>
                <a:lnTo>
                  <a:pt x="600" y="1428"/>
                </a:lnTo>
                <a:lnTo>
                  <a:pt x="582" y="1440"/>
                </a:lnTo>
                <a:lnTo>
                  <a:pt x="570" y="1452"/>
                </a:lnTo>
                <a:lnTo>
                  <a:pt x="552" y="1458"/>
                </a:lnTo>
                <a:lnTo>
                  <a:pt x="546" y="1458"/>
                </a:lnTo>
                <a:lnTo>
                  <a:pt x="546" y="1452"/>
                </a:lnTo>
                <a:lnTo>
                  <a:pt x="534" y="1452"/>
                </a:lnTo>
                <a:lnTo>
                  <a:pt x="534" y="1446"/>
                </a:lnTo>
                <a:lnTo>
                  <a:pt x="534" y="1440"/>
                </a:lnTo>
                <a:lnTo>
                  <a:pt x="534" y="1434"/>
                </a:lnTo>
                <a:lnTo>
                  <a:pt x="540" y="1422"/>
                </a:lnTo>
                <a:lnTo>
                  <a:pt x="540" y="1410"/>
                </a:lnTo>
                <a:lnTo>
                  <a:pt x="534" y="1398"/>
                </a:lnTo>
                <a:lnTo>
                  <a:pt x="534" y="1386"/>
                </a:lnTo>
                <a:lnTo>
                  <a:pt x="546" y="1368"/>
                </a:lnTo>
                <a:lnTo>
                  <a:pt x="558" y="1362"/>
                </a:lnTo>
                <a:lnTo>
                  <a:pt x="564" y="1362"/>
                </a:lnTo>
                <a:lnTo>
                  <a:pt x="570" y="1356"/>
                </a:lnTo>
                <a:lnTo>
                  <a:pt x="564" y="1350"/>
                </a:lnTo>
                <a:lnTo>
                  <a:pt x="570" y="1350"/>
                </a:lnTo>
                <a:lnTo>
                  <a:pt x="564" y="1350"/>
                </a:lnTo>
                <a:lnTo>
                  <a:pt x="582" y="1344"/>
                </a:lnTo>
                <a:lnTo>
                  <a:pt x="582" y="1338"/>
                </a:lnTo>
                <a:lnTo>
                  <a:pt x="594" y="1332"/>
                </a:lnTo>
                <a:lnTo>
                  <a:pt x="582" y="1320"/>
                </a:lnTo>
                <a:lnTo>
                  <a:pt x="582" y="1314"/>
                </a:lnTo>
                <a:lnTo>
                  <a:pt x="576" y="1314"/>
                </a:lnTo>
                <a:lnTo>
                  <a:pt x="570" y="1314"/>
                </a:lnTo>
                <a:lnTo>
                  <a:pt x="564" y="1314"/>
                </a:lnTo>
                <a:lnTo>
                  <a:pt x="564" y="1308"/>
                </a:lnTo>
                <a:lnTo>
                  <a:pt x="558" y="1308"/>
                </a:lnTo>
                <a:lnTo>
                  <a:pt x="552" y="1308"/>
                </a:lnTo>
                <a:lnTo>
                  <a:pt x="546" y="1308"/>
                </a:lnTo>
                <a:lnTo>
                  <a:pt x="546" y="1302"/>
                </a:lnTo>
                <a:lnTo>
                  <a:pt x="546" y="1296"/>
                </a:lnTo>
                <a:lnTo>
                  <a:pt x="540" y="1296"/>
                </a:lnTo>
                <a:lnTo>
                  <a:pt x="546" y="1296"/>
                </a:lnTo>
                <a:lnTo>
                  <a:pt x="540" y="1296"/>
                </a:lnTo>
                <a:lnTo>
                  <a:pt x="534" y="1296"/>
                </a:lnTo>
                <a:lnTo>
                  <a:pt x="528" y="1296"/>
                </a:lnTo>
                <a:lnTo>
                  <a:pt x="528" y="1290"/>
                </a:lnTo>
                <a:lnTo>
                  <a:pt x="522" y="1290"/>
                </a:lnTo>
                <a:lnTo>
                  <a:pt x="522" y="1284"/>
                </a:lnTo>
                <a:lnTo>
                  <a:pt x="522" y="1278"/>
                </a:lnTo>
                <a:lnTo>
                  <a:pt x="516" y="1272"/>
                </a:lnTo>
                <a:lnTo>
                  <a:pt x="522" y="1272"/>
                </a:lnTo>
                <a:lnTo>
                  <a:pt x="516" y="1272"/>
                </a:lnTo>
                <a:lnTo>
                  <a:pt x="516" y="1266"/>
                </a:lnTo>
                <a:lnTo>
                  <a:pt x="516" y="1260"/>
                </a:lnTo>
                <a:lnTo>
                  <a:pt x="510" y="1260"/>
                </a:lnTo>
                <a:lnTo>
                  <a:pt x="510" y="1254"/>
                </a:lnTo>
                <a:lnTo>
                  <a:pt x="510" y="1248"/>
                </a:lnTo>
                <a:lnTo>
                  <a:pt x="504" y="1248"/>
                </a:lnTo>
                <a:lnTo>
                  <a:pt x="510" y="1248"/>
                </a:lnTo>
                <a:lnTo>
                  <a:pt x="504" y="1242"/>
                </a:lnTo>
                <a:lnTo>
                  <a:pt x="498" y="1242"/>
                </a:lnTo>
                <a:lnTo>
                  <a:pt x="492" y="1236"/>
                </a:lnTo>
                <a:lnTo>
                  <a:pt x="492" y="1230"/>
                </a:lnTo>
                <a:lnTo>
                  <a:pt x="486" y="1230"/>
                </a:lnTo>
                <a:lnTo>
                  <a:pt x="480" y="1230"/>
                </a:lnTo>
                <a:lnTo>
                  <a:pt x="474" y="1224"/>
                </a:lnTo>
                <a:lnTo>
                  <a:pt x="480" y="1224"/>
                </a:lnTo>
                <a:lnTo>
                  <a:pt x="474" y="1224"/>
                </a:lnTo>
                <a:lnTo>
                  <a:pt x="474" y="1218"/>
                </a:lnTo>
                <a:lnTo>
                  <a:pt x="468" y="1218"/>
                </a:lnTo>
                <a:lnTo>
                  <a:pt x="468" y="1224"/>
                </a:lnTo>
                <a:lnTo>
                  <a:pt x="462" y="1224"/>
                </a:lnTo>
                <a:lnTo>
                  <a:pt x="462" y="1218"/>
                </a:lnTo>
                <a:lnTo>
                  <a:pt x="456" y="1218"/>
                </a:lnTo>
                <a:lnTo>
                  <a:pt x="450" y="1218"/>
                </a:lnTo>
                <a:lnTo>
                  <a:pt x="414" y="1188"/>
                </a:lnTo>
                <a:lnTo>
                  <a:pt x="414" y="1182"/>
                </a:lnTo>
                <a:lnTo>
                  <a:pt x="414" y="1176"/>
                </a:lnTo>
                <a:lnTo>
                  <a:pt x="408" y="1176"/>
                </a:lnTo>
                <a:lnTo>
                  <a:pt x="408" y="1170"/>
                </a:lnTo>
                <a:lnTo>
                  <a:pt x="402" y="1170"/>
                </a:lnTo>
                <a:lnTo>
                  <a:pt x="408" y="1170"/>
                </a:lnTo>
                <a:lnTo>
                  <a:pt x="402" y="1170"/>
                </a:lnTo>
                <a:lnTo>
                  <a:pt x="402" y="1164"/>
                </a:lnTo>
                <a:lnTo>
                  <a:pt x="402" y="1170"/>
                </a:lnTo>
                <a:lnTo>
                  <a:pt x="402" y="1164"/>
                </a:lnTo>
                <a:lnTo>
                  <a:pt x="396" y="1164"/>
                </a:lnTo>
                <a:lnTo>
                  <a:pt x="384" y="1164"/>
                </a:lnTo>
                <a:lnTo>
                  <a:pt x="384" y="1158"/>
                </a:lnTo>
                <a:lnTo>
                  <a:pt x="378" y="1158"/>
                </a:lnTo>
                <a:lnTo>
                  <a:pt x="372" y="1158"/>
                </a:lnTo>
                <a:lnTo>
                  <a:pt x="366" y="1158"/>
                </a:lnTo>
                <a:lnTo>
                  <a:pt x="360" y="1158"/>
                </a:lnTo>
                <a:lnTo>
                  <a:pt x="360" y="1152"/>
                </a:lnTo>
                <a:lnTo>
                  <a:pt x="354" y="1152"/>
                </a:lnTo>
                <a:lnTo>
                  <a:pt x="348" y="1152"/>
                </a:lnTo>
                <a:lnTo>
                  <a:pt x="354" y="1152"/>
                </a:lnTo>
                <a:lnTo>
                  <a:pt x="348" y="1146"/>
                </a:lnTo>
                <a:lnTo>
                  <a:pt x="348" y="1140"/>
                </a:lnTo>
                <a:lnTo>
                  <a:pt x="342" y="1140"/>
                </a:lnTo>
                <a:lnTo>
                  <a:pt x="336" y="1140"/>
                </a:lnTo>
                <a:lnTo>
                  <a:pt x="336" y="1146"/>
                </a:lnTo>
                <a:lnTo>
                  <a:pt x="330" y="1146"/>
                </a:lnTo>
                <a:lnTo>
                  <a:pt x="330" y="1140"/>
                </a:lnTo>
                <a:lnTo>
                  <a:pt x="330" y="1146"/>
                </a:lnTo>
                <a:lnTo>
                  <a:pt x="330" y="1140"/>
                </a:lnTo>
                <a:lnTo>
                  <a:pt x="324" y="1140"/>
                </a:lnTo>
                <a:lnTo>
                  <a:pt x="318" y="1140"/>
                </a:lnTo>
                <a:lnTo>
                  <a:pt x="312" y="1134"/>
                </a:lnTo>
                <a:lnTo>
                  <a:pt x="312" y="1128"/>
                </a:lnTo>
                <a:lnTo>
                  <a:pt x="306" y="1128"/>
                </a:lnTo>
                <a:lnTo>
                  <a:pt x="306" y="1122"/>
                </a:lnTo>
                <a:lnTo>
                  <a:pt x="300" y="1122"/>
                </a:lnTo>
                <a:lnTo>
                  <a:pt x="300" y="1116"/>
                </a:lnTo>
                <a:lnTo>
                  <a:pt x="300" y="1110"/>
                </a:lnTo>
                <a:lnTo>
                  <a:pt x="294" y="1110"/>
                </a:lnTo>
                <a:lnTo>
                  <a:pt x="300" y="1110"/>
                </a:lnTo>
                <a:lnTo>
                  <a:pt x="294" y="1110"/>
                </a:lnTo>
                <a:lnTo>
                  <a:pt x="294" y="1104"/>
                </a:lnTo>
                <a:lnTo>
                  <a:pt x="288" y="1104"/>
                </a:lnTo>
                <a:lnTo>
                  <a:pt x="288" y="1098"/>
                </a:lnTo>
                <a:lnTo>
                  <a:pt x="282" y="1098"/>
                </a:lnTo>
                <a:lnTo>
                  <a:pt x="282" y="1092"/>
                </a:lnTo>
                <a:lnTo>
                  <a:pt x="276" y="1092"/>
                </a:lnTo>
                <a:lnTo>
                  <a:pt x="270" y="1086"/>
                </a:lnTo>
                <a:lnTo>
                  <a:pt x="270" y="1080"/>
                </a:lnTo>
                <a:lnTo>
                  <a:pt x="264" y="1080"/>
                </a:lnTo>
                <a:lnTo>
                  <a:pt x="264" y="1086"/>
                </a:lnTo>
                <a:lnTo>
                  <a:pt x="264" y="1080"/>
                </a:lnTo>
                <a:lnTo>
                  <a:pt x="258" y="1080"/>
                </a:lnTo>
                <a:lnTo>
                  <a:pt x="258" y="1086"/>
                </a:lnTo>
                <a:lnTo>
                  <a:pt x="258" y="1092"/>
                </a:lnTo>
                <a:lnTo>
                  <a:pt x="258" y="1098"/>
                </a:lnTo>
                <a:lnTo>
                  <a:pt x="252" y="1098"/>
                </a:lnTo>
                <a:lnTo>
                  <a:pt x="246" y="1098"/>
                </a:lnTo>
                <a:lnTo>
                  <a:pt x="252" y="1098"/>
                </a:lnTo>
                <a:lnTo>
                  <a:pt x="246" y="1098"/>
                </a:lnTo>
                <a:lnTo>
                  <a:pt x="246" y="1104"/>
                </a:lnTo>
                <a:lnTo>
                  <a:pt x="240" y="1104"/>
                </a:lnTo>
                <a:lnTo>
                  <a:pt x="246" y="1104"/>
                </a:lnTo>
                <a:lnTo>
                  <a:pt x="240" y="1104"/>
                </a:lnTo>
                <a:lnTo>
                  <a:pt x="234" y="1110"/>
                </a:lnTo>
                <a:lnTo>
                  <a:pt x="228" y="1110"/>
                </a:lnTo>
                <a:lnTo>
                  <a:pt x="222" y="1110"/>
                </a:lnTo>
                <a:lnTo>
                  <a:pt x="222" y="1116"/>
                </a:lnTo>
                <a:lnTo>
                  <a:pt x="216" y="1110"/>
                </a:lnTo>
                <a:lnTo>
                  <a:pt x="216" y="1116"/>
                </a:lnTo>
                <a:lnTo>
                  <a:pt x="210" y="1116"/>
                </a:lnTo>
                <a:lnTo>
                  <a:pt x="210" y="1110"/>
                </a:lnTo>
                <a:lnTo>
                  <a:pt x="210" y="1104"/>
                </a:lnTo>
                <a:lnTo>
                  <a:pt x="210" y="1098"/>
                </a:lnTo>
                <a:lnTo>
                  <a:pt x="210" y="1092"/>
                </a:lnTo>
                <a:lnTo>
                  <a:pt x="216" y="1086"/>
                </a:lnTo>
                <a:lnTo>
                  <a:pt x="216" y="1080"/>
                </a:lnTo>
                <a:lnTo>
                  <a:pt x="210" y="1080"/>
                </a:lnTo>
                <a:lnTo>
                  <a:pt x="210" y="1074"/>
                </a:lnTo>
                <a:lnTo>
                  <a:pt x="204" y="1074"/>
                </a:lnTo>
                <a:lnTo>
                  <a:pt x="204" y="1068"/>
                </a:lnTo>
                <a:lnTo>
                  <a:pt x="204" y="1074"/>
                </a:lnTo>
                <a:lnTo>
                  <a:pt x="198" y="1068"/>
                </a:lnTo>
                <a:lnTo>
                  <a:pt x="192" y="1062"/>
                </a:lnTo>
                <a:lnTo>
                  <a:pt x="192" y="1056"/>
                </a:lnTo>
                <a:lnTo>
                  <a:pt x="186" y="1056"/>
                </a:lnTo>
                <a:lnTo>
                  <a:pt x="192" y="1050"/>
                </a:lnTo>
                <a:lnTo>
                  <a:pt x="186" y="1050"/>
                </a:lnTo>
                <a:lnTo>
                  <a:pt x="180" y="1050"/>
                </a:lnTo>
                <a:lnTo>
                  <a:pt x="186" y="1050"/>
                </a:lnTo>
                <a:lnTo>
                  <a:pt x="180" y="1050"/>
                </a:lnTo>
                <a:lnTo>
                  <a:pt x="180" y="1044"/>
                </a:lnTo>
                <a:lnTo>
                  <a:pt x="174" y="1044"/>
                </a:lnTo>
                <a:lnTo>
                  <a:pt x="174" y="1038"/>
                </a:lnTo>
                <a:lnTo>
                  <a:pt x="174" y="1044"/>
                </a:lnTo>
                <a:lnTo>
                  <a:pt x="168" y="1044"/>
                </a:lnTo>
                <a:lnTo>
                  <a:pt x="168" y="1038"/>
                </a:lnTo>
                <a:lnTo>
                  <a:pt x="162" y="1038"/>
                </a:lnTo>
                <a:lnTo>
                  <a:pt x="162" y="1032"/>
                </a:lnTo>
                <a:lnTo>
                  <a:pt x="156" y="1026"/>
                </a:lnTo>
                <a:lnTo>
                  <a:pt x="156" y="1032"/>
                </a:lnTo>
                <a:lnTo>
                  <a:pt x="156" y="1026"/>
                </a:lnTo>
                <a:lnTo>
                  <a:pt x="150" y="1020"/>
                </a:lnTo>
                <a:lnTo>
                  <a:pt x="150" y="1026"/>
                </a:lnTo>
                <a:lnTo>
                  <a:pt x="150" y="1020"/>
                </a:lnTo>
                <a:lnTo>
                  <a:pt x="144" y="1020"/>
                </a:lnTo>
                <a:lnTo>
                  <a:pt x="150" y="1020"/>
                </a:lnTo>
                <a:lnTo>
                  <a:pt x="144" y="1020"/>
                </a:lnTo>
                <a:lnTo>
                  <a:pt x="144" y="1014"/>
                </a:lnTo>
                <a:lnTo>
                  <a:pt x="138" y="1014"/>
                </a:lnTo>
                <a:lnTo>
                  <a:pt x="138" y="1008"/>
                </a:lnTo>
                <a:lnTo>
                  <a:pt x="132" y="1008"/>
                </a:lnTo>
                <a:lnTo>
                  <a:pt x="132" y="1014"/>
                </a:lnTo>
                <a:lnTo>
                  <a:pt x="132" y="1008"/>
                </a:lnTo>
                <a:lnTo>
                  <a:pt x="132" y="1002"/>
                </a:lnTo>
                <a:lnTo>
                  <a:pt x="126" y="1002"/>
                </a:lnTo>
                <a:lnTo>
                  <a:pt x="126" y="996"/>
                </a:lnTo>
                <a:lnTo>
                  <a:pt x="120" y="1002"/>
                </a:lnTo>
                <a:lnTo>
                  <a:pt x="120" y="996"/>
                </a:lnTo>
                <a:lnTo>
                  <a:pt x="114" y="996"/>
                </a:lnTo>
                <a:lnTo>
                  <a:pt x="108" y="990"/>
                </a:lnTo>
                <a:lnTo>
                  <a:pt x="114" y="990"/>
                </a:lnTo>
                <a:lnTo>
                  <a:pt x="108" y="990"/>
                </a:lnTo>
                <a:lnTo>
                  <a:pt x="108" y="984"/>
                </a:lnTo>
                <a:lnTo>
                  <a:pt x="102" y="984"/>
                </a:lnTo>
                <a:lnTo>
                  <a:pt x="96" y="984"/>
                </a:lnTo>
                <a:lnTo>
                  <a:pt x="96" y="990"/>
                </a:lnTo>
                <a:lnTo>
                  <a:pt x="96" y="984"/>
                </a:lnTo>
                <a:lnTo>
                  <a:pt x="90" y="984"/>
                </a:lnTo>
                <a:lnTo>
                  <a:pt x="84" y="984"/>
                </a:lnTo>
                <a:lnTo>
                  <a:pt x="78" y="984"/>
                </a:lnTo>
                <a:lnTo>
                  <a:pt x="72" y="984"/>
                </a:lnTo>
                <a:lnTo>
                  <a:pt x="72" y="990"/>
                </a:lnTo>
                <a:lnTo>
                  <a:pt x="72" y="984"/>
                </a:lnTo>
                <a:lnTo>
                  <a:pt x="72" y="990"/>
                </a:lnTo>
                <a:lnTo>
                  <a:pt x="66" y="990"/>
                </a:lnTo>
                <a:lnTo>
                  <a:pt x="66" y="996"/>
                </a:lnTo>
                <a:lnTo>
                  <a:pt x="60" y="996"/>
                </a:lnTo>
                <a:lnTo>
                  <a:pt x="60" y="1002"/>
                </a:lnTo>
                <a:lnTo>
                  <a:pt x="60" y="1008"/>
                </a:lnTo>
                <a:lnTo>
                  <a:pt x="54" y="1008"/>
                </a:lnTo>
                <a:lnTo>
                  <a:pt x="48" y="1008"/>
                </a:lnTo>
                <a:lnTo>
                  <a:pt x="42" y="1008"/>
                </a:lnTo>
                <a:lnTo>
                  <a:pt x="36" y="1008"/>
                </a:lnTo>
                <a:lnTo>
                  <a:pt x="30" y="1008"/>
                </a:lnTo>
                <a:lnTo>
                  <a:pt x="30" y="1014"/>
                </a:lnTo>
                <a:lnTo>
                  <a:pt x="30" y="1008"/>
                </a:lnTo>
                <a:lnTo>
                  <a:pt x="24" y="1008"/>
                </a:lnTo>
                <a:lnTo>
                  <a:pt x="18" y="1008"/>
                </a:lnTo>
                <a:lnTo>
                  <a:pt x="12" y="1008"/>
                </a:lnTo>
                <a:lnTo>
                  <a:pt x="6" y="1008"/>
                </a:lnTo>
                <a:lnTo>
                  <a:pt x="12" y="1002"/>
                </a:lnTo>
                <a:lnTo>
                  <a:pt x="6" y="996"/>
                </a:lnTo>
                <a:lnTo>
                  <a:pt x="0" y="996"/>
                </a:lnTo>
                <a:lnTo>
                  <a:pt x="6" y="996"/>
                </a:lnTo>
                <a:lnTo>
                  <a:pt x="12" y="996"/>
                </a:lnTo>
                <a:lnTo>
                  <a:pt x="18" y="990"/>
                </a:lnTo>
                <a:lnTo>
                  <a:pt x="24" y="984"/>
                </a:lnTo>
                <a:lnTo>
                  <a:pt x="24" y="978"/>
                </a:lnTo>
                <a:lnTo>
                  <a:pt x="30" y="978"/>
                </a:lnTo>
                <a:lnTo>
                  <a:pt x="36" y="972"/>
                </a:lnTo>
                <a:lnTo>
                  <a:pt x="42" y="966"/>
                </a:lnTo>
                <a:close/>
              </a:path>
            </a:pathLst>
          </a:custGeom>
          <a:noFill/>
          <a:ln w="3175" cap="rnd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267" name="Freeform 566"/>
          <p:cNvSpPr>
            <a:spLocks/>
          </p:cNvSpPr>
          <p:nvPr/>
        </p:nvSpPr>
        <p:spPr bwMode="auto">
          <a:xfrm>
            <a:off x="3361413" y="368300"/>
            <a:ext cx="3945025" cy="2643123"/>
          </a:xfrm>
          <a:custGeom>
            <a:avLst/>
            <a:gdLst>
              <a:gd name="T0" fmla="*/ 132 w 3684"/>
              <a:gd name="T1" fmla="*/ 1416 h 2466"/>
              <a:gd name="T2" fmla="*/ 270 w 3684"/>
              <a:gd name="T3" fmla="*/ 1272 h 2466"/>
              <a:gd name="T4" fmla="*/ 420 w 3684"/>
              <a:gd name="T5" fmla="*/ 1224 h 2466"/>
              <a:gd name="T6" fmla="*/ 594 w 3684"/>
              <a:gd name="T7" fmla="*/ 834 h 2466"/>
              <a:gd name="T8" fmla="*/ 564 w 3684"/>
              <a:gd name="T9" fmla="*/ 600 h 2466"/>
              <a:gd name="T10" fmla="*/ 576 w 3684"/>
              <a:gd name="T11" fmla="*/ 450 h 2466"/>
              <a:gd name="T12" fmla="*/ 900 w 3684"/>
              <a:gd name="T13" fmla="*/ 468 h 2466"/>
              <a:gd name="T14" fmla="*/ 1116 w 3684"/>
              <a:gd name="T15" fmla="*/ 576 h 2466"/>
              <a:gd name="T16" fmla="*/ 1266 w 3684"/>
              <a:gd name="T17" fmla="*/ 486 h 2466"/>
              <a:gd name="T18" fmla="*/ 1308 w 3684"/>
              <a:gd name="T19" fmla="*/ 366 h 2466"/>
              <a:gd name="T20" fmla="*/ 1218 w 3684"/>
              <a:gd name="T21" fmla="*/ 144 h 2466"/>
              <a:gd name="T22" fmla="*/ 1398 w 3684"/>
              <a:gd name="T23" fmla="*/ 180 h 2466"/>
              <a:gd name="T24" fmla="*/ 1560 w 3684"/>
              <a:gd name="T25" fmla="*/ 144 h 2466"/>
              <a:gd name="T26" fmla="*/ 1716 w 3684"/>
              <a:gd name="T27" fmla="*/ 66 h 2466"/>
              <a:gd name="T28" fmla="*/ 1800 w 3684"/>
              <a:gd name="T29" fmla="*/ 96 h 2466"/>
              <a:gd name="T30" fmla="*/ 1848 w 3684"/>
              <a:gd name="T31" fmla="*/ 216 h 2466"/>
              <a:gd name="T32" fmla="*/ 1860 w 3684"/>
              <a:gd name="T33" fmla="*/ 396 h 2466"/>
              <a:gd name="T34" fmla="*/ 1992 w 3684"/>
              <a:gd name="T35" fmla="*/ 522 h 2466"/>
              <a:gd name="T36" fmla="*/ 2148 w 3684"/>
              <a:gd name="T37" fmla="*/ 450 h 2466"/>
              <a:gd name="T38" fmla="*/ 2352 w 3684"/>
              <a:gd name="T39" fmla="*/ 426 h 2466"/>
              <a:gd name="T40" fmla="*/ 2460 w 3684"/>
              <a:gd name="T41" fmla="*/ 354 h 2466"/>
              <a:gd name="T42" fmla="*/ 2724 w 3684"/>
              <a:gd name="T43" fmla="*/ 396 h 2466"/>
              <a:gd name="T44" fmla="*/ 2874 w 3684"/>
              <a:gd name="T45" fmla="*/ 186 h 2466"/>
              <a:gd name="T46" fmla="*/ 3018 w 3684"/>
              <a:gd name="T47" fmla="*/ 354 h 2466"/>
              <a:gd name="T48" fmla="*/ 3114 w 3684"/>
              <a:gd name="T49" fmla="*/ 576 h 2466"/>
              <a:gd name="T50" fmla="*/ 3324 w 3684"/>
              <a:gd name="T51" fmla="*/ 750 h 2466"/>
              <a:gd name="T52" fmla="*/ 3468 w 3684"/>
              <a:gd name="T53" fmla="*/ 768 h 2466"/>
              <a:gd name="T54" fmla="*/ 3534 w 3684"/>
              <a:gd name="T55" fmla="*/ 792 h 2466"/>
              <a:gd name="T56" fmla="*/ 3588 w 3684"/>
              <a:gd name="T57" fmla="*/ 816 h 2466"/>
              <a:gd name="T58" fmla="*/ 3630 w 3684"/>
              <a:gd name="T59" fmla="*/ 816 h 2466"/>
              <a:gd name="T60" fmla="*/ 3570 w 3684"/>
              <a:gd name="T61" fmla="*/ 1026 h 2466"/>
              <a:gd name="T62" fmla="*/ 3510 w 3684"/>
              <a:gd name="T63" fmla="*/ 1176 h 2466"/>
              <a:gd name="T64" fmla="*/ 3324 w 3684"/>
              <a:gd name="T65" fmla="*/ 1356 h 2466"/>
              <a:gd name="T66" fmla="*/ 3444 w 3684"/>
              <a:gd name="T67" fmla="*/ 1590 h 2466"/>
              <a:gd name="T68" fmla="*/ 3522 w 3684"/>
              <a:gd name="T69" fmla="*/ 1728 h 2466"/>
              <a:gd name="T70" fmla="*/ 3528 w 3684"/>
              <a:gd name="T71" fmla="*/ 1836 h 2466"/>
              <a:gd name="T72" fmla="*/ 3582 w 3684"/>
              <a:gd name="T73" fmla="*/ 1974 h 2466"/>
              <a:gd name="T74" fmla="*/ 3606 w 3684"/>
              <a:gd name="T75" fmla="*/ 2100 h 2466"/>
              <a:gd name="T76" fmla="*/ 3594 w 3684"/>
              <a:gd name="T77" fmla="*/ 2244 h 2466"/>
              <a:gd name="T78" fmla="*/ 3600 w 3684"/>
              <a:gd name="T79" fmla="*/ 2370 h 2466"/>
              <a:gd name="T80" fmla="*/ 3432 w 3684"/>
              <a:gd name="T81" fmla="*/ 2424 h 2466"/>
              <a:gd name="T82" fmla="*/ 3306 w 3684"/>
              <a:gd name="T83" fmla="*/ 2388 h 2466"/>
              <a:gd name="T84" fmla="*/ 3090 w 3684"/>
              <a:gd name="T85" fmla="*/ 2334 h 2466"/>
              <a:gd name="T86" fmla="*/ 3042 w 3684"/>
              <a:gd name="T87" fmla="*/ 2310 h 2466"/>
              <a:gd name="T88" fmla="*/ 3072 w 3684"/>
              <a:gd name="T89" fmla="*/ 2022 h 2466"/>
              <a:gd name="T90" fmla="*/ 2154 w 3684"/>
              <a:gd name="T91" fmla="*/ 1830 h 2466"/>
              <a:gd name="T92" fmla="*/ 2046 w 3684"/>
              <a:gd name="T93" fmla="*/ 1746 h 2466"/>
              <a:gd name="T94" fmla="*/ 1614 w 3684"/>
              <a:gd name="T95" fmla="*/ 1920 h 2466"/>
              <a:gd name="T96" fmla="*/ 1692 w 3684"/>
              <a:gd name="T97" fmla="*/ 2118 h 2466"/>
              <a:gd name="T98" fmla="*/ 1824 w 3684"/>
              <a:gd name="T99" fmla="*/ 2256 h 2466"/>
              <a:gd name="T100" fmla="*/ 1734 w 3684"/>
              <a:gd name="T101" fmla="*/ 2460 h 2466"/>
              <a:gd name="T102" fmla="*/ 1572 w 3684"/>
              <a:gd name="T103" fmla="*/ 2430 h 2466"/>
              <a:gd name="T104" fmla="*/ 1422 w 3684"/>
              <a:gd name="T105" fmla="*/ 2334 h 2466"/>
              <a:gd name="T106" fmla="*/ 1218 w 3684"/>
              <a:gd name="T107" fmla="*/ 2274 h 2466"/>
              <a:gd name="T108" fmla="*/ 1140 w 3684"/>
              <a:gd name="T109" fmla="*/ 2118 h 2466"/>
              <a:gd name="T110" fmla="*/ 1068 w 3684"/>
              <a:gd name="T111" fmla="*/ 1956 h 2466"/>
              <a:gd name="T112" fmla="*/ 924 w 3684"/>
              <a:gd name="T113" fmla="*/ 2004 h 2466"/>
              <a:gd name="T114" fmla="*/ 708 w 3684"/>
              <a:gd name="T115" fmla="*/ 2130 h 2466"/>
              <a:gd name="T116" fmla="*/ 570 w 3684"/>
              <a:gd name="T117" fmla="*/ 2106 h 2466"/>
              <a:gd name="T118" fmla="*/ 456 w 3684"/>
              <a:gd name="T119" fmla="*/ 1908 h 2466"/>
              <a:gd name="T120" fmla="*/ 228 w 3684"/>
              <a:gd name="T121" fmla="*/ 1938 h 2466"/>
              <a:gd name="T122" fmla="*/ 90 w 3684"/>
              <a:gd name="T123" fmla="*/ 1794 h 24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684" h="2466">
                <a:moveTo>
                  <a:pt x="24" y="1608"/>
                </a:moveTo>
                <a:lnTo>
                  <a:pt x="24" y="1608"/>
                </a:lnTo>
                <a:lnTo>
                  <a:pt x="30" y="1608"/>
                </a:lnTo>
                <a:lnTo>
                  <a:pt x="30" y="1602"/>
                </a:lnTo>
                <a:lnTo>
                  <a:pt x="36" y="1596"/>
                </a:lnTo>
                <a:lnTo>
                  <a:pt x="30" y="1596"/>
                </a:lnTo>
                <a:lnTo>
                  <a:pt x="30" y="1590"/>
                </a:lnTo>
                <a:lnTo>
                  <a:pt x="30" y="1584"/>
                </a:lnTo>
                <a:lnTo>
                  <a:pt x="36" y="1578"/>
                </a:lnTo>
                <a:lnTo>
                  <a:pt x="36" y="1572"/>
                </a:lnTo>
                <a:lnTo>
                  <a:pt x="42" y="1572"/>
                </a:lnTo>
                <a:lnTo>
                  <a:pt x="42" y="1566"/>
                </a:lnTo>
                <a:lnTo>
                  <a:pt x="48" y="1566"/>
                </a:lnTo>
                <a:lnTo>
                  <a:pt x="48" y="1560"/>
                </a:lnTo>
                <a:lnTo>
                  <a:pt x="54" y="1560"/>
                </a:lnTo>
                <a:lnTo>
                  <a:pt x="60" y="1554"/>
                </a:lnTo>
                <a:lnTo>
                  <a:pt x="66" y="1554"/>
                </a:lnTo>
                <a:lnTo>
                  <a:pt x="72" y="1554"/>
                </a:lnTo>
                <a:lnTo>
                  <a:pt x="72" y="1548"/>
                </a:lnTo>
                <a:lnTo>
                  <a:pt x="78" y="1548"/>
                </a:lnTo>
                <a:lnTo>
                  <a:pt x="78" y="1542"/>
                </a:lnTo>
                <a:lnTo>
                  <a:pt x="84" y="1542"/>
                </a:lnTo>
                <a:lnTo>
                  <a:pt x="90" y="1542"/>
                </a:lnTo>
                <a:lnTo>
                  <a:pt x="96" y="1542"/>
                </a:lnTo>
                <a:lnTo>
                  <a:pt x="102" y="1536"/>
                </a:lnTo>
                <a:lnTo>
                  <a:pt x="102" y="1542"/>
                </a:lnTo>
                <a:lnTo>
                  <a:pt x="102" y="1536"/>
                </a:lnTo>
                <a:lnTo>
                  <a:pt x="108" y="1536"/>
                </a:lnTo>
                <a:lnTo>
                  <a:pt x="102" y="1536"/>
                </a:lnTo>
                <a:lnTo>
                  <a:pt x="108" y="1530"/>
                </a:lnTo>
                <a:lnTo>
                  <a:pt x="108" y="1536"/>
                </a:lnTo>
                <a:lnTo>
                  <a:pt x="108" y="1530"/>
                </a:lnTo>
                <a:lnTo>
                  <a:pt x="114" y="1524"/>
                </a:lnTo>
                <a:lnTo>
                  <a:pt x="114" y="1518"/>
                </a:lnTo>
                <a:lnTo>
                  <a:pt x="108" y="1512"/>
                </a:lnTo>
                <a:lnTo>
                  <a:pt x="108" y="1506"/>
                </a:lnTo>
                <a:lnTo>
                  <a:pt x="108" y="1500"/>
                </a:lnTo>
                <a:lnTo>
                  <a:pt x="102" y="1500"/>
                </a:lnTo>
                <a:lnTo>
                  <a:pt x="102" y="1494"/>
                </a:lnTo>
                <a:lnTo>
                  <a:pt x="102" y="1488"/>
                </a:lnTo>
                <a:lnTo>
                  <a:pt x="96" y="1482"/>
                </a:lnTo>
                <a:lnTo>
                  <a:pt x="96" y="1476"/>
                </a:lnTo>
                <a:lnTo>
                  <a:pt x="96" y="1470"/>
                </a:lnTo>
                <a:lnTo>
                  <a:pt x="102" y="1470"/>
                </a:lnTo>
                <a:lnTo>
                  <a:pt x="102" y="1464"/>
                </a:lnTo>
                <a:lnTo>
                  <a:pt x="108" y="1458"/>
                </a:lnTo>
                <a:lnTo>
                  <a:pt x="102" y="1458"/>
                </a:lnTo>
                <a:lnTo>
                  <a:pt x="108" y="1452"/>
                </a:lnTo>
                <a:lnTo>
                  <a:pt x="108" y="1446"/>
                </a:lnTo>
                <a:lnTo>
                  <a:pt x="114" y="1446"/>
                </a:lnTo>
                <a:lnTo>
                  <a:pt x="114" y="1440"/>
                </a:lnTo>
                <a:lnTo>
                  <a:pt x="120" y="1440"/>
                </a:lnTo>
                <a:lnTo>
                  <a:pt x="120" y="1434"/>
                </a:lnTo>
                <a:lnTo>
                  <a:pt x="126" y="1434"/>
                </a:lnTo>
                <a:lnTo>
                  <a:pt x="126" y="1428"/>
                </a:lnTo>
                <a:lnTo>
                  <a:pt x="132" y="1428"/>
                </a:lnTo>
                <a:lnTo>
                  <a:pt x="132" y="1422"/>
                </a:lnTo>
                <a:lnTo>
                  <a:pt x="132" y="1416"/>
                </a:lnTo>
                <a:lnTo>
                  <a:pt x="132" y="1410"/>
                </a:lnTo>
                <a:lnTo>
                  <a:pt x="138" y="1410"/>
                </a:lnTo>
                <a:lnTo>
                  <a:pt x="132" y="1410"/>
                </a:lnTo>
                <a:lnTo>
                  <a:pt x="138" y="1410"/>
                </a:lnTo>
                <a:lnTo>
                  <a:pt x="132" y="1410"/>
                </a:lnTo>
                <a:lnTo>
                  <a:pt x="132" y="1404"/>
                </a:lnTo>
                <a:lnTo>
                  <a:pt x="132" y="1398"/>
                </a:lnTo>
                <a:lnTo>
                  <a:pt x="138" y="1392"/>
                </a:lnTo>
                <a:lnTo>
                  <a:pt x="138" y="1386"/>
                </a:lnTo>
                <a:lnTo>
                  <a:pt x="138" y="1380"/>
                </a:lnTo>
                <a:lnTo>
                  <a:pt x="144" y="1380"/>
                </a:lnTo>
                <a:lnTo>
                  <a:pt x="144" y="1374"/>
                </a:lnTo>
                <a:lnTo>
                  <a:pt x="144" y="1368"/>
                </a:lnTo>
                <a:lnTo>
                  <a:pt x="144" y="1362"/>
                </a:lnTo>
                <a:lnTo>
                  <a:pt x="144" y="1356"/>
                </a:lnTo>
                <a:lnTo>
                  <a:pt x="150" y="1356"/>
                </a:lnTo>
                <a:lnTo>
                  <a:pt x="150" y="1350"/>
                </a:lnTo>
                <a:lnTo>
                  <a:pt x="156" y="1350"/>
                </a:lnTo>
                <a:lnTo>
                  <a:pt x="162" y="1350"/>
                </a:lnTo>
                <a:lnTo>
                  <a:pt x="162" y="1344"/>
                </a:lnTo>
                <a:lnTo>
                  <a:pt x="168" y="1344"/>
                </a:lnTo>
                <a:lnTo>
                  <a:pt x="174" y="1344"/>
                </a:lnTo>
                <a:lnTo>
                  <a:pt x="180" y="1344"/>
                </a:lnTo>
                <a:lnTo>
                  <a:pt x="180" y="1338"/>
                </a:lnTo>
                <a:lnTo>
                  <a:pt x="180" y="1332"/>
                </a:lnTo>
                <a:lnTo>
                  <a:pt x="186" y="1332"/>
                </a:lnTo>
                <a:lnTo>
                  <a:pt x="192" y="1332"/>
                </a:lnTo>
                <a:lnTo>
                  <a:pt x="192" y="1326"/>
                </a:lnTo>
                <a:lnTo>
                  <a:pt x="198" y="1326"/>
                </a:lnTo>
                <a:lnTo>
                  <a:pt x="198" y="1320"/>
                </a:lnTo>
                <a:lnTo>
                  <a:pt x="204" y="1320"/>
                </a:lnTo>
                <a:lnTo>
                  <a:pt x="204" y="1326"/>
                </a:lnTo>
                <a:lnTo>
                  <a:pt x="204" y="1320"/>
                </a:lnTo>
                <a:lnTo>
                  <a:pt x="210" y="1320"/>
                </a:lnTo>
                <a:lnTo>
                  <a:pt x="210" y="1314"/>
                </a:lnTo>
                <a:lnTo>
                  <a:pt x="210" y="1308"/>
                </a:lnTo>
                <a:lnTo>
                  <a:pt x="216" y="1308"/>
                </a:lnTo>
                <a:lnTo>
                  <a:pt x="222" y="1308"/>
                </a:lnTo>
                <a:lnTo>
                  <a:pt x="228" y="1302"/>
                </a:lnTo>
                <a:lnTo>
                  <a:pt x="228" y="1308"/>
                </a:lnTo>
                <a:lnTo>
                  <a:pt x="228" y="1302"/>
                </a:lnTo>
                <a:lnTo>
                  <a:pt x="234" y="1302"/>
                </a:lnTo>
                <a:lnTo>
                  <a:pt x="240" y="1302"/>
                </a:lnTo>
                <a:lnTo>
                  <a:pt x="240" y="1296"/>
                </a:lnTo>
                <a:lnTo>
                  <a:pt x="246" y="1296"/>
                </a:lnTo>
                <a:lnTo>
                  <a:pt x="252" y="1290"/>
                </a:lnTo>
                <a:lnTo>
                  <a:pt x="246" y="1290"/>
                </a:lnTo>
                <a:lnTo>
                  <a:pt x="252" y="1290"/>
                </a:lnTo>
                <a:lnTo>
                  <a:pt x="252" y="1284"/>
                </a:lnTo>
                <a:lnTo>
                  <a:pt x="258" y="1284"/>
                </a:lnTo>
                <a:lnTo>
                  <a:pt x="258" y="1290"/>
                </a:lnTo>
                <a:lnTo>
                  <a:pt x="258" y="1284"/>
                </a:lnTo>
                <a:lnTo>
                  <a:pt x="264" y="1284"/>
                </a:lnTo>
                <a:lnTo>
                  <a:pt x="264" y="1278"/>
                </a:lnTo>
                <a:lnTo>
                  <a:pt x="270" y="1278"/>
                </a:lnTo>
                <a:lnTo>
                  <a:pt x="270" y="1272"/>
                </a:lnTo>
                <a:lnTo>
                  <a:pt x="270" y="1278"/>
                </a:lnTo>
                <a:lnTo>
                  <a:pt x="270" y="1272"/>
                </a:lnTo>
                <a:lnTo>
                  <a:pt x="276" y="1272"/>
                </a:lnTo>
                <a:lnTo>
                  <a:pt x="282" y="1272"/>
                </a:lnTo>
                <a:lnTo>
                  <a:pt x="288" y="1266"/>
                </a:lnTo>
                <a:lnTo>
                  <a:pt x="288" y="1272"/>
                </a:lnTo>
                <a:lnTo>
                  <a:pt x="294" y="1266"/>
                </a:lnTo>
                <a:lnTo>
                  <a:pt x="288" y="1266"/>
                </a:lnTo>
                <a:lnTo>
                  <a:pt x="294" y="1266"/>
                </a:lnTo>
                <a:lnTo>
                  <a:pt x="294" y="1272"/>
                </a:lnTo>
                <a:lnTo>
                  <a:pt x="300" y="1272"/>
                </a:lnTo>
                <a:lnTo>
                  <a:pt x="306" y="1266"/>
                </a:lnTo>
                <a:lnTo>
                  <a:pt x="306" y="1272"/>
                </a:lnTo>
                <a:lnTo>
                  <a:pt x="306" y="1266"/>
                </a:lnTo>
                <a:lnTo>
                  <a:pt x="312" y="1266"/>
                </a:lnTo>
                <a:lnTo>
                  <a:pt x="306" y="1272"/>
                </a:lnTo>
                <a:lnTo>
                  <a:pt x="312" y="1272"/>
                </a:lnTo>
                <a:lnTo>
                  <a:pt x="318" y="1272"/>
                </a:lnTo>
                <a:lnTo>
                  <a:pt x="318" y="1266"/>
                </a:lnTo>
                <a:lnTo>
                  <a:pt x="324" y="1266"/>
                </a:lnTo>
                <a:lnTo>
                  <a:pt x="324" y="1260"/>
                </a:lnTo>
                <a:lnTo>
                  <a:pt x="324" y="1266"/>
                </a:lnTo>
                <a:lnTo>
                  <a:pt x="324" y="1260"/>
                </a:lnTo>
                <a:lnTo>
                  <a:pt x="330" y="1260"/>
                </a:lnTo>
                <a:lnTo>
                  <a:pt x="330" y="1266"/>
                </a:lnTo>
                <a:lnTo>
                  <a:pt x="336" y="1266"/>
                </a:lnTo>
                <a:lnTo>
                  <a:pt x="336" y="1260"/>
                </a:lnTo>
                <a:lnTo>
                  <a:pt x="342" y="1260"/>
                </a:lnTo>
                <a:lnTo>
                  <a:pt x="348" y="1260"/>
                </a:lnTo>
                <a:lnTo>
                  <a:pt x="348" y="1266"/>
                </a:lnTo>
                <a:lnTo>
                  <a:pt x="348" y="1260"/>
                </a:lnTo>
                <a:lnTo>
                  <a:pt x="354" y="1260"/>
                </a:lnTo>
                <a:lnTo>
                  <a:pt x="354" y="1254"/>
                </a:lnTo>
                <a:lnTo>
                  <a:pt x="360" y="1254"/>
                </a:lnTo>
                <a:lnTo>
                  <a:pt x="360" y="1260"/>
                </a:lnTo>
                <a:lnTo>
                  <a:pt x="360" y="1254"/>
                </a:lnTo>
                <a:lnTo>
                  <a:pt x="366" y="1254"/>
                </a:lnTo>
                <a:lnTo>
                  <a:pt x="360" y="1254"/>
                </a:lnTo>
                <a:lnTo>
                  <a:pt x="366" y="1260"/>
                </a:lnTo>
                <a:lnTo>
                  <a:pt x="366" y="1254"/>
                </a:lnTo>
                <a:lnTo>
                  <a:pt x="366" y="1260"/>
                </a:lnTo>
                <a:lnTo>
                  <a:pt x="372" y="1254"/>
                </a:lnTo>
                <a:lnTo>
                  <a:pt x="372" y="1260"/>
                </a:lnTo>
                <a:lnTo>
                  <a:pt x="378" y="1254"/>
                </a:lnTo>
                <a:lnTo>
                  <a:pt x="372" y="1254"/>
                </a:lnTo>
                <a:lnTo>
                  <a:pt x="378" y="1254"/>
                </a:lnTo>
                <a:lnTo>
                  <a:pt x="384" y="1254"/>
                </a:lnTo>
                <a:lnTo>
                  <a:pt x="390" y="1254"/>
                </a:lnTo>
                <a:lnTo>
                  <a:pt x="390" y="1248"/>
                </a:lnTo>
                <a:lnTo>
                  <a:pt x="390" y="1254"/>
                </a:lnTo>
                <a:lnTo>
                  <a:pt x="396" y="1254"/>
                </a:lnTo>
                <a:lnTo>
                  <a:pt x="396" y="1248"/>
                </a:lnTo>
                <a:lnTo>
                  <a:pt x="402" y="1254"/>
                </a:lnTo>
                <a:lnTo>
                  <a:pt x="402" y="1248"/>
                </a:lnTo>
                <a:lnTo>
                  <a:pt x="402" y="1242"/>
                </a:lnTo>
                <a:lnTo>
                  <a:pt x="408" y="1242"/>
                </a:lnTo>
                <a:lnTo>
                  <a:pt x="408" y="1236"/>
                </a:lnTo>
                <a:lnTo>
                  <a:pt x="414" y="1236"/>
                </a:lnTo>
                <a:lnTo>
                  <a:pt x="414" y="1230"/>
                </a:lnTo>
                <a:lnTo>
                  <a:pt x="420" y="1224"/>
                </a:lnTo>
                <a:lnTo>
                  <a:pt x="426" y="1230"/>
                </a:lnTo>
                <a:lnTo>
                  <a:pt x="432" y="1230"/>
                </a:lnTo>
                <a:lnTo>
                  <a:pt x="432" y="1224"/>
                </a:lnTo>
                <a:lnTo>
                  <a:pt x="438" y="1218"/>
                </a:lnTo>
                <a:lnTo>
                  <a:pt x="438" y="1224"/>
                </a:lnTo>
                <a:lnTo>
                  <a:pt x="438" y="1230"/>
                </a:lnTo>
                <a:lnTo>
                  <a:pt x="444" y="1230"/>
                </a:lnTo>
                <a:lnTo>
                  <a:pt x="444" y="1224"/>
                </a:lnTo>
                <a:lnTo>
                  <a:pt x="450" y="1224"/>
                </a:lnTo>
                <a:lnTo>
                  <a:pt x="456" y="1224"/>
                </a:lnTo>
                <a:lnTo>
                  <a:pt x="450" y="1230"/>
                </a:lnTo>
                <a:lnTo>
                  <a:pt x="456" y="1230"/>
                </a:lnTo>
                <a:lnTo>
                  <a:pt x="456" y="1224"/>
                </a:lnTo>
                <a:lnTo>
                  <a:pt x="456" y="1230"/>
                </a:lnTo>
                <a:lnTo>
                  <a:pt x="462" y="1224"/>
                </a:lnTo>
                <a:lnTo>
                  <a:pt x="468" y="1224"/>
                </a:lnTo>
                <a:lnTo>
                  <a:pt x="474" y="1224"/>
                </a:lnTo>
                <a:lnTo>
                  <a:pt x="474" y="1230"/>
                </a:lnTo>
                <a:lnTo>
                  <a:pt x="474" y="1224"/>
                </a:lnTo>
                <a:lnTo>
                  <a:pt x="480" y="1224"/>
                </a:lnTo>
                <a:lnTo>
                  <a:pt x="480" y="1230"/>
                </a:lnTo>
                <a:lnTo>
                  <a:pt x="480" y="1236"/>
                </a:lnTo>
                <a:lnTo>
                  <a:pt x="480" y="1242"/>
                </a:lnTo>
                <a:lnTo>
                  <a:pt x="486" y="1242"/>
                </a:lnTo>
                <a:lnTo>
                  <a:pt x="486" y="1248"/>
                </a:lnTo>
                <a:lnTo>
                  <a:pt x="492" y="1248"/>
                </a:lnTo>
                <a:lnTo>
                  <a:pt x="492" y="1254"/>
                </a:lnTo>
                <a:lnTo>
                  <a:pt x="498" y="1254"/>
                </a:lnTo>
                <a:lnTo>
                  <a:pt x="498" y="1248"/>
                </a:lnTo>
                <a:lnTo>
                  <a:pt x="498" y="1242"/>
                </a:lnTo>
                <a:lnTo>
                  <a:pt x="504" y="1242"/>
                </a:lnTo>
                <a:lnTo>
                  <a:pt x="504" y="1236"/>
                </a:lnTo>
                <a:lnTo>
                  <a:pt x="504" y="1242"/>
                </a:lnTo>
                <a:lnTo>
                  <a:pt x="510" y="1242"/>
                </a:lnTo>
                <a:lnTo>
                  <a:pt x="510" y="1248"/>
                </a:lnTo>
                <a:lnTo>
                  <a:pt x="516" y="1248"/>
                </a:lnTo>
                <a:lnTo>
                  <a:pt x="522" y="1248"/>
                </a:lnTo>
                <a:lnTo>
                  <a:pt x="522" y="1242"/>
                </a:lnTo>
                <a:lnTo>
                  <a:pt x="528" y="1242"/>
                </a:lnTo>
                <a:lnTo>
                  <a:pt x="528" y="1236"/>
                </a:lnTo>
                <a:lnTo>
                  <a:pt x="528" y="1230"/>
                </a:lnTo>
                <a:lnTo>
                  <a:pt x="534" y="1194"/>
                </a:lnTo>
                <a:lnTo>
                  <a:pt x="540" y="1164"/>
                </a:lnTo>
                <a:lnTo>
                  <a:pt x="558" y="1056"/>
                </a:lnTo>
                <a:lnTo>
                  <a:pt x="570" y="1002"/>
                </a:lnTo>
                <a:lnTo>
                  <a:pt x="582" y="930"/>
                </a:lnTo>
                <a:lnTo>
                  <a:pt x="588" y="882"/>
                </a:lnTo>
                <a:lnTo>
                  <a:pt x="588" y="876"/>
                </a:lnTo>
                <a:lnTo>
                  <a:pt x="594" y="876"/>
                </a:lnTo>
                <a:lnTo>
                  <a:pt x="594" y="870"/>
                </a:lnTo>
                <a:lnTo>
                  <a:pt x="594" y="864"/>
                </a:lnTo>
                <a:lnTo>
                  <a:pt x="600" y="864"/>
                </a:lnTo>
                <a:lnTo>
                  <a:pt x="600" y="858"/>
                </a:lnTo>
                <a:lnTo>
                  <a:pt x="594" y="858"/>
                </a:lnTo>
                <a:lnTo>
                  <a:pt x="594" y="852"/>
                </a:lnTo>
                <a:lnTo>
                  <a:pt x="594" y="846"/>
                </a:lnTo>
                <a:lnTo>
                  <a:pt x="594" y="840"/>
                </a:lnTo>
                <a:lnTo>
                  <a:pt x="594" y="834"/>
                </a:lnTo>
                <a:lnTo>
                  <a:pt x="600" y="834"/>
                </a:lnTo>
                <a:lnTo>
                  <a:pt x="600" y="828"/>
                </a:lnTo>
                <a:lnTo>
                  <a:pt x="594" y="822"/>
                </a:lnTo>
                <a:lnTo>
                  <a:pt x="594" y="816"/>
                </a:lnTo>
                <a:lnTo>
                  <a:pt x="588" y="810"/>
                </a:lnTo>
                <a:lnTo>
                  <a:pt x="582" y="804"/>
                </a:lnTo>
                <a:lnTo>
                  <a:pt x="582" y="798"/>
                </a:lnTo>
                <a:lnTo>
                  <a:pt x="576" y="798"/>
                </a:lnTo>
                <a:lnTo>
                  <a:pt x="576" y="792"/>
                </a:lnTo>
                <a:lnTo>
                  <a:pt x="576" y="786"/>
                </a:lnTo>
                <a:lnTo>
                  <a:pt x="570" y="786"/>
                </a:lnTo>
                <a:lnTo>
                  <a:pt x="570" y="780"/>
                </a:lnTo>
                <a:lnTo>
                  <a:pt x="570" y="774"/>
                </a:lnTo>
                <a:lnTo>
                  <a:pt x="576" y="774"/>
                </a:lnTo>
                <a:lnTo>
                  <a:pt x="576" y="768"/>
                </a:lnTo>
                <a:lnTo>
                  <a:pt x="576" y="762"/>
                </a:lnTo>
                <a:lnTo>
                  <a:pt x="570" y="762"/>
                </a:lnTo>
                <a:lnTo>
                  <a:pt x="570" y="756"/>
                </a:lnTo>
                <a:lnTo>
                  <a:pt x="570" y="750"/>
                </a:lnTo>
                <a:lnTo>
                  <a:pt x="564" y="750"/>
                </a:lnTo>
                <a:lnTo>
                  <a:pt x="564" y="744"/>
                </a:lnTo>
                <a:lnTo>
                  <a:pt x="558" y="744"/>
                </a:lnTo>
                <a:lnTo>
                  <a:pt x="552" y="744"/>
                </a:lnTo>
                <a:lnTo>
                  <a:pt x="552" y="738"/>
                </a:lnTo>
                <a:lnTo>
                  <a:pt x="546" y="738"/>
                </a:lnTo>
                <a:lnTo>
                  <a:pt x="546" y="732"/>
                </a:lnTo>
                <a:lnTo>
                  <a:pt x="540" y="732"/>
                </a:lnTo>
                <a:lnTo>
                  <a:pt x="540" y="726"/>
                </a:lnTo>
                <a:lnTo>
                  <a:pt x="534" y="726"/>
                </a:lnTo>
                <a:lnTo>
                  <a:pt x="534" y="732"/>
                </a:lnTo>
                <a:lnTo>
                  <a:pt x="528" y="726"/>
                </a:lnTo>
                <a:lnTo>
                  <a:pt x="528" y="720"/>
                </a:lnTo>
                <a:lnTo>
                  <a:pt x="522" y="720"/>
                </a:lnTo>
                <a:lnTo>
                  <a:pt x="522" y="714"/>
                </a:lnTo>
                <a:lnTo>
                  <a:pt x="510" y="708"/>
                </a:lnTo>
                <a:lnTo>
                  <a:pt x="510" y="702"/>
                </a:lnTo>
                <a:lnTo>
                  <a:pt x="516" y="702"/>
                </a:lnTo>
                <a:lnTo>
                  <a:pt x="516" y="684"/>
                </a:lnTo>
                <a:lnTo>
                  <a:pt x="516" y="672"/>
                </a:lnTo>
                <a:lnTo>
                  <a:pt x="516" y="654"/>
                </a:lnTo>
                <a:lnTo>
                  <a:pt x="516" y="618"/>
                </a:lnTo>
                <a:lnTo>
                  <a:pt x="516" y="612"/>
                </a:lnTo>
                <a:lnTo>
                  <a:pt x="522" y="612"/>
                </a:lnTo>
                <a:lnTo>
                  <a:pt x="528" y="612"/>
                </a:lnTo>
                <a:lnTo>
                  <a:pt x="528" y="606"/>
                </a:lnTo>
                <a:lnTo>
                  <a:pt x="534" y="606"/>
                </a:lnTo>
                <a:lnTo>
                  <a:pt x="540" y="606"/>
                </a:lnTo>
                <a:lnTo>
                  <a:pt x="546" y="606"/>
                </a:lnTo>
                <a:lnTo>
                  <a:pt x="546" y="612"/>
                </a:lnTo>
                <a:lnTo>
                  <a:pt x="546" y="606"/>
                </a:lnTo>
                <a:lnTo>
                  <a:pt x="552" y="606"/>
                </a:lnTo>
                <a:lnTo>
                  <a:pt x="552" y="600"/>
                </a:lnTo>
                <a:lnTo>
                  <a:pt x="552" y="606"/>
                </a:lnTo>
                <a:lnTo>
                  <a:pt x="558" y="606"/>
                </a:lnTo>
                <a:lnTo>
                  <a:pt x="558" y="600"/>
                </a:lnTo>
                <a:lnTo>
                  <a:pt x="558" y="594"/>
                </a:lnTo>
                <a:lnTo>
                  <a:pt x="564" y="594"/>
                </a:lnTo>
                <a:lnTo>
                  <a:pt x="564" y="600"/>
                </a:lnTo>
                <a:lnTo>
                  <a:pt x="570" y="600"/>
                </a:lnTo>
                <a:lnTo>
                  <a:pt x="576" y="594"/>
                </a:lnTo>
                <a:lnTo>
                  <a:pt x="582" y="594"/>
                </a:lnTo>
                <a:lnTo>
                  <a:pt x="582" y="588"/>
                </a:lnTo>
                <a:lnTo>
                  <a:pt x="588" y="588"/>
                </a:lnTo>
                <a:lnTo>
                  <a:pt x="594" y="588"/>
                </a:lnTo>
                <a:lnTo>
                  <a:pt x="594" y="594"/>
                </a:lnTo>
                <a:lnTo>
                  <a:pt x="594" y="600"/>
                </a:lnTo>
                <a:lnTo>
                  <a:pt x="600" y="600"/>
                </a:lnTo>
                <a:lnTo>
                  <a:pt x="606" y="606"/>
                </a:lnTo>
                <a:lnTo>
                  <a:pt x="606" y="600"/>
                </a:lnTo>
                <a:lnTo>
                  <a:pt x="612" y="600"/>
                </a:lnTo>
                <a:lnTo>
                  <a:pt x="612" y="606"/>
                </a:lnTo>
                <a:lnTo>
                  <a:pt x="618" y="606"/>
                </a:lnTo>
                <a:lnTo>
                  <a:pt x="624" y="606"/>
                </a:lnTo>
                <a:lnTo>
                  <a:pt x="624" y="600"/>
                </a:lnTo>
                <a:lnTo>
                  <a:pt x="630" y="600"/>
                </a:lnTo>
                <a:lnTo>
                  <a:pt x="636" y="600"/>
                </a:lnTo>
                <a:lnTo>
                  <a:pt x="630" y="594"/>
                </a:lnTo>
                <a:lnTo>
                  <a:pt x="630" y="588"/>
                </a:lnTo>
                <a:lnTo>
                  <a:pt x="624" y="588"/>
                </a:lnTo>
                <a:lnTo>
                  <a:pt x="630" y="582"/>
                </a:lnTo>
                <a:lnTo>
                  <a:pt x="630" y="576"/>
                </a:lnTo>
                <a:lnTo>
                  <a:pt x="630" y="570"/>
                </a:lnTo>
                <a:lnTo>
                  <a:pt x="630" y="564"/>
                </a:lnTo>
                <a:lnTo>
                  <a:pt x="624" y="564"/>
                </a:lnTo>
                <a:lnTo>
                  <a:pt x="630" y="558"/>
                </a:lnTo>
                <a:lnTo>
                  <a:pt x="624" y="558"/>
                </a:lnTo>
                <a:lnTo>
                  <a:pt x="624" y="552"/>
                </a:lnTo>
                <a:lnTo>
                  <a:pt x="618" y="546"/>
                </a:lnTo>
                <a:lnTo>
                  <a:pt x="612" y="546"/>
                </a:lnTo>
                <a:lnTo>
                  <a:pt x="606" y="540"/>
                </a:lnTo>
                <a:lnTo>
                  <a:pt x="600" y="540"/>
                </a:lnTo>
                <a:lnTo>
                  <a:pt x="594" y="546"/>
                </a:lnTo>
                <a:lnTo>
                  <a:pt x="594" y="540"/>
                </a:lnTo>
                <a:lnTo>
                  <a:pt x="588" y="540"/>
                </a:lnTo>
                <a:lnTo>
                  <a:pt x="582" y="540"/>
                </a:lnTo>
                <a:lnTo>
                  <a:pt x="576" y="540"/>
                </a:lnTo>
                <a:lnTo>
                  <a:pt x="570" y="540"/>
                </a:lnTo>
                <a:lnTo>
                  <a:pt x="564" y="540"/>
                </a:lnTo>
                <a:lnTo>
                  <a:pt x="558" y="546"/>
                </a:lnTo>
                <a:lnTo>
                  <a:pt x="558" y="540"/>
                </a:lnTo>
                <a:lnTo>
                  <a:pt x="558" y="534"/>
                </a:lnTo>
                <a:lnTo>
                  <a:pt x="552" y="540"/>
                </a:lnTo>
                <a:lnTo>
                  <a:pt x="546" y="540"/>
                </a:lnTo>
                <a:lnTo>
                  <a:pt x="546" y="546"/>
                </a:lnTo>
                <a:lnTo>
                  <a:pt x="540" y="546"/>
                </a:lnTo>
                <a:lnTo>
                  <a:pt x="540" y="540"/>
                </a:lnTo>
                <a:lnTo>
                  <a:pt x="540" y="516"/>
                </a:lnTo>
                <a:lnTo>
                  <a:pt x="540" y="480"/>
                </a:lnTo>
                <a:lnTo>
                  <a:pt x="540" y="462"/>
                </a:lnTo>
                <a:lnTo>
                  <a:pt x="546" y="462"/>
                </a:lnTo>
                <a:lnTo>
                  <a:pt x="552" y="462"/>
                </a:lnTo>
                <a:lnTo>
                  <a:pt x="552" y="456"/>
                </a:lnTo>
                <a:lnTo>
                  <a:pt x="558" y="456"/>
                </a:lnTo>
                <a:lnTo>
                  <a:pt x="564" y="456"/>
                </a:lnTo>
                <a:lnTo>
                  <a:pt x="570" y="456"/>
                </a:lnTo>
                <a:lnTo>
                  <a:pt x="576" y="450"/>
                </a:lnTo>
                <a:lnTo>
                  <a:pt x="588" y="456"/>
                </a:lnTo>
                <a:lnTo>
                  <a:pt x="588" y="450"/>
                </a:lnTo>
                <a:lnTo>
                  <a:pt x="588" y="456"/>
                </a:lnTo>
                <a:lnTo>
                  <a:pt x="594" y="456"/>
                </a:lnTo>
                <a:lnTo>
                  <a:pt x="600" y="456"/>
                </a:lnTo>
                <a:lnTo>
                  <a:pt x="600" y="462"/>
                </a:lnTo>
                <a:lnTo>
                  <a:pt x="600" y="456"/>
                </a:lnTo>
                <a:lnTo>
                  <a:pt x="624" y="456"/>
                </a:lnTo>
                <a:lnTo>
                  <a:pt x="690" y="456"/>
                </a:lnTo>
                <a:lnTo>
                  <a:pt x="756" y="456"/>
                </a:lnTo>
                <a:lnTo>
                  <a:pt x="762" y="456"/>
                </a:lnTo>
                <a:lnTo>
                  <a:pt x="756" y="456"/>
                </a:lnTo>
                <a:lnTo>
                  <a:pt x="756" y="450"/>
                </a:lnTo>
                <a:lnTo>
                  <a:pt x="750" y="450"/>
                </a:lnTo>
                <a:lnTo>
                  <a:pt x="750" y="444"/>
                </a:lnTo>
                <a:lnTo>
                  <a:pt x="744" y="444"/>
                </a:lnTo>
                <a:lnTo>
                  <a:pt x="750" y="438"/>
                </a:lnTo>
                <a:lnTo>
                  <a:pt x="750" y="432"/>
                </a:lnTo>
                <a:lnTo>
                  <a:pt x="750" y="426"/>
                </a:lnTo>
                <a:lnTo>
                  <a:pt x="756" y="426"/>
                </a:lnTo>
                <a:lnTo>
                  <a:pt x="762" y="426"/>
                </a:lnTo>
                <a:lnTo>
                  <a:pt x="768" y="432"/>
                </a:lnTo>
                <a:lnTo>
                  <a:pt x="768" y="438"/>
                </a:lnTo>
                <a:lnTo>
                  <a:pt x="774" y="438"/>
                </a:lnTo>
                <a:lnTo>
                  <a:pt x="780" y="444"/>
                </a:lnTo>
                <a:lnTo>
                  <a:pt x="786" y="444"/>
                </a:lnTo>
                <a:lnTo>
                  <a:pt x="792" y="444"/>
                </a:lnTo>
                <a:lnTo>
                  <a:pt x="792" y="438"/>
                </a:lnTo>
                <a:lnTo>
                  <a:pt x="798" y="438"/>
                </a:lnTo>
                <a:lnTo>
                  <a:pt x="798" y="432"/>
                </a:lnTo>
                <a:lnTo>
                  <a:pt x="804" y="432"/>
                </a:lnTo>
                <a:lnTo>
                  <a:pt x="804" y="426"/>
                </a:lnTo>
                <a:lnTo>
                  <a:pt x="810" y="420"/>
                </a:lnTo>
                <a:lnTo>
                  <a:pt x="822" y="420"/>
                </a:lnTo>
                <a:lnTo>
                  <a:pt x="828" y="420"/>
                </a:lnTo>
                <a:lnTo>
                  <a:pt x="834" y="420"/>
                </a:lnTo>
                <a:lnTo>
                  <a:pt x="834" y="414"/>
                </a:lnTo>
                <a:lnTo>
                  <a:pt x="840" y="408"/>
                </a:lnTo>
                <a:lnTo>
                  <a:pt x="840" y="402"/>
                </a:lnTo>
                <a:lnTo>
                  <a:pt x="852" y="396"/>
                </a:lnTo>
                <a:lnTo>
                  <a:pt x="852" y="390"/>
                </a:lnTo>
                <a:lnTo>
                  <a:pt x="858" y="390"/>
                </a:lnTo>
                <a:lnTo>
                  <a:pt x="864" y="396"/>
                </a:lnTo>
                <a:lnTo>
                  <a:pt x="864" y="408"/>
                </a:lnTo>
                <a:lnTo>
                  <a:pt x="870" y="414"/>
                </a:lnTo>
                <a:lnTo>
                  <a:pt x="870" y="420"/>
                </a:lnTo>
                <a:lnTo>
                  <a:pt x="870" y="432"/>
                </a:lnTo>
                <a:lnTo>
                  <a:pt x="870" y="438"/>
                </a:lnTo>
                <a:lnTo>
                  <a:pt x="876" y="438"/>
                </a:lnTo>
                <a:lnTo>
                  <a:pt x="876" y="444"/>
                </a:lnTo>
                <a:lnTo>
                  <a:pt x="882" y="444"/>
                </a:lnTo>
                <a:lnTo>
                  <a:pt x="888" y="444"/>
                </a:lnTo>
                <a:lnTo>
                  <a:pt x="894" y="444"/>
                </a:lnTo>
                <a:lnTo>
                  <a:pt x="894" y="450"/>
                </a:lnTo>
                <a:lnTo>
                  <a:pt x="894" y="456"/>
                </a:lnTo>
                <a:lnTo>
                  <a:pt x="900" y="456"/>
                </a:lnTo>
                <a:lnTo>
                  <a:pt x="900" y="462"/>
                </a:lnTo>
                <a:lnTo>
                  <a:pt x="900" y="468"/>
                </a:lnTo>
                <a:lnTo>
                  <a:pt x="900" y="486"/>
                </a:lnTo>
                <a:lnTo>
                  <a:pt x="900" y="492"/>
                </a:lnTo>
                <a:lnTo>
                  <a:pt x="900" y="498"/>
                </a:lnTo>
                <a:lnTo>
                  <a:pt x="900" y="504"/>
                </a:lnTo>
                <a:lnTo>
                  <a:pt x="900" y="510"/>
                </a:lnTo>
                <a:lnTo>
                  <a:pt x="900" y="522"/>
                </a:lnTo>
                <a:lnTo>
                  <a:pt x="900" y="528"/>
                </a:lnTo>
                <a:lnTo>
                  <a:pt x="900" y="534"/>
                </a:lnTo>
                <a:lnTo>
                  <a:pt x="930" y="522"/>
                </a:lnTo>
                <a:lnTo>
                  <a:pt x="960" y="552"/>
                </a:lnTo>
                <a:lnTo>
                  <a:pt x="1002" y="588"/>
                </a:lnTo>
                <a:lnTo>
                  <a:pt x="1014" y="582"/>
                </a:lnTo>
                <a:lnTo>
                  <a:pt x="1020" y="588"/>
                </a:lnTo>
                <a:lnTo>
                  <a:pt x="1026" y="588"/>
                </a:lnTo>
                <a:lnTo>
                  <a:pt x="1026" y="582"/>
                </a:lnTo>
                <a:lnTo>
                  <a:pt x="1032" y="582"/>
                </a:lnTo>
                <a:lnTo>
                  <a:pt x="1032" y="576"/>
                </a:lnTo>
                <a:lnTo>
                  <a:pt x="1032" y="582"/>
                </a:lnTo>
                <a:lnTo>
                  <a:pt x="1038" y="576"/>
                </a:lnTo>
                <a:lnTo>
                  <a:pt x="1038" y="582"/>
                </a:lnTo>
                <a:lnTo>
                  <a:pt x="1044" y="576"/>
                </a:lnTo>
                <a:lnTo>
                  <a:pt x="1050" y="570"/>
                </a:lnTo>
                <a:lnTo>
                  <a:pt x="1056" y="570"/>
                </a:lnTo>
                <a:lnTo>
                  <a:pt x="1056" y="564"/>
                </a:lnTo>
                <a:lnTo>
                  <a:pt x="1062" y="564"/>
                </a:lnTo>
                <a:lnTo>
                  <a:pt x="1062" y="558"/>
                </a:lnTo>
                <a:lnTo>
                  <a:pt x="1068" y="558"/>
                </a:lnTo>
                <a:lnTo>
                  <a:pt x="1074" y="558"/>
                </a:lnTo>
                <a:lnTo>
                  <a:pt x="1074" y="552"/>
                </a:lnTo>
                <a:lnTo>
                  <a:pt x="1080" y="552"/>
                </a:lnTo>
                <a:lnTo>
                  <a:pt x="1086" y="552"/>
                </a:lnTo>
                <a:lnTo>
                  <a:pt x="1092" y="552"/>
                </a:lnTo>
                <a:lnTo>
                  <a:pt x="1098" y="558"/>
                </a:lnTo>
                <a:lnTo>
                  <a:pt x="1098" y="552"/>
                </a:lnTo>
                <a:lnTo>
                  <a:pt x="1098" y="558"/>
                </a:lnTo>
                <a:lnTo>
                  <a:pt x="1104" y="558"/>
                </a:lnTo>
                <a:lnTo>
                  <a:pt x="1098" y="558"/>
                </a:lnTo>
                <a:lnTo>
                  <a:pt x="1104" y="564"/>
                </a:lnTo>
                <a:lnTo>
                  <a:pt x="1104" y="570"/>
                </a:lnTo>
                <a:lnTo>
                  <a:pt x="1104" y="576"/>
                </a:lnTo>
                <a:lnTo>
                  <a:pt x="1098" y="576"/>
                </a:lnTo>
                <a:lnTo>
                  <a:pt x="1098" y="582"/>
                </a:lnTo>
                <a:lnTo>
                  <a:pt x="1098" y="588"/>
                </a:lnTo>
                <a:lnTo>
                  <a:pt x="1092" y="588"/>
                </a:lnTo>
                <a:lnTo>
                  <a:pt x="1098" y="588"/>
                </a:lnTo>
                <a:lnTo>
                  <a:pt x="1098" y="594"/>
                </a:lnTo>
                <a:lnTo>
                  <a:pt x="1098" y="600"/>
                </a:lnTo>
                <a:lnTo>
                  <a:pt x="1104" y="594"/>
                </a:lnTo>
                <a:lnTo>
                  <a:pt x="1110" y="594"/>
                </a:lnTo>
                <a:lnTo>
                  <a:pt x="1116" y="594"/>
                </a:lnTo>
                <a:lnTo>
                  <a:pt x="1116" y="588"/>
                </a:lnTo>
                <a:lnTo>
                  <a:pt x="1122" y="588"/>
                </a:lnTo>
                <a:lnTo>
                  <a:pt x="1122" y="582"/>
                </a:lnTo>
                <a:lnTo>
                  <a:pt x="1116" y="582"/>
                </a:lnTo>
                <a:lnTo>
                  <a:pt x="1122" y="582"/>
                </a:lnTo>
                <a:lnTo>
                  <a:pt x="1116" y="582"/>
                </a:lnTo>
                <a:lnTo>
                  <a:pt x="1122" y="582"/>
                </a:lnTo>
                <a:lnTo>
                  <a:pt x="1116" y="576"/>
                </a:lnTo>
                <a:lnTo>
                  <a:pt x="1122" y="576"/>
                </a:lnTo>
                <a:lnTo>
                  <a:pt x="1122" y="570"/>
                </a:lnTo>
                <a:lnTo>
                  <a:pt x="1128" y="570"/>
                </a:lnTo>
                <a:lnTo>
                  <a:pt x="1128" y="564"/>
                </a:lnTo>
                <a:lnTo>
                  <a:pt x="1134" y="558"/>
                </a:lnTo>
                <a:lnTo>
                  <a:pt x="1134" y="564"/>
                </a:lnTo>
                <a:lnTo>
                  <a:pt x="1134" y="558"/>
                </a:lnTo>
                <a:lnTo>
                  <a:pt x="1134" y="564"/>
                </a:lnTo>
                <a:lnTo>
                  <a:pt x="1140" y="564"/>
                </a:lnTo>
                <a:lnTo>
                  <a:pt x="1146" y="564"/>
                </a:lnTo>
                <a:lnTo>
                  <a:pt x="1152" y="558"/>
                </a:lnTo>
                <a:lnTo>
                  <a:pt x="1152" y="552"/>
                </a:lnTo>
                <a:lnTo>
                  <a:pt x="1146" y="552"/>
                </a:lnTo>
                <a:lnTo>
                  <a:pt x="1152" y="552"/>
                </a:lnTo>
                <a:lnTo>
                  <a:pt x="1152" y="546"/>
                </a:lnTo>
                <a:lnTo>
                  <a:pt x="1152" y="540"/>
                </a:lnTo>
                <a:lnTo>
                  <a:pt x="1152" y="534"/>
                </a:lnTo>
                <a:lnTo>
                  <a:pt x="1158" y="534"/>
                </a:lnTo>
                <a:lnTo>
                  <a:pt x="1164" y="534"/>
                </a:lnTo>
                <a:lnTo>
                  <a:pt x="1164" y="540"/>
                </a:lnTo>
                <a:lnTo>
                  <a:pt x="1170" y="540"/>
                </a:lnTo>
                <a:lnTo>
                  <a:pt x="1170" y="534"/>
                </a:lnTo>
                <a:lnTo>
                  <a:pt x="1176" y="528"/>
                </a:lnTo>
                <a:lnTo>
                  <a:pt x="1176" y="522"/>
                </a:lnTo>
                <a:lnTo>
                  <a:pt x="1176" y="528"/>
                </a:lnTo>
                <a:lnTo>
                  <a:pt x="1182" y="528"/>
                </a:lnTo>
                <a:lnTo>
                  <a:pt x="1182" y="522"/>
                </a:lnTo>
                <a:lnTo>
                  <a:pt x="1188" y="522"/>
                </a:lnTo>
                <a:lnTo>
                  <a:pt x="1188" y="516"/>
                </a:lnTo>
                <a:lnTo>
                  <a:pt x="1194" y="516"/>
                </a:lnTo>
                <a:lnTo>
                  <a:pt x="1194" y="510"/>
                </a:lnTo>
                <a:lnTo>
                  <a:pt x="1200" y="516"/>
                </a:lnTo>
                <a:lnTo>
                  <a:pt x="1200" y="522"/>
                </a:lnTo>
                <a:lnTo>
                  <a:pt x="1206" y="522"/>
                </a:lnTo>
                <a:lnTo>
                  <a:pt x="1206" y="516"/>
                </a:lnTo>
                <a:lnTo>
                  <a:pt x="1212" y="516"/>
                </a:lnTo>
                <a:lnTo>
                  <a:pt x="1218" y="516"/>
                </a:lnTo>
                <a:lnTo>
                  <a:pt x="1218" y="510"/>
                </a:lnTo>
                <a:lnTo>
                  <a:pt x="1224" y="510"/>
                </a:lnTo>
                <a:lnTo>
                  <a:pt x="1224" y="504"/>
                </a:lnTo>
                <a:lnTo>
                  <a:pt x="1230" y="498"/>
                </a:lnTo>
                <a:lnTo>
                  <a:pt x="1236" y="498"/>
                </a:lnTo>
                <a:lnTo>
                  <a:pt x="1236" y="492"/>
                </a:lnTo>
                <a:lnTo>
                  <a:pt x="1242" y="492"/>
                </a:lnTo>
                <a:lnTo>
                  <a:pt x="1248" y="492"/>
                </a:lnTo>
                <a:lnTo>
                  <a:pt x="1248" y="486"/>
                </a:lnTo>
                <a:lnTo>
                  <a:pt x="1254" y="486"/>
                </a:lnTo>
                <a:lnTo>
                  <a:pt x="1254" y="492"/>
                </a:lnTo>
                <a:lnTo>
                  <a:pt x="1248" y="498"/>
                </a:lnTo>
                <a:lnTo>
                  <a:pt x="1248" y="504"/>
                </a:lnTo>
                <a:lnTo>
                  <a:pt x="1254" y="504"/>
                </a:lnTo>
                <a:lnTo>
                  <a:pt x="1260" y="504"/>
                </a:lnTo>
                <a:lnTo>
                  <a:pt x="1254" y="504"/>
                </a:lnTo>
                <a:lnTo>
                  <a:pt x="1260" y="504"/>
                </a:lnTo>
                <a:lnTo>
                  <a:pt x="1260" y="498"/>
                </a:lnTo>
                <a:lnTo>
                  <a:pt x="1260" y="492"/>
                </a:lnTo>
                <a:lnTo>
                  <a:pt x="1266" y="492"/>
                </a:lnTo>
                <a:lnTo>
                  <a:pt x="1266" y="486"/>
                </a:lnTo>
                <a:lnTo>
                  <a:pt x="1272" y="486"/>
                </a:lnTo>
                <a:lnTo>
                  <a:pt x="1278" y="486"/>
                </a:lnTo>
                <a:lnTo>
                  <a:pt x="1278" y="480"/>
                </a:lnTo>
                <a:lnTo>
                  <a:pt x="1284" y="480"/>
                </a:lnTo>
                <a:lnTo>
                  <a:pt x="1284" y="474"/>
                </a:lnTo>
                <a:lnTo>
                  <a:pt x="1290" y="474"/>
                </a:lnTo>
                <a:lnTo>
                  <a:pt x="1290" y="468"/>
                </a:lnTo>
                <a:lnTo>
                  <a:pt x="1290" y="462"/>
                </a:lnTo>
                <a:lnTo>
                  <a:pt x="1296" y="462"/>
                </a:lnTo>
                <a:lnTo>
                  <a:pt x="1290" y="462"/>
                </a:lnTo>
                <a:lnTo>
                  <a:pt x="1290" y="456"/>
                </a:lnTo>
                <a:lnTo>
                  <a:pt x="1290" y="450"/>
                </a:lnTo>
                <a:lnTo>
                  <a:pt x="1296" y="450"/>
                </a:lnTo>
                <a:lnTo>
                  <a:pt x="1290" y="444"/>
                </a:lnTo>
                <a:lnTo>
                  <a:pt x="1296" y="444"/>
                </a:lnTo>
                <a:lnTo>
                  <a:pt x="1290" y="444"/>
                </a:lnTo>
                <a:lnTo>
                  <a:pt x="1290" y="438"/>
                </a:lnTo>
                <a:lnTo>
                  <a:pt x="1296" y="432"/>
                </a:lnTo>
                <a:lnTo>
                  <a:pt x="1290" y="432"/>
                </a:lnTo>
                <a:lnTo>
                  <a:pt x="1296" y="432"/>
                </a:lnTo>
                <a:lnTo>
                  <a:pt x="1296" y="426"/>
                </a:lnTo>
                <a:lnTo>
                  <a:pt x="1302" y="426"/>
                </a:lnTo>
                <a:lnTo>
                  <a:pt x="1308" y="426"/>
                </a:lnTo>
                <a:lnTo>
                  <a:pt x="1314" y="426"/>
                </a:lnTo>
                <a:lnTo>
                  <a:pt x="1320" y="426"/>
                </a:lnTo>
                <a:lnTo>
                  <a:pt x="1326" y="426"/>
                </a:lnTo>
                <a:lnTo>
                  <a:pt x="1332" y="426"/>
                </a:lnTo>
                <a:lnTo>
                  <a:pt x="1332" y="420"/>
                </a:lnTo>
                <a:lnTo>
                  <a:pt x="1332" y="426"/>
                </a:lnTo>
                <a:lnTo>
                  <a:pt x="1332" y="420"/>
                </a:lnTo>
                <a:lnTo>
                  <a:pt x="1338" y="420"/>
                </a:lnTo>
                <a:lnTo>
                  <a:pt x="1344" y="420"/>
                </a:lnTo>
                <a:lnTo>
                  <a:pt x="1344" y="414"/>
                </a:lnTo>
                <a:lnTo>
                  <a:pt x="1350" y="414"/>
                </a:lnTo>
                <a:lnTo>
                  <a:pt x="1350" y="408"/>
                </a:lnTo>
                <a:lnTo>
                  <a:pt x="1356" y="408"/>
                </a:lnTo>
                <a:lnTo>
                  <a:pt x="1362" y="408"/>
                </a:lnTo>
                <a:lnTo>
                  <a:pt x="1368" y="408"/>
                </a:lnTo>
                <a:lnTo>
                  <a:pt x="1368" y="402"/>
                </a:lnTo>
                <a:lnTo>
                  <a:pt x="1374" y="408"/>
                </a:lnTo>
                <a:lnTo>
                  <a:pt x="1380" y="402"/>
                </a:lnTo>
                <a:lnTo>
                  <a:pt x="1380" y="396"/>
                </a:lnTo>
                <a:lnTo>
                  <a:pt x="1380" y="390"/>
                </a:lnTo>
                <a:lnTo>
                  <a:pt x="1380" y="384"/>
                </a:lnTo>
                <a:lnTo>
                  <a:pt x="1374" y="378"/>
                </a:lnTo>
                <a:lnTo>
                  <a:pt x="1374" y="372"/>
                </a:lnTo>
                <a:lnTo>
                  <a:pt x="1380" y="372"/>
                </a:lnTo>
                <a:lnTo>
                  <a:pt x="1380" y="366"/>
                </a:lnTo>
                <a:lnTo>
                  <a:pt x="1374" y="366"/>
                </a:lnTo>
                <a:lnTo>
                  <a:pt x="1368" y="366"/>
                </a:lnTo>
                <a:lnTo>
                  <a:pt x="1356" y="372"/>
                </a:lnTo>
                <a:lnTo>
                  <a:pt x="1344" y="372"/>
                </a:lnTo>
                <a:lnTo>
                  <a:pt x="1338" y="372"/>
                </a:lnTo>
                <a:lnTo>
                  <a:pt x="1332" y="372"/>
                </a:lnTo>
                <a:lnTo>
                  <a:pt x="1320" y="372"/>
                </a:lnTo>
                <a:lnTo>
                  <a:pt x="1320" y="366"/>
                </a:lnTo>
                <a:lnTo>
                  <a:pt x="1314" y="366"/>
                </a:lnTo>
                <a:lnTo>
                  <a:pt x="1308" y="366"/>
                </a:lnTo>
                <a:lnTo>
                  <a:pt x="1302" y="360"/>
                </a:lnTo>
                <a:lnTo>
                  <a:pt x="1296" y="360"/>
                </a:lnTo>
                <a:lnTo>
                  <a:pt x="1296" y="354"/>
                </a:lnTo>
                <a:lnTo>
                  <a:pt x="1296" y="348"/>
                </a:lnTo>
                <a:lnTo>
                  <a:pt x="1302" y="342"/>
                </a:lnTo>
                <a:lnTo>
                  <a:pt x="1302" y="336"/>
                </a:lnTo>
                <a:lnTo>
                  <a:pt x="1302" y="330"/>
                </a:lnTo>
                <a:lnTo>
                  <a:pt x="1302" y="324"/>
                </a:lnTo>
                <a:lnTo>
                  <a:pt x="1302" y="318"/>
                </a:lnTo>
                <a:lnTo>
                  <a:pt x="1296" y="312"/>
                </a:lnTo>
                <a:lnTo>
                  <a:pt x="1290" y="306"/>
                </a:lnTo>
                <a:lnTo>
                  <a:pt x="1290" y="300"/>
                </a:lnTo>
                <a:lnTo>
                  <a:pt x="1284" y="300"/>
                </a:lnTo>
                <a:lnTo>
                  <a:pt x="1284" y="294"/>
                </a:lnTo>
                <a:lnTo>
                  <a:pt x="1278" y="288"/>
                </a:lnTo>
                <a:lnTo>
                  <a:pt x="1278" y="282"/>
                </a:lnTo>
                <a:lnTo>
                  <a:pt x="1272" y="282"/>
                </a:lnTo>
                <a:lnTo>
                  <a:pt x="1272" y="276"/>
                </a:lnTo>
                <a:lnTo>
                  <a:pt x="1272" y="270"/>
                </a:lnTo>
                <a:lnTo>
                  <a:pt x="1272" y="264"/>
                </a:lnTo>
                <a:lnTo>
                  <a:pt x="1272" y="258"/>
                </a:lnTo>
                <a:lnTo>
                  <a:pt x="1272" y="252"/>
                </a:lnTo>
                <a:lnTo>
                  <a:pt x="1272" y="240"/>
                </a:lnTo>
                <a:lnTo>
                  <a:pt x="1266" y="240"/>
                </a:lnTo>
                <a:lnTo>
                  <a:pt x="1272" y="234"/>
                </a:lnTo>
                <a:lnTo>
                  <a:pt x="1272" y="228"/>
                </a:lnTo>
                <a:lnTo>
                  <a:pt x="1278" y="228"/>
                </a:lnTo>
                <a:lnTo>
                  <a:pt x="1278" y="222"/>
                </a:lnTo>
                <a:lnTo>
                  <a:pt x="1272" y="216"/>
                </a:lnTo>
                <a:lnTo>
                  <a:pt x="1272" y="210"/>
                </a:lnTo>
                <a:lnTo>
                  <a:pt x="1266" y="210"/>
                </a:lnTo>
                <a:lnTo>
                  <a:pt x="1266" y="204"/>
                </a:lnTo>
                <a:lnTo>
                  <a:pt x="1260" y="198"/>
                </a:lnTo>
                <a:lnTo>
                  <a:pt x="1254" y="198"/>
                </a:lnTo>
                <a:lnTo>
                  <a:pt x="1248" y="192"/>
                </a:lnTo>
                <a:lnTo>
                  <a:pt x="1242" y="192"/>
                </a:lnTo>
                <a:lnTo>
                  <a:pt x="1236" y="192"/>
                </a:lnTo>
                <a:lnTo>
                  <a:pt x="1236" y="186"/>
                </a:lnTo>
                <a:lnTo>
                  <a:pt x="1230" y="186"/>
                </a:lnTo>
                <a:lnTo>
                  <a:pt x="1230" y="180"/>
                </a:lnTo>
                <a:lnTo>
                  <a:pt x="1224" y="180"/>
                </a:lnTo>
                <a:lnTo>
                  <a:pt x="1224" y="174"/>
                </a:lnTo>
                <a:lnTo>
                  <a:pt x="1224" y="168"/>
                </a:lnTo>
                <a:lnTo>
                  <a:pt x="1218" y="168"/>
                </a:lnTo>
                <a:lnTo>
                  <a:pt x="1218" y="162"/>
                </a:lnTo>
                <a:lnTo>
                  <a:pt x="1212" y="162"/>
                </a:lnTo>
                <a:lnTo>
                  <a:pt x="1212" y="156"/>
                </a:lnTo>
                <a:lnTo>
                  <a:pt x="1206" y="156"/>
                </a:lnTo>
                <a:lnTo>
                  <a:pt x="1206" y="150"/>
                </a:lnTo>
                <a:lnTo>
                  <a:pt x="1206" y="144"/>
                </a:lnTo>
                <a:lnTo>
                  <a:pt x="1200" y="144"/>
                </a:lnTo>
                <a:lnTo>
                  <a:pt x="1194" y="138"/>
                </a:lnTo>
                <a:lnTo>
                  <a:pt x="1194" y="132"/>
                </a:lnTo>
                <a:lnTo>
                  <a:pt x="1194" y="126"/>
                </a:lnTo>
                <a:lnTo>
                  <a:pt x="1200" y="126"/>
                </a:lnTo>
                <a:lnTo>
                  <a:pt x="1212" y="132"/>
                </a:lnTo>
                <a:lnTo>
                  <a:pt x="1218" y="138"/>
                </a:lnTo>
                <a:lnTo>
                  <a:pt x="1218" y="144"/>
                </a:lnTo>
                <a:lnTo>
                  <a:pt x="1224" y="150"/>
                </a:lnTo>
                <a:lnTo>
                  <a:pt x="1230" y="150"/>
                </a:lnTo>
                <a:lnTo>
                  <a:pt x="1236" y="150"/>
                </a:lnTo>
                <a:lnTo>
                  <a:pt x="1242" y="144"/>
                </a:lnTo>
                <a:lnTo>
                  <a:pt x="1248" y="144"/>
                </a:lnTo>
                <a:lnTo>
                  <a:pt x="1260" y="144"/>
                </a:lnTo>
                <a:lnTo>
                  <a:pt x="1266" y="144"/>
                </a:lnTo>
                <a:lnTo>
                  <a:pt x="1272" y="144"/>
                </a:lnTo>
                <a:lnTo>
                  <a:pt x="1272" y="150"/>
                </a:lnTo>
                <a:lnTo>
                  <a:pt x="1278" y="150"/>
                </a:lnTo>
                <a:lnTo>
                  <a:pt x="1278" y="144"/>
                </a:lnTo>
                <a:lnTo>
                  <a:pt x="1284" y="150"/>
                </a:lnTo>
                <a:lnTo>
                  <a:pt x="1290" y="156"/>
                </a:lnTo>
                <a:lnTo>
                  <a:pt x="1290" y="162"/>
                </a:lnTo>
                <a:lnTo>
                  <a:pt x="1296" y="168"/>
                </a:lnTo>
                <a:lnTo>
                  <a:pt x="1296" y="174"/>
                </a:lnTo>
                <a:lnTo>
                  <a:pt x="1302" y="174"/>
                </a:lnTo>
                <a:lnTo>
                  <a:pt x="1308" y="180"/>
                </a:lnTo>
                <a:lnTo>
                  <a:pt x="1308" y="174"/>
                </a:lnTo>
                <a:lnTo>
                  <a:pt x="1314" y="174"/>
                </a:lnTo>
                <a:lnTo>
                  <a:pt x="1320" y="168"/>
                </a:lnTo>
                <a:lnTo>
                  <a:pt x="1326" y="168"/>
                </a:lnTo>
                <a:lnTo>
                  <a:pt x="1326" y="174"/>
                </a:lnTo>
                <a:lnTo>
                  <a:pt x="1332" y="168"/>
                </a:lnTo>
                <a:lnTo>
                  <a:pt x="1332" y="174"/>
                </a:lnTo>
                <a:lnTo>
                  <a:pt x="1332" y="168"/>
                </a:lnTo>
                <a:lnTo>
                  <a:pt x="1338" y="174"/>
                </a:lnTo>
                <a:lnTo>
                  <a:pt x="1332" y="174"/>
                </a:lnTo>
                <a:lnTo>
                  <a:pt x="1338" y="174"/>
                </a:lnTo>
                <a:lnTo>
                  <a:pt x="1344" y="174"/>
                </a:lnTo>
                <a:lnTo>
                  <a:pt x="1344" y="168"/>
                </a:lnTo>
                <a:lnTo>
                  <a:pt x="1338" y="168"/>
                </a:lnTo>
                <a:lnTo>
                  <a:pt x="1344" y="162"/>
                </a:lnTo>
                <a:lnTo>
                  <a:pt x="1350" y="168"/>
                </a:lnTo>
                <a:lnTo>
                  <a:pt x="1356" y="174"/>
                </a:lnTo>
                <a:lnTo>
                  <a:pt x="1356" y="180"/>
                </a:lnTo>
                <a:lnTo>
                  <a:pt x="1362" y="174"/>
                </a:lnTo>
                <a:lnTo>
                  <a:pt x="1356" y="180"/>
                </a:lnTo>
                <a:lnTo>
                  <a:pt x="1362" y="180"/>
                </a:lnTo>
                <a:lnTo>
                  <a:pt x="1368" y="180"/>
                </a:lnTo>
                <a:lnTo>
                  <a:pt x="1368" y="186"/>
                </a:lnTo>
                <a:lnTo>
                  <a:pt x="1368" y="180"/>
                </a:lnTo>
                <a:lnTo>
                  <a:pt x="1374" y="180"/>
                </a:lnTo>
                <a:lnTo>
                  <a:pt x="1374" y="174"/>
                </a:lnTo>
                <a:lnTo>
                  <a:pt x="1380" y="174"/>
                </a:lnTo>
                <a:lnTo>
                  <a:pt x="1374" y="174"/>
                </a:lnTo>
                <a:lnTo>
                  <a:pt x="1380" y="174"/>
                </a:lnTo>
                <a:lnTo>
                  <a:pt x="1374" y="174"/>
                </a:lnTo>
                <a:lnTo>
                  <a:pt x="1374" y="168"/>
                </a:lnTo>
                <a:lnTo>
                  <a:pt x="1380" y="168"/>
                </a:lnTo>
                <a:lnTo>
                  <a:pt x="1386" y="168"/>
                </a:lnTo>
                <a:lnTo>
                  <a:pt x="1392" y="168"/>
                </a:lnTo>
                <a:lnTo>
                  <a:pt x="1392" y="162"/>
                </a:lnTo>
                <a:lnTo>
                  <a:pt x="1392" y="168"/>
                </a:lnTo>
                <a:lnTo>
                  <a:pt x="1398" y="168"/>
                </a:lnTo>
                <a:lnTo>
                  <a:pt x="1404" y="168"/>
                </a:lnTo>
                <a:lnTo>
                  <a:pt x="1404" y="174"/>
                </a:lnTo>
                <a:lnTo>
                  <a:pt x="1398" y="180"/>
                </a:lnTo>
                <a:lnTo>
                  <a:pt x="1404" y="180"/>
                </a:lnTo>
                <a:lnTo>
                  <a:pt x="1404" y="186"/>
                </a:lnTo>
                <a:lnTo>
                  <a:pt x="1410" y="186"/>
                </a:lnTo>
                <a:lnTo>
                  <a:pt x="1416" y="186"/>
                </a:lnTo>
                <a:lnTo>
                  <a:pt x="1416" y="192"/>
                </a:lnTo>
                <a:lnTo>
                  <a:pt x="1422" y="192"/>
                </a:lnTo>
                <a:lnTo>
                  <a:pt x="1422" y="198"/>
                </a:lnTo>
                <a:lnTo>
                  <a:pt x="1422" y="204"/>
                </a:lnTo>
                <a:lnTo>
                  <a:pt x="1428" y="204"/>
                </a:lnTo>
                <a:lnTo>
                  <a:pt x="1428" y="210"/>
                </a:lnTo>
                <a:lnTo>
                  <a:pt x="1434" y="216"/>
                </a:lnTo>
                <a:lnTo>
                  <a:pt x="1440" y="216"/>
                </a:lnTo>
                <a:lnTo>
                  <a:pt x="1440" y="210"/>
                </a:lnTo>
                <a:lnTo>
                  <a:pt x="1440" y="204"/>
                </a:lnTo>
                <a:lnTo>
                  <a:pt x="1446" y="204"/>
                </a:lnTo>
                <a:lnTo>
                  <a:pt x="1452" y="198"/>
                </a:lnTo>
                <a:lnTo>
                  <a:pt x="1458" y="198"/>
                </a:lnTo>
                <a:lnTo>
                  <a:pt x="1458" y="204"/>
                </a:lnTo>
                <a:lnTo>
                  <a:pt x="1464" y="204"/>
                </a:lnTo>
                <a:lnTo>
                  <a:pt x="1464" y="198"/>
                </a:lnTo>
                <a:lnTo>
                  <a:pt x="1464" y="192"/>
                </a:lnTo>
                <a:lnTo>
                  <a:pt x="1464" y="186"/>
                </a:lnTo>
                <a:lnTo>
                  <a:pt x="1458" y="186"/>
                </a:lnTo>
                <a:lnTo>
                  <a:pt x="1464" y="180"/>
                </a:lnTo>
                <a:lnTo>
                  <a:pt x="1458" y="180"/>
                </a:lnTo>
                <a:lnTo>
                  <a:pt x="1458" y="174"/>
                </a:lnTo>
                <a:lnTo>
                  <a:pt x="1464" y="168"/>
                </a:lnTo>
                <a:lnTo>
                  <a:pt x="1464" y="162"/>
                </a:lnTo>
                <a:lnTo>
                  <a:pt x="1464" y="156"/>
                </a:lnTo>
                <a:lnTo>
                  <a:pt x="1470" y="156"/>
                </a:lnTo>
                <a:lnTo>
                  <a:pt x="1476" y="156"/>
                </a:lnTo>
                <a:lnTo>
                  <a:pt x="1482" y="156"/>
                </a:lnTo>
                <a:lnTo>
                  <a:pt x="1488" y="162"/>
                </a:lnTo>
                <a:lnTo>
                  <a:pt x="1488" y="156"/>
                </a:lnTo>
                <a:lnTo>
                  <a:pt x="1494" y="156"/>
                </a:lnTo>
                <a:lnTo>
                  <a:pt x="1488" y="156"/>
                </a:lnTo>
                <a:lnTo>
                  <a:pt x="1488" y="150"/>
                </a:lnTo>
                <a:lnTo>
                  <a:pt x="1494" y="150"/>
                </a:lnTo>
                <a:lnTo>
                  <a:pt x="1494" y="144"/>
                </a:lnTo>
                <a:lnTo>
                  <a:pt x="1500" y="144"/>
                </a:lnTo>
                <a:lnTo>
                  <a:pt x="1500" y="138"/>
                </a:lnTo>
                <a:lnTo>
                  <a:pt x="1506" y="138"/>
                </a:lnTo>
                <a:lnTo>
                  <a:pt x="1512" y="138"/>
                </a:lnTo>
                <a:lnTo>
                  <a:pt x="1512" y="144"/>
                </a:lnTo>
                <a:lnTo>
                  <a:pt x="1512" y="138"/>
                </a:lnTo>
                <a:lnTo>
                  <a:pt x="1518" y="144"/>
                </a:lnTo>
                <a:lnTo>
                  <a:pt x="1524" y="144"/>
                </a:lnTo>
                <a:lnTo>
                  <a:pt x="1530" y="144"/>
                </a:lnTo>
                <a:lnTo>
                  <a:pt x="1530" y="150"/>
                </a:lnTo>
                <a:lnTo>
                  <a:pt x="1536" y="150"/>
                </a:lnTo>
                <a:lnTo>
                  <a:pt x="1542" y="150"/>
                </a:lnTo>
                <a:lnTo>
                  <a:pt x="1548" y="150"/>
                </a:lnTo>
                <a:lnTo>
                  <a:pt x="1548" y="144"/>
                </a:lnTo>
                <a:lnTo>
                  <a:pt x="1554" y="150"/>
                </a:lnTo>
                <a:lnTo>
                  <a:pt x="1554" y="144"/>
                </a:lnTo>
                <a:lnTo>
                  <a:pt x="1548" y="144"/>
                </a:lnTo>
                <a:lnTo>
                  <a:pt x="1554" y="144"/>
                </a:lnTo>
                <a:lnTo>
                  <a:pt x="1560" y="144"/>
                </a:lnTo>
                <a:lnTo>
                  <a:pt x="1560" y="138"/>
                </a:lnTo>
                <a:lnTo>
                  <a:pt x="1566" y="138"/>
                </a:lnTo>
                <a:lnTo>
                  <a:pt x="1566" y="144"/>
                </a:lnTo>
                <a:lnTo>
                  <a:pt x="1566" y="150"/>
                </a:lnTo>
                <a:lnTo>
                  <a:pt x="1572" y="150"/>
                </a:lnTo>
                <a:lnTo>
                  <a:pt x="1572" y="144"/>
                </a:lnTo>
                <a:lnTo>
                  <a:pt x="1578" y="144"/>
                </a:lnTo>
                <a:lnTo>
                  <a:pt x="1578" y="138"/>
                </a:lnTo>
                <a:lnTo>
                  <a:pt x="1584" y="144"/>
                </a:lnTo>
                <a:lnTo>
                  <a:pt x="1584" y="138"/>
                </a:lnTo>
                <a:lnTo>
                  <a:pt x="1584" y="132"/>
                </a:lnTo>
                <a:lnTo>
                  <a:pt x="1590" y="132"/>
                </a:lnTo>
                <a:lnTo>
                  <a:pt x="1596" y="132"/>
                </a:lnTo>
                <a:lnTo>
                  <a:pt x="1596" y="126"/>
                </a:lnTo>
                <a:lnTo>
                  <a:pt x="1596" y="132"/>
                </a:lnTo>
                <a:lnTo>
                  <a:pt x="1602" y="132"/>
                </a:lnTo>
                <a:lnTo>
                  <a:pt x="1602" y="126"/>
                </a:lnTo>
                <a:lnTo>
                  <a:pt x="1608" y="126"/>
                </a:lnTo>
                <a:lnTo>
                  <a:pt x="1608" y="132"/>
                </a:lnTo>
                <a:lnTo>
                  <a:pt x="1614" y="126"/>
                </a:lnTo>
                <a:lnTo>
                  <a:pt x="1614" y="132"/>
                </a:lnTo>
                <a:lnTo>
                  <a:pt x="1620" y="132"/>
                </a:lnTo>
                <a:lnTo>
                  <a:pt x="1620" y="126"/>
                </a:lnTo>
                <a:lnTo>
                  <a:pt x="1626" y="126"/>
                </a:lnTo>
                <a:lnTo>
                  <a:pt x="1626" y="120"/>
                </a:lnTo>
                <a:lnTo>
                  <a:pt x="1626" y="114"/>
                </a:lnTo>
                <a:lnTo>
                  <a:pt x="1626" y="108"/>
                </a:lnTo>
                <a:lnTo>
                  <a:pt x="1632" y="108"/>
                </a:lnTo>
                <a:lnTo>
                  <a:pt x="1638" y="108"/>
                </a:lnTo>
                <a:lnTo>
                  <a:pt x="1644" y="108"/>
                </a:lnTo>
                <a:lnTo>
                  <a:pt x="1650" y="108"/>
                </a:lnTo>
                <a:lnTo>
                  <a:pt x="1650" y="102"/>
                </a:lnTo>
                <a:lnTo>
                  <a:pt x="1656" y="102"/>
                </a:lnTo>
                <a:lnTo>
                  <a:pt x="1650" y="96"/>
                </a:lnTo>
                <a:lnTo>
                  <a:pt x="1650" y="90"/>
                </a:lnTo>
                <a:lnTo>
                  <a:pt x="1656" y="90"/>
                </a:lnTo>
                <a:lnTo>
                  <a:pt x="1656" y="96"/>
                </a:lnTo>
                <a:lnTo>
                  <a:pt x="1656" y="90"/>
                </a:lnTo>
                <a:lnTo>
                  <a:pt x="1656" y="96"/>
                </a:lnTo>
                <a:lnTo>
                  <a:pt x="1662" y="96"/>
                </a:lnTo>
                <a:lnTo>
                  <a:pt x="1662" y="90"/>
                </a:lnTo>
                <a:lnTo>
                  <a:pt x="1668" y="96"/>
                </a:lnTo>
                <a:lnTo>
                  <a:pt x="1674" y="96"/>
                </a:lnTo>
                <a:lnTo>
                  <a:pt x="1674" y="102"/>
                </a:lnTo>
                <a:lnTo>
                  <a:pt x="1674" y="96"/>
                </a:lnTo>
                <a:lnTo>
                  <a:pt x="1680" y="96"/>
                </a:lnTo>
                <a:lnTo>
                  <a:pt x="1686" y="96"/>
                </a:lnTo>
                <a:lnTo>
                  <a:pt x="1692" y="96"/>
                </a:lnTo>
                <a:lnTo>
                  <a:pt x="1692" y="90"/>
                </a:lnTo>
                <a:lnTo>
                  <a:pt x="1698" y="90"/>
                </a:lnTo>
                <a:lnTo>
                  <a:pt x="1698" y="84"/>
                </a:lnTo>
                <a:lnTo>
                  <a:pt x="1698" y="90"/>
                </a:lnTo>
                <a:lnTo>
                  <a:pt x="1698" y="84"/>
                </a:lnTo>
                <a:lnTo>
                  <a:pt x="1698" y="78"/>
                </a:lnTo>
                <a:lnTo>
                  <a:pt x="1704" y="78"/>
                </a:lnTo>
                <a:lnTo>
                  <a:pt x="1704" y="72"/>
                </a:lnTo>
                <a:lnTo>
                  <a:pt x="1710" y="72"/>
                </a:lnTo>
                <a:lnTo>
                  <a:pt x="1716" y="66"/>
                </a:lnTo>
                <a:lnTo>
                  <a:pt x="1722" y="66"/>
                </a:lnTo>
                <a:lnTo>
                  <a:pt x="1728" y="66"/>
                </a:lnTo>
                <a:lnTo>
                  <a:pt x="1728" y="60"/>
                </a:lnTo>
                <a:lnTo>
                  <a:pt x="1734" y="60"/>
                </a:lnTo>
                <a:lnTo>
                  <a:pt x="1734" y="54"/>
                </a:lnTo>
                <a:lnTo>
                  <a:pt x="1734" y="48"/>
                </a:lnTo>
                <a:lnTo>
                  <a:pt x="1740" y="48"/>
                </a:lnTo>
                <a:lnTo>
                  <a:pt x="1734" y="48"/>
                </a:lnTo>
                <a:lnTo>
                  <a:pt x="1740" y="48"/>
                </a:lnTo>
                <a:lnTo>
                  <a:pt x="1740" y="42"/>
                </a:lnTo>
                <a:lnTo>
                  <a:pt x="1746" y="42"/>
                </a:lnTo>
                <a:lnTo>
                  <a:pt x="1746" y="36"/>
                </a:lnTo>
                <a:lnTo>
                  <a:pt x="1746" y="30"/>
                </a:lnTo>
                <a:lnTo>
                  <a:pt x="1740" y="30"/>
                </a:lnTo>
                <a:lnTo>
                  <a:pt x="1740" y="24"/>
                </a:lnTo>
                <a:lnTo>
                  <a:pt x="1740" y="18"/>
                </a:lnTo>
                <a:lnTo>
                  <a:pt x="1734" y="18"/>
                </a:lnTo>
                <a:lnTo>
                  <a:pt x="1734" y="12"/>
                </a:lnTo>
                <a:lnTo>
                  <a:pt x="1734" y="6"/>
                </a:lnTo>
                <a:lnTo>
                  <a:pt x="1728" y="6"/>
                </a:lnTo>
                <a:lnTo>
                  <a:pt x="1734" y="0"/>
                </a:lnTo>
                <a:lnTo>
                  <a:pt x="1740" y="0"/>
                </a:lnTo>
                <a:lnTo>
                  <a:pt x="1740" y="6"/>
                </a:lnTo>
                <a:lnTo>
                  <a:pt x="1746" y="6"/>
                </a:lnTo>
                <a:lnTo>
                  <a:pt x="1752" y="6"/>
                </a:lnTo>
                <a:lnTo>
                  <a:pt x="1758" y="6"/>
                </a:lnTo>
                <a:lnTo>
                  <a:pt x="1764" y="6"/>
                </a:lnTo>
                <a:lnTo>
                  <a:pt x="1770" y="6"/>
                </a:lnTo>
                <a:lnTo>
                  <a:pt x="1776" y="6"/>
                </a:lnTo>
                <a:lnTo>
                  <a:pt x="1782" y="6"/>
                </a:lnTo>
                <a:lnTo>
                  <a:pt x="1782" y="0"/>
                </a:lnTo>
                <a:lnTo>
                  <a:pt x="1788" y="0"/>
                </a:lnTo>
                <a:lnTo>
                  <a:pt x="1794" y="0"/>
                </a:lnTo>
                <a:lnTo>
                  <a:pt x="1800" y="0"/>
                </a:lnTo>
                <a:lnTo>
                  <a:pt x="1806" y="0"/>
                </a:lnTo>
                <a:lnTo>
                  <a:pt x="1806" y="6"/>
                </a:lnTo>
                <a:lnTo>
                  <a:pt x="1812" y="12"/>
                </a:lnTo>
                <a:lnTo>
                  <a:pt x="1812" y="18"/>
                </a:lnTo>
                <a:lnTo>
                  <a:pt x="1818" y="18"/>
                </a:lnTo>
                <a:lnTo>
                  <a:pt x="1818" y="24"/>
                </a:lnTo>
                <a:lnTo>
                  <a:pt x="1824" y="18"/>
                </a:lnTo>
                <a:lnTo>
                  <a:pt x="1824" y="24"/>
                </a:lnTo>
                <a:lnTo>
                  <a:pt x="1818" y="24"/>
                </a:lnTo>
                <a:lnTo>
                  <a:pt x="1824" y="24"/>
                </a:lnTo>
                <a:lnTo>
                  <a:pt x="1824" y="30"/>
                </a:lnTo>
                <a:lnTo>
                  <a:pt x="1824" y="36"/>
                </a:lnTo>
                <a:lnTo>
                  <a:pt x="1824" y="42"/>
                </a:lnTo>
                <a:lnTo>
                  <a:pt x="1818" y="42"/>
                </a:lnTo>
                <a:lnTo>
                  <a:pt x="1818" y="54"/>
                </a:lnTo>
                <a:lnTo>
                  <a:pt x="1818" y="60"/>
                </a:lnTo>
                <a:lnTo>
                  <a:pt x="1818" y="66"/>
                </a:lnTo>
                <a:lnTo>
                  <a:pt x="1818" y="72"/>
                </a:lnTo>
                <a:lnTo>
                  <a:pt x="1812" y="78"/>
                </a:lnTo>
                <a:lnTo>
                  <a:pt x="1812" y="84"/>
                </a:lnTo>
                <a:lnTo>
                  <a:pt x="1806" y="84"/>
                </a:lnTo>
                <a:lnTo>
                  <a:pt x="1806" y="90"/>
                </a:lnTo>
                <a:lnTo>
                  <a:pt x="1800" y="90"/>
                </a:lnTo>
                <a:lnTo>
                  <a:pt x="1800" y="96"/>
                </a:lnTo>
                <a:lnTo>
                  <a:pt x="1806" y="96"/>
                </a:lnTo>
                <a:lnTo>
                  <a:pt x="1812" y="96"/>
                </a:lnTo>
                <a:lnTo>
                  <a:pt x="1818" y="96"/>
                </a:lnTo>
                <a:lnTo>
                  <a:pt x="1824" y="96"/>
                </a:lnTo>
                <a:lnTo>
                  <a:pt x="1824" y="102"/>
                </a:lnTo>
                <a:lnTo>
                  <a:pt x="1824" y="96"/>
                </a:lnTo>
                <a:lnTo>
                  <a:pt x="1830" y="96"/>
                </a:lnTo>
                <a:lnTo>
                  <a:pt x="1830" y="102"/>
                </a:lnTo>
                <a:lnTo>
                  <a:pt x="1836" y="102"/>
                </a:lnTo>
                <a:lnTo>
                  <a:pt x="1842" y="102"/>
                </a:lnTo>
                <a:lnTo>
                  <a:pt x="1848" y="102"/>
                </a:lnTo>
                <a:lnTo>
                  <a:pt x="1848" y="108"/>
                </a:lnTo>
                <a:lnTo>
                  <a:pt x="1854" y="108"/>
                </a:lnTo>
                <a:lnTo>
                  <a:pt x="1860" y="108"/>
                </a:lnTo>
                <a:lnTo>
                  <a:pt x="1860" y="114"/>
                </a:lnTo>
                <a:lnTo>
                  <a:pt x="1866" y="114"/>
                </a:lnTo>
                <a:lnTo>
                  <a:pt x="1866" y="120"/>
                </a:lnTo>
                <a:lnTo>
                  <a:pt x="1860" y="120"/>
                </a:lnTo>
                <a:lnTo>
                  <a:pt x="1860" y="126"/>
                </a:lnTo>
                <a:lnTo>
                  <a:pt x="1860" y="120"/>
                </a:lnTo>
                <a:lnTo>
                  <a:pt x="1860" y="126"/>
                </a:lnTo>
                <a:lnTo>
                  <a:pt x="1854" y="126"/>
                </a:lnTo>
                <a:lnTo>
                  <a:pt x="1860" y="126"/>
                </a:lnTo>
                <a:lnTo>
                  <a:pt x="1854" y="132"/>
                </a:lnTo>
                <a:lnTo>
                  <a:pt x="1854" y="138"/>
                </a:lnTo>
                <a:lnTo>
                  <a:pt x="1860" y="138"/>
                </a:lnTo>
                <a:lnTo>
                  <a:pt x="1860" y="144"/>
                </a:lnTo>
                <a:lnTo>
                  <a:pt x="1866" y="144"/>
                </a:lnTo>
                <a:lnTo>
                  <a:pt x="1872" y="144"/>
                </a:lnTo>
                <a:lnTo>
                  <a:pt x="1872" y="150"/>
                </a:lnTo>
                <a:lnTo>
                  <a:pt x="1866" y="156"/>
                </a:lnTo>
                <a:lnTo>
                  <a:pt x="1872" y="156"/>
                </a:lnTo>
                <a:lnTo>
                  <a:pt x="1872" y="162"/>
                </a:lnTo>
                <a:lnTo>
                  <a:pt x="1878" y="162"/>
                </a:lnTo>
                <a:lnTo>
                  <a:pt x="1872" y="162"/>
                </a:lnTo>
                <a:lnTo>
                  <a:pt x="1878" y="162"/>
                </a:lnTo>
                <a:lnTo>
                  <a:pt x="1878" y="168"/>
                </a:lnTo>
                <a:lnTo>
                  <a:pt x="1884" y="168"/>
                </a:lnTo>
                <a:lnTo>
                  <a:pt x="1884" y="174"/>
                </a:lnTo>
                <a:lnTo>
                  <a:pt x="1878" y="174"/>
                </a:lnTo>
                <a:lnTo>
                  <a:pt x="1878" y="180"/>
                </a:lnTo>
                <a:lnTo>
                  <a:pt x="1872" y="180"/>
                </a:lnTo>
                <a:lnTo>
                  <a:pt x="1878" y="180"/>
                </a:lnTo>
                <a:lnTo>
                  <a:pt x="1878" y="186"/>
                </a:lnTo>
                <a:lnTo>
                  <a:pt x="1872" y="186"/>
                </a:lnTo>
                <a:lnTo>
                  <a:pt x="1872" y="192"/>
                </a:lnTo>
                <a:lnTo>
                  <a:pt x="1872" y="186"/>
                </a:lnTo>
                <a:lnTo>
                  <a:pt x="1872" y="192"/>
                </a:lnTo>
                <a:lnTo>
                  <a:pt x="1872" y="186"/>
                </a:lnTo>
                <a:lnTo>
                  <a:pt x="1872" y="192"/>
                </a:lnTo>
                <a:lnTo>
                  <a:pt x="1866" y="192"/>
                </a:lnTo>
                <a:lnTo>
                  <a:pt x="1866" y="198"/>
                </a:lnTo>
                <a:lnTo>
                  <a:pt x="1866" y="204"/>
                </a:lnTo>
                <a:lnTo>
                  <a:pt x="1860" y="204"/>
                </a:lnTo>
                <a:lnTo>
                  <a:pt x="1854" y="204"/>
                </a:lnTo>
                <a:lnTo>
                  <a:pt x="1854" y="210"/>
                </a:lnTo>
                <a:lnTo>
                  <a:pt x="1848" y="210"/>
                </a:lnTo>
                <a:lnTo>
                  <a:pt x="1848" y="216"/>
                </a:lnTo>
                <a:lnTo>
                  <a:pt x="1848" y="210"/>
                </a:lnTo>
                <a:lnTo>
                  <a:pt x="1842" y="216"/>
                </a:lnTo>
                <a:lnTo>
                  <a:pt x="1836" y="222"/>
                </a:lnTo>
                <a:lnTo>
                  <a:pt x="1842" y="222"/>
                </a:lnTo>
                <a:lnTo>
                  <a:pt x="1848" y="228"/>
                </a:lnTo>
                <a:lnTo>
                  <a:pt x="1842" y="228"/>
                </a:lnTo>
                <a:lnTo>
                  <a:pt x="1848" y="228"/>
                </a:lnTo>
                <a:lnTo>
                  <a:pt x="1848" y="234"/>
                </a:lnTo>
                <a:lnTo>
                  <a:pt x="1842" y="234"/>
                </a:lnTo>
                <a:lnTo>
                  <a:pt x="1842" y="240"/>
                </a:lnTo>
                <a:lnTo>
                  <a:pt x="1848" y="240"/>
                </a:lnTo>
                <a:lnTo>
                  <a:pt x="1848" y="246"/>
                </a:lnTo>
                <a:lnTo>
                  <a:pt x="1842" y="246"/>
                </a:lnTo>
                <a:lnTo>
                  <a:pt x="1842" y="252"/>
                </a:lnTo>
                <a:lnTo>
                  <a:pt x="1842" y="258"/>
                </a:lnTo>
                <a:lnTo>
                  <a:pt x="1836" y="258"/>
                </a:lnTo>
                <a:lnTo>
                  <a:pt x="1836" y="264"/>
                </a:lnTo>
                <a:lnTo>
                  <a:pt x="1836" y="270"/>
                </a:lnTo>
                <a:lnTo>
                  <a:pt x="1836" y="276"/>
                </a:lnTo>
                <a:lnTo>
                  <a:pt x="1830" y="276"/>
                </a:lnTo>
                <a:lnTo>
                  <a:pt x="1836" y="276"/>
                </a:lnTo>
                <a:lnTo>
                  <a:pt x="1830" y="276"/>
                </a:lnTo>
                <a:lnTo>
                  <a:pt x="1836" y="276"/>
                </a:lnTo>
                <a:lnTo>
                  <a:pt x="1830" y="276"/>
                </a:lnTo>
                <a:lnTo>
                  <a:pt x="1830" y="282"/>
                </a:lnTo>
                <a:lnTo>
                  <a:pt x="1830" y="288"/>
                </a:lnTo>
                <a:lnTo>
                  <a:pt x="1824" y="288"/>
                </a:lnTo>
                <a:lnTo>
                  <a:pt x="1830" y="294"/>
                </a:lnTo>
                <a:lnTo>
                  <a:pt x="1824" y="300"/>
                </a:lnTo>
                <a:lnTo>
                  <a:pt x="1830" y="300"/>
                </a:lnTo>
                <a:lnTo>
                  <a:pt x="1824" y="300"/>
                </a:lnTo>
                <a:lnTo>
                  <a:pt x="1824" y="306"/>
                </a:lnTo>
                <a:lnTo>
                  <a:pt x="1824" y="312"/>
                </a:lnTo>
                <a:lnTo>
                  <a:pt x="1824" y="318"/>
                </a:lnTo>
                <a:lnTo>
                  <a:pt x="1824" y="324"/>
                </a:lnTo>
                <a:lnTo>
                  <a:pt x="1824" y="330"/>
                </a:lnTo>
                <a:lnTo>
                  <a:pt x="1824" y="336"/>
                </a:lnTo>
                <a:lnTo>
                  <a:pt x="1824" y="342"/>
                </a:lnTo>
                <a:lnTo>
                  <a:pt x="1830" y="342"/>
                </a:lnTo>
                <a:lnTo>
                  <a:pt x="1824" y="342"/>
                </a:lnTo>
                <a:lnTo>
                  <a:pt x="1824" y="348"/>
                </a:lnTo>
                <a:lnTo>
                  <a:pt x="1830" y="348"/>
                </a:lnTo>
                <a:lnTo>
                  <a:pt x="1830" y="354"/>
                </a:lnTo>
                <a:lnTo>
                  <a:pt x="1830" y="360"/>
                </a:lnTo>
                <a:lnTo>
                  <a:pt x="1836" y="360"/>
                </a:lnTo>
                <a:lnTo>
                  <a:pt x="1836" y="366"/>
                </a:lnTo>
                <a:lnTo>
                  <a:pt x="1836" y="372"/>
                </a:lnTo>
                <a:lnTo>
                  <a:pt x="1836" y="378"/>
                </a:lnTo>
                <a:lnTo>
                  <a:pt x="1842" y="378"/>
                </a:lnTo>
                <a:lnTo>
                  <a:pt x="1842" y="384"/>
                </a:lnTo>
                <a:lnTo>
                  <a:pt x="1842" y="378"/>
                </a:lnTo>
                <a:lnTo>
                  <a:pt x="1842" y="384"/>
                </a:lnTo>
                <a:lnTo>
                  <a:pt x="1848" y="384"/>
                </a:lnTo>
                <a:lnTo>
                  <a:pt x="1854" y="384"/>
                </a:lnTo>
                <a:lnTo>
                  <a:pt x="1860" y="390"/>
                </a:lnTo>
                <a:lnTo>
                  <a:pt x="1860" y="396"/>
                </a:lnTo>
                <a:lnTo>
                  <a:pt x="1854" y="396"/>
                </a:lnTo>
                <a:lnTo>
                  <a:pt x="1860" y="396"/>
                </a:lnTo>
                <a:lnTo>
                  <a:pt x="1854" y="396"/>
                </a:lnTo>
                <a:lnTo>
                  <a:pt x="1854" y="402"/>
                </a:lnTo>
                <a:lnTo>
                  <a:pt x="1860" y="408"/>
                </a:lnTo>
                <a:lnTo>
                  <a:pt x="1854" y="414"/>
                </a:lnTo>
                <a:lnTo>
                  <a:pt x="1854" y="420"/>
                </a:lnTo>
                <a:lnTo>
                  <a:pt x="1860" y="420"/>
                </a:lnTo>
                <a:lnTo>
                  <a:pt x="1854" y="420"/>
                </a:lnTo>
                <a:lnTo>
                  <a:pt x="1854" y="426"/>
                </a:lnTo>
                <a:lnTo>
                  <a:pt x="1854" y="432"/>
                </a:lnTo>
                <a:lnTo>
                  <a:pt x="1854" y="438"/>
                </a:lnTo>
                <a:lnTo>
                  <a:pt x="1854" y="444"/>
                </a:lnTo>
                <a:lnTo>
                  <a:pt x="1860" y="444"/>
                </a:lnTo>
                <a:lnTo>
                  <a:pt x="1866" y="444"/>
                </a:lnTo>
                <a:lnTo>
                  <a:pt x="1866" y="438"/>
                </a:lnTo>
                <a:lnTo>
                  <a:pt x="1866" y="444"/>
                </a:lnTo>
                <a:lnTo>
                  <a:pt x="1866" y="450"/>
                </a:lnTo>
                <a:lnTo>
                  <a:pt x="1860" y="450"/>
                </a:lnTo>
                <a:lnTo>
                  <a:pt x="1860" y="456"/>
                </a:lnTo>
                <a:lnTo>
                  <a:pt x="1866" y="456"/>
                </a:lnTo>
                <a:lnTo>
                  <a:pt x="1872" y="456"/>
                </a:lnTo>
                <a:lnTo>
                  <a:pt x="1872" y="462"/>
                </a:lnTo>
                <a:lnTo>
                  <a:pt x="1878" y="456"/>
                </a:lnTo>
                <a:lnTo>
                  <a:pt x="1878" y="462"/>
                </a:lnTo>
                <a:lnTo>
                  <a:pt x="1878" y="456"/>
                </a:lnTo>
                <a:lnTo>
                  <a:pt x="1884" y="462"/>
                </a:lnTo>
                <a:lnTo>
                  <a:pt x="1884" y="468"/>
                </a:lnTo>
                <a:lnTo>
                  <a:pt x="1890" y="468"/>
                </a:lnTo>
                <a:lnTo>
                  <a:pt x="1890" y="474"/>
                </a:lnTo>
                <a:lnTo>
                  <a:pt x="1896" y="474"/>
                </a:lnTo>
                <a:lnTo>
                  <a:pt x="1896" y="480"/>
                </a:lnTo>
                <a:lnTo>
                  <a:pt x="1902" y="480"/>
                </a:lnTo>
                <a:lnTo>
                  <a:pt x="1902" y="486"/>
                </a:lnTo>
                <a:lnTo>
                  <a:pt x="1908" y="486"/>
                </a:lnTo>
                <a:lnTo>
                  <a:pt x="1908" y="492"/>
                </a:lnTo>
                <a:lnTo>
                  <a:pt x="1914" y="492"/>
                </a:lnTo>
                <a:lnTo>
                  <a:pt x="1914" y="498"/>
                </a:lnTo>
                <a:lnTo>
                  <a:pt x="1920" y="504"/>
                </a:lnTo>
                <a:lnTo>
                  <a:pt x="1926" y="504"/>
                </a:lnTo>
                <a:lnTo>
                  <a:pt x="1932" y="504"/>
                </a:lnTo>
                <a:lnTo>
                  <a:pt x="1932" y="510"/>
                </a:lnTo>
                <a:lnTo>
                  <a:pt x="1938" y="510"/>
                </a:lnTo>
                <a:lnTo>
                  <a:pt x="1944" y="510"/>
                </a:lnTo>
                <a:lnTo>
                  <a:pt x="1950" y="510"/>
                </a:lnTo>
                <a:lnTo>
                  <a:pt x="1956" y="510"/>
                </a:lnTo>
                <a:lnTo>
                  <a:pt x="1956" y="516"/>
                </a:lnTo>
                <a:lnTo>
                  <a:pt x="1956" y="510"/>
                </a:lnTo>
                <a:lnTo>
                  <a:pt x="1962" y="510"/>
                </a:lnTo>
                <a:lnTo>
                  <a:pt x="1962" y="516"/>
                </a:lnTo>
                <a:lnTo>
                  <a:pt x="1968" y="516"/>
                </a:lnTo>
                <a:lnTo>
                  <a:pt x="1968" y="522"/>
                </a:lnTo>
                <a:lnTo>
                  <a:pt x="1962" y="522"/>
                </a:lnTo>
                <a:lnTo>
                  <a:pt x="1968" y="522"/>
                </a:lnTo>
                <a:lnTo>
                  <a:pt x="1968" y="528"/>
                </a:lnTo>
                <a:lnTo>
                  <a:pt x="1974" y="528"/>
                </a:lnTo>
                <a:lnTo>
                  <a:pt x="1974" y="534"/>
                </a:lnTo>
                <a:lnTo>
                  <a:pt x="1980" y="528"/>
                </a:lnTo>
                <a:lnTo>
                  <a:pt x="1986" y="528"/>
                </a:lnTo>
                <a:lnTo>
                  <a:pt x="1992" y="522"/>
                </a:lnTo>
                <a:lnTo>
                  <a:pt x="1986" y="522"/>
                </a:lnTo>
                <a:lnTo>
                  <a:pt x="1992" y="516"/>
                </a:lnTo>
                <a:lnTo>
                  <a:pt x="1998" y="516"/>
                </a:lnTo>
                <a:lnTo>
                  <a:pt x="2004" y="516"/>
                </a:lnTo>
                <a:lnTo>
                  <a:pt x="2004" y="522"/>
                </a:lnTo>
                <a:lnTo>
                  <a:pt x="2010" y="516"/>
                </a:lnTo>
                <a:lnTo>
                  <a:pt x="2016" y="516"/>
                </a:lnTo>
                <a:lnTo>
                  <a:pt x="2016" y="522"/>
                </a:lnTo>
                <a:lnTo>
                  <a:pt x="2016" y="516"/>
                </a:lnTo>
                <a:lnTo>
                  <a:pt x="2022" y="516"/>
                </a:lnTo>
                <a:lnTo>
                  <a:pt x="2022" y="510"/>
                </a:lnTo>
                <a:lnTo>
                  <a:pt x="2022" y="504"/>
                </a:lnTo>
                <a:lnTo>
                  <a:pt x="2016" y="498"/>
                </a:lnTo>
                <a:lnTo>
                  <a:pt x="2016" y="492"/>
                </a:lnTo>
                <a:lnTo>
                  <a:pt x="2022" y="492"/>
                </a:lnTo>
                <a:lnTo>
                  <a:pt x="2028" y="492"/>
                </a:lnTo>
                <a:lnTo>
                  <a:pt x="2034" y="492"/>
                </a:lnTo>
                <a:lnTo>
                  <a:pt x="2034" y="486"/>
                </a:lnTo>
                <a:lnTo>
                  <a:pt x="2028" y="486"/>
                </a:lnTo>
                <a:lnTo>
                  <a:pt x="2034" y="486"/>
                </a:lnTo>
                <a:lnTo>
                  <a:pt x="2034" y="480"/>
                </a:lnTo>
                <a:lnTo>
                  <a:pt x="2040" y="480"/>
                </a:lnTo>
                <a:lnTo>
                  <a:pt x="2040" y="474"/>
                </a:lnTo>
                <a:lnTo>
                  <a:pt x="2040" y="480"/>
                </a:lnTo>
                <a:lnTo>
                  <a:pt x="2046" y="480"/>
                </a:lnTo>
                <a:lnTo>
                  <a:pt x="2052" y="480"/>
                </a:lnTo>
                <a:lnTo>
                  <a:pt x="2058" y="480"/>
                </a:lnTo>
                <a:lnTo>
                  <a:pt x="2064" y="480"/>
                </a:lnTo>
                <a:lnTo>
                  <a:pt x="2064" y="486"/>
                </a:lnTo>
                <a:lnTo>
                  <a:pt x="2070" y="486"/>
                </a:lnTo>
                <a:lnTo>
                  <a:pt x="2076" y="486"/>
                </a:lnTo>
                <a:lnTo>
                  <a:pt x="2082" y="486"/>
                </a:lnTo>
                <a:lnTo>
                  <a:pt x="2082" y="480"/>
                </a:lnTo>
                <a:lnTo>
                  <a:pt x="2088" y="480"/>
                </a:lnTo>
                <a:lnTo>
                  <a:pt x="2082" y="474"/>
                </a:lnTo>
                <a:lnTo>
                  <a:pt x="2082" y="468"/>
                </a:lnTo>
                <a:lnTo>
                  <a:pt x="2088" y="468"/>
                </a:lnTo>
                <a:lnTo>
                  <a:pt x="2094" y="468"/>
                </a:lnTo>
                <a:lnTo>
                  <a:pt x="2100" y="468"/>
                </a:lnTo>
                <a:lnTo>
                  <a:pt x="2100" y="462"/>
                </a:lnTo>
                <a:lnTo>
                  <a:pt x="2100" y="468"/>
                </a:lnTo>
                <a:lnTo>
                  <a:pt x="2100" y="462"/>
                </a:lnTo>
                <a:lnTo>
                  <a:pt x="2106" y="462"/>
                </a:lnTo>
                <a:lnTo>
                  <a:pt x="2112" y="462"/>
                </a:lnTo>
                <a:lnTo>
                  <a:pt x="2112" y="456"/>
                </a:lnTo>
                <a:lnTo>
                  <a:pt x="2112" y="462"/>
                </a:lnTo>
                <a:lnTo>
                  <a:pt x="2112" y="456"/>
                </a:lnTo>
                <a:lnTo>
                  <a:pt x="2112" y="462"/>
                </a:lnTo>
                <a:lnTo>
                  <a:pt x="2118" y="462"/>
                </a:lnTo>
                <a:lnTo>
                  <a:pt x="2118" y="456"/>
                </a:lnTo>
                <a:lnTo>
                  <a:pt x="2124" y="462"/>
                </a:lnTo>
                <a:lnTo>
                  <a:pt x="2130" y="462"/>
                </a:lnTo>
                <a:lnTo>
                  <a:pt x="2136" y="462"/>
                </a:lnTo>
                <a:lnTo>
                  <a:pt x="2142" y="462"/>
                </a:lnTo>
                <a:lnTo>
                  <a:pt x="2142" y="456"/>
                </a:lnTo>
                <a:lnTo>
                  <a:pt x="2148" y="462"/>
                </a:lnTo>
                <a:lnTo>
                  <a:pt x="2148" y="456"/>
                </a:lnTo>
                <a:lnTo>
                  <a:pt x="2148" y="450"/>
                </a:lnTo>
                <a:lnTo>
                  <a:pt x="2154" y="450"/>
                </a:lnTo>
                <a:lnTo>
                  <a:pt x="2154" y="444"/>
                </a:lnTo>
                <a:lnTo>
                  <a:pt x="2154" y="438"/>
                </a:lnTo>
                <a:lnTo>
                  <a:pt x="2154" y="432"/>
                </a:lnTo>
                <a:lnTo>
                  <a:pt x="2160" y="432"/>
                </a:lnTo>
                <a:lnTo>
                  <a:pt x="2166" y="432"/>
                </a:lnTo>
                <a:lnTo>
                  <a:pt x="2166" y="426"/>
                </a:lnTo>
                <a:lnTo>
                  <a:pt x="2172" y="426"/>
                </a:lnTo>
                <a:lnTo>
                  <a:pt x="2178" y="426"/>
                </a:lnTo>
                <a:lnTo>
                  <a:pt x="2178" y="432"/>
                </a:lnTo>
                <a:lnTo>
                  <a:pt x="2184" y="432"/>
                </a:lnTo>
                <a:lnTo>
                  <a:pt x="2184" y="426"/>
                </a:lnTo>
                <a:lnTo>
                  <a:pt x="2190" y="426"/>
                </a:lnTo>
                <a:lnTo>
                  <a:pt x="2196" y="426"/>
                </a:lnTo>
                <a:lnTo>
                  <a:pt x="2196" y="420"/>
                </a:lnTo>
                <a:lnTo>
                  <a:pt x="2202" y="420"/>
                </a:lnTo>
                <a:lnTo>
                  <a:pt x="2202" y="426"/>
                </a:lnTo>
                <a:lnTo>
                  <a:pt x="2208" y="426"/>
                </a:lnTo>
                <a:lnTo>
                  <a:pt x="2208" y="432"/>
                </a:lnTo>
                <a:lnTo>
                  <a:pt x="2214" y="432"/>
                </a:lnTo>
                <a:lnTo>
                  <a:pt x="2214" y="438"/>
                </a:lnTo>
                <a:lnTo>
                  <a:pt x="2214" y="432"/>
                </a:lnTo>
                <a:lnTo>
                  <a:pt x="2220" y="432"/>
                </a:lnTo>
                <a:lnTo>
                  <a:pt x="2226" y="432"/>
                </a:lnTo>
                <a:lnTo>
                  <a:pt x="2226" y="438"/>
                </a:lnTo>
                <a:lnTo>
                  <a:pt x="2232" y="438"/>
                </a:lnTo>
                <a:lnTo>
                  <a:pt x="2238" y="438"/>
                </a:lnTo>
                <a:lnTo>
                  <a:pt x="2238" y="444"/>
                </a:lnTo>
                <a:lnTo>
                  <a:pt x="2238" y="438"/>
                </a:lnTo>
                <a:lnTo>
                  <a:pt x="2244" y="438"/>
                </a:lnTo>
                <a:lnTo>
                  <a:pt x="2244" y="432"/>
                </a:lnTo>
                <a:lnTo>
                  <a:pt x="2250" y="432"/>
                </a:lnTo>
                <a:lnTo>
                  <a:pt x="2256" y="432"/>
                </a:lnTo>
                <a:lnTo>
                  <a:pt x="2262" y="432"/>
                </a:lnTo>
                <a:lnTo>
                  <a:pt x="2268" y="432"/>
                </a:lnTo>
                <a:lnTo>
                  <a:pt x="2268" y="438"/>
                </a:lnTo>
                <a:lnTo>
                  <a:pt x="2268" y="432"/>
                </a:lnTo>
                <a:lnTo>
                  <a:pt x="2274" y="432"/>
                </a:lnTo>
                <a:lnTo>
                  <a:pt x="2280" y="432"/>
                </a:lnTo>
                <a:lnTo>
                  <a:pt x="2286" y="432"/>
                </a:lnTo>
                <a:lnTo>
                  <a:pt x="2286" y="426"/>
                </a:lnTo>
                <a:lnTo>
                  <a:pt x="2286" y="432"/>
                </a:lnTo>
                <a:lnTo>
                  <a:pt x="2292" y="432"/>
                </a:lnTo>
                <a:lnTo>
                  <a:pt x="2298" y="432"/>
                </a:lnTo>
                <a:lnTo>
                  <a:pt x="2304" y="432"/>
                </a:lnTo>
                <a:lnTo>
                  <a:pt x="2304" y="438"/>
                </a:lnTo>
                <a:lnTo>
                  <a:pt x="2310" y="438"/>
                </a:lnTo>
                <a:lnTo>
                  <a:pt x="2316" y="438"/>
                </a:lnTo>
                <a:lnTo>
                  <a:pt x="2322" y="438"/>
                </a:lnTo>
                <a:lnTo>
                  <a:pt x="2328" y="438"/>
                </a:lnTo>
                <a:lnTo>
                  <a:pt x="2328" y="444"/>
                </a:lnTo>
                <a:lnTo>
                  <a:pt x="2334" y="444"/>
                </a:lnTo>
                <a:lnTo>
                  <a:pt x="2340" y="444"/>
                </a:lnTo>
                <a:lnTo>
                  <a:pt x="2346" y="444"/>
                </a:lnTo>
                <a:lnTo>
                  <a:pt x="2352" y="438"/>
                </a:lnTo>
                <a:lnTo>
                  <a:pt x="2358" y="438"/>
                </a:lnTo>
                <a:lnTo>
                  <a:pt x="2352" y="432"/>
                </a:lnTo>
                <a:lnTo>
                  <a:pt x="2352" y="426"/>
                </a:lnTo>
                <a:lnTo>
                  <a:pt x="2352" y="420"/>
                </a:lnTo>
                <a:lnTo>
                  <a:pt x="2358" y="420"/>
                </a:lnTo>
                <a:lnTo>
                  <a:pt x="2352" y="420"/>
                </a:lnTo>
                <a:lnTo>
                  <a:pt x="2358" y="420"/>
                </a:lnTo>
                <a:lnTo>
                  <a:pt x="2352" y="414"/>
                </a:lnTo>
                <a:lnTo>
                  <a:pt x="2346" y="414"/>
                </a:lnTo>
                <a:lnTo>
                  <a:pt x="2346" y="408"/>
                </a:lnTo>
                <a:lnTo>
                  <a:pt x="2346" y="402"/>
                </a:lnTo>
                <a:lnTo>
                  <a:pt x="2340" y="402"/>
                </a:lnTo>
                <a:lnTo>
                  <a:pt x="2334" y="402"/>
                </a:lnTo>
                <a:lnTo>
                  <a:pt x="2334" y="396"/>
                </a:lnTo>
                <a:lnTo>
                  <a:pt x="2340" y="396"/>
                </a:lnTo>
                <a:lnTo>
                  <a:pt x="2334" y="390"/>
                </a:lnTo>
                <a:lnTo>
                  <a:pt x="2328" y="390"/>
                </a:lnTo>
                <a:lnTo>
                  <a:pt x="2322" y="390"/>
                </a:lnTo>
                <a:lnTo>
                  <a:pt x="2328" y="384"/>
                </a:lnTo>
                <a:lnTo>
                  <a:pt x="2328" y="378"/>
                </a:lnTo>
                <a:lnTo>
                  <a:pt x="2334" y="378"/>
                </a:lnTo>
                <a:lnTo>
                  <a:pt x="2328" y="378"/>
                </a:lnTo>
                <a:lnTo>
                  <a:pt x="2334" y="378"/>
                </a:lnTo>
                <a:lnTo>
                  <a:pt x="2334" y="372"/>
                </a:lnTo>
                <a:lnTo>
                  <a:pt x="2334" y="378"/>
                </a:lnTo>
                <a:lnTo>
                  <a:pt x="2334" y="372"/>
                </a:lnTo>
                <a:lnTo>
                  <a:pt x="2334" y="378"/>
                </a:lnTo>
                <a:lnTo>
                  <a:pt x="2340" y="378"/>
                </a:lnTo>
                <a:lnTo>
                  <a:pt x="2340" y="372"/>
                </a:lnTo>
                <a:lnTo>
                  <a:pt x="2346" y="366"/>
                </a:lnTo>
                <a:lnTo>
                  <a:pt x="2340" y="366"/>
                </a:lnTo>
                <a:lnTo>
                  <a:pt x="2346" y="360"/>
                </a:lnTo>
                <a:lnTo>
                  <a:pt x="2346" y="354"/>
                </a:lnTo>
                <a:lnTo>
                  <a:pt x="2352" y="354"/>
                </a:lnTo>
                <a:lnTo>
                  <a:pt x="2358" y="354"/>
                </a:lnTo>
                <a:lnTo>
                  <a:pt x="2358" y="360"/>
                </a:lnTo>
                <a:lnTo>
                  <a:pt x="2364" y="360"/>
                </a:lnTo>
                <a:lnTo>
                  <a:pt x="2364" y="366"/>
                </a:lnTo>
                <a:lnTo>
                  <a:pt x="2370" y="366"/>
                </a:lnTo>
                <a:lnTo>
                  <a:pt x="2370" y="360"/>
                </a:lnTo>
                <a:lnTo>
                  <a:pt x="2376" y="366"/>
                </a:lnTo>
                <a:lnTo>
                  <a:pt x="2376" y="372"/>
                </a:lnTo>
                <a:lnTo>
                  <a:pt x="2382" y="372"/>
                </a:lnTo>
                <a:lnTo>
                  <a:pt x="2382" y="366"/>
                </a:lnTo>
                <a:lnTo>
                  <a:pt x="2388" y="372"/>
                </a:lnTo>
                <a:lnTo>
                  <a:pt x="2388" y="366"/>
                </a:lnTo>
                <a:lnTo>
                  <a:pt x="2394" y="366"/>
                </a:lnTo>
                <a:lnTo>
                  <a:pt x="2400" y="366"/>
                </a:lnTo>
                <a:lnTo>
                  <a:pt x="2406" y="366"/>
                </a:lnTo>
                <a:lnTo>
                  <a:pt x="2412" y="366"/>
                </a:lnTo>
                <a:lnTo>
                  <a:pt x="2418" y="366"/>
                </a:lnTo>
                <a:lnTo>
                  <a:pt x="2424" y="366"/>
                </a:lnTo>
                <a:lnTo>
                  <a:pt x="2430" y="366"/>
                </a:lnTo>
                <a:lnTo>
                  <a:pt x="2424" y="360"/>
                </a:lnTo>
                <a:lnTo>
                  <a:pt x="2430" y="354"/>
                </a:lnTo>
                <a:lnTo>
                  <a:pt x="2436" y="354"/>
                </a:lnTo>
                <a:lnTo>
                  <a:pt x="2442" y="360"/>
                </a:lnTo>
                <a:lnTo>
                  <a:pt x="2448" y="354"/>
                </a:lnTo>
                <a:lnTo>
                  <a:pt x="2448" y="348"/>
                </a:lnTo>
                <a:lnTo>
                  <a:pt x="2454" y="348"/>
                </a:lnTo>
                <a:lnTo>
                  <a:pt x="2460" y="354"/>
                </a:lnTo>
                <a:lnTo>
                  <a:pt x="2466" y="354"/>
                </a:lnTo>
                <a:lnTo>
                  <a:pt x="2472" y="348"/>
                </a:lnTo>
                <a:lnTo>
                  <a:pt x="2478" y="348"/>
                </a:lnTo>
                <a:lnTo>
                  <a:pt x="2484" y="354"/>
                </a:lnTo>
                <a:lnTo>
                  <a:pt x="2484" y="360"/>
                </a:lnTo>
                <a:lnTo>
                  <a:pt x="2490" y="366"/>
                </a:lnTo>
                <a:lnTo>
                  <a:pt x="2502" y="366"/>
                </a:lnTo>
                <a:lnTo>
                  <a:pt x="2508" y="360"/>
                </a:lnTo>
                <a:lnTo>
                  <a:pt x="2514" y="366"/>
                </a:lnTo>
                <a:lnTo>
                  <a:pt x="2514" y="378"/>
                </a:lnTo>
                <a:lnTo>
                  <a:pt x="2520" y="378"/>
                </a:lnTo>
                <a:lnTo>
                  <a:pt x="2526" y="378"/>
                </a:lnTo>
                <a:lnTo>
                  <a:pt x="2544" y="396"/>
                </a:lnTo>
                <a:lnTo>
                  <a:pt x="2580" y="402"/>
                </a:lnTo>
                <a:lnTo>
                  <a:pt x="2604" y="396"/>
                </a:lnTo>
                <a:lnTo>
                  <a:pt x="2604" y="390"/>
                </a:lnTo>
                <a:lnTo>
                  <a:pt x="2610" y="390"/>
                </a:lnTo>
                <a:lnTo>
                  <a:pt x="2610" y="384"/>
                </a:lnTo>
                <a:lnTo>
                  <a:pt x="2616" y="384"/>
                </a:lnTo>
                <a:lnTo>
                  <a:pt x="2616" y="390"/>
                </a:lnTo>
                <a:lnTo>
                  <a:pt x="2616" y="384"/>
                </a:lnTo>
                <a:lnTo>
                  <a:pt x="2622" y="384"/>
                </a:lnTo>
                <a:lnTo>
                  <a:pt x="2628" y="384"/>
                </a:lnTo>
                <a:lnTo>
                  <a:pt x="2628" y="378"/>
                </a:lnTo>
                <a:lnTo>
                  <a:pt x="2622" y="378"/>
                </a:lnTo>
                <a:lnTo>
                  <a:pt x="2628" y="378"/>
                </a:lnTo>
                <a:lnTo>
                  <a:pt x="2634" y="372"/>
                </a:lnTo>
                <a:lnTo>
                  <a:pt x="2640" y="372"/>
                </a:lnTo>
                <a:lnTo>
                  <a:pt x="2634" y="378"/>
                </a:lnTo>
                <a:lnTo>
                  <a:pt x="2640" y="378"/>
                </a:lnTo>
                <a:lnTo>
                  <a:pt x="2634" y="384"/>
                </a:lnTo>
                <a:lnTo>
                  <a:pt x="2640" y="384"/>
                </a:lnTo>
                <a:lnTo>
                  <a:pt x="2646" y="384"/>
                </a:lnTo>
                <a:lnTo>
                  <a:pt x="2652" y="384"/>
                </a:lnTo>
                <a:lnTo>
                  <a:pt x="2658" y="384"/>
                </a:lnTo>
                <a:lnTo>
                  <a:pt x="2658" y="390"/>
                </a:lnTo>
                <a:lnTo>
                  <a:pt x="2664" y="390"/>
                </a:lnTo>
                <a:lnTo>
                  <a:pt x="2670" y="390"/>
                </a:lnTo>
                <a:lnTo>
                  <a:pt x="2676" y="390"/>
                </a:lnTo>
                <a:lnTo>
                  <a:pt x="2670" y="390"/>
                </a:lnTo>
                <a:lnTo>
                  <a:pt x="2670" y="384"/>
                </a:lnTo>
                <a:lnTo>
                  <a:pt x="2676" y="384"/>
                </a:lnTo>
                <a:lnTo>
                  <a:pt x="2682" y="384"/>
                </a:lnTo>
                <a:lnTo>
                  <a:pt x="2688" y="384"/>
                </a:lnTo>
                <a:lnTo>
                  <a:pt x="2688" y="378"/>
                </a:lnTo>
                <a:lnTo>
                  <a:pt x="2694" y="378"/>
                </a:lnTo>
                <a:lnTo>
                  <a:pt x="2694" y="384"/>
                </a:lnTo>
                <a:lnTo>
                  <a:pt x="2700" y="384"/>
                </a:lnTo>
                <a:lnTo>
                  <a:pt x="2700" y="390"/>
                </a:lnTo>
                <a:lnTo>
                  <a:pt x="2706" y="390"/>
                </a:lnTo>
                <a:lnTo>
                  <a:pt x="2700" y="390"/>
                </a:lnTo>
                <a:lnTo>
                  <a:pt x="2700" y="396"/>
                </a:lnTo>
                <a:lnTo>
                  <a:pt x="2694" y="396"/>
                </a:lnTo>
                <a:lnTo>
                  <a:pt x="2700" y="396"/>
                </a:lnTo>
                <a:lnTo>
                  <a:pt x="2706" y="396"/>
                </a:lnTo>
                <a:lnTo>
                  <a:pt x="2712" y="396"/>
                </a:lnTo>
                <a:lnTo>
                  <a:pt x="2718" y="396"/>
                </a:lnTo>
                <a:lnTo>
                  <a:pt x="2724" y="396"/>
                </a:lnTo>
                <a:lnTo>
                  <a:pt x="2724" y="402"/>
                </a:lnTo>
                <a:lnTo>
                  <a:pt x="2730" y="402"/>
                </a:lnTo>
                <a:lnTo>
                  <a:pt x="2736" y="402"/>
                </a:lnTo>
                <a:lnTo>
                  <a:pt x="2742" y="402"/>
                </a:lnTo>
                <a:lnTo>
                  <a:pt x="2742" y="396"/>
                </a:lnTo>
                <a:lnTo>
                  <a:pt x="2748" y="396"/>
                </a:lnTo>
                <a:lnTo>
                  <a:pt x="2748" y="390"/>
                </a:lnTo>
                <a:lnTo>
                  <a:pt x="2754" y="390"/>
                </a:lnTo>
                <a:lnTo>
                  <a:pt x="2754" y="384"/>
                </a:lnTo>
                <a:lnTo>
                  <a:pt x="2754" y="390"/>
                </a:lnTo>
                <a:lnTo>
                  <a:pt x="2754" y="384"/>
                </a:lnTo>
                <a:lnTo>
                  <a:pt x="2760" y="384"/>
                </a:lnTo>
                <a:lnTo>
                  <a:pt x="2766" y="384"/>
                </a:lnTo>
                <a:lnTo>
                  <a:pt x="2766" y="378"/>
                </a:lnTo>
                <a:lnTo>
                  <a:pt x="2772" y="378"/>
                </a:lnTo>
                <a:lnTo>
                  <a:pt x="2778" y="372"/>
                </a:lnTo>
                <a:lnTo>
                  <a:pt x="2778" y="366"/>
                </a:lnTo>
                <a:lnTo>
                  <a:pt x="2784" y="366"/>
                </a:lnTo>
                <a:lnTo>
                  <a:pt x="2784" y="360"/>
                </a:lnTo>
                <a:lnTo>
                  <a:pt x="2790" y="360"/>
                </a:lnTo>
                <a:lnTo>
                  <a:pt x="2790" y="354"/>
                </a:lnTo>
                <a:lnTo>
                  <a:pt x="2790" y="348"/>
                </a:lnTo>
                <a:lnTo>
                  <a:pt x="2796" y="348"/>
                </a:lnTo>
                <a:lnTo>
                  <a:pt x="2790" y="342"/>
                </a:lnTo>
                <a:lnTo>
                  <a:pt x="2790" y="336"/>
                </a:lnTo>
                <a:lnTo>
                  <a:pt x="2796" y="336"/>
                </a:lnTo>
                <a:lnTo>
                  <a:pt x="2796" y="330"/>
                </a:lnTo>
                <a:lnTo>
                  <a:pt x="2802" y="324"/>
                </a:lnTo>
                <a:lnTo>
                  <a:pt x="2802" y="318"/>
                </a:lnTo>
                <a:lnTo>
                  <a:pt x="2802" y="312"/>
                </a:lnTo>
                <a:lnTo>
                  <a:pt x="2808" y="306"/>
                </a:lnTo>
                <a:lnTo>
                  <a:pt x="2814" y="306"/>
                </a:lnTo>
                <a:lnTo>
                  <a:pt x="2814" y="300"/>
                </a:lnTo>
                <a:lnTo>
                  <a:pt x="2814" y="294"/>
                </a:lnTo>
                <a:lnTo>
                  <a:pt x="2814" y="288"/>
                </a:lnTo>
                <a:lnTo>
                  <a:pt x="2820" y="288"/>
                </a:lnTo>
                <a:lnTo>
                  <a:pt x="2820" y="282"/>
                </a:lnTo>
                <a:lnTo>
                  <a:pt x="2820" y="276"/>
                </a:lnTo>
                <a:lnTo>
                  <a:pt x="2820" y="270"/>
                </a:lnTo>
                <a:lnTo>
                  <a:pt x="2826" y="270"/>
                </a:lnTo>
                <a:lnTo>
                  <a:pt x="2826" y="264"/>
                </a:lnTo>
                <a:lnTo>
                  <a:pt x="2826" y="258"/>
                </a:lnTo>
                <a:lnTo>
                  <a:pt x="2832" y="258"/>
                </a:lnTo>
                <a:lnTo>
                  <a:pt x="2832" y="264"/>
                </a:lnTo>
                <a:lnTo>
                  <a:pt x="2832" y="258"/>
                </a:lnTo>
                <a:lnTo>
                  <a:pt x="2838" y="252"/>
                </a:lnTo>
                <a:lnTo>
                  <a:pt x="2844" y="246"/>
                </a:lnTo>
                <a:lnTo>
                  <a:pt x="2850" y="234"/>
                </a:lnTo>
                <a:lnTo>
                  <a:pt x="2850" y="228"/>
                </a:lnTo>
                <a:lnTo>
                  <a:pt x="2856" y="228"/>
                </a:lnTo>
                <a:lnTo>
                  <a:pt x="2856" y="222"/>
                </a:lnTo>
                <a:lnTo>
                  <a:pt x="2862" y="216"/>
                </a:lnTo>
                <a:lnTo>
                  <a:pt x="2862" y="210"/>
                </a:lnTo>
                <a:lnTo>
                  <a:pt x="2868" y="204"/>
                </a:lnTo>
                <a:lnTo>
                  <a:pt x="2868" y="198"/>
                </a:lnTo>
                <a:lnTo>
                  <a:pt x="2874" y="198"/>
                </a:lnTo>
                <a:lnTo>
                  <a:pt x="2874" y="192"/>
                </a:lnTo>
                <a:lnTo>
                  <a:pt x="2874" y="186"/>
                </a:lnTo>
                <a:lnTo>
                  <a:pt x="2880" y="186"/>
                </a:lnTo>
                <a:lnTo>
                  <a:pt x="2886" y="180"/>
                </a:lnTo>
                <a:lnTo>
                  <a:pt x="2892" y="180"/>
                </a:lnTo>
                <a:lnTo>
                  <a:pt x="2892" y="174"/>
                </a:lnTo>
                <a:lnTo>
                  <a:pt x="2892" y="168"/>
                </a:lnTo>
                <a:lnTo>
                  <a:pt x="2898" y="162"/>
                </a:lnTo>
                <a:lnTo>
                  <a:pt x="2904" y="162"/>
                </a:lnTo>
                <a:lnTo>
                  <a:pt x="2910" y="156"/>
                </a:lnTo>
                <a:lnTo>
                  <a:pt x="2910" y="150"/>
                </a:lnTo>
                <a:lnTo>
                  <a:pt x="2916" y="144"/>
                </a:lnTo>
                <a:lnTo>
                  <a:pt x="2916" y="138"/>
                </a:lnTo>
                <a:lnTo>
                  <a:pt x="2916" y="132"/>
                </a:lnTo>
                <a:lnTo>
                  <a:pt x="2916" y="126"/>
                </a:lnTo>
                <a:lnTo>
                  <a:pt x="2922" y="120"/>
                </a:lnTo>
                <a:lnTo>
                  <a:pt x="2922" y="108"/>
                </a:lnTo>
                <a:lnTo>
                  <a:pt x="2928" y="108"/>
                </a:lnTo>
                <a:lnTo>
                  <a:pt x="2934" y="114"/>
                </a:lnTo>
                <a:lnTo>
                  <a:pt x="2940" y="114"/>
                </a:lnTo>
                <a:lnTo>
                  <a:pt x="2946" y="126"/>
                </a:lnTo>
                <a:lnTo>
                  <a:pt x="2964" y="138"/>
                </a:lnTo>
                <a:lnTo>
                  <a:pt x="2964" y="144"/>
                </a:lnTo>
                <a:lnTo>
                  <a:pt x="2970" y="156"/>
                </a:lnTo>
                <a:lnTo>
                  <a:pt x="2970" y="162"/>
                </a:lnTo>
                <a:lnTo>
                  <a:pt x="2970" y="168"/>
                </a:lnTo>
                <a:lnTo>
                  <a:pt x="2976" y="174"/>
                </a:lnTo>
                <a:lnTo>
                  <a:pt x="2982" y="174"/>
                </a:lnTo>
                <a:lnTo>
                  <a:pt x="2982" y="180"/>
                </a:lnTo>
                <a:lnTo>
                  <a:pt x="2982" y="186"/>
                </a:lnTo>
                <a:lnTo>
                  <a:pt x="2982" y="192"/>
                </a:lnTo>
                <a:lnTo>
                  <a:pt x="2982" y="198"/>
                </a:lnTo>
                <a:lnTo>
                  <a:pt x="2982" y="204"/>
                </a:lnTo>
                <a:lnTo>
                  <a:pt x="2982" y="210"/>
                </a:lnTo>
                <a:lnTo>
                  <a:pt x="2982" y="228"/>
                </a:lnTo>
                <a:lnTo>
                  <a:pt x="2982" y="234"/>
                </a:lnTo>
                <a:lnTo>
                  <a:pt x="2982" y="240"/>
                </a:lnTo>
                <a:lnTo>
                  <a:pt x="2982" y="246"/>
                </a:lnTo>
                <a:lnTo>
                  <a:pt x="2994" y="264"/>
                </a:lnTo>
                <a:lnTo>
                  <a:pt x="2988" y="270"/>
                </a:lnTo>
                <a:lnTo>
                  <a:pt x="2988" y="276"/>
                </a:lnTo>
                <a:lnTo>
                  <a:pt x="2994" y="282"/>
                </a:lnTo>
                <a:lnTo>
                  <a:pt x="2994" y="288"/>
                </a:lnTo>
                <a:lnTo>
                  <a:pt x="2994" y="294"/>
                </a:lnTo>
                <a:lnTo>
                  <a:pt x="2994" y="300"/>
                </a:lnTo>
                <a:lnTo>
                  <a:pt x="3000" y="300"/>
                </a:lnTo>
                <a:lnTo>
                  <a:pt x="3000" y="306"/>
                </a:lnTo>
                <a:lnTo>
                  <a:pt x="3000" y="312"/>
                </a:lnTo>
                <a:lnTo>
                  <a:pt x="3000" y="318"/>
                </a:lnTo>
                <a:lnTo>
                  <a:pt x="3006" y="318"/>
                </a:lnTo>
                <a:lnTo>
                  <a:pt x="3006" y="324"/>
                </a:lnTo>
                <a:lnTo>
                  <a:pt x="3012" y="324"/>
                </a:lnTo>
                <a:lnTo>
                  <a:pt x="3012" y="336"/>
                </a:lnTo>
                <a:lnTo>
                  <a:pt x="3012" y="342"/>
                </a:lnTo>
                <a:lnTo>
                  <a:pt x="3012" y="348"/>
                </a:lnTo>
                <a:lnTo>
                  <a:pt x="3018" y="348"/>
                </a:lnTo>
                <a:lnTo>
                  <a:pt x="3018" y="354"/>
                </a:lnTo>
                <a:lnTo>
                  <a:pt x="3012" y="360"/>
                </a:lnTo>
                <a:lnTo>
                  <a:pt x="3018" y="360"/>
                </a:lnTo>
                <a:lnTo>
                  <a:pt x="3018" y="354"/>
                </a:lnTo>
                <a:lnTo>
                  <a:pt x="3024" y="360"/>
                </a:lnTo>
                <a:lnTo>
                  <a:pt x="3024" y="366"/>
                </a:lnTo>
                <a:lnTo>
                  <a:pt x="3024" y="372"/>
                </a:lnTo>
                <a:lnTo>
                  <a:pt x="3024" y="378"/>
                </a:lnTo>
                <a:lnTo>
                  <a:pt x="3030" y="378"/>
                </a:lnTo>
                <a:lnTo>
                  <a:pt x="3030" y="384"/>
                </a:lnTo>
                <a:lnTo>
                  <a:pt x="3030" y="390"/>
                </a:lnTo>
                <a:lnTo>
                  <a:pt x="3030" y="396"/>
                </a:lnTo>
                <a:lnTo>
                  <a:pt x="3036" y="396"/>
                </a:lnTo>
                <a:lnTo>
                  <a:pt x="3036" y="402"/>
                </a:lnTo>
                <a:lnTo>
                  <a:pt x="3030" y="402"/>
                </a:lnTo>
                <a:lnTo>
                  <a:pt x="3030" y="408"/>
                </a:lnTo>
                <a:lnTo>
                  <a:pt x="3036" y="402"/>
                </a:lnTo>
                <a:lnTo>
                  <a:pt x="3048" y="402"/>
                </a:lnTo>
                <a:lnTo>
                  <a:pt x="3048" y="396"/>
                </a:lnTo>
                <a:lnTo>
                  <a:pt x="3054" y="396"/>
                </a:lnTo>
                <a:lnTo>
                  <a:pt x="3060" y="396"/>
                </a:lnTo>
                <a:lnTo>
                  <a:pt x="3066" y="396"/>
                </a:lnTo>
                <a:lnTo>
                  <a:pt x="3072" y="402"/>
                </a:lnTo>
                <a:lnTo>
                  <a:pt x="3072" y="408"/>
                </a:lnTo>
                <a:lnTo>
                  <a:pt x="3078" y="408"/>
                </a:lnTo>
                <a:lnTo>
                  <a:pt x="3078" y="414"/>
                </a:lnTo>
                <a:lnTo>
                  <a:pt x="3078" y="420"/>
                </a:lnTo>
                <a:lnTo>
                  <a:pt x="3084" y="420"/>
                </a:lnTo>
                <a:lnTo>
                  <a:pt x="3084" y="426"/>
                </a:lnTo>
                <a:lnTo>
                  <a:pt x="3090" y="438"/>
                </a:lnTo>
                <a:lnTo>
                  <a:pt x="3096" y="450"/>
                </a:lnTo>
                <a:lnTo>
                  <a:pt x="3102" y="450"/>
                </a:lnTo>
                <a:lnTo>
                  <a:pt x="3108" y="450"/>
                </a:lnTo>
                <a:lnTo>
                  <a:pt x="3114" y="450"/>
                </a:lnTo>
                <a:lnTo>
                  <a:pt x="3120" y="450"/>
                </a:lnTo>
                <a:lnTo>
                  <a:pt x="3126" y="456"/>
                </a:lnTo>
                <a:lnTo>
                  <a:pt x="3132" y="462"/>
                </a:lnTo>
                <a:lnTo>
                  <a:pt x="3138" y="462"/>
                </a:lnTo>
                <a:lnTo>
                  <a:pt x="3132" y="468"/>
                </a:lnTo>
                <a:lnTo>
                  <a:pt x="3138" y="468"/>
                </a:lnTo>
                <a:lnTo>
                  <a:pt x="3138" y="474"/>
                </a:lnTo>
                <a:lnTo>
                  <a:pt x="3138" y="480"/>
                </a:lnTo>
                <a:lnTo>
                  <a:pt x="3138" y="492"/>
                </a:lnTo>
                <a:lnTo>
                  <a:pt x="3138" y="498"/>
                </a:lnTo>
                <a:lnTo>
                  <a:pt x="3138" y="504"/>
                </a:lnTo>
                <a:lnTo>
                  <a:pt x="3138" y="510"/>
                </a:lnTo>
                <a:lnTo>
                  <a:pt x="3138" y="516"/>
                </a:lnTo>
                <a:lnTo>
                  <a:pt x="3138" y="522"/>
                </a:lnTo>
                <a:lnTo>
                  <a:pt x="3138" y="528"/>
                </a:lnTo>
                <a:lnTo>
                  <a:pt x="3138" y="534"/>
                </a:lnTo>
                <a:lnTo>
                  <a:pt x="3132" y="534"/>
                </a:lnTo>
                <a:lnTo>
                  <a:pt x="3132" y="540"/>
                </a:lnTo>
                <a:lnTo>
                  <a:pt x="3132" y="546"/>
                </a:lnTo>
                <a:lnTo>
                  <a:pt x="3132" y="552"/>
                </a:lnTo>
                <a:lnTo>
                  <a:pt x="3132" y="558"/>
                </a:lnTo>
                <a:lnTo>
                  <a:pt x="3126" y="558"/>
                </a:lnTo>
                <a:lnTo>
                  <a:pt x="3126" y="564"/>
                </a:lnTo>
                <a:lnTo>
                  <a:pt x="3120" y="570"/>
                </a:lnTo>
                <a:lnTo>
                  <a:pt x="3120" y="576"/>
                </a:lnTo>
                <a:lnTo>
                  <a:pt x="3114" y="576"/>
                </a:lnTo>
                <a:lnTo>
                  <a:pt x="3120" y="576"/>
                </a:lnTo>
                <a:lnTo>
                  <a:pt x="3114" y="576"/>
                </a:lnTo>
                <a:lnTo>
                  <a:pt x="3120" y="576"/>
                </a:lnTo>
                <a:lnTo>
                  <a:pt x="3114" y="576"/>
                </a:lnTo>
                <a:lnTo>
                  <a:pt x="3114" y="582"/>
                </a:lnTo>
                <a:lnTo>
                  <a:pt x="3114" y="594"/>
                </a:lnTo>
                <a:lnTo>
                  <a:pt x="3114" y="600"/>
                </a:lnTo>
                <a:lnTo>
                  <a:pt x="3114" y="606"/>
                </a:lnTo>
                <a:lnTo>
                  <a:pt x="3120" y="606"/>
                </a:lnTo>
                <a:lnTo>
                  <a:pt x="3120" y="618"/>
                </a:lnTo>
                <a:lnTo>
                  <a:pt x="3120" y="630"/>
                </a:lnTo>
                <a:lnTo>
                  <a:pt x="3120" y="636"/>
                </a:lnTo>
                <a:lnTo>
                  <a:pt x="3114" y="642"/>
                </a:lnTo>
                <a:lnTo>
                  <a:pt x="3120" y="642"/>
                </a:lnTo>
                <a:lnTo>
                  <a:pt x="3126" y="642"/>
                </a:lnTo>
                <a:lnTo>
                  <a:pt x="3132" y="642"/>
                </a:lnTo>
                <a:lnTo>
                  <a:pt x="3138" y="642"/>
                </a:lnTo>
                <a:lnTo>
                  <a:pt x="3144" y="642"/>
                </a:lnTo>
                <a:lnTo>
                  <a:pt x="3150" y="642"/>
                </a:lnTo>
                <a:lnTo>
                  <a:pt x="3156" y="636"/>
                </a:lnTo>
                <a:lnTo>
                  <a:pt x="3156" y="642"/>
                </a:lnTo>
                <a:lnTo>
                  <a:pt x="3156" y="636"/>
                </a:lnTo>
                <a:lnTo>
                  <a:pt x="3162" y="636"/>
                </a:lnTo>
                <a:lnTo>
                  <a:pt x="3168" y="636"/>
                </a:lnTo>
                <a:lnTo>
                  <a:pt x="3168" y="642"/>
                </a:lnTo>
                <a:lnTo>
                  <a:pt x="3174" y="642"/>
                </a:lnTo>
                <a:lnTo>
                  <a:pt x="3174" y="648"/>
                </a:lnTo>
                <a:lnTo>
                  <a:pt x="3180" y="654"/>
                </a:lnTo>
                <a:lnTo>
                  <a:pt x="3180" y="660"/>
                </a:lnTo>
                <a:lnTo>
                  <a:pt x="3186" y="666"/>
                </a:lnTo>
                <a:lnTo>
                  <a:pt x="3192" y="672"/>
                </a:lnTo>
                <a:lnTo>
                  <a:pt x="3192" y="678"/>
                </a:lnTo>
                <a:lnTo>
                  <a:pt x="3198" y="672"/>
                </a:lnTo>
                <a:lnTo>
                  <a:pt x="3198" y="678"/>
                </a:lnTo>
                <a:lnTo>
                  <a:pt x="3204" y="678"/>
                </a:lnTo>
                <a:lnTo>
                  <a:pt x="3204" y="684"/>
                </a:lnTo>
                <a:lnTo>
                  <a:pt x="3252" y="702"/>
                </a:lnTo>
                <a:lnTo>
                  <a:pt x="3252" y="708"/>
                </a:lnTo>
                <a:lnTo>
                  <a:pt x="3258" y="708"/>
                </a:lnTo>
                <a:lnTo>
                  <a:pt x="3264" y="714"/>
                </a:lnTo>
                <a:lnTo>
                  <a:pt x="3270" y="714"/>
                </a:lnTo>
                <a:lnTo>
                  <a:pt x="3276" y="714"/>
                </a:lnTo>
                <a:lnTo>
                  <a:pt x="3282" y="714"/>
                </a:lnTo>
                <a:lnTo>
                  <a:pt x="3288" y="714"/>
                </a:lnTo>
                <a:lnTo>
                  <a:pt x="3294" y="714"/>
                </a:lnTo>
                <a:lnTo>
                  <a:pt x="3294" y="720"/>
                </a:lnTo>
                <a:lnTo>
                  <a:pt x="3294" y="714"/>
                </a:lnTo>
                <a:lnTo>
                  <a:pt x="3300" y="714"/>
                </a:lnTo>
                <a:lnTo>
                  <a:pt x="3306" y="714"/>
                </a:lnTo>
                <a:lnTo>
                  <a:pt x="3312" y="714"/>
                </a:lnTo>
                <a:lnTo>
                  <a:pt x="3318" y="714"/>
                </a:lnTo>
                <a:lnTo>
                  <a:pt x="3324" y="714"/>
                </a:lnTo>
                <a:lnTo>
                  <a:pt x="3330" y="714"/>
                </a:lnTo>
                <a:lnTo>
                  <a:pt x="3330" y="720"/>
                </a:lnTo>
                <a:lnTo>
                  <a:pt x="3336" y="720"/>
                </a:lnTo>
                <a:lnTo>
                  <a:pt x="3336" y="732"/>
                </a:lnTo>
                <a:lnTo>
                  <a:pt x="3330" y="738"/>
                </a:lnTo>
                <a:lnTo>
                  <a:pt x="3324" y="738"/>
                </a:lnTo>
                <a:lnTo>
                  <a:pt x="3324" y="744"/>
                </a:lnTo>
                <a:lnTo>
                  <a:pt x="3324" y="750"/>
                </a:lnTo>
                <a:lnTo>
                  <a:pt x="3354" y="762"/>
                </a:lnTo>
                <a:lnTo>
                  <a:pt x="3384" y="768"/>
                </a:lnTo>
                <a:lnTo>
                  <a:pt x="3384" y="774"/>
                </a:lnTo>
                <a:lnTo>
                  <a:pt x="3390" y="774"/>
                </a:lnTo>
                <a:lnTo>
                  <a:pt x="3390" y="768"/>
                </a:lnTo>
                <a:lnTo>
                  <a:pt x="3396" y="762"/>
                </a:lnTo>
                <a:lnTo>
                  <a:pt x="3396" y="768"/>
                </a:lnTo>
                <a:lnTo>
                  <a:pt x="3396" y="762"/>
                </a:lnTo>
                <a:lnTo>
                  <a:pt x="3396" y="756"/>
                </a:lnTo>
                <a:lnTo>
                  <a:pt x="3402" y="756"/>
                </a:lnTo>
                <a:lnTo>
                  <a:pt x="3402" y="762"/>
                </a:lnTo>
                <a:lnTo>
                  <a:pt x="3408" y="762"/>
                </a:lnTo>
                <a:lnTo>
                  <a:pt x="3402" y="762"/>
                </a:lnTo>
                <a:lnTo>
                  <a:pt x="3408" y="762"/>
                </a:lnTo>
                <a:lnTo>
                  <a:pt x="3402" y="768"/>
                </a:lnTo>
                <a:lnTo>
                  <a:pt x="3402" y="774"/>
                </a:lnTo>
                <a:lnTo>
                  <a:pt x="3402" y="768"/>
                </a:lnTo>
                <a:lnTo>
                  <a:pt x="3408" y="774"/>
                </a:lnTo>
                <a:lnTo>
                  <a:pt x="3408" y="768"/>
                </a:lnTo>
                <a:lnTo>
                  <a:pt x="3408" y="762"/>
                </a:lnTo>
                <a:lnTo>
                  <a:pt x="3408" y="756"/>
                </a:lnTo>
                <a:lnTo>
                  <a:pt x="3414" y="756"/>
                </a:lnTo>
                <a:lnTo>
                  <a:pt x="3408" y="756"/>
                </a:lnTo>
                <a:lnTo>
                  <a:pt x="3408" y="762"/>
                </a:lnTo>
                <a:lnTo>
                  <a:pt x="3414" y="762"/>
                </a:lnTo>
                <a:lnTo>
                  <a:pt x="3414" y="768"/>
                </a:lnTo>
                <a:lnTo>
                  <a:pt x="3414" y="762"/>
                </a:lnTo>
                <a:lnTo>
                  <a:pt x="3420" y="762"/>
                </a:lnTo>
                <a:lnTo>
                  <a:pt x="3414" y="762"/>
                </a:lnTo>
                <a:lnTo>
                  <a:pt x="3414" y="756"/>
                </a:lnTo>
                <a:lnTo>
                  <a:pt x="3420" y="756"/>
                </a:lnTo>
                <a:lnTo>
                  <a:pt x="3426" y="756"/>
                </a:lnTo>
                <a:lnTo>
                  <a:pt x="3426" y="762"/>
                </a:lnTo>
                <a:lnTo>
                  <a:pt x="3432" y="762"/>
                </a:lnTo>
                <a:lnTo>
                  <a:pt x="3432" y="768"/>
                </a:lnTo>
                <a:lnTo>
                  <a:pt x="3432" y="774"/>
                </a:lnTo>
                <a:lnTo>
                  <a:pt x="3438" y="774"/>
                </a:lnTo>
                <a:lnTo>
                  <a:pt x="3438" y="768"/>
                </a:lnTo>
                <a:lnTo>
                  <a:pt x="3438" y="762"/>
                </a:lnTo>
                <a:lnTo>
                  <a:pt x="3444" y="762"/>
                </a:lnTo>
                <a:lnTo>
                  <a:pt x="3444" y="768"/>
                </a:lnTo>
                <a:lnTo>
                  <a:pt x="3444" y="774"/>
                </a:lnTo>
                <a:lnTo>
                  <a:pt x="3450" y="774"/>
                </a:lnTo>
                <a:lnTo>
                  <a:pt x="3450" y="780"/>
                </a:lnTo>
                <a:lnTo>
                  <a:pt x="3450" y="786"/>
                </a:lnTo>
                <a:lnTo>
                  <a:pt x="3450" y="780"/>
                </a:lnTo>
                <a:lnTo>
                  <a:pt x="3456" y="786"/>
                </a:lnTo>
                <a:lnTo>
                  <a:pt x="3456" y="780"/>
                </a:lnTo>
                <a:lnTo>
                  <a:pt x="3456" y="774"/>
                </a:lnTo>
                <a:lnTo>
                  <a:pt x="3450" y="768"/>
                </a:lnTo>
                <a:lnTo>
                  <a:pt x="3456" y="768"/>
                </a:lnTo>
                <a:lnTo>
                  <a:pt x="3450" y="762"/>
                </a:lnTo>
                <a:lnTo>
                  <a:pt x="3456" y="762"/>
                </a:lnTo>
                <a:lnTo>
                  <a:pt x="3462" y="762"/>
                </a:lnTo>
                <a:lnTo>
                  <a:pt x="3462" y="768"/>
                </a:lnTo>
                <a:lnTo>
                  <a:pt x="3456" y="768"/>
                </a:lnTo>
                <a:lnTo>
                  <a:pt x="3462" y="768"/>
                </a:lnTo>
                <a:lnTo>
                  <a:pt x="3468" y="768"/>
                </a:lnTo>
                <a:lnTo>
                  <a:pt x="3468" y="762"/>
                </a:lnTo>
                <a:lnTo>
                  <a:pt x="3474" y="762"/>
                </a:lnTo>
                <a:lnTo>
                  <a:pt x="3480" y="762"/>
                </a:lnTo>
                <a:lnTo>
                  <a:pt x="3474" y="762"/>
                </a:lnTo>
                <a:lnTo>
                  <a:pt x="3480" y="768"/>
                </a:lnTo>
                <a:lnTo>
                  <a:pt x="3474" y="768"/>
                </a:lnTo>
                <a:lnTo>
                  <a:pt x="3480" y="768"/>
                </a:lnTo>
                <a:lnTo>
                  <a:pt x="3486" y="768"/>
                </a:lnTo>
                <a:lnTo>
                  <a:pt x="3486" y="774"/>
                </a:lnTo>
                <a:lnTo>
                  <a:pt x="3480" y="774"/>
                </a:lnTo>
                <a:lnTo>
                  <a:pt x="3486" y="774"/>
                </a:lnTo>
                <a:lnTo>
                  <a:pt x="3492" y="774"/>
                </a:lnTo>
                <a:lnTo>
                  <a:pt x="3492" y="768"/>
                </a:lnTo>
                <a:lnTo>
                  <a:pt x="3492" y="774"/>
                </a:lnTo>
                <a:lnTo>
                  <a:pt x="3492" y="780"/>
                </a:lnTo>
                <a:lnTo>
                  <a:pt x="3492" y="786"/>
                </a:lnTo>
                <a:lnTo>
                  <a:pt x="3492" y="780"/>
                </a:lnTo>
                <a:lnTo>
                  <a:pt x="3492" y="786"/>
                </a:lnTo>
                <a:lnTo>
                  <a:pt x="3492" y="780"/>
                </a:lnTo>
                <a:lnTo>
                  <a:pt x="3498" y="774"/>
                </a:lnTo>
                <a:lnTo>
                  <a:pt x="3498" y="780"/>
                </a:lnTo>
                <a:lnTo>
                  <a:pt x="3498" y="774"/>
                </a:lnTo>
                <a:lnTo>
                  <a:pt x="3504" y="768"/>
                </a:lnTo>
                <a:lnTo>
                  <a:pt x="3504" y="774"/>
                </a:lnTo>
                <a:lnTo>
                  <a:pt x="3504" y="780"/>
                </a:lnTo>
                <a:lnTo>
                  <a:pt x="3504" y="786"/>
                </a:lnTo>
                <a:lnTo>
                  <a:pt x="3504" y="780"/>
                </a:lnTo>
                <a:lnTo>
                  <a:pt x="3510" y="780"/>
                </a:lnTo>
                <a:lnTo>
                  <a:pt x="3510" y="774"/>
                </a:lnTo>
                <a:lnTo>
                  <a:pt x="3510" y="780"/>
                </a:lnTo>
                <a:lnTo>
                  <a:pt x="3510" y="786"/>
                </a:lnTo>
                <a:lnTo>
                  <a:pt x="3504" y="786"/>
                </a:lnTo>
                <a:lnTo>
                  <a:pt x="3510" y="786"/>
                </a:lnTo>
                <a:lnTo>
                  <a:pt x="3510" y="780"/>
                </a:lnTo>
                <a:lnTo>
                  <a:pt x="3516" y="774"/>
                </a:lnTo>
                <a:lnTo>
                  <a:pt x="3522" y="774"/>
                </a:lnTo>
                <a:lnTo>
                  <a:pt x="3522" y="780"/>
                </a:lnTo>
                <a:lnTo>
                  <a:pt x="3516" y="780"/>
                </a:lnTo>
                <a:lnTo>
                  <a:pt x="3522" y="780"/>
                </a:lnTo>
                <a:lnTo>
                  <a:pt x="3522" y="786"/>
                </a:lnTo>
                <a:lnTo>
                  <a:pt x="3516" y="786"/>
                </a:lnTo>
                <a:lnTo>
                  <a:pt x="3522" y="786"/>
                </a:lnTo>
                <a:lnTo>
                  <a:pt x="3522" y="792"/>
                </a:lnTo>
                <a:lnTo>
                  <a:pt x="3522" y="798"/>
                </a:lnTo>
                <a:lnTo>
                  <a:pt x="3528" y="798"/>
                </a:lnTo>
                <a:lnTo>
                  <a:pt x="3528" y="792"/>
                </a:lnTo>
                <a:lnTo>
                  <a:pt x="3528" y="786"/>
                </a:lnTo>
                <a:lnTo>
                  <a:pt x="3528" y="792"/>
                </a:lnTo>
                <a:lnTo>
                  <a:pt x="3528" y="786"/>
                </a:lnTo>
                <a:lnTo>
                  <a:pt x="3534" y="780"/>
                </a:lnTo>
                <a:lnTo>
                  <a:pt x="3534" y="786"/>
                </a:lnTo>
                <a:lnTo>
                  <a:pt x="3534" y="780"/>
                </a:lnTo>
                <a:lnTo>
                  <a:pt x="3540" y="780"/>
                </a:lnTo>
                <a:lnTo>
                  <a:pt x="3534" y="780"/>
                </a:lnTo>
                <a:lnTo>
                  <a:pt x="3534" y="786"/>
                </a:lnTo>
                <a:lnTo>
                  <a:pt x="3534" y="792"/>
                </a:lnTo>
                <a:lnTo>
                  <a:pt x="3534" y="798"/>
                </a:lnTo>
                <a:lnTo>
                  <a:pt x="3534" y="792"/>
                </a:lnTo>
                <a:lnTo>
                  <a:pt x="3540" y="792"/>
                </a:lnTo>
                <a:lnTo>
                  <a:pt x="3540" y="798"/>
                </a:lnTo>
                <a:lnTo>
                  <a:pt x="3540" y="804"/>
                </a:lnTo>
                <a:lnTo>
                  <a:pt x="3540" y="798"/>
                </a:lnTo>
                <a:lnTo>
                  <a:pt x="3546" y="798"/>
                </a:lnTo>
                <a:lnTo>
                  <a:pt x="3540" y="798"/>
                </a:lnTo>
                <a:lnTo>
                  <a:pt x="3540" y="792"/>
                </a:lnTo>
                <a:lnTo>
                  <a:pt x="3546" y="792"/>
                </a:lnTo>
                <a:lnTo>
                  <a:pt x="3546" y="798"/>
                </a:lnTo>
                <a:lnTo>
                  <a:pt x="3552" y="798"/>
                </a:lnTo>
                <a:lnTo>
                  <a:pt x="3552" y="804"/>
                </a:lnTo>
                <a:lnTo>
                  <a:pt x="3546" y="804"/>
                </a:lnTo>
                <a:lnTo>
                  <a:pt x="3552" y="804"/>
                </a:lnTo>
                <a:lnTo>
                  <a:pt x="3552" y="798"/>
                </a:lnTo>
                <a:lnTo>
                  <a:pt x="3552" y="792"/>
                </a:lnTo>
                <a:lnTo>
                  <a:pt x="3558" y="792"/>
                </a:lnTo>
                <a:lnTo>
                  <a:pt x="3558" y="798"/>
                </a:lnTo>
                <a:lnTo>
                  <a:pt x="3558" y="792"/>
                </a:lnTo>
                <a:lnTo>
                  <a:pt x="3558" y="798"/>
                </a:lnTo>
                <a:lnTo>
                  <a:pt x="3558" y="792"/>
                </a:lnTo>
                <a:lnTo>
                  <a:pt x="3558" y="786"/>
                </a:lnTo>
                <a:lnTo>
                  <a:pt x="3558" y="792"/>
                </a:lnTo>
                <a:lnTo>
                  <a:pt x="3558" y="786"/>
                </a:lnTo>
                <a:lnTo>
                  <a:pt x="3564" y="786"/>
                </a:lnTo>
                <a:lnTo>
                  <a:pt x="3558" y="786"/>
                </a:lnTo>
                <a:lnTo>
                  <a:pt x="3564" y="786"/>
                </a:lnTo>
                <a:lnTo>
                  <a:pt x="3564" y="792"/>
                </a:lnTo>
                <a:lnTo>
                  <a:pt x="3564" y="798"/>
                </a:lnTo>
                <a:lnTo>
                  <a:pt x="3558" y="798"/>
                </a:lnTo>
                <a:lnTo>
                  <a:pt x="3558" y="804"/>
                </a:lnTo>
                <a:lnTo>
                  <a:pt x="3564" y="804"/>
                </a:lnTo>
                <a:lnTo>
                  <a:pt x="3558" y="804"/>
                </a:lnTo>
                <a:lnTo>
                  <a:pt x="3558" y="810"/>
                </a:lnTo>
                <a:lnTo>
                  <a:pt x="3564" y="810"/>
                </a:lnTo>
                <a:lnTo>
                  <a:pt x="3570" y="810"/>
                </a:lnTo>
                <a:lnTo>
                  <a:pt x="3570" y="804"/>
                </a:lnTo>
                <a:lnTo>
                  <a:pt x="3570" y="810"/>
                </a:lnTo>
                <a:lnTo>
                  <a:pt x="3570" y="804"/>
                </a:lnTo>
                <a:lnTo>
                  <a:pt x="3576" y="804"/>
                </a:lnTo>
                <a:lnTo>
                  <a:pt x="3576" y="810"/>
                </a:lnTo>
                <a:lnTo>
                  <a:pt x="3576" y="804"/>
                </a:lnTo>
                <a:lnTo>
                  <a:pt x="3576" y="810"/>
                </a:lnTo>
                <a:lnTo>
                  <a:pt x="3576" y="804"/>
                </a:lnTo>
                <a:lnTo>
                  <a:pt x="3576" y="798"/>
                </a:lnTo>
                <a:lnTo>
                  <a:pt x="3582" y="798"/>
                </a:lnTo>
                <a:lnTo>
                  <a:pt x="3576" y="798"/>
                </a:lnTo>
                <a:lnTo>
                  <a:pt x="3582" y="798"/>
                </a:lnTo>
                <a:lnTo>
                  <a:pt x="3588" y="798"/>
                </a:lnTo>
                <a:lnTo>
                  <a:pt x="3588" y="804"/>
                </a:lnTo>
                <a:lnTo>
                  <a:pt x="3588" y="798"/>
                </a:lnTo>
                <a:lnTo>
                  <a:pt x="3582" y="804"/>
                </a:lnTo>
                <a:lnTo>
                  <a:pt x="3582" y="810"/>
                </a:lnTo>
                <a:lnTo>
                  <a:pt x="3582" y="804"/>
                </a:lnTo>
                <a:lnTo>
                  <a:pt x="3582" y="810"/>
                </a:lnTo>
                <a:lnTo>
                  <a:pt x="3582" y="816"/>
                </a:lnTo>
                <a:lnTo>
                  <a:pt x="3582" y="822"/>
                </a:lnTo>
                <a:lnTo>
                  <a:pt x="3582" y="816"/>
                </a:lnTo>
                <a:lnTo>
                  <a:pt x="3588" y="816"/>
                </a:lnTo>
                <a:lnTo>
                  <a:pt x="3594" y="816"/>
                </a:lnTo>
                <a:lnTo>
                  <a:pt x="3588" y="822"/>
                </a:lnTo>
                <a:lnTo>
                  <a:pt x="3594" y="822"/>
                </a:lnTo>
                <a:lnTo>
                  <a:pt x="3594" y="816"/>
                </a:lnTo>
                <a:lnTo>
                  <a:pt x="3588" y="816"/>
                </a:lnTo>
                <a:lnTo>
                  <a:pt x="3594" y="816"/>
                </a:lnTo>
                <a:lnTo>
                  <a:pt x="3594" y="810"/>
                </a:lnTo>
                <a:lnTo>
                  <a:pt x="3594" y="816"/>
                </a:lnTo>
                <a:lnTo>
                  <a:pt x="3594" y="822"/>
                </a:lnTo>
                <a:lnTo>
                  <a:pt x="3594" y="816"/>
                </a:lnTo>
                <a:lnTo>
                  <a:pt x="3600" y="816"/>
                </a:lnTo>
                <a:lnTo>
                  <a:pt x="3600" y="822"/>
                </a:lnTo>
                <a:lnTo>
                  <a:pt x="3606" y="822"/>
                </a:lnTo>
                <a:lnTo>
                  <a:pt x="3600" y="822"/>
                </a:lnTo>
                <a:lnTo>
                  <a:pt x="3606" y="816"/>
                </a:lnTo>
                <a:lnTo>
                  <a:pt x="3606" y="822"/>
                </a:lnTo>
                <a:lnTo>
                  <a:pt x="3606" y="816"/>
                </a:lnTo>
                <a:lnTo>
                  <a:pt x="3606" y="810"/>
                </a:lnTo>
                <a:lnTo>
                  <a:pt x="3606" y="816"/>
                </a:lnTo>
                <a:lnTo>
                  <a:pt x="3612" y="810"/>
                </a:lnTo>
                <a:lnTo>
                  <a:pt x="3612" y="816"/>
                </a:lnTo>
                <a:lnTo>
                  <a:pt x="3612" y="810"/>
                </a:lnTo>
                <a:lnTo>
                  <a:pt x="3606" y="810"/>
                </a:lnTo>
                <a:lnTo>
                  <a:pt x="3612" y="810"/>
                </a:lnTo>
                <a:lnTo>
                  <a:pt x="3612" y="804"/>
                </a:lnTo>
                <a:lnTo>
                  <a:pt x="3618" y="804"/>
                </a:lnTo>
                <a:lnTo>
                  <a:pt x="3618" y="798"/>
                </a:lnTo>
                <a:lnTo>
                  <a:pt x="3618" y="804"/>
                </a:lnTo>
                <a:lnTo>
                  <a:pt x="3618" y="810"/>
                </a:lnTo>
                <a:lnTo>
                  <a:pt x="3612" y="810"/>
                </a:lnTo>
                <a:lnTo>
                  <a:pt x="3612" y="816"/>
                </a:lnTo>
                <a:lnTo>
                  <a:pt x="3618" y="810"/>
                </a:lnTo>
                <a:lnTo>
                  <a:pt x="3618" y="816"/>
                </a:lnTo>
                <a:lnTo>
                  <a:pt x="3618" y="822"/>
                </a:lnTo>
                <a:lnTo>
                  <a:pt x="3612" y="828"/>
                </a:lnTo>
                <a:lnTo>
                  <a:pt x="3612" y="834"/>
                </a:lnTo>
                <a:lnTo>
                  <a:pt x="3612" y="828"/>
                </a:lnTo>
                <a:lnTo>
                  <a:pt x="3618" y="828"/>
                </a:lnTo>
                <a:lnTo>
                  <a:pt x="3618" y="822"/>
                </a:lnTo>
                <a:lnTo>
                  <a:pt x="3618" y="816"/>
                </a:lnTo>
                <a:lnTo>
                  <a:pt x="3624" y="816"/>
                </a:lnTo>
                <a:lnTo>
                  <a:pt x="3624" y="810"/>
                </a:lnTo>
                <a:lnTo>
                  <a:pt x="3624" y="816"/>
                </a:lnTo>
                <a:lnTo>
                  <a:pt x="3624" y="822"/>
                </a:lnTo>
                <a:lnTo>
                  <a:pt x="3624" y="828"/>
                </a:lnTo>
                <a:lnTo>
                  <a:pt x="3618" y="828"/>
                </a:lnTo>
                <a:lnTo>
                  <a:pt x="3618" y="834"/>
                </a:lnTo>
                <a:lnTo>
                  <a:pt x="3618" y="828"/>
                </a:lnTo>
                <a:lnTo>
                  <a:pt x="3624" y="828"/>
                </a:lnTo>
                <a:lnTo>
                  <a:pt x="3624" y="834"/>
                </a:lnTo>
                <a:lnTo>
                  <a:pt x="3624" y="828"/>
                </a:lnTo>
                <a:lnTo>
                  <a:pt x="3624" y="822"/>
                </a:lnTo>
                <a:lnTo>
                  <a:pt x="3624" y="828"/>
                </a:lnTo>
                <a:lnTo>
                  <a:pt x="3624" y="834"/>
                </a:lnTo>
                <a:lnTo>
                  <a:pt x="3624" y="828"/>
                </a:lnTo>
                <a:lnTo>
                  <a:pt x="3624" y="822"/>
                </a:lnTo>
                <a:lnTo>
                  <a:pt x="3630" y="822"/>
                </a:lnTo>
                <a:lnTo>
                  <a:pt x="3630" y="816"/>
                </a:lnTo>
                <a:lnTo>
                  <a:pt x="3636" y="816"/>
                </a:lnTo>
                <a:lnTo>
                  <a:pt x="3630" y="822"/>
                </a:lnTo>
                <a:lnTo>
                  <a:pt x="3636" y="828"/>
                </a:lnTo>
                <a:lnTo>
                  <a:pt x="3636" y="834"/>
                </a:lnTo>
                <a:lnTo>
                  <a:pt x="3630" y="840"/>
                </a:lnTo>
                <a:lnTo>
                  <a:pt x="3624" y="846"/>
                </a:lnTo>
                <a:lnTo>
                  <a:pt x="3624" y="852"/>
                </a:lnTo>
                <a:lnTo>
                  <a:pt x="3630" y="852"/>
                </a:lnTo>
                <a:lnTo>
                  <a:pt x="3630" y="858"/>
                </a:lnTo>
                <a:lnTo>
                  <a:pt x="3630" y="864"/>
                </a:lnTo>
                <a:lnTo>
                  <a:pt x="3624" y="870"/>
                </a:lnTo>
                <a:lnTo>
                  <a:pt x="3630" y="870"/>
                </a:lnTo>
                <a:lnTo>
                  <a:pt x="3624" y="870"/>
                </a:lnTo>
                <a:lnTo>
                  <a:pt x="3624" y="876"/>
                </a:lnTo>
                <a:lnTo>
                  <a:pt x="3624" y="882"/>
                </a:lnTo>
                <a:lnTo>
                  <a:pt x="3630" y="888"/>
                </a:lnTo>
                <a:lnTo>
                  <a:pt x="3624" y="888"/>
                </a:lnTo>
                <a:lnTo>
                  <a:pt x="3624" y="894"/>
                </a:lnTo>
                <a:lnTo>
                  <a:pt x="3624" y="900"/>
                </a:lnTo>
                <a:lnTo>
                  <a:pt x="3624" y="906"/>
                </a:lnTo>
                <a:lnTo>
                  <a:pt x="3618" y="906"/>
                </a:lnTo>
                <a:lnTo>
                  <a:pt x="3612" y="906"/>
                </a:lnTo>
                <a:lnTo>
                  <a:pt x="3606" y="906"/>
                </a:lnTo>
                <a:lnTo>
                  <a:pt x="3606" y="912"/>
                </a:lnTo>
                <a:lnTo>
                  <a:pt x="3600" y="912"/>
                </a:lnTo>
                <a:lnTo>
                  <a:pt x="3606" y="918"/>
                </a:lnTo>
                <a:lnTo>
                  <a:pt x="3612" y="918"/>
                </a:lnTo>
                <a:lnTo>
                  <a:pt x="3618" y="918"/>
                </a:lnTo>
                <a:lnTo>
                  <a:pt x="3618" y="924"/>
                </a:lnTo>
                <a:lnTo>
                  <a:pt x="3612" y="930"/>
                </a:lnTo>
                <a:lnTo>
                  <a:pt x="3618" y="930"/>
                </a:lnTo>
                <a:lnTo>
                  <a:pt x="3612" y="942"/>
                </a:lnTo>
                <a:lnTo>
                  <a:pt x="3612" y="948"/>
                </a:lnTo>
                <a:lnTo>
                  <a:pt x="3612" y="954"/>
                </a:lnTo>
                <a:lnTo>
                  <a:pt x="3612" y="960"/>
                </a:lnTo>
                <a:lnTo>
                  <a:pt x="3606" y="960"/>
                </a:lnTo>
                <a:lnTo>
                  <a:pt x="3606" y="966"/>
                </a:lnTo>
                <a:lnTo>
                  <a:pt x="3600" y="966"/>
                </a:lnTo>
                <a:lnTo>
                  <a:pt x="3600" y="972"/>
                </a:lnTo>
                <a:lnTo>
                  <a:pt x="3594" y="978"/>
                </a:lnTo>
                <a:lnTo>
                  <a:pt x="3594" y="972"/>
                </a:lnTo>
                <a:lnTo>
                  <a:pt x="3588" y="978"/>
                </a:lnTo>
                <a:lnTo>
                  <a:pt x="3588" y="984"/>
                </a:lnTo>
                <a:lnTo>
                  <a:pt x="3588" y="990"/>
                </a:lnTo>
                <a:lnTo>
                  <a:pt x="3582" y="990"/>
                </a:lnTo>
                <a:lnTo>
                  <a:pt x="3588" y="996"/>
                </a:lnTo>
                <a:lnTo>
                  <a:pt x="3588" y="990"/>
                </a:lnTo>
                <a:lnTo>
                  <a:pt x="3594" y="990"/>
                </a:lnTo>
                <a:lnTo>
                  <a:pt x="3588" y="996"/>
                </a:lnTo>
                <a:lnTo>
                  <a:pt x="3588" y="1002"/>
                </a:lnTo>
                <a:lnTo>
                  <a:pt x="3588" y="1008"/>
                </a:lnTo>
                <a:lnTo>
                  <a:pt x="3588" y="1014"/>
                </a:lnTo>
                <a:lnTo>
                  <a:pt x="3582" y="1014"/>
                </a:lnTo>
                <a:lnTo>
                  <a:pt x="3582" y="1020"/>
                </a:lnTo>
                <a:lnTo>
                  <a:pt x="3576" y="1020"/>
                </a:lnTo>
                <a:lnTo>
                  <a:pt x="3582" y="1026"/>
                </a:lnTo>
                <a:lnTo>
                  <a:pt x="3576" y="1026"/>
                </a:lnTo>
                <a:lnTo>
                  <a:pt x="3570" y="1026"/>
                </a:lnTo>
                <a:lnTo>
                  <a:pt x="3570" y="1032"/>
                </a:lnTo>
                <a:lnTo>
                  <a:pt x="3564" y="1026"/>
                </a:lnTo>
                <a:lnTo>
                  <a:pt x="3564" y="1032"/>
                </a:lnTo>
                <a:lnTo>
                  <a:pt x="3558" y="1032"/>
                </a:lnTo>
                <a:lnTo>
                  <a:pt x="3558" y="1038"/>
                </a:lnTo>
                <a:lnTo>
                  <a:pt x="3558" y="1044"/>
                </a:lnTo>
                <a:lnTo>
                  <a:pt x="3564" y="1044"/>
                </a:lnTo>
                <a:lnTo>
                  <a:pt x="3564" y="1050"/>
                </a:lnTo>
                <a:lnTo>
                  <a:pt x="3564" y="1044"/>
                </a:lnTo>
                <a:lnTo>
                  <a:pt x="3570" y="1050"/>
                </a:lnTo>
                <a:lnTo>
                  <a:pt x="3564" y="1050"/>
                </a:lnTo>
                <a:lnTo>
                  <a:pt x="3570" y="1050"/>
                </a:lnTo>
                <a:lnTo>
                  <a:pt x="3570" y="1056"/>
                </a:lnTo>
                <a:lnTo>
                  <a:pt x="3564" y="1050"/>
                </a:lnTo>
                <a:lnTo>
                  <a:pt x="3564" y="1056"/>
                </a:lnTo>
                <a:lnTo>
                  <a:pt x="3558" y="1062"/>
                </a:lnTo>
                <a:lnTo>
                  <a:pt x="3558" y="1056"/>
                </a:lnTo>
                <a:lnTo>
                  <a:pt x="3558" y="1062"/>
                </a:lnTo>
                <a:lnTo>
                  <a:pt x="3558" y="1068"/>
                </a:lnTo>
                <a:lnTo>
                  <a:pt x="3558" y="1074"/>
                </a:lnTo>
                <a:lnTo>
                  <a:pt x="3558" y="1080"/>
                </a:lnTo>
                <a:lnTo>
                  <a:pt x="3558" y="1086"/>
                </a:lnTo>
                <a:lnTo>
                  <a:pt x="3552" y="1086"/>
                </a:lnTo>
                <a:lnTo>
                  <a:pt x="3552" y="1092"/>
                </a:lnTo>
                <a:lnTo>
                  <a:pt x="3552" y="1086"/>
                </a:lnTo>
                <a:lnTo>
                  <a:pt x="3552" y="1092"/>
                </a:lnTo>
                <a:lnTo>
                  <a:pt x="3546" y="1092"/>
                </a:lnTo>
                <a:lnTo>
                  <a:pt x="3552" y="1092"/>
                </a:lnTo>
                <a:lnTo>
                  <a:pt x="3552" y="1098"/>
                </a:lnTo>
                <a:lnTo>
                  <a:pt x="3546" y="1098"/>
                </a:lnTo>
                <a:lnTo>
                  <a:pt x="3546" y="1104"/>
                </a:lnTo>
                <a:lnTo>
                  <a:pt x="3540" y="1104"/>
                </a:lnTo>
                <a:lnTo>
                  <a:pt x="3540" y="1110"/>
                </a:lnTo>
                <a:lnTo>
                  <a:pt x="3540" y="1116"/>
                </a:lnTo>
                <a:lnTo>
                  <a:pt x="3534" y="1116"/>
                </a:lnTo>
                <a:lnTo>
                  <a:pt x="3528" y="1122"/>
                </a:lnTo>
                <a:lnTo>
                  <a:pt x="3528" y="1116"/>
                </a:lnTo>
                <a:lnTo>
                  <a:pt x="3528" y="1122"/>
                </a:lnTo>
                <a:lnTo>
                  <a:pt x="3522" y="1122"/>
                </a:lnTo>
                <a:lnTo>
                  <a:pt x="3528" y="1122"/>
                </a:lnTo>
                <a:lnTo>
                  <a:pt x="3522" y="1122"/>
                </a:lnTo>
                <a:lnTo>
                  <a:pt x="3522" y="1128"/>
                </a:lnTo>
                <a:lnTo>
                  <a:pt x="3522" y="1134"/>
                </a:lnTo>
                <a:lnTo>
                  <a:pt x="3516" y="1134"/>
                </a:lnTo>
                <a:lnTo>
                  <a:pt x="3522" y="1140"/>
                </a:lnTo>
                <a:lnTo>
                  <a:pt x="3516" y="1140"/>
                </a:lnTo>
                <a:lnTo>
                  <a:pt x="3516" y="1146"/>
                </a:lnTo>
                <a:lnTo>
                  <a:pt x="3510" y="1146"/>
                </a:lnTo>
                <a:lnTo>
                  <a:pt x="3510" y="1152"/>
                </a:lnTo>
                <a:lnTo>
                  <a:pt x="3510" y="1158"/>
                </a:lnTo>
                <a:lnTo>
                  <a:pt x="3510" y="1164"/>
                </a:lnTo>
                <a:lnTo>
                  <a:pt x="3510" y="1158"/>
                </a:lnTo>
                <a:lnTo>
                  <a:pt x="3510" y="1164"/>
                </a:lnTo>
                <a:lnTo>
                  <a:pt x="3510" y="1170"/>
                </a:lnTo>
                <a:lnTo>
                  <a:pt x="3504" y="1170"/>
                </a:lnTo>
                <a:lnTo>
                  <a:pt x="3510" y="1170"/>
                </a:lnTo>
                <a:lnTo>
                  <a:pt x="3504" y="1176"/>
                </a:lnTo>
                <a:lnTo>
                  <a:pt x="3510" y="1176"/>
                </a:lnTo>
                <a:lnTo>
                  <a:pt x="3504" y="1176"/>
                </a:lnTo>
                <a:lnTo>
                  <a:pt x="3504" y="1182"/>
                </a:lnTo>
                <a:lnTo>
                  <a:pt x="3504" y="1188"/>
                </a:lnTo>
                <a:lnTo>
                  <a:pt x="3498" y="1188"/>
                </a:lnTo>
                <a:lnTo>
                  <a:pt x="3498" y="1194"/>
                </a:lnTo>
                <a:lnTo>
                  <a:pt x="3492" y="1194"/>
                </a:lnTo>
                <a:lnTo>
                  <a:pt x="3492" y="1200"/>
                </a:lnTo>
                <a:lnTo>
                  <a:pt x="3486" y="1200"/>
                </a:lnTo>
                <a:lnTo>
                  <a:pt x="3486" y="1206"/>
                </a:lnTo>
                <a:lnTo>
                  <a:pt x="3480" y="1206"/>
                </a:lnTo>
                <a:lnTo>
                  <a:pt x="3480" y="1212"/>
                </a:lnTo>
                <a:lnTo>
                  <a:pt x="3474" y="1212"/>
                </a:lnTo>
                <a:lnTo>
                  <a:pt x="3474" y="1218"/>
                </a:lnTo>
                <a:lnTo>
                  <a:pt x="3468" y="1218"/>
                </a:lnTo>
                <a:lnTo>
                  <a:pt x="3468" y="1224"/>
                </a:lnTo>
                <a:lnTo>
                  <a:pt x="3468" y="1230"/>
                </a:lnTo>
                <a:lnTo>
                  <a:pt x="3468" y="1236"/>
                </a:lnTo>
                <a:lnTo>
                  <a:pt x="3462" y="1236"/>
                </a:lnTo>
                <a:lnTo>
                  <a:pt x="3462" y="1242"/>
                </a:lnTo>
                <a:lnTo>
                  <a:pt x="3456" y="1242"/>
                </a:lnTo>
                <a:lnTo>
                  <a:pt x="3456" y="1248"/>
                </a:lnTo>
                <a:lnTo>
                  <a:pt x="3450" y="1248"/>
                </a:lnTo>
                <a:lnTo>
                  <a:pt x="3450" y="1254"/>
                </a:lnTo>
                <a:lnTo>
                  <a:pt x="3450" y="1260"/>
                </a:lnTo>
                <a:lnTo>
                  <a:pt x="3444" y="1260"/>
                </a:lnTo>
                <a:lnTo>
                  <a:pt x="3444" y="1266"/>
                </a:lnTo>
                <a:lnTo>
                  <a:pt x="3438" y="1272"/>
                </a:lnTo>
                <a:lnTo>
                  <a:pt x="3438" y="1278"/>
                </a:lnTo>
                <a:lnTo>
                  <a:pt x="3432" y="1278"/>
                </a:lnTo>
                <a:lnTo>
                  <a:pt x="3432" y="1284"/>
                </a:lnTo>
                <a:lnTo>
                  <a:pt x="3426" y="1284"/>
                </a:lnTo>
                <a:lnTo>
                  <a:pt x="3420" y="1284"/>
                </a:lnTo>
                <a:lnTo>
                  <a:pt x="3414" y="1284"/>
                </a:lnTo>
                <a:lnTo>
                  <a:pt x="3414" y="1278"/>
                </a:lnTo>
                <a:lnTo>
                  <a:pt x="3408" y="1284"/>
                </a:lnTo>
                <a:lnTo>
                  <a:pt x="3390" y="1296"/>
                </a:lnTo>
                <a:lnTo>
                  <a:pt x="3384" y="1308"/>
                </a:lnTo>
                <a:lnTo>
                  <a:pt x="3378" y="1308"/>
                </a:lnTo>
                <a:lnTo>
                  <a:pt x="3372" y="1314"/>
                </a:lnTo>
                <a:lnTo>
                  <a:pt x="3360" y="1326"/>
                </a:lnTo>
                <a:lnTo>
                  <a:pt x="3336" y="1344"/>
                </a:lnTo>
                <a:lnTo>
                  <a:pt x="3330" y="1344"/>
                </a:lnTo>
                <a:lnTo>
                  <a:pt x="3330" y="1350"/>
                </a:lnTo>
                <a:lnTo>
                  <a:pt x="3324" y="1350"/>
                </a:lnTo>
                <a:lnTo>
                  <a:pt x="3312" y="1362"/>
                </a:lnTo>
                <a:lnTo>
                  <a:pt x="3288" y="1380"/>
                </a:lnTo>
                <a:lnTo>
                  <a:pt x="3294" y="1380"/>
                </a:lnTo>
                <a:lnTo>
                  <a:pt x="3294" y="1374"/>
                </a:lnTo>
                <a:lnTo>
                  <a:pt x="3300" y="1374"/>
                </a:lnTo>
                <a:lnTo>
                  <a:pt x="3300" y="1380"/>
                </a:lnTo>
                <a:lnTo>
                  <a:pt x="3306" y="1380"/>
                </a:lnTo>
                <a:lnTo>
                  <a:pt x="3306" y="1374"/>
                </a:lnTo>
                <a:lnTo>
                  <a:pt x="3312" y="1374"/>
                </a:lnTo>
                <a:lnTo>
                  <a:pt x="3312" y="1368"/>
                </a:lnTo>
                <a:lnTo>
                  <a:pt x="3312" y="1362"/>
                </a:lnTo>
                <a:lnTo>
                  <a:pt x="3318" y="1362"/>
                </a:lnTo>
                <a:lnTo>
                  <a:pt x="3324" y="1362"/>
                </a:lnTo>
                <a:lnTo>
                  <a:pt x="3324" y="1356"/>
                </a:lnTo>
                <a:lnTo>
                  <a:pt x="3336" y="1356"/>
                </a:lnTo>
                <a:lnTo>
                  <a:pt x="3342" y="1362"/>
                </a:lnTo>
                <a:lnTo>
                  <a:pt x="3348" y="1362"/>
                </a:lnTo>
                <a:lnTo>
                  <a:pt x="3354" y="1362"/>
                </a:lnTo>
                <a:lnTo>
                  <a:pt x="3354" y="1368"/>
                </a:lnTo>
                <a:lnTo>
                  <a:pt x="3360" y="1368"/>
                </a:lnTo>
                <a:lnTo>
                  <a:pt x="3372" y="1368"/>
                </a:lnTo>
                <a:lnTo>
                  <a:pt x="3378" y="1368"/>
                </a:lnTo>
                <a:lnTo>
                  <a:pt x="3384" y="1368"/>
                </a:lnTo>
                <a:lnTo>
                  <a:pt x="3390" y="1368"/>
                </a:lnTo>
                <a:lnTo>
                  <a:pt x="3396" y="1368"/>
                </a:lnTo>
                <a:lnTo>
                  <a:pt x="3402" y="1368"/>
                </a:lnTo>
                <a:lnTo>
                  <a:pt x="3402" y="1374"/>
                </a:lnTo>
                <a:lnTo>
                  <a:pt x="3402" y="1380"/>
                </a:lnTo>
                <a:lnTo>
                  <a:pt x="3408" y="1386"/>
                </a:lnTo>
                <a:lnTo>
                  <a:pt x="3414" y="1386"/>
                </a:lnTo>
                <a:lnTo>
                  <a:pt x="3420" y="1386"/>
                </a:lnTo>
                <a:lnTo>
                  <a:pt x="3426" y="1386"/>
                </a:lnTo>
                <a:lnTo>
                  <a:pt x="3426" y="1392"/>
                </a:lnTo>
                <a:lnTo>
                  <a:pt x="3432" y="1392"/>
                </a:lnTo>
                <a:lnTo>
                  <a:pt x="3438" y="1398"/>
                </a:lnTo>
                <a:lnTo>
                  <a:pt x="3444" y="1392"/>
                </a:lnTo>
                <a:lnTo>
                  <a:pt x="3444" y="1398"/>
                </a:lnTo>
                <a:lnTo>
                  <a:pt x="3450" y="1404"/>
                </a:lnTo>
                <a:lnTo>
                  <a:pt x="3450" y="1410"/>
                </a:lnTo>
                <a:lnTo>
                  <a:pt x="3450" y="1416"/>
                </a:lnTo>
                <a:lnTo>
                  <a:pt x="3456" y="1422"/>
                </a:lnTo>
                <a:lnTo>
                  <a:pt x="3450" y="1428"/>
                </a:lnTo>
                <a:lnTo>
                  <a:pt x="3450" y="1434"/>
                </a:lnTo>
                <a:lnTo>
                  <a:pt x="3456" y="1434"/>
                </a:lnTo>
                <a:lnTo>
                  <a:pt x="3456" y="1440"/>
                </a:lnTo>
                <a:lnTo>
                  <a:pt x="3456" y="1446"/>
                </a:lnTo>
                <a:lnTo>
                  <a:pt x="3456" y="1458"/>
                </a:lnTo>
                <a:lnTo>
                  <a:pt x="3456" y="1464"/>
                </a:lnTo>
                <a:lnTo>
                  <a:pt x="3462" y="1470"/>
                </a:lnTo>
                <a:lnTo>
                  <a:pt x="3456" y="1476"/>
                </a:lnTo>
                <a:lnTo>
                  <a:pt x="3456" y="1482"/>
                </a:lnTo>
                <a:lnTo>
                  <a:pt x="3462" y="1488"/>
                </a:lnTo>
                <a:lnTo>
                  <a:pt x="3462" y="1494"/>
                </a:lnTo>
                <a:lnTo>
                  <a:pt x="3468" y="1500"/>
                </a:lnTo>
                <a:lnTo>
                  <a:pt x="3462" y="1506"/>
                </a:lnTo>
                <a:lnTo>
                  <a:pt x="3462" y="1512"/>
                </a:lnTo>
                <a:lnTo>
                  <a:pt x="3462" y="1518"/>
                </a:lnTo>
                <a:lnTo>
                  <a:pt x="3456" y="1518"/>
                </a:lnTo>
                <a:lnTo>
                  <a:pt x="3456" y="1524"/>
                </a:lnTo>
                <a:lnTo>
                  <a:pt x="3462" y="1530"/>
                </a:lnTo>
                <a:lnTo>
                  <a:pt x="3456" y="1530"/>
                </a:lnTo>
                <a:lnTo>
                  <a:pt x="3456" y="1536"/>
                </a:lnTo>
                <a:lnTo>
                  <a:pt x="3456" y="1542"/>
                </a:lnTo>
                <a:lnTo>
                  <a:pt x="3450" y="1548"/>
                </a:lnTo>
                <a:lnTo>
                  <a:pt x="3450" y="1554"/>
                </a:lnTo>
                <a:lnTo>
                  <a:pt x="3450" y="1560"/>
                </a:lnTo>
                <a:lnTo>
                  <a:pt x="3450" y="1566"/>
                </a:lnTo>
                <a:lnTo>
                  <a:pt x="3444" y="1572"/>
                </a:lnTo>
                <a:lnTo>
                  <a:pt x="3450" y="1572"/>
                </a:lnTo>
                <a:lnTo>
                  <a:pt x="3450" y="1578"/>
                </a:lnTo>
                <a:lnTo>
                  <a:pt x="3450" y="1584"/>
                </a:lnTo>
                <a:lnTo>
                  <a:pt x="3444" y="1590"/>
                </a:lnTo>
                <a:lnTo>
                  <a:pt x="3444" y="1596"/>
                </a:lnTo>
                <a:lnTo>
                  <a:pt x="3438" y="1602"/>
                </a:lnTo>
                <a:lnTo>
                  <a:pt x="3432" y="1608"/>
                </a:lnTo>
                <a:lnTo>
                  <a:pt x="3432" y="1614"/>
                </a:lnTo>
                <a:lnTo>
                  <a:pt x="3426" y="1614"/>
                </a:lnTo>
                <a:lnTo>
                  <a:pt x="3420" y="1614"/>
                </a:lnTo>
                <a:lnTo>
                  <a:pt x="3420" y="1620"/>
                </a:lnTo>
                <a:lnTo>
                  <a:pt x="3420" y="1626"/>
                </a:lnTo>
                <a:lnTo>
                  <a:pt x="3426" y="1626"/>
                </a:lnTo>
                <a:lnTo>
                  <a:pt x="3432" y="1632"/>
                </a:lnTo>
                <a:lnTo>
                  <a:pt x="3438" y="1632"/>
                </a:lnTo>
                <a:lnTo>
                  <a:pt x="3444" y="1632"/>
                </a:lnTo>
                <a:lnTo>
                  <a:pt x="3450" y="1632"/>
                </a:lnTo>
                <a:lnTo>
                  <a:pt x="3450" y="1638"/>
                </a:lnTo>
                <a:lnTo>
                  <a:pt x="3450" y="1644"/>
                </a:lnTo>
                <a:lnTo>
                  <a:pt x="3444" y="1650"/>
                </a:lnTo>
                <a:lnTo>
                  <a:pt x="3438" y="1650"/>
                </a:lnTo>
                <a:lnTo>
                  <a:pt x="3444" y="1656"/>
                </a:lnTo>
                <a:lnTo>
                  <a:pt x="3444" y="1650"/>
                </a:lnTo>
                <a:lnTo>
                  <a:pt x="3450" y="1650"/>
                </a:lnTo>
                <a:lnTo>
                  <a:pt x="3450" y="1656"/>
                </a:lnTo>
                <a:lnTo>
                  <a:pt x="3450" y="1662"/>
                </a:lnTo>
                <a:lnTo>
                  <a:pt x="3456" y="1662"/>
                </a:lnTo>
                <a:lnTo>
                  <a:pt x="3462" y="1662"/>
                </a:lnTo>
                <a:lnTo>
                  <a:pt x="3462" y="1668"/>
                </a:lnTo>
                <a:lnTo>
                  <a:pt x="3456" y="1668"/>
                </a:lnTo>
                <a:lnTo>
                  <a:pt x="3462" y="1668"/>
                </a:lnTo>
                <a:lnTo>
                  <a:pt x="3462" y="1674"/>
                </a:lnTo>
                <a:lnTo>
                  <a:pt x="3468" y="1674"/>
                </a:lnTo>
                <a:lnTo>
                  <a:pt x="3462" y="1680"/>
                </a:lnTo>
                <a:lnTo>
                  <a:pt x="3468" y="1680"/>
                </a:lnTo>
                <a:lnTo>
                  <a:pt x="3468" y="1674"/>
                </a:lnTo>
                <a:lnTo>
                  <a:pt x="3468" y="1680"/>
                </a:lnTo>
                <a:lnTo>
                  <a:pt x="3474" y="1680"/>
                </a:lnTo>
                <a:lnTo>
                  <a:pt x="3468" y="1680"/>
                </a:lnTo>
                <a:lnTo>
                  <a:pt x="3474" y="1680"/>
                </a:lnTo>
                <a:lnTo>
                  <a:pt x="3474" y="1686"/>
                </a:lnTo>
                <a:lnTo>
                  <a:pt x="3474" y="1692"/>
                </a:lnTo>
                <a:lnTo>
                  <a:pt x="3480" y="1692"/>
                </a:lnTo>
                <a:lnTo>
                  <a:pt x="3480" y="1698"/>
                </a:lnTo>
                <a:lnTo>
                  <a:pt x="3486" y="1698"/>
                </a:lnTo>
                <a:lnTo>
                  <a:pt x="3480" y="1698"/>
                </a:lnTo>
                <a:lnTo>
                  <a:pt x="3486" y="1698"/>
                </a:lnTo>
                <a:lnTo>
                  <a:pt x="3480" y="1698"/>
                </a:lnTo>
                <a:lnTo>
                  <a:pt x="3486" y="1704"/>
                </a:lnTo>
                <a:lnTo>
                  <a:pt x="3492" y="1704"/>
                </a:lnTo>
                <a:lnTo>
                  <a:pt x="3492" y="1710"/>
                </a:lnTo>
                <a:lnTo>
                  <a:pt x="3498" y="1710"/>
                </a:lnTo>
                <a:lnTo>
                  <a:pt x="3498" y="1716"/>
                </a:lnTo>
                <a:lnTo>
                  <a:pt x="3498" y="1722"/>
                </a:lnTo>
                <a:lnTo>
                  <a:pt x="3504" y="1722"/>
                </a:lnTo>
                <a:lnTo>
                  <a:pt x="3498" y="1722"/>
                </a:lnTo>
                <a:lnTo>
                  <a:pt x="3504" y="1722"/>
                </a:lnTo>
                <a:lnTo>
                  <a:pt x="3504" y="1728"/>
                </a:lnTo>
                <a:lnTo>
                  <a:pt x="3510" y="1728"/>
                </a:lnTo>
                <a:lnTo>
                  <a:pt x="3510" y="1734"/>
                </a:lnTo>
                <a:lnTo>
                  <a:pt x="3516" y="1734"/>
                </a:lnTo>
                <a:lnTo>
                  <a:pt x="3522" y="1728"/>
                </a:lnTo>
                <a:lnTo>
                  <a:pt x="3522" y="1722"/>
                </a:lnTo>
                <a:lnTo>
                  <a:pt x="3528" y="1722"/>
                </a:lnTo>
                <a:lnTo>
                  <a:pt x="3522" y="1722"/>
                </a:lnTo>
                <a:lnTo>
                  <a:pt x="3528" y="1722"/>
                </a:lnTo>
                <a:lnTo>
                  <a:pt x="3534" y="1722"/>
                </a:lnTo>
                <a:lnTo>
                  <a:pt x="3540" y="1722"/>
                </a:lnTo>
                <a:lnTo>
                  <a:pt x="3540" y="1716"/>
                </a:lnTo>
                <a:lnTo>
                  <a:pt x="3540" y="1722"/>
                </a:lnTo>
                <a:lnTo>
                  <a:pt x="3540" y="1716"/>
                </a:lnTo>
                <a:lnTo>
                  <a:pt x="3540" y="1722"/>
                </a:lnTo>
                <a:lnTo>
                  <a:pt x="3546" y="1722"/>
                </a:lnTo>
                <a:lnTo>
                  <a:pt x="3546" y="1716"/>
                </a:lnTo>
                <a:lnTo>
                  <a:pt x="3552" y="1716"/>
                </a:lnTo>
                <a:lnTo>
                  <a:pt x="3558" y="1716"/>
                </a:lnTo>
                <a:lnTo>
                  <a:pt x="3558" y="1710"/>
                </a:lnTo>
                <a:lnTo>
                  <a:pt x="3558" y="1716"/>
                </a:lnTo>
                <a:lnTo>
                  <a:pt x="3564" y="1716"/>
                </a:lnTo>
                <a:lnTo>
                  <a:pt x="3564" y="1710"/>
                </a:lnTo>
                <a:lnTo>
                  <a:pt x="3570" y="1710"/>
                </a:lnTo>
                <a:lnTo>
                  <a:pt x="3570" y="1716"/>
                </a:lnTo>
                <a:lnTo>
                  <a:pt x="3576" y="1716"/>
                </a:lnTo>
                <a:lnTo>
                  <a:pt x="3576" y="1722"/>
                </a:lnTo>
                <a:lnTo>
                  <a:pt x="3582" y="1722"/>
                </a:lnTo>
                <a:lnTo>
                  <a:pt x="3582" y="1728"/>
                </a:lnTo>
                <a:lnTo>
                  <a:pt x="3582" y="1734"/>
                </a:lnTo>
                <a:lnTo>
                  <a:pt x="3582" y="1740"/>
                </a:lnTo>
                <a:lnTo>
                  <a:pt x="3576" y="1746"/>
                </a:lnTo>
                <a:lnTo>
                  <a:pt x="3576" y="1752"/>
                </a:lnTo>
                <a:lnTo>
                  <a:pt x="3582" y="1752"/>
                </a:lnTo>
                <a:lnTo>
                  <a:pt x="3576" y="1758"/>
                </a:lnTo>
                <a:lnTo>
                  <a:pt x="3582" y="1758"/>
                </a:lnTo>
                <a:lnTo>
                  <a:pt x="3576" y="1764"/>
                </a:lnTo>
                <a:lnTo>
                  <a:pt x="3570" y="1770"/>
                </a:lnTo>
                <a:lnTo>
                  <a:pt x="3564" y="1770"/>
                </a:lnTo>
                <a:lnTo>
                  <a:pt x="3564" y="1764"/>
                </a:lnTo>
                <a:lnTo>
                  <a:pt x="3558" y="1770"/>
                </a:lnTo>
                <a:lnTo>
                  <a:pt x="3552" y="1770"/>
                </a:lnTo>
                <a:lnTo>
                  <a:pt x="3552" y="1776"/>
                </a:lnTo>
                <a:lnTo>
                  <a:pt x="3546" y="1776"/>
                </a:lnTo>
                <a:lnTo>
                  <a:pt x="3540" y="1776"/>
                </a:lnTo>
                <a:lnTo>
                  <a:pt x="3540" y="1782"/>
                </a:lnTo>
                <a:lnTo>
                  <a:pt x="3540" y="1788"/>
                </a:lnTo>
                <a:lnTo>
                  <a:pt x="3534" y="1788"/>
                </a:lnTo>
                <a:lnTo>
                  <a:pt x="3534" y="1794"/>
                </a:lnTo>
                <a:lnTo>
                  <a:pt x="3534" y="1800"/>
                </a:lnTo>
                <a:lnTo>
                  <a:pt x="3528" y="1800"/>
                </a:lnTo>
                <a:lnTo>
                  <a:pt x="3534" y="1800"/>
                </a:lnTo>
                <a:lnTo>
                  <a:pt x="3528" y="1800"/>
                </a:lnTo>
                <a:lnTo>
                  <a:pt x="3528" y="1806"/>
                </a:lnTo>
                <a:lnTo>
                  <a:pt x="3528" y="1800"/>
                </a:lnTo>
                <a:lnTo>
                  <a:pt x="3528" y="1806"/>
                </a:lnTo>
                <a:lnTo>
                  <a:pt x="3528" y="1812"/>
                </a:lnTo>
                <a:lnTo>
                  <a:pt x="3528" y="1818"/>
                </a:lnTo>
                <a:lnTo>
                  <a:pt x="3522" y="1818"/>
                </a:lnTo>
                <a:lnTo>
                  <a:pt x="3522" y="1824"/>
                </a:lnTo>
                <a:lnTo>
                  <a:pt x="3528" y="1824"/>
                </a:lnTo>
                <a:lnTo>
                  <a:pt x="3528" y="1830"/>
                </a:lnTo>
                <a:lnTo>
                  <a:pt x="3528" y="1836"/>
                </a:lnTo>
                <a:lnTo>
                  <a:pt x="3522" y="1836"/>
                </a:lnTo>
                <a:lnTo>
                  <a:pt x="3522" y="1842"/>
                </a:lnTo>
                <a:lnTo>
                  <a:pt x="3522" y="1836"/>
                </a:lnTo>
                <a:lnTo>
                  <a:pt x="3516" y="1836"/>
                </a:lnTo>
                <a:lnTo>
                  <a:pt x="3516" y="1842"/>
                </a:lnTo>
                <a:lnTo>
                  <a:pt x="3516" y="1848"/>
                </a:lnTo>
                <a:lnTo>
                  <a:pt x="3510" y="1848"/>
                </a:lnTo>
                <a:lnTo>
                  <a:pt x="3516" y="1854"/>
                </a:lnTo>
                <a:lnTo>
                  <a:pt x="3510" y="1854"/>
                </a:lnTo>
                <a:lnTo>
                  <a:pt x="3504" y="1854"/>
                </a:lnTo>
                <a:lnTo>
                  <a:pt x="3504" y="1860"/>
                </a:lnTo>
                <a:lnTo>
                  <a:pt x="3510" y="1860"/>
                </a:lnTo>
                <a:lnTo>
                  <a:pt x="3504" y="1860"/>
                </a:lnTo>
                <a:lnTo>
                  <a:pt x="3510" y="1860"/>
                </a:lnTo>
                <a:lnTo>
                  <a:pt x="3504" y="1860"/>
                </a:lnTo>
                <a:lnTo>
                  <a:pt x="3504" y="1866"/>
                </a:lnTo>
                <a:lnTo>
                  <a:pt x="3510" y="1866"/>
                </a:lnTo>
                <a:lnTo>
                  <a:pt x="3516" y="1866"/>
                </a:lnTo>
                <a:lnTo>
                  <a:pt x="3522" y="1866"/>
                </a:lnTo>
                <a:lnTo>
                  <a:pt x="3528" y="1866"/>
                </a:lnTo>
                <a:lnTo>
                  <a:pt x="3522" y="1866"/>
                </a:lnTo>
                <a:lnTo>
                  <a:pt x="3522" y="1872"/>
                </a:lnTo>
                <a:lnTo>
                  <a:pt x="3528" y="1872"/>
                </a:lnTo>
                <a:lnTo>
                  <a:pt x="3534" y="1872"/>
                </a:lnTo>
                <a:lnTo>
                  <a:pt x="3534" y="1878"/>
                </a:lnTo>
                <a:lnTo>
                  <a:pt x="3534" y="1884"/>
                </a:lnTo>
                <a:lnTo>
                  <a:pt x="3540" y="1878"/>
                </a:lnTo>
                <a:lnTo>
                  <a:pt x="3540" y="1884"/>
                </a:lnTo>
                <a:lnTo>
                  <a:pt x="3540" y="1890"/>
                </a:lnTo>
                <a:lnTo>
                  <a:pt x="3534" y="1890"/>
                </a:lnTo>
                <a:lnTo>
                  <a:pt x="3534" y="1896"/>
                </a:lnTo>
                <a:lnTo>
                  <a:pt x="3540" y="1896"/>
                </a:lnTo>
                <a:lnTo>
                  <a:pt x="3540" y="1902"/>
                </a:lnTo>
                <a:lnTo>
                  <a:pt x="3546" y="1902"/>
                </a:lnTo>
                <a:lnTo>
                  <a:pt x="3546" y="1908"/>
                </a:lnTo>
                <a:lnTo>
                  <a:pt x="3552" y="1908"/>
                </a:lnTo>
                <a:lnTo>
                  <a:pt x="3558" y="1908"/>
                </a:lnTo>
                <a:lnTo>
                  <a:pt x="3564" y="1908"/>
                </a:lnTo>
                <a:lnTo>
                  <a:pt x="3558" y="1914"/>
                </a:lnTo>
                <a:lnTo>
                  <a:pt x="3564" y="1914"/>
                </a:lnTo>
                <a:lnTo>
                  <a:pt x="3570" y="1920"/>
                </a:lnTo>
                <a:lnTo>
                  <a:pt x="3570" y="1926"/>
                </a:lnTo>
                <a:lnTo>
                  <a:pt x="3576" y="1926"/>
                </a:lnTo>
                <a:lnTo>
                  <a:pt x="3570" y="1932"/>
                </a:lnTo>
                <a:lnTo>
                  <a:pt x="3564" y="1938"/>
                </a:lnTo>
                <a:lnTo>
                  <a:pt x="3564" y="1944"/>
                </a:lnTo>
                <a:lnTo>
                  <a:pt x="3558" y="1944"/>
                </a:lnTo>
                <a:lnTo>
                  <a:pt x="3564" y="1950"/>
                </a:lnTo>
                <a:lnTo>
                  <a:pt x="3558" y="1950"/>
                </a:lnTo>
                <a:lnTo>
                  <a:pt x="3564" y="1950"/>
                </a:lnTo>
                <a:lnTo>
                  <a:pt x="3564" y="1956"/>
                </a:lnTo>
                <a:lnTo>
                  <a:pt x="3570" y="1950"/>
                </a:lnTo>
                <a:lnTo>
                  <a:pt x="3570" y="1956"/>
                </a:lnTo>
                <a:lnTo>
                  <a:pt x="3570" y="1962"/>
                </a:lnTo>
                <a:lnTo>
                  <a:pt x="3576" y="1962"/>
                </a:lnTo>
                <a:lnTo>
                  <a:pt x="3582" y="1962"/>
                </a:lnTo>
                <a:lnTo>
                  <a:pt x="3582" y="1968"/>
                </a:lnTo>
                <a:lnTo>
                  <a:pt x="3582" y="1974"/>
                </a:lnTo>
                <a:lnTo>
                  <a:pt x="3582" y="1980"/>
                </a:lnTo>
                <a:lnTo>
                  <a:pt x="3582" y="1986"/>
                </a:lnTo>
                <a:lnTo>
                  <a:pt x="3588" y="1986"/>
                </a:lnTo>
                <a:lnTo>
                  <a:pt x="3588" y="1992"/>
                </a:lnTo>
                <a:lnTo>
                  <a:pt x="3588" y="1998"/>
                </a:lnTo>
                <a:lnTo>
                  <a:pt x="3594" y="2004"/>
                </a:lnTo>
                <a:lnTo>
                  <a:pt x="3600" y="2010"/>
                </a:lnTo>
                <a:lnTo>
                  <a:pt x="3606" y="2010"/>
                </a:lnTo>
                <a:lnTo>
                  <a:pt x="3612" y="2010"/>
                </a:lnTo>
                <a:lnTo>
                  <a:pt x="3618" y="2010"/>
                </a:lnTo>
                <a:lnTo>
                  <a:pt x="3624" y="2016"/>
                </a:lnTo>
                <a:lnTo>
                  <a:pt x="3630" y="2010"/>
                </a:lnTo>
                <a:lnTo>
                  <a:pt x="3630" y="2016"/>
                </a:lnTo>
                <a:lnTo>
                  <a:pt x="3636" y="2010"/>
                </a:lnTo>
                <a:lnTo>
                  <a:pt x="3642" y="2010"/>
                </a:lnTo>
                <a:lnTo>
                  <a:pt x="3642" y="2016"/>
                </a:lnTo>
                <a:lnTo>
                  <a:pt x="3642" y="2022"/>
                </a:lnTo>
                <a:lnTo>
                  <a:pt x="3648" y="2016"/>
                </a:lnTo>
                <a:lnTo>
                  <a:pt x="3654" y="2022"/>
                </a:lnTo>
                <a:lnTo>
                  <a:pt x="3654" y="2016"/>
                </a:lnTo>
                <a:lnTo>
                  <a:pt x="3660" y="2016"/>
                </a:lnTo>
                <a:lnTo>
                  <a:pt x="3666" y="2022"/>
                </a:lnTo>
                <a:lnTo>
                  <a:pt x="3672" y="2022"/>
                </a:lnTo>
                <a:lnTo>
                  <a:pt x="3678" y="2016"/>
                </a:lnTo>
                <a:lnTo>
                  <a:pt x="3678" y="2010"/>
                </a:lnTo>
                <a:lnTo>
                  <a:pt x="3678" y="2004"/>
                </a:lnTo>
                <a:lnTo>
                  <a:pt x="3684" y="2004"/>
                </a:lnTo>
                <a:lnTo>
                  <a:pt x="3684" y="2010"/>
                </a:lnTo>
                <a:lnTo>
                  <a:pt x="3684" y="2016"/>
                </a:lnTo>
                <a:lnTo>
                  <a:pt x="3684" y="2022"/>
                </a:lnTo>
                <a:lnTo>
                  <a:pt x="3684" y="2028"/>
                </a:lnTo>
                <a:lnTo>
                  <a:pt x="3678" y="2028"/>
                </a:lnTo>
                <a:lnTo>
                  <a:pt x="3678" y="2034"/>
                </a:lnTo>
                <a:lnTo>
                  <a:pt x="3672" y="2034"/>
                </a:lnTo>
                <a:lnTo>
                  <a:pt x="3666" y="2034"/>
                </a:lnTo>
                <a:lnTo>
                  <a:pt x="3666" y="2040"/>
                </a:lnTo>
                <a:lnTo>
                  <a:pt x="3666" y="2046"/>
                </a:lnTo>
                <a:lnTo>
                  <a:pt x="3660" y="2040"/>
                </a:lnTo>
                <a:lnTo>
                  <a:pt x="3660" y="2046"/>
                </a:lnTo>
                <a:lnTo>
                  <a:pt x="3654" y="2052"/>
                </a:lnTo>
                <a:lnTo>
                  <a:pt x="3648" y="2052"/>
                </a:lnTo>
                <a:lnTo>
                  <a:pt x="3648" y="2058"/>
                </a:lnTo>
                <a:lnTo>
                  <a:pt x="3642" y="2058"/>
                </a:lnTo>
                <a:lnTo>
                  <a:pt x="3636" y="2058"/>
                </a:lnTo>
                <a:lnTo>
                  <a:pt x="3636" y="2064"/>
                </a:lnTo>
                <a:lnTo>
                  <a:pt x="3630" y="2064"/>
                </a:lnTo>
                <a:lnTo>
                  <a:pt x="3624" y="2070"/>
                </a:lnTo>
                <a:lnTo>
                  <a:pt x="3624" y="2064"/>
                </a:lnTo>
                <a:lnTo>
                  <a:pt x="3618" y="2070"/>
                </a:lnTo>
                <a:lnTo>
                  <a:pt x="3618" y="2076"/>
                </a:lnTo>
                <a:lnTo>
                  <a:pt x="3618" y="2082"/>
                </a:lnTo>
                <a:lnTo>
                  <a:pt x="3612" y="2082"/>
                </a:lnTo>
                <a:lnTo>
                  <a:pt x="3612" y="2088"/>
                </a:lnTo>
                <a:lnTo>
                  <a:pt x="3618" y="2088"/>
                </a:lnTo>
                <a:lnTo>
                  <a:pt x="3612" y="2088"/>
                </a:lnTo>
                <a:lnTo>
                  <a:pt x="3612" y="2094"/>
                </a:lnTo>
                <a:lnTo>
                  <a:pt x="3606" y="2094"/>
                </a:lnTo>
                <a:lnTo>
                  <a:pt x="3606" y="2100"/>
                </a:lnTo>
                <a:lnTo>
                  <a:pt x="3606" y="2106"/>
                </a:lnTo>
                <a:lnTo>
                  <a:pt x="3600" y="2106"/>
                </a:lnTo>
                <a:lnTo>
                  <a:pt x="3600" y="2112"/>
                </a:lnTo>
                <a:lnTo>
                  <a:pt x="3594" y="2112"/>
                </a:lnTo>
                <a:lnTo>
                  <a:pt x="3594" y="2118"/>
                </a:lnTo>
                <a:lnTo>
                  <a:pt x="3588" y="2118"/>
                </a:lnTo>
                <a:lnTo>
                  <a:pt x="3588" y="2130"/>
                </a:lnTo>
                <a:lnTo>
                  <a:pt x="3588" y="2136"/>
                </a:lnTo>
                <a:lnTo>
                  <a:pt x="3582" y="2142"/>
                </a:lnTo>
                <a:lnTo>
                  <a:pt x="3570" y="2148"/>
                </a:lnTo>
                <a:lnTo>
                  <a:pt x="3564" y="2148"/>
                </a:lnTo>
                <a:lnTo>
                  <a:pt x="3570" y="2148"/>
                </a:lnTo>
                <a:lnTo>
                  <a:pt x="3564" y="2154"/>
                </a:lnTo>
                <a:lnTo>
                  <a:pt x="3564" y="2160"/>
                </a:lnTo>
                <a:lnTo>
                  <a:pt x="3570" y="2166"/>
                </a:lnTo>
                <a:lnTo>
                  <a:pt x="3576" y="2166"/>
                </a:lnTo>
                <a:lnTo>
                  <a:pt x="3576" y="2172"/>
                </a:lnTo>
                <a:lnTo>
                  <a:pt x="3576" y="2178"/>
                </a:lnTo>
                <a:lnTo>
                  <a:pt x="3582" y="2184"/>
                </a:lnTo>
                <a:lnTo>
                  <a:pt x="3588" y="2184"/>
                </a:lnTo>
                <a:lnTo>
                  <a:pt x="3594" y="2184"/>
                </a:lnTo>
                <a:lnTo>
                  <a:pt x="3600" y="2184"/>
                </a:lnTo>
                <a:lnTo>
                  <a:pt x="3600" y="2190"/>
                </a:lnTo>
                <a:lnTo>
                  <a:pt x="3606" y="2184"/>
                </a:lnTo>
                <a:lnTo>
                  <a:pt x="3606" y="2190"/>
                </a:lnTo>
                <a:lnTo>
                  <a:pt x="3612" y="2190"/>
                </a:lnTo>
                <a:lnTo>
                  <a:pt x="3618" y="2190"/>
                </a:lnTo>
                <a:lnTo>
                  <a:pt x="3618" y="2196"/>
                </a:lnTo>
                <a:lnTo>
                  <a:pt x="3624" y="2196"/>
                </a:lnTo>
                <a:lnTo>
                  <a:pt x="3630" y="2196"/>
                </a:lnTo>
                <a:lnTo>
                  <a:pt x="3636" y="2196"/>
                </a:lnTo>
                <a:lnTo>
                  <a:pt x="3636" y="2202"/>
                </a:lnTo>
                <a:lnTo>
                  <a:pt x="3630" y="2202"/>
                </a:lnTo>
                <a:lnTo>
                  <a:pt x="3624" y="2202"/>
                </a:lnTo>
                <a:lnTo>
                  <a:pt x="3618" y="2202"/>
                </a:lnTo>
                <a:lnTo>
                  <a:pt x="3612" y="2196"/>
                </a:lnTo>
                <a:lnTo>
                  <a:pt x="3606" y="2196"/>
                </a:lnTo>
                <a:lnTo>
                  <a:pt x="3606" y="2202"/>
                </a:lnTo>
                <a:lnTo>
                  <a:pt x="3606" y="2208"/>
                </a:lnTo>
                <a:lnTo>
                  <a:pt x="3600" y="2214"/>
                </a:lnTo>
                <a:lnTo>
                  <a:pt x="3594" y="2214"/>
                </a:lnTo>
                <a:lnTo>
                  <a:pt x="3600" y="2214"/>
                </a:lnTo>
                <a:lnTo>
                  <a:pt x="3606" y="2214"/>
                </a:lnTo>
                <a:lnTo>
                  <a:pt x="3600" y="2220"/>
                </a:lnTo>
                <a:lnTo>
                  <a:pt x="3600" y="2226"/>
                </a:lnTo>
                <a:lnTo>
                  <a:pt x="3594" y="2226"/>
                </a:lnTo>
                <a:lnTo>
                  <a:pt x="3594" y="2232"/>
                </a:lnTo>
                <a:lnTo>
                  <a:pt x="3600" y="2232"/>
                </a:lnTo>
                <a:lnTo>
                  <a:pt x="3606" y="2232"/>
                </a:lnTo>
                <a:lnTo>
                  <a:pt x="3612" y="2232"/>
                </a:lnTo>
                <a:lnTo>
                  <a:pt x="3618" y="2232"/>
                </a:lnTo>
                <a:lnTo>
                  <a:pt x="3624" y="2232"/>
                </a:lnTo>
                <a:lnTo>
                  <a:pt x="3618" y="2238"/>
                </a:lnTo>
                <a:lnTo>
                  <a:pt x="3612" y="2238"/>
                </a:lnTo>
                <a:lnTo>
                  <a:pt x="3606" y="2238"/>
                </a:lnTo>
                <a:lnTo>
                  <a:pt x="3600" y="2238"/>
                </a:lnTo>
                <a:lnTo>
                  <a:pt x="3600" y="2244"/>
                </a:lnTo>
                <a:lnTo>
                  <a:pt x="3594" y="2244"/>
                </a:lnTo>
                <a:lnTo>
                  <a:pt x="3594" y="2250"/>
                </a:lnTo>
                <a:lnTo>
                  <a:pt x="3594" y="2256"/>
                </a:lnTo>
                <a:lnTo>
                  <a:pt x="3600" y="2262"/>
                </a:lnTo>
                <a:lnTo>
                  <a:pt x="3594" y="2262"/>
                </a:lnTo>
                <a:lnTo>
                  <a:pt x="3594" y="2268"/>
                </a:lnTo>
                <a:lnTo>
                  <a:pt x="3594" y="2274"/>
                </a:lnTo>
                <a:lnTo>
                  <a:pt x="3600" y="2274"/>
                </a:lnTo>
                <a:lnTo>
                  <a:pt x="3600" y="2280"/>
                </a:lnTo>
                <a:lnTo>
                  <a:pt x="3594" y="2280"/>
                </a:lnTo>
                <a:lnTo>
                  <a:pt x="3600" y="2280"/>
                </a:lnTo>
                <a:lnTo>
                  <a:pt x="3594" y="2286"/>
                </a:lnTo>
                <a:lnTo>
                  <a:pt x="3600" y="2286"/>
                </a:lnTo>
                <a:lnTo>
                  <a:pt x="3600" y="2292"/>
                </a:lnTo>
                <a:lnTo>
                  <a:pt x="3606" y="2292"/>
                </a:lnTo>
                <a:lnTo>
                  <a:pt x="3606" y="2298"/>
                </a:lnTo>
                <a:lnTo>
                  <a:pt x="3612" y="2298"/>
                </a:lnTo>
                <a:lnTo>
                  <a:pt x="3612" y="2304"/>
                </a:lnTo>
                <a:lnTo>
                  <a:pt x="3612" y="2310"/>
                </a:lnTo>
                <a:lnTo>
                  <a:pt x="3618" y="2310"/>
                </a:lnTo>
                <a:lnTo>
                  <a:pt x="3624" y="2310"/>
                </a:lnTo>
                <a:lnTo>
                  <a:pt x="3624" y="2316"/>
                </a:lnTo>
                <a:lnTo>
                  <a:pt x="3618" y="2316"/>
                </a:lnTo>
                <a:lnTo>
                  <a:pt x="3612" y="2316"/>
                </a:lnTo>
                <a:lnTo>
                  <a:pt x="3612" y="2322"/>
                </a:lnTo>
                <a:lnTo>
                  <a:pt x="3606" y="2322"/>
                </a:lnTo>
                <a:lnTo>
                  <a:pt x="3612" y="2322"/>
                </a:lnTo>
                <a:lnTo>
                  <a:pt x="3606" y="2328"/>
                </a:lnTo>
                <a:lnTo>
                  <a:pt x="3612" y="2328"/>
                </a:lnTo>
                <a:lnTo>
                  <a:pt x="3612" y="2334"/>
                </a:lnTo>
                <a:lnTo>
                  <a:pt x="3606" y="2334"/>
                </a:lnTo>
                <a:lnTo>
                  <a:pt x="3606" y="2340"/>
                </a:lnTo>
                <a:lnTo>
                  <a:pt x="3612" y="2340"/>
                </a:lnTo>
                <a:lnTo>
                  <a:pt x="3606" y="2346"/>
                </a:lnTo>
                <a:lnTo>
                  <a:pt x="3612" y="2346"/>
                </a:lnTo>
                <a:lnTo>
                  <a:pt x="3606" y="2346"/>
                </a:lnTo>
                <a:lnTo>
                  <a:pt x="3606" y="2352"/>
                </a:lnTo>
                <a:lnTo>
                  <a:pt x="3612" y="2352"/>
                </a:lnTo>
                <a:lnTo>
                  <a:pt x="3612" y="2358"/>
                </a:lnTo>
                <a:lnTo>
                  <a:pt x="3606" y="2358"/>
                </a:lnTo>
                <a:lnTo>
                  <a:pt x="3606" y="2364"/>
                </a:lnTo>
                <a:lnTo>
                  <a:pt x="3606" y="2370"/>
                </a:lnTo>
                <a:lnTo>
                  <a:pt x="3612" y="2370"/>
                </a:lnTo>
                <a:lnTo>
                  <a:pt x="3618" y="2370"/>
                </a:lnTo>
                <a:lnTo>
                  <a:pt x="3618" y="2364"/>
                </a:lnTo>
                <a:lnTo>
                  <a:pt x="3624" y="2364"/>
                </a:lnTo>
                <a:lnTo>
                  <a:pt x="3630" y="2364"/>
                </a:lnTo>
                <a:lnTo>
                  <a:pt x="3624" y="2370"/>
                </a:lnTo>
                <a:lnTo>
                  <a:pt x="3618" y="2370"/>
                </a:lnTo>
                <a:lnTo>
                  <a:pt x="3612" y="2370"/>
                </a:lnTo>
                <a:lnTo>
                  <a:pt x="3606" y="2370"/>
                </a:lnTo>
                <a:lnTo>
                  <a:pt x="3606" y="2376"/>
                </a:lnTo>
                <a:lnTo>
                  <a:pt x="3606" y="2370"/>
                </a:lnTo>
                <a:lnTo>
                  <a:pt x="3606" y="2376"/>
                </a:lnTo>
                <a:lnTo>
                  <a:pt x="3600" y="2376"/>
                </a:lnTo>
                <a:lnTo>
                  <a:pt x="3594" y="2376"/>
                </a:lnTo>
                <a:lnTo>
                  <a:pt x="3600" y="2370"/>
                </a:lnTo>
                <a:lnTo>
                  <a:pt x="3594" y="2370"/>
                </a:lnTo>
                <a:lnTo>
                  <a:pt x="3600" y="2370"/>
                </a:lnTo>
                <a:lnTo>
                  <a:pt x="3600" y="2364"/>
                </a:lnTo>
                <a:lnTo>
                  <a:pt x="3600" y="2358"/>
                </a:lnTo>
                <a:lnTo>
                  <a:pt x="3594" y="2358"/>
                </a:lnTo>
                <a:lnTo>
                  <a:pt x="3594" y="2352"/>
                </a:lnTo>
                <a:lnTo>
                  <a:pt x="3588" y="2352"/>
                </a:lnTo>
                <a:lnTo>
                  <a:pt x="3588" y="2370"/>
                </a:lnTo>
                <a:lnTo>
                  <a:pt x="3582" y="2370"/>
                </a:lnTo>
                <a:lnTo>
                  <a:pt x="3564" y="2370"/>
                </a:lnTo>
                <a:lnTo>
                  <a:pt x="3546" y="2370"/>
                </a:lnTo>
                <a:lnTo>
                  <a:pt x="3540" y="2376"/>
                </a:lnTo>
                <a:lnTo>
                  <a:pt x="3534" y="2382"/>
                </a:lnTo>
                <a:lnTo>
                  <a:pt x="3534" y="2388"/>
                </a:lnTo>
                <a:lnTo>
                  <a:pt x="3534" y="2382"/>
                </a:lnTo>
                <a:lnTo>
                  <a:pt x="3528" y="2382"/>
                </a:lnTo>
                <a:lnTo>
                  <a:pt x="3528" y="2388"/>
                </a:lnTo>
                <a:lnTo>
                  <a:pt x="3522" y="2388"/>
                </a:lnTo>
                <a:lnTo>
                  <a:pt x="3522" y="2394"/>
                </a:lnTo>
                <a:lnTo>
                  <a:pt x="3516" y="2394"/>
                </a:lnTo>
                <a:lnTo>
                  <a:pt x="3510" y="2394"/>
                </a:lnTo>
                <a:lnTo>
                  <a:pt x="3510" y="2400"/>
                </a:lnTo>
                <a:lnTo>
                  <a:pt x="3510" y="2394"/>
                </a:lnTo>
                <a:lnTo>
                  <a:pt x="3504" y="2400"/>
                </a:lnTo>
                <a:lnTo>
                  <a:pt x="3504" y="2394"/>
                </a:lnTo>
                <a:lnTo>
                  <a:pt x="3504" y="2400"/>
                </a:lnTo>
                <a:lnTo>
                  <a:pt x="3498" y="2400"/>
                </a:lnTo>
                <a:lnTo>
                  <a:pt x="3492" y="2406"/>
                </a:lnTo>
                <a:lnTo>
                  <a:pt x="3492" y="2400"/>
                </a:lnTo>
                <a:lnTo>
                  <a:pt x="3486" y="2400"/>
                </a:lnTo>
                <a:lnTo>
                  <a:pt x="3486" y="2406"/>
                </a:lnTo>
                <a:lnTo>
                  <a:pt x="3480" y="2406"/>
                </a:lnTo>
                <a:lnTo>
                  <a:pt x="3480" y="2412"/>
                </a:lnTo>
                <a:lnTo>
                  <a:pt x="3474" y="2412"/>
                </a:lnTo>
                <a:lnTo>
                  <a:pt x="3474" y="2406"/>
                </a:lnTo>
                <a:lnTo>
                  <a:pt x="3474" y="2412"/>
                </a:lnTo>
                <a:lnTo>
                  <a:pt x="3468" y="2406"/>
                </a:lnTo>
                <a:lnTo>
                  <a:pt x="3462" y="2406"/>
                </a:lnTo>
                <a:lnTo>
                  <a:pt x="3462" y="2412"/>
                </a:lnTo>
                <a:lnTo>
                  <a:pt x="3456" y="2412"/>
                </a:lnTo>
                <a:lnTo>
                  <a:pt x="3456" y="2406"/>
                </a:lnTo>
                <a:lnTo>
                  <a:pt x="3450" y="2406"/>
                </a:lnTo>
                <a:lnTo>
                  <a:pt x="3450" y="2400"/>
                </a:lnTo>
                <a:lnTo>
                  <a:pt x="3444" y="2400"/>
                </a:lnTo>
                <a:lnTo>
                  <a:pt x="3438" y="2394"/>
                </a:lnTo>
                <a:lnTo>
                  <a:pt x="3444" y="2394"/>
                </a:lnTo>
                <a:lnTo>
                  <a:pt x="3438" y="2394"/>
                </a:lnTo>
                <a:lnTo>
                  <a:pt x="3432" y="2388"/>
                </a:lnTo>
                <a:lnTo>
                  <a:pt x="3432" y="2394"/>
                </a:lnTo>
                <a:lnTo>
                  <a:pt x="3432" y="2400"/>
                </a:lnTo>
                <a:lnTo>
                  <a:pt x="3426" y="2400"/>
                </a:lnTo>
                <a:lnTo>
                  <a:pt x="3432" y="2400"/>
                </a:lnTo>
                <a:lnTo>
                  <a:pt x="3426" y="2400"/>
                </a:lnTo>
                <a:lnTo>
                  <a:pt x="3426" y="2406"/>
                </a:lnTo>
                <a:lnTo>
                  <a:pt x="3432" y="2406"/>
                </a:lnTo>
                <a:lnTo>
                  <a:pt x="3432" y="2412"/>
                </a:lnTo>
                <a:lnTo>
                  <a:pt x="3432" y="2418"/>
                </a:lnTo>
                <a:lnTo>
                  <a:pt x="3426" y="2418"/>
                </a:lnTo>
                <a:lnTo>
                  <a:pt x="3432" y="2418"/>
                </a:lnTo>
                <a:lnTo>
                  <a:pt x="3432" y="2424"/>
                </a:lnTo>
                <a:lnTo>
                  <a:pt x="3432" y="2430"/>
                </a:lnTo>
                <a:lnTo>
                  <a:pt x="3426" y="2436"/>
                </a:lnTo>
                <a:lnTo>
                  <a:pt x="3408" y="2418"/>
                </a:lnTo>
                <a:lnTo>
                  <a:pt x="3402" y="2418"/>
                </a:lnTo>
                <a:lnTo>
                  <a:pt x="3396" y="2418"/>
                </a:lnTo>
                <a:lnTo>
                  <a:pt x="3396" y="2412"/>
                </a:lnTo>
                <a:lnTo>
                  <a:pt x="3390" y="2418"/>
                </a:lnTo>
                <a:lnTo>
                  <a:pt x="3390" y="2412"/>
                </a:lnTo>
                <a:lnTo>
                  <a:pt x="3384" y="2412"/>
                </a:lnTo>
                <a:lnTo>
                  <a:pt x="3378" y="2412"/>
                </a:lnTo>
                <a:lnTo>
                  <a:pt x="3378" y="2406"/>
                </a:lnTo>
                <a:lnTo>
                  <a:pt x="3372" y="2406"/>
                </a:lnTo>
                <a:lnTo>
                  <a:pt x="3378" y="2412"/>
                </a:lnTo>
                <a:lnTo>
                  <a:pt x="3372" y="2412"/>
                </a:lnTo>
                <a:lnTo>
                  <a:pt x="3366" y="2418"/>
                </a:lnTo>
                <a:lnTo>
                  <a:pt x="3360" y="2418"/>
                </a:lnTo>
                <a:lnTo>
                  <a:pt x="3366" y="2412"/>
                </a:lnTo>
                <a:lnTo>
                  <a:pt x="3366" y="2406"/>
                </a:lnTo>
                <a:lnTo>
                  <a:pt x="3360" y="2406"/>
                </a:lnTo>
                <a:lnTo>
                  <a:pt x="3366" y="2406"/>
                </a:lnTo>
                <a:lnTo>
                  <a:pt x="3366" y="2400"/>
                </a:lnTo>
                <a:lnTo>
                  <a:pt x="3366" y="2394"/>
                </a:lnTo>
                <a:lnTo>
                  <a:pt x="3360" y="2394"/>
                </a:lnTo>
                <a:lnTo>
                  <a:pt x="3360" y="2400"/>
                </a:lnTo>
                <a:lnTo>
                  <a:pt x="3354" y="2400"/>
                </a:lnTo>
                <a:lnTo>
                  <a:pt x="3348" y="2400"/>
                </a:lnTo>
                <a:lnTo>
                  <a:pt x="3348" y="2406"/>
                </a:lnTo>
                <a:lnTo>
                  <a:pt x="3348" y="2400"/>
                </a:lnTo>
                <a:lnTo>
                  <a:pt x="3348" y="2406"/>
                </a:lnTo>
                <a:lnTo>
                  <a:pt x="3348" y="2400"/>
                </a:lnTo>
                <a:lnTo>
                  <a:pt x="3348" y="2406"/>
                </a:lnTo>
                <a:lnTo>
                  <a:pt x="3342" y="2406"/>
                </a:lnTo>
                <a:lnTo>
                  <a:pt x="3342" y="2412"/>
                </a:lnTo>
                <a:lnTo>
                  <a:pt x="3342" y="2406"/>
                </a:lnTo>
                <a:lnTo>
                  <a:pt x="3336" y="2406"/>
                </a:lnTo>
                <a:lnTo>
                  <a:pt x="3336" y="2412"/>
                </a:lnTo>
                <a:lnTo>
                  <a:pt x="3330" y="2412"/>
                </a:lnTo>
                <a:lnTo>
                  <a:pt x="3324" y="2412"/>
                </a:lnTo>
                <a:lnTo>
                  <a:pt x="3324" y="2406"/>
                </a:lnTo>
                <a:lnTo>
                  <a:pt x="3324" y="2400"/>
                </a:lnTo>
                <a:lnTo>
                  <a:pt x="3324" y="2394"/>
                </a:lnTo>
                <a:lnTo>
                  <a:pt x="3318" y="2394"/>
                </a:lnTo>
                <a:lnTo>
                  <a:pt x="3318" y="2400"/>
                </a:lnTo>
                <a:lnTo>
                  <a:pt x="3312" y="2400"/>
                </a:lnTo>
                <a:lnTo>
                  <a:pt x="3312" y="2406"/>
                </a:lnTo>
                <a:lnTo>
                  <a:pt x="3312" y="2412"/>
                </a:lnTo>
                <a:lnTo>
                  <a:pt x="3312" y="2418"/>
                </a:lnTo>
                <a:lnTo>
                  <a:pt x="3306" y="2418"/>
                </a:lnTo>
                <a:lnTo>
                  <a:pt x="3306" y="2412"/>
                </a:lnTo>
                <a:lnTo>
                  <a:pt x="3306" y="2406"/>
                </a:lnTo>
                <a:lnTo>
                  <a:pt x="3312" y="2406"/>
                </a:lnTo>
                <a:lnTo>
                  <a:pt x="3312" y="2400"/>
                </a:lnTo>
                <a:lnTo>
                  <a:pt x="3306" y="2400"/>
                </a:lnTo>
                <a:lnTo>
                  <a:pt x="3312" y="2400"/>
                </a:lnTo>
                <a:lnTo>
                  <a:pt x="3306" y="2400"/>
                </a:lnTo>
                <a:lnTo>
                  <a:pt x="3306" y="2394"/>
                </a:lnTo>
                <a:lnTo>
                  <a:pt x="3312" y="2394"/>
                </a:lnTo>
                <a:lnTo>
                  <a:pt x="3306" y="2388"/>
                </a:lnTo>
                <a:lnTo>
                  <a:pt x="3306" y="2382"/>
                </a:lnTo>
                <a:lnTo>
                  <a:pt x="3300" y="2382"/>
                </a:lnTo>
                <a:lnTo>
                  <a:pt x="3300" y="2376"/>
                </a:lnTo>
                <a:lnTo>
                  <a:pt x="3294" y="2376"/>
                </a:lnTo>
                <a:lnTo>
                  <a:pt x="3288" y="2376"/>
                </a:lnTo>
                <a:lnTo>
                  <a:pt x="3288" y="2370"/>
                </a:lnTo>
                <a:lnTo>
                  <a:pt x="3288" y="2364"/>
                </a:lnTo>
                <a:lnTo>
                  <a:pt x="3282" y="2358"/>
                </a:lnTo>
                <a:lnTo>
                  <a:pt x="3282" y="2364"/>
                </a:lnTo>
                <a:lnTo>
                  <a:pt x="3282" y="2358"/>
                </a:lnTo>
                <a:lnTo>
                  <a:pt x="3276" y="2358"/>
                </a:lnTo>
                <a:lnTo>
                  <a:pt x="3276" y="2352"/>
                </a:lnTo>
                <a:lnTo>
                  <a:pt x="3270" y="2352"/>
                </a:lnTo>
                <a:lnTo>
                  <a:pt x="3258" y="2370"/>
                </a:lnTo>
                <a:lnTo>
                  <a:pt x="3252" y="2370"/>
                </a:lnTo>
                <a:lnTo>
                  <a:pt x="3252" y="2364"/>
                </a:lnTo>
                <a:lnTo>
                  <a:pt x="3246" y="2364"/>
                </a:lnTo>
                <a:lnTo>
                  <a:pt x="3246" y="2358"/>
                </a:lnTo>
                <a:lnTo>
                  <a:pt x="3240" y="2358"/>
                </a:lnTo>
                <a:lnTo>
                  <a:pt x="3240" y="2352"/>
                </a:lnTo>
                <a:lnTo>
                  <a:pt x="3234" y="2352"/>
                </a:lnTo>
                <a:lnTo>
                  <a:pt x="3234" y="2358"/>
                </a:lnTo>
                <a:lnTo>
                  <a:pt x="3228" y="2358"/>
                </a:lnTo>
                <a:lnTo>
                  <a:pt x="3222" y="2358"/>
                </a:lnTo>
                <a:lnTo>
                  <a:pt x="3222" y="2364"/>
                </a:lnTo>
                <a:lnTo>
                  <a:pt x="3222" y="2370"/>
                </a:lnTo>
                <a:lnTo>
                  <a:pt x="3216" y="2370"/>
                </a:lnTo>
                <a:lnTo>
                  <a:pt x="3216" y="2376"/>
                </a:lnTo>
                <a:lnTo>
                  <a:pt x="3216" y="2382"/>
                </a:lnTo>
                <a:lnTo>
                  <a:pt x="3210" y="2382"/>
                </a:lnTo>
                <a:lnTo>
                  <a:pt x="3210" y="2388"/>
                </a:lnTo>
                <a:lnTo>
                  <a:pt x="3210" y="2394"/>
                </a:lnTo>
                <a:lnTo>
                  <a:pt x="3210" y="2400"/>
                </a:lnTo>
                <a:lnTo>
                  <a:pt x="3210" y="2406"/>
                </a:lnTo>
                <a:lnTo>
                  <a:pt x="3210" y="2412"/>
                </a:lnTo>
                <a:lnTo>
                  <a:pt x="3204" y="2412"/>
                </a:lnTo>
                <a:lnTo>
                  <a:pt x="3192" y="2406"/>
                </a:lnTo>
                <a:lnTo>
                  <a:pt x="3174" y="2394"/>
                </a:lnTo>
                <a:lnTo>
                  <a:pt x="3138" y="2376"/>
                </a:lnTo>
                <a:lnTo>
                  <a:pt x="3138" y="2370"/>
                </a:lnTo>
                <a:lnTo>
                  <a:pt x="3132" y="2370"/>
                </a:lnTo>
                <a:lnTo>
                  <a:pt x="3126" y="2370"/>
                </a:lnTo>
                <a:lnTo>
                  <a:pt x="3120" y="2370"/>
                </a:lnTo>
                <a:lnTo>
                  <a:pt x="3120" y="2364"/>
                </a:lnTo>
                <a:lnTo>
                  <a:pt x="3114" y="2364"/>
                </a:lnTo>
                <a:lnTo>
                  <a:pt x="3108" y="2364"/>
                </a:lnTo>
                <a:lnTo>
                  <a:pt x="3102" y="2364"/>
                </a:lnTo>
                <a:lnTo>
                  <a:pt x="3096" y="2364"/>
                </a:lnTo>
                <a:lnTo>
                  <a:pt x="3096" y="2358"/>
                </a:lnTo>
                <a:lnTo>
                  <a:pt x="3090" y="2358"/>
                </a:lnTo>
                <a:lnTo>
                  <a:pt x="3084" y="2358"/>
                </a:lnTo>
                <a:lnTo>
                  <a:pt x="3084" y="2352"/>
                </a:lnTo>
                <a:lnTo>
                  <a:pt x="3084" y="2346"/>
                </a:lnTo>
                <a:lnTo>
                  <a:pt x="3084" y="2340"/>
                </a:lnTo>
                <a:lnTo>
                  <a:pt x="3090" y="2340"/>
                </a:lnTo>
                <a:lnTo>
                  <a:pt x="3084" y="2340"/>
                </a:lnTo>
                <a:lnTo>
                  <a:pt x="3084" y="2334"/>
                </a:lnTo>
                <a:lnTo>
                  <a:pt x="3090" y="2334"/>
                </a:lnTo>
                <a:lnTo>
                  <a:pt x="3090" y="2328"/>
                </a:lnTo>
                <a:lnTo>
                  <a:pt x="3096" y="2328"/>
                </a:lnTo>
                <a:lnTo>
                  <a:pt x="3090" y="2322"/>
                </a:lnTo>
                <a:lnTo>
                  <a:pt x="3096" y="2322"/>
                </a:lnTo>
                <a:lnTo>
                  <a:pt x="3102" y="2322"/>
                </a:lnTo>
                <a:lnTo>
                  <a:pt x="3096" y="2316"/>
                </a:lnTo>
                <a:lnTo>
                  <a:pt x="3096" y="2322"/>
                </a:lnTo>
                <a:lnTo>
                  <a:pt x="3096" y="2316"/>
                </a:lnTo>
                <a:lnTo>
                  <a:pt x="3096" y="2310"/>
                </a:lnTo>
                <a:lnTo>
                  <a:pt x="3096" y="2304"/>
                </a:lnTo>
                <a:lnTo>
                  <a:pt x="3102" y="2304"/>
                </a:lnTo>
                <a:lnTo>
                  <a:pt x="3102" y="2298"/>
                </a:lnTo>
                <a:lnTo>
                  <a:pt x="3108" y="2298"/>
                </a:lnTo>
                <a:lnTo>
                  <a:pt x="3102" y="2298"/>
                </a:lnTo>
                <a:lnTo>
                  <a:pt x="3102" y="2304"/>
                </a:lnTo>
                <a:lnTo>
                  <a:pt x="3102" y="2298"/>
                </a:lnTo>
                <a:lnTo>
                  <a:pt x="3096" y="2298"/>
                </a:lnTo>
                <a:lnTo>
                  <a:pt x="3102" y="2304"/>
                </a:lnTo>
                <a:lnTo>
                  <a:pt x="3096" y="2304"/>
                </a:lnTo>
                <a:lnTo>
                  <a:pt x="3090" y="2304"/>
                </a:lnTo>
                <a:lnTo>
                  <a:pt x="3090" y="2310"/>
                </a:lnTo>
                <a:lnTo>
                  <a:pt x="3084" y="2310"/>
                </a:lnTo>
                <a:lnTo>
                  <a:pt x="3084" y="2316"/>
                </a:lnTo>
                <a:lnTo>
                  <a:pt x="3078" y="2316"/>
                </a:lnTo>
                <a:lnTo>
                  <a:pt x="3084" y="2316"/>
                </a:lnTo>
                <a:lnTo>
                  <a:pt x="3078" y="2316"/>
                </a:lnTo>
                <a:lnTo>
                  <a:pt x="3078" y="2322"/>
                </a:lnTo>
                <a:lnTo>
                  <a:pt x="3072" y="2322"/>
                </a:lnTo>
                <a:lnTo>
                  <a:pt x="3072" y="2328"/>
                </a:lnTo>
                <a:lnTo>
                  <a:pt x="3072" y="2334"/>
                </a:lnTo>
                <a:lnTo>
                  <a:pt x="3066" y="2328"/>
                </a:lnTo>
                <a:lnTo>
                  <a:pt x="3066" y="2334"/>
                </a:lnTo>
                <a:lnTo>
                  <a:pt x="3066" y="2340"/>
                </a:lnTo>
                <a:lnTo>
                  <a:pt x="3066" y="2334"/>
                </a:lnTo>
                <a:lnTo>
                  <a:pt x="3066" y="2340"/>
                </a:lnTo>
                <a:lnTo>
                  <a:pt x="3060" y="2340"/>
                </a:lnTo>
                <a:lnTo>
                  <a:pt x="3066" y="2340"/>
                </a:lnTo>
                <a:lnTo>
                  <a:pt x="3060" y="2340"/>
                </a:lnTo>
                <a:lnTo>
                  <a:pt x="3060" y="2346"/>
                </a:lnTo>
                <a:lnTo>
                  <a:pt x="3066" y="2346"/>
                </a:lnTo>
                <a:lnTo>
                  <a:pt x="3060" y="2346"/>
                </a:lnTo>
                <a:lnTo>
                  <a:pt x="3060" y="2352"/>
                </a:lnTo>
                <a:lnTo>
                  <a:pt x="3060" y="2358"/>
                </a:lnTo>
                <a:lnTo>
                  <a:pt x="3054" y="2358"/>
                </a:lnTo>
                <a:lnTo>
                  <a:pt x="3048" y="2358"/>
                </a:lnTo>
                <a:lnTo>
                  <a:pt x="3048" y="2352"/>
                </a:lnTo>
                <a:lnTo>
                  <a:pt x="3042" y="2352"/>
                </a:lnTo>
                <a:lnTo>
                  <a:pt x="3042" y="2346"/>
                </a:lnTo>
                <a:lnTo>
                  <a:pt x="3042" y="2340"/>
                </a:lnTo>
                <a:lnTo>
                  <a:pt x="3036" y="2334"/>
                </a:lnTo>
                <a:lnTo>
                  <a:pt x="3042" y="2334"/>
                </a:lnTo>
                <a:lnTo>
                  <a:pt x="3036" y="2328"/>
                </a:lnTo>
                <a:lnTo>
                  <a:pt x="3030" y="2328"/>
                </a:lnTo>
                <a:lnTo>
                  <a:pt x="3030" y="2322"/>
                </a:lnTo>
                <a:lnTo>
                  <a:pt x="3036" y="2322"/>
                </a:lnTo>
                <a:lnTo>
                  <a:pt x="3036" y="2316"/>
                </a:lnTo>
                <a:lnTo>
                  <a:pt x="3036" y="2310"/>
                </a:lnTo>
                <a:lnTo>
                  <a:pt x="3042" y="2310"/>
                </a:lnTo>
                <a:lnTo>
                  <a:pt x="3042" y="2304"/>
                </a:lnTo>
                <a:lnTo>
                  <a:pt x="3042" y="2298"/>
                </a:lnTo>
                <a:lnTo>
                  <a:pt x="3042" y="2292"/>
                </a:lnTo>
                <a:lnTo>
                  <a:pt x="3042" y="2286"/>
                </a:lnTo>
                <a:lnTo>
                  <a:pt x="3042" y="2280"/>
                </a:lnTo>
                <a:lnTo>
                  <a:pt x="3042" y="2274"/>
                </a:lnTo>
                <a:lnTo>
                  <a:pt x="3036" y="2274"/>
                </a:lnTo>
                <a:lnTo>
                  <a:pt x="3036" y="2268"/>
                </a:lnTo>
                <a:lnTo>
                  <a:pt x="3036" y="2262"/>
                </a:lnTo>
                <a:lnTo>
                  <a:pt x="3036" y="2256"/>
                </a:lnTo>
                <a:lnTo>
                  <a:pt x="3036" y="2250"/>
                </a:lnTo>
                <a:lnTo>
                  <a:pt x="3036" y="2244"/>
                </a:lnTo>
                <a:lnTo>
                  <a:pt x="3036" y="2238"/>
                </a:lnTo>
                <a:lnTo>
                  <a:pt x="3042" y="2232"/>
                </a:lnTo>
                <a:lnTo>
                  <a:pt x="3036" y="2226"/>
                </a:lnTo>
                <a:lnTo>
                  <a:pt x="3036" y="2220"/>
                </a:lnTo>
                <a:lnTo>
                  <a:pt x="3030" y="2220"/>
                </a:lnTo>
                <a:lnTo>
                  <a:pt x="3030" y="2214"/>
                </a:lnTo>
                <a:lnTo>
                  <a:pt x="3036" y="2208"/>
                </a:lnTo>
                <a:lnTo>
                  <a:pt x="3036" y="2202"/>
                </a:lnTo>
                <a:lnTo>
                  <a:pt x="3036" y="2196"/>
                </a:lnTo>
                <a:lnTo>
                  <a:pt x="3036" y="2190"/>
                </a:lnTo>
                <a:lnTo>
                  <a:pt x="3030" y="2190"/>
                </a:lnTo>
                <a:lnTo>
                  <a:pt x="3030" y="2184"/>
                </a:lnTo>
                <a:lnTo>
                  <a:pt x="3030" y="2178"/>
                </a:lnTo>
                <a:lnTo>
                  <a:pt x="3030" y="2172"/>
                </a:lnTo>
                <a:lnTo>
                  <a:pt x="3030" y="2166"/>
                </a:lnTo>
                <a:lnTo>
                  <a:pt x="3030" y="2160"/>
                </a:lnTo>
                <a:lnTo>
                  <a:pt x="3036" y="2154"/>
                </a:lnTo>
                <a:lnTo>
                  <a:pt x="3036" y="2148"/>
                </a:lnTo>
                <a:lnTo>
                  <a:pt x="3036" y="2142"/>
                </a:lnTo>
                <a:lnTo>
                  <a:pt x="3036" y="2136"/>
                </a:lnTo>
                <a:lnTo>
                  <a:pt x="3036" y="2130"/>
                </a:lnTo>
                <a:lnTo>
                  <a:pt x="3042" y="2130"/>
                </a:lnTo>
                <a:lnTo>
                  <a:pt x="3042" y="2124"/>
                </a:lnTo>
                <a:lnTo>
                  <a:pt x="3042" y="2118"/>
                </a:lnTo>
                <a:lnTo>
                  <a:pt x="3042" y="2112"/>
                </a:lnTo>
                <a:lnTo>
                  <a:pt x="3042" y="2106"/>
                </a:lnTo>
                <a:lnTo>
                  <a:pt x="3048" y="2106"/>
                </a:lnTo>
                <a:lnTo>
                  <a:pt x="3048" y="2100"/>
                </a:lnTo>
                <a:lnTo>
                  <a:pt x="3042" y="2100"/>
                </a:lnTo>
                <a:lnTo>
                  <a:pt x="3042" y="2094"/>
                </a:lnTo>
                <a:lnTo>
                  <a:pt x="3048" y="2088"/>
                </a:lnTo>
                <a:lnTo>
                  <a:pt x="3048" y="2082"/>
                </a:lnTo>
                <a:lnTo>
                  <a:pt x="3048" y="2076"/>
                </a:lnTo>
                <a:lnTo>
                  <a:pt x="3048" y="2070"/>
                </a:lnTo>
                <a:lnTo>
                  <a:pt x="3048" y="2064"/>
                </a:lnTo>
                <a:lnTo>
                  <a:pt x="3054" y="2064"/>
                </a:lnTo>
                <a:lnTo>
                  <a:pt x="3054" y="2058"/>
                </a:lnTo>
                <a:lnTo>
                  <a:pt x="3060" y="2052"/>
                </a:lnTo>
                <a:lnTo>
                  <a:pt x="3054" y="2052"/>
                </a:lnTo>
                <a:lnTo>
                  <a:pt x="3060" y="2052"/>
                </a:lnTo>
                <a:lnTo>
                  <a:pt x="3060" y="2046"/>
                </a:lnTo>
                <a:lnTo>
                  <a:pt x="3060" y="2040"/>
                </a:lnTo>
                <a:lnTo>
                  <a:pt x="3066" y="2034"/>
                </a:lnTo>
                <a:lnTo>
                  <a:pt x="3072" y="2034"/>
                </a:lnTo>
                <a:lnTo>
                  <a:pt x="3072" y="2028"/>
                </a:lnTo>
                <a:lnTo>
                  <a:pt x="3072" y="2022"/>
                </a:lnTo>
                <a:lnTo>
                  <a:pt x="3072" y="2016"/>
                </a:lnTo>
                <a:lnTo>
                  <a:pt x="3072" y="2010"/>
                </a:lnTo>
                <a:lnTo>
                  <a:pt x="3072" y="2004"/>
                </a:lnTo>
                <a:lnTo>
                  <a:pt x="3078" y="1998"/>
                </a:lnTo>
                <a:lnTo>
                  <a:pt x="3078" y="1992"/>
                </a:lnTo>
                <a:lnTo>
                  <a:pt x="3084" y="1992"/>
                </a:lnTo>
                <a:lnTo>
                  <a:pt x="3084" y="1986"/>
                </a:lnTo>
                <a:lnTo>
                  <a:pt x="3090" y="1980"/>
                </a:lnTo>
                <a:lnTo>
                  <a:pt x="3090" y="1974"/>
                </a:lnTo>
                <a:lnTo>
                  <a:pt x="3090" y="1968"/>
                </a:lnTo>
                <a:lnTo>
                  <a:pt x="3096" y="1968"/>
                </a:lnTo>
                <a:lnTo>
                  <a:pt x="3012" y="1962"/>
                </a:lnTo>
                <a:lnTo>
                  <a:pt x="2988" y="1956"/>
                </a:lnTo>
                <a:lnTo>
                  <a:pt x="2952" y="1956"/>
                </a:lnTo>
                <a:lnTo>
                  <a:pt x="2934" y="1956"/>
                </a:lnTo>
                <a:lnTo>
                  <a:pt x="2832" y="1950"/>
                </a:lnTo>
                <a:lnTo>
                  <a:pt x="2784" y="1944"/>
                </a:lnTo>
                <a:lnTo>
                  <a:pt x="2778" y="1944"/>
                </a:lnTo>
                <a:lnTo>
                  <a:pt x="2718" y="1938"/>
                </a:lnTo>
                <a:lnTo>
                  <a:pt x="2658" y="1938"/>
                </a:lnTo>
                <a:lnTo>
                  <a:pt x="2592" y="1932"/>
                </a:lnTo>
                <a:lnTo>
                  <a:pt x="2526" y="1926"/>
                </a:lnTo>
                <a:lnTo>
                  <a:pt x="2508" y="1926"/>
                </a:lnTo>
                <a:lnTo>
                  <a:pt x="2472" y="1920"/>
                </a:lnTo>
                <a:lnTo>
                  <a:pt x="2370" y="1914"/>
                </a:lnTo>
                <a:lnTo>
                  <a:pt x="2322" y="1908"/>
                </a:lnTo>
                <a:lnTo>
                  <a:pt x="2310" y="1908"/>
                </a:lnTo>
                <a:lnTo>
                  <a:pt x="2256" y="1902"/>
                </a:lnTo>
                <a:lnTo>
                  <a:pt x="2250" y="1902"/>
                </a:lnTo>
                <a:lnTo>
                  <a:pt x="2250" y="1908"/>
                </a:lnTo>
                <a:lnTo>
                  <a:pt x="2244" y="1908"/>
                </a:lnTo>
                <a:lnTo>
                  <a:pt x="2244" y="1902"/>
                </a:lnTo>
                <a:lnTo>
                  <a:pt x="2244" y="1896"/>
                </a:lnTo>
                <a:lnTo>
                  <a:pt x="2238" y="1896"/>
                </a:lnTo>
                <a:lnTo>
                  <a:pt x="2238" y="1890"/>
                </a:lnTo>
                <a:lnTo>
                  <a:pt x="2232" y="1884"/>
                </a:lnTo>
                <a:lnTo>
                  <a:pt x="2226" y="1884"/>
                </a:lnTo>
                <a:lnTo>
                  <a:pt x="2220" y="1884"/>
                </a:lnTo>
                <a:lnTo>
                  <a:pt x="2214" y="1884"/>
                </a:lnTo>
                <a:lnTo>
                  <a:pt x="2208" y="1884"/>
                </a:lnTo>
                <a:lnTo>
                  <a:pt x="2208" y="1878"/>
                </a:lnTo>
                <a:lnTo>
                  <a:pt x="2202" y="1878"/>
                </a:lnTo>
                <a:lnTo>
                  <a:pt x="2208" y="1878"/>
                </a:lnTo>
                <a:lnTo>
                  <a:pt x="2202" y="1872"/>
                </a:lnTo>
                <a:lnTo>
                  <a:pt x="2208" y="1872"/>
                </a:lnTo>
                <a:lnTo>
                  <a:pt x="2208" y="1866"/>
                </a:lnTo>
                <a:lnTo>
                  <a:pt x="2202" y="1866"/>
                </a:lnTo>
                <a:lnTo>
                  <a:pt x="2202" y="1860"/>
                </a:lnTo>
                <a:lnTo>
                  <a:pt x="2196" y="1854"/>
                </a:lnTo>
                <a:lnTo>
                  <a:pt x="2190" y="1848"/>
                </a:lnTo>
                <a:lnTo>
                  <a:pt x="2184" y="1848"/>
                </a:lnTo>
                <a:lnTo>
                  <a:pt x="2184" y="1842"/>
                </a:lnTo>
                <a:lnTo>
                  <a:pt x="2178" y="1842"/>
                </a:lnTo>
                <a:lnTo>
                  <a:pt x="2172" y="1842"/>
                </a:lnTo>
                <a:lnTo>
                  <a:pt x="2166" y="1842"/>
                </a:lnTo>
                <a:lnTo>
                  <a:pt x="2160" y="1836"/>
                </a:lnTo>
                <a:lnTo>
                  <a:pt x="2160" y="1830"/>
                </a:lnTo>
                <a:lnTo>
                  <a:pt x="2154" y="1830"/>
                </a:lnTo>
                <a:lnTo>
                  <a:pt x="2148" y="1824"/>
                </a:lnTo>
                <a:lnTo>
                  <a:pt x="2142" y="1824"/>
                </a:lnTo>
                <a:lnTo>
                  <a:pt x="2136" y="1824"/>
                </a:lnTo>
                <a:lnTo>
                  <a:pt x="2136" y="1818"/>
                </a:lnTo>
                <a:lnTo>
                  <a:pt x="2136" y="1812"/>
                </a:lnTo>
                <a:lnTo>
                  <a:pt x="2130" y="1812"/>
                </a:lnTo>
                <a:lnTo>
                  <a:pt x="2130" y="1806"/>
                </a:lnTo>
                <a:lnTo>
                  <a:pt x="2130" y="1800"/>
                </a:lnTo>
                <a:lnTo>
                  <a:pt x="2130" y="1794"/>
                </a:lnTo>
                <a:lnTo>
                  <a:pt x="2124" y="1788"/>
                </a:lnTo>
                <a:lnTo>
                  <a:pt x="2130" y="1788"/>
                </a:lnTo>
                <a:lnTo>
                  <a:pt x="2124" y="1782"/>
                </a:lnTo>
                <a:lnTo>
                  <a:pt x="2124" y="1776"/>
                </a:lnTo>
                <a:lnTo>
                  <a:pt x="2124" y="1770"/>
                </a:lnTo>
                <a:lnTo>
                  <a:pt x="2124" y="1764"/>
                </a:lnTo>
                <a:lnTo>
                  <a:pt x="2124" y="1758"/>
                </a:lnTo>
                <a:lnTo>
                  <a:pt x="2130" y="1758"/>
                </a:lnTo>
                <a:lnTo>
                  <a:pt x="2130" y="1752"/>
                </a:lnTo>
                <a:lnTo>
                  <a:pt x="2124" y="1746"/>
                </a:lnTo>
                <a:lnTo>
                  <a:pt x="2118" y="1746"/>
                </a:lnTo>
                <a:lnTo>
                  <a:pt x="2118" y="1740"/>
                </a:lnTo>
                <a:lnTo>
                  <a:pt x="2112" y="1734"/>
                </a:lnTo>
                <a:lnTo>
                  <a:pt x="2106" y="1728"/>
                </a:lnTo>
                <a:lnTo>
                  <a:pt x="2106" y="1722"/>
                </a:lnTo>
                <a:lnTo>
                  <a:pt x="2106" y="1710"/>
                </a:lnTo>
                <a:lnTo>
                  <a:pt x="2100" y="1698"/>
                </a:lnTo>
                <a:lnTo>
                  <a:pt x="2100" y="1692"/>
                </a:lnTo>
                <a:lnTo>
                  <a:pt x="2094" y="1686"/>
                </a:lnTo>
                <a:lnTo>
                  <a:pt x="2094" y="1680"/>
                </a:lnTo>
                <a:lnTo>
                  <a:pt x="2088" y="1680"/>
                </a:lnTo>
                <a:lnTo>
                  <a:pt x="2088" y="1674"/>
                </a:lnTo>
                <a:lnTo>
                  <a:pt x="2088" y="1662"/>
                </a:lnTo>
                <a:lnTo>
                  <a:pt x="2082" y="1656"/>
                </a:lnTo>
                <a:lnTo>
                  <a:pt x="2076" y="1656"/>
                </a:lnTo>
                <a:lnTo>
                  <a:pt x="2076" y="1650"/>
                </a:lnTo>
                <a:lnTo>
                  <a:pt x="2076" y="1644"/>
                </a:lnTo>
                <a:lnTo>
                  <a:pt x="2064" y="1644"/>
                </a:lnTo>
                <a:lnTo>
                  <a:pt x="2064" y="1638"/>
                </a:lnTo>
                <a:lnTo>
                  <a:pt x="2064" y="1644"/>
                </a:lnTo>
                <a:lnTo>
                  <a:pt x="2058" y="1644"/>
                </a:lnTo>
                <a:lnTo>
                  <a:pt x="2052" y="1656"/>
                </a:lnTo>
                <a:lnTo>
                  <a:pt x="2052" y="1662"/>
                </a:lnTo>
                <a:lnTo>
                  <a:pt x="2052" y="1668"/>
                </a:lnTo>
                <a:lnTo>
                  <a:pt x="2058" y="1674"/>
                </a:lnTo>
                <a:lnTo>
                  <a:pt x="2052" y="1680"/>
                </a:lnTo>
                <a:lnTo>
                  <a:pt x="2052" y="1686"/>
                </a:lnTo>
                <a:lnTo>
                  <a:pt x="2046" y="1686"/>
                </a:lnTo>
                <a:lnTo>
                  <a:pt x="2046" y="1692"/>
                </a:lnTo>
                <a:lnTo>
                  <a:pt x="2046" y="1698"/>
                </a:lnTo>
                <a:lnTo>
                  <a:pt x="2040" y="1698"/>
                </a:lnTo>
                <a:lnTo>
                  <a:pt x="2034" y="1704"/>
                </a:lnTo>
                <a:lnTo>
                  <a:pt x="2034" y="1710"/>
                </a:lnTo>
                <a:lnTo>
                  <a:pt x="2034" y="1716"/>
                </a:lnTo>
                <a:lnTo>
                  <a:pt x="2040" y="1722"/>
                </a:lnTo>
                <a:lnTo>
                  <a:pt x="2040" y="1728"/>
                </a:lnTo>
                <a:lnTo>
                  <a:pt x="2046" y="1734"/>
                </a:lnTo>
                <a:lnTo>
                  <a:pt x="2046" y="1740"/>
                </a:lnTo>
                <a:lnTo>
                  <a:pt x="2046" y="1746"/>
                </a:lnTo>
                <a:lnTo>
                  <a:pt x="2040" y="1746"/>
                </a:lnTo>
                <a:lnTo>
                  <a:pt x="2040" y="1752"/>
                </a:lnTo>
                <a:lnTo>
                  <a:pt x="2040" y="1758"/>
                </a:lnTo>
                <a:lnTo>
                  <a:pt x="2040" y="1764"/>
                </a:lnTo>
                <a:lnTo>
                  <a:pt x="2040" y="1770"/>
                </a:lnTo>
                <a:lnTo>
                  <a:pt x="2034" y="1770"/>
                </a:lnTo>
                <a:lnTo>
                  <a:pt x="2040" y="1776"/>
                </a:lnTo>
                <a:lnTo>
                  <a:pt x="2034" y="1776"/>
                </a:lnTo>
                <a:lnTo>
                  <a:pt x="2034" y="1782"/>
                </a:lnTo>
                <a:lnTo>
                  <a:pt x="2028" y="1788"/>
                </a:lnTo>
                <a:lnTo>
                  <a:pt x="2028" y="1794"/>
                </a:lnTo>
                <a:lnTo>
                  <a:pt x="2028" y="1800"/>
                </a:lnTo>
                <a:lnTo>
                  <a:pt x="2034" y="1800"/>
                </a:lnTo>
                <a:lnTo>
                  <a:pt x="2034" y="1806"/>
                </a:lnTo>
                <a:lnTo>
                  <a:pt x="2028" y="1806"/>
                </a:lnTo>
                <a:lnTo>
                  <a:pt x="2028" y="1812"/>
                </a:lnTo>
                <a:lnTo>
                  <a:pt x="2028" y="1818"/>
                </a:lnTo>
                <a:lnTo>
                  <a:pt x="2034" y="1818"/>
                </a:lnTo>
                <a:lnTo>
                  <a:pt x="2040" y="1818"/>
                </a:lnTo>
                <a:lnTo>
                  <a:pt x="2034" y="1824"/>
                </a:lnTo>
                <a:lnTo>
                  <a:pt x="2028" y="1824"/>
                </a:lnTo>
                <a:lnTo>
                  <a:pt x="2028" y="1830"/>
                </a:lnTo>
                <a:lnTo>
                  <a:pt x="2022" y="1830"/>
                </a:lnTo>
                <a:lnTo>
                  <a:pt x="2016" y="1830"/>
                </a:lnTo>
                <a:lnTo>
                  <a:pt x="1938" y="1830"/>
                </a:lnTo>
                <a:lnTo>
                  <a:pt x="1842" y="1830"/>
                </a:lnTo>
                <a:lnTo>
                  <a:pt x="1770" y="1830"/>
                </a:lnTo>
                <a:lnTo>
                  <a:pt x="1722" y="1830"/>
                </a:lnTo>
                <a:lnTo>
                  <a:pt x="1716" y="1830"/>
                </a:lnTo>
                <a:lnTo>
                  <a:pt x="1710" y="1830"/>
                </a:lnTo>
                <a:lnTo>
                  <a:pt x="1614" y="1830"/>
                </a:lnTo>
                <a:lnTo>
                  <a:pt x="1620" y="1830"/>
                </a:lnTo>
                <a:lnTo>
                  <a:pt x="1626" y="1830"/>
                </a:lnTo>
                <a:lnTo>
                  <a:pt x="1626" y="1836"/>
                </a:lnTo>
                <a:lnTo>
                  <a:pt x="1626" y="1842"/>
                </a:lnTo>
                <a:lnTo>
                  <a:pt x="1632" y="1842"/>
                </a:lnTo>
                <a:lnTo>
                  <a:pt x="1626" y="1848"/>
                </a:lnTo>
                <a:lnTo>
                  <a:pt x="1626" y="1854"/>
                </a:lnTo>
                <a:lnTo>
                  <a:pt x="1620" y="1860"/>
                </a:lnTo>
                <a:lnTo>
                  <a:pt x="1620" y="1866"/>
                </a:lnTo>
                <a:lnTo>
                  <a:pt x="1620" y="1872"/>
                </a:lnTo>
                <a:lnTo>
                  <a:pt x="1620" y="1878"/>
                </a:lnTo>
                <a:lnTo>
                  <a:pt x="1626" y="1878"/>
                </a:lnTo>
                <a:lnTo>
                  <a:pt x="1626" y="1884"/>
                </a:lnTo>
                <a:lnTo>
                  <a:pt x="1620" y="1884"/>
                </a:lnTo>
                <a:lnTo>
                  <a:pt x="1626" y="1890"/>
                </a:lnTo>
                <a:lnTo>
                  <a:pt x="1620" y="1890"/>
                </a:lnTo>
                <a:lnTo>
                  <a:pt x="1614" y="1884"/>
                </a:lnTo>
                <a:lnTo>
                  <a:pt x="1614" y="1890"/>
                </a:lnTo>
                <a:lnTo>
                  <a:pt x="1608" y="1890"/>
                </a:lnTo>
                <a:lnTo>
                  <a:pt x="1614" y="1890"/>
                </a:lnTo>
                <a:lnTo>
                  <a:pt x="1614" y="1896"/>
                </a:lnTo>
                <a:lnTo>
                  <a:pt x="1608" y="1902"/>
                </a:lnTo>
                <a:lnTo>
                  <a:pt x="1614" y="1902"/>
                </a:lnTo>
                <a:lnTo>
                  <a:pt x="1620" y="1908"/>
                </a:lnTo>
                <a:lnTo>
                  <a:pt x="1620" y="1914"/>
                </a:lnTo>
                <a:lnTo>
                  <a:pt x="1614" y="1914"/>
                </a:lnTo>
                <a:lnTo>
                  <a:pt x="1614" y="1920"/>
                </a:lnTo>
                <a:lnTo>
                  <a:pt x="1620" y="1920"/>
                </a:lnTo>
                <a:lnTo>
                  <a:pt x="1626" y="1920"/>
                </a:lnTo>
                <a:lnTo>
                  <a:pt x="1620" y="1920"/>
                </a:lnTo>
                <a:lnTo>
                  <a:pt x="1626" y="1926"/>
                </a:lnTo>
                <a:lnTo>
                  <a:pt x="1626" y="1932"/>
                </a:lnTo>
                <a:lnTo>
                  <a:pt x="1626" y="1938"/>
                </a:lnTo>
                <a:lnTo>
                  <a:pt x="1632" y="1938"/>
                </a:lnTo>
                <a:lnTo>
                  <a:pt x="1626" y="1944"/>
                </a:lnTo>
                <a:lnTo>
                  <a:pt x="1620" y="1950"/>
                </a:lnTo>
                <a:lnTo>
                  <a:pt x="1614" y="1950"/>
                </a:lnTo>
                <a:lnTo>
                  <a:pt x="1620" y="1950"/>
                </a:lnTo>
                <a:lnTo>
                  <a:pt x="1620" y="1956"/>
                </a:lnTo>
                <a:lnTo>
                  <a:pt x="1626" y="1962"/>
                </a:lnTo>
                <a:lnTo>
                  <a:pt x="1620" y="1962"/>
                </a:lnTo>
                <a:lnTo>
                  <a:pt x="1626" y="1962"/>
                </a:lnTo>
                <a:lnTo>
                  <a:pt x="1626" y="1968"/>
                </a:lnTo>
                <a:lnTo>
                  <a:pt x="1626" y="1974"/>
                </a:lnTo>
                <a:lnTo>
                  <a:pt x="1620" y="1980"/>
                </a:lnTo>
                <a:lnTo>
                  <a:pt x="1626" y="1980"/>
                </a:lnTo>
                <a:lnTo>
                  <a:pt x="1620" y="1980"/>
                </a:lnTo>
                <a:lnTo>
                  <a:pt x="1620" y="1986"/>
                </a:lnTo>
                <a:lnTo>
                  <a:pt x="1620" y="1992"/>
                </a:lnTo>
                <a:lnTo>
                  <a:pt x="1614" y="1992"/>
                </a:lnTo>
                <a:lnTo>
                  <a:pt x="1614" y="1998"/>
                </a:lnTo>
                <a:lnTo>
                  <a:pt x="1614" y="2004"/>
                </a:lnTo>
                <a:lnTo>
                  <a:pt x="1614" y="2010"/>
                </a:lnTo>
                <a:lnTo>
                  <a:pt x="1620" y="2010"/>
                </a:lnTo>
                <a:lnTo>
                  <a:pt x="1614" y="2016"/>
                </a:lnTo>
                <a:lnTo>
                  <a:pt x="1620" y="2022"/>
                </a:lnTo>
                <a:lnTo>
                  <a:pt x="1620" y="2028"/>
                </a:lnTo>
                <a:lnTo>
                  <a:pt x="1626" y="2028"/>
                </a:lnTo>
                <a:lnTo>
                  <a:pt x="1626" y="2034"/>
                </a:lnTo>
                <a:lnTo>
                  <a:pt x="1626" y="2040"/>
                </a:lnTo>
                <a:lnTo>
                  <a:pt x="1632" y="2040"/>
                </a:lnTo>
                <a:lnTo>
                  <a:pt x="1632" y="2046"/>
                </a:lnTo>
                <a:lnTo>
                  <a:pt x="1632" y="2052"/>
                </a:lnTo>
                <a:lnTo>
                  <a:pt x="1632" y="2058"/>
                </a:lnTo>
                <a:lnTo>
                  <a:pt x="1632" y="2064"/>
                </a:lnTo>
                <a:lnTo>
                  <a:pt x="1626" y="2064"/>
                </a:lnTo>
                <a:lnTo>
                  <a:pt x="1632" y="2064"/>
                </a:lnTo>
                <a:lnTo>
                  <a:pt x="1626" y="2070"/>
                </a:lnTo>
                <a:lnTo>
                  <a:pt x="1632" y="2070"/>
                </a:lnTo>
                <a:lnTo>
                  <a:pt x="1626" y="2070"/>
                </a:lnTo>
                <a:lnTo>
                  <a:pt x="1626" y="2076"/>
                </a:lnTo>
                <a:lnTo>
                  <a:pt x="1632" y="2076"/>
                </a:lnTo>
                <a:lnTo>
                  <a:pt x="1632" y="2082"/>
                </a:lnTo>
                <a:lnTo>
                  <a:pt x="1626" y="2082"/>
                </a:lnTo>
                <a:lnTo>
                  <a:pt x="1632" y="2082"/>
                </a:lnTo>
                <a:lnTo>
                  <a:pt x="1626" y="2082"/>
                </a:lnTo>
                <a:lnTo>
                  <a:pt x="1632" y="2088"/>
                </a:lnTo>
                <a:lnTo>
                  <a:pt x="1626" y="2088"/>
                </a:lnTo>
                <a:lnTo>
                  <a:pt x="1626" y="2094"/>
                </a:lnTo>
                <a:lnTo>
                  <a:pt x="1626" y="2100"/>
                </a:lnTo>
                <a:lnTo>
                  <a:pt x="1626" y="2106"/>
                </a:lnTo>
                <a:lnTo>
                  <a:pt x="1626" y="2112"/>
                </a:lnTo>
                <a:lnTo>
                  <a:pt x="1620" y="2112"/>
                </a:lnTo>
                <a:lnTo>
                  <a:pt x="1638" y="2112"/>
                </a:lnTo>
                <a:lnTo>
                  <a:pt x="1692" y="2118"/>
                </a:lnTo>
                <a:lnTo>
                  <a:pt x="1692" y="2112"/>
                </a:lnTo>
                <a:lnTo>
                  <a:pt x="1764" y="2112"/>
                </a:lnTo>
                <a:lnTo>
                  <a:pt x="1764" y="2118"/>
                </a:lnTo>
                <a:lnTo>
                  <a:pt x="1764" y="2124"/>
                </a:lnTo>
                <a:lnTo>
                  <a:pt x="1764" y="2118"/>
                </a:lnTo>
                <a:lnTo>
                  <a:pt x="1770" y="2124"/>
                </a:lnTo>
                <a:lnTo>
                  <a:pt x="1770" y="2130"/>
                </a:lnTo>
                <a:lnTo>
                  <a:pt x="1776" y="2130"/>
                </a:lnTo>
                <a:lnTo>
                  <a:pt x="1776" y="2124"/>
                </a:lnTo>
                <a:lnTo>
                  <a:pt x="1782" y="2124"/>
                </a:lnTo>
                <a:lnTo>
                  <a:pt x="1788" y="2124"/>
                </a:lnTo>
                <a:lnTo>
                  <a:pt x="1788" y="2130"/>
                </a:lnTo>
                <a:lnTo>
                  <a:pt x="1794" y="2130"/>
                </a:lnTo>
                <a:lnTo>
                  <a:pt x="1800" y="2130"/>
                </a:lnTo>
                <a:lnTo>
                  <a:pt x="1806" y="2130"/>
                </a:lnTo>
                <a:lnTo>
                  <a:pt x="1812" y="2130"/>
                </a:lnTo>
                <a:lnTo>
                  <a:pt x="1818" y="2130"/>
                </a:lnTo>
                <a:lnTo>
                  <a:pt x="1818" y="2136"/>
                </a:lnTo>
                <a:lnTo>
                  <a:pt x="1818" y="2130"/>
                </a:lnTo>
                <a:lnTo>
                  <a:pt x="1824" y="2130"/>
                </a:lnTo>
                <a:lnTo>
                  <a:pt x="1824" y="2136"/>
                </a:lnTo>
                <a:lnTo>
                  <a:pt x="1824" y="2142"/>
                </a:lnTo>
                <a:lnTo>
                  <a:pt x="1824" y="2148"/>
                </a:lnTo>
                <a:lnTo>
                  <a:pt x="1830" y="2154"/>
                </a:lnTo>
                <a:lnTo>
                  <a:pt x="1830" y="2160"/>
                </a:lnTo>
                <a:lnTo>
                  <a:pt x="1830" y="2166"/>
                </a:lnTo>
                <a:lnTo>
                  <a:pt x="1830" y="2172"/>
                </a:lnTo>
                <a:lnTo>
                  <a:pt x="1824" y="2172"/>
                </a:lnTo>
                <a:lnTo>
                  <a:pt x="1824" y="2178"/>
                </a:lnTo>
                <a:lnTo>
                  <a:pt x="1818" y="2178"/>
                </a:lnTo>
                <a:lnTo>
                  <a:pt x="1818" y="2184"/>
                </a:lnTo>
                <a:lnTo>
                  <a:pt x="1812" y="2184"/>
                </a:lnTo>
                <a:lnTo>
                  <a:pt x="1812" y="2190"/>
                </a:lnTo>
                <a:lnTo>
                  <a:pt x="1806" y="2190"/>
                </a:lnTo>
                <a:lnTo>
                  <a:pt x="1812" y="2190"/>
                </a:lnTo>
                <a:lnTo>
                  <a:pt x="1806" y="2190"/>
                </a:lnTo>
                <a:lnTo>
                  <a:pt x="1812" y="2190"/>
                </a:lnTo>
                <a:lnTo>
                  <a:pt x="1806" y="2190"/>
                </a:lnTo>
                <a:lnTo>
                  <a:pt x="1806" y="2196"/>
                </a:lnTo>
                <a:lnTo>
                  <a:pt x="1806" y="2202"/>
                </a:lnTo>
                <a:lnTo>
                  <a:pt x="1806" y="2208"/>
                </a:lnTo>
                <a:lnTo>
                  <a:pt x="1806" y="2214"/>
                </a:lnTo>
                <a:lnTo>
                  <a:pt x="1806" y="2220"/>
                </a:lnTo>
                <a:lnTo>
                  <a:pt x="1812" y="2220"/>
                </a:lnTo>
                <a:lnTo>
                  <a:pt x="1806" y="2220"/>
                </a:lnTo>
                <a:lnTo>
                  <a:pt x="1812" y="2220"/>
                </a:lnTo>
                <a:lnTo>
                  <a:pt x="1806" y="2220"/>
                </a:lnTo>
                <a:lnTo>
                  <a:pt x="1812" y="2220"/>
                </a:lnTo>
                <a:lnTo>
                  <a:pt x="1806" y="2220"/>
                </a:lnTo>
                <a:lnTo>
                  <a:pt x="1806" y="2226"/>
                </a:lnTo>
                <a:lnTo>
                  <a:pt x="1812" y="2226"/>
                </a:lnTo>
                <a:lnTo>
                  <a:pt x="1812" y="2232"/>
                </a:lnTo>
                <a:lnTo>
                  <a:pt x="1818" y="2232"/>
                </a:lnTo>
                <a:lnTo>
                  <a:pt x="1824" y="2232"/>
                </a:lnTo>
                <a:lnTo>
                  <a:pt x="1824" y="2238"/>
                </a:lnTo>
                <a:lnTo>
                  <a:pt x="1824" y="2244"/>
                </a:lnTo>
                <a:lnTo>
                  <a:pt x="1824" y="2250"/>
                </a:lnTo>
                <a:lnTo>
                  <a:pt x="1824" y="2256"/>
                </a:lnTo>
                <a:lnTo>
                  <a:pt x="1830" y="2256"/>
                </a:lnTo>
                <a:lnTo>
                  <a:pt x="1830" y="2262"/>
                </a:lnTo>
                <a:lnTo>
                  <a:pt x="1836" y="2262"/>
                </a:lnTo>
                <a:lnTo>
                  <a:pt x="1836" y="2268"/>
                </a:lnTo>
                <a:lnTo>
                  <a:pt x="1836" y="2274"/>
                </a:lnTo>
                <a:lnTo>
                  <a:pt x="1836" y="2280"/>
                </a:lnTo>
                <a:lnTo>
                  <a:pt x="1854" y="2292"/>
                </a:lnTo>
                <a:lnTo>
                  <a:pt x="1848" y="2292"/>
                </a:lnTo>
                <a:lnTo>
                  <a:pt x="1848" y="2298"/>
                </a:lnTo>
                <a:lnTo>
                  <a:pt x="1842" y="2298"/>
                </a:lnTo>
                <a:lnTo>
                  <a:pt x="1842" y="2304"/>
                </a:lnTo>
                <a:lnTo>
                  <a:pt x="1842" y="2310"/>
                </a:lnTo>
                <a:lnTo>
                  <a:pt x="1836" y="2310"/>
                </a:lnTo>
                <a:lnTo>
                  <a:pt x="1830" y="2310"/>
                </a:lnTo>
                <a:lnTo>
                  <a:pt x="1824" y="2316"/>
                </a:lnTo>
                <a:lnTo>
                  <a:pt x="1818" y="2316"/>
                </a:lnTo>
                <a:lnTo>
                  <a:pt x="1818" y="2322"/>
                </a:lnTo>
                <a:lnTo>
                  <a:pt x="1812" y="2322"/>
                </a:lnTo>
                <a:lnTo>
                  <a:pt x="1812" y="2328"/>
                </a:lnTo>
                <a:lnTo>
                  <a:pt x="1812" y="2334"/>
                </a:lnTo>
                <a:lnTo>
                  <a:pt x="1812" y="2340"/>
                </a:lnTo>
                <a:lnTo>
                  <a:pt x="1812" y="2346"/>
                </a:lnTo>
                <a:lnTo>
                  <a:pt x="1812" y="2352"/>
                </a:lnTo>
                <a:lnTo>
                  <a:pt x="1812" y="2358"/>
                </a:lnTo>
                <a:lnTo>
                  <a:pt x="1812" y="2364"/>
                </a:lnTo>
                <a:lnTo>
                  <a:pt x="1806" y="2364"/>
                </a:lnTo>
                <a:lnTo>
                  <a:pt x="1806" y="2370"/>
                </a:lnTo>
                <a:lnTo>
                  <a:pt x="1800" y="2370"/>
                </a:lnTo>
                <a:lnTo>
                  <a:pt x="1794" y="2376"/>
                </a:lnTo>
                <a:lnTo>
                  <a:pt x="1794" y="2382"/>
                </a:lnTo>
                <a:lnTo>
                  <a:pt x="1788" y="2382"/>
                </a:lnTo>
                <a:lnTo>
                  <a:pt x="1788" y="2388"/>
                </a:lnTo>
                <a:lnTo>
                  <a:pt x="1782" y="2388"/>
                </a:lnTo>
                <a:lnTo>
                  <a:pt x="1788" y="2388"/>
                </a:lnTo>
                <a:lnTo>
                  <a:pt x="1788" y="2394"/>
                </a:lnTo>
                <a:lnTo>
                  <a:pt x="1782" y="2400"/>
                </a:lnTo>
                <a:lnTo>
                  <a:pt x="1782" y="2406"/>
                </a:lnTo>
                <a:lnTo>
                  <a:pt x="1782" y="2412"/>
                </a:lnTo>
                <a:lnTo>
                  <a:pt x="1776" y="2412"/>
                </a:lnTo>
                <a:lnTo>
                  <a:pt x="1776" y="2418"/>
                </a:lnTo>
                <a:lnTo>
                  <a:pt x="1776" y="2424"/>
                </a:lnTo>
                <a:lnTo>
                  <a:pt x="1770" y="2424"/>
                </a:lnTo>
                <a:lnTo>
                  <a:pt x="1770" y="2430"/>
                </a:lnTo>
                <a:lnTo>
                  <a:pt x="1776" y="2430"/>
                </a:lnTo>
                <a:lnTo>
                  <a:pt x="1770" y="2430"/>
                </a:lnTo>
                <a:lnTo>
                  <a:pt x="1770" y="2436"/>
                </a:lnTo>
                <a:lnTo>
                  <a:pt x="1764" y="2442"/>
                </a:lnTo>
                <a:lnTo>
                  <a:pt x="1758" y="2442"/>
                </a:lnTo>
                <a:lnTo>
                  <a:pt x="1752" y="2442"/>
                </a:lnTo>
                <a:lnTo>
                  <a:pt x="1752" y="2448"/>
                </a:lnTo>
                <a:lnTo>
                  <a:pt x="1746" y="2448"/>
                </a:lnTo>
                <a:lnTo>
                  <a:pt x="1746" y="2454"/>
                </a:lnTo>
                <a:lnTo>
                  <a:pt x="1740" y="2448"/>
                </a:lnTo>
                <a:lnTo>
                  <a:pt x="1740" y="2454"/>
                </a:lnTo>
                <a:lnTo>
                  <a:pt x="1734" y="2454"/>
                </a:lnTo>
                <a:lnTo>
                  <a:pt x="1734" y="2460"/>
                </a:lnTo>
                <a:lnTo>
                  <a:pt x="1728" y="2460"/>
                </a:lnTo>
                <a:lnTo>
                  <a:pt x="1734" y="2460"/>
                </a:lnTo>
                <a:lnTo>
                  <a:pt x="1728" y="2460"/>
                </a:lnTo>
                <a:lnTo>
                  <a:pt x="1734" y="2466"/>
                </a:lnTo>
                <a:lnTo>
                  <a:pt x="1728" y="2466"/>
                </a:lnTo>
                <a:lnTo>
                  <a:pt x="1722" y="2466"/>
                </a:lnTo>
                <a:lnTo>
                  <a:pt x="1722" y="2460"/>
                </a:lnTo>
                <a:lnTo>
                  <a:pt x="1716" y="2460"/>
                </a:lnTo>
                <a:lnTo>
                  <a:pt x="1710" y="2460"/>
                </a:lnTo>
                <a:lnTo>
                  <a:pt x="1710" y="2454"/>
                </a:lnTo>
                <a:lnTo>
                  <a:pt x="1704" y="2454"/>
                </a:lnTo>
                <a:lnTo>
                  <a:pt x="1704" y="2448"/>
                </a:lnTo>
                <a:lnTo>
                  <a:pt x="1698" y="2448"/>
                </a:lnTo>
                <a:lnTo>
                  <a:pt x="1692" y="2448"/>
                </a:lnTo>
                <a:lnTo>
                  <a:pt x="1692" y="2442"/>
                </a:lnTo>
                <a:lnTo>
                  <a:pt x="1692" y="2448"/>
                </a:lnTo>
                <a:lnTo>
                  <a:pt x="1692" y="2442"/>
                </a:lnTo>
                <a:lnTo>
                  <a:pt x="1686" y="2442"/>
                </a:lnTo>
                <a:lnTo>
                  <a:pt x="1680" y="2442"/>
                </a:lnTo>
                <a:lnTo>
                  <a:pt x="1680" y="2448"/>
                </a:lnTo>
                <a:lnTo>
                  <a:pt x="1674" y="2442"/>
                </a:lnTo>
                <a:lnTo>
                  <a:pt x="1674" y="2448"/>
                </a:lnTo>
                <a:lnTo>
                  <a:pt x="1674" y="2442"/>
                </a:lnTo>
                <a:lnTo>
                  <a:pt x="1674" y="2448"/>
                </a:lnTo>
                <a:lnTo>
                  <a:pt x="1674" y="2442"/>
                </a:lnTo>
                <a:lnTo>
                  <a:pt x="1668" y="2442"/>
                </a:lnTo>
                <a:lnTo>
                  <a:pt x="1668" y="2448"/>
                </a:lnTo>
                <a:lnTo>
                  <a:pt x="1662" y="2442"/>
                </a:lnTo>
                <a:lnTo>
                  <a:pt x="1662" y="2448"/>
                </a:lnTo>
                <a:lnTo>
                  <a:pt x="1662" y="2442"/>
                </a:lnTo>
                <a:lnTo>
                  <a:pt x="1656" y="2442"/>
                </a:lnTo>
                <a:lnTo>
                  <a:pt x="1656" y="2436"/>
                </a:lnTo>
                <a:lnTo>
                  <a:pt x="1650" y="2442"/>
                </a:lnTo>
                <a:lnTo>
                  <a:pt x="1644" y="2442"/>
                </a:lnTo>
                <a:lnTo>
                  <a:pt x="1638" y="2442"/>
                </a:lnTo>
                <a:lnTo>
                  <a:pt x="1638" y="2448"/>
                </a:lnTo>
                <a:lnTo>
                  <a:pt x="1632" y="2448"/>
                </a:lnTo>
                <a:lnTo>
                  <a:pt x="1626" y="2448"/>
                </a:lnTo>
                <a:lnTo>
                  <a:pt x="1620" y="2448"/>
                </a:lnTo>
                <a:lnTo>
                  <a:pt x="1620" y="2442"/>
                </a:lnTo>
                <a:lnTo>
                  <a:pt x="1614" y="2442"/>
                </a:lnTo>
                <a:lnTo>
                  <a:pt x="1620" y="2442"/>
                </a:lnTo>
                <a:lnTo>
                  <a:pt x="1614" y="2442"/>
                </a:lnTo>
                <a:lnTo>
                  <a:pt x="1608" y="2442"/>
                </a:lnTo>
                <a:lnTo>
                  <a:pt x="1602" y="2442"/>
                </a:lnTo>
                <a:lnTo>
                  <a:pt x="1596" y="2442"/>
                </a:lnTo>
                <a:lnTo>
                  <a:pt x="1596" y="2448"/>
                </a:lnTo>
                <a:lnTo>
                  <a:pt x="1596" y="2442"/>
                </a:lnTo>
                <a:lnTo>
                  <a:pt x="1596" y="2448"/>
                </a:lnTo>
                <a:lnTo>
                  <a:pt x="1590" y="2448"/>
                </a:lnTo>
                <a:lnTo>
                  <a:pt x="1590" y="2442"/>
                </a:lnTo>
                <a:lnTo>
                  <a:pt x="1590" y="2448"/>
                </a:lnTo>
                <a:lnTo>
                  <a:pt x="1584" y="2448"/>
                </a:lnTo>
                <a:lnTo>
                  <a:pt x="1578" y="2448"/>
                </a:lnTo>
                <a:lnTo>
                  <a:pt x="1578" y="2442"/>
                </a:lnTo>
                <a:lnTo>
                  <a:pt x="1578" y="2436"/>
                </a:lnTo>
                <a:lnTo>
                  <a:pt x="1578" y="2430"/>
                </a:lnTo>
                <a:lnTo>
                  <a:pt x="1572" y="2430"/>
                </a:lnTo>
                <a:lnTo>
                  <a:pt x="1572" y="2436"/>
                </a:lnTo>
                <a:lnTo>
                  <a:pt x="1572" y="2430"/>
                </a:lnTo>
                <a:lnTo>
                  <a:pt x="1566" y="2430"/>
                </a:lnTo>
                <a:lnTo>
                  <a:pt x="1566" y="2424"/>
                </a:lnTo>
                <a:lnTo>
                  <a:pt x="1566" y="2430"/>
                </a:lnTo>
                <a:lnTo>
                  <a:pt x="1566" y="2424"/>
                </a:lnTo>
                <a:lnTo>
                  <a:pt x="1560" y="2424"/>
                </a:lnTo>
                <a:lnTo>
                  <a:pt x="1560" y="2418"/>
                </a:lnTo>
                <a:lnTo>
                  <a:pt x="1554" y="2418"/>
                </a:lnTo>
                <a:lnTo>
                  <a:pt x="1554" y="2412"/>
                </a:lnTo>
                <a:lnTo>
                  <a:pt x="1554" y="2418"/>
                </a:lnTo>
                <a:lnTo>
                  <a:pt x="1554" y="2412"/>
                </a:lnTo>
                <a:lnTo>
                  <a:pt x="1548" y="2412"/>
                </a:lnTo>
                <a:lnTo>
                  <a:pt x="1548" y="2406"/>
                </a:lnTo>
                <a:lnTo>
                  <a:pt x="1548" y="2400"/>
                </a:lnTo>
                <a:lnTo>
                  <a:pt x="1548" y="2394"/>
                </a:lnTo>
                <a:lnTo>
                  <a:pt x="1542" y="2394"/>
                </a:lnTo>
                <a:lnTo>
                  <a:pt x="1542" y="2400"/>
                </a:lnTo>
                <a:lnTo>
                  <a:pt x="1542" y="2394"/>
                </a:lnTo>
                <a:lnTo>
                  <a:pt x="1536" y="2394"/>
                </a:lnTo>
                <a:lnTo>
                  <a:pt x="1530" y="2394"/>
                </a:lnTo>
                <a:lnTo>
                  <a:pt x="1524" y="2394"/>
                </a:lnTo>
                <a:lnTo>
                  <a:pt x="1530" y="2394"/>
                </a:lnTo>
                <a:lnTo>
                  <a:pt x="1524" y="2394"/>
                </a:lnTo>
                <a:lnTo>
                  <a:pt x="1518" y="2394"/>
                </a:lnTo>
                <a:lnTo>
                  <a:pt x="1512" y="2394"/>
                </a:lnTo>
                <a:lnTo>
                  <a:pt x="1506" y="2394"/>
                </a:lnTo>
                <a:lnTo>
                  <a:pt x="1506" y="2388"/>
                </a:lnTo>
                <a:lnTo>
                  <a:pt x="1500" y="2388"/>
                </a:lnTo>
                <a:lnTo>
                  <a:pt x="1500" y="2382"/>
                </a:lnTo>
                <a:lnTo>
                  <a:pt x="1500" y="2388"/>
                </a:lnTo>
                <a:lnTo>
                  <a:pt x="1500" y="2382"/>
                </a:lnTo>
                <a:lnTo>
                  <a:pt x="1500" y="2388"/>
                </a:lnTo>
                <a:lnTo>
                  <a:pt x="1494" y="2388"/>
                </a:lnTo>
                <a:lnTo>
                  <a:pt x="1488" y="2388"/>
                </a:lnTo>
                <a:lnTo>
                  <a:pt x="1482" y="2382"/>
                </a:lnTo>
                <a:lnTo>
                  <a:pt x="1482" y="2376"/>
                </a:lnTo>
                <a:lnTo>
                  <a:pt x="1476" y="2376"/>
                </a:lnTo>
                <a:lnTo>
                  <a:pt x="1476" y="2370"/>
                </a:lnTo>
                <a:lnTo>
                  <a:pt x="1476" y="2376"/>
                </a:lnTo>
                <a:lnTo>
                  <a:pt x="1470" y="2376"/>
                </a:lnTo>
                <a:lnTo>
                  <a:pt x="1464" y="2376"/>
                </a:lnTo>
                <a:lnTo>
                  <a:pt x="1464" y="2382"/>
                </a:lnTo>
                <a:lnTo>
                  <a:pt x="1464" y="2376"/>
                </a:lnTo>
                <a:lnTo>
                  <a:pt x="1458" y="2376"/>
                </a:lnTo>
                <a:lnTo>
                  <a:pt x="1458" y="2370"/>
                </a:lnTo>
                <a:lnTo>
                  <a:pt x="1452" y="2370"/>
                </a:lnTo>
                <a:lnTo>
                  <a:pt x="1452" y="2364"/>
                </a:lnTo>
                <a:lnTo>
                  <a:pt x="1446" y="2364"/>
                </a:lnTo>
                <a:lnTo>
                  <a:pt x="1446" y="2358"/>
                </a:lnTo>
                <a:lnTo>
                  <a:pt x="1440" y="2358"/>
                </a:lnTo>
                <a:lnTo>
                  <a:pt x="1434" y="2358"/>
                </a:lnTo>
                <a:lnTo>
                  <a:pt x="1428" y="2358"/>
                </a:lnTo>
                <a:lnTo>
                  <a:pt x="1428" y="2352"/>
                </a:lnTo>
                <a:lnTo>
                  <a:pt x="1428" y="2346"/>
                </a:lnTo>
                <a:lnTo>
                  <a:pt x="1428" y="2340"/>
                </a:lnTo>
                <a:lnTo>
                  <a:pt x="1422" y="2340"/>
                </a:lnTo>
                <a:lnTo>
                  <a:pt x="1422" y="2334"/>
                </a:lnTo>
                <a:lnTo>
                  <a:pt x="1416" y="2334"/>
                </a:lnTo>
                <a:lnTo>
                  <a:pt x="1422" y="2334"/>
                </a:lnTo>
                <a:lnTo>
                  <a:pt x="1416" y="2334"/>
                </a:lnTo>
                <a:lnTo>
                  <a:pt x="1416" y="2328"/>
                </a:lnTo>
                <a:lnTo>
                  <a:pt x="1410" y="2328"/>
                </a:lnTo>
                <a:lnTo>
                  <a:pt x="1416" y="2328"/>
                </a:lnTo>
                <a:lnTo>
                  <a:pt x="1410" y="2328"/>
                </a:lnTo>
                <a:lnTo>
                  <a:pt x="1404" y="2328"/>
                </a:lnTo>
                <a:lnTo>
                  <a:pt x="1404" y="2334"/>
                </a:lnTo>
                <a:lnTo>
                  <a:pt x="1398" y="2334"/>
                </a:lnTo>
                <a:lnTo>
                  <a:pt x="1404" y="2334"/>
                </a:lnTo>
                <a:lnTo>
                  <a:pt x="1398" y="2334"/>
                </a:lnTo>
                <a:lnTo>
                  <a:pt x="1392" y="2334"/>
                </a:lnTo>
                <a:lnTo>
                  <a:pt x="1386" y="2334"/>
                </a:lnTo>
                <a:lnTo>
                  <a:pt x="1380" y="2334"/>
                </a:lnTo>
                <a:lnTo>
                  <a:pt x="1380" y="2328"/>
                </a:lnTo>
                <a:lnTo>
                  <a:pt x="1374" y="2328"/>
                </a:lnTo>
                <a:lnTo>
                  <a:pt x="1374" y="2322"/>
                </a:lnTo>
                <a:lnTo>
                  <a:pt x="1368" y="2322"/>
                </a:lnTo>
                <a:lnTo>
                  <a:pt x="1362" y="2316"/>
                </a:lnTo>
                <a:lnTo>
                  <a:pt x="1362" y="2310"/>
                </a:lnTo>
                <a:lnTo>
                  <a:pt x="1356" y="2310"/>
                </a:lnTo>
                <a:lnTo>
                  <a:pt x="1350" y="2310"/>
                </a:lnTo>
                <a:lnTo>
                  <a:pt x="1344" y="2304"/>
                </a:lnTo>
                <a:lnTo>
                  <a:pt x="1338" y="2304"/>
                </a:lnTo>
                <a:lnTo>
                  <a:pt x="1332" y="2304"/>
                </a:lnTo>
                <a:lnTo>
                  <a:pt x="1326" y="2304"/>
                </a:lnTo>
                <a:lnTo>
                  <a:pt x="1320" y="2304"/>
                </a:lnTo>
                <a:lnTo>
                  <a:pt x="1314" y="2304"/>
                </a:lnTo>
                <a:lnTo>
                  <a:pt x="1314" y="2310"/>
                </a:lnTo>
                <a:lnTo>
                  <a:pt x="1308" y="2316"/>
                </a:lnTo>
                <a:lnTo>
                  <a:pt x="1302" y="2316"/>
                </a:lnTo>
                <a:lnTo>
                  <a:pt x="1302" y="2310"/>
                </a:lnTo>
                <a:lnTo>
                  <a:pt x="1302" y="2316"/>
                </a:lnTo>
                <a:lnTo>
                  <a:pt x="1296" y="2310"/>
                </a:lnTo>
                <a:lnTo>
                  <a:pt x="1296" y="2316"/>
                </a:lnTo>
                <a:lnTo>
                  <a:pt x="1296" y="2310"/>
                </a:lnTo>
                <a:lnTo>
                  <a:pt x="1290" y="2310"/>
                </a:lnTo>
                <a:lnTo>
                  <a:pt x="1284" y="2310"/>
                </a:lnTo>
                <a:lnTo>
                  <a:pt x="1278" y="2316"/>
                </a:lnTo>
                <a:lnTo>
                  <a:pt x="1278" y="2310"/>
                </a:lnTo>
                <a:lnTo>
                  <a:pt x="1278" y="2304"/>
                </a:lnTo>
                <a:lnTo>
                  <a:pt x="1278" y="2310"/>
                </a:lnTo>
                <a:lnTo>
                  <a:pt x="1272" y="2304"/>
                </a:lnTo>
                <a:lnTo>
                  <a:pt x="1266" y="2310"/>
                </a:lnTo>
                <a:lnTo>
                  <a:pt x="1260" y="2310"/>
                </a:lnTo>
                <a:lnTo>
                  <a:pt x="1266" y="2310"/>
                </a:lnTo>
                <a:lnTo>
                  <a:pt x="1260" y="2304"/>
                </a:lnTo>
                <a:lnTo>
                  <a:pt x="1254" y="2304"/>
                </a:lnTo>
                <a:lnTo>
                  <a:pt x="1248" y="2304"/>
                </a:lnTo>
                <a:lnTo>
                  <a:pt x="1242" y="2298"/>
                </a:lnTo>
                <a:lnTo>
                  <a:pt x="1236" y="2298"/>
                </a:lnTo>
                <a:lnTo>
                  <a:pt x="1236" y="2292"/>
                </a:lnTo>
                <a:lnTo>
                  <a:pt x="1236" y="2286"/>
                </a:lnTo>
                <a:lnTo>
                  <a:pt x="1236" y="2280"/>
                </a:lnTo>
                <a:lnTo>
                  <a:pt x="1236" y="2274"/>
                </a:lnTo>
                <a:lnTo>
                  <a:pt x="1230" y="2274"/>
                </a:lnTo>
                <a:lnTo>
                  <a:pt x="1230" y="2280"/>
                </a:lnTo>
                <a:lnTo>
                  <a:pt x="1224" y="2274"/>
                </a:lnTo>
                <a:lnTo>
                  <a:pt x="1218" y="2274"/>
                </a:lnTo>
                <a:lnTo>
                  <a:pt x="1212" y="2274"/>
                </a:lnTo>
                <a:lnTo>
                  <a:pt x="1212" y="2268"/>
                </a:lnTo>
                <a:lnTo>
                  <a:pt x="1206" y="2268"/>
                </a:lnTo>
                <a:lnTo>
                  <a:pt x="1206" y="2262"/>
                </a:lnTo>
                <a:lnTo>
                  <a:pt x="1212" y="2262"/>
                </a:lnTo>
                <a:lnTo>
                  <a:pt x="1212" y="2256"/>
                </a:lnTo>
                <a:lnTo>
                  <a:pt x="1206" y="2256"/>
                </a:lnTo>
                <a:lnTo>
                  <a:pt x="1206" y="2262"/>
                </a:lnTo>
                <a:lnTo>
                  <a:pt x="1206" y="2268"/>
                </a:lnTo>
                <a:lnTo>
                  <a:pt x="1200" y="2268"/>
                </a:lnTo>
                <a:lnTo>
                  <a:pt x="1200" y="2262"/>
                </a:lnTo>
                <a:lnTo>
                  <a:pt x="1200" y="2256"/>
                </a:lnTo>
                <a:lnTo>
                  <a:pt x="1194" y="2256"/>
                </a:lnTo>
                <a:lnTo>
                  <a:pt x="1194" y="2262"/>
                </a:lnTo>
                <a:lnTo>
                  <a:pt x="1194" y="2256"/>
                </a:lnTo>
                <a:lnTo>
                  <a:pt x="1194" y="2250"/>
                </a:lnTo>
                <a:lnTo>
                  <a:pt x="1188" y="2250"/>
                </a:lnTo>
                <a:lnTo>
                  <a:pt x="1182" y="2250"/>
                </a:lnTo>
                <a:lnTo>
                  <a:pt x="1176" y="2244"/>
                </a:lnTo>
                <a:lnTo>
                  <a:pt x="1176" y="2250"/>
                </a:lnTo>
                <a:lnTo>
                  <a:pt x="1170" y="2250"/>
                </a:lnTo>
                <a:lnTo>
                  <a:pt x="1170" y="2244"/>
                </a:lnTo>
                <a:lnTo>
                  <a:pt x="1164" y="2244"/>
                </a:lnTo>
                <a:lnTo>
                  <a:pt x="1170" y="2244"/>
                </a:lnTo>
                <a:lnTo>
                  <a:pt x="1164" y="2244"/>
                </a:lnTo>
                <a:lnTo>
                  <a:pt x="1170" y="2238"/>
                </a:lnTo>
                <a:lnTo>
                  <a:pt x="1170" y="2232"/>
                </a:lnTo>
                <a:lnTo>
                  <a:pt x="1164" y="2232"/>
                </a:lnTo>
                <a:lnTo>
                  <a:pt x="1164" y="2226"/>
                </a:lnTo>
                <a:lnTo>
                  <a:pt x="1164" y="2220"/>
                </a:lnTo>
                <a:lnTo>
                  <a:pt x="1158" y="2214"/>
                </a:lnTo>
                <a:lnTo>
                  <a:pt x="1158" y="2208"/>
                </a:lnTo>
                <a:lnTo>
                  <a:pt x="1152" y="2208"/>
                </a:lnTo>
                <a:lnTo>
                  <a:pt x="1146" y="2208"/>
                </a:lnTo>
                <a:lnTo>
                  <a:pt x="1146" y="2214"/>
                </a:lnTo>
                <a:lnTo>
                  <a:pt x="1140" y="2214"/>
                </a:lnTo>
                <a:lnTo>
                  <a:pt x="1140" y="2208"/>
                </a:lnTo>
                <a:lnTo>
                  <a:pt x="1134" y="2208"/>
                </a:lnTo>
                <a:lnTo>
                  <a:pt x="1140" y="2202"/>
                </a:lnTo>
                <a:lnTo>
                  <a:pt x="1140" y="2196"/>
                </a:lnTo>
                <a:lnTo>
                  <a:pt x="1140" y="2190"/>
                </a:lnTo>
                <a:lnTo>
                  <a:pt x="1146" y="2184"/>
                </a:lnTo>
                <a:lnTo>
                  <a:pt x="1140" y="2184"/>
                </a:lnTo>
                <a:lnTo>
                  <a:pt x="1134" y="2184"/>
                </a:lnTo>
                <a:lnTo>
                  <a:pt x="1128" y="2178"/>
                </a:lnTo>
                <a:lnTo>
                  <a:pt x="1128" y="2172"/>
                </a:lnTo>
                <a:lnTo>
                  <a:pt x="1128" y="2166"/>
                </a:lnTo>
                <a:lnTo>
                  <a:pt x="1128" y="2160"/>
                </a:lnTo>
                <a:lnTo>
                  <a:pt x="1134" y="2160"/>
                </a:lnTo>
                <a:lnTo>
                  <a:pt x="1128" y="2154"/>
                </a:lnTo>
                <a:lnTo>
                  <a:pt x="1122" y="2148"/>
                </a:lnTo>
                <a:lnTo>
                  <a:pt x="1128" y="2142"/>
                </a:lnTo>
                <a:lnTo>
                  <a:pt x="1122" y="2136"/>
                </a:lnTo>
                <a:lnTo>
                  <a:pt x="1128" y="2130"/>
                </a:lnTo>
                <a:lnTo>
                  <a:pt x="1134" y="2130"/>
                </a:lnTo>
                <a:lnTo>
                  <a:pt x="1134" y="2124"/>
                </a:lnTo>
                <a:lnTo>
                  <a:pt x="1134" y="2118"/>
                </a:lnTo>
                <a:lnTo>
                  <a:pt x="1140" y="2118"/>
                </a:lnTo>
                <a:lnTo>
                  <a:pt x="1140" y="2112"/>
                </a:lnTo>
                <a:lnTo>
                  <a:pt x="1134" y="2112"/>
                </a:lnTo>
                <a:lnTo>
                  <a:pt x="1134" y="2106"/>
                </a:lnTo>
                <a:lnTo>
                  <a:pt x="1134" y="2100"/>
                </a:lnTo>
                <a:lnTo>
                  <a:pt x="1128" y="2094"/>
                </a:lnTo>
                <a:lnTo>
                  <a:pt x="1122" y="2088"/>
                </a:lnTo>
                <a:lnTo>
                  <a:pt x="1128" y="2088"/>
                </a:lnTo>
                <a:lnTo>
                  <a:pt x="1128" y="2082"/>
                </a:lnTo>
                <a:lnTo>
                  <a:pt x="1128" y="2076"/>
                </a:lnTo>
                <a:lnTo>
                  <a:pt x="1122" y="2070"/>
                </a:lnTo>
                <a:lnTo>
                  <a:pt x="1116" y="2070"/>
                </a:lnTo>
                <a:lnTo>
                  <a:pt x="1116" y="2064"/>
                </a:lnTo>
                <a:lnTo>
                  <a:pt x="1116" y="2058"/>
                </a:lnTo>
                <a:lnTo>
                  <a:pt x="1116" y="2052"/>
                </a:lnTo>
                <a:lnTo>
                  <a:pt x="1116" y="2046"/>
                </a:lnTo>
                <a:lnTo>
                  <a:pt x="1122" y="2046"/>
                </a:lnTo>
                <a:lnTo>
                  <a:pt x="1122" y="2040"/>
                </a:lnTo>
                <a:lnTo>
                  <a:pt x="1122" y="2034"/>
                </a:lnTo>
                <a:lnTo>
                  <a:pt x="1122" y="2028"/>
                </a:lnTo>
                <a:lnTo>
                  <a:pt x="1128" y="2028"/>
                </a:lnTo>
                <a:lnTo>
                  <a:pt x="1128" y="2022"/>
                </a:lnTo>
                <a:lnTo>
                  <a:pt x="1128" y="2016"/>
                </a:lnTo>
                <a:lnTo>
                  <a:pt x="1134" y="2016"/>
                </a:lnTo>
                <a:lnTo>
                  <a:pt x="1134" y="2010"/>
                </a:lnTo>
                <a:lnTo>
                  <a:pt x="1128" y="2010"/>
                </a:lnTo>
                <a:lnTo>
                  <a:pt x="1134" y="2004"/>
                </a:lnTo>
                <a:lnTo>
                  <a:pt x="1134" y="1998"/>
                </a:lnTo>
                <a:lnTo>
                  <a:pt x="1128" y="1998"/>
                </a:lnTo>
                <a:lnTo>
                  <a:pt x="1128" y="1992"/>
                </a:lnTo>
                <a:lnTo>
                  <a:pt x="1128" y="1986"/>
                </a:lnTo>
                <a:lnTo>
                  <a:pt x="1128" y="1980"/>
                </a:lnTo>
                <a:lnTo>
                  <a:pt x="1128" y="1974"/>
                </a:lnTo>
                <a:lnTo>
                  <a:pt x="1134" y="1968"/>
                </a:lnTo>
                <a:lnTo>
                  <a:pt x="1134" y="1962"/>
                </a:lnTo>
                <a:lnTo>
                  <a:pt x="1128" y="1962"/>
                </a:lnTo>
                <a:lnTo>
                  <a:pt x="1128" y="1956"/>
                </a:lnTo>
                <a:lnTo>
                  <a:pt x="1122" y="1950"/>
                </a:lnTo>
                <a:lnTo>
                  <a:pt x="1122" y="1944"/>
                </a:lnTo>
                <a:lnTo>
                  <a:pt x="1116" y="1944"/>
                </a:lnTo>
                <a:lnTo>
                  <a:pt x="1110" y="1944"/>
                </a:lnTo>
                <a:lnTo>
                  <a:pt x="1116" y="1944"/>
                </a:lnTo>
                <a:lnTo>
                  <a:pt x="1110" y="1944"/>
                </a:lnTo>
                <a:lnTo>
                  <a:pt x="1110" y="1950"/>
                </a:lnTo>
                <a:lnTo>
                  <a:pt x="1104" y="1950"/>
                </a:lnTo>
                <a:lnTo>
                  <a:pt x="1110" y="1950"/>
                </a:lnTo>
                <a:lnTo>
                  <a:pt x="1104" y="1950"/>
                </a:lnTo>
                <a:lnTo>
                  <a:pt x="1104" y="1956"/>
                </a:lnTo>
                <a:lnTo>
                  <a:pt x="1098" y="1962"/>
                </a:lnTo>
                <a:lnTo>
                  <a:pt x="1098" y="1968"/>
                </a:lnTo>
                <a:lnTo>
                  <a:pt x="1098" y="1962"/>
                </a:lnTo>
                <a:lnTo>
                  <a:pt x="1092" y="1968"/>
                </a:lnTo>
                <a:lnTo>
                  <a:pt x="1092" y="1962"/>
                </a:lnTo>
                <a:lnTo>
                  <a:pt x="1086" y="1962"/>
                </a:lnTo>
                <a:lnTo>
                  <a:pt x="1086" y="1956"/>
                </a:lnTo>
                <a:lnTo>
                  <a:pt x="1080" y="1962"/>
                </a:lnTo>
                <a:lnTo>
                  <a:pt x="1080" y="1956"/>
                </a:lnTo>
                <a:lnTo>
                  <a:pt x="1074" y="1956"/>
                </a:lnTo>
                <a:lnTo>
                  <a:pt x="1068" y="1956"/>
                </a:lnTo>
                <a:lnTo>
                  <a:pt x="1068" y="1950"/>
                </a:lnTo>
                <a:lnTo>
                  <a:pt x="1068" y="1956"/>
                </a:lnTo>
                <a:lnTo>
                  <a:pt x="1062" y="1956"/>
                </a:lnTo>
                <a:lnTo>
                  <a:pt x="1068" y="1956"/>
                </a:lnTo>
                <a:lnTo>
                  <a:pt x="1062" y="1956"/>
                </a:lnTo>
                <a:lnTo>
                  <a:pt x="1056" y="1962"/>
                </a:lnTo>
                <a:lnTo>
                  <a:pt x="1056" y="1956"/>
                </a:lnTo>
                <a:lnTo>
                  <a:pt x="1050" y="1956"/>
                </a:lnTo>
                <a:lnTo>
                  <a:pt x="1044" y="1956"/>
                </a:lnTo>
                <a:lnTo>
                  <a:pt x="1044" y="1962"/>
                </a:lnTo>
                <a:lnTo>
                  <a:pt x="1038" y="1962"/>
                </a:lnTo>
                <a:lnTo>
                  <a:pt x="1038" y="1956"/>
                </a:lnTo>
                <a:lnTo>
                  <a:pt x="1032" y="1956"/>
                </a:lnTo>
                <a:lnTo>
                  <a:pt x="1032" y="1962"/>
                </a:lnTo>
                <a:lnTo>
                  <a:pt x="1026" y="1962"/>
                </a:lnTo>
                <a:lnTo>
                  <a:pt x="1026" y="1956"/>
                </a:lnTo>
                <a:lnTo>
                  <a:pt x="1020" y="1956"/>
                </a:lnTo>
                <a:lnTo>
                  <a:pt x="1020" y="1962"/>
                </a:lnTo>
                <a:lnTo>
                  <a:pt x="1014" y="1962"/>
                </a:lnTo>
                <a:lnTo>
                  <a:pt x="1008" y="1962"/>
                </a:lnTo>
                <a:lnTo>
                  <a:pt x="1002" y="1962"/>
                </a:lnTo>
                <a:lnTo>
                  <a:pt x="1002" y="1968"/>
                </a:lnTo>
                <a:lnTo>
                  <a:pt x="1002" y="1962"/>
                </a:lnTo>
                <a:lnTo>
                  <a:pt x="1002" y="1968"/>
                </a:lnTo>
                <a:lnTo>
                  <a:pt x="1002" y="1962"/>
                </a:lnTo>
                <a:lnTo>
                  <a:pt x="996" y="1962"/>
                </a:lnTo>
                <a:lnTo>
                  <a:pt x="996" y="1968"/>
                </a:lnTo>
                <a:lnTo>
                  <a:pt x="990" y="1968"/>
                </a:lnTo>
                <a:lnTo>
                  <a:pt x="984" y="1968"/>
                </a:lnTo>
                <a:lnTo>
                  <a:pt x="984" y="1974"/>
                </a:lnTo>
                <a:lnTo>
                  <a:pt x="984" y="1968"/>
                </a:lnTo>
                <a:lnTo>
                  <a:pt x="978" y="1968"/>
                </a:lnTo>
                <a:lnTo>
                  <a:pt x="984" y="1968"/>
                </a:lnTo>
                <a:lnTo>
                  <a:pt x="978" y="1968"/>
                </a:lnTo>
                <a:lnTo>
                  <a:pt x="972" y="1968"/>
                </a:lnTo>
                <a:lnTo>
                  <a:pt x="972" y="1974"/>
                </a:lnTo>
                <a:lnTo>
                  <a:pt x="972" y="1968"/>
                </a:lnTo>
                <a:lnTo>
                  <a:pt x="972" y="1974"/>
                </a:lnTo>
                <a:lnTo>
                  <a:pt x="966" y="1968"/>
                </a:lnTo>
                <a:lnTo>
                  <a:pt x="966" y="1974"/>
                </a:lnTo>
                <a:lnTo>
                  <a:pt x="960" y="1974"/>
                </a:lnTo>
                <a:lnTo>
                  <a:pt x="960" y="1980"/>
                </a:lnTo>
                <a:lnTo>
                  <a:pt x="954" y="1980"/>
                </a:lnTo>
                <a:lnTo>
                  <a:pt x="948" y="1980"/>
                </a:lnTo>
                <a:lnTo>
                  <a:pt x="948" y="1986"/>
                </a:lnTo>
                <a:lnTo>
                  <a:pt x="948" y="1980"/>
                </a:lnTo>
                <a:lnTo>
                  <a:pt x="948" y="1986"/>
                </a:lnTo>
                <a:lnTo>
                  <a:pt x="942" y="1986"/>
                </a:lnTo>
                <a:lnTo>
                  <a:pt x="936" y="1986"/>
                </a:lnTo>
                <a:lnTo>
                  <a:pt x="936" y="1992"/>
                </a:lnTo>
                <a:lnTo>
                  <a:pt x="930" y="1992"/>
                </a:lnTo>
                <a:lnTo>
                  <a:pt x="930" y="1998"/>
                </a:lnTo>
                <a:lnTo>
                  <a:pt x="924" y="1998"/>
                </a:lnTo>
                <a:lnTo>
                  <a:pt x="930" y="1998"/>
                </a:lnTo>
                <a:lnTo>
                  <a:pt x="924" y="1998"/>
                </a:lnTo>
                <a:lnTo>
                  <a:pt x="924" y="2004"/>
                </a:lnTo>
                <a:lnTo>
                  <a:pt x="918" y="2004"/>
                </a:lnTo>
                <a:lnTo>
                  <a:pt x="924" y="2004"/>
                </a:lnTo>
                <a:lnTo>
                  <a:pt x="918" y="2004"/>
                </a:lnTo>
                <a:lnTo>
                  <a:pt x="918" y="2010"/>
                </a:lnTo>
                <a:lnTo>
                  <a:pt x="912" y="2010"/>
                </a:lnTo>
                <a:lnTo>
                  <a:pt x="912" y="2016"/>
                </a:lnTo>
                <a:lnTo>
                  <a:pt x="906" y="2016"/>
                </a:lnTo>
                <a:lnTo>
                  <a:pt x="906" y="2022"/>
                </a:lnTo>
                <a:lnTo>
                  <a:pt x="900" y="2022"/>
                </a:lnTo>
                <a:lnTo>
                  <a:pt x="894" y="2022"/>
                </a:lnTo>
                <a:lnTo>
                  <a:pt x="894" y="2028"/>
                </a:lnTo>
                <a:lnTo>
                  <a:pt x="888" y="2028"/>
                </a:lnTo>
                <a:lnTo>
                  <a:pt x="882" y="2028"/>
                </a:lnTo>
                <a:lnTo>
                  <a:pt x="876" y="2028"/>
                </a:lnTo>
                <a:lnTo>
                  <a:pt x="870" y="2028"/>
                </a:lnTo>
                <a:lnTo>
                  <a:pt x="870" y="2034"/>
                </a:lnTo>
                <a:lnTo>
                  <a:pt x="864" y="2034"/>
                </a:lnTo>
                <a:lnTo>
                  <a:pt x="864" y="2040"/>
                </a:lnTo>
                <a:lnTo>
                  <a:pt x="864" y="2034"/>
                </a:lnTo>
                <a:lnTo>
                  <a:pt x="858" y="2034"/>
                </a:lnTo>
                <a:lnTo>
                  <a:pt x="858" y="2040"/>
                </a:lnTo>
                <a:lnTo>
                  <a:pt x="852" y="2040"/>
                </a:lnTo>
                <a:lnTo>
                  <a:pt x="852" y="2046"/>
                </a:lnTo>
                <a:lnTo>
                  <a:pt x="846" y="2046"/>
                </a:lnTo>
                <a:lnTo>
                  <a:pt x="840" y="2052"/>
                </a:lnTo>
                <a:lnTo>
                  <a:pt x="834" y="2052"/>
                </a:lnTo>
                <a:lnTo>
                  <a:pt x="834" y="2058"/>
                </a:lnTo>
                <a:lnTo>
                  <a:pt x="828" y="2058"/>
                </a:lnTo>
                <a:lnTo>
                  <a:pt x="828" y="2064"/>
                </a:lnTo>
                <a:lnTo>
                  <a:pt x="822" y="2064"/>
                </a:lnTo>
                <a:lnTo>
                  <a:pt x="816" y="2076"/>
                </a:lnTo>
                <a:lnTo>
                  <a:pt x="810" y="2076"/>
                </a:lnTo>
                <a:lnTo>
                  <a:pt x="804" y="2076"/>
                </a:lnTo>
                <a:lnTo>
                  <a:pt x="804" y="2070"/>
                </a:lnTo>
                <a:lnTo>
                  <a:pt x="798" y="2070"/>
                </a:lnTo>
                <a:lnTo>
                  <a:pt x="792" y="2070"/>
                </a:lnTo>
                <a:lnTo>
                  <a:pt x="786" y="2070"/>
                </a:lnTo>
                <a:lnTo>
                  <a:pt x="780" y="2070"/>
                </a:lnTo>
                <a:lnTo>
                  <a:pt x="774" y="2070"/>
                </a:lnTo>
                <a:lnTo>
                  <a:pt x="774" y="2076"/>
                </a:lnTo>
                <a:lnTo>
                  <a:pt x="768" y="2076"/>
                </a:lnTo>
                <a:lnTo>
                  <a:pt x="768" y="2082"/>
                </a:lnTo>
                <a:lnTo>
                  <a:pt x="768" y="2088"/>
                </a:lnTo>
                <a:lnTo>
                  <a:pt x="762" y="2088"/>
                </a:lnTo>
                <a:lnTo>
                  <a:pt x="762" y="2094"/>
                </a:lnTo>
                <a:lnTo>
                  <a:pt x="756" y="2094"/>
                </a:lnTo>
                <a:lnTo>
                  <a:pt x="756" y="2100"/>
                </a:lnTo>
                <a:lnTo>
                  <a:pt x="756" y="2106"/>
                </a:lnTo>
                <a:lnTo>
                  <a:pt x="750" y="2106"/>
                </a:lnTo>
                <a:lnTo>
                  <a:pt x="750" y="2112"/>
                </a:lnTo>
                <a:lnTo>
                  <a:pt x="744" y="2112"/>
                </a:lnTo>
                <a:lnTo>
                  <a:pt x="738" y="2118"/>
                </a:lnTo>
                <a:lnTo>
                  <a:pt x="732" y="2118"/>
                </a:lnTo>
                <a:lnTo>
                  <a:pt x="732" y="2124"/>
                </a:lnTo>
                <a:lnTo>
                  <a:pt x="726" y="2124"/>
                </a:lnTo>
                <a:lnTo>
                  <a:pt x="726" y="2118"/>
                </a:lnTo>
                <a:lnTo>
                  <a:pt x="720" y="2124"/>
                </a:lnTo>
                <a:lnTo>
                  <a:pt x="714" y="2124"/>
                </a:lnTo>
                <a:lnTo>
                  <a:pt x="714" y="2130"/>
                </a:lnTo>
                <a:lnTo>
                  <a:pt x="708" y="2130"/>
                </a:lnTo>
                <a:lnTo>
                  <a:pt x="702" y="2130"/>
                </a:lnTo>
                <a:lnTo>
                  <a:pt x="684" y="2136"/>
                </a:lnTo>
                <a:lnTo>
                  <a:pt x="690" y="2130"/>
                </a:lnTo>
                <a:lnTo>
                  <a:pt x="684" y="2130"/>
                </a:lnTo>
                <a:lnTo>
                  <a:pt x="684" y="2124"/>
                </a:lnTo>
                <a:lnTo>
                  <a:pt x="678" y="2124"/>
                </a:lnTo>
                <a:lnTo>
                  <a:pt x="684" y="2124"/>
                </a:lnTo>
                <a:lnTo>
                  <a:pt x="678" y="2124"/>
                </a:lnTo>
                <a:lnTo>
                  <a:pt x="684" y="2124"/>
                </a:lnTo>
                <a:lnTo>
                  <a:pt x="684" y="2118"/>
                </a:lnTo>
                <a:lnTo>
                  <a:pt x="678" y="2118"/>
                </a:lnTo>
                <a:lnTo>
                  <a:pt x="684" y="2118"/>
                </a:lnTo>
                <a:lnTo>
                  <a:pt x="678" y="2118"/>
                </a:lnTo>
                <a:lnTo>
                  <a:pt x="678" y="2112"/>
                </a:lnTo>
                <a:lnTo>
                  <a:pt x="678" y="2118"/>
                </a:lnTo>
                <a:lnTo>
                  <a:pt x="672" y="2118"/>
                </a:lnTo>
                <a:lnTo>
                  <a:pt x="678" y="2118"/>
                </a:lnTo>
                <a:lnTo>
                  <a:pt x="672" y="2118"/>
                </a:lnTo>
                <a:lnTo>
                  <a:pt x="666" y="2118"/>
                </a:lnTo>
                <a:lnTo>
                  <a:pt x="660" y="2118"/>
                </a:lnTo>
                <a:lnTo>
                  <a:pt x="654" y="2118"/>
                </a:lnTo>
                <a:lnTo>
                  <a:pt x="654" y="2112"/>
                </a:lnTo>
                <a:lnTo>
                  <a:pt x="654" y="2118"/>
                </a:lnTo>
                <a:lnTo>
                  <a:pt x="654" y="2112"/>
                </a:lnTo>
                <a:lnTo>
                  <a:pt x="654" y="2118"/>
                </a:lnTo>
                <a:lnTo>
                  <a:pt x="648" y="2118"/>
                </a:lnTo>
                <a:lnTo>
                  <a:pt x="648" y="2112"/>
                </a:lnTo>
                <a:lnTo>
                  <a:pt x="642" y="2112"/>
                </a:lnTo>
                <a:lnTo>
                  <a:pt x="636" y="2112"/>
                </a:lnTo>
                <a:lnTo>
                  <a:pt x="630" y="2112"/>
                </a:lnTo>
                <a:lnTo>
                  <a:pt x="624" y="2112"/>
                </a:lnTo>
                <a:lnTo>
                  <a:pt x="618" y="2106"/>
                </a:lnTo>
                <a:lnTo>
                  <a:pt x="618" y="2112"/>
                </a:lnTo>
                <a:lnTo>
                  <a:pt x="618" y="2106"/>
                </a:lnTo>
                <a:lnTo>
                  <a:pt x="612" y="2106"/>
                </a:lnTo>
                <a:lnTo>
                  <a:pt x="612" y="2112"/>
                </a:lnTo>
                <a:lnTo>
                  <a:pt x="612" y="2106"/>
                </a:lnTo>
                <a:lnTo>
                  <a:pt x="612" y="2112"/>
                </a:lnTo>
                <a:lnTo>
                  <a:pt x="606" y="2106"/>
                </a:lnTo>
                <a:lnTo>
                  <a:pt x="606" y="2112"/>
                </a:lnTo>
                <a:lnTo>
                  <a:pt x="606" y="2106"/>
                </a:lnTo>
                <a:lnTo>
                  <a:pt x="606" y="2112"/>
                </a:lnTo>
                <a:lnTo>
                  <a:pt x="606" y="2106"/>
                </a:lnTo>
                <a:lnTo>
                  <a:pt x="600" y="2106"/>
                </a:lnTo>
                <a:lnTo>
                  <a:pt x="600" y="2112"/>
                </a:lnTo>
                <a:lnTo>
                  <a:pt x="600" y="2106"/>
                </a:lnTo>
                <a:lnTo>
                  <a:pt x="594" y="2106"/>
                </a:lnTo>
                <a:lnTo>
                  <a:pt x="588" y="2112"/>
                </a:lnTo>
                <a:lnTo>
                  <a:pt x="588" y="2106"/>
                </a:lnTo>
                <a:lnTo>
                  <a:pt x="588" y="2112"/>
                </a:lnTo>
                <a:lnTo>
                  <a:pt x="588" y="2106"/>
                </a:lnTo>
                <a:lnTo>
                  <a:pt x="588" y="2112"/>
                </a:lnTo>
                <a:lnTo>
                  <a:pt x="582" y="2106"/>
                </a:lnTo>
                <a:lnTo>
                  <a:pt x="582" y="2112"/>
                </a:lnTo>
                <a:lnTo>
                  <a:pt x="576" y="2112"/>
                </a:lnTo>
                <a:lnTo>
                  <a:pt x="576" y="2106"/>
                </a:lnTo>
                <a:lnTo>
                  <a:pt x="576" y="2112"/>
                </a:lnTo>
                <a:lnTo>
                  <a:pt x="570" y="2106"/>
                </a:lnTo>
                <a:lnTo>
                  <a:pt x="570" y="2112"/>
                </a:lnTo>
                <a:lnTo>
                  <a:pt x="564" y="2112"/>
                </a:lnTo>
                <a:lnTo>
                  <a:pt x="558" y="2112"/>
                </a:lnTo>
                <a:lnTo>
                  <a:pt x="552" y="2112"/>
                </a:lnTo>
                <a:lnTo>
                  <a:pt x="552" y="2106"/>
                </a:lnTo>
                <a:lnTo>
                  <a:pt x="546" y="2106"/>
                </a:lnTo>
                <a:lnTo>
                  <a:pt x="540" y="2106"/>
                </a:lnTo>
                <a:lnTo>
                  <a:pt x="534" y="2106"/>
                </a:lnTo>
                <a:lnTo>
                  <a:pt x="528" y="2106"/>
                </a:lnTo>
                <a:lnTo>
                  <a:pt x="522" y="2106"/>
                </a:lnTo>
                <a:lnTo>
                  <a:pt x="522" y="2112"/>
                </a:lnTo>
                <a:lnTo>
                  <a:pt x="522" y="2106"/>
                </a:lnTo>
                <a:lnTo>
                  <a:pt x="522" y="2112"/>
                </a:lnTo>
                <a:lnTo>
                  <a:pt x="516" y="2112"/>
                </a:lnTo>
                <a:lnTo>
                  <a:pt x="510" y="2112"/>
                </a:lnTo>
                <a:lnTo>
                  <a:pt x="510" y="2118"/>
                </a:lnTo>
                <a:lnTo>
                  <a:pt x="510" y="2112"/>
                </a:lnTo>
                <a:lnTo>
                  <a:pt x="504" y="2118"/>
                </a:lnTo>
                <a:lnTo>
                  <a:pt x="498" y="2118"/>
                </a:lnTo>
                <a:lnTo>
                  <a:pt x="498" y="2124"/>
                </a:lnTo>
                <a:lnTo>
                  <a:pt x="492" y="2124"/>
                </a:lnTo>
                <a:lnTo>
                  <a:pt x="486" y="2124"/>
                </a:lnTo>
                <a:lnTo>
                  <a:pt x="480" y="2124"/>
                </a:lnTo>
                <a:lnTo>
                  <a:pt x="474" y="2124"/>
                </a:lnTo>
                <a:lnTo>
                  <a:pt x="468" y="2124"/>
                </a:lnTo>
                <a:lnTo>
                  <a:pt x="462" y="2124"/>
                </a:lnTo>
                <a:lnTo>
                  <a:pt x="462" y="2118"/>
                </a:lnTo>
                <a:lnTo>
                  <a:pt x="456" y="2112"/>
                </a:lnTo>
                <a:lnTo>
                  <a:pt x="450" y="2112"/>
                </a:lnTo>
                <a:lnTo>
                  <a:pt x="450" y="2106"/>
                </a:lnTo>
                <a:lnTo>
                  <a:pt x="438" y="2118"/>
                </a:lnTo>
                <a:lnTo>
                  <a:pt x="438" y="2076"/>
                </a:lnTo>
                <a:lnTo>
                  <a:pt x="438" y="2046"/>
                </a:lnTo>
                <a:lnTo>
                  <a:pt x="438" y="2034"/>
                </a:lnTo>
                <a:lnTo>
                  <a:pt x="438" y="1998"/>
                </a:lnTo>
                <a:lnTo>
                  <a:pt x="438" y="1980"/>
                </a:lnTo>
                <a:lnTo>
                  <a:pt x="438" y="1962"/>
                </a:lnTo>
                <a:lnTo>
                  <a:pt x="444" y="1962"/>
                </a:lnTo>
                <a:lnTo>
                  <a:pt x="444" y="1956"/>
                </a:lnTo>
                <a:lnTo>
                  <a:pt x="450" y="1956"/>
                </a:lnTo>
                <a:lnTo>
                  <a:pt x="450" y="1950"/>
                </a:lnTo>
                <a:lnTo>
                  <a:pt x="450" y="1944"/>
                </a:lnTo>
                <a:lnTo>
                  <a:pt x="444" y="1944"/>
                </a:lnTo>
                <a:lnTo>
                  <a:pt x="444" y="1938"/>
                </a:lnTo>
                <a:lnTo>
                  <a:pt x="444" y="1932"/>
                </a:lnTo>
                <a:lnTo>
                  <a:pt x="444" y="1926"/>
                </a:lnTo>
                <a:lnTo>
                  <a:pt x="444" y="1932"/>
                </a:lnTo>
                <a:lnTo>
                  <a:pt x="444" y="1926"/>
                </a:lnTo>
                <a:lnTo>
                  <a:pt x="444" y="1932"/>
                </a:lnTo>
                <a:lnTo>
                  <a:pt x="450" y="1932"/>
                </a:lnTo>
                <a:lnTo>
                  <a:pt x="444" y="1926"/>
                </a:lnTo>
                <a:lnTo>
                  <a:pt x="450" y="1926"/>
                </a:lnTo>
                <a:lnTo>
                  <a:pt x="450" y="1920"/>
                </a:lnTo>
                <a:lnTo>
                  <a:pt x="456" y="1920"/>
                </a:lnTo>
                <a:lnTo>
                  <a:pt x="450" y="1920"/>
                </a:lnTo>
                <a:lnTo>
                  <a:pt x="450" y="1914"/>
                </a:lnTo>
                <a:lnTo>
                  <a:pt x="456" y="1914"/>
                </a:lnTo>
                <a:lnTo>
                  <a:pt x="456" y="1908"/>
                </a:lnTo>
                <a:lnTo>
                  <a:pt x="450" y="1914"/>
                </a:lnTo>
                <a:lnTo>
                  <a:pt x="444" y="1914"/>
                </a:lnTo>
                <a:lnTo>
                  <a:pt x="438" y="1914"/>
                </a:lnTo>
                <a:lnTo>
                  <a:pt x="438" y="1920"/>
                </a:lnTo>
                <a:lnTo>
                  <a:pt x="438" y="1914"/>
                </a:lnTo>
                <a:lnTo>
                  <a:pt x="438" y="1920"/>
                </a:lnTo>
                <a:lnTo>
                  <a:pt x="432" y="1920"/>
                </a:lnTo>
                <a:lnTo>
                  <a:pt x="432" y="1926"/>
                </a:lnTo>
                <a:lnTo>
                  <a:pt x="426" y="1926"/>
                </a:lnTo>
                <a:lnTo>
                  <a:pt x="426" y="1932"/>
                </a:lnTo>
                <a:lnTo>
                  <a:pt x="426" y="1926"/>
                </a:lnTo>
                <a:lnTo>
                  <a:pt x="420" y="1926"/>
                </a:lnTo>
                <a:lnTo>
                  <a:pt x="420" y="1932"/>
                </a:lnTo>
                <a:lnTo>
                  <a:pt x="420" y="1938"/>
                </a:lnTo>
                <a:lnTo>
                  <a:pt x="414" y="1938"/>
                </a:lnTo>
                <a:lnTo>
                  <a:pt x="420" y="1938"/>
                </a:lnTo>
                <a:lnTo>
                  <a:pt x="414" y="1938"/>
                </a:lnTo>
                <a:lnTo>
                  <a:pt x="408" y="1938"/>
                </a:lnTo>
                <a:lnTo>
                  <a:pt x="408" y="1944"/>
                </a:lnTo>
                <a:lnTo>
                  <a:pt x="408" y="1938"/>
                </a:lnTo>
                <a:lnTo>
                  <a:pt x="408" y="1944"/>
                </a:lnTo>
                <a:lnTo>
                  <a:pt x="402" y="1944"/>
                </a:lnTo>
                <a:lnTo>
                  <a:pt x="402" y="1950"/>
                </a:lnTo>
                <a:lnTo>
                  <a:pt x="396" y="1950"/>
                </a:lnTo>
                <a:lnTo>
                  <a:pt x="396" y="1956"/>
                </a:lnTo>
                <a:lnTo>
                  <a:pt x="396" y="1950"/>
                </a:lnTo>
                <a:lnTo>
                  <a:pt x="396" y="1956"/>
                </a:lnTo>
                <a:lnTo>
                  <a:pt x="390" y="1956"/>
                </a:lnTo>
                <a:lnTo>
                  <a:pt x="390" y="1962"/>
                </a:lnTo>
                <a:lnTo>
                  <a:pt x="384" y="1962"/>
                </a:lnTo>
                <a:lnTo>
                  <a:pt x="378" y="1962"/>
                </a:lnTo>
                <a:lnTo>
                  <a:pt x="378" y="1968"/>
                </a:lnTo>
                <a:lnTo>
                  <a:pt x="372" y="1968"/>
                </a:lnTo>
                <a:lnTo>
                  <a:pt x="366" y="1968"/>
                </a:lnTo>
                <a:lnTo>
                  <a:pt x="366" y="1974"/>
                </a:lnTo>
                <a:lnTo>
                  <a:pt x="366" y="1980"/>
                </a:lnTo>
                <a:lnTo>
                  <a:pt x="360" y="1980"/>
                </a:lnTo>
                <a:lnTo>
                  <a:pt x="354" y="1980"/>
                </a:lnTo>
                <a:lnTo>
                  <a:pt x="354" y="1986"/>
                </a:lnTo>
                <a:lnTo>
                  <a:pt x="348" y="1986"/>
                </a:lnTo>
                <a:lnTo>
                  <a:pt x="348" y="1980"/>
                </a:lnTo>
                <a:lnTo>
                  <a:pt x="342" y="1980"/>
                </a:lnTo>
                <a:lnTo>
                  <a:pt x="342" y="1986"/>
                </a:lnTo>
                <a:lnTo>
                  <a:pt x="306" y="1986"/>
                </a:lnTo>
                <a:lnTo>
                  <a:pt x="234" y="1986"/>
                </a:lnTo>
                <a:lnTo>
                  <a:pt x="234" y="1980"/>
                </a:lnTo>
                <a:lnTo>
                  <a:pt x="234" y="1974"/>
                </a:lnTo>
                <a:lnTo>
                  <a:pt x="240" y="1974"/>
                </a:lnTo>
                <a:lnTo>
                  <a:pt x="240" y="1968"/>
                </a:lnTo>
                <a:lnTo>
                  <a:pt x="234" y="1968"/>
                </a:lnTo>
                <a:lnTo>
                  <a:pt x="234" y="1962"/>
                </a:lnTo>
                <a:lnTo>
                  <a:pt x="240" y="1962"/>
                </a:lnTo>
                <a:lnTo>
                  <a:pt x="234" y="1956"/>
                </a:lnTo>
                <a:lnTo>
                  <a:pt x="228" y="1956"/>
                </a:lnTo>
                <a:lnTo>
                  <a:pt x="222" y="1956"/>
                </a:lnTo>
                <a:lnTo>
                  <a:pt x="222" y="1950"/>
                </a:lnTo>
                <a:lnTo>
                  <a:pt x="228" y="1944"/>
                </a:lnTo>
                <a:lnTo>
                  <a:pt x="228" y="1938"/>
                </a:lnTo>
                <a:lnTo>
                  <a:pt x="222" y="1938"/>
                </a:lnTo>
                <a:lnTo>
                  <a:pt x="222" y="1932"/>
                </a:lnTo>
                <a:lnTo>
                  <a:pt x="222" y="1926"/>
                </a:lnTo>
                <a:lnTo>
                  <a:pt x="216" y="1926"/>
                </a:lnTo>
                <a:lnTo>
                  <a:pt x="210" y="1926"/>
                </a:lnTo>
                <a:lnTo>
                  <a:pt x="210" y="1920"/>
                </a:lnTo>
                <a:lnTo>
                  <a:pt x="204" y="1920"/>
                </a:lnTo>
                <a:lnTo>
                  <a:pt x="198" y="1920"/>
                </a:lnTo>
                <a:lnTo>
                  <a:pt x="192" y="1920"/>
                </a:lnTo>
                <a:lnTo>
                  <a:pt x="186" y="1920"/>
                </a:lnTo>
                <a:lnTo>
                  <a:pt x="186" y="1914"/>
                </a:lnTo>
                <a:lnTo>
                  <a:pt x="186" y="1920"/>
                </a:lnTo>
                <a:lnTo>
                  <a:pt x="186" y="1914"/>
                </a:lnTo>
                <a:lnTo>
                  <a:pt x="180" y="1914"/>
                </a:lnTo>
                <a:lnTo>
                  <a:pt x="180" y="1920"/>
                </a:lnTo>
                <a:lnTo>
                  <a:pt x="180" y="1914"/>
                </a:lnTo>
                <a:lnTo>
                  <a:pt x="174" y="1914"/>
                </a:lnTo>
                <a:lnTo>
                  <a:pt x="168" y="1914"/>
                </a:lnTo>
                <a:lnTo>
                  <a:pt x="162" y="1914"/>
                </a:lnTo>
                <a:lnTo>
                  <a:pt x="162" y="1908"/>
                </a:lnTo>
                <a:lnTo>
                  <a:pt x="150" y="1908"/>
                </a:lnTo>
                <a:lnTo>
                  <a:pt x="102" y="1908"/>
                </a:lnTo>
                <a:lnTo>
                  <a:pt x="102" y="1902"/>
                </a:lnTo>
                <a:lnTo>
                  <a:pt x="108" y="1902"/>
                </a:lnTo>
                <a:lnTo>
                  <a:pt x="108" y="1896"/>
                </a:lnTo>
                <a:lnTo>
                  <a:pt x="114" y="1896"/>
                </a:lnTo>
                <a:lnTo>
                  <a:pt x="114" y="1890"/>
                </a:lnTo>
                <a:lnTo>
                  <a:pt x="120" y="1884"/>
                </a:lnTo>
                <a:lnTo>
                  <a:pt x="126" y="1884"/>
                </a:lnTo>
                <a:lnTo>
                  <a:pt x="132" y="1884"/>
                </a:lnTo>
                <a:lnTo>
                  <a:pt x="132" y="1878"/>
                </a:lnTo>
                <a:lnTo>
                  <a:pt x="126" y="1878"/>
                </a:lnTo>
                <a:lnTo>
                  <a:pt x="132" y="1878"/>
                </a:lnTo>
                <a:lnTo>
                  <a:pt x="132" y="1872"/>
                </a:lnTo>
                <a:lnTo>
                  <a:pt x="138" y="1872"/>
                </a:lnTo>
                <a:lnTo>
                  <a:pt x="138" y="1866"/>
                </a:lnTo>
                <a:lnTo>
                  <a:pt x="138" y="1860"/>
                </a:lnTo>
                <a:lnTo>
                  <a:pt x="132" y="1860"/>
                </a:lnTo>
                <a:lnTo>
                  <a:pt x="132" y="1854"/>
                </a:lnTo>
                <a:lnTo>
                  <a:pt x="138" y="1854"/>
                </a:lnTo>
                <a:lnTo>
                  <a:pt x="132" y="1854"/>
                </a:lnTo>
                <a:lnTo>
                  <a:pt x="132" y="1848"/>
                </a:lnTo>
                <a:lnTo>
                  <a:pt x="126" y="1842"/>
                </a:lnTo>
                <a:lnTo>
                  <a:pt x="120" y="1842"/>
                </a:lnTo>
                <a:lnTo>
                  <a:pt x="120" y="1836"/>
                </a:lnTo>
                <a:lnTo>
                  <a:pt x="120" y="1830"/>
                </a:lnTo>
                <a:lnTo>
                  <a:pt x="114" y="1830"/>
                </a:lnTo>
                <a:lnTo>
                  <a:pt x="114" y="1824"/>
                </a:lnTo>
                <a:lnTo>
                  <a:pt x="114" y="1818"/>
                </a:lnTo>
                <a:lnTo>
                  <a:pt x="108" y="1812"/>
                </a:lnTo>
                <a:lnTo>
                  <a:pt x="108" y="1818"/>
                </a:lnTo>
                <a:lnTo>
                  <a:pt x="108" y="1812"/>
                </a:lnTo>
                <a:lnTo>
                  <a:pt x="102" y="1812"/>
                </a:lnTo>
                <a:lnTo>
                  <a:pt x="96" y="1812"/>
                </a:lnTo>
                <a:lnTo>
                  <a:pt x="96" y="1806"/>
                </a:lnTo>
                <a:lnTo>
                  <a:pt x="90" y="1806"/>
                </a:lnTo>
                <a:lnTo>
                  <a:pt x="90" y="1800"/>
                </a:lnTo>
                <a:lnTo>
                  <a:pt x="90" y="1794"/>
                </a:lnTo>
                <a:lnTo>
                  <a:pt x="90" y="1788"/>
                </a:lnTo>
                <a:lnTo>
                  <a:pt x="84" y="1788"/>
                </a:lnTo>
                <a:lnTo>
                  <a:pt x="78" y="1788"/>
                </a:lnTo>
                <a:lnTo>
                  <a:pt x="78" y="1782"/>
                </a:lnTo>
                <a:lnTo>
                  <a:pt x="72" y="1776"/>
                </a:lnTo>
                <a:lnTo>
                  <a:pt x="66" y="1776"/>
                </a:lnTo>
                <a:lnTo>
                  <a:pt x="60" y="1776"/>
                </a:lnTo>
                <a:lnTo>
                  <a:pt x="60" y="1770"/>
                </a:lnTo>
                <a:lnTo>
                  <a:pt x="60" y="1764"/>
                </a:lnTo>
                <a:lnTo>
                  <a:pt x="60" y="1758"/>
                </a:lnTo>
                <a:lnTo>
                  <a:pt x="54" y="1758"/>
                </a:lnTo>
                <a:lnTo>
                  <a:pt x="54" y="1752"/>
                </a:lnTo>
                <a:lnTo>
                  <a:pt x="54" y="1746"/>
                </a:lnTo>
                <a:lnTo>
                  <a:pt x="54" y="1740"/>
                </a:lnTo>
                <a:lnTo>
                  <a:pt x="48" y="1734"/>
                </a:lnTo>
                <a:lnTo>
                  <a:pt x="48" y="1728"/>
                </a:lnTo>
                <a:lnTo>
                  <a:pt x="42" y="1728"/>
                </a:lnTo>
                <a:lnTo>
                  <a:pt x="36" y="1722"/>
                </a:lnTo>
                <a:lnTo>
                  <a:pt x="30" y="1722"/>
                </a:lnTo>
                <a:lnTo>
                  <a:pt x="30" y="1716"/>
                </a:lnTo>
                <a:lnTo>
                  <a:pt x="30" y="1710"/>
                </a:lnTo>
                <a:lnTo>
                  <a:pt x="30" y="1704"/>
                </a:lnTo>
                <a:lnTo>
                  <a:pt x="30" y="1710"/>
                </a:lnTo>
                <a:lnTo>
                  <a:pt x="36" y="1710"/>
                </a:lnTo>
                <a:lnTo>
                  <a:pt x="36" y="1704"/>
                </a:lnTo>
                <a:lnTo>
                  <a:pt x="42" y="1704"/>
                </a:lnTo>
                <a:lnTo>
                  <a:pt x="42" y="1698"/>
                </a:lnTo>
                <a:lnTo>
                  <a:pt x="36" y="1692"/>
                </a:lnTo>
                <a:lnTo>
                  <a:pt x="30" y="1692"/>
                </a:lnTo>
                <a:lnTo>
                  <a:pt x="24" y="1692"/>
                </a:lnTo>
                <a:lnTo>
                  <a:pt x="24" y="1686"/>
                </a:lnTo>
                <a:lnTo>
                  <a:pt x="18" y="1686"/>
                </a:lnTo>
                <a:lnTo>
                  <a:pt x="12" y="1680"/>
                </a:lnTo>
                <a:lnTo>
                  <a:pt x="12" y="1674"/>
                </a:lnTo>
                <a:lnTo>
                  <a:pt x="6" y="1674"/>
                </a:lnTo>
                <a:lnTo>
                  <a:pt x="0" y="1668"/>
                </a:lnTo>
                <a:lnTo>
                  <a:pt x="0" y="1662"/>
                </a:lnTo>
                <a:lnTo>
                  <a:pt x="6" y="1662"/>
                </a:lnTo>
                <a:lnTo>
                  <a:pt x="6" y="1656"/>
                </a:lnTo>
                <a:lnTo>
                  <a:pt x="6" y="1650"/>
                </a:lnTo>
                <a:lnTo>
                  <a:pt x="0" y="1644"/>
                </a:lnTo>
                <a:lnTo>
                  <a:pt x="6" y="1638"/>
                </a:lnTo>
                <a:lnTo>
                  <a:pt x="6" y="1644"/>
                </a:lnTo>
                <a:lnTo>
                  <a:pt x="12" y="1644"/>
                </a:lnTo>
                <a:lnTo>
                  <a:pt x="18" y="1644"/>
                </a:lnTo>
                <a:lnTo>
                  <a:pt x="18" y="1638"/>
                </a:lnTo>
                <a:lnTo>
                  <a:pt x="24" y="1638"/>
                </a:lnTo>
                <a:lnTo>
                  <a:pt x="30" y="1638"/>
                </a:lnTo>
                <a:lnTo>
                  <a:pt x="36" y="1638"/>
                </a:lnTo>
                <a:lnTo>
                  <a:pt x="36" y="1632"/>
                </a:lnTo>
                <a:lnTo>
                  <a:pt x="36" y="1626"/>
                </a:lnTo>
                <a:lnTo>
                  <a:pt x="30" y="1620"/>
                </a:lnTo>
                <a:lnTo>
                  <a:pt x="30" y="1614"/>
                </a:lnTo>
                <a:lnTo>
                  <a:pt x="24" y="1614"/>
                </a:lnTo>
                <a:lnTo>
                  <a:pt x="24" y="1608"/>
                </a:lnTo>
                <a:close/>
              </a:path>
            </a:pathLst>
          </a:custGeom>
          <a:noFill/>
          <a:ln w="3175" cap="rnd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268" name="Freeform 567"/>
          <p:cNvSpPr>
            <a:spLocks/>
          </p:cNvSpPr>
          <p:nvPr/>
        </p:nvSpPr>
        <p:spPr bwMode="auto">
          <a:xfrm>
            <a:off x="6882663" y="1250797"/>
            <a:ext cx="1946299" cy="2409393"/>
          </a:xfrm>
          <a:custGeom>
            <a:avLst/>
            <a:gdLst>
              <a:gd name="T0" fmla="*/ 180 w 1818"/>
              <a:gd name="T1" fmla="*/ 402 h 2250"/>
              <a:gd name="T2" fmla="*/ 234 w 1818"/>
              <a:gd name="T3" fmla="*/ 300 h 2250"/>
              <a:gd name="T4" fmla="*/ 276 w 1818"/>
              <a:gd name="T5" fmla="*/ 222 h 2250"/>
              <a:gd name="T6" fmla="*/ 324 w 1818"/>
              <a:gd name="T7" fmla="*/ 138 h 2250"/>
              <a:gd name="T8" fmla="*/ 348 w 1818"/>
              <a:gd name="T9" fmla="*/ 12 h 2250"/>
              <a:gd name="T10" fmla="*/ 372 w 1818"/>
              <a:gd name="T11" fmla="*/ 12 h 2250"/>
              <a:gd name="T12" fmla="*/ 378 w 1818"/>
              <a:gd name="T13" fmla="*/ 18 h 2250"/>
              <a:gd name="T14" fmla="*/ 396 w 1818"/>
              <a:gd name="T15" fmla="*/ 36 h 2250"/>
              <a:gd name="T16" fmla="*/ 414 w 1818"/>
              <a:gd name="T17" fmla="*/ 36 h 2250"/>
              <a:gd name="T18" fmla="*/ 438 w 1818"/>
              <a:gd name="T19" fmla="*/ 48 h 2250"/>
              <a:gd name="T20" fmla="*/ 438 w 1818"/>
              <a:gd name="T21" fmla="*/ 54 h 2250"/>
              <a:gd name="T22" fmla="*/ 450 w 1818"/>
              <a:gd name="T23" fmla="*/ 66 h 2250"/>
              <a:gd name="T24" fmla="*/ 480 w 1818"/>
              <a:gd name="T25" fmla="*/ 54 h 2250"/>
              <a:gd name="T26" fmla="*/ 522 w 1818"/>
              <a:gd name="T27" fmla="*/ 72 h 2250"/>
              <a:gd name="T28" fmla="*/ 510 w 1818"/>
              <a:gd name="T29" fmla="*/ 102 h 2250"/>
              <a:gd name="T30" fmla="*/ 552 w 1818"/>
              <a:gd name="T31" fmla="*/ 114 h 2250"/>
              <a:gd name="T32" fmla="*/ 606 w 1818"/>
              <a:gd name="T33" fmla="*/ 180 h 2250"/>
              <a:gd name="T34" fmla="*/ 666 w 1818"/>
              <a:gd name="T35" fmla="*/ 150 h 2250"/>
              <a:gd name="T36" fmla="*/ 816 w 1818"/>
              <a:gd name="T37" fmla="*/ 210 h 2250"/>
              <a:gd name="T38" fmla="*/ 966 w 1818"/>
              <a:gd name="T39" fmla="*/ 240 h 2250"/>
              <a:gd name="T40" fmla="*/ 1134 w 1818"/>
              <a:gd name="T41" fmla="*/ 228 h 2250"/>
              <a:gd name="T42" fmla="*/ 1254 w 1818"/>
              <a:gd name="T43" fmla="*/ 300 h 2250"/>
              <a:gd name="T44" fmla="*/ 1374 w 1818"/>
              <a:gd name="T45" fmla="*/ 384 h 2250"/>
              <a:gd name="T46" fmla="*/ 1494 w 1818"/>
              <a:gd name="T47" fmla="*/ 480 h 2250"/>
              <a:gd name="T48" fmla="*/ 1662 w 1818"/>
              <a:gd name="T49" fmla="*/ 516 h 2250"/>
              <a:gd name="T50" fmla="*/ 1770 w 1818"/>
              <a:gd name="T51" fmla="*/ 630 h 2250"/>
              <a:gd name="T52" fmla="*/ 1812 w 1818"/>
              <a:gd name="T53" fmla="*/ 780 h 2250"/>
              <a:gd name="T54" fmla="*/ 1800 w 1818"/>
              <a:gd name="T55" fmla="*/ 942 h 2250"/>
              <a:gd name="T56" fmla="*/ 1728 w 1818"/>
              <a:gd name="T57" fmla="*/ 1080 h 2250"/>
              <a:gd name="T58" fmla="*/ 1620 w 1818"/>
              <a:gd name="T59" fmla="*/ 1212 h 2250"/>
              <a:gd name="T60" fmla="*/ 1440 w 1818"/>
              <a:gd name="T61" fmla="*/ 1434 h 2250"/>
              <a:gd name="T62" fmla="*/ 1320 w 1818"/>
              <a:gd name="T63" fmla="*/ 1554 h 2250"/>
              <a:gd name="T64" fmla="*/ 1278 w 1818"/>
              <a:gd name="T65" fmla="*/ 1644 h 2250"/>
              <a:gd name="T66" fmla="*/ 1266 w 1818"/>
              <a:gd name="T67" fmla="*/ 1830 h 2250"/>
              <a:gd name="T68" fmla="*/ 1260 w 1818"/>
              <a:gd name="T69" fmla="*/ 1998 h 2250"/>
              <a:gd name="T70" fmla="*/ 1248 w 1818"/>
              <a:gd name="T71" fmla="*/ 2166 h 2250"/>
              <a:gd name="T72" fmla="*/ 1110 w 1818"/>
              <a:gd name="T73" fmla="*/ 2184 h 2250"/>
              <a:gd name="T74" fmla="*/ 1062 w 1818"/>
              <a:gd name="T75" fmla="*/ 2082 h 2250"/>
              <a:gd name="T76" fmla="*/ 1122 w 1818"/>
              <a:gd name="T77" fmla="*/ 2004 h 2250"/>
              <a:gd name="T78" fmla="*/ 1116 w 1818"/>
              <a:gd name="T79" fmla="*/ 1926 h 2250"/>
              <a:gd name="T80" fmla="*/ 990 w 1818"/>
              <a:gd name="T81" fmla="*/ 1914 h 2250"/>
              <a:gd name="T82" fmla="*/ 822 w 1818"/>
              <a:gd name="T83" fmla="*/ 1818 h 2250"/>
              <a:gd name="T84" fmla="*/ 696 w 1818"/>
              <a:gd name="T85" fmla="*/ 1776 h 2250"/>
              <a:gd name="T86" fmla="*/ 642 w 1818"/>
              <a:gd name="T87" fmla="*/ 1734 h 2250"/>
              <a:gd name="T88" fmla="*/ 534 w 1818"/>
              <a:gd name="T89" fmla="*/ 1734 h 2250"/>
              <a:gd name="T90" fmla="*/ 444 w 1818"/>
              <a:gd name="T91" fmla="*/ 1800 h 2250"/>
              <a:gd name="T92" fmla="*/ 348 w 1818"/>
              <a:gd name="T93" fmla="*/ 1836 h 2250"/>
              <a:gd name="T94" fmla="*/ 366 w 1818"/>
              <a:gd name="T95" fmla="*/ 1740 h 2250"/>
              <a:gd name="T96" fmla="*/ 330 w 1818"/>
              <a:gd name="T97" fmla="*/ 1632 h 2250"/>
              <a:gd name="T98" fmla="*/ 318 w 1818"/>
              <a:gd name="T99" fmla="*/ 1560 h 2250"/>
              <a:gd name="T100" fmla="*/ 336 w 1818"/>
              <a:gd name="T101" fmla="*/ 1488 h 2250"/>
              <a:gd name="T102" fmla="*/ 306 w 1818"/>
              <a:gd name="T103" fmla="*/ 1404 h 2250"/>
              <a:gd name="T104" fmla="*/ 276 w 1818"/>
              <a:gd name="T105" fmla="*/ 1338 h 2250"/>
              <a:gd name="T106" fmla="*/ 366 w 1818"/>
              <a:gd name="T107" fmla="*/ 1230 h 2250"/>
              <a:gd name="T108" fmla="*/ 318 w 1818"/>
              <a:gd name="T109" fmla="*/ 1188 h 2250"/>
              <a:gd name="T110" fmla="*/ 258 w 1818"/>
              <a:gd name="T111" fmla="*/ 1080 h 2250"/>
              <a:gd name="T112" fmla="*/ 234 w 1818"/>
              <a:gd name="T113" fmla="*/ 1020 h 2250"/>
              <a:gd name="T114" fmla="*/ 288 w 1818"/>
              <a:gd name="T115" fmla="*/ 930 h 2250"/>
              <a:gd name="T116" fmla="*/ 216 w 1818"/>
              <a:gd name="T117" fmla="*/ 906 h 2250"/>
              <a:gd name="T118" fmla="*/ 162 w 1818"/>
              <a:gd name="T119" fmla="*/ 840 h 2250"/>
              <a:gd name="T120" fmla="*/ 168 w 1818"/>
              <a:gd name="T121" fmla="*/ 714 h 2250"/>
              <a:gd name="T122" fmla="*/ 126 w 1818"/>
              <a:gd name="T123" fmla="*/ 564 h 2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818" h="2250">
                <a:moveTo>
                  <a:pt x="0" y="558"/>
                </a:moveTo>
                <a:lnTo>
                  <a:pt x="24" y="540"/>
                </a:lnTo>
                <a:lnTo>
                  <a:pt x="36" y="528"/>
                </a:lnTo>
                <a:lnTo>
                  <a:pt x="42" y="528"/>
                </a:lnTo>
                <a:lnTo>
                  <a:pt x="42" y="522"/>
                </a:lnTo>
                <a:lnTo>
                  <a:pt x="48" y="522"/>
                </a:lnTo>
                <a:lnTo>
                  <a:pt x="72" y="504"/>
                </a:lnTo>
                <a:lnTo>
                  <a:pt x="84" y="492"/>
                </a:lnTo>
                <a:lnTo>
                  <a:pt x="90" y="486"/>
                </a:lnTo>
                <a:lnTo>
                  <a:pt x="96" y="486"/>
                </a:lnTo>
                <a:lnTo>
                  <a:pt x="102" y="474"/>
                </a:lnTo>
                <a:lnTo>
                  <a:pt x="120" y="462"/>
                </a:lnTo>
                <a:lnTo>
                  <a:pt x="126" y="456"/>
                </a:lnTo>
                <a:lnTo>
                  <a:pt x="126" y="462"/>
                </a:lnTo>
                <a:lnTo>
                  <a:pt x="132" y="462"/>
                </a:lnTo>
                <a:lnTo>
                  <a:pt x="138" y="462"/>
                </a:lnTo>
                <a:lnTo>
                  <a:pt x="144" y="462"/>
                </a:lnTo>
                <a:lnTo>
                  <a:pt x="144" y="456"/>
                </a:lnTo>
                <a:lnTo>
                  <a:pt x="150" y="456"/>
                </a:lnTo>
                <a:lnTo>
                  <a:pt x="150" y="450"/>
                </a:lnTo>
                <a:lnTo>
                  <a:pt x="156" y="444"/>
                </a:lnTo>
                <a:lnTo>
                  <a:pt x="156" y="438"/>
                </a:lnTo>
                <a:lnTo>
                  <a:pt x="162" y="438"/>
                </a:lnTo>
                <a:lnTo>
                  <a:pt x="162" y="432"/>
                </a:lnTo>
                <a:lnTo>
                  <a:pt x="162" y="426"/>
                </a:lnTo>
                <a:lnTo>
                  <a:pt x="168" y="426"/>
                </a:lnTo>
                <a:lnTo>
                  <a:pt x="168" y="420"/>
                </a:lnTo>
                <a:lnTo>
                  <a:pt x="174" y="420"/>
                </a:lnTo>
                <a:lnTo>
                  <a:pt x="174" y="414"/>
                </a:lnTo>
                <a:lnTo>
                  <a:pt x="180" y="414"/>
                </a:lnTo>
                <a:lnTo>
                  <a:pt x="180" y="408"/>
                </a:lnTo>
                <a:lnTo>
                  <a:pt x="180" y="402"/>
                </a:lnTo>
                <a:lnTo>
                  <a:pt x="180" y="396"/>
                </a:lnTo>
                <a:lnTo>
                  <a:pt x="186" y="396"/>
                </a:lnTo>
                <a:lnTo>
                  <a:pt x="186" y="390"/>
                </a:lnTo>
                <a:lnTo>
                  <a:pt x="192" y="390"/>
                </a:lnTo>
                <a:lnTo>
                  <a:pt x="192" y="384"/>
                </a:lnTo>
                <a:lnTo>
                  <a:pt x="198" y="384"/>
                </a:lnTo>
                <a:lnTo>
                  <a:pt x="198" y="378"/>
                </a:lnTo>
                <a:lnTo>
                  <a:pt x="204" y="378"/>
                </a:lnTo>
                <a:lnTo>
                  <a:pt x="204" y="372"/>
                </a:lnTo>
                <a:lnTo>
                  <a:pt x="210" y="372"/>
                </a:lnTo>
                <a:lnTo>
                  <a:pt x="210" y="366"/>
                </a:lnTo>
                <a:lnTo>
                  <a:pt x="216" y="366"/>
                </a:lnTo>
                <a:lnTo>
                  <a:pt x="216" y="360"/>
                </a:lnTo>
                <a:lnTo>
                  <a:pt x="216" y="354"/>
                </a:lnTo>
                <a:lnTo>
                  <a:pt x="222" y="354"/>
                </a:lnTo>
                <a:lnTo>
                  <a:pt x="216" y="354"/>
                </a:lnTo>
                <a:lnTo>
                  <a:pt x="222" y="348"/>
                </a:lnTo>
                <a:lnTo>
                  <a:pt x="216" y="348"/>
                </a:lnTo>
                <a:lnTo>
                  <a:pt x="222" y="348"/>
                </a:lnTo>
                <a:lnTo>
                  <a:pt x="222" y="342"/>
                </a:lnTo>
                <a:lnTo>
                  <a:pt x="222" y="336"/>
                </a:lnTo>
                <a:lnTo>
                  <a:pt x="222" y="342"/>
                </a:lnTo>
                <a:lnTo>
                  <a:pt x="222" y="336"/>
                </a:lnTo>
                <a:lnTo>
                  <a:pt x="222" y="330"/>
                </a:lnTo>
                <a:lnTo>
                  <a:pt x="222" y="324"/>
                </a:lnTo>
                <a:lnTo>
                  <a:pt x="228" y="324"/>
                </a:lnTo>
                <a:lnTo>
                  <a:pt x="228" y="318"/>
                </a:lnTo>
                <a:lnTo>
                  <a:pt x="234" y="318"/>
                </a:lnTo>
                <a:lnTo>
                  <a:pt x="228" y="312"/>
                </a:lnTo>
                <a:lnTo>
                  <a:pt x="234" y="312"/>
                </a:lnTo>
                <a:lnTo>
                  <a:pt x="234" y="306"/>
                </a:lnTo>
                <a:lnTo>
                  <a:pt x="234" y="300"/>
                </a:lnTo>
                <a:lnTo>
                  <a:pt x="240" y="300"/>
                </a:lnTo>
                <a:lnTo>
                  <a:pt x="234" y="300"/>
                </a:lnTo>
                <a:lnTo>
                  <a:pt x="240" y="300"/>
                </a:lnTo>
                <a:lnTo>
                  <a:pt x="240" y="294"/>
                </a:lnTo>
                <a:lnTo>
                  <a:pt x="240" y="300"/>
                </a:lnTo>
                <a:lnTo>
                  <a:pt x="246" y="294"/>
                </a:lnTo>
                <a:lnTo>
                  <a:pt x="252" y="294"/>
                </a:lnTo>
                <a:lnTo>
                  <a:pt x="252" y="288"/>
                </a:lnTo>
                <a:lnTo>
                  <a:pt x="252" y="282"/>
                </a:lnTo>
                <a:lnTo>
                  <a:pt x="258" y="282"/>
                </a:lnTo>
                <a:lnTo>
                  <a:pt x="258" y="276"/>
                </a:lnTo>
                <a:lnTo>
                  <a:pt x="264" y="276"/>
                </a:lnTo>
                <a:lnTo>
                  <a:pt x="264" y="270"/>
                </a:lnTo>
                <a:lnTo>
                  <a:pt x="258" y="270"/>
                </a:lnTo>
                <a:lnTo>
                  <a:pt x="264" y="270"/>
                </a:lnTo>
                <a:lnTo>
                  <a:pt x="264" y="264"/>
                </a:lnTo>
                <a:lnTo>
                  <a:pt x="264" y="270"/>
                </a:lnTo>
                <a:lnTo>
                  <a:pt x="264" y="264"/>
                </a:lnTo>
                <a:lnTo>
                  <a:pt x="270" y="264"/>
                </a:lnTo>
                <a:lnTo>
                  <a:pt x="270" y="258"/>
                </a:lnTo>
                <a:lnTo>
                  <a:pt x="270" y="252"/>
                </a:lnTo>
                <a:lnTo>
                  <a:pt x="270" y="246"/>
                </a:lnTo>
                <a:lnTo>
                  <a:pt x="270" y="240"/>
                </a:lnTo>
                <a:lnTo>
                  <a:pt x="270" y="234"/>
                </a:lnTo>
                <a:lnTo>
                  <a:pt x="270" y="240"/>
                </a:lnTo>
                <a:lnTo>
                  <a:pt x="276" y="234"/>
                </a:lnTo>
                <a:lnTo>
                  <a:pt x="276" y="228"/>
                </a:lnTo>
                <a:lnTo>
                  <a:pt x="282" y="234"/>
                </a:lnTo>
                <a:lnTo>
                  <a:pt x="282" y="228"/>
                </a:lnTo>
                <a:lnTo>
                  <a:pt x="276" y="228"/>
                </a:lnTo>
                <a:lnTo>
                  <a:pt x="282" y="228"/>
                </a:lnTo>
                <a:lnTo>
                  <a:pt x="276" y="222"/>
                </a:lnTo>
                <a:lnTo>
                  <a:pt x="276" y="228"/>
                </a:lnTo>
                <a:lnTo>
                  <a:pt x="276" y="222"/>
                </a:lnTo>
                <a:lnTo>
                  <a:pt x="270" y="222"/>
                </a:lnTo>
                <a:lnTo>
                  <a:pt x="270" y="216"/>
                </a:lnTo>
                <a:lnTo>
                  <a:pt x="270" y="210"/>
                </a:lnTo>
                <a:lnTo>
                  <a:pt x="276" y="210"/>
                </a:lnTo>
                <a:lnTo>
                  <a:pt x="276" y="204"/>
                </a:lnTo>
                <a:lnTo>
                  <a:pt x="282" y="210"/>
                </a:lnTo>
                <a:lnTo>
                  <a:pt x="282" y="204"/>
                </a:lnTo>
                <a:lnTo>
                  <a:pt x="288" y="204"/>
                </a:lnTo>
                <a:lnTo>
                  <a:pt x="294" y="204"/>
                </a:lnTo>
                <a:lnTo>
                  <a:pt x="288" y="198"/>
                </a:lnTo>
                <a:lnTo>
                  <a:pt x="294" y="198"/>
                </a:lnTo>
                <a:lnTo>
                  <a:pt x="294" y="192"/>
                </a:lnTo>
                <a:lnTo>
                  <a:pt x="300" y="192"/>
                </a:lnTo>
                <a:lnTo>
                  <a:pt x="300" y="186"/>
                </a:lnTo>
                <a:lnTo>
                  <a:pt x="300" y="180"/>
                </a:lnTo>
                <a:lnTo>
                  <a:pt x="300" y="174"/>
                </a:lnTo>
                <a:lnTo>
                  <a:pt x="306" y="168"/>
                </a:lnTo>
                <a:lnTo>
                  <a:pt x="300" y="168"/>
                </a:lnTo>
                <a:lnTo>
                  <a:pt x="300" y="174"/>
                </a:lnTo>
                <a:lnTo>
                  <a:pt x="294" y="168"/>
                </a:lnTo>
                <a:lnTo>
                  <a:pt x="300" y="168"/>
                </a:lnTo>
                <a:lnTo>
                  <a:pt x="300" y="162"/>
                </a:lnTo>
                <a:lnTo>
                  <a:pt x="300" y="156"/>
                </a:lnTo>
                <a:lnTo>
                  <a:pt x="306" y="150"/>
                </a:lnTo>
                <a:lnTo>
                  <a:pt x="306" y="156"/>
                </a:lnTo>
                <a:lnTo>
                  <a:pt x="312" y="150"/>
                </a:lnTo>
                <a:lnTo>
                  <a:pt x="312" y="144"/>
                </a:lnTo>
                <a:lnTo>
                  <a:pt x="318" y="144"/>
                </a:lnTo>
                <a:lnTo>
                  <a:pt x="318" y="138"/>
                </a:lnTo>
                <a:lnTo>
                  <a:pt x="324" y="138"/>
                </a:lnTo>
                <a:lnTo>
                  <a:pt x="324" y="132"/>
                </a:lnTo>
                <a:lnTo>
                  <a:pt x="324" y="126"/>
                </a:lnTo>
                <a:lnTo>
                  <a:pt x="324" y="120"/>
                </a:lnTo>
                <a:lnTo>
                  <a:pt x="330" y="108"/>
                </a:lnTo>
                <a:lnTo>
                  <a:pt x="324" y="108"/>
                </a:lnTo>
                <a:lnTo>
                  <a:pt x="330" y="102"/>
                </a:lnTo>
                <a:lnTo>
                  <a:pt x="330" y="96"/>
                </a:lnTo>
                <a:lnTo>
                  <a:pt x="324" y="96"/>
                </a:lnTo>
                <a:lnTo>
                  <a:pt x="318" y="96"/>
                </a:lnTo>
                <a:lnTo>
                  <a:pt x="312" y="90"/>
                </a:lnTo>
                <a:lnTo>
                  <a:pt x="318" y="90"/>
                </a:lnTo>
                <a:lnTo>
                  <a:pt x="318" y="84"/>
                </a:lnTo>
                <a:lnTo>
                  <a:pt x="324" y="84"/>
                </a:lnTo>
                <a:lnTo>
                  <a:pt x="330" y="84"/>
                </a:lnTo>
                <a:lnTo>
                  <a:pt x="336" y="84"/>
                </a:lnTo>
                <a:lnTo>
                  <a:pt x="336" y="78"/>
                </a:lnTo>
                <a:lnTo>
                  <a:pt x="336" y="72"/>
                </a:lnTo>
                <a:lnTo>
                  <a:pt x="336" y="66"/>
                </a:lnTo>
                <a:lnTo>
                  <a:pt x="342" y="66"/>
                </a:lnTo>
                <a:lnTo>
                  <a:pt x="336" y="60"/>
                </a:lnTo>
                <a:lnTo>
                  <a:pt x="336" y="54"/>
                </a:lnTo>
                <a:lnTo>
                  <a:pt x="336" y="48"/>
                </a:lnTo>
                <a:lnTo>
                  <a:pt x="342" y="48"/>
                </a:lnTo>
                <a:lnTo>
                  <a:pt x="336" y="48"/>
                </a:lnTo>
                <a:lnTo>
                  <a:pt x="342" y="42"/>
                </a:lnTo>
                <a:lnTo>
                  <a:pt x="342" y="36"/>
                </a:lnTo>
                <a:lnTo>
                  <a:pt x="342" y="30"/>
                </a:lnTo>
                <a:lnTo>
                  <a:pt x="336" y="30"/>
                </a:lnTo>
                <a:lnTo>
                  <a:pt x="336" y="24"/>
                </a:lnTo>
                <a:lnTo>
                  <a:pt x="342" y="18"/>
                </a:lnTo>
                <a:lnTo>
                  <a:pt x="348" y="18"/>
                </a:lnTo>
                <a:lnTo>
                  <a:pt x="348" y="12"/>
                </a:lnTo>
                <a:lnTo>
                  <a:pt x="348" y="6"/>
                </a:lnTo>
                <a:lnTo>
                  <a:pt x="348" y="12"/>
                </a:lnTo>
                <a:lnTo>
                  <a:pt x="354" y="12"/>
                </a:lnTo>
                <a:lnTo>
                  <a:pt x="354" y="6"/>
                </a:lnTo>
                <a:lnTo>
                  <a:pt x="354" y="0"/>
                </a:lnTo>
                <a:lnTo>
                  <a:pt x="354" y="6"/>
                </a:lnTo>
                <a:lnTo>
                  <a:pt x="354" y="0"/>
                </a:lnTo>
                <a:lnTo>
                  <a:pt x="360" y="6"/>
                </a:lnTo>
                <a:lnTo>
                  <a:pt x="360" y="0"/>
                </a:lnTo>
                <a:lnTo>
                  <a:pt x="360" y="6"/>
                </a:lnTo>
                <a:lnTo>
                  <a:pt x="360" y="0"/>
                </a:lnTo>
                <a:lnTo>
                  <a:pt x="360" y="6"/>
                </a:lnTo>
                <a:lnTo>
                  <a:pt x="366" y="6"/>
                </a:lnTo>
                <a:lnTo>
                  <a:pt x="360" y="6"/>
                </a:lnTo>
                <a:lnTo>
                  <a:pt x="360" y="12"/>
                </a:lnTo>
                <a:lnTo>
                  <a:pt x="366" y="12"/>
                </a:lnTo>
                <a:lnTo>
                  <a:pt x="366" y="18"/>
                </a:lnTo>
                <a:lnTo>
                  <a:pt x="366" y="24"/>
                </a:lnTo>
                <a:lnTo>
                  <a:pt x="360" y="24"/>
                </a:lnTo>
                <a:lnTo>
                  <a:pt x="366" y="24"/>
                </a:lnTo>
                <a:lnTo>
                  <a:pt x="366" y="18"/>
                </a:lnTo>
                <a:lnTo>
                  <a:pt x="366" y="12"/>
                </a:lnTo>
                <a:lnTo>
                  <a:pt x="372" y="12"/>
                </a:lnTo>
                <a:lnTo>
                  <a:pt x="372" y="6"/>
                </a:lnTo>
                <a:lnTo>
                  <a:pt x="372" y="0"/>
                </a:lnTo>
                <a:lnTo>
                  <a:pt x="378" y="0"/>
                </a:lnTo>
                <a:lnTo>
                  <a:pt x="372" y="0"/>
                </a:lnTo>
                <a:lnTo>
                  <a:pt x="378" y="0"/>
                </a:lnTo>
                <a:lnTo>
                  <a:pt x="378" y="6"/>
                </a:lnTo>
                <a:lnTo>
                  <a:pt x="372" y="12"/>
                </a:lnTo>
                <a:lnTo>
                  <a:pt x="366" y="18"/>
                </a:lnTo>
                <a:lnTo>
                  <a:pt x="372" y="12"/>
                </a:lnTo>
                <a:lnTo>
                  <a:pt x="372" y="18"/>
                </a:lnTo>
                <a:lnTo>
                  <a:pt x="366" y="18"/>
                </a:lnTo>
                <a:lnTo>
                  <a:pt x="372" y="18"/>
                </a:lnTo>
                <a:lnTo>
                  <a:pt x="372" y="12"/>
                </a:lnTo>
                <a:lnTo>
                  <a:pt x="378" y="12"/>
                </a:lnTo>
                <a:lnTo>
                  <a:pt x="372" y="12"/>
                </a:lnTo>
                <a:lnTo>
                  <a:pt x="372" y="18"/>
                </a:lnTo>
                <a:lnTo>
                  <a:pt x="372" y="12"/>
                </a:lnTo>
                <a:lnTo>
                  <a:pt x="378" y="12"/>
                </a:lnTo>
                <a:lnTo>
                  <a:pt x="372" y="18"/>
                </a:lnTo>
                <a:lnTo>
                  <a:pt x="378" y="18"/>
                </a:lnTo>
                <a:lnTo>
                  <a:pt x="372" y="18"/>
                </a:lnTo>
                <a:lnTo>
                  <a:pt x="372" y="24"/>
                </a:lnTo>
                <a:lnTo>
                  <a:pt x="372" y="18"/>
                </a:lnTo>
                <a:lnTo>
                  <a:pt x="372" y="24"/>
                </a:lnTo>
                <a:lnTo>
                  <a:pt x="366" y="24"/>
                </a:lnTo>
                <a:lnTo>
                  <a:pt x="372" y="24"/>
                </a:lnTo>
                <a:lnTo>
                  <a:pt x="372" y="18"/>
                </a:lnTo>
                <a:lnTo>
                  <a:pt x="378" y="18"/>
                </a:lnTo>
                <a:lnTo>
                  <a:pt x="372" y="24"/>
                </a:lnTo>
                <a:lnTo>
                  <a:pt x="378" y="18"/>
                </a:lnTo>
                <a:lnTo>
                  <a:pt x="378" y="24"/>
                </a:lnTo>
                <a:lnTo>
                  <a:pt x="372" y="24"/>
                </a:lnTo>
                <a:lnTo>
                  <a:pt x="378" y="24"/>
                </a:lnTo>
                <a:lnTo>
                  <a:pt x="372" y="30"/>
                </a:lnTo>
                <a:lnTo>
                  <a:pt x="378" y="30"/>
                </a:lnTo>
                <a:lnTo>
                  <a:pt x="378" y="24"/>
                </a:lnTo>
                <a:lnTo>
                  <a:pt x="378" y="18"/>
                </a:lnTo>
                <a:lnTo>
                  <a:pt x="384" y="18"/>
                </a:lnTo>
                <a:lnTo>
                  <a:pt x="378" y="24"/>
                </a:lnTo>
                <a:lnTo>
                  <a:pt x="384" y="18"/>
                </a:lnTo>
                <a:lnTo>
                  <a:pt x="378" y="18"/>
                </a:lnTo>
                <a:lnTo>
                  <a:pt x="384" y="12"/>
                </a:lnTo>
                <a:lnTo>
                  <a:pt x="384" y="18"/>
                </a:lnTo>
                <a:lnTo>
                  <a:pt x="378" y="24"/>
                </a:lnTo>
                <a:lnTo>
                  <a:pt x="378" y="30"/>
                </a:lnTo>
                <a:lnTo>
                  <a:pt x="384" y="36"/>
                </a:lnTo>
                <a:lnTo>
                  <a:pt x="384" y="30"/>
                </a:lnTo>
                <a:lnTo>
                  <a:pt x="384" y="36"/>
                </a:lnTo>
                <a:lnTo>
                  <a:pt x="384" y="30"/>
                </a:lnTo>
                <a:lnTo>
                  <a:pt x="378" y="30"/>
                </a:lnTo>
                <a:lnTo>
                  <a:pt x="384" y="24"/>
                </a:lnTo>
                <a:lnTo>
                  <a:pt x="384" y="30"/>
                </a:lnTo>
                <a:lnTo>
                  <a:pt x="384" y="24"/>
                </a:lnTo>
                <a:lnTo>
                  <a:pt x="384" y="30"/>
                </a:lnTo>
                <a:lnTo>
                  <a:pt x="384" y="24"/>
                </a:lnTo>
                <a:lnTo>
                  <a:pt x="390" y="18"/>
                </a:lnTo>
                <a:lnTo>
                  <a:pt x="390" y="12"/>
                </a:lnTo>
                <a:lnTo>
                  <a:pt x="396" y="6"/>
                </a:lnTo>
                <a:lnTo>
                  <a:pt x="396" y="12"/>
                </a:lnTo>
                <a:lnTo>
                  <a:pt x="396" y="18"/>
                </a:lnTo>
                <a:lnTo>
                  <a:pt x="390" y="18"/>
                </a:lnTo>
                <a:lnTo>
                  <a:pt x="390" y="24"/>
                </a:lnTo>
                <a:lnTo>
                  <a:pt x="396" y="24"/>
                </a:lnTo>
                <a:lnTo>
                  <a:pt x="396" y="30"/>
                </a:lnTo>
                <a:lnTo>
                  <a:pt x="396" y="36"/>
                </a:lnTo>
                <a:lnTo>
                  <a:pt x="390" y="36"/>
                </a:lnTo>
                <a:lnTo>
                  <a:pt x="396" y="36"/>
                </a:lnTo>
                <a:lnTo>
                  <a:pt x="390" y="36"/>
                </a:lnTo>
                <a:lnTo>
                  <a:pt x="396" y="36"/>
                </a:lnTo>
                <a:lnTo>
                  <a:pt x="396" y="30"/>
                </a:lnTo>
                <a:lnTo>
                  <a:pt x="396" y="36"/>
                </a:lnTo>
                <a:lnTo>
                  <a:pt x="402" y="36"/>
                </a:lnTo>
                <a:lnTo>
                  <a:pt x="396" y="36"/>
                </a:lnTo>
                <a:lnTo>
                  <a:pt x="396" y="42"/>
                </a:lnTo>
                <a:lnTo>
                  <a:pt x="390" y="42"/>
                </a:lnTo>
                <a:lnTo>
                  <a:pt x="396" y="42"/>
                </a:lnTo>
                <a:lnTo>
                  <a:pt x="396" y="36"/>
                </a:lnTo>
                <a:lnTo>
                  <a:pt x="396" y="42"/>
                </a:lnTo>
                <a:lnTo>
                  <a:pt x="390" y="48"/>
                </a:lnTo>
                <a:lnTo>
                  <a:pt x="396" y="42"/>
                </a:lnTo>
                <a:lnTo>
                  <a:pt x="402" y="42"/>
                </a:lnTo>
                <a:lnTo>
                  <a:pt x="408" y="42"/>
                </a:lnTo>
                <a:lnTo>
                  <a:pt x="408" y="36"/>
                </a:lnTo>
                <a:lnTo>
                  <a:pt x="408" y="30"/>
                </a:lnTo>
                <a:lnTo>
                  <a:pt x="408" y="24"/>
                </a:lnTo>
                <a:lnTo>
                  <a:pt x="408" y="30"/>
                </a:lnTo>
                <a:lnTo>
                  <a:pt x="408" y="24"/>
                </a:lnTo>
                <a:lnTo>
                  <a:pt x="414" y="24"/>
                </a:lnTo>
                <a:lnTo>
                  <a:pt x="414" y="30"/>
                </a:lnTo>
                <a:lnTo>
                  <a:pt x="408" y="30"/>
                </a:lnTo>
                <a:lnTo>
                  <a:pt x="408" y="36"/>
                </a:lnTo>
                <a:lnTo>
                  <a:pt x="414" y="36"/>
                </a:lnTo>
                <a:lnTo>
                  <a:pt x="408" y="36"/>
                </a:lnTo>
                <a:lnTo>
                  <a:pt x="414" y="36"/>
                </a:lnTo>
                <a:lnTo>
                  <a:pt x="408" y="30"/>
                </a:lnTo>
                <a:lnTo>
                  <a:pt x="414" y="30"/>
                </a:lnTo>
                <a:lnTo>
                  <a:pt x="414" y="36"/>
                </a:lnTo>
                <a:lnTo>
                  <a:pt x="414" y="30"/>
                </a:lnTo>
                <a:lnTo>
                  <a:pt x="420" y="30"/>
                </a:lnTo>
                <a:lnTo>
                  <a:pt x="420" y="36"/>
                </a:lnTo>
                <a:lnTo>
                  <a:pt x="420" y="30"/>
                </a:lnTo>
                <a:lnTo>
                  <a:pt x="420" y="36"/>
                </a:lnTo>
                <a:lnTo>
                  <a:pt x="414" y="36"/>
                </a:lnTo>
                <a:lnTo>
                  <a:pt x="414" y="42"/>
                </a:lnTo>
                <a:lnTo>
                  <a:pt x="414" y="36"/>
                </a:lnTo>
                <a:lnTo>
                  <a:pt x="420" y="36"/>
                </a:lnTo>
                <a:lnTo>
                  <a:pt x="420" y="30"/>
                </a:lnTo>
                <a:lnTo>
                  <a:pt x="420" y="36"/>
                </a:lnTo>
                <a:lnTo>
                  <a:pt x="420" y="42"/>
                </a:lnTo>
                <a:lnTo>
                  <a:pt x="414" y="42"/>
                </a:lnTo>
                <a:lnTo>
                  <a:pt x="420" y="42"/>
                </a:lnTo>
                <a:lnTo>
                  <a:pt x="420" y="36"/>
                </a:lnTo>
                <a:lnTo>
                  <a:pt x="420" y="42"/>
                </a:lnTo>
                <a:lnTo>
                  <a:pt x="420" y="48"/>
                </a:lnTo>
                <a:lnTo>
                  <a:pt x="420" y="42"/>
                </a:lnTo>
                <a:lnTo>
                  <a:pt x="426" y="42"/>
                </a:lnTo>
                <a:lnTo>
                  <a:pt x="426" y="36"/>
                </a:lnTo>
                <a:lnTo>
                  <a:pt x="432" y="36"/>
                </a:lnTo>
                <a:lnTo>
                  <a:pt x="432" y="30"/>
                </a:lnTo>
                <a:lnTo>
                  <a:pt x="432" y="36"/>
                </a:lnTo>
                <a:lnTo>
                  <a:pt x="432" y="42"/>
                </a:lnTo>
                <a:lnTo>
                  <a:pt x="432" y="36"/>
                </a:lnTo>
                <a:lnTo>
                  <a:pt x="426" y="42"/>
                </a:lnTo>
                <a:lnTo>
                  <a:pt x="426" y="36"/>
                </a:lnTo>
                <a:lnTo>
                  <a:pt x="426" y="42"/>
                </a:lnTo>
                <a:lnTo>
                  <a:pt x="426" y="48"/>
                </a:lnTo>
                <a:lnTo>
                  <a:pt x="426" y="54"/>
                </a:lnTo>
                <a:lnTo>
                  <a:pt x="426" y="60"/>
                </a:lnTo>
                <a:lnTo>
                  <a:pt x="432" y="60"/>
                </a:lnTo>
                <a:lnTo>
                  <a:pt x="426" y="60"/>
                </a:lnTo>
                <a:lnTo>
                  <a:pt x="432" y="60"/>
                </a:lnTo>
                <a:lnTo>
                  <a:pt x="426" y="54"/>
                </a:lnTo>
                <a:lnTo>
                  <a:pt x="426" y="48"/>
                </a:lnTo>
                <a:lnTo>
                  <a:pt x="432" y="48"/>
                </a:lnTo>
                <a:lnTo>
                  <a:pt x="432" y="54"/>
                </a:lnTo>
                <a:lnTo>
                  <a:pt x="432" y="48"/>
                </a:lnTo>
                <a:lnTo>
                  <a:pt x="438" y="48"/>
                </a:lnTo>
                <a:lnTo>
                  <a:pt x="432" y="48"/>
                </a:lnTo>
                <a:lnTo>
                  <a:pt x="432" y="54"/>
                </a:lnTo>
                <a:lnTo>
                  <a:pt x="438" y="54"/>
                </a:lnTo>
                <a:lnTo>
                  <a:pt x="432" y="54"/>
                </a:lnTo>
                <a:lnTo>
                  <a:pt x="432" y="48"/>
                </a:lnTo>
                <a:lnTo>
                  <a:pt x="438" y="48"/>
                </a:lnTo>
                <a:lnTo>
                  <a:pt x="432" y="48"/>
                </a:lnTo>
                <a:lnTo>
                  <a:pt x="438" y="48"/>
                </a:lnTo>
                <a:lnTo>
                  <a:pt x="438" y="42"/>
                </a:lnTo>
                <a:lnTo>
                  <a:pt x="444" y="42"/>
                </a:lnTo>
                <a:lnTo>
                  <a:pt x="438" y="42"/>
                </a:lnTo>
                <a:lnTo>
                  <a:pt x="444" y="42"/>
                </a:lnTo>
                <a:lnTo>
                  <a:pt x="438" y="42"/>
                </a:lnTo>
                <a:lnTo>
                  <a:pt x="438" y="36"/>
                </a:lnTo>
                <a:lnTo>
                  <a:pt x="444" y="36"/>
                </a:lnTo>
                <a:lnTo>
                  <a:pt x="444" y="42"/>
                </a:lnTo>
                <a:lnTo>
                  <a:pt x="444" y="36"/>
                </a:lnTo>
                <a:lnTo>
                  <a:pt x="438" y="36"/>
                </a:lnTo>
                <a:lnTo>
                  <a:pt x="444" y="30"/>
                </a:lnTo>
                <a:lnTo>
                  <a:pt x="444" y="36"/>
                </a:lnTo>
                <a:lnTo>
                  <a:pt x="450" y="36"/>
                </a:lnTo>
                <a:lnTo>
                  <a:pt x="450" y="42"/>
                </a:lnTo>
                <a:lnTo>
                  <a:pt x="450" y="48"/>
                </a:lnTo>
                <a:lnTo>
                  <a:pt x="450" y="42"/>
                </a:lnTo>
                <a:lnTo>
                  <a:pt x="444" y="48"/>
                </a:lnTo>
                <a:lnTo>
                  <a:pt x="450" y="48"/>
                </a:lnTo>
                <a:lnTo>
                  <a:pt x="444" y="48"/>
                </a:lnTo>
                <a:lnTo>
                  <a:pt x="438" y="54"/>
                </a:lnTo>
                <a:lnTo>
                  <a:pt x="438" y="60"/>
                </a:lnTo>
                <a:lnTo>
                  <a:pt x="438" y="54"/>
                </a:lnTo>
                <a:lnTo>
                  <a:pt x="444" y="54"/>
                </a:lnTo>
                <a:lnTo>
                  <a:pt x="438" y="54"/>
                </a:lnTo>
                <a:lnTo>
                  <a:pt x="438" y="60"/>
                </a:lnTo>
                <a:lnTo>
                  <a:pt x="438" y="66"/>
                </a:lnTo>
                <a:lnTo>
                  <a:pt x="438" y="60"/>
                </a:lnTo>
                <a:lnTo>
                  <a:pt x="438" y="66"/>
                </a:lnTo>
                <a:lnTo>
                  <a:pt x="438" y="60"/>
                </a:lnTo>
                <a:lnTo>
                  <a:pt x="444" y="60"/>
                </a:lnTo>
                <a:lnTo>
                  <a:pt x="444" y="54"/>
                </a:lnTo>
                <a:lnTo>
                  <a:pt x="444" y="60"/>
                </a:lnTo>
                <a:lnTo>
                  <a:pt x="444" y="54"/>
                </a:lnTo>
                <a:lnTo>
                  <a:pt x="450" y="54"/>
                </a:lnTo>
                <a:lnTo>
                  <a:pt x="444" y="54"/>
                </a:lnTo>
                <a:lnTo>
                  <a:pt x="450" y="54"/>
                </a:lnTo>
                <a:lnTo>
                  <a:pt x="444" y="60"/>
                </a:lnTo>
                <a:lnTo>
                  <a:pt x="444" y="66"/>
                </a:lnTo>
                <a:lnTo>
                  <a:pt x="444" y="72"/>
                </a:lnTo>
                <a:lnTo>
                  <a:pt x="438" y="72"/>
                </a:lnTo>
                <a:lnTo>
                  <a:pt x="444" y="72"/>
                </a:lnTo>
                <a:lnTo>
                  <a:pt x="444" y="78"/>
                </a:lnTo>
                <a:lnTo>
                  <a:pt x="438" y="78"/>
                </a:lnTo>
                <a:lnTo>
                  <a:pt x="438" y="84"/>
                </a:lnTo>
                <a:lnTo>
                  <a:pt x="432" y="84"/>
                </a:lnTo>
                <a:lnTo>
                  <a:pt x="438" y="84"/>
                </a:lnTo>
                <a:lnTo>
                  <a:pt x="438" y="78"/>
                </a:lnTo>
                <a:lnTo>
                  <a:pt x="438" y="84"/>
                </a:lnTo>
                <a:lnTo>
                  <a:pt x="438" y="78"/>
                </a:lnTo>
                <a:lnTo>
                  <a:pt x="438" y="84"/>
                </a:lnTo>
                <a:lnTo>
                  <a:pt x="444" y="90"/>
                </a:lnTo>
                <a:lnTo>
                  <a:pt x="444" y="84"/>
                </a:lnTo>
                <a:lnTo>
                  <a:pt x="444" y="78"/>
                </a:lnTo>
                <a:lnTo>
                  <a:pt x="444" y="72"/>
                </a:lnTo>
                <a:lnTo>
                  <a:pt x="450" y="72"/>
                </a:lnTo>
                <a:lnTo>
                  <a:pt x="450" y="66"/>
                </a:lnTo>
                <a:lnTo>
                  <a:pt x="450" y="72"/>
                </a:lnTo>
                <a:lnTo>
                  <a:pt x="456" y="72"/>
                </a:lnTo>
                <a:lnTo>
                  <a:pt x="456" y="66"/>
                </a:lnTo>
                <a:lnTo>
                  <a:pt x="462" y="60"/>
                </a:lnTo>
                <a:lnTo>
                  <a:pt x="468" y="60"/>
                </a:lnTo>
                <a:lnTo>
                  <a:pt x="462" y="54"/>
                </a:lnTo>
                <a:lnTo>
                  <a:pt x="468" y="54"/>
                </a:lnTo>
                <a:lnTo>
                  <a:pt x="468" y="60"/>
                </a:lnTo>
                <a:lnTo>
                  <a:pt x="474" y="66"/>
                </a:lnTo>
                <a:lnTo>
                  <a:pt x="474" y="60"/>
                </a:lnTo>
                <a:lnTo>
                  <a:pt x="474" y="66"/>
                </a:lnTo>
                <a:lnTo>
                  <a:pt x="474" y="60"/>
                </a:lnTo>
                <a:lnTo>
                  <a:pt x="468" y="60"/>
                </a:lnTo>
                <a:lnTo>
                  <a:pt x="474" y="60"/>
                </a:lnTo>
                <a:lnTo>
                  <a:pt x="468" y="54"/>
                </a:lnTo>
                <a:lnTo>
                  <a:pt x="474" y="54"/>
                </a:lnTo>
                <a:lnTo>
                  <a:pt x="468" y="54"/>
                </a:lnTo>
                <a:lnTo>
                  <a:pt x="474" y="48"/>
                </a:lnTo>
                <a:lnTo>
                  <a:pt x="474" y="42"/>
                </a:lnTo>
                <a:lnTo>
                  <a:pt x="474" y="36"/>
                </a:lnTo>
                <a:lnTo>
                  <a:pt x="474" y="42"/>
                </a:lnTo>
                <a:lnTo>
                  <a:pt x="474" y="48"/>
                </a:lnTo>
                <a:lnTo>
                  <a:pt x="474" y="54"/>
                </a:lnTo>
                <a:lnTo>
                  <a:pt x="474" y="60"/>
                </a:lnTo>
                <a:lnTo>
                  <a:pt x="474" y="54"/>
                </a:lnTo>
                <a:lnTo>
                  <a:pt x="480" y="54"/>
                </a:lnTo>
                <a:lnTo>
                  <a:pt x="474" y="54"/>
                </a:lnTo>
                <a:lnTo>
                  <a:pt x="480" y="54"/>
                </a:lnTo>
                <a:lnTo>
                  <a:pt x="480" y="48"/>
                </a:lnTo>
                <a:lnTo>
                  <a:pt x="480" y="54"/>
                </a:lnTo>
                <a:lnTo>
                  <a:pt x="480" y="60"/>
                </a:lnTo>
                <a:lnTo>
                  <a:pt x="480" y="54"/>
                </a:lnTo>
                <a:lnTo>
                  <a:pt x="486" y="54"/>
                </a:lnTo>
                <a:lnTo>
                  <a:pt x="486" y="60"/>
                </a:lnTo>
                <a:lnTo>
                  <a:pt x="492" y="60"/>
                </a:lnTo>
                <a:lnTo>
                  <a:pt x="492" y="54"/>
                </a:lnTo>
                <a:lnTo>
                  <a:pt x="498" y="54"/>
                </a:lnTo>
                <a:lnTo>
                  <a:pt x="492" y="54"/>
                </a:lnTo>
                <a:lnTo>
                  <a:pt x="492" y="60"/>
                </a:lnTo>
                <a:lnTo>
                  <a:pt x="498" y="60"/>
                </a:lnTo>
                <a:lnTo>
                  <a:pt x="492" y="54"/>
                </a:lnTo>
                <a:lnTo>
                  <a:pt x="498" y="60"/>
                </a:lnTo>
                <a:lnTo>
                  <a:pt x="492" y="54"/>
                </a:lnTo>
                <a:lnTo>
                  <a:pt x="498" y="54"/>
                </a:lnTo>
                <a:lnTo>
                  <a:pt x="504" y="48"/>
                </a:lnTo>
                <a:lnTo>
                  <a:pt x="504" y="54"/>
                </a:lnTo>
                <a:lnTo>
                  <a:pt x="504" y="48"/>
                </a:lnTo>
                <a:lnTo>
                  <a:pt x="510" y="48"/>
                </a:lnTo>
                <a:lnTo>
                  <a:pt x="510" y="54"/>
                </a:lnTo>
                <a:lnTo>
                  <a:pt x="504" y="54"/>
                </a:lnTo>
                <a:lnTo>
                  <a:pt x="504" y="60"/>
                </a:lnTo>
                <a:lnTo>
                  <a:pt x="498" y="66"/>
                </a:lnTo>
                <a:lnTo>
                  <a:pt x="498" y="72"/>
                </a:lnTo>
                <a:lnTo>
                  <a:pt x="504" y="72"/>
                </a:lnTo>
                <a:lnTo>
                  <a:pt x="510" y="72"/>
                </a:lnTo>
                <a:lnTo>
                  <a:pt x="510" y="66"/>
                </a:lnTo>
                <a:lnTo>
                  <a:pt x="516" y="66"/>
                </a:lnTo>
                <a:lnTo>
                  <a:pt x="510" y="72"/>
                </a:lnTo>
                <a:lnTo>
                  <a:pt x="516" y="72"/>
                </a:lnTo>
                <a:lnTo>
                  <a:pt x="516" y="78"/>
                </a:lnTo>
                <a:lnTo>
                  <a:pt x="516" y="72"/>
                </a:lnTo>
                <a:lnTo>
                  <a:pt x="516" y="66"/>
                </a:lnTo>
                <a:lnTo>
                  <a:pt x="516" y="72"/>
                </a:lnTo>
                <a:lnTo>
                  <a:pt x="522" y="72"/>
                </a:lnTo>
                <a:lnTo>
                  <a:pt x="516" y="72"/>
                </a:lnTo>
                <a:lnTo>
                  <a:pt x="522" y="72"/>
                </a:lnTo>
                <a:lnTo>
                  <a:pt x="522" y="66"/>
                </a:lnTo>
                <a:lnTo>
                  <a:pt x="528" y="66"/>
                </a:lnTo>
                <a:lnTo>
                  <a:pt x="522" y="72"/>
                </a:lnTo>
                <a:lnTo>
                  <a:pt x="528" y="66"/>
                </a:lnTo>
                <a:lnTo>
                  <a:pt x="528" y="72"/>
                </a:lnTo>
                <a:lnTo>
                  <a:pt x="528" y="66"/>
                </a:lnTo>
                <a:lnTo>
                  <a:pt x="534" y="72"/>
                </a:lnTo>
                <a:lnTo>
                  <a:pt x="534" y="78"/>
                </a:lnTo>
                <a:lnTo>
                  <a:pt x="528" y="78"/>
                </a:lnTo>
                <a:lnTo>
                  <a:pt x="522" y="78"/>
                </a:lnTo>
                <a:lnTo>
                  <a:pt x="516" y="78"/>
                </a:lnTo>
                <a:lnTo>
                  <a:pt x="516" y="84"/>
                </a:lnTo>
                <a:lnTo>
                  <a:pt x="510" y="84"/>
                </a:lnTo>
                <a:lnTo>
                  <a:pt x="516" y="84"/>
                </a:lnTo>
                <a:lnTo>
                  <a:pt x="522" y="84"/>
                </a:lnTo>
                <a:lnTo>
                  <a:pt x="522" y="90"/>
                </a:lnTo>
                <a:lnTo>
                  <a:pt x="516" y="90"/>
                </a:lnTo>
                <a:lnTo>
                  <a:pt x="522" y="90"/>
                </a:lnTo>
                <a:lnTo>
                  <a:pt x="522" y="84"/>
                </a:lnTo>
                <a:lnTo>
                  <a:pt x="516" y="84"/>
                </a:lnTo>
                <a:lnTo>
                  <a:pt x="522" y="84"/>
                </a:lnTo>
                <a:lnTo>
                  <a:pt x="528" y="84"/>
                </a:lnTo>
                <a:lnTo>
                  <a:pt x="528" y="90"/>
                </a:lnTo>
                <a:lnTo>
                  <a:pt x="522" y="90"/>
                </a:lnTo>
                <a:lnTo>
                  <a:pt x="522" y="96"/>
                </a:lnTo>
                <a:lnTo>
                  <a:pt x="516" y="96"/>
                </a:lnTo>
                <a:lnTo>
                  <a:pt x="510" y="96"/>
                </a:lnTo>
                <a:lnTo>
                  <a:pt x="516" y="96"/>
                </a:lnTo>
                <a:lnTo>
                  <a:pt x="510" y="96"/>
                </a:lnTo>
                <a:lnTo>
                  <a:pt x="510" y="102"/>
                </a:lnTo>
                <a:lnTo>
                  <a:pt x="510" y="96"/>
                </a:lnTo>
                <a:lnTo>
                  <a:pt x="516" y="96"/>
                </a:lnTo>
                <a:lnTo>
                  <a:pt x="522" y="96"/>
                </a:lnTo>
                <a:lnTo>
                  <a:pt x="516" y="96"/>
                </a:lnTo>
                <a:lnTo>
                  <a:pt x="522" y="96"/>
                </a:lnTo>
                <a:lnTo>
                  <a:pt x="528" y="96"/>
                </a:lnTo>
                <a:lnTo>
                  <a:pt x="528" y="90"/>
                </a:lnTo>
                <a:lnTo>
                  <a:pt x="534" y="90"/>
                </a:lnTo>
                <a:lnTo>
                  <a:pt x="528" y="96"/>
                </a:lnTo>
                <a:lnTo>
                  <a:pt x="534" y="96"/>
                </a:lnTo>
                <a:lnTo>
                  <a:pt x="534" y="90"/>
                </a:lnTo>
                <a:lnTo>
                  <a:pt x="534" y="96"/>
                </a:lnTo>
                <a:lnTo>
                  <a:pt x="534" y="90"/>
                </a:lnTo>
                <a:lnTo>
                  <a:pt x="534" y="84"/>
                </a:lnTo>
                <a:lnTo>
                  <a:pt x="540" y="90"/>
                </a:lnTo>
                <a:lnTo>
                  <a:pt x="534" y="96"/>
                </a:lnTo>
                <a:lnTo>
                  <a:pt x="534" y="102"/>
                </a:lnTo>
                <a:lnTo>
                  <a:pt x="540" y="102"/>
                </a:lnTo>
                <a:lnTo>
                  <a:pt x="534" y="102"/>
                </a:lnTo>
                <a:lnTo>
                  <a:pt x="540" y="102"/>
                </a:lnTo>
                <a:lnTo>
                  <a:pt x="546" y="102"/>
                </a:lnTo>
                <a:lnTo>
                  <a:pt x="546" y="96"/>
                </a:lnTo>
                <a:lnTo>
                  <a:pt x="546" y="102"/>
                </a:lnTo>
                <a:lnTo>
                  <a:pt x="546" y="108"/>
                </a:lnTo>
                <a:lnTo>
                  <a:pt x="540" y="108"/>
                </a:lnTo>
                <a:lnTo>
                  <a:pt x="546" y="108"/>
                </a:lnTo>
                <a:lnTo>
                  <a:pt x="540" y="108"/>
                </a:lnTo>
                <a:lnTo>
                  <a:pt x="546" y="108"/>
                </a:lnTo>
                <a:lnTo>
                  <a:pt x="546" y="114"/>
                </a:lnTo>
                <a:lnTo>
                  <a:pt x="546" y="108"/>
                </a:lnTo>
                <a:lnTo>
                  <a:pt x="552" y="108"/>
                </a:lnTo>
                <a:lnTo>
                  <a:pt x="552" y="114"/>
                </a:lnTo>
                <a:lnTo>
                  <a:pt x="552" y="120"/>
                </a:lnTo>
                <a:lnTo>
                  <a:pt x="552" y="114"/>
                </a:lnTo>
                <a:lnTo>
                  <a:pt x="552" y="120"/>
                </a:lnTo>
                <a:lnTo>
                  <a:pt x="552" y="126"/>
                </a:lnTo>
                <a:lnTo>
                  <a:pt x="558" y="126"/>
                </a:lnTo>
                <a:lnTo>
                  <a:pt x="552" y="126"/>
                </a:lnTo>
                <a:lnTo>
                  <a:pt x="552" y="138"/>
                </a:lnTo>
                <a:lnTo>
                  <a:pt x="558" y="138"/>
                </a:lnTo>
                <a:lnTo>
                  <a:pt x="564" y="144"/>
                </a:lnTo>
                <a:lnTo>
                  <a:pt x="558" y="144"/>
                </a:lnTo>
                <a:lnTo>
                  <a:pt x="558" y="150"/>
                </a:lnTo>
                <a:lnTo>
                  <a:pt x="558" y="144"/>
                </a:lnTo>
                <a:lnTo>
                  <a:pt x="564" y="144"/>
                </a:lnTo>
                <a:lnTo>
                  <a:pt x="564" y="150"/>
                </a:lnTo>
                <a:lnTo>
                  <a:pt x="564" y="156"/>
                </a:lnTo>
                <a:lnTo>
                  <a:pt x="570" y="156"/>
                </a:lnTo>
                <a:lnTo>
                  <a:pt x="564" y="156"/>
                </a:lnTo>
                <a:lnTo>
                  <a:pt x="570" y="156"/>
                </a:lnTo>
                <a:lnTo>
                  <a:pt x="570" y="162"/>
                </a:lnTo>
                <a:lnTo>
                  <a:pt x="570" y="168"/>
                </a:lnTo>
                <a:lnTo>
                  <a:pt x="564" y="168"/>
                </a:lnTo>
                <a:lnTo>
                  <a:pt x="570" y="168"/>
                </a:lnTo>
                <a:lnTo>
                  <a:pt x="570" y="174"/>
                </a:lnTo>
                <a:lnTo>
                  <a:pt x="564" y="174"/>
                </a:lnTo>
                <a:lnTo>
                  <a:pt x="570" y="180"/>
                </a:lnTo>
                <a:lnTo>
                  <a:pt x="576" y="186"/>
                </a:lnTo>
                <a:lnTo>
                  <a:pt x="582" y="186"/>
                </a:lnTo>
                <a:lnTo>
                  <a:pt x="588" y="186"/>
                </a:lnTo>
                <a:lnTo>
                  <a:pt x="594" y="180"/>
                </a:lnTo>
                <a:lnTo>
                  <a:pt x="600" y="180"/>
                </a:lnTo>
                <a:lnTo>
                  <a:pt x="606" y="174"/>
                </a:lnTo>
                <a:lnTo>
                  <a:pt x="606" y="180"/>
                </a:lnTo>
                <a:lnTo>
                  <a:pt x="606" y="174"/>
                </a:lnTo>
                <a:lnTo>
                  <a:pt x="606" y="180"/>
                </a:lnTo>
                <a:lnTo>
                  <a:pt x="606" y="174"/>
                </a:lnTo>
                <a:lnTo>
                  <a:pt x="606" y="180"/>
                </a:lnTo>
                <a:lnTo>
                  <a:pt x="606" y="174"/>
                </a:lnTo>
                <a:lnTo>
                  <a:pt x="612" y="174"/>
                </a:lnTo>
                <a:lnTo>
                  <a:pt x="618" y="174"/>
                </a:lnTo>
                <a:lnTo>
                  <a:pt x="612" y="174"/>
                </a:lnTo>
                <a:lnTo>
                  <a:pt x="612" y="180"/>
                </a:lnTo>
                <a:lnTo>
                  <a:pt x="606" y="180"/>
                </a:lnTo>
                <a:lnTo>
                  <a:pt x="612" y="180"/>
                </a:lnTo>
                <a:lnTo>
                  <a:pt x="606" y="180"/>
                </a:lnTo>
                <a:lnTo>
                  <a:pt x="600" y="186"/>
                </a:lnTo>
                <a:lnTo>
                  <a:pt x="606" y="180"/>
                </a:lnTo>
                <a:lnTo>
                  <a:pt x="612" y="180"/>
                </a:lnTo>
                <a:lnTo>
                  <a:pt x="606" y="180"/>
                </a:lnTo>
                <a:lnTo>
                  <a:pt x="612" y="186"/>
                </a:lnTo>
                <a:lnTo>
                  <a:pt x="612" y="180"/>
                </a:lnTo>
                <a:lnTo>
                  <a:pt x="618" y="180"/>
                </a:lnTo>
                <a:lnTo>
                  <a:pt x="624" y="186"/>
                </a:lnTo>
                <a:lnTo>
                  <a:pt x="618" y="192"/>
                </a:lnTo>
                <a:lnTo>
                  <a:pt x="618" y="198"/>
                </a:lnTo>
                <a:lnTo>
                  <a:pt x="624" y="192"/>
                </a:lnTo>
                <a:lnTo>
                  <a:pt x="630" y="186"/>
                </a:lnTo>
                <a:lnTo>
                  <a:pt x="630" y="180"/>
                </a:lnTo>
                <a:lnTo>
                  <a:pt x="636" y="174"/>
                </a:lnTo>
                <a:lnTo>
                  <a:pt x="642" y="168"/>
                </a:lnTo>
                <a:lnTo>
                  <a:pt x="648" y="168"/>
                </a:lnTo>
                <a:lnTo>
                  <a:pt x="654" y="162"/>
                </a:lnTo>
                <a:lnTo>
                  <a:pt x="654" y="156"/>
                </a:lnTo>
                <a:lnTo>
                  <a:pt x="660" y="156"/>
                </a:lnTo>
                <a:lnTo>
                  <a:pt x="666" y="150"/>
                </a:lnTo>
                <a:lnTo>
                  <a:pt x="672" y="150"/>
                </a:lnTo>
                <a:lnTo>
                  <a:pt x="672" y="156"/>
                </a:lnTo>
                <a:lnTo>
                  <a:pt x="678" y="168"/>
                </a:lnTo>
                <a:lnTo>
                  <a:pt x="684" y="168"/>
                </a:lnTo>
                <a:lnTo>
                  <a:pt x="690" y="168"/>
                </a:lnTo>
                <a:lnTo>
                  <a:pt x="696" y="168"/>
                </a:lnTo>
                <a:lnTo>
                  <a:pt x="696" y="162"/>
                </a:lnTo>
                <a:lnTo>
                  <a:pt x="702" y="168"/>
                </a:lnTo>
                <a:lnTo>
                  <a:pt x="708" y="168"/>
                </a:lnTo>
                <a:lnTo>
                  <a:pt x="726" y="168"/>
                </a:lnTo>
                <a:lnTo>
                  <a:pt x="726" y="174"/>
                </a:lnTo>
                <a:lnTo>
                  <a:pt x="732" y="174"/>
                </a:lnTo>
                <a:lnTo>
                  <a:pt x="744" y="180"/>
                </a:lnTo>
                <a:lnTo>
                  <a:pt x="750" y="180"/>
                </a:lnTo>
                <a:lnTo>
                  <a:pt x="756" y="186"/>
                </a:lnTo>
                <a:lnTo>
                  <a:pt x="768" y="192"/>
                </a:lnTo>
                <a:lnTo>
                  <a:pt x="774" y="192"/>
                </a:lnTo>
                <a:lnTo>
                  <a:pt x="780" y="198"/>
                </a:lnTo>
                <a:lnTo>
                  <a:pt x="780" y="192"/>
                </a:lnTo>
                <a:lnTo>
                  <a:pt x="780" y="198"/>
                </a:lnTo>
                <a:lnTo>
                  <a:pt x="786" y="198"/>
                </a:lnTo>
                <a:lnTo>
                  <a:pt x="786" y="204"/>
                </a:lnTo>
                <a:lnTo>
                  <a:pt x="786" y="198"/>
                </a:lnTo>
                <a:lnTo>
                  <a:pt x="786" y="192"/>
                </a:lnTo>
                <a:lnTo>
                  <a:pt x="780" y="192"/>
                </a:lnTo>
                <a:lnTo>
                  <a:pt x="786" y="192"/>
                </a:lnTo>
                <a:lnTo>
                  <a:pt x="792" y="204"/>
                </a:lnTo>
                <a:lnTo>
                  <a:pt x="798" y="210"/>
                </a:lnTo>
                <a:lnTo>
                  <a:pt x="804" y="210"/>
                </a:lnTo>
                <a:lnTo>
                  <a:pt x="810" y="210"/>
                </a:lnTo>
                <a:lnTo>
                  <a:pt x="816" y="216"/>
                </a:lnTo>
                <a:lnTo>
                  <a:pt x="816" y="210"/>
                </a:lnTo>
                <a:lnTo>
                  <a:pt x="822" y="216"/>
                </a:lnTo>
                <a:lnTo>
                  <a:pt x="828" y="216"/>
                </a:lnTo>
                <a:lnTo>
                  <a:pt x="834" y="210"/>
                </a:lnTo>
                <a:lnTo>
                  <a:pt x="840" y="210"/>
                </a:lnTo>
                <a:lnTo>
                  <a:pt x="846" y="210"/>
                </a:lnTo>
                <a:lnTo>
                  <a:pt x="852" y="210"/>
                </a:lnTo>
                <a:lnTo>
                  <a:pt x="846" y="210"/>
                </a:lnTo>
                <a:lnTo>
                  <a:pt x="852" y="216"/>
                </a:lnTo>
                <a:lnTo>
                  <a:pt x="852" y="210"/>
                </a:lnTo>
                <a:lnTo>
                  <a:pt x="858" y="210"/>
                </a:lnTo>
                <a:lnTo>
                  <a:pt x="864" y="210"/>
                </a:lnTo>
                <a:lnTo>
                  <a:pt x="870" y="210"/>
                </a:lnTo>
                <a:lnTo>
                  <a:pt x="870" y="216"/>
                </a:lnTo>
                <a:lnTo>
                  <a:pt x="876" y="216"/>
                </a:lnTo>
                <a:lnTo>
                  <a:pt x="876" y="222"/>
                </a:lnTo>
                <a:lnTo>
                  <a:pt x="876" y="216"/>
                </a:lnTo>
                <a:lnTo>
                  <a:pt x="882" y="216"/>
                </a:lnTo>
                <a:lnTo>
                  <a:pt x="888" y="216"/>
                </a:lnTo>
                <a:lnTo>
                  <a:pt x="894" y="216"/>
                </a:lnTo>
                <a:lnTo>
                  <a:pt x="900" y="216"/>
                </a:lnTo>
                <a:lnTo>
                  <a:pt x="906" y="222"/>
                </a:lnTo>
                <a:lnTo>
                  <a:pt x="912" y="228"/>
                </a:lnTo>
                <a:lnTo>
                  <a:pt x="918" y="234"/>
                </a:lnTo>
                <a:lnTo>
                  <a:pt x="924" y="234"/>
                </a:lnTo>
                <a:lnTo>
                  <a:pt x="924" y="240"/>
                </a:lnTo>
                <a:lnTo>
                  <a:pt x="930" y="240"/>
                </a:lnTo>
                <a:lnTo>
                  <a:pt x="936" y="240"/>
                </a:lnTo>
                <a:lnTo>
                  <a:pt x="942" y="240"/>
                </a:lnTo>
                <a:lnTo>
                  <a:pt x="948" y="240"/>
                </a:lnTo>
                <a:lnTo>
                  <a:pt x="954" y="240"/>
                </a:lnTo>
                <a:lnTo>
                  <a:pt x="960" y="240"/>
                </a:lnTo>
                <a:lnTo>
                  <a:pt x="966" y="240"/>
                </a:lnTo>
                <a:lnTo>
                  <a:pt x="972" y="240"/>
                </a:lnTo>
                <a:lnTo>
                  <a:pt x="978" y="240"/>
                </a:lnTo>
                <a:lnTo>
                  <a:pt x="984" y="240"/>
                </a:lnTo>
                <a:lnTo>
                  <a:pt x="990" y="240"/>
                </a:lnTo>
                <a:lnTo>
                  <a:pt x="996" y="240"/>
                </a:lnTo>
                <a:lnTo>
                  <a:pt x="1002" y="240"/>
                </a:lnTo>
                <a:lnTo>
                  <a:pt x="1008" y="240"/>
                </a:lnTo>
                <a:lnTo>
                  <a:pt x="1014" y="234"/>
                </a:lnTo>
                <a:lnTo>
                  <a:pt x="1020" y="234"/>
                </a:lnTo>
                <a:lnTo>
                  <a:pt x="1026" y="234"/>
                </a:lnTo>
                <a:lnTo>
                  <a:pt x="1026" y="240"/>
                </a:lnTo>
                <a:lnTo>
                  <a:pt x="1032" y="234"/>
                </a:lnTo>
                <a:lnTo>
                  <a:pt x="1038" y="234"/>
                </a:lnTo>
                <a:lnTo>
                  <a:pt x="1044" y="234"/>
                </a:lnTo>
                <a:lnTo>
                  <a:pt x="1050" y="234"/>
                </a:lnTo>
                <a:lnTo>
                  <a:pt x="1056" y="234"/>
                </a:lnTo>
                <a:lnTo>
                  <a:pt x="1062" y="234"/>
                </a:lnTo>
                <a:lnTo>
                  <a:pt x="1068" y="228"/>
                </a:lnTo>
                <a:lnTo>
                  <a:pt x="1074" y="222"/>
                </a:lnTo>
                <a:lnTo>
                  <a:pt x="1080" y="228"/>
                </a:lnTo>
                <a:lnTo>
                  <a:pt x="1086" y="228"/>
                </a:lnTo>
                <a:lnTo>
                  <a:pt x="1092" y="228"/>
                </a:lnTo>
                <a:lnTo>
                  <a:pt x="1098" y="228"/>
                </a:lnTo>
                <a:lnTo>
                  <a:pt x="1104" y="228"/>
                </a:lnTo>
                <a:lnTo>
                  <a:pt x="1110" y="228"/>
                </a:lnTo>
                <a:lnTo>
                  <a:pt x="1116" y="228"/>
                </a:lnTo>
                <a:lnTo>
                  <a:pt x="1122" y="234"/>
                </a:lnTo>
                <a:lnTo>
                  <a:pt x="1122" y="228"/>
                </a:lnTo>
                <a:lnTo>
                  <a:pt x="1128" y="228"/>
                </a:lnTo>
                <a:lnTo>
                  <a:pt x="1128" y="234"/>
                </a:lnTo>
                <a:lnTo>
                  <a:pt x="1134" y="234"/>
                </a:lnTo>
                <a:lnTo>
                  <a:pt x="1134" y="228"/>
                </a:lnTo>
                <a:lnTo>
                  <a:pt x="1140" y="234"/>
                </a:lnTo>
                <a:lnTo>
                  <a:pt x="1146" y="234"/>
                </a:lnTo>
                <a:lnTo>
                  <a:pt x="1140" y="234"/>
                </a:lnTo>
                <a:lnTo>
                  <a:pt x="1146" y="234"/>
                </a:lnTo>
                <a:lnTo>
                  <a:pt x="1152" y="234"/>
                </a:lnTo>
                <a:lnTo>
                  <a:pt x="1152" y="240"/>
                </a:lnTo>
                <a:lnTo>
                  <a:pt x="1152" y="234"/>
                </a:lnTo>
                <a:lnTo>
                  <a:pt x="1152" y="240"/>
                </a:lnTo>
                <a:lnTo>
                  <a:pt x="1158" y="240"/>
                </a:lnTo>
                <a:lnTo>
                  <a:pt x="1164" y="246"/>
                </a:lnTo>
                <a:lnTo>
                  <a:pt x="1170" y="246"/>
                </a:lnTo>
                <a:lnTo>
                  <a:pt x="1170" y="252"/>
                </a:lnTo>
                <a:lnTo>
                  <a:pt x="1176" y="252"/>
                </a:lnTo>
                <a:lnTo>
                  <a:pt x="1182" y="252"/>
                </a:lnTo>
                <a:lnTo>
                  <a:pt x="1182" y="258"/>
                </a:lnTo>
                <a:lnTo>
                  <a:pt x="1188" y="252"/>
                </a:lnTo>
                <a:lnTo>
                  <a:pt x="1188" y="258"/>
                </a:lnTo>
                <a:lnTo>
                  <a:pt x="1194" y="258"/>
                </a:lnTo>
                <a:lnTo>
                  <a:pt x="1194" y="264"/>
                </a:lnTo>
                <a:lnTo>
                  <a:pt x="1200" y="264"/>
                </a:lnTo>
                <a:lnTo>
                  <a:pt x="1206" y="270"/>
                </a:lnTo>
                <a:lnTo>
                  <a:pt x="1212" y="270"/>
                </a:lnTo>
                <a:lnTo>
                  <a:pt x="1218" y="276"/>
                </a:lnTo>
                <a:lnTo>
                  <a:pt x="1224" y="276"/>
                </a:lnTo>
                <a:lnTo>
                  <a:pt x="1230" y="282"/>
                </a:lnTo>
                <a:lnTo>
                  <a:pt x="1236" y="282"/>
                </a:lnTo>
                <a:lnTo>
                  <a:pt x="1242" y="282"/>
                </a:lnTo>
                <a:lnTo>
                  <a:pt x="1242" y="288"/>
                </a:lnTo>
                <a:lnTo>
                  <a:pt x="1248" y="294"/>
                </a:lnTo>
                <a:lnTo>
                  <a:pt x="1248" y="300"/>
                </a:lnTo>
                <a:lnTo>
                  <a:pt x="1254" y="294"/>
                </a:lnTo>
                <a:lnTo>
                  <a:pt x="1254" y="300"/>
                </a:lnTo>
                <a:lnTo>
                  <a:pt x="1260" y="306"/>
                </a:lnTo>
                <a:lnTo>
                  <a:pt x="1266" y="306"/>
                </a:lnTo>
                <a:lnTo>
                  <a:pt x="1272" y="306"/>
                </a:lnTo>
                <a:lnTo>
                  <a:pt x="1278" y="312"/>
                </a:lnTo>
                <a:lnTo>
                  <a:pt x="1278" y="318"/>
                </a:lnTo>
                <a:lnTo>
                  <a:pt x="1284" y="318"/>
                </a:lnTo>
                <a:lnTo>
                  <a:pt x="1290" y="324"/>
                </a:lnTo>
                <a:lnTo>
                  <a:pt x="1296" y="324"/>
                </a:lnTo>
                <a:lnTo>
                  <a:pt x="1296" y="330"/>
                </a:lnTo>
                <a:lnTo>
                  <a:pt x="1302" y="330"/>
                </a:lnTo>
                <a:lnTo>
                  <a:pt x="1302" y="336"/>
                </a:lnTo>
                <a:lnTo>
                  <a:pt x="1308" y="336"/>
                </a:lnTo>
                <a:lnTo>
                  <a:pt x="1314" y="342"/>
                </a:lnTo>
                <a:lnTo>
                  <a:pt x="1320" y="342"/>
                </a:lnTo>
                <a:lnTo>
                  <a:pt x="1326" y="342"/>
                </a:lnTo>
                <a:lnTo>
                  <a:pt x="1326" y="348"/>
                </a:lnTo>
                <a:lnTo>
                  <a:pt x="1332" y="348"/>
                </a:lnTo>
                <a:lnTo>
                  <a:pt x="1338" y="348"/>
                </a:lnTo>
                <a:lnTo>
                  <a:pt x="1338" y="342"/>
                </a:lnTo>
                <a:lnTo>
                  <a:pt x="1338" y="348"/>
                </a:lnTo>
                <a:lnTo>
                  <a:pt x="1344" y="354"/>
                </a:lnTo>
                <a:lnTo>
                  <a:pt x="1344" y="360"/>
                </a:lnTo>
                <a:lnTo>
                  <a:pt x="1350" y="366"/>
                </a:lnTo>
                <a:lnTo>
                  <a:pt x="1356" y="372"/>
                </a:lnTo>
                <a:lnTo>
                  <a:pt x="1362" y="372"/>
                </a:lnTo>
                <a:lnTo>
                  <a:pt x="1356" y="372"/>
                </a:lnTo>
                <a:lnTo>
                  <a:pt x="1362" y="378"/>
                </a:lnTo>
                <a:lnTo>
                  <a:pt x="1362" y="372"/>
                </a:lnTo>
                <a:lnTo>
                  <a:pt x="1362" y="378"/>
                </a:lnTo>
                <a:lnTo>
                  <a:pt x="1368" y="378"/>
                </a:lnTo>
                <a:lnTo>
                  <a:pt x="1368" y="384"/>
                </a:lnTo>
                <a:lnTo>
                  <a:pt x="1374" y="384"/>
                </a:lnTo>
                <a:lnTo>
                  <a:pt x="1374" y="390"/>
                </a:lnTo>
                <a:lnTo>
                  <a:pt x="1380" y="396"/>
                </a:lnTo>
                <a:lnTo>
                  <a:pt x="1386" y="402"/>
                </a:lnTo>
                <a:lnTo>
                  <a:pt x="1392" y="408"/>
                </a:lnTo>
                <a:lnTo>
                  <a:pt x="1392" y="414"/>
                </a:lnTo>
                <a:lnTo>
                  <a:pt x="1398" y="414"/>
                </a:lnTo>
                <a:lnTo>
                  <a:pt x="1398" y="420"/>
                </a:lnTo>
                <a:lnTo>
                  <a:pt x="1404" y="420"/>
                </a:lnTo>
                <a:lnTo>
                  <a:pt x="1410" y="426"/>
                </a:lnTo>
                <a:lnTo>
                  <a:pt x="1416" y="426"/>
                </a:lnTo>
                <a:lnTo>
                  <a:pt x="1416" y="432"/>
                </a:lnTo>
                <a:lnTo>
                  <a:pt x="1422" y="432"/>
                </a:lnTo>
                <a:lnTo>
                  <a:pt x="1428" y="432"/>
                </a:lnTo>
                <a:lnTo>
                  <a:pt x="1428" y="438"/>
                </a:lnTo>
                <a:lnTo>
                  <a:pt x="1428" y="432"/>
                </a:lnTo>
                <a:lnTo>
                  <a:pt x="1428" y="438"/>
                </a:lnTo>
                <a:lnTo>
                  <a:pt x="1434" y="438"/>
                </a:lnTo>
                <a:lnTo>
                  <a:pt x="1434" y="444"/>
                </a:lnTo>
                <a:lnTo>
                  <a:pt x="1434" y="450"/>
                </a:lnTo>
                <a:lnTo>
                  <a:pt x="1440" y="450"/>
                </a:lnTo>
                <a:lnTo>
                  <a:pt x="1440" y="456"/>
                </a:lnTo>
                <a:lnTo>
                  <a:pt x="1446" y="456"/>
                </a:lnTo>
                <a:lnTo>
                  <a:pt x="1452" y="462"/>
                </a:lnTo>
                <a:lnTo>
                  <a:pt x="1458" y="468"/>
                </a:lnTo>
                <a:lnTo>
                  <a:pt x="1464" y="468"/>
                </a:lnTo>
                <a:lnTo>
                  <a:pt x="1464" y="462"/>
                </a:lnTo>
                <a:lnTo>
                  <a:pt x="1464" y="468"/>
                </a:lnTo>
                <a:lnTo>
                  <a:pt x="1470" y="468"/>
                </a:lnTo>
                <a:lnTo>
                  <a:pt x="1476" y="468"/>
                </a:lnTo>
                <a:lnTo>
                  <a:pt x="1482" y="474"/>
                </a:lnTo>
                <a:lnTo>
                  <a:pt x="1488" y="474"/>
                </a:lnTo>
                <a:lnTo>
                  <a:pt x="1494" y="480"/>
                </a:lnTo>
                <a:lnTo>
                  <a:pt x="1494" y="486"/>
                </a:lnTo>
                <a:lnTo>
                  <a:pt x="1494" y="492"/>
                </a:lnTo>
                <a:lnTo>
                  <a:pt x="1500" y="492"/>
                </a:lnTo>
                <a:lnTo>
                  <a:pt x="1500" y="498"/>
                </a:lnTo>
                <a:lnTo>
                  <a:pt x="1506" y="504"/>
                </a:lnTo>
                <a:lnTo>
                  <a:pt x="1512" y="504"/>
                </a:lnTo>
                <a:lnTo>
                  <a:pt x="1518" y="504"/>
                </a:lnTo>
                <a:lnTo>
                  <a:pt x="1524" y="504"/>
                </a:lnTo>
                <a:lnTo>
                  <a:pt x="1530" y="504"/>
                </a:lnTo>
                <a:lnTo>
                  <a:pt x="1536" y="504"/>
                </a:lnTo>
                <a:lnTo>
                  <a:pt x="1542" y="504"/>
                </a:lnTo>
                <a:lnTo>
                  <a:pt x="1548" y="510"/>
                </a:lnTo>
                <a:lnTo>
                  <a:pt x="1554" y="516"/>
                </a:lnTo>
                <a:lnTo>
                  <a:pt x="1560" y="522"/>
                </a:lnTo>
                <a:lnTo>
                  <a:pt x="1566" y="522"/>
                </a:lnTo>
                <a:lnTo>
                  <a:pt x="1572" y="522"/>
                </a:lnTo>
                <a:lnTo>
                  <a:pt x="1578" y="522"/>
                </a:lnTo>
                <a:lnTo>
                  <a:pt x="1584" y="522"/>
                </a:lnTo>
                <a:lnTo>
                  <a:pt x="1590" y="522"/>
                </a:lnTo>
                <a:lnTo>
                  <a:pt x="1596" y="522"/>
                </a:lnTo>
                <a:lnTo>
                  <a:pt x="1602" y="522"/>
                </a:lnTo>
                <a:lnTo>
                  <a:pt x="1608" y="522"/>
                </a:lnTo>
                <a:lnTo>
                  <a:pt x="1614" y="522"/>
                </a:lnTo>
                <a:lnTo>
                  <a:pt x="1620" y="528"/>
                </a:lnTo>
                <a:lnTo>
                  <a:pt x="1620" y="522"/>
                </a:lnTo>
                <a:lnTo>
                  <a:pt x="1626" y="522"/>
                </a:lnTo>
                <a:lnTo>
                  <a:pt x="1626" y="528"/>
                </a:lnTo>
                <a:lnTo>
                  <a:pt x="1638" y="528"/>
                </a:lnTo>
                <a:lnTo>
                  <a:pt x="1644" y="522"/>
                </a:lnTo>
                <a:lnTo>
                  <a:pt x="1650" y="522"/>
                </a:lnTo>
                <a:lnTo>
                  <a:pt x="1656" y="522"/>
                </a:lnTo>
                <a:lnTo>
                  <a:pt x="1662" y="516"/>
                </a:lnTo>
                <a:lnTo>
                  <a:pt x="1668" y="516"/>
                </a:lnTo>
                <a:lnTo>
                  <a:pt x="1674" y="522"/>
                </a:lnTo>
                <a:lnTo>
                  <a:pt x="1680" y="522"/>
                </a:lnTo>
                <a:lnTo>
                  <a:pt x="1686" y="522"/>
                </a:lnTo>
                <a:lnTo>
                  <a:pt x="1692" y="522"/>
                </a:lnTo>
                <a:lnTo>
                  <a:pt x="1698" y="528"/>
                </a:lnTo>
                <a:lnTo>
                  <a:pt x="1704" y="528"/>
                </a:lnTo>
                <a:lnTo>
                  <a:pt x="1710" y="528"/>
                </a:lnTo>
                <a:lnTo>
                  <a:pt x="1716" y="528"/>
                </a:lnTo>
                <a:lnTo>
                  <a:pt x="1722" y="534"/>
                </a:lnTo>
                <a:lnTo>
                  <a:pt x="1728" y="534"/>
                </a:lnTo>
                <a:lnTo>
                  <a:pt x="1728" y="540"/>
                </a:lnTo>
                <a:lnTo>
                  <a:pt x="1734" y="540"/>
                </a:lnTo>
                <a:lnTo>
                  <a:pt x="1740" y="546"/>
                </a:lnTo>
                <a:lnTo>
                  <a:pt x="1740" y="552"/>
                </a:lnTo>
                <a:lnTo>
                  <a:pt x="1740" y="558"/>
                </a:lnTo>
                <a:lnTo>
                  <a:pt x="1746" y="558"/>
                </a:lnTo>
                <a:lnTo>
                  <a:pt x="1746" y="564"/>
                </a:lnTo>
                <a:lnTo>
                  <a:pt x="1752" y="564"/>
                </a:lnTo>
                <a:lnTo>
                  <a:pt x="1752" y="570"/>
                </a:lnTo>
                <a:lnTo>
                  <a:pt x="1752" y="576"/>
                </a:lnTo>
                <a:lnTo>
                  <a:pt x="1758" y="576"/>
                </a:lnTo>
                <a:lnTo>
                  <a:pt x="1758" y="582"/>
                </a:lnTo>
                <a:lnTo>
                  <a:pt x="1758" y="588"/>
                </a:lnTo>
                <a:lnTo>
                  <a:pt x="1758" y="594"/>
                </a:lnTo>
                <a:lnTo>
                  <a:pt x="1764" y="594"/>
                </a:lnTo>
                <a:lnTo>
                  <a:pt x="1764" y="600"/>
                </a:lnTo>
                <a:lnTo>
                  <a:pt x="1764" y="606"/>
                </a:lnTo>
                <a:lnTo>
                  <a:pt x="1764" y="612"/>
                </a:lnTo>
                <a:lnTo>
                  <a:pt x="1764" y="618"/>
                </a:lnTo>
                <a:lnTo>
                  <a:pt x="1764" y="624"/>
                </a:lnTo>
                <a:lnTo>
                  <a:pt x="1770" y="630"/>
                </a:lnTo>
                <a:lnTo>
                  <a:pt x="1770" y="636"/>
                </a:lnTo>
                <a:lnTo>
                  <a:pt x="1776" y="642"/>
                </a:lnTo>
                <a:lnTo>
                  <a:pt x="1776" y="648"/>
                </a:lnTo>
                <a:lnTo>
                  <a:pt x="1776" y="654"/>
                </a:lnTo>
                <a:lnTo>
                  <a:pt x="1776" y="660"/>
                </a:lnTo>
                <a:lnTo>
                  <a:pt x="1776" y="666"/>
                </a:lnTo>
                <a:lnTo>
                  <a:pt x="1782" y="672"/>
                </a:lnTo>
                <a:lnTo>
                  <a:pt x="1788" y="678"/>
                </a:lnTo>
                <a:lnTo>
                  <a:pt x="1788" y="684"/>
                </a:lnTo>
                <a:lnTo>
                  <a:pt x="1782" y="684"/>
                </a:lnTo>
                <a:lnTo>
                  <a:pt x="1788" y="690"/>
                </a:lnTo>
                <a:lnTo>
                  <a:pt x="1794" y="696"/>
                </a:lnTo>
                <a:lnTo>
                  <a:pt x="1794" y="702"/>
                </a:lnTo>
                <a:lnTo>
                  <a:pt x="1794" y="708"/>
                </a:lnTo>
                <a:lnTo>
                  <a:pt x="1794" y="720"/>
                </a:lnTo>
                <a:lnTo>
                  <a:pt x="1794" y="726"/>
                </a:lnTo>
                <a:lnTo>
                  <a:pt x="1794" y="732"/>
                </a:lnTo>
                <a:lnTo>
                  <a:pt x="1800" y="732"/>
                </a:lnTo>
                <a:lnTo>
                  <a:pt x="1800" y="738"/>
                </a:lnTo>
                <a:lnTo>
                  <a:pt x="1800" y="744"/>
                </a:lnTo>
                <a:lnTo>
                  <a:pt x="1800" y="750"/>
                </a:lnTo>
                <a:lnTo>
                  <a:pt x="1800" y="756"/>
                </a:lnTo>
                <a:lnTo>
                  <a:pt x="1806" y="756"/>
                </a:lnTo>
                <a:lnTo>
                  <a:pt x="1806" y="762"/>
                </a:lnTo>
                <a:lnTo>
                  <a:pt x="1806" y="768"/>
                </a:lnTo>
                <a:lnTo>
                  <a:pt x="1812" y="768"/>
                </a:lnTo>
                <a:lnTo>
                  <a:pt x="1806" y="768"/>
                </a:lnTo>
                <a:lnTo>
                  <a:pt x="1806" y="774"/>
                </a:lnTo>
                <a:lnTo>
                  <a:pt x="1812" y="774"/>
                </a:lnTo>
                <a:lnTo>
                  <a:pt x="1812" y="768"/>
                </a:lnTo>
                <a:lnTo>
                  <a:pt x="1812" y="774"/>
                </a:lnTo>
                <a:lnTo>
                  <a:pt x="1812" y="780"/>
                </a:lnTo>
                <a:lnTo>
                  <a:pt x="1812" y="786"/>
                </a:lnTo>
                <a:lnTo>
                  <a:pt x="1812" y="792"/>
                </a:lnTo>
                <a:lnTo>
                  <a:pt x="1818" y="792"/>
                </a:lnTo>
                <a:lnTo>
                  <a:pt x="1818" y="798"/>
                </a:lnTo>
                <a:lnTo>
                  <a:pt x="1812" y="804"/>
                </a:lnTo>
                <a:lnTo>
                  <a:pt x="1818" y="810"/>
                </a:lnTo>
                <a:lnTo>
                  <a:pt x="1818" y="816"/>
                </a:lnTo>
                <a:lnTo>
                  <a:pt x="1818" y="822"/>
                </a:lnTo>
                <a:lnTo>
                  <a:pt x="1818" y="828"/>
                </a:lnTo>
                <a:lnTo>
                  <a:pt x="1812" y="834"/>
                </a:lnTo>
                <a:lnTo>
                  <a:pt x="1818" y="834"/>
                </a:lnTo>
                <a:lnTo>
                  <a:pt x="1812" y="834"/>
                </a:lnTo>
                <a:lnTo>
                  <a:pt x="1812" y="840"/>
                </a:lnTo>
                <a:lnTo>
                  <a:pt x="1812" y="846"/>
                </a:lnTo>
                <a:lnTo>
                  <a:pt x="1812" y="852"/>
                </a:lnTo>
                <a:lnTo>
                  <a:pt x="1812" y="858"/>
                </a:lnTo>
                <a:lnTo>
                  <a:pt x="1812" y="864"/>
                </a:lnTo>
                <a:lnTo>
                  <a:pt x="1812" y="870"/>
                </a:lnTo>
                <a:lnTo>
                  <a:pt x="1812" y="876"/>
                </a:lnTo>
                <a:lnTo>
                  <a:pt x="1812" y="882"/>
                </a:lnTo>
                <a:lnTo>
                  <a:pt x="1812" y="888"/>
                </a:lnTo>
                <a:lnTo>
                  <a:pt x="1812" y="894"/>
                </a:lnTo>
                <a:lnTo>
                  <a:pt x="1812" y="900"/>
                </a:lnTo>
                <a:lnTo>
                  <a:pt x="1812" y="906"/>
                </a:lnTo>
                <a:lnTo>
                  <a:pt x="1806" y="906"/>
                </a:lnTo>
                <a:lnTo>
                  <a:pt x="1806" y="912"/>
                </a:lnTo>
                <a:lnTo>
                  <a:pt x="1806" y="918"/>
                </a:lnTo>
                <a:lnTo>
                  <a:pt x="1800" y="924"/>
                </a:lnTo>
                <a:lnTo>
                  <a:pt x="1800" y="930"/>
                </a:lnTo>
                <a:lnTo>
                  <a:pt x="1800" y="936"/>
                </a:lnTo>
                <a:lnTo>
                  <a:pt x="1794" y="942"/>
                </a:lnTo>
                <a:lnTo>
                  <a:pt x="1800" y="942"/>
                </a:lnTo>
                <a:lnTo>
                  <a:pt x="1794" y="948"/>
                </a:lnTo>
                <a:lnTo>
                  <a:pt x="1800" y="948"/>
                </a:lnTo>
                <a:lnTo>
                  <a:pt x="1794" y="948"/>
                </a:lnTo>
                <a:lnTo>
                  <a:pt x="1794" y="954"/>
                </a:lnTo>
                <a:lnTo>
                  <a:pt x="1794" y="960"/>
                </a:lnTo>
                <a:lnTo>
                  <a:pt x="1794" y="966"/>
                </a:lnTo>
                <a:lnTo>
                  <a:pt x="1788" y="966"/>
                </a:lnTo>
                <a:lnTo>
                  <a:pt x="1788" y="972"/>
                </a:lnTo>
                <a:lnTo>
                  <a:pt x="1788" y="978"/>
                </a:lnTo>
                <a:lnTo>
                  <a:pt x="1782" y="978"/>
                </a:lnTo>
                <a:lnTo>
                  <a:pt x="1782" y="984"/>
                </a:lnTo>
                <a:lnTo>
                  <a:pt x="1782" y="990"/>
                </a:lnTo>
                <a:lnTo>
                  <a:pt x="1776" y="996"/>
                </a:lnTo>
                <a:lnTo>
                  <a:pt x="1782" y="996"/>
                </a:lnTo>
                <a:lnTo>
                  <a:pt x="1776" y="996"/>
                </a:lnTo>
                <a:lnTo>
                  <a:pt x="1776" y="1002"/>
                </a:lnTo>
                <a:lnTo>
                  <a:pt x="1776" y="1008"/>
                </a:lnTo>
                <a:lnTo>
                  <a:pt x="1770" y="1014"/>
                </a:lnTo>
                <a:lnTo>
                  <a:pt x="1770" y="1020"/>
                </a:lnTo>
                <a:lnTo>
                  <a:pt x="1770" y="1026"/>
                </a:lnTo>
                <a:lnTo>
                  <a:pt x="1764" y="1032"/>
                </a:lnTo>
                <a:lnTo>
                  <a:pt x="1758" y="1038"/>
                </a:lnTo>
                <a:lnTo>
                  <a:pt x="1758" y="1044"/>
                </a:lnTo>
                <a:lnTo>
                  <a:pt x="1752" y="1050"/>
                </a:lnTo>
                <a:lnTo>
                  <a:pt x="1752" y="1056"/>
                </a:lnTo>
                <a:lnTo>
                  <a:pt x="1746" y="1062"/>
                </a:lnTo>
                <a:lnTo>
                  <a:pt x="1746" y="1068"/>
                </a:lnTo>
                <a:lnTo>
                  <a:pt x="1740" y="1068"/>
                </a:lnTo>
                <a:lnTo>
                  <a:pt x="1740" y="1074"/>
                </a:lnTo>
                <a:lnTo>
                  <a:pt x="1734" y="1074"/>
                </a:lnTo>
                <a:lnTo>
                  <a:pt x="1734" y="1080"/>
                </a:lnTo>
                <a:lnTo>
                  <a:pt x="1728" y="1080"/>
                </a:lnTo>
                <a:lnTo>
                  <a:pt x="1728" y="1086"/>
                </a:lnTo>
                <a:lnTo>
                  <a:pt x="1722" y="1086"/>
                </a:lnTo>
                <a:lnTo>
                  <a:pt x="1722" y="1092"/>
                </a:lnTo>
                <a:lnTo>
                  <a:pt x="1716" y="1098"/>
                </a:lnTo>
                <a:lnTo>
                  <a:pt x="1710" y="1104"/>
                </a:lnTo>
                <a:lnTo>
                  <a:pt x="1704" y="1110"/>
                </a:lnTo>
                <a:lnTo>
                  <a:pt x="1698" y="1116"/>
                </a:lnTo>
                <a:lnTo>
                  <a:pt x="1698" y="1122"/>
                </a:lnTo>
                <a:lnTo>
                  <a:pt x="1692" y="1122"/>
                </a:lnTo>
                <a:lnTo>
                  <a:pt x="1698" y="1122"/>
                </a:lnTo>
                <a:lnTo>
                  <a:pt x="1692" y="1122"/>
                </a:lnTo>
                <a:lnTo>
                  <a:pt x="1686" y="1128"/>
                </a:lnTo>
                <a:lnTo>
                  <a:pt x="1680" y="1128"/>
                </a:lnTo>
                <a:lnTo>
                  <a:pt x="1686" y="1128"/>
                </a:lnTo>
                <a:lnTo>
                  <a:pt x="1680" y="1134"/>
                </a:lnTo>
                <a:lnTo>
                  <a:pt x="1674" y="1140"/>
                </a:lnTo>
                <a:lnTo>
                  <a:pt x="1674" y="1146"/>
                </a:lnTo>
                <a:lnTo>
                  <a:pt x="1668" y="1152"/>
                </a:lnTo>
                <a:lnTo>
                  <a:pt x="1662" y="1158"/>
                </a:lnTo>
                <a:lnTo>
                  <a:pt x="1656" y="1164"/>
                </a:lnTo>
                <a:lnTo>
                  <a:pt x="1656" y="1170"/>
                </a:lnTo>
                <a:lnTo>
                  <a:pt x="1656" y="1176"/>
                </a:lnTo>
                <a:lnTo>
                  <a:pt x="1650" y="1176"/>
                </a:lnTo>
                <a:lnTo>
                  <a:pt x="1644" y="1182"/>
                </a:lnTo>
                <a:lnTo>
                  <a:pt x="1638" y="1182"/>
                </a:lnTo>
                <a:lnTo>
                  <a:pt x="1638" y="1188"/>
                </a:lnTo>
                <a:lnTo>
                  <a:pt x="1632" y="1194"/>
                </a:lnTo>
                <a:lnTo>
                  <a:pt x="1626" y="1194"/>
                </a:lnTo>
                <a:lnTo>
                  <a:pt x="1626" y="1200"/>
                </a:lnTo>
                <a:lnTo>
                  <a:pt x="1620" y="1200"/>
                </a:lnTo>
                <a:lnTo>
                  <a:pt x="1620" y="1206"/>
                </a:lnTo>
                <a:lnTo>
                  <a:pt x="1620" y="1212"/>
                </a:lnTo>
                <a:lnTo>
                  <a:pt x="1614" y="1218"/>
                </a:lnTo>
                <a:lnTo>
                  <a:pt x="1608" y="1230"/>
                </a:lnTo>
                <a:lnTo>
                  <a:pt x="1602" y="1230"/>
                </a:lnTo>
                <a:lnTo>
                  <a:pt x="1596" y="1236"/>
                </a:lnTo>
                <a:lnTo>
                  <a:pt x="1584" y="1236"/>
                </a:lnTo>
                <a:lnTo>
                  <a:pt x="1578" y="1242"/>
                </a:lnTo>
                <a:lnTo>
                  <a:pt x="1572" y="1242"/>
                </a:lnTo>
                <a:lnTo>
                  <a:pt x="1572" y="1248"/>
                </a:lnTo>
                <a:lnTo>
                  <a:pt x="1566" y="1248"/>
                </a:lnTo>
                <a:lnTo>
                  <a:pt x="1554" y="1254"/>
                </a:lnTo>
                <a:lnTo>
                  <a:pt x="1548" y="1260"/>
                </a:lnTo>
                <a:lnTo>
                  <a:pt x="1536" y="1272"/>
                </a:lnTo>
                <a:lnTo>
                  <a:pt x="1536" y="1278"/>
                </a:lnTo>
                <a:lnTo>
                  <a:pt x="1530" y="1284"/>
                </a:lnTo>
                <a:lnTo>
                  <a:pt x="1524" y="1290"/>
                </a:lnTo>
                <a:lnTo>
                  <a:pt x="1524" y="1296"/>
                </a:lnTo>
                <a:lnTo>
                  <a:pt x="1512" y="1308"/>
                </a:lnTo>
                <a:lnTo>
                  <a:pt x="1506" y="1314"/>
                </a:lnTo>
                <a:lnTo>
                  <a:pt x="1512" y="1314"/>
                </a:lnTo>
                <a:lnTo>
                  <a:pt x="1500" y="1320"/>
                </a:lnTo>
                <a:lnTo>
                  <a:pt x="1494" y="1332"/>
                </a:lnTo>
                <a:lnTo>
                  <a:pt x="1488" y="1338"/>
                </a:lnTo>
                <a:lnTo>
                  <a:pt x="1488" y="1350"/>
                </a:lnTo>
                <a:lnTo>
                  <a:pt x="1482" y="1350"/>
                </a:lnTo>
                <a:lnTo>
                  <a:pt x="1482" y="1356"/>
                </a:lnTo>
                <a:lnTo>
                  <a:pt x="1476" y="1362"/>
                </a:lnTo>
                <a:lnTo>
                  <a:pt x="1464" y="1386"/>
                </a:lnTo>
                <a:lnTo>
                  <a:pt x="1464" y="1392"/>
                </a:lnTo>
                <a:lnTo>
                  <a:pt x="1458" y="1404"/>
                </a:lnTo>
                <a:lnTo>
                  <a:pt x="1446" y="1422"/>
                </a:lnTo>
                <a:lnTo>
                  <a:pt x="1446" y="1428"/>
                </a:lnTo>
                <a:lnTo>
                  <a:pt x="1440" y="1434"/>
                </a:lnTo>
                <a:lnTo>
                  <a:pt x="1440" y="1440"/>
                </a:lnTo>
                <a:lnTo>
                  <a:pt x="1428" y="1452"/>
                </a:lnTo>
                <a:lnTo>
                  <a:pt x="1428" y="1458"/>
                </a:lnTo>
                <a:lnTo>
                  <a:pt x="1422" y="1464"/>
                </a:lnTo>
                <a:lnTo>
                  <a:pt x="1416" y="1476"/>
                </a:lnTo>
                <a:lnTo>
                  <a:pt x="1410" y="1476"/>
                </a:lnTo>
                <a:lnTo>
                  <a:pt x="1410" y="1482"/>
                </a:lnTo>
                <a:lnTo>
                  <a:pt x="1404" y="1488"/>
                </a:lnTo>
                <a:lnTo>
                  <a:pt x="1404" y="1494"/>
                </a:lnTo>
                <a:lnTo>
                  <a:pt x="1398" y="1494"/>
                </a:lnTo>
                <a:lnTo>
                  <a:pt x="1398" y="1500"/>
                </a:lnTo>
                <a:lnTo>
                  <a:pt x="1392" y="1500"/>
                </a:lnTo>
                <a:lnTo>
                  <a:pt x="1392" y="1506"/>
                </a:lnTo>
                <a:lnTo>
                  <a:pt x="1386" y="1512"/>
                </a:lnTo>
                <a:lnTo>
                  <a:pt x="1380" y="1518"/>
                </a:lnTo>
                <a:lnTo>
                  <a:pt x="1374" y="1524"/>
                </a:lnTo>
                <a:lnTo>
                  <a:pt x="1374" y="1530"/>
                </a:lnTo>
                <a:lnTo>
                  <a:pt x="1368" y="1530"/>
                </a:lnTo>
                <a:lnTo>
                  <a:pt x="1368" y="1536"/>
                </a:lnTo>
                <a:lnTo>
                  <a:pt x="1362" y="1536"/>
                </a:lnTo>
                <a:lnTo>
                  <a:pt x="1362" y="1542"/>
                </a:lnTo>
                <a:lnTo>
                  <a:pt x="1356" y="1542"/>
                </a:lnTo>
                <a:lnTo>
                  <a:pt x="1356" y="1548"/>
                </a:lnTo>
                <a:lnTo>
                  <a:pt x="1350" y="1548"/>
                </a:lnTo>
                <a:lnTo>
                  <a:pt x="1344" y="1554"/>
                </a:lnTo>
                <a:lnTo>
                  <a:pt x="1338" y="1554"/>
                </a:lnTo>
                <a:lnTo>
                  <a:pt x="1332" y="1554"/>
                </a:lnTo>
                <a:lnTo>
                  <a:pt x="1320" y="1554"/>
                </a:lnTo>
                <a:lnTo>
                  <a:pt x="1326" y="1548"/>
                </a:lnTo>
                <a:lnTo>
                  <a:pt x="1326" y="1542"/>
                </a:lnTo>
                <a:lnTo>
                  <a:pt x="1320" y="1548"/>
                </a:lnTo>
                <a:lnTo>
                  <a:pt x="1320" y="1554"/>
                </a:lnTo>
                <a:lnTo>
                  <a:pt x="1314" y="1554"/>
                </a:lnTo>
                <a:lnTo>
                  <a:pt x="1314" y="1560"/>
                </a:lnTo>
                <a:lnTo>
                  <a:pt x="1308" y="1560"/>
                </a:lnTo>
                <a:lnTo>
                  <a:pt x="1302" y="1566"/>
                </a:lnTo>
                <a:lnTo>
                  <a:pt x="1302" y="1572"/>
                </a:lnTo>
                <a:lnTo>
                  <a:pt x="1296" y="1572"/>
                </a:lnTo>
                <a:lnTo>
                  <a:pt x="1290" y="1572"/>
                </a:lnTo>
                <a:lnTo>
                  <a:pt x="1290" y="1578"/>
                </a:lnTo>
                <a:lnTo>
                  <a:pt x="1284" y="1578"/>
                </a:lnTo>
                <a:lnTo>
                  <a:pt x="1278" y="1584"/>
                </a:lnTo>
                <a:lnTo>
                  <a:pt x="1272" y="1590"/>
                </a:lnTo>
                <a:lnTo>
                  <a:pt x="1272" y="1602"/>
                </a:lnTo>
                <a:lnTo>
                  <a:pt x="1278" y="1602"/>
                </a:lnTo>
                <a:lnTo>
                  <a:pt x="1278" y="1608"/>
                </a:lnTo>
                <a:lnTo>
                  <a:pt x="1278" y="1602"/>
                </a:lnTo>
                <a:lnTo>
                  <a:pt x="1284" y="1608"/>
                </a:lnTo>
                <a:lnTo>
                  <a:pt x="1278" y="1608"/>
                </a:lnTo>
                <a:lnTo>
                  <a:pt x="1284" y="1608"/>
                </a:lnTo>
                <a:lnTo>
                  <a:pt x="1284" y="1614"/>
                </a:lnTo>
                <a:lnTo>
                  <a:pt x="1278" y="1614"/>
                </a:lnTo>
                <a:lnTo>
                  <a:pt x="1278" y="1620"/>
                </a:lnTo>
                <a:lnTo>
                  <a:pt x="1284" y="1620"/>
                </a:lnTo>
                <a:lnTo>
                  <a:pt x="1278" y="1620"/>
                </a:lnTo>
                <a:lnTo>
                  <a:pt x="1278" y="1626"/>
                </a:lnTo>
                <a:lnTo>
                  <a:pt x="1278" y="1632"/>
                </a:lnTo>
                <a:lnTo>
                  <a:pt x="1284" y="1632"/>
                </a:lnTo>
                <a:lnTo>
                  <a:pt x="1278" y="1632"/>
                </a:lnTo>
                <a:lnTo>
                  <a:pt x="1278" y="1638"/>
                </a:lnTo>
                <a:lnTo>
                  <a:pt x="1284" y="1638"/>
                </a:lnTo>
                <a:lnTo>
                  <a:pt x="1278" y="1644"/>
                </a:lnTo>
                <a:lnTo>
                  <a:pt x="1278" y="1638"/>
                </a:lnTo>
                <a:lnTo>
                  <a:pt x="1278" y="1644"/>
                </a:lnTo>
                <a:lnTo>
                  <a:pt x="1272" y="1644"/>
                </a:lnTo>
                <a:lnTo>
                  <a:pt x="1272" y="1650"/>
                </a:lnTo>
                <a:lnTo>
                  <a:pt x="1266" y="1650"/>
                </a:lnTo>
                <a:lnTo>
                  <a:pt x="1266" y="1656"/>
                </a:lnTo>
                <a:lnTo>
                  <a:pt x="1272" y="1662"/>
                </a:lnTo>
                <a:lnTo>
                  <a:pt x="1278" y="1668"/>
                </a:lnTo>
                <a:lnTo>
                  <a:pt x="1278" y="1674"/>
                </a:lnTo>
                <a:lnTo>
                  <a:pt x="1278" y="1686"/>
                </a:lnTo>
                <a:lnTo>
                  <a:pt x="1278" y="1692"/>
                </a:lnTo>
                <a:lnTo>
                  <a:pt x="1272" y="1692"/>
                </a:lnTo>
                <a:lnTo>
                  <a:pt x="1272" y="1698"/>
                </a:lnTo>
                <a:lnTo>
                  <a:pt x="1272" y="1704"/>
                </a:lnTo>
                <a:lnTo>
                  <a:pt x="1272" y="1710"/>
                </a:lnTo>
                <a:lnTo>
                  <a:pt x="1272" y="1716"/>
                </a:lnTo>
                <a:lnTo>
                  <a:pt x="1272" y="1722"/>
                </a:lnTo>
                <a:lnTo>
                  <a:pt x="1272" y="1728"/>
                </a:lnTo>
                <a:lnTo>
                  <a:pt x="1266" y="1728"/>
                </a:lnTo>
                <a:lnTo>
                  <a:pt x="1266" y="1734"/>
                </a:lnTo>
                <a:lnTo>
                  <a:pt x="1266" y="1740"/>
                </a:lnTo>
                <a:lnTo>
                  <a:pt x="1266" y="1746"/>
                </a:lnTo>
                <a:lnTo>
                  <a:pt x="1266" y="1752"/>
                </a:lnTo>
                <a:lnTo>
                  <a:pt x="1260" y="1758"/>
                </a:lnTo>
                <a:lnTo>
                  <a:pt x="1260" y="1770"/>
                </a:lnTo>
                <a:lnTo>
                  <a:pt x="1260" y="1776"/>
                </a:lnTo>
                <a:lnTo>
                  <a:pt x="1260" y="1782"/>
                </a:lnTo>
                <a:lnTo>
                  <a:pt x="1260" y="1788"/>
                </a:lnTo>
                <a:lnTo>
                  <a:pt x="1266" y="1788"/>
                </a:lnTo>
                <a:lnTo>
                  <a:pt x="1266" y="1794"/>
                </a:lnTo>
                <a:lnTo>
                  <a:pt x="1266" y="1800"/>
                </a:lnTo>
                <a:lnTo>
                  <a:pt x="1266" y="1806"/>
                </a:lnTo>
                <a:lnTo>
                  <a:pt x="1266" y="1812"/>
                </a:lnTo>
                <a:lnTo>
                  <a:pt x="1266" y="1830"/>
                </a:lnTo>
                <a:lnTo>
                  <a:pt x="1272" y="1842"/>
                </a:lnTo>
                <a:lnTo>
                  <a:pt x="1266" y="1842"/>
                </a:lnTo>
                <a:lnTo>
                  <a:pt x="1272" y="1848"/>
                </a:lnTo>
                <a:lnTo>
                  <a:pt x="1272" y="1854"/>
                </a:lnTo>
                <a:lnTo>
                  <a:pt x="1272" y="1866"/>
                </a:lnTo>
                <a:lnTo>
                  <a:pt x="1272" y="1872"/>
                </a:lnTo>
                <a:lnTo>
                  <a:pt x="1272" y="1878"/>
                </a:lnTo>
                <a:lnTo>
                  <a:pt x="1278" y="1878"/>
                </a:lnTo>
                <a:lnTo>
                  <a:pt x="1278" y="1884"/>
                </a:lnTo>
                <a:lnTo>
                  <a:pt x="1278" y="1890"/>
                </a:lnTo>
                <a:lnTo>
                  <a:pt x="1278" y="1902"/>
                </a:lnTo>
                <a:lnTo>
                  <a:pt x="1278" y="1908"/>
                </a:lnTo>
                <a:lnTo>
                  <a:pt x="1284" y="1914"/>
                </a:lnTo>
                <a:lnTo>
                  <a:pt x="1284" y="1920"/>
                </a:lnTo>
                <a:lnTo>
                  <a:pt x="1284" y="1926"/>
                </a:lnTo>
                <a:lnTo>
                  <a:pt x="1290" y="1926"/>
                </a:lnTo>
                <a:lnTo>
                  <a:pt x="1284" y="1926"/>
                </a:lnTo>
                <a:lnTo>
                  <a:pt x="1284" y="1932"/>
                </a:lnTo>
                <a:lnTo>
                  <a:pt x="1278" y="1944"/>
                </a:lnTo>
                <a:lnTo>
                  <a:pt x="1278" y="1950"/>
                </a:lnTo>
                <a:lnTo>
                  <a:pt x="1278" y="1956"/>
                </a:lnTo>
                <a:lnTo>
                  <a:pt x="1272" y="1956"/>
                </a:lnTo>
                <a:lnTo>
                  <a:pt x="1272" y="1962"/>
                </a:lnTo>
                <a:lnTo>
                  <a:pt x="1278" y="1968"/>
                </a:lnTo>
                <a:lnTo>
                  <a:pt x="1272" y="1968"/>
                </a:lnTo>
                <a:lnTo>
                  <a:pt x="1272" y="1974"/>
                </a:lnTo>
                <a:lnTo>
                  <a:pt x="1266" y="1974"/>
                </a:lnTo>
                <a:lnTo>
                  <a:pt x="1266" y="1980"/>
                </a:lnTo>
                <a:lnTo>
                  <a:pt x="1266" y="1986"/>
                </a:lnTo>
                <a:lnTo>
                  <a:pt x="1266" y="1992"/>
                </a:lnTo>
                <a:lnTo>
                  <a:pt x="1266" y="1998"/>
                </a:lnTo>
                <a:lnTo>
                  <a:pt x="1260" y="1998"/>
                </a:lnTo>
                <a:lnTo>
                  <a:pt x="1260" y="2004"/>
                </a:lnTo>
                <a:lnTo>
                  <a:pt x="1260" y="2010"/>
                </a:lnTo>
                <a:lnTo>
                  <a:pt x="1260" y="2016"/>
                </a:lnTo>
                <a:lnTo>
                  <a:pt x="1260" y="2022"/>
                </a:lnTo>
                <a:lnTo>
                  <a:pt x="1254" y="2022"/>
                </a:lnTo>
                <a:lnTo>
                  <a:pt x="1254" y="2028"/>
                </a:lnTo>
                <a:lnTo>
                  <a:pt x="1254" y="2034"/>
                </a:lnTo>
                <a:lnTo>
                  <a:pt x="1254" y="2040"/>
                </a:lnTo>
                <a:lnTo>
                  <a:pt x="1254" y="2046"/>
                </a:lnTo>
                <a:lnTo>
                  <a:pt x="1248" y="2040"/>
                </a:lnTo>
                <a:lnTo>
                  <a:pt x="1248" y="2046"/>
                </a:lnTo>
                <a:lnTo>
                  <a:pt x="1248" y="2052"/>
                </a:lnTo>
                <a:lnTo>
                  <a:pt x="1248" y="2058"/>
                </a:lnTo>
                <a:lnTo>
                  <a:pt x="1254" y="2058"/>
                </a:lnTo>
                <a:lnTo>
                  <a:pt x="1254" y="2064"/>
                </a:lnTo>
                <a:lnTo>
                  <a:pt x="1248" y="2070"/>
                </a:lnTo>
                <a:lnTo>
                  <a:pt x="1248" y="2076"/>
                </a:lnTo>
                <a:lnTo>
                  <a:pt x="1248" y="2082"/>
                </a:lnTo>
                <a:lnTo>
                  <a:pt x="1248" y="2088"/>
                </a:lnTo>
                <a:lnTo>
                  <a:pt x="1242" y="2088"/>
                </a:lnTo>
                <a:lnTo>
                  <a:pt x="1242" y="2094"/>
                </a:lnTo>
                <a:lnTo>
                  <a:pt x="1242" y="2100"/>
                </a:lnTo>
                <a:lnTo>
                  <a:pt x="1242" y="2106"/>
                </a:lnTo>
                <a:lnTo>
                  <a:pt x="1242" y="2112"/>
                </a:lnTo>
                <a:lnTo>
                  <a:pt x="1242" y="2118"/>
                </a:lnTo>
                <a:lnTo>
                  <a:pt x="1242" y="2124"/>
                </a:lnTo>
                <a:lnTo>
                  <a:pt x="1242" y="2130"/>
                </a:lnTo>
                <a:lnTo>
                  <a:pt x="1242" y="2136"/>
                </a:lnTo>
                <a:lnTo>
                  <a:pt x="1242" y="2142"/>
                </a:lnTo>
                <a:lnTo>
                  <a:pt x="1242" y="2148"/>
                </a:lnTo>
                <a:lnTo>
                  <a:pt x="1242" y="2154"/>
                </a:lnTo>
                <a:lnTo>
                  <a:pt x="1248" y="2166"/>
                </a:lnTo>
                <a:lnTo>
                  <a:pt x="1254" y="2166"/>
                </a:lnTo>
                <a:lnTo>
                  <a:pt x="1248" y="2166"/>
                </a:lnTo>
                <a:lnTo>
                  <a:pt x="1242" y="2172"/>
                </a:lnTo>
                <a:lnTo>
                  <a:pt x="1248" y="2172"/>
                </a:lnTo>
                <a:lnTo>
                  <a:pt x="1242" y="2178"/>
                </a:lnTo>
                <a:lnTo>
                  <a:pt x="1236" y="2184"/>
                </a:lnTo>
                <a:lnTo>
                  <a:pt x="1236" y="2190"/>
                </a:lnTo>
                <a:lnTo>
                  <a:pt x="1224" y="2190"/>
                </a:lnTo>
                <a:lnTo>
                  <a:pt x="1218" y="2196"/>
                </a:lnTo>
                <a:lnTo>
                  <a:pt x="1212" y="2196"/>
                </a:lnTo>
                <a:lnTo>
                  <a:pt x="1206" y="2202"/>
                </a:lnTo>
                <a:lnTo>
                  <a:pt x="1206" y="2208"/>
                </a:lnTo>
                <a:lnTo>
                  <a:pt x="1200" y="2208"/>
                </a:lnTo>
                <a:lnTo>
                  <a:pt x="1200" y="2220"/>
                </a:lnTo>
                <a:lnTo>
                  <a:pt x="1194" y="2214"/>
                </a:lnTo>
                <a:lnTo>
                  <a:pt x="1194" y="2220"/>
                </a:lnTo>
                <a:lnTo>
                  <a:pt x="1194" y="2214"/>
                </a:lnTo>
                <a:lnTo>
                  <a:pt x="1194" y="2220"/>
                </a:lnTo>
                <a:lnTo>
                  <a:pt x="1194" y="2226"/>
                </a:lnTo>
                <a:lnTo>
                  <a:pt x="1188" y="2238"/>
                </a:lnTo>
                <a:lnTo>
                  <a:pt x="1182" y="2244"/>
                </a:lnTo>
                <a:lnTo>
                  <a:pt x="1182" y="2250"/>
                </a:lnTo>
                <a:lnTo>
                  <a:pt x="1176" y="2250"/>
                </a:lnTo>
                <a:lnTo>
                  <a:pt x="1152" y="2226"/>
                </a:lnTo>
                <a:lnTo>
                  <a:pt x="1146" y="2226"/>
                </a:lnTo>
                <a:lnTo>
                  <a:pt x="1128" y="2214"/>
                </a:lnTo>
                <a:lnTo>
                  <a:pt x="1110" y="2202"/>
                </a:lnTo>
                <a:lnTo>
                  <a:pt x="1104" y="2202"/>
                </a:lnTo>
                <a:lnTo>
                  <a:pt x="1104" y="2196"/>
                </a:lnTo>
                <a:lnTo>
                  <a:pt x="1110" y="2190"/>
                </a:lnTo>
                <a:lnTo>
                  <a:pt x="1116" y="2184"/>
                </a:lnTo>
                <a:lnTo>
                  <a:pt x="1110" y="2184"/>
                </a:lnTo>
                <a:lnTo>
                  <a:pt x="1110" y="2178"/>
                </a:lnTo>
                <a:lnTo>
                  <a:pt x="1110" y="2172"/>
                </a:lnTo>
                <a:lnTo>
                  <a:pt x="1104" y="2172"/>
                </a:lnTo>
                <a:lnTo>
                  <a:pt x="1104" y="2166"/>
                </a:lnTo>
                <a:lnTo>
                  <a:pt x="1098" y="2166"/>
                </a:lnTo>
                <a:lnTo>
                  <a:pt x="1098" y="2160"/>
                </a:lnTo>
                <a:lnTo>
                  <a:pt x="1092" y="2160"/>
                </a:lnTo>
                <a:lnTo>
                  <a:pt x="1092" y="2154"/>
                </a:lnTo>
                <a:lnTo>
                  <a:pt x="1092" y="2160"/>
                </a:lnTo>
                <a:lnTo>
                  <a:pt x="1092" y="2154"/>
                </a:lnTo>
                <a:lnTo>
                  <a:pt x="1086" y="2154"/>
                </a:lnTo>
                <a:lnTo>
                  <a:pt x="1086" y="2148"/>
                </a:lnTo>
                <a:lnTo>
                  <a:pt x="1080" y="2148"/>
                </a:lnTo>
                <a:lnTo>
                  <a:pt x="1074" y="2142"/>
                </a:lnTo>
                <a:lnTo>
                  <a:pt x="1074" y="2136"/>
                </a:lnTo>
                <a:lnTo>
                  <a:pt x="1068" y="2136"/>
                </a:lnTo>
                <a:lnTo>
                  <a:pt x="1068" y="2130"/>
                </a:lnTo>
                <a:lnTo>
                  <a:pt x="1062" y="2130"/>
                </a:lnTo>
                <a:lnTo>
                  <a:pt x="1056" y="2130"/>
                </a:lnTo>
                <a:lnTo>
                  <a:pt x="1062" y="2124"/>
                </a:lnTo>
                <a:lnTo>
                  <a:pt x="1062" y="2118"/>
                </a:lnTo>
                <a:lnTo>
                  <a:pt x="1062" y="2112"/>
                </a:lnTo>
                <a:lnTo>
                  <a:pt x="1068" y="2112"/>
                </a:lnTo>
                <a:lnTo>
                  <a:pt x="1062" y="2106"/>
                </a:lnTo>
                <a:lnTo>
                  <a:pt x="1068" y="2106"/>
                </a:lnTo>
                <a:lnTo>
                  <a:pt x="1068" y="2100"/>
                </a:lnTo>
                <a:lnTo>
                  <a:pt x="1062" y="2100"/>
                </a:lnTo>
                <a:lnTo>
                  <a:pt x="1062" y="2094"/>
                </a:lnTo>
                <a:lnTo>
                  <a:pt x="1068" y="2094"/>
                </a:lnTo>
                <a:lnTo>
                  <a:pt x="1068" y="2088"/>
                </a:lnTo>
                <a:lnTo>
                  <a:pt x="1062" y="2088"/>
                </a:lnTo>
                <a:lnTo>
                  <a:pt x="1062" y="2082"/>
                </a:lnTo>
                <a:lnTo>
                  <a:pt x="1068" y="2076"/>
                </a:lnTo>
                <a:lnTo>
                  <a:pt x="1068" y="2070"/>
                </a:lnTo>
                <a:lnTo>
                  <a:pt x="1074" y="2070"/>
                </a:lnTo>
                <a:lnTo>
                  <a:pt x="1074" y="2064"/>
                </a:lnTo>
                <a:lnTo>
                  <a:pt x="1074" y="2058"/>
                </a:lnTo>
                <a:lnTo>
                  <a:pt x="1080" y="2058"/>
                </a:lnTo>
                <a:lnTo>
                  <a:pt x="1080" y="2064"/>
                </a:lnTo>
                <a:lnTo>
                  <a:pt x="1080" y="2058"/>
                </a:lnTo>
                <a:lnTo>
                  <a:pt x="1086" y="2064"/>
                </a:lnTo>
                <a:lnTo>
                  <a:pt x="1086" y="2058"/>
                </a:lnTo>
                <a:lnTo>
                  <a:pt x="1092" y="2058"/>
                </a:lnTo>
                <a:lnTo>
                  <a:pt x="1092" y="2064"/>
                </a:lnTo>
                <a:lnTo>
                  <a:pt x="1098" y="2064"/>
                </a:lnTo>
                <a:lnTo>
                  <a:pt x="1104" y="2064"/>
                </a:lnTo>
                <a:lnTo>
                  <a:pt x="1104" y="2058"/>
                </a:lnTo>
                <a:lnTo>
                  <a:pt x="1104" y="2052"/>
                </a:lnTo>
                <a:lnTo>
                  <a:pt x="1104" y="2046"/>
                </a:lnTo>
                <a:lnTo>
                  <a:pt x="1104" y="2052"/>
                </a:lnTo>
                <a:lnTo>
                  <a:pt x="1098" y="2046"/>
                </a:lnTo>
                <a:lnTo>
                  <a:pt x="1098" y="2052"/>
                </a:lnTo>
                <a:lnTo>
                  <a:pt x="1092" y="2046"/>
                </a:lnTo>
                <a:lnTo>
                  <a:pt x="1098" y="2040"/>
                </a:lnTo>
                <a:lnTo>
                  <a:pt x="1098" y="2034"/>
                </a:lnTo>
                <a:lnTo>
                  <a:pt x="1098" y="2028"/>
                </a:lnTo>
                <a:lnTo>
                  <a:pt x="1104" y="2022"/>
                </a:lnTo>
                <a:lnTo>
                  <a:pt x="1110" y="2016"/>
                </a:lnTo>
                <a:lnTo>
                  <a:pt x="1110" y="2022"/>
                </a:lnTo>
                <a:lnTo>
                  <a:pt x="1116" y="2022"/>
                </a:lnTo>
                <a:lnTo>
                  <a:pt x="1116" y="2016"/>
                </a:lnTo>
                <a:lnTo>
                  <a:pt x="1116" y="2010"/>
                </a:lnTo>
                <a:lnTo>
                  <a:pt x="1122" y="2010"/>
                </a:lnTo>
                <a:lnTo>
                  <a:pt x="1122" y="2004"/>
                </a:lnTo>
                <a:lnTo>
                  <a:pt x="1128" y="2004"/>
                </a:lnTo>
                <a:lnTo>
                  <a:pt x="1128" y="1998"/>
                </a:lnTo>
                <a:lnTo>
                  <a:pt x="1128" y="2004"/>
                </a:lnTo>
                <a:lnTo>
                  <a:pt x="1134" y="2004"/>
                </a:lnTo>
                <a:lnTo>
                  <a:pt x="1134" y="1998"/>
                </a:lnTo>
                <a:lnTo>
                  <a:pt x="1134" y="1992"/>
                </a:lnTo>
                <a:lnTo>
                  <a:pt x="1140" y="1992"/>
                </a:lnTo>
                <a:lnTo>
                  <a:pt x="1140" y="1986"/>
                </a:lnTo>
                <a:lnTo>
                  <a:pt x="1146" y="1986"/>
                </a:lnTo>
                <a:lnTo>
                  <a:pt x="1146" y="1980"/>
                </a:lnTo>
                <a:lnTo>
                  <a:pt x="1152" y="1980"/>
                </a:lnTo>
                <a:lnTo>
                  <a:pt x="1146" y="1980"/>
                </a:lnTo>
                <a:lnTo>
                  <a:pt x="1152" y="1974"/>
                </a:lnTo>
                <a:lnTo>
                  <a:pt x="1152" y="1968"/>
                </a:lnTo>
                <a:lnTo>
                  <a:pt x="1152" y="1962"/>
                </a:lnTo>
                <a:lnTo>
                  <a:pt x="1158" y="1962"/>
                </a:lnTo>
                <a:lnTo>
                  <a:pt x="1158" y="1956"/>
                </a:lnTo>
                <a:lnTo>
                  <a:pt x="1152" y="1956"/>
                </a:lnTo>
                <a:lnTo>
                  <a:pt x="1152" y="1950"/>
                </a:lnTo>
                <a:lnTo>
                  <a:pt x="1146" y="1950"/>
                </a:lnTo>
                <a:lnTo>
                  <a:pt x="1152" y="1944"/>
                </a:lnTo>
                <a:lnTo>
                  <a:pt x="1146" y="1944"/>
                </a:lnTo>
                <a:lnTo>
                  <a:pt x="1140" y="1944"/>
                </a:lnTo>
                <a:lnTo>
                  <a:pt x="1134" y="1944"/>
                </a:lnTo>
                <a:lnTo>
                  <a:pt x="1134" y="1938"/>
                </a:lnTo>
                <a:lnTo>
                  <a:pt x="1128" y="1938"/>
                </a:lnTo>
                <a:lnTo>
                  <a:pt x="1128" y="1932"/>
                </a:lnTo>
                <a:lnTo>
                  <a:pt x="1128" y="1938"/>
                </a:lnTo>
                <a:lnTo>
                  <a:pt x="1128" y="1932"/>
                </a:lnTo>
                <a:lnTo>
                  <a:pt x="1122" y="1932"/>
                </a:lnTo>
                <a:lnTo>
                  <a:pt x="1116" y="1932"/>
                </a:lnTo>
                <a:lnTo>
                  <a:pt x="1116" y="1926"/>
                </a:lnTo>
                <a:lnTo>
                  <a:pt x="1110" y="1926"/>
                </a:lnTo>
                <a:lnTo>
                  <a:pt x="1110" y="1920"/>
                </a:lnTo>
                <a:lnTo>
                  <a:pt x="1104" y="1920"/>
                </a:lnTo>
                <a:lnTo>
                  <a:pt x="1098" y="1920"/>
                </a:lnTo>
                <a:lnTo>
                  <a:pt x="1092" y="1920"/>
                </a:lnTo>
                <a:lnTo>
                  <a:pt x="1086" y="1920"/>
                </a:lnTo>
                <a:lnTo>
                  <a:pt x="1080" y="1914"/>
                </a:lnTo>
                <a:lnTo>
                  <a:pt x="1074" y="1914"/>
                </a:lnTo>
                <a:lnTo>
                  <a:pt x="1068" y="1914"/>
                </a:lnTo>
                <a:lnTo>
                  <a:pt x="1068" y="1920"/>
                </a:lnTo>
                <a:lnTo>
                  <a:pt x="1062" y="1920"/>
                </a:lnTo>
                <a:lnTo>
                  <a:pt x="1062" y="1914"/>
                </a:lnTo>
                <a:lnTo>
                  <a:pt x="1062" y="1908"/>
                </a:lnTo>
                <a:lnTo>
                  <a:pt x="1056" y="1908"/>
                </a:lnTo>
                <a:lnTo>
                  <a:pt x="1050" y="1908"/>
                </a:lnTo>
                <a:lnTo>
                  <a:pt x="1050" y="1902"/>
                </a:lnTo>
                <a:lnTo>
                  <a:pt x="1044" y="1902"/>
                </a:lnTo>
                <a:lnTo>
                  <a:pt x="1044" y="1908"/>
                </a:lnTo>
                <a:lnTo>
                  <a:pt x="1038" y="1908"/>
                </a:lnTo>
                <a:lnTo>
                  <a:pt x="1038" y="1902"/>
                </a:lnTo>
                <a:lnTo>
                  <a:pt x="1032" y="1902"/>
                </a:lnTo>
                <a:lnTo>
                  <a:pt x="1026" y="1902"/>
                </a:lnTo>
                <a:lnTo>
                  <a:pt x="1026" y="1908"/>
                </a:lnTo>
                <a:lnTo>
                  <a:pt x="1020" y="1902"/>
                </a:lnTo>
                <a:lnTo>
                  <a:pt x="1020" y="1908"/>
                </a:lnTo>
                <a:lnTo>
                  <a:pt x="1020" y="1902"/>
                </a:lnTo>
                <a:lnTo>
                  <a:pt x="1014" y="1902"/>
                </a:lnTo>
                <a:lnTo>
                  <a:pt x="1008" y="1908"/>
                </a:lnTo>
                <a:lnTo>
                  <a:pt x="1002" y="1908"/>
                </a:lnTo>
                <a:lnTo>
                  <a:pt x="996" y="1908"/>
                </a:lnTo>
                <a:lnTo>
                  <a:pt x="996" y="1914"/>
                </a:lnTo>
                <a:lnTo>
                  <a:pt x="990" y="1914"/>
                </a:lnTo>
                <a:lnTo>
                  <a:pt x="984" y="1914"/>
                </a:lnTo>
                <a:lnTo>
                  <a:pt x="978" y="1908"/>
                </a:lnTo>
                <a:lnTo>
                  <a:pt x="978" y="1914"/>
                </a:lnTo>
                <a:lnTo>
                  <a:pt x="972" y="1914"/>
                </a:lnTo>
                <a:lnTo>
                  <a:pt x="966" y="1914"/>
                </a:lnTo>
                <a:lnTo>
                  <a:pt x="966" y="1896"/>
                </a:lnTo>
                <a:lnTo>
                  <a:pt x="960" y="1878"/>
                </a:lnTo>
                <a:lnTo>
                  <a:pt x="948" y="1866"/>
                </a:lnTo>
                <a:lnTo>
                  <a:pt x="936" y="1854"/>
                </a:lnTo>
                <a:lnTo>
                  <a:pt x="906" y="1830"/>
                </a:lnTo>
                <a:lnTo>
                  <a:pt x="900" y="1830"/>
                </a:lnTo>
                <a:lnTo>
                  <a:pt x="894" y="1830"/>
                </a:lnTo>
                <a:lnTo>
                  <a:pt x="894" y="1836"/>
                </a:lnTo>
                <a:lnTo>
                  <a:pt x="888" y="1836"/>
                </a:lnTo>
                <a:lnTo>
                  <a:pt x="882" y="1836"/>
                </a:lnTo>
                <a:lnTo>
                  <a:pt x="876" y="1836"/>
                </a:lnTo>
                <a:lnTo>
                  <a:pt x="870" y="1836"/>
                </a:lnTo>
                <a:lnTo>
                  <a:pt x="864" y="1842"/>
                </a:lnTo>
                <a:lnTo>
                  <a:pt x="864" y="1836"/>
                </a:lnTo>
                <a:lnTo>
                  <a:pt x="864" y="1830"/>
                </a:lnTo>
                <a:lnTo>
                  <a:pt x="858" y="1830"/>
                </a:lnTo>
                <a:lnTo>
                  <a:pt x="858" y="1824"/>
                </a:lnTo>
                <a:lnTo>
                  <a:pt x="852" y="1824"/>
                </a:lnTo>
                <a:lnTo>
                  <a:pt x="852" y="1830"/>
                </a:lnTo>
                <a:lnTo>
                  <a:pt x="846" y="1830"/>
                </a:lnTo>
                <a:lnTo>
                  <a:pt x="840" y="1830"/>
                </a:lnTo>
                <a:lnTo>
                  <a:pt x="834" y="1830"/>
                </a:lnTo>
                <a:lnTo>
                  <a:pt x="834" y="1824"/>
                </a:lnTo>
                <a:lnTo>
                  <a:pt x="834" y="1830"/>
                </a:lnTo>
                <a:lnTo>
                  <a:pt x="828" y="1824"/>
                </a:lnTo>
                <a:lnTo>
                  <a:pt x="822" y="1824"/>
                </a:lnTo>
                <a:lnTo>
                  <a:pt x="822" y="1818"/>
                </a:lnTo>
                <a:lnTo>
                  <a:pt x="816" y="1818"/>
                </a:lnTo>
                <a:lnTo>
                  <a:pt x="816" y="1812"/>
                </a:lnTo>
                <a:lnTo>
                  <a:pt x="810" y="1812"/>
                </a:lnTo>
                <a:lnTo>
                  <a:pt x="804" y="1812"/>
                </a:lnTo>
                <a:lnTo>
                  <a:pt x="804" y="1806"/>
                </a:lnTo>
                <a:lnTo>
                  <a:pt x="798" y="1806"/>
                </a:lnTo>
                <a:lnTo>
                  <a:pt x="792" y="1806"/>
                </a:lnTo>
                <a:lnTo>
                  <a:pt x="792" y="1800"/>
                </a:lnTo>
                <a:lnTo>
                  <a:pt x="786" y="1800"/>
                </a:lnTo>
                <a:lnTo>
                  <a:pt x="780" y="1800"/>
                </a:lnTo>
                <a:lnTo>
                  <a:pt x="780" y="1794"/>
                </a:lnTo>
                <a:lnTo>
                  <a:pt x="774" y="1794"/>
                </a:lnTo>
                <a:lnTo>
                  <a:pt x="768" y="1788"/>
                </a:lnTo>
                <a:lnTo>
                  <a:pt x="762" y="1788"/>
                </a:lnTo>
                <a:lnTo>
                  <a:pt x="768" y="1788"/>
                </a:lnTo>
                <a:lnTo>
                  <a:pt x="768" y="1782"/>
                </a:lnTo>
                <a:lnTo>
                  <a:pt x="762" y="1782"/>
                </a:lnTo>
                <a:lnTo>
                  <a:pt x="756" y="1782"/>
                </a:lnTo>
                <a:lnTo>
                  <a:pt x="756" y="1776"/>
                </a:lnTo>
                <a:lnTo>
                  <a:pt x="750" y="1776"/>
                </a:lnTo>
                <a:lnTo>
                  <a:pt x="744" y="1776"/>
                </a:lnTo>
                <a:lnTo>
                  <a:pt x="738" y="1776"/>
                </a:lnTo>
                <a:lnTo>
                  <a:pt x="732" y="1770"/>
                </a:lnTo>
                <a:lnTo>
                  <a:pt x="732" y="1776"/>
                </a:lnTo>
                <a:lnTo>
                  <a:pt x="732" y="1770"/>
                </a:lnTo>
                <a:lnTo>
                  <a:pt x="726" y="1770"/>
                </a:lnTo>
                <a:lnTo>
                  <a:pt x="720" y="1770"/>
                </a:lnTo>
                <a:lnTo>
                  <a:pt x="714" y="1770"/>
                </a:lnTo>
                <a:lnTo>
                  <a:pt x="708" y="1770"/>
                </a:lnTo>
                <a:lnTo>
                  <a:pt x="708" y="1776"/>
                </a:lnTo>
                <a:lnTo>
                  <a:pt x="702" y="1776"/>
                </a:lnTo>
                <a:lnTo>
                  <a:pt x="696" y="1776"/>
                </a:lnTo>
                <a:lnTo>
                  <a:pt x="696" y="1782"/>
                </a:lnTo>
                <a:lnTo>
                  <a:pt x="690" y="1776"/>
                </a:lnTo>
                <a:lnTo>
                  <a:pt x="690" y="1782"/>
                </a:lnTo>
                <a:lnTo>
                  <a:pt x="690" y="1776"/>
                </a:lnTo>
                <a:lnTo>
                  <a:pt x="690" y="1782"/>
                </a:lnTo>
                <a:lnTo>
                  <a:pt x="684" y="1782"/>
                </a:lnTo>
                <a:lnTo>
                  <a:pt x="684" y="1788"/>
                </a:lnTo>
                <a:lnTo>
                  <a:pt x="678" y="1788"/>
                </a:lnTo>
                <a:lnTo>
                  <a:pt x="672" y="1782"/>
                </a:lnTo>
                <a:lnTo>
                  <a:pt x="666" y="1782"/>
                </a:lnTo>
                <a:lnTo>
                  <a:pt x="660" y="1782"/>
                </a:lnTo>
                <a:lnTo>
                  <a:pt x="660" y="1776"/>
                </a:lnTo>
                <a:lnTo>
                  <a:pt x="654" y="1782"/>
                </a:lnTo>
                <a:lnTo>
                  <a:pt x="654" y="1776"/>
                </a:lnTo>
                <a:lnTo>
                  <a:pt x="648" y="1776"/>
                </a:lnTo>
                <a:lnTo>
                  <a:pt x="642" y="1776"/>
                </a:lnTo>
                <a:lnTo>
                  <a:pt x="636" y="1770"/>
                </a:lnTo>
                <a:lnTo>
                  <a:pt x="630" y="1770"/>
                </a:lnTo>
                <a:lnTo>
                  <a:pt x="636" y="1770"/>
                </a:lnTo>
                <a:lnTo>
                  <a:pt x="630" y="1770"/>
                </a:lnTo>
                <a:lnTo>
                  <a:pt x="636" y="1770"/>
                </a:lnTo>
                <a:lnTo>
                  <a:pt x="630" y="1770"/>
                </a:lnTo>
                <a:lnTo>
                  <a:pt x="636" y="1770"/>
                </a:lnTo>
                <a:lnTo>
                  <a:pt x="630" y="1764"/>
                </a:lnTo>
                <a:lnTo>
                  <a:pt x="636" y="1764"/>
                </a:lnTo>
                <a:lnTo>
                  <a:pt x="630" y="1764"/>
                </a:lnTo>
                <a:lnTo>
                  <a:pt x="630" y="1758"/>
                </a:lnTo>
                <a:lnTo>
                  <a:pt x="636" y="1758"/>
                </a:lnTo>
                <a:lnTo>
                  <a:pt x="636" y="1752"/>
                </a:lnTo>
                <a:lnTo>
                  <a:pt x="636" y="1746"/>
                </a:lnTo>
                <a:lnTo>
                  <a:pt x="642" y="1740"/>
                </a:lnTo>
                <a:lnTo>
                  <a:pt x="642" y="1734"/>
                </a:lnTo>
                <a:lnTo>
                  <a:pt x="648" y="1728"/>
                </a:lnTo>
                <a:lnTo>
                  <a:pt x="642" y="1728"/>
                </a:lnTo>
                <a:lnTo>
                  <a:pt x="636" y="1728"/>
                </a:lnTo>
                <a:lnTo>
                  <a:pt x="636" y="1722"/>
                </a:lnTo>
                <a:lnTo>
                  <a:pt x="636" y="1728"/>
                </a:lnTo>
                <a:lnTo>
                  <a:pt x="636" y="1722"/>
                </a:lnTo>
                <a:lnTo>
                  <a:pt x="630" y="1722"/>
                </a:lnTo>
                <a:lnTo>
                  <a:pt x="624" y="1722"/>
                </a:lnTo>
                <a:lnTo>
                  <a:pt x="618" y="1722"/>
                </a:lnTo>
                <a:lnTo>
                  <a:pt x="612" y="1722"/>
                </a:lnTo>
                <a:lnTo>
                  <a:pt x="606" y="1722"/>
                </a:lnTo>
                <a:lnTo>
                  <a:pt x="606" y="1716"/>
                </a:lnTo>
                <a:lnTo>
                  <a:pt x="600" y="1716"/>
                </a:lnTo>
                <a:lnTo>
                  <a:pt x="600" y="1722"/>
                </a:lnTo>
                <a:lnTo>
                  <a:pt x="594" y="1716"/>
                </a:lnTo>
                <a:lnTo>
                  <a:pt x="594" y="1722"/>
                </a:lnTo>
                <a:lnTo>
                  <a:pt x="594" y="1716"/>
                </a:lnTo>
                <a:lnTo>
                  <a:pt x="588" y="1716"/>
                </a:lnTo>
                <a:lnTo>
                  <a:pt x="582" y="1716"/>
                </a:lnTo>
                <a:lnTo>
                  <a:pt x="576" y="1716"/>
                </a:lnTo>
                <a:lnTo>
                  <a:pt x="570" y="1716"/>
                </a:lnTo>
                <a:lnTo>
                  <a:pt x="570" y="1722"/>
                </a:lnTo>
                <a:lnTo>
                  <a:pt x="570" y="1716"/>
                </a:lnTo>
                <a:lnTo>
                  <a:pt x="570" y="1722"/>
                </a:lnTo>
                <a:lnTo>
                  <a:pt x="564" y="1722"/>
                </a:lnTo>
                <a:lnTo>
                  <a:pt x="558" y="1722"/>
                </a:lnTo>
                <a:lnTo>
                  <a:pt x="558" y="1728"/>
                </a:lnTo>
                <a:lnTo>
                  <a:pt x="552" y="1728"/>
                </a:lnTo>
                <a:lnTo>
                  <a:pt x="546" y="1728"/>
                </a:lnTo>
                <a:lnTo>
                  <a:pt x="540" y="1728"/>
                </a:lnTo>
                <a:lnTo>
                  <a:pt x="540" y="1734"/>
                </a:lnTo>
                <a:lnTo>
                  <a:pt x="534" y="1734"/>
                </a:lnTo>
                <a:lnTo>
                  <a:pt x="534" y="1740"/>
                </a:lnTo>
                <a:lnTo>
                  <a:pt x="528" y="1740"/>
                </a:lnTo>
                <a:lnTo>
                  <a:pt x="528" y="1746"/>
                </a:lnTo>
                <a:lnTo>
                  <a:pt x="528" y="1740"/>
                </a:lnTo>
                <a:lnTo>
                  <a:pt x="528" y="1746"/>
                </a:lnTo>
                <a:lnTo>
                  <a:pt x="522" y="1740"/>
                </a:lnTo>
                <a:lnTo>
                  <a:pt x="522" y="1746"/>
                </a:lnTo>
                <a:lnTo>
                  <a:pt x="516" y="1746"/>
                </a:lnTo>
                <a:lnTo>
                  <a:pt x="516" y="1752"/>
                </a:lnTo>
                <a:lnTo>
                  <a:pt x="510" y="1752"/>
                </a:lnTo>
                <a:lnTo>
                  <a:pt x="510" y="1746"/>
                </a:lnTo>
                <a:lnTo>
                  <a:pt x="510" y="1752"/>
                </a:lnTo>
                <a:lnTo>
                  <a:pt x="510" y="1758"/>
                </a:lnTo>
                <a:lnTo>
                  <a:pt x="504" y="1758"/>
                </a:lnTo>
                <a:lnTo>
                  <a:pt x="510" y="1758"/>
                </a:lnTo>
                <a:lnTo>
                  <a:pt x="504" y="1758"/>
                </a:lnTo>
                <a:lnTo>
                  <a:pt x="504" y="1764"/>
                </a:lnTo>
                <a:lnTo>
                  <a:pt x="498" y="1764"/>
                </a:lnTo>
                <a:lnTo>
                  <a:pt x="492" y="1764"/>
                </a:lnTo>
                <a:lnTo>
                  <a:pt x="492" y="1770"/>
                </a:lnTo>
                <a:lnTo>
                  <a:pt x="486" y="1770"/>
                </a:lnTo>
                <a:lnTo>
                  <a:pt x="480" y="1776"/>
                </a:lnTo>
                <a:lnTo>
                  <a:pt x="480" y="1782"/>
                </a:lnTo>
                <a:lnTo>
                  <a:pt x="474" y="1782"/>
                </a:lnTo>
                <a:lnTo>
                  <a:pt x="468" y="1782"/>
                </a:lnTo>
                <a:lnTo>
                  <a:pt x="462" y="1782"/>
                </a:lnTo>
                <a:lnTo>
                  <a:pt x="456" y="1782"/>
                </a:lnTo>
                <a:lnTo>
                  <a:pt x="456" y="1788"/>
                </a:lnTo>
                <a:lnTo>
                  <a:pt x="450" y="1788"/>
                </a:lnTo>
                <a:lnTo>
                  <a:pt x="450" y="1794"/>
                </a:lnTo>
                <a:lnTo>
                  <a:pt x="444" y="1794"/>
                </a:lnTo>
                <a:lnTo>
                  <a:pt x="444" y="1800"/>
                </a:lnTo>
                <a:lnTo>
                  <a:pt x="438" y="1800"/>
                </a:lnTo>
                <a:lnTo>
                  <a:pt x="438" y="1806"/>
                </a:lnTo>
                <a:lnTo>
                  <a:pt x="432" y="1806"/>
                </a:lnTo>
                <a:lnTo>
                  <a:pt x="426" y="1806"/>
                </a:lnTo>
                <a:lnTo>
                  <a:pt x="426" y="1812"/>
                </a:lnTo>
                <a:lnTo>
                  <a:pt x="426" y="1806"/>
                </a:lnTo>
                <a:lnTo>
                  <a:pt x="426" y="1812"/>
                </a:lnTo>
                <a:lnTo>
                  <a:pt x="420" y="1806"/>
                </a:lnTo>
                <a:lnTo>
                  <a:pt x="414" y="1806"/>
                </a:lnTo>
                <a:lnTo>
                  <a:pt x="414" y="1812"/>
                </a:lnTo>
                <a:lnTo>
                  <a:pt x="408" y="1812"/>
                </a:lnTo>
                <a:lnTo>
                  <a:pt x="408" y="1818"/>
                </a:lnTo>
                <a:lnTo>
                  <a:pt x="402" y="1818"/>
                </a:lnTo>
                <a:lnTo>
                  <a:pt x="402" y="1824"/>
                </a:lnTo>
                <a:lnTo>
                  <a:pt x="396" y="1824"/>
                </a:lnTo>
                <a:lnTo>
                  <a:pt x="396" y="1830"/>
                </a:lnTo>
                <a:lnTo>
                  <a:pt x="390" y="1830"/>
                </a:lnTo>
                <a:lnTo>
                  <a:pt x="384" y="1830"/>
                </a:lnTo>
                <a:lnTo>
                  <a:pt x="378" y="1830"/>
                </a:lnTo>
                <a:lnTo>
                  <a:pt x="378" y="1836"/>
                </a:lnTo>
                <a:lnTo>
                  <a:pt x="372" y="1836"/>
                </a:lnTo>
                <a:lnTo>
                  <a:pt x="366" y="1830"/>
                </a:lnTo>
                <a:lnTo>
                  <a:pt x="366" y="1836"/>
                </a:lnTo>
                <a:lnTo>
                  <a:pt x="360" y="1836"/>
                </a:lnTo>
                <a:lnTo>
                  <a:pt x="360" y="1842"/>
                </a:lnTo>
                <a:lnTo>
                  <a:pt x="354" y="1842"/>
                </a:lnTo>
                <a:lnTo>
                  <a:pt x="354" y="1848"/>
                </a:lnTo>
                <a:lnTo>
                  <a:pt x="348" y="1848"/>
                </a:lnTo>
                <a:lnTo>
                  <a:pt x="342" y="1848"/>
                </a:lnTo>
                <a:lnTo>
                  <a:pt x="342" y="1842"/>
                </a:lnTo>
                <a:lnTo>
                  <a:pt x="348" y="1842"/>
                </a:lnTo>
                <a:lnTo>
                  <a:pt x="348" y="1836"/>
                </a:lnTo>
                <a:lnTo>
                  <a:pt x="354" y="1836"/>
                </a:lnTo>
                <a:lnTo>
                  <a:pt x="348" y="1830"/>
                </a:lnTo>
                <a:lnTo>
                  <a:pt x="354" y="1830"/>
                </a:lnTo>
                <a:lnTo>
                  <a:pt x="354" y="1824"/>
                </a:lnTo>
                <a:lnTo>
                  <a:pt x="360" y="1818"/>
                </a:lnTo>
                <a:lnTo>
                  <a:pt x="360" y="1812"/>
                </a:lnTo>
                <a:lnTo>
                  <a:pt x="360" y="1806"/>
                </a:lnTo>
                <a:lnTo>
                  <a:pt x="354" y="1806"/>
                </a:lnTo>
                <a:lnTo>
                  <a:pt x="354" y="1800"/>
                </a:lnTo>
                <a:lnTo>
                  <a:pt x="354" y="1794"/>
                </a:lnTo>
                <a:lnTo>
                  <a:pt x="348" y="1794"/>
                </a:lnTo>
                <a:lnTo>
                  <a:pt x="354" y="1794"/>
                </a:lnTo>
                <a:lnTo>
                  <a:pt x="354" y="1788"/>
                </a:lnTo>
                <a:lnTo>
                  <a:pt x="354" y="1782"/>
                </a:lnTo>
                <a:lnTo>
                  <a:pt x="354" y="1776"/>
                </a:lnTo>
                <a:lnTo>
                  <a:pt x="354" y="1770"/>
                </a:lnTo>
                <a:lnTo>
                  <a:pt x="360" y="1770"/>
                </a:lnTo>
                <a:lnTo>
                  <a:pt x="360" y="1764"/>
                </a:lnTo>
                <a:lnTo>
                  <a:pt x="354" y="1764"/>
                </a:lnTo>
                <a:lnTo>
                  <a:pt x="360" y="1764"/>
                </a:lnTo>
                <a:lnTo>
                  <a:pt x="360" y="1758"/>
                </a:lnTo>
                <a:lnTo>
                  <a:pt x="360" y="1752"/>
                </a:lnTo>
                <a:lnTo>
                  <a:pt x="354" y="1752"/>
                </a:lnTo>
                <a:lnTo>
                  <a:pt x="360" y="1752"/>
                </a:lnTo>
                <a:lnTo>
                  <a:pt x="354" y="1752"/>
                </a:lnTo>
                <a:lnTo>
                  <a:pt x="360" y="1752"/>
                </a:lnTo>
                <a:lnTo>
                  <a:pt x="360" y="1746"/>
                </a:lnTo>
                <a:lnTo>
                  <a:pt x="354" y="1746"/>
                </a:lnTo>
                <a:lnTo>
                  <a:pt x="360" y="1740"/>
                </a:lnTo>
                <a:lnTo>
                  <a:pt x="354" y="1740"/>
                </a:lnTo>
                <a:lnTo>
                  <a:pt x="360" y="1740"/>
                </a:lnTo>
                <a:lnTo>
                  <a:pt x="366" y="1740"/>
                </a:lnTo>
                <a:lnTo>
                  <a:pt x="366" y="1734"/>
                </a:lnTo>
                <a:lnTo>
                  <a:pt x="372" y="1734"/>
                </a:lnTo>
                <a:lnTo>
                  <a:pt x="372" y="1728"/>
                </a:lnTo>
                <a:lnTo>
                  <a:pt x="366" y="1728"/>
                </a:lnTo>
                <a:lnTo>
                  <a:pt x="360" y="1722"/>
                </a:lnTo>
                <a:lnTo>
                  <a:pt x="360" y="1716"/>
                </a:lnTo>
                <a:lnTo>
                  <a:pt x="354" y="1716"/>
                </a:lnTo>
                <a:lnTo>
                  <a:pt x="348" y="1716"/>
                </a:lnTo>
                <a:lnTo>
                  <a:pt x="348" y="1710"/>
                </a:lnTo>
                <a:lnTo>
                  <a:pt x="342" y="1710"/>
                </a:lnTo>
                <a:lnTo>
                  <a:pt x="342" y="1704"/>
                </a:lnTo>
                <a:lnTo>
                  <a:pt x="336" y="1704"/>
                </a:lnTo>
                <a:lnTo>
                  <a:pt x="330" y="1704"/>
                </a:lnTo>
                <a:lnTo>
                  <a:pt x="330" y="1698"/>
                </a:lnTo>
                <a:lnTo>
                  <a:pt x="324" y="1698"/>
                </a:lnTo>
                <a:lnTo>
                  <a:pt x="330" y="1692"/>
                </a:lnTo>
                <a:lnTo>
                  <a:pt x="324" y="1692"/>
                </a:lnTo>
                <a:lnTo>
                  <a:pt x="330" y="1692"/>
                </a:lnTo>
                <a:lnTo>
                  <a:pt x="330" y="1686"/>
                </a:lnTo>
                <a:lnTo>
                  <a:pt x="330" y="1680"/>
                </a:lnTo>
                <a:lnTo>
                  <a:pt x="324" y="1680"/>
                </a:lnTo>
                <a:lnTo>
                  <a:pt x="324" y="1674"/>
                </a:lnTo>
                <a:lnTo>
                  <a:pt x="324" y="1668"/>
                </a:lnTo>
                <a:lnTo>
                  <a:pt x="324" y="1662"/>
                </a:lnTo>
                <a:lnTo>
                  <a:pt x="318" y="1656"/>
                </a:lnTo>
                <a:lnTo>
                  <a:pt x="324" y="1656"/>
                </a:lnTo>
                <a:lnTo>
                  <a:pt x="330" y="1656"/>
                </a:lnTo>
                <a:lnTo>
                  <a:pt x="324" y="1650"/>
                </a:lnTo>
                <a:lnTo>
                  <a:pt x="324" y="1644"/>
                </a:lnTo>
                <a:lnTo>
                  <a:pt x="324" y="1638"/>
                </a:lnTo>
                <a:lnTo>
                  <a:pt x="330" y="1638"/>
                </a:lnTo>
                <a:lnTo>
                  <a:pt x="330" y="1632"/>
                </a:lnTo>
                <a:lnTo>
                  <a:pt x="336" y="1632"/>
                </a:lnTo>
                <a:lnTo>
                  <a:pt x="336" y="1626"/>
                </a:lnTo>
                <a:lnTo>
                  <a:pt x="330" y="1632"/>
                </a:lnTo>
                <a:lnTo>
                  <a:pt x="330" y="1626"/>
                </a:lnTo>
                <a:lnTo>
                  <a:pt x="324" y="1626"/>
                </a:lnTo>
                <a:lnTo>
                  <a:pt x="324" y="1620"/>
                </a:lnTo>
                <a:lnTo>
                  <a:pt x="330" y="1620"/>
                </a:lnTo>
                <a:lnTo>
                  <a:pt x="330" y="1614"/>
                </a:lnTo>
                <a:lnTo>
                  <a:pt x="324" y="1614"/>
                </a:lnTo>
                <a:lnTo>
                  <a:pt x="324" y="1608"/>
                </a:lnTo>
                <a:lnTo>
                  <a:pt x="330" y="1608"/>
                </a:lnTo>
                <a:lnTo>
                  <a:pt x="336" y="1602"/>
                </a:lnTo>
                <a:lnTo>
                  <a:pt x="342" y="1602"/>
                </a:lnTo>
                <a:lnTo>
                  <a:pt x="342" y="1596"/>
                </a:lnTo>
                <a:lnTo>
                  <a:pt x="348" y="1596"/>
                </a:lnTo>
                <a:lnTo>
                  <a:pt x="354" y="1590"/>
                </a:lnTo>
                <a:lnTo>
                  <a:pt x="348" y="1590"/>
                </a:lnTo>
                <a:lnTo>
                  <a:pt x="342" y="1590"/>
                </a:lnTo>
                <a:lnTo>
                  <a:pt x="336" y="1596"/>
                </a:lnTo>
                <a:lnTo>
                  <a:pt x="330" y="1596"/>
                </a:lnTo>
                <a:lnTo>
                  <a:pt x="324" y="1596"/>
                </a:lnTo>
                <a:lnTo>
                  <a:pt x="324" y="1602"/>
                </a:lnTo>
                <a:lnTo>
                  <a:pt x="318" y="1602"/>
                </a:lnTo>
                <a:lnTo>
                  <a:pt x="318" y="1596"/>
                </a:lnTo>
                <a:lnTo>
                  <a:pt x="318" y="1590"/>
                </a:lnTo>
                <a:lnTo>
                  <a:pt x="312" y="1590"/>
                </a:lnTo>
                <a:lnTo>
                  <a:pt x="312" y="1584"/>
                </a:lnTo>
                <a:lnTo>
                  <a:pt x="318" y="1584"/>
                </a:lnTo>
                <a:lnTo>
                  <a:pt x="318" y="1578"/>
                </a:lnTo>
                <a:lnTo>
                  <a:pt x="318" y="1572"/>
                </a:lnTo>
                <a:lnTo>
                  <a:pt x="318" y="1566"/>
                </a:lnTo>
                <a:lnTo>
                  <a:pt x="318" y="1560"/>
                </a:lnTo>
                <a:lnTo>
                  <a:pt x="324" y="1560"/>
                </a:lnTo>
                <a:lnTo>
                  <a:pt x="324" y="1554"/>
                </a:lnTo>
                <a:lnTo>
                  <a:pt x="330" y="1554"/>
                </a:lnTo>
                <a:lnTo>
                  <a:pt x="336" y="1554"/>
                </a:lnTo>
                <a:lnTo>
                  <a:pt x="342" y="1548"/>
                </a:lnTo>
                <a:lnTo>
                  <a:pt x="342" y="1542"/>
                </a:lnTo>
                <a:lnTo>
                  <a:pt x="336" y="1542"/>
                </a:lnTo>
                <a:lnTo>
                  <a:pt x="330" y="1542"/>
                </a:lnTo>
                <a:lnTo>
                  <a:pt x="330" y="1548"/>
                </a:lnTo>
                <a:lnTo>
                  <a:pt x="324" y="1548"/>
                </a:lnTo>
                <a:lnTo>
                  <a:pt x="318" y="1548"/>
                </a:lnTo>
                <a:lnTo>
                  <a:pt x="318" y="1542"/>
                </a:lnTo>
                <a:lnTo>
                  <a:pt x="318" y="1536"/>
                </a:lnTo>
                <a:lnTo>
                  <a:pt x="324" y="1536"/>
                </a:lnTo>
                <a:lnTo>
                  <a:pt x="324" y="1530"/>
                </a:lnTo>
                <a:lnTo>
                  <a:pt x="318" y="1530"/>
                </a:lnTo>
                <a:lnTo>
                  <a:pt x="318" y="1524"/>
                </a:lnTo>
                <a:lnTo>
                  <a:pt x="324" y="1524"/>
                </a:lnTo>
                <a:lnTo>
                  <a:pt x="318" y="1524"/>
                </a:lnTo>
                <a:lnTo>
                  <a:pt x="324" y="1518"/>
                </a:lnTo>
                <a:lnTo>
                  <a:pt x="318" y="1518"/>
                </a:lnTo>
                <a:lnTo>
                  <a:pt x="318" y="1512"/>
                </a:lnTo>
                <a:lnTo>
                  <a:pt x="324" y="1512"/>
                </a:lnTo>
                <a:lnTo>
                  <a:pt x="324" y="1506"/>
                </a:lnTo>
                <a:lnTo>
                  <a:pt x="318" y="1506"/>
                </a:lnTo>
                <a:lnTo>
                  <a:pt x="324" y="1500"/>
                </a:lnTo>
                <a:lnTo>
                  <a:pt x="318" y="1500"/>
                </a:lnTo>
                <a:lnTo>
                  <a:pt x="324" y="1500"/>
                </a:lnTo>
                <a:lnTo>
                  <a:pt x="324" y="1494"/>
                </a:lnTo>
                <a:lnTo>
                  <a:pt x="330" y="1494"/>
                </a:lnTo>
                <a:lnTo>
                  <a:pt x="336" y="1494"/>
                </a:lnTo>
                <a:lnTo>
                  <a:pt x="336" y="1488"/>
                </a:lnTo>
                <a:lnTo>
                  <a:pt x="330" y="1488"/>
                </a:lnTo>
                <a:lnTo>
                  <a:pt x="324" y="1488"/>
                </a:lnTo>
                <a:lnTo>
                  <a:pt x="324" y="1482"/>
                </a:lnTo>
                <a:lnTo>
                  <a:pt x="324" y="1476"/>
                </a:lnTo>
                <a:lnTo>
                  <a:pt x="318" y="1476"/>
                </a:lnTo>
                <a:lnTo>
                  <a:pt x="318" y="1470"/>
                </a:lnTo>
                <a:lnTo>
                  <a:pt x="312" y="1470"/>
                </a:lnTo>
                <a:lnTo>
                  <a:pt x="312" y="1464"/>
                </a:lnTo>
                <a:lnTo>
                  <a:pt x="306" y="1464"/>
                </a:lnTo>
                <a:lnTo>
                  <a:pt x="312" y="1458"/>
                </a:lnTo>
                <a:lnTo>
                  <a:pt x="306" y="1458"/>
                </a:lnTo>
                <a:lnTo>
                  <a:pt x="312" y="1458"/>
                </a:lnTo>
                <a:lnTo>
                  <a:pt x="312" y="1452"/>
                </a:lnTo>
                <a:lnTo>
                  <a:pt x="306" y="1452"/>
                </a:lnTo>
                <a:lnTo>
                  <a:pt x="306" y="1446"/>
                </a:lnTo>
                <a:lnTo>
                  <a:pt x="306" y="1440"/>
                </a:lnTo>
                <a:lnTo>
                  <a:pt x="312" y="1440"/>
                </a:lnTo>
                <a:lnTo>
                  <a:pt x="306" y="1434"/>
                </a:lnTo>
                <a:lnTo>
                  <a:pt x="306" y="1428"/>
                </a:lnTo>
                <a:lnTo>
                  <a:pt x="306" y="1422"/>
                </a:lnTo>
                <a:lnTo>
                  <a:pt x="312" y="1422"/>
                </a:lnTo>
                <a:lnTo>
                  <a:pt x="312" y="1416"/>
                </a:lnTo>
                <a:lnTo>
                  <a:pt x="318" y="1416"/>
                </a:lnTo>
                <a:lnTo>
                  <a:pt x="324" y="1416"/>
                </a:lnTo>
                <a:lnTo>
                  <a:pt x="330" y="1416"/>
                </a:lnTo>
                <a:lnTo>
                  <a:pt x="336" y="1410"/>
                </a:lnTo>
                <a:lnTo>
                  <a:pt x="330" y="1410"/>
                </a:lnTo>
                <a:lnTo>
                  <a:pt x="324" y="1410"/>
                </a:lnTo>
                <a:lnTo>
                  <a:pt x="318" y="1410"/>
                </a:lnTo>
                <a:lnTo>
                  <a:pt x="312" y="1410"/>
                </a:lnTo>
                <a:lnTo>
                  <a:pt x="306" y="1410"/>
                </a:lnTo>
                <a:lnTo>
                  <a:pt x="306" y="1404"/>
                </a:lnTo>
                <a:lnTo>
                  <a:pt x="312" y="1404"/>
                </a:lnTo>
                <a:lnTo>
                  <a:pt x="312" y="1398"/>
                </a:lnTo>
                <a:lnTo>
                  <a:pt x="318" y="1392"/>
                </a:lnTo>
                <a:lnTo>
                  <a:pt x="312" y="1392"/>
                </a:lnTo>
                <a:lnTo>
                  <a:pt x="306" y="1392"/>
                </a:lnTo>
                <a:lnTo>
                  <a:pt x="312" y="1392"/>
                </a:lnTo>
                <a:lnTo>
                  <a:pt x="318" y="1386"/>
                </a:lnTo>
                <a:lnTo>
                  <a:pt x="318" y="1380"/>
                </a:lnTo>
                <a:lnTo>
                  <a:pt x="318" y="1374"/>
                </a:lnTo>
                <a:lnTo>
                  <a:pt x="324" y="1374"/>
                </a:lnTo>
                <a:lnTo>
                  <a:pt x="330" y="1380"/>
                </a:lnTo>
                <a:lnTo>
                  <a:pt x="336" y="1380"/>
                </a:lnTo>
                <a:lnTo>
                  <a:pt x="342" y="1380"/>
                </a:lnTo>
                <a:lnTo>
                  <a:pt x="348" y="1380"/>
                </a:lnTo>
                <a:lnTo>
                  <a:pt x="348" y="1374"/>
                </a:lnTo>
                <a:lnTo>
                  <a:pt x="342" y="1374"/>
                </a:lnTo>
                <a:lnTo>
                  <a:pt x="336" y="1374"/>
                </a:lnTo>
                <a:lnTo>
                  <a:pt x="330" y="1374"/>
                </a:lnTo>
                <a:lnTo>
                  <a:pt x="330" y="1368"/>
                </a:lnTo>
                <a:lnTo>
                  <a:pt x="324" y="1368"/>
                </a:lnTo>
                <a:lnTo>
                  <a:pt x="318" y="1368"/>
                </a:lnTo>
                <a:lnTo>
                  <a:pt x="318" y="1362"/>
                </a:lnTo>
                <a:lnTo>
                  <a:pt x="312" y="1368"/>
                </a:lnTo>
                <a:lnTo>
                  <a:pt x="312" y="1362"/>
                </a:lnTo>
                <a:lnTo>
                  <a:pt x="306" y="1362"/>
                </a:lnTo>
                <a:lnTo>
                  <a:pt x="300" y="1362"/>
                </a:lnTo>
                <a:lnTo>
                  <a:pt x="294" y="1362"/>
                </a:lnTo>
                <a:lnTo>
                  <a:pt x="288" y="1356"/>
                </a:lnTo>
                <a:lnTo>
                  <a:pt x="288" y="1350"/>
                </a:lnTo>
                <a:lnTo>
                  <a:pt x="288" y="1344"/>
                </a:lnTo>
                <a:lnTo>
                  <a:pt x="282" y="1344"/>
                </a:lnTo>
                <a:lnTo>
                  <a:pt x="276" y="1338"/>
                </a:lnTo>
                <a:lnTo>
                  <a:pt x="276" y="1332"/>
                </a:lnTo>
                <a:lnTo>
                  <a:pt x="282" y="1326"/>
                </a:lnTo>
                <a:lnTo>
                  <a:pt x="276" y="1326"/>
                </a:lnTo>
                <a:lnTo>
                  <a:pt x="282" y="1326"/>
                </a:lnTo>
                <a:lnTo>
                  <a:pt x="294" y="1320"/>
                </a:lnTo>
                <a:lnTo>
                  <a:pt x="300" y="1314"/>
                </a:lnTo>
                <a:lnTo>
                  <a:pt x="300" y="1308"/>
                </a:lnTo>
                <a:lnTo>
                  <a:pt x="300" y="1296"/>
                </a:lnTo>
                <a:lnTo>
                  <a:pt x="306" y="1296"/>
                </a:lnTo>
                <a:lnTo>
                  <a:pt x="306" y="1290"/>
                </a:lnTo>
                <a:lnTo>
                  <a:pt x="312" y="1290"/>
                </a:lnTo>
                <a:lnTo>
                  <a:pt x="312" y="1284"/>
                </a:lnTo>
                <a:lnTo>
                  <a:pt x="318" y="1284"/>
                </a:lnTo>
                <a:lnTo>
                  <a:pt x="318" y="1278"/>
                </a:lnTo>
                <a:lnTo>
                  <a:pt x="318" y="1272"/>
                </a:lnTo>
                <a:lnTo>
                  <a:pt x="324" y="1272"/>
                </a:lnTo>
                <a:lnTo>
                  <a:pt x="324" y="1266"/>
                </a:lnTo>
                <a:lnTo>
                  <a:pt x="330" y="1266"/>
                </a:lnTo>
                <a:lnTo>
                  <a:pt x="324" y="1266"/>
                </a:lnTo>
                <a:lnTo>
                  <a:pt x="324" y="1260"/>
                </a:lnTo>
                <a:lnTo>
                  <a:pt x="330" y="1260"/>
                </a:lnTo>
                <a:lnTo>
                  <a:pt x="330" y="1254"/>
                </a:lnTo>
                <a:lnTo>
                  <a:pt x="330" y="1248"/>
                </a:lnTo>
                <a:lnTo>
                  <a:pt x="336" y="1242"/>
                </a:lnTo>
                <a:lnTo>
                  <a:pt x="336" y="1248"/>
                </a:lnTo>
                <a:lnTo>
                  <a:pt x="342" y="1242"/>
                </a:lnTo>
                <a:lnTo>
                  <a:pt x="348" y="1242"/>
                </a:lnTo>
                <a:lnTo>
                  <a:pt x="348" y="1236"/>
                </a:lnTo>
                <a:lnTo>
                  <a:pt x="354" y="1236"/>
                </a:lnTo>
                <a:lnTo>
                  <a:pt x="360" y="1236"/>
                </a:lnTo>
                <a:lnTo>
                  <a:pt x="360" y="1230"/>
                </a:lnTo>
                <a:lnTo>
                  <a:pt x="366" y="1230"/>
                </a:lnTo>
                <a:lnTo>
                  <a:pt x="372" y="1224"/>
                </a:lnTo>
                <a:lnTo>
                  <a:pt x="372" y="1218"/>
                </a:lnTo>
                <a:lnTo>
                  <a:pt x="378" y="1224"/>
                </a:lnTo>
                <a:lnTo>
                  <a:pt x="378" y="1218"/>
                </a:lnTo>
                <a:lnTo>
                  <a:pt x="378" y="1212"/>
                </a:lnTo>
                <a:lnTo>
                  <a:pt x="384" y="1212"/>
                </a:lnTo>
                <a:lnTo>
                  <a:pt x="390" y="1212"/>
                </a:lnTo>
                <a:lnTo>
                  <a:pt x="390" y="1206"/>
                </a:lnTo>
                <a:lnTo>
                  <a:pt x="396" y="1206"/>
                </a:lnTo>
                <a:lnTo>
                  <a:pt x="396" y="1200"/>
                </a:lnTo>
                <a:lnTo>
                  <a:pt x="396" y="1194"/>
                </a:lnTo>
                <a:lnTo>
                  <a:pt x="396" y="1188"/>
                </a:lnTo>
                <a:lnTo>
                  <a:pt x="396" y="1182"/>
                </a:lnTo>
                <a:lnTo>
                  <a:pt x="390" y="1182"/>
                </a:lnTo>
                <a:lnTo>
                  <a:pt x="390" y="1188"/>
                </a:lnTo>
                <a:lnTo>
                  <a:pt x="390" y="1194"/>
                </a:lnTo>
                <a:lnTo>
                  <a:pt x="384" y="1200"/>
                </a:lnTo>
                <a:lnTo>
                  <a:pt x="378" y="1200"/>
                </a:lnTo>
                <a:lnTo>
                  <a:pt x="372" y="1194"/>
                </a:lnTo>
                <a:lnTo>
                  <a:pt x="366" y="1194"/>
                </a:lnTo>
                <a:lnTo>
                  <a:pt x="366" y="1200"/>
                </a:lnTo>
                <a:lnTo>
                  <a:pt x="360" y="1194"/>
                </a:lnTo>
                <a:lnTo>
                  <a:pt x="354" y="1200"/>
                </a:lnTo>
                <a:lnTo>
                  <a:pt x="354" y="1194"/>
                </a:lnTo>
                <a:lnTo>
                  <a:pt x="354" y="1188"/>
                </a:lnTo>
                <a:lnTo>
                  <a:pt x="348" y="1188"/>
                </a:lnTo>
                <a:lnTo>
                  <a:pt x="342" y="1194"/>
                </a:lnTo>
                <a:lnTo>
                  <a:pt x="342" y="1188"/>
                </a:lnTo>
                <a:lnTo>
                  <a:pt x="336" y="1194"/>
                </a:lnTo>
                <a:lnTo>
                  <a:pt x="330" y="1188"/>
                </a:lnTo>
                <a:lnTo>
                  <a:pt x="324" y="1188"/>
                </a:lnTo>
                <a:lnTo>
                  <a:pt x="318" y="1188"/>
                </a:lnTo>
                <a:lnTo>
                  <a:pt x="312" y="1188"/>
                </a:lnTo>
                <a:lnTo>
                  <a:pt x="306" y="1182"/>
                </a:lnTo>
                <a:lnTo>
                  <a:pt x="300" y="1176"/>
                </a:lnTo>
                <a:lnTo>
                  <a:pt x="300" y="1170"/>
                </a:lnTo>
                <a:lnTo>
                  <a:pt x="300" y="1164"/>
                </a:lnTo>
                <a:lnTo>
                  <a:pt x="294" y="1164"/>
                </a:lnTo>
                <a:lnTo>
                  <a:pt x="294" y="1158"/>
                </a:lnTo>
                <a:lnTo>
                  <a:pt x="294" y="1152"/>
                </a:lnTo>
                <a:lnTo>
                  <a:pt x="294" y="1146"/>
                </a:lnTo>
                <a:lnTo>
                  <a:pt x="294" y="1140"/>
                </a:lnTo>
                <a:lnTo>
                  <a:pt x="288" y="1140"/>
                </a:lnTo>
                <a:lnTo>
                  <a:pt x="282" y="1140"/>
                </a:lnTo>
                <a:lnTo>
                  <a:pt x="282" y="1134"/>
                </a:lnTo>
                <a:lnTo>
                  <a:pt x="282" y="1128"/>
                </a:lnTo>
                <a:lnTo>
                  <a:pt x="276" y="1134"/>
                </a:lnTo>
                <a:lnTo>
                  <a:pt x="276" y="1128"/>
                </a:lnTo>
                <a:lnTo>
                  <a:pt x="270" y="1128"/>
                </a:lnTo>
                <a:lnTo>
                  <a:pt x="276" y="1128"/>
                </a:lnTo>
                <a:lnTo>
                  <a:pt x="270" y="1122"/>
                </a:lnTo>
                <a:lnTo>
                  <a:pt x="276" y="1122"/>
                </a:lnTo>
                <a:lnTo>
                  <a:pt x="276" y="1116"/>
                </a:lnTo>
                <a:lnTo>
                  <a:pt x="282" y="1110"/>
                </a:lnTo>
                <a:lnTo>
                  <a:pt x="288" y="1104"/>
                </a:lnTo>
                <a:lnTo>
                  <a:pt x="282" y="1104"/>
                </a:lnTo>
                <a:lnTo>
                  <a:pt x="282" y="1098"/>
                </a:lnTo>
                <a:lnTo>
                  <a:pt x="276" y="1092"/>
                </a:lnTo>
                <a:lnTo>
                  <a:pt x="270" y="1092"/>
                </a:lnTo>
                <a:lnTo>
                  <a:pt x="276" y="1086"/>
                </a:lnTo>
                <a:lnTo>
                  <a:pt x="270" y="1086"/>
                </a:lnTo>
                <a:lnTo>
                  <a:pt x="264" y="1086"/>
                </a:lnTo>
                <a:lnTo>
                  <a:pt x="258" y="1086"/>
                </a:lnTo>
                <a:lnTo>
                  <a:pt x="258" y="1080"/>
                </a:lnTo>
                <a:lnTo>
                  <a:pt x="252" y="1080"/>
                </a:lnTo>
                <a:lnTo>
                  <a:pt x="252" y="1074"/>
                </a:lnTo>
                <a:lnTo>
                  <a:pt x="246" y="1074"/>
                </a:lnTo>
                <a:lnTo>
                  <a:pt x="246" y="1068"/>
                </a:lnTo>
                <a:lnTo>
                  <a:pt x="252" y="1068"/>
                </a:lnTo>
                <a:lnTo>
                  <a:pt x="252" y="1062"/>
                </a:lnTo>
                <a:lnTo>
                  <a:pt x="252" y="1056"/>
                </a:lnTo>
                <a:lnTo>
                  <a:pt x="246" y="1062"/>
                </a:lnTo>
                <a:lnTo>
                  <a:pt x="246" y="1056"/>
                </a:lnTo>
                <a:lnTo>
                  <a:pt x="246" y="1050"/>
                </a:lnTo>
                <a:lnTo>
                  <a:pt x="240" y="1050"/>
                </a:lnTo>
                <a:lnTo>
                  <a:pt x="234" y="1050"/>
                </a:lnTo>
                <a:lnTo>
                  <a:pt x="234" y="1044"/>
                </a:lnTo>
                <a:lnTo>
                  <a:pt x="240" y="1044"/>
                </a:lnTo>
                <a:lnTo>
                  <a:pt x="234" y="1044"/>
                </a:lnTo>
                <a:lnTo>
                  <a:pt x="228" y="1044"/>
                </a:lnTo>
                <a:lnTo>
                  <a:pt x="222" y="1044"/>
                </a:lnTo>
                <a:lnTo>
                  <a:pt x="216" y="1044"/>
                </a:lnTo>
                <a:lnTo>
                  <a:pt x="216" y="1038"/>
                </a:lnTo>
                <a:lnTo>
                  <a:pt x="222" y="1038"/>
                </a:lnTo>
                <a:lnTo>
                  <a:pt x="216" y="1038"/>
                </a:lnTo>
                <a:lnTo>
                  <a:pt x="222" y="1038"/>
                </a:lnTo>
                <a:lnTo>
                  <a:pt x="216" y="1038"/>
                </a:lnTo>
                <a:lnTo>
                  <a:pt x="216" y="1032"/>
                </a:lnTo>
                <a:lnTo>
                  <a:pt x="222" y="1032"/>
                </a:lnTo>
                <a:lnTo>
                  <a:pt x="228" y="1032"/>
                </a:lnTo>
                <a:lnTo>
                  <a:pt x="222" y="1026"/>
                </a:lnTo>
                <a:lnTo>
                  <a:pt x="228" y="1026"/>
                </a:lnTo>
                <a:lnTo>
                  <a:pt x="228" y="1020"/>
                </a:lnTo>
                <a:lnTo>
                  <a:pt x="228" y="1014"/>
                </a:lnTo>
                <a:lnTo>
                  <a:pt x="234" y="1014"/>
                </a:lnTo>
                <a:lnTo>
                  <a:pt x="234" y="1020"/>
                </a:lnTo>
                <a:lnTo>
                  <a:pt x="234" y="1014"/>
                </a:lnTo>
                <a:lnTo>
                  <a:pt x="240" y="1014"/>
                </a:lnTo>
                <a:lnTo>
                  <a:pt x="240" y="1008"/>
                </a:lnTo>
                <a:lnTo>
                  <a:pt x="240" y="1002"/>
                </a:lnTo>
                <a:lnTo>
                  <a:pt x="234" y="1002"/>
                </a:lnTo>
                <a:lnTo>
                  <a:pt x="234" y="996"/>
                </a:lnTo>
                <a:lnTo>
                  <a:pt x="240" y="996"/>
                </a:lnTo>
                <a:lnTo>
                  <a:pt x="240" y="990"/>
                </a:lnTo>
                <a:lnTo>
                  <a:pt x="240" y="984"/>
                </a:lnTo>
                <a:lnTo>
                  <a:pt x="240" y="978"/>
                </a:lnTo>
                <a:lnTo>
                  <a:pt x="240" y="984"/>
                </a:lnTo>
                <a:lnTo>
                  <a:pt x="240" y="978"/>
                </a:lnTo>
                <a:lnTo>
                  <a:pt x="246" y="978"/>
                </a:lnTo>
                <a:lnTo>
                  <a:pt x="240" y="978"/>
                </a:lnTo>
                <a:lnTo>
                  <a:pt x="246" y="978"/>
                </a:lnTo>
                <a:lnTo>
                  <a:pt x="246" y="972"/>
                </a:lnTo>
                <a:lnTo>
                  <a:pt x="246" y="966"/>
                </a:lnTo>
                <a:lnTo>
                  <a:pt x="252" y="966"/>
                </a:lnTo>
                <a:lnTo>
                  <a:pt x="252" y="960"/>
                </a:lnTo>
                <a:lnTo>
                  <a:pt x="252" y="954"/>
                </a:lnTo>
                <a:lnTo>
                  <a:pt x="258" y="954"/>
                </a:lnTo>
                <a:lnTo>
                  <a:pt x="264" y="954"/>
                </a:lnTo>
                <a:lnTo>
                  <a:pt x="264" y="948"/>
                </a:lnTo>
                <a:lnTo>
                  <a:pt x="270" y="948"/>
                </a:lnTo>
                <a:lnTo>
                  <a:pt x="276" y="942"/>
                </a:lnTo>
                <a:lnTo>
                  <a:pt x="276" y="948"/>
                </a:lnTo>
                <a:lnTo>
                  <a:pt x="282" y="948"/>
                </a:lnTo>
                <a:lnTo>
                  <a:pt x="288" y="942"/>
                </a:lnTo>
                <a:lnTo>
                  <a:pt x="294" y="936"/>
                </a:lnTo>
                <a:lnTo>
                  <a:pt x="288" y="936"/>
                </a:lnTo>
                <a:lnTo>
                  <a:pt x="294" y="930"/>
                </a:lnTo>
                <a:lnTo>
                  <a:pt x="288" y="930"/>
                </a:lnTo>
                <a:lnTo>
                  <a:pt x="288" y="924"/>
                </a:lnTo>
                <a:lnTo>
                  <a:pt x="294" y="918"/>
                </a:lnTo>
                <a:lnTo>
                  <a:pt x="294" y="912"/>
                </a:lnTo>
                <a:lnTo>
                  <a:pt x="294" y="906"/>
                </a:lnTo>
                <a:lnTo>
                  <a:pt x="294" y="900"/>
                </a:lnTo>
                <a:lnTo>
                  <a:pt x="288" y="900"/>
                </a:lnTo>
                <a:lnTo>
                  <a:pt x="288" y="894"/>
                </a:lnTo>
                <a:lnTo>
                  <a:pt x="282" y="894"/>
                </a:lnTo>
                <a:lnTo>
                  <a:pt x="282" y="888"/>
                </a:lnTo>
                <a:lnTo>
                  <a:pt x="276" y="888"/>
                </a:lnTo>
                <a:lnTo>
                  <a:pt x="276" y="894"/>
                </a:lnTo>
                <a:lnTo>
                  <a:pt x="270" y="894"/>
                </a:lnTo>
                <a:lnTo>
                  <a:pt x="270" y="888"/>
                </a:lnTo>
                <a:lnTo>
                  <a:pt x="270" y="894"/>
                </a:lnTo>
                <a:lnTo>
                  <a:pt x="264" y="894"/>
                </a:lnTo>
                <a:lnTo>
                  <a:pt x="258" y="894"/>
                </a:lnTo>
                <a:lnTo>
                  <a:pt x="258" y="900"/>
                </a:lnTo>
                <a:lnTo>
                  <a:pt x="252" y="900"/>
                </a:lnTo>
                <a:lnTo>
                  <a:pt x="252" y="894"/>
                </a:lnTo>
                <a:lnTo>
                  <a:pt x="252" y="900"/>
                </a:lnTo>
                <a:lnTo>
                  <a:pt x="252" y="894"/>
                </a:lnTo>
                <a:lnTo>
                  <a:pt x="252" y="900"/>
                </a:lnTo>
                <a:lnTo>
                  <a:pt x="246" y="900"/>
                </a:lnTo>
                <a:lnTo>
                  <a:pt x="240" y="900"/>
                </a:lnTo>
                <a:lnTo>
                  <a:pt x="234" y="900"/>
                </a:lnTo>
                <a:lnTo>
                  <a:pt x="240" y="900"/>
                </a:lnTo>
                <a:lnTo>
                  <a:pt x="234" y="900"/>
                </a:lnTo>
                <a:lnTo>
                  <a:pt x="234" y="906"/>
                </a:lnTo>
                <a:lnTo>
                  <a:pt x="228" y="912"/>
                </a:lnTo>
                <a:lnTo>
                  <a:pt x="222" y="912"/>
                </a:lnTo>
                <a:lnTo>
                  <a:pt x="222" y="906"/>
                </a:lnTo>
                <a:lnTo>
                  <a:pt x="216" y="906"/>
                </a:lnTo>
                <a:lnTo>
                  <a:pt x="216" y="900"/>
                </a:lnTo>
                <a:lnTo>
                  <a:pt x="210" y="900"/>
                </a:lnTo>
                <a:lnTo>
                  <a:pt x="216" y="900"/>
                </a:lnTo>
                <a:lnTo>
                  <a:pt x="210" y="900"/>
                </a:lnTo>
                <a:lnTo>
                  <a:pt x="210" y="894"/>
                </a:lnTo>
                <a:lnTo>
                  <a:pt x="210" y="888"/>
                </a:lnTo>
                <a:lnTo>
                  <a:pt x="204" y="888"/>
                </a:lnTo>
                <a:lnTo>
                  <a:pt x="204" y="882"/>
                </a:lnTo>
                <a:lnTo>
                  <a:pt x="198" y="882"/>
                </a:lnTo>
                <a:lnTo>
                  <a:pt x="192" y="876"/>
                </a:lnTo>
                <a:lnTo>
                  <a:pt x="198" y="876"/>
                </a:lnTo>
                <a:lnTo>
                  <a:pt x="192" y="876"/>
                </a:lnTo>
                <a:lnTo>
                  <a:pt x="198" y="876"/>
                </a:lnTo>
                <a:lnTo>
                  <a:pt x="192" y="876"/>
                </a:lnTo>
                <a:lnTo>
                  <a:pt x="192" y="870"/>
                </a:lnTo>
                <a:lnTo>
                  <a:pt x="186" y="870"/>
                </a:lnTo>
                <a:lnTo>
                  <a:pt x="186" y="864"/>
                </a:lnTo>
                <a:lnTo>
                  <a:pt x="186" y="858"/>
                </a:lnTo>
                <a:lnTo>
                  <a:pt x="180" y="858"/>
                </a:lnTo>
                <a:lnTo>
                  <a:pt x="186" y="858"/>
                </a:lnTo>
                <a:lnTo>
                  <a:pt x="180" y="858"/>
                </a:lnTo>
                <a:lnTo>
                  <a:pt x="180" y="852"/>
                </a:lnTo>
                <a:lnTo>
                  <a:pt x="180" y="858"/>
                </a:lnTo>
                <a:lnTo>
                  <a:pt x="174" y="858"/>
                </a:lnTo>
                <a:lnTo>
                  <a:pt x="180" y="852"/>
                </a:lnTo>
                <a:lnTo>
                  <a:pt x="174" y="852"/>
                </a:lnTo>
                <a:lnTo>
                  <a:pt x="174" y="846"/>
                </a:lnTo>
                <a:lnTo>
                  <a:pt x="168" y="846"/>
                </a:lnTo>
                <a:lnTo>
                  <a:pt x="174" y="846"/>
                </a:lnTo>
                <a:lnTo>
                  <a:pt x="174" y="840"/>
                </a:lnTo>
                <a:lnTo>
                  <a:pt x="168" y="840"/>
                </a:lnTo>
                <a:lnTo>
                  <a:pt x="162" y="840"/>
                </a:lnTo>
                <a:lnTo>
                  <a:pt x="162" y="834"/>
                </a:lnTo>
                <a:lnTo>
                  <a:pt x="162" y="828"/>
                </a:lnTo>
                <a:lnTo>
                  <a:pt x="156" y="828"/>
                </a:lnTo>
                <a:lnTo>
                  <a:pt x="156" y="834"/>
                </a:lnTo>
                <a:lnTo>
                  <a:pt x="150" y="828"/>
                </a:lnTo>
                <a:lnTo>
                  <a:pt x="156" y="828"/>
                </a:lnTo>
                <a:lnTo>
                  <a:pt x="162" y="822"/>
                </a:lnTo>
                <a:lnTo>
                  <a:pt x="162" y="816"/>
                </a:lnTo>
                <a:lnTo>
                  <a:pt x="162" y="810"/>
                </a:lnTo>
                <a:lnTo>
                  <a:pt x="156" y="810"/>
                </a:lnTo>
                <a:lnTo>
                  <a:pt x="150" y="810"/>
                </a:lnTo>
                <a:lnTo>
                  <a:pt x="144" y="810"/>
                </a:lnTo>
                <a:lnTo>
                  <a:pt x="138" y="804"/>
                </a:lnTo>
                <a:lnTo>
                  <a:pt x="132" y="804"/>
                </a:lnTo>
                <a:lnTo>
                  <a:pt x="132" y="798"/>
                </a:lnTo>
                <a:lnTo>
                  <a:pt x="132" y="792"/>
                </a:lnTo>
                <a:lnTo>
                  <a:pt x="138" y="792"/>
                </a:lnTo>
                <a:lnTo>
                  <a:pt x="144" y="792"/>
                </a:lnTo>
                <a:lnTo>
                  <a:pt x="144" y="786"/>
                </a:lnTo>
                <a:lnTo>
                  <a:pt x="150" y="780"/>
                </a:lnTo>
                <a:lnTo>
                  <a:pt x="156" y="774"/>
                </a:lnTo>
                <a:lnTo>
                  <a:pt x="156" y="768"/>
                </a:lnTo>
                <a:lnTo>
                  <a:pt x="162" y="762"/>
                </a:lnTo>
                <a:lnTo>
                  <a:pt x="162" y="756"/>
                </a:lnTo>
                <a:lnTo>
                  <a:pt x="162" y="750"/>
                </a:lnTo>
                <a:lnTo>
                  <a:pt x="156" y="750"/>
                </a:lnTo>
                <a:lnTo>
                  <a:pt x="162" y="744"/>
                </a:lnTo>
                <a:lnTo>
                  <a:pt x="162" y="738"/>
                </a:lnTo>
                <a:lnTo>
                  <a:pt x="162" y="732"/>
                </a:lnTo>
                <a:lnTo>
                  <a:pt x="162" y="726"/>
                </a:lnTo>
                <a:lnTo>
                  <a:pt x="168" y="720"/>
                </a:lnTo>
                <a:lnTo>
                  <a:pt x="168" y="714"/>
                </a:lnTo>
                <a:lnTo>
                  <a:pt x="168" y="708"/>
                </a:lnTo>
                <a:lnTo>
                  <a:pt x="174" y="708"/>
                </a:lnTo>
                <a:lnTo>
                  <a:pt x="168" y="702"/>
                </a:lnTo>
                <a:lnTo>
                  <a:pt x="168" y="696"/>
                </a:lnTo>
                <a:lnTo>
                  <a:pt x="174" y="696"/>
                </a:lnTo>
                <a:lnTo>
                  <a:pt x="174" y="690"/>
                </a:lnTo>
                <a:lnTo>
                  <a:pt x="174" y="684"/>
                </a:lnTo>
                <a:lnTo>
                  <a:pt x="180" y="678"/>
                </a:lnTo>
                <a:lnTo>
                  <a:pt x="174" y="672"/>
                </a:lnTo>
                <a:lnTo>
                  <a:pt x="174" y="666"/>
                </a:lnTo>
                <a:lnTo>
                  <a:pt x="168" y="660"/>
                </a:lnTo>
                <a:lnTo>
                  <a:pt x="168" y="654"/>
                </a:lnTo>
                <a:lnTo>
                  <a:pt x="174" y="648"/>
                </a:lnTo>
                <a:lnTo>
                  <a:pt x="168" y="642"/>
                </a:lnTo>
                <a:lnTo>
                  <a:pt x="168" y="636"/>
                </a:lnTo>
                <a:lnTo>
                  <a:pt x="168" y="624"/>
                </a:lnTo>
                <a:lnTo>
                  <a:pt x="168" y="618"/>
                </a:lnTo>
                <a:lnTo>
                  <a:pt x="168" y="612"/>
                </a:lnTo>
                <a:lnTo>
                  <a:pt x="162" y="612"/>
                </a:lnTo>
                <a:lnTo>
                  <a:pt x="162" y="606"/>
                </a:lnTo>
                <a:lnTo>
                  <a:pt x="168" y="600"/>
                </a:lnTo>
                <a:lnTo>
                  <a:pt x="162" y="594"/>
                </a:lnTo>
                <a:lnTo>
                  <a:pt x="162" y="588"/>
                </a:lnTo>
                <a:lnTo>
                  <a:pt x="162" y="582"/>
                </a:lnTo>
                <a:lnTo>
                  <a:pt x="156" y="576"/>
                </a:lnTo>
                <a:lnTo>
                  <a:pt x="156" y="570"/>
                </a:lnTo>
                <a:lnTo>
                  <a:pt x="150" y="576"/>
                </a:lnTo>
                <a:lnTo>
                  <a:pt x="144" y="570"/>
                </a:lnTo>
                <a:lnTo>
                  <a:pt x="138" y="570"/>
                </a:lnTo>
                <a:lnTo>
                  <a:pt x="138" y="564"/>
                </a:lnTo>
                <a:lnTo>
                  <a:pt x="132" y="564"/>
                </a:lnTo>
                <a:lnTo>
                  <a:pt x="126" y="564"/>
                </a:lnTo>
                <a:lnTo>
                  <a:pt x="120" y="564"/>
                </a:lnTo>
                <a:lnTo>
                  <a:pt x="114" y="558"/>
                </a:lnTo>
                <a:lnTo>
                  <a:pt x="114" y="552"/>
                </a:lnTo>
                <a:lnTo>
                  <a:pt x="114" y="546"/>
                </a:lnTo>
                <a:lnTo>
                  <a:pt x="108" y="546"/>
                </a:lnTo>
                <a:lnTo>
                  <a:pt x="102" y="546"/>
                </a:lnTo>
                <a:lnTo>
                  <a:pt x="96" y="546"/>
                </a:lnTo>
                <a:lnTo>
                  <a:pt x="90" y="546"/>
                </a:lnTo>
                <a:lnTo>
                  <a:pt x="84" y="546"/>
                </a:lnTo>
                <a:lnTo>
                  <a:pt x="72" y="546"/>
                </a:lnTo>
                <a:lnTo>
                  <a:pt x="66" y="546"/>
                </a:lnTo>
                <a:lnTo>
                  <a:pt x="66" y="540"/>
                </a:lnTo>
                <a:lnTo>
                  <a:pt x="60" y="540"/>
                </a:lnTo>
                <a:lnTo>
                  <a:pt x="54" y="540"/>
                </a:lnTo>
                <a:lnTo>
                  <a:pt x="48" y="534"/>
                </a:lnTo>
                <a:lnTo>
                  <a:pt x="36" y="534"/>
                </a:lnTo>
                <a:lnTo>
                  <a:pt x="36" y="540"/>
                </a:lnTo>
                <a:lnTo>
                  <a:pt x="30" y="540"/>
                </a:lnTo>
                <a:lnTo>
                  <a:pt x="24" y="540"/>
                </a:lnTo>
                <a:lnTo>
                  <a:pt x="24" y="546"/>
                </a:lnTo>
                <a:lnTo>
                  <a:pt x="24" y="552"/>
                </a:lnTo>
                <a:lnTo>
                  <a:pt x="18" y="552"/>
                </a:lnTo>
                <a:lnTo>
                  <a:pt x="18" y="558"/>
                </a:lnTo>
                <a:lnTo>
                  <a:pt x="12" y="558"/>
                </a:lnTo>
                <a:lnTo>
                  <a:pt x="12" y="552"/>
                </a:lnTo>
                <a:lnTo>
                  <a:pt x="6" y="552"/>
                </a:lnTo>
                <a:lnTo>
                  <a:pt x="6" y="558"/>
                </a:lnTo>
                <a:lnTo>
                  <a:pt x="0" y="558"/>
                </a:lnTo>
              </a:path>
            </a:pathLst>
          </a:custGeom>
          <a:noFill/>
          <a:ln w="3175" cap="rnd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  <p:sp>
        <p:nvSpPr>
          <p:cNvPr id="269" name="Freeform 568"/>
          <p:cNvSpPr>
            <a:spLocks/>
          </p:cNvSpPr>
          <p:nvPr/>
        </p:nvSpPr>
        <p:spPr bwMode="auto">
          <a:xfrm>
            <a:off x="6273217" y="3087877"/>
            <a:ext cx="1876400" cy="1542186"/>
          </a:xfrm>
          <a:custGeom>
            <a:avLst/>
            <a:gdLst>
              <a:gd name="T0" fmla="*/ 90 w 1752"/>
              <a:gd name="T1" fmla="*/ 1026 h 1440"/>
              <a:gd name="T2" fmla="*/ 162 w 1752"/>
              <a:gd name="T3" fmla="*/ 918 h 1440"/>
              <a:gd name="T4" fmla="*/ 216 w 1752"/>
              <a:gd name="T5" fmla="*/ 816 h 1440"/>
              <a:gd name="T6" fmla="*/ 270 w 1752"/>
              <a:gd name="T7" fmla="*/ 720 h 1440"/>
              <a:gd name="T8" fmla="*/ 318 w 1752"/>
              <a:gd name="T9" fmla="*/ 642 h 1440"/>
              <a:gd name="T10" fmla="*/ 414 w 1752"/>
              <a:gd name="T11" fmla="*/ 570 h 1440"/>
              <a:gd name="T12" fmla="*/ 492 w 1752"/>
              <a:gd name="T13" fmla="*/ 564 h 1440"/>
              <a:gd name="T14" fmla="*/ 594 w 1752"/>
              <a:gd name="T15" fmla="*/ 534 h 1440"/>
              <a:gd name="T16" fmla="*/ 678 w 1752"/>
              <a:gd name="T17" fmla="*/ 552 h 1440"/>
              <a:gd name="T18" fmla="*/ 726 w 1752"/>
              <a:gd name="T19" fmla="*/ 522 h 1440"/>
              <a:gd name="T20" fmla="*/ 750 w 1752"/>
              <a:gd name="T21" fmla="*/ 462 h 1440"/>
              <a:gd name="T22" fmla="*/ 732 w 1752"/>
              <a:gd name="T23" fmla="*/ 402 h 1440"/>
              <a:gd name="T24" fmla="*/ 780 w 1752"/>
              <a:gd name="T25" fmla="*/ 360 h 1440"/>
              <a:gd name="T26" fmla="*/ 756 w 1752"/>
              <a:gd name="T27" fmla="*/ 306 h 1440"/>
              <a:gd name="T28" fmla="*/ 756 w 1752"/>
              <a:gd name="T29" fmla="*/ 240 h 1440"/>
              <a:gd name="T30" fmla="*/ 822 w 1752"/>
              <a:gd name="T31" fmla="*/ 198 h 1440"/>
              <a:gd name="T32" fmla="*/ 816 w 1752"/>
              <a:gd name="T33" fmla="*/ 102 h 1440"/>
              <a:gd name="T34" fmla="*/ 876 w 1752"/>
              <a:gd name="T35" fmla="*/ 72 h 1440"/>
              <a:gd name="T36" fmla="*/ 924 w 1752"/>
              <a:gd name="T37" fmla="*/ 114 h 1440"/>
              <a:gd name="T38" fmla="*/ 978 w 1752"/>
              <a:gd name="T39" fmla="*/ 96 h 1440"/>
              <a:gd name="T40" fmla="*/ 1062 w 1752"/>
              <a:gd name="T41" fmla="*/ 48 h 1440"/>
              <a:gd name="T42" fmla="*/ 1128 w 1752"/>
              <a:gd name="T43" fmla="*/ 12 h 1440"/>
              <a:gd name="T44" fmla="*/ 1206 w 1752"/>
              <a:gd name="T45" fmla="*/ 12 h 1440"/>
              <a:gd name="T46" fmla="*/ 1230 w 1752"/>
              <a:gd name="T47" fmla="*/ 66 h 1440"/>
              <a:gd name="T48" fmla="*/ 1326 w 1752"/>
              <a:gd name="T49" fmla="*/ 60 h 1440"/>
              <a:gd name="T50" fmla="*/ 1404 w 1752"/>
              <a:gd name="T51" fmla="*/ 114 h 1440"/>
              <a:gd name="T52" fmla="*/ 1548 w 1752"/>
              <a:gd name="T53" fmla="*/ 198 h 1440"/>
              <a:gd name="T54" fmla="*/ 1632 w 1752"/>
              <a:gd name="T55" fmla="*/ 204 h 1440"/>
              <a:gd name="T56" fmla="*/ 1722 w 1752"/>
              <a:gd name="T57" fmla="*/ 234 h 1440"/>
              <a:gd name="T58" fmla="*/ 1680 w 1752"/>
              <a:gd name="T59" fmla="*/ 306 h 1440"/>
              <a:gd name="T60" fmla="*/ 1644 w 1752"/>
              <a:gd name="T61" fmla="*/ 354 h 1440"/>
              <a:gd name="T62" fmla="*/ 1656 w 1752"/>
              <a:gd name="T63" fmla="*/ 438 h 1440"/>
              <a:gd name="T64" fmla="*/ 1746 w 1752"/>
              <a:gd name="T65" fmla="*/ 564 h 1440"/>
              <a:gd name="T66" fmla="*/ 1698 w 1752"/>
              <a:gd name="T67" fmla="*/ 732 h 1440"/>
              <a:gd name="T68" fmla="*/ 1662 w 1752"/>
              <a:gd name="T69" fmla="*/ 810 h 1440"/>
              <a:gd name="T70" fmla="*/ 1632 w 1752"/>
              <a:gd name="T71" fmla="*/ 858 h 1440"/>
              <a:gd name="T72" fmla="*/ 1566 w 1752"/>
              <a:gd name="T73" fmla="*/ 954 h 1440"/>
              <a:gd name="T74" fmla="*/ 1488 w 1752"/>
              <a:gd name="T75" fmla="*/ 1050 h 1440"/>
              <a:gd name="T76" fmla="*/ 1452 w 1752"/>
              <a:gd name="T77" fmla="*/ 1122 h 1440"/>
              <a:gd name="T78" fmla="*/ 1302 w 1752"/>
              <a:gd name="T79" fmla="*/ 1134 h 1440"/>
              <a:gd name="T80" fmla="*/ 1290 w 1752"/>
              <a:gd name="T81" fmla="*/ 1122 h 1440"/>
              <a:gd name="T82" fmla="*/ 1188 w 1752"/>
              <a:gd name="T83" fmla="*/ 1146 h 1440"/>
              <a:gd name="T84" fmla="*/ 1212 w 1752"/>
              <a:gd name="T85" fmla="*/ 1134 h 1440"/>
              <a:gd name="T86" fmla="*/ 1146 w 1752"/>
              <a:gd name="T87" fmla="*/ 1146 h 1440"/>
              <a:gd name="T88" fmla="*/ 1128 w 1752"/>
              <a:gd name="T89" fmla="*/ 1146 h 1440"/>
              <a:gd name="T90" fmla="*/ 1104 w 1752"/>
              <a:gd name="T91" fmla="*/ 1170 h 1440"/>
              <a:gd name="T92" fmla="*/ 1116 w 1752"/>
              <a:gd name="T93" fmla="*/ 1176 h 1440"/>
              <a:gd name="T94" fmla="*/ 1050 w 1752"/>
              <a:gd name="T95" fmla="*/ 1200 h 1440"/>
              <a:gd name="T96" fmla="*/ 1002 w 1752"/>
              <a:gd name="T97" fmla="*/ 1236 h 1440"/>
              <a:gd name="T98" fmla="*/ 912 w 1752"/>
              <a:gd name="T99" fmla="*/ 1248 h 1440"/>
              <a:gd name="T100" fmla="*/ 876 w 1752"/>
              <a:gd name="T101" fmla="*/ 1266 h 1440"/>
              <a:gd name="T102" fmla="*/ 738 w 1752"/>
              <a:gd name="T103" fmla="*/ 1362 h 1440"/>
              <a:gd name="T104" fmla="*/ 642 w 1752"/>
              <a:gd name="T105" fmla="*/ 1422 h 1440"/>
              <a:gd name="T106" fmla="*/ 600 w 1752"/>
              <a:gd name="T107" fmla="*/ 1410 h 1440"/>
              <a:gd name="T108" fmla="*/ 576 w 1752"/>
              <a:gd name="T109" fmla="*/ 1362 h 1440"/>
              <a:gd name="T110" fmla="*/ 522 w 1752"/>
              <a:gd name="T111" fmla="*/ 1356 h 1440"/>
              <a:gd name="T112" fmla="*/ 492 w 1752"/>
              <a:gd name="T113" fmla="*/ 1284 h 1440"/>
              <a:gd name="T114" fmla="*/ 456 w 1752"/>
              <a:gd name="T115" fmla="*/ 1200 h 1440"/>
              <a:gd name="T116" fmla="*/ 426 w 1752"/>
              <a:gd name="T117" fmla="*/ 1152 h 1440"/>
              <a:gd name="T118" fmla="*/ 342 w 1752"/>
              <a:gd name="T119" fmla="*/ 1134 h 1440"/>
              <a:gd name="T120" fmla="*/ 234 w 1752"/>
              <a:gd name="T121" fmla="*/ 1098 h 1440"/>
              <a:gd name="T122" fmla="*/ 120 w 1752"/>
              <a:gd name="T123" fmla="*/ 1098 h 1440"/>
              <a:gd name="T124" fmla="*/ 6 w 1752"/>
              <a:gd name="T125" fmla="*/ 1092 h 14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752" h="1440">
                <a:moveTo>
                  <a:pt x="0" y="1092"/>
                </a:moveTo>
                <a:lnTo>
                  <a:pt x="0" y="1092"/>
                </a:lnTo>
                <a:lnTo>
                  <a:pt x="0" y="1086"/>
                </a:lnTo>
                <a:lnTo>
                  <a:pt x="6" y="1086"/>
                </a:lnTo>
                <a:lnTo>
                  <a:pt x="6" y="1080"/>
                </a:lnTo>
                <a:lnTo>
                  <a:pt x="12" y="1080"/>
                </a:lnTo>
                <a:lnTo>
                  <a:pt x="18" y="1074"/>
                </a:lnTo>
                <a:lnTo>
                  <a:pt x="24" y="1074"/>
                </a:lnTo>
                <a:lnTo>
                  <a:pt x="30" y="1068"/>
                </a:lnTo>
                <a:lnTo>
                  <a:pt x="36" y="1068"/>
                </a:lnTo>
                <a:lnTo>
                  <a:pt x="36" y="1062"/>
                </a:lnTo>
                <a:lnTo>
                  <a:pt x="42" y="1062"/>
                </a:lnTo>
                <a:lnTo>
                  <a:pt x="48" y="1056"/>
                </a:lnTo>
                <a:lnTo>
                  <a:pt x="54" y="1056"/>
                </a:lnTo>
                <a:lnTo>
                  <a:pt x="54" y="1050"/>
                </a:lnTo>
                <a:lnTo>
                  <a:pt x="60" y="1050"/>
                </a:lnTo>
                <a:lnTo>
                  <a:pt x="66" y="1050"/>
                </a:lnTo>
                <a:lnTo>
                  <a:pt x="66" y="1044"/>
                </a:lnTo>
                <a:lnTo>
                  <a:pt x="72" y="1044"/>
                </a:lnTo>
                <a:lnTo>
                  <a:pt x="78" y="1038"/>
                </a:lnTo>
                <a:lnTo>
                  <a:pt x="84" y="1038"/>
                </a:lnTo>
                <a:lnTo>
                  <a:pt x="84" y="1032"/>
                </a:lnTo>
                <a:lnTo>
                  <a:pt x="90" y="1032"/>
                </a:lnTo>
                <a:lnTo>
                  <a:pt x="90" y="1026"/>
                </a:lnTo>
                <a:lnTo>
                  <a:pt x="96" y="1026"/>
                </a:lnTo>
                <a:lnTo>
                  <a:pt x="102" y="1020"/>
                </a:lnTo>
                <a:lnTo>
                  <a:pt x="102" y="1008"/>
                </a:lnTo>
                <a:lnTo>
                  <a:pt x="108" y="1002"/>
                </a:lnTo>
                <a:lnTo>
                  <a:pt x="114" y="1002"/>
                </a:lnTo>
                <a:lnTo>
                  <a:pt x="114" y="996"/>
                </a:lnTo>
                <a:lnTo>
                  <a:pt x="120" y="990"/>
                </a:lnTo>
                <a:lnTo>
                  <a:pt x="120" y="984"/>
                </a:lnTo>
                <a:lnTo>
                  <a:pt x="126" y="978"/>
                </a:lnTo>
                <a:lnTo>
                  <a:pt x="132" y="978"/>
                </a:lnTo>
                <a:lnTo>
                  <a:pt x="138" y="972"/>
                </a:lnTo>
                <a:lnTo>
                  <a:pt x="138" y="966"/>
                </a:lnTo>
                <a:lnTo>
                  <a:pt x="138" y="960"/>
                </a:lnTo>
                <a:lnTo>
                  <a:pt x="132" y="954"/>
                </a:lnTo>
                <a:lnTo>
                  <a:pt x="132" y="948"/>
                </a:lnTo>
                <a:lnTo>
                  <a:pt x="138" y="948"/>
                </a:lnTo>
                <a:lnTo>
                  <a:pt x="144" y="948"/>
                </a:lnTo>
                <a:lnTo>
                  <a:pt x="150" y="948"/>
                </a:lnTo>
                <a:lnTo>
                  <a:pt x="150" y="942"/>
                </a:lnTo>
                <a:lnTo>
                  <a:pt x="156" y="942"/>
                </a:lnTo>
                <a:lnTo>
                  <a:pt x="156" y="936"/>
                </a:lnTo>
                <a:lnTo>
                  <a:pt x="156" y="930"/>
                </a:lnTo>
                <a:lnTo>
                  <a:pt x="162" y="924"/>
                </a:lnTo>
                <a:lnTo>
                  <a:pt x="162" y="918"/>
                </a:lnTo>
                <a:lnTo>
                  <a:pt x="168" y="918"/>
                </a:lnTo>
                <a:lnTo>
                  <a:pt x="162" y="912"/>
                </a:lnTo>
                <a:lnTo>
                  <a:pt x="162" y="906"/>
                </a:lnTo>
                <a:lnTo>
                  <a:pt x="162" y="900"/>
                </a:lnTo>
                <a:lnTo>
                  <a:pt x="168" y="900"/>
                </a:lnTo>
                <a:lnTo>
                  <a:pt x="168" y="894"/>
                </a:lnTo>
                <a:lnTo>
                  <a:pt x="174" y="894"/>
                </a:lnTo>
                <a:lnTo>
                  <a:pt x="174" y="888"/>
                </a:lnTo>
                <a:lnTo>
                  <a:pt x="174" y="882"/>
                </a:lnTo>
                <a:lnTo>
                  <a:pt x="180" y="882"/>
                </a:lnTo>
                <a:lnTo>
                  <a:pt x="180" y="876"/>
                </a:lnTo>
                <a:lnTo>
                  <a:pt x="186" y="876"/>
                </a:lnTo>
                <a:lnTo>
                  <a:pt x="192" y="876"/>
                </a:lnTo>
                <a:lnTo>
                  <a:pt x="198" y="870"/>
                </a:lnTo>
                <a:lnTo>
                  <a:pt x="198" y="864"/>
                </a:lnTo>
                <a:lnTo>
                  <a:pt x="192" y="864"/>
                </a:lnTo>
                <a:lnTo>
                  <a:pt x="192" y="858"/>
                </a:lnTo>
                <a:lnTo>
                  <a:pt x="192" y="852"/>
                </a:lnTo>
                <a:lnTo>
                  <a:pt x="192" y="846"/>
                </a:lnTo>
                <a:lnTo>
                  <a:pt x="198" y="834"/>
                </a:lnTo>
                <a:lnTo>
                  <a:pt x="204" y="828"/>
                </a:lnTo>
                <a:lnTo>
                  <a:pt x="210" y="828"/>
                </a:lnTo>
                <a:lnTo>
                  <a:pt x="210" y="822"/>
                </a:lnTo>
                <a:lnTo>
                  <a:pt x="216" y="816"/>
                </a:lnTo>
                <a:lnTo>
                  <a:pt x="216" y="810"/>
                </a:lnTo>
                <a:lnTo>
                  <a:pt x="222" y="810"/>
                </a:lnTo>
                <a:lnTo>
                  <a:pt x="228" y="804"/>
                </a:lnTo>
                <a:lnTo>
                  <a:pt x="228" y="798"/>
                </a:lnTo>
                <a:lnTo>
                  <a:pt x="234" y="798"/>
                </a:lnTo>
                <a:lnTo>
                  <a:pt x="234" y="792"/>
                </a:lnTo>
                <a:lnTo>
                  <a:pt x="240" y="792"/>
                </a:lnTo>
                <a:lnTo>
                  <a:pt x="246" y="792"/>
                </a:lnTo>
                <a:lnTo>
                  <a:pt x="252" y="792"/>
                </a:lnTo>
                <a:lnTo>
                  <a:pt x="258" y="792"/>
                </a:lnTo>
                <a:lnTo>
                  <a:pt x="258" y="786"/>
                </a:lnTo>
                <a:lnTo>
                  <a:pt x="264" y="786"/>
                </a:lnTo>
                <a:lnTo>
                  <a:pt x="264" y="780"/>
                </a:lnTo>
                <a:lnTo>
                  <a:pt x="270" y="780"/>
                </a:lnTo>
                <a:lnTo>
                  <a:pt x="270" y="774"/>
                </a:lnTo>
                <a:lnTo>
                  <a:pt x="270" y="768"/>
                </a:lnTo>
                <a:lnTo>
                  <a:pt x="276" y="762"/>
                </a:lnTo>
                <a:lnTo>
                  <a:pt x="276" y="756"/>
                </a:lnTo>
                <a:lnTo>
                  <a:pt x="276" y="750"/>
                </a:lnTo>
                <a:lnTo>
                  <a:pt x="276" y="744"/>
                </a:lnTo>
                <a:lnTo>
                  <a:pt x="276" y="738"/>
                </a:lnTo>
                <a:lnTo>
                  <a:pt x="276" y="732"/>
                </a:lnTo>
                <a:lnTo>
                  <a:pt x="276" y="726"/>
                </a:lnTo>
                <a:lnTo>
                  <a:pt x="270" y="720"/>
                </a:lnTo>
                <a:lnTo>
                  <a:pt x="270" y="714"/>
                </a:lnTo>
                <a:lnTo>
                  <a:pt x="270" y="708"/>
                </a:lnTo>
                <a:lnTo>
                  <a:pt x="276" y="708"/>
                </a:lnTo>
                <a:lnTo>
                  <a:pt x="276" y="702"/>
                </a:lnTo>
                <a:lnTo>
                  <a:pt x="276" y="696"/>
                </a:lnTo>
                <a:lnTo>
                  <a:pt x="282" y="696"/>
                </a:lnTo>
                <a:lnTo>
                  <a:pt x="288" y="696"/>
                </a:lnTo>
                <a:lnTo>
                  <a:pt x="288" y="690"/>
                </a:lnTo>
                <a:lnTo>
                  <a:pt x="282" y="690"/>
                </a:lnTo>
                <a:lnTo>
                  <a:pt x="282" y="684"/>
                </a:lnTo>
                <a:lnTo>
                  <a:pt x="282" y="678"/>
                </a:lnTo>
                <a:lnTo>
                  <a:pt x="288" y="684"/>
                </a:lnTo>
                <a:lnTo>
                  <a:pt x="294" y="684"/>
                </a:lnTo>
                <a:lnTo>
                  <a:pt x="300" y="684"/>
                </a:lnTo>
                <a:lnTo>
                  <a:pt x="294" y="678"/>
                </a:lnTo>
                <a:lnTo>
                  <a:pt x="294" y="672"/>
                </a:lnTo>
                <a:lnTo>
                  <a:pt x="294" y="666"/>
                </a:lnTo>
                <a:lnTo>
                  <a:pt x="300" y="666"/>
                </a:lnTo>
                <a:lnTo>
                  <a:pt x="300" y="660"/>
                </a:lnTo>
                <a:lnTo>
                  <a:pt x="306" y="654"/>
                </a:lnTo>
                <a:lnTo>
                  <a:pt x="306" y="648"/>
                </a:lnTo>
                <a:lnTo>
                  <a:pt x="312" y="648"/>
                </a:lnTo>
                <a:lnTo>
                  <a:pt x="312" y="642"/>
                </a:lnTo>
                <a:lnTo>
                  <a:pt x="318" y="642"/>
                </a:lnTo>
                <a:lnTo>
                  <a:pt x="318" y="636"/>
                </a:lnTo>
                <a:lnTo>
                  <a:pt x="324" y="636"/>
                </a:lnTo>
                <a:lnTo>
                  <a:pt x="330" y="636"/>
                </a:lnTo>
                <a:lnTo>
                  <a:pt x="336" y="636"/>
                </a:lnTo>
                <a:lnTo>
                  <a:pt x="336" y="630"/>
                </a:lnTo>
                <a:lnTo>
                  <a:pt x="342" y="624"/>
                </a:lnTo>
                <a:lnTo>
                  <a:pt x="342" y="618"/>
                </a:lnTo>
                <a:lnTo>
                  <a:pt x="342" y="612"/>
                </a:lnTo>
                <a:lnTo>
                  <a:pt x="348" y="612"/>
                </a:lnTo>
                <a:lnTo>
                  <a:pt x="348" y="606"/>
                </a:lnTo>
                <a:lnTo>
                  <a:pt x="348" y="600"/>
                </a:lnTo>
                <a:lnTo>
                  <a:pt x="354" y="600"/>
                </a:lnTo>
                <a:lnTo>
                  <a:pt x="354" y="594"/>
                </a:lnTo>
                <a:lnTo>
                  <a:pt x="360" y="594"/>
                </a:lnTo>
                <a:lnTo>
                  <a:pt x="360" y="588"/>
                </a:lnTo>
                <a:lnTo>
                  <a:pt x="366" y="582"/>
                </a:lnTo>
                <a:lnTo>
                  <a:pt x="372" y="576"/>
                </a:lnTo>
                <a:lnTo>
                  <a:pt x="378" y="576"/>
                </a:lnTo>
                <a:lnTo>
                  <a:pt x="384" y="576"/>
                </a:lnTo>
                <a:lnTo>
                  <a:pt x="396" y="576"/>
                </a:lnTo>
                <a:lnTo>
                  <a:pt x="402" y="576"/>
                </a:lnTo>
                <a:lnTo>
                  <a:pt x="402" y="570"/>
                </a:lnTo>
                <a:lnTo>
                  <a:pt x="408" y="570"/>
                </a:lnTo>
                <a:lnTo>
                  <a:pt x="414" y="570"/>
                </a:lnTo>
                <a:lnTo>
                  <a:pt x="420" y="570"/>
                </a:lnTo>
                <a:lnTo>
                  <a:pt x="426" y="570"/>
                </a:lnTo>
                <a:lnTo>
                  <a:pt x="432" y="570"/>
                </a:lnTo>
                <a:lnTo>
                  <a:pt x="432" y="576"/>
                </a:lnTo>
                <a:lnTo>
                  <a:pt x="438" y="570"/>
                </a:lnTo>
                <a:lnTo>
                  <a:pt x="444" y="570"/>
                </a:lnTo>
                <a:lnTo>
                  <a:pt x="444" y="564"/>
                </a:lnTo>
                <a:lnTo>
                  <a:pt x="450" y="564"/>
                </a:lnTo>
                <a:lnTo>
                  <a:pt x="450" y="570"/>
                </a:lnTo>
                <a:lnTo>
                  <a:pt x="456" y="570"/>
                </a:lnTo>
                <a:lnTo>
                  <a:pt x="456" y="564"/>
                </a:lnTo>
                <a:lnTo>
                  <a:pt x="450" y="564"/>
                </a:lnTo>
                <a:lnTo>
                  <a:pt x="456" y="564"/>
                </a:lnTo>
                <a:lnTo>
                  <a:pt x="462" y="558"/>
                </a:lnTo>
                <a:lnTo>
                  <a:pt x="468" y="558"/>
                </a:lnTo>
                <a:lnTo>
                  <a:pt x="468" y="552"/>
                </a:lnTo>
                <a:lnTo>
                  <a:pt x="474" y="552"/>
                </a:lnTo>
                <a:lnTo>
                  <a:pt x="474" y="558"/>
                </a:lnTo>
                <a:lnTo>
                  <a:pt x="474" y="564"/>
                </a:lnTo>
                <a:lnTo>
                  <a:pt x="480" y="570"/>
                </a:lnTo>
                <a:lnTo>
                  <a:pt x="486" y="576"/>
                </a:lnTo>
                <a:lnTo>
                  <a:pt x="486" y="570"/>
                </a:lnTo>
                <a:lnTo>
                  <a:pt x="492" y="570"/>
                </a:lnTo>
                <a:lnTo>
                  <a:pt x="492" y="564"/>
                </a:lnTo>
                <a:lnTo>
                  <a:pt x="498" y="564"/>
                </a:lnTo>
                <a:lnTo>
                  <a:pt x="498" y="558"/>
                </a:lnTo>
                <a:lnTo>
                  <a:pt x="504" y="558"/>
                </a:lnTo>
                <a:lnTo>
                  <a:pt x="504" y="552"/>
                </a:lnTo>
                <a:lnTo>
                  <a:pt x="510" y="552"/>
                </a:lnTo>
                <a:lnTo>
                  <a:pt x="510" y="546"/>
                </a:lnTo>
                <a:lnTo>
                  <a:pt x="516" y="546"/>
                </a:lnTo>
                <a:lnTo>
                  <a:pt x="516" y="540"/>
                </a:lnTo>
                <a:lnTo>
                  <a:pt x="522" y="540"/>
                </a:lnTo>
                <a:lnTo>
                  <a:pt x="522" y="546"/>
                </a:lnTo>
                <a:lnTo>
                  <a:pt x="528" y="546"/>
                </a:lnTo>
                <a:lnTo>
                  <a:pt x="528" y="540"/>
                </a:lnTo>
                <a:lnTo>
                  <a:pt x="534" y="540"/>
                </a:lnTo>
                <a:lnTo>
                  <a:pt x="540" y="534"/>
                </a:lnTo>
                <a:lnTo>
                  <a:pt x="546" y="528"/>
                </a:lnTo>
                <a:lnTo>
                  <a:pt x="552" y="534"/>
                </a:lnTo>
                <a:lnTo>
                  <a:pt x="558" y="534"/>
                </a:lnTo>
                <a:lnTo>
                  <a:pt x="558" y="540"/>
                </a:lnTo>
                <a:lnTo>
                  <a:pt x="564" y="534"/>
                </a:lnTo>
                <a:lnTo>
                  <a:pt x="570" y="534"/>
                </a:lnTo>
                <a:lnTo>
                  <a:pt x="576" y="534"/>
                </a:lnTo>
                <a:lnTo>
                  <a:pt x="582" y="534"/>
                </a:lnTo>
                <a:lnTo>
                  <a:pt x="588" y="534"/>
                </a:lnTo>
                <a:lnTo>
                  <a:pt x="594" y="534"/>
                </a:lnTo>
                <a:lnTo>
                  <a:pt x="600" y="534"/>
                </a:lnTo>
                <a:lnTo>
                  <a:pt x="600" y="540"/>
                </a:lnTo>
                <a:lnTo>
                  <a:pt x="600" y="534"/>
                </a:lnTo>
                <a:lnTo>
                  <a:pt x="606" y="534"/>
                </a:lnTo>
                <a:lnTo>
                  <a:pt x="606" y="540"/>
                </a:lnTo>
                <a:lnTo>
                  <a:pt x="606" y="534"/>
                </a:lnTo>
                <a:lnTo>
                  <a:pt x="612" y="540"/>
                </a:lnTo>
                <a:lnTo>
                  <a:pt x="612" y="534"/>
                </a:lnTo>
                <a:lnTo>
                  <a:pt x="612" y="540"/>
                </a:lnTo>
                <a:lnTo>
                  <a:pt x="618" y="540"/>
                </a:lnTo>
                <a:lnTo>
                  <a:pt x="624" y="540"/>
                </a:lnTo>
                <a:lnTo>
                  <a:pt x="630" y="540"/>
                </a:lnTo>
                <a:lnTo>
                  <a:pt x="624" y="540"/>
                </a:lnTo>
                <a:lnTo>
                  <a:pt x="630" y="534"/>
                </a:lnTo>
                <a:lnTo>
                  <a:pt x="636" y="534"/>
                </a:lnTo>
                <a:lnTo>
                  <a:pt x="642" y="540"/>
                </a:lnTo>
                <a:lnTo>
                  <a:pt x="648" y="540"/>
                </a:lnTo>
                <a:lnTo>
                  <a:pt x="648" y="546"/>
                </a:lnTo>
                <a:lnTo>
                  <a:pt x="654" y="546"/>
                </a:lnTo>
                <a:lnTo>
                  <a:pt x="660" y="546"/>
                </a:lnTo>
                <a:lnTo>
                  <a:pt x="666" y="546"/>
                </a:lnTo>
                <a:lnTo>
                  <a:pt x="672" y="546"/>
                </a:lnTo>
                <a:lnTo>
                  <a:pt x="672" y="552"/>
                </a:lnTo>
                <a:lnTo>
                  <a:pt x="678" y="552"/>
                </a:lnTo>
                <a:lnTo>
                  <a:pt x="684" y="552"/>
                </a:lnTo>
                <a:lnTo>
                  <a:pt x="684" y="546"/>
                </a:lnTo>
                <a:lnTo>
                  <a:pt x="690" y="546"/>
                </a:lnTo>
                <a:lnTo>
                  <a:pt x="690" y="540"/>
                </a:lnTo>
                <a:lnTo>
                  <a:pt x="690" y="546"/>
                </a:lnTo>
                <a:lnTo>
                  <a:pt x="696" y="546"/>
                </a:lnTo>
                <a:lnTo>
                  <a:pt x="702" y="546"/>
                </a:lnTo>
                <a:lnTo>
                  <a:pt x="702" y="540"/>
                </a:lnTo>
                <a:lnTo>
                  <a:pt x="696" y="540"/>
                </a:lnTo>
                <a:lnTo>
                  <a:pt x="702" y="540"/>
                </a:lnTo>
                <a:lnTo>
                  <a:pt x="702" y="534"/>
                </a:lnTo>
                <a:lnTo>
                  <a:pt x="702" y="540"/>
                </a:lnTo>
                <a:lnTo>
                  <a:pt x="708" y="540"/>
                </a:lnTo>
                <a:lnTo>
                  <a:pt x="708" y="534"/>
                </a:lnTo>
                <a:lnTo>
                  <a:pt x="714" y="534"/>
                </a:lnTo>
                <a:lnTo>
                  <a:pt x="720" y="528"/>
                </a:lnTo>
                <a:lnTo>
                  <a:pt x="714" y="528"/>
                </a:lnTo>
                <a:lnTo>
                  <a:pt x="714" y="522"/>
                </a:lnTo>
                <a:lnTo>
                  <a:pt x="720" y="522"/>
                </a:lnTo>
                <a:lnTo>
                  <a:pt x="720" y="516"/>
                </a:lnTo>
                <a:lnTo>
                  <a:pt x="720" y="522"/>
                </a:lnTo>
                <a:lnTo>
                  <a:pt x="720" y="516"/>
                </a:lnTo>
                <a:lnTo>
                  <a:pt x="726" y="516"/>
                </a:lnTo>
                <a:lnTo>
                  <a:pt x="726" y="522"/>
                </a:lnTo>
                <a:lnTo>
                  <a:pt x="726" y="516"/>
                </a:lnTo>
                <a:lnTo>
                  <a:pt x="732" y="516"/>
                </a:lnTo>
                <a:lnTo>
                  <a:pt x="732" y="510"/>
                </a:lnTo>
                <a:lnTo>
                  <a:pt x="738" y="516"/>
                </a:lnTo>
                <a:lnTo>
                  <a:pt x="738" y="510"/>
                </a:lnTo>
                <a:lnTo>
                  <a:pt x="744" y="510"/>
                </a:lnTo>
                <a:lnTo>
                  <a:pt x="738" y="510"/>
                </a:lnTo>
                <a:lnTo>
                  <a:pt x="744" y="510"/>
                </a:lnTo>
                <a:lnTo>
                  <a:pt x="744" y="504"/>
                </a:lnTo>
                <a:lnTo>
                  <a:pt x="750" y="504"/>
                </a:lnTo>
                <a:lnTo>
                  <a:pt x="750" y="498"/>
                </a:lnTo>
                <a:lnTo>
                  <a:pt x="750" y="504"/>
                </a:lnTo>
                <a:lnTo>
                  <a:pt x="750" y="498"/>
                </a:lnTo>
                <a:lnTo>
                  <a:pt x="756" y="498"/>
                </a:lnTo>
                <a:lnTo>
                  <a:pt x="762" y="498"/>
                </a:lnTo>
                <a:lnTo>
                  <a:pt x="762" y="492"/>
                </a:lnTo>
                <a:lnTo>
                  <a:pt x="762" y="498"/>
                </a:lnTo>
                <a:lnTo>
                  <a:pt x="756" y="492"/>
                </a:lnTo>
                <a:lnTo>
                  <a:pt x="756" y="486"/>
                </a:lnTo>
                <a:lnTo>
                  <a:pt x="756" y="480"/>
                </a:lnTo>
                <a:lnTo>
                  <a:pt x="750" y="480"/>
                </a:lnTo>
                <a:lnTo>
                  <a:pt x="750" y="474"/>
                </a:lnTo>
                <a:lnTo>
                  <a:pt x="750" y="468"/>
                </a:lnTo>
                <a:lnTo>
                  <a:pt x="750" y="462"/>
                </a:lnTo>
                <a:lnTo>
                  <a:pt x="756" y="462"/>
                </a:lnTo>
                <a:lnTo>
                  <a:pt x="756" y="456"/>
                </a:lnTo>
                <a:lnTo>
                  <a:pt x="750" y="456"/>
                </a:lnTo>
                <a:lnTo>
                  <a:pt x="756" y="456"/>
                </a:lnTo>
                <a:lnTo>
                  <a:pt x="756" y="450"/>
                </a:lnTo>
                <a:lnTo>
                  <a:pt x="762" y="450"/>
                </a:lnTo>
                <a:lnTo>
                  <a:pt x="762" y="444"/>
                </a:lnTo>
                <a:lnTo>
                  <a:pt x="762" y="438"/>
                </a:lnTo>
                <a:lnTo>
                  <a:pt x="762" y="432"/>
                </a:lnTo>
                <a:lnTo>
                  <a:pt x="756" y="432"/>
                </a:lnTo>
                <a:lnTo>
                  <a:pt x="756" y="426"/>
                </a:lnTo>
                <a:lnTo>
                  <a:pt x="750" y="426"/>
                </a:lnTo>
                <a:lnTo>
                  <a:pt x="744" y="426"/>
                </a:lnTo>
                <a:lnTo>
                  <a:pt x="738" y="426"/>
                </a:lnTo>
                <a:lnTo>
                  <a:pt x="738" y="432"/>
                </a:lnTo>
                <a:lnTo>
                  <a:pt x="738" y="426"/>
                </a:lnTo>
                <a:lnTo>
                  <a:pt x="732" y="426"/>
                </a:lnTo>
                <a:lnTo>
                  <a:pt x="732" y="420"/>
                </a:lnTo>
                <a:lnTo>
                  <a:pt x="726" y="420"/>
                </a:lnTo>
                <a:lnTo>
                  <a:pt x="726" y="414"/>
                </a:lnTo>
                <a:lnTo>
                  <a:pt x="726" y="408"/>
                </a:lnTo>
                <a:lnTo>
                  <a:pt x="732" y="408"/>
                </a:lnTo>
                <a:lnTo>
                  <a:pt x="726" y="408"/>
                </a:lnTo>
                <a:lnTo>
                  <a:pt x="732" y="402"/>
                </a:lnTo>
                <a:lnTo>
                  <a:pt x="738" y="402"/>
                </a:lnTo>
                <a:lnTo>
                  <a:pt x="738" y="408"/>
                </a:lnTo>
                <a:lnTo>
                  <a:pt x="738" y="402"/>
                </a:lnTo>
                <a:lnTo>
                  <a:pt x="744" y="402"/>
                </a:lnTo>
                <a:lnTo>
                  <a:pt x="738" y="402"/>
                </a:lnTo>
                <a:lnTo>
                  <a:pt x="744" y="396"/>
                </a:lnTo>
                <a:lnTo>
                  <a:pt x="738" y="396"/>
                </a:lnTo>
                <a:lnTo>
                  <a:pt x="744" y="396"/>
                </a:lnTo>
                <a:lnTo>
                  <a:pt x="744" y="390"/>
                </a:lnTo>
                <a:lnTo>
                  <a:pt x="750" y="390"/>
                </a:lnTo>
                <a:lnTo>
                  <a:pt x="744" y="390"/>
                </a:lnTo>
                <a:lnTo>
                  <a:pt x="750" y="390"/>
                </a:lnTo>
                <a:lnTo>
                  <a:pt x="744" y="390"/>
                </a:lnTo>
                <a:lnTo>
                  <a:pt x="750" y="390"/>
                </a:lnTo>
                <a:lnTo>
                  <a:pt x="750" y="384"/>
                </a:lnTo>
                <a:lnTo>
                  <a:pt x="756" y="378"/>
                </a:lnTo>
                <a:lnTo>
                  <a:pt x="762" y="378"/>
                </a:lnTo>
                <a:lnTo>
                  <a:pt x="762" y="372"/>
                </a:lnTo>
                <a:lnTo>
                  <a:pt x="768" y="372"/>
                </a:lnTo>
                <a:lnTo>
                  <a:pt x="768" y="366"/>
                </a:lnTo>
                <a:lnTo>
                  <a:pt x="774" y="366"/>
                </a:lnTo>
                <a:lnTo>
                  <a:pt x="774" y="360"/>
                </a:lnTo>
                <a:lnTo>
                  <a:pt x="780" y="366"/>
                </a:lnTo>
                <a:lnTo>
                  <a:pt x="780" y="360"/>
                </a:lnTo>
                <a:lnTo>
                  <a:pt x="780" y="354"/>
                </a:lnTo>
                <a:lnTo>
                  <a:pt x="774" y="354"/>
                </a:lnTo>
                <a:lnTo>
                  <a:pt x="780" y="354"/>
                </a:lnTo>
                <a:lnTo>
                  <a:pt x="774" y="354"/>
                </a:lnTo>
                <a:lnTo>
                  <a:pt x="774" y="348"/>
                </a:lnTo>
                <a:lnTo>
                  <a:pt x="768" y="348"/>
                </a:lnTo>
                <a:lnTo>
                  <a:pt x="774" y="342"/>
                </a:lnTo>
                <a:lnTo>
                  <a:pt x="768" y="342"/>
                </a:lnTo>
                <a:lnTo>
                  <a:pt x="768" y="336"/>
                </a:lnTo>
                <a:lnTo>
                  <a:pt x="774" y="336"/>
                </a:lnTo>
                <a:lnTo>
                  <a:pt x="768" y="336"/>
                </a:lnTo>
                <a:lnTo>
                  <a:pt x="768" y="330"/>
                </a:lnTo>
                <a:lnTo>
                  <a:pt x="768" y="324"/>
                </a:lnTo>
                <a:lnTo>
                  <a:pt x="768" y="318"/>
                </a:lnTo>
                <a:lnTo>
                  <a:pt x="762" y="324"/>
                </a:lnTo>
                <a:lnTo>
                  <a:pt x="762" y="318"/>
                </a:lnTo>
                <a:lnTo>
                  <a:pt x="762" y="312"/>
                </a:lnTo>
                <a:lnTo>
                  <a:pt x="762" y="318"/>
                </a:lnTo>
                <a:lnTo>
                  <a:pt x="762" y="312"/>
                </a:lnTo>
                <a:lnTo>
                  <a:pt x="756" y="312"/>
                </a:lnTo>
                <a:lnTo>
                  <a:pt x="756" y="306"/>
                </a:lnTo>
                <a:lnTo>
                  <a:pt x="756" y="312"/>
                </a:lnTo>
                <a:lnTo>
                  <a:pt x="750" y="306"/>
                </a:lnTo>
                <a:lnTo>
                  <a:pt x="756" y="306"/>
                </a:lnTo>
                <a:lnTo>
                  <a:pt x="750" y="306"/>
                </a:lnTo>
                <a:lnTo>
                  <a:pt x="756" y="306"/>
                </a:lnTo>
                <a:lnTo>
                  <a:pt x="750" y="306"/>
                </a:lnTo>
                <a:lnTo>
                  <a:pt x="744" y="306"/>
                </a:lnTo>
                <a:lnTo>
                  <a:pt x="744" y="300"/>
                </a:lnTo>
                <a:lnTo>
                  <a:pt x="738" y="300"/>
                </a:lnTo>
                <a:lnTo>
                  <a:pt x="738" y="294"/>
                </a:lnTo>
                <a:lnTo>
                  <a:pt x="738" y="288"/>
                </a:lnTo>
                <a:lnTo>
                  <a:pt x="744" y="282"/>
                </a:lnTo>
                <a:lnTo>
                  <a:pt x="744" y="276"/>
                </a:lnTo>
                <a:lnTo>
                  <a:pt x="750" y="276"/>
                </a:lnTo>
                <a:lnTo>
                  <a:pt x="750" y="270"/>
                </a:lnTo>
                <a:lnTo>
                  <a:pt x="750" y="264"/>
                </a:lnTo>
                <a:lnTo>
                  <a:pt x="756" y="264"/>
                </a:lnTo>
                <a:lnTo>
                  <a:pt x="756" y="258"/>
                </a:lnTo>
                <a:lnTo>
                  <a:pt x="756" y="252"/>
                </a:lnTo>
                <a:lnTo>
                  <a:pt x="750" y="252"/>
                </a:lnTo>
                <a:lnTo>
                  <a:pt x="756" y="252"/>
                </a:lnTo>
                <a:lnTo>
                  <a:pt x="750" y="252"/>
                </a:lnTo>
                <a:lnTo>
                  <a:pt x="750" y="246"/>
                </a:lnTo>
                <a:lnTo>
                  <a:pt x="756" y="246"/>
                </a:lnTo>
                <a:lnTo>
                  <a:pt x="750" y="246"/>
                </a:lnTo>
                <a:lnTo>
                  <a:pt x="756" y="246"/>
                </a:lnTo>
                <a:lnTo>
                  <a:pt x="756" y="240"/>
                </a:lnTo>
                <a:lnTo>
                  <a:pt x="750" y="240"/>
                </a:lnTo>
                <a:lnTo>
                  <a:pt x="756" y="240"/>
                </a:lnTo>
                <a:lnTo>
                  <a:pt x="756" y="234"/>
                </a:lnTo>
                <a:lnTo>
                  <a:pt x="762" y="228"/>
                </a:lnTo>
                <a:lnTo>
                  <a:pt x="762" y="234"/>
                </a:lnTo>
                <a:lnTo>
                  <a:pt x="762" y="228"/>
                </a:lnTo>
                <a:lnTo>
                  <a:pt x="762" y="234"/>
                </a:lnTo>
                <a:lnTo>
                  <a:pt x="768" y="228"/>
                </a:lnTo>
                <a:lnTo>
                  <a:pt x="768" y="234"/>
                </a:lnTo>
                <a:lnTo>
                  <a:pt x="768" y="228"/>
                </a:lnTo>
                <a:lnTo>
                  <a:pt x="768" y="234"/>
                </a:lnTo>
                <a:lnTo>
                  <a:pt x="768" y="228"/>
                </a:lnTo>
                <a:lnTo>
                  <a:pt x="768" y="234"/>
                </a:lnTo>
                <a:lnTo>
                  <a:pt x="768" y="228"/>
                </a:lnTo>
                <a:lnTo>
                  <a:pt x="774" y="228"/>
                </a:lnTo>
                <a:lnTo>
                  <a:pt x="774" y="222"/>
                </a:lnTo>
                <a:lnTo>
                  <a:pt x="780" y="222"/>
                </a:lnTo>
                <a:lnTo>
                  <a:pt x="786" y="222"/>
                </a:lnTo>
                <a:lnTo>
                  <a:pt x="792" y="222"/>
                </a:lnTo>
                <a:lnTo>
                  <a:pt x="804" y="216"/>
                </a:lnTo>
                <a:lnTo>
                  <a:pt x="822" y="216"/>
                </a:lnTo>
                <a:lnTo>
                  <a:pt x="822" y="210"/>
                </a:lnTo>
                <a:lnTo>
                  <a:pt x="822" y="204"/>
                </a:lnTo>
                <a:lnTo>
                  <a:pt x="822" y="198"/>
                </a:lnTo>
                <a:lnTo>
                  <a:pt x="822" y="192"/>
                </a:lnTo>
                <a:lnTo>
                  <a:pt x="816" y="192"/>
                </a:lnTo>
                <a:lnTo>
                  <a:pt x="816" y="186"/>
                </a:lnTo>
                <a:lnTo>
                  <a:pt x="816" y="180"/>
                </a:lnTo>
                <a:lnTo>
                  <a:pt x="810" y="180"/>
                </a:lnTo>
                <a:lnTo>
                  <a:pt x="810" y="174"/>
                </a:lnTo>
                <a:lnTo>
                  <a:pt x="804" y="174"/>
                </a:lnTo>
                <a:lnTo>
                  <a:pt x="804" y="168"/>
                </a:lnTo>
                <a:lnTo>
                  <a:pt x="804" y="162"/>
                </a:lnTo>
                <a:lnTo>
                  <a:pt x="804" y="156"/>
                </a:lnTo>
                <a:lnTo>
                  <a:pt x="810" y="150"/>
                </a:lnTo>
                <a:lnTo>
                  <a:pt x="816" y="150"/>
                </a:lnTo>
                <a:lnTo>
                  <a:pt x="816" y="144"/>
                </a:lnTo>
                <a:lnTo>
                  <a:pt x="816" y="138"/>
                </a:lnTo>
                <a:lnTo>
                  <a:pt x="810" y="138"/>
                </a:lnTo>
                <a:lnTo>
                  <a:pt x="810" y="132"/>
                </a:lnTo>
                <a:lnTo>
                  <a:pt x="804" y="132"/>
                </a:lnTo>
                <a:lnTo>
                  <a:pt x="804" y="126"/>
                </a:lnTo>
                <a:lnTo>
                  <a:pt x="810" y="120"/>
                </a:lnTo>
                <a:lnTo>
                  <a:pt x="810" y="114"/>
                </a:lnTo>
                <a:lnTo>
                  <a:pt x="810" y="108"/>
                </a:lnTo>
                <a:lnTo>
                  <a:pt x="804" y="108"/>
                </a:lnTo>
                <a:lnTo>
                  <a:pt x="810" y="108"/>
                </a:lnTo>
                <a:lnTo>
                  <a:pt x="816" y="102"/>
                </a:lnTo>
                <a:lnTo>
                  <a:pt x="822" y="102"/>
                </a:lnTo>
                <a:lnTo>
                  <a:pt x="828" y="102"/>
                </a:lnTo>
                <a:lnTo>
                  <a:pt x="834" y="102"/>
                </a:lnTo>
                <a:lnTo>
                  <a:pt x="834" y="108"/>
                </a:lnTo>
                <a:lnTo>
                  <a:pt x="840" y="108"/>
                </a:lnTo>
                <a:lnTo>
                  <a:pt x="846" y="108"/>
                </a:lnTo>
                <a:lnTo>
                  <a:pt x="852" y="108"/>
                </a:lnTo>
                <a:lnTo>
                  <a:pt x="858" y="108"/>
                </a:lnTo>
                <a:lnTo>
                  <a:pt x="864" y="108"/>
                </a:lnTo>
                <a:lnTo>
                  <a:pt x="858" y="102"/>
                </a:lnTo>
                <a:lnTo>
                  <a:pt x="858" y="96"/>
                </a:lnTo>
                <a:lnTo>
                  <a:pt x="858" y="90"/>
                </a:lnTo>
                <a:lnTo>
                  <a:pt x="858" y="84"/>
                </a:lnTo>
                <a:lnTo>
                  <a:pt x="858" y="78"/>
                </a:lnTo>
                <a:lnTo>
                  <a:pt x="852" y="78"/>
                </a:lnTo>
                <a:lnTo>
                  <a:pt x="852" y="72"/>
                </a:lnTo>
                <a:lnTo>
                  <a:pt x="858" y="66"/>
                </a:lnTo>
                <a:lnTo>
                  <a:pt x="864" y="66"/>
                </a:lnTo>
                <a:lnTo>
                  <a:pt x="858" y="60"/>
                </a:lnTo>
                <a:lnTo>
                  <a:pt x="864" y="60"/>
                </a:lnTo>
                <a:lnTo>
                  <a:pt x="864" y="66"/>
                </a:lnTo>
                <a:lnTo>
                  <a:pt x="870" y="66"/>
                </a:lnTo>
                <a:lnTo>
                  <a:pt x="876" y="66"/>
                </a:lnTo>
                <a:lnTo>
                  <a:pt x="876" y="72"/>
                </a:lnTo>
                <a:lnTo>
                  <a:pt x="882" y="72"/>
                </a:lnTo>
                <a:lnTo>
                  <a:pt x="888" y="72"/>
                </a:lnTo>
                <a:lnTo>
                  <a:pt x="888" y="78"/>
                </a:lnTo>
                <a:lnTo>
                  <a:pt x="882" y="78"/>
                </a:lnTo>
                <a:lnTo>
                  <a:pt x="888" y="78"/>
                </a:lnTo>
                <a:lnTo>
                  <a:pt x="888" y="84"/>
                </a:lnTo>
                <a:lnTo>
                  <a:pt x="888" y="90"/>
                </a:lnTo>
                <a:lnTo>
                  <a:pt x="894" y="90"/>
                </a:lnTo>
                <a:lnTo>
                  <a:pt x="900" y="90"/>
                </a:lnTo>
                <a:lnTo>
                  <a:pt x="906" y="90"/>
                </a:lnTo>
                <a:lnTo>
                  <a:pt x="906" y="84"/>
                </a:lnTo>
                <a:lnTo>
                  <a:pt x="906" y="90"/>
                </a:lnTo>
                <a:lnTo>
                  <a:pt x="912" y="90"/>
                </a:lnTo>
                <a:lnTo>
                  <a:pt x="918" y="90"/>
                </a:lnTo>
                <a:lnTo>
                  <a:pt x="918" y="84"/>
                </a:lnTo>
                <a:lnTo>
                  <a:pt x="918" y="90"/>
                </a:lnTo>
                <a:lnTo>
                  <a:pt x="918" y="84"/>
                </a:lnTo>
                <a:lnTo>
                  <a:pt x="924" y="84"/>
                </a:lnTo>
                <a:lnTo>
                  <a:pt x="924" y="90"/>
                </a:lnTo>
                <a:lnTo>
                  <a:pt x="930" y="90"/>
                </a:lnTo>
                <a:lnTo>
                  <a:pt x="930" y="96"/>
                </a:lnTo>
                <a:lnTo>
                  <a:pt x="930" y="102"/>
                </a:lnTo>
                <a:lnTo>
                  <a:pt x="924" y="108"/>
                </a:lnTo>
                <a:lnTo>
                  <a:pt x="924" y="114"/>
                </a:lnTo>
                <a:lnTo>
                  <a:pt x="918" y="114"/>
                </a:lnTo>
                <a:lnTo>
                  <a:pt x="924" y="120"/>
                </a:lnTo>
                <a:lnTo>
                  <a:pt x="918" y="120"/>
                </a:lnTo>
                <a:lnTo>
                  <a:pt x="918" y="126"/>
                </a:lnTo>
                <a:lnTo>
                  <a:pt x="912" y="126"/>
                </a:lnTo>
                <a:lnTo>
                  <a:pt x="912" y="132"/>
                </a:lnTo>
                <a:lnTo>
                  <a:pt x="918" y="132"/>
                </a:lnTo>
                <a:lnTo>
                  <a:pt x="924" y="132"/>
                </a:lnTo>
                <a:lnTo>
                  <a:pt x="924" y="126"/>
                </a:lnTo>
                <a:lnTo>
                  <a:pt x="930" y="126"/>
                </a:lnTo>
                <a:lnTo>
                  <a:pt x="930" y="120"/>
                </a:lnTo>
                <a:lnTo>
                  <a:pt x="936" y="120"/>
                </a:lnTo>
                <a:lnTo>
                  <a:pt x="936" y="114"/>
                </a:lnTo>
                <a:lnTo>
                  <a:pt x="942" y="120"/>
                </a:lnTo>
                <a:lnTo>
                  <a:pt x="948" y="120"/>
                </a:lnTo>
                <a:lnTo>
                  <a:pt x="948" y="114"/>
                </a:lnTo>
                <a:lnTo>
                  <a:pt x="954" y="114"/>
                </a:lnTo>
                <a:lnTo>
                  <a:pt x="960" y="114"/>
                </a:lnTo>
                <a:lnTo>
                  <a:pt x="966" y="114"/>
                </a:lnTo>
                <a:lnTo>
                  <a:pt x="966" y="108"/>
                </a:lnTo>
                <a:lnTo>
                  <a:pt x="972" y="108"/>
                </a:lnTo>
                <a:lnTo>
                  <a:pt x="972" y="102"/>
                </a:lnTo>
                <a:lnTo>
                  <a:pt x="978" y="102"/>
                </a:lnTo>
                <a:lnTo>
                  <a:pt x="978" y="96"/>
                </a:lnTo>
                <a:lnTo>
                  <a:pt x="984" y="96"/>
                </a:lnTo>
                <a:lnTo>
                  <a:pt x="984" y="90"/>
                </a:lnTo>
                <a:lnTo>
                  <a:pt x="990" y="90"/>
                </a:lnTo>
                <a:lnTo>
                  <a:pt x="996" y="96"/>
                </a:lnTo>
                <a:lnTo>
                  <a:pt x="996" y="90"/>
                </a:lnTo>
                <a:lnTo>
                  <a:pt x="996" y="96"/>
                </a:lnTo>
                <a:lnTo>
                  <a:pt x="996" y="90"/>
                </a:lnTo>
                <a:lnTo>
                  <a:pt x="1002" y="90"/>
                </a:lnTo>
                <a:lnTo>
                  <a:pt x="1008" y="90"/>
                </a:lnTo>
                <a:lnTo>
                  <a:pt x="1008" y="84"/>
                </a:lnTo>
                <a:lnTo>
                  <a:pt x="1014" y="84"/>
                </a:lnTo>
                <a:lnTo>
                  <a:pt x="1014" y="78"/>
                </a:lnTo>
                <a:lnTo>
                  <a:pt x="1020" y="78"/>
                </a:lnTo>
                <a:lnTo>
                  <a:pt x="1020" y="72"/>
                </a:lnTo>
                <a:lnTo>
                  <a:pt x="1026" y="72"/>
                </a:lnTo>
                <a:lnTo>
                  <a:pt x="1026" y="66"/>
                </a:lnTo>
                <a:lnTo>
                  <a:pt x="1032" y="66"/>
                </a:lnTo>
                <a:lnTo>
                  <a:pt x="1038" y="66"/>
                </a:lnTo>
                <a:lnTo>
                  <a:pt x="1044" y="66"/>
                </a:lnTo>
                <a:lnTo>
                  <a:pt x="1050" y="66"/>
                </a:lnTo>
                <a:lnTo>
                  <a:pt x="1050" y="60"/>
                </a:lnTo>
                <a:lnTo>
                  <a:pt x="1056" y="54"/>
                </a:lnTo>
                <a:lnTo>
                  <a:pt x="1062" y="54"/>
                </a:lnTo>
                <a:lnTo>
                  <a:pt x="1062" y="48"/>
                </a:lnTo>
                <a:lnTo>
                  <a:pt x="1068" y="48"/>
                </a:lnTo>
                <a:lnTo>
                  <a:pt x="1074" y="48"/>
                </a:lnTo>
                <a:lnTo>
                  <a:pt x="1074" y="42"/>
                </a:lnTo>
                <a:lnTo>
                  <a:pt x="1080" y="42"/>
                </a:lnTo>
                <a:lnTo>
                  <a:pt x="1074" y="42"/>
                </a:lnTo>
                <a:lnTo>
                  <a:pt x="1080" y="42"/>
                </a:lnTo>
                <a:lnTo>
                  <a:pt x="1080" y="36"/>
                </a:lnTo>
                <a:lnTo>
                  <a:pt x="1080" y="30"/>
                </a:lnTo>
                <a:lnTo>
                  <a:pt x="1080" y="36"/>
                </a:lnTo>
                <a:lnTo>
                  <a:pt x="1086" y="36"/>
                </a:lnTo>
                <a:lnTo>
                  <a:pt x="1086" y="30"/>
                </a:lnTo>
                <a:lnTo>
                  <a:pt x="1092" y="30"/>
                </a:lnTo>
                <a:lnTo>
                  <a:pt x="1092" y="24"/>
                </a:lnTo>
                <a:lnTo>
                  <a:pt x="1098" y="30"/>
                </a:lnTo>
                <a:lnTo>
                  <a:pt x="1098" y="24"/>
                </a:lnTo>
                <a:lnTo>
                  <a:pt x="1098" y="30"/>
                </a:lnTo>
                <a:lnTo>
                  <a:pt x="1098" y="24"/>
                </a:lnTo>
                <a:lnTo>
                  <a:pt x="1104" y="24"/>
                </a:lnTo>
                <a:lnTo>
                  <a:pt x="1104" y="18"/>
                </a:lnTo>
                <a:lnTo>
                  <a:pt x="1110" y="18"/>
                </a:lnTo>
                <a:lnTo>
                  <a:pt x="1110" y="12"/>
                </a:lnTo>
                <a:lnTo>
                  <a:pt x="1116" y="12"/>
                </a:lnTo>
                <a:lnTo>
                  <a:pt x="1122" y="12"/>
                </a:lnTo>
                <a:lnTo>
                  <a:pt x="1128" y="12"/>
                </a:lnTo>
                <a:lnTo>
                  <a:pt x="1128" y="6"/>
                </a:lnTo>
                <a:lnTo>
                  <a:pt x="1134" y="6"/>
                </a:lnTo>
                <a:lnTo>
                  <a:pt x="1140" y="6"/>
                </a:lnTo>
                <a:lnTo>
                  <a:pt x="1140" y="0"/>
                </a:lnTo>
                <a:lnTo>
                  <a:pt x="1140" y="6"/>
                </a:lnTo>
                <a:lnTo>
                  <a:pt x="1140" y="0"/>
                </a:lnTo>
                <a:lnTo>
                  <a:pt x="1146" y="0"/>
                </a:lnTo>
                <a:lnTo>
                  <a:pt x="1152" y="0"/>
                </a:lnTo>
                <a:lnTo>
                  <a:pt x="1158" y="0"/>
                </a:lnTo>
                <a:lnTo>
                  <a:pt x="1164" y="0"/>
                </a:lnTo>
                <a:lnTo>
                  <a:pt x="1164" y="6"/>
                </a:lnTo>
                <a:lnTo>
                  <a:pt x="1164" y="0"/>
                </a:lnTo>
                <a:lnTo>
                  <a:pt x="1170" y="6"/>
                </a:lnTo>
                <a:lnTo>
                  <a:pt x="1170" y="0"/>
                </a:lnTo>
                <a:lnTo>
                  <a:pt x="1176" y="0"/>
                </a:lnTo>
                <a:lnTo>
                  <a:pt x="1176" y="6"/>
                </a:lnTo>
                <a:lnTo>
                  <a:pt x="1182" y="6"/>
                </a:lnTo>
                <a:lnTo>
                  <a:pt x="1188" y="6"/>
                </a:lnTo>
                <a:lnTo>
                  <a:pt x="1194" y="6"/>
                </a:lnTo>
                <a:lnTo>
                  <a:pt x="1200" y="6"/>
                </a:lnTo>
                <a:lnTo>
                  <a:pt x="1206" y="6"/>
                </a:lnTo>
                <a:lnTo>
                  <a:pt x="1206" y="12"/>
                </a:lnTo>
                <a:lnTo>
                  <a:pt x="1206" y="6"/>
                </a:lnTo>
                <a:lnTo>
                  <a:pt x="1206" y="12"/>
                </a:lnTo>
                <a:lnTo>
                  <a:pt x="1212" y="12"/>
                </a:lnTo>
                <a:lnTo>
                  <a:pt x="1218" y="12"/>
                </a:lnTo>
                <a:lnTo>
                  <a:pt x="1212" y="18"/>
                </a:lnTo>
                <a:lnTo>
                  <a:pt x="1212" y="24"/>
                </a:lnTo>
                <a:lnTo>
                  <a:pt x="1206" y="30"/>
                </a:lnTo>
                <a:lnTo>
                  <a:pt x="1206" y="36"/>
                </a:lnTo>
                <a:lnTo>
                  <a:pt x="1206" y="42"/>
                </a:lnTo>
                <a:lnTo>
                  <a:pt x="1200" y="42"/>
                </a:lnTo>
                <a:lnTo>
                  <a:pt x="1200" y="48"/>
                </a:lnTo>
                <a:lnTo>
                  <a:pt x="1206" y="48"/>
                </a:lnTo>
                <a:lnTo>
                  <a:pt x="1200" y="48"/>
                </a:lnTo>
                <a:lnTo>
                  <a:pt x="1206" y="54"/>
                </a:lnTo>
                <a:lnTo>
                  <a:pt x="1200" y="54"/>
                </a:lnTo>
                <a:lnTo>
                  <a:pt x="1206" y="54"/>
                </a:lnTo>
                <a:lnTo>
                  <a:pt x="1200" y="54"/>
                </a:lnTo>
                <a:lnTo>
                  <a:pt x="1206" y="54"/>
                </a:lnTo>
                <a:lnTo>
                  <a:pt x="1200" y="54"/>
                </a:lnTo>
                <a:lnTo>
                  <a:pt x="1206" y="54"/>
                </a:lnTo>
                <a:lnTo>
                  <a:pt x="1212" y="60"/>
                </a:lnTo>
                <a:lnTo>
                  <a:pt x="1218" y="60"/>
                </a:lnTo>
                <a:lnTo>
                  <a:pt x="1224" y="60"/>
                </a:lnTo>
                <a:lnTo>
                  <a:pt x="1224" y="66"/>
                </a:lnTo>
                <a:lnTo>
                  <a:pt x="1230" y="60"/>
                </a:lnTo>
                <a:lnTo>
                  <a:pt x="1230" y="66"/>
                </a:lnTo>
                <a:lnTo>
                  <a:pt x="1236" y="66"/>
                </a:lnTo>
                <a:lnTo>
                  <a:pt x="1242" y="66"/>
                </a:lnTo>
                <a:lnTo>
                  <a:pt x="1248" y="72"/>
                </a:lnTo>
                <a:lnTo>
                  <a:pt x="1254" y="72"/>
                </a:lnTo>
                <a:lnTo>
                  <a:pt x="1254" y="66"/>
                </a:lnTo>
                <a:lnTo>
                  <a:pt x="1260" y="66"/>
                </a:lnTo>
                <a:lnTo>
                  <a:pt x="1260" y="60"/>
                </a:lnTo>
                <a:lnTo>
                  <a:pt x="1260" y="66"/>
                </a:lnTo>
                <a:lnTo>
                  <a:pt x="1260" y="60"/>
                </a:lnTo>
                <a:lnTo>
                  <a:pt x="1266" y="66"/>
                </a:lnTo>
                <a:lnTo>
                  <a:pt x="1266" y="60"/>
                </a:lnTo>
                <a:lnTo>
                  <a:pt x="1272" y="60"/>
                </a:lnTo>
                <a:lnTo>
                  <a:pt x="1278" y="60"/>
                </a:lnTo>
                <a:lnTo>
                  <a:pt x="1278" y="54"/>
                </a:lnTo>
                <a:lnTo>
                  <a:pt x="1284" y="54"/>
                </a:lnTo>
                <a:lnTo>
                  <a:pt x="1290" y="54"/>
                </a:lnTo>
                <a:lnTo>
                  <a:pt x="1296" y="54"/>
                </a:lnTo>
                <a:lnTo>
                  <a:pt x="1302" y="54"/>
                </a:lnTo>
                <a:lnTo>
                  <a:pt x="1302" y="60"/>
                </a:lnTo>
                <a:lnTo>
                  <a:pt x="1302" y="54"/>
                </a:lnTo>
                <a:lnTo>
                  <a:pt x="1308" y="60"/>
                </a:lnTo>
                <a:lnTo>
                  <a:pt x="1314" y="60"/>
                </a:lnTo>
                <a:lnTo>
                  <a:pt x="1320" y="60"/>
                </a:lnTo>
                <a:lnTo>
                  <a:pt x="1326" y="60"/>
                </a:lnTo>
                <a:lnTo>
                  <a:pt x="1326" y="66"/>
                </a:lnTo>
                <a:lnTo>
                  <a:pt x="1332" y="66"/>
                </a:lnTo>
                <a:lnTo>
                  <a:pt x="1338" y="66"/>
                </a:lnTo>
                <a:lnTo>
                  <a:pt x="1338" y="72"/>
                </a:lnTo>
                <a:lnTo>
                  <a:pt x="1332" y="72"/>
                </a:lnTo>
                <a:lnTo>
                  <a:pt x="1338" y="72"/>
                </a:lnTo>
                <a:lnTo>
                  <a:pt x="1344" y="78"/>
                </a:lnTo>
                <a:lnTo>
                  <a:pt x="1350" y="78"/>
                </a:lnTo>
                <a:lnTo>
                  <a:pt x="1350" y="84"/>
                </a:lnTo>
                <a:lnTo>
                  <a:pt x="1356" y="84"/>
                </a:lnTo>
                <a:lnTo>
                  <a:pt x="1362" y="84"/>
                </a:lnTo>
                <a:lnTo>
                  <a:pt x="1362" y="90"/>
                </a:lnTo>
                <a:lnTo>
                  <a:pt x="1368" y="90"/>
                </a:lnTo>
                <a:lnTo>
                  <a:pt x="1374" y="90"/>
                </a:lnTo>
                <a:lnTo>
                  <a:pt x="1374" y="96"/>
                </a:lnTo>
                <a:lnTo>
                  <a:pt x="1380" y="96"/>
                </a:lnTo>
                <a:lnTo>
                  <a:pt x="1386" y="96"/>
                </a:lnTo>
                <a:lnTo>
                  <a:pt x="1386" y="102"/>
                </a:lnTo>
                <a:lnTo>
                  <a:pt x="1392" y="102"/>
                </a:lnTo>
                <a:lnTo>
                  <a:pt x="1392" y="108"/>
                </a:lnTo>
                <a:lnTo>
                  <a:pt x="1398" y="108"/>
                </a:lnTo>
                <a:lnTo>
                  <a:pt x="1404" y="114"/>
                </a:lnTo>
                <a:lnTo>
                  <a:pt x="1404" y="108"/>
                </a:lnTo>
                <a:lnTo>
                  <a:pt x="1404" y="114"/>
                </a:lnTo>
                <a:lnTo>
                  <a:pt x="1410" y="114"/>
                </a:lnTo>
                <a:lnTo>
                  <a:pt x="1416" y="114"/>
                </a:lnTo>
                <a:lnTo>
                  <a:pt x="1422" y="114"/>
                </a:lnTo>
                <a:lnTo>
                  <a:pt x="1422" y="108"/>
                </a:lnTo>
                <a:lnTo>
                  <a:pt x="1428" y="108"/>
                </a:lnTo>
                <a:lnTo>
                  <a:pt x="1428" y="114"/>
                </a:lnTo>
                <a:lnTo>
                  <a:pt x="1434" y="114"/>
                </a:lnTo>
                <a:lnTo>
                  <a:pt x="1434" y="120"/>
                </a:lnTo>
                <a:lnTo>
                  <a:pt x="1434" y="126"/>
                </a:lnTo>
                <a:lnTo>
                  <a:pt x="1440" y="120"/>
                </a:lnTo>
                <a:lnTo>
                  <a:pt x="1446" y="120"/>
                </a:lnTo>
                <a:lnTo>
                  <a:pt x="1452" y="120"/>
                </a:lnTo>
                <a:lnTo>
                  <a:pt x="1458" y="120"/>
                </a:lnTo>
                <a:lnTo>
                  <a:pt x="1464" y="120"/>
                </a:lnTo>
                <a:lnTo>
                  <a:pt x="1464" y="114"/>
                </a:lnTo>
                <a:lnTo>
                  <a:pt x="1470" y="114"/>
                </a:lnTo>
                <a:lnTo>
                  <a:pt x="1476" y="114"/>
                </a:lnTo>
                <a:lnTo>
                  <a:pt x="1506" y="138"/>
                </a:lnTo>
                <a:lnTo>
                  <a:pt x="1518" y="150"/>
                </a:lnTo>
                <a:lnTo>
                  <a:pt x="1530" y="162"/>
                </a:lnTo>
                <a:lnTo>
                  <a:pt x="1536" y="180"/>
                </a:lnTo>
                <a:lnTo>
                  <a:pt x="1536" y="198"/>
                </a:lnTo>
                <a:lnTo>
                  <a:pt x="1542" y="198"/>
                </a:lnTo>
                <a:lnTo>
                  <a:pt x="1548" y="198"/>
                </a:lnTo>
                <a:lnTo>
                  <a:pt x="1548" y="192"/>
                </a:lnTo>
                <a:lnTo>
                  <a:pt x="1554" y="198"/>
                </a:lnTo>
                <a:lnTo>
                  <a:pt x="1560" y="198"/>
                </a:lnTo>
                <a:lnTo>
                  <a:pt x="1566" y="198"/>
                </a:lnTo>
                <a:lnTo>
                  <a:pt x="1566" y="192"/>
                </a:lnTo>
                <a:lnTo>
                  <a:pt x="1572" y="192"/>
                </a:lnTo>
                <a:lnTo>
                  <a:pt x="1578" y="192"/>
                </a:lnTo>
                <a:lnTo>
                  <a:pt x="1584" y="186"/>
                </a:lnTo>
                <a:lnTo>
                  <a:pt x="1590" y="186"/>
                </a:lnTo>
                <a:lnTo>
                  <a:pt x="1590" y="192"/>
                </a:lnTo>
                <a:lnTo>
                  <a:pt x="1590" y="186"/>
                </a:lnTo>
                <a:lnTo>
                  <a:pt x="1596" y="192"/>
                </a:lnTo>
                <a:lnTo>
                  <a:pt x="1596" y="186"/>
                </a:lnTo>
                <a:lnTo>
                  <a:pt x="1602" y="186"/>
                </a:lnTo>
                <a:lnTo>
                  <a:pt x="1608" y="186"/>
                </a:lnTo>
                <a:lnTo>
                  <a:pt x="1608" y="192"/>
                </a:lnTo>
                <a:lnTo>
                  <a:pt x="1614" y="192"/>
                </a:lnTo>
                <a:lnTo>
                  <a:pt x="1614" y="186"/>
                </a:lnTo>
                <a:lnTo>
                  <a:pt x="1620" y="186"/>
                </a:lnTo>
                <a:lnTo>
                  <a:pt x="1620" y="192"/>
                </a:lnTo>
                <a:lnTo>
                  <a:pt x="1626" y="192"/>
                </a:lnTo>
                <a:lnTo>
                  <a:pt x="1632" y="192"/>
                </a:lnTo>
                <a:lnTo>
                  <a:pt x="1632" y="198"/>
                </a:lnTo>
                <a:lnTo>
                  <a:pt x="1632" y="204"/>
                </a:lnTo>
                <a:lnTo>
                  <a:pt x="1638" y="204"/>
                </a:lnTo>
                <a:lnTo>
                  <a:pt x="1638" y="198"/>
                </a:lnTo>
                <a:lnTo>
                  <a:pt x="1644" y="198"/>
                </a:lnTo>
                <a:lnTo>
                  <a:pt x="1650" y="198"/>
                </a:lnTo>
                <a:lnTo>
                  <a:pt x="1656" y="204"/>
                </a:lnTo>
                <a:lnTo>
                  <a:pt x="1662" y="204"/>
                </a:lnTo>
                <a:lnTo>
                  <a:pt x="1668" y="204"/>
                </a:lnTo>
                <a:lnTo>
                  <a:pt x="1674" y="204"/>
                </a:lnTo>
                <a:lnTo>
                  <a:pt x="1680" y="204"/>
                </a:lnTo>
                <a:lnTo>
                  <a:pt x="1680" y="210"/>
                </a:lnTo>
                <a:lnTo>
                  <a:pt x="1686" y="210"/>
                </a:lnTo>
                <a:lnTo>
                  <a:pt x="1686" y="216"/>
                </a:lnTo>
                <a:lnTo>
                  <a:pt x="1692" y="216"/>
                </a:lnTo>
                <a:lnTo>
                  <a:pt x="1698" y="216"/>
                </a:lnTo>
                <a:lnTo>
                  <a:pt x="1698" y="222"/>
                </a:lnTo>
                <a:lnTo>
                  <a:pt x="1698" y="216"/>
                </a:lnTo>
                <a:lnTo>
                  <a:pt x="1698" y="222"/>
                </a:lnTo>
                <a:lnTo>
                  <a:pt x="1704" y="222"/>
                </a:lnTo>
                <a:lnTo>
                  <a:pt x="1704" y="228"/>
                </a:lnTo>
                <a:lnTo>
                  <a:pt x="1710" y="228"/>
                </a:lnTo>
                <a:lnTo>
                  <a:pt x="1716" y="228"/>
                </a:lnTo>
                <a:lnTo>
                  <a:pt x="1722" y="228"/>
                </a:lnTo>
                <a:lnTo>
                  <a:pt x="1716" y="234"/>
                </a:lnTo>
                <a:lnTo>
                  <a:pt x="1722" y="234"/>
                </a:lnTo>
                <a:lnTo>
                  <a:pt x="1722" y="240"/>
                </a:lnTo>
                <a:lnTo>
                  <a:pt x="1728" y="240"/>
                </a:lnTo>
                <a:lnTo>
                  <a:pt x="1728" y="246"/>
                </a:lnTo>
                <a:lnTo>
                  <a:pt x="1722" y="246"/>
                </a:lnTo>
                <a:lnTo>
                  <a:pt x="1722" y="252"/>
                </a:lnTo>
                <a:lnTo>
                  <a:pt x="1722" y="258"/>
                </a:lnTo>
                <a:lnTo>
                  <a:pt x="1716" y="264"/>
                </a:lnTo>
                <a:lnTo>
                  <a:pt x="1722" y="264"/>
                </a:lnTo>
                <a:lnTo>
                  <a:pt x="1716" y="264"/>
                </a:lnTo>
                <a:lnTo>
                  <a:pt x="1716" y="270"/>
                </a:lnTo>
                <a:lnTo>
                  <a:pt x="1710" y="270"/>
                </a:lnTo>
                <a:lnTo>
                  <a:pt x="1710" y="276"/>
                </a:lnTo>
                <a:lnTo>
                  <a:pt x="1704" y="276"/>
                </a:lnTo>
                <a:lnTo>
                  <a:pt x="1704" y="282"/>
                </a:lnTo>
                <a:lnTo>
                  <a:pt x="1704" y="288"/>
                </a:lnTo>
                <a:lnTo>
                  <a:pt x="1698" y="288"/>
                </a:lnTo>
                <a:lnTo>
                  <a:pt x="1698" y="282"/>
                </a:lnTo>
                <a:lnTo>
                  <a:pt x="1698" y="288"/>
                </a:lnTo>
                <a:lnTo>
                  <a:pt x="1692" y="288"/>
                </a:lnTo>
                <a:lnTo>
                  <a:pt x="1692" y="294"/>
                </a:lnTo>
                <a:lnTo>
                  <a:pt x="1686" y="294"/>
                </a:lnTo>
                <a:lnTo>
                  <a:pt x="1686" y="300"/>
                </a:lnTo>
                <a:lnTo>
                  <a:pt x="1686" y="306"/>
                </a:lnTo>
                <a:lnTo>
                  <a:pt x="1680" y="306"/>
                </a:lnTo>
                <a:lnTo>
                  <a:pt x="1680" y="300"/>
                </a:lnTo>
                <a:lnTo>
                  <a:pt x="1674" y="306"/>
                </a:lnTo>
                <a:lnTo>
                  <a:pt x="1668" y="312"/>
                </a:lnTo>
                <a:lnTo>
                  <a:pt x="1668" y="318"/>
                </a:lnTo>
                <a:lnTo>
                  <a:pt x="1668" y="324"/>
                </a:lnTo>
                <a:lnTo>
                  <a:pt x="1662" y="330"/>
                </a:lnTo>
                <a:lnTo>
                  <a:pt x="1668" y="336"/>
                </a:lnTo>
                <a:lnTo>
                  <a:pt x="1668" y="330"/>
                </a:lnTo>
                <a:lnTo>
                  <a:pt x="1674" y="336"/>
                </a:lnTo>
                <a:lnTo>
                  <a:pt x="1674" y="330"/>
                </a:lnTo>
                <a:lnTo>
                  <a:pt x="1674" y="336"/>
                </a:lnTo>
                <a:lnTo>
                  <a:pt x="1674" y="342"/>
                </a:lnTo>
                <a:lnTo>
                  <a:pt x="1674" y="348"/>
                </a:lnTo>
                <a:lnTo>
                  <a:pt x="1668" y="348"/>
                </a:lnTo>
                <a:lnTo>
                  <a:pt x="1662" y="348"/>
                </a:lnTo>
                <a:lnTo>
                  <a:pt x="1662" y="342"/>
                </a:lnTo>
                <a:lnTo>
                  <a:pt x="1656" y="342"/>
                </a:lnTo>
                <a:lnTo>
                  <a:pt x="1656" y="348"/>
                </a:lnTo>
                <a:lnTo>
                  <a:pt x="1650" y="342"/>
                </a:lnTo>
                <a:lnTo>
                  <a:pt x="1650" y="348"/>
                </a:lnTo>
                <a:lnTo>
                  <a:pt x="1650" y="342"/>
                </a:lnTo>
                <a:lnTo>
                  <a:pt x="1644" y="342"/>
                </a:lnTo>
                <a:lnTo>
                  <a:pt x="1644" y="348"/>
                </a:lnTo>
                <a:lnTo>
                  <a:pt x="1644" y="354"/>
                </a:lnTo>
                <a:lnTo>
                  <a:pt x="1638" y="354"/>
                </a:lnTo>
                <a:lnTo>
                  <a:pt x="1638" y="360"/>
                </a:lnTo>
                <a:lnTo>
                  <a:pt x="1632" y="366"/>
                </a:lnTo>
                <a:lnTo>
                  <a:pt x="1632" y="372"/>
                </a:lnTo>
                <a:lnTo>
                  <a:pt x="1638" y="372"/>
                </a:lnTo>
                <a:lnTo>
                  <a:pt x="1638" y="378"/>
                </a:lnTo>
                <a:lnTo>
                  <a:pt x="1632" y="378"/>
                </a:lnTo>
                <a:lnTo>
                  <a:pt x="1632" y="384"/>
                </a:lnTo>
                <a:lnTo>
                  <a:pt x="1638" y="384"/>
                </a:lnTo>
                <a:lnTo>
                  <a:pt x="1638" y="390"/>
                </a:lnTo>
                <a:lnTo>
                  <a:pt x="1632" y="390"/>
                </a:lnTo>
                <a:lnTo>
                  <a:pt x="1638" y="396"/>
                </a:lnTo>
                <a:lnTo>
                  <a:pt x="1632" y="396"/>
                </a:lnTo>
                <a:lnTo>
                  <a:pt x="1632" y="402"/>
                </a:lnTo>
                <a:lnTo>
                  <a:pt x="1632" y="408"/>
                </a:lnTo>
                <a:lnTo>
                  <a:pt x="1626" y="414"/>
                </a:lnTo>
                <a:lnTo>
                  <a:pt x="1632" y="414"/>
                </a:lnTo>
                <a:lnTo>
                  <a:pt x="1638" y="414"/>
                </a:lnTo>
                <a:lnTo>
                  <a:pt x="1638" y="420"/>
                </a:lnTo>
                <a:lnTo>
                  <a:pt x="1644" y="420"/>
                </a:lnTo>
                <a:lnTo>
                  <a:pt x="1644" y="426"/>
                </a:lnTo>
                <a:lnTo>
                  <a:pt x="1650" y="432"/>
                </a:lnTo>
                <a:lnTo>
                  <a:pt x="1656" y="432"/>
                </a:lnTo>
                <a:lnTo>
                  <a:pt x="1656" y="438"/>
                </a:lnTo>
                <a:lnTo>
                  <a:pt x="1662" y="438"/>
                </a:lnTo>
                <a:lnTo>
                  <a:pt x="1662" y="444"/>
                </a:lnTo>
                <a:lnTo>
                  <a:pt x="1662" y="438"/>
                </a:lnTo>
                <a:lnTo>
                  <a:pt x="1662" y="444"/>
                </a:lnTo>
                <a:lnTo>
                  <a:pt x="1668" y="444"/>
                </a:lnTo>
                <a:lnTo>
                  <a:pt x="1668" y="450"/>
                </a:lnTo>
                <a:lnTo>
                  <a:pt x="1674" y="450"/>
                </a:lnTo>
                <a:lnTo>
                  <a:pt x="1674" y="456"/>
                </a:lnTo>
                <a:lnTo>
                  <a:pt x="1680" y="456"/>
                </a:lnTo>
                <a:lnTo>
                  <a:pt x="1680" y="462"/>
                </a:lnTo>
                <a:lnTo>
                  <a:pt x="1680" y="468"/>
                </a:lnTo>
                <a:lnTo>
                  <a:pt x="1686" y="468"/>
                </a:lnTo>
                <a:lnTo>
                  <a:pt x="1680" y="474"/>
                </a:lnTo>
                <a:lnTo>
                  <a:pt x="1674" y="480"/>
                </a:lnTo>
                <a:lnTo>
                  <a:pt x="1674" y="486"/>
                </a:lnTo>
                <a:lnTo>
                  <a:pt x="1680" y="486"/>
                </a:lnTo>
                <a:lnTo>
                  <a:pt x="1698" y="498"/>
                </a:lnTo>
                <a:lnTo>
                  <a:pt x="1716" y="510"/>
                </a:lnTo>
                <a:lnTo>
                  <a:pt x="1722" y="510"/>
                </a:lnTo>
                <a:lnTo>
                  <a:pt x="1746" y="534"/>
                </a:lnTo>
                <a:lnTo>
                  <a:pt x="1752" y="534"/>
                </a:lnTo>
                <a:lnTo>
                  <a:pt x="1746" y="546"/>
                </a:lnTo>
                <a:lnTo>
                  <a:pt x="1746" y="552"/>
                </a:lnTo>
                <a:lnTo>
                  <a:pt x="1746" y="564"/>
                </a:lnTo>
                <a:lnTo>
                  <a:pt x="1746" y="570"/>
                </a:lnTo>
                <a:lnTo>
                  <a:pt x="1740" y="576"/>
                </a:lnTo>
                <a:lnTo>
                  <a:pt x="1740" y="582"/>
                </a:lnTo>
                <a:lnTo>
                  <a:pt x="1740" y="594"/>
                </a:lnTo>
                <a:lnTo>
                  <a:pt x="1740" y="600"/>
                </a:lnTo>
                <a:lnTo>
                  <a:pt x="1740" y="612"/>
                </a:lnTo>
                <a:lnTo>
                  <a:pt x="1746" y="630"/>
                </a:lnTo>
                <a:lnTo>
                  <a:pt x="1746" y="642"/>
                </a:lnTo>
                <a:lnTo>
                  <a:pt x="1746" y="654"/>
                </a:lnTo>
                <a:lnTo>
                  <a:pt x="1746" y="660"/>
                </a:lnTo>
                <a:lnTo>
                  <a:pt x="1746" y="666"/>
                </a:lnTo>
                <a:lnTo>
                  <a:pt x="1746" y="678"/>
                </a:lnTo>
                <a:lnTo>
                  <a:pt x="1740" y="690"/>
                </a:lnTo>
                <a:lnTo>
                  <a:pt x="1734" y="702"/>
                </a:lnTo>
                <a:lnTo>
                  <a:pt x="1734" y="708"/>
                </a:lnTo>
                <a:lnTo>
                  <a:pt x="1734" y="702"/>
                </a:lnTo>
                <a:lnTo>
                  <a:pt x="1728" y="708"/>
                </a:lnTo>
                <a:lnTo>
                  <a:pt x="1722" y="708"/>
                </a:lnTo>
                <a:lnTo>
                  <a:pt x="1716" y="708"/>
                </a:lnTo>
                <a:lnTo>
                  <a:pt x="1710" y="714"/>
                </a:lnTo>
                <a:lnTo>
                  <a:pt x="1704" y="720"/>
                </a:lnTo>
                <a:lnTo>
                  <a:pt x="1704" y="726"/>
                </a:lnTo>
                <a:lnTo>
                  <a:pt x="1698" y="726"/>
                </a:lnTo>
                <a:lnTo>
                  <a:pt x="1698" y="732"/>
                </a:lnTo>
                <a:lnTo>
                  <a:pt x="1698" y="738"/>
                </a:lnTo>
                <a:lnTo>
                  <a:pt x="1692" y="744"/>
                </a:lnTo>
                <a:lnTo>
                  <a:pt x="1692" y="750"/>
                </a:lnTo>
                <a:lnTo>
                  <a:pt x="1686" y="750"/>
                </a:lnTo>
                <a:lnTo>
                  <a:pt x="1686" y="756"/>
                </a:lnTo>
                <a:lnTo>
                  <a:pt x="1686" y="762"/>
                </a:lnTo>
                <a:lnTo>
                  <a:pt x="1686" y="768"/>
                </a:lnTo>
                <a:lnTo>
                  <a:pt x="1686" y="774"/>
                </a:lnTo>
                <a:lnTo>
                  <a:pt x="1680" y="780"/>
                </a:lnTo>
                <a:lnTo>
                  <a:pt x="1680" y="786"/>
                </a:lnTo>
                <a:lnTo>
                  <a:pt x="1674" y="786"/>
                </a:lnTo>
                <a:lnTo>
                  <a:pt x="1668" y="786"/>
                </a:lnTo>
                <a:lnTo>
                  <a:pt x="1674" y="786"/>
                </a:lnTo>
                <a:lnTo>
                  <a:pt x="1668" y="792"/>
                </a:lnTo>
                <a:lnTo>
                  <a:pt x="1674" y="786"/>
                </a:lnTo>
                <a:lnTo>
                  <a:pt x="1674" y="792"/>
                </a:lnTo>
                <a:lnTo>
                  <a:pt x="1668" y="792"/>
                </a:lnTo>
                <a:lnTo>
                  <a:pt x="1674" y="792"/>
                </a:lnTo>
                <a:lnTo>
                  <a:pt x="1668" y="792"/>
                </a:lnTo>
                <a:lnTo>
                  <a:pt x="1674" y="792"/>
                </a:lnTo>
                <a:lnTo>
                  <a:pt x="1674" y="798"/>
                </a:lnTo>
                <a:lnTo>
                  <a:pt x="1668" y="798"/>
                </a:lnTo>
                <a:lnTo>
                  <a:pt x="1668" y="804"/>
                </a:lnTo>
                <a:lnTo>
                  <a:pt x="1662" y="810"/>
                </a:lnTo>
                <a:lnTo>
                  <a:pt x="1662" y="816"/>
                </a:lnTo>
                <a:lnTo>
                  <a:pt x="1662" y="822"/>
                </a:lnTo>
                <a:lnTo>
                  <a:pt x="1656" y="828"/>
                </a:lnTo>
                <a:lnTo>
                  <a:pt x="1656" y="834"/>
                </a:lnTo>
                <a:lnTo>
                  <a:pt x="1650" y="834"/>
                </a:lnTo>
                <a:lnTo>
                  <a:pt x="1656" y="834"/>
                </a:lnTo>
                <a:lnTo>
                  <a:pt x="1650" y="834"/>
                </a:lnTo>
                <a:lnTo>
                  <a:pt x="1644" y="834"/>
                </a:lnTo>
                <a:lnTo>
                  <a:pt x="1650" y="834"/>
                </a:lnTo>
                <a:lnTo>
                  <a:pt x="1644" y="834"/>
                </a:lnTo>
                <a:lnTo>
                  <a:pt x="1638" y="834"/>
                </a:lnTo>
                <a:lnTo>
                  <a:pt x="1638" y="840"/>
                </a:lnTo>
                <a:lnTo>
                  <a:pt x="1644" y="840"/>
                </a:lnTo>
                <a:lnTo>
                  <a:pt x="1638" y="840"/>
                </a:lnTo>
                <a:lnTo>
                  <a:pt x="1638" y="834"/>
                </a:lnTo>
                <a:lnTo>
                  <a:pt x="1644" y="834"/>
                </a:lnTo>
                <a:lnTo>
                  <a:pt x="1644" y="840"/>
                </a:lnTo>
                <a:lnTo>
                  <a:pt x="1644" y="834"/>
                </a:lnTo>
                <a:lnTo>
                  <a:pt x="1644" y="840"/>
                </a:lnTo>
                <a:lnTo>
                  <a:pt x="1638" y="846"/>
                </a:lnTo>
                <a:lnTo>
                  <a:pt x="1632" y="852"/>
                </a:lnTo>
                <a:lnTo>
                  <a:pt x="1632" y="858"/>
                </a:lnTo>
                <a:lnTo>
                  <a:pt x="1632" y="852"/>
                </a:lnTo>
                <a:lnTo>
                  <a:pt x="1632" y="858"/>
                </a:lnTo>
                <a:lnTo>
                  <a:pt x="1626" y="858"/>
                </a:lnTo>
                <a:lnTo>
                  <a:pt x="1626" y="852"/>
                </a:lnTo>
                <a:lnTo>
                  <a:pt x="1620" y="852"/>
                </a:lnTo>
                <a:lnTo>
                  <a:pt x="1626" y="858"/>
                </a:lnTo>
                <a:lnTo>
                  <a:pt x="1620" y="858"/>
                </a:lnTo>
                <a:lnTo>
                  <a:pt x="1614" y="858"/>
                </a:lnTo>
                <a:lnTo>
                  <a:pt x="1608" y="864"/>
                </a:lnTo>
                <a:lnTo>
                  <a:pt x="1608" y="870"/>
                </a:lnTo>
                <a:lnTo>
                  <a:pt x="1602" y="870"/>
                </a:lnTo>
                <a:lnTo>
                  <a:pt x="1602" y="876"/>
                </a:lnTo>
                <a:lnTo>
                  <a:pt x="1602" y="882"/>
                </a:lnTo>
                <a:lnTo>
                  <a:pt x="1602" y="888"/>
                </a:lnTo>
                <a:lnTo>
                  <a:pt x="1596" y="900"/>
                </a:lnTo>
                <a:lnTo>
                  <a:pt x="1590" y="900"/>
                </a:lnTo>
                <a:lnTo>
                  <a:pt x="1590" y="906"/>
                </a:lnTo>
                <a:lnTo>
                  <a:pt x="1584" y="912"/>
                </a:lnTo>
                <a:lnTo>
                  <a:pt x="1584" y="918"/>
                </a:lnTo>
                <a:lnTo>
                  <a:pt x="1584" y="924"/>
                </a:lnTo>
                <a:lnTo>
                  <a:pt x="1584" y="930"/>
                </a:lnTo>
                <a:lnTo>
                  <a:pt x="1578" y="930"/>
                </a:lnTo>
                <a:lnTo>
                  <a:pt x="1578" y="936"/>
                </a:lnTo>
                <a:lnTo>
                  <a:pt x="1572" y="942"/>
                </a:lnTo>
                <a:lnTo>
                  <a:pt x="1566" y="948"/>
                </a:lnTo>
                <a:lnTo>
                  <a:pt x="1566" y="954"/>
                </a:lnTo>
                <a:lnTo>
                  <a:pt x="1572" y="954"/>
                </a:lnTo>
                <a:lnTo>
                  <a:pt x="1572" y="960"/>
                </a:lnTo>
                <a:lnTo>
                  <a:pt x="1578" y="960"/>
                </a:lnTo>
                <a:lnTo>
                  <a:pt x="1578" y="966"/>
                </a:lnTo>
                <a:lnTo>
                  <a:pt x="1572" y="972"/>
                </a:lnTo>
                <a:lnTo>
                  <a:pt x="1578" y="984"/>
                </a:lnTo>
                <a:lnTo>
                  <a:pt x="1578" y="1002"/>
                </a:lnTo>
                <a:lnTo>
                  <a:pt x="1584" y="1002"/>
                </a:lnTo>
                <a:lnTo>
                  <a:pt x="1584" y="1008"/>
                </a:lnTo>
                <a:lnTo>
                  <a:pt x="1578" y="1008"/>
                </a:lnTo>
                <a:lnTo>
                  <a:pt x="1578" y="1014"/>
                </a:lnTo>
                <a:lnTo>
                  <a:pt x="1572" y="1014"/>
                </a:lnTo>
                <a:lnTo>
                  <a:pt x="1566" y="1020"/>
                </a:lnTo>
                <a:lnTo>
                  <a:pt x="1560" y="1020"/>
                </a:lnTo>
                <a:lnTo>
                  <a:pt x="1560" y="1026"/>
                </a:lnTo>
                <a:lnTo>
                  <a:pt x="1554" y="1026"/>
                </a:lnTo>
                <a:lnTo>
                  <a:pt x="1548" y="1032"/>
                </a:lnTo>
                <a:lnTo>
                  <a:pt x="1542" y="1032"/>
                </a:lnTo>
                <a:lnTo>
                  <a:pt x="1524" y="1038"/>
                </a:lnTo>
                <a:lnTo>
                  <a:pt x="1518" y="1038"/>
                </a:lnTo>
                <a:lnTo>
                  <a:pt x="1506" y="1038"/>
                </a:lnTo>
                <a:lnTo>
                  <a:pt x="1506" y="1044"/>
                </a:lnTo>
                <a:lnTo>
                  <a:pt x="1500" y="1044"/>
                </a:lnTo>
                <a:lnTo>
                  <a:pt x="1488" y="1050"/>
                </a:lnTo>
                <a:lnTo>
                  <a:pt x="1482" y="1056"/>
                </a:lnTo>
                <a:lnTo>
                  <a:pt x="1476" y="1056"/>
                </a:lnTo>
                <a:lnTo>
                  <a:pt x="1476" y="1062"/>
                </a:lnTo>
                <a:lnTo>
                  <a:pt x="1470" y="1062"/>
                </a:lnTo>
                <a:lnTo>
                  <a:pt x="1470" y="1068"/>
                </a:lnTo>
                <a:lnTo>
                  <a:pt x="1464" y="1068"/>
                </a:lnTo>
                <a:lnTo>
                  <a:pt x="1464" y="1074"/>
                </a:lnTo>
                <a:lnTo>
                  <a:pt x="1458" y="1080"/>
                </a:lnTo>
                <a:lnTo>
                  <a:pt x="1452" y="1080"/>
                </a:lnTo>
                <a:lnTo>
                  <a:pt x="1452" y="1086"/>
                </a:lnTo>
                <a:lnTo>
                  <a:pt x="1446" y="1086"/>
                </a:lnTo>
                <a:lnTo>
                  <a:pt x="1446" y="1092"/>
                </a:lnTo>
                <a:lnTo>
                  <a:pt x="1446" y="1098"/>
                </a:lnTo>
                <a:lnTo>
                  <a:pt x="1452" y="1104"/>
                </a:lnTo>
                <a:lnTo>
                  <a:pt x="1458" y="1110"/>
                </a:lnTo>
                <a:lnTo>
                  <a:pt x="1464" y="1110"/>
                </a:lnTo>
                <a:lnTo>
                  <a:pt x="1464" y="1104"/>
                </a:lnTo>
                <a:lnTo>
                  <a:pt x="1464" y="1110"/>
                </a:lnTo>
                <a:lnTo>
                  <a:pt x="1464" y="1104"/>
                </a:lnTo>
                <a:lnTo>
                  <a:pt x="1464" y="1110"/>
                </a:lnTo>
                <a:lnTo>
                  <a:pt x="1458" y="1110"/>
                </a:lnTo>
                <a:lnTo>
                  <a:pt x="1458" y="1116"/>
                </a:lnTo>
                <a:lnTo>
                  <a:pt x="1452" y="1116"/>
                </a:lnTo>
                <a:lnTo>
                  <a:pt x="1452" y="1122"/>
                </a:lnTo>
                <a:lnTo>
                  <a:pt x="1452" y="1128"/>
                </a:lnTo>
                <a:lnTo>
                  <a:pt x="1446" y="1128"/>
                </a:lnTo>
                <a:lnTo>
                  <a:pt x="1446" y="1134"/>
                </a:lnTo>
                <a:lnTo>
                  <a:pt x="1446" y="1140"/>
                </a:lnTo>
                <a:lnTo>
                  <a:pt x="1440" y="1134"/>
                </a:lnTo>
                <a:lnTo>
                  <a:pt x="1410" y="1134"/>
                </a:lnTo>
                <a:lnTo>
                  <a:pt x="1398" y="1134"/>
                </a:lnTo>
                <a:lnTo>
                  <a:pt x="1392" y="1134"/>
                </a:lnTo>
                <a:lnTo>
                  <a:pt x="1386" y="1134"/>
                </a:lnTo>
                <a:lnTo>
                  <a:pt x="1380" y="1134"/>
                </a:lnTo>
                <a:lnTo>
                  <a:pt x="1374" y="1134"/>
                </a:lnTo>
                <a:lnTo>
                  <a:pt x="1368" y="1134"/>
                </a:lnTo>
                <a:lnTo>
                  <a:pt x="1362" y="1134"/>
                </a:lnTo>
                <a:lnTo>
                  <a:pt x="1356" y="1134"/>
                </a:lnTo>
                <a:lnTo>
                  <a:pt x="1344" y="1134"/>
                </a:lnTo>
                <a:lnTo>
                  <a:pt x="1332" y="1134"/>
                </a:lnTo>
                <a:lnTo>
                  <a:pt x="1326" y="1140"/>
                </a:lnTo>
                <a:lnTo>
                  <a:pt x="1326" y="1134"/>
                </a:lnTo>
                <a:lnTo>
                  <a:pt x="1320" y="1134"/>
                </a:lnTo>
                <a:lnTo>
                  <a:pt x="1314" y="1140"/>
                </a:lnTo>
                <a:lnTo>
                  <a:pt x="1308" y="1134"/>
                </a:lnTo>
                <a:lnTo>
                  <a:pt x="1302" y="1134"/>
                </a:lnTo>
                <a:lnTo>
                  <a:pt x="1302" y="1128"/>
                </a:lnTo>
                <a:lnTo>
                  <a:pt x="1302" y="1134"/>
                </a:lnTo>
                <a:lnTo>
                  <a:pt x="1308" y="1134"/>
                </a:lnTo>
                <a:lnTo>
                  <a:pt x="1308" y="1128"/>
                </a:lnTo>
                <a:lnTo>
                  <a:pt x="1302" y="1128"/>
                </a:lnTo>
                <a:lnTo>
                  <a:pt x="1302" y="1122"/>
                </a:lnTo>
                <a:lnTo>
                  <a:pt x="1302" y="1128"/>
                </a:lnTo>
                <a:lnTo>
                  <a:pt x="1302" y="1122"/>
                </a:lnTo>
                <a:lnTo>
                  <a:pt x="1308" y="1122"/>
                </a:lnTo>
                <a:lnTo>
                  <a:pt x="1308" y="1116"/>
                </a:lnTo>
                <a:lnTo>
                  <a:pt x="1308" y="1110"/>
                </a:lnTo>
                <a:lnTo>
                  <a:pt x="1314" y="1110"/>
                </a:lnTo>
                <a:lnTo>
                  <a:pt x="1314" y="1104"/>
                </a:lnTo>
                <a:lnTo>
                  <a:pt x="1314" y="1098"/>
                </a:lnTo>
                <a:lnTo>
                  <a:pt x="1308" y="1098"/>
                </a:lnTo>
                <a:lnTo>
                  <a:pt x="1302" y="1098"/>
                </a:lnTo>
                <a:lnTo>
                  <a:pt x="1302" y="1104"/>
                </a:lnTo>
                <a:lnTo>
                  <a:pt x="1302" y="1098"/>
                </a:lnTo>
                <a:lnTo>
                  <a:pt x="1302" y="1104"/>
                </a:lnTo>
                <a:lnTo>
                  <a:pt x="1296" y="1104"/>
                </a:lnTo>
                <a:lnTo>
                  <a:pt x="1290" y="1104"/>
                </a:lnTo>
                <a:lnTo>
                  <a:pt x="1284" y="1110"/>
                </a:lnTo>
                <a:lnTo>
                  <a:pt x="1278" y="1116"/>
                </a:lnTo>
                <a:lnTo>
                  <a:pt x="1284" y="1116"/>
                </a:lnTo>
                <a:lnTo>
                  <a:pt x="1284" y="1122"/>
                </a:lnTo>
                <a:lnTo>
                  <a:pt x="1290" y="1122"/>
                </a:lnTo>
                <a:lnTo>
                  <a:pt x="1290" y="1128"/>
                </a:lnTo>
                <a:lnTo>
                  <a:pt x="1296" y="1128"/>
                </a:lnTo>
                <a:lnTo>
                  <a:pt x="1296" y="1134"/>
                </a:lnTo>
                <a:lnTo>
                  <a:pt x="1296" y="1140"/>
                </a:lnTo>
                <a:lnTo>
                  <a:pt x="1290" y="1140"/>
                </a:lnTo>
                <a:lnTo>
                  <a:pt x="1284" y="1140"/>
                </a:lnTo>
                <a:lnTo>
                  <a:pt x="1278" y="1140"/>
                </a:lnTo>
                <a:lnTo>
                  <a:pt x="1272" y="1140"/>
                </a:lnTo>
                <a:lnTo>
                  <a:pt x="1266" y="1140"/>
                </a:lnTo>
                <a:lnTo>
                  <a:pt x="1272" y="1140"/>
                </a:lnTo>
                <a:lnTo>
                  <a:pt x="1278" y="1140"/>
                </a:lnTo>
                <a:lnTo>
                  <a:pt x="1272" y="1140"/>
                </a:lnTo>
                <a:lnTo>
                  <a:pt x="1260" y="1146"/>
                </a:lnTo>
                <a:lnTo>
                  <a:pt x="1254" y="1146"/>
                </a:lnTo>
                <a:lnTo>
                  <a:pt x="1248" y="1146"/>
                </a:lnTo>
                <a:lnTo>
                  <a:pt x="1248" y="1152"/>
                </a:lnTo>
                <a:lnTo>
                  <a:pt x="1242" y="1152"/>
                </a:lnTo>
                <a:lnTo>
                  <a:pt x="1242" y="1146"/>
                </a:lnTo>
                <a:lnTo>
                  <a:pt x="1230" y="1146"/>
                </a:lnTo>
                <a:lnTo>
                  <a:pt x="1218" y="1146"/>
                </a:lnTo>
                <a:lnTo>
                  <a:pt x="1206" y="1152"/>
                </a:lnTo>
                <a:lnTo>
                  <a:pt x="1194" y="1152"/>
                </a:lnTo>
                <a:lnTo>
                  <a:pt x="1188" y="1152"/>
                </a:lnTo>
                <a:lnTo>
                  <a:pt x="1188" y="1146"/>
                </a:lnTo>
                <a:lnTo>
                  <a:pt x="1194" y="1146"/>
                </a:lnTo>
                <a:lnTo>
                  <a:pt x="1200" y="1146"/>
                </a:lnTo>
                <a:lnTo>
                  <a:pt x="1200" y="1152"/>
                </a:lnTo>
                <a:lnTo>
                  <a:pt x="1206" y="1146"/>
                </a:lnTo>
                <a:lnTo>
                  <a:pt x="1200" y="1146"/>
                </a:lnTo>
                <a:lnTo>
                  <a:pt x="1206" y="1146"/>
                </a:lnTo>
                <a:lnTo>
                  <a:pt x="1212" y="1146"/>
                </a:lnTo>
                <a:lnTo>
                  <a:pt x="1224" y="1146"/>
                </a:lnTo>
                <a:lnTo>
                  <a:pt x="1230" y="1146"/>
                </a:lnTo>
                <a:lnTo>
                  <a:pt x="1236" y="1146"/>
                </a:lnTo>
                <a:lnTo>
                  <a:pt x="1242" y="1146"/>
                </a:lnTo>
                <a:lnTo>
                  <a:pt x="1242" y="1152"/>
                </a:lnTo>
                <a:lnTo>
                  <a:pt x="1248" y="1146"/>
                </a:lnTo>
                <a:lnTo>
                  <a:pt x="1242" y="1146"/>
                </a:lnTo>
                <a:lnTo>
                  <a:pt x="1236" y="1140"/>
                </a:lnTo>
                <a:lnTo>
                  <a:pt x="1230" y="1140"/>
                </a:lnTo>
                <a:lnTo>
                  <a:pt x="1224" y="1140"/>
                </a:lnTo>
                <a:lnTo>
                  <a:pt x="1224" y="1134"/>
                </a:lnTo>
                <a:lnTo>
                  <a:pt x="1224" y="1140"/>
                </a:lnTo>
                <a:lnTo>
                  <a:pt x="1224" y="1134"/>
                </a:lnTo>
                <a:lnTo>
                  <a:pt x="1218" y="1134"/>
                </a:lnTo>
                <a:lnTo>
                  <a:pt x="1218" y="1128"/>
                </a:lnTo>
                <a:lnTo>
                  <a:pt x="1212" y="1128"/>
                </a:lnTo>
                <a:lnTo>
                  <a:pt x="1212" y="1134"/>
                </a:lnTo>
                <a:lnTo>
                  <a:pt x="1206" y="1134"/>
                </a:lnTo>
                <a:lnTo>
                  <a:pt x="1206" y="1128"/>
                </a:lnTo>
                <a:lnTo>
                  <a:pt x="1212" y="1128"/>
                </a:lnTo>
                <a:lnTo>
                  <a:pt x="1206" y="1128"/>
                </a:lnTo>
                <a:lnTo>
                  <a:pt x="1200" y="1128"/>
                </a:lnTo>
                <a:lnTo>
                  <a:pt x="1200" y="1134"/>
                </a:lnTo>
                <a:lnTo>
                  <a:pt x="1194" y="1134"/>
                </a:lnTo>
                <a:lnTo>
                  <a:pt x="1188" y="1134"/>
                </a:lnTo>
                <a:lnTo>
                  <a:pt x="1182" y="1134"/>
                </a:lnTo>
                <a:lnTo>
                  <a:pt x="1182" y="1140"/>
                </a:lnTo>
                <a:lnTo>
                  <a:pt x="1182" y="1134"/>
                </a:lnTo>
                <a:lnTo>
                  <a:pt x="1176" y="1134"/>
                </a:lnTo>
                <a:lnTo>
                  <a:pt x="1176" y="1140"/>
                </a:lnTo>
                <a:lnTo>
                  <a:pt x="1170" y="1146"/>
                </a:lnTo>
                <a:lnTo>
                  <a:pt x="1164" y="1146"/>
                </a:lnTo>
                <a:lnTo>
                  <a:pt x="1158" y="1146"/>
                </a:lnTo>
                <a:lnTo>
                  <a:pt x="1152" y="1146"/>
                </a:lnTo>
                <a:lnTo>
                  <a:pt x="1158" y="1146"/>
                </a:lnTo>
                <a:lnTo>
                  <a:pt x="1158" y="1140"/>
                </a:lnTo>
                <a:lnTo>
                  <a:pt x="1152" y="1140"/>
                </a:lnTo>
                <a:lnTo>
                  <a:pt x="1152" y="1146"/>
                </a:lnTo>
                <a:lnTo>
                  <a:pt x="1152" y="1140"/>
                </a:lnTo>
                <a:lnTo>
                  <a:pt x="1152" y="1146"/>
                </a:lnTo>
                <a:lnTo>
                  <a:pt x="1146" y="1146"/>
                </a:lnTo>
                <a:lnTo>
                  <a:pt x="1146" y="1140"/>
                </a:lnTo>
                <a:lnTo>
                  <a:pt x="1146" y="1146"/>
                </a:lnTo>
                <a:lnTo>
                  <a:pt x="1140" y="1146"/>
                </a:lnTo>
                <a:lnTo>
                  <a:pt x="1140" y="1140"/>
                </a:lnTo>
                <a:lnTo>
                  <a:pt x="1146" y="1140"/>
                </a:lnTo>
                <a:lnTo>
                  <a:pt x="1146" y="1134"/>
                </a:lnTo>
                <a:lnTo>
                  <a:pt x="1146" y="1128"/>
                </a:lnTo>
                <a:lnTo>
                  <a:pt x="1146" y="1134"/>
                </a:lnTo>
                <a:lnTo>
                  <a:pt x="1146" y="1128"/>
                </a:lnTo>
                <a:lnTo>
                  <a:pt x="1140" y="1128"/>
                </a:lnTo>
                <a:lnTo>
                  <a:pt x="1140" y="1134"/>
                </a:lnTo>
                <a:lnTo>
                  <a:pt x="1140" y="1128"/>
                </a:lnTo>
                <a:lnTo>
                  <a:pt x="1140" y="1134"/>
                </a:lnTo>
                <a:lnTo>
                  <a:pt x="1140" y="1140"/>
                </a:lnTo>
                <a:lnTo>
                  <a:pt x="1140" y="1134"/>
                </a:lnTo>
                <a:lnTo>
                  <a:pt x="1134" y="1134"/>
                </a:lnTo>
                <a:lnTo>
                  <a:pt x="1128" y="1140"/>
                </a:lnTo>
                <a:lnTo>
                  <a:pt x="1134" y="1140"/>
                </a:lnTo>
                <a:lnTo>
                  <a:pt x="1128" y="1140"/>
                </a:lnTo>
                <a:lnTo>
                  <a:pt x="1134" y="1140"/>
                </a:lnTo>
                <a:lnTo>
                  <a:pt x="1128" y="1140"/>
                </a:lnTo>
                <a:lnTo>
                  <a:pt x="1128" y="1146"/>
                </a:lnTo>
                <a:lnTo>
                  <a:pt x="1134" y="1146"/>
                </a:lnTo>
                <a:lnTo>
                  <a:pt x="1128" y="1146"/>
                </a:lnTo>
                <a:lnTo>
                  <a:pt x="1128" y="1140"/>
                </a:lnTo>
                <a:lnTo>
                  <a:pt x="1128" y="1146"/>
                </a:lnTo>
                <a:lnTo>
                  <a:pt x="1128" y="1140"/>
                </a:lnTo>
                <a:lnTo>
                  <a:pt x="1122" y="1140"/>
                </a:lnTo>
                <a:lnTo>
                  <a:pt x="1122" y="1146"/>
                </a:lnTo>
                <a:lnTo>
                  <a:pt x="1116" y="1146"/>
                </a:lnTo>
                <a:lnTo>
                  <a:pt x="1110" y="1146"/>
                </a:lnTo>
                <a:lnTo>
                  <a:pt x="1110" y="1152"/>
                </a:lnTo>
                <a:lnTo>
                  <a:pt x="1110" y="1146"/>
                </a:lnTo>
                <a:lnTo>
                  <a:pt x="1104" y="1146"/>
                </a:lnTo>
                <a:lnTo>
                  <a:pt x="1098" y="1146"/>
                </a:lnTo>
                <a:lnTo>
                  <a:pt x="1098" y="1152"/>
                </a:lnTo>
                <a:lnTo>
                  <a:pt x="1098" y="1158"/>
                </a:lnTo>
                <a:lnTo>
                  <a:pt x="1098" y="1164"/>
                </a:lnTo>
                <a:lnTo>
                  <a:pt x="1092" y="1164"/>
                </a:lnTo>
                <a:lnTo>
                  <a:pt x="1098" y="1164"/>
                </a:lnTo>
                <a:lnTo>
                  <a:pt x="1092" y="1164"/>
                </a:lnTo>
                <a:lnTo>
                  <a:pt x="1092" y="1170"/>
                </a:lnTo>
                <a:lnTo>
                  <a:pt x="1098" y="1170"/>
                </a:lnTo>
                <a:lnTo>
                  <a:pt x="1092" y="1170"/>
                </a:lnTo>
                <a:lnTo>
                  <a:pt x="1098" y="1170"/>
                </a:lnTo>
                <a:lnTo>
                  <a:pt x="1092" y="1170"/>
                </a:lnTo>
                <a:lnTo>
                  <a:pt x="1098" y="1170"/>
                </a:lnTo>
                <a:lnTo>
                  <a:pt x="1104" y="1170"/>
                </a:lnTo>
                <a:lnTo>
                  <a:pt x="1104" y="1164"/>
                </a:lnTo>
                <a:lnTo>
                  <a:pt x="1104" y="1170"/>
                </a:lnTo>
                <a:lnTo>
                  <a:pt x="1110" y="1170"/>
                </a:lnTo>
                <a:lnTo>
                  <a:pt x="1104" y="1170"/>
                </a:lnTo>
                <a:lnTo>
                  <a:pt x="1098" y="1170"/>
                </a:lnTo>
                <a:lnTo>
                  <a:pt x="1098" y="1176"/>
                </a:lnTo>
                <a:lnTo>
                  <a:pt x="1098" y="1170"/>
                </a:lnTo>
                <a:lnTo>
                  <a:pt x="1098" y="1176"/>
                </a:lnTo>
                <a:lnTo>
                  <a:pt x="1104" y="1176"/>
                </a:lnTo>
                <a:lnTo>
                  <a:pt x="1104" y="1170"/>
                </a:lnTo>
                <a:lnTo>
                  <a:pt x="1110" y="1170"/>
                </a:lnTo>
                <a:lnTo>
                  <a:pt x="1104" y="1170"/>
                </a:lnTo>
                <a:lnTo>
                  <a:pt x="1104" y="1176"/>
                </a:lnTo>
                <a:lnTo>
                  <a:pt x="1104" y="1182"/>
                </a:lnTo>
                <a:lnTo>
                  <a:pt x="1104" y="1176"/>
                </a:lnTo>
                <a:lnTo>
                  <a:pt x="1110" y="1170"/>
                </a:lnTo>
                <a:lnTo>
                  <a:pt x="1116" y="1170"/>
                </a:lnTo>
                <a:lnTo>
                  <a:pt x="1110" y="1170"/>
                </a:lnTo>
                <a:lnTo>
                  <a:pt x="1110" y="1176"/>
                </a:lnTo>
                <a:lnTo>
                  <a:pt x="1116" y="1176"/>
                </a:lnTo>
                <a:lnTo>
                  <a:pt x="1122" y="1176"/>
                </a:lnTo>
                <a:lnTo>
                  <a:pt x="1122" y="1182"/>
                </a:lnTo>
                <a:lnTo>
                  <a:pt x="1122" y="1176"/>
                </a:lnTo>
                <a:lnTo>
                  <a:pt x="1116" y="1176"/>
                </a:lnTo>
                <a:lnTo>
                  <a:pt x="1116" y="1182"/>
                </a:lnTo>
                <a:lnTo>
                  <a:pt x="1110" y="1188"/>
                </a:lnTo>
                <a:lnTo>
                  <a:pt x="1104" y="1188"/>
                </a:lnTo>
                <a:lnTo>
                  <a:pt x="1104" y="1182"/>
                </a:lnTo>
                <a:lnTo>
                  <a:pt x="1104" y="1188"/>
                </a:lnTo>
                <a:lnTo>
                  <a:pt x="1098" y="1188"/>
                </a:lnTo>
                <a:lnTo>
                  <a:pt x="1098" y="1182"/>
                </a:lnTo>
                <a:lnTo>
                  <a:pt x="1098" y="1188"/>
                </a:lnTo>
                <a:lnTo>
                  <a:pt x="1092" y="1188"/>
                </a:lnTo>
                <a:lnTo>
                  <a:pt x="1086" y="1188"/>
                </a:lnTo>
                <a:lnTo>
                  <a:pt x="1080" y="1188"/>
                </a:lnTo>
                <a:lnTo>
                  <a:pt x="1080" y="1194"/>
                </a:lnTo>
                <a:lnTo>
                  <a:pt x="1080" y="1188"/>
                </a:lnTo>
                <a:lnTo>
                  <a:pt x="1074" y="1188"/>
                </a:lnTo>
                <a:lnTo>
                  <a:pt x="1074" y="1182"/>
                </a:lnTo>
                <a:lnTo>
                  <a:pt x="1068" y="1182"/>
                </a:lnTo>
                <a:lnTo>
                  <a:pt x="1068" y="1188"/>
                </a:lnTo>
                <a:lnTo>
                  <a:pt x="1062" y="1188"/>
                </a:lnTo>
                <a:lnTo>
                  <a:pt x="1062" y="1194"/>
                </a:lnTo>
                <a:lnTo>
                  <a:pt x="1056" y="1194"/>
                </a:lnTo>
                <a:lnTo>
                  <a:pt x="1050" y="1194"/>
                </a:lnTo>
                <a:lnTo>
                  <a:pt x="1050" y="1200"/>
                </a:lnTo>
                <a:lnTo>
                  <a:pt x="1056" y="1200"/>
                </a:lnTo>
                <a:lnTo>
                  <a:pt x="1050" y="1200"/>
                </a:lnTo>
                <a:lnTo>
                  <a:pt x="1050" y="1206"/>
                </a:lnTo>
                <a:lnTo>
                  <a:pt x="1044" y="1206"/>
                </a:lnTo>
                <a:lnTo>
                  <a:pt x="1044" y="1212"/>
                </a:lnTo>
                <a:lnTo>
                  <a:pt x="1044" y="1206"/>
                </a:lnTo>
                <a:lnTo>
                  <a:pt x="1038" y="1206"/>
                </a:lnTo>
                <a:lnTo>
                  <a:pt x="1032" y="1206"/>
                </a:lnTo>
                <a:lnTo>
                  <a:pt x="1038" y="1206"/>
                </a:lnTo>
                <a:lnTo>
                  <a:pt x="1038" y="1212"/>
                </a:lnTo>
                <a:lnTo>
                  <a:pt x="1032" y="1212"/>
                </a:lnTo>
                <a:lnTo>
                  <a:pt x="1032" y="1206"/>
                </a:lnTo>
                <a:lnTo>
                  <a:pt x="1032" y="1212"/>
                </a:lnTo>
                <a:lnTo>
                  <a:pt x="1026" y="1212"/>
                </a:lnTo>
                <a:lnTo>
                  <a:pt x="1032" y="1212"/>
                </a:lnTo>
                <a:lnTo>
                  <a:pt x="1032" y="1218"/>
                </a:lnTo>
                <a:lnTo>
                  <a:pt x="1026" y="1218"/>
                </a:lnTo>
                <a:lnTo>
                  <a:pt x="1020" y="1218"/>
                </a:lnTo>
                <a:lnTo>
                  <a:pt x="1014" y="1218"/>
                </a:lnTo>
                <a:lnTo>
                  <a:pt x="1014" y="1224"/>
                </a:lnTo>
                <a:lnTo>
                  <a:pt x="1008" y="1224"/>
                </a:lnTo>
                <a:lnTo>
                  <a:pt x="1002" y="1224"/>
                </a:lnTo>
                <a:lnTo>
                  <a:pt x="1002" y="1230"/>
                </a:lnTo>
                <a:lnTo>
                  <a:pt x="1002" y="1236"/>
                </a:lnTo>
                <a:lnTo>
                  <a:pt x="1008" y="1236"/>
                </a:lnTo>
                <a:lnTo>
                  <a:pt x="1002" y="1236"/>
                </a:lnTo>
                <a:lnTo>
                  <a:pt x="1008" y="1242"/>
                </a:lnTo>
                <a:lnTo>
                  <a:pt x="1008" y="1248"/>
                </a:lnTo>
                <a:lnTo>
                  <a:pt x="1002" y="1248"/>
                </a:lnTo>
                <a:lnTo>
                  <a:pt x="996" y="1248"/>
                </a:lnTo>
                <a:lnTo>
                  <a:pt x="990" y="1248"/>
                </a:lnTo>
                <a:lnTo>
                  <a:pt x="984" y="1248"/>
                </a:lnTo>
                <a:lnTo>
                  <a:pt x="984" y="1242"/>
                </a:lnTo>
                <a:lnTo>
                  <a:pt x="978" y="1242"/>
                </a:lnTo>
                <a:lnTo>
                  <a:pt x="978" y="1248"/>
                </a:lnTo>
                <a:lnTo>
                  <a:pt x="978" y="1242"/>
                </a:lnTo>
                <a:lnTo>
                  <a:pt x="972" y="1242"/>
                </a:lnTo>
                <a:lnTo>
                  <a:pt x="966" y="1242"/>
                </a:lnTo>
                <a:lnTo>
                  <a:pt x="960" y="1242"/>
                </a:lnTo>
                <a:lnTo>
                  <a:pt x="954" y="1242"/>
                </a:lnTo>
                <a:lnTo>
                  <a:pt x="948" y="1242"/>
                </a:lnTo>
                <a:lnTo>
                  <a:pt x="942" y="1242"/>
                </a:lnTo>
                <a:lnTo>
                  <a:pt x="930" y="1242"/>
                </a:lnTo>
                <a:lnTo>
                  <a:pt x="930" y="1248"/>
                </a:lnTo>
                <a:lnTo>
                  <a:pt x="924" y="1242"/>
                </a:lnTo>
                <a:lnTo>
                  <a:pt x="924" y="1248"/>
                </a:lnTo>
                <a:lnTo>
                  <a:pt x="918" y="1248"/>
                </a:lnTo>
                <a:lnTo>
                  <a:pt x="924" y="1248"/>
                </a:lnTo>
                <a:lnTo>
                  <a:pt x="918" y="1248"/>
                </a:lnTo>
                <a:lnTo>
                  <a:pt x="912" y="1248"/>
                </a:lnTo>
                <a:lnTo>
                  <a:pt x="912" y="1254"/>
                </a:lnTo>
                <a:lnTo>
                  <a:pt x="906" y="1254"/>
                </a:lnTo>
                <a:lnTo>
                  <a:pt x="912" y="1254"/>
                </a:lnTo>
                <a:lnTo>
                  <a:pt x="906" y="1254"/>
                </a:lnTo>
                <a:lnTo>
                  <a:pt x="912" y="1254"/>
                </a:lnTo>
                <a:lnTo>
                  <a:pt x="906" y="1260"/>
                </a:lnTo>
                <a:lnTo>
                  <a:pt x="906" y="1266"/>
                </a:lnTo>
                <a:lnTo>
                  <a:pt x="906" y="1260"/>
                </a:lnTo>
                <a:lnTo>
                  <a:pt x="906" y="1266"/>
                </a:lnTo>
                <a:lnTo>
                  <a:pt x="900" y="1266"/>
                </a:lnTo>
                <a:lnTo>
                  <a:pt x="900" y="1272"/>
                </a:lnTo>
                <a:lnTo>
                  <a:pt x="906" y="1272"/>
                </a:lnTo>
                <a:lnTo>
                  <a:pt x="900" y="1272"/>
                </a:lnTo>
                <a:lnTo>
                  <a:pt x="894" y="1272"/>
                </a:lnTo>
                <a:lnTo>
                  <a:pt x="888" y="1272"/>
                </a:lnTo>
                <a:lnTo>
                  <a:pt x="888" y="1278"/>
                </a:lnTo>
                <a:lnTo>
                  <a:pt x="888" y="1272"/>
                </a:lnTo>
                <a:lnTo>
                  <a:pt x="882" y="1272"/>
                </a:lnTo>
                <a:lnTo>
                  <a:pt x="888" y="1272"/>
                </a:lnTo>
                <a:lnTo>
                  <a:pt x="888" y="1266"/>
                </a:lnTo>
                <a:lnTo>
                  <a:pt x="882" y="1266"/>
                </a:lnTo>
                <a:lnTo>
                  <a:pt x="876" y="1266"/>
                </a:lnTo>
                <a:lnTo>
                  <a:pt x="882" y="1266"/>
                </a:lnTo>
                <a:lnTo>
                  <a:pt x="876" y="1266"/>
                </a:lnTo>
                <a:lnTo>
                  <a:pt x="876" y="1272"/>
                </a:lnTo>
                <a:lnTo>
                  <a:pt x="876" y="1278"/>
                </a:lnTo>
                <a:lnTo>
                  <a:pt x="876" y="1272"/>
                </a:lnTo>
                <a:lnTo>
                  <a:pt x="870" y="1272"/>
                </a:lnTo>
                <a:lnTo>
                  <a:pt x="864" y="1278"/>
                </a:lnTo>
                <a:lnTo>
                  <a:pt x="846" y="1284"/>
                </a:lnTo>
                <a:lnTo>
                  <a:pt x="834" y="1290"/>
                </a:lnTo>
                <a:lnTo>
                  <a:pt x="822" y="1296"/>
                </a:lnTo>
                <a:lnTo>
                  <a:pt x="810" y="1302"/>
                </a:lnTo>
                <a:lnTo>
                  <a:pt x="804" y="1308"/>
                </a:lnTo>
                <a:lnTo>
                  <a:pt x="798" y="1314"/>
                </a:lnTo>
                <a:lnTo>
                  <a:pt x="798" y="1320"/>
                </a:lnTo>
                <a:lnTo>
                  <a:pt x="792" y="1320"/>
                </a:lnTo>
                <a:lnTo>
                  <a:pt x="798" y="1320"/>
                </a:lnTo>
                <a:lnTo>
                  <a:pt x="798" y="1326"/>
                </a:lnTo>
                <a:lnTo>
                  <a:pt x="792" y="1326"/>
                </a:lnTo>
                <a:lnTo>
                  <a:pt x="786" y="1326"/>
                </a:lnTo>
                <a:lnTo>
                  <a:pt x="786" y="1332"/>
                </a:lnTo>
                <a:lnTo>
                  <a:pt x="780" y="1332"/>
                </a:lnTo>
                <a:lnTo>
                  <a:pt x="774" y="1338"/>
                </a:lnTo>
                <a:lnTo>
                  <a:pt x="768" y="1344"/>
                </a:lnTo>
                <a:lnTo>
                  <a:pt x="762" y="1344"/>
                </a:lnTo>
                <a:lnTo>
                  <a:pt x="744" y="1356"/>
                </a:lnTo>
                <a:lnTo>
                  <a:pt x="738" y="1362"/>
                </a:lnTo>
                <a:lnTo>
                  <a:pt x="732" y="1362"/>
                </a:lnTo>
                <a:lnTo>
                  <a:pt x="726" y="1368"/>
                </a:lnTo>
                <a:lnTo>
                  <a:pt x="714" y="1374"/>
                </a:lnTo>
                <a:lnTo>
                  <a:pt x="714" y="1380"/>
                </a:lnTo>
                <a:lnTo>
                  <a:pt x="696" y="1392"/>
                </a:lnTo>
                <a:lnTo>
                  <a:pt x="690" y="1398"/>
                </a:lnTo>
                <a:lnTo>
                  <a:pt x="684" y="1404"/>
                </a:lnTo>
                <a:lnTo>
                  <a:pt x="684" y="1410"/>
                </a:lnTo>
                <a:lnTo>
                  <a:pt x="678" y="1410"/>
                </a:lnTo>
                <a:lnTo>
                  <a:pt x="678" y="1416"/>
                </a:lnTo>
                <a:lnTo>
                  <a:pt x="678" y="1422"/>
                </a:lnTo>
                <a:lnTo>
                  <a:pt x="672" y="1422"/>
                </a:lnTo>
                <a:lnTo>
                  <a:pt x="672" y="1428"/>
                </a:lnTo>
                <a:lnTo>
                  <a:pt x="660" y="1434"/>
                </a:lnTo>
                <a:lnTo>
                  <a:pt x="654" y="1440"/>
                </a:lnTo>
                <a:lnTo>
                  <a:pt x="666" y="1434"/>
                </a:lnTo>
                <a:lnTo>
                  <a:pt x="660" y="1428"/>
                </a:lnTo>
                <a:lnTo>
                  <a:pt x="666" y="1428"/>
                </a:lnTo>
                <a:lnTo>
                  <a:pt x="660" y="1428"/>
                </a:lnTo>
                <a:lnTo>
                  <a:pt x="660" y="1434"/>
                </a:lnTo>
                <a:lnTo>
                  <a:pt x="654" y="1434"/>
                </a:lnTo>
                <a:lnTo>
                  <a:pt x="648" y="1428"/>
                </a:lnTo>
                <a:lnTo>
                  <a:pt x="642" y="1428"/>
                </a:lnTo>
                <a:lnTo>
                  <a:pt x="642" y="1422"/>
                </a:lnTo>
                <a:lnTo>
                  <a:pt x="648" y="1422"/>
                </a:lnTo>
                <a:lnTo>
                  <a:pt x="642" y="1422"/>
                </a:lnTo>
                <a:lnTo>
                  <a:pt x="642" y="1416"/>
                </a:lnTo>
                <a:lnTo>
                  <a:pt x="642" y="1410"/>
                </a:lnTo>
                <a:lnTo>
                  <a:pt x="636" y="1410"/>
                </a:lnTo>
                <a:lnTo>
                  <a:pt x="642" y="1410"/>
                </a:lnTo>
                <a:lnTo>
                  <a:pt x="636" y="1404"/>
                </a:lnTo>
                <a:lnTo>
                  <a:pt x="642" y="1404"/>
                </a:lnTo>
                <a:lnTo>
                  <a:pt x="636" y="1404"/>
                </a:lnTo>
                <a:lnTo>
                  <a:pt x="636" y="1398"/>
                </a:lnTo>
                <a:lnTo>
                  <a:pt x="630" y="1398"/>
                </a:lnTo>
                <a:lnTo>
                  <a:pt x="636" y="1398"/>
                </a:lnTo>
                <a:lnTo>
                  <a:pt x="630" y="1398"/>
                </a:lnTo>
                <a:lnTo>
                  <a:pt x="630" y="1404"/>
                </a:lnTo>
                <a:lnTo>
                  <a:pt x="624" y="1410"/>
                </a:lnTo>
                <a:lnTo>
                  <a:pt x="624" y="1404"/>
                </a:lnTo>
                <a:lnTo>
                  <a:pt x="618" y="1404"/>
                </a:lnTo>
                <a:lnTo>
                  <a:pt x="624" y="1404"/>
                </a:lnTo>
                <a:lnTo>
                  <a:pt x="618" y="1404"/>
                </a:lnTo>
                <a:lnTo>
                  <a:pt x="618" y="1398"/>
                </a:lnTo>
                <a:lnTo>
                  <a:pt x="612" y="1398"/>
                </a:lnTo>
                <a:lnTo>
                  <a:pt x="606" y="1404"/>
                </a:lnTo>
                <a:lnTo>
                  <a:pt x="606" y="1410"/>
                </a:lnTo>
                <a:lnTo>
                  <a:pt x="600" y="1410"/>
                </a:lnTo>
                <a:lnTo>
                  <a:pt x="600" y="1416"/>
                </a:lnTo>
                <a:lnTo>
                  <a:pt x="594" y="1416"/>
                </a:lnTo>
                <a:lnTo>
                  <a:pt x="594" y="1410"/>
                </a:lnTo>
                <a:lnTo>
                  <a:pt x="588" y="1410"/>
                </a:lnTo>
                <a:lnTo>
                  <a:pt x="588" y="1404"/>
                </a:lnTo>
                <a:lnTo>
                  <a:pt x="588" y="1398"/>
                </a:lnTo>
                <a:lnTo>
                  <a:pt x="594" y="1398"/>
                </a:lnTo>
                <a:lnTo>
                  <a:pt x="594" y="1392"/>
                </a:lnTo>
                <a:lnTo>
                  <a:pt x="594" y="1386"/>
                </a:lnTo>
                <a:lnTo>
                  <a:pt x="594" y="1380"/>
                </a:lnTo>
                <a:lnTo>
                  <a:pt x="594" y="1374"/>
                </a:lnTo>
                <a:lnTo>
                  <a:pt x="600" y="1374"/>
                </a:lnTo>
                <a:lnTo>
                  <a:pt x="600" y="1368"/>
                </a:lnTo>
                <a:lnTo>
                  <a:pt x="594" y="1368"/>
                </a:lnTo>
                <a:lnTo>
                  <a:pt x="594" y="1362"/>
                </a:lnTo>
                <a:lnTo>
                  <a:pt x="588" y="1356"/>
                </a:lnTo>
                <a:lnTo>
                  <a:pt x="588" y="1362"/>
                </a:lnTo>
                <a:lnTo>
                  <a:pt x="588" y="1356"/>
                </a:lnTo>
                <a:lnTo>
                  <a:pt x="582" y="1362"/>
                </a:lnTo>
                <a:lnTo>
                  <a:pt x="576" y="1362"/>
                </a:lnTo>
                <a:lnTo>
                  <a:pt x="582" y="1362"/>
                </a:lnTo>
                <a:lnTo>
                  <a:pt x="576" y="1362"/>
                </a:lnTo>
                <a:lnTo>
                  <a:pt x="582" y="1362"/>
                </a:lnTo>
                <a:lnTo>
                  <a:pt x="576" y="1362"/>
                </a:lnTo>
                <a:lnTo>
                  <a:pt x="582" y="1362"/>
                </a:lnTo>
                <a:lnTo>
                  <a:pt x="576" y="1356"/>
                </a:lnTo>
                <a:lnTo>
                  <a:pt x="576" y="1362"/>
                </a:lnTo>
                <a:lnTo>
                  <a:pt x="570" y="1362"/>
                </a:lnTo>
                <a:lnTo>
                  <a:pt x="564" y="1362"/>
                </a:lnTo>
                <a:lnTo>
                  <a:pt x="564" y="1356"/>
                </a:lnTo>
                <a:lnTo>
                  <a:pt x="558" y="1356"/>
                </a:lnTo>
                <a:lnTo>
                  <a:pt x="552" y="1356"/>
                </a:lnTo>
                <a:lnTo>
                  <a:pt x="558" y="1356"/>
                </a:lnTo>
                <a:lnTo>
                  <a:pt x="552" y="1356"/>
                </a:lnTo>
                <a:lnTo>
                  <a:pt x="546" y="1356"/>
                </a:lnTo>
                <a:lnTo>
                  <a:pt x="546" y="1362"/>
                </a:lnTo>
                <a:lnTo>
                  <a:pt x="546" y="1356"/>
                </a:lnTo>
                <a:lnTo>
                  <a:pt x="540" y="1362"/>
                </a:lnTo>
                <a:lnTo>
                  <a:pt x="540" y="1356"/>
                </a:lnTo>
                <a:lnTo>
                  <a:pt x="534" y="1356"/>
                </a:lnTo>
                <a:lnTo>
                  <a:pt x="528" y="1356"/>
                </a:lnTo>
                <a:lnTo>
                  <a:pt x="534" y="1356"/>
                </a:lnTo>
                <a:lnTo>
                  <a:pt x="528" y="1356"/>
                </a:lnTo>
                <a:lnTo>
                  <a:pt x="528" y="1362"/>
                </a:lnTo>
                <a:lnTo>
                  <a:pt x="528" y="1356"/>
                </a:lnTo>
                <a:lnTo>
                  <a:pt x="528" y="1362"/>
                </a:lnTo>
                <a:lnTo>
                  <a:pt x="522" y="1362"/>
                </a:lnTo>
                <a:lnTo>
                  <a:pt x="522" y="1356"/>
                </a:lnTo>
                <a:lnTo>
                  <a:pt x="522" y="1362"/>
                </a:lnTo>
                <a:lnTo>
                  <a:pt x="516" y="1356"/>
                </a:lnTo>
                <a:lnTo>
                  <a:pt x="510" y="1356"/>
                </a:lnTo>
                <a:lnTo>
                  <a:pt x="510" y="1362"/>
                </a:lnTo>
                <a:lnTo>
                  <a:pt x="504" y="1362"/>
                </a:lnTo>
                <a:lnTo>
                  <a:pt x="498" y="1362"/>
                </a:lnTo>
                <a:lnTo>
                  <a:pt x="498" y="1356"/>
                </a:lnTo>
                <a:lnTo>
                  <a:pt x="498" y="1350"/>
                </a:lnTo>
                <a:lnTo>
                  <a:pt x="498" y="1344"/>
                </a:lnTo>
                <a:lnTo>
                  <a:pt x="498" y="1338"/>
                </a:lnTo>
                <a:lnTo>
                  <a:pt x="504" y="1338"/>
                </a:lnTo>
                <a:lnTo>
                  <a:pt x="504" y="1332"/>
                </a:lnTo>
                <a:lnTo>
                  <a:pt x="504" y="1326"/>
                </a:lnTo>
                <a:lnTo>
                  <a:pt x="504" y="1320"/>
                </a:lnTo>
                <a:lnTo>
                  <a:pt x="510" y="1320"/>
                </a:lnTo>
                <a:lnTo>
                  <a:pt x="510" y="1314"/>
                </a:lnTo>
                <a:lnTo>
                  <a:pt x="504" y="1314"/>
                </a:lnTo>
                <a:lnTo>
                  <a:pt x="498" y="1314"/>
                </a:lnTo>
                <a:lnTo>
                  <a:pt x="498" y="1308"/>
                </a:lnTo>
                <a:lnTo>
                  <a:pt x="498" y="1302"/>
                </a:lnTo>
                <a:lnTo>
                  <a:pt x="492" y="1302"/>
                </a:lnTo>
                <a:lnTo>
                  <a:pt x="492" y="1296"/>
                </a:lnTo>
                <a:lnTo>
                  <a:pt x="492" y="1290"/>
                </a:lnTo>
                <a:lnTo>
                  <a:pt x="492" y="1284"/>
                </a:lnTo>
                <a:lnTo>
                  <a:pt x="486" y="1284"/>
                </a:lnTo>
                <a:lnTo>
                  <a:pt x="480" y="1284"/>
                </a:lnTo>
                <a:lnTo>
                  <a:pt x="480" y="1278"/>
                </a:lnTo>
                <a:lnTo>
                  <a:pt x="474" y="1278"/>
                </a:lnTo>
                <a:lnTo>
                  <a:pt x="474" y="1272"/>
                </a:lnTo>
                <a:lnTo>
                  <a:pt x="474" y="1266"/>
                </a:lnTo>
                <a:lnTo>
                  <a:pt x="468" y="1266"/>
                </a:lnTo>
                <a:lnTo>
                  <a:pt x="474" y="1266"/>
                </a:lnTo>
                <a:lnTo>
                  <a:pt x="468" y="1266"/>
                </a:lnTo>
                <a:lnTo>
                  <a:pt x="468" y="1260"/>
                </a:lnTo>
                <a:lnTo>
                  <a:pt x="462" y="1260"/>
                </a:lnTo>
                <a:lnTo>
                  <a:pt x="462" y="1254"/>
                </a:lnTo>
                <a:lnTo>
                  <a:pt x="456" y="1254"/>
                </a:lnTo>
                <a:lnTo>
                  <a:pt x="456" y="1248"/>
                </a:lnTo>
                <a:lnTo>
                  <a:pt x="462" y="1248"/>
                </a:lnTo>
                <a:lnTo>
                  <a:pt x="462" y="1242"/>
                </a:lnTo>
                <a:lnTo>
                  <a:pt x="462" y="1236"/>
                </a:lnTo>
                <a:lnTo>
                  <a:pt x="462" y="1230"/>
                </a:lnTo>
                <a:lnTo>
                  <a:pt x="462" y="1224"/>
                </a:lnTo>
                <a:lnTo>
                  <a:pt x="456" y="1224"/>
                </a:lnTo>
                <a:lnTo>
                  <a:pt x="456" y="1218"/>
                </a:lnTo>
                <a:lnTo>
                  <a:pt x="456" y="1212"/>
                </a:lnTo>
                <a:lnTo>
                  <a:pt x="456" y="1206"/>
                </a:lnTo>
                <a:lnTo>
                  <a:pt x="456" y="1200"/>
                </a:lnTo>
                <a:lnTo>
                  <a:pt x="456" y="1206"/>
                </a:lnTo>
                <a:lnTo>
                  <a:pt x="456" y="1200"/>
                </a:lnTo>
                <a:lnTo>
                  <a:pt x="462" y="1200"/>
                </a:lnTo>
                <a:lnTo>
                  <a:pt x="462" y="1194"/>
                </a:lnTo>
                <a:lnTo>
                  <a:pt x="456" y="1194"/>
                </a:lnTo>
                <a:lnTo>
                  <a:pt x="456" y="1188"/>
                </a:lnTo>
                <a:lnTo>
                  <a:pt x="462" y="1194"/>
                </a:lnTo>
                <a:lnTo>
                  <a:pt x="462" y="1188"/>
                </a:lnTo>
                <a:lnTo>
                  <a:pt x="456" y="1188"/>
                </a:lnTo>
                <a:lnTo>
                  <a:pt x="456" y="1182"/>
                </a:lnTo>
                <a:lnTo>
                  <a:pt x="456" y="1176"/>
                </a:lnTo>
                <a:lnTo>
                  <a:pt x="450" y="1176"/>
                </a:lnTo>
                <a:lnTo>
                  <a:pt x="450" y="1170"/>
                </a:lnTo>
                <a:lnTo>
                  <a:pt x="450" y="1164"/>
                </a:lnTo>
                <a:lnTo>
                  <a:pt x="444" y="1164"/>
                </a:lnTo>
                <a:lnTo>
                  <a:pt x="444" y="1158"/>
                </a:lnTo>
                <a:lnTo>
                  <a:pt x="444" y="1164"/>
                </a:lnTo>
                <a:lnTo>
                  <a:pt x="444" y="1158"/>
                </a:lnTo>
                <a:lnTo>
                  <a:pt x="438" y="1158"/>
                </a:lnTo>
                <a:lnTo>
                  <a:pt x="444" y="1158"/>
                </a:lnTo>
                <a:lnTo>
                  <a:pt x="444" y="1152"/>
                </a:lnTo>
                <a:lnTo>
                  <a:pt x="438" y="1152"/>
                </a:lnTo>
                <a:lnTo>
                  <a:pt x="432" y="1152"/>
                </a:lnTo>
                <a:lnTo>
                  <a:pt x="426" y="1152"/>
                </a:lnTo>
                <a:lnTo>
                  <a:pt x="420" y="1152"/>
                </a:lnTo>
                <a:lnTo>
                  <a:pt x="420" y="1146"/>
                </a:lnTo>
                <a:lnTo>
                  <a:pt x="420" y="1152"/>
                </a:lnTo>
                <a:lnTo>
                  <a:pt x="420" y="1146"/>
                </a:lnTo>
                <a:lnTo>
                  <a:pt x="420" y="1140"/>
                </a:lnTo>
                <a:lnTo>
                  <a:pt x="414" y="1140"/>
                </a:lnTo>
                <a:lnTo>
                  <a:pt x="408" y="1134"/>
                </a:lnTo>
                <a:lnTo>
                  <a:pt x="414" y="1134"/>
                </a:lnTo>
                <a:lnTo>
                  <a:pt x="408" y="1128"/>
                </a:lnTo>
                <a:lnTo>
                  <a:pt x="408" y="1134"/>
                </a:lnTo>
                <a:lnTo>
                  <a:pt x="402" y="1128"/>
                </a:lnTo>
                <a:lnTo>
                  <a:pt x="396" y="1134"/>
                </a:lnTo>
                <a:lnTo>
                  <a:pt x="396" y="1128"/>
                </a:lnTo>
                <a:lnTo>
                  <a:pt x="390" y="1134"/>
                </a:lnTo>
                <a:lnTo>
                  <a:pt x="384" y="1134"/>
                </a:lnTo>
                <a:lnTo>
                  <a:pt x="378" y="1134"/>
                </a:lnTo>
                <a:lnTo>
                  <a:pt x="372" y="1134"/>
                </a:lnTo>
                <a:lnTo>
                  <a:pt x="366" y="1134"/>
                </a:lnTo>
                <a:lnTo>
                  <a:pt x="360" y="1134"/>
                </a:lnTo>
                <a:lnTo>
                  <a:pt x="360" y="1128"/>
                </a:lnTo>
                <a:lnTo>
                  <a:pt x="354" y="1128"/>
                </a:lnTo>
                <a:lnTo>
                  <a:pt x="354" y="1134"/>
                </a:lnTo>
                <a:lnTo>
                  <a:pt x="348" y="1134"/>
                </a:lnTo>
                <a:lnTo>
                  <a:pt x="342" y="1134"/>
                </a:lnTo>
                <a:lnTo>
                  <a:pt x="336" y="1134"/>
                </a:lnTo>
                <a:lnTo>
                  <a:pt x="336" y="1128"/>
                </a:lnTo>
                <a:lnTo>
                  <a:pt x="330" y="1128"/>
                </a:lnTo>
                <a:lnTo>
                  <a:pt x="324" y="1128"/>
                </a:lnTo>
                <a:lnTo>
                  <a:pt x="318" y="1128"/>
                </a:lnTo>
                <a:lnTo>
                  <a:pt x="312" y="1134"/>
                </a:lnTo>
                <a:lnTo>
                  <a:pt x="306" y="1134"/>
                </a:lnTo>
                <a:lnTo>
                  <a:pt x="300" y="1134"/>
                </a:lnTo>
                <a:lnTo>
                  <a:pt x="300" y="1128"/>
                </a:lnTo>
                <a:lnTo>
                  <a:pt x="300" y="1122"/>
                </a:lnTo>
                <a:lnTo>
                  <a:pt x="294" y="1116"/>
                </a:lnTo>
                <a:lnTo>
                  <a:pt x="288" y="1116"/>
                </a:lnTo>
                <a:lnTo>
                  <a:pt x="282" y="1116"/>
                </a:lnTo>
                <a:lnTo>
                  <a:pt x="282" y="1110"/>
                </a:lnTo>
                <a:lnTo>
                  <a:pt x="276" y="1110"/>
                </a:lnTo>
                <a:lnTo>
                  <a:pt x="276" y="1116"/>
                </a:lnTo>
                <a:lnTo>
                  <a:pt x="270" y="1110"/>
                </a:lnTo>
                <a:lnTo>
                  <a:pt x="264" y="1110"/>
                </a:lnTo>
                <a:lnTo>
                  <a:pt x="258" y="1110"/>
                </a:lnTo>
                <a:lnTo>
                  <a:pt x="252" y="1104"/>
                </a:lnTo>
                <a:lnTo>
                  <a:pt x="246" y="1104"/>
                </a:lnTo>
                <a:lnTo>
                  <a:pt x="246" y="1098"/>
                </a:lnTo>
                <a:lnTo>
                  <a:pt x="240" y="1098"/>
                </a:lnTo>
                <a:lnTo>
                  <a:pt x="234" y="1098"/>
                </a:lnTo>
                <a:lnTo>
                  <a:pt x="228" y="1098"/>
                </a:lnTo>
                <a:lnTo>
                  <a:pt x="222" y="1098"/>
                </a:lnTo>
                <a:lnTo>
                  <a:pt x="216" y="1098"/>
                </a:lnTo>
                <a:lnTo>
                  <a:pt x="210" y="1098"/>
                </a:lnTo>
                <a:lnTo>
                  <a:pt x="204" y="1098"/>
                </a:lnTo>
                <a:lnTo>
                  <a:pt x="204" y="1104"/>
                </a:lnTo>
                <a:lnTo>
                  <a:pt x="204" y="1098"/>
                </a:lnTo>
                <a:lnTo>
                  <a:pt x="198" y="1098"/>
                </a:lnTo>
                <a:lnTo>
                  <a:pt x="192" y="1098"/>
                </a:lnTo>
                <a:lnTo>
                  <a:pt x="186" y="1098"/>
                </a:lnTo>
                <a:lnTo>
                  <a:pt x="180" y="1098"/>
                </a:lnTo>
                <a:lnTo>
                  <a:pt x="180" y="1092"/>
                </a:lnTo>
                <a:lnTo>
                  <a:pt x="174" y="1092"/>
                </a:lnTo>
                <a:lnTo>
                  <a:pt x="168" y="1092"/>
                </a:lnTo>
                <a:lnTo>
                  <a:pt x="162" y="1092"/>
                </a:lnTo>
                <a:lnTo>
                  <a:pt x="156" y="1086"/>
                </a:lnTo>
                <a:lnTo>
                  <a:pt x="150" y="1086"/>
                </a:lnTo>
                <a:lnTo>
                  <a:pt x="144" y="1080"/>
                </a:lnTo>
                <a:lnTo>
                  <a:pt x="138" y="1080"/>
                </a:lnTo>
                <a:lnTo>
                  <a:pt x="132" y="1080"/>
                </a:lnTo>
                <a:lnTo>
                  <a:pt x="126" y="1080"/>
                </a:lnTo>
                <a:lnTo>
                  <a:pt x="126" y="1086"/>
                </a:lnTo>
                <a:lnTo>
                  <a:pt x="126" y="1092"/>
                </a:lnTo>
                <a:lnTo>
                  <a:pt x="120" y="1098"/>
                </a:lnTo>
                <a:lnTo>
                  <a:pt x="114" y="1098"/>
                </a:lnTo>
                <a:lnTo>
                  <a:pt x="114" y="1092"/>
                </a:lnTo>
                <a:lnTo>
                  <a:pt x="108" y="1092"/>
                </a:lnTo>
                <a:lnTo>
                  <a:pt x="102" y="1092"/>
                </a:lnTo>
                <a:lnTo>
                  <a:pt x="96" y="1092"/>
                </a:lnTo>
                <a:lnTo>
                  <a:pt x="90" y="1092"/>
                </a:lnTo>
                <a:lnTo>
                  <a:pt x="84" y="1092"/>
                </a:lnTo>
                <a:lnTo>
                  <a:pt x="78" y="1092"/>
                </a:lnTo>
                <a:lnTo>
                  <a:pt x="72" y="1086"/>
                </a:lnTo>
                <a:lnTo>
                  <a:pt x="66" y="1086"/>
                </a:lnTo>
                <a:lnTo>
                  <a:pt x="60" y="1092"/>
                </a:lnTo>
                <a:lnTo>
                  <a:pt x="54" y="1092"/>
                </a:lnTo>
                <a:lnTo>
                  <a:pt x="48" y="1092"/>
                </a:lnTo>
                <a:lnTo>
                  <a:pt x="42" y="1092"/>
                </a:lnTo>
                <a:lnTo>
                  <a:pt x="42" y="1086"/>
                </a:lnTo>
                <a:lnTo>
                  <a:pt x="36" y="1092"/>
                </a:lnTo>
                <a:lnTo>
                  <a:pt x="30" y="1086"/>
                </a:lnTo>
                <a:lnTo>
                  <a:pt x="24" y="1086"/>
                </a:lnTo>
                <a:lnTo>
                  <a:pt x="18" y="1086"/>
                </a:lnTo>
                <a:lnTo>
                  <a:pt x="12" y="1086"/>
                </a:lnTo>
                <a:lnTo>
                  <a:pt x="12" y="1092"/>
                </a:lnTo>
                <a:lnTo>
                  <a:pt x="6" y="1092"/>
                </a:lnTo>
                <a:lnTo>
                  <a:pt x="6" y="1098"/>
                </a:lnTo>
                <a:lnTo>
                  <a:pt x="6" y="1092"/>
                </a:lnTo>
                <a:lnTo>
                  <a:pt x="0" y="1092"/>
                </a:lnTo>
              </a:path>
            </a:pathLst>
          </a:custGeom>
          <a:noFill/>
          <a:ln w="3175" cap="rnd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r"/>
            <a:endParaRPr lang="pt-BR">
              <a:highlight>
                <a:srgbClr val="3F3F3E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887485310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rma Livre: Forma 5">
            <a:extLst>
              <a:ext uri="{FF2B5EF4-FFF2-40B4-BE49-F238E27FC236}">
                <a16:creationId xmlns:a16="http://schemas.microsoft.com/office/drawing/2014/main" id="{8D63F256-B1FF-455E-8BB4-0DCE00FD3549}"/>
              </a:ext>
            </a:extLst>
          </p:cNvPr>
          <p:cNvSpPr/>
          <p:nvPr/>
        </p:nvSpPr>
        <p:spPr>
          <a:xfrm>
            <a:off x="1049888" y="379881"/>
            <a:ext cx="1152502" cy="1435829"/>
          </a:xfrm>
          <a:custGeom>
            <a:avLst/>
            <a:gdLst>
              <a:gd name="connsiteX0" fmla="*/ 471726 w 471725"/>
              <a:gd name="connsiteY0" fmla="*/ 129540 h 587692"/>
              <a:gd name="connsiteX1" fmla="*/ 274558 w 471725"/>
              <a:gd name="connsiteY1" fmla="*/ 0 h 587692"/>
              <a:gd name="connsiteX2" fmla="*/ 274558 w 471725"/>
              <a:gd name="connsiteY2" fmla="*/ 79058 h 587692"/>
              <a:gd name="connsiteX3" fmla="*/ 241221 w 471725"/>
              <a:gd name="connsiteY3" fmla="*/ 79058 h 587692"/>
              <a:gd name="connsiteX4" fmla="*/ 204073 w 471725"/>
              <a:gd name="connsiteY4" fmla="*/ 80010 h 587692"/>
              <a:gd name="connsiteX5" fmla="*/ 119301 w 471725"/>
              <a:gd name="connsiteY5" fmla="*/ 102870 h 587692"/>
              <a:gd name="connsiteX6" fmla="*/ 21193 w 471725"/>
              <a:gd name="connsiteY6" fmla="*/ 203835 h 587692"/>
              <a:gd name="connsiteX7" fmla="*/ 1191 w 471725"/>
              <a:gd name="connsiteY7" fmla="*/ 272415 h 587692"/>
              <a:gd name="connsiteX8" fmla="*/ 238 w 471725"/>
              <a:gd name="connsiteY8" fmla="*/ 333375 h 587692"/>
              <a:gd name="connsiteX9" fmla="*/ 238 w 471725"/>
              <a:gd name="connsiteY9" fmla="*/ 552450 h 587692"/>
              <a:gd name="connsiteX10" fmla="*/ 238 w 471725"/>
              <a:gd name="connsiteY10" fmla="*/ 587693 h 587692"/>
              <a:gd name="connsiteX11" fmla="*/ 102156 w 471725"/>
              <a:gd name="connsiteY11" fmla="*/ 587693 h 587692"/>
              <a:gd name="connsiteX12" fmla="*/ 102156 w 471725"/>
              <a:gd name="connsiteY12" fmla="*/ 552450 h 587692"/>
              <a:gd name="connsiteX13" fmla="*/ 102156 w 471725"/>
              <a:gd name="connsiteY13" fmla="*/ 332423 h 587692"/>
              <a:gd name="connsiteX14" fmla="*/ 103108 w 471725"/>
              <a:gd name="connsiteY14" fmla="*/ 282893 h 587692"/>
              <a:gd name="connsiteX15" fmla="*/ 113586 w 471725"/>
              <a:gd name="connsiteY15" fmla="*/ 246698 h 587692"/>
              <a:gd name="connsiteX16" fmla="*/ 165973 w 471725"/>
              <a:gd name="connsiteY16" fmla="*/ 193358 h 587692"/>
              <a:gd name="connsiteX17" fmla="*/ 210741 w 471725"/>
              <a:gd name="connsiteY17" fmla="*/ 180975 h 587692"/>
              <a:gd name="connsiteX18" fmla="*/ 241221 w 471725"/>
              <a:gd name="connsiteY18" fmla="*/ 180975 h 587692"/>
              <a:gd name="connsiteX19" fmla="*/ 274558 w 471725"/>
              <a:gd name="connsiteY19" fmla="*/ 180975 h 587692"/>
              <a:gd name="connsiteX20" fmla="*/ 274558 w 471725"/>
              <a:gd name="connsiteY20" fmla="*/ 260033 h 587692"/>
              <a:gd name="connsiteX21" fmla="*/ 471726 w 471725"/>
              <a:gd name="connsiteY21" fmla="*/ 129540 h 587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471725" h="587692">
                <a:moveTo>
                  <a:pt x="471726" y="129540"/>
                </a:moveTo>
                <a:lnTo>
                  <a:pt x="274558" y="0"/>
                </a:lnTo>
                <a:lnTo>
                  <a:pt x="274558" y="79058"/>
                </a:lnTo>
                <a:lnTo>
                  <a:pt x="241221" y="79058"/>
                </a:lnTo>
                <a:cubicBezTo>
                  <a:pt x="229791" y="79058"/>
                  <a:pt x="220266" y="79058"/>
                  <a:pt x="204073" y="80010"/>
                </a:cubicBezTo>
                <a:cubicBezTo>
                  <a:pt x="174546" y="81915"/>
                  <a:pt x="145971" y="89535"/>
                  <a:pt x="119301" y="102870"/>
                </a:cubicBezTo>
                <a:cubicBezTo>
                  <a:pt x="76438" y="124778"/>
                  <a:pt x="41196" y="160020"/>
                  <a:pt x="21193" y="203835"/>
                </a:cubicBezTo>
                <a:cubicBezTo>
                  <a:pt x="10716" y="225743"/>
                  <a:pt x="4048" y="248603"/>
                  <a:pt x="1191" y="272415"/>
                </a:cubicBezTo>
                <a:cubicBezTo>
                  <a:pt x="-714" y="298133"/>
                  <a:pt x="238" y="314325"/>
                  <a:pt x="238" y="333375"/>
                </a:cubicBezTo>
                <a:lnTo>
                  <a:pt x="238" y="552450"/>
                </a:lnTo>
                <a:lnTo>
                  <a:pt x="238" y="587693"/>
                </a:lnTo>
                <a:lnTo>
                  <a:pt x="102156" y="587693"/>
                </a:lnTo>
                <a:lnTo>
                  <a:pt x="102156" y="552450"/>
                </a:lnTo>
                <a:lnTo>
                  <a:pt x="102156" y="332423"/>
                </a:lnTo>
                <a:cubicBezTo>
                  <a:pt x="102156" y="314325"/>
                  <a:pt x="102156" y="293370"/>
                  <a:pt x="103108" y="282893"/>
                </a:cubicBezTo>
                <a:cubicBezTo>
                  <a:pt x="104061" y="270510"/>
                  <a:pt x="107871" y="258128"/>
                  <a:pt x="113586" y="246698"/>
                </a:cubicBezTo>
                <a:cubicBezTo>
                  <a:pt x="124063" y="223838"/>
                  <a:pt x="143113" y="204788"/>
                  <a:pt x="165973" y="193358"/>
                </a:cubicBezTo>
                <a:cubicBezTo>
                  <a:pt x="180261" y="186690"/>
                  <a:pt x="195501" y="181928"/>
                  <a:pt x="210741" y="180975"/>
                </a:cubicBezTo>
                <a:cubicBezTo>
                  <a:pt x="217408" y="180023"/>
                  <a:pt x="230743" y="180975"/>
                  <a:pt x="241221" y="180975"/>
                </a:cubicBezTo>
                <a:lnTo>
                  <a:pt x="274558" y="180975"/>
                </a:lnTo>
                <a:lnTo>
                  <a:pt x="274558" y="260033"/>
                </a:lnTo>
                <a:lnTo>
                  <a:pt x="471726" y="129540"/>
                </a:lnTo>
                <a:close/>
              </a:path>
            </a:pathLst>
          </a:custGeom>
          <a:solidFill>
            <a:srgbClr val="D6D6CE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7" name="Forma Livre: Forma 6">
            <a:extLst>
              <a:ext uri="{FF2B5EF4-FFF2-40B4-BE49-F238E27FC236}">
                <a16:creationId xmlns:a16="http://schemas.microsoft.com/office/drawing/2014/main" id="{D9C6CB96-25A3-4059-A15C-FDDDFF54C764}"/>
              </a:ext>
            </a:extLst>
          </p:cNvPr>
          <p:cNvSpPr/>
          <p:nvPr/>
        </p:nvSpPr>
        <p:spPr>
          <a:xfrm>
            <a:off x="7448314" y="461329"/>
            <a:ext cx="1154831" cy="1433500"/>
          </a:xfrm>
          <a:custGeom>
            <a:avLst/>
            <a:gdLst>
              <a:gd name="connsiteX0" fmla="*/ 0 w 472678"/>
              <a:gd name="connsiteY0" fmla="*/ 457200 h 586739"/>
              <a:gd name="connsiteX1" fmla="*/ 198120 w 472678"/>
              <a:gd name="connsiteY1" fmla="*/ 586740 h 586739"/>
              <a:gd name="connsiteX2" fmla="*/ 198120 w 472678"/>
              <a:gd name="connsiteY2" fmla="*/ 507683 h 586739"/>
              <a:gd name="connsiteX3" fmla="*/ 231457 w 472678"/>
              <a:gd name="connsiteY3" fmla="*/ 507683 h 586739"/>
              <a:gd name="connsiteX4" fmla="*/ 268605 w 472678"/>
              <a:gd name="connsiteY4" fmla="*/ 506730 h 586739"/>
              <a:gd name="connsiteX5" fmla="*/ 353377 w 472678"/>
              <a:gd name="connsiteY5" fmla="*/ 483870 h 586739"/>
              <a:gd name="connsiteX6" fmla="*/ 451485 w 472678"/>
              <a:gd name="connsiteY6" fmla="*/ 382905 h 586739"/>
              <a:gd name="connsiteX7" fmla="*/ 471488 w 472678"/>
              <a:gd name="connsiteY7" fmla="*/ 314325 h 586739"/>
              <a:gd name="connsiteX8" fmla="*/ 472440 w 472678"/>
              <a:gd name="connsiteY8" fmla="*/ 253365 h 586739"/>
              <a:gd name="connsiteX9" fmla="*/ 472440 w 472678"/>
              <a:gd name="connsiteY9" fmla="*/ 35243 h 586739"/>
              <a:gd name="connsiteX10" fmla="*/ 472440 w 472678"/>
              <a:gd name="connsiteY10" fmla="*/ 0 h 586739"/>
              <a:gd name="connsiteX11" fmla="*/ 370522 w 472678"/>
              <a:gd name="connsiteY11" fmla="*/ 0 h 586739"/>
              <a:gd name="connsiteX12" fmla="*/ 370522 w 472678"/>
              <a:gd name="connsiteY12" fmla="*/ 35243 h 586739"/>
              <a:gd name="connsiteX13" fmla="*/ 370522 w 472678"/>
              <a:gd name="connsiteY13" fmla="*/ 255270 h 586739"/>
              <a:gd name="connsiteX14" fmla="*/ 369570 w 472678"/>
              <a:gd name="connsiteY14" fmla="*/ 304800 h 586739"/>
              <a:gd name="connsiteX15" fmla="*/ 359092 w 472678"/>
              <a:gd name="connsiteY15" fmla="*/ 340995 h 586739"/>
              <a:gd name="connsiteX16" fmla="*/ 306705 w 472678"/>
              <a:gd name="connsiteY16" fmla="*/ 394335 h 586739"/>
              <a:gd name="connsiteX17" fmla="*/ 261938 w 472678"/>
              <a:gd name="connsiteY17" fmla="*/ 406718 h 586739"/>
              <a:gd name="connsiteX18" fmla="*/ 231457 w 472678"/>
              <a:gd name="connsiteY18" fmla="*/ 406718 h 586739"/>
              <a:gd name="connsiteX19" fmla="*/ 198120 w 472678"/>
              <a:gd name="connsiteY19" fmla="*/ 406718 h 586739"/>
              <a:gd name="connsiteX20" fmla="*/ 198120 w 472678"/>
              <a:gd name="connsiteY20" fmla="*/ 327660 h 586739"/>
              <a:gd name="connsiteX21" fmla="*/ 0 w 472678"/>
              <a:gd name="connsiteY21" fmla="*/ 457200 h 586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472678" h="586739">
                <a:moveTo>
                  <a:pt x="0" y="457200"/>
                </a:moveTo>
                <a:lnTo>
                  <a:pt x="198120" y="586740"/>
                </a:lnTo>
                <a:lnTo>
                  <a:pt x="198120" y="507683"/>
                </a:lnTo>
                <a:lnTo>
                  <a:pt x="231457" y="507683"/>
                </a:lnTo>
                <a:cubicBezTo>
                  <a:pt x="242888" y="507683"/>
                  <a:pt x="252413" y="507683"/>
                  <a:pt x="268605" y="506730"/>
                </a:cubicBezTo>
                <a:cubicBezTo>
                  <a:pt x="298132" y="504825"/>
                  <a:pt x="326707" y="497205"/>
                  <a:pt x="353377" y="483870"/>
                </a:cubicBezTo>
                <a:cubicBezTo>
                  <a:pt x="396240" y="461963"/>
                  <a:pt x="431482" y="426720"/>
                  <a:pt x="451485" y="382905"/>
                </a:cubicBezTo>
                <a:cubicBezTo>
                  <a:pt x="461963" y="360998"/>
                  <a:pt x="468630" y="338138"/>
                  <a:pt x="471488" y="314325"/>
                </a:cubicBezTo>
                <a:cubicBezTo>
                  <a:pt x="473392" y="288608"/>
                  <a:pt x="472440" y="272415"/>
                  <a:pt x="472440" y="253365"/>
                </a:cubicBezTo>
                <a:lnTo>
                  <a:pt x="472440" y="35243"/>
                </a:lnTo>
                <a:lnTo>
                  <a:pt x="472440" y="0"/>
                </a:lnTo>
                <a:lnTo>
                  <a:pt x="370522" y="0"/>
                </a:lnTo>
                <a:lnTo>
                  <a:pt x="370522" y="35243"/>
                </a:lnTo>
                <a:lnTo>
                  <a:pt x="370522" y="255270"/>
                </a:lnTo>
                <a:cubicBezTo>
                  <a:pt x="370522" y="273368"/>
                  <a:pt x="370522" y="294323"/>
                  <a:pt x="369570" y="304800"/>
                </a:cubicBezTo>
                <a:cubicBezTo>
                  <a:pt x="368617" y="317183"/>
                  <a:pt x="364807" y="329565"/>
                  <a:pt x="359092" y="340995"/>
                </a:cubicBezTo>
                <a:cubicBezTo>
                  <a:pt x="348615" y="363855"/>
                  <a:pt x="329565" y="382905"/>
                  <a:pt x="306705" y="394335"/>
                </a:cubicBezTo>
                <a:cubicBezTo>
                  <a:pt x="292417" y="401003"/>
                  <a:pt x="277177" y="405765"/>
                  <a:pt x="261938" y="406718"/>
                </a:cubicBezTo>
                <a:cubicBezTo>
                  <a:pt x="255270" y="407670"/>
                  <a:pt x="241935" y="406718"/>
                  <a:pt x="231457" y="406718"/>
                </a:cubicBezTo>
                <a:lnTo>
                  <a:pt x="198120" y="406718"/>
                </a:lnTo>
                <a:lnTo>
                  <a:pt x="198120" y="327660"/>
                </a:lnTo>
                <a:lnTo>
                  <a:pt x="0" y="457200"/>
                </a:lnTo>
                <a:close/>
              </a:path>
            </a:pathLst>
          </a:custGeom>
          <a:solidFill>
            <a:srgbClr val="D6D6CE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8" name="Forma Livre: Forma 7">
            <a:extLst>
              <a:ext uri="{FF2B5EF4-FFF2-40B4-BE49-F238E27FC236}">
                <a16:creationId xmlns:a16="http://schemas.microsoft.com/office/drawing/2014/main" id="{820EC12A-FA9B-4D15-841F-1126DAC12AA6}"/>
              </a:ext>
            </a:extLst>
          </p:cNvPr>
          <p:cNvSpPr/>
          <p:nvPr/>
        </p:nvSpPr>
        <p:spPr>
          <a:xfrm>
            <a:off x="3121804" y="535796"/>
            <a:ext cx="1312490" cy="1279913"/>
          </a:xfrm>
          <a:custGeom>
            <a:avLst/>
            <a:gdLst>
              <a:gd name="connsiteX0" fmla="*/ 407670 w 537209"/>
              <a:gd name="connsiteY0" fmla="*/ 523875 h 523875"/>
              <a:gd name="connsiteX1" fmla="*/ 537210 w 537209"/>
              <a:gd name="connsiteY1" fmla="*/ 325755 h 523875"/>
              <a:gd name="connsiteX2" fmla="*/ 458152 w 537209"/>
              <a:gd name="connsiteY2" fmla="*/ 325755 h 523875"/>
              <a:gd name="connsiteX3" fmla="*/ 458152 w 537209"/>
              <a:gd name="connsiteY3" fmla="*/ 215265 h 523875"/>
              <a:gd name="connsiteX4" fmla="*/ 458152 w 537209"/>
              <a:gd name="connsiteY4" fmla="*/ 197168 h 523875"/>
              <a:gd name="connsiteX5" fmla="*/ 457200 w 537209"/>
              <a:gd name="connsiteY5" fmla="*/ 179070 h 523875"/>
              <a:gd name="connsiteX6" fmla="*/ 454342 w 537209"/>
              <a:gd name="connsiteY6" fmla="*/ 159068 h 523875"/>
              <a:gd name="connsiteX7" fmla="*/ 449580 w 537209"/>
              <a:gd name="connsiteY7" fmla="*/ 140018 h 523875"/>
              <a:gd name="connsiteX8" fmla="*/ 348615 w 537209"/>
              <a:gd name="connsiteY8" fmla="*/ 21908 h 523875"/>
              <a:gd name="connsiteX9" fmla="*/ 272415 w 537209"/>
              <a:gd name="connsiteY9" fmla="*/ 953 h 523875"/>
              <a:gd name="connsiteX10" fmla="*/ 239077 w 537209"/>
              <a:gd name="connsiteY10" fmla="*/ 0 h 523875"/>
              <a:gd name="connsiteX11" fmla="*/ 209550 w 537209"/>
              <a:gd name="connsiteY11" fmla="*/ 0 h 523875"/>
              <a:gd name="connsiteX12" fmla="*/ 54292 w 537209"/>
              <a:gd name="connsiteY12" fmla="*/ 0 h 523875"/>
              <a:gd name="connsiteX13" fmla="*/ 13335 w 537209"/>
              <a:gd name="connsiteY13" fmla="*/ 0 h 523875"/>
              <a:gd name="connsiteX14" fmla="*/ 2857 w 537209"/>
              <a:gd name="connsiteY14" fmla="*/ 0 h 523875"/>
              <a:gd name="connsiteX15" fmla="*/ 0 w 537209"/>
              <a:gd name="connsiteY15" fmla="*/ 0 h 523875"/>
              <a:gd name="connsiteX16" fmla="*/ 0 w 537209"/>
              <a:gd name="connsiteY16" fmla="*/ 2858 h 523875"/>
              <a:gd name="connsiteX17" fmla="*/ 0 w 537209"/>
              <a:gd name="connsiteY17" fmla="*/ 7620 h 523875"/>
              <a:gd name="connsiteX18" fmla="*/ 0 w 537209"/>
              <a:gd name="connsiteY18" fmla="*/ 28575 h 523875"/>
              <a:gd name="connsiteX19" fmla="*/ 0 w 537209"/>
              <a:gd name="connsiteY19" fmla="*/ 111443 h 523875"/>
              <a:gd name="connsiteX20" fmla="*/ 0 w 537209"/>
              <a:gd name="connsiteY20" fmla="*/ 250508 h 523875"/>
              <a:gd name="connsiteX21" fmla="*/ 0 w 537209"/>
              <a:gd name="connsiteY21" fmla="*/ 488633 h 523875"/>
              <a:gd name="connsiteX22" fmla="*/ 0 w 537209"/>
              <a:gd name="connsiteY22" fmla="*/ 523875 h 523875"/>
              <a:gd name="connsiteX23" fmla="*/ 101917 w 537209"/>
              <a:gd name="connsiteY23" fmla="*/ 523875 h 523875"/>
              <a:gd name="connsiteX24" fmla="*/ 101917 w 537209"/>
              <a:gd name="connsiteY24" fmla="*/ 488633 h 523875"/>
              <a:gd name="connsiteX25" fmla="*/ 101917 w 537209"/>
              <a:gd name="connsiteY25" fmla="*/ 250508 h 523875"/>
              <a:gd name="connsiteX26" fmla="*/ 101917 w 537209"/>
              <a:gd name="connsiteY26" fmla="*/ 150495 h 523875"/>
              <a:gd name="connsiteX27" fmla="*/ 101917 w 537209"/>
              <a:gd name="connsiteY27" fmla="*/ 114300 h 523875"/>
              <a:gd name="connsiteX28" fmla="*/ 101917 w 537209"/>
              <a:gd name="connsiteY28" fmla="*/ 104775 h 523875"/>
              <a:gd name="connsiteX29" fmla="*/ 101917 w 537209"/>
              <a:gd name="connsiteY29" fmla="*/ 102870 h 523875"/>
              <a:gd name="connsiteX30" fmla="*/ 101917 w 537209"/>
              <a:gd name="connsiteY30" fmla="*/ 101918 h 523875"/>
              <a:gd name="connsiteX31" fmla="*/ 102870 w 537209"/>
              <a:gd name="connsiteY31" fmla="*/ 101918 h 523875"/>
              <a:gd name="connsiteX32" fmla="*/ 106680 w 537209"/>
              <a:gd name="connsiteY32" fmla="*/ 101918 h 523875"/>
              <a:gd name="connsiteX33" fmla="*/ 125730 w 537209"/>
              <a:gd name="connsiteY33" fmla="*/ 101918 h 523875"/>
              <a:gd name="connsiteX34" fmla="*/ 209550 w 537209"/>
              <a:gd name="connsiteY34" fmla="*/ 101918 h 523875"/>
              <a:gd name="connsiteX35" fmla="*/ 239077 w 537209"/>
              <a:gd name="connsiteY35" fmla="*/ 101918 h 523875"/>
              <a:gd name="connsiteX36" fmla="*/ 265747 w 537209"/>
              <a:gd name="connsiteY36" fmla="*/ 101918 h 523875"/>
              <a:gd name="connsiteX37" fmla="*/ 302895 w 537209"/>
              <a:gd name="connsiteY37" fmla="*/ 112395 h 523875"/>
              <a:gd name="connsiteX38" fmla="*/ 352425 w 537209"/>
              <a:gd name="connsiteY38" fmla="*/ 170498 h 523875"/>
              <a:gd name="connsiteX39" fmla="*/ 355282 w 537209"/>
              <a:gd name="connsiteY39" fmla="*/ 180023 h 523875"/>
              <a:gd name="connsiteX40" fmla="*/ 357188 w 537209"/>
              <a:gd name="connsiteY40" fmla="*/ 189548 h 523875"/>
              <a:gd name="connsiteX41" fmla="*/ 357188 w 537209"/>
              <a:gd name="connsiteY41" fmla="*/ 198120 h 523875"/>
              <a:gd name="connsiteX42" fmla="*/ 357188 w 537209"/>
              <a:gd name="connsiteY42" fmla="*/ 214313 h 523875"/>
              <a:gd name="connsiteX43" fmla="*/ 357188 w 537209"/>
              <a:gd name="connsiteY43" fmla="*/ 324803 h 523875"/>
              <a:gd name="connsiteX44" fmla="*/ 278130 w 537209"/>
              <a:gd name="connsiteY44" fmla="*/ 324803 h 523875"/>
              <a:gd name="connsiteX45" fmla="*/ 407670 w 537209"/>
              <a:gd name="connsiteY45" fmla="*/ 52387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537209" h="523875">
                <a:moveTo>
                  <a:pt x="407670" y="523875"/>
                </a:moveTo>
                <a:lnTo>
                  <a:pt x="537210" y="325755"/>
                </a:lnTo>
                <a:lnTo>
                  <a:pt x="458152" y="325755"/>
                </a:lnTo>
                <a:lnTo>
                  <a:pt x="458152" y="215265"/>
                </a:lnTo>
                <a:cubicBezTo>
                  <a:pt x="458152" y="209550"/>
                  <a:pt x="458152" y="204788"/>
                  <a:pt x="458152" y="197168"/>
                </a:cubicBezTo>
                <a:lnTo>
                  <a:pt x="457200" y="179070"/>
                </a:lnTo>
                <a:lnTo>
                  <a:pt x="454342" y="159068"/>
                </a:lnTo>
                <a:cubicBezTo>
                  <a:pt x="452438" y="152400"/>
                  <a:pt x="451485" y="145733"/>
                  <a:pt x="449580" y="140018"/>
                </a:cubicBezTo>
                <a:cubicBezTo>
                  <a:pt x="433388" y="88583"/>
                  <a:pt x="396240" y="45720"/>
                  <a:pt x="348615" y="21908"/>
                </a:cubicBezTo>
                <a:cubicBezTo>
                  <a:pt x="324803" y="9525"/>
                  <a:pt x="298132" y="2858"/>
                  <a:pt x="272415" y="953"/>
                </a:cubicBezTo>
                <a:cubicBezTo>
                  <a:pt x="257175" y="0"/>
                  <a:pt x="249555" y="953"/>
                  <a:pt x="239077" y="0"/>
                </a:cubicBezTo>
                <a:lnTo>
                  <a:pt x="209550" y="0"/>
                </a:lnTo>
                <a:lnTo>
                  <a:pt x="54292" y="0"/>
                </a:lnTo>
                <a:lnTo>
                  <a:pt x="13335" y="0"/>
                </a:lnTo>
                <a:lnTo>
                  <a:pt x="2857" y="0"/>
                </a:lnTo>
                <a:cubicBezTo>
                  <a:pt x="1905" y="0"/>
                  <a:pt x="952" y="0"/>
                  <a:pt x="0" y="0"/>
                </a:cubicBezTo>
                <a:lnTo>
                  <a:pt x="0" y="2858"/>
                </a:lnTo>
                <a:lnTo>
                  <a:pt x="0" y="7620"/>
                </a:lnTo>
                <a:lnTo>
                  <a:pt x="0" y="28575"/>
                </a:lnTo>
                <a:lnTo>
                  <a:pt x="0" y="111443"/>
                </a:lnTo>
                <a:lnTo>
                  <a:pt x="0" y="250508"/>
                </a:lnTo>
                <a:lnTo>
                  <a:pt x="0" y="488633"/>
                </a:lnTo>
                <a:lnTo>
                  <a:pt x="0" y="523875"/>
                </a:lnTo>
                <a:lnTo>
                  <a:pt x="101917" y="523875"/>
                </a:lnTo>
                <a:lnTo>
                  <a:pt x="101917" y="488633"/>
                </a:lnTo>
                <a:lnTo>
                  <a:pt x="101917" y="250508"/>
                </a:lnTo>
                <a:lnTo>
                  <a:pt x="101917" y="150495"/>
                </a:lnTo>
                <a:lnTo>
                  <a:pt x="101917" y="114300"/>
                </a:lnTo>
                <a:lnTo>
                  <a:pt x="101917" y="104775"/>
                </a:lnTo>
                <a:lnTo>
                  <a:pt x="101917" y="102870"/>
                </a:lnTo>
                <a:lnTo>
                  <a:pt x="101917" y="101918"/>
                </a:lnTo>
                <a:cubicBezTo>
                  <a:pt x="101917" y="101918"/>
                  <a:pt x="102870" y="101918"/>
                  <a:pt x="102870" y="101918"/>
                </a:cubicBezTo>
                <a:lnTo>
                  <a:pt x="106680" y="101918"/>
                </a:lnTo>
                <a:lnTo>
                  <a:pt x="125730" y="101918"/>
                </a:lnTo>
                <a:lnTo>
                  <a:pt x="209550" y="101918"/>
                </a:lnTo>
                <a:lnTo>
                  <a:pt x="239077" y="101918"/>
                </a:lnTo>
                <a:cubicBezTo>
                  <a:pt x="248602" y="101918"/>
                  <a:pt x="260985" y="101918"/>
                  <a:pt x="265747" y="101918"/>
                </a:cubicBezTo>
                <a:cubicBezTo>
                  <a:pt x="279082" y="102870"/>
                  <a:pt x="291465" y="105727"/>
                  <a:pt x="302895" y="112395"/>
                </a:cubicBezTo>
                <a:cubicBezTo>
                  <a:pt x="326707" y="123825"/>
                  <a:pt x="344805" y="145733"/>
                  <a:pt x="352425" y="170498"/>
                </a:cubicBezTo>
                <a:lnTo>
                  <a:pt x="355282" y="180023"/>
                </a:lnTo>
                <a:lnTo>
                  <a:pt x="357188" y="189548"/>
                </a:lnTo>
                <a:lnTo>
                  <a:pt x="357188" y="198120"/>
                </a:lnTo>
                <a:cubicBezTo>
                  <a:pt x="357188" y="202883"/>
                  <a:pt x="357188" y="209550"/>
                  <a:pt x="357188" y="214313"/>
                </a:cubicBezTo>
                <a:lnTo>
                  <a:pt x="357188" y="324803"/>
                </a:lnTo>
                <a:lnTo>
                  <a:pt x="278130" y="324803"/>
                </a:lnTo>
                <a:lnTo>
                  <a:pt x="407670" y="523875"/>
                </a:lnTo>
                <a:close/>
              </a:path>
            </a:pathLst>
          </a:custGeom>
          <a:solidFill>
            <a:srgbClr val="26314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9" name="Forma Livre: Forma 8">
            <a:extLst>
              <a:ext uri="{FF2B5EF4-FFF2-40B4-BE49-F238E27FC236}">
                <a16:creationId xmlns:a16="http://schemas.microsoft.com/office/drawing/2014/main" id="{3264F876-D941-4D2E-B932-2F553206F984}"/>
              </a:ext>
            </a:extLst>
          </p:cNvPr>
          <p:cNvSpPr/>
          <p:nvPr/>
        </p:nvSpPr>
        <p:spPr>
          <a:xfrm>
            <a:off x="5353708" y="524160"/>
            <a:ext cx="1175192" cy="1282239"/>
          </a:xfrm>
          <a:custGeom>
            <a:avLst/>
            <a:gdLst>
              <a:gd name="connsiteX0" fmla="*/ 350520 w 481012"/>
              <a:gd name="connsiteY0" fmla="*/ 0 h 524827"/>
              <a:gd name="connsiteX1" fmla="*/ 220980 w 481012"/>
              <a:gd name="connsiteY1" fmla="*/ 198120 h 524827"/>
              <a:gd name="connsiteX2" fmla="*/ 300038 w 481012"/>
              <a:gd name="connsiteY2" fmla="*/ 198120 h 524827"/>
              <a:gd name="connsiteX3" fmla="*/ 300038 w 481012"/>
              <a:gd name="connsiteY3" fmla="*/ 333375 h 524827"/>
              <a:gd name="connsiteX4" fmla="*/ 300038 w 481012"/>
              <a:gd name="connsiteY4" fmla="*/ 406718 h 524827"/>
              <a:gd name="connsiteX5" fmla="*/ 300038 w 481012"/>
              <a:gd name="connsiteY5" fmla="*/ 415290 h 524827"/>
              <a:gd name="connsiteX6" fmla="*/ 300038 w 481012"/>
              <a:gd name="connsiteY6" fmla="*/ 420053 h 524827"/>
              <a:gd name="connsiteX7" fmla="*/ 299085 w 481012"/>
              <a:gd name="connsiteY7" fmla="*/ 422910 h 524827"/>
              <a:gd name="connsiteX8" fmla="*/ 281940 w 481012"/>
              <a:gd name="connsiteY8" fmla="*/ 422910 h 524827"/>
              <a:gd name="connsiteX9" fmla="*/ 247650 w 481012"/>
              <a:gd name="connsiteY9" fmla="*/ 422910 h 524827"/>
              <a:gd name="connsiteX10" fmla="*/ 36195 w 481012"/>
              <a:gd name="connsiteY10" fmla="*/ 422910 h 524827"/>
              <a:gd name="connsiteX11" fmla="*/ 0 w 481012"/>
              <a:gd name="connsiteY11" fmla="*/ 422910 h 524827"/>
              <a:gd name="connsiteX12" fmla="*/ 0 w 481012"/>
              <a:gd name="connsiteY12" fmla="*/ 524828 h 524827"/>
              <a:gd name="connsiteX13" fmla="*/ 35242 w 481012"/>
              <a:gd name="connsiteY13" fmla="*/ 524828 h 524827"/>
              <a:gd name="connsiteX14" fmla="*/ 206692 w 481012"/>
              <a:gd name="connsiteY14" fmla="*/ 524828 h 524827"/>
              <a:gd name="connsiteX15" fmla="*/ 320992 w 481012"/>
              <a:gd name="connsiteY15" fmla="*/ 524828 h 524827"/>
              <a:gd name="connsiteX16" fmla="*/ 381000 w 481012"/>
              <a:gd name="connsiteY16" fmla="*/ 524828 h 524827"/>
              <a:gd name="connsiteX17" fmla="*/ 396240 w 481012"/>
              <a:gd name="connsiteY17" fmla="*/ 524828 h 524827"/>
              <a:gd name="connsiteX18" fmla="*/ 400050 w 481012"/>
              <a:gd name="connsiteY18" fmla="*/ 524828 h 524827"/>
              <a:gd name="connsiteX19" fmla="*/ 401955 w 481012"/>
              <a:gd name="connsiteY19" fmla="*/ 524828 h 524827"/>
              <a:gd name="connsiteX20" fmla="*/ 401955 w 481012"/>
              <a:gd name="connsiteY20" fmla="*/ 522923 h 524827"/>
              <a:gd name="connsiteX21" fmla="*/ 401955 w 481012"/>
              <a:gd name="connsiteY21" fmla="*/ 515303 h 524827"/>
              <a:gd name="connsiteX22" fmla="*/ 401955 w 481012"/>
              <a:gd name="connsiteY22" fmla="*/ 483870 h 524827"/>
              <a:gd name="connsiteX23" fmla="*/ 401955 w 481012"/>
              <a:gd name="connsiteY23" fmla="*/ 203835 h 524827"/>
              <a:gd name="connsiteX24" fmla="*/ 401955 w 481012"/>
              <a:gd name="connsiteY24" fmla="*/ 197168 h 524827"/>
              <a:gd name="connsiteX25" fmla="*/ 481013 w 481012"/>
              <a:gd name="connsiteY25" fmla="*/ 197168 h 524827"/>
              <a:gd name="connsiteX26" fmla="*/ 350520 w 481012"/>
              <a:gd name="connsiteY26" fmla="*/ 0 h 524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81012" h="524827">
                <a:moveTo>
                  <a:pt x="350520" y="0"/>
                </a:moveTo>
                <a:lnTo>
                  <a:pt x="220980" y="198120"/>
                </a:lnTo>
                <a:lnTo>
                  <a:pt x="300038" y="198120"/>
                </a:lnTo>
                <a:lnTo>
                  <a:pt x="300038" y="333375"/>
                </a:lnTo>
                <a:lnTo>
                  <a:pt x="300038" y="406718"/>
                </a:lnTo>
                <a:lnTo>
                  <a:pt x="300038" y="415290"/>
                </a:lnTo>
                <a:lnTo>
                  <a:pt x="300038" y="420053"/>
                </a:lnTo>
                <a:cubicBezTo>
                  <a:pt x="300038" y="421005"/>
                  <a:pt x="300990" y="423863"/>
                  <a:pt x="299085" y="422910"/>
                </a:cubicBezTo>
                <a:lnTo>
                  <a:pt x="281940" y="422910"/>
                </a:lnTo>
                <a:lnTo>
                  <a:pt x="247650" y="422910"/>
                </a:lnTo>
                <a:lnTo>
                  <a:pt x="36195" y="422910"/>
                </a:lnTo>
                <a:lnTo>
                  <a:pt x="0" y="422910"/>
                </a:lnTo>
                <a:lnTo>
                  <a:pt x="0" y="524828"/>
                </a:lnTo>
                <a:lnTo>
                  <a:pt x="35242" y="524828"/>
                </a:lnTo>
                <a:lnTo>
                  <a:pt x="206692" y="524828"/>
                </a:lnTo>
                <a:lnTo>
                  <a:pt x="320992" y="524828"/>
                </a:lnTo>
                <a:lnTo>
                  <a:pt x="381000" y="524828"/>
                </a:lnTo>
                <a:lnTo>
                  <a:pt x="396240" y="524828"/>
                </a:lnTo>
                <a:lnTo>
                  <a:pt x="400050" y="524828"/>
                </a:lnTo>
                <a:lnTo>
                  <a:pt x="401955" y="524828"/>
                </a:lnTo>
                <a:cubicBezTo>
                  <a:pt x="401955" y="524828"/>
                  <a:pt x="401955" y="523875"/>
                  <a:pt x="401955" y="522923"/>
                </a:cubicBezTo>
                <a:lnTo>
                  <a:pt x="401955" y="515303"/>
                </a:lnTo>
                <a:lnTo>
                  <a:pt x="401955" y="483870"/>
                </a:lnTo>
                <a:lnTo>
                  <a:pt x="401955" y="203835"/>
                </a:lnTo>
                <a:lnTo>
                  <a:pt x="401955" y="197168"/>
                </a:lnTo>
                <a:lnTo>
                  <a:pt x="481013" y="197168"/>
                </a:lnTo>
                <a:lnTo>
                  <a:pt x="350520" y="0"/>
                </a:lnTo>
                <a:close/>
              </a:path>
            </a:pathLst>
          </a:custGeom>
          <a:solidFill>
            <a:srgbClr val="26314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10" name="Forma Livre: Forma 9">
            <a:extLst>
              <a:ext uri="{FF2B5EF4-FFF2-40B4-BE49-F238E27FC236}">
                <a16:creationId xmlns:a16="http://schemas.microsoft.com/office/drawing/2014/main" id="{7DD5F210-0D62-47A5-9FCE-1CAD92DEC98D}"/>
              </a:ext>
            </a:extLst>
          </p:cNvPr>
          <p:cNvSpPr/>
          <p:nvPr/>
        </p:nvSpPr>
        <p:spPr>
          <a:xfrm>
            <a:off x="587375" y="2112948"/>
            <a:ext cx="2399254" cy="1215919"/>
          </a:xfrm>
          <a:custGeom>
            <a:avLst/>
            <a:gdLst>
              <a:gd name="connsiteX0" fmla="*/ 129540 w 982027"/>
              <a:gd name="connsiteY0" fmla="*/ 454602 h 497682"/>
              <a:gd name="connsiteX1" fmla="*/ 259080 w 982027"/>
              <a:gd name="connsiteY1" fmla="*/ 256482 h 497682"/>
              <a:gd name="connsiteX2" fmla="*/ 180975 w 982027"/>
              <a:gd name="connsiteY2" fmla="*/ 256482 h 497682"/>
              <a:gd name="connsiteX3" fmla="*/ 181928 w 982027"/>
              <a:gd name="connsiteY3" fmla="*/ 236479 h 497682"/>
              <a:gd name="connsiteX4" fmla="*/ 184785 w 982027"/>
              <a:gd name="connsiteY4" fmla="*/ 218382 h 497682"/>
              <a:gd name="connsiteX5" fmla="*/ 196215 w 982027"/>
              <a:gd name="connsiteY5" fmla="*/ 184092 h 497682"/>
              <a:gd name="connsiteX6" fmla="*/ 204788 w 982027"/>
              <a:gd name="connsiteY6" fmla="*/ 167899 h 497682"/>
              <a:gd name="connsiteX7" fmla="*/ 209550 w 982027"/>
              <a:gd name="connsiteY7" fmla="*/ 160279 h 497682"/>
              <a:gd name="connsiteX8" fmla="*/ 213360 w 982027"/>
              <a:gd name="connsiteY8" fmla="*/ 155517 h 497682"/>
              <a:gd name="connsiteX9" fmla="*/ 220028 w 982027"/>
              <a:gd name="connsiteY9" fmla="*/ 147897 h 497682"/>
              <a:gd name="connsiteX10" fmla="*/ 234315 w 982027"/>
              <a:gd name="connsiteY10" fmla="*/ 134562 h 497682"/>
              <a:gd name="connsiteX11" fmla="*/ 303848 w 982027"/>
              <a:gd name="connsiteY11" fmla="*/ 101224 h 497682"/>
              <a:gd name="connsiteX12" fmla="*/ 381000 w 982027"/>
              <a:gd name="connsiteY12" fmla="*/ 107892 h 497682"/>
              <a:gd name="connsiteX13" fmla="*/ 444818 w 982027"/>
              <a:gd name="connsiteY13" fmla="*/ 151707 h 497682"/>
              <a:gd name="connsiteX14" fmla="*/ 477203 w 982027"/>
              <a:gd name="connsiteY14" fmla="*/ 221239 h 497682"/>
              <a:gd name="connsiteX15" fmla="*/ 479108 w 982027"/>
              <a:gd name="connsiteY15" fmla="*/ 240289 h 497682"/>
              <a:gd name="connsiteX16" fmla="*/ 481013 w 982027"/>
              <a:gd name="connsiteY16" fmla="*/ 267912 h 497682"/>
              <a:gd name="connsiteX17" fmla="*/ 495300 w 982027"/>
              <a:gd name="connsiteY17" fmla="*/ 331729 h 497682"/>
              <a:gd name="connsiteX18" fmla="*/ 569595 w 982027"/>
              <a:gd name="connsiteY18" fmla="*/ 438409 h 497682"/>
              <a:gd name="connsiteX19" fmla="*/ 686753 w 982027"/>
              <a:gd name="connsiteY19" fmla="*/ 493654 h 497682"/>
              <a:gd name="connsiteX20" fmla="*/ 816293 w 982027"/>
              <a:gd name="connsiteY20" fmla="*/ 482224 h 497682"/>
              <a:gd name="connsiteX21" fmla="*/ 922973 w 982027"/>
              <a:gd name="connsiteY21" fmla="*/ 407929 h 497682"/>
              <a:gd name="connsiteX22" fmla="*/ 978218 w 982027"/>
              <a:gd name="connsiteY22" fmla="*/ 290772 h 497682"/>
              <a:gd name="connsiteX23" fmla="*/ 981075 w 982027"/>
              <a:gd name="connsiteY23" fmla="*/ 268864 h 497682"/>
              <a:gd name="connsiteX24" fmla="*/ 982028 w 982027"/>
              <a:gd name="connsiteY24" fmla="*/ 246957 h 497682"/>
              <a:gd name="connsiteX25" fmla="*/ 877253 w 982027"/>
              <a:gd name="connsiteY25" fmla="*/ 246957 h 497682"/>
              <a:gd name="connsiteX26" fmla="*/ 876300 w 982027"/>
              <a:gd name="connsiteY26" fmla="*/ 262197 h 497682"/>
              <a:gd name="connsiteX27" fmla="*/ 874395 w 982027"/>
              <a:gd name="connsiteY27" fmla="*/ 275532 h 497682"/>
              <a:gd name="connsiteX28" fmla="*/ 842010 w 982027"/>
              <a:gd name="connsiteY28" fmla="*/ 345064 h 497682"/>
              <a:gd name="connsiteX29" fmla="*/ 779145 w 982027"/>
              <a:gd name="connsiteY29" fmla="*/ 388879 h 497682"/>
              <a:gd name="connsiteX30" fmla="*/ 701993 w 982027"/>
              <a:gd name="connsiteY30" fmla="*/ 395547 h 497682"/>
              <a:gd name="connsiteX31" fmla="*/ 632460 w 982027"/>
              <a:gd name="connsiteY31" fmla="*/ 363162 h 497682"/>
              <a:gd name="connsiteX32" fmla="*/ 588645 w 982027"/>
              <a:gd name="connsiteY32" fmla="*/ 300297 h 497682"/>
              <a:gd name="connsiteX33" fmla="*/ 580073 w 982027"/>
              <a:gd name="connsiteY33" fmla="*/ 262197 h 497682"/>
              <a:gd name="connsiteX34" fmla="*/ 579120 w 982027"/>
              <a:gd name="connsiteY34" fmla="*/ 237432 h 497682"/>
              <a:gd name="connsiteX35" fmla="*/ 575310 w 982027"/>
              <a:gd name="connsiteY35" fmla="*/ 205047 h 497682"/>
              <a:gd name="connsiteX36" fmla="*/ 520065 w 982027"/>
              <a:gd name="connsiteY36" fmla="*/ 87889 h 497682"/>
              <a:gd name="connsiteX37" fmla="*/ 413385 w 982027"/>
              <a:gd name="connsiteY37" fmla="*/ 14547 h 497682"/>
              <a:gd name="connsiteX38" fmla="*/ 283845 w 982027"/>
              <a:gd name="connsiteY38" fmla="*/ 4069 h 497682"/>
              <a:gd name="connsiteX39" fmla="*/ 166688 w 982027"/>
              <a:gd name="connsiteY39" fmla="*/ 59314 h 497682"/>
              <a:gd name="connsiteX40" fmla="*/ 142875 w 982027"/>
              <a:gd name="connsiteY40" fmla="*/ 82174 h 497682"/>
              <a:gd name="connsiteX41" fmla="*/ 132398 w 982027"/>
              <a:gd name="connsiteY41" fmla="*/ 94557 h 497682"/>
              <a:gd name="connsiteX42" fmla="*/ 126683 w 982027"/>
              <a:gd name="connsiteY42" fmla="*/ 102177 h 497682"/>
              <a:gd name="connsiteX43" fmla="*/ 118110 w 982027"/>
              <a:gd name="connsiteY43" fmla="*/ 114559 h 497682"/>
              <a:gd name="connsiteX44" fmla="*/ 103823 w 982027"/>
              <a:gd name="connsiteY44" fmla="*/ 141229 h 497682"/>
              <a:gd name="connsiteX45" fmla="*/ 83820 w 982027"/>
              <a:gd name="connsiteY45" fmla="*/ 198379 h 497682"/>
              <a:gd name="connsiteX46" fmla="*/ 80010 w 982027"/>
              <a:gd name="connsiteY46" fmla="*/ 228859 h 497682"/>
              <a:gd name="connsiteX47" fmla="*/ 79058 w 982027"/>
              <a:gd name="connsiteY47" fmla="*/ 257434 h 497682"/>
              <a:gd name="connsiteX48" fmla="*/ 0 w 982027"/>
              <a:gd name="connsiteY48" fmla="*/ 257434 h 497682"/>
              <a:gd name="connsiteX49" fmla="*/ 129540 w 982027"/>
              <a:gd name="connsiteY49" fmla="*/ 454602 h 497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982027" h="497682">
                <a:moveTo>
                  <a:pt x="129540" y="454602"/>
                </a:moveTo>
                <a:lnTo>
                  <a:pt x="259080" y="256482"/>
                </a:lnTo>
                <a:lnTo>
                  <a:pt x="180975" y="256482"/>
                </a:lnTo>
                <a:cubicBezTo>
                  <a:pt x="180975" y="247909"/>
                  <a:pt x="181928" y="243147"/>
                  <a:pt x="181928" y="236479"/>
                </a:cubicBezTo>
                <a:cubicBezTo>
                  <a:pt x="181928" y="230764"/>
                  <a:pt x="183833" y="225049"/>
                  <a:pt x="184785" y="218382"/>
                </a:cubicBezTo>
                <a:cubicBezTo>
                  <a:pt x="187643" y="206952"/>
                  <a:pt x="190500" y="195522"/>
                  <a:pt x="196215" y="184092"/>
                </a:cubicBezTo>
                <a:cubicBezTo>
                  <a:pt x="198120" y="178377"/>
                  <a:pt x="201930" y="173614"/>
                  <a:pt x="204788" y="167899"/>
                </a:cubicBezTo>
                <a:cubicBezTo>
                  <a:pt x="205740" y="165042"/>
                  <a:pt x="207645" y="163137"/>
                  <a:pt x="209550" y="160279"/>
                </a:cubicBezTo>
                <a:lnTo>
                  <a:pt x="213360" y="155517"/>
                </a:lnTo>
                <a:cubicBezTo>
                  <a:pt x="215265" y="152659"/>
                  <a:pt x="217170" y="150754"/>
                  <a:pt x="220028" y="147897"/>
                </a:cubicBezTo>
                <a:cubicBezTo>
                  <a:pt x="223838" y="143134"/>
                  <a:pt x="229553" y="138372"/>
                  <a:pt x="234315" y="134562"/>
                </a:cubicBezTo>
                <a:cubicBezTo>
                  <a:pt x="254318" y="117417"/>
                  <a:pt x="278130" y="105987"/>
                  <a:pt x="303848" y="101224"/>
                </a:cubicBezTo>
                <a:cubicBezTo>
                  <a:pt x="329565" y="96462"/>
                  <a:pt x="356235" y="98367"/>
                  <a:pt x="381000" y="107892"/>
                </a:cubicBezTo>
                <a:cubicBezTo>
                  <a:pt x="405765" y="116464"/>
                  <a:pt x="427673" y="131704"/>
                  <a:pt x="444818" y="151707"/>
                </a:cubicBezTo>
                <a:cubicBezTo>
                  <a:pt x="461010" y="171709"/>
                  <a:pt x="473393" y="195522"/>
                  <a:pt x="477203" y="221239"/>
                </a:cubicBezTo>
                <a:cubicBezTo>
                  <a:pt x="478155" y="227907"/>
                  <a:pt x="479108" y="233622"/>
                  <a:pt x="479108" y="240289"/>
                </a:cubicBezTo>
                <a:lnTo>
                  <a:pt x="481013" y="267912"/>
                </a:lnTo>
                <a:cubicBezTo>
                  <a:pt x="482918" y="289819"/>
                  <a:pt x="487680" y="311727"/>
                  <a:pt x="495300" y="331729"/>
                </a:cubicBezTo>
                <a:cubicBezTo>
                  <a:pt x="509588" y="372687"/>
                  <a:pt x="536258" y="409834"/>
                  <a:pt x="569595" y="438409"/>
                </a:cubicBezTo>
                <a:cubicBezTo>
                  <a:pt x="602933" y="466032"/>
                  <a:pt x="643890" y="486034"/>
                  <a:pt x="686753" y="493654"/>
                </a:cubicBezTo>
                <a:cubicBezTo>
                  <a:pt x="729615" y="501274"/>
                  <a:pt x="774383" y="498417"/>
                  <a:pt x="816293" y="482224"/>
                </a:cubicBezTo>
                <a:cubicBezTo>
                  <a:pt x="857250" y="467937"/>
                  <a:pt x="894398" y="441267"/>
                  <a:pt x="922973" y="407929"/>
                </a:cubicBezTo>
                <a:cubicBezTo>
                  <a:pt x="950595" y="374592"/>
                  <a:pt x="970598" y="333634"/>
                  <a:pt x="978218" y="290772"/>
                </a:cubicBezTo>
                <a:cubicBezTo>
                  <a:pt x="979170" y="283152"/>
                  <a:pt x="981075" y="276484"/>
                  <a:pt x="981075" y="268864"/>
                </a:cubicBezTo>
                <a:lnTo>
                  <a:pt x="982028" y="246957"/>
                </a:lnTo>
                <a:lnTo>
                  <a:pt x="877253" y="246957"/>
                </a:lnTo>
                <a:lnTo>
                  <a:pt x="876300" y="262197"/>
                </a:lnTo>
                <a:cubicBezTo>
                  <a:pt x="876300" y="266959"/>
                  <a:pt x="875348" y="270769"/>
                  <a:pt x="874395" y="275532"/>
                </a:cubicBezTo>
                <a:cubicBezTo>
                  <a:pt x="870585" y="301249"/>
                  <a:pt x="858203" y="325062"/>
                  <a:pt x="842010" y="345064"/>
                </a:cubicBezTo>
                <a:cubicBezTo>
                  <a:pt x="824865" y="365067"/>
                  <a:pt x="802958" y="380307"/>
                  <a:pt x="779145" y="388879"/>
                </a:cubicBezTo>
                <a:cubicBezTo>
                  <a:pt x="755333" y="398404"/>
                  <a:pt x="727710" y="399357"/>
                  <a:pt x="701993" y="395547"/>
                </a:cubicBezTo>
                <a:cubicBezTo>
                  <a:pt x="676275" y="391737"/>
                  <a:pt x="652463" y="379354"/>
                  <a:pt x="632460" y="363162"/>
                </a:cubicBezTo>
                <a:cubicBezTo>
                  <a:pt x="612458" y="346017"/>
                  <a:pt x="597218" y="324109"/>
                  <a:pt x="588645" y="300297"/>
                </a:cubicBezTo>
                <a:cubicBezTo>
                  <a:pt x="583883" y="287914"/>
                  <a:pt x="581978" y="275532"/>
                  <a:pt x="580073" y="262197"/>
                </a:cubicBezTo>
                <a:lnTo>
                  <a:pt x="579120" y="237432"/>
                </a:lnTo>
                <a:cubicBezTo>
                  <a:pt x="579120" y="226954"/>
                  <a:pt x="577215" y="215524"/>
                  <a:pt x="575310" y="205047"/>
                </a:cubicBezTo>
                <a:cubicBezTo>
                  <a:pt x="567690" y="162184"/>
                  <a:pt x="547688" y="121227"/>
                  <a:pt x="520065" y="87889"/>
                </a:cubicBezTo>
                <a:cubicBezTo>
                  <a:pt x="491490" y="54551"/>
                  <a:pt x="455295" y="28834"/>
                  <a:pt x="413385" y="14547"/>
                </a:cubicBezTo>
                <a:cubicBezTo>
                  <a:pt x="372428" y="-693"/>
                  <a:pt x="327660" y="-3551"/>
                  <a:pt x="283845" y="4069"/>
                </a:cubicBezTo>
                <a:cubicBezTo>
                  <a:pt x="240983" y="11689"/>
                  <a:pt x="200025" y="31692"/>
                  <a:pt x="166688" y="59314"/>
                </a:cubicBezTo>
                <a:cubicBezTo>
                  <a:pt x="158115" y="66934"/>
                  <a:pt x="150495" y="73602"/>
                  <a:pt x="142875" y="82174"/>
                </a:cubicBezTo>
                <a:cubicBezTo>
                  <a:pt x="139065" y="85984"/>
                  <a:pt x="135255" y="89794"/>
                  <a:pt x="132398" y="94557"/>
                </a:cubicBezTo>
                <a:lnTo>
                  <a:pt x="126683" y="102177"/>
                </a:lnTo>
                <a:cubicBezTo>
                  <a:pt x="123825" y="105987"/>
                  <a:pt x="120968" y="109797"/>
                  <a:pt x="118110" y="114559"/>
                </a:cubicBezTo>
                <a:cubicBezTo>
                  <a:pt x="112395" y="123132"/>
                  <a:pt x="107633" y="131704"/>
                  <a:pt x="103823" y="141229"/>
                </a:cubicBezTo>
                <a:cubicBezTo>
                  <a:pt x="94298" y="159327"/>
                  <a:pt x="88583" y="179329"/>
                  <a:pt x="83820" y="198379"/>
                </a:cubicBezTo>
                <a:cubicBezTo>
                  <a:pt x="81915" y="207904"/>
                  <a:pt x="80010" y="218382"/>
                  <a:pt x="80010" y="228859"/>
                </a:cubicBezTo>
                <a:cubicBezTo>
                  <a:pt x="79058" y="238384"/>
                  <a:pt x="79058" y="249814"/>
                  <a:pt x="79058" y="257434"/>
                </a:cubicBezTo>
                <a:lnTo>
                  <a:pt x="0" y="257434"/>
                </a:lnTo>
                <a:lnTo>
                  <a:pt x="129540" y="454602"/>
                </a:lnTo>
                <a:close/>
              </a:path>
            </a:pathLst>
          </a:custGeom>
          <a:solidFill>
            <a:srgbClr val="26314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11" name="Forma Livre: Forma 10">
            <a:extLst>
              <a:ext uri="{FF2B5EF4-FFF2-40B4-BE49-F238E27FC236}">
                <a16:creationId xmlns:a16="http://schemas.microsoft.com/office/drawing/2014/main" id="{43D2B71B-B0D0-4372-831C-CB16D9710773}"/>
              </a:ext>
            </a:extLst>
          </p:cNvPr>
          <p:cNvSpPr/>
          <p:nvPr/>
        </p:nvSpPr>
        <p:spPr>
          <a:xfrm>
            <a:off x="4293447" y="2083327"/>
            <a:ext cx="1861692" cy="1336964"/>
          </a:xfrm>
          <a:custGeom>
            <a:avLst/>
            <a:gdLst>
              <a:gd name="connsiteX0" fmla="*/ 129540 w 762000"/>
              <a:gd name="connsiteY0" fmla="*/ 0 h 547226"/>
              <a:gd name="connsiteX1" fmla="*/ 0 w 762000"/>
              <a:gd name="connsiteY1" fmla="*/ 198120 h 547226"/>
              <a:gd name="connsiteX2" fmla="*/ 79057 w 762000"/>
              <a:gd name="connsiteY2" fmla="*/ 198120 h 547226"/>
              <a:gd name="connsiteX3" fmla="*/ 80010 w 762000"/>
              <a:gd name="connsiteY3" fmla="*/ 224790 h 547226"/>
              <a:gd name="connsiteX4" fmla="*/ 82867 w 762000"/>
              <a:gd name="connsiteY4" fmla="*/ 253365 h 547226"/>
              <a:gd name="connsiteX5" fmla="*/ 87630 w 762000"/>
              <a:gd name="connsiteY5" fmla="*/ 280988 h 547226"/>
              <a:gd name="connsiteX6" fmla="*/ 95250 w 762000"/>
              <a:gd name="connsiteY6" fmla="*/ 308610 h 547226"/>
              <a:gd name="connsiteX7" fmla="*/ 104775 w 762000"/>
              <a:gd name="connsiteY7" fmla="*/ 335280 h 547226"/>
              <a:gd name="connsiteX8" fmla="*/ 110490 w 762000"/>
              <a:gd name="connsiteY8" fmla="*/ 348615 h 547226"/>
              <a:gd name="connsiteX9" fmla="*/ 118110 w 762000"/>
              <a:gd name="connsiteY9" fmla="*/ 363855 h 547226"/>
              <a:gd name="connsiteX10" fmla="*/ 128588 w 762000"/>
              <a:gd name="connsiteY10" fmla="*/ 381953 h 547226"/>
              <a:gd name="connsiteX11" fmla="*/ 180022 w 762000"/>
              <a:gd name="connsiteY11" fmla="*/ 448628 h 547226"/>
              <a:gd name="connsiteX12" fmla="*/ 195263 w 762000"/>
              <a:gd name="connsiteY12" fmla="*/ 462915 h 547226"/>
              <a:gd name="connsiteX13" fmla="*/ 202883 w 762000"/>
              <a:gd name="connsiteY13" fmla="*/ 469583 h 547226"/>
              <a:gd name="connsiteX14" fmla="*/ 211455 w 762000"/>
              <a:gd name="connsiteY14" fmla="*/ 476250 h 547226"/>
              <a:gd name="connsiteX15" fmla="*/ 228600 w 762000"/>
              <a:gd name="connsiteY15" fmla="*/ 488633 h 547226"/>
              <a:gd name="connsiteX16" fmla="*/ 246697 w 762000"/>
              <a:gd name="connsiteY16" fmla="*/ 500063 h 547226"/>
              <a:gd name="connsiteX17" fmla="*/ 571500 w 762000"/>
              <a:gd name="connsiteY17" fmla="*/ 512445 h 547226"/>
              <a:gd name="connsiteX18" fmla="*/ 699135 w 762000"/>
              <a:gd name="connsiteY18" fmla="*/ 403860 h 547226"/>
              <a:gd name="connsiteX19" fmla="*/ 759143 w 762000"/>
              <a:gd name="connsiteY19" fmla="*/ 247650 h 547226"/>
              <a:gd name="connsiteX20" fmla="*/ 762000 w 762000"/>
              <a:gd name="connsiteY20" fmla="*/ 206693 h 547226"/>
              <a:gd name="connsiteX21" fmla="*/ 660083 w 762000"/>
              <a:gd name="connsiteY21" fmla="*/ 206693 h 547226"/>
              <a:gd name="connsiteX22" fmla="*/ 658177 w 762000"/>
              <a:gd name="connsiteY22" fmla="*/ 235268 h 547226"/>
              <a:gd name="connsiteX23" fmla="*/ 616268 w 762000"/>
              <a:gd name="connsiteY23" fmla="*/ 344805 h 547226"/>
              <a:gd name="connsiteX24" fmla="*/ 526733 w 762000"/>
              <a:gd name="connsiteY24" fmla="*/ 421005 h 547226"/>
              <a:gd name="connsiteX25" fmla="*/ 513397 w 762000"/>
              <a:gd name="connsiteY25" fmla="*/ 427673 h 547226"/>
              <a:gd name="connsiteX26" fmla="*/ 499110 w 762000"/>
              <a:gd name="connsiteY26" fmla="*/ 432435 h 547226"/>
              <a:gd name="connsiteX27" fmla="*/ 470535 w 762000"/>
              <a:gd name="connsiteY27" fmla="*/ 441008 h 547226"/>
              <a:gd name="connsiteX28" fmla="*/ 441008 w 762000"/>
              <a:gd name="connsiteY28" fmla="*/ 444818 h 547226"/>
              <a:gd name="connsiteX29" fmla="*/ 411480 w 762000"/>
              <a:gd name="connsiteY29" fmla="*/ 445770 h 547226"/>
              <a:gd name="connsiteX30" fmla="*/ 299085 w 762000"/>
              <a:gd name="connsiteY30" fmla="*/ 412433 h 547226"/>
              <a:gd name="connsiteX31" fmla="*/ 286702 w 762000"/>
              <a:gd name="connsiteY31" fmla="*/ 404813 h 547226"/>
              <a:gd name="connsiteX32" fmla="*/ 275272 w 762000"/>
              <a:gd name="connsiteY32" fmla="*/ 396240 h 547226"/>
              <a:gd name="connsiteX33" fmla="*/ 269558 w 762000"/>
              <a:gd name="connsiteY33" fmla="*/ 391478 h 547226"/>
              <a:gd name="connsiteX34" fmla="*/ 263842 w 762000"/>
              <a:gd name="connsiteY34" fmla="*/ 386715 h 547226"/>
              <a:gd name="connsiteX35" fmla="*/ 252413 w 762000"/>
              <a:gd name="connsiteY35" fmla="*/ 377190 h 547226"/>
              <a:gd name="connsiteX36" fmla="*/ 216217 w 762000"/>
              <a:gd name="connsiteY36" fmla="*/ 330518 h 547226"/>
              <a:gd name="connsiteX37" fmla="*/ 208597 w 762000"/>
              <a:gd name="connsiteY37" fmla="*/ 317183 h 547226"/>
              <a:gd name="connsiteX38" fmla="*/ 202883 w 762000"/>
              <a:gd name="connsiteY38" fmla="*/ 305753 h 547226"/>
              <a:gd name="connsiteX39" fmla="*/ 199072 w 762000"/>
              <a:gd name="connsiteY39" fmla="*/ 296228 h 547226"/>
              <a:gd name="connsiteX40" fmla="*/ 192405 w 762000"/>
              <a:gd name="connsiteY40" fmla="*/ 277178 h 547226"/>
              <a:gd name="connsiteX41" fmla="*/ 187642 w 762000"/>
              <a:gd name="connsiteY41" fmla="*/ 258128 h 547226"/>
              <a:gd name="connsiteX42" fmla="*/ 183833 w 762000"/>
              <a:gd name="connsiteY42" fmla="*/ 238125 h 547226"/>
              <a:gd name="connsiteX43" fmla="*/ 181927 w 762000"/>
              <a:gd name="connsiteY43" fmla="*/ 218123 h 547226"/>
              <a:gd name="connsiteX44" fmla="*/ 180975 w 762000"/>
              <a:gd name="connsiteY44" fmla="*/ 196215 h 547226"/>
              <a:gd name="connsiteX45" fmla="*/ 260033 w 762000"/>
              <a:gd name="connsiteY45" fmla="*/ 196215 h 547226"/>
              <a:gd name="connsiteX46" fmla="*/ 129540 w 762000"/>
              <a:gd name="connsiteY46" fmla="*/ 0 h 547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762000" h="547226">
                <a:moveTo>
                  <a:pt x="129540" y="0"/>
                </a:moveTo>
                <a:lnTo>
                  <a:pt x="0" y="198120"/>
                </a:lnTo>
                <a:lnTo>
                  <a:pt x="79057" y="198120"/>
                </a:lnTo>
                <a:cubicBezTo>
                  <a:pt x="79057" y="205740"/>
                  <a:pt x="79057" y="215265"/>
                  <a:pt x="80010" y="224790"/>
                </a:cubicBezTo>
                <a:cubicBezTo>
                  <a:pt x="80010" y="234315"/>
                  <a:pt x="80963" y="243840"/>
                  <a:pt x="82867" y="253365"/>
                </a:cubicBezTo>
                <a:cubicBezTo>
                  <a:pt x="84772" y="262890"/>
                  <a:pt x="85725" y="272415"/>
                  <a:pt x="87630" y="280988"/>
                </a:cubicBezTo>
                <a:lnTo>
                  <a:pt x="95250" y="308610"/>
                </a:lnTo>
                <a:lnTo>
                  <a:pt x="104775" y="335280"/>
                </a:lnTo>
                <a:cubicBezTo>
                  <a:pt x="106680" y="340043"/>
                  <a:pt x="108585" y="343853"/>
                  <a:pt x="110490" y="348615"/>
                </a:cubicBezTo>
                <a:lnTo>
                  <a:pt x="118110" y="363855"/>
                </a:lnTo>
                <a:cubicBezTo>
                  <a:pt x="120967" y="370523"/>
                  <a:pt x="124777" y="376238"/>
                  <a:pt x="128588" y="381953"/>
                </a:cubicBezTo>
                <a:cubicBezTo>
                  <a:pt x="142875" y="406718"/>
                  <a:pt x="160972" y="427673"/>
                  <a:pt x="180022" y="448628"/>
                </a:cubicBezTo>
                <a:lnTo>
                  <a:pt x="195263" y="462915"/>
                </a:lnTo>
                <a:lnTo>
                  <a:pt x="202883" y="469583"/>
                </a:lnTo>
                <a:lnTo>
                  <a:pt x="211455" y="476250"/>
                </a:lnTo>
                <a:lnTo>
                  <a:pt x="228600" y="488633"/>
                </a:lnTo>
                <a:lnTo>
                  <a:pt x="246697" y="500063"/>
                </a:lnTo>
                <a:cubicBezTo>
                  <a:pt x="343852" y="558165"/>
                  <a:pt x="469583" y="562928"/>
                  <a:pt x="571500" y="512445"/>
                </a:cubicBezTo>
                <a:cubicBezTo>
                  <a:pt x="621983" y="487680"/>
                  <a:pt x="665797" y="449580"/>
                  <a:pt x="699135" y="403860"/>
                </a:cubicBezTo>
                <a:cubicBezTo>
                  <a:pt x="732472" y="358140"/>
                  <a:pt x="752475" y="303848"/>
                  <a:pt x="759143" y="247650"/>
                </a:cubicBezTo>
                <a:cubicBezTo>
                  <a:pt x="761047" y="234315"/>
                  <a:pt x="761047" y="220028"/>
                  <a:pt x="762000" y="206693"/>
                </a:cubicBezTo>
                <a:lnTo>
                  <a:pt x="660083" y="206693"/>
                </a:lnTo>
                <a:cubicBezTo>
                  <a:pt x="659130" y="216218"/>
                  <a:pt x="659130" y="225743"/>
                  <a:pt x="658177" y="235268"/>
                </a:cubicBezTo>
                <a:cubicBezTo>
                  <a:pt x="653415" y="274320"/>
                  <a:pt x="639127" y="312420"/>
                  <a:pt x="616268" y="344805"/>
                </a:cubicBezTo>
                <a:cubicBezTo>
                  <a:pt x="593408" y="377190"/>
                  <a:pt x="562927" y="403860"/>
                  <a:pt x="526733" y="421005"/>
                </a:cubicBezTo>
                <a:lnTo>
                  <a:pt x="513397" y="427673"/>
                </a:lnTo>
                <a:lnTo>
                  <a:pt x="499110" y="432435"/>
                </a:lnTo>
                <a:cubicBezTo>
                  <a:pt x="489585" y="436245"/>
                  <a:pt x="480060" y="438150"/>
                  <a:pt x="470535" y="441008"/>
                </a:cubicBezTo>
                <a:cubicBezTo>
                  <a:pt x="461010" y="442913"/>
                  <a:pt x="451485" y="444818"/>
                  <a:pt x="441008" y="444818"/>
                </a:cubicBezTo>
                <a:cubicBezTo>
                  <a:pt x="431483" y="444818"/>
                  <a:pt x="421005" y="446723"/>
                  <a:pt x="411480" y="445770"/>
                </a:cubicBezTo>
                <a:cubicBezTo>
                  <a:pt x="371475" y="443865"/>
                  <a:pt x="332422" y="433388"/>
                  <a:pt x="299085" y="412433"/>
                </a:cubicBezTo>
                <a:lnTo>
                  <a:pt x="286702" y="404813"/>
                </a:lnTo>
                <a:lnTo>
                  <a:pt x="275272" y="396240"/>
                </a:lnTo>
                <a:lnTo>
                  <a:pt x="269558" y="391478"/>
                </a:lnTo>
                <a:lnTo>
                  <a:pt x="263842" y="386715"/>
                </a:lnTo>
                <a:lnTo>
                  <a:pt x="252413" y="377190"/>
                </a:lnTo>
                <a:cubicBezTo>
                  <a:pt x="239077" y="362903"/>
                  <a:pt x="225742" y="347663"/>
                  <a:pt x="216217" y="330518"/>
                </a:cubicBezTo>
                <a:cubicBezTo>
                  <a:pt x="213360" y="325755"/>
                  <a:pt x="210502" y="321945"/>
                  <a:pt x="208597" y="317183"/>
                </a:cubicBezTo>
                <a:lnTo>
                  <a:pt x="202883" y="305753"/>
                </a:lnTo>
                <a:cubicBezTo>
                  <a:pt x="201930" y="302895"/>
                  <a:pt x="200025" y="300038"/>
                  <a:pt x="199072" y="296228"/>
                </a:cubicBezTo>
                <a:lnTo>
                  <a:pt x="192405" y="277178"/>
                </a:lnTo>
                <a:lnTo>
                  <a:pt x="187642" y="258128"/>
                </a:lnTo>
                <a:cubicBezTo>
                  <a:pt x="185738" y="251460"/>
                  <a:pt x="185738" y="244793"/>
                  <a:pt x="183833" y="238125"/>
                </a:cubicBezTo>
                <a:cubicBezTo>
                  <a:pt x="182880" y="231458"/>
                  <a:pt x="181927" y="224790"/>
                  <a:pt x="181927" y="218123"/>
                </a:cubicBezTo>
                <a:cubicBezTo>
                  <a:pt x="181927" y="211455"/>
                  <a:pt x="180975" y="205740"/>
                  <a:pt x="180975" y="196215"/>
                </a:cubicBezTo>
                <a:lnTo>
                  <a:pt x="260033" y="196215"/>
                </a:lnTo>
                <a:lnTo>
                  <a:pt x="129540" y="0"/>
                </a:lnTo>
                <a:close/>
              </a:path>
            </a:pathLst>
          </a:custGeom>
          <a:solidFill>
            <a:srgbClr val="26314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12" name="Forma Livre: Forma 11">
            <a:extLst>
              <a:ext uri="{FF2B5EF4-FFF2-40B4-BE49-F238E27FC236}">
                <a16:creationId xmlns:a16="http://schemas.microsoft.com/office/drawing/2014/main" id="{547DC387-5EEA-4DC4-9AFC-1DACF42BE179}"/>
              </a:ext>
            </a:extLst>
          </p:cNvPr>
          <p:cNvSpPr/>
          <p:nvPr/>
        </p:nvSpPr>
        <p:spPr>
          <a:xfrm>
            <a:off x="7461957" y="2108926"/>
            <a:ext cx="1338090" cy="1279913"/>
          </a:xfrm>
          <a:custGeom>
            <a:avLst/>
            <a:gdLst>
              <a:gd name="connsiteX0" fmla="*/ 129540 w 547687"/>
              <a:gd name="connsiteY0" fmla="*/ 523875 h 523875"/>
              <a:gd name="connsiteX1" fmla="*/ 259080 w 547687"/>
              <a:gd name="connsiteY1" fmla="*/ 325755 h 523875"/>
              <a:gd name="connsiteX2" fmla="*/ 180022 w 547687"/>
              <a:gd name="connsiteY2" fmla="*/ 325755 h 523875"/>
              <a:gd name="connsiteX3" fmla="*/ 180022 w 547687"/>
              <a:gd name="connsiteY3" fmla="*/ 193357 h 523875"/>
              <a:gd name="connsiteX4" fmla="*/ 180022 w 547687"/>
              <a:gd name="connsiteY4" fmla="*/ 120015 h 523875"/>
              <a:gd name="connsiteX5" fmla="*/ 180022 w 547687"/>
              <a:gd name="connsiteY5" fmla="*/ 101917 h 523875"/>
              <a:gd name="connsiteX6" fmla="*/ 198120 w 547687"/>
              <a:gd name="connsiteY6" fmla="*/ 101917 h 523875"/>
              <a:gd name="connsiteX7" fmla="*/ 234315 w 547687"/>
              <a:gd name="connsiteY7" fmla="*/ 101917 h 523875"/>
              <a:gd name="connsiteX8" fmla="*/ 421957 w 547687"/>
              <a:gd name="connsiteY8" fmla="*/ 101917 h 523875"/>
              <a:gd name="connsiteX9" fmla="*/ 440055 w 547687"/>
              <a:gd name="connsiteY9" fmla="*/ 101917 h 523875"/>
              <a:gd name="connsiteX10" fmla="*/ 444817 w 547687"/>
              <a:gd name="connsiteY10" fmla="*/ 101917 h 523875"/>
              <a:gd name="connsiteX11" fmla="*/ 445770 w 547687"/>
              <a:gd name="connsiteY11" fmla="*/ 101917 h 523875"/>
              <a:gd name="connsiteX12" fmla="*/ 445770 w 547687"/>
              <a:gd name="connsiteY12" fmla="*/ 102870 h 523875"/>
              <a:gd name="connsiteX13" fmla="*/ 445770 w 547687"/>
              <a:gd name="connsiteY13" fmla="*/ 104775 h 523875"/>
              <a:gd name="connsiteX14" fmla="*/ 445770 w 547687"/>
              <a:gd name="connsiteY14" fmla="*/ 114300 h 523875"/>
              <a:gd name="connsiteX15" fmla="*/ 445770 w 547687"/>
              <a:gd name="connsiteY15" fmla="*/ 150495 h 523875"/>
              <a:gd name="connsiteX16" fmla="*/ 445770 w 547687"/>
              <a:gd name="connsiteY16" fmla="*/ 250507 h 523875"/>
              <a:gd name="connsiteX17" fmla="*/ 445770 w 547687"/>
              <a:gd name="connsiteY17" fmla="*/ 488632 h 523875"/>
              <a:gd name="connsiteX18" fmla="*/ 445770 w 547687"/>
              <a:gd name="connsiteY18" fmla="*/ 523875 h 523875"/>
              <a:gd name="connsiteX19" fmla="*/ 547688 w 547687"/>
              <a:gd name="connsiteY19" fmla="*/ 523875 h 523875"/>
              <a:gd name="connsiteX20" fmla="*/ 547688 w 547687"/>
              <a:gd name="connsiteY20" fmla="*/ 488632 h 523875"/>
              <a:gd name="connsiteX21" fmla="*/ 547688 w 547687"/>
              <a:gd name="connsiteY21" fmla="*/ 250507 h 523875"/>
              <a:gd name="connsiteX22" fmla="*/ 547688 w 547687"/>
              <a:gd name="connsiteY22" fmla="*/ 111442 h 523875"/>
              <a:gd name="connsiteX23" fmla="*/ 547688 w 547687"/>
              <a:gd name="connsiteY23" fmla="*/ 28575 h 523875"/>
              <a:gd name="connsiteX24" fmla="*/ 547688 w 547687"/>
              <a:gd name="connsiteY24" fmla="*/ 7620 h 523875"/>
              <a:gd name="connsiteX25" fmla="*/ 547688 w 547687"/>
              <a:gd name="connsiteY25" fmla="*/ 2857 h 523875"/>
              <a:gd name="connsiteX26" fmla="*/ 547688 w 547687"/>
              <a:gd name="connsiteY26" fmla="*/ 0 h 523875"/>
              <a:gd name="connsiteX27" fmla="*/ 544830 w 547687"/>
              <a:gd name="connsiteY27" fmla="*/ 0 h 523875"/>
              <a:gd name="connsiteX28" fmla="*/ 534352 w 547687"/>
              <a:gd name="connsiteY28" fmla="*/ 0 h 523875"/>
              <a:gd name="connsiteX29" fmla="*/ 493395 w 547687"/>
              <a:gd name="connsiteY29" fmla="*/ 0 h 523875"/>
              <a:gd name="connsiteX30" fmla="*/ 203835 w 547687"/>
              <a:gd name="connsiteY30" fmla="*/ 0 h 523875"/>
              <a:gd name="connsiteX31" fmla="*/ 120967 w 547687"/>
              <a:gd name="connsiteY31" fmla="*/ 0 h 523875"/>
              <a:gd name="connsiteX32" fmla="*/ 80010 w 547687"/>
              <a:gd name="connsiteY32" fmla="*/ 0 h 523875"/>
              <a:gd name="connsiteX33" fmla="*/ 79057 w 547687"/>
              <a:gd name="connsiteY33" fmla="*/ 0 h 523875"/>
              <a:gd name="connsiteX34" fmla="*/ 79057 w 547687"/>
              <a:gd name="connsiteY34" fmla="*/ 952 h 523875"/>
              <a:gd name="connsiteX35" fmla="*/ 79057 w 547687"/>
              <a:gd name="connsiteY35" fmla="*/ 3810 h 523875"/>
              <a:gd name="connsiteX36" fmla="*/ 79057 w 547687"/>
              <a:gd name="connsiteY36" fmla="*/ 8572 h 523875"/>
              <a:gd name="connsiteX37" fmla="*/ 79057 w 547687"/>
              <a:gd name="connsiteY37" fmla="*/ 19050 h 523875"/>
              <a:gd name="connsiteX38" fmla="*/ 79057 w 547687"/>
              <a:gd name="connsiteY38" fmla="*/ 40005 h 523875"/>
              <a:gd name="connsiteX39" fmla="*/ 79057 w 547687"/>
              <a:gd name="connsiteY39" fmla="*/ 192405 h 523875"/>
              <a:gd name="connsiteX40" fmla="*/ 79057 w 547687"/>
              <a:gd name="connsiteY40" fmla="*/ 324803 h 523875"/>
              <a:gd name="connsiteX41" fmla="*/ 0 w 547687"/>
              <a:gd name="connsiteY41" fmla="*/ 324803 h 523875"/>
              <a:gd name="connsiteX42" fmla="*/ 129540 w 547687"/>
              <a:gd name="connsiteY42" fmla="*/ 523875 h 52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547687" h="523875">
                <a:moveTo>
                  <a:pt x="129540" y="523875"/>
                </a:moveTo>
                <a:lnTo>
                  <a:pt x="259080" y="325755"/>
                </a:lnTo>
                <a:lnTo>
                  <a:pt x="180022" y="325755"/>
                </a:lnTo>
                <a:lnTo>
                  <a:pt x="180022" y="193357"/>
                </a:lnTo>
                <a:lnTo>
                  <a:pt x="180022" y="120015"/>
                </a:lnTo>
                <a:cubicBezTo>
                  <a:pt x="180022" y="114300"/>
                  <a:pt x="180022" y="107632"/>
                  <a:pt x="180022" y="101917"/>
                </a:cubicBezTo>
                <a:lnTo>
                  <a:pt x="198120" y="101917"/>
                </a:lnTo>
                <a:lnTo>
                  <a:pt x="234315" y="101917"/>
                </a:lnTo>
                <a:lnTo>
                  <a:pt x="421957" y="101917"/>
                </a:lnTo>
                <a:lnTo>
                  <a:pt x="440055" y="101917"/>
                </a:lnTo>
                <a:lnTo>
                  <a:pt x="444817" y="101917"/>
                </a:lnTo>
                <a:cubicBezTo>
                  <a:pt x="444817" y="101917"/>
                  <a:pt x="445770" y="101917"/>
                  <a:pt x="445770" y="101917"/>
                </a:cubicBezTo>
                <a:lnTo>
                  <a:pt x="445770" y="102870"/>
                </a:lnTo>
                <a:lnTo>
                  <a:pt x="445770" y="104775"/>
                </a:lnTo>
                <a:lnTo>
                  <a:pt x="445770" y="114300"/>
                </a:lnTo>
                <a:lnTo>
                  <a:pt x="445770" y="150495"/>
                </a:lnTo>
                <a:lnTo>
                  <a:pt x="445770" y="250507"/>
                </a:lnTo>
                <a:lnTo>
                  <a:pt x="445770" y="488632"/>
                </a:lnTo>
                <a:lnTo>
                  <a:pt x="445770" y="523875"/>
                </a:lnTo>
                <a:lnTo>
                  <a:pt x="547688" y="523875"/>
                </a:lnTo>
                <a:lnTo>
                  <a:pt x="547688" y="488632"/>
                </a:lnTo>
                <a:lnTo>
                  <a:pt x="547688" y="250507"/>
                </a:lnTo>
                <a:lnTo>
                  <a:pt x="547688" y="111442"/>
                </a:lnTo>
                <a:lnTo>
                  <a:pt x="547688" y="28575"/>
                </a:lnTo>
                <a:lnTo>
                  <a:pt x="547688" y="7620"/>
                </a:lnTo>
                <a:lnTo>
                  <a:pt x="547688" y="2857"/>
                </a:lnTo>
                <a:lnTo>
                  <a:pt x="547688" y="0"/>
                </a:lnTo>
                <a:cubicBezTo>
                  <a:pt x="546735" y="0"/>
                  <a:pt x="545782" y="0"/>
                  <a:pt x="544830" y="0"/>
                </a:cubicBezTo>
                <a:lnTo>
                  <a:pt x="534352" y="0"/>
                </a:lnTo>
                <a:lnTo>
                  <a:pt x="493395" y="0"/>
                </a:lnTo>
                <a:lnTo>
                  <a:pt x="203835" y="0"/>
                </a:lnTo>
                <a:lnTo>
                  <a:pt x="120967" y="0"/>
                </a:lnTo>
                <a:lnTo>
                  <a:pt x="80010" y="0"/>
                </a:lnTo>
                <a:cubicBezTo>
                  <a:pt x="80010" y="0"/>
                  <a:pt x="79057" y="0"/>
                  <a:pt x="79057" y="0"/>
                </a:cubicBezTo>
                <a:lnTo>
                  <a:pt x="79057" y="952"/>
                </a:lnTo>
                <a:lnTo>
                  <a:pt x="79057" y="3810"/>
                </a:lnTo>
                <a:lnTo>
                  <a:pt x="79057" y="8572"/>
                </a:lnTo>
                <a:lnTo>
                  <a:pt x="79057" y="19050"/>
                </a:lnTo>
                <a:lnTo>
                  <a:pt x="79057" y="40005"/>
                </a:lnTo>
                <a:lnTo>
                  <a:pt x="79057" y="192405"/>
                </a:lnTo>
                <a:lnTo>
                  <a:pt x="79057" y="324803"/>
                </a:lnTo>
                <a:lnTo>
                  <a:pt x="0" y="324803"/>
                </a:lnTo>
                <a:lnTo>
                  <a:pt x="129540" y="523875"/>
                </a:lnTo>
                <a:close/>
              </a:path>
            </a:pathLst>
          </a:custGeom>
          <a:solidFill>
            <a:srgbClr val="26314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13" name="Forma Livre: Forma 12">
            <a:extLst>
              <a:ext uri="{FF2B5EF4-FFF2-40B4-BE49-F238E27FC236}">
                <a16:creationId xmlns:a16="http://schemas.microsoft.com/office/drawing/2014/main" id="{A373B21C-1215-4F87-B16A-BA2FBA7DFD48}"/>
              </a:ext>
            </a:extLst>
          </p:cNvPr>
          <p:cNvSpPr/>
          <p:nvPr/>
        </p:nvSpPr>
        <p:spPr>
          <a:xfrm>
            <a:off x="3667453" y="3605262"/>
            <a:ext cx="1338090" cy="1278618"/>
          </a:xfrm>
          <a:custGeom>
            <a:avLst/>
            <a:gdLst>
              <a:gd name="connsiteX0" fmla="*/ 419100 w 547687"/>
              <a:gd name="connsiteY0" fmla="*/ 952 h 523345"/>
              <a:gd name="connsiteX1" fmla="*/ 289560 w 547687"/>
              <a:gd name="connsiteY1" fmla="*/ 199072 h 523345"/>
              <a:gd name="connsiteX2" fmla="*/ 368618 w 547687"/>
              <a:gd name="connsiteY2" fmla="*/ 199072 h 523345"/>
              <a:gd name="connsiteX3" fmla="*/ 368618 w 547687"/>
              <a:gd name="connsiteY3" fmla="*/ 247650 h 523345"/>
              <a:gd name="connsiteX4" fmla="*/ 368618 w 547687"/>
              <a:gd name="connsiteY4" fmla="*/ 271463 h 523345"/>
              <a:gd name="connsiteX5" fmla="*/ 368618 w 547687"/>
              <a:gd name="connsiteY5" fmla="*/ 283845 h 523345"/>
              <a:gd name="connsiteX6" fmla="*/ 368618 w 547687"/>
              <a:gd name="connsiteY6" fmla="*/ 289560 h 523345"/>
              <a:gd name="connsiteX7" fmla="*/ 368618 w 547687"/>
              <a:gd name="connsiteY7" fmla="*/ 294322 h 523345"/>
              <a:gd name="connsiteX8" fmla="*/ 368618 w 547687"/>
              <a:gd name="connsiteY8" fmla="*/ 302895 h 523345"/>
              <a:gd name="connsiteX9" fmla="*/ 367665 w 547687"/>
              <a:gd name="connsiteY9" fmla="*/ 311467 h 523345"/>
              <a:gd name="connsiteX10" fmla="*/ 365760 w 547687"/>
              <a:gd name="connsiteY10" fmla="*/ 320040 h 523345"/>
              <a:gd name="connsiteX11" fmla="*/ 364808 w 547687"/>
              <a:gd name="connsiteY11" fmla="*/ 323850 h 523345"/>
              <a:gd name="connsiteX12" fmla="*/ 362903 w 547687"/>
              <a:gd name="connsiteY12" fmla="*/ 330517 h 523345"/>
              <a:gd name="connsiteX13" fmla="*/ 358140 w 547687"/>
              <a:gd name="connsiteY13" fmla="*/ 342900 h 523345"/>
              <a:gd name="connsiteX14" fmla="*/ 280035 w 547687"/>
              <a:gd name="connsiteY14" fmla="*/ 414338 h 523345"/>
              <a:gd name="connsiteX15" fmla="*/ 174308 w 547687"/>
              <a:gd name="connsiteY15" fmla="*/ 405765 h 523345"/>
              <a:gd name="connsiteX16" fmla="*/ 108585 w 547687"/>
              <a:gd name="connsiteY16" fmla="*/ 322897 h 523345"/>
              <a:gd name="connsiteX17" fmla="*/ 105727 w 547687"/>
              <a:gd name="connsiteY17" fmla="*/ 309563 h 523345"/>
              <a:gd name="connsiteX18" fmla="*/ 103823 w 547687"/>
              <a:gd name="connsiteY18" fmla="*/ 296227 h 523345"/>
              <a:gd name="connsiteX19" fmla="*/ 103823 w 547687"/>
              <a:gd name="connsiteY19" fmla="*/ 289560 h 523345"/>
              <a:gd name="connsiteX20" fmla="*/ 103823 w 547687"/>
              <a:gd name="connsiteY20" fmla="*/ 280035 h 523345"/>
              <a:gd name="connsiteX21" fmla="*/ 103823 w 547687"/>
              <a:gd name="connsiteY21" fmla="*/ 260985 h 523345"/>
              <a:gd name="connsiteX22" fmla="*/ 103823 w 547687"/>
              <a:gd name="connsiteY22" fmla="*/ 185738 h 523345"/>
              <a:gd name="connsiteX23" fmla="*/ 103823 w 547687"/>
              <a:gd name="connsiteY23" fmla="*/ 35242 h 523345"/>
              <a:gd name="connsiteX24" fmla="*/ 103823 w 547687"/>
              <a:gd name="connsiteY24" fmla="*/ 0 h 523345"/>
              <a:gd name="connsiteX25" fmla="*/ 0 w 547687"/>
              <a:gd name="connsiteY25" fmla="*/ 0 h 523345"/>
              <a:gd name="connsiteX26" fmla="*/ 0 w 547687"/>
              <a:gd name="connsiteY26" fmla="*/ 35242 h 523345"/>
              <a:gd name="connsiteX27" fmla="*/ 0 w 547687"/>
              <a:gd name="connsiteY27" fmla="*/ 185738 h 523345"/>
              <a:gd name="connsiteX28" fmla="*/ 0 w 547687"/>
              <a:gd name="connsiteY28" fmla="*/ 260985 h 523345"/>
              <a:gd name="connsiteX29" fmla="*/ 0 w 547687"/>
              <a:gd name="connsiteY29" fmla="*/ 280035 h 523345"/>
              <a:gd name="connsiteX30" fmla="*/ 0 w 547687"/>
              <a:gd name="connsiteY30" fmla="*/ 289560 h 523345"/>
              <a:gd name="connsiteX31" fmla="*/ 952 w 547687"/>
              <a:gd name="connsiteY31" fmla="*/ 301942 h 523345"/>
              <a:gd name="connsiteX32" fmla="*/ 3810 w 547687"/>
              <a:gd name="connsiteY32" fmla="*/ 325755 h 523345"/>
              <a:gd name="connsiteX33" fmla="*/ 8573 w 547687"/>
              <a:gd name="connsiteY33" fmla="*/ 349567 h 523345"/>
              <a:gd name="connsiteX34" fmla="*/ 124777 w 547687"/>
              <a:gd name="connsiteY34" fmla="*/ 496252 h 523345"/>
              <a:gd name="connsiteX35" fmla="*/ 311468 w 547687"/>
              <a:gd name="connsiteY35" fmla="*/ 510540 h 523345"/>
              <a:gd name="connsiteX36" fmla="*/ 449580 w 547687"/>
              <a:gd name="connsiteY36" fmla="*/ 383857 h 523345"/>
              <a:gd name="connsiteX37" fmla="*/ 458153 w 547687"/>
              <a:gd name="connsiteY37" fmla="*/ 360997 h 523345"/>
              <a:gd name="connsiteX38" fmla="*/ 461010 w 547687"/>
              <a:gd name="connsiteY38" fmla="*/ 349567 h 523345"/>
              <a:gd name="connsiteX39" fmla="*/ 462915 w 547687"/>
              <a:gd name="connsiteY39" fmla="*/ 341947 h 523345"/>
              <a:gd name="connsiteX40" fmla="*/ 465773 w 547687"/>
              <a:gd name="connsiteY40" fmla="*/ 326707 h 523345"/>
              <a:gd name="connsiteX41" fmla="*/ 467678 w 547687"/>
              <a:gd name="connsiteY41" fmla="*/ 311467 h 523345"/>
              <a:gd name="connsiteX42" fmla="*/ 468630 w 547687"/>
              <a:gd name="connsiteY42" fmla="*/ 296227 h 523345"/>
              <a:gd name="connsiteX43" fmla="*/ 468630 w 547687"/>
              <a:gd name="connsiteY43" fmla="*/ 288607 h 523345"/>
              <a:gd name="connsiteX44" fmla="*/ 468630 w 547687"/>
              <a:gd name="connsiteY44" fmla="*/ 282892 h 523345"/>
              <a:gd name="connsiteX45" fmla="*/ 468630 w 547687"/>
              <a:gd name="connsiteY45" fmla="*/ 270510 h 523345"/>
              <a:gd name="connsiteX46" fmla="*/ 468630 w 547687"/>
              <a:gd name="connsiteY46" fmla="*/ 246697 h 523345"/>
              <a:gd name="connsiteX47" fmla="*/ 468630 w 547687"/>
              <a:gd name="connsiteY47" fmla="*/ 198120 h 523345"/>
              <a:gd name="connsiteX48" fmla="*/ 547688 w 547687"/>
              <a:gd name="connsiteY48" fmla="*/ 198120 h 523345"/>
              <a:gd name="connsiteX49" fmla="*/ 419100 w 547687"/>
              <a:gd name="connsiteY49" fmla="*/ 952 h 523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547687" h="523345">
                <a:moveTo>
                  <a:pt x="419100" y="952"/>
                </a:moveTo>
                <a:lnTo>
                  <a:pt x="289560" y="199072"/>
                </a:lnTo>
                <a:lnTo>
                  <a:pt x="368618" y="199072"/>
                </a:lnTo>
                <a:lnTo>
                  <a:pt x="368618" y="247650"/>
                </a:lnTo>
                <a:lnTo>
                  <a:pt x="368618" y="271463"/>
                </a:lnTo>
                <a:lnTo>
                  <a:pt x="368618" y="283845"/>
                </a:lnTo>
                <a:lnTo>
                  <a:pt x="368618" y="289560"/>
                </a:lnTo>
                <a:lnTo>
                  <a:pt x="368618" y="294322"/>
                </a:lnTo>
                <a:lnTo>
                  <a:pt x="368618" y="302895"/>
                </a:lnTo>
                <a:lnTo>
                  <a:pt x="367665" y="311467"/>
                </a:lnTo>
                <a:cubicBezTo>
                  <a:pt x="367665" y="314325"/>
                  <a:pt x="366713" y="317182"/>
                  <a:pt x="365760" y="320040"/>
                </a:cubicBezTo>
                <a:lnTo>
                  <a:pt x="364808" y="323850"/>
                </a:lnTo>
                <a:cubicBezTo>
                  <a:pt x="363855" y="325755"/>
                  <a:pt x="363855" y="328613"/>
                  <a:pt x="362903" y="330517"/>
                </a:cubicBezTo>
                <a:cubicBezTo>
                  <a:pt x="360998" y="334327"/>
                  <a:pt x="360045" y="339090"/>
                  <a:pt x="358140" y="342900"/>
                </a:cubicBezTo>
                <a:cubicBezTo>
                  <a:pt x="343853" y="376238"/>
                  <a:pt x="314325" y="402907"/>
                  <a:pt x="280035" y="414338"/>
                </a:cubicBezTo>
                <a:cubicBezTo>
                  <a:pt x="245745" y="426720"/>
                  <a:pt x="205740" y="422910"/>
                  <a:pt x="174308" y="405765"/>
                </a:cubicBezTo>
                <a:cubicBezTo>
                  <a:pt x="141923" y="388620"/>
                  <a:pt x="117158" y="357188"/>
                  <a:pt x="108585" y="322897"/>
                </a:cubicBezTo>
                <a:cubicBezTo>
                  <a:pt x="107633" y="318135"/>
                  <a:pt x="106680" y="314325"/>
                  <a:pt x="105727" y="309563"/>
                </a:cubicBezTo>
                <a:cubicBezTo>
                  <a:pt x="104775" y="304800"/>
                  <a:pt x="103823" y="300990"/>
                  <a:pt x="103823" y="296227"/>
                </a:cubicBezTo>
                <a:lnTo>
                  <a:pt x="103823" y="289560"/>
                </a:lnTo>
                <a:lnTo>
                  <a:pt x="103823" y="280035"/>
                </a:lnTo>
                <a:lnTo>
                  <a:pt x="103823" y="260985"/>
                </a:lnTo>
                <a:lnTo>
                  <a:pt x="103823" y="185738"/>
                </a:lnTo>
                <a:lnTo>
                  <a:pt x="103823" y="35242"/>
                </a:lnTo>
                <a:lnTo>
                  <a:pt x="103823" y="0"/>
                </a:lnTo>
                <a:lnTo>
                  <a:pt x="0" y="0"/>
                </a:lnTo>
                <a:lnTo>
                  <a:pt x="0" y="35242"/>
                </a:lnTo>
                <a:lnTo>
                  <a:pt x="0" y="185738"/>
                </a:lnTo>
                <a:lnTo>
                  <a:pt x="0" y="260985"/>
                </a:lnTo>
                <a:lnTo>
                  <a:pt x="0" y="280035"/>
                </a:lnTo>
                <a:lnTo>
                  <a:pt x="0" y="289560"/>
                </a:lnTo>
                <a:lnTo>
                  <a:pt x="952" y="301942"/>
                </a:lnTo>
                <a:cubicBezTo>
                  <a:pt x="952" y="309563"/>
                  <a:pt x="1905" y="318135"/>
                  <a:pt x="3810" y="325755"/>
                </a:cubicBezTo>
                <a:cubicBezTo>
                  <a:pt x="4763" y="333375"/>
                  <a:pt x="6668" y="341947"/>
                  <a:pt x="8573" y="349567"/>
                </a:cubicBezTo>
                <a:cubicBezTo>
                  <a:pt x="24765" y="411480"/>
                  <a:pt x="67627" y="466725"/>
                  <a:pt x="124777" y="496252"/>
                </a:cubicBezTo>
                <a:cubicBezTo>
                  <a:pt x="181927" y="526732"/>
                  <a:pt x="250508" y="531495"/>
                  <a:pt x="311468" y="510540"/>
                </a:cubicBezTo>
                <a:cubicBezTo>
                  <a:pt x="372428" y="489585"/>
                  <a:pt x="422910" y="442913"/>
                  <a:pt x="449580" y="383857"/>
                </a:cubicBezTo>
                <a:cubicBezTo>
                  <a:pt x="453390" y="376238"/>
                  <a:pt x="455295" y="368617"/>
                  <a:pt x="458153" y="360997"/>
                </a:cubicBezTo>
                <a:cubicBezTo>
                  <a:pt x="460057" y="357188"/>
                  <a:pt x="460057" y="353377"/>
                  <a:pt x="461010" y="349567"/>
                </a:cubicBezTo>
                <a:lnTo>
                  <a:pt x="462915" y="341947"/>
                </a:lnTo>
                <a:cubicBezTo>
                  <a:pt x="463868" y="337185"/>
                  <a:pt x="464820" y="331470"/>
                  <a:pt x="465773" y="326707"/>
                </a:cubicBezTo>
                <a:cubicBezTo>
                  <a:pt x="466725" y="321945"/>
                  <a:pt x="467678" y="316230"/>
                  <a:pt x="467678" y="311467"/>
                </a:cubicBezTo>
                <a:lnTo>
                  <a:pt x="468630" y="296227"/>
                </a:lnTo>
                <a:lnTo>
                  <a:pt x="468630" y="288607"/>
                </a:lnTo>
                <a:lnTo>
                  <a:pt x="468630" y="282892"/>
                </a:lnTo>
                <a:lnTo>
                  <a:pt x="468630" y="270510"/>
                </a:lnTo>
                <a:lnTo>
                  <a:pt x="468630" y="246697"/>
                </a:lnTo>
                <a:lnTo>
                  <a:pt x="468630" y="198120"/>
                </a:lnTo>
                <a:lnTo>
                  <a:pt x="547688" y="198120"/>
                </a:lnTo>
                <a:lnTo>
                  <a:pt x="419100" y="952"/>
                </a:lnTo>
                <a:close/>
              </a:path>
            </a:pathLst>
          </a:custGeom>
          <a:solidFill>
            <a:srgbClr val="26314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14" name="Forma Livre: Forma 13">
            <a:extLst>
              <a:ext uri="{FF2B5EF4-FFF2-40B4-BE49-F238E27FC236}">
                <a16:creationId xmlns:a16="http://schemas.microsoft.com/office/drawing/2014/main" id="{ABB3B824-644F-49D8-8284-C276CE4CFDEA}"/>
              </a:ext>
            </a:extLst>
          </p:cNvPr>
          <p:cNvSpPr/>
          <p:nvPr/>
        </p:nvSpPr>
        <p:spPr>
          <a:xfrm>
            <a:off x="9522559" y="461329"/>
            <a:ext cx="635301" cy="1375324"/>
          </a:xfrm>
          <a:custGeom>
            <a:avLst/>
            <a:gdLst>
              <a:gd name="connsiteX0" fmla="*/ 129540 w 260032"/>
              <a:gd name="connsiteY0" fmla="*/ 0 h 562927"/>
              <a:gd name="connsiteX1" fmla="*/ 0 w 260032"/>
              <a:gd name="connsiteY1" fmla="*/ 198120 h 562927"/>
              <a:gd name="connsiteX2" fmla="*/ 79057 w 260032"/>
              <a:gd name="connsiteY2" fmla="*/ 198120 h 562927"/>
              <a:gd name="connsiteX3" fmla="*/ 79057 w 260032"/>
              <a:gd name="connsiteY3" fmla="*/ 332423 h 562927"/>
              <a:gd name="connsiteX4" fmla="*/ 79057 w 260032"/>
              <a:gd name="connsiteY4" fmla="*/ 527685 h 562927"/>
              <a:gd name="connsiteX5" fmla="*/ 79057 w 260032"/>
              <a:gd name="connsiteY5" fmla="*/ 562928 h 562927"/>
              <a:gd name="connsiteX6" fmla="*/ 180975 w 260032"/>
              <a:gd name="connsiteY6" fmla="*/ 562928 h 562927"/>
              <a:gd name="connsiteX7" fmla="*/ 180975 w 260032"/>
              <a:gd name="connsiteY7" fmla="*/ 527685 h 562927"/>
              <a:gd name="connsiteX8" fmla="*/ 180975 w 260032"/>
              <a:gd name="connsiteY8" fmla="*/ 332423 h 562927"/>
              <a:gd name="connsiteX9" fmla="*/ 180975 w 260032"/>
              <a:gd name="connsiteY9" fmla="*/ 198120 h 562927"/>
              <a:gd name="connsiteX10" fmla="*/ 260032 w 260032"/>
              <a:gd name="connsiteY10" fmla="*/ 198120 h 562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60032" h="562927">
                <a:moveTo>
                  <a:pt x="129540" y="0"/>
                </a:moveTo>
                <a:lnTo>
                  <a:pt x="0" y="198120"/>
                </a:lnTo>
                <a:lnTo>
                  <a:pt x="79057" y="198120"/>
                </a:lnTo>
                <a:lnTo>
                  <a:pt x="79057" y="332423"/>
                </a:lnTo>
                <a:lnTo>
                  <a:pt x="79057" y="527685"/>
                </a:lnTo>
                <a:lnTo>
                  <a:pt x="79057" y="562928"/>
                </a:lnTo>
                <a:lnTo>
                  <a:pt x="180975" y="562928"/>
                </a:lnTo>
                <a:lnTo>
                  <a:pt x="180975" y="527685"/>
                </a:lnTo>
                <a:lnTo>
                  <a:pt x="180975" y="332423"/>
                </a:lnTo>
                <a:lnTo>
                  <a:pt x="180975" y="198120"/>
                </a:lnTo>
                <a:lnTo>
                  <a:pt x="260032" y="198120"/>
                </a:lnTo>
                <a:close/>
              </a:path>
            </a:pathLst>
          </a:custGeom>
          <a:solidFill>
            <a:srgbClr val="D6D6CE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15" name="Forma Livre: Forma 14">
            <a:extLst>
              <a:ext uri="{FF2B5EF4-FFF2-40B4-BE49-F238E27FC236}">
                <a16:creationId xmlns:a16="http://schemas.microsoft.com/office/drawing/2014/main" id="{EE857D5D-7243-4FB0-8F8E-20F34186EDE5}"/>
              </a:ext>
            </a:extLst>
          </p:cNvPr>
          <p:cNvSpPr/>
          <p:nvPr/>
        </p:nvSpPr>
        <p:spPr>
          <a:xfrm>
            <a:off x="11077274" y="461329"/>
            <a:ext cx="635301" cy="1375324"/>
          </a:xfrm>
          <a:custGeom>
            <a:avLst/>
            <a:gdLst>
              <a:gd name="connsiteX0" fmla="*/ 130493 w 260032"/>
              <a:gd name="connsiteY0" fmla="*/ 562928 h 562927"/>
              <a:gd name="connsiteX1" fmla="*/ 260033 w 260032"/>
              <a:gd name="connsiteY1" fmla="*/ 364808 h 562927"/>
              <a:gd name="connsiteX2" fmla="*/ 180975 w 260032"/>
              <a:gd name="connsiteY2" fmla="*/ 364808 h 562927"/>
              <a:gd name="connsiteX3" fmla="*/ 180975 w 260032"/>
              <a:gd name="connsiteY3" fmla="*/ 230505 h 562927"/>
              <a:gd name="connsiteX4" fmla="*/ 180975 w 260032"/>
              <a:gd name="connsiteY4" fmla="*/ 35243 h 562927"/>
              <a:gd name="connsiteX5" fmla="*/ 180975 w 260032"/>
              <a:gd name="connsiteY5" fmla="*/ 0 h 562927"/>
              <a:gd name="connsiteX6" fmla="*/ 79058 w 260032"/>
              <a:gd name="connsiteY6" fmla="*/ 0 h 562927"/>
              <a:gd name="connsiteX7" fmla="*/ 79058 w 260032"/>
              <a:gd name="connsiteY7" fmla="*/ 35243 h 562927"/>
              <a:gd name="connsiteX8" fmla="*/ 79058 w 260032"/>
              <a:gd name="connsiteY8" fmla="*/ 230505 h 562927"/>
              <a:gd name="connsiteX9" fmla="*/ 79058 w 260032"/>
              <a:gd name="connsiteY9" fmla="*/ 364808 h 562927"/>
              <a:gd name="connsiteX10" fmla="*/ 0 w 260032"/>
              <a:gd name="connsiteY10" fmla="*/ 364808 h 562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60032" h="562927">
                <a:moveTo>
                  <a:pt x="130493" y="562928"/>
                </a:moveTo>
                <a:lnTo>
                  <a:pt x="260033" y="364808"/>
                </a:lnTo>
                <a:lnTo>
                  <a:pt x="180975" y="364808"/>
                </a:lnTo>
                <a:lnTo>
                  <a:pt x="180975" y="230505"/>
                </a:lnTo>
                <a:lnTo>
                  <a:pt x="180975" y="35243"/>
                </a:lnTo>
                <a:lnTo>
                  <a:pt x="180975" y="0"/>
                </a:lnTo>
                <a:lnTo>
                  <a:pt x="79058" y="0"/>
                </a:lnTo>
                <a:lnTo>
                  <a:pt x="79058" y="35243"/>
                </a:lnTo>
                <a:lnTo>
                  <a:pt x="79058" y="230505"/>
                </a:lnTo>
                <a:lnTo>
                  <a:pt x="79058" y="364808"/>
                </a:lnTo>
                <a:lnTo>
                  <a:pt x="0" y="364808"/>
                </a:lnTo>
                <a:close/>
              </a:path>
            </a:pathLst>
          </a:custGeom>
          <a:solidFill>
            <a:srgbClr val="D6D6CE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16" name="Forma Livre: Forma 15">
            <a:extLst>
              <a:ext uri="{FF2B5EF4-FFF2-40B4-BE49-F238E27FC236}">
                <a16:creationId xmlns:a16="http://schemas.microsoft.com/office/drawing/2014/main" id="{8DC819C8-4B95-4CDD-88E3-3930B3F107A0}"/>
              </a:ext>
            </a:extLst>
          </p:cNvPr>
          <p:cNvSpPr/>
          <p:nvPr/>
        </p:nvSpPr>
        <p:spPr>
          <a:xfrm>
            <a:off x="10106866" y="2108926"/>
            <a:ext cx="1605709" cy="954117"/>
          </a:xfrm>
          <a:custGeom>
            <a:avLst/>
            <a:gdLst>
              <a:gd name="connsiteX0" fmla="*/ 527685 w 657225"/>
              <a:gd name="connsiteY0" fmla="*/ 390525 h 390525"/>
              <a:gd name="connsiteX1" fmla="*/ 657225 w 657225"/>
              <a:gd name="connsiteY1" fmla="*/ 192405 h 390525"/>
              <a:gd name="connsiteX2" fmla="*/ 578168 w 657225"/>
              <a:gd name="connsiteY2" fmla="*/ 192405 h 390525"/>
              <a:gd name="connsiteX3" fmla="*/ 578168 w 657225"/>
              <a:gd name="connsiteY3" fmla="*/ 9525 h 390525"/>
              <a:gd name="connsiteX4" fmla="*/ 578168 w 657225"/>
              <a:gd name="connsiteY4" fmla="*/ 3810 h 390525"/>
              <a:gd name="connsiteX5" fmla="*/ 578168 w 657225"/>
              <a:gd name="connsiteY5" fmla="*/ 952 h 390525"/>
              <a:gd name="connsiteX6" fmla="*/ 578168 w 657225"/>
              <a:gd name="connsiteY6" fmla="*/ 0 h 390525"/>
              <a:gd name="connsiteX7" fmla="*/ 577215 w 657225"/>
              <a:gd name="connsiteY7" fmla="*/ 0 h 390525"/>
              <a:gd name="connsiteX8" fmla="*/ 566738 w 657225"/>
              <a:gd name="connsiteY8" fmla="*/ 0 h 390525"/>
              <a:gd name="connsiteX9" fmla="*/ 544830 w 657225"/>
              <a:gd name="connsiteY9" fmla="*/ 0 h 390525"/>
              <a:gd name="connsiteX10" fmla="*/ 501015 w 657225"/>
              <a:gd name="connsiteY10" fmla="*/ 0 h 390525"/>
              <a:gd name="connsiteX11" fmla="*/ 414338 w 657225"/>
              <a:gd name="connsiteY11" fmla="*/ 0 h 390525"/>
              <a:gd name="connsiteX12" fmla="*/ 284798 w 657225"/>
              <a:gd name="connsiteY12" fmla="*/ 0 h 390525"/>
              <a:gd name="connsiteX13" fmla="*/ 35243 w 657225"/>
              <a:gd name="connsiteY13" fmla="*/ 0 h 390525"/>
              <a:gd name="connsiteX14" fmla="*/ 0 w 657225"/>
              <a:gd name="connsiteY14" fmla="*/ 0 h 390525"/>
              <a:gd name="connsiteX15" fmla="*/ 0 w 657225"/>
              <a:gd name="connsiteY15" fmla="*/ 101917 h 390525"/>
              <a:gd name="connsiteX16" fmla="*/ 35243 w 657225"/>
              <a:gd name="connsiteY16" fmla="*/ 101917 h 390525"/>
              <a:gd name="connsiteX17" fmla="*/ 284798 w 657225"/>
              <a:gd name="connsiteY17" fmla="*/ 101917 h 390525"/>
              <a:gd name="connsiteX18" fmla="*/ 404813 w 657225"/>
              <a:gd name="connsiteY18" fmla="*/ 101917 h 390525"/>
              <a:gd name="connsiteX19" fmla="*/ 442913 w 657225"/>
              <a:gd name="connsiteY19" fmla="*/ 101917 h 390525"/>
              <a:gd name="connsiteX20" fmla="*/ 461963 w 657225"/>
              <a:gd name="connsiteY20" fmla="*/ 101917 h 390525"/>
              <a:gd name="connsiteX21" fmla="*/ 471488 w 657225"/>
              <a:gd name="connsiteY21" fmla="*/ 101917 h 390525"/>
              <a:gd name="connsiteX22" fmla="*/ 476250 w 657225"/>
              <a:gd name="connsiteY22" fmla="*/ 101917 h 390525"/>
              <a:gd name="connsiteX23" fmla="*/ 477203 w 657225"/>
              <a:gd name="connsiteY23" fmla="*/ 105727 h 390525"/>
              <a:gd name="connsiteX24" fmla="*/ 477203 w 657225"/>
              <a:gd name="connsiteY24" fmla="*/ 192405 h 390525"/>
              <a:gd name="connsiteX25" fmla="*/ 398145 w 657225"/>
              <a:gd name="connsiteY25" fmla="*/ 192405 h 390525"/>
              <a:gd name="connsiteX26" fmla="*/ 527685 w 657225"/>
              <a:gd name="connsiteY26" fmla="*/ 390525 h 390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657225" h="390525">
                <a:moveTo>
                  <a:pt x="527685" y="390525"/>
                </a:moveTo>
                <a:lnTo>
                  <a:pt x="657225" y="192405"/>
                </a:lnTo>
                <a:lnTo>
                  <a:pt x="578168" y="192405"/>
                </a:lnTo>
                <a:lnTo>
                  <a:pt x="578168" y="9525"/>
                </a:lnTo>
                <a:lnTo>
                  <a:pt x="578168" y="3810"/>
                </a:lnTo>
                <a:lnTo>
                  <a:pt x="578168" y="952"/>
                </a:lnTo>
                <a:lnTo>
                  <a:pt x="578168" y="0"/>
                </a:lnTo>
                <a:cubicBezTo>
                  <a:pt x="578168" y="0"/>
                  <a:pt x="577215" y="0"/>
                  <a:pt x="577215" y="0"/>
                </a:cubicBezTo>
                <a:lnTo>
                  <a:pt x="566738" y="0"/>
                </a:lnTo>
                <a:lnTo>
                  <a:pt x="544830" y="0"/>
                </a:lnTo>
                <a:lnTo>
                  <a:pt x="501015" y="0"/>
                </a:lnTo>
                <a:lnTo>
                  <a:pt x="414338" y="0"/>
                </a:lnTo>
                <a:lnTo>
                  <a:pt x="284798" y="0"/>
                </a:lnTo>
                <a:lnTo>
                  <a:pt x="35243" y="0"/>
                </a:lnTo>
                <a:lnTo>
                  <a:pt x="0" y="0"/>
                </a:lnTo>
                <a:lnTo>
                  <a:pt x="0" y="101917"/>
                </a:lnTo>
                <a:lnTo>
                  <a:pt x="35243" y="101917"/>
                </a:lnTo>
                <a:lnTo>
                  <a:pt x="284798" y="101917"/>
                </a:lnTo>
                <a:lnTo>
                  <a:pt x="404813" y="101917"/>
                </a:lnTo>
                <a:lnTo>
                  <a:pt x="442913" y="101917"/>
                </a:lnTo>
                <a:lnTo>
                  <a:pt x="461963" y="101917"/>
                </a:lnTo>
                <a:lnTo>
                  <a:pt x="471488" y="101917"/>
                </a:lnTo>
                <a:lnTo>
                  <a:pt x="476250" y="101917"/>
                </a:lnTo>
                <a:cubicBezTo>
                  <a:pt x="477203" y="102870"/>
                  <a:pt x="476250" y="104775"/>
                  <a:pt x="477203" y="105727"/>
                </a:cubicBezTo>
                <a:lnTo>
                  <a:pt x="477203" y="192405"/>
                </a:lnTo>
                <a:lnTo>
                  <a:pt x="398145" y="192405"/>
                </a:lnTo>
                <a:lnTo>
                  <a:pt x="527685" y="390525"/>
                </a:lnTo>
                <a:close/>
              </a:path>
            </a:pathLst>
          </a:custGeom>
          <a:solidFill>
            <a:srgbClr val="26314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17" name="Forma Livre: Forma 16">
            <a:extLst>
              <a:ext uri="{FF2B5EF4-FFF2-40B4-BE49-F238E27FC236}">
                <a16:creationId xmlns:a16="http://schemas.microsoft.com/office/drawing/2014/main" id="{EE70003C-99AB-4C0B-8324-F88E24145234}"/>
              </a:ext>
            </a:extLst>
          </p:cNvPr>
          <p:cNvSpPr/>
          <p:nvPr/>
        </p:nvSpPr>
        <p:spPr>
          <a:xfrm>
            <a:off x="629261" y="3642494"/>
            <a:ext cx="1605709" cy="1119341"/>
          </a:xfrm>
          <a:custGeom>
            <a:avLst/>
            <a:gdLst>
              <a:gd name="connsiteX0" fmla="*/ 130493 w 657225"/>
              <a:gd name="connsiteY0" fmla="*/ 0 h 458152"/>
              <a:gd name="connsiteX1" fmla="*/ 0 w 657225"/>
              <a:gd name="connsiteY1" fmla="*/ 197167 h 458152"/>
              <a:gd name="connsiteX2" fmla="*/ 79058 w 657225"/>
              <a:gd name="connsiteY2" fmla="*/ 197167 h 458152"/>
              <a:gd name="connsiteX3" fmla="*/ 79058 w 657225"/>
              <a:gd name="connsiteY3" fmla="*/ 214313 h 458152"/>
              <a:gd name="connsiteX4" fmla="*/ 79058 w 657225"/>
              <a:gd name="connsiteY4" fmla="*/ 222885 h 458152"/>
              <a:gd name="connsiteX5" fmla="*/ 80010 w 657225"/>
              <a:gd name="connsiteY5" fmla="*/ 233363 h 458152"/>
              <a:gd name="connsiteX6" fmla="*/ 81915 w 657225"/>
              <a:gd name="connsiteY6" fmla="*/ 254317 h 458152"/>
              <a:gd name="connsiteX7" fmla="*/ 85725 w 657225"/>
              <a:gd name="connsiteY7" fmla="*/ 275273 h 458152"/>
              <a:gd name="connsiteX8" fmla="*/ 120015 w 657225"/>
              <a:gd name="connsiteY8" fmla="*/ 353378 h 458152"/>
              <a:gd name="connsiteX9" fmla="*/ 240983 w 657225"/>
              <a:gd name="connsiteY9" fmla="*/ 445770 h 458152"/>
              <a:gd name="connsiteX10" fmla="*/ 317183 w 657225"/>
              <a:gd name="connsiteY10" fmla="*/ 458153 h 458152"/>
              <a:gd name="connsiteX11" fmla="*/ 378143 w 657225"/>
              <a:gd name="connsiteY11" fmla="*/ 458153 h 458152"/>
              <a:gd name="connsiteX12" fmla="*/ 621983 w 657225"/>
              <a:gd name="connsiteY12" fmla="*/ 458153 h 458152"/>
              <a:gd name="connsiteX13" fmla="*/ 657225 w 657225"/>
              <a:gd name="connsiteY13" fmla="*/ 458153 h 458152"/>
              <a:gd name="connsiteX14" fmla="*/ 657225 w 657225"/>
              <a:gd name="connsiteY14" fmla="*/ 356235 h 458152"/>
              <a:gd name="connsiteX15" fmla="*/ 621983 w 657225"/>
              <a:gd name="connsiteY15" fmla="*/ 356235 h 458152"/>
              <a:gd name="connsiteX16" fmla="*/ 378143 w 657225"/>
              <a:gd name="connsiteY16" fmla="*/ 356235 h 458152"/>
              <a:gd name="connsiteX17" fmla="*/ 317183 w 657225"/>
              <a:gd name="connsiteY17" fmla="*/ 356235 h 458152"/>
              <a:gd name="connsiteX18" fmla="*/ 273368 w 657225"/>
              <a:gd name="connsiteY18" fmla="*/ 349567 h 458152"/>
              <a:gd name="connsiteX19" fmla="*/ 203835 w 657225"/>
              <a:gd name="connsiteY19" fmla="*/ 297180 h 458152"/>
              <a:gd name="connsiteX20" fmla="*/ 184785 w 657225"/>
              <a:gd name="connsiteY20" fmla="*/ 252413 h 458152"/>
              <a:gd name="connsiteX21" fmla="*/ 182880 w 657225"/>
              <a:gd name="connsiteY21" fmla="*/ 240030 h 458152"/>
              <a:gd name="connsiteX22" fmla="*/ 181928 w 657225"/>
              <a:gd name="connsiteY22" fmla="*/ 227648 h 458152"/>
              <a:gd name="connsiteX23" fmla="*/ 181928 w 657225"/>
              <a:gd name="connsiteY23" fmla="*/ 221933 h 458152"/>
              <a:gd name="connsiteX24" fmla="*/ 181928 w 657225"/>
              <a:gd name="connsiteY24" fmla="*/ 214313 h 458152"/>
              <a:gd name="connsiteX25" fmla="*/ 181928 w 657225"/>
              <a:gd name="connsiteY25" fmla="*/ 197167 h 458152"/>
              <a:gd name="connsiteX26" fmla="*/ 260985 w 657225"/>
              <a:gd name="connsiteY26" fmla="*/ 197167 h 458152"/>
              <a:gd name="connsiteX27" fmla="*/ 130493 w 657225"/>
              <a:gd name="connsiteY27" fmla="*/ 0 h 458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57225" h="458152">
                <a:moveTo>
                  <a:pt x="130493" y="0"/>
                </a:moveTo>
                <a:lnTo>
                  <a:pt x="0" y="197167"/>
                </a:lnTo>
                <a:lnTo>
                  <a:pt x="79058" y="197167"/>
                </a:lnTo>
                <a:lnTo>
                  <a:pt x="79058" y="214313"/>
                </a:lnTo>
                <a:cubicBezTo>
                  <a:pt x="79058" y="217170"/>
                  <a:pt x="79058" y="220028"/>
                  <a:pt x="79058" y="222885"/>
                </a:cubicBezTo>
                <a:lnTo>
                  <a:pt x="80010" y="233363"/>
                </a:lnTo>
                <a:cubicBezTo>
                  <a:pt x="80010" y="240030"/>
                  <a:pt x="80963" y="247650"/>
                  <a:pt x="81915" y="254317"/>
                </a:cubicBezTo>
                <a:cubicBezTo>
                  <a:pt x="82868" y="260985"/>
                  <a:pt x="83820" y="268605"/>
                  <a:pt x="85725" y="275273"/>
                </a:cubicBezTo>
                <a:cubicBezTo>
                  <a:pt x="92393" y="302895"/>
                  <a:pt x="103823" y="329565"/>
                  <a:pt x="120015" y="353378"/>
                </a:cubicBezTo>
                <a:cubicBezTo>
                  <a:pt x="149543" y="396240"/>
                  <a:pt x="192405" y="429578"/>
                  <a:pt x="240983" y="445770"/>
                </a:cubicBezTo>
                <a:cubicBezTo>
                  <a:pt x="265748" y="454342"/>
                  <a:pt x="291465" y="458153"/>
                  <a:pt x="317183" y="458153"/>
                </a:cubicBezTo>
                <a:lnTo>
                  <a:pt x="378143" y="458153"/>
                </a:lnTo>
                <a:lnTo>
                  <a:pt x="621983" y="458153"/>
                </a:lnTo>
                <a:lnTo>
                  <a:pt x="657225" y="458153"/>
                </a:lnTo>
                <a:lnTo>
                  <a:pt x="657225" y="356235"/>
                </a:lnTo>
                <a:lnTo>
                  <a:pt x="621983" y="356235"/>
                </a:lnTo>
                <a:lnTo>
                  <a:pt x="378143" y="356235"/>
                </a:lnTo>
                <a:lnTo>
                  <a:pt x="317183" y="356235"/>
                </a:lnTo>
                <a:cubicBezTo>
                  <a:pt x="301943" y="356235"/>
                  <a:pt x="287655" y="353378"/>
                  <a:pt x="273368" y="349567"/>
                </a:cubicBezTo>
                <a:cubicBezTo>
                  <a:pt x="245745" y="340042"/>
                  <a:pt x="220980" y="320992"/>
                  <a:pt x="203835" y="297180"/>
                </a:cubicBezTo>
                <a:cubicBezTo>
                  <a:pt x="194310" y="283845"/>
                  <a:pt x="187643" y="268605"/>
                  <a:pt x="184785" y="252413"/>
                </a:cubicBezTo>
                <a:cubicBezTo>
                  <a:pt x="183833" y="248603"/>
                  <a:pt x="182880" y="244792"/>
                  <a:pt x="182880" y="240030"/>
                </a:cubicBezTo>
                <a:cubicBezTo>
                  <a:pt x="181928" y="236220"/>
                  <a:pt x="181928" y="231458"/>
                  <a:pt x="181928" y="227648"/>
                </a:cubicBezTo>
                <a:lnTo>
                  <a:pt x="181928" y="221933"/>
                </a:lnTo>
                <a:cubicBezTo>
                  <a:pt x="181928" y="220028"/>
                  <a:pt x="181928" y="216217"/>
                  <a:pt x="181928" y="214313"/>
                </a:cubicBezTo>
                <a:lnTo>
                  <a:pt x="181928" y="197167"/>
                </a:lnTo>
                <a:lnTo>
                  <a:pt x="260985" y="197167"/>
                </a:lnTo>
                <a:lnTo>
                  <a:pt x="130493" y="0"/>
                </a:lnTo>
                <a:close/>
              </a:path>
            </a:pathLst>
          </a:custGeom>
          <a:solidFill>
            <a:srgbClr val="D6D6CE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18" name="Forma Livre: Forma 17">
            <a:extLst>
              <a:ext uri="{FF2B5EF4-FFF2-40B4-BE49-F238E27FC236}">
                <a16:creationId xmlns:a16="http://schemas.microsoft.com/office/drawing/2014/main" id="{6EC15F0E-E1C7-495C-9601-BF486C7FE66B}"/>
              </a:ext>
            </a:extLst>
          </p:cNvPr>
          <p:cNvSpPr/>
          <p:nvPr/>
        </p:nvSpPr>
        <p:spPr>
          <a:xfrm>
            <a:off x="6438026" y="3756524"/>
            <a:ext cx="1922197" cy="1014620"/>
          </a:xfrm>
          <a:custGeom>
            <a:avLst/>
            <a:gdLst>
              <a:gd name="connsiteX0" fmla="*/ 0 w 786765"/>
              <a:gd name="connsiteY0" fmla="*/ 168592 h 415289"/>
              <a:gd name="connsiteX1" fmla="*/ 198120 w 786765"/>
              <a:gd name="connsiteY1" fmla="*/ 298132 h 415289"/>
              <a:gd name="connsiteX2" fmla="*/ 198120 w 786765"/>
              <a:gd name="connsiteY2" fmla="*/ 219075 h 415289"/>
              <a:gd name="connsiteX3" fmla="*/ 295275 w 786765"/>
              <a:gd name="connsiteY3" fmla="*/ 219075 h 415289"/>
              <a:gd name="connsiteX4" fmla="*/ 319088 w 786765"/>
              <a:gd name="connsiteY4" fmla="*/ 219075 h 415289"/>
              <a:gd name="connsiteX5" fmla="*/ 330517 w 786765"/>
              <a:gd name="connsiteY5" fmla="*/ 219075 h 415289"/>
              <a:gd name="connsiteX6" fmla="*/ 333375 w 786765"/>
              <a:gd name="connsiteY6" fmla="*/ 219075 h 415289"/>
              <a:gd name="connsiteX7" fmla="*/ 338138 w 786765"/>
              <a:gd name="connsiteY7" fmla="*/ 220027 h 415289"/>
              <a:gd name="connsiteX8" fmla="*/ 346710 w 786765"/>
              <a:gd name="connsiteY8" fmla="*/ 222885 h 415289"/>
              <a:gd name="connsiteX9" fmla="*/ 372428 w 786765"/>
              <a:gd name="connsiteY9" fmla="*/ 247650 h 415289"/>
              <a:gd name="connsiteX10" fmla="*/ 375285 w 786765"/>
              <a:gd name="connsiteY10" fmla="*/ 256222 h 415289"/>
              <a:gd name="connsiteX11" fmla="*/ 375285 w 786765"/>
              <a:gd name="connsiteY11" fmla="*/ 258127 h 415289"/>
              <a:gd name="connsiteX12" fmla="*/ 375285 w 786765"/>
              <a:gd name="connsiteY12" fmla="*/ 259080 h 415289"/>
              <a:gd name="connsiteX13" fmla="*/ 375285 w 786765"/>
              <a:gd name="connsiteY13" fmla="*/ 260032 h 415289"/>
              <a:gd name="connsiteX14" fmla="*/ 375285 w 786765"/>
              <a:gd name="connsiteY14" fmla="*/ 262890 h 415289"/>
              <a:gd name="connsiteX15" fmla="*/ 375285 w 786765"/>
              <a:gd name="connsiteY15" fmla="*/ 263842 h 415289"/>
              <a:gd name="connsiteX16" fmla="*/ 376238 w 786765"/>
              <a:gd name="connsiteY16" fmla="*/ 277177 h 415289"/>
              <a:gd name="connsiteX17" fmla="*/ 388620 w 786765"/>
              <a:gd name="connsiteY17" fmla="*/ 327660 h 415289"/>
              <a:gd name="connsiteX18" fmla="*/ 460058 w 786765"/>
              <a:gd name="connsiteY18" fmla="*/ 401002 h 415289"/>
              <a:gd name="connsiteX19" fmla="*/ 510540 w 786765"/>
              <a:gd name="connsiteY19" fmla="*/ 414338 h 415289"/>
              <a:gd name="connsiteX20" fmla="*/ 537210 w 786765"/>
              <a:gd name="connsiteY20" fmla="*/ 415290 h 415289"/>
              <a:gd name="connsiteX21" fmla="*/ 561023 w 786765"/>
              <a:gd name="connsiteY21" fmla="*/ 415290 h 415289"/>
              <a:gd name="connsiteX22" fmla="*/ 599123 w 786765"/>
              <a:gd name="connsiteY22" fmla="*/ 415290 h 415289"/>
              <a:gd name="connsiteX23" fmla="*/ 623888 w 786765"/>
              <a:gd name="connsiteY23" fmla="*/ 415290 h 415289"/>
              <a:gd name="connsiteX24" fmla="*/ 650558 w 786765"/>
              <a:gd name="connsiteY24" fmla="*/ 414338 h 415289"/>
              <a:gd name="connsiteX25" fmla="*/ 743903 w 786765"/>
              <a:gd name="connsiteY25" fmla="*/ 372427 h 415289"/>
              <a:gd name="connsiteX26" fmla="*/ 785813 w 786765"/>
              <a:gd name="connsiteY26" fmla="*/ 279082 h 415289"/>
              <a:gd name="connsiteX27" fmla="*/ 786765 w 786765"/>
              <a:gd name="connsiteY27" fmla="*/ 252413 h 415289"/>
              <a:gd name="connsiteX28" fmla="*/ 786765 w 786765"/>
              <a:gd name="connsiteY28" fmla="*/ 227647 h 415289"/>
              <a:gd name="connsiteX29" fmla="*/ 786765 w 786765"/>
              <a:gd name="connsiteY29" fmla="*/ 189547 h 415289"/>
              <a:gd name="connsiteX30" fmla="*/ 786765 w 786765"/>
              <a:gd name="connsiteY30" fmla="*/ 35242 h 415289"/>
              <a:gd name="connsiteX31" fmla="*/ 786765 w 786765"/>
              <a:gd name="connsiteY31" fmla="*/ 0 h 415289"/>
              <a:gd name="connsiteX32" fmla="*/ 684848 w 786765"/>
              <a:gd name="connsiteY32" fmla="*/ 0 h 415289"/>
              <a:gd name="connsiteX33" fmla="*/ 684848 w 786765"/>
              <a:gd name="connsiteY33" fmla="*/ 35242 h 415289"/>
              <a:gd name="connsiteX34" fmla="*/ 684848 w 786765"/>
              <a:gd name="connsiteY34" fmla="*/ 189547 h 415289"/>
              <a:gd name="connsiteX35" fmla="*/ 684848 w 786765"/>
              <a:gd name="connsiteY35" fmla="*/ 254317 h 415289"/>
              <a:gd name="connsiteX36" fmla="*/ 667703 w 786765"/>
              <a:gd name="connsiteY36" fmla="*/ 297180 h 415289"/>
              <a:gd name="connsiteX37" fmla="*/ 625793 w 786765"/>
              <a:gd name="connsiteY37" fmla="*/ 314325 h 415289"/>
              <a:gd name="connsiteX38" fmla="*/ 561023 w 786765"/>
              <a:gd name="connsiteY38" fmla="*/ 314325 h 415289"/>
              <a:gd name="connsiteX39" fmla="*/ 535305 w 786765"/>
              <a:gd name="connsiteY39" fmla="*/ 314325 h 415289"/>
              <a:gd name="connsiteX40" fmla="*/ 512445 w 786765"/>
              <a:gd name="connsiteY40" fmla="*/ 309563 h 415289"/>
              <a:gd name="connsiteX41" fmla="*/ 481013 w 786765"/>
              <a:gd name="connsiteY41" fmla="*/ 276225 h 415289"/>
              <a:gd name="connsiteX42" fmla="*/ 477203 w 786765"/>
              <a:gd name="connsiteY42" fmla="*/ 253365 h 415289"/>
              <a:gd name="connsiteX43" fmla="*/ 477203 w 786765"/>
              <a:gd name="connsiteY43" fmla="*/ 247650 h 415289"/>
              <a:gd name="connsiteX44" fmla="*/ 477203 w 786765"/>
              <a:gd name="connsiteY44" fmla="*/ 247650 h 415289"/>
              <a:gd name="connsiteX45" fmla="*/ 477203 w 786765"/>
              <a:gd name="connsiteY45" fmla="*/ 247650 h 415289"/>
              <a:gd name="connsiteX46" fmla="*/ 477203 w 786765"/>
              <a:gd name="connsiteY46" fmla="*/ 249555 h 415289"/>
              <a:gd name="connsiteX47" fmla="*/ 477203 w 786765"/>
              <a:gd name="connsiteY47" fmla="*/ 248602 h 415289"/>
              <a:gd name="connsiteX48" fmla="*/ 476250 w 786765"/>
              <a:gd name="connsiteY48" fmla="*/ 244792 h 415289"/>
              <a:gd name="connsiteX49" fmla="*/ 475298 w 786765"/>
              <a:gd name="connsiteY49" fmla="*/ 237172 h 415289"/>
              <a:gd name="connsiteX50" fmla="*/ 466725 w 786765"/>
              <a:gd name="connsiteY50" fmla="*/ 208597 h 415289"/>
              <a:gd name="connsiteX51" fmla="*/ 384810 w 786765"/>
              <a:gd name="connsiteY51" fmla="*/ 128588 h 415289"/>
              <a:gd name="connsiteX52" fmla="*/ 356235 w 786765"/>
              <a:gd name="connsiteY52" fmla="*/ 120967 h 415289"/>
              <a:gd name="connsiteX53" fmla="*/ 341948 w 786765"/>
              <a:gd name="connsiteY53" fmla="*/ 119063 h 415289"/>
              <a:gd name="connsiteX54" fmla="*/ 332423 w 786765"/>
              <a:gd name="connsiteY54" fmla="*/ 119063 h 415289"/>
              <a:gd name="connsiteX55" fmla="*/ 320040 w 786765"/>
              <a:gd name="connsiteY55" fmla="*/ 119063 h 415289"/>
              <a:gd name="connsiteX56" fmla="*/ 296228 w 786765"/>
              <a:gd name="connsiteY56" fmla="*/ 119063 h 415289"/>
              <a:gd name="connsiteX57" fmla="*/ 198120 w 786765"/>
              <a:gd name="connsiteY57" fmla="*/ 119063 h 415289"/>
              <a:gd name="connsiteX58" fmla="*/ 198120 w 786765"/>
              <a:gd name="connsiteY58" fmla="*/ 40005 h 415289"/>
              <a:gd name="connsiteX59" fmla="*/ 0 w 786765"/>
              <a:gd name="connsiteY59" fmla="*/ 168592 h 415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786765" h="415289">
                <a:moveTo>
                  <a:pt x="0" y="168592"/>
                </a:moveTo>
                <a:lnTo>
                  <a:pt x="198120" y="298132"/>
                </a:lnTo>
                <a:lnTo>
                  <a:pt x="198120" y="219075"/>
                </a:lnTo>
                <a:lnTo>
                  <a:pt x="295275" y="219075"/>
                </a:lnTo>
                <a:lnTo>
                  <a:pt x="319088" y="219075"/>
                </a:lnTo>
                <a:lnTo>
                  <a:pt x="330517" y="219075"/>
                </a:lnTo>
                <a:lnTo>
                  <a:pt x="333375" y="219075"/>
                </a:lnTo>
                <a:cubicBezTo>
                  <a:pt x="335280" y="219075"/>
                  <a:pt x="336233" y="219075"/>
                  <a:pt x="338138" y="220027"/>
                </a:cubicBezTo>
                <a:cubicBezTo>
                  <a:pt x="340995" y="220027"/>
                  <a:pt x="343853" y="220980"/>
                  <a:pt x="346710" y="222885"/>
                </a:cubicBezTo>
                <a:cubicBezTo>
                  <a:pt x="358140" y="226695"/>
                  <a:pt x="367665" y="236220"/>
                  <a:pt x="372428" y="247650"/>
                </a:cubicBezTo>
                <a:cubicBezTo>
                  <a:pt x="373380" y="250507"/>
                  <a:pt x="374333" y="253365"/>
                  <a:pt x="375285" y="256222"/>
                </a:cubicBezTo>
                <a:lnTo>
                  <a:pt x="375285" y="258127"/>
                </a:lnTo>
                <a:lnTo>
                  <a:pt x="375285" y="259080"/>
                </a:lnTo>
                <a:cubicBezTo>
                  <a:pt x="375285" y="260032"/>
                  <a:pt x="375285" y="259080"/>
                  <a:pt x="375285" y="260032"/>
                </a:cubicBezTo>
                <a:lnTo>
                  <a:pt x="375285" y="262890"/>
                </a:lnTo>
                <a:lnTo>
                  <a:pt x="375285" y="263842"/>
                </a:lnTo>
                <a:lnTo>
                  <a:pt x="376238" y="277177"/>
                </a:lnTo>
                <a:cubicBezTo>
                  <a:pt x="377190" y="294322"/>
                  <a:pt x="381000" y="312420"/>
                  <a:pt x="388620" y="327660"/>
                </a:cubicBezTo>
                <a:cubicBezTo>
                  <a:pt x="402908" y="360045"/>
                  <a:pt x="428625" y="386715"/>
                  <a:pt x="460058" y="401002"/>
                </a:cubicBezTo>
                <a:cubicBezTo>
                  <a:pt x="476250" y="408622"/>
                  <a:pt x="493395" y="412432"/>
                  <a:pt x="510540" y="414338"/>
                </a:cubicBezTo>
                <a:cubicBezTo>
                  <a:pt x="519113" y="415290"/>
                  <a:pt x="528638" y="415290"/>
                  <a:pt x="537210" y="415290"/>
                </a:cubicBezTo>
                <a:lnTo>
                  <a:pt x="561023" y="415290"/>
                </a:lnTo>
                <a:lnTo>
                  <a:pt x="599123" y="415290"/>
                </a:lnTo>
                <a:lnTo>
                  <a:pt x="623888" y="415290"/>
                </a:lnTo>
                <a:cubicBezTo>
                  <a:pt x="632460" y="415290"/>
                  <a:pt x="641985" y="415290"/>
                  <a:pt x="650558" y="414338"/>
                </a:cubicBezTo>
                <a:cubicBezTo>
                  <a:pt x="685800" y="412432"/>
                  <a:pt x="719138" y="396240"/>
                  <a:pt x="743903" y="372427"/>
                </a:cubicBezTo>
                <a:cubicBezTo>
                  <a:pt x="768668" y="347663"/>
                  <a:pt x="783908" y="314325"/>
                  <a:pt x="785813" y="279082"/>
                </a:cubicBezTo>
                <a:cubicBezTo>
                  <a:pt x="786765" y="270510"/>
                  <a:pt x="786765" y="260985"/>
                  <a:pt x="786765" y="252413"/>
                </a:cubicBezTo>
                <a:lnTo>
                  <a:pt x="786765" y="227647"/>
                </a:lnTo>
                <a:lnTo>
                  <a:pt x="786765" y="189547"/>
                </a:lnTo>
                <a:lnTo>
                  <a:pt x="786765" y="35242"/>
                </a:lnTo>
                <a:lnTo>
                  <a:pt x="786765" y="0"/>
                </a:lnTo>
                <a:lnTo>
                  <a:pt x="684848" y="0"/>
                </a:lnTo>
                <a:lnTo>
                  <a:pt x="684848" y="35242"/>
                </a:lnTo>
                <a:lnTo>
                  <a:pt x="684848" y="189547"/>
                </a:lnTo>
                <a:lnTo>
                  <a:pt x="684848" y="254317"/>
                </a:lnTo>
                <a:cubicBezTo>
                  <a:pt x="684848" y="269557"/>
                  <a:pt x="679133" y="285750"/>
                  <a:pt x="667703" y="297180"/>
                </a:cubicBezTo>
                <a:cubicBezTo>
                  <a:pt x="656273" y="308610"/>
                  <a:pt x="641033" y="314325"/>
                  <a:pt x="625793" y="314325"/>
                </a:cubicBezTo>
                <a:lnTo>
                  <a:pt x="561023" y="314325"/>
                </a:lnTo>
                <a:lnTo>
                  <a:pt x="535305" y="314325"/>
                </a:lnTo>
                <a:cubicBezTo>
                  <a:pt x="527685" y="314325"/>
                  <a:pt x="520065" y="312420"/>
                  <a:pt x="512445" y="309563"/>
                </a:cubicBezTo>
                <a:cubicBezTo>
                  <a:pt x="498158" y="303847"/>
                  <a:pt x="486728" y="291465"/>
                  <a:pt x="481013" y="276225"/>
                </a:cubicBezTo>
                <a:cubicBezTo>
                  <a:pt x="478155" y="268605"/>
                  <a:pt x="477203" y="260985"/>
                  <a:pt x="477203" y="253365"/>
                </a:cubicBezTo>
                <a:lnTo>
                  <a:pt x="477203" y="247650"/>
                </a:lnTo>
                <a:lnTo>
                  <a:pt x="477203" y="247650"/>
                </a:lnTo>
                <a:lnTo>
                  <a:pt x="477203" y="247650"/>
                </a:lnTo>
                <a:lnTo>
                  <a:pt x="477203" y="249555"/>
                </a:lnTo>
                <a:cubicBezTo>
                  <a:pt x="477203" y="250507"/>
                  <a:pt x="477203" y="248602"/>
                  <a:pt x="477203" y="248602"/>
                </a:cubicBezTo>
                <a:lnTo>
                  <a:pt x="476250" y="244792"/>
                </a:lnTo>
                <a:lnTo>
                  <a:pt x="475298" y="237172"/>
                </a:lnTo>
                <a:cubicBezTo>
                  <a:pt x="473392" y="227647"/>
                  <a:pt x="470535" y="218122"/>
                  <a:pt x="466725" y="208597"/>
                </a:cubicBezTo>
                <a:cubicBezTo>
                  <a:pt x="451485" y="172402"/>
                  <a:pt x="421005" y="142875"/>
                  <a:pt x="384810" y="128588"/>
                </a:cubicBezTo>
                <a:cubicBezTo>
                  <a:pt x="375285" y="124777"/>
                  <a:pt x="365760" y="121920"/>
                  <a:pt x="356235" y="120967"/>
                </a:cubicBezTo>
                <a:cubicBezTo>
                  <a:pt x="351473" y="120015"/>
                  <a:pt x="346710" y="119063"/>
                  <a:pt x="341948" y="119063"/>
                </a:cubicBezTo>
                <a:lnTo>
                  <a:pt x="332423" y="119063"/>
                </a:lnTo>
                <a:lnTo>
                  <a:pt x="320040" y="119063"/>
                </a:lnTo>
                <a:lnTo>
                  <a:pt x="296228" y="119063"/>
                </a:lnTo>
                <a:lnTo>
                  <a:pt x="198120" y="119063"/>
                </a:lnTo>
                <a:lnTo>
                  <a:pt x="198120" y="40005"/>
                </a:lnTo>
                <a:lnTo>
                  <a:pt x="0" y="168592"/>
                </a:lnTo>
                <a:close/>
              </a:path>
            </a:pathLst>
          </a:custGeom>
          <a:solidFill>
            <a:srgbClr val="D6D6CE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19" name="Forma Livre: Forma 18">
            <a:extLst>
              <a:ext uri="{FF2B5EF4-FFF2-40B4-BE49-F238E27FC236}">
                <a16:creationId xmlns:a16="http://schemas.microsoft.com/office/drawing/2014/main" id="{315F1B1A-BCF1-40A2-90B0-1263D78C31DE}"/>
              </a:ext>
            </a:extLst>
          </p:cNvPr>
          <p:cNvSpPr/>
          <p:nvPr/>
        </p:nvSpPr>
        <p:spPr>
          <a:xfrm>
            <a:off x="9792706" y="3447019"/>
            <a:ext cx="1919869" cy="1314819"/>
          </a:xfrm>
          <a:custGeom>
            <a:avLst/>
            <a:gdLst>
              <a:gd name="connsiteX0" fmla="*/ 785813 w 785812"/>
              <a:gd name="connsiteY0" fmla="*/ 129540 h 538162"/>
              <a:gd name="connsiteX1" fmla="*/ 587693 w 785812"/>
              <a:gd name="connsiteY1" fmla="*/ 0 h 538162"/>
              <a:gd name="connsiteX2" fmla="*/ 587693 w 785812"/>
              <a:gd name="connsiteY2" fmla="*/ 79058 h 538162"/>
              <a:gd name="connsiteX3" fmla="*/ 520065 w 785812"/>
              <a:gd name="connsiteY3" fmla="*/ 79058 h 538162"/>
              <a:gd name="connsiteX4" fmla="*/ 511492 w 785812"/>
              <a:gd name="connsiteY4" fmla="*/ 79058 h 538162"/>
              <a:gd name="connsiteX5" fmla="*/ 501967 w 785812"/>
              <a:gd name="connsiteY5" fmla="*/ 79058 h 538162"/>
              <a:gd name="connsiteX6" fmla="*/ 479108 w 785812"/>
              <a:gd name="connsiteY6" fmla="*/ 80963 h 538162"/>
              <a:gd name="connsiteX7" fmla="*/ 457200 w 785812"/>
              <a:gd name="connsiteY7" fmla="*/ 85725 h 538162"/>
              <a:gd name="connsiteX8" fmla="*/ 435292 w 785812"/>
              <a:gd name="connsiteY8" fmla="*/ 92392 h 538162"/>
              <a:gd name="connsiteX9" fmla="*/ 349567 w 785812"/>
              <a:gd name="connsiteY9" fmla="*/ 158115 h 538162"/>
              <a:gd name="connsiteX10" fmla="*/ 323850 w 785812"/>
              <a:gd name="connsiteY10" fmla="*/ 206692 h 538162"/>
              <a:gd name="connsiteX11" fmla="*/ 312420 w 785812"/>
              <a:gd name="connsiteY11" fmla="*/ 260033 h 538162"/>
              <a:gd name="connsiteX12" fmla="*/ 311467 w 785812"/>
              <a:gd name="connsiteY12" fmla="*/ 273367 h 538162"/>
              <a:gd name="connsiteX13" fmla="*/ 311467 w 785812"/>
              <a:gd name="connsiteY13" fmla="*/ 283845 h 538162"/>
              <a:gd name="connsiteX14" fmla="*/ 311467 w 785812"/>
              <a:gd name="connsiteY14" fmla="*/ 303847 h 538162"/>
              <a:gd name="connsiteX15" fmla="*/ 311467 w 785812"/>
              <a:gd name="connsiteY15" fmla="*/ 343852 h 538162"/>
              <a:gd name="connsiteX16" fmla="*/ 307658 w 785812"/>
              <a:gd name="connsiteY16" fmla="*/ 369570 h 538162"/>
              <a:gd name="connsiteX17" fmla="*/ 296227 w 785812"/>
              <a:gd name="connsiteY17" fmla="*/ 393383 h 538162"/>
              <a:gd name="connsiteX18" fmla="*/ 256223 w 785812"/>
              <a:gd name="connsiteY18" fmla="*/ 427672 h 538162"/>
              <a:gd name="connsiteX19" fmla="*/ 231458 w 785812"/>
              <a:gd name="connsiteY19" fmla="*/ 435292 h 538162"/>
              <a:gd name="connsiteX20" fmla="*/ 218123 w 785812"/>
              <a:gd name="connsiteY20" fmla="*/ 436245 h 538162"/>
              <a:gd name="connsiteX21" fmla="*/ 198120 w 785812"/>
              <a:gd name="connsiteY21" fmla="*/ 436245 h 538162"/>
              <a:gd name="connsiteX22" fmla="*/ 35242 w 785812"/>
              <a:gd name="connsiteY22" fmla="*/ 436245 h 538162"/>
              <a:gd name="connsiteX23" fmla="*/ 0 w 785812"/>
              <a:gd name="connsiteY23" fmla="*/ 436245 h 538162"/>
              <a:gd name="connsiteX24" fmla="*/ 0 w 785812"/>
              <a:gd name="connsiteY24" fmla="*/ 538163 h 538162"/>
              <a:gd name="connsiteX25" fmla="*/ 35242 w 785812"/>
              <a:gd name="connsiteY25" fmla="*/ 538163 h 538162"/>
              <a:gd name="connsiteX26" fmla="*/ 198120 w 785812"/>
              <a:gd name="connsiteY26" fmla="*/ 538163 h 538162"/>
              <a:gd name="connsiteX27" fmla="*/ 219075 w 785812"/>
              <a:gd name="connsiteY27" fmla="*/ 538163 h 538162"/>
              <a:gd name="connsiteX28" fmla="*/ 246698 w 785812"/>
              <a:gd name="connsiteY28" fmla="*/ 536258 h 538162"/>
              <a:gd name="connsiteX29" fmla="*/ 299085 w 785812"/>
              <a:gd name="connsiteY29" fmla="*/ 521017 h 538162"/>
              <a:gd name="connsiteX30" fmla="*/ 381000 w 785812"/>
              <a:gd name="connsiteY30" fmla="*/ 450533 h 538162"/>
              <a:gd name="connsiteX31" fmla="*/ 403860 w 785812"/>
              <a:gd name="connsiteY31" fmla="*/ 401002 h 538162"/>
              <a:gd name="connsiteX32" fmla="*/ 412433 w 785812"/>
              <a:gd name="connsiteY32" fmla="*/ 346710 h 538162"/>
              <a:gd name="connsiteX33" fmla="*/ 412433 w 785812"/>
              <a:gd name="connsiteY33" fmla="*/ 304800 h 538162"/>
              <a:gd name="connsiteX34" fmla="*/ 412433 w 785812"/>
              <a:gd name="connsiteY34" fmla="*/ 284797 h 538162"/>
              <a:gd name="connsiteX35" fmla="*/ 412433 w 785812"/>
              <a:gd name="connsiteY35" fmla="*/ 274320 h 538162"/>
              <a:gd name="connsiteX36" fmla="*/ 412433 w 785812"/>
              <a:gd name="connsiteY36" fmla="*/ 267652 h 538162"/>
              <a:gd name="connsiteX37" fmla="*/ 471488 w 785812"/>
              <a:gd name="connsiteY37" fmla="*/ 186690 h 538162"/>
              <a:gd name="connsiteX38" fmla="*/ 481965 w 785812"/>
              <a:gd name="connsiteY38" fmla="*/ 183833 h 538162"/>
              <a:gd name="connsiteX39" fmla="*/ 492442 w 785812"/>
              <a:gd name="connsiteY39" fmla="*/ 181927 h 538162"/>
              <a:gd name="connsiteX40" fmla="*/ 502920 w 785812"/>
              <a:gd name="connsiteY40" fmla="*/ 180975 h 538162"/>
              <a:gd name="connsiteX41" fmla="*/ 510540 w 785812"/>
              <a:gd name="connsiteY41" fmla="*/ 180975 h 538162"/>
              <a:gd name="connsiteX42" fmla="*/ 519113 w 785812"/>
              <a:gd name="connsiteY42" fmla="*/ 180975 h 538162"/>
              <a:gd name="connsiteX43" fmla="*/ 586740 w 785812"/>
              <a:gd name="connsiteY43" fmla="*/ 180975 h 538162"/>
              <a:gd name="connsiteX44" fmla="*/ 586740 w 785812"/>
              <a:gd name="connsiteY44" fmla="*/ 260033 h 538162"/>
              <a:gd name="connsiteX45" fmla="*/ 785813 w 785812"/>
              <a:gd name="connsiteY45" fmla="*/ 129540 h 538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785812" h="538162">
                <a:moveTo>
                  <a:pt x="785813" y="129540"/>
                </a:moveTo>
                <a:lnTo>
                  <a:pt x="587693" y="0"/>
                </a:lnTo>
                <a:lnTo>
                  <a:pt x="587693" y="79058"/>
                </a:lnTo>
                <a:lnTo>
                  <a:pt x="520065" y="79058"/>
                </a:lnTo>
                <a:lnTo>
                  <a:pt x="511492" y="79058"/>
                </a:lnTo>
                <a:cubicBezTo>
                  <a:pt x="508635" y="79058"/>
                  <a:pt x="505777" y="79058"/>
                  <a:pt x="501967" y="79058"/>
                </a:cubicBezTo>
                <a:cubicBezTo>
                  <a:pt x="494348" y="79058"/>
                  <a:pt x="486727" y="79058"/>
                  <a:pt x="479108" y="80963"/>
                </a:cubicBezTo>
                <a:cubicBezTo>
                  <a:pt x="471488" y="81915"/>
                  <a:pt x="463867" y="82867"/>
                  <a:pt x="457200" y="85725"/>
                </a:cubicBezTo>
                <a:cubicBezTo>
                  <a:pt x="449580" y="87630"/>
                  <a:pt x="442913" y="90488"/>
                  <a:pt x="435292" y="92392"/>
                </a:cubicBezTo>
                <a:cubicBezTo>
                  <a:pt x="401002" y="105727"/>
                  <a:pt x="370523" y="128588"/>
                  <a:pt x="349567" y="158115"/>
                </a:cubicBezTo>
                <a:cubicBezTo>
                  <a:pt x="338138" y="172402"/>
                  <a:pt x="329565" y="188595"/>
                  <a:pt x="323850" y="206692"/>
                </a:cubicBezTo>
                <a:cubicBezTo>
                  <a:pt x="317183" y="223838"/>
                  <a:pt x="313373" y="241935"/>
                  <a:pt x="312420" y="260033"/>
                </a:cubicBezTo>
                <a:lnTo>
                  <a:pt x="311467" y="273367"/>
                </a:lnTo>
                <a:lnTo>
                  <a:pt x="311467" y="283845"/>
                </a:lnTo>
                <a:lnTo>
                  <a:pt x="311467" y="303847"/>
                </a:lnTo>
                <a:lnTo>
                  <a:pt x="311467" y="343852"/>
                </a:lnTo>
                <a:cubicBezTo>
                  <a:pt x="311467" y="352425"/>
                  <a:pt x="309563" y="360997"/>
                  <a:pt x="307658" y="369570"/>
                </a:cubicBezTo>
                <a:cubicBezTo>
                  <a:pt x="304800" y="378142"/>
                  <a:pt x="300990" y="385763"/>
                  <a:pt x="296227" y="393383"/>
                </a:cubicBezTo>
                <a:cubicBezTo>
                  <a:pt x="286702" y="407670"/>
                  <a:pt x="272415" y="420052"/>
                  <a:pt x="256223" y="427672"/>
                </a:cubicBezTo>
                <a:cubicBezTo>
                  <a:pt x="248602" y="431483"/>
                  <a:pt x="240030" y="434340"/>
                  <a:pt x="231458" y="435292"/>
                </a:cubicBezTo>
                <a:cubicBezTo>
                  <a:pt x="226695" y="436245"/>
                  <a:pt x="222885" y="436245"/>
                  <a:pt x="218123" y="436245"/>
                </a:cubicBezTo>
                <a:lnTo>
                  <a:pt x="198120" y="436245"/>
                </a:lnTo>
                <a:lnTo>
                  <a:pt x="35242" y="436245"/>
                </a:lnTo>
                <a:lnTo>
                  <a:pt x="0" y="436245"/>
                </a:lnTo>
                <a:lnTo>
                  <a:pt x="0" y="538163"/>
                </a:lnTo>
                <a:lnTo>
                  <a:pt x="35242" y="538163"/>
                </a:lnTo>
                <a:lnTo>
                  <a:pt x="198120" y="538163"/>
                </a:lnTo>
                <a:lnTo>
                  <a:pt x="219075" y="538163"/>
                </a:lnTo>
                <a:cubicBezTo>
                  <a:pt x="228600" y="538163"/>
                  <a:pt x="237173" y="537210"/>
                  <a:pt x="246698" y="536258"/>
                </a:cubicBezTo>
                <a:cubicBezTo>
                  <a:pt x="264795" y="533400"/>
                  <a:pt x="282892" y="528638"/>
                  <a:pt x="299085" y="521017"/>
                </a:cubicBezTo>
                <a:cubicBezTo>
                  <a:pt x="332423" y="505777"/>
                  <a:pt x="360998" y="481013"/>
                  <a:pt x="381000" y="450533"/>
                </a:cubicBezTo>
                <a:cubicBezTo>
                  <a:pt x="391477" y="435292"/>
                  <a:pt x="399098" y="418147"/>
                  <a:pt x="403860" y="401002"/>
                </a:cubicBezTo>
                <a:cubicBezTo>
                  <a:pt x="408623" y="382905"/>
                  <a:pt x="412433" y="364808"/>
                  <a:pt x="412433" y="346710"/>
                </a:cubicBezTo>
                <a:lnTo>
                  <a:pt x="412433" y="304800"/>
                </a:lnTo>
                <a:lnTo>
                  <a:pt x="412433" y="284797"/>
                </a:lnTo>
                <a:lnTo>
                  <a:pt x="412433" y="274320"/>
                </a:lnTo>
                <a:lnTo>
                  <a:pt x="412433" y="267652"/>
                </a:lnTo>
                <a:cubicBezTo>
                  <a:pt x="414338" y="232410"/>
                  <a:pt x="439102" y="200025"/>
                  <a:pt x="471488" y="186690"/>
                </a:cubicBezTo>
                <a:cubicBezTo>
                  <a:pt x="475298" y="185738"/>
                  <a:pt x="478155" y="183833"/>
                  <a:pt x="481965" y="183833"/>
                </a:cubicBezTo>
                <a:cubicBezTo>
                  <a:pt x="485775" y="182880"/>
                  <a:pt x="488633" y="181927"/>
                  <a:pt x="492442" y="181927"/>
                </a:cubicBezTo>
                <a:cubicBezTo>
                  <a:pt x="496252" y="180975"/>
                  <a:pt x="500063" y="180975"/>
                  <a:pt x="502920" y="180975"/>
                </a:cubicBezTo>
                <a:cubicBezTo>
                  <a:pt x="503873" y="180975"/>
                  <a:pt x="507683" y="180975"/>
                  <a:pt x="510540" y="180975"/>
                </a:cubicBezTo>
                <a:lnTo>
                  <a:pt x="519113" y="180975"/>
                </a:lnTo>
                <a:lnTo>
                  <a:pt x="586740" y="180975"/>
                </a:lnTo>
                <a:lnTo>
                  <a:pt x="586740" y="260033"/>
                </a:lnTo>
                <a:lnTo>
                  <a:pt x="785813" y="129540"/>
                </a:lnTo>
                <a:close/>
              </a:path>
            </a:pathLst>
          </a:custGeom>
          <a:solidFill>
            <a:srgbClr val="26314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20" name="Forma Livre: Forma 19">
            <a:extLst>
              <a:ext uri="{FF2B5EF4-FFF2-40B4-BE49-F238E27FC236}">
                <a16:creationId xmlns:a16="http://schemas.microsoft.com/office/drawing/2014/main" id="{6820BF7F-2240-49E9-B808-D0E7BD1B1AA9}"/>
              </a:ext>
            </a:extLst>
          </p:cNvPr>
          <p:cNvSpPr/>
          <p:nvPr/>
        </p:nvSpPr>
        <p:spPr>
          <a:xfrm>
            <a:off x="778196" y="4985240"/>
            <a:ext cx="1880309" cy="1033237"/>
          </a:xfrm>
          <a:custGeom>
            <a:avLst/>
            <a:gdLst>
              <a:gd name="connsiteX0" fmla="*/ 769620 w 769620"/>
              <a:gd name="connsiteY0" fmla="*/ 129540 h 422909"/>
              <a:gd name="connsiteX1" fmla="*/ 670560 w 769620"/>
              <a:gd name="connsiteY1" fmla="*/ 64770 h 422909"/>
              <a:gd name="connsiteX2" fmla="*/ 621030 w 769620"/>
              <a:gd name="connsiteY2" fmla="*/ 32385 h 422909"/>
              <a:gd name="connsiteX3" fmla="*/ 596265 w 769620"/>
              <a:gd name="connsiteY3" fmla="*/ 16192 h 422909"/>
              <a:gd name="connsiteX4" fmla="*/ 583883 w 769620"/>
              <a:gd name="connsiteY4" fmla="*/ 7620 h 422909"/>
              <a:gd name="connsiteX5" fmla="*/ 569595 w 769620"/>
              <a:gd name="connsiteY5" fmla="*/ 0 h 422909"/>
              <a:gd name="connsiteX6" fmla="*/ 570548 w 769620"/>
              <a:gd name="connsiteY6" fmla="*/ 79058 h 422909"/>
              <a:gd name="connsiteX7" fmla="*/ 428625 w 769620"/>
              <a:gd name="connsiteY7" fmla="*/ 90488 h 422909"/>
              <a:gd name="connsiteX8" fmla="*/ 304800 w 769620"/>
              <a:gd name="connsiteY8" fmla="*/ 119063 h 422909"/>
              <a:gd name="connsiteX9" fmla="*/ 184785 w 769620"/>
              <a:gd name="connsiteY9" fmla="*/ 169545 h 422909"/>
              <a:gd name="connsiteX10" fmla="*/ 76200 w 769620"/>
              <a:gd name="connsiteY10" fmla="*/ 250508 h 422909"/>
              <a:gd name="connsiteX11" fmla="*/ 4763 w 769620"/>
              <a:gd name="connsiteY11" fmla="*/ 378142 h 422909"/>
              <a:gd name="connsiteX12" fmla="*/ 0 w 769620"/>
              <a:gd name="connsiteY12" fmla="*/ 422910 h 422909"/>
              <a:gd name="connsiteX13" fmla="*/ 102870 w 769620"/>
              <a:gd name="connsiteY13" fmla="*/ 422910 h 422909"/>
              <a:gd name="connsiteX14" fmla="*/ 105727 w 769620"/>
              <a:gd name="connsiteY14" fmla="*/ 399097 h 422909"/>
              <a:gd name="connsiteX15" fmla="*/ 150495 w 769620"/>
              <a:gd name="connsiteY15" fmla="*/ 320040 h 422909"/>
              <a:gd name="connsiteX16" fmla="*/ 234315 w 769620"/>
              <a:gd name="connsiteY16" fmla="*/ 258127 h 422909"/>
              <a:gd name="connsiteX17" fmla="*/ 445770 w 769620"/>
              <a:gd name="connsiteY17" fmla="*/ 190500 h 422909"/>
              <a:gd name="connsiteX18" fmla="*/ 572453 w 769620"/>
              <a:gd name="connsiteY18" fmla="*/ 180022 h 422909"/>
              <a:gd name="connsiteX19" fmla="*/ 573405 w 769620"/>
              <a:gd name="connsiteY19" fmla="*/ 259080 h 422909"/>
              <a:gd name="connsiteX20" fmla="*/ 583883 w 769620"/>
              <a:gd name="connsiteY20" fmla="*/ 250508 h 422909"/>
              <a:gd name="connsiteX21" fmla="*/ 596265 w 769620"/>
              <a:gd name="connsiteY21" fmla="*/ 241935 h 422909"/>
              <a:gd name="connsiteX22" fmla="*/ 621030 w 769620"/>
              <a:gd name="connsiteY22" fmla="*/ 225742 h 422909"/>
              <a:gd name="connsiteX23" fmla="*/ 670560 w 769620"/>
              <a:gd name="connsiteY23" fmla="*/ 193358 h 422909"/>
              <a:gd name="connsiteX24" fmla="*/ 769620 w 769620"/>
              <a:gd name="connsiteY24" fmla="*/ 129540 h 422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769620" h="422909">
                <a:moveTo>
                  <a:pt x="769620" y="129540"/>
                </a:moveTo>
                <a:lnTo>
                  <a:pt x="670560" y="64770"/>
                </a:lnTo>
                <a:lnTo>
                  <a:pt x="621030" y="32385"/>
                </a:lnTo>
                <a:lnTo>
                  <a:pt x="596265" y="16192"/>
                </a:lnTo>
                <a:lnTo>
                  <a:pt x="583883" y="7620"/>
                </a:lnTo>
                <a:lnTo>
                  <a:pt x="569595" y="0"/>
                </a:lnTo>
                <a:lnTo>
                  <a:pt x="570548" y="79058"/>
                </a:lnTo>
                <a:cubicBezTo>
                  <a:pt x="522923" y="80010"/>
                  <a:pt x="476250" y="83820"/>
                  <a:pt x="428625" y="90488"/>
                </a:cubicBezTo>
                <a:cubicBezTo>
                  <a:pt x="386715" y="97155"/>
                  <a:pt x="344805" y="106680"/>
                  <a:pt x="304800" y="119063"/>
                </a:cubicBezTo>
                <a:cubicBezTo>
                  <a:pt x="263843" y="131445"/>
                  <a:pt x="223838" y="148590"/>
                  <a:pt x="184785" y="169545"/>
                </a:cubicBezTo>
                <a:cubicBezTo>
                  <a:pt x="146685" y="190500"/>
                  <a:pt x="108585" y="216217"/>
                  <a:pt x="76200" y="250508"/>
                </a:cubicBezTo>
                <a:cubicBezTo>
                  <a:pt x="43815" y="283845"/>
                  <a:pt x="16192" y="327660"/>
                  <a:pt x="4763" y="378142"/>
                </a:cubicBezTo>
                <a:cubicBezTo>
                  <a:pt x="1905" y="392430"/>
                  <a:pt x="0" y="407670"/>
                  <a:pt x="0" y="422910"/>
                </a:cubicBezTo>
                <a:lnTo>
                  <a:pt x="102870" y="422910"/>
                </a:lnTo>
                <a:cubicBezTo>
                  <a:pt x="102870" y="415290"/>
                  <a:pt x="103823" y="406717"/>
                  <a:pt x="105727" y="399097"/>
                </a:cubicBezTo>
                <a:cubicBezTo>
                  <a:pt x="111443" y="371475"/>
                  <a:pt x="127635" y="344805"/>
                  <a:pt x="150495" y="320040"/>
                </a:cubicBezTo>
                <a:cubicBezTo>
                  <a:pt x="173355" y="296227"/>
                  <a:pt x="202883" y="275272"/>
                  <a:pt x="234315" y="258127"/>
                </a:cubicBezTo>
                <a:cubicBezTo>
                  <a:pt x="298133" y="223838"/>
                  <a:pt x="371475" y="201930"/>
                  <a:pt x="445770" y="190500"/>
                </a:cubicBezTo>
                <a:cubicBezTo>
                  <a:pt x="487680" y="183833"/>
                  <a:pt x="530543" y="180022"/>
                  <a:pt x="572453" y="180022"/>
                </a:cubicBezTo>
                <a:lnTo>
                  <a:pt x="573405" y="259080"/>
                </a:lnTo>
                <a:lnTo>
                  <a:pt x="583883" y="250508"/>
                </a:lnTo>
                <a:lnTo>
                  <a:pt x="596265" y="241935"/>
                </a:lnTo>
                <a:lnTo>
                  <a:pt x="621030" y="225742"/>
                </a:lnTo>
                <a:lnTo>
                  <a:pt x="670560" y="193358"/>
                </a:lnTo>
                <a:lnTo>
                  <a:pt x="769620" y="129540"/>
                </a:lnTo>
                <a:close/>
              </a:path>
            </a:pathLst>
          </a:custGeom>
          <a:solidFill>
            <a:srgbClr val="26314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21" name="Forma Livre: Forma 20">
            <a:extLst>
              <a:ext uri="{FF2B5EF4-FFF2-40B4-BE49-F238E27FC236}">
                <a16:creationId xmlns:a16="http://schemas.microsoft.com/office/drawing/2014/main" id="{1B0F792D-D481-433E-8B31-650450102E97}"/>
              </a:ext>
            </a:extLst>
          </p:cNvPr>
          <p:cNvSpPr/>
          <p:nvPr/>
        </p:nvSpPr>
        <p:spPr>
          <a:xfrm>
            <a:off x="3414635" y="5078323"/>
            <a:ext cx="1668540" cy="847070"/>
          </a:xfrm>
          <a:custGeom>
            <a:avLst/>
            <a:gdLst>
              <a:gd name="connsiteX0" fmla="*/ 682943 w 682942"/>
              <a:gd name="connsiteY0" fmla="*/ 0 h 346710"/>
              <a:gd name="connsiteX1" fmla="*/ 451485 w 682942"/>
              <a:gd name="connsiteY1" fmla="*/ 47625 h 346710"/>
              <a:gd name="connsiteX2" fmla="*/ 507683 w 682942"/>
              <a:gd name="connsiteY2" fmla="*/ 103823 h 346710"/>
              <a:gd name="connsiteX3" fmla="*/ 461963 w 682942"/>
              <a:gd name="connsiteY3" fmla="*/ 146685 h 346710"/>
              <a:gd name="connsiteX4" fmla="*/ 413385 w 682942"/>
              <a:gd name="connsiteY4" fmla="*/ 181928 h 346710"/>
              <a:gd name="connsiteX5" fmla="*/ 239078 w 682942"/>
              <a:gd name="connsiteY5" fmla="*/ 241935 h 346710"/>
              <a:gd name="connsiteX6" fmla="*/ 192405 w 682942"/>
              <a:gd name="connsiteY6" fmla="*/ 244793 h 346710"/>
              <a:gd name="connsiteX7" fmla="*/ 140018 w 682942"/>
              <a:gd name="connsiteY7" fmla="*/ 244793 h 346710"/>
              <a:gd name="connsiteX8" fmla="*/ 35243 w 682942"/>
              <a:gd name="connsiteY8" fmla="*/ 244793 h 346710"/>
              <a:gd name="connsiteX9" fmla="*/ 0 w 682942"/>
              <a:gd name="connsiteY9" fmla="*/ 244793 h 346710"/>
              <a:gd name="connsiteX10" fmla="*/ 0 w 682942"/>
              <a:gd name="connsiteY10" fmla="*/ 346710 h 346710"/>
              <a:gd name="connsiteX11" fmla="*/ 35243 w 682942"/>
              <a:gd name="connsiteY11" fmla="*/ 346710 h 346710"/>
              <a:gd name="connsiteX12" fmla="*/ 139065 w 682942"/>
              <a:gd name="connsiteY12" fmla="*/ 346710 h 346710"/>
              <a:gd name="connsiteX13" fmla="*/ 191453 w 682942"/>
              <a:gd name="connsiteY13" fmla="*/ 346710 h 346710"/>
              <a:gd name="connsiteX14" fmla="*/ 248603 w 682942"/>
              <a:gd name="connsiteY14" fmla="*/ 342900 h 346710"/>
              <a:gd name="connsiteX15" fmla="*/ 464820 w 682942"/>
              <a:gd name="connsiteY15" fmla="*/ 268605 h 346710"/>
              <a:gd name="connsiteX16" fmla="*/ 525780 w 682942"/>
              <a:gd name="connsiteY16" fmla="*/ 224790 h 346710"/>
              <a:gd name="connsiteX17" fmla="*/ 578168 w 682942"/>
              <a:gd name="connsiteY17" fmla="*/ 175260 h 346710"/>
              <a:gd name="connsiteX18" fmla="*/ 634365 w 682942"/>
              <a:gd name="connsiteY18" fmla="*/ 231458 h 346710"/>
              <a:gd name="connsiteX19" fmla="*/ 682943 w 682942"/>
              <a:gd name="connsiteY19" fmla="*/ 0 h 346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682942" h="346710">
                <a:moveTo>
                  <a:pt x="682943" y="0"/>
                </a:moveTo>
                <a:lnTo>
                  <a:pt x="451485" y="47625"/>
                </a:lnTo>
                <a:lnTo>
                  <a:pt x="507683" y="103823"/>
                </a:lnTo>
                <a:cubicBezTo>
                  <a:pt x="491490" y="120015"/>
                  <a:pt x="477203" y="133350"/>
                  <a:pt x="461963" y="146685"/>
                </a:cubicBezTo>
                <a:cubicBezTo>
                  <a:pt x="446723" y="159068"/>
                  <a:pt x="430530" y="171450"/>
                  <a:pt x="413385" y="181928"/>
                </a:cubicBezTo>
                <a:cubicBezTo>
                  <a:pt x="360998" y="214313"/>
                  <a:pt x="300038" y="235268"/>
                  <a:pt x="239078" y="241935"/>
                </a:cubicBezTo>
                <a:cubicBezTo>
                  <a:pt x="223838" y="243840"/>
                  <a:pt x="208598" y="244793"/>
                  <a:pt x="192405" y="244793"/>
                </a:cubicBezTo>
                <a:lnTo>
                  <a:pt x="140018" y="244793"/>
                </a:lnTo>
                <a:lnTo>
                  <a:pt x="35243" y="244793"/>
                </a:lnTo>
                <a:lnTo>
                  <a:pt x="0" y="244793"/>
                </a:lnTo>
                <a:lnTo>
                  <a:pt x="0" y="346710"/>
                </a:lnTo>
                <a:lnTo>
                  <a:pt x="35243" y="346710"/>
                </a:lnTo>
                <a:lnTo>
                  <a:pt x="139065" y="346710"/>
                </a:lnTo>
                <a:lnTo>
                  <a:pt x="191453" y="346710"/>
                </a:lnTo>
                <a:cubicBezTo>
                  <a:pt x="210503" y="346710"/>
                  <a:pt x="229553" y="345758"/>
                  <a:pt x="248603" y="342900"/>
                </a:cubicBezTo>
                <a:cubicBezTo>
                  <a:pt x="324803" y="334328"/>
                  <a:pt x="399098" y="308610"/>
                  <a:pt x="464820" y="268605"/>
                </a:cubicBezTo>
                <a:cubicBezTo>
                  <a:pt x="485775" y="256223"/>
                  <a:pt x="505778" y="240983"/>
                  <a:pt x="525780" y="224790"/>
                </a:cubicBezTo>
                <a:cubicBezTo>
                  <a:pt x="544830" y="209550"/>
                  <a:pt x="562928" y="190500"/>
                  <a:pt x="578168" y="175260"/>
                </a:cubicBezTo>
                <a:lnTo>
                  <a:pt x="634365" y="231458"/>
                </a:lnTo>
                <a:lnTo>
                  <a:pt x="682943" y="0"/>
                </a:lnTo>
                <a:close/>
              </a:path>
            </a:pathLst>
          </a:custGeom>
          <a:solidFill>
            <a:srgbClr val="26314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22" name="Forma Livre: Forma 21">
            <a:extLst>
              <a:ext uri="{FF2B5EF4-FFF2-40B4-BE49-F238E27FC236}">
                <a16:creationId xmlns:a16="http://schemas.microsoft.com/office/drawing/2014/main" id="{B171377D-ACD3-4701-B2EC-030A662943B2}"/>
              </a:ext>
            </a:extLst>
          </p:cNvPr>
          <p:cNvSpPr/>
          <p:nvPr/>
        </p:nvSpPr>
        <p:spPr>
          <a:xfrm>
            <a:off x="5839305" y="4985239"/>
            <a:ext cx="1514951" cy="1033239"/>
          </a:xfrm>
          <a:custGeom>
            <a:avLst/>
            <a:gdLst>
              <a:gd name="connsiteX0" fmla="*/ 129540 w 620077"/>
              <a:gd name="connsiteY0" fmla="*/ 0 h 422910"/>
              <a:gd name="connsiteX1" fmla="*/ 0 w 620077"/>
              <a:gd name="connsiteY1" fmla="*/ 198120 h 422910"/>
              <a:gd name="connsiteX2" fmla="*/ 79058 w 620077"/>
              <a:gd name="connsiteY2" fmla="*/ 198120 h 422910"/>
              <a:gd name="connsiteX3" fmla="*/ 79058 w 620077"/>
              <a:gd name="connsiteY3" fmla="*/ 206693 h 422910"/>
              <a:gd name="connsiteX4" fmla="*/ 79058 w 620077"/>
              <a:gd name="connsiteY4" fmla="*/ 211455 h 422910"/>
              <a:gd name="connsiteX5" fmla="*/ 79058 w 620077"/>
              <a:gd name="connsiteY5" fmla="*/ 217170 h 422910"/>
              <a:gd name="connsiteX6" fmla="*/ 80963 w 620077"/>
              <a:gd name="connsiteY6" fmla="*/ 239078 h 422910"/>
              <a:gd name="connsiteX7" fmla="*/ 91440 w 620077"/>
              <a:gd name="connsiteY7" fmla="*/ 281940 h 422910"/>
              <a:gd name="connsiteX8" fmla="*/ 137160 w 620077"/>
              <a:gd name="connsiteY8" fmla="*/ 357188 h 422910"/>
              <a:gd name="connsiteX9" fmla="*/ 259080 w 620077"/>
              <a:gd name="connsiteY9" fmla="*/ 420053 h 422910"/>
              <a:gd name="connsiteX10" fmla="*/ 276225 w 620077"/>
              <a:gd name="connsiteY10" fmla="*/ 421958 h 422910"/>
              <a:gd name="connsiteX11" fmla="*/ 292418 w 620077"/>
              <a:gd name="connsiteY11" fmla="*/ 422910 h 422910"/>
              <a:gd name="connsiteX12" fmla="*/ 319088 w 620077"/>
              <a:gd name="connsiteY12" fmla="*/ 422910 h 422910"/>
              <a:gd name="connsiteX13" fmla="*/ 372428 w 620077"/>
              <a:gd name="connsiteY13" fmla="*/ 422910 h 422910"/>
              <a:gd name="connsiteX14" fmla="*/ 584835 w 620077"/>
              <a:gd name="connsiteY14" fmla="*/ 422910 h 422910"/>
              <a:gd name="connsiteX15" fmla="*/ 620078 w 620077"/>
              <a:gd name="connsiteY15" fmla="*/ 422910 h 422910"/>
              <a:gd name="connsiteX16" fmla="*/ 620078 w 620077"/>
              <a:gd name="connsiteY16" fmla="*/ 320040 h 422910"/>
              <a:gd name="connsiteX17" fmla="*/ 584835 w 620077"/>
              <a:gd name="connsiteY17" fmla="*/ 320040 h 422910"/>
              <a:gd name="connsiteX18" fmla="*/ 372428 w 620077"/>
              <a:gd name="connsiteY18" fmla="*/ 320040 h 422910"/>
              <a:gd name="connsiteX19" fmla="*/ 319088 w 620077"/>
              <a:gd name="connsiteY19" fmla="*/ 320040 h 422910"/>
              <a:gd name="connsiteX20" fmla="*/ 292418 w 620077"/>
              <a:gd name="connsiteY20" fmla="*/ 320040 h 422910"/>
              <a:gd name="connsiteX21" fmla="*/ 282893 w 620077"/>
              <a:gd name="connsiteY21" fmla="*/ 320040 h 422910"/>
              <a:gd name="connsiteX22" fmla="*/ 274320 w 620077"/>
              <a:gd name="connsiteY22" fmla="*/ 319088 h 422910"/>
              <a:gd name="connsiteX23" fmla="*/ 211455 w 620077"/>
              <a:gd name="connsiteY23" fmla="*/ 286703 h 422910"/>
              <a:gd name="connsiteX24" fmla="*/ 187643 w 620077"/>
              <a:gd name="connsiteY24" fmla="*/ 247650 h 422910"/>
              <a:gd name="connsiteX25" fmla="*/ 181928 w 620077"/>
              <a:gd name="connsiteY25" fmla="*/ 225743 h 422910"/>
              <a:gd name="connsiteX26" fmla="*/ 180975 w 620077"/>
              <a:gd name="connsiteY26" fmla="*/ 214313 h 422910"/>
              <a:gd name="connsiteX27" fmla="*/ 180975 w 620077"/>
              <a:gd name="connsiteY27" fmla="*/ 211455 h 422910"/>
              <a:gd name="connsiteX28" fmla="*/ 180975 w 620077"/>
              <a:gd name="connsiteY28" fmla="*/ 207645 h 422910"/>
              <a:gd name="connsiteX29" fmla="*/ 180975 w 620077"/>
              <a:gd name="connsiteY29" fmla="*/ 199073 h 422910"/>
              <a:gd name="connsiteX30" fmla="*/ 260033 w 620077"/>
              <a:gd name="connsiteY30" fmla="*/ 199073 h 422910"/>
              <a:gd name="connsiteX31" fmla="*/ 129540 w 620077"/>
              <a:gd name="connsiteY31" fmla="*/ 0 h 422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620077" h="422910">
                <a:moveTo>
                  <a:pt x="129540" y="0"/>
                </a:moveTo>
                <a:lnTo>
                  <a:pt x="0" y="198120"/>
                </a:lnTo>
                <a:lnTo>
                  <a:pt x="79058" y="198120"/>
                </a:lnTo>
                <a:lnTo>
                  <a:pt x="79058" y="206693"/>
                </a:lnTo>
                <a:lnTo>
                  <a:pt x="79058" y="211455"/>
                </a:lnTo>
                <a:lnTo>
                  <a:pt x="79058" y="217170"/>
                </a:lnTo>
                <a:cubicBezTo>
                  <a:pt x="79058" y="224790"/>
                  <a:pt x="79058" y="231458"/>
                  <a:pt x="80963" y="239078"/>
                </a:cubicBezTo>
                <a:cubicBezTo>
                  <a:pt x="82868" y="253365"/>
                  <a:pt x="86678" y="268605"/>
                  <a:pt x="91440" y="281940"/>
                </a:cubicBezTo>
                <a:cubicBezTo>
                  <a:pt x="100965" y="309563"/>
                  <a:pt x="117158" y="335280"/>
                  <a:pt x="137160" y="357188"/>
                </a:cubicBezTo>
                <a:cubicBezTo>
                  <a:pt x="169545" y="390525"/>
                  <a:pt x="212408" y="414338"/>
                  <a:pt x="259080" y="420053"/>
                </a:cubicBezTo>
                <a:cubicBezTo>
                  <a:pt x="264795" y="421005"/>
                  <a:pt x="270510" y="421958"/>
                  <a:pt x="276225" y="421958"/>
                </a:cubicBezTo>
                <a:cubicBezTo>
                  <a:pt x="281940" y="421958"/>
                  <a:pt x="288608" y="422910"/>
                  <a:pt x="292418" y="422910"/>
                </a:cubicBezTo>
                <a:lnTo>
                  <a:pt x="319088" y="422910"/>
                </a:lnTo>
                <a:lnTo>
                  <a:pt x="372428" y="422910"/>
                </a:lnTo>
                <a:lnTo>
                  <a:pt x="584835" y="422910"/>
                </a:lnTo>
                <a:lnTo>
                  <a:pt x="620078" y="422910"/>
                </a:lnTo>
                <a:lnTo>
                  <a:pt x="620078" y="320040"/>
                </a:lnTo>
                <a:lnTo>
                  <a:pt x="584835" y="320040"/>
                </a:lnTo>
                <a:lnTo>
                  <a:pt x="372428" y="320040"/>
                </a:lnTo>
                <a:lnTo>
                  <a:pt x="319088" y="320040"/>
                </a:lnTo>
                <a:lnTo>
                  <a:pt x="292418" y="320040"/>
                </a:lnTo>
                <a:cubicBezTo>
                  <a:pt x="287655" y="320040"/>
                  <a:pt x="285750" y="320040"/>
                  <a:pt x="282893" y="320040"/>
                </a:cubicBezTo>
                <a:cubicBezTo>
                  <a:pt x="280035" y="320040"/>
                  <a:pt x="277178" y="319088"/>
                  <a:pt x="274320" y="319088"/>
                </a:cubicBezTo>
                <a:cubicBezTo>
                  <a:pt x="250508" y="316230"/>
                  <a:pt x="227648" y="303848"/>
                  <a:pt x="211455" y="286703"/>
                </a:cubicBezTo>
                <a:cubicBezTo>
                  <a:pt x="200978" y="275273"/>
                  <a:pt x="192405" y="261938"/>
                  <a:pt x="187643" y="247650"/>
                </a:cubicBezTo>
                <a:cubicBezTo>
                  <a:pt x="184785" y="240030"/>
                  <a:pt x="182880" y="233363"/>
                  <a:pt x="181928" y="225743"/>
                </a:cubicBezTo>
                <a:cubicBezTo>
                  <a:pt x="180975" y="221933"/>
                  <a:pt x="180975" y="218123"/>
                  <a:pt x="180975" y="214313"/>
                </a:cubicBezTo>
                <a:lnTo>
                  <a:pt x="180975" y="211455"/>
                </a:lnTo>
                <a:lnTo>
                  <a:pt x="180975" y="207645"/>
                </a:lnTo>
                <a:lnTo>
                  <a:pt x="180975" y="199073"/>
                </a:lnTo>
                <a:lnTo>
                  <a:pt x="260033" y="199073"/>
                </a:lnTo>
                <a:lnTo>
                  <a:pt x="129540" y="0"/>
                </a:lnTo>
                <a:close/>
              </a:path>
            </a:pathLst>
          </a:custGeom>
          <a:solidFill>
            <a:srgbClr val="D6D6CE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23" name="Forma Livre: Forma 22">
            <a:extLst>
              <a:ext uri="{FF2B5EF4-FFF2-40B4-BE49-F238E27FC236}">
                <a16:creationId xmlns:a16="http://schemas.microsoft.com/office/drawing/2014/main" id="{505DFF65-3C4A-4023-89D4-3BE7B088FB65}"/>
              </a:ext>
            </a:extLst>
          </p:cNvPr>
          <p:cNvSpPr/>
          <p:nvPr/>
        </p:nvSpPr>
        <p:spPr>
          <a:xfrm>
            <a:off x="8110386" y="5034109"/>
            <a:ext cx="1547530" cy="935498"/>
          </a:xfrm>
          <a:custGeom>
            <a:avLst/>
            <a:gdLst>
              <a:gd name="connsiteX0" fmla="*/ 503873 w 633412"/>
              <a:gd name="connsiteY0" fmla="*/ 382905 h 382904"/>
              <a:gd name="connsiteX1" fmla="*/ 633413 w 633412"/>
              <a:gd name="connsiteY1" fmla="*/ 184785 h 382904"/>
              <a:gd name="connsiteX2" fmla="*/ 554355 w 633412"/>
              <a:gd name="connsiteY2" fmla="*/ 184785 h 382904"/>
              <a:gd name="connsiteX3" fmla="*/ 554355 w 633412"/>
              <a:gd name="connsiteY3" fmla="*/ 0 h 382904"/>
              <a:gd name="connsiteX4" fmla="*/ 553403 w 633412"/>
              <a:gd name="connsiteY4" fmla="*/ 0 h 382904"/>
              <a:gd name="connsiteX5" fmla="*/ 34290 w 633412"/>
              <a:gd name="connsiteY5" fmla="*/ 0 h 382904"/>
              <a:gd name="connsiteX6" fmla="*/ 0 w 633412"/>
              <a:gd name="connsiteY6" fmla="*/ 0 h 382904"/>
              <a:gd name="connsiteX7" fmla="*/ 0 w 633412"/>
              <a:gd name="connsiteY7" fmla="*/ 101917 h 382904"/>
              <a:gd name="connsiteX8" fmla="*/ 34290 w 633412"/>
              <a:gd name="connsiteY8" fmla="*/ 101917 h 382904"/>
              <a:gd name="connsiteX9" fmla="*/ 452438 w 633412"/>
              <a:gd name="connsiteY9" fmla="*/ 101917 h 382904"/>
              <a:gd name="connsiteX10" fmla="*/ 453390 w 633412"/>
              <a:gd name="connsiteY10" fmla="*/ 101917 h 382904"/>
              <a:gd name="connsiteX11" fmla="*/ 453390 w 633412"/>
              <a:gd name="connsiteY11" fmla="*/ 184785 h 382904"/>
              <a:gd name="connsiteX12" fmla="*/ 373380 w 633412"/>
              <a:gd name="connsiteY12" fmla="*/ 184785 h 382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33412" h="382904">
                <a:moveTo>
                  <a:pt x="503873" y="382905"/>
                </a:moveTo>
                <a:lnTo>
                  <a:pt x="633413" y="184785"/>
                </a:lnTo>
                <a:lnTo>
                  <a:pt x="554355" y="184785"/>
                </a:lnTo>
                <a:lnTo>
                  <a:pt x="554355" y="0"/>
                </a:lnTo>
                <a:lnTo>
                  <a:pt x="553403" y="0"/>
                </a:lnTo>
                <a:lnTo>
                  <a:pt x="34290" y="0"/>
                </a:lnTo>
                <a:lnTo>
                  <a:pt x="0" y="0"/>
                </a:lnTo>
                <a:lnTo>
                  <a:pt x="0" y="101917"/>
                </a:lnTo>
                <a:lnTo>
                  <a:pt x="34290" y="101917"/>
                </a:lnTo>
                <a:lnTo>
                  <a:pt x="452438" y="101917"/>
                </a:lnTo>
                <a:lnTo>
                  <a:pt x="453390" y="101917"/>
                </a:lnTo>
                <a:lnTo>
                  <a:pt x="453390" y="184785"/>
                </a:lnTo>
                <a:lnTo>
                  <a:pt x="373380" y="184785"/>
                </a:lnTo>
                <a:close/>
              </a:path>
            </a:pathLst>
          </a:custGeom>
          <a:solidFill>
            <a:srgbClr val="26314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24" name="Forma Livre: Forma 23">
            <a:extLst>
              <a:ext uri="{FF2B5EF4-FFF2-40B4-BE49-F238E27FC236}">
                <a16:creationId xmlns:a16="http://schemas.microsoft.com/office/drawing/2014/main" id="{BD0D0B08-9D8C-4178-88A7-C2B7955AA914}"/>
              </a:ext>
            </a:extLst>
          </p:cNvPr>
          <p:cNvSpPr/>
          <p:nvPr/>
        </p:nvSpPr>
        <p:spPr>
          <a:xfrm>
            <a:off x="10414046" y="4986035"/>
            <a:ext cx="1326456" cy="1031646"/>
          </a:xfrm>
          <a:custGeom>
            <a:avLst/>
            <a:gdLst>
              <a:gd name="connsiteX0" fmla="*/ 414338 w 542925"/>
              <a:gd name="connsiteY0" fmla="*/ 0 h 422258"/>
              <a:gd name="connsiteX1" fmla="*/ 284797 w 542925"/>
              <a:gd name="connsiteY1" fmla="*/ 198120 h 422258"/>
              <a:gd name="connsiteX2" fmla="*/ 363855 w 542925"/>
              <a:gd name="connsiteY2" fmla="*/ 198120 h 422258"/>
              <a:gd name="connsiteX3" fmla="*/ 363855 w 542925"/>
              <a:gd name="connsiteY3" fmla="*/ 297180 h 422258"/>
              <a:gd name="connsiteX4" fmla="*/ 363855 w 542925"/>
              <a:gd name="connsiteY4" fmla="*/ 309563 h 422258"/>
              <a:gd name="connsiteX5" fmla="*/ 363855 w 542925"/>
              <a:gd name="connsiteY5" fmla="*/ 316230 h 422258"/>
              <a:gd name="connsiteX6" fmla="*/ 361950 w 542925"/>
              <a:gd name="connsiteY6" fmla="*/ 320993 h 422258"/>
              <a:gd name="connsiteX7" fmla="*/ 336232 w 542925"/>
              <a:gd name="connsiteY7" fmla="*/ 320993 h 422258"/>
              <a:gd name="connsiteX8" fmla="*/ 285750 w 542925"/>
              <a:gd name="connsiteY8" fmla="*/ 320993 h 422258"/>
              <a:gd name="connsiteX9" fmla="*/ 244793 w 542925"/>
              <a:gd name="connsiteY9" fmla="*/ 320993 h 422258"/>
              <a:gd name="connsiteX10" fmla="*/ 223838 w 542925"/>
              <a:gd name="connsiteY10" fmla="*/ 320993 h 422258"/>
              <a:gd name="connsiteX11" fmla="*/ 213360 w 542925"/>
              <a:gd name="connsiteY11" fmla="*/ 320993 h 422258"/>
              <a:gd name="connsiteX12" fmla="*/ 205740 w 542925"/>
              <a:gd name="connsiteY12" fmla="*/ 320993 h 422258"/>
              <a:gd name="connsiteX13" fmla="*/ 152400 w 542925"/>
              <a:gd name="connsiteY13" fmla="*/ 302895 h 422258"/>
              <a:gd name="connsiteX14" fmla="*/ 114300 w 542925"/>
              <a:gd name="connsiteY14" fmla="*/ 260985 h 422258"/>
              <a:gd name="connsiteX15" fmla="*/ 104775 w 542925"/>
              <a:gd name="connsiteY15" fmla="*/ 234315 h 422258"/>
              <a:gd name="connsiteX16" fmla="*/ 102870 w 542925"/>
              <a:gd name="connsiteY16" fmla="*/ 220028 h 422258"/>
              <a:gd name="connsiteX17" fmla="*/ 102870 w 542925"/>
              <a:gd name="connsiteY17" fmla="*/ 212408 h 422258"/>
              <a:gd name="connsiteX18" fmla="*/ 102870 w 542925"/>
              <a:gd name="connsiteY18" fmla="*/ 207645 h 422258"/>
              <a:gd name="connsiteX19" fmla="*/ 102870 w 542925"/>
              <a:gd name="connsiteY19" fmla="*/ 202883 h 422258"/>
              <a:gd name="connsiteX20" fmla="*/ 102870 w 542925"/>
              <a:gd name="connsiteY20" fmla="*/ 35243 h 422258"/>
              <a:gd name="connsiteX21" fmla="*/ 102870 w 542925"/>
              <a:gd name="connsiteY21" fmla="*/ 0 h 422258"/>
              <a:gd name="connsiteX22" fmla="*/ 0 w 542925"/>
              <a:gd name="connsiteY22" fmla="*/ 0 h 422258"/>
              <a:gd name="connsiteX23" fmla="*/ 0 w 542925"/>
              <a:gd name="connsiteY23" fmla="*/ 35243 h 422258"/>
              <a:gd name="connsiteX24" fmla="*/ 0 w 542925"/>
              <a:gd name="connsiteY24" fmla="*/ 202883 h 422258"/>
              <a:gd name="connsiteX25" fmla="*/ 0 w 542925"/>
              <a:gd name="connsiteY25" fmla="*/ 207645 h 422258"/>
              <a:gd name="connsiteX26" fmla="*/ 0 w 542925"/>
              <a:gd name="connsiteY26" fmla="*/ 213360 h 422258"/>
              <a:gd name="connsiteX27" fmla="*/ 953 w 542925"/>
              <a:gd name="connsiteY27" fmla="*/ 226695 h 422258"/>
              <a:gd name="connsiteX28" fmla="*/ 4763 w 542925"/>
              <a:gd name="connsiteY28" fmla="*/ 254318 h 422258"/>
              <a:gd name="connsiteX29" fmla="*/ 22860 w 542925"/>
              <a:gd name="connsiteY29" fmla="*/ 305753 h 422258"/>
              <a:gd name="connsiteX30" fmla="*/ 95250 w 542925"/>
              <a:gd name="connsiteY30" fmla="*/ 386715 h 422258"/>
              <a:gd name="connsiteX31" fmla="*/ 198120 w 542925"/>
              <a:gd name="connsiteY31" fmla="*/ 421005 h 422258"/>
              <a:gd name="connsiteX32" fmla="*/ 211455 w 542925"/>
              <a:gd name="connsiteY32" fmla="*/ 421958 h 422258"/>
              <a:gd name="connsiteX33" fmla="*/ 221932 w 542925"/>
              <a:gd name="connsiteY33" fmla="*/ 421958 h 422258"/>
              <a:gd name="connsiteX34" fmla="*/ 242888 w 542925"/>
              <a:gd name="connsiteY34" fmla="*/ 421958 h 422258"/>
              <a:gd name="connsiteX35" fmla="*/ 284797 w 542925"/>
              <a:gd name="connsiteY35" fmla="*/ 421958 h 422258"/>
              <a:gd name="connsiteX36" fmla="*/ 401003 w 542925"/>
              <a:gd name="connsiteY36" fmla="*/ 421958 h 422258"/>
              <a:gd name="connsiteX37" fmla="*/ 459105 w 542925"/>
              <a:gd name="connsiteY37" fmla="*/ 421958 h 422258"/>
              <a:gd name="connsiteX38" fmla="*/ 463868 w 542925"/>
              <a:gd name="connsiteY38" fmla="*/ 412433 h 422258"/>
              <a:gd name="connsiteX39" fmla="*/ 463868 w 542925"/>
              <a:gd name="connsiteY39" fmla="*/ 398145 h 422258"/>
              <a:gd name="connsiteX40" fmla="*/ 463868 w 542925"/>
              <a:gd name="connsiteY40" fmla="*/ 368618 h 422258"/>
              <a:gd name="connsiteX41" fmla="*/ 463868 w 542925"/>
              <a:gd name="connsiteY41" fmla="*/ 198120 h 422258"/>
              <a:gd name="connsiteX42" fmla="*/ 542925 w 542925"/>
              <a:gd name="connsiteY42" fmla="*/ 198120 h 422258"/>
              <a:gd name="connsiteX43" fmla="*/ 414338 w 542925"/>
              <a:gd name="connsiteY43" fmla="*/ 0 h 4222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542925" h="422258">
                <a:moveTo>
                  <a:pt x="414338" y="0"/>
                </a:moveTo>
                <a:lnTo>
                  <a:pt x="284797" y="198120"/>
                </a:lnTo>
                <a:lnTo>
                  <a:pt x="363855" y="198120"/>
                </a:lnTo>
                <a:lnTo>
                  <a:pt x="363855" y="297180"/>
                </a:lnTo>
                <a:lnTo>
                  <a:pt x="363855" y="309563"/>
                </a:lnTo>
                <a:lnTo>
                  <a:pt x="363855" y="316230"/>
                </a:lnTo>
                <a:cubicBezTo>
                  <a:pt x="363855" y="318135"/>
                  <a:pt x="364807" y="321945"/>
                  <a:pt x="361950" y="320993"/>
                </a:cubicBezTo>
                <a:lnTo>
                  <a:pt x="336232" y="320993"/>
                </a:lnTo>
                <a:lnTo>
                  <a:pt x="285750" y="320993"/>
                </a:lnTo>
                <a:lnTo>
                  <a:pt x="244793" y="320993"/>
                </a:lnTo>
                <a:lnTo>
                  <a:pt x="223838" y="320993"/>
                </a:lnTo>
                <a:lnTo>
                  <a:pt x="213360" y="320993"/>
                </a:lnTo>
                <a:lnTo>
                  <a:pt x="205740" y="320993"/>
                </a:lnTo>
                <a:cubicBezTo>
                  <a:pt x="186690" y="320040"/>
                  <a:pt x="168593" y="313373"/>
                  <a:pt x="152400" y="302895"/>
                </a:cubicBezTo>
                <a:cubicBezTo>
                  <a:pt x="136207" y="292418"/>
                  <a:pt x="122872" y="278130"/>
                  <a:pt x="114300" y="260985"/>
                </a:cubicBezTo>
                <a:cubicBezTo>
                  <a:pt x="109538" y="252413"/>
                  <a:pt x="106680" y="243840"/>
                  <a:pt x="104775" y="234315"/>
                </a:cubicBezTo>
                <a:cubicBezTo>
                  <a:pt x="103822" y="229553"/>
                  <a:pt x="102870" y="224790"/>
                  <a:pt x="102870" y="220028"/>
                </a:cubicBezTo>
                <a:lnTo>
                  <a:pt x="102870" y="212408"/>
                </a:lnTo>
                <a:cubicBezTo>
                  <a:pt x="102870" y="211455"/>
                  <a:pt x="102870" y="209550"/>
                  <a:pt x="102870" y="207645"/>
                </a:cubicBezTo>
                <a:lnTo>
                  <a:pt x="102870" y="202883"/>
                </a:lnTo>
                <a:lnTo>
                  <a:pt x="102870" y="35243"/>
                </a:lnTo>
                <a:lnTo>
                  <a:pt x="102870" y="0"/>
                </a:lnTo>
                <a:lnTo>
                  <a:pt x="0" y="0"/>
                </a:lnTo>
                <a:lnTo>
                  <a:pt x="0" y="35243"/>
                </a:lnTo>
                <a:lnTo>
                  <a:pt x="0" y="202883"/>
                </a:lnTo>
                <a:lnTo>
                  <a:pt x="0" y="207645"/>
                </a:lnTo>
                <a:cubicBezTo>
                  <a:pt x="0" y="209550"/>
                  <a:pt x="0" y="211455"/>
                  <a:pt x="0" y="213360"/>
                </a:cubicBezTo>
                <a:lnTo>
                  <a:pt x="953" y="226695"/>
                </a:lnTo>
                <a:cubicBezTo>
                  <a:pt x="1905" y="236220"/>
                  <a:pt x="2857" y="244793"/>
                  <a:pt x="4763" y="254318"/>
                </a:cubicBezTo>
                <a:cubicBezTo>
                  <a:pt x="8572" y="272415"/>
                  <a:pt x="14288" y="289560"/>
                  <a:pt x="22860" y="305753"/>
                </a:cubicBezTo>
                <a:cubicBezTo>
                  <a:pt x="39053" y="338138"/>
                  <a:pt x="64770" y="366713"/>
                  <a:pt x="95250" y="386715"/>
                </a:cubicBezTo>
                <a:cubicBezTo>
                  <a:pt x="125730" y="406718"/>
                  <a:pt x="161925" y="419100"/>
                  <a:pt x="198120" y="421005"/>
                </a:cubicBezTo>
                <a:lnTo>
                  <a:pt x="211455" y="421958"/>
                </a:lnTo>
                <a:lnTo>
                  <a:pt x="221932" y="421958"/>
                </a:lnTo>
                <a:lnTo>
                  <a:pt x="242888" y="421958"/>
                </a:lnTo>
                <a:lnTo>
                  <a:pt x="284797" y="421958"/>
                </a:lnTo>
                <a:lnTo>
                  <a:pt x="401003" y="421958"/>
                </a:lnTo>
                <a:lnTo>
                  <a:pt x="459105" y="421958"/>
                </a:lnTo>
                <a:cubicBezTo>
                  <a:pt x="465772" y="423863"/>
                  <a:pt x="462915" y="416243"/>
                  <a:pt x="463868" y="412433"/>
                </a:cubicBezTo>
                <a:lnTo>
                  <a:pt x="463868" y="398145"/>
                </a:lnTo>
                <a:lnTo>
                  <a:pt x="463868" y="368618"/>
                </a:lnTo>
                <a:lnTo>
                  <a:pt x="463868" y="198120"/>
                </a:lnTo>
                <a:lnTo>
                  <a:pt x="542925" y="198120"/>
                </a:lnTo>
                <a:lnTo>
                  <a:pt x="414338" y="0"/>
                </a:lnTo>
                <a:close/>
              </a:path>
            </a:pathLst>
          </a:custGeom>
          <a:solidFill>
            <a:srgbClr val="D6D6CE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63236455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vre: Forma 4">
            <a:extLst>
              <a:ext uri="{FF2B5EF4-FFF2-40B4-BE49-F238E27FC236}">
                <a16:creationId xmlns:a16="http://schemas.microsoft.com/office/drawing/2014/main" id="{08BFA08F-B3CA-47C9-A6DB-440F59933A28}"/>
              </a:ext>
            </a:extLst>
          </p:cNvPr>
          <p:cNvSpPr/>
          <p:nvPr/>
        </p:nvSpPr>
        <p:spPr>
          <a:xfrm>
            <a:off x="5998992" y="503742"/>
            <a:ext cx="600715" cy="1093072"/>
          </a:xfrm>
          <a:custGeom>
            <a:avLst/>
            <a:gdLst>
              <a:gd name="connsiteX0" fmla="*/ 254318 w 436959"/>
              <a:gd name="connsiteY0" fmla="*/ 780098 h 795099"/>
              <a:gd name="connsiteX1" fmla="*/ 421958 w 436959"/>
              <a:gd name="connsiteY1" fmla="*/ 612458 h 795099"/>
              <a:gd name="connsiteX2" fmla="*/ 421958 w 436959"/>
              <a:gd name="connsiteY2" fmla="*/ 541020 h 795099"/>
              <a:gd name="connsiteX3" fmla="*/ 350520 w 436959"/>
              <a:gd name="connsiteY3" fmla="*/ 541020 h 795099"/>
              <a:gd name="connsiteX4" fmla="*/ 268605 w 436959"/>
              <a:gd name="connsiteY4" fmla="*/ 622935 h 795099"/>
              <a:gd name="connsiteX5" fmla="*/ 268605 w 436959"/>
              <a:gd name="connsiteY5" fmla="*/ 50483 h 795099"/>
              <a:gd name="connsiteX6" fmla="*/ 218122 w 436959"/>
              <a:gd name="connsiteY6" fmla="*/ 0 h 795099"/>
              <a:gd name="connsiteX7" fmla="*/ 167640 w 436959"/>
              <a:gd name="connsiteY7" fmla="*/ 50483 h 795099"/>
              <a:gd name="connsiteX8" fmla="*/ 167640 w 436959"/>
              <a:gd name="connsiteY8" fmla="*/ 623888 h 795099"/>
              <a:gd name="connsiteX9" fmla="*/ 85725 w 436959"/>
              <a:gd name="connsiteY9" fmla="*/ 541973 h 795099"/>
              <a:gd name="connsiteX10" fmla="*/ 14288 w 436959"/>
              <a:gd name="connsiteY10" fmla="*/ 541973 h 795099"/>
              <a:gd name="connsiteX11" fmla="*/ 0 w 436959"/>
              <a:gd name="connsiteY11" fmla="*/ 577215 h 795099"/>
              <a:gd name="connsiteX12" fmla="*/ 14288 w 436959"/>
              <a:gd name="connsiteY12" fmla="*/ 612458 h 795099"/>
              <a:gd name="connsiteX13" fmla="*/ 181928 w 436959"/>
              <a:gd name="connsiteY13" fmla="*/ 780098 h 795099"/>
              <a:gd name="connsiteX14" fmla="*/ 254318 w 436959"/>
              <a:gd name="connsiteY14" fmla="*/ 780098 h 795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36959" h="795099">
                <a:moveTo>
                  <a:pt x="254318" y="780098"/>
                </a:moveTo>
                <a:lnTo>
                  <a:pt x="421958" y="612458"/>
                </a:lnTo>
                <a:cubicBezTo>
                  <a:pt x="441960" y="592455"/>
                  <a:pt x="441960" y="561023"/>
                  <a:pt x="421958" y="541020"/>
                </a:cubicBezTo>
                <a:cubicBezTo>
                  <a:pt x="401955" y="521018"/>
                  <a:pt x="370522" y="521018"/>
                  <a:pt x="350520" y="541020"/>
                </a:cubicBezTo>
                <a:lnTo>
                  <a:pt x="268605" y="622935"/>
                </a:lnTo>
                <a:lnTo>
                  <a:pt x="268605" y="50483"/>
                </a:lnTo>
                <a:cubicBezTo>
                  <a:pt x="268605" y="22860"/>
                  <a:pt x="245745" y="0"/>
                  <a:pt x="218122" y="0"/>
                </a:cubicBezTo>
                <a:cubicBezTo>
                  <a:pt x="190500" y="0"/>
                  <a:pt x="167640" y="22860"/>
                  <a:pt x="167640" y="50483"/>
                </a:cubicBezTo>
                <a:lnTo>
                  <a:pt x="167640" y="623888"/>
                </a:lnTo>
                <a:lnTo>
                  <a:pt x="85725" y="541973"/>
                </a:lnTo>
                <a:cubicBezTo>
                  <a:pt x="65722" y="521970"/>
                  <a:pt x="34290" y="521970"/>
                  <a:pt x="14288" y="541973"/>
                </a:cubicBezTo>
                <a:cubicBezTo>
                  <a:pt x="4763" y="551498"/>
                  <a:pt x="0" y="564833"/>
                  <a:pt x="0" y="577215"/>
                </a:cubicBezTo>
                <a:cubicBezTo>
                  <a:pt x="0" y="589598"/>
                  <a:pt x="4763" y="602933"/>
                  <a:pt x="14288" y="612458"/>
                </a:cubicBezTo>
                <a:lnTo>
                  <a:pt x="181928" y="780098"/>
                </a:lnTo>
                <a:cubicBezTo>
                  <a:pt x="202883" y="800100"/>
                  <a:pt x="234315" y="800100"/>
                  <a:pt x="254318" y="780098"/>
                </a:cubicBezTo>
                <a:close/>
              </a:path>
            </a:pathLst>
          </a:custGeom>
          <a:solidFill>
            <a:srgbClr val="26314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6" name="Forma Livre: Forma 5">
            <a:extLst>
              <a:ext uri="{FF2B5EF4-FFF2-40B4-BE49-F238E27FC236}">
                <a16:creationId xmlns:a16="http://schemas.microsoft.com/office/drawing/2014/main" id="{2377BFB3-8BAF-40D5-89F4-709126C24210}"/>
              </a:ext>
            </a:extLst>
          </p:cNvPr>
          <p:cNvSpPr/>
          <p:nvPr/>
        </p:nvSpPr>
        <p:spPr>
          <a:xfrm>
            <a:off x="8104777" y="4504275"/>
            <a:ext cx="1663208" cy="1664194"/>
          </a:xfrm>
          <a:custGeom>
            <a:avLst/>
            <a:gdLst>
              <a:gd name="connsiteX0" fmla="*/ 385856 w 814484"/>
              <a:gd name="connsiteY0" fmla="*/ 580 h 814967"/>
              <a:gd name="connsiteX1" fmla="*/ 1998 w 814484"/>
              <a:gd name="connsiteY1" fmla="*/ 366340 h 814967"/>
              <a:gd name="connsiteX2" fmla="*/ 42956 w 814484"/>
              <a:gd name="connsiteY2" fmla="*/ 589225 h 814967"/>
              <a:gd name="connsiteX3" fmla="*/ 41050 w 814484"/>
              <a:gd name="connsiteY3" fmla="*/ 594940 h 814967"/>
              <a:gd name="connsiteX4" fmla="*/ 9618 w 814484"/>
              <a:gd name="connsiteY4" fmla="*/ 615894 h 814967"/>
              <a:gd name="connsiteX5" fmla="*/ 10570 w 814484"/>
              <a:gd name="connsiteY5" fmla="*/ 624467 h 814967"/>
              <a:gd name="connsiteX6" fmla="*/ 233456 w 814484"/>
              <a:gd name="connsiteY6" fmla="*/ 731147 h 814967"/>
              <a:gd name="connsiteX7" fmla="*/ 240123 w 814484"/>
              <a:gd name="connsiteY7" fmla="*/ 726384 h 814967"/>
              <a:gd name="connsiteX8" fmla="*/ 221073 w 814484"/>
              <a:gd name="connsiteY8" fmla="*/ 479687 h 814967"/>
              <a:gd name="connsiteX9" fmla="*/ 213453 w 814484"/>
              <a:gd name="connsiteY9" fmla="*/ 475877 h 814967"/>
              <a:gd name="connsiteX10" fmla="*/ 180115 w 814484"/>
              <a:gd name="connsiteY10" fmla="*/ 498737 h 814967"/>
              <a:gd name="connsiteX11" fmla="*/ 172495 w 814484"/>
              <a:gd name="connsiteY11" fmla="*/ 496832 h 814967"/>
              <a:gd name="connsiteX12" fmla="*/ 160113 w 814484"/>
              <a:gd name="connsiteY12" fmla="*/ 360625 h 814967"/>
              <a:gd name="connsiteX13" fmla="*/ 384903 w 814484"/>
              <a:gd name="connsiteY13" fmla="*/ 157742 h 814967"/>
              <a:gd name="connsiteX14" fmla="*/ 657318 w 814484"/>
              <a:gd name="connsiteY14" fmla="*/ 407297 h 814967"/>
              <a:gd name="connsiteX15" fmla="*/ 420145 w 814484"/>
              <a:gd name="connsiteY15" fmla="*/ 657805 h 814967"/>
              <a:gd name="connsiteX16" fmla="*/ 417288 w 814484"/>
              <a:gd name="connsiteY16" fmla="*/ 667330 h 814967"/>
              <a:gd name="connsiteX17" fmla="*/ 486820 w 814484"/>
              <a:gd name="connsiteY17" fmla="*/ 722575 h 814967"/>
              <a:gd name="connsiteX18" fmla="*/ 487773 w 814484"/>
              <a:gd name="connsiteY18" fmla="*/ 730194 h 814967"/>
              <a:gd name="connsiteX19" fmla="*/ 415383 w 814484"/>
              <a:gd name="connsiteY19" fmla="*/ 806394 h 814967"/>
              <a:gd name="connsiteX20" fmla="*/ 419193 w 814484"/>
              <a:gd name="connsiteY20" fmla="*/ 814967 h 814967"/>
              <a:gd name="connsiteX21" fmla="*/ 814481 w 814484"/>
              <a:gd name="connsiteY21" fmla="*/ 407297 h 814967"/>
              <a:gd name="connsiteX22" fmla="*/ 385856 w 814484"/>
              <a:gd name="connsiteY22" fmla="*/ 580 h 8149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814484" h="814967">
                <a:moveTo>
                  <a:pt x="385856" y="580"/>
                </a:moveTo>
                <a:cubicBezTo>
                  <a:pt x="186783" y="11057"/>
                  <a:pt x="22000" y="167267"/>
                  <a:pt x="1998" y="366340"/>
                </a:cubicBezTo>
                <a:cubicBezTo>
                  <a:pt x="-5622" y="444444"/>
                  <a:pt x="8666" y="521597"/>
                  <a:pt x="42956" y="589225"/>
                </a:cubicBezTo>
                <a:cubicBezTo>
                  <a:pt x="43908" y="591130"/>
                  <a:pt x="42956" y="593987"/>
                  <a:pt x="41050" y="594940"/>
                </a:cubicBezTo>
                <a:lnTo>
                  <a:pt x="9618" y="615894"/>
                </a:lnTo>
                <a:cubicBezTo>
                  <a:pt x="6760" y="617800"/>
                  <a:pt x="6760" y="622562"/>
                  <a:pt x="10570" y="624467"/>
                </a:cubicBezTo>
                <a:lnTo>
                  <a:pt x="233456" y="731147"/>
                </a:lnTo>
                <a:cubicBezTo>
                  <a:pt x="236313" y="733052"/>
                  <a:pt x="240123" y="730194"/>
                  <a:pt x="240123" y="726384"/>
                </a:cubicBezTo>
                <a:lnTo>
                  <a:pt x="221073" y="479687"/>
                </a:lnTo>
                <a:cubicBezTo>
                  <a:pt x="221073" y="475877"/>
                  <a:pt x="216311" y="473972"/>
                  <a:pt x="213453" y="475877"/>
                </a:cubicBezTo>
                <a:lnTo>
                  <a:pt x="180115" y="498737"/>
                </a:lnTo>
                <a:cubicBezTo>
                  <a:pt x="177258" y="500642"/>
                  <a:pt x="174400" y="499690"/>
                  <a:pt x="172495" y="496832"/>
                </a:cubicBezTo>
                <a:cubicBezTo>
                  <a:pt x="156303" y="453969"/>
                  <a:pt x="151540" y="407297"/>
                  <a:pt x="160113" y="360625"/>
                </a:cubicBezTo>
                <a:cubicBezTo>
                  <a:pt x="180115" y="251087"/>
                  <a:pt x="273461" y="166315"/>
                  <a:pt x="384903" y="157742"/>
                </a:cubicBezTo>
                <a:cubicBezTo>
                  <a:pt x="532540" y="145359"/>
                  <a:pt x="657318" y="262517"/>
                  <a:pt x="657318" y="407297"/>
                </a:cubicBezTo>
                <a:cubicBezTo>
                  <a:pt x="657318" y="540647"/>
                  <a:pt x="552543" y="650184"/>
                  <a:pt x="420145" y="657805"/>
                </a:cubicBezTo>
                <a:cubicBezTo>
                  <a:pt x="415383" y="657805"/>
                  <a:pt x="413478" y="663519"/>
                  <a:pt x="417288" y="667330"/>
                </a:cubicBezTo>
                <a:lnTo>
                  <a:pt x="486820" y="722575"/>
                </a:lnTo>
                <a:cubicBezTo>
                  <a:pt x="488725" y="724480"/>
                  <a:pt x="489678" y="728290"/>
                  <a:pt x="487773" y="730194"/>
                </a:cubicBezTo>
                <a:lnTo>
                  <a:pt x="415383" y="806394"/>
                </a:lnTo>
                <a:cubicBezTo>
                  <a:pt x="412525" y="809252"/>
                  <a:pt x="414431" y="814967"/>
                  <a:pt x="419193" y="814967"/>
                </a:cubicBezTo>
                <a:cubicBezTo>
                  <a:pt x="638268" y="808300"/>
                  <a:pt x="814481" y="628277"/>
                  <a:pt x="814481" y="407297"/>
                </a:cubicBezTo>
                <a:cubicBezTo>
                  <a:pt x="815433" y="175840"/>
                  <a:pt x="620170" y="-11803"/>
                  <a:pt x="385856" y="580"/>
                </a:cubicBezTo>
                <a:close/>
              </a:path>
            </a:pathLst>
          </a:custGeom>
          <a:solidFill>
            <a:srgbClr val="26314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7" name="Forma Livre: Forma 6">
            <a:extLst>
              <a:ext uri="{FF2B5EF4-FFF2-40B4-BE49-F238E27FC236}">
                <a16:creationId xmlns:a16="http://schemas.microsoft.com/office/drawing/2014/main" id="{32144793-40F9-44CC-9F5A-BFCBB4C322EC}"/>
              </a:ext>
            </a:extLst>
          </p:cNvPr>
          <p:cNvSpPr/>
          <p:nvPr/>
        </p:nvSpPr>
        <p:spPr>
          <a:xfrm>
            <a:off x="5095025" y="2711492"/>
            <a:ext cx="1015486" cy="663896"/>
          </a:xfrm>
          <a:custGeom>
            <a:avLst/>
            <a:gdLst>
              <a:gd name="connsiteX0" fmla="*/ 4286 w 738663"/>
              <a:gd name="connsiteY0" fmla="*/ 254317 h 482917"/>
              <a:gd name="connsiteX1" fmla="*/ 281464 w 738663"/>
              <a:gd name="connsiteY1" fmla="*/ 471488 h 482917"/>
              <a:gd name="connsiteX2" fmla="*/ 300514 w 738663"/>
              <a:gd name="connsiteY2" fmla="*/ 461963 h 482917"/>
              <a:gd name="connsiteX3" fmla="*/ 300514 w 738663"/>
              <a:gd name="connsiteY3" fmla="*/ 351473 h 482917"/>
              <a:gd name="connsiteX4" fmla="*/ 311944 w 738663"/>
              <a:gd name="connsiteY4" fmla="*/ 340042 h 482917"/>
              <a:gd name="connsiteX5" fmla="*/ 541496 w 738663"/>
              <a:gd name="connsiteY5" fmla="*/ 340042 h 482917"/>
              <a:gd name="connsiteX6" fmla="*/ 541496 w 738663"/>
              <a:gd name="connsiteY6" fmla="*/ 471488 h 482917"/>
              <a:gd name="connsiteX7" fmla="*/ 552926 w 738663"/>
              <a:gd name="connsiteY7" fmla="*/ 482917 h 482917"/>
              <a:gd name="connsiteX8" fmla="*/ 727234 w 738663"/>
              <a:gd name="connsiteY8" fmla="*/ 482917 h 482917"/>
              <a:gd name="connsiteX9" fmla="*/ 738664 w 738663"/>
              <a:gd name="connsiteY9" fmla="*/ 471488 h 482917"/>
              <a:gd name="connsiteX10" fmla="*/ 738664 w 738663"/>
              <a:gd name="connsiteY10" fmla="*/ 11430 h 482917"/>
              <a:gd name="connsiteX11" fmla="*/ 727234 w 738663"/>
              <a:gd name="connsiteY11" fmla="*/ 0 h 482917"/>
              <a:gd name="connsiteX12" fmla="*/ 552926 w 738663"/>
              <a:gd name="connsiteY12" fmla="*/ 0 h 482917"/>
              <a:gd name="connsiteX13" fmla="*/ 541496 w 738663"/>
              <a:gd name="connsiteY13" fmla="*/ 11430 h 482917"/>
              <a:gd name="connsiteX14" fmla="*/ 541496 w 738663"/>
              <a:gd name="connsiteY14" fmla="*/ 142875 h 482917"/>
              <a:gd name="connsiteX15" fmla="*/ 311944 w 738663"/>
              <a:gd name="connsiteY15" fmla="*/ 142875 h 482917"/>
              <a:gd name="connsiteX16" fmla="*/ 300514 w 738663"/>
              <a:gd name="connsiteY16" fmla="*/ 131445 h 482917"/>
              <a:gd name="connsiteX17" fmla="*/ 300514 w 738663"/>
              <a:gd name="connsiteY17" fmla="*/ 21908 h 482917"/>
              <a:gd name="connsiteX18" fmla="*/ 281464 w 738663"/>
              <a:gd name="connsiteY18" fmla="*/ 12383 h 482917"/>
              <a:gd name="connsiteX19" fmla="*/ 4286 w 738663"/>
              <a:gd name="connsiteY19" fmla="*/ 236220 h 482917"/>
              <a:gd name="connsiteX20" fmla="*/ 4286 w 738663"/>
              <a:gd name="connsiteY20" fmla="*/ 254317 h 482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738663" h="482917">
                <a:moveTo>
                  <a:pt x="4286" y="254317"/>
                </a:moveTo>
                <a:lnTo>
                  <a:pt x="281464" y="471488"/>
                </a:lnTo>
                <a:cubicBezTo>
                  <a:pt x="289084" y="477203"/>
                  <a:pt x="300514" y="472440"/>
                  <a:pt x="300514" y="461963"/>
                </a:cubicBezTo>
                <a:lnTo>
                  <a:pt x="300514" y="351473"/>
                </a:lnTo>
                <a:cubicBezTo>
                  <a:pt x="300514" y="344805"/>
                  <a:pt x="306229" y="340042"/>
                  <a:pt x="311944" y="340042"/>
                </a:cubicBezTo>
                <a:lnTo>
                  <a:pt x="541496" y="340042"/>
                </a:lnTo>
                <a:lnTo>
                  <a:pt x="541496" y="471488"/>
                </a:lnTo>
                <a:cubicBezTo>
                  <a:pt x="541496" y="478155"/>
                  <a:pt x="546259" y="482917"/>
                  <a:pt x="552926" y="482917"/>
                </a:cubicBezTo>
                <a:lnTo>
                  <a:pt x="727234" y="482917"/>
                </a:lnTo>
                <a:cubicBezTo>
                  <a:pt x="733901" y="482917"/>
                  <a:pt x="738664" y="478155"/>
                  <a:pt x="738664" y="471488"/>
                </a:cubicBezTo>
                <a:lnTo>
                  <a:pt x="738664" y="11430"/>
                </a:lnTo>
                <a:cubicBezTo>
                  <a:pt x="738664" y="4763"/>
                  <a:pt x="733901" y="0"/>
                  <a:pt x="727234" y="0"/>
                </a:cubicBezTo>
                <a:lnTo>
                  <a:pt x="552926" y="0"/>
                </a:lnTo>
                <a:cubicBezTo>
                  <a:pt x="546259" y="0"/>
                  <a:pt x="541496" y="4763"/>
                  <a:pt x="541496" y="11430"/>
                </a:cubicBezTo>
                <a:lnTo>
                  <a:pt x="541496" y="142875"/>
                </a:lnTo>
                <a:lnTo>
                  <a:pt x="311944" y="142875"/>
                </a:lnTo>
                <a:cubicBezTo>
                  <a:pt x="305276" y="142875"/>
                  <a:pt x="300514" y="137160"/>
                  <a:pt x="300514" y="131445"/>
                </a:cubicBezTo>
                <a:lnTo>
                  <a:pt x="300514" y="21908"/>
                </a:lnTo>
                <a:cubicBezTo>
                  <a:pt x="300514" y="12383"/>
                  <a:pt x="289084" y="6667"/>
                  <a:pt x="281464" y="12383"/>
                </a:cubicBezTo>
                <a:lnTo>
                  <a:pt x="4286" y="236220"/>
                </a:lnTo>
                <a:cubicBezTo>
                  <a:pt x="-1429" y="240030"/>
                  <a:pt x="-1429" y="249555"/>
                  <a:pt x="4286" y="254317"/>
                </a:cubicBezTo>
                <a:close/>
              </a:path>
            </a:pathLst>
          </a:custGeom>
          <a:solidFill>
            <a:srgbClr val="D6D6CE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8" name="Forma Livre: Forma 7">
            <a:extLst>
              <a:ext uri="{FF2B5EF4-FFF2-40B4-BE49-F238E27FC236}">
                <a16:creationId xmlns:a16="http://schemas.microsoft.com/office/drawing/2014/main" id="{513DE7CB-FB4B-4446-993C-ED91177254C3}"/>
              </a:ext>
            </a:extLst>
          </p:cNvPr>
          <p:cNvSpPr/>
          <p:nvPr/>
        </p:nvSpPr>
        <p:spPr>
          <a:xfrm>
            <a:off x="2699696" y="3241825"/>
            <a:ext cx="1432549" cy="1402432"/>
          </a:xfrm>
          <a:custGeom>
            <a:avLst/>
            <a:gdLst>
              <a:gd name="connsiteX0" fmla="*/ 1042035 w 1042034"/>
              <a:gd name="connsiteY0" fmla="*/ 730568 h 1020127"/>
              <a:gd name="connsiteX1" fmla="*/ 682943 w 1042034"/>
              <a:gd name="connsiteY1" fmla="*/ 448628 h 1020127"/>
              <a:gd name="connsiteX2" fmla="*/ 682943 w 1042034"/>
              <a:gd name="connsiteY2" fmla="*/ 619125 h 1020127"/>
              <a:gd name="connsiteX3" fmla="*/ 504825 w 1042034"/>
              <a:gd name="connsiteY3" fmla="*/ 619125 h 1020127"/>
              <a:gd name="connsiteX4" fmla="*/ 401955 w 1042034"/>
              <a:gd name="connsiteY4" fmla="*/ 516255 h 1020127"/>
              <a:gd name="connsiteX5" fmla="*/ 401955 w 1042034"/>
              <a:gd name="connsiteY5" fmla="*/ 359092 h 1020127"/>
              <a:gd name="connsiteX6" fmla="*/ 572453 w 1042034"/>
              <a:gd name="connsiteY6" fmla="*/ 359092 h 1020127"/>
              <a:gd name="connsiteX7" fmla="*/ 281940 w 1042034"/>
              <a:gd name="connsiteY7" fmla="*/ 0 h 1020127"/>
              <a:gd name="connsiteX8" fmla="*/ 0 w 1042034"/>
              <a:gd name="connsiteY8" fmla="*/ 359092 h 1020127"/>
              <a:gd name="connsiteX9" fmla="*/ 167640 w 1042034"/>
              <a:gd name="connsiteY9" fmla="*/ 359092 h 1020127"/>
              <a:gd name="connsiteX10" fmla="*/ 167640 w 1042034"/>
              <a:gd name="connsiteY10" fmla="*/ 516255 h 1020127"/>
              <a:gd name="connsiteX11" fmla="*/ 170497 w 1042034"/>
              <a:gd name="connsiteY11" fmla="*/ 560070 h 1020127"/>
              <a:gd name="connsiteX12" fmla="*/ 183833 w 1042034"/>
              <a:gd name="connsiteY12" fmla="*/ 619125 h 1020127"/>
              <a:gd name="connsiteX13" fmla="*/ 401003 w 1042034"/>
              <a:gd name="connsiteY13" fmla="*/ 836295 h 1020127"/>
              <a:gd name="connsiteX14" fmla="*/ 460058 w 1042034"/>
              <a:gd name="connsiteY14" fmla="*/ 849630 h 1020127"/>
              <a:gd name="connsiteX15" fmla="*/ 503872 w 1042034"/>
              <a:gd name="connsiteY15" fmla="*/ 852488 h 1020127"/>
              <a:gd name="connsiteX16" fmla="*/ 681990 w 1042034"/>
              <a:gd name="connsiteY16" fmla="*/ 849630 h 1020127"/>
              <a:gd name="connsiteX17" fmla="*/ 681990 w 1042034"/>
              <a:gd name="connsiteY17" fmla="*/ 1020127 h 1020127"/>
              <a:gd name="connsiteX18" fmla="*/ 1042035 w 1042034"/>
              <a:gd name="connsiteY18" fmla="*/ 730568 h 10201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042034" h="1020127">
                <a:moveTo>
                  <a:pt x="1042035" y="730568"/>
                </a:moveTo>
                <a:lnTo>
                  <a:pt x="682943" y="448628"/>
                </a:lnTo>
                <a:lnTo>
                  <a:pt x="682943" y="619125"/>
                </a:lnTo>
                <a:lnTo>
                  <a:pt x="504825" y="619125"/>
                </a:lnTo>
                <a:cubicBezTo>
                  <a:pt x="447675" y="619125"/>
                  <a:pt x="401955" y="573405"/>
                  <a:pt x="401955" y="516255"/>
                </a:cubicBezTo>
                <a:lnTo>
                  <a:pt x="401955" y="359092"/>
                </a:lnTo>
                <a:lnTo>
                  <a:pt x="572453" y="359092"/>
                </a:lnTo>
                <a:lnTo>
                  <a:pt x="281940" y="0"/>
                </a:lnTo>
                <a:lnTo>
                  <a:pt x="0" y="359092"/>
                </a:lnTo>
                <a:lnTo>
                  <a:pt x="167640" y="359092"/>
                </a:lnTo>
                <a:cubicBezTo>
                  <a:pt x="167640" y="359092"/>
                  <a:pt x="167640" y="501967"/>
                  <a:pt x="167640" y="516255"/>
                </a:cubicBezTo>
                <a:cubicBezTo>
                  <a:pt x="167640" y="531495"/>
                  <a:pt x="168592" y="545783"/>
                  <a:pt x="170497" y="560070"/>
                </a:cubicBezTo>
                <a:cubicBezTo>
                  <a:pt x="173355" y="580073"/>
                  <a:pt x="177165" y="600075"/>
                  <a:pt x="183833" y="619125"/>
                </a:cubicBezTo>
                <a:cubicBezTo>
                  <a:pt x="217170" y="721995"/>
                  <a:pt x="298133" y="802958"/>
                  <a:pt x="401003" y="836295"/>
                </a:cubicBezTo>
                <a:cubicBezTo>
                  <a:pt x="420053" y="842010"/>
                  <a:pt x="440055" y="846773"/>
                  <a:pt x="460058" y="849630"/>
                </a:cubicBezTo>
                <a:cubicBezTo>
                  <a:pt x="474345" y="851535"/>
                  <a:pt x="488633" y="852488"/>
                  <a:pt x="503872" y="852488"/>
                </a:cubicBezTo>
                <a:cubicBezTo>
                  <a:pt x="515303" y="852488"/>
                  <a:pt x="629603" y="850583"/>
                  <a:pt x="681990" y="849630"/>
                </a:cubicBezTo>
                <a:lnTo>
                  <a:pt x="681990" y="1020127"/>
                </a:lnTo>
                <a:lnTo>
                  <a:pt x="1042035" y="730568"/>
                </a:lnTo>
                <a:close/>
              </a:path>
            </a:pathLst>
          </a:custGeom>
          <a:solidFill>
            <a:srgbClr val="26314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grpSp>
        <p:nvGrpSpPr>
          <p:cNvPr id="9" name="Gráfico 2">
            <a:extLst>
              <a:ext uri="{FF2B5EF4-FFF2-40B4-BE49-F238E27FC236}">
                <a16:creationId xmlns:a16="http://schemas.microsoft.com/office/drawing/2014/main" id="{D0985D2D-C80E-4A7B-8521-0BE8315ADD06}"/>
              </a:ext>
            </a:extLst>
          </p:cNvPr>
          <p:cNvGrpSpPr/>
          <p:nvPr/>
        </p:nvGrpSpPr>
        <p:grpSpPr>
          <a:xfrm>
            <a:off x="5897342" y="4135858"/>
            <a:ext cx="1928986" cy="1930628"/>
            <a:chOff x="6452949" y="4024073"/>
            <a:chExt cx="1119663" cy="1120616"/>
          </a:xfrm>
          <a:solidFill>
            <a:srgbClr val="D6D6CE"/>
          </a:solidFill>
        </p:grpSpPr>
        <p:sp>
          <p:nvSpPr>
            <p:cNvPr id="10" name="Forma Livre: Forma 9">
              <a:extLst>
                <a:ext uri="{FF2B5EF4-FFF2-40B4-BE49-F238E27FC236}">
                  <a16:creationId xmlns:a16="http://schemas.microsoft.com/office/drawing/2014/main" id="{052AF7D1-AE25-4EEE-852F-7F5D34B1894C}"/>
                </a:ext>
              </a:extLst>
            </p:cNvPr>
            <p:cNvSpPr/>
            <p:nvPr/>
          </p:nvSpPr>
          <p:spPr>
            <a:xfrm>
              <a:off x="6823500" y="4024073"/>
              <a:ext cx="377405" cy="421243"/>
            </a:xfrm>
            <a:custGeom>
              <a:avLst/>
              <a:gdLst>
                <a:gd name="connsiteX0" fmla="*/ 365017 w 377405"/>
                <a:gd name="connsiteY0" fmla="*/ 278368 h 421243"/>
                <a:gd name="connsiteX1" fmla="*/ 280244 w 377405"/>
                <a:gd name="connsiteY1" fmla="*/ 278368 h 421243"/>
                <a:gd name="connsiteX2" fmla="*/ 267862 w 377405"/>
                <a:gd name="connsiteY2" fmla="*/ 290751 h 421243"/>
                <a:gd name="connsiteX3" fmla="*/ 267862 w 377405"/>
                <a:gd name="connsiteY3" fmla="*/ 408861 h 421243"/>
                <a:gd name="connsiteX4" fmla="*/ 255480 w 377405"/>
                <a:gd name="connsiteY4" fmla="*/ 421243 h 421243"/>
                <a:gd name="connsiteX5" fmla="*/ 122130 w 377405"/>
                <a:gd name="connsiteY5" fmla="*/ 421243 h 421243"/>
                <a:gd name="connsiteX6" fmla="*/ 109747 w 377405"/>
                <a:gd name="connsiteY6" fmla="*/ 408861 h 421243"/>
                <a:gd name="connsiteX7" fmla="*/ 109747 w 377405"/>
                <a:gd name="connsiteY7" fmla="*/ 290751 h 421243"/>
                <a:gd name="connsiteX8" fmla="*/ 97364 w 377405"/>
                <a:gd name="connsiteY8" fmla="*/ 278368 h 421243"/>
                <a:gd name="connsiteX9" fmla="*/ 12592 w 377405"/>
                <a:gd name="connsiteY9" fmla="*/ 278368 h 421243"/>
                <a:gd name="connsiteX10" fmla="*/ 2114 w 377405"/>
                <a:gd name="connsiteY10" fmla="*/ 259318 h 421243"/>
                <a:gd name="connsiteX11" fmla="*/ 178327 w 377405"/>
                <a:gd name="connsiteY11" fmla="*/ 5001 h 421243"/>
                <a:gd name="connsiteX12" fmla="*/ 198330 w 377405"/>
                <a:gd name="connsiteY12" fmla="*/ 5001 h 421243"/>
                <a:gd name="connsiteX13" fmla="*/ 374542 w 377405"/>
                <a:gd name="connsiteY13" fmla="*/ 259318 h 421243"/>
                <a:gd name="connsiteX14" fmla="*/ 365017 w 377405"/>
                <a:gd name="connsiteY14" fmla="*/ 278368 h 421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77405" h="421243">
                  <a:moveTo>
                    <a:pt x="365017" y="278368"/>
                  </a:moveTo>
                  <a:lnTo>
                    <a:pt x="280244" y="278368"/>
                  </a:lnTo>
                  <a:cubicBezTo>
                    <a:pt x="273577" y="278368"/>
                    <a:pt x="267862" y="284083"/>
                    <a:pt x="267862" y="290751"/>
                  </a:cubicBezTo>
                  <a:lnTo>
                    <a:pt x="267862" y="408861"/>
                  </a:lnTo>
                  <a:cubicBezTo>
                    <a:pt x="267862" y="415528"/>
                    <a:pt x="262147" y="421243"/>
                    <a:pt x="255480" y="421243"/>
                  </a:cubicBezTo>
                  <a:lnTo>
                    <a:pt x="122130" y="421243"/>
                  </a:lnTo>
                  <a:cubicBezTo>
                    <a:pt x="115462" y="421243"/>
                    <a:pt x="109747" y="415528"/>
                    <a:pt x="109747" y="408861"/>
                  </a:cubicBezTo>
                  <a:lnTo>
                    <a:pt x="109747" y="290751"/>
                  </a:lnTo>
                  <a:cubicBezTo>
                    <a:pt x="109747" y="284083"/>
                    <a:pt x="104032" y="278368"/>
                    <a:pt x="97364" y="278368"/>
                  </a:cubicBezTo>
                  <a:lnTo>
                    <a:pt x="12592" y="278368"/>
                  </a:lnTo>
                  <a:cubicBezTo>
                    <a:pt x="3067" y="278368"/>
                    <a:pt x="-3601" y="266938"/>
                    <a:pt x="2114" y="259318"/>
                  </a:cubicBezTo>
                  <a:lnTo>
                    <a:pt x="178327" y="5001"/>
                  </a:lnTo>
                  <a:cubicBezTo>
                    <a:pt x="183089" y="-1667"/>
                    <a:pt x="193567" y="-1667"/>
                    <a:pt x="198330" y="5001"/>
                  </a:cubicBezTo>
                  <a:lnTo>
                    <a:pt x="374542" y="259318"/>
                  </a:lnTo>
                  <a:cubicBezTo>
                    <a:pt x="381209" y="267891"/>
                    <a:pt x="375494" y="278368"/>
                    <a:pt x="365017" y="2783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1" name="Forma Livre: Forma 10">
              <a:extLst>
                <a:ext uri="{FF2B5EF4-FFF2-40B4-BE49-F238E27FC236}">
                  <a16:creationId xmlns:a16="http://schemas.microsoft.com/office/drawing/2014/main" id="{CF34562F-6EA0-4704-B8AB-F428F7A3B016}"/>
                </a:ext>
              </a:extLst>
            </p:cNvPr>
            <p:cNvSpPr/>
            <p:nvPr/>
          </p:nvSpPr>
          <p:spPr>
            <a:xfrm>
              <a:off x="7151369" y="4395577"/>
              <a:ext cx="421243" cy="377405"/>
            </a:xfrm>
            <a:custGeom>
              <a:avLst/>
              <a:gdLst>
                <a:gd name="connsiteX0" fmla="*/ 142875 w 421243"/>
                <a:gd name="connsiteY0" fmla="*/ 365017 h 377405"/>
                <a:gd name="connsiteX1" fmla="*/ 142875 w 421243"/>
                <a:gd name="connsiteY1" fmla="*/ 280244 h 377405"/>
                <a:gd name="connsiteX2" fmla="*/ 130493 w 421243"/>
                <a:gd name="connsiteY2" fmla="*/ 267862 h 377405"/>
                <a:gd name="connsiteX3" fmla="*/ 12383 w 421243"/>
                <a:gd name="connsiteY3" fmla="*/ 267862 h 377405"/>
                <a:gd name="connsiteX4" fmla="*/ 0 w 421243"/>
                <a:gd name="connsiteY4" fmla="*/ 255479 h 377405"/>
                <a:gd name="connsiteX5" fmla="*/ 0 w 421243"/>
                <a:gd name="connsiteY5" fmla="*/ 122129 h 377405"/>
                <a:gd name="connsiteX6" fmla="*/ 12383 w 421243"/>
                <a:gd name="connsiteY6" fmla="*/ 109747 h 377405"/>
                <a:gd name="connsiteX7" fmla="*/ 130493 w 421243"/>
                <a:gd name="connsiteY7" fmla="*/ 109747 h 377405"/>
                <a:gd name="connsiteX8" fmla="*/ 142875 w 421243"/>
                <a:gd name="connsiteY8" fmla="*/ 97364 h 377405"/>
                <a:gd name="connsiteX9" fmla="*/ 142875 w 421243"/>
                <a:gd name="connsiteY9" fmla="*/ 12592 h 377405"/>
                <a:gd name="connsiteX10" fmla="*/ 161925 w 421243"/>
                <a:gd name="connsiteY10" fmla="*/ 2114 h 377405"/>
                <a:gd name="connsiteX11" fmla="*/ 416243 w 421243"/>
                <a:gd name="connsiteY11" fmla="*/ 178327 h 377405"/>
                <a:gd name="connsiteX12" fmla="*/ 416243 w 421243"/>
                <a:gd name="connsiteY12" fmla="*/ 198329 h 377405"/>
                <a:gd name="connsiteX13" fmla="*/ 161925 w 421243"/>
                <a:gd name="connsiteY13" fmla="*/ 374542 h 377405"/>
                <a:gd name="connsiteX14" fmla="*/ 142875 w 421243"/>
                <a:gd name="connsiteY14" fmla="*/ 365017 h 377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21243" h="377405">
                  <a:moveTo>
                    <a:pt x="142875" y="365017"/>
                  </a:moveTo>
                  <a:lnTo>
                    <a:pt x="142875" y="280244"/>
                  </a:lnTo>
                  <a:cubicBezTo>
                    <a:pt x="142875" y="273577"/>
                    <a:pt x="137160" y="267862"/>
                    <a:pt x="130493" y="267862"/>
                  </a:cubicBezTo>
                  <a:lnTo>
                    <a:pt x="12383" y="267862"/>
                  </a:lnTo>
                  <a:cubicBezTo>
                    <a:pt x="5715" y="267862"/>
                    <a:pt x="0" y="262147"/>
                    <a:pt x="0" y="255479"/>
                  </a:cubicBezTo>
                  <a:lnTo>
                    <a:pt x="0" y="122129"/>
                  </a:lnTo>
                  <a:cubicBezTo>
                    <a:pt x="0" y="115462"/>
                    <a:pt x="5715" y="109747"/>
                    <a:pt x="12383" y="109747"/>
                  </a:cubicBezTo>
                  <a:lnTo>
                    <a:pt x="130493" y="109747"/>
                  </a:lnTo>
                  <a:cubicBezTo>
                    <a:pt x="137160" y="109747"/>
                    <a:pt x="142875" y="104032"/>
                    <a:pt x="142875" y="97364"/>
                  </a:cubicBezTo>
                  <a:lnTo>
                    <a:pt x="142875" y="12592"/>
                  </a:lnTo>
                  <a:cubicBezTo>
                    <a:pt x="142875" y="3067"/>
                    <a:pt x="154305" y="-3601"/>
                    <a:pt x="161925" y="2114"/>
                  </a:cubicBezTo>
                  <a:lnTo>
                    <a:pt x="416243" y="178327"/>
                  </a:lnTo>
                  <a:cubicBezTo>
                    <a:pt x="422910" y="183089"/>
                    <a:pt x="422910" y="193567"/>
                    <a:pt x="416243" y="198329"/>
                  </a:cubicBezTo>
                  <a:lnTo>
                    <a:pt x="161925" y="374542"/>
                  </a:lnTo>
                  <a:cubicBezTo>
                    <a:pt x="154305" y="381209"/>
                    <a:pt x="142875" y="375494"/>
                    <a:pt x="142875" y="3650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2" name="Forma Livre: Forma 11">
              <a:extLst>
                <a:ext uri="{FF2B5EF4-FFF2-40B4-BE49-F238E27FC236}">
                  <a16:creationId xmlns:a16="http://schemas.microsoft.com/office/drawing/2014/main" id="{6542E98A-4993-4D70-AD8E-16BB730D0522}"/>
                </a:ext>
              </a:extLst>
            </p:cNvPr>
            <p:cNvSpPr/>
            <p:nvPr/>
          </p:nvSpPr>
          <p:spPr>
            <a:xfrm>
              <a:off x="6824306" y="4723446"/>
              <a:ext cx="376968" cy="421243"/>
            </a:xfrm>
            <a:custGeom>
              <a:avLst/>
              <a:gdLst>
                <a:gd name="connsiteX0" fmla="*/ 374688 w 376968"/>
                <a:gd name="connsiteY0" fmla="*/ 161925 h 421243"/>
                <a:gd name="connsiteX1" fmla="*/ 198476 w 376968"/>
                <a:gd name="connsiteY1" fmla="*/ 416243 h 421243"/>
                <a:gd name="connsiteX2" fmla="*/ 178473 w 376968"/>
                <a:gd name="connsiteY2" fmla="*/ 416243 h 421243"/>
                <a:gd name="connsiteX3" fmla="*/ 2261 w 376968"/>
                <a:gd name="connsiteY3" fmla="*/ 161925 h 421243"/>
                <a:gd name="connsiteX4" fmla="*/ 12738 w 376968"/>
                <a:gd name="connsiteY4" fmla="*/ 142875 h 421243"/>
                <a:gd name="connsiteX5" fmla="*/ 97511 w 376968"/>
                <a:gd name="connsiteY5" fmla="*/ 142875 h 421243"/>
                <a:gd name="connsiteX6" fmla="*/ 109893 w 376968"/>
                <a:gd name="connsiteY6" fmla="*/ 130493 h 421243"/>
                <a:gd name="connsiteX7" fmla="*/ 109893 w 376968"/>
                <a:gd name="connsiteY7" fmla="*/ 12383 h 421243"/>
                <a:gd name="connsiteX8" fmla="*/ 122276 w 376968"/>
                <a:gd name="connsiteY8" fmla="*/ 0 h 421243"/>
                <a:gd name="connsiteX9" fmla="*/ 255626 w 376968"/>
                <a:gd name="connsiteY9" fmla="*/ 0 h 421243"/>
                <a:gd name="connsiteX10" fmla="*/ 268008 w 376968"/>
                <a:gd name="connsiteY10" fmla="*/ 12383 h 421243"/>
                <a:gd name="connsiteX11" fmla="*/ 268008 w 376968"/>
                <a:gd name="connsiteY11" fmla="*/ 130493 h 421243"/>
                <a:gd name="connsiteX12" fmla="*/ 280391 w 376968"/>
                <a:gd name="connsiteY12" fmla="*/ 142875 h 421243"/>
                <a:gd name="connsiteX13" fmla="*/ 365163 w 376968"/>
                <a:gd name="connsiteY13" fmla="*/ 142875 h 421243"/>
                <a:gd name="connsiteX14" fmla="*/ 374688 w 376968"/>
                <a:gd name="connsiteY14" fmla="*/ 161925 h 421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76968" h="421243">
                  <a:moveTo>
                    <a:pt x="374688" y="161925"/>
                  </a:moveTo>
                  <a:lnTo>
                    <a:pt x="198476" y="416243"/>
                  </a:lnTo>
                  <a:cubicBezTo>
                    <a:pt x="193713" y="422910"/>
                    <a:pt x="183236" y="422910"/>
                    <a:pt x="178473" y="416243"/>
                  </a:cubicBezTo>
                  <a:lnTo>
                    <a:pt x="2261" y="161925"/>
                  </a:lnTo>
                  <a:cubicBezTo>
                    <a:pt x="-3454" y="153353"/>
                    <a:pt x="2261" y="142875"/>
                    <a:pt x="12738" y="142875"/>
                  </a:cubicBezTo>
                  <a:lnTo>
                    <a:pt x="97511" y="142875"/>
                  </a:lnTo>
                  <a:cubicBezTo>
                    <a:pt x="104178" y="142875"/>
                    <a:pt x="109893" y="137160"/>
                    <a:pt x="109893" y="130493"/>
                  </a:cubicBezTo>
                  <a:lnTo>
                    <a:pt x="109893" y="12383"/>
                  </a:lnTo>
                  <a:cubicBezTo>
                    <a:pt x="109893" y="5715"/>
                    <a:pt x="115608" y="0"/>
                    <a:pt x="122276" y="0"/>
                  </a:cubicBezTo>
                  <a:lnTo>
                    <a:pt x="255626" y="0"/>
                  </a:lnTo>
                  <a:cubicBezTo>
                    <a:pt x="262293" y="0"/>
                    <a:pt x="268008" y="5715"/>
                    <a:pt x="268008" y="12383"/>
                  </a:cubicBezTo>
                  <a:lnTo>
                    <a:pt x="268008" y="130493"/>
                  </a:lnTo>
                  <a:cubicBezTo>
                    <a:pt x="268008" y="137160"/>
                    <a:pt x="273723" y="142875"/>
                    <a:pt x="280391" y="142875"/>
                  </a:cubicBezTo>
                  <a:lnTo>
                    <a:pt x="365163" y="142875"/>
                  </a:lnTo>
                  <a:cubicBezTo>
                    <a:pt x="374688" y="142875"/>
                    <a:pt x="380403" y="153353"/>
                    <a:pt x="374688" y="1619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3" name="Forma Livre: Forma 12">
              <a:extLst>
                <a:ext uri="{FF2B5EF4-FFF2-40B4-BE49-F238E27FC236}">
                  <a16:creationId xmlns:a16="http://schemas.microsoft.com/office/drawing/2014/main" id="{C6F8CB09-EF8F-48F0-ACB8-4488FEFFE52D}"/>
                </a:ext>
              </a:extLst>
            </p:cNvPr>
            <p:cNvSpPr/>
            <p:nvPr/>
          </p:nvSpPr>
          <p:spPr>
            <a:xfrm>
              <a:off x="6452949" y="4396383"/>
              <a:ext cx="420290" cy="376802"/>
            </a:xfrm>
            <a:custGeom>
              <a:avLst/>
              <a:gdLst>
                <a:gd name="connsiteX0" fmla="*/ 420291 w 420290"/>
                <a:gd name="connsiteY0" fmla="*/ 121323 h 376802"/>
                <a:gd name="connsiteX1" fmla="*/ 420291 w 420290"/>
                <a:gd name="connsiteY1" fmla="*/ 254673 h 376802"/>
                <a:gd name="connsiteX2" fmla="*/ 407908 w 420290"/>
                <a:gd name="connsiteY2" fmla="*/ 267056 h 376802"/>
                <a:gd name="connsiteX3" fmla="*/ 290751 w 420290"/>
                <a:gd name="connsiteY3" fmla="*/ 267056 h 376802"/>
                <a:gd name="connsiteX4" fmla="*/ 278368 w 420290"/>
                <a:gd name="connsiteY4" fmla="*/ 279438 h 376802"/>
                <a:gd name="connsiteX5" fmla="*/ 278368 w 420290"/>
                <a:gd name="connsiteY5" fmla="*/ 364211 h 376802"/>
                <a:gd name="connsiteX6" fmla="*/ 259318 w 420290"/>
                <a:gd name="connsiteY6" fmla="*/ 374688 h 376802"/>
                <a:gd name="connsiteX7" fmla="*/ 5001 w 420290"/>
                <a:gd name="connsiteY7" fmla="*/ 198476 h 376802"/>
                <a:gd name="connsiteX8" fmla="*/ 5001 w 420290"/>
                <a:gd name="connsiteY8" fmla="*/ 178473 h 376802"/>
                <a:gd name="connsiteX9" fmla="*/ 259318 w 420290"/>
                <a:gd name="connsiteY9" fmla="*/ 2261 h 376802"/>
                <a:gd name="connsiteX10" fmla="*/ 278368 w 420290"/>
                <a:gd name="connsiteY10" fmla="*/ 12738 h 376802"/>
                <a:gd name="connsiteX11" fmla="*/ 278368 w 420290"/>
                <a:gd name="connsiteY11" fmla="*/ 97511 h 376802"/>
                <a:gd name="connsiteX12" fmla="*/ 290751 w 420290"/>
                <a:gd name="connsiteY12" fmla="*/ 109893 h 376802"/>
                <a:gd name="connsiteX13" fmla="*/ 408861 w 420290"/>
                <a:gd name="connsiteY13" fmla="*/ 109893 h 376802"/>
                <a:gd name="connsiteX14" fmla="*/ 420291 w 420290"/>
                <a:gd name="connsiteY14" fmla="*/ 121323 h 376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20290" h="376802">
                  <a:moveTo>
                    <a:pt x="420291" y="121323"/>
                  </a:moveTo>
                  <a:lnTo>
                    <a:pt x="420291" y="254673"/>
                  </a:lnTo>
                  <a:cubicBezTo>
                    <a:pt x="420291" y="261341"/>
                    <a:pt x="414576" y="267056"/>
                    <a:pt x="407908" y="267056"/>
                  </a:cubicBezTo>
                  <a:lnTo>
                    <a:pt x="290751" y="267056"/>
                  </a:lnTo>
                  <a:cubicBezTo>
                    <a:pt x="284083" y="267056"/>
                    <a:pt x="278368" y="272771"/>
                    <a:pt x="278368" y="279438"/>
                  </a:cubicBezTo>
                  <a:lnTo>
                    <a:pt x="278368" y="364211"/>
                  </a:lnTo>
                  <a:cubicBezTo>
                    <a:pt x="278368" y="373736"/>
                    <a:pt x="266938" y="380403"/>
                    <a:pt x="259318" y="374688"/>
                  </a:cubicBezTo>
                  <a:lnTo>
                    <a:pt x="5001" y="198476"/>
                  </a:lnTo>
                  <a:cubicBezTo>
                    <a:pt x="-1667" y="193713"/>
                    <a:pt x="-1667" y="183236"/>
                    <a:pt x="5001" y="178473"/>
                  </a:cubicBezTo>
                  <a:lnTo>
                    <a:pt x="259318" y="2261"/>
                  </a:lnTo>
                  <a:cubicBezTo>
                    <a:pt x="267891" y="-3454"/>
                    <a:pt x="278368" y="2261"/>
                    <a:pt x="278368" y="12738"/>
                  </a:cubicBezTo>
                  <a:lnTo>
                    <a:pt x="278368" y="97511"/>
                  </a:lnTo>
                  <a:cubicBezTo>
                    <a:pt x="278368" y="104178"/>
                    <a:pt x="284083" y="109893"/>
                    <a:pt x="290751" y="109893"/>
                  </a:cubicBezTo>
                  <a:lnTo>
                    <a:pt x="408861" y="109893"/>
                  </a:lnTo>
                  <a:cubicBezTo>
                    <a:pt x="414576" y="108941"/>
                    <a:pt x="420291" y="114656"/>
                    <a:pt x="420291" y="1213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sp>
        <p:nvSpPr>
          <p:cNvPr id="14" name="Forma Livre: Forma 13">
            <a:extLst>
              <a:ext uri="{FF2B5EF4-FFF2-40B4-BE49-F238E27FC236}">
                <a16:creationId xmlns:a16="http://schemas.microsoft.com/office/drawing/2014/main" id="{D3755C57-01EE-4D56-B487-7082A400FB70}"/>
              </a:ext>
            </a:extLst>
          </p:cNvPr>
          <p:cNvSpPr/>
          <p:nvPr/>
        </p:nvSpPr>
        <p:spPr>
          <a:xfrm>
            <a:off x="2385528" y="470207"/>
            <a:ext cx="1696247" cy="730168"/>
          </a:xfrm>
          <a:custGeom>
            <a:avLst/>
            <a:gdLst>
              <a:gd name="connsiteX0" fmla="*/ 1224915 w 1233848"/>
              <a:gd name="connsiteY0" fmla="*/ 161554 h 531123"/>
              <a:gd name="connsiteX1" fmla="*/ 1019175 w 1233848"/>
              <a:gd name="connsiteY1" fmla="*/ 1534 h 531123"/>
              <a:gd name="connsiteX2" fmla="*/ 1007745 w 1233848"/>
              <a:gd name="connsiteY2" fmla="*/ 7249 h 531123"/>
              <a:gd name="connsiteX3" fmla="*/ 1007745 w 1233848"/>
              <a:gd name="connsiteY3" fmla="*/ 72019 h 531123"/>
              <a:gd name="connsiteX4" fmla="*/ 656273 w 1233848"/>
              <a:gd name="connsiteY4" fmla="*/ 72019 h 531123"/>
              <a:gd name="connsiteX5" fmla="*/ 656273 w 1233848"/>
              <a:gd name="connsiteY5" fmla="*/ 70114 h 531123"/>
              <a:gd name="connsiteX6" fmla="*/ 439103 w 1233848"/>
              <a:gd name="connsiteY6" fmla="*/ 70114 h 531123"/>
              <a:gd name="connsiteX7" fmla="*/ 0 w 1233848"/>
              <a:gd name="connsiteY7" fmla="*/ 520646 h 531123"/>
              <a:gd name="connsiteX8" fmla="*/ 10477 w 1233848"/>
              <a:gd name="connsiteY8" fmla="*/ 531124 h 531123"/>
              <a:gd name="connsiteX9" fmla="*/ 192405 w 1233848"/>
              <a:gd name="connsiteY9" fmla="*/ 531124 h 531123"/>
              <a:gd name="connsiteX10" fmla="*/ 202882 w 1233848"/>
              <a:gd name="connsiteY10" fmla="*/ 521599 h 531123"/>
              <a:gd name="connsiteX11" fmla="*/ 440055 w 1233848"/>
              <a:gd name="connsiteY11" fmla="*/ 272996 h 531123"/>
              <a:gd name="connsiteX12" fmla="*/ 440055 w 1233848"/>
              <a:gd name="connsiteY12" fmla="*/ 272044 h 531123"/>
              <a:gd name="connsiteX13" fmla="*/ 657225 w 1233848"/>
              <a:gd name="connsiteY13" fmla="*/ 272044 h 531123"/>
              <a:gd name="connsiteX14" fmla="*/ 657225 w 1233848"/>
              <a:gd name="connsiteY14" fmla="*/ 272044 h 531123"/>
              <a:gd name="connsiteX15" fmla="*/ 1008698 w 1233848"/>
              <a:gd name="connsiteY15" fmla="*/ 272044 h 531123"/>
              <a:gd name="connsiteX16" fmla="*/ 1008698 w 1233848"/>
              <a:gd name="connsiteY16" fmla="*/ 337766 h 531123"/>
              <a:gd name="connsiteX17" fmla="*/ 1019175 w 1233848"/>
              <a:gd name="connsiteY17" fmla="*/ 343481 h 531123"/>
              <a:gd name="connsiteX18" fmla="*/ 1224915 w 1233848"/>
              <a:gd name="connsiteY18" fmla="*/ 198701 h 531123"/>
              <a:gd name="connsiteX19" fmla="*/ 1224915 w 1233848"/>
              <a:gd name="connsiteY19" fmla="*/ 161554 h 531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3848" h="531123">
                <a:moveTo>
                  <a:pt x="1224915" y="161554"/>
                </a:moveTo>
                <a:lnTo>
                  <a:pt x="1019175" y="1534"/>
                </a:lnTo>
                <a:cubicBezTo>
                  <a:pt x="1014412" y="-2276"/>
                  <a:pt x="1007745" y="1534"/>
                  <a:pt x="1007745" y="7249"/>
                </a:cubicBezTo>
                <a:lnTo>
                  <a:pt x="1007745" y="72019"/>
                </a:lnTo>
                <a:lnTo>
                  <a:pt x="656273" y="72019"/>
                </a:lnTo>
                <a:lnTo>
                  <a:pt x="656273" y="70114"/>
                </a:lnTo>
                <a:lnTo>
                  <a:pt x="439103" y="70114"/>
                </a:lnTo>
                <a:cubicBezTo>
                  <a:pt x="201930" y="70114"/>
                  <a:pt x="5715" y="277759"/>
                  <a:pt x="0" y="520646"/>
                </a:cubicBezTo>
                <a:cubicBezTo>
                  <a:pt x="0" y="526361"/>
                  <a:pt x="4763" y="531124"/>
                  <a:pt x="10477" y="531124"/>
                </a:cubicBezTo>
                <a:lnTo>
                  <a:pt x="192405" y="531124"/>
                </a:lnTo>
                <a:cubicBezTo>
                  <a:pt x="198120" y="531124"/>
                  <a:pt x="201930" y="526361"/>
                  <a:pt x="202882" y="521599"/>
                </a:cubicBezTo>
                <a:cubicBezTo>
                  <a:pt x="207645" y="390154"/>
                  <a:pt x="306705" y="272996"/>
                  <a:pt x="440055" y="272996"/>
                </a:cubicBezTo>
                <a:lnTo>
                  <a:pt x="440055" y="272044"/>
                </a:lnTo>
                <a:lnTo>
                  <a:pt x="657225" y="272044"/>
                </a:lnTo>
                <a:lnTo>
                  <a:pt x="657225" y="272044"/>
                </a:lnTo>
                <a:lnTo>
                  <a:pt x="1008698" y="272044"/>
                </a:lnTo>
                <a:lnTo>
                  <a:pt x="1008698" y="337766"/>
                </a:lnTo>
                <a:cubicBezTo>
                  <a:pt x="1008698" y="343481"/>
                  <a:pt x="1015365" y="346339"/>
                  <a:pt x="1019175" y="343481"/>
                </a:cubicBezTo>
                <a:lnTo>
                  <a:pt x="1224915" y="198701"/>
                </a:lnTo>
                <a:cubicBezTo>
                  <a:pt x="1236345" y="189176"/>
                  <a:pt x="1237298" y="171079"/>
                  <a:pt x="1224915" y="161554"/>
                </a:cubicBezTo>
                <a:close/>
              </a:path>
            </a:pathLst>
          </a:custGeom>
          <a:solidFill>
            <a:srgbClr val="26314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15" name="Forma Livre: Forma 14">
            <a:extLst>
              <a:ext uri="{FF2B5EF4-FFF2-40B4-BE49-F238E27FC236}">
                <a16:creationId xmlns:a16="http://schemas.microsoft.com/office/drawing/2014/main" id="{97A3B469-BA48-41F8-850F-D51C0A3CE5BA}"/>
              </a:ext>
            </a:extLst>
          </p:cNvPr>
          <p:cNvSpPr/>
          <p:nvPr/>
        </p:nvSpPr>
        <p:spPr>
          <a:xfrm>
            <a:off x="587375" y="4164995"/>
            <a:ext cx="1098637" cy="1099947"/>
          </a:xfrm>
          <a:custGeom>
            <a:avLst/>
            <a:gdLst>
              <a:gd name="connsiteX0" fmla="*/ 760095 w 799147"/>
              <a:gd name="connsiteY0" fmla="*/ 651510 h 800100"/>
              <a:gd name="connsiteX1" fmla="*/ 720090 w 799147"/>
              <a:gd name="connsiteY1" fmla="*/ 502920 h 800100"/>
              <a:gd name="connsiteX2" fmla="*/ 675323 w 799147"/>
              <a:gd name="connsiteY2" fmla="*/ 546735 h 800100"/>
              <a:gd name="connsiteX3" fmla="*/ 491490 w 799147"/>
              <a:gd name="connsiteY3" fmla="*/ 362902 h 800100"/>
              <a:gd name="connsiteX4" fmla="*/ 491490 w 799147"/>
              <a:gd name="connsiteY4" fmla="*/ 362902 h 800100"/>
              <a:gd name="connsiteX5" fmla="*/ 253365 w 799147"/>
              <a:gd name="connsiteY5" fmla="*/ 123825 h 800100"/>
              <a:gd name="connsiteX6" fmla="*/ 297180 w 799147"/>
              <a:gd name="connsiteY6" fmla="*/ 80010 h 800100"/>
              <a:gd name="connsiteX7" fmla="*/ 148590 w 799147"/>
              <a:gd name="connsiteY7" fmla="*/ 40005 h 800100"/>
              <a:gd name="connsiteX8" fmla="*/ 0 w 799147"/>
              <a:gd name="connsiteY8" fmla="*/ 0 h 800100"/>
              <a:gd name="connsiteX9" fmla="*/ 40005 w 799147"/>
              <a:gd name="connsiteY9" fmla="*/ 148590 h 800100"/>
              <a:gd name="connsiteX10" fmla="*/ 80010 w 799147"/>
              <a:gd name="connsiteY10" fmla="*/ 297180 h 800100"/>
              <a:gd name="connsiteX11" fmla="*/ 123825 w 799147"/>
              <a:gd name="connsiteY11" fmla="*/ 253365 h 800100"/>
              <a:gd name="connsiteX12" fmla="*/ 307658 w 799147"/>
              <a:gd name="connsiteY12" fmla="*/ 437197 h 800100"/>
              <a:gd name="connsiteX13" fmla="*/ 307658 w 799147"/>
              <a:gd name="connsiteY13" fmla="*/ 437197 h 800100"/>
              <a:gd name="connsiteX14" fmla="*/ 546735 w 799147"/>
              <a:gd name="connsiteY14" fmla="*/ 676275 h 800100"/>
              <a:gd name="connsiteX15" fmla="*/ 501968 w 799147"/>
              <a:gd name="connsiteY15" fmla="*/ 720090 h 800100"/>
              <a:gd name="connsiteX16" fmla="*/ 650558 w 799147"/>
              <a:gd name="connsiteY16" fmla="*/ 760095 h 800100"/>
              <a:gd name="connsiteX17" fmla="*/ 799148 w 799147"/>
              <a:gd name="connsiteY17" fmla="*/ 800100 h 800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799147" h="800100">
                <a:moveTo>
                  <a:pt x="760095" y="651510"/>
                </a:moveTo>
                <a:lnTo>
                  <a:pt x="720090" y="502920"/>
                </a:lnTo>
                <a:lnTo>
                  <a:pt x="675323" y="546735"/>
                </a:lnTo>
                <a:lnTo>
                  <a:pt x="491490" y="362902"/>
                </a:lnTo>
                <a:lnTo>
                  <a:pt x="491490" y="362902"/>
                </a:lnTo>
                <a:lnTo>
                  <a:pt x="253365" y="123825"/>
                </a:lnTo>
                <a:lnTo>
                  <a:pt x="297180" y="80010"/>
                </a:lnTo>
                <a:lnTo>
                  <a:pt x="148590" y="40005"/>
                </a:lnTo>
                <a:lnTo>
                  <a:pt x="0" y="0"/>
                </a:lnTo>
                <a:lnTo>
                  <a:pt x="40005" y="148590"/>
                </a:lnTo>
                <a:lnTo>
                  <a:pt x="80010" y="297180"/>
                </a:lnTo>
                <a:lnTo>
                  <a:pt x="123825" y="253365"/>
                </a:lnTo>
                <a:lnTo>
                  <a:pt x="307658" y="437197"/>
                </a:lnTo>
                <a:lnTo>
                  <a:pt x="307658" y="437197"/>
                </a:lnTo>
                <a:lnTo>
                  <a:pt x="546735" y="676275"/>
                </a:lnTo>
                <a:lnTo>
                  <a:pt x="501968" y="720090"/>
                </a:lnTo>
                <a:lnTo>
                  <a:pt x="650558" y="760095"/>
                </a:lnTo>
                <a:lnTo>
                  <a:pt x="799148" y="800100"/>
                </a:lnTo>
                <a:close/>
              </a:path>
            </a:pathLst>
          </a:custGeom>
          <a:solidFill>
            <a:srgbClr val="26314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16" name="Forma Livre: Forma 15">
            <a:extLst>
              <a:ext uri="{FF2B5EF4-FFF2-40B4-BE49-F238E27FC236}">
                <a16:creationId xmlns:a16="http://schemas.microsoft.com/office/drawing/2014/main" id="{2F546BFA-C16C-4CFF-945E-FD862A522468}"/>
              </a:ext>
            </a:extLst>
          </p:cNvPr>
          <p:cNvSpPr/>
          <p:nvPr/>
        </p:nvSpPr>
        <p:spPr>
          <a:xfrm>
            <a:off x="6474552" y="1238350"/>
            <a:ext cx="2499760" cy="2719749"/>
          </a:xfrm>
          <a:custGeom>
            <a:avLst/>
            <a:gdLst>
              <a:gd name="connsiteX0" fmla="*/ 1625918 w 1818322"/>
              <a:gd name="connsiteY0" fmla="*/ 111443 h 1978342"/>
              <a:gd name="connsiteX1" fmla="*/ 1433513 w 1818322"/>
              <a:gd name="connsiteY1" fmla="*/ 0 h 1978342"/>
              <a:gd name="connsiteX2" fmla="*/ 1433513 w 1818322"/>
              <a:gd name="connsiteY2" fmla="*/ 90487 h 1978342"/>
              <a:gd name="connsiteX3" fmla="*/ 944880 w 1818322"/>
              <a:gd name="connsiteY3" fmla="*/ 88582 h 1978342"/>
              <a:gd name="connsiteX4" fmla="*/ 0 w 1818322"/>
              <a:gd name="connsiteY4" fmla="*/ 1033462 h 1978342"/>
              <a:gd name="connsiteX5" fmla="*/ 944880 w 1818322"/>
              <a:gd name="connsiteY5" fmla="*/ 1978342 h 1978342"/>
              <a:gd name="connsiteX6" fmla="*/ 944880 w 1818322"/>
              <a:gd name="connsiteY6" fmla="*/ 1711642 h 1978342"/>
              <a:gd name="connsiteX7" fmla="*/ 266700 w 1818322"/>
              <a:gd name="connsiteY7" fmla="*/ 1033462 h 1978342"/>
              <a:gd name="connsiteX8" fmla="*/ 944880 w 1818322"/>
              <a:gd name="connsiteY8" fmla="*/ 355283 h 1978342"/>
              <a:gd name="connsiteX9" fmla="*/ 1433513 w 1818322"/>
              <a:gd name="connsiteY9" fmla="*/ 354330 h 1978342"/>
              <a:gd name="connsiteX10" fmla="*/ 1433513 w 1818322"/>
              <a:gd name="connsiteY10" fmla="*/ 444818 h 1978342"/>
              <a:gd name="connsiteX11" fmla="*/ 1625918 w 1818322"/>
              <a:gd name="connsiteY11" fmla="*/ 333375 h 1978342"/>
              <a:gd name="connsiteX12" fmla="*/ 1818323 w 1818322"/>
              <a:gd name="connsiteY12" fmla="*/ 221933 h 1978342"/>
              <a:gd name="connsiteX13" fmla="*/ 1625918 w 1818322"/>
              <a:gd name="connsiteY13" fmla="*/ 111443 h 19783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818322" h="1978342">
                <a:moveTo>
                  <a:pt x="1625918" y="111443"/>
                </a:moveTo>
                <a:lnTo>
                  <a:pt x="1433513" y="0"/>
                </a:lnTo>
                <a:lnTo>
                  <a:pt x="1433513" y="90487"/>
                </a:lnTo>
                <a:lnTo>
                  <a:pt x="944880" y="88582"/>
                </a:lnTo>
                <a:cubicBezTo>
                  <a:pt x="423863" y="88582"/>
                  <a:pt x="0" y="512445"/>
                  <a:pt x="0" y="1033462"/>
                </a:cubicBezTo>
                <a:cubicBezTo>
                  <a:pt x="0" y="1554480"/>
                  <a:pt x="423863" y="1978342"/>
                  <a:pt x="944880" y="1978342"/>
                </a:cubicBezTo>
                <a:lnTo>
                  <a:pt x="944880" y="1711642"/>
                </a:lnTo>
                <a:cubicBezTo>
                  <a:pt x="570547" y="1711642"/>
                  <a:pt x="266700" y="1406842"/>
                  <a:pt x="266700" y="1033462"/>
                </a:cubicBezTo>
                <a:cubicBezTo>
                  <a:pt x="266700" y="659130"/>
                  <a:pt x="571500" y="355283"/>
                  <a:pt x="944880" y="355283"/>
                </a:cubicBezTo>
                <a:lnTo>
                  <a:pt x="1433513" y="354330"/>
                </a:lnTo>
                <a:lnTo>
                  <a:pt x="1433513" y="444818"/>
                </a:lnTo>
                <a:lnTo>
                  <a:pt x="1625918" y="333375"/>
                </a:lnTo>
                <a:lnTo>
                  <a:pt x="1818323" y="221933"/>
                </a:lnTo>
                <a:lnTo>
                  <a:pt x="1625918" y="111443"/>
                </a:lnTo>
                <a:close/>
              </a:path>
            </a:pathLst>
          </a:custGeom>
          <a:solidFill>
            <a:srgbClr val="26314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17" name="Forma Livre: Forma 16">
            <a:extLst>
              <a:ext uri="{FF2B5EF4-FFF2-40B4-BE49-F238E27FC236}">
                <a16:creationId xmlns:a16="http://schemas.microsoft.com/office/drawing/2014/main" id="{BF4EF5F2-E429-4F2C-8BCB-983FDA08ECB2}"/>
              </a:ext>
            </a:extLst>
          </p:cNvPr>
          <p:cNvSpPr/>
          <p:nvPr/>
        </p:nvSpPr>
        <p:spPr>
          <a:xfrm>
            <a:off x="8314452" y="3385332"/>
            <a:ext cx="2648055" cy="888352"/>
          </a:xfrm>
          <a:custGeom>
            <a:avLst/>
            <a:gdLst>
              <a:gd name="connsiteX0" fmla="*/ 1744027 w 1926192"/>
              <a:gd name="connsiteY0" fmla="*/ 104211 h 646186"/>
              <a:gd name="connsiteX1" fmla="*/ 1566863 w 1926192"/>
              <a:gd name="connsiteY1" fmla="*/ 1341 h 646186"/>
              <a:gd name="connsiteX2" fmla="*/ 1551622 w 1926192"/>
              <a:gd name="connsiteY2" fmla="*/ 9913 h 646186"/>
              <a:gd name="connsiteX3" fmla="*/ 1551622 w 1926192"/>
              <a:gd name="connsiteY3" fmla="*/ 79446 h 646186"/>
              <a:gd name="connsiteX4" fmla="*/ 28575 w 1926192"/>
              <a:gd name="connsiteY4" fmla="*/ 249943 h 646186"/>
              <a:gd name="connsiteX5" fmla="*/ 0 w 1926192"/>
              <a:gd name="connsiteY5" fmla="*/ 264231 h 646186"/>
              <a:gd name="connsiteX6" fmla="*/ 0 w 1926192"/>
              <a:gd name="connsiteY6" fmla="*/ 450921 h 646186"/>
              <a:gd name="connsiteX7" fmla="*/ 37147 w 1926192"/>
              <a:gd name="connsiteY7" fmla="*/ 522358 h 646186"/>
              <a:gd name="connsiteX8" fmla="*/ 1550670 w 1926192"/>
              <a:gd name="connsiteY8" fmla="*/ 343289 h 646186"/>
              <a:gd name="connsiteX9" fmla="*/ 1550670 w 1926192"/>
              <a:gd name="connsiteY9" fmla="*/ 347099 h 646186"/>
              <a:gd name="connsiteX10" fmla="*/ 1551622 w 1926192"/>
              <a:gd name="connsiteY10" fmla="*/ 347099 h 646186"/>
              <a:gd name="connsiteX11" fmla="*/ 1551622 w 1926192"/>
              <a:gd name="connsiteY11" fmla="*/ 420441 h 646186"/>
              <a:gd name="connsiteX12" fmla="*/ 1566863 w 1926192"/>
              <a:gd name="connsiteY12" fmla="*/ 429014 h 646186"/>
              <a:gd name="connsiteX13" fmla="*/ 1744027 w 1926192"/>
              <a:gd name="connsiteY13" fmla="*/ 326143 h 646186"/>
              <a:gd name="connsiteX14" fmla="*/ 1921193 w 1926192"/>
              <a:gd name="connsiteY14" fmla="*/ 223274 h 646186"/>
              <a:gd name="connsiteX15" fmla="*/ 1921193 w 1926192"/>
              <a:gd name="connsiteY15" fmla="*/ 206128 h 646186"/>
              <a:gd name="connsiteX16" fmla="*/ 1744027 w 1926192"/>
              <a:gd name="connsiteY16" fmla="*/ 104211 h 646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926192" h="646186">
                <a:moveTo>
                  <a:pt x="1744027" y="104211"/>
                </a:moveTo>
                <a:lnTo>
                  <a:pt x="1566863" y="1341"/>
                </a:lnTo>
                <a:cubicBezTo>
                  <a:pt x="1560195" y="-2469"/>
                  <a:pt x="1551622" y="2293"/>
                  <a:pt x="1551622" y="9913"/>
                </a:cubicBezTo>
                <a:lnTo>
                  <a:pt x="1551622" y="79446"/>
                </a:lnTo>
                <a:cubicBezTo>
                  <a:pt x="1043940" y="100401"/>
                  <a:pt x="536257" y="615703"/>
                  <a:pt x="28575" y="249943"/>
                </a:cubicBezTo>
                <a:cubicBezTo>
                  <a:pt x="17145" y="241371"/>
                  <a:pt x="0" y="249943"/>
                  <a:pt x="0" y="264231"/>
                </a:cubicBezTo>
                <a:lnTo>
                  <a:pt x="0" y="450921"/>
                </a:lnTo>
                <a:cubicBezTo>
                  <a:pt x="0" y="479496"/>
                  <a:pt x="14288" y="506166"/>
                  <a:pt x="37147" y="522358"/>
                </a:cubicBezTo>
                <a:cubicBezTo>
                  <a:pt x="541972" y="874783"/>
                  <a:pt x="1045845" y="365196"/>
                  <a:pt x="1550670" y="343289"/>
                </a:cubicBezTo>
                <a:lnTo>
                  <a:pt x="1550670" y="347099"/>
                </a:lnTo>
                <a:lnTo>
                  <a:pt x="1551622" y="347099"/>
                </a:lnTo>
                <a:lnTo>
                  <a:pt x="1551622" y="420441"/>
                </a:lnTo>
                <a:cubicBezTo>
                  <a:pt x="1551622" y="428061"/>
                  <a:pt x="1560195" y="432824"/>
                  <a:pt x="1566863" y="429014"/>
                </a:cubicBezTo>
                <a:lnTo>
                  <a:pt x="1744027" y="326143"/>
                </a:lnTo>
                <a:lnTo>
                  <a:pt x="1921193" y="223274"/>
                </a:lnTo>
                <a:cubicBezTo>
                  <a:pt x="1927860" y="219463"/>
                  <a:pt x="1927860" y="209938"/>
                  <a:pt x="1921193" y="206128"/>
                </a:cubicBezTo>
                <a:lnTo>
                  <a:pt x="1744027" y="104211"/>
                </a:lnTo>
                <a:close/>
              </a:path>
            </a:pathLst>
          </a:custGeom>
          <a:solidFill>
            <a:srgbClr val="26314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18" name="Forma Livre: Forma 17">
            <a:extLst>
              <a:ext uri="{FF2B5EF4-FFF2-40B4-BE49-F238E27FC236}">
                <a16:creationId xmlns:a16="http://schemas.microsoft.com/office/drawing/2014/main" id="{1BAFE961-7490-4F08-971D-B8843AC605BE}"/>
              </a:ext>
            </a:extLst>
          </p:cNvPr>
          <p:cNvSpPr/>
          <p:nvPr/>
        </p:nvSpPr>
        <p:spPr>
          <a:xfrm>
            <a:off x="7177635" y="469697"/>
            <a:ext cx="2456875" cy="697936"/>
          </a:xfrm>
          <a:custGeom>
            <a:avLst/>
            <a:gdLst>
              <a:gd name="connsiteX0" fmla="*/ 1604010 w 1787128"/>
              <a:gd name="connsiteY0" fmla="*/ 180023 h 507678"/>
              <a:gd name="connsiteX1" fmla="*/ 1424940 w 1787128"/>
              <a:gd name="connsiteY1" fmla="*/ 77153 h 507678"/>
              <a:gd name="connsiteX2" fmla="*/ 1410653 w 1787128"/>
              <a:gd name="connsiteY2" fmla="*/ 85725 h 507678"/>
              <a:gd name="connsiteX3" fmla="*/ 1410653 w 1787128"/>
              <a:gd name="connsiteY3" fmla="*/ 188595 h 507678"/>
              <a:gd name="connsiteX4" fmla="*/ 1358265 w 1787128"/>
              <a:gd name="connsiteY4" fmla="*/ 133350 h 507678"/>
              <a:gd name="connsiteX5" fmla="*/ 1139190 w 1787128"/>
              <a:gd name="connsiteY5" fmla="*/ 0 h 507678"/>
              <a:gd name="connsiteX6" fmla="*/ 920115 w 1787128"/>
              <a:gd name="connsiteY6" fmla="*/ 133350 h 507678"/>
              <a:gd name="connsiteX7" fmla="*/ 854393 w 1787128"/>
              <a:gd name="connsiteY7" fmla="*/ 190500 h 507678"/>
              <a:gd name="connsiteX8" fmla="*/ 788670 w 1787128"/>
              <a:gd name="connsiteY8" fmla="*/ 133350 h 507678"/>
              <a:gd name="connsiteX9" fmla="*/ 569595 w 1787128"/>
              <a:gd name="connsiteY9" fmla="*/ 0 h 507678"/>
              <a:gd name="connsiteX10" fmla="*/ 350520 w 1787128"/>
              <a:gd name="connsiteY10" fmla="*/ 133350 h 507678"/>
              <a:gd name="connsiteX11" fmla="*/ 284797 w 1787128"/>
              <a:gd name="connsiteY11" fmla="*/ 190500 h 507678"/>
              <a:gd name="connsiteX12" fmla="*/ 219075 w 1787128"/>
              <a:gd name="connsiteY12" fmla="*/ 133350 h 507678"/>
              <a:gd name="connsiteX13" fmla="*/ 157163 w 1787128"/>
              <a:gd name="connsiteY13" fmla="*/ 61913 h 507678"/>
              <a:gd name="connsiteX14" fmla="*/ 0 w 1787128"/>
              <a:gd name="connsiteY14" fmla="*/ 132398 h 507678"/>
              <a:gd name="connsiteX15" fmla="*/ 0 w 1787128"/>
              <a:gd name="connsiteY15" fmla="*/ 136208 h 507678"/>
              <a:gd name="connsiteX16" fmla="*/ 29528 w 1787128"/>
              <a:gd name="connsiteY16" fmla="*/ 203835 h 507678"/>
              <a:gd name="connsiteX17" fmla="*/ 65722 w 1787128"/>
              <a:gd name="connsiteY17" fmla="*/ 247650 h 507678"/>
              <a:gd name="connsiteX18" fmla="*/ 284797 w 1787128"/>
              <a:gd name="connsiteY18" fmla="*/ 381000 h 507678"/>
              <a:gd name="connsiteX19" fmla="*/ 503872 w 1787128"/>
              <a:gd name="connsiteY19" fmla="*/ 247650 h 507678"/>
              <a:gd name="connsiteX20" fmla="*/ 569595 w 1787128"/>
              <a:gd name="connsiteY20" fmla="*/ 190500 h 507678"/>
              <a:gd name="connsiteX21" fmla="*/ 635318 w 1787128"/>
              <a:gd name="connsiteY21" fmla="*/ 247650 h 507678"/>
              <a:gd name="connsiteX22" fmla="*/ 854393 w 1787128"/>
              <a:gd name="connsiteY22" fmla="*/ 381000 h 507678"/>
              <a:gd name="connsiteX23" fmla="*/ 1073468 w 1787128"/>
              <a:gd name="connsiteY23" fmla="*/ 247650 h 507678"/>
              <a:gd name="connsiteX24" fmla="*/ 1139190 w 1787128"/>
              <a:gd name="connsiteY24" fmla="*/ 190500 h 507678"/>
              <a:gd name="connsiteX25" fmla="*/ 1204913 w 1787128"/>
              <a:gd name="connsiteY25" fmla="*/ 247650 h 507678"/>
              <a:gd name="connsiteX26" fmla="*/ 1409700 w 1787128"/>
              <a:gd name="connsiteY26" fmla="*/ 381000 h 507678"/>
              <a:gd name="connsiteX27" fmla="*/ 1409700 w 1787128"/>
              <a:gd name="connsiteY27" fmla="*/ 498158 h 507678"/>
              <a:gd name="connsiteX28" fmla="*/ 1423988 w 1787128"/>
              <a:gd name="connsiteY28" fmla="*/ 506730 h 507678"/>
              <a:gd name="connsiteX29" fmla="*/ 1602105 w 1787128"/>
              <a:gd name="connsiteY29" fmla="*/ 403860 h 507678"/>
              <a:gd name="connsiteX30" fmla="*/ 1782128 w 1787128"/>
              <a:gd name="connsiteY30" fmla="*/ 300038 h 507678"/>
              <a:gd name="connsiteX31" fmla="*/ 1782128 w 1787128"/>
              <a:gd name="connsiteY31" fmla="*/ 283845 h 507678"/>
              <a:gd name="connsiteX32" fmla="*/ 1604010 w 1787128"/>
              <a:gd name="connsiteY32" fmla="*/ 180023 h 507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787128" h="507678">
                <a:moveTo>
                  <a:pt x="1604010" y="180023"/>
                </a:moveTo>
                <a:lnTo>
                  <a:pt x="1424940" y="77153"/>
                </a:lnTo>
                <a:cubicBezTo>
                  <a:pt x="1419225" y="73343"/>
                  <a:pt x="1410653" y="78105"/>
                  <a:pt x="1410653" y="85725"/>
                </a:cubicBezTo>
                <a:lnTo>
                  <a:pt x="1410653" y="188595"/>
                </a:lnTo>
                <a:cubicBezTo>
                  <a:pt x="1397318" y="183833"/>
                  <a:pt x="1384935" y="169545"/>
                  <a:pt x="1358265" y="133350"/>
                </a:cubicBezTo>
                <a:cubicBezTo>
                  <a:pt x="1318260" y="80010"/>
                  <a:pt x="1258253" y="0"/>
                  <a:pt x="1139190" y="0"/>
                </a:cubicBezTo>
                <a:cubicBezTo>
                  <a:pt x="1020128" y="0"/>
                  <a:pt x="960120" y="80010"/>
                  <a:pt x="920115" y="133350"/>
                </a:cubicBezTo>
                <a:cubicBezTo>
                  <a:pt x="883920" y="180975"/>
                  <a:pt x="873443" y="190500"/>
                  <a:pt x="854393" y="190500"/>
                </a:cubicBezTo>
                <a:cubicBezTo>
                  <a:pt x="834390" y="190500"/>
                  <a:pt x="823913" y="180975"/>
                  <a:pt x="788670" y="133350"/>
                </a:cubicBezTo>
                <a:cubicBezTo>
                  <a:pt x="748665" y="80010"/>
                  <a:pt x="688658" y="0"/>
                  <a:pt x="569595" y="0"/>
                </a:cubicBezTo>
                <a:cubicBezTo>
                  <a:pt x="450533" y="0"/>
                  <a:pt x="390525" y="80010"/>
                  <a:pt x="350520" y="133350"/>
                </a:cubicBezTo>
                <a:cubicBezTo>
                  <a:pt x="314325" y="180975"/>
                  <a:pt x="303847" y="190500"/>
                  <a:pt x="284797" y="190500"/>
                </a:cubicBezTo>
                <a:cubicBezTo>
                  <a:pt x="264795" y="190500"/>
                  <a:pt x="254318" y="180975"/>
                  <a:pt x="219075" y="133350"/>
                </a:cubicBezTo>
                <a:cubicBezTo>
                  <a:pt x="202883" y="111443"/>
                  <a:pt x="182880" y="84773"/>
                  <a:pt x="157163" y="61913"/>
                </a:cubicBezTo>
                <a:cubicBezTo>
                  <a:pt x="97155" y="7620"/>
                  <a:pt x="0" y="51435"/>
                  <a:pt x="0" y="132398"/>
                </a:cubicBezTo>
                <a:lnTo>
                  <a:pt x="0" y="136208"/>
                </a:lnTo>
                <a:cubicBezTo>
                  <a:pt x="0" y="161925"/>
                  <a:pt x="11430" y="185738"/>
                  <a:pt x="29528" y="203835"/>
                </a:cubicBezTo>
                <a:cubicBezTo>
                  <a:pt x="38100" y="212408"/>
                  <a:pt x="49530" y="225743"/>
                  <a:pt x="65722" y="247650"/>
                </a:cubicBezTo>
                <a:cubicBezTo>
                  <a:pt x="105728" y="300990"/>
                  <a:pt x="165735" y="381000"/>
                  <a:pt x="284797" y="381000"/>
                </a:cubicBezTo>
                <a:cubicBezTo>
                  <a:pt x="403860" y="381000"/>
                  <a:pt x="463868" y="300990"/>
                  <a:pt x="503872" y="247650"/>
                </a:cubicBezTo>
                <a:cubicBezTo>
                  <a:pt x="540068" y="200025"/>
                  <a:pt x="550545" y="190500"/>
                  <a:pt x="569595" y="190500"/>
                </a:cubicBezTo>
                <a:cubicBezTo>
                  <a:pt x="589597" y="190500"/>
                  <a:pt x="600075" y="200025"/>
                  <a:pt x="635318" y="247650"/>
                </a:cubicBezTo>
                <a:cubicBezTo>
                  <a:pt x="675322" y="300990"/>
                  <a:pt x="735330" y="381000"/>
                  <a:pt x="854393" y="381000"/>
                </a:cubicBezTo>
                <a:cubicBezTo>
                  <a:pt x="973455" y="381000"/>
                  <a:pt x="1033463" y="300990"/>
                  <a:pt x="1073468" y="247650"/>
                </a:cubicBezTo>
                <a:cubicBezTo>
                  <a:pt x="1109663" y="200025"/>
                  <a:pt x="1120140" y="190500"/>
                  <a:pt x="1139190" y="190500"/>
                </a:cubicBezTo>
                <a:cubicBezTo>
                  <a:pt x="1159193" y="190500"/>
                  <a:pt x="1169670" y="200025"/>
                  <a:pt x="1204913" y="247650"/>
                </a:cubicBezTo>
                <a:cubicBezTo>
                  <a:pt x="1243013" y="299085"/>
                  <a:pt x="1300163" y="374333"/>
                  <a:pt x="1409700" y="381000"/>
                </a:cubicBezTo>
                <a:lnTo>
                  <a:pt x="1409700" y="498158"/>
                </a:lnTo>
                <a:cubicBezTo>
                  <a:pt x="1409700" y="505778"/>
                  <a:pt x="1417320" y="509588"/>
                  <a:pt x="1423988" y="506730"/>
                </a:cubicBezTo>
                <a:lnTo>
                  <a:pt x="1602105" y="403860"/>
                </a:lnTo>
                <a:lnTo>
                  <a:pt x="1782128" y="300038"/>
                </a:lnTo>
                <a:cubicBezTo>
                  <a:pt x="1788795" y="296228"/>
                  <a:pt x="1788795" y="287655"/>
                  <a:pt x="1782128" y="283845"/>
                </a:cubicBezTo>
                <a:lnTo>
                  <a:pt x="1604010" y="180023"/>
                </a:lnTo>
                <a:close/>
              </a:path>
            </a:pathLst>
          </a:custGeom>
          <a:solidFill>
            <a:srgbClr val="26314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19" name="Forma Livre: Forma 18">
            <a:extLst>
              <a:ext uri="{FF2B5EF4-FFF2-40B4-BE49-F238E27FC236}">
                <a16:creationId xmlns:a16="http://schemas.microsoft.com/office/drawing/2014/main" id="{7919B148-8FD0-4D8C-8A51-294360BBE7BA}"/>
              </a:ext>
            </a:extLst>
          </p:cNvPr>
          <p:cNvSpPr/>
          <p:nvPr/>
        </p:nvSpPr>
        <p:spPr>
          <a:xfrm>
            <a:off x="587375" y="4953289"/>
            <a:ext cx="1763843" cy="1217218"/>
          </a:xfrm>
          <a:custGeom>
            <a:avLst/>
            <a:gdLst>
              <a:gd name="connsiteX0" fmla="*/ 1168718 w 1283017"/>
              <a:gd name="connsiteY0" fmla="*/ 367665 h 885403"/>
              <a:gd name="connsiteX1" fmla="*/ 733425 w 1283017"/>
              <a:gd name="connsiteY1" fmla="*/ 770572 h 885403"/>
              <a:gd name="connsiteX2" fmla="*/ 376238 w 1283017"/>
              <a:gd name="connsiteY2" fmla="*/ 639128 h 885403"/>
              <a:gd name="connsiteX3" fmla="*/ 207645 w 1283017"/>
              <a:gd name="connsiteY3" fmla="*/ 259080 h 885403"/>
              <a:gd name="connsiteX4" fmla="*/ 300038 w 1283017"/>
              <a:gd name="connsiteY4" fmla="*/ 259080 h 885403"/>
              <a:gd name="connsiteX5" fmla="*/ 224790 w 1283017"/>
              <a:gd name="connsiteY5" fmla="*/ 129540 h 885403"/>
              <a:gd name="connsiteX6" fmla="*/ 149543 w 1283017"/>
              <a:gd name="connsiteY6" fmla="*/ 0 h 885403"/>
              <a:gd name="connsiteX7" fmla="*/ 74295 w 1283017"/>
              <a:gd name="connsiteY7" fmla="*/ 129540 h 885403"/>
              <a:gd name="connsiteX8" fmla="*/ 0 w 1283017"/>
              <a:gd name="connsiteY8" fmla="*/ 259080 h 885403"/>
              <a:gd name="connsiteX9" fmla="*/ 93345 w 1283017"/>
              <a:gd name="connsiteY9" fmla="*/ 259080 h 885403"/>
              <a:gd name="connsiteX10" fmla="*/ 297180 w 1283017"/>
              <a:gd name="connsiteY10" fmla="*/ 721995 h 885403"/>
              <a:gd name="connsiteX11" fmla="*/ 738188 w 1283017"/>
              <a:gd name="connsiteY11" fmla="*/ 884872 h 885403"/>
              <a:gd name="connsiteX12" fmla="*/ 1113473 w 1283017"/>
              <a:gd name="connsiteY12" fmla="*/ 721995 h 885403"/>
              <a:gd name="connsiteX13" fmla="*/ 1283018 w 1283017"/>
              <a:gd name="connsiteY13" fmla="*/ 367665 h 885403"/>
              <a:gd name="connsiteX14" fmla="*/ 1168718 w 1283017"/>
              <a:gd name="connsiteY14" fmla="*/ 367665 h 885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83017" h="885403">
                <a:moveTo>
                  <a:pt x="1168718" y="367665"/>
                </a:moveTo>
                <a:cubicBezTo>
                  <a:pt x="1148715" y="581978"/>
                  <a:pt x="957263" y="760095"/>
                  <a:pt x="733425" y="770572"/>
                </a:cubicBezTo>
                <a:cubicBezTo>
                  <a:pt x="595313" y="776288"/>
                  <a:pt x="472440" y="731520"/>
                  <a:pt x="376238" y="639128"/>
                </a:cubicBezTo>
                <a:cubicBezTo>
                  <a:pt x="275273" y="541972"/>
                  <a:pt x="212408" y="401003"/>
                  <a:pt x="207645" y="259080"/>
                </a:cubicBezTo>
                <a:lnTo>
                  <a:pt x="300038" y="259080"/>
                </a:lnTo>
                <a:lnTo>
                  <a:pt x="224790" y="129540"/>
                </a:lnTo>
                <a:lnTo>
                  <a:pt x="149543" y="0"/>
                </a:lnTo>
                <a:lnTo>
                  <a:pt x="74295" y="129540"/>
                </a:lnTo>
                <a:lnTo>
                  <a:pt x="0" y="259080"/>
                </a:lnTo>
                <a:lnTo>
                  <a:pt x="93345" y="259080"/>
                </a:lnTo>
                <a:cubicBezTo>
                  <a:pt x="98108" y="431483"/>
                  <a:pt x="173355" y="603885"/>
                  <a:pt x="297180" y="721995"/>
                </a:cubicBezTo>
                <a:cubicBezTo>
                  <a:pt x="416243" y="835343"/>
                  <a:pt x="568643" y="891540"/>
                  <a:pt x="738188" y="884872"/>
                </a:cubicBezTo>
                <a:cubicBezTo>
                  <a:pt x="877253" y="879158"/>
                  <a:pt x="1010603" y="821055"/>
                  <a:pt x="1113473" y="721995"/>
                </a:cubicBezTo>
                <a:cubicBezTo>
                  <a:pt x="1213485" y="625793"/>
                  <a:pt x="1273493" y="500063"/>
                  <a:pt x="1283018" y="367665"/>
                </a:cubicBezTo>
                <a:lnTo>
                  <a:pt x="1168718" y="367665"/>
                </a:lnTo>
                <a:close/>
              </a:path>
            </a:pathLst>
          </a:custGeom>
          <a:solidFill>
            <a:srgbClr val="D6D6CE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20" name="Forma Livre: Forma 19">
            <a:extLst>
              <a:ext uri="{FF2B5EF4-FFF2-40B4-BE49-F238E27FC236}">
                <a16:creationId xmlns:a16="http://schemas.microsoft.com/office/drawing/2014/main" id="{69335AE3-D29C-41C5-B01F-7A840552E83D}"/>
              </a:ext>
            </a:extLst>
          </p:cNvPr>
          <p:cNvSpPr/>
          <p:nvPr/>
        </p:nvSpPr>
        <p:spPr>
          <a:xfrm>
            <a:off x="3549309" y="1679639"/>
            <a:ext cx="642945" cy="1562186"/>
          </a:xfrm>
          <a:custGeom>
            <a:avLst/>
            <a:gdLst>
              <a:gd name="connsiteX0" fmla="*/ 233363 w 467677"/>
              <a:gd name="connsiteY0" fmla="*/ 0 h 1136332"/>
              <a:gd name="connsiteX1" fmla="*/ 0 w 467677"/>
              <a:gd name="connsiteY1" fmla="*/ 404812 h 1136332"/>
              <a:gd name="connsiteX2" fmla="*/ 121920 w 467677"/>
              <a:gd name="connsiteY2" fmla="*/ 404812 h 1136332"/>
              <a:gd name="connsiteX3" fmla="*/ 121920 w 467677"/>
              <a:gd name="connsiteY3" fmla="*/ 1136333 h 1136332"/>
              <a:gd name="connsiteX4" fmla="*/ 233363 w 467677"/>
              <a:gd name="connsiteY4" fmla="*/ 1030605 h 1136332"/>
              <a:gd name="connsiteX5" fmla="*/ 345757 w 467677"/>
              <a:gd name="connsiteY5" fmla="*/ 1136333 h 1136332"/>
              <a:gd name="connsiteX6" fmla="*/ 345757 w 467677"/>
              <a:gd name="connsiteY6" fmla="*/ 404812 h 1136332"/>
              <a:gd name="connsiteX7" fmla="*/ 467678 w 467677"/>
              <a:gd name="connsiteY7" fmla="*/ 404812 h 1136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67677" h="1136332">
                <a:moveTo>
                  <a:pt x="233363" y="0"/>
                </a:moveTo>
                <a:lnTo>
                  <a:pt x="0" y="404812"/>
                </a:lnTo>
                <a:lnTo>
                  <a:pt x="121920" y="404812"/>
                </a:lnTo>
                <a:lnTo>
                  <a:pt x="121920" y="1136333"/>
                </a:lnTo>
                <a:lnTo>
                  <a:pt x="233363" y="1030605"/>
                </a:lnTo>
                <a:lnTo>
                  <a:pt x="345757" y="1136333"/>
                </a:lnTo>
                <a:lnTo>
                  <a:pt x="345757" y="404812"/>
                </a:lnTo>
                <a:lnTo>
                  <a:pt x="467678" y="404812"/>
                </a:lnTo>
                <a:close/>
              </a:path>
            </a:pathLst>
          </a:custGeom>
          <a:solidFill>
            <a:srgbClr val="26314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21" name="Forma Livre: Forma 20">
            <a:extLst>
              <a:ext uri="{FF2B5EF4-FFF2-40B4-BE49-F238E27FC236}">
                <a16:creationId xmlns:a16="http://schemas.microsoft.com/office/drawing/2014/main" id="{FD21E2D4-A921-40AA-BC8C-E024C6363998}"/>
              </a:ext>
            </a:extLst>
          </p:cNvPr>
          <p:cNvSpPr/>
          <p:nvPr/>
        </p:nvSpPr>
        <p:spPr>
          <a:xfrm>
            <a:off x="1433285" y="4036667"/>
            <a:ext cx="1171967" cy="475334"/>
          </a:xfrm>
          <a:custGeom>
            <a:avLst/>
            <a:gdLst>
              <a:gd name="connsiteX0" fmla="*/ 752475 w 852487"/>
              <a:gd name="connsiteY0" fmla="*/ 0 h 345757"/>
              <a:gd name="connsiteX1" fmla="*/ 752475 w 852487"/>
              <a:gd name="connsiteY1" fmla="*/ 0 h 345757"/>
              <a:gd name="connsiteX2" fmla="*/ 752475 w 852487"/>
              <a:gd name="connsiteY2" fmla="*/ 0 h 345757"/>
              <a:gd name="connsiteX3" fmla="*/ 561023 w 852487"/>
              <a:gd name="connsiteY3" fmla="*/ 0 h 345757"/>
              <a:gd name="connsiteX4" fmla="*/ 561023 w 852487"/>
              <a:gd name="connsiteY4" fmla="*/ 0 h 345757"/>
              <a:gd name="connsiteX5" fmla="*/ 561023 w 852487"/>
              <a:gd name="connsiteY5" fmla="*/ 0 h 345757"/>
              <a:gd name="connsiteX6" fmla="*/ 618173 w 852487"/>
              <a:gd name="connsiteY6" fmla="*/ 99060 h 345757"/>
              <a:gd name="connsiteX7" fmla="*/ 0 w 852487"/>
              <a:gd name="connsiteY7" fmla="*/ 99060 h 345757"/>
              <a:gd name="connsiteX8" fmla="*/ 0 w 852487"/>
              <a:gd name="connsiteY8" fmla="*/ 247650 h 345757"/>
              <a:gd name="connsiteX9" fmla="*/ 618173 w 852487"/>
              <a:gd name="connsiteY9" fmla="*/ 247650 h 345757"/>
              <a:gd name="connsiteX10" fmla="*/ 561023 w 852487"/>
              <a:gd name="connsiteY10" fmla="*/ 345758 h 345757"/>
              <a:gd name="connsiteX11" fmla="*/ 752475 w 852487"/>
              <a:gd name="connsiteY11" fmla="*/ 345758 h 345757"/>
              <a:gd name="connsiteX12" fmla="*/ 852488 w 852487"/>
              <a:gd name="connsiteY12" fmla="*/ 173355 h 345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52487" h="345757">
                <a:moveTo>
                  <a:pt x="752475" y="0"/>
                </a:moveTo>
                <a:lnTo>
                  <a:pt x="752475" y="0"/>
                </a:lnTo>
                <a:lnTo>
                  <a:pt x="752475" y="0"/>
                </a:lnTo>
                <a:lnTo>
                  <a:pt x="561023" y="0"/>
                </a:lnTo>
                <a:lnTo>
                  <a:pt x="561023" y="0"/>
                </a:lnTo>
                <a:lnTo>
                  <a:pt x="561023" y="0"/>
                </a:lnTo>
                <a:lnTo>
                  <a:pt x="618173" y="99060"/>
                </a:lnTo>
                <a:lnTo>
                  <a:pt x="0" y="99060"/>
                </a:lnTo>
                <a:lnTo>
                  <a:pt x="0" y="247650"/>
                </a:lnTo>
                <a:lnTo>
                  <a:pt x="618173" y="247650"/>
                </a:lnTo>
                <a:lnTo>
                  <a:pt x="561023" y="345758"/>
                </a:lnTo>
                <a:lnTo>
                  <a:pt x="752475" y="345758"/>
                </a:lnTo>
                <a:lnTo>
                  <a:pt x="852488" y="173355"/>
                </a:lnTo>
                <a:close/>
              </a:path>
            </a:pathLst>
          </a:custGeom>
          <a:solidFill>
            <a:srgbClr val="D6D6CE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22" name="Forma Livre: Forma 21">
            <a:extLst>
              <a:ext uri="{FF2B5EF4-FFF2-40B4-BE49-F238E27FC236}">
                <a16:creationId xmlns:a16="http://schemas.microsoft.com/office/drawing/2014/main" id="{44CFD1C5-99EE-49EF-9A2F-AF5AD1D95B78}"/>
              </a:ext>
            </a:extLst>
          </p:cNvPr>
          <p:cNvSpPr/>
          <p:nvPr/>
        </p:nvSpPr>
        <p:spPr>
          <a:xfrm>
            <a:off x="10449543" y="4835438"/>
            <a:ext cx="1247915" cy="1334340"/>
          </a:xfrm>
          <a:custGeom>
            <a:avLst/>
            <a:gdLst>
              <a:gd name="connsiteX0" fmla="*/ 826770 w 907732"/>
              <a:gd name="connsiteY0" fmla="*/ 474345 h 970597"/>
              <a:gd name="connsiteX1" fmla="*/ 826770 w 907732"/>
              <a:gd name="connsiteY1" fmla="*/ 327660 h 970597"/>
              <a:gd name="connsiteX2" fmla="*/ 907732 w 907732"/>
              <a:gd name="connsiteY2" fmla="*/ 327660 h 970597"/>
              <a:gd name="connsiteX3" fmla="*/ 718185 w 907732"/>
              <a:gd name="connsiteY3" fmla="*/ 0 h 970597"/>
              <a:gd name="connsiteX4" fmla="*/ 528638 w 907732"/>
              <a:gd name="connsiteY4" fmla="*/ 327660 h 970597"/>
              <a:gd name="connsiteX5" fmla="*/ 614363 w 907732"/>
              <a:gd name="connsiteY5" fmla="*/ 327660 h 970597"/>
              <a:gd name="connsiteX6" fmla="*/ 614363 w 907732"/>
              <a:gd name="connsiteY6" fmla="*/ 474345 h 970597"/>
              <a:gd name="connsiteX7" fmla="*/ 331470 w 907732"/>
              <a:gd name="connsiteY7" fmla="*/ 757238 h 970597"/>
              <a:gd name="connsiteX8" fmla="*/ 0 w 907732"/>
              <a:gd name="connsiteY8" fmla="*/ 757238 h 970597"/>
              <a:gd name="connsiteX9" fmla="*/ 0 w 907732"/>
              <a:gd name="connsiteY9" fmla="*/ 970597 h 970597"/>
              <a:gd name="connsiteX10" fmla="*/ 331470 w 907732"/>
              <a:gd name="connsiteY10" fmla="*/ 970597 h 970597"/>
              <a:gd name="connsiteX11" fmla="*/ 826770 w 907732"/>
              <a:gd name="connsiteY11" fmla="*/ 474345 h 9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07732" h="970597">
                <a:moveTo>
                  <a:pt x="826770" y="474345"/>
                </a:moveTo>
                <a:lnTo>
                  <a:pt x="826770" y="327660"/>
                </a:lnTo>
                <a:lnTo>
                  <a:pt x="907732" y="327660"/>
                </a:lnTo>
                <a:lnTo>
                  <a:pt x="718185" y="0"/>
                </a:lnTo>
                <a:lnTo>
                  <a:pt x="528638" y="327660"/>
                </a:lnTo>
                <a:lnTo>
                  <a:pt x="614363" y="327660"/>
                </a:lnTo>
                <a:lnTo>
                  <a:pt x="614363" y="474345"/>
                </a:lnTo>
                <a:cubicBezTo>
                  <a:pt x="614363" y="630555"/>
                  <a:pt x="487680" y="757238"/>
                  <a:pt x="331470" y="757238"/>
                </a:cubicBezTo>
                <a:lnTo>
                  <a:pt x="0" y="757238"/>
                </a:lnTo>
                <a:lnTo>
                  <a:pt x="0" y="970597"/>
                </a:lnTo>
                <a:lnTo>
                  <a:pt x="331470" y="970597"/>
                </a:lnTo>
                <a:cubicBezTo>
                  <a:pt x="604838" y="970597"/>
                  <a:pt x="826770" y="747713"/>
                  <a:pt x="826770" y="474345"/>
                </a:cubicBezTo>
                <a:close/>
              </a:path>
            </a:pathLst>
          </a:custGeom>
          <a:solidFill>
            <a:srgbClr val="26314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23" name="Forma Livre: Forma 22">
            <a:extLst>
              <a:ext uri="{FF2B5EF4-FFF2-40B4-BE49-F238E27FC236}">
                <a16:creationId xmlns:a16="http://schemas.microsoft.com/office/drawing/2014/main" id="{45E51E1C-5C8D-4645-9165-622AE3FCEE4A}"/>
              </a:ext>
            </a:extLst>
          </p:cNvPr>
          <p:cNvSpPr/>
          <p:nvPr/>
        </p:nvSpPr>
        <p:spPr>
          <a:xfrm>
            <a:off x="586974" y="2531370"/>
            <a:ext cx="1798003" cy="1003773"/>
          </a:xfrm>
          <a:custGeom>
            <a:avLst/>
            <a:gdLst>
              <a:gd name="connsiteX0" fmla="*/ 1174724 w 1307865"/>
              <a:gd name="connsiteY0" fmla="*/ 5291 h 730143"/>
              <a:gd name="connsiteX1" fmla="*/ 893737 w 1307865"/>
              <a:gd name="connsiteY1" fmla="*/ 253894 h 730143"/>
              <a:gd name="connsiteX2" fmla="*/ 902309 w 1307865"/>
              <a:gd name="connsiteY2" fmla="*/ 275801 h 730143"/>
              <a:gd name="connsiteX3" fmla="*/ 953744 w 1307865"/>
              <a:gd name="connsiteY3" fmla="*/ 275801 h 730143"/>
              <a:gd name="connsiteX4" fmla="*/ 842302 w 1307865"/>
              <a:gd name="connsiteY4" fmla="*/ 489161 h 730143"/>
              <a:gd name="connsiteX5" fmla="*/ 607987 w 1307865"/>
              <a:gd name="connsiteY5" fmla="*/ 33866 h 730143"/>
              <a:gd name="connsiteX6" fmla="*/ 577507 w 1307865"/>
              <a:gd name="connsiteY6" fmla="*/ 15769 h 730143"/>
              <a:gd name="connsiteX7" fmla="*/ 367957 w 1307865"/>
              <a:gd name="connsiteY7" fmla="*/ 15769 h 730143"/>
              <a:gd name="connsiteX8" fmla="*/ 337477 w 1307865"/>
              <a:gd name="connsiteY8" fmla="*/ 33866 h 730143"/>
              <a:gd name="connsiteX9" fmla="*/ 4102 w 1307865"/>
              <a:gd name="connsiteY9" fmla="*/ 677756 h 730143"/>
              <a:gd name="connsiteX10" fmla="*/ 35534 w 1307865"/>
              <a:gd name="connsiteY10" fmla="*/ 729191 h 730143"/>
              <a:gd name="connsiteX11" fmla="*/ 206984 w 1307865"/>
              <a:gd name="connsiteY11" fmla="*/ 729191 h 730143"/>
              <a:gd name="connsiteX12" fmla="*/ 238417 w 1307865"/>
              <a:gd name="connsiteY12" fmla="*/ 710141 h 730143"/>
              <a:gd name="connsiteX13" fmla="*/ 471779 w 1307865"/>
              <a:gd name="connsiteY13" fmla="*/ 257704 h 730143"/>
              <a:gd name="connsiteX14" fmla="*/ 704189 w 1307865"/>
              <a:gd name="connsiteY14" fmla="*/ 709189 h 730143"/>
              <a:gd name="connsiteX15" fmla="*/ 737527 w 1307865"/>
              <a:gd name="connsiteY15" fmla="*/ 730144 h 730143"/>
              <a:gd name="connsiteX16" fmla="*/ 943267 w 1307865"/>
              <a:gd name="connsiteY16" fmla="*/ 730144 h 730143"/>
              <a:gd name="connsiteX17" fmla="*/ 976604 w 1307865"/>
              <a:gd name="connsiteY17" fmla="*/ 710141 h 730143"/>
              <a:gd name="connsiteX18" fmla="*/ 1204252 w 1307865"/>
              <a:gd name="connsiteY18" fmla="*/ 275801 h 730143"/>
              <a:gd name="connsiteX19" fmla="*/ 1295692 w 1307865"/>
              <a:gd name="connsiteY19" fmla="*/ 275801 h 730143"/>
              <a:gd name="connsiteX20" fmla="*/ 1307122 w 1307865"/>
              <a:gd name="connsiteY20" fmla="*/ 258656 h 730143"/>
              <a:gd name="connsiteX21" fmla="*/ 1206157 w 1307865"/>
              <a:gd name="connsiteY21" fmla="*/ 12911 h 730143"/>
              <a:gd name="connsiteX22" fmla="*/ 1174724 w 1307865"/>
              <a:gd name="connsiteY22" fmla="*/ 5291 h 7301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307865" h="730143">
                <a:moveTo>
                  <a:pt x="1174724" y="5291"/>
                </a:moveTo>
                <a:lnTo>
                  <a:pt x="893737" y="253894"/>
                </a:lnTo>
                <a:cubicBezTo>
                  <a:pt x="885164" y="261514"/>
                  <a:pt x="890879" y="275801"/>
                  <a:pt x="902309" y="275801"/>
                </a:cubicBezTo>
                <a:lnTo>
                  <a:pt x="953744" y="275801"/>
                </a:lnTo>
                <a:lnTo>
                  <a:pt x="842302" y="489161"/>
                </a:lnTo>
                <a:lnTo>
                  <a:pt x="607987" y="33866"/>
                </a:lnTo>
                <a:cubicBezTo>
                  <a:pt x="602272" y="22436"/>
                  <a:pt x="590842" y="15769"/>
                  <a:pt x="577507" y="15769"/>
                </a:cubicBezTo>
                <a:lnTo>
                  <a:pt x="367957" y="15769"/>
                </a:lnTo>
                <a:cubicBezTo>
                  <a:pt x="355574" y="15769"/>
                  <a:pt x="343192" y="22436"/>
                  <a:pt x="337477" y="33866"/>
                </a:cubicBezTo>
                <a:lnTo>
                  <a:pt x="4102" y="677756"/>
                </a:lnTo>
                <a:cubicBezTo>
                  <a:pt x="-8281" y="701569"/>
                  <a:pt x="8864" y="729191"/>
                  <a:pt x="35534" y="729191"/>
                </a:cubicBezTo>
                <a:lnTo>
                  <a:pt x="206984" y="729191"/>
                </a:lnTo>
                <a:cubicBezTo>
                  <a:pt x="220319" y="729191"/>
                  <a:pt x="232702" y="721571"/>
                  <a:pt x="238417" y="710141"/>
                </a:cubicBezTo>
                <a:lnTo>
                  <a:pt x="471779" y="257704"/>
                </a:lnTo>
                <a:lnTo>
                  <a:pt x="704189" y="709189"/>
                </a:lnTo>
                <a:cubicBezTo>
                  <a:pt x="710857" y="721571"/>
                  <a:pt x="723239" y="730144"/>
                  <a:pt x="737527" y="730144"/>
                </a:cubicBezTo>
                <a:lnTo>
                  <a:pt x="943267" y="730144"/>
                </a:lnTo>
                <a:cubicBezTo>
                  <a:pt x="957554" y="730144"/>
                  <a:pt x="969937" y="722524"/>
                  <a:pt x="976604" y="710141"/>
                </a:cubicBezTo>
                <a:lnTo>
                  <a:pt x="1204252" y="275801"/>
                </a:lnTo>
                <a:lnTo>
                  <a:pt x="1295692" y="275801"/>
                </a:lnTo>
                <a:cubicBezTo>
                  <a:pt x="1304264" y="275801"/>
                  <a:pt x="1309979" y="267229"/>
                  <a:pt x="1307122" y="258656"/>
                </a:cubicBezTo>
                <a:lnTo>
                  <a:pt x="1206157" y="12911"/>
                </a:lnTo>
                <a:cubicBezTo>
                  <a:pt x="1200442" y="-424"/>
                  <a:pt x="1185202" y="-4234"/>
                  <a:pt x="1174724" y="5291"/>
                </a:cubicBezTo>
                <a:close/>
              </a:path>
            </a:pathLst>
          </a:custGeom>
          <a:solidFill>
            <a:srgbClr val="26314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24" name="Forma Livre: Forma 23">
            <a:extLst>
              <a:ext uri="{FF2B5EF4-FFF2-40B4-BE49-F238E27FC236}">
                <a16:creationId xmlns:a16="http://schemas.microsoft.com/office/drawing/2014/main" id="{D47B5C9B-99CE-4B33-A9D4-4E54D25E915F}"/>
              </a:ext>
            </a:extLst>
          </p:cNvPr>
          <p:cNvSpPr/>
          <p:nvPr/>
        </p:nvSpPr>
        <p:spPr>
          <a:xfrm>
            <a:off x="7998568" y="2357938"/>
            <a:ext cx="2164644" cy="914004"/>
          </a:xfrm>
          <a:custGeom>
            <a:avLst/>
            <a:gdLst>
              <a:gd name="connsiteX0" fmla="*/ 1544955 w 1574559"/>
              <a:gd name="connsiteY0" fmla="*/ 332423 h 664845"/>
              <a:gd name="connsiteX1" fmla="*/ 1466850 w 1574559"/>
              <a:gd name="connsiteY1" fmla="*/ 332423 h 664845"/>
              <a:gd name="connsiteX2" fmla="*/ 1134428 w 1574559"/>
              <a:gd name="connsiteY2" fmla="*/ 0 h 664845"/>
              <a:gd name="connsiteX3" fmla="*/ 802005 w 1574559"/>
              <a:gd name="connsiteY3" fmla="*/ 332423 h 664845"/>
              <a:gd name="connsiteX4" fmla="*/ 733425 w 1574559"/>
              <a:gd name="connsiteY4" fmla="*/ 401003 h 664845"/>
              <a:gd name="connsiteX5" fmla="*/ 664845 w 1574559"/>
              <a:gd name="connsiteY5" fmla="*/ 332423 h 664845"/>
              <a:gd name="connsiteX6" fmla="*/ 332422 w 1574559"/>
              <a:gd name="connsiteY6" fmla="*/ 0 h 664845"/>
              <a:gd name="connsiteX7" fmla="*/ 0 w 1574559"/>
              <a:gd name="connsiteY7" fmla="*/ 332423 h 664845"/>
              <a:gd name="connsiteX8" fmla="*/ 132397 w 1574559"/>
              <a:gd name="connsiteY8" fmla="*/ 275273 h 664845"/>
              <a:gd name="connsiteX9" fmla="*/ 263842 w 1574559"/>
              <a:gd name="connsiteY9" fmla="*/ 332423 h 664845"/>
              <a:gd name="connsiteX10" fmla="*/ 332422 w 1574559"/>
              <a:gd name="connsiteY10" fmla="*/ 263842 h 664845"/>
              <a:gd name="connsiteX11" fmla="*/ 401003 w 1574559"/>
              <a:gd name="connsiteY11" fmla="*/ 332423 h 664845"/>
              <a:gd name="connsiteX12" fmla="*/ 733425 w 1574559"/>
              <a:gd name="connsiteY12" fmla="*/ 664845 h 664845"/>
              <a:gd name="connsiteX13" fmla="*/ 1065848 w 1574559"/>
              <a:gd name="connsiteY13" fmla="*/ 332423 h 664845"/>
              <a:gd name="connsiteX14" fmla="*/ 1134428 w 1574559"/>
              <a:gd name="connsiteY14" fmla="*/ 263842 h 664845"/>
              <a:gd name="connsiteX15" fmla="*/ 1203008 w 1574559"/>
              <a:gd name="connsiteY15" fmla="*/ 332423 h 664845"/>
              <a:gd name="connsiteX16" fmla="*/ 1124903 w 1574559"/>
              <a:gd name="connsiteY16" fmla="*/ 332423 h 664845"/>
              <a:gd name="connsiteX17" fmla="*/ 1103948 w 1574559"/>
              <a:gd name="connsiteY17" fmla="*/ 382905 h 664845"/>
              <a:gd name="connsiteX18" fmla="*/ 1327785 w 1574559"/>
              <a:gd name="connsiteY18" fmla="*/ 607695 h 664845"/>
              <a:gd name="connsiteX19" fmla="*/ 1370648 w 1574559"/>
              <a:gd name="connsiteY19" fmla="*/ 605790 h 664845"/>
              <a:gd name="connsiteX20" fmla="*/ 1566862 w 1574559"/>
              <a:gd name="connsiteY20" fmla="*/ 381000 h 664845"/>
              <a:gd name="connsiteX21" fmla="*/ 1544955 w 1574559"/>
              <a:gd name="connsiteY21" fmla="*/ 332423 h 664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574559" h="664845">
                <a:moveTo>
                  <a:pt x="1544955" y="332423"/>
                </a:moveTo>
                <a:lnTo>
                  <a:pt x="1466850" y="332423"/>
                </a:lnTo>
                <a:cubicBezTo>
                  <a:pt x="1466850" y="148590"/>
                  <a:pt x="1317308" y="0"/>
                  <a:pt x="1134428" y="0"/>
                </a:cubicBezTo>
                <a:cubicBezTo>
                  <a:pt x="950595" y="0"/>
                  <a:pt x="802005" y="149542"/>
                  <a:pt x="802005" y="332423"/>
                </a:cubicBezTo>
                <a:cubicBezTo>
                  <a:pt x="802005" y="370523"/>
                  <a:pt x="771525" y="401003"/>
                  <a:pt x="733425" y="401003"/>
                </a:cubicBezTo>
                <a:cubicBezTo>
                  <a:pt x="695325" y="401003"/>
                  <a:pt x="664845" y="370523"/>
                  <a:pt x="664845" y="332423"/>
                </a:cubicBezTo>
                <a:cubicBezTo>
                  <a:pt x="664845" y="148590"/>
                  <a:pt x="515303" y="0"/>
                  <a:pt x="332422" y="0"/>
                </a:cubicBezTo>
                <a:cubicBezTo>
                  <a:pt x="148590" y="0"/>
                  <a:pt x="0" y="149542"/>
                  <a:pt x="0" y="332423"/>
                </a:cubicBezTo>
                <a:lnTo>
                  <a:pt x="132397" y="275273"/>
                </a:lnTo>
                <a:lnTo>
                  <a:pt x="263842" y="332423"/>
                </a:lnTo>
                <a:cubicBezTo>
                  <a:pt x="263842" y="294323"/>
                  <a:pt x="294322" y="263842"/>
                  <a:pt x="332422" y="263842"/>
                </a:cubicBezTo>
                <a:cubicBezTo>
                  <a:pt x="370522" y="263842"/>
                  <a:pt x="401003" y="294323"/>
                  <a:pt x="401003" y="332423"/>
                </a:cubicBezTo>
                <a:cubicBezTo>
                  <a:pt x="401003" y="516255"/>
                  <a:pt x="550545" y="664845"/>
                  <a:pt x="733425" y="664845"/>
                </a:cubicBezTo>
                <a:cubicBezTo>
                  <a:pt x="917257" y="664845"/>
                  <a:pt x="1065848" y="515303"/>
                  <a:pt x="1065848" y="332423"/>
                </a:cubicBezTo>
                <a:cubicBezTo>
                  <a:pt x="1065848" y="294323"/>
                  <a:pt x="1096328" y="263842"/>
                  <a:pt x="1134428" y="263842"/>
                </a:cubicBezTo>
                <a:cubicBezTo>
                  <a:pt x="1172528" y="263842"/>
                  <a:pt x="1203008" y="294323"/>
                  <a:pt x="1203008" y="332423"/>
                </a:cubicBezTo>
                <a:lnTo>
                  <a:pt x="1124903" y="332423"/>
                </a:lnTo>
                <a:cubicBezTo>
                  <a:pt x="1099185" y="332423"/>
                  <a:pt x="1085850" y="363855"/>
                  <a:pt x="1103948" y="382905"/>
                </a:cubicBezTo>
                <a:lnTo>
                  <a:pt x="1327785" y="607695"/>
                </a:lnTo>
                <a:cubicBezTo>
                  <a:pt x="1340167" y="620078"/>
                  <a:pt x="1359217" y="619125"/>
                  <a:pt x="1370648" y="605790"/>
                </a:cubicBezTo>
                <a:lnTo>
                  <a:pt x="1566862" y="381000"/>
                </a:lnTo>
                <a:cubicBezTo>
                  <a:pt x="1584008" y="362903"/>
                  <a:pt x="1570673" y="332423"/>
                  <a:pt x="1544955" y="332423"/>
                </a:cubicBezTo>
                <a:close/>
              </a:path>
            </a:pathLst>
          </a:custGeom>
          <a:solidFill>
            <a:srgbClr val="D6D6CE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25" name="Forma Livre: Forma 24">
            <a:extLst>
              <a:ext uri="{FF2B5EF4-FFF2-40B4-BE49-F238E27FC236}">
                <a16:creationId xmlns:a16="http://schemas.microsoft.com/office/drawing/2014/main" id="{C28363C7-4C21-40E0-ADC1-606FE9C843D3}"/>
              </a:ext>
            </a:extLst>
          </p:cNvPr>
          <p:cNvSpPr/>
          <p:nvPr/>
        </p:nvSpPr>
        <p:spPr>
          <a:xfrm>
            <a:off x="3998445" y="4871533"/>
            <a:ext cx="2003915" cy="1298245"/>
          </a:xfrm>
          <a:custGeom>
            <a:avLst/>
            <a:gdLst>
              <a:gd name="connsiteX0" fmla="*/ 1438329 w 1457645"/>
              <a:gd name="connsiteY0" fmla="*/ 614777 h 944342"/>
              <a:gd name="connsiteX1" fmla="*/ 428679 w 1457645"/>
              <a:gd name="connsiteY1" fmla="*/ 614777 h 944342"/>
              <a:gd name="connsiteX2" fmla="*/ 329619 w 1457645"/>
              <a:gd name="connsiteY2" fmla="*/ 528100 h 944342"/>
              <a:gd name="connsiteX3" fmla="*/ 425821 w 1457645"/>
              <a:gd name="connsiteY3" fmla="*/ 422372 h 944342"/>
              <a:gd name="connsiteX4" fmla="*/ 797296 w 1457645"/>
              <a:gd name="connsiteY4" fmla="*/ 422372 h 944342"/>
              <a:gd name="connsiteX5" fmla="*/ 797296 w 1457645"/>
              <a:gd name="connsiteY5" fmla="*/ 499525 h 944342"/>
              <a:gd name="connsiteX6" fmla="*/ 852541 w 1457645"/>
              <a:gd name="connsiteY6" fmla="*/ 522385 h 944342"/>
              <a:gd name="connsiteX7" fmla="*/ 1101144 w 1457645"/>
              <a:gd name="connsiteY7" fmla="*/ 273782 h 944342"/>
              <a:gd name="connsiteX8" fmla="*/ 1099239 w 1457645"/>
              <a:gd name="connsiteY8" fmla="*/ 226157 h 944342"/>
              <a:gd name="connsiteX9" fmla="*/ 850636 w 1457645"/>
              <a:gd name="connsiteY9" fmla="*/ 8035 h 944342"/>
              <a:gd name="connsiteX10" fmla="*/ 796344 w 1457645"/>
              <a:gd name="connsiteY10" fmla="*/ 32800 h 944342"/>
              <a:gd name="connsiteX11" fmla="*/ 796344 w 1457645"/>
              <a:gd name="connsiteY11" fmla="*/ 92807 h 944342"/>
              <a:gd name="connsiteX12" fmla="*/ 433441 w 1457645"/>
              <a:gd name="connsiteY12" fmla="*/ 92807 h 944342"/>
              <a:gd name="connsiteX13" fmla="*/ 54 w 1457645"/>
              <a:gd name="connsiteY13" fmla="*/ 526195 h 944342"/>
              <a:gd name="connsiteX14" fmla="*/ 425821 w 1457645"/>
              <a:gd name="connsiteY14" fmla="*/ 944342 h 944342"/>
              <a:gd name="connsiteX15" fmla="*/ 1437376 w 1457645"/>
              <a:gd name="connsiteY15" fmla="*/ 944342 h 944342"/>
              <a:gd name="connsiteX16" fmla="*/ 1453569 w 1457645"/>
              <a:gd name="connsiteY16" fmla="*/ 915767 h 944342"/>
              <a:gd name="connsiteX17" fmla="*/ 1380226 w 1457645"/>
              <a:gd name="connsiteY17" fmla="*/ 792895 h 944342"/>
              <a:gd name="connsiteX18" fmla="*/ 1380226 w 1457645"/>
              <a:gd name="connsiteY18" fmla="*/ 773845 h 944342"/>
              <a:gd name="connsiteX19" fmla="*/ 1455474 w 1457645"/>
              <a:gd name="connsiteY19" fmla="*/ 641447 h 944342"/>
              <a:gd name="connsiteX20" fmla="*/ 1438329 w 1457645"/>
              <a:gd name="connsiteY20" fmla="*/ 614777 h 9443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457645" h="944342">
                <a:moveTo>
                  <a:pt x="1438329" y="614777"/>
                </a:moveTo>
                <a:lnTo>
                  <a:pt x="428679" y="614777"/>
                </a:lnTo>
                <a:cubicBezTo>
                  <a:pt x="378196" y="614777"/>
                  <a:pt x="334381" y="577630"/>
                  <a:pt x="329619" y="528100"/>
                </a:cubicBezTo>
                <a:cubicBezTo>
                  <a:pt x="323904" y="470950"/>
                  <a:pt x="369624" y="422372"/>
                  <a:pt x="425821" y="422372"/>
                </a:cubicBezTo>
                <a:lnTo>
                  <a:pt x="797296" y="422372"/>
                </a:lnTo>
                <a:lnTo>
                  <a:pt x="797296" y="499525"/>
                </a:lnTo>
                <a:cubicBezTo>
                  <a:pt x="797296" y="528100"/>
                  <a:pt x="832539" y="543340"/>
                  <a:pt x="852541" y="522385"/>
                </a:cubicBezTo>
                <a:lnTo>
                  <a:pt x="1101144" y="273782"/>
                </a:lnTo>
                <a:cubicBezTo>
                  <a:pt x="1114479" y="260447"/>
                  <a:pt x="1113526" y="238540"/>
                  <a:pt x="1099239" y="226157"/>
                </a:cubicBezTo>
                <a:lnTo>
                  <a:pt x="850636" y="8035"/>
                </a:lnTo>
                <a:cubicBezTo>
                  <a:pt x="829681" y="-10063"/>
                  <a:pt x="796344" y="4225"/>
                  <a:pt x="796344" y="32800"/>
                </a:cubicBezTo>
                <a:lnTo>
                  <a:pt x="796344" y="92807"/>
                </a:lnTo>
                <a:lnTo>
                  <a:pt x="433441" y="92807"/>
                </a:lnTo>
                <a:cubicBezTo>
                  <a:pt x="195316" y="92807"/>
                  <a:pt x="-3756" y="288070"/>
                  <a:pt x="54" y="526195"/>
                </a:cubicBezTo>
                <a:cubicBezTo>
                  <a:pt x="3864" y="757652"/>
                  <a:pt x="193411" y="944342"/>
                  <a:pt x="425821" y="944342"/>
                </a:cubicBezTo>
                <a:lnTo>
                  <a:pt x="1437376" y="944342"/>
                </a:lnTo>
                <a:cubicBezTo>
                  <a:pt x="1451664" y="944342"/>
                  <a:pt x="1461189" y="928150"/>
                  <a:pt x="1453569" y="915767"/>
                </a:cubicBezTo>
                <a:lnTo>
                  <a:pt x="1380226" y="792895"/>
                </a:lnTo>
                <a:cubicBezTo>
                  <a:pt x="1376416" y="787180"/>
                  <a:pt x="1376416" y="779560"/>
                  <a:pt x="1380226" y="773845"/>
                </a:cubicBezTo>
                <a:lnTo>
                  <a:pt x="1455474" y="641447"/>
                </a:lnTo>
                <a:cubicBezTo>
                  <a:pt x="1462141" y="630017"/>
                  <a:pt x="1452616" y="614777"/>
                  <a:pt x="1438329" y="614777"/>
                </a:cubicBezTo>
                <a:close/>
              </a:path>
            </a:pathLst>
          </a:custGeom>
          <a:solidFill>
            <a:srgbClr val="26314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26" name="Forma Livre: Forma 25">
            <a:extLst>
              <a:ext uri="{FF2B5EF4-FFF2-40B4-BE49-F238E27FC236}">
                <a16:creationId xmlns:a16="http://schemas.microsoft.com/office/drawing/2014/main" id="{BA0994E9-333E-4D99-A2D6-DE328C8EBA15}"/>
              </a:ext>
            </a:extLst>
          </p:cNvPr>
          <p:cNvSpPr/>
          <p:nvPr/>
        </p:nvSpPr>
        <p:spPr>
          <a:xfrm>
            <a:off x="2683821" y="5054118"/>
            <a:ext cx="1115659" cy="1115659"/>
          </a:xfrm>
          <a:custGeom>
            <a:avLst/>
            <a:gdLst>
              <a:gd name="connsiteX0" fmla="*/ 766763 w 811529"/>
              <a:gd name="connsiteY0" fmla="*/ 0 h 811529"/>
              <a:gd name="connsiteX1" fmla="*/ 44767 w 811529"/>
              <a:gd name="connsiteY1" fmla="*/ 0 h 811529"/>
              <a:gd name="connsiteX2" fmla="*/ 0 w 811529"/>
              <a:gd name="connsiteY2" fmla="*/ 44767 h 811529"/>
              <a:gd name="connsiteX3" fmla="*/ 0 w 811529"/>
              <a:gd name="connsiteY3" fmla="*/ 766763 h 811529"/>
              <a:gd name="connsiteX4" fmla="*/ 44767 w 811529"/>
              <a:gd name="connsiteY4" fmla="*/ 811530 h 811529"/>
              <a:gd name="connsiteX5" fmla="*/ 766763 w 811529"/>
              <a:gd name="connsiteY5" fmla="*/ 811530 h 811529"/>
              <a:gd name="connsiteX6" fmla="*/ 811530 w 811529"/>
              <a:gd name="connsiteY6" fmla="*/ 766763 h 811529"/>
              <a:gd name="connsiteX7" fmla="*/ 811530 w 811529"/>
              <a:gd name="connsiteY7" fmla="*/ 44767 h 811529"/>
              <a:gd name="connsiteX8" fmla="*/ 766763 w 811529"/>
              <a:gd name="connsiteY8" fmla="*/ 0 h 811529"/>
              <a:gd name="connsiteX9" fmla="*/ 714375 w 811529"/>
              <a:gd name="connsiteY9" fmla="*/ 424815 h 811529"/>
              <a:gd name="connsiteX10" fmla="*/ 465772 w 811529"/>
              <a:gd name="connsiteY10" fmla="*/ 673417 h 811529"/>
              <a:gd name="connsiteX11" fmla="*/ 410527 w 811529"/>
              <a:gd name="connsiteY11" fmla="*/ 650557 h 811529"/>
              <a:gd name="connsiteX12" fmla="*/ 410527 w 811529"/>
              <a:gd name="connsiteY12" fmla="*/ 508635 h 811529"/>
              <a:gd name="connsiteX13" fmla="*/ 245745 w 811529"/>
              <a:gd name="connsiteY13" fmla="*/ 673417 h 811529"/>
              <a:gd name="connsiteX14" fmla="*/ 190500 w 811529"/>
              <a:gd name="connsiteY14" fmla="*/ 650557 h 811529"/>
              <a:gd name="connsiteX15" fmla="*/ 190500 w 811529"/>
              <a:gd name="connsiteY15" fmla="*/ 183832 h 811529"/>
              <a:gd name="connsiteX16" fmla="*/ 244792 w 811529"/>
              <a:gd name="connsiteY16" fmla="*/ 159067 h 811529"/>
              <a:gd name="connsiteX17" fmla="*/ 411480 w 811529"/>
              <a:gd name="connsiteY17" fmla="*/ 304800 h 811529"/>
              <a:gd name="connsiteX18" fmla="*/ 411480 w 811529"/>
              <a:gd name="connsiteY18" fmla="*/ 183832 h 811529"/>
              <a:gd name="connsiteX19" fmla="*/ 465772 w 811529"/>
              <a:gd name="connsiteY19" fmla="*/ 159067 h 811529"/>
              <a:gd name="connsiteX20" fmla="*/ 714375 w 811529"/>
              <a:gd name="connsiteY20" fmla="*/ 377190 h 811529"/>
              <a:gd name="connsiteX21" fmla="*/ 714375 w 811529"/>
              <a:gd name="connsiteY21" fmla="*/ 424815 h 811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811529" h="811529">
                <a:moveTo>
                  <a:pt x="766763" y="0"/>
                </a:moveTo>
                <a:lnTo>
                  <a:pt x="44767" y="0"/>
                </a:lnTo>
                <a:cubicBezTo>
                  <a:pt x="20002" y="0"/>
                  <a:pt x="0" y="20003"/>
                  <a:pt x="0" y="44767"/>
                </a:cubicBezTo>
                <a:lnTo>
                  <a:pt x="0" y="766763"/>
                </a:lnTo>
                <a:cubicBezTo>
                  <a:pt x="0" y="791528"/>
                  <a:pt x="20002" y="811530"/>
                  <a:pt x="44767" y="811530"/>
                </a:cubicBezTo>
                <a:lnTo>
                  <a:pt x="766763" y="811530"/>
                </a:lnTo>
                <a:cubicBezTo>
                  <a:pt x="791527" y="811530"/>
                  <a:pt x="811530" y="791528"/>
                  <a:pt x="811530" y="766763"/>
                </a:cubicBezTo>
                <a:lnTo>
                  <a:pt x="811530" y="44767"/>
                </a:lnTo>
                <a:cubicBezTo>
                  <a:pt x="811530" y="20003"/>
                  <a:pt x="791527" y="0"/>
                  <a:pt x="766763" y="0"/>
                </a:cubicBezTo>
                <a:close/>
                <a:moveTo>
                  <a:pt x="714375" y="424815"/>
                </a:moveTo>
                <a:lnTo>
                  <a:pt x="465772" y="673417"/>
                </a:lnTo>
                <a:cubicBezTo>
                  <a:pt x="445770" y="693420"/>
                  <a:pt x="410527" y="679132"/>
                  <a:pt x="410527" y="650557"/>
                </a:cubicBezTo>
                <a:lnTo>
                  <a:pt x="410527" y="508635"/>
                </a:lnTo>
                <a:lnTo>
                  <a:pt x="245745" y="673417"/>
                </a:lnTo>
                <a:cubicBezTo>
                  <a:pt x="225742" y="693420"/>
                  <a:pt x="190500" y="679132"/>
                  <a:pt x="190500" y="650557"/>
                </a:cubicBezTo>
                <a:lnTo>
                  <a:pt x="190500" y="183832"/>
                </a:lnTo>
                <a:cubicBezTo>
                  <a:pt x="190500" y="156210"/>
                  <a:pt x="223838" y="140970"/>
                  <a:pt x="244792" y="159067"/>
                </a:cubicBezTo>
                <a:lnTo>
                  <a:pt x="411480" y="304800"/>
                </a:lnTo>
                <a:lnTo>
                  <a:pt x="411480" y="183832"/>
                </a:lnTo>
                <a:cubicBezTo>
                  <a:pt x="411480" y="156210"/>
                  <a:pt x="444817" y="140970"/>
                  <a:pt x="465772" y="159067"/>
                </a:cubicBezTo>
                <a:lnTo>
                  <a:pt x="714375" y="377190"/>
                </a:lnTo>
                <a:cubicBezTo>
                  <a:pt x="727710" y="389572"/>
                  <a:pt x="727710" y="411480"/>
                  <a:pt x="714375" y="424815"/>
                </a:cubicBezTo>
                <a:close/>
              </a:path>
            </a:pathLst>
          </a:custGeom>
          <a:solidFill>
            <a:srgbClr val="26314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grpSp>
        <p:nvGrpSpPr>
          <p:cNvPr id="27" name="Gráfico 2">
            <a:extLst>
              <a:ext uri="{FF2B5EF4-FFF2-40B4-BE49-F238E27FC236}">
                <a16:creationId xmlns:a16="http://schemas.microsoft.com/office/drawing/2014/main" id="{D0985D2D-C80E-4A7B-8521-0BE8315ADD06}"/>
              </a:ext>
            </a:extLst>
          </p:cNvPr>
          <p:cNvGrpSpPr/>
          <p:nvPr/>
        </p:nvGrpSpPr>
        <p:grpSpPr>
          <a:xfrm>
            <a:off x="4759406" y="1800801"/>
            <a:ext cx="752366" cy="624310"/>
            <a:chOff x="5595937" y="2325555"/>
            <a:chExt cx="547270" cy="454122"/>
          </a:xfrm>
          <a:solidFill>
            <a:srgbClr val="263143"/>
          </a:solidFill>
        </p:grpSpPr>
        <p:sp>
          <p:nvSpPr>
            <p:cNvPr id="28" name="Forma Livre: Forma 27">
              <a:extLst>
                <a:ext uri="{FF2B5EF4-FFF2-40B4-BE49-F238E27FC236}">
                  <a16:creationId xmlns:a16="http://schemas.microsoft.com/office/drawing/2014/main" id="{2F29D881-9CEE-456B-9EC1-2341A0A52DD0}"/>
                </a:ext>
              </a:extLst>
            </p:cNvPr>
            <p:cNvSpPr/>
            <p:nvPr/>
          </p:nvSpPr>
          <p:spPr>
            <a:xfrm>
              <a:off x="5595937" y="2325555"/>
              <a:ext cx="266238" cy="451970"/>
            </a:xfrm>
            <a:custGeom>
              <a:avLst/>
              <a:gdLst>
                <a:gd name="connsiteX0" fmla="*/ 0 w 266238"/>
                <a:gd name="connsiteY0" fmla="*/ 28071 h 451970"/>
                <a:gd name="connsiteX1" fmla="*/ 0 w 266238"/>
                <a:gd name="connsiteY1" fmla="*/ 424311 h 451970"/>
                <a:gd name="connsiteX2" fmla="*/ 46672 w 266238"/>
                <a:gd name="connsiteY2" fmla="*/ 443361 h 451970"/>
                <a:gd name="connsiteX3" fmla="*/ 258128 w 266238"/>
                <a:gd name="connsiteY3" fmla="*/ 231906 h 451970"/>
                <a:gd name="connsiteX4" fmla="*/ 257175 w 266238"/>
                <a:gd name="connsiteY4" fmla="*/ 191901 h 451970"/>
                <a:gd name="connsiteX5" fmla="*/ 45720 w 266238"/>
                <a:gd name="connsiteY5" fmla="*/ 7116 h 451970"/>
                <a:gd name="connsiteX6" fmla="*/ 0 w 266238"/>
                <a:gd name="connsiteY6" fmla="*/ 28071 h 45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6238" h="451970">
                  <a:moveTo>
                    <a:pt x="0" y="28071"/>
                  </a:moveTo>
                  <a:lnTo>
                    <a:pt x="0" y="424311"/>
                  </a:lnTo>
                  <a:cubicBezTo>
                    <a:pt x="0" y="449076"/>
                    <a:pt x="29528" y="461459"/>
                    <a:pt x="46672" y="443361"/>
                  </a:cubicBezTo>
                  <a:lnTo>
                    <a:pt x="258128" y="231906"/>
                  </a:lnTo>
                  <a:cubicBezTo>
                    <a:pt x="269557" y="220476"/>
                    <a:pt x="268605" y="202379"/>
                    <a:pt x="257175" y="191901"/>
                  </a:cubicBezTo>
                  <a:lnTo>
                    <a:pt x="45720" y="7116"/>
                  </a:lnTo>
                  <a:cubicBezTo>
                    <a:pt x="27622" y="-9076"/>
                    <a:pt x="0" y="4259"/>
                    <a:pt x="0" y="2807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9" name="Forma Livre: Forma 28">
              <a:extLst>
                <a:ext uri="{FF2B5EF4-FFF2-40B4-BE49-F238E27FC236}">
                  <a16:creationId xmlns:a16="http://schemas.microsoft.com/office/drawing/2014/main" id="{C72F7AE9-FE16-4160-9838-1371A028B103}"/>
                </a:ext>
              </a:extLst>
            </p:cNvPr>
            <p:cNvSpPr/>
            <p:nvPr/>
          </p:nvSpPr>
          <p:spPr>
            <a:xfrm>
              <a:off x="5871185" y="2329037"/>
              <a:ext cx="272022" cy="450640"/>
            </a:xfrm>
            <a:custGeom>
              <a:avLst/>
              <a:gdLst>
                <a:gd name="connsiteX0" fmla="*/ 24 w 272022"/>
                <a:gd name="connsiteY0" fmla="*/ 28399 h 450640"/>
                <a:gd name="connsiteX1" fmla="*/ 13359 w 272022"/>
                <a:gd name="connsiteY1" fmla="*/ 423687 h 450640"/>
                <a:gd name="connsiteX2" fmla="*/ 60984 w 272022"/>
                <a:gd name="connsiteY2" fmla="*/ 441784 h 450640"/>
                <a:gd name="connsiteX3" fmla="*/ 264819 w 272022"/>
                <a:gd name="connsiteY3" fmla="*/ 223662 h 450640"/>
                <a:gd name="connsiteX4" fmla="*/ 261962 w 272022"/>
                <a:gd name="connsiteY4" fmla="*/ 183657 h 450640"/>
                <a:gd name="connsiteX5" fmla="*/ 44792 w 272022"/>
                <a:gd name="connsiteY5" fmla="*/ 6492 h 450640"/>
                <a:gd name="connsiteX6" fmla="*/ 24 w 272022"/>
                <a:gd name="connsiteY6" fmla="*/ 28399 h 450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2022" h="450640">
                  <a:moveTo>
                    <a:pt x="24" y="28399"/>
                  </a:moveTo>
                  <a:lnTo>
                    <a:pt x="13359" y="423687"/>
                  </a:lnTo>
                  <a:cubicBezTo>
                    <a:pt x="14311" y="448452"/>
                    <a:pt x="43839" y="459882"/>
                    <a:pt x="60984" y="441784"/>
                  </a:cubicBezTo>
                  <a:lnTo>
                    <a:pt x="264819" y="223662"/>
                  </a:lnTo>
                  <a:cubicBezTo>
                    <a:pt x="275296" y="212232"/>
                    <a:pt x="274344" y="193182"/>
                    <a:pt x="261962" y="183657"/>
                  </a:cubicBezTo>
                  <a:lnTo>
                    <a:pt x="44792" y="6492"/>
                  </a:lnTo>
                  <a:cubicBezTo>
                    <a:pt x="26694" y="-8748"/>
                    <a:pt x="-929" y="4587"/>
                    <a:pt x="24" y="2839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sp>
        <p:nvSpPr>
          <p:cNvPr id="30" name="Forma Livre: Forma 29">
            <a:extLst>
              <a:ext uri="{FF2B5EF4-FFF2-40B4-BE49-F238E27FC236}">
                <a16:creationId xmlns:a16="http://schemas.microsoft.com/office/drawing/2014/main" id="{1507C500-016C-4729-ADE7-A43823162240}"/>
              </a:ext>
            </a:extLst>
          </p:cNvPr>
          <p:cNvSpPr/>
          <p:nvPr/>
        </p:nvSpPr>
        <p:spPr>
          <a:xfrm>
            <a:off x="4357538" y="3587203"/>
            <a:ext cx="1480657" cy="1232521"/>
          </a:xfrm>
          <a:custGeom>
            <a:avLst/>
            <a:gdLst>
              <a:gd name="connsiteX0" fmla="*/ 1036027 w 1077028"/>
              <a:gd name="connsiteY0" fmla="*/ 175492 h 896534"/>
              <a:gd name="connsiteX1" fmla="*/ 959827 w 1077028"/>
              <a:gd name="connsiteY1" fmla="*/ 269789 h 896534"/>
              <a:gd name="connsiteX2" fmla="*/ 836954 w 1077028"/>
              <a:gd name="connsiteY2" fmla="*/ 262169 h 896534"/>
              <a:gd name="connsiteX3" fmla="*/ 861719 w 1077028"/>
              <a:gd name="connsiteY3" fmla="*/ 381232 h 896534"/>
              <a:gd name="connsiteX4" fmla="*/ 562634 w 1077028"/>
              <a:gd name="connsiteY4" fmla="*/ 680317 h 896534"/>
              <a:gd name="connsiteX5" fmla="*/ 263549 w 1077028"/>
              <a:gd name="connsiteY5" fmla="*/ 381232 h 896534"/>
              <a:gd name="connsiteX6" fmla="*/ 286409 w 1077028"/>
              <a:gd name="connsiteY6" fmla="*/ 266932 h 896534"/>
              <a:gd name="connsiteX7" fmla="*/ 339749 w 1077028"/>
              <a:gd name="connsiteY7" fmla="*/ 292649 h 896534"/>
              <a:gd name="connsiteX8" fmla="*/ 377849 w 1077028"/>
              <a:gd name="connsiteY8" fmla="*/ 310747 h 896534"/>
              <a:gd name="connsiteX9" fmla="*/ 406424 w 1077028"/>
              <a:gd name="connsiteY9" fmla="*/ 285982 h 896534"/>
              <a:gd name="connsiteX10" fmla="*/ 313079 w 1077028"/>
              <a:gd name="connsiteY10" fmla="*/ 13567 h 896534"/>
              <a:gd name="connsiteX11" fmla="*/ 287362 w 1077028"/>
              <a:gd name="connsiteY11" fmla="*/ 1184 h 896534"/>
              <a:gd name="connsiteX12" fmla="*/ 13994 w 1077028"/>
              <a:gd name="connsiteY12" fmla="*/ 94529 h 896534"/>
              <a:gd name="connsiteX13" fmla="*/ 11137 w 1077028"/>
              <a:gd name="connsiteY13" fmla="*/ 132629 h 896534"/>
              <a:gd name="connsiteX14" fmla="*/ 91146 w 1077028"/>
              <a:gd name="connsiteY14" fmla="*/ 171682 h 896534"/>
              <a:gd name="connsiteX15" fmla="*/ 46379 w 1077028"/>
              <a:gd name="connsiteY15" fmla="*/ 381232 h 896534"/>
              <a:gd name="connsiteX16" fmla="*/ 561681 w 1077028"/>
              <a:gd name="connsiteY16" fmla="*/ 896534 h 896534"/>
              <a:gd name="connsiteX17" fmla="*/ 1076984 w 1077028"/>
              <a:gd name="connsiteY17" fmla="*/ 381232 h 896534"/>
              <a:gd name="connsiteX18" fmla="*/ 1036027 w 1077028"/>
              <a:gd name="connsiteY18" fmla="*/ 175492 h 896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077028" h="896534">
                <a:moveTo>
                  <a:pt x="1036027" y="175492"/>
                </a:moveTo>
                <a:lnTo>
                  <a:pt x="959827" y="269789"/>
                </a:lnTo>
                <a:lnTo>
                  <a:pt x="836954" y="262169"/>
                </a:lnTo>
                <a:cubicBezTo>
                  <a:pt x="853146" y="299317"/>
                  <a:pt x="861719" y="339322"/>
                  <a:pt x="861719" y="381232"/>
                </a:cubicBezTo>
                <a:cubicBezTo>
                  <a:pt x="861719" y="546014"/>
                  <a:pt x="727416" y="680317"/>
                  <a:pt x="562634" y="680317"/>
                </a:cubicBezTo>
                <a:cubicBezTo>
                  <a:pt x="397852" y="680317"/>
                  <a:pt x="263549" y="546014"/>
                  <a:pt x="263549" y="381232"/>
                </a:cubicBezTo>
                <a:cubicBezTo>
                  <a:pt x="263549" y="341227"/>
                  <a:pt x="271169" y="303127"/>
                  <a:pt x="286409" y="266932"/>
                </a:cubicBezTo>
                <a:lnTo>
                  <a:pt x="339749" y="292649"/>
                </a:lnTo>
                <a:lnTo>
                  <a:pt x="377849" y="310747"/>
                </a:lnTo>
                <a:cubicBezTo>
                  <a:pt x="394041" y="318367"/>
                  <a:pt x="412139" y="303127"/>
                  <a:pt x="406424" y="285982"/>
                </a:cubicBezTo>
                <a:lnTo>
                  <a:pt x="313079" y="13567"/>
                </a:lnTo>
                <a:cubicBezTo>
                  <a:pt x="309269" y="3089"/>
                  <a:pt x="297839" y="-2626"/>
                  <a:pt x="287362" y="1184"/>
                </a:cubicBezTo>
                <a:lnTo>
                  <a:pt x="13994" y="94529"/>
                </a:lnTo>
                <a:cubicBezTo>
                  <a:pt x="-3151" y="100244"/>
                  <a:pt x="-5056" y="124057"/>
                  <a:pt x="11137" y="132629"/>
                </a:cubicBezTo>
                <a:lnTo>
                  <a:pt x="91146" y="171682"/>
                </a:lnTo>
                <a:cubicBezTo>
                  <a:pt x="61619" y="237404"/>
                  <a:pt x="46379" y="307889"/>
                  <a:pt x="46379" y="381232"/>
                </a:cubicBezTo>
                <a:cubicBezTo>
                  <a:pt x="46379" y="666029"/>
                  <a:pt x="277837" y="896534"/>
                  <a:pt x="561681" y="896534"/>
                </a:cubicBezTo>
                <a:cubicBezTo>
                  <a:pt x="846479" y="896534"/>
                  <a:pt x="1076984" y="665077"/>
                  <a:pt x="1076984" y="381232"/>
                </a:cubicBezTo>
                <a:cubicBezTo>
                  <a:pt x="1077937" y="308842"/>
                  <a:pt x="1063649" y="240262"/>
                  <a:pt x="1036027" y="175492"/>
                </a:cubicBezTo>
                <a:close/>
              </a:path>
            </a:pathLst>
          </a:custGeom>
          <a:solidFill>
            <a:srgbClr val="26314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31" name="Forma Livre: Forma 30">
            <a:extLst>
              <a:ext uri="{FF2B5EF4-FFF2-40B4-BE49-F238E27FC236}">
                <a16:creationId xmlns:a16="http://schemas.microsoft.com/office/drawing/2014/main" id="{73C0E927-6A32-4E44-8BD7-857D96D36B05}"/>
              </a:ext>
            </a:extLst>
          </p:cNvPr>
          <p:cNvSpPr/>
          <p:nvPr/>
        </p:nvSpPr>
        <p:spPr>
          <a:xfrm>
            <a:off x="587375" y="469566"/>
            <a:ext cx="1220225" cy="1718142"/>
          </a:xfrm>
          <a:custGeom>
            <a:avLst/>
            <a:gdLst>
              <a:gd name="connsiteX0" fmla="*/ 868680 w 887590"/>
              <a:gd name="connsiteY0" fmla="*/ 1023080 h 1249774"/>
              <a:gd name="connsiteX1" fmla="*/ 829628 w 887590"/>
              <a:gd name="connsiteY1" fmla="*/ 1022127 h 1249774"/>
              <a:gd name="connsiteX2" fmla="*/ 774383 w 887590"/>
              <a:gd name="connsiteY2" fmla="*/ 1022127 h 1249774"/>
              <a:gd name="connsiteX3" fmla="*/ 774383 w 887590"/>
              <a:gd name="connsiteY3" fmla="*/ 394430 h 1249774"/>
              <a:gd name="connsiteX4" fmla="*/ 396240 w 887590"/>
              <a:gd name="connsiteY4" fmla="*/ 95 h 1249774"/>
              <a:gd name="connsiteX5" fmla="*/ 0 w 887590"/>
              <a:gd name="connsiteY5" fmla="*/ 386810 h 1249774"/>
              <a:gd name="connsiteX6" fmla="*/ 0 w 887590"/>
              <a:gd name="connsiteY6" fmla="*/ 620172 h 1249774"/>
              <a:gd name="connsiteX7" fmla="*/ 26670 w 887590"/>
              <a:gd name="connsiteY7" fmla="*/ 634460 h 1249774"/>
              <a:gd name="connsiteX8" fmla="*/ 90488 w 887590"/>
              <a:gd name="connsiteY8" fmla="*/ 588740 h 1249774"/>
              <a:gd name="connsiteX9" fmla="*/ 110490 w 887590"/>
              <a:gd name="connsiteY9" fmla="*/ 588740 h 1249774"/>
              <a:gd name="connsiteX10" fmla="*/ 174308 w 887590"/>
              <a:gd name="connsiteY10" fmla="*/ 634460 h 1249774"/>
              <a:gd name="connsiteX11" fmla="*/ 200978 w 887590"/>
              <a:gd name="connsiteY11" fmla="*/ 620172 h 1249774"/>
              <a:gd name="connsiteX12" fmla="*/ 200978 w 887590"/>
              <a:gd name="connsiteY12" fmla="*/ 391572 h 1249774"/>
              <a:gd name="connsiteX13" fmla="*/ 379095 w 887590"/>
              <a:gd name="connsiteY13" fmla="*/ 202025 h 1249774"/>
              <a:gd name="connsiteX14" fmla="*/ 571500 w 887590"/>
              <a:gd name="connsiteY14" fmla="*/ 386810 h 1249774"/>
              <a:gd name="connsiteX15" fmla="*/ 571500 w 887590"/>
              <a:gd name="connsiteY15" fmla="*/ 1022127 h 1249774"/>
              <a:gd name="connsiteX16" fmla="*/ 488633 w 887590"/>
              <a:gd name="connsiteY16" fmla="*/ 1022127 h 1249774"/>
              <a:gd name="connsiteX17" fmla="*/ 475298 w 887590"/>
              <a:gd name="connsiteY17" fmla="*/ 1054512 h 1249774"/>
              <a:gd name="connsiteX18" fmla="*/ 664845 w 887590"/>
              <a:gd name="connsiteY18" fmla="*/ 1244060 h 1249774"/>
              <a:gd name="connsiteX19" fmla="*/ 691515 w 887590"/>
              <a:gd name="connsiteY19" fmla="*/ 1244060 h 1249774"/>
              <a:gd name="connsiteX20" fmla="*/ 881063 w 887590"/>
              <a:gd name="connsiteY20" fmla="*/ 1054512 h 1249774"/>
              <a:gd name="connsiteX21" fmla="*/ 868680 w 887590"/>
              <a:gd name="connsiteY21" fmla="*/ 1023080 h 124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887590" h="1249774">
                <a:moveTo>
                  <a:pt x="868680" y="1023080"/>
                </a:moveTo>
                <a:lnTo>
                  <a:pt x="829628" y="1022127"/>
                </a:lnTo>
                <a:lnTo>
                  <a:pt x="774383" y="1022127"/>
                </a:lnTo>
                <a:lnTo>
                  <a:pt x="774383" y="394430"/>
                </a:lnTo>
                <a:cubicBezTo>
                  <a:pt x="774383" y="182975"/>
                  <a:pt x="607695" y="4857"/>
                  <a:pt x="396240" y="95"/>
                </a:cubicBezTo>
                <a:cubicBezTo>
                  <a:pt x="179070" y="-4668"/>
                  <a:pt x="0" y="170592"/>
                  <a:pt x="0" y="386810"/>
                </a:cubicBezTo>
                <a:lnTo>
                  <a:pt x="0" y="620172"/>
                </a:lnTo>
                <a:cubicBezTo>
                  <a:pt x="0" y="634460"/>
                  <a:pt x="16193" y="642080"/>
                  <a:pt x="26670" y="634460"/>
                </a:cubicBezTo>
                <a:lnTo>
                  <a:pt x="90488" y="588740"/>
                </a:lnTo>
                <a:cubicBezTo>
                  <a:pt x="96203" y="584930"/>
                  <a:pt x="104775" y="584930"/>
                  <a:pt x="110490" y="588740"/>
                </a:cubicBezTo>
                <a:lnTo>
                  <a:pt x="174308" y="634460"/>
                </a:lnTo>
                <a:cubicBezTo>
                  <a:pt x="185738" y="642080"/>
                  <a:pt x="200978" y="634460"/>
                  <a:pt x="200978" y="620172"/>
                </a:cubicBezTo>
                <a:lnTo>
                  <a:pt x="200978" y="391572"/>
                </a:lnTo>
                <a:cubicBezTo>
                  <a:pt x="200978" y="291560"/>
                  <a:pt x="279083" y="205835"/>
                  <a:pt x="379095" y="202025"/>
                </a:cubicBezTo>
                <a:cubicBezTo>
                  <a:pt x="484823" y="198215"/>
                  <a:pt x="571500" y="282987"/>
                  <a:pt x="571500" y="386810"/>
                </a:cubicBezTo>
                <a:lnTo>
                  <a:pt x="571500" y="1022127"/>
                </a:lnTo>
                <a:lnTo>
                  <a:pt x="488633" y="1022127"/>
                </a:lnTo>
                <a:cubicBezTo>
                  <a:pt x="471488" y="1022127"/>
                  <a:pt x="462915" y="1043082"/>
                  <a:pt x="475298" y="1054512"/>
                </a:cubicBezTo>
                <a:lnTo>
                  <a:pt x="664845" y="1244060"/>
                </a:lnTo>
                <a:cubicBezTo>
                  <a:pt x="672465" y="1251680"/>
                  <a:pt x="683895" y="1251680"/>
                  <a:pt x="691515" y="1244060"/>
                </a:cubicBezTo>
                <a:lnTo>
                  <a:pt x="881063" y="1054512"/>
                </a:lnTo>
                <a:cubicBezTo>
                  <a:pt x="894398" y="1044035"/>
                  <a:pt x="885825" y="1023080"/>
                  <a:pt x="868680" y="1023080"/>
                </a:cubicBezTo>
                <a:close/>
              </a:path>
            </a:pathLst>
          </a:custGeom>
          <a:solidFill>
            <a:srgbClr val="D6D6CE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32" name="Forma Livre: Forma 31">
            <a:extLst>
              <a:ext uri="{FF2B5EF4-FFF2-40B4-BE49-F238E27FC236}">
                <a16:creationId xmlns:a16="http://schemas.microsoft.com/office/drawing/2014/main" id="{1AD2E084-B6E5-48E5-9F26-8A5E38528E56}"/>
              </a:ext>
            </a:extLst>
          </p:cNvPr>
          <p:cNvSpPr/>
          <p:nvPr/>
        </p:nvSpPr>
        <p:spPr>
          <a:xfrm>
            <a:off x="2378495" y="1568334"/>
            <a:ext cx="741926" cy="1089798"/>
          </a:xfrm>
          <a:custGeom>
            <a:avLst/>
            <a:gdLst>
              <a:gd name="connsiteX0" fmla="*/ 461010 w 539676"/>
              <a:gd name="connsiteY0" fmla="*/ 523875 h 792718"/>
              <a:gd name="connsiteX1" fmla="*/ 461010 w 539676"/>
              <a:gd name="connsiteY1" fmla="*/ 229552 h 792718"/>
              <a:gd name="connsiteX2" fmla="*/ 439103 w 539676"/>
              <a:gd name="connsiteY2" fmla="*/ 207645 h 792718"/>
              <a:gd name="connsiteX3" fmla="*/ 238125 w 539676"/>
              <a:gd name="connsiteY3" fmla="*/ 207645 h 792718"/>
              <a:gd name="connsiteX4" fmla="*/ 230505 w 539676"/>
              <a:gd name="connsiteY4" fmla="*/ 200025 h 792718"/>
              <a:gd name="connsiteX5" fmla="*/ 230505 w 539676"/>
              <a:gd name="connsiteY5" fmla="*/ 9525 h 792718"/>
              <a:gd name="connsiteX6" fmla="*/ 220980 w 539676"/>
              <a:gd name="connsiteY6" fmla="*/ 0 h 792718"/>
              <a:gd name="connsiteX7" fmla="*/ 9525 w 539676"/>
              <a:gd name="connsiteY7" fmla="*/ 0 h 792718"/>
              <a:gd name="connsiteX8" fmla="*/ 0 w 539676"/>
              <a:gd name="connsiteY8" fmla="*/ 9525 h 792718"/>
              <a:gd name="connsiteX9" fmla="*/ 0 w 539676"/>
              <a:gd name="connsiteY9" fmla="*/ 376238 h 792718"/>
              <a:gd name="connsiteX10" fmla="*/ 21908 w 539676"/>
              <a:gd name="connsiteY10" fmla="*/ 398145 h 792718"/>
              <a:gd name="connsiteX11" fmla="*/ 229553 w 539676"/>
              <a:gd name="connsiteY11" fmla="*/ 398145 h 792718"/>
              <a:gd name="connsiteX12" fmla="*/ 229553 w 539676"/>
              <a:gd name="connsiteY12" fmla="*/ 522923 h 792718"/>
              <a:gd name="connsiteX13" fmla="*/ 154305 w 539676"/>
              <a:gd name="connsiteY13" fmla="*/ 522923 h 792718"/>
              <a:gd name="connsiteX14" fmla="*/ 138113 w 539676"/>
              <a:gd name="connsiteY14" fmla="*/ 556260 h 792718"/>
              <a:gd name="connsiteX15" fmla="*/ 320992 w 539676"/>
              <a:gd name="connsiteY15" fmla="*/ 784860 h 792718"/>
              <a:gd name="connsiteX16" fmla="*/ 352425 w 539676"/>
              <a:gd name="connsiteY16" fmla="*/ 784860 h 792718"/>
              <a:gd name="connsiteX17" fmla="*/ 535305 w 539676"/>
              <a:gd name="connsiteY17" fmla="*/ 556260 h 792718"/>
              <a:gd name="connsiteX18" fmla="*/ 519113 w 539676"/>
              <a:gd name="connsiteY18" fmla="*/ 522923 h 792718"/>
              <a:gd name="connsiteX19" fmla="*/ 461010 w 539676"/>
              <a:gd name="connsiteY19" fmla="*/ 522923 h 7927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539676" h="792718">
                <a:moveTo>
                  <a:pt x="461010" y="523875"/>
                </a:moveTo>
                <a:lnTo>
                  <a:pt x="461010" y="229552"/>
                </a:lnTo>
                <a:cubicBezTo>
                  <a:pt x="461010" y="217170"/>
                  <a:pt x="451485" y="207645"/>
                  <a:pt x="439103" y="207645"/>
                </a:cubicBezTo>
                <a:lnTo>
                  <a:pt x="238125" y="207645"/>
                </a:lnTo>
                <a:cubicBezTo>
                  <a:pt x="234315" y="207645"/>
                  <a:pt x="230505" y="204788"/>
                  <a:pt x="230505" y="200025"/>
                </a:cubicBezTo>
                <a:lnTo>
                  <a:pt x="230505" y="9525"/>
                </a:lnTo>
                <a:cubicBezTo>
                  <a:pt x="230505" y="4763"/>
                  <a:pt x="226695" y="0"/>
                  <a:pt x="220980" y="0"/>
                </a:cubicBezTo>
                <a:lnTo>
                  <a:pt x="9525" y="0"/>
                </a:lnTo>
                <a:cubicBezTo>
                  <a:pt x="4763" y="0"/>
                  <a:pt x="0" y="3810"/>
                  <a:pt x="0" y="9525"/>
                </a:cubicBezTo>
                <a:lnTo>
                  <a:pt x="0" y="376238"/>
                </a:lnTo>
                <a:cubicBezTo>
                  <a:pt x="0" y="388620"/>
                  <a:pt x="9525" y="398145"/>
                  <a:pt x="21908" y="398145"/>
                </a:cubicBezTo>
                <a:lnTo>
                  <a:pt x="229553" y="398145"/>
                </a:lnTo>
                <a:lnTo>
                  <a:pt x="229553" y="522923"/>
                </a:lnTo>
                <a:lnTo>
                  <a:pt x="154305" y="522923"/>
                </a:lnTo>
                <a:cubicBezTo>
                  <a:pt x="137160" y="522923"/>
                  <a:pt x="127635" y="542925"/>
                  <a:pt x="138113" y="556260"/>
                </a:cubicBezTo>
                <a:lnTo>
                  <a:pt x="320992" y="784860"/>
                </a:lnTo>
                <a:cubicBezTo>
                  <a:pt x="329565" y="795337"/>
                  <a:pt x="344805" y="795337"/>
                  <a:pt x="352425" y="784860"/>
                </a:cubicBezTo>
                <a:lnTo>
                  <a:pt x="535305" y="556260"/>
                </a:lnTo>
                <a:cubicBezTo>
                  <a:pt x="545783" y="542925"/>
                  <a:pt x="536258" y="522923"/>
                  <a:pt x="519113" y="522923"/>
                </a:cubicBezTo>
                <a:lnTo>
                  <a:pt x="461010" y="522923"/>
                </a:lnTo>
                <a:close/>
              </a:path>
            </a:pathLst>
          </a:custGeom>
          <a:solidFill>
            <a:srgbClr val="D6D6CE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grpSp>
        <p:nvGrpSpPr>
          <p:cNvPr id="33" name="Gráfico 2">
            <a:extLst>
              <a:ext uri="{FF2B5EF4-FFF2-40B4-BE49-F238E27FC236}">
                <a16:creationId xmlns:a16="http://schemas.microsoft.com/office/drawing/2014/main" id="{D0985D2D-C80E-4A7B-8521-0BE8315ADD06}"/>
              </a:ext>
            </a:extLst>
          </p:cNvPr>
          <p:cNvGrpSpPr/>
          <p:nvPr/>
        </p:nvGrpSpPr>
        <p:grpSpPr>
          <a:xfrm>
            <a:off x="10156727" y="2037381"/>
            <a:ext cx="1558005" cy="1019809"/>
            <a:chOff x="8291988" y="2497643"/>
            <a:chExt cx="1133291" cy="741808"/>
          </a:xfrm>
          <a:solidFill>
            <a:srgbClr val="263143"/>
          </a:solidFill>
        </p:grpSpPr>
        <p:sp>
          <p:nvSpPr>
            <p:cNvPr id="34" name="Forma Livre: Forma 33">
              <a:extLst>
                <a:ext uri="{FF2B5EF4-FFF2-40B4-BE49-F238E27FC236}">
                  <a16:creationId xmlns:a16="http://schemas.microsoft.com/office/drawing/2014/main" id="{2C0C9B80-B1DC-4FDE-8745-0EB1B21DC622}"/>
                </a:ext>
              </a:extLst>
            </p:cNvPr>
            <p:cNvSpPr/>
            <p:nvPr/>
          </p:nvSpPr>
          <p:spPr>
            <a:xfrm>
              <a:off x="9032239" y="2843157"/>
              <a:ext cx="5080" cy="2489"/>
            </a:xfrm>
            <a:custGeom>
              <a:avLst/>
              <a:gdLst>
                <a:gd name="connsiteX0" fmla="*/ 5080 w 5080"/>
                <a:gd name="connsiteY0" fmla="*/ 1007 h 2489"/>
                <a:gd name="connsiteX1" fmla="*/ 5080 w 5080"/>
                <a:gd name="connsiteY1" fmla="*/ 1007 h 2489"/>
                <a:gd name="connsiteX2" fmla="*/ 5080 w 5080"/>
                <a:gd name="connsiteY2" fmla="*/ 1007 h 2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080" h="2489">
                  <a:moveTo>
                    <a:pt x="5080" y="1007"/>
                  </a:moveTo>
                  <a:cubicBezTo>
                    <a:pt x="5080" y="5770"/>
                    <a:pt x="-6350" y="-2803"/>
                    <a:pt x="5080" y="1007"/>
                  </a:cubicBezTo>
                  <a:lnTo>
                    <a:pt x="5080" y="100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5" name="Forma Livre: Forma 34">
              <a:extLst>
                <a:ext uri="{FF2B5EF4-FFF2-40B4-BE49-F238E27FC236}">
                  <a16:creationId xmlns:a16="http://schemas.microsoft.com/office/drawing/2014/main" id="{A4541700-6859-420D-AACE-8FE0A82F9373}"/>
                </a:ext>
              </a:extLst>
            </p:cNvPr>
            <p:cNvSpPr/>
            <p:nvPr/>
          </p:nvSpPr>
          <p:spPr>
            <a:xfrm>
              <a:off x="8291988" y="2497643"/>
              <a:ext cx="1133291" cy="741808"/>
            </a:xfrm>
            <a:custGeom>
              <a:avLst/>
              <a:gdLst>
                <a:gd name="connsiteX0" fmla="*/ 1122522 w 1133291"/>
                <a:gd name="connsiteY0" fmla="*/ 163641 h 741808"/>
                <a:gd name="connsiteX1" fmla="*/ 845344 w 1133291"/>
                <a:gd name="connsiteY1" fmla="*/ 2669 h 741808"/>
                <a:gd name="connsiteX2" fmla="*/ 814864 w 1133291"/>
                <a:gd name="connsiteY2" fmla="*/ 20766 h 741808"/>
                <a:gd name="connsiteX3" fmla="*/ 814864 w 1133291"/>
                <a:gd name="connsiteY3" fmla="*/ 112206 h 741808"/>
                <a:gd name="connsiteX4" fmla="*/ 700564 w 1133291"/>
                <a:gd name="connsiteY4" fmla="*/ 112206 h 741808"/>
                <a:gd name="connsiteX5" fmla="*/ 700564 w 1133291"/>
                <a:gd name="connsiteY5" fmla="*/ 112206 h 741808"/>
                <a:gd name="connsiteX6" fmla="*/ 574834 w 1133291"/>
                <a:gd name="connsiteY6" fmla="*/ 168404 h 741808"/>
                <a:gd name="connsiteX7" fmla="*/ 449104 w 1133291"/>
                <a:gd name="connsiteY7" fmla="*/ 112206 h 741808"/>
                <a:gd name="connsiteX8" fmla="*/ 449104 w 1133291"/>
                <a:gd name="connsiteY8" fmla="*/ 112206 h 741808"/>
                <a:gd name="connsiteX9" fmla="*/ 318611 w 1133291"/>
                <a:gd name="connsiteY9" fmla="*/ 112206 h 741808"/>
                <a:gd name="connsiteX10" fmla="*/ 318611 w 1133291"/>
                <a:gd name="connsiteY10" fmla="*/ 20766 h 741808"/>
                <a:gd name="connsiteX11" fmla="*/ 288131 w 1133291"/>
                <a:gd name="connsiteY11" fmla="*/ 2669 h 741808"/>
                <a:gd name="connsiteX12" fmla="*/ 10001 w 1133291"/>
                <a:gd name="connsiteY12" fmla="*/ 163641 h 741808"/>
                <a:gd name="connsiteX13" fmla="*/ 10001 w 1133291"/>
                <a:gd name="connsiteY13" fmla="*/ 198884 h 741808"/>
                <a:gd name="connsiteX14" fmla="*/ 288131 w 1133291"/>
                <a:gd name="connsiteY14" fmla="*/ 366524 h 741808"/>
                <a:gd name="connsiteX15" fmla="*/ 319564 w 1133291"/>
                <a:gd name="connsiteY15" fmla="*/ 349379 h 741808"/>
                <a:gd name="connsiteX16" fmla="*/ 319564 w 1133291"/>
                <a:gd name="connsiteY16" fmla="*/ 280799 h 741808"/>
                <a:gd name="connsiteX17" fmla="*/ 411956 w 1133291"/>
                <a:gd name="connsiteY17" fmla="*/ 280799 h 741808"/>
                <a:gd name="connsiteX18" fmla="*/ 450056 w 1133291"/>
                <a:gd name="connsiteY18" fmla="*/ 318899 h 741808"/>
                <a:gd name="connsiteX19" fmla="*/ 450056 w 1133291"/>
                <a:gd name="connsiteY19" fmla="*/ 716091 h 741808"/>
                <a:gd name="connsiteX20" fmla="*/ 475774 w 1133291"/>
                <a:gd name="connsiteY20" fmla="*/ 741809 h 741808"/>
                <a:gd name="connsiteX21" fmla="*/ 531971 w 1133291"/>
                <a:gd name="connsiteY21" fmla="*/ 741809 h 741808"/>
                <a:gd name="connsiteX22" fmla="*/ 619601 w 1133291"/>
                <a:gd name="connsiteY22" fmla="*/ 741809 h 741808"/>
                <a:gd name="connsiteX23" fmla="*/ 675799 w 1133291"/>
                <a:gd name="connsiteY23" fmla="*/ 741809 h 741808"/>
                <a:gd name="connsiteX24" fmla="*/ 701516 w 1133291"/>
                <a:gd name="connsiteY24" fmla="*/ 716091 h 741808"/>
                <a:gd name="connsiteX25" fmla="*/ 701516 w 1133291"/>
                <a:gd name="connsiteY25" fmla="*/ 318899 h 741808"/>
                <a:gd name="connsiteX26" fmla="*/ 739616 w 1133291"/>
                <a:gd name="connsiteY26" fmla="*/ 280799 h 741808"/>
                <a:gd name="connsiteX27" fmla="*/ 815816 w 1133291"/>
                <a:gd name="connsiteY27" fmla="*/ 280799 h 741808"/>
                <a:gd name="connsiteX28" fmla="*/ 815816 w 1133291"/>
                <a:gd name="connsiteY28" fmla="*/ 349379 h 741808"/>
                <a:gd name="connsiteX29" fmla="*/ 847249 w 1133291"/>
                <a:gd name="connsiteY29" fmla="*/ 366524 h 741808"/>
                <a:gd name="connsiteX30" fmla="*/ 1125379 w 1133291"/>
                <a:gd name="connsiteY30" fmla="*/ 198884 h 741808"/>
                <a:gd name="connsiteX31" fmla="*/ 1122522 w 1133291"/>
                <a:gd name="connsiteY31" fmla="*/ 163641 h 741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133291" h="741808">
                  <a:moveTo>
                    <a:pt x="1122522" y="163641"/>
                  </a:moveTo>
                  <a:lnTo>
                    <a:pt x="845344" y="2669"/>
                  </a:lnTo>
                  <a:cubicBezTo>
                    <a:pt x="832009" y="-4951"/>
                    <a:pt x="814864" y="4574"/>
                    <a:pt x="814864" y="20766"/>
                  </a:cubicBezTo>
                  <a:lnTo>
                    <a:pt x="814864" y="112206"/>
                  </a:lnTo>
                  <a:lnTo>
                    <a:pt x="700564" y="112206"/>
                  </a:lnTo>
                  <a:lnTo>
                    <a:pt x="700564" y="112206"/>
                  </a:lnTo>
                  <a:cubicBezTo>
                    <a:pt x="651034" y="112206"/>
                    <a:pt x="606266" y="134114"/>
                    <a:pt x="574834" y="168404"/>
                  </a:cubicBezTo>
                  <a:cubicBezTo>
                    <a:pt x="543401" y="134114"/>
                    <a:pt x="498634" y="112206"/>
                    <a:pt x="449104" y="112206"/>
                  </a:cubicBezTo>
                  <a:lnTo>
                    <a:pt x="449104" y="112206"/>
                  </a:lnTo>
                  <a:lnTo>
                    <a:pt x="318611" y="112206"/>
                  </a:lnTo>
                  <a:lnTo>
                    <a:pt x="318611" y="20766"/>
                  </a:lnTo>
                  <a:cubicBezTo>
                    <a:pt x="318611" y="4574"/>
                    <a:pt x="301466" y="-4951"/>
                    <a:pt x="288131" y="2669"/>
                  </a:cubicBezTo>
                  <a:lnTo>
                    <a:pt x="10001" y="163641"/>
                  </a:lnTo>
                  <a:cubicBezTo>
                    <a:pt x="-3334" y="171261"/>
                    <a:pt x="-3334" y="191264"/>
                    <a:pt x="10001" y="198884"/>
                  </a:cubicBezTo>
                  <a:lnTo>
                    <a:pt x="288131" y="366524"/>
                  </a:lnTo>
                  <a:cubicBezTo>
                    <a:pt x="301466" y="375096"/>
                    <a:pt x="319564" y="364619"/>
                    <a:pt x="319564" y="349379"/>
                  </a:cubicBezTo>
                  <a:lnTo>
                    <a:pt x="319564" y="280799"/>
                  </a:lnTo>
                  <a:lnTo>
                    <a:pt x="411956" y="280799"/>
                  </a:lnTo>
                  <a:cubicBezTo>
                    <a:pt x="432911" y="280799"/>
                    <a:pt x="450056" y="297944"/>
                    <a:pt x="450056" y="318899"/>
                  </a:cubicBezTo>
                  <a:lnTo>
                    <a:pt x="450056" y="716091"/>
                  </a:lnTo>
                  <a:cubicBezTo>
                    <a:pt x="450056" y="730379"/>
                    <a:pt x="461486" y="741809"/>
                    <a:pt x="475774" y="741809"/>
                  </a:cubicBezTo>
                  <a:lnTo>
                    <a:pt x="531971" y="741809"/>
                  </a:lnTo>
                  <a:lnTo>
                    <a:pt x="619601" y="741809"/>
                  </a:lnTo>
                  <a:lnTo>
                    <a:pt x="675799" y="741809"/>
                  </a:lnTo>
                  <a:cubicBezTo>
                    <a:pt x="690086" y="741809"/>
                    <a:pt x="701516" y="730379"/>
                    <a:pt x="701516" y="716091"/>
                  </a:cubicBezTo>
                  <a:lnTo>
                    <a:pt x="701516" y="318899"/>
                  </a:lnTo>
                  <a:cubicBezTo>
                    <a:pt x="701516" y="297944"/>
                    <a:pt x="718661" y="280799"/>
                    <a:pt x="739616" y="280799"/>
                  </a:cubicBezTo>
                  <a:lnTo>
                    <a:pt x="815816" y="280799"/>
                  </a:lnTo>
                  <a:lnTo>
                    <a:pt x="815816" y="349379"/>
                  </a:lnTo>
                  <a:cubicBezTo>
                    <a:pt x="815816" y="365571"/>
                    <a:pt x="832961" y="375096"/>
                    <a:pt x="847249" y="366524"/>
                  </a:cubicBezTo>
                  <a:lnTo>
                    <a:pt x="1125379" y="198884"/>
                  </a:lnTo>
                  <a:cubicBezTo>
                    <a:pt x="1136809" y="191264"/>
                    <a:pt x="1135856" y="172214"/>
                    <a:pt x="1122522" y="16364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sp>
        <p:nvSpPr>
          <p:cNvPr id="36" name="Forma Livre: Forma 35">
            <a:extLst>
              <a:ext uri="{FF2B5EF4-FFF2-40B4-BE49-F238E27FC236}">
                <a16:creationId xmlns:a16="http://schemas.microsoft.com/office/drawing/2014/main" id="{A9C19AD5-E9C8-437D-9304-6BFEE86B47FA}"/>
              </a:ext>
            </a:extLst>
          </p:cNvPr>
          <p:cNvSpPr/>
          <p:nvPr/>
        </p:nvSpPr>
        <p:spPr>
          <a:xfrm>
            <a:off x="10212440" y="470413"/>
            <a:ext cx="1500135" cy="1259771"/>
          </a:xfrm>
          <a:custGeom>
            <a:avLst/>
            <a:gdLst>
              <a:gd name="connsiteX0" fmla="*/ 270183 w 1091196"/>
              <a:gd name="connsiteY0" fmla="*/ 887209 h 916356"/>
              <a:gd name="connsiteX1" fmla="*/ 444490 w 1091196"/>
              <a:gd name="connsiteY1" fmla="*/ 588124 h 916356"/>
              <a:gd name="connsiteX2" fmla="*/ 395913 w 1091196"/>
              <a:gd name="connsiteY2" fmla="*/ 500494 h 916356"/>
              <a:gd name="connsiteX3" fmla="*/ 356860 w 1091196"/>
              <a:gd name="connsiteY3" fmla="*/ 500494 h 916356"/>
              <a:gd name="connsiteX4" fmla="*/ 718810 w 1091196"/>
              <a:gd name="connsiteY4" fmla="*/ 223316 h 916356"/>
              <a:gd name="connsiteX5" fmla="*/ 914073 w 1091196"/>
              <a:gd name="connsiteY5" fmla="*/ 717664 h 916356"/>
              <a:gd name="connsiteX6" fmla="*/ 1011228 w 1091196"/>
              <a:gd name="connsiteY6" fmla="*/ 776719 h 916356"/>
              <a:gd name="connsiteX7" fmla="*/ 874068 w 1091196"/>
              <a:gd name="connsiteY7" fmla="*/ 83299 h 916356"/>
              <a:gd name="connsiteX8" fmla="*/ 233988 w 1091196"/>
              <a:gd name="connsiteY8" fmla="*/ 158546 h 916356"/>
              <a:gd name="connsiteX9" fmla="*/ 83493 w 1091196"/>
              <a:gd name="connsiteY9" fmla="*/ 501446 h 916356"/>
              <a:gd name="connsiteX10" fmla="*/ 55871 w 1091196"/>
              <a:gd name="connsiteY10" fmla="*/ 501446 h 916356"/>
              <a:gd name="connsiteX11" fmla="*/ 7293 w 1091196"/>
              <a:gd name="connsiteY11" fmla="*/ 589076 h 916356"/>
              <a:gd name="connsiteX12" fmla="*/ 173980 w 1091196"/>
              <a:gd name="connsiteY12" fmla="*/ 888161 h 916356"/>
              <a:gd name="connsiteX13" fmla="*/ 226368 w 1091196"/>
              <a:gd name="connsiteY13" fmla="*/ 915784 h 916356"/>
              <a:gd name="connsiteX14" fmla="*/ 270183 w 1091196"/>
              <a:gd name="connsiteY14" fmla="*/ 887209 h 9163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091196" h="916356">
                <a:moveTo>
                  <a:pt x="270183" y="887209"/>
                </a:moveTo>
                <a:cubicBezTo>
                  <a:pt x="328285" y="787196"/>
                  <a:pt x="386388" y="688136"/>
                  <a:pt x="444490" y="588124"/>
                </a:cubicBezTo>
                <a:cubicBezTo>
                  <a:pt x="466398" y="550024"/>
                  <a:pt x="437823" y="500494"/>
                  <a:pt x="395913" y="500494"/>
                </a:cubicBezTo>
                <a:cubicBezTo>
                  <a:pt x="382578" y="500494"/>
                  <a:pt x="369243" y="500494"/>
                  <a:pt x="356860" y="500494"/>
                </a:cubicBezTo>
                <a:cubicBezTo>
                  <a:pt x="356860" y="311899"/>
                  <a:pt x="542598" y="175691"/>
                  <a:pt x="718810" y="223316"/>
                </a:cubicBezTo>
                <a:cubicBezTo>
                  <a:pt x="926455" y="278561"/>
                  <a:pt x="1010275" y="528116"/>
                  <a:pt x="914073" y="717664"/>
                </a:cubicBezTo>
                <a:cubicBezTo>
                  <a:pt x="880735" y="784339"/>
                  <a:pt x="970271" y="838631"/>
                  <a:pt x="1011228" y="776719"/>
                </a:cubicBezTo>
                <a:cubicBezTo>
                  <a:pt x="1159818" y="548119"/>
                  <a:pt x="1094096" y="234746"/>
                  <a:pt x="874068" y="83299"/>
                </a:cubicBezTo>
                <a:cubicBezTo>
                  <a:pt x="674043" y="-53861"/>
                  <a:pt x="401628" y="-16714"/>
                  <a:pt x="233988" y="158546"/>
                </a:cubicBezTo>
                <a:cubicBezTo>
                  <a:pt x="145405" y="250939"/>
                  <a:pt x="94923" y="372859"/>
                  <a:pt x="83493" y="501446"/>
                </a:cubicBezTo>
                <a:cubicBezTo>
                  <a:pt x="73968" y="501446"/>
                  <a:pt x="65396" y="501446"/>
                  <a:pt x="55871" y="501446"/>
                </a:cubicBezTo>
                <a:cubicBezTo>
                  <a:pt x="13008" y="501446"/>
                  <a:pt x="-13662" y="550976"/>
                  <a:pt x="7293" y="589076"/>
                </a:cubicBezTo>
                <a:cubicBezTo>
                  <a:pt x="62538" y="689089"/>
                  <a:pt x="118735" y="788149"/>
                  <a:pt x="173980" y="888161"/>
                </a:cubicBezTo>
                <a:cubicBezTo>
                  <a:pt x="186363" y="911021"/>
                  <a:pt x="206365" y="918641"/>
                  <a:pt x="226368" y="915784"/>
                </a:cubicBezTo>
                <a:cubicBezTo>
                  <a:pt x="242560" y="913879"/>
                  <a:pt x="258753" y="906259"/>
                  <a:pt x="270183" y="887209"/>
                </a:cubicBezTo>
                <a:close/>
              </a:path>
            </a:pathLst>
          </a:custGeom>
          <a:solidFill>
            <a:srgbClr val="26314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37" name="Forma Livre: Forma 36">
            <a:extLst>
              <a:ext uri="{FF2B5EF4-FFF2-40B4-BE49-F238E27FC236}">
                <a16:creationId xmlns:a16="http://schemas.microsoft.com/office/drawing/2014/main" id="{8A37BAA3-D4B4-4B57-8106-AD5AC65FE636}"/>
              </a:ext>
            </a:extLst>
          </p:cNvPr>
          <p:cNvSpPr/>
          <p:nvPr/>
        </p:nvSpPr>
        <p:spPr>
          <a:xfrm>
            <a:off x="4659703" y="575763"/>
            <a:ext cx="761361" cy="950667"/>
          </a:xfrm>
          <a:custGeom>
            <a:avLst/>
            <a:gdLst>
              <a:gd name="connsiteX0" fmla="*/ 550545 w 553813"/>
              <a:gd name="connsiteY0" fmla="*/ 277178 h 691514"/>
              <a:gd name="connsiteX1" fmla="*/ 371475 w 553813"/>
              <a:gd name="connsiteY1" fmla="*/ 8572 h 691514"/>
              <a:gd name="connsiteX2" fmla="*/ 339090 w 553813"/>
              <a:gd name="connsiteY2" fmla="*/ 8572 h 691514"/>
              <a:gd name="connsiteX3" fmla="*/ 160020 w 553813"/>
              <a:gd name="connsiteY3" fmla="*/ 277178 h 691514"/>
              <a:gd name="connsiteX4" fmla="*/ 176213 w 553813"/>
              <a:gd name="connsiteY4" fmla="*/ 307658 h 691514"/>
              <a:gd name="connsiteX5" fmla="*/ 261938 w 553813"/>
              <a:gd name="connsiteY5" fmla="*/ 307658 h 691514"/>
              <a:gd name="connsiteX6" fmla="*/ 261938 w 553813"/>
              <a:gd name="connsiteY6" fmla="*/ 383858 h 691514"/>
              <a:gd name="connsiteX7" fmla="*/ 97155 w 553813"/>
              <a:gd name="connsiteY7" fmla="*/ 383858 h 691514"/>
              <a:gd name="connsiteX8" fmla="*/ 0 w 553813"/>
              <a:gd name="connsiteY8" fmla="*/ 481012 h 691514"/>
              <a:gd name="connsiteX9" fmla="*/ 0 w 553813"/>
              <a:gd name="connsiteY9" fmla="*/ 675323 h 691514"/>
              <a:gd name="connsiteX10" fmla="*/ 16192 w 553813"/>
              <a:gd name="connsiteY10" fmla="*/ 691515 h 691514"/>
              <a:gd name="connsiteX11" fmla="*/ 178117 w 553813"/>
              <a:gd name="connsiteY11" fmla="*/ 691515 h 691514"/>
              <a:gd name="connsiteX12" fmla="*/ 194310 w 553813"/>
              <a:gd name="connsiteY12" fmla="*/ 675323 h 691514"/>
              <a:gd name="connsiteX13" fmla="*/ 194310 w 553813"/>
              <a:gd name="connsiteY13" fmla="*/ 577215 h 691514"/>
              <a:gd name="connsiteX14" fmla="*/ 359092 w 553813"/>
              <a:gd name="connsiteY14" fmla="*/ 577215 h 691514"/>
              <a:gd name="connsiteX15" fmla="*/ 456248 w 553813"/>
              <a:gd name="connsiteY15" fmla="*/ 480060 h 691514"/>
              <a:gd name="connsiteX16" fmla="*/ 456248 w 553813"/>
              <a:gd name="connsiteY16" fmla="*/ 307658 h 691514"/>
              <a:gd name="connsiteX17" fmla="*/ 536258 w 553813"/>
              <a:gd name="connsiteY17" fmla="*/ 307658 h 691514"/>
              <a:gd name="connsiteX18" fmla="*/ 550545 w 553813"/>
              <a:gd name="connsiteY18" fmla="*/ 277178 h 691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553813" h="691514">
                <a:moveTo>
                  <a:pt x="550545" y="277178"/>
                </a:moveTo>
                <a:lnTo>
                  <a:pt x="371475" y="8572"/>
                </a:lnTo>
                <a:cubicBezTo>
                  <a:pt x="363855" y="-2857"/>
                  <a:pt x="346710" y="-2857"/>
                  <a:pt x="339090" y="8572"/>
                </a:cubicBezTo>
                <a:lnTo>
                  <a:pt x="160020" y="277178"/>
                </a:lnTo>
                <a:cubicBezTo>
                  <a:pt x="151447" y="289560"/>
                  <a:pt x="160972" y="307658"/>
                  <a:pt x="176213" y="307658"/>
                </a:cubicBezTo>
                <a:lnTo>
                  <a:pt x="261938" y="307658"/>
                </a:lnTo>
                <a:lnTo>
                  <a:pt x="261938" y="383858"/>
                </a:lnTo>
                <a:lnTo>
                  <a:pt x="97155" y="383858"/>
                </a:lnTo>
                <a:cubicBezTo>
                  <a:pt x="43815" y="383858"/>
                  <a:pt x="0" y="426720"/>
                  <a:pt x="0" y="481012"/>
                </a:cubicBezTo>
                <a:lnTo>
                  <a:pt x="0" y="675323"/>
                </a:lnTo>
                <a:cubicBezTo>
                  <a:pt x="0" y="683895"/>
                  <a:pt x="7620" y="691515"/>
                  <a:pt x="16192" y="691515"/>
                </a:cubicBezTo>
                <a:lnTo>
                  <a:pt x="178117" y="691515"/>
                </a:lnTo>
                <a:cubicBezTo>
                  <a:pt x="186690" y="691515"/>
                  <a:pt x="194310" y="683895"/>
                  <a:pt x="194310" y="675323"/>
                </a:cubicBezTo>
                <a:lnTo>
                  <a:pt x="194310" y="577215"/>
                </a:lnTo>
                <a:lnTo>
                  <a:pt x="359092" y="577215"/>
                </a:lnTo>
                <a:cubicBezTo>
                  <a:pt x="412433" y="577215"/>
                  <a:pt x="456248" y="534353"/>
                  <a:pt x="456248" y="480060"/>
                </a:cubicBezTo>
                <a:lnTo>
                  <a:pt x="456248" y="307658"/>
                </a:lnTo>
                <a:lnTo>
                  <a:pt x="536258" y="307658"/>
                </a:lnTo>
                <a:cubicBezTo>
                  <a:pt x="549593" y="307658"/>
                  <a:pt x="559118" y="290512"/>
                  <a:pt x="550545" y="277178"/>
                </a:cubicBezTo>
                <a:close/>
              </a:path>
            </a:pathLst>
          </a:custGeom>
          <a:solidFill>
            <a:srgbClr val="26314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38" name="Forma Livre: Forma 37">
            <a:extLst>
              <a:ext uri="{FF2B5EF4-FFF2-40B4-BE49-F238E27FC236}">
                <a16:creationId xmlns:a16="http://schemas.microsoft.com/office/drawing/2014/main" id="{F0329F73-0D2F-4CF2-A683-8A767087DA6D}"/>
              </a:ext>
            </a:extLst>
          </p:cNvPr>
          <p:cNvSpPr/>
          <p:nvPr/>
        </p:nvSpPr>
        <p:spPr>
          <a:xfrm>
            <a:off x="9827132" y="4423698"/>
            <a:ext cx="770615" cy="964332"/>
          </a:xfrm>
          <a:custGeom>
            <a:avLst/>
            <a:gdLst>
              <a:gd name="connsiteX0" fmla="*/ 532862 w 560544"/>
              <a:gd name="connsiteY0" fmla="*/ 395702 h 701454"/>
              <a:gd name="connsiteX1" fmla="*/ 291880 w 560544"/>
              <a:gd name="connsiteY1" fmla="*/ 154720 h 701454"/>
              <a:gd name="connsiteX2" fmla="*/ 349982 w 560544"/>
              <a:gd name="connsiteY2" fmla="*/ 96617 h 701454"/>
              <a:gd name="connsiteX3" fmla="*/ 340457 w 560544"/>
              <a:gd name="connsiteY3" fmla="*/ 64232 h 701454"/>
              <a:gd name="connsiteX4" fmla="*/ 23275 w 560544"/>
              <a:gd name="connsiteY4" fmla="*/ 414 h 701454"/>
              <a:gd name="connsiteX5" fmla="*/ 414 w 560544"/>
              <a:gd name="connsiteY5" fmla="*/ 23274 h 701454"/>
              <a:gd name="connsiteX6" fmla="*/ 64232 w 560544"/>
              <a:gd name="connsiteY6" fmla="*/ 340457 h 701454"/>
              <a:gd name="connsiteX7" fmla="*/ 96617 w 560544"/>
              <a:gd name="connsiteY7" fmla="*/ 349982 h 701454"/>
              <a:gd name="connsiteX8" fmla="*/ 154720 w 560544"/>
              <a:gd name="connsiteY8" fmla="*/ 291880 h 701454"/>
              <a:gd name="connsiteX9" fmla="*/ 367127 w 560544"/>
              <a:gd name="connsiteY9" fmla="*/ 504287 h 701454"/>
              <a:gd name="connsiteX10" fmla="*/ 367127 w 560544"/>
              <a:gd name="connsiteY10" fmla="*/ 685262 h 701454"/>
              <a:gd name="connsiteX11" fmla="*/ 383320 w 560544"/>
              <a:gd name="connsiteY11" fmla="*/ 701455 h 701454"/>
              <a:gd name="connsiteX12" fmla="*/ 544292 w 560544"/>
              <a:gd name="connsiteY12" fmla="*/ 701455 h 701454"/>
              <a:gd name="connsiteX13" fmla="*/ 560484 w 560544"/>
              <a:gd name="connsiteY13" fmla="*/ 685262 h 701454"/>
              <a:gd name="connsiteX14" fmla="*/ 560484 w 560544"/>
              <a:gd name="connsiteY14" fmla="*/ 464282 h 701454"/>
              <a:gd name="connsiteX15" fmla="*/ 532862 w 560544"/>
              <a:gd name="connsiteY15" fmla="*/ 395702 h 701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60544" h="701454">
                <a:moveTo>
                  <a:pt x="532862" y="395702"/>
                </a:moveTo>
                <a:lnTo>
                  <a:pt x="291880" y="154720"/>
                </a:lnTo>
                <a:lnTo>
                  <a:pt x="349982" y="96617"/>
                </a:lnTo>
                <a:cubicBezTo>
                  <a:pt x="360459" y="86139"/>
                  <a:pt x="355697" y="67089"/>
                  <a:pt x="340457" y="64232"/>
                </a:cubicBezTo>
                <a:lnTo>
                  <a:pt x="23275" y="414"/>
                </a:lnTo>
                <a:cubicBezTo>
                  <a:pt x="9939" y="-2443"/>
                  <a:pt x="-2443" y="9939"/>
                  <a:pt x="414" y="23274"/>
                </a:cubicBezTo>
                <a:lnTo>
                  <a:pt x="64232" y="340457"/>
                </a:lnTo>
                <a:cubicBezTo>
                  <a:pt x="67089" y="355697"/>
                  <a:pt x="86139" y="361412"/>
                  <a:pt x="96617" y="349982"/>
                </a:cubicBezTo>
                <a:lnTo>
                  <a:pt x="154720" y="291880"/>
                </a:lnTo>
                <a:lnTo>
                  <a:pt x="367127" y="504287"/>
                </a:lnTo>
                <a:lnTo>
                  <a:pt x="367127" y="685262"/>
                </a:lnTo>
                <a:cubicBezTo>
                  <a:pt x="367127" y="693834"/>
                  <a:pt x="374747" y="701455"/>
                  <a:pt x="383320" y="701455"/>
                </a:cubicBezTo>
                <a:lnTo>
                  <a:pt x="544292" y="701455"/>
                </a:lnTo>
                <a:cubicBezTo>
                  <a:pt x="552864" y="701455"/>
                  <a:pt x="560484" y="693834"/>
                  <a:pt x="560484" y="685262"/>
                </a:cubicBezTo>
                <a:lnTo>
                  <a:pt x="560484" y="464282"/>
                </a:lnTo>
                <a:cubicBezTo>
                  <a:pt x="561437" y="438564"/>
                  <a:pt x="550959" y="413799"/>
                  <a:pt x="532862" y="395702"/>
                </a:cubicBezTo>
                <a:close/>
              </a:path>
            </a:pathLst>
          </a:custGeom>
          <a:solidFill>
            <a:srgbClr val="26314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47819015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Agrupar 2">
            <a:extLst>
              <a:ext uri="{FF2B5EF4-FFF2-40B4-BE49-F238E27FC236}">
                <a16:creationId xmlns:a16="http://schemas.microsoft.com/office/drawing/2014/main" id="{F9947EEA-AD2A-4C71-9B0D-21DC5492BBD7}"/>
              </a:ext>
            </a:extLst>
          </p:cNvPr>
          <p:cNvGrpSpPr/>
          <p:nvPr/>
        </p:nvGrpSpPr>
        <p:grpSpPr>
          <a:xfrm>
            <a:off x="1400458" y="600891"/>
            <a:ext cx="9391083" cy="5434330"/>
            <a:chOff x="1400458" y="600891"/>
            <a:chExt cx="9391083" cy="5434330"/>
          </a:xfrm>
        </p:grpSpPr>
        <p:grpSp>
          <p:nvGrpSpPr>
            <p:cNvPr id="5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2414302" y="5633971"/>
              <a:ext cx="382259" cy="382259"/>
              <a:chOff x="1449259" y="6352347"/>
              <a:chExt cx="482456" cy="482457"/>
            </a:xfrm>
            <a:solidFill>
              <a:srgbClr val="B1B1A1"/>
            </a:solidFill>
          </p:grpSpPr>
          <p:sp>
            <p:nvSpPr>
              <p:cNvPr id="6" name="Forma Livre: Forma 5">
                <a:extLst>
                  <a:ext uri="{FF2B5EF4-FFF2-40B4-BE49-F238E27FC236}">
                    <a16:creationId xmlns:a16="http://schemas.microsoft.com/office/drawing/2014/main" id="{AD9D8A48-29A7-4495-8014-C300C5653EA0}"/>
                  </a:ext>
                </a:extLst>
              </p:cNvPr>
              <p:cNvSpPr/>
              <p:nvPr/>
            </p:nvSpPr>
            <p:spPr>
              <a:xfrm>
                <a:off x="1449259" y="6352347"/>
                <a:ext cx="482456" cy="482457"/>
              </a:xfrm>
              <a:custGeom>
                <a:avLst/>
                <a:gdLst>
                  <a:gd name="connsiteX0" fmla="*/ 461581 w 482456"/>
                  <a:gd name="connsiteY0" fmla="*/ 482457 h 482457"/>
                  <a:gd name="connsiteX1" fmla="*/ 20876 w 482456"/>
                  <a:gd name="connsiteY1" fmla="*/ 482457 h 482457"/>
                  <a:gd name="connsiteX2" fmla="*/ 0 w 482456"/>
                  <a:gd name="connsiteY2" fmla="*/ 461581 h 482457"/>
                  <a:gd name="connsiteX3" fmla="*/ 0 w 482456"/>
                  <a:gd name="connsiteY3" fmla="*/ 20876 h 482457"/>
                  <a:gd name="connsiteX4" fmla="*/ 20876 w 482456"/>
                  <a:gd name="connsiteY4" fmla="*/ 0 h 482457"/>
                  <a:gd name="connsiteX5" fmla="*/ 461581 w 482456"/>
                  <a:gd name="connsiteY5" fmla="*/ 0 h 482457"/>
                  <a:gd name="connsiteX6" fmla="*/ 482457 w 482456"/>
                  <a:gd name="connsiteY6" fmla="*/ 20876 h 482457"/>
                  <a:gd name="connsiteX7" fmla="*/ 482457 w 482456"/>
                  <a:gd name="connsiteY7" fmla="*/ 461581 h 482457"/>
                  <a:gd name="connsiteX8" fmla="*/ 461581 w 482456"/>
                  <a:gd name="connsiteY8" fmla="*/ 482457 h 482457"/>
                  <a:gd name="connsiteX9" fmla="*/ 461581 w 482456"/>
                  <a:gd name="connsiteY9" fmla="*/ 482457 h 482457"/>
                  <a:gd name="connsiteX10" fmla="*/ 41751 w 482456"/>
                  <a:gd name="connsiteY10" fmla="*/ 441479 h 482457"/>
                  <a:gd name="connsiteX11" fmla="*/ 441479 w 482456"/>
                  <a:gd name="connsiteY11" fmla="*/ 441479 h 482457"/>
                  <a:gd name="connsiteX12" fmla="*/ 441479 w 482456"/>
                  <a:gd name="connsiteY12" fmla="*/ 41751 h 482457"/>
                  <a:gd name="connsiteX13" fmla="*/ 41751 w 482456"/>
                  <a:gd name="connsiteY13" fmla="*/ 41751 h 482457"/>
                  <a:gd name="connsiteX14" fmla="*/ 41751 w 482456"/>
                  <a:gd name="connsiteY14" fmla="*/ 441479 h 482457"/>
                  <a:gd name="connsiteX15" fmla="*/ 41751 w 482456"/>
                  <a:gd name="connsiteY15" fmla="*/ 441479 h 482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82456" h="482457">
                    <a:moveTo>
                      <a:pt x="461581" y="482457"/>
                    </a:moveTo>
                    <a:lnTo>
                      <a:pt x="20876" y="482457"/>
                    </a:lnTo>
                    <a:cubicBezTo>
                      <a:pt x="9278" y="482457"/>
                      <a:pt x="0" y="473179"/>
                      <a:pt x="0" y="461581"/>
                    </a:cubicBezTo>
                    <a:lnTo>
                      <a:pt x="0" y="20876"/>
                    </a:lnTo>
                    <a:cubicBezTo>
                      <a:pt x="0" y="9278"/>
                      <a:pt x="9278" y="0"/>
                      <a:pt x="20876" y="0"/>
                    </a:cubicBezTo>
                    <a:lnTo>
                      <a:pt x="461581" y="0"/>
                    </a:lnTo>
                    <a:cubicBezTo>
                      <a:pt x="473179" y="0"/>
                      <a:pt x="482457" y="9278"/>
                      <a:pt x="482457" y="20876"/>
                    </a:cubicBezTo>
                    <a:lnTo>
                      <a:pt x="482457" y="461581"/>
                    </a:lnTo>
                    <a:cubicBezTo>
                      <a:pt x="481684" y="473179"/>
                      <a:pt x="473179" y="482457"/>
                      <a:pt x="461581" y="482457"/>
                    </a:cubicBezTo>
                    <a:lnTo>
                      <a:pt x="461581" y="482457"/>
                    </a:lnTo>
                    <a:close/>
                    <a:moveTo>
                      <a:pt x="41751" y="441479"/>
                    </a:moveTo>
                    <a:lnTo>
                      <a:pt x="441479" y="441479"/>
                    </a:lnTo>
                    <a:lnTo>
                      <a:pt x="441479" y="41751"/>
                    </a:lnTo>
                    <a:lnTo>
                      <a:pt x="41751" y="41751"/>
                    </a:lnTo>
                    <a:lnTo>
                      <a:pt x="41751" y="441479"/>
                    </a:lnTo>
                    <a:lnTo>
                      <a:pt x="41751" y="441479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7" name="Forma Livre: Forma 6">
                <a:extLst>
                  <a:ext uri="{FF2B5EF4-FFF2-40B4-BE49-F238E27FC236}">
                    <a16:creationId xmlns:a16="http://schemas.microsoft.com/office/drawing/2014/main" id="{5B2F7C5B-8D74-475A-A092-94223DFDB2C2}"/>
                  </a:ext>
                </a:extLst>
              </p:cNvPr>
              <p:cNvSpPr/>
              <p:nvPr/>
            </p:nvSpPr>
            <p:spPr>
              <a:xfrm>
                <a:off x="1525030" y="6428118"/>
                <a:ext cx="330915" cy="330915"/>
              </a:xfrm>
              <a:custGeom>
                <a:avLst/>
                <a:gdLst>
                  <a:gd name="connsiteX0" fmla="*/ 320865 w 330915"/>
                  <a:gd name="connsiteY0" fmla="*/ 330916 h 330915"/>
                  <a:gd name="connsiteX1" fmla="*/ 10051 w 330915"/>
                  <a:gd name="connsiteY1" fmla="*/ 330916 h 330915"/>
                  <a:gd name="connsiteX2" fmla="*/ 0 w 330915"/>
                  <a:gd name="connsiteY2" fmla="*/ 320865 h 330915"/>
                  <a:gd name="connsiteX3" fmla="*/ 0 w 330915"/>
                  <a:gd name="connsiteY3" fmla="*/ 10051 h 330915"/>
                  <a:gd name="connsiteX4" fmla="*/ 10051 w 330915"/>
                  <a:gd name="connsiteY4" fmla="*/ 0 h 330915"/>
                  <a:gd name="connsiteX5" fmla="*/ 320865 w 330915"/>
                  <a:gd name="connsiteY5" fmla="*/ 0 h 330915"/>
                  <a:gd name="connsiteX6" fmla="*/ 330916 w 330915"/>
                  <a:gd name="connsiteY6" fmla="*/ 10051 h 330915"/>
                  <a:gd name="connsiteX7" fmla="*/ 330916 w 330915"/>
                  <a:gd name="connsiteY7" fmla="*/ 320865 h 330915"/>
                  <a:gd name="connsiteX8" fmla="*/ 320865 w 330915"/>
                  <a:gd name="connsiteY8" fmla="*/ 330916 h 330915"/>
                  <a:gd name="connsiteX9" fmla="*/ 320865 w 330915"/>
                  <a:gd name="connsiteY9" fmla="*/ 330916 h 330915"/>
                  <a:gd name="connsiteX10" fmla="*/ 20102 w 330915"/>
                  <a:gd name="connsiteY10" fmla="*/ 310813 h 330915"/>
                  <a:gd name="connsiteX11" fmla="*/ 310040 w 330915"/>
                  <a:gd name="connsiteY11" fmla="*/ 310813 h 330915"/>
                  <a:gd name="connsiteX12" fmla="*/ 310040 w 330915"/>
                  <a:gd name="connsiteY12" fmla="*/ 20875 h 330915"/>
                  <a:gd name="connsiteX13" fmla="*/ 20102 w 330915"/>
                  <a:gd name="connsiteY13" fmla="*/ 20875 h 330915"/>
                  <a:gd name="connsiteX14" fmla="*/ 20102 w 330915"/>
                  <a:gd name="connsiteY14" fmla="*/ 310813 h 330915"/>
                  <a:gd name="connsiteX15" fmla="*/ 20102 w 330915"/>
                  <a:gd name="connsiteY15" fmla="*/ 310813 h 330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30915" h="330915">
                    <a:moveTo>
                      <a:pt x="320865" y="330916"/>
                    </a:moveTo>
                    <a:lnTo>
                      <a:pt x="10051" y="330916"/>
                    </a:lnTo>
                    <a:cubicBezTo>
                      <a:pt x="4639" y="330916"/>
                      <a:pt x="0" y="326277"/>
                      <a:pt x="0" y="320865"/>
                    </a:cubicBezTo>
                    <a:lnTo>
                      <a:pt x="0" y="10051"/>
                    </a:lnTo>
                    <a:cubicBezTo>
                      <a:pt x="0" y="4639"/>
                      <a:pt x="4639" y="0"/>
                      <a:pt x="10051" y="0"/>
                    </a:cubicBezTo>
                    <a:lnTo>
                      <a:pt x="320865" y="0"/>
                    </a:lnTo>
                    <a:cubicBezTo>
                      <a:pt x="326277" y="0"/>
                      <a:pt x="330916" y="4639"/>
                      <a:pt x="330916" y="10051"/>
                    </a:cubicBezTo>
                    <a:lnTo>
                      <a:pt x="330916" y="320865"/>
                    </a:lnTo>
                    <a:cubicBezTo>
                      <a:pt x="330916" y="326277"/>
                      <a:pt x="326277" y="330916"/>
                      <a:pt x="320865" y="330916"/>
                    </a:cubicBezTo>
                    <a:lnTo>
                      <a:pt x="320865" y="330916"/>
                    </a:lnTo>
                    <a:close/>
                    <a:moveTo>
                      <a:pt x="20102" y="310813"/>
                    </a:moveTo>
                    <a:lnTo>
                      <a:pt x="310040" y="310813"/>
                    </a:lnTo>
                    <a:lnTo>
                      <a:pt x="310040" y="20875"/>
                    </a:lnTo>
                    <a:lnTo>
                      <a:pt x="20102" y="20875"/>
                    </a:lnTo>
                    <a:lnTo>
                      <a:pt x="20102" y="310813"/>
                    </a:lnTo>
                    <a:lnTo>
                      <a:pt x="20102" y="310813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grpSp>
            <p:nvGrpSpPr>
              <p:cNvPr id="8" name="Gráfico 2">
                <a:extLst>
                  <a:ext uri="{FF2B5EF4-FFF2-40B4-BE49-F238E27FC236}">
                    <a16:creationId xmlns:a16="http://schemas.microsoft.com/office/drawing/2014/main" id="{6FEF66BF-8D1E-4FFA-95A2-6EE56886837B}"/>
                  </a:ext>
                </a:extLst>
              </p:cNvPr>
              <p:cNvGrpSpPr/>
              <p:nvPr/>
            </p:nvGrpSpPr>
            <p:grpSpPr>
              <a:xfrm>
                <a:off x="1514206" y="6487652"/>
                <a:ext cx="41751" cy="211075"/>
                <a:chOff x="1514206" y="6487652"/>
                <a:chExt cx="41751" cy="211075"/>
              </a:xfrm>
              <a:grpFill/>
            </p:grpSpPr>
            <p:sp>
              <p:nvSpPr>
                <p:cNvPr id="9" name="Forma Livre: Forma 8">
                  <a:extLst>
                    <a:ext uri="{FF2B5EF4-FFF2-40B4-BE49-F238E27FC236}">
                      <a16:creationId xmlns:a16="http://schemas.microsoft.com/office/drawing/2014/main" id="{3A5BAB97-4C3B-4BB3-BD6F-693770B2AA46}"/>
                    </a:ext>
                  </a:extLst>
                </p:cNvPr>
                <p:cNvSpPr/>
                <p:nvPr/>
              </p:nvSpPr>
              <p:spPr>
                <a:xfrm>
                  <a:off x="1514206" y="6487652"/>
                  <a:ext cx="41751" cy="67265"/>
                </a:xfrm>
                <a:custGeom>
                  <a:avLst/>
                  <a:gdLst>
                    <a:gd name="connsiteX0" fmla="*/ 20876 w 41751"/>
                    <a:gd name="connsiteY0" fmla="*/ 67266 h 67265"/>
                    <a:gd name="connsiteX1" fmla="*/ 0 w 41751"/>
                    <a:gd name="connsiteY1" fmla="*/ 46390 h 67265"/>
                    <a:gd name="connsiteX2" fmla="*/ 0 w 41751"/>
                    <a:gd name="connsiteY2" fmla="*/ 20876 h 67265"/>
                    <a:gd name="connsiteX3" fmla="*/ 20876 w 41751"/>
                    <a:gd name="connsiteY3" fmla="*/ 0 h 67265"/>
                    <a:gd name="connsiteX4" fmla="*/ 41751 w 41751"/>
                    <a:gd name="connsiteY4" fmla="*/ 20876 h 67265"/>
                    <a:gd name="connsiteX5" fmla="*/ 41751 w 41751"/>
                    <a:gd name="connsiteY5" fmla="*/ 46390 h 67265"/>
                    <a:gd name="connsiteX6" fmla="*/ 20876 w 41751"/>
                    <a:gd name="connsiteY6" fmla="*/ 67266 h 67265"/>
                    <a:gd name="connsiteX7" fmla="*/ 20876 w 41751"/>
                    <a:gd name="connsiteY7" fmla="*/ 67266 h 672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51" h="67265">
                      <a:moveTo>
                        <a:pt x="20876" y="67266"/>
                      </a:moveTo>
                      <a:cubicBezTo>
                        <a:pt x="9278" y="67266"/>
                        <a:pt x="0" y="57988"/>
                        <a:pt x="0" y="46390"/>
                      </a:cubicBezTo>
                      <a:lnTo>
                        <a:pt x="0" y="20876"/>
                      </a:lnTo>
                      <a:cubicBezTo>
                        <a:pt x="0" y="9278"/>
                        <a:pt x="9278" y="0"/>
                        <a:pt x="20876" y="0"/>
                      </a:cubicBezTo>
                      <a:cubicBezTo>
                        <a:pt x="32473" y="0"/>
                        <a:pt x="41751" y="9278"/>
                        <a:pt x="41751" y="20876"/>
                      </a:cubicBezTo>
                      <a:lnTo>
                        <a:pt x="41751" y="46390"/>
                      </a:lnTo>
                      <a:cubicBezTo>
                        <a:pt x="41751" y="57988"/>
                        <a:pt x="32473" y="67266"/>
                        <a:pt x="20876" y="67266"/>
                      </a:cubicBezTo>
                      <a:lnTo>
                        <a:pt x="20876" y="67266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10" name="Forma Livre: Forma 9">
                  <a:extLst>
                    <a:ext uri="{FF2B5EF4-FFF2-40B4-BE49-F238E27FC236}">
                      <a16:creationId xmlns:a16="http://schemas.microsoft.com/office/drawing/2014/main" id="{3DEF0306-5D4F-406E-9A22-272BD26A20C0}"/>
                    </a:ext>
                  </a:extLst>
                </p:cNvPr>
                <p:cNvSpPr/>
                <p:nvPr/>
              </p:nvSpPr>
              <p:spPr>
                <a:xfrm>
                  <a:off x="1514206" y="6631461"/>
                  <a:ext cx="41751" cy="67265"/>
                </a:xfrm>
                <a:custGeom>
                  <a:avLst/>
                  <a:gdLst>
                    <a:gd name="connsiteX0" fmla="*/ 20876 w 41751"/>
                    <a:gd name="connsiteY0" fmla="*/ 67266 h 67265"/>
                    <a:gd name="connsiteX1" fmla="*/ 0 w 41751"/>
                    <a:gd name="connsiteY1" fmla="*/ 46390 h 67265"/>
                    <a:gd name="connsiteX2" fmla="*/ 0 w 41751"/>
                    <a:gd name="connsiteY2" fmla="*/ 20876 h 67265"/>
                    <a:gd name="connsiteX3" fmla="*/ 20876 w 41751"/>
                    <a:gd name="connsiteY3" fmla="*/ 0 h 67265"/>
                    <a:gd name="connsiteX4" fmla="*/ 41751 w 41751"/>
                    <a:gd name="connsiteY4" fmla="*/ 20876 h 67265"/>
                    <a:gd name="connsiteX5" fmla="*/ 41751 w 41751"/>
                    <a:gd name="connsiteY5" fmla="*/ 46390 h 67265"/>
                    <a:gd name="connsiteX6" fmla="*/ 20876 w 41751"/>
                    <a:gd name="connsiteY6" fmla="*/ 67266 h 67265"/>
                    <a:gd name="connsiteX7" fmla="*/ 20876 w 41751"/>
                    <a:gd name="connsiteY7" fmla="*/ 67266 h 672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51" h="67265">
                      <a:moveTo>
                        <a:pt x="20876" y="67266"/>
                      </a:moveTo>
                      <a:cubicBezTo>
                        <a:pt x="9278" y="67266"/>
                        <a:pt x="0" y="57988"/>
                        <a:pt x="0" y="46390"/>
                      </a:cubicBezTo>
                      <a:lnTo>
                        <a:pt x="0" y="20876"/>
                      </a:lnTo>
                      <a:cubicBezTo>
                        <a:pt x="0" y="9278"/>
                        <a:pt x="9278" y="0"/>
                        <a:pt x="20876" y="0"/>
                      </a:cubicBezTo>
                      <a:cubicBezTo>
                        <a:pt x="32473" y="0"/>
                        <a:pt x="41751" y="9278"/>
                        <a:pt x="41751" y="20876"/>
                      </a:cubicBezTo>
                      <a:lnTo>
                        <a:pt x="41751" y="46390"/>
                      </a:lnTo>
                      <a:cubicBezTo>
                        <a:pt x="41751" y="58761"/>
                        <a:pt x="32473" y="67266"/>
                        <a:pt x="20876" y="67266"/>
                      </a:cubicBezTo>
                      <a:lnTo>
                        <a:pt x="20876" y="67266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</p:grpSp>
        <p:grpSp>
          <p:nvGrpSpPr>
            <p:cNvPr id="11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6403522" y="607629"/>
              <a:ext cx="371539" cy="377971"/>
              <a:chOff x="6484129" y="8504"/>
              <a:chExt cx="468926" cy="477044"/>
            </a:xfrm>
            <a:solidFill>
              <a:srgbClr val="B1B1A1"/>
            </a:solidFill>
          </p:grpSpPr>
          <p:sp>
            <p:nvSpPr>
              <p:cNvPr id="12" name="Forma Livre: Forma 11">
                <a:extLst>
                  <a:ext uri="{FF2B5EF4-FFF2-40B4-BE49-F238E27FC236}">
                    <a16:creationId xmlns:a16="http://schemas.microsoft.com/office/drawing/2014/main" id="{3EECD312-F7CB-43C3-9F37-8695742ABFE5}"/>
                  </a:ext>
                </a:extLst>
              </p:cNvPr>
              <p:cNvSpPr/>
              <p:nvPr/>
            </p:nvSpPr>
            <p:spPr>
              <a:xfrm>
                <a:off x="6484129" y="8504"/>
                <a:ext cx="408237" cy="409005"/>
              </a:xfrm>
              <a:custGeom>
                <a:avLst/>
                <a:gdLst>
                  <a:gd name="connsiteX0" fmla="*/ 204116 w 408237"/>
                  <a:gd name="connsiteY0" fmla="*/ 409006 h 409005"/>
                  <a:gd name="connsiteX1" fmla="*/ 0 w 408237"/>
                  <a:gd name="connsiteY1" fmla="*/ 204890 h 409005"/>
                  <a:gd name="connsiteX2" fmla="*/ 204116 w 408237"/>
                  <a:gd name="connsiteY2" fmla="*/ 0 h 409005"/>
                  <a:gd name="connsiteX3" fmla="*/ 408233 w 408237"/>
                  <a:gd name="connsiteY3" fmla="*/ 204116 h 409005"/>
                  <a:gd name="connsiteX4" fmla="*/ 204116 w 408237"/>
                  <a:gd name="connsiteY4" fmla="*/ 409006 h 409005"/>
                  <a:gd name="connsiteX5" fmla="*/ 204116 w 408237"/>
                  <a:gd name="connsiteY5" fmla="*/ 409006 h 409005"/>
                  <a:gd name="connsiteX6" fmla="*/ 204116 w 408237"/>
                  <a:gd name="connsiteY6" fmla="*/ 40978 h 409005"/>
                  <a:gd name="connsiteX7" fmla="*/ 40978 w 408237"/>
                  <a:gd name="connsiteY7" fmla="*/ 204116 h 409005"/>
                  <a:gd name="connsiteX8" fmla="*/ 204116 w 408237"/>
                  <a:gd name="connsiteY8" fmla="*/ 367255 h 409005"/>
                  <a:gd name="connsiteX9" fmla="*/ 367255 w 408237"/>
                  <a:gd name="connsiteY9" fmla="*/ 204116 h 409005"/>
                  <a:gd name="connsiteX10" fmla="*/ 204116 w 408237"/>
                  <a:gd name="connsiteY10" fmla="*/ 40978 h 409005"/>
                  <a:gd name="connsiteX11" fmla="*/ 204116 w 408237"/>
                  <a:gd name="connsiteY11" fmla="*/ 40978 h 409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08237" h="409005">
                    <a:moveTo>
                      <a:pt x="204116" y="409006"/>
                    </a:moveTo>
                    <a:cubicBezTo>
                      <a:pt x="91234" y="409006"/>
                      <a:pt x="0" y="316999"/>
                      <a:pt x="0" y="204890"/>
                    </a:cubicBezTo>
                    <a:cubicBezTo>
                      <a:pt x="0" y="92007"/>
                      <a:pt x="92007" y="0"/>
                      <a:pt x="204116" y="0"/>
                    </a:cubicBezTo>
                    <a:cubicBezTo>
                      <a:pt x="316999" y="0"/>
                      <a:pt x="408233" y="92007"/>
                      <a:pt x="408233" y="204116"/>
                    </a:cubicBezTo>
                    <a:cubicBezTo>
                      <a:pt x="409006" y="317772"/>
                      <a:pt x="316999" y="409006"/>
                      <a:pt x="204116" y="409006"/>
                    </a:cubicBezTo>
                    <a:lnTo>
                      <a:pt x="204116" y="409006"/>
                    </a:lnTo>
                    <a:close/>
                    <a:moveTo>
                      <a:pt x="204116" y="40978"/>
                    </a:moveTo>
                    <a:cubicBezTo>
                      <a:pt x="113656" y="40978"/>
                      <a:pt x="40978" y="114429"/>
                      <a:pt x="40978" y="204116"/>
                    </a:cubicBezTo>
                    <a:cubicBezTo>
                      <a:pt x="40978" y="293804"/>
                      <a:pt x="114429" y="367255"/>
                      <a:pt x="204116" y="367255"/>
                    </a:cubicBezTo>
                    <a:cubicBezTo>
                      <a:pt x="294577" y="367255"/>
                      <a:pt x="367255" y="293804"/>
                      <a:pt x="367255" y="204116"/>
                    </a:cubicBezTo>
                    <a:cubicBezTo>
                      <a:pt x="368028" y="114429"/>
                      <a:pt x="294577" y="40978"/>
                      <a:pt x="204116" y="40978"/>
                    </a:cubicBezTo>
                    <a:lnTo>
                      <a:pt x="204116" y="40978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3" name="Forma Livre: Forma 12">
                <a:extLst>
                  <a:ext uri="{FF2B5EF4-FFF2-40B4-BE49-F238E27FC236}">
                    <a16:creationId xmlns:a16="http://schemas.microsoft.com/office/drawing/2014/main" id="{C8A58DCC-8B37-4950-AB0D-FED659EE3296}"/>
                  </a:ext>
                </a:extLst>
              </p:cNvPr>
              <p:cNvSpPr/>
              <p:nvPr/>
            </p:nvSpPr>
            <p:spPr>
              <a:xfrm>
                <a:off x="6552168" y="78089"/>
                <a:ext cx="135304" cy="135304"/>
              </a:xfrm>
              <a:custGeom>
                <a:avLst/>
                <a:gdLst>
                  <a:gd name="connsiteX0" fmla="*/ 20876 w 135304"/>
                  <a:gd name="connsiteY0" fmla="*/ 135304 h 135304"/>
                  <a:gd name="connsiteX1" fmla="*/ 0 w 135304"/>
                  <a:gd name="connsiteY1" fmla="*/ 135304 h 135304"/>
                  <a:gd name="connsiteX2" fmla="*/ 135304 w 135304"/>
                  <a:gd name="connsiteY2" fmla="*/ 0 h 135304"/>
                  <a:gd name="connsiteX3" fmla="*/ 135304 w 135304"/>
                  <a:gd name="connsiteY3" fmla="*/ 20876 h 135304"/>
                  <a:gd name="connsiteX4" fmla="*/ 20876 w 135304"/>
                  <a:gd name="connsiteY4" fmla="*/ 135304 h 135304"/>
                  <a:gd name="connsiteX5" fmla="*/ 20876 w 135304"/>
                  <a:gd name="connsiteY5" fmla="*/ 135304 h 135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5304" h="135304">
                    <a:moveTo>
                      <a:pt x="20876" y="135304"/>
                    </a:moveTo>
                    <a:lnTo>
                      <a:pt x="0" y="135304"/>
                    </a:lnTo>
                    <a:cubicBezTo>
                      <a:pt x="0" y="60307"/>
                      <a:pt x="61080" y="0"/>
                      <a:pt x="135304" y="0"/>
                    </a:cubicBezTo>
                    <a:lnTo>
                      <a:pt x="135304" y="20876"/>
                    </a:lnTo>
                    <a:cubicBezTo>
                      <a:pt x="72678" y="20102"/>
                      <a:pt x="20876" y="71905"/>
                      <a:pt x="20876" y="135304"/>
                    </a:cubicBezTo>
                    <a:lnTo>
                      <a:pt x="20876" y="135304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4" name="Forma Livre: Forma 13">
                <a:extLst>
                  <a:ext uri="{FF2B5EF4-FFF2-40B4-BE49-F238E27FC236}">
                    <a16:creationId xmlns:a16="http://schemas.microsoft.com/office/drawing/2014/main" id="{A5E5199A-185E-4EB9-9C74-481D79998463}"/>
                  </a:ext>
                </a:extLst>
              </p:cNvPr>
              <p:cNvSpPr/>
              <p:nvPr/>
            </p:nvSpPr>
            <p:spPr>
              <a:xfrm>
                <a:off x="6797649" y="329756"/>
                <a:ext cx="155406" cy="155793"/>
              </a:xfrm>
              <a:custGeom>
                <a:avLst/>
                <a:gdLst>
                  <a:gd name="connsiteX0" fmla="*/ 134144 w 155406"/>
                  <a:gd name="connsiteY0" fmla="*/ 155793 h 155793"/>
                  <a:gd name="connsiteX1" fmla="*/ 119455 w 155406"/>
                  <a:gd name="connsiteY1" fmla="*/ 149608 h 155793"/>
                  <a:gd name="connsiteX2" fmla="*/ 5799 w 155406"/>
                  <a:gd name="connsiteY2" fmla="*/ 35179 h 155793"/>
                  <a:gd name="connsiteX3" fmla="*/ 5799 w 155406"/>
                  <a:gd name="connsiteY3" fmla="*/ 5799 h 155793"/>
                  <a:gd name="connsiteX4" fmla="*/ 35179 w 155406"/>
                  <a:gd name="connsiteY4" fmla="*/ 5799 h 155793"/>
                  <a:gd name="connsiteX5" fmla="*/ 149608 w 155406"/>
                  <a:gd name="connsiteY5" fmla="*/ 120228 h 155793"/>
                  <a:gd name="connsiteX6" fmla="*/ 149608 w 155406"/>
                  <a:gd name="connsiteY6" fmla="*/ 149608 h 155793"/>
                  <a:gd name="connsiteX7" fmla="*/ 134144 w 155406"/>
                  <a:gd name="connsiteY7" fmla="*/ 155793 h 155793"/>
                  <a:gd name="connsiteX8" fmla="*/ 134144 w 155406"/>
                  <a:gd name="connsiteY8" fmla="*/ 155793 h 1557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5406" h="155793">
                    <a:moveTo>
                      <a:pt x="134144" y="155793"/>
                    </a:moveTo>
                    <a:cubicBezTo>
                      <a:pt x="128733" y="155793"/>
                      <a:pt x="123320" y="153474"/>
                      <a:pt x="119455" y="149608"/>
                    </a:cubicBezTo>
                    <a:lnTo>
                      <a:pt x="5799" y="35179"/>
                    </a:lnTo>
                    <a:cubicBezTo>
                      <a:pt x="-1933" y="27447"/>
                      <a:pt x="-1933" y="14304"/>
                      <a:pt x="5799" y="5799"/>
                    </a:cubicBezTo>
                    <a:cubicBezTo>
                      <a:pt x="13530" y="-1933"/>
                      <a:pt x="26674" y="-1933"/>
                      <a:pt x="35179" y="5799"/>
                    </a:cubicBezTo>
                    <a:lnTo>
                      <a:pt x="149608" y="120228"/>
                    </a:lnTo>
                    <a:cubicBezTo>
                      <a:pt x="157340" y="127959"/>
                      <a:pt x="157340" y="141103"/>
                      <a:pt x="149608" y="149608"/>
                    </a:cubicBezTo>
                    <a:cubicBezTo>
                      <a:pt x="144969" y="153474"/>
                      <a:pt x="139557" y="155793"/>
                      <a:pt x="134144" y="155793"/>
                    </a:cubicBezTo>
                    <a:lnTo>
                      <a:pt x="134144" y="155793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15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7402052" y="607629"/>
              <a:ext cx="371539" cy="377971"/>
              <a:chOff x="7744393" y="8504"/>
              <a:chExt cx="468926" cy="477044"/>
            </a:xfrm>
            <a:solidFill>
              <a:srgbClr val="B1B1A1"/>
            </a:solidFill>
          </p:grpSpPr>
          <p:sp>
            <p:nvSpPr>
              <p:cNvPr id="16" name="Forma Livre: Forma 15">
                <a:extLst>
                  <a:ext uri="{FF2B5EF4-FFF2-40B4-BE49-F238E27FC236}">
                    <a16:creationId xmlns:a16="http://schemas.microsoft.com/office/drawing/2014/main" id="{AB0B4BDA-671A-4971-92FB-3749B32D9EFD}"/>
                  </a:ext>
                </a:extLst>
              </p:cNvPr>
              <p:cNvSpPr/>
              <p:nvPr/>
            </p:nvSpPr>
            <p:spPr>
              <a:xfrm>
                <a:off x="7744393" y="8504"/>
                <a:ext cx="408237" cy="409005"/>
              </a:xfrm>
              <a:custGeom>
                <a:avLst/>
                <a:gdLst>
                  <a:gd name="connsiteX0" fmla="*/ 204116 w 408237"/>
                  <a:gd name="connsiteY0" fmla="*/ 409006 h 409005"/>
                  <a:gd name="connsiteX1" fmla="*/ 0 w 408237"/>
                  <a:gd name="connsiteY1" fmla="*/ 204890 h 409005"/>
                  <a:gd name="connsiteX2" fmla="*/ 204116 w 408237"/>
                  <a:gd name="connsiteY2" fmla="*/ 0 h 409005"/>
                  <a:gd name="connsiteX3" fmla="*/ 408233 w 408237"/>
                  <a:gd name="connsiteY3" fmla="*/ 204116 h 409005"/>
                  <a:gd name="connsiteX4" fmla="*/ 204116 w 408237"/>
                  <a:gd name="connsiteY4" fmla="*/ 409006 h 409005"/>
                  <a:gd name="connsiteX5" fmla="*/ 204116 w 408237"/>
                  <a:gd name="connsiteY5" fmla="*/ 409006 h 409005"/>
                  <a:gd name="connsiteX6" fmla="*/ 204116 w 408237"/>
                  <a:gd name="connsiteY6" fmla="*/ 40978 h 409005"/>
                  <a:gd name="connsiteX7" fmla="*/ 40978 w 408237"/>
                  <a:gd name="connsiteY7" fmla="*/ 204116 h 409005"/>
                  <a:gd name="connsiteX8" fmla="*/ 204116 w 408237"/>
                  <a:gd name="connsiteY8" fmla="*/ 367255 h 409005"/>
                  <a:gd name="connsiteX9" fmla="*/ 367254 w 408237"/>
                  <a:gd name="connsiteY9" fmla="*/ 204116 h 409005"/>
                  <a:gd name="connsiteX10" fmla="*/ 204116 w 408237"/>
                  <a:gd name="connsiteY10" fmla="*/ 40978 h 409005"/>
                  <a:gd name="connsiteX11" fmla="*/ 204116 w 408237"/>
                  <a:gd name="connsiteY11" fmla="*/ 40978 h 409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08237" h="409005">
                    <a:moveTo>
                      <a:pt x="204116" y="409006"/>
                    </a:moveTo>
                    <a:cubicBezTo>
                      <a:pt x="91234" y="409006"/>
                      <a:pt x="0" y="316999"/>
                      <a:pt x="0" y="204890"/>
                    </a:cubicBezTo>
                    <a:cubicBezTo>
                      <a:pt x="0" y="92007"/>
                      <a:pt x="92007" y="0"/>
                      <a:pt x="204116" y="0"/>
                    </a:cubicBezTo>
                    <a:cubicBezTo>
                      <a:pt x="316999" y="0"/>
                      <a:pt x="408233" y="92007"/>
                      <a:pt x="408233" y="204116"/>
                    </a:cubicBezTo>
                    <a:cubicBezTo>
                      <a:pt x="409006" y="317772"/>
                      <a:pt x="316999" y="409006"/>
                      <a:pt x="204116" y="409006"/>
                    </a:cubicBezTo>
                    <a:lnTo>
                      <a:pt x="204116" y="409006"/>
                    </a:lnTo>
                    <a:close/>
                    <a:moveTo>
                      <a:pt x="204116" y="40978"/>
                    </a:moveTo>
                    <a:cubicBezTo>
                      <a:pt x="113656" y="40978"/>
                      <a:pt x="40978" y="114429"/>
                      <a:pt x="40978" y="204116"/>
                    </a:cubicBezTo>
                    <a:cubicBezTo>
                      <a:pt x="40978" y="293804"/>
                      <a:pt x="114429" y="367255"/>
                      <a:pt x="204116" y="367255"/>
                    </a:cubicBezTo>
                    <a:cubicBezTo>
                      <a:pt x="294577" y="367255"/>
                      <a:pt x="367254" y="293804"/>
                      <a:pt x="367254" y="204116"/>
                    </a:cubicBezTo>
                    <a:cubicBezTo>
                      <a:pt x="367254" y="114429"/>
                      <a:pt x="294577" y="40978"/>
                      <a:pt x="204116" y="40978"/>
                    </a:cubicBezTo>
                    <a:lnTo>
                      <a:pt x="204116" y="40978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7" name="Forma Livre: Forma 16">
                <a:extLst>
                  <a:ext uri="{FF2B5EF4-FFF2-40B4-BE49-F238E27FC236}">
                    <a16:creationId xmlns:a16="http://schemas.microsoft.com/office/drawing/2014/main" id="{8938F4C7-5CB6-4553-A70C-E7779FCA6051}"/>
                  </a:ext>
                </a:extLst>
              </p:cNvPr>
              <p:cNvSpPr/>
              <p:nvPr/>
            </p:nvSpPr>
            <p:spPr>
              <a:xfrm>
                <a:off x="8057913" y="329756"/>
                <a:ext cx="155406" cy="155793"/>
              </a:xfrm>
              <a:custGeom>
                <a:avLst/>
                <a:gdLst>
                  <a:gd name="connsiteX0" fmla="*/ 134144 w 155406"/>
                  <a:gd name="connsiteY0" fmla="*/ 155793 h 155793"/>
                  <a:gd name="connsiteX1" fmla="*/ 119454 w 155406"/>
                  <a:gd name="connsiteY1" fmla="*/ 149608 h 155793"/>
                  <a:gd name="connsiteX2" fmla="*/ 5799 w 155406"/>
                  <a:gd name="connsiteY2" fmla="*/ 35179 h 155793"/>
                  <a:gd name="connsiteX3" fmla="*/ 5799 w 155406"/>
                  <a:gd name="connsiteY3" fmla="*/ 5799 h 155793"/>
                  <a:gd name="connsiteX4" fmla="*/ 35180 w 155406"/>
                  <a:gd name="connsiteY4" fmla="*/ 5799 h 155793"/>
                  <a:gd name="connsiteX5" fmla="*/ 149608 w 155406"/>
                  <a:gd name="connsiteY5" fmla="*/ 120228 h 155793"/>
                  <a:gd name="connsiteX6" fmla="*/ 149608 w 155406"/>
                  <a:gd name="connsiteY6" fmla="*/ 149608 h 155793"/>
                  <a:gd name="connsiteX7" fmla="*/ 134144 w 155406"/>
                  <a:gd name="connsiteY7" fmla="*/ 155793 h 155793"/>
                  <a:gd name="connsiteX8" fmla="*/ 134144 w 155406"/>
                  <a:gd name="connsiteY8" fmla="*/ 155793 h 1557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5406" h="155793">
                    <a:moveTo>
                      <a:pt x="134144" y="155793"/>
                    </a:moveTo>
                    <a:cubicBezTo>
                      <a:pt x="128733" y="155793"/>
                      <a:pt x="123320" y="153474"/>
                      <a:pt x="119454" y="149608"/>
                    </a:cubicBezTo>
                    <a:lnTo>
                      <a:pt x="5799" y="35179"/>
                    </a:lnTo>
                    <a:cubicBezTo>
                      <a:pt x="-1933" y="27447"/>
                      <a:pt x="-1933" y="14304"/>
                      <a:pt x="5799" y="5799"/>
                    </a:cubicBezTo>
                    <a:cubicBezTo>
                      <a:pt x="13530" y="-1933"/>
                      <a:pt x="26674" y="-1933"/>
                      <a:pt x="35180" y="5799"/>
                    </a:cubicBezTo>
                    <a:lnTo>
                      <a:pt x="149608" y="120228"/>
                    </a:lnTo>
                    <a:cubicBezTo>
                      <a:pt x="157340" y="127959"/>
                      <a:pt x="157340" y="141103"/>
                      <a:pt x="149608" y="149608"/>
                    </a:cubicBezTo>
                    <a:cubicBezTo>
                      <a:pt x="144969" y="153474"/>
                      <a:pt x="139557" y="155793"/>
                      <a:pt x="134144" y="155793"/>
                    </a:cubicBezTo>
                    <a:lnTo>
                      <a:pt x="134144" y="155793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8" name="Forma Livre: Forma 17">
                <a:extLst>
                  <a:ext uri="{FF2B5EF4-FFF2-40B4-BE49-F238E27FC236}">
                    <a16:creationId xmlns:a16="http://schemas.microsoft.com/office/drawing/2014/main" id="{16357A0E-E779-4369-B1D2-7B50A4F921D4}"/>
                  </a:ext>
                </a:extLst>
              </p:cNvPr>
              <p:cNvSpPr/>
              <p:nvPr/>
            </p:nvSpPr>
            <p:spPr>
              <a:xfrm>
                <a:off x="7927634" y="109016"/>
                <a:ext cx="41750" cy="203343"/>
              </a:xfrm>
              <a:custGeom>
                <a:avLst/>
                <a:gdLst>
                  <a:gd name="connsiteX0" fmla="*/ 20875 w 41750"/>
                  <a:gd name="connsiteY0" fmla="*/ 203343 h 203343"/>
                  <a:gd name="connsiteX1" fmla="*/ 0 w 41750"/>
                  <a:gd name="connsiteY1" fmla="*/ 182468 h 203343"/>
                  <a:gd name="connsiteX2" fmla="*/ 0 w 41750"/>
                  <a:gd name="connsiteY2" fmla="*/ 20876 h 203343"/>
                  <a:gd name="connsiteX3" fmla="*/ 20875 w 41750"/>
                  <a:gd name="connsiteY3" fmla="*/ 0 h 203343"/>
                  <a:gd name="connsiteX4" fmla="*/ 41751 w 41750"/>
                  <a:gd name="connsiteY4" fmla="*/ 20876 h 203343"/>
                  <a:gd name="connsiteX5" fmla="*/ 41751 w 41750"/>
                  <a:gd name="connsiteY5" fmla="*/ 182468 h 203343"/>
                  <a:gd name="connsiteX6" fmla="*/ 20875 w 41750"/>
                  <a:gd name="connsiteY6" fmla="*/ 203343 h 203343"/>
                  <a:gd name="connsiteX7" fmla="*/ 20875 w 41750"/>
                  <a:gd name="connsiteY7" fmla="*/ 203343 h 2033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50" h="203343">
                    <a:moveTo>
                      <a:pt x="20875" y="203343"/>
                    </a:moveTo>
                    <a:cubicBezTo>
                      <a:pt x="9278" y="203343"/>
                      <a:pt x="0" y="194065"/>
                      <a:pt x="0" y="182468"/>
                    </a:cubicBezTo>
                    <a:lnTo>
                      <a:pt x="0" y="20876"/>
                    </a:lnTo>
                    <a:cubicBezTo>
                      <a:pt x="0" y="9278"/>
                      <a:pt x="9278" y="0"/>
                      <a:pt x="20875" y="0"/>
                    </a:cubicBezTo>
                    <a:cubicBezTo>
                      <a:pt x="32473" y="0"/>
                      <a:pt x="41751" y="9278"/>
                      <a:pt x="41751" y="20876"/>
                    </a:cubicBezTo>
                    <a:lnTo>
                      <a:pt x="41751" y="182468"/>
                    </a:lnTo>
                    <a:cubicBezTo>
                      <a:pt x="41751" y="194065"/>
                      <a:pt x="32473" y="203343"/>
                      <a:pt x="20875" y="203343"/>
                    </a:cubicBezTo>
                    <a:lnTo>
                      <a:pt x="20875" y="203343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9" name="Forma Livre: Forma 18">
                <a:extLst>
                  <a:ext uri="{FF2B5EF4-FFF2-40B4-BE49-F238E27FC236}">
                    <a16:creationId xmlns:a16="http://schemas.microsoft.com/office/drawing/2014/main" id="{E8142CF2-944D-43AB-9495-A429510720D9}"/>
                  </a:ext>
                </a:extLst>
              </p:cNvPr>
              <p:cNvSpPr/>
              <p:nvPr/>
            </p:nvSpPr>
            <p:spPr>
              <a:xfrm>
                <a:off x="7847224" y="189426"/>
                <a:ext cx="203343" cy="41751"/>
              </a:xfrm>
              <a:custGeom>
                <a:avLst/>
                <a:gdLst>
                  <a:gd name="connsiteX0" fmla="*/ 182467 w 203343"/>
                  <a:gd name="connsiteY0" fmla="*/ 41751 h 41751"/>
                  <a:gd name="connsiteX1" fmla="*/ 20876 w 203343"/>
                  <a:gd name="connsiteY1" fmla="*/ 41751 h 41751"/>
                  <a:gd name="connsiteX2" fmla="*/ 0 w 203343"/>
                  <a:gd name="connsiteY2" fmla="*/ 20876 h 41751"/>
                  <a:gd name="connsiteX3" fmla="*/ 20876 w 203343"/>
                  <a:gd name="connsiteY3" fmla="*/ 0 h 41751"/>
                  <a:gd name="connsiteX4" fmla="*/ 182467 w 203343"/>
                  <a:gd name="connsiteY4" fmla="*/ 0 h 41751"/>
                  <a:gd name="connsiteX5" fmla="*/ 203343 w 203343"/>
                  <a:gd name="connsiteY5" fmla="*/ 20876 h 41751"/>
                  <a:gd name="connsiteX6" fmla="*/ 182467 w 203343"/>
                  <a:gd name="connsiteY6" fmla="*/ 41751 h 41751"/>
                  <a:gd name="connsiteX7" fmla="*/ 182467 w 203343"/>
                  <a:gd name="connsiteY7" fmla="*/ 41751 h 41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3343" h="41751">
                    <a:moveTo>
                      <a:pt x="182467" y="41751"/>
                    </a:moveTo>
                    <a:lnTo>
                      <a:pt x="20876" y="41751"/>
                    </a:lnTo>
                    <a:cubicBezTo>
                      <a:pt x="9278" y="41751"/>
                      <a:pt x="0" y="32473"/>
                      <a:pt x="0" y="20876"/>
                    </a:cubicBezTo>
                    <a:cubicBezTo>
                      <a:pt x="0" y="9278"/>
                      <a:pt x="9278" y="0"/>
                      <a:pt x="20876" y="0"/>
                    </a:cubicBezTo>
                    <a:lnTo>
                      <a:pt x="182467" y="0"/>
                    </a:lnTo>
                    <a:cubicBezTo>
                      <a:pt x="194065" y="0"/>
                      <a:pt x="203343" y="9278"/>
                      <a:pt x="203343" y="20876"/>
                    </a:cubicBezTo>
                    <a:cubicBezTo>
                      <a:pt x="202570" y="32473"/>
                      <a:pt x="193292" y="41751"/>
                      <a:pt x="182467" y="41751"/>
                    </a:cubicBezTo>
                    <a:lnTo>
                      <a:pt x="182467" y="41751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20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8399970" y="607629"/>
              <a:ext cx="370926" cy="377971"/>
              <a:chOff x="9003884" y="8504"/>
              <a:chExt cx="468153" cy="477044"/>
            </a:xfrm>
            <a:solidFill>
              <a:srgbClr val="B1B1A1"/>
            </a:solidFill>
          </p:grpSpPr>
          <p:sp>
            <p:nvSpPr>
              <p:cNvPr id="21" name="Forma Livre: Forma 20">
                <a:extLst>
                  <a:ext uri="{FF2B5EF4-FFF2-40B4-BE49-F238E27FC236}">
                    <a16:creationId xmlns:a16="http://schemas.microsoft.com/office/drawing/2014/main" id="{42ACF6D7-E5CE-43E1-9673-8F5CF6D675D6}"/>
                  </a:ext>
                </a:extLst>
              </p:cNvPr>
              <p:cNvSpPr/>
              <p:nvPr/>
            </p:nvSpPr>
            <p:spPr>
              <a:xfrm>
                <a:off x="9003884" y="8504"/>
                <a:ext cx="408237" cy="409005"/>
              </a:xfrm>
              <a:custGeom>
                <a:avLst/>
                <a:gdLst>
                  <a:gd name="connsiteX0" fmla="*/ 204117 w 408237"/>
                  <a:gd name="connsiteY0" fmla="*/ 409006 h 409005"/>
                  <a:gd name="connsiteX1" fmla="*/ 0 w 408237"/>
                  <a:gd name="connsiteY1" fmla="*/ 204890 h 409005"/>
                  <a:gd name="connsiteX2" fmla="*/ 204117 w 408237"/>
                  <a:gd name="connsiteY2" fmla="*/ 0 h 409005"/>
                  <a:gd name="connsiteX3" fmla="*/ 408233 w 408237"/>
                  <a:gd name="connsiteY3" fmla="*/ 204116 h 409005"/>
                  <a:gd name="connsiteX4" fmla="*/ 204117 w 408237"/>
                  <a:gd name="connsiteY4" fmla="*/ 409006 h 409005"/>
                  <a:gd name="connsiteX5" fmla="*/ 204117 w 408237"/>
                  <a:gd name="connsiteY5" fmla="*/ 409006 h 409005"/>
                  <a:gd name="connsiteX6" fmla="*/ 204117 w 408237"/>
                  <a:gd name="connsiteY6" fmla="*/ 40978 h 409005"/>
                  <a:gd name="connsiteX7" fmla="*/ 40978 w 408237"/>
                  <a:gd name="connsiteY7" fmla="*/ 204116 h 409005"/>
                  <a:gd name="connsiteX8" fmla="*/ 204117 w 408237"/>
                  <a:gd name="connsiteY8" fmla="*/ 367255 h 409005"/>
                  <a:gd name="connsiteX9" fmla="*/ 367255 w 408237"/>
                  <a:gd name="connsiteY9" fmla="*/ 204116 h 409005"/>
                  <a:gd name="connsiteX10" fmla="*/ 204117 w 408237"/>
                  <a:gd name="connsiteY10" fmla="*/ 40978 h 409005"/>
                  <a:gd name="connsiteX11" fmla="*/ 204117 w 408237"/>
                  <a:gd name="connsiteY11" fmla="*/ 40978 h 409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08237" h="409005">
                    <a:moveTo>
                      <a:pt x="204117" y="409006"/>
                    </a:moveTo>
                    <a:cubicBezTo>
                      <a:pt x="91234" y="409006"/>
                      <a:pt x="0" y="316999"/>
                      <a:pt x="0" y="204890"/>
                    </a:cubicBezTo>
                    <a:cubicBezTo>
                      <a:pt x="0" y="92007"/>
                      <a:pt x="92007" y="0"/>
                      <a:pt x="204117" y="0"/>
                    </a:cubicBezTo>
                    <a:cubicBezTo>
                      <a:pt x="316999" y="0"/>
                      <a:pt x="408233" y="92007"/>
                      <a:pt x="408233" y="204116"/>
                    </a:cubicBezTo>
                    <a:cubicBezTo>
                      <a:pt x="409006" y="317772"/>
                      <a:pt x="316999" y="409006"/>
                      <a:pt x="204117" y="409006"/>
                    </a:cubicBezTo>
                    <a:lnTo>
                      <a:pt x="204117" y="409006"/>
                    </a:lnTo>
                    <a:close/>
                    <a:moveTo>
                      <a:pt x="204117" y="40978"/>
                    </a:moveTo>
                    <a:cubicBezTo>
                      <a:pt x="113656" y="40978"/>
                      <a:pt x="40978" y="114429"/>
                      <a:pt x="40978" y="204116"/>
                    </a:cubicBezTo>
                    <a:cubicBezTo>
                      <a:pt x="40978" y="293804"/>
                      <a:pt x="114429" y="367255"/>
                      <a:pt x="204117" y="367255"/>
                    </a:cubicBezTo>
                    <a:cubicBezTo>
                      <a:pt x="294577" y="367255"/>
                      <a:pt x="367255" y="293804"/>
                      <a:pt x="367255" y="204116"/>
                    </a:cubicBezTo>
                    <a:cubicBezTo>
                      <a:pt x="367255" y="114429"/>
                      <a:pt x="294577" y="40978"/>
                      <a:pt x="204117" y="40978"/>
                    </a:cubicBezTo>
                    <a:lnTo>
                      <a:pt x="204117" y="40978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2" name="Forma Livre: Forma 21">
                <a:extLst>
                  <a:ext uri="{FF2B5EF4-FFF2-40B4-BE49-F238E27FC236}">
                    <a16:creationId xmlns:a16="http://schemas.microsoft.com/office/drawing/2014/main" id="{D84C3F59-09C6-40B0-9E45-92C02E6A5581}"/>
                  </a:ext>
                </a:extLst>
              </p:cNvPr>
              <p:cNvSpPr/>
              <p:nvPr/>
            </p:nvSpPr>
            <p:spPr>
              <a:xfrm>
                <a:off x="9316631" y="329756"/>
                <a:ext cx="155406" cy="155793"/>
              </a:xfrm>
              <a:custGeom>
                <a:avLst/>
                <a:gdLst>
                  <a:gd name="connsiteX0" fmla="*/ 134917 w 155406"/>
                  <a:gd name="connsiteY0" fmla="*/ 155793 h 155793"/>
                  <a:gd name="connsiteX1" fmla="*/ 120227 w 155406"/>
                  <a:gd name="connsiteY1" fmla="*/ 149608 h 155793"/>
                  <a:gd name="connsiteX2" fmla="*/ 5799 w 155406"/>
                  <a:gd name="connsiteY2" fmla="*/ 35179 h 155793"/>
                  <a:gd name="connsiteX3" fmla="*/ 5799 w 155406"/>
                  <a:gd name="connsiteY3" fmla="*/ 5799 h 155793"/>
                  <a:gd name="connsiteX4" fmla="*/ 35179 w 155406"/>
                  <a:gd name="connsiteY4" fmla="*/ 5799 h 155793"/>
                  <a:gd name="connsiteX5" fmla="*/ 149608 w 155406"/>
                  <a:gd name="connsiteY5" fmla="*/ 120228 h 155793"/>
                  <a:gd name="connsiteX6" fmla="*/ 149608 w 155406"/>
                  <a:gd name="connsiteY6" fmla="*/ 149608 h 155793"/>
                  <a:gd name="connsiteX7" fmla="*/ 134917 w 155406"/>
                  <a:gd name="connsiteY7" fmla="*/ 155793 h 155793"/>
                  <a:gd name="connsiteX8" fmla="*/ 134917 w 155406"/>
                  <a:gd name="connsiteY8" fmla="*/ 155793 h 1557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5406" h="155793">
                    <a:moveTo>
                      <a:pt x="134917" y="155793"/>
                    </a:moveTo>
                    <a:cubicBezTo>
                      <a:pt x="129506" y="155793"/>
                      <a:pt x="124093" y="153474"/>
                      <a:pt x="120227" y="149608"/>
                    </a:cubicBezTo>
                    <a:lnTo>
                      <a:pt x="5799" y="35179"/>
                    </a:lnTo>
                    <a:cubicBezTo>
                      <a:pt x="-1933" y="27447"/>
                      <a:pt x="-1933" y="14304"/>
                      <a:pt x="5799" y="5799"/>
                    </a:cubicBezTo>
                    <a:cubicBezTo>
                      <a:pt x="13530" y="-1933"/>
                      <a:pt x="26674" y="-1933"/>
                      <a:pt x="35179" y="5799"/>
                    </a:cubicBezTo>
                    <a:lnTo>
                      <a:pt x="149608" y="120228"/>
                    </a:lnTo>
                    <a:cubicBezTo>
                      <a:pt x="157340" y="127959"/>
                      <a:pt x="157340" y="141103"/>
                      <a:pt x="149608" y="149608"/>
                    </a:cubicBezTo>
                    <a:cubicBezTo>
                      <a:pt x="145742" y="153474"/>
                      <a:pt x="140329" y="155793"/>
                      <a:pt x="134917" y="155793"/>
                    </a:cubicBezTo>
                    <a:lnTo>
                      <a:pt x="134917" y="155793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3" name="Forma Livre: Forma 22">
                <a:extLst>
                  <a:ext uri="{FF2B5EF4-FFF2-40B4-BE49-F238E27FC236}">
                    <a16:creationId xmlns:a16="http://schemas.microsoft.com/office/drawing/2014/main" id="{F5B74C41-40B8-46C1-A31E-874DBD5E1338}"/>
                  </a:ext>
                </a:extLst>
              </p:cNvPr>
              <p:cNvSpPr/>
              <p:nvPr/>
            </p:nvSpPr>
            <p:spPr>
              <a:xfrm>
                <a:off x="9106715" y="189426"/>
                <a:ext cx="203342" cy="41751"/>
              </a:xfrm>
              <a:custGeom>
                <a:avLst/>
                <a:gdLst>
                  <a:gd name="connsiteX0" fmla="*/ 182467 w 203342"/>
                  <a:gd name="connsiteY0" fmla="*/ 41751 h 41751"/>
                  <a:gd name="connsiteX1" fmla="*/ 20875 w 203342"/>
                  <a:gd name="connsiteY1" fmla="*/ 41751 h 41751"/>
                  <a:gd name="connsiteX2" fmla="*/ 0 w 203342"/>
                  <a:gd name="connsiteY2" fmla="*/ 20876 h 41751"/>
                  <a:gd name="connsiteX3" fmla="*/ 20875 w 203342"/>
                  <a:gd name="connsiteY3" fmla="*/ 0 h 41751"/>
                  <a:gd name="connsiteX4" fmla="*/ 182467 w 203342"/>
                  <a:gd name="connsiteY4" fmla="*/ 0 h 41751"/>
                  <a:gd name="connsiteX5" fmla="*/ 203343 w 203342"/>
                  <a:gd name="connsiteY5" fmla="*/ 20876 h 41751"/>
                  <a:gd name="connsiteX6" fmla="*/ 182467 w 203342"/>
                  <a:gd name="connsiteY6" fmla="*/ 41751 h 41751"/>
                  <a:gd name="connsiteX7" fmla="*/ 182467 w 203342"/>
                  <a:gd name="connsiteY7" fmla="*/ 41751 h 41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3342" h="41751">
                    <a:moveTo>
                      <a:pt x="182467" y="41751"/>
                    </a:moveTo>
                    <a:lnTo>
                      <a:pt x="20875" y="41751"/>
                    </a:lnTo>
                    <a:cubicBezTo>
                      <a:pt x="9278" y="41751"/>
                      <a:pt x="0" y="32473"/>
                      <a:pt x="0" y="20876"/>
                    </a:cubicBezTo>
                    <a:cubicBezTo>
                      <a:pt x="0" y="9278"/>
                      <a:pt x="9278" y="0"/>
                      <a:pt x="20875" y="0"/>
                    </a:cubicBezTo>
                    <a:lnTo>
                      <a:pt x="182467" y="0"/>
                    </a:lnTo>
                    <a:cubicBezTo>
                      <a:pt x="194065" y="0"/>
                      <a:pt x="203343" y="9278"/>
                      <a:pt x="203343" y="20876"/>
                    </a:cubicBezTo>
                    <a:cubicBezTo>
                      <a:pt x="202570" y="32473"/>
                      <a:pt x="193292" y="41751"/>
                      <a:pt x="182467" y="41751"/>
                    </a:cubicBezTo>
                    <a:lnTo>
                      <a:pt x="182467" y="41751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24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9379509" y="605179"/>
              <a:ext cx="382259" cy="382259"/>
              <a:chOff x="10240179" y="5412"/>
              <a:chExt cx="482456" cy="482456"/>
            </a:xfrm>
            <a:solidFill>
              <a:srgbClr val="B1B1A1"/>
            </a:solidFill>
          </p:grpSpPr>
          <p:sp>
            <p:nvSpPr>
              <p:cNvPr id="25" name="Forma Livre: Forma 24">
                <a:extLst>
                  <a:ext uri="{FF2B5EF4-FFF2-40B4-BE49-F238E27FC236}">
                    <a16:creationId xmlns:a16="http://schemas.microsoft.com/office/drawing/2014/main" id="{A0CEEE80-F16F-4F7B-B12F-959134A7DB83}"/>
                  </a:ext>
                </a:extLst>
              </p:cNvPr>
              <p:cNvSpPr/>
              <p:nvPr/>
            </p:nvSpPr>
            <p:spPr>
              <a:xfrm>
                <a:off x="10515041" y="280273"/>
                <a:ext cx="190972" cy="191359"/>
              </a:xfrm>
              <a:custGeom>
                <a:avLst/>
                <a:gdLst>
                  <a:gd name="connsiteX0" fmla="*/ 170483 w 190972"/>
                  <a:gd name="connsiteY0" fmla="*/ 191359 h 191359"/>
                  <a:gd name="connsiteX1" fmla="*/ 155793 w 190972"/>
                  <a:gd name="connsiteY1" fmla="*/ 185174 h 191359"/>
                  <a:gd name="connsiteX2" fmla="*/ 5799 w 190972"/>
                  <a:gd name="connsiteY2" fmla="*/ 35179 h 191359"/>
                  <a:gd name="connsiteX3" fmla="*/ 5799 w 190972"/>
                  <a:gd name="connsiteY3" fmla="*/ 5799 h 191359"/>
                  <a:gd name="connsiteX4" fmla="*/ 35179 w 190972"/>
                  <a:gd name="connsiteY4" fmla="*/ 5799 h 191359"/>
                  <a:gd name="connsiteX5" fmla="*/ 185173 w 190972"/>
                  <a:gd name="connsiteY5" fmla="*/ 155793 h 191359"/>
                  <a:gd name="connsiteX6" fmla="*/ 185173 w 190972"/>
                  <a:gd name="connsiteY6" fmla="*/ 185174 h 191359"/>
                  <a:gd name="connsiteX7" fmla="*/ 170483 w 190972"/>
                  <a:gd name="connsiteY7" fmla="*/ 191359 h 191359"/>
                  <a:gd name="connsiteX8" fmla="*/ 170483 w 190972"/>
                  <a:gd name="connsiteY8" fmla="*/ 191359 h 191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0972" h="191359">
                    <a:moveTo>
                      <a:pt x="170483" y="191359"/>
                    </a:moveTo>
                    <a:cubicBezTo>
                      <a:pt x="165071" y="191359"/>
                      <a:pt x="159658" y="189040"/>
                      <a:pt x="155793" y="185174"/>
                    </a:cubicBezTo>
                    <a:lnTo>
                      <a:pt x="5799" y="35179"/>
                    </a:lnTo>
                    <a:cubicBezTo>
                      <a:pt x="-1933" y="27447"/>
                      <a:pt x="-1933" y="14304"/>
                      <a:pt x="5799" y="5799"/>
                    </a:cubicBezTo>
                    <a:cubicBezTo>
                      <a:pt x="13530" y="-1933"/>
                      <a:pt x="26674" y="-1933"/>
                      <a:pt x="35179" y="5799"/>
                    </a:cubicBezTo>
                    <a:lnTo>
                      <a:pt x="185173" y="155793"/>
                    </a:lnTo>
                    <a:cubicBezTo>
                      <a:pt x="192905" y="163525"/>
                      <a:pt x="192905" y="176669"/>
                      <a:pt x="185173" y="185174"/>
                    </a:cubicBezTo>
                    <a:cubicBezTo>
                      <a:pt x="180535" y="189040"/>
                      <a:pt x="175896" y="191359"/>
                      <a:pt x="170483" y="191359"/>
                    </a:cubicBezTo>
                    <a:lnTo>
                      <a:pt x="170483" y="191359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6" name="Forma Livre: Forma 25">
                <a:extLst>
                  <a:ext uri="{FF2B5EF4-FFF2-40B4-BE49-F238E27FC236}">
                    <a16:creationId xmlns:a16="http://schemas.microsoft.com/office/drawing/2014/main" id="{9A2769FE-FDC8-4533-8005-85EBC3BA0E40}"/>
                  </a:ext>
                </a:extLst>
              </p:cNvPr>
              <p:cNvSpPr/>
              <p:nvPr/>
            </p:nvSpPr>
            <p:spPr>
              <a:xfrm>
                <a:off x="10240179" y="5412"/>
                <a:ext cx="482456" cy="482456"/>
              </a:xfrm>
              <a:custGeom>
                <a:avLst/>
                <a:gdLst>
                  <a:gd name="connsiteX0" fmla="*/ 207209 w 482456"/>
                  <a:gd name="connsiteY0" fmla="*/ 482457 h 482456"/>
                  <a:gd name="connsiteX1" fmla="*/ 207209 w 482456"/>
                  <a:gd name="connsiteY1" fmla="*/ 482457 h 482456"/>
                  <a:gd name="connsiteX2" fmla="*/ 188653 w 482456"/>
                  <a:gd name="connsiteY2" fmla="*/ 470086 h 482456"/>
                  <a:gd name="connsiteX3" fmla="*/ 1546 w 482456"/>
                  <a:gd name="connsiteY3" fmla="*/ 28607 h 482456"/>
                  <a:gd name="connsiteX4" fmla="*/ 6186 w 482456"/>
                  <a:gd name="connsiteY4" fmla="*/ 6185 h 482456"/>
                  <a:gd name="connsiteX5" fmla="*/ 28607 w 482456"/>
                  <a:gd name="connsiteY5" fmla="*/ 1546 h 482456"/>
                  <a:gd name="connsiteX6" fmla="*/ 470086 w 482456"/>
                  <a:gd name="connsiteY6" fmla="*/ 188653 h 482456"/>
                  <a:gd name="connsiteX7" fmla="*/ 482457 w 482456"/>
                  <a:gd name="connsiteY7" fmla="*/ 207209 h 482456"/>
                  <a:gd name="connsiteX8" fmla="*/ 470086 w 482456"/>
                  <a:gd name="connsiteY8" fmla="*/ 225765 h 482456"/>
                  <a:gd name="connsiteX9" fmla="*/ 299989 w 482456"/>
                  <a:gd name="connsiteY9" fmla="*/ 299989 h 482456"/>
                  <a:gd name="connsiteX10" fmla="*/ 225765 w 482456"/>
                  <a:gd name="connsiteY10" fmla="*/ 470086 h 482456"/>
                  <a:gd name="connsiteX11" fmla="*/ 207209 w 482456"/>
                  <a:gd name="connsiteY11" fmla="*/ 482457 h 482456"/>
                  <a:gd name="connsiteX12" fmla="*/ 207209 w 482456"/>
                  <a:gd name="connsiteY12" fmla="*/ 482457 h 482456"/>
                  <a:gd name="connsiteX13" fmla="*/ 58761 w 482456"/>
                  <a:gd name="connsiteY13" fmla="*/ 59534 h 482456"/>
                  <a:gd name="connsiteX14" fmla="*/ 207209 w 482456"/>
                  <a:gd name="connsiteY14" fmla="*/ 410552 h 482456"/>
                  <a:gd name="connsiteX15" fmla="*/ 265197 w 482456"/>
                  <a:gd name="connsiteY15" fmla="*/ 276794 h 482456"/>
                  <a:gd name="connsiteX16" fmla="*/ 276021 w 482456"/>
                  <a:gd name="connsiteY16" fmla="*/ 265970 h 482456"/>
                  <a:gd name="connsiteX17" fmla="*/ 409779 w 482456"/>
                  <a:gd name="connsiteY17" fmla="*/ 207209 h 482456"/>
                  <a:gd name="connsiteX18" fmla="*/ 58761 w 482456"/>
                  <a:gd name="connsiteY18" fmla="*/ 59534 h 482456"/>
                  <a:gd name="connsiteX19" fmla="*/ 58761 w 482456"/>
                  <a:gd name="connsiteY19" fmla="*/ 59534 h 482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482456" h="482456">
                    <a:moveTo>
                      <a:pt x="207209" y="482457"/>
                    </a:moveTo>
                    <a:cubicBezTo>
                      <a:pt x="207209" y="482457"/>
                      <a:pt x="207209" y="482457"/>
                      <a:pt x="207209" y="482457"/>
                    </a:cubicBezTo>
                    <a:cubicBezTo>
                      <a:pt x="198704" y="482457"/>
                      <a:pt x="191746" y="477818"/>
                      <a:pt x="188653" y="470086"/>
                    </a:cubicBezTo>
                    <a:lnTo>
                      <a:pt x="1546" y="28607"/>
                    </a:lnTo>
                    <a:cubicBezTo>
                      <a:pt x="-1546" y="20876"/>
                      <a:pt x="0" y="12371"/>
                      <a:pt x="6186" y="6185"/>
                    </a:cubicBezTo>
                    <a:cubicBezTo>
                      <a:pt x="12370" y="0"/>
                      <a:pt x="20875" y="-1546"/>
                      <a:pt x="28607" y="1546"/>
                    </a:cubicBezTo>
                    <a:lnTo>
                      <a:pt x="470086" y="188653"/>
                    </a:lnTo>
                    <a:cubicBezTo>
                      <a:pt x="477818" y="191746"/>
                      <a:pt x="482457" y="199477"/>
                      <a:pt x="482457" y="207209"/>
                    </a:cubicBezTo>
                    <a:cubicBezTo>
                      <a:pt x="482457" y="215714"/>
                      <a:pt x="477818" y="222672"/>
                      <a:pt x="470086" y="225765"/>
                    </a:cubicBezTo>
                    <a:lnTo>
                      <a:pt x="299989" y="299989"/>
                    </a:lnTo>
                    <a:lnTo>
                      <a:pt x="225765" y="470086"/>
                    </a:lnTo>
                    <a:cubicBezTo>
                      <a:pt x="222673" y="477818"/>
                      <a:pt x="215714" y="482457"/>
                      <a:pt x="207209" y="482457"/>
                    </a:cubicBezTo>
                    <a:lnTo>
                      <a:pt x="207209" y="482457"/>
                    </a:lnTo>
                    <a:close/>
                    <a:moveTo>
                      <a:pt x="58761" y="59534"/>
                    </a:moveTo>
                    <a:lnTo>
                      <a:pt x="207209" y="410552"/>
                    </a:lnTo>
                    <a:lnTo>
                      <a:pt x="265197" y="276794"/>
                    </a:lnTo>
                    <a:cubicBezTo>
                      <a:pt x="267516" y="272155"/>
                      <a:pt x="271382" y="268289"/>
                      <a:pt x="276021" y="265970"/>
                    </a:cubicBezTo>
                    <a:lnTo>
                      <a:pt x="409779" y="207209"/>
                    </a:lnTo>
                    <a:lnTo>
                      <a:pt x="58761" y="59534"/>
                    </a:lnTo>
                    <a:lnTo>
                      <a:pt x="58761" y="59534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27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6419755" y="3631858"/>
              <a:ext cx="337387" cy="364035"/>
              <a:chOff x="6504618" y="3825441"/>
              <a:chExt cx="425822" cy="459455"/>
            </a:xfrm>
            <a:solidFill>
              <a:srgbClr val="B1B1A1"/>
            </a:solidFill>
          </p:grpSpPr>
          <p:sp>
            <p:nvSpPr>
              <p:cNvPr id="28" name="Forma Livre: Forma 27">
                <a:extLst>
                  <a:ext uri="{FF2B5EF4-FFF2-40B4-BE49-F238E27FC236}">
                    <a16:creationId xmlns:a16="http://schemas.microsoft.com/office/drawing/2014/main" id="{F2132487-B852-463C-87F3-FD63B53678CE}"/>
                  </a:ext>
                </a:extLst>
              </p:cNvPr>
              <p:cNvSpPr/>
              <p:nvPr/>
            </p:nvSpPr>
            <p:spPr>
              <a:xfrm>
                <a:off x="6504618" y="3825441"/>
                <a:ext cx="425822" cy="348892"/>
              </a:xfrm>
              <a:custGeom>
                <a:avLst/>
                <a:gdLst>
                  <a:gd name="connsiteX0" fmla="*/ 269449 w 425822"/>
                  <a:gd name="connsiteY0" fmla="*/ 348892 h 348892"/>
                  <a:gd name="connsiteX1" fmla="*/ 254759 w 425822"/>
                  <a:gd name="connsiteY1" fmla="*/ 342707 h 348892"/>
                  <a:gd name="connsiteX2" fmla="*/ 254759 w 425822"/>
                  <a:gd name="connsiteY2" fmla="*/ 313326 h 348892"/>
                  <a:gd name="connsiteX3" fmla="*/ 356044 w 425822"/>
                  <a:gd name="connsiteY3" fmla="*/ 212041 h 348892"/>
                  <a:gd name="connsiteX4" fmla="*/ 356044 w 425822"/>
                  <a:gd name="connsiteY4" fmla="*/ 70552 h 348892"/>
                  <a:gd name="connsiteX5" fmla="*/ 214554 w 425822"/>
                  <a:gd name="connsiteY5" fmla="*/ 70552 h 348892"/>
                  <a:gd name="connsiteX6" fmla="*/ 35180 w 425822"/>
                  <a:gd name="connsiteY6" fmla="*/ 249926 h 348892"/>
                  <a:gd name="connsiteX7" fmla="*/ 5799 w 425822"/>
                  <a:gd name="connsiteY7" fmla="*/ 249926 h 348892"/>
                  <a:gd name="connsiteX8" fmla="*/ 5799 w 425822"/>
                  <a:gd name="connsiteY8" fmla="*/ 220546 h 348892"/>
                  <a:gd name="connsiteX9" fmla="*/ 185174 w 425822"/>
                  <a:gd name="connsiteY9" fmla="*/ 41171 h 348892"/>
                  <a:gd name="connsiteX10" fmla="*/ 384651 w 425822"/>
                  <a:gd name="connsiteY10" fmla="*/ 41171 h 348892"/>
                  <a:gd name="connsiteX11" fmla="*/ 384651 w 425822"/>
                  <a:gd name="connsiteY11" fmla="*/ 240649 h 348892"/>
                  <a:gd name="connsiteX12" fmla="*/ 283366 w 425822"/>
                  <a:gd name="connsiteY12" fmla="*/ 341934 h 348892"/>
                  <a:gd name="connsiteX13" fmla="*/ 269449 w 425822"/>
                  <a:gd name="connsiteY13" fmla="*/ 348892 h 348892"/>
                  <a:gd name="connsiteX14" fmla="*/ 269449 w 425822"/>
                  <a:gd name="connsiteY14" fmla="*/ 348892 h 3488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25822" h="348892">
                    <a:moveTo>
                      <a:pt x="269449" y="348892"/>
                    </a:moveTo>
                    <a:cubicBezTo>
                      <a:pt x="264037" y="348892"/>
                      <a:pt x="258625" y="346572"/>
                      <a:pt x="254759" y="342707"/>
                    </a:cubicBezTo>
                    <a:cubicBezTo>
                      <a:pt x="247027" y="334975"/>
                      <a:pt x="247027" y="321831"/>
                      <a:pt x="254759" y="313326"/>
                    </a:cubicBezTo>
                    <a:lnTo>
                      <a:pt x="356044" y="212041"/>
                    </a:lnTo>
                    <a:cubicBezTo>
                      <a:pt x="394703" y="173383"/>
                      <a:pt x="394703" y="109983"/>
                      <a:pt x="356044" y="70552"/>
                    </a:cubicBezTo>
                    <a:cubicBezTo>
                      <a:pt x="317386" y="31893"/>
                      <a:pt x="253986" y="31893"/>
                      <a:pt x="214554" y="70552"/>
                    </a:cubicBezTo>
                    <a:lnTo>
                      <a:pt x="35180" y="249926"/>
                    </a:lnTo>
                    <a:cubicBezTo>
                      <a:pt x="27448" y="257658"/>
                      <a:pt x="14304" y="257658"/>
                      <a:pt x="5799" y="249926"/>
                    </a:cubicBezTo>
                    <a:cubicBezTo>
                      <a:pt x="-1933" y="242195"/>
                      <a:pt x="-1933" y="229051"/>
                      <a:pt x="5799" y="220546"/>
                    </a:cubicBezTo>
                    <a:lnTo>
                      <a:pt x="185174" y="41171"/>
                    </a:lnTo>
                    <a:cubicBezTo>
                      <a:pt x="240069" y="-13724"/>
                      <a:pt x="329756" y="-13724"/>
                      <a:pt x="384651" y="41171"/>
                    </a:cubicBezTo>
                    <a:cubicBezTo>
                      <a:pt x="439546" y="96066"/>
                      <a:pt x="439546" y="185754"/>
                      <a:pt x="384651" y="240649"/>
                    </a:cubicBezTo>
                    <a:lnTo>
                      <a:pt x="283366" y="341934"/>
                    </a:lnTo>
                    <a:cubicBezTo>
                      <a:pt x="279500" y="346572"/>
                      <a:pt x="274862" y="348892"/>
                      <a:pt x="269449" y="348892"/>
                    </a:cubicBezTo>
                    <a:lnTo>
                      <a:pt x="269449" y="348892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9" name="Forma Livre: Forma 28">
                <a:extLst>
                  <a:ext uri="{FF2B5EF4-FFF2-40B4-BE49-F238E27FC236}">
                    <a16:creationId xmlns:a16="http://schemas.microsoft.com/office/drawing/2014/main" id="{C90159D2-A9ED-4B8F-84EB-5C8509929619}"/>
                  </a:ext>
                </a:extLst>
              </p:cNvPr>
              <p:cNvSpPr/>
              <p:nvPr/>
            </p:nvSpPr>
            <p:spPr>
              <a:xfrm>
                <a:off x="6524334" y="4020087"/>
                <a:ext cx="266355" cy="264810"/>
              </a:xfrm>
              <a:custGeom>
                <a:avLst/>
                <a:gdLst>
                  <a:gd name="connsiteX0" fmla="*/ 104378 w 266355"/>
                  <a:gd name="connsiteY0" fmla="*/ 264810 h 264810"/>
                  <a:gd name="connsiteX1" fmla="*/ 30927 w 266355"/>
                  <a:gd name="connsiteY1" fmla="*/ 234656 h 264810"/>
                  <a:gd name="connsiteX2" fmla="*/ 0 w 266355"/>
                  <a:gd name="connsiteY2" fmla="*/ 161205 h 264810"/>
                  <a:gd name="connsiteX3" fmla="*/ 30927 w 266355"/>
                  <a:gd name="connsiteY3" fmla="*/ 87754 h 264810"/>
                  <a:gd name="connsiteX4" fmla="*/ 112882 w 266355"/>
                  <a:gd name="connsiteY4" fmla="*/ 5799 h 264810"/>
                  <a:gd name="connsiteX5" fmla="*/ 142263 w 266355"/>
                  <a:gd name="connsiteY5" fmla="*/ 5799 h 264810"/>
                  <a:gd name="connsiteX6" fmla="*/ 142263 w 266355"/>
                  <a:gd name="connsiteY6" fmla="*/ 35179 h 264810"/>
                  <a:gd name="connsiteX7" fmla="*/ 59534 w 266355"/>
                  <a:gd name="connsiteY7" fmla="*/ 116362 h 264810"/>
                  <a:gd name="connsiteX8" fmla="*/ 40978 w 266355"/>
                  <a:gd name="connsiteY8" fmla="*/ 161205 h 264810"/>
                  <a:gd name="connsiteX9" fmla="*/ 59534 w 266355"/>
                  <a:gd name="connsiteY9" fmla="*/ 206049 h 264810"/>
                  <a:gd name="connsiteX10" fmla="*/ 149221 w 266355"/>
                  <a:gd name="connsiteY10" fmla="*/ 206049 h 264810"/>
                  <a:gd name="connsiteX11" fmla="*/ 231177 w 266355"/>
                  <a:gd name="connsiteY11" fmla="*/ 124093 h 264810"/>
                  <a:gd name="connsiteX12" fmla="*/ 260557 w 266355"/>
                  <a:gd name="connsiteY12" fmla="*/ 124093 h 264810"/>
                  <a:gd name="connsiteX13" fmla="*/ 260557 w 266355"/>
                  <a:gd name="connsiteY13" fmla="*/ 153474 h 264810"/>
                  <a:gd name="connsiteX14" fmla="*/ 178602 w 266355"/>
                  <a:gd name="connsiteY14" fmla="*/ 235430 h 264810"/>
                  <a:gd name="connsiteX15" fmla="*/ 104378 w 266355"/>
                  <a:gd name="connsiteY15" fmla="*/ 264810 h 264810"/>
                  <a:gd name="connsiteX16" fmla="*/ 104378 w 266355"/>
                  <a:gd name="connsiteY16" fmla="*/ 264810 h 264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66355" h="264810">
                    <a:moveTo>
                      <a:pt x="104378" y="264810"/>
                    </a:moveTo>
                    <a:cubicBezTo>
                      <a:pt x="77317" y="264810"/>
                      <a:pt x="51029" y="254759"/>
                      <a:pt x="30927" y="234656"/>
                    </a:cubicBezTo>
                    <a:cubicBezTo>
                      <a:pt x="11598" y="215327"/>
                      <a:pt x="0" y="189040"/>
                      <a:pt x="0" y="161205"/>
                    </a:cubicBezTo>
                    <a:cubicBezTo>
                      <a:pt x="0" y="133371"/>
                      <a:pt x="10824" y="107084"/>
                      <a:pt x="30927" y="87754"/>
                    </a:cubicBezTo>
                    <a:lnTo>
                      <a:pt x="112882" y="5799"/>
                    </a:lnTo>
                    <a:cubicBezTo>
                      <a:pt x="120614" y="-1933"/>
                      <a:pt x="133758" y="-1933"/>
                      <a:pt x="142263" y="5799"/>
                    </a:cubicBezTo>
                    <a:cubicBezTo>
                      <a:pt x="149994" y="13530"/>
                      <a:pt x="149994" y="26674"/>
                      <a:pt x="142263" y="35179"/>
                    </a:cubicBezTo>
                    <a:lnTo>
                      <a:pt x="59534" y="116362"/>
                    </a:lnTo>
                    <a:cubicBezTo>
                      <a:pt x="47936" y="127959"/>
                      <a:pt x="40978" y="144196"/>
                      <a:pt x="40978" y="161205"/>
                    </a:cubicBezTo>
                    <a:cubicBezTo>
                      <a:pt x="40978" y="178215"/>
                      <a:pt x="47163" y="193678"/>
                      <a:pt x="59534" y="206049"/>
                    </a:cubicBezTo>
                    <a:cubicBezTo>
                      <a:pt x="84275" y="230790"/>
                      <a:pt x="124480" y="230790"/>
                      <a:pt x="149221" y="206049"/>
                    </a:cubicBezTo>
                    <a:lnTo>
                      <a:pt x="231177" y="124093"/>
                    </a:lnTo>
                    <a:cubicBezTo>
                      <a:pt x="238909" y="116362"/>
                      <a:pt x="252053" y="116362"/>
                      <a:pt x="260557" y="124093"/>
                    </a:cubicBezTo>
                    <a:cubicBezTo>
                      <a:pt x="268289" y="131825"/>
                      <a:pt x="268289" y="144969"/>
                      <a:pt x="260557" y="153474"/>
                    </a:cubicBezTo>
                    <a:lnTo>
                      <a:pt x="178602" y="235430"/>
                    </a:lnTo>
                    <a:cubicBezTo>
                      <a:pt x="157726" y="254759"/>
                      <a:pt x="130665" y="264810"/>
                      <a:pt x="104378" y="264810"/>
                    </a:cubicBezTo>
                    <a:lnTo>
                      <a:pt x="104378" y="264810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0" name="Forma Livre: Forma 29">
                <a:extLst>
                  <a:ext uri="{FF2B5EF4-FFF2-40B4-BE49-F238E27FC236}">
                    <a16:creationId xmlns:a16="http://schemas.microsoft.com/office/drawing/2014/main" id="{13E20E29-911C-44F5-9A5A-EEB3415F42F5}"/>
                  </a:ext>
                </a:extLst>
              </p:cNvPr>
              <p:cNvSpPr/>
              <p:nvPr/>
            </p:nvSpPr>
            <p:spPr>
              <a:xfrm>
                <a:off x="6622140" y="3906817"/>
                <a:ext cx="230790" cy="265196"/>
              </a:xfrm>
              <a:custGeom>
                <a:avLst/>
                <a:gdLst>
                  <a:gd name="connsiteX0" fmla="*/ 59148 w 230790"/>
                  <a:gd name="connsiteY0" fmla="*/ 265197 h 265196"/>
                  <a:gd name="connsiteX1" fmla="*/ 44457 w 230790"/>
                  <a:gd name="connsiteY1" fmla="*/ 259011 h 265196"/>
                  <a:gd name="connsiteX2" fmla="*/ 44457 w 230790"/>
                  <a:gd name="connsiteY2" fmla="*/ 229631 h 265196"/>
                  <a:gd name="connsiteX3" fmla="*/ 181308 w 230790"/>
                  <a:gd name="connsiteY3" fmla="*/ 92780 h 265196"/>
                  <a:gd name="connsiteX4" fmla="*/ 181308 w 230790"/>
                  <a:gd name="connsiteY4" fmla="*/ 50256 h 265196"/>
                  <a:gd name="connsiteX5" fmla="*/ 138784 w 230790"/>
                  <a:gd name="connsiteY5" fmla="*/ 50256 h 265196"/>
                  <a:gd name="connsiteX6" fmla="*/ 35179 w 230790"/>
                  <a:gd name="connsiteY6" fmla="*/ 153861 h 265196"/>
                  <a:gd name="connsiteX7" fmla="*/ 5799 w 230790"/>
                  <a:gd name="connsiteY7" fmla="*/ 153861 h 265196"/>
                  <a:gd name="connsiteX8" fmla="*/ 5799 w 230790"/>
                  <a:gd name="connsiteY8" fmla="*/ 124480 h 265196"/>
                  <a:gd name="connsiteX9" fmla="*/ 109403 w 230790"/>
                  <a:gd name="connsiteY9" fmla="*/ 20876 h 265196"/>
                  <a:gd name="connsiteX10" fmla="*/ 159659 w 230790"/>
                  <a:gd name="connsiteY10" fmla="*/ 0 h 265196"/>
                  <a:gd name="connsiteX11" fmla="*/ 159659 w 230790"/>
                  <a:gd name="connsiteY11" fmla="*/ 0 h 265196"/>
                  <a:gd name="connsiteX12" fmla="*/ 209915 w 230790"/>
                  <a:gd name="connsiteY12" fmla="*/ 20876 h 265196"/>
                  <a:gd name="connsiteX13" fmla="*/ 209915 w 230790"/>
                  <a:gd name="connsiteY13" fmla="*/ 121387 h 265196"/>
                  <a:gd name="connsiteX14" fmla="*/ 73064 w 230790"/>
                  <a:gd name="connsiteY14" fmla="*/ 258238 h 265196"/>
                  <a:gd name="connsiteX15" fmla="*/ 59148 w 230790"/>
                  <a:gd name="connsiteY15" fmla="*/ 265197 h 265196"/>
                  <a:gd name="connsiteX16" fmla="*/ 59148 w 230790"/>
                  <a:gd name="connsiteY16" fmla="*/ 265197 h 265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30790" h="265196">
                    <a:moveTo>
                      <a:pt x="59148" y="265197"/>
                    </a:moveTo>
                    <a:cubicBezTo>
                      <a:pt x="53735" y="265197"/>
                      <a:pt x="48323" y="262877"/>
                      <a:pt x="44457" y="259011"/>
                    </a:cubicBezTo>
                    <a:cubicBezTo>
                      <a:pt x="36725" y="251280"/>
                      <a:pt x="36725" y="238136"/>
                      <a:pt x="44457" y="229631"/>
                    </a:cubicBezTo>
                    <a:lnTo>
                      <a:pt x="181308" y="92780"/>
                    </a:lnTo>
                    <a:cubicBezTo>
                      <a:pt x="192906" y="81183"/>
                      <a:pt x="192906" y="61853"/>
                      <a:pt x="181308" y="50256"/>
                    </a:cubicBezTo>
                    <a:cubicBezTo>
                      <a:pt x="169710" y="38658"/>
                      <a:pt x="150381" y="38658"/>
                      <a:pt x="138784" y="50256"/>
                    </a:cubicBezTo>
                    <a:lnTo>
                      <a:pt x="35179" y="153861"/>
                    </a:lnTo>
                    <a:cubicBezTo>
                      <a:pt x="27447" y="161592"/>
                      <a:pt x="14304" y="161592"/>
                      <a:pt x="5799" y="153861"/>
                    </a:cubicBezTo>
                    <a:cubicBezTo>
                      <a:pt x="-1933" y="146129"/>
                      <a:pt x="-1933" y="132985"/>
                      <a:pt x="5799" y="124480"/>
                    </a:cubicBezTo>
                    <a:lnTo>
                      <a:pt x="109403" y="20876"/>
                    </a:lnTo>
                    <a:cubicBezTo>
                      <a:pt x="122547" y="7732"/>
                      <a:pt x="140330" y="0"/>
                      <a:pt x="159659" y="0"/>
                    </a:cubicBezTo>
                    <a:lnTo>
                      <a:pt x="159659" y="0"/>
                    </a:lnTo>
                    <a:cubicBezTo>
                      <a:pt x="178989" y="0"/>
                      <a:pt x="196771" y="7732"/>
                      <a:pt x="209915" y="20876"/>
                    </a:cubicBezTo>
                    <a:cubicBezTo>
                      <a:pt x="237749" y="48710"/>
                      <a:pt x="237749" y="93554"/>
                      <a:pt x="209915" y="121387"/>
                    </a:cubicBezTo>
                    <a:lnTo>
                      <a:pt x="73064" y="258238"/>
                    </a:lnTo>
                    <a:cubicBezTo>
                      <a:pt x="69972" y="263651"/>
                      <a:pt x="64560" y="265197"/>
                      <a:pt x="59148" y="265197"/>
                    </a:cubicBezTo>
                    <a:lnTo>
                      <a:pt x="59148" y="265197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31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9375834" y="1607843"/>
              <a:ext cx="389151" cy="386700"/>
              <a:chOff x="10235541" y="1270894"/>
              <a:chExt cx="491155" cy="488062"/>
            </a:xfrm>
            <a:solidFill>
              <a:srgbClr val="B1B1A1"/>
            </a:solidFill>
          </p:grpSpPr>
          <p:sp>
            <p:nvSpPr>
              <p:cNvPr id="32" name="Forma Livre: Forma 31">
                <a:extLst>
                  <a:ext uri="{FF2B5EF4-FFF2-40B4-BE49-F238E27FC236}">
                    <a16:creationId xmlns:a16="http://schemas.microsoft.com/office/drawing/2014/main" id="{EE9EE2BE-9C6F-4AD9-8840-F623238E52EF}"/>
                  </a:ext>
                </a:extLst>
              </p:cNvPr>
              <p:cNvSpPr/>
              <p:nvPr/>
            </p:nvSpPr>
            <p:spPr>
              <a:xfrm>
                <a:off x="10368139" y="1406779"/>
                <a:ext cx="220352" cy="220739"/>
              </a:xfrm>
              <a:custGeom>
                <a:avLst/>
                <a:gdLst>
                  <a:gd name="connsiteX0" fmla="*/ 20488 w 220352"/>
                  <a:gd name="connsiteY0" fmla="*/ 220739 h 220739"/>
                  <a:gd name="connsiteX1" fmla="*/ 5799 w 220352"/>
                  <a:gd name="connsiteY1" fmla="*/ 214554 h 220739"/>
                  <a:gd name="connsiteX2" fmla="*/ 5799 w 220352"/>
                  <a:gd name="connsiteY2" fmla="*/ 185174 h 220739"/>
                  <a:gd name="connsiteX3" fmla="*/ 185173 w 220352"/>
                  <a:gd name="connsiteY3" fmla="*/ 5799 h 220739"/>
                  <a:gd name="connsiteX4" fmla="*/ 214554 w 220352"/>
                  <a:gd name="connsiteY4" fmla="*/ 5799 h 220739"/>
                  <a:gd name="connsiteX5" fmla="*/ 214554 w 220352"/>
                  <a:gd name="connsiteY5" fmla="*/ 35179 h 220739"/>
                  <a:gd name="connsiteX6" fmla="*/ 35179 w 220352"/>
                  <a:gd name="connsiteY6" fmla="*/ 214554 h 220739"/>
                  <a:gd name="connsiteX7" fmla="*/ 20488 w 220352"/>
                  <a:gd name="connsiteY7" fmla="*/ 220739 h 220739"/>
                  <a:gd name="connsiteX8" fmla="*/ 20488 w 220352"/>
                  <a:gd name="connsiteY8" fmla="*/ 220739 h 2207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0352" h="220739">
                    <a:moveTo>
                      <a:pt x="20488" y="220739"/>
                    </a:moveTo>
                    <a:cubicBezTo>
                      <a:pt x="15076" y="220739"/>
                      <a:pt x="9665" y="218420"/>
                      <a:pt x="5799" y="214554"/>
                    </a:cubicBezTo>
                    <a:cubicBezTo>
                      <a:pt x="-1933" y="206822"/>
                      <a:pt x="-1933" y="193679"/>
                      <a:pt x="5799" y="185174"/>
                    </a:cubicBezTo>
                    <a:lnTo>
                      <a:pt x="185173" y="5799"/>
                    </a:lnTo>
                    <a:cubicBezTo>
                      <a:pt x="192905" y="-1933"/>
                      <a:pt x="206049" y="-1933"/>
                      <a:pt x="214554" y="5799"/>
                    </a:cubicBezTo>
                    <a:cubicBezTo>
                      <a:pt x="222286" y="13530"/>
                      <a:pt x="222286" y="26674"/>
                      <a:pt x="214554" y="35179"/>
                    </a:cubicBezTo>
                    <a:lnTo>
                      <a:pt x="35179" y="214554"/>
                    </a:lnTo>
                    <a:cubicBezTo>
                      <a:pt x="31313" y="218420"/>
                      <a:pt x="25901" y="220739"/>
                      <a:pt x="20488" y="220739"/>
                    </a:cubicBezTo>
                    <a:lnTo>
                      <a:pt x="20488" y="220739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3" name="Forma Livre: Forma 32">
                <a:extLst>
                  <a:ext uri="{FF2B5EF4-FFF2-40B4-BE49-F238E27FC236}">
                    <a16:creationId xmlns:a16="http://schemas.microsoft.com/office/drawing/2014/main" id="{45031222-E1E2-4BC8-99BD-AF1B0F7B4D99}"/>
                  </a:ext>
                </a:extLst>
              </p:cNvPr>
              <p:cNvSpPr/>
              <p:nvPr/>
            </p:nvSpPr>
            <p:spPr>
              <a:xfrm>
                <a:off x="10450763" y="1270894"/>
                <a:ext cx="275933" cy="275441"/>
              </a:xfrm>
              <a:custGeom>
                <a:avLst/>
                <a:gdLst>
                  <a:gd name="connsiteX0" fmla="*/ 114920 w 275933"/>
                  <a:gd name="connsiteY0" fmla="*/ 275441 h 275441"/>
                  <a:gd name="connsiteX1" fmla="*/ 104870 w 275933"/>
                  <a:gd name="connsiteY1" fmla="*/ 274668 h 275441"/>
                  <a:gd name="connsiteX2" fmla="*/ 86313 w 275933"/>
                  <a:gd name="connsiteY2" fmla="*/ 252246 h 275441"/>
                  <a:gd name="connsiteX3" fmla="*/ 108736 w 275933"/>
                  <a:gd name="connsiteY3" fmla="*/ 233690 h 275441"/>
                  <a:gd name="connsiteX4" fmla="*/ 163630 w 275933"/>
                  <a:gd name="connsiteY4" fmla="*/ 214361 h 275441"/>
                  <a:gd name="connsiteX5" fmla="*/ 214659 w 275933"/>
                  <a:gd name="connsiteY5" fmla="*/ 163332 h 275441"/>
                  <a:gd name="connsiteX6" fmla="*/ 214659 w 275933"/>
                  <a:gd name="connsiteY6" fmla="*/ 65913 h 275441"/>
                  <a:gd name="connsiteX7" fmla="*/ 209247 w 275933"/>
                  <a:gd name="connsiteY7" fmla="*/ 60500 h 275441"/>
                  <a:gd name="connsiteX8" fmla="*/ 111827 w 275933"/>
                  <a:gd name="connsiteY8" fmla="*/ 60500 h 275441"/>
                  <a:gd name="connsiteX9" fmla="*/ 60799 w 275933"/>
                  <a:gd name="connsiteY9" fmla="*/ 111530 h 275441"/>
                  <a:gd name="connsiteX10" fmla="*/ 41469 w 275933"/>
                  <a:gd name="connsiteY10" fmla="*/ 166424 h 275441"/>
                  <a:gd name="connsiteX11" fmla="*/ 22913 w 275933"/>
                  <a:gd name="connsiteY11" fmla="*/ 188846 h 275441"/>
                  <a:gd name="connsiteX12" fmla="*/ 492 w 275933"/>
                  <a:gd name="connsiteY12" fmla="*/ 170290 h 275441"/>
                  <a:gd name="connsiteX13" fmla="*/ 32192 w 275933"/>
                  <a:gd name="connsiteY13" fmla="*/ 82922 h 275441"/>
                  <a:gd name="connsiteX14" fmla="*/ 83221 w 275933"/>
                  <a:gd name="connsiteY14" fmla="*/ 31893 h 275441"/>
                  <a:gd name="connsiteX15" fmla="*/ 238627 w 275933"/>
                  <a:gd name="connsiteY15" fmla="*/ 31893 h 275441"/>
                  <a:gd name="connsiteX16" fmla="*/ 244040 w 275933"/>
                  <a:gd name="connsiteY16" fmla="*/ 37305 h 275441"/>
                  <a:gd name="connsiteX17" fmla="*/ 244040 w 275933"/>
                  <a:gd name="connsiteY17" fmla="*/ 192712 h 275441"/>
                  <a:gd name="connsiteX18" fmla="*/ 193010 w 275933"/>
                  <a:gd name="connsiteY18" fmla="*/ 243741 h 275441"/>
                  <a:gd name="connsiteX19" fmla="*/ 114920 w 275933"/>
                  <a:gd name="connsiteY19" fmla="*/ 275441 h 275441"/>
                  <a:gd name="connsiteX20" fmla="*/ 114920 w 275933"/>
                  <a:gd name="connsiteY20" fmla="*/ 275441 h 275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75933" h="275441">
                    <a:moveTo>
                      <a:pt x="114920" y="275441"/>
                    </a:moveTo>
                    <a:cubicBezTo>
                      <a:pt x="111827" y="275441"/>
                      <a:pt x="107962" y="275441"/>
                      <a:pt x="104870" y="274668"/>
                    </a:cubicBezTo>
                    <a:cubicBezTo>
                      <a:pt x="93272" y="273895"/>
                      <a:pt x="85541" y="263844"/>
                      <a:pt x="86313" y="252246"/>
                    </a:cubicBezTo>
                    <a:cubicBezTo>
                      <a:pt x="87086" y="240649"/>
                      <a:pt x="97138" y="232917"/>
                      <a:pt x="108736" y="233690"/>
                    </a:cubicBezTo>
                    <a:cubicBezTo>
                      <a:pt x="128838" y="235236"/>
                      <a:pt x="148940" y="228278"/>
                      <a:pt x="163630" y="214361"/>
                    </a:cubicBezTo>
                    <a:lnTo>
                      <a:pt x="214659" y="163332"/>
                    </a:lnTo>
                    <a:cubicBezTo>
                      <a:pt x="241720" y="136271"/>
                      <a:pt x="241720" y="92973"/>
                      <a:pt x="214659" y="65913"/>
                    </a:cubicBezTo>
                    <a:lnTo>
                      <a:pt x="209247" y="60500"/>
                    </a:lnTo>
                    <a:cubicBezTo>
                      <a:pt x="182187" y="33439"/>
                      <a:pt x="138888" y="33439"/>
                      <a:pt x="111827" y="60500"/>
                    </a:cubicBezTo>
                    <a:lnTo>
                      <a:pt x="60799" y="111530"/>
                    </a:lnTo>
                    <a:cubicBezTo>
                      <a:pt x="46882" y="126220"/>
                      <a:pt x="39150" y="145549"/>
                      <a:pt x="41469" y="166424"/>
                    </a:cubicBezTo>
                    <a:cubicBezTo>
                      <a:pt x="42242" y="178022"/>
                      <a:pt x="34511" y="187300"/>
                      <a:pt x="22913" y="188846"/>
                    </a:cubicBezTo>
                    <a:cubicBezTo>
                      <a:pt x="12090" y="189619"/>
                      <a:pt x="2038" y="181888"/>
                      <a:pt x="492" y="170290"/>
                    </a:cubicBezTo>
                    <a:cubicBezTo>
                      <a:pt x="-2601" y="137817"/>
                      <a:pt x="8997" y="106117"/>
                      <a:pt x="32192" y="82922"/>
                    </a:cubicBezTo>
                    <a:lnTo>
                      <a:pt x="83221" y="31893"/>
                    </a:lnTo>
                    <a:cubicBezTo>
                      <a:pt x="125745" y="-10631"/>
                      <a:pt x="196103" y="-10631"/>
                      <a:pt x="238627" y="31893"/>
                    </a:cubicBezTo>
                    <a:lnTo>
                      <a:pt x="244040" y="37305"/>
                    </a:lnTo>
                    <a:cubicBezTo>
                      <a:pt x="286564" y="80603"/>
                      <a:pt x="286564" y="150188"/>
                      <a:pt x="244040" y="192712"/>
                    </a:cubicBezTo>
                    <a:lnTo>
                      <a:pt x="193010" y="243741"/>
                    </a:lnTo>
                    <a:cubicBezTo>
                      <a:pt x="171362" y="263844"/>
                      <a:pt x="144301" y="275441"/>
                      <a:pt x="114920" y="275441"/>
                    </a:cubicBezTo>
                    <a:lnTo>
                      <a:pt x="114920" y="275441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4" name="Forma Livre: Forma 33">
                <a:extLst>
                  <a:ext uri="{FF2B5EF4-FFF2-40B4-BE49-F238E27FC236}">
                    <a16:creationId xmlns:a16="http://schemas.microsoft.com/office/drawing/2014/main" id="{557B0E5E-3A18-4A70-B8E1-486E4367848C}"/>
                  </a:ext>
                </a:extLst>
              </p:cNvPr>
              <p:cNvSpPr/>
              <p:nvPr/>
            </p:nvSpPr>
            <p:spPr>
              <a:xfrm>
                <a:off x="10235541" y="1481855"/>
                <a:ext cx="276512" cy="277101"/>
              </a:xfrm>
              <a:custGeom>
                <a:avLst/>
                <a:gdLst>
                  <a:gd name="connsiteX0" fmla="*/ 116748 w 276512"/>
                  <a:gd name="connsiteY0" fmla="*/ 277102 h 277101"/>
                  <a:gd name="connsiteX1" fmla="*/ 38658 w 276512"/>
                  <a:gd name="connsiteY1" fmla="*/ 244629 h 277101"/>
                  <a:gd name="connsiteX2" fmla="*/ 32473 w 276512"/>
                  <a:gd name="connsiteY2" fmla="*/ 238443 h 277101"/>
                  <a:gd name="connsiteX3" fmla="*/ 0 w 276512"/>
                  <a:gd name="connsiteY3" fmla="*/ 161127 h 277101"/>
                  <a:gd name="connsiteX4" fmla="*/ 32473 w 276512"/>
                  <a:gd name="connsiteY4" fmla="*/ 83036 h 277101"/>
                  <a:gd name="connsiteX5" fmla="*/ 83502 w 276512"/>
                  <a:gd name="connsiteY5" fmla="*/ 32007 h 277101"/>
                  <a:gd name="connsiteX6" fmla="*/ 170870 w 276512"/>
                  <a:gd name="connsiteY6" fmla="*/ 308 h 277101"/>
                  <a:gd name="connsiteX7" fmla="*/ 189426 w 276512"/>
                  <a:gd name="connsiteY7" fmla="*/ 22729 h 277101"/>
                  <a:gd name="connsiteX8" fmla="*/ 167004 w 276512"/>
                  <a:gd name="connsiteY8" fmla="*/ 41285 h 277101"/>
                  <a:gd name="connsiteX9" fmla="*/ 112109 w 276512"/>
                  <a:gd name="connsiteY9" fmla="*/ 60615 h 277101"/>
                  <a:gd name="connsiteX10" fmla="*/ 61080 w 276512"/>
                  <a:gd name="connsiteY10" fmla="*/ 111644 h 277101"/>
                  <a:gd name="connsiteX11" fmla="*/ 40977 w 276512"/>
                  <a:gd name="connsiteY11" fmla="*/ 160353 h 277101"/>
                  <a:gd name="connsiteX12" fmla="*/ 61080 w 276512"/>
                  <a:gd name="connsiteY12" fmla="*/ 209063 h 277101"/>
                  <a:gd name="connsiteX13" fmla="*/ 67265 w 276512"/>
                  <a:gd name="connsiteY13" fmla="*/ 215248 h 277101"/>
                  <a:gd name="connsiteX14" fmla="*/ 164684 w 276512"/>
                  <a:gd name="connsiteY14" fmla="*/ 215248 h 277101"/>
                  <a:gd name="connsiteX15" fmla="*/ 215714 w 276512"/>
                  <a:gd name="connsiteY15" fmla="*/ 164219 h 277101"/>
                  <a:gd name="connsiteX16" fmla="*/ 235043 w 276512"/>
                  <a:gd name="connsiteY16" fmla="*/ 110097 h 277101"/>
                  <a:gd name="connsiteX17" fmla="*/ 253599 w 276512"/>
                  <a:gd name="connsiteY17" fmla="*/ 87676 h 277101"/>
                  <a:gd name="connsiteX18" fmla="*/ 276021 w 276512"/>
                  <a:gd name="connsiteY18" fmla="*/ 106232 h 277101"/>
                  <a:gd name="connsiteX19" fmla="*/ 244321 w 276512"/>
                  <a:gd name="connsiteY19" fmla="*/ 193600 h 277101"/>
                  <a:gd name="connsiteX20" fmla="*/ 193292 w 276512"/>
                  <a:gd name="connsiteY20" fmla="*/ 244629 h 277101"/>
                  <a:gd name="connsiteX21" fmla="*/ 116748 w 276512"/>
                  <a:gd name="connsiteY21" fmla="*/ 277102 h 277101"/>
                  <a:gd name="connsiteX22" fmla="*/ 116748 w 276512"/>
                  <a:gd name="connsiteY22" fmla="*/ 277102 h 277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76512" h="277101">
                    <a:moveTo>
                      <a:pt x="116748" y="277102"/>
                    </a:moveTo>
                    <a:cubicBezTo>
                      <a:pt x="88914" y="277102"/>
                      <a:pt x="60307" y="266277"/>
                      <a:pt x="38658" y="244629"/>
                    </a:cubicBezTo>
                    <a:lnTo>
                      <a:pt x="32473" y="238443"/>
                    </a:lnTo>
                    <a:cubicBezTo>
                      <a:pt x="11598" y="217568"/>
                      <a:pt x="0" y="190507"/>
                      <a:pt x="0" y="161127"/>
                    </a:cubicBezTo>
                    <a:cubicBezTo>
                      <a:pt x="0" y="131746"/>
                      <a:pt x="11598" y="103912"/>
                      <a:pt x="32473" y="83036"/>
                    </a:cubicBezTo>
                    <a:lnTo>
                      <a:pt x="83502" y="32007"/>
                    </a:lnTo>
                    <a:cubicBezTo>
                      <a:pt x="106697" y="8812"/>
                      <a:pt x="138397" y="-2012"/>
                      <a:pt x="170870" y="308"/>
                    </a:cubicBezTo>
                    <a:cubicBezTo>
                      <a:pt x="182467" y="1081"/>
                      <a:pt x="190199" y="11132"/>
                      <a:pt x="189426" y="22729"/>
                    </a:cubicBezTo>
                    <a:cubicBezTo>
                      <a:pt x="188653" y="34327"/>
                      <a:pt x="178602" y="42059"/>
                      <a:pt x="167004" y="41285"/>
                    </a:cubicBezTo>
                    <a:cubicBezTo>
                      <a:pt x="146902" y="39739"/>
                      <a:pt x="126800" y="46698"/>
                      <a:pt x="112109" y="60615"/>
                    </a:cubicBezTo>
                    <a:lnTo>
                      <a:pt x="61080" y="111644"/>
                    </a:lnTo>
                    <a:cubicBezTo>
                      <a:pt x="47936" y="124788"/>
                      <a:pt x="40977" y="141797"/>
                      <a:pt x="40977" y="160353"/>
                    </a:cubicBezTo>
                    <a:cubicBezTo>
                      <a:pt x="40977" y="178909"/>
                      <a:pt x="47936" y="195919"/>
                      <a:pt x="61080" y="209063"/>
                    </a:cubicBezTo>
                    <a:lnTo>
                      <a:pt x="67265" y="215248"/>
                    </a:lnTo>
                    <a:cubicBezTo>
                      <a:pt x="94326" y="242309"/>
                      <a:pt x="137623" y="242309"/>
                      <a:pt x="164684" y="215248"/>
                    </a:cubicBezTo>
                    <a:lnTo>
                      <a:pt x="215714" y="164219"/>
                    </a:lnTo>
                    <a:cubicBezTo>
                      <a:pt x="229631" y="150302"/>
                      <a:pt x="237362" y="130200"/>
                      <a:pt x="235043" y="110097"/>
                    </a:cubicBezTo>
                    <a:cubicBezTo>
                      <a:pt x="234269" y="98500"/>
                      <a:pt x="242001" y="89222"/>
                      <a:pt x="253599" y="87676"/>
                    </a:cubicBezTo>
                    <a:cubicBezTo>
                      <a:pt x="264423" y="86902"/>
                      <a:pt x="274475" y="94634"/>
                      <a:pt x="276021" y="106232"/>
                    </a:cubicBezTo>
                    <a:cubicBezTo>
                      <a:pt x="279113" y="138705"/>
                      <a:pt x="267516" y="170404"/>
                      <a:pt x="244321" y="193600"/>
                    </a:cubicBezTo>
                    <a:lnTo>
                      <a:pt x="193292" y="244629"/>
                    </a:lnTo>
                    <a:cubicBezTo>
                      <a:pt x="173190" y="267050"/>
                      <a:pt x="145355" y="277102"/>
                      <a:pt x="116748" y="277102"/>
                    </a:cubicBezTo>
                    <a:lnTo>
                      <a:pt x="116748" y="277102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35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10376814" y="1607843"/>
              <a:ext cx="388538" cy="386700"/>
              <a:chOff x="11498897" y="1270894"/>
              <a:chExt cx="490381" cy="488062"/>
            </a:xfrm>
            <a:solidFill>
              <a:srgbClr val="B1B1A1"/>
            </a:solidFill>
          </p:grpSpPr>
          <p:sp>
            <p:nvSpPr>
              <p:cNvPr id="36" name="Forma Livre: Forma 35">
                <a:extLst>
                  <a:ext uri="{FF2B5EF4-FFF2-40B4-BE49-F238E27FC236}">
                    <a16:creationId xmlns:a16="http://schemas.microsoft.com/office/drawing/2014/main" id="{70A6D9D4-30F8-466B-8437-6692DDED38C3}"/>
                  </a:ext>
                </a:extLst>
              </p:cNvPr>
              <p:cNvSpPr/>
              <p:nvPr/>
            </p:nvSpPr>
            <p:spPr>
              <a:xfrm>
                <a:off x="11713345" y="1270894"/>
                <a:ext cx="275933" cy="275441"/>
              </a:xfrm>
              <a:custGeom>
                <a:avLst/>
                <a:gdLst>
                  <a:gd name="connsiteX0" fmla="*/ 114921 w 275933"/>
                  <a:gd name="connsiteY0" fmla="*/ 275441 h 275441"/>
                  <a:gd name="connsiteX1" fmla="*/ 104870 w 275933"/>
                  <a:gd name="connsiteY1" fmla="*/ 274668 h 275441"/>
                  <a:gd name="connsiteX2" fmla="*/ 86313 w 275933"/>
                  <a:gd name="connsiteY2" fmla="*/ 252246 h 275441"/>
                  <a:gd name="connsiteX3" fmla="*/ 108736 w 275933"/>
                  <a:gd name="connsiteY3" fmla="*/ 233690 h 275441"/>
                  <a:gd name="connsiteX4" fmla="*/ 163630 w 275933"/>
                  <a:gd name="connsiteY4" fmla="*/ 214361 h 275441"/>
                  <a:gd name="connsiteX5" fmla="*/ 214660 w 275933"/>
                  <a:gd name="connsiteY5" fmla="*/ 163332 h 275441"/>
                  <a:gd name="connsiteX6" fmla="*/ 214660 w 275933"/>
                  <a:gd name="connsiteY6" fmla="*/ 65913 h 275441"/>
                  <a:gd name="connsiteX7" fmla="*/ 209247 w 275933"/>
                  <a:gd name="connsiteY7" fmla="*/ 60500 h 275441"/>
                  <a:gd name="connsiteX8" fmla="*/ 111828 w 275933"/>
                  <a:gd name="connsiteY8" fmla="*/ 60500 h 275441"/>
                  <a:gd name="connsiteX9" fmla="*/ 60800 w 275933"/>
                  <a:gd name="connsiteY9" fmla="*/ 111530 h 275441"/>
                  <a:gd name="connsiteX10" fmla="*/ 41470 w 275933"/>
                  <a:gd name="connsiteY10" fmla="*/ 166424 h 275441"/>
                  <a:gd name="connsiteX11" fmla="*/ 22914 w 275933"/>
                  <a:gd name="connsiteY11" fmla="*/ 188846 h 275441"/>
                  <a:gd name="connsiteX12" fmla="*/ 492 w 275933"/>
                  <a:gd name="connsiteY12" fmla="*/ 170290 h 275441"/>
                  <a:gd name="connsiteX13" fmla="*/ 32192 w 275933"/>
                  <a:gd name="connsiteY13" fmla="*/ 82922 h 275441"/>
                  <a:gd name="connsiteX14" fmla="*/ 83222 w 275933"/>
                  <a:gd name="connsiteY14" fmla="*/ 31893 h 275441"/>
                  <a:gd name="connsiteX15" fmla="*/ 238628 w 275933"/>
                  <a:gd name="connsiteY15" fmla="*/ 31893 h 275441"/>
                  <a:gd name="connsiteX16" fmla="*/ 244040 w 275933"/>
                  <a:gd name="connsiteY16" fmla="*/ 37305 h 275441"/>
                  <a:gd name="connsiteX17" fmla="*/ 244040 w 275933"/>
                  <a:gd name="connsiteY17" fmla="*/ 192712 h 275441"/>
                  <a:gd name="connsiteX18" fmla="*/ 193011 w 275933"/>
                  <a:gd name="connsiteY18" fmla="*/ 243741 h 275441"/>
                  <a:gd name="connsiteX19" fmla="*/ 114921 w 275933"/>
                  <a:gd name="connsiteY19" fmla="*/ 275441 h 275441"/>
                  <a:gd name="connsiteX20" fmla="*/ 114921 w 275933"/>
                  <a:gd name="connsiteY20" fmla="*/ 275441 h 275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75933" h="275441">
                    <a:moveTo>
                      <a:pt x="114921" y="275441"/>
                    </a:moveTo>
                    <a:cubicBezTo>
                      <a:pt x="111828" y="275441"/>
                      <a:pt x="107963" y="275441"/>
                      <a:pt x="104870" y="274668"/>
                    </a:cubicBezTo>
                    <a:cubicBezTo>
                      <a:pt x="93272" y="273895"/>
                      <a:pt x="85541" y="263844"/>
                      <a:pt x="86313" y="252246"/>
                    </a:cubicBezTo>
                    <a:cubicBezTo>
                      <a:pt x="87087" y="240649"/>
                      <a:pt x="97138" y="232917"/>
                      <a:pt x="108736" y="233690"/>
                    </a:cubicBezTo>
                    <a:cubicBezTo>
                      <a:pt x="128838" y="235236"/>
                      <a:pt x="148941" y="228278"/>
                      <a:pt x="163630" y="214361"/>
                    </a:cubicBezTo>
                    <a:lnTo>
                      <a:pt x="214660" y="163332"/>
                    </a:lnTo>
                    <a:cubicBezTo>
                      <a:pt x="241721" y="136271"/>
                      <a:pt x="241721" y="92973"/>
                      <a:pt x="214660" y="65913"/>
                    </a:cubicBezTo>
                    <a:lnTo>
                      <a:pt x="209247" y="60500"/>
                    </a:lnTo>
                    <a:cubicBezTo>
                      <a:pt x="182187" y="33439"/>
                      <a:pt x="138889" y="33439"/>
                      <a:pt x="111828" y="60500"/>
                    </a:cubicBezTo>
                    <a:lnTo>
                      <a:pt x="60800" y="111530"/>
                    </a:lnTo>
                    <a:cubicBezTo>
                      <a:pt x="46882" y="126220"/>
                      <a:pt x="39150" y="145549"/>
                      <a:pt x="41470" y="166424"/>
                    </a:cubicBezTo>
                    <a:cubicBezTo>
                      <a:pt x="42243" y="178022"/>
                      <a:pt x="34512" y="187300"/>
                      <a:pt x="22914" y="188846"/>
                    </a:cubicBezTo>
                    <a:cubicBezTo>
                      <a:pt x="12090" y="189619"/>
                      <a:pt x="2039" y="181888"/>
                      <a:pt x="492" y="170290"/>
                    </a:cubicBezTo>
                    <a:cubicBezTo>
                      <a:pt x="-2601" y="137817"/>
                      <a:pt x="8997" y="106117"/>
                      <a:pt x="32192" y="82922"/>
                    </a:cubicBezTo>
                    <a:lnTo>
                      <a:pt x="83222" y="31893"/>
                    </a:lnTo>
                    <a:cubicBezTo>
                      <a:pt x="125746" y="-10631"/>
                      <a:pt x="196104" y="-10631"/>
                      <a:pt x="238628" y="31893"/>
                    </a:cubicBezTo>
                    <a:lnTo>
                      <a:pt x="244040" y="37305"/>
                    </a:lnTo>
                    <a:cubicBezTo>
                      <a:pt x="286564" y="80603"/>
                      <a:pt x="286564" y="150188"/>
                      <a:pt x="244040" y="192712"/>
                    </a:cubicBezTo>
                    <a:lnTo>
                      <a:pt x="193011" y="243741"/>
                    </a:lnTo>
                    <a:cubicBezTo>
                      <a:pt x="171362" y="263844"/>
                      <a:pt x="143528" y="275441"/>
                      <a:pt x="114921" y="275441"/>
                    </a:cubicBezTo>
                    <a:lnTo>
                      <a:pt x="114921" y="275441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7" name="Forma Livre: Forma 36">
                <a:extLst>
                  <a:ext uri="{FF2B5EF4-FFF2-40B4-BE49-F238E27FC236}">
                    <a16:creationId xmlns:a16="http://schemas.microsoft.com/office/drawing/2014/main" id="{F6EBA84C-0C71-45CE-97D4-224A4B2CEAB7}"/>
                  </a:ext>
                </a:extLst>
              </p:cNvPr>
              <p:cNvSpPr/>
              <p:nvPr/>
            </p:nvSpPr>
            <p:spPr>
              <a:xfrm>
                <a:off x="11498897" y="1481082"/>
                <a:ext cx="275739" cy="277874"/>
              </a:xfrm>
              <a:custGeom>
                <a:avLst/>
                <a:gdLst>
                  <a:gd name="connsiteX0" fmla="*/ 115975 w 275739"/>
                  <a:gd name="connsiteY0" fmla="*/ 277875 h 277874"/>
                  <a:gd name="connsiteX1" fmla="*/ 37884 w 275739"/>
                  <a:gd name="connsiteY1" fmla="*/ 245402 h 277874"/>
                  <a:gd name="connsiteX2" fmla="*/ 32473 w 275739"/>
                  <a:gd name="connsiteY2" fmla="*/ 239216 h 277874"/>
                  <a:gd name="connsiteX3" fmla="*/ 0 w 275739"/>
                  <a:gd name="connsiteY3" fmla="*/ 161126 h 277874"/>
                  <a:gd name="connsiteX4" fmla="*/ 32473 w 275739"/>
                  <a:gd name="connsiteY4" fmla="*/ 83036 h 277874"/>
                  <a:gd name="connsiteX5" fmla="*/ 83502 w 275739"/>
                  <a:gd name="connsiteY5" fmla="*/ 32007 h 277874"/>
                  <a:gd name="connsiteX6" fmla="*/ 170870 w 275739"/>
                  <a:gd name="connsiteY6" fmla="*/ 308 h 277874"/>
                  <a:gd name="connsiteX7" fmla="*/ 189426 w 275739"/>
                  <a:gd name="connsiteY7" fmla="*/ 22729 h 277874"/>
                  <a:gd name="connsiteX8" fmla="*/ 167004 w 275739"/>
                  <a:gd name="connsiteY8" fmla="*/ 41285 h 277874"/>
                  <a:gd name="connsiteX9" fmla="*/ 112109 w 275739"/>
                  <a:gd name="connsiteY9" fmla="*/ 60615 h 277874"/>
                  <a:gd name="connsiteX10" fmla="*/ 61080 w 275739"/>
                  <a:gd name="connsiteY10" fmla="*/ 111644 h 277874"/>
                  <a:gd name="connsiteX11" fmla="*/ 40977 w 275739"/>
                  <a:gd name="connsiteY11" fmla="*/ 160353 h 277874"/>
                  <a:gd name="connsiteX12" fmla="*/ 61080 w 275739"/>
                  <a:gd name="connsiteY12" fmla="*/ 209063 h 277874"/>
                  <a:gd name="connsiteX13" fmla="*/ 66492 w 275739"/>
                  <a:gd name="connsiteY13" fmla="*/ 215248 h 277874"/>
                  <a:gd name="connsiteX14" fmla="*/ 163911 w 275739"/>
                  <a:gd name="connsiteY14" fmla="*/ 215248 h 277874"/>
                  <a:gd name="connsiteX15" fmla="*/ 214940 w 275739"/>
                  <a:gd name="connsiteY15" fmla="*/ 164219 h 277874"/>
                  <a:gd name="connsiteX16" fmla="*/ 234269 w 275739"/>
                  <a:gd name="connsiteY16" fmla="*/ 109324 h 277874"/>
                  <a:gd name="connsiteX17" fmla="*/ 252826 w 275739"/>
                  <a:gd name="connsiteY17" fmla="*/ 86902 h 277874"/>
                  <a:gd name="connsiteX18" fmla="*/ 275248 w 275739"/>
                  <a:gd name="connsiteY18" fmla="*/ 105458 h 277874"/>
                  <a:gd name="connsiteX19" fmla="*/ 243548 w 275739"/>
                  <a:gd name="connsiteY19" fmla="*/ 192826 h 277874"/>
                  <a:gd name="connsiteX20" fmla="*/ 192518 w 275739"/>
                  <a:gd name="connsiteY20" fmla="*/ 243855 h 277874"/>
                  <a:gd name="connsiteX21" fmla="*/ 115975 w 275739"/>
                  <a:gd name="connsiteY21" fmla="*/ 277875 h 277874"/>
                  <a:gd name="connsiteX22" fmla="*/ 115975 w 275739"/>
                  <a:gd name="connsiteY22" fmla="*/ 277875 h 277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75739" h="277874">
                    <a:moveTo>
                      <a:pt x="115975" y="277875"/>
                    </a:moveTo>
                    <a:cubicBezTo>
                      <a:pt x="88140" y="277875"/>
                      <a:pt x="59534" y="267051"/>
                      <a:pt x="37884" y="245402"/>
                    </a:cubicBezTo>
                    <a:lnTo>
                      <a:pt x="32473" y="239216"/>
                    </a:lnTo>
                    <a:cubicBezTo>
                      <a:pt x="11598" y="218341"/>
                      <a:pt x="0" y="190507"/>
                      <a:pt x="0" y="161126"/>
                    </a:cubicBezTo>
                    <a:cubicBezTo>
                      <a:pt x="0" y="131746"/>
                      <a:pt x="11598" y="103912"/>
                      <a:pt x="32473" y="83036"/>
                    </a:cubicBezTo>
                    <a:lnTo>
                      <a:pt x="83502" y="32007"/>
                    </a:lnTo>
                    <a:cubicBezTo>
                      <a:pt x="106697" y="8812"/>
                      <a:pt x="138396" y="-2012"/>
                      <a:pt x="170870" y="308"/>
                    </a:cubicBezTo>
                    <a:cubicBezTo>
                      <a:pt x="182467" y="1081"/>
                      <a:pt x="190199" y="11132"/>
                      <a:pt x="189426" y="22729"/>
                    </a:cubicBezTo>
                    <a:cubicBezTo>
                      <a:pt x="188652" y="34327"/>
                      <a:pt x="178602" y="42059"/>
                      <a:pt x="167004" y="41285"/>
                    </a:cubicBezTo>
                    <a:cubicBezTo>
                      <a:pt x="146902" y="39739"/>
                      <a:pt x="126799" y="46698"/>
                      <a:pt x="112109" y="60615"/>
                    </a:cubicBezTo>
                    <a:lnTo>
                      <a:pt x="61080" y="111644"/>
                    </a:lnTo>
                    <a:cubicBezTo>
                      <a:pt x="47936" y="124788"/>
                      <a:pt x="40977" y="141797"/>
                      <a:pt x="40977" y="160353"/>
                    </a:cubicBezTo>
                    <a:cubicBezTo>
                      <a:pt x="40977" y="178909"/>
                      <a:pt x="47936" y="195919"/>
                      <a:pt x="61080" y="209063"/>
                    </a:cubicBezTo>
                    <a:lnTo>
                      <a:pt x="66492" y="215248"/>
                    </a:lnTo>
                    <a:cubicBezTo>
                      <a:pt x="93553" y="242309"/>
                      <a:pt x="136850" y="242309"/>
                      <a:pt x="163911" y="215248"/>
                    </a:cubicBezTo>
                    <a:lnTo>
                      <a:pt x="214940" y="164219"/>
                    </a:lnTo>
                    <a:cubicBezTo>
                      <a:pt x="228858" y="150302"/>
                      <a:pt x="236589" y="130200"/>
                      <a:pt x="234269" y="109324"/>
                    </a:cubicBezTo>
                    <a:cubicBezTo>
                      <a:pt x="233496" y="97727"/>
                      <a:pt x="241228" y="88449"/>
                      <a:pt x="252826" y="86902"/>
                    </a:cubicBezTo>
                    <a:cubicBezTo>
                      <a:pt x="263650" y="86129"/>
                      <a:pt x="273701" y="93861"/>
                      <a:pt x="275248" y="105458"/>
                    </a:cubicBezTo>
                    <a:cubicBezTo>
                      <a:pt x="278340" y="137931"/>
                      <a:pt x="266743" y="169631"/>
                      <a:pt x="243548" y="192826"/>
                    </a:cubicBezTo>
                    <a:lnTo>
                      <a:pt x="192518" y="243855"/>
                    </a:lnTo>
                    <a:cubicBezTo>
                      <a:pt x="172416" y="267051"/>
                      <a:pt x="143809" y="277875"/>
                      <a:pt x="115975" y="277875"/>
                    </a:cubicBezTo>
                    <a:lnTo>
                      <a:pt x="115975" y="277875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grpSp>
            <p:nvGrpSpPr>
              <p:cNvPr id="38" name="Gráfico 2">
                <a:extLst>
                  <a:ext uri="{FF2B5EF4-FFF2-40B4-BE49-F238E27FC236}">
                    <a16:creationId xmlns:a16="http://schemas.microsoft.com/office/drawing/2014/main" id="{6FEF66BF-8D1E-4FFA-95A2-6EE56886837B}"/>
                  </a:ext>
                </a:extLst>
              </p:cNvPr>
              <p:cNvGrpSpPr/>
              <p:nvPr/>
            </p:nvGrpSpPr>
            <p:grpSpPr>
              <a:xfrm>
                <a:off x="11558806" y="1330997"/>
                <a:ext cx="368823" cy="369199"/>
                <a:chOff x="11558806" y="1330997"/>
                <a:chExt cx="368823" cy="369199"/>
              </a:xfrm>
              <a:grpFill/>
            </p:grpSpPr>
            <p:sp>
              <p:nvSpPr>
                <p:cNvPr id="39" name="Forma Livre: Forma 38">
                  <a:extLst>
                    <a:ext uri="{FF2B5EF4-FFF2-40B4-BE49-F238E27FC236}">
                      <a16:creationId xmlns:a16="http://schemas.microsoft.com/office/drawing/2014/main" id="{7C30879E-4987-4784-AF9C-D59A324A51ED}"/>
                    </a:ext>
                  </a:extLst>
                </p:cNvPr>
                <p:cNvSpPr/>
                <p:nvPr/>
              </p:nvSpPr>
              <p:spPr>
                <a:xfrm>
                  <a:off x="11558806" y="1330997"/>
                  <a:ext cx="125167" cy="124878"/>
                </a:xfrm>
                <a:custGeom>
                  <a:avLst/>
                  <a:gdLst>
                    <a:gd name="connsiteX0" fmla="*/ 114827 w 125167"/>
                    <a:gd name="connsiteY0" fmla="*/ 124878 h 124878"/>
                    <a:gd name="connsiteX1" fmla="*/ 112507 w 125167"/>
                    <a:gd name="connsiteY1" fmla="*/ 124878 h 124878"/>
                    <a:gd name="connsiteX2" fmla="*/ 7357 w 125167"/>
                    <a:gd name="connsiteY2" fmla="*/ 96271 h 124878"/>
                    <a:gd name="connsiteX3" fmla="*/ 398 w 125167"/>
                    <a:gd name="connsiteY3" fmla="*/ 83900 h 124878"/>
                    <a:gd name="connsiteX4" fmla="*/ 12768 w 125167"/>
                    <a:gd name="connsiteY4" fmla="*/ 76942 h 124878"/>
                    <a:gd name="connsiteX5" fmla="*/ 100910 w 125167"/>
                    <a:gd name="connsiteY5" fmla="*/ 100910 h 124878"/>
                    <a:gd name="connsiteX6" fmla="*/ 76942 w 125167"/>
                    <a:gd name="connsiteY6" fmla="*/ 12769 h 124878"/>
                    <a:gd name="connsiteX7" fmla="*/ 83900 w 125167"/>
                    <a:gd name="connsiteY7" fmla="*/ 398 h 124878"/>
                    <a:gd name="connsiteX8" fmla="*/ 96271 w 125167"/>
                    <a:gd name="connsiteY8" fmla="*/ 7357 h 124878"/>
                    <a:gd name="connsiteX9" fmla="*/ 124878 w 125167"/>
                    <a:gd name="connsiteY9" fmla="*/ 112507 h 124878"/>
                    <a:gd name="connsiteX10" fmla="*/ 122559 w 125167"/>
                    <a:gd name="connsiteY10" fmla="*/ 122559 h 124878"/>
                    <a:gd name="connsiteX11" fmla="*/ 114827 w 125167"/>
                    <a:gd name="connsiteY11" fmla="*/ 124878 h 124878"/>
                    <a:gd name="connsiteX12" fmla="*/ 114827 w 125167"/>
                    <a:gd name="connsiteY12" fmla="*/ 124878 h 1248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25167" h="124878">
                      <a:moveTo>
                        <a:pt x="114827" y="124878"/>
                      </a:moveTo>
                      <a:cubicBezTo>
                        <a:pt x="114054" y="124878"/>
                        <a:pt x="113280" y="124878"/>
                        <a:pt x="112507" y="124878"/>
                      </a:cubicBezTo>
                      <a:lnTo>
                        <a:pt x="7357" y="96271"/>
                      </a:lnTo>
                      <a:cubicBezTo>
                        <a:pt x="1945" y="94725"/>
                        <a:pt x="-1148" y="89312"/>
                        <a:pt x="398" y="83900"/>
                      </a:cubicBezTo>
                      <a:cubicBezTo>
                        <a:pt x="1945" y="78488"/>
                        <a:pt x="7357" y="75395"/>
                        <a:pt x="12768" y="76942"/>
                      </a:cubicBezTo>
                      <a:lnTo>
                        <a:pt x="100910" y="100910"/>
                      </a:lnTo>
                      <a:lnTo>
                        <a:pt x="76942" y="12769"/>
                      </a:lnTo>
                      <a:cubicBezTo>
                        <a:pt x="75396" y="7357"/>
                        <a:pt x="78488" y="1944"/>
                        <a:pt x="83900" y="398"/>
                      </a:cubicBezTo>
                      <a:cubicBezTo>
                        <a:pt x="89312" y="-1148"/>
                        <a:pt x="94725" y="1944"/>
                        <a:pt x="96271" y="7357"/>
                      </a:cubicBezTo>
                      <a:lnTo>
                        <a:pt x="124878" y="112507"/>
                      </a:lnTo>
                      <a:cubicBezTo>
                        <a:pt x="125652" y="116373"/>
                        <a:pt x="124878" y="119466"/>
                        <a:pt x="122559" y="122559"/>
                      </a:cubicBezTo>
                      <a:cubicBezTo>
                        <a:pt x="120239" y="123332"/>
                        <a:pt x="117920" y="124878"/>
                        <a:pt x="114827" y="124878"/>
                      </a:cubicBezTo>
                      <a:lnTo>
                        <a:pt x="114827" y="124878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40" name="Forma Livre: Forma 39">
                  <a:extLst>
                    <a:ext uri="{FF2B5EF4-FFF2-40B4-BE49-F238E27FC236}">
                      <a16:creationId xmlns:a16="http://schemas.microsoft.com/office/drawing/2014/main" id="{C284F90F-CEF1-4042-834B-6FB946FF5EBF}"/>
                    </a:ext>
                  </a:extLst>
                </p:cNvPr>
                <p:cNvSpPr/>
                <p:nvPr/>
              </p:nvSpPr>
              <p:spPr>
                <a:xfrm>
                  <a:off x="11802462" y="1574320"/>
                  <a:ext cx="125167" cy="125875"/>
                </a:xfrm>
                <a:custGeom>
                  <a:avLst/>
                  <a:gdLst>
                    <a:gd name="connsiteX0" fmla="*/ 38948 w 125167"/>
                    <a:gd name="connsiteY0" fmla="*/ 125876 h 125875"/>
                    <a:gd name="connsiteX1" fmla="*/ 28898 w 125167"/>
                    <a:gd name="connsiteY1" fmla="*/ 118144 h 125875"/>
                    <a:gd name="connsiteX2" fmla="*/ 290 w 125167"/>
                    <a:gd name="connsiteY2" fmla="*/ 12993 h 125875"/>
                    <a:gd name="connsiteX3" fmla="*/ 2610 w 125167"/>
                    <a:gd name="connsiteY3" fmla="*/ 2942 h 125875"/>
                    <a:gd name="connsiteX4" fmla="*/ 12660 w 125167"/>
                    <a:gd name="connsiteY4" fmla="*/ 622 h 125875"/>
                    <a:gd name="connsiteX5" fmla="*/ 117812 w 125167"/>
                    <a:gd name="connsiteY5" fmla="*/ 29230 h 125875"/>
                    <a:gd name="connsiteX6" fmla="*/ 124770 w 125167"/>
                    <a:gd name="connsiteY6" fmla="*/ 41600 h 125875"/>
                    <a:gd name="connsiteX7" fmla="*/ 112399 w 125167"/>
                    <a:gd name="connsiteY7" fmla="*/ 48559 h 125875"/>
                    <a:gd name="connsiteX8" fmla="*/ 24258 w 125167"/>
                    <a:gd name="connsiteY8" fmla="*/ 24591 h 125875"/>
                    <a:gd name="connsiteX9" fmla="*/ 48227 w 125167"/>
                    <a:gd name="connsiteY9" fmla="*/ 112732 h 125875"/>
                    <a:gd name="connsiteX10" fmla="*/ 41268 w 125167"/>
                    <a:gd name="connsiteY10" fmla="*/ 125103 h 125875"/>
                    <a:gd name="connsiteX11" fmla="*/ 38948 w 125167"/>
                    <a:gd name="connsiteY11" fmla="*/ 125876 h 125875"/>
                    <a:gd name="connsiteX12" fmla="*/ 38948 w 125167"/>
                    <a:gd name="connsiteY12" fmla="*/ 125876 h 125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25167" h="125875">
                      <a:moveTo>
                        <a:pt x="38948" y="125876"/>
                      </a:moveTo>
                      <a:cubicBezTo>
                        <a:pt x="34309" y="125876"/>
                        <a:pt x="30444" y="122783"/>
                        <a:pt x="28898" y="118144"/>
                      </a:cubicBezTo>
                      <a:lnTo>
                        <a:pt x="290" y="12993"/>
                      </a:lnTo>
                      <a:cubicBezTo>
                        <a:pt x="-483" y="9127"/>
                        <a:pt x="290" y="6035"/>
                        <a:pt x="2610" y="2942"/>
                      </a:cubicBezTo>
                      <a:cubicBezTo>
                        <a:pt x="4929" y="622"/>
                        <a:pt x="8795" y="-924"/>
                        <a:pt x="12660" y="622"/>
                      </a:cubicBezTo>
                      <a:lnTo>
                        <a:pt x="117812" y="29230"/>
                      </a:lnTo>
                      <a:cubicBezTo>
                        <a:pt x="123224" y="30776"/>
                        <a:pt x="126317" y="36188"/>
                        <a:pt x="124770" y="41600"/>
                      </a:cubicBezTo>
                      <a:cubicBezTo>
                        <a:pt x="123224" y="47013"/>
                        <a:pt x="117812" y="50105"/>
                        <a:pt x="112399" y="48559"/>
                      </a:cubicBezTo>
                      <a:lnTo>
                        <a:pt x="24258" y="24591"/>
                      </a:lnTo>
                      <a:lnTo>
                        <a:pt x="48227" y="112732"/>
                      </a:lnTo>
                      <a:cubicBezTo>
                        <a:pt x="49773" y="118144"/>
                        <a:pt x="46680" y="123556"/>
                        <a:pt x="41268" y="125103"/>
                      </a:cubicBezTo>
                      <a:cubicBezTo>
                        <a:pt x="40495" y="125103"/>
                        <a:pt x="39721" y="125876"/>
                        <a:pt x="38948" y="125876"/>
                      </a:cubicBezTo>
                      <a:lnTo>
                        <a:pt x="38948" y="125876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</p:grpSp>
        <p:grpSp>
          <p:nvGrpSpPr>
            <p:cNvPr id="41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1415160" y="3614246"/>
              <a:ext cx="400024" cy="399412"/>
              <a:chOff x="188223" y="3803213"/>
              <a:chExt cx="504878" cy="504105"/>
            </a:xfrm>
            <a:solidFill>
              <a:srgbClr val="B1B1A1"/>
            </a:solidFill>
          </p:grpSpPr>
          <p:sp>
            <p:nvSpPr>
              <p:cNvPr id="42" name="Forma Livre: Forma 41">
                <a:extLst>
                  <a:ext uri="{FF2B5EF4-FFF2-40B4-BE49-F238E27FC236}">
                    <a16:creationId xmlns:a16="http://schemas.microsoft.com/office/drawing/2014/main" id="{11AFA8BB-C22D-44B8-9905-4A172F097E48}"/>
                  </a:ext>
                </a:extLst>
              </p:cNvPr>
              <p:cNvSpPr/>
              <p:nvPr/>
            </p:nvSpPr>
            <p:spPr>
              <a:xfrm>
                <a:off x="188223" y="3803213"/>
                <a:ext cx="504878" cy="504105"/>
              </a:xfrm>
              <a:custGeom>
                <a:avLst/>
                <a:gdLst>
                  <a:gd name="connsiteX0" fmla="*/ 225765 w 504878"/>
                  <a:gd name="connsiteY0" fmla="*/ 504105 h 504105"/>
                  <a:gd name="connsiteX1" fmla="*/ 225765 w 504878"/>
                  <a:gd name="connsiteY1" fmla="*/ 504105 h 504105"/>
                  <a:gd name="connsiteX2" fmla="*/ 26288 w 504878"/>
                  <a:gd name="connsiteY2" fmla="*/ 497147 h 504105"/>
                  <a:gd name="connsiteX3" fmla="*/ 6185 w 504878"/>
                  <a:gd name="connsiteY3" fmla="*/ 477045 h 504105"/>
                  <a:gd name="connsiteX4" fmla="*/ 0 w 504878"/>
                  <a:gd name="connsiteY4" fmla="*/ 279114 h 504105"/>
                  <a:gd name="connsiteX5" fmla="*/ 6185 w 504878"/>
                  <a:gd name="connsiteY5" fmla="*/ 263650 h 504105"/>
                  <a:gd name="connsiteX6" fmla="*/ 263650 w 504878"/>
                  <a:gd name="connsiteY6" fmla="*/ 6185 h 504105"/>
                  <a:gd name="connsiteX7" fmla="*/ 278340 w 504878"/>
                  <a:gd name="connsiteY7" fmla="*/ 0 h 504105"/>
                  <a:gd name="connsiteX8" fmla="*/ 278340 w 504878"/>
                  <a:gd name="connsiteY8" fmla="*/ 0 h 504105"/>
                  <a:gd name="connsiteX9" fmla="*/ 293031 w 504878"/>
                  <a:gd name="connsiteY9" fmla="*/ 6185 h 504105"/>
                  <a:gd name="connsiteX10" fmla="*/ 498693 w 504878"/>
                  <a:gd name="connsiteY10" fmla="*/ 211848 h 504105"/>
                  <a:gd name="connsiteX11" fmla="*/ 504879 w 504878"/>
                  <a:gd name="connsiteY11" fmla="*/ 226538 h 504105"/>
                  <a:gd name="connsiteX12" fmla="*/ 498693 w 504878"/>
                  <a:gd name="connsiteY12" fmla="*/ 241228 h 504105"/>
                  <a:gd name="connsiteX13" fmla="*/ 241228 w 504878"/>
                  <a:gd name="connsiteY13" fmla="*/ 498694 h 504105"/>
                  <a:gd name="connsiteX14" fmla="*/ 225765 w 504878"/>
                  <a:gd name="connsiteY14" fmla="*/ 504105 h 504105"/>
                  <a:gd name="connsiteX15" fmla="*/ 225765 w 504878"/>
                  <a:gd name="connsiteY15" fmla="*/ 504105 h 504105"/>
                  <a:gd name="connsiteX16" fmla="*/ 47163 w 504878"/>
                  <a:gd name="connsiteY16" fmla="*/ 456942 h 504105"/>
                  <a:gd name="connsiteX17" fmla="*/ 218033 w 504878"/>
                  <a:gd name="connsiteY17" fmla="*/ 463128 h 504105"/>
                  <a:gd name="connsiteX18" fmla="*/ 454623 w 504878"/>
                  <a:gd name="connsiteY18" fmla="*/ 226538 h 504105"/>
                  <a:gd name="connsiteX19" fmla="*/ 277567 w 504878"/>
                  <a:gd name="connsiteY19" fmla="*/ 49483 h 504105"/>
                  <a:gd name="connsiteX20" fmla="*/ 40978 w 504878"/>
                  <a:gd name="connsiteY20" fmla="*/ 286072 h 504105"/>
                  <a:gd name="connsiteX21" fmla="*/ 47163 w 504878"/>
                  <a:gd name="connsiteY21" fmla="*/ 456942 h 504105"/>
                  <a:gd name="connsiteX22" fmla="*/ 47163 w 504878"/>
                  <a:gd name="connsiteY22" fmla="*/ 456942 h 5041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04878" h="504105">
                    <a:moveTo>
                      <a:pt x="225765" y="504105"/>
                    </a:moveTo>
                    <a:cubicBezTo>
                      <a:pt x="225765" y="504105"/>
                      <a:pt x="225765" y="504105"/>
                      <a:pt x="225765" y="504105"/>
                    </a:cubicBezTo>
                    <a:lnTo>
                      <a:pt x="26288" y="497147"/>
                    </a:lnTo>
                    <a:cubicBezTo>
                      <a:pt x="15463" y="497147"/>
                      <a:pt x="6959" y="487869"/>
                      <a:pt x="6185" y="477045"/>
                    </a:cubicBezTo>
                    <a:lnTo>
                      <a:pt x="0" y="279114"/>
                    </a:lnTo>
                    <a:cubicBezTo>
                      <a:pt x="0" y="273701"/>
                      <a:pt x="2320" y="268289"/>
                      <a:pt x="6185" y="263650"/>
                    </a:cubicBezTo>
                    <a:lnTo>
                      <a:pt x="263650" y="6185"/>
                    </a:lnTo>
                    <a:cubicBezTo>
                      <a:pt x="267516" y="2320"/>
                      <a:pt x="272928" y="0"/>
                      <a:pt x="278340" y="0"/>
                    </a:cubicBezTo>
                    <a:lnTo>
                      <a:pt x="278340" y="0"/>
                    </a:lnTo>
                    <a:cubicBezTo>
                      <a:pt x="283753" y="0"/>
                      <a:pt x="289165" y="2320"/>
                      <a:pt x="293031" y="6185"/>
                    </a:cubicBezTo>
                    <a:lnTo>
                      <a:pt x="498693" y="211848"/>
                    </a:lnTo>
                    <a:cubicBezTo>
                      <a:pt x="502559" y="215714"/>
                      <a:pt x="504879" y="221126"/>
                      <a:pt x="504879" y="226538"/>
                    </a:cubicBezTo>
                    <a:cubicBezTo>
                      <a:pt x="504879" y="231951"/>
                      <a:pt x="502559" y="237362"/>
                      <a:pt x="498693" y="241228"/>
                    </a:cubicBezTo>
                    <a:lnTo>
                      <a:pt x="241228" y="498694"/>
                    </a:lnTo>
                    <a:cubicBezTo>
                      <a:pt x="236589" y="502559"/>
                      <a:pt x="231177" y="504105"/>
                      <a:pt x="225765" y="504105"/>
                    </a:cubicBezTo>
                    <a:lnTo>
                      <a:pt x="225765" y="504105"/>
                    </a:lnTo>
                    <a:close/>
                    <a:moveTo>
                      <a:pt x="47163" y="456942"/>
                    </a:moveTo>
                    <a:lnTo>
                      <a:pt x="218033" y="463128"/>
                    </a:lnTo>
                    <a:lnTo>
                      <a:pt x="454623" y="226538"/>
                    </a:lnTo>
                    <a:lnTo>
                      <a:pt x="277567" y="49483"/>
                    </a:lnTo>
                    <a:lnTo>
                      <a:pt x="40978" y="286072"/>
                    </a:lnTo>
                    <a:lnTo>
                      <a:pt x="47163" y="456942"/>
                    </a:lnTo>
                    <a:lnTo>
                      <a:pt x="47163" y="456942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3" name="Forma Livre: Forma 42">
                <a:extLst>
                  <a:ext uri="{FF2B5EF4-FFF2-40B4-BE49-F238E27FC236}">
                    <a16:creationId xmlns:a16="http://schemas.microsoft.com/office/drawing/2014/main" id="{03C5E91D-0B05-4237-9921-D72FF068B125}"/>
                  </a:ext>
                </a:extLst>
              </p:cNvPr>
              <p:cNvSpPr/>
              <p:nvPr/>
            </p:nvSpPr>
            <p:spPr>
              <a:xfrm>
                <a:off x="411861" y="3878403"/>
                <a:ext cx="205276" cy="205469"/>
              </a:xfrm>
              <a:custGeom>
                <a:avLst/>
                <a:gdLst>
                  <a:gd name="connsiteX0" fmla="*/ 194645 w 205276"/>
                  <a:gd name="connsiteY0" fmla="*/ 205469 h 205469"/>
                  <a:gd name="connsiteX1" fmla="*/ 187687 w 205276"/>
                  <a:gd name="connsiteY1" fmla="*/ 202377 h 205469"/>
                  <a:gd name="connsiteX2" fmla="*/ 2899 w 205276"/>
                  <a:gd name="connsiteY2" fmla="*/ 17590 h 205469"/>
                  <a:gd name="connsiteX3" fmla="*/ 2899 w 205276"/>
                  <a:gd name="connsiteY3" fmla="*/ 2899 h 205469"/>
                  <a:gd name="connsiteX4" fmla="*/ 17590 w 205276"/>
                  <a:gd name="connsiteY4" fmla="*/ 2899 h 205469"/>
                  <a:gd name="connsiteX5" fmla="*/ 202377 w 205276"/>
                  <a:gd name="connsiteY5" fmla="*/ 187687 h 205469"/>
                  <a:gd name="connsiteX6" fmla="*/ 202377 w 205276"/>
                  <a:gd name="connsiteY6" fmla="*/ 202377 h 205469"/>
                  <a:gd name="connsiteX7" fmla="*/ 194645 w 205276"/>
                  <a:gd name="connsiteY7" fmla="*/ 205469 h 205469"/>
                  <a:gd name="connsiteX8" fmla="*/ 194645 w 205276"/>
                  <a:gd name="connsiteY8" fmla="*/ 205469 h 2054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5276" h="205469">
                    <a:moveTo>
                      <a:pt x="194645" y="205469"/>
                    </a:moveTo>
                    <a:cubicBezTo>
                      <a:pt x="192326" y="205469"/>
                      <a:pt x="189233" y="204696"/>
                      <a:pt x="187687" y="202377"/>
                    </a:cubicBezTo>
                    <a:lnTo>
                      <a:pt x="2899" y="17590"/>
                    </a:lnTo>
                    <a:cubicBezTo>
                      <a:pt x="-966" y="13724"/>
                      <a:pt x="-966" y="6765"/>
                      <a:pt x="2899" y="2899"/>
                    </a:cubicBezTo>
                    <a:cubicBezTo>
                      <a:pt x="6765" y="-966"/>
                      <a:pt x="13724" y="-966"/>
                      <a:pt x="17590" y="2899"/>
                    </a:cubicBezTo>
                    <a:lnTo>
                      <a:pt x="202377" y="187687"/>
                    </a:lnTo>
                    <a:cubicBezTo>
                      <a:pt x="206243" y="191553"/>
                      <a:pt x="206243" y="198511"/>
                      <a:pt x="202377" y="202377"/>
                    </a:cubicBezTo>
                    <a:cubicBezTo>
                      <a:pt x="200057" y="204696"/>
                      <a:pt x="197738" y="205469"/>
                      <a:pt x="194645" y="205469"/>
                    </a:cubicBezTo>
                    <a:lnTo>
                      <a:pt x="194645" y="205469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4" name="Forma Livre: Forma 43">
                <a:extLst>
                  <a:ext uri="{FF2B5EF4-FFF2-40B4-BE49-F238E27FC236}">
                    <a16:creationId xmlns:a16="http://schemas.microsoft.com/office/drawing/2014/main" id="{B13218E9-C6A9-4438-BF51-B892E4A71181}"/>
                  </a:ext>
                </a:extLst>
              </p:cNvPr>
              <p:cNvSpPr/>
              <p:nvPr/>
            </p:nvSpPr>
            <p:spPr>
              <a:xfrm>
                <a:off x="252589" y="4036130"/>
                <a:ext cx="207595" cy="207788"/>
              </a:xfrm>
              <a:custGeom>
                <a:avLst/>
                <a:gdLst>
                  <a:gd name="connsiteX0" fmla="*/ 197738 w 207595"/>
                  <a:gd name="connsiteY0" fmla="*/ 207789 h 207788"/>
                  <a:gd name="connsiteX1" fmla="*/ 190779 w 207595"/>
                  <a:gd name="connsiteY1" fmla="*/ 204696 h 207788"/>
                  <a:gd name="connsiteX2" fmla="*/ 121194 w 207595"/>
                  <a:gd name="connsiteY2" fmla="*/ 194645 h 207788"/>
                  <a:gd name="connsiteX3" fmla="*/ 108823 w 207595"/>
                  <a:gd name="connsiteY3" fmla="*/ 193099 h 207788"/>
                  <a:gd name="connsiteX4" fmla="*/ 107277 w 207595"/>
                  <a:gd name="connsiteY4" fmla="*/ 180728 h 207788"/>
                  <a:gd name="connsiteX5" fmla="*/ 96453 w 207595"/>
                  <a:gd name="connsiteY5" fmla="*/ 111143 h 207788"/>
                  <a:gd name="connsiteX6" fmla="*/ 26868 w 207595"/>
                  <a:gd name="connsiteY6" fmla="*/ 100318 h 207788"/>
                  <a:gd name="connsiteX7" fmla="*/ 15270 w 207595"/>
                  <a:gd name="connsiteY7" fmla="*/ 98772 h 207788"/>
                  <a:gd name="connsiteX8" fmla="*/ 13724 w 207595"/>
                  <a:gd name="connsiteY8" fmla="*/ 87174 h 207788"/>
                  <a:gd name="connsiteX9" fmla="*/ 2899 w 207595"/>
                  <a:gd name="connsiteY9" fmla="*/ 17589 h 207788"/>
                  <a:gd name="connsiteX10" fmla="*/ 2899 w 207595"/>
                  <a:gd name="connsiteY10" fmla="*/ 2899 h 207788"/>
                  <a:gd name="connsiteX11" fmla="*/ 17590 w 207595"/>
                  <a:gd name="connsiteY11" fmla="*/ 2899 h 207788"/>
                  <a:gd name="connsiteX12" fmla="*/ 39238 w 207595"/>
                  <a:gd name="connsiteY12" fmla="*/ 74804 h 207788"/>
                  <a:gd name="connsiteX13" fmla="*/ 111143 w 207595"/>
                  <a:gd name="connsiteY13" fmla="*/ 96453 h 207788"/>
                  <a:gd name="connsiteX14" fmla="*/ 132792 w 207595"/>
                  <a:gd name="connsiteY14" fmla="*/ 168357 h 207788"/>
                  <a:gd name="connsiteX15" fmla="*/ 204696 w 207595"/>
                  <a:gd name="connsiteY15" fmla="*/ 190006 h 207788"/>
                  <a:gd name="connsiteX16" fmla="*/ 204696 w 207595"/>
                  <a:gd name="connsiteY16" fmla="*/ 204696 h 207788"/>
                  <a:gd name="connsiteX17" fmla="*/ 197738 w 207595"/>
                  <a:gd name="connsiteY17" fmla="*/ 207789 h 207788"/>
                  <a:gd name="connsiteX18" fmla="*/ 197738 w 207595"/>
                  <a:gd name="connsiteY18" fmla="*/ 207789 h 207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07595" h="207788">
                    <a:moveTo>
                      <a:pt x="197738" y="207789"/>
                    </a:moveTo>
                    <a:cubicBezTo>
                      <a:pt x="195418" y="207789"/>
                      <a:pt x="192326" y="207015"/>
                      <a:pt x="190779" y="204696"/>
                    </a:cubicBezTo>
                    <a:cubicBezTo>
                      <a:pt x="172223" y="186140"/>
                      <a:pt x="144389" y="182274"/>
                      <a:pt x="121194" y="194645"/>
                    </a:cubicBezTo>
                    <a:cubicBezTo>
                      <a:pt x="117328" y="196964"/>
                      <a:pt x="112689" y="196191"/>
                      <a:pt x="108823" y="193099"/>
                    </a:cubicBezTo>
                    <a:cubicBezTo>
                      <a:pt x="105731" y="190006"/>
                      <a:pt x="104958" y="185367"/>
                      <a:pt x="107277" y="180728"/>
                    </a:cubicBezTo>
                    <a:cubicBezTo>
                      <a:pt x="119648" y="157533"/>
                      <a:pt x="115009" y="129699"/>
                      <a:pt x="96453" y="111143"/>
                    </a:cubicBezTo>
                    <a:cubicBezTo>
                      <a:pt x="77897" y="92587"/>
                      <a:pt x="50063" y="88721"/>
                      <a:pt x="26868" y="100318"/>
                    </a:cubicBezTo>
                    <a:cubicBezTo>
                      <a:pt x="23002" y="102638"/>
                      <a:pt x="18363" y="101865"/>
                      <a:pt x="15270" y="98772"/>
                    </a:cubicBezTo>
                    <a:cubicBezTo>
                      <a:pt x="12177" y="95680"/>
                      <a:pt x="11404" y="91040"/>
                      <a:pt x="13724" y="87174"/>
                    </a:cubicBezTo>
                    <a:cubicBezTo>
                      <a:pt x="26094" y="63979"/>
                      <a:pt x="21455" y="36146"/>
                      <a:pt x="2899" y="17589"/>
                    </a:cubicBezTo>
                    <a:cubicBezTo>
                      <a:pt x="-966" y="13723"/>
                      <a:pt x="-966" y="6765"/>
                      <a:pt x="2899" y="2899"/>
                    </a:cubicBezTo>
                    <a:cubicBezTo>
                      <a:pt x="6765" y="-966"/>
                      <a:pt x="13724" y="-966"/>
                      <a:pt x="17590" y="2899"/>
                    </a:cubicBezTo>
                    <a:cubicBezTo>
                      <a:pt x="36919" y="22229"/>
                      <a:pt x="44650" y="49289"/>
                      <a:pt x="39238" y="74804"/>
                    </a:cubicBezTo>
                    <a:cubicBezTo>
                      <a:pt x="64753" y="69392"/>
                      <a:pt x="91814" y="77123"/>
                      <a:pt x="111143" y="96453"/>
                    </a:cubicBezTo>
                    <a:cubicBezTo>
                      <a:pt x="130472" y="115782"/>
                      <a:pt x="138204" y="142843"/>
                      <a:pt x="132792" y="168357"/>
                    </a:cubicBezTo>
                    <a:cubicBezTo>
                      <a:pt x="158306" y="162945"/>
                      <a:pt x="185367" y="170676"/>
                      <a:pt x="204696" y="190006"/>
                    </a:cubicBezTo>
                    <a:cubicBezTo>
                      <a:pt x="208562" y="193872"/>
                      <a:pt x="208562" y="200830"/>
                      <a:pt x="204696" y="204696"/>
                    </a:cubicBezTo>
                    <a:cubicBezTo>
                      <a:pt x="202377" y="207015"/>
                      <a:pt x="200057" y="207789"/>
                      <a:pt x="197738" y="207789"/>
                    </a:cubicBezTo>
                    <a:lnTo>
                      <a:pt x="197738" y="207789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grpSp>
            <p:nvGrpSpPr>
              <p:cNvPr id="45" name="Gráfico 2">
                <a:extLst>
                  <a:ext uri="{FF2B5EF4-FFF2-40B4-BE49-F238E27FC236}">
                    <a16:creationId xmlns:a16="http://schemas.microsoft.com/office/drawing/2014/main" id="{6FEF66BF-8D1E-4FFA-95A2-6EE56886837B}"/>
                  </a:ext>
                </a:extLst>
              </p:cNvPr>
              <p:cNvGrpSpPr/>
              <p:nvPr/>
            </p:nvGrpSpPr>
            <p:grpSpPr>
              <a:xfrm>
                <a:off x="275011" y="3927886"/>
                <a:ext cx="288778" cy="288971"/>
                <a:chOff x="275011" y="3927886"/>
                <a:chExt cx="288778" cy="288971"/>
              </a:xfrm>
              <a:grpFill/>
            </p:grpSpPr>
            <p:sp>
              <p:nvSpPr>
                <p:cNvPr id="46" name="Forma Livre: Forma 45">
                  <a:extLst>
                    <a:ext uri="{FF2B5EF4-FFF2-40B4-BE49-F238E27FC236}">
                      <a16:creationId xmlns:a16="http://schemas.microsoft.com/office/drawing/2014/main" id="{31DE494D-F357-4EDF-81DC-8E981EF4ECDF}"/>
                    </a:ext>
                  </a:extLst>
                </p:cNvPr>
                <p:cNvSpPr/>
                <p:nvPr/>
              </p:nvSpPr>
              <p:spPr>
                <a:xfrm>
                  <a:off x="275011" y="3927886"/>
                  <a:ext cx="192132" cy="192325"/>
                </a:xfrm>
                <a:custGeom>
                  <a:avLst/>
                  <a:gdLst>
                    <a:gd name="connsiteX0" fmla="*/ 9858 w 192132"/>
                    <a:gd name="connsiteY0" fmla="*/ 192326 h 192325"/>
                    <a:gd name="connsiteX1" fmla="*/ 2899 w 192132"/>
                    <a:gd name="connsiteY1" fmla="*/ 189233 h 192325"/>
                    <a:gd name="connsiteX2" fmla="*/ 2899 w 192132"/>
                    <a:gd name="connsiteY2" fmla="*/ 174543 h 192325"/>
                    <a:gd name="connsiteX3" fmla="*/ 174543 w 192132"/>
                    <a:gd name="connsiteY3" fmla="*/ 2899 h 192325"/>
                    <a:gd name="connsiteX4" fmla="*/ 189233 w 192132"/>
                    <a:gd name="connsiteY4" fmla="*/ 2899 h 192325"/>
                    <a:gd name="connsiteX5" fmla="*/ 189233 w 192132"/>
                    <a:gd name="connsiteY5" fmla="*/ 17590 h 192325"/>
                    <a:gd name="connsiteX6" fmla="*/ 17590 w 192132"/>
                    <a:gd name="connsiteY6" fmla="*/ 189233 h 192325"/>
                    <a:gd name="connsiteX7" fmla="*/ 9858 w 192132"/>
                    <a:gd name="connsiteY7" fmla="*/ 192326 h 192325"/>
                    <a:gd name="connsiteX8" fmla="*/ 9858 w 192132"/>
                    <a:gd name="connsiteY8" fmla="*/ 192326 h 1923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92132" h="192325">
                      <a:moveTo>
                        <a:pt x="9858" y="192326"/>
                      </a:moveTo>
                      <a:cubicBezTo>
                        <a:pt x="7538" y="192326"/>
                        <a:pt x="4446" y="191552"/>
                        <a:pt x="2899" y="189233"/>
                      </a:cubicBezTo>
                      <a:cubicBezTo>
                        <a:pt x="-966" y="185367"/>
                        <a:pt x="-966" y="178408"/>
                        <a:pt x="2899" y="174543"/>
                      </a:cubicBezTo>
                      <a:lnTo>
                        <a:pt x="174543" y="2899"/>
                      </a:lnTo>
                      <a:cubicBezTo>
                        <a:pt x="178409" y="-966"/>
                        <a:pt x="185367" y="-966"/>
                        <a:pt x="189233" y="2899"/>
                      </a:cubicBezTo>
                      <a:cubicBezTo>
                        <a:pt x="193099" y="6765"/>
                        <a:pt x="193099" y="13724"/>
                        <a:pt x="189233" y="17590"/>
                      </a:cubicBezTo>
                      <a:lnTo>
                        <a:pt x="17590" y="189233"/>
                      </a:lnTo>
                      <a:cubicBezTo>
                        <a:pt x="15270" y="190779"/>
                        <a:pt x="12951" y="192326"/>
                        <a:pt x="9858" y="192326"/>
                      </a:cubicBezTo>
                      <a:lnTo>
                        <a:pt x="9858" y="192326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47" name="Forma Livre: Forma 46">
                  <a:extLst>
                    <a:ext uri="{FF2B5EF4-FFF2-40B4-BE49-F238E27FC236}">
                      <a16:creationId xmlns:a16="http://schemas.microsoft.com/office/drawing/2014/main" id="{41BF0C2B-E603-474B-9D59-2DA5A2CE8457}"/>
                    </a:ext>
                  </a:extLst>
                </p:cNvPr>
                <p:cNvSpPr/>
                <p:nvPr/>
              </p:nvSpPr>
              <p:spPr>
                <a:xfrm>
                  <a:off x="371657" y="4024532"/>
                  <a:ext cx="192132" cy="192325"/>
                </a:xfrm>
                <a:custGeom>
                  <a:avLst/>
                  <a:gdLst>
                    <a:gd name="connsiteX0" fmla="*/ 9858 w 192132"/>
                    <a:gd name="connsiteY0" fmla="*/ 192326 h 192325"/>
                    <a:gd name="connsiteX1" fmla="*/ 2899 w 192132"/>
                    <a:gd name="connsiteY1" fmla="*/ 189233 h 192325"/>
                    <a:gd name="connsiteX2" fmla="*/ 2899 w 192132"/>
                    <a:gd name="connsiteY2" fmla="*/ 174542 h 192325"/>
                    <a:gd name="connsiteX3" fmla="*/ 174543 w 192132"/>
                    <a:gd name="connsiteY3" fmla="*/ 2899 h 192325"/>
                    <a:gd name="connsiteX4" fmla="*/ 189233 w 192132"/>
                    <a:gd name="connsiteY4" fmla="*/ 2899 h 192325"/>
                    <a:gd name="connsiteX5" fmla="*/ 189233 w 192132"/>
                    <a:gd name="connsiteY5" fmla="*/ 17589 h 192325"/>
                    <a:gd name="connsiteX6" fmla="*/ 17590 w 192132"/>
                    <a:gd name="connsiteY6" fmla="*/ 189233 h 192325"/>
                    <a:gd name="connsiteX7" fmla="*/ 9858 w 192132"/>
                    <a:gd name="connsiteY7" fmla="*/ 192326 h 192325"/>
                    <a:gd name="connsiteX8" fmla="*/ 9858 w 192132"/>
                    <a:gd name="connsiteY8" fmla="*/ 192326 h 1923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92132" h="192325">
                      <a:moveTo>
                        <a:pt x="9858" y="192326"/>
                      </a:moveTo>
                      <a:cubicBezTo>
                        <a:pt x="7538" y="192326"/>
                        <a:pt x="4446" y="191552"/>
                        <a:pt x="2899" y="189233"/>
                      </a:cubicBezTo>
                      <a:cubicBezTo>
                        <a:pt x="-966" y="185367"/>
                        <a:pt x="-966" y="178408"/>
                        <a:pt x="2899" y="174542"/>
                      </a:cubicBezTo>
                      <a:lnTo>
                        <a:pt x="174543" y="2899"/>
                      </a:lnTo>
                      <a:cubicBezTo>
                        <a:pt x="178409" y="-966"/>
                        <a:pt x="185367" y="-966"/>
                        <a:pt x="189233" y="2899"/>
                      </a:cubicBezTo>
                      <a:cubicBezTo>
                        <a:pt x="193099" y="6765"/>
                        <a:pt x="193099" y="13723"/>
                        <a:pt x="189233" y="17589"/>
                      </a:cubicBezTo>
                      <a:lnTo>
                        <a:pt x="17590" y="189233"/>
                      </a:lnTo>
                      <a:cubicBezTo>
                        <a:pt x="15270" y="190779"/>
                        <a:pt x="12951" y="192326"/>
                        <a:pt x="9858" y="192326"/>
                      </a:cubicBezTo>
                      <a:lnTo>
                        <a:pt x="9858" y="192326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sp>
            <p:nvSpPr>
              <p:cNvPr id="48" name="Forma Livre: Forma 47">
                <a:extLst>
                  <a:ext uri="{FF2B5EF4-FFF2-40B4-BE49-F238E27FC236}">
                    <a16:creationId xmlns:a16="http://schemas.microsoft.com/office/drawing/2014/main" id="{3490D698-D07E-4DF7-B54B-D52E97638A59}"/>
                  </a:ext>
                </a:extLst>
              </p:cNvPr>
              <p:cNvSpPr/>
              <p:nvPr/>
            </p:nvSpPr>
            <p:spPr>
              <a:xfrm>
                <a:off x="202140" y="4172014"/>
                <a:ext cx="117521" cy="121387"/>
              </a:xfrm>
              <a:custGeom>
                <a:avLst/>
                <a:gdLst>
                  <a:gd name="connsiteX0" fmla="*/ 105924 w 117521"/>
                  <a:gd name="connsiteY0" fmla="*/ 121387 h 121387"/>
                  <a:gd name="connsiteX1" fmla="*/ 105924 w 117521"/>
                  <a:gd name="connsiteY1" fmla="*/ 121387 h 121387"/>
                  <a:gd name="connsiteX2" fmla="*/ 13144 w 117521"/>
                  <a:gd name="connsiteY2" fmla="*/ 118295 h 121387"/>
                  <a:gd name="connsiteX3" fmla="*/ 3093 w 117521"/>
                  <a:gd name="connsiteY3" fmla="*/ 108244 h 121387"/>
                  <a:gd name="connsiteX4" fmla="*/ 0 w 117521"/>
                  <a:gd name="connsiteY4" fmla="*/ 11598 h 121387"/>
                  <a:gd name="connsiteX5" fmla="*/ 9278 w 117521"/>
                  <a:gd name="connsiteY5" fmla="*/ 773 h 121387"/>
                  <a:gd name="connsiteX6" fmla="*/ 11598 w 117521"/>
                  <a:gd name="connsiteY6" fmla="*/ 773 h 121387"/>
                  <a:gd name="connsiteX7" fmla="*/ 17783 w 117521"/>
                  <a:gd name="connsiteY7" fmla="*/ 0 h 121387"/>
                  <a:gd name="connsiteX8" fmla="*/ 117522 w 117521"/>
                  <a:gd name="connsiteY8" fmla="*/ 99739 h 121387"/>
                  <a:gd name="connsiteX9" fmla="*/ 116748 w 117521"/>
                  <a:gd name="connsiteY9" fmla="*/ 109017 h 121387"/>
                  <a:gd name="connsiteX10" fmla="*/ 116748 w 117521"/>
                  <a:gd name="connsiteY10" fmla="*/ 111336 h 121387"/>
                  <a:gd name="connsiteX11" fmla="*/ 105924 w 117521"/>
                  <a:gd name="connsiteY11" fmla="*/ 121387 h 121387"/>
                  <a:gd name="connsiteX12" fmla="*/ 105924 w 117521"/>
                  <a:gd name="connsiteY12" fmla="*/ 121387 h 121387"/>
                  <a:gd name="connsiteX13" fmla="*/ 23195 w 117521"/>
                  <a:gd name="connsiteY13" fmla="*/ 98192 h 121387"/>
                  <a:gd name="connsiteX14" fmla="*/ 96646 w 117521"/>
                  <a:gd name="connsiteY14" fmla="*/ 100512 h 121387"/>
                  <a:gd name="connsiteX15" fmla="*/ 96646 w 117521"/>
                  <a:gd name="connsiteY15" fmla="*/ 100512 h 121387"/>
                  <a:gd name="connsiteX16" fmla="*/ 20102 w 117521"/>
                  <a:gd name="connsiteY16" fmla="*/ 20876 h 121387"/>
                  <a:gd name="connsiteX17" fmla="*/ 23195 w 117521"/>
                  <a:gd name="connsiteY17" fmla="*/ 98192 h 121387"/>
                  <a:gd name="connsiteX18" fmla="*/ 23195 w 117521"/>
                  <a:gd name="connsiteY18" fmla="*/ 98192 h 121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17521" h="121387">
                    <a:moveTo>
                      <a:pt x="105924" y="121387"/>
                    </a:moveTo>
                    <a:cubicBezTo>
                      <a:pt x="105924" y="121387"/>
                      <a:pt x="105151" y="121387"/>
                      <a:pt x="105924" y="121387"/>
                    </a:cubicBezTo>
                    <a:lnTo>
                      <a:pt x="13144" y="118295"/>
                    </a:lnTo>
                    <a:cubicBezTo>
                      <a:pt x="7732" y="118295"/>
                      <a:pt x="3093" y="113656"/>
                      <a:pt x="3093" y="108244"/>
                    </a:cubicBezTo>
                    <a:lnTo>
                      <a:pt x="0" y="11598"/>
                    </a:lnTo>
                    <a:cubicBezTo>
                      <a:pt x="0" y="6186"/>
                      <a:pt x="3866" y="1546"/>
                      <a:pt x="9278" y="773"/>
                    </a:cubicBezTo>
                    <a:lnTo>
                      <a:pt x="11598" y="773"/>
                    </a:lnTo>
                    <a:cubicBezTo>
                      <a:pt x="13144" y="773"/>
                      <a:pt x="15463" y="0"/>
                      <a:pt x="17783" y="0"/>
                    </a:cubicBezTo>
                    <a:cubicBezTo>
                      <a:pt x="72678" y="0"/>
                      <a:pt x="117522" y="44844"/>
                      <a:pt x="117522" y="99739"/>
                    </a:cubicBezTo>
                    <a:cubicBezTo>
                      <a:pt x="117522" y="102832"/>
                      <a:pt x="116748" y="105924"/>
                      <a:pt x="116748" y="109017"/>
                    </a:cubicBezTo>
                    <a:lnTo>
                      <a:pt x="116748" y="111336"/>
                    </a:lnTo>
                    <a:cubicBezTo>
                      <a:pt x="115202" y="118295"/>
                      <a:pt x="110563" y="121387"/>
                      <a:pt x="105924" y="121387"/>
                    </a:cubicBezTo>
                    <a:lnTo>
                      <a:pt x="105924" y="121387"/>
                    </a:lnTo>
                    <a:close/>
                    <a:moveTo>
                      <a:pt x="23195" y="98192"/>
                    </a:moveTo>
                    <a:lnTo>
                      <a:pt x="96646" y="100512"/>
                    </a:lnTo>
                    <a:cubicBezTo>
                      <a:pt x="96646" y="100512"/>
                      <a:pt x="96646" y="100512"/>
                      <a:pt x="96646" y="100512"/>
                    </a:cubicBezTo>
                    <a:cubicBezTo>
                      <a:pt x="96646" y="57988"/>
                      <a:pt x="62627" y="23195"/>
                      <a:pt x="20102" y="20876"/>
                    </a:cubicBezTo>
                    <a:lnTo>
                      <a:pt x="23195" y="98192"/>
                    </a:lnTo>
                    <a:lnTo>
                      <a:pt x="23195" y="98192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49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2406339" y="3619146"/>
              <a:ext cx="398187" cy="389610"/>
              <a:chOff x="1439208" y="3809398"/>
              <a:chExt cx="502559" cy="491734"/>
            </a:xfrm>
            <a:solidFill>
              <a:srgbClr val="B1B1A1"/>
            </a:solidFill>
          </p:grpSpPr>
          <p:grpSp>
            <p:nvGrpSpPr>
              <p:cNvPr id="50" name="Gráfico 2">
                <a:extLst>
                  <a:ext uri="{FF2B5EF4-FFF2-40B4-BE49-F238E27FC236}">
                    <a16:creationId xmlns:a16="http://schemas.microsoft.com/office/drawing/2014/main" id="{6FEF66BF-8D1E-4FFA-95A2-6EE56886837B}"/>
                  </a:ext>
                </a:extLst>
              </p:cNvPr>
              <p:cNvGrpSpPr/>
              <p:nvPr/>
            </p:nvGrpSpPr>
            <p:grpSpPr>
              <a:xfrm>
                <a:off x="1583018" y="3809398"/>
                <a:ext cx="358749" cy="358749"/>
                <a:chOff x="1583018" y="3809398"/>
                <a:chExt cx="358749" cy="358749"/>
              </a:xfrm>
              <a:grpFill/>
            </p:grpSpPr>
            <p:sp>
              <p:nvSpPr>
                <p:cNvPr id="51" name="Forma Livre: Forma 50">
                  <a:extLst>
                    <a:ext uri="{FF2B5EF4-FFF2-40B4-BE49-F238E27FC236}">
                      <a16:creationId xmlns:a16="http://schemas.microsoft.com/office/drawing/2014/main" id="{4EBF0DF8-7A28-46E4-96F2-96A3CCFCC452}"/>
                    </a:ext>
                  </a:extLst>
                </p:cNvPr>
                <p:cNvSpPr/>
                <p:nvPr/>
              </p:nvSpPr>
              <p:spPr>
                <a:xfrm>
                  <a:off x="1583018" y="3809398"/>
                  <a:ext cx="358749" cy="358749"/>
                </a:xfrm>
                <a:custGeom>
                  <a:avLst/>
                  <a:gdLst>
                    <a:gd name="connsiteX0" fmla="*/ 20876 w 358749"/>
                    <a:gd name="connsiteY0" fmla="*/ 357977 h 358749"/>
                    <a:gd name="connsiteX1" fmla="*/ 6185 w 358749"/>
                    <a:gd name="connsiteY1" fmla="*/ 351791 h 358749"/>
                    <a:gd name="connsiteX2" fmla="*/ 0 w 358749"/>
                    <a:gd name="connsiteY2" fmla="*/ 336328 h 358749"/>
                    <a:gd name="connsiteX3" fmla="*/ 4639 w 358749"/>
                    <a:gd name="connsiteY3" fmla="*/ 256692 h 358749"/>
                    <a:gd name="connsiteX4" fmla="*/ 10824 w 358749"/>
                    <a:gd name="connsiteY4" fmla="*/ 243548 h 358749"/>
                    <a:gd name="connsiteX5" fmla="*/ 248187 w 358749"/>
                    <a:gd name="connsiteY5" fmla="*/ 6185 h 358749"/>
                    <a:gd name="connsiteX6" fmla="*/ 262877 w 358749"/>
                    <a:gd name="connsiteY6" fmla="*/ 0 h 358749"/>
                    <a:gd name="connsiteX7" fmla="*/ 262877 w 358749"/>
                    <a:gd name="connsiteY7" fmla="*/ 0 h 358749"/>
                    <a:gd name="connsiteX8" fmla="*/ 277567 w 358749"/>
                    <a:gd name="connsiteY8" fmla="*/ 6185 h 358749"/>
                    <a:gd name="connsiteX9" fmla="*/ 352565 w 358749"/>
                    <a:gd name="connsiteY9" fmla="*/ 81183 h 358749"/>
                    <a:gd name="connsiteX10" fmla="*/ 358750 w 358749"/>
                    <a:gd name="connsiteY10" fmla="*/ 95873 h 358749"/>
                    <a:gd name="connsiteX11" fmla="*/ 352565 w 358749"/>
                    <a:gd name="connsiteY11" fmla="*/ 110563 h 358749"/>
                    <a:gd name="connsiteX12" fmla="*/ 115202 w 358749"/>
                    <a:gd name="connsiteY12" fmla="*/ 347926 h 358749"/>
                    <a:gd name="connsiteX13" fmla="*/ 102058 w 358749"/>
                    <a:gd name="connsiteY13" fmla="*/ 354111 h 358749"/>
                    <a:gd name="connsiteX14" fmla="*/ 22422 w 358749"/>
                    <a:gd name="connsiteY14" fmla="*/ 358750 h 358749"/>
                    <a:gd name="connsiteX15" fmla="*/ 20876 w 358749"/>
                    <a:gd name="connsiteY15" fmla="*/ 357977 h 358749"/>
                    <a:gd name="connsiteX16" fmla="*/ 20876 w 358749"/>
                    <a:gd name="connsiteY16" fmla="*/ 357977 h 358749"/>
                    <a:gd name="connsiteX17" fmla="*/ 45617 w 358749"/>
                    <a:gd name="connsiteY17" fmla="*/ 267516 h 358749"/>
                    <a:gd name="connsiteX18" fmla="*/ 42524 w 358749"/>
                    <a:gd name="connsiteY18" fmla="*/ 316225 h 358749"/>
                    <a:gd name="connsiteX19" fmla="*/ 91234 w 358749"/>
                    <a:gd name="connsiteY19" fmla="*/ 313133 h 358749"/>
                    <a:gd name="connsiteX20" fmla="*/ 308494 w 358749"/>
                    <a:gd name="connsiteY20" fmla="*/ 95873 h 358749"/>
                    <a:gd name="connsiteX21" fmla="*/ 262877 w 358749"/>
                    <a:gd name="connsiteY21" fmla="*/ 50256 h 358749"/>
                    <a:gd name="connsiteX22" fmla="*/ 45617 w 358749"/>
                    <a:gd name="connsiteY22" fmla="*/ 267516 h 358749"/>
                    <a:gd name="connsiteX23" fmla="*/ 45617 w 358749"/>
                    <a:gd name="connsiteY23" fmla="*/ 267516 h 3587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358749" h="358749">
                      <a:moveTo>
                        <a:pt x="20876" y="357977"/>
                      </a:moveTo>
                      <a:cubicBezTo>
                        <a:pt x="15463" y="357977"/>
                        <a:pt x="10051" y="355657"/>
                        <a:pt x="6185" y="351791"/>
                      </a:cubicBezTo>
                      <a:cubicBezTo>
                        <a:pt x="2320" y="347926"/>
                        <a:pt x="0" y="341740"/>
                        <a:pt x="0" y="336328"/>
                      </a:cubicBezTo>
                      <a:lnTo>
                        <a:pt x="4639" y="256692"/>
                      </a:lnTo>
                      <a:cubicBezTo>
                        <a:pt x="4639" y="252053"/>
                        <a:pt x="6958" y="246640"/>
                        <a:pt x="10824" y="243548"/>
                      </a:cubicBezTo>
                      <a:lnTo>
                        <a:pt x="248187" y="6185"/>
                      </a:lnTo>
                      <a:cubicBezTo>
                        <a:pt x="252053" y="2319"/>
                        <a:pt x="257465" y="0"/>
                        <a:pt x="262877" y="0"/>
                      </a:cubicBezTo>
                      <a:lnTo>
                        <a:pt x="262877" y="0"/>
                      </a:lnTo>
                      <a:cubicBezTo>
                        <a:pt x="268289" y="0"/>
                        <a:pt x="273701" y="2319"/>
                        <a:pt x="277567" y="6185"/>
                      </a:cubicBezTo>
                      <a:lnTo>
                        <a:pt x="352565" y="81183"/>
                      </a:lnTo>
                      <a:cubicBezTo>
                        <a:pt x="356430" y="85048"/>
                        <a:pt x="358750" y="90461"/>
                        <a:pt x="358750" y="95873"/>
                      </a:cubicBezTo>
                      <a:cubicBezTo>
                        <a:pt x="358750" y="101285"/>
                        <a:pt x="356430" y="106697"/>
                        <a:pt x="352565" y="110563"/>
                      </a:cubicBezTo>
                      <a:lnTo>
                        <a:pt x="115202" y="347926"/>
                      </a:lnTo>
                      <a:cubicBezTo>
                        <a:pt x="111336" y="351791"/>
                        <a:pt x="106697" y="353338"/>
                        <a:pt x="102058" y="354111"/>
                      </a:cubicBezTo>
                      <a:lnTo>
                        <a:pt x="22422" y="358750"/>
                      </a:lnTo>
                      <a:cubicBezTo>
                        <a:pt x="21649" y="357977"/>
                        <a:pt x="21649" y="357977"/>
                        <a:pt x="20876" y="357977"/>
                      </a:cubicBezTo>
                      <a:lnTo>
                        <a:pt x="20876" y="357977"/>
                      </a:lnTo>
                      <a:close/>
                      <a:moveTo>
                        <a:pt x="45617" y="267516"/>
                      </a:moveTo>
                      <a:lnTo>
                        <a:pt x="42524" y="316225"/>
                      </a:lnTo>
                      <a:lnTo>
                        <a:pt x="91234" y="313133"/>
                      </a:lnTo>
                      <a:lnTo>
                        <a:pt x="308494" y="95873"/>
                      </a:lnTo>
                      <a:lnTo>
                        <a:pt x="262877" y="50256"/>
                      </a:lnTo>
                      <a:lnTo>
                        <a:pt x="45617" y="267516"/>
                      </a:lnTo>
                      <a:lnTo>
                        <a:pt x="45617" y="267516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52" name="Forma Livre: Forma 51">
                  <a:extLst>
                    <a:ext uri="{FF2B5EF4-FFF2-40B4-BE49-F238E27FC236}">
                      <a16:creationId xmlns:a16="http://schemas.microsoft.com/office/drawing/2014/main" id="{D6DC0635-B6A9-45E6-A43B-93464E47ACF2}"/>
                    </a:ext>
                  </a:extLst>
                </p:cNvPr>
                <p:cNvSpPr/>
                <p:nvPr/>
              </p:nvSpPr>
              <p:spPr>
                <a:xfrm>
                  <a:off x="1801244" y="3862167"/>
                  <a:ext cx="87754" cy="87947"/>
                </a:xfrm>
                <a:custGeom>
                  <a:avLst/>
                  <a:gdLst>
                    <a:gd name="connsiteX0" fmla="*/ 77124 w 87754"/>
                    <a:gd name="connsiteY0" fmla="*/ 87948 h 87947"/>
                    <a:gd name="connsiteX1" fmla="*/ 70165 w 87754"/>
                    <a:gd name="connsiteY1" fmla="*/ 84855 h 87947"/>
                    <a:gd name="connsiteX2" fmla="*/ 2899 w 87754"/>
                    <a:gd name="connsiteY2" fmla="*/ 17590 h 87947"/>
                    <a:gd name="connsiteX3" fmla="*/ 2899 w 87754"/>
                    <a:gd name="connsiteY3" fmla="*/ 2899 h 87947"/>
                    <a:gd name="connsiteX4" fmla="*/ 17590 w 87754"/>
                    <a:gd name="connsiteY4" fmla="*/ 2899 h 87947"/>
                    <a:gd name="connsiteX5" fmla="*/ 84855 w 87754"/>
                    <a:gd name="connsiteY5" fmla="*/ 70165 h 87947"/>
                    <a:gd name="connsiteX6" fmla="*/ 84855 w 87754"/>
                    <a:gd name="connsiteY6" fmla="*/ 84855 h 87947"/>
                    <a:gd name="connsiteX7" fmla="*/ 77124 w 87754"/>
                    <a:gd name="connsiteY7" fmla="*/ 87948 h 87947"/>
                    <a:gd name="connsiteX8" fmla="*/ 77124 w 87754"/>
                    <a:gd name="connsiteY8" fmla="*/ 87948 h 87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7754" h="87947">
                      <a:moveTo>
                        <a:pt x="77124" y="87948"/>
                      </a:moveTo>
                      <a:cubicBezTo>
                        <a:pt x="74804" y="87948"/>
                        <a:pt x="71711" y="87175"/>
                        <a:pt x="70165" y="84855"/>
                      </a:cubicBezTo>
                      <a:lnTo>
                        <a:pt x="2899" y="17590"/>
                      </a:lnTo>
                      <a:cubicBezTo>
                        <a:pt x="-966" y="13724"/>
                        <a:pt x="-966" y="6765"/>
                        <a:pt x="2899" y="2899"/>
                      </a:cubicBezTo>
                      <a:cubicBezTo>
                        <a:pt x="6765" y="-966"/>
                        <a:pt x="13724" y="-966"/>
                        <a:pt x="17590" y="2899"/>
                      </a:cubicBezTo>
                      <a:lnTo>
                        <a:pt x="84855" y="70165"/>
                      </a:lnTo>
                      <a:cubicBezTo>
                        <a:pt x="88721" y="74031"/>
                        <a:pt x="88721" y="80989"/>
                        <a:pt x="84855" y="84855"/>
                      </a:cubicBezTo>
                      <a:cubicBezTo>
                        <a:pt x="82536" y="87175"/>
                        <a:pt x="80216" y="87948"/>
                        <a:pt x="77124" y="87948"/>
                      </a:cubicBezTo>
                      <a:lnTo>
                        <a:pt x="77124" y="87948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53" name="Forma Livre: Forma 52">
                  <a:extLst>
                    <a:ext uri="{FF2B5EF4-FFF2-40B4-BE49-F238E27FC236}">
                      <a16:creationId xmlns:a16="http://schemas.microsoft.com/office/drawing/2014/main" id="{7B18570E-9297-4C51-9880-D7751C024BAB}"/>
                    </a:ext>
                  </a:extLst>
                </p:cNvPr>
                <p:cNvSpPr/>
                <p:nvPr/>
              </p:nvSpPr>
              <p:spPr>
                <a:xfrm>
                  <a:off x="1648930" y="3896959"/>
                  <a:ext cx="206049" cy="206242"/>
                </a:xfrm>
                <a:custGeom>
                  <a:avLst/>
                  <a:gdLst>
                    <a:gd name="connsiteX0" fmla="*/ 9858 w 206049"/>
                    <a:gd name="connsiteY0" fmla="*/ 206243 h 206242"/>
                    <a:gd name="connsiteX1" fmla="*/ 2899 w 206049"/>
                    <a:gd name="connsiteY1" fmla="*/ 203150 h 206242"/>
                    <a:gd name="connsiteX2" fmla="*/ 2899 w 206049"/>
                    <a:gd name="connsiteY2" fmla="*/ 188460 h 206242"/>
                    <a:gd name="connsiteX3" fmla="*/ 188460 w 206049"/>
                    <a:gd name="connsiteY3" fmla="*/ 2899 h 206242"/>
                    <a:gd name="connsiteX4" fmla="*/ 203150 w 206049"/>
                    <a:gd name="connsiteY4" fmla="*/ 2899 h 206242"/>
                    <a:gd name="connsiteX5" fmla="*/ 203150 w 206049"/>
                    <a:gd name="connsiteY5" fmla="*/ 17590 h 206242"/>
                    <a:gd name="connsiteX6" fmla="*/ 17590 w 206049"/>
                    <a:gd name="connsiteY6" fmla="*/ 203150 h 206242"/>
                    <a:gd name="connsiteX7" fmla="*/ 9858 w 206049"/>
                    <a:gd name="connsiteY7" fmla="*/ 206243 h 206242"/>
                    <a:gd name="connsiteX8" fmla="*/ 9858 w 206049"/>
                    <a:gd name="connsiteY8" fmla="*/ 206243 h 2062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06049" h="206242">
                      <a:moveTo>
                        <a:pt x="9858" y="206243"/>
                      </a:moveTo>
                      <a:cubicBezTo>
                        <a:pt x="7538" y="206243"/>
                        <a:pt x="4446" y="205469"/>
                        <a:pt x="2899" y="203150"/>
                      </a:cubicBezTo>
                      <a:cubicBezTo>
                        <a:pt x="-966" y="199284"/>
                        <a:pt x="-966" y="192326"/>
                        <a:pt x="2899" y="188460"/>
                      </a:cubicBezTo>
                      <a:lnTo>
                        <a:pt x="188460" y="2899"/>
                      </a:lnTo>
                      <a:cubicBezTo>
                        <a:pt x="192326" y="-966"/>
                        <a:pt x="199284" y="-966"/>
                        <a:pt x="203150" y="2899"/>
                      </a:cubicBezTo>
                      <a:cubicBezTo>
                        <a:pt x="207016" y="6765"/>
                        <a:pt x="207016" y="13724"/>
                        <a:pt x="203150" y="17590"/>
                      </a:cubicBezTo>
                      <a:lnTo>
                        <a:pt x="17590" y="203150"/>
                      </a:lnTo>
                      <a:cubicBezTo>
                        <a:pt x="15270" y="204696"/>
                        <a:pt x="12177" y="206243"/>
                        <a:pt x="9858" y="206243"/>
                      </a:cubicBezTo>
                      <a:lnTo>
                        <a:pt x="9858" y="206243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54" name="Forma Livre: Forma 53">
                  <a:extLst>
                    <a:ext uri="{FF2B5EF4-FFF2-40B4-BE49-F238E27FC236}">
                      <a16:creationId xmlns:a16="http://schemas.microsoft.com/office/drawing/2014/main" id="{B77C93C1-A738-4DF4-822D-2A8B3FF09B3B}"/>
                    </a:ext>
                  </a:extLst>
                </p:cNvPr>
                <p:cNvSpPr/>
                <p:nvPr/>
              </p:nvSpPr>
              <p:spPr>
                <a:xfrm>
                  <a:off x="1594615" y="4098563"/>
                  <a:ext cx="58102" cy="59534"/>
                </a:xfrm>
                <a:custGeom>
                  <a:avLst/>
                  <a:gdLst>
                    <a:gd name="connsiteX0" fmla="*/ 10051 w 58102"/>
                    <a:gd name="connsiteY0" fmla="*/ 59534 h 59534"/>
                    <a:gd name="connsiteX1" fmla="*/ 3093 w 58102"/>
                    <a:gd name="connsiteY1" fmla="*/ 56442 h 59534"/>
                    <a:gd name="connsiteX2" fmla="*/ 0 w 58102"/>
                    <a:gd name="connsiteY2" fmla="*/ 48710 h 59534"/>
                    <a:gd name="connsiteX3" fmla="*/ 2320 w 58102"/>
                    <a:gd name="connsiteY3" fmla="*/ 10052 h 59534"/>
                    <a:gd name="connsiteX4" fmla="*/ 10824 w 58102"/>
                    <a:gd name="connsiteY4" fmla="*/ 773 h 59534"/>
                    <a:gd name="connsiteX5" fmla="*/ 13917 w 58102"/>
                    <a:gd name="connsiteY5" fmla="*/ 0 h 59534"/>
                    <a:gd name="connsiteX6" fmla="*/ 18556 w 58102"/>
                    <a:gd name="connsiteY6" fmla="*/ 0 h 59534"/>
                    <a:gd name="connsiteX7" fmla="*/ 47936 w 58102"/>
                    <a:gd name="connsiteY7" fmla="*/ 12371 h 59534"/>
                    <a:gd name="connsiteX8" fmla="*/ 57988 w 58102"/>
                    <a:gd name="connsiteY8" fmla="*/ 44071 h 59534"/>
                    <a:gd name="connsiteX9" fmla="*/ 57214 w 58102"/>
                    <a:gd name="connsiteY9" fmla="*/ 48710 h 59534"/>
                    <a:gd name="connsiteX10" fmla="*/ 47936 w 58102"/>
                    <a:gd name="connsiteY10" fmla="*/ 57215 h 59534"/>
                    <a:gd name="connsiteX11" fmla="*/ 10051 w 58102"/>
                    <a:gd name="connsiteY11" fmla="*/ 59534 h 59534"/>
                    <a:gd name="connsiteX12" fmla="*/ 10051 w 58102"/>
                    <a:gd name="connsiteY12" fmla="*/ 59534 h 59534"/>
                    <a:gd name="connsiteX13" fmla="*/ 10051 w 58102"/>
                    <a:gd name="connsiteY13" fmla="*/ 59534 h 59534"/>
                    <a:gd name="connsiteX14" fmla="*/ 21649 w 58102"/>
                    <a:gd name="connsiteY14" fmla="*/ 20103 h 59534"/>
                    <a:gd name="connsiteX15" fmla="*/ 20876 w 58102"/>
                    <a:gd name="connsiteY15" fmla="*/ 37885 h 59534"/>
                    <a:gd name="connsiteX16" fmla="*/ 37885 w 58102"/>
                    <a:gd name="connsiteY16" fmla="*/ 37112 h 59534"/>
                    <a:gd name="connsiteX17" fmla="*/ 33246 w 58102"/>
                    <a:gd name="connsiteY17" fmla="*/ 25515 h 59534"/>
                    <a:gd name="connsiteX18" fmla="*/ 21649 w 58102"/>
                    <a:gd name="connsiteY18" fmla="*/ 20103 h 59534"/>
                    <a:gd name="connsiteX19" fmla="*/ 21649 w 58102"/>
                    <a:gd name="connsiteY19" fmla="*/ 20103 h 595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58102" h="59534">
                      <a:moveTo>
                        <a:pt x="10051" y="59534"/>
                      </a:moveTo>
                      <a:cubicBezTo>
                        <a:pt x="7732" y="59534"/>
                        <a:pt x="4639" y="58761"/>
                        <a:pt x="3093" y="56442"/>
                      </a:cubicBezTo>
                      <a:cubicBezTo>
                        <a:pt x="773" y="54122"/>
                        <a:pt x="0" y="51802"/>
                        <a:pt x="0" y="48710"/>
                      </a:cubicBezTo>
                      <a:lnTo>
                        <a:pt x="2320" y="10052"/>
                      </a:lnTo>
                      <a:cubicBezTo>
                        <a:pt x="2320" y="5412"/>
                        <a:pt x="6185" y="1546"/>
                        <a:pt x="10824" y="773"/>
                      </a:cubicBezTo>
                      <a:cubicBezTo>
                        <a:pt x="12371" y="773"/>
                        <a:pt x="13144" y="0"/>
                        <a:pt x="13917" y="0"/>
                      </a:cubicBezTo>
                      <a:cubicBezTo>
                        <a:pt x="15463" y="0"/>
                        <a:pt x="17010" y="0"/>
                        <a:pt x="18556" y="0"/>
                      </a:cubicBezTo>
                      <a:cubicBezTo>
                        <a:pt x="30154" y="0"/>
                        <a:pt x="40978" y="4639"/>
                        <a:pt x="47936" y="12371"/>
                      </a:cubicBezTo>
                      <a:cubicBezTo>
                        <a:pt x="55668" y="20876"/>
                        <a:pt x="58761" y="31700"/>
                        <a:pt x="57988" y="44071"/>
                      </a:cubicBezTo>
                      <a:cubicBezTo>
                        <a:pt x="57988" y="46390"/>
                        <a:pt x="57214" y="47937"/>
                        <a:pt x="57214" y="48710"/>
                      </a:cubicBezTo>
                      <a:cubicBezTo>
                        <a:pt x="56441" y="53349"/>
                        <a:pt x="51802" y="57215"/>
                        <a:pt x="47936" y="57215"/>
                      </a:cubicBezTo>
                      <a:lnTo>
                        <a:pt x="10051" y="59534"/>
                      </a:lnTo>
                      <a:cubicBezTo>
                        <a:pt x="10051" y="59534"/>
                        <a:pt x="10051" y="59534"/>
                        <a:pt x="10051" y="59534"/>
                      </a:cubicBezTo>
                      <a:lnTo>
                        <a:pt x="10051" y="59534"/>
                      </a:lnTo>
                      <a:close/>
                      <a:moveTo>
                        <a:pt x="21649" y="20103"/>
                      </a:moveTo>
                      <a:lnTo>
                        <a:pt x="20876" y="37885"/>
                      </a:lnTo>
                      <a:lnTo>
                        <a:pt x="37885" y="37112"/>
                      </a:lnTo>
                      <a:cubicBezTo>
                        <a:pt x="37112" y="32473"/>
                        <a:pt x="35566" y="28607"/>
                        <a:pt x="33246" y="25515"/>
                      </a:cubicBezTo>
                      <a:cubicBezTo>
                        <a:pt x="30154" y="23195"/>
                        <a:pt x="26288" y="20876"/>
                        <a:pt x="21649" y="20103"/>
                      </a:cubicBezTo>
                      <a:lnTo>
                        <a:pt x="21649" y="20103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sp>
            <p:nvSpPr>
              <p:cNvPr id="55" name="Forma Livre: Forma 54">
                <a:extLst>
                  <a:ext uri="{FF2B5EF4-FFF2-40B4-BE49-F238E27FC236}">
                    <a16:creationId xmlns:a16="http://schemas.microsoft.com/office/drawing/2014/main" id="{FCCE4D1F-5B53-4AF8-BB9E-2D0B1502602E}"/>
                  </a:ext>
                </a:extLst>
              </p:cNvPr>
              <p:cNvSpPr/>
              <p:nvPr/>
            </p:nvSpPr>
            <p:spPr>
              <a:xfrm>
                <a:off x="1439208" y="3839552"/>
                <a:ext cx="393542" cy="461581"/>
              </a:xfrm>
              <a:custGeom>
                <a:avLst/>
                <a:gdLst>
                  <a:gd name="connsiteX0" fmla="*/ 393543 w 393542"/>
                  <a:gd name="connsiteY0" fmla="*/ 461581 h 461581"/>
                  <a:gd name="connsiteX1" fmla="*/ 0 w 393542"/>
                  <a:gd name="connsiteY1" fmla="*/ 461581 h 461581"/>
                  <a:gd name="connsiteX2" fmla="*/ 0 w 393542"/>
                  <a:gd name="connsiteY2" fmla="*/ 122934 h 461581"/>
                  <a:gd name="connsiteX3" fmla="*/ 122934 w 393542"/>
                  <a:gd name="connsiteY3" fmla="*/ 0 h 461581"/>
                  <a:gd name="connsiteX4" fmla="*/ 372667 w 393542"/>
                  <a:gd name="connsiteY4" fmla="*/ 0 h 461581"/>
                  <a:gd name="connsiteX5" fmla="*/ 393543 w 393542"/>
                  <a:gd name="connsiteY5" fmla="*/ 20875 h 461581"/>
                  <a:gd name="connsiteX6" fmla="*/ 372667 w 393542"/>
                  <a:gd name="connsiteY6" fmla="*/ 41751 h 461581"/>
                  <a:gd name="connsiteX7" fmla="*/ 139943 w 393542"/>
                  <a:gd name="connsiteY7" fmla="*/ 41751 h 461581"/>
                  <a:gd name="connsiteX8" fmla="*/ 40978 w 393542"/>
                  <a:gd name="connsiteY8" fmla="*/ 140716 h 461581"/>
                  <a:gd name="connsiteX9" fmla="*/ 40978 w 393542"/>
                  <a:gd name="connsiteY9" fmla="*/ 420603 h 461581"/>
                  <a:gd name="connsiteX10" fmla="*/ 351791 w 393542"/>
                  <a:gd name="connsiteY10" fmla="*/ 420603 h 461581"/>
                  <a:gd name="connsiteX11" fmla="*/ 351791 w 393542"/>
                  <a:gd name="connsiteY11" fmla="*/ 179375 h 461581"/>
                  <a:gd name="connsiteX12" fmla="*/ 372667 w 393542"/>
                  <a:gd name="connsiteY12" fmla="*/ 158499 h 461581"/>
                  <a:gd name="connsiteX13" fmla="*/ 393543 w 393542"/>
                  <a:gd name="connsiteY13" fmla="*/ 179375 h 461581"/>
                  <a:gd name="connsiteX14" fmla="*/ 393543 w 393542"/>
                  <a:gd name="connsiteY14" fmla="*/ 461581 h 461581"/>
                  <a:gd name="connsiteX15" fmla="*/ 393543 w 393542"/>
                  <a:gd name="connsiteY15" fmla="*/ 461581 h 461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93542" h="461581">
                    <a:moveTo>
                      <a:pt x="393543" y="461581"/>
                    </a:moveTo>
                    <a:lnTo>
                      <a:pt x="0" y="461581"/>
                    </a:lnTo>
                    <a:lnTo>
                      <a:pt x="0" y="122934"/>
                    </a:lnTo>
                    <a:lnTo>
                      <a:pt x="122934" y="0"/>
                    </a:lnTo>
                    <a:lnTo>
                      <a:pt x="372667" y="0"/>
                    </a:lnTo>
                    <a:cubicBezTo>
                      <a:pt x="384264" y="0"/>
                      <a:pt x="393543" y="9278"/>
                      <a:pt x="393543" y="20875"/>
                    </a:cubicBezTo>
                    <a:cubicBezTo>
                      <a:pt x="393543" y="32473"/>
                      <a:pt x="384264" y="41751"/>
                      <a:pt x="372667" y="41751"/>
                    </a:cubicBezTo>
                    <a:lnTo>
                      <a:pt x="139943" y="41751"/>
                    </a:lnTo>
                    <a:lnTo>
                      <a:pt x="40978" y="140716"/>
                    </a:lnTo>
                    <a:lnTo>
                      <a:pt x="40978" y="420603"/>
                    </a:lnTo>
                    <a:lnTo>
                      <a:pt x="351791" y="420603"/>
                    </a:lnTo>
                    <a:lnTo>
                      <a:pt x="351791" y="179375"/>
                    </a:lnTo>
                    <a:cubicBezTo>
                      <a:pt x="351791" y="167777"/>
                      <a:pt x="361069" y="158499"/>
                      <a:pt x="372667" y="158499"/>
                    </a:cubicBezTo>
                    <a:cubicBezTo>
                      <a:pt x="384264" y="158499"/>
                      <a:pt x="393543" y="167777"/>
                      <a:pt x="393543" y="179375"/>
                    </a:cubicBezTo>
                    <a:lnTo>
                      <a:pt x="393543" y="461581"/>
                    </a:lnTo>
                    <a:lnTo>
                      <a:pt x="393543" y="461581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56" name="Forma Livre: Forma 55">
                <a:extLst>
                  <a:ext uri="{FF2B5EF4-FFF2-40B4-BE49-F238E27FC236}">
                    <a16:creationId xmlns:a16="http://schemas.microsoft.com/office/drawing/2014/main" id="{A837E41E-2A57-4198-9D7F-E8D96118EB30}"/>
                  </a:ext>
                </a:extLst>
              </p:cNvPr>
              <p:cNvSpPr/>
              <p:nvPr/>
            </p:nvSpPr>
            <p:spPr>
              <a:xfrm>
                <a:off x="1450033" y="3850376"/>
                <a:ext cx="131438" cy="130665"/>
              </a:xfrm>
              <a:custGeom>
                <a:avLst/>
                <a:gdLst>
                  <a:gd name="connsiteX0" fmla="*/ 131439 w 131438"/>
                  <a:gd name="connsiteY0" fmla="*/ 130666 h 130665"/>
                  <a:gd name="connsiteX1" fmla="*/ 10051 w 131438"/>
                  <a:gd name="connsiteY1" fmla="*/ 130666 h 130665"/>
                  <a:gd name="connsiteX2" fmla="*/ 0 w 131438"/>
                  <a:gd name="connsiteY2" fmla="*/ 120614 h 130665"/>
                  <a:gd name="connsiteX3" fmla="*/ 10051 w 131438"/>
                  <a:gd name="connsiteY3" fmla="*/ 110563 h 130665"/>
                  <a:gd name="connsiteX4" fmla="*/ 110563 w 131438"/>
                  <a:gd name="connsiteY4" fmla="*/ 110563 h 130665"/>
                  <a:gd name="connsiteX5" fmla="*/ 110563 w 131438"/>
                  <a:gd name="connsiteY5" fmla="*/ 10051 h 130665"/>
                  <a:gd name="connsiteX6" fmla="*/ 120614 w 131438"/>
                  <a:gd name="connsiteY6" fmla="*/ 0 h 130665"/>
                  <a:gd name="connsiteX7" fmla="*/ 130665 w 131438"/>
                  <a:gd name="connsiteY7" fmla="*/ 10051 h 130665"/>
                  <a:gd name="connsiteX8" fmla="*/ 130665 w 131438"/>
                  <a:gd name="connsiteY8" fmla="*/ 130666 h 130665"/>
                  <a:gd name="connsiteX9" fmla="*/ 131439 w 131438"/>
                  <a:gd name="connsiteY9" fmla="*/ 130666 h 1306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1438" h="130665">
                    <a:moveTo>
                      <a:pt x="131439" y="130666"/>
                    </a:moveTo>
                    <a:lnTo>
                      <a:pt x="10051" y="130666"/>
                    </a:lnTo>
                    <a:cubicBezTo>
                      <a:pt x="4639" y="130666"/>
                      <a:pt x="0" y="126026"/>
                      <a:pt x="0" y="120614"/>
                    </a:cubicBezTo>
                    <a:cubicBezTo>
                      <a:pt x="0" y="115202"/>
                      <a:pt x="4639" y="110563"/>
                      <a:pt x="10051" y="110563"/>
                    </a:cubicBezTo>
                    <a:lnTo>
                      <a:pt x="110563" y="110563"/>
                    </a:lnTo>
                    <a:lnTo>
                      <a:pt x="110563" y="10051"/>
                    </a:lnTo>
                    <a:cubicBezTo>
                      <a:pt x="110563" y="4639"/>
                      <a:pt x="115202" y="0"/>
                      <a:pt x="120614" y="0"/>
                    </a:cubicBezTo>
                    <a:cubicBezTo>
                      <a:pt x="126026" y="0"/>
                      <a:pt x="130665" y="4639"/>
                      <a:pt x="130665" y="10051"/>
                    </a:cubicBezTo>
                    <a:lnTo>
                      <a:pt x="130665" y="130666"/>
                    </a:lnTo>
                    <a:lnTo>
                      <a:pt x="131439" y="130666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57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4421777" y="600891"/>
              <a:ext cx="357755" cy="391448"/>
              <a:chOff x="3982931" y="0"/>
              <a:chExt cx="451529" cy="494054"/>
            </a:xfrm>
            <a:solidFill>
              <a:srgbClr val="B1B1A1"/>
            </a:solidFill>
          </p:grpSpPr>
          <p:sp>
            <p:nvSpPr>
              <p:cNvPr id="58" name="Forma Livre: Forma 57">
                <a:extLst>
                  <a:ext uri="{FF2B5EF4-FFF2-40B4-BE49-F238E27FC236}">
                    <a16:creationId xmlns:a16="http://schemas.microsoft.com/office/drawing/2014/main" id="{9F0332D2-D87B-48CD-8B35-0D71E3FD92FF}"/>
                  </a:ext>
                </a:extLst>
              </p:cNvPr>
              <p:cNvSpPr/>
              <p:nvPr/>
            </p:nvSpPr>
            <p:spPr>
              <a:xfrm>
                <a:off x="3982931" y="193291"/>
                <a:ext cx="451529" cy="300762"/>
              </a:xfrm>
              <a:custGeom>
                <a:avLst/>
                <a:gdLst>
                  <a:gd name="connsiteX0" fmla="*/ 410552 w 451529"/>
                  <a:gd name="connsiteY0" fmla="*/ 300762 h 300762"/>
                  <a:gd name="connsiteX1" fmla="*/ 40978 w 451529"/>
                  <a:gd name="connsiteY1" fmla="*/ 300762 h 300762"/>
                  <a:gd name="connsiteX2" fmla="*/ 0 w 451529"/>
                  <a:gd name="connsiteY2" fmla="*/ 259784 h 300762"/>
                  <a:gd name="connsiteX3" fmla="*/ 0 w 451529"/>
                  <a:gd name="connsiteY3" fmla="*/ 40978 h 300762"/>
                  <a:gd name="connsiteX4" fmla="*/ 40978 w 451529"/>
                  <a:gd name="connsiteY4" fmla="*/ 0 h 300762"/>
                  <a:gd name="connsiteX5" fmla="*/ 410552 w 451529"/>
                  <a:gd name="connsiteY5" fmla="*/ 0 h 300762"/>
                  <a:gd name="connsiteX6" fmla="*/ 451530 w 451529"/>
                  <a:gd name="connsiteY6" fmla="*/ 40978 h 300762"/>
                  <a:gd name="connsiteX7" fmla="*/ 451530 w 451529"/>
                  <a:gd name="connsiteY7" fmla="*/ 259784 h 300762"/>
                  <a:gd name="connsiteX8" fmla="*/ 410552 w 451529"/>
                  <a:gd name="connsiteY8" fmla="*/ 300762 h 300762"/>
                  <a:gd name="connsiteX9" fmla="*/ 410552 w 451529"/>
                  <a:gd name="connsiteY9" fmla="*/ 300762 h 300762"/>
                  <a:gd name="connsiteX10" fmla="*/ 40978 w 451529"/>
                  <a:gd name="connsiteY10" fmla="*/ 40978 h 300762"/>
                  <a:gd name="connsiteX11" fmla="*/ 40978 w 451529"/>
                  <a:gd name="connsiteY11" fmla="*/ 259784 h 300762"/>
                  <a:gd name="connsiteX12" fmla="*/ 410552 w 451529"/>
                  <a:gd name="connsiteY12" fmla="*/ 259784 h 300762"/>
                  <a:gd name="connsiteX13" fmla="*/ 410552 w 451529"/>
                  <a:gd name="connsiteY13" fmla="*/ 40978 h 300762"/>
                  <a:gd name="connsiteX14" fmla="*/ 40978 w 451529"/>
                  <a:gd name="connsiteY14" fmla="*/ 40978 h 300762"/>
                  <a:gd name="connsiteX15" fmla="*/ 40978 w 451529"/>
                  <a:gd name="connsiteY15" fmla="*/ 40978 h 300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51529" h="300762">
                    <a:moveTo>
                      <a:pt x="410552" y="300762"/>
                    </a:moveTo>
                    <a:lnTo>
                      <a:pt x="40978" y="300762"/>
                    </a:lnTo>
                    <a:cubicBezTo>
                      <a:pt x="18556" y="300762"/>
                      <a:pt x="0" y="282206"/>
                      <a:pt x="0" y="259784"/>
                    </a:cubicBezTo>
                    <a:lnTo>
                      <a:pt x="0" y="40978"/>
                    </a:lnTo>
                    <a:cubicBezTo>
                      <a:pt x="0" y="18556"/>
                      <a:pt x="18556" y="0"/>
                      <a:pt x="40978" y="0"/>
                    </a:cubicBezTo>
                    <a:lnTo>
                      <a:pt x="410552" y="0"/>
                    </a:lnTo>
                    <a:cubicBezTo>
                      <a:pt x="432974" y="0"/>
                      <a:pt x="451530" y="18556"/>
                      <a:pt x="451530" y="40978"/>
                    </a:cubicBezTo>
                    <a:lnTo>
                      <a:pt x="451530" y="259784"/>
                    </a:lnTo>
                    <a:cubicBezTo>
                      <a:pt x="451530" y="282206"/>
                      <a:pt x="432974" y="300762"/>
                      <a:pt x="410552" y="300762"/>
                    </a:cubicBezTo>
                    <a:lnTo>
                      <a:pt x="410552" y="300762"/>
                    </a:lnTo>
                    <a:close/>
                    <a:moveTo>
                      <a:pt x="40978" y="40978"/>
                    </a:moveTo>
                    <a:lnTo>
                      <a:pt x="40978" y="259784"/>
                    </a:lnTo>
                    <a:lnTo>
                      <a:pt x="410552" y="259784"/>
                    </a:lnTo>
                    <a:lnTo>
                      <a:pt x="410552" y="40978"/>
                    </a:lnTo>
                    <a:lnTo>
                      <a:pt x="40978" y="40978"/>
                    </a:lnTo>
                    <a:lnTo>
                      <a:pt x="40978" y="40978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59" name="Forma Livre: Forma 58">
                <a:extLst>
                  <a:ext uri="{FF2B5EF4-FFF2-40B4-BE49-F238E27FC236}">
                    <a16:creationId xmlns:a16="http://schemas.microsoft.com/office/drawing/2014/main" id="{5CB2D007-973D-47A2-A7DF-965C3C3D09FB}"/>
                  </a:ext>
                </a:extLst>
              </p:cNvPr>
              <p:cNvSpPr/>
              <p:nvPr/>
            </p:nvSpPr>
            <p:spPr>
              <a:xfrm>
                <a:off x="4054836" y="0"/>
                <a:ext cx="304797" cy="229630"/>
              </a:xfrm>
              <a:custGeom>
                <a:avLst/>
                <a:gdLst>
                  <a:gd name="connsiteX0" fmla="*/ 285299 w 304797"/>
                  <a:gd name="connsiteY0" fmla="*/ 228858 h 229630"/>
                  <a:gd name="connsiteX1" fmla="*/ 264424 w 304797"/>
                  <a:gd name="connsiteY1" fmla="*/ 207982 h 229630"/>
                  <a:gd name="connsiteX2" fmla="*/ 264424 w 304797"/>
                  <a:gd name="connsiteY2" fmla="*/ 151541 h 229630"/>
                  <a:gd name="connsiteX3" fmla="*/ 153087 w 304797"/>
                  <a:gd name="connsiteY3" fmla="*/ 40205 h 229630"/>
                  <a:gd name="connsiteX4" fmla="*/ 41751 w 304797"/>
                  <a:gd name="connsiteY4" fmla="*/ 151541 h 229630"/>
                  <a:gd name="connsiteX5" fmla="*/ 41751 w 304797"/>
                  <a:gd name="connsiteY5" fmla="*/ 208755 h 229630"/>
                  <a:gd name="connsiteX6" fmla="*/ 20876 w 304797"/>
                  <a:gd name="connsiteY6" fmla="*/ 229631 h 229630"/>
                  <a:gd name="connsiteX7" fmla="*/ 0 w 304797"/>
                  <a:gd name="connsiteY7" fmla="*/ 208755 h 229630"/>
                  <a:gd name="connsiteX8" fmla="*/ 0 w 304797"/>
                  <a:gd name="connsiteY8" fmla="*/ 152314 h 229630"/>
                  <a:gd name="connsiteX9" fmla="*/ 152314 w 304797"/>
                  <a:gd name="connsiteY9" fmla="*/ 0 h 229630"/>
                  <a:gd name="connsiteX10" fmla="*/ 304628 w 304797"/>
                  <a:gd name="connsiteY10" fmla="*/ 152314 h 229630"/>
                  <a:gd name="connsiteX11" fmla="*/ 304628 w 304797"/>
                  <a:gd name="connsiteY11" fmla="*/ 208755 h 229630"/>
                  <a:gd name="connsiteX12" fmla="*/ 285299 w 304797"/>
                  <a:gd name="connsiteY12" fmla="*/ 228858 h 229630"/>
                  <a:gd name="connsiteX13" fmla="*/ 285299 w 304797"/>
                  <a:gd name="connsiteY13" fmla="*/ 228858 h 2296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04797" h="229630">
                    <a:moveTo>
                      <a:pt x="285299" y="228858"/>
                    </a:moveTo>
                    <a:cubicBezTo>
                      <a:pt x="273702" y="228858"/>
                      <a:pt x="264424" y="219580"/>
                      <a:pt x="264424" y="207982"/>
                    </a:cubicBezTo>
                    <a:lnTo>
                      <a:pt x="264424" y="151541"/>
                    </a:lnTo>
                    <a:cubicBezTo>
                      <a:pt x="264424" y="90461"/>
                      <a:pt x="214941" y="40205"/>
                      <a:pt x="153087" y="40205"/>
                    </a:cubicBezTo>
                    <a:cubicBezTo>
                      <a:pt x="92007" y="40205"/>
                      <a:pt x="41751" y="89687"/>
                      <a:pt x="41751" y="151541"/>
                    </a:cubicBezTo>
                    <a:lnTo>
                      <a:pt x="41751" y="208755"/>
                    </a:lnTo>
                    <a:cubicBezTo>
                      <a:pt x="41751" y="220353"/>
                      <a:pt x="32473" y="229631"/>
                      <a:pt x="20876" y="229631"/>
                    </a:cubicBezTo>
                    <a:cubicBezTo>
                      <a:pt x="9278" y="229631"/>
                      <a:pt x="0" y="220353"/>
                      <a:pt x="0" y="208755"/>
                    </a:cubicBezTo>
                    <a:lnTo>
                      <a:pt x="0" y="152314"/>
                    </a:lnTo>
                    <a:cubicBezTo>
                      <a:pt x="0" y="68812"/>
                      <a:pt x="68039" y="0"/>
                      <a:pt x="152314" y="0"/>
                    </a:cubicBezTo>
                    <a:cubicBezTo>
                      <a:pt x="235816" y="0"/>
                      <a:pt x="304628" y="68039"/>
                      <a:pt x="304628" y="152314"/>
                    </a:cubicBezTo>
                    <a:lnTo>
                      <a:pt x="304628" y="208755"/>
                    </a:lnTo>
                    <a:cubicBezTo>
                      <a:pt x="306174" y="219580"/>
                      <a:pt x="296897" y="228858"/>
                      <a:pt x="285299" y="228858"/>
                    </a:cubicBezTo>
                    <a:lnTo>
                      <a:pt x="285299" y="228858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60" name="Forma Livre: Forma 59">
                <a:extLst>
                  <a:ext uri="{FF2B5EF4-FFF2-40B4-BE49-F238E27FC236}">
                    <a16:creationId xmlns:a16="http://schemas.microsoft.com/office/drawing/2014/main" id="{19F45F43-8CBA-4931-A520-AEE5B6CA8E29}"/>
                  </a:ext>
                </a:extLst>
              </p:cNvPr>
              <p:cNvSpPr/>
              <p:nvPr/>
            </p:nvSpPr>
            <p:spPr>
              <a:xfrm>
                <a:off x="4166172" y="273701"/>
                <a:ext cx="85821" cy="128345"/>
              </a:xfrm>
              <a:custGeom>
                <a:avLst/>
                <a:gdLst>
                  <a:gd name="connsiteX0" fmla="*/ 42524 w 85821"/>
                  <a:gd name="connsiteY0" fmla="*/ 0 h 128345"/>
                  <a:gd name="connsiteX1" fmla="*/ 0 w 85821"/>
                  <a:gd name="connsiteY1" fmla="*/ 42524 h 128345"/>
                  <a:gd name="connsiteX2" fmla="*/ 22422 w 85821"/>
                  <a:gd name="connsiteY2" fmla="*/ 79636 h 128345"/>
                  <a:gd name="connsiteX3" fmla="*/ 22422 w 85821"/>
                  <a:gd name="connsiteY3" fmla="*/ 128346 h 128345"/>
                  <a:gd name="connsiteX4" fmla="*/ 63399 w 85821"/>
                  <a:gd name="connsiteY4" fmla="*/ 128346 h 128345"/>
                  <a:gd name="connsiteX5" fmla="*/ 63399 w 85821"/>
                  <a:gd name="connsiteY5" fmla="*/ 80409 h 128345"/>
                  <a:gd name="connsiteX6" fmla="*/ 85821 w 85821"/>
                  <a:gd name="connsiteY6" fmla="*/ 43297 h 128345"/>
                  <a:gd name="connsiteX7" fmla="*/ 42524 w 85821"/>
                  <a:gd name="connsiteY7" fmla="*/ 0 h 128345"/>
                  <a:gd name="connsiteX8" fmla="*/ 42524 w 85821"/>
                  <a:gd name="connsiteY8" fmla="*/ 0 h 128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5821" h="128345">
                    <a:moveTo>
                      <a:pt x="42524" y="0"/>
                    </a:moveTo>
                    <a:cubicBezTo>
                      <a:pt x="18556" y="0"/>
                      <a:pt x="0" y="19329"/>
                      <a:pt x="0" y="42524"/>
                    </a:cubicBezTo>
                    <a:cubicBezTo>
                      <a:pt x="0" y="58761"/>
                      <a:pt x="9278" y="72678"/>
                      <a:pt x="22422" y="79636"/>
                    </a:cubicBezTo>
                    <a:lnTo>
                      <a:pt x="22422" y="128346"/>
                    </a:lnTo>
                    <a:lnTo>
                      <a:pt x="63399" y="128346"/>
                    </a:lnTo>
                    <a:lnTo>
                      <a:pt x="63399" y="80409"/>
                    </a:lnTo>
                    <a:cubicBezTo>
                      <a:pt x="76543" y="73451"/>
                      <a:pt x="85821" y="59534"/>
                      <a:pt x="85821" y="43297"/>
                    </a:cubicBezTo>
                    <a:cubicBezTo>
                      <a:pt x="85048" y="19329"/>
                      <a:pt x="66492" y="0"/>
                      <a:pt x="42524" y="0"/>
                    </a:cubicBezTo>
                    <a:lnTo>
                      <a:pt x="42524" y="0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61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5417244" y="600891"/>
              <a:ext cx="357755" cy="391448"/>
              <a:chOff x="5239329" y="0"/>
              <a:chExt cx="451529" cy="494054"/>
            </a:xfrm>
            <a:solidFill>
              <a:srgbClr val="B1B1A1"/>
            </a:solidFill>
          </p:grpSpPr>
          <p:sp>
            <p:nvSpPr>
              <p:cNvPr id="62" name="Forma Livre: Forma 61">
                <a:extLst>
                  <a:ext uri="{FF2B5EF4-FFF2-40B4-BE49-F238E27FC236}">
                    <a16:creationId xmlns:a16="http://schemas.microsoft.com/office/drawing/2014/main" id="{05A0076E-A6CF-471B-8EC5-42E09EEF5FF5}"/>
                  </a:ext>
                </a:extLst>
              </p:cNvPr>
              <p:cNvSpPr/>
              <p:nvPr/>
            </p:nvSpPr>
            <p:spPr>
              <a:xfrm>
                <a:off x="5239329" y="193291"/>
                <a:ext cx="451529" cy="300762"/>
              </a:xfrm>
              <a:custGeom>
                <a:avLst/>
                <a:gdLst>
                  <a:gd name="connsiteX0" fmla="*/ 410552 w 451529"/>
                  <a:gd name="connsiteY0" fmla="*/ 300762 h 300762"/>
                  <a:gd name="connsiteX1" fmla="*/ 40978 w 451529"/>
                  <a:gd name="connsiteY1" fmla="*/ 300762 h 300762"/>
                  <a:gd name="connsiteX2" fmla="*/ 0 w 451529"/>
                  <a:gd name="connsiteY2" fmla="*/ 259784 h 300762"/>
                  <a:gd name="connsiteX3" fmla="*/ 0 w 451529"/>
                  <a:gd name="connsiteY3" fmla="*/ 40978 h 300762"/>
                  <a:gd name="connsiteX4" fmla="*/ 40978 w 451529"/>
                  <a:gd name="connsiteY4" fmla="*/ 0 h 300762"/>
                  <a:gd name="connsiteX5" fmla="*/ 410552 w 451529"/>
                  <a:gd name="connsiteY5" fmla="*/ 0 h 300762"/>
                  <a:gd name="connsiteX6" fmla="*/ 451530 w 451529"/>
                  <a:gd name="connsiteY6" fmla="*/ 40978 h 300762"/>
                  <a:gd name="connsiteX7" fmla="*/ 451530 w 451529"/>
                  <a:gd name="connsiteY7" fmla="*/ 259784 h 300762"/>
                  <a:gd name="connsiteX8" fmla="*/ 410552 w 451529"/>
                  <a:gd name="connsiteY8" fmla="*/ 300762 h 300762"/>
                  <a:gd name="connsiteX9" fmla="*/ 410552 w 451529"/>
                  <a:gd name="connsiteY9" fmla="*/ 300762 h 300762"/>
                  <a:gd name="connsiteX10" fmla="*/ 41751 w 451529"/>
                  <a:gd name="connsiteY10" fmla="*/ 40978 h 300762"/>
                  <a:gd name="connsiteX11" fmla="*/ 41751 w 451529"/>
                  <a:gd name="connsiteY11" fmla="*/ 259784 h 300762"/>
                  <a:gd name="connsiteX12" fmla="*/ 411325 w 451529"/>
                  <a:gd name="connsiteY12" fmla="*/ 259784 h 300762"/>
                  <a:gd name="connsiteX13" fmla="*/ 411325 w 451529"/>
                  <a:gd name="connsiteY13" fmla="*/ 40978 h 300762"/>
                  <a:gd name="connsiteX14" fmla="*/ 41751 w 451529"/>
                  <a:gd name="connsiteY14" fmla="*/ 40978 h 300762"/>
                  <a:gd name="connsiteX15" fmla="*/ 41751 w 451529"/>
                  <a:gd name="connsiteY15" fmla="*/ 40978 h 300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51529" h="300762">
                    <a:moveTo>
                      <a:pt x="410552" y="300762"/>
                    </a:moveTo>
                    <a:lnTo>
                      <a:pt x="40978" y="300762"/>
                    </a:lnTo>
                    <a:cubicBezTo>
                      <a:pt x="18556" y="300762"/>
                      <a:pt x="0" y="282206"/>
                      <a:pt x="0" y="259784"/>
                    </a:cubicBezTo>
                    <a:lnTo>
                      <a:pt x="0" y="40978"/>
                    </a:lnTo>
                    <a:cubicBezTo>
                      <a:pt x="0" y="18556"/>
                      <a:pt x="18556" y="0"/>
                      <a:pt x="40978" y="0"/>
                    </a:cubicBezTo>
                    <a:lnTo>
                      <a:pt x="410552" y="0"/>
                    </a:lnTo>
                    <a:cubicBezTo>
                      <a:pt x="432974" y="0"/>
                      <a:pt x="451530" y="18556"/>
                      <a:pt x="451530" y="40978"/>
                    </a:cubicBezTo>
                    <a:lnTo>
                      <a:pt x="451530" y="259784"/>
                    </a:lnTo>
                    <a:cubicBezTo>
                      <a:pt x="451530" y="282206"/>
                      <a:pt x="433747" y="300762"/>
                      <a:pt x="410552" y="300762"/>
                    </a:cubicBezTo>
                    <a:lnTo>
                      <a:pt x="410552" y="300762"/>
                    </a:lnTo>
                    <a:close/>
                    <a:moveTo>
                      <a:pt x="41751" y="40978"/>
                    </a:moveTo>
                    <a:lnTo>
                      <a:pt x="41751" y="259784"/>
                    </a:lnTo>
                    <a:lnTo>
                      <a:pt x="411325" y="259784"/>
                    </a:lnTo>
                    <a:lnTo>
                      <a:pt x="411325" y="40978"/>
                    </a:lnTo>
                    <a:lnTo>
                      <a:pt x="41751" y="40978"/>
                    </a:lnTo>
                    <a:lnTo>
                      <a:pt x="41751" y="40978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63" name="Forma Livre: Forma 62">
                <a:extLst>
                  <a:ext uri="{FF2B5EF4-FFF2-40B4-BE49-F238E27FC236}">
                    <a16:creationId xmlns:a16="http://schemas.microsoft.com/office/drawing/2014/main" id="{C33AA80E-BFC9-44BC-9C65-3A01DAC12EE3}"/>
                  </a:ext>
                </a:extLst>
              </p:cNvPr>
              <p:cNvSpPr/>
              <p:nvPr/>
            </p:nvSpPr>
            <p:spPr>
              <a:xfrm>
                <a:off x="5313553" y="0"/>
                <a:ext cx="304628" cy="208755"/>
              </a:xfrm>
              <a:custGeom>
                <a:avLst/>
                <a:gdLst>
                  <a:gd name="connsiteX0" fmla="*/ 40978 w 304628"/>
                  <a:gd name="connsiteY0" fmla="*/ 208755 h 208755"/>
                  <a:gd name="connsiteX1" fmla="*/ 0 w 304628"/>
                  <a:gd name="connsiteY1" fmla="*/ 208755 h 208755"/>
                  <a:gd name="connsiteX2" fmla="*/ 0 w 304628"/>
                  <a:gd name="connsiteY2" fmla="*/ 152314 h 208755"/>
                  <a:gd name="connsiteX3" fmla="*/ 152314 w 304628"/>
                  <a:gd name="connsiteY3" fmla="*/ 0 h 208755"/>
                  <a:gd name="connsiteX4" fmla="*/ 304628 w 304628"/>
                  <a:gd name="connsiteY4" fmla="*/ 152314 h 208755"/>
                  <a:gd name="connsiteX5" fmla="*/ 263651 w 304628"/>
                  <a:gd name="connsiteY5" fmla="*/ 152314 h 208755"/>
                  <a:gd name="connsiteX6" fmla="*/ 152314 w 304628"/>
                  <a:gd name="connsiteY6" fmla="*/ 40978 h 208755"/>
                  <a:gd name="connsiteX7" fmla="*/ 40978 w 304628"/>
                  <a:gd name="connsiteY7" fmla="*/ 152314 h 208755"/>
                  <a:gd name="connsiteX8" fmla="*/ 40978 w 304628"/>
                  <a:gd name="connsiteY8" fmla="*/ 208755 h 208755"/>
                  <a:gd name="connsiteX9" fmla="*/ 40978 w 304628"/>
                  <a:gd name="connsiteY9" fmla="*/ 208755 h 208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4628" h="208755">
                    <a:moveTo>
                      <a:pt x="40978" y="208755"/>
                    </a:moveTo>
                    <a:lnTo>
                      <a:pt x="0" y="208755"/>
                    </a:lnTo>
                    <a:lnTo>
                      <a:pt x="0" y="152314"/>
                    </a:lnTo>
                    <a:cubicBezTo>
                      <a:pt x="0" y="68039"/>
                      <a:pt x="68039" y="0"/>
                      <a:pt x="152314" y="0"/>
                    </a:cubicBezTo>
                    <a:cubicBezTo>
                      <a:pt x="235816" y="0"/>
                      <a:pt x="304628" y="68039"/>
                      <a:pt x="304628" y="152314"/>
                    </a:cubicBezTo>
                    <a:lnTo>
                      <a:pt x="263651" y="152314"/>
                    </a:lnTo>
                    <a:cubicBezTo>
                      <a:pt x="263651" y="91234"/>
                      <a:pt x="214168" y="40978"/>
                      <a:pt x="152314" y="40978"/>
                    </a:cubicBezTo>
                    <a:cubicBezTo>
                      <a:pt x="91234" y="40978"/>
                      <a:pt x="40978" y="90461"/>
                      <a:pt x="40978" y="152314"/>
                    </a:cubicBezTo>
                    <a:lnTo>
                      <a:pt x="40978" y="208755"/>
                    </a:lnTo>
                    <a:lnTo>
                      <a:pt x="40978" y="208755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64" name="Forma Livre: Forma 63">
                <a:extLst>
                  <a:ext uri="{FF2B5EF4-FFF2-40B4-BE49-F238E27FC236}">
                    <a16:creationId xmlns:a16="http://schemas.microsoft.com/office/drawing/2014/main" id="{32E8FE8F-0DAB-49DA-A54F-2C992A97DF85}"/>
                  </a:ext>
                </a:extLst>
              </p:cNvPr>
              <p:cNvSpPr/>
              <p:nvPr/>
            </p:nvSpPr>
            <p:spPr>
              <a:xfrm>
                <a:off x="5423343" y="273701"/>
                <a:ext cx="85821" cy="128345"/>
              </a:xfrm>
              <a:custGeom>
                <a:avLst/>
                <a:gdLst>
                  <a:gd name="connsiteX0" fmla="*/ 42524 w 85821"/>
                  <a:gd name="connsiteY0" fmla="*/ 0 h 128345"/>
                  <a:gd name="connsiteX1" fmla="*/ 0 w 85821"/>
                  <a:gd name="connsiteY1" fmla="*/ 42524 h 128345"/>
                  <a:gd name="connsiteX2" fmla="*/ 22422 w 85821"/>
                  <a:gd name="connsiteY2" fmla="*/ 79636 h 128345"/>
                  <a:gd name="connsiteX3" fmla="*/ 22422 w 85821"/>
                  <a:gd name="connsiteY3" fmla="*/ 128346 h 128345"/>
                  <a:gd name="connsiteX4" fmla="*/ 63400 w 85821"/>
                  <a:gd name="connsiteY4" fmla="*/ 128346 h 128345"/>
                  <a:gd name="connsiteX5" fmla="*/ 63400 w 85821"/>
                  <a:gd name="connsiteY5" fmla="*/ 80409 h 128345"/>
                  <a:gd name="connsiteX6" fmla="*/ 85821 w 85821"/>
                  <a:gd name="connsiteY6" fmla="*/ 43297 h 128345"/>
                  <a:gd name="connsiteX7" fmla="*/ 42524 w 85821"/>
                  <a:gd name="connsiteY7" fmla="*/ 0 h 128345"/>
                  <a:gd name="connsiteX8" fmla="*/ 42524 w 85821"/>
                  <a:gd name="connsiteY8" fmla="*/ 0 h 128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5821" h="128345">
                    <a:moveTo>
                      <a:pt x="42524" y="0"/>
                    </a:moveTo>
                    <a:cubicBezTo>
                      <a:pt x="18556" y="0"/>
                      <a:pt x="0" y="19329"/>
                      <a:pt x="0" y="42524"/>
                    </a:cubicBezTo>
                    <a:cubicBezTo>
                      <a:pt x="0" y="58761"/>
                      <a:pt x="9278" y="72678"/>
                      <a:pt x="22422" y="79636"/>
                    </a:cubicBezTo>
                    <a:lnTo>
                      <a:pt x="22422" y="128346"/>
                    </a:lnTo>
                    <a:lnTo>
                      <a:pt x="63400" y="128346"/>
                    </a:lnTo>
                    <a:lnTo>
                      <a:pt x="63400" y="80409"/>
                    </a:lnTo>
                    <a:cubicBezTo>
                      <a:pt x="76544" y="73451"/>
                      <a:pt x="85821" y="59534"/>
                      <a:pt x="85821" y="43297"/>
                    </a:cubicBezTo>
                    <a:cubicBezTo>
                      <a:pt x="85048" y="19329"/>
                      <a:pt x="65719" y="0"/>
                      <a:pt x="42524" y="0"/>
                    </a:cubicBezTo>
                    <a:lnTo>
                      <a:pt x="42524" y="0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65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3394454" y="673789"/>
              <a:ext cx="411663" cy="246263"/>
              <a:chOff x="2686328" y="92006"/>
              <a:chExt cx="519568" cy="310813"/>
            </a:xfrm>
            <a:solidFill>
              <a:srgbClr val="B1B1A1"/>
            </a:solidFill>
          </p:grpSpPr>
          <p:sp>
            <p:nvSpPr>
              <p:cNvPr id="66" name="Forma Livre: Forma 65">
                <a:extLst>
                  <a:ext uri="{FF2B5EF4-FFF2-40B4-BE49-F238E27FC236}">
                    <a16:creationId xmlns:a16="http://schemas.microsoft.com/office/drawing/2014/main" id="{CD24ED53-A700-4E25-89C6-3B3BA36DFB5C}"/>
                  </a:ext>
                </a:extLst>
              </p:cNvPr>
              <p:cNvSpPr/>
              <p:nvPr/>
            </p:nvSpPr>
            <p:spPr>
              <a:xfrm>
                <a:off x="2686328" y="92006"/>
                <a:ext cx="519568" cy="310813"/>
              </a:xfrm>
              <a:custGeom>
                <a:avLst/>
                <a:gdLst>
                  <a:gd name="connsiteX0" fmla="*/ 155407 w 519568"/>
                  <a:gd name="connsiteY0" fmla="*/ 310814 h 310813"/>
                  <a:gd name="connsiteX1" fmla="*/ 0 w 519568"/>
                  <a:gd name="connsiteY1" fmla="*/ 155407 h 310813"/>
                  <a:gd name="connsiteX2" fmla="*/ 155407 w 519568"/>
                  <a:gd name="connsiteY2" fmla="*/ 0 h 310813"/>
                  <a:gd name="connsiteX3" fmla="*/ 289165 w 519568"/>
                  <a:gd name="connsiteY3" fmla="*/ 76544 h 310813"/>
                  <a:gd name="connsiteX4" fmla="*/ 440706 w 519568"/>
                  <a:gd name="connsiteY4" fmla="*/ 76544 h 310813"/>
                  <a:gd name="connsiteX5" fmla="*/ 519569 w 519568"/>
                  <a:gd name="connsiteY5" fmla="*/ 155407 h 310813"/>
                  <a:gd name="connsiteX6" fmla="*/ 451530 w 519568"/>
                  <a:gd name="connsiteY6" fmla="*/ 232724 h 310813"/>
                  <a:gd name="connsiteX7" fmla="*/ 441479 w 519568"/>
                  <a:gd name="connsiteY7" fmla="*/ 234270 h 310813"/>
                  <a:gd name="connsiteX8" fmla="*/ 434521 w 519568"/>
                  <a:gd name="connsiteY8" fmla="*/ 227311 h 310813"/>
                  <a:gd name="connsiteX9" fmla="*/ 420603 w 519568"/>
                  <a:gd name="connsiteY9" fmla="*/ 211848 h 310813"/>
                  <a:gd name="connsiteX10" fmla="*/ 393542 w 519568"/>
                  <a:gd name="connsiteY10" fmla="*/ 242775 h 310813"/>
                  <a:gd name="connsiteX11" fmla="*/ 366482 w 519568"/>
                  <a:gd name="connsiteY11" fmla="*/ 211848 h 310813"/>
                  <a:gd name="connsiteX12" fmla="*/ 347926 w 519568"/>
                  <a:gd name="connsiteY12" fmla="*/ 233497 h 310813"/>
                  <a:gd name="connsiteX13" fmla="*/ 337875 w 519568"/>
                  <a:gd name="connsiteY13" fmla="*/ 234270 h 310813"/>
                  <a:gd name="connsiteX14" fmla="*/ 289938 w 519568"/>
                  <a:gd name="connsiteY14" fmla="*/ 234270 h 310813"/>
                  <a:gd name="connsiteX15" fmla="*/ 155407 w 519568"/>
                  <a:gd name="connsiteY15" fmla="*/ 310814 h 310813"/>
                  <a:gd name="connsiteX16" fmla="*/ 155407 w 519568"/>
                  <a:gd name="connsiteY16" fmla="*/ 310814 h 310813"/>
                  <a:gd name="connsiteX17" fmla="*/ 155407 w 519568"/>
                  <a:gd name="connsiteY17" fmla="*/ 40205 h 310813"/>
                  <a:gd name="connsiteX18" fmla="*/ 40978 w 519568"/>
                  <a:gd name="connsiteY18" fmla="*/ 154634 h 310813"/>
                  <a:gd name="connsiteX19" fmla="*/ 155407 w 519568"/>
                  <a:gd name="connsiteY19" fmla="*/ 269062 h 310813"/>
                  <a:gd name="connsiteX20" fmla="*/ 259011 w 519568"/>
                  <a:gd name="connsiteY20" fmla="*/ 204116 h 310813"/>
                  <a:gd name="connsiteX21" fmla="*/ 264424 w 519568"/>
                  <a:gd name="connsiteY21" fmla="*/ 192519 h 310813"/>
                  <a:gd name="connsiteX22" fmla="*/ 327823 w 519568"/>
                  <a:gd name="connsiteY22" fmla="*/ 192519 h 310813"/>
                  <a:gd name="connsiteX23" fmla="*/ 365708 w 519568"/>
                  <a:gd name="connsiteY23" fmla="*/ 149221 h 310813"/>
                  <a:gd name="connsiteX24" fmla="*/ 392769 w 519568"/>
                  <a:gd name="connsiteY24" fmla="*/ 180148 h 310813"/>
                  <a:gd name="connsiteX25" fmla="*/ 419830 w 519568"/>
                  <a:gd name="connsiteY25" fmla="*/ 149221 h 310813"/>
                  <a:gd name="connsiteX26" fmla="*/ 455396 w 519568"/>
                  <a:gd name="connsiteY26" fmla="*/ 189426 h 310813"/>
                  <a:gd name="connsiteX27" fmla="*/ 477818 w 519568"/>
                  <a:gd name="connsiteY27" fmla="*/ 155407 h 310813"/>
                  <a:gd name="connsiteX28" fmla="*/ 439933 w 519568"/>
                  <a:gd name="connsiteY28" fmla="*/ 117522 h 310813"/>
                  <a:gd name="connsiteX29" fmla="*/ 263650 w 519568"/>
                  <a:gd name="connsiteY29" fmla="*/ 117522 h 310813"/>
                  <a:gd name="connsiteX30" fmla="*/ 258238 w 519568"/>
                  <a:gd name="connsiteY30" fmla="*/ 105924 h 310813"/>
                  <a:gd name="connsiteX31" fmla="*/ 155407 w 519568"/>
                  <a:gd name="connsiteY31" fmla="*/ 40205 h 310813"/>
                  <a:gd name="connsiteX32" fmla="*/ 155407 w 519568"/>
                  <a:gd name="connsiteY32" fmla="*/ 40205 h 310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19568" h="310813">
                    <a:moveTo>
                      <a:pt x="155407" y="310814"/>
                    </a:moveTo>
                    <a:cubicBezTo>
                      <a:pt x="69585" y="310814"/>
                      <a:pt x="0" y="241228"/>
                      <a:pt x="0" y="155407"/>
                    </a:cubicBezTo>
                    <a:cubicBezTo>
                      <a:pt x="0" y="69585"/>
                      <a:pt x="69585" y="0"/>
                      <a:pt x="155407" y="0"/>
                    </a:cubicBezTo>
                    <a:cubicBezTo>
                      <a:pt x="210302" y="0"/>
                      <a:pt x="261331" y="30154"/>
                      <a:pt x="289165" y="76544"/>
                    </a:cubicBezTo>
                    <a:lnTo>
                      <a:pt x="440706" y="76544"/>
                    </a:lnTo>
                    <a:cubicBezTo>
                      <a:pt x="484003" y="76544"/>
                      <a:pt x="519569" y="112109"/>
                      <a:pt x="519569" y="155407"/>
                    </a:cubicBezTo>
                    <a:cubicBezTo>
                      <a:pt x="519569" y="194838"/>
                      <a:pt x="490188" y="228085"/>
                      <a:pt x="451530" y="232724"/>
                    </a:cubicBezTo>
                    <a:lnTo>
                      <a:pt x="441479" y="234270"/>
                    </a:lnTo>
                    <a:lnTo>
                      <a:pt x="434521" y="227311"/>
                    </a:lnTo>
                    <a:lnTo>
                      <a:pt x="420603" y="211848"/>
                    </a:lnTo>
                    <a:lnTo>
                      <a:pt x="393542" y="242775"/>
                    </a:lnTo>
                    <a:lnTo>
                      <a:pt x="366482" y="211848"/>
                    </a:lnTo>
                    <a:lnTo>
                      <a:pt x="347926" y="233497"/>
                    </a:lnTo>
                    <a:lnTo>
                      <a:pt x="337875" y="234270"/>
                    </a:lnTo>
                    <a:lnTo>
                      <a:pt x="289938" y="234270"/>
                    </a:lnTo>
                    <a:cubicBezTo>
                      <a:pt x="262104" y="280660"/>
                      <a:pt x="211075" y="310814"/>
                      <a:pt x="155407" y="310814"/>
                    </a:cubicBezTo>
                    <a:lnTo>
                      <a:pt x="155407" y="310814"/>
                    </a:lnTo>
                    <a:close/>
                    <a:moveTo>
                      <a:pt x="155407" y="40205"/>
                    </a:moveTo>
                    <a:cubicBezTo>
                      <a:pt x="92007" y="40205"/>
                      <a:pt x="40978" y="91234"/>
                      <a:pt x="40978" y="154634"/>
                    </a:cubicBezTo>
                    <a:cubicBezTo>
                      <a:pt x="40978" y="218033"/>
                      <a:pt x="92007" y="269062"/>
                      <a:pt x="155407" y="269062"/>
                    </a:cubicBezTo>
                    <a:cubicBezTo>
                      <a:pt x="199477" y="269062"/>
                      <a:pt x="239682" y="243548"/>
                      <a:pt x="259011" y="204116"/>
                    </a:cubicBezTo>
                    <a:lnTo>
                      <a:pt x="264424" y="192519"/>
                    </a:lnTo>
                    <a:lnTo>
                      <a:pt x="327823" y="192519"/>
                    </a:lnTo>
                    <a:lnTo>
                      <a:pt x="365708" y="149221"/>
                    </a:lnTo>
                    <a:lnTo>
                      <a:pt x="392769" y="180148"/>
                    </a:lnTo>
                    <a:lnTo>
                      <a:pt x="419830" y="149221"/>
                    </a:lnTo>
                    <a:lnTo>
                      <a:pt x="455396" y="189426"/>
                    </a:lnTo>
                    <a:cubicBezTo>
                      <a:pt x="468540" y="184014"/>
                      <a:pt x="477818" y="170097"/>
                      <a:pt x="477818" y="155407"/>
                    </a:cubicBezTo>
                    <a:cubicBezTo>
                      <a:pt x="477818" y="134531"/>
                      <a:pt x="460808" y="117522"/>
                      <a:pt x="439933" y="117522"/>
                    </a:cubicBezTo>
                    <a:lnTo>
                      <a:pt x="263650" y="117522"/>
                    </a:lnTo>
                    <a:lnTo>
                      <a:pt x="258238" y="105924"/>
                    </a:lnTo>
                    <a:cubicBezTo>
                      <a:pt x="239682" y="65719"/>
                      <a:pt x="199477" y="40205"/>
                      <a:pt x="155407" y="40205"/>
                    </a:cubicBezTo>
                    <a:lnTo>
                      <a:pt x="155407" y="40205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67" name="Forma Livre: Forma 66">
                <a:extLst>
                  <a:ext uri="{FF2B5EF4-FFF2-40B4-BE49-F238E27FC236}">
                    <a16:creationId xmlns:a16="http://schemas.microsoft.com/office/drawing/2014/main" id="{F1BA92F5-A3D4-4D6C-B3E8-41708C9566D7}"/>
                  </a:ext>
                </a:extLst>
              </p:cNvPr>
              <p:cNvSpPr/>
              <p:nvPr/>
            </p:nvSpPr>
            <p:spPr>
              <a:xfrm>
                <a:off x="2774469" y="218033"/>
                <a:ext cx="58760" cy="58760"/>
              </a:xfrm>
              <a:custGeom>
                <a:avLst/>
                <a:gdLst>
                  <a:gd name="connsiteX0" fmla="*/ 29381 w 58760"/>
                  <a:gd name="connsiteY0" fmla="*/ 0 h 58760"/>
                  <a:gd name="connsiteX1" fmla="*/ 0 w 58760"/>
                  <a:gd name="connsiteY1" fmla="*/ 29380 h 58760"/>
                  <a:gd name="connsiteX2" fmla="*/ 29381 w 58760"/>
                  <a:gd name="connsiteY2" fmla="*/ 58761 h 58760"/>
                  <a:gd name="connsiteX3" fmla="*/ 58761 w 58760"/>
                  <a:gd name="connsiteY3" fmla="*/ 29380 h 58760"/>
                  <a:gd name="connsiteX4" fmla="*/ 29381 w 58760"/>
                  <a:gd name="connsiteY4" fmla="*/ 0 h 58760"/>
                  <a:gd name="connsiteX5" fmla="*/ 29381 w 58760"/>
                  <a:gd name="connsiteY5" fmla="*/ 0 h 58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8760" h="58760">
                    <a:moveTo>
                      <a:pt x="29381" y="0"/>
                    </a:moveTo>
                    <a:cubicBezTo>
                      <a:pt x="13144" y="0"/>
                      <a:pt x="0" y="13144"/>
                      <a:pt x="0" y="29380"/>
                    </a:cubicBezTo>
                    <a:cubicBezTo>
                      <a:pt x="0" y="45617"/>
                      <a:pt x="13144" y="58761"/>
                      <a:pt x="29381" y="58761"/>
                    </a:cubicBezTo>
                    <a:cubicBezTo>
                      <a:pt x="45617" y="58761"/>
                      <a:pt x="58761" y="45617"/>
                      <a:pt x="58761" y="29380"/>
                    </a:cubicBezTo>
                    <a:cubicBezTo>
                      <a:pt x="58761" y="13144"/>
                      <a:pt x="44844" y="0"/>
                      <a:pt x="29381" y="0"/>
                    </a:cubicBezTo>
                    <a:lnTo>
                      <a:pt x="29381" y="0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68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7446771" y="3625885"/>
              <a:ext cx="281794" cy="376133"/>
              <a:chOff x="7800834" y="3817903"/>
              <a:chExt cx="355657" cy="474725"/>
            </a:xfrm>
            <a:solidFill>
              <a:srgbClr val="B1B1A1"/>
            </a:solidFill>
          </p:grpSpPr>
          <p:sp>
            <p:nvSpPr>
              <p:cNvPr id="69" name="Forma Livre: Forma 68">
                <a:extLst>
                  <a:ext uri="{FF2B5EF4-FFF2-40B4-BE49-F238E27FC236}">
                    <a16:creationId xmlns:a16="http://schemas.microsoft.com/office/drawing/2014/main" id="{4356855F-45C0-45DC-909A-B73F3413976B}"/>
                  </a:ext>
                </a:extLst>
              </p:cNvPr>
              <p:cNvSpPr/>
              <p:nvPr/>
            </p:nvSpPr>
            <p:spPr>
              <a:xfrm>
                <a:off x="7967838" y="4053719"/>
                <a:ext cx="20875" cy="204889"/>
              </a:xfrm>
              <a:custGeom>
                <a:avLst/>
                <a:gdLst>
                  <a:gd name="connsiteX0" fmla="*/ 20876 w 20875"/>
                  <a:gd name="connsiteY0" fmla="*/ 204890 h 204889"/>
                  <a:gd name="connsiteX1" fmla="*/ 0 w 20875"/>
                  <a:gd name="connsiteY1" fmla="*/ 204890 h 204889"/>
                  <a:gd name="connsiteX2" fmla="*/ 0 w 20875"/>
                  <a:gd name="connsiteY2" fmla="*/ 0 h 204889"/>
                  <a:gd name="connsiteX3" fmla="*/ 20876 w 20875"/>
                  <a:gd name="connsiteY3" fmla="*/ 0 h 204889"/>
                  <a:gd name="connsiteX4" fmla="*/ 20876 w 20875"/>
                  <a:gd name="connsiteY4" fmla="*/ 204890 h 2048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875" h="204889">
                    <a:moveTo>
                      <a:pt x="20876" y="204890"/>
                    </a:moveTo>
                    <a:lnTo>
                      <a:pt x="0" y="204890"/>
                    </a:lnTo>
                    <a:lnTo>
                      <a:pt x="0" y="0"/>
                    </a:lnTo>
                    <a:lnTo>
                      <a:pt x="20876" y="0"/>
                    </a:lnTo>
                    <a:lnTo>
                      <a:pt x="20876" y="204890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70" name="Forma Livre: Forma 69">
                <a:extLst>
                  <a:ext uri="{FF2B5EF4-FFF2-40B4-BE49-F238E27FC236}">
                    <a16:creationId xmlns:a16="http://schemas.microsoft.com/office/drawing/2014/main" id="{B9B5EDC3-5CFB-4905-8CD0-1CBB6E2D399E}"/>
                  </a:ext>
                </a:extLst>
              </p:cNvPr>
              <p:cNvSpPr/>
              <p:nvPr/>
            </p:nvSpPr>
            <p:spPr>
              <a:xfrm>
                <a:off x="7956241" y="4043668"/>
                <a:ext cx="44844" cy="44843"/>
              </a:xfrm>
              <a:custGeom>
                <a:avLst/>
                <a:gdLst>
                  <a:gd name="connsiteX0" fmla="*/ 22422 w 44844"/>
                  <a:gd name="connsiteY0" fmla="*/ 0 h 44843"/>
                  <a:gd name="connsiteX1" fmla="*/ 0 w 44844"/>
                  <a:gd name="connsiteY1" fmla="*/ 22422 h 44843"/>
                  <a:gd name="connsiteX2" fmla="*/ 22422 w 44844"/>
                  <a:gd name="connsiteY2" fmla="*/ 44844 h 44843"/>
                  <a:gd name="connsiteX3" fmla="*/ 44844 w 44844"/>
                  <a:gd name="connsiteY3" fmla="*/ 22422 h 44843"/>
                  <a:gd name="connsiteX4" fmla="*/ 22422 w 44844"/>
                  <a:gd name="connsiteY4" fmla="*/ 0 h 44843"/>
                  <a:gd name="connsiteX5" fmla="*/ 22422 w 44844"/>
                  <a:gd name="connsiteY5" fmla="*/ 0 h 44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4844" h="44843">
                    <a:moveTo>
                      <a:pt x="22422" y="0"/>
                    </a:moveTo>
                    <a:cubicBezTo>
                      <a:pt x="10052" y="0"/>
                      <a:pt x="0" y="10051"/>
                      <a:pt x="0" y="22422"/>
                    </a:cubicBezTo>
                    <a:cubicBezTo>
                      <a:pt x="0" y="34793"/>
                      <a:pt x="10052" y="44844"/>
                      <a:pt x="22422" y="44844"/>
                    </a:cubicBezTo>
                    <a:cubicBezTo>
                      <a:pt x="34793" y="44844"/>
                      <a:pt x="44844" y="34793"/>
                      <a:pt x="44844" y="22422"/>
                    </a:cubicBezTo>
                    <a:cubicBezTo>
                      <a:pt x="44071" y="10051"/>
                      <a:pt x="34793" y="0"/>
                      <a:pt x="22422" y="0"/>
                    </a:cubicBezTo>
                    <a:lnTo>
                      <a:pt x="22422" y="0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71" name="Forma Livre: Forma 70">
                <a:extLst>
                  <a:ext uri="{FF2B5EF4-FFF2-40B4-BE49-F238E27FC236}">
                    <a16:creationId xmlns:a16="http://schemas.microsoft.com/office/drawing/2014/main" id="{5BB6195E-6A82-41DD-B1C0-2B707B733073}"/>
                  </a:ext>
                </a:extLst>
              </p:cNvPr>
              <p:cNvSpPr/>
              <p:nvPr/>
            </p:nvSpPr>
            <p:spPr>
              <a:xfrm>
                <a:off x="7848771" y="3817903"/>
                <a:ext cx="259784" cy="40978"/>
              </a:xfrm>
              <a:custGeom>
                <a:avLst/>
                <a:gdLst>
                  <a:gd name="connsiteX0" fmla="*/ 259785 w 259784"/>
                  <a:gd name="connsiteY0" fmla="*/ 40978 h 40978"/>
                  <a:gd name="connsiteX1" fmla="*/ 0 w 259784"/>
                  <a:gd name="connsiteY1" fmla="*/ 40978 h 40978"/>
                  <a:gd name="connsiteX2" fmla="*/ 0 w 259784"/>
                  <a:gd name="connsiteY2" fmla="*/ 0 h 40978"/>
                  <a:gd name="connsiteX3" fmla="*/ 259785 w 259784"/>
                  <a:gd name="connsiteY3" fmla="*/ 0 h 40978"/>
                  <a:gd name="connsiteX4" fmla="*/ 259785 w 259784"/>
                  <a:gd name="connsiteY4" fmla="*/ 40978 h 409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9784" h="40978">
                    <a:moveTo>
                      <a:pt x="259785" y="40978"/>
                    </a:moveTo>
                    <a:lnTo>
                      <a:pt x="0" y="40978"/>
                    </a:lnTo>
                    <a:lnTo>
                      <a:pt x="0" y="0"/>
                    </a:lnTo>
                    <a:lnTo>
                      <a:pt x="259785" y="0"/>
                    </a:lnTo>
                    <a:lnTo>
                      <a:pt x="259785" y="40978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72" name="Forma Livre: Forma 71">
                <a:extLst>
                  <a:ext uri="{FF2B5EF4-FFF2-40B4-BE49-F238E27FC236}">
                    <a16:creationId xmlns:a16="http://schemas.microsoft.com/office/drawing/2014/main" id="{920239EA-F975-43CA-A73E-E012712C12A2}"/>
                  </a:ext>
                </a:extLst>
              </p:cNvPr>
              <p:cNvSpPr/>
              <p:nvPr/>
            </p:nvSpPr>
            <p:spPr>
              <a:xfrm>
                <a:off x="7800834" y="3868932"/>
                <a:ext cx="355657" cy="423696"/>
              </a:xfrm>
              <a:custGeom>
                <a:avLst/>
                <a:gdLst>
                  <a:gd name="connsiteX0" fmla="*/ 194065 w 355657"/>
                  <a:gd name="connsiteY0" fmla="*/ 423696 h 423696"/>
                  <a:gd name="connsiteX1" fmla="*/ 161592 w 355657"/>
                  <a:gd name="connsiteY1" fmla="*/ 423696 h 423696"/>
                  <a:gd name="connsiteX2" fmla="*/ 0 w 355657"/>
                  <a:gd name="connsiteY2" fmla="*/ 218033 h 423696"/>
                  <a:gd name="connsiteX3" fmla="*/ 70358 w 355657"/>
                  <a:gd name="connsiteY3" fmla="*/ 74224 h 423696"/>
                  <a:gd name="connsiteX4" fmla="*/ 70358 w 355657"/>
                  <a:gd name="connsiteY4" fmla="*/ 0 h 423696"/>
                  <a:gd name="connsiteX5" fmla="*/ 285299 w 355657"/>
                  <a:gd name="connsiteY5" fmla="*/ 0 h 423696"/>
                  <a:gd name="connsiteX6" fmla="*/ 285299 w 355657"/>
                  <a:gd name="connsiteY6" fmla="*/ 74224 h 423696"/>
                  <a:gd name="connsiteX7" fmla="*/ 355657 w 355657"/>
                  <a:gd name="connsiteY7" fmla="*/ 218033 h 423696"/>
                  <a:gd name="connsiteX8" fmla="*/ 194065 w 355657"/>
                  <a:gd name="connsiteY8" fmla="*/ 423696 h 423696"/>
                  <a:gd name="connsiteX9" fmla="*/ 194065 w 355657"/>
                  <a:gd name="connsiteY9" fmla="*/ 423696 h 423696"/>
                  <a:gd name="connsiteX10" fmla="*/ 47937 w 355657"/>
                  <a:gd name="connsiteY10" fmla="*/ 213394 h 423696"/>
                  <a:gd name="connsiteX11" fmla="*/ 177056 w 355657"/>
                  <a:gd name="connsiteY11" fmla="*/ 378853 h 423696"/>
                  <a:gd name="connsiteX12" fmla="*/ 306174 w 355657"/>
                  <a:gd name="connsiteY12" fmla="*/ 213394 h 423696"/>
                  <a:gd name="connsiteX13" fmla="*/ 242775 w 355657"/>
                  <a:gd name="connsiteY13" fmla="*/ 84275 h 423696"/>
                  <a:gd name="connsiteX14" fmla="*/ 242775 w 355657"/>
                  <a:gd name="connsiteY14" fmla="*/ 41751 h 423696"/>
                  <a:gd name="connsiteX15" fmla="*/ 109790 w 355657"/>
                  <a:gd name="connsiteY15" fmla="*/ 41751 h 423696"/>
                  <a:gd name="connsiteX16" fmla="*/ 109790 w 355657"/>
                  <a:gd name="connsiteY16" fmla="*/ 84275 h 423696"/>
                  <a:gd name="connsiteX17" fmla="*/ 47937 w 355657"/>
                  <a:gd name="connsiteY17" fmla="*/ 213394 h 423696"/>
                  <a:gd name="connsiteX18" fmla="*/ 47937 w 355657"/>
                  <a:gd name="connsiteY18" fmla="*/ 213394 h 4236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5657" h="423696">
                    <a:moveTo>
                      <a:pt x="194065" y="423696"/>
                    </a:moveTo>
                    <a:lnTo>
                      <a:pt x="161592" y="423696"/>
                    </a:lnTo>
                    <a:lnTo>
                      <a:pt x="0" y="218033"/>
                    </a:lnTo>
                    <a:lnTo>
                      <a:pt x="70358" y="74224"/>
                    </a:lnTo>
                    <a:lnTo>
                      <a:pt x="70358" y="0"/>
                    </a:lnTo>
                    <a:lnTo>
                      <a:pt x="285299" y="0"/>
                    </a:lnTo>
                    <a:lnTo>
                      <a:pt x="285299" y="74224"/>
                    </a:lnTo>
                    <a:lnTo>
                      <a:pt x="355657" y="218033"/>
                    </a:lnTo>
                    <a:lnTo>
                      <a:pt x="194065" y="423696"/>
                    </a:lnTo>
                    <a:lnTo>
                      <a:pt x="194065" y="423696"/>
                    </a:lnTo>
                    <a:close/>
                    <a:moveTo>
                      <a:pt x="47937" y="213394"/>
                    </a:moveTo>
                    <a:lnTo>
                      <a:pt x="177056" y="378853"/>
                    </a:lnTo>
                    <a:lnTo>
                      <a:pt x="306174" y="213394"/>
                    </a:lnTo>
                    <a:lnTo>
                      <a:pt x="242775" y="84275"/>
                    </a:lnTo>
                    <a:lnTo>
                      <a:pt x="242775" y="41751"/>
                    </a:lnTo>
                    <a:lnTo>
                      <a:pt x="109790" y="41751"/>
                    </a:lnTo>
                    <a:lnTo>
                      <a:pt x="109790" y="84275"/>
                    </a:lnTo>
                    <a:lnTo>
                      <a:pt x="47937" y="213394"/>
                    </a:lnTo>
                    <a:lnTo>
                      <a:pt x="47937" y="213394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73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8381592" y="3673667"/>
              <a:ext cx="407988" cy="280569"/>
              <a:chOff x="8980689" y="3878210"/>
              <a:chExt cx="514929" cy="354111"/>
            </a:xfrm>
            <a:solidFill>
              <a:srgbClr val="B1B1A1"/>
            </a:solidFill>
          </p:grpSpPr>
          <p:sp>
            <p:nvSpPr>
              <p:cNvPr id="74" name="Forma Livre: Forma 73">
                <a:extLst>
                  <a:ext uri="{FF2B5EF4-FFF2-40B4-BE49-F238E27FC236}">
                    <a16:creationId xmlns:a16="http://schemas.microsoft.com/office/drawing/2014/main" id="{1AAE9FC6-668C-44B7-9518-15C92FC76651}"/>
                  </a:ext>
                </a:extLst>
              </p:cNvPr>
              <p:cNvSpPr/>
              <p:nvPr/>
            </p:nvSpPr>
            <p:spPr>
              <a:xfrm>
                <a:off x="9279905" y="3923827"/>
                <a:ext cx="173188" cy="208755"/>
              </a:xfrm>
              <a:custGeom>
                <a:avLst/>
                <a:gdLst>
                  <a:gd name="connsiteX0" fmla="*/ 173189 w 173188"/>
                  <a:gd name="connsiteY0" fmla="*/ 208755 h 208755"/>
                  <a:gd name="connsiteX1" fmla="*/ 132212 w 173188"/>
                  <a:gd name="connsiteY1" fmla="*/ 208755 h 208755"/>
                  <a:gd name="connsiteX2" fmla="*/ 0 w 173188"/>
                  <a:gd name="connsiteY2" fmla="*/ 40205 h 208755"/>
                  <a:gd name="connsiteX3" fmla="*/ 10051 w 173188"/>
                  <a:gd name="connsiteY3" fmla="*/ 0 h 208755"/>
                  <a:gd name="connsiteX4" fmla="*/ 173189 w 173188"/>
                  <a:gd name="connsiteY4" fmla="*/ 208755 h 208755"/>
                  <a:gd name="connsiteX5" fmla="*/ 173189 w 173188"/>
                  <a:gd name="connsiteY5" fmla="*/ 208755 h 208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3188" h="208755">
                    <a:moveTo>
                      <a:pt x="173189" y="208755"/>
                    </a:moveTo>
                    <a:lnTo>
                      <a:pt x="132212" y="208755"/>
                    </a:lnTo>
                    <a:cubicBezTo>
                      <a:pt x="132212" y="128346"/>
                      <a:pt x="78090" y="58761"/>
                      <a:pt x="0" y="40205"/>
                    </a:cubicBezTo>
                    <a:lnTo>
                      <a:pt x="10051" y="0"/>
                    </a:lnTo>
                    <a:cubicBezTo>
                      <a:pt x="105924" y="23968"/>
                      <a:pt x="173189" y="109790"/>
                      <a:pt x="173189" y="208755"/>
                    </a:cubicBezTo>
                    <a:lnTo>
                      <a:pt x="173189" y="208755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75" name="Forma Livre: Forma 74">
                <a:extLst>
                  <a:ext uri="{FF2B5EF4-FFF2-40B4-BE49-F238E27FC236}">
                    <a16:creationId xmlns:a16="http://schemas.microsoft.com/office/drawing/2014/main" id="{72FEA7E1-3E0F-4883-BC42-B8A924036419}"/>
                  </a:ext>
                </a:extLst>
              </p:cNvPr>
              <p:cNvSpPr/>
              <p:nvPr/>
            </p:nvSpPr>
            <p:spPr>
              <a:xfrm>
                <a:off x="9023213" y="3925373"/>
                <a:ext cx="167778" cy="207208"/>
              </a:xfrm>
              <a:custGeom>
                <a:avLst/>
                <a:gdLst>
                  <a:gd name="connsiteX0" fmla="*/ 40978 w 167778"/>
                  <a:gd name="connsiteY0" fmla="*/ 207209 h 207208"/>
                  <a:gd name="connsiteX1" fmla="*/ 0 w 167778"/>
                  <a:gd name="connsiteY1" fmla="*/ 207209 h 207208"/>
                  <a:gd name="connsiteX2" fmla="*/ 156953 w 167778"/>
                  <a:gd name="connsiteY2" fmla="*/ 0 h 207208"/>
                  <a:gd name="connsiteX3" fmla="*/ 167778 w 167778"/>
                  <a:gd name="connsiteY3" fmla="*/ 39431 h 207208"/>
                  <a:gd name="connsiteX4" fmla="*/ 40978 w 167778"/>
                  <a:gd name="connsiteY4" fmla="*/ 207209 h 207208"/>
                  <a:gd name="connsiteX5" fmla="*/ 40978 w 167778"/>
                  <a:gd name="connsiteY5" fmla="*/ 207209 h 2072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7778" h="207208">
                    <a:moveTo>
                      <a:pt x="40978" y="207209"/>
                    </a:moveTo>
                    <a:lnTo>
                      <a:pt x="0" y="207209"/>
                    </a:lnTo>
                    <a:cubicBezTo>
                      <a:pt x="0" y="111336"/>
                      <a:pt x="64173" y="26288"/>
                      <a:pt x="156953" y="0"/>
                    </a:cubicBezTo>
                    <a:lnTo>
                      <a:pt x="167778" y="39431"/>
                    </a:lnTo>
                    <a:cubicBezTo>
                      <a:pt x="92780" y="61080"/>
                      <a:pt x="40978" y="129892"/>
                      <a:pt x="40978" y="207209"/>
                    </a:cubicBezTo>
                    <a:lnTo>
                      <a:pt x="40978" y="207209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grpSp>
            <p:nvGrpSpPr>
              <p:cNvPr id="76" name="Gráfico 2">
                <a:extLst>
                  <a:ext uri="{FF2B5EF4-FFF2-40B4-BE49-F238E27FC236}">
                    <a16:creationId xmlns:a16="http://schemas.microsoft.com/office/drawing/2014/main" id="{6FEF66BF-8D1E-4FFA-95A2-6EE56886837B}"/>
                  </a:ext>
                </a:extLst>
              </p:cNvPr>
              <p:cNvGrpSpPr/>
              <p:nvPr/>
            </p:nvGrpSpPr>
            <p:grpSpPr>
              <a:xfrm>
                <a:off x="8980689" y="4102429"/>
                <a:ext cx="514929" cy="129892"/>
                <a:chOff x="8980689" y="4102429"/>
                <a:chExt cx="514929" cy="129892"/>
              </a:xfrm>
              <a:grpFill/>
            </p:grpSpPr>
            <p:sp>
              <p:nvSpPr>
                <p:cNvPr id="77" name="Forma Livre: Forma 76">
                  <a:extLst>
                    <a:ext uri="{FF2B5EF4-FFF2-40B4-BE49-F238E27FC236}">
                      <a16:creationId xmlns:a16="http://schemas.microsoft.com/office/drawing/2014/main" id="{4748B240-D072-4C6D-B5E2-EF1A49C8ADE3}"/>
                    </a:ext>
                  </a:extLst>
                </p:cNvPr>
                <p:cNvSpPr/>
                <p:nvPr/>
              </p:nvSpPr>
              <p:spPr>
                <a:xfrm>
                  <a:off x="8980689" y="4102429"/>
                  <a:ext cx="129892" cy="129892"/>
                </a:xfrm>
                <a:custGeom>
                  <a:avLst/>
                  <a:gdLst>
                    <a:gd name="connsiteX0" fmla="*/ 129893 w 129892"/>
                    <a:gd name="connsiteY0" fmla="*/ 129893 h 129892"/>
                    <a:gd name="connsiteX1" fmla="*/ 0 w 129892"/>
                    <a:gd name="connsiteY1" fmla="*/ 129893 h 129892"/>
                    <a:gd name="connsiteX2" fmla="*/ 0 w 129892"/>
                    <a:gd name="connsiteY2" fmla="*/ 0 h 129892"/>
                    <a:gd name="connsiteX3" fmla="*/ 129893 w 129892"/>
                    <a:gd name="connsiteY3" fmla="*/ 0 h 129892"/>
                    <a:gd name="connsiteX4" fmla="*/ 129893 w 129892"/>
                    <a:gd name="connsiteY4" fmla="*/ 129893 h 129892"/>
                    <a:gd name="connsiteX5" fmla="*/ 129893 w 129892"/>
                    <a:gd name="connsiteY5" fmla="*/ 129893 h 129892"/>
                    <a:gd name="connsiteX6" fmla="*/ 40978 w 129892"/>
                    <a:gd name="connsiteY6" fmla="*/ 88914 h 129892"/>
                    <a:gd name="connsiteX7" fmla="*/ 88914 w 129892"/>
                    <a:gd name="connsiteY7" fmla="*/ 88914 h 129892"/>
                    <a:gd name="connsiteX8" fmla="*/ 88914 w 129892"/>
                    <a:gd name="connsiteY8" fmla="*/ 40978 h 129892"/>
                    <a:gd name="connsiteX9" fmla="*/ 40978 w 129892"/>
                    <a:gd name="connsiteY9" fmla="*/ 40978 h 129892"/>
                    <a:gd name="connsiteX10" fmla="*/ 40978 w 129892"/>
                    <a:gd name="connsiteY10" fmla="*/ 88914 h 129892"/>
                    <a:gd name="connsiteX11" fmla="*/ 40978 w 129892"/>
                    <a:gd name="connsiteY11" fmla="*/ 88914 h 129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29892" h="129892">
                      <a:moveTo>
                        <a:pt x="129893" y="129893"/>
                      </a:moveTo>
                      <a:lnTo>
                        <a:pt x="0" y="129893"/>
                      </a:lnTo>
                      <a:lnTo>
                        <a:pt x="0" y="0"/>
                      </a:lnTo>
                      <a:lnTo>
                        <a:pt x="129893" y="0"/>
                      </a:lnTo>
                      <a:lnTo>
                        <a:pt x="129893" y="129893"/>
                      </a:lnTo>
                      <a:lnTo>
                        <a:pt x="129893" y="129893"/>
                      </a:lnTo>
                      <a:close/>
                      <a:moveTo>
                        <a:pt x="40978" y="88914"/>
                      </a:moveTo>
                      <a:lnTo>
                        <a:pt x="88914" y="88914"/>
                      </a:lnTo>
                      <a:lnTo>
                        <a:pt x="88914" y="40978"/>
                      </a:lnTo>
                      <a:lnTo>
                        <a:pt x="40978" y="40978"/>
                      </a:lnTo>
                      <a:lnTo>
                        <a:pt x="40978" y="88914"/>
                      </a:lnTo>
                      <a:lnTo>
                        <a:pt x="40978" y="88914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78" name="Forma Livre: Forma 77">
                  <a:extLst>
                    <a:ext uri="{FF2B5EF4-FFF2-40B4-BE49-F238E27FC236}">
                      <a16:creationId xmlns:a16="http://schemas.microsoft.com/office/drawing/2014/main" id="{A4A4427B-EE94-4582-ACFA-B10E450B7EF2}"/>
                    </a:ext>
                  </a:extLst>
                </p:cNvPr>
                <p:cNvSpPr/>
                <p:nvPr/>
              </p:nvSpPr>
              <p:spPr>
                <a:xfrm>
                  <a:off x="9365727" y="4102429"/>
                  <a:ext cx="129891" cy="129892"/>
                </a:xfrm>
                <a:custGeom>
                  <a:avLst/>
                  <a:gdLst>
                    <a:gd name="connsiteX0" fmla="*/ 129892 w 129891"/>
                    <a:gd name="connsiteY0" fmla="*/ 129893 h 129892"/>
                    <a:gd name="connsiteX1" fmla="*/ 0 w 129891"/>
                    <a:gd name="connsiteY1" fmla="*/ 129893 h 129892"/>
                    <a:gd name="connsiteX2" fmla="*/ 0 w 129891"/>
                    <a:gd name="connsiteY2" fmla="*/ 0 h 129892"/>
                    <a:gd name="connsiteX3" fmla="*/ 129892 w 129891"/>
                    <a:gd name="connsiteY3" fmla="*/ 0 h 129892"/>
                    <a:gd name="connsiteX4" fmla="*/ 129892 w 129891"/>
                    <a:gd name="connsiteY4" fmla="*/ 129893 h 129892"/>
                    <a:gd name="connsiteX5" fmla="*/ 129892 w 129891"/>
                    <a:gd name="connsiteY5" fmla="*/ 129893 h 129892"/>
                    <a:gd name="connsiteX6" fmla="*/ 40977 w 129891"/>
                    <a:gd name="connsiteY6" fmla="*/ 88914 h 129892"/>
                    <a:gd name="connsiteX7" fmla="*/ 88914 w 129891"/>
                    <a:gd name="connsiteY7" fmla="*/ 88914 h 129892"/>
                    <a:gd name="connsiteX8" fmla="*/ 88914 w 129891"/>
                    <a:gd name="connsiteY8" fmla="*/ 40978 h 129892"/>
                    <a:gd name="connsiteX9" fmla="*/ 40977 w 129891"/>
                    <a:gd name="connsiteY9" fmla="*/ 40978 h 129892"/>
                    <a:gd name="connsiteX10" fmla="*/ 40977 w 129891"/>
                    <a:gd name="connsiteY10" fmla="*/ 88914 h 129892"/>
                    <a:gd name="connsiteX11" fmla="*/ 40977 w 129891"/>
                    <a:gd name="connsiteY11" fmla="*/ 88914 h 129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29891" h="129892">
                      <a:moveTo>
                        <a:pt x="129892" y="129893"/>
                      </a:moveTo>
                      <a:lnTo>
                        <a:pt x="0" y="129893"/>
                      </a:lnTo>
                      <a:lnTo>
                        <a:pt x="0" y="0"/>
                      </a:lnTo>
                      <a:lnTo>
                        <a:pt x="129892" y="0"/>
                      </a:lnTo>
                      <a:lnTo>
                        <a:pt x="129892" y="129893"/>
                      </a:lnTo>
                      <a:lnTo>
                        <a:pt x="129892" y="129893"/>
                      </a:lnTo>
                      <a:close/>
                      <a:moveTo>
                        <a:pt x="40977" y="88914"/>
                      </a:moveTo>
                      <a:lnTo>
                        <a:pt x="88914" y="88914"/>
                      </a:lnTo>
                      <a:lnTo>
                        <a:pt x="88914" y="40978"/>
                      </a:lnTo>
                      <a:lnTo>
                        <a:pt x="40977" y="40978"/>
                      </a:lnTo>
                      <a:lnTo>
                        <a:pt x="40977" y="88914"/>
                      </a:lnTo>
                      <a:lnTo>
                        <a:pt x="40977" y="88914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sp>
            <p:nvSpPr>
              <p:cNvPr id="79" name="Forma Livre: Forma 78">
                <a:extLst>
                  <a:ext uri="{FF2B5EF4-FFF2-40B4-BE49-F238E27FC236}">
                    <a16:creationId xmlns:a16="http://schemas.microsoft.com/office/drawing/2014/main" id="{C3661B04-7D4A-40BB-BD8F-CC290555B113}"/>
                  </a:ext>
                </a:extLst>
              </p:cNvPr>
              <p:cNvSpPr/>
              <p:nvPr/>
            </p:nvSpPr>
            <p:spPr>
              <a:xfrm>
                <a:off x="9173208" y="3878210"/>
                <a:ext cx="129892" cy="129892"/>
              </a:xfrm>
              <a:custGeom>
                <a:avLst/>
                <a:gdLst>
                  <a:gd name="connsiteX0" fmla="*/ 129893 w 129892"/>
                  <a:gd name="connsiteY0" fmla="*/ 129892 h 129892"/>
                  <a:gd name="connsiteX1" fmla="*/ 0 w 129892"/>
                  <a:gd name="connsiteY1" fmla="*/ 129892 h 129892"/>
                  <a:gd name="connsiteX2" fmla="*/ 0 w 129892"/>
                  <a:gd name="connsiteY2" fmla="*/ 0 h 129892"/>
                  <a:gd name="connsiteX3" fmla="*/ 129893 w 129892"/>
                  <a:gd name="connsiteY3" fmla="*/ 0 h 129892"/>
                  <a:gd name="connsiteX4" fmla="*/ 129893 w 129892"/>
                  <a:gd name="connsiteY4" fmla="*/ 129892 h 129892"/>
                  <a:gd name="connsiteX5" fmla="*/ 129893 w 129892"/>
                  <a:gd name="connsiteY5" fmla="*/ 129892 h 129892"/>
                  <a:gd name="connsiteX6" fmla="*/ 40978 w 129892"/>
                  <a:gd name="connsiteY6" fmla="*/ 88914 h 129892"/>
                  <a:gd name="connsiteX7" fmla="*/ 88914 w 129892"/>
                  <a:gd name="connsiteY7" fmla="*/ 88914 h 129892"/>
                  <a:gd name="connsiteX8" fmla="*/ 88914 w 129892"/>
                  <a:gd name="connsiteY8" fmla="*/ 40978 h 129892"/>
                  <a:gd name="connsiteX9" fmla="*/ 40978 w 129892"/>
                  <a:gd name="connsiteY9" fmla="*/ 40978 h 129892"/>
                  <a:gd name="connsiteX10" fmla="*/ 40978 w 129892"/>
                  <a:gd name="connsiteY10" fmla="*/ 88914 h 129892"/>
                  <a:gd name="connsiteX11" fmla="*/ 40978 w 129892"/>
                  <a:gd name="connsiteY11" fmla="*/ 88914 h 1298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9892" h="129892">
                    <a:moveTo>
                      <a:pt x="129893" y="129892"/>
                    </a:moveTo>
                    <a:lnTo>
                      <a:pt x="0" y="129892"/>
                    </a:lnTo>
                    <a:lnTo>
                      <a:pt x="0" y="0"/>
                    </a:lnTo>
                    <a:lnTo>
                      <a:pt x="129893" y="0"/>
                    </a:lnTo>
                    <a:lnTo>
                      <a:pt x="129893" y="129892"/>
                    </a:lnTo>
                    <a:lnTo>
                      <a:pt x="129893" y="129892"/>
                    </a:lnTo>
                    <a:close/>
                    <a:moveTo>
                      <a:pt x="40978" y="88914"/>
                    </a:moveTo>
                    <a:lnTo>
                      <a:pt x="88914" y="88914"/>
                    </a:lnTo>
                    <a:lnTo>
                      <a:pt x="88914" y="40978"/>
                    </a:lnTo>
                    <a:lnTo>
                      <a:pt x="40978" y="40978"/>
                    </a:lnTo>
                    <a:lnTo>
                      <a:pt x="40978" y="88914"/>
                    </a:lnTo>
                    <a:lnTo>
                      <a:pt x="40978" y="88914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80" name="Forma Livre: Forma 79">
                <a:extLst>
                  <a:ext uri="{FF2B5EF4-FFF2-40B4-BE49-F238E27FC236}">
                    <a16:creationId xmlns:a16="http://schemas.microsoft.com/office/drawing/2014/main" id="{EA76B4EE-331F-4419-9CC8-5C05F0066DBC}"/>
                  </a:ext>
                </a:extLst>
              </p:cNvPr>
              <p:cNvSpPr/>
              <p:nvPr/>
            </p:nvSpPr>
            <p:spPr>
              <a:xfrm>
                <a:off x="9027852" y="3919961"/>
                <a:ext cx="159273" cy="20875"/>
              </a:xfrm>
              <a:custGeom>
                <a:avLst/>
                <a:gdLst>
                  <a:gd name="connsiteX0" fmla="*/ 159273 w 159273"/>
                  <a:gd name="connsiteY0" fmla="*/ 20876 h 20875"/>
                  <a:gd name="connsiteX1" fmla="*/ 0 w 159273"/>
                  <a:gd name="connsiteY1" fmla="*/ 20876 h 20875"/>
                  <a:gd name="connsiteX2" fmla="*/ 0 w 159273"/>
                  <a:gd name="connsiteY2" fmla="*/ 0 h 20875"/>
                  <a:gd name="connsiteX3" fmla="*/ 159273 w 159273"/>
                  <a:gd name="connsiteY3" fmla="*/ 0 h 20875"/>
                  <a:gd name="connsiteX4" fmla="*/ 159273 w 159273"/>
                  <a:gd name="connsiteY4" fmla="*/ 20876 h 20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9273" h="20875">
                    <a:moveTo>
                      <a:pt x="159273" y="20876"/>
                    </a:moveTo>
                    <a:lnTo>
                      <a:pt x="0" y="20876"/>
                    </a:lnTo>
                    <a:lnTo>
                      <a:pt x="0" y="0"/>
                    </a:lnTo>
                    <a:lnTo>
                      <a:pt x="159273" y="0"/>
                    </a:lnTo>
                    <a:lnTo>
                      <a:pt x="159273" y="20876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81" name="Forma Livre: Forma 80">
                <a:extLst>
                  <a:ext uri="{FF2B5EF4-FFF2-40B4-BE49-F238E27FC236}">
                    <a16:creationId xmlns:a16="http://schemas.microsoft.com/office/drawing/2014/main" id="{363F00D2-2942-492F-86E9-438547381405}"/>
                  </a:ext>
                </a:extLst>
              </p:cNvPr>
              <p:cNvSpPr/>
              <p:nvPr/>
            </p:nvSpPr>
            <p:spPr>
              <a:xfrm>
                <a:off x="9000791" y="3908364"/>
                <a:ext cx="44844" cy="44843"/>
              </a:xfrm>
              <a:custGeom>
                <a:avLst/>
                <a:gdLst>
                  <a:gd name="connsiteX0" fmla="*/ 22422 w 44844"/>
                  <a:gd name="connsiteY0" fmla="*/ 0 h 44843"/>
                  <a:gd name="connsiteX1" fmla="*/ 0 w 44844"/>
                  <a:gd name="connsiteY1" fmla="*/ 22422 h 44843"/>
                  <a:gd name="connsiteX2" fmla="*/ 22422 w 44844"/>
                  <a:gd name="connsiteY2" fmla="*/ 44844 h 44843"/>
                  <a:gd name="connsiteX3" fmla="*/ 44844 w 44844"/>
                  <a:gd name="connsiteY3" fmla="*/ 22422 h 44843"/>
                  <a:gd name="connsiteX4" fmla="*/ 22422 w 44844"/>
                  <a:gd name="connsiteY4" fmla="*/ 0 h 44843"/>
                  <a:gd name="connsiteX5" fmla="*/ 22422 w 44844"/>
                  <a:gd name="connsiteY5" fmla="*/ 0 h 44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4844" h="44843">
                    <a:moveTo>
                      <a:pt x="22422" y="0"/>
                    </a:moveTo>
                    <a:cubicBezTo>
                      <a:pt x="10052" y="0"/>
                      <a:pt x="0" y="10051"/>
                      <a:pt x="0" y="22422"/>
                    </a:cubicBezTo>
                    <a:cubicBezTo>
                      <a:pt x="0" y="34793"/>
                      <a:pt x="10052" y="44844"/>
                      <a:pt x="22422" y="44844"/>
                    </a:cubicBezTo>
                    <a:cubicBezTo>
                      <a:pt x="34793" y="44844"/>
                      <a:pt x="44844" y="34793"/>
                      <a:pt x="44844" y="22422"/>
                    </a:cubicBezTo>
                    <a:cubicBezTo>
                      <a:pt x="44844" y="10051"/>
                      <a:pt x="34793" y="0"/>
                      <a:pt x="22422" y="0"/>
                    </a:cubicBezTo>
                    <a:lnTo>
                      <a:pt x="22422" y="0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82" name="Forma Livre: Forma 81">
                <a:extLst>
                  <a:ext uri="{FF2B5EF4-FFF2-40B4-BE49-F238E27FC236}">
                    <a16:creationId xmlns:a16="http://schemas.microsoft.com/office/drawing/2014/main" id="{57D057CF-E8A7-4CBC-93BB-E607D34E082D}"/>
                  </a:ext>
                </a:extLst>
              </p:cNvPr>
              <p:cNvSpPr/>
              <p:nvPr/>
            </p:nvSpPr>
            <p:spPr>
              <a:xfrm>
                <a:off x="9294595" y="3919961"/>
                <a:ext cx="159273" cy="20875"/>
              </a:xfrm>
              <a:custGeom>
                <a:avLst/>
                <a:gdLst>
                  <a:gd name="connsiteX0" fmla="*/ 159273 w 159273"/>
                  <a:gd name="connsiteY0" fmla="*/ 20876 h 20875"/>
                  <a:gd name="connsiteX1" fmla="*/ 0 w 159273"/>
                  <a:gd name="connsiteY1" fmla="*/ 20876 h 20875"/>
                  <a:gd name="connsiteX2" fmla="*/ 0 w 159273"/>
                  <a:gd name="connsiteY2" fmla="*/ 0 h 20875"/>
                  <a:gd name="connsiteX3" fmla="*/ 159273 w 159273"/>
                  <a:gd name="connsiteY3" fmla="*/ 0 h 20875"/>
                  <a:gd name="connsiteX4" fmla="*/ 159273 w 159273"/>
                  <a:gd name="connsiteY4" fmla="*/ 20876 h 20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9273" h="20875">
                    <a:moveTo>
                      <a:pt x="159273" y="20876"/>
                    </a:moveTo>
                    <a:lnTo>
                      <a:pt x="0" y="20876"/>
                    </a:lnTo>
                    <a:lnTo>
                      <a:pt x="0" y="0"/>
                    </a:lnTo>
                    <a:lnTo>
                      <a:pt x="159273" y="0"/>
                    </a:lnTo>
                    <a:lnTo>
                      <a:pt x="159273" y="20876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83" name="Forma Livre: Forma 82">
                <a:extLst>
                  <a:ext uri="{FF2B5EF4-FFF2-40B4-BE49-F238E27FC236}">
                    <a16:creationId xmlns:a16="http://schemas.microsoft.com/office/drawing/2014/main" id="{D3E4C38D-ABB5-4A11-B74D-93BEEED063D7}"/>
                  </a:ext>
                </a:extLst>
              </p:cNvPr>
              <p:cNvSpPr/>
              <p:nvPr/>
            </p:nvSpPr>
            <p:spPr>
              <a:xfrm>
                <a:off x="9429899" y="3908364"/>
                <a:ext cx="44844" cy="44843"/>
              </a:xfrm>
              <a:custGeom>
                <a:avLst/>
                <a:gdLst>
                  <a:gd name="connsiteX0" fmla="*/ 22422 w 44844"/>
                  <a:gd name="connsiteY0" fmla="*/ 0 h 44843"/>
                  <a:gd name="connsiteX1" fmla="*/ 0 w 44844"/>
                  <a:gd name="connsiteY1" fmla="*/ 22422 h 44843"/>
                  <a:gd name="connsiteX2" fmla="*/ 22422 w 44844"/>
                  <a:gd name="connsiteY2" fmla="*/ 44844 h 44843"/>
                  <a:gd name="connsiteX3" fmla="*/ 44844 w 44844"/>
                  <a:gd name="connsiteY3" fmla="*/ 22422 h 44843"/>
                  <a:gd name="connsiteX4" fmla="*/ 22422 w 44844"/>
                  <a:gd name="connsiteY4" fmla="*/ 0 h 44843"/>
                  <a:gd name="connsiteX5" fmla="*/ 22422 w 44844"/>
                  <a:gd name="connsiteY5" fmla="*/ 0 h 44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4844" h="44843">
                    <a:moveTo>
                      <a:pt x="22422" y="0"/>
                    </a:moveTo>
                    <a:cubicBezTo>
                      <a:pt x="10052" y="0"/>
                      <a:pt x="0" y="10051"/>
                      <a:pt x="0" y="22422"/>
                    </a:cubicBezTo>
                    <a:cubicBezTo>
                      <a:pt x="0" y="34793"/>
                      <a:pt x="10052" y="44844"/>
                      <a:pt x="22422" y="44844"/>
                    </a:cubicBezTo>
                    <a:cubicBezTo>
                      <a:pt x="34793" y="44844"/>
                      <a:pt x="44844" y="34793"/>
                      <a:pt x="44844" y="22422"/>
                    </a:cubicBezTo>
                    <a:cubicBezTo>
                      <a:pt x="44844" y="10051"/>
                      <a:pt x="34793" y="0"/>
                      <a:pt x="22422" y="0"/>
                    </a:cubicBezTo>
                    <a:lnTo>
                      <a:pt x="22422" y="0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84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1403378" y="637493"/>
              <a:ext cx="422976" cy="318090"/>
              <a:chOff x="173352" y="46196"/>
              <a:chExt cx="533846" cy="401467"/>
            </a:xfrm>
            <a:solidFill>
              <a:srgbClr val="B1B1A1"/>
            </a:solidFill>
          </p:grpSpPr>
          <p:sp>
            <p:nvSpPr>
              <p:cNvPr id="85" name="Forma Livre: Forma 84">
                <a:extLst>
                  <a:ext uri="{FF2B5EF4-FFF2-40B4-BE49-F238E27FC236}">
                    <a16:creationId xmlns:a16="http://schemas.microsoft.com/office/drawing/2014/main" id="{4268F867-08AC-4006-A815-614AD07EC3F2}"/>
                  </a:ext>
                </a:extLst>
              </p:cNvPr>
              <p:cNvSpPr/>
              <p:nvPr/>
            </p:nvSpPr>
            <p:spPr>
              <a:xfrm>
                <a:off x="233839" y="193291"/>
                <a:ext cx="412871" cy="254372"/>
              </a:xfrm>
              <a:custGeom>
                <a:avLst/>
                <a:gdLst>
                  <a:gd name="connsiteX0" fmla="*/ 391223 w 412871"/>
                  <a:gd name="connsiteY0" fmla="*/ 254372 h 254372"/>
                  <a:gd name="connsiteX1" fmla="*/ 259784 w 412871"/>
                  <a:gd name="connsiteY1" fmla="*/ 254372 h 254372"/>
                  <a:gd name="connsiteX2" fmla="*/ 238909 w 412871"/>
                  <a:gd name="connsiteY2" fmla="*/ 233497 h 254372"/>
                  <a:gd name="connsiteX3" fmla="*/ 238909 w 412871"/>
                  <a:gd name="connsiteY3" fmla="*/ 104378 h 254372"/>
                  <a:gd name="connsiteX4" fmla="*/ 173190 w 412871"/>
                  <a:gd name="connsiteY4" fmla="*/ 104378 h 254372"/>
                  <a:gd name="connsiteX5" fmla="*/ 173190 w 412871"/>
                  <a:gd name="connsiteY5" fmla="*/ 233497 h 254372"/>
                  <a:gd name="connsiteX6" fmla="*/ 152314 w 412871"/>
                  <a:gd name="connsiteY6" fmla="*/ 254372 h 254372"/>
                  <a:gd name="connsiteX7" fmla="*/ 20876 w 412871"/>
                  <a:gd name="connsiteY7" fmla="*/ 254372 h 254372"/>
                  <a:gd name="connsiteX8" fmla="*/ 0 w 412871"/>
                  <a:gd name="connsiteY8" fmla="*/ 233497 h 254372"/>
                  <a:gd name="connsiteX9" fmla="*/ 0 w 412871"/>
                  <a:gd name="connsiteY9" fmla="*/ 20876 h 254372"/>
                  <a:gd name="connsiteX10" fmla="*/ 20876 w 412871"/>
                  <a:gd name="connsiteY10" fmla="*/ 0 h 254372"/>
                  <a:gd name="connsiteX11" fmla="*/ 41751 w 412871"/>
                  <a:gd name="connsiteY11" fmla="*/ 20876 h 254372"/>
                  <a:gd name="connsiteX12" fmla="*/ 41751 w 412871"/>
                  <a:gd name="connsiteY12" fmla="*/ 213394 h 254372"/>
                  <a:gd name="connsiteX13" fmla="*/ 132212 w 412871"/>
                  <a:gd name="connsiteY13" fmla="*/ 213394 h 254372"/>
                  <a:gd name="connsiteX14" fmla="*/ 132212 w 412871"/>
                  <a:gd name="connsiteY14" fmla="*/ 84275 h 254372"/>
                  <a:gd name="connsiteX15" fmla="*/ 153087 w 412871"/>
                  <a:gd name="connsiteY15" fmla="*/ 63400 h 254372"/>
                  <a:gd name="connsiteX16" fmla="*/ 259784 w 412871"/>
                  <a:gd name="connsiteY16" fmla="*/ 63400 h 254372"/>
                  <a:gd name="connsiteX17" fmla="*/ 280660 w 412871"/>
                  <a:gd name="connsiteY17" fmla="*/ 84275 h 254372"/>
                  <a:gd name="connsiteX18" fmla="*/ 280660 w 412871"/>
                  <a:gd name="connsiteY18" fmla="*/ 213394 h 254372"/>
                  <a:gd name="connsiteX19" fmla="*/ 371121 w 412871"/>
                  <a:gd name="connsiteY19" fmla="*/ 213394 h 254372"/>
                  <a:gd name="connsiteX20" fmla="*/ 371121 w 412871"/>
                  <a:gd name="connsiteY20" fmla="*/ 20876 h 254372"/>
                  <a:gd name="connsiteX21" fmla="*/ 391996 w 412871"/>
                  <a:gd name="connsiteY21" fmla="*/ 0 h 254372"/>
                  <a:gd name="connsiteX22" fmla="*/ 412872 w 412871"/>
                  <a:gd name="connsiteY22" fmla="*/ 20876 h 254372"/>
                  <a:gd name="connsiteX23" fmla="*/ 412872 w 412871"/>
                  <a:gd name="connsiteY23" fmla="*/ 234270 h 254372"/>
                  <a:gd name="connsiteX24" fmla="*/ 391223 w 412871"/>
                  <a:gd name="connsiteY24" fmla="*/ 254372 h 254372"/>
                  <a:gd name="connsiteX25" fmla="*/ 391223 w 412871"/>
                  <a:gd name="connsiteY25" fmla="*/ 254372 h 254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412871" h="254372">
                    <a:moveTo>
                      <a:pt x="391223" y="254372"/>
                    </a:moveTo>
                    <a:lnTo>
                      <a:pt x="259784" y="254372"/>
                    </a:lnTo>
                    <a:cubicBezTo>
                      <a:pt x="248187" y="254372"/>
                      <a:pt x="238909" y="245094"/>
                      <a:pt x="238909" y="233497"/>
                    </a:cubicBezTo>
                    <a:lnTo>
                      <a:pt x="238909" y="104378"/>
                    </a:lnTo>
                    <a:lnTo>
                      <a:pt x="173190" y="104378"/>
                    </a:lnTo>
                    <a:lnTo>
                      <a:pt x="173190" y="233497"/>
                    </a:lnTo>
                    <a:cubicBezTo>
                      <a:pt x="173190" y="245094"/>
                      <a:pt x="163912" y="254372"/>
                      <a:pt x="152314" y="254372"/>
                    </a:cubicBezTo>
                    <a:lnTo>
                      <a:pt x="20876" y="254372"/>
                    </a:lnTo>
                    <a:cubicBezTo>
                      <a:pt x="9278" y="254372"/>
                      <a:pt x="0" y="245094"/>
                      <a:pt x="0" y="233497"/>
                    </a:cubicBezTo>
                    <a:lnTo>
                      <a:pt x="0" y="20876"/>
                    </a:lnTo>
                    <a:cubicBezTo>
                      <a:pt x="0" y="9278"/>
                      <a:pt x="9278" y="0"/>
                      <a:pt x="20876" y="0"/>
                    </a:cubicBezTo>
                    <a:cubicBezTo>
                      <a:pt x="32473" y="0"/>
                      <a:pt x="41751" y="9278"/>
                      <a:pt x="41751" y="20876"/>
                    </a:cubicBezTo>
                    <a:lnTo>
                      <a:pt x="41751" y="213394"/>
                    </a:lnTo>
                    <a:lnTo>
                      <a:pt x="132212" y="213394"/>
                    </a:lnTo>
                    <a:lnTo>
                      <a:pt x="132212" y="84275"/>
                    </a:lnTo>
                    <a:cubicBezTo>
                      <a:pt x="132212" y="72678"/>
                      <a:pt x="141490" y="63400"/>
                      <a:pt x="153087" y="63400"/>
                    </a:cubicBezTo>
                    <a:lnTo>
                      <a:pt x="259784" y="63400"/>
                    </a:lnTo>
                    <a:cubicBezTo>
                      <a:pt x="271382" y="63400"/>
                      <a:pt x="280660" y="72678"/>
                      <a:pt x="280660" y="84275"/>
                    </a:cubicBezTo>
                    <a:lnTo>
                      <a:pt x="280660" y="213394"/>
                    </a:lnTo>
                    <a:lnTo>
                      <a:pt x="371121" y="213394"/>
                    </a:lnTo>
                    <a:lnTo>
                      <a:pt x="371121" y="20876"/>
                    </a:lnTo>
                    <a:cubicBezTo>
                      <a:pt x="371121" y="9278"/>
                      <a:pt x="380399" y="0"/>
                      <a:pt x="391996" y="0"/>
                    </a:cubicBezTo>
                    <a:cubicBezTo>
                      <a:pt x="403594" y="0"/>
                      <a:pt x="412872" y="9278"/>
                      <a:pt x="412872" y="20876"/>
                    </a:cubicBezTo>
                    <a:lnTo>
                      <a:pt x="412872" y="234270"/>
                    </a:lnTo>
                    <a:cubicBezTo>
                      <a:pt x="411325" y="245094"/>
                      <a:pt x="402047" y="254372"/>
                      <a:pt x="391223" y="254372"/>
                    </a:cubicBezTo>
                    <a:lnTo>
                      <a:pt x="391223" y="254372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86" name="Forma Livre: Forma 85">
                <a:extLst>
                  <a:ext uri="{FF2B5EF4-FFF2-40B4-BE49-F238E27FC236}">
                    <a16:creationId xmlns:a16="http://schemas.microsoft.com/office/drawing/2014/main" id="{4B9DBDFB-0B9B-4429-B243-862B37CD77BA}"/>
                  </a:ext>
                </a:extLst>
              </p:cNvPr>
              <p:cNvSpPr/>
              <p:nvPr/>
            </p:nvSpPr>
            <p:spPr>
              <a:xfrm>
                <a:off x="173352" y="46196"/>
                <a:ext cx="533846" cy="217633"/>
              </a:xfrm>
              <a:custGeom>
                <a:avLst/>
                <a:gdLst>
                  <a:gd name="connsiteX0" fmla="*/ 513564 w 533846"/>
                  <a:gd name="connsiteY0" fmla="*/ 217453 h 217633"/>
                  <a:gd name="connsiteX1" fmla="*/ 501966 w 533846"/>
                  <a:gd name="connsiteY1" fmla="*/ 213588 h 217633"/>
                  <a:gd name="connsiteX2" fmla="*/ 266923 w 533846"/>
                  <a:gd name="connsiteY2" fmla="*/ 45810 h 217633"/>
                  <a:gd name="connsiteX3" fmla="*/ 32653 w 533846"/>
                  <a:gd name="connsiteY3" fmla="*/ 213588 h 217633"/>
                  <a:gd name="connsiteX4" fmla="*/ 4046 w 533846"/>
                  <a:gd name="connsiteY4" fmla="*/ 208949 h 217633"/>
                  <a:gd name="connsiteX5" fmla="*/ 8685 w 533846"/>
                  <a:gd name="connsiteY5" fmla="*/ 180341 h 217633"/>
                  <a:gd name="connsiteX6" fmla="*/ 254552 w 533846"/>
                  <a:gd name="connsiteY6" fmla="*/ 4059 h 217633"/>
                  <a:gd name="connsiteX7" fmla="*/ 278521 w 533846"/>
                  <a:gd name="connsiteY7" fmla="*/ 4059 h 217633"/>
                  <a:gd name="connsiteX8" fmla="*/ 525161 w 533846"/>
                  <a:gd name="connsiteY8" fmla="*/ 180341 h 217633"/>
                  <a:gd name="connsiteX9" fmla="*/ 529800 w 533846"/>
                  <a:gd name="connsiteY9" fmla="*/ 208949 h 217633"/>
                  <a:gd name="connsiteX10" fmla="*/ 513564 w 533846"/>
                  <a:gd name="connsiteY10" fmla="*/ 217453 h 217633"/>
                  <a:gd name="connsiteX11" fmla="*/ 513564 w 533846"/>
                  <a:gd name="connsiteY11" fmla="*/ 217453 h 217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33846" h="217633">
                    <a:moveTo>
                      <a:pt x="513564" y="217453"/>
                    </a:moveTo>
                    <a:cubicBezTo>
                      <a:pt x="509698" y="217453"/>
                      <a:pt x="505059" y="215907"/>
                      <a:pt x="501966" y="213588"/>
                    </a:cubicBezTo>
                    <a:lnTo>
                      <a:pt x="266923" y="45810"/>
                    </a:lnTo>
                    <a:lnTo>
                      <a:pt x="32653" y="213588"/>
                    </a:lnTo>
                    <a:cubicBezTo>
                      <a:pt x="23375" y="220546"/>
                      <a:pt x="10231" y="218227"/>
                      <a:pt x="4046" y="208949"/>
                    </a:cubicBezTo>
                    <a:cubicBezTo>
                      <a:pt x="-2913" y="199671"/>
                      <a:pt x="-593" y="187300"/>
                      <a:pt x="8685" y="180341"/>
                    </a:cubicBezTo>
                    <a:lnTo>
                      <a:pt x="254552" y="4059"/>
                    </a:lnTo>
                    <a:cubicBezTo>
                      <a:pt x="261511" y="-1353"/>
                      <a:pt x="271562" y="-1353"/>
                      <a:pt x="278521" y="4059"/>
                    </a:cubicBezTo>
                    <a:lnTo>
                      <a:pt x="525161" y="180341"/>
                    </a:lnTo>
                    <a:cubicBezTo>
                      <a:pt x="534439" y="187300"/>
                      <a:pt x="536759" y="199671"/>
                      <a:pt x="529800" y="208949"/>
                    </a:cubicBezTo>
                    <a:cubicBezTo>
                      <a:pt x="525934" y="214361"/>
                      <a:pt x="519749" y="217453"/>
                      <a:pt x="513564" y="217453"/>
                    </a:cubicBezTo>
                    <a:lnTo>
                      <a:pt x="513564" y="217453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87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5406830" y="2618779"/>
              <a:ext cx="379809" cy="379809"/>
              <a:chOff x="5226185" y="2546815"/>
              <a:chExt cx="479364" cy="479364"/>
            </a:xfrm>
            <a:solidFill>
              <a:srgbClr val="B1B1A1"/>
            </a:solidFill>
          </p:grpSpPr>
          <p:sp>
            <p:nvSpPr>
              <p:cNvPr id="88" name="Forma Livre: Forma 87">
                <a:extLst>
                  <a:ext uri="{FF2B5EF4-FFF2-40B4-BE49-F238E27FC236}">
                    <a16:creationId xmlns:a16="http://schemas.microsoft.com/office/drawing/2014/main" id="{4E8D800E-3F96-41DA-ADA7-C57E134D74EE}"/>
                  </a:ext>
                </a:extLst>
              </p:cNvPr>
              <p:cNvSpPr/>
              <p:nvPr/>
            </p:nvSpPr>
            <p:spPr>
              <a:xfrm>
                <a:off x="5226185" y="2548361"/>
                <a:ext cx="478591" cy="477817"/>
              </a:xfrm>
              <a:custGeom>
                <a:avLst/>
                <a:gdLst>
                  <a:gd name="connsiteX0" fmla="*/ 239682 w 478591"/>
                  <a:gd name="connsiteY0" fmla="*/ 477818 h 477817"/>
                  <a:gd name="connsiteX1" fmla="*/ 0 w 478591"/>
                  <a:gd name="connsiteY1" fmla="*/ 238909 h 477817"/>
                  <a:gd name="connsiteX2" fmla="*/ 239682 w 478591"/>
                  <a:gd name="connsiteY2" fmla="*/ 0 h 477817"/>
                  <a:gd name="connsiteX3" fmla="*/ 478591 w 478591"/>
                  <a:gd name="connsiteY3" fmla="*/ 238909 h 477817"/>
                  <a:gd name="connsiteX4" fmla="*/ 239682 w 478591"/>
                  <a:gd name="connsiteY4" fmla="*/ 477818 h 477817"/>
                  <a:gd name="connsiteX5" fmla="*/ 239682 w 478591"/>
                  <a:gd name="connsiteY5" fmla="*/ 477818 h 477817"/>
                  <a:gd name="connsiteX6" fmla="*/ 239682 w 478591"/>
                  <a:gd name="connsiteY6" fmla="*/ 40205 h 477817"/>
                  <a:gd name="connsiteX7" fmla="*/ 41751 w 478591"/>
                  <a:gd name="connsiteY7" fmla="*/ 238136 h 477817"/>
                  <a:gd name="connsiteX8" fmla="*/ 239682 w 478591"/>
                  <a:gd name="connsiteY8" fmla="*/ 436067 h 477817"/>
                  <a:gd name="connsiteX9" fmla="*/ 437613 w 478591"/>
                  <a:gd name="connsiteY9" fmla="*/ 238136 h 477817"/>
                  <a:gd name="connsiteX10" fmla="*/ 239682 w 478591"/>
                  <a:gd name="connsiteY10" fmla="*/ 40205 h 477817"/>
                  <a:gd name="connsiteX11" fmla="*/ 239682 w 478591"/>
                  <a:gd name="connsiteY11" fmla="*/ 40205 h 477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78591" h="477817">
                    <a:moveTo>
                      <a:pt x="239682" y="477818"/>
                    </a:moveTo>
                    <a:cubicBezTo>
                      <a:pt x="107471" y="477818"/>
                      <a:pt x="0" y="370347"/>
                      <a:pt x="0" y="238909"/>
                    </a:cubicBezTo>
                    <a:cubicBezTo>
                      <a:pt x="0" y="106697"/>
                      <a:pt x="107471" y="0"/>
                      <a:pt x="239682" y="0"/>
                    </a:cubicBezTo>
                    <a:cubicBezTo>
                      <a:pt x="371894" y="0"/>
                      <a:pt x="478591" y="107470"/>
                      <a:pt x="478591" y="238909"/>
                    </a:cubicBezTo>
                    <a:cubicBezTo>
                      <a:pt x="478591" y="370347"/>
                      <a:pt x="371121" y="477818"/>
                      <a:pt x="239682" y="477818"/>
                    </a:cubicBezTo>
                    <a:lnTo>
                      <a:pt x="239682" y="477818"/>
                    </a:lnTo>
                    <a:close/>
                    <a:moveTo>
                      <a:pt x="239682" y="40205"/>
                    </a:moveTo>
                    <a:cubicBezTo>
                      <a:pt x="130666" y="40205"/>
                      <a:pt x="41751" y="129119"/>
                      <a:pt x="41751" y="238136"/>
                    </a:cubicBezTo>
                    <a:cubicBezTo>
                      <a:pt x="41751" y="347152"/>
                      <a:pt x="130666" y="436067"/>
                      <a:pt x="239682" y="436067"/>
                    </a:cubicBezTo>
                    <a:cubicBezTo>
                      <a:pt x="348699" y="436067"/>
                      <a:pt x="437613" y="347152"/>
                      <a:pt x="437613" y="238136"/>
                    </a:cubicBezTo>
                    <a:cubicBezTo>
                      <a:pt x="437613" y="129119"/>
                      <a:pt x="348699" y="40205"/>
                      <a:pt x="239682" y="40205"/>
                    </a:cubicBezTo>
                    <a:lnTo>
                      <a:pt x="239682" y="40205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89" name="Forma Livre: Forma 88">
                <a:extLst>
                  <a:ext uri="{FF2B5EF4-FFF2-40B4-BE49-F238E27FC236}">
                    <a16:creationId xmlns:a16="http://schemas.microsoft.com/office/drawing/2014/main" id="{A06DD19C-DF4C-4F07-9132-38B61554E745}"/>
                  </a:ext>
                </a:extLst>
              </p:cNvPr>
              <p:cNvSpPr/>
              <p:nvPr/>
            </p:nvSpPr>
            <p:spPr>
              <a:xfrm>
                <a:off x="5444991" y="2617946"/>
                <a:ext cx="41751" cy="189426"/>
              </a:xfrm>
              <a:custGeom>
                <a:avLst/>
                <a:gdLst>
                  <a:gd name="connsiteX0" fmla="*/ 20876 w 41751"/>
                  <a:gd name="connsiteY0" fmla="*/ 189426 h 189426"/>
                  <a:gd name="connsiteX1" fmla="*/ 0 w 41751"/>
                  <a:gd name="connsiteY1" fmla="*/ 168551 h 189426"/>
                  <a:gd name="connsiteX2" fmla="*/ 0 w 41751"/>
                  <a:gd name="connsiteY2" fmla="*/ 20875 h 189426"/>
                  <a:gd name="connsiteX3" fmla="*/ 20876 w 41751"/>
                  <a:gd name="connsiteY3" fmla="*/ 0 h 189426"/>
                  <a:gd name="connsiteX4" fmla="*/ 41751 w 41751"/>
                  <a:gd name="connsiteY4" fmla="*/ 20875 h 189426"/>
                  <a:gd name="connsiteX5" fmla="*/ 41751 w 41751"/>
                  <a:gd name="connsiteY5" fmla="*/ 168551 h 189426"/>
                  <a:gd name="connsiteX6" fmla="*/ 20876 w 41751"/>
                  <a:gd name="connsiteY6" fmla="*/ 189426 h 189426"/>
                  <a:gd name="connsiteX7" fmla="*/ 20876 w 41751"/>
                  <a:gd name="connsiteY7" fmla="*/ 189426 h 189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51" h="189426">
                    <a:moveTo>
                      <a:pt x="20876" y="189426"/>
                    </a:moveTo>
                    <a:cubicBezTo>
                      <a:pt x="9278" y="189426"/>
                      <a:pt x="0" y="180148"/>
                      <a:pt x="0" y="168551"/>
                    </a:cubicBezTo>
                    <a:lnTo>
                      <a:pt x="0" y="20875"/>
                    </a:lnTo>
                    <a:cubicBezTo>
                      <a:pt x="0" y="9278"/>
                      <a:pt x="9278" y="0"/>
                      <a:pt x="20876" y="0"/>
                    </a:cubicBezTo>
                    <a:cubicBezTo>
                      <a:pt x="32473" y="0"/>
                      <a:pt x="41751" y="9278"/>
                      <a:pt x="41751" y="20875"/>
                    </a:cubicBezTo>
                    <a:lnTo>
                      <a:pt x="41751" y="168551"/>
                    </a:lnTo>
                    <a:cubicBezTo>
                      <a:pt x="40978" y="180148"/>
                      <a:pt x="31700" y="189426"/>
                      <a:pt x="20876" y="189426"/>
                    </a:cubicBezTo>
                    <a:lnTo>
                      <a:pt x="20876" y="189426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90" name="Forma Livre: Forma 89">
                <a:extLst>
                  <a:ext uri="{FF2B5EF4-FFF2-40B4-BE49-F238E27FC236}">
                    <a16:creationId xmlns:a16="http://schemas.microsoft.com/office/drawing/2014/main" id="{741BE91D-0360-46EB-927E-5D23D1D733B9}"/>
                  </a:ext>
                </a:extLst>
              </p:cNvPr>
              <p:cNvSpPr/>
              <p:nvPr/>
            </p:nvSpPr>
            <p:spPr>
              <a:xfrm>
                <a:off x="5444991" y="2546815"/>
                <a:ext cx="41751" cy="54894"/>
              </a:xfrm>
              <a:custGeom>
                <a:avLst/>
                <a:gdLst>
                  <a:gd name="connsiteX0" fmla="*/ 20876 w 41751"/>
                  <a:gd name="connsiteY0" fmla="*/ 54895 h 54894"/>
                  <a:gd name="connsiteX1" fmla="*/ 0 w 41751"/>
                  <a:gd name="connsiteY1" fmla="*/ 34019 h 54894"/>
                  <a:gd name="connsiteX2" fmla="*/ 0 w 41751"/>
                  <a:gd name="connsiteY2" fmla="*/ 20876 h 54894"/>
                  <a:gd name="connsiteX3" fmla="*/ 20876 w 41751"/>
                  <a:gd name="connsiteY3" fmla="*/ 0 h 54894"/>
                  <a:gd name="connsiteX4" fmla="*/ 41751 w 41751"/>
                  <a:gd name="connsiteY4" fmla="*/ 20876 h 54894"/>
                  <a:gd name="connsiteX5" fmla="*/ 41751 w 41751"/>
                  <a:gd name="connsiteY5" fmla="*/ 34019 h 54894"/>
                  <a:gd name="connsiteX6" fmla="*/ 20876 w 41751"/>
                  <a:gd name="connsiteY6" fmla="*/ 54895 h 54894"/>
                  <a:gd name="connsiteX7" fmla="*/ 20876 w 41751"/>
                  <a:gd name="connsiteY7" fmla="*/ 54895 h 548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51" h="54894">
                    <a:moveTo>
                      <a:pt x="20876" y="54895"/>
                    </a:moveTo>
                    <a:cubicBezTo>
                      <a:pt x="9278" y="54895"/>
                      <a:pt x="0" y="45617"/>
                      <a:pt x="0" y="34019"/>
                    </a:cubicBezTo>
                    <a:lnTo>
                      <a:pt x="0" y="20876"/>
                    </a:lnTo>
                    <a:cubicBezTo>
                      <a:pt x="0" y="9278"/>
                      <a:pt x="9278" y="0"/>
                      <a:pt x="20876" y="0"/>
                    </a:cubicBezTo>
                    <a:cubicBezTo>
                      <a:pt x="32473" y="0"/>
                      <a:pt x="41751" y="9278"/>
                      <a:pt x="41751" y="20876"/>
                    </a:cubicBezTo>
                    <a:lnTo>
                      <a:pt x="41751" y="34019"/>
                    </a:lnTo>
                    <a:cubicBezTo>
                      <a:pt x="40978" y="45617"/>
                      <a:pt x="31700" y="54895"/>
                      <a:pt x="20876" y="54895"/>
                    </a:cubicBezTo>
                    <a:lnTo>
                      <a:pt x="20876" y="54895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91" name="Forma Livre: Forma 90">
                <a:extLst>
                  <a:ext uri="{FF2B5EF4-FFF2-40B4-BE49-F238E27FC236}">
                    <a16:creationId xmlns:a16="http://schemas.microsoft.com/office/drawing/2014/main" id="{25BD2B5F-8101-4640-83DC-4FBE48BF09F5}"/>
                  </a:ext>
                </a:extLst>
              </p:cNvPr>
              <p:cNvSpPr/>
              <p:nvPr/>
            </p:nvSpPr>
            <p:spPr>
              <a:xfrm>
                <a:off x="5444991" y="2971284"/>
                <a:ext cx="41751" cy="54894"/>
              </a:xfrm>
              <a:custGeom>
                <a:avLst/>
                <a:gdLst>
                  <a:gd name="connsiteX0" fmla="*/ 20876 w 41751"/>
                  <a:gd name="connsiteY0" fmla="*/ 54895 h 54894"/>
                  <a:gd name="connsiteX1" fmla="*/ 0 w 41751"/>
                  <a:gd name="connsiteY1" fmla="*/ 34020 h 54894"/>
                  <a:gd name="connsiteX2" fmla="*/ 0 w 41751"/>
                  <a:gd name="connsiteY2" fmla="*/ 20876 h 54894"/>
                  <a:gd name="connsiteX3" fmla="*/ 20876 w 41751"/>
                  <a:gd name="connsiteY3" fmla="*/ 0 h 54894"/>
                  <a:gd name="connsiteX4" fmla="*/ 41751 w 41751"/>
                  <a:gd name="connsiteY4" fmla="*/ 20876 h 54894"/>
                  <a:gd name="connsiteX5" fmla="*/ 41751 w 41751"/>
                  <a:gd name="connsiteY5" fmla="*/ 34020 h 54894"/>
                  <a:gd name="connsiteX6" fmla="*/ 20876 w 41751"/>
                  <a:gd name="connsiteY6" fmla="*/ 54895 h 54894"/>
                  <a:gd name="connsiteX7" fmla="*/ 20876 w 41751"/>
                  <a:gd name="connsiteY7" fmla="*/ 54895 h 548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51" h="54894">
                    <a:moveTo>
                      <a:pt x="20876" y="54895"/>
                    </a:moveTo>
                    <a:cubicBezTo>
                      <a:pt x="9278" y="54895"/>
                      <a:pt x="0" y="45617"/>
                      <a:pt x="0" y="34020"/>
                    </a:cubicBezTo>
                    <a:lnTo>
                      <a:pt x="0" y="20876"/>
                    </a:lnTo>
                    <a:cubicBezTo>
                      <a:pt x="0" y="9278"/>
                      <a:pt x="9278" y="0"/>
                      <a:pt x="20876" y="0"/>
                    </a:cubicBezTo>
                    <a:cubicBezTo>
                      <a:pt x="32473" y="0"/>
                      <a:pt x="41751" y="9278"/>
                      <a:pt x="41751" y="20876"/>
                    </a:cubicBezTo>
                    <a:lnTo>
                      <a:pt x="41751" y="34020"/>
                    </a:lnTo>
                    <a:cubicBezTo>
                      <a:pt x="40978" y="45617"/>
                      <a:pt x="31700" y="54895"/>
                      <a:pt x="20876" y="54895"/>
                    </a:cubicBezTo>
                    <a:lnTo>
                      <a:pt x="20876" y="54895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92" name="Forma Livre: Forma 91">
                <a:extLst>
                  <a:ext uri="{FF2B5EF4-FFF2-40B4-BE49-F238E27FC236}">
                    <a16:creationId xmlns:a16="http://schemas.microsoft.com/office/drawing/2014/main" id="{1EC926F0-4AAE-4234-A48A-EE841C7210F9}"/>
                  </a:ext>
                </a:extLst>
              </p:cNvPr>
              <p:cNvSpPr/>
              <p:nvPr/>
            </p:nvSpPr>
            <p:spPr>
              <a:xfrm>
                <a:off x="5650654" y="2765621"/>
                <a:ext cx="54894" cy="41751"/>
              </a:xfrm>
              <a:custGeom>
                <a:avLst/>
                <a:gdLst>
                  <a:gd name="connsiteX0" fmla="*/ 34019 w 54894"/>
                  <a:gd name="connsiteY0" fmla="*/ 41751 h 41751"/>
                  <a:gd name="connsiteX1" fmla="*/ 20875 w 54894"/>
                  <a:gd name="connsiteY1" fmla="*/ 41751 h 41751"/>
                  <a:gd name="connsiteX2" fmla="*/ 0 w 54894"/>
                  <a:gd name="connsiteY2" fmla="*/ 20875 h 41751"/>
                  <a:gd name="connsiteX3" fmla="*/ 20875 w 54894"/>
                  <a:gd name="connsiteY3" fmla="*/ 0 h 41751"/>
                  <a:gd name="connsiteX4" fmla="*/ 34019 w 54894"/>
                  <a:gd name="connsiteY4" fmla="*/ 0 h 41751"/>
                  <a:gd name="connsiteX5" fmla="*/ 54895 w 54894"/>
                  <a:gd name="connsiteY5" fmla="*/ 20875 h 41751"/>
                  <a:gd name="connsiteX6" fmla="*/ 34019 w 54894"/>
                  <a:gd name="connsiteY6" fmla="*/ 41751 h 41751"/>
                  <a:gd name="connsiteX7" fmla="*/ 34019 w 54894"/>
                  <a:gd name="connsiteY7" fmla="*/ 41751 h 41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4894" h="41751">
                    <a:moveTo>
                      <a:pt x="34019" y="41751"/>
                    </a:moveTo>
                    <a:lnTo>
                      <a:pt x="20875" y="41751"/>
                    </a:lnTo>
                    <a:cubicBezTo>
                      <a:pt x="9278" y="41751"/>
                      <a:pt x="0" y="32473"/>
                      <a:pt x="0" y="20875"/>
                    </a:cubicBezTo>
                    <a:cubicBezTo>
                      <a:pt x="0" y="9278"/>
                      <a:pt x="9278" y="0"/>
                      <a:pt x="20875" y="0"/>
                    </a:cubicBezTo>
                    <a:lnTo>
                      <a:pt x="34019" y="0"/>
                    </a:lnTo>
                    <a:cubicBezTo>
                      <a:pt x="45617" y="0"/>
                      <a:pt x="54895" y="9278"/>
                      <a:pt x="54895" y="20875"/>
                    </a:cubicBezTo>
                    <a:cubicBezTo>
                      <a:pt x="54122" y="32473"/>
                      <a:pt x="44844" y="41751"/>
                      <a:pt x="34019" y="41751"/>
                    </a:cubicBezTo>
                    <a:lnTo>
                      <a:pt x="34019" y="41751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93" name="Forma Livre: Forma 92">
                <a:extLst>
                  <a:ext uri="{FF2B5EF4-FFF2-40B4-BE49-F238E27FC236}">
                    <a16:creationId xmlns:a16="http://schemas.microsoft.com/office/drawing/2014/main" id="{5C36C780-D033-4D17-8081-EFC49CB5FA7E}"/>
                  </a:ext>
                </a:extLst>
              </p:cNvPr>
              <p:cNvSpPr/>
              <p:nvPr/>
            </p:nvSpPr>
            <p:spPr>
              <a:xfrm>
                <a:off x="5226185" y="2765621"/>
                <a:ext cx="54894" cy="41751"/>
              </a:xfrm>
              <a:custGeom>
                <a:avLst/>
                <a:gdLst>
                  <a:gd name="connsiteX0" fmla="*/ 34020 w 54894"/>
                  <a:gd name="connsiteY0" fmla="*/ 41751 h 41751"/>
                  <a:gd name="connsiteX1" fmla="*/ 20876 w 54894"/>
                  <a:gd name="connsiteY1" fmla="*/ 41751 h 41751"/>
                  <a:gd name="connsiteX2" fmla="*/ 0 w 54894"/>
                  <a:gd name="connsiteY2" fmla="*/ 20875 h 41751"/>
                  <a:gd name="connsiteX3" fmla="*/ 20876 w 54894"/>
                  <a:gd name="connsiteY3" fmla="*/ 0 h 41751"/>
                  <a:gd name="connsiteX4" fmla="*/ 34020 w 54894"/>
                  <a:gd name="connsiteY4" fmla="*/ 0 h 41751"/>
                  <a:gd name="connsiteX5" fmla="*/ 54895 w 54894"/>
                  <a:gd name="connsiteY5" fmla="*/ 20875 h 41751"/>
                  <a:gd name="connsiteX6" fmla="*/ 34020 w 54894"/>
                  <a:gd name="connsiteY6" fmla="*/ 41751 h 41751"/>
                  <a:gd name="connsiteX7" fmla="*/ 34020 w 54894"/>
                  <a:gd name="connsiteY7" fmla="*/ 41751 h 41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4894" h="41751">
                    <a:moveTo>
                      <a:pt x="34020" y="41751"/>
                    </a:moveTo>
                    <a:lnTo>
                      <a:pt x="20876" y="41751"/>
                    </a:lnTo>
                    <a:cubicBezTo>
                      <a:pt x="9278" y="41751"/>
                      <a:pt x="0" y="32473"/>
                      <a:pt x="0" y="20875"/>
                    </a:cubicBezTo>
                    <a:cubicBezTo>
                      <a:pt x="0" y="9278"/>
                      <a:pt x="9278" y="0"/>
                      <a:pt x="20876" y="0"/>
                    </a:cubicBezTo>
                    <a:lnTo>
                      <a:pt x="34020" y="0"/>
                    </a:lnTo>
                    <a:cubicBezTo>
                      <a:pt x="45617" y="0"/>
                      <a:pt x="54895" y="9278"/>
                      <a:pt x="54895" y="20875"/>
                    </a:cubicBezTo>
                    <a:cubicBezTo>
                      <a:pt x="54122" y="32473"/>
                      <a:pt x="45617" y="41751"/>
                      <a:pt x="34020" y="41751"/>
                    </a:cubicBezTo>
                    <a:lnTo>
                      <a:pt x="34020" y="41751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grpSp>
            <p:nvGrpSpPr>
              <p:cNvPr id="94" name="Gráfico 2">
                <a:extLst>
                  <a:ext uri="{FF2B5EF4-FFF2-40B4-BE49-F238E27FC236}">
                    <a16:creationId xmlns:a16="http://schemas.microsoft.com/office/drawing/2014/main" id="{6FEF66BF-8D1E-4FFA-95A2-6EE56886837B}"/>
                  </a:ext>
                </a:extLst>
              </p:cNvPr>
              <p:cNvGrpSpPr/>
              <p:nvPr/>
            </p:nvGrpSpPr>
            <p:grpSpPr>
              <a:xfrm>
                <a:off x="5282764" y="2604167"/>
                <a:ext cx="365600" cy="364797"/>
                <a:chOff x="5282764" y="2604167"/>
                <a:chExt cx="365600" cy="364797"/>
              </a:xfrm>
              <a:grpFill/>
            </p:grpSpPr>
            <p:grpSp>
              <p:nvGrpSpPr>
                <p:cNvPr id="95" name="Gráfico 2">
                  <a:extLst>
                    <a:ext uri="{FF2B5EF4-FFF2-40B4-BE49-F238E27FC236}">
                      <a16:creationId xmlns:a16="http://schemas.microsoft.com/office/drawing/2014/main" id="{6FEF66BF-8D1E-4FFA-95A2-6EE56886837B}"/>
                    </a:ext>
                  </a:extLst>
                </p:cNvPr>
                <p:cNvGrpSpPr/>
                <p:nvPr/>
              </p:nvGrpSpPr>
              <p:grpSpPr>
                <a:xfrm>
                  <a:off x="5282764" y="2604167"/>
                  <a:ext cx="364659" cy="364797"/>
                  <a:chOff x="5282764" y="2604167"/>
                  <a:chExt cx="364659" cy="364797"/>
                </a:xfrm>
                <a:grpFill/>
              </p:grpSpPr>
              <p:sp>
                <p:nvSpPr>
                  <p:cNvPr id="96" name="Forma Livre: Forma 95">
                    <a:extLst>
                      <a:ext uri="{FF2B5EF4-FFF2-40B4-BE49-F238E27FC236}">
                        <a16:creationId xmlns:a16="http://schemas.microsoft.com/office/drawing/2014/main" id="{70A3CA74-C7BB-4CAC-897C-8D7CF2EAE5F0}"/>
                      </a:ext>
                    </a:extLst>
                  </p:cNvPr>
                  <p:cNvSpPr/>
                  <p:nvPr/>
                </p:nvSpPr>
                <p:spPr>
                  <a:xfrm>
                    <a:off x="5547961" y="2604167"/>
                    <a:ext cx="26784" cy="31561"/>
                  </a:xfrm>
                  <a:custGeom>
                    <a:avLst/>
                    <a:gdLst>
                      <a:gd name="connsiteX0" fmla="*/ 10686 w 26784"/>
                      <a:gd name="connsiteY0" fmla="*/ 31562 h 31561"/>
                      <a:gd name="connsiteX1" fmla="*/ 5274 w 26784"/>
                      <a:gd name="connsiteY1" fmla="*/ 30015 h 31561"/>
                      <a:gd name="connsiteX2" fmla="*/ 1408 w 26784"/>
                      <a:gd name="connsiteY2" fmla="*/ 16098 h 31561"/>
                      <a:gd name="connsiteX3" fmla="*/ 7593 w 26784"/>
                      <a:gd name="connsiteY3" fmla="*/ 5274 h 31561"/>
                      <a:gd name="connsiteX4" fmla="*/ 21511 w 26784"/>
                      <a:gd name="connsiteY4" fmla="*/ 1408 h 31561"/>
                      <a:gd name="connsiteX5" fmla="*/ 25377 w 26784"/>
                      <a:gd name="connsiteY5" fmla="*/ 15325 h 31561"/>
                      <a:gd name="connsiteX6" fmla="*/ 19191 w 26784"/>
                      <a:gd name="connsiteY6" fmla="*/ 26150 h 31561"/>
                      <a:gd name="connsiteX7" fmla="*/ 10686 w 26784"/>
                      <a:gd name="connsiteY7" fmla="*/ 31562 h 31561"/>
                      <a:gd name="connsiteX8" fmla="*/ 10686 w 26784"/>
                      <a:gd name="connsiteY8" fmla="*/ 31562 h 315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6784" h="31561">
                        <a:moveTo>
                          <a:pt x="10686" y="31562"/>
                        </a:moveTo>
                        <a:cubicBezTo>
                          <a:pt x="9140" y="31562"/>
                          <a:pt x="6820" y="30788"/>
                          <a:pt x="5274" y="30015"/>
                        </a:cubicBezTo>
                        <a:cubicBezTo>
                          <a:pt x="635" y="26923"/>
                          <a:pt x="-1684" y="20737"/>
                          <a:pt x="1408" y="16098"/>
                        </a:cubicBezTo>
                        <a:lnTo>
                          <a:pt x="7593" y="5274"/>
                        </a:lnTo>
                        <a:cubicBezTo>
                          <a:pt x="10686" y="635"/>
                          <a:pt x="16871" y="-1684"/>
                          <a:pt x="21511" y="1408"/>
                        </a:cubicBezTo>
                        <a:cubicBezTo>
                          <a:pt x="26149" y="4501"/>
                          <a:pt x="28469" y="10686"/>
                          <a:pt x="25377" y="15325"/>
                        </a:cubicBezTo>
                        <a:lnTo>
                          <a:pt x="19191" y="26150"/>
                        </a:lnTo>
                        <a:cubicBezTo>
                          <a:pt x="17645" y="29242"/>
                          <a:pt x="14552" y="31562"/>
                          <a:pt x="10686" y="31562"/>
                        </a:cubicBezTo>
                        <a:lnTo>
                          <a:pt x="10686" y="31562"/>
                        </a:lnTo>
                        <a:close/>
                      </a:path>
                    </a:pathLst>
                  </a:custGeom>
                  <a:grpFill/>
                  <a:ln w="77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BR"/>
                  </a:p>
                </p:txBody>
              </p:sp>
              <p:sp>
                <p:nvSpPr>
                  <p:cNvPr id="97" name="Forma Livre: Forma 96">
                    <a:extLst>
                      <a:ext uri="{FF2B5EF4-FFF2-40B4-BE49-F238E27FC236}">
                        <a16:creationId xmlns:a16="http://schemas.microsoft.com/office/drawing/2014/main" id="{049094AB-FEC4-4211-94F4-DB09EFEDE97A}"/>
                      </a:ext>
                    </a:extLst>
                  </p:cNvPr>
                  <p:cNvSpPr/>
                  <p:nvPr/>
                </p:nvSpPr>
                <p:spPr>
                  <a:xfrm>
                    <a:off x="5355442" y="2937403"/>
                    <a:ext cx="26784" cy="31561"/>
                  </a:xfrm>
                  <a:custGeom>
                    <a:avLst/>
                    <a:gdLst>
                      <a:gd name="connsiteX0" fmla="*/ 10686 w 26784"/>
                      <a:gd name="connsiteY0" fmla="*/ 31562 h 31561"/>
                      <a:gd name="connsiteX1" fmla="*/ 5274 w 26784"/>
                      <a:gd name="connsiteY1" fmla="*/ 30015 h 31561"/>
                      <a:gd name="connsiteX2" fmla="*/ 1408 w 26784"/>
                      <a:gd name="connsiteY2" fmla="*/ 16098 h 31561"/>
                      <a:gd name="connsiteX3" fmla="*/ 7594 w 26784"/>
                      <a:gd name="connsiteY3" fmla="*/ 5274 h 31561"/>
                      <a:gd name="connsiteX4" fmla="*/ 21511 w 26784"/>
                      <a:gd name="connsiteY4" fmla="*/ 1408 h 31561"/>
                      <a:gd name="connsiteX5" fmla="*/ 25376 w 26784"/>
                      <a:gd name="connsiteY5" fmla="*/ 15325 h 31561"/>
                      <a:gd name="connsiteX6" fmla="*/ 19191 w 26784"/>
                      <a:gd name="connsiteY6" fmla="*/ 26149 h 31561"/>
                      <a:gd name="connsiteX7" fmla="*/ 10686 w 26784"/>
                      <a:gd name="connsiteY7" fmla="*/ 31562 h 31561"/>
                      <a:gd name="connsiteX8" fmla="*/ 10686 w 26784"/>
                      <a:gd name="connsiteY8" fmla="*/ 31562 h 315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6784" h="31561">
                        <a:moveTo>
                          <a:pt x="10686" y="31562"/>
                        </a:moveTo>
                        <a:cubicBezTo>
                          <a:pt x="9140" y="31562"/>
                          <a:pt x="6820" y="30788"/>
                          <a:pt x="5274" y="30015"/>
                        </a:cubicBezTo>
                        <a:cubicBezTo>
                          <a:pt x="635" y="26923"/>
                          <a:pt x="-1685" y="20737"/>
                          <a:pt x="1408" y="16098"/>
                        </a:cubicBezTo>
                        <a:lnTo>
                          <a:pt x="7594" y="5274"/>
                        </a:lnTo>
                        <a:cubicBezTo>
                          <a:pt x="10686" y="635"/>
                          <a:pt x="16872" y="-1684"/>
                          <a:pt x="21511" y="1408"/>
                        </a:cubicBezTo>
                        <a:cubicBezTo>
                          <a:pt x="26149" y="4501"/>
                          <a:pt x="28469" y="10686"/>
                          <a:pt x="25376" y="15325"/>
                        </a:cubicBezTo>
                        <a:lnTo>
                          <a:pt x="19191" y="26149"/>
                        </a:lnTo>
                        <a:cubicBezTo>
                          <a:pt x="17645" y="30015"/>
                          <a:pt x="14552" y="31562"/>
                          <a:pt x="10686" y="31562"/>
                        </a:cubicBezTo>
                        <a:lnTo>
                          <a:pt x="10686" y="31562"/>
                        </a:lnTo>
                        <a:close/>
                      </a:path>
                    </a:pathLst>
                  </a:custGeom>
                  <a:grpFill/>
                  <a:ln w="77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BR"/>
                  </a:p>
                </p:txBody>
              </p:sp>
              <p:sp>
                <p:nvSpPr>
                  <p:cNvPr id="98" name="Forma Livre: Forma 97">
                    <a:extLst>
                      <a:ext uri="{FF2B5EF4-FFF2-40B4-BE49-F238E27FC236}">
                        <a16:creationId xmlns:a16="http://schemas.microsoft.com/office/drawing/2014/main" id="{CAAA6CA7-8F7C-4A51-AB0E-3E3AE365C69D}"/>
                      </a:ext>
                    </a:extLst>
                  </p:cNvPr>
                  <p:cNvSpPr/>
                  <p:nvPr/>
                </p:nvSpPr>
                <p:spPr>
                  <a:xfrm>
                    <a:off x="5616773" y="2869364"/>
                    <a:ext cx="30650" cy="26922"/>
                  </a:xfrm>
                  <a:custGeom>
                    <a:avLst/>
                    <a:gdLst>
                      <a:gd name="connsiteX0" fmla="*/ 20738 w 30650"/>
                      <a:gd name="connsiteY0" fmla="*/ 26923 h 26922"/>
                      <a:gd name="connsiteX1" fmla="*/ 15325 w 30650"/>
                      <a:gd name="connsiteY1" fmla="*/ 25376 h 26922"/>
                      <a:gd name="connsiteX2" fmla="*/ 5274 w 30650"/>
                      <a:gd name="connsiteY2" fmla="*/ 19191 h 26922"/>
                      <a:gd name="connsiteX3" fmla="*/ 1408 w 30650"/>
                      <a:gd name="connsiteY3" fmla="*/ 5274 h 26922"/>
                      <a:gd name="connsiteX4" fmla="*/ 15325 w 30650"/>
                      <a:gd name="connsiteY4" fmla="*/ 1408 h 26922"/>
                      <a:gd name="connsiteX5" fmla="*/ 25376 w 30650"/>
                      <a:gd name="connsiteY5" fmla="*/ 7594 h 26922"/>
                      <a:gd name="connsiteX6" fmla="*/ 29242 w 30650"/>
                      <a:gd name="connsiteY6" fmla="*/ 21511 h 26922"/>
                      <a:gd name="connsiteX7" fmla="*/ 20738 w 30650"/>
                      <a:gd name="connsiteY7" fmla="*/ 26923 h 26922"/>
                      <a:gd name="connsiteX8" fmla="*/ 20738 w 30650"/>
                      <a:gd name="connsiteY8" fmla="*/ 26923 h 269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30650" h="26922">
                        <a:moveTo>
                          <a:pt x="20738" y="26923"/>
                        </a:moveTo>
                        <a:cubicBezTo>
                          <a:pt x="19191" y="26923"/>
                          <a:pt x="16872" y="26150"/>
                          <a:pt x="15325" y="25376"/>
                        </a:cubicBezTo>
                        <a:lnTo>
                          <a:pt x="5274" y="19191"/>
                        </a:lnTo>
                        <a:cubicBezTo>
                          <a:pt x="635" y="16099"/>
                          <a:pt x="-1685" y="9913"/>
                          <a:pt x="1408" y="5274"/>
                        </a:cubicBezTo>
                        <a:cubicBezTo>
                          <a:pt x="4501" y="635"/>
                          <a:pt x="10686" y="-1684"/>
                          <a:pt x="15325" y="1408"/>
                        </a:cubicBezTo>
                        <a:lnTo>
                          <a:pt x="25376" y="7594"/>
                        </a:lnTo>
                        <a:cubicBezTo>
                          <a:pt x="30016" y="10686"/>
                          <a:pt x="32335" y="16871"/>
                          <a:pt x="29242" y="21511"/>
                        </a:cubicBezTo>
                        <a:cubicBezTo>
                          <a:pt x="27696" y="25376"/>
                          <a:pt x="24603" y="26923"/>
                          <a:pt x="20738" y="26923"/>
                        </a:cubicBezTo>
                        <a:lnTo>
                          <a:pt x="20738" y="26923"/>
                        </a:lnTo>
                        <a:close/>
                      </a:path>
                    </a:pathLst>
                  </a:custGeom>
                  <a:grpFill/>
                  <a:ln w="77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BR"/>
                  </a:p>
                </p:txBody>
              </p:sp>
              <p:sp>
                <p:nvSpPr>
                  <p:cNvPr id="99" name="Forma Livre: Forma 98">
                    <a:extLst>
                      <a:ext uri="{FF2B5EF4-FFF2-40B4-BE49-F238E27FC236}">
                        <a16:creationId xmlns:a16="http://schemas.microsoft.com/office/drawing/2014/main" id="{5E23E655-2E89-480E-A9F0-E42845575A63}"/>
                      </a:ext>
                    </a:extLst>
                  </p:cNvPr>
                  <p:cNvSpPr/>
                  <p:nvPr/>
                </p:nvSpPr>
                <p:spPr>
                  <a:xfrm>
                    <a:off x="5282764" y="2676845"/>
                    <a:ext cx="31423" cy="26922"/>
                  </a:xfrm>
                  <a:custGeom>
                    <a:avLst/>
                    <a:gdLst>
                      <a:gd name="connsiteX0" fmla="*/ 21510 w 31423"/>
                      <a:gd name="connsiteY0" fmla="*/ 26923 h 26922"/>
                      <a:gd name="connsiteX1" fmla="*/ 16099 w 31423"/>
                      <a:gd name="connsiteY1" fmla="*/ 25376 h 26922"/>
                      <a:gd name="connsiteX2" fmla="*/ 5274 w 31423"/>
                      <a:gd name="connsiteY2" fmla="*/ 19191 h 26922"/>
                      <a:gd name="connsiteX3" fmla="*/ 1408 w 31423"/>
                      <a:gd name="connsiteY3" fmla="*/ 5274 h 26922"/>
                      <a:gd name="connsiteX4" fmla="*/ 15325 w 31423"/>
                      <a:gd name="connsiteY4" fmla="*/ 1408 h 26922"/>
                      <a:gd name="connsiteX5" fmla="*/ 26150 w 31423"/>
                      <a:gd name="connsiteY5" fmla="*/ 7594 h 26922"/>
                      <a:gd name="connsiteX6" fmla="*/ 30016 w 31423"/>
                      <a:gd name="connsiteY6" fmla="*/ 21511 h 26922"/>
                      <a:gd name="connsiteX7" fmla="*/ 21510 w 31423"/>
                      <a:gd name="connsiteY7" fmla="*/ 26923 h 26922"/>
                      <a:gd name="connsiteX8" fmla="*/ 21510 w 31423"/>
                      <a:gd name="connsiteY8" fmla="*/ 26923 h 269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31423" h="26922">
                        <a:moveTo>
                          <a:pt x="21510" y="26923"/>
                        </a:moveTo>
                        <a:cubicBezTo>
                          <a:pt x="19964" y="26923"/>
                          <a:pt x="17645" y="26150"/>
                          <a:pt x="16099" y="25376"/>
                        </a:cubicBezTo>
                        <a:lnTo>
                          <a:pt x="5274" y="19191"/>
                        </a:lnTo>
                        <a:cubicBezTo>
                          <a:pt x="635" y="16098"/>
                          <a:pt x="-1685" y="9913"/>
                          <a:pt x="1408" y="5274"/>
                        </a:cubicBezTo>
                        <a:cubicBezTo>
                          <a:pt x="4501" y="635"/>
                          <a:pt x="10686" y="-1684"/>
                          <a:pt x="15325" y="1408"/>
                        </a:cubicBezTo>
                        <a:lnTo>
                          <a:pt x="26150" y="7594"/>
                        </a:lnTo>
                        <a:cubicBezTo>
                          <a:pt x="30789" y="10686"/>
                          <a:pt x="33108" y="16872"/>
                          <a:pt x="30016" y="21511"/>
                        </a:cubicBezTo>
                        <a:cubicBezTo>
                          <a:pt x="28469" y="25376"/>
                          <a:pt x="24603" y="26923"/>
                          <a:pt x="21510" y="26923"/>
                        </a:cubicBezTo>
                        <a:lnTo>
                          <a:pt x="21510" y="26923"/>
                        </a:lnTo>
                        <a:close/>
                      </a:path>
                    </a:pathLst>
                  </a:custGeom>
                  <a:grpFill/>
                  <a:ln w="77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BR"/>
                  </a:p>
                </p:txBody>
              </p:sp>
            </p:grpSp>
            <p:grpSp>
              <p:nvGrpSpPr>
                <p:cNvPr id="100" name="Gráfico 2">
                  <a:extLst>
                    <a:ext uri="{FF2B5EF4-FFF2-40B4-BE49-F238E27FC236}">
                      <a16:creationId xmlns:a16="http://schemas.microsoft.com/office/drawing/2014/main" id="{6FEF66BF-8D1E-4FFA-95A2-6EE56886837B}"/>
                    </a:ext>
                  </a:extLst>
                </p:cNvPr>
                <p:cNvGrpSpPr/>
                <p:nvPr/>
              </p:nvGrpSpPr>
              <p:grpSpPr>
                <a:xfrm>
                  <a:off x="5282764" y="2604167"/>
                  <a:ext cx="365600" cy="364797"/>
                  <a:chOff x="5282764" y="2604167"/>
                  <a:chExt cx="365600" cy="364797"/>
                </a:xfrm>
                <a:grpFill/>
              </p:grpSpPr>
              <p:sp>
                <p:nvSpPr>
                  <p:cNvPr id="101" name="Forma Livre: Forma 100">
                    <a:extLst>
                      <a:ext uri="{FF2B5EF4-FFF2-40B4-BE49-F238E27FC236}">
                        <a16:creationId xmlns:a16="http://schemas.microsoft.com/office/drawing/2014/main" id="{01D9EF09-527D-4F46-B579-0628E61B3F01}"/>
                      </a:ext>
                    </a:extLst>
                  </p:cNvPr>
                  <p:cNvSpPr/>
                  <p:nvPr/>
                </p:nvSpPr>
                <p:spPr>
                  <a:xfrm>
                    <a:off x="5355442" y="2604167"/>
                    <a:ext cx="26784" cy="31561"/>
                  </a:xfrm>
                  <a:custGeom>
                    <a:avLst/>
                    <a:gdLst>
                      <a:gd name="connsiteX0" fmla="*/ 16872 w 26784"/>
                      <a:gd name="connsiteY0" fmla="*/ 31562 h 31561"/>
                      <a:gd name="connsiteX1" fmla="*/ 7594 w 26784"/>
                      <a:gd name="connsiteY1" fmla="*/ 26150 h 31561"/>
                      <a:gd name="connsiteX2" fmla="*/ 1408 w 26784"/>
                      <a:gd name="connsiteY2" fmla="*/ 15325 h 31561"/>
                      <a:gd name="connsiteX3" fmla="*/ 5274 w 26784"/>
                      <a:gd name="connsiteY3" fmla="*/ 1408 h 31561"/>
                      <a:gd name="connsiteX4" fmla="*/ 19191 w 26784"/>
                      <a:gd name="connsiteY4" fmla="*/ 5274 h 31561"/>
                      <a:gd name="connsiteX5" fmla="*/ 25376 w 26784"/>
                      <a:gd name="connsiteY5" fmla="*/ 16098 h 31561"/>
                      <a:gd name="connsiteX6" fmla="*/ 21511 w 26784"/>
                      <a:gd name="connsiteY6" fmla="*/ 30015 h 31561"/>
                      <a:gd name="connsiteX7" fmla="*/ 16872 w 26784"/>
                      <a:gd name="connsiteY7" fmla="*/ 31562 h 31561"/>
                      <a:gd name="connsiteX8" fmla="*/ 16872 w 26784"/>
                      <a:gd name="connsiteY8" fmla="*/ 31562 h 315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6784" h="31561">
                        <a:moveTo>
                          <a:pt x="16872" y="31562"/>
                        </a:moveTo>
                        <a:cubicBezTo>
                          <a:pt x="13006" y="31562"/>
                          <a:pt x="9913" y="30015"/>
                          <a:pt x="7594" y="26150"/>
                        </a:cubicBezTo>
                        <a:lnTo>
                          <a:pt x="1408" y="15325"/>
                        </a:lnTo>
                        <a:cubicBezTo>
                          <a:pt x="-1685" y="10686"/>
                          <a:pt x="635" y="4501"/>
                          <a:pt x="5274" y="1408"/>
                        </a:cubicBezTo>
                        <a:cubicBezTo>
                          <a:pt x="9913" y="-1684"/>
                          <a:pt x="16098" y="635"/>
                          <a:pt x="19191" y="5274"/>
                        </a:cubicBezTo>
                        <a:lnTo>
                          <a:pt x="25376" y="16098"/>
                        </a:lnTo>
                        <a:cubicBezTo>
                          <a:pt x="28469" y="20737"/>
                          <a:pt x="26149" y="26923"/>
                          <a:pt x="21511" y="30015"/>
                        </a:cubicBezTo>
                        <a:cubicBezTo>
                          <a:pt x="20738" y="30788"/>
                          <a:pt x="18418" y="31562"/>
                          <a:pt x="16872" y="31562"/>
                        </a:cubicBezTo>
                        <a:lnTo>
                          <a:pt x="16872" y="31562"/>
                        </a:lnTo>
                        <a:close/>
                      </a:path>
                    </a:pathLst>
                  </a:custGeom>
                  <a:grpFill/>
                  <a:ln w="77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BR"/>
                  </a:p>
                </p:txBody>
              </p:sp>
              <p:sp>
                <p:nvSpPr>
                  <p:cNvPr id="102" name="Forma Livre: Forma 101">
                    <a:extLst>
                      <a:ext uri="{FF2B5EF4-FFF2-40B4-BE49-F238E27FC236}">
                        <a16:creationId xmlns:a16="http://schemas.microsoft.com/office/drawing/2014/main" id="{0C14E67E-9A6D-43BE-A063-859E2173CB2E}"/>
                      </a:ext>
                    </a:extLst>
                  </p:cNvPr>
                  <p:cNvSpPr/>
                  <p:nvPr/>
                </p:nvSpPr>
                <p:spPr>
                  <a:xfrm>
                    <a:off x="5548566" y="2937235"/>
                    <a:ext cx="27120" cy="31729"/>
                  </a:xfrm>
                  <a:custGeom>
                    <a:avLst/>
                    <a:gdLst>
                      <a:gd name="connsiteX0" fmla="*/ 16266 w 27120"/>
                      <a:gd name="connsiteY0" fmla="*/ 31730 h 31729"/>
                      <a:gd name="connsiteX1" fmla="*/ 7762 w 27120"/>
                      <a:gd name="connsiteY1" fmla="*/ 26317 h 31729"/>
                      <a:gd name="connsiteX2" fmla="*/ 1576 w 27120"/>
                      <a:gd name="connsiteY2" fmla="*/ 15493 h 31729"/>
                      <a:gd name="connsiteX3" fmla="*/ 5442 w 27120"/>
                      <a:gd name="connsiteY3" fmla="*/ 1576 h 31729"/>
                      <a:gd name="connsiteX4" fmla="*/ 19359 w 27120"/>
                      <a:gd name="connsiteY4" fmla="*/ 5442 h 31729"/>
                      <a:gd name="connsiteX5" fmla="*/ 25544 w 27120"/>
                      <a:gd name="connsiteY5" fmla="*/ 16266 h 31729"/>
                      <a:gd name="connsiteX6" fmla="*/ 21679 w 27120"/>
                      <a:gd name="connsiteY6" fmla="*/ 30183 h 31729"/>
                      <a:gd name="connsiteX7" fmla="*/ 16266 w 27120"/>
                      <a:gd name="connsiteY7" fmla="*/ 31730 h 31729"/>
                      <a:gd name="connsiteX8" fmla="*/ 16266 w 27120"/>
                      <a:gd name="connsiteY8" fmla="*/ 31730 h 317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7120" h="31729">
                        <a:moveTo>
                          <a:pt x="16266" y="31730"/>
                        </a:moveTo>
                        <a:cubicBezTo>
                          <a:pt x="12400" y="31730"/>
                          <a:pt x="9308" y="30183"/>
                          <a:pt x="7762" y="26317"/>
                        </a:cubicBezTo>
                        <a:lnTo>
                          <a:pt x="1576" y="15493"/>
                        </a:lnTo>
                        <a:cubicBezTo>
                          <a:pt x="-1517" y="10854"/>
                          <a:pt x="30" y="4669"/>
                          <a:pt x="5442" y="1576"/>
                        </a:cubicBezTo>
                        <a:cubicBezTo>
                          <a:pt x="10081" y="-1516"/>
                          <a:pt x="16266" y="30"/>
                          <a:pt x="19359" y="5442"/>
                        </a:cubicBezTo>
                        <a:lnTo>
                          <a:pt x="25544" y="16266"/>
                        </a:lnTo>
                        <a:cubicBezTo>
                          <a:pt x="28637" y="20905"/>
                          <a:pt x="27091" y="27091"/>
                          <a:pt x="21679" y="30183"/>
                        </a:cubicBezTo>
                        <a:cubicBezTo>
                          <a:pt x="20132" y="31730"/>
                          <a:pt x="18586" y="31730"/>
                          <a:pt x="16266" y="31730"/>
                        </a:cubicBezTo>
                        <a:lnTo>
                          <a:pt x="16266" y="31730"/>
                        </a:lnTo>
                        <a:close/>
                      </a:path>
                    </a:pathLst>
                  </a:custGeom>
                  <a:grpFill/>
                  <a:ln w="77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BR"/>
                  </a:p>
                </p:txBody>
              </p:sp>
              <p:sp>
                <p:nvSpPr>
                  <p:cNvPr id="103" name="Forma Livre: Forma 102">
                    <a:extLst>
                      <a:ext uri="{FF2B5EF4-FFF2-40B4-BE49-F238E27FC236}">
                        <a16:creationId xmlns:a16="http://schemas.microsoft.com/office/drawing/2014/main" id="{728A4DD8-C137-47F8-9350-C19B3A453DA7}"/>
                      </a:ext>
                    </a:extLst>
                  </p:cNvPr>
                  <p:cNvSpPr/>
                  <p:nvPr/>
                </p:nvSpPr>
                <p:spPr>
                  <a:xfrm>
                    <a:off x="5282764" y="2869364"/>
                    <a:ext cx="31423" cy="26922"/>
                  </a:xfrm>
                  <a:custGeom>
                    <a:avLst/>
                    <a:gdLst>
                      <a:gd name="connsiteX0" fmla="*/ 10686 w 31423"/>
                      <a:gd name="connsiteY0" fmla="*/ 26923 h 26922"/>
                      <a:gd name="connsiteX1" fmla="*/ 1408 w 31423"/>
                      <a:gd name="connsiteY1" fmla="*/ 21511 h 26922"/>
                      <a:gd name="connsiteX2" fmla="*/ 5274 w 31423"/>
                      <a:gd name="connsiteY2" fmla="*/ 7594 h 26922"/>
                      <a:gd name="connsiteX3" fmla="*/ 16099 w 31423"/>
                      <a:gd name="connsiteY3" fmla="*/ 1408 h 26922"/>
                      <a:gd name="connsiteX4" fmla="*/ 30016 w 31423"/>
                      <a:gd name="connsiteY4" fmla="*/ 5274 h 26922"/>
                      <a:gd name="connsiteX5" fmla="*/ 26150 w 31423"/>
                      <a:gd name="connsiteY5" fmla="*/ 19191 h 26922"/>
                      <a:gd name="connsiteX6" fmla="*/ 15325 w 31423"/>
                      <a:gd name="connsiteY6" fmla="*/ 25376 h 26922"/>
                      <a:gd name="connsiteX7" fmla="*/ 10686 w 31423"/>
                      <a:gd name="connsiteY7" fmla="*/ 26923 h 26922"/>
                      <a:gd name="connsiteX8" fmla="*/ 10686 w 31423"/>
                      <a:gd name="connsiteY8" fmla="*/ 26923 h 269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31423" h="26922">
                        <a:moveTo>
                          <a:pt x="10686" y="26923"/>
                        </a:moveTo>
                        <a:cubicBezTo>
                          <a:pt x="6821" y="26923"/>
                          <a:pt x="3728" y="25376"/>
                          <a:pt x="1408" y="21511"/>
                        </a:cubicBezTo>
                        <a:cubicBezTo>
                          <a:pt x="-1685" y="16871"/>
                          <a:pt x="635" y="10686"/>
                          <a:pt x="5274" y="7594"/>
                        </a:cubicBezTo>
                        <a:lnTo>
                          <a:pt x="16099" y="1408"/>
                        </a:lnTo>
                        <a:cubicBezTo>
                          <a:pt x="20737" y="-1684"/>
                          <a:pt x="26923" y="635"/>
                          <a:pt x="30016" y="5274"/>
                        </a:cubicBezTo>
                        <a:cubicBezTo>
                          <a:pt x="33108" y="9913"/>
                          <a:pt x="30789" y="16099"/>
                          <a:pt x="26150" y="19191"/>
                        </a:cubicBezTo>
                        <a:lnTo>
                          <a:pt x="15325" y="25376"/>
                        </a:lnTo>
                        <a:cubicBezTo>
                          <a:pt x="14552" y="26923"/>
                          <a:pt x="12233" y="26923"/>
                          <a:pt x="10686" y="26923"/>
                        </a:cubicBezTo>
                        <a:lnTo>
                          <a:pt x="10686" y="26923"/>
                        </a:lnTo>
                        <a:close/>
                      </a:path>
                    </a:pathLst>
                  </a:custGeom>
                  <a:grpFill/>
                  <a:ln w="77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BR"/>
                  </a:p>
                </p:txBody>
              </p:sp>
              <p:sp>
                <p:nvSpPr>
                  <p:cNvPr id="104" name="Forma Livre: Forma 103">
                    <a:extLst>
                      <a:ext uri="{FF2B5EF4-FFF2-40B4-BE49-F238E27FC236}">
                        <a16:creationId xmlns:a16="http://schemas.microsoft.com/office/drawing/2014/main" id="{478B2AF8-9CB0-441D-A86C-D152A57729C0}"/>
                      </a:ext>
                    </a:extLst>
                  </p:cNvPr>
                  <p:cNvSpPr/>
                  <p:nvPr/>
                </p:nvSpPr>
                <p:spPr>
                  <a:xfrm>
                    <a:off x="5617378" y="2676845"/>
                    <a:ext cx="30986" cy="26922"/>
                  </a:xfrm>
                  <a:custGeom>
                    <a:avLst/>
                    <a:gdLst>
                      <a:gd name="connsiteX0" fmla="*/ 10081 w 30986"/>
                      <a:gd name="connsiteY0" fmla="*/ 26923 h 26922"/>
                      <a:gd name="connsiteX1" fmla="*/ 1576 w 30986"/>
                      <a:gd name="connsiteY1" fmla="*/ 21511 h 26922"/>
                      <a:gd name="connsiteX2" fmla="*/ 5442 w 30986"/>
                      <a:gd name="connsiteY2" fmla="*/ 7594 h 26922"/>
                      <a:gd name="connsiteX3" fmla="*/ 15493 w 30986"/>
                      <a:gd name="connsiteY3" fmla="*/ 1408 h 26922"/>
                      <a:gd name="connsiteX4" fmla="*/ 29410 w 30986"/>
                      <a:gd name="connsiteY4" fmla="*/ 5274 h 26922"/>
                      <a:gd name="connsiteX5" fmla="*/ 25545 w 30986"/>
                      <a:gd name="connsiteY5" fmla="*/ 19191 h 26922"/>
                      <a:gd name="connsiteX6" fmla="*/ 15493 w 30986"/>
                      <a:gd name="connsiteY6" fmla="*/ 25376 h 26922"/>
                      <a:gd name="connsiteX7" fmla="*/ 10081 w 30986"/>
                      <a:gd name="connsiteY7" fmla="*/ 26923 h 26922"/>
                      <a:gd name="connsiteX8" fmla="*/ 10081 w 30986"/>
                      <a:gd name="connsiteY8" fmla="*/ 26923 h 269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30986" h="26922">
                        <a:moveTo>
                          <a:pt x="10081" y="26923"/>
                        </a:moveTo>
                        <a:cubicBezTo>
                          <a:pt x="6215" y="26923"/>
                          <a:pt x="3123" y="25376"/>
                          <a:pt x="1576" y="21511"/>
                        </a:cubicBezTo>
                        <a:cubicBezTo>
                          <a:pt x="-1516" y="16872"/>
                          <a:pt x="30" y="10686"/>
                          <a:pt x="5442" y="7594"/>
                        </a:cubicBezTo>
                        <a:lnTo>
                          <a:pt x="15493" y="1408"/>
                        </a:lnTo>
                        <a:cubicBezTo>
                          <a:pt x="20132" y="-1684"/>
                          <a:pt x="26318" y="635"/>
                          <a:pt x="29410" y="5274"/>
                        </a:cubicBezTo>
                        <a:cubicBezTo>
                          <a:pt x="32503" y="9913"/>
                          <a:pt x="30956" y="16098"/>
                          <a:pt x="25545" y="19191"/>
                        </a:cubicBezTo>
                        <a:lnTo>
                          <a:pt x="15493" y="25376"/>
                        </a:lnTo>
                        <a:cubicBezTo>
                          <a:pt x="13174" y="26923"/>
                          <a:pt x="11627" y="26923"/>
                          <a:pt x="10081" y="26923"/>
                        </a:cubicBezTo>
                        <a:lnTo>
                          <a:pt x="10081" y="26923"/>
                        </a:lnTo>
                        <a:close/>
                      </a:path>
                    </a:pathLst>
                  </a:custGeom>
                  <a:grpFill/>
                  <a:ln w="77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BR"/>
                  </a:p>
                </p:txBody>
              </p:sp>
            </p:grpSp>
          </p:grpSp>
          <p:sp>
            <p:nvSpPr>
              <p:cNvPr id="105" name="Forma Livre: Forma 104">
                <a:extLst>
                  <a:ext uri="{FF2B5EF4-FFF2-40B4-BE49-F238E27FC236}">
                    <a16:creationId xmlns:a16="http://schemas.microsoft.com/office/drawing/2014/main" id="{03B8A9DA-8352-40EE-97CA-3757317DDBCA}"/>
                  </a:ext>
                </a:extLst>
              </p:cNvPr>
              <p:cNvSpPr/>
              <p:nvPr/>
            </p:nvSpPr>
            <p:spPr>
              <a:xfrm>
                <a:off x="5383525" y="2768327"/>
                <a:ext cx="100511" cy="100898"/>
              </a:xfrm>
              <a:custGeom>
                <a:avLst/>
                <a:gdLst>
                  <a:gd name="connsiteX0" fmla="*/ 20489 w 100511"/>
                  <a:gd name="connsiteY0" fmla="*/ 100899 h 100898"/>
                  <a:gd name="connsiteX1" fmla="*/ 5799 w 100511"/>
                  <a:gd name="connsiteY1" fmla="*/ 94713 h 100898"/>
                  <a:gd name="connsiteX2" fmla="*/ 5799 w 100511"/>
                  <a:gd name="connsiteY2" fmla="*/ 65333 h 100898"/>
                  <a:gd name="connsiteX3" fmla="*/ 65333 w 100511"/>
                  <a:gd name="connsiteY3" fmla="*/ 5799 h 100898"/>
                  <a:gd name="connsiteX4" fmla="*/ 94713 w 100511"/>
                  <a:gd name="connsiteY4" fmla="*/ 5799 h 100898"/>
                  <a:gd name="connsiteX5" fmla="*/ 94713 w 100511"/>
                  <a:gd name="connsiteY5" fmla="*/ 35179 h 100898"/>
                  <a:gd name="connsiteX6" fmla="*/ 35180 w 100511"/>
                  <a:gd name="connsiteY6" fmla="*/ 94713 h 100898"/>
                  <a:gd name="connsiteX7" fmla="*/ 20489 w 100511"/>
                  <a:gd name="connsiteY7" fmla="*/ 100899 h 100898"/>
                  <a:gd name="connsiteX8" fmla="*/ 20489 w 100511"/>
                  <a:gd name="connsiteY8" fmla="*/ 100899 h 100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0511" h="100898">
                    <a:moveTo>
                      <a:pt x="20489" y="100899"/>
                    </a:moveTo>
                    <a:cubicBezTo>
                      <a:pt x="15077" y="100899"/>
                      <a:pt x="9665" y="98579"/>
                      <a:pt x="5799" y="94713"/>
                    </a:cubicBezTo>
                    <a:cubicBezTo>
                      <a:pt x="-1933" y="86981"/>
                      <a:pt x="-1933" y="73838"/>
                      <a:pt x="5799" y="65333"/>
                    </a:cubicBezTo>
                    <a:lnTo>
                      <a:pt x="65333" y="5799"/>
                    </a:lnTo>
                    <a:cubicBezTo>
                      <a:pt x="73064" y="-1933"/>
                      <a:pt x="86208" y="-1933"/>
                      <a:pt x="94713" y="5799"/>
                    </a:cubicBezTo>
                    <a:cubicBezTo>
                      <a:pt x="102445" y="13530"/>
                      <a:pt x="102445" y="26674"/>
                      <a:pt x="94713" y="35179"/>
                    </a:cubicBezTo>
                    <a:lnTo>
                      <a:pt x="35180" y="94713"/>
                    </a:lnTo>
                    <a:cubicBezTo>
                      <a:pt x="30540" y="99352"/>
                      <a:pt x="25128" y="100899"/>
                      <a:pt x="20489" y="100899"/>
                    </a:cubicBezTo>
                    <a:lnTo>
                      <a:pt x="20489" y="100899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106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3398223" y="2613748"/>
              <a:ext cx="404963" cy="390353"/>
              <a:chOff x="2691084" y="2540465"/>
              <a:chExt cx="511111" cy="492672"/>
            </a:xfrm>
            <a:solidFill>
              <a:srgbClr val="B1B1A1"/>
            </a:solidFill>
          </p:grpSpPr>
          <p:sp>
            <p:nvSpPr>
              <p:cNvPr id="107" name="Forma Livre: Forma 106">
                <a:extLst>
                  <a:ext uri="{FF2B5EF4-FFF2-40B4-BE49-F238E27FC236}">
                    <a16:creationId xmlns:a16="http://schemas.microsoft.com/office/drawing/2014/main" id="{95D62EDA-FD36-4C34-82FC-099D8CFA4E51}"/>
                  </a:ext>
                </a:extLst>
              </p:cNvPr>
              <p:cNvSpPr/>
              <p:nvPr/>
            </p:nvSpPr>
            <p:spPr>
              <a:xfrm>
                <a:off x="2724213" y="2570010"/>
                <a:ext cx="443802" cy="443798"/>
              </a:xfrm>
              <a:custGeom>
                <a:avLst/>
                <a:gdLst>
                  <a:gd name="connsiteX0" fmla="*/ 221899 w 443802"/>
                  <a:gd name="connsiteY0" fmla="*/ 443798 h 443798"/>
                  <a:gd name="connsiteX1" fmla="*/ 0 w 443802"/>
                  <a:gd name="connsiteY1" fmla="*/ 221899 h 443798"/>
                  <a:gd name="connsiteX2" fmla="*/ 221899 w 443802"/>
                  <a:gd name="connsiteY2" fmla="*/ 0 h 443798"/>
                  <a:gd name="connsiteX3" fmla="*/ 443798 w 443802"/>
                  <a:gd name="connsiteY3" fmla="*/ 221899 h 443798"/>
                  <a:gd name="connsiteX4" fmla="*/ 221899 w 443802"/>
                  <a:gd name="connsiteY4" fmla="*/ 443798 h 443798"/>
                  <a:gd name="connsiteX5" fmla="*/ 221899 w 443802"/>
                  <a:gd name="connsiteY5" fmla="*/ 443798 h 443798"/>
                  <a:gd name="connsiteX6" fmla="*/ 221899 w 443802"/>
                  <a:gd name="connsiteY6" fmla="*/ 40205 h 443798"/>
                  <a:gd name="connsiteX7" fmla="*/ 40978 w 443802"/>
                  <a:gd name="connsiteY7" fmla="*/ 221126 h 443798"/>
                  <a:gd name="connsiteX8" fmla="*/ 221899 w 443802"/>
                  <a:gd name="connsiteY8" fmla="*/ 402047 h 443798"/>
                  <a:gd name="connsiteX9" fmla="*/ 402821 w 443802"/>
                  <a:gd name="connsiteY9" fmla="*/ 221126 h 443798"/>
                  <a:gd name="connsiteX10" fmla="*/ 221899 w 443802"/>
                  <a:gd name="connsiteY10" fmla="*/ 40205 h 443798"/>
                  <a:gd name="connsiteX11" fmla="*/ 221899 w 443802"/>
                  <a:gd name="connsiteY11" fmla="*/ 40205 h 443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43802" h="443798">
                    <a:moveTo>
                      <a:pt x="221899" y="443798"/>
                    </a:moveTo>
                    <a:cubicBezTo>
                      <a:pt x="99739" y="443798"/>
                      <a:pt x="0" y="344060"/>
                      <a:pt x="0" y="221899"/>
                    </a:cubicBezTo>
                    <a:cubicBezTo>
                      <a:pt x="0" y="99739"/>
                      <a:pt x="99739" y="0"/>
                      <a:pt x="221899" y="0"/>
                    </a:cubicBezTo>
                    <a:cubicBezTo>
                      <a:pt x="344060" y="0"/>
                      <a:pt x="443798" y="99739"/>
                      <a:pt x="443798" y="221899"/>
                    </a:cubicBezTo>
                    <a:cubicBezTo>
                      <a:pt x="444572" y="344060"/>
                      <a:pt x="344833" y="443798"/>
                      <a:pt x="221899" y="443798"/>
                    </a:cubicBezTo>
                    <a:lnTo>
                      <a:pt x="221899" y="443798"/>
                    </a:lnTo>
                    <a:close/>
                    <a:moveTo>
                      <a:pt x="221899" y="40205"/>
                    </a:moveTo>
                    <a:cubicBezTo>
                      <a:pt x="122161" y="40205"/>
                      <a:pt x="40978" y="121387"/>
                      <a:pt x="40978" y="221126"/>
                    </a:cubicBezTo>
                    <a:cubicBezTo>
                      <a:pt x="40978" y="320865"/>
                      <a:pt x="122161" y="402047"/>
                      <a:pt x="221899" y="402047"/>
                    </a:cubicBezTo>
                    <a:cubicBezTo>
                      <a:pt x="321638" y="402047"/>
                      <a:pt x="402821" y="320865"/>
                      <a:pt x="402821" y="221126"/>
                    </a:cubicBezTo>
                    <a:cubicBezTo>
                      <a:pt x="402821" y="121387"/>
                      <a:pt x="321638" y="40205"/>
                      <a:pt x="221899" y="40205"/>
                    </a:cubicBezTo>
                    <a:lnTo>
                      <a:pt x="221899" y="40205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08" name="Forma Livre: Forma 107">
                <a:extLst>
                  <a:ext uri="{FF2B5EF4-FFF2-40B4-BE49-F238E27FC236}">
                    <a16:creationId xmlns:a16="http://schemas.microsoft.com/office/drawing/2014/main" id="{84F16191-5DBC-4C6B-B28D-EA40A9D79324}"/>
                  </a:ext>
                </a:extLst>
              </p:cNvPr>
              <p:cNvSpPr/>
              <p:nvPr/>
            </p:nvSpPr>
            <p:spPr>
              <a:xfrm>
                <a:off x="2925237" y="2634183"/>
                <a:ext cx="41751" cy="177828"/>
              </a:xfrm>
              <a:custGeom>
                <a:avLst/>
                <a:gdLst>
                  <a:gd name="connsiteX0" fmla="*/ 20876 w 41751"/>
                  <a:gd name="connsiteY0" fmla="*/ 177829 h 177828"/>
                  <a:gd name="connsiteX1" fmla="*/ 0 w 41751"/>
                  <a:gd name="connsiteY1" fmla="*/ 156953 h 177828"/>
                  <a:gd name="connsiteX2" fmla="*/ 0 w 41751"/>
                  <a:gd name="connsiteY2" fmla="*/ 20875 h 177828"/>
                  <a:gd name="connsiteX3" fmla="*/ 20876 w 41751"/>
                  <a:gd name="connsiteY3" fmla="*/ 0 h 177828"/>
                  <a:gd name="connsiteX4" fmla="*/ 41751 w 41751"/>
                  <a:gd name="connsiteY4" fmla="*/ 20875 h 177828"/>
                  <a:gd name="connsiteX5" fmla="*/ 41751 w 41751"/>
                  <a:gd name="connsiteY5" fmla="*/ 156953 h 177828"/>
                  <a:gd name="connsiteX6" fmla="*/ 20876 w 41751"/>
                  <a:gd name="connsiteY6" fmla="*/ 177829 h 177828"/>
                  <a:gd name="connsiteX7" fmla="*/ 20876 w 41751"/>
                  <a:gd name="connsiteY7" fmla="*/ 177829 h 1778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51" h="177828">
                    <a:moveTo>
                      <a:pt x="20876" y="177829"/>
                    </a:moveTo>
                    <a:cubicBezTo>
                      <a:pt x="9278" y="177829"/>
                      <a:pt x="0" y="168551"/>
                      <a:pt x="0" y="156953"/>
                    </a:cubicBezTo>
                    <a:lnTo>
                      <a:pt x="0" y="20875"/>
                    </a:lnTo>
                    <a:cubicBezTo>
                      <a:pt x="0" y="9278"/>
                      <a:pt x="9278" y="0"/>
                      <a:pt x="20876" y="0"/>
                    </a:cubicBezTo>
                    <a:cubicBezTo>
                      <a:pt x="32473" y="0"/>
                      <a:pt x="41751" y="9278"/>
                      <a:pt x="41751" y="20875"/>
                    </a:cubicBezTo>
                    <a:lnTo>
                      <a:pt x="41751" y="156953"/>
                    </a:lnTo>
                    <a:cubicBezTo>
                      <a:pt x="41751" y="168551"/>
                      <a:pt x="32473" y="177829"/>
                      <a:pt x="20876" y="177829"/>
                    </a:cubicBezTo>
                    <a:lnTo>
                      <a:pt x="20876" y="177829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grpSp>
            <p:nvGrpSpPr>
              <p:cNvPr id="109" name="Gráfico 2">
                <a:extLst>
                  <a:ext uri="{FF2B5EF4-FFF2-40B4-BE49-F238E27FC236}">
                    <a16:creationId xmlns:a16="http://schemas.microsoft.com/office/drawing/2014/main" id="{6FEF66BF-8D1E-4FFA-95A2-6EE56886837B}"/>
                  </a:ext>
                </a:extLst>
              </p:cNvPr>
              <p:cNvGrpSpPr/>
              <p:nvPr/>
            </p:nvGrpSpPr>
            <p:grpSpPr>
              <a:xfrm>
                <a:off x="2691084" y="2540465"/>
                <a:ext cx="511111" cy="138561"/>
                <a:chOff x="2691084" y="2540465"/>
                <a:chExt cx="511111" cy="138561"/>
              </a:xfrm>
              <a:grpFill/>
            </p:grpSpPr>
            <p:sp>
              <p:nvSpPr>
                <p:cNvPr id="110" name="Forma Livre: Forma 109">
                  <a:extLst>
                    <a:ext uri="{FF2B5EF4-FFF2-40B4-BE49-F238E27FC236}">
                      <a16:creationId xmlns:a16="http://schemas.microsoft.com/office/drawing/2014/main" id="{9A0985F6-DF47-4460-880B-2128AB68212B}"/>
                    </a:ext>
                  </a:extLst>
                </p:cNvPr>
                <p:cNvSpPr/>
                <p:nvPr/>
              </p:nvSpPr>
              <p:spPr>
                <a:xfrm>
                  <a:off x="2691084" y="2540465"/>
                  <a:ext cx="138476" cy="138561"/>
                </a:xfrm>
                <a:custGeom>
                  <a:avLst/>
                  <a:gdLst>
                    <a:gd name="connsiteX0" fmla="*/ 21531 w 138476"/>
                    <a:gd name="connsiteY0" fmla="*/ 138562 h 138561"/>
                    <a:gd name="connsiteX1" fmla="*/ 1429 w 138476"/>
                    <a:gd name="connsiteY1" fmla="*/ 121552 h 138561"/>
                    <a:gd name="connsiteX2" fmla="*/ 30036 w 138476"/>
                    <a:gd name="connsiteY2" fmla="*/ 30318 h 138561"/>
                    <a:gd name="connsiteX3" fmla="*/ 121270 w 138476"/>
                    <a:gd name="connsiteY3" fmla="*/ 1711 h 138561"/>
                    <a:gd name="connsiteX4" fmla="*/ 138280 w 138476"/>
                    <a:gd name="connsiteY4" fmla="*/ 25679 h 138561"/>
                    <a:gd name="connsiteX5" fmla="*/ 114312 w 138476"/>
                    <a:gd name="connsiteY5" fmla="*/ 42689 h 138561"/>
                    <a:gd name="connsiteX6" fmla="*/ 59417 w 138476"/>
                    <a:gd name="connsiteY6" fmla="*/ 59698 h 138561"/>
                    <a:gd name="connsiteX7" fmla="*/ 42407 w 138476"/>
                    <a:gd name="connsiteY7" fmla="*/ 114593 h 138561"/>
                    <a:gd name="connsiteX8" fmla="*/ 25397 w 138476"/>
                    <a:gd name="connsiteY8" fmla="*/ 138562 h 138561"/>
                    <a:gd name="connsiteX9" fmla="*/ 21531 w 138476"/>
                    <a:gd name="connsiteY9" fmla="*/ 138562 h 138561"/>
                    <a:gd name="connsiteX10" fmla="*/ 21531 w 138476"/>
                    <a:gd name="connsiteY10" fmla="*/ 138562 h 1385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38476" h="138561">
                      <a:moveTo>
                        <a:pt x="21531" y="138562"/>
                      </a:moveTo>
                      <a:cubicBezTo>
                        <a:pt x="11480" y="138562"/>
                        <a:pt x="2975" y="131603"/>
                        <a:pt x="1429" y="121552"/>
                      </a:cubicBezTo>
                      <a:cubicBezTo>
                        <a:pt x="-3983" y="88306"/>
                        <a:pt x="6068" y="54286"/>
                        <a:pt x="30036" y="30318"/>
                      </a:cubicBezTo>
                      <a:cubicBezTo>
                        <a:pt x="54005" y="6350"/>
                        <a:pt x="88024" y="-4474"/>
                        <a:pt x="121270" y="1711"/>
                      </a:cubicBezTo>
                      <a:cubicBezTo>
                        <a:pt x="132095" y="4031"/>
                        <a:pt x="139826" y="14082"/>
                        <a:pt x="138280" y="25679"/>
                      </a:cubicBezTo>
                      <a:cubicBezTo>
                        <a:pt x="135960" y="36503"/>
                        <a:pt x="125909" y="44235"/>
                        <a:pt x="114312" y="42689"/>
                      </a:cubicBezTo>
                      <a:cubicBezTo>
                        <a:pt x="94209" y="38823"/>
                        <a:pt x="74107" y="45782"/>
                        <a:pt x="59417" y="59698"/>
                      </a:cubicBezTo>
                      <a:cubicBezTo>
                        <a:pt x="44726" y="74389"/>
                        <a:pt x="38541" y="94491"/>
                        <a:pt x="42407" y="114593"/>
                      </a:cubicBezTo>
                      <a:cubicBezTo>
                        <a:pt x="44726" y="125418"/>
                        <a:pt x="36995" y="136242"/>
                        <a:pt x="25397" y="138562"/>
                      </a:cubicBezTo>
                      <a:cubicBezTo>
                        <a:pt x="23851" y="138562"/>
                        <a:pt x="22305" y="138562"/>
                        <a:pt x="21531" y="138562"/>
                      </a:cubicBezTo>
                      <a:lnTo>
                        <a:pt x="21531" y="138562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111" name="Forma Livre: Forma 110">
                  <a:extLst>
                    <a:ext uri="{FF2B5EF4-FFF2-40B4-BE49-F238E27FC236}">
                      <a16:creationId xmlns:a16="http://schemas.microsoft.com/office/drawing/2014/main" id="{EC637E7A-3043-40F3-BA6C-871701BE3296}"/>
                    </a:ext>
                  </a:extLst>
                </p:cNvPr>
                <p:cNvSpPr/>
                <p:nvPr/>
              </p:nvSpPr>
              <p:spPr>
                <a:xfrm>
                  <a:off x="3063223" y="2540465"/>
                  <a:ext cx="138973" cy="138561"/>
                </a:xfrm>
                <a:custGeom>
                  <a:avLst/>
                  <a:gdLst>
                    <a:gd name="connsiteX0" fmla="*/ 117160 w 138973"/>
                    <a:gd name="connsiteY0" fmla="*/ 138562 h 138561"/>
                    <a:gd name="connsiteX1" fmla="*/ 113294 w 138973"/>
                    <a:gd name="connsiteY1" fmla="*/ 138562 h 138561"/>
                    <a:gd name="connsiteX2" fmla="*/ 96284 w 138973"/>
                    <a:gd name="connsiteY2" fmla="*/ 114593 h 138561"/>
                    <a:gd name="connsiteX3" fmla="*/ 79275 w 138973"/>
                    <a:gd name="connsiteY3" fmla="*/ 59698 h 138561"/>
                    <a:gd name="connsiteX4" fmla="*/ 24380 w 138973"/>
                    <a:gd name="connsiteY4" fmla="*/ 42689 h 138561"/>
                    <a:gd name="connsiteX5" fmla="*/ 411 w 138973"/>
                    <a:gd name="connsiteY5" fmla="*/ 25679 h 138561"/>
                    <a:gd name="connsiteX6" fmla="*/ 17421 w 138973"/>
                    <a:gd name="connsiteY6" fmla="*/ 1711 h 138561"/>
                    <a:gd name="connsiteX7" fmla="*/ 108655 w 138973"/>
                    <a:gd name="connsiteY7" fmla="*/ 30318 h 138561"/>
                    <a:gd name="connsiteX8" fmla="*/ 137262 w 138973"/>
                    <a:gd name="connsiteY8" fmla="*/ 121552 h 138561"/>
                    <a:gd name="connsiteX9" fmla="*/ 117160 w 138973"/>
                    <a:gd name="connsiteY9" fmla="*/ 138562 h 138561"/>
                    <a:gd name="connsiteX10" fmla="*/ 117160 w 138973"/>
                    <a:gd name="connsiteY10" fmla="*/ 138562 h 1385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38973" h="138561">
                      <a:moveTo>
                        <a:pt x="117160" y="138562"/>
                      </a:moveTo>
                      <a:cubicBezTo>
                        <a:pt x="115614" y="138562"/>
                        <a:pt x="114840" y="138562"/>
                        <a:pt x="113294" y="138562"/>
                      </a:cubicBezTo>
                      <a:cubicBezTo>
                        <a:pt x="102470" y="136242"/>
                        <a:pt x="94738" y="126191"/>
                        <a:pt x="96284" y="114593"/>
                      </a:cubicBezTo>
                      <a:cubicBezTo>
                        <a:pt x="100150" y="94491"/>
                        <a:pt x="93192" y="74389"/>
                        <a:pt x="79275" y="59698"/>
                      </a:cubicBezTo>
                      <a:cubicBezTo>
                        <a:pt x="64585" y="45008"/>
                        <a:pt x="44482" y="38823"/>
                        <a:pt x="24380" y="42689"/>
                      </a:cubicBezTo>
                      <a:cubicBezTo>
                        <a:pt x="13555" y="44235"/>
                        <a:pt x="2731" y="37277"/>
                        <a:pt x="411" y="25679"/>
                      </a:cubicBezTo>
                      <a:cubicBezTo>
                        <a:pt x="-1908" y="14855"/>
                        <a:pt x="5824" y="4031"/>
                        <a:pt x="17421" y="1711"/>
                      </a:cubicBezTo>
                      <a:cubicBezTo>
                        <a:pt x="50667" y="-4474"/>
                        <a:pt x="84687" y="6350"/>
                        <a:pt x="108655" y="30318"/>
                      </a:cubicBezTo>
                      <a:cubicBezTo>
                        <a:pt x="132623" y="54286"/>
                        <a:pt x="143448" y="88306"/>
                        <a:pt x="137262" y="121552"/>
                      </a:cubicBezTo>
                      <a:cubicBezTo>
                        <a:pt x="134943" y="131603"/>
                        <a:pt x="126438" y="138562"/>
                        <a:pt x="117160" y="138562"/>
                      </a:cubicBezTo>
                      <a:lnTo>
                        <a:pt x="117160" y="138562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sp>
            <p:nvSpPr>
              <p:cNvPr id="112" name="Forma Livre: Forma 111">
                <a:extLst>
                  <a:ext uri="{FF2B5EF4-FFF2-40B4-BE49-F238E27FC236}">
                    <a16:creationId xmlns:a16="http://schemas.microsoft.com/office/drawing/2014/main" id="{CA0E5C98-E245-4129-A273-D5BEC918C068}"/>
                  </a:ext>
                </a:extLst>
              </p:cNvPr>
              <p:cNvSpPr/>
              <p:nvPr/>
            </p:nvSpPr>
            <p:spPr>
              <a:xfrm>
                <a:off x="2869182" y="2771420"/>
                <a:ext cx="95872" cy="96259"/>
              </a:xfrm>
              <a:custGeom>
                <a:avLst/>
                <a:gdLst>
                  <a:gd name="connsiteX0" fmla="*/ 20489 w 95872"/>
                  <a:gd name="connsiteY0" fmla="*/ 96259 h 96259"/>
                  <a:gd name="connsiteX1" fmla="*/ 5799 w 95872"/>
                  <a:gd name="connsiteY1" fmla="*/ 90074 h 96259"/>
                  <a:gd name="connsiteX2" fmla="*/ 5799 w 95872"/>
                  <a:gd name="connsiteY2" fmla="*/ 60693 h 96259"/>
                  <a:gd name="connsiteX3" fmla="*/ 60694 w 95872"/>
                  <a:gd name="connsiteY3" fmla="*/ 5799 h 96259"/>
                  <a:gd name="connsiteX4" fmla="*/ 90074 w 95872"/>
                  <a:gd name="connsiteY4" fmla="*/ 5799 h 96259"/>
                  <a:gd name="connsiteX5" fmla="*/ 90074 w 95872"/>
                  <a:gd name="connsiteY5" fmla="*/ 35179 h 96259"/>
                  <a:gd name="connsiteX6" fmla="*/ 35179 w 95872"/>
                  <a:gd name="connsiteY6" fmla="*/ 90074 h 96259"/>
                  <a:gd name="connsiteX7" fmla="*/ 20489 w 95872"/>
                  <a:gd name="connsiteY7" fmla="*/ 96259 h 96259"/>
                  <a:gd name="connsiteX8" fmla="*/ 20489 w 95872"/>
                  <a:gd name="connsiteY8" fmla="*/ 96259 h 96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5872" h="96259">
                    <a:moveTo>
                      <a:pt x="20489" y="96259"/>
                    </a:moveTo>
                    <a:cubicBezTo>
                      <a:pt x="15077" y="96259"/>
                      <a:pt x="9665" y="93940"/>
                      <a:pt x="5799" y="90074"/>
                    </a:cubicBezTo>
                    <a:cubicBezTo>
                      <a:pt x="-1933" y="82342"/>
                      <a:pt x="-1933" y="69198"/>
                      <a:pt x="5799" y="60693"/>
                    </a:cubicBezTo>
                    <a:lnTo>
                      <a:pt x="60694" y="5799"/>
                    </a:lnTo>
                    <a:cubicBezTo>
                      <a:pt x="68425" y="-1933"/>
                      <a:pt x="81569" y="-1933"/>
                      <a:pt x="90074" y="5799"/>
                    </a:cubicBezTo>
                    <a:cubicBezTo>
                      <a:pt x="97806" y="13530"/>
                      <a:pt x="97806" y="26674"/>
                      <a:pt x="90074" y="35179"/>
                    </a:cubicBezTo>
                    <a:lnTo>
                      <a:pt x="35179" y="90074"/>
                    </a:lnTo>
                    <a:cubicBezTo>
                      <a:pt x="30540" y="93940"/>
                      <a:pt x="25901" y="96259"/>
                      <a:pt x="20489" y="96259"/>
                    </a:cubicBezTo>
                    <a:lnTo>
                      <a:pt x="20489" y="96259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grpSp>
            <p:nvGrpSpPr>
              <p:cNvPr id="113" name="Gráfico 2">
                <a:extLst>
                  <a:ext uri="{FF2B5EF4-FFF2-40B4-BE49-F238E27FC236}">
                    <a16:creationId xmlns:a16="http://schemas.microsoft.com/office/drawing/2014/main" id="{6FEF66BF-8D1E-4FFA-95A2-6EE56886837B}"/>
                  </a:ext>
                </a:extLst>
              </p:cNvPr>
              <p:cNvGrpSpPr/>
              <p:nvPr/>
            </p:nvGrpSpPr>
            <p:grpSpPr>
              <a:xfrm>
                <a:off x="2754754" y="2936878"/>
                <a:ext cx="382718" cy="96259"/>
                <a:chOff x="2754754" y="2936878"/>
                <a:chExt cx="382718" cy="96259"/>
              </a:xfrm>
              <a:grpFill/>
            </p:grpSpPr>
            <p:sp>
              <p:nvSpPr>
                <p:cNvPr id="114" name="Forma Livre: Forma 113">
                  <a:extLst>
                    <a:ext uri="{FF2B5EF4-FFF2-40B4-BE49-F238E27FC236}">
                      <a16:creationId xmlns:a16="http://schemas.microsoft.com/office/drawing/2014/main" id="{87AC255C-B074-4856-857E-E8C65C95FE01}"/>
                    </a:ext>
                  </a:extLst>
                </p:cNvPr>
                <p:cNvSpPr/>
                <p:nvPr/>
              </p:nvSpPr>
              <p:spPr>
                <a:xfrm>
                  <a:off x="2754754" y="2936878"/>
                  <a:ext cx="95872" cy="96259"/>
                </a:xfrm>
                <a:custGeom>
                  <a:avLst/>
                  <a:gdLst>
                    <a:gd name="connsiteX0" fmla="*/ 20489 w 95872"/>
                    <a:gd name="connsiteY0" fmla="*/ 96259 h 96259"/>
                    <a:gd name="connsiteX1" fmla="*/ 5799 w 95872"/>
                    <a:gd name="connsiteY1" fmla="*/ 90074 h 96259"/>
                    <a:gd name="connsiteX2" fmla="*/ 5799 w 95872"/>
                    <a:gd name="connsiteY2" fmla="*/ 60694 h 96259"/>
                    <a:gd name="connsiteX3" fmla="*/ 60694 w 95872"/>
                    <a:gd name="connsiteY3" fmla="*/ 5799 h 96259"/>
                    <a:gd name="connsiteX4" fmla="*/ 90074 w 95872"/>
                    <a:gd name="connsiteY4" fmla="*/ 5799 h 96259"/>
                    <a:gd name="connsiteX5" fmla="*/ 90074 w 95872"/>
                    <a:gd name="connsiteY5" fmla="*/ 35179 h 96259"/>
                    <a:gd name="connsiteX6" fmla="*/ 35179 w 95872"/>
                    <a:gd name="connsiteY6" fmla="*/ 90074 h 96259"/>
                    <a:gd name="connsiteX7" fmla="*/ 20489 w 95872"/>
                    <a:gd name="connsiteY7" fmla="*/ 96259 h 96259"/>
                    <a:gd name="connsiteX8" fmla="*/ 20489 w 95872"/>
                    <a:gd name="connsiteY8" fmla="*/ 96259 h 962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5872" h="96259">
                      <a:moveTo>
                        <a:pt x="20489" y="96259"/>
                      </a:moveTo>
                      <a:cubicBezTo>
                        <a:pt x="15077" y="96259"/>
                        <a:pt x="9665" y="93940"/>
                        <a:pt x="5799" y="90074"/>
                      </a:cubicBezTo>
                      <a:cubicBezTo>
                        <a:pt x="-1933" y="82342"/>
                        <a:pt x="-1933" y="69198"/>
                        <a:pt x="5799" y="60694"/>
                      </a:cubicBezTo>
                      <a:lnTo>
                        <a:pt x="60694" y="5799"/>
                      </a:lnTo>
                      <a:cubicBezTo>
                        <a:pt x="68425" y="-1933"/>
                        <a:pt x="81569" y="-1933"/>
                        <a:pt x="90074" y="5799"/>
                      </a:cubicBezTo>
                      <a:cubicBezTo>
                        <a:pt x="97806" y="13530"/>
                        <a:pt x="97806" y="26674"/>
                        <a:pt x="90074" y="35179"/>
                      </a:cubicBezTo>
                      <a:lnTo>
                        <a:pt x="35179" y="90074"/>
                      </a:lnTo>
                      <a:cubicBezTo>
                        <a:pt x="31313" y="93940"/>
                        <a:pt x="25901" y="96259"/>
                        <a:pt x="20489" y="96259"/>
                      </a:cubicBezTo>
                      <a:lnTo>
                        <a:pt x="20489" y="96259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115" name="Forma Livre: Forma 114">
                  <a:extLst>
                    <a:ext uri="{FF2B5EF4-FFF2-40B4-BE49-F238E27FC236}">
                      <a16:creationId xmlns:a16="http://schemas.microsoft.com/office/drawing/2014/main" id="{63A4B965-2D55-4D7E-99D8-B7D30B08E6C2}"/>
                    </a:ext>
                  </a:extLst>
                </p:cNvPr>
                <p:cNvSpPr/>
                <p:nvPr/>
              </p:nvSpPr>
              <p:spPr>
                <a:xfrm>
                  <a:off x="3041599" y="2936878"/>
                  <a:ext cx="95872" cy="96259"/>
                </a:xfrm>
                <a:custGeom>
                  <a:avLst/>
                  <a:gdLst>
                    <a:gd name="connsiteX0" fmla="*/ 75384 w 95872"/>
                    <a:gd name="connsiteY0" fmla="*/ 96259 h 96259"/>
                    <a:gd name="connsiteX1" fmla="*/ 60693 w 95872"/>
                    <a:gd name="connsiteY1" fmla="*/ 90074 h 96259"/>
                    <a:gd name="connsiteX2" fmla="*/ 5799 w 95872"/>
                    <a:gd name="connsiteY2" fmla="*/ 35179 h 96259"/>
                    <a:gd name="connsiteX3" fmla="*/ 5799 w 95872"/>
                    <a:gd name="connsiteY3" fmla="*/ 5799 h 96259"/>
                    <a:gd name="connsiteX4" fmla="*/ 35179 w 95872"/>
                    <a:gd name="connsiteY4" fmla="*/ 5799 h 96259"/>
                    <a:gd name="connsiteX5" fmla="*/ 90074 w 95872"/>
                    <a:gd name="connsiteY5" fmla="*/ 60694 h 96259"/>
                    <a:gd name="connsiteX6" fmla="*/ 90074 w 95872"/>
                    <a:gd name="connsiteY6" fmla="*/ 90074 h 96259"/>
                    <a:gd name="connsiteX7" fmla="*/ 75384 w 95872"/>
                    <a:gd name="connsiteY7" fmla="*/ 96259 h 96259"/>
                    <a:gd name="connsiteX8" fmla="*/ 75384 w 95872"/>
                    <a:gd name="connsiteY8" fmla="*/ 96259 h 962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5872" h="96259">
                      <a:moveTo>
                        <a:pt x="75384" y="96259"/>
                      </a:moveTo>
                      <a:cubicBezTo>
                        <a:pt x="69972" y="96259"/>
                        <a:pt x="64559" y="93940"/>
                        <a:pt x="60693" y="90074"/>
                      </a:cubicBezTo>
                      <a:lnTo>
                        <a:pt x="5799" y="35179"/>
                      </a:lnTo>
                      <a:cubicBezTo>
                        <a:pt x="-1933" y="27447"/>
                        <a:pt x="-1933" y="14304"/>
                        <a:pt x="5799" y="5799"/>
                      </a:cubicBezTo>
                      <a:cubicBezTo>
                        <a:pt x="13530" y="-1933"/>
                        <a:pt x="26674" y="-1933"/>
                        <a:pt x="35179" y="5799"/>
                      </a:cubicBezTo>
                      <a:lnTo>
                        <a:pt x="90074" y="60694"/>
                      </a:lnTo>
                      <a:cubicBezTo>
                        <a:pt x="97806" y="68425"/>
                        <a:pt x="97806" y="81569"/>
                        <a:pt x="90074" y="90074"/>
                      </a:cubicBezTo>
                      <a:cubicBezTo>
                        <a:pt x="86208" y="93940"/>
                        <a:pt x="80796" y="96259"/>
                        <a:pt x="75384" y="96259"/>
                      </a:cubicBezTo>
                      <a:lnTo>
                        <a:pt x="75384" y="96259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</p:grpSp>
        <p:grpSp>
          <p:nvGrpSpPr>
            <p:cNvPr id="116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4424840" y="2606527"/>
              <a:ext cx="351632" cy="404312"/>
              <a:chOff x="3986797" y="2531351"/>
              <a:chExt cx="443802" cy="510290"/>
            </a:xfrm>
            <a:solidFill>
              <a:srgbClr val="B1B1A1"/>
            </a:solidFill>
          </p:grpSpPr>
          <p:sp>
            <p:nvSpPr>
              <p:cNvPr id="117" name="Forma Livre: Forma 116">
                <a:extLst>
                  <a:ext uri="{FF2B5EF4-FFF2-40B4-BE49-F238E27FC236}">
                    <a16:creationId xmlns:a16="http://schemas.microsoft.com/office/drawing/2014/main" id="{9BB7F240-8CBC-4C0E-ABC1-EA08466D9B6E}"/>
                  </a:ext>
                </a:extLst>
              </p:cNvPr>
              <p:cNvSpPr/>
              <p:nvPr/>
            </p:nvSpPr>
            <p:spPr>
              <a:xfrm>
                <a:off x="4333491" y="2598932"/>
                <a:ext cx="80553" cy="92465"/>
              </a:xfrm>
              <a:custGeom>
                <a:avLst/>
                <a:gdLst>
                  <a:gd name="connsiteX0" fmla="*/ 20561 w 80553"/>
                  <a:gd name="connsiteY0" fmla="*/ 92466 h 92465"/>
                  <a:gd name="connsiteX1" fmla="*/ 8190 w 80553"/>
                  <a:gd name="connsiteY1" fmla="*/ 88600 h 92465"/>
                  <a:gd name="connsiteX2" fmla="*/ 4324 w 80553"/>
                  <a:gd name="connsiteY2" fmla="*/ 59993 h 92465"/>
                  <a:gd name="connsiteX3" fmla="*/ 43756 w 80553"/>
                  <a:gd name="connsiteY3" fmla="*/ 8190 h 92465"/>
                  <a:gd name="connsiteX4" fmla="*/ 72363 w 80553"/>
                  <a:gd name="connsiteY4" fmla="*/ 4325 h 92465"/>
                  <a:gd name="connsiteX5" fmla="*/ 76229 w 80553"/>
                  <a:gd name="connsiteY5" fmla="*/ 32932 h 92465"/>
                  <a:gd name="connsiteX6" fmla="*/ 36797 w 80553"/>
                  <a:gd name="connsiteY6" fmla="*/ 84734 h 92465"/>
                  <a:gd name="connsiteX7" fmla="*/ 20561 w 80553"/>
                  <a:gd name="connsiteY7" fmla="*/ 92466 h 92465"/>
                  <a:gd name="connsiteX8" fmla="*/ 20561 w 80553"/>
                  <a:gd name="connsiteY8" fmla="*/ 92466 h 924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0553" h="92465">
                    <a:moveTo>
                      <a:pt x="20561" y="92466"/>
                    </a:moveTo>
                    <a:cubicBezTo>
                      <a:pt x="15922" y="92466"/>
                      <a:pt x="12056" y="90919"/>
                      <a:pt x="8190" y="88600"/>
                    </a:cubicBezTo>
                    <a:cubicBezTo>
                      <a:pt x="-1088" y="81641"/>
                      <a:pt x="-2634" y="69271"/>
                      <a:pt x="4324" y="59993"/>
                    </a:cubicBezTo>
                    <a:lnTo>
                      <a:pt x="43756" y="8190"/>
                    </a:lnTo>
                    <a:cubicBezTo>
                      <a:pt x="50714" y="-1088"/>
                      <a:pt x="63085" y="-2634"/>
                      <a:pt x="72363" y="4325"/>
                    </a:cubicBezTo>
                    <a:cubicBezTo>
                      <a:pt x="81641" y="11283"/>
                      <a:pt x="83187" y="23654"/>
                      <a:pt x="76229" y="32932"/>
                    </a:cubicBezTo>
                    <a:lnTo>
                      <a:pt x="36797" y="84734"/>
                    </a:lnTo>
                    <a:cubicBezTo>
                      <a:pt x="32932" y="90146"/>
                      <a:pt x="26746" y="92466"/>
                      <a:pt x="20561" y="92466"/>
                    </a:cubicBezTo>
                    <a:lnTo>
                      <a:pt x="20561" y="92466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18" name="Forma Livre: Forma 117">
                <a:extLst>
                  <a:ext uri="{FF2B5EF4-FFF2-40B4-BE49-F238E27FC236}">
                    <a16:creationId xmlns:a16="http://schemas.microsoft.com/office/drawing/2014/main" id="{4F418386-1919-4DFA-929C-CE793A90062E}"/>
                  </a:ext>
                </a:extLst>
              </p:cNvPr>
              <p:cNvSpPr/>
              <p:nvPr/>
            </p:nvSpPr>
            <p:spPr>
              <a:xfrm>
                <a:off x="3986797" y="2597844"/>
                <a:ext cx="443802" cy="443798"/>
              </a:xfrm>
              <a:custGeom>
                <a:avLst/>
                <a:gdLst>
                  <a:gd name="connsiteX0" fmla="*/ 221899 w 443802"/>
                  <a:gd name="connsiteY0" fmla="*/ 443798 h 443798"/>
                  <a:gd name="connsiteX1" fmla="*/ 0 w 443802"/>
                  <a:gd name="connsiteY1" fmla="*/ 221899 h 443798"/>
                  <a:gd name="connsiteX2" fmla="*/ 221899 w 443802"/>
                  <a:gd name="connsiteY2" fmla="*/ 0 h 443798"/>
                  <a:gd name="connsiteX3" fmla="*/ 443798 w 443802"/>
                  <a:gd name="connsiteY3" fmla="*/ 221899 h 443798"/>
                  <a:gd name="connsiteX4" fmla="*/ 221899 w 443802"/>
                  <a:gd name="connsiteY4" fmla="*/ 443798 h 443798"/>
                  <a:gd name="connsiteX5" fmla="*/ 221899 w 443802"/>
                  <a:gd name="connsiteY5" fmla="*/ 443798 h 443798"/>
                  <a:gd name="connsiteX6" fmla="*/ 221899 w 443802"/>
                  <a:gd name="connsiteY6" fmla="*/ 40205 h 443798"/>
                  <a:gd name="connsiteX7" fmla="*/ 40978 w 443802"/>
                  <a:gd name="connsiteY7" fmla="*/ 221126 h 443798"/>
                  <a:gd name="connsiteX8" fmla="*/ 221899 w 443802"/>
                  <a:gd name="connsiteY8" fmla="*/ 402047 h 443798"/>
                  <a:gd name="connsiteX9" fmla="*/ 402820 w 443802"/>
                  <a:gd name="connsiteY9" fmla="*/ 221126 h 443798"/>
                  <a:gd name="connsiteX10" fmla="*/ 221899 w 443802"/>
                  <a:gd name="connsiteY10" fmla="*/ 40205 h 443798"/>
                  <a:gd name="connsiteX11" fmla="*/ 221899 w 443802"/>
                  <a:gd name="connsiteY11" fmla="*/ 40205 h 443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43802" h="443798">
                    <a:moveTo>
                      <a:pt x="221899" y="443798"/>
                    </a:moveTo>
                    <a:cubicBezTo>
                      <a:pt x="99739" y="443798"/>
                      <a:pt x="0" y="344060"/>
                      <a:pt x="0" y="221899"/>
                    </a:cubicBezTo>
                    <a:cubicBezTo>
                      <a:pt x="0" y="99739"/>
                      <a:pt x="99739" y="0"/>
                      <a:pt x="221899" y="0"/>
                    </a:cubicBezTo>
                    <a:cubicBezTo>
                      <a:pt x="344060" y="0"/>
                      <a:pt x="443798" y="99739"/>
                      <a:pt x="443798" y="221899"/>
                    </a:cubicBezTo>
                    <a:cubicBezTo>
                      <a:pt x="444572" y="344060"/>
                      <a:pt x="344833" y="443798"/>
                      <a:pt x="221899" y="443798"/>
                    </a:cubicBezTo>
                    <a:lnTo>
                      <a:pt x="221899" y="443798"/>
                    </a:lnTo>
                    <a:close/>
                    <a:moveTo>
                      <a:pt x="221899" y="40205"/>
                    </a:moveTo>
                    <a:cubicBezTo>
                      <a:pt x="122160" y="40205"/>
                      <a:pt x="40978" y="121387"/>
                      <a:pt x="40978" y="221126"/>
                    </a:cubicBezTo>
                    <a:cubicBezTo>
                      <a:pt x="40978" y="320865"/>
                      <a:pt x="122160" y="402047"/>
                      <a:pt x="221899" y="402047"/>
                    </a:cubicBezTo>
                    <a:cubicBezTo>
                      <a:pt x="321638" y="402047"/>
                      <a:pt x="402820" y="320865"/>
                      <a:pt x="402820" y="221126"/>
                    </a:cubicBezTo>
                    <a:cubicBezTo>
                      <a:pt x="402820" y="121387"/>
                      <a:pt x="321638" y="40205"/>
                      <a:pt x="221899" y="40205"/>
                    </a:cubicBezTo>
                    <a:lnTo>
                      <a:pt x="221899" y="40205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19" name="Forma Livre: Forma 118">
                <a:extLst>
                  <a:ext uri="{FF2B5EF4-FFF2-40B4-BE49-F238E27FC236}">
                    <a16:creationId xmlns:a16="http://schemas.microsoft.com/office/drawing/2014/main" id="{A401FC40-130A-4554-ADE9-6E370C70E895}"/>
                  </a:ext>
                </a:extLst>
              </p:cNvPr>
              <p:cNvSpPr/>
              <p:nvPr/>
            </p:nvSpPr>
            <p:spPr>
              <a:xfrm>
                <a:off x="4187821" y="2662017"/>
                <a:ext cx="41750" cy="177828"/>
              </a:xfrm>
              <a:custGeom>
                <a:avLst/>
                <a:gdLst>
                  <a:gd name="connsiteX0" fmla="*/ 20876 w 41750"/>
                  <a:gd name="connsiteY0" fmla="*/ 177829 h 177828"/>
                  <a:gd name="connsiteX1" fmla="*/ 0 w 41750"/>
                  <a:gd name="connsiteY1" fmla="*/ 156953 h 177828"/>
                  <a:gd name="connsiteX2" fmla="*/ 0 w 41750"/>
                  <a:gd name="connsiteY2" fmla="*/ 20876 h 177828"/>
                  <a:gd name="connsiteX3" fmla="*/ 20876 w 41750"/>
                  <a:gd name="connsiteY3" fmla="*/ 0 h 177828"/>
                  <a:gd name="connsiteX4" fmla="*/ 41751 w 41750"/>
                  <a:gd name="connsiteY4" fmla="*/ 20876 h 177828"/>
                  <a:gd name="connsiteX5" fmla="*/ 41751 w 41750"/>
                  <a:gd name="connsiteY5" fmla="*/ 156953 h 177828"/>
                  <a:gd name="connsiteX6" fmla="*/ 20876 w 41750"/>
                  <a:gd name="connsiteY6" fmla="*/ 177829 h 177828"/>
                  <a:gd name="connsiteX7" fmla="*/ 20876 w 41750"/>
                  <a:gd name="connsiteY7" fmla="*/ 177829 h 1778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50" h="177828">
                    <a:moveTo>
                      <a:pt x="20876" y="177829"/>
                    </a:moveTo>
                    <a:cubicBezTo>
                      <a:pt x="9278" y="177829"/>
                      <a:pt x="0" y="168551"/>
                      <a:pt x="0" y="156953"/>
                    </a:cubicBezTo>
                    <a:lnTo>
                      <a:pt x="0" y="20876"/>
                    </a:lnTo>
                    <a:cubicBezTo>
                      <a:pt x="0" y="9278"/>
                      <a:pt x="9278" y="0"/>
                      <a:pt x="20876" y="0"/>
                    </a:cubicBezTo>
                    <a:cubicBezTo>
                      <a:pt x="32473" y="0"/>
                      <a:pt x="41751" y="9278"/>
                      <a:pt x="41751" y="20876"/>
                    </a:cubicBezTo>
                    <a:lnTo>
                      <a:pt x="41751" y="156953"/>
                    </a:lnTo>
                    <a:cubicBezTo>
                      <a:pt x="41751" y="168551"/>
                      <a:pt x="32473" y="177829"/>
                      <a:pt x="20876" y="177829"/>
                    </a:cubicBezTo>
                    <a:lnTo>
                      <a:pt x="20876" y="177829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20" name="Forma Livre: Forma 119">
                <a:extLst>
                  <a:ext uri="{FF2B5EF4-FFF2-40B4-BE49-F238E27FC236}">
                    <a16:creationId xmlns:a16="http://schemas.microsoft.com/office/drawing/2014/main" id="{7EA8D4AF-532F-49C5-B3A5-36F93A0B07B5}"/>
                  </a:ext>
                </a:extLst>
              </p:cNvPr>
              <p:cNvSpPr/>
              <p:nvPr/>
            </p:nvSpPr>
            <p:spPr>
              <a:xfrm>
                <a:off x="4132152" y="2531351"/>
                <a:ext cx="153087" cy="41751"/>
              </a:xfrm>
              <a:custGeom>
                <a:avLst/>
                <a:gdLst>
                  <a:gd name="connsiteX0" fmla="*/ 132212 w 153087"/>
                  <a:gd name="connsiteY0" fmla="*/ 41751 h 41751"/>
                  <a:gd name="connsiteX1" fmla="*/ 20876 w 153087"/>
                  <a:gd name="connsiteY1" fmla="*/ 41751 h 41751"/>
                  <a:gd name="connsiteX2" fmla="*/ 0 w 153087"/>
                  <a:gd name="connsiteY2" fmla="*/ 20876 h 41751"/>
                  <a:gd name="connsiteX3" fmla="*/ 20876 w 153087"/>
                  <a:gd name="connsiteY3" fmla="*/ 0 h 41751"/>
                  <a:gd name="connsiteX4" fmla="*/ 132212 w 153087"/>
                  <a:gd name="connsiteY4" fmla="*/ 0 h 41751"/>
                  <a:gd name="connsiteX5" fmla="*/ 153087 w 153087"/>
                  <a:gd name="connsiteY5" fmla="*/ 20876 h 41751"/>
                  <a:gd name="connsiteX6" fmla="*/ 132212 w 153087"/>
                  <a:gd name="connsiteY6" fmla="*/ 41751 h 41751"/>
                  <a:gd name="connsiteX7" fmla="*/ 132212 w 153087"/>
                  <a:gd name="connsiteY7" fmla="*/ 41751 h 41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3087" h="41751">
                    <a:moveTo>
                      <a:pt x="132212" y="41751"/>
                    </a:moveTo>
                    <a:lnTo>
                      <a:pt x="20876" y="41751"/>
                    </a:lnTo>
                    <a:cubicBezTo>
                      <a:pt x="9278" y="41751"/>
                      <a:pt x="0" y="32473"/>
                      <a:pt x="0" y="20876"/>
                    </a:cubicBezTo>
                    <a:cubicBezTo>
                      <a:pt x="0" y="9278"/>
                      <a:pt x="9278" y="0"/>
                      <a:pt x="20876" y="0"/>
                    </a:cubicBezTo>
                    <a:lnTo>
                      <a:pt x="132212" y="0"/>
                    </a:lnTo>
                    <a:cubicBezTo>
                      <a:pt x="143809" y="0"/>
                      <a:pt x="153087" y="9278"/>
                      <a:pt x="153087" y="20876"/>
                    </a:cubicBezTo>
                    <a:cubicBezTo>
                      <a:pt x="153087" y="33246"/>
                      <a:pt x="143809" y="41751"/>
                      <a:pt x="132212" y="41751"/>
                    </a:cubicBezTo>
                    <a:lnTo>
                      <a:pt x="132212" y="41751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21" name="Forma Livre: Forma 120">
                <a:extLst>
                  <a:ext uri="{FF2B5EF4-FFF2-40B4-BE49-F238E27FC236}">
                    <a16:creationId xmlns:a16="http://schemas.microsoft.com/office/drawing/2014/main" id="{20C76C01-3FCA-4270-B383-118B311FD0A5}"/>
                  </a:ext>
                </a:extLst>
              </p:cNvPr>
              <p:cNvSpPr/>
              <p:nvPr/>
            </p:nvSpPr>
            <p:spPr>
              <a:xfrm>
                <a:off x="4187821" y="2548361"/>
                <a:ext cx="41750" cy="89687"/>
              </a:xfrm>
              <a:custGeom>
                <a:avLst/>
                <a:gdLst>
                  <a:gd name="connsiteX0" fmla="*/ 20876 w 41750"/>
                  <a:gd name="connsiteY0" fmla="*/ 89688 h 89687"/>
                  <a:gd name="connsiteX1" fmla="*/ 0 w 41750"/>
                  <a:gd name="connsiteY1" fmla="*/ 68812 h 89687"/>
                  <a:gd name="connsiteX2" fmla="*/ 0 w 41750"/>
                  <a:gd name="connsiteY2" fmla="*/ 20875 h 89687"/>
                  <a:gd name="connsiteX3" fmla="*/ 20876 w 41750"/>
                  <a:gd name="connsiteY3" fmla="*/ 0 h 89687"/>
                  <a:gd name="connsiteX4" fmla="*/ 41751 w 41750"/>
                  <a:gd name="connsiteY4" fmla="*/ 20875 h 89687"/>
                  <a:gd name="connsiteX5" fmla="*/ 41751 w 41750"/>
                  <a:gd name="connsiteY5" fmla="*/ 68812 h 89687"/>
                  <a:gd name="connsiteX6" fmla="*/ 20876 w 41750"/>
                  <a:gd name="connsiteY6" fmla="*/ 89688 h 89687"/>
                  <a:gd name="connsiteX7" fmla="*/ 20876 w 41750"/>
                  <a:gd name="connsiteY7" fmla="*/ 89688 h 89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50" h="89687">
                    <a:moveTo>
                      <a:pt x="20876" y="89688"/>
                    </a:moveTo>
                    <a:cubicBezTo>
                      <a:pt x="9278" y="89688"/>
                      <a:pt x="0" y="80409"/>
                      <a:pt x="0" y="68812"/>
                    </a:cubicBezTo>
                    <a:lnTo>
                      <a:pt x="0" y="20875"/>
                    </a:lnTo>
                    <a:cubicBezTo>
                      <a:pt x="0" y="9278"/>
                      <a:pt x="9278" y="0"/>
                      <a:pt x="20876" y="0"/>
                    </a:cubicBezTo>
                    <a:cubicBezTo>
                      <a:pt x="32473" y="0"/>
                      <a:pt x="41751" y="9278"/>
                      <a:pt x="41751" y="20875"/>
                    </a:cubicBezTo>
                    <a:lnTo>
                      <a:pt x="41751" y="68812"/>
                    </a:lnTo>
                    <a:cubicBezTo>
                      <a:pt x="41751" y="80409"/>
                      <a:pt x="32473" y="89688"/>
                      <a:pt x="20876" y="89688"/>
                    </a:cubicBezTo>
                    <a:lnTo>
                      <a:pt x="20876" y="89688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122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6377793" y="2621229"/>
              <a:ext cx="414114" cy="366944"/>
              <a:chOff x="6451656" y="2549907"/>
              <a:chExt cx="522661" cy="463127"/>
            </a:xfrm>
            <a:solidFill>
              <a:srgbClr val="B1B1A1"/>
            </a:solidFill>
          </p:grpSpPr>
          <p:sp>
            <p:nvSpPr>
              <p:cNvPr id="123" name="Forma Livre: Forma 122">
                <a:extLst>
                  <a:ext uri="{FF2B5EF4-FFF2-40B4-BE49-F238E27FC236}">
                    <a16:creationId xmlns:a16="http://schemas.microsoft.com/office/drawing/2014/main" id="{1B913AD2-267A-470C-BB3F-E09C428B81B7}"/>
                  </a:ext>
                </a:extLst>
              </p:cNvPr>
              <p:cNvSpPr/>
              <p:nvPr/>
            </p:nvSpPr>
            <p:spPr>
              <a:xfrm>
                <a:off x="6653453" y="2615627"/>
                <a:ext cx="41751" cy="177828"/>
              </a:xfrm>
              <a:custGeom>
                <a:avLst/>
                <a:gdLst>
                  <a:gd name="connsiteX0" fmla="*/ 20876 w 41751"/>
                  <a:gd name="connsiteY0" fmla="*/ 177829 h 177828"/>
                  <a:gd name="connsiteX1" fmla="*/ 0 w 41751"/>
                  <a:gd name="connsiteY1" fmla="*/ 156953 h 177828"/>
                  <a:gd name="connsiteX2" fmla="*/ 0 w 41751"/>
                  <a:gd name="connsiteY2" fmla="*/ 20876 h 177828"/>
                  <a:gd name="connsiteX3" fmla="*/ 20876 w 41751"/>
                  <a:gd name="connsiteY3" fmla="*/ 0 h 177828"/>
                  <a:gd name="connsiteX4" fmla="*/ 41751 w 41751"/>
                  <a:gd name="connsiteY4" fmla="*/ 20876 h 177828"/>
                  <a:gd name="connsiteX5" fmla="*/ 41751 w 41751"/>
                  <a:gd name="connsiteY5" fmla="*/ 156953 h 177828"/>
                  <a:gd name="connsiteX6" fmla="*/ 20876 w 41751"/>
                  <a:gd name="connsiteY6" fmla="*/ 177829 h 177828"/>
                  <a:gd name="connsiteX7" fmla="*/ 20876 w 41751"/>
                  <a:gd name="connsiteY7" fmla="*/ 177829 h 1778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51" h="177828">
                    <a:moveTo>
                      <a:pt x="20876" y="177829"/>
                    </a:moveTo>
                    <a:cubicBezTo>
                      <a:pt x="9278" y="177829"/>
                      <a:pt x="0" y="168551"/>
                      <a:pt x="0" y="156953"/>
                    </a:cubicBezTo>
                    <a:lnTo>
                      <a:pt x="0" y="20876"/>
                    </a:lnTo>
                    <a:cubicBezTo>
                      <a:pt x="0" y="9278"/>
                      <a:pt x="9278" y="0"/>
                      <a:pt x="20876" y="0"/>
                    </a:cubicBezTo>
                    <a:cubicBezTo>
                      <a:pt x="32473" y="0"/>
                      <a:pt x="41751" y="9278"/>
                      <a:pt x="41751" y="20876"/>
                    </a:cubicBezTo>
                    <a:lnTo>
                      <a:pt x="41751" y="156953"/>
                    </a:lnTo>
                    <a:cubicBezTo>
                      <a:pt x="41751" y="168551"/>
                      <a:pt x="32473" y="177829"/>
                      <a:pt x="20876" y="177829"/>
                    </a:cubicBezTo>
                    <a:lnTo>
                      <a:pt x="20876" y="177829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24" name="Forma Livre: Forma 123">
                <a:extLst>
                  <a:ext uri="{FF2B5EF4-FFF2-40B4-BE49-F238E27FC236}">
                    <a16:creationId xmlns:a16="http://schemas.microsoft.com/office/drawing/2014/main" id="{CCEEEB5B-A48F-4D87-8E8A-71DFF24DB972}"/>
                  </a:ext>
                </a:extLst>
              </p:cNvPr>
              <p:cNvSpPr/>
              <p:nvPr/>
            </p:nvSpPr>
            <p:spPr>
              <a:xfrm>
                <a:off x="6653453" y="2549907"/>
                <a:ext cx="41751" cy="54121"/>
              </a:xfrm>
              <a:custGeom>
                <a:avLst/>
                <a:gdLst>
                  <a:gd name="connsiteX0" fmla="*/ 20876 w 41751"/>
                  <a:gd name="connsiteY0" fmla="*/ 54122 h 54121"/>
                  <a:gd name="connsiteX1" fmla="*/ 0 w 41751"/>
                  <a:gd name="connsiteY1" fmla="*/ 33246 h 54121"/>
                  <a:gd name="connsiteX2" fmla="*/ 0 w 41751"/>
                  <a:gd name="connsiteY2" fmla="*/ 20876 h 54121"/>
                  <a:gd name="connsiteX3" fmla="*/ 20876 w 41751"/>
                  <a:gd name="connsiteY3" fmla="*/ 0 h 54121"/>
                  <a:gd name="connsiteX4" fmla="*/ 41751 w 41751"/>
                  <a:gd name="connsiteY4" fmla="*/ 20876 h 54121"/>
                  <a:gd name="connsiteX5" fmla="*/ 41751 w 41751"/>
                  <a:gd name="connsiteY5" fmla="*/ 33246 h 54121"/>
                  <a:gd name="connsiteX6" fmla="*/ 20876 w 41751"/>
                  <a:gd name="connsiteY6" fmla="*/ 54122 h 54121"/>
                  <a:gd name="connsiteX7" fmla="*/ 20876 w 41751"/>
                  <a:gd name="connsiteY7" fmla="*/ 54122 h 54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51" h="54121">
                    <a:moveTo>
                      <a:pt x="20876" y="54122"/>
                    </a:moveTo>
                    <a:cubicBezTo>
                      <a:pt x="9278" y="54122"/>
                      <a:pt x="0" y="44844"/>
                      <a:pt x="0" y="33246"/>
                    </a:cubicBezTo>
                    <a:lnTo>
                      <a:pt x="0" y="20876"/>
                    </a:lnTo>
                    <a:cubicBezTo>
                      <a:pt x="0" y="9278"/>
                      <a:pt x="9278" y="0"/>
                      <a:pt x="20876" y="0"/>
                    </a:cubicBezTo>
                    <a:cubicBezTo>
                      <a:pt x="32473" y="0"/>
                      <a:pt x="41751" y="9278"/>
                      <a:pt x="41751" y="20876"/>
                    </a:cubicBezTo>
                    <a:lnTo>
                      <a:pt x="41751" y="33246"/>
                    </a:lnTo>
                    <a:cubicBezTo>
                      <a:pt x="41751" y="44844"/>
                      <a:pt x="32473" y="54122"/>
                      <a:pt x="20876" y="54122"/>
                    </a:cubicBezTo>
                    <a:lnTo>
                      <a:pt x="20876" y="54122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25" name="Forma Livre: Forma 124">
                <a:extLst>
                  <a:ext uri="{FF2B5EF4-FFF2-40B4-BE49-F238E27FC236}">
                    <a16:creationId xmlns:a16="http://schemas.microsoft.com/office/drawing/2014/main" id="{F98DF7E9-4547-4847-AE26-6377FC75FBF4}"/>
                  </a:ext>
                </a:extLst>
              </p:cNvPr>
              <p:cNvSpPr/>
              <p:nvPr/>
            </p:nvSpPr>
            <p:spPr>
              <a:xfrm>
                <a:off x="6653453" y="2941130"/>
                <a:ext cx="41751" cy="54121"/>
              </a:xfrm>
              <a:custGeom>
                <a:avLst/>
                <a:gdLst>
                  <a:gd name="connsiteX0" fmla="*/ 20876 w 41751"/>
                  <a:gd name="connsiteY0" fmla="*/ 54122 h 54121"/>
                  <a:gd name="connsiteX1" fmla="*/ 0 w 41751"/>
                  <a:gd name="connsiteY1" fmla="*/ 33246 h 54121"/>
                  <a:gd name="connsiteX2" fmla="*/ 0 w 41751"/>
                  <a:gd name="connsiteY2" fmla="*/ 20876 h 54121"/>
                  <a:gd name="connsiteX3" fmla="*/ 20876 w 41751"/>
                  <a:gd name="connsiteY3" fmla="*/ 0 h 54121"/>
                  <a:gd name="connsiteX4" fmla="*/ 41751 w 41751"/>
                  <a:gd name="connsiteY4" fmla="*/ 20876 h 54121"/>
                  <a:gd name="connsiteX5" fmla="*/ 41751 w 41751"/>
                  <a:gd name="connsiteY5" fmla="*/ 33246 h 54121"/>
                  <a:gd name="connsiteX6" fmla="*/ 20876 w 41751"/>
                  <a:gd name="connsiteY6" fmla="*/ 54122 h 54121"/>
                  <a:gd name="connsiteX7" fmla="*/ 20876 w 41751"/>
                  <a:gd name="connsiteY7" fmla="*/ 54122 h 54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51" h="54121">
                    <a:moveTo>
                      <a:pt x="20876" y="54122"/>
                    </a:moveTo>
                    <a:cubicBezTo>
                      <a:pt x="9278" y="54122"/>
                      <a:pt x="0" y="44844"/>
                      <a:pt x="0" y="33246"/>
                    </a:cubicBezTo>
                    <a:lnTo>
                      <a:pt x="0" y="20876"/>
                    </a:lnTo>
                    <a:cubicBezTo>
                      <a:pt x="0" y="9278"/>
                      <a:pt x="9278" y="0"/>
                      <a:pt x="20876" y="0"/>
                    </a:cubicBezTo>
                    <a:cubicBezTo>
                      <a:pt x="32473" y="0"/>
                      <a:pt x="41751" y="9278"/>
                      <a:pt x="41751" y="20876"/>
                    </a:cubicBezTo>
                    <a:lnTo>
                      <a:pt x="41751" y="33246"/>
                    </a:lnTo>
                    <a:cubicBezTo>
                      <a:pt x="41751" y="44844"/>
                      <a:pt x="32473" y="54122"/>
                      <a:pt x="20876" y="54122"/>
                    </a:cubicBezTo>
                    <a:lnTo>
                      <a:pt x="20876" y="54122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26" name="Forma Livre: Forma 125">
                <a:extLst>
                  <a:ext uri="{FF2B5EF4-FFF2-40B4-BE49-F238E27FC236}">
                    <a16:creationId xmlns:a16="http://schemas.microsoft.com/office/drawing/2014/main" id="{34071BBF-18ED-410B-97CB-EC1035DE3111}"/>
                  </a:ext>
                </a:extLst>
              </p:cNvPr>
              <p:cNvSpPr/>
              <p:nvPr/>
            </p:nvSpPr>
            <p:spPr>
              <a:xfrm>
                <a:off x="6451656" y="2751704"/>
                <a:ext cx="54121" cy="41751"/>
              </a:xfrm>
              <a:custGeom>
                <a:avLst/>
                <a:gdLst>
                  <a:gd name="connsiteX0" fmla="*/ 33246 w 54121"/>
                  <a:gd name="connsiteY0" fmla="*/ 41751 h 41751"/>
                  <a:gd name="connsiteX1" fmla="*/ 20876 w 54121"/>
                  <a:gd name="connsiteY1" fmla="*/ 41751 h 41751"/>
                  <a:gd name="connsiteX2" fmla="*/ 0 w 54121"/>
                  <a:gd name="connsiteY2" fmla="*/ 20876 h 41751"/>
                  <a:gd name="connsiteX3" fmla="*/ 20876 w 54121"/>
                  <a:gd name="connsiteY3" fmla="*/ 0 h 41751"/>
                  <a:gd name="connsiteX4" fmla="*/ 33246 w 54121"/>
                  <a:gd name="connsiteY4" fmla="*/ 0 h 41751"/>
                  <a:gd name="connsiteX5" fmla="*/ 54122 w 54121"/>
                  <a:gd name="connsiteY5" fmla="*/ 20876 h 41751"/>
                  <a:gd name="connsiteX6" fmla="*/ 33246 w 54121"/>
                  <a:gd name="connsiteY6" fmla="*/ 41751 h 41751"/>
                  <a:gd name="connsiteX7" fmla="*/ 33246 w 54121"/>
                  <a:gd name="connsiteY7" fmla="*/ 41751 h 41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4121" h="41751">
                    <a:moveTo>
                      <a:pt x="33246" y="41751"/>
                    </a:moveTo>
                    <a:lnTo>
                      <a:pt x="20876" y="41751"/>
                    </a:lnTo>
                    <a:cubicBezTo>
                      <a:pt x="9278" y="41751"/>
                      <a:pt x="0" y="32473"/>
                      <a:pt x="0" y="20876"/>
                    </a:cubicBezTo>
                    <a:cubicBezTo>
                      <a:pt x="0" y="9278"/>
                      <a:pt x="9278" y="0"/>
                      <a:pt x="20876" y="0"/>
                    </a:cubicBezTo>
                    <a:lnTo>
                      <a:pt x="33246" y="0"/>
                    </a:lnTo>
                    <a:cubicBezTo>
                      <a:pt x="44844" y="0"/>
                      <a:pt x="54122" y="9278"/>
                      <a:pt x="54122" y="20876"/>
                    </a:cubicBezTo>
                    <a:cubicBezTo>
                      <a:pt x="54122" y="32473"/>
                      <a:pt x="44844" y="41751"/>
                      <a:pt x="33246" y="41751"/>
                    </a:cubicBezTo>
                    <a:lnTo>
                      <a:pt x="33246" y="41751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grpSp>
            <p:nvGrpSpPr>
              <p:cNvPr id="127" name="Gráfico 2">
                <a:extLst>
                  <a:ext uri="{FF2B5EF4-FFF2-40B4-BE49-F238E27FC236}">
                    <a16:creationId xmlns:a16="http://schemas.microsoft.com/office/drawing/2014/main" id="{6FEF66BF-8D1E-4FFA-95A2-6EE56886837B}"/>
                  </a:ext>
                </a:extLst>
              </p:cNvPr>
              <p:cNvGrpSpPr/>
              <p:nvPr/>
            </p:nvGrpSpPr>
            <p:grpSpPr>
              <a:xfrm>
                <a:off x="6505916" y="2604167"/>
                <a:ext cx="269559" cy="337736"/>
                <a:chOff x="6505916" y="2604167"/>
                <a:chExt cx="269559" cy="337736"/>
              </a:xfrm>
              <a:grpFill/>
            </p:grpSpPr>
            <p:sp>
              <p:nvSpPr>
                <p:cNvPr id="128" name="Forma Livre: Forma 127">
                  <a:extLst>
                    <a:ext uri="{FF2B5EF4-FFF2-40B4-BE49-F238E27FC236}">
                      <a16:creationId xmlns:a16="http://schemas.microsoft.com/office/drawing/2014/main" id="{EFD5A54F-014B-4E77-AC86-95064E6C4AF2}"/>
                    </a:ext>
                  </a:extLst>
                </p:cNvPr>
                <p:cNvSpPr/>
                <p:nvPr/>
              </p:nvSpPr>
              <p:spPr>
                <a:xfrm>
                  <a:off x="6749464" y="2604167"/>
                  <a:ext cx="26011" cy="30015"/>
                </a:xfrm>
                <a:custGeom>
                  <a:avLst/>
                  <a:gdLst>
                    <a:gd name="connsiteX0" fmla="*/ 10686 w 26011"/>
                    <a:gd name="connsiteY0" fmla="*/ 30015 h 30015"/>
                    <a:gd name="connsiteX1" fmla="*/ 5274 w 26011"/>
                    <a:gd name="connsiteY1" fmla="*/ 28469 h 30015"/>
                    <a:gd name="connsiteX2" fmla="*/ 1408 w 26011"/>
                    <a:gd name="connsiteY2" fmla="*/ 14552 h 30015"/>
                    <a:gd name="connsiteX3" fmla="*/ 6821 w 26011"/>
                    <a:gd name="connsiteY3" fmla="*/ 5274 h 30015"/>
                    <a:gd name="connsiteX4" fmla="*/ 20738 w 26011"/>
                    <a:gd name="connsiteY4" fmla="*/ 1408 h 30015"/>
                    <a:gd name="connsiteX5" fmla="*/ 24603 w 26011"/>
                    <a:gd name="connsiteY5" fmla="*/ 15325 h 30015"/>
                    <a:gd name="connsiteX6" fmla="*/ 19191 w 26011"/>
                    <a:gd name="connsiteY6" fmla="*/ 24603 h 30015"/>
                    <a:gd name="connsiteX7" fmla="*/ 10686 w 26011"/>
                    <a:gd name="connsiteY7" fmla="*/ 30015 h 30015"/>
                    <a:gd name="connsiteX8" fmla="*/ 10686 w 26011"/>
                    <a:gd name="connsiteY8" fmla="*/ 30015 h 30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6011" h="30015">
                      <a:moveTo>
                        <a:pt x="10686" y="30015"/>
                      </a:moveTo>
                      <a:cubicBezTo>
                        <a:pt x="9140" y="30015"/>
                        <a:pt x="6821" y="29242"/>
                        <a:pt x="5274" y="28469"/>
                      </a:cubicBezTo>
                      <a:cubicBezTo>
                        <a:pt x="635" y="25376"/>
                        <a:pt x="-1685" y="19191"/>
                        <a:pt x="1408" y="14552"/>
                      </a:cubicBezTo>
                      <a:lnTo>
                        <a:pt x="6821" y="5274"/>
                      </a:lnTo>
                      <a:cubicBezTo>
                        <a:pt x="9913" y="635"/>
                        <a:pt x="16098" y="-1684"/>
                        <a:pt x="20738" y="1408"/>
                      </a:cubicBezTo>
                      <a:cubicBezTo>
                        <a:pt x="25376" y="4501"/>
                        <a:pt x="27696" y="10686"/>
                        <a:pt x="24603" y="15325"/>
                      </a:cubicBezTo>
                      <a:lnTo>
                        <a:pt x="19191" y="24603"/>
                      </a:lnTo>
                      <a:cubicBezTo>
                        <a:pt x="18418" y="27696"/>
                        <a:pt x="14552" y="30015"/>
                        <a:pt x="10686" y="30015"/>
                      </a:cubicBezTo>
                      <a:lnTo>
                        <a:pt x="10686" y="30015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129" name="Forma Livre: Forma 128">
                  <a:extLst>
                    <a:ext uri="{FF2B5EF4-FFF2-40B4-BE49-F238E27FC236}">
                      <a16:creationId xmlns:a16="http://schemas.microsoft.com/office/drawing/2014/main" id="{2D1DC7AA-926A-49DD-9193-855842F88417}"/>
                    </a:ext>
                  </a:extLst>
                </p:cNvPr>
                <p:cNvSpPr/>
                <p:nvPr/>
              </p:nvSpPr>
              <p:spPr>
                <a:xfrm>
                  <a:off x="6572409" y="2911888"/>
                  <a:ext cx="26011" cy="30015"/>
                </a:xfrm>
                <a:custGeom>
                  <a:avLst/>
                  <a:gdLst>
                    <a:gd name="connsiteX0" fmla="*/ 10686 w 26011"/>
                    <a:gd name="connsiteY0" fmla="*/ 30015 h 30015"/>
                    <a:gd name="connsiteX1" fmla="*/ 5274 w 26011"/>
                    <a:gd name="connsiteY1" fmla="*/ 28469 h 30015"/>
                    <a:gd name="connsiteX2" fmla="*/ 1408 w 26011"/>
                    <a:gd name="connsiteY2" fmla="*/ 14552 h 30015"/>
                    <a:gd name="connsiteX3" fmla="*/ 6820 w 26011"/>
                    <a:gd name="connsiteY3" fmla="*/ 5274 h 30015"/>
                    <a:gd name="connsiteX4" fmla="*/ 20737 w 26011"/>
                    <a:gd name="connsiteY4" fmla="*/ 1408 h 30015"/>
                    <a:gd name="connsiteX5" fmla="*/ 24603 w 26011"/>
                    <a:gd name="connsiteY5" fmla="*/ 15325 h 30015"/>
                    <a:gd name="connsiteX6" fmla="*/ 19191 w 26011"/>
                    <a:gd name="connsiteY6" fmla="*/ 24603 h 30015"/>
                    <a:gd name="connsiteX7" fmla="*/ 10686 w 26011"/>
                    <a:gd name="connsiteY7" fmla="*/ 30015 h 30015"/>
                    <a:gd name="connsiteX8" fmla="*/ 10686 w 26011"/>
                    <a:gd name="connsiteY8" fmla="*/ 30015 h 30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6011" h="30015">
                      <a:moveTo>
                        <a:pt x="10686" y="30015"/>
                      </a:moveTo>
                      <a:cubicBezTo>
                        <a:pt x="9140" y="30015"/>
                        <a:pt x="6820" y="29242"/>
                        <a:pt x="5274" y="28469"/>
                      </a:cubicBezTo>
                      <a:cubicBezTo>
                        <a:pt x="635" y="25376"/>
                        <a:pt x="-1684" y="19191"/>
                        <a:pt x="1408" y="14552"/>
                      </a:cubicBezTo>
                      <a:lnTo>
                        <a:pt x="6820" y="5274"/>
                      </a:lnTo>
                      <a:cubicBezTo>
                        <a:pt x="9913" y="635"/>
                        <a:pt x="16098" y="-1684"/>
                        <a:pt x="20737" y="1408"/>
                      </a:cubicBezTo>
                      <a:cubicBezTo>
                        <a:pt x="25377" y="4501"/>
                        <a:pt x="27696" y="10686"/>
                        <a:pt x="24603" y="15325"/>
                      </a:cubicBezTo>
                      <a:lnTo>
                        <a:pt x="19191" y="24603"/>
                      </a:lnTo>
                      <a:cubicBezTo>
                        <a:pt x="17645" y="27696"/>
                        <a:pt x="13779" y="30015"/>
                        <a:pt x="10686" y="30015"/>
                      </a:cubicBezTo>
                      <a:lnTo>
                        <a:pt x="10686" y="30015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130" name="Forma Livre: Forma 129">
                  <a:extLst>
                    <a:ext uri="{FF2B5EF4-FFF2-40B4-BE49-F238E27FC236}">
                      <a16:creationId xmlns:a16="http://schemas.microsoft.com/office/drawing/2014/main" id="{B936C628-941B-4113-87F7-749A4F17071A}"/>
                    </a:ext>
                  </a:extLst>
                </p:cNvPr>
                <p:cNvSpPr/>
                <p:nvPr/>
              </p:nvSpPr>
              <p:spPr>
                <a:xfrm>
                  <a:off x="6505916" y="2670660"/>
                  <a:ext cx="29877" cy="26149"/>
                </a:xfrm>
                <a:custGeom>
                  <a:avLst/>
                  <a:gdLst>
                    <a:gd name="connsiteX0" fmla="*/ 19964 w 29877"/>
                    <a:gd name="connsiteY0" fmla="*/ 26149 h 26149"/>
                    <a:gd name="connsiteX1" fmla="*/ 14552 w 29877"/>
                    <a:gd name="connsiteY1" fmla="*/ 24603 h 26149"/>
                    <a:gd name="connsiteX2" fmla="*/ 5274 w 29877"/>
                    <a:gd name="connsiteY2" fmla="*/ 19191 h 26149"/>
                    <a:gd name="connsiteX3" fmla="*/ 1408 w 29877"/>
                    <a:gd name="connsiteY3" fmla="*/ 5274 h 26149"/>
                    <a:gd name="connsiteX4" fmla="*/ 15325 w 29877"/>
                    <a:gd name="connsiteY4" fmla="*/ 1408 h 26149"/>
                    <a:gd name="connsiteX5" fmla="*/ 24603 w 29877"/>
                    <a:gd name="connsiteY5" fmla="*/ 6820 h 26149"/>
                    <a:gd name="connsiteX6" fmla="*/ 28469 w 29877"/>
                    <a:gd name="connsiteY6" fmla="*/ 20737 h 26149"/>
                    <a:gd name="connsiteX7" fmla="*/ 19964 w 29877"/>
                    <a:gd name="connsiteY7" fmla="*/ 26149 h 26149"/>
                    <a:gd name="connsiteX8" fmla="*/ 19964 w 29877"/>
                    <a:gd name="connsiteY8" fmla="*/ 26149 h 261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9877" h="26149">
                      <a:moveTo>
                        <a:pt x="19964" y="26149"/>
                      </a:moveTo>
                      <a:cubicBezTo>
                        <a:pt x="18418" y="26149"/>
                        <a:pt x="16098" y="25376"/>
                        <a:pt x="14552" y="24603"/>
                      </a:cubicBezTo>
                      <a:lnTo>
                        <a:pt x="5274" y="19191"/>
                      </a:lnTo>
                      <a:cubicBezTo>
                        <a:pt x="635" y="16098"/>
                        <a:pt x="-1685" y="9913"/>
                        <a:pt x="1408" y="5274"/>
                      </a:cubicBezTo>
                      <a:cubicBezTo>
                        <a:pt x="4501" y="635"/>
                        <a:pt x="10686" y="-1684"/>
                        <a:pt x="15325" y="1408"/>
                      </a:cubicBezTo>
                      <a:lnTo>
                        <a:pt x="24603" y="6820"/>
                      </a:lnTo>
                      <a:cubicBezTo>
                        <a:pt x="29242" y="9913"/>
                        <a:pt x="31562" y="16098"/>
                        <a:pt x="28469" y="20737"/>
                      </a:cubicBezTo>
                      <a:cubicBezTo>
                        <a:pt x="26923" y="24603"/>
                        <a:pt x="23057" y="26149"/>
                        <a:pt x="19964" y="26149"/>
                      </a:cubicBezTo>
                      <a:lnTo>
                        <a:pt x="19964" y="26149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grpSp>
            <p:nvGrpSpPr>
              <p:cNvPr id="131" name="Gráfico 2">
                <a:extLst>
                  <a:ext uri="{FF2B5EF4-FFF2-40B4-BE49-F238E27FC236}">
                    <a16:creationId xmlns:a16="http://schemas.microsoft.com/office/drawing/2014/main" id="{6FEF66BF-8D1E-4FFA-95A2-6EE56886837B}"/>
                  </a:ext>
                </a:extLst>
              </p:cNvPr>
              <p:cNvGrpSpPr/>
              <p:nvPr/>
            </p:nvGrpSpPr>
            <p:grpSpPr>
              <a:xfrm>
                <a:off x="6505143" y="2604167"/>
                <a:ext cx="338539" cy="270470"/>
                <a:chOff x="6505143" y="2604167"/>
                <a:chExt cx="338539" cy="270470"/>
              </a:xfrm>
              <a:grpFill/>
            </p:grpSpPr>
            <p:sp>
              <p:nvSpPr>
                <p:cNvPr id="132" name="Forma Livre: Forma 131">
                  <a:extLst>
                    <a:ext uri="{FF2B5EF4-FFF2-40B4-BE49-F238E27FC236}">
                      <a16:creationId xmlns:a16="http://schemas.microsoft.com/office/drawing/2014/main" id="{EA2BFC08-CF9D-481A-AAD0-889B246DDFA6}"/>
                    </a:ext>
                  </a:extLst>
                </p:cNvPr>
                <p:cNvSpPr/>
                <p:nvPr/>
              </p:nvSpPr>
              <p:spPr>
                <a:xfrm>
                  <a:off x="6572409" y="2604167"/>
                  <a:ext cx="26011" cy="30015"/>
                </a:xfrm>
                <a:custGeom>
                  <a:avLst/>
                  <a:gdLst>
                    <a:gd name="connsiteX0" fmla="*/ 16098 w 26011"/>
                    <a:gd name="connsiteY0" fmla="*/ 30015 h 30015"/>
                    <a:gd name="connsiteX1" fmla="*/ 6820 w 26011"/>
                    <a:gd name="connsiteY1" fmla="*/ 24603 h 30015"/>
                    <a:gd name="connsiteX2" fmla="*/ 1408 w 26011"/>
                    <a:gd name="connsiteY2" fmla="*/ 15325 h 30015"/>
                    <a:gd name="connsiteX3" fmla="*/ 5274 w 26011"/>
                    <a:gd name="connsiteY3" fmla="*/ 1408 h 30015"/>
                    <a:gd name="connsiteX4" fmla="*/ 19191 w 26011"/>
                    <a:gd name="connsiteY4" fmla="*/ 5274 h 30015"/>
                    <a:gd name="connsiteX5" fmla="*/ 24603 w 26011"/>
                    <a:gd name="connsiteY5" fmla="*/ 14552 h 30015"/>
                    <a:gd name="connsiteX6" fmla="*/ 20737 w 26011"/>
                    <a:gd name="connsiteY6" fmla="*/ 28469 h 30015"/>
                    <a:gd name="connsiteX7" fmla="*/ 16098 w 26011"/>
                    <a:gd name="connsiteY7" fmla="*/ 30015 h 30015"/>
                    <a:gd name="connsiteX8" fmla="*/ 16098 w 26011"/>
                    <a:gd name="connsiteY8" fmla="*/ 30015 h 30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6011" h="30015">
                      <a:moveTo>
                        <a:pt x="16098" y="30015"/>
                      </a:moveTo>
                      <a:cubicBezTo>
                        <a:pt x="12233" y="30015"/>
                        <a:pt x="9140" y="28469"/>
                        <a:pt x="6820" y="24603"/>
                      </a:cubicBezTo>
                      <a:lnTo>
                        <a:pt x="1408" y="15325"/>
                      </a:lnTo>
                      <a:cubicBezTo>
                        <a:pt x="-1684" y="10686"/>
                        <a:pt x="635" y="4501"/>
                        <a:pt x="5274" y="1408"/>
                      </a:cubicBezTo>
                      <a:cubicBezTo>
                        <a:pt x="9913" y="-1684"/>
                        <a:pt x="16098" y="635"/>
                        <a:pt x="19191" y="5274"/>
                      </a:cubicBezTo>
                      <a:lnTo>
                        <a:pt x="24603" y="14552"/>
                      </a:lnTo>
                      <a:cubicBezTo>
                        <a:pt x="27696" y="19191"/>
                        <a:pt x="25377" y="25376"/>
                        <a:pt x="20737" y="28469"/>
                      </a:cubicBezTo>
                      <a:cubicBezTo>
                        <a:pt x="19191" y="29242"/>
                        <a:pt x="17645" y="30015"/>
                        <a:pt x="16098" y="30015"/>
                      </a:cubicBezTo>
                      <a:lnTo>
                        <a:pt x="16098" y="30015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133" name="Forma Livre: Forma 132">
                  <a:extLst>
                    <a:ext uri="{FF2B5EF4-FFF2-40B4-BE49-F238E27FC236}">
                      <a16:creationId xmlns:a16="http://schemas.microsoft.com/office/drawing/2014/main" id="{F9112E07-4970-49D2-A7CB-022647FC39A7}"/>
                    </a:ext>
                  </a:extLst>
                </p:cNvPr>
                <p:cNvSpPr/>
                <p:nvPr/>
              </p:nvSpPr>
              <p:spPr>
                <a:xfrm>
                  <a:off x="6505143" y="2848489"/>
                  <a:ext cx="29877" cy="26149"/>
                </a:xfrm>
                <a:custGeom>
                  <a:avLst/>
                  <a:gdLst>
                    <a:gd name="connsiteX0" fmla="*/ 10686 w 29877"/>
                    <a:gd name="connsiteY0" fmla="*/ 26149 h 26149"/>
                    <a:gd name="connsiteX1" fmla="*/ 1408 w 29877"/>
                    <a:gd name="connsiteY1" fmla="*/ 20737 h 26149"/>
                    <a:gd name="connsiteX2" fmla="*/ 5274 w 29877"/>
                    <a:gd name="connsiteY2" fmla="*/ 6820 h 26149"/>
                    <a:gd name="connsiteX3" fmla="*/ 14552 w 29877"/>
                    <a:gd name="connsiteY3" fmla="*/ 1408 h 26149"/>
                    <a:gd name="connsiteX4" fmla="*/ 28469 w 29877"/>
                    <a:gd name="connsiteY4" fmla="*/ 5274 h 26149"/>
                    <a:gd name="connsiteX5" fmla="*/ 24603 w 29877"/>
                    <a:gd name="connsiteY5" fmla="*/ 19191 h 26149"/>
                    <a:gd name="connsiteX6" fmla="*/ 15325 w 29877"/>
                    <a:gd name="connsiteY6" fmla="*/ 24603 h 26149"/>
                    <a:gd name="connsiteX7" fmla="*/ 10686 w 29877"/>
                    <a:gd name="connsiteY7" fmla="*/ 26149 h 26149"/>
                    <a:gd name="connsiteX8" fmla="*/ 10686 w 29877"/>
                    <a:gd name="connsiteY8" fmla="*/ 26149 h 261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9877" h="26149">
                      <a:moveTo>
                        <a:pt x="10686" y="26149"/>
                      </a:moveTo>
                      <a:cubicBezTo>
                        <a:pt x="6820" y="26149"/>
                        <a:pt x="3728" y="24603"/>
                        <a:pt x="1408" y="20737"/>
                      </a:cubicBezTo>
                      <a:cubicBezTo>
                        <a:pt x="-1684" y="16098"/>
                        <a:pt x="635" y="9913"/>
                        <a:pt x="5274" y="6820"/>
                      </a:cubicBezTo>
                      <a:lnTo>
                        <a:pt x="14552" y="1408"/>
                      </a:lnTo>
                      <a:cubicBezTo>
                        <a:pt x="19191" y="-1684"/>
                        <a:pt x="25377" y="635"/>
                        <a:pt x="28469" y="5274"/>
                      </a:cubicBezTo>
                      <a:cubicBezTo>
                        <a:pt x="31562" y="9913"/>
                        <a:pt x="29242" y="16098"/>
                        <a:pt x="24603" y="19191"/>
                      </a:cubicBezTo>
                      <a:lnTo>
                        <a:pt x="15325" y="24603"/>
                      </a:lnTo>
                      <a:cubicBezTo>
                        <a:pt x="14552" y="25376"/>
                        <a:pt x="12233" y="26149"/>
                        <a:pt x="10686" y="26149"/>
                      </a:cubicBezTo>
                      <a:lnTo>
                        <a:pt x="10686" y="26149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134" name="Forma Livre: Forma 133">
                  <a:extLst>
                    <a:ext uri="{FF2B5EF4-FFF2-40B4-BE49-F238E27FC236}">
                      <a16:creationId xmlns:a16="http://schemas.microsoft.com/office/drawing/2014/main" id="{45D4D09E-CC33-4980-8097-39DC3C3E4DE3}"/>
                    </a:ext>
                  </a:extLst>
                </p:cNvPr>
                <p:cNvSpPr/>
                <p:nvPr/>
              </p:nvSpPr>
              <p:spPr>
                <a:xfrm>
                  <a:off x="6813469" y="2670660"/>
                  <a:ext cx="30213" cy="26149"/>
                </a:xfrm>
                <a:custGeom>
                  <a:avLst/>
                  <a:gdLst>
                    <a:gd name="connsiteX0" fmla="*/ 10081 w 30213"/>
                    <a:gd name="connsiteY0" fmla="*/ 26149 h 26149"/>
                    <a:gd name="connsiteX1" fmla="*/ 1576 w 30213"/>
                    <a:gd name="connsiteY1" fmla="*/ 20737 h 26149"/>
                    <a:gd name="connsiteX2" fmla="*/ 5442 w 30213"/>
                    <a:gd name="connsiteY2" fmla="*/ 6820 h 26149"/>
                    <a:gd name="connsiteX3" fmla="*/ 14720 w 30213"/>
                    <a:gd name="connsiteY3" fmla="*/ 1408 h 26149"/>
                    <a:gd name="connsiteX4" fmla="*/ 28637 w 30213"/>
                    <a:gd name="connsiteY4" fmla="*/ 5274 h 26149"/>
                    <a:gd name="connsiteX5" fmla="*/ 24771 w 30213"/>
                    <a:gd name="connsiteY5" fmla="*/ 19191 h 26149"/>
                    <a:gd name="connsiteX6" fmla="*/ 15493 w 30213"/>
                    <a:gd name="connsiteY6" fmla="*/ 24603 h 26149"/>
                    <a:gd name="connsiteX7" fmla="*/ 10081 w 30213"/>
                    <a:gd name="connsiteY7" fmla="*/ 26149 h 26149"/>
                    <a:gd name="connsiteX8" fmla="*/ 10081 w 30213"/>
                    <a:gd name="connsiteY8" fmla="*/ 26149 h 261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0213" h="26149">
                      <a:moveTo>
                        <a:pt x="10081" y="26149"/>
                      </a:moveTo>
                      <a:cubicBezTo>
                        <a:pt x="6215" y="26149"/>
                        <a:pt x="3123" y="24603"/>
                        <a:pt x="1576" y="20737"/>
                      </a:cubicBezTo>
                      <a:cubicBezTo>
                        <a:pt x="-1517" y="16098"/>
                        <a:pt x="30" y="9913"/>
                        <a:pt x="5442" y="6820"/>
                      </a:cubicBezTo>
                      <a:lnTo>
                        <a:pt x="14720" y="1408"/>
                      </a:lnTo>
                      <a:cubicBezTo>
                        <a:pt x="19359" y="-1684"/>
                        <a:pt x="25544" y="635"/>
                        <a:pt x="28637" y="5274"/>
                      </a:cubicBezTo>
                      <a:cubicBezTo>
                        <a:pt x="31730" y="9913"/>
                        <a:pt x="30184" y="16098"/>
                        <a:pt x="24771" y="19191"/>
                      </a:cubicBezTo>
                      <a:lnTo>
                        <a:pt x="15493" y="24603"/>
                      </a:lnTo>
                      <a:cubicBezTo>
                        <a:pt x="13174" y="26149"/>
                        <a:pt x="11627" y="26149"/>
                        <a:pt x="10081" y="26149"/>
                      </a:cubicBezTo>
                      <a:lnTo>
                        <a:pt x="10081" y="26149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sp>
            <p:nvSpPr>
              <p:cNvPr id="135" name="Forma Livre: Forma 134">
                <a:extLst>
                  <a:ext uri="{FF2B5EF4-FFF2-40B4-BE49-F238E27FC236}">
                    <a16:creationId xmlns:a16="http://schemas.microsoft.com/office/drawing/2014/main" id="{C2496FA0-A98B-446E-A353-4632D0C10850}"/>
                  </a:ext>
                </a:extLst>
              </p:cNvPr>
              <p:cNvSpPr/>
              <p:nvPr/>
            </p:nvSpPr>
            <p:spPr>
              <a:xfrm>
                <a:off x="6596625" y="2754410"/>
                <a:ext cx="95873" cy="96259"/>
              </a:xfrm>
              <a:custGeom>
                <a:avLst/>
                <a:gdLst>
                  <a:gd name="connsiteX0" fmla="*/ 20489 w 95873"/>
                  <a:gd name="connsiteY0" fmla="*/ 96260 h 96259"/>
                  <a:gd name="connsiteX1" fmla="*/ 5799 w 95873"/>
                  <a:gd name="connsiteY1" fmla="*/ 90074 h 96259"/>
                  <a:gd name="connsiteX2" fmla="*/ 5799 w 95873"/>
                  <a:gd name="connsiteY2" fmla="*/ 60694 h 96259"/>
                  <a:gd name="connsiteX3" fmla="*/ 60693 w 95873"/>
                  <a:gd name="connsiteY3" fmla="*/ 5799 h 96259"/>
                  <a:gd name="connsiteX4" fmla="*/ 90074 w 95873"/>
                  <a:gd name="connsiteY4" fmla="*/ 5799 h 96259"/>
                  <a:gd name="connsiteX5" fmla="*/ 90074 w 95873"/>
                  <a:gd name="connsiteY5" fmla="*/ 35179 h 96259"/>
                  <a:gd name="connsiteX6" fmla="*/ 35179 w 95873"/>
                  <a:gd name="connsiteY6" fmla="*/ 90074 h 96259"/>
                  <a:gd name="connsiteX7" fmla="*/ 20489 w 95873"/>
                  <a:gd name="connsiteY7" fmla="*/ 96260 h 96259"/>
                  <a:gd name="connsiteX8" fmla="*/ 20489 w 95873"/>
                  <a:gd name="connsiteY8" fmla="*/ 96260 h 96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5873" h="96259">
                    <a:moveTo>
                      <a:pt x="20489" y="96260"/>
                    </a:moveTo>
                    <a:cubicBezTo>
                      <a:pt x="15077" y="96260"/>
                      <a:pt x="9665" y="93940"/>
                      <a:pt x="5799" y="90074"/>
                    </a:cubicBezTo>
                    <a:cubicBezTo>
                      <a:pt x="-1933" y="82342"/>
                      <a:pt x="-1933" y="69199"/>
                      <a:pt x="5799" y="60694"/>
                    </a:cubicBezTo>
                    <a:lnTo>
                      <a:pt x="60693" y="5799"/>
                    </a:lnTo>
                    <a:cubicBezTo>
                      <a:pt x="68425" y="-1933"/>
                      <a:pt x="81569" y="-1933"/>
                      <a:pt x="90074" y="5799"/>
                    </a:cubicBezTo>
                    <a:cubicBezTo>
                      <a:pt x="97806" y="13530"/>
                      <a:pt x="97806" y="26674"/>
                      <a:pt x="90074" y="35179"/>
                    </a:cubicBezTo>
                    <a:lnTo>
                      <a:pt x="35179" y="90074"/>
                    </a:lnTo>
                    <a:cubicBezTo>
                      <a:pt x="31313" y="93940"/>
                      <a:pt x="25901" y="96260"/>
                      <a:pt x="20489" y="96260"/>
                    </a:cubicBezTo>
                    <a:lnTo>
                      <a:pt x="20489" y="96260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36" name="Forma Livre: Forma 135">
                <a:extLst>
                  <a:ext uri="{FF2B5EF4-FFF2-40B4-BE49-F238E27FC236}">
                    <a16:creationId xmlns:a16="http://schemas.microsoft.com/office/drawing/2014/main" id="{E657A757-34F4-411E-91A7-CDF9F0F027B6}"/>
                  </a:ext>
                </a:extLst>
              </p:cNvPr>
              <p:cNvSpPr/>
              <p:nvPr/>
            </p:nvSpPr>
            <p:spPr>
              <a:xfrm>
                <a:off x="6719172" y="2757890"/>
                <a:ext cx="255145" cy="255145"/>
              </a:xfrm>
              <a:custGeom>
                <a:avLst/>
                <a:gdLst>
                  <a:gd name="connsiteX0" fmla="*/ 127573 w 255145"/>
                  <a:gd name="connsiteY0" fmla="*/ 255145 h 255145"/>
                  <a:gd name="connsiteX1" fmla="*/ 0 w 255145"/>
                  <a:gd name="connsiteY1" fmla="*/ 127573 h 255145"/>
                  <a:gd name="connsiteX2" fmla="*/ 127573 w 255145"/>
                  <a:gd name="connsiteY2" fmla="*/ 0 h 255145"/>
                  <a:gd name="connsiteX3" fmla="*/ 255145 w 255145"/>
                  <a:gd name="connsiteY3" fmla="*/ 127573 h 255145"/>
                  <a:gd name="connsiteX4" fmla="*/ 127573 w 255145"/>
                  <a:gd name="connsiteY4" fmla="*/ 255145 h 255145"/>
                  <a:gd name="connsiteX5" fmla="*/ 127573 w 255145"/>
                  <a:gd name="connsiteY5" fmla="*/ 255145 h 255145"/>
                  <a:gd name="connsiteX6" fmla="*/ 127573 w 255145"/>
                  <a:gd name="connsiteY6" fmla="*/ 20875 h 255145"/>
                  <a:gd name="connsiteX7" fmla="*/ 20876 w 255145"/>
                  <a:gd name="connsiteY7" fmla="*/ 127573 h 255145"/>
                  <a:gd name="connsiteX8" fmla="*/ 127573 w 255145"/>
                  <a:gd name="connsiteY8" fmla="*/ 234270 h 255145"/>
                  <a:gd name="connsiteX9" fmla="*/ 234270 w 255145"/>
                  <a:gd name="connsiteY9" fmla="*/ 127573 h 255145"/>
                  <a:gd name="connsiteX10" fmla="*/ 127573 w 255145"/>
                  <a:gd name="connsiteY10" fmla="*/ 20875 h 255145"/>
                  <a:gd name="connsiteX11" fmla="*/ 127573 w 255145"/>
                  <a:gd name="connsiteY11" fmla="*/ 20875 h 255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55145" h="255145">
                    <a:moveTo>
                      <a:pt x="127573" y="255145"/>
                    </a:moveTo>
                    <a:cubicBezTo>
                      <a:pt x="57215" y="255145"/>
                      <a:pt x="0" y="197931"/>
                      <a:pt x="0" y="127573"/>
                    </a:cubicBezTo>
                    <a:cubicBezTo>
                      <a:pt x="0" y="57214"/>
                      <a:pt x="57215" y="0"/>
                      <a:pt x="127573" y="0"/>
                    </a:cubicBezTo>
                    <a:cubicBezTo>
                      <a:pt x="197931" y="0"/>
                      <a:pt x="255145" y="57214"/>
                      <a:pt x="255145" y="127573"/>
                    </a:cubicBezTo>
                    <a:cubicBezTo>
                      <a:pt x="254372" y="197931"/>
                      <a:pt x="197931" y="255145"/>
                      <a:pt x="127573" y="255145"/>
                    </a:cubicBezTo>
                    <a:lnTo>
                      <a:pt x="127573" y="255145"/>
                    </a:lnTo>
                    <a:close/>
                    <a:moveTo>
                      <a:pt x="127573" y="20875"/>
                    </a:moveTo>
                    <a:cubicBezTo>
                      <a:pt x="68812" y="20875"/>
                      <a:pt x="20876" y="68812"/>
                      <a:pt x="20876" y="127573"/>
                    </a:cubicBezTo>
                    <a:cubicBezTo>
                      <a:pt x="20876" y="186333"/>
                      <a:pt x="68812" y="234270"/>
                      <a:pt x="127573" y="234270"/>
                    </a:cubicBezTo>
                    <a:cubicBezTo>
                      <a:pt x="186334" y="234270"/>
                      <a:pt x="234270" y="186333"/>
                      <a:pt x="234270" y="127573"/>
                    </a:cubicBezTo>
                    <a:cubicBezTo>
                      <a:pt x="234270" y="68812"/>
                      <a:pt x="186334" y="20875"/>
                      <a:pt x="127573" y="20875"/>
                    </a:cubicBezTo>
                    <a:lnTo>
                      <a:pt x="127573" y="20875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37" name="Forma Livre: Forma 136">
                <a:extLst>
                  <a:ext uri="{FF2B5EF4-FFF2-40B4-BE49-F238E27FC236}">
                    <a16:creationId xmlns:a16="http://schemas.microsoft.com/office/drawing/2014/main" id="{8D749A7E-E384-4DA8-8B83-2981C73FFC35}"/>
                  </a:ext>
                </a:extLst>
              </p:cNvPr>
              <p:cNvSpPr/>
              <p:nvPr/>
            </p:nvSpPr>
            <p:spPr>
              <a:xfrm>
                <a:off x="6825870" y="2807372"/>
                <a:ext cx="41750" cy="155406"/>
              </a:xfrm>
              <a:custGeom>
                <a:avLst/>
                <a:gdLst>
                  <a:gd name="connsiteX0" fmla="*/ 20875 w 41750"/>
                  <a:gd name="connsiteY0" fmla="*/ 155407 h 155406"/>
                  <a:gd name="connsiteX1" fmla="*/ 0 w 41750"/>
                  <a:gd name="connsiteY1" fmla="*/ 134531 h 155406"/>
                  <a:gd name="connsiteX2" fmla="*/ 0 w 41750"/>
                  <a:gd name="connsiteY2" fmla="*/ 20875 h 155406"/>
                  <a:gd name="connsiteX3" fmla="*/ 20875 w 41750"/>
                  <a:gd name="connsiteY3" fmla="*/ 0 h 155406"/>
                  <a:gd name="connsiteX4" fmla="*/ 41751 w 41750"/>
                  <a:gd name="connsiteY4" fmla="*/ 20875 h 155406"/>
                  <a:gd name="connsiteX5" fmla="*/ 41751 w 41750"/>
                  <a:gd name="connsiteY5" fmla="*/ 134531 h 155406"/>
                  <a:gd name="connsiteX6" fmla="*/ 20875 w 41750"/>
                  <a:gd name="connsiteY6" fmla="*/ 155407 h 155406"/>
                  <a:gd name="connsiteX7" fmla="*/ 20875 w 41750"/>
                  <a:gd name="connsiteY7" fmla="*/ 155407 h 155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50" h="155406">
                    <a:moveTo>
                      <a:pt x="20875" y="155407"/>
                    </a:moveTo>
                    <a:cubicBezTo>
                      <a:pt x="9278" y="155407"/>
                      <a:pt x="0" y="146129"/>
                      <a:pt x="0" y="134531"/>
                    </a:cubicBezTo>
                    <a:lnTo>
                      <a:pt x="0" y="20875"/>
                    </a:lnTo>
                    <a:cubicBezTo>
                      <a:pt x="0" y="9278"/>
                      <a:pt x="9278" y="0"/>
                      <a:pt x="20875" y="0"/>
                    </a:cubicBezTo>
                    <a:cubicBezTo>
                      <a:pt x="32473" y="0"/>
                      <a:pt x="41751" y="9278"/>
                      <a:pt x="41751" y="20875"/>
                    </a:cubicBezTo>
                    <a:lnTo>
                      <a:pt x="41751" y="134531"/>
                    </a:lnTo>
                    <a:cubicBezTo>
                      <a:pt x="40978" y="146129"/>
                      <a:pt x="31700" y="155407"/>
                      <a:pt x="20875" y="155407"/>
                    </a:cubicBezTo>
                    <a:lnTo>
                      <a:pt x="20875" y="155407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38" name="Forma Livre: Forma 137">
                <a:extLst>
                  <a:ext uri="{FF2B5EF4-FFF2-40B4-BE49-F238E27FC236}">
                    <a16:creationId xmlns:a16="http://schemas.microsoft.com/office/drawing/2014/main" id="{0AD1559D-4C53-4A66-A395-60FC26CF709D}"/>
                  </a:ext>
                </a:extLst>
              </p:cNvPr>
              <p:cNvSpPr/>
              <p:nvPr/>
            </p:nvSpPr>
            <p:spPr>
              <a:xfrm>
                <a:off x="6768655" y="2864587"/>
                <a:ext cx="155406" cy="41751"/>
              </a:xfrm>
              <a:custGeom>
                <a:avLst/>
                <a:gdLst>
                  <a:gd name="connsiteX0" fmla="*/ 134531 w 155406"/>
                  <a:gd name="connsiteY0" fmla="*/ 41751 h 41751"/>
                  <a:gd name="connsiteX1" fmla="*/ 20876 w 155406"/>
                  <a:gd name="connsiteY1" fmla="*/ 41751 h 41751"/>
                  <a:gd name="connsiteX2" fmla="*/ 0 w 155406"/>
                  <a:gd name="connsiteY2" fmla="*/ 20876 h 41751"/>
                  <a:gd name="connsiteX3" fmla="*/ 20876 w 155406"/>
                  <a:gd name="connsiteY3" fmla="*/ 0 h 41751"/>
                  <a:gd name="connsiteX4" fmla="*/ 134531 w 155406"/>
                  <a:gd name="connsiteY4" fmla="*/ 0 h 41751"/>
                  <a:gd name="connsiteX5" fmla="*/ 155407 w 155406"/>
                  <a:gd name="connsiteY5" fmla="*/ 20876 h 41751"/>
                  <a:gd name="connsiteX6" fmla="*/ 134531 w 155406"/>
                  <a:gd name="connsiteY6" fmla="*/ 41751 h 41751"/>
                  <a:gd name="connsiteX7" fmla="*/ 134531 w 155406"/>
                  <a:gd name="connsiteY7" fmla="*/ 41751 h 41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5406" h="41751">
                    <a:moveTo>
                      <a:pt x="134531" y="41751"/>
                    </a:moveTo>
                    <a:lnTo>
                      <a:pt x="20876" y="41751"/>
                    </a:lnTo>
                    <a:cubicBezTo>
                      <a:pt x="9278" y="41751"/>
                      <a:pt x="0" y="32473"/>
                      <a:pt x="0" y="20876"/>
                    </a:cubicBezTo>
                    <a:cubicBezTo>
                      <a:pt x="0" y="9278"/>
                      <a:pt x="9278" y="0"/>
                      <a:pt x="20876" y="0"/>
                    </a:cubicBezTo>
                    <a:lnTo>
                      <a:pt x="134531" y="0"/>
                    </a:lnTo>
                    <a:cubicBezTo>
                      <a:pt x="146129" y="0"/>
                      <a:pt x="155407" y="9278"/>
                      <a:pt x="155407" y="20876"/>
                    </a:cubicBezTo>
                    <a:cubicBezTo>
                      <a:pt x="155407" y="32473"/>
                      <a:pt x="146129" y="41751"/>
                      <a:pt x="134531" y="41751"/>
                    </a:cubicBezTo>
                    <a:lnTo>
                      <a:pt x="134531" y="41751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39" name="Forma Livre: Forma 138">
                <a:extLst>
                  <a:ext uri="{FF2B5EF4-FFF2-40B4-BE49-F238E27FC236}">
                    <a16:creationId xmlns:a16="http://schemas.microsoft.com/office/drawing/2014/main" id="{6DFF4A2B-B6B1-42A5-9357-4CB25C650664}"/>
                  </a:ext>
                </a:extLst>
              </p:cNvPr>
              <p:cNvSpPr/>
              <p:nvPr/>
            </p:nvSpPr>
            <p:spPr>
              <a:xfrm>
                <a:off x="6452429" y="2551454"/>
                <a:ext cx="443798" cy="443798"/>
              </a:xfrm>
              <a:custGeom>
                <a:avLst/>
                <a:gdLst>
                  <a:gd name="connsiteX0" fmla="*/ 221899 w 443798"/>
                  <a:gd name="connsiteY0" fmla="*/ 443798 h 443798"/>
                  <a:gd name="connsiteX1" fmla="*/ 0 w 443798"/>
                  <a:gd name="connsiteY1" fmla="*/ 221899 h 443798"/>
                  <a:gd name="connsiteX2" fmla="*/ 221899 w 443798"/>
                  <a:gd name="connsiteY2" fmla="*/ 0 h 443798"/>
                  <a:gd name="connsiteX3" fmla="*/ 443799 w 443798"/>
                  <a:gd name="connsiteY3" fmla="*/ 221899 h 443798"/>
                  <a:gd name="connsiteX4" fmla="*/ 402821 w 443798"/>
                  <a:gd name="connsiteY4" fmla="*/ 221899 h 443798"/>
                  <a:gd name="connsiteX5" fmla="*/ 221899 w 443798"/>
                  <a:gd name="connsiteY5" fmla="*/ 40978 h 443798"/>
                  <a:gd name="connsiteX6" fmla="*/ 40978 w 443798"/>
                  <a:gd name="connsiteY6" fmla="*/ 221899 h 443798"/>
                  <a:gd name="connsiteX7" fmla="*/ 221899 w 443798"/>
                  <a:gd name="connsiteY7" fmla="*/ 402821 h 443798"/>
                  <a:gd name="connsiteX8" fmla="*/ 293804 w 443798"/>
                  <a:gd name="connsiteY8" fmla="*/ 388130 h 443798"/>
                  <a:gd name="connsiteX9" fmla="*/ 310041 w 443798"/>
                  <a:gd name="connsiteY9" fmla="*/ 426016 h 443798"/>
                  <a:gd name="connsiteX10" fmla="*/ 221899 w 443798"/>
                  <a:gd name="connsiteY10" fmla="*/ 443798 h 443798"/>
                  <a:gd name="connsiteX11" fmla="*/ 221899 w 443798"/>
                  <a:gd name="connsiteY11" fmla="*/ 443798 h 443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43798" h="443798">
                    <a:moveTo>
                      <a:pt x="221899" y="443798"/>
                    </a:moveTo>
                    <a:cubicBezTo>
                      <a:pt x="99739" y="443798"/>
                      <a:pt x="0" y="344060"/>
                      <a:pt x="0" y="221899"/>
                    </a:cubicBezTo>
                    <a:cubicBezTo>
                      <a:pt x="0" y="99739"/>
                      <a:pt x="99739" y="0"/>
                      <a:pt x="221899" y="0"/>
                    </a:cubicBezTo>
                    <a:cubicBezTo>
                      <a:pt x="344060" y="0"/>
                      <a:pt x="443799" y="99739"/>
                      <a:pt x="443799" y="221899"/>
                    </a:cubicBezTo>
                    <a:lnTo>
                      <a:pt x="402821" y="221899"/>
                    </a:lnTo>
                    <a:cubicBezTo>
                      <a:pt x="402821" y="122160"/>
                      <a:pt x="321638" y="40978"/>
                      <a:pt x="221899" y="40978"/>
                    </a:cubicBezTo>
                    <a:cubicBezTo>
                      <a:pt x="122161" y="40978"/>
                      <a:pt x="40978" y="122160"/>
                      <a:pt x="40978" y="221899"/>
                    </a:cubicBezTo>
                    <a:cubicBezTo>
                      <a:pt x="40978" y="321638"/>
                      <a:pt x="122161" y="402821"/>
                      <a:pt x="221899" y="402821"/>
                    </a:cubicBezTo>
                    <a:cubicBezTo>
                      <a:pt x="246641" y="402821"/>
                      <a:pt x="270609" y="398182"/>
                      <a:pt x="293804" y="388130"/>
                    </a:cubicBezTo>
                    <a:lnTo>
                      <a:pt x="310041" y="426016"/>
                    </a:lnTo>
                    <a:cubicBezTo>
                      <a:pt x="282206" y="437613"/>
                      <a:pt x="252826" y="443798"/>
                      <a:pt x="221899" y="443798"/>
                    </a:cubicBezTo>
                    <a:lnTo>
                      <a:pt x="221899" y="443798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140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7376323" y="2621229"/>
              <a:ext cx="414114" cy="366944"/>
              <a:chOff x="7711920" y="2549907"/>
              <a:chExt cx="522661" cy="463127"/>
            </a:xfrm>
            <a:solidFill>
              <a:srgbClr val="B1B1A1"/>
            </a:solidFill>
          </p:grpSpPr>
          <p:sp>
            <p:nvSpPr>
              <p:cNvPr id="141" name="Forma Livre: Forma 140">
                <a:extLst>
                  <a:ext uri="{FF2B5EF4-FFF2-40B4-BE49-F238E27FC236}">
                    <a16:creationId xmlns:a16="http://schemas.microsoft.com/office/drawing/2014/main" id="{09092E64-0D8E-448E-8AB5-0F5F54A93C60}"/>
                  </a:ext>
                </a:extLst>
              </p:cNvPr>
              <p:cNvSpPr/>
              <p:nvPr/>
            </p:nvSpPr>
            <p:spPr>
              <a:xfrm>
                <a:off x="7913717" y="2615627"/>
                <a:ext cx="41751" cy="177828"/>
              </a:xfrm>
              <a:custGeom>
                <a:avLst/>
                <a:gdLst>
                  <a:gd name="connsiteX0" fmla="*/ 20876 w 41751"/>
                  <a:gd name="connsiteY0" fmla="*/ 177829 h 177828"/>
                  <a:gd name="connsiteX1" fmla="*/ 0 w 41751"/>
                  <a:gd name="connsiteY1" fmla="*/ 156953 h 177828"/>
                  <a:gd name="connsiteX2" fmla="*/ 0 w 41751"/>
                  <a:gd name="connsiteY2" fmla="*/ 20876 h 177828"/>
                  <a:gd name="connsiteX3" fmla="*/ 20876 w 41751"/>
                  <a:gd name="connsiteY3" fmla="*/ 0 h 177828"/>
                  <a:gd name="connsiteX4" fmla="*/ 41751 w 41751"/>
                  <a:gd name="connsiteY4" fmla="*/ 20876 h 177828"/>
                  <a:gd name="connsiteX5" fmla="*/ 41751 w 41751"/>
                  <a:gd name="connsiteY5" fmla="*/ 156953 h 177828"/>
                  <a:gd name="connsiteX6" fmla="*/ 20876 w 41751"/>
                  <a:gd name="connsiteY6" fmla="*/ 177829 h 177828"/>
                  <a:gd name="connsiteX7" fmla="*/ 20876 w 41751"/>
                  <a:gd name="connsiteY7" fmla="*/ 177829 h 1778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51" h="177828">
                    <a:moveTo>
                      <a:pt x="20876" y="177829"/>
                    </a:moveTo>
                    <a:cubicBezTo>
                      <a:pt x="9278" y="177829"/>
                      <a:pt x="0" y="168551"/>
                      <a:pt x="0" y="156953"/>
                    </a:cubicBezTo>
                    <a:lnTo>
                      <a:pt x="0" y="20876"/>
                    </a:lnTo>
                    <a:cubicBezTo>
                      <a:pt x="0" y="9278"/>
                      <a:pt x="9278" y="0"/>
                      <a:pt x="20876" y="0"/>
                    </a:cubicBezTo>
                    <a:cubicBezTo>
                      <a:pt x="32473" y="0"/>
                      <a:pt x="41751" y="9278"/>
                      <a:pt x="41751" y="20876"/>
                    </a:cubicBezTo>
                    <a:lnTo>
                      <a:pt x="41751" y="156953"/>
                    </a:lnTo>
                    <a:cubicBezTo>
                      <a:pt x="41751" y="168551"/>
                      <a:pt x="32473" y="177829"/>
                      <a:pt x="20876" y="177829"/>
                    </a:cubicBezTo>
                    <a:lnTo>
                      <a:pt x="20876" y="177829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42" name="Forma Livre: Forma 141">
                <a:extLst>
                  <a:ext uri="{FF2B5EF4-FFF2-40B4-BE49-F238E27FC236}">
                    <a16:creationId xmlns:a16="http://schemas.microsoft.com/office/drawing/2014/main" id="{3A6A5AF9-1B03-48FE-BD16-D51D96CD4E27}"/>
                  </a:ext>
                </a:extLst>
              </p:cNvPr>
              <p:cNvSpPr/>
              <p:nvPr/>
            </p:nvSpPr>
            <p:spPr>
              <a:xfrm>
                <a:off x="7913717" y="2549907"/>
                <a:ext cx="41751" cy="54121"/>
              </a:xfrm>
              <a:custGeom>
                <a:avLst/>
                <a:gdLst>
                  <a:gd name="connsiteX0" fmla="*/ 20876 w 41751"/>
                  <a:gd name="connsiteY0" fmla="*/ 54122 h 54121"/>
                  <a:gd name="connsiteX1" fmla="*/ 0 w 41751"/>
                  <a:gd name="connsiteY1" fmla="*/ 33246 h 54121"/>
                  <a:gd name="connsiteX2" fmla="*/ 0 w 41751"/>
                  <a:gd name="connsiteY2" fmla="*/ 20876 h 54121"/>
                  <a:gd name="connsiteX3" fmla="*/ 20876 w 41751"/>
                  <a:gd name="connsiteY3" fmla="*/ 0 h 54121"/>
                  <a:gd name="connsiteX4" fmla="*/ 41751 w 41751"/>
                  <a:gd name="connsiteY4" fmla="*/ 20876 h 54121"/>
                  <a:gd name="connsiteX5" fmla="*/ 41751 w 41751"/>
                  <a:gd name="connsiteY5" fmla="*/ 33246 h 54121"/>
                  <a:gd name="connsiteX6" fmla="*/ 20876 w 41751"/>
                  <a:gd name="connsiteY6" fmla="*/ 54122 h 54121"/>
                  <a:gd name="connsiteX7" fmla="*/ 20876 w 41751"/>
                  <a:gd name="connsiteY7" fmla="*/ 54122 h 54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51" h="54121">
                    <a:moveTo>
                      <a:pt x="20876" y="54122"/>
                    </a:moveTo>
                    <a:cubicBezTo>
                      <a:pt x="9278" y="54122"/>
                      <a:pt x="0" y="44844"/>
                      <a:pt x="0" y="33246"/>
                    </a:cubicBezTo>
                    <a:lnTo>
                      <a:pt x="0" y="20876"/>
                    </a:lnTo>
                    <a:cubicBezTo>
                      <a:pt x="0" y="9278"/>
                      <a:pt x="9278" y="0"/>
                      <a:pt x="20876" y="0"/>
                    </a:cubicBezTo>
                    <a:cubicBezTo>
                      <a:pt x="32473" y="0"/>
                      <a:pt x="41751" y="9278"/>
                      <a:pt x="41751" y="20876"/>
                    </a:cubicBezTo>
                    <a:lnTo>
                      <a:pt x="41751" y="33246"/>
                    </a:lnTo>
                    <a:cubicBezTo>
                      <a:pt x="41751" y="44844"/>
                      <a:pt x="32473" y="54122"/>
                      <a:pt x="20876" y="54122"/>
                    </a:cubicBezTo>
                    <a:lnTo>
                      <a:pt x="20876" y="54122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43" name="Forma Livre: Forma 142">
                <a:extLst>
                  <a:ext uri="{FF2B5EF4-FFF2-40B4-BE49-F238E27FC236}">
                    <a16:creationId xmlns:a16="http://schemas.microsoft.com/office/drawing/2014/main" id="{D3B30BBB-005B-43D3-9A38-52A9962E3DB9}"/>
                  </a:ext>
                </a:extLst>
              </p:cNvPr>
              <p:cNvSpPr/>
              <p:nvPr/>
            </p:nvSpPr>
            <p:spPr>
              <a:xfrm>
                <a:off x="7913717" y="2941130"/>
                <a:ext cx="41751" cy="54121"/>
              </a:xfrm>
              <a:custGeom>
                <a:avLst/>
                <a:gdLst>
                  <a:gd name="connsiteX0" fmla="*/ 20876 w 41751"/>
                  <a:gd name="connsiteY0" fmla="*/ 54122 h 54121"/>
                  <a:gd name="connsiteX1" fmla="*/ 0 w 41751"/>
                  <a:gd name="connsiteY1" fmla="*/ 33246 h 54121"/>
                  <a:gd name="connsiteX2" fmla="*/ 0 w 41751"/>
                  <a:gd name="connsiteY2" fmla="*/ 20876 h 54121"/>
                  <a:gd name="connsiteX3" fmla="*/ 20876 w 41751"/>
                  <a:gd name="connsiteY3" fmla="*/ 0 h 54121"/>
                  <a:gd name="connsiteX4" fmla="*/ 41751 w 41751"/>
                  <a:gd name="connsiteY4" fmla="*/ 20876 h 54121"/>
                  <a:gd name="connsiteX5" fmla="*/ 41751 w 41751"/>
                  <a:gd name="connsiteY5" fmla="*/ 33246 h 54121"/>
                  <a:gd name="connsiteX6" fmla="*/ 20876 w 41751"/>
                  <a:gd name="connsiteY6" fmla="*/ 54122 h 54121"/>
                  <a:gd name="connsiteX7" fmla="*/ 20876 w 41751"/>
                  <a:gd name="connsiteY7" fmla="*/ 54122 h 54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51" h="54121">
                    <a:moveTo>
                      <a:pt x="20876" y="54122"/>
                    </a:moveTo>
                    <a:cubicBezTo>
                      <a:pt x="9278" y="54122"/>
                      <a:pt x="0" y="44844"/>
                      <a:pt x="0" y="33246"/>
                    </a:cubicBezTo>
                    <a:lnTo>
                      <a:pt x="0" y="20876"/>
                    </a:lnTo>
                    <a:cubicBezTo>
                      <a:pt x="0" y="9278"/>
                      <a:pt x="9278" y="0"/>
                      <a:pt x="20876" y="0"/>
                    </a:cubicBezTo>
                    <a:cubicBezTo>
                      <a:pt x="32473" y="0"/>
                      <a:pt x="41751" y="9278"/>
                      <a:pt x="41751" y="20876"/>
                    </a:cubicBezTo>
                    <a:lnTo>
                      <a:pt x="41751" y="33246"/>
                    </a:lnTo>
                    <a:cubicBezTo>
                      <a:pt x="41751" y="44844"/>
                      <a:pt x="32473" y="54122"/>
                      <a:pt x="20876" y="54122"/>
                    </a:cubicBezTo>
                    <a:lnTo>
                      <a:pt x="20876" y="54122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44" name="Forma Livre: Forma 143">
                <a:extLst>
                  <a:ext uri="{FF2B5EF4-FFF2-40B4-BE49-F238E27FC236}">
                    <a16:creationId xmlns:a16="http://schemas.microsoft.com/office/drawing/2014/main" id="{676E201A-FF24-42BB-A66B-6C07B0E8A507}"/>
                  </a:ext>
                </a:extLst>
              </p:cNvPr>
              <p:cNvSpPr/>
              <p:nvPr/>
            </p:nvSpPr>
            <p:spPr>
              <a:xfrm>
                <a:off x="7711920" y="2751704"/>
                <a:ext cx="54121" cy="41751"/>
              </a:xfrm>
              <a:custGeom>
                <a:avLst/>
                <a:gdLst>
                  <a:gd name="connsiteX0" fmla="*/ 33246 w 54121"/>
                  <a:gd name="connsiteY0" fmla="*/ 41751 h 41751"/>
                  <a:gd name="connsiteX1" fmla="*/ 20876 w 54121"/>
                  <a:gd name="connsiteY1" fmla="*/ 41751 h 41751"/>
                  <a:gd name="connsiteX2" fmla="*/ 0 w 54121"/>
                  <a:gd name="connsiteY2" fmla="*/ 20876 h 41751"/>
                  <a:gd name="connsiteX3" fmla="*/ 20876 w 54121"/>
                  <a:gd name="connsiteY3" fmla="*/ 0 h 41751"/>
                  <a:gd name="connsiteX4" fmla="*/ 33246 w 54121"/>
                  <a:gd name="connsiteY4" fmla="*/ 0 h 41751"/>
                  <a:gd name="connsiteX5" fmla="*/ 54122 w 54121"/>
                  <a:gd name="connsiteY5" fmla="*/ 20876 h 41751"/>
                  <a:gd name="connsiteX6" fmla="*/ 33246 w 54121"/>
                  <a:gd name="connsiteY6" fmla="*/ 41751 h 41751"/>
                  <a:gd name="connsiteX7" fmla="*/ 33246 w 54121"/>
                  <a:gd name="connsiteY7" fmla="*/ 41751 h 41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4121" h="41751">
                    <a:moveTo>
                      <a:pt x="33246" y="41751"/>
                    </a:moveTo>
                    <a:lnTo>
                      <a:pt x="20876" y="41751"/>
                    </a:lnTo>
                    <a:cubicBezTo>
                      <a:pt x="9278" y="41751"/>
                      <a:pt x="0" y="32473"/>
                      <a:pt x="0" y="20876"/>
                    </a:cubicBezTo>
                    <a:cubicBezTo>
                      <a:pt x="0" y="9278"/>
                      <a:pt x="9278" y="0"/>
                      <a:pt x="20876" y="0"/>
                    </a:cubicBezTo>
                    <a:lnTo>
                      <a:pt x="33246" y="0"/>
                    </a:lnTo>
                    <a:cubicBezTo>
                      <a:pt x="44844" y="0"/>
                      <a:pt x="54122" y="9278"/>
                      <a:pt x="54122" y="20876"/>
                    </a:cubicBezTo>
                    <a:cubicBezTo>
                      <a:pt x="54122" y="32473"/>
                      <a:pt x="44844" y="41751"/>
                      <a:pt x="33246" y="41751"/>
                    </a:cubicBezTo>
                    <a:lnTo>
                      <a:pt x="33246" y="41751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grpSp>
            <p:nvGrpSpPr>
              <p:cNvPr id="145" name="Gráfico 2">
                <a:extLst>
                  <a:ext uri="{FF2B5EF4-FFF2-40B4-BE49-F238E27FC236}">
                    <a16:creationId xmlns:a16="http://schemas.microsoft.com/office/drawing/2014/main" id="{6FEF66BF-8D1E-4FFA-95A2-6EE56886837B}"/>
                  </a:ext>
                </a:extLst>
              </p:cNvPr>
              <p:cNvGrpSpPr/>
              <p:nvPr/>
            </p:nvGrpSpPr>
            <p:grpSpPr>
              <a:xfrm>
                <a:off x="7765407" y="2604167"/>
                <a:ext cx="270332" cy="337736"/>
                <a:chOff x="7765407" y="2604167"/>
                <a:chExt cx="270332" cy="337736"/>
              </a:xfrm>
              <a:grpFill/>
            </p:grpSpPr>
            <p:sp>
              <p:nvSpPr>
                <p:cNvPr id="146" name="Forma Livre: Forma 145">
                  <a:extLst>
                    <a:ext uri="{FF2B5EF4-FFF2-40B4-BE49-F238E27FC236}">
                      <a16:creationId xmlns:a16="http://schemas.microsoft.com/office/drawing/2014/main" id="{5ADE57B5-5472-4F2A-ADF9-A875DF57397A}"/>
                    </a:ext>
                  </a:extLst>
                </p:cNvPr>
                <p:cNvSpPr/>
                <p:nvPr/>
              </p:nvSpPr>
              <p:spPr>
                <a:xfrm>
                  <a:off x="8009728" y="2604167"/>
                  <a:ext cx="26011" cy="30015"/>
                </a:xfrm>
                <a:custGeom>
                  <a:avLst/>
                  <a:gdLst>
                    <a:gd name="connsiteX0" fmla="*/ 10686 w 26011"/>
                    <a:gd name="connsiteY0" fmla="*/ 30015 h 30015"/>
                    <a:gd name="connsiteX1" fmla="*/ 5274 w 26011"/>
                    <a:gd name="connsiteY1" fmla="*/ 28469 h 30015"/>
                    <a:gd name="connsiteX2" fmla="*/ 1408 w 26011"/>
                    <a:gd name="connsiteY2" fmla="*/ 14552 h 30015"/>
                    <a:gd name="connsiteX3" fmla="*/ 6821 w 26011"/>
                    <a:gd name="connsiteY3" fmla="*/ 5274 h 30015"/>
                    <a:gd name="connsiteX4" fmla="*/ 20738 w 26011"/>
                    <a:gd name="connsiteY4" fmla="*/ 1408 h 30015"/>
                    <a:gd name="connsiteX5" fmla="*/ 24603 w 26011"/>
                    <a:gd name="connsiteY5" fmla="*/ 15325 h 30015"/>
                    <a:gd name="connsiteX6" fmla="*/ 19191 w 26011"/>
                    <a:gd name="connsiteY6" fmla="*/ 24603 h 30015"/>
                    <a:gd name="connsiteX7" fmla="*/ 10686 w 26011"/>
                    <a:gd name="connsiteY7" fmla="*/ 30015 h 30015"/>
                    <a:gd name="connsiteX8" fmla="*/ 10686 w 26011"/>
                    <a:gd name="connsiteY8" fmla="*/ 30015 h 30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6011" h="30015">
                      <a:moveTo>
                        <a:pt x="10686" y="30015"/>
                      </a:moveTo>
                      <a:cubicBezTo>
                        <a:pt x="9140" y="30015"/>
                        <a:pt x="6821" y="29242"/>
                        <a:pt x="5274" y="28469"/>
                      </a:cubicBezTo>
                      <a:cubicBezTo>
                        <a:pt x="635" y="25376"/>
                        <a:pt x="-1685" y="19191"/>
                        <a:pt x="1408" y="14552"/>
                      </a:cubicBezTo>
                      <a:lnTo>
                        <a:pt x="6821" y="5274"/>
                      </a:lnTo>
                      <a:cubicBezTo>
                        <a:pt x="9913" y="635"/>
                        <a:pt x="16098" y="-1684"/>
                        <a:pt x="20738" y="1408"/>
                      </a:cubicBezTo>
                      <a:cubicBezTo>
                        <a:pt x="25376" y="4501"/>
                        <a:pt x="27696" y="10686"/>
                        <a:pt x="24603" y="15325"/>
                      </a:cubicBezTo>
                      <a:lnTo>
                        <a:pt x="19191" y="24603"/>
                      </a:lnTo>
                      <a:cubicBezTo>
                        <a:pt x="17645" y="27696"/>
                        <a:pt x="14552" y="30015"/>
                        <a:pt x="10686" y="30015"/>
                      </a:cubicBezTo>
                      <a:lnTo>
                        <a:pt x="10686" y="30015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147" name="Forma Livre: Forma 146">
                  <a:extLst>
                    <a:ext uri="{FF2B5EF4-FFF2-40B4-BE49-F238E27FC236}">
                      <a16:creationId xmlns:a16="http://schemas.microsoft.com/office/drawing/2014/main" id="{A00AFE99-6E16-43CD-8CB8-A9E47049F113}"/>
                    </a:ext>
                  </a:extLst>
                </p:cNvPr>
                <p:cNvSpPr/>
                <p:nvPr/>
              </p:nvSpPr>
              <p:spPr>
                <a:xfrm>
                  <a:off x="7832672" y="2911888"/>
                  <a:ext cx="26011" cy="30015"/>
                </a:xfrm>
                <a:custGeom>
                  <a:avLst/>
                  <a:gdLst>
                    <a:gd name="connsiteX0" fmla="*/ 10686 w 26011"/>
                    <a:gd name="connsiteY0" fmla="*/ 30015 h 30015"/>
                    <a:gd name="connsiteX1" fmla="*/ 5274 w 26011"/>
                    <a:gd name="connsiteY1" fmla="*/ 28469 h 30015"/>
                    <a:gd name="connsiteX2" fmla="*/ 1408 w 26011"/>
                    <a:gd name="connsiteY2" fmla="*/ 14552 h 30015"/>
                    <a:gd name="connsiteX3" fmla="*/ 6820 w 26011"/>
                    <a:gd name="connsiteY3" fmla="*/ 5274 h 30015"/>
                    <a:gd name="connsiteX4" fmla="*/ 20737 w 26011"/>
                    <a:gd name="connsiteY4" fmla="*/ 1408 h 30015"/>
                    <a:gd name="connsiteX5" fmla="*/ 24603 w 26011"/>
                    <a:gd name="connsiteY5" fmla="*/ 15325 h 30015"/>
                    <a:gd name="connsiteX6" fmla="*/ 19191 w 26011"/>
                    <a:gd name="connsiteY6" fmla="*/ 24603 h 30015"/>
                    <a:gd name="connsiteX7" fmla="*/ 10686 w 26011"/>
                    <a:gd name="connsiteY7" fmla="*/ 30015 h 30015"/>
                    <a:gd name="connsiteX8" fmla="*/ 10686 w 26011"/>
                    <a:gd name="connsiteY8" fmla="*/ 30015 h 30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6011" h="30015">
                      <a:moveTo>
                        <a:pt x="10686" y="30015"/>
                      </a:moveTo>
                      <a:cubicBezTo>
                        <a:pt x="9140" y="30015"/>
                        <a:pt x="6820" y="29242"/>
                        <a:pt x="5274" y="28469"/>
                      </a:cubicBezTo>
                      <a:cubicBezTo>
                        <a:pt x="635" y="25376"/>
                        <a:pt x="-1684" y="19191"/>
                        <a:pt x="1408" y="14552"/>
                      </a:cubicBezTo>
                      <a:lnTo>
                        <a:pt x="6820" y="5274"/>
                      </a:lnTo>
                      <a:cubicBezTo>
                        <a:pt x="9913" y="635"/>
                        <a:pt x="16098" y="-1684"/>
                        <a:pt x="20737" y="1408"/>
                      </a:cubicBezTo>
                      <a:cubicBezTo>
                        <a:pt x="25377" y="4501"/>
                        <a:pt x="27696" y="10686"/>
                        <a:pt x="24603" y="15325"/>
                      </a:cubicBezTo>
                      <a:lnTo>
                        <a:pt x="19191" y="24603"/>
                      </a:lnTo>
                      <a:cubicBezTo>
                        <a:pt x="17645" y="27696"/>
                        <a:pt x="13779" y="30015"/>
                        <a:pt x="10686" y="30015"/>
                      </a:cubicBezTo>
                      <a:lnTo>
                        <a:pt x="10686" y="30015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148" name="Forma Livre: Forma 147">
                  <a:extLst>
                    <a:ext uri="{FF2B5EF4-FFF2-40B4-BE49-F238E27FC236}">
                      <a16:creationId xmlns:a16="http://schemas.microsoft.com/office/drawing/2014/main" id="{E3121518-E5E2-4A9E-B876-B27A4475F636}"/>
                    </a:ext>
                  </a:extLst>
                </p:cNvPr>
                <p:cNvSpPr/>
                <p:nvPr/>
              </p:nvSpPr>
              <p:spPr>
                <a:xfrm>
                  <a:off x="7765407" y="2670660"/>
                  <a:ext cx="29877" cy="26149"/>
                </a:xfrm>
                <a:custGeom>
                  <a:avLst/>
                  <a:gdLst>
                    <a:gd name="connsiteX0" fmla="*/ 19964 w 29877"/>
                    <a:gd name="connsiteY0" fmla="*/ 26149 h 26149"/>
                    <a:gd name="connsiteX1" fmla="*/ 14552 w 29877"/>
                    <a:gd name="connsiteY1" fmla="*/ 24603 h 26149"/>
                    <a:gd name="connsiteX2" fmla="*/ 5274 w 29877"/>
                    <a:gd name="connsiteY2" fmla="*/ 19191 h 26149"/>
                    <a:gd name="connsiteX3" fmla="*/ 1408 w 29877"/>
                    <a:gd name="connsiteY3" fmla="*/ 5274 h 26149"/>
                    <a:gd name="connsiteX4" fmla="*/ 15325 w 29877"/>
                    <a:gd name="connsiteY4" fmla="*/ 1408 h 26149"/>
                    <a:gd name="connsiteX5" fmla="*/ 24603 w 29877"/>
                    <a:gd name="connsiteY5" fmla="*/ 6820 h 26149"/>
                    <a:gd name="connsiteX6" fmla="*/ 28469 w 29877"/>
                    <a:gd name="connsiteY6" fmla="*/ 20737 h 26149"/>
                    <a:gd name="connsiteX7" fmla="*/ 19964 w 29877"/>
                    <a:gd name="connsiteY7" fmla="*/ 26149 h 26149"/>
                    <a:gd name="connsiteX8" fmla="*/ 19964 w 29877"/>
                    <a:gd name="connsiteY8" fmla="*/ 26149 h 261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9877" h="26149">
                      <a:moveTo>
                        <a:pt x="19964" y="26149"/>
                      </a:moveTo>
                      <a:cubicBezTo>
                        <a:pt x="18418" y="26149"/>
                        <a:pt x="16098" y="25376"/>
                        <a:pt x="14552" y="24603"/>
                      </a:cubicBezTo>
                      <a:lnTo>
                        <a:pt x="5274" y="19191"/>
                      </a:lnTo>
                      <a:cubicBezTo>
                        <a:pt x="635" y="16098"/>
                        <a:pt x="-1684" y="9913"/>
                        <a:pt x="1408" y="5274"/>
                      </a:cubicBezTo>
                      <a:cubicBezTo>
                        <a:pt x="4501" y="635"/>
                        <a:pt x="10686" y="-1684"/>
                        <a:pt x="15325" y="1408"/>
                      </a:cubicBezTo>
                      <a:lnTo>
                        <a:pt x="24603" y="6820"/>
                      </a:lnTo>
                      <a:cubicBezTo>
                        <a:pt x="29242" y="9913"/>
                        <a:pt x="31562" y="16098"/>
                        <a:pt x="28469" y="20737"/>
                      </a:cubicBezTo>
                      <a:cubicBezTo>
                        <a:pt x="27696" y="24603"/>
                        <a:pt x="23830" y="26149"/>
                        <a:pt x="19964" y="26149"/>
                      </a:cubicBezTo>
                      <a:lnTo>
                        <a:pt x="19964" y="26149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grpSp>
            <p:nvGrpSpPr>
              <p:cNvPr id="149" name="Gráfico 2">
                <a:extLst>
                  <a:ext uri="{FF2B5EF4-FFF2-40B4-BE49-F238E27FC236}">
                    <a16:creationId xmlns:a16="http://schemas.microsoft.com/office/drawing/2014/main" id="{6FEF66BF-8D1E-4FFA-95A2-6EE56886837B}"/>
                  </a:ext>
                </a:extLst>
              </p:cNvPr>
              <p:cNvGrpSpPr/>
              <p:nvPr/>
            </p:nvGrpSpPr>
            <p:grpSpPr>
              <a:xfrm>
                <a:off x="7765407" y="2604167"/>
                <a:ext cx="338539" cy="270470"/>
                <a:chOff x="7765407" y="2604167"/>
                <a:chExt cx="338539" cy="270470"/>
              </a:xfrm>
              <a:grpFill/>
            </p:grpSpPr>
            <p:sp>
              <p:nvSpPr>
                <p:cNvPr id="150" name="Forma Livre: Forma 149">
                  <a:extLst>
                    <a:ext uri="{FF2B5EF4-FFF2-40B4-BE49-F238E27FC236}">
                      <a16:creationId xmlns:a16="http://schemas.microsoft.com/office/drawing/2014/main" id="{9A86AEF7-723E-4540-B958-FB66BB074827}"/>
                    </a:ext>
                  </a:extLst>
                </p:cNvPr>
                <p:cNvSpPr/>
                <p:nvPr/>
              </p:nvSpPr>
              <p:spPr>
                <a:xfrm>
                  <a:off x="7832672" y="2604167"/>
                  <a:ext cx="26011" cy="30015"/>
                </a:xfrm>
                <a:custGeom>
                  <a:avLst/>
                  <a:gdLst>
                    <a:gd name="connsiteX0" fmla="*/ 16098 w 26011"/>
                    <a:gd name="connsiteY0" fmla="*/ 30015 h 30015"/>
                    <a:gd name="connsiteX1" fmla="*/ 6820 w 26011"/>
                    <a:gd name="connsiteY1" fmla="*/ 24603 h 30015"/>
                    <a:gd name="connsiteX2" fmla="*/ 1408 w 26011"/>
                    <a:gd name="connsiteY2" fmla="*/ 15325 h 30015"/>
                    <a:gd name="connsiteX3" fmla="*/ 5274 w 26011"/>
                    <a:gd name="connsiteY3" fmla="*/ 1408 h 30015"/>
                    <a:gd name="connsiteX4" fmla="*/ 19191 w 26011"/>
                    <a:gd name="connsiteY4" fmla="*/ 5274 h 30015"/>
                    <a:gd name="connsiteX5" fmla="*/ 24603 w 26011"/>
                    <a:gd name="connsiteY5" fmla="*/ 14552 h 30015"/>
                    <a:gd name="connsiteX6" fmla="*/ 20737 w 26011"/>
                    <a:gd name="connsiteY6" fmla="*/ 28469 h 30015"/>
                    <a:gd name="connsiteX7" fmla="*/ 16098 w 26011"/>
                    <a:gd name="connsiteY7" fmla="*/ 30015 h 30015"/>
                    <a:gd name="connsiteX8" fmla="*/ 16098 w 26011"/>
                    <a:gd name="connsiteY8" fmla="*/ 30015 h 30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6011" h="30015">
                      <a:moveTo>
                        <a:pt x="16098" y="30015"/>
                      </a:moveTo>
                      <a:cubicBezTo>
                        <a:pt x="12233" y="30015"/>
                        <a:pt x="9140" y="28469"/>
                        <a:pt x="6820" y="24603"/>
                      </a:cubicBezTo>
                      <a:lnTo>
                        <a:pt x="1408" y="15325"/>
                      </a:lnTo>
                      <a:cubicBezTo>
                        <a:pt x="-1684" y="10686"/>
                        <a:pt x="635" y="4501"/>
                        <a:pt x="5274" y="1408"/>
                      </a:cubicBezTo>
                      <a:cubicBezTo>
                        <a:pt x="9913" y="-1684"/>
                        <a:pt x="16098" y="635"/>
                        <a:pt x="19191" y="5274"/>
                      </a:cubicBezTo>
                      <a:lnTo>
                        <a:pt x="24603" y="14552"/>
                      </a:lnTo>
                      <a:cubicBezTo>
                        <a:pt x="27696" y="19191"/>
                        <a:pt x="25377" y="25376"/>
                        <a:pt x="20737" y="28469"/>
                      </a:cubicBezTo>
                      <a:cubicBezTo>
                        <a:pt x="19191" y="29242"/>
                        <a:pt x="17645" y="30015"/>
                        <a:pt x="16098" y="30015"/>
                      </a:cubicBezTo>
                      <a:lnTo>
                        <a:pt x="16098" y="30015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151" name="Forma Livre: Forma 150">
                  <a:extLst>
                    <a:ext uri="{FF2B5EF4-FFF2-40B4-BE49-F238E27FC236}">
                      <a16:creationId xmlns:a16="http://schemas.microsoft.com/office/drawing/2014/main" id="{C5F6637A-E5CB-49B2-A6CB-6164B43C6427}"/>
                    </a:ext>
                  </a:extLst>
                </p:cNvPr>
                <p:cNvSpPr/>
                <p:nvPr/>
              </p:nvSpPr>
              <p:spPr>
                <a:xfrm>
                  <a:off x="7765407" y="2848489"/>
                  <a:ext cx="29877" cy="26149"/>
                </a:xfrm>
                <a:custGeom>
                  <a:avLst/>
                  <a:gdLst>
                    <a:gd name="connsiteX0" fmla="*/ 10686 w 29877"/>
                    <a:gd name="connsiteY0" fmla="*/ 26149 h 26149"/>
                    <a:gd name="connsiteX1" fmla="*/ 1408 w 29877"/>
                    <a:gd name="connsiteY1" fmla="*/ 20737 h 26149"/>
                    <a:gd name="connsiteX2" fmla="*/ 5274 w 29877"/>
                    <a:gd name="connsiteY2" fmla="*/ 6820 h 26149"/>
                    <a:gd name="connsiteX3" fmla="*/ 14552 w 29877"/>
                    <a:gd name="connsiteY3" fmla="*/ 1408 h 26149"/>
                    <a:gd name="connsiteX4" fmla="*/ 28469 w 29877"/>
                    <a:gd name="connsiteY4" fmla="*/ 5274 h 26149"/>
                    <a:gd name="connsiteX5" fmla="*/ 24603 w 29877"/>
                    <a:gd name="connsiteY5" fmla="*/ 19191 h 26149"/>
                    <a:gd name="connsiteX6" fmla="*/ 15325 w 29877"/>
                    <a:gd name="connsiteY6" fmla="*/ 24603 h 26149"/>
                    <a:gd name="connsiteX7" fmla="*/ 10686 w 29877"/>
                    <a:gd name="connsiteY7" fmla="*/ 26149 h 26149"/>
                    <a:gd name="connsiteX8" fmla="*/ 10686 w 29877"/>
                    <a:gd name="connsiteY8" fmla="*/ 26149 h 261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9877" h="26149">
                      <a:moveTo>
                        <a:pt x="10686" y="26149"/>
                      </a:moveTo>
                      <a:cubicBezTo>
                        <a:pt x="6820" y="26149"/>
                        <a:pt x="3728" y="24603"/>
                        <a:pt x="1408" y="20737"/>
                      </a:cubicBezTo>
                      <a:cubicBezTo>
                        <a:pt x="-1684" y="16098"/>
                        <a:pt x="635" y="9913"/>
                        <a:pt x="5274" y="6820"/>
                      </a:cubicBezTo>
                      <a:lnTo>
                        <a:pt x="14552" y="1408"/>
                      </a:lnTo>
                      <a:cubicBezTo>
                        <a:pt x="19191" y="-1684"/>
                        <a:pt x="25377" y="635"/>
                        <a:pt x="28469" y="5274"/>
                      </a:cubicBezTo>
                      <a:cubicBezTo>
                        <a:pt x="31562" y="9913"/>
                        <a:pt x="29242" y="16098"/>
                        <a:pt x="24603" y="19191"/>
                      </a:cubicBezTo>
                      <a:lnTo>
                        <a:pt x="15325" y="24603"/>
                      </a:lnTo>
                      <a:cubicBezTo>
                        <a:pt x="14552" y="25376"/>
                        <a:pt x="12233" y="26149"/>
                        <a:pt x="10686" y="26149"/>
                      </a:cubicBezTo>
                      <a:lnTo>
                        <a:pt x="10686" y="26149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152" name="Forma Livre: Forma 151">
                  <a:extLst>
                    <a:ext uri="{FF2B5EF4-FFF2-40B4-BE49-F238E27FC236}">
                      <a16:creationId xmlns:a16="http://schemas.microsoft.com/office/drawing/2014/main" id="{1265547E-9F65-4EF9-AB51-57E238B1B8FF}"/>
                    </a:ext>
                  </a:extLst>
                </p:cNvPr>
                <p:cNvSpPr/>
                <p:nvPr/>
              </p:nvSpPr>
              <p:spPr>
                <a:xfrm>
                  <a:off x="8073733" y="2670660"/>
                  <a:ext cx="30213" cy="26149"/>
                </a:xfrm>
                <a:custGeom>
                  <a:avLst/>
                  <a:gdLst>
                    <a:gd name="connsiteX0" fmla="*/ 10081 w 30213"/>
                    <a:gd name="connsiteY0" fmla="*/ 26149 h 26149"/>
                    <a:gd name="connsiteX1" fmla="*/ 1576 w 30213"/>
                    <a:gd name="connsiteY1" fmla="*/ 20737 h 26149"/>
                    <a:gd name="connsiteX2" fmla="*/ 5442 w 30213"/>
                    <a:gd name="connsiteY2" fmla="*/ 6820 h 26149"/>
                    <a:gd name="connsiteX3" fmla="*/ 14720 w 30213"/>
                    <a:gd name="connsiteY3" fmla="*/ 1408 h 26149"/>
                    <a:gd name="connsiteX4" fmla="*/ 28637 w 30213"/>
                    <a:gd name="connsiteY4" fmla="*/ 5274 h 26149"/>
                    <a:gd name="connsiteX5" fmla="*/ 24771 w 30213"/>
                    <a:gd name="connsiteY5" fmla="*/ 19191 h 26149"/>
                    <a:gd name="connsiteX6" fmla="*/ 15494 w 30213"/>
                    <a:gd name="connsiteY6" fmla="*/ 24603 h 26149"/>
                    <a:gd name="connsiteX7" fmla="*/ 10081 w 30213"/>
                    <a:gd name="connsiteY7" fmla="*/ 26149 h 26149"/>
                    <a:gd name="connsiteX8" fmla="*/ 10081 w 30213"/>
                    <a:gd name="connsiteY8" fmla="*/ 26149 h 261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0213" h="26149">
                      <a:moveTo>
                        <a:pt x="10081" y="26149"/>
                      </a:moveTo>
                      <a:cubicBezTo>
                        <a:pt x="6215" y="26149"/>
                        <a:pt x="3123" y="24603"/>
                        <a:pt x="1576" y="20737"/>
                      </a:cubicBezTo>
                      <a:cubicBezTo>
                        <a:pt x="-1517" y="16098"/>
                        <a:pt x="30" y="9913"/>
                        <a:pt x="5442" y="6820"/>
                      </a:cubicBezTo>
                      <a:lnTo>
                        <a:pt x="14720" y="1408"/>
                      </a:lnTo>
                      <a:cubicBezTo>
                        <a:pt x="19360" y="-1684"/>
                        <a:pt x="25544" y="635"/>
                        <a:pt x="28637" y="5274"/>
                      </a:cubicBezTo>
                      <a:cubicBezTo>
                        <a:pt x="31730" y="9913"/>
                        <a:pt x="30183" y="16098"/>
                        <a:pt x="24771" y="19191"/>
                      </a:cubicBezTo>
                      <a:lnTo>
                        <a:pt x="15494" y="24603"/>
                      </a:lnTo>
                      <a:cubicBezTo>
                        <a:pt x="13174" y="26149"/>
                        <a:pt x="11627" y="26149"/>
                        <a:pt x="10081" y="26149"/>
                      </a:cubicBezTo>
                      <a:lnTo>
                        <a:pt x="10081" y="26149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sp>
            <p:nvSpPr>
              <p:cNvPr id="153" name="Forma Livre: Forma 152">
                <a:extLst>
                  <a:ext uri="{FF2B5EF4-FFF2-40B4-BE49-F238E27FC236}">
                    <a16:creationId xmlns:a16="http://schemas.microsoft.com/office/drawing/2014/main" id="{2941C68D-A0BD-4A33-A6D1-D3AA868CFFE2}"/>
                  </a:ext>
                </a:extLst>
              </p:cNvPr>
              <p:cNvSpPr/>
              <p:nvPr/>
            </p:nvSpPr>
            <p:spPr>
              <a:xfrm>
                <a:off x="7856889" y="2754410"/>
                <a:ext cx="95873" cy="96259"/>
              </a:xfrm>
              <a:custGeom>
                <a:avLst/>
                <a:gdLst>
                  <a:gd name="connsiteX0" fmla="*/ 20489 w 95873"/>
                  <a:gd name="connsiteY0" fmla="*/ 96260 h 96259"/>
                  <a:gd name="connsiteX1" fmla="*/ 5799 w 95873"/>
                  <a:gd name="connsiteY1" fmla="*/ 90074 h 96259"/>
                  <a:gd name="connsiteX2" fmla="*/ 5799 w 95873"/>
                  <a:gd name="connsiteY2" fmla="*/ 60694 h 96259"/>
                  <a:gd name="connsiteX3" fmla="*/ 60693 w 95873"/>
                  <a:gd name="connsiteY3" fmla="*/ 5799 h 96259"/>
                  <a:gd name="connsiteX4" fmla="*/ 90074 w 95873"/>
                  <a:gd name="connsiteY4" fmla="*/ 5799 h 96259"/>
                  <a:gd name="connsiteX5" fmla="*/ 90074 w 95873"/>
                  <a:gd name="connsiteY5" fmla="*/ 35179 h 96259"/>
                  <a:gd name="connsiteX6" fmla="*/ 35179 w 95873"/>
                  <a:gd name="connsiteY6" fmla="*/ 90074 h 96259"/>
                  <a:gd name="connsiteX7" fmla="*/ 20489 w 95873"/>
                  <a:gd name="connsiteY7" fmla="*/ 96260 h 96259"/>
                  <a:gd name="connsiteX8" fmla="*/ 20489 w 95873"/>
                  <a:gd name="connsiteY8" fmla="*/ 96260 h 96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5873" h="96259">
                    <a:moveTo>
                      <a:pt x="20489" y="96260"/>
                    </a:moveTo>
                    <a:cubicBezTo>
                      <a:pt x="15077" y="96260"/>
                      <a:pt x="9665" y="93940"/>
                      <a:pt x="5799" y="90074"/>
                    </a:cubicBezTo>
                    <a:cubicBezTo>
                      <a:pt x="-1933" y="82342"/>
                      <a:pt x="-1933" y="69199"/>
                      <a:pt x="5799" y="60694"/>
                    </a:cubicBezTo>
                    <a:lnTo>
                      <a:pt x="60693" y="5799"/>
                    </a:lnTo>
                    <a:cubicBezTo>
                      <a:pt x="68425" y="-1933"/>
                      <a:pt x="81569" y="-1933"/>
                      <a:pt x="90074" y="5799"/>
                    </a:cubicBezTo>
                    <a:cubicBezTo>
                      <a:pt x="97806" y="13530"/>
                      <a:pt x="97806" y="26674"/>
                      <a:pt x="90074" y="35179"/>
                    </a:cubicBezTo>
                    <a:lnTo>
                      <a:pt x="35179" y="90074"/>
                    </a:lnTo>
                    <a:cubicBezTo>
                      <a:pt x="31313" y="93940"/>
                      <a:pt x="25901" y="96260"/>
                      <a:pt x="20489" y="96260"/>
                    </a:cubicBezTo>
                    <a:lnTo>
                      <a:pt x="20489" y="96260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54" name="Forma Livre: Forma 153">
                <a:extLst>
                  <a:ext uri="{FF2B5EF4-FFF2-40B4-BE49-F238E27FC236}">
                    <a16:creationId xmlns:a16="http://schemas.microsoft.com/office/drawing/2014/main" id="{EB87545C-1CBC-42EF-9ED8-0102ACD787D5}"/>
                  </a:ext>
                </a:extLst>
              </p:cNvPr>
              <p:cNvSpPr/>
              <p:nvPr/>
            </p:nvSpPr>
            <p:spPr>
              <a:xfrm>
                <a:off x="7979436" y="2757890"/>
                <a:ext cx="255145" cy="255145"/>
              </a:xfrm>
              <a:custGeom>
                <a:avLst/>
                <a:gdLst>
                  <a:gd name="connsiteX0" fmla="*/ 127573 w 255145"/>
                  <a:gd name="connsiteY0" fmla="*/ 255145 h 255145"/>
                  <a:gd name="connsiteX1" fmla="*/ 0 w 255145"/>
                  <a:gd name="connsiteY1" fmla="*/ 127573 h 255145"/>
                  <a:gd name="connsiteX2" fmla="*/ 127573 w 255145"/>
                  <a:gd name="connsiteY2" fmla="*/ 0 h 255145"/>
                  <a:gd name="connsiteX3" fmla="*/ 255145 w 255145"/>
                  <a:gd name="connsiteY3" fmla="*/ 127573 h 255145"/>
                  <a:gd name="connsiteX4" fmla="*/ 127573 w 255145"/>
                  <a:gd name="connsiteY4" fmla="*/ 255145 h 255145"/>
                  <a:gd name="connsiteX5" fmla="*/ 127573 w 255145"/>
                  <a:gd name="connsiteY5" fmla="*/ 255145 h 255145"/>
                  <a:gd name="connsiteX6" fmla="*/ 127573 w 255145"/>
                  <a:gd name="connsiteY6" fmla="*/ 20875 h 255145"/>
                  <a:gd name="connsiteX7" fmla="*/ 20876 w 255145"/>
                  <a:gd name="connsiteY7" fmla="*/ 127573 h 255145"/>
                  <a:gd name="connsiteX8" fmla="*/ 127573 w 255145"/>
                  <a:gd name="connsiteY8" fmla="*/ 234270 h 255145"/>
                  <a:gd name="connsiteX9" fmla="*/ 234270 w 255145"/>
                  <a:gd name="connsiteY9" fmla="*/ 127573 h 255145"/>
                  <a:gd name="connsiteX10" fmla="*/ 127573 w 255145"/>
                  <a:gd name="connsiteY10" fmla="*/ 20875 h 255145"/>
                  <a:gd name="connsiteX11" fmla="*/ 127573 w 255145"/>
                  <a:gd name="connsiteY11" fmla="*/ 20875 h 255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55145" h="255145">
                    <a:moveTo>
                      <a:pt x="127573" y="255145"/>
                    </a:moveTo>
                    <a:cubicBezTo>
                      <a:pt x="57215" y="255145"/>
                      <a:pt x="0" y="197931"/>
                      <a:pt x="0" y="127573"/>
                    </a:cubicBezTo>
                    <a:cubicBezTo>
                      <a:pt x="0" y="57214"/>
                      <a:pt x="57215" y="0"/>
                      <a:pt x="127573" y="0"/>
                    </a:cubicBezTo>
                    <a:cubicBezTo>
                      <a:pt x="197931" y="0"/>
                      <a:pt x="255145" y="57214"/>
                      <a:pt x="255145" y="127573"/>
                    </a:cubicBezTo>
                    <a:cubicBezTo>
                      <a:pt x="254372" y="197931"/>
                      <a:pt x="197158" y="255145"/>
                      <a:pt x="127573" y="255145"/>
                    </a:cubicBezTo>
                    <a:lnTo>
                      <a:pt x="127573" y="255145"/>
                    </a:lnTo>
                    <a:close/>
                    <a:moveTo>
                      <a:pt x="127573" y="20875"/>
                    </a:moveTo>
                    <a:cubicBezTo>
                      <a:pt x="68812" y="20875"/>
                      <a:pt x="20876" y="68812"/>
                      <a:pt x="20876" y="127573"/>
                    </a:cubicBezTo>
                    <a:cubicBezTo>
                      <a:pt x="20876" y="186333"/>
                      <a:pt x="68812" y="234270"/>
                      <a:pt x="127573" y="234270"/>
                    </a:cubicBezTo>
                    <a:cubicBezTo>
                      <a:pt x="186333" y="234270"/>
                      <a:pt x="234270" y="186333"/>
                      <a:pt x="234270" y="127573"/>
                    </a:cubicBezTo>
                    <a:cubicBezTo>
                      <a:pt x="234270" y="68812"/>
                      <a:pt x="186333" y="20875"/>
                      <a:pt x="127573" y="20875"/>
                    </a:cubicBezTo>
                    <a:lnTo>
                      <a:pt x="127573" y="20875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55" name="Forma Livre: Forma 154">
                <a:extLst>
                  <a:ext uri="{FF2B5EF4-FFF2-40B4-BE49-F238E27FC236}">
                    <a16:creationId xmlns:a16="http://schemas.microsoft.com/office/drawing/2014/main" id="{E9042CFB-DF5F-4C2C-9736-245374A04FCC}"/>
                  </a:ext>
                </a:extLst>
              </p:cNvPr>
              <p:cNvSpPr/>
              <p:nvPr/>
            </p:nvSpPr>
            <p:spPr>
              <a:xfrm>
                <a:off x="8028919" y="2864587"/>
                <a:ext cx="155406" cy="41751"/>
              </a:xfrm>
              <a:custGeom>
                <a:avLst/>
                <a:gdLst>
                  <a:gd name="connsiteX0" fmla="*/ 134531 w 155406"/>
                  <a:gd name="connsiteY0" fmla="*/ 41751 h 41751"/>
                  <a:gd name="connsiteX1" fmla="*/ 20876 w 155406"/>
                  <a:gd name="connsiteY1" fmla="*/ 41751 h 41751"/>
                  <a:gd name="connsiteX2" fmla="*/ 0 w 155406"/>
                  <a:gd name="connsiteY2" fmla="*/ 20876 h 41751"/>
                  <a:gd name="connsiteX3" fmla="*/ 20876 w 155406"/>
                  <a:gd name="connsiteY3" fmla="*/ 0 h 41751"/>
                  <a:gd name="connsiteX4" fmla="*/ 134531 w 155406"/>
                  <a:gd name="connsiteY4" fmla="*/ 0 h 41751"/>
                  <a:gd name="connsiteX5" fmla="*/ 155407 w 155406"/>
                  <a:gd name="connsiteY5" fmla="*/ 20876 h 41751"/>
                  <a:gd name="connsiteX6" fmla="*/ 134531 w 155406"/>
                  <a:gd name="connsiteY6" fmla="*/ 41751 h 41751"/>
                  <a:gd name="connsiteX7" fmla="*/ 134531 w 155406"/>
                  <a:gd name="connsiteY7" fmla="*/ 41751 h 41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5406" h="41751">
                    <a:moveTo>
                      <a:pt x="134531" y="41751"/>
                    </a:moveTo>
                    <a:lnTo>
                      <a:pt x="20876" y="41751"/>
                    </a:lnTo>
                    <a:cubicBezTo>
                      <a:pt x="9278" y="41751"/>
                      <a:pt x="0" y="32473"/>
                      <a:pt x="0" y="20876"/>
                    </a:cubicBezTo>
                    <a:cubicBezTo>
                      <a:pt x="0" y="9278"/>
                      <a:pt x="9278" y="0"/>
                      <a:pt x="20876" y="0"/>
                    </a:cubicBezTo>
                    <a:lnTo>
                      <a:pt x="134531" y="0"/>
                    </a:lnTo>
                    <a:cubicBezTo>
                      <a:pt x="146129" y="0"/>
                      <a:pt x="155407" y="9278"/>
                      <a:pt x="155407" y="20876"/>
                    </a:cubicBezTo>
                    <a:cubicBezTo>
                      <a:pt x="155407" y="32473"/>
                      <a:pt x="146129" y="41751"/>
                      <a:pt x="134531" y="41751"/>
                    </a:cubicBezTo>
                    <a:lnTo>
                      <a:pt x="134531" y="41751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56" name="Forma Livre: Forma 155">
                <a:extLst>
                  <a:ext uri="{FF2B5EF4-FFF2-40B4-BE49-F238E27FC236}">
                    <a16:creationId xmlns:a16="http://schemas.microsoft.com/office/drawing/2014/main" id="{87642258-1D40-4D41-9E27-324D88E3EA4F}"/>
                  </a:ext>
                </a:extLst>
              </p:cNvPr>
              <p:cNvSpPr/>
              <p:nvPr/>
            </p:nvSpPr>
            <p:spPr>
              <a:xfrm>
                <a:off x="7712693" y="2551454"/>
                <a:ext cx="443798" cy="443798"/>
              </a:xfrm>
              <a:custGeom>
                <a:avLst/>
                <a:gdLst>
                  <a:gd name="connsiteX0" fmla="*/ 221899 w 443798"/>
                  <a:gd name="connsiteY0" fmla="*/ 443798 h 443798"/>
                  <a:gd name="connsiteX1" fmla="*/ 0 w 443798"/>
                  <a:gd name="connsiteY1" fmla="*/ 221899 h 443798"/>
                  <a:gd name="connsiteX2" fmla="*/ 221899 w 443798"/>
                  <a:gd name="connsiteY2" fmla="*/ 0 h 443798"/>
                  <a:gd name="connsiteX3" fmla="*/ 443799 w 443798"/>
                  <a:gd name="connsiteY3" fmla="*/ 221899 h 443798"/>
                  <a:gd name="connsiteX4" fmla="*/ 402820 w 443798"/>
                  <a:gd name="connsiteY4" fmla="*/ 221899 h 443798"/>
                  <a:gd name="connsiteX5" fmla="*/ 221899 w 443798"/>
                  <a:gd name="connsiteY5" fmla="*/ 40978 h 443798"/>
                  <a:gd name="connsiteX6" fmla="*/ 40978 w 443798"/>
                  <a:gd name="connsiteY6" fmla="*/ 221899 h 443798"/>
                  <a:gd name="connsiteX7" fmla="*/ 221899 w 443798"/>
                  <a:gd name="connsiteY7" fmla="*/ 402821 h 443798"/>
                  <a:gd name="connsiteX8" fmla="*/ 293804 w 443798"/>
                  <a:gd name="connsiteY8" fmla="*/ 388130 h 443798"/>
                  <a:gd name="connsiteX9" fmla="*/ 310041 w 443798"/>
                  <a:gd name="connsiteY9" fmla="*/ 426016 h 443798"/>
                  <a:gd name="connsiteX10" fmla="*/ 221899 w 443798"/>
                  <a:gd name="connsiteY10" fmla="*/ 443798 h 443798"/>
                  <a:gd name="connsiteX11" fmla="*/ 221899 w 443798"/>
                  <a:gd name="connsiteY11" fmla="*/ 443798 h 443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43798" h="443798">
                    <a:moveTo>
                      <a:pt x="221899" y="443798"/>
                    </a:moveTo>
                    <a:cubicBezTo>
                      <a:pt x="99739" y="443798"/>
                      <a:pt x="0" y="344060"/>
                      <a:pt x="0" y="221899"/>
                    </a:cubicBezTo>
                    <a:cubicBezTo>
                      <a:pt x="0" y="99739"/>
                      <a:pt x="99739" y="0"/>
                      <a:pt x="221899" y="0"/>
                    </a:cubicBezTo>
                    <a:cubicBezTo>
                      <a:pt x="344060" y="0"/>
                      <a:pt x="443799" y="99739"/>
                      <a:pt x="443799" y="221899"/>
                    </a:cubicBezTo>
                    <a:lnTo>
                      <a:pt x="402820" y="221899"/>
                    </a:lnTo>
                    <a:cubicBezTo>
                      <a:pt x="402820" y="122160"/>
                      <a:pt x="321638" y="40978"/>
                      <a:pt x="221899" y="40978"/>
                    </a:cubicBezTo>
                    <a:cubicBezTo>
                      <a:pt x="122161" y="40978"/>
                      <a:pt x="40978" y="122160"/>
                      <a:pt x="40978" y="221899"/>
                    </a:cubicBezTo>
                    <a:cubicBezTo>
                      <a:pt x="40978" y="321638"/>
                      <a:pt x="122161" y="402821"/>
                      <a:pt x="221899" y="402821"/>
                    </a:cubicBezTo>
                    <a:cubicBezTo>
                      <a:pt x="246641" y="402821"/>
                      <a:pt x="270609" y="398182"/>
                      <a:pt x="293804" y="388130"/>
                    </a:cubicBezTo>
                    <a:lnTo>
                      <a:pt x="310041" y="426016"/>
                    </a:lnTo>
                    <a:cubicBezTo>
                      <a:pt x="282206" y="437613"/>
                      <a:pt x="252826" y="443798"/>
                      <a:pt x="221899" y="443798"/>
                    </a:cubicBezTo>
                    <a:lnTo>
                      <a:pt x="221899" y="443798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157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8374241" y="2621229"/>
              <a:ext cx="414114" cy="366944"/>
              <a:chOff x="8971411" y="2549907"/>
              <a:chExt cx="522661" cy="463127"/>
            </a:xfrm>
            <a:solidFill>
              <a:srgbClr val="B1B1A1"/>
            </a:solidFill>
          </p:grpSpPr>
          <p:sp>
            <p:nvSpPr>
              <p:cNvPr id="158" name="Forma Livre: Forma 157">
                <a:extLst>
                  <a:ext uri="{FF2B5EF4-FFF2-40B4-BE49-F238E27FC236}">
                    <a16:creationId xmlns:a16="http://schemas.microsoft.com/office/drawing/2014/main" id="{2FE354D4-D04A-4C6A-9EBB-ADFA106969B9}"/>
                  </a:ext>
                </a:extLst>
              </p:cNvPr>
              <p:cNvSpPr/>
              <p:nvPr/>
            </p:nvSpPr>
            <p:spPr>
              <a:xfrm>
                <a:off x="9173208" y="2615627"/>
                <a:ext cx="41751" cy="177828"/>
              </a:xfrm>
              <a:custGeom>
                <a:avLst/>
                <a:gdLst>
                  <a:gd name="connsiteX0" fmla="*/ 20875 w 41751"/>
                  <a:gd name="connsiteY0" fmla="*/ 177829 h 177828"/>
                  <a:gd name="connsiteX1" fmla="*/ 0 w 41751"/>
                  <a:gd name="connsiteY1" fmla="*/ 156953 h 177828"/>
                  <a:gd name="connsiteX2" fmla="*/ 0 w 41751"/>
                  <a:gd name="connsiteY2" fmla="*/ 20876 h 177828"/>
                  <a:gd name="connsiteX3" fmla="*/ 20875 w 41751"/>
                  <a:gd name="connsiteY3" fmla="*/ 0 h 177828"/>
                  <a:gd name="connsiteX4" fmla="*/ 41751 w 41751"/>
                  <a:gd name="connsiteY4" fmla="*/ 20876 h 177828"/>
                  <a:gd name="connsiteX5" fmla="*/ 41751 w 41751"/>
                  <a:gd name="connsiteY5" fmla="*/ 156953 h 177828"/>
                  <a:gd name="connsiteX6" fmla="*/ 20875 w 41751"/>
                  <a:gd name="connsiteY6" fmla="*/ 177829 h 177828"/>
                  <a:gd name="connsiteX7" fmla="*/ 20875 w 41751"/>
                  <a:gd name="connsiteY7" fmla="*/ 177829 h 1778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51" h="177828">
                    <a:moveTo>
                      <a:pt x="20875" y="177829"/>
                    </a:moveTo>
                    <a:cubicBezTo>
                      <a:pt x="9278" y="177829"/>
                      <a:pt x="0" y="168551"/>
                      <a:pt x="0" y="156953"/>
                    </a:cubicBezTo>
                    <a:lnTo>
                      <a:pt x="0" y="20876"/>
                    </a:lnTo>
                    <a:cubicBezTo>
                      <a:pt x="0" y="9278"/>
                      <a:pt x="9278" y="0"/>
                      <a:pt x="20875" y="0"/>
                    </a:cubicBezTo>
                    <a:cubicBezTo>
                      <a:pt x="32473" y="0"/>
                      <a:pt x="41751" y="9278"/>
                      <a:pt x="41751" y="20876"/>
                    </a:cubicBezTo>
                    <a:lnTo>
                      <a:pt x="41751" y="156953"/>
                    </a:lnTo>
                    <a:cubicBezTo>
                      <a:pt x="41751" y="168551"/>
                      <a:pt x="32473" y="177829"/>
                      <a:pt x="20875" y="177829"/>
                    </a:cubicBezTo>
                    <a:lnTo>
                      <a:pt x="20875" y="177829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59" name="Forma Livre: Forma 158">
                <a:extLst>
                  <a:ext uri="{FF2B5EF4-FFF2-40B4-BE49-F238E27FC236}">
                    <a16:creationId xmlns:a16="http://schemas.microsoft.com/office/drawing/2014/main" id="{8DAFE1CB-C518-47FB-A3B2-809FE84014E0}"/>
                  </a:ext>
                </a:extLst>
              </p:cNvPr>
              <p:cNvSpPr/>
              <p:nvPr/>
            </p:nvSpPr>
            <p:spPr>
              <a:xfrm>
                <a:off x="9173208" y="2549907"/>
                <a:ext cx="41751" cy="54121"/>
              </a:xfrm>
              <a:custGeom>
                <a:avLst/>
                <a:gdLst>
                  <a:gd name="connsiteX0" fmla="*/ 20875 w 41751"/>
                  <a:gd name="connsiteY0" fmla="*/ 54122 h 54121"/>
                  <a:gd name="connsiteX1" fmla="*/ 0 w 41751"/>
                  <a:gd name="connsiteY1" fmla="*/ 33246 h 54121"/>
                  <a:gd name="connsiteX2" fmla="*/ 0 w 41751"/>
                  <a:gd name="connsiteY2" fmla="*/ 20876 h 54121"/>
                  <a:gd name="connsiteX3" fmla="*/ 20875 w 41751"/>
                  <a:gd name="connsiteY3" fmla="*/ 0 h 54121"/>
                  <a:gd name="connsiteX4" fmla="*/ 41751 w 41751"/>
                  <a:gd name="connsiteY4" fmla="*/ 20876 h 54121"/>
                  <a:gd name="connsiteX5" fmla="*/ 41751 w 41751"/>
                  <a:gd name="connsiteY5" fmla="*/ 33246 h 54121"/>
                  <a:gd name="connsiteX6" fmla="*/ 20875 w 41751"/>
                  <a:gd name="connsiteY6" fmla="*/ 54122 h 54121"/>
                  <a:gd name="connsiteX7" fmla="*/ 20875 w 41751"/>
                  <a:gd name="connsiteY7" fmla="*/ 54122 h 54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51" h="54121">
                    <a:moveTo>
                      <a:pt x="20875" y="54122"/>
                    </a:moveTo>
                    <a:cubicBezTo>
                      <a:pt x="9278" y="54122"/>
                      <a:pt x="0" y="44844"/>
                      <a:pt x="0" y="33246"/>
                    </a:cubicBezTo>
                    <a:lnTo>
                      <a:pt x="0" y="20876"/>
                    </a:lnTo>
                    <a:cubicBezTo>
                      <a:pt x="0" y="9278"/>
                      <a:pt x="9278" y="0"/>
                      <a:pt x="20875" y="0"/>
                    </a:cubicBezTo>
                    <a:cubicBezTo>
                      <a:pt x="32473" y="0"/>
                      <a:pt x="41751" y="9278"/>
                      <a:pt x="41751" y="20876"/>
                    </a:cubicBezTo>
                    <a:lnTo>
                      <a:pt x="41751" y="33246"/>
                    </a:lnTo>
                    <a:cubicBezTo>
                      <a:pt x="41751" y="44844"/>
                      <a:pt x="32473" y="54122"/>
                      <a:pt x="20875" y="54122"/>
                    </a:cubicBezTo>
                    <a:lnTo>
                      <a:pt x="20875" y="54122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60" name="Forma Livre: Forma 159">
                <a:extLst>
                  <a:ext uri="{FF2B5EF4-FFF2-40B4-BE49-F238E27FC236}">
                    <a16:creationId xmlns:a16="http://schemas.microsoft.com/office/drawing/2014/main" id="{F1B785F8-C592-4220-95BF-73A74EF6DAF9}"/>
                  </a:ext>
                </a:extLst>
              </p:cNvPr>
              <p:cNvSpPr/>
              <p:nvPr/>
            </p:nvSpPr>
            <p:spPr>
              <a:xfrm>
                <a:off x="9173208" y="2941130"/>
                <a:ext cx="41751" cy="54121"/>
              </a:xfrm>
              <a:custGeom>
                <a:avLst/>
                <a:gdLst>
                  <a:gd name="connsiteX0" fmla="*/ 20875 w 41751"/>
                  <a:gd name="connsiteY0" fmla="*/ 54122 h 54121"/>
                  <a:gd name="connsiteX1" fmla="*/ 0 w 41751"/>
                  <a:gd name="connsiteY1" fmla="*/ 33246 h 54121"/>
                  <a:gd name="connsiteX2" fmla="*/ 0 w 41751"/>
                  <a:gd name="connsiteY2" fmla="*/ 20876 h 54121"/>
                  <a:gd name="connsiteX3" fmla="*/ 20875 w 41751"/>
                  <a:gd name="connsiteY3" fmla="*/ 0 h 54121"/>
                  <a:gd name="connsiteX4" fmla="*/ 41751 w 41751"/>
                  <a:gd name="connsiteY4" fmla="*/ 20876 h 54121"/>
                  <a:gd name="connsiteX5" fmla="*/ 41751 w 41751"/>
                  <a:gd name="connsiteY5" fmla="*/ 33246 h 54121"/>
                  <a:gd name="connsiteX6" fmla="*/ 20875 w 41751"/>
                  <a:gd name="connsiteY6" fmla="*/ 54122 h 54121"/>
                  <a:gd name="connsiteX7" fmla="*/ 20875 w 41751"/>
                  <a:gd name="connsiteY7" fmla="*/ 54122 h 54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51" h="54121">
                    <a:moveTo>
                      <a:pt x="20875" y="54122"/>
                    </a:moveTo>
                    <a:cubicBezTo>
                      <a:pt x="9278" y="54122"/>
                      <a:pt x="0" y="44844"/>
                      <a:pt x="0" y="33246"/>
                    </a:cubicBezTo>
                    <a:lnTo>
                      <a:pt x="0" y="20876"/>
                    </a:lnTo>
                    <a:cubicBezTo>
                      <a:pt x="0" y="9278"/>
                      <a:pt x="9278" y="0"/>
                      <a:pt x="20875" y="0"/>
                    </a:cubicBezTo>
                    <a:cubicBezTo>
                      <a:pt x="32473" y="0"/>
                      <a:pt x="41751" y="9278"/>
                      <a:pt x="41751" y="20876"/>
                    </a:cubicBezTo>
                    <a:lnTo>
                      <a:pt x="41751" y="33246"/>
                    </a:lnTo>
                    <a:cubicBezTo>
                      <a:pt x="41751" y="44844"/>
                      <a:pt x="32473" y="54122"/>
                      <a:pt x="20875" y="54122"/>
                    </a:cubicBezTo>
                    <a:lnTo>
                      <a:pt x="20875" y="54122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61" name="Forma Livre: Forma 160">
                <a:extLst>
                  <a:ext uri="{FF2B5EF4-FFF2-40B4-BE49-F238E27FC236}">
                    <a16:creationId xmlns:a16="http://schemas.microsoft.com/office/drawing/2014/main" id="{4EA82C08-C8EF-4C08-B52E-109B8703E7A0}"/>
                  </a:ext>
                </a:extLst>
              </p:cNvPr>
              <p:cNvSpPr/>
              <p:nvPr/>
            </p:nvSpPr>
            <p:spPr>
              <a:xfrm>
                <a:off x="8971411" y="2751704"/>
                <a:ext cx="54121" cy="41751"/>
              </a:xfrm>
              <a:custGeom>
                <a:avLst/>
                <a:gdLst>
                  <a:gd name="connsiteX0" fmla="*/ 33246 w 54121"/>
                  <a:gd name="connsiteY0" fmla="*/ 41751 h 41751"/>
                  <a:gd name="connsiteX1" fmla="*/ 20875 w 54121"/>
                  <a:gd name="connsiteY1" fmla="*/ 41751 h 41751"/>
                  <a:gd name="connsiteX2" fmla="*/ 0 w 54121"/>
                  <a:gd name="connsiteY2" fmla="*/ 20876 h 41751"/>
                  <a:gd name="connsiteX3" fmla="*/ 20875 w 54121"/>
                  <a:gd name="connsiteY3" fmla="*/ 0 h 41751"/>
                  <a:gd name="connsiteX4" fmla="*/ 33246 w 54121"/>
                  <a:gd name="connsiteY4" fmla="*/ 0 h 41751"/>
                  <a:gd name="connsiteX5" fmla="*/ 54122 w 54121"/>
                  <a:gd name="connsiteY5" fmla="*/ 20876 h 41751"/>
                  <a:gd name="connsiteX6" fmla="*/ 33246 w 54121"/>
                  <a:gd name="connsiteY6" fmla="*/ 41751 h 41751"/>
                  <a:gd name="connsiteX7" fmla="*/ 33246 w 54121"/>
                  <a:gd name="connsiteY7" fmla="*/ 41751 h 41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4121" h="41751">
                    <a:moveTo>
                      <a:pt x="33246" y="41751"/>
                    </a:moveTo>
                    <a:lnTo>
                      <a:pt x="20875" y="41751"/>
                    </a:lnTo>
                    <a:cubicBezTo>
                      <a:pt x="9278" y="41751"/>
                      <a:pt x="0" y="32473"/>
                      <a:pt x="0" y="20876"/>
                    </a:cubicBezTo>
                    <a:cubicBezTo>
                      <a:pt x="0" y="9278"/>
                      <a:pt x="9278" y="0"/>
                      <a:pt x="20875" y="0"/>
                    </a:cubicBezTo>
                    <a:lnTo>
                      <a:pt x="33246" y="0"/>
                    </a:lnTo>
                    <a:cubicBezTo>
                      <a:pt x="44843" y="0"/>
                      <a:pt x="54122" y="9278"/>
                      <a:pt x="54122" y="20876"/>
                    </a:cubicBezTo>
                    <a:cubicBezTo>
                      <a:pt x="54122" y="32473"/>
                      <a:pt x="44843" y="41751"/>
                      <a:pt x="33246" y="41751"/>
                    </a:cubicBezTo>
                    <a:lnTo>
                      <a:pt x="33246" y="41751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grpSp>
            <p:nvGrpSpPr>
              <p:cNvPr id="162" name="Gráfico 2">
                <a:extLst>
                  <a:ext uri="{FF2B5EF4-FFF2-40B4-BE49-F238E27FC236}">
                    <a16:creationId xmlns:a16="http://schemas.microsoft.com/office/drawing/2014/main" id="{6FEF66BF-8D1E-4FFA-95A2-6EE56886837B}"/>
                  </a:ext>
                </a:extLst>
              </p:cNvPr>
              <p:cNvGrpSpPr/>
              <p:nvPr/>
            </p:nvGrpSpPr>
            <p:grpSpPr>
              <a:xfrm>
                <a:off x="9024897" y="2604167"/>
                <a:ext cx="270332" cy="337736"/>
                <a:chOff x="9024897" y="2604167"/>
                <a:chExt cx="270332" cy="337736"/>
              </a:xfrm>
              <a:grpFill/>
            </p:grpSpPr>
            <p:sp>
              <p:nvSpPr>
                <p:cNvPr id="163" name="Forma Livre: Forma 162">
                  <a:extLst>
                    <a:ext uri="{FF2B5EF4-FFF2-40B4-BE49-F238E27FC236}">
                      <a16:creationId xmlns:a16="http://schemas.microsoft.com/office/drawing/2014/main" id="{056DEF37-A480-497B-9A19-873020D9D20B}"/>
                    </a:ext>
                  </a:extLst>
                </p:cNvPr>
                <p:cNvSpPr/>
                <p:nvPr/>
              </p:nvSpPr>
              <p:spPr>
                <a:xfrm>
                  <a:off x="9269218" y="2604167"/>
                  <a:ext cx="26011" cy="30015"/>
                </a:xfrm>
                <a:custGeom>
                  <a:avLst/>
                  <a:gdLst>
                    <a:gd name="connsiteX0" fmla="*/ 10687 w 26011"/>
                    <a:gd name="connsiteY0" fmla="*/ 30015 h 30015"/>
                    <a:gd name="connsiteX1" fmla="*/ 5274 w 26011"/>
                    <a:gd name="connsiteY1" fmla="*/ 28469 h 30015"/>
                    <a:gd name="connsiteX2" fmla="*/ 1408 w 26011"/>
                    <a:gd name="connsiteY2" fmla="*/ 14552 h 30015"/>
                    <a:gd name="connsiteX3" fmla="*/ 6821 w 26011"/>
                    <a:gd name="connsiteY3" fmla="*/ 5274 h 30015"/>
                    <a:gd name="connsiteX4" fmla="*/ 20737 w 26011"/>
                    <a:gd name="connsiteY4" fmla="*/ 1408 h 30015"/>
                    <a:gd name="connsiteX5" fmla="*/ 24603 w 26011"/>
                    <a:gd name="connsiteY5" fmla="*/ 15325 h 30015"/>
                    <a:gd name="connsiteX6" fmla="*/ 19191 w 26011"/>
                    <a:gd name="connsiteY6" fmla="*/ 24603 h 30015"/>
                    <a:gd name="connsiteX7" fmla="*/ 10687 w 26011"/>
                    <a:gd name="connsiteY7" fmla="*/ 30015 h 30015"/>
                    <a:gd name="connsiteX8" fmla="*/ 10687 w 26011"/>
                    <a:gd name="connsiteY8" fmla="*/ 30015 h 30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6011" h="30015">
                      <a:moveTo>
                        <a:pt x="10687" y="30015"/>
                      </a:moveTo>
                      <a:cubicBezTo>
                        <a:pt x="9140" y="30015"/>
                        <a:pt x="6821" y="29242"/>
                        <a:pt x="5274" y="28469"/>
                      </a:cubicBezTo>
                      <a:cubicBezTo>
                        <a:pt x="635" y="25376"/>
                        <a:pt x="-1685" y="19191"/>
                        <a:pt x="1408" y="14552"/>
                      </a:cubicBezTo>
                      <a:lnTo>
                        <a:pt x="6821" y="5274"/>
                      </a:lnTo>
                      <a:cubicBezTo>
                        <a:pt x="9913" y="635"/>
                        <a:pt x="16099" y="-1684"/>
                        <a:pt x="20737" y="1408"/>
                      </a:cubicBezTo>
                      <a:cubicBezTo>
                        <a:pt x="25376" y="4501"/>
                        <a:pt x="27696" y="10686"/>
                        <a:pt x="24603" y="15325"/>
                      </a:cubicBezTo>
                      <a:lnTo>
                        <a:pt x="19191" y="24603"/>
                      </a:lnTo>
                      <a:cubicBezTo>
                        <a:pt x="17645" y="27696"/>
                        <a:pt x="14553" y="30015"/>
                        <a:pt x="10687" y="30015"/>
                      </a:cubicBezTo>
                      <a:lnTo>
                        <a:pt x="10687" y="30015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164" name="Forma Livre: Forma 163">
                  <a:extLst>
                    <a:ext uri="{FF2B5EF4-FFF2-40B4-BE49-F238E27FC236}">
                      <a16:creationId xmlns:a16="http://schemas.microsoft.com/office/drawing/2014/main" id="{504394D4-D397-4E0D-9AE7-E4BF64496D8C}"/>
                    </a:ext>
                  </a:extLst>
                </p:cNvPr>
                <p:cNvSpPr/>
                <p:nvPr/>
              </p:nvSpPr>
              <p:spPr>
                <a:xfrm>
                  <a:off x="9092163" y="2911888"/>
                  <a:ext cx="26011" cy="30015"/>
                </a:xfrm>
                <a:custGeom>
                  <a:avLst/>
                  <a:gdLst>
                    <a:gd name="connsiteX0" fmla="*/ 10686 w 26011"/>
                    <a:gd name="connsiteY0" fmla="*/ 30015 h 30015"/>
                    <a:gd name="connsiteX1" fmla="*/ 5274 w 26011"/>
                    <a:gd name="connsiteY1" fmla="*/ 28469 h 30015"/>
                    <a:gd name="connsiteX2" fmla="*/ 1408 w 26011"/>
                    <a:gd name="connsiteY2" fmla="*/ 14552 h 30015"/>
                    <a:gd name="connsiteX3" fmla="*/ 6821 w 26011"/>
                    <a:gd name="connsiteY3" fmla="*/ 5274 h 30015"/>
                    <a:gd name="connsiteX4" fmla="*/ 20737 w 26011"/>
                    <a:gd name="connsiteY4" fmla="*/ 1408 h 30015"/>
                    <a:gd name="connsiteX5" fmla="*/ 24603 w 26011"/>
                    <a:gd name="connsiteY5" fmla="*/ 15325 h 30015"/>
                    <a:gd name="connsiteX6" fmla="*/ 19191 w 26011"/>
                    <a:gd name="connsiteY6" fmla="*/ 24603 h 30015"/>
                    <a:gd name="connsiteX7" fmla="*/ 10686 w 26011"/>
                    <a:gd name="connsiteY7" fmla="*/ 30015 h 30015"/>
                    <a:gd name="connsiteX8" fmla="*/ 10686 w 26011"/>
                    <a:gd name="connsiteY8" fmla="*/ 30015 h 30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6011" h="30015">
                      <a:moveTo>
                        <a:pt x="10686" y="30015"/>
                      </a:moveTo>
                      <a:cubicBezTo>
                        <a:pt x="9139" y="30015"/>
                        <a:pt x="6821" y="29242"/>
                        <a:pt x="5274" y="28469"/>
                      </a:cubicBezTo>
                      <a:cubicBezTo>
                        <a:pt x="635" y="25376"/>
                        <a:pt x="-1684" y="19191"/>
                        <a:pt x="1408" y="14552"/>
                      </a:cubicBezTo>
                      <a:lnTo>
                        <a:pt x="6821" y="5274"/>
                      </a:lnTo>
                      <a:cubicBezTo>
                        <a:pt x="9913" y="635"/>
                        <a:pt x="16098" y="-1684"/>
                        <a:pt x="20737" y="1408"/>
                      </a:cubicBezTo>
                      <a:cubicBezTo>
                        <a:pt x="25377" y="4501"/>
                        <a:pt x="27696" y="10686"/>
                        <a:pt x="24603" y="15325"/>
                      </a:cubicBezTo>
                      <a:lnTo>
                        <a:pt x="19191" y="24603"/>
                      </a:lnTo>
                      <a:cubicBezTo>
                        <a:pt x="17645" y="27696"/>
                        <a:pt x="13779" y="30015"/>
                        <a:pt x="10686" y="30015"/>
                      </a:cubicBezTo>
                      <a:lnTo>
                        <a:pt x="10686" y="30015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165" name="Forma Livre: Forma 164">
                  <a:extLst>
                    <a:ext uri="{FF2B5EF4-FFF2-40B4-BE49-F238E27FC236}">
                      <a16:creationId xmlns:a16="http://schemas.microsoft.com/office/drawing/2014/main" id="{DBFAC1E5-932D-46D3-BB8B-EAD2434EA73A}"/>
                    </a:ext>
                  </a:extLst>
                </p:cNvPr>
                <p:cNvSpPr/>
                <p:nvPr/>
              </p:nvSpPr>
              <p:spPr>
                <a:xfrm>
                  <a:off x="9024897" y="2670660"/>
                  <a:ext cx="29877" cy="26149"/>
                </a:xfrm>
                <a:custGeom>
                  <a:avLst/>
                  <a:gdLst>
                    <a:gd name="connsiteX0" fmla="*/ 19964 w 29877"/>
                    <a:gd name="connsiteY0" fmla="*/ 26149 h 26149"/>
                    <a:gd name="connsiteX1" fmla="*/ 14552 w 29877"/>
                    <a:gd name="connsiteY1" fmla="*/ 24603 h 26149"/>
                    <a:gd name="connsiteX2" fmla="*/ 5274 w 29877"/>
                    <a:gd name="connsiteY2" fmla="*/ 19191 h 26149"/>
                    <a:gd name="connsiteX3" fmla="*/ 1408 w 29877"/>
                    <a:gd name="connsiteY3" fmla="*/ 5274 h 26149"/>
                    <a:gd name="connsiteX4" fmla="*/ 15326 w 29877"/>
                    <a:gd name="connsiteY4" fmla="*/ 1408 h 26149"/>
                    <a:gd name="connsiteX5" fmla="*/ 24603 w 29877"/>
                    <a:gd name="connsiteY5" fmla="*/ 6820 h 26149"/>
                    <a:gd name="connsiteX6" fmla="*/ 28469 w 29877"/>
                    <a:gd name="connsiteY6" fmla="*/ 20737 h 26149"/>
                    <a:gd name="connsiteX7" fmla="*/ 19964 w 29877"/>
                    <a:gd name="connsiteY7" fmla="*/ 26149 h 26149"/>
                    <a:gd name="connsiteX8" fmla="*/ 19964 w 29877"/>
                    <a:gd name="connsiteY8" fmla="*/ 26149 h 261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9877" h="26149">
                      <a:moveTo>
                        <a:pt x="19964" y="26149"/>
                      </a:moveTo>
                      <a:cubicBezTo>
                        <a:pt x="18418" y="26149"/>
                        <a:pt x="16099" y="25376"/>
                        <a:pt x="14552" y="24603"/>
                      </a:cubicBezTo>
                      <a:lnTo>
                        <a:pt x="5274" y="19191"/>
                      </a:lnTo>
                      <a:cubicBezTo>
                        <a:pt x="635" y="16098"/>
                        <a:pt x="-1685" y="9913"/>
                        <a:pt x="1408" y="5274"/>
                      </a:cubicBezTo>
                      <a:cubicBezTo>
                        <a:pt x="4501" y="635"/>
                        <a:pt x="10686" y="-1684"/>
                        <a:pt x="15326" y="1408"/>
                      </a:cubicBezTo>
                      <a:lnTo>
                        <a:pt x="24603" y="6820"/>
                      </a:lnTo>
                      <a:cubicBezTo>
                        <a:pt x="29242" y="9913"/>
                        <a:pt x="31562" y="16098"/>
                        <a:pt x="28469" y="20737"/>
                      </a:cubicBezTo>
                      <a:cubicBezTo>
                        <a:pt x="27696" y="24603"/>
                        <a:pt x="23830" y="26149"/>
                        <a:pt x="19964" y="26149"/>
                      </a:cubicBezTo>
                      <a:lnTo>
                        <a:pt x="19964" y="26149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grpSp>
            <p:nvGrpSpPr>
              <p:cNvPr id="166" name="Gráfico 2">
                <a:extLst>
                  <a:ext uri="{FF2B5EF4-FFF2-40B4-BE49-F238E27FC236}">
                    <a16:creationId xmlns:a16="http://schemas.microsoft.com/office/drawing/2014/main" id="{6FEF66BF-8D1E-4FFA-95A2-6EE56886837B}"/>
                  </a:ext>
                </a:extLst>
              </p:cNvPr>
              <p:cNvGrpSpPr/>
              <p:nvPr/>
            </p:nvGrpSpPr>
            <p:grpSpPr>
              <a:xfrm>
                <a:off x="9024897" y="2604167"/>
                <a:ext cx="338539" cy="270470"/>
                <a:chOff x="9024897" y="2604167"/>
                <a:chExt cx="338539" cy="270470"/>
              </a:xfrm>
              <a:grpFill/>
            </p:grpSpPr>
            <p:sp>
              <p:nvSpPr>
                <p:cNvPr id="167" name="Forma Livre: Forma 166">
                  <a:extLst>
                    <a:ext uri="{FF2B5EF4-FFF2-40B4-BE49-F238E27FC236}">
                      <a16:creationId xmlns:a16="http://schemas.microsoft.com/office/drawing/2014/main" id="{B51B69CD-A115-4884-BBA8-6FEB9346F563}"/>
                    </a:ext>
                  </a:extLst>
                </p:cNvPr>
                <p:cNvSpPr/>
                <p:nvPr/>
              </p:nvSpPr>
              <p:spPr>
                <a:xfrm>
                  <a:off x="9092163" y="2604167"/>
                  <a:ext cx="26011" cy="30015"/>
                </a:xfrm>
                <a:custGeom>
                  <a:avLst/>
                  <a:gdLst>
                    <a:gd name="connsiteX0" fmla="*/ 16098 w 26011"/>
                    <a:gd name="connsiteY0" fmla="*/ 30015 h 30015"/>
                    <a:gd name="connsiteX1" fmla="*/ 6821 w 26011"/>
                    <a:gd name="connsiteY1" fmla="*/ 24603 h 30015"/>
                    <a:gd name="connsiteX2" fmla="*/ 1408 w 26011"/>
                    <a:gd name="connsiteY2" fmla="*/ 15325 h 30015"/>
                    <a:gd name="connsiteX3" fmla="*/ 5274 w 26011"/>
                    <a:gd name="connsiteY3" fmla="*/ 1408 h 30015"/>
                    <a:gd name="connsiteX4" fmla="*/ 19191 w 26011"/>
                    <a:gd name="connsiteY4" fmla="*/ 5274 h 30015"/>
                    <a:gd name="connsiteX5" fmla="*/ 24603 w 26011"/>
                    <a:gd name="connsiteY5" fmla="*/ 14552 h 30015"/>
                    <a:gd name="connsiteX6" fmla="*/ 20737 w 26011"/>
                    <a:gd name="connsiteY6" fmla="*/ 28469 h 30015"/>
                    <a:gd name="connsiteX7" fmla="*/ 16098 w 26011"/>
                    <a:gd name="connsiteY7" fmla="*/ 30015 h 30015"/>
                    <a:gd name="connsiteX8" fmla="*/ 16098 w 26011"/>
                    <a:gd name="connsiteY8" fmla="*/ 30015 h 30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6011" h="30015">
                      <a:moveTo>
                        <a:pt x="16098" y="30015"/>
                      </a:moveTo>
                      <a:cubicBezTo>
                        <a:pt x="12232" y="30015"/>
                        <a:pt x="9139" y="28469"/>
                        <a:pt x="6821" y="24603"/>
                      </a:cubicBezTo>
                      <a:lnTo>
                        <a:pt x="1408" y="15325"/>
                      </a:lnTo>
                      <a:cubicBezTo>
                        <a:pt x="-1684" y="10686"/>
                        <a:pt x="635" y="4501"/>
                        <a:pt x="5274" y="1408"/>
                      </a:cubicBezTo>
                      <a:cubicBezTo>
                        <a:pt x="9913" y="-1684"/>
                        <a:pt x="16098" y="635"/>
                        <a:pt x="19191" y="5274"/>
                      </a:cubicBezTo>
                      <a:lnTo>
                        <a:pt x="24603" y="14552"/>
                      </a:lnTo>
                      <a:cubicBezTo>
                        <a:pt x="27696" y="19191"/>
                        <a:pt x="25377" y="25376"/>
                        <a:pt x="20737" y="28469"/>
                      </a:cubicBezTo>
                      <a:cubicBezTo>
                        <a:pt x="19191" y="29242"/>
                        <a:pt x="17645" y="30015"/>
                        <a:pt x="16098" y="30015"/>
                      </a:cubicBezTo>
                      <a:lnTo>
                        <a:pt x="16098" y="30015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168" name="Forma Livre: Forma 167">
                  <a:extLst>
                    <a:ext uri="{FF2B5EF4-FFF2-40B4-BE49-F238E27FC236}">
                      <a16:creationId xmlns:a16="http://schemas.microsoft.com/office/drawing/2014/main" id="{0BE0E5A1-587F-4AFA-8D51-C54CC443DA23}"/>
                    </a:ext>
                  </a:extLst>
                </p:cNvPr>
                <p:cNvSpPr/>
                <p:nvPr/>
              </p:nvSpPr>
              <p:spPr>
                <a:xfrm>
                  <a:off x="9024897" y="2848489"/>
                  <a:ext cx="29877" cy="26149"/>
                </a:xfrm>
                <a:custGeom>
                  <a:avLst/>
                  <a:gdLst>
                    <a:gd name="connsiteX0" fmla="*/ 10686 w 29877"/>
                    <a:gd name="connsiteY0" fmla="*/ 26149 h 26149"/>
                    <a:gd name="connsiteX1" fmla="*/ 1408 w 29877"/>
                    <a:gd name="connsiteY1" fmla="*/ 20737 h 26149"/>
                    <a:gd name="connsiteX2" fmla="*/ 5274 w 29877"/>
                    <a:gd name="connsiteY2" fmla="*/ 6820 h 26149"/>
                    <a:gd name="connsiteX3" fmla="*/ 14552 w 29877"/>
                    <a:gd name="connsiteY3" fmla="*/ 1408 h 26149"/>
                    <a:gd name="connsiteX4" fmla="*/ 28469 w 29877"/>
                    <a:gd name="connsiteY4" fmla="*/ 5274 h 26149"/>
                    <a:gd name="connsiteX5" fmla="*/ 24603 w 29877"/>
                    <a:gd name="connsiteY5" fmla="*/ 19191 h 26149"/>
                    <a:gd name="connsiteX6" fmla="*/ 15326 w 29877"/>
                    <a:gd name="connsiteY6" fmla="*/ 24603 h 26149"/>
                    <a:gd name="connsiteX7" fmla="*/ 10686 w 29877"/>
                    <a:gd name="connsiteY7" fmla="*/ 26149 h 26149"/>
                    <a:gd name="connsiteX8" fmla="*/ 10686 w 29877"/>
                    <a:gd name="connsiteY8" fmla="*/ 26149 h 261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9877" h="26149">
                      <a:moveTo>
                        <a:pt x="10686" y="26149"/>
                      </a:moveTo>
                      <a:cubicBezTo>
                        <a:pt x="6820" y="26149"/>
                        <a:pt x="3728" y="24603"/>
                        <a:pt x="1408" y="20737"/>
                      </a:cubicBezTo>
                      <a:cubicBezTo>
                        <a:pt x="-1685" y="16098"/>
                        <a:pt x="635" y="9913"/>
                        <a:pt x="5274" y="6820"/>
                      </a:cubicBezTo>
                      <a:lnTo>
                        <a:pt x="14552" y="1408"/>
                      </a:lnTo>
                      <a:cubicBezTo>
                        <a:pt x="19191" y="-1684"/>
                        <a:pt x="25376" y="635"/>
                        <a:pt x="28469" y="5274"/>
                      </a:cubicBezTo>
                      <a:cubicBezTo>
                        <a:pt x="31562" y="9913"/>
                        <a:pt x="29242" y="16098"/>
                        <a:pt x="24603" y="19191"/>
                      </a:cubicBezTo>
                      <a:lnTo>
                        <a:pt x="15326" y="24603"/>
                      </a:lnTo>
                      <a:cubicBezTo>
                        <a:pt x="14552" y="25376"/>
                        <a:pt x="12233" y="26149"/>
                        <a:pt x="10686" y="26149"/>
                      </a:cubicBezTo>
                      <a:lnTo>
                        <a:pt x="10686" y="26149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169" name="Forma Livre: Forma 168">
                  <a:extLst>
                    <a:ext uri="{FF2B5EF4-FFF2-40B4-BE49-F238E27FC236}">
                      <a16:creationId xmlns:a16="http://schemas.microsoft.com/office/drawing/2014/main" id="{B47D7726-77FC-4334-8260-DD8D718FF868}"/>
                    </a:ext>
                  </a:extLst>
                </p:cNvPr>
                <p:cNvSpPr/>
                <p:nvPr/>
              </p:nvSpPr>
              <p:spPr>
                <a:xfrm>
                  <a:off x="9333223" y="2670660"/>
                  <a:ext cx="30213" cy="26149"/>
                </a:xfrm>
                <a:custGeom>
                  <a:avLst/>
                  <a:gdLst>
                    <a:gd name="connsiteX0" fmla="*/ 10081 w 30213"/>
                    <a:gd name="connsiteY0" fmla="*/ 26149 h 26149"/>
                    <a:gd name="connsiteX1" fmla="*/ 1576 w 30213"/>
                    <a:gd name="connsiteY1" fmla="*/ 20737 h 26149"/>
                    <a:gd name="connsiteX2" fmla="*/ 5442 w 30213"/>
                    <a:gd name="connsiteY2" fmla="*/ 6820 h 26149"/>
                    <a:gd name="connsiteX3" fmla="*/ 14720 w 30213"/>
                    <a:gd name="connsiteY3" fmla="*/ 1408 h 26149"/>
                    <a:gd name="connsiteX4" fmla="*/ 28637 w 30213"/>
                    <a:gd name="connsiteY4" fmla="*/ 5274 h 26149"/>
                    <a:gd name="connsiteX5" fmla="*/ 24771 w 30213"/>
                    <a:gd name="connsiteY5" fmla="*/ 19191 h 26149"/>
                    <a:gd name="connsiteX6" fmla="*/ 15493 w 30213"/>
                    <a:gd name="connsiteY6" fmla="*/ 24603 h 26149"/>
                    <a:gd name="connsiteX7" fmla="*/ 10081 w 30213"/>
                    <a:gd name="connsiteY7" fmla="*/ 26149 h 26149"/>
                    <a:gd name="connsiteX8" fmla="*/ 10081 w 30213"/>
                    <a:gd name="connsiteY8" fmla="*/ 26149 h 261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0213" h="26149">
                      <a:moveTo>
                        <a:pt x="10081" y="26149"/>
                      </a:moveTo>
                      <a:cubicBezTo>
                        <a:pt x="6215" y="26149"/>
                        <a:pt x="3122" y="24603"/>
                        <a:pt x="1576" y="20737"/>
                      </a:cubicBezTo>
                      <a:cubicBezTo>
                        <a:pt x="-1516" y="16098"/>
                        <a:pt x="30" y="9913"/>
                        <a:pt x="5442" y="6820"/>
                      </a:cubicBezTo>
                      <a:lnTo>
                        <a:pt x="14720" y="1408"/>
                      </a:lnTo>
                      <a:cubicBezTo>
                        <a:pt x="19359" y="-1684"/>
                        <a:pt x="25544" y="635"/>
                        <a:pt x="28637" y="5274"/>
                      </a:cubicBezTo>
                      <a:cubicBezTo>
                        <a:pt x="31730" y="9913"/>
                        <a:pt x="30183" y="16098"/>
                        <a:pt x="24771" y="19191"/>
                      </a:cubicBezTo>
                      <a:lnTo>
                        <a:pt x="15493" y="24603"/>
                      </a:lnTo>
                      <a:cubicBezTo>
                        <a:pt x="13174" y="26149"/>
                        <a:pt x="11627" y="26149"/>
                        <a:pt x="10081" y="26149"/>
                      </a:cubicBezTo>
                      <a:lnTo>
                        <a:pt x="10081" y="26149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sp>
            <p:nvSpPr>
              <p:cNvPr id="170" name="Forma Livre: Forma 169">
                <a:extLst>
                  <a:ext uri="{FF2B5EF4-FFF2-40B4-BE49-F238E27FC236}">
                    <a16:creationId xmlns:a16="http://schemas.microsoft.com/office/drawing/2014/main" id="{31657EA2-D752-40AC-B16B-41714F37BAE0}"/>
                  </a:ext>
                </a:extLst>
              </p:cNvPr>
              <p:cNvSpPr/>
              <p:nvPr/>
            </p:nvSpPr>
            <p:spPr>
              <a:xfrm>
                <a:off x="9116380" y="2754410"/>
                <a:ext cx="95873" cy="96259"/>
              </a:xfrm>
              <a:custGeom>
                <a:avLst/>
                <a:gdLst>
                  <a:gd name="connsiteX0" fmla="*/ 20489 w 95873"/>
                  <a:gd name="connsiteY0" fmla="*/ 96260 h 96259"/>
                  <a:gd name="connsiteX1" fmla="*/ 5799 w 95873"/>
                  <a:gd name="connsiteY1" fmla="*/ 90074 h 96259"/>
                  <a:gd name="connsiteX2" fmla="*/ 5799 w 95873"/>
                  <a:gd name="connsiteY2" fmla="*/ 60694 h 96259"/>
                  <a:gd name="connsiteX3" fmla="*/ 60693 w 95873"/>
                  <a:gd name="connsiteY3" fmla="*/ 5799 h 96259"/>
                  <a:gd name="connsiteX4" fmla="*/ 90074 w 95873"/>
                  <a:gd name="connsiteY4" fmla="*/ 5799 h 96259"/>
                  <a:gd name="connsiteX5" fmla="*/ 90074 w 95873"/>
                  <a:gd name="connsiteY5" fmla="*/ 35179 h 96259"/>
                  <a:gd name="connsiteX6" fmla="*/ 35179 w 95873"/>
                  <a:gd name="connsiteY6" fmla="*/ 90074 h 96259"/>
                  <a:gd name="connsiteX7" fmla="*/ 20489 w 95873"/>
                  <a:gd name="connsiteY7" fmla="*/ 96260 h 96259"/>
                  <a:gd name="connsiteX8" fmla="*/ 20489 w 95873"/>
                  <a:gd name="connsiteY8" fmla="*/ 96260 h 96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5873" h="96259">
                    <a:moveTo>
                      <a:pt x="20489" y="96260"/>
                    </a:moveTo>
                    <a:cubicBezTo>
                      <a:pt x="15076" y="96260"/>
                      <a:pt x="9665" y="93940"/>
                      <a:pt x="5799" y="90074"/>
                    </a:cubicBezTo>
                    <a:cubicBezTo>
                      <a:pt x="-1933" y="82342"/>
                      <a:pt x="-1933" y="69199"/>
                      <a:pt x="5799" y="60694"/>
                    </a:cubicBezTo>
                    <a:lnTo>
                      <a:pt x="60693" y="5799"/>
                    </a:lnTo>
                    <a:cubicBezTo>
                      <a:pt x="68425" y="-1933"/>
                      <a:pt x="81569" y="-1933"/>
                      <a:pt x="90074" y="5799"/>
                    </a:cubicBezTo>
                    <a:cubicBezTo>
                      <a:pt x="97806" y="13530"/>
                      <a:pt x="97806" y="26674"/>
                      <a:pt x="90074" y="35179"/>
                    </a:cubicBezTo>
                    <a:lnTo>
                      <a:pt x="35179" y="90074"/>
                    </a:lnTo>
                    <a:cubicBezTo>
                      <a:pt x="31313" y="93940"/>
                      <a:pt x="25901" y="96260"/>
                      <a:pt x="20489" y="96260"/>
                    </a:cubicBezTo>
                    <a:lnTo>
                      <a:pt x="20489" y="96260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71" name="Forma Livre: Forma 170">
                <a:extLst>
                  <a:ext uri="{FF2B5EF4-FFF2-40B4-BE49-F238E27FC236}">
                    <a16:creationId xmlns:a16="http://schemas.microsoft.com/office/drawing/2014/main" id="{9C39A4DB-D985-401A-A549-1DFFD4E07ECE}"/>
                  </a:ext>
                </a:extLst>
              </p:cNvPr>
              <p:cNvSpPr/>
              <p:nvPr/>
            </p:nvSpPr>
            <p:spPr>
              <a:xfrm>
                <a:off x="9238927" y="2757890"/>
                <a:ext cx="255145" cy="255145"/>
              </a:xfrm>
              <a:custGeom>
                <a:avLst/>
                <a:gdLst>
                  <a:gd name="connsiteX0" fmla="*/ 127573 w 255145"/>
                  <a:gd name="connsiteY0" fmla="*/ 255145 h 255145"/>
                  <a:gd name="connsiteX1" fmla="*/ 0 w 255145"/>
                  <a:gd name="connsiteY1" fmla="*/ 127573 h 255145"/>
                  <a:gd name="connsiteX2" fmla="*/ 127573 w 255145"/>
                  <a:gd name="connsiteY2" fmla="*/ 0 h 255145"/>
                  <a:gd name="connsiteX3" fmla="*/ 255145 w 255145"/>
                  <a:gd name="connsiteY3" fmla="*/ 127573 h 255145"/>
                  <a:gd name="connsiteX4" fmla="*/ 127573 w 255145"/>
                  <a:gd name="connsiteY4" fmla="*/ 255145 h 255145"/>
                  <a:gd name="connsiteX5" fmla="*/ 127573 w 255145"/>
                  <a:gd name="connsiteY5" fmla="*/ 255145 h 255145"/>
                  <a:gd name="connsiteX6" fmla="*/ 127573 w 255145"/>
                  <a:gd name="connsiteY6" fmla="*/ 20875 h 255145"/>
                  <a:gd name="connsiteX7" fmla="*/ 20875 w 255145"/>
                  <a:gd name="connsiteY7" fmla="*/ 127573 h 255145"/>
                  <a:gd name="connsiteX8" fmla="*/ 127573 w 255145"/>
                  <a:gd name="connsiteY8" fmla="*/ 234270 h 255145"/>
                  <a:gd name="connsiteX9" fmla="*/ 234270 w 255145"/>
                  <a:gd name="connsiteY9" fmla="*/ 127573 h 255145"/>
                  <a:gd name="connsiteX10" fmla="*/ 127573 w 255145"/>
                  <a:gd name="connsiteY10" fmla="*/ 20875 h 255145"/>
                  <a:gd name="connsiteX11" fmla="*/ 127573 w 255145"/>
                  <a:gd name="connsiteY11" fmla="*/ 20875 h 255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55145" h="255145">
                    <a:moveTo>
                      <a:pt x="127573" y="255145"/>
                    </a:moveTo>
                    <a:cubicBezTo>
                      <a:pt x="57215" y="255145"/>
                      <a:pt x="0" y="197931"/>
                      <a:pt x="0" y="127573"/>
                    </a:cubicBezTo>
                    <a:cubicBezTo>
                      <a:pt x="0" y="57214"/>
                      <a:pt x="57215" y="0"/>
                      <a:pt x="127573" y="0"/>
                    </a:cubicBezTo>
                    <a:cubicBezTo>
                      <a:pt x="197931" y="0"/>
                      <a:pt x="255145" y="57214"/>
                      <a:pt x="255145" y="127573"/>
                    </a:cubicBezTo>
                    <a:cubicBezTo>
                      <a:pt x="254372" y="197931"/>
                      <a:pt x="197931" y="255145"/>
                      <a:pt x="127573" y="255145"/>
                    </a:cubicBezTo>
                    <a:lnTo>
                      <a:pt x="127573" y="255145"/>
                    </a:lnTo>
                    <a:close/>
                    <a:moveTo>
                      <a:pt x="127573" y="20875"/>
                    </a:moveTo>
                    <a:cubicBezTo>
                      <a:pt x="68812" y="20875"/>
                      <a:pt x="20875" y="68812"/>
                      <a:pt x="20875" y="127573"/>
                    </a:cubicBezTo>
                    <a:cubicBezTo>
                      <a:pt x="20875" y="186333"/>
                      <a:pt x="68812" y="234270"/>
                      <a:pt x="127573" y="234270"/>
                    </a:cubicBezTo>
                    <a:cubicBezTo>
                      <a:pt x="186333" y="234270"/>
                      <a:pt x="234270" y="186333"/>
                      <a:pt x="234270" y="127573"/>
                    </a:cubicBezTo>
                    <a:cubicBezTo>
                      <a:pt x="234270" y="68812"/>
                      <a:pt x="186333" y="20875"/>
                      <a:pt x="127573" y="20875"/>
                    </a:cubicBezTo>
                    <a:lnTo>
                      <a:pt x="127573" y="20875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72" name="Forma Livre: Forma 171">
                <a:extLst>
                  <a:ext uri="{FF2B5EF4-FFF2-40B4-BE49-F238E27FC236}">
                    <a16:creationId xmlns:a16="http://schemas.microsoft.com/office/drawing/2014/main" id="{CE31EDE7-F117-406C-8BB0-972F76FEDF1D}"/>
                  </a:ext>
                </a:extLst>
              </p:cNvPr>
              <p:cNvSpPr/>
              <p:nvPr/>
            </p:nvSpPr>
            <p:spPr>
              <a:xfrm>
                <a:off x="9305806" y="2824769"/>
                <a:ext cx="121386" cy="121773"/>
              </a:xfrm>
              <a:custGeom>
                <a:avLst/>
                <a:gdLst>
                  <a:gd name="connsiteX0" fmla="*/ 20489 w 121386"/>
                  <a:gd name="connsiteY0" fmla="*/ 121774 h 121773"/>
                  <a:gd name="connsiteX1" fmla="*/ 5799 w 121386"/>
                  <a:gd name="connsiteY1" fmla="*/ 115588 h 121773"/>
                  <a:gd name="connsiteX2" fmla="*/ 5799 w 121386"/>
                  <a:gd name="connsiteY2" fmla="*/ 86208 h 121773"/>
                  <a:gd name="connsiteX3" fmla="*/ 86208 w 121386"/>
                  <a:gd name="connsiteY3" fmla="*/ 5799 h 121773"/>
                  <a:gd name="connsiteX4" fmla="*/ 115588 w 121386"/>
                  <a:gd name="connsiteY4" fmla="*/ 5799 h 121773"/>
                  <a:gd name="connsiteX5" fmla="*/ 115588 w 121386"/>
                  <a:gd name="connsiteY5" fmla="*/ 35179 h 121773"/>
                  <a:gd name="connsiteX6" fmla="*/ 35179 w 121386"/>
                  <a:gd name="connsiteY6" fmla="*/ 115588 h 121773"/>
                  <a:gd name="connsiteX7" fmla="*/ 20489 w 121386"/>
                  <a:gd name="connsiteY7" fmla="*/ 121774 h 121773"/>
                  <a:gd name="connsiteX8" fmla="*/ 20489 w 121386"/>
                  <a:gd name="connsiteY8" fmla="*/ 121774 h 1217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1386" h="121773">
                    <a:moveTo>
                      <a:pt x="20489" y="121774"/>
                    </a:moveTo>
                    <a:cubicBezTo>
                      <a:pt x="15076" y="121774"/>
                      <a:pt x="9665" y="119454"/>
                      <a:pt x="5799" y="115588"/>
                    </a:cubicBezTo>
                    <a:cubicBezTo>
                      <a:pt x="-1933" y="107857"/>
                      <a:pt x="-1933" y="94713"/>
                      <a:pt x="5799" y="86208"/>
                    </a:cubicBezTo>
                    <a:lnTo>
                      <a:pt x="86208" y="5799"/>
                    </a:lnTo>
                    <a:cubicBezTo>
                      <a:pt x="93940" y="-1933"/>
                      <a:pt x="107084" y="-1933"/>
                      <a:pt x="115588" y="5799"/>
                    </a:cubicBezTo>
                    <a:cubicBezTo>
                      <a:pt x="123320" y="13530"/>
                      <a:pt x="123320" y="26674"/>
                      <a:pt x="115588" y="35179"/>
                    </a:cubicBezTo>
                    <a:lnTo>
                      <a:pt x="35179" y="115588"/>
                    </a:lnTo>
                    <a:cubicBezTo>
                      <a:pt x="30540" y="119454"/>
                      <a:pt x="25901" y="121774"/>
                      <a:pt x="20489" y="121774"/>
                    </a:cubicBezTo>
                    <a:lnTo>
                      <a:pt x="20489" y="121774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73" name="Forma Livre: Forma 172">
                <a:extLst>
                  <a:ext uri="{FF2B5EF4-FFF2-40B4-BE49-F238E27FC236}">
                    <a16:creationId xmlns:a16="http://schemas.microsoft.com/office/drawing/2014/main" id="{B7F900B2-FB79-45F1-90D8-0DF94AF07CCF}"/>
                  </a:ext>
                </a:extLst>
              </p:cNvPr>
              <p:cNvSpPr/>
              <p:nvPr/>
            </p:nvSpPr>
            <p:spPr>
              <a:xfrm>
                <a:off x="9305806" y="2824769"/>
                <a:ext cx="121386" cy="121773"/>
              </a:xfrm>
              <a:custGeom>
                <a:avLst/>
                <a:gdLst>
                  <a:gd name="connsiteX0" fmla="*/ 100898 w 121386"/>
                  <a:gd name="connsiteY0" fmla="*/ 121774 h 121773"/>
                  <a:gd name="connsiteX1" fmla="*/ 86208 w 121386"/>
                  <a:gd name="connsiteY1" fmla="*/ 115588 h 121773"/>
                  <a:gd name="connsiteX2" fmla="*/ 5799 w 121386"/>
                  <a:gd name="connsiteY2" fmla="*/ 35179 h 121773"/>
                  <a:gd name="connsiteX3" fmla="*/ 5799 w 121386"/>
                  <a:gd name="connsiteY3" fmla="*/ 5799 h 121773"/>
                  <a:gd name="connsiteX4" fmla="*/ 35179 w 121386"/>
                  <a:gd name="connsiteY4" fmla="*/ 5799 h 121773"/>
                  <a:gd name="connsiteX5" fmla="*/ 115588 w 121386"/>
                  <a:gd name="connsiteY5" fmla="*/ 86208 h 121773"/>
                  <a:gd name="connsiteX6" fmla="*/ 115588 w 121386"/>
                  <a:gd name="connsiteY6" fmla="*/ 115588 h 121773"/>
                  <a:gd name="connsiteX7" fmla="*/ 100898 w 121386"/>
                  <a:gd name="connsiteY7" fmla="*/ 121774 h 121773"/>
                  <a:gd name="connsiteX8" fmla="*/ 100898 w 121386"/>
                  <a:gd name="connsiteY8" fmla="*/ 121774 h 1217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1386" h="121773">
                    <a:moveTo>
                      <a:pt x="100898" y="121774"/>
                    </a:moveTo>
                    <a:cubicBezTo>
                      <a:pt x="95486" y="121774"/>
                      <a:pt x="90074" y="119454"/>
                      <a:pt x="86208" y="115588"/>
                    </a:cubicBezTo>
                    <a:lnTo>
                      <a:pt x="5799" y="35179"/>
                    </a:lnTo>
                    <a:cubicBezTo>
                      <a:pt x="-1933" y="27447"/>
                      <a:pt x="-1933" y="14304"/>
                      <a:pt x="5799" y="5799"/>
                    </a:cubicBezTo>
                    <a:cubicBezTo>
                      <a:pt x="13530" y="-1933"/>
                      <a:pt x="26674" y="-1933"/>
                      <a:pt x="35179" y="5799"/>
                    </a:cubicBezTo>
                    <a:lnTo>
                      <a:pt x="115588" y="86208"/>
                    </a:lnTo>
                    <a:cubicBezTo>
                      <a:pt x="123320" y="93940"/>
                      <a:pt x="123320" y="107084"/>
                      <a:pt x="115588" y="115588"/>
                    </a:cubicBezTo>
                    <a:cubicBezTo>
                      <a:pt x="110949" y="119454"/>
                      <a:pt x="105538" y="121774"/>
                      <a:pt x="100898" y="121774"/>
                    </a:cubicBezTo>
                    <a:lnTo>
                      <a:pt x="100898" y="121774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74" name="Forma Livre: Forma 173">
                <a:extLst>
                  <a:ext uri="{FF2B5EF4-FFF2-40B4-BE49-F238E27FC236}">
                    <a16:creationId xmlns:a16="http://schemas.microsoft.com/office/drawing/2014/main" id="{88B288A4-A4D2-4F24-8487-2830205DB83B}"/>
                  </a:ext>
                </a:extLst>
              </p:cNvPr>
              <p:cNvSpPr/>
              <p:nvPr/>
            </p:nvSpPr>
            <p:spPr>
              <a:xfrm>
                <a:off x="8972184" y="2551454"/>
                <a:ext cx="443798" cy="443798"/>
              </a:xfrm>
              <a:custGeom>
                <a:avLst/>
                <a:gdLst>
                  <a:gd name="connsiteX0" fmla="*/ 221899 w 443798"/>
                  <a:gd name="connsiteY0" fmla="*/ 443798 h 443798"/>
                  <a:gd name="connsiteX1" fmla="*/ 0 w 443798"/>
                  <a:gd name="connsiteY1" fmla="*/ 221899 h 443798"/>
                  <a:gd name="connsiteX2" fmla="*/ 221899 w 443798"/>
                  <a:gd name="connsiteY2" fmla="*/ 0 h 443798"/>
                  <a:gd name="connsiteX3" fmla="*/ 443799 w 443798"/>
                  <a:gd name="connsiteY3" fmla="*/ 221899 h 443798"/>
                  <a:gd name="connsiteX4" fmla="*/ 402820 w 443798"/>
                  <a:gd name="connsiteY4" fmla="*/ 221899 h 443798"/>
                  <a:gd name="connsiteX5" fmla="*/ 221899 w 443798"/>
                  <a:gd name="connsiteY5" fmla="*/ 40978 h 443798"/>
                  <a:gd name="connsiteX6" fmla="*/ 40978 w 443798"/>
                  <a:gd name="connsiteY6" fmla="*/ 221899 h 443798"/>
                  <a:gd name="connsiteX7" fmla="*/ 221899 w 443798"/>
                  <a:gd name="connsiteY7" fmla="*/ 402821 h 443798"/>
                  <a:gd name="connsiteX8" fmla="*/ 293804 w 443798"/>
                  <a:gd name="connsiteY8" fmla="*/ 388130 h 443798"/>
                  <a:gd name="connsiteX9" fmla="*/ 310040 w 443798"/>
                  <a:gd name="connsiteY9" fmla="*/ 426016 h 443798"/>
                  <a:gd name="connsiteX10" fmla="*/ 221899 w 443798"/>
                  <a:gd name="connsiteY10" fmla="*/ 443798 h 443798"/>
                  <a:gd name="connsiteX11" fmla="*/ 221899 w 443798"/>
                  <a:gd name="connsiteY11" fmla="*/ 443798 h 443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43798" h="443798">
                    <a:moveTo>
                      <a:pt x="221899" y="443798"/>
                    </a:moveTo>
                    <a:cubicBezTo>
                      <a:pt x="99739" y="443798"/>
                      <a:pt x="0" y="344060"/>
                      <a:pt x="0" y="221899"/>
                    </a:cubicBezTo>
                    <a:cubicBezTo>
                      <a:pt x="0" y="99739"/>
                      <a:pt x="99739" y="0"/>
                      <a:pt x="221899" y="0"/>
                    </a:cubicBezTo>
                    <a:cubicBezTo>
                      <a:pt x="344060" y="0"/>
                      <a:pt x="443799" y="99739"/>
                      <a:pt x="443799" y="221899"/>
                    </a:cubicBezTo>
                    <a:lnTo>
                      <a:pt x="402820" y="221899"/>
                    </a:lnTo>
                    <a:cubicBezTo>
                      <a:pt x="402820" y="122160"/>
                      <a:pt x="321638" y="40978"/>
                      <a:pt x="221899" y="40978"/>
                    </a:cubicBezTo>
                    <a:cubicBezTo>
                      <a:pt x="122161" y="40978"/>
                      <a:pt x="40978" y="122160"/>
                      <a:pt x="40978" y="221899"/>
                    </a:cubicBezTo>
                    <a:cubicBezTo>
                      <a:pt x="40978" y="321638"/>
                      <a:pt x="122161" y="402821"/>
                      <a:pt x="221899" y="402821"/>
                    </a:cubicBezTo>
                    <a:cubicBezTo>
                      <a:pt x="246641" y="402821"/>
                      <a:pt x="270609" y="398182"/>
                      <a:pt x="293804" y="388130"/>
                    </a:cubicBezTo>
                    <a:lnTo>
                      <a:pt x="310040" y="426016"/>
                    </a:lnTo>
                    <a:cubicBezTo>
                      <a:pt x="282206" y="437613"/>
                      <a:pt x="252826" y="443798"/>
                      <a:pt x="221899" y="443798"/>
                    </a:cubicBezTo>
                    <a:lnTo>
                      <a:pt x="221899" y="443798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175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9380995" y="2618166"/>
              <a:ext cx="381100" cy="381646"/>
              <a:chOff x="10242055" y="2546042"/>
              <a:chExt cx="480994" cy="481683"/>
            </a:xfrm>
            <a:solidFill>
              <a:srgbClr val="B1B1A1"/>
            </a:solidFill>
          </p:grpSpPr>
          <p:grpSp>
            <p:nvGrpSpPr>
              <p:cNvPr id="176" name="Gráfico 2">
                <a:extLst>
                  <a:ext uri="{FF2B5EF4-FFF2-40B4-BE49-F238E27FC236}">
                    <a16:creationId xmlns:a16="http://schemas.microsoft.com/office/drawing/2014/main" id="{6FEF66BF-8D1E-4FFA-95A2-6EE56886837B}"/>
                  </a:ext>
                </a:extLst>
              </p:cNvPr>
              <p:cNvGrpSpPr/>
              <p:nvPr/>
            </p:nvGrpSpPr>
            <p:grpSpPr>
              <a:xfrm>
                <a:off x="10244417" y="2591659"/>
                <a:ext cx="473546" cy="397408"/>
                <a:chOff x="10244417" y="2591659"/>
                <a:chExt cx="473546" cy="397408"/>
              </a:xfrm>
              <a:grpFill/>
            </p:grpSpPr>
            <p:sp>
              <p:nvSpPr>
                <p:cNvPr id="177" name="Forma Livre: Forma 176">
                  <a:extLst>
                    <a:ext uri="{FF2B5EF4-FFF2-40B4-BE49-F238E27FC236}">
                      <a16:creationId xmlns:a16="http://schemas.microsoft.com/office/drawing/2014/main" id="{08560D7C-3CAB-494A-9653-6153410878E9}"/>
                    </a:ext>
                  </a:extLst>
                </p:cNvPr>
                <p:cNvSpPr/>
                <p:nvPr/>
              </p:nvSpPr>
              <p:spPr>
                <a:xfrm>
                  <a:off x="10244417" y="2592432"/>
                  <a:ext cx="264825" cy="396635"/>
                </a:xfrm>
                <a:custGeom>
                  <a:avLst/>
                  <a:gdLst>
                    <a:gd name="connsiteX0" fmla="*/ 20503 w 264825"/>
                    <a:gd name="connsiteY0" fmla="*/ 396635 h 396635"/>
                    <a:gd name="connsiteX1" fmla="*/ 11226 w 264825"/>
                    <a:gd name="connsiteY1" fmla="*/ 394316 h 396635"/>
                    <a:gd name="connsiteX2" fmla="*/ 1948 w 264825"/>
                    <a:gd name="connsiteY2" fmla="*/ 366482 h 396635"/>
                    <a:gd name="connsiteX3" fmla="*/ 7360 w 264825"/>
                    <a:gd name="connsiteY3" fmla="*/ 355657 h 396635"/>
                    <a:gd name="connsiteX4" fmla="*/ 39060 w 264825"/>
                    <a:gd name="connsiteY4" fmla="*/ 195612 h 396635"/>
                    <a:gd name="connsiteX5" fmla="*/ 231579 w 264825"/>
                    <a:gd name="connsiteY5" fmla="*/ 0 h 396635"/>
                    <a:gd name="connsiteX6" fmla="*/ 231579 w 264825"/>
                    <a:gd name="connsiteY6" fmla="*/ 0 h 396635"/>
                    <a:gd name="connsiteX7" fmla="*/ 243949 w 264825"/>
                    <a:gd name="connsiteY7" fmla="*/ 0 h 396635"/>
                    <a:gd name="connsiteX8" fmla="*/ 264825 w 264825"/>
                    <a:gd name="connsiteY8" fmla="*/ 20876 h 396635"/>
                    <a:gd name="connsiteX9" fmla="*/ 243949 w 264825"/>
                    <a:gd name="connsiteY9" fmla="*/ 41751 h 396635"/>
                    <a:gd name="connsiteX10" fmla="*/ 231579 w 264825"/>
                    <a:gd name="connsiteY10" fmla="*/ 41751 h 396635"/>
                    <a:gd name="connsiteX11" fmla="*/ 231579 w 264825"/>
                    <a:gd name="connsiteY11" fmla="*/ 41751 h 396635"/>
                    <a:gd name="connsiteX12" fmla="*/ 80038 w 264825"/>
                    <a:gd name="connsiteY12" fmla="*/ 199477 h 396635"/>
                    <a:gd name="connsiteX13" fmla="*/ 43698 w 264825"/>
                    <a:gd name="connsiteY13" fmla="*/ 375760 h 396635"/>
                    <a:gd name="connsiteX14" fmla="*/ 38287 w 264825"/>
                    <a:gd name="connsiteY14" fmla="*/ 386584 h 396635"/>
                    <a:gd name="connsiteX15" fmla="*/ 20503 w 264825"/>
                    <a:gd name="connsiteY15" fmla="*/ 396635 h 396635"/>
                    <a:gd name="connsiteX16" fmla="*/ 20503 w 264825"/>
                    <a:gd name="connsiteY16" fmla="*/ 396635 h 3966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264825" h="396635">
                      <a:moveTo>
                        <a:pt x="20503" y="396635"/>
                      </a:moveTo>
                      <a:cubicBezTo>
                        <a:pt x="17411" y="396635"/>
                        <a:pt x="14319" y="395862"/>
                        <a:pt x="11226" y="394316"/>
                      </a:cubicBezTo>
                      <a:cubicBezTo>
                        <a:pt x="1174" y="388904"/>
                        <a:pt x="-2692" y="376533"/>
                        <a:pt x="1948" y="366482"/>
                      </a:cubicBezTo>
                      <a:lnTo>
                        <a:pt x="7360" y="355657"/>
                      </a:lnTo>
                      <a:cubicBezTo>
                        <a:pt x="25143" y="321638"/>
                        <a:pt x="30555" y="310814"/>
                        <a:pt x="39060" y="195612"/>
                      </a:cubicBezTo>
                      <a:cubicBezTo>
                        <a:pt x="48338" y="80410"/>
                        <a:pt x="127201" y="0"/>
                        <a:pt x="231579" y="0"/>
                      </a:cubicBezTo>
                      <a:cubicBezTo>
                        <a:pt x="231579" y="0"/>
                        <a:pt x="231579" y="0"/>
                        <a:pt x="231579" y="0"/>
                      </a:cubicBezTo>
                      <a:lnTo>
                        <a:pt x="243949" y="0"/>
                      </a:lnTo>
                      <a:cubicBezTo>
                        <a:pt x="255547" y="0"/>
                        <a:pt x="264825" y="9278"/>
                        <a:pt x="264825" y="20876"/>
                      </a:cubicBezTo>
                      <a:cubicBezTo>
                        <a:pt x="264825" y="32473"/>
                        <a:pt x="255547" y="41751"/>
                        <a:pt x="243949" y="41751"/>
                      </a:cubicBezTo>
                      <a:lnTo>
                        <a:pt x="231579" y="41751"/>
                      </a:lnTo>
                      <a:cubicBezTo>
                        <a:pt x="231579" y="41751"/>
                        <a:pt x="231579" y="41751"/>
                        <a:pt x="231579" y="41751"/>
                      </a:cubicBezTo>
                      <a:cubicBezTo>
                        <a:pt x="148076" y="41751"/>
                        <a:pt x="87770" y="105151"/>
                        <a:pt x="80038" y="199477"/>
                      </a:cubicBezTo>
                      <a:cubicBezTo>
                        <a:pt x="70759" y="318545"/>
                        <a:pt x="64575" y="334009"/>
                        <a:pt x="43698" y="375760"/>
                      </a:cubicBezTo>
                      <a:lnTo>
                        <a:pt x="38287" y="386584"/>
                      </a:lnTo>
                      <a:cubicBezTo>
                        <a:pt x="35194" y="391996"/>
                        <a:pt x="28235" y="396635"/>
                        <a:pt x="20503" y="396635"/>
                      </a:cubicBezTo>
                      <a:lnTo>
                        <a:pt x="20503" y="396635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178" name="Forma Livre: Forma 177">
                  <a:extLst>
                    <a:ext uri="{FF2B5EF4-FFF2-40B4-BE49-F238E27FC236}">
                      <a16:creationId xmlns:a16="http://schemas.microsoft.com/office/drawing/2014/main" id="{254D050C-E6DB-4172-B6F5-199D68962D02}"/>
                    </a:ext>
                  </a:extLst>
                </p:cNvPr>
                <p:cNvSpPr/>
                <p:nvPr/>
              </p:nvSpPr>
              <p:spPr>
                <a:xfrm>
                  <a:off x="10452801" y="2591659"/>
                  <a:ext cx="265162" cy="397408"/>
                </a:xfrm>
                <a:custGeom>
                  <a:avLst/>
                  <a:gdLst>
                    <a:gd name="connsiteX0" fmla="*/ 245094 w 265162"/>
                    <a:gd name="connsiteY0" fmla="*/ 397408 h 397408"/>
                    <a:gd name="connsiteX1" fmla="*/ 226539 w 265162"/>
                    <a:gd name="connsiteY1" fmla="*/ 385811 h 397408"/>
                    <a:gd name="connsiteX2" fmla="*/ 221126 w 265162"/>
                    <a:gd name="connsiteY2" fmla="*/ 374986 h 397408"/>
                    <a:gd name="connsiteX3" fmla="*/ 184787 w 265162"/>
                    <a:gd name="connsiteY3" fmla="*/ 199477 h 397408"/>
                    <a:gd name="connsiteX4" fmla="*/ 33247 w 265162"/>
                    <a:gd name="connsiteY4" fmla="*/ 41751 h 397408"/>
                    <a:gd name="connsiteX5" fmla="*/ 33247 w 265162"/>
                    <a:gd name="connsiteY5" fmla="*/ 41751 h 397408"/>
                    <a:gd name="connsiteX6" fmla="*/ 20875 w 265162"/>
                    <a:gd name="connsiteY6" fmla="*/ 41751 h 397408"/>
                    <a:gd name="connsiteX7" fmla="*/ 0 w 265162"/>
                    <a:gd name="connsiteY7" fmla="*/ 20875 h 397408"/>
                    <a:gd name="connsiteX8" fmla="*/ 20875 w 265162"/>
                    <a:gd name="connsiteY8" fmla="*/ 0 h 397408"/>
                    <a:gd name="connsiteX9" fmla="*/ 33247 w 265162"/>
                    <a:gd name="connsiteY9" fmla="*/ 0 h 397408"/>
                    <a:gd name="connsiteX10" fmla="*/ 33247 w 265162"/>
                    <a:gd name="connsiteY10" fmla="*/ 0 h 397408"/>
                    <a:gd name="connsiteX11" fmla="*/ 225765 w 265162"/>
                    <a:gd name="connsiteY11" fmla="*/ 195611 h 397408"/>
                    <a:gd name="connsiteX12" fmla="*/ 257465 w 265162"/>
                    <a:gd name="connsiteY12" fmla="*/ 355657 h 397408"/>
                    <a:gd name="connsiteX13" fmla="*/ 262877 w 265162"/>
                    <a:gd name="connsiteY13" fmla="*/ 367255 h 397408"/>
                    <a:gd name="connsiteX14" fmla="*/ 253599 w 265162"/>
                    <a:gd name="connsiteY14" fmla="*/ 395089 h 397408"/>
                    <a:gd name="connsiteX15" fmla="*/ 245094 w 265162"/>
                    <a:gd name="connsiteY15" fmla="*/ 397408 h 397408"/>
                    <a:gd name="connsiteX16" fmla="*/ 245094 w 265162"/>
                    <a:gd name="connsiteY16" fmla="*/ 397408 h 397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265162" h="397408">
                      <a:moveTo>
                        <a:pt x="245094" y="397408"/>
                      </a:moveTo>
                      <a:cubicBezTo>
                        <a:pt x="237362" y="397408"/>
                        <a:pt x="230404" y="393542"/>
                        <a:pt x="226539" y="385811"/>
                      </a:cubicBezTo>
                      <a:lnTo>
                        <a:pt x="221126" y="374986"/>
                      </a:lnTo>
                      <a:cubicBezTo>
                        <a:pt x="200251" y="334008"/>
                        <a:pt x="194065" y="318545"/>
                        <a:pt x="184787" y="199477"/>
                      </a:cubicBezTo>
                      <a:cubicBezTo>
                        <a:pt x="177056" y="105151"/>
                        <a:pt x="116748" y="41751"/>
                        <a:pt x="33247" y="41751"/>
                      </a:cubicBezTo>
                      <a:cubicBezTo>
                        <a:pt x="33247" y="41751"/>
                        <a:pt x="33247" y="41751"/>
                        <a:pt x="33247" y="41751"/>
                      </a:cubicBezTo>
                      <a:lnTo>
                        <a:pt x="20875" y="41751"/>
                      </a:lnTo>
                      <a:cubicBezTo>
                        <a:pt x="9278" y="41751"/>
                        <a:pt x="0" y="32473"/>
                        <a:pt x="0" y="20875"/>
                      </a:cubicBezTo>
                      <a:cubicBezTo>
                        <a:pt x="0" y="9278"/>
                        <a:pt x="9278" y="0"/>
                        <a:pt x="20875" y="0"/>
                      </a:cubicBezTo>
                      <a:lnTo>
                        <a:pt x="33247" y="0"/>
                      </a:lnTo>
                      <a:cubicBezTo>
                        <a:pt x="33247" y="0"/>
                        <a:pt x="33247" y="0"/>
                        <a:pt x="33247" y="0"/>
                      </a:cubicBezTo>
                      <a:cubicBezTo>
                        <a:pt x="137624" y="0"/>
                        <a:pt x="216487" y="80409"/>
                        <a:pt x="225765" y="195611"/>
                      </a:cubicBezTo>
                      <a:cubicBezTo>
                        <a:pt x="235043" y="311587"/>
                        <a:pt x="239682" y="321638"/>
                        <a:pt x="257465" y="355657"/>
                      </a:cubicBezTo>
                      <a:lnTo>
                        <a:pt x="262877" y="367255"/>
                      </a:lnTo>
                      <a:cubicBezTo>
                        <a:pt x="268289" y="377306"/>
                        <a:pt x="263650" y="389677"/>
                        <a:pt x="253599" y="395089"/>
                      </a:cubicBezTo>
                      <a:cubicBezTo>
                        <a:pt x="251280" y="396635"/>
                        <a:pt x="248187" y="397408"/>
                        <a:pt x="245094" y="397408"/>
                      </a:cubicBezTo>
                      <a:lnTo>
                        <a:pt x="245094" y="397408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sp>
            <p:nvSpPr>
              <p:cNvPr id="179" name="Forma Livre: Forma 178">
                <a:extLst>
                  <a:ext uri="{FF2B5EF4-FFF2-40B4-BE49-F238E27FC236}">
                    <a16:creationId xmlns:a16="http://schemas.microsoft.com/office/drawing/2014/main" id="{286C67DB-3B68-4CD2-A099-FC34913AACDF}"/>
                  </a:ext>
                </a:extLst>
              </p:cNvPr>
              <p:cNvSpPr/>
              <p:nvPr/>
            </p:nvSpPr>
            <p:spPr>
              <a:xfrm>
                <a:off x="10242055" y="2925667"/>
                <a:ext cx="480994" cy="64173"/>
              </a:xfrm>
              <a:custGeom>
                <a:avLst/>
                <a:gdLst>
                  <a:gd name="connsiteX0" fmla="*/ 458933 w 480994"/>
                  <a:gd name="connsiteY0" fmla="*/ 64173 h 64173"/>
                  <a:gd name="connsiteX1" fmla="*/ 455067 w 480994"/>
                  <a:gd name="connsiteY1" fmla="*/ 63400 h 64173"/>
                  <a:gd name="connsiteX2" fmla="*/ 24413 w 480994"/>
                  <a:gd name="connsiteY2" fmla="*/ 63400 h 64173"/>
                  <a:gd name="connsiteX3" fmla="*/ 445 w 480994"/>
                  <a:gd name="connsiteY3" fmla="*/ 47163 h 64173"/>
                  <a:gd name="connsiteX4" fmla="*/ 16681 w 480994"/>
                  <a:gd name="connsiteY4" fmla="*/ 23195 h 64173"/>
                  <a:gd name="connsiteX5" fmla="*/ 464345 w 480994"/>
                  <a:gd name="connsiteY5" fmla="*/ 23195 h 64173"/>
                  <a:gd name="connsiteX6" fmla="*/ 480582 w 480994"/>
                  <a:gd name="connsiteY6" fmla="*/ 47163 h 64173"/>
                  <a:gd name="connsiteX7" fmla="*/ 458933 w 480994"/>
                  <a:gd name="connsiteY7" fmla="*/ 64173 h 64173"/>
                  <a:gd name="connsiteX8" fmla="*/ 458933 w 480994"/>
                  <a:gd name="connsiteY8" fmla="*/ 64173 h 64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0994" h="64173">
                    <a:moveTo>
                      <a:pt x="458933" y="64173"/>
                    </a:moveTo>
                    <a:cubicBezTo>
                      <a:pt x="457387" y="64173"/>
                      <a:pt x="455840" y="64173"/>
                      <a:pt x="455067" y="63400"/>
                    </a:cubicBezTo>
                    <a:cubicBezTo>
                      <a:pt x="312031" y="34019"/>
                      <a:pt x="167449" y="34019"/>
                      <a:pt x="24413" y="63400"/>
                    </a:cubicBezTo>
                    <a:cubicBezTo>
                      <a:pt x="13588" y="65719"/>
                      <a:pt x="2763" y="58761"/>
                      <a:pt x="445" y="47163"/>
                    </a:cubicBezTo>
                    <a:cubicBezTo>
                      <a:pt x="-1875" y="36339"/>
                      <a:pt x="5083" y="25515"/>
                      <a:pt x="16681" y="23195"/>
                    </a:cubicBezTo>
                    <a:cubicBezTo>
                      <a:pt x="165129" y="-7732"/>
                      <a:pt x="315897" y="-7732"/>
                      <a:pt x="464345" y="23195"/>
                    </a:cubicBezTo>
                    <a:cubicBezTo>
                      <a:pt x="475169" y="25515"/>
                      <a:pt x="482901" y="36339"/>
                      <a:pt x="480582" y="47163"/>
                    </a:cubicBezTo>
                    <a:cubicBezTo>
                      <a:pt x="476716" y="57214"/>
                      <a:pt x="468211" y="64173"/>
                      <a:pt x="458933" y="64173"/>
                    </a:cubicBezTo>
                    <a:lnTo>
                      <a:pt x="458933" y="64173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80" name="Forma Livre: Forma 179">
                <a:extLst>
                  <a:ext uri="{FF2B5EF4-FFF2-40B4-BE49-F238E27FC236}">
                    <a16:creationId xmlns:a16="http://schemas.microsoft.com/office/drawing/2014/main" id="{3EDC0957-F186-4372-9936-06989B3F367B}"/>
                  </a:ext>
                </a:extLst>
              </p:cNvPr>
              <p:cNvSpPr/>
              <p:nvPr/>
            </p:nvSpPr>
            <p:spPr>
              <a:xfrm>
                <a:off x="10460532" y="2546042"/>
                <a:ext cx="41751" cy="82729"/>
              </a:xfrm>
              <a:custGeom>
                <a:avLst/>
                <a:gdLst>
                  <a:gd name="connsiteX0" fmla="*/ 20875 w 41751"/>
                  <a:gd name="connsiteY0" fmla="*/ 82729 h 82729"/>
                  <a:gd name="connsiteX1" fmla="*/ 0 w 41751"/>
                  <a:gd name="connsiteY1" fmla="*/ 61853 h 82729"/>
                  <a:gd name="connsiteX2" fmla="*/ 0 w 41751"/>
                  <a:gd name="connsiteY2" fmla="*/ 20876 h 82729"/>
                  <a:gd name="connsiteX3" fmla="*/ 20875 w 41751"/>
                  <a:gd name="connsiteY3" fmla="*/ 0 h 82729"/>
                  <a:gd name="connsiteX4" fmla="*/ 41751 w 41751"/>
                  <a:gd name="connsiteY4" fmla="*/ 20876 h 82729"/>
                  <a:gd name="connsiteX5" fmla="*/ 41751 w 41751"/>
                  <a:gd name="connsiteY5" fmla="*/ 62627 h 82729"/>
                  <a:gd name="connsiteX6" fmla="*/ 20875 w 41751"/>
                  <a:gd name="connsiteY6" fmla="*/ 82729 h 82729"/>
                  <a:gd name="connsiteX7" fmla="*/ 20875 w 41751"/>
                  <a:gd name="connsiteY7" fmla="*/ 82729 h 82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51" h="82729">
                    <a:moveTo>
                      <a:pt x="20875" y="82729"/>
                    </a:moveTo>
                    <a:cubicBezTo>
                      <a:pt x="9278" y="82729"/>
                      <a:pt x="0" y="73451"/>
                      <a:pt x="0" y="61853"/>
                    </a:cubicBezTo>
                    <a:lnTo>
                      <a:pt x="0" y="20876"/>
                    </a:lnTo>
                    <a:cubicBezTo>
                      <a:pt x="0" y="9278"/>
                      <a:pt x="9278" y="0"/>
                      <a:pt x="20875" y="0"/>
                    </a:cubicBezTo>
                    <a:cubicBezTo>
                      <a:pt x="32473" y="0"/>
                      <a:pt x="41751" y="9278"/>
                      <a:pt x="41751" y="20876"/>
                    </a:cubicBezTo>
                    <a:lnTo>
                      <a:pt x="41751" y="62627"/>
                    </a:lnTo>
                    <a:cubicBezTo>
                      <a:pt x="41751" y="73451"/>
                      <a:pt x="32473" y="82729"/>
                      <a:pt x="20875" y="82729"/>
                    </a:cubicBezTo>
                    <a:lnTo>
                      <a:pt x="20875" y="82729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81" name="Forma Livre: Forma 180">
                <a:extLst>
                  <a:ext uri="{FF2B5EF4-FFF2-40B4-BE49-F238E27FC236}">
                    <a16:creationId xmlns:a16="http://schemas.microsoft.com/office/drawing/2014/main" id="{C4A7C332-5F0E-4217-B552-15F2BFC2C70E}"/>
                  </a:ext>
                </a:extLst>
              </p:cNvPr>
              <p:cNvSpPr/>
              <p:nvPr/>
            </p:nvSpPr>
            <p:spPr>
              <a:xfrm>
                <a:off x="10420328" y="2945770"/>
                <a:ext cx="123706" cy="81955"/>
              </a:xfrm>
              <a:custGeom>
                <a:avLst/>
                <a:gdLst>
                  <a:gd name="connsiteX0" fmla="*/ 61080 w 123706"/>
                  <a:gd name="connsiteY0" fmla="*/ 81956 h 81955"/>
                  <a:gd name="connsiteX1" fmla="*/ 0 w 123706"/>
                  <a:gd name="connsiteY1" fmla="*/ 20876 h 81955"/>
                  <a:gd name="connsiteX2" fmla="*/ 20875 w 123706"/>
                  <a:gd name="connsiteY2" fmla="*/ 0 h 81955"/>
                  <a:gd name="connsiteX3" fmla="*/ 41750 w 123706"/>
                  <a:gd name="connsiteY3" fmla="*/ 20876 h 81955"/>
                  <a:gd name="connsiteX4" fmla="*/ 61853 w 123706"/>
                  <a:gd name="connsiteY4" fmla="*/ 40978 h 81955"/>
                  <a:gd name="connsiteX5" fmla="*/ 81956 w 123706"/>
                  <a:gd name="connsiteY5" fmla="*/ 20876 h 81955"/>
                  <a:gd name="connsiteX6" fmla="*/ 102831 w 123706"/>
                  <a:gd name="connsiteY6" fmla="*/ 0 h 81955"/>
                  <a:gd name="connsiteX7" fmla="*/ 123707 w 123706"/>
                  <a:gd name="connsiteY7" fmla="*/ 20876 h 81955"/>
                  <a:gd name="connsiteX8" fmla="*/ 61080 w 123706"/>
                  <a:gd name="connsiteY8" fmla="*/ 81956 h 81955"/>
                  <a:gd name="connsiteX9" fmla="*/ 61080 w 123706"/>
                  <a:gd name="connsiteY9" fmla="*/ 81956 h 81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3706" h="81955">
                    <a:moveTo>
                      <a:pt x="61080" y="81956"/>
                    </a:moveTo>
                    <a:cubicBezTo>
                      <a:pt x="27061" y="81956"/>
                      <a:pt x="0" y="54122"/>
                      <a:pt x="0" y="20876"/>
                    </a:cubicBezTo>
                    <a:cubicBezTo>
                      <a:pt x="0" y="9278"/>
                      <a:pt x="9278" y="0"/>
                      <a:pt x="20875" y="0"/>
                    </a:cubicBezTo>
                    <a:cubicBezTo>
                      <a:pt x="32473" y="0"/>
                      <a:pt x="41750" y="9278"/>
                      <a:pt x="41750" y="20876"/>
                    </a:cubicBezTo>
                    <a:cubicBezTo>
                      <a:pt x="41750" y="31700"/>
                      <a:pt x="51029" y="40978"/>
                      <a:pt x="61853" y="40978"/>
                    </a:cubicBezTo>
                    <a:cubicBezTo>
                      <a:pt x="73451" y="40978"/>
                      <a:pt x="81956" y="31700"/>
                      <a:pt x="81956" y="20876"/>
                    </a:cubicBezTo>
                    <a:cubicBezTo>
                      <a:pt x="81956" y="9278"/>
                      <a:pt x="91233" y="0"/>
                      <a:pt x="102831" y="0"/>
                    </a:cubicBezTo>
                    <a:cubicBezTo>
                      <a:pt x="114428" y="0"/>
                      <a:pt x="123707" y="9278"/>
                      <a:pt x="123707" y="20876"/>
                    </a:cubicBezTo>
                    <a:cubicBezTo>
                      <a:pt x="122160" y="54895"/>
                      <a:pt x="95099" y="81956"/>
                      <a:pt x="61080" y="81956"/>
                    </a:cubicBezTo>
                    <a:lnTo>
                      <a:pt x="61080" y="81956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182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10363019" y="2612040"/>
              <a:ext cx="410144" cy="384709"/>
              <a:chOff x="11481486" y="2538310"/>
              <a:chExt cx="517650" cy="485549"/>
            </a:xfrm>
            <a:solidFill>
              <a:srgbClr val="B1B1A1"/>
            </a:solidFill>
          </p:grpSpPr>
          <p:sp>
            <p:nvSpPr>
              <p:cNvPr id="183" name="Forma Livre: Forma 182">
                <a:extLst>
                  <a:ext uri="{FF2B5EF4-FFF2-40B4-BE49-F238E27FC236}">
                    <a16:creationId xmlns:a16="http://schemas.microsoft.com/office/drawing/2014/main" id="{5D710BE9-1F85-45E1-A61A-1F3972A01259}"/>
                  </a:ext>
                </a:extLst>
              </p:cNvPr>
              <p:cNvSpPr/>
              <p:nvPr/>
            </p:nvSpPr>
            <p:spPr>
              <a:xfrm>
                <a:off x="11743991" y="2768714"/>
                <a:ext cx="255145" cy="255145"/>
              </a:xfrm>
              <a:custGeom>
                <a:avLst/>
                <a:gdLst>
                  <a:gd name="connsiteX0" fmla="*/ 127573 w 255145"/>
                  <a:gd name="connsiteY0" fmla="*/ 255145 h 255145"/>
                  <a:gd name="connsiteX1" fmla="*/ 0 w 255145"/>
                  <a:gd name="connsiteY1" fmla="*/ 127573 h 255145"/>
                  <a:gd name="connsiteX2" fmla="*/ 127573 w 255145"/>
                  <a:gd name="connsiteY2" fmla="*/ 0 h 255145"/>
                  <a:gd name="connsiteX3" fmla="*/ 255145 w 255145"/>
                  <a:gd name="connsiteY3" fmla="*/ 127573 h 255145"/>
                  <a:gd name="connsiteX4" fmla="*/ 127573 w 255145"/>
                  <a:gd name="connsiteY4" fmla="*/ 255145 h 255145"/>
                  <a:gd name="connsiteX5" fmla="*/ 127573 w 255145"/>
                  <a:gd name="connsiteY5" fmla="*/ 255145 h 255145"/>
                  <a:gd name="connsiteX6" fmla="*/ 127573 w 255145"/>
                  <a:gd name="connsiteY6" fmla="*/ 20875 h 255145"/>
                  <a:gd name="connsiteX7" fmla="*/ 20875 w 255145"/>
                  <a:gd name="connsiteY7" fmla="*/ 127573 h 255145"/>
                  <a:gd name="connsiteX8" fmla="*/ 127573 w 255145"/>
                  <a:gd name="connsiteY8" fmla="*/ 234270 h 255145"/>
                  <a:gd name="connsiteX9" fmla="*/ 234270 w 255145"/>
                  <a:gd name="connsiteY9" fmla="*/ 127573 h 255145"/>
                  <a:gd name="connsiteX10" fmla="*/ 127573 w 255145"/>
                  <a:gd name="connsiteY10" fmla="*/ 20875 h 255145"/>
                  <a:gd name="connsiteX11" fmla="*/ 127573 w 255145"/>
                  <a:gd name="connsiteY11" fmla="*/ 20875 h 255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55145" h="255145">
                    <a:moveTo>
                      <a:pt x="127573" y="255145"/>
                    </a:moveTo>
                    <a:cubicBezTo>
                      <a:pt x="57215" y="255145"/>
                      <a:pt x="0" y="197931"/>
                      <a:pt x="0" y="127573"/>
                    </a:cubicBezTo>
                    <a:cubicBezTo>
                      <a:pt x="0" y="57214"/>
                      <a:pt x="57215" y="0"/>
                      <a:pt x="127573" y="0"/>
                    </a:cubicBezTo>
                    <a:cubicBezTo>
                      <a:pt x="197931" y="0"/>
                      <a:pt x="255145" y="57214"/>
                      <a:pt x="255145" y="127573"/>
                    </a:cubicBezTo>
                    <a:cubicBezTo>
                      <a:pt x="255145" y="197931"/>
                      <a:pt x="197931" y="255145"/>
                      <a:pt x="127573" y="255145"/>
                    </a:cubicBezTo>
                    <a:lnTo>
                      <a:pt x="127573" y="255145"/>
                    </a:lnTo>
                    <a:close/>
                    <a:moveTo>
                      <a:pt x="127573" y="20875"/>
                    </a:moveTo>
                    <a:cubicBezTo>
                      <a:pt x="68812" y="20875"/>
                      <a:pt x="20875" y="68812"/>
                      <a:pt x="20875" y="127573"/>
                    </a:cubicBezTo>
                    <a:cubicBezTo>
                      <a:pt x="20875" y="186334"/>
                      <a:pt x="68812" y="234270"/>
                      <a:pt x="127573" y="234270"/>
                    </a:cubicBezTo>
                    <a:cubicBezTo>
                      <a:pt x="186333" y="234270"/>
                      <a:pt x="234270" y="186334"/>
                      <a:pt x="234270" y="127573"/>
                    </a:cubicBezTo>
                    <a:cubicBezTo>
                      <a:pt x="234270" y="68812"/>
                      <a:pt x="187106" y="20875"/>
                      <a:pt x="127573" y="20875"/>
                    </a:cubicBezTo>
                    <a:lnTo>
                      <a:pt x="127573" y="20875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84" name="Forma Livre: Forma 183">
                <a:extLst>
                  <a:ext uri="{FF2B5EF4-FFF2-40B4-BE49-F238E27FC236}">
                    <a16:creationId xmlns:a16="http://schemas.microsoft.com/office/drawing/2014/main" id="{A9628533-0C37-48FA-AA36-02C4B746622C}"/>
                  </a:ext>
                </a:extLst>
              </p:cNvPr>
              <p:cNvSpPr/>
              <p:nvPr/>
            </p:nvSpPr>
            <p:spPr>
              <a:xfrm>
                <a:off x="11794247" y="2875411"/>
                <a:ext cx="155406" cy="41751"/>
              </a:xfrm>
              <a:custGeom>
                <a:avLst/>
                <a:gdLst>
                  <a:gd name="connsiteX0" fmla="*/ 134531 w 155406"/>
                  <a:gd name="connsiteY0" fmla="*/ 41751 h 41751"/>
                  <a:gd name="connsiteX1" fmla="*/ 20875 w 155406"/>
                  <a:gd name="connsiteY1" fmla="*/ 41751 h 41751"/>
                  <a:gd name="connsiteX2" fmla="*/ 0 w 155406"/>
                  <a:gd name="connsiteY2" fmla="*/ 20876 h 41751"/>
                  <a:gd name="connsiteX3" fmla="*/ 20875 w 155406"/>
                  <a:gd name="connsiteY3" fmla="*/ 0 h 41751"/>
                  <a:gd name="connsiteX4" fmla="*/ 134531 w 155406"/>
                  <a:gd name="connsiteY4" fmla="*/ 0 h 41751"/>
                  <a:gd name="connsiteX5" fmla="*/ 155407 w 155406"/>
                  <a:gd name="connsiteY5" fmla="*/ 20876 h 41751"/>
                  <a:gd name="connsiteX6" fmla="*/ 134531 w 155406"/>
                  <a:gd name="connsiteY6" fmla="*/ 41751 h 41751"/>
                  <a:gd name="connsiteX7" fmla="*/ 134531 w 155406"/>
                  <a:gd name="connsiteY7" fmla="*/ 41751 h 41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5406" h="41751">
                    <a:moveTo>
                      <a:pt x="134531" y="41751"/>
                    </a:moveTo>
                    <a:lnTo>
                      <a:pt x="20875" y="41751"/>
                    </a:lnTo>
                    <a:cubicBezTo>
                      <a:pt x="9278" y="41751"/>
                      <a:pt x="0" y="32473"/>
                      <a:pt x="0" y="20876"/>
                    </a:cubicBezTo>
                    <a:cubicBezTo>
                      <a:pt x="0" y="9278"/>
                      <a:pt x="9278" y="0"/>
                      <a:pt x="20875" y="0"/>
                    </a:cubicBezTo>
                    <a:lnTo>
                      <a:pt x="134531" y="0"/>
                    </a:lnTo>
                    <a:cubicBezTo>
                      <a:pt x="146129" y="0"/>
                      <a:pt x="155407" y="9278"/>
                      <a:pt x="155407" y="20876"/>
                    </a:cubicBezTo>
                    <a:cubicBezTo>
                      <a:pt x="154634" y="32473"/>
                      <a:pt x="145356" y="41751"/>
                      <a:pt x="134531" y="41751"/>
                    </a:cubicBezTo>
                    <a:lnTo>
                      <a:pt x="134531" y="41751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85" name="Forma Livre: Forma 184">
                <a:extLst>
                  <a:ext uri="{FF2B5EF4-FFF2-40B4-BE49-F238E27FC236}">
                    <a16:creationId xmlns:a16="http://schemas.microsoft.com/office/drawing/2014/main" id="{908BA6A8-37AD-4C51-A48B-9DAD71F78540}"/>
                  </a:ext>
                </a:extLst>
              </p:cNvPr>
              <p:cNvSpPr/>
              <p:nvPr/>
            </p:nvSpPr>
            <p:spPr>
              <a:xfrm>
                <a:off x="11850689" y="2818197"/>
                <a:ext cx="41750" cy="155406"/>
              </a:xfrm>
              <a:custGeom>
                <a:avLst/>
                <a:gdLst>
                  <a:gd name="connsiteX0" fmla="*/ 20875 w 41750"/>
                  <a:gd name="connsiteY0" fmla="*/ 155407 h 155406"/>
                  <a:gd name="connsiteX1" fmla="*/ 0 w 41750"/>
                  <a:gd name="connsiteY1" fmla="*/ 134531 h 155406"/>
                  <a:gd name="connsiteX2" fmla="*/ 0 w 41750"/>
                  <a:gd name="connsiteY2" fmla="*/ 20876 h 155406"/>
                  <a:gd name="connsiteX3" fmla="*/ 20875 w 41750"/>
                  <a:gd name="connsiteY3" fmla="*/ 0 h 155406"/>
                  <a:gd name="connsiteX4" fmla="*/ 41750 w 41750"/>
                  <a:gd name="connsiteY4" fmla="*/ 20876 h 155406"/>
                  <a:gd name="connsiteX5" fmla="*/ 41750 w 41750"/>
                  <a:gd name="connsiteY5" fmla="*/ 135304 h 155406"/>
                  <a:gd name="connsiteX6" fmla="*/ 20875 w 41750"/>
                  <a:gd name="connsiteY6" fmla="*/ 155407 h 155406"/>
                  <a:gd name="connsiteX7" fmla="*/ 20875 w 41750"/>
                  <a:gd name="connsiteY7" fmla="*/ 155407 h 155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50" h="155406">
                    <a:moveTo>
                      <a:pt x="20875" y="155407"/>
                    </a:moveTo>
                    <a:cubicBezTo>
                      <a:pt x="9278" y="155407"/>
                      <a:pt x="0" y="146129"/>
                      <a:pt x="0" y="134531"/>
                    </a:cubicBezTo>
                    <a:lnTo>
                      <a:pt x="0" y="20876"/>
                    </a:lnTo>
                    <a:cubicBezTo>
                      <a:pt x="0" y="9278"/>
                      <a:pt x="9278" y="0"/>
                      <a:pt x="20875" y="0"/>
                    </a:cubicBezTo>
                    <a:cubicBezTo>
                      <a:pt x="32473" y="0"/>
                      <a:pt x="41750" y="9278"/>
                      <a:pt x="41750" y="20876"/>
                    </a:cubicBezTo>
                    <a:lnTo>
                      <a:pt x="41750" y="135304"/>
                    </a:lnTo>
                    <a:cubicBezTo>
                      <a:pt x="41750" y="146129"/>
                      <a:pt x="32473" y="155407"/>
                      <a:pt x="20875" y="155407"/>
                    </a:cubicBezTo>
                    <a:lnTo>
                      <a:pt x="20875" y="155407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grpSp>
            <p:nvGrpSpPr>
              <p:cNvPr id="186" name="Gráfico 2">
                <a:extLst>
                  <a:ext uri="{FF2B5EF4-FFF2-40B4-BE49-F238E27FC236}">
                    <a16:creationId xmlns:a16="http://schemas.microsoft.com/office/drawing/2014/main" id="{6FEF66BF-8D1E-4FFA-95A2-6EE56886837B}"/>
                  </a:ext>
                </a:extLst>
              </p:cNvPr>
              <p:cNvGrpSpPr/>
              <p:nvPr/>
            </p:nvGrpSpPr>
            <p:grpSpPr>
              <a:xfrm>
                <a:off x="11481486" y="2581607"/>
                <a:ext cx="404044" cy="370347"/>
                <a:chOff x="11481486" y="2581607"/>
                <a:chExt cx="404044" cy="370347"/>
              </a:xfrm>
              <a:grpFill/>
            </p:grpSpPr>
            <p:sp>
              <p:nvSpPr>
                <p:cNvPr id="187" name="Forma Livre: Forma 186">
                  <a:extLst>
                    <a:ext uri="{FF2B5EF4-FFF2-40B4-BE49-F238E27FC236}">
                      <a16:creationId xmlns:a16="http://schemas.microsoft.com/office/drawing/2014/main" id="{D5A1D868-DD92-4560-B4BD-ACF908D6E68D}"/>
                    </a:ext>
                  </a:extLst>
                </p:cNvPr>
                <p:cNvSpPr/>
                <p:nvPr/>
              </p:nvSpPr>
              <p:spPr>
                <a:xfrm>
                  <a:off x="11481486" y="2581607"/>
                  <a:ext cx="248587" cy="370347"/>
                </a:xfrm>
                <a:custGeom>
                  <a:avLst/>
                  <a:gdLst>
                    <a:gd name="connsiteX0" fmla="*/ 20503 w 248587"/>
                    <a:gd name="connsiteY0" fmla="*/ 370347 h 370347"/>
                    <a:gd name="connsiteX1" fmla="*/ 11226 w 248587"/>
                    <a:gd name="connsiteY1" fmla="*/ 368028 h 370347"/>
                    <a:gd name="connsiteX2" fmla="*/ 1948 w 248587"/>
                    <a:gd name="connsiteY2" fmla="*/ 340194 h 370347"/>
                    <a:gd name="connsiteX3" fmla="*/ 7360 w 248587"/>
                    <a:gd name="connsiteY3" fmla="*/ 330143 h 370347"/>
                    <a:gd name="connsiteX4" fmla="*/ 36741 w 248587"/>
                    <a:gd name="connsiteY4" fmla="*/ 182468 h 370347"/>
                    <a:gd name="connsiteX5" fmla="*/ 216115 w 248587"/>
                    <a:gd name="connsiteY5" fmla="*/ 0 h 370347"/>
                    <a:gd name="connsiteX6" fmla="*/ 216115 w 248587"/>
                    <a:gd name="connsiteY6" fmla="*/ 0 h 370347"/>
                    <a:gd name="connsiteX7" fmla="*/ 227713 w 248587"/>
                    <a:gd name="connsiteY7" fmla="*/ 0 h 370347"/>
                    <a:gd name="connsiteX8" fmla="*/ 248588 w 248587"/>
                    <a:gd name="connsiteY8" fmla="*/ 20876 h 370347"/>
                    <a:gd name="connsiteX9" fmla="*/ 227713 w 248587"/>
                    <a:gd name="connsiteY9" fmla="*/ 41751 h 370347"/>
                    <a:gd name="connsiteX10" fmla="*/ 216115 w 248587"/>
                    <a:gd name="connsiteY10" fmla="*/ 41751 h 370347"/>
                    <a:gd name="connsiteX11" fmla="*/ 216115 w 248587"/>
                    <a:gd name="connsiteY11" fmla="*/ 41751 h 370347"/>
                    <a:gd name="connsiteX12" fmla="*/ 77718 w 248587"/>
                    <a:gd name="connsiteY12" fmla="*/ 186334 h 370347"/>
                    <a:gd name="connsiteX13" fmla="*/ 43698 w 248587"/>
                    <a:gd name="connsiteY13" fmla="*/ 349472 h 370347"/>
                    <a:gd name="connsiteX14" fmla="*/ 38287 w 248587"/>
                    <a:gd name="connsiteY14" fmla="*/ 359523 h 370347"/>
                    <a:gd name="connsiteX15" fmla="*/ 20503 w 248587"/>
                    <a:gd name="connsiteY15" fmla="*/ 370347 h 370347"/>
                    <a:gd name="connsiteX16" fmla="*/ 20503 w 248587"/>
                    <a:gd name="connsiteY16" fmla="*/ 370347 h 3703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248587" h="370347">
                      <a:moveTo>
                        <a:pt x="20503" y="370347"/>
                      </a:moveTo>
                      <a:cubicBezTo>
                        <a:pt x="17411" y="370347"/>
                        <a:pt x="14319" y="369574"/>
                        <a:pt x="11226" y="368028"/>
                      </a:cubicBezTo>
                      <a:cubicBezTo>
                        <a:pt x="1174" y="362616"/>
                        <a:pt x="-2692" y="350245"/>
                        <a:pt x="1948" y="340194"/>
                      </a:cubicBezTo>
                      <a:lnTo>
                        <a:pt x="7360" y="330143"/>
                      </a:lnTo>
                      <a:cubicBezTo>
                        <a:pt x="23596" y="298443"/>
                        <a:pt x="28235" y="289165"/>
                        <a:pt x="36741" y="182468"/>
                      </a:cubicBezTo>
                      <a:cubicBezTo>
                        <a:pt x="45245" y="74997"/>
                        <a:pt x="118696" y="0"/>
                        <a:pt x="216115" y="0"/>
                      </a:cubicBezTo>
                      <a:cubicBezTo>
                        <a:pt x="216115" y="0"/>
                        <a:pt x="216115" y="0"/>
                        <a:pt x="216115" y="0"/>
                      </a:cubicBezTo>
                      <a:lnTo>
                        <a:pt x="227713" y="0"/>
                      </a:lnTo>
                      <a:cubicBezTo>
                        <a:pt x="239310" y="0"/>
                        <a:pt x="248588" y="9278"/>
                        <a:pt x="248588" y="20876"/>
                      </a:cubicBezTo>
                      <a:cubicBezTo>
                        <a:pt x="248588" y="32473"/>
                        <a:pt x="239310" y="41751"/>
                        <a:pt x="227713" y="41751"/>
                      </a:cubicBezTo>
                      <a:lnTo>
                        <a:pt x="216115" y="41751"/>
                      </a:lnTo>
                      <a:cubicBezTo>
                        <a:pt x="216115" y="41751"/>
                        <a:pt x="216115" y="41751"/>
                        <a:pt x="216115" y="41751"/>
                      </a:cubicBezTo>
                      <a:cubicBezTo>
                        <a:pt x="140344" y="41751"/>
                        <a:pt x="84677" y="99739"/>
                        <a:pt x="77718" y="186334"/>
                      </a:cubicBezTo>
                      <a:cubicBezTo>
                        <a:pt x="69213" y="296123"/>
                        <a:pt x="63028" y="312360"/>
                        <a:pt x="43698" y="349472"/>
                      </a:cubicBezTo>
                      <a:lnTo>
                        <a:pt x="38287" y="359523"/>
                      </a:lnTo>
                      <a:cubicBezTo>
                        <a:pt x="35194" y="366482"/>
                        <a:pt x="27462" y="370347"/>
                        <a:pt x="20503" y="370347"/>
                      </a:cubicBezTo>
                      <a:lnTo>
                        <a:pt x="20503" y="370347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188" name="Forma Livre: Forma 187">
                  <a:extLst>
                    <a:ext uri="{FF2B5EF4-FFF2-40B4-BE49-F238E27FC236}">
                      <a16:creationId xmlns:a16="http://schemas.microsoft.com/office/drawing/2014/main" id="{A7253D7F-EB9A-4CB2-A2D8-EDCC52CF7D32}"/>
                    </a:ext>
                  </a:extLst>
                </p:cNvPr>
                <p:cNvSpPr/>
                <p:nvPr/>
              </p:nvSpPr>
              <p:spPr>
                <a:xfrm>
                  <a:off x="11673633" y="2581607"/>
                  <a:ext cx="211897" cy="204889"/>
                </a:xfrm>
                <a:custGeom>
                  <a:avLst/>
                  <a:gdLst>
                    <a:gd name="connsiteX0" fmla="*/ 190972 w 211897"/>
                    <a:gd name="connsiteY0" fmla="*/ 204890 h 204889"/>
                    <a:gd name="connsiteX1" fmla="*/ 170870 w 211897"/>
                    <a:gd name="connsiteY1" fmla="*/ 186334 h 204889"/>
                    <a:gd name="connsiteX2" fmla="*/ 32473 w 211897"/>
                    <a:gd name="connsiteY2" fmla="*/ 41751 h 204889"/>
                    <a:gd name="connsiteX3" fmla="*/ 32473 w 211897"/>
                    <a:gd name="connsiteY3" fmla="*/ 41751 h 204889"/>
                    <a:gd name="connsiteX4" fmla="*/ 20875 w 211897"/>
                    <a:gd name="connsiteY4" fmla="*/ 41751 h 204889"/>
                    <a:gd name="connsiteX5" fmla="*/ 0 w 211897"/>
                    <a:gd name="connsiteY5" fmla="*/ 20876 h 204889"/>
                    <a:gd name="connsiteX6" fmla="*/ 20875 w 211897"/>
                    <a:gd name="connsiteY6" fmla="*/ 0 h 204889"/>
                    <a:gd name="connsiteX7" fmla="*/ 32473 w 211897"/>
                    <a:gd name="connsiteY7" fmla="*/ 0 h 204889"/>
                    <a:gd name="connsiteX8" fmla="*/ 32473 w 211897"/>
                    <a:gd name="connsiteY8" fmla="*/ 0 h 204889"/>
                    <a:gd name="connsiteX9" fmla="*/ 211848 w 211897"/>
                    <a:gd name="connsiteY9" fmla="*/ 182468 h 204889"/>
                    <a:gd name="connsiteX10" fmla="*/ 193292 w 211897"/>
                    <a:gd name="connsiteY10" fmla="*/ 204890 h 204889"/>
                    <a:gd name="connsiteX11" fmla="*/ 190972 w 211897"/>
                    <a:gd name="connsiteY11" fmla="*/ 204890 h 204889"/>
                    <a:gd name="connsiteX12" fmla="*/ 190972 w 211897"/>
                    <a:gd name="connsiteY12" fmla="*/ 204890 h 2048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211897" h="204889">
                      <a:moveTo>
                        <a:pt x="190972" y="204890"/>
                      </a:moveTo>
                      <a:cubicBezTo>
                        <a:pt x="180148" y="204890"/>
                        <a:pt x="171643" y="196385"/>
                        <a:pt x="170870" y="186334"/>
                      </a:cubicBezTo>
                      <a:cubicBezTo>
                        <a:pt x="163911" y="99739"/>
                        <a:pt x="108244" y="41751"/>
                        <a:pt x="32473" y="41751"/>
                      </a:cubicBezTo>
                      <a:cubicBezTo>
                        <a:pt x="32473" y="41751"/>
                        <a:pt x="32473" y="41751"/>
                        <a:pt x="32473" y="41751"/>
                      </a:cubicBezTo>
                      <a:lnTo>
                        <a:pt x="20875" y="41751"/>
                      </a:lnTo>
                      <a:cubicBezTo>
                        <a:pt x="9278" y="41751"/>
                        <a:pt x="0" y="32473"/>
                        <a:pt x="0" y="20876"/>
                      </a:cubicBezTo>
                      <a:cubicBezTo>
                        <a:pt x="0" y="9278"/>
                        <a:pt x="9278" y="0"/>
                        <a:pt x="20875" y="0"/>
                      </a:cubicBezTo>
                      <a:lnTo>
                        <a:pt x="32473" y="0"/>
                      </a:lnTo>
                      <a:cubicBezTo>
                        <a:pt x="32473" y="0"/>
                        <a:pt x="32473" y="0"/>
                        <a:pt x="32473" y="0"/>
                      </a:cubicBezTo>
                      <a:cubicBezTo>
                        <a:pt x="129892" y="0"/>
                        <a:pt x="203343" y="74997"/>
                        <a:pt x="211848" y="182468"/>
                      </a:cubicBezTo>
                      <a:cubicBezTo>
                        <a:pt x="212621" y="194065"/>
                        <a:pt x="204117" y="203343"/>
                        <a:pt x="193292" y="204890"/>
                      </a:cubicBezTo>
                      <a:cubicBezTo>
                        <a:pt x="191745" y="204890"/>
                        <a:pt x="190972" y="204890"/>
                        <a:pt x="190972" y="204890"/>
                      </a:cubicBezTo>
                      <a:lnTo>
                        <a:pt x="190972" y="204890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sp>
            <p:nvSpPr>
              <p:cNvPr id="189" name="Forma Livre: Forma 188">
                <a:extLst>
                  <a:ext uri="{FF2B5EF4-FFF2-40B4-BE49-F238E27FC236}">
                    <a16:creationId xmlns:a16="http://schemas.microsoft.com/office/drawing/2014/main" id="{27F861AC-C2B9-4A38-AB8A-6BD686ACFAB8}"/>
                  </a:ext>
                </a:extLst>
              </p:cNvPr>
              <p:cNvSpPr/>
              <p:nvPr/>
            </p:nvSpPr>
            <p:spPr>
              <a:xfrm>
                <a:off x="11494257" y="2890536"/>
                <a:ext cx="267516" cy="61418"/>
              </a:xfrm>
              <a:custGeom>
                <a:avLst/>
                <a:gdLst>
                  <a:gd name="connsiteX0" fmla="*/ 8506 w 267516"/>
                  <a:gd name="connsiteY0" fmla="*/ 61418 h 61418"/>
                  <a:gd name="connsiteX1" fmla="*/ 0 w 267516"/>
                  <a:gd name="connsiteY1" fmla="*/ 21214 h 61418"/>
                  <a:gd name="connsiteX2" fmla="*/ 267517 w 267516"/>
                  <a:gd name="connsiteY2" fmla="*/ 1885 h 61418"/>
                  <a:gd name="connsiteX3" fmla="*/ 265197 w 267516"/>
                  <a:gd name="connsiteY3" fmla="*/ 42862 h 61418"/>
                  <a:gd name="connsiteX4" fmla="*/ 8506 w 267516"/>
                  <a:gd name="connsiteY4" fmla="*/ 61418 h 61418"/>
                  <a:gd name="connsiteX5" fmla="*/ 8506 w 267516"/>
                  <a:gd name="connsiteY5" fmla="*/ 61418 h 61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67516" h="61418">
                    <a:moveTo>
                      <a:pt x="8506" y="61418"/>
                    </a:moveTo>
                    <a:lnTo>
                      <a:pt x="0" y="21214"/>
                    </a:lnTo>
                    <a:cubicBezTo>
                      <a:pt x="88141" y="2658"/>
                      <a:pt x="177829" y="-3528"/>
                      <a:pt x="267517" y="1885"/>
                    </a:cubicBezTo>
                    <a:lnTo>
                      <a:pt x="265197" y="42862"/>
                    </a:lnTo>
                    <a:cubicBezTo>
                      <a:pt x="179376" y="38223"/>
                      <a:pt x="92780" y="44409"/>
                      <a:pt x="8506" y="61418"/>
                    </a:cubicBezTo>
                    <a:lnTo>
                      <a:pt x="8506" y="61418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90" name="Forma Livre: Forma 189">
                <a:extLst>
                  <a:ext uri="{FF2B5EF4-FFF2-40B4-BE49-F238E27FC236}">
                    <a16:creationId xmlns:a16="http://schemas.microsoft.com/office/drawing/2014/main" id="{3B515360-7317-4660-AD2E-6EE3C2014583}"/>
                  </a:ext>
                </a:extLst>
              </p:cNvPr>
              <p:cNvSpPr/>
              <p:nvPr/>
            </p:nvSpPr>
            <p:spPr>
              <a:xfrm>
                <a:off x="11680592" y="2538310"/>
                <a:ext cx="41750" cy="80409"/>
              </a:xfrm>
              <a:custGeom>
                <a:avLst/>
                <a:gdLst>
                  <a:gd name="connsiteX0" fmla="*/ 20875 w 41750"/>
                  <a:gd name="connsiteY0" fmla="*/ 80410 h 80409"/>
                  <a:gd name="connsiteX1" fmla="*/ 0 w 41750"/>
                  <a:gd name="connsiteY1" fmla="*/ 59534 h 80409"/>
                  <a:gd name="connsiteX2" fmla="*/ 0 w 41750"/>
                  <a:gd name="connsiteY2" fmla="*/ 20876 h 80409"/>
                  <a:gd name="connsiteX3" fmla="*/ 20875 w 41750"/>
                  <a:gd name="connsiteY3" fmla="*/ 0 h 80409"/>
                  <a:gd name="connsiteX4" fmla="*/ 41750 w 41750"/>
                  <a:gd name="connsiteY4" fmla="*/ 20876 h 80409"/>
                  <a:gd name="connsiteX5" fmla="*/ 41750 w 41750"/>
                  <a:gd name="connsiteY5" fmla="*/ 59534 h 80409"/>
                  <a:gd name="connsiteX6" fmla="*/ 20875 w 41750"/>
                  <a:gd name="connsiteY6" fmla="*/ 80410 h 80409"/>
                  <a:gd name="connsiteX7" fmla="*/ 20875 w 41750"/>
                  <a:gd name="connsiteY7" fmla="*/ 80410 h 804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50" h="80409">
                    <a:moveTo>
                      <a:pt x="20875" y="80410"/>
                    </a:moveTo>
                    <a:cubicBezTo>
                      <a:pt x="9278" y="80410"/>
                      <a:pt x="0" y="71132"/>
                      <a:pt x="0" y="59534"/>
                    </a:cubicBezTo>
                    <a:lnTo>
                      <a:pt x="0" y="20876"/>
                    </a:lnTo>
                    <a:cubicBezTo>
                      <a:pt x="0" y="9278"/>
                      <a:pt x="9278" y="0"/>
                      <a:pt x="20875" y="0"/>
                    </a:cubicBezTo>
                    <a:cubicBezTo>
                      <a:pt x="32473" y="0"/>
                      <a:pt x="41750" y="9278"/>
                      <a:pt x="41750" y="20876"/>
                    </a:cubicBezTo>
                    <a:lnTo>
                      <a:pt x="41750" y="59534"/>
                    </a:lnTo>
                    <a:cubicBezTo>
                      <a:pt x="41750" y="71132"/>
                      <a:pt x="32473" y="80410"/>
                      <a:pt x="20875" y="80410"/>
                    </a:cubicBezTo>
                    <a:lnTo>
                      <a:pt x="20875" y="80410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91" name="Forma Livre: Forma 190">
                <a:extLst>
                  <a:ext uri="{FF2B5EF4-FFF2-40B4-BE49-F238E27FC236}">
                    <a16:creationId xmlns:a16="http://schemas.microsoft.com/office/drawing/2014/main" id="{95D349D4-AEB3-4973-9C25-77ED4423B6FC}"/>
                  </a:ext>
                </a:extLst>
              </p:cNvPr>
              <p:cNvSpPr/>
              <p:nvPr/>
            </p:nvSpPr>
            <p:spPr>
              <a:xfrm>
                <a:off x="11643479" y="2909431"/>
                <a:ext cx="117521" cy="78863"/>
              </a:xfrm>
              <a:custGeom>
                <a:avLst/>
                <a:gdLst>
                  <a:gd name="connsiteX0" fmla="*/ 57988 w 117521"/>
                  <a:gd name="connsiteY0" fmla="*/ 78863 h 78863"/>
                  <a:gd name="connsiteX1" fmla="*/ 0 w 117521"/>
                  <a:gd name="connsiteY1" fmla="*/ 20876 h 78863"/>
                  <a:gd name="connsiteX2" fmla="*/ 20875 w 117521"/>
                  <a:gd name="connsiteY2" fmla="*/ 0 h 78863"/>
                  <a:gd name="connsiteX3" fmla="*/ 41751 w 117521"/>
                  <a:gd name="connsiteY3" fmla="*/ 20876 h 78863"/>
                  <a:gd name="connsiteX4" fmla="*/ 58761 w 117521"/>
                  <a:gd name="connsiteY4" fmla="*/ 37885 h 78863"/>
                  <a:gd name="connsiteX5" fmla="*/ 75771 w 117521"/>
                  <a:gd name="connsiteY5" fmla="*/ 20876 h 78863"/>
                  <a:gd name="connsiteX6" fmla="*/ 96646 w 117521"/>
                  <a:gd name="connsiteY6" fmla="*/ 0 h 78863"/>
                  <a:gd name="connsiteX7" fmla="*/ 117521 w 117521"/>
                  <a:gd name="connsiteY7" fmla="*/ 20876 h 78863"/>
                  <a:gd name="connsiteX8" fmla="*/ 57988 w 117521"/>
                  <a:gd name="connsiteY8" fmla="*/ 78863 h 78863"/>
                  <a:gd name="connsiteX9" fmla="*/ 57988 w 117521"/>
                  <a:gd name="connsiteY9" fmla="*/ 78863 h 78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521" h="78863">
                    <a:moveTo>
                      <a:pt x="57988" y="78863"/>
                    </a:moveTo>
                    <a:cubicBezTo>
                      <a:pt x="25515" y="78863"/>
                      <a:pt x="0" y="52576"/>
                      <a:pt x="0" y="20876"/>
                    </a:cubicBezTo>
                    <a:cubicBezTo>
                      <a:pt x="0" y="9278"/>
                      <a:pt x="9278" y="0"/>
                      <a:pt x="20875" y="0"/>
                    </a:cubicBezTo>
                    <a:cubicBezTo>
                      <a:pt x="32473" y="0"/>
                      <a:pt x="41751" y="9278"/>
                      <a:pt x="41751" y="20876"/>
                    </a:cubicBezTo>
                    <a:cubicBezTo>
                      <a:pt x="41751" y="30154"/>
                      <a:pt x="49483" y="37885"/>
                      <a:pt x="58761" y="37885"/>
                    </a:cubicBezTo>
                    <a:cubicBezTo>
                      <a:pt x="68039" y="37885"/>
                      <a:pt x="75771" y="30154"/>
                      <a:pt x="75771" y="20876"/>
                    </a:cubicBezTo>
                    <a:cubicBezTo>
                      <a:pt x="75771" y="9278"/>
                      <a:pt x="85048" y="0"/>
                      <a:pt x="96646" y="0"/>
                    </a:cubicBezTo>
                    <a:cubicBezTo>
                      <a:pt x="108244" y="0"/>
                      <a:pt x="117521" y="9278"/>
                      <a:pt x="117521" y="20876"/>
                    </a:cubicBezTo>
                    <a:cubicBezTo>
                      <a:pt x="115975" y="52576"/>
                      <a:pt x="90460" y="78863"/>
                      <a:pt x="57988" y="78863"/>
                    </a:cubicBezTo>
                    <a:lnTo>
                      <a:pt x="57988" y="78863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192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2475562" y="2615716"/>
              <a:ext cx="259740" cy="386547"/>
              <a:chOff x="1526576" y="2542949"/>
              <a:chExt cx="327823" cy="487869"/>
            </a:xfrm>
            <a:solidFill>
              <a:srgbClr val="B1B1A1"/>
            </a:solidFill>
          </p:grpSpPr>
          <p:grpSp>
            <p:nvGrpSpPr>
              <p:cNvPr id="193" name="Gráfico 2">
                <a:extLst>
                  <a:ext uri="{FF2B5EF4-FFF2-40B4-BE49-F238E27FC236}">
                    <a16:creationId xmlns:a16="http://schemas.microsoft.com/office/drawing/2014/main" id="{6FEF66BF-8D1E-4FFA-95A2-6EE56886837B}"/>
                  </a:ext>
                </a:extLst>
              </p:cNvPr>
              <p:cNvGrpSpPr/>
              <p:nvPr/>
            </p:nvGrpSpPr>
            <p:grpSpPr>
              <a:xfrm>
                <a:off x="1526576" y="2634183"/>
                <a:ext cx="304628" cy="304628"/>
                <a:chOff x="1526576" y="2634183"/>
                <a:chExt cx="304628" cy="304628"/>
              </a:xfrm>
              <a:grpFill/>
            </p:grpSpPr>
            <p:sp>
              <p:nvSpPr>
                <p:cNvPr id="194" name="Forma Livre: Forma 193">
                  <a:extLst>
                    <a:ext uri="{FF2B5EF4-FFF2-40B4-BE49-F238E27FC236}">
                      <a16:creationId xmlns:a16="http://schemas.microsoft.com/office/drawing/2014/main" id="{40524E94-A7F5-4339-86B9-028501459F6F}"/>
                    </a:ext>
                  </a:extLst>
                </p:cNvPr>
                <p:cNvSpPr/>
                <p:nvPr/>
              </p:nvSpPr>
              <p:spPr>
                <a:xfrm>
                  <a:off x="1526576" y="2634183"/>
                  <a:ext cx="304628" cy="304628"/>
                </a:xfrm>
                <a:custGeom>
                  <a:avLst/>
                  <a:gdLst>
                    <a:gd name="connsiteX0" fmla="*/ 152314 w 304628"/>
                    <a:gd name="connsiteY0" fmla="*/ 304628 h 304628"/>
                    <a:gd name="connsiteX1" fmla="*/ 0 w 304628"/>
                    <a:gd name="connsiteY1" fmla="*/ 152314 h 304628"/>
                    <a:gd name="connsiteX2" fmla="*/ 152314 w 304628"/>
                    <a:gd name="connsiteY2" fmla="*/ 0 h 304628"/>
                    <a:gd name="connsiteX3" fmla="*/ 304628 w 304628"/>
                    <a:gd name="connsiteY3" fmla="*/ 152314 h 304628"/>
                    <a:gd name="connsiteX4" fmla="*/ 152314 w 304628"/>
                    <a:gd name="connsiteY4" fmla="*/ 304628 h 304628"/>
                    <a:gd name="connsiteX5" fmla="*/ 152314 w 304628"/>
                    <a:gd name="connsiteY5" fmla="*/ 304628 h 304628"/>
                    <a:gd name="connsiteX6" fmla="*/ 152314 w 304628"/>
                    <a:gd name="connsiteY6" fmla="*/ 41751 h 304628"/>
                    <a:gd name="connsiteX7" fmla="*/ 40978 w 304628"/>
                    <a:gd name="connsiteY7" fmla="*/ 153087 h 304628"/>
                    <a:gd name="connsiteX8" fmla="*/ 152314 w 304628"/>
                    <a:gd name="connsiteY8" fmla="*/ 264423 h 304628"/>
                    <a:gd name="connsiteX9" fmla="*/ 263650 w 304628"/>
                    <a:gd name="connsiteY9" fmla="*/ 153087 h 304628"/>
                    <a:gd name="connsiteX10" fmla="*/ 152314 w 304628"/>
                    <a:gd name="connsiteY10" fmla="*/ 41751 h 304628"/>
                    <a:gd name="connsiteX11" fmla="*/ 152314 w 304628"/>
                    <a:gd name="connsiteY11" fmla="*/ 41751 h 3046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304628" h="304628">
                      <a:moveTo>
                        <a:pt x="152314" y="304628"/>
                      </a:moveTo>
                      <a:cubicBezTo>
                        <a:pt x="68812" y="304628"/>
                        <a:pt x="0" y="236589"/>
                        <a:pt x="0" y="152314"/>
                      </a:cubicBezTo>
                      <a:cubicBezTo>
                        <a:pt x="0" y="68812"/>
                        <a:pt x="68039" y="0"/>
                        <a:pt x="152314" y="0"/>
                      </a:cubicBezTo>
                      <a:cubicBezTo>
                        <a:pt x="235816" y="0"/>
                        <a:pt x="304628" y="68039"/>
                        <a:pt x="304628" y="152314"/>
                      </a:cubicBezTo>
                      <a:cubicBezTo>
                        <a:pt x="304628" y="236589"/>
                        <a:pt x="236589" y="304628"/>
                        <a:pt x="152314" y="304628"/>
                      </a:cubicBezTo>
                      <a:lnTo>
                        <a:pt x="152314" y="304628"/>
                      </a:lnTo>
                      <a:close/>
                      <a:moveTo>
                        <a:pt x="152314" y="41751"/>
                      </a:moveTo>
                      <a:cubicBezTo>
                        <a:pt x="91234" y="41751"/>
                        <a:pt x="40978" y="91234"/>
                        <a:pt x="40978" y="153087"/>
                      </a:cubicBezTo>
                      <a:cubicBezTo>
                        <a:pt x="40978" y="214167"/>
                        <a:pt x="90461" y="264423"/>
                        <a:pt x="152314" y="264423"/>
                      </a:cubicBezTo>
                      <a:cubicBezTo>
                        <a:pt x="213394" y="264423"/>
                        <a:pt x="263650" y="214941"/>
                        <a:pt x="263650" y="153087"/>
                      </a:cubicBezTo>
                      <a:cubicBezTo>
                        <a:pt x="263650" y="91234"/>
                        <a:pt x="213394" y="41751"/>
                        <a:pt x="152314" y="41751"/>
                      </a:cubicBezTo>
                      <a:lnTo>
                        <a:pt x="152314" y="41751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195" name="Forma Livre: Forma 194">
                  <a:extLst>
                    <a:ext uri="{FF2B5EF4-FFF2-40B4-BE49-F238E27FC236}">
                      <a16:creationId xmlns:a16="http://schemas.microsoft.com/office/drawing/2014/main" id="{FBE52938-8073-40F2-AE55-41B618007A0F}"/>
                    </a:ext>
                  </a:extLst>
                </p:cNvPr>
                <p:cNvSpPr/>
                <p:nvPr/>
              </p:nvSpPr>
              <p:spPr>
                <a:xfrm>
                  <a:off x="1658080" y="2727029"/>
                  <a:ext cx="76412" cy="80343"/>
                </a:xfrm>
                <a:custGeom>
                  <a:avLst/>
                  <a:gdLst>
                    <a:gd name="connsiteX0" fmla="*/ 20810 w 76412"/>
                    <a:gd name="connsiteY0" fmla="*/ 80344 h 80343"/>
                    <a:gd name="connsiteX1" fmla="*/ 6893 w 76412"/>
                    <a:gd name="connsiteY1" fmla="*/ 74932 h 80343"/>
                    <a:gd name="connsiteX2" fmla="*/ 5347 w 76412"/>
                    <a:gd name="connsiteY2" fmla="*/ 46325 h 80343"/>
                    <a:gd name="connsiteX3" fmla="*/ 40912 w 76412"/>
                    <a:gd name="connsiteY3" fmla="*/ 6893 h 80343"/>
                    <a:gd name="connsiteX4" fmla="*/ 69520 w 76412"/>
                    <a:gd name="connsiteY4" fmla="*/ 5347 h 80343"/>
                    <a:gd name="connsiteX5" fmla="*/ 71066 w 76412"/>
                    <a:gd name="connsiteY5" fmla="*/ 33954 h 80343"/>
                    <a:gd name="connsiteX6" fmla="*/ 35500 w 76412"/>
                    <a:gd name="connsiteY6" fmla="*/ 73385 h 80343"/>
                    <a:gd name="connsiteX7" fmla="*/ 20810 w 76412"/>
                    <a:gd name="connsiteY7" fmla="*/ 80344 h 80343"/>
                    <a:gd name="connsiteX8" fmla="*/ 20810 w 76412"/>
                    <a:gd name="connsiteY8" fmla="*/ 80344 h 80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6412" h="80343">
                      <a:moveTo>
                        <a:pt x="20810" y="80344"/>
                      </a:moveTo>
                      <a:cubicBezTo>
                        <a:pt x="16171" y="80344"/>
                        <a:pt x="10759" y="78797"/>
                        <a:pt x="6893" y="74932"/>
                      </a:cubicBezTo>
                      <a:cubicBezTo>
                        <a:pt x="-1612" y="67200"/>
                        <a:pt x="-2385" y="54056"/>
                        <a:pt x="5347" y="46325"/>
                      </a:cubicBezTo>
                      <a:lnTo>
                        <a:pt x="40912" y="6893"/>
                      </a:lnTo>
                      <a:cubicBezTo>
                        <a:pt x="48644" y="-1612"/>
                        <a:pt x="61015" y="-2385"/>
                        <a:pt x="69520" y="5347"/>
                      </a:cubicBezTo>
                      <a:cubicBezTo>
                        <a:pt x="78024" y="13078"/>
                        <a:pt x="78798" y="26222"/>
                        <a:pt x="71066" y="33954"/>
                      </a:cubicBezTo>
                      <a:lnTo>
                        <a:pt x="35500" y="73385"/>
                      </a:lnTo>
                      <a:cubicBezTo>
                        <a:pt x="32407" y="78024"/>
                        <a:pt x="26995" y="80344"/>
                        <a:pt x="20810" y="80344"/>
                      </a:cubicBezTo>
                      <a:lnTo>
                        <a:pt x="20810" y="80344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196" name="Forma Livre: Forma 195">
                  <a:extLst>
                    <a:ext uri="{FF2B5EF4-FFF2-40B4-BE49-F238E27FC236}">
                      <a16:creationId xmlns:a16="http://schemas.microsoft.com/office/drawing/2014/main" id="{79E65543-1C8C-44AE-9EE8-EC65408252E2}"/>
                    </a:ext>
                  </a:extLst>
                </p:cNvPr>
                <p:cNvSpPr/>
                <p:nvPr/>
              </p:nvSpPr>
              <p:spPr>
                <a:xfrm>
                  <a:off x="1605919" y="2719711"/>
                  <a:ext cx="92593" cy="88434"/>
                </a:xfrm>
                <a:custGeom>
                  <a:avLst/>
                  <a:gdLst>
                    <a:gd name="connsiteX0" fmla="*/ 72198 w 92593"/>
                    <a:gd name="connsiteY0" fmla="*/ 88435 h 88434"/>
                    <a:gd name="connsiteX1" fmla="*/ 58281 w 92593"/>
                    <a:gd name="connsiteY1" fmla="*/ 83022 h 88434"/>
                    <a:gd name="connsiteX2" fmla="*/ 6479 w 92593"/>
                    <a:gd name="connsiteY2" fmla="*/ 35086 h 88434"/>
                    <a:gd name="connsiteX3" fmla="*/ 5706 w 92593"/>
                    <a:gd name="connsiteY3" fmla="*/ 6479 h 88434"/>
                    <a:gd name="connsiteX4" fmla="*/ 34313 w 92593"/>
                    <a:gd name="connsiteY4" fmla="*/ 5706 h 88434"/>
                    <a:gd name="connsiteX5" fmla="*/ 86115 w 92593"/>
                    <a:gd name="connsiteY5" fmla="*/ 53642 h 88434"/>
                    <a:gd name="connsiteX6" fmla="*/ 86888 w 92593"/>
                    <a:gd name="connsiteY6" fmla="*/ 83022 h 88434"/>
                    <a:gd name="connsiteX7" fmla="*/ 72198 w 92593"/>
                    <a:gd name="connsiteY7" fmla="*/ 88435 h 88434"/>
                    <a:gd name="connsiteX8" fmla="*/ 72198 w 92593"/>
                    <a:gd name="connsiteY8" fmla="*/ 88435 h 884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2593" h="88434">
                      <a:moveTo>
                        <a:pt x="72198" y="88435"/>
                      </a:moveTo>
                      <a:cubicBezTo>
                        <a:pt x="66786" y="88435"/>
                        <a:pt x="62147" y="86888"/>
                        <a:pt x="58281" y="83022"/>
                      </a:cubicBezTo>
                      <a:lnTo>
                        <a:pt x="6479" y="35086"/>
                      </a:lnTo>
                      <a:cubicBezTo>
                        <a:pt x="-2026" y="27354"/>
                        <a:pt x="-2026" y="14210"/>
                        <a:pt x="5706" y="6479"/>
                      </a:cubicBezTo>
                      <a:cubicBezTo>
                        <a:pt x="13437" y="-2026"/>
                        <a:pt x="26581" y="-2026"/>
                        <a:pt x="34313" y="5706"/>
                      </a:cubicBezTo>
                      <a:lnTo>
                        <a:pt x="86115" y="53642"/>
                      </a:lnTo>
                      <a:cubicBezTo>
                        <a:pt x="94620" y="61374"/>
                        <a:pt x="94620" y="74517"/>
                        <a:pt x="86888" y="83022"/>
                      </a:cubicBezTo>
                      <a:cubicBezTo>
                        <a:pt x="83022" y="86115"/>
                        <a:pt x="77610" y="88435"/>
                        <a:pt x="72198" y="88435"/>
                      </a:cubicBezTo>
                      <a:lnTo>
                        <a:pt x="72198" y="88435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grpSp>
            <p:nvGrpSpPr>
              <p:cNvPr id="197" name="Gráfico 2">
                <a:extLst>
                  <a:ext uri="{FF2B5EF4-FFF2-40B4-BE49-F238E27FC236}">
                    <a16:creationId xmlns:a16="http://schemas.microsoft.com/office/drawing/2014/main" id="{6FEF66BF-8D1E-4FFA-95A2-6EE56886837B}"/>
                  </a:ext>
                </a:extLst>
              </p:cNvPr>
              <p:cNvGrpSpPr/>
              <p:nvPr/>
            </p:nvGrpSpPr>
            <p:grpSpPr>
              <a:xfrm>
                <a:off x="1552091" y="2542949"/>
                <a:ext cx="254372" cy="487869"/>
                <a:chOff x="1552091" y="2542949"/>
                <a:chExt cx="254372" cy="487869"/>
              </a:xfrm>
              <a:grpFill/>
            </p:grpSpPr>
            <p:sp>
              <p:nvSpPr>
                <p:cNvPr id="198" name="Forma Livre: Forma 197">
                  <a:extLst>
                    <a:ext uri="{FF2B5EF4-FFF2-40B4-BE49-F238E27FC236}">
                      <a16:creationId xmlns:a16="http://schemas.microsoft.com/office/drawing/2014/main" id="{3F69DA1C-2D25-4D1F-AE60-7E4E210DCBE6}"/>
                    </a:ext>
                  </a:extLst>
                </p:cNvPr>
                <p:cNvSpPr/>
                <p:nvPr/>
              </p:nvSpPr>
              <p:spPr>
                <a:xfrm>
                  <a:off x="1552091" y="2542949"/>
                  <a:ext cx="251448" cy="169323"/>
                </a:xfrm>
                <a:custGeom>
                  <a:avLst/>
                  <a:gdLst>
                    <a:gd name="connsiteX0" fmla="*/ 231950 w 251448"/>
                    <a:gd name="connsiteY0" fmla="*/ 169324 h 169323"/>
                    <a:gd name="connsiteX1" fmla="*/ 211075 w 251448"/>
                    <a:gd name="connsiteY1" fmla="*/ 148448 h 169323"/>
                    <a:gd name="connsiteX2" fmla="*/ 211075 w 251448"/>
                    <a:gd name="connsiteY2" fmla="*/ 41751 h 169323"/>
                    <a:gd name="connsiteX3" fmla="*/ 42524 w 251448"/>
                    <a:gd name="connsiteY3" fmla="*/ 40978 h 169323"/>
                    <a:gd name="connsiteX4" fmla="*/ 41751 w 251448"/>
                    <a:gd name="connsiteY4" fmla="*/ 148448 h 169323"/>
                    <a:gd name="connsiteX5" fmla="*/ 20876 w 251448"/>
                    <a:gd name="connsiteY5" fmla="*/ 169324 h 169323"/>
                    <a:gd name="connsiteX6" fmla="*/ 0 w 251448"/>
                    <a:gd name="connsiteY6" fmla="*/ 148448 h 169323"/>
                    <a:gd name="connsiteX7" fmla="*/ 0 w 251448"/>
                    <a:gd name="connsiteY7" fmla="*/ 41751 h 169323"/>
                    <a:gd name="connsiteX8" fmla="*/ 41751 w 251448"/>
                    <a:gd name="connsiteY8" fmla="*/ 0 h 169323"/>
                    <a:gd name="connsiteX9" fmla="*/ 209528 w 251448"/>
                    <a:gd name="connsiteY9" fmla="*/ 0 h 169323"/>
                    <a:gd name="connsiteX10" fmla="*/ 251280 w 251448"/>
                    <a:gd name="connsiteY10" fmla="*/ 41751 h 169323"/>
                    <a:gd name="connsiteX11" fmla="*/ 251280 w 251448"/>
                    <a:gd name="connsiteY11" fmla="*/ 148448 h 169323"/>
                    <a:gd name="connsiteX12" fmla="*/ 231950 w 251448"/>
                    <a:gd name="connsiteY12" fmla="*/ 169324 h 169323"/>
                    <a:gd name="connsiteX13" fmla="*/ 231950 w 251448"/>
                    <a:gd name="connsiteY13" fmla="*/ 169324 h 1693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251448" h="169323">
                      <a:moveTo>
                        <a:pt x="231950" y="169324"/>
                      </a:moveTo>
                      <a:cubicBezTo>
                        <a:pt x="220353" y="169324"/>
                        <a:pt x="211075" y="160046"/>
                        <a:pt x="211075" y="148448"/>
                      </a:cubicBezTo>
                      <a:lnTo>
                        <a:pt x="211075" y="41751"/>
                      </a:lnTo>
                      <a:lnTo>
                        <a:pt x="42524" y="40978"/>
                      </a:lnTo>
                      <a:lnTo>
                        <a:pt x="41751" y="148448"/>
                      </a:lnTo>
                      <a:cubicBezTo>
                        <a:pt x="41751" y="160046"/>
                        <a:pt x="32473" y="169324"/>
                        <a:pt x="20876" y="169324"/>
                      </a:cubicBezTo>
                      <a:cubicBezTo>
                        <a:pt x="9278" y="169324"/>
                        <a:pt x="0" y="160046"/>
                        <a:pt x="0" y="148448"/>
                      </a:cubicBezTo>
                      <a:lnTo>
                        <a:pt x="0" y="41751"/>
                      </a:lnTo>
                      <a:cubicBezTo>
                        <a:pt x="0" y="18556"/>
                        <a:pt x="18556" y="0"/>
                        <a:pt x="41751" y="0"/>
                      </a:cubicBezTo>
                      <a:lnTo>
                        <a:pt x="209528" y="0"/>
                      </a:lnTo>
                      <a:cubicBezTo>
                        <a:pt x="232723" y="0"/>
                        <a:pt x="251280" y="18556"/>
                        <a:pt x="251280" y="41751"/>
                      </a:cubicBezTo>
                      <a:lnTo>
                        <a:pt x="251280" y="148448"/>
                      </a:lnTo>
                      <a:cubicBezTo>
                        <a:pt x="252826" y="160046"/>
                        <a:pt x="243548" y="169324"/>
                        <a:pt x="231950" y="169324"/>
                      </a:cubicBezTo>
                      <a:lnTo>
                        <a:pt x="231950" y="169324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199" name="Forma Livre: Forma 198">
                  <a:extLst>
                    <a:ext uri="{FF2B5EF4-FFF2-40B4-BE49-F238E27FC236}">
                      <a16:creationId xmlns:a16="http://schemas.microsoft.com/office/drawing/2014/main" id="{DDD58D84-3CD4-46C1-8647-E7697D53D57C}"/>
                    </a:ext>
                  </a:extLst>
                </p:cNvPr>
                <p:cNvSpPr/>
                <p:nvPr/>
              </p:nvSpPr>
              <p:spPr>
                <a:xfrm>
                  <a:off x="1553637" y="2861494"/>
                  <a:ext cx="252825" cy="169323"/>
                </a:xfrm>
                <a:custGeom>
                  <a:avLst/>
                  <a:gdLst>
                    <a:gd name="connsiteX0" fmla="*/ 209529 w 252825"/>
                    <a:gd name="connsiteY0" fmla="*/ 169324 h 169323"/>
                    <a:gd name="connsiteX1" fmla="*/ 41751 w 252825"/>
                    <a:gd name="connsiteY1" fmla="*/ 169324 h 169323"/>
                    <a:gd name="connsiteX2" fmla="*/ 0 w 252825"/>
                    <a:gd name="connsiteY2" fmla="*/ 127573 h 169323"/>
                    <a:gd name="connsiteX3" fmla="*/ 0 w 252825"/>
                    <a:gd name="connsiteY3" fmla="*/ 20875 h 169323"/>
                    <a:gd name="connsiteX4" fmla="*/ 20876 w 252825"/>
                    <a:gd name="connsiteY4" fmla="*/ 0 h 169323"/>
                    <a:gd name="connsiteX5" fmla="*/ 41751 w 252825"/>
                    <a:gd name="connsiteY5" fmla="*/ 20875 h 169323"/>
                    <a:gd name="connsiteX6" fmla="*/ 41751 w 252825"/>
                    <a:gd name="connsiteY6" fmla="*/ 127573 h 169323"/>
                    <a:gd name="connsiteX7" fmla="*/ 210302 w 252825"/>
                    <a:gd name="connsiteY7" fmla="*/ 128346 h 169323"/>
                    <a:gd name="connsiteX8" fmla="*/ 211075 w 252825"/>
                    <a:gd name="connsiteY8" fmla="*/ 20875 h 169323"/>
                    <a:gd name="connsiteX9" fmla="*/ 231950 w 252825"/>
                    <a:gd name="connsiteY9" fmla="*/ 0 h 169323"/>
                    <a:gd name="connsiteX10" fmla="*/ 252826 w 252825"/>
                    <a:gd name="connsiteY10" fmla="*/ 20875 h 169323"/>
                    <a:gd name="connsiteX11" fmla="*/ 252826 w 252825"/>
                    <a:gd name="connsiteY11" fmla="*/ 127573 h 169323"/>
                    <a:gd name="connsiteX12" fmla="*/ 209529 w 252825"/>
                    <a:gd name="connsiteY12" fmla="*/ 169324 h 169323"/>
                    <a:gd name="connsiteX13" fmla="*/ 209529 w 252825"/>
                    <a:gd name="connsiteY13" fmla="*/ 169324 h 1693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252825" h="169323">
                      <a:moveTo>
                        <a:pt x="209529" y="169324"/>
                      </a:moveTo>
                      <a:lnTo>
                        <a:pt x="41751" y="169324"/>
                      </a:lnTo>
                      <a:cubicBezTo>
                        <a:pt x="18556" y="169324"/>
                        <a:pt x="0" y="150768"/>
                        <a:pt x="0" y="127573"/>
                      </a:cubicBezTo>
                      <a:lnTo>
                        <a:pt x="0" y="20875"/>
                      </a:lnTo>
                      <a:cubicBezTo>
                        <a:pt x="0" y="9278"/>
                        <a:pt x="9278" y="0"/>
                        <a:pt x="20876" y="0"/>
                      </a:cubicBezTo>
                      <a:cubicBezTo>
                        <a:pt x="32473" y="0"/>
                        <a:pt x="41751" y="9278"/>
                        <a:pt x="41751" y="20875"/>
                      </a:cubicBezTo>
                      <a:lnTo>
                        <a:pt x="41751" y="127573"/>
                      </a:lnTo>
                      <a:lnTo>
                        <a:pt x="210302" y="128346"/>
                      </a:lnTo>
                      <a:lnTo>
                        <a:pt x="211075" y="20875"/>
                      </a:lnTo>
                      <a:cubicBezTo>
                        <a:pt x="211075" y="9278"/>
                        <a:pt x="220353" y="0"/>
                        <a:pt x="231950" y="0"/>
                      </a:cubicBezTo>
                      <a:cubicBezTo>
                        <a:pt x="243548" y="0"/>
                        <a:pt x="252826" y="9278"/>
                        <a:pt x="252826" y="20875"/>
                      </a:cubicBezTo>
                      <a:lnTo>
                        <a:pt x="252826" y="127573"/>
                      </a:lnTo>
                      <a:cubicBezTo>
                        <a:pt x="251280" y="149995"/>
                        <a:pt x="232724" y="169324"/>
                        <a:pt x="209529" y="169324"/>
                      </a:cubicBezTo>
                      <a:lnTo>
                        <a:pt x="209529" y="169324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sp>
            <p:nvSpPr>
              <p:cNvPr id="200" name="Forma Livre: Forma 199">
                <a:extLst>
                  <a:ext uri="{FF2B5EF4-FFF2-40B4-BE49-F238E27FC236}">
                    <a16:creationId xmlns:a16="http://schemas.microsoft.com/office/drawing/2014/main" id="{87804395-C96F-47C7-B128-B62DB5161156}"/>
                  </a:ext>
                </a:extLst>
              </p:cNvPr>
              <p:cNvSpPr/>
              <p:nvPr/>
            </p:nvSpPr>
            <p:spPr>
              <a:xfrm>
                <a:off x="1812648" y="2742426"/>
                <a:ext cx="41751" cy="87367"/>
              </a:xfrm>
              <a:custGeom>
                <a:avLst/>
                <a:gdLst>
                  <a:gd name="connsiteX0" fmla="*/ 20876 w 41751"/>
                  <a:gd name="connsiteY0" fmla="*/ 87368 h 87367"/>
                  <a:gd name="connsiteX1" fmla="*/ 0 w 41751"/>
                  <a:gd name="connsiteY1" fmla="*/ 66492 h 87367"/>
                  <a:gd name="connsiteX2" fmla="*/ 0 w 41751"/>
                  <a:gd name="connsiteY2" fmla="*/ 20875 h 87367"/>
                  <a:gd name="connsiteX3" fmla="*/ 20876 w 41751"/>
                  <a:gd name="connsiteY3" fmla="*/ 0 h 87367"/>
                  <a:gd name="connsiteX4" fmla="*/ 41751 w 41751"/>
                  <a:gd name="connsiteY4" fmla="*/ 20875 h 87367"/>
                  <a:gd name="connsiteX5" fmla="*/ 41751 w 41751"/>
                  <a:gd name="connsiteY5" fmla="*/ 66492 h 87367"/>
                  <a:gd name="connsiteX6" fmla="*/ 20876 w 41751"/>
                  <a:gd name="connsiteY6" fmla="*/ 87368 h 87367"/>
                  <a:gd name="connsiteX7" fmla="*/ 20876 w 41751"/>
                  <a:gd name="connsiteY7" fmla="*/ 87368 h 873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51" h="87367">
                    <a:moveTo>
                      <a:pt x="20876" y="87368"/>
                    </a:moveTo>
                    <a:cubicBezTo>
                      <a:pt x="9278" y="87368"/>
                      <a:pt x="0" y="78090"/>
                      <a:pt x="0" y="66492"/>
                    </a:cubicBezTo>
                    <a:lnTo>
                      <a:pt x="0" y="20875"/>
                    </a:lnTo>
                    <a:cubicBezTo>
                      <a:pt x="0" y="9278"/>
                      <a:pt x="9278" y="0"/>
                      <a:pt x="20876" y="0"/>
                    </a:cubicBezTo>
                    <a:cubicBezTo>
                      <a:pt x="32473" y="0"/>
                      <a:pt x="41751" y="9278"/>
                      <a:pt x="41751" y="20875"/>
                    </a:cubicBezTo>
                    <a:lnTo>
                      <a:pt x="41751" y="66492"/>
                    </a:lnTo>
                    <a:cubicBezTo>
                      <a:pt x="40978" y="78863"/>
                      <a:pt x="31700" y="87368"/>
                      <a:pt x="20876" y="87368"/>
                    </a:cubicBezTo>
                    <a:lnTo>
                      <a:pt x="20876" y="87368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201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4406346" y="3619274"/>
              <a:ext cx="389940" cy="389482"/>
              <a:chOff x="3963455" y="3809559"/>
              <a:chExt cx="492151" cy="491573"/>
            </a:xfrm>
            <a:solidFill>
              <a:srgbClr val="B1B1A1"/>
            </a:solidFill>
          </p:grpSpPr>
          <p:sp>
            <p:nvSpPr>
              <p:cNvPr id="202" name="Forma Livre: Forma 201">
                <a:extLst>
                  <a:ext uri="{FF2B5EF4-FFF2-40B4-BE49-F238E27FC236}">
                    <a16:creationId xmlns:a16="http://schemas.microsoft.com/office/drawing/2014/main" id="{396D7986-B6A4-4706-9D3D-178DE5A67265}"/>
                  </a:ext>
                </a:extLst>
              </p:cNvPr>
              <p:cNvSpPr/>
              <p:nvPr/>
            </p:nvSpPr>
            <p:spPr>
              <a:xfrm>
                <a:off x="3963455" y="3809559"/>
                <a:ext cx="492151" cy="491573"/>
              </a:xfrm>
              <a:custGeom>
                <a:avLst/>
                <a:gdLst>
                  <a:gd name="connsiteX0" fmla="*/ 176429 w 492151"/>
                  <a:gd name="connsiteY0" fmla="*/ 491574 h 491573"/>
                  <a:gd name="connsiteX1" fmla="*/ 174882 w 492151"/>
                  <a:gd name="connsiteY1" fmla="*/ 491574 h 491573"/>
                  <a:gd name="connsiteX2" fmla="*/ 25661 w 492151"/>
                  <a:gd name="connsiteY2" fmla="*/ 486161 h 491573"/>
                  <a:gd name="connsiteX3" fmla="*/ 5559 w 492151"/>
                  <a:gd name="connsiteY3" fmla="*/ 466059 h 491573"/>
                  <a:gd name="connsiteX4" fmla="*/ 147 w 492151"/>
                  <a:gd name="connsiteY4" fmla="*/ 316838 h 491573"/>
                  <a:gd name="connsiteX5" fmla="*/ 6332 w 492151"/>
                  <a:gd name="connsiteY5" fmla="*/ 300601 h 491573"/>
                  <a:gd name="connsiteX6" fmla="*/ 300909 w 492151"/>
                  <a:gd name="connsiteY6" fmla="*/ 6024 h 491573"/>
                  <a:gd name="connsiteX7" fmla="*/ 321784 w 492151"/>
                  <a:gd name="connsiteY7" fmla="*/ 1385 h 491573"/>
                  <a:gd name="connsiteX8" fmla="*/ 426935 w 492151"/>
                  <a:gd name="connsiteY8" fmla="*/ 65558 h 491573"/>
                  <a:gd name="connsiteX9" fmla="*/ 491108 w 492151"/>
                  <a:gd name="connsiteY9" fmla="*/ 170709 h 491573"/>
                  <a:gd name="connsiteX10" fmla="*/ 486469 w 492151"/>
                  <a:gd name="connsiteY10" fmla="*/ 191585 h 491573"/>
                  <a:gd name="connsiteX11" fmla="*/ 191892 w 492151"/>
                  <a:gd name="connsiteY11" fmla="*/ 486161 h 491573"/>
                  <a:gd name="connsiteX12" fmla="*/ 176429 w 492151"/>
                  <a:gd name="connsiteY12" fmla="*/ 491574 h 491573"/>
                  <a:gd name="connsiteX13" fmla="*/ 176429 w 492151"/>
                  <a:gd name="connsiteY13" fmla="*/ 491574 h 491573"/>
                  <a:gd name="connsiteX14" fmla="*/ 45763 w 492151"/>
                  <a:gd name="connsiteY14" fmla="*/ 445184 h 491573"/>
                  <a:gd name="connsiteX15" fmla="*/ 168697 w 492151"/>
                  <a:gd name="connsiteY15" fmla="*/ 449823 h 491573"/>
                  <a:gd name="connsiteX16" fmla="*/ 447038 w 492151"/>
                  <a:gd name="connsiteY16" fmla="*/ 171482 h 491573"/>
                  <a:gd name="connsiteX17" fmla="*/ 396782 w 492151"/>
                  <a:gd name="connsiteY17" fmla="*/ 94939 h 491573"/>
                  <a:gd name="connsiteX18" fmla="*/ 320238 w 492151"/>
                  <a:gd name="connsiteY18" fmla="*/ 44683 h 491573"/>
                  <a:gd name="connsiteX19" fmla="*/ 41898 w 492151"/>
                  <a:gd name="connsiteY19" fmla="*/ 323023 h 491573"/>
                  <a:gd name="connsiteX20" fmla="*/ 45763 w 492151"/>
                  <a:gd name="connsiteY20" fmla="*/ 445184 h 491573"/>
                  <a:gd name="connsiteX21" fmla="*/ 45763 w 492151"/>
                  <a:gd name="connsiteY21" fmla="*/ 445184 h 491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492151" h="491573">
                    <a:moveTo>
                      <a:pt x="176429" y="491574"/>
                    </a:moveTo>
                    <a:cubicBezTo>
                      <a:pt x="175656" y="491574"/>
                      <a:pt x="175656" y="491574"/>
                      <a:pt x="174882" y="491574"/>
                    </a:cubicBezTo>
                    <a:cubicBezTo>
                      <a:pt x="127719" y="487708"/>
                      <a:pt x="77463" y="486935"/>
                      <a:pt x="25661" y="486161"/>
                    </a:cubicBezTo>
                    <a:cubicBezTo>
                      <a:pt x="14837" y="486161"/>
                      <a:pt x="5559" y="476884"/>
                      <a:pt x="5559" y="466059"/>
                    </a:cubicBezTo>
                    <a:cubicBezTo>
                      <a:pt x="4785" y="414257"/>
                      <a:pt x="4012" y="363228"/>
                      <a:pt x="147" y="316838"/>
                    </a:cubicBezTo>
                    <a:cubicBezTo>
                      <a:pt x="-627" y="310653"/>
                      <a:pt x="1693" y="305240"/>
                      <a:pt x="6332" y="300601"/>
                    </a:cubicBezTo>
                    <a:lnTo>
                      <a:pt x="300909" y="6024"/>
                    </a:lnTo>
                    <a:cubicBezTo>
                      <a:pt x="306321" y="612"/>
                      <a:pt x="314053" y="-1707"/>
                      <a:pt x="321784" y="1385"/>
                    </a:cubicBezTo>
                    <a:cubicBezTo>
                      <a:pt x="361216" y="14529"/>
                      <a:pt x="397555" y="36178"/>
                      <a:pt x="426935" y="65558"/>
                    </a:cubicBezTo>
                    <a:cubicBezTo>
                      <a:pt x="456316" y="94939"/>
                      <a:pt x="478737" y="131278"/>
                      <a:pt x="491108" y="170709"/>
                    </a:cubicBezTo>
                    <a:cubicBezTo>
                      <a:pt x="493428" y="177668"/>
                      <a:pt x="491881" y="186172"/>
                      <a:pt x="486469" y="191585"/>
                    </a:cubicBezTo>
                    <a:lnTo>
                      <a:pt x="191892" y="486161"/>
                    </a:lnTo>
                    <a:cubicBezTo>
                      <a:pt x="187253" y="489254"/>
                      <a:pt x="181841" y="491574"/>
                      <a:pt x="176429" y="491574"/>
                    </a:cubicBezTo>
                    <a:lnTo>
                      <a:pt x="176429" y="491574"/>
                    </a:lnTo>
                    <a:close/>
                    <a:moveTo>
                      <a:pt x="45763" y="445184"/>
                    </a:moveTo>
                    <a:cubicBezTo>
                      <a:pt x="88288" y="445957"/>
                      <a:pt x="129265" y="446730"/>
                      <a:pt x="168697" y="449823"/>
                    </a:cubicBezTo>
                    <a:lnTo>
                      <a:pt x="447038" y="171482"/>
                    </a:lnTo>
                    <a:cubicBezTo>
                      <a:pt x="436213" y="142875"/>
                      <a:pt x="418430" y="116587"/>
                      <a:pt x="396782" y="94939"/>
                    </a:cubicBezTo>
                    <a:cubicBezTo>
                      <a:pt x="375133" y="73290"/>
                      <a:pt x="348845" y="56280"/>
                      <a:pt x="320238" y="44683"/>
                    </a:cubicBezTo>
                    <a:lnTo>
                      <a:pt x="41898" y="323023"/>
                    </a:lnTo>
                    <a:cubicBezTo>
                      <a:pt x="44217" y="361682"/>
                      <a:pt x="44990" y="403433"/>
                      <a:pt x="45763" y="445184"/>
                    </a:cubicBezTo>
                    <a:lnTo>
                      <a:pt x="45763" y="445184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03" name="Forma Livre: Forma 202">
                <a:extLst>
                  <a:ext uri="{FF2B5EF4-FFF2-40B4-BE49-F238E27FC236}">
                    <a16:creationId xmlns:a16="http://schemas.microsoft.com/office/drawing/2014/main" id="{BBA70718-9C87-4BF2-8C54-99932FBD099F}"/>
                  </a:ext>
                </a:extLst>
              </p:cNvPr>
              <p:cNvSpPr/>
              <p:nvPr/>
            </p:nvSpPr>
            <p:spPr>
              <a:xfrm>
                <a:off x="4235177" y="3869125"/>
                <a:ext cx="160432" cy="160625"/>
              </a:xfrm>
              <a:custGeom>
                <a:avLst/>
                <a:gdLst>
                  <a:gd name="connsiteX0" fmla="*/ 149801 w 160432"/>
                  <a:gd name="connsiteY0" fmla="*/ 160626 h 160625"/>
                  <a:gd name="connsiteX1" fmla="*/ 142843 w 160432"/>
                  <a:gd name="connsiteY1" fmla="*/ 157533 h 160625"/>
                  <a:gd name="connsiteX2" fmla="*/ 2899 w 160432"/>
                  <a:gd name="connsiteY2" fmla="*/ 17590 h 160625"/>
                  <a:gd name="connsiteX3" fmla="*/ 2899 w 160432"/>
                  <a:gd name="connsiteY3" fmla="*/ 2899 h 160625"/>
                  <a:gd name="connsiteX4" fmla="*/ 17589 w 160432"/>
                  <a:gd name="connsiteY4" fmla="*/ 2899 h 160625"/>
                  <a:gd name="connsiteX5" fmla="*/ 157533 w 160432"/>
                  <a:gd name="connsiteY5" fmla="*/ 142843 h 160625"/>
                  <a:gd name="connsiteX6" fmla="*/ 157533 w 160432"/>
                  <a:gd name="connsiteY6" fmla="*/ 157533 h 160625"/>
                  <a:gd name="connsiteX7" fmla="*/ 149801 w 160432"/>
                  <a:gd name="connsiteY7" fmla="*/ 160626 h 160625"/>
                  <a:gd name="connsiteX8" fmla="*/ 149801 w 160432"/>
                  <a:gd name="connsiteY8" fmla="*/ 160626 h 160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0432" h="160625">
                    <a:moveTo>
                      <a:pt x="149801" y="160626"/>
                    </a:moveTo>
                    <a:cubicBezTo>
                      <a:pt x="147482" y="160626"/>
                      <a:pt x="144389" y="159852"/>
                      <a:pt x="142843" y="157533"/>
                    </a:cubicBezTo>
                    <a:lnTo>
                      <a:pt x="2899" y="17590"/>
                    </a:lnTo>
                    <a:cubicBezTo>
                      <a:pt x="-966" y="13724"/>
                      <a:pt x="-966" y="6765"/>
                      <a:pt x="2899" y="2899"/>
                    </a:cubicBezTo>
                    <a:cubicBezTo>
                      <a:pt x="6765" y="-966"/>
                      <a:pt x="13723" y="-966"/>
                      <a:pt x="17589" y="2899"/>
                    </a:cubicBezTo>
                    <a:lnTo>
                      <a:pt x="157533" y="142843"/>
                    </a:lnTo>
                    <a:cubicBezTo>
                      <a:pt x="161399" y="146709"/>
                      <a:pt x="161399" y="153667"/>
                      <a:pt x="157533" y="157533"/>
                    </a:cubicBezTo>
                    <a:cubicBezTo>
                      <a:pt x="154440" y="159852"/>
                      <a:pt x="152121" y="160626"/>
                      <a:pt x="149801" y="160626"/>
                    </a:cubicBezTo>
                    <a:lnTo>
                      <a:pt x="149801" y="160626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04" name="Forma Livre: Forma 203">
                <a:extLst>
                  <a:ext uri="{FF2B5EF4-FFF2-40B4-BE49-F238E27FC236}">
                    <a16:creationId xmlns:a16="http://schemas.microsoft.com/office/drawing/2014/main" id="{972F1547-07F0-4ADC-BFC0-73562E248814}"/>
                  </a:ext>
                </a:extLst>
              </p:cNvPr>
              <p:cNvSpPr/>
              <p:nvPr/>
            </p:nvSpPr>
            <p:spPr>
              <a:xfrm>
                <a:off x="3989491" y="4112855"/>
                <a:ext cx="160841" cy="161216"/>
              </a:xfrm>
              <a:custGeom>
                <a:avLst/>
                <a:gdLst>
                  <a:gd name="connsiteX0" fmla="*/ 151166 w 160841"/>
                  <a:gd name="connsiteY0" fmla="*/ 161217 h 161216"/>
                  <a:gd name="connsiteX1" fmla="*/ 141115 w 160841"/>
                  <a:gd name="connsiteY1" fmla="*/ 154259 h 161216"/>
                  <a:gd name="connsiteX2" fmla="*/ 7357 w 160841"/>
                  <a:gd name="connsiteY2" fmla="*/ 20500 h 161216"/>
                  <a:gd name="connsiteX3" fmla="*/ 398 w 160841"/>
                  <a:gd name="connsiteY3" fmla="*/ 7357 h 161216"/>
                  <a:gd name="connsiteX4" fmla="*/ 13542 w 160841"/>
                  <a:gd name="connsiteY4" fmla="*/ 398 h 161216"/>
                  <a:gd name="connsiteX5" fmla="*/ 160444 w 160841"/>
                  <a:gd name="connsiteY5" fmla="*/ 147300 h 161216"/>
                  <a:gd name="connsiteX6" fmla="*/ 153486 w 160841"/>
                  <a:gd name="connsiteY6" fmla="*/ 160444 h 161216"/>
                  <a:gd name="connsiteX7" fmla="*/ 151166 w 160841"/>
                  <a:gd name="connsiteY7" fmla="*/ 161217 h 161216"/>
                  <a:gd name="connsiteX8" fmla="*/ 151166 w 160841"/>
                  <a:gd name="connsiteY8" fmla="*/ 161217 h 161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0841" h="161216">
                    <a:moveTo>
                      <a:pt x="151166" y="161217"/>
                    </a:moveTo>
                    <a:cubicBezTo>
                      <a:pt x="146527" y="161217"/>
                      <a:pt x="142661" y="158125"/>
                      <a:pt x="141115" y="154259"/>
                    </a:cubicBezTo>
                    <a:cubicBezTo>
                      <a:pt x="120239" y="90859"/>
                      <a:pt x="70756" y="41376"/>
                      <a:pt x="7357" y="20500"/>
                    </a:cubicBezTo>
                    <a:cubicBezTo>
                      <a:pt x="1944" y="18954"/>
                      <a:pt x="-1148" y="12769"/>
                      <a:pt x="398" y="7357"/>
                    </a:cubicBezTo>
                    <a:cubicBezTo>
                      <a:pt x="1944" y="1945"/>
                      <a:pt x="8130" y="-1148"/>
                      <a:pt x="13542" y="398"/>
                    </a:cubicBezTo>
                    <a:cubicBezTo>
                      <a:pt x="83127" y="22820"/>
                      <a:pt x="138022" y="77715"/>
                      <a:pt x="160444" y="147300"/>
                    </a:cubicBezTo>
                    <a:cubicBezTo>
                      <a:pt x="161990" y="152712"/>
                      <a:pt x="158897" y="158125"/>
                      <a:pt x="153486" y="160444"/>
                    </a:cubicBezTo>
                    <a:cubicBezTo>
                      <a:pt x="153486" y="160444"/>
                      <a:pt x="152712" y="161217"/>
                      <a:pt x="151166" y="161217"/>
                    </a:cubicBezTo>
                    <a:lnTo>
                      <a:pt x="151166" y="161217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05" name="Forma Livre: Forma 204">
                <a:extLst>
                  <a:ext uri="{FF2B5EF4-FFF2-40B4-BE49-F238E27FC236}">
                    <a16:creationId xmlns:a16="http://schemas.microsoft.com/office/drawing/2014/main" id="{646C96A7-4657-4580-B4A7-97C6085D98A7}"/>
                  </a:ext>
                </a:extLst>
              </p:cNvPr>
              <p:cNvSpPr/>
              <p:nvPr/>
            </p:nvSpPr>
            <p:spPr>
              <a:xfrm>
                <a:off x="3975972" y="4190570"/>
                <a:ext cx="93553" cy="97418"/>
              </a:xfrm>
              <a:custGeom>
                <a:avLst/>
                <a:gdLst>
                  <a:gd name="connsiteX0" fmla="*/ 82729 w 93553"/>
                  <a:gd name="connsiteY0" fmla="*/ 97419 h 97418"/>
                  <a:gd name="connsiteX1" fmla="*/ 82729 w 93553"/>
                  <a:gd name="connsiteY1" fmla="*/ 97419 h 97418"/>
                  <a:gd name="connsiteX2" fmla="*/ 12371 w 93553"/>
                  <a:gd name="connsiteY2" fmla="*/ 95100 h 97418"/>
                  <a:gd name="connsiteX3" fmla="*/ 2320 w 93553"/>
                  <a:gd name="connsiteY3" fmla="*/ 85048 h 97418"/>
                  <a:gd name="connsiteX4" fmla="*/ 0 w 93553"/>
                  <a:gd name="connsiteY4" fmla="*/ 11598 h 97418"/>
                  <a:gd name="connsiteX5" fmla="*/ 9278 w 93553"/>
                  <a:gd name="connsiteY5" fmla="*/ 773 h 97418"/>
                  <a:gd name="connsiteX6" fmla="*/ 15463 w 93553"/>
                  <a:gd name="connsiteY6" fmla="*/ 0 h 97418"/>
                  <a:gd name="connsiteX7" fmla="*/ 93553 w 93553"/>
                  <a:gd name="connsiteY7" fmla="*/ 78090 h 97418"/>
                  <a:gd name="connsiteX8" fmla="*/ 92780 w 93553"/>
                  <a:gd name="connsiteY8" fmla="*/ 86595 h 97418"/>
                  <a:gd name="connsiteX9" fmla="*/ 82729 w 93553"/>
                  <a:gd name="connsiteY9" fmla="*/ 97419 h 97418"/>
                  <a:gd name="connsiteX10" fmla="*/ 82729 w 93553"/>
                  <a:gd name="connsiteY10" fmla="*/ 97419 h 97418"/>
                  <a:gd name="connsiteX11" fmla="*/ 22422 w 93553"/>
                  <a:gd name="connsiteY11" fmla="*/ 74997 h 97418"/>
                  <a:gd name="connsiteX12" fmla="*/ 73451 w 93553"/>
                  <a:gd name="connsiteY12" fmla="*/ 76544 h 97418"/>
                  <a:gd name="connsiteX13" fmla="*/ 20876 w 93553"/>
                  <a:gd name="connsiteY13" fmla="*/ 21649 h 97418"/>
                  <a:gd name="connsiteX14" fmla="*/ 22422 w 93553"/>
                  <a:gd name="connsiteY14" fmla="*/ 74997 h 97418"/>
                  <a:gd name="connsiteX15" fmla="*/ 22422 w 93553"/>
                  <a:gd name="connsiteY15" fmla="*/ 74997 h 97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93553" h="97418">
                    <a:moveTo>
                      <a:pt x="82729" y="97419"/>
                    </a:moveTo>
                    <a:cubicBezTo>
                      <a:pt x="82729" y="97419"/>
                      <a:pt x="82729" y="97419"/>
                      <a:pt x="82729" y="97419"/>
                    </a:cubicBezTo>
                    <a:lnTo>
                      <a:pt x="12371" y="95100"/>
                    </a:lnTo>
                    <a:cubicBezTo>
                      <a:pt x="6959" y="95100"/>
                      <a:pt x="2320" y="90461"/>
                      <a:pt x="2320" y="85048"/>
                    </a:cubicBezTo>
                    <a:lnTo>
                      <a:pt x="0" y="11598"/>
                    </a:lnTo>
                    <a:cubicBezTo>
                      <a:pt x="0" y="6185"/>
                      <a:pt x="3866" y="1546"/>
                      <a:pt x="9278" y="773"/>
                    </a:cubicBezTo>
                    <a:cubicBezTo>
                      <a:pt x="12371" y="0"/>
                      <a:pt x="13917" y="0"/>
                      <a:pt x="15463" y="0"/>
                    </a:cubicBezTo>
                    <a:cubicBezTo>
                      <a:pt x="58761" y="0"/>
                      <a:pt x="93553" y="34793"/>
                      <a:pt x="93553" y="78090"/>
                    </a:cubicBezTo>
                    <a:cubicBezTo>
                      <a:pt x="93553" y="81183"/>
                      <a:pt x="93553" y="83502"/>
                      <a:pt x="92780" y="86595"/>
                    </a:cubicBezTo>
                    <a:cubicBezTo>
                      <a:pt x="92780" y="92780"/>
                      <a:pt x="88141" y="97419"/>
                      <a:pt x="82729" y="97419"/>
                    </a:cubicBezTo>
                    <a:lnTo>
                      <a:pt x="82729" y="97419"/>
                    </a:lnTo>
                    <a:close/>
                    <a:moveTo>
                      <a:pt x="22422" y="74997"/>
                    </a:moveTo>
                    <a:lnTo>
                      <a:pt x="73451" y="76544"/>
                    </a:lnTo>
                    <a:cubicBezTo>
                      <a:pt x="71905" y="47163"/>
                      <a:pt x="49483" y="23968"/>
                      <a:pt x="20876" y="21649"/>
                    </a:cubicBezTo>
                    <a:lnTo>
                      <a:pt x="22422" y="74997"/>
                    </a:lnTo>
                    <a:lnTo>
                      <a:pt x="22422" y="74997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206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2412158" y="1607997"/>
              <a:ext cx="386241" cy="384709"/>
              <a:chOff x="1446553" y="1271088"/>
              <a:chExt cx="487482" cy="485549"/>
            </a:xfrm>
            <a:solidFill>
              <a:srgbClr val="B1B1A1"/>
            </a:solidFill>
          </p:grpSpPr>
          <p:sp>
            <p:nvSpPr>
              <p:cNvPr id="207" name="Forma Livre: Forma 206">
                <a:extLst>
                  <a:ext uri="{FF2B5EF4-FFF2-40B4-BE49-F238E27FC236}">
                    <a16:creationId xmlns:a16="http://schemas.microsoft.com/office/drawing/2014/main" id="{83EBBB2A-4525-42BC-BE28-B9E4DED51583}"/>
                  </a:ext>
                </a:extLst>
              </p:cNvPr>
              <p:cNvSpPr/>
              <p:nvPr/>
            </p:nvSpPr>
            <p:spPr>
              <a:xfrm>
                <a:off x="1446553" y="1278433"/>
                <a:ext cx="477817" cy="478204"/>
              </a:xfrm>
              <a:custGeom>
                <a:avLst/>
                <a:gdLst>
                  <a:gd name="connsiteX0" fmla="*/ 20489 w 477817"/>
                  <a:gd name="connsiteY0" fmla="*/ 478204 h 478204"/>
                  <a:gd name="connsiteX1" fmla="*/ 5799 w 477817"/>
                  <a:gd name="connsiteY1" fmla="*/ 472019 h 478204"/>
                  <a:gd name="connsiteX2" fmla="*/ 5799 w 477817"/>
                  <a:gd name="connsiteY2" fmla="*/ 442639 h 478204"/>
                  <a:gd name="connsiteX3" fmla="*/ 442639 w 477817"/>
                  <a:gd name="connsiteY3" fmla="*/ 5799 h 478204"/>
                  <a:gd name="connsiteX4" fmla="*/ 472019 w 477817"/>
                  <a:gd name="connsiteY4" fmla="*/ 5799 h 478204"/>
                  <a:gd name="connsiteX5" fmla="*/ 472019 w 477817"/>
                  <a:gd name="connsiteY5" fmla="*/ 35179 h 478204"/>
                  <a:gd name="connsiteX6" fmla="*/ 35179 w 477817"/>
                  <a:gd name="connsiteY6" fmla="*/ 472019 h 478204"/>
                  <a:gd name="connsiteX7" fmla="*/ 20489 w 477817"/>
                  <a:gd name="connsiteY7" fmla="*/ 478204 h 478204"/>
                  <a:gd name="connsiteX8" fmla="*/ 20489 w 477817"/>
                  <a:gd name="connsiteY8" fmla="*/ 478204 h 478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7817" h="478204">
                    <a:moveTo>
                      <a:pt x="20489" y="478204"/>
                    </a:moveTo>
                    <a:cubicBezTo>
                      <a:pt x="15077" y="478204"/>
                      <a:pt x="9665" y="475885"/>
                      <a:pt x="5799" y="472019"/>
                    </a:cubicBezTo>
                    <a:cubicBezTo>
                      <a:pt x="-1933" y="464287"/>
                      <a:pt x="-1933" y="451143"/>
                      <a:pt x="5799" y="442639"/>
                    </a:cubicBezTo>
                    <a:lnTo>
                      <a:pt x="442639" y="5799"/>
                    </a:lnTo>
                    <a:cubicBezTo>
                      <a:pt x="450370" y="-1933"/>
                      <a:pt x="463514" y="-1933"/>
                      <a:pt x="472019" y="5799"/>
                    </a:cubicBezTo>
                    <a:cubicBezTo>
                      <a:pt x="479751" y="13530"/>
                      <a:pt x="479751" y="26674"/>
                      <a:pt x="472019" y="35179"/>
                    </a:cubicBezTo>
                    <a:lnTo>
                      <a:pt x="35179" y="472019"/>
                    </a:lnTo>
                    <a:cubicBezTo>
                      <a:pt x="31313" y="475885"/>
                      <a:pt x="25901" y="478204"/>
                      <a:pt x="20489" y="478204"/>
                    </a:cubicBezTo>
                    <a:lnTo>
                      <a:pt x="20489" y="478204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08" name="Forma Livre: Forma 207">
                <a:extLst>
                  <a:ext uri="{FF2B5EF4-FFF2-40B4-BE49-F238E27FC236}">
                    <a16:creationId xmlns:a16="http://schemas.microsoft.com/office/drawing/2014/main" id="{FEB56E6B-3070-4C92-9527-195CAA7E4039}"/>
                  </a:ext>
                </a:extLst>
              </p:cNvPr>
              <p:cNvSpPr/>
              <p:nvPr/>
            </p:nvSpPr>
            <p:spPr>
              <a:xfrm>
                <a:off x="1497969" y="1271088"/>
                <a:ext cx="436066" cy="436839"/>
              </a:xfrm>
              <a:custGeom>
                <a:avLst/>
                <a:gdLst>
                  <a:gd name="connsiteX0" fmla="*/ 415964 w 436066"/>
                  <a:gd name="connsiteY0" fmla="*/ 436840 h 436839"/>
                  <a:gd name="connsiteX1" fmla="*/ 395089 w 436066"/>
                  <a:gd name="connsiteY1" fmla="*/ 415964 h 436839"/>
                  <a:gd name="connsiteX2" fmla="*/ 395089 w 436066"/>
                  <a:gd name="connsiteY2" fmla="*/ 41751 h 436839"/>
                  <a:gd name="connsiteX3" fmla="*/ 20876 w 436066"/>
                  <a:gd name="connsiteY3" fmla="*/ 41751 h 436839"/>
                  <a:gd name="connsiteX4" fmla="*/ 0 w 436066"/>
                  <a:gd name="connsiteY4" fmla="*/ 20876 h 436839"/>
                  <a:gd name="connsiteX5" fmla="*/ 20876 w 436066"/>
                  <a:gd name="connsiteY5" fmla="*/ 0 h 436839"/>
                  <a:gd name="connsiteX6" fmla="*/ 415191 w 436066"/>
                  <a:gd name="connsiteY6" fmla="*/ 0 h 436839"/>
                  <a:gd name="connsiteX7" fmla="*/ 436067 w 436066"/>
                  <a:gd name="connsiteY7" fmla="*/ 20876 h 436839"/>
                  <a:gd name="connsiteX8" fmla="*/ 436067 w 436066"/>
                  <a:gd name="connsiteY8" fmla="*/ 415191 h 436839"/>
                  <a:gd name="connsiteX9" fmla="*/ 415964 w 436066"/>
                  <a:gd name="connsiteY9" fmla="*/ 436840 h 436839"/>
                  <a:gd name="connsiteX10" fmla="*/ 415964 w 436066"/>
                  <a:gd name="connsiteY10" fmla="*/ 436840 h 436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36066" h="436839">
                    <a:moveTo>
                      <a:pt x="415964" y="436840"/>
                    </a:moveTo>
                    <a:cubicBezTo>
                      <a:pt x="404367" y="436840"/>
                      <a:pt x="395089" y="427562"/>
                      <a:pt x="395089" y="415964"/>
                    </a:cubicBezTo>
                    <a:lnTo>
                      <a:pt x="395089" y="41751"/>
                    </a:lnTo>
                    <a:lnTo>
                      <a:pt x="20876" y="41751"/>
                    </a:lnTo>
                    <a:cubicBezTo>
                      <a:pt x="9278" y="41751"/>
                      <a:pt x="0" y="32473"/>
                      <a:pt x="0" y="20876"/>
                    </a:cubicBezTo>
                    <a:cubicBezTo>
                      <a:pt x="0" y="9278"/>
                      <a:pt x="9278" y="0"/>
                      <a:pt x="20876" y="0"/>
                    </a:cubicBezTo>
                    <a:lnTo>
                      <a:pt x="415191" y="0"/>
                    </a:lnTo>
                    <a:cubicBezTo>
                      <a:pt x="426789" y="0"/>
                      <a:pt x="436067" y="9278"/>
                      <a:pt x="436067" y="20876"/>
                    </a:cubicBezTo>
                    <a:lnTo>
                      <a:pt x="436067" y="415191"/>
                    </a:lnTo>
                    <a:cubicBezTo>
                      <a:pt x="436067" y="427562"/>
                      <a:pt x="426789" y="436840"/>
                      <a:pt x="415964" y="436840"/>
                    </a:cubicBezTo>
                    <a:lnTo>
                      <a:pt x="415964" y="436840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209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1423430" y="1607691"/>
              <a:ext cx="383790" cy="386241"/>
              <a:chOff x="198660" y="1270701"/>
              <a:chExt cx="484389" cy="487482"/>
            </a:xfrm>
            <a:solidFill>
              <a:srgbClr val="B1B1A1"/>
            </a:solidFill>
          </p:grpSpPr>
          <p:sp>
            <p:nvSpPr>
              <p:cNvPr id="210" name="Forma Livre: Forma 209">
                <a:extLst>
                  <a:ext uri="{FF2B5EF4-FFF2-40B4-BE49-F238E27FC236}">
                    <a16:creationId xmlns:a16="http://schemas.microsoft.com/office/drawing/2014/main" id="{7CFBCDD2-398B-4717-8CBB-F96C3BCDF5C1}"/>
                  </a:ext>
                </a:extLst>
              </p:cNvPr>
              <p:cNvSpPr/>
              <p:nvPr/>
            </p:nvSpPr>
            <p:spPr>
              <a:xfrm>
                <a:off x="198660" y="1270701"/>
                <a:ext cx="477817" cy="478204"/>
              </a:xfrm>
              <a:custGeom>
                <a:avLst/>
                <a:gdLst>
                  <a:gd name="connsiteX0" fmla="*/ 457329 w 477817"/>
                  <a:gd name="connsiteY0" fmla="*/ 478204 h 478204"/>
                  <a:gd name="connsiteX1" fmla="*/ 442639 w 477817"/>
                  <a:gd name="connsiteY1" fmla="*/ 472019 h 478204"/>
                  <a:gd name="connsiteX2" fmla="*/ 5799 w 477817"/>
                  <a:gd name="connsiteY2" fmla="*/ 35179 h 478204"/>
                  <a:gd name="connsiteX3" fmla="*/ 5799 w 477817"/>
                  <a:gd name="connsiteY3" fmla="*/ 5799 h 478204"/>
                  <a:gd name="connsiteX4" fmla="*/ 35179 w 477817"/>
                  <a:gd name="connsiteY4" fmla="*/ 5799 h 478204"/>
                  <a:gd name="connsiteX5" fmla="*/ 472019 w 477817"/>
                  <a:gd name="connsiteY5" fmla="*/ 442639 h 478204"/>
                  <a:gd name="connsiteX6" fmla="*/ 472019 w 477817"/>
                  <a:gd name="connsiteY6" fmla="*/ 472019 h 478204"/>
                  <a:gd name="connsiteX7" fmla="*/ 457329 w 477817"/>
                  <a:gd name="connsiteY7" fmla="*/ 478204 h 478204"/>
                  <a:gd name="connsiteX8" fmla="*/ 457329 w 477817"/>
                  <a:gd name="connsiteY8" fmla="*/ 478204 h 478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7817" h="478204">
                    <a:moveTo>
                      <a:pt x="457329" y="478204"/>
                    </a:moveTo>
                    <a:cubicBezTo>
                      <a:pt x="451917" y="478204"/>
                      <a:pt x="446505" y="475885"/>
                      <a:pt x="442639" y="472019"/>
                    </a:cubicBezTo>
                    <a:lnTo>
                      <a:pt x="5799" y="35179"/>
                    </a:lnTo>
                    <a:cubicBezTo>
                      <a:pt x="-1933" y="27447"/>
                      <a:pt x="-1933" y="14304"/>
                      <a:pt x="5799" y="5799"/>
                    </a:cubicBezTo>
                    <a:cubicBezTo>
                      <a:pt x="13530" y="-1933"/>
                      <a:pt x="26674" y="-1933"/>
                      <a:pt x="35179" y="5799"/>
                    </a:cubicBezTo>
                    <a:lnTo>
                      <a:pt x="472019" y="442639"/>
                    </a:lnTo>
                    <a:cubicBezTo>
                      <a:pt x="479751" y="450370"/>
                      <a:pt x="479751" y="463514"/>
                      <a:pt x="472019" y="472019"/>
                    </a:cubicBezTo>
                    <a:cubicBezTo>
                      <a:pt x="467380" y="475885"/>
                      <a:pt x="461968" y="478204"/>
                      <a:pt x="457329" y="478204"/>
                    </a:cubicBezTo>
                    <a:lnTo>
                      <a:pt x="457329" y="478204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11" name="Forma Livre: Forma 210">
                <a:extLst>
                  <a:ext uri="{FF2B5EF4-FFF2-40B4-BE49-F238E27FC236}">
                    <a16:creationId xmlns:a16="http://schemas.microsoft.com/office/drawing/2014/main" id="{35CDEFC3-3620-42A0-8307-DC4236184B43}"/>
                  </a:ext>
                </a:extLst>
              </p:cNvPr>
              <p:cNvSpPr/>
              <p:nvPr/>
            </p:nvSpPr>
            <p:spPr>
              <a:xfrm>
                <a:off x="246210" y="1321344"/>
                <a:ext cx="436839" cy="436839"/>
              </a:xfrm>
              <a:custGeom>
                <a:avLst/>
                <a:gdLst>
                  <a:gd name="connsiteX0" fmla="*/ 415191 w 436839"/>
                  <a:gd name="connsiteY0" fmla="*/ 436840 h 436839"/>
                  <a:gd name="connsiteX1" fmla="*/ 20876 w 436839"/>
                  <a:gd name="connsiteY1" fmla="*/ 436840 h 436839"/>
                  <a:gd name="connsiteX2" fmla="*/ 0 w 436839"/>
                  <a:gd name="connsiteY2" fmla="*/ 415964 h 436839"/>
                  <a:gd name="connsiteX3" fmla="*/ 20876 w 436839"/>
                  <a:gd name="connsiteY3" fmla="*/ 395089 h 436839"/>
                  <a:gd name="connsiteX4" fmla="*/ 395089 w 436839"/>
                  <a:gd name="connsiteY4" fmla="*/ 395089 h 436839"/>
                  <a:gd name="connsiteX5" fmla="*/ 395089 w 436839"/>
                  <a:gd name="connsiteY5" fmla="*/ 20876 h 436839"/>
                  <a:gd name="connsiteX6" fmla="*/ 415964 w 436839"/>
                  <a:gd name="connsiteY6" fmla="*/ 0 h 436839"/>
                  <a:gd name="connsiteX7" fmla="*/ 436840 w 436839"/>
                  <a:gd name="connsiteY7" fmla="*/ 20876 h 436839"/>
                  <a:gd name="connsiteX8" fmla="*/ 436840 w 436839"/>
                  <a:gd name="connsiteY8" fmla="*/ 415191 h 436839"/>
                  <a:gd name="connsiteX9" fmla="*/ 415191 w 436839"/>
                  <a:gd name="connsiteY9" fmla="*/ 436840 h 436839"/>
                  <a:gd name="connsiteX10" fmla="*/ 415191 w 436839"/>
                  <a:gd name="connsiteY10" fmla="*/ 436840 h 436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36839" h="436839">
                    <a:moveTo>
                      <a:pt x="415191" y="436840"/>
                    </a:moveTo>
                    <a:lnTo>
                      <a:pt x="20876" y="436840"/>
                    </a:lnTo>
                    <a:cubicBezTo>
                      <a:pt x="9278" y="436840"/>
                      <a:pt x="0" y="427562"/>
                      <a:pt x="0" y="415964"/>
                    </a:cubicBezTo>
                    <a:cubicBezTo>
                      <a:pt x="0" y="404367"/>
                      <a:pt x="9278" y="395089"/>
                      <a:pt x="20876" y="395089"/>
                    </a:cubicBezTo>
                    <a:lnTo>
                      <a:pt x="395089" y="395089"/>
                    </a:lnTo>
                    <a:lnTo>
                      <a:pt x="395089" y="20876"/>
                    </a:lnTo>
                    <a:cubicBezTo>
                      <a:pt x="395089" y="9278"/>
                      <a:pt x="404367" y="0"/>
                      <a:pt x="415964" y="0"/>
                    </a:cubicBezTo>
                    <a:cubicBezTo>
                      <a:pt x="427562" y="0"/>
                      <a:pt x="436840" y="9278"/>
                      <a:pt x="436840" y="20876"/>
                    </a:cubicBezTo>
                    <a:lnTo>
                      <a:pt x="436840" y="415191"/>
                    </a:lnTo>
                    <a:cubicBezTo>
                      <a:pt x="436067" y="427562"/>
                      <a:pt x="426789" y="436840"/>
                      <a:pt x="415191" y="436840"/>
                    </a:cubicBezTo>
                    <a:lnTo>
                      <a:pt x="415191" y="436840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212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2434518" y="604567"/>
              <a:ext cx="343053" cy="383484"/>
              <a:chOff x="1474774" y="4639"/>
              <a:chExt cx="432974" cy="484003"/>
            </a:xfrm>
            <a:solidFill>
              <a:srgbClr val="B1B1A1"/>
            </a:solidFill>
          </p:grpSpPr>
          <p:sp>
            <p:nvSpPr>
              <p:cNvPr id="213" name="Forma Livre: Forma 212">
                <a:extLst>
                  <a:ext uri="{FF2B5EF4-FFF2-40B4-BE49-F238E27FC236}">
                    <a16:creationId xmlns:a16="http://schemas.microsoft.com/office/drawing/2014/main" id="{A2FBFA5E-18F8-49E8-BFA3-10FF351F1DAB}"/>
                  </a:ext>
                </a:extLst>
              </p:cNvPr>
              <p:cNvSpPr/>
              <p:nvPr/>
            </p:nvSpPr>
            <p:spPr>
              <a:xfrm>
                <a:off x="1669612" y="4639"/>
                <a:ext cx="41751" cy="190972"/>
              </a:xfrm>
              <a:custGeom>
                <a:avLst/>
                <a:gdLst>
                  <a:gd name="connsiteX0" fmla="*/ 20876 w 41751"/>
                  <a:gd name="connsiteY0" fmla="*/ 190972 h 190972"/>
                  <a:gd name="connsiteX1" fmla="*/ 0 w 41751"/>
                  <a:gd name="connsiteY1" fmla="*/ 170097 h 190972"/>
                  <a:gd name="connsiteX2" fmla="*/ 0 w 41751"/>
                  <a:gd name="connsiteY2" fmla="*/ 20876 h 190972"/>
                  <a:gd name="connsiteX3" fmla="*/ 20876 w 41751"/>
                  <a:gd name="connsiteY3" fmla="*/ 0 h 190972"/>
                  <a:gd name="connsiteX4" fmla="*/ 41751 w 41751"/>
                  <a:gd name="connsiteY4" fmla="*/ 20876 h 190972"/>
                  <a:gd name="connsiteX5" fmla="*/ 41751 w 41751"/>
                  <a:gd name="connsiteY5" fmla="*/ 170097 h 190972"/>
                  <a:gd name="connsiteX6" fmla="*/ 20876 w 41751"/>
                  <a:gd name="connsiteY6" fmla="*/ 190972 h 190972"/>
                  <a:gd name="connsiteX7" fmla="*/ 20876 w 41751"/>
                  <a:gd name="connsiteY7" fmla="*/ 190972 h 1909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51" h="190972">
                    <a:moveTo>
                      <a:pt x="20876" y="190972"/>
                    </a:moveTo>
                    <a:cubicBezTo>
                      <a:pt x="9278" y="190972"/>
                      <a:pt x="0" y="181694"/>
                      <a:pt x="0" y="170097"/>
                    </a:cubicBezTo>
                    <a:lnTo>
                      <a:pt x="0" y="20876"/>
                    </a:lnTo>
                    <a:cubicBezTo>
                      <a:pt x="0" y="9278"/>
                      <a:pt x="9278" y="0"/>
                      <a:pt x="20876" y="0"/>
                    </a:cubicBezTo>
                    <a:cubicBezTo>
                      <a:pt x="32473" y="0"/>
                      <a:pt x="41751" y="9278"/>
                      <a:pt x="41751" y="20876"/>
                    </a:cubicBezTo>
                    <a:lnTo>
                      <a:pt x="41751" y="170097"/>
                    </a:lnTo>
                    <a:cubicBezTo>
                      <a:pt x="40978" y="181694"/>
                      <a:pt x="32473" y="190972"/>
                      <a:pt x="20876" y="190972"/>
                    </a:cubicBezTo>
                    <a:lnTo>
                      <a:pt x="20876" y="190972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14" name="Forma Livre: Forma 213">
                <a:extLst>
                  <a:ext uri="{FF2B5EF4-FFF2-40B4-BE49-F238E27FC236}">
                    <a16:creationId xmlns:a16="http://schemas.microsoft.com/office/drawing/2014/main" id="{0059941C-2F34-4C4E-B88D-661F979EE29E}"/>
                  </a:ext>
                </a:extLst>
              </p:cNvPr>
              <p:cNvSpPr/>
              <p:nvPr/>
            </p:nvSpPr>
            <p:spPr>
              <a:xfrm>
                <a:off x="1474774" y="68339"/>
                <a:ext cx="432974" cy="420302"/>
              </a:xfrm>
              <a:custGeom>
                <a:avLst/>
                <a:gdLst>
                  <a:gd name="connsiteX0" fmla="*/ 215714 w 432974"/>
                  <a:gd name="connsiteY0" fmla="*/ 420303 h 420302"/>
                  <a:gd name="connsiteX1" fmla="*/ 0 w 432974"/>
                  <a:gd name="connsiteY1" fmla="*/ 204589 h 420302"/>
                  <a:gd name="connsiteX2" fmla="*/ 144582 w 432974"/>
                  <a:gd name="connsiteY2" fmla="*/ 1246 h 420302"/>
                  <a:gd name="connsiteX3" fmla="*/ 170870 w 432974"/>
                  <a:gd name="connsiteY3" fmla="*/ 13616 h 420302"/>
                  <a:gd name="connsiteX4" fmla="*/ 158499 w 432974"/>
                  <a:gd name="connsiteY4" fmla="*/ 39904 h 420302"/>
                  <a:gd name="connsiteX5" fmla="*/ 41751 w 432974"/>
                  <a:gd name="connsiteY5" fmla="*/ 204589 h 420302"/>
                  <a:gd name="connsiteX6" fmla="*/ 216487 w 432974"/>
                  <a:gd name="connsiteY6" fmla="*/ 379325 h 420302"/>
                  <a:gd name="connsiteX7" fmla="*/ 391223 w 432974"/>
                  <a:gd name="connsiteY7" fmla="*/ 204589 h 420302"/>
                  <a:gd name="connsiteX8" fmla="*/ 274475 w 432974"/>
                  <a:gd name="connsiteY8" fmla="*/ 39904 h 420302"/>
                  <a:gd name="connsiteX9" fmla="*/ 262104 w 432974"/>
                  <a:gd name="connsiteY9" fmla="*/ 13616 h 420302"/>
                  <a:gd name="connsiteX10" fmla="*/ 288392 w 432974"/>
                  <a:gd name="connsiteY10" fmla="*/ 1246 h 420302"/>
                  <a:gd name="connsiteX11" fmla="*/ 432974 w 432974"/>
                  <a:gd name="connsiteY11" fmla="*/ 204589 h 420302"/>
                  <a:gd name="connsiteX12" fmla="*/ 215714 w 432974"/>
                  <a:gd name="connsiteY12" fmla="*/ 420303 h 420302"/>
                  <a:gd name="connsiteX13" fmla="*/ 215714 w 432974"/>
                  <a:gd name="connsiteY13" fmla="*/ 420303 h 420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2974" h="420302">
                    <a:moveTo>
                      <a:pt x="215714" y="420303"/>
                    </a:moveTo>
                    <a:cubicBezTo>
                      <a:pt x="96646" y="420303"/>
                      <a:pt x="0" y="323657"/>
                      <a:pt x="0" y="204589"/>
                    </a:cubicBezTo>
                    <a:cubicBezTo>
                      <a:pt x="0" y="113355"/>
                      <a:pt x="57988" y="31399"/>
                      <a:pt x="144582" y="1246"/>
                    </a:cubicBezTo>
                    <a:cubicBezTo>
                      <a:pt x="155407" y="-2620"/>
                      <a:pt x="167004" y="2792"/>
                      <a:pt x="170870" y="13616"/>
                    </a:cubicBezTo>
                    <a:cubicBezTo>
                      <a:pt x="174736" y="24441"/>
                      <a:pt x="169324" y="36038"/>
                      <a:pt x="158499" y="39904"/>
                    </a:cubicBezTo>
                    <a:cubicBezTo>
                      <a:pt x="88141" y="64645"/>
                      <a:pt x="41751" y="130365"/>
                      <a:pt x="41751" y="204589"/>
                    </a:cubicBezTo>
                    <a:cubicBezTo>
                      <a:pt x="41751" y="300462"/>
                      <a:pt x="119841" y="379325"/>
                      <a:pt x="216487" y="379325"/>
                    </a:cubicBezTo>
                    <a:cubicBezTo>
                      <a:pt x="312360" y="379325"/>
                      <a:pt x="391223" y="301235"/>
                      <a:pt x="391223" y="204589"/>
                    </a:cubicBezTo>
                    <a:cubicBezTo>
                      <a:pt x="391223" y="130365"/>
                      <a:pt x="344060" y="64645"/>
                      <a:pt x="274475" y="39904"/>
                    </a:cubicBezTo>
                    <a:cubicBezTo>
                      <a:pt x="263650" y="36038"/>
                      <a:pt x="258238" y="24441"/>
                      <a:pt x="262104" y="13616"/>
                    </a:cubicBezTo>
                    <a:cubicBezTo>
                      <a:pt x="265970" y="2792"/>
                      <a:pt x="277567" y="-2620"/>
                      <a:pt x="288392" y="1246"/>
                    </a:cubicBezTo>
                    <a:cubicBezTo>
                      <a:pt x="374986" y="31399"/>
                      <a:pt x="432974" y="113355"/>
                      <a:pt x="432974" y="204589"/>
                    </a:cubicBezTo>
                    <a:cubicBezTo>
                      <a:pt x="431428" y="323657"/>
                      <a:pt x="334782" y="420303"/>
                      <a:pt x="215714" y="420303"/>
                    </a:cubicBezTo>
                    <a:lnTo>
                      <a:pt x="215714" y="420303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215" name="Forma Livre: Forma 214">
              <a:extLst>
                <a:ext uri="{FF2B5EF4-FFF2-40B4-BE49-F238E27FC236}">
                  <a16:creationId xmlns:a16="http://schemas.microsoft.com/office/drawing/2014/main" id="{B7241330-D18D-4558-9BEE-82AFF06B13A7}"/>
                </a:ext>
              </a:extLst>
            </p:cNvPr>
            <p:cNvSpPr/>
            <p:nvPr/>
          </p:nvSpPr>
          <p:spPr>
            <a:xfrm>
              <a:off x="8385380" y="1601626"/>
              <a:ext cx="399911" cy="399044"/>
            </a:xfrm>
            <a:custGeom>
              <a:avLst/>
              <a:gdLst>
                <a:gd name="connsiteX0" fmla="*/ 33104 w 504735"/>
                <a:gd name="connsiteY0" fmla="*/ 503642 h 503641"/>
                <a:gd name="connsiteX1" fmla="*/ 33104 w 504735"/>
                <a:gd name="connsiteY1" fmla="*/ 503642 h 503641"/>
                <a:gd name="connsiteX2" fmla="*/ 13001 w 504735"/>
                <a:gd name="connsiteY2" fmla="*/ 486632 h 503641"/>
                <a:gd name="connsiteX3" fmla="*/ 12228 w 504735"/>
                <a:gd name="connsiteY3" fmla="*/ 483539 h 503641"/>
                <a:gd name="connsiteX4" fmla="*/ 48567 w 504735"/>
                <a:gd name="connsiteY4" fmla="*/ 207518 h 503641"/>
                <a:gd name="connsiteX5" fmla="*/ 257322 w 504735"/>
                <a:gd name="connsiteY5" fmla="*/ 90770 h 503641"/>
                <a:gd name="connsiteX6" fmla="*/ 257322 w 504735"/>
                <a:gd name="connsiteY6" fmla="*/ 20412 h 503641"/>
                <a:gd name="connsiteX7" fmla="*/ 268920 w 504735"/>
                <a:gd name="connsiteY7" fmla="*/ 1856 h 503641"/>
                <a:gd name="connsiteX8" fmla="*/ 290569 w 504735"/>
                <a:gd name="connsiteY8" fmla="*/ 4175 h 503641"/>
                <a:gd name="connsiteX9" fmla="*/ 497004 w 504735"/>
                <a:gd name="connsiteY9" fmla="*/ 165767 h 503641"/>
                <a:gd name="connsiteX10" fmla="*/ 504736 w 504735"/>
                <a:gd name="connsiteY10" fmla="*/ 182004 h 503641"/>
                <a:gd name="connsiteX11" fmla="*/ 497004 w 504735"/>
                <a:gd name="connsiteY11" fmla="*/ 198240 h 503641"/>
                <a:gd name="connsiteX12" fmla="*/ 290569 w 504735"/>
                <a:gd name="connsiteY12" fmla="*/ 359832 h 503641"/>
                <a:gd name="connsiteX13" fmla="*/ 268920 w 504735"/>
                <a:gd name="connsiteY13" fmla="*/ 362152 h 503641"/>
                <a:gd name="connsiteX14" fmla="*/ 257322 w 504735"/>
                <a:gd name="connsiteY14" fmla="*/ 343596 h 503641"/>
                <a:gd name="connsiteX15" fmla="*/ 257322 w 504735"/>
                <a:gd name="connsiteY15" fmla="*/ 261640 h 503641"/>
                <a:gd name="connsiteX16" fmla="*/ 53206 w 504735"/>
                <a:gd name="connsiteY16" fmla="*/ 485086 h 503641"/>
                <a:gd name="connsiteX17" fmla="*/ 33104 w 504735"/>
                <a:gd name="connsiteY17" fmla="*/ 503642 h 503641"/>
                <a:gd name="connsiteX18" fmla="*/ 33104 w 504735"/>
                <a:gd name="connsiteY18" fmla="*/ 503642 h 503641"/>
                <a:gd name="connsiteX19" fmla="*/ 299074 w 504735"/>
                <a:gd name="connsiteY19" fmla="*/ 62163 h 503641"/>
                <a:gd name="connsiteX20" fmla="*/ 299074 w 504735"/>
                <a:gd name="connsiteY20" fmla="*/ 108553 h 503641"/>
                <a:gd name="connsiteX21" fmla="*/ 281290 w 504735"/>
                <a:gd name="connsiteY21" fmla="*/ 128655 h 503641"/>
                <a:gd name="connsiteX22" fmla="*/ 82586 w 504735"/>
                <a:gd name="connsiteY22" fmla="*/ 230713 h 503641"/>
                <a:gd name="connsiteX23" fmla="*/ 40835 w 504735"/>
                <a:gd name="connsiteY23" fmla="*/ 373749 h 503641"/>
                <a:gd name="connsiteX24" fmla="*/ 276651 w 504735"/>
                <a:gd name="connsiteY24" fmla="*/ 219116 h 503641"/>
                <a:gd name="connsiteX25" fmla="*/ 292115 w 504735"/>
                <a:gd name="connsiteY25" fmla="*/ 224528 h 503641"/>
                <a:gd name="connsiteX26" fmla="*/ 298301 w 504735"/>
                <a:gd name="connsiteY26" fmla="*/ 239218 h 503641"/>
                <a:gd name="connsiteX27" fmla="*/ 298301 w 504735"/>
                <a:gd name="connsiteY27" fmla="*/ 301072 h 503641"/>
                <a:gd name="connsiteX28" fmla="*/ 450614 w 504735"/>
                <a:gd name="connsiteY28" fmla="*/ 181231 h 503641"/>
                <a:gd name="connsiteX29" fmla="*/ 299074 w 504735"/>
                <a:gd name="connsiteY29" fmla="*/ 62163 h 503641"/>
                <a:gd name="connsiteX30" fmla="*/ 299074 w 504735"/>
                <a:gd name="connsiteY30" fmla="*/ 62163 h 503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04735" h="503641">
                  <a:moveTo>
                    <a:pt x="33104" y="503642"/>
                  </a:moveTo>
                  <a:cubicBezTo>
                    <a:pt x="33104" y="503642"/>
                    <a:pt x="33104" y="503642"/>
                    <a:pt x="33104" y="503642"/>
                  </a:cubicBezTo>
                  <a:cubicBezTo>
                    <a:pt x="23052" y="503642"/>
                    <a:pt x="14547" y="495910"/>
                    <a:pt x="13001" y="486632"/>
                  </a:cubicBezTo>
                  <a:lnTo>
                    <a:pt x="12228" y="483539"/>
                  </a:lnTo>
                  <a:cubicBezTo>
                    <a:pt x="-12514" y="375296"/>
                    <a:pt x="631" y="277103"/>
                    <a:pt x="48567" y="207518"/>
                  </a:cubicBezTo>
                  <a:cubicBezTo>
                    <a:pt x="91864" y="145665"/>
                    <a:pt x="162222" y="106233"/>
                    <a:pt x="257322" y="90770"/>
                  </a:cubicBezTo>
                  <a:lnTo>
                    <a:pt x="257322" y="20412"/>
                  </a:lnTo>
                  <a:cubicBezTo>
                    <a:pt x="257322" y="12680"/>
                    <a:pt x="261961" y="5721"/>
                    <a:pt x="268920" y="1856"/>
                  </a:cubicBezTo>
                  <a:cubicBezTo>
                    <a:pt x="275878" y="-1237"/>
                    <a:pt x="284383" y="-464"/>
                    <a:pt x="290569" y="4175"/>
                  </a:cubicBezTo>
                  <a:lnTo>
                    <a:pt x="497004" y="165767"/>
                  </a:lnTo>
                  <a:cubicBezTo>
                    <a:pt x="501643" y="169633"/>
                    <a:pt x="504736" y="175818"/>
                    <a:pt x="504736" y="182004"/>
                  </a:cubicBezTo>
                  <a:cubicBezTo>
                    <a:pt x="504736" y="188189"/>
                    <a:pt x="501643" y="194374"/>
                    <a:pt x="497004" y="198240"/>
                  </a:cubicBezTo>
                  <a:lnTo>
                    <a:pt x="290569" y="359832"/>
                  </a:lnTo>
                  <a:cubicBezTo>
                    <a:pt x="284383" y="364471"/>
                    <a:pt x="275878" y="365245"/>
                    <a:pt x="268920" y="362152"/>
                  </a:cubicBezTo>
                  <a:cubicBezTo>
                    <a:pt x="261961" y="359059"/>
                    <a:pt x="257322" y="351328"/>
                    <a:pt x="257322" y="343596"/>
                  </a:cubicBezTo>
                  <a:lnTo>
                    <a:pt x="257322" y="261640"/>
                  </a:lnTo>
                  <a:cubicBezTo>
                    <a:pt x="181551" y="271691"/>
                    <a:pt x="72535" y="316535"/>
                    <a:pt x="53206" y="485086"/>
                  </a:cubicBezTo>
                  <a:cubicBezTo>
                    <a:pt x="52433" y="495910"/>
                    <a:pt x="43928" y="503642"/>
                    <a:pt x="33104" y="503642"/>
                  </a:cubicBezTo>
                  <a:lnTo>
                    <a:pt x="33104" y="503642"/>
                  </a:lnTo>
                  <a:close/>
                  <a:moveTo>
                    <a:pt x="299074" y="62163"/>
                  </a:moveTo>
                  <a:lnTo>
                    <a:pt x="299074" y="108553"/>
                  </a:lnTo>
                  <a:cubicBezTo>
                    <a:pt x="299074" y="118604"/>
                    <a:pt x="291342" y="127882"/>
                    <a:pt x="281290" y="128655"/>
                  </a:cubicBezTo>
                  <a:cubicBezTo>
                    <a:pt x="188510" y="140253"/>
                    <a:pt x="122018" y="175045"/>
                    <a:pt x="82586" y="230713"/>
                  </a:cubicBezTo>
                  <a:cubicBezTo>
                    <a:pt x="51660" y="274784"/>
                    <a:pt x="41608" y="326586"/>
                    <a:pt x="40835" y="373749"/>
                  </a:cubicBezTo>
                  <a:cubicBezTo>
                    <a:pt x="98050" y="246177"/>
                    <a:pt x="219437" y="222982"/>
                    <a:pt x="276651" y="219116"/>
                  </a:cubicBezTo>
                  <a:cubicBezTo>
                    <a:pt x="282063" y="218343"/>
                    <a:pt x="288249" y="220662"/>
                    <a:pt x="292115" y="224528"/>
                  </a:cubicBezTo>
                  <a:cubicBezTo>
                    <a:pt x="295981" y="228394"/>
                    <a:pt x="298301" y="233806"/>
                    <a:pt x="298301" y="239218"/>
                  </a:cubicBezTo>
                  <a:lnTo>
                    <a:pt x="298301" y="301072"/>
                  </a:lnTo>
                  <a:lnTo>
                    <a:pt x="450614" y="181231"/>
                  </a:lnTo>
                  <a:lnTo>
                    <a:pt x="299074" y="62163"/>
                  </a:lnTo>
                  <a:lnTo>
                    <a:pt x="299074" y="62163"/>
                  </a:lnTo>
                  <a:close/>
                </a:path>
              </a:pathLst>
            </a:custGeom>
            <a:solidFill>
              <a:srgbClr val="B1B1A1"/>
            </a:solidFill>
            <a:ln w="7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16" name="Forma Livre: Forma 215">
              <a:extLst>
                <a:ext uri="{FF2B5EF4-FFF2-40B4-BE49-F238E27FC236}">
                  <a16:creationId xmlns:a16="http://schemas.microsoft.com/office/drawing/2014/main" id="{6391A6C9-3333-4E5F-807E-504BD6C73FE0}"/>
                </a:ext>
              </a:extLst>
            </p:cNvPr>
            <p:cNvSpPr/>
            <p:nvPr/>
          </p:nvSpPr>
          <p:spPr>
            <a:xfrm>
              <a:off x="7387350" y="1601626"/>
              <a:ext cx="400320" cy="399656"/>
            </a:xfrm>
            <a:custGeom>
              <a:avLst/>
              <a:gdLst>
                <a:gd name="connsiteX0" fmla="*/ 471633 w 505251"/>
                <a:gd name="connsiteY0" fmla="*/ 504415 h 504414"/>
                <a:gd name="connsiteX1" fmla="*/ 451530 w 505251"/>
                <a:gd name="connsiteY1" fmla="*/ 485859 h 504414"/>
                <a:gd name="connsiteX2" fmla="*/ 247414 w 505251"/>
                <a:gd name="connsiteY2" fmla="*/ 262413 h 504414"/>
                <a:gd name="connsiteX3" fmla="*/ 247414 w 505251"/>
                <a:gd name="connsiteY3" fmla="*/ 344369 h 504414"/>
                <a:gd name="connsiteX4" fmla="*/ 235816 w 505251"/>
                <a:gd name="connsiteY4" fmla="*/ 362925 h 504414"/>
                <a:gd name="connsiteX5" fmla="*/ 214168 w 505251"/>
                <a:gd name="connsiteY5" fmla="*/ 360606 h 504414"/>
                <a:gd name="connsiteX6" fmla="*/ 7732 w 505251"/>
                <a:gd name="connsiteY6" fmla="*/ 198240 h 504414"/>
                <a:gd name="connsiteX7" fmla="*/ 0 w 505251"/>
                <a:gd name="connsiteY7" fmla="*/ 182004 h 504414"/>
                <a:gd name="connsiteX8" fmla="*/ 7732 w 505251"/>
                <a:gd name="connsiteY8" fmla="*/ 165767 h 504414"/>
                <a:gd name="connsiteX9" fmla="*/ 214168 w 505251"/>
                <a:gd name="connsiteY9" fmla="*/ 4175 h 504414"/>
                <a:gd name="connsiteX10" fmla="*/ 235816 w 505251"/>
                <a:gd name="connsiteY10" fmla="*/ 1856 h 504414"/>
                <a:gd name="connsiteX11" fmla="*/ 247414 w 505251"/>
                <a:gd name="connsiteY11" fmla="*/ 20412 h 504414"/>
                <a:gd name="connsiteX12" fmla="*/ 247414 w 505251"/>
                <a:gd name="connsiteY12" fmla="*/ 90770 h 504414"/>
                <a:gd name="connsiteX13" fmla="*/ 456170 w 505251"/>
                <a:gd name="connsiteY13" fmla="*/ 207518 h 504414"/>
                <a:gd name="connsiteX14" fmla="*/ 492508 w 505251"/>
                <a:gd name="connsiteY14" fmla="*/ 483539 h 504414"/>
                <a:gd name="connsiteX15" fmla="*/ 491735 w 505251"/>
                <a:gd name="connsiteY15" fmla="*/ 486632 h 504414"/>
                <a:gd name="connsiteX16" fmla="*/ 471633 w 505251"/>
                <a:gd name="connsiteY16" fmla="*/ 504415 h 504414"/>
                <a:gd name="connsiteX17" fmla="*/ 471633 w 505251"/>
                <a:gd name="connsiteY17" fmla="*/ 504415 h 504414"/>
                <a:gd name="connsiteX18" fmla="*/ 471633 w 505251"/>
                <a:gd name="connsiteY18" fmla="*/ 504415 h 504414"/>
                <a:gd name="connsiteX19" fmla="*/ 226538 w 505251"/>
                <a:gd name="connsiteY19" fmla="*/ 219116 h 504414"/>
                <a:gd name="connsiteX20" fmla="*/ 228085 w 505251"/>
                <a:gd name="connsiteY20" fmla="*/ 219116 h 504414"/>
                <a:gd name="connsiteX21" fmla="*/ 463901 w 505251"/>
                <a:gd name="connsiteY21" fmla="*/ 373749 h 504414"/>
                <a:gd name="connsiteX22" fmla="*/ 422150 w 505251"/>
                <a:gd name="connsiteY22" fmla="*/ 230713 h 504414"/>
                <a:gd name="connsiteX23" fmla="*/ 223446 w 505251"/>
                <a:gd name="connsiteY23" fmla="*/ 128655 h 504414"/>
                <a:gd name="connsiteX24" fmla="*/ 205663 w 505251"/>
                <a:gd name="connsiteY24" fmla="*/ 108553 h 504414"/>
                <a:gd name="connsiteX25" fmla="*/ 205663 w 505251"/>
                <a:gd name="connsiteY25" fmla="*/ 62163 h 504414"/>
                <a:gd name="connsiteX26" fmla="*/ 53349 w 505251"/>
                <a:gd name="connsiteY26" fmla="*/ 182004 h 504414"/>
                <a:gd name="connsiteX27" fmla="*/ 205663 w 505251"/>
                <a:gd name="connsiteY27" fmla="*/ 301845 h 504414"/>
                <a:gd name="connsiteX28" fmla="*/ 205663 w 505251"/>
                <a:gd name="connsiteY28" fmla="*/ 239991 h 504414"/>
                <a:gd name="connsiteX29" fmla="*/ 211848 w 505251"/>
                <a:gd name="connsiteY29" fmla="*/ 225301 h 504414"/>
                <a:gd name="connsiteX30" fmla="*/ 226538 w 505251"/>
                <a:gd name="connsiteY30" fmla="*/ 219116 h 504414"/>
                <a:gd name="connsiteX31" fmla="*/ 226538 w 505251"/>
                <a:gd name="connsiteY31" fmla="*/ 219116 h 504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05251" h="504414">
                  <a:moveTo>
                    <a:pt x="471633" y="504415"/>
                  </a:moveTo>
                  <a:cubicBezTo>
                    <a:pt x="461581" y="504415"/>
                    <a:pt x="452304" y="495910"/>
                    <a:pt x="451530" y="485859"/>
                  </a:cubicBezTo>
                  <a:cubicBezTo>
                    <a:pt x="432201" y="318081"/>
                    <a:pt x="323184" y="273238"/>
                    <a:pt x="247414" y="262413"/>
                  </a:cubicBezTo>
                  <a:lnTo>
                    <a:pt x="247414" y="344369"/>
                  </a:lnTo>
                  <a:cubicBezTo>
                    <a:pt x="247414" y="352101"/>
                    <a:pt x="242775" y="359059"/>
                    <a:pt x="235816" y="362925"/>
                  </a:cubicBezTo>
                  <a:cubicBezTo>
                    <a:pt x="228858" y="366018"/>
                    <a:pt x="220353" y="365245"/>
                    <a:pt x="214168" y="360606"/>
                  </a:cubicBezTo>
                  <a:lnTo>
                    <a:pt x="7732" y="198240"/>
                  </a:lnTo>
                  <a:cubicBezTo>
                    <a:pt x="3093" y="194374"/>
                    <a:pt x="0" y="188189"/>
                    <a:pt x="0" y="182004"/>
                  </a:cubicBezTo>
                  <a:cubicBezTo>
                    <a:pt x="0" y="175818"/>
                    <a:pt x="3093" y="169633"/>
                    <a:pt x="7732" y="165767"/>
                  </a:cubicBezTo>
                  <a:lnTo>
                    <a:pt x="214168" y="4175"/>
                  </a:lnTo>
                  <a:cubicBezTo>
                    <a:pt x="220353" y="-464"/>
                    <a:pt x="228858" y="-1237"/>
                    <a:pt x="235816" y="1856"/>
                  </a:cubicBezTo>
                  <a:cubicBezTo>
                    <a:pt x="242775" y="4948"/>
                    <a:pt x="247414" y="12680"/>
                    <a:pt x="247414" y="20412"/>
                  </a:cubicBezTo>
                  <a:lnTo>
                    <a:pt x="247414" y="90770"/>
                  </a:lnTo>
                  <a:cubicBezTo>
                    <a:pt x="342513" y="106233"/>
                    <a:pt x="412871" y="145665"/>
                    <a:pt x="456170" y="207518"/>
                  </a:cubicBezTo>
                  <a:cubicBezTo>
                    <a:pt x="504879" y="277103"/>
                    <a:pt x="518023" y="375296"/>
                    <a:pt x="492508" y="483539"/>
                  </a:cubicBezTo>
                  <a:lnTo>
                    <a:pt x="491735" y="486632"/>
                  </a:lnTo>
                  <a:cubicBezTo>
                    <a:pt x="490962" y="496683"/>
                    <a:pt x="482457" y="504415"/>
                    <a:pt x="471633" y="504415"/>
                  </a:cubicBezTo>
                  <a:cubicBezTo>
                    <a:pt x="471633" y="504415"/>
                    <a:pt x="471633" y="504415"/>
                    <a:pt x="471633" y="504415"/>
                  </a:cubicBezTo>
                  <a:lnTo>
                    <a:pt x="471633" y="504415"/>
                  </a:lnTo>
                  <a:close/>
                  <a:moveTo>
                    <a:pt x="226538" y="219116"/>
                  </a:moveTo>
                  <a:cubicBezTo>
                    <a:pt x="227312" y="219116"/>
                    <a:pt x="227312" y="219116"/>
                    <a:pt x="228085" y="219116"/>
                  </a:cubicBezTo>
                  <a:cubicBezTo>
                    <a:pt x="285299" y="222982"/>
                    <a:pt x="406687" y="246177"/>
                    <a:pt x="463901" y="373749"/>
                  </a:cubicBezTo>
                  <a:cubicBezTo>
                    <a:pt x="463127" y="326586"/>
                    <a:pt x="453077" y="274784"/>
                    <a:pt x="422150" y="230713"/>
                  </a:cubicBezTo>
                  <a:cubicBezTo>
                    <a:pt x="383492" y="175045"/>
                    <a:pt x="316226" y="140253"/>
                    <a:pt x="223446" y="128655"/>
                  </a:cubicBezTo>
                  <a:cubicBezTo>
                    <a:pt x="213395" y="127109"/>
                    <a:pt x="205663" y="118604"/>
                    <a:pt x="205663" y="108553"/>
                  </a:cubicBezTo>
                  <a:lnTo>
                    <a:pt x="205663" y="62163"/>
                  </a:lnTo>
                  <a:lnTo>
                    <a:pt x="53349" y="182004"/>
                  </a:lnTo>
                  <a:lnTo>
                    <a:pt x="205663" y="301845"/>
                  </a:lnTo>
                  <a:lnTo>
                    <a:pt x="205663" y="239991"/>
                  </a:lnTo>
                  <a:cubicBezTo>
                    <a:pt x="205663" y="234579"/>
                    <a:pt x="207982" y="229167"/>
                    <a:pt x="211848" y="225301"/>
                  </a:cubicBezTo>
                  <a:cubicBezTo>
                    <a:pt x="216487" y="220662"/>
                    <a:pt x="221899" y="219116"/>
                    <a:pt x="226538" y="219116"/>
                  </a:cubicBezTo>
                  <a:lnTo>
                    <a:pt x="226538" y="219116"/>
                  </a:lnTo>
                  <a:close/>
                </a:path>
              </a:pathLst>
            </a:custGeom>
            <a:solidFill>
              <a:srgbClr val="B1B1A1"/>
            </a:solidFill>
            <a:ln w="7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217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3406094" y="1606159"/>
              <a:ext cx="388385" cy="388385"/>
              <a:chOff x="2701018" y="1268768"/>
              <a:chExt cx="490188" cy="490188"/>
            </a:xfrm>
            <a:solidFill>
              <a:srgbClr val="B1B1A1"/>
            </a:solidFill>
          </p:grpSpPr>
          <p:sp>
            <p:nvSpPr>
              <p:cNvPr id="218" name="Forma Livre: Forma 217">
                <a:extLst>
                  <a:ext uri="{FF2B5EF4-FFF2-40B4-BE49-F238E27FC236}">
                    <a16:creationId xmlns:a16="http://schemas.microsoft.com/office/drawing/2014/main" id="{F85DE808-9C77-4219-B3E6-C1952A786442}"/>
                  </a:ext>
                </a:extLst>
              </p:cNvPr>
              <p:cNvSpPr/>
              <p:nvPr/>
            </p:nvSpPr>
            <p:spPr>
              <a:xfrm>
                <a:off x="2925237" y="1268768"/>
                <a:ext cx="41751" cy="490188"/>
              </a:xfrm>
              <a:custGeom>
                <a:avLst/>
                <a:gdLst>
                  <a:gd name="connsiteX0" fmla="*/ 20876 w 41751"/>
                  <a:gd name="connsiteY0" fmla="*/ 490188 h 490188"/>
                  <a:gd name="connsiteX1" fmla="*/ 0 w 41751"/>
                  <a:gd name="connsiteY1" fmla="*/ 469313 h 490188"/>
                  <a:gd name="connsiteX2" fmla="*/ 0 w 41751"/>
                  <a:gd name="connsiteY2" fmla="*/ 20876 h 490188"/>
                  <a:gd name="connsiteX3" fmla="*/ 20876 w 41751"/>
                  <a:gd name="connsiteY3" fmla="*/ 0 h 490188"/>
                  <a:gd name="connsiteX4" fmla="*/ 41751 w 41751"/>
                  <a:gd name="connsiteY4" fmla="*/ 20876 h 490188"/>
                  <a:gd name="connsiteX5" fmla="*/ 41751 w 41751"/>
                  <a:gd name="connsiteY5" fmla="*/ 469313 h 490188"/>
                  <a:gd name="connsiteX6" fmla="*/ 20876 w 41751"/>
                  <a:gd name="connsiteY6" fmla="*/ 490188 h 490188"/>
                  <a:gd name="connsiteX7" fmla="*/ 20876 w 41751"/>
                  <a:gd name="connsiteY7" fmla="*/ 490188 h 490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51" h="490188">
                    <a:moveTo>
                      <a:pt x="20876" y="490188"/>
                    </a:moveTo>
                    <a:cubicBezTo>
                      <a:pt x="9278" y="490188"/>
                      <a:pt x="0" y="480910"/>
                      <a:pt x="0" y="469313"/>
                    </a:cubicBezTo>
                    <a:lnTo>
                      <a:pt x="0" y="20876"/>
                    </a:lnTo>
                    <a:cubicBezTo>
                      <a:pt x="0" y="9278"/>
                      <a:pt x="9278" y="0"/>
                      <a:pt x="20876" y="0"/>
                    </a:cubicBezTo>
                    <a:cubicBezTo>
                      <a:pt x="32473" y="0"/>
                      <a:pt x="41751" y="9278"/>
                      <a:pt x="41751" y="20876"/>
                    </a:cubicBezTo>
                    <a:lnTo>
                      <a:pt x="41751" y="469313"/>
                    </a:lnTo>
                    <a:cubicBezTo>
                      <a:pt x="41751" y="481684"/>
                      <a:pt x="32473" y="490188"/>
                      <a:pt x="20876" y="490188"/>
                    </a:cubicBezTo>
                    <a:lnTo>
                      <a:pt x="20876" y="490188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19" name="Forma Livre: Forma 218">
                <a:extLst>
                  <a:ext uri="{FF2B5EF4-FFF2-40B4-BE49-F238E27FC236}">
                    <a16:creationId xmlns:a16="http://schemas.microsoft.com/office/drawing/2014/main" id="{DBFD95A7-DB96-4489-8111-8AAB28A13B2A}"/>
                  </a:ext>
                </a:extLst>
              </p:cNvPr>
              <p:cNvSpPr/>
              <p:nvPr/>
            </p:nvSpPr>
            <p:spPr>
              <a:xfrm>
                <a:off x="2701018" y="1492987"/>
                <a:ext cx="490188" cy="41751"/>
              </a:xfrm>
              <a:custGeom>
                <a:avLst/>
                <a:gdLst>
                  <a:gd name="connsiteX0" fmla="*/ 469313 w 490188"/>
                  <a:gd name="connsiteY0" fmla="*/ 41751 h 41751"/>
                  <a:gd name="connsiteX1" fmla="*/ 20876 w 490188"/>
                  <a:gd name="connsiteY1" fmla="*/ 41751 h 41751"/>
                  <a:gd name="connsiteX2" fmla="*/ 0 w 490188"/>
                  <a:gd name="connsiteY2" fmla="*/ 20876 h 41751"/>
                  <a:gd name="connsiteX3" fmla="*/ 20876 w 490188"/>
                  <a:gd name="connsiteY3" fmla="*/ 0 h 41751"/>
                  <a:gd name="connsiteX4" fmla="*/ 469313 w 490188"/>
                  <a:gd name="connsiteY4" fmla="*/ 0 h 41751"/>
                  <a:gd name="connsiteX5" fmla="*/ 490188 w 490188"/>
                  <a:gd name="connsiteY5" fmla="*/ 20876 h 41751"/>
                  <a:gd name="connsiteX6" fmla="*/ 469313 w 490188"/>
                  <a:gd name="connsiteY6" fmla="*/ 41751 h 41751"/>
                  <a:gd name="connsiteX7" fmla="*/ 469313 w 490188"/>
                  <a:gd name="connsiteY7" fmla="*/ 41751 h 41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90188" h="41751">
                    <a:moveTo>
                      <a:pt x="469313" y="41751"/>
                    </a:moveTo>
                    <a:lnTo>
                      <a:pt x="20876" y="41751"/>
                    </a:lnTo>
                    <a:cubicBezTo>
                      <a:pt x="9278" y="41751"/>
                      <a:pt x="0" y="32473"/>
                      <a:pt x="0" y="20876"/>
                    </a:cubicBezTo>
                    <a:cubicBezTo>
                      <a:pt x="0" y="9278"/>
                      <a:pt x="9278" y="0"/>
                      <a:pt x="20876" y="0"/>
                    </a:cubicBezTo>
                    <a:lnTo>
                      <a:pt x="469313" y="0"/>
                    </a:lnTo>
                    <a:cubicBezTo>
                      <a:pt x="480911" y="0"/>
                      <a:pt x="490188" y="9278"/>
                      <a:pt x="490188" y="20876"/>
                    </a:cubicBezTo>
                    <a:cubicBezTo>
                      <a:pt x="490188" y="32473"/>
                      <a:pt x="480911" y="41751"/>
                      <a:pt x="469313" y="41751"/>
                    </a:cubicBezTo>
                    <a:lnTo>
                      <a:pt x="469313" y="41751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220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5454306" y="1658536"/>
              <a:ext cx="284244" cy="284550"/>
              <a:chOff x="5286106" y="1334874"/>
              <a:chExt cx="358750" cy="359136"/>
            </a:xfrm>
            <a:solidFill>
              <a:srgbClr val="B1B1A1"/>
            </a:solidFill>
          </p:grpSpPr>
          <p:sp>
            <p:nvSpPr>
              <p:cNvPr id="221" name="Forma Livre: Forma 220">
                <a:extLst>
                  <a:ext uri="{FF2B5EF4-FFF2-40B4-BE49-F238E27FC236}">
                    <a16:creationId xmlns:a16="http://schemas.microsoft.com/office/drawing/2014/main" id="{EED90459-6325-4469-BFC2-ECE37A2A9B84}"/>
                  </a:ext>
                </a:extLst>
              </p:cNvPr>
              <p:cNvSpPr/>
              <p:nvPr/>
            </p:nvSpPr>
            <p:spPr>
              <a:xfrm>
                <a:off x="5286106" y="1334874"/>
                <a:ext cx="357976" cy="358363"/>
              </a:xfrm>
              <a:custGeom>
                <a:avLst/>
                <a:gdLst>
                  <a:gd name="connsiteX0" fmla="*/ 20489 w 357976"/>
                  <a:gd name="connsiteY0" fmla="*/ 358363 h 358363"/>
                  <a:gd name="connsiteX1" fmla="*/ 5799 w 357976"/>
                  <a:gd name="connsiteY1" fmla="*/ 352178 h 358363"/>
                  <a:gd name="connsiteX2" fmla="*/ 5799 w 357976"/>
                  <a:gd name="connsiteY2" fmla="*/ 322798 h 358363"/>
                  <a:gd name="connsiteX3" fmla="*/ 322798 w 357976"/>
                  <a:gd name="connsiteY3" fmla="*/ 5799 h 358363"/>
                  <a:gd name="connsiteX4" fmla="*/ 352178 w 357976"/>
                  <a:gd name="connsiteY4" fmla="*/ 5799 h 358363"/>
                  <a:gd name="connsiteX5" fmla="*/ 352178 w 357976"/>
                  <a:gd name="connsiteY5" fmla="*/ 35179 h 358363"/>
                  <a:gd name="connsiteX6" fmla="*/ 35179 w 357976"/>
                  <a:gd name="connsiteY6" fmla="*/ 352178 h 358363"/>
                  <a:gd name="connsiteX7" fmla="*/ 20489 w 357976"/>
                  <a:gd name="connsiteY7" fmla="*/ 358363 h 358363"/>
                  <a:gd name="connsiteX8" fmla="*/ 20489 w 357976"/>
                  <a:gd name="connsiteY8" fmla="*/ 358363 h 358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7976" h="358363">
                    <a:moveTo>
                      <a:pt x="20489" y="358363"/>
                    </a:moveTo>
                    <a:cubicBezTo>
                      <a:pt x="15077" y="358363"/>
                      <a:pt x="9665" y="356044"/>
                      <a:pt x="5799" y="352178"/>
                    </a:cubicBezTo>
                    <a:cubicBezTo>
                      <a:pt x="-1933" y="344446"/>
                      <a:pt x="-1933" y="331303"/>
                      <a:pt x="5799" y="322798"/>
                    </a:cubicBezTo>
                    <a:lnTo>
                      <a:pt x="322798" y="5799"/>
                    </a:lnTo>
                    <a:cubicBezTo>
                      <a:pt x="330529" y="-1933"/>
                      <a:pt x="343673" y="-1933"/>
                      <a:pt x="352178" y="5799"/>
                    </a:cubicBezTo>
                    <a:cubicBezTo>
                      <a:pt x="359910" y="13530"/>
                      <a:pt x="359910" y="26674"/>
                      <a:pt x="352178" y="35179"/>
                    </a:cubicBezTo>
                    <a:lnTo>
                      <a:pt x="35179" y="352178"/>
                    </a:lnTo>
                    <a:cubicBezTo>
                      <a:pt x="31313" y="356817"/>
                      <a:pt x="25901" y="358363"/>
                      <a:pt x="20489" y="358363"/>
                    </a:cubicBezTo>
                    <a:lnTo>
                      <a:pt x="20489" y="358363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22" name="Forma Livre: Forma 221">
                <a:extLst>
                  <a:ext uri="{FF2B5EF4-FFF2-40B4-BE49-F238E27FC236}">
                    <a16:creationId xmlns:a16="http://schemas.microsoft.com/office/drawing/2014/main" id="{22E7E60E-32BD-42DB-BBD3-87F89FD2A7E5}"/>
                  </a:ext>
                </a:extLst>
              </p:cNvPr>
              <p:cNvSpPr/>
              <p:nvPr/>
            </p:nvSpPr>
            <p:spPr>
              <a:xfrm>
                <a:off x="5286879" y="1335647"/>
                <a:ext cx="357977" cy="358363"/>
              </a:xfrm>
              <a:custGeom>
                <a:avLst/>
                <a:gdLst>
                  <a:gd name="connsiteX0" fmla="*/ 337488 w 357977"/>
                  <a:gd name="connsiteY0" fmla="*/ 358363 h 358363"/>
                  <a:gd name="connsiteX1" fmla="*/ 322798 w 357977"/>
                  <a:gd name="connsiteY1" fmla="*/ 352178 h 358363"/>
                  <a:gd name="connsiteX2" fmla="*/ 5799 w 357977"/>
                  <a:gd name="connsiteY2" fmla="*/ 35179 h 358363"/>
                  <a:gd name="connsiteX3" fmla="*/ 5799 w 357977"/>
                  <a:gd name="connsiteY3" fmla="*/ 5799 h 358363"/>
                  <a:gd name="connsiteX4" fmla="*/ 35180 w 357977"/>
                  <a:gd name="connsiteY4" fmla="*/ 5799 h 358363"/>
                  <a:gd name="connsiteX5" fmla="*/ 352178 w 357977"/>
                  <a:gd name="connsiteY5" fmla="*/ 322798 h 358363"/>
                  <a:gd name="connsiteX6" fmla="*/ 352178 w 357977"/>
                  <a:gd name="connsiteY6" fmla="*/ 352178 h 358363"/>
                  <a:gd name="connsiteX7" fmla="*/ 337488 w 357977"/>
                  <a:gd name="connsiteY7" fmla="*/ 358363 h 358363"/>
                  <a:gd name="connsiteX8" fmla="*/ 337488 w 357977"/>
                  <a:gd name="connsiteY8" fmla="*/ 358363 h 358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7977" h="358363">
                    <a:moveTo>
                      <a:pt x="337488" y="358363"/>
                    </a:moveTo>
                    <a:cubicBezTo>
                      <a:pt x="332076" y="358363"/>
                      <a:pt x="326663" y="356044"/>
                      <a:pt x="322798" y="352178"/>
                    </a:cubicBezTo>
                    <a:lnTo>
                      <a:pt x="5799" y="35179"/>
                    </a:lnTo>
                    <a:cubicBezTo>
                      <a:pt x="-1933" y="27447"/>
                      <a:pt x="-1933" y="14304"/>
                      <a:pt x="5799" y="5799"/>
                    </a:cubicBezTo>
                    <a:cubicBezTo>
                      <a:pt x="13530" y="-1933"/>
                      <a:pt x="26674" y="-1933"/>
                      <a:pt x="35180" y="5799"/>
                    </a:cubicBezTo>
                    <a:lnTo>
                      <a:pt x="352178" y="322798"/>
                    </a:lnTo>
                    <a:cubicBezTo>
                      <a:pt x="359910" y="330529"/>
                      <a:pt x="359910" y="343673"/>
                      <a:pt x="352178" y="352178"/>
                    </a:cubicBezTo>
                    <a:cubicBezTo>
                      <a:pt x="347539" y="356044"/>
                      <a:pt x="342900" y="358363"/>
                      <a:pt x="337488" y="358363"/>
                    </a:cubicBezTo>
                    <a:lnTo>
                      <a:pt x="337488" y="358363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223" name="Forma Livre: Forma 222">
              <a:extLst>
                <a:ext uri="{FF2B5EF4-FFF2-40B4-BE49-F238E27FC236}">
                  <a16:creationId xmlns:a16="http://schemas.microsoft.com/office/drawing/2014/main" id="{2A85A3C3-5A16-4940-A41A-B6F7877BFF37}"/>
                </a:ext>
              </a:extLst>
            </p:cNvPr>
            <p:cNvSpPr/>
            <p:nvPr/>
          </p:nvSpPr>
          <p:spPr>
            <a:xfrm>
              <a:off x="4406462" y="1783812"/>
              <a:ext cx="388385" cy="33080"/>
            </a:xfrm>
            <a:custGeom>
              <a:avLst/>
              <a:gdLst>
                <a:gd name="connsiteX0" fmla="*/ 469313 w 490188"/>
                <a:gd name="connsiteY0" fmla="*/ 41751 h 41751"/>
                <a:gd name="connsiteX1" fmla="*/ 20875 w 490188"/>
                <a:gd name="connsiteY1" fmla="*/ 41751 h 41751"/>
                <a:gd name="connsiteX2" fmla="*/ 0 w 490188"/>
                <a:gd name="connsiteY2" fmla="*/ 20876 h 41751"/>
                <a:gd name="connsiteX3" fmla="*/ 20875 w 490188"/>
                <a:gd name="connsiteY3" fmla="*/ 0 h 41751"/>
                <a:gd name="connsiteX4" fmla="*/ 469313 w 490188"/>
                <a:gd name="connsiteY4" fmla="*/ 0 h 41751"/>
                <a:gd name="connsiteX5" fmla="*/ 490188 w 490188"/>
                <a:gd name="connsiteY5" fmla="*/ 20876 h 41751"/>
                <a:gd name="connsiteX6" fmla="*/ 469313 w 490188"/>
                <a:gd name="connsiteY6" fmla="*/ 41751 h 41751"/>
                <a:gd name="connsiteX7" fmla="*/ 469313 w 490188"/>
                <a:gd name="connsiteY7" fmla="*/ 41751 h 41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0188" h="41751">
                  <a:moveTo>
                    <a:pt x="469313" y="41751"/>
                  </a:moveTo>
                  <a:lnTo>
                    <a:pt x="20875" y="41751"/>
                  </a:lnTo>
                  <a:cubicBezTo>
                    <a:pt x="9278" y="41751"/>
                    <a:pt x="0" y="32473"/>
                    <a:pt x="0" y="20876"/>
                  </a:cubicBezTo>
                  <a:cubicBezTo>
                    <a:pt x="0" y="9278"/>
                    <a:pt x="9278" y="0"/>
                    <a:pt x="20875" y="0"/>
                  </a:cubicBezTo>
                  <a:lnTo>
                    <a:pt x="469313" y="0"/>
                  </a:lnTo>
                  <a:cubicBezTo>
                    <a:pt x="480911" y="0"/>
                    <a:pt x="490188" y="9278"/>
                    <a:pt x="490188" y="20876"/>
                  </a:cubicBezTo>
                  <a:cubicBezTo>
                    <a:pt x="490188" y="32473"/>
                    <a:pt x="480911" y="41751"/>
                    <a:pt x="469313" y="41751"/>
                  </a:cubicBezTo>
                  <a:lnTo>
                    <a:pt x="469313" y="41751"/>
                  </a:lnTo>
                  <a:close/>
                </a:path>
              </a:pathLst>
            </a:custGeom>
            <a:solidFill>
              <a:srgbClr val="B1B1A1"/>
            </a:solidFill>
            <a:ln w="7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24" name="Forma Livre: Forma 223">
              <a:extLst>
                <a:ext uri="{FF2B5EF4-FFF2-40B4-BE49-F238E27FC236}">
                  <a16:creationId xmlns:a16="http://schemas.microsoft.com/office/drawing/2014/main" id="{68B3F600-94F4-4DE2-B916-7072BA11C4E6}"/>
                </a:ext>
              </a:extLst>
            </p:cNvPr>
            <p:cNvSpPr/>
            <p:nvPr/>
          </p:nvSpPr>
          <p:spPr>
            <a:xfrm>
              <a:off x="6400226" y="1639443"/>
              <a:ext cx="378000" cy="322634"/>
            </a:xfrm>
            <a:custGeom>
              <a:avLst/>
              <a:gdLst>
                <a:gd name="connsiteX0" fmla="*/ 156473 w 477081"/>
                <a:gd name="connsiteY0" fmla="*/ 407203 h 407202"/>
                <a:gd name="connsiteX1" fmla="*/ 141783 w 477081"/>
                <a:gd name="connsiteY1" fmla="*/ 401017 h 407202"/>
                <a:gd name="connsiteX2" fmla="*/ 5706 w 477081"/>
                <a:gd name="connsiteY2" fmla="*/ 257981 h 407202"/>
                <a:gd name="connsiteX3" fmla="*/ 6479 w 477081"/>
                <a:gd name="connsiteY3" fmla="*/ 228601 h 407202"/>
                <a:gd name="connsiteX4" fmla="*/ 35859 w 477081"/>
                <a:gd name="connsiteY4" fmla="*/ 229374 h 407202"/>
                <a:gd name="connsiteX5" fmla="*/ 155700 w 477081"/>
                <a:gd name="connsiteY5" fmla="*/ 355401 h 407202"/>
                <a:gd name="connsiteX6" fmla="*/ 440999 w 477081"/>
                <a:gd name="connsiteY6" fmla="*/ 7475 h 407202"/>
                <a:gd name="connsiteX7" fmla="*/ 469606 w 477081"/>
                <a:gd name="connsiteY7" fmla="*/ 4382 h 407202"/>
                <a:gd name="connsiteX8" fmla="*/ 472699 w 477081"/>
                <a:gd name="connsiteY8" fmla="*/ 32990 h 407202"/>
                <a:gd name="connsiteX9" fmla="*/ 172710 w 477081"/>
                <a:gd name="connsiteY9" fmla="*/ 398698 h 407202"/>
                <a:gd name="connsiteX10" fmla="*/ 156473 w 477081"/>
                <a:gd name="connsiteY10" fmla="*/ 407203 h 407202"/>
                <a:gd name="connsiteX11" fmla="*/ 156473 w 477081"/>
                <a:gd name="connsiteY11" fmla="*/ 407203 h 407202"/>
                <a:gd name="connsiteX12" fmla="*/ 156473 w 477081"/>
                <a:gd name="connsiteY12" fmla="*/ 407203 h 407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77081" h="407202">
                  <a:moveTo>
                    <a:pt x="156473" y="407203"/>
                  </a:moveTo>
                  <a:cubicBezTo>
                    <a:pt x="151061" y="407203"/>
                    <a:pt x="145649" y="404883"/>
                    <a:pt x="141783" y="401017"/>
                  </a:cubicBezTo>
                  <a:lnTo>
                    <a:pt x="5706" y="257981"/>
                  </a:lnTo>
                  <a:cubicBezTo>
                    <a:pt x="-2026" y="249477"/>
                    <a:pt x="-2026" y="237106"/>
                    <a:pt x="6479" y="228601"/>
                  </a:cubicBezTo>
                  <a:cubicBezTo>
                    <a:pt x="14983" y="220869"/>
                    <a:pt x="27354" y="220869"/>
                    <a:pt x="35859" y="229374"/>
                  </a:cubicBezTo>
                  <a:lnTo>
                    <a:pt x="155700" y="355401"/>
                  </a:lnTo>
                  <a:lnTo>
                    <a:pt x="440999" y="7475"/>
                  </a:lnTo>
                  <a:cubicBezTo>
                    <a:pt x="447957" y="-1030"/>
                    <a:pt x="461101" y="-2576"/>
                    <a:pt x="469606" y="4382"/>
                  </a:cubicBezTo>
                  <a:cubicBezTo>
                    <a:pt x="478111" y="11341"/>
                    <a:pt x="479657" y="24485"/>
                    <a:pt x="472699" y="32990"/>
                  </a:cubicBezTo>
                  <a:lnTo>
                    <a:pt x="172710" y="398698"/>
                  </a:lnTo>
                  <a:cubicBezTo>
                    <a:pt x="168071" y="404110"/>
                    <a:pt x="162659" y="407203"/>
                    <a:pt x="156473" y="407203"/>
                  </a:cubicBezTo>
                  <a:cubicBezTo>
                    <a:pt x="156473" y="407203"/>
                    <a:pt x="156473" y="407203"/>
                    <a:pt x="156473" y="407203"/>
                  </a:cubicBezTo>
                  <a:lnTo>
                    <a:pt x="156473" y="407203"/>
                  </a:lnTo>
                  <a:close/>
                </a:path>
              </a:pathLst>
            </a:custGeom>
            <a:solidFill>
              <a:srgbClr val="B1B1A1"/>
            </a:solidFill>
            <a:ln w="7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225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3398743" y="4629316"/>
              <a:ext cx="403700" cy="382259"/>
              <a:chOff x="2691741" y="5084352"/>
              <a:chExt cx="509517" cy="482457"/>
            </a:xfrm>
            <a:solidFill>
              <a:srgbClr val="B1B1A1"/>
            </a:solidFill>
          </p:grpSpPr>
          <p:sp>
            <p:nvSpPr>
              <p:cNvPr id="226" name="Forma Livre: Forma 225">
                <a:extLst>
                  <a:ext uri="{FF2B5EF4-FFF2-40B4-BE49-F238E27FC236}">
                    <a16:creationId xmlns:a16="http://schemas.microsoft.com/office/drawing/2014/main" id="{3622D902-9D7C-4D80-BF34-7D3AAA270516}"/>
                  </a:ext>
                </a:extLst>
              </p:cNvPr>
              <p:cNvSpPr/>
              <p:nvPr/>
            </p:nvSpPr>
            <p:spPr>
              <a:xfrm>
                <a:off x="3050490" y="5084352"/>
                <a:ext cx="150767" cy="482457"/>
              </a:xfrm>
              <a:custGeom>
                <a:avLst/>
                <a:gdLst>
                  <a:gd name="connsiteX0" fmla="*/ 129892 w 150767"/>
                  <a:gd name="connsiteY0" fmla="*/ 482457 h 482457"/>
                  <a:gd name="connsiteX1" fmla="*/ 20875 w 150767"/>
                  <a:gd name="connsiteY1" fmla="*/ 482457 h 482457"/>
                  <a:gd name="connsiteX2" fmla="*/ 0 w 150767"/>
                  <a:gd name="connsiteY2" fmla="*/ 461581 h 482457"/>
                  <a:gd name="connsiteX3" fmla="*/ 0 w 150767"/>
                  <a:gd name="connsiteY3" fmla="*/ 20876 h 482457"/>
                  <a:gd name="connsiteX4" fmla="*/ 20875 w 150767"/>
                  <a:gd name="connsiteY4" fmla="*/ 0 h 482457"/>
                  <a:gd name="connsiteX5" fmla="*/ 129892 w 150767"/>
                  <a:gd name="connsiteY5" fmla="*/ 0 h 482457"/>
                  <a:gd name="connsiteX6" fmla="*/ 150768 w 150767"/>
                  <a:gd name="connsiteY6" fmla="*/ 20876 h 482457"/>
                  <a:gd name="connsiteX7" fmla="*/ 150768 w 150767"/>
                  <a:gd name="connsiteY7" fmla="*/ 461581 h 482457"/>
                  <a:gd name="connsiteX8" fmla="*/ 129892 w 150767"/>
                  <a:gd name="connsiteY8" fmla="*/ 482457 h 482457"/>
                  <a:gd name="connsiteX9" fmla="*/ 129892 w 150767"/>
                  <a:gd name="connsiteY9" fmla="*/ 482457 h 482457"/>
                  <a:gd name="connsiteX10" fmla="*/ 40978 w 150767"/>
                  <a:gd name="connsiteY10" fmla="*/ 441479 h 482457"/>
                  <a:gd name="connsiteX11" fmla="*/ 109017 w 150767"/>
                  <a:gd name="connsiteY11" fmla="*/ 441479 h 482457"/>
                  <a:gd name="connsiteX12" fmla="*/ 109017 w 150767"/>
                  <a:gd name="connsiteY12" fmla="*/ 41751 h 482457"/>
                  <a:gd name="connsiteX13" fmla="*/ 40978 w 150767"/>
                  <a:gd name="connsiteY13" fmla="*/ 41751 h 482457"/>
                  <a:gd name="connsiteX14" fmla="*/ 40978 w 150767"/>
                  <a:gd name="connsiteY14" fmla="*/ 441479 h 482457"/>
                  <a:gd name="connsiteX15" fmla="*/ 40978 w 150767"/>
                  <a:gd name="connsiteY15" fmla="*/ 441479 h 482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50767" h="482457">
                    <a:moveTo>
                      <a:pt x="129892" y="482457"/>
                    </a:moveTo>
                    <a:lnTo>
                      <a:pt x="20875" y="482457"/>
                    </a:lnTo>
                    <a:cubicBezTo>
                      <a:pt x="9278" y="482457"/>
                      <a:pt x="0" y="473179"/>
                      <a:pt x="0" y="461581"/>
                    </a:cubicBezTo>
                    <a:lnTo>
                      <a:pt x="0" y="20876"/>
                    </a:lnTo>
                    <a:cubicBezTo>
                      <a:pt x="0" y="9278"/>
                      <a:pt x="9278" y="0"/>
                      <a:pt x="20875" y="0"/>
                    </a:cubicBezTo>
                    <a:lnTo>
                      <a:pt x="129892" y="0"/>
                    </a:lnTo>
                    <a:cubicBezTo>
                      <a:pt x="141490" y="0"/>
                      <a:pt x="150768" y="9278"/>
                      <a:pt x="150768" y="20876"/>
                    </a:cubicBezTo>
                    <a:lnTo>
                      <a:pt x="150768" y="461581"/>
                    </a:lnTo>
                    <a:cubicBezTo>
                      <a:pt x="150768" y="473179"/>
                      <a:pt x="141490" y="482457"/>
                      <a:pt x="129892" y="482457"/>
                    </a:cubicBezTo>
                    <a:lnTo>
                      <a:pt x="129892" y="482457"/>
                    </a:lnTo>
                    <a:close/>
                    <a:moveTo>
                      <a:pt x="40978" y="441479"/>
                    </a:moveTo>
                    <a:lnTo>
                      <a:pt x="109017" y="441479"/>
                    </a:lnTo>
                    <a:lnTo>
                      <a:pt x="109017" y="41751"/>
                    </a:lnTo>
                    <a:lnTo>
                      <a:pt x="40978" y="41751"/>
                    </a:lnTo>
                    <a:lnTo>
                      <a:pt x="40978" y="441479"/>
                    </a:lnTo>
                    <a:lnTo>
                      <a:pt x="40978" y="441479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27" name="Forma Livre: Forma 226">
                <a:extLst>
                  <a:ext uri="{FF2B5EF4-FFF2-40B4-BE49-F238E27FC236}">
                    <a16:creationId xmlns:a16="http://schemas.microsoft.com/office/drawing/2014/main" id="{59C84968-FF02-4E97-8430-10C2A0850F20}"/>
                  </a:ext>
                </a:extLst>
              </p:cNvPr>
              <p:cNvSpPr/>
              <p:nvPr/>
            </p:nvSpPr>
            <p:spPr>
              <a:xfrm>
                <a:off x="2871115" y="5337178"/>
                <a:ext cx="150767" cy="229630"/>
              </a:xfrm>
              <a:custGeom>
                <a:avLst/>
                <a:gdLst>
                  <a:gd name="connsiteX0" fmla="*/ 129892 w 150767"/>
                  <a:gd name="connsiteY0" fmla="*/ 229631 h 229630"/>
                  <a:gd name="connsiteX1" fmla="*/ 20876 w 150767"/>
                  <a:gd name="connsiteY1" fmla="*/ 229631 h 229630"/>
                  <a:gd name="connsiteX2" fmla="*/ 0 w 150767"/>
                  <a:gd name="connsiteY2" fmla="*/ 208755 h 229630"/>
                  <a:gd name="connsiteX3" fmla="*/ 0 w 150767"/>
                  <a:gd name="connsiteY3" fmla="*/ 20876 h 229630"/>
                  <a:gd name="connsiteX4" fmla="*/ 20876 w 150767"/>
                  <a:gd name="connsiteY4" fmla="*/ 0 h 229630"/>
                  <a:gd name="connsiteX5" fmla="*/ 129892 w 150767"/>
                  <a:gd name="connsiteY5" fmla="*/ 0 h 229630"/>
                  <a:gd name="connsiteX6" fmla="*/ 150768 w 150767"/>
                  <a:gd name="connsiteY6" fmla="*/ 20876 h 229630"/>
                  <a:gd name="connsiteX7" fmla="*/ 150768 w 150767"/>
                  <a:gd name="connsiteY7" fmla="*/ 208755 h 229630"/>
                  <a:gd name="connsiteX8" fmla="*/ 129892 w 150767"/>
                  <a:gd name="connsiteY8" fmla="*/ 229631 h 229630"/>
                  <a:gd name="connsiteX9" fmla="*/ 129892 w 150767"/>
                  <a:gd name="connsiteY9" fmla="*/ 229631 h 229630"/>
                  <a:gd name="connsiteX10" fmla="*/ 40978 w 150767"/>
                  <a:gd name="connsiteY10" fmla="*/ 188653 h 229630"/>
                  <a:gd name="connsiteX11" fmla="*/ 109017 w 150767"/>
                  <a:gd name="connsiteY11" fmla="*/ 188653 h 229630"/>
                  <a:gd name="connsiteX12" fmla="*/ 109017 w 150767"/>
                  <a:gd name="connsiteY12" fmla="*/ 41751 h 229630"/>
                  <a:gd name="connsiteX13" fmla="*/ 40978 w 150767"/>
                  <a:gd name="connsiteY13" fmla="*/ 41751 h 229630"/>
                  <a:gd name="connsiteX14" fmla="*/ 40978 w 150767"/>
                  <a:gd name="connsiteY14" fmla="*/ 188653 h 229630"/>
                  <a:gd name="connsiteX15" fmla="*/ 40978 w 150767"/>
                  <a:gd name="connsiteY15" fmla="*/ 188653 h 2296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50767" h="229630">
                    <a:moveTo>
                      <a:pt x="129892" y="229631"/>
                    </a:moveTo>
                    <a:lnTo>
                      <a:pt x="20876" y="229631"/>
                    </a:lnTo>
                    <a:cubicBezTo>
                      <a:pt x="9278" y="229631"/>
                      <a:pt x="0" y="220353"/>
                      <a:pt x="0" y="208755"/>
                    </a:cubicBezTo>
                    <a:lnTo>
                      <a:pt x="0" y="20876"/>
                    </a:lnTo>
                    <a:cubicBezTo>
                      <a:pt x="0" y="9278"/>
                      <a:pt x="9278" y="0"/>
                      <a:pt x="20876" y="0"/>
                    </a:cubicBezTo>
                    <a:lnTo>
                      <a:pt x="129892" y="0"/>
                    </a:lnTo>
                    <a:cubicBezTo>
                      <a:pt x="141490" y="0"/>
                      <a:pt x="150768" y="9278"/>
                      <a:pt x="150768" y="20876"/>
                    </a:cubicBezTo>
                    <a:lnTo>
                      <a:pt x="150768" y="208755"/>
                    </a:lnTo>
                    <a:cubicBezTo>
                      <a:pt x="150768" y="220353"/>
                      <a:pt x="141490" y="229631"/>
                      <a:pt x="129892" y="229631"/>
                    </a:cubicBezTo>
                    <a:lnTo>
                      <a:pt x="129892" y="229631"/>
                    </a:lnTo>
                    <a:close/>
                    <a:moveTo>
                      <a:pt x="40978" y="188653"/>
                    </a:moveTo>
                    <a:lnTo>
                      <a:pt x="109017" y="188653"/>
                    </a:lnTo>
                    <a:lnTo>
                      <a:pt x="109017" y="41751"/>
                    </a:lnTo>
                    <a:lnTo>
                      <a:pt x="40978" y="41751"/>
                    </a:lnTo>
                    <a:lnTo>
                      <a:pt x="40978" y="188653"/>
                    </a:lnTo>
                    <a:lnTo>
                      <a:pt x="40978" y="188653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28" name="Forma Livre: Forma 227">
                <a:extLst>
                  <a:ext uri="{FF2B5EF4-FFF2-40B4-BE49-F238E27FC236}">
                    <a16:creationId xmlns:a16="http://schemas.microsoft.com/office/drawing/2014/main" id="{64169FDA-6EAC-42CF-AFC9-D2220F5359B6}"/>
                  </a:ext>
                </a:extLst>
              </p:cNvPr>
              <p:cNvSpPr/>
              <p:nvPr/>
            </p:nvSpPr>
            <p:spPr>
              <a:xfrm>
                <a:off x="2691741" y="5244398"/>
                <a:ext cx="150767" cy="322411"/>
              </a:xfrm>
              <a:custGeom>
                <a:avLst/>
                <a:gdLst>
                  <a:gd name="connsiteX0" fmla="*/ 129892 w 150767"/>
                  <a:gd name="connsiteY0" fmla="*/ 322411 h 322411"/>
                  <a:gd name="connsiteX1" fmla="*/ 20875 w 150767"/>
                  <a:gd name="connsiteY1" fmla="*/ 322411 h 322411"/>
                  <a:gd name="connsiteX2" fmla="*/ 0 w 150767"/>
                  <a:gd name="connsiteY2" fmla="*/ 301536 h 322411"/>
                  <a:gd name="connsiteX3" fmla="*/ 0 w 150767"/>
                  <a:gd name="connsiteY3" fmla="*/ 20876 h 322411"/>
                  <a:gd name="connsiteX4" fmla="*/ 20875 w 150767"/>
                  <a:gd name="connsiteY4" fmla="*/ 0 h 322411"/>
                  <a:gd name="connsiteX5" fmla="*/ 129892 w 150767"/>
                  <a:gd name="connsiteY5" fmla="*/ 0 h 322411"/>
                  <a:gd name="connsiteX6" fmla="*/ 150768 w 150767"/>
                  <a:gd name="connsiteY6" fmla="*/ 20876 h 322411"/>
                  <a:gd name="connsiteX7" fmla="*/ 150768 w 150767"/>
                  <a:gd name="connsiteY7" fmla="*/ 301536 h 322411"/>
                  <a:gd name="connsiteX8" fmla="*/ 129892 w 150767"/>
                  <a:gd name="connsiteY8" fmla="*/ 322411 h 322411"/>
                  <a:gd name="connsiteX9" fmla="*/ 129892 w 150767"/>
                  <a:gd name="connsiteY9" fmla="*/ 322411 h 322411"/>
                  <a:gd name="connsiteX10" fmla="*/ 40978 w 150767"/>
                  <a:gd name="connsiteY10" fmla="*/ 281433 h 322411"/>
                  <a:gd name="connsiteX11" fmla="*/ 109016 w 150767"/>
                  <a:gd name="connsiteY11" fmla="*/ 281433 h 322411"/>
                  <a:gd name="connsiteX12" fmla="*/ 109016 w 150767"/>
                  <a:gd name="connsiteY12" fmla="*/ 41751 h 322411"/>
                  <a:gd name="connsiteX13" fmla="*/ 40978 w 150767"/>
                  <a:gd name="connsiteY13" fmla="*/ 41751 h 322411"/>
                  <a:gd name="connsiteX14" fmla="*/ 40978 w 150767"/>
                  <a:gd name="connsiteY14" fmla="*/ 281433 h 322411"/>
                  <a:gd name="connsiteX15" fmla="*/ 40978 w 150767"/>
                  <a:gd name="connsiteY15" fmla="*/ 281433 h 3224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50767" h="322411">
                    <a:moveTo>
                      <a:pt x="129892" y="322411"/>
                    </a:moveTo>
                    <a:lnTo>
                      <a:pt x="20875" y="322411"/>
                    </a:lnTo>
                    <a:cubicBezTo>
                      <a:pt x="9278" y="322411"/>
                      <a:pt x="0" y="313133"/>
                      <a:pt x="0" y="301536"/>
                    </a:cubicBezTo>
                    <a:lnTo>
                      <a:pt x="0" y="20876"/>
                    </a:lnTo>
                    <a:cubicBezTo>
                      <a:pt x="0" y="9278"/>
                      <a:pt x="9278" y="0"/>
                      <a:pt x="20875" y="0"/>
                    </a:cubicBezTo>
                    <a:lnTo>
                      <a:pt x="129892" y="0"/>
                    </a:lnTo>
                    <a:cubicBezTo>
                      <a:pt x="141490" y="0"/>
                      <a:pt x="150768" y="9278"/>
                      <a:pt x="150768" y="20876"/>
                    </a:cubicBezTo>
                    <a:lnTo>
                      <a:pt x="150768" y="301536"/>
                    </a:lnTo>
                    <a:cubicBezTo>
                      <a:pt x="149995" y="313133"/>
                      <a:pt x="141490" y="322411"/>
                      <a:pt x="129892" y="322411"/>
                    </a:cubicBezTo>
                    <a:lnTo>
                      <a:pt x="129892" y="322411"/>
                    </a:lnTo>
                    <a:close/>
                    <a:moveTo>
                      <a:pt x="40978" y="281433"/>
                    </a:moveTo>
                    <a:lnTo>
                      <a:pt x="109016" y="281433"/>
                    </a:lnTo>
                    <a:lnTo>
                      <a:pt x="109016" y="41751"/>
                    </a:lnTo>
                    <a:lnTo>
                      <a:pt x="40978" y="41751"/>
                    </a:lnTo>
                    <a:lnTo>
                      <a:pt x="40978" y="281433"/>
                    </a:lnTo>
                    <a:lnTo>
                      <a:pt x="40978" y="281433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229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4409525" y="4629316"/>
              <a:ext cx="383602" cy="382871"/>
              <a:chOff x="3967468" y="5084352"/>
              <a:chExt cx="484151" cy="483229"/>
            </a:xfrm>
            <a:solidFill>
              <a:srgbClr val="B1B1A1"/>
            </a:solidFill>
          </p:grpSpPr>
          <p:sp>
            <p:nvSpPr>
              <p:cNvPr id="230" name="Forma Livre: Forma 229">
                <a:extLst>
                  <a:ext uri="{FF2B5EF4-FFF2-40B4-BE49-F238E27FC236}">
                    <a16:creationId xmlns:a16="http://schemas.microsoft.com/office/drawing/2014/main" id="{00BE2780-6211-4A5D-BCAB-347ACA709D7E}"/>
                  </a:ext>
                </a:extLst>
              </p:cNvPr>
              <p:cNvSpPr/>
              <p:nvPr/>
            </p:nvSpPr>
            <p:spPr>
              <a:xfrm>
                <a:off x="3967468" y="5084352"/>
                <a:ext cx="484151" cy="483229"/>
              </a:xfrm>
              <a:custGeom>
                <a:avLst/>
                <a:gdLst>
                  <a:gd name="connsiteX0" fmla="*/ 242001 w 484151"/>
                  <a:gd name="connsiteY0" fmla="*/ 483230 h 483229"/>
                  <a:gd name="connsiteX1" fmla="*/ 0 w 484151"/>
                  <a:gd name="connsiteY1" fmla="*/ 241229 h 483229"/>
                  <a:gd name="connsiteX2" fmla="*/ 226538 w 484151"/>
                  <a:gd name="connsiteY2" fmla="*/ 0 h 483229"/>
                  <a:gd name="connsiteX3" fmla="*/ 242001 w 484151"/>
                  <a:gd name="connsiteY3" fmla="*/ 5412 h 483229"/>
                  <a:gd name="connsiteX4" fmla="*/ 248187 w 484151"/>
                  <a:gd name="connsiteY4" fmla="*/ 20103 h 483229"/>
                  <a:gd name="connsiteX5" fmla="*/ 248187 w 484151"/>
                  <a:gd name="connsiteY5" fmla="*/ 235043 h 483229"/>
                  <a:gd name="connsiteX6" fmla="*/ 463901 w 484151"/>
                  <a:gd name="connsiteY6" fmla="*/ 235043 h 483229"/>
                  <a:gd name="connsiteX7" fmla="*/ 478591 w 484151"/>
                  <a:gd name="connsiteY7" fmla="*/ 241229 h 483229"/>
                  <a:gd name="connsiteX8" fmla="*/ 484003 w 484151"/>
                  <a:gd name="connsiteY8" fmla="*/ 256692 h 483229"/>
                  <a:gd name="connsiteX9" fmla="*/ 242001 w 484151"/>
                  <a:gd name="connsiteY9" fmla="*/ 483230 h 483229"/>
                  <a:gd name="connsiteX10" fmla="*/ 242001 w 484151"/>
                  <a:gd name="connsiteY10" fmla="*/ 483230 h 483229"/>
                  <a:gd name="connsiteX11" fmla="*/ 206436 w 484151"/>
                  <a:gd name="connsiteY11" fmla="*/ 42524 h 483229"/>
                  <a:gd name="connsiteX12" fmla="*/ 40205 w 484151"/>
                  <a:gd name="connsiteY12" fmla="*/ 240456 h 483229"/>
                  <a:gd name="connsiteX13" fmla="*/ 241229 w 484151"/>
                  <a:gd name="connsiteY13" fmla="*/ 441479 h 483229"/>
                  <a:gd name="connsiteX14" fmla="*/ 439159 w 484151"/>
                  <a:gd name="connsiteY14" fmla="*/ 275248 h 483229"/>
                  <a:gd name="connsiteX15" fmla="*/ 226538 w 484151"/>
                  <a:gd name="connsiteY15" fmla="*/ 275248 h 483229"/>
                  <a:gd name="connsiteX16" fmla="*/ 205662 w 484151"/>
                  <a:gd name="connsiteY16" fmla="*/ 254372 h 483229"/>
                  <a:gd name="connsiteX17" fmla="*/ 205662 w 484151"/>
                  <a:gd name="connsiteY17" fmla="*/ 42524 h 483229"/>
                  <a:gd name="connsiteX18" fmla="*/ 206436 w 484151"/>
                  <a:gd name="connsiteY18" fmla="*/ 42524 h 483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84151" h="483229">
                    <a:moveTo>
                      <a:pt x="242001" y="483230"/>
                    </a:moveTo>
                    <a:cubicBezTo>
                      <a:pt x="108244" y="483230"/>
                      <a:pt x="0" y="374214"/>
                      <a:pt x="0" y="241229"/>
                    </a:cubicBezTo>
                    <a:cubicBezTo>
                      <a:pt x="0" y="114429"/>
                      <a:pt x="99739" y="7732"/>
                      <a:pt x="226538" y="0"/>
                    </a:cubicBezTo>
                    <a:cubicBezTo>
                      <a:pt x="231950" y="0"/>
                      <a:pt x="238136" y="1546"/>
                      <a:pt x="242001" y="5412"/>
                    </a:cubicBezTo>
                    <a:cubicBezTo>
                      <a:pt x="245867" y="9278"/>
                      <a:pt x="248187" y="14690"/>
                      <a:pt x="248187" y="20103"/>
                    </a:cubicBezTo>
                    <a:lnTo>
                      <a:pt x="248187" y="235043"/>
                    </a:lnTo>
                    <a:lnTo>
                      <a:pt x="463901" y="235043"/>
                    </a:lnTo>
                    <a:cubicBezTo>
                      <a:pt x="469313" y="235043"/>
                      <a:pt x="474725" y="237363"/>
                      <a:pt x="478591" y="241229"/>
                    </a:cubicBezTo>
                    <a:cubicBezTo>
                      <a:pt x="482457" y="245094"/>
                      <a:pt x="484776" y="251280"/>
                      <a:pt x="484003" y="256692"/>
                    </a:cubicBezTo>
                    <a:cubicBezTo>
                      <a:pt x="474725" y="383492"/>
                      <a:pt x="368801" y="483230"/>
                      <a:pt x="242001" y="483230"/>
                    </a:cubicBezTo>
                    <a:lnTo>
                      <a:pt x="242001" y="483230"/>
                    </a:lnTo>
                    <a:close/>
                    <a:moveTo>
                      <a:pt x="206436" y="42524"/>
                    </a:moveTo>
                    <a:cubicBezTo>
                      <a:pt x="112109" y="59534"/>
                      <a:pt x="40205" y="142263"/>
                      <a:pt x="40205" y="240456"/>
                    </a:cubicBezTo>
                    <a:cubicBezTo>
                      <a:pt x="40205" y="351791"/>
                      <a:pt x="130665" y="441479"/>
                      <a:pt x="241229" y="441479"/>
                    </a:cubicBezTo>
                    <a:cubicBezTo>
                      <a:pt x="339420" y="441479"/>
                      <a:pt x="422150" y="370348"/>
                      <a:pt x="439159" y="275248"/>
                    </a:cubicBezTo>
                    <a:lnTo>
                      <a:pt x="226538" y="275248"/>
                    </a:lnTo>
                    <a:cubicBezTo>
                      <a:pt x="214941" y="275248"/>
                      <a:pt x="205662" y="265970"/>
                      <a:pt x="205662" y="254372"/>
                    </a:cubicBezTo>
                    <a:lnTo>
                      <a:pt x="205662" y="42524"/>
                    </a:lnTo>
                    <a:lnTo>
                      <a:pt x="206436" y="42524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31" name="Forma Livre: Forma 230">
                <a:extLst>
                  <a:ext uri="{FF2B5EF4-FFF2-40B4-BE49-F238E27FC236}">
                    <a16:creationId xmlns:a16="http://schemas.microsoft.com/office/drawing/2014/main" id="{EFDC0915-A701-401A-BAFA-D37E8D80874A}"/>
                  </a:ext>
                </a:extLst>
              </p:cNvPr>
              <p:cNvSpPr/>
              <p:nvPr/>
            </p:nvSpPr>
            <p:spPr>
              <a:xfrm>
                <a:off x="4244262" y="5108320"/>
                <a:ext cx="186333" cy="186333"/>
              </a:xfrm>
              <a:custGeom>
                <a:avLst/>
                <a:gdLst>
                  <a:gd name="connsiteX0" fmla="*/ 175509 w 186333"/>
                  <a:gd name="connsiteY0" fmla="*/ 186333 h 186333"/>
                  <a:gd name="connsiteX1" fmla="*/ 10051 w 186333"/>
                  <a:gd name="connsiteY1" fmla="*/ 186333 h 186333"/>
                  <a:gd name="connsiteX2" fmla="*/ 0 w 186333"/>
                  <a:gd name="connsiteY2" fmla="*/ 176282 h 186333"/>
                  <a:gd name="connsiteX3" fmla="*/ 0 w 186333"/>
                  <a:gd name="connsiteY3" fmla="*/ 10051 h 186333"/>
                  <a:gd name="connsiteX4" fmla="*/ 10051 w 186333"/>
                  <a:gd name="connsiteY4" fmla="*/ 0 h 186333"/>
                  <a:gd name="connsiteX5" fmla="*/ 186333 w 186333"/>
                  <a:gd name="connsiteY5" fmla="*/ 176282 h 186333"/>
                  <a:gd name="connsiteX6" fmla="*/ 175509 w 186333"/>
                  <a:gd name="connsiteY6" fmla="*/ 186333 h 186333"/>
                  <a:gd name="connsiteX7" fmla="*/ 175509 w 186333"/>
                  <a:gd name="connsiteY7" fmla="*/ 186333 h 186333"/>
                  <a:gd name="connsiteX8" fmla="*/ 20102 w 186333"/>
                  <a:gd name="connsiteY8" fmla="*/ 165458 h 186333"/>
                  <a:gd name="connsiteX9" fmla="*/ 164685 w 186333"/>
                  <a:gd name="connsiteY9" fmla="*/ 165458 h 186333"/>
                  <a:gd name="connsiteX10" fmla="*/ 20102 w 186333"/>
                  <a:gd name="connsiteY10" fmla="*/ 20876 h 186333"/>
                  <a:gd name="connsiteX11" fmla="*/ 20102 w 186333"/>
                  <a:gd name="connsiteY11" fmla="*/ 165458 h 186333"/>
                  <a:gd name="connsiteX12" fmla="*/ 20102 w 186333"/>
                  <a:gd name="connsiteY12" fmla="*/ 165458 h 1863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6333" h="186333">
                    <a:moveTo>
                      <a:pt x="175509" y="186333"/>
                    </a:moveTo>
                    <a:lnTo>
                      <a:pt x="10051" y="186333"/>
                    </a:lnTo>
                    <a:cubicBezTo>
                      <a:pt x="4639" y="186333"/>
                      <a:pt x="0" y="181694"/>
                      <a:pt x="0" y="176282"/>
                    </a:cubicBezTo>
                    <a:lnTo>
                      <a:pt x="0" y="10051"/>
                    </a:lnTo>
                    <a:cubicBezTo>
                      <a:pt x="0" y="4639"/>
                      <a:pt x="4639" y="0"/>
                      <a:pt x="10051" y="0"/>
                    </a:cubicBezTo>
                    <a:cubicBezTo>
                      <a:pt x="107471" y="0"/>
                      <a:pt x="186333" y="78863"/>
                      <a:pt x="186333" y="176282"/>
                    </a:cubicBezTo>
                    <a:cubicBezTo>
                      <a:pt x="185560" y="181694"/>
                      <a:pt x="180922" y="186333"/>
                      <a:pt x="175509" y="186333"/>
                    </a:cubicBezTo>
                    <a:lnTo>
                      <a:pt x="175509" y="186333"/>
                    </a:lnTo>
                    <a:close/>
                    <a:moveTo>
                      <a:pt x="20102" y="165458"/>
                    </a:moveTo>
                    <a:lnTo>
                      <a:pt x="164685" y="165458"/>
                    </a:lnTo>
                    <a:cubicBezTo>
                      <a:pt x="159272" y="88141"/>
                      <a:pt x="97419" y="25514"/>
                      <a:pt x="20102" y="20876"/>
                    </a:cubicBezTo>
                    <a:lnTo>
                      <a:pt x="20102" y="165458"/>
                    </a:lnTo>
                    <a:lnTo>
                      <a:pt x="20102" y="165458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232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5402542" y="4626253"/>
              <a:ext cx="387772" cy="387772"/>
              <a:chOff x="5220773" y="5080486"/>
              <a:chExt cx="489415" cy="489415"/>
            </a:xfrm>
            <a:solidFill>
              <a:srgbClr val="B1B1A1"/>
            </a:solidFill>
          </p:grpSpPr>
          <p:sp>
            <p:nvSpPr>
              <p:cNvPr id="233" name="Forma Livre: Forma 232">
                <a:extLst>
                  <a:ext uri="{FF2B5EF4-FFF2-40B4-BE49-F238E27FC236}">
                    <a16:creationId xmlns:a16="http://schemas.microsoft.com/office/drawing/2014/main" id="{4AD67283-B1F1-47CF-A9C8-2D78C35B264B}"/>
                  </a:ext>
                </a:extLst>
              </p:cNvPr>
              <p:cNvSpPr/>
              <p:nvPr/>
            </p:nvSpPr>
            <p:spPr>
              <a:xfrm>
                <a:off x="5220773" y="5080486"/>
                <a:ext cx="489415" cy="489415"/>
              </a:xfrm>
              <a:custGeom>
                <a:avLst/>
                <a:gdLst>
                  <a:gd name="connsiteX0" fmla="*/ 468540 w 489415"/>
                  <a:gd name="connsiteY0" fmla="*/ 489416 h 489415"/>
                  <a:gd name="connsiteX1" fmla="*/ 20876 w 489415"/>
                  <a:gd name="connsiteY1" fmla="*/ 489416 h 489415"/>
                  <a:gd name="connsiteX2" fmla="*/ 0 w 489415"/>
                  <a:gd name="connsiteY2" fmla="*/ 468540 h 489415"/>
                  <a:gd name="connsiteX3" fmla="*/ 0 w 489415"/>
                  <a:gd name="connsiteY3" fmla="*/ 20876 h 489415"/>
                  <a:gd name="connsiteX4" fmla="*/ 20876 w 489415"/>
                  <a:gd name="connsiteY4" fmla="*/ 0 h 489415"/>
                  <a:gd name="connsiteX5" fmla="*/ 468540 w 489415"/>
                  <a:gd name="connsiteY5" fmla="*/ 0 h 489415"/>
                  <a:gd name="connsiteX6" fmla="*/ 489415 w 489415"/>
                  <a:gd name="connsiteY6" fmla="*/ 20876 h 489415"/>
                  <a:gd name="connsiteX7" fmla="*/ 489415 w 489415"/>
                  <a:gd name="connsiteY7" fmla="*/ 468540 h 489415"/>
                  <a:gd name="connsiteX8" fmla="*/ 468540 w 489415"/>
                  <a:gd name="connsiteY8" fmla="*/ 489416 h 489415"/>
                  <a:gd name="connsiteX9" fmla="*/ 468540 w 489415"/>
                  <a:gd name="connsiteY9" fmla="*/ 489416 h 489415"/>
                  <a:gd name="connsiteX10" fmla="*/ 41751 w 489415"/>
                  <a:gd name="connsiteY10" fmla="*/ 448437 h 489415"/>
                  <a:gd name="connsiteX11" fmla="*/ 448437 w 489415"/>
                  <a:gd name="connsiteY11" fmla="*/ 448437 h 489415"/>
                  <a:gd name="connsiteX12" fmla="*/ 448437 w 489415"/>
                  <a:gd name="connsiteY12" fmla="*/ 41751 h 489415"/>
                  <a:gd name="connsiteX13" fmla="*/ 41751 w 489415"/>
                  <a:gd name="connsiteY13" fmla="*/ 41751 h 489415"/>
                  <a:gd name="connsiteX14" fmla="*/ 41751 w 489415"/>
                  <a:gd name="connsiteY14" fmla="*/ 448437 h 489415"/>
                  <a:gd name="connsiteX15" fmla="*/ 41751 w 489415"/>
                  <a:gd name="connsiteY15" fmla="*/ 448437 h 489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89415" h="489415">
                    <a:moveTo>
                      <a:pt x="468540" y="489416"/>
                    </a:moveTo>
                    <a:lnTo>
                      <a:pt x="20876" y="489416"/>
                    </a:lnTo>
                    <a:cubicBezTo>
                      <a:pt x="9278" y="489416"/>
                      <a:pt x="0" y="480138"/>
                      <a:pt x="0" y="468540"/>
                    </a:cubicBezTo>
                    <a:lnTo>
                      <a:pt x="0" y="20876"/>
                    </a:lnTo>
                    <a:cubicBezTo>
                      <a:pt x="0" y="9278"/>
                      <a:pt x="9278" y="0"/>
                      <a:pt x="20876" y="0"/>
                    </a:cubicBezTo>
                    <a:lnTo>
                      <a:pt x="468540" y="0"/>
                    </a:lnTo>
                    <a:cubicBezTo>
                      <a:pt x="480138" y="0"/>
                      <a:pt x="489415" y="9278"/>
                      <a:pt x="489415" y="20876"/>
                    </a:cubicBezTo>
                    <a:lnTo>
                      <a:pt x="489415" y="468540"/>
                    </a:lnTo>
                    <a:cubicBezTo>
                      <a:pt x="489415" y="480138"/>
                      <a:pt x="480138" y="489416"/>
                      <a:pt x="468540" y="489416"/>
                    </a:cubicBezTo>
                    <a:lnTo>
                      <a:pt x="468540" y="489416"/>
                    </a:lnTo>
                    <a:close/>
                    <a:moveTo>
                      <a:pt x="41751" y="448437"/>
                    </a:moveTo>
                    <a:lnTo>
                      <a:pt x="448437" y="448437"/>
                    </a:lnTo>
                    <a:lnTo>
                      <a:pt x="448437" y="41751"/>
                    </a:lnTo>
                    <a:lnTo>
                      <a:pt x="41751" y="41751"/>
                    </a:lnTo>
                    <a:lnTo>
                      <a:pt x="41751" y="448437"/>
                    </a:lnTo>
                    <a:lnTo>
                      <a:pt x="41751" y="448437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grpSp>
            <p:nvGrpSpPr>
              <p:cNvPr id="234" name="Gráfico 2">
                <a:extLst>
                  <a:ext uri="{FF2B5EF4-FFF2-40B4-BE49-F238E27FC236}">
                    <a16:creationId xmlns:a16="http://schemas.microsoft.com/office/drawing/2014/main" id="{6FEF66BF-8D1E-4FFA-95A2-6EE56886837B}"/>
                  </a:ext>
                </a:extLst>
              </p:cNvPr>
              <p:cNvGrpSpPr/>
              <p:nvPr/>
            </p:nvGrpSpPr>
            <p:grpSpPr>
              <a:xfrm>
                <a:off x="5334429" y="5184864"/>
                <a:ext cx="102058" cy="102058"/>
                <a:chOff x="5334429" y="5184864"/>
                <a:chExt cx="102058" cy="102058"/>
              </a:xfrm>
              <a:grpFill/>
            </p:grpSpPr>
            <p:sp>
              <p:nvSpPr>
                <p:cNvPr id="235" name="Forma Livre: Forma 234">
                  <a:extLst>
                    <a:ext uri="{FF2B5EF4-FFF2-40B4-BE49-F238E27FC236}">
                      <a16:creationId xmlns:a16="http://schemas.microsoft.com/office/drawing/2014/main" id="{71C22849-B1FD-4986-A8CC-1BEE23328862}"/>
                    </a:ext>
                  </a:extLst>
                </p:cNvPr>
                <p:cNvSpPr/>
                <p:nvPr/>
              </p:nvSpPr>
              <p:spPr>
                <a:xfrm>
                  <a:off x="5375406" y="5184864"/>
                  <a:ext cx="20102" cy="102058"/>
                </a:xfrm>
                <a:custGeom>
                  <a:avLst/>
                  <a:gdLst>
                    <a:gd name="connsiteX0" fmla="*/ 10051 w 20102"/>
                    <a:gd name="connsiteY0" fmla="*/ 102058 h 102058"/>
                    <a:gd name="connsiteX1" fmla="*/ 0 w 20102"/>
                    <a:gd name="connsiteY1" fmla="*/ 92007 h 102058"/>
                    <a:gd name="connsiteX2" fmla="*/ 0 w 20102"/>
                    <a:gd name="connsiteY2" fmla="*/ 10052 h 102058"/>
                    <a:gd name="connsiteX3" fmla="*/ 10051 w 20102"/>
                    <a:gd name="connsiteY3" fmla="*/ 0 h 102058"/>
                    <a:gd name="connsiteX4" fmla="*/ 20103 w 20102"/>
                    <a:gd name="connsiteY4" fmla="*/ 10052 h 102058"/>
                    <a:gd name="connsiteX5" fmla="*/ 20103 w 20102"/>
                    <a:gd name="connsiteY5" fmla="*/ 92007 h 102058"/>
                    <a:gd name="connsiteX6" fmla="*/ 10051 w 20102"/>
                    <a:gd name="connsiteY6" fmla="*/ 102058 h 102058"/>
                    <a:gd name="connsiteX7" fmla="*/ 10051 w 20102"/>
                    <a:gd name="connsiteY7" fmla="*/ 102058 h 1020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0102" h="102058">
                      <a:moveTo>
                        <a:pt x="10051" y="102058"/>
                      </a:moveTo>
                      <a:cubicBezTo>
                        <a:pt x="4639" y="102058"/>
                        <a:pt x="0" y="97419"/>
                        <a:pt x="0" y="92007"/>
                      </a:cubicBezTo>
                      <a:lnTo>
                        <a:pt x="0" y="10052"/>
                      </a:lnTo>
                      <a:cubicBezTo>
                        <a:pt x="0" y="4639"/>
                        <a:pt x="4639" y="0"/>
                        <a:pt x="10051" y="0"/>
                      </a:cubicBezTo>
                      <a:cubicBezTo>
                        <a:pt x="15463" y="0"/>
                        <a:pt x="20103" y="4639"/>
                        <a:pt x="20103" y="10052"/>
                      </a:cubicBezTo>
                      <a:lnTo>
                        <a:pt x="20103" y="92007"/>
                      </a:lnTo>
                      <a:cubicBezTo>
                        <a:pt x="20103" y="97419"/>
                        <a:pt x="15463" y="102058"/>
                        <a:pt x="10051" y="102058"/>
                      </a:cubicBezTo>
                      <a:lnTo>
                        <a:pt x="10051" y="102058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236" name="Forma Livre: Forma 235">
                  <a:extLst>
                    <a:ext uri="{FF2B5EF4-FFF2-40B4-BE49-F238E27FC236}">
                      <a16:creationId xmlns:a16="http://schemas.microsoft.com/office/drawing/2014/main" id="{772AC59E-D30B-4B8B-A44C-D7D7A901E3C0}"/>
                    </a:ext>
                  </a:extLst>
                </p:cNvPr>
                <p:cNvSpPr/>
                <p:nvPr/>
              </p:nvSpPr>
              <p:spPr>
                <a:xfrm>
                  <a:off x="5334429" y="5225842"/>
                  <a:ext cx="102058" cy="20102"/>
                </a:xfrm>
                <a:custGeom>
                  <a:avLst/>
                  <a:gdLst>
                    <a:gd name="connsiteX0" fmla="*/ 92007 w 102058"/>
                    <a:gd name="connsiteY0" fmla="*/ 20102 h 20102"/>
                    <a:gd name="connsiteX1" fmla="*/ 10051 w 102058"/>
                    <a:gd name="connsiteY1" fmla="*/ 20102 h 20102"/>
                    <a:gd name="connsiteX2" fmla="*/ 0 w 102058"/>
                    <a:gd name="connsiteY2" fmla="*/ 10051 h 20102"/>
                    <a:gd name="connsiteX3" fmla="*/ 10051 w 102058"/>
                    <a:gd name="connsiteY3" fmla="*/ 0 h 20102"/>
                    <a:gd name="connsiteX4" fmla="*/ 92007 w 102058"/>
                    <a:gd name="connsiteY4" fmla="*/ 0 h 20102"/>
                    <a:gd name="connsiteX5" fmla="*/ 102058 w 102058"/>
                    <a:gd name="connsiteY5" fmla="*/ 10051 h 20102"/>
                    <a:gd name="connsiteX6" fmla="*/ 92007 w 102058"/>
                    <a:gd name="connsiteY6" fmla="*/ 20102 h 20102"/>
                    <a:gd name="connsiteX7" fmla="*/ 92007 w 102058"/>
                    <a:gd name="connsiteY7" fmla="*/ 20102 h 201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2058" h="20102">
                      <a:moveTo>
                        <a:pt x="92007" y="20102"/>
                      </a:moveTo>
                      <a:lnTo>
                        <a:pt x="10051" y="20102"/>
                      </a:lnTo>
                      <a:cubicBezTo>
                        <a:pt x="4639" y="20102"/>
                        <a:pt x="0" y="15463"/>
                        <a:pt x="0" y="10051"/>
                      </a:cubicBezTo>
                      <a:cubicBezTo>
                        <a:pt x="0" y="4639"/>
                        <a:pt x="4639" y="0"/>
                        <a:pt x="10051" y="0"/>
                      </a:cubicBezTo>
                      <a:lnTo>
                        <a:pt x="92007" y="0"/>
                      </a:lnTo>
                      <a:cubicBezTo>
                        <a:pt x="97419" y="0"/>
                        <a:pt x="102058" y="4639"/>
                        <a:pt x="102058" y="10051"/>
                      </a:cubicBezTo>
                      <a:cubicBezTo>
                        <a:pt x="102058" y="15463"/>
                        <a:pt x="97419" y="20102"/>
                        <a:pt x="92007" y="20102"/>
                      </a:cubicBezTo>
                      <a:lnTo>
                        <a:pt x="92007" y="20102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sp>
            <p:nvSpPr>
              <p:cNvPr id="237" name="Forma Livre: Forma 236">
                <a:extLst>
                  <a:ext uri="{FF2B5EF4-FFF2-40B4-BE49-F238E27FC236}">
                    <a16:creationId xmlns:a16="http://schemas.microsoft.com/office/drawing/2014/main" id="{DE6B7C3E-3B08-467A-961A-04F19F7E91FE}"/>
                  </a:ext>
                </a:extLst>
              </p:cNvPr>
              <p:cNvSpPr/>
              <p:nvPr/>
            </p:nvSpPr>
            <p:spPr>
              <a:xfrm>
                <a:off x="5495247" y="5225842"/>
                <a:ext cx="102058" cy="20102"/>
              </a:xfrm>
              <a:custGeom>
                <a:avLst/>
                <a:gdLst>
                  <a:gd name="connsiteX0" fmla="*/ 92007 w 102058"/>
                  <a:gd name="connsiteY0" fmla="*/ 20102 h 20102"/>
                  <a:gd name="connsiteX1" fmla="*/ 10051 w 102058"/>
                  <a:gd name="connsiteY1" fmla="*/ 20102 h 20102"/>
                  <a:gd name="connsiteX2" fmla="*/ 0 w 102058"/>
                  <a:gd name="connsiteY2" fmla="*/ 10051 h 20102"/>
                  <a:gd name="connsiteX3" fmla="*/ 10051 w 102058"/>
                  <a:gd name="connsiteY3" fmla="*/ 0 h 20102"/>
                  <a:gd name="connsiteX4" fmla="*/ 92007 w 102058"/>
                  <a:gd name="connsiteY4" fmla="*/ 0 h 20102"/>
                  <a:gd name="connsiteX5" fmla="*/ 102058 w 102058"/>
                  <a:gd name="connsiteY5" fmla="*/ 10051 h 20102"/>
                  <a:gd name="connsiteX6" fmla="*/ 92007 w 102058"/>
                  <a:gd name="connsiteY6" fmla="*/ 20102 h 20102"/>
                  <a:gd name="connsiteX7" fmla="*/ 92007 w 102058"/>
                  <a:gd name="connsiteY7" fmla="*/ 20102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2058" h="20102">
                    <a:moveTo>
                      <a:pt x="92007" y="20102"/>
                    </a:moveTo>
                    <a:lnTo>
                      <a:pt x="10051" y="20102"/>
                    </a:lnTo>
                    <a:cubicBezTo>
                      <a:pt x="4639" y="20102"/>
                      <a:pt x="0" y="15463"/>
                      <a:pt x="0" y="10051"/>
                    </a:cubicBezTo>
                    <a:cubicBezTo>
                      <a:pt x="0" y="4639"/>
                      <a:pt x="4639" y="0"/>
                      <a:pt x="10051" y="0"/>
                    </a:cubicBezTo>
                    <a:lnTo>
                      <a:pt x="92007" y="0"/>
                    </a:lnTo>
                    <a:cubicBezTo>
                      <a:pt x="97419" y="0"/>
                      <a:pt x="102058" y="4639"/>
                      <a:pt x="102058" y="10051"/>
                    </a:cubicBezTo>
                    <a:cubicBezTo>
                      <a:pt x="102058" y="15463"/>
                      <a:pt x="97419" y="20102"/>
                      <a:pt x="92007" y="20102"/>
                    </a:cubicBezTo>
                    <a:lnTo>
                      <a:pt x="92007" y="20102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grpSp>
            <p:nvGrpSpPr>
              <p:cNvPr id="238" name="Gráfico 2">
                <a:extLst>
                  <a:ext uri="{FF2B5EF4-FFF2-40B4-BE49-F238E27FC236}">
                    <a16:creationId xmlns:a16="http://schemas.microsoft.com/office/drawing/2014/main" id="{6FEF66BF-8D1E-4FFA-95A2-6EE56886837B}"/>
                  </a:ext>
                </a:extLst>
              </p:cNvPr>
              <p:cNvGrpSpPr/>
              <p:nvPr/>
            </p:nvGrpSpPr>
            <p:grpSpPr>
              <a:xfrm>
                <a:off x="5346220" y="5377576"/>
                <a:ext cx="78476" cy="78669"/>
                <a:chOff x="5346220" y="5377576"/>
                <a:chExt cx="78476" cy="78669"/>
              </a:xfrm>
              <a:grpFill/>
            </p:grpSpPr>
            <p:sp>
              <p:nvSpPr>
                <p:cNvPr id="239" name="Forma Livre: Forma 238">
                  <a:extLst>
                    <a:ext uri="{FF2B5EF4-FFF2-40B4-BE49-F238E27FC236}">
                      <a16:creationId xmlns:a16="http://schemas.microsoft.com/office/drawing/2014/main" id="{D9FC8372-12A2-4C34-971D-0AE9EF5D8C68}"/>
                    </a:ext>
                  </a:extLst>
                </p:cNvPr>
                <p:cNvSpPr/>
                <p:nvPr/>
              </p:nvSpPr>
              <p:spPr>
                <a:xfrm>
                  <a:off x="5346220" y="5377576"/>
                  <a:ext cx="78476" cy="78669"/>
                </a:xfrm>
                <a:custGeom>
                  <a:avLst/>
                  <a:gdLst>
                    <a:gd name="connsiteX0" fmla="*/ 9858 w 78476"/>
                    <a:gd name="connsiteY0" fmla="*/ 78670 h 78669"/>
                    <a:gd name="connsiteX1" fmla="*/ 2899 w 78476"/>
                    <a:gd name="connsiteY1" fmla="*/ 75577 h 78669"/>
                    <a:gd name="connsiteX2" fmla="*/ 2899 w 78476"/>
                    <a:gd name="connsiteY2" fmla="*/ 60887 h 78669"/>
                    <a:gd name="connsiteX3" fmla="*/ 60887 w 78476"/>
                    <a:gd name="connsiteY3" fmla="*/ 2899 h 78669"/>
                    <a:gd name="connsiteX4" fmla="*/ 75577 w 78476"/>
                    <a:gd name="connsiteY4" fmla="*/ 2899 h 78669"/>
                    <a:gd name="connsiteX5" fmla="*/ 75577 w 78476"/>
                    <a:gd name="connsiteY5" fmla="*/ 17589 h 78669"/>
                    <a:gd name="connsiteX6" fmla="*/ 17589 w 78476"/>
                    <a:gd name="connsiteY6" fmla="*/ 75577 h 78669"/>
                    <a:gd name="connsiteX7" fmla="*/ 9858 w 78476"/>
                    <a:gd name="connsiteY7" fmla="*/ 78670 h 78669"/>
                    <a:gd name="connsiteX8" fmla="*/ 9858 w 78476"/>
                    <a:gd name="connsiteY8" fmla="*/ 78670 h 786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8476" h="78669">
                      <a:moveTo>
                        <a:pt x="9858" y="78670"/>
                      </a:moveTo>
                      <a:cubicBezTo>
                        <a:pt x="7538" y="78670"/>
                        <a:pt x="4445" y="77896"/>
                        <a:pt x="2899" y="75577"/>
                      </a:cubicBezTo>
                      <a:cubicBezTo>
                        <a:pt x="-966" y="71711"/>
                        <a:pt x="-966" y="64753"/>
                        <a:pt x="2899" y="60887"/>
                      </a:cubicBezTo>
                      <a:lnTo>
                        <a:pt x="60887" y="2899"/>
                      </a:lnTo>
                      <a:cubicBezTo>
                        <a:pt x="64753" y="-966"/>
                        <a:pt x="71711" y="-966"/>
                        <a:pt x="75577" y="2899"/>
                      </a:cubicBezTo>
                      <a:cubicBezTo>
                        <a:pt x="79443" y="6765"/>
                        <a:pt x="79443" y="13723"/>
                        <a:pt x="75577" y="17589"/>
                      </a:cubicBezTo>
                      <a:lnTo>
                        <a:pt x="17589" y="75577"/>
                      </a:lnTo>
                      <a:cubicBezTo>
                        <a:pt x="15270" y="77896"/>
                        <a:pt x="12950" y="78670"/>
                        <a:pt x="9858" y="78670"/>
                      </a:cubicBezTo>
                      <a:lnTo>
                        <a:pt x="9858" y="78670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240" name="Forma Livre: Forma 239">
                  <a:extLst>
                    <a:ext uri="{FF2B5EF4-FFF2-40B4-BE49-F238E27FC236}">
                      <a16:creationId xmlns:a16="http://schemas.microsoft.com/office/drawing/2014/main" id="{5D9DC544-CE6E-4959-ACF8-1B28F6207794}"/>
                    </a:ext>
                  </a:extLst>
                </p:cNvPr>
                <p:cNvSpPr/>
                <p:nvPr/>
              </p:nvSpPr>
              <p:spPr>
                <a:xfrm>
                  <a:off x="5346220" y="5377576"/>
                  <a:ext cx="78476" cy="78669"/>
                </a:xfrm>
                <a:custGeom>
                  <a:avLst/>
                  <a:gdLst>
                    <a:gd name="connsiteX0" fmla="*/ 67845 w 78476"/>
                    <a:gd name="connsiteY0" fmla="*/ 78670 h 78669"/>
                    <a:gd name="connsiteX1" fmla="*/ 60887 w 78476"/>
                    <a:gd name="connsiteY1" fmla="*/ 75577 h 78669"/>
                    <a:gd name="connsiteX2" fmla="*/ 2899 w 78476"/>
                    <a:gd name="connsiteY2" fmla="*/ 17589 h 78669"/>
                    <a:gd name="connsiteX3" fmla="*/ 2899 w 78476"/>
                    <a:gd name="connsiteY3" fmla="*/ 2899 h 78669"/>
                    <a:gd name="connsiteX4" fmla="*/ 17589 w 78476"/>
                    <a:gd name="connsiteY4" fmla="*/ 2899 h 78669"/>
                    <a:gd name="connsiteX5" fmla="*/ 75577 w 78476"/>
                    <a:gd name="connsiteY5" fmla="*/ 60887 h 78669"/>
                    <a:gd name="connsiteX6" fmla="*/ 75577 w 78476"/>
                    <a:gd name="connsiteY6" fmla="*/ 75577 h 78669"/>
                    <a:gd name="connsiteX7" fmla="*/ 67845 w 78476"/>
                    <a:gd name="connsiteY7" fmla="*/ 78670 h 78669"/>
                    <a:gd name="connsiteX8" fmla="*/ 67845 w 78476"/>
                    <a:gd name="connsiteY8" fmla="*/ 78670 h 786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8476" h="78669">
                      <a:moveTo>
                        <a:pt x="67845" y="78670"/>
                      </a:moveTo>
                      <a:cubicBezTo>
                        <a:pt x="65526" y="78670"/>
                        <a:pt x="62433" y="77896"/>
                        <a:pt x="60887" y="75577"/>
                      </a:cubicBezTo>
                      <a:lnTo>
                        <a:pt x="2899" y="17589"/>
                      </a:lnTo>
                      <a:cubicBezTo>
                        <a:pt x="-966" y="13723"/>
                        <a:pt x="-966" y="6765"/>
                        <a:pt x="2899" y="2899"/>
                      </a:cubicBezTo>
                      <a:cubicBezTo>
                        <a:pt x="6765" y="-966"/>
                        <a:pt x="13723" y="-966"/>
                        <a:pt x="17589" y="2899"/>
                      </a:cubicBezTo>
                      <a:lnTo>
                        <a:pt x="75577" y="60887"/>
                      </a:lnTo>
                      <a:cubicBezTo>
                        <a:pt x="79443" y="64753"/>
                        <a:pt x="79443" y="71711"/>
                        <a:pt x="75577" y="75577"/>
                      </a:cubicBezTo>
                      <a:cubicBezTo>
                        <a:pt x="73257" y="77896"/>
                        <a:pt x="70938" y="78670"/>
                        <a:pt x="67845" y="78670"/>
                      </a:cubicBezTo>
                      <a:lnTo>
                        <a:pt x="67845" y="78670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grpSp>
            <p:nvGrpSpPr>
              <p:cNvPr id="241" name="Gráfico 2">
                <a:extLst>
                  <a:ext uri="{FF2B5EF4-FFF2-40B4-BE49-F238E27FC236}">
                    <a16:creationId xmlns:a16="http://schemas.microsoft.com/office/drawing/2014/main" id="{6FEF66BF-8D1E-4FFA-95A2-6EE56886837B}"/>
                  </a:ext>
                </a:extLst>
              </p:cNvPr>
              <p:cNvGrpSpPr/>
              <p:nvPr/>
            </p:nvGrpSpPr>
            <p:grpSpPr>
              <a:xfrm>
                <a:off x="5495247" y="5392846"/>
                <a:ext cx="102058" cy="54121"/>
                <a:chOff x="5495247" y="5392846"/>
                <a:chExt cx="102058" cy="54121"/>
              </a:xfrm>
              <a:grpFill/>
            </p:grpSpPr>
            <p:sp>
              <p:nvSpPr>
                <p:cNvPr id="242" name="Forma Livre: Forma 241">
                  <a:extLst>
                    <a:ext uri="{FF2B5EF4-FFF2-40B4-BE49-F238E27FC236}">
                      <a16:creationId xmlns:a16="http://schemas.microsoft.com/office/drawing/2014/main" id="{D6E9FD20-C283-4A4A-B527-85811D72A50F}"/>
                    </a:ext>
                  </a:extLst>
                </p:cNvPr>
                <p:cNvSpPr/>
                <p:nvPr/>
              </p:nvSpPr>
              <p:spPr>
                <a:xfrm>
                  <a:off x="5495247" y="5426866"/>
                  <a:ext cx="102058" cy="20102"/>
                </a:xfrm>
                <a:custGeom>
                  <a:avLst/>
                  <a:gdLst>
                    <a:gd name="connsiteX0" fmla="*/ 92007 w 102058"/>
                    <a:gd name="connsiteY0" fmla="*/ 20102 h 20102"/>
                    <a:gd name="connsiteX1" fmla="*/ 10051 w 102058"/>
                    <a:gd name="connsiteY1" fmla="*/ 20102 h 20102"/>
                    <a:gd name="connsiteX2" fmla="*/ 0 w 102058"/>
                    <a:gd name="connsiteY2" fmla="*/ 10051 h 20102"/>
                    <a:gd name="connsiteX3" fmla="*/ 10051 w 102058"/>
                    <a:gd name="connsiteY3" fmla="*/ 0 h 20102"/>
                    <a:gd name="connsiteX4" fmla="*/ 92007 w 102058"/>
                    <a:gd name="connsiteY4" fmla="*/ 0 h 20102"/>
                    <a:gd name="connsiteX5" fmla="*/ 102058 w 102058"/>
                    <a:gd name="connsiteY5" fmla="*/ 10051 h 20102"/>
                    <a:gd name="connsiteX6" fmla="*/ 92007 w 102058"/>
                    <a:gd name="connsiteY6" fmla="*/ 20102 h 20102"/>
                    <a:gd name="connsiteX7" fmla="*/ 92007 w 102058"/>
                    <a:gd name="connsiteY7" fmla="*/ 20102 h 201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2058" h="20102">
                      <a:moveTo>
                        <a:pt x="92007" y="20102"/>
                      </a:moveTo>
                      <a:lnTo>
                        <a:pt x="10051" y="20102"/>
                      </a:lnTo>
                      <a:cubicBezTo>
                        <a:pt x="4639" y="20102"/>
                        <a:pt x="0" y="15463"/>
                        <a:pt x="0" y="10051"/>
                      </a:cubicBezTo>
                      <a:cubicBezTo>
                        <a:pt x="0" y="4639"/>
                        <a:pt x="4639" y="0"/>
                        <a:pt x="10051" y="0"/>
                      </a:cubicBezTo>
                      <a:lnTo>
                        <a:pt x="92007" y="0"/>
                      </a:lnTo>
                      <a:cubicBezTo>
                        <a:pt x="97419" y="0"/>
                        <a:pt x="102058" y="4639"/>
                        <a:pt x="102058" y="10051"/>
                      </a:cubicBezTo>
                      <a:cubicBezTo>
                        <a:pt x="102058" y="15463"/>
                        <a:pt x="97419" y="20102"/>
                        <a:pt x="92007" y="20102"/>
                      </a:cubicBezTo>
                      <a:lnTo>
                        <a:pt x="92007" y="20102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243" name="Forma Livre: Forma 242">
                  <a:extLst>
                    <a:ext uri="{FF2B5EF4-FFF2-40B4-BE49-F238E27FC236}">
                      <a16:creationId xmlns:a16="http://schemas.microsoft.com/office/drawing/2014/main" id="{919FF7D6-6CC8-45FA-9A28-F7A6468428D5}"/>
                    </a:ext>
                  </a:extLst>
                </p:cNvPr>
                <p:cNvSpPr/>
                <p:nvPr/>
              </p:nvSpPr>
              <p:spPr>
                <a:xfrm>
                  <a:off x="5495247" y="5392846"/>
                  <a:ext cx="102058" cy="20102"/>
                </a:xfrm>
                <a:custGeom>
                  <a:avLst/>
                  <a:gdLst>
                    <a:gd name="connsiteX0" fmla="*/ 92007 w 102058"/>
                    <a:gd name="connsiteY0" fmla="*/ 20102 h 20102"/>
                    <a:gd name="connsiteX1" fmla="*/ 10051 w 102058"/>
                    <a:gd name="connsiteY1" fmla="*/ 20102 h 20102"/>
                    <a:gd name="connsiteX2" fmla="*/ 0 w 102058"/>
                    <a:gd name="connsiteY2" fmla="*/ 10051 h 20102"/>
                    <a:gd name="connsiteX3" fmla="*/ 10051 w 102058"/>
                    <a:gd name="connsiteY3" fmla="*/ 0 h 20102"/>
                    <a:gd name="connsiteX4" fmla="*/ 92007 w 102058"/>
                    <a:gd name="connsiteY4" fmla="*/ 0 h 20102"/>
                    <a:gd name="connsiteX5" fmla="*/ 102058 w 102058"/>
                    <a:gd name="connsiteY5" fmla="*/ 10051 h 20102"/>
                    <a:gd name="connsiteX6" fmla="*/ 92007 w 102058"/>
                    <a:gd name="connsiteY6" fmla="*/ 20102 h 20102"/>
                    <a:gd name="connsiteX7" fmla="*/ 92007 w 102058"/>
                    <a:gd name="connsiteY7" fmla="*/ 20102 h 201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2058" h="20102">
                      <a:moveTo>
                        <a:pt x="92007" y="20102"/>
                      </a:moveTo>
                      <a:lnTo>
                        <a:pt x="10051" y="20102"/>
                      </a:lnTo>
                      <a:cubicBezTo>
                        <a:pt x="4639" y="20102"/>
                        <a:pt x="0" y="15463"/>
                        <a:pt x="0" y="10051"/>
                      </a:cubicBezTo>
                      <a:cubicBezTo>
                        <a:pt x="0" y="4639"/>
                        <a:pt x="4639" y="0"/>
                        <a:pt x="10051" y="0"/>
                      </a:cubicBezTo>
                      <a:lnTo>
                        <a:pt x="92007" y="0"/>
                      </a:lnTo>
                      <a:cubicBezTo>
                        <a:pt x="97419" y="0"/>
                        <a:pt x="102058" y="4639"/>
                        <a:pt x="102058" y="10051"/>
                      </a:cubicBezTo>
                      <a:cubicBezTo>
                        <a:pt x="102058" y="15463"/>
                        <a:pt x="97419" y="20102"/>
                        <a:pt x="92007" y="20102"/>
                      </a:cubicBezTo>
                      <a:lnTo>
                        <a:pt x="92007" y="20102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</p:grpSp>
        <p:grpSp>
          <p:nvGrpSpPr>
            <p:cNvPr id="244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2403889" y="4592867"/>
              <a:ext cx="403700" cy="454238"/>
              <a:chOff x="1436116" y="5038349"/>
              <a:chExt cx="509517" cy="573303"/>
            </a:xfrm>
            <a:solidFill>
              <a:srgbClr val="B1B1A1"/>
            </a:solidFill>
          </p:grpSpPr>
          <p:sp>
            <p:nvSpPr>
              <p:cNvPr id="245" name="Forma Livre: Forma 244">
                <a:extLst>
                  <a:ext uri="{FF2B5EF4-FFF2-40B4-BE49-F238E27FC236}">
                    <a16:creationId xmlns:a16="http://schemas.microsoft.com/office/drawing/2014/main" id="{35533D81-6FE5-4147-B7BB-16844A7EB3BB}"/>
                  </a:ext>
                </a:extLst>
              </p:cNvPr>
              <p:cNvSpPr/>
              <p:nvPr/>
            </p:nvSpPr>
            <p:spPr>
              <a:xfrm>
                <a:off x="1794866" y="5241305"/>
                <a:ext cx="150767" cy="370347"/>
              </a:xfrm>
              <a:custGeom>
                <a:avLst/>
                <a:gdLst>
                  <a:gd name="connsiteX0" fmla="*/ 129892 w 150767"/>
                  <a:gd name="connsiteY0" fmla="*/ 370347 h 370347"/>
                  <a:gd name="connsiteX1" fmla="*/ 20876 w 150767"/>
                  <a:gd name="connsiteY1" fmla="*/ 370347 h 370347"/>
                  <a:gd name="connsiteX2" fmla="*/ 0 w 150767"/>
                  <a:gd name="connsiteY2" fmla="*/ 349472 h 370347"/>
                  <a:gd name="connsiteX3" fmla="*/ 0 w 150767"/>
                  <a:gd name="connsiteY3" fmla="*/ 20875 h 370347"/>
                  <a:gd name="connsiteX4" fmla="*/ 20876 w 150767"/>
                  <a:gd name="connsiteY4" fmla="*/ 0 h 370347"/>
                  <a:gd name="connsiteX5" fmla="*/ 129892 w 150767"/>
                  <a:gd name="connsiteY5" fmla="*/ 0 h 370347"/>
                  <a:gd name="connsiteX6" fmla="*/ 150768 w 150767"/>
                  <a:gd name="connsiteY6" fmla="*/ 20875 h 370347"/>
                  <a:gd name="connsiteX7" fmla="*/ 150768 w 150767"/>
                  <a:gd name="connsiteY7" fmla="*/ 349472 h 370347"/>
                  <a:gd name="connsiteX8" fmla="*/ 129892 w 150767"/>
                  <a:gd name="connsiteY8" fmla="*/ 370347 h 370347"/>
                  <a:gd name="connsiteX9" fmla="*/ 129892 w 150767"/>
                  <a:gd name="connsiteY9" fmla="*/ 370347 h 370347"/>
                  <a:gd name="connsiteX10" fmla="*/ 40978 w 150767"/>
                  <a:gd name="connsiteY10" fmla="*/ 329369 h 370347"/>
                  <a:gd name="connsiteX11" fmla="*/ 109017 w 150767"/>
                  <a:gd name="connsiteY11" fmla="*/ 329369 h 370347"/>
                  <a:gd name="connsiteX12" fmla="*/ 109017 w 150767"/>
                  <a:gd name="connsiteY12" fmla="*/ 41751 h 370347"/>
                  <a:gd name="connsiteX13" fmla="*/ 40978 w 150767"/>
                  <a:gd name="connsiteY13" fmla="*/ 41751 h 370347"/>
                  <a:gd name="connsiteX14" fmla="*/ 40978 w 150767"/>
                  <a:gd name="connsiteY14" fmla="*/ 329369 h 370347"/>
                  <a:gd name="connsiteX15" fmla="*/ 40978 w 150767"/>
                  <a:gd name="connsiteY15" fmla="*/ 329369 h 370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50767" h="370347">
                    <a:moveTo>
                      <a:pt x="129892" y="370347"/>
                    </a:moveTo>
                    <a:lnTo>
                      <a:pt x="20876" y="370347"/>
                    </a:lnTo>
                    <a:cubicBezTo>
                      <a:pt x="9278" y="370347"/>
                      <a:pt x="0" y="361069"/>
                      <a:pt x="0" y="349472"/>
                    </a:cubicBezTo>
                    <a:lnTo>
                      <a:pt x="0" y="20875"/>
                    </a:lnTo>
                    <a:cubicBezTo>
                      <a:pt x="0" y="9278"/>
                      <a:pt x="9278" y="0"/>
                      <a:pt x="20876" y="0"/>
                    </a:cubicBezTo>
                    <a:lnTo>
                      <a:pt x="129892" y="0"/>
                    </a:lnTo>
                    <a:cubicBezTo>
                      <a:pt x="141490" y="0"/>
                      <a:pt x="150768" y="9278"/>
                      <a:pt x="150768" y="20875"/>
                    </a:cubicBezTo>
                    <a:lnTo>
                      <a:pt x="150768" y="349472"/>
                    </a:lnTo>
                    <a:cubicBezTo>
                      <a:pt x="149995" y="361843"/>
                      <a:pt x="140717" y="370347"/>
                      <a:pt x="129892" y="370347"/>
                    </a:cubicBezTo>
                    <a:lnTo>
                      <a:pt x="129892" y="370347"/>
                    </a:lnTo>
                    <a:close/>
                    <a:moveTo>
                      <a:pt x="40978" y="329369"/>
                    </a:moveTo>
                    <a:lnTo>
                      <a:pt x="109017" y="329369"/>
                    </a:lnTo>
                    <a:lnTo>
                      <a:pt x="109017" y="41751"/>
                    </a:lnTo>
                    <a:lnTo>
                      <a:pt x="40978" y="41751"/>
                    </a:lnTo>
                    <a:lnTo>
                      <a:pt x="40978" y="329369"/>
                    </a:lnTo>
                    <a:lnTo>
                      <a:pt x="40978" y="329369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46" name="Forma Livre: Forma 245">
                <a:extLst>
                  <a:ext uri="{FF2B5EF4-FFF2-40B4-BE49-F238E27FC236}">
                    <a16:creationId xmlns:a16="http://schemas.microsoft.com/office/drawing/2014/main" id="{96B13AD2-B470-4152-85D6-5A828326A4BD}"/>
                  </a:ext>
                </a:extLst>
              </p:cNvPr>
              <p:cNvSpPr/>
              <p:nvPr/>
            </p:nvSpPr>
            <p:spPr>
              <a:xfrm>
                <a:off x="1615491" y="5382022"/>
                <a:ext cx="150767" cy="229630"/>
              </a:xfrm>
              <a:custGeom>
                <a:avLst/>
                <a:gdLst>
                  <a:gd name="connsiteX0" fmla="*/ 129892 w 150767"/>
                  <a:gd name="connsiteY0" fmla="*/ 229631 h 229630"/>
                  <a:gd name="connsiteX1" fmla="*/ 20876 w 150767"/>
                  <a:gd name="connsiteY1" fmla="*/ 229631 h 229630"/>
                  <a:gd name="connsiteX2" fmla="*/ 0 w 150767"/>
                  <a:gd name="connsiteY2" fmla="*/ 208755 h 229630"/>
                  <a:gd name="connsiteX3" fmla="*/ 0 w 150767"/>
                  <a:gd name="connsiteY3" fmla="*/ 20876 h 229630"/>
                  <a:gd name="connsiteX4" fmla="*/ 20876 w 150767"/>
                  <a:gd name="connsiteY4" fmla="*/ 0 h 229630"/>
                  <a:gd name="connsiteX5" fmla="*/ 129892 w 150767"/>
                  <a:gd name="connsiteY5" fmla="*/ 0 h 229630"/>
                  <a:gd name="connsiteX6" fmla="*/ 150768 w 150767"/>
                  <a:gd name="connsiteY6" fmla="*/ 20876 h 229630"/>
                  <a:gd name="connsiteX7" fmla="*/ 150768 w 150767"/>
                  <a:gd name="connsiteY7" fmla="*/ 208755 h 229630"/>
                  <a:gd name="connsiteX8" fmla="*/ 129892 w 150767"/>
                  <a:gd name="connsiteY8" fmla="*/ 229631 h 229630"/>
                  <a:gd name="connsiteX9" fmla="*/ 129892 w 150767"/>
                  <a:gd name="connsiteY9" fmla="*/ 229631 h 229630"/>
                  <a:gd name="connsiteX10" fmla="*/ 40978 w 150767"/>
                  <a:gd name="connsiteY10" fmla="*/ 188653 h 229630"/>
                  <a:gd name="connsiteX11" fmla="*/ 109017 w 150767"/>
                  <a:gd name="connsiteY11" fmla="*/ 188653 h 229630"/>
                  <a:gd name="connsiteX12" fmla="*/ 109017 w 150767"/>
                  <a:gd name="connsiteY12" fmla="*/ 41751 h 229630"/>
                  <a:gd name="connsiteX13" fmla="*/ 40978 w 150767"/>
                  <a:gd name="connsiteY13" fmla="*/ 41751 h 229630"/>
                  <a:gd name="connsiteX14" fmla="*/ 40978 w 150767"/>
                  <a:gd name="connsiteY14" fmla="*/ 188653 h 229630"/>
                  <a:gd name="connsiteX15" fmla="*/ 40978 w 150767"/>
                  <a:gd name="connsiteY15" fmla="*/ 188653 h 2296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50767" h="229630">
                    <a:moveTo>
                      <a:pt x="129892" y="229631"/>
                    </a:moveTo>
                    <a:lnTo>
                      <a:pt x="20876" y="229631"/>
                    </a:lnTo>
                    <a:cubicBezTo>
                      <a:pt x="9278" y="229631"/>
                      <a:pt x="0" y="220353"/>
                      <a:pt x="0" y="208755"/>
                    </a:cubicBezTo>
                    <a:lnTo>
                      <a:pt x="0" y="20876"/>
                    </a:lnTo>
                    <a:cubicBezTo>
                      <a:pt x="0" y="9278"/>
                      <a:pt x="9278" y="0"/>
                      <a:pt x="20876" y="0"/>
                    </a:cubicBezTo>
                    <a:lnTo>
                      <a:pt x="129892" y="0"/>
                    </a:lnTo>
                    <a:cubicBezTo>
                      <a:pt x="141490" y="0"/>
                      <a:pt x="150768" y="9278"/>
                      <a:pt x="150768" y="20876"/>
                    </a:cubicBezTo>
                    <a:lnTo>
                      <a:pt x="150768" y="208755"/>
                    </a:lnTo>
                    <a:cubicBezTo>
                      <a:pt x="149995" y="221126"/>
                      <a:pt x="140717" y="229631"/>
                      <a:pt x="129892" y="229631"/>
                    </a:cubicBezTo>
                    <a:lnTo>
                      <a:pt x="129892" y="229631"/>
                    </a:lnTo>
                    <a:close/>
                    <a:moveTo>
                      <a:pt x="40978" y="188653"/>
                    </a:moveTo>
                    <a:lnTo>
                      <a:pt x="109017" y="188653"/>
                    </a:lnTo>
                    <a:lnTo>
                      <a:pt x="109017" y="41751"/>
                    </a:lnTo>
                    <a:lnTo>
                      <a:pt x="40978" y="41751"/>
                    </a:lnTo>
                    <a:lnTo>
                      <a:pt x="40978" y="188653"/>
                    </a:lnTo>
                    <a:lnTo>
                      <a:pt x="40978" y="188653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47" name="Forma Livre: Forma 246">
                <a:extLst>
                  <a:ext uri="{FF2B5EF4-FFF2-40B4-BE49-F238E27FC236}">
                    <a16:creationId xmlns:a16="http://schemas.microsoft.com/office/drawing/2014/main" id="{788C63F8-851D-4715-A3A4-8BA1A0404521}"/>
                  </a:ext>
                </a:extLst>
              </p:cNvPr>
              <p:cNvSpPr/>
              <p:nvPr/>
            </p:nvSpPr>
            <p:spPr>
              <a:xfrm>
                <a:off x="1436116" y="5484080"/>
                <a:ext cx="150767" cy="127572"/>
              </a:xfrm>
              <a:custGeom>
                <a:avLst/>
                <a:gdLst>
                  <a:gd name="connsiteX0" fmla="*/ 129892 w 150767"/>
                  <a:gd name="connsiteY0" fmla="*/ 127573 h 127572"/>
                  <a:gd name="connsiteX1" fmla="*/ 20876 w 150767"/>
                  <a:gd name="connsiteY1" fmla="*/ 127573 h 127572"/>
                  <a:gd name="connsiteX2" fmla="*/ 0 w 150767"/>
                  <a:gd name="connsiteY2" fmla="*/ 106697 h 127572"/>
                  <a:gd name="connsiteX3" fmla="*/ 0 w 150767"/>
                  <a:gd name="connsiteY3" fmla="*/ 20876 h 127572"/>
                  <a:gd name="connsiteX4" fmla="*/ 20876 w 150767"/>
                  <a:gd name="connsiteY4" fmla="*/ 0 h 127572"/>
                  <a:gd name="connsiteX5" fmla="*/ 129892 w 150767"/>
                  <a:gd name="connsiteY5" fmla="*/ 0 h 127572"/>
                  <a:gd name="connsiteX6" fmla="*/ 150768 w 150767"/>
                  <a:gd name="connsiteY6" fmla="*/ 20876 h 127572"/>
                  <a:gd name="connsiteX7" fmla="*/ 150768 w 150767"/>
                  <a:gd name="connsiteY7" fmla="*/ 106697 h 127572"/>
                  <a:gd name="connsiteX8" fmla="*/ 129892 w 150767"/>
                  <a:gd name="connsiteY8" fmla="*/ 127573 h 127572"/>
                  <a:gd name="connsiteX9" fmla="*/ 129892 w 150767"/>
                  <a:gd name="connsiteY9" fmla="*/ 127573 h 127572"/>
                  <a:gd name="connsiteX10" fmla="*/ 40978 w 150767"/>
                  <a:gd name="connsiteY10" fmla="*/ 86595 h 127572"/>
                  <a:gd name="connsiteX11" fmla="*/ 109017 w 150767"/>
                  <a:gd name="connsiteY11" fmla="*/ 86595 h 127572"/>
                  <a:gd name="connsiteX12" fmla="*/ 109017 w 150767"/>
                  <a:gd name="connsiteY12" fmla="*/ 41751 h 127572"/>
                  <a:gd name="connsiteX13" fmla="*/ 40978 w 150767"/>
                  <a:gd name="connsiteY13" fmla="*/ 41751 h 127572"/>
                  <a:gd name="connsiteX14" fmla="*/ 40978 w 150767"/>
                  <a:gd name="connsiteY14" fmla="*/ 86595 h 127572"/>
                  <a:gd name="connsiteX15" fmla="*/ 40978 w 150767"/>
                  <a:gd name="connsiteY15" fmla="*/ 86595 h 127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50767" h="127572">
                    <a:moveTo>
                      <a:pt x="129892" y="127573"/>
                    </a:moveTo>
                    <a:lnTo>
                      <a:pt x="20876" y="127573"/>
                    </a:lnTo>
                    <a:cubicBezTo>
                      <a:pt x="9278" y="127573"/>
                      <a:pt x="0" y="118295"/>
                      <a:pt x="0" y="106697"/>
                    </a:cubicBezTo>
                    <a:lnTo>
                      <a:pt x="0" y="20876"/>
                    </a:lnTo>
                    <a:cubicBezTo>
                      <a:pt x="0" y="9278"/>
                      <a:pt x="9278" y="0"/>
                      <a:pt x="20876" y="0"/>
                    </a:cubicBezTo>
                    <a:lnTo>
                      <a:pt x="129892" y="0"/>
                    </a:lnTo>
                    <a:cubicBezTo>
                      <a:pt x="141490" y="0"/>
                      <a:pt x="150768" y="9278"/>
                      <a:pt x="150768" y="20876"/>
                    </a:cubicBezTo>
                    <a:lnTo>
                      <a:pt x="150768" y="106697"/>
                    </a:lnTo>
                    <a:cubicBezTo>
                      <a:pt x="149995" y="119068"/>
                      <a:pt x="140717" y="127573"/>
                      <a:pt x="129892" y="127573"/>
                    </a:cubicBezTo>
                    <a:lnTo>
                      <a:pt x="129892" y="127573"/>
                    </a:lnTo>
                    <a:close/>
                    <a:moveTo>
                      <a:pt x="40978" y="86595"/>
                    </a:moveTo>
                    <a:lnTo>
                      <a:pt x="109017" y="86595"/>
                    </a:lnTo>
                    <a:lnTo>
                      <a:pt x="109017" y="41751"/>
                    </a:lnTo>
                    <a:lnTo>
                      <a:pt x="40978" y="41751"/>
                    </a:lnTo>
                    <a:lnTo>
                      <a:pt x="40978" y="86595"/>
                    </a:lnTo>
                    <a:lnTo>
                      <a:pt x="40978" y="86595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48" name="Forma Livre: Forma 247">
                <a:extLst>
                  <a:ext uri="{FF2B5EF4-FFF2-40B4-BE49-F238E27FC236}">
                    <a16:creationId xmlns:a16="http://schemas.microsoft.com/office/drawing/2014/main" id="{F338590A-37E0-47C3-8454-4136CFB4C46C}"/>
                  </a:ext>
                </a:extLst>
              </p:cNvPr>
              <p:cNvSpPr/>
              <p:nvPr/>
            </p:nvSpPr>
            <p:spPr>
              <a:xfrm>
                <a:off x="1765099" y="5038349"/>
                <a:ext cx="120614" cy="200636"/>
              </a:xfrm>
              <a:custGeom>
                <a:avLst/>
                <a:gdLst>
                  <a:gd name="connsiteX0" fmla="*/ 20489 w 120614"/>
                  <a:gd name="connsiteY0" fmla="*/ 200637 h 200636"/>
                  <a:gd name="connsiteX1" fmla="*/ 5799 w 120614"/>
                  <a:gd name="connsiteY1" fmla="*/ 194451 h 200636"/>
                  <a:gd name="connsiteX2" fmla="*/ 5799 w 120614"/>
                  <a:gd name="connsiteY2" fmla="*/ 165071 h 200636"/>
                  <a:gd name="connsiteX3" fmla="*/ 70745 w 120614"/>
                  <a:gd name="connsiteY3" fmla="*/ 100125 h 200636"/>
                  <a:gd name="connsiteX4" fmla="*/ 5799 w 120614"/>
                  <a:gd name="connsiteY4" fmla="*/ 35179 h 200636"/>
                  <a:gd name="connsiteX5" fmla="*/ 5799 w 120614"/>
                  <a:gd name="connsiteY5" fmla="*/ 5799 h 200636"/>
                  <a:gd name="connsiteX6" fmla="*/ 35179 w 120614"/>
                  <a:gd name="connsiteY6" fmla="*/ 5799 h 200636"/>
                  <a:gd name="connsiteX7" fmla="*/ 114815 w 120614"/>
                  <a:gd name="connsiteY7" fmla="*/ 85435 h 200636"/>
                  <a:gd name="connsiteX8" fmla="*/ 114815 w 120614"/>
                  <a:gd name="connsiteY8" fmla="*/ 114042 h 200636"/>
                  <a:gd name="connsiteX9" fmla="*/ 35179 w 120614"/>
                  <a:gd name="connsiteY9" fmla="*/ 193678 h 200636"/>
                  <a:gd name="connsiteX10" fmla="*/ 20489 w 120614"/>
                  <a:gd name="connsiteY10" fmla="*/ 200637 h 200636"/>
                  <a:gd name="connsiteX11" fmla="*/ 20489 w 120614"/>
                  <a:gd name="connsiteY11" fmla="*/ 200637 h 200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0614" h="200636">
                    <a:moveTo>
                      <a:pt x="20489" y="200637"/>
                    </a:moveTo>
                    <a:cubicBezTo>
                      <a:pt x="15077" y="200637"/>
                      <a:pt x="9665" y="198317"/>
                      <a:pt x="5799" y="194451"/>
                    </a:cubicBezTo>
                    <a:cubicBezTo>
                      <a:pt x="-1933" y="186720"/>
                      <a:pt x="-1933" y="173576"/>
                      <a:pt x="5799" y="165071"/>
                    </a:cubicBezTo>
                    <a:lnTo>
                      <a:pt x="70745" y="100125"/>
                    </a:lnTo>
                    <a:lnTo>
                      <a:pt x="5799" y="35179"/>
                    </a:lnTo>
                    <a:cubicBezTo>
                      <a:pt x="-1933" y="27447"/>
                      <a:pt x="-1933" y="14303"/>
                      <a:pt x="5799" y="5799"/>
                    </a:cubicBezTo>
                    <a:cubicBezTo>
                      <a:pt x="13530" y="-1933"/>
                      <a:pt x="26674" y="-1933"/>
                      <a:pt x="35179" y="5799"/>
                    </a:cubicBezTo>
                    <a:lnTo>
                      <a:pt x="114815" y="85435"/>
                    </a:lnTo>
                    <a:cubicBezTo>
                      <a:pt x="122547" y="93167"/>
                      <a:pt x="122547" y="106311"/>
                      <a:pt x="114815" y="114042"/>
                    </a:cubicBezTo>
                    <a:lnTo>
                      <a:pt x="35179" y="193678"/>
                    </a:lnTo>
                    <a:cubicBezTo>
                      <a:pt x="31313" y="198317"/>
                      <a:pt x="25901" y="200637"/>
                      <a:pt x="20489" y="200637"/>
                    </a:cubicBezTo>
                    <a:lnTo>
                      <a:pt x="20489" y="200637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49" name="Forma Livre: Forma 248">
                <a:extLst>
                  <a:ext uri="{FF2B5EF4-FFF2-40B4-BE49-F238E27FC236}">
                    <a16:creationId xmlns:a16="http://schemas.microsoft.com/office/drawing/2014/main" id="{8870C5C3-F8BA-4FD3-9B92-3E0D736BD7DB}"/>
                  </a:ext>
                </a:extLst>
              </p:cNvPr>
              <p:cNvSpPr/>
              <p:nvPr/>
            </p:nvSpPr>
            <p:spPr>
              <a:xfrm>
                <a:off x="1495237" y="5118372"/>
                <a:ext cx="362255" cy="307720"/>
              </a:xfrm>
              <a:custGeom>
                <a:avLst/>
                <a:gdLst>
                  <a:gd name="connsiteX0" fmla="*/ 20515 w 362255"/>
                  <a:gd name="connsiteY0" fmla="*/ 307721 h 307720"/>
                  <a:gd name="connsiteX1" fmla="*/ 16649 w 362255"/>
                  <a:gd name="connsiteY1" fmla="*/ 307721 h 307720"/>
                  <a:gd name="connsiteX2" fmla="*/ 413 w 362255"/>
                  <a:gd name="connsiteY2" fmla="*/ 283753 h 307720"/>
                  <a:gd name="connsiteX3" fmla="*/ 341380 w 362255"/>
                  <a:gd name="connsiteY3" fmla="*/ 0 h 307720"/>
                  <a:gd name="connsiteX4" fmla="*/ 362255 w 362255"/>
                  <a:gd name="connsiteY4" fmla="*/ 20876 h 307720"/>
                  <a:gd name="connsiteX5" fmla="*/ 341380 w 362255"/>
                  <a:gd name="connsiteY5" fmla="*/ 41751 h 307720"/>
                  <a:gd name="connsiteX6" fmla="*/ 40618 w 362255"/>
                  <a:gd name="connsiteY6" fmla="*/ 292257 h 307720"/>
                  <a:gd name="connsiteX7" fmla="*/ 20515 w 362255"/>
                  <a:gd name="connsiteY7" fmla="*/ 307721 h 307720"/>
                  <a:gd name="connsiteX8" fmla="*/ 20515 w 362255"/>
                  <a:gd name="connsiteY8" fmla="*/ 307721 h 3077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62255" h="307720">
                    <a:moveTo>
                      <a:pt x="20515" y="307721"/>
                    </a:moveTo>
                    <a:cubicBezTo>
                      <a:pt x="18969" y="307721"/>
                      <a:pt x="18196" y="307721"/>
                      <a:pt x="16649" y="307721"/>
                    </a:cubicBezTo>
                    <a:cubicBezTo>
                      <a:pt x="5825" y="305401"/>
                      <a:pt x="-1907" y="294577"/>
                      <a:pt x="413" y="283753"/>
                    </a:cubicBezTo>
                    <a:cubicBezTo>
                      <a:pt x="32113" y="119841"/>
                      <a:pt x="175922" y="0"/>
                      <a:pt x="341380" y="0"/>
                    </a:cubicBezTo>
                    <a:cubicBezTo>
                      <a:pt x="352978" y="0"/>
                      <a:pt x="362255" y="9278"/>
                      <a:pt x="362255" y="20876"/>
                    </a:cubicBezTo>
                    <a:cubicBezTo>
                      <a:pt x="362255" y="32473"/>
                      <a:pt x="352978" y="41751"/>
                      <a:pt x="341380" y="41751"/>
                    </a:cubicBezTo>
                    <a:cubicBezTo>
                      <a:pt x="195251" y="41751"/>
                      <a:pt x="68452" y="146902"/>
                      <a:pt x="40618" y="292257"/>
                    </a:cubicBezTo>
                    <a:cubicBezTo>
                      <a:pt x="39071" y="300763"/>
                      <a:pt x="30566" y="307721"/>
                      <a:pt x="20515" y="307721"/>
                    </a:cubicBezTo>
                    <a:lnTo>
                      <a:pt x="20515" y="307721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250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1412710" y="4592846"/>
              <a:ext cx="403700" cy="454260"/>
              <a:chOff x="185130" y="5038323"/>
              <a:chExt cx="509517" cy="573330"/>
            </a:xfrm>
            <a:solidFill>
              <a:srgbClr val="B1B1A1"/>
            </a:solidFill>
          </p:grpSpPr>
          <p:sp>
            <p:nvSpPr>
              <p:cNvPr id="251" name="Forma Livre: Forma 250">
                <a:extLst>
                  <a:ext uri="{FF2B5EF4-FFF2-40B4-BE49-F238E27FC236}">
                    <a16:creationId xmlns:a16="http://schemas.microsoft.com/office/drawing/2014/main" id="{B3D100DE-8C62-4FB3-8B7B-17716F79236B}"/>
                  </a:ext>
                </a:extLst>
              </p:cNvPr>
              <p:cNvSpPr/>
              <p:nvPr/>
            </p:nvSpPr>
            <p:spPr>
              <a:xfrm>
                <a:off x="185130" y="5241305"/>
                <a:ext cx="150767" cy="370347"/>
              </a:xfrm>
              <a:custGeom>
                <a:avLst/>
                <a:gdLst>
                  <a:gd name="connsiteX0" fmla="*/ 129892 w 150767"/>
                  <a:gd name="connsiteY0" fmla="*/ 370347 h 370347"/>
                  <a:gd name="connsiteX1" fmla="*/ 20876 w 150767"/>
                  <a:gd name="connsiteY1" fmla="*/ 370347 h 370347"/>
                  <a:gd name="connsiteX2" fmla="*/ 0 w 150767"/>
                  <a:gd name="connsiteY2" fmla="*/ 349472 h 370347"/>
                  <a:gd name="connsiteX3" fmla="*/ 0 w 150767"/>
                  <a:gd name="connsiteY3" fmla="*/ 20875 h 370347"/>
                  <a:gd name="connsiteX4" fmla="*/ 20876 w 150767"/>
                  <a:gd name="connsiteY4" fmla="*/ 0 h 370347"/>
                  <a:gd name="connsiteX5" fmla="*/ 129892 w 150767"/>
                  <a:gd name="connsiteY5" fmla="*/ 0 h 370347"/>
                  <a:gd name="connsiteX6" fmla="*/ 150768 w 150767"/>
                  <a:gd name="connsiteY6" fmla="*/ 20875 h 370347"/>
                  <a:gd name="connsiteX7" fmla="*/ 150768 w 150767"/>
                  <a:gd name="connsiteY7" fmla="*/ 349472 h 370347"/>
                  <a:gd name="connsiteX8" fmla="*/ 129892 w 150767"/>
                  <a:gd name="connsiteY8" fmla="*/ 370347 h 370347"/>
                  <a:gd name="connsiteX9" fmla="*/ 129892 w 150767"/>
                  <a:gd name="connsiteY9" fmla="*/ 370347 h 370347"/>
                  <a:gd name="connsiteX10" fmla="*/ 41751 w 150767"/>
                  <a:gd name="connsiteY10" fmla="*/ 329369 h 370347"/>
                  <a:gd name="connsiteX11" fmla="*/ 109790 w 150767"/>
                  <a:gd name="connsiteY11" fmla="*/ 329369 h 370347"/>
                  <a:gd name="connsiteX12" fmla="*/ 109790 w 150767"/>
                  <a:gd name="connsiteY12" fmla="*/ 41751 h 370347"/>
                  <a:gd name="connsiteX13" fmla="*/ 41751 w 150767"/>
                  <a:gd name="connsiteY13" fmla="*/ 41751 h 370347"/>
                  <a:gd name="connsiteX14" fmla="*/ 41751 w 150767"/>
                  <a:gd name="connsiteY14" fmla="*/ 329369 h 370347"/>
                  <a:gd name="connsiteX15" fmla="*/ 41751 w 150767"/>
                  <a:gd name="connsiteY15" fmla="*/ 329369 h 370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50767" h="370347">
                    <a:moveTo>
                      <a:pt x="129892" y="370347"/>
                    </a:moveTo>
                    <a:lnTo>
                      <a:pt x="20876" y="370347"/>
                    </a:lnTo>
                    <a:cubicBezTo>
                      <a:pt x="9278" y="370347"/>
                      <a:pt x="0" y="361069"/>
                      <a:pt x="0" y="349472"/>
                    </a:cubicBezTo>
                    <a:lnTo>
                      <a:pt x="0" y="20875"/>
                    </a:lnTo>
                    <a:cubicBezTo>
                      <a:pt x="0" y="9278"/>
                      <a:pt x="9278" y="0"/>
                      <a:pt x="20876" y="0"/>
                    </a:cubicBezTo>
                    <a:lnTo>
                      <a:pt x="129892" y="0"/>
                    </a:lnTo>
                    <a:cubicBezTo>
                      <a:pt x="141490" y="0"/>
                      <a:pt x="150768" y="9278"/>
                      <a:pt x="150768" y="20875"/>
                    </a:cubicBezTo>
                    <a:lnTo>
                      <a:pt x="150768" y="349472"/>
                    </a:lnTo>
                    <a:cubicBezTo>
                      <a:pt x="150768" y="361843"/>
                      <a:pt x="141490" y="370347"/>
                      <a:pt x="129892" y="370347"/>
                    </a:cubicBezTo>
                    <a:lnTo>
                      <a:pt x="129892" y="370347"/>
                    </a:lnTo>
                    <a:close/>
                    <a:moveTo>
                      <a:pt x="41751" y="329369"/>
                    </a:moveTo>
                    <a:lnTo>
                      <a:pt x="109790" y="329369"/>
                    </a:lnTo>
                    <a:lnTo>
                      <a:pt x="109790" y="41751"/>
                    </a:lnTo>
                    <a:lnTo>
                      <a:pt x="41751" y="41751"/>
                    </a:lnTo>
                    <a:lnTo>
                      <a:pt x="41751" y="329369"/>
                    </a:lnTo>
                    <a:lnTo>
                      <a:pt x="41751" y="329369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52" name="Forma Livre: Forma 251">
                <a:extLst>
                  <a:ext uri="{FF2B5EF4-FFF2-40B4-BE49-F238E27FC236}">
                    <a16:creationId xmlns:a16="http://schemas.microsoft.com/office/drawing/2014/main" id="{A7D48334-E94D-4B90-BD11-188DE6B05E40}"/>
                  </a:ext>
                </a:extLst>
              </p:cNvPr>
              <p:cNvSpPr/>
              <p:nvPr/>
            </p:nvSpPr>
            <p:spPr>
              <a:xfrm>
                <a:off x="364505" y="5382022"/>
                <a:ext cx="150767" cy="229630"/>
              </a:xfrm>
              <a:custGeom>
                <a:avLst/>
                <a:gdLst>
                  <a:gd name="connsiteX0" fmla="*/ 130665 w 150767"/>
                  <a:gd name="connsiteY0" fmla="*/ 229631 h 229630"/>
                  <a:gd name="connsiteX1" fmla="*/ 20876 w 150767"/>
                  <a:gd name="connsiteY1" fmla="*/ 229631 h 229630"/>
                  <a:gd name="connsiteX2" fmla="*/ 0 w 150767"/>
                  <a:gd name="connsiteY2" fmla="*/ 208755 h 229630"/>
                  <a:gd name="connsiteX3" fmla="*/ 0 w 150767"/>
                  <a:gd name="connsiteY3" fmla="*/ 20876 h 229630"/>
                  <a:gd name="connsiteX4" fmla="*/ 20876 w 150767"/>
                  <a:gd name="connsiteY4" fmla="*/ 0 h 229630"/>
                  <a:gd name="connsiteX5" fmla="*/ 129892 w 150767"/>
                  <a:gd name="connsiteY5" fmla="*/ 0 h 229630"/>
                  <a:gd name="connsiteX6" fmla="*/ 150768 w 150767"/>
                  <a:gd name="connsiteY6" fmla="*/ 20876 h 229630"/>
                  <a:gd name="connsiteX7" fmla="*/ 150768 w 150767"/>
                  <a:gd name="connsiteY7" fmla="*/ 208755 h 229630"/>
                  <a:gd name="connsiteX8" fmla="*/ 130665 w 150767"/>
                  <a:gd name="connsiteY8" fmla="*/ 229631 h 229630"/>
                  <a:gd name="connsiteX9" fmla="*/ 130665 w 150767"/>
                  <a:gd name="connsiteY9" fmla="*/ 229631 h 229630"/>
                  <a:gd name="connsiteX10" fmla="*/ 41751 w 150767"/>
                  <a:gd name="connsiteY10" fmla="*/ 188653 h 229630"/>
                  <a:gd name="connsiteX11" fmla="*/ 109790 w 150767"/>
                  <a:gd name="connsiteY11" fmla="*/ 188653 h 229630"/>
                  <a:gd name="connsiteX12" fmla="*/ 109790 w 150767"/>
                  <a:gd name="connsiteY12" fmla="*/ 41751 h 229630"/>
                  <a:gd name="connsiteX13" fmla="*/ 41751 w 150767"/>
                  <a:gd name="connsiteY13" fmla="*/ 41751 h 229630"/>
                  <a:gd name="connsiteX14" fmla="*/ 41751 w 150767"/>
                  <a:gd name="connsiteY14" fmla="*/ 188653 h 229630"/>
                  <a:gd name="connsiteX15" fmla="*/ 41751 w 150767"/>
                  <a:gd name="connsiteY15" fmla="*/ 188653 h 2296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50767" h="229630">
                    <a:moveTo>
                      <a:pt x="130665" y="229631"/>
                    </a:moveTo>
                    <a:lnTo>
                      <a:pt x="20876" y="229631"/>
                    </a:lnTo>
                    <a:cubicBezTo>
                      <a:pt x="9278" y="229631"/>
                      <a:pt x="0" y="220353"/>
                      <a:pt x="0" y="208755"/>
                    </a:cubicBezTo>
                    <a:lnTo>
                      <a:pt x="0" y="20876"/>
                    </a:lnTo>
                    <a:cubicBezTo>
                      <a:pt x="0" y="9278"/>
                      <a:pt x="9278" y="0"/>
                      <a:pt x="20876" y="0"/>
                    </a:cubicBezTo>
                    <a:lnTo>
                      <a:pt x="129892" y="0"/>
                    </a:lnTo>
                    <a:cubicBezTo>
                      <a:pt x="141490" y="0"/>
                      <a:pt x="150768" y="9278"/>
                      <a:pt x="150768" y="20876"/>
                    </a:cubicBezTo>
                    <a:lnTo>
                      <a:pt x="150768" y="208755"/>
                    </a:lnTo>
                    <a:cubicBezTo>
                      <a:pt x="150768" y="221126"/>
                      <a:pt x="141490" y="229631"/>
                      <a:pt x="130665" y="229631"/>
                    </a:cubicBezTo>
                    <a:lnTo>
                      <a:pt x="130665" y="229631"/>
                    </a:lnTo>
                    <a:close/>
                    <a:moveTo>
                      <a:pt x="41751" y="188653"/>
                    </a:moveTo>
                    <a:lnTo>
                      <a:pt x="109790" y="188653"/>
                    </a:lnTo>
                    <a:lnTo>
                      <a:pt x="109790" y="41751"/>
                    </a:lnTo>
                    <a:lnTo>
                      <a:pt x="41751" y="41751"/>
                    </a:lnTo>
                    <a:lnTo>
                      <a:pt x="41751" y="188653"/>
                    </a:lnTo>
                    <a:lnTo>
                      <a:pt x="41751" y="188653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53" name="Forma Livre: Forma 252">
                <a:extLst>
                  <a:ext uri="{FF2B5EF4-FFF2-40B4-BE49-F238E27FC236}">
                    <a16:creationId xmlns:a16="http://schemas.microsoft.com/office/drawing/2014/main" id="{7F1FE0C9-68E6-41B1-B7AE-4FB0458D12E5}"/>
                  </a:ext>
                </a:extLst>
              </p:cNvPr>
              <p:cNvSpPr/>
              <p:nvPr/>
            </p:nvSpPr>
            <p:spPr>
              <a:xfrm>
                <a:off x="543880" y="5484080"/>
                <a:ext cx="150767" cy="127572"/>
              </a:xfrm>
              <a:custGeom>
                <a:avLst/>
                <a:gdLst>
                  <a:gd name="connsiteX0" fmla="*/ 130665 w 150767"/>
                  <a:gd name="connsiteY0" fmla="*/ 127573 h 127572"/>
                  <a:gd name="connsiteX1" fmla="*/ 20876 w 150767"/>
                  <a:gd name="connsiteY1" fmla="*/ 127573 h 127572"/>
                  <a:gd name="connsiteX2" fmla="*/ 0 w 150767"/>
                  <a:gd name="connsiteY2" fmla="*/ 106697 h 127572"/>
                  <a:gd name="connsiteX3" fmla="*/ 0 w 150767"/>
                  <a:gd name="connsiteY3" fmla="*/ 20876 h 127572"/>
                  <a:gd name="connsiteX4" fmla="*/ 20876 w 150767"/>
                  <a:gd name="connsiteY4" fmla="*/ 0 h 127572"/>
                  <a:gd name="connsiteX5" fmla="*/ 129892 w 150767"/>
                  <a:gd name="connsiteY5" fmla="*/ 0 h 127572"/>
                  <a:gd name="connsiteX6" fmla="*/ 150768 w 150767"/>
                  <a:gd name="connsiteY6" fmla="*/ 20876 h 127572"/>
                  <a:gd name="connsiteX7" fmla="*/ 150768 w 150767"/>
                  <a:gd name="connsiteY7" fmla="*/ 106697 h 127572"/>
                  <a:gd name="connsiteX8" fmla="*/ 130665 w 150767"/>
                  <a:gd name="connsiteY8" fmla="*/ 127573 h 127572"/>
                  <a:gd name="connsiteX9" fmla="*/ 130665 w 150767"/>
                  <a:gd name="connsiteY9" fmla="*/ 127573 h 127572"/>
                  <a:gd name="connsiteX10" fmla="*/ 41751 w 150767"/>
                  <a:gd name="connsiteY10" fmla="*/ 86595 h 127572"/>
                  <a:gd name="connsiteX11" fmla="*/ 109790 w 150767"/>
                  <a:gd name="connsiteY11" fmla="*/ 86595 h 127572"/>
                  <a:gd name="connsiteX12" fmla="*/ 109790 w 150767"/>
                  <a:gd name="connsiteY12" fmla="*/ 41751 h 127572"/>
                  <a:gd name="connsiteX13" fmla="*/ 41751 w 150767"/>
                  <a:gd name="connsiteY13" fmla="*/ 41751 h 127572"/>
                  <a:gd name="connsiteX14" fmla="*/ 41751 w 150767"/>
                  <a:gd name="connsiteY14" fmla="*/ 86595 h 127572"/>
                  <a:gd name="connsiteX15" fmla="*/ 41751 w 150767"/>
                  <a:gd name="connsiteY15" fmla="*/ 86595 h 127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50767" h="127572">
                    <a:moveTo>
                      <a:pt x="130665" y="127573"/>
                    </a:moveTo>
                    <a:lnTo>
                      <a:pt x="20876" y="127573"/>
                    </a:lnTo>
                    <a:cubicBezTo>
                      <a:pt x="9278" y="127573"/>
                      <a:pt x="0" y="118295"/>
                      <a:pt x="0" y="106697"/>
                    </a:cubicBezTo>
                    <a:lnTo>
                      <a:pt x="0" y="20876"/>
                    </a:lnTo>
                    <a:cubicBezTo>
                      <a:pt x="0" y="9278"/>
                      <a:pt x="9278" y="0"/>
                      <a:pt x="20876" y="0"/>
                    </a:cubicBezTo>
                    <a:lnTo>
                      <a:pt x="129892" y="0"/>
                    </a:lnTo>
                    <a:cubicBezTo>
                      <a:pt x="141490" y="0"/>
                      <a:pt x="150768" y="9278"/>
                      <a:pt x="150768" y="20876"/>
                    </a:cubicBezTo>
                    <a:lnTo>
                      <a:pt x="150768" y="106697"/>
                    </a:lnTo>
                    <a:cubicBezTo>
                      <a:pt x="150768" y="119068"/>
                      <a:pt x="141490" y="127573"/>
                      <a:pt x="130665" y="127573"/>
                    </a:cubicBezTo>
                    <a:lnTo>
                      <a:pt x="130665" y="127573"/>
                    </a:lnTo>
                    <a:close/>
                    <a:moveTo>
                      <a:pt x="41751" y="86595"/>
                    </a:moveTo>
                    <a:lnTo>
                      <a:pt x="109790" y="86595"/>
                    </a:lnTo>
                    <a:lnTo>
                      <a:pt x="109790" y="41751"/>
                    </a:lnTo>
                    <a:lnTo>
                      <a:pt x="41751" y="41751"/>
                    </a:lnTo>
                    <a:lnTo>
                      <a:pt x="41751" y="86595"/>
                    </a:lnTo>
                    <a:lnTo>
                      <a:pt x="41751" y="86595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54" name="Forma Livre: Forma 253">
                <a:extLst>
                  <a:ext uri="{FF2B5EF4-FFF2-40B4-BE49-F238E27FC236}">
                    <a16:creationId xmlns:a16="http://schemas.microsoft.com/office/drawing/2014/main" id="{E5668F2E-A6E5-4AD0-8C63-9121A78EE800}"/>
                  </a:ext>
                </a:extLst>
              </p:cNvPr>
              <p:cNvSpPr/>
              <p:nvPr/>
            </p:nvSpPr>
            <p:spPr>
              <a:xfrm>
                <a:off x="561276" y="5225455"/>
                <a:ext cx="120614" cy="200637"/>
              </a:xfrm>
              <a:custGeom>
                <a:avLst/>
                <a:gdLst>
                  <a:gd name="connsiteX0" fmla="*/ 20489 w 120614"/>
                  <a:gd name="connsiteY0" fmla="*/ 200637 h 200637"/>
                  <a:gd name="connsiteX1" fmla="*/ 5799 w 120614"/>
                  <a:gd name="connsiteY1" fmla="*/ 194452 h 200637"/>
                  <a:gd name="connsiteX2" fmla="*/ 5799 w 120614"/>
                  <a:gd name="connsiteY2" fmla="*/ 165072 h 200637"/>
                  <a:gd name="connsiteX3" fmla="*/ 70745 w 120614"/>
                  <a:gd name="connsiteY3" fmla="*/ 100125 h 200637"/>
                  <a:gd name="connsiteX4" fmla="*/ 5799 w 120614"/>
                  <a:gd name="connsiteY4" fmla="*/ 35180 h 200637"/>
                  <a:gd name="connsiteX5" fmla="*/ 5799 w 120614"/>
                  <a:gd name="connsiteY5" fmla="*/ 5799 h 200637"/>
                  <a:gd name="connsiteX6" fmla="*/ 35179 w 120614"/>
                  <a:gd name="connsiteY6" fmla="*/ 5799 h 200637"/>
                  <a:gd name="connsiteX7" fmla="*/ 114815 w 120614"/>
                  <a:gd name="connsiteY7" fmla="*/ 86208 h 200637"/>
                  <a:gd name="connsiteX8" fmla="*/ 114815 w 120614"/>
                  <a:gd name="connsiteY8" fmla="*/ 114816 h 200637"/>
                  <a:gd name="connsiteX9" fmla="*/ 35179 w 120614"/>
                  <a:gd name="connsiteY9" fmla="*/ 194452 h 200637"/>
                  <a:gd name="connsiteX10" fmla="*/ 20489 w 120614"/>
                  <a:gd name="connsiteY10" fmla="*/ 200637 h 200637"/>
                  <a:gd name="connsiteX11" fmla="*/ 20489 w 120614"/>
                  <a:gd name="connsiteY11" fmla="*/ 200637 h 200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0614" h="200637">
                    <a:moveTo>
                      <a:pt x="20489" y="200637"/>
                    </a:moveTo>
                    <a:cubicBezTo>
                      <a:pt x="15077" y="200637"/>
                      <a:pt x="9665" y="198318"/>
                      <a:pt x="5799" y="194452"/>
                    </a:cubicBezTo>
                    <a:cubicBezTo>
                      <a:pt x="-1933" y="186720"/>
                      <a:pt x="-1933" y="173576"/>
                      <a:pt x="5799" y="165072"/>
                    </a:cubicBezTo>
                    <a:lnTo>
                      <a:pt x="70745" y="100125"/>
                    </a:lnTo>
                    <a:lnTo>
                      <a:pt x="5799" y="35180"/>
                    </a:lnTo>
                    <a:cubicBezTo>
                      <a:pt x="-1933" y="27448"/>
                      <a:pt x="-1933" y="14304"/>
                      <a:pt x="5799" y="5799"/>
                    </a:cubicBezTo>
                    <a:cubicBezTo>
                      <a:pt x="13530" y="-1933"/>
                      <a:pt x="26674" y="-1933"/>
                      <a:pt x="35179" y="5799"/>
                    </a:cubicBezTo>
                    <a:lnTo>
                      <a:pt x="114815" y="86208"/>
                    </a:lnTo>
                    <a:cubicBezTo>
                      <a:pt x="122547" y="93940"/>
                      <a:pt x="122547" y="107084"/>
                      <a:pt x="114815" y="114816"/>
                    </a:cubicBezTo>
                    <a:lnTo>
                      <a:pt x="35179" y="194452"/>
                    </a:lnTo>
                    <a:cubicBezTo>
                      <a:pt x="31313" y="199091"/>
                      <a:pt x="25901" y="200637"/>
                      <a:pt x="20489" y="200637"/>
                    </a:cubicBezTo>
                    <a:lnTo>
                      <a:pt x="20489" y="200637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55" name="Forma Livre: Forma 254">
                <a:extLst>
                  <a:ext uri="{FF2B5EF4-FFF2-40B4-BE49-F238E27FC236}">
                    <a16:creationId xmlns:a16="http://schemas.microsoft.com/office/drawing/2014/main" id="{62F1A304-8B54-453A-A58D-F840034B3249}"/>
                  </a:ext>
                </a:extLst>
              </p:cNvPr>
              <p:cNvSpPr/>
              <p:nvPr/>
            </p:nvSpPr>
            <p:spPr>
              <a:xfrm>
                <a:off x="292187" y="5038323"/>
                <a:ext cx="362255" cy="308133"/>
              </a:xfrm>
              <a:custGeom>
                <a:avLst/>
                <a:gdLst>
                  <a:gd name="connsiteX0" fmla="*/ 341380 w 362255"/>
                  <a:gd name="connsiteY0" fmla="*/ 308134 h 308133"/>
                  <a:gd name="connsiteX1" fmla="*/ 413 w 362255"/>
                  <a:gd name="connsiteY1" fmla="*/ 24381 h 308133"/>
                  <a:gd name="connsiteX2" fmla="*/ 16649 w 362255"/>
                  <a:gd name="connsiteY2" fmla="*/ 413 h 308133"/>
                  <a:gd name="connsiteX3" fmla="*/ 40618 w 362255"/>
                  <a:gd name="connsiteY3" fmla="*/ 16649 h 308133"/>
                  <a:gd name="connsiteX4" fmla="*/ 341380 w 362255"/>
                  <a:gd name="connsiteY4" fmla="*/ 267156 h 308133"/>
                  <a:gd name="connsiteX5" fmla="*/ 362255 w 362255"/>
                  <a:gd name="connsiteY5" fmla="*/ 288031 h 308133"/>
                  <a:gd name="connsiteX6" fmla="*/ 341380 w 362255"/>
                  <a:gd name="connsiteY6" fmla="*/ 308134 h 308133"/>
                  <a:gd name="connsiteX7" fmla="*/ 341380 w 362255"/>
                  <a:gd name="connsiteY7" fmla="*/ 308134 h 3081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62255" h="308133">
                    <a:moveTo>
                      <a:pt x="341380" y="308134"/>
                    </a:moveTo>
                    <a:cubicBezTo>
                      <a:pt x="175149" y="308134"/>
                      <a:pt x="32113" y="189066"/>
                      <a:pt x="413" y="24381"/>
                    </a:cubicBezTo>
                    <a:cubicBezTo>
                      <a:pt x="-1907" y="13557"/>
                      <a:pt x="5825" y="2732"/>
                      <a:pt x="16649" y="413"/>
                    </a:cubicBezTo>
                    <a:cubicBezTo>
                      <a:pt x="27474" y="-1907"/>
                      <a:pt x="38298" y="5825"/>
                      <a:pt x="40618" y="16649"/>
                    </a:cubicBezTo>
                    <a:cubicBezTo>
                      <a:pt x="68452" y="162005"/>
                      <a:pt x="195251" y="267156"/>
                      <a:pt x="341380" y="267156"/>
                    </a:cubicBezTo>
                    <a:cubicBezTo>
                      <a:pt x="352977" y="267156"/>
                      <a:pt x="362255" y="276434"/>
                      <a:pt x="362255" y="288031"/>
                    </a:cubicBezTo>
                    <a:cubicBezTo>
                      <a:pt x="361482" y="299629"/>
                      <a:pt x="352204" y="308134"/>
                      <a:pt x="341380" y="308134"/>
                    </a:cubicBezTo>
                    <a:lnTo>
                      <a:pt x="341380" y="308134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256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8401807" y="4672810"/>
              <a:ext cx="366944" cy="311198"/>
              <a:chOff x="9006203" y="5139247"/>
              <a:chExt cx="463127" cy="392769"/>
            </a:xfrm>
            <a:solidFill>
              <a:srgbClr val="B1B1A1"/>
            </a:solidFill>
          </p:grpSpPr>
          <p:sp>
            <p:nvSpPr>
              <p:cNvPr id="257" name="Forma Livre: Forma 256">
                <a:extLst>
                  <a:ext uri="{FF2B5EF4-FFF2-40B4-BE49-F238E27FC236}">
                    <a16:creationId xmlns:a16="http://schemas.microsoft.com/office/drawing/2014/main" id="{B41F097D-3ED1-455A-9229-3C5204057E43}"/>
                  </a:ext>
                </a:extLst>
              </p:cNvPr>
              <p:cNvSpPr/>
              <p:nvPr/>
            </p:nvSpPr>
            <p:spPr>
              <a:xfrm>
                <a:off x="9006203" y="5155484"/>
                <a:ext cx="463127" cy="376532"/>
              </a:xfrm>
              <a:custGeom>
                <a:avLst/>
                <a:gdLst>
                  <a:gd name="connsiteX0" fmla="*/ 442252 w 463127"/>
                  <a:gd name="connsiteY0" fmla="*/ 376533 h 376532"/>
                  <a:gd name="connsiteX1" fmla="*/ 20875 w 463127"/>
                  <a:gd name="connsiteY1" fmla="*/ 376533 h 376532"/>
                  <a:gd name="connsiteX2" fmla="*/ 0 w 463127"/>
                  <a:gd name="connsiteY2" fmla="*/ 355657 h 376532"/>
                  <a:gd name="connsiteX3" fmla="*/ 0 w 463127"/>
                  <a:gd name="connsiteY3" fmla="*/ 20876 h 376532"/>
                  <a:gd name="connsiteX4" fmla="*/ 20875 w 463127"/>
                  <a:gd name="connsiteY4" fmla="*/ 0 h 376532"/>
                  <a:gd name="connsiteX5" fmla="*/ 442252 w 463127"/>
                  <a:gd name="connsiteY5" fmla="*/ 0 h 376532"/>
                  <a:gd name="connsiteX6" fmla="*/ 463128 w 463127"/>
                  <a:gd name="connsiteY6" fmla="*/ 20876 h 376532"/>
                  <a:gd name="connsiteX7" fmla="*/ 463128 w 463127"/>
                  <a:gd name="connsiteY7" fmla="*/ 355657 h 376532"/>
                  <a:gd name="connsiteX8" fmla="*/ 442252 w 463127"/>
                  <a:gd name="connsiteY8" fmla="*/ 376533 h 376532"/>
                  <a:gd name="connsiteX9" fmla="*/ 442252 w 463127"/>
                  <a:gd name="connsiteY9" fmla="*/ 376533 h 376532"/>
                  <a:gd name="connsiteX10" fmla="*/ 41751 w 463127"/>
                  <a:gd name="connsiteY10" fmla="*/ 335555 h 376532"/>
                  <a:gd name="connsiteX11" fmla="*/ 422150 w 463127"/>
                  <a:gd name="connsiteY11" fmla="*/ 335555 h 376532"/>
                  <a:gd name="connsiteX12" fmla="*/ 422150 w 463127"/>
                  <a:gd name="connsiteY12" fmla="*/ 41751 h 376532"/>
                  <a:gd name="connsiteX13" fmla="*/ 41751 w 463127"/>
                  <a:gd name="connsiteY13" fmla="*/ 41751 h 376532"/>
                  <a:gd name="connsiteX14" fmla="*/ 41751 w 463127"/>
                  <a:gd name="connsiteY14" fmla="*/ 335555 h 376532"/>
                  <a:gd name="connsiteX15" fmla="*/ 41751 w 463127"/>
                  <a:gd name="connsiteY15" fmla="*/ 335555 h 3765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63127" h="376532">
                    <a:moveTo>
                      <a:pt x="442252" y="376533"/>
                    </a:moveTo>
                    <a:lnTo>
                      <a:pt x="20875" y="376533"/>
                    </a:lnTo>
                    <a:cubicBezTo>
                      <a:pt x="9278" y="376533"/>
                      <a:pt x="0" y="367255"/>
                      <a:pt x="0" y="355657"/>
                    </a:cubicBezTo>
                    <a:lnTo>
                      <a:pt x="0" y="20876"/>
                    </a:lnTo>
                    <a:cubicBezTo>
                      <a:pt x="0" y="9278"/>
                      <a:pt x="9278" y="0"/>
                      <a:pt x="20875" y="0"/>
                    </a:cubicBezTo>
                    <a:lnTo>
                      <a:pt x="442252" y="0"/>
                    </a:lnTo>
                    <a:cubicBezTo>
                      <a:pt x="453849" y="0"/>
                      <a:pt x="463128" y="9278"/>
                      <a:pt x="463128" y="20876"/>
                    </a:cubicBezTo>
                    <a:lnTo>
                      <a:pt x="463128" y="355657"/>
                    </a:lnTo>
                    <a:cubicBezTo>
                      <a:pt x="463128" y="367255"/>
                      <a:pt x="453849" y="376533"/>
                      <a:pt x="442252" y="376533"/>
                    </a:cubicBezTo>
                    <a:lnTo>
                      <a:pt x="442252" y="376533"/>
                    </a:lnTo>
                    <a:close/>
                    <a:moveTo>
                      <a:pt x="41751" y="335555"/>
                    </a:moveTo>
                    <a:lnTo>
                      <a:pt x="422150" y="335555"/>
                    </a:lnTo>
                    <a:lnTo>
                      <a:pt x="422150" y="41751"/>
                    </a:lnTo>
                    <a:lnTo>
                      <a:pt x="41751" y="41751"/>
                    </a:lnTo>
                    <a:lnTo>
                      <a:pt x="41751" y="335555"/>
                    </a:lnTo>
                    <a:lnTo>
                      <a:pt x="41751" y="335555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58" name="Forma Livre: Forma 257">
                <a:extLst>
                  <a:ext uri="{FF2B5EF4-FFF2-40B4-BE49-F238E27FC236}">
                    <a16:creationId xmlns:a16="http://schemas.microsoft.com/office/drawing/2014/main" id="{0F2451A0-8004-41ED-A4AB-C87A07989A1B}"/>
                  </a:ext>
                </a:extLst>
              </p:cNvPr>
              <p:cNvSpPr/>
              <p:nvPr/>
            </p:nvSpPr>
            <p:spPr>
              <a:xfrm>
                <a:off x="9100530" y="5238213"/>
                <a:ext cx="108243" cy="117521"/>
              </a:xfrm>
              <a:custGeom>
                <a:avLst/>
                <a:gdLst>
                  <a:gd name="connsiteX0" fmla="*/ 54122 w 108243"/>
                  <a:gd name="connsiteY0" fmla="*/ 117522 h 117521"/>
                  <a:gd name="connsiteX1" fmla="*/ 0 w 108243"/>
                  <a:gd name="connsiteY1" fmla="*/ 58761 h 117521"/>
                  <a:gd name="connsiteX2" fmla="*/ 54122 w 108243"/>
                  <a:gd name="connsiteY2" fmla="*/ 0 h 117521"/>
                  <a:gd name="connsiteX3" fmla="*/ 108244 w 108243"/>
                  <a:gd name="connsiteY3" fmla="*/ 58761 h 117521"/>
                  <a:gd name="connsiteX4" fmla="*/ 54122 w 108243"/>
                  <a:gd name="connsiteY4" fmla="*/ 117522 h 117521"/>
                  <a:gd name="connsiteX5" fmla="*/ 54122 w 108243"/>
                  <a:gd name="connsiteY5" fmla="*/ 117522 h 117521"/>
                  <a:gd name="connsiteX6" fmla="*/ 54122 w 108243"/>
                  <a:gd name="connsiteY6" fmla="*/ 40205 h 117521"/>
                  <a:gd name="connsiteX7" fmla="*/ 40978 w 108243"/>
                  <a:gd name="connsiteY7" fmla="*/ 57988 h 117521"/>
                  <a:gd name="connsiteX8" fmla="*/ 54122 w 108243"/>
                  <a:gd name="connsiteY8" fmla="*/ 75770 h 117521"/>
                  <a:gd name="connsiteX9" fmla="*/ 66492 w 108243"/>
                  <a:gd name="connsiteY9" fmla="*/ 57988 h 117521"/>
                  <a:gd name="connsiteX10" fmla="*/ 54122 w 108243"/>
                  <a:gd name="connsiteY10" fmla="*/ 40205 h 117521"/>
                  <a:gd name="connsiteX11" fmla="*/ 54122 w 108243"/>
                  <a:gd name="connsiteY11" fmla="*/ 40205 h 1175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8243" h="117521">
                    <a:moveTo>
                      <a:pt x="54122" y="117522"/>
                    </a:moveTo>
                    <a:cubicBezTo>
                      <a:pt x="24742" y="117522"/>
                      <a:pt x="0" y="91234"/>
                      <a:pt x="0" y="58761"/>
                    </a:cubicBezTo>
                    <a:cubicBezTo>
                      <a:pt x="0" y="26288"/>
                      <a:pt x="23968" y="0"/>
                      <a:pt x="54122" y="0"/>
                    </a:cubicBezTo>
                    <a:cubicBezTo>
                      <a:pt x="83503" y="0"/>
                      <a:pt x="108244" y="26288"/>
                      <a:pt x="108244" y="58761"/>
                    </a:cubicBezTo>
                    <a:cubicBezTo>
                      <a:pt x="108244" y="90461"/>
                      <a:pt x="84276" y="117522"/>
                      <a:pt x="54122" y="117522"/>
                    </a:cubicBezTo>
                    <a:lnTo>
                      <a:pt x="54122" y="117522"/>
                    </a:lnTo>
                    <a:close/>
                    <a:moveTo>
                      <a:pt x="54122" y="40205"/>
                    </a:moveTo>
                    <a:cubicBezTo>
                      <a:pt x="47163" y="40205"/>
                      <a:pt x="40978" y="48709"/>
                      <a:pt x="40978" y="57988"/>
                    </a:cubicBezTo>
                    <a:cubicBezTo>
                      <a:pt x="40978" y="68039"/>
                      <a:pt x="47163" y="75770"/>
                      <a:pt x="54122" y="75770"/>
                    </a:cubicBezTo>
                    <a:cubicBezTo>
                      <a:pt x="61080" y="75770"/>
                      <a:pt x="66492" y="67266"/>
                      <a:pt x="66492" y="57988"/>
                    </a:cubicBezTo>
                    <a:cubicBezTo>
                      <a:pt x="67266" y="48709"/>
                      <a:pt x="61080" y="40205"/>
                      <a:pt x="54122" y="40205"/>
                    </a:cubicBezTo>
                    <a:lnTo>
                      <a:pt x="54122" y="40205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59" name="Forma Livre: Forma 258">
                <a:extLst>
                  <a:ext uri="{FF2B5EF4-FFF2-40B4-BE49-F238E27FC236}">
                    <a16:creationId xmlns:a16="http://schemas.microsoft.com/office/drawing/2014/main" id="{CF82F672-C60C-49B0-BEA7-A4A475DB200C}"/>
                  </a:ext>
                </a:extLst>
              </p:cNvPr>
              <p:cNvSpPr/>
              <p:nvPr/>
            </p:nvSpPr>
            <p:spPr>
              <a:xfrm>
                <a:off x="9067172" y="5348776"/>
                <a:ext cx="174876" cy="120614"/>
              </a:xfrm>
              <a:custGeom>
                <a:avLst/>
                <a:gdLst>
                  <a:gd name="connsiteX0" fmla="*/ 151652 w 174876"/>
                  <a:gd name="connsiteY0" fmla="*/ 120614 h 120614"/>
                  <a:gd name="connsiteX1" fmla="*/ 23307 w 174876"/>
                  <a:gd name="connsiteY1" fmla="*/ 120614 h 120614"/>
                  <a:gd name="connsiteX2" fmla="*/ 3204 w 174876"/>
                  <a:gd name="connsiteY2" fmla="*/ 101285 h 120614"/>
                  <a:gd name="connsiteX3" fmla="*/ 112 w 174876"/>
                  <a:gd name="connsiteY3" fmla="*/ 59534 h 120614"/>
                  <a:gd name="connsiteX4" fmla="*/ 33357 w 174876"/>
                  <a:gd name="connsiteY4" fmla="*/ 9278 h 120614"/>
                  <a:gd name="connsiteX5" fmla="*/ 140828 w 174876"/>
                  <a:gd name="connsiteY5" fmla="*/ 9278 h 120614"/>
                  <a:gd name="connsiteX6" fmla="*/ 174848 w 174876"/>
                  <a:gd name="connsiteY6" fmla="*/ 59534 h 120614"/>
                  <a:gd name="connsiteX7" fmla="*/ 171755 w 174876"/>
                  <a:gd name="connsiteY7" fmla="*/ 100512 h 120614"/>
                  <a:gd name="connsiteX8" fmla="*/ 151652 w 174876"/>
                  <a:gd name="connsiteY8" fmla="*/ 120614 h 120614"/>
                  <a:gd name="connsiteX9" fmla="*/ 151652 w 174876"/>
                  <a:gd name="connsiteY9" fmla="*/ 120614 h 120614"/>
                  <a:gd name="connsiteX10" fmla="*/ 42636 w 174876"/>
                  <a:gd name="connsiteY10" fmla="*/ 78863 h 120614"/>
                  <a:gd name="connsiteX11" fmla="*/ 132323 w 174876"/>
                  <a:gd name="connsiteY11" fmla="*/ 78863 h 120614"/>
                  <a:gd name="connsiteX12" fmla="*/ 133869 w 174876"/>
                  <a:gd name="connsiteY12" fmla="*/ 56441 h 120614"/>
                  <a:gd name="connsiteX13" fmla="*/ 126911 w 174876"/>
                  <a:gd name="connsiteY13" fmla="*/ 47163 h 120614"/>
                  <a:gd name="connsiteX14" fmla="*/ 47275 w 174876"/>
                  <a:gd name="connsiteY14" fmla="*/ 47163 h 120614"/>
                  <a:gd name="connsiteX15" fmla="*/ 41089 w 174876"/>
                  <a:gd name="connsiteY15" fmla="*/ 56441 h 120614"/>
                  <a:gd name="connsiteX16" fmla="*/ 42636 w 174876"/>
                  <a:gd name="connsiteY16" fmla="*/ 78863 h 120614"/>
                  <a:gd name="connsiteX17" fmla="*/ 42636 w 174876"/>
                  <a:gd name="connsiteY17" fmla="*/ 78863 h 1206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74876" h="120614">
                    <a:moveTo>
                      <a:pt x="151652" y="120614"/>
                    </a:moveTo>
                    <a:lnTo>
                      <a:pt x="23307" y="120614"/>
                    </a:lnTo>
                    <a:cubicBezTo>
                      <a:pt x="12482" y="120614"/>
                      <a:pt x="3978" y="112109"/>
                      <a:pt x="3204" y="101285"/>
                    </a:cubicBezTo>
                    <a:lnTo>
                      <a:pt x="112" y="59534"/>
                    </a:lnTo>
                    <a:cubicBezTo>
                      <a:pt x="-1435" y="38658"/>
                      <a:pt x="13255" y="17010"/>
                      <a:pt x="33357" y="9278"/>
                    </a:cubicBezTo>
                    <a:cubicBezTo>
                      <a:pt x="68150" y="-3093"/>
                      <a:pt x="106808" y="-3093"/>
                      <a:pt x="140828" y="9278"/>
                    </a:cubicBezTo>
                    <a:cubicBezTo>
                      <a:pt x="160930" y="17010"/>
                      <a:pt x="175620" y="38658"/>
                      <a:pt x="174848" y="59534"/>
                    </a:cubicBezTo>
                    <a:lnTo>
                      <a:pt x="171755" y="100512"/>
                    </a:lnTo>
                    <a:cubicBezTo>
                      <a:pt x="171755" y="112109"/>
                      <a:pt x="162477" y="120614"/>
                      <a:pt x="151652" y="120614"/>
                    </a:cubicBezTo>
                    <a:lnTo>
                      <a:pt x="151652" y="120614"/>
                    </a:lnTo>
                    <a:close/>
                    <a:moveTo>
                      <a:pt x="42636" y="78863"/>
                    </a:moveTo>
                    <a:lnTo>
                      <a:pt x="132323" y="78863"/>
                    </a:lnTo>
                    <a:lnTo>
                      <a:pt x="133869" y="56441"/>
                    </a:lnTo>
                    <a:cubicBezTo>
                      <a:pt x="133869" y="54122"/>
                      <a:pt x="130776" y="48709"/>
                      <a:pt x="126911" y="47163"/>
                    </a:cubicBezTo>
                    <a:cubicBezTo>
                      <a:pt x="101397" y="37885"/>
                      <a:pt x="72789" y="37885"/>
                      <a:pt x="47275" y="47163"/>
                    </a:cubicBezTo>
                    <a:cubicBezTo>
                      <a:pt x="44182" y="48709"/>
                      <a:pt x="41089" y="54122"/>
                      <a:pt x="41089" y="56441"/>
                    </a:cubicBezTo>
                    <a:lnTo>
                      <a:pt x="42636" y="78863"/>
                    </a:lnTo>
                    <a:lnTo>
                      <a:pt x="42636" y="78863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60" name="Forma Livre: Forma 259">
                <a:extLst>
                  <a:ext uri="{FF2B5EF4-FFF2-40B4-BE49-F238E27FC236}">
                    <a16:creationId xmlns:a16="http://schemas.microsoft.com/office/drawing/2014/main" id="{C2C1ACFE-5906-4249-A354-3C1BA05CB745}"/>
                  </a:ext>
                </a:extLst>
              </p:cNvPr>
              <p:cNvSpPr/>
              <p:nvPr/>
            </p:nvSpPr>
            <p:spPr>
              <a:xfrm>
                <a:off x="9129910" y="5139247"/>
                <a:ext cx="225018" cy="71131"/>
              </a:xfrm>
              <a:custGeom>
                <a:avLst/>
                <a:gdLst>
                  <a:gd name="connsiteX0" fmla="*/ 189426 w 225018"/>
                  <a:gd name="connsiteY0" fmla="*/ 0 h 71131"/>
                  <a:gd name="connsiteX1" fmla="*/ 35566 w 225018"/>
                  <a:gd name="connsiteY1" fmla="*/ 0 h 71131"/>
                  <a:gd name="connsiteX2" fmla="*/ 0 w 225018"/>
                  <a:gd name="connsiteY2" fmla="*/ 35566 h 71131"/>
                  <a:gd name="connsiteX3" fmla="*/ 35566 w 225018"/>
                  <a:gd name="connsiteY3" fmla="*/ 71132 h 71131"/>
                  <a:gd name="connsiteX4" fmla="*/ 189426 w 225018"/>
                  <a:gd name="connsiteY4" fmla="*/ 71132 h 71131"/>
                  <a:gd name="connsiteX5" fmla="*/ 224992 w 225018"/>
                  <a:gd name="connsiteY5" fmla="*/ 35566 h 71131"/>
                  <a:gd name="connsiteX6" fmla="*/ 189426 w 225018"/>
                  <a:gd name="connsiteY6" fmla="*/ 0 h 71131"/>
                  <a:gd name="connsiteX7" fmla="*/ 189426 w 225018"/>
                  <a:gd name="connsiteY7" fmla="*/ 0 h 71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25018" h="71131">
                    <a:moveTo>
                      <a:pt x="189426" y="0"/>
                    </a:moveTo>
                    <a:lnTo>
                      <a:pt x="35566" y="0"/>
                    </a:lnTo>
                    <a:cubicBezTo>
                      <a:pt x="15463" y="0"/>
                      <a:pt x="0" y="16236"/>
                      <a:pt x="0" y="35566"/>
                    </a:cubicBezTo>
                    <a:cubicBezTo>
                      <a:pt x="0" y="55668"/>
                      <a:pt x="16236" y="71132"/>
                      <a:pt x="35566" y="71132"/>
                    </a:cubicBezTo>
                    <a:lnTo>
                      <a:pt x="189426" y="71132"/>
                    </a:lnTo>
                    <a:cubicBezTo>
                      <a:pt x="209528" y="71132"/>
                      <a:pt x="224992" y="54895"/>
                      <a:pt x="224992" y="35566"/>
                    </a:cubicBezTo>
                    <a:cubicBezTo>
                      <a:pt x="225765" y="16236"/>
                      <a:pt x="209528" y="0"/>
                      <a:pt x="189426" y="0"/>
                    </a:cubicBezTo>
                    <a:lnTo>
                      <a:pt x="189426" y="0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61" name="Forma Livre: Forma 260">
                <a:extLst>
                  <a:ext uri="{FF2B5EF4-FFF2-40B4-BE49-F238E27FC236}">
                    <a16:creationId xmlns:a16="http://schemas.microsoft.com/office/drawing/2014/main" id="{95A8AFEE-38B5-42A4-BC90-175777C79E5B}"/>
                  </a:ext>
                </a:extLst>
              </p:cNvPr>
              <p:cNvSpPr/>
              <p:nvPr/>
            </p:nvSpPr>
            <p:spPr>
              <a:xfrm>
                <a:off x="9260576" y="5283830"/>
                <a:ext cx="127572" cy="41750"/>
              </a:xfrm>
              <a:custGeom>
                <a:avLst/>
                <a:gdLst>
                  <a:gd name="connsiteX0" fmla="*/ 106697 w 127572"/>
                  <a:gd name="connsiteY0" fmla="*/ 41751 h 41750"/>
                  <a:gd name="connsiteX1" fmla="*/ 20875 w 127572"/>
                  <a:gd name="connsiteY1" fmla="*/ 41751 h 41750"/>
                  <a:gd name="connsiteX2" fmla="*/ 0 w 127572"/>
                  <a:gd name="connsiteY2" fmla="*/ 20875 h 41750"/>
                  <a:gd name="connsiteX3" fmla="*/ 20875 w 127572"/>
                  <a:gd name="connsiteY3" fmla="*/ 0 h 41750"/>
                  <a:gd name="connsiteX4" fmla="*/ 106697 w 127572"/>
                  <a:gd name="connsiteY4" fmla="*/ 0 h 41750"/>
                  <a:gd name="connsiteX5" fmla="*/ 127573 w 127572"/>
                  <a:gd name="connsiteY5" fmla="*/ 20875 h 41750"/>
                  <a:gd name="connsiteX6" fmla="*/ 106697 w 127572"/>
                  <a:gd name="connsiteY6" fmla="*/ 41751 h 41750"/>
                  <a:gd name="connsiteX7" fmla="*/ 106697 w 127572"/>
                  <a:gd name="connsiteY7" fmla="*/ 41751 h 41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7572" h="41750">
                    <a:moveTo>
                      <a:pt x="106697" y="41751"/>
                    </a:moveTo>
                    <a:lnTo>
                      <a:pt x="20875" y="41751"/>
                    </a:lnTo>
                    <a:cubicBezTo>
                      <a:pt x="9278" y="41751"/>
                      <a:pt x="0" y="32473"/>
                      <a:pt x="0" y="20875"/>
                    </a:cubicBezTo>
                    <a:cubicBezTo>
                      <a:pt x="0" y="9278"/>
                      <a:pt x="9278" y="0"/>
                      <a:pt x="20875" y="0"/>
                    </a:cubicBezTo>
                    <a:lnTo>
                      <a:pt x="106697" y="0"/>
                    </a:lnTo>
                    <a:cubicBezTo>
                      <a:pt x="118294" y="0"/>
                      <a:pt x="127573" y="9278"/>
                      <a:pt x="127573" y="20875"/>
                    </a:cubicBezTo>
                    <a:cubicBezTo>
                      <a:pt x="127573" y="33246"/>
                      <a:pt x="118294" y="41751"/>
                      <a:pt x="106697" y="41751"/>
                    </a:cubicBezTo>
                    <a:lnTo>
                      <a:pt x="106697" y="41751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62" name="Forma Livre: Forma 261">
                <a:extLst>
                  <a:ext uri="{FF2B5EF4-FFF2-40B4-BE49-F238E27FC236}">
                    <a16:creationId xmlns:a16="http://schemas.microsoft.com/office/drawing/2014/main" id="{12E38D3C-166A-4ED6-A3F4-D9EF6F351ED9}"/>
                  </a:ext>
                </a:extLst>
              </p:cNvPr>
              <p:cNvSpPr/>
              <p:nvPr/>
            </p:nvSpPr>
            <p:spPr>
              <a:xfrm>
                <a:off x="9260576" y="5348776"/>
                <a:ext cx="127572" cy="41751"/>
              </a:xfrm>
              <a:custGeom>
                <a:avLst/>
                <a:gdLst>
                  <a:gd name="connsiteX0" fmla="*/ 106697 w 127572"/>
                  <a:gd name="connsiteY0" fmla="*/ 41751 h 41751"/>
                  <a:gd name="connsiteX1" fmla="*/ 20875 w 127572"/>
                  <a:gd name="connsiteY1" fmla="*/ 41751 h 41751"/>
                  <a:gd name="connsiteX2" fmla="*/ 0 w 127572"/>
                  <a:gd name="connsiteY2" fmla="*/ 20876 h 41751"/>
                  <a:gd name="connsiteX3" fmla="*/ 20875 w 127572"/>
                  <a:gd name="connsiteY3" fmla="*/ 0 h 41751"/>
                  <a:gd name="connsiteX4" fmla="*/ 106697 w 127572"/>
                  <a:gd name="connsiteY4" fmla="*/ 0 h 41751"/>
                  <a:gd name="connsiteX5" fmla="*/ 127573 w 127572"/>
                  <a:gd name="connsiteY5" fmla="*/ 20876 h 41751"/>
                  <a:gd name="connsiteX6" fmla="*/ 106697 w 127572"/>
                  <a:gd name="connsiteY6" fmla="*/ 41751 h 41751"/>
                  <a:gd name="connsiteX7" fmla="*/ 106697 w 127572"/>
                  <a:gd name="connsiteY7" fmla="*/ 41751 h 41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7572" h="41751">
                    <a:moveTo>
                      <a:pt x="106697" y="41751"/>
                    </a:moveTo>
                    <a:lnTo>
                      <a:pt x="20875" y="41751"/>
                    </a:lnTo>
                    <a:cubicBezTo>
                      <a:pt x="9278" y="41751"/>
                      <a:pt x="0" y="32473"/>
                      <a:pt x="0" y="20876"/>
                    </a:cubicBezTo>
                    <a:cubicBezTo>
                      <a:pt x="0" y="9278"/>
                      <a:pt x="9278" y="0"/>
                      <a:pt x="20875" y="0"/>
                    </a:cubicBezTo>
                    <a:lnTo>
                      <a:pt x="106697" y="0"/>
                    </a:lnTo>
                    <a:cubicBezTo>
                      <a:pt x="118294" y="0"/>
                      <a:pt x="127573" y="9278"/>
                      <a:pt x="127573" y="20876"/>
                    </a:cubicBezTo>
                    <a:cubicBezTo>
                      <a:pt x="127573" y="33246"/>
                      <a:pt x="118294" y="41751"/>
                      <a:pt x="106697" y="41751"/>
                    </a:cubicBezTo>
                    <a:lnTo>
                      <a:pt x="106697" y="41751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263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9341528" y="4626866"/>
              <a:ext cx="450257" cy="395124"/>
              <a:chOff x="10192243" y="5081260"/>
              <a:chExt cx="568278" cy="498693"/>
            </a:xfrm>
            <a:solidFill>
              <a:srgbClr val="B1B1A1"/>
            </a:solidFill>
          </p:grpSpPr>
          <p:sp>
            <p:nvSpPr>
              <p:cNvPr id="264" name="Forma Livre: Forma 263">
                <a:extLst>
                  <a:ext uri="{FF2B5EF4-FFF2-40B4-BE49-F238E27FC236}">
                    <a16:creationId xmlns:a16="http://schemas.microsoft.com/office/drawing/2014/main" id="{AC5EC461-B884-4575-912D-35F99259A56E}"/>
                  </a:ext>
                </a:extLst>
              </p:cNvPr>
              <p:cNvSpPr/>
              <p:nvPr/>
            </p:nvSpPr>
            <p:spPr>
              <a:xfrm>
                <a:off x="10286569" y="5180225"/>
                <a:ext cx="108243" cy="117521"/>
              </a:xfrm>
              <a:custGeom>
                <a:avLst/>
                <a:gdLst>
                  <a:gd name="connsiteX0" fmla="*/ 54122 w 108243"/>
                  <a:gd name="connsiteY0" fmla="*/ 117522 h 117521"/>
                  <a:gd name="connsiteX1" fmla="*/ 0 w 108243"/>
                  <a:gd name="connsiteY1" fmla="*/ 58761 h 117521"/>
                  <a:gd name="connsiteX2" fmla="*/ 54122 w 108243"/>
                  <a:gd name="connsiteY2" fmla="*/ 0 h 117521"/>
                  <a:gd name="connsiteX3" fmla="*/ 108244 w 108243"/>
                  <a:gd name="connsiteY3" fmla="*/ 58761 h 117521"/>
                  <a:gd name="connsiteX4" fmla="*/ 54122 w 108243"/>
                  <a:gd name="connsiteY4" fmla="*/ 117522 h 117521"/>
                  <a:gd name="connsiteX5" fmla="*/ 54122 w 108243"/>
                  <a:gd name="connsiteY5" fmla="*/ 117522 h 117521"/>
                  <a:gd name="connsiteX6" fmla="*/ 54122 w 108243"/>
                  <a:gd name="connsiteY6" fmla="*/ 40205 h 117521"/>
                  <a:gd name="connsiteX7" fmla="*/ 40978 w 108243"/>
                  <a:gd name="connsiteY7" fmla="*/ 57988 h 117521"/>
                  <a:gd name="connsiteX8" fmla="*/ 54122 w 108243"/>
                  <a:gd name="connsiteY8" fmla="*/ 75770 h 117521"/>
                  <a:gd name="connsiteX9" fmla="*/ 67265 w 108243"/>
                  <a:gd name="connsiteY9" fmla="*/ 57988 h 117521"/>
                  <a:gd name="connsiteX10" fmla="*/ 54122 w 108243"/>
                  <a:gd name="connsiteY10" fmla="*/ 40205 h 117521"/>
                  <a:gd name="connsiteX11" fmla="*/ 54122 w 108243"/>
                  <a:gd name="connsiteY11" fmla="*/ 40205 h 1175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8243" h="117521">
                    <a:moveTo>
                      <a:pt x="54122" y="117522"/>
                    </a:moveTo>
                    <a:cubicBezTo>
                      <a:pt x="24741" y="117522"/>
                      <a:pt x="0" y="91234"/>
                      <a:pt x="0" y="58761"/>
                    </a:cubicBezTo>
                    <a:cubicBezTo>
                      <a:pt x="0" y="26288"/>
                      <a:pt x="23968" y="0"/>
                      <a:pt x="54122" y="0"/>
                    </a:cubicBezTo>
                    <a:cubicBezTo>
                      <a:pt x="83503" y="0"/>
                      <a:pt x="108244" y="26288"/>
                      <a:pt x="108244" y="58761"/>
                    </a:cubicBezTo>
                    <a:cubicBezTo>
                      <a:pt x="107471" y="90461"/>
                      <a:pt x="83503" y="117522"/>
                      <a:pt x="54122" y="117522"/>
                    </a:cubicBezTo>
                    <a:lnTo>
                      <a:pt x="54122" y="117522"/>
                    </a:lnTo>
                    <a:close/>
                    <a:moveTo>
                      <a:pt x="54122" y="40205"/>
                    </a:moveTo>
                    <a:cubicBezTo>
                      <a:pt x="47163" y="40205"/>
                      <a:pt x="40978" y="48709"/>
                      <a:pt x="40978" y="57988"/>
                    </a:cubicBezTo>
                    <a:cubicBezTo>
                      <a:pt x="40978" y="68039"/>
                      <a:pt x="47163" y="75770"/>
                      <a:pt x="54122" y="75770"/>
                    </a:cubicBezTo>
                    <a:cubicBezTo>
                      <a:pt x="61080" y="75770"/>
                      <a:pt x="67265" y="67266"/>
                      <a:pt x="67265" y="57988"/>
                    </a:cubicBezTo>
                    <a:cubicBezTo>
                      <a:pt x="66492" y="48709"/>
                      <a:pt x="61080" y="40205"/>
                      <a:pt x="54122" y="40205"/>
                    </a:cubicBezTo>
                    <a:lnTo>
                      <a:pt x="54122" y="40205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65" name="Forma Livre: Forma 264">
                <a:extLst>
                  <a:ext uri="{FF2B5EF4-FFF2-40B4-BE49-F238E27FC236}">
                    <a16:creationId xmlns:a16="http://schemas.microsoft.com/office/drawing/2014/main" id="{2DB1B735-8CD9-4484-860C-DF2CBD9765A1}"/>
                  </a:ext>
                </a:extLst>
              </p:cNvPr>
              <p:cNvSpPr/>
              <p:nvPr/>
            </p:nvSpPr>
            <p:spPr>
              <a:xfrm>
                <a:off x="10253211" y="5290788"/>
                <a:ext cx="174877" cy="120614"/>
              </a:xfrm>
              <a:custGeom>
                <a:avLst/>
                <a:gdLst>
                  <a:gd name="connsiteX0" fmla="*/ 151653 w 174877"/>
                  <a:gd name="connsiteY0" fmla="*/ 120614 h 120614"/>
                  <a:gd name="connsiteX1" fmla="*/ 23307 w 174877"/>
                  <a:gd name="connsiteY1" fmla="*/ 120614 h 120614"/>
                  <a:gd name="connsiteX2" fmla="*/ 3204 w 174877"/>
                  <a:gd name="connsiteY2" fmla="*/ 101285 h 120614"/>
                  <a:gd name="connsiteX3" fmla="*/ 112 w 174877"/>
                  <a:gd name="connsiteY3" fmla="*/ 59534 h 120614"/>
                  <a:gd name="connsiteX4" fmla="*/ 33358 w 174877"/>
                  <a:gd name="connsiteY4" fmla="*/ 9278 h 120614"/>
                  <a:gd name="connsiteX5" fmla="*/ 140829 w 174877"/>
                  <a:gd name="connsiteY5" fmla="*/ 9278 h 120614"/>
                  <a:gd name="connsiteX6" fmla="*/ 174848 w 174877"/>
                  <a:gd name="connsiteY6" fmla="*/ 59534 h 120614"/>
                  <a:gd name="connsiteX7" fmla="*/ 171755 w 174877"/>
                  <a:gd name="connsiteY7" fmla="*/ 100512 h 120614"/>
                  <a:gd name="connsiteX8" fmla="*/ 151653 w 174877"/>
                  <a:gd name="connsiteY8" fmla="*/ 120614 h 120614"/>
                  <a:gd name="connsiteX9" fmla="*/ 151653 w 174877"/>
                  <a:gd name="connsiteY9" fmla="*/ 120614 h 120614"/>
                  <a:gd name="connsiteX10" fmla="*/ 42636 w 174877"/>
                  <a:gd name="connsiteY10" fmla="*/ 78863 h 120614"/>
                  <a:gd name="connsiteX11" fmla="*/ 132324 w 174877"/>
                  <a:gd name="connsiteY11" fmla="*/ 78863 h 120614"/>
                  <a:gd name="connsiteX12" fmla="*/ 133870 w 174877"/>
                  <a:gd name="connsiteY12" fmla="*/ 56441 h 120614"/>
                  <a:gd name="connsiteX13" fmla="*/ 126911 w 174877"/>
                  <a:gd name="connsiteY13" fmla="*/ 47163 h 120614"/>
                  <a:gd name="connsiteX14" fmla="*/ 47276 w 174877"/>
                  <a:gd name="connsiteY14" fmla="*/ 47163 h 120614"/>
                  <a:gd name="connsiteX15" fmla="*/ 41090 w 174877"/>
                  <a:gd name="connsiteY15" fmla="*/ 56441 h 120614"/>
                  <a:gd name="connsiteX16" fmla="*/ 42636 w 174877"/>
                  <a:gd name="connsiteY16" fmla="*/ 78863 h 120614"/>
                  <a:gd name="connsiteX17" fmla="*/ 42636 w 174877"/>
                  <a:gd name="connsiteY17" fmla="*/ 78863 h 1206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74877" h="120614">
                    <a:moveTo>
                      <a:pt x="151653" y="120614"/>
                    </a:moveTo>
                    <a:lnTo>
                      <a:pt x="23307" y="120614"/>
                    </a:lnTo>
                    <a:cubicBezTo>
                      <a:pt x="12483" y="120614"/>
                      <a:pt x="3977" y="112109"/>
                      <a:pt x="3204" y="101285"/>
                    </a:cubicBezTo>
                    <a:lnTo>
                      <a:pt x="112" y="59534"/>
                    </a:lnTo>
                    <a:cubicBezTo>
                      <a:pt x="-1434" y="38658"/>
                      <a:pt x="13256" y="17010"/>
                      <a:pt x="33358" y="9278"/>
                    </a:cubicBezTo>
                    <a:cubicBezTo>
                      <a:pt x="68151" y="-3093"/>
                      <a:pt x="106809" y="-3093"/>
                      <a:pt x="140829" y="9278"/>
                    </a:cubicBezTo>
                    <a:cubicBezTo>
                      <a:pt x="160931" y="17010"/>
                      <a:pt x="175621" y="38658"/>
                      <a:pt x="174848" y="59534"/>
                    </a:cubicBezTo>
                    <a:lnTo>
                      <a:pt x="171755" y="100512"/>
                    </a:lnTo>
                    <a:cubicBezTo>
                      <a:pt x="170982" y="112109"/>
                      <a:pt x="162477" y="120614"/>
                      <a:pt x="151653" y="120614"/>
                    </a:cubicBezTo>
                    <a:lnTo>
                      <a:pt x="151653" y="120614"/>
                    </a:lnTo>
                    <a:close/>
                    <a:moveTo>
                      <a:pt x="42636" y="78863"/>
                    </a:moveTo>
                    <a:lnTo>
                      <a:pt x="132324" y="78863"/>
                    </a:lnTo>
                    <a:lnTo>
                      <a:pt x="133870" y="56441"/>
                    </a:lnTo>
                    <a:cubicBezTo>
                      <a:pt x="133870" y="54122"/>
                      <a:pt x="130777" y="48709"/>
                      <a:pt x="126911" y="47163"/>
                    </a:cubicBezTo>
                    <a:cubicBezTo>
                      <a:pt x="101397" y="37885"/>
                      <a:pt x="72790" y="37885"/>
                      <a:pt x="47276" y="47163"/>
                    </a:cubicBezTo>
                    <a:cubicBezTo>
                      <a:pt x="44183" y="48709"/>
                      <a:pt x="41090" y="54122"/>
                      <a:pt x="41090" y="56441"/>
                    </a:cubicBezTo>
                    <a:lnTo>
                      <a:pt x="42636" y="78863"/>
                    </a:lnTo>
                    <a:lnTo>
                      <a:pt x="42636" y="78863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66" name="Forma Livre: Forma 265">
                <a:extLst>
                  <a:ext uri="{FF2B5EF4-FFF2-40B4-BE49-F238E27FC236}">
                    <a16:creationId xmlns:a16="http://schemas.microsoft.com/office/drawing/2014/main" id="{361D686A-28BF-47D9-86D0-892C338F4174}"/>
                  </a:ext>
                </a:extLst>
              </p:cNvPr>
              <p:cNvSpPr/>
              <p:nvPr/>
            </p:nvSpPr>
            <p:spPr>
              <a:xfrm>
                <a:off x="10315950" y="5081260"/>
                <a:ext cx="224991" cy="71131"/>
              </a:xfrm>
              <a:custGeom>
                <a:avLst/>
                <a:gdLst>
                  <a:gd name="connsiteX0" fmla="*/ 189426 w 224991"/>
                  <a:gd name="connsiteY0" fmla="*/ 0 h 71131"/>
                  <a:gd name="connsiteX1" fmla="*/ 35566 w 224991"/>
                  <a:gd name="connsiteY1" fmla="*/ 0 h 71131"/>
                  <a:gd name="connsiteX2" fmla="*/ 0 w 224991"/>
                  <a:gd name="connsiteY2" fmla="*/ 35566 h 71131"/>
                  <a:gd name="connsiteX3" fmla="*/ 35566 w 224991"/>
                  <a:gd name="connsiteY3" fmla="*/ 71132 h 71131"/>
                  <a:gd name="connsiteX4" fmla="*/ 189426 w 224991"/>
                  <a:gd name="connsiteY4" fmla="*/ 71132 h 71131"/>
                  <a:gd name="connsiteX5" fmla="*/ 224992 w 224991"/>
                  <a:gd name="connsiteY5" fmla="*/ 35566 h 71131"/>
                  <a:gd name="connsiteX6" fmla="*/ 189426 w 224991"/>
                  <a:gd name="connsiteY6" fmla="*/ 0 h 71131"/>
                  <a:gd name="connsiteX7" fmla="*/ 189426 w 224991"/>
                  <a:gd name="connsiteY7" fmla="*/ 0 h 71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24991" h="71131">
                    <a:moveTo>
                      <a:pt x="189426" y="0"/>
                    </a:moveTo>
                    <a:lnTo>
                      <a:pt x="35566" y="0"/>
                    </a:lnTo>
                    <a:cubicBezTo>
                      <a:pt x="15463" y="0"/>
                      <a:pt x="0" y="16236"/>
                      <a:pt x="0" y="35566"/>
                    </a:cubicBezTo>
                    <a:cubicBezTo>
                      <a:pt x="0" y="54895"/>
                      <a:pt x="16236" y="71132"/>
                      <a:pt x="35566" y="71132"/>
                    </a:cubicBezTo>
                    <a:lnTo>
                      <a:pt x="189426" y="71132"/>
                    </a:lnTo>
                    <a:cubicBezTo>
                      <a:pt x="209528" y="71132"/>
                      <a:pt x="224992" y="54895"/>
                      <a:pt x="224992" y="35566"/>
                    </a:cubicBezTo>
                    <a:cubicBezTo>
                      <a:pt x="224992" y="16236"/>
                      <a:pt x="208755" y="0"/>
                      <a:pt x="189426" y="0"/>
                    </a:cubicBezTo>
                    <a:lnTo>
                      <a:pt x="189426" y="0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67" name="Forma Livre: Forma 266">
                <a:extLst>
                  <a:ext uri="{FF2B5EF4-FFF2-40B4-BE49-F238E27FC236}">
                    <a16:creationId xmlns:a16="http://schemas.microsoft.com/office/drawing/2014/main" id="{C70C4E45-C8FA-41E1-88AF-EF05135C1382}"/>
                  </a:ext>
                </a:extLst>
              </p:cNvPr>
              <p:cNvSpPr/>
              <p:nvPr/>
            </p:nvSpPr>
            <p:spPr>
              <a:xfrm>
                <a:off x="10446615" y="5225842"/>
                <a:ext cx="127572" cy="41750"/>
              </a:xfrm>
              <a:custGeom>
                <a:avLst/>
                <a:gdLst>
                  <a:gd name="connsiteX0" fmla="*/ 106698 w 127572"/>
                  <a:gd name="connsiteY0" fmla="*/ 41751 h 41750"/>
                  <a:gd name="connsiteX1" fmla="*/ 20876 w 127572"/>
                  <a:gd name="connsiteY1" fmla="*/ 41751 h 41750"/>
                  <a:gd name="connsiteX2" fmla="*/ 0 w 127572"/>
                  <a:gd name="connsiteY2" fmla="*/ 20875 h 41750"/>
                  <a:gd name="connsiteX3" fmla="*/ 20876 w 127572"/>
                  <a:gd name="connsiteY3" fmla="*/ 0 h 41750"/>
                  <a:gd name="connsiteX4" fmla="*/ 106698 w 127572"/>
                  <a:gd name="connsiteY4" fmla="*/ 0 h 41750"/>
                  <a:gd name="connsiteX5" fmla="*/ 127573 w 127572"/>
                  <a:gd name="connsiteY5" fmla="*/ 20875 h 41750"/>
                  <a:gd name="connsiteX6" fmla="*/ 106698 w 127572"/>
                  <a:gd name="connsiteY6" fmla="*/ 41751 h 41750"/>
                  <a:gd name="connsiteX7" fmla="*/ 106698 w 127572"/>
                  <a:gd name="connsiteY7" fmla="*/ 41751 h 41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7572" h="41750">
                    <a:moveTo>
                      <a:pt x="106698" y="41751"/>
                    </a:moveTo>
                    <a:lnTo>
                      <a:pt x="20876" y="41751"/>
                    </a:lnTo>
                    <a:cubicBezTo>
                      <a:pt x="9279" y="41751"/>
                      <a:pt x="0" y="32473"/>
                      <a:pt x="0" y="20875"/>
                    </a:cubicBezTo>
                    <a:cubicBezTo>
                      <a:pt x="0" y="9278"/>
                      <a:pt x="9279" y="0"/>
                      <a:pt x="20876" y="0"/>
                    </a:cubicBezTo>
                    <a:lnTo>
                      <a:pt x="106698" y="0"/>
                    </a:lnTo>
                    <a:cubicBezTo>
                      <a:pt x="118295" y="0"/>
                      <a:pt x="127573" y="9278"/>
                      <a:pt x="127573" y="20875"/>
                    </a:cubicBezTo>
                    <a:cubicBezTo>
                      <a:pt x="126800" y="33246"/>
                      <a:pt x="117522" y="41751"/>
                      <a:pt x="106698" y="41751"/>
                    </a:cubicBezTo>
                    <a:lnTo>
                      <a:pt x="106698" y="41751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68" name="Forma Livre: Forma 267">
                <a:extLst>
                  <a:ext uri="{FF2B5EF4-FFF2-40B4-BE49-F238E27FC236}">
                    <a16:creationId xmlns:a16="http://schemas.microsoft.com/office/drawing/2014/main" id="{7F8C6BE0-418A-425E-BAA2-E0DCCD369DB0}"/>
                  </a:ext>
                </a:extLst>
              </p:cNvPr>
              <p:cNvSpPr/>
              <p:nvPr/>
            </p:nvSpPr>
            <p:spPr>
              <a:xfrm>
                <a:off x="10446615" y="5290788"/>
                <a:ext cx="127572" cy="41751"/>
              </a:xfrm>
              <a:custGeom>
                <a:avLst/>
                <a:gdLst>
                  <a:gd name="connsiteX0" fmla="*/ 106698 w 127572"/>
                  <a:gd name="connsiteY0" fmla="*/ 41751 h 41751"/>
                  <a:gd name="connsiteX1" fmla="*/ 20876 w 127572"/>
                  <a:gd name="connsiteY1" fmla="*/ 41751 h 41751"/>
                  <a:gd name="connsiteX2" fmla="*/ 0 w 127572"/>
                  <a:gd name="connsiteY2" fmla="*/ 20876 h 41751"/>
                  <a:gd name="connsiteX3" fmla="*/ 20876 w 127572"/>
                  <a:gd name="connsiteY3" fmla="*/ 0 h 41751"/>
                  <a:gd name="connsiteX4" fmla="*/ 106698 w 127572"/>
                  <a:gd name="connsiteY4" fmla="*/ 0 h 41751"/>
                  <a:gd name="connsiteX5" fmla="*/ 127573 w 127572"/>
                  <a:gd name="connsiteY5" fmla="*/ 20876 h 41751"/>
                  <a:gd name="connsiteX6" fmla="*/ 106698 w 127572"/>
                  <a:gd name="connsiteY6" fmla="*/ 41751 h 41751"/>
                  <a:gd name="connsiteX7" fmla="*/ 106698 w 127572"/>
                  <a:gd name="connsiteY7" fmla="*/ 41751 h 41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7572" h="41751">
                    <a:moveTo>
                      <a:pt x="106698" y="41751"/>
                    </a:moveTo>
                    <a:lnTo>
                      <a:pt x="20876" y="41751"/>
                    </a:lnTo>
                    <a:cubicBezTo>
                      <a:pt x="9279" y="41751"/>
                      <a:pt x="0" y="32473"/>
                      <a:pt x="0" y="20876"/>
                    </a:cubicBezTo>
                    <a:cubicBezTo>
                      <a:pt x="0" y="9278"/>
                      <a:pt x="9279" y="0"/>
                      <a:pt x="20876" y="0"/>
                    </a:cubicBezTo>
                    <a:lnTo>
                      <a:pt x="106698" y="0"/>
                    </a:lnTo>
                    <a:cubicBezTo>
                      <a:pt x="118295" y="0"/>
                      <a:pt x="127573" y="9278"/>
                      <a:pt x="127573" y="20876"/>
                    </a:cubicBezTo>
                    <a:cubicBezTo>
                      <a:pt x="126800" y="33246"/>
                      <a:pt x="117522" y="41751"/>
                      <a:pt x="106698" y="41751"/>
                    </a:cubicBezTo>
                    <a:lnTo>
                      <a:pt x="106698" y="41751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69" name="Forma Livre: Forma 268">
                <a:extLst>
                  <a:ext uri="{FF2B5EF4-FFF2-40B4-BE49-F238E27FC236}">
                    <a16:creationId xmlns:a16="http://schemas.microsoft.com/office/drawing/2014/main" id="{18331C1E-FB14-4F93-83C5-1885C39B5CD4}"/>
                  </a:ext>
                </a:extLst>
              </p:cNvPr>
              <p:cNvSpPr/>
              <p:nvPr/>
            </p:nvSpPr>
            <p:spPr>
              <a:xfrm>
                <a:off x="10505376" y="5324807"/>
                <a:ext cx="255145" cy="255145"/>
              </a:xfrm>
              <a:custGeom>
                <a:avLst/>
                <a:gdLst>
                  <a:gd name="connsiteX0" fmla="*/ 127573 w 255145"/>
                  <a:gd name="connsiteY0" fmla="*/ 255145 h 255145"/>
                  <a:gd name="connsiteX1" fmla="*/ 0 w 255145"/>
                  <a:gd name="connsiteY1" fmla="*/ 127573 h 255145"/>
                  <a:gd name="connsiteX2" fmla="*/ 127573 w 255145"/>
                  <a:gd name="connsiteY2" fmla="*/ 0 h 255145"/>
                  <a:gd name="connsiteX3" fmla="*/ 255145 w 255145"/>
                  <a:gd name="connsiteY3" fmla="*/ 127573 h 255145"/>
                  <a:gd name="connsiteX4" fmla="*/ 127573 w 255145"/>
                  <a:gd name="connsiteY4" fmla="*/ 255145 h 255145"/>
                  <a:gd name="connsiteX5" fmla="*/ 127573 w 255145"/>
                  <a:gd name="connsiteY5" fmla="*/ 255145 h 255145"/>
                  <a:gd name="connsiteX6" fmla="*/ 127573 w 255145"/>
                  <a:gd name="connsiteY6" fmla="*/ 20876 h 255145"/>
                  <a:gd name="connsiteX7" fmla="*/ 20875 w 255145"/>
                  <a:gd name="connsiteY7" fmla="*/ 127573 h 255145"/>
                  <a:gd name="connsiteX8" fmla="*/ 127573 w 255145"/>
                  <a:gd name="connsiteY8" fmla="*/ 234270 h 255145"/>
                  <a:gd name="connsiteX9" fmla="*/ 234269 w 255145"/>
                  <a:gd name="connsiteY9" fmla="*/ 127573 h 255145"/>
                  <a:gd name="connsiteX10" fmla="*/ 127573 w 255145"/>
                  <a:gd name="connsiteY10" fmla="*/ 20876 h 255145"/>
                  <a:gd name="connsiteX11" fmla="*/ 127573 w 255145"/>
                  <a:gd name="connsiteY11" fmla="*/ 20876 h 255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55145" h="255145">
                    <a:moveTo>
                      <a:pt x="127573" y="255145"/>
                    </a:moveTo>
                    <a:cubicBezTo>
                      <a:pt x="57214" y="255145"/>
                      <a:pt x="0" y="197931"/>
                      <a:pt x="0" y="127573"/>
                    </a:cubicBezTo>
                    <a:cubicBezTo>
                      <a:pt x="0" y="57214"/>
                      <a:pt x="57214" y="0"/>
                      <a:pt x="127573" y="0"/>
                    </a:cubicBezTo>
                    <a:cubicBezTo>
                      <a:pt x="197931" y="0"/>
                      <a:pt x="255145" y="57214"/>
                      <a:pt x="255145" y="127573"/>
                    </a:cubicBezTo>
                    <a:cubicBezTo>
                      <a:pt x="254372" y="197931"/>
                      <a:pt x="197158" y="255145"/>
                      <a:pt x="127573" y="255145"/>
                    </a:cubicBezTo>
                    <a:lnTo>
                      <a:pt x="127573" y="255145"/>
                    </a:lnTo>
                    <a:close/>
                    <a:moveTo>
                      <a:pt x="127573" y="20876"/>
                    </a:moveTo>
                    <a:cubicBezTo>
                      <a:pt x="68811" y="20876"/>
                      <a:pt x="20875" y="68812"/>
                      <a:pt x="20875" y="127573"/>
                    </a:cubicBezTo>
                    <a:cubicBezTo>
                      <a:pt x="20875" y="186333"/>
                      <a:pt x="68811" y="234270"/>
                      <a:pt x="127573" y="234270"/>
                    </a:cubicBezTo>
                    <a:cubicBezTo>
                      <a:pt x="186333" y="234270"/>
                      <a:pt x="234269" y="186333"/>
                      <a:pt x="234269" y="127573"/>
                    </a:cubicBezTo>
                    <a:cubicBezTo>
                      <a:pt x="234269" y="68812"/>
                      <a:pt x="186333" y="20876"/>
                      <a:pt x="127573" y="20876"/>
                    </a:cubicBezTo>
                    <a:lnTo>
                      <a:pt x="127573" y="20876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70" name="Forma Livre: Forma 269">
                <a:extLst>
                  <a:ext uri="{FF2B5EF4-FFF2-40B4-BE49-F238E27FC236}">
                    <a16:creationId xmlns:a16="http://schemas.microsoft.com/office/drawing/2014/main" id="{FB6E896A-9CAB-4E8B-9BAE-E958A8C918C6}"/>
                  </a:ext>
                </a:extLst>
              </p:cNvPr>
              <p:cNvSpPr/>
              <p:nvPr/>
            </p:nvSpPr>
            <p:spPr>
              <a:xfrm>
                <a:off x="10192243" y="5097496"/>
                <a:ext cx="463126" cy="376532"/>
              </a:xfrm>
              <a:custGeom>
                <a:avLst/>
                <a:gdLst>
                  <a:gd name="connsiteX0" fmla="*/ 323184 w 463126"/>
                  <a:gd name="connsiteY0" fmla="*/ 376533 h 376532"/>
                  <a:gd name="connsiteX1" fmla="*/ 20875 w 463126"/>
                  <a:gd name="connsiteY1" fmla="*/ 376533 h 376532"/>
                  <a:gd name="connsiteX2" fmla="*/ 0 w 463126"/>
                  <a:gd name="connsiteY2" fmla="*/ 355657 h 376532"/>
                  <a:gd name="connsiteX3" fmla="*/ 0 w 463126"/>
                  <a:gd name="connsiteY3" fmla="*/ 20876 h 376532"/>
                  <a:gd name="connsiteX4" fmla="*/ 20875 w 463126"/>
                  <a:gd name="connsiteY4" fmla="*/ 0 h 376532"/>
                  <a:gd name="connsiteX5" fmla="*/ 442252 w 463126"/>
                  <a:gd name="connsiteY5" fmla="*/ 0 h 376532"/>
                  <a:gd name="connsiteX6" fmla="*/ 463127 w 463126"/>
                  <a:gd name="connsiteY6" fmla="*/ 20876 h 376532"/>
                  <a:gd name="connsiteX7" fmla="*/ 463127 w 463126"/>
                  <a:gd name="connsiteY7" fmla="*/ 238136 h 376532"/>
                  <a:gd name="connsiteX8" fmla="*/ 422150 w 463126"/>
                  <a:gd name="connsiteY8" fmla="*/ 238136 h 376532"/>
                  <a:gd name="connsiteX9" fmla="*/ 422150 w 463126"/>
                  <a:gd name="connsiteY9" fmla="*/ 41751 h 376532"/>
                  <a:gd name="connsiteX10" fmla="*/ 41750 w 463126"/>
                  <a:gd name="connsiteY10" fmla="*/ 41751 h 376532"/>
                  <a:gd name="connsiteX11" fmla="*/ 41750 w 463126"/>
                  <a:gd name="connsiteY11" fmla="*/ 335555 h 376532"/>
                  <a:gd name="connsiteX12" fmla="*/ 323957 w 463126"/>
                  <a:gd name="connsiteY12" fmla="*/ 335555 h 376532"/>
                  <a:gd name="connsiteX13" fmla="*/ 323957 w 463126"/>
                  <a:gd name="connsiteY13" fmla="*/ 376533 h 376532"/>
                  <a:gd name="connsiteX14" fmla="*/ 323184 w 463126"/>
                  <a:gd name="connsiteY14" fmla="*/ 376533 h 3765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63126" h="376532">
                    <a:moveTo>
                      <a:pt x="323184" y="376533"/>
                    </a:moveTo>
                    <a:lnTo>
                      <a:pt x="20875" y="376533"/>
                    </a:lnTo>
                    <a:cubicBezTo>
                      <a:pt x="9278" y="376533"/>
                      <a:pt x="0" y="367255"/>
                      <a:pt x="0" y="355657"/>
                    </a:cubicBezTo>
                    <a:lnTo>
                      <a:pt x="0" y="20876"/>
                    </a:lnTo>
                    <a:cubicBezTo>
                      <a:pt x="0" y="9278"/>
                      <a:pt x="9278" y="0"/>
                      <a:pt x="20875" y="0"/>
                    </a:cubicBezTo>
                    <a:lnTo>
                      <a:pt x="442252" y="0"/>
                    </a:lnTo>
                    <a:cubicBezTo>
                      <a:pt x="453849" y="0"/>
                      <a:pt x="463127" y="9278"/>
                      <a:pt x="463127" y="20876"/>
                    </a:cubicBezTo>
                    <a:lnTo>
                      <a:pt x="463127" y="238136"/>
                    </a:lnTo>
                    <a:lnTo>
                      <a:pt x="422150" y="238136"/>
                    </a:lnTo>
                    <a:lnTo>
                      <a:pt x="422150" y="41751"/>
                    </a:lnTo>
                    <a:lnTo>
                      <a:pt x="41750" y="41751"/>
                    </a:lnTo>
                    <a:lnTo>
                      <a:pt x="41750" y="335555"/>
                    </a:lnTo>
                    <a:lnTo>
                      <a:pt x="323957" y="335555"/>
                    </a:lnTo>
                    <a:lnTo>
                      <a:pt x="323957" y="376533"/>
                    </a:lnTo>
                    <a:lnTo>
                      <a:pt x="323184" y="376533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71" name="Forma Livre: Forma 270">
                <a:extLst>
                  <a:ext uri="{FF2B5EF4-FFF2-40B4-BE49-F238E27FC236}">
                    <a16:creationId xmlns:a16="http://schemas.microsoft.com/office/drawing/2014/main" id="{FC0CBD95-A375-4784-A785-6D10C3D7DC3B}"/>
                  </a:ext>
                </a:extLst>
              </p:cNvPr>
              <p:cNvSpPr/>
              <p:nvPr/>
            </p:nvSpPr>
            <p:spPr>
              <a:xfrm>
                <a:off x="10612073" y="5374290"/>
                <a:ext cx="41751" cy="155407"/>
              </a:xfrm>
              <a:custGeom>
                <a:avLst/>
                <a:gdLst>
                  <a:gd name="connsiteX0" fmla="*/ 20876 w 41751"/>
                  <a:gd name="connsiteY0" fmla="*/ 155407 h 155407"/>
                  <a:gd name="connsiteX1" fmla="*/ 0 w 41751"/>
                  <a:gd name="connsiteY1" fmla="*/ 134531 h 155407"/>
                  <a:gd name="connsiteX2" fmla="*/ 0 w 41751"/>
                  <a:gd name="connsiteY2" fmla="*/ 20876 h 155407"/>
                  <a:gd name="connsiteX3" fmla="*/ 20876 w 41751"/>
                  <a:gd name="connsiteY3" fmla="*/ 0 h 155407"/>
                  <a:gd name="connsiteX4" fmla="*/ 41751 w 41751"/>
                  <a:gd name="connsiteY4" fmla="*/ 20876 h 155407"/>
                  <a:gd name="connsiteX5" fmla="*/ 41751 w 41751"/>
                  <a:gd name="connsiteY5" fmla="*/ 134531 h 155407"/>
                  <a:gd name="connsiteX6" fmla="*/ 20876 w 41751"/>
                  <a:gd name="connsiteY6" fmla="*/ 155407 h 155407"/>
                  <a:gd name="connsiteX7" fmla="*/ 20876 w 41751"/>
                  <a:gd name="connsiteY7" fmla="*/ 155407 h 155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51" h="155407">
                    <a:moveTo>
                      <a:pt x="20876" y="155407"/>
                    </a:moveTo>
                    <a:cubicBezTo>
                      <a:pt x="9279" y="155407"/>
                      <a:pt x="0" y="146129"/>
                      <a:pt x="0" y="134531"/>
                    </a:cubicBezTo>
                    <a:lnTo>
                      <a:pt x="0" y="20876"/>
                    </a:lnTo>
                    <a:cubicBezTo>
                      <a:pt x="0" y="9278"/>
                      <a:pt x="9279" y="0"/>
                      <a:pt x="20876" y="0"/>
                    </a:cubicBezTo>
                    <a:cubicBezTo>
                      <a:pt x="32474" y="0"/>
                      <a:pt x="41751" y="9278"/>
                      <a:pt x="41751" y="20876"/>
                    </a:cubicBezTo>
                    <a:lnTo>
                      <a:pt x="41751" y="134531"/>
                    </a:lnTo>
                    <a:cubicBezTo>
                      <a:pt x="40978" y="146129"/>
                      <a:pt x="31700" y="155407"/>
                      <a:pt x="20876" y="155407"/>
                    </a:cubicBezTo>
                    <a:lnTo>
                      <a:pt x="20876" y="155407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72" name="Forma Livre: Forma 271">
                <a:extLst>
                  <a:ext uri="{FF2B5EF4-FFF2-40B4-BE49-F238E27FC236}">
                    <a16:creationId xmlns:a16="http://schemas.microsoft.com/office/drawing/2014/main" id="{3B2B5EE4-EA19-4E0D-A95A-C543FC5F0ACF}"/>
                  </a:ext>
                </a:extLst>
              </p:cNvPr>
              <p:cNvSpPr/>
              <p:nvPr/>
            </p:nvSpPr>
            <p:spPr>
              <a:xfrm>
                <a:off x="10554858" y="5430732"/>
                <a:ext cx="155407" cy="41750"/>
              </a:xfrm>
              <a:custGeom>
                <a:avLst/>
                <a:gdLst>
                  <a:gd name="connsiteX0" fmla="*/ 134531 w 155407"/>
                  <a:gd name="connsiteY0" fmla="*/ 41751 h 41750"/>
                  <a:gd name="connsiteX1" fmla="*/ 20876 w 155407"/>
                  <a:gd name="connsiteY1" fmla="*/ 41751 h 41750"/>
                  <a:gd name="connsiteX2" fmla="*/ 0 w 155407"/>
                  <a:gd name="connsiteY2" fmla="*/ 20875 h 41750"/>
                  <a:gd name="connsiteX3" fmla="*/ 20876 w 155407"/>
                  <a:gd name="connsiteY3" fmla="*/ 0 h 41750"/>
                  <a:gd name="connsiteX4" fmla="*/ 134531 w 155407"/>
                  <a:gd name="connsiteY4" fmla="*/ 0 h 41750"/>
                  <a:gd name="connsiteX5" fmla="*/ 155408 w 155407"/>
                  <a:gd name="connsiteY5" fmla="*/ 20875 h 41750"/>
                  <a:gd name="connsiteX6" fmla="*/ 134531 w 155407"/>
                  <a:gd name="connsiteY6" fmla="*/ 41751 h 41750"/>
                  <a:gd name="connsiteX7" fmla="*/ 134531 w 155407"/>
                  <a:gd name="connsiteY7" fmla="*/ 41751 h 41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5407" h="41750">
                    <a:moveTo>
                      <a:pt x="134531" y="41751"/>
                    </a:moveTo>
                    <a:lnTo>
                      <a:pt x="20876" y="41751"/>
                    </a:lnTo>
                    <a:cubicBezTo>
                      <a:pt x="9279" y="41751"/>
                      <a:pt x="0" y="32473"/>
                      <a:pt x="0" y="20875"/>
                    </a:cubicBezTo>
                    <a:cubicBezTo>
                      <a:pt x="0" y="9278"/>
                      <a:pt x="9279" y="0"/>
                      <a:pt x="20876" y="0"/>
                    </a:cubicBezTo>
                    <a:lnTo>
                      <a:pt x="134531" y="0"/>
                    </a:lnTo>
                    <a:cubicBezTo>
                      <a:pt x="146129" y="0"/>
                      <a:pt x="155408" y="9278"/>
                      <a:pt x="155408" y="20875"/>
                    </a:cubicBezTo>
                    <a:cubicBezTo>
                      <a:pt x="154634" y="33246"/>
                      <a:pt x="146129" y="41751"/>
                      <a:pt x="134531" y="41751"/>
                    </a:cubicBezTo>
                    <a:lnTo>
                      <a:pt x="134531" y="41751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273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10341896" y="4626866"/>
              <a:ext cx="449645" cy="395124"/>
              <a:chOff x="11454826" y="5081260"/>
              <a:chExt cx="567505" cy="498693"/>
            </a:xfrm>
            <a:solidFill>
              <a:srgbClr val="B1B1A1"/>
            </a:solidFill>
          </p:grpSpPr>
          <p:sp>
            <p:nvSpPr>
              <p:cNvPr id="274" name="Forma Livre: Forma 273">
                <a:extLst>
                  <a:ext uri="{FF2B5EF4-FFF2-40B4-BE49-F238E27FC236}">
                    <a16:creationId xmlns:a16="http://schemas.microsoft.com/office/drawing/2014/main" id="{6E5C1643-A31F-49AB-AF8F-9278D28EFF17}"/>
                  </a:ext>
                </a:extLst>
              </p:cNvPr>
              <p:cNvSpPr/>
              <p:nvPr/>
            </p:nvSpPr>
            <p:spPr>
              <a:xfrm>
                <a:off x="11548379" y="5180225"/>
                <a:ext cx="108243" cy="117521"/>
              </a:xfrm>
              <a:custGeom>
                <a:avLst/>
                <a:gdLst>
                  <a:gd name="connsiteX0" fmla="*/ 54122 w 108243"/>
                  <a:gd name="connsiteY0" fmla="*/ 117522 h 117521"/>
                  <a:gd name="connsiteX1" fmla="*/ 0 w 108243"/>
                  <a:gd name="connsiteY1" fmla="*/ 58761 h 117521"/>
                  <a:gd name="connsiteX2" fmla="*/ 54122 w 108243"/>
                  <a:gd name="connsiteY2" fmla="*/ 0 h 117521"/>
                  <a:gd name="connsiteX3" fmla="*/ 108244 w 108243"/>
                  <a:gd name="connsiteY3" fmla="*/ 58761 h 117521"/>
                  <a:gd name="connsiteX4" fmla="*/ 54122 w 108243"/>
                  <a:gd name="connsiteY4" fmla="*/ 117522 h 117521"/>
                  <a:gd name="connsiteX5" fmla="*/ 54122 w 108243"/>
                  <a:gd name="connsiteY5" fmla="*/ 117522 h 117521"/>
                  <a:gd name="connsiteX6" fmla="*/ 54122 w 108243"/>
                  <a:gd name="connsiteY6" fmla="*/ 40205 h 117521"/>
                  <a:gd name="connsiteX7" fmla="*/ 40978 w 108243"/>
                  <a:gd name="connsiteY7" fmla="*/ 57988 h 117521"/>
                  <a:gd name="connsiteX8" fmla="*/ 54122 w 108243"/>
                  <a:gd name="connsiteY8" fmla="*/ 75770 h 117521"/>
                  <a:gd name="connsiteX9" fmla="*/ 67266 w 108243"/>
                  <a:gd name="connsiteY9" fmla="*/ 57988 h 117521"/>
                  <a:gd name="connsiteX10" fmla="*/ 54122 w 108243"/>
                  <a:gd name="connsiteY10" fmla="*/ 40205 h 117521"/>
                  <a:gd name="connsiteX11" fmla="*/ 54122 w 108243"/>
                  <a:gd name="connsiteY11" fmla="*/ 40205 h 1175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8243" h="117521">
                    <a:moveTo>
                      <a:pt x="54122" y="117522"/>
                    </a:moveTo>
                    <a:cubicBezTo>
                      <a:pt x="24742" y="117522"/>
                      <a:pt x="0" y="91234"/>
                      <a:pt x="0" y="58761"/>
                    </a:cubicBezTo>
                    <a:cubicBezTo>
                      <a:pt x="0" y="26288"/>
                      <a:pt x="23969" y="0"/>
                      <a:pt x="54122" y="0"/>
                    </a:cubicBezTo>
                    <a:cubicBezTo>
                      <a:pt x="83503" y="0"/>
                      <a:pt x="108244" y="26288"/>
                      <a:pt x="108244" y="58761"/>
                    </a:cubicBezTo>
                    <a:cubicBezTo>
                      <a:pt x="108244" y="90461"/>
                      <a:pt x="84276" y="117522"/>
                      <a:pt x="54122" y="117522"/>
                    </a:cubicBezTo>
                    <a:lnTo>
                      <a:pt x="54122" y="117522"/>
                    </a:lnTo>
                    <a:close/>
                    <a:moveTo>
                      <a:pt x="54122" y="40205"/>
                    </a:moveTo>
                    <a:cubicBezTo>
                      <a:pt x="47164" y="40205"/>
                      <a:pt x="40978" y="48709"/>
                      <a:pt x="40978" y="57988"/>
                    </a:cubicBezTo>
                    <a:cubicBezTo>
                      <a:pt x="40978" y="68039"/>
                      <a:pt x="47164" y="75770"/>
                      <a:pt x="54122" y="75770"/>
                    </a:cubicBezTo>
                    <a:cubicBezTo>
                      <a:pt x="61080" y="75770"/>
                      <a:pt x="67266" y="67266"/>
                      <a:pt x="67266" y="57988"/>
                    </a:cubicBezTo>
                    <a:cubicBezTo>
                      <a:pt x="67266" y="48709"/>
                      <a:pt x="61080" y="40205"/>
                      <a:pt x="54122" y="40205"/>
                    </a:cubicBezTo>
                    <a:lnTo>
                      <a:pt x="54122" y="40205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75" name="Forma Livre: Forma 274">
                <a:extLst>
                  <a:ext uri="{FF2B5EF4-FFF2-40B4-BE49-F238E27FC236}">
                    <a16:creationId xmlns:a16="http://schemas.microsoft.com/office/drawing/2014/main" id="{FD56D887-2F8E-4D76-9484-F338760A7E03}"/>
                  </a:ext>
                </a:extLst>
              </p:cNvPr>
              <p:cNvSpPr/>
              <p:nvPr/>
            </p:nvSpPr>
            <p:spPr>
              <a:xfrm>
                <a:off x="11515022" y="5290788"/>
                <a:ext cx="174876" cy="120614"/>
              </a:xfrm>
              <a:custGeom>
                <a:avLst/>
                <a:gdLst>
                  <a:gd name="connsiteX0" fmla="*/ 151652 w 174876"/>
                  <a:gd name="connsiteY0" fmla="*/ 120614 h 120614"/>
                  <a:gd name="connsiteX1" fmla="*/ 23307 w 174876"/>
                  <a:gd name="connsiteY1" fmla="*/ 120614 h 120614"/>
                  <a:gd name="connsiteX2" fmla="*/ 3205 w 174876"/>
                  <a:gd name="connsiteY2" fmla="*/ 101285 h 120614"/>
                  <a:gd name="connsiteX3" fmla="*/ 112 w 174876"/>
                  <a:gd name="connsiteY3" fmla="*/ 59534 h 120614"/>
                  <a:gd name="connsiteX4" fmla="*/ 33357 w 174876"/>
                  <a:gd name="connsiteY4" fmla="*/ 9278 h 120614"/>
                  <a:gd name="connsiteX5" fmla="*/ 140828 w 174876"/>
                  <a:gd name="connsiteY5" fmla="*/ 9278 h 120614"/>
                  <a:gd name="connsiteX6" fmla="*/ 174848 w 174876"/>
                  <a:gd name="connsiteY6" fmla="*/ 59534 h 120614"/>
                  <a:gd name="connsiteX7" fmla="*/ 171755 w 174876"/>
                  <a:gd name="connsiteY7" fmla="*/ 100512 h 120614"/>
                  <a:gd name="connsiteX8" fmla="*/ 151652 w 174876"/>
                  <a:gd name="connsiteY8" fmla="*/ 120614 h 120614"/>
                  <a:gd name="connsiteX9" fmla="*/ 151652 w 174876"/>
                  <a:gd name="connsiteY9" fmla="*/ 120614 h 120614"/>
                  <a:gd name="connsiteX10" fmla="*/ 42636 w 174876"/>
                  <a:gd name="connsiteY10" fmla="*/ 78863 h 120614"/>
                  <a:gd name="connsiteX11" fmla="*/ 132323 w 174876"/>
                  <a:gd name="connsiteY11" fmla="*/ 78863 h 120614"/>
                  <a:gd name="connsiteX12" fmla="*/ 133869 w 174876"/>
                  <a:gd name="connsiteY12" fmla="*/ 56441 h 120614"/>
                  <a:gd name="connsiteX13" fmla="*/ 126911 w 174876"/>
                  <a:gd name="connsiteY13" fmla="*/ 47163 h 120614"/>
                  <a:gd name="connsiteX14" fmla="*/ 47275 w 174876"/>
                  <a:gd name="connsiteY14" fmla="*/ 47163 h 120614"/>
                  <a:gd name="connsiteX15" fmla="*/ 41089 w 174876"/>
                  <a:gd name="connsiteY15" fmla="*/ 56441 h 120614"/>
                  <a:gd name="connsiteX16" fmla="*/ 42636 w 174876"/>
                  <a:gd name="connsiteY16" fmla="*/ 78863 h 120614"/>
                  <a:gd name="connsiteX17" fmla="*/ 42636 w 174876"/>
                  <a:gd name="connsiteY17" fmla="*/ 78863 h 1206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74876" h="120614">
                    <a:moveTo>
                      <a:pt x="151652" y="120614"/>
                    </a:moveTo>
                    <a:lnTo>
                      <a:pt x="23307" y="120614"/>
                    </a:lnTo>
                    <a:cubicBezTo>
                      <a:pt x="12482" y="120614"/>
                      <a:pt x="3978" y="112109"/>
                      <a:pt x="3205" y="101285"/>
                    </a:cubicBezTo>
                    <a:lnTo>
                      <a:pt x="112" y="59534"/>
                    </a:lnTo>
                    <a:cubicBezTo>
                      <a:pt x="-1435" y="38658"/>
                      <a:pt x="13255" y="17010"/>
                      <a:pt x="33357" y="9278"/>
                    </a:cubicBezTo>
                    <a:cubicBezTo>
                      <a:pt x="68150" y="-3093"/>
                      <a:pt x="106808" y="-3093"/>
                      <a:pt x="140828" y="9278"/>
                    </a:cubicBezTo>
                    <a:cubicBezTo>
                      <a:pt x="160930" y="17010"/>
                      <a:pt x="175620" y="38658"/>
                      <a:pt x="174848" y="59534"/>
                    </a:cubicBezTo>
                    <a:lnTo>
                      <a:pt x="171755" y="100512"/>
                    </a:lnTo>
                    <a:cubicBezTo>
                      <a:pt x="171755" y="112109"/>
                      <a:pt x="162477" y="120614"/>
                      <a:pt x="151652" y="120614"/>
                    </a:cubicBezTo>
                    <a:lnTo>
                      <a:pt x="151652" y="120614"/>
                    </a:lnTo>
                    <a:close/>
                    <a:moveTo>
                      <a:pt x="42636" y="78863"/>
                    </a:moveTo>
                    <a:lnTo>
                      <a:pt x="132323" y="78863"/>
                    </a:lnTo>
                    <a:lnTo>
                      <a:pt x="133869" y="56441"/>
                    </a:lnTo>
                    <a:cubicBezTo>
                      <a:pt x="133869" y="54122"/>
                      <a:pt x="130777" y="48709"/>
                      <a:pt x="126911" y="47163"/>
                    </a:cubicBezTo>
                    <a:cubicBezTo>
                      <a:pt x="101397" y="37885"/>
                      <a:pt x="72790" y="37885"/>
                      <a:pt x="47275" y="47163"/>
                    </a:cubicBezTo>
                    <a:cubicBezTo>
                      <a:pt x="44182" y="48709"/>
                      <a:pt x="41089" y="54122"/>
                      <a:pt x="41089" y="56441"/>
                    </a:cubicBezTo>
                    <a:lnTo>
                      <a:pt x="42636" y="78863"/>
                    </a:lnTo>
                    <a:lnTo>
                      <a:pt x="42636" y="78863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76" name="Forma Livre: Forma 275">
                <a:extLst>
                  <a:ext uri="{FF2B5EF4-FFF2-40B4-BE49-F238E27FC236}">
                    <a16:creationId xmlns:a16="http://schemas.microsoft.com/office/drawing/2014/main" id="{F90047DE-3595-4AC6-BC62-CE8FFA963110}"/>
                  </a:ext>
                </a:extLst>
              </p:cNvPr>
              <p:cNvSpPr/>
              <p:nvPr/>
            </p:nvSpPr>
            <p:spPr>
              <a:xfrm>
                <a:off x="11577760" y="5081260"/>
                <a:ext cx="224991" cy="71131"/>
              </a:xfrm>
              <a:custGeom>
                <a:avLst/>
                <a:gdLst>
                  <a:gd name="connsiteX0" fmla="*/ 189426 w 224991"/>
                  <a:gd name="connsiteY0" fmla="*/ 0 h 71131"/>
                  <a:gd name="connsiteX1" fmla="*/ 35566 w 224991"/>
                  <a:gd name="connsiteY1" fmla="*/ 0 h 71131"/>
                  <a:gd name="connsiteX2" fmla="*/ 0 w 224991"/>
                  <a:gd name="connsiteY2" fmla="*/ 35566 h 71131"/>
                  <a:gd name="connsiteX3" fmla="*/ 35566 w 224991"/>
                  <a:gd name="connsiteY3" fmla="*/ 71132 h 71131"/>
                  <a:gd name="connsiteX4" fmla="*/ 189426 w 224991"/>
                  <a:gd name="connsiteY4" fmla="*/ 71132 h 71131"/>
                  <a:gd name="connsiteX5" fmla="*/ 224992 w 224991"/>
                  <a:gd name="connsiteY5" fmla="*/ 35566 h 71131"/>
                  <a:gd name="connsiteX6" fmla="*/ 189426 w 224991"/>
                  <a:gd name="connsiteY6" fmla="*/ 0 h 71131"/>
                  <a:gd name="connsiteX7" fmla="*/ 189426 w 224991"/>
                  <a:gd name="connsiteY7" fmla="*/ 0 h 71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24991" h="71131">
                    <a:moveTo>
                      <a:pt x="189426" y="0"/>
                    </a:moveTo>
                    <a:lnTo>
                      <a:pt x="35566" y="0"/>
                    </a:lnTo>
                    <a:cubicBezTo>
                      <a:pt x="15463" y="0"/>
                      <a:pt x="0" y="16236"/>
                      <a:pt x="0" y="35566"/>
                    </a:cubicBezTo>
                    <a:cubicBezTo>
                      <a:pt x="0" y="54895"/>
                      <a:pt x="16236" y="71132"/>
                      <a:pt x="35566" y="71132"/>
                    </a:cubicBezTo>
                    <a:lnTo>
                      <a:pt x="189426" y="71132"/>
                    </a:lnTo>
                    <a:cubicBezTo>
                      <a:pt x="209528" y="71132"/>
                      <a:pt x="224992" y="54895"/>
                      <a:pt x="224992" y="35566"/>
                    </a:cubicBezTo>
                    <a:cubicBezTo>
                      <a:pt x="224992" y="16236"/>
                      <a:pt x="209528" y="0"/>
                      <a:pt x="189426" y="0"/>
                    </a:cubicBezTo>
                    <a:lnTo>
                      <a:pt x="189426" y="0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77" name="Forma Livre: Forma 276">
                <a:extLst>
                  <a:ext uri="{FF2B5EF4-FFF2-40B4-BE49-F238E27FC236}">
                    <a16:creationId xmlns:a16="http://schemas.microsoft.com/office/drawing/2014/main" id="{ACC104EF-4FF7-40C7-A73F-143185C0C3E7}"/>
                  </a:ext>
                </a:extLst>
              </p:cNvPr>
              <p:cNvSpPr/>
              <p:nvPr/>
            </p:nvSpPr>
            <p:spPr>
              <a:xfrm>
                <a:off x="11708425" y="5225842"/>
                <a:ext cx="127572" cy="41750"/>
              </a:xfrm>
              <a:custGeom>
                <a:avLst/>
                <a:gdLst>
                  <a:gd name="connsiteX0" fmla="*/ 106697 w 127572"/>
                  <a:gd name="connsiteY0" fmla="*/ 41751 h 41750"/>
                  <a:gd name="connsiteX1" fmla="*/ 20875 w 127572"/>
                  <a:gd name="connsiteY1" fmla="*/ 41751 h 41750"/>
                  <a:gd name="connsiteX2" fmla="*/ 0 w 127572"/>
                  <a:gd name="connsiteY2" fmla="*/ 20875 h 41750"/>
                  <a:gd name="connsiteX3" fmla="*/ 20875 w 127572"/>
                  <a:gd name="connsiteY3" fmla="*/ 0 h 41750"/>
                  <a:gd name="connsiteX4" fmla="*/ 106697 w 127572"/>
                  <a:gd name="connsiteY4" fmla="*/ 0 h 41750"/>
                  <a:gd name="connsiteX5" fmla="*/ 127573 w 127572"/>
                  <a:gd name="connsiteY5" fmla="*/ 20875 h 41750"/>
                  <a:gd name="connsiteX6" fmla="*/ 106697 w 127572"/>
                  <a:gd name="connsiteY6" fmla="*/ 41751 h 41750"/>
                  <a:gd name="connsiteX7" fmla="*/ 106697 w 127572"/>
                  <a:gd name="connsiteY7" fmla="*/ 41751 h 41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7572" h="41750">
                    <a:moveTo>
                      <a:pt x="106697" y="41751"/>
                    </a:moveTo>
                    <a:lnTo>
                      <a:pt x="20875" y="41751"/>
                    </a:lnTo>
                    <a:cubicBezTo>
                      <a:pt x="9278" y="41751"/>
                      <a:pt x="0" y="32473"/>
                      <a:pt x="0" y="20875"/>
                    </a:cubicBezTo>
                    <a:cubicBezTo>
                      <a:pt x="0" y="9278"/>
                      <a:pt x="9278" y="0"/>
                      <a:pt x="20875" y="0"/>
                    </a:cubicBezTo>
                    <a:lnTo>
                      <a:pt x="106697" y="0"/>
                    </a:lnTo>
                    <a:cubicBezTo>
                      <a:pt x="118294" y="0"/>
                      <a:pt x="127573" y="9278"/>
                      <a:pt x="127573" y="20875"/>
                    </a:cubicBezTo>
                    <a:cubicBezTo>
                      <a:pt x="127573" y="33246"/>
                      <a:pt x="118294" y="41751"/>
                      <a:pt x="106697" y="41751"/>
                    </a:cubicBezTo>
                    <a:lnTo>
                      <a:pt x="106697" y="41751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78" name="Forma Livre: Forma 277">
                <a:extLst>
                  <a:ext uri="{FF2B5EF4-FFF2-40B4-BE49-F238E27FC236}">
                    <a16:creationId xmlns:a16="http://schemas.microsoft.com/office/drawing/2014/main" id="{69FDAE4D-4ABE-4AA4-BD5D-B26A6B1F7496}"/>
                  </a:ext>
                </a:extLst>
              </p:cNvPr>
              <p:cNvSpPr/>
              <p:nvPr/>
            </p:nvSpPr>
            <p:spPr>
              <a:xfrm>
                <a:off x="11708425" y="5290788"/>
                <a:ext cx="127572" cy="41751"/>
              </a:xfrm>
              <a:custGeom>
                <a:avLst/>
                <a:gdLst>
                  <a:gd name="connsiteX0" fmla="*/ 106697 w 127572"/>
                  <a:gd name="connsiteY0" fmla="*/ 41751 h 41751"/>
                  <a:gd name="connsiteX1" fmla="*/ 20875 w 127572"/>
                  <a:gd name="connsiteY1" fmla="*/ 41751 h 41751"/>
                  <a:gd name="connsiteX2" fmla="*/ 0 w 127572"/>
                  <a:gd name="connsiteY2" fmla="*/ 20876 h 41751"/>
                  <a:gd name="connsiteX3" fmla="*/ 20875 w 127572"/>
                  <a:gd name="connsiteY3" fmla="*/ 0 h 41751"/>
                  <a:gd name="connsiteX4" fmla="*/ 106697 w 127572"/>
                  <a:gd name="connsiteY4" fmla="*/ 0 h 41751"/>
                  <a:gd name="connsiteX5" fmla="*/ 127573 w 127572"/>
                  <a:gd name="connsiteY5" fmla="*/ 20876 h 41751"/>
                  <a:gd name="connsiteX6" fmla="*/ 106697 w 127572"/>
                  <a:gd name="connsiteY6" fmla="*/ 41751 h 41751"/>
                  <a:gd name="connsiteX7" fmla="*/ 106697 w 127572"/>
                  <a:gd name="connsiteY7" fmla="*/ 41751 h 41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7572" h="41751">
                    <a:moveTo>
                      <a:pt x="106697" y="41751"/>
                    </a:moveTo>
                    <a:lnTo>
                      <a:pt x="20875" y="41751"/>
                    </a:lnTo>
                    <a:cubicBezTo>
                      <a:pt x="9278" y="41751"/>
                      <a:pt x="0" y="32473"/>
                      <a:pt x="0" y="20876"/>
                    </a:cubicBezTo>
                    <a:cubicBezTo>
                      <a:pt x="0" y="9278"/>
                      <a:pt x="9278" y="0"/>
                      <a:pt x="20875" y="0"/>
                    </a:cubicBezTo>
                    <a:lnTo>
                      <a:pt x="106697" y="0"/>
                    </a:lnTo>
                    <a:cubicBezTo>
                      <a:pt x="118294" y="0"/>
                      <a:pt x="127573" y="9278"/>
                      <a:pt x="127573" y="20876"/>
                    </a:cubicBezTo>
                    <a:cubicBezTo>
                      <a:pt x="127573" y="33246"/>
                      <a:pt x="118294" y="41751"/>
                      <a:pt x="106697" y="41751"/>
                    </a:cubicBezTo>
                    <a:lnTo>
                      <a:pt x="106697" y="41751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79" name="Forma Livre: Forma 278">
                <a:extLst>
                  <a:ext uri="{FF2B5EF4-FFF2-40B4-BE49-F238E27FC236}">
                    <a16:creationId xmlns:a16="http://schemas.microsoft.com/office/drawing/2014/main" id="{D6EB8AF9-C54A-448E-8BA2-0F2C514626F1}"/>
                  </a:ext>
                </a:extLst>
              </p:cNvPr>
              <p:cNvSpPr/>
              <p:nvPr/>
            </p:nvSpPr>
            <p:spPr>
              <a:xfrm>
                <a:off x="11767186" y="5324807"/>
                <a:ext cx="255145" cy="255145"/>
              </a:xfrm>
              <a:custGeom>
                <a:avLst/>
                <a:gdLst>
                  <a:gd name="connsiteX0" fmla="*/ 127573 w 255145"/>
                  <a:gd name="connsiteY0" fmla="*/ 255145 h 255145"/>
                  <a:gd name="connsiteX1" fmla="*/ 0 w 255145"/>
                  <a:gd name="connsiteY1" fmla="*/ 127573 h 255145"/>
                  <a:gd name="connsiteX2" fmla="*/ 127573 w 255145"/>
                  <a:gd name="connsiteY2" fmla="*/ 0 h 255145"/>
                  <a:gd name="connsiteX3" fmla="*/ 255145 w 255145"/>
                  <a:gd name="connsiteY3" fmla="*/ 127573 h 255145"/>
                  <a:gd name="connsiteX4" fmla="*/ 127573 w 255145"/>
                  <a:gd name="connsiteY4" fmla="*/ 255145 h 255145"/>
                  <a:gd name="connsiteX5" fmla="*/ 127573 w 255145"/>
                  <a:gd name="connsiteY5" fmla="*/ 255145 h 255145"/>
                  <a:gd name="connsiteX6" fmla="*/ 127573 w 255145"/>
                  <a:gd name="connsiteY6" fmla="*/ 20876 h 255145"/>
                  <a:gd name="connsiteX7" fmla="*/ 20875 w 255145"/>
                  <a:gd name="connsiteY7" fmla="*/ 127573 h 255145"/>
                  <a:gd name="connsiteX8" fmla="*/ 127573 w 255145"/>
                  <a:gd name="connsiteY8" fmla="*/ 234270 h 255145"/>
                  <a:gd name="connsiteX9" fmla="*/ 234270 w 255145"/>
                  <a:gd name="connsiteY9" fmla="*/ 127573 h 255145"/>
                  <a:gd name="connsiteX10" fmla="*/ 127573 w 255145"/>
                  <a:gd name="connsiteY10" fmla="*/ 20876 h 255145"/>
                  <a:gd name="connsiteX11" fmla="*/ 127573 w 255145"/>
                  <a:gd name="connsiteY11" fmla="*/ 20876 h 255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55145" h="255145">
                    <a:moveTo>
                      <a:pt x="127573" y="255145"/>
                    </a:moveTo>
                    <a:cubicBezTo>
                      <a:pt x="57215" y="255145"/>
                      <a:pt x="0" y="197931"/>
                      <a:pt x="0" y="127573"/>
                    </a:cubicBezTo>
                    <a:cubicBezTo>
                      <a:pt x="0" y="57214"/>
                      <a:pt x="57215" y="0"/>
                      <a:pt x="127573" y="0"/>
                    </a:cubicBezTo>
                    <a:cubicBezTo>
                      <a:pt x="197931" y="0"/>
                      <a:pt x="255145" y="57214"/>
                      <a:pt x="255145" y="127573"/>
                    </a:cubicBezTo>
                    <a:cubicBezTo>
                      <a:pt x="255145" y="197931"/>
                      <a:pt x="197931" y="255145"/>
                      <a:pt x="127573" y="255145"/>
                    </a:cubicBezTo>
                    <a:lnTo>
                      <a:pt x="127573" y="255145"/>
                    </a:lnTo>
                    <a:close/>
                    <a:moveTo>
                      <a:pt x="127573" y="20876"/>
                    </a:moveTo>
                    <a:cubicBezTo>
                      <a:pt x="68812" y="20876"/>
                      <a:pt x="20875" y="68812"/>
                      <a:pt x="20875" y="127573"/>
                    </a:cubicBezTo>
                    <a:cubicBezTo>
                      <a:pt x="20875" y="186333"/>
                      <a:pt x="68812" y="234270"/>
                      <a:pt x="127573" y="234270"/>
                    </a:cubicBezTo>
                    <a:cubicBezTo>
                      <a:pt x="186333" y="234270"/>
                      <a:pt x="234270" y="186333"/>
                      <a:pt x="234270" y="127573"/>
                    </a:cubicBezTo>
                    <a:cubicBezTo>
                      <a:pt x="234270" y="68812"/>
                      <a:pt x="186333" y="20876"/>
                      <a:pt x="127573" y="20876"/>
                    </a:cubicBezTo>
                    <a:lnTo>
                      <a:pt x="127573" y="20876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80" name="Forma Livre: Forma 279">
                <a:extLst>
                  <a:ext uri="{FF2B5EF4-FFF2-40B4-BE49-F238E27FC236}">
                    <a16:creationId xmlns:a16="http://schemas.microsoft.com/office/drawing/2014/main" id="{F0C5E91C-412F-4203-847D-C88EFDEE6715}"/>
                  </a:ext>
                </a:extLst>
              </p:cNvPr>
              <p:cNvSpPr/>
              <p:nvPr/>
            </p:nvSpPr>
            <p:spPr>
              <a:xfrm>
                <a:off x="11454826" y="5097496"/>
                <a:ext cx="463127" cy="376532"/>
              </a:xfrm>
              <a:custGeom>
                <a:avLst/>
                <a:gdLst>
                  <a:gd name="connsiteX0" fmla="*/ 323185 w 463127"/>
                  <a:gd name="connsiteY0" fmla="*/ 376533 h 376532"/>
                  <a:gd name="connsiteX1" fmla="*/ 20876 w 463127"/>
                  <a:gd name="connsiteY1" fmla="*/ 376533 h 376532"/>
                  <a:gd name="connsiteX2" fmla="*/ 0 w 463127"/>
                  <a:gd name="connsiteY2" fmla="*/ 355657 h 376532"/>
                  <a:gd name="connsiteX3" fmla="*/ 0 w 463127"/>
                  <a:gd name="connsiteY3" fmla="*/ 20876 h 376532"/>
                  <a:gd name="connsiteX4" fmla="*/ 20876 w 463127"/>
                  <a:gd name="connsiteY4" fmla="*/ 0 h 376532"/>
                  <a:gd name="connsiteX5" fmla="*/ 442253 w 463127"/>
                  <a:gd name="connsiteY5" fmla="*/ 0 h 376532"/>
                  <a:gd name="connsiteX6" fmla="*/ 463128 w 463127"/>
                  <a:gd name="connsiteY6" fmla="*/ 20876 h 376532"/>
                  <a:gd name="connsiteX7" fmla="*/ 463128 w 463127"/>
                  <a:gd name="connsiteY7" fmla="*/ 238136 h 376532"/>
                  <a:gd name="connsiteX8" fmla="*/ 422150 w 463127"/>
                  <a:gd name="connsiteY8" fmla="*/ 238136 h 376532"/>
                  <a:gd name="connsiteX9" fmla="*/ 422150 w 463127"/>
                  <a:gd name="connsiteY9" fmla="*/ 41751 h 376532"/>
                  <a:gd name="connsiteX10" fmla="*/ 41751 w 463127"/>
                  <a:gd name="connsiteY10" fmla="*/ 41751 h 376532"/>
                  <a:gd name="connsiteX11" fmla="*/ 41751 w 463127"/>
                  <a:gd name="connsiteY11" fmla="*/ 335555 h 376532"/>
                  <a:gd name="connsiteX12" fmla="*/ 323958 w 463127"/>
                  <a:gd name="connsiteY12" fmla="*/ 335555 h 376532"/>
                  <a:gd name="connsiteX13" fmla="*/ 323958 w 463127"/>
                  <a:gd name="connsiteY13" fmla="*/ 376533 h 376532"/>
                  <a:gd name="connsiteX14" fmla="*/ 323185 w 463127"/>
                  <a:gd name="connsiteY14" fmla="*/ 376533 h 3765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63127" h="376532">
                    <a:moveTo>
                      <a:pt x="323185" y="376533"/>
                    </a:moveTo>
                    <a:lnTo>
                      <a:pt x="20876" y="376533"/>
                    </a:lnTo>
                    <a:cubicBezTo>
                      <a:pt x="9279" y="376533"/>
                      <a:pt x="0" y="367255"/>
                      <a:pt x="0" y="355657"/>
                    </a:cubicBezTo>
                    <a:lnTo>
                      <a:pt x="0" y="20876"/>
                    </a:lnTo>
                    <a:cubicBezTo>
                      <a:pt x="0" y="9278"/>
                      <a:pt x="9279" y="0"/>
                      <a:pt x="20876" y="0"/>
                    </a:cubicBezTo>
                    <a:lnTo>
                      <a:pt x="442253" y="0"/>
                    </a:lnTo>
                    <a:cubicBezTo>
                      <a:pt x="453850" y="0"/>
                      <a:pt x="463128" y="9278"/>
                      <a:pt x="463128" y="20876"/>
                    </a:cubicBezTo>
                    <a:lnTo>
                      <a:pt x="463128" y="238136"/>
                    </a:lnTo>
                    <a:lnTo>
                      <a:pt x="422150" y="238136"/>
                    </a:lnTo>
                    <a:lnTo>
                      <a:pt x="422150" y="41751"/>
                    </a:lnTo>
                    <a:lnTo>
                      <a:pt x="41751" y="41751"/>
                    </a:lnTo>
                    <a:lnTo>
                      <a:pt x="41751" y="335555"/>
                    </a:lnTo>
                    <a:lnTo>
                      <a:pt x="323958" y="335555"/>
                    </a:lnTo>
                    <a:lnTo>
                      <a:pt x="323958" y="376533"/>
                    </a:lnTo>
                    <a:lnTo>
                      <a:pt x="323185" y="376533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81" name="Forma Livre: Forma 280">
                <a:extLst>
                  <a:ext uri="{FF2B5EF4-FFF2-40B4-BE49-F238E27FC236}">
                    <a16:creationId xmlns:a16="http://schemas.microsoft.com/office/drawing/2014/main" id="{AA722FC3-3266-4EFE-A813-13D8E1515859}"/>
                  </a:ext>
                </a:extLst>
              </p:cNvPr>
              <p:cNvSpPr/>
              <p:nvPr/>
            </p:nvSpPr>
            <p:spPr>
              <a:xfrm>
                <a:off x="11817442" y="5430732"/>
                <a:ext cx="155406" cy="41750"/>
              </a:xfrm>
              <a:custGeom>
                <a:avLst/>
                <a:gdLst>
                  <a:gd name="connsiteX0" fmla="*/ 134531 w 155406"/>
                  <a:gd name="connsiteY0" fmla="*/ 41751 h 41750"/>
                  <a:gd name="connsiteX1" fmla="*/ 20875 w 155406"/>
                  <a:gd name="connsiteY1" fmla="*/ 41751 h 41750"/>
                  <a:gd name="connsiteX2" fmla="*/ 0 w 155406"/>
                  <a:gd name="connsiteY2" fmla="*/ 20875 h 41750"/>
                  <a:gd name="connsiteX3" fmla="*/ 20875 w 155406"/>
                  <a:gd name="connsiteY3" fmla="*/ 0 h 41750"/>
                  <a:gd name="connsiteX4" fmla="*/ 134531 w 155406"/>
                  <a:gd name="connsiteY4" fmla="*/ 0 h 41750"/>
                  <a:gd name="connsiteX5" fmla="*/ 155407 w 155406"/>
                  <a:gd name="connsiteY5" fmla="*/ 20875 h 41750"/>
                  <a:gd name="connsiteX6" fmla="*/ 134531 w 155406"/>
                  <a:gd name="connsiteY6" fmla="*/ 41751 h 41750"/>
                  <a:gd name="connsiteX7" fmla="*/ 134531 w 155406"/>
                  <a:gd name="connsiteY7" fmla="*/ 41751 h 41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5406" h="41750">
                    <a:moveTo>
                      <a:pt x="134531" y="41751"/>
                    </a:moveTo>
                    <a:lnTo>
                      <a:pt x="20875" y="41751"/>
                    </a:lnTo>
                    <a:cubicBezTo>
                      <a:pt x="9278" y="41751"/>
                      <a:pt x="0" y="32473"/>
                      <a:pt x="0" y="20875"/>
                    </a:cubicBezTo>
                    <a:cubicBezTo>
                      <a:pt x="0" y="9278"/>
                      <a:pt x="9278" y="0"/>
                      <a:pt x="20875" y="0"/>
                    </a:cubicBezTo>
                    <a:lnTo>
                      <a:pt x="134531" y="0"/>
                    </a:lnTo>
                    <a:cubicBezTo>
                      <a:pt x="146129" y="0"/>
                      <a:pt x="155407" y="9278"/>
                      <a:pt x="155407" y="20875"/>
                    </a:cubicBezTo>
                    <a:cubicBezTo>
                      <a:pt x="154634" y="33246"/>
                      <a:pt x="145356" y="41751"/>
                      <a:pt x="134531" y="41751"/>
                    </a:cubicBezTo>
                    <a:lnTo>
                      <a:pt x="134531" y="41751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282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7398989" y="4683837"/>
              <a:ext cx="376745" cy="272604"/>
              <a:chOff x="7740527" y="5153164"/>
              <a:chExt cx="475497" cy="344059"/>
            </a:xfrm>
            <a:solidFill>
              <a:srgbClr val="B1B1A1"/>
            </a:solidFill>
          </p:grpSpPr>
          <p:sp>
            <p:nvSpPr>
              <p:cNvPr id="283" name="Forma Livre: Forma 282">
                <a:extLst>
                  <a:ext uri="{FF2B5EF4-FFF2-40B4-BE49-F238E27FC236}">
                    <a16:creationId xmlns:a16="http://schemas.microsoft.com/office/drawing/2014/main" id="{8FC7B625-B27A-40F6-9940-203A07E6330F}"/>
                  </a:ext>
                </a:extLst>
              </p:cNvPr>
              <p:cNvSpPr/>
              <p:nvPr/>
            </p:nvSpPr>
            <p:spPr>
              <a:xfrm>
                <a:off x="7741300" y="5153164"/>
                <a:ext cx="474724" cy="344059"/>
              </a:xfrm>
              <a:custGeom>
                <a:avLst/>
                <a:gdLst>
                  <a:gd name="connsiteX0" fmla="*/ 426016 w 474724"/>
                  <a:gd name="connsiteY0" fmla="*/ 344060 h 344059"/>
                  <a:gd name="connsiteX1" fmla="*/ 48709 w 474724"/>
                  <a:gd name="connsiteY1" fmla="*/ 344060 h 344059"/>
                  <a:gd name="connsiteX2" fmla="*/ 0 w 474724"/>
                  <a:gd name="connsiteY2" fmla="*/ 295350 h 344059"/>
                  <a:gd name="connsiteX3" fmla="*/ 0 w 474724"/>
                  <a:gd name="connsiteY3" fmla="*/ 48709 h 344059"/>
                  <a:gd name="connsiteX4" fmla="*/ 48709 w 474724"/>
                  <a:gd name="connsiteY4" fmla="*/ 0 h 344059"/>
                  <a:gd name="connsiteX5" fmla="*/ 426016 w 474724"/>
                  <a:gd name="connsiteY5" fmla="*/ 0 h 344059"/>
                  <a:gd name="connsiteX6" fmla="*/ 474725 w 474724"/>
                  <a:gd name="connsiteY6" fmla="*/ 48709 h 344059"/>
                  <a:gd name="connsiteX7" fmla="*/ 474725 w 474724"/>
                  <a:gd name="connsiteY7" fmla="*/ 295350 h 344059"/>
                  <a:gd name="connsiteX8" fmla="*/ 426016 w 474724"/>
                  <a:gd name="connsiteY8" fmla="*/ 344060 h 344059"/>
                  <a:gd name="connsiteX9" fmla="*/ 426016 w 474724"/>
                  <a:gd name="connsiteY9" fmla="*/ 344060 h 344059"/>
                  <a:gd name="connsiteX10" fmla="*/ 48709 w 474724"/>
                  <a:gd name="connsiteY10" fmla="*/ 40978 h 344059"/>
                  <a:gd name="connsiteX11" fmla="*/ 40978 w 474724"/>
                  <a:gd name="connsiteY11" fmla="*/ 48709 h 344059"/>
                  <a:gd name="connsiteX12" fmla="*/ 40978 w 474724"/>
                  <a:gd name="connsiteY12" fmla="*/ 295350 h 344059"/>
                  <a:gd name="connsiteX13" fmla="*/ 48709 w 474724"/>
                  <a:gd name="connsiteY13" fmla="*/ 303082 h 344059"/>
                  <a:gd name="connsiteX14" fmla="*/ 426016 w 474724"/>
                  <a:gd name="connsiteY14" fmla="*/ 303082 h 344059"/>
                  <a:gd name="connsiteX15" fmla="*/ 433748 w 474724"/>
                  <a:gd name="connsiteY15" fmla="*/ 295350 h 344059"/>
                  <a:gd name="connsiteX16" fmla="*/ 433748 w 474724"/>
                  <a:gd name="connsiteY16" fmla="*/ 48709 h 344059"/>
                  <a:gd name="connsiteX17" fmla="*/ 426016 w 474724"/>
                  <a:gd name="connsiteY17" fmla="*/ 40978 h 344059"/>
                  <a:gd name="connsiteX18" fmla="*/ 48709 w 474724"/>
                  <a:gd name="connsiteY18" fmla="*/ 40978 h 344059"/>
                  <a:gd name="connsiteX19" fmla="*/ 48709 w 474724"/>
                  <a:gd name="connsiteY19" fmla="*/ 40978 h 344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474724" h="344059">
                    <a:moveTo>
                      <a:pt x="426016" y="344060"/>
                    </a:moveTo>
                    <a:lnTo>
                      <a:pt x="48709" y="344060"/>
                    </a:lnTo>
                    <a:cubicBezTo>
                      <a:pt x="21649" y="344060"/>
                      <a:pt x="0" y="322411"/>
                      <a:pt x="0" y="295350"/>
                    </a:cubicBezTo>
                    <a:lnTo>
                      <a:pt x="0" y="48709"/>
                    </a:lnTo>
                    <a:cubicBezTo>
                      <a:pt x="0" y="21649"/>
                      <a:pt x="21649" y="0"/>
                      <a:pt x="48709" y="0"/>
                    </a:cubicBezTo>
                    <a:lnTo>
                      <a:pt x="426016" y="0"/>
                    </a:lnTo>
                    <a:cubicBezTo>
                      <a:pt x="453077" y="0"/>
                      <a:pt x="474725" y="21649"/>
                      <a:pt x="474725" y="48709"/>
                    </a:cubicBezTo>
                    <a:lnTo>
                      <a:pt x="474725" y="295350"/>
                    </a:lnTo>
                    <a:cubicBezTo>
                      <a:pt x="474725" y="322411"/>
                      <a:pt x="453077" y="344060"/>
                      <a:pt x="426016" y="344060"/>
                    </a:cubicBezTo>
                    <a:lnTo>
                      <a:pt x="426016" y="344060"/>
                    </a:lnTo>
                    <a:close/>
                    <a:moveTo>
                      <a:pt x="48709" y="40978"/>
                    </a:moveTo>
                    <a:cubicBezTo>
                      <a:pt x="44844" y="40978"/>
                      <a:pt x="40978" y="44071"/>
                      <a:pt x="40978" y="48709"/>
                    </a:cubicBezTo>
                    <a:lnTo>
                      <a:pt x="40978" y="295350"/>
                    </a:lnTo>
                    <a:cubicBezTo>
                      <a:pt x="40978" y="299216"/>
                      <a:pt x="44071" y="303082"/>
                      <a:pt x="48709" y="303082"/>
                    </a:cubicBezTo>
                    <a:lnTo>
                      <a:pt x="426016" y="303082"/>
                    </a:lnTo>
                    <a:cubicBezTo>
                      <a:pt x="429882" y="303082"/>
                      <a:pt x="433748" y="299989"/>
                      <a:pt x="433748" y="295350"/>
                    </a:cubicBezTo>
                    <a:lnTo>
                      <a:pt x="433748" y="48709"/>
                    </a:lnTo>
                    <a:cubicBezTo>
                      <a:pt x="433748" y="44844"/>
                      <a:pt x="430655" y="40978"/>
                      <a:pt x="426016" y="40978"/>
                    </a:cubicBezTo>
                    <a:lnTo>
                      <a:pt x="48709" y="40978"/>
                    </a:lnTo>
                    <a:lnTo>
                      <a:pt x="48709" y="40978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84" name="Forma Livre: Forma 283">
                <a:extLst>
                  <a:ext uri="{FF2B5EF4-FFF2-40B4-BE49-F238E27FC236}">
                    <a16:creationId xmlns:a16="http://schemas.microsoft.com/office/drawing/2014/main" id="{B0140306-5688-401F-A84A-6E4EA93BEECD}"/>
                  </a:ext>
                </a:extLst>
              </p:cNvPr>
              <p:cNvSpPr/>
              <p:nvPr/>
            </p:nvSpPr>
            <p:spPr>
              <a:xfrm>
                <a:off x="7740527" y="5242851"/>
                <a:ext cx="473951" cy="41751"/>
              </a:xfrm>
              <a:custGeom>
                <a:avLst/>
                <a:gdLst>
                  <a:gd name="connsiteX0" fmla="*/ 453077 w 473951"/>
                  <a:gd name="connsiteY0" fmla="*/ 41751 h 41751"/>
                  <a:gd name="connsiteX1" fmla="*/ 20876 w 473951"/>
                  <a:gd name="connsiteY1" fmla="*/ 41751 h 41751"/>
                  <a:gd name="connsiteX2" fmla="*/ 0 w 473951"/>
                  <a:gd name="connsiteY2" fmla="*/ 20876 h 41751"/>
                  <a:gd name="connsiteX3" fmla="*/ 20876 w 473951"/>
                  <a:gd name="connsiteY3" fmla="*/ 0 h 41751"/>
                  <a:gd name="connsiteX4" fmla="*/ 453077 w 473951"/>
                  <a:gd name="connsiteY4" fmla="*/ 0 h 41751"/>
                  <a:gd name="connsiteX5" fmla="*/ 473952 w 473951"/>
                  <a:gd name="connsiteY5" fmla="*/ 20876 h 41751"/>
                  <a:gd name="connsiteX6" fmla="*/ 453077 w 473951"/>
                  <a:gd name="connsiteY6" fmla="*/ 41751 h 41751"/>
                  <a:gd name="connsiteX7" fmla="*/ 453077 w 473951"/>
                  <a:gd name="connsiteY7" fmla="*/ 41751 h 41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73951" h="41751">
                    <a:moveTo>
                      <a:pt x="453077" y="41751"/>
                    </a:moveTo>
                    <a:lnTo>
                      <a:pt x="20876" y="41751"/>
                    </a:lnTo>
                    <a:cubicBezTo>
                      <a:pt x="9278" y="41751"/>
                      <a:pt x="0" y="32473"/>
                      <a:pt x="0" y="20876"/>
                    </a:cubicBezTo>
                    <a:cubicBezTo>
                      <a:pt x="0" y="9278"/>
                      <a:pt x="9278" y="0"/>
                      <a:pt x="20876" y="0"/>
                    </a:cubicBezTo>
                    <a:lnTo>
                      <a:pt x="453077" y="0"/>
                    </a:lnTo>
                    <a:cubicBezTo>
                      <a:pt x="464674" y="0"/>
                      <a:pt x="473952" y="9278"/>
                      <a:pt x="473952" y="20876"/>
                    </a:cubicBezTo>
                    <a:cubicBezTo>
                      <a:pt x="473952" y="32473"/>
                      <a:pt x="464674" y="41751"/>
                      <a:pt x="453077" y="41751"/>
                    </a:cubicBezTo>
                    <a:lnTo>
                      <a:pt x="453077" y="41751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85" name="Forma Livre: Forma 284">
                <a:extLst>
                  <a:ext uri="{FF2B5EF4-FFF2-40B4-BE49-F238E27FC236}">
                    <a16:creationId xmlns:a16="http://schemas.microsoft.com/office/drawing/2014/main" id="{477B6B93-0123-4F11-B863-7A1E4E8168AD}"/>
                  </a:ext>
                </a:extLst>
              </p:cNvPr>
              <p:cNvSpPr/>
              <p:nvPr/>
            </p:nvSpPr>
            <p:spPr>
              <a:xfrm>
                <a:off x="7824029" y="5347229"/>
                <a:ext cx="47936" cy="40978"/>
              </a:xfrm>
              <a:custGeom>
                <a:avLst/>
                <a:gdLst>
                  <a:gd name="connsiteX0" fmla="*/ 47937 w 47936"/>
                  <a:gd name="connsiteY0" fmla="*/ 40978 h 40978"/>
                  <a:gd name="connsiteX1" fmla="*/ 0 w 47936"/>
                  <a:gd name="connsiteY1" fmla="*/ 40978 h 40978"/>
                  <a:gd name="connsiteX2" fmla="*/ 0 w 47936"/>
                  <a:gd name="connsiteY2" fmla="*/ 0 h 40978"/>
                  <a:gd name="connsiteX3" fmla="*/ 47937 w 47936"/>
                  <a:gd name="connsiteY3" fmla="*/ 0 h 40978"/>
                  <a:gd name="connsiteX4" fmla="*/ 47937 w 47936"/>
                  <a:gd name="connsiteY4" fmla="*/ 40978 h 409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936" h="40978">
                    <a:moveTo>
                      <a:pt x="47937" y="40978"/>
                    </a:moveTo>
                    <a:lnTo>
                      <a:pt x="0" y="40978"/>
                    </a:lnTo>
                    <a:lnTo>
                      <a:pt x="0" y="0"/>
                    </a:lnTo>
                    <a:lnTo>
                      <a:pt x="47937" y="0"/>
                    </a:lnTo>
                    <a:lnTo>
                      <a:pt x="47937" y="40978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286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6450691" y="4630541"/>
              <a:ext cx="276280" cy="380421"/>
              <a:chOff x="6543663" y="5085898"/>
              <a:chExt cx="348698" cy="480137"/>
            </a:xfrm>
            <a:solidFill>
              <a:srgbClr val="B1B1A1"/>
            </a:solidFill>
          </p:grpSpPr>
          <p:sp>
            <p:nvSpPr>
              <p:cNvPr id="287" name="Forma Livre: Forma 286">
                <a:extLst>
                  <a:ext uri="{FF2B5EF4-FFF2-40B4-BE49-F238E27FC236}">
                    <a16:creationId xmlns:a16="http://schemas.microsoft.com/office/drawing/2014/main" id="{7C64BBF7-55A2-4757-923C-884CE7742BBB}"/>
                  </a:ext>
                </a:extLst>
              </p:cNvPr>
              <p:cNvSpPr/>
              <p:nvPr/>
            </p:nvSpPr>
            <p:spPr>
              <a:xfrm>
                <a:off x="6543663" y="5085898"/>
                <a:ext cx="348698" cy="480137"/>
              </a:xfrm>
              <a:custGeom>
                <a:avLst/>
                <a:gdLst>
                  <a:gd name="connsiteX0" fmla="*/ 299216 w 348698"/>
                  <a:gd name="connsiteY0" fmla="*/ 480138 h 480137"/>
                  <a:gd name="connsiteX1" fmla="*/ 49482 w 348698"/>
                  <a:gd name="connsiteY1" fmla="*/ 480138 h 480137"/>
                  <a:gd name="connsiteX2" fmla="*/ 0 w 348698"/>
                  <a:gd name="connsiteY2" fmla="*/ 430655 h 480137"/>
                  <a:gd name="connsiteX3" fmla="*/ 0 w 348698"/>
                  <a:gd name="connsiteY3" fmla="*/ 49483 h 480137"/>
                  <a:gd name="connsiteX4" fmla="*/ 49482 w 348698"/>
                  <a:gd name="connsiteY4" fmla="*/ 0 h 480137"/>
                  <a:gd name="connsiteX5" fmla="*/ 299216 w 348698"/>
                  <a:gd name="connsiteY5" fmla="*/ 0 h 480137"/>
                  <a:gd name="connsiteX6" fmla="*/ 348699 w 348698"/>
                  <a:gd name="connsiteY6" fmla="*/ 49483 h 480137"/>
                  <a:gd name="connsiteX7" fmla="*/ 348699 w 348698"/>
                  <a:gd name="connsiteY7" fmla="*/ 430655 h 480137"/>
                  <a:gd name="connsiteX8" fmla="*/ 299216 w 348698"/>
                  <a:gd name="connsiteY8" fmla="*/ 480138 h 480137"/>
                  <a:gd name="connsiteX9" fmla="*/ 299216 w 348698"/>
                  <a:gd name="connsiteY9" fmla="*/ 480138 h 480137"/>
                  <a:gd name="connsiteX10" fmla="*/ 49482 w 348698"/>
                  <a:gd name="connsiteY10" fmla="*/ 40978 h 480137"/>
                  <a:gd name="connsiteX11" fmla="*/ 41751 w 348698"/>
                  <a:gd name="connsiteY11" fmla="*/ 48709 h 480137"/>
                  <a:gd name="connsiteX12" fmla="*/ 41751 w 348698"/>
                  <a:gd name="connsiteY12" fmla="*/ 429882 h 480137"/>
                  <a:gd name="connsiteX13" fmla="*/ 49482 w 348698"/>
                  <a:gd name="connsiteY13" fmla="*/ 437613 h 480137"/>
                  <a:gd name="connsiteX14" fmla="*/ 299216 w 348698"/>
                  <a:gd name="connsiteY14" fmla="*/ 437613 h 480137"/>
                  <a:gd name="connsiteX15" fmla="*/ 306947 w 348698"/>
                  <a:gd name="connsiteY15" fmla="*/ 429882 h 480137"/>
                  <a:gd name="connsiteX16" fmla="*/ 306947 w 348698"/>
                  <a:gd name="connsiteY16" fmla="*/ 48709 h 480137"/>
                  <a:gd name="connsiteX17" fmla="*/ 299216 w 348698"/>
                  <a:gd name="connsiteY17" fmla="*/ 40978 h 480137"/>
                  <a:gd name="connsiteX18" fmla="*/ 49482 w 348698"/>
                  <a:gd name="connsiteY18" fmla="*/ 40978 h 480137"/>
                  <a:gd name="connsiteX19" fmla="*/ 49482 w 348698"/>
                  <a:gd name="connsiteY19" fmla="*/ 40978 h 480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48698" h="480137">
                    <a:moveTo>
                      <a:pt x="299216" y="480138"/>
                    </a:moveTo>
                    <a:lnTo>
                      <a:pt x="49482" y="480138"/>
                    </a:lnTo>
                    <a:cubicBezTo>
                      <a:pt x="22422" y="480138"/>
                      <a:pt x="0" y="457716"/>
                      <a:pt x="0" y="430655"/>
                    </a:cubicBezTo>
                    <a:lnTo>
                      <a:pt x="0" y="49483"/>
                    </a:lnTo>
                    <a:cubicBezTo>
                      <a:pt x="0" y="22422"/>
                      <a:pt x="22422" y="0"/>
                      <a:pt x="49482" y="0"/>
                    </a:cubicBezTo>
                    <a:lnTo>
                      <a:pt x="299216" y="0"/>
                    </a:lnTo>
                    <a:cubicBezTo>
                      <a:pt x="326277" y="0"/>
                      <a:pt x="348699" y="22422"/>
                      <a:pt x="348699" y="49483"/>
                    </a:cubicBezTo>
                    <a:lnTo>
                      <a:pt x="348699" y="430655"/>
                    </a:lnTo>
                    <a:cubicBezTo>
                      <a:pt x="348699" y="457716"/>
                      <a:pt x="327050" y="480138"/>
                      <a:pt x="299216" y="480138"/>
                    </a:cubicBezTo>
                    <a:lnTo>
                      <a:pt x="299216" y="480138"/>
                    </a:lnTo>
                    <a:close/>
                    <a:moveTo>
                      <a:pt x="49482" y="40978"/>
                    </a:moveTo>
                    <a:cubicBezTo>
                      <a:pt x="45617" y="40978"/>
                      <a:pt x="41751" y="44071"/>
                      <a:pt x="41751" y="48709"/>
                    </a:cubicBezTo>
                    <a:lnTo>
                      <a:pt x="41751" y="429882"/>
                    </a:lnTo>
                    <a:cubicBezTo>
                      <a:pt x="41751" y="433748"/>
                      <a:pt x="44844" y="437613"/>
                      <a:pt x="49482" y="437613"/>
                    </a:cubicBezTo>
                    <a:lnTo>
                      <a:pt x="299216" y="437613"/>
                    </a:lnTo>
                    <a:cubicBezTo>
                      <a:pt x="303081" y="437613"/>
                      <a:pt x="306947" y="434521"/>
                      <a:pt x="306947" y="429882"/>
                    </a:cubicBezTo>
                    <a:lnTo>
                      <a:pt x="306947" y="48709"/>
                    </a:lnTo>
                    <a:cubicBezTo>
                      <a:pt x="306947" y="44844"/>
                      <a:pt x="303855" y="40978"/>
                      <a:pt x="299216" y="40978"/>
                    </a:cubicBezTo>
                    <a:lnTo>
                      <a:pt x="49482" y="40978"/>
                    </a:lnTo>
                    <a:lnTo>
                      <a:pt x="49482" y="40978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88" name="Forma Livre: Forma 287">
                <a:extLst>
                  <a:ext uri="{FF2B5EF4-FFF2-40B4-BE49-F238E27FC236}">
                    <a16:creationId xmlns:a16="http://schemas.microsoft.com/office/drawing/2014/main" id="{86EEB0BE-5867-4F64-9622-A2F5E7A5FF2A}"/>
                  </a:ext>
                </a:extLst>
              </p:cNvPr>
              <p:cNvSpPr/>
              <p:nvPr/>
            </p:nvSpPr>
            <p:spPr>
              <a:xfrm>
                <a:off x="6630258" y="5187957"/>
                <a:ext cx="178602" cy="40977"/>
              </a:xfrm>
              <a:custGeom>
                <a:avLst/>
                <a:gdLst>
                  <a:gd name="connsiteX0" fmla="*/ 178602 w 178602"/>
                  <a:gd name="connsiteY0" fmla="*/ 40978 h 40977"/>
                  <a:gd name="connsiteX1" fmla="*/ 0 w 178602"/>
                  <a:gd name="connsiteY1" fmla="*/ 40978 h 40977"/>
                  <a:gd name="connsiteX2" fmla="*/ 0 w 178602"/>
                  <a:gd name="connsiteY2" fmla="*/ 0 h 40977"/>
                  <a:gd name="connsiteX3" fmla="*/ 178602 w 178602"/>
                  <a:gd name="connsiteY3" fmla="*/ 0 h 40977"/>
                  <a:gd name="connsiteX4" fmla="*/ 178602 w 178602"/>
                  <a:gd name="connsiteY4" fmla="*/ 40978 h 409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8602" h="40977">
                    <a:moveTo>
                      <a:pt x="178602" y="40978"/>
                    </a:moveTo>
                    <a:lnTo>
                      <a:pt x="0" y="40978"/>
                    </a:lnTo>
                    <a:lnTo>
                      <a:pt x="0" y="0"/>
                    </a:lnTo>
                    <a:lnTo>
                      <a:pt x="178602" y="0"/>
                    </a:lnTo>
                    <a:lnTo>
                      <a:pt x="178602" y="40978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grpSp>
            <p:nvGrpSpPr>
              <p:cNvPr id="289" name="Gráfico 2">
                <a:extLst>
                  <a:ext uri="{FF2B5EF4-FFF2-40B4-BE49-F238E27FC236}">
                    <a16:creationId xmlns:a16="http://schemas.microsoft.com/office/drawing/2014/main" id="{6FEF66BF-8D1E-4FFA-95A2-6EE56886837B}"/>
                  </a:ext>
                </a:extLst>
              </p:cNvPr>
              <p:cNvGrpSpPr/>
              <p:nvPr/>
            </p:nvGrpSpPr>
            <p:grpSpPr>
              <a:xfrm>
                <a:off x="6630258" y="5278417"/>
                <a:ext cx="178602" cy="40977"/>
                <a:chOff x="6630258" y="5278417"/>
                <a:chExt cx="178602" cy="40977"/>
              </a:xfrm>
              <a:grpFill/>
            </p:grpSpPr>
            <p:sp>
              <p:nvSpPr>
                <p:cNvPr id="290" name="Forma Livre: Forma 289">
                  <a:extLst>
                    <a:ext uri="{FF2B5EF4-FFF2-40B4-BE49-F238E27FC236}">
                      <a16:creationId xmlns:a16="http://schemas.microsoft.com/office/drawing/2014/main" id="{D175B6FC-6662-46CD-B26E-75A6BDB581CD}"/>
                    </a:ext>
                  </a:extLst>
                </p:cNvPr>
                <p:cNvSpPr/>
                <p:nvPr/>
              </p:nvSpPr>
              <p:spPr>
                <a:xfrm>
                  <a:off x="6630258" y="5278417"/>
                  <a:ext cx="47936" cy="40977"/>
                </a:xfrm>
                <a:custGeom>
                  <a:avLst/>
                  <a:gdLst>
                    <a:gd name="connsiteX0" fmla="*/ 47937 w 47936"/>
                    <a:gd name="connsiteY0" fmla="*/ 40978 h 40977"/>
                    <a:gd name="connsiteX1" fmla="*/ 0 w 47936"/>
                    <a:gd name="connsiteY1" fmla="*/ 40978 h 40977"/>
                    <a:gd name="connsiteX2" fmla="*/ 0 w 47936"/>
                    <a:gd name="connsiteY2" fmla="*/ 0 h 40977"/>
                    <a:gd name="connsiteX3" fmla="*/ 47937 w 47936"/>
                    <a:gd name="connsiteY3" fmla="*/ 0 h 40977"/>
                    <a:gd name="connsiteX4" fmla="*/ 47937 w 47936"/>
                    <a:gd name="connsiteY4" fmla="*/ 40978 h 409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7936" h="40977">
                      <a:moveTo>
                        <a:pt x="47937" y="40978"/>
                      </a:moveTo>
                      <a:lnTo>
                        <a:pt x="0" y="40978"/>
                      </a:lnTo>
                      <a:lnTo>
                        <a:pt x="0" y="0"/>
                      </a:lnTo>
                      <a:lnTo>
                        <a:pt x="47937" y="0"/>
                      </a:lnTo>
                      <a:lnTo>
                        <a:pt x="47937" y="40978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291" name="Forma Livre: Forma 290">
                  <a:extLst>
                    <a:ext uri="{FF2B5EF4-FFF2-40B4-BE49-F238E27FC236}">
                      <a16:creationId xmlns:a16="http://schemas.microsoft.com/office/drawing/2014/main" id="{A022E99D-B88F-4017-8E1C-F09A69DA5281}"/>
                    </a:ext>
                  </a:extLst>
                </p:cNvPr>
                <p:cNvSpPr/>
                <p:nvPr/>
              </p:nvSpPr>
              <p:spPr>
                <a:xfrm>
                  <a:off x="6695977" y="5278417"/>
                  <a:ext cx="47936" cy="40977"/>
                </a:xfrm>
                <a:custGeom>
                  <a:avLst/>
                  <a:gdLst>
                    <a:gd name="connsiteX0" fmla="*/ 47937 w 47936"/>
                    <a:gd name="connsiteY0" fmla="*/ 40978 h 40977"/>
                    <a:gd name="connsiteX1" fmla="*/ 0 w 47936"/>
                    <a:gd name="connsiteY1" fmla="*/ 40978 h 40977"/>
                    <a:gd name="connsiteX2" fmla="*/ 0 w 47936"/>
                    <a:gd name="connsiteY2" fmla="*/ 0 h 40977"/>
                    <a:gd name="connsiteX3" fmla="*/ 47937 w 47936"/>
                    <a:gd name="connsiteY3" fmla="*/ 0 h 40977"/>
                    <a:gd name="connsiteX4" fmla="*/ 47937 w 47936"/>
                    <a:gd name="connsiteY4" fmla="*/ 40978 h 409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7936" h="40977">
                      <a:moveTo>
                        <a:pt x="47937" y="40978"/>
                      </a:moveTo>
                      <a:lnTo>
                        <a:pt x="0" y="40978"/>
                      </a:lnTo>
                      <a:lnTo>
                        <a:pt x="0" y="0"/>
                      </a:lnTo>
                      <a:lnTo>
                        <a:pt x="47937" y="0"/>
                      </a:lnTo>
                      <a:lnTo>
                        <a:pt x="47937" y="40978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292" name="Forma Livre: Forma 291">
                  <a:extLst>
                    <a:ext uri="{FF2B5EF4-FFF2-40B4-BE49-F238E27FC236}">
                      <a16:creationId xmlns:a16="http://schemas.microsoft.com/office/drawing/2014/main" id="{A53DCED2-511B-44BB-86FB-342689D88E59}"/>
                    </a:ext>
                  </a:extLst>
                </p:cNvPr>
                <p:cNvSpPr/>
                <p:nvPr/>
              </p:nvSpPr>
              <p:spPr>
                <a:xfrm>
                  <a:off x="6760923" y="5278417"/>
                  <a:ext cx="47936" cy="40977"/>
                </a:xfrm>
                <a:custGeom>
                  <a:avLst/>
                  <a:gdLst>
                    <a:gd name="connsiteX0" fmla="*/ 47937 w 47936"/>
                    <a:gd name="connsiteY0" fmla="*/ 40978 h 40977"/>
                    <a:gd name="connsiteX1" fmla="*/ 0 w 47936"/>
                    <a:gd name="connsiteY1" fmla="*/ 40978 h 40977"/>
                    <a:gd name="connsiteX2" fmla="*/ 0 w 47936"/>
                    <a:gd name="connsiteY2" fmla="*/ 0 h 40977"/>
                    <a:gd name="connsiteX3" fmla="*/ 47937 w 47936"/>
                    <a:gd name="connsiteY3" fmla="*/ 0 h 40977"/>
                    <a:gd name="connsiteX4" fmla="*/ 47937 w 47936"/>
                    <a:gd name="connsiteY4" fmla="*/ 40978 h 409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7936" h="40977">
                      <a:moveTo>
                        <a:pt x="47937" y="40978"/>
                      </a:moveTo>
                      <a:lnTo>
                        <a:pt x="0" y="40978"/>
                      </a:lnTo>
                      <a:lnTo>
                        <a:pt x="0" y="0"/>
                      </a:lnTo>
                      <a:lnTo>
                        <a:pt x="47937" y="0"/>
                      </a:lnTo>
                      <a:lnTo>
                        <a:pt x="47937" y="40978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grpSp>
            <p:nvGrpSpPr>
              <p:cNvPr id="293" name="Gráfico 2">
                <a:extLst>
                  <a:ext uri="{FF2B5EF4-FFF2-40B4-BE49-F238E27FC236}">
                    <a16:creationId xmlns:a16="http://schemas.microsoft.com/office/drawing/2014/main" id="{6FEF66BF-8D1E-4FFA-95A2-6EE56886837B}"/>
                  </a:ext>
                </a:extLst>
              </p:cNvPr>
              <p:cNvGrpSpPr/>
              <p:nvPr/>
            </p:nvGrpSpPr>
            <p:grpSpPr>
              <a:xfrm>
                <a:off x="6630258" y="5337178"/>
                <a:ext cx="178602" cy="40977"/>
                <a:chOff x="6630258" y="5337178"/>
                <a:chExt cx="178602" cy="40977"/>
              </a:xfrm>
              <a:grpFill/>
            </p:grpSpPr>
            <p:sp>
              <p:nvSpPr>
                <p:cNvPr id="294" name="Forma Livre: Forma 293">
                  <a:extLst>
                    <a:ext uri="{FF2B5EF4-FFF2-40B4-BE49-F238E27FC236}">
                      <a16:creationId xmlns:a16="http://schemas.microsoft.com/office/drawing/2014/main" id="{1E4305A1-3B16-4D25-B2DC-E3A609CD5D0B}"/>
                    </a:ext>
                  </a:extLst>
                </p:cNvPr>
                <p:cNvSpPr/>
                <p:nvPr/>
              </p:nvSpPr>
              <p:spPr>
                <a:xfrm>
                  <a:off x="6630258" y="5337178"/>
                  <a:ext cx="47936" cy="40977"/>
                </a:xfrm>
                <a:custGeom>
                  <a:avLst/>
                  <a:gdLst>
                    <a:gd name="connsiteX0" fmla="*/ 47937 w 47936"/>
                    <a:gd name="connsiteY0" fmla="*/ 40978 h 40977"/>
                    <a:gd name="connsiteX1" fmla="*/ 0 w 47936"/>
                    <a:gd name="connsiteY1" fmla="*/ 40978 h 40977"/>
                    <a:gd name="connsiteX2" fmla="*/ 0 w 47936"/>
                    <a:gd name="connsiteY2" fmla="*/ 0 h 40977"/>
                    <a:gd name="connsiteX3" fmla="*/ 47937 w 47936"/>
                    <a:gd name="connsiteY3" fmla="*/ 0 h 40977"/>
                    <a:gd name="connsiteX4" fmla="*/ 47937 w 47936"/>
                    <a:gd name="connsiteY4" fmla="*/ 40978 h 409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7936" h="40977">
                      <a:moveTo>
                        <a:pt x="47937" y="40978"/>
                      </a:moveTo>
                      <a:lnTo>
                        <a:pt x="0" y="40978"/>
                      </a:lnTo>
                      <a:lnTo>
                        <a:pt x="0" y="0"/>
                      </a:lnTo>
                      <a:lnTo>
                        <a:pt x="47937" y="0"/>
                      </a:lnTo>
                      <a:lnTo>
                        <a:pt x="47937" y="40978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295" name="Forma Livre: Forma 294">
                  <a:extLst>
                    <a:ext uri="{FF2B5EF4-FFF2-40B4-BE49-F238E27FC236}">
                      <a16:creationId xmlns:a16="http://schemas.microsoft.com/office/drawing/2014/main" id="{960801CD-28A0-48E2-96CC-544E5868A615}"/>
                    </a:ext>
                  </a:extLst>
                </p:cNvPr>
                <p:cNvSpPr/>
                <p:nvPr/>
              </p:nvSpPr>
              <p:spPr>
                <a:xfrm>
                  <a:off x="6695977" y="5337178"/>
                  <a:ext cx="47936" cy="40977"/>
                </a:xfrm>
                <a:custGeom>
                  <a:avLst/>
                  <a:gdLst>
                    <a:gd name="connsiteX0" fmla="*/ 47937 w 47936"/>
                    <a:gd name="connsiteY0" fmla="*/ 40978 h 40977"/>
                    <a:gd name="connsiteX1" fmla="*/ 0 w 47936"/>
                    <a:gd name="connsiteY1" fmla="*/ 40978 h 40977"/>
                    <a:gd name="connsiteX2" fmla="*/ 0 w 47936"/>
                    <a:gd name="connsiteY2" fmla="*/ 0 h 40977"/>
                    <a:gd name="connsiteX3" fmla="*/ 47937 w 47936"/>
                    <a:gd name="connsiteY3" fmla="*/ 0 h 40977"/>
                    <a:gd name="connsiteX4" fmla="*/ 47937 w 47936"/>
                    <a:gd name="connsiteY4" fmla="*/ 40978 h 409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7936" h="40977">
                      <a:moveTo>
                        <a:pt x="47937" y="40978"/>
                      </a:moveTo>
                      <a:lnTo>
                        <a:pt x="0" y="40978"/>
                      </a:lnTo>
                      <a:lnTo>
                        <a:pt x="0" y="0"/>
                      </a:lnTo>
                      <a:lnTo>
                        <a:pt x="47937" y="0"/>
                      </a:lnTo>
                      <a:lnTo>
                        <a:pt x="47937" y="40978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296" name="Forma Livre: Forma 295">
                  <a:extLst>
                    <a:ext uri="{FF2B5EF4-FFF2-40B4-BE49-F238E27FC236}">
                      <a16:creationId xmlns:a16="http://schemas.microsoft.com/office/drawing/2014/main" id="{6A1DE5CA-9E29-4E86-B30E-69A82386323C}"/>
                    </a:ext>
                  </a:extLst>
                </p:cNvPr>
                <p:cNvSpPr/>
                <p:nvPr/>
              </p:nvSpPr>
              <p:spPr>
                <a:xfrm>
                  <a:off x="6760923" y="5337178"/>
                  <a:ext cx="47936" cy="40977"/>
                </a:xfrm>
                <a:custGeom>
                  <a:avLst/>
                  <a:gdLst>
                    <a:gd name="connsiteX0" fmla="*/ 47937 w 47936"/>
                    <a:gd name="connsiteY0" fmla="*/ 40978 h 40977"/>
                    <a:gd name="connsiteX1" fmla="*/ 0 w 47936"/>
                    <a:gd name="connsiteY1" fmla="*/ 40978 h 40977"/>
                    <a:gd name="connsiteX2" fmla="*/ 0 w 47936"/>
                    <a:gd name="connsiteY2" fmla="*/ 0 h 40977"/>
                    <a:gd name="connsiteX3" fmla="*/ 47937 w 47936"/>
                    <a:gd name="connsiteY3" fmla="*/ 0 h 40977"/>
                    <a:gd name="connsiteX4" fmla="*/ 47937 w 47936"/>
                    <a:gd name="connsiteY4" fmla="*/ 40978 h 409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7936" h="40977">
                      <a:moveTo>
                        <a:pt x="47937" y="40978"/>
                      </a:moveTo>
                      <a:lnTo>
                        <a:pt x="0" y="40978"/>
                      </a:lnTo>
                      <a:lnTo>
                        <a:pt x="0" y="0"/>
                      </a:lnTo>
                      <a:lnTo>
                        <a:pt x="47937" y="0"/>
                      </a:lnTo>
                      <a:lnTo>
                        <a:pt x="47937" y="40978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grpSp>
            <p:nvGrpSpPr>
              <p:cNvPr id="297" name="Gráfico 2">
                <a:extLst>
                  <a:ext uri="{FF2B5EF4-FFF2-40B4-BE49-F238E27FC236}">
                    <a16:creationId xmlns:a16="http://schemas.microsoft.com/office/drawing/2014/main" id="{6FEF66BF-8D1E-4FFA-95A2-6EE56886837B}"/>
                  </a:ext>
                </a:extLst>
              </p:cNvPr>
              <p:cNvGrpSpPr/>
              <p:nvPr/>
            </p:nvGrpSpPr>
            <p:grpSpPr>
              <a:xfrm>
                <a:off x="6630258" y="5395939"/>
                <a:ext cx="178602" cy="40977"/>
                <a:chOff x="6630258" y="5395939"/>
                <a:chExt cx="178602" cy="40977"/>
              </a:xfrm>
              <a:grpFill/>
            </p:grpSpPr>
            <p:sp>
              <p:nvSpPr>
                <p:cNvPr id="298" name="Forma Livre: Forma 297">
                  <a:extLst>
                    <a:ext uri="{FF2B5EF4-FFF2-40B4-BE49-F238E27FC236}">
                      <a16:creationId xmlns:a16="http://schemas.microsoft.com/office/drawing/2014/main" id="{3CD24CA9-E073-48B3-92E6-2D13158597AB}"/>
                    </a:ext>
                  </a:extLst>
                </p:cNvPr>
                <p:cNvSpPr/>
                <p:nvPr/>
              </p:nvSpPr>
              <p:spPr>
                <a:xfrm>
                  <a:off x="6630258" y="5395939"/>
                  <a:ext cx="47936" cy="40977"/>
                </a:xfrm>
                <a:custGeom>
                  <a:avLst/>
                  <a:gdLst>
                    <a:gd name="connsiteX0" fmla="*/ 47937 w 47936"/>
                    <a:gd name="connsiteY0" fmla="*/ 40978 h 40977"/>
                    <a:gd name="connsiteX1" fmla="*/ 0 w 47936"/>
                    <a:gd name="connsiteY1" fmla="*/ 40978 h 40977"/>
                    <a:gd name="connsiteX2" fmla="*/ 0 w 47936"/>
                    <a:gd name="connsiteY2" fmla="*/ 0 h 40977"/>
                    <a:gd name="connsiteX3" fmla="*/ 47937 w 47936"/>
                    <a:gd name="connsiteY3" fmla="*/ 0 h 40977"/>
                    <a:gd name="connsiteX4" fmla="*/ 47937 w 47936"/>
                    <a:gd name="connsiteY4" fmla="*/ 40978 h 409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7936" h="40977">
                      <a:moveTo>
                        <a:pt x="47937" y="40978"/>
                      </a:moveTo>
                      <a:lnTo>
                        <a:pt x="0" y="40978"/>
                      </a:lnTo>
                      <a:lnTo>
                        <a:pt x="0" y="0"/>
                      </a:lnTo>
                      <a:lnTo>
                        <a:pt x="47937" y="0"/>
                      </a:lnTo>
                      <a:lnTo>
                        <a:pt x="47937" y="40978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299" name="Forma Livre: Forma 298">
                  <a:extLst>
                    <a:ext uri="{FF2B5EF4-FFF2-40B4-BE49-F238E27FC236}">
                      <a16:creationId xmlns:a16="http://schemas.microsoft.com/office/drawing/2014/main" id="{3A4DC24A-3E1F-41E0-AC65-8C0E48B1B71A}"/>
                    </a:ext>
                  </a:extLst>
                </p:cNvPr>
                <p:cNvSpPr/>
                <p:nvPr/>
              </p:nvSpPr>
              <p:spPr>
                <a:xfrm>
                  <a:off x="6695977" y="5395939"/>
                  <a:ext cx="47936" cy="40977"/>
                </a:xfrm>
                <a:custGeom>
                  <a:avLst/>
                  <a:gdLst>
                    <a:gd name="connsiteX0" fmla="*/ 47937 w 47936"/>
                    <a:gd name="connsiteY0" fmla="*/ 40978 h 40977"/>
                    <a:gd name="connsiteX1" fmla="*/ 0 w 47936"/>
                    <a:gd name="connsiteY1" fmla="*/ 40978 h 40977"/>
                    <a:gd name="connsiteX2" fmla="*/ 0 w 47936"/>
                    <a:gd name="connsiteY2" fmla="*/ 0 h 40977"/>
                    <a:gd name="connsiteX3" fmla="*/ 47937 w 47936"/>
                    <a:gd name="connsiteY3" fmla="*/ 0 h 40977"/>
                    <a:gd name="connsiteX4" fmla="*/ 47937 w 47936"/>
                    <a:gd name="connsiteY4" fmla="*/ 40978 h 409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7936" h="40977">
                      <a:moveTo>
                        <a:pt x="47937" y="40978"/>
                      </a:moveTo>
                      <a:lnTo>
                        <a:pt x="0" y="40978"/>
                      </a:lnTo>
                      <a:lnTo>
                        <a:pt x="0" y="0"/>
                      </a:lnTo>
                      <a:lnTo>
                        <a:pt x="47937" y="0"/>
                      </a:lnTo>
                      <a:lnTo>
                        <a:pt x="47937" y="40978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300" name="Forma Livre: Forma 299">
                  <a:extLst>
                    <a:ext uri="{FF2B5EF4-FFF2-40B4-BE49-F238E27FC236}">
                      <a16:creationId xmlns:a16="http://schemas.microsoft.com/office/drawing/2014/main" id="{673D06E5-2F94-4B22-9563-165D657CC1E5}"/>
                    </a:ext>
                  </a:extLst>
                </p:cNvPr>
                <p:cNvSpPr/>
                <p:nvPr/>
              </p:nvSpPr>
              <p:spPr>
                <a:xfrm>
                  <a:off x="6760923" y="5395939"/>
                  <a:ext cx="47936" cy="40977"/>
                </a:xfrm>
                <a:custGeom>
                  <a:avLst/>
                  <a:gdLst>
                    <a:gd name="connsiteX0" fmla="*/ 47937 w 47936"/>
                    <a:gd name="connsiteY0" fmla="*/ 40978 h 40977"/>
                    <a:gd name="connsiteX1" fmla="*/ 0 w 47936"/>
                    <a:gd name="connsiteY1" fmla="*/ 40978 h 40977"/>
                    <a:gd name="connsiteX2" fmla="*/ 0 w 47936"/>
                    <a:gd name="connsiteY2" fmla="*/ 0 h 40977"/>
                    <a:gd name="connsiteX3" fmla="*/ 47937 w 47936"/>
                    <a:gd name="connsiteY3" fmla="*/ 0 h 40977"/>
                    <a:gd name="connsiteX4" fmla="*/ 47937 w 47936"/>
                    <a:gd name="connsiteY4" fmla="*/ 40978 h 409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7936" h="40977">
                      <a:moveTo>
                        <a:pt x="47937" y="40978"/>
                      </a:moveTo>
                      <a:lnTo>
                        <a:pt x="0" y="40978"/>
                      </a:lnTo>
                      <a:lnTo>
                        <a:pt x="0" y="0"/>
                      </a:lnTo>
                      <a:lnTo>
                        <a:pt x="47937" y="0"/>
                      </a:lnTo>
                      <a:lnTo>
                        <a:pt x="47937" y="40978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</p:grpSp>
        <p:grpSp>
          <p:nvGrpSpPr>
            <p:cNvPr id="301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1475807" y="2616328"/>
              <a:ext cx="278118" cy="384709"/>
              <a:chOff x="264766" y="2543722"/>
              <a:chExt cx="351018" cy="485549"/>
            </a:xfrm>
            <a:solidFill>
              <a:srgbClr val="B1B1A1"/>
            </a:solidFill>
          </p:grpSpPr>
          <p:grpSp>
            <p:nvGrpSpPr>
              <p:cNvPr id="302" name="Gráfico 2">
                <a:extLst>
                  <a:ext uri="{FF2B5EF4-FFF2-40B4-BE49-F238E27FC236}">
                    <a16:creationId xmlns:a16="http://schemas.microsoft.com/office/drawing/2014/main" id="{6FEF66BF-8D1E-4FFA-95A2-6EE56886837B}"/>
                  </a:ext>
                </a:extLst>
              </p:cNvPr>
              <p:cNvGrpSpPr/>
              <p:nvPr/>
            </p:nvGrpSpPr>
            <p:grpSpPr>
              <a:xfrm>
                <a:off x="264766" y="2543722"/>
                <a:ext cx="351018" cy="485549"/>
                <a:chOff x="264766" y="2543722"/>
                <a:chExt cx="351018" cy="485549"/>
              </a:xfrm>
              <a:grpFill/>
            </p:grpSpPr>
            <p:sp>
              <p:nvSpPr>
                <p:cNvPr id="303" name="Forma Livre: Forma 302">
                  <a:extLst>
                    <a:ext uri="{FF2B5EF4-FFF2-40B4-BE49-F238E27FC236}">
                      <a16:creationId xmlns:a16="http://schemas.microsoft.com/office/drawing/2014/main" id="{A97E2EFF-E8C6-4D51-A34A-20F28B260CEF}"/>
                    </a:ext>
                  </a:extLst>
                </p:cNvPr>
                <p:cNvSpPr/>
                <p:nvPr/>
              </p:nvSpPr>
              <p:spPr>
                <a:xfrm>
                  <a:off x="264766" y="2543722"/>
                  <a:ext cx="351018" cy="41751"/>
                </a:xfrm>
                <a:custGeom>
                  <a:avLst/>
                  <a:gdLst>
                    <a:gd name="connsiteX0" fmla="*/ 330143 w 351018"/>
                    <a:gd name="connsiteY0" fmla="*/ 41751 h 41751"/>
                    <a:gd name="connsiteX1" fmla="*/ 20876 w 351018"/>
                    <a:gd name="connsiteY1" fmla="*/ 41751 h 41751"/>
                    <a:gd name="connsiteX2" fmla="*/ 0 w 351018"/>
                    <a:gd name="connsiteY2" fmla="*/ 20876 h 41751"/>
                    <a:gd name="connsiteX3" fmla="*/ 20876 w 351018"/>
                    <a:gd name="connsiteY3" fmla="*/ 0 h 41751"/>
                    <a:gd name="connsiteX4" fmla="*/ 330143 w 351018"/>
                    <a:gd name="connsiteY4" fmla="*/ 0 h 41751"/>
                    <a:gd name="connsiteX5" fmla="*/ 351018 w 351018"/>
                    <a:gd name="connsiteY5" fmla="*/ 20876 h 41751"/>
                    <a:gd name="connsiteX6" fmla="*/ 330143 w 351018"/>
                    <a:gd name="connsiteY6" fmla="*/ 41751 h 41751"/>
                    <a:gd name="connsiteX7" fmla="*/ 330143 w 351018"/>
                    <a:gd name="connsiteY7" fmla="*/ 41751 h 417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51018" h="41751">
                      <a:moveTo>
                        <a:pt x="330143" y="41751"/>
                      </a:moveTo>
                      <a:lnTo>
                        <a:pt x="20876" y="41751"/>
                      </a:lnTo>
                      <a:cubicBezTo>
                        <a:pt x="9278" y="41751"/>
                        <a:pt x="0" y="32473"/>
                        <a:pt x="0" y="20876"/>
                      </a:cubicBezTo>
                      <a:cubicBezTo>
                        <a:pt x="0" y="9278"/>
                        <a:pt x="9278" y="0"/>
                        <a:pt x="20876" y="0"/>
                      </a:cubicBezTo>
                      <a:lnTo>
                        <a:pt x="330143" y="0"/>
                      </a:lnTo>
                      <a:cubicBezTo>
                        <a:pt x="341740" y="0"/>
                        <a:pt x="351018" y="9278"/>
                        <a:pt x="351018" y="20876"/>
                      </a:cubicBezTo>
                      <a:cubicBezTo>
                        <a:pt x="351018" y="32473"/>
                        <a:pt x="341740" y="41751"/>
                        <a:pt x="330143" y="41751"/>
                      </a:cubicBezTo>
                      <a:lnTo>
                        <a:pt x="330143" y="41751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304" name="Forma Livre: Forma 303">
                  <a:extLst>
                    <a:ext uri="{FF2B5EF4-FFF2-40B4-BE49-F238E27FC236}">
                      <a16:creationId xmlns:a16="http://schemas.microsoft.com/office/drawing/2014/main" id="{87CFDE0A-0CC3-4530-AF98-EF7DF63D6B26}"/>
                    </a:ext>
                  </a:extLst>
                </p:cNvPr>
                <p:cNvSpPr/>
                <p:nvPr/>
              </p:nvSpPr>
              <p:spPr>
                <a:xfrm>
                  <a:off x="264766" y="2987521"/>
                  <a:ext cx="351018" cy="41751"/>
                </a:xfrm>
                <a:custGeom>
                  <a:avLst/>
                  <a:gdLst>
                    <a:gd name="connsiteX0" fmla="*/ 330143 w 351018"/>
                    <a:gd name="connsiteY0" fmla="*/ 41751 h 41751"/>
                    <a:gd name="connsiteX1" fmla="*/ 20876 w 351018"/>
                    <a:gd name="connsiteY1" fmla="*/ 41751 h 41751"/>
                    <a:gd name="connsiteX2" fmla="*/ 0 w 351018"/>
                    <a:gd name="connsiteY2" fmla="*/ 20876 h 41751"/>
                    <a:gd name="connsiteX3" fmla="*/ 20876 w 351018"/>
                    <a:gd name="connsiteY3" fmla="*/ 0 h 41751"/>
                    <a:gd name="connsiteX4" fmla="*/ 330143 w 351018"/>
                    <a:gd name="connsiteY4" fmla="*/ 0 h 41751"/>
                    <a:gd name="connsiteX5" fmla="*/ 351018 w 351018"/>
                    <a:gd name="connsiteY5" fmla="*/ 20876 h 41751"/>
                    <a:gd name="connsiteX6" fmla="*/ 330143 w 351018"/>
                    <a:gd name="connsiteY6" fmla="*/ 41751 h 41751"/>
                    <a:gd name="connsiteX7" fmla="*/ 330143 w 351018"/>
                    <a:gd name="connsiteY7" fmla="*/ 41751 h 417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51018" h="41751">
                      <a:moveTo>
                        <a:pt x="330143" y="41751"/>
                      </a:moveTo>
                      <a:lnTo>
                        <a:pt x="20876" y="41751"/>
                      </a:lnTo>
                      <a:cubicBezTo>
                        <a:pt x="9278" y="41751"/>
                        <a:pt x="0" y="32473"/>
                        <a:pt x="0" y="20876"/>
                      </a:cubicBezTo>
                      <a:cubicBezTo>
                        <a:pt x="0" y="9278"/>
                        <a:pt x="9278" y="0"/>
                        <a:pt x="20876" y="0"/>
                      </a:cubicBezTo>
                      <a:lnTo>
                        <a:pt x="330143" y="0"/>
                      </a:lnTo>
                      <a:cubicBezTo>
                        <a:pt x="341740" y="0"/>
                        <a:pt x="351018" y="9278"/>
                        <a:pt x="351018" y="20876"/>
                      </a:cubicBezTo>
                      <a:cubicBezTo>
                        <a:pt x="351018" y="33246"/>
                        <a:pt x="341740" y="41751"/>
                        <a:pt x="330143" y="41751"/>
                      </a:cubicBezTo>
                      <a:lnTo>
                        <a:pt x="330143" y="41751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305" name="Forma Livre: Forma 304">
                  <a:extLst>
                    <a:ext uri="{FF2B5EF4-FFF2-40B4-BE49-F238E27FC236}">
                      <a16:creationId xmlns:a16="http://schemas.microsoft.com/office/drawing/2014/main" id="{6C0B5519-46C9-4FE9-8C7F-1B0FA672E7A1}"/>
                    </a:ext>
                  </a:extLst>
                </p:cNvPr>
                <p:cNvSpPr/>
                <p:nvPr/>
              </p:nvSpPr>
              <p:spPr>
                <a:xfrm>
                  <a:off x="301878" y="2544495"/>
                  <a:ext cx="276794" cy="484776"/>
                </a:xfrm>
                <a:custGeom>
                  <a:avLst/>
                  <a:gdLst>
                    <a:gd name="connsiteX0" fmla="*/ 255919 w 276794"/>
                    <a:gd name="connsiteY0" fmla="*/ 484776 h 484776"/>
                    <a:gd name="connsiteX1" fmla="*/ 20876 w 276794"/>
                    <a:gd name="connsiteY1" fmla="*/ 484776 h 484776"/>
                    <a:gd name="connsiteX2" fmla="*/ 0 w 276794"/>
                    <a:gd name="connsiteY2" fmla="*/ 463901 h 484776"/>
                    <a:gd name="connsiteX3" fmla="*/ 0 w 276794"/>
                    <a:gd name="connsiteY3" fmla="*/ 364162 h 484776"/>
                    <a:gd name="connsiteX4" fmla="*/ 73451 w 276794"/>
                    <a:gd name="connsiteY4" fmla="*/ 242775 h 484776"/>
                    <a:gd name="connsiteX5" fmla="*/ 73451 w 276794"/>
                    <a:gd name="connsiteY5" fmla="*/ 242001 h 484776"/>
                    <a:gd name="connsiteX6" fmla="*/ 0 w 276794"/>
                    <a:gd name="connsiteY6" fmla="*/ 120614 h 484776"/>
                    <a:gd name="connsiteX7" fmla="*/ 0 w 276794"/>
                    <a:gd name="connsiteY7" fmla="*/ 20875 h 484776"/>
                    <a:gd name="connsiteX8" fmla="*/ 20876 w 276794"/>
                    <a:gd name="connsiteY8" fmla="*/ 0 h 484776"/>
                    <a:gd name="connsiteX9" fmla="*/ 255919 w 276794"/>
                    <a:gd name="connsiteY9" fmla="*/ 0 h 484776"/>
                    <a:gd name="connsiteX10" fmla="*/ 276794 w 276794"/>
                    <a:gd name="connsiteY10" fmla="*/ 20875 h 484776"/>
                    <a:gd name="connsiteX11" fmla="*/ 276794 w 276794"/>
                    <a:gd name="connsiteY11" fmla="*/ 120614 h 484776"/>
                    <a:gd name="connsiteX12" fmla="*/ 204116 w 276794"/>
                    <a:gd name="connsiteY12" fmla="*/ 242001 h 484776"/>
                    <a:gd name="connsiteX13" fmla="*/ 204116 w 276794"/>
                    <a:gd name="connsiteY13" fmla="*/ 242775 h 484776"/>
                    <a:gd name="connsiteX14" fmla="*/ 276794 w 276794"/>
                    <a:gd name="connsiteY14" fmla="*/ 364162 h 484776"/>
                    <a:gd name="connsiteX15" fmla="*/ 276794 w 276794"/>
                    <a:gd name="connsiteY15" fmla="*/ 463901 h 484776"/>
                    <a:gd name="connsiteX16" fmla="*/ 255919 w 276794"/>
                    <a:gd name="connsiteY16" fmla="*/ 484776 h 484776"/>
                    <a:gd name="connsiteX17" fmla="*/ 255919 w 276794"/>
                    <a:gd name="connsiteY17" fmla="*/ 484776 h 484776"/>
                    <a:gd name="connsiteX18" fmla="*/ 40978 w 276794"/>
                    <a:gd name="connsiteY18" fmla="*/ 443798 h 484776"/>
                    <a:gd name="connsiteX19" fmla="*/ 235043 w 276794"/>
                    <a:gd name="connsiteY19" fmla="*/ 443798 h 484776"/>
                    <a:gd name="connsiteX20" fmla="*/ 235043 w 276794"/>
                    <a:gd name="connsiteY20" fmla="*/ 364162 h 484776"/>
                    <a:gd name="connsiteX21" fmla="*/ 174736 w 276794"/>
                    <a:gd name="connsiteY21" fmla="*/ 274475 h 484776"/>
                    <a:gd name="connsiteX22" fmla="*/ 162365 w 276794"/>
                    <a:gd name="connsiteY22" fmla="*/ 255145 h 484776"/>
                    <a:gd name="connsiteX23" fmla="*/ 162365 w 276794"/>
                    <a:gd name="connsiteY23" fmla="*/ 228085 h 484776"/>
                    <a:gd name="connsiteX24" fmla="*/ 174736 w 276794"/>
                    <a:gd name="connsiteY24" fmla="*/ 208755 h 484776"/>
                    <a:gd name="connsiteX25" fmla="*/ 235043 w 276794"/>
                    <a:gd name="connsiteY25" fmla="*/ 119068 h 484776"/>
                    <a:gd name="connsiteX26" fmla="*/ 235043 w 276794"/>
                    <a:gd name="connsiteY26" fmla="*/ 39432 h 484776"/>
                    <a:gd name="connsiteX27" fmla="*/ 40978 w 276794"/>
                    <a:gd name="connsiteY27" fmla="*/ 39432 h 484776"/>
                    <a:gd name="connsiteX28" fmla="*/ 40978 w 276794"/>
                    <a:gd name="connsiteY28" fmla="*/ 119068 h 484776"/>
                    <a:gd name="connsiteX29" fmla="*/ 101285 w 276794"/>
                    <a:gd name="connsiteY29" fmla="*/ 208755 h 484776"/>
                    <a:gd name="connsiteX30" fmla="*/ 113656 w 276794"/>
                    <a:gd name="connsiteY30" fmla="*/ 228085 h 484776"/>
                    <a:gd name="connsiteX31" fmla="*/ 113656 w 276794"/>
                    <a:gd name="connsiteY31" fmla="*/ 255145 h 484776"/>
                    <a:gd name="connsiteX32" fmla="*/ 101285 w 276794"/>
                    <a:gd name="connsiteY32" fmla="*/ 274475 h 484776"/>
                    <a:gd name="connsiteX33" fmla="*/ 40978 w 276794"/>
                    <a:gd name="connsiteY33" fmla="*/ 364162 h 484776"/>
                    <a:gd name="connsiteX34" fmla="*/ 40978 w 276794"/>
                    <a:gd name="connsiteY34" fmla="*/ 443798 h 484776"/>
                    <a:gd name="connsiteX35" fmla="*/ 40978 w 276794"/>
                    <a:gd name="connsiteY35" fmla="*/ 443798 h 4847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</a:cxnLst>
                  <a:rect l="l" t="t" r="r" b="b"/>
                  <a:pathLst>
                    <a:path w="276794" h="484776">
                      <a:moveTo>
                        <a:pt x="255919" y="484776"/>
                      </a:moveTo>
                      <a:lnTo>
                        <a:pt x="20876" y="484776"/>
                      </a:lnTo>
                      <a:cubicBezTo>
                        <a:pt x="9278" y="484776"/>
                        <a:pt x="0" y="475498"/>
                        <a:pt x="0" y="463901"/>
                      </a:cubicBezTo>
                      <a:lnTo>
                        <a:pt x="0" y="364162"/>
                      </a:lnTo>
                      <a:cubicBezTo>
                        <a:pt x="0" y="313133"/>
                        <a:pt x="28607" y="266743"/>
                        <a:pt x="73451" y="242775"/>
                      </a:cubicBezTo>
                      <a:lnTo>
                        <a:pt x="73451" y="242001"/>
                      </a:lnTo>
                      <a:cubicBezTo>
                        <a:pt x="28607" y="218033"/>
                        <a:pt x="0" y="171643"/>
                        <a:pt x="0" y="120614"/>
                      </a:cubicBezTo>
                      <a:lnTo>
                        <a:pt x="0" y="20875"/>
                      </a:lnTo>
                      <a:cubicBezTo>
                        <a:pt x="0" y="9278"/>
                        <a:pt x="9278" y="0"/>
                        <a:pt x="20876" y="0"/>
                      </a:cubicBezTo>
                      <a:lnTo>
                        <a:pt x="255919" y="0"/>
                      </a:lnTo>
                      <a:cubicBezTo>
                        <a:pt x="267516" y="0"/>
                        <a:pt x="276794" y="9278"/>
                        <a:pt x="276794" y="20875"/>
                      </a:cubicBezTo>
                      <a:lnTo>
                        <a:pt x="276794" y="120614"/>
                      </a:lnTo>
                      <a:cubicBezTo>
                        <a:pt x="276794" y="171643"/>
                        <a:pt x="248187" y="218033"/>
                        <a:pt x="204116" y="242001"/>
                      </a:cubicBezTo>
                      <a:lnTo>
                        <a:pt x="204116" y="242775"/>
                      </a:lnTo>
                      <a:cubicBezTo>
                        <a:pt x="248960" y="266743"/>
                        <a:pt x="276794" y="313133"/>
                        <a:pt x="276794" y="364162"/>
                      </a:cubicBezTo>
                      <a:lnTo>
                        <a:pt x="276794" y="463901"/>
                      </a:lnTo>
                      <a:cubicBezTo>
                        <a:pt x="276794" y="476272"/>
                        <a:pt x="267516" y="484776"/>
                        <a:pt x="255919" y="484776"/>
                      </a:cubicBezTo>
                      <a:lnTo>
                        <a:pt x="255919" y="484776"/>
                      </a:lnTo>
                      <a:close/>
                      <a:moveTo>
                        <a:pt x="40978" y="443798"/>
                      </a:moveTo>
                      <a:lnTo>
                        <a:pt x="235043" y="443798"/>
                      </a:lnTo>
                      <a:lnTo>
                        <a:pt x="235043" y="364162"/>
                      </a:lnTo>
                      <a:cubicBezTo>
                        <a:pt x="235043" y="324731"/>
                        <a:pt x="211075" y="289165"/>
                        <a:pt x="174736" y="274475"/>
                      </a:cubicBezTo>
                      <a:cubicBezTo>
                        <a:pt x="167004" y="271382"/>
                        <a:pt x="162365" y="263650"/>
                        <a:pt x="162365" y="255145"/>
                      </a:cubicBezTo>
                      <a:lnTo>
                        <a:pt x="162365" y="228085"/>
                      </a:lnTo>
                      <a:cubicBezTo>
                        <a:pt x="162365" y="219580"/>
                        <a:pt x="167004" y="212621"/>
                        <a:pt x="174736" y="208755"/>
                      </a:cubicBezTo>
                      <a:cubicBezTo>
                        <a:pt x="211075" y="193292"/>
                        <a:pt x="235043" y="158499"/>
                        <a:pt x="235043" y="119068"/>
                      </a:cubicBezTo>
                      <a:lnTo>
                        <a:pt x="235043" y="39432"/>
                      </a:lnTo>
                      <a:lnTo>
                        <a:pt x="40978" y="39432"/>
                      </a:lnTo>
                      <a:lnTo>
                        <a:pt x="40978" y="119068"/>
                      </a:lnTo>
                      <a:cubicBezTo>
                        <a:pt x="40978" y="158499"/>
                        <a:pt x="64946" y="194065"/>
                        <a:pt x="101285" y="208755"/>
                      </a:cubicBezTo>
                      <a:cubicBezTo>
                        <a:pt x="109017" y="211848"/>
                        <a:pt x="113656" y="219580"/>
                        <a:pt x="113656" y="228085"/>
                      </a:cubicBezTo>
                      <a:lnTo>
                        <a:pt x="113656" y="255145"/>
                      </a:lnTo>
                      <a:cubicBezTo>
                        <a:pt x="113656" y="263650"/>
                        <a:pt x="108244" y="270609"/>
                        <a:pt x="101285" y="274475"/>
                      </a:cubicBezTo>
                      <a:cubicBezTo>
                        <a:pt x="64946" y="289938"/>
                        <a:pt x="40978" y="324731"/>
                        <a:pt x="40978" y="364162"/>
                      </a:cubicBezTo>
                      <a:lnTo>
                        <a:pt x="40978" y="443798"/>
                      </a:lnTo>
                      <a:lnTo>
                        <a:pt x="40978" y="443798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grpSp>
            <p:nvGrpSpPr>
              <p:cNvPr id="306" name="Gráfico 2">
                <a:extLst>
                  <a:ext uri="{FF2B5EF4-FFF2-40B4-BE49-F238E27FC236}">
                    <a16:creationId xmlns:a16="http://schemas.microsoft.com/office/drawing/2014/main" id="{6FEF66BF-8D1E-4FFA-95A2-6EE56886837B}"/>
                  </a:ext>
                </a:extLst>
              </p:cNvPr>
              <p:cNvGrpSpPr/>
              <p:nvPr/>
            </p:nvGrpSpPr>
            <p:grpSpPr>
              <a:xfrm>
                <a:off x="353680" y="2660471"/>
                <a:ext cx="171741" cy="317772"/>
                <a:chOff x="353680" y="2660471"/>
                <a:chExt cx="171741" cy="317772"/>
              </a:xfrm>
              <a:grpFill/>
            </p:grpSpPr>
            <p:sp>
              <p:nvSpPr>
                <p:cNvPr id="307" name="Forma Livre: Forma 306">
                  <a:extLst>
                    <a:ext uri="{FF2B5EF4-FFF2-40B4-BE49-F238E27FC236}">
                      <a16:creationId xmlns:a16="http://schemas.microsoft.com/office/drawing/2014/main" id="{B2430C04-EC99-44C7-BBA6-6DB9E5157FDC}"/>
                    </a:ext>
                  </a:extLst>
                </p:cNvPr>
                <p:cNvSpPr/>
                <p:nvPr/>
              </p:nvSpPr>
              <p:spPr>
                <a:xfrm>
                  <a:off x="430224" y="2731602"/>
                  <a:ext cx="20102" cy="167777"/>
                </a:xfrm>
                <a:custGeom>
                  <a:avLst/>
                  <a:gdLst>
                    <a:gd name="connsiteX0" fmla="*/ 10051 w 20102"/>
                    <a:gd name="connsiteY0" fmla="*/ 167778 h 167777"/>
                    <a:gd name="connsiteX1" fmla="*/ 0 w 20102"/>
                    <a:gd name="connsiteY1" fmla="*/ 157726 h 167777"/>
                    <a:gd name="connsiteX2" fmla="*/ 0 w 20102"/>
                    <a:gd name="connsiteY2" fmla="*/ 10051 h 167777"/>
                    <a:gd name="connsiteX3" fmla="*/ 10051 w 20102"/>
                    <a:gd name="connsiteY3" fmla="*/ 0 h 167777"/>
                    <a:gd name="connsiteX4" fmla="*/ 20102 w 20102"/>
                    <a:gd name="connsiteY4" fmla="*/ 10051 h 167777"/>
                    <a:gd name="connsiteX5" fmla="*/ 20102 w 20102"/>
                    <a:gd name="connsiteY5" fmla="*/ 157726 h 167777"/>
                    <a:gd name="connsiteX6" fmla="*/ 10051 w 20102"/>
                    <a:gd name="connsiteY6" fmla="*/ 167778 h 167777"/>
                    <a:gd name="connsiteX7" fmla="*/ 10051 w 20102"/>
                    <a:gd name="connsiteY7" fmla="*/ 167778 h 1677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0102" h="167777">
                      <a:moveTo>
                        <a:pt x="10051" y="167778"/>
                      </a:moveTo>
                      <a:cubicBezTo>
                        <a:pt x="4639" y="167778"/>
                        <a:pt x="0" y="163138"/>
                        <a:pt x="0" y="157726"/>
                      </a:cubicBezTo>
                      <a:lnTo>
                        <a:pt x="0" y="10051"/>
                      </a:lnTo>
                      <a:cubicBezTo>
                        <a:pt x="0" y="4639"/>
                        <a:pt x="4639" y="0"/>
                        <a:pt x="10051" y="0"/>
                      </a:cubicBezTo>
                      <a:cubicBezTo>
                        <a:pt x="15463" y="0"/>
                        <a:pt x="20102" y="4639"/>
                        <a:pt x="20102" y="10051"/>
                      </a:cubicBezTo>
                      <a:lnTo>
                        <a:pt x="20102" y="157726"/>
                      </a:lnTo>
                      <a:cubicBezTo>
                        <a:pt x="20102" y="163138"/>
                        <a:pt x="15463" y="167778"/>
                        <a:pt x="10051" y="167778"/>
                      </a:cubicBezTo>
                      <a:lnTo>
                        <a:pt x="10051" y="167778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grpSp>
              <p:nvGrpSpPr>
                <p:cNvPr id="308" name="Gráfico 2">
                  <a:extLst>
                    <a:ext uri="{FF2B5EF4-FFF2-40B4-BE49-F238E27FC236}">
                      <a16:creationId xmlns:a16="http://schemas.microsoft.com/office/drawing/2014/main" id="{6FEF66BF-8D1E-4FFA-95A2-6EE56886837B}"/>
                    </a:ext>
                  </a:extLst>
                </p:cNvPr>
                <p:cNvGrpSpPr/>
                <p:nvPr/>
              </p:nvGrpSpPr>
              <p:grpSpPr>
                <a:xfrm>
                  <a:off x="353680" y="2881597"/>
                  <a:ext cx="171741" cy="96645"/>
                  <a:chOff x="353680" y="2881597"/>
                  <a:chExt cx="171741" cy="96645"/>
                </a:xfrm>
                <a:grpFill/>
              </p:grpSpPr>
              <p:sp>
                <p:nvSpPr>
                  <p:cNvPr id="309" name="Forma Livre: Forma 308">
                    <a:extLst>
                      <a:ext uri="{FF2B5EF4-FFF2-40B4-BE49-F238E27FC236}">
                        <a16:creationId xmlns:a16="http://schemas.microsoft.com/office/drawing/2014/main" id="{5EDAAD8F-893C-4871-BAC8-EEAA7CE0086A}"/>
                      </a:ext>
                    </a:extLst>
                  </p:cNvPr>
                  <p:cNvSpPr/>
                  <p:nvPr/>
                </p:nvSpPr>
                <p:spPr>
                  <a:xfrm>
                    <a:off x="353680" y="2882370"/>
                    <a:ext cx="95884" cy="95873"/>
                  </a:xfrm>
                  <a:custGeom>
                    <a:avLst/>
                    <a:gdLst>
                      <a:gd name="connsiteX0" fmla="*/ 10051 w 95884"/>
                      <a:gd name="connsiteY0" fmla="*/ 95873 h 95873"/>
                      <a:gd name="connsiteX1" fmla="*/ 0 w 95884"/>
                      <a:gd name="connsiteY1" fmla="*/ 85822 h 95873"/>
                      <a:gd name="connsiteX2" fmla="*/ 10051 w 95884"/>
                      <a:gd name="connsiteY2" fmla="*/ 75771 h 95873"/>
                      <a:gd name="connsiteX3" fmla="*/ 75770 w 95884"/>
                      <a:gd name="connsiteY3" fmla="*/ 10051 h 95873"/>
                      <a:gd name="connsiteX4" fmla="*/ 85822 w 95884"/>
                      <a:gd name="connsiteY4" fmla="*/ 0 h 95873"/>
                      <a:gd name="connsiteX5" fmla="*/ 95873 w 95884"/>
                      <a:gd name="connsiteY5" fmla="*/ 10051 h 95873"/>
                      <a:gd name="connsiteX6" fmla="*/ 10051 w 95884"/>
                      <a:gd name="connsiteY6" fmla="*/ 95873 h 95873"/>
                      <a:gd name="connsiteX7" fmla="*/ 10051 w 95884"/>
                      <a:gd name="connsiteY7" fmla="*/ 95873 h 958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95884" h="95873">
                        <a:moveTo>
                          <a:pt x="10051" y="95873"/>
                        </a:moveTo>
                        <a:cubicBezTo>
                          <a:pt x="4639" y="95873"/>
                          <a:pt x="0" y="91234"/>
                          <a:pt x="0" y="85822"/>
                        </a:cubicBezTo>
                        <a:cubicBezTo>
                          <a:pt x="0" y="80410"/>
                          <a:pt x="4639" y="75771"/>
                          <a:pt x="10051" y="75771"/>
                        </a:cubicBezTo>
                        <a:cubicBezTo>
                          <a:pt x="46390" y="75771"/>
                          <a:pt x="75770" y="46390"/>
                          <a:pt x="75770" y="10051"/>
                        </a:cubicBezTo>
                        <a:cubicBezTo>
                          <a:pt x="75770" y="4639"/>
                          <a:pt x="80409" y="0"/>
                          <a:pt x="85822" y="0"/>
                        </a:cubicBezTo>
                        <a:cubicBezTo>
                          <a:pt x="91234" y="0"/>
                          <a:pt x="95873" y="4639"/>
                          <a:pt x="95873" y="10051"/>
                        </a:cubicBezTo>
                        <a:cubicBezTo>
                          <a:pt x="96646" y="57215"/>
                          <a:pt x="57988" y="95873"/>
                          <a:pt x="10051" y="95873"/>
                        </a:cubicBezTo>
                        <a:lnTo>
                          <a:pt x="10051" y="95873"/>
                        </a:lnTo>
                        <a:close/>
                      </a:path>
                    </a:pathLst>
                  </a:custGeom>
                  <a:grpFill/>
                  <a:ln w="77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BR"/>
                  </a:p>
                </p:txBody>
              </p:sp>
              <p:sp>
                <p:nvSpPr>
                  <p:cNvPr id="310" name="Forma Livre: Forma 309">
                    <a:extLst>
                      <a:ext uri="{FF2B5EF4-FFF2-40B4-BE49-F238E27FC236}">
                        <a16:creationId xmlns:a16="http://schemas.microsoft.com/office/drawing/2014/main" id="{255E43C5-DD27-40FB-BA79-E3E42C5F7CEC}"/>
                      </a:ext>
                    </a:extLst>
                  </p:cNvPr>
                  <p:cNvSpPr/>
                  <p:nvPr/>
                </p:nvSpPr>
                <p:spPr>
                  <a:xfrm>
                    <a:off x="429451" y="2881597"/>
                    <a:ext cx="95970" cy="96645"/>
                  </a:xfrm>
                  <a:custGeom>
                    <a:avLst/>
                    <a:gdLst>
                      <a:gd name="connsiteX0" fmla="*/ 86595 w 95970"/>
                      <a:gd name="connsiteY0" fmla="*/ 96646 h 96645"/>
                      <a:gd name="connsiteX1" fmla="*/ 0 w 95970"/>
                      <a:gd name="connsiteY1" fmla="*/ 10051 h 96645"/>
                      <a:gd name="connsiteX2" fmla="*/ 10051 w 95970"/>
                      <a:gd name="connsiteY2" fmla="*/ 0 h 96645"/>
                      <a:gd name="connsiteX3" fmla="*/ 20102 w 95970"/>
                      <a:gd name="connsiteY3" fmla="*/ 10051 h 96645"/>
                      <a:gd name="connsiteX4" fmla="*/ 85822 w 95970"/>
                      <a:gd name="connsiteY4" fmla="*/ 75770 h 96645"/>
                      <a:gd name="connsiteX5" fmla="*/ 95873 w 95970"/>
                      <a:gd name="connsiteY5" fmla="*/ 85821 h 96645"/>
                      <a:gd name="connsiteX6" fmla="*/ 86595 w 95970"/>
                      <a:gd name="connsiteY6" fmla="*/ 96646 h 96645"/>
                      <a:gd name="connsiteX7" fmla="*/ 86595 w 95970"/>
                      <a:gd name="connsiteY7" fmla="*/ 96646 h 966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95970" h="96645">
                        <a:moveTo>
                          <a:pt x="86595" y="96646"/>
                        </a:moveTo>
                        <a:cubicBezTo>
                          <a:pt x="38658" y="96646"/>
                          <a:pt x="0" y="57988"/>
                          <a:pt x="0" y="10051"/>
                        </a:cubicBezTo>
                        <a:cubicBezTo>
                          <a:pt x="0" y="4639"/>
                          <a:pt x="4639" y="0"/>
                          <a:pt x="10051" y="0"/>
                        </a:cubicBezTo>
                        <a:cubicBezTo>
                          <a:pt x="15463" y="0"/>
                          <a:pt x="20102" y="4639"/>
                          <a:pt x="20102" y="10051"/>
                        </a:cubicBezTo>
                        <a:cubicBezTo>
                          <a:pt x="20102" y="46390"/>
                          <a:pt x="49483" y="75770"/>
                          <a:pt x="85822" y="75770"/>
                        </a:cubicBezTo>
                        <a:cubicBezTo>
                          <a:pt x="91234" y="75770"/>
                          <a:pt x="95873" y="80409"/>
                          <a:pt x="95873" y="85821"/>
                        </a:cubicBezTo>
                        <a:cubicBezTo>
                          <a:pt x="96646" y="92007"/>
                          <a:pt x="92780" y="96646"/>
                          <a:pt x="86595" y="96646"/>
                        </a:cubicBezTo>
                        <a:lnTo>
                          <a:pt x="86595" y="96646"/>
                        </a:lnTo>
                        <a:close/>
                      </a:path>
                    </a:pathLst>
                  </a:custGeom>
                  <a:grpFill/>
                  <a:ln w="77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BR"/>
                  </a:p>
                </p:txBody>
              </p:sp>
            </p:grpSp>
            <p:sp>
              <p:nvSpPr>
                <p:cNvPr id="311" name="Forma Livre: Forma 310">
                  <a:extLst>
                    <a:ext uri="{FF2B5EF4-FFF2-40B4-BE49-F238E27FC236}">
                      <a16:creationId xmlns:a16="http://schemas.microsoft.com/office/drawing/2014/main" id="{5D591655-910E-4AD6-8D71-8ABA4360244E}"/>
                    </a:ext>
                  </a:extLst>
                </p:cNvPr>
                <p:cNvSpPr/>
                <p:nvPr/>
              </p:nvSpPr>
              <p:spPr>
                <a:xfrm>
                  <a:off x="358319" y="2660471"/>
                  <a:ext cx="162377" cy="88914"/>
                </a:xfrm>
                <a:custGeom>
                  <a:avLst/>
                  <a:gdLst>
                    <a:gd name="connsiteX0" fmla="*/ 84275 w 162377"/>
                    <a:gd name="connsiteY0" fmla="*/ 88914 h 88914"/>
                    <a:gd name="connsiteX1" fmla="*/ 78863 w 162377"/>
                    <a:gd name="connsiteY1" fmla="*/ 88914 h 88914"/>
                    <a:gd name="connsiteX2" fmla="*/ 0 w 162377"/>
                    <a:gd name="connsiteY2" fmla="*/ 10051 h 88914"/>
                    <a:gd name="connsiteX3" fmla="*/ 10051 w 162377"/>
                    <a:gd name="connsiteY3" fmla="*/ 0 h 88914"/>
                    <a:gd name="connsiteX4" fmla="*/ 152314 w 162377"/>
                    <a:gd name="connsiteY4" fmla="*/ 0 h 88914"/>
                    <a:gd name="connsiteX5" fmla="*/ 162365 w 162377"/>
                    <a:gd name="connsiteY5" fmla="*/ 10051 h 88914"/>
                    <a:gd name="connsiteX6" fmla="*/ 84275 w 162377"/>
                    <a:gd name="connsiteY6" fmla="*/ 88914 h 88914"/>
                    <a:gd name="connsiteX7" fmla="*/ 84275 w 162377"/>
                    <a:gd name="connsiteY7" fmla="*/ 88914 h 88914"/>
                    <a:gd name="connsiteX8" fmla="*/ 21649 w 162377"/>
                    <a:gd name="connsiteY8" fmla="*/ 20102 h 88914"/>
                    <a:gd name="connsiteX9" fmla="*/ 78863 w 162377"/>
                    <a:gd name="connsiteY9" fmla="*/ 68039 h 88914"/>
                    <a:gd name="connsiteX10" fmla="*/ 84275 w 162377"/>
                    <a:gd name="connsiteY10" fmla="*/ 68039 h 88914"/>
                    <a:gd name="connsiteX11" fmla="*/ 141490 w 162377"/>
                    <a:gd name="connsiteY11" fmla="*/ 20102 h 88914"/>
                    <a:gd name="connsiteX12" fmla="*/ 21649 w 162377"/>
                    <a:gd name="connsiteY12" fmla="*/ 20102 h 88914"/>
                    <a:gd name="connsiteX13" fmla="*/ 21649 w 162377"/>
                    <a:gd name="connsiteY13" fmla="*/ 20102 h 889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62377" h="88914">
                      <a:moveTo>
                        <a:pt x="84275" y="88914"/>
                      </a:moveTo>
                      <a:lnTo>
                        <a:pt x="78863" y="88914"/>
                      </a:lnTo>
                      <a:cubicBezTo>
                        <a:pt x="35566" y="88914"/>
                        <a:pt x="0" y="53349"/>
                        <a:pt x="0" y="10051"/>
                      </a:cubicBezTo>
                      <a:cubicBezTo>
                        <a:pt x="0" y="4639"/>
                        <a:pt x="4639" y="0"/>
                        <a:pt x="10051" y="0"/>
                      </a:cubicBezTo>
                      <a:lnTo>
                        <a:pt x="152314" y="0"/>
                      </a:lnTo>
                      <a:cubicBezTo>
                        <a:pt x="157726" y="0"/>
                        <a:pt x="162365" y="4639"/>
                        <a:pt x="162365" y="10051"/>
                      </a:cubicBezTo>
                      <a:cubicBezTo>
                        <a:pt x="163138" y="53349"/>
                        <a:pt x="127573" y="88914"/>
                        <a:pt x="84275" y="88914"/>
                      </a:cubicBezTo>
                      <a:lnTo>
                        <a:pt x="84275" y="88914"/>
                      </a:lnTo>
                      <a:close/>
                      <a:moveTo>
                        <a:pt x="21649" y="20102"/>
                      </a:moveTo>
                      <a:cubicBezTo>
                        <a:pt x="26288" y="47163"/>
                        <a:pt x="50256" y="68039"/>
                        <a:pt x="78863" y="68039"/>
                      </a:cubicBezTo>
                      <a:lnTo>
                        <a:pt x="84275" y="68039"/>
                      </a:lnTo>
                      <a:cubicBezTo>
                        <a:pt x="112883" y="68039"/>
                        <a:pt x="136851" y="47163"/>
                        <a:pt x="141490" y="20102"/>
                      </a:cubicBezTo>
                      <a:lnTo>
                        <a:pt x="21649" y="20102"/>
                      </a:lnTo>
                      <a:lnTo>
                        <a:pt x="21649" y="20102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</p:grpSp>
        <p:grpSp>
          <p:nvGrpSpPr>
            <p:cNvPr id="312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3411607" y="3633236"/>
              <a:ext cx="377971" cy="362043"/>
              <a:chOff x="2707977" y="3827181"/>
              <a:chExt cx="477044" cy="456942"/>
            </a:xfrm>
            <a:solidFill>
              <a:srgbClr val="B1B1A1"/>
            </a:solidFill>
          </p:grpSpPr>
          <p:grpSp>
            <p:nvGrpSpPr>
              <p:cNvPr id="313" name="Gráfico 2">
                <a:extLst>
                  <a:ext uri="{FF2B5EF4-FFF2-40B4-BE49-F238E27FC236}">
                    <a16:creationId xmlns:a16="http://schemas.microsoft.com/office/drawing/2014/main" id="{6FEF66BF-8D1E-4FFA-95A2-6EE56886837B}"/>
                  </a:ext>
                </a:extLst>
              </p:cNvPr>
              <p:cNvGrpSpPr/>
              <p:nvPr/>
            </p:nvGrpSpPr>
            <p:grpSpPr>
              <a:xfrm>
                <a:off x="2707977" y="3827181"/>
                <a:ext cx="456942" cy="456942"/>
                <a:chOff x="2707977" y="3827181"/>
                <a:chExt cx="456942" cy="456942"/>
              </a:xfrm>
              <a:grpFill/>
            </p:grpSpPr>
            <p:sp>
              <p:nvSpPr>
                <p:cNvPr id="314" name="Forma Livre: Forma 313">
                  <a:extLst>
                    <a:ext uri="{FF2B5EF4-FFF2-40B4-BE49-F238E27FC236}">
                      <a16:creationId xmlns:a16="http://schemas.microsoft.com/office/drawing/2014/main" id="{040AE3B7-A71D-4C4C-AA03-253F0E2313A0}"/>
                    </a:ext>
                  </a:extLst>
                </p:cNvPr>
                <p:cNvSpPr/>
                <p:nvPr/>
              </p:nvSpPr>
              <p:spPr>
                <a:xfrm>
                  <a:off x="2707977" y="3827181"/>
                  <a:ext cx="456942" cy="456942"/>
                </a:xfrm>
                <a:custGeom>
                  <a:avLst/>
                  <a:gdLst>
                    <a:gd name="connsiteX0" fmla="*/ 20876 w 456942"/>
                    <a:gd name="connsiteY0" fmla="*/ 456169 h 456942"/>
                    <a:gd name="connsiteX1" fmla="*/ 6185 w 456942"/>
                    <a:gd name="connsiteY1" fmla="*/ 449984 h 456942"/>
                    <a:gd name="connsiteX2" fmla="*/ 0 w 456942"/>
                    <a:gd name="connsiteY2" fmla="*/ 434521 h 456942"/>
                    <a:gd name="connsiteX3" fmla="*/ 6185 w 456942"/>
                    <a:gd name="connsiteY3" fmla="*/ 330143 h 456942"/>
                    <a:gd name="connsiteX4" fmla="*/ 12371 w 456942"/>
                    <a:gd name="connsiteY4" fmla="*/ 316999 h 456942"/>
                    <a:gd name="connsiteX5" fmla="*/ 323184 w 456942"/>
                    <a:gd name="connsiteY5" fmla="*/ 6185 h 456942"/>
                    <a:gd name="connsiteX6" fmla="*/ 337875 w 456942"/>
                    <a:gd name="connsiteY6" fmla="*/ 0 h 456942"/>
                    <a:gd name="connsiteX7" fmla="*/ 337875 w 456942"/>
                    <a:gd name="connsiteY7" fmla="*/ 0 h 456942"/>
                    <a:gd name="connsiteX8" fmla="*/ 352565 w 456942"/>
                    <a:gd name="connsiteY8" fmla="*/ 6185 h 456942"/>
                    <a:gd name="connsiteX9" fmla="*/ 450757 w 456942"/>
                    <a:gd name="connsiteY9" fmla="*/ 104378 h 456942"/>
                    <a:gd name="connsiteX10" fmla="*/ 456942 w 456942"/>
                    <a:gd name="connsiteY10" fmla="*/ 119068 h 456942"/>
                    <a:gd name="connsiteX11" fmla="*/ 450757 w 456942"/>
                    <a:gd name="connsiteY11" fmla="*/ 133758 h 456942"/>
                    <a:gd name="connsiteX12" fmla="*/ 139943 w 456942"/>
                    <a:gd name="connsiteY12" fmla="*/ 444572 h 456942"/>
                    <a:gd name="connsiteX13" fmla="*/ 126800 w 456942"/>
                    <a:gd name="connsiteY13" fmla="*/ 450757 h 456942"/>
                    <a:gd name="connsiteX14" fmla="*/ 22422 w 456942"/>
                    <a:gd name="connsiteY14" fmla="*/ 456942 h 456942"/>
                    <a:gd name="connsiteX15" fmla="*/ 20876 w 456942"/>
                    <a:gd name="connsiteY15" fmla="*/ 456169 h 456942"/>
                    <a:gd name="connsiteX16" fmla="*/ 20876 w 456942"/>
                    <a:gd name="connsiteY16" fmla="*/ 456169 h 456942"/>
                    <a:gd name="connsiteX17" fmla="*/ 47163 w 456942"/>
                    <a:gd name="connsiteY17" fmla="*/ 340194 h 456942"/>
                    <a:gd name="connsiteX18" fmla="*/ 42524 w 456942"/>
                    <a:gd name="connsiteY18" fmla="*/ 413645 h 456942"/>
                    <a:gd name="connsiteX19" fmla="*/ 115975 w 456942"/>
                    <a:gd name="connsiteY19" fmla="*/ 409006 h 456942"/>
                    <a:gd name="connsiteX20" fmla="*/ 406686 w 456942"/>
                    <a:gd name="connsiteY20" fmla="*/ 118295 h 456942"/>
                    <a:gd name="connsiteX21" fmla="*/ 337875 w 456942"/>
                    <a:gd name="connsiteY21" fmla="*/ 49483 h 456942"/>
                    <a:gd name="connsiteX22" fmla="*/ 47163 w 456942"/>
                    <a:gd name="connsiteY22" fmla="*/ 340194 h 456942"/>
                    <a:gd name="connsiteX23" fmla="*/ 47163 w 456942"/>
                    <a:gd name="connsiteY23" fmla="*/ 340194 h 4569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456942" h="456942">
                      <a:moveTo>
                        <a:pt x="20876" y="456169"/>
                      </a:moveTo>
                      <a:cubicBezTo>
                        <a:pt x="15463" y="456169"/>
                        <a:pt x="10051" y="453850"/>
                        <a:pt x="6185" y="449984"/>
                      </a:cubicBezTo>
                      <a:cubicBezTo>
                        <a:pt x="2320" y="446118"/>
                        <a:pt x="0" y="439933"/>
                        <a:pt x="0" y="434521"/>
                      </a:cubicBezTo>
                      <a:lnTo>
                        <a:pt x="6185" y="330143"/>
                      </a:lnTo>
                      <a:cubicBezTo>
                        <a:pt x="6185" y="325504"/>
                        <a:pt x="8505" y="320092"/>
                        <a:pt x="12371" y="316999"/>
                      </a:cubicBezTo>
                      <a:lnTo>
                        <a:pt x="323184" y="6185"/>
                      </a:lnTo>
                      <a:cubicBezTo>
                        <a:pt x="327050" y="2319"/>
                        <a:pt x="332462" y="0"/>
                        <a:pt x="337875" y="0"/>
                      </a:cubicBezTo>
                      <a:lnTo>
                        <a:pt x="337875" y="0"/>
                      </a:lnTo>
                      <a:cubicBezTo>
                        <a:pt x="343287" y="0"/>
                        <a:pt x="348699" y="2319"/>
                        <a:pt x="352565" y="6185"/>
                      </a:cubicBezTo>
                      <a:lnTo>
                        <a:pt x="450757" y="104378"/>
                      </a:lnTo>
                      <a:cubicBezTo>
                        <a:pt x="454623" y="108244"/>
                        <a:pt x="456942" y="113656"/>
                        <a:pt x="456942" y="119068"/>
                      </a:cubicBezTo>
                      <a:cubicBezTo>
                        <a:pt x="456942" y="124480"/>
                        <a:pt x="454623" y="129892"/>
                        <a:pt x="450757" y="133758"/>
                      </a:cubicBezTo>
                      <a:lnTo>
                        <a:pt x="139943" y="444572"/>
                      </a:lnTo>
                      <a:cubicBezTo>
                        <a:pt x="136078" y="448437"/>
                        <a:pt x="131439" y="449984"/>
                        <a:pt x="126800" y="450757"/>
                      </a:cubicBezTo>
                      <a:lnTo>
                        <a:pt x="22422" y="456942"/>
                      </a:lnTo>
                      <a:cubicBezTo>
                        <a:pt x="21649" y="456169"/>
                        <a:pt x="20876" y="456169"/>
                        <a:pt x="20876" y="456169"/>
                      </a:cubicBezTo>
                      <a:lnTo>
                        <a:pt x="20876" y="456169"/>
                      </a:lnTo>
                      <a:close/>
                      <a:moveTo>
                        <a:pt x="47163" y="340194"/>
                      </a:moveTo>
                      <a:lnTo>
                        <a:pt x="42524" y="413645"/>
                      </a:lnTo>
                      <a:lnTo>
                        <a:pt x="115975" y="409006"/>
                      </a:lnTo>
                      <a:lnTo>
                        <a:pt x="406686" y="118295"/>
                      </a:lnTo>
                      <a:lnTo>
                        <a:pt x="337875" y="49483"/>
                      </a:lnTo>
                      <a:lnTo>
                        <a:pt x="47163" y="340194"/>
                      </a:lnTo>
                      <a:lnTo>
                        <a:pt x="47163" y="340194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315" name="Forma Livre: Forma 314">
                  <a:extLst>
                    <a:ext uri="{FF2B5EF4-FFF2-40B4-BE49-F238E27FC236}">
                      <a16:creationId xmlns:a16="http://schemas.microsoft.com/office/drawing/2014/main" id="{C73918E6-30E0-4744-894D-0A5F3A230683}"/>
                    </a:ext>
                  </a:extLst>
                </p:cNvPr>
                <p:cNvSpPr/>
                <p:nvPr/>
              </p:nvSpPr>
              <p:spPr>
                <a:xfrm>
                  <a:off x="2979746" y="3882462"/>
                  <a:ext cx="129118" cy="129505"/>
                </a:xfrm>
                <a:custGeom>
                  <a:avLst/>
                  <a:gdLst>
                    <a:gd name="connsiteX0" fmla="*/ 108630 w 129118"/>
                    <a:gd name="connsiteY0" fmla="*/ 129506 h 129505"/>
                    <a:gd name="connsiteX1" fmla="*/ 93940 w 129118"/>
                    <a:gd name="connsiteY1" fmla="*/ 123320 h 129505"/>
                    <a:gd name="connsiteX2" fmla="*/ 5799 w 129118"/>
                    <a:gd name="connsiteY2" fmla="*/ 35179 h 129505"/>
                    <a:gd name="connsiteX3" fmla="*/ 5799 w 129118"/>
                    <a:gd name="connsiteY3" fmla="*/ 5799 h 129505"/>
                    <a:gd name="connsiteX4" fmla="*/ 35179 w 129118"/>
                    <a:gd name="connsiteY4" fmla="*/ 5799 h 129505"/>
                    <a:gd name="connsiteX5" fmla="*/ 123320 w 129118"/>
                    <a:gd name="connsiteY5" fmla="*/ 93940 h 129505"/>
                    <a:gd name="connsiteX6" fmla="*/ 123320 w 129118"/>
                    <a:gd name="connsiteY6" fmla="*/ 123320 h 129505"/>
                    <a:gd name="connsiteX7" fmla="*/ 108630 w 129118"/>
                    <a:gd name="connsiteY7" fmla="*/ 129506 h 129505"/>
                    <a:gd name="connsiteX8" fmla="*/ 108630 w 129118"/>
                    <a:gd name="connsiteY8" fmla="*/ 129506 h 1295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29118" h="129505">
                      <a:moveTo>
                        <a:pt x="108630" y="129506"/>
                      </a:moveTo>
                      <a:cubicBezTo>
                        <a:pt x="103218" y="129506"/>
                        <a:pt x="97806" y="127186"/>
                        <a:pt x="93940" y="123320"/>
                      </a:cubicBezTo>
                      <a:lnTo>
                        <a:pt x="5799" y="35179"/>
                      </a:lnTo>
                      <a:cubicBezTo>
                        <a:pt x="-1933" y="27448"/>
                        <a:pt x="-1933" y="14304"/>
                        <a:pt x="5799" y="5799"/>
                      </a:cubicBezTo>
                      <a:cubicBezTo>
                        <a:pt x="13530" y="-1933"/>
                        <a:pt x="26674" y="-1933"/>
                        <a:pt x="35179" y="5799"/>
                      </a:cubicBezTo>
                      <a:lnTo>
                        <a:pt x="123320" y="93940"/>
                      </a:lnTo>
                      <a:cubicBezTo>
                        <a:pt x="131052" y="101672"/>
                        <a:pt x="131052" y="114815"/>
                        <a:pt x="123320" y="123320"/>
                      </a:cubicBezTo>
                      <a:cubicBezTo>
                        <a:pt x="118681" y="127186"/>
                        <a:pt x="113269" y="129506"/>
                        <a:pt x="108630" y="129506"/>
                      </a:cubicBezTo>
                      <a:lnTo>
                        <a:pt x="108630" y="129506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316" name="Forma Livre: Forma 315">
                  <a:extLst>
                    <a:ext uri="{FF2B5EF4-FFF2-40B4-BE49-F238E27FC236}">
                      <a16:creationId xmlns:a16="http://schemas.microsoft.com/office/drawing/2014/main" id="{E993CDD7-AE67-4322-A749-FA04ABF9721A}"/>
                    </a:ext>
                  </a:extLst>
                </p:cNvPr>
                <p:cNvSpPr/>
                <p:nvPr/>
              </p:nvSpPr>
              <p:spPr>
                <a:xfrm>
                  <a:off x="2779495" y="3928079"/>
                  <a:ext cx="283272" cy="283366"/>
                </a:xfrm>
                <a:custGeom>
                  <a:avLst/>
                  <a:gdLst>
                    <a:gd name="connsiteX0" fmla="*/ 20489 w 283272"/>
                    <a:gd name="connsiteY0" fmla="*/ 283366 h 283366"/>
                    <a:gd name="connsiteX1" fmla="*/ 5799 w 283272"/>
                    <a:gd name="connsiteY1" fmla="*/ 277181 h 283366"/>
                    <a:gd name="connsiteX2" fmla="*/ 5799 w 283272"/>
                    <a:gd name="connsiteY2" fmla="*/ 247800 h 283366"/>
                    <a:gd name="connsiteX3" fmla="*/ 247800 w 283272"/>
                    <a:gd name="connsiteY3" fmla="*/ 5799 h 283366"/>
                    <a:gd name="connsiteX4" fmla="*/ 277181 w 283272"/>
                    <a:gd name="connsiteY4" fmla="*/ 5799 h 283366"/>
                    <a:gd name="connsiteX5" fmla="*/ 277181 w 283272"/>
                    <a:gd name="connsiteY5" fmla="*/ 35179 h 283366"/>
                    <a:gd name="connsiteX6" fmla="*/ 35179 w 283272"/>
                    <a:gd name="connsiteY6" fmla="*/ 277181 h 283366"/>
                    <a:gd name="connsiteX7" fmla="*/ 20489 w 283272"/>
                    <a:gd name="connsiteY7" fmla="*/ 283366 h 283366"/>
                    <a:gd name="connsiteX8" fmla="*/ 20489 w 283272"/>
                    <a:gd name="connsiteY8" fmla="*/ 283366 h 2833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83272" h="283366">
                      <a:moveTo>
                        <a:pt x="20489" y="283366"/>
                      </a:moveTo>
                      <a:cubicBezTo>
                        <a:pt x="15077" y="283366"/>
                        <a:pt x="9665" y="281047"/>
                        <a:pt x="5799" y="277181"/>
                      </a:cubicBezTo>
                      <a:cubicBezTo>
                        <a:pt x="-1933" y="269449"/>
                        <a:pt x="-1933" y="256305"/>
                        <a:pt x="5799" y="247800"/>
                      </a:cubicBezTo>
                      <a:lnTo>
                        <a:pt x="247800" y="5799"/>
                      </a:lnTo>
                      <a:cubicBezTo>
                        <a:pt x="255532" y="-1933"/>
                        <a:pt x="268676" y="-1933"/>
                        <a:pt x="277181" y="5799"/>
                      </a:cubicBezTo>
                      <a:cubicBezTo>
                        <a:pt x="285686" y="13530"/>
                        <a:pt x="284912" y="26674"/>
                        <a:pt x="277181" y="35179"/>
                      </a:cubicBezTo>
                      <a:lnTo>
                        <a:pt x="35179" y="277181"/>
                      </a:lnTo>
                      <a:cubicBezTo>
                        <a:pt x="31313" y="281820"/>
                        <a:pt x="25901" y="283366"/>
                        <a:pt x="20489" y="283366"/>
                      </a:cubicBezTo>
                      <a:lnTo>
                        <a:pt x="20489" y="283366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317" name="Forma Livre: Forma 316">
                  <a:extLst>
                    <a:ext uri="{FF2B5EF4-FFF2-40B4-BE49-F238E27FC236}">
                      <a16:creationId xmlns:a16="http://schemas.microsoft.com/office/drawing/2014/main" id="{E3469749-B85A-4B6D-9CF5-8A40E294A5E1}"/>
                    </a:ext>
                  </a:extLst>
                </p:cNvPr>
                <p:cNvSpPr/>
                <p:nvPr/>
              </p:nvSpPr>
              <p:spPr>
                <a:xfrm>
                  <a:off x="2729626" y="4211446"/>
                  <a:ext cx="49694" cy="51028"/>
                </a:xfrm>
                <a:custGeom>
                  <a:avLst/>
                  <a:gdLst>
                    <a:gd name="connsiteX0" fmla="*/ 10824 w 49694"/>
                    <a:gd name="connsiteY0" fmla="*/ 0 h 51028"/>
                    <a:gd name="connsiteX1" fmla="*/ 6958 w 49694"/>
                    <a:gd name="connsiteY1" fmla="*/ 0 h 51028"/>
                    <a:gd name="connsiteX2" fmla="*/ 3093 w 49694"/>
                    <a:gd name="connsiteY2" fmla="*/ 773 h 51028"/>
                    <a:gd name="connsiteX3" fmla="*/ 0 w 49694"/>
                    <a:gd name="connsiteY3" fmla="*/ 51029 h 51028"/>
                    <a:gd name="connsiteX4" fmla="*/ 48709 w 49694"/>
                    <a:gd name="connsiteY4" fmla="*/ 47937 h 51028"/>
                    <a:gd name="connsiteX5" fmla="*/ 49483 w 49694"/>
                    <a:gd name="connsiteY5" fmla="*/ 42524 h 51028"/>
                    <a:gd name="connsiteX6" fmla="*/ 10824 w 49694"/>
                    <a:gd name="connsiteY6" fmla="*/ 0 h 51028"/>
                    <a:gd name="connsiteX7" fmla="*/ 10824 w 49694"/>
                    <a:gd name="connsiteY7" fmla="*/ 0 h 510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9694" h="51028">
                      <a:moveTo>
                        <a:pt x="10824" y="0"/>
                      </a:moveTo>
                      <a:cubicBezTo>
                        <a:pt x="9278" y="0"/>
                        <a:pt x="7732" y="0"/>
                        <a:pt x="6958" y="0"/>
                      </a:cubicBezTo>
                      <a:cubicBezTo>
                        <a:pt x="5412" y="0"/>
                        <a:pt x="4639" y="773"/>
                        <a:pt x="3093" y="773"/>
                      </a:cubicBezTo>
                      <a:lnTo>
                        <a:pt x="0" y="51029"/>
                      </a:lnTo>
                      <a:lnTo>
                        <a:pt x="48709" y="47937"/>
                      </a:lnTo>
                      <a:cubicBezTo>
                        <a:pt x="49483" y="46390"/>
                        <a:pt x="49483" y="44071"/>
                        <a:pt x="49483" y="42524"/>
                      </a:cubicBezTo>
                      <a:cubicBezTo>
                        <a:pt x="51802" y="18556"/>
                        <a:pt x="34793" y="0"/>
                        <a:pt x="10824" y="0"/>
                      </a:cubicBezTo>
                      <a:lnTo>
                        <a:pt x="10824" y="0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sp>
            <p:nvSpPr>
              <p:cNvPr id="318" name="Forma Livre: Forma 317">
                <a:extLst>
                  <a:ext uri="{FF2B5EF4-FFF2-40B4-BE49-F238E27FC236}">
                    <a16:creationId xmlns:a16="http://schemas.microsoft.com/office/drawing/2014/main" id="{0539BA79-358D-4F2D-8293-1BE1BCBB5E24}"/>
                  </a:ext>
                </a:extLst>
              </p:cNvPr>
              <p:cNvSpPr/>
              <p:nvPr/>
            </p:nvSpPr>
            <p:spPr>
              <a:xfrm>
                <a:off x="2914413" y="4237733"/>
                <a:ext cx="270608" cy="41751"/>
              </a:xfrm>
              <a:custGeom>
                <a:avLst/>
                <a:gdLst>
                  <a:gd name="connsiteX0" fmla="*/ 249733 w 270608"/>
                  <a:gd name="connsiteY0" fmla="*/ 41751 h 41751"/>
                  <a:gd name="connsiteX1" fmla="*/ 20876 w 270608"/>
                  <a:gd name="connsiteY1" fmla="*/ 41751 h 41751"/>
                  <a:gd name="connsiteX2" fmla="*/ 0 w 270608"/>
                  <a:gd name="connsiteY2" fmla="*/ 20876 h 41751"/>
                  <a:gd name="connsiteX3" fmla="*/ 20876 w 270608"/>
                  <a:gd name="connsiteY3" fmla="*/ 0 h 41751"/>
                  <a:gd name="connsiteX4" fmla="*/ 249733 w 270608"/>
                  <a:gd name="connsiteY4" fmla="*/ 0 h 41751"/>
                  <a:gd name="connsiteX5" fmla="*/ 270609 w 270608"/>
                  <a:gd name="connsiteY5" fmla="*/ 20876 h 41751"/>
                  <a:gd name="connsiteX6" fmla="*/ 249733 w 270608"/>
                  <a:gd name="connsiteY6" fmla="*/ 41751 h 41751"/>
                  <a:gd name="connsiteX7" fmla="*/ 249733 w 270608"/>
                  <a:gd name="connsiteY7" fmla="*/ 41751 h 41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70608" h="41751">
                    <a:moveTo>
                      <a:pt x="249733" y="41751"/>
                    </a:moveTo>
                    <a:lnTo>
                      <a:pt x="20876" y="41751"/>
                    </a:lnTo>
                    <a:cubicBezTo>
                      <a:pt x="9278" y="41751"/>
                      <a:pt x="0" y="32473"/>
                      <a:pt x="0" y="20876"/>
                    </a:cubicBezTo>
                    <a:cubicBezTo>
                      <a:pt x="0" y="9278"/>
                      <a:pt x="9278" y="0"/>
                      <a:pt x="20876" y="0"/>
                    </a:cubicBezTo>
                    <a:lnTo>
                      <a:pt x="249733" y="0"/>
                    </a:lnTo>
                    <a:cubicBezTo>
                      <a:pt x="261331" y="0"/>
                      <a:pt x="270609" y="9278"/>
                      <a:pt x="270609" y="20876"/>
                    </a:cubicBezTo>
                    <a:cubicBezTo>
                      <a:pt x="269836" y="32473"/>
                      <a:pt x="260558" y="41751"/>
                      <a:pt x="249733" y="41751"/>
                    </a:cubicBezTo>
                    <a:lnTo>
                      <a:pt x="249733" y="41751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319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9384586" y="3624506"/>
              <a:ext cx="371209" cy="379962"/>
              <a:chOff x="10246587" y="3816163"/>
              <a:chExt cx="468510" cy="479557"/>
            </a:xfrm>
            <a:solidFill>
              <a:srgbClr val="B1B1A1"/>
            </a:solidFill>
          </p:grpSpPr>
          <p:sp>
            <p:nvSpPr>
              <p:cNvPr id="320" name="Forma Livre: Forma 319">
                <a:extLst>
                  <a:ext uri="{FF2B5EF4-FFF2-40B4-BE49-F238E27FC236}">
                    <a16:creationId xmlns:a16="http://schemas.microsoft.com/office/drawing/2014/main" id="{7A617D9A-94BB-4BB5-BB00-B8EA4CE17F0E}"/>
                  </a:ext>
                </a:extLst>
              </p:cNvPr>
              <p:cNvSpPr/>
              <p:nvPr/>
            </p:nvSpPr>
            <p:spPr>
              <a:xfrm>
                <a:off x="10417055" y="3816163"/>
                <a:ext cx="298042" cy="297089"/>
              </a:xfrm>
              <a:custGeom>
                <a:avLst/>
                <a:gdLst>
                  <a:gd name="connsiteX0" fmla="*/ 71311 w 298042"/>
                  <a:gd name="connsiteY0" fmla="*/ 297090 h 297089"/>
                  <a:gd name="connsiteX1" fmla="*/ 54302 w 298042"/>
                  <a:gd name="connsiteY1" fmla="*/ 288585 h 297089"/>
                  <a:gd name="connsiteX2" fmla="*/ 58941 w 298042"/>
                  <a:gd name="connsiteY2" fmla="*/ 259978 h 297089"/>
                  <a:gd name="connsiteX3" fmla="*/ 251460 w 298042"/>
                  <a:gd name="connsiteY3" fmla="*/ 67459 h 297089"/>
                  <a:gd name="connsiteX4" fmla="*/ 255326 w 298042"/>
                  <a:gd name="connsiteY4" fmla="*/ 41944 h 297089"/>
                  <a:gd name="connsiteX5" fmla="*/ 229038 w 298042"/>
                  <a:gd name="connsiteY5" fmla="*/ 46583 h 297089"/>
                  <a:gd name="connsiteX6" fmla="*/ 37292 w 298042"/>
                  <a:gd name="connsiteY6" fmla="*/ 239102 h 297089"/>
                  <a:gd name="connsiteX7" fmla="*/ 8685 w 298042"/>
                  <a:gd name="connsiteY7" fmla="*/ 243741 h 297089"/>
                  <a:gd name="connsiteX8" fmla="*/ 4046 w 298042"/>
                  <a:gd name="connsiteY8" fmla="*/ 215134 h 297089"/>
                  <a:gd name="connsiteX9" fmla="*/ 205843 w 298042"/>
                  <a:gd name="connsiteY9" fmla="*/ 13337 h 297089"/>
                  <a:gd name="connsiteX10" fmla="*/ 284705 w 298042"/>
                  <a:gd name="connsiteY10" fmla="*/ 13337 h 297089"/>
                  <a:gd name="connsiteX11" fmla="*/ 284705 w 298042"/>
                  <a:gd name="connsiteY11" fmla="*/ 91427 h 297089"/>
                  <a:gd name="connsiteX12" fmla="*/ 82136 w 298042"/>
                  <a:gd name="connsiteY12" fmla="*/ 293997 h 297089"/>
                  <a:gd name="connsiteX13" fmla="*/ 71311 w 298042"/>
                  <a:gd name="connsiteY13" fmla="*/ 297090 h 297089"/>
                  <a:gd name="connsiteX14" fmla="*/ 71311 w 298042"/>
                  <a:gd name="connsiteY14" fmla="*/ 297090 h 297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98042" h="297089">
                    <a:moveTo>
                      <a:pt x="71311" y="297090"/>
                    </a:moveTo>
                    <a:cubicBezTo>
                      <a:pt x="65126" y="297090"/>
                      <a:pt x="58941" y="293997"/>
                      <a:pt x="54302" y="288585"/>
                    </a:cubicBezTo>
                    <a:cubicBezTo>
                      <a:pt x="47343" y="279307"/>
                      <a:pt x="49663" y="266936"/>
                      <a:pt x="58941" y="259978"/>
                    </a:cubicBezTo>
                    <a:cubicBezTo>
                      <a:pt x="132392" y="207403"/>
                      <a:pt x="198884" y="140910"/>
                      <a:pt x="251460" y="67459"/>
                    </a:cubicBezTo>
                    <a:cubicBezTo>
                      <a:pt x="258418" y="56635"/>
                      <a:pt x="257645" y="44264"/>
                      <a:pt x="255326" y="41944"/>
                    </a:cubicBezTo>
                    <a:cubicBezTo>
                      <a:pt x="253006" y="39625"/>
                      <a:pt x="240635" y="38852"/>
                      <a:pt x="229038" y="46583"/>
                    </a:cubicBezTo>
                    <a:cubicBezTo>
                      <a:pt x="156360" y="99159"/>
                      <a:pt x="89867" y="165651"/>
                      <a:pt x="37292" y="239102"/>
                    </a:cubicBezTo>
                    <a:cubicBezTo>
                      <a:pt x="30334" y="248380"/>
                      <a:pt x="17962" y="250700"/>
                      <a:pt x="8685" y="243741"/>
                    </a:cubicBezTo>
                    <a:cubicBezTo>
                      <a:pt x="-593" y="236783"/>
                      <a:pt x="-2913" y="224412"/>
                      <a:pt x="4046" y="215134"/>
                    </a:cubicBezTo>
                    <a:cubicBezTo>
                      <a:pt x="59714" y="138590"/>
                      <a:pt x="129299" y="68232"/>
                      <a:pt x="205843" y="13337"/>
                    </a:cubicBezTo>
                    <a:cubicBezTo>
                      <a:pt x="232904" y="-4446"/>
                      <a:pt x="266923" y="-4446"/>
                      <a:pt x="284705" y="13337"/>
                    </a:cubicBezTo>
                    <a:cubicBezTo>
                      <a:pt x="302489" y="31120"/>
                      <a:pt x="302489" y="65139"/>
                      <a:pt x="284705" y="91427"/>
                    </a:cubicBezTo>
                    <a:cubicBezTo>
                      <a:pt x="229038" y="168744"/>
                      <a:pt x="159453" y="238329"/>
                      <a:pt x="82136" y="293997"/>
                    </a:cubicBezTo>
                    <a:cubicBezTo>
                      <a:pt x="79816" y="295543"/>
                      <a:pt x="75950" y="297090"/>
                      <a:pt x="71311" y="297090"/>
                    </a:cubicBezTo>
                    <a:lnTo>
                      <a:pt x="71311" y="297090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21" name="Forma Livre: Forma 320">
                <a:extLst>
                  <a:ext uri="{FF2B5EF4-FFF2-40B4-BE49-F238E27FC236}">
                    <a16:creationId xmlns:a16="http://schemas.microsoft.com/office/drawing/2014/main" id="{0990D382-257B-4A0D-83BD-08E140D49623}"/>
                  </a:ext>
                </a:extLst>
              </p:cNvPr>
              <p:cNvSpPr/>
              <p:nvPr/>
            </p:nvSpPr>
            <p:spPr>
              <a:xfrm>
                <a:off x="10389014" y="4041735"/>
                <a:ext cx="99738" cy="100125"/>
              </a:xfrm>
              <a:custGeom>
                <a:avLst/>
                <a:gdLst>
                  <a:gd name="connsiteX0" fmla="*/ 79250 w 99738"/>
                  <a:gd name="connsiteY0" fmla="*/ 100125 h 100125"/>
                  <a:gd name="connsiteX1" fmla="*/ 64559 w 99738"/>
                  <a:gd name="connsiteY1" fmla="*/ 93940 h 100125"/>
                  <a:gd name="connsiteX2" fmla="*/ 5799 w 99738"/>
                  <a:gd name="connsiteY2" fmla="*/ 35179 h 100125"/>
                  <a:gd name="connsiteX3" fmla="*/ 5799 w 99738"/>
                  <a:gd name="connsiteY3" fmla="*/ 5799 h 100125"/>
                  <a:gd name="connsiteX4" fmla="*/ 35180 w 99738"/>
                  <a:gd name="connsiteY4" fmla="*/ 5799 h 100125"/>
                  <a:gd name="connsiteX5" fmla="*/ 93940 w 99738"/>
                  <a:gd name="connsiteY5" fmla="*/ 64559 h 100125"/>
                  <a:gd name="connsiteX6" fmla="*/ 93940 w 99738"/>
                  <a:gd name="connsiteY6" fmla="*/ 93940 h 100125"/>
                  <a:gd name="connsiteX7" fmla="*/ 79250 w 99738"/>
                  <a:gd name="connsiteY7" fmla="*/ 100125 h 100125"/>
                  <a:gd name="connsiteX8" fmla="*/ 79250 w 99738"/>
                  <a:gd name="connsiteY8" fmla="*/ 100125 h 100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9738" h="100125">
                    <a:moveTo>
                      <a:pt x="79250" y="100125"/>
                    </a:moveTo>
                    <a:cubicBezTo>
                      <a:pt x="73838" y="100125"/>
                      <a:pt x="68425" y="97806"/>
                      <a:pt x="64559" y="93940"/>
                    </a:cubicBezTo>
                    <a:lnTo>
                      <a:pt x="5799" y="35179"/>
                    </a:lnTo>
                    <a:cubicBezTo>
                      <a:pt x="-1933" y="27447"/>
                      <a:pt x="-1933" y="14303"/>
                      <a:pt x="5799" y="5799"/>
                    </a:cubicBezTo>
                    <a:cubicBezTo>
                      <a:pt x="13530" y="-1933"/>
                      <a:pt x="26674" y="-1933"/>
                      <a:pt x="35180" y="5799"/>
                    </a:cubicBezTo>
                    <a:lnTo>
                      <a:pt x="93940" y="64559"/>
                    </a:lnTo>
                    <a:cubicBezTo>
                      <a:pt x="101672" y="72291"/>
                      <a:pt x="101672" y="85435"/>
                      <a:pt x="93940" y="93940"/>
                    </a:cubicBezTo>
                    <a:cubicBezTo>
                      <a:pt x="90074" y="98579"/>
                      <a:pt x="84662" y="100125"/>
                      <a:pt x="79250" y="100125"/>
                    </a:cubicBezTo>
                    <a:lnTo>
                      <a:pt x="79250" y="100125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22" name="Forma Livre: Forma 321">
                <a:extLst>
                  <a:ext uri="{FF2B5EF4-FFF2-40B4-BE49-F238E27FC236}">
                    <a16:creationId xmlns:a16="http://schemas.microsoft.com/office/drawing/2014/main" id="{EE1E1A9E-2AB6-462C-980B-0C77CE211AB9}"/>
                  </a:ext>
                </a:extLst>
              </p:cNvPr>
              <p:cNvSpPr/>
              <p:nvPr/>
            </p:nvSpPr>
            <p:spPr>
              <a:xfrm>
                <a:off x="10404478" y="4026272"/>
                <a:ext cx="99738" cy="100125"/>
              </a:xfrm>
              <a:custGeom>
                <a:avLst/>
                <a:gdLst>
                  <a:gd name="connsiteX0" fmla="*/ 79250 w 99738"/>
                  <a:gd name="connsiteY0" fmla="*/ 100125 h 100125"/>
                  <a:gd name="connsiteX1" fmla="*/ 64559 w 99738"/>
                  <a:gd name="connsiteY1" fmla="*/ 93940 h 100125"/>
                  <a:gd name="connsiteX2" fmla="*/ 5799 w 99738"/>
                  <a:gd name="connsiteY2" fmla="*/ 35179 h 100125"/>
                  <a:gd name="connsiteX3" fmla="*/ 5799 w 99738"/>
                  <a:gd name="connsiteY3" fmla="*/ 5799 h 100125"/>
                  <a:gd name="connsiteX4" fmla="*/ 35180 w 99738"/>
                  <a:gd name="connsiteY4" fmla="*/ 5799 h 100125"/>
                  <a:gd name="connsiteX5" fmla="*/ 93940 w 99738"/>
                  <a:gd name="connsiteY5" fmla="*/ 64559 h 100125"/>
                  <a:gd name="connsiteX6" fmla="*/ 93940 w 99738"/>
                  <a:gd name="connsiteY6" fmla="*/ 93940 h 100125"/>
                  <a:gd name="connsiteX7" fmla="*/ 79250 w 99738"/>
                  <a:gd name="connsiteY7" fmla="*/ 100125 h 100125"/>
                  <a:gd name="connsiteX8" fmla="*/ 79250 w 99738"/>
                  <a:gd name="connsiteY8" fmla="*/ 100125 h 100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9738" h="100125">
                    <a:moveTo>
                      <a:pt x="79250" y="100125"/>
                    </a:moveTo>
                    <a:cubicBezTo>
                      <a:pt x="73838" y="100125"/>
                      <a:pt x="68425" y="97806"/>
                      <a:pt x="64559" y="93940"/>
                    </a:cubicBezTo>
                    <a:lnTo>
                      <a:pt x="5799" y="35179"/>
                    </a:lnTo>
                    <a:cubicBezTo>
                      <a:pt x="-1933" y="27447"/>
                      <a:pt x="-1933" y="14303"/>
                      <a:pt x="5799" y="5799"/>
                    </a:cubicBezTo>
                    <a:cubicBezTo>
                      <a:pt x="13530" y="-1933"/>
                      <a:pt x="26674" y="-1933"/>
                      <a:pt x="35180" y="5799"/>
                    </a:cubicBezTo>
                    <a:lnTo>
                      <a:pt x="93940" y="64559"/>
                    </a:lnTo>
                    <a:cubicBezTo>
                      <a:pt x="101672" y="72291"/>
                      <a:pt x="101672" y="85435"/>
                      <a:pt x="93940" y="93940"/>
                    </a:cubicBezTo>
                    <a:cubicBezTo>
                      <a:pt x="89301" y="98579"/>
                      <a:pt x="84662" y="100125"/>
                      <a:pt x="79250" y="100125"/>
                    </a:cubicBezTo>
                    <a:lnTo>
                      <a:pt x="79250" y="100125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23" name="Forma Livre: Forma 322">
                <a:extLst>
                  <a:ext uri="{FF2B5EF4-FFF2-40B4-BE49-F238E27FC236}">
                    <a16:creationId xmlns:a16="http://schemas.microsoft.com/office/drawing/2014/main" id="{4B7C4E68-C88A-4B94-8119-D462657FEE5F}"/>
                  </a:ext>
                </a:extLst>
              </p:cNvPr>
              <p:cNvSpPr/>
              <p:nvPr/>
            </p:nvSpPr>
            <p:spPr>
              <a:xfrm>
                <a:off x="10246587" y="4080407"/>
                <a:ext cx="211329" cy="215313"/>
              </a:xfrm>
              <a:custGeom>
                <a:avLst/>
                <a:gdLst>
                  <a:gd name="connsiteX0" fmla="*/ 25292 w 211329"/>
                  <a:gd name="connsiteY0" fmla="*/ 215314 h 215313"/>
                  <a:gd name="connsiteX1" fmla="*/ 19880 w 211329"/>
                  <a:gd name="connsiteY1" fmla="*/ 214541 h 215313"/>
                  <a:gd name="connsiteX2" fmla="*/ 5189 w 211329"/>
                  <a:gd name="connsiteY2" fmla="*/ 199851 h 215313"/>
                  <a:gd name="connsiteX3" fmla="*/ 63177 w 211329"/>
                  <a:gd name="connsiteY3" fmla="*/ 32073 h 215313"/>
                  <a:gd name="connsiteX4" fmla="*/ 120392 w 211329"/>
                  <a:gd name="connsiteY4" fmla="*/ 1920 h 215313"/>
                  <a:gd name="connsiteX5" fmla="*/ 143587 w 211329"/>
                  <a:gd name="connsiteY5" fmla="*/ 5786 h 215313"/>
                  <a:gd name="connsiteX6" fmla="*/ 205440 w 211329"/>
                  <a:gd name="connsiteY6" fmla="*/ 66866 h 215313"/>
                  <a:gd name="connsiteX7" fmla="*/ 210852 w 211329"/>
                  <a:gd name="connsiteY7" fmla="*/ 85422 h 215313"/>
                  <a:gd name="connsiteX8" fmla="*/ 168328 w 211329"/>
                  <a:gd name="connsiteY8" fmla="*/ 159646 h 215313"/>
                  <a:gd name="connsiteX9" fmla="*/ 104155 w 211329"/>
                  <a:gd name="connsiteY9" fmla="*/ 178975 h 215313"/>
                  <a:gd name="connsiteX10" fmla="*/ 40755 w 211329"/>
                  <a:gd name="connsiteY10" fmla="*/ 208356 h 215313"/>
                  <a:gd name="connsiteX11" fmla="*/ 25292 w 211329"/>
                  <a:gd name="connsiteY11" fmla="*/ 215314 h 215313"/>
                  <a:gd name="connsiteX12" fmla="*/ 25292 w 211329"/>
                  <a:gd name="connsiteY12" fmla="*/ 215314 h 215313"/>
                  <a:gd name="connsiteX13" fmla="*/ 125031 w 211329"/>
                  <a:gd name="connsiteY13" fmla="*/ 45217 h 215313"/>
                  <a:gd name="connsiteX14" fmla="*/ 84052 w 211329"/>
                  <a:gd name="connsiteY14" fmla="*/ 66866 h 215313"/>
                  <a:gd name="connsiteX15" fmla="*/ 40755 w 211329"/>
                  <a:gd name="connsiteY15" fmla="*/ 155007 h 215313"/>
                  <a:gd name="connsiteX16" fmla="*/ 97970 w 211329"/>
                  <a:gd name="connsiteY16" fmla="*/ 138771 h 215313"/>
                  <a:gd name="connsiteX17" fmla="*/ 147453 w 211329"/>
                  <a:gd name="connsiteY17" fmla="*/ 124854 h 215313"/>
                  <a:gd name="connsiteX18" fmla="*/ 168328 w 211329"/>
                  <a:gd name="connsiteY18" fmla="*/ 88515 h 215313"/>
                  <a:gd name="connsiteX19" fmla="*/ 125031 w 211329"/>
                  <a:gd name="connsiteY19" fmla="*/ 45217 h 215313"/>
                  <a:gd name="connsiteX20" fmla="*/ 125031 w 211329"/>
                  <a:gd name="connsiteY20" fmla="*/ 45217 h 215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11329" h="215313">
                    <a:moveTo>
                      <a:pt x="25292" y="215314"/>
                    </a:moveTo>
                    <a:cubicBezTo>
                      <a:pt x="23746" y="215314"/>
                      <a:pt x="22199" y="215314"/>
                      <a:pt x="19880" y="214541"/>
                    </a:cubicBezTo>
                    <a:cubicBezTo>
                      <a:pt x="12921" y="212994"/>
                      <a:pt x="6735" y="206809"/>
                      <a:pt x="5189" y="199851"/>
                    </a:cubicBezTo>
                    <a:cubicBezTo>
                      <a:pt x="-8728" y="143409"/>
                      <a:pt x="3644" y="66866"/>
                      <a:pt x="63177" y="32073"/>
                    </a:cubicBezTo>
                    <a:cubicBezTo>
                      <a:pt x="81733" y="21249"/>
                      <a:pt x="101063" y="11198"/>
                      <a:pt x="120392" y="1920"/>
                    </a:cubicBezTo>
                    <a:cubicBezTo>
                      <a:pt x="128123" y="-1946"/>
                      <a:pt x="137401" y="373"/>
                      <a:pt x="143587" y="5786"/>
                    </a:cubicBezTo>
                    <a:lnTo>
                      <a:pt x="205440" y="66866"/>
                    </a:lnTo>
                    <a:cubicBezTo>
                      <a:pt x="210079" y="71505"/>
                      <a:pt x="212399" y="78464"/>
                      <a:pt x="210852" y="85422"/>
                    </a:cubicBezTo>
                    <a:cubicBezTo>
                      <a:pt x="206213" y="109390"/>
                      <a:pt x="196162" y="143409"/>
                      <a:pt x="168328" y="159646"/>
                    </a:cubicBezTo>
                    <a:cubicBezTo>
                      <a:pt x="144360" y="173563"/>
                      <a:pt x="122711" y="176655"/>
                      <a:pt x="104155" y="178975"/>
                    </a:cubicBezTo>
                    <a:cubicBezTo>
                      <a:pt x="80186" y="182068"/>
                      <a:pt x="62404" y="184387"/>
                      <a:pt x="40755" y="208356"/>
                    </a:cubicBezTo>
                    <a:cubicBezTo>
                      <a:pt x="36889" y="212994"/>
                      <a:pt x="31477" y="215314"/>
                      <a:pt x="25292" y="215314"/>
                    </a:cubicBezTo>
                    <a:lnTo>
                      <a:pt x="25292" y="215314"/>
                    </a:lnTo>
                    <a:close/>
                    <a:moveTo>
                      <a:pt x="125031" y="45217"/>
                    </a:moveTo>
                    <a:cubicBezTo>
                      <a:pt x="111113" y="52176"/>
                      <a:pt x="97197" y="59134"/>
                      <a:pt x="84052" y="66866"/>
                    </a:cubicBezTo>
                    <a:cubicBezTo>
                      <a:pt x="53899" y="84649"/>
                      <a:pt x="41528" y="120214"/>
                      <a:pt x="40755" y="155007"/>
                    </a:cubicBezTo>
                    <a:cubicBezTo>
                      <a:pt x="60857" y="143409"/>
                      <a:pt x="80186" y="141090"/>
                      <a:pt x="97970" y="138771"/>
                    </a:cubicBezTo>
                    <a:cubicBezTo>
                      <a:pt x="114979" y="136451"/>
                      <a:pt x="130442" y="134131"/>
                      <a:pt x="147453" y="124854"/>
                    </a:cubicBezTo>
                    <a:cubicBezTo>
                      <a:pt x="155957" y="119441"/>
                      <a:pt x="162916" y="107844"/>
                      <a:pt x="168328" y="88515"/>
                    </a:cubicBezTo>
                    <a:lnTo>
                      <a:pt x="125031" y="45217"/>
                    </a:lnTo>
                    <a:lnTo>
                      <a:pt x="125031" y="45217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324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3399968" y="5640097"/>
              <a:ext cx="394511" cy="369395"/>
              <a:chOff x="2693287" y="6360079"/>
              <a:chExt cx="497920" cy="466220"/>
            </a:xfrm>
            <a:solidFill>
              <a:srgbClr val="B1B1A1"/>
            </a:solidFill>
          </p:grpSpPr>
          <p:sp>
            <p:nvSpPr>
              <p:cNvPr id="325" name="Forma Livre: Forma 324">
                <a:extLst>
                  <a:ext uri="{FF2B5EF4-FFF2-40B4-BE49-F238E27FC236}">
                    <a16:creationId xmlns:a16="http://schemas.microsoft.com/office/drawing/2014/main" id="{31A5305E-23B7-4A7C-9838-E37833402726}"/>
                  </a:ext>
                </a:extLst>
              </p:cNvPr>
              <p:cNvSpPr/>
              <p:nvPr/>
            </p:nvSpPr>
            <p:spPr>
              <a:xfrm>
                <a:off x="2765191" y="6422706"/>
                <a:ext cx="423695" cy="20102"/>
              </a:xfrm>
              <a:custGeom>
                <a:avLst/>
                <a:gdLst>
                  <a:gd name="connsiteX0" fmla="*/ 412872 w 423695"/>
                  <a:gd name="connsiteY0" fmla="*/ 20102 h 20102"/>
                  <a:gd name="connsiteX1" fmla="*/ 10051 w 423695"/>
                  <a:gd name="connsiteY1" fmla="*/ 20102 h 20102"/>
                  <a:gd name="connsiteX2" fmla="*/ 0 w 423695"/>
                  <a:gd name="connsiteY2" fmla="*/ 10051 h 20102"/>
                  <a:gd name="connsiteX3" fmla="*/ 10051 w 423695"/>
                  <a:gd name="connsiteY3" fmla="*/ 0 h 20102"/>
                  <a:gd name="connsiteX4" fmla="*/ 413645 w 423695"/>
                  <a:gd name="connsiteY4" fmla="*/ 0 h 20102"/>
                  <a:gd name="connsiteX5" fmla="*/ 423696 w 423695"/>
                  <a:gd name="connsiteY5" fmla="*/ 10051 h 20102"/>
                  <a:gd name="connsiteX6" fmla="*/ 412872 w 423695"/>
                  <a:gd name="connsiteY6" fmla="*/ 20102 h 20102"/>
                  <a:gd name="connsiteX7" fmla="*/ 412872 w 423695"/>
                  <a:gd name="connsiteY7" fmla="*/ 20102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23695" h="20102">
                    <a:moveTo>
                      <a:pt x="412872" y="20102"/>
                    </a:moveTo>
                    <a:lnTo>
                      <a:pt x="10051" y="20102"/>
                    </a:lnTo>
                    <a:cubicBezTo>
                      <a:pt x="4639" y="20102"/>
                      <a:pt x="0" y="15463"/>
                      <a:pt x="0" y="10051"/>
                    </a:cubicBezTo>
                    <a:cubicBezTo>
                      <a:pt x="0" y="4639"/>
                      <a:pt x="4639" y="0"/>
                      <a:pt x="10051" y="0"/>
                    </a:cubicBezTo>
                    <a:lnTo>
                      <a:pt x="413645" y="0"/>
                    </a:lnTo>
                    <a:cubicBezTo>
                      <a:pt x="419057" y="0"/>
                      <a:pt x="423696" y="4639"/>
                      <a:pt x="423696" y="10051"/>
                    </a:cubicBezTo>
                    <a:cubicBezTo>
                      <a:pt x="423696" y="15463"/>
                      <a:pt x="419057" y="20102"/>
                      <a:pt x="412872" y="20102"/>
                    </a:cubicBezTo>
                    <a:lnTo>
                      <a:pt x="412872" y="20102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26" name="Forma Livre: Forma 325">
                <a:extLst>
                  <a:ext uri="{FF2B5EF4-FFF2-40B4-BE49-F238E27FC236}">
                    <a16:creationId xmlns:a16="http://schemas.microsoft.com/office/drawing/2014/main" id="{22F970C5-1CA8-4969-9E2C-EE655A34083B}"/>
                  </a:ext>
                </a:extLst>
              </p:cNvPr>
              <p:cNvSpPr/>
              <p:nvPr/>
            </p:nvSpPr>
            <p:spPr>
              <a:xfrm>
                <a:off x="2694060" y="6466777"/>
                <a:ext cx="497146" cy="359523"/>
              </a:xfrm>
              <a:custGeom>
                <a:avLst/>
                <a:gdLst>
                  <a:gd name="connsiteX0" fmla="*/ 446118 w 497146"/>
                  <a:gd name="connsiteY0" fmla="*/ 359523 h 359523"/>
                  <a:gd name="connsiteX1" fmla="*/ 50256 w 497146"/>
                  <a:gd name="connsiteY1" fmla="*/ 359523 h 359523"/>
                  <a:gd name="connsiteX2" fmla="*/ 0 w 497146"/>
                  <a:gd name="connsiteY2" fmla="*/ 309267 h 359523"/>
                  <a:gd name="connsiteX3" fmla="*/ 0 w 497146"/>
                  <a:gd name="connsiteY3" fmla="*/ 50256 h 359523"/>
                  <a:gd name="connsiteX4" fmla="*/ 50256 w 497146"/>
                  <a:gd name="connsiteY4" fmla="*/ 0 h 359523"/>
                  <a:gd name="connsiteX5" fmla="*/ 446891 w 497146"/>
                  <a:gd name="connsiteY5" fmla="*/ 0 h 359523"/>
                  <a:gd name="connsiteX6" fmla="*/ 497147 w 497146"/>
                  <a:gd name="connsiteY6" fmla="*/ 50256 h 359523"/>
                  <a:gd name="connsiteX7" fmla="*/ 497147 w 497146"/>
                  <a:gd name="connsiteY7" fmla="*/ 309267 h 359523"/>
                  <a:gd name="connsiteX8" fmla="*/ 446118 w 497146"/>
                  <a:gd name="connsiteY8" fmla="*/ 359523 h 359523"/>
                  <a:gd name="connsiteX9" fmla="*/ 446118 w 497146"/>
                  <a:gd name="connsiteY9" fmla="*/ 359523 h 359523"/>
                  <a:gd name="connsiteX10" fmla="*/ 50256 w 497146"/>
                  <a:gd name="connsiteY10" fmla="*/ 40978 h 359523"/>
                  <a:gd name="connsiteX11" fmla="*/ 40978 w 497146"/>
                  <a:gd name="connsiteY11" fmla="*/ 50256 h 359523"/>
                  <a:gd name="connsiteX12" fmla="*/ 40978 w 497146"/>
                  <a:gd name="connsiteY12" fmla="*/ 309267 h 359523"/>
                  <a:gd name="connsiteX13" fmla="*/ 50256 w 497146"/>
                  <a:gd name="connsiteY13" fmla="*/ 318545 h 359523"/>
                  <a:gd name="connsiteX14" fmla="*/ 446891 w 497146"/>
                  <a:gd name="connsiteY14" fmla="*/ 318545 h 359523"/>
                  <a:gd name="connsiteX15" fmla="*/ 456169 w 497146"/>
                  <a:gd name="connsiteY15" fmla="*/ 309267 h 359523"/>
                  <a:gd name="connsiteX16" fmla="*/ 456169 w 497146"/>
                  <a:gd name="connsiteY16" fmla="*/ 50256 h 359523"/>
                  <a:gd name="connsiteX17" fmla="*/ 446891 w 497146"/>
                  <a:gd name="connsiteY17" fmla="*/ 40978 h 359523"/>
                  <a:gd name="connsiteX18" fmla="*/ 50256 w 497146"/>
                  <a:gd name="connsiteY18" fmla="*/ 40978 h 359523"/>
                  <a:gd name="connsiteX19" fmla="*/ 50256 w 497146"/>
                  <a:gd name="connsiteY19" fmla="*/ 40978 h 3595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497146" h="359523">
                    <a:moveTo>
                      <a:pt x="446118" y="359523"/>
                    </a:moveTo>
                    <a:lnTo>
                      <a:pt x="50256" y="359523"/>
                    </a:lnTo>
                    <a:cubicBezTo>
                      <a:pt x="22422" y="359523"/>
                      <a:pt x="0" y="337101"/>
                      <a:pt x="0" y="309267"/>
                    </a:cubicBezTo>
                    <a:lnTo>
                      <a:pt x="0" y="50256"/>
                    </a:lnTo>
                    <a:cubicBezTo>
                      <a:pt x="0" y="22422"/>
                      <a:pt x="22422" y="0"/>
                      <a:pt x="50256" y="0"/>
                    </a:cubicBezTo>
                    <a:lnTo>
                      <a:pt x="446891" y="0"/>
                    </a:lnTo>
                    <a:cubicBezTo>
                      <a:pt x="474725" y="0"/>
                      <a:pt x="497147" y="22422"/>
                      <a:pt x="497147" y="50256"/>
                    </a:cubicBezTo>
                    <a:lnTo>
                      <a:pt x="497147" y="309267"/>
                    </a:lnTo>
                    <a:cubicBezTo>
                      <a:pt x="496374" y="337101"/>
                      <a:pt x="473952" y="359523"/>
                      <a:pt x="446118" y="359523"/>
                    </a:cubicBezTo>
                    <a:lnTo>
                      <a:pt x="446118" y="359523"/>
                    </a:lnTo>
                    <a:close/>
                    <a:moveTo>
                      <a:pt x="50256" y="40978"/>
                    </a:moveTo>
                    <a:cubicBezTo>
                      <a:pt x="44844" y="40978"/>
                      <a:pt x="40978" y="44844"/>
                      <a:pt x="40978" y="50256"/>
                    </a:cubicBezTo>
                    <a:lnTo>
                      <a:pt x="40978" y="309267"/>
                    </a:lnTo>
                    <a:cubicBezTo>
                      <a:pt x="40978" y="314679"/>
                      <a:pt x="44844" y="318545"/>
                      <a:pt x="50256" y="318545"/>
                    </a:cubicBezTo>
                    <a:lnTo>
                      <a:pt x="446891" y="318545"/>
                    </a:lnTo>
                    <a:cubicBezTo>
                      <a:pt x="452303" y="318545"/>
                      <a:pt x="456169" y="314679"/>
                      <a:pt x="456169" y="309267"/>
                    </a:cubicBezTo>
                    <a:lnTo>
                      <a:pt x="456169" y="50256"/>
                    </a:lnTo>
                    <a:cubicBezTo>
                      <a:pt x="456169" y="45617"/>
                      <a:pt x="452303" y="40978"/>
                      <a:pt x="446891" y="40978"/>
                    </a:cubicBezTo>
                    <a:lnTo>
                      <a:pt x="50256" y="40978"/>
                    </a:lnTo>
                    <a:lnTo>
                      <a:pt x="50256" y="40978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27" name="Forma Livre: Forma 326">
                <a:extLst>
                  <a:ext uri="{FF2B5EF4-FFF2-40B4-BE49-F238E27FC236}">
                    <a16:creationId xmlns:a16="http://schemas.microsoft.com/office/drawing/2014/main" id="{65FDE888-BBF4-405D-AB32-4284300F679A}"/>
                  </a:ext>
                </a:extLst>
              </p:cNvPr>
              <p:cNvSpPr/>
              <p:nvPr/>
            </p:nvSpPr>
            <p:spPr>
              <a:xfrm>
                <a:off x="2693287" y="6360079"/>
                <a:ext cx="497147" cy="184014"/>
              </a:xfrm>
              <a:custGeom>
                <a:avLst/>
                <a:gdLst>
                  <a:gd name="connsiteX0" fmla="*/ 476272 w 497147"/>
                  <a:gd name="connsiteY0" fmla="*/ 184014 h 184014"/>
                  <a:gd name="connsiteX1" fmla="*/ 455396 w 497147"/>
                  <a:gd name="connsiteY1" fmla="*/ 163139 h 184014"/>
                  <a:gd name="connsiteX2" fmla="*/ 455396 w 497147"/>
                  <a:gd name="connsiteY2" fmla="*/ 50256 h 184014"/>
                  <a:gd name="connsiteX3" fmla="*/ 446118 w 497147"/>
                  <a:gd name="connsiteY3" fmla="*/ 40978 h 184014"/>
                  <a:gd name="connsiteX4" fmla="*/ 51029 w 497147"/>
                  <a:gd name="connsiteY4" fmla="*/ 40978 h 184014"/>
                  <a:gd name="connsiteX5" fmla="*/ 41751 w 497147"/>
                  <a:gd name="connsiteY5" fmla="*/ 50256 h 184014"/>
                  <a:gd name="connsiteX6" fmla="*/ 41751 w 497147"/>
                  <a:gd name="connsiteY6" fmla="*/ 163139 h 184014"/>
                  <a:gd name="connsiteX7" fmla="*/ 20876 w 497147"/>
                  <a:gd name="connsiteY7" fmla="*/ 184014 h 184014"/>
                  <a:gd name="connsiteX8" fmla="*/ 0 w 497147"/>
                  <a:gd name="connsiteY8" fmla="*/ 163139 h 184014"/>
                  <a:gd name="connsiteX9" fmla="*/ 0 w 497147"/>
                  <a:gd name="connsiteY9" fmla="*/ 50256 h 184014"/>
                  <a:gd name="connsiteX10" fmla="*/ 50256 w 497147"/>
                  <a:gd name="connsiteY10" fmla="*/ 0 h 184014"/>
                  <a:gd name="connsiteX11" fmla="*/ 446891 w 497147"/>
                  <a:gd name="connsiteY11" fmla="*/ 0 h 184014"/>
                  <a:gd name="connsiteX12" fmla="*/ 497147 w 497147"/>
                  <a:gd name="connsiteY12" fmla="*/ 50256 h 184014"/>
                  <a:gd name="connsiteX13" fmla="*/ 497147 w 497147"/>
                  <a:gd name="connsiteY13" fmla="*/ 163139 h 184014"/>
                  <a:gd name="connsiteX14" fmla="*/ 476272 w 497147"/>
                  <a:gd name="connsiteY14" fmla="*/ 184014 h 184014"/>
                  <a:gd name="connsiteX15" fmla="*/ 476272 w 497147"/>
                  <a:gd name="connsiteY15" fmla="*/ 184014 h 1840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97147" h="184014">
                    <a:moveTo>
                      <a:pt x="476272" y="184014"/>
                    </a:moveTo>
                    <a:cubicBezTo>
                      <a:pt x="464674" y="184014"/>
                      <a:pt x="455396" y="174736"/>
                      <a:pt x="455396" y="163139"/>
                    </a:cubicBezTo>
                    <a:lnTo>
                      <a:pt x="455396" y="50256"/>
                    </a:lnTo>
                    <a:cubicBezTo>
                      <a:pt x="455396" y="45617"/>
                      <a:pt x="451530" y="40978"/>
                      <a:pt x="446118" y="40978"/>
                    </a:cubicBezTo>
                    <a:lnTo>
                      <a:pt x="51029" y="40978"/>
                    </a:lnTo>
                    <a:cubicBezTo>
                      <a:pt x="45617" y="40978"/>
                      <a:pt x="41751" y="44844"/>
                      <a:pt x="41751" y="50256"/>
                    </a:cubicBezTo>
                    <a:lnTo>
                      <a:pt x="41751" y="163139"/>
                    </a:lnTo>
                    <a:cubicBezTo>
                      <a:pt x="41751" y="174736"/>
                      <a:pt x="32473" y="184014"/>
                      <a:pt x="20876" y="184014"/>
                    </a:cubicBezTo>
                    <a:cubicBezTo>
                      <a:pt x="9278" y="184014"/>
                      <a:pt x="0" y="174736"/>
                      <a:pt x="0" y="163139"/>
                    </a:cubicBezTo>
                    <a:lnTo>
                      <a:pt x="0" y="50256"/>
                    </a:lnTo>
                    <a:cubicBezTo>
                      <a:pt x="0" y="22422"/>
                      <a:pt x="22422" y="0"/>
                      <a:pt x="50256" y="0"/>
                    </a:cubicBezTo>
                    <a:lnTo>
                      <a:pt x="446891" y="0"/>
                    </a:lnTo>
                    <a:cubicBezTo>
                      <a:pt x="474725" y="0"/>
                      <a:pt x="497147" y="22422"/>
                      <a:pt x="497147" y="50256"/>
                    </a:cubicBezTo>
                    <a:lnTo>
                      <a:pt x="497147" y="163139"/>
                    </a:lnTo>
                    <a:cubicBezTo>
                      <a:pt x="497147" y="174736"/>
                      <a:pt x="487869" y="184014"/>
                      <a:pt x="476272" y="184014"/>
                    </a:cubicBezTo>
                    <a:lnTo>
                      <a:pt x="476272" y="184014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28" name="Forma Livre: Forma 327">
                <a:extLst>
                  <a:ext uri="{FF2B5EF4-FFF2-40B4-BE49-F238E27FC236}">
                    <a16:creationId xmlns:a16="http://schemas.microsoft.com/office/drawing/2014/main" id="{4C8683E0-1543-49B6-978D-1070A0833706}"/>
                  </a:ext>
                </a:extLst>
              </p:cNvPr>
              <p:cNvSpPr/>
              <p:nvPr/>
            </p:nvSpPr>
            <p:spPr>
              <a:xfrm>
                <a:off x="3012605" y="6577340"/>
                <a:ext cx="171643" cy="139943"/>
              </a:xfrm>
              <a:custGeom>
                <a:avLst/>
                <a:gdLst>
                  <a:gd name="connsiteX0" fmla="*/ 149995 w 171643"/>
                  <a:gd name="connsiteY0" fmla="*/ 139943 h 139943"/>
                  <a:gd name="connsiteX1" fmla="*/ 48709 w 171643"/>
                  <a:gd name="connsiteY1" fmla="*/ 139943 h 139943"/>
                  <a:gd name="connsiteX2" fmla="*/ 0 w 171643"/>
                  <a:gd name="connsiteY2" fmla="*/ 91234 h 139943"/>
                  <a:gd name="connsiteX3" fmla="*/ 0 w 171643"/>
                  <a:gd name="connsiteY3" fmla="*/ 48709 h 139943"/>
                  <a:gd name="connsiteX4" fmla="*/ 48709 w 171643"/>
                  <a:gd name="connsiteY4" fmla="*/ 0 h 139943"/>
                  <a:gd name="connsiteX5" fmla="*/ 150768 w 171643"/>
                  <a:gd name="connsiteY5" fmla="*/ 0 h 139943"/>
                  <a:gd name="connsiteX6" fmla="*/ 171643 w 171643"/>
                  <a:gd name="connsiteY6" fmla="*/ 20876 h 139943"/>
                  <a:gd name="connsiteX7" fmla="*/ 150768 w 171643"/>
                  <a:gd name="connsiteY7" fmla="*/ 41751 h 139943"/>
                  <a:gd name="connsiteX8" fmla="*/ 48709 w 171643"/>
                  <a:gd name="connsiteY8" fmla="*/ 41751 h 139943"/>
                  <a:gd name="connsiteX9" fmla="*/ 40978 w 171643"/>
                  <a:gd name="connsiteY9" fmla="*/ 49482 h 139943"/>
                  <a:gd name="connsiteX10" fmla="*/ 40978 w 171643"/>
                  <a:gd name="connsiteY10" fmla="*/ 92007 h 139943"/>
                  <a:gd name="connsiteX11" fmla="*/ 48709 w 171643"/>
                  <a:gd name="connsiteY11" fmla="*/ 99738 h 139943"/>
                  <a:gd name="connsiteX12" fmla="*/ 150768 w 171643"/>
                  <a:gd name="connsiteY12" fmla="*/ 99738 h 139943"/>
                  <a:gd name="connsiteX13" fmla="*/ 171643 w 171643"/>
                  <a:gd name="connsiteY13" fmla="*/ 120614 h 139943"/>
                  <a:gd name="connsiteX14" fmla="*/ 149995 w 171643"/>
                  <a:gd name="connsiteY14" fmla="*/ 139943 h 139943"/>
                  <a:gd name="connsiteX15" fmla="*/ 149995 w 171643"/>
                  <a:gd name="connsiteY15" fmla="*/ 139943 h 139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1643" h="139943">
                    <a:moveTo>
                      <a:pt x="149995" y="139943"/>
                    </a:moveTo>
                    <a:lnTo>
                      <a:pt x="48709" y="139943"/>
                    </a:lnTo>
                    <a:cubicBezTo>
                      <a:pt x="21649" y="139943"/>
                      <a:pt x="0" y="118295"/>
                      <a:pt x="0" y="91234"/>
                    </a:cubicBezTo>
                    <a:lnTo>
                      <a:pt x="0" y="48709"/>
                    </a:lnTo>
                    <a:cubicBezTo>
                      <a:pt x="0" y="21649"/>
                      <a:pt x="21649" y="0"/>
                      <a:pt x="48709" y="0"/>
                    </a:cubicBezTo>
                    <a:lnTo>
                      <a:pt x="150768" y="0"/>
                    </a:lnTo>
                    <a:cubicBezTo>
                      <a:pt x="162365" y="0"/>
                      <a:pt x="171643" y="9278"/>
                      <a:pt x="171643" y="20876"/>
                    </a:cubicBezTo>
                    <a:cubicBezTo>
                      <a:pt x="171643" y="32473"/>
                      <a:pt x="162365" y="41751"/>
                      <a:pt x="150768" y="41751"/>
                    </a:cubicBezTo>
                    <a:lnTo>
                      <a:pt x="48709" y="41751"/>
                    </a:lnTo>
                    <a:cubicBezTo>
                      <a:pt x="44844" y="41751"/>
                      <a:pt x="40978" y="44844"/>
                      <a:pt x="40978" y="49482"/>
                    </a:cubicBezTo>
                    <a:lnTo>
                      <a:pt x="40978" y="92007"/>
                    </a:lnTo>
                    <a:cubicBezTo>
                      <a:pt x="40978" y="95873"/>
                      <a:pt x="44070" y="99738"/>
                      <a:pt x="48709" y="99738"/>
                    </a:cubicBezTo>
                    <a:lnTo>
                      <a:pt x="150768" y="99738"/>
                    </a:lnTo>
                    <a:cubicBezTo>
                      <a:pt x="162365" y="99738"/>
                      <a:pt x="171643" y="109017"/>
                      <a:pt x="171643" y="120614"/>
                    </a:cubicBezTo>
                    <a:cubicBezTo>
                      <a:pt x="170870" y="130665"/>
                      <a:pt x="161592" y="139943"/>
                      <a:pt x="149995" y="139943"/>
                    </a:cubicBezTo>
                    <a:lnTo>
                      <a:pt x="149995" y="139943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329" name="Forma Livre: Forma 328">
              <a:extLst>
                <a:ext uri="{FF2B5EF4-FFF2-40B4-BE49-F238E27FC236}">
                  <a16:creationId xmlns:a16="http://schemas.microsoft.com/office/drawing/2014/main" id="{3F8DF85F-6FD7-4D3E-9470-B4D6CC951A62}"/>
                </a:ext>
              </a:extLst>
            </p:cNvPr>
            <p:cNvSpPr/>
            <p:nvPr/>
          </p:nvSpPr>
          <p:spPr>
            <a:xfrm>
              <a:off x="2556424" y="5776094"/>
              <a:ext cx="98015" cy="98015"/>
            </a:xfrm>
            <a:custGeom>
              <a:avLst/>
              <a:gdLst>
                <a:gd name="connsiteX0" fmla="*/ 61853 w 123706"/>
                <a:gd name="connsiteY0" fmla="*/ 123707 h 123706"/>
                <a:gd name="connsiteX1" fmla="*/ 0 w 123706"/>
                <a:gd name="connsiteY1" fmla="*/ 61853 h 123706"/>
                <a:gd name="connsiteX2" fmla="*/ 61853 w 123706"/>
                <a:gd name="connsiteY2" fmla="*/ 0 h 123706"/>
                <a:gd name="connsiteX3" fmla="*/ 123707 w 123706"/>
                <a:gd name="connsiteY3" fmla="*/ 61853 h 123706"/>
                <a:gd name="connsiteX4" fmla="*/ 61853 w 123706"/>
                <a:gd name="connsiteY4" fmla="*/ 123707 h 123706"/>
                <a:gd name="connsiteX5" fmla="*/ 61853 w 123706"/>
                <a:gd name="connsiteY5" fmla="*/ 123707 h 123706"/>
                <a:gd name="connsiteX6" fmla="*/ 61853 w 123706"/>
                <a:gd name="connsiteY6" fmla="*/ 20876 h 123706"/>
                <a:gd name="connsiteX7" fmla="*/ 20876 w 123706"/>
                <a:gd name="connsiteY7" fmla="*/ 61853 h 123706"/>
                <a:gd name="connsiteX8" fmla="*/ 61853 w 123706"/>
                <a:gd name="connsiteY8" fmla="*/ 102831 h 123706"/>
                <a:gd name="connsiteX9" fmla="*/ 102831 w 123706"/>
                <a:gd name="connsiteY9" fmla="*/ 61853 h 123706"/>
                <a:gd name="connsiteX10" fmla="*/ 61853 w 123706"/>
                <a:gd name="connsiteY10" fmla="*/ 20876 h 123706"/>
                <a:gd name="connsiteX11" fmla="*/ 61853 w 123706"/>
                <a:gd name="connsiteY11" fmla="*/ 20876 h 123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3706" h="123706">
                  <a:moveTo>
                    <a:pt x="61853" y="123707"/>
                  </a:moveTo>
                  <a:cubicBezTo>
                    <a:pt x="27834" y="123707"/>
                    <a:pt x="0" y="95873"/>
                    <a:pt x="0" y="61853"/>
                  </a:cubicBezTo>
                  <a:cubicBezTo>
                    <a:pt x="0" y="27834"/>
                    <a:pt x="27834" y="0"/>
                    <a:pt x="61853" y="0"/>
                  </a:cubicBezTo>
                  <a:cubicBezTo>
                    <a:pt x="95873" y="0"/>
                    <a:pt x="123707" y="27834"/>
                    <a:pt x="123707" y="61853"/>
                  </a:cubicBezTo>
                  <a:cubicBezTo>
                    <a:pt x="123707" y="95873"/>
                    <a:pt x="95873" y="123707"/>
                    <a:pt x="61853" y="123707"/>
                  </a:cubicBezTo>
                  <a:lnTo>
                    <a:pt x="61853" y="123707"/>
                  </a:lnTo>
                  <a:close/>
                  <a:moveTo>
                    <a:pt x="61853" y="20876"/>
                  </a:moveTo>
                  <a:cubicBezTo>
                    <a:pt x="39432" y="20876"/>
                    <a:pt x="20876" y="39432"/>
                    <a:pt x="20876" y="61853"/>
                  </a:cubicBezTo>
                  <a:cubicBezTo>
                    <a:pt x="20876" y="84276"/>
                    <a:pt x="39432" y="102831"/>
                    <a:pt x="61853" y="102831"/>
                  </a:cubicBezTo>
                  <a:cubicBezTo>
                    <a:pt x="84275" y="102831"/>
                    <a:pt x="102831" y="84276"/>
                    <a:pt x="102831" y="61853"/>
                  </a:cubicBezTo>
                  <a:cubicBezTo>
                    <a:pt x="102831" y="39432"/>
                    <a:pt x="84275" y="20876"/>
                    <a:pt x="61853" y="20876"/>
                  </a:cubicBezTo>
                  <a:lnTo>
                    <a:pt x="61853" y="20876"/>
                  </a:lnTo>
                  <a:close/>
                </a:path>
              </a:pathLst>
            </a:custGeom>
            <a:solidFill>
              <a:srgbClr val="B1B1A1"/>
            </a:solidFill>
            <a:ln w="7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330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2555352" y="5774410"/>
              <a:ext cx="100772" cy="100925"/>
              <a:chOff x="1627281" y="6529597"/>
              <a:chExt cx="127186" cy="127379"/>
            </a:xfrm>
            <a:solidFill>
              <a:srgbClr val="B1B1A1"/>
            </a:solidFill>
          </p:grpSpPr>
          <p:sp>
            <p:nvSpPr>
              <p:cNvPr id="331" name="Forma Livre: Forma 330">
                <a:extLst>
                  <a:ext uri="{FF2B5EF4-FFF2-40B4-BE49-F238E27FC236}">
                    <a16:creationId xmlns:a16="http://schemas.microsoft.com/office/drawing/2014/main" id="{F19E0694-4F64-4995-8857-8BB81785D157}"/>
                  </a:ext>
                </a:extLst>
              </p:cNvPr>
              <p:cNvSpPr/>
              <p:nvPr/>
            </p:nvSpPr>
            <p:spPr>
              <a:xfrm>
                <a:off x="1627281" y="6529597"/>
                <a:ext cx="35179" cy="35372"/>
              </a:xfrm>
              <a:custGeom>
                <a:avLst/>
                <a:gdLst>
                  <a:gd name="connsiteX0" fmla="*/ 24548 w 35179"/>
                  <a:gd name="connsiteY0" fmla="*/ 35372 h 35372"/>
                  <a:gd name="connsiteX1" fmla="*/ 17590 w 35179"/>
                  <a:gd name="connsiteY1" fmla="*/ 32280 h 35372"/>
                  <a:gd name="connsiteX2" fmla="*/ 2899 w 35179"/>
                  <a:gd name="connsiteY2" fmla="*/ 17589 h 35372"/>
                  <a:gd name="connsiteX3" fmla="*/ 2899 w 35179"/>
                  <a:gd name="connsiteY3" fmla="*/ 2899 h 35372"/>
                  <a:gd name="connsiteX4" fmla="*/ 17590 w 35179"/>
                  <a:gd name="connsiteY4" fmla="*/ 2899 h 35372"/>
                  <a:gd name="connsiteX5" fmla="*/ 32280 w 35179"/>
                  <a:gd name="connsiteY5" fmla="*/ 17589 h 35372"/>
                  <a:gd name="connsiteX6" fmla="*/ 32280 w 35179"/>
                  <a:gd name="connsiteY6" fmla="*/ 32280 h 35372"/>
                  <a:gd name="connsiteX7" fmla="*/ 24548 w 35179"/>
                  <a:gd name="connsiteY7" fmla="*/ 35372 h 35372"/>
                  <a:gd name="connsiteX8" fmla="*/ 24548 w 35179"/>
                  <a:gd name="connsiteY8" fmla="*/ 35372 h 35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179" h="35372">
                    <a:moveTo>
                      <a:pt x="24548" y="35372"/>
                    </a:moveTo>
                    <a:cubicBezTo>
                      <a:pt x="22229" y="35372"/>
                      <a:pt x="19136" y="34599"/>
                      <a:pt x="17590" y="32280"/>
                    </a:cubicBezTo>
                    <a:lnTo>
                      <a:pt x="2899" y="17589"/>
                    </a:lnTo>
                    <a:cubicBezTo>
                      <a:pt x="-966" y="13723"/>
                      <a:pt x="-966" y="6765"/>
                      <a:pt x="2899" y="2899"/>
                    </a:cubicBezTo>
                    <a:cubicBezTo>
                      <a:pt x="6765" y="-966"/>
                      <a:pt x="13724" y="-966"/>
                      <a:pt x="17590" y="2899"/>
                    </a:cubicBezTo>
                    <a:lnTo>
                      <a:pt x="32280" y="17589"/>
                    </a:lnTo>
                    <a:cubicBezTo>
                      <a:pt x="36146" y="21455"/>
                      <a:pt x="36146" y="28414"/>
                      <a:pt x="32280" y="32280"/>
                    </a:cubicBezTo>
                    <a:cubicBezTo>
                      <a:pt x="29960" y="34599"/>
                      <a:pt x="26868" y="35372"/>
                      <a:pt x="24548" y="35372"/>
                    </a:cubicBezTo>
                    <a:lnTo>
                      <a:pt x="24548" y="35372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32" name="Forma Livre: Forma 331">
                <a:extLst>
                  <a:ext uri="{FF2B5EF4-FFF2-40B4-BE49-F238E27FC236}">
                    <a16:creationId xmlns:a16="http://schemas.microsoft.com/office/drawing/2014/main" id="{10C981BC-5E01-445A-AAC7-2B03E8A9F28A}"/>
                  </a:ext>
                </a:extLst>
              </p:cNvPr>
              <p:cNvSpPr/>
              <p:nvPr/>
            </p:nvSpPr>
            <p:spPr>
              <a:xfrm>
                <a:off x="1716969" y="6619284"/>
                <a:ext cx="37498" cy="37691"/>
              </a:xfrm>
              <a:custGeom>
                <a:avLst/>
                <a:gdLst>
                  <a:gd name="connsiteX0" fmla="*/ 26868 w 37498"/>
                  <a:gd name="connsiteY0" fmla="*/ 37692 h 37691"/>
                  <a:gd name="connsiteX1" fmla="*/ 19909 w 37498"/>
                  <a:gd name="connsiteY1" fmla="*/ 34599 h 37691"/>
                  <a:gd name="connsiteX2" fmla="*/ 2899 w 37498"/>
                  <a:gd name="connsiteY2" fmla="*/ 17590 h 37691"/>
                  <a:gd name="connsiteX3" fmla="*/ 2899 w 37498"/>
                  <a:gd name="connsiteY3" fmla="*/ 2899 h 37691"/>
                  <a:gd name="connsiteX4" fmla="*/ 17590 w 37498"/>
                  <a:gd name="connsiteY4" fmla="*/ 2899 h 37691"/>
                  <a:gd name="connsiteX5" fmla="*/ 34599 w 37498"/>
                  <a:gd name="connsiteY5" fmla="*/ 19909 h 37691"/>
                  <a:gd name="connsiteX6" fmla="*/ 34599 w 37498"/>
                  <a:gd name="connsiteY6" fmla="*/ 34599 h 37691"/>
                  <a:gd name="connsiteX7" fmla="*/ 26868 w 37498"/>
                  <a:gd name="connsiteY7" fmla="*/ 37692 h 37691"/>
                  <a:gd name="connsiteX8" fmla="*/ 26868 w 37498"/>
                  <a:gd name="connsiteY8" fmla="*/ 37692 h 376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7498" h="37691">
                    <a:moveTo>
                      <a:pt x="26868" y="37692"/>
                    </a:moveTo>
                    <a:cubicBezTo>
                      <a:pt x="24548" y="37692"/>
                      <a:pt x="21455" y="36919"/>
                      <a:pt x="19909" y="34599"/>
                    </a:cubicBezTo>
                    <a:lnTo>
                      <a:pt x="2899" y="17590"/>
                    </a:lnTo>
                    <a:cubicBezTo>
                      <a:pt x="-966" y="13724"/>
                      <a:pt x="-966" y="6765"/>
                      <a:pt x="2899" y="2899"/>
                    </a:cubicBezTo>
                    <a:cubicBezTo>
                      <a:pt x="6765" y="-966"/>
                      <a:pt x="13724" y="-966"/>
                      <a:pt x="17590" y="2899"/>
                    </a:cubicBezTo>
                    <a:lnTo>
                      <a:pt x="34599" y="19909"/>
                    </a:lnTo>
                    <a:cubicBezTo>
                      <a:pt x="38465" y="23775"/>
                      <a:pt x="38465" y="30733"/>
                      <a:pt x="34599" y="34599"/>
                    </a:cubicBezTo>
                    <a:cubicBezTo>
                      <a:pt x="31507" y="36919"/>
                      <a:pt x="29187" y="37692"/>
                      <a:pt x="26868" y="37692"/>
                    </a:cubicBezTo>
                    <a:lnTo>
                      <a:pt x="26868" y="37692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333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2555352" y="5774410"/>
              <a:ext cx="100772" cy="100925"/>
              <a:chOff x="1627281" y="6529597"/>
              <a:chExt cx="127186" cy="127379"/>
            </a:xfrm>
            <a:solidFill>
              <a:srgbClr val="B1B1A1"/>
            </a:solidFill>
          </p:grpSpPr>
          <p:sp>
            <p:nvSpPr>
              <p:cNvPr id="334" name="Forma Livre: Forma 333">
                <a:extLst>
                  <a:ext uri="{FF2B5EF4-FFF2-40B4-BE49-F238E27FC236}">
                    <a16:creationId xmlns:a16="http://schemas.microsoft.com/office/drawing/2014/main" id="{5B72EBCE-57EB-445E-B096-C47636E5CD24}"/>
                  </a:ext>
                </a:extLst>
              </p:cNvPr>
              <p:cNvSpPr/>
              <p:nvPr/>
            </p:nvSpPr>
            <p:spPr>
              <a:xfrm>
                <a:off x="1719288" y="6529597"/>
                <a:ext cx="35179" cy="35372"/>
              </a:xfrm>
              <a:custGeom>
                <a:avLst/>
                <a:gdLst>
                  <a:gd name="connsiteX0" fmla="*/ 9858 w 35179"/>
                  <a:gd name="connsiteY0" fmla="*/ 35372 h 35372"/>
                  <a:gd name="connsiteX1" fmla="*/ 2899 w 35179"/>
                  <a:gd name="connsiteY1" fmla="*/ 32280 h 35372"/>
                  <a:gd name="connsiteX2" fmla="*/ 2899 w 35179"/>
                  <a:gd name="connsiteY2" fmla="*/ 17589 h 35372"/>
                  <a:gd name="connsiteX3" fmla="*/ 17590 w 35179"/>
                  <a:gd name="connsiteY3" fmla="*/ 2899 h 35372"/>
                  <a:gd name="connsiteX4" fmla="*/ 32280 w 35179"/>
                  <a:gd name="connsiteY4" fmla="*/ 2899 h 35372"/>
                  <a:gd name="connsiteX5" fmla="*/ 32280 w 35179"/>
                  <a:gd name="connsiteY5" fmla="*/ 17589 h 35372"/>
                  <a:gd name="connsiteX6" fmla="*/ 17590 w 35179"/>
                  <a:gd name="connsiteY6" fmla="*/ 32280 h 35372"/>
                  <a:gd name="connsiteX7" fmla="*/ 9858 w 35179"/>
                  <a:gd name="connsiteY7" fmla="*/ 35372 h 35372"/>
                  <a:gd name="connsiteX8" fmla="*/ 9858 w 35179"/>
                  <a:gd name="connsiteY8" fmla="*/ 35372 h 35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179" h="35372">
                    <a:moveTo>
                      <a:pt x="9858" y="35372"/>
                    </a:moveTo>
                    <a:cubicBezTo>
                      <a:pt x="7538" y="35372"/>
                      <a:pt x="4446" y="34599"/>
                      <a:pt x="2899" y="32280"/>
                    </a:cubicBezTo>
                    <a:cubicBezTo>
                      <a:pt x="-966" y="28414"/>
                      <a:pt x="-966" y="21455"/>
                      <a:pt x="2899" y="17589"/>
                    </a:cubicBezTo>
                    <a:lnTo>
                      <a:pt x="17590" y="2899"/>
                    </a:lnTo>
                    <a:cubicBezTo>
                      <a:pt x="21455" y="-966"/>
                      <a:pt x="28414" y="-966"/>
                      <a:pt x="32280" y="2899"/>
                    </a:cubicBezTo>
                    <a:cubicBezTo>
                      <a:pt x="36146" y="6765"/>
                      <a:pt x="36146" y="13723"/>
                      <a:pt x="32280" y="17589"/>
                    </a:cubicBezTo>
                    <a:lnTo>
                      <a:pt x="17590" y="32280"/>
                    </a:lnTo>
                    <a:cubicBezTo>
                      <a:pt x="15270" y="34599"/>
                      <a:pt x="12951" y="35372"/>
                      <a:pt x="9858" y="35372"/>
                    </a:cubicBezTo>
                    <a:lnTo>
                      <a:pt x="9858" y="35372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35" name="Forma Livre: Forma 334">
                <a:extLst>
                  <a:ext uri="{FF2B5EF4-FFF2-40B4-BE49-F238E27FC236}">
                    <a16:creationId xmlns:a16="http://schemas.microsoft.com/office/drawing/2014/main" id="{B1A9AB1E-A916-4F7E-86B0-F0914AACAC54}"/>
                  </a:ext>
                </a:extLst>
              </p:cNvPr>
              <p:cNvSpPr/>
              <p:nvPr/>
            </p:nvSpPr>
            <p:spPr>
              <a:xfrm>
                <a:off x="1627281" y="6619284"/>
                <a:ext cx="37498" cy="37691"/>
              </a:xfrm>
              <a:custGeom>
                <a:avLst/>
                <a:gdLst>
                  <a:gd name="connsiteX0" fmla="*/ 9858 w 37498"/>
                  <a:gd name="connsiteY0" fmla="*/ 37692 h 37691"/>
                  <a:gd name="connsiteX1" fmla="*/ 2899 w 37498"/>
                  <a:gd name="connsiteY1" fmla="*/ 34599 h 37691"/>
                  <a:gd name="connsiteX2" fmla="*/ 2899 w 37498"/>
                  <a:gd name="connsiteY2" fmla="*/ 19909 h 37691"/>
                  <a:gd name="connsiteX3" fmla="*/ 19909 w 37498"/>
                  <a:gd name="connsiteY3" fmla="*/ 2899 h 37691"/>
                  <a:gd name="connsiteX4" fmla="*/ 34599 w 37498"/>
                  <a:gd name="connsiteY4" fmla="*/ 2899 h 37691"/>
                  <a:gd name="connsiteX5" fmla="*/ 34599 w 37498"/>
                  <a:gd name="connsiteY5" fmla="*/ 17590 h 37691"/>
                  <a:gd name="connsiteX6" fmla="*/ 17590 w 37498"/>
                  <a:gd name="connsiteY6" fmla="*/ 34599 h 37691"/>
                  <a:gd name="connsiteX7" fmla="*/ 9858 w 37498"/>
                  <a:gd name="connsiteY7" fmla="*/ 37692 h 37691"/>
                  <a:gd name="connsiteX8" fmla="*/ 9858 w 37498"/>
                  <a:gd name="connsiteY8" fmla="*/ 37692 h 376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7498" h="37691">
                    <a:moveTo>
                      <a:pt x="9858" y="37692"/>
                    </a:moveTo>
                    <a:cubicBezTo>
                      <a:pt x="7538" y="37692"/>
                      <a:pt x="4446" y="36919"/>
                      <a:pt x="2899" y="34599"/>
                    </a:cubicBezTo>
                    <a:cubicBezTo>
                      <a:pt x="-966" y="30733"/>
                      <a:pt x="-966" y="23775"/>
                      <a:pt x="2899" y="19909"/>
                    </a:cubicBezTo>
                    <a:lnTo>
                      <a:pt x="19909" y="2899"/>
                    </a:lnTo>
                    <a:cubicBezTo>
                      <a:pt x="23775" y="-966"/>
                      <a:pt x="30733" y="-966"/>
                      <a:pt x="34599" y="2899"/>
                    </a:cubicBezTo>
                    <a:cubicBezTo>
                      <a:pt x="38465" y="6765"/>
                      <a:pt x="38465" y="13724"/>
                      <a:pt x="34599" y="17590"/>
                    </a:cubicBezTo>
                    <a:lnTo>
                      <a:pt x="17590" y="34599"/>
                    </a:lnTo>
                    <a:cubicBezTo>
                      <a:pt x="15270" y="36919"/>
                      <a:pt x="12951" y="37692"/>
                      <a:pt x="9858" y="37692"/>
                    </a:cubicBezTo>
                    <a:lnTo>
                      <a:pt x="9858" y="37692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336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2597469" y="5757716"/>
              <a:ext cx="15927" cy="135383"/>
              <a:chOff x="1680437" y="6508527"/>
              <a:chExt cx="20102" cy="170870"/>
            </a:xfrm>
            <a:solidFill>
              <a:srgbClr val="B1B1A1"/>
            </a:solidFill>
          </p:grpSpPr>
          <p:sp>
            <p:nvSpPr>
              <p:cNvPr id="337" name="Forma Livre: Forma 336">
                <a:extLst>
                  <a:ext uri="{FF2B5EF4-FFF2-40B4-BE49-F238E27FC236}">
                    <a16:creationId xmlns:a16="http://schemas.microsoft.com/office/drawing/2014/main" id="{FC435B38-EDD0-4107-BC3B-0250044FF6DB}"/>
                  </a:ext>
                </a:extLst>
              </p:cNvPr>
              <p:cNvSpPr/>
              <p:nvPr/>
            </p:nvSpPr>
            <p:spPr>
              <a:xfrm>
                <a:off x="1680437" y="6508527"/>
                <a:ext cx="20102" cy="40204"/>
              </a:xfrm>
              <a:custGeom>
                <a:avLst/>
                <a:gdLst>
                  <a:gd name="connsiteX0" fmla="*/ 10051 w 20102"/>
                  <a:gd name="connsiteY0" fmla="*/ 40205 h 40204"/>
                  <a:gd name="connsiteX1" fmla="*/ 0 w 20102"/>
                  <a:gd name="connsiteY1" fmla="*/ 30154 h 40204"/>
                  <a:gd name="connsiteX2" fmla="*/ 0 w 20102"/>
                  <a:gd name="connsiteY2" fmla="*/ 10051 h 40204"/>
                  <a:gd name="connsiteX3" fmla="*/ 10051 w 20102"/>
                  <a:gd name="connsiteY3" fmla="*/ 0 h 40204"/>
                  <a:gd name="connsiteX4" fmla="*/ 20102 w 20102"/>
                  <a:gd name="connsiteY4" fmla="*/ 10051 h 40204"/>
                  <a:gd name="connsiteX5" fmla="*/ 20102 w 20102"/>
                  <a:gd name="connsiteY5" fmla="*/ 30154 h 40204"/>
                  <a:gd name="connsiteX6" fmla="*/ 10051 w 20102"/>
                  <a:gd name="connsiteY6" fmla="*/ 40205 h 40204"/>
                  <a:gd name="connsiteX7" fmla="*/ 10051 w 20102"/>
                  <a:gd name="connsiteY7" fmla="*/ 40205 h 40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02" h="40204">
                    <a:moveTo>
                      <a:pt x="10051" y="40205"/>
                    </a:moveTo>
                    <a:cubicBezTo>
                      <a:pt x="4639" y="40205"/>
                      <a:pt x="0" y="35566"/>
                      <a:pt x="0" y="30154"/>
                    </a:cubicBezTo>
                    <a:lnTo>
                      <a:pt x="0" y="10051"/>
                    </a:lnTo>
                    <a:cubicBezTo>
                      <a:pt x="0" y="4639"/>
                      <a:pt x="4639" y="0"/>
                      <a:pt x="10051" y="0"/>
                    </a:cubicBezTo>
                    <a:cubicBezTo>
                      <a:pt x="15463" y="0"/>
                      <a:pt x="20102" y="4639"/>
                      <a:pt x="20102" y="10051"/>
                    </a:cubicBezTo>
                    <a:lnTo>
                      <a:pt x="20102" y="30154"/>
                    </a:lnTo>
                    <a:cubicBezTo>
                      <a:pt x="20102" y="35566"/>
                      <a:pt x="15463" y="40205"/>
                      <a:pt x="10051" y="40205"/>
                    </a:cubicBezTo>
                    <a:lnTo>
                      <a:pt x="10051" y="40205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38" name="Forma Livre: Forma 337">
                <a:extLst>
                  <a:ext uri="{FF2B5EF4-FFF2-40B4-BE49-F238E27FC236}">
                    <a16:creationId xmlns:a16="http://schemas.microsoft.com/office/drawing/2014/main" id="{8BD4C09C-BDA5-4DB7-8C18-46058409AE71}"/>
                  </a:ext>
                </a:extLst>
              </p:cNvPr>
              <p:cNvSpPr/>
              <p:nvPr/>
            </p:nvSpPr>
            <p:spPr>
              <a:xfrm>
                <a:off x="1680437" y="6635327"/>
                <a:ext cx="20102" cy="44070"/>
              </a:xfrm>
              <a:custGeom>
                <a:avLst/>
                <a:gdLst>
                  <a:gd name="connsiteX0" fmla="*/ 10051 w 20102"/>
                  <a:gd name="connsiteY0" fmla="*/ 44071 h 44070"/>
                  <a:gd name="connsiteX1" fmla="*/ 10051 w 20102"/>
                  <a:gd name="connsiteY1" fmla="*/ 44071 h 44070"/>
                  <a:gd name="connsiteX2" fmla="*/ 0 w 20102"/>
                  <a:gd name="connsiteY2" fmla="*/ 34019 h 44070"/>
                  <a:gd name="connsiteX3" fmla="*/ 0 w 20102"/>
                  <a:gd name="connsiteY3" fmla="*/ 10051 h 44070"/>
                  <a:gd name="connsiteX4" fmla="*/ 10051 w 20102"/>
                  <a:gd name="connsiteY4" fmla="*/ 0 h 44070"/>
                  <a:gd name="connsiteX5" fmla="*/ 10051 w 20102"/>
                  <a:gd name="connsiteY5" fmla="*/ 0 h 44070"/>
                  <a:gd name="connsiteX6" fmla="*/ 20102 w 20102"/>
                  <a:gd name="connsiteY6" fmla="*/ 10051 h 44070"/>
                  <a:gd name="connsiteX7" fmla="*/ 20102 w 20102"/>
                  <a:gd name="connsiteY7" fmla="*/ 34019 h 44070"/>
                  <a:gd name="connsiteX8" fmla="*/ 10051 w 20102"/>
                  <a:gd name="connsiteY8" fmla="*/ 44071 h 44070"/>
                  <a:gd name="connsiteX9" fmla="*/ 10051 w 20102"/>
                  <a:gd name="connsiteY9" fmla="*/ 44071 h 44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0102" h="44070">
                    <a:moveTo>
                      <a:pt x="10051" y="44071"/>
                    </a:moveTo>
                    <a:lnTo>
                      <a:pt x="10051" y="44071"/>
                    </a:lnTo>
                    <a:cubicBezTo>
                      <a:pt x="4639" y="44071"/>
                      <a:pt x="0" y="39431"/>
                      <a:pt x="0" y="34019"/>
                    </a:cubicBezTo>
                    <a:lnTo>
                      <a:pt x="0" y="10051"/>
                    </a:lnTo>
                    <a:cubicBezTo>
                      <a:pt x="0" y="4639"/>
                      <a:pt x="4639" y="0"/>
                      <a:pt x="10051" y="0"/>
                    </a:cubicBezTo>
                    <a:lnTo>
                      <a:pt x="10051" y="0"/>
                    </a:lnTo>
                    <a:cubicBezTo>
                      <a:pt x="15463" y="0"/>
                      <a:pt x="20102" y="4639"/>
                      <a:pt x="20102" y="10051"/>
                    </a:cubicBezTo>
                    <a:lnTo>
                      <a:pt x="20102" y="34019"/>
                    </a:lnTo>
                    <a:cubicBezTo>
                      <a:pt x="20102" y="39431"/>
                      <a:pt x="15463" y="44071"/>
                      <a:pt x="10051" y="44071"/>
                    </a:cubicBezTo>
                    <a:lnTo>
                      <a:pt x="10051" y="44071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339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2538046" y="5817138"/>
              <a:ext cx="134770" cy="15927"/>
              <a:chOff x="1605439" y="6583525"/>
              <a:chExt cx="170096" cy="20102"/>
            </a:xfrm>
            <a:solidFill>
              <a:srgbClr val="B1B1A1"/>
            </a:solidFill>
          </p:grpSpPr>
          <p:sp>
            <p:nvSpPr>
              <p:cNvPr id="340" name="Forma Livre: Forma 339">
                <a:extLst>
                  <a:ext uri="{FF2B5EF4-FFF2-40B4-BE49-F238E27FC236}">
                    <a16:creationId xmlns:a16="http://schemas.microsoft.com/office/drawing/2014/main" id="{0959AA59-6288-457A-8E90-98F6444C2F5C}"/>
                  </a:ext>
                </a:extLst>
              </p:cNvPr>
              <p:cNvSpPr/>
              <p:nvPr/>
            </p:nvSpPr>
            <p:spPr>
              <a:xfrm>
                <a:off x="1735332" y="6583525"/>
                <a:ext cx="40204" cy="20102"/>
              </a:xfrm>
              <a:custGeom>
                <a:avLst/>
                <a:gdLst>
                  <a:gd name="connsiteX0" fmla="*/ 30154 w 40204"/>
                  <a:gd name="connsiteY0" fmla="*/ 20102 h 20102"/>
                  <a:gd name="connsiteX1" fmla="*/ 10051 w 40204"/>
                  <a:gd name="connsiteY1" fmla="*/ 20102 h 20102"/>
                  <a:gd name="connsiteX2" fmla="*/ 0 w 40204"/>
                  <a:gd name="connsiteY2" fmla="*/ 10051 h 20102"/>
                  <a:gd name="connsiteX3" fmla="*/ 10051 w 40204"/>
                  <a:gd name="connsiteY3" fmla="*/ 0 h 20102"/>
                  <a:gd name="connsiteX4" fmla="*/ 30154 w 40204"/>
                  <a:gd name="connsiteY4" fmla="*/ 0 h 20102"/>
                  <a:gd name="connsiteX5" fmla="*/ 40205 w 40204"/>
                  <a:gd name="connsiteY5" fmla="*/ 10051 h 20102"/>
                  <a:gd name="connsiteX6" fmla="*/ 30154 w 40204"/>
                  <a:gd name="connsiteY6" fmla="*/ 20102 h 20102"/>
                  <a:gd name="connsiteX7" fmla="*/ 30154 w 40204"/>
                  <a:gd name="connsiteY7" fmla="*/ 20102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204" h="20102">
                    <a:moveTo>
                      <a:pt x="30154" y="20102"/>
                    </a:moveTo>
                    <a:lnTo>
                      <a:pt x="10051" y="20102"/>
                    </a:lnTo>
                    <a:cubicBezTo>
                      <a:pt x="4639" y="20102"/>
                      <a:pt x="0" y="15463"/>
                      <a:pt x="0" y="10051"/>
                    </a:cubicBezTo>
                    <a:cubicBezTo>
                      <a:pt x="0" y="4639"/>
                      <a:pt x="4639" y="0"/>
                      <a:pt x="10051" y="0"/>
                    </a:cubicBezTo>
                    <a:lnTo>
                      <a:pt x="30154" y="0"/>
                    </a:lnTo>
                    <a:cubicBezTo>
                      <a:pt x="35566" y="0"/>
                      <a:pt x="40205" y="4639"/>
                      <a:pt x="40205" y="10051"/>
                    </a:cubicBezTo>
                    <a:cubicBezTo>
                      <a:pt x="40205" y="15463"/>
                      <a:pt x="36339" y="20102"/>
                      <a:pt x="30154" y="20102"/>
                    </a:cubicBezTo>
                    <a:lnTo>
                      <a:pt x="30154" y="20102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41" name="Forma Livre: Forma 340">
                <a:extLst>
                  <a:ext uri="{FF2B5EF4-FFF2-40B4-BE49-F238E27FC236}">
                    <a16:creationId xmlns:a16="http://schemas.microsoft.com/office/drawing/2014/main" id="{FB4E7E99-C794-4416-A233-C2EC6043E525}"/>
                  </a:ext>
                </a:extLst>
              </p:cNvPr>
              <p:cNvSpPr/>
              <p:nvPr/>
            </p:nvSpPr>
            <p:spPr>
              <a:xfrm>
                <a:off x="1605439" y="6583525"/>
                <a:ext cx="44070" cy="20102"/>
              </a:xfrm>
              <a:custGeom>
                <a:avLst/>
                <a:gdLst>
                  <a:gd name="connsiteX0" fmla="*/ 34019 w 44070"/>
                  <a:gd name="connsiteY0" fmla="*/ 20102 h 20102"/>
                  <a:gd name="connsiteX1" fmla="*/ 10051 w 44070"/>
                  <a:gd name="connsiteY1" fmla="*/ 20102 h 20102"/>
                  <a:gd name="connsiteX2" fmla="*/ 0 w 44070"/>
                  <a:gd name="connsiteY2" fmla="*/ 10051 h 20102"/>
                  <a:gd name="connsiteX3" fmla="*/ 10051 w 44070"/>
                  <a:gd name="connsiteY3" fmla="*/ 0 h 20102"/>
                  <a:gd name="connsiteX4" fmla="*/ 34019 w 44070"/>
                  <a:gd name="connsiteY4" fmla="*/ 0 h 20102"/>
                  <a:gd name="connsiteX5" fmla="*/ 44071 w 44070"/>
                  <a:gd name="connsiteY5" fmla="*/ 10051 h 20102"/>
                  <a:gd name="connsiteX6" fmla="*/ 34019 w 44070"/>
                  <a:gd name="connsiteY6" fmla="*/ 20102 h 20102"/>
                  <a:gd name="connsiteX7" fmla="*/ 34019 w 44070"/>
                  <a:gd name="connsiteY7" fmla="*/ 20102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070" h="20102">
                    <a:moveTo>
                      <a:pt x="34019" y="20102"/>
                    </a:moveTo>
                    <a:lnTo>
                      <a:pt x="10051" y="20102"/>
                    </a:lnTo>
                    <a:cubicBezTo>
                      <a:pt x="4639" y="20102"/>
                      <a:pt x="0" y="15463"/>
                      <a:pt x="0" y="10051"/>
                    </a:cubicBezTo>
                    <a:cubicBezTo>
                      <a:pt x="0" y="4639"/>
                      <a:pt x="4639" y="0"/>
                      <a:pt x="10051" y="0"/>
                    </a:cubicBezTo>
                    <a:lnTo>
                      <a:pt x="34019" y="0"/>
                    </a:lnTo>
                    <a:cubicBezTo>
                      <a:pt x="39432" y="0"/>
                      <a:pt x="44071" y="4639"/>
                      <a:pt x="44071" y="10051"/>
                    </a:cubicBezTo>
                    <a:cubicBezTo>
                      <a:pt x="44071" y="15463"/>
                      <a:pt x="39432" y="20102"/>
                      <a:pt x="34019" y="20102"/>
                    </a:cubicBezTo>
                    <a:lnTo>
                      <a:pt x="34019" y="20102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342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1400458" y="5640404"/>
              <a:ext cx="429429" cy="369700"/>
              <a:chOff x="169667" y="6360466"/>
              <a:chExt cx="541990" cy="466606"/>
            </a:xfrm>
            <a:solidFill>
              <a:srgbClr val="B1B1A1"/>
            </a:solidFill>
          </p:grpSpPr>
          <p:sp>
            <p:nvSpPr>
              <p:cNvPr id="343" name="Forma Livre: Forma 342">
                <a:extLst>
                  <a:ext uri="{FF2B5EF4-FFF2-40B4-BE49-F238E27FC236}">
                    <a16:creationId xmlns:a16="http://schemas.microsoft.com/office/drawing/2014/main" id="{E9315619-AA71-4143-825E-37CB123ADD93}"/>
                  </a:ext>
                </a:extLst>
              </p:cNvPr>
              <p:cNvSpPr/>
              <p:nvPr/>
            </p:nvSpPr>
            <p:spPr>
              <a:xfrm>
                <a:off x="184368" y="6360466"/>
                <a:ext cx="510691" cy="202183"/>
              </a:xfrm>
              <a:custGeom>
                <a:avLst/>
                <a:gdLst>
                  <a:gd name="connsiteX0" fmla="*/ 490950 w 510691"/>
                  <a:gd name="connsiteY0" fmla="*/ 202183 h 202183"/>
                  <a:gd name="connsiteX1" fmla="*/ 20091 w 510691"/>
                  <a:gd name="connsiteY1" fmla="*/ 202183 h 202183"/>
                  <a:gd name="connsiteX2" fmla="*/ 762 w 510691"/>
                  <a:gd name="connsiteY2" fmla="*/ 187493 h 202183"/>
                  <a:gd name="connsiteX3" fmla="*/ 8493 w 510691"/>
                  <a:gd name="connsiteY3" fmla="*/ 164298 h 202183"/>
                  <a:gd name="connsiteX4" fmla="*/ 243536 w 510691"/>
                  <a:gd name="connsiteY4" fmla="*/ 3479 h 202183"/>
                  <a:gd name="connsiteX5" fmla="*/ 266731 w 510691"/>
                  <a:gd name="connsiteY5" fmla="*/ 3479 h 202183"/>
                  <a:gd name="connsiteX6" fmla="*/ 501774 w 510691"/>
                  <a:gd name="connsiteY6" fmla="*/ 164298 h 202183"/>
                  <a:gd name="connsiteX7" fmla="*/ 509506 w 510691"/>
                  <a:gd name="connsiteY7" fmla="*/ 187493 h 202183"/>
                  <a:gd name="connsiteX8" fmla="*/ 490950 w 510691"/>
                  <a:gd name="connsiteY8" fmla="*/ 202183 h 202183"/>
                  <a:gd name="connsiteX9" fmla="*/ 490950 w 510691"/>
                  <a:gd name="connsiteY9" fmla="*/ 202183 h 202183"/>
                  <a:gd name="connsiteX10" fmla="*/ 86583 w 510691"/>
                  <a:gd name="connsiteY10" fmla="*/ 161206 h 202183"/>
                  <a:gd name="connsiteX11" fmla="*/ 424458 w 510691"/>
                  <a:gd name="connsiteY11" fmla="*/ 161206 h 202183"/>
                  <a:gd name="connsiteX12" fmla="*/ 255134 w 510691"/>
                  <a:gd name="connsiteY12" fmla="*/ 45230 h 202183"/>
                  <a:gd name="connsiteX13" fmla="*/ 86583 w 510691"/>
                  <a:gd name="connsiteY13" fmla="*/ 161206 h 202183"/>
                  <a:gd name="connsiteX14" fmla="*/ 86583 w 510691"/>
                  <a:gd name="connsiteY14" fmla="*/ 161206 h 202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10691" h="202183">
                    <a:moveTo>
                      <a:pt x="490950" y="202183"/>
                    </a:moveTo>
                    <a:lnTo>
                      <a:pt x="20091" y="202183"/>
                    </a:lnTo>
                    <a:cubicBezTo>
                      <a:pt x="10813" y="202183"/>
                      <a:pt x="3081" y="195998"/>
                      <a:pt x="762" y="187493"/>
                    </a:cubicBezTo>
                    <a:cubicBezTo>
                      <a:pt x="-1558" y="178988"/>
                      <a:pt x="1535" y="169710"/>
                      <a:pt x="8493" y="164298"/>
                    </a:cubicBezTo>
                    <a:lnTo>
                      <a:pt x="243536" y="3479"/>
                    </a:lnTo>
                    <a:cubicBezTo>
                      <a:pt x="250495" y="-1160"/>
                      <a:pt x="259773" y="-1160"/>
                      <a:pt x="266731" y="3479"/>
                    </a:cubicBezTo>
                    <a:lnTo>
                      <a:pt x="501774" y="164298"/>
                    </a:lnTo>
                    <a:cubicBezTo>
                      <a:pt x="509506" y="169710"/>
                      <a:pt x="512599" y="178988"/>
                      <a:pt x="509506" y="187493"/>
                    </a:cubicBezTo>
                    <a:cubicBezTo>
                      <a:pt x="507960" y="195998"/>
                      <a:pt x="500228" y="202183"/>
                      <a:pt x="490950" y="202183"/>
                    </a:cubicBezTo>
                    <a:lnTo>
                      <a:pt x="490950" y="202183"/>
                    </a:lnTo>
                    <a:close/>
                    <a:moveTo>
                      <a:pt x="86583" y="161206"/>
                    </a:moveTo>
                    <a:lnTo>
                      <a:pt x="424458" y="161206"/>
                    </a:lnTo>
                    <a:lnTo>
                      <a:pt x="255134" y="45230"/>
                    </a:lnTo>
                    <a:lnTo>
                      <a:pt x="86583" y="161206"/>
                    </a:lnTo>
                    <a:lnTo>
                      <a:pt x="86583" y="161206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grpSp>
            <p:nvGrpSpPr>
              <p:cNvPr id="344" name="Gráfico 2">
                <a:extLst>
                  <a:ext uri="{FF2B5EF4-FFF2-40B4-BE49-F238E27FC236}">
                    <a16:creationId xmlns:a16="http://schemas.microsoft.com/office/drawing/2014/main" id="{6FEF66BF-8D1E-4FFA-95A2-6EE56886837B}"/>
                  </a:ext>
                </a:extLst>
              </p:cNvPr>
              <p:cNvGrpSpPr/>
              <p:nvPr/>
            </p:nvGrpSpPr>
            <p:grpSpPr>
              <a:xfrm>
                <a:off x="243117" y="6528630"/>
                <a:ext cx="394315" cy="236589"/>
                <a:chOff x="243117" y="6528630"/>
                <a:chExt cx="394315" cy="236589"/>
              </a:xfrm>
              <a:grpFill/>
            </p:grpSpPr>
            <p:sp>
              <p:nvSpPr>
                <p:cNvPr id="345" name="Forma Livre: Forma 344">
                  <a:extLst>
                    <a:ext uri="{FF2B5EF4-FFF2-40B4-BE49-F238E27FC236}">
                      <a16:creationId xmlns:a16="http://schemas.microsoft.com/office/drawing/2014/main" id="{0D34976F-7ECB-4E3B-8B2B-20B852CF2560}"/>
                    </a:ext>
                  </a:extLst>
                </p:cNvPr>
                <p:cNvSpPr/>
                <p:nvPr/>
              </p:nvSpPr>
              <p:spPr>
                <a:xfrm>
                  <a:off x="243117" y="6528630"/>
                  <a:ext cx="41751" cy="236589"/>
                </a:xfrm>
                <a:custGeom>
                  <a:avLst/>
                  <a:gdLst>
                    <a:gd name="connsiteX0" fmla="*/ 20876 w 41751"/>
                    <a:gd name="connsiteY0" fmla="*/ 236589 h 236589"/>
                    <a:gd name="connsiteX1" fmla="*/ 0 w 41751"/>
                    <a:gd name="connsiteY1" fmla="*/ 215714 h 236589"/>
                    <a:gd name="connsiteX2" fmla="*/ 0 w 41751"/>
                    <a:gd name="connsiteY2" fmla="*/ 20875 h 236589"/>
                    <a:gd name="connsiteX3" fmla="*/ 20876 w 41751"/>
                    <a:gd name="connsiteY3" fmla="*/ 0 h 236589"/>
                    <a:gd name="connsiteX4" fmla="*/ 41751 w 41751"/>
                    <a:gd name="connsiteY4" fmla="*/ 20875 h 236589"/>
                    <a:gd name="connsiteX5" fmla="*/ 41751 w 41751"/>
                    <a:gd name="connsiteY5" fmla="*/ 215714 h 236589"/>
                    <a:gd name="connsiteX6" fmla="*/ 20876 w 41751"/>
                    <a:gd name="connsiteY6" fmla="*/ 236589 h 236589"/>
                    <a:gd name="connsiteX7" fmla="*/ 20876 w 41751"/>
                    <a:gd name="connsiteY7" fmla="*/ 236589 h 2365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51" h="236589">
                      <a:moveTo>
                        <a:pt x="20876" y="236589"/>
                      </a:moveTo>
                      <a:cubicBezTo>
                        <a:pt x="9278" y="236589"/>
                        <a:pt x="0" y="227311"/>
                        <a:pt x="0" y="215714"/>
                      </a:cubicBezTo>
                      <a:lnTo>
                        <a:pt x="0" y="20875"/>
                      </a:lnTo>
                      <a:cubicBezTo>
                        <a:pt x="0" y="9278"/>
                        <a:pt x="9278" y="0"/>
                        <a:pt x="20876" y="0"/>
                      </a:cubicBezTo>
                      <a:cubicBezTo>
                        <a:pt x="32473" y="0"/>
                        <a:pt x="41751" y="9278"/>
                        <a:pt x="41751" y="20875"/>
                      </a:cubicBezTo>
                      <a:lnTo>
                        <a:pt x="41751" y="215714"/>
                      </a:lnTo>
                      <a:cubicBezTo>
                        <a:pt x="41751" y="227311"/>
                        <a:pt x="32473" y="236589"/>
                        <a:pt x="20876" y="236589"/>
                      </a:cubicBezTo>
                      <a:lnTo>
                        <a:pt x="20876" y="236589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346" name="Forma Livre: Forma 345">
                  <a:extLst>
                    <a:ext uri="{FF2B5EF4-FFF2-40B4-BE49-F238E27FC236}">
                      <a16:creationId xmlns:a16="http://schemas.microsoft.com/office/drawing/2014/main" id="{1BE2E11A-6793-4CAB-8DDF-201002694DB3}"/>
                    </a:ext>
                  </a:extLst>
                </p:cNvPr>
                <p:cNvSpPr/>
                <p:nvPr/>
              </p:nvSpPr>
              <p:spPr>
                <a:xfrm>
                  <a:off x="595682" y="6528630"/>
                  <a:ext cx="41751" cy="236589"/>
                </a:xfrm>
                <a:custGeom>
                  <a:avLst/>
                  <a:gdLst>
                    <a:gd name="connsiteX0" fmla="*/ 20876 w 41751"/>
                    <a:gd name="connsiteY0" fmla="*/ 236589 h 236589"/>
                    <a:gd name="connsiteX1" fmla="*/ 0 w 41751"/>
                    <a:gd name="connsiteY1" fmla="*/ 215714 h 236589"/>
                    <a:gd name="connsiteX2" fmla="*/ 0 w 41751"/>
                    <a:gd name="connsiteY2" fmla="*/ 20875 h 236589"/>
                    <a:gd name="connsiteX3" fmla="*/ 20876 w 41751"/>
                    <a:gd name="connsiteY3" fmla="*/ 0 h 236589"/>
                    <a:gd name="connsiteX4" fmla="*/ 41751 w 41751"/>
                    <a:gd name="connsiteY4" fmla="*/ 20875 h 236589"/>
                    <a:gd name="connsiteX5" fmla="*/ 41751 w 41751"/>
                    <a:gd name="connsiteY5" fmla="*/ 215714 h 236589"/>
                    <a:gd name="connsiteX6" fmla="*/ 20876 w 41751"/>
                    <a:gd name="connsiteY6" fmla="*/ 236589 h 236589"/>
                    <a:gd name="connsiteX7" fmla="*/ 20876 w 41751"/>
                    <a:gd name="connsiteY7" fmla="*/ 236589 h 2365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51" h="236589">
                      <a:moveTo>
                        <a:pt x="20876" y="236589"/>
                      </a:moveTo>
                      <a:cubicBezTo>
                        <a:pt x="9278" y="236589"/>
                        <a:pt x="0" y="227311"/>
                        <a:pt x="0" y="215714"/>
                      </a:cubicBezTo>
                      <a:lnTo>
                        <a:pt x="0" y="20875"/>
                      </a:lnTo>
                      <a:cubicBezTo>
                        <a:pt x="0" y="9278"/>
                        <a:pt x="9278" y="0"/>
                        <a:pt x="20876" y="0"/>
                      </a:cubicBezTo>
                      <a:cubicBezTo>
                        <a:pt x="32473" y="0"/>
                        <a:pt x="41751" y="9278"/>
                        <a:pt x="41751" y="20875"/>
                      </a:cubicBezTo>
                      <a:lnTo>
                        <a:pt x="41751" y="215714"/>
                      </a:lnTo>
                      <a:cubicBezTo>
                        <a:pt x="40978" y="227311"/>
                        <a:pt x="31700" y="236589"/>
                        <a:pt x="20876" y="236589"/>
                      </a:cubicBezTo>
                      <a:lnTo>
                        <a:pt x="20876" y="236589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347" name="Forma Livre: Forma 346">
                  <a:extLst>
                    <a:ext uri="{FF2B5EF4-FFF2-40B4-BE49-F238E27FC236}">
                      <a16:creationId xmlns:a16="http://schemas.microsoft.com/office/drawing/2014/main" id="{6CE25D6E-1A93-4E68-8F50-483F4910E4F5}"/>
                    </a:ext>
                  </a:extLst>
                </p:cNvPr>
                <p:cNvSpPr/>
                <p:nvPr/>
              </p:nvSpPr>
              <p:spPr>
                <a:xfrm>
                  <a:off x="331259" y="6528630"/>
                  <a:ext cx="41751" cy="236589"/>
                </a:xfrm>
                <a:custGeom>
                  <a:avLst/>
                  <a:gdLst>
                    <a:gd name="connsiteX0" fmla="*/ 20876 w 41751"/>
                    <a:gd name="connsiteY0" fmla="*/ 236589 h 236589"/>
                    <a:gd name="connsiteX1" fmla="*/ 0 w 41751"/>
                    <a:gd name="connsiteY1" fmla="*/ 215714 h 236589"/>
                    <a:gd name="connsiteX2" fmla="*/ 0 w 41751"/>
                    <a:gd name="connsiteY2" fmla="*/ 20875 h 236589"/>
                    <a:gd name="connsiteX3" fmla="*/ 20876 w 41751"/>
                    <a:gd name="connsiteY3" fmla="*/ 0 h 236589"/>
                    <a:gd name="connsiteX4" fmla="*/ 41751 w 41751"/>
                    <a:gd name="connsiteY4" fmla="*/ 20875 h 236589"/>
                    <a:gd name="connsiteX5" fmla="*/ 41751 w 41751"/>
                    <a:gd name="connsiteY5" fmla="*/ 215714 h 236589"/>
                    <a:gd name="connsiteX6" fmla="*/ 20876 w 41751"/>
                    <a:gd name="connsiteY6" fmla="*/ 236589 h 236589"/>
                    <a:gd name="connsiteX7" fmla="*/ 20876 w 41751"/>
                    <a:gd name="connsiteY7" fmla="*/ 236589 h 2365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51" h="236589">
                      <a:moveTo>
                        <a:pt x="20876" y="236589"/>
                      </a:moveTo>
                      <a:cubicBezTo>
                        <a:pt x="9278" y="236589"/>
                        <a:pt x="0" y="227311"/>
                        <a:pt x="0" y="215714"/>
                      </a:cubicBezTo>
                      <a:lnTo>
                        <a:pt x="0" y="20875"/>
                      </a:lnTo>
                      <a:cubicBezTo>
                        <a:pt x="0" y="9278"/>
                        <a:pt x="9278" y="0"/>
                        <a:pt x="20876" y="0"/>
                      </a:cubicBezTo>
                      <a:cubicBezTo>
                        <a:pt x="32473" y="0"/>
                        <a:pt x="41751" y="9278"/>
                        <a:pt x="41751" y="20875"/>
                      </a:cubicBezTo>
                      <a:lnTo>
                        <a:pt x="41751" y="215714"/>
                      </a:lnTo>
                      <a:cubicBezTo>
                        <a:pt x="41751" y="227311"/>
                        <a:pt x="32473" y="236589"/>
                        <a:pt x="20876" y="236589"/>
                      </a:cubicBezTo>
                      <a:lnTo>
                        <a:pt x="20876" y="236589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348" name="Forma Livre: Forma 347">
                  <a:extLst>
                    <a:ext uri="{FF2B5EF4-FFF2-40B4-BE49-F238E27FC236}">
                      <a16:creationId xmlns:a16="http://schemas.microsoft.com/office/drawing/2014/main" id="{C2225C5A-FDCF-406B-A1E6-FA093328C494}"/>
                    </a:ext>
                  </a:extLst>
                </p:cNvPr>
                <p:cNvSpPr/>
                <p:nvPr/>
              </p:nvSpPr>
              <p:spPr>
                <a:xfrm>
                  <a:off x="419400" y="6528630"/>
                  <a:ext cx="41751" cy="236589"/>
                </a:xfrm>
                <a:custGeom>
                  <a:avLst/>
                  <a:gdLst>
                    <a:gd name="connsiteX0" fmla="*/ 20876 w 41751"/>
                    <a:gd name="connsiteY0" fmla="*/ 236589 h 236589"/>
                    <a:gd name="connsiteX1" fmla="*/ 0 w 41751"/>
                    <a:gd name="connsiteY1" fmla="*/ 215714 h 236589"/>
                    <a:gd name="connsiteX2" fmla="*/ 0 w 41751"/>
                    <a:gd name="connsiteY2" fmla="*/ 20875 h 236589"/>
                    <a:gd name="connsiteX3" fmla="*/ 20876 w 41751"/>
                    <a:gd name="connsiteY3" fmla="*/ 0 h 236589"/>
                    <a:gd name="connsiteX4" fmla="*/ 41751 w 41751"/>
                    <a:gd name="connsiteY4" fmla="*/ 20875 h 236589"/>
                    <a:gd name="connsiteX5" fmla="*/ 41751 w 41751"/>
                    <a:gd name="connsiteY5" fmla="*/ 215714 h 236589"/>
                    <a:gd name="connsiteX6" fmla="*/ 20876 w 41751"/>
                    <a:gd name="connsiteY6" fmla="*/ 236589 h 236589"/>
                    <a:gd name="connsiteX7" fmla="*/ 20876 w 41751"/>
                    <a:gd name="connsiteY7" fmla="*/ 236589 h 2365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51" h="236589">
                      <a:moveTo>
                        <a:pt x="20876" y="236589"/>
                      </a:moveTo>
                      <a:cubicBezTo>
                        <a:pt x="9278" y="236589"/>
                        <a:pt x="0" y="227311"/>
                        <a:pt x="0" y="215714"/>
                      </a:cubicBezTo>
                      <a:lnTo>
                        <a:pt x="0" y="20875"/>
                      </a:lnTo>
                      <a:cubicBezTo>
                        <a:pt x="0" y="9278"/>
                        <a:pt x="9278" y="0"/>
                        <a:pt x="20876" y="0"/>
                      </a:cubicBezTo>
                      <a:cubicBezTo>
                        <a:pt x="32473" y="0"/>
                        <a:pt x="41751" y="9278"/>
                        <a:pt x="41751" y="20875"/>
                      </a:cubicBezTo>
                      <a:lnTo>
                        <a:pt x="41751" y="215714"/>
                      </a:lnTo>
                      <a:cubicBezTo>
                        <a:pt x="40978" y="227311"/>
                        <a:pt x="32473" y="236589"/>
                        <a:pt x="20876" y="236589"/>
                      </a:cubicBezTo>
                      <a:lnTo>
                        <a:pt x="20876" y="236589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349" name="Forma Livre: Forma 348">
                  <a:extLst>
                    <a:ext uri="{FF2B5EF4-FFF2-40B4-BE49-F238E27FC236}">
                      <a16:creationId xmlns:a16="http://schemas.microsoft.com/office/drawing/2014/main" id="{5DE10C1B-6859-416D-8AB4-805B8DDD886E}"/>
                    </a:ext>
                  </a:extLst>
                </p:cNvPr>
                <p:cNvSpPr/>
                <p:nvPr/>
              </p:nvSpPr>
              <p:spPr>
                <a:xfrm>
                  <a:off x="507541" y="6528630"/>
                  <a:ext cx="41751" cy="236589"/>
                </a:xfrm>
                <a:custGeom>
                  <a:avLst/>
                  <a:gdLst>
                    <a:gd name="connsiteX0" fmla="*/ 20876 w 41751"/>
                    <a:gd name="connsiteY0" fmla="*/ 236589 h 236589"/>
                    <a:gd name="connsiteX1" fmla="*/ 0 w 41751"/>
                    <a:gd name="connsiteY1" fmla="*/ 215714 h 236589"/>
                    <a:gd name="connsiteX2" fmla="*/ 0 w 41751"/>
                    <a:gd name="connsiteY2" fmla="*/ 20875 h 236589"/>
                    <a:gd name="connsiteX3" fmla="*/ 20876 w 41751"/>
                    <a:gd name="connsiteY3" fmla="*/ 0 h 236589"/>
                    <a:gd name="connsiteX4" fmla="*/ 41751 w 41751"/>
                    <a:gd name="connsiteY4" fmla="*/ 20875 h 236589"/>
                    <a:gd name="connsiteX5" fmla="*/ 41751 w 41751"/>
                    <a:gd name="connsiteY5" fmla="*/ 215714 h 236589"/>
                    <a:gd name="connsiteX6" fmla="*/ 20876 w 41751"/>
                    <a:gd name="connsiteY6" fmla="*/ 236589 h 236589"/>
                    <a:gd name="connsiteX7" fmla="*/ 20876 w 41751"/>
                    <a:gd name="connsiteY7" fmla="*/ 236589 h 2365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51" h="236589">
                      <a:moveTo>
                        <a:pt x="20876" y="236589"/>
                      </a:moveTo>
                      <a:cubicBezTo>
                        <a:pt x="9278" y="236589"/>
                        <a:pt x="0" y="227311"/>
                        <a:pt x="0" y="215714"/>
                      </a:cubicBezTo>
                      <a:lnTo>
                        <a:pt x="0" y="20875"/>
                      </a:lnTo>
                      <a:cubicBezTo>
                        <a:pt x="0" y="9278"/>
                        <a:pt x="9278" y="0"/>
                        <a:pt x="20876" y="0"/>
                      </a:cubicBezTo>
                      <a:cubicBezTo>
                        <a:pt x="32473" y="0"/>
                        <a:pt x="41751" y="9278"/>
                        <a:pt x="41751" y="20875"/>
                      </a:cubicBezTo>
                      <a:lnTo>
                        <a:pt x="41751" y="215714"/>
                      </a:lnTo>
                      <a:cubicBezTo>
                        <a:pt x="40978" y="227311"/>
                        <a:pt x="31700" y="236589"/>
                        <a:pt x="20876" y="236589"/>
                      </a:cubicBezTo>
                      <a:lnTo>
                        <a:pt x="20876" y="236589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sp>
            <p:nvSpPr>
              <p:cNvPr id="350" name="Forma Livre: Forma 349">
                <a:extLst>
                  <a:ext uri="{FF2B5EF4-FFF2-40B4-BE49-F238E27FC236}">
                    <a16:creationId xmlns:a16="http://schemas.microsoft.com/office/drawing/2014/main" id="{B40C2DDC-70F6-44CA-B031-C3738B2E6844}"/>
                  </a:ext>
                </a:extLst>
              </p:cNvPr>
              <p:cNvSpPr/>
              <p:nvPr/>
            </p:nvSpPr>
            <p:spPr>
              <a:xfrm>
                <a:off x="210644" y="6725788"/>
                <a:ext cx="459261" cy="41750"/>
              </a:xfrm>
              <a:custGeom>
                <a:avLst/>
                <a:gdLst>
                  <a:gd name="connsiteX0" fmla="*/ 438386 w 459261"/>
                  <a:gd name="connsiteY0" fmla="*/ 41751 h 41750"/>
                  <a:gd name="connsiteX1" fmla="*/ 20876 w 459261"/>
                  <a:gd name="connsiteY1" fmla="*/ 41751 h 41750"/>
                  <a:gd name="connsiteX2" fmla="*/ 0 w 459261"/>
                  <a:gd name="connsiteY2" fmla="*/ 20875 h 41750"/>
                  <a:gd name="connsiteX3" fmla="*/ 20876 w 459261"/>
                  <a:gd name="connsiteY3" fmla="*/ 0 h 41750"/>
                  <a:gd name="connsiteX4" fmla="*/ 438386 w 459261"/>
                  <a:gd name="connsiteY4" fmla="*/ 0 h 41750"/>
                  <a:gd name="connsiteX5" fmla="*/ 459262 w 459261"/>
                  <a:gd name="connsiteY5" fmla="*/ 20875 h 41750"/>
                  <a:gd name="connsiteX6" fmla="*/ 438386 w 459261"/>
                  <a:gd name="connsiteY6" fmla="*/ 41751 h 41750"/>
                  <a:gd name="connsiteX7" fmla="*/ 438386 w 459261"/>
                  <a:gd name="connsiteY7" fmla="*/ 41751 h 41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59261" h="41750">
                    <a:moveTo>
                      <a:pt x="438386" y="41751"/>
                    </a:moveTo>
                    <a:lnTo>
                      <a:pt x="20876" y="41751"/>
                    </a:lnTo>
                    <a:cubicBezTo>
                      <a:pt x="9278" y="41751"/>
                      <a:pt x="0" y="32473"/>
                      <a:pt x="0" y="20875"/>
                    </a:cubicBezTo>
                    <a:cubicBezTo>
                      <a:pt x="0" y="9278"/>
                      <a:pt x="9278" y="0"/>
                      <a:pt x="20876" y="0"/>
                    </a:cubicBezTo>
                    <a:lnTo>
                      <a:pt x="438386" y="0"/>
                    </a:lnTo>
                    <a:cubicBezTo>
                      <a:pt x="449984" y="0"/>
                      <a:pt x="459262" y="9278"/>
                      <a:pt x="459262" y="20875"/>
                    </a:cubicBezTo>
                    <a:cubicBezTo>
                      <a:pt x="459262" y="33246"/>
                      <a:pt x="449984" y="41751"/>
                      <a:pt x="438386" y="41751"/>
                    </a:cubicBezTo>
                    <a:lnTo>
                      <a:pt x="438386" y="41751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51" name="Forma Livre: Forma 350">
                <a:extLst>
                  <a:ext uri="{FF2B5EF4-FFF2-40B4-BE49-F238E27FC236}">
                    <a16:creationId xmlns:a16="http://schemas.microsoft.com/office/drawing/2014/main" id="{7FE02CB8-3127-4180-B7BA-26E61A2938D4}"/>
                  </a:ext>
                </a:extLst>
              </p:cNvPr>
              <p:cNvSpPr/>
              <p:nvPr/>
            </p:nvSpPr>
            <p:spPr>
              <a:xfrm>
                <a:off x="169667" y="6785322"/>
                <a:ext cx="541990" cy="41751"/>
              </a:xfrm>
              <a:custGeom>
                <a:avLst/>
                <a:gdLst>
                  <a:gd name="connsiteX0" fmla="*/ 520342 w 541990"/>
                  <a:gd name="connsiteY0" fmla="*/ 41751 h 41751"/>
                  <a:gd name="connsiteX1" fmla="*/ 20876 w 541990"/>
                  <a:gd name="connsiteY1" fmla="*/ 41751 h 41751"/>
                  <a:gd name="connsiteX2" fmla="*/ 0 w 541990"/>
                  <a:gd name="connsiteY2" fmla="*/ 20876 h 41751"/>
                  <a:gd name="connsiteX3" fmla="*/ 20876 w 541990"/>
                  <a:gd name="connsiteY3" fmla="*/ 0 h 41751"/>
                  <a:gd name="connsiteX4" fmla="*/ 521115 w 541990"/>
                  <a:gd name="connsiteY4" fmla="*/ 0 h 41751"/>
                  <a:gd name="connsiteX5" fmla="*/ 541991 w 541990"/>
                  <a:gd name="connsiteY5" fmla="*/ 20876 h 41751"/>
                  <a:gd name="connsiteX6" fmla="*/ 520342 w 541990"/>
                  <a:gd name="connsiteY6" fmla="*/ 41751 h 41751"/>
                  <a:gd name="connsiteX7" fmla="*/ 520342 w 541990"/>
                  <a:gd name="connsiteY7" fmla="*/ 41751 h 41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41990" h="41751">
                    <a:moveTo>
                      <a:pt x="520342" y="41751"/>
                    </a:moveTo>
                    <a:lnTo>
                      <a:pt x="20876" y="41751"/>
                    </a:lnTo>
                    <a:cubicBezTo>
                      <a:pt x="9278" y="41751"/>
                      <a:pt x="0" y="32473"/>
                      <a:pt x="0" y="20876"/>
                    </a:cubicBezTo>
                    <a:cubicBezTo>
                      <a:pt x="0" y="9278"/>
                      <a:pt x="9278" y="0"/>
                      <a:pt x="20876" y="0"/>
                    </a:cubicBezTo>
                    <a:lnTo>
                      <a:pt x="521115" y="0"/>
                    </a:lnTo>
                    <a:cubicBezTo>
                      <a:pt x="532713" y="0"/>
                      <a:pt x="541991" y="9278"/>
                      <a:pt x="541991" y="20876"/>
                    </a:cubicBezTo>
                    <a:cubicBezTo>
                      <a:pt x="541218" y="32473"/>
                      <a:pt x="531940" y="41751"/>
                      <a:pt x="520342" y="41751"/>
                    </a:cubicBezTo>
                    <a:lnTo>
                      <a:pt x="520342" y="41751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352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4404011" y="5614369"/>
              <a:ext cx="393285" cy="420852"/>
              <a:chOff x="3960509" y="6327606"/>
              <a:chExt cx="496373" cy="531166"/>
            </a:xfrm>
            <a:solidFill>
              <a:srgbClr val="B1B1A1"/>
            </a:solidFill>
          </p:grpSpPr>
          <p:sp>
            <p:nvSpPr>
              <p:cNvPr id="353" name="Forma Livre: Forma 352">
                <a:extLst>
                  <a:ext uri="{FF2B5EF4-FFF2-40B4-BE49-F238E27FC236}">
                    <a16:creationId xmlns:a16="http://schemas.microsoft.com/office/drawing/2014/main" id="{B654A68B-39FE-4ACD-B9A7-4BEB452981C1}"/>
                  </a:ext>
                </a:extLst>
              </p:cNvPr>
              <p:cNvSpPr/>
              <p:nvPr/>
            </p:nvSpPr>
            <p:spPr>
              <a:xfrm>
                <a:off x="4080350" y="6586618"/>
                <a:ext cx="37112" cy="37111"/>
              </a:xfrm>
              <a:custGeom>
                <a:avLst/>
                <a:gdLst>
                  <a:gd name="connsiteX0" fmla="*/ 37112 w 37112"/>
                  <a:gd name="connsiteY0" fmla="*/ 18556 h 37111"/>
                  <a:gd name="connsiteX1" fmla="*/ 18556 w 37112"/>
                  <a:gd name="connsiteY1" fmla="*/ 37112 h 37111"/>
                  <a:gd name="connsiteX2" fmla="*/ 0 w 37112"/>
                  <a:gd name="connsiteY2" fmla="*/ 18556 h 37111"/>
                  <a:gd name="connsiteX3" fmla="*/ 18556 w 37112"/>
                  <a:gd name="connsiteY3" fmla="*/ 0 h 37111"/>
                  <a:gd name="connsiteX4" fmla="*/ 37112 w 37112"/>
                  <a:gd name="connsiteY4" fmla="*/ 18556 h 37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112" h="37111">
                    <a:moveTo>
                      <a:pt x="37112" y="18556"/>
                    </a:moveTo>
                    <a:cubicBezTo>
                      <a:pt x="37112" y="28607"/>
                      <a:pt x="28607" y="37112"/>
                      <a:pt x="18556" y="37112"/>
                    </a:cubicBezTo>
                    <a:cubicBezTo>
                      <a:pt x="8505" y="37112"/>
                      <a:pt x="0" y="28607"/>
                      <a:pt x="0" y="18556"/>
                    </a:cubicBezTo>
                    <a:cubicBezTo>
                      <a:pt x="0" y="8505"/>
                      <a:pt x="8505" y="0"/>
                      <a:pt x="18556" y="0"/>
                    </a:cubicBezTo>
                    <a:cubicBezTo>
                      <a:pt x="28607" y="0"/>
                      <a:pt x="37112" y="8505"/>
                      <a:pt x="37112" y="18556"/>
                    </a:cubicBez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54" name="Forma Livre: Forma 353">
                <a:extLst>
                  <a:ext uri="{FF2B5EF4-FFF2-40B4-BE49-F238E27FC236}">
                    <a16:creationId xmlns:a16="http://schemas.microsoft.com/office/drawing/2014/main" id="{D6236B17-1DA3-472A-9B77-5E1603512E05}"/>
                  </a:ext>
                </a:extLst>
              </p:cNvPr>
              <p:cNvSpPr/>
              <p:nvPr/>
            </p:nvSpPr>
            <p:spPr>
              <a:xfrm>
                <a:off x="4159933" y="6508489"/>
                <a:ext cx="167211" cy="64984"/>
              </a:xfrm>
              <a:custGeom>
                <a:avLst/>
                <a:gdLst>
                  <a:gd name="connsiteX0" fmla="*/ 146955 w 167211"/>
                  <a:gd name="connsiteY0" fmla="*/ 64985 h 64984"/>
                  <a:gd name="connsiteX1" fmla="*/ 137677 w 167211"/>
                  <a:gd name="connsiteY1" fmla="*/ 62665 h 64984"/>
                  <a:gd name="connsiteX2" fmla="*/ 20929 w 167211"/>
                  <a:gd name="connsiteY2" fmla="*/ 39470 h 64984"/>
                  <a:gd name="connsiteX3" fmla="*/ 53 w 167211"/>
                  <a:gd name="connsiteY3" fmla="*/ 21687 h 64984"/>
                  <a:gd name="connsiteX4" fmla="*/ 17836 w 167211"/>
                  <a:gd name="connsiteY4" fmla="*/ 812 h 64984"/>
                  <a:gd name="connsiteX5" fmla="*/ 157007 w 167211"/>
                  <a:gd name="connsiteY5" fmla="*/ 28646 h 64984"/>
                  <a:gd name="connsiteX6" fmla="*/ 164738 w 167211"/>
                  <a:gd name="connsiteY6" fmla="*/ 54933 h 64984"/>
                  <a:gd name="connsiteX7" fmla="*/ 146955 w 167211"/>
                  <a:gd name="connsiteY7" fmla="*/ 64985 h 64984"/>
                  <a:gd name="connsiteX8" fmla="*/ 146955 w 167211"/>
                  <a:gd name="connsiteY8" fmla="*/ 64985 h 649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7211" h="64984">
                    <a:moveTo>
                      <a:pt x="146955" y="64985"/>
                    </a:moveTo>
                    <a:cubicBezTo>
                      <a:pt x="143863" y="64985"/>
                      <a:pt x="140770" y="64211"/>
                      <a:pt x="137677" y="62665"/>
                    </a:cubicBezTo>
                    <a:cubicBezTo>
                      <a:pt x="103658" y="44109"/>
                      <a:pt x="62680" y="35604"/>
                      <a:pt x="20929" y="39470"/>
                    </a:cubicBezTo>
                    <a:cubicBezTo>
                      <a:pt x="10105" y="40243"/>
                      <a:pt x="827" y="32511"/>
                      <a:pt x="53" y="21687"/>
                    </a:cubicBezTo>
                    <a:cubicBezTo>
                      <a:pt x="-720" y="10863"/>
                      <a:pt x="7012" y="1585"/>
                      <a:pt x="17836" y="812"/>
                    </a:cubicBezTo>
                    <a:cubicBezTo>
                      <a:pt x="67319" y="-3054"/>
                      <a:pt x="116802" y="6997"/>
                      <a:pt x="157007" y="28646"/>
                    </a:cubicBezTo>
                    <a:cubicBezTo>
                      <a:pt x="166284" y="34058"/>
                      <a:pt x="170150" y="45655"/>
                      <a:pt x="164738" y="54933"/>
                    </a:cubicBezTo>
                    <a:cubicBezTo>
                      <a:pt x="160873" y="61119"/>
                      <a:pt x="153914" y="64985"/>
                      <a:pt x="146955" y="64985"/>
                    </a:cubicBezTo>
                    <a:lnTo>
                      <a:pt x="146955" y="64985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55" name="Forma Livre: Forma 354">
                <a:extLst>
                  <a:ext uri="{FF2B5EF4-FFF2-40B4-BE49-F238E27FC236}">
                    <a16:creationId xmlns:a16="http://schemas.microsoft.com/office/drawing/2014/main" id="{8A6005E1-93F2-4A40-AC96-A607C80ABE7B}"/>
                  </a:ext>
                </a:extLst>
              </p:cNvPr>
              <p:cNvSpPr/>
              <p:nvPr/>
            </p:nvSpPr>
            <p:spPr>
              <a:xfrm>
                <a:off x="4146843" y="6327606"/>
                <a:ext cx="224218" cy="224218"/>
              </a:xfrm>
              <a:custGeom>
                <a:avLst/>
                <a:gdLst>
                  <a:gd name="connsiteX0" fmla="*/ 112109 w 224218"/>
                  <a:gd name="connsiteY0" fmla="*/ 224219 h 224218"/>
                  <a:gd name="connsiteX1" fmla="*/ 0 w 224218"/>
                  <a:gd name="connsiteY1" fmla="*/ 112109 h 224218"/>
                  <a:gd name="connsiteX2" fmla="*/ 112109 w 224218"/>
                  <a:gd name="connsiteY2" fmla="*/ 0 h 224218"/>
                  <a:gd name="connsiteX3" fmla="*/ 224219 w 224218"/>
                  <a:gd name="connsiteY3" fmla="*/ 112109 h 224218"/>
                  <a:gd name="connsiteX4" fmla="*/ 112109 w 224218"/>
                  <a:gd name="connsiteY4" fmla="*/ 224219 h 224218"/>
                  <a:gd name="connsiteX5" fmla="*/ 112109 w 224218"/>
                  <a:gd name="connsiteY5" fmla="*/ 224219 h 224218"/>
                  <a:gd name="connsiteX6" fmla="*/ 112109 w 224218"/>
                  <a:gd name="connsiteY6" fmla="*/ 40978 h 224218"/>
                  <a:gd name="connsiteX7" fmla="*/ 40978 w 224218"/>
                  <a:gd name="connsiteY7" fmla="*/ 112109 h 224218"/>
                  <a:gd name="connsiteX8" fmla="*/ 112109 w 224218"/>
                  <a:gd name="connsiteY8" fmla="*/ 183240 h 224218"/>
                  <a:gd name="connsiteX9" fmla="*/ 183240 w 224218"/>
                  <a:gd name="connsiteY9" fmla="*/ 112109 h 224218"/>
                  <a:gd name="connsiteX10" fmla="*/ 112109 w 224218"/>
                  <a:gd name="connsiteY10" fmla="*/ 40978 h 224218"/>
                  <a:gd name="connsiteX11" fmla="*/ 112109 w 224218"/>
                  <a:gd name="connsiteY11" fmla="*/ 40978 h 224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218" h="224218">
                    <a:moveTo>
                      <a:pt x="112109" y="224219"/>
                    </a:moveTo>
                    <a:cubicBezTo>
                      <a:pt x="50256" y="224219"/>
                      <a:pt x="0" y="173963"/>
                      <a:pt x="0" y="112109"/>
                    </a:cubicBezTo>
                    <a:cubicBezTo>
                      <a:pt x="0" y="50256"/>
                      <a:pt x="50256" y="0"/>
                      <a:pt x="112109" y="0"/>
                    </a:cubicBezTo>
                    <a:cubicBezTo>
                      <a:pt x="173963" y="0"/>
                      <a:pt x="224219" y="50256"/>
                      <a:pt x="224219" y="112109"/>
                    </a:cubicBezTo>
                    <a:cubicBezTo>
                      <a:pt x="224219" y="173963"/>
                      <a:pt x="173963" y="224219"/>
                      <a:pt x="112109" y="224219"/>
                    </a:cubicBezTo>
                    <a:lnTo>
                      <a:pt x="112109" y="224219"/>
                    </a:lnTo>
                    <a:close/>
                    <a:moveTo>
                      <a:pt x="112109" y="40978"/>
                    </a:moveTo>
                    <a:cubicBezTo>
                      <a:pt x="72678" y="40978"/>
                      <a:pt x="40978" y="72678"/>
                      <a:pt x="40978" y="112109"/>
                    </a:cubicBezTo>
                    <a:cubicBezTo>
                      <a:pt x="40978" y="151541"/>
                      <a:pt x="72678" y="183240"/>
                      <a:pt x="112109" y="183240"/>
                    </a:cubicBezTo>
                    <a:cubicBezTo>
                      <a:pt x="151541" y="183240"/>
                      <a:pt x="183240" y="151541"/>
                      <a:pt x="183240" y="112109"/>
                    </a:cubicBezTo>
                    <a:cubicBezTo>
                      <a:pt x="182467" y="72678"/>
                      <a:pt x="150768" y="40978"/>
                      <a:pt x="112109" y="40978"/>
                    </a:cubicBezTo>
                    <a:lnTo>
                      <a:pt x="112109" y="40978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56" name="Forma Livre: Forma 355">
                <a:extLst>
                  <a:ext uri="{FF2B5EF4-FFF2-40B4-BE49-F238E27FC236}">
                    <a16:creationId xmlns:a16="http://schemas.microsoft.com/office/drawing/2014/main" id="{C28DE249-D428-46E3-BD95-F82642214A0D}"/>
                  </a:ext>
                </a:extLst>
              </p:cNvPr>
              <p:cNvSpPr/>
              <p:nvPr/>
            </p:nvSpPr>
            <p:spPr>
              <a:xfrm>
                <a:off x="4204830" y="6385594"/>
                <a:ext cx="108243" cy="108243"/>
              </a:xfrm>
              <a:custGeom>
                <a:avLst/>
                <a:gdLst>
                  <a:gd name="connsiteX0" fmla="*/ 54122 w 108243"/>
                  <a:gd name="connsiteY0" fmla="*/ 108244 h 108243"/>
                  <a:gd name="connsiteX1" fmla="*/ 0 w 108243"/>
                  <a:gd name="connsiteY1" fmla="*/ 54122 h 108243"/>
                  <a:gd name="connsiteX2" fmla="*/ 54122 w 108243"/>
                  <a:gd name="connsiteY2" fmla="*/ 0 h 108243"/>
                  <a:gd name="connsiteX3" fmla="*/ 108244 w 108243"/>
                  <a:gd name="connsiteY3" fmla="*/ 54122 h 108243"/>
                  <a:gd name="connsiteX4" fmla="*/ 54122 w 108243"/>
                  <a:gd name="connsiteY4" fmla="*/ 108244 h 108243"/>
                  <a:gd name="connsiteX5" fmla="*/ 54122 w 108243"/>
                  <a:gd name="connsiteY5" fmla="*/ 108244 h 108243"/>
                  <a:gd name="connsiteX6" fmla="*/ 54122 w 108243"/>
                  <a:gd name="connsiteY6" fmla="*/ 20875 h 108243"/>
                  <a:gd name="connsiteX7" fmla="*/ 20875 w 108243"/>
                  <a:gd name="connsiteY7" fmla="*/ 54122 h 108243"/>
                  <a:gd name="connsiteX8" fmla="*/ 54122 w 108243"/>
                  <a:gd name="connsiteY8" fmla="*/ 87368 h 108243"/>
                  <a:gd name="connsiteX9" fmla="*/ 87368 w 108243"/>
                  <a:gd name="connsiteY9" fmla="*/ 54122 h 108243"/>
                  <a:gd name="connsiteX10" fmla="*/ 54122 w 108243"/>
                  <a:gd name="connsiteY10" fmla="*/ 20875 h 108243"/>
                  <a:gd name="connsiteX11" fmla="*/ 54122 w 108243"/>
                  <a:gd name="connsiteY11" fmla="*/ 20875 h 1082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8243" h="108243">
                    <a:moveTo>
                      <a:pt x="54122" y="108244"/>
                    </a:moveTo>
                    <a:cubicBezTo>
                      <a:pt x="24741" y="108244"/>
                      <a:pt x="0" y="84275"/>
                      <a:pt x="0" y="54122"/>
                    </a:cubicBezTo>
                    <a:cubicBezTo>
                      <a:pt x="0" y="23968"/>
                      <a:pt x="23968" y="0"/>
                      <a:pt x="54122" y="0"/>
                    </a:cubicBezTo>
                    <a:cubicBezTo>
                      <a:pt x="84275" y="0"/>
                      <a:pt x="108244" y="23968"/>
                      <a:pt x="108244" y="54122"/>
                    </a:cubicBezTo>
                    <a:cubicBezTo>
                      <a:pt x="108244" y="84275"/>
                      <a:pt x="83502" y="108244"/>
                      <a:pt x="54122" y="108244"/>
                    </a:cubicBezTo>
                    <a:lnTo>
                      <a:pt x="54122" y="108244"/>
                    </a:lnTo>
                    <a:close/>
                    <a:moveTo>
                      <a:pt x="54122" y="20875"/>
                    </a:moveTo>
                    <a:cubicBezTo>
                      <a:pt x="35566" y="20875"/>
                      <a:pt x="20875" y="35566"/>
                      <a:pt x="20875" y="54122"/>
                    </a:cubicBezTo>
                    <a:cubicBezTo>
                      <a:pt x="20875" y="72678"/>
                      <a:pt x="35566" y="87368"/>
                      <a:pt x="54122" y="87368"/>
                    </a:cubicBezTo>
                    <a:cubicBezTo>
                      <a:pt x="72678" y="87368"/>
                      <a:pt x="87368" y="72678"/>
                      <a:pt x="87368" y="54122"/>
                    </a:cubicBezTo>
                    <a:cubicBezTo>
                      <a:pt x="87368" y="35566"/>
                      <a:pt x="72678" y="20875"/>
                      <a:pt x="54122" y="20875"/>
                    </a:cubicBezTo>
                    <a:lnTo>
                      <a:pt x="54122" y="20875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57" name="Forma Livre: Forma 356">
                <a:extLst>
                  <a:ext uri="{FF2B5EF4-FFF2-40B4-BE49-F238E27FC236}">
                    <a16:creationId xmlns:a16="http://schemas.microsoft.com/office/drawing/2014/main" id="{151A3CE6-8765-4AFE-9C7F-533071987EF8}"/>
                  </a:ext>
                </a:extLst>
              </p:cNvPr>
              <p:cNvSpPr/>
              <p:nvPr/>
            </p:nvSpPr>
            <p:spPr>
              <a:xfrm>
                <a:off x="3960509" y="6468421"/>
                <a:ext cx="496373" cy="390351"/>
              </a:xfrm>
              <a:custGeom>
                <a:avLst/>
                <a:gdLst>
                  <a:gd name="connsiteX0" fmla="*/ 366482 w 496373"/>
                  <a:gd name="connsiteY0" fmla="*/ 390351 h 390351"/>
                  <a:gd name="connsiteX1" fmla="*/ 335555 w 496373"/>
                  <a:gd name="connsiteY1" fmla="*/ 390351 h 390351"/>
                  <a:gd name="connsiteX2" fmla="*/ 290711 w 496373"/>
                  <a:gd name="connsiteY2" fmla="*/ 354013 h 390351"/>
                  <a:gd name="connsiteX3" fmla="*/ 213395 w 496373"/>
                  <a:gd name="connsiteY3" fmla="*/ 355559 h 390351"/>
                  <a:gd name="connsiteX4" fmla="*/ 168551 w 496373"/>
                  <a:gd name="connsiteY4" fmla="*/ 390351 h 390351"/>
                  <a:gd name="connsiteX5" fmla="*/ 137624 w 496373"/>
                  <a:gd name="connsiteY5" fmla="*/ 390351 h 390351"/>
                  <a:gd name="connsiteX6" fmla="*/ 92007 w 496373"/>
                  <a:gd name="connsiteY6" fmla="*/ 344735 h 390351"/>
                  <a:gd name="connsiteX7" fmla="*/ 92007 w 496373"/>
                  <a:gd name="connsiteY7" fmla="*/ 303757 h 390351"/>
                  <a:gd name="connsiteX8" fmla="*/ 44071 w 496373"/>
                  <a:gd name="connsiteY8" fmla="*/ 241130 h 390351"/>
                  <a:gd name="connsiteX9" fmla="*/ 0 w 496373"/>
                  <a:gd name="connsiteY9" fmla="*/ 195513 h 390351"/>
                  <a:gd name="connsiteX10" fmla="*/ 0 w 496373"/>
                  <a:gd name="connsiteY10" fmla="*/ 164587 h 390351"/>
                  <a:gd name="connsiteX11" fmla="*/ 44071 w 496373"/>
                  <a:gd name="connsiteY11" fmla="*/ 118969 h 390351"/>
                  <a:gd name="connsiteX12" fmla="*/ 92007 w 496373"/>
                  <a:gd name="connsiteY12" fmla="*/ 56343 h 390351"/>
                  <a:gd name="connsiteX13" fmla="*/ 92007 w 496373"/>
                  <a:gd name="connsiteY13" fmla="*/ 24643 h 390351"/>
                  <a:gd name="connsiteX14" fmla="*/ 102058 w 496373"/>
                  <a:gd name="connsiteY14" fmla="*/ 7633 h 390351"/>
                  <a:gd name="connsiteX15" fmla="*/ 170870 w 496373"/>
                  <a:gd name="connsiteY15" fmla="*/ 13819 h 390351"/>
                  <a:gd name="connsiteX16" fmla="*/ 220353 w 496373"/>
                  <a:gd name="connsiteY16" fmla="*/ 3767 h 390351"/>
                  <a:gd name="connsiteX17" fmla="*/ 224219 w 496373"/>
                  <a:gd name="connsiteY17" fmla="*/ 42426 h 390351"/>
                  <a:gd name="connsiteX18" fmla="*/ 172416 w 496373"/>
                  <a:gd name="connsiteY18" fmla="*/ 54023 h 390351"/>
                  <a:gd name="connsiteX19" fmla="*/ 150768 w 496373"/>
                  <a:gd name="connsiteY19" fmla="*/ 47838 h 390351"/>
                  <a:gd name="connsiteX20" fmla="*/ 130666 w 496373"/>
                  <a:gd name="connsiteY20" fmla="*/ 38560 h 390351"/>
                  <a:gd name="connsiteX21" fmla="*/ 130666 w 496373"/>
                  <a:gd name="connsiteY21" fmla="*/ 64848 h 390351"/>
                  <a:gd name="connsiteX22" fmla="*/ 122934 w 496373"/>
                  <a:gd name="connsiteY22" fmla="*/ 80311 h 390351"/>
                  <a:gd name="connsiteX23" fmla="*/ 74997 w 496373"/>
                  <a:gd name="connsiteY23" fmla="*/ 143711 h 390351"/>
                  <a:gd name="connsiteX24" fmla="*/ 56441 w 496373"/>
                  <a:gd name="connsiteY24" fmla="*/ 156855 h 390351"/>
                  <a:gd name="connsiteX25" fmla="*/ 44844 w 496373"/>
                  <a:gd name="connsiteY25" fmla="*/ 156855 h 390351"/>
                  <a:gd name="connsiteX26" fmla="*/ 37885 w 496373"/>
                  <a:gd name="connsiteY26" fmla="*/ 163813 h 390351"/>
                  <a:gd name="connsiteX27" fmla="*/ 37885 w 496373"/>
                  <a:gd name="connsiteY27" fmla="*/ 194740 h 390351"/>
                  <a:gd name="connsiteX28" fmla="*/ 44844 w 496373"/>
                  <a:gd name="connsiteY28" fmla="*/ 201699 h 390351"/>
                  <a:gd name="connsiteX29" fmla="*/ 56441 w 496373"/>
                  <a:gd name="connsiteY29" fmla="*/ 201699 h 390351"/>
                  <a:gd name="connsiteX30" fmla="*/ 74997 w 496373"/>
                  <a:gd name="connsiteY30" fmla="*/ 214842 h 390351"/>
                  <a:gd name="connsiteX31" fmla="*/ 122934 w 496373"/>
                  <a:gd name="connsiteY31" fmla="*/ 278242 h 390351"/>
                  <a:gd name="connsiteX32" fmla="*/ 130666 w 496373"/>
                  <a:gd name="connsiteY32" fmla="*/ 293705 h 390351"/>
                  <a:gd name="connsiteX33" fmla="*/ 130666 w 496373"/>
                  <a:gd name="connsiteY33" fmla="*/ 343961 h 390351"/>
                  <a:gd name="connsiteX34" fmla="*/ 137624 w 496373"/>
                  <a:gd name="connsiteY34" fmla="*/ 350920 h 390351"/>
                  <a:gd name="connsiteX35" fmla="*/ 168551 w 496373"/>
                  <a:gd name="connsiteY35" fmla="*/ 350920 h 390351"/>
                  <a:gd name="connsiteX36" fmla="*/ 175509 w 496373"/>
                  <a:gd name="connsiteY36" fmla="*/ 343961 h 390351"/>
                  <a:gd name="connsiteX37" fmla="*/ 175509 w 496373"/>
                  <a:gd name="connsiteY37" fmla="*/ 331591 h 390351"/>
                  <a:gd name="connsiteX38" fmla="*/ 182468 w 496373"/>
                  <a:gd name="connsiteY38" fmla="*/ 316127 h 390351"/>
                  <a:gd name="connsiteX39" fmla="*/ 198704 w 496373"/>
                  <a:gd name="connsiteY39" fmla="*/ 312261 h 390351"/>
                  <a:gd name="connsiteX40" fmla="*/ 303855 w 496373"/>
                  <a:gd name="connsiteY40" fmla="*/ 310715 h 390351"/>
                  <a:gd name="connsiteX41" fmla="*/ 320865 w 496373"/>
                  <a:gd name="connsiteY41" fmla="*/ 313808 h 390351"/>
                  <a:gd name="connsiteX42" fmla="*/ 328596 w 496373"/>
                  <a:gd name="connsiteY42" fmla="*/ 329271 h 390351"/>
                  <a:gd name="connsiteX43" fmla="*/ 328596 w 496373"/>
                  <a:gd name="connsiteY43" fmla="*/ 343961 h 390351"/>
                  <a:gd name="connsiteX44" fmla="*/ 335555 w 496373"/>
                  <a:gd name="connsiteY44" fmla="*/ 350920 h 390351"/>
                  <a:gd name="connsiteX45" fmla="*/ 366482 w 496373"/>
                  <a:gd name="connsiteY45" fmla="*/ 350920 h 390351"/>
                  <a:gd name="connsiteX46" fmla="*/ 373440 w 496373"/>
                  <a:gd name="connsiteY46" fmla="*/ 343961 h 390351"/>
                  <a:gd name="connsiteX47" fmla="*/ 373440 w 496373"/>
                  <a:gd name="connsiteY47" fmla="*/ 286747 h 390351"/>
                  <a:gd name="connsiteX48" fmla="*/ 380399 w 496373"/>
                  <a:gd name="connsiteY48" fmla="*/ 272057 h 390351"/>
                  <a:gd name="connsiteX49" fmla="*/ 426016 w 496373"/>
                  <a:gd name="connsiteY49" fmla="*/ 179276 h 390351"/>
                  <a:gd name="connsiteX50" fmla="*/ 429882 w 496373"/>
                  <a:gd name="connsiteY50" fmla="*/ 166132 h 390351"/>
                  <a:gd name="connsiteX51" fmla="*/ 422923 w 496373"/>
                  <a:gd name="connsiteY51" fmla="*/ 155308 h 390351"/>
                  <a:gd name="connsiteX52" fmla="*/ 342513 w 496373"/>
                  <a:gd name="connsiteY52" fmla="*/ 62528 h 390351"/>
                  <a:gd name="connsiteX53" fmla="*/ 359523 w 496373"/>
                  <a:gd name="connsiteY53" fmla="*/ 27736 h 390351"/>
                  <a:gd name="connsiteX54" fmla="*/ 444572 w 496373"/>
                  <a:gd name="connsiteY54" fmla="*/ 106599 h 390351"/>
                  <a:gd name="connsiteX55" fmla="*/ 455396 w 496373"/>
                  <a:gd name="connsiteY55" fmla="*/ 88816 h 390351"/>
                  <a:gd name="connsiteX56" fmla="*/ 478591 w 496373"/>
                  <a:gd name="connsiteY56" fmla="*/ 92682 h 390351"/>
                  <a:gd name="connsiteX57" fmla="*/ 496374 w 496373"/>
                  <a:gd name="connsiteY57" fmla="*/ 136752 h 390351"/>
                  <a:gd name="connsiteX58" fmla="*/ 463901 w 496373"/>
                  <a:gd name="connsiteY58" fmla="*/ 192420 h 390351"/>
                  <a:gd name="connsiteX59" fmla="*/ 412098 w 496373"/>
                  <a:gd name="connsiteY59" fmla="*/ 296798 h 390351"/>
                  <a:gd name="connsiteX60" fmla="*/ 412098 w 496373"/>
                  <a:gd name="connsiteY60" fmla="*/ 345508 h 390351"/>
                  <a:gd name="connsiteX61" fmla="*/ 366482 w 496373"/>
                  <a:gd name="connsiteY61" fmla="*/ 390351 h 390351"/>
                  <a:gd name="connsiteX62" fmla="*/ 366482 w 496373"/>
                  <a:gd name="connsiteY62" fmla="*/ 390351 h 390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</a:cxnLst>
                <a:rect l="l" t="t" r="r" b="b"/>
                <a:pathLst>
                  <a:path w="496373" h="390351">
                    <a:moveTo>
                      <a:pt x="366482" y="390351"/>
                    </a:moveTo>
                    <a:lnTo>
                      <a:pt x="335555" y="390351"/>
                    </a:lnTo>
                    <a:cubicBezTo>
                      <a:pt x="313133" y="390351"/>
                      <a:pt x="295350" y="374888"/>
                      <a:pt x="290711" y="354013"/>
                    </a:cubicBezTo>
                    <a:cubicBezTo>
                      <a:pt x="265197" y="357879"/>
                      <a:pt x="238909" y="358652"/>
                      <a:pt x="213395" y="355559"/>
                    </a:cubicBezTo>
                    <a:cubicBezTo>
                      <a:pt x="208755" y="375661"/>
                      <a:pt x="190200" y="390351"/>
                      <a:pt x="168551" y="390351"/>
                    </a:cubicBezTo>
                    <a:lnTo>
                      <a:pt x="137624" y="390351"/>
                    </a:lnTo>
                    <a:cubicBezTo>
                      <a:pt x="112109" y="390351"/>
                      <a:pt x="92007" y="369476"/>
                      <a:pt x="92007" y="344735"/>
                    </a:cubicBezTo>
                    <a:lnTo>
                      <a:pt x="92007" y="303757"/>
                    </a:lnTo>
                    <a:cubicBezTo>
                      <a:pt x="70358" y="285974"/>
                      <a:pt x="54122" y="264325"/>
                      <a:pt x="44071" y="241130"/>
                    </a:cubicBezTo>
                    <a:cubicBezTo>
                      <a:pt x="19329" y="240357"/>
                      <a:pt x="0" y="220254"/>
                      <a:pt x="0" y="195513"/>
                    </a:cubicBezTo>
                    <a:lnTo>
                      <a:pt x="0" y="164587"/>
                    </a:lnTo>
                    <a:cubicBezTo>
                      <a:pt x="0" y="139845"/>
                      <a:pt x="19329" y="119742"/>
                      <a:pt x="44071" y="118969"/>
                    </a:cubicBezTo>
                    <a:cubicBezTo>
                      <a:pt x="54895" y="95774"/>
                      <a:pt x="71132" y="74126"/>
                      <a:pt x="92007" y="56343"/>
                    </a:cubicBezTo>
                    <a:lnTo>
                      <a:pt x="92007" y="24643"/>
                    </a:lnTo>
                    <a:cubicBezTo>
                      <a:pt x="92007" y="17685"/>
                      <a:pt x="95873" y="10726"/>
                      <a:pt x="102058" y="7633"/>
                    </a:cubicBezTo>
                    <a:cubicBezTo>
                      <a:pt x="125253" y="-4737"/>
                      <a:pt x="152314" y="-1645"/>
                      <a:pt x="170870" y="13819"/>
                    </a:cubicBezTo>
                    <a:cubicBezTo>
                      <a:pt x="187107" y="9179"/>
                      <a:pt x="203343" y="5314"/>
                      <a:pt x="220353" y="3767"/>
                    </a:cubicBezTo>
                    <a:lnTo>
                      <a:pt x="224219" y="42426"/>
                    </a:lnTo>
                    <a:cubicBezTo>
                      <a:pt x="205663" y="43972"/>
                      <a:pt x="188653" y="47838"/>
                      <a:pt x="172416" y="54023"/>
                    </a:cubicBezTo>
                    <a:cubicBezTo>
                      <a:pt x="164685" y="57116"/>
                      <a:pt x="155407" y="54023"/>
                      <a:pt x="150768" y="47838"/>
                    </a:cubicBezTo>
                    <a:cubicBezTo>
                      <a:pt x="146129" y="41653"/>
                      <a:pt x="137624" y="37787"/>
                      <a:pt x="130666" y="38560"/>
                    </a:cubicBezTo>
                    <a:lnTo>
                      <a:pt x="130666" y="64848"/>
                    </a:lnTo>
                    <a:cubicBezTo>
                      <a:pt x="130666" y="71033"/>
                      <a:pt x="127573" y="76445"/>
                      <a:pt x="122934" y="80311"/>
                    </a:cubicBezTo>
                    <a:cubicBezTo>
                      <a:pt x="99739" y="98094"/>
                      <a:pt x="83502" y="119742"/>
                      <a:pt x="74997" y="143711"/>
                    </a:cubicBezTo>
                    <a:cubicBezTo>
                      <a:pt x="72678" y="151443"/>
                      <a:pt x="64946" y="156855"/>
                      <a:pt x="56441" y="156855"/>
                    </a:cubicBezTo>
                    <a:lnTo>
                      <a:pt x="44844" y="156855"/>
                    </a:lnTo>
                    <a:cubicBezTo>
                      <a:pt x="40978" y="156855"/>
                      <a:pt x="37885" y="159947"/>
                      <a:pt x="37885" y="163813"/>
                    </a:cubicBezTo>
                    <a:lnTo>
                      <a:pt x="37885" y="194740"/>
                    </a:lnTo>
                    <a:cubicBezTo>
                      <a:pt x="37885" y="198606"/>
                      <a:pt x="40978" y="201699"/>
                      <a:pt x="44844" y="201699"/>
                    </a:cubicBezTo>
                    <a:lnTo>
                      <a:pt x="56441" y="201699"/>
                    </a:lnTo>
                    <a:cubicBezTo>
                      <a:pt x="64946" y="201699"/>
                      <a:pt x="71905" y="207111"/>
                      <a:pt x="74997" y="214842"/>
                    </a:cubicBezTo>
                    <a:cubicBezTo>
                      <a:pt x="83502" y="238810"/>
                      <a:pt x="99739" y="260459"/>
                      <a:pt x="122934" y="278242"/>
                    </a:cubicBezTo>
                    <a:cubicBezTo>
                      <a:pt x="127573" y="282108"/>
                      <a:pt x="130666" y="287520"/>
                      <a:pt x="130666" y="293705"/>
                    </a:cubicBezTo>
                    <a:lnTo>
                      <a:pt x="130666" y="343961"/>
                    </a:lnTo>
                    <a:cubicBezTo>
                      <a:pt x="130666" y="347827"/>
                      <a:pt x="133758" y="350920"/>
                      <a:pt x="137624" y="350920"/>
                    </a:cubicBezTo>
                    <a:lnTo>
                      <a:pt x="168551" y="350920"/>
                    </a:lnTo>
                    <a:cubicBezTo>
                      <a:pt x="172416" y="350920"/>
                      <a:pt x="175509" y="347827"/>
                      <a:pt x="175509" y="343961"/>
                    </a:cubicBezTo>
                    <a:lnTo>
                      <a:pt x="175509" y="331591"/>
                    </a:lnTo>
                    <a:cubicBezTo>
                      <a:pt x="175509" y="325405"/>
                      <a:pt x="177829" y="319993"/>
                      <a:pt x="182468" y="316127"/>
                    </a:cubicBezTo>
                    <a:cubicBezTo>
                      <a:pt x="187107" y="312261"/>
                      <a:pt x="193292" y="310715"/>
                      <a:pt x="198704" y="312261"/>
                    </a:cubicBezTo>
                    <a:cubicBezTo>
                      <a:pt x="233497" y="319993"/>
                      <a:pt x="269836" y="319220"/>
                      <a:pt x="303855" y="310715"/>
                    </a:cubicBezTo>
                    <a:cubicBezTo>
                      <a:pt x="310041" y="309169"/>
                      <a:pt x="316226" y="310715"/>
                      <a:pt x="320865" y="313808"/>
                    </a:cubicBezTo>
                    <a:cubicBezTo>
                      <a:pt x="325504" y="317674"/>
                      <a:pt x="328596" y="323086"/>
                      <a:pt x="328596" y="329271"/>
                    </a:cubicBezTo>
                    <a:lnTo>
                      <a:pt x="328596" y="343961"/>
                    </a:lnTo>
                    <a:cubicBezTo>
                      <a:pt x="328596" y="347827"/>
                      <a:pt x="331689" y="350920"/>
                      <a:pt x="335555" y="350920"/>
                    </a:cubicBezTo>
                    <a:lnTo>
                      <a:pt x="366482" y="350920"/>
                    </a:lnTo>
                    <a:cubicBezTo>
                      <a:pt x="370348" y="350920"/>
                      <a:pt x="373440" y="347827"/>
                      <a:pt x="373440" y="343961"/>
                    </a:cubicBezTo>
                    <a:lnTo>
                      <a:pt x="373440" y="286747"/>
                    </a:lnTo>
                    <a:cubicBezTo>
                      <a:pt x="373440" y="281335"/>
                      <a:pt x="375760" y="275922"/>
                      <a:pt x="380399" y="272057"/>
                    </a:cubicBezTo>
                    <a:cubicBezTo>
                      <a:pt x="409779" y="246542"/>
                      <a:pt x="426016" y="213296"/>
                      <a:pt x="426016" y="179276"/>
                    </a:cubicBezTo>
                    <a:cubicBezTo>
                      <a:pt x="426016" y="174638"/>
                      <a:pt x="427562" y="169998"/>
                      <a:pt x="429882" y="166132"/>
                    </a:cubicBezTo>
                    <a:cubicBezTo>
                      <a:pt x="426789" y="163040"/>
                      <a:pt x="423696" y="159174"/>
                      <a:pt x="422923" y="155308"/>
                    </a:cubicBezTo>
                    <a:cubicBezTo>
                      <a:pt x="414418" y="117423"/>
                      <a:pt x="385038" y="83404"/>
                      <a:pt x="342513" y="62528"/>
                    </a:cubicBezTo>
                    <a:lnTo>
                      <a:pt x="359523" y="27736"/>
                    </a:lnTo>
                    <a:cubicBezTo>
                      <a:pt x="397409" y="46291"/>
                      <a:pt x="426789" y="74126"/>
                      <a:pt x="444572" y="106599"/>
                    </a:cubicBezTo>
                    <a:cubicBezTo>
                      <a:pt x="444572" y="98867"/>
                      <a:pt x="448437" y="91909"/>
                      <a:pt x="455396" y="88816"/>
                    </a:cubicBezTo>
                    <a:cubicBezTo>
                      <a:pt x="463128" y="84950"/>
                      <a:pt x="472406" y="86496"/>
                      <a:pt x="478591" y="92682"/>
                    </a:cubicBezTo>
                    <a:cubicBezTo>
                      <a:pt x="490189" y="104279"/>
                      <a:pt x="496374" y="120516"/>
                      <a:pt x="496374" y="136752"/>
                    </a:cubicBezTo>
                    <a:cubicBezTo>
                      <a:pt x="496374" y="159947"/>
                      <a:pt x="483230" y="180823"/>
                      <a:pt x="463901" y="192420"/>
                    </a:cubicBezTo>
                    <a:cubicBezTo>
                      <a:pt x="460808" y="231852"/>
                      <a:pt x="442252" y="267418"/>
                      <a:pt x="412098" y="296798"/>
                    </a:cubicBezTo>
                    <a:lnTo>
                      <a:pt x="412098" y="345508"/>
                    </a:lnTo>
                    <a:cubicBezTo>
                      <a:pt x="412098" y="369476"/>
                      <a:pt x="391223" y="390351"/>
                      <a:pt x="366482" y="390351"/>
                    </a:cubicBezTo>
                    <a:lnTo>
                      <a:pt x="366482" y="390351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358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5402542" y="5630909"/>
              <a:ext cx="388385" cy="387772"/>
              <a:chOff x="5220773" y="6348482"/>
              <a:chExt cx="490188" cy="489415"/>
            </a:xfrm>
            <a:solidFill>
              <a:srgbClr val="B1B1A1"/>
            </a:solidFill>
          </p:grpSpPr>
          <p:sp>
            <p:nvSpPr>
              <p:cNvPr id="359" name="Forma Livre: Forma 358">
                <a:extLst>
                  <a:ext uri="{FF2B5EF4-FFF2-40B4-BE49-F238E27FC236}">
                    <a16:creationId xmlns:a16="http://schemas.microsoft.com/office/drawing/2014/main" id="{4538F95B-0635-4D65-BC9F-716BE9105A24}"/>
                  </a:ext>
                </a:extLst>
              </p:cNvPr>
              <p:cNvSpPr/>
              <p:nvPr/>
            </p:nvSpPr>
            <p:spPr>
              <a:xfrm>
                <a:off x="5220773" y="6348482"/>
                <a:ext cx="490188" cy="489415"/>
              </a:xfrm>
              <a:custGeom>
                <a:avLst/>
                <a:gdLst>
                  <a:gd name="connsiteX0" fmla="*/ 468540 w 490188"/>
                  <a:gd name="connsiteY0" fmla="*/ 489416 h 489415"/>
                  <a:gd name="connsiteX1" fmla="*/ 20876 w 490188"/>
                  <a:gd name="connsiteY1" fmla="*/ 489416 h 489415"/>
                  <a:gd name="connsiteX2" fmla="*/ 0 w 490188"/>
                  <a:gd name="connsiteY2" fmla="*/ 468540 h 489415"/>
                  <a:gd name="connsiteX3" fmla="*/ 0 w 490188"/>
                  <a:gd name="connsiteY3" fmla="*/ 20876 h 489415"/>
                  <a:gd name="connsiteX4" fmla="*/ 20876 w 490188"/>
                  <a:gd name="connsiteY4" fmla="*/ 0 h 489415"/>
                  <a:gd name="connsiteX5" fmla="*/ 41751 w 490188"/>
                  <a:gd name="connsiteY5" fmla="*/ 20876 h 489415"/>
                  <a:gd name="connsiteX6" fmla="*/ 41751 w 490188"/>
                  <a:gd name="connsiteY6" fmla="*/ 448437 h 489415"/>
                  <a:gd name="connsiteX7" fmla="*/ 469313 w 490188"/>
                  <a:gd name="connsiteY7" fmla="*/ 448437 h 489415"/>
                  <a:gd name="connsiteX8" fmla="*/ 490189 w 490188"/>
                  <a:gd name="connsiteY8" fmla="*/ 469313 h 489415"/>
                  <a:gd name="connsiteX9" fmla="*/ 468540 w 490188"/>
                  <a:gd name="connsiteY9" fmla="*/ 489416 h 489415"/>
                  <a:gd name="connsiteX10" fmla="*/ 468540 w 490188"/>
                  <a:gd name="connsiteY10" fmla="*/ 489416 h 489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90188" h="489415">
                    <a:moveTo>
                      <a:pt x="468540" y="489416"/>
                    </a:moveTo>
                    <a:lnTo>
                      <a:pt x="20876" y="489416"/>
                    </a:lnTo>
                    <a:cubicBezTo>
                      <a:pt x="9278" y="489416"/>
                      <a:pt x="0" y="480138"/>
                      <a:pt x="0" y="468540"/>
                    </a:cubicBezTo>
                    <a:lnTo>
                      <a:pt x="0" y="20876"/>
                    </a:lnTo>
                    <a:cubicBezTo>
                      <a:pt x="0" y="9278"/>
                      <a:pt x="9278" y="0"/>
                      <a:pt x="20876" y="0"/>
                    </a:cubicBezTo>
                    <a:cubicBezTo>
                      <a:pt x="32473" y="0"/>
                      <a:pt x="41751" y="9278"/>
                      <a:pt x="41751" y="20876"/>
                    </a:cubicBezTo>
                    <a:lnTo>
                      <a:pt x="41751" y="448437"/>
                    </a:lnTo>
                    <a:lnTo>
                      <a:pt x="469313" y="448437"/>
                    </a:lnTo>
                    <a:cubicBezTo>
                      <a:pt x="480911" y="448437"/>
                      <a:pt x="490189" y="457716"/>
                      <a:pt x="490189" y="469313"/>
                    </a:cubicBezTo>
                    <a:cubicBezTo>
                      <a:pt x="489415" y="480138"/>
                      <a:pt x="480138" y="489416"/>
                      <a:pt x="468540" y="489416"/>
                    </a:cubicBezTo>
                    <a:lnTo>
                      <a:pt x="468540" y="489416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grpSp>
            <p:nvGrpSpPr>
              <p:cNvPr id="360" name="Gráfico 2">
                <a:extLst>
                  <a:ext uri="{FF2B5EF4-FFF2-40B4-BE49-F238E27FC236}">
                    <a16:creationId xmlns:a16="http://schemas.microsoft.com/office/drawing/2014/main" id="{6FEF66BF-8D1E-4FFA-95A2-6EE56886837B}"/>
                  </a:ext>
                </a:extLst>
              </p:cNvPr>
              <p:cNvGrpSpPr/>
              <p:nvPr/>
            </p:nvGrpSpPr>
            <p:grpSpPr>
              <a:xfrm>
                <a:off x="5228145" y="6348482"/>
                <a:ext cx="481314" cy="481684"/>
                <a:chOff x="5228145" y="6348482"/>
                <a:chExt cx="481314" cy="481684"/>
              </a:xfrm>
              <a:grpFill/>
            </p:grpSpPr>
            <p:sp>
              <p:nvSpPr>
                <p:cNvPr id="361" name="Forma Livre: Forma 360">
                  <a:extLst>
                    <a:ext uri="{FF2B5EF4-FFF2-40B4-BE49-F238E27FC236}">
                      <a16:creationId xmlns:a16="http://schemas.microsoft.com/office/drawing/2014/main" id="{47FDA69E-ABB6-497A-AC6D-52A24D853F3C}"/>
                    </a:ext>
                  </a:extLst>
                </p:cNvPr>
                <p:cNvSpPr/>
                <p:nvPr/>
              </p:nvSpPr>
              <p:spPr>
                <a:xfrm>
                  <a:off x="5228145" y="6352828"/>
                  <a:ext cx="480016" cy="477338"/>
                </a:xfrm>
                <a:custGeom>
                  <a:avLst/>
                  <a:gdLst>
                    <a:gd name="connsiteX0" fmla="*/ 20462 w 480016"/>
                    <a:gd name="connsiteY0" fmla="*/ 477338 h 477338"/>
                    <a:gd name="connsiteX1" fmla="*/ 8864 w 480016"/>
                    <a:gd name="connsiteY1" fmla="*/ 474245 h 477338"/>
                    <a:gd name="connsiteX2" fmla="*/ 3452 w 480016"/>
                    <a:gd name="connsiteY2" fmla="*/ 445638 h 477338"/>
                    <a:gd name="connsiteX3" fmla="*/ 110922 w 480016"/>
                    <a:gd name="connsiteY3" fmla="*/ 284819 h 477338"/>
                    <a:gd name="connsiteX4" fmla="*/ 137210 w 480016"/>
                    <a:gd name="connsiteY4" fmla="*/ 277860 h 477338"/>
                    <a:gd name="connsiteX5" fmla="*/ 172776 w 480016"/>
                    <a:gd name="connsiteY5" fmla="*/ 295644 h 477338"/>
                    <a:gd name="connsiteX6" fmla="*/ 239268 w 480016"/>
                    <a:gd name="connsiteY6" fmla="*/ 141010 h 477338"/>
                    <a:gd name="connsiteX7" fmla="*/ 264783 w 480016"/>
                    <a:gd name="connsiteY7" fmla="*/ 129412 h 477338"/>
                    <a:gd name="connsiteX8" fmla="*/ 304214 w 480016"/>
                    <a:gd name="connsiteY8" fmla="*/ 142556 h 477338"/>
                    <a:gd name="connsiteX9" fmla="*/ 444931 w 480016"/>
                    <a:gd name="connsiteY9" fmla="*/ 5706 h 477338"/>
                    <a:gd name="connsiteX10" fmla="*/ 474311 w 480016"/>
                    <a:gd name="connsiteY10" fmla="*/ 6479 h 477338"/>
                    <a:gd name="connsiteX11" fmla="*/ 473538 w 480016"/>
                    <a:gd name="connsiteY11" fmla="*/ 35859 h 477338"/>
                    <a:gd name="connsiteX12" fmla="*/ 324317 w 480016"/>
                    <a:gd name="connsiteY12" fmla="*/ 181214 h 477338"/>
                    <a:gd name="connsiteX13" fmla="*/ 303441 w 480016"/>
                    <a:gd name="connsiteY13" fmla="*/ 185854 h 477338"/>
                    <a:gd name="connsiteX14" fmla="*/ 270195 w 480016"/>
                    <a:gd name="connsiteY14" fmla="*/ 175029 h 477338"/>
                    <a:gd name="connsiteX15" fmla="*/ 202156 w 480016"/>
                    <a:gd name="connsiteY15" fmla="*/ 331982 h 477338"/>
                    <a:gd name="connsiteX16" fmla="*/ 190559 w 480016"/>
                    <a:gd name="connsiteY16" fmla="*/ 342807 h 477338"/>
                    <a:gd name="connsiteX17" fmla="*/ 174322 w 480016"/>
                    <a:gd name="connsiteY17" fmla="*/ 342034 h 477338"/>
                    <a:gd name="connsiteX18" fmla="*/ 135664 w 480016"/>
                    <a:gd name="connsiteY18" fmla="*/ 322704 h 477338"/>
                    <a:gd name="connsiteX19" fmla="*/ 38245 w 480016"/>
                    <a:gd name="connsiteY19" fmla="*/ 468060 h 477338"/>
                    <a:gd name="connsiteX20" fmla="*/ 20462 w 480016"/>
                    <a:gd name="connsiteY20" fmla="*/ 477338 h 477338"/>
                    <a:gd name="connsiteX21" fmla="*/ 20462 w 480016"/>
                    <a:gd name="connsiteY21" fmla="*/ 477338 h 4773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480016" h="477338">
                      <a:moveTo>
                        <a:pt x="20462" y="477338"/>
                      </a:moveTo>
                      <a:cubicBezTo>
                        <a:pt x="16596" y="477338"/>
                        <a:pt x="12730" y="476565"/>
                        <a:pt x="8864" y="474245"/>
                      </a:cubicBezTo>
                      <a:cubicBezTo>
                        <a:pt x="-414" y="468060"/>
                        <a:pt x="-2733" y="454916"/>
                        <a:pt x="3452" y="445638"/>
                      </a:cubicBezTo>
                      <a:lnTo>
                        <a:pt x="110922" y="284819"/>
                      </a:lnTo>
                      <a:cubicBezTo>
                        <a:pt x="116334" y="276314"/>
                        <a:pt x="127932" y="273222"/>
                        <a:pt x="137210" y="277860"/>
                      </a:cubicBezTo>
                      <a:lnTo>
                        <a:pt x="172776" y="295644"/>
                      </a:lnTo>
                      <a:lnTo>
                        <a:pt x="239268" y="141010"/>
                      </a:lnTo>
                      <a:cubicBezTo>
                        <a:pt x="243134" y="130958"/>
                        <a:pt x="254732" y="126320"/>
                        <a:pt x="264783" y="129412"/>
                      </a:cubicBezTo>
                      <a:lnTo>
                        <a:pt x="304214" y="142556"/>
                      </a:lnTo>
                      <a:lnTo>
                        <a:pt x="444931" y="5706"/>
                      </a:lnTo>
                      <a:cubicBezTo>
                        <a:pt x="453436" y="-2026"/>
                        <a:pt x="465806" y="-2026"/>
                        <a:pt x="474311" y="6479"/>
                      </a:cubicBezTo>
                      <a:cubicBezTo>
                        <a:pt x="482043" y="14983"/>
                        <a:pt x="482043" y="27354"/>
                        <a:pt x="473538" y="35859"/>
                      </a:cubicBezTo>
                      <a:lnTo>
                        <a:pt x="324317" y="181214"/>
                      </a:lnTo>
                      <a:cubicBezTo>
                        <a:pt x="318905" y="186627"/>
                        <a:pt x="311173" y="188173"/>
                        <a:pt x="303441" y="185854"/>
                      </a:cubicBezTo>
                      <a:lnTo>
                        <a:pt x="270195" y="175029"/>
                      </a:lnTo>
                      <a:lnTo>
                        <a:pt x="202156" y="331982"/>
                      </a:lnTo>
                      <a:cubicBezTo>
                        <a:pt x="199836" y="337394"/>
                        <a:pt x="195971" y="341260"/>
                        <a:pt x="190559" y="342807"/>
                      </a:cubicBezTo>
                      <a:cubicBezTo>
                        <a:pt x="185147" y="344353"/>
                        <a:pt x="179734" y="344353"/>
                        <a:pt x="174322" y="342034"/>
                      </a:cubicBezTo>
                      <a:lnTo>
                        <a:pt x="135664" y="322704"/>
                      </a:lnTo>
                      <a:lnTo>
                        <a:pt x="38245" y="468060"/>
                      </a:lnTo>
                      <a:cubicBezTo>
                        <a:pt x="33605" y="474245"/>
                        <a:pt x="26647" y="477338"/>
                        <a:pt x="20462" y="477338"/>
                      </a:cubicBezTo>
                      <a:lnTo>
                        <a:pt x="20462" y="477338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362" name="Forma Livre: Forma 361">
                  <a:extLst>
                    <a:ext uri="{FF2B5EF4-FFF2-40B4-BE49-F238E27FC236}">
                      <a16:creationId xmlns:a16="http://schemas.microsoft.com/office/drawing/2014/main" id="{9285A1BB-1A0D-4351-A38D-5E47CFCFD6C8}"/>
                    </a:ext>
                  </a:extLst>
                </p:cNvPr>
                <p:cNvSpPr/>
                <p:nvPr/>
              </p:nvSpPr>
              <p:spPr>
                <a:xfrm>
                  <a:off x="5519989" y="6348482"/>
                  <a:ext cx="189471" cy="190199"/>
                </a:xfrm>
                <a:custGeom>
                  <a:avLst/>
                  <a:gdLst>
                    <a:gd name="connsiteX0" fmla="*/ 169324 w 189471"/>
                    <a:gd name="connsiteY0" fmla="*/ 190200 h 190199"/>
                    <a:gd name="connsiteX1" fmla="*/ 148448 w 189471"/>
                    <a:gd name="connsiteY1" fmla="*/ 169324 h 190199"/>
                    <a:gd name="connsiteX2" fmla="*/ 148448 w 189471"/>
                    <a:gd name="connsiteY2" fmla="*/ 41751 h 190199"/>
                    <a:gd name="connsiteX3" fmla="*/ 20876 w 189471"/>
                    <a:gd name="connsiteY3" fmla="*/ 41751 h 190199"/>
                    <a:gd name="connsiteX4" fmla="*/ 0 w 189471"/>
                    <a:gd name="connsiteY4" fmla="*/ 20876 h 190199"/>
                    <a:gd name="connsiteX5" fmla="*/ 20876 w 189471"/>
                    <a:gd name="connsiteY5" fmla="*/ 0 h 190199"/>
                    <a:gd name="connsiteX6" fmla="*/ 168551 w 189471"/>
                    <a:gd name="connsiteY6" fmla="*/ 0 h 190199"/>
                    <a:gd name="connsiteX7" fmla="*/ 189426 w 189471"/>
                    <a:gd name="connsiteY7" fmla="*/ 20876 h 190199"/>
                    <a:gd name="connsiteX8" fmla="*/ 189426 w 189471"/>
                    <a:gd name="connsiteY8" fmla="*/ 169324 h 190199"/>
                    <a:gd name="connsiteX9" fmla="*/ 169324 w 189471"/>
                    <a:gd name="connsiteY9" fmla="*/ 190200 h 190199"/>
                    <a:gd name="connsiteX10" fmla="*/ 169324 w 189471"/>
                    <a:gd name="connsiteY10" fmla="*/ 190200 h 190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89471" h="190199">
                      <a:moveTo>
                        <a:pt x="169324" y="190200"/>
                      </a:moveTo>
                      <a:cubicBezTo>
                        <a:pt x="157726" y="190200"/>
                        <a:pt x="148448" y="180922"/>
                        <a:pt x="148448" y="169324"/>
                      </a:cubicBezTo>
                      <a:lnTo>
                        <a:pt x="148448" y="41751"/>
                      </a:lnTo>
                      <a:lnTo>
                        <a:pt x="20876" y="41751"/>
                      </a:lnTo>
                      <a:cubicBezTo>
                        <a:pt x="9278" y="41751"/>
                        <a:pt x="0" y="32473"/>
                        <a:pt x="0" y="20876"/>
                      </a:cubicBezTo>
                      <a:cubicBezTo>
                        <a:pt x="0" y="9278"/>
                        <a:pt x="9278" y="0"/>
                        <a:pt x="20876" y="0"/>
                      </a:cubicBezTo>
                      <a:lnTo>
                        <a:pt x="168551" y="0"/>
                      </a:lnTo>
                      <a:cubicBezTo>
                        <a:pt x="180148" y="0"/>
                        <a:pt x="189426" y="9278"/>
                        <a:pt x="189426" y="20876"/>
                      </a:cubicBezTo>
                      <a:lnTo>
                        <a:pt x="189426" y="169324"/>
                      </a:lnTo>
                      <a:cubicBezTo>
                        <a:pt x="190199" y="180922"/>
                        <a:pt x="180922" y="190200"/>
                        <a:pt x="169324" y="190200"/>
                      </a:cubicBezTo>
                      <a:lnTo>
                        <a:pt x="169324" y="190200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grpSp>
            <p:nvGrpSpPr>
              <p:cNvPr id="363" name="Gráfico 2">
                <a:extLst>
                  <a:ext uri="{FF2B5EF4-FFF2-40B4-BE49-F238E27FC236}">
                    <a16:creationId xmlns:a16="http://schemas.microsoft.com/office/drawing/2014/main" id="{6FEF66BF-8D1E-4FFA-95A2-6EE56886837B}"/>
                  </a:ext>
                </a:extLst>
              </p:cNvPr>
              <p:cNvGrpSpPr/>
              <p:nvPr/>
            </p:nvGrpSpPr>
            <p:grpSpPr>
              <a:xfrm>
                <a:off x="5318965" y="6762900"/>
                <a:ext cx="370347" cy="64172"/>
                <a:chOff x="5318965" y="6762900"/>
                <a:chExt cx="370347" cy="64172"/>
              </a:xfrm>
              <a:grpFill/>
            </p:grpSpPr>
            <p:sp>
              <p:nvSpPr>
                <p:cNvPr id="364" name="Forma Livre: Forma 363">
                  <a:extLst>
                    <a:ext uri="{FF2B5EF4-FFF2-40B4-BE49-F238E27FC236}">
                      <a16:creationId xmlns:a16="http://schemas.microsoft.com/office/drawing/2014/main" id="{AF7B76CD-1377-45E4-AFB9-41155AFAB1E5}"/>
                    </a:ext>
                  </a:extLst>
                </p:cNvPr>
                <p:cNvSpPr/>
                <p:nvPr/>
              </p:nvSpPr>
              <p:spPr>
                <a:xfrm>
                  <a:off x="5318965" y="6762900"/>
                  <a:ext cx="20102" cy="64172"/>
                </a:xfrm>
                <a:custGeom>
                  <a:avLst/>
                  <a:gdLst>
                    <a:gd name="connsiteX0" fmla="*/ 10051 w 20102"/>
                    <a:gd name="connsiteY0" fmla="*/ 64173 h 64172"/>
                    <a:gd name="connsiteX1" fmla="*/ 0 w 20102"/>
                    <a:gd name="connsiteY1" fmla="*/ 54122 h 64172"/>
                    <a:gd name="connsiteX2" fmla="*/ 0 w 20102"/>
                    <a:gd name="connsiteY2" fmla="*/ 10051 h 64172"/>
                    <a:gd name="connsiteX3" fmla="*/ 10051 w 20102"/>
                    <a:gd name="connsiteY3" fmla="*/ 0 h 64172"/>
                    <a:gd name="connsiteX4" fmla="*/ 20102 w 20102"/>
                    <a:gd name="connsiteY4" fmla="*/ 10051 h 64172"/>
                    <a:gd name="connsiteX5" fmla="*/ 20102 w 20102"/>
                    <a:gd name="connsiteY5" fmla="*/ 54122 h 64172"/>
                    <a:gd name="connsiteX6" fmla="*/ 10051 w 20102"/>
                    <a:gd name="connsiteY6" fmla="*/ 64173 h 64172"/>
                    <a:gd name="connsiteX7" fmla="*/ 10051 w 20102"/>
                    <a:gd name="connsiteY7" fmla="*/ 64173 h 641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0102" h="64172">
                      <a:moveTo>
                        <a:pt x="10051" y="64173"/>
                      </a:moveTo>
                      <a:cubicBezTo>
                        <a:pt x="4639" y="64173"/>
                        <a:pt x="0" y="59534"/>
                        <a:pt x="0" y="54122"/>
                      </a:cubicBezTo>
                      <a:lnTo>
                        <a:pt x="0" y="10051"/>
                      </a:lnTo>
                      <a:cubicBezTo>
                        <a:pt x="0" y="4639"/>
                        <a:pt x="4639" y="0"/>
                        <a:pt x="10051" y="0"/>
                      </a:cubicBezTo>
                      <a:cubicBezTo>
                        <a:pt x="15463" y="0"/>
                        <a:pt x="20102" y="4639"/>
                        <a:pt x="20102" y="10051"/>
                      </a:cubicBezTo>
                      <a:lnTo>
                        <a:pt x="20102" y="54122"/>
                      </a:lnTo>
                      <a:cubicBezTo>
                        <a:pt x="20102" y="59534"/>
                        <a:pt x="15463" y="64173"/>
                        <a:pt x="10051" y="64173"/>
                      </a:cubicBezTo>
                      <a:lnTo>
                        <a:pt x="10051" y="64173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365" name="Forma Livre: Forma 364">
                  <a:extLst>
                    <a:ext uri="{FF2B5EF4-FFF2-40B4-BE49-F238E27FC236}">
                      <a16:creationId xmlns:a16="http://schemas.microsoft.com/office/drawing/2014/main" id="{2EF188E5-AD1A-461D-9AAD-0AEF9B141B46}"/>
                    </a:ext>
                  </a:extLst>
                </p:cNvPr>
                <p:cNvSpPr/>
                <p:nvPr/>
              </p:nvSpPr>
              <p:spPr>
                <a:xfrm>
                  <a:off x="5406333" y="6762900"/>
                  <a:ext cx="20102" cy="64172"/>
                </a:xfrm>
                <a:custGeom>
                  <a:avLst/>
                  <a:gdLst>
                    <a:gd name="connsiteX0" fmla="*/ 10051 w 20102"/>
                    <a:gd name="connsiteY0" fmla="*/ 64173 h 64172"/>
                    <a:gd name="connsiteX1" fmla="*/ 0 w 20102"/>
                    <a:gd name="connsiteY1" fmla="*/ 54122 h 64172"/>
                    <a:gd name="connsiteX2" fmla="*/ 0 w 20102"/>
                    <a:gd name="connsiteY2" fmla="*/ 10051 h 64172"/>
                    <a:gd name="connsiteX3" fmla="*/ 10051 w 20102"/>
                    <a:gd name="connsiteY3" fmla="*/ 0 h 64172"/>
                    <a:gd name="connsiteX4" fmla="*/ 20103 w 20102"/>
                    <a:gd name="connsiteY4" fmla="*/ 10051 h 64172"/>
                    <a:gd name="connsiteX5" fmla="*/ 20103 w 20102"/>
                    <a:gd name="connsiteY5" fmla="*/ 54122 h 64172"/>
                    <a:gd name="connsiteX6" fmla="*/ 10051 w 20102"/>
                    <a:gd name="connsiteY6" fmla="*/ 64173 h 64172"/>
                    <a:gd name="connsiteX7" fmla="*/ 10051 w 20102"/>
                    <a:gd name="connsiteY7" fmla="*/ 64173 h 641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0102" h="64172">
                      <a:moveTo>
                        <a:pt x="10051" y="64173"/>
                      </a:moveTo>
                      <a:cubicBezTo>
                        <a:pt x="4639" y="64173"/>
                        <a:pt x="0" y="59534"/>
                        <a:pt x="0" y="54122"/>
                      </a:cubicBezTo>
                      <a:lnTo>
                        <a:pt x="0" y="10051"/>
                      </a:lnTo>
                      <a:cubicBezTo>
                        <a:pt x="0" y="4639"/>
                        <a:pt x="4639" y="0"/>
                        <a:pt x="10051" y="0"/>
                      </a:cubicBezTo>
                      <a:cubicBezTo>
                        <a:pt x="15463" y="0"/>
                        <a:pt x="20103" y="4639"/>
                        <a:pt x="20103" y="10051"/>
                      </a:cubicBezTo>
                      <a:lnTo>
                        <a:pt x="20103" y="54122"/>
                      </a:lnTo>
                      <a:cubicBezTo>
                        <a:pt x="20103" y="59534"/>
                        <a:pt x="15463" y="64173"/>
                        <a:pt x="10051" y="64173"/>
                      </a:cubicBezTo>
                      <a:lnTo>
                        <a:pt x="10051" y="64173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366" name="Forma Livre: Forma 365">
                  <a:extLst>
                    <a:ext uri="{FF2B5EF4-FFF2-40B4-BE49-F238E27FC236}">
                      <a16:creationId xmlns:a16="http://schemas.microsoft.com/office/drawing/2014/main" id="{47A682C3-4D31-40D6-8894-D3E03E533982}"/>
                    </a:ext>
                  </a:extLst>
                </p:cNvPr>
                <p:cNvSpPr/>
                <p:nvPr/>
              </p:nvSpPr>
              <p:spPr>
                <a:xfrm>
                  <a:off x="5493701" y="6762900"/>
                  <a:ext cx="20186" cy="64172"/>
                </a:xfrm>
                <a:custGeom>
                  <a:avLst/>
                  <a:gdLst>
                    <a:gd name="connsiteX0" fmla="*/ 10052 w 20186"/>
                    <a:gd name="connsiteY0" fmla="*/ 64173 h 64172"/>
                    <a:gd name="connsiteX1" fmla="*/ 0 w 20186"/>
                    <a:gd name="connsiteY1" fmla="*/ 54122 h 64172"/>
                    <a:gd name="connsiteX2" fmla="*/ 0 w 20186"/>
                    <a:gd name="connsiteY2" fmla="*/ 10051 h 64172"/>
                    <a:gd name="connsiteX3" fmla="*/ 10052 w 20186"/>
                    <a:gd name="connsiteY3" fmla="*/ 0 h 64172"/>
                    <a:gd name="connsiteX4" fmla="*/ 20103 w 20186"/>
                    <a:gd name="connsiteY4" fmla="*/ 10051 h 64172"/>
                    <a:gd name="connsiteX5" fmla="*/ 20103 w 20186"/>
                    <a:gd name="connsiteY5" fmla="*/ 54122 h 64172"/>
                    <a:gd name="connsiteX6" fmla="*/ 10052 w 20186"/>
                    <a:gd name="connsiteY6" fmla="*/ 64173 h 64172"/>
                    <a:gd name="connsiteX7" fmla="*/ 10052 w 20186"/>
                    <a:gd name="connsiteY7" fmla="*/ 64173 h 641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0186" h="64172">
                      <a:moveTo>
                        <a:pt x="10052" y="64173"/>
                      </a:moveTo>
                      <a:cubicBezTo>
                        <a:pt x="4639" y="64173"/>
                        <a:pt x="0" y="59534"/>
                        <a:pt x="0" y="54122"/>
                      </a:cubicBezTo>
                      <a:lnTo>
                        <a:pt x="0" y="10051"/>
                      </a:lnTo>
                      <a:cubicBezTo>
                        <a:pt x="0" y="4639"/>
                        <a:pt x="4639" y="0"/>
                        <a:pt x="10052" y="0"/>
                      </a:cubicBezTo>
                      <a:cubicBezTo>
                        <a:pt x="15463" y="0"/>
                        <a:pt x="20103" y="4639"/>
                        <a:pt x="20103" y="10051"/>
                      </a:cubicBezTo>
                      <a:lnTo>
                        <a:pt x="20103" y="54122"/>
                      </a:lnTo>
                      <a:cubicBezTo>
                        <a:pt x="20876" y="59534"/>
                        <a:pt x="16237" y="64173"/>
                        <a:pt x="10052" y="64173"/>
                      </a:cubicBezTo>
                      <a:lnTo>
                        <a:pt x="10052" y="64173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367" name="Forma Livre: Forma 366">
                  <a:extLst>
                    <a:ext uri="{FF2B5EF4-FFF2-40B4-BE49-F238E27FC236}">
                      <a16:creationId xmlns:a16="http://schemas.microsoft.com/office/drawing/2014/main" id="{318E7465-7AA9-4EF0-BA04-D1BBFDB033DA}"/>
                    </a:ext>
                  </a:extLst>
                </p:cNvPr>
                <p:cNvSpPr/>
                <p:nvPr/>
              </p:nvSpPr>
              <p:spPr>
                <a:xfrm>
                  <a:off x="5581842" y="6762900"/>
                  <a:ext cx="20102" cy="64172"/>
                </a:xfrm>
                <a:custGeom>
                  <a:avLst/>
                  <a:gdLst>
                    <a:gd name="connsiteX0" fmla="*/ 10051 w 20102"/>
                    <a:gd name="connsiteY0" fmla="*/ 64173 h 64172"/>
                    <a:gd name="connsiteX1" fmla="*/ 0 w 20102"/>
                    <a:gd name="connsiteY1" fmla="*/ 54122 h 64172"/>
                    <a:gd name="connsiteX2" fmla="*/ 0 w 20102"/>
                    <a:gd name="connsiteY2" fmla="*/ 10051 h 64172"/>
                    <a:gd name="connsiteX3" fmla="*/ 10051 w 20102"/>
                    <a:gd name="connsiteY3" fmla="*/ 0 h 64172"/>
                    <a:gd name="connsiteX4" fmla="*/ 20102 w 20102"/>
                    <a:gd name="connsiteY4" fmla="*/ 10051 h 64172"/>
                    <a:gd name="connsiteX5" fmla="*/ 20102 w 20102"/>
                    <a:gd name="connsiteY5" fmla="*/ 54122 h 64172"/>
                    <a:gd name="connsiteX6" fmla="*/ 10051 w 20102"/>
                    <a:gd name="connsiteY6" fmla="*/ 64173 h 64172"/>
                    <a:gd name="connsiteX7" fmla="*/ 10051 w 20102"/>
                    <a:gd name="connsiteY7" fmla="*/ 64173 h 641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0102" h="64172">
                      <a:moveTo>
                        <a:pt x="10051" y="64173"/>
                      </a:moveTo>
                      <a:cubicBezTo>
                        <a:pt x="4639" y="64173"/>
                        <a:pt x="0" y="59534"/>
                        <a:pt x="0" y="54122"/>
                      </a:cubicBezTo>
                      <a:lnTo>
                        <a:pt x="0" y="10051"/>
                      </a:lnTo>
                      <a:cubicBezTo>
                        <a:pt x="0" y="4639"/>
                        <a:pt x="4639" y="0"/>
                        <a:pt x="10051" y="0"/>
                      </a:cubicBezTo>
                      <a:cubicBezTo>
                        <a:pt x="15463" y="0"/>
                        <a:pt x="20102" y="4639"/>
                        <a:pt x="20102" y="10051"/>
                      </a:cubicBezTo>
                      <a:lnTo>
                        <a:pt x="20102" y="54122"/>
                      </a:lnTo>
                      <a:cubicBezTo>
                        <a:pt x="20102" y="59534"/>
                        <a:pt x="15463" y="64173"/>
                        <a:pt x="10051" y="64173"/>
                      </a:cubicBezTo>
                      <a:lnTo>
                        <a:pt x="10051" y="64173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368" name="Forma Livre: Forma 367">
                  <a:extLst>
                    <a:ext uri="{FF2B5EF4-FFF2-40B4-BE49-F238E27FC236}">
                      <a16:creationId xmlns:a16="http://schemas.microsoft.com/office/drawing/2014/main" id="{CBFAB0DA-4072-4880-B18F-A18FABB2A8DE}"/>
                    </a:ext>
                  </a:extLst>
                </p:cNvPr>
                <p:cNvSpPr/>
                <p:nvPr/>
              </p:nvSpPr>
              <p:spPr>
                <a:xfrm>
                  <a:off x="5669210" y="6762900"/>
                  <a:ext cx="20102" cy="64172"/>
                </a:xfrm>
                <a:custGeom>
                  <a:avLst/>
                  <a:gdLst>
                    <a:gd name="connsiteX0" fmla="*/ 10051 w 20102"/>
                    <a:gd name="connsiteY0" fmla="*/ 64173 h 64172"/>
                    <a:gd name="connsiteX1" fmla="*/ 0 w 20102"/>
                    <a:gd name="connsiteY1" fmla="*/ 54122 h 64172"/>
                    <a:gd name="connsiteX2" fmla="*/ 0 w 20102"/>
                    <a:gd name="connsiteY2" fmla="*/ 10051 h 64172"/>
                    <a:gd name="connsiteX3" fmla="*/ 10051 w 20102"/>
                    <a:gd name="connsiteY3" fmla="*/ 0 h 64172"/>
                    <a:gd name="connsiteX4" fmla="*/ 20103 w 20102"/>
                    <a:gd name="connsiteY4" fmla="*/ 10051 h 64172"/>
                    <a:gd name="connsiteX5" fmla="*/ 20103 w 20102"/>
                    <a:gd name="connsiteY5" fmla="*/ 54122 h 64172"/>
                    <a:gd name="connsiteX6" fmla="*/ 10051 w 20102"/>
                    <a:gd name="connsiteY6" fmla="*/ 64173 h 64172"/>
                    <a:gd name="connsiteX7" fmla="*/ 10051 w 20102"/>
                    <a:gd name="connsiteY7" fmla="*/ 64173 h 641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0102" h="64172">
                      <a:moveTo>
                        <a:pt x="10051" y="64173"/>
                      </a:moveTo>
                      <a:cubicBezTo>
                        <a:pt x="4639" y="64173"/>
                        <a:pt x="0" y="59534"/>
                        <a:pt x="0" y="54122"/>
                      </a:cubicBezTo>
                      <a:lnTo>
                        <a:pt x="0" y="10051"/>
                      </a:lnTo>
                      <a:cubicBezTo>
                        <a:pt x="0" y="4639"/>
                        <a:pt x="4639" y="0"/>
                        <a:pt x="10051" y="0"/>
                      </a:cubicBezTo>
                      <a:cubicBezTo>
                        <a:pt x="15463" y="0"/>
                        <a:pt x="20103" y="4639"/>
                        <a:pt x="20103" y="10051"/>
                      </a:cubicBezTo>
                      <a:lnTo>
                        <a:pt x="20103" y="54122"/>
                      </a:lnTo>
                      <a:cubicBezTo>
                        <a:pt x="20103" y="59534"/>
                        <a:pt x="15463" y="64173"/>
                        <a:pt x="10051" y="64173"/>
                      </a:cubicBezTo>
                      <a:lnTo>
                        <a:pt x="10051" y="64173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grpSp>
            <p:nvGrpSpPr>
              <p:cNvPr id="369" name="Gráfico 2">
                <a:extLst>
                  <a:ext uri="{FF2B5EF4-FFF2-40B4-BE49-F238E27FC236}">
                    <a16:creationId xmlns:a16="http://schemas.microsoft.com/office/drawing/2014/main" id="{6FEF66BF-8D1E-4FFA-95A2-6EE56886837B}"/>
                  </a:ext>
                </a:extLst>
              </p:cNvPr>
              <p:cNvGrpSpPr/>
              <p:nvPr/>
            </p:nvGrpSpPr>
            <p:grpSpPr>
              <a:xfrm>
                <a:off x="5233144" y="6371677"/>
                <a:ext cx="64172" cy="370347"/>
                <a:chOff x="5233144" y="6371677"/>
                <a:chExt cx="64172" cy="370347"/>
              </a:xfrm>
              <a:grpFill/>
            </p:grpSpPr>
            <p:sp>
              <p:nvSpPr>
                <p:cNvPr id="370" name="Forma Livre: Forma 369">
                  <a:extLst>
                    <a:ext uri="{FF2B5EF4-FFF2-40B4-BE49-F238E27FC236}">
                      <a16:creationId xmlns:a16="http://schemas.microsoft.com/office/drawing/2014/main" id="{07A3829F-0457-4D92-977D-41627BB08B60}"/>
                    </a:ext>
                  </a:extLst>
                </p:cNvPr>
                <p:cNvSpPr/>
                <p:nvPr/>
              </p:nvSpPr>
              <p:spPr>
                <a:xfrm>
                  <a:off x="5233144" y="6371677"/>
                  <a:ext cx="64172" cy="20102"/>
                </a:xfrm>
                <a:custGeom>
                  <a:avLst/>
                  <a:gdLst>
                    <a:gd name="connsiteX0" fmla="*/ 54122 w 64172"/>
                    <a:gd name="connsiteY0" fmla="*/ 20103 h 20102"/>
                    <a:gd name="connsiteX1" fmla="*/ 10051 w 64172"/>
                    <a:gd name="connsiteY1" fmla="*/ 20103 h 20102"/>
                    <a:gd name="connsiteX2" fmla="*/ 0 w 64172"/>
                    <a:gd name="connsiteY2" fmla="*/ 10052 h 20102"/>
                    <a:gd name="connsiteX3" fmla="*/ 10051 w 64172"/>
                    <a:gd name="connsiteY3" fmla="*/ 0 h 20102"/>
                    <a:gd name="connsiteX4" fmla="*/ 54122 w 64172"/>
                    <a:gd name="connsiteY4" fmla="*/ 0 h 20102"/>
                    <a:gd name="connsiteX5" fmla="*/ 64173 w 64172"/>
                    <a:gd name="connsiteY5" fmla="*/ 10052 h 20102"/>
                    <a:gd name="connsiteX6" fmla="*/ 54122 w 64172"/>
                    <a:gd name="connsiteY6" fmla="*/ 20103 h 20102"/>
                    <a:gd name="connsiteX7" fmla="*/ 54122 w 64172"/>
                    <a:gd name="connsiteY7" fmla="*/ 20103 h 201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4172" h="20102">
                      <a:moveTo>
                        <a:pt x="54122" y="20103"/>
                      </a:moveTo>
                      <a:lnTo>
                        <a:pt x="10051" y="20103"/>
                      </a:lnTo>
                      <a:cubicBezTo>
                        <a:pt x="4639" y="20103"/>
                        <a:pt x="0" y="15463"/>
                        <a:pt x="0" y="10052"/>
                      </a:cubicBezTo>
                      <a:cubicBezTo>
                        <a:pt x="0" y="4639"/>
                        <a:pt x="4639" y="0"/>
                        <a:pt x="10051" y="0"/>
                      </a:cubicBezTo>
                      <a:lnTo>
                        <a:pt x="54122" y="0"/>
                      </a:lnTo>
                      <a:cubicBezTo>
                        <a:pt x="59534" y="0"/>
                        <a:pt x="64173" y="4639"/>
                        <a:pt x="64173" y="10052"/>
                      </a:cubicBezTo>
                      <a:cubicBezTo>
                        <a:pt x="64173" y="15463"/>
                        <a:pt x="59534" y="20103"/>
                        <a:pt x="54122" y="20103"/>
                      </a:cubicBezTo>
                      <a:lnTo>
                        <a:pt x="54122" y="20103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371" name="Forma Livre: Forma 370">
                  <a:extLst>
                    <a:ext uri="{FF2B5EF4-FFF2-40B4-BE49-F238E27FC236}">
                      <a16:creationId xmlns:a16="http://schemas.microsoft.com/office/drawing/2014/main" id="{68984D27-35F6-44EE-B095-E4BAB4BC0E9C}"/>
                    </a:ext>
                  </a:extLst>
                </p:cNvPr>
                <p:cNvSpPr/>
                <p:nvPr/>
              </p:nvSpPr>
              <p:spPr>
                <a:xfrm>
                  <a:off x="5233144" y="6459045"/>
                  <a:ext cx="64172" cy="20102"/>
                </a:xfrm>
                <a:custGeom>
                  <a:avLst/>
                  <a:gdLst>
                    <a:gd name="connsiteX0" fmla="*/ 54122 w 64172"/>
                    <a:gd name="connsiteY0" fmla="*/ 20102 h 20102"/>
                    <a:gd name="connsiteX1" fmla="*/ 10051 w 64172"/>
                    <a:gd name="connsiteY1" fmla="*/ 20102 h 20102"/>
                    <a:gd name="connsiteX2" fmla="*/ 0 w 64172"/>
                    <a:gd name="connsiteY2" fmla="*/ 10051 h 20102"/>
                    <a:gd name="connsiteX3" fmla="*/ 10051 w 64172"/>
                    <a:gd name="connsiteY3" fmla="*/ 0 h 20102"/>
                    <a:gd name="connsiteX4" fmla="*/ 54122 w 64172"/>
                    <a:gd name="connsiteY4" fmla="*/ 0 h 20102"/>
                    <a:gd name="connsiteX5" fmla="*/ 64173 w 64172"/>
                    <a:gd name="connsiteY5" fmla="*/ 10051 h 20102"/>
                    <a:gd name="connsiteX6" fmla="*/ 54122 w 64172"/>
                    <a:gd name="connsiteY6" fmla="*/ 20102 h 20102"/>
                    <a:gd name="connsiteX7" fmla="*/ 54122 w 64172"/>
                    <a:gd name="connsiteY7" fmla="*/ 20102 h 201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4172" h="20102">
                      <a:moveTo>
                        <a:pt x="54122" y="20102"/>
                      </a:moveTo>
                      <a:lnTo>
                        <a:pt x="10051" y="20102"/>
                      </a:lnTo>
                      <a:cubicBezTo>
                        <a:pt x="4639" y="20102"/>
                        <a:pt x="0" y="15463"/>
                        <a:pt x="0" y="10051"/>
                      </a:cubicBezTo>
                      <a:cubicBezTo>
                        <a:pt x="0" y="4639"/>
                        <a:pt x="4639" y="0"/>
                        <a:pt x="10051" y="0"/>
                      </a:cubicBezTo>
                      <a:lnTo>
                        <a:pt x="54122" y="0"/>
                      </a:lnTo>
                      <a:cubicBezTo>
                        <a:pt x="59534" y="0"/>
                        <a:pt x="64173" y="4639"/>
                        <a:pt x="64173" y="10051"/>
                      </a:cubicBezTo>
                      <a:cubicBezTo>
                        <a:pt x="64173" y="15463"/>
                        <a:pt x="59534" y="20102"/>
                        <a:pt x="54122" y="20102"/>
                      </a:cubicBezTo>
                      <a:lnTo>
                        <a:pt x="54122" y="20102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372" name="Forma Livre: Forma 371">
                  <a:extLst>
                    <a:ext uri="{FF2B5EF4-FFF2-40B4-BE49-F238E27FC236}">
                      <a16:creationId xmlns:a16="http://schemas.microsoft.com/office/drawing/2014/main" id="{4629F48F-42C1-4AA0-8199-558489C53FA5}"/>
                    </a:ext>
                  </a:extLst>
                </p:cNvPr>
                <p:cNvSpPr/>
                <p:nvPr/>
              </p:nvSpPr>
              <p:spPr>
                <a:xfrm>
                  <a:off x="5233144" y="6547186"/>
                  <a:ext cx="64172" cy="20102"/>
                </a:xfrm>
                <a:custGeom>
                  <a:avLst/>
                  <a:gdLst>
                    <a:gd name="connsiteX0" fmla="*/ 54122 w 64172"/>
                    <a:gd name="connsiteY0" fmla="*/ 20103 h 20102"/>
                    <a:gd name="connsiteX1" fmla="*/ 10051 w 64172"/>
                    <a:gd name="connsiteY1" fmla="*/ 20103 h 20102"/>
                    <a:gd name="connsiteX2" fmla="*/ 0 w 64172"/>
                    <a:gd name="connsiteY2" fmla="*/ 10051 h 20102"/>
                    <a:gd name="connsiteX3" fmla="*/ 10051 w 64172"/>
                    <a:gd name="connsiteY3" fmla="*/ 0 h 20102"/>
                    <a:gd name="connsiteX4" fmla="*/ 54122 w 64172"/>
                    <a:gd name="connsiteY4" fmla="*/ 0 h 20102"/>
                    <a:gd name="connsiteX5" fmla="*/ 64173 w 64172"/>
                    <a:gd name="connsiteY5" fmla="*/ 10051 h 20102"/>
                    <a:gd name="connsiteX6" fmla="*/ 54122 w 64172"/>
                    <a:gd name="connsiteY6" fmla="*/ 20103 h 20102"/>
                    <a:gd name="connsiteX7" fmla="*/ 54122 w 64172"/>
                    <a:gd name="connsiteY7" fmla="*/ 20103 h 201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4172" h="20102">
                      <a:moveTo>
                        <a:pt x="54122" y="20103"/>
                      </a:moveTo>
                      <a:lnTo>
                        <a:pt x="10051" y="20103"/>
                      </a:lnTo>
                      <a:cubicBezTo>
                        <a:pt x="4639" y="20103"/>
                        <a:pt x="0" y="15463"/>
                        <a:pt x="0" y="10051"/>
                      </a:cubicBezTo>
                      <a:cubicBezTo>
                        <a:pt x="0" y="4639"/>
                        <a:pt x="4639" y="0"/>
                        <a:pt x="10051" y="0"/>
                      </a:cubicBezTo>
                      <a:lnTo>
                        <a:pt x="54122" y="0"/>
                      </a:lnTo>
                      <a:cubicBezTo>
                        <a:pt x="59534" y="0"/>
                        <a:pt x="64173" y="4639"/>
                        <a:pt x="64173" y="10051"/>
                      </a:cubicBezTo>
                      <a:cubicBezTo>
                        <a:pt x="64173" y="15463"/>
                        <a:pt x="59534" y="20103"/>
                        <a:pt x="54122" y="20103"/>
                      </a:cubicBezTo>
                      <a:lnTo>
                        <a:pt x="54122" y="20103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373" name="Forma Livre: Forma 372">
                  <a:extLst>
                    <a:ext uri="{FF2B5EF4-FFF2-40B4-BE49-F238E27FC236}">
                      <a16:creationId xmlns:a16="http://schemas.microsoft.com/office/drawing/2014/main" id="{9CF22271-A1FA-4847-8F09-148C40D146E7}"/>
                    </a:ext>
                  </a:extLst>
                </p:cNvPr>
                <p:cNvSpPr/>
                <p:nvPr/>
              </p:nvSpPr>
              <p:spPr>
                <a:xfrm>
                  <a:off x="5233144" y="6634554"/>
                  <a:ext cx="64172" cy="20102"/>
                </a:xfrm>
                <a:custGeom>
                  <a:avLst/>
                  <a:gdLst>
                    <a:gd name="connsiteX0" fmla="*/ 54122 w 64172"/>
                    <a:gd name="connsiteY0" fmla="*/ 20103 h 20102"/>
                    <a:gd name="connsiteX1" fmla="*/ 10051 w 64172"/>
                    <a:gd name="connsiteY1" fmla="*/ 20103 h 20102"/>
                    <a:gd name="connsiteX2" fmla="*/ 0 w 64172"/>
                    <a:gd name="connsiteY2" fmla="*/ 10052 h 20102"/>
                    <a:gd name="connsiteX3" fmla="*/ 10051 w 64172"/>
                    <a:gd name="connsiteY3" fmla="*/ 0 h 20102"/>
                    <a:gd name="connsiteX4" fmla="*/ 54122 w 64172"/>
                    <a:gd name="connsiteY4" fmla="*/ 0 h 20102"/>
                    <a:gd name="connsiteX5" fmla="*/ 64173 w 64172"/>
                    <a:gd name="connsiteY5" fmla="*/ 10052 h 20102"/>
                    <a:gd name="connsiteX6" fmla="*/ 54122 w 64172"/>
                    <a:gd name="connsiteY6" fmla="*/ 20103 h 20102"/>
                    <a:gd name="connsiteX7" fmla="*/ 54122 w 64172"/>
                    <a:gd name="connsiteY7" fmla="*/ 20103 h 201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4172" h="20102">
                      <a:moveTo>
                        <a:pt x="54122" y="20103"/>
                      </a:moveTo>
                      <a:lnTo>
                        <a:pt x="10051" y="20103"/>
                      </a:lnTo>
                      <a:cubicBezTo>
                        <a:pt x="4639" y="20103"/>
                        <a:pt x="0" y="15463"/>
                        <a:pt x="0" y="10052"/>
                      </a:cubicBezTo>
                      <a:cubicBezTo>
                        <a:pt x="0" y="4639"/>
                        <a:pt x="4639" y="0"/>
                        <a:pt x="10051" y="0"/>
                      </a:cubicBezTo>
                      <a:lnTo>
                        <a:pt x="54122" y="0"/>
                      </a:lnTo>
                      <a:cubicBezTo>
                        <a:pt x="59534" y="0"/>
                        <a:pt x="64173" y="4639"/>
                        <a:pt x="64173" y="10052"/>
                      </a:cubicBezTo>
                      <a:cubicBezTo>
                        <a:pt x="64173" y="15463"/>
                        <a:pt x="59534" y="20103"/>
                        <a:pt x="54122" y="20103"/>
                      </a:cubicBezTo>
                      <a:lnTo>
                        <a:pt x="54122" y="20103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374" name="Forma Livre: Forma 373">
                  <a:extLst>
                    <a:ext uri="{FF2B5EF4-FFF2-40B4-BE49-F238E27FC236}">
                      <a16:creationId xmlns:a16="http://schemas.microsoft.com/office/drawing/2014/main" id="{0288BA44-B9F8-4B99-B42C-4F5211BB003E}"/>
                    </a:ext>
                  </a:extLst>
                </p:cNvPr>
                <p:cNvSpPr/>
                <p:nvPr/>
              </p:nvSpPr>
              <p:spPr>
                <a:xfrm>
                  <a:off x="5233144" y="6721922"/>
                  <a:ext cx="64172" cy="20102"/>
                </a:xfrm>
                <a:custGeom>
                  <a:avLst/>
                  <a:gdLst>
                    <a:gd name="connsiteX0" fmla="*/ 54122 w 64172"/>
                    <a:gd name="connsiteY0" fmla="*/ 20102 h 20102"/>
                    <a:gd name="connsiteX1" fmla="*/ 10051 w 64172"/>
                    <a:gd name="connsiteY1" fmla="*/ 20102 h 20102"/>
                    <a:gd name="connsiteX2" fmla="*/ 0 w 64172"/>
                    <a:gd name="connsiteY2" fmla="*/ 10051 h 20102"/>
                    <a:gd name="connsiteX3" fmla="*/ 10051 w 64172"/>
                    <a:gd name="connsiteY3" fmla="*/ 0 h 20102"/>
                    <a:gd name="connsiteX4" fmla="*/ 54122 w 64172"/>
                    <a:gd name="connsiteY4" fmla="*/ 0 h 20102"/>
                    <a:gd name="connsiteX5" fmla="*/ 64173 w 64172"/>
                    <a:gd name="connsiteY5" fmla="*/ 10051 h 20102"/>
                    <a:gd name="connsiteX6" fmla="*/ 54122 w 64172"/>
                    <a:gd name="connsiteY6" fmla="*/ 20102 h 20102"/>
                    <a:gd name="connsiteX7" fmla="*/ 54122 w 64172"/>
                    <a:gd name="connsiteY7" fmla="*/ 20102 h 201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4172" h="20102">
                      <a:moveTo>
                        <a:pt x="54122" y="20102"/>
                      </a:moveTo>
                      <a:lnTo>
                        <a:pt x="10051" y="20102"/>
                      </a:lnTo>
                      <a:cubicBezTo>
                        <a:pt x="4639" y="20102"/>
                        <a:pt x="0" y="15463"/>
                        <a:pt x="0" y="10051"/>
                      </a:cubicBezTo>
                      <a:cubicBezTo>
                        <a:pt x="0" y="4639"/>
                        <a:pt x="4639" y="0"/>
                        <a:pt x="10051" y="0"/>
                      </a:cubicBezTo>
                      <a:lnTo>
                        <a:pt x="54122" y="0"/>
                      </a:lnTo>
                      <a:cubicBezTo>
                        <a:pt x="59534" y="0"/>
                        <a:pt x="64173" y="4639"/>
                        <a:pt x="64173" y="10051"/>
                      </a:cubicBezTo>
                      <a:cubicBezTo>
                        <a:pt x="64173" y="15463"/>
                        <a:pt x="59534" y="20102"/>
                        <a:pt x="54122" y="20102"/>
                      </a:cubicBezTo>
                      <a:lnTo>
                        <a:pt x="54122" y="20102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</p:grpSp>
        <p:grpSp>
          <p:nvGrpSpPr>
            <p:cNvPr id="375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6394946" y="5630909"/>
              <a:ext cx="388385" cy="387772"/>
              <a:chOff x="6473305" y="6348482"/>
              <a:chExt cx="490188" cy="489415"/>
            </a:xfrm>
            <a:solidFill>
              <a:srgbClr val="B1B1A1"/>
            </a:solidFill>
          </p:grpSpPr>
          <p:sp>
            <p:nvSpPr>
              <p:cNvPr id="376" name="Forma Livre: Forma 375">
                <a:extLst>
                  <a:ext uri="{FF2B5EF4-FFF2-40B4-BE49-F238E27FC236}">
                    <a16:creationId xmlns:a16="http://schemas.microsoft.com/office/drawing/2014/main" id="{1534F341-0459-4EC1-8E94-E2195A402BE6}"/>
                  </a:ext>
                </a:extLst>
              </p:cNvPr>
              <p:cNvSpPr/>
              <p:nvPr/>
            </p:nvSpPr>
            <p:spPr>
              <a:xfrm>
                <a:off x="6473305" y="6348482"/>
                <a:ext cx="490188" cy="489415"/>
              </a:xfrm>
              <a:custGeom>
                <a:avLst/>
                <a:gdLst>
                  <a:gd name="connsiteX0" fmla="*/ 468540 w 490188"/>
                  <a:gd name="connsiteY0" fmla="*/ 489416 h 489415"/>
                  <a:gd name="connsiteX1" fmla="*/ 20876 w 490188"/>
                  <a:gd name="connsiteY1" fmla="*/ 489416 h 489415"/>
                  <a:gd name="connsiteX2" fmla="*/ 0 w 490188"/>
                  <a:gd name="connsiteY2" fmla="*/ 468540 h 489415"/>
                  <a:gd name="connsiteX3" fmla="*/ 0 w 490188"/>
                  <a:gd name="connsiteY3" fmla="*/ 20876 h 489415"/>
                  <a:gd name="connsiteX4" fmla="*/ 20876 w 490188"/>
                  <a:gd name="connsiteY4" fmla="*/ 0 h 489415"/>
                  <a:gd name="connsiteX5" fmla="*/ 41751 w 490188"/>
                  <a:gd name="connsiteY5" fmla="*/ 20876 h 489415"/>
                  <a:gd name="connsiteX6" fmla="*/ 41751 w 490188"/>
                  <a:gd name="connsiteY6" fmla="*/ 448437 h 489415"/>
                  <a:gd name="connsiteX7" fmla="*/ 469313 w 490188"/>
                  <a:gd name="connsiteY7" fmla="*/ 448437 h 489415"/>
                  <a:gd name="connsiteX8" fmla="*/ 490189 w 490188"/>
                  <a:gd name="connsiteY8" fmla="*/ 469313 h 489415"/>
                  <a:gd name="connsiteX9" fmla="*/ 468540 w 490188"/>
                  <a:gd name="connsiteY9" fmla="*/ 489416 h 489415"/>
                  <a:gd name="connsiteX10" fmla="*/ 468540 w 490188"/>
                  <a:gd name="connsiteY10" fmla="*/ 489416 h 489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90188" h="489415">
                    <a:moveTo>
                      <a:pt x="468540" y="489416"/>
                    </a:moveTo>
                    <a:lnTo>
                      <a:pt x="20876" y="489416"/>
                    </a:lnTo>
                    <a:cubicBezTo>
                      <a:pt x="9278" y="489416"/>
                      <a:pt x="0" y="480138"/>
                      <a:pt x="0" y="468540"/>
                    </a:cubicBezTo>
                    <a:lnTo>
                      <a:pt x="0" y="20876"/>
                    </a:lnTo>
                    <a:cubicBezTo>
                      <a:pt x="0" y="9278"/>
                      <a:pt x="9278" y="0"/>
                      <a:pt x="20876" y="0"/>
                    </a:cubicBezTo>
                    <a:cubicBezTo>
                      <a:pt x="32473" y="0"/>
                      <a:pt x="41751" y="9278"/>
                      <a:pt x="41751" y="20876"/>
                    </a:cubicBezTo>
                    <a:lnTo>
                      <a:pt x="41751" y="448437"/>
                    </a:lnTo>
                    <a:lnTo>
                      <a:pt x="469313" y="448437"/>
                    </a:lnTo>
                    <a:cubicBezTo>
                      <a:pt x="480911" y="448437"/>
                      <a:pt x="490189" y="457716"/>
                      <a:pt x="490189" y="469313"/>
                    </a:cubicBezTo>
                    <a:cubicBezTo>
                      <a:pt x="489415" y="480138"/>
                      <a:pt x="480138" y="489416"/>
                      <a:pt x="468540" y="489416"/>
                    </a:cubicBezTo>
                    <a:lnTo>
                      <a:pt x="468540" y="489416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77" name="Forma Livre: Forma 376">
                <a:extLst>
                  <a:ext uri="{FF2B5EF4-FFF2-40B4-BE49-F238E27FC236}">
                    <a16:creationId xmlns:a16="http://schemas.microsoft.com/office/drawing/2014/main" id="{95AB316C-0020-41ED-AA3E-C8ED3B801AC9}"/>
                  </a:ext>
                </a:extLst>
              </p:cNvPr>
              <p:cNvSpPr/>
              <p:nvPr/>
            </p:nvSpPr>
            <p:spPr>
              <a:xfrm>
                <a:off x="6549849" y="6620637"/>
                <a:ext cx="112882" cy="143036"/>
              </a:xfrm>
              <a:custGeom>
                <a:avLst/>
                <a:gdLst>
                  <a:gd name="connsiteX0" fmla="*/ 94327 w 112882"/>
                  <a:gd name="connsiteY0" fmla="*/ 143036 h 143036"/>
                  <a:gd name="connsiteX1" fmla="*/ 18556 w 112882"/>
                  <a:gd name="connsiteY1" fmla="*/ 143036 h 143036"/>
                  <a:gd name="connsiteX2" fmla="*/ 0 w 112882"/>
                  <a:gd name="connsiteY2" fmla="*/ 124480 h 143036"/>
                  <a:gd name="connsiteX3" fmla="*/ 0 w 112882"/>
                  <a:gd name="connsiteY3" fmla="*/ 18556 h 143036"/>
                  <a:gd name="connsiteX4" fmla="*/ 18556 w 112882"/>
                  <a:gd name="connsiteY4" fmla="*/ 0 h 143036"/>
                  <a:gd name="connsiteX5" fmla="*/ 94327 w 112882"/>
                  <a:gd name="connsiteY5" fmla="*/ 0 h 143036"/>
                  <a:gd name="connsiteX6" fmla="*/ 112882 w 112882"/>
                  <a:gd name="connsiteY6" fmla="*/ 18556 h 143036"/>
                  <a:gd name="connsiteX7" fmla="*/ 112882 w 112882"/>
                  <a:gd name="connsiteY7" fmla="*/ 124480 h 143036"/>
                  <a:gd name="connsiteX8" fmla="*/ 94327 w 112882"/>
                  <a:gd name="connsiteY8" fmla="*/ 143036 h 143036"/>
                  <a:gd name="connsiteX9" fmla="*/ 94327 w 112882"/>
                  <a:gd name="connsiteY9" fmla="*/ 143036 h 143036"/>
                  <a:gd name="connsiteX10" fmla="*/ 37112 w 112882"/>
                  <a:gd name="connsiteY10" fmla="*/ 105151 h 143036"/>
                  <a:gd name="connsiteX11" fmla="*/ 74997 w 112882"/>
                  <a:gd name="connsiteY11" fmla="*/ 105151 h 143036"/>
                  <a:gd name="connsiteX12" fmla="*/ 74997 w 112882"/>
                  <a:gd name="connsiteY12" fmla="*/ 37112 h 143036"/>
                  <a:gd name="connsiteX13" fmla="*/ 37112 w 112882"/>
                  <a:gd name="connsiteY13" fmla="*/ 37112 h 143036"/>
                  <a:gd name="connsiteX14" fmla="*/ 37112 w 112882"/>
                  <a:gd name="connsiteY14" fmla="*/ 105151 h 143036"/>
                  <a:gd name="connsiteX15" fmla="*/ 37112 w 112882"/>
                  <a:gd name="connsiteY15" fmla="*/ 105151 h 1430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2882" h="143036">
                    <a:moveTo>
                      <a:pt x="94327" y="143036"/>
                    </a:moveTo>
                    <a:lnTo>
                      <a:pt x="18556" y="143036"/>
                    </a:lnTo>
                    <a:cubicBezTo>
                      <a:pt x="7732" y="143036"/>
                      <a:pt x="0" y="134531"/>
                      <a:pt x="0" y="124480"/>
                    </a:cubicBezTo>
                    <a:lnTo>
                      <a:pt x="0" y="18556"/>
                    </a:lnTo>
                    <a:cubicBezTo>
                      <a:pt x="0" y="7732"/>
                      <a:pt x="8505" y="0"/>
                      <a:pt x="18556" y="0"/>
                    </a:cubicBezTo>
                    <a:lnTo>
                      <a:pt x="94327" y="0"/>
                    </a:lnTo>
                    <a:cubicBezTo>
                      <a:pt x="105151" y="0"/>
                      <a:pt x="112882" y="8505"/>
                      <a:pt x="112882" y="18556"/>
                    </a:cubicBezTo>
                    <a:lnTo>
                      <a:pt x="112882" y="124480"/>
                    </a:lnTo>
                    <a:cubicBezTo>
                      <a:pt x="112882" y="134531"/>
                      <a:pt x="104378" y="143036"/>
                      <a:pt x="94327" y="143036"/>
                    </a:cubicBezTo>
                    <a:lnTo>
                      <a:pt x="94327" y="143036"/>
                    </a:lnTo>
                    <a:close/>
                    <a:moveTo>
                      <a:pt x="37112" y="105151"/>
                    </a:moveTo>
                    <a:lnTo>
                      <a:pt x="74997" y="105151"/>
                    </a:lnTo>
                    <a:lnTo>
                      <a:pt x="74997" y="37112"/>
                    </a:lnTo>
                    <a:lnTo>
                      <a:pt x="37112" y="37112"/>
                    </a:lnTo>
                    <a:lnTo>
                      <a:pt x="37112" y="105151"/>
                    </a:lnTo>
                    <a:lnTo>
                      <a:pt x="37112" y="105151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78" name="Forma Livre: Forma 377">
                <a:extLst>
                  <a:ext uri="{FF2B5EF4-FFF2-40B4-BE49-F238E27FC236}">
                    <a16:creationId xmlns:a16="http://schemas.microsoft.com/office/drawing/2014/main" id="{ED11920E-DD24-4BD0-B195-8E82B0A007D4}"/>
                  </a:ext>
                </a:extLst>
              </p:cNvPr>
              <p:cNvSpPr/>
              <p:nvPr/>
            </p:nvSpPr>
            <p:spPr>
              <a:xfrm>
                <a:off x="6842106" y="6351574"/>
                <a:ext cx="112882" cy="412098"/>
              </a:xfrm>
              <a:custGeom>
                <a:avLst/>
                <a:gdLst>
                  <a:gd name="connsiteX0" fmla="*/ 94327 w 112882"/>
                  <a:gd name="connsiteY0" fmla="*/ 412098 h 412098"/>
                  <a:gd name="connsiteX1" fmla="*/ 18556 w 112882"/>
                  <a:gd name="connsiteY1" fmla="*/ 412098 h 412098"/>
                  <a:gd name="connsiteX2" fmla="*/ 0 w 112882"/>
                  <a:gd name="connsiteY2" fmla="*/ 393543 h 412098"/>
                  <a:gd name="connsiteX3" fmla="*/ 0 w 112882"/>
                  <a:gd name="connsiteY3" fmla="*/ 18556 h 412098"/>
                  <a:gd name="connsiteX4" fmla="*/ 18556 w 112882"/>
                  <a:gd name="connsiteY4" fmla="*/ 0 h 412098"/>
                  <a:gd name="connsiteX5" fmla="*/ 94327 w 112882"/>
                  <a:gd name="connsiteY5" fmla="*/ 0 h 412098"/>
                  <a:gd name="connsiteX6" fmla="*/ 112882 w 112882"/>
                  <a:gd name="connsiteY6" fmla="*/ 18556 h 412098"/>
                  <a:gd name="connsiteX7" fmla="*/ 112882 w 112882"/>
                  <a:gd name="connsiteY7" fmla="*/ 393543 h 412098"/>
                  <a:gd name="connsiteX8" fmla="*/ 94327 w 112882"/>
                  <a:gd name="connsiteY8" fmla="*/ 412098 h 412098"/>
                  <a:gd name="connsiteX9" fmla="*/ 94327 w 112882"/>
                  <a:gd name="connsiteY9" fmla="*/ 412098 h 412098"/>
                  <a:gd name="connsiteX10" fmla="*/ 37112 w 112882"/>
                  <a:gd name="connsiteY10" fmla="*/ 374214 h 412098"/>
                  <a:gd name="connsiteX11" fmla="*/ 74997 w 112882"/>
                  <a:gd name="connsiteY11" fmla="*/ 374214 h 412098"/>
                  <a:gd name="connsiteX12" fmla="*/ 74997 w 112882"/>
                  <a:gd name="connsiteY12" fmla="*/ 37112 h 412098"/>
                  <a:gd name="connsiteX13" fmla="*/ 37112 w 112882"/>
                  <a:gd name="connsiteY13" fmla="*/ 37112 h 412098"/>
                  <a:gd name="connsiteX14" fmla="*/ 37112 w 112882"/>
                  <a:gd name="connsiteY14" fmla="*/ 374214 h 412098"/>
                  <a:gd name="connsiteX15" fmla="*/ 37112 w 112882"/>
                  <a:gd name="connsiteY15" fmla="*/ 374214 h 412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2882" h="412098">
                    <a:moveTo>
                      <a:pt x="94327" y="412098"/>
                    </a:moveTo>
                    <a:lnTo>
                      <a:pt x="18556" y="412098"/>
                    </a:lnTo>
                    <a:cubicBezTo>
                      <a:pt x="7732" y="412098"/>
                      <a:pt x="0" y="403594"/>
                      <a:pt x="0" y="393543"/>
                    </a:cubicBezTo>
                    <a:lnTo>
                      <a:pt x="0" y="18556"/>
                    </a:lnTo>
                    <a:cubicBezTo>
                      <a:pt x="0" y="7732"/>
                      <a:pt x="8505" y="0"/>
                      <a:pt x="18556" y="0"/>
                    </a:cubicBezTo>
                    <a:lnTo>
                      <a:pt x="94327" y="0"/>
                    </a:lnTo>
                    <a:cubicBezTo>
                      <a:pt x="105151" y="0"/>
                      <a:pt x="112882" y="8505"/>
                      <a:pt x="112882" y="18556"/>
                    </a:cubicBezTo>
                    <a:lnTo>
                      <a:pt x="112882" y="393543"/>
                    </a:lnTo>
                    <a:cubicBezTo>
                      <a:pt x="112882" y="403594"/>
                      <a:pt x="104378" y="412098"/>
                      <a:pt x="94327" y="412098"/>
                    </a:cubicBezTo>
                    <a:lnTo>
                      <a:pt x="94327" y="412098"/>
                    </a:lnTo>
                    <a:close/>
                    <a:moveTo>
                      <a:pt x="37112" y="374214"/>
                    </a:moveTo>
                    <a:lnTo>
                      <a:pt x="74997" y="374214"/>
                    </a:lnTo>
                    <a:lnTo>
                      <a:pt x="74997" y="37112"/>
                    </a:lnTo>
                    <a:lnTo>
                      <a:pt x="37112" y="37112"/>
                    </a:lnTo>
                    <a:lnTo>
                      <a:pt x="37112" y="374214"/>
                    </a:lnTo>
                    <a:lnTo>
                      <a:pt x="37112" y="374214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79" name="Forma Livre: Forma 378">
                <a:extLst>
                  <a:ext uri="{FF2B5EF4-FFF2-40B4-BE49-F238E27FC236}">
                    <a16:creationId xmlns:a16="http://schemas.microsoft.com/office/drawing/2014/main" id="{C4AE0E2F-B233-44CD-96CC-58D5245EAE26}"/>
                  </a:ext>
                </a:extLst>
              </p:cNvPr>
              <p:cNvSpPr/>
              <p:nvPr/>
            </p:nvSpPr>
            <p:spPr>
              <a:xfrm>
                <a:off x="6695977" y="6489198"/>
                <a:ext cx="112882" cy="274474"/>
              </a:xfrm>
              <a:custGeom>
                <a:avLst/>
                <a:gdLst>
                  <a:gd name="connsiteX0" fmla="*/ 94327 w 112882"/>
                  <a:gd name="connsiteY0" fmla="*/ 274475 h 274474"/>
                  <a:gd name="connsiteX1" fmla="*/ 18556 w 112882"/>
                  <a:gd name="connsiteY1" fmla="*/ 274475 h 274474"/>
                  <a:gd name="connsiteX2" fmla="*/ 0 w 112882"/>
                  <a:gd name="connsiteY2" fmla="*/ 255919 h 274474"/>
                  <a:gd name="connsiteX3" fmla="*/ 0 w 112882"/>
                  <a:gd name="connsiteY3" fmla="*/ 18556 h 274474"/>
                  <a:gd name="connsiteX4" fmla="*/ 18556 w 112882"/>
                  <a:gd name="connsiteY4" fmla="*/ 0 h 274474"/>
                  <a:gd name="connsiteX5" fmla="*/ 94327 w 112882"/>
                  <a:gd name="connsiteY5" fmla="*/ 0 h 274474"/>
                  <a:gd name="connsiteX6" fmla="*/ 112883 w 112882"/>
                  <a:gd name="connsiteY6" fmla="*/ 18556 h 274474"/>
                  <a:gd name="connsiteX7" fmla="*/ 112883 w 112882"/>
                  <a:gd name="connsiteY7" fmla="*/ 255919 h 274474"/>
                  <a:gd name="connsiteX8" fmla="*/ 94327 w 112882"/>
                  <a:gd name="connsiteY8" fmla="*/ 274475 h 274474"/>
                  <a:gd name="connsiteX9" fmla="*/ 94327 w 112882"/>
                  <a:gd name="connsiteY9" fmla="*/ 274475 h 274474"/>
                  <a:gd name="connsiteX10" fmla="*/ 37112 w 112882"/>
                  <a:gd name="connsiteY10" fmla="*/ 236590 h 274474"/>
                  <a:gd name="connsiteX11" fmla="*/ 74997 w 112882"/>
                  <a:gd name="connsiteY11" fmla="*/ 236590 h 274474"/>
                  <a:gd name="connsiteX12" fmla="*/ 74997 w 112882"/>
                  <a:gd name="connsiteY12" fmla="*/ 37112 h 274474"/>
                  <a:gd name="connsiteX13" fmla="*/ 37112 w 112882"/>
                  <a:gd name="connsiteY13" fmla="*/ 37112 h 274474"/>
                  <a:gd name="connsiteX14" fmla="*/ 37112 w 112882"/>
                  <a:gd name="connsiteY14" fmla="*/ 236590 h 274474"/>
                  <a:gd name="connsiteX15" fmla="*/ 37112 w 112882"/>
                  <a:gd name="connsiteY15" fmla="*/ 236590 h 27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2882" h="274474">
                    <a:moveTo>
                      <a:pt x="94327" y="274475"/>
                    </a:moveTo>
                    <a:lnTo>
                      <a:pt x="18556" y="274475"/>
                    </a:lnTo>
                    <a:cubicBezTo>
                      <a:pt x="7732" y="274475"/>
                      <a:pt x="0" y="265970"/>
                      <a:pt x="0" y="255919"/>
                    </a:cubicBezTo>
                    <a:lnTo>
                      <a:pt x="0" y="18556"/>
                    </a:lnTo>
                    <a:cubicBezTo>
                      <a:pt x="0" y="7732"/>
                      <a:pt x="8505" y="0"/>
                      <a:pt x="18556" y="0"/>
                    </a:cubicBezTo>
                    <a:lnTo>
                      <a:pt x="94327" y="0"/>
                    </a:lnTo>
                    <a:cubicBezTo>
                      <a:pt x="105151" y="0"/>
                      <a:pt x="112883" y="8505"/>
                      <a:pt x="112883" y="18556"/>
                    </a:cubicBezTo>
                    <a:lnTo>
                      <a:pt x="112883" y="255919"/>
                    </a:lnTo>
                    <a:cubicBezTo>
                      <a:pt x="112883" y="265970"/>
                      <a:pt x="104378" y="274475"/>
                      <a:pt x="94327" y="274475"/>
                    </a:cubicBezTo>
                    <a:lnTo>
                      <a:pt x="94327" y="274475"/>
                    </a:lnTo>
                    <a:close/>
                    <a:moveTo>
                      <a:pt x="37112" y="236590"/>
                    </a:moveTo>
                    <a:lnTo>
                      <a:pt x="74997" y="236590"/>
                    </a:lnTo>
                    <a:lnTo>
                      <a:pt x="74997" y="37112"/>
                    </a:lnTo>
                    <a:lnTo>
                      <a:pt x="37112" y="37112"/>
                    </a:lnTo>
                    <a:lnTo>
                      <a:pt x="37112" y="236590"/>
                    </a:lnTo>
                    <a:lnTo>
                      <a:pt x="37112" y="236590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380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10386003" y="601503"/>
              <a:ext cx="370006" cy="390222"/>
              <a:chOff x="11510495" y="773"/>
              <a:chExt cx="466992" cy="492507"/>
            </a:xfrm>
            <a:solidFill>
              <a:srgbClr val="B1B1A1"/>
            </a:solidFill>
          </p:grpSpPr>
          <p:sp>
            <p:nvSpPr>
              <p:cNvPr id="381" name="Forma Livre: Forma 380">
                <a:extLst>
                  <a:ext uri="{FF2B5EF4-FFF2-40B4-BE49-F238E27FC236}">
                    <a16:creationId xmlns:a16="http://schemas.microsoft.com/office/drawing/2014/main" id="{86664934-47FB-4A62-954C-D22A9877EC12}"/>
                  </a:ext>
                </a:extLst>
              </p:cNvPr>
              <p:cNvSpPr/>
              <p:nvPr/>
            </p:nvSpPr>
            <p:spPr>
              <a:xfrm>
                <a:off x="11510495" y="55668"/>
                <a:ext cx="466992" cy="41751"/>
              </a:xfrm>
              <a:custGeom>
                <a:avLst/>
                <a:gdLst>
                  <a:gd name="connsiteX0" fmla="*/ 446118 w 466992"/>
                  <a:gd name="connsiteY0" fmla="*/ 41751 h 41751"/>
                  <a:gd name="connsiteX1" fmla="*/ 20875 w 466992"/>
                  <a:gd name="connsiteY1" fmla="*/ 41751 h 41751"/>
                  <a:gd name="connsiteX2" fmla="*/ 0 w 466992"/>
                  <a:gd name="connsiteY2" fmla="*/ 20876 h 41751"/>
                  <a:gd name="connsiteX3" fmla="*/ 20875 w 466992"/>
                  <a:gd name="connsiteY3" fmla="*/ 0 h 41751"/>
                  <a:gd name="connsiteX4" fmla="*/ 446118 w 466992"/>
                  <a:gd name="connsiteY4" fmla="*/ 0 h 41751"/>
                  <a:gd name="connsiteX5" fmla="*/ 466993 w 466992"/>
                  <a:gd name="connsiteY5" fmla="*/ 20876 h 41751"/>
                  <a:gd name="connsiteX6" fmla="*/ 446118 w 466992"/>
                  <a:gd name="connsiteY6" fmla="*/ 41751 h 41751"/>
                  <a:gd name="connsiteX7" fmla="*/ 446118 w 466992"/>
                  <a:gd name="connsiteY7" fmla="*/ 41751 h 41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66992" h="41751">
                    <a:moveTo>
                      <a:pt x="446118" y="41751"/>
                    </a:moveTo>
                    <a:lnTo>
                      <a:pt x="20875" y="41751"/>
                    </a:lnTo>
                    <a:cubicBezTo>
                      <a:pt x="9278" y="41751"/>
                      <a:pt x="0" y="32473"/>
                      <a:pt x="0" y="20876"/>
                    </a:cubicBezTo>
                    <a:cubicBezTo>
                      <a:pt x="0" y="9278"/>
                      <a:pt x="9278" y="0"/>
                      <a:pt x="20875" y="0"/>
                    </a:cubicBezTo>
                    <a:lnTo>
                      <a:pt x="446118" y="0"/>
                    </a:lnTo>
                    <a:cubicBezTo>
                      <a:pt x="457715" y="0"/>
                      <a:pt x="466993" y="9278"/>
                      <a:pt x="466993" y="20876"/>
                    </a:cubicBezTo>
                    <a:cubicBezTo>
                      <a:pt x="466220" y="32473"/>
                      <a:pt x="456942" y="41751"/>
                      <a:pt x="446118" y="41751"/>
                    </a:cubicBezTo>
                    <a:lnTo>
                      <a:pt x="446118" y="41751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82" name="Forma Livre: Forma 381">
                <a:extLst>
                  <a:ext uri="{FF2B5EF4-FFF2-40B4-BE49-F238E27FC236}">
                    <a16:creationId xmlns:a16="http://schemas.microsoft.com/office/drawing/2014/main" id="{208A2337-FAFD-47E0-BE9E-EB267A9B9500}"/>
                  </a:ext>
                </a:extLst>
              </p:cNvPr>
              <p:cNvSpPr/>
              <p:nvPr/>
            </p:nvSpPr>
            <p:spPr>
              <a:xfrm>
                <a:off x="11651211" y="773"/>
                <a:ext cx="185560" cy="84275"/>
              </a:xfrm>
              <a:custGeom>
                <a:avLst/>
                <a:gdLst>
                  <a:gd name="connsiteX0" fmla="*/ 145356 w 185560"/>
                  <a:gd name="connsiteY0" fmla="*/ 84275 h 84275"/>
                  <a:gd name="connsiteX1" fmla="*/ 92780 w 185560"/>
                  <a:gd name="connsiteY1" fmla="*/ 40978 h 84275"/>
                  <a:gd name="connsiteX2" fmla="*/ 40204 w 185560"/>
                  <a:gd name="connsiteY2" fmla="*/ 84275 h 84275"/>
                  <a:gd name="connsiteX3" fmla="*/ 0 w 185560"/>
                  <a:gd name="connsiteY3" fmla="*/ 75770 h 84275"/>
                  <a:gd name="connsiteX4" fmla="*/ 92780 w 185560"/>
                  <a:gd name="connsiteY4" fmla="*/ 0 h 84275"/>
                  <a:gd name="connsiteX5" fmla="*/ 185560 w 185560"/>
                  <a:gd name="connsiteY5" fmla="*/ 75770 h 84275"/>
                  <a:gd name="connsiteX6" fmla="*/ 145356 w 185560"/>
                  <a:gd name="connsiteY6" fmla="*/ 84275 h 84275"/>
                  <a:gd name="connsiteX7" fmla="*/ 145356 w 185560"/>
                  <a:gd name="connsiteY7" fmla="*/ 84275 h 84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5560" h="84275">
                    <a:moveTo>
                      <a:pt x="145356" y="84275"/>
                    </a:moveTo>
                    <a:cubicBezTo>
                      <a:pt x="139943" y="59534"/>
                      <a:pt x="118295" y="40978"/>
                      <a:pt x="92780" y="40978"/>
                    </a:cubicBezTo>
                    <a:cubicBezTo>
                      <a:pt x="67265" y="40978"/>
                      <a:pt x="44844" y="58761"/>
                      <a:pt x="40204" y="84275"/>
                    </a:cubicBezTo>
                    <a:lnTo>
                      <a:pt x="0" y="75770"/>
                    </a:lnTo>
                    <a:cubicBezTo>
                      <a:pt x="9278" y="31700"/>
                      <a:pt x="47936" y="0"/>
                      <a:pt x="92780" y="0"/>
                    </a:cubicBezTo>
                    <a:cubicBezTo>
                      <a:pt x="137624" y="0"/>
                      <a:pt x="177056" y="31700"/>
                      <a:pt x="185560" y="75770"/>
                    </a:cubicBezTo>
                    <a:lnTo>
                      <a:pt x="145356" y="84275"/>
                    </a:lnTo>
                    <a:lnTo>
                      <a:pt x="145356" y="84275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83" name="Forma Livre: Forma 382">
                <a:extLst>
                  <a:ext uri="{FF2B5EF4-FFF2-40B4-BE49-F238E27FC236}">
                    <a16:creationId xmlns:a16="http://schemas.microsoft.com/office/drawing/2014/main" id="{ABEE7435-8490-42B6-83AF-4A9DDEE94A5B}"/>
                  </a:ext>
                </a:extLst>
              </p:cNvPr>
              <p:cNvSpPr/>
              <p:nvPr/>
            </p:nvSpPr>
            <p:spPr>
              <a:xfrm>
                <a:off x="11543692" y="75721"/>
                <a:ext cx="400598" cy="417559"/>
              </a:xfrm>
              <a:custGeom>
                <a:avLst/>
                <a:gdLst>
                  <a:gd name="connsiteX0" fmla="*/ 61902 w 400598"/>
                  <a:gd name="connsiteY0" fmla="*/ 416786 h 417559"/>
                  <a:gd name="connsiteX1" fmla="*/ 20925 w 400598"/>
                  <a:gd name="connsiteY1" fmla="*/ 377355 h 417559"/>
                  <a:gd name="connsiteX2" fmla="*/ 49 w 400598"/>
                  <a:gd name="connsiteY2" fmla="*/ 21697 h 417559"/>
                  <a:gd name="connsiteX3" fmla="*/ 19378 w 400598"/>
                  <a:gd name="connsiteY3" fmla="*/ 49 h 417559"/>
                  <a:gd name="connsiteX4" fmla="*/ 41027 w 400598"/>
                  <a:gd name="connsiteY4" fmla="*/ 19378 h 417559"/>
                  <a:gd name="connsiteX5" fmla="*/ 61902 w 400598"/>
                  <a:gd name="connsiteY5" fmla="*/ 375035 h 417559"/>
                  <a:gd name="connsiteX6" fmla="*/ 338697 w 400598"/>
                  <a:gd name="connsiteY6" fmla="*/ 376582 h 417559"/>
                  <a:gd name="connsiteX7" fmla="*/ 359572 w 400598"/>
                  <a:gd name="connsiteY7" fmla="*/ 20151 h 417559"/>
                  <a:gd name="connsiteX8" fmla="*/ 381221 w 400598"/>
                  <a:gd name="connsiteY8" fmla="*/ 822 h 417559"/>
                  <a:gd name="connsiteX9" fmla="*/ 400550 w 400598"/>
                  <a:gd name="connsiteY9" fmla="*/ 22471 h 417559"/>
                  <a:gd name="connsiteX10" fmla="*/ 379674 w 400598"/>
                  <a:gd name="connsiteY10" fmla="*/ 378128 h 417559"/>
                  <a:gd name="connsiteX11" fmla="*/ 338697 w 400598"/>
                  <a:gd name="connsiteY11" fmla="*/ 417559 h 417559"/>
                  <a:gd name="connsiteX12" fmla="*/ 338697 w 400598"/>
                  <a:gd name="connsiteY12" fmla="*/ 417559 h 417559"/>
                  <a:gd name="connsiteX13" fmla="*/ 61902 w 400598"/>
                  <a:gd name="connsiteY13" fmla="*/ 417559 h 417559"/>
                  <a:gd name="connsiteX14" fmla="*/ 61902 w 400598"/>
                  <a:gd name="connsiteY14" fmla="*/ 416786 h 417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00598" h="417559">
                    <a:moveTo>
                      <a:pt x="61902" y="416786"/>
                    </a:moveTo>
                    <a:cubicBezTo>
                      <a:pt x="40254" y="416786"/>
                      <a:pt x="22471" y="399003"/>
                      <a:pt x="20925" y="377355"/>
                    </a:cubicBezTo>
                    <a:lnTo>
                      <a:pt x="49" y="21697"/>
                    </a:lnTo>
                    <a:cubicBezTo>
                      <a:pt x="-724" y="10100"/>
                      <a:pt x="7780" y="822"/>
                      <a:pt x="19378" y="49"/>
                    </a:cubicBezTo>
                    <a:cubicBezTo>
                      <a:pt x="30975" y="-724"/>
                      <a:pt x="40254" y="7780"/>
                      <a:pt x="41027" y="19378"/>
                    </a:cubicBezTo>
                    <a:lnTo>
                      <a:pt x="61902" y="375035"/>
                    </a:lnTo>
                    <a:lnTo>
                      <a:pt x="338697" y="376582"/>
                    </a:lnTo>
                    <a:lnTo>
                      <a:pt x="359572" y="20151"/>
                    </a:lnTo>
                    <a:cubicBezTo>
                      <a:pt x="360345" y="8554"/>
                      <a:pt x="370396" y="49"/>
                      <a:pt x="381221" y="822"/>
                    </a:cubicBezTo>
                    <a:cubicBezTo>
                      <a:pt x="392818" y="1595"/>
                      <a:pt x="401323" y="10873"/>
                      <a:pt x="400550" y="22471"/>
                    </a:cubicBezTo>
                    <a:lnTo>
                      <a:pt x="379674" y="378128"/>
                    </a:lnTo>
                    <a:cubicBezTo>
                      <a:pt x="378128" y="400550"/>
                      <a:pt x="360345" y="417559"/>
                      <a:pt x="338697" y="417559"/>
                    </a:cubicBezTo>
                    <a:cubicBezTo>
                      <a:pt x="338697" y="417559"/>
                      <a:pt x="338697" y="417559"/>
                      <a:pt x="338697" y="417559"/>
                    </a:cubicBezTo>
                    <a:lnTo>
                      <a:pt x="61902" y="417559"/>
                    </a:lnTo>
                    <a:lnTo>
                      <a:pt x="61902" y="416786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grpSp>
            <p:nvGrpSpPr>
              <p:cNvPr id="384" name="Gráfico 2">
                <a:extLst>
                  <a:ext uri="{FF2B5EF4-FFF2-40B4-BE49-F238E27FC236}">
                    <a16:creationId xmlns:a16="http://schemas.microsoft.com/office/drawing/2014/main" id="{6FEF66BF-8D1E-4FFA-95A2-6EE56886837B}"/>
                  </a:ext>
                </a:extLst>
              </p:cNvPr>
              <p:cNvGrpSpPr/>
              <p:nvPr/>
            </p:nvGrpSpPr>
            <p:grpSpPr>
              <a:xfrm>
                <a:off x="11631833" y="132162"/>
                <a:ext cx="223543" cy="285347"/>
                <a:chOff x="11631833" y="132162"/>
                <a:chExt cx="223543" cy="285347"/>
              </a:xfrm>
              <a:grpFill/>
            </p:grpSpPr>
            <p:sp>
              <p:nvSpPr>
                <p:cNvPr id="385" name="Forma Livre: Forma 384">
                  <a:extLst>
                    <a:ext uri="{FF2B5EF4-FFF2-40B4-BE49-F238E27FC236}">
                      <a16:creationId xmlns:a16="http://schemas.microsoft.com/office/drawing/2014/main" id="{464E5B80-5501-402A-987B-A75E3B1B1336}"/>
                    </a:ext>
                  </a:extLst>
                </p:cNvPr>
                <p:cNvSpPr/>
                <p:nvPr/>
              </p:nvSpPr>
              <p:spPr>
                <a:xfrm>
                  <a:off x="11631833" y="132162"/>
                  <a:ext cx="54992" cy="285347"/>
                </a:xfrm>
                <a:custGeom>
                  <a:avLst/>
                  <a:gdLst>
                    <a:gd name="connsiteX0" fmla="*/ 34068 w 54992"/>
                    <a:gd name="connsiteY0" fmla="*/ 285348 h 285347"/>
                    <a:gd name="connsiteX1" fmla="*/ 13966 w 54992"/>
                    <a:gd name="connsiteY1" fmla="*/ 266019 h 285347"/>
                    <a:gd name="connsiteX2" fmla="*/ 49 w 54992"/>
                    <a:gd name="connsiteY2" fmla="*/ 21697 h 285347"/>
                    <a:gd name="connsiteX3" fmla="*/ 19378 w 54992"/>
                    <a:gd name="connsiteY3" fmla="*/ 49 h 285347"/>
                    <a:gd name="connsiteX4" fmla="*/ 41027 w 54992"/>
                    <a:gd name="connsiteY4" fmla="*/ 19378 h 285347"/>
                    <a:gd name="connsiteX5" fmla="*/ 54943 w 54992"/>
                    <a:gd name="connsiteY5" fmla="*/ 263699 h 285347"/>
                    <a:gd name="connsiteX6" fmla="*/ 35614 w 54992"/>
                    <a:gd name="connsiteY6" fmla="*/ 285348 h 285347"/>
                    <a:gd name="connsiteX7" fmla="*/ 34068 w 54992"/>
                    <a:gd name="connsiteY7" fmla="*/ 285348 h 285347"/>
                    <a:gd name="connsiteX8" fmla="*/ 34068 w 54992"/>
                    <a:gd name="connsiteY8" fmla="*/ 285348 h 2853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54992" h="285347">
                      <a:moveTo>
                        <a:pt x="34068" y="285348"/>
                      </a:moveTo>
                      <a:cubicBezTo>
                        <a:pt x="23244" y="285348"/>
                        <a:pt x="13966" y="276843"/>
                        <a:pt x="13966" y="266019"/>
                      </a:cubicBezTo>
                      <a:lnTo>
                        <a:pt x="49" y="21697"/>
                      </a:lnTo>
                      <a:cubicBezTo>
                        <a:pt x="-724" y="10100"/>
                        <a:pt x="7780" y="822"/>
                        <a:pt x="19378" y="49"/>
                      </a:cubicBezTo>
                      <a:cubicBezTo>
                        <a:pt x="30975" y="-724"/>
                        <a:pt x="40253" y="7780"/>
                        <a:pt x="41027" y="19378"/>
                      </a:cubicBezTo>
                      <a:lnTo>
                        <a:pt x="54943" y="263699"/>
                      </a:lnTo>
                      <a:cubicBezTo>
                        <a:pt x="55716" y="275297"/>
                        <a:pt x="47212" y="284575"/>
                        <a:pt x="35614" y="285348"/>
                      </a:cubicBezTo>
                      <a:cubicBezTo>
                        <a:pt x="34841" y="285348"/>
                        <a:pt x="34068" y="285348"/>
                        <a:pt x="34068" y="285348"/>
                      </a:cubicBezTo>
                      <a:lnTo>
                        <a:pt x="34068" y="285348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386" name="Forma Livre: Forma 385">
                  <a:extLst>
                    <a:ext uri="{FF2B5EF4-FFF2-40B4-BE49-F238E27FC236}">
                      <a16:creationId xmlns:a16="http://schemas.microsoft.com/office/drawing/2014/main" id="{E15DBD09-52BC-4480-9378-4B52E404DDFB}"/>
                    </a:ext>
                  </a:extLst>
                </p:cNvPr>
                <p:cNvSpPr/>
                <p:nvPr/>
              </p:nvSpPr>
              <p:spPr>
                <a:xfrm>
                  <a:off x="11800384" y="132162"/>
                  <a:ext cx="54992" cy="285347"/>
                </a:xfrm>
                <a:custGeom>
                  <a:avLst/>
                  <a:gdLst>
                    <a:gd name="connsiteX0" fmla="*/ 20924 w 54992"/>
                    <a:gd name="connsiteY0" fmla="*/ 285348 h 285347"/>
                    <a:gd name="connsiteX1" fmla="*/ 19378 w 54992"/>
                    <a:gd name="connsiteY1" fmla="*/ 285348 h 285347"/>
                    <a:gd name="connsiteX2" fmla="*/ 49 w 54992"/>
                    <a:gd name="connsiteY2" fmla="*/ 263699 h 285347"/>
                    <a:gd name="connsiteX3" fmla="*/ 13965 w 54992"/>
                    <a:gd name="connsiteY3" fmla="*/ 19378 h 285347"/>
                    <a:gd name="connsiteX4" fmla="*/ 35614 w 54992"/>
                    <a:gd name="connsiteY4" fmla="*/ 49 h 285347"/>
                    <a:gd name="connsiteX5" fmla="*/ 54944 w 54992"/>
                    <a:gd name="connsiteY5" fmla="*/ 21697 h 285347"/>
                    <a:gd name="connsiteX6" fmla="*/ 41026 w 54992"/>
                    <a:gd name="connsiteY6" fmla="*/ 266019 h 285347"/>
                    <a:gd name="connsiteX7" fmla="*/ 20924 w 54992"/>
                    <a:gd name="connsiteY7" fmla="*/ 285348 h 285347"/>
                    <a:gd name="connsiteX8" fmla="*/ 20924 w 54992"/>
                    <a:gd name="connsiteY8" fmla="*/ 285348 h 2853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54992" h="285347">
                      <a:moveTo>
                        <a:pt x="20924" y="285348"/>
                      </a:moveTo>
                      <a:cubicBezTo>
                        <a:pt x="20924" y="285348"/>
                        <a:pt x="20151" y="285348"/>
                        <a:pt x="19378" y="285348"/>
                      </a:cubicBezTo>
                      <a:cubicBezTo>
                        <a:pt x="7781" y="284575"/>
                        <a:pt x="-725" y="275297"/>
                        <a:pt x="49" y="263699"/>
                      </a:cubicBezTo>
                      <a:lnTo>
                        <a:pt x="13965" y="19378"/>
                      </a:lnTo>
                      <a:cubicBezTo>
                        <a:pt x="14738" y="7780"/>
                        <a:pt x="24790" y="-724"/>
                        <a:pt x="35614" y="49"/>
                      </a:cubicBezTo>
                      <a:cubicBezTo>
                        <a:pt x="47212" y="822"/>
                        <a:pt x="55717" y="10100"/>
                        <a:pt x="54944" y="21697"/>
                      </a:cubicBezTo>
                      <a:lnTo>
                        <a:pt x="41026" y="266019"/>
                      </a:lnTo>
                      <a:cubicBezTo>
                        <a:pt x="41026" y="276843"/>
                        <a:pt x="31749" y="285348"/>
                        <a:pt x="20924" y="285348"/>
                      </a:cubicBezTo>
                      <a:lnTo>
                        <a:pt x="20924" y="285348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sp>
            <p:nvSpPr>
              <p:cNvPr id="387" name="Forma Livre: Forma 386">
                <a:extLst>
                  <a:ext uri="{FF2B5EF4-FFF2-40B4-BE49-F238E27FC236}">
                    <a16:creationId xmlns:a16="http://schemas.microsoft.com/office/drawing/2014/main" id="{4B996DF4-D352-4D51-BE6E-03178E00C38B}"/>
                  </a:ext>
                </a:extLst>
              </p:cNvPr>
              <p:cNvSpPr/>
              <p:nvPr/>
            </p:nvSpPr>
            <p:spPr>
              <a:xfrm>
                <a:off x="11723116" y="131438"/>
                <a:ext cx="41750" cy="286072"/>
              </a:xfrm>
              <a:custGeom>
                <a:avLst/>
                <a:gdLst>
                  <a:gd name="connsiteX0" fmla="*/ 20875 w 41750"/>
                  <a:gd name="connsiteY0" fmla="*/ 286072 h 286072"/>
                  <a:gd name="connsiteX1" fmla="*/ 0 w 41750"/>
                  <a:gd name="connsiteY1" fmla="*/ 265197 h 286072"/>
                  <a:gd name="connsiteX2" fmla="*/ 0 w 41750"/>
                  <a:gd name="connsiteY2" fmla="*/ 20876 h 286072"/>
                  <a:gd name="connsiteX3" fmla="*/ 20875 w 41750"/>
                  <a:gd name="connsiteY3" fmla="*/ 0 h 286072"/>
                  <a:gd name="connsiteX4" fmla="*/ 41750 w 41750"/>
                  <a:gd name="connsiteY4" fmla="*/ 20876 h 286072"/>
                  <a:gd name="connsiteX5" fmla="*/ 41750 w 41750"/>
                  <a:gd name="connsiteY5" fmla="*/ 265197 h 286072"/>
                  <a:gd name="connsiteX6" fmla="*/ 20875 w 41750"/>
                  <a:gd name="connsiteY6" fmla="*/ 286072 h 286072"/>
                  <a:gd name="connsiteX7" fmla="*/ 20875 w 41750"/>
                  <a:gd name="connsiteY7" fmla="*/ 286072 h 286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50" h="286072">
                    <a:moveTo>
                      <a:pt x="20875" y="286072"/>
                    </a:moveTo>
                    <a:cubicBezTo>
                      <a:pt x="9278" y="286072"/>
                      <a:pt x="0" y="276794"/>
                      <a:pt x="0" y="265197"/>
                    </a:cubicBezTo>
                    <a:lnTo>
                      <a:pt x="0" y="20876"/>
                    </a:lnTo>
                    <a:cubicBezTo>
                      <a:pt x="0" y="9278"/>
                      <a:pt x="9278" y="0"/>
                      <a:pt x="20875" y="0"/>
                    </a:cubicBezTo>
                    <a:cubicBezTo>
                      <a:pt x="32473" y="0"/>
                      <a:pt x="41750" y="9278"/>
                      <a:pt x="41750" y="20876"/>
                    </a:cubicBezTo>
                    <a:lnTo>
                      <a:pt x="41750" y="265197"/>
                    </a:lnTo>
                    <a:cubicBezTo>
                      <a:pt x="40977" y="276794"/>
                      <a:pt x="31700" y="286072"/>
                      <a:pt x="20875" y="286072"/>
                    </a:cubicBezTo>
                    <a:lnTo>
                      <a:pt x="20875" y="286072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388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10385084" y="3628773"/>
              <a:ext cx="370961" cy="370182"/>
              <a:chOff x="11509335" y="3821548"/>
              <a:chExt cx="468197" cy="467214"/>
            </a:xfrm>
            <a:solidFill>
              <a:srgbClr val="B1B1A1"/>
            </a:solidFill>
          </p:grpSpPr>
          <p:sp>
            <p:nvSpPr>
              <p:cNvPr id="389" name="Forma Livre: Forma 388">
                <a:extLst>
                  <a:ext uri="{FF2B5EF4-FFF2-40B4-BE49-F238E27FC236}">
                    <a16:creationId xmlns:a16="http://schemas.microsoft.com/office/drawing/2014/main" id="{A04F1130-186B-4C9D-8438-B4123850A895}"/>
                  </a:ext>
                </a:extLst>
              </p:cNvPr>
              <p:cNvSpPr/>
              <p:nvPr/>
            </p:nvSpPr>
            <p:spPr>
              <a:xfrm>
                <a:off x="11712677" y="3821548"/>
                <a:ext cx="264854" cy="265417"/>
              </a:xfrm>
              <a:custGeom>
                <a:avLst/>
                <a:gdLst>
                  <a:gd name="connsiteX0" fmla="*/ 127960 w 264854"/>
                  <a:gd name="connsiteY0" fmla="*/ 265417 h 265417"/>
                  <a:gd name="connsiteX1" fmla="*/ 113269 w 264854"/>
                  <a:gd name="connsiteY1" fmla="*/ 259232 h 265417"/>
                  <a:gd name="connsiteX2" fmla="*/ 113269 w 264854"/>
                  <a:gd name="connsiteY2" fmla="*/ 229852 h 265417"/>
                  <a:gd name="connsiteX3" fmla="*/ 206822 w 264854"/>
                  <a:gd name="connsiteY3" fmla="*/ 136299 h 265417"/>
                  <a:gd name="connsiteX4" fmla="*/ 223833 w 264854"/>
                  <a:gd name="connsiteY4" fmla="*/ 97640 h 265417"/>
                  <a:gd name="connsiteX5" fmla="*/ 209915 w 264854"/>
                  <a:gd name="connsiteY5" fmla="*/ 61301 h 265417"/>
                  <a:gd name="connsiteX6" fmla="*/ 203731 w 264854"/>
                  <a:gd name="connsiteY6" fmla="*/ 55116 h 265417"/>
                  <a:gd name="connsiteX7" fmla="*/ 128733 w 264854"/>
                  <a:gd name="connsiteY7" fmla="*/ 58209 h 265417"/>
                  <a:gd name="connsiteX8" fmla="*/ 35180 w 264854"/>
                  <a:gd name="connsiteY8" fmla="*/ 151762 h 265417"/>
                  <a:gd name="connsiteX9" fmla="*/ 5799 w 264854"/>
                  <a:gd name="connsiteY9" fmla="*/ 151762 h 265417"/>
                  <a:gd name="connsiteX10" fmla="*/ 5799 w 264854"/>
                  <a:gd name="connsiteY10" fmla="*/ 122382 h 265417"/>
                  <a:gd name="connsiteX11" fmla="*/ 99353 w 264854"/>
                  <a:gd name="connsiteY11" fmla="*/ 28828 h 265417"/>
                  <a:gd name="connsiteX12" fmla="*/ 232337 w 264854"/>
                  <a:gd name="connsiteY12" fmla="*/ 25736 h 265417"/>
                  <a:gd name="connsiteX13" fmla="*/ 238523 w 264854"/>
                  <a:gd name="connsiteY13" fmla="*/ 31921 h 265417"/>
                  <a:gd name="connsiteX14" fmla="*/ 264810 w 264854"/>
                  <a:gd name="connsiteY14" fmla="*/ 98413 h 265417"/>
                  <a:gd name="connsiteX15" fmla="*/ 235430 w 264854"/>
                  <a:gd name="connsiteY15" fmla="*/ 164906 h 265417"/>
                  <a:gd name="connsiteX16" fmla="*/ 141877 w 264854"/>
                  <a:gd name="connsiteY16" fmla="*/ 258459 h 265417"/>
                  <a:gd name="connsiteX17" fmla="*/ 127960 w 264854"/>
                  <a:gd name="connsiteY17" fmla="*/ 265417 h 265417"/>
                  <a:gd name="connsiteX18" fmla="*/ 127960 w 264854"/>
                  <a:gd name="connsiteY18" fmla="*/ 265417 h 265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64854" h="265417">
                    <a:moveTo>
                      <a:pt x="127960" y="265417"/>
                    </a:moveTo>
                    <a:cubicBezTo>
                      <a:pt x="122548" y="265417"/>
                      <a:pt x="117135" y="263098"/>
                      <a:pt x="113269" y="259232"/>
                    </a:cubicBezTo>
                    <a:cubicBezTo>
                      <a:pt x="105538" y="251501"/>
                      <a:pt x="105538" y="238357"/>
                      <a:pt x="113269" y="229852"/>
                    </a:cubicBezTo>
                    <a:lnTo>
                      <a:pt x="206822" y="136299"/>
                    </a:lnTo>
                    <a:cubicBezTo>
                      <a:pt x="217647" y="125474"/>
                      <a:pt x="223060" y="112330"/>
                      <a:pt x="223833" y="97640"/>
                    </a:cubicBezTo>
                    <a:cubicBezTo>
                      <a:pt x="224606" y="83723"/>
                      <a:pt x="219194" y="70579"/>
                      <a:pt x="209915" y="61301"/>
                    </a:cubicBezTo>
                    <a:lnTo>
                      <a:pt x="203731" y="55116"/>
                    </a:lnTo>
                    <a:cubicBezTo>
                      <a:pt x="183627" y="35013"/>
                      <a:pt x="150382" y="36560"/>
                      <a:pt x="128733" y="58209"/>
                    </a:cubicBezTo>
                    <a:lnTo>
                      <a:pt x="35180" y="151762"/>
                    </a:lnTo>
                    <a:cubicBezTo>
                      <a:pt x="27448" y="159494"/>
                      <a:pt x="14304" y="159494"/>
                      <a:pt x="5799" y="151762"/>
                    </a:cubicBezTo>
                    <a:cubicBezTo>
                      <a:pt x="-1933" y="144030"/>
                      <a:pt x="-1933" y="130886"/>
                      <a:pt x="5799" y="122382"/>
                    </a:cubicBezTo>
                    <a:lnTo>
                      <a:pt x="99353" y="28828"/>
                    </a:lnTo>
                    <a:cubicBezTo>
                      <a:pt x="136464" y="-8284"/>
                      <a:pt x="196772" y="-9830"/>
                      <a:pt x="232337" y="25736"/>
                    </a:cubicBezTo>
                    <a:lnTo>
                      <a:pt x="238523" y="31921"/>
                    </a:lnTo>
                    <a:cubicBezTo>
                      <a:pt x="256305" y="49704"/>
                      <a:pt x="265584" y="72899"/>
                      <a:pt x="264810" y="98413"/>
                    </a:cubicBezTo>
                    <a:cubicBezTo>
                      <a:pt x="264037" y="123155"/>
                      <a:pt x="253986" y="147123"/>
                      <a:pt x="235430" y="164906"/>
                    </a:cubicBezTo>
                    <a:lnTo>
                      <a:pt x="141877" y="258459"/>
                    </a:lnTo>
                    <a:cubicBezTo>
                      <a:pt x="138784" y="263871"/>
                      <a:pt x="133371" y="265417"/>
                      <a:pt x="127960" y="265417"/>
                    </a:cubicBezTo>
                    <a:lnTo>
                      <a:pt x="127960" y="265417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90" name="Forma Livre: Forma 389">
                <a:extLst>
                  <a:ext uri="{FF2B5EF4-FFF2-40B4-BE49-F238E27FC236}">
                    <a16:creationId xmlns:a16="http://schemas.microsoft.com/office/drawing/2014/main" id="{5BCA2B7E-208A-46A5-A008-9EB398E3F4EE}"/>
                  </a:ext>
                </a:extLst>
              </p:cNvPr>
              <p:cNvSpPr/>
              <p:nvPr/>
            </p:nvSpPr>
            <p:spPr>
              <a:xfrm>
                <a:off x="11681751" y="3918801"/>
                <a:ext cx="200250" cy="200636"/>
              </a:xfrm>
              <a:custGeom>
                <a:avLst/>
                <a:gdLst>
                  <a:gd name="connsiteX0" fmla="*/ 179762 w 200250"/>
                  <a:gd name="connsiteY0" fmla="*/ 200637 h 200636"/>
                  <a:gd name="connsiteX1" fmla="*/ 165072 w 200250"/>
                  <a:gd name="connsiteY1" fmla="*/ 194452 h 200636"/>
                  <a:gd name="connsiteX2" fmla="*/ 5799 w 200250"/>
                  <a:gd name="connsiteY2" fmla="*/ 35179 h 200636"/>
                  <a:gd name="connsiteX3" fmla="*/ 5799 w 200250"/>
                  <a:gd name="connsiteY3" fmla="*/ 5799 h 200636"/>
                  <a:gd name="connsiteX4" fmla="*/ 35180 w 200250"/>
                  <a:gd name="connsiteY4" fmla="*/ 5799 h 200636"/>
                  <a:gd name="connsiteX5" fmla="*/ 194452 w 200250"/>
                  <a:gd name="connsiteY5" fmla="*/ 165071 h 200636"/>
                  <a:gd name="connsiteX6" fmla="*/ 194452 w 200250"/>
                  <a:gd name="connsiteY6" fmla="*/ 194452 h 200636"/>
                  <a:gd name="connsiteX7" fmla="*/ 179762 w 200250"/>
                  <a:gd name="connsiteY7" fmla="*/ 200637 h 200636"/>
                  <a:gd name="connsiteX8" fmla="*/ 179762 w 200250"/>
                  <a:gd name="connsiteY8" fmla="*/ 200637 h 200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0250" h="200636">
                    <a:moveTo>
                      <a:pt x="179762" y="200637"/>
                    </a:moveTo>
                    <a:cubicBezTo>
                      <a:pt x="174350" y="200637"/>
                      <a:pt x="168938" y="198318"/>
                      <a:pt x="165072" y="194452"/>
                    </a:cubicBezTo>
                    <a:lnTo>
                      <a:pt x="5799" y="35179"/>
                    </a:lnTo>
                    <a:cubicBezTo>
                      <a:pt x="-1933" y="27447"/>
                      <a:pt x="-1933" y="14304"/>
                      <a:pt x="5799" y="5799"/>
                    </a:cubicBezTo>
                    <a:cubicBezTo>
                      <a:pt x="13530" y="-1933"/>
                      <a:pt x="26675" y="-1933"/>
                      <a:pt x="35180" y="5799"/>
                    </a:cubicBezTo>
                    <a:lnTo>
                      <a:pt x="194452" y="165071"/>
                    </a:lnTo>
                    <a:cubicBezTo>
                      <a:pt x="202184" y="172803"/>
                      <a:pt x="202184" y="185947"/>
                      <a:pt x="194452" y="194452"/>
                    </a:cubicBezTo>
                    <a:cubicBezTo>
                      <a:pt x="189813" y="198318"/>
                      <a:pt x="184401" y="200637"/>
                      <a:pt x="179762" y="200637"/>
                    </a:cubicBezTo>
                    <a:lnTo>
                      <a:pt x="179762" y="200637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91" name="Forma Livre: Forma 390">
                <a:extLst>
                  <a:ext uri="{FF2B5EF4-FFF2-40B4-BE49-F238E27FC236}">
                    <a16:creationId xmlns:a16="http://schemas.microsoft.com/office/drawing/2014/main" id="{B1DFEF6B-2D07-456B-BE78-85589DDF6C90}"/>
                  </a:ext>
                </a:extLst>
              </p:cNvPr>
              <p:cNvSpPr/>
              <p:nvPr/>
            </p:nvSpPr>
            <p:spPr>
              <a:xfrm>
                <a:off x="11554178" y="4238893"/>
                <a:ext cx="49482" cy="49869"/>
              </a:xfrm>
              <a:custGeom>
                <a:avLst/>
                <a:gdLst>
                  <a:gd name="connsiteX0" fmla="*/ 20489 w 49482"/>
                  <a:gd name="connsiteY0" fmla="*/ 49869 h 49869"/>
                  <a:gd name="connsiteX1" fmla="*/ 5799 w 49482"/>
                  <a:gd name="connsiteY1" fmla="*/ 43684 h 49869"/>
                  <a:gd name="connsiteX2" fmla="*/ 5799 w 49482"/>
                  <a:gd name="connsiteY2" fmla="*/ 14303 h 49869"/>
                  <a:gd name="connsiteX3" fmla="*/ 14304 w 49482"/>
                  <a:gd name="connsiteY3" fmla="*/ 5799 h 49869"/>
                  <a:gd name="connsiteX4" fmla="*/ 43684 w 49482"/>
                  <a:gd name="connsiteY4" fmla="*/ 5799 h 49869"/>
                  <a:gd name="connsiteX5" fmla="*/ 43684 w 49482"/>
                  <a:gd name="connsiteY5" fmla="*/ 35179 h 49869"/>
                  <a:gd name="connsiteX6" fmla="*/ 35180 w 49482"/>
                  <a:gd name="connsiteY6" fmla="*/ 43684 h 49869"/>
                  <a:gd name="connsiteX7" fmla="*/ 20489 w 49482"/>
                  <a:gd name="connsiteY7" fmla="*/ 49869 h 49869"/>
                  <a:gd name="connsiteX8" fmla="*/ 20489 w 49482"/>
                  <a:gd name="connsiteY8" fmla="*/ 49869 h 49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9482" h="49869">
                    <a:moveTo>
                      <a:pt x="20489" y="49869"/>
                    </a:moveTo>
                    <a:cubicBezTo>
                      <a:pt x="15077" y="49869"/>
                      <a:pt x="9665" y="47550"/>
                      <a:pt x="5799" y="43684"/>
                    </a:cubicBezTo>
                    <a:cubicBezTo>
                      <a:pt x="-1933" y="35953"/>
                      <a:pt x="-1933" y="22809"/>
                      <a:pt x="5799" y="14303"/>
                    </a:cubicBezTo>
                    <a:lnTo>
                      <a:pt x="14304" y="5799"/>
                    </a:lnTo>
                    <a:cubicBezTo>
                      <a:pt x="22036" y="-1933"/>
                      <a:pt x="35180" y="-1933"/>
                      <a:pt x="43684" y="5799"/>
                    </a:cubicBezTo>
                    <a:cubicBezTo>
                      <a:pt x="51416" y="13530"/>
                      <a:pt x="51416" y="26674"/>
                      <a:pt x="43684" y="35179"/>
                    </a:cubicBezTo>
                    <a:lnTo>
                      <a:pt x="35180" y="43684"/>
                    </a:lnTo>
                    <a:cubicBezTo>
                      <a:pt x="31314" y="47550"/>
                      <a:pt x="25902" y="49869"/>
                      <a:pt x="20489" y="49869"/>
                    </a:cubicBezTo>
                    <a:lnTo>
                      <a:pt x="20489" y="49869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92" name="Forma Livre: Forma 391">
                <a:extLst>
                  <a:ext uri="{FF2B5EF4-FFF2-40B4-BE49-F238E27FC236}">
                    <a16:creationId xmlns:a16="http://schemas.microsoft.com/office/drawing/2014/main" id="{DC7F2FE6-4CBB-4191-898D-F9CF9B307197}"/>
                  </a:ext>
                </a:extLst>
              </p:cNvPr>
              <p:cNvSpPr/>
              <p:nvPr/>
            </p:nvSpPr>
            <p:spPr>
              <a:xfrm>
                <a:off x="11509335" y="4193276"/>
                <a:ext cx="49482" cy="49869"/>
              </a:xfrm>
              <a:custGeom>
                <a:avLst/>
                <a:gdLst>
                  <a:gd name="connsiteX0" fmla="*/ 20489 w 49482"/>
                  <a:gd name="connsiteY0" fmla="*/ 49869 h 49869"/>
                  <a:gd name="connsiteX1" fmla="*/ 5799 w 49482"/>
                  <a:gd name="connsiteY1" fmla="*/ 43684 h 49869"/>
                  <a:gd name="connsiteX2" fmla="*/ 5799 w 49482"/>
                  <a:gd name="connsiteY2" fmla="*/ 14304 h 49869"/>
                  <a:gd name="connsiteX3" fmla="*/ 14303 w 49482"/>
                  <a:gd name="connsiteY3" fmla="*/ 5799 h 49869"/>
                  <a:gd name="connsiteX4" fmla="*/ 43684 w 49482"/>
                  <a:gd name="connsiteY4" fmla="*/ 5799 h 49869"/>
                  <a:gd name="connsiteX5" fmla="*/ 43684 w 49482"/>
                  <a:gd name="connsiteY5" fmla="*/ 35180 h 49869"/>
                  <a:gd name="connsiteX6" fmla="*/ 35179 w 49482"/>
                  <a:gd name="connsiteY6" fmla="*/ 43684 h 49869"/>
                  <a:gd name="connsiteX7" fmla="*/ 20489 w 49482"/>
                  <a:gd name="connsiteY7" fmla="*/ 49869 h 49869"/>
                  <a:gd name="connsiteX8" fmla="*/ 20489 w 49482"/>
                  <a:gd name="connsiteY8" fmla="*/ 49869 h 49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9482" h="49869">
                    <a:moveTo>
                      <a:pt x="20489" y="49869"/>
                    </a:moveTo>
                    <a:cubicBezTo>
                      <a:pt x="15076" y="49869"/>
                      <a:pt x="9665" y="47550"/>
                      <a:pt x="5799" y="43684"/>
                    </a:cubicBezTo>
                    <a:cubicBezTo>
                      <a:pt x="-1933" y="35953"/>
                      <a:pt x="-1933" y="22809"/>
                      <a:pt x="5799" y="14304"/>
                    </a:cubicBezTo>
                    <a:lnTo>
                      <a:pt x="14303" y="5799"/>
                    </a:lnTo>
                    <a:cubicBezTo>
                      <a:pt x="22035" y="-1933"/>
                      <a:pt x="35179" y="-1933"/>
                      <a:pt x="43684" y="5799"/>
                    </a:cubicBezTo>
                    <a:cubicBezTo>
                      <a:pt x="51416" y="13530"/>
                      <a:pt x="51416" y="26674"/>
                      <a:pt x="43684" y="35180"/>
                    </a:cubicBezTo>
                    <a:lnTo>
                      <a:pt x="35179" y="43684"/>
                    </a:lnTo>
                    <a:cubicBezTo>
                      <a:pt x="30540" y="48323"/>
                      <a:pt x="25128" y="49869"/>
                      <a:pt x="20489" y="49869"/>
                    </a:cubicBezTo>
                    <a:lnTo>
                      <a:pt x="20489" y="49869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93" name="Forma Livre: Forma 392">
                <a:extLst>
                  <a:ext uri="{FF2B5EF4-FFF2-40B4-BE49-F238E27FC236}">
                    <a16:creationId xmlns:a16="http://schemas.microsoft.com/office/drawing/2014/main" id="{912111ED-379E-4E39-A543-30E6D8685B4F}"/>
                  </a:ext>
                </a:extLst>
              </p:cNvPr>
              <p:cNvSpPr/>
              <p:nvPr/>
            </p:nvSpPr>
            <p:spPr>
              <a:xfrm>
                <a:off x="11519727" y="3965965"/>
                <a:ext cx="314338" cy="314292"/>
              </a:xfrm>
              <a:custGeom>
                <a:avLst/>
                <a:gdLst>
                  <a:gd name="connsiteX0" fmla="*/ 69630 w 314338"/>
                  <a:gd name="connsiteY0" fmla="*/ 314293 h 314292"/>
                  <a:gd name="connsiteX1" fmla="*/ 48755 w 314338"/>
                  <a:gd name="connsiteY1" fmla="*/ 294190 h 314292"/>
                  <a:gd name="connsiteX2" fmla="*/ 68857 w 314338"/>
                  <a:gd name="connsiteY2" fmla="*/ 273315 h 314292"/>
                  <a:gd name="connsiteX3" fmla="*/ 88186 w 314338"/>
                  <a:gd name="connsiteY3" fmla="*/ 265583 h 314292"/>
                  <a:gd name="connsiteX4" fmla="*/ 263695 w 314338"/>
                  <a:gd name="connsiteY4" fmla="*/ 90074 h 314292"/>
                  <a:gd name="connsiteX5" fmla="*/ 224264 w 314338"/>
                  <a:gd name="connsiteY5" fmla="*/ 50642 h 314292"/>
                  <a:gd name="connsiteX6" fmla="*/ 48755 w 314338"/>
                  <a:gd name="connsiteY6" fmla="*/ 226152 h 314292"/>
                  <a:gd name="connsiteX7" fmla="*/ 41023 w 314338"/>
                  <a:gd name="connsiteY7" fmla="*/ 245481 h 314292"/>
                  <a:gd name="connsiteX8" fmla="*/ 20147 w 314338"/>
                  <a:gd name="connsiteY8" fmla="*/ 265583 h 314292"/>
                  <a:gd name="connsiteX9" fmla="*/ 20147 w 314338"/>
                  <a:gd name="connsiteY9" fmla="*/ 265583 h 314292"/>
                  <a:gd name="connsiteX10" fmla="*/ 45 w 314338"/>
                  <a:gd name="connsiteY10" fmla="*/ 244707 h 314292"/>
                  <a:gd name="connsiteX11" fmla="*/ 20147 w 314338"/>
                  <a:gd name="connsiteY11" fmla="*/ 195998 h 314292"/>
                  <a:gd name="connsiteX12" fmla="*/ 210346 w 314338"/>
                  <a:gd name="connsiteY12" fmla="*/ 5799 h 314292"/>
                  <a:gd name="connsiteX13" fmla="*/ 239727 w 314338"/>
                  <a:gd name="connsiteY13" fmla="*/ 5799 h 314292"/>
                  <a:gd name="connsiteX14" fmla="*/ 308539 w 314338"/>
                  <a:gd name="connsiteY14" fmla="*/ 74610 h 314292"/>
                  <a:gd name="connsiteX15" fmla="*/ 308539 w 314338"/>
                  <a:gd name="connsiteY15" fmla="*/ 103991 h 314292"/>
                  <a:gd name="connsiteX16" fmla="*/ 118340 w 314338"/>
                  <a:gd name="connsiteY16" fmla="*/ 294190 h 314292"/>
                  <a:gd name="connsiteX17" fmla="*/ 69630 w 314338"/>
                  <a:gd name="connsiteY17" fmla="*/ 314293 h 314292"/>
                  <a:gd name="connsiteX18" fmla="*/ 69630 w 314338"/>
                  <a:gd name="connsiteY18" fmla="*/ 314293 h 314292"/>
                  <a:gd name="connsiteX19" fmla="*/ 69630 w 314338"/>
                  <a:gd name="connsiteY19" fmla="*/ 314293 h 314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14338" h="314292">
                    <a:moveTo>
                      <a:pt x="69630" y="314293"/>
                    </a:moveTo>
                    <a:cubicBezTo>
                      <a:pt x="58033" y="314293"/>
                      <a:pt x="48755" y="305015"/>
                      <a:pt x="48755" y="294190"/>
                    </a:cubicBezTo>
                    <a:cubicBezTo>
                      <a:pt x="48755" y="282593"/>
                      <a:pt x="58033" y="273315"/>
                      <a:pt x="68857" y="273315"/>
                    </a:cubicBezTo>
                    <a:cubicBezTo>
                      <a:pt x="76589" y="273315"/>
                      <a:pt x="83548" y="270222"/>
                      <a:pt x="88186" y="265583"/>
                    </a:cubicBezTo>
                    <a:lnTo>
                      <a:pt x="263695" y="90074"/>
                    </a:lnTo>
                    <a:lnTo>
                      <a:pt x="224264" y="50642"/>
                    </a:lnTo>
                    <a:lnTo>
                      <a:pt x="48755" y="226152"/>
                    </a:lnTo>
                    <a:cubicBezTo>
                      <a:pt x="43342" y="231564"/>
                      <a:pt x="41023" y="238522"/>
                      <a:pt x="41023" y="245481"/>
                    </a:cubicBezTo>
                    <a:cubicBezTo>
                      <a:pt x="41023" y="257078"/>
                      <a:pt x="31745" y="265583"/>
                      <a:pt x="20147" y="265583"/>
                    </a:cubicBezTo>
                    <a:cubicBezTo>
                      <a:pt x="20147" y="265583"/>
                      <a:pt x="20147" y="265583"/>
                      <a:pt x="20147" y="265583"/>
                    </a:cubicBezTo>
                    <a:cubicBezTo>
                      <a:pt x="8550" y="265583"/>
                      <a:pt x="-728" y="256305"/>
                      <a:pt x="45" y="244707"/>
                    </a:cubicBezTo>
                    <a:cubicBezTo>
                      <a:pt x="45" y="226152"/>
                      <a:pt x="7004" y="209142"/>
                      <a:pt x="20147" y="195998"/>
                    </a:cubicBezTo>
                    <a:lnTo>
                      <a:pt x="210346" y="5799"/>
                    </a:lnTo>
                    <a:cubicBezTo>
                      <a:pt x="218078" y="-1933"/>
                      <a:pt x="231222" y="-1933"/>
                      <a:pt x="239727" y="5799"/>
                    </a:cubicBezTo>
                    <a:lnTo>
                      <a:pt x="308539" y="74610"/>
                    </a:lnTo>
                    <a:cubicBezTo>
                      <a:pt x="316271" y="82342"/>
                      <a:pt x="316271" y="95486"/>
                      <a:pt x="308539" y="103991"/>
                    </a:cubicBezTo>
                    <a:lnTo>
                      <a:pt x="118340" y="294190"/>
                    </a:lnTo>
                    <a:cubicBezTo>
                      <a:pt x="105196" y="307334"/>
                      <a:pt x="88186" y="314293"/>
                      <a:pt x="69630" y="314293"/>
                    </a:cubicBezTo>
                    <a:cubicBezTo>
                      <a:pt x="69630" y="314293"/>
                      <a:pt x="69630" y="314293"/>
                      <a:pt x="69630" y="314293"/>
                    </a:cubicBezTo>
                    <a:lnTo>
                      <a:pt x="69630" y="314293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394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8394456" y="5633971"/>
              <a:ext cx="382259" cy="381647"/>
              <a:chOff x="8996925" y="6352347"/>
              <a:chExt cx="482457" cy="481684"/>
            </a:xfrm>
            <a:solidFill>
              <a:srgbClr val="B1B1A1"/>
            </a:solidFill>
          </p:grpSpPr>
          <p:sp>
            <p:nvSpPr>
              <p:cNvPr id="395" name="Forma Livre: Forma 394">
                <a:extLst>
                  <a:ext uri="{FF2B5EF4-FFF2-40B4-BE49-F238E27FC236}">
                    <a16:creationId xmlns:a16="http://schemas.microsoft.com/office/drawing/2014/main" id="{D2F60864-3FF5-4924-891A-043CEEE3F2AA}"/>
                  </a:ext>
                </a:extLst>
              </p:cNvPr>
              <p:cNvSpPr/>
              <p:nvPr/>
            </p:nvSpPr>
            <p:spPr>
              <a:xfrm>
                <a:off x="8996925" y="6352347"/>
                <a:ext cx="482457" cy="481684"/>
              </a:xfrm>
              <a:custGeom>
                <a:avLst/>
                <a:gdLst>
                  <a:gd name="connsiteX0" fmla="*/ 460809 w 482457"/>
                  <a:gd name="connsiteY0" fmla="*/ 481684 h 481684"/>
                  <a:gd name="connsiteX1" fmla="*/ 20876 w 482457"/>
                  <a:gd name="connsiteY1" fmla="*/ 481684 h 481684"/>
                  <a:gd name="connsiteX2" fmla="*/ 0 w 482457"/>
                  <a:gd name="connsiteY2" fmla="*/ 460808 h 481684"/>
                  <a:gd name="connsiteX3" fmla="*/ 0 w 482457"/>
                  <a:gd name="connsiteY3" fmla="*/ 20876 h 481684"/>
                  <a:gd name="connsiteX4" fmla="*/ 20876 w 482457"/>
                  <a:gd name="connsiteY4" fmla="*/ 0 h 481684"/>
                  <a:gd name="connsiteX5" fmla="*/ 460809 w 482457"/>
                  <a:gd name="connsiteY5" fmla="*/ 0 h 481684"/>
                  <a:gd name="connsiteX6" fmla="*/ 481684 w 482457"/>
                  <a:gd name="connsiteY6" fmla="*/ 20876 h 481684"/>
                  <a:gd name="connsiteX7" fmla="*/ 460809 w 482457"/>
                  <a:gd name="connsiteY7" fmla="*/ 41751 h 481684"/>
                  <a:gd name="connsiteX8" fmla="*/ 41751 w 482457"/>
                  <a:gd name="connsiteY8" fmla="*/ 41751 h 481684"/>
                  <a:gd name="connsiteX9" fmla="*/ 41751 w 482457"/>
                  <a:gd name="connsiteY9" fmla="*/ 440706 h 481684"/>
                  <a:gd name="connsiteX10" fmla="*/ 440706 w 482457"/>
                  <a:gd name="connsiteY10" fmla="*/ 440706 h 481684"/>
                  <a:gd name="connsiteX11" fmla="*/ 440706 w 482457"/>
                  <a:gd name="connsiteY11" fmla="*/ 325504 h 481684"/>
                  <a:gd name="connsiteX12" fmla="*/ 461582 w 482457"/>
                  <a:gd name="connsiteY12" fmla="*/ 304628 h 481684"/>
                  <a:gd name="connsiteX13" fmla="*/ 482457 w 482457"/>
                  <a:gd name="connsiteY13" fmla="*/ 325504 h 481684"/>
                  <a:gd name="connsiteX14" fmla="*/ 482457 w 482457"/>
                  <a:gd name="connsiteY14" fmla="*/ 461581 h 481684"/>
                  <a:gd name="connsiteX15" fmla="*/ 460809 w 482457"/>
                  <a:gd name="connsiteY15" fmla="*/ 481684 h 481684"/>
                  <a:gd name="connsiteX16" fmla="*/ 460809 w 482457"/>
                  <a:gd name="connsiteY16" fmla="*/ 481684 h 4816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82457" h="481684">
                    <a:moveTo>
                      <a:pt x="460809" y="481684"/>
                    </a:moveTo>
                    <a:lnTo>
                      <a:pt x="20876" y="481684"/>
                    </a:lnTo>
                    <a:cubicBezTo>
                      <a:pt x="9279" y="481684"/>
                      <a:pt x="0" y="472406"/>
                      <a:pt x="0" y="460808"/>
                    </a:cubicBezTo>
                    <a:lnTo>
                      <a:pt x="0" y="20876"/>
                    </a:lnTo>
                    <a:cubicBezTo>
                      <a:pt x="0" y="9278"/>
                      <a:pt x="9279" y="0"/>
                      <a:pt x="20876" y="0"/>
                    </a:cubicBezTo>
                    <a:lnTo>
                      <a:pt x="460809" y="0"/>
                    </a:lnTo>
                    <a:cubicBezTo>
                      <a:pt x="472406" y="0"/>
                      <a:pt x="481684" y="9278"/>
                      <a:pt x="481684" y="20876"/>
                    </a:cubicBezTo>
                    <a:cubicBezTo>
                      <a:pt x="481684" y="32473"/>
                      <a:pt x="472406" y="41751"/>
                      <a:pt x="460809" y="41751"/>
                    </a:cubicBezTo>
                    <a:lnTo>
                      <a:pt x="41751" y="41751"/>
                    </a:lnTo>
                    <a:lnTo>
                      <a:pt x="41751" y="440706"/>
                    </a:lnTo>
                    <a:lnTo>
                      <a:pt x="440706" y="440706"/>
                    </a:lnTo>
                    <a:lnTo>
                      <a:pt x="440706" y="325504"/>
                    </a:lnTo>
                    <a:cubicBezTo>
                      <a:pt x="440706" y="313906"/>
                      <a:pt x="449984" y="304628"/>
                      <a:pt x="461582" y="304628"/>
                    </a:cubicBezTo>
                    <a:cubicBezTo>
                      <a:pt x="473179" y="304628"/>
                      <a:pt x="482457" y="313906"/>
                      <a:pt x="482457" y="325504"/>
                    </a:cubicBezTo>
                    <a:lnTo>
                      <a:pt x="482457" y="461581"/>
                    </a:lnTo>
                    <a:cubicBezTo>
                      <a:pt x="481684" y="472406"/>
                      <a:pt x="472406" y="481684"/>
                      <a:pt x="460809" y="481684"/>
                    </a:cubicBezTo>
                    <a:lnTo>
                      <a:pt x="460809" y="481684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96" name="Forma Livre: Forma 395">
                <a:extLst>
                  <a:ext uri="{FF2B5EF4-FFF2-40B4-BE49-F238E27FC236}">
                    <a16:creationId xmlns:a16="http://schemas.microsoft.com/office/drawing/2014/main" id="{5CFC7AB3-F10B-46BE-8E82-04D137B38EEF}"/>
                  </a:ext>
                </a:extLst>
              </p:cNvPr>
              <p:cNvSpPr/>
              <p:nvPr/>
            </p:nvSpPr>
            <p:spPr>
              <a:xfrm>
                <a:off x="9003568" y="6461045"/>
                <a:ext cx="469175" cy="364481"/>
              </a:xfrm>
              <a:custGeom>
                <a:avLst/>
                <a:gdLst>
                  <a:gd name="connsiteX0" fmla="*/ 20418 w 469175"/>
                  <a:gd name="connsiteY0" fmla="*/ 364481 h 364481"/>
                  <a:gd name="connsiteX1" fmla="*/ 10367 w 469175"/>
                  <a:gd name="connsiteY1" fmla="*/ 362162 h 364481"/>
                  <a:gd name="connsiteX2" fmla="*/ 2636 w 469175"/>
                  <a:gd name="connsiteY2" fmla="*/ 334328 h 364481"/>
                  <a:gd name="connsiteX3" fmla="*/ 128661 w 469175"/>
                  <a:gd name="connsiteY3" fmla="*/ 110882 h 364481"/>
                  <a:gd name="connsiteX4" fmla="*/ 147218 w 469175"/>
                  <a:gd name="connsiteY4" fmla="*/ 100831 h 364481"/>
                  <a:gd name="connsiteX5" fmla="*/ 165001 w 469175"/>
                  <a:gd name="connsiteY5" fmla="*/ 112429 h 364481"/>
                  <a:gd name="connsiteX6" fmla="*/ 212937 w 469175"/>
                  <a:gd name="connsiteY6" fmla="*/ 208301 h 364481"/>
                  <a:gd name="connsiteX7" fmla="*/ 265513 w 469175"/>
                  <a:gd name="connsiteY7" fmla="*/ 118614 h 364481"/>
                  <a:gd name="connsiteX8" fmla="*/ 271697 w 469175"/>
                  <a:gd name="connsiteY8" fmla="*/ 111655 h 364481"/>
                  <a:gd name="connsiteX9" fmla="*/ 437156 w 469175"/>
                  <a:gd name="connsiteY9" fmla="*/ 3412 h 364481"/>
                  <a:gd name="connsiteX10" fmla="*/ 465763 w 469175"/>
                  <a:gd name="connsiteY10" fmla="*/ 9598 h 364481"/>
                  <a:gd name="connsiteX11" fmla="*/ 459578 w 469175"/>
                  <a:gd name="connsiteY11" fmla="*/ 38204 h 364481"/>
                  <a:gd name="connsiteX12" fmla="*/ 297985 w 469175"/>
                  <a:gd name="connsiteY12" fmla="*/ 143356 h 364481"/>
                  <a:gd name="connsiteX13" fmla="*/ 228400 w 469175"/>
                  <a:gd name="connsiteY13" fmla="*/ 261650 h 364481"/>
                  <a:gd name="connsiteX14" fmla="*/ 209844 w 469175"/>
                  <a:gd name="connsiteY14" fmla="*/ 271701 h 364481"/>
                  <a:gd name="connsiteX15" fmla="*/ 192062 w 469175"/>
                  <a:gd name="connsiteY15" fmla="*/ 260104 h 364481"/>
                  <a:gd name="connsiteX16" fmla="*/ 144125 w 469175"/>
                  <a:gd name="connsiteY16" fmla="*/ 165004 h 364481"/>
                  <a:gd name="connsiteX17" fmla="*/ 36655 w 469175"/>
                  <a:gd name="connsiteY17" fmla="*/ 355203 h 364481"/>
                  <a:gd name="connsiteX18" fmla="*/ 20418 w 469175"/>
                  <a:gd name="connsiteY18" fmla="*/ 364481 h 364481"/>
                  <a:gd name="connsiteX19" fmla="*/ 20418 w 469175"/>
                  <a:gd name="connsiteY19" fmla="*/ 364481 h 3644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469175" h="364481">
                    <a:moveTo>
                      <a:pt x="20418" y="364481"/>
                    </a:moveTo>
                    <a:cubicBezTo>
                      <a:pt x="17326" y="364481"/>
                      <a:pt x="13460" y="363708"/>
                      <a:pt x="10367" y="362162"/>
                    </a:cubicBezTo>
                    <a:cubicBezTo>
                      <a:pt x="316" y="356750"/>
                      <a:pt x="-2777" y="344379"/>
                      <a:pt x="2636" y="334328"/>
                    </a:cubicBezTo>
                    <a:lnTo>
                      <a:pt x="128661" y="110882"/>
                    </a:lnTo>
                    <a:cubicBezTo>
                      <a:pt x="132527" y="103924"/>
                      <a:pt x="139486" y="100058"/>
                      <a:pt x="147218" y="100831"/>
                    </a:cubicBezTo>
                    <a:cubicBezTo>
                      <a:pt x="154949" y="100831"/>
                      <a:pt x="161908" y="105470"/>
                      <a:pt x="165001" y="112429"/>
                    </a:cubicBezTo>
                    <a:lnTo>
                      <a:pt x="212937" y="208301"/>
                    </a:lnTo>
                    <a:lnTo>
                      <a:pt x="265513" y="118614"/>
                    </a:lnTo>
                    <a:cubicBezTo>
                      <a:pt x="267059" y="115521"/>
                      <a:pt x="269378" y="113202"/>
                      <a:pt x="271697" y="111655"/>
                    </a:cubicBezTo>
                    <a:lnTo>
                      <a:pt x="437156" y="3412"/>
                    </a:lnTo>
                    <a:cubicBezTo>
                      <a:pt x="446434" y="-2773"/>
                      <a:pt x="459578" y="-454"/>
                      <a:pt x="465763" y="9598"/>
                    </a:cubicBezTo>
                    <a:cubicBezTo>
                      <a:pt x="471948" y="18875"/>
                      <a:pt x="469629" y="32019"/>
                      <a:pt x="459578" y="38204"/>
                    </a:cubicBezTo>
                    <a:lnTo>
                      <a:pt x="297985" y="143356"/>
                    </a:lnTo>
                    <a:lnTo>
                      <a:pt x="228400" y="261650"/>
                    </a:lnTo>
                    <a:cubicBezTo>
                      <a:pt x="224534" y="267835"/>
                      <a:pt x="217576" y="272475"/>
                      <a:pt x="209844" y="271701"/>
                    </a:cubicBezTo>
                    <a:cubicBezTo>
                      <a:pt x="202112" y="271701"/>
                      <a:pt x="195928" y="267062"/>
                      <a:pt x="192062" y="260104"/>
                    </a:cubicBezTo>
                    <a:lnTo>
                      <a:pt x="144125" y="165004"/>
                    </a:lnTo>
                    <a:lnTo>
                      <a:pt x="36655" y="355203"/>
                    </a:lnTo>
                    <a:cubicBezTo>
                      <a:pt x="35108" y="360616"/>
                      <a:pt x="28150" y="364481"/>
                      <a:pt x="20418" y="364481"/>
                    </a:cubicBezTo>
                    <a:lnTo>
                      <a:pt x="20418" y="364481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97" name="Forma Livre: Forma 396">
                <a:extLst>
                  <a:ext uri="{FF2B5EF4-FFF2-40B4-BE49-F238E27FC236}">
                    <a16:creationId xmlns:a16="http://schemas.microsoft.com/office/drawing/2014/main" id="{AC94973C-46CF-4541-B9A1-B2D3CE973F03}"/>
                  </a:ext>
                </a:extLst>
              </p:cNvPr>
              <p:cNvSpPr/>
              <p:nvPr/>
            </p:nvSpPr>
            <p:spPr>
              <a:xfrm>
                <a:off x="9279905" y="6430438"/>
                <a:ext cx="197930" cy="197930"/>
              </a:xfrm>
              <a:custGeom>
                <a:avLst/>
                <a:gdLst>
                  <a:gd name="connsiteX0" fmla="*/ 177055 w 197930"/>
                  <a:gd name="connsiteY0" fmla="*/ 197931 h 197930"/>
                  <a:gd name="connsiteX1" fmla="*/ 156180 w 197930"/>
                  <a:gd name="connsiteY1" fmla="*/ 177055 h 197930"/>
                  <a:gd name="connsiteX2" fmla="*/ 156180 w 197930"/>
                  <a:gd name="connsiteY2" fmla="*/ 41751 h 197930"/>
                  <a:gd name="connsiteX3" fmla="*/ 20875 w 197930"/>
                  <a:gd name="connsiteY3" fmla="*/ 41751 h 197930"/>
                  <a:gd name="connsiteX4" fmla="*/ 0 w 197930"/>
                  <a:gd name="connsiteY4" fmla="*/ 20876 h 197930"/>
                  <a:gd name="connsiteX5" fmla="*/ 20875 w 197930"/>
                  <a:gd name="connsiteY5" fmla="*/ 0 h 197930"/>
                  <a:gd name="connsiteX6" fmla="*/ 177055 w 197930"/>
                  <a:gd name="connsiteY6" fmla="*/ 0 h 197930"/>
                  <a:gd name="connsiteX7" fmla="*/ 197931 w 197930"/>
                  <a:gd name="connsiteY7" fmla="*/ 20876 h 197930"/>
                  <a:gd name="connsiteX8" fmla="*/ 197931 w 197930"/>
                  <a:gd name="connsiteY8" fmla="*/ 177055 h 197930"/>
                  <a:gd name="connsiteX9" fmla="*/ 177055 w 197930"/>
                  <a:gd name="connsiteY9" fmla="*/ 197931 h 197930"/>
                  <a:gd name="connsiteX10" fmla="*/ 177055 w 197930"/>
                  <a:gd name="connsiteY10" fmla="*/ 197931 h 197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97930" h="197930">
                    <a:moveTo>
                      <a:pt x="177055" y="197931"/>
                    </a:moveTo>
                    <a:cubicBezTo>
                      <a:pt x="165457" y="197931"/>
                      <a:pt x="156180" y="188653"/>
                      <a:pt x="156180" y="177055"/>
                    </a:cubicBezTo>
                    <a:lnTo>
                      <a:pt x="156180" y="41751"/>
                    </a:lnTo>
                    <a:lnTo>
                      <a:pt x="20875" y="41751"/>
                    </a:lnTo>
                    <a:cubicBezTo>
                      <a:pt x="9278" y="41751"/>
                      <a:pt x="0" y="32473"/>
                      <a:pt x="0" y="20876"/>
                    </a:cubicBezTo>
                    <a:cubicBezTo>
                      <a:pt x="0" y="9278"/>
                      <a:pt x="9278" y="0"/>
                      <a:pt x="20875" y="0"/>
                    </a:cubicBezTo>
                    <a:lnTo>
                      <a:pt x="177055" y="0"/>
                    </a:lnTo>
                    <a:cubicBezTo>
                      <a:pt x="188652" y="0"/>
                      <a:pt x="197931" y="9278"/>
                      <a:pt x="197931" y="20876"/>
                    </a:cubicBezTo>
                    <a:lnTo>
                      <a:pt x="197931" y="177055"/>
                    </a:lnTo>
                    <a:cubicBezTo>
                      <a:pt x="197158" y="188653"/>
                      <a:pt x="187879" y="197931"/>
                      <a:pt x="177055" y="197931"/>
                    </a:cubicBezTo>
                    <a:lnTo>
                      <a:pt x="177055" y="197931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398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5402542" y="3619759"/>
              <a:ext cx="387772" cy="387772"/>
              <a:chOff x="5220773" y="3810171"/>
              <a:chExt cx="489415" cy="489415"/>
            </a:xfrm>
            <a:solidFill>
              <a:srgbClr val="B1B1A1"/>
            </a:solidFill>
          </p:grpSpPr>
          <p:grpSp>
            <p:nvGrpSpPr>
              <p:cNvPr id="399" name="Gráfico 2">
                <a:extLst>
                  <a:ext uri="{FF2B5EF4-FFF2-40B4-BE49-F238E27FC236}">
                    <a16:creationId xmlns:a16="http://schemas.microsoft.com/office/drawing/2014/main" id="{6FEF66BF-8D1E-4FFA-95A2-6EE56886837B}"/>
                  </a:ext>
                </a:extLst>
              </p:cNvPr>
              <p:cNvGrpSpPr/>
              <p:nvPr/>
            </p:nvGrpSpPr>
            <p:grpSpPr>
              <a:xfrm>
                <a:off x="5301955" y="3814037"/>
                <a:ext cx="401274" cy="400500"/>
                <a:chOff x="5301955" y="3814037"/>
                <a:chExt cx="401274" cy="400500"/>
              </a:xfrm>
              <a:grpFill/>
            </p:grpSpPr>
            <p:sp>
              <p:nvSpPr>
                <p:cNvPr id="400" name="Forma Livre: Forma 399">
                  <a:extLst>
                    <a:ext uri="{FF2B5EF4-FFF2-40B4-BE49-F238E27FC236}">
                      <a16:creationId xmlns:a16="http://schemas.microsoft.com/office/drawing/2014/main" id="{767A9C93-2D46-4247-A6DE-46FA90EB30B9}"/>
                    </a:ext>
                  </a:extLst>
                </p:cNvPr>
                <p:cNvSpPr/>
                <p:nvPr/>
              </p:nvSpPr>
              <p:spPr>
                <a:xfrm>
                  <a:off x="5301955" y="3814037"/>
                  <a:ext cx="401274" cy="400500"/>
                </a:xfrm>
                <a:custGeom>
                  <a:avLst/>
                  <a:gdLst>
                    <a:gd name="connsiteX0" fmla="*/ 20876 w 401274"/>
                    <a:gd name="connsiteY0" fmla="*/ 400501 h 400500"/>
                    <a:gd name="connsiteX1" fmla="*/ 6185 w 401274"/>
                    <a:gd name="connsiteY1" fmla="*/ 394316 h 400500"/>
                    <a:gd name="connsiteX2" fmla="*/ 0 w 401274"/>
                    <a:gd name="connsiteY2" fmla="*/ 378852 h 400500"/>
                    <a:gd name="connsiteX3" fmla="*/ 5412 w 401274"/>
                    <a:gd name="connsiteY3" fmla="*/ 288392 h 400500"/>
                    <a:gd name="connsiteX4" fmla="*/ 11598 w 401274"/>
                    <a:gd name="connsiteY4" fmla="*/ 275248 h 400500"/>
                    <a:gd name="connsiteX5" fmla="*/ 280660 w 401274"/>
                    <a:gd name="connsiteY5" fmla="*/ 6185 h 400500"/>
                    <a:gd name="connsiteX6" fmla="*/ 295350 w 401274"/>
                    <a:gd name="connsiteY6" fmla="*/ 0 h 400500"/>
                    <a:gd name="connsiteX7" fmla="*/ 295350 w 401274"/>
                    <a:gd name="connsiteY7" fmla="*/ 0 h 400500"/>
                    <a:gd name="connsiteX8" fmla="*/ 310041 w 401274"/>
                    <a:gd name="connsiteY8" fmla="*/ 6185 h 400500"/>
                    <a:gd name="connsiteX9" fmla="*/ 395089 w 401274"/>
                    <a:gd name="connsiteY9" fmla="*/ 91234 h 400500"/>
                    <a:gd name="connsiteX10" fmla="*/ 401274 w 401274"/>
                    <a:gd name="connsiteY10" fmla="*/ 105924 h 400500"/>
                    <a:gd name="connsiteX11" fmla="*/ 395089 w 401274"/>
                    <a:gd name="connsiteY11" fmla="*/ 120614 h 400500"/>
                    <a:gd name="connsiteX12" fmla="*/ 125253 w 401274"/>
                    <a:gd name="connsiteY12" fmla="*/ 388903 h 400500"/>
                    <a:gd name="connsiteX13" fmla="*/ 112109 w 401274"/>
                    <a:gd name="connsiteY13" fmla="*/ 395089 h 400500"/>
                    <a:gd name="connsiteX14" fmla="*/ 21649 w 401274"/>
                    <a:gd name="connsiteY14" fmla="*/ 400501 h 400500"/>
                    <a:gd name="connsiteX15" fmla="*/ 20876 w 401274"/>
                    <a:gd name="connsiteY15" fmla="*/ 400501 h 400500"/>
                    <a:gd name="connsiteX16" fmla="*/ 20876 w 401274"/>
                    <a:gd name="connsiteY16" fmla="*/ 400501 h 400500"/>
                    <a:gd name="connsiteX17" fmla="*/ 46390 w 401274"/>
                    <a:gd name="connsiteY17" fmla="*/ 299216 h 400500"/>
                    <a:gd name="connsiteX18" fmla="*/ 42524 w 401274"/>
                    <a:gd name="connsiteY18" fmla="*/ 358750 h 400500"/>
                    <a:gd name="connsiteX19" fmla="*/ 102058 w 401274"/>
                    <a:gd name="connsiteY19" fmla="*/ 354884 h 400500"/>
                    <a:gd name="connsiteX20" fmla="*/ 351018 w 401274"/>
                    <a:gd name="connsiteY20" fmla="*/ 105924 h 400500"/>
                    <a:gd name="connsiteX21" fmla="*/ 295350 w 401274"/>
                    <a:gd name="connsiteY21" fmla="*/ 50256 h 400500"/>
                    <a:gd name="connsiteX22" fmla="*/ 46390 w 401274"/>
                    <a:gd name="connsiteY22" fmla="*/ 299216 h 400500"/>
                    <a:gd name="connsiteX23" fmla="*/ 46390 w 401274"/>
                    <a:gd name="connsiteY23" fmla="*/ 299216 h 4005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401274" h="400500">
                      <a:moveTo>
                        <a:pt x="20876" y="400501"/>
                      </a:moveTo>
                      <a:cubicBezTo>
                        <a:pt x="15463" y="400501"/>
                        <a:pt x="10051" y="398182"/>
                        <a:pt x="6185" y="394316"/>
                      </a:cubicBezTo>
                      <a:cubicBezTo>
                        <a:pt x="2319" y="390450"/>
                        <a:pt x="0" y="384265"/>
                        <a:pt x="0" y="378852"/>
                      </a:cubicBezTo>
                      <a:lnTo>
                        <a:pt x="5412" y="288392"/>
                      </a:lnTo>
                      <a:cubicBezTo>
                        <a:pt x="5412" y="283753"/>
                        <a:pt x="7732" y="278340"/>
                        <a:pt x="11598" y="275248"/>
                      </a:cubicBezTo>
                      <a:lnTo>
                        <a:pt x="280660" y="6185"/>
                      </a:lnTo>
                      <a:cubicBezTo>
                        <a:pt x="284526" y="2320"/>
                        <a:pt x="289938" y="0"/>
                        <a:pt x="295350" y="0"/>
                      </a:cubicBezTo>
                      <a:lnTo>
                        <a:pt x="295350" y="0"/>
                      </a:lnTo>
                      <a:cubicBezTo>
                        <a:pt x="300763" y="0"/>
                        <a:pt x="306175" y="2320"/>
                        <a:pt x="310041" y="6185"/>
                      </a:cubicBezTo>
                      <a:lnTo>
                        <a:pt x="395089" y="91234"/>
                      </a:lnTo>
                      <a:cubicBezTo>
                        <a:pt x="398955" y="95100"/>
                        <a:pt x="401274" y="100512"/>
                        <a:pt x="401274" y="105924"/>
                      </a:cubicBezTo>
                      <a:cubicBezTo>
                        <a:pt x="401274" y="111336"/>
                        <a:pt x="398955" y="116748"/>
                        <a:pt x="395089" y="120614"/>
                      </a:cubicBezTo>
                      <a:lnTo>
                        <a:pt x="125253" y="388903"/>
                      </a:lnTo>
                      <a:cubicBezTo>
                        <a:pt x="121387" y="392769"/>
                        <a:pt x="116749" y="394316"/>
                        <a:pt x="112109" y="395089"/>
                      </a:cubicBezTo>
                      <a:lnTo>
                        <a:pt x="21649" y="400501"/>
                      </a:lnTo>
                      <a:cubicBezTo>
                        <a:pt x="21649" y="400501"/>
                        <a:pt x="20876" y="400501"/>
                        <a:pt x="20876" y="400501"/>
                      </a:cubicBezTo>
                      <a:lnTo>
                        <a:pt x="20876" y="400501"/>
                      </a:lnTo>
                      <a:close/>
                      <a:moveTo>
                        <a:pt x="46390" y="299216"/>
                      </a:moveTo>
                      <a:lnTo>
                        <a:pt x="42524" y="358750"/>
                      </a:lnTo>
                      <a:lnTo>
                        <a:pt x="102058" y="354884"/>
                      </a:lnTo>
                      <a:lnTo>
                        <a:pt x="351018" y="105924"/>
                      </a:lnTo>
                      <a:lnTo>
                        <a:pt x="295350" y="50256"/>
                      </a:lnTo>
                      <a:lnTo>
                        <a:pt x="46390" y="299216"/>
                      </a:lnTo>
                      <a:lnTo>
                        <a:pt x="46390" y="299216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401" name="Forma Livre: Forma 400">
                  <a:extLst>
                    <a:ext uri="{FF2B5EF4-FFF2-40B4-BE49-F238E27FC236}">
                      <a16:creationId xmlns:a16="http://schemas.microsoft.com/office/drawing/2014/main" id="{A465D4D9-DA94-41AA-BB7D-EAC49ABE3A4C}"/>
                    </a:ext>
                  </a:extLst>
                </p:cNvPr>
                <p:cNvSpPr/>
                <p:nvPr/>
              </p:nvSpPr>
              <p:spPr>
                <a:xfrm>
                  <a:off x="5547243" y="3872218"/>
                  <a:ext cx="97032" cy="97225"/>
                </a:xfrm>
                <a:custGeom>
                  <a:avLst/>
                  <a:gdLst>
                    <a:gd name="connsiteX0" fmla="*/ 86401 w 97032"/>
                    <a:gd name="connsiteY0" fmla="*/ 97226 h 97225"/>
                    <a:gd name="connsiteX1" fmla="*/ 79443 w 97032"/>
                    <a:gd name="connsiteY1" fmla="*/ 94133 h 97225"/>
                    <a:gd name="connsiteX2" fmla="*/ 2899 w 97032"/>
                    <a:gd name="connsiteY2" fmla="*/ 17590 h 97225"/>
                    <a:gd name="connsiteX3" fmla="*/ 2899 w 97032"/>
                    <a:gd name="connsiteY3" fmla="*/ 2899 h 97225"/>
                    <a:gd name="connsiteX4" fmla="*/ 17589 w 97032"/>
                    <a:gd name="connsiteY4" fmla="*/ 2899 h 97225"/>
                    <a:gd name="connsiteX5" fmla="*/ 94133 w 97032"/>
                    <a:gd name="connsiteY5" fmla="*/ 79443 h 97225"/>
                    <a:gd name="connsiteX6" fmla="*/ 94133 w 97032"/>
                    <a:gd name="connsiteY6" fmla="*/ 94133 h 97225"/>
                    <a:gd name="connsiteX7" fmla="*/ 86401 w 97032"/>
                    <a:gd name="connsiteY7" fmla="*/ 97226 h 97225"/>
                    <a:gd name="connsiteX8" fmla="*/ 86401 w 97032"/>
                    <a:gd name="connsiteY8" fmla="*/ 97226 h 972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7032" h="97225">
                      <a:moveTo>
                        <a:pt x="86401" y="97226"/>
                      </a:moveTo>
                      <a:cubicBezTo>
                        <a:pt x="84082" y="97226"/>
                        <a:pt x="80989" y="96453"/>
                        <a:pt x="79443" y="94133"/>
                      </a:cubicBezTo>
                      <a:lnTo>
                        <a:pt x="2899" y="17590"/>
                      </a:lnTo>
                      <a:cubicBezTo>
                        <a:pt x="-966" y="13724"/>
                        <a:pt x="-966" y="6765"/>
                        <a:pt x="2899" y="2899"/>
                      </a:cubicBezTo>
                      <a:cubicBezTo>
                        <a:pt x="6765" y="-966"/>
                        <a:pt x="13723" y="-966"/>
                        <a:pt x="17589" y="2899"/>
                      </a:cubicBezTo>
                      <a:lnTo>
                        <a:pt x="94133" y="79443"/>
                      </a:lnTo>
                      <a:cubicBezTo>
                        <a:pt x="97999" y="83309"/>
                        <a:pt x="97999" y="90267"/>
                        <a:pt x="94133" y="94133"/>
                      </a:cubicBezTo>
                      <a:cubicBezTo>
                        <a:pt x="91814" y="96453"/>
                        <a:pt x="89494" y="97226"/>
                        <a:pt x="86401" y="97226"/>
                      </a:cubicBezTo>
                      <a:lnTo>
                        <a:pt x="86401" y="97226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402" name="Forma Livre: Forma 401">
                  <a:extLst>
                    <a:ext uri="{FF2B5EF4-FFF2-40B4-BE49-F238E27FC236}">
                      <a16:creationId xmlns:a16="http://schemas.microsoft.com/office/drawing/2014/main" id="{6B30BD0B-0023-4FA8-A152-6222469B8071}"/>
                    </a:ext>
                  </a:extLst>
                </p:cNvPr>
                <p:cNvSpPr/>
                <p:nvPr/>
              </p:nvSpPr>
              <p:spPr>
                <a:xfrm>
                  <a:off x="5322831" y="4131036"/>
                  <a:ext cx="62029" cy="63399"/>
                </a:xfrm>
                <a:custGeom>
                  <a:avLst/>
                  <a:gdLst>
                    <a:gd name="connsiteX0" fmla="*/ 13917 w 62029"/>
                    <a:gd name="connsiteY0" fmla="*/ 0 h 63399"/>
                    <a:gd name="connsiteX1" fmla="*/ 8505 w 62029"/>
                    <a:gd name="connsiteY1" fmla="*/ 0 h 63399"/>
                    <a:gd name="connsiteX2" fmla="*/ 3866 w 62029"/>
                    <a:gd name="connsiteY2" fmla="*/ 773 h 63399"/>
                    <a:gd name="connsiteX3" fmla="*/ 0 w 62029"/>
                    <a:gd name="connsiteY3" fmla="*/ 63400 h 63399"/>
                    <a:gd name="connsiteX4" fmla="*/ 60307 w 62029"/>
                    <a:gd name="connsiteY4" fmla="*/ 59534 h 63399"/>
                    <a:gd name="connsiteX5" fmla="*/ 61853 w 62029"/>
                    <a:gd name="connsiteY5" fmla="*/ 52575 h 63399"/>
                    <a:gd name="connsiteX6" fmla="*/ 13917 w 62029"/>
                    <a:gd name="connsiteY6" fmla="*/ 0 h 63399"/>
                    <a:gd name="connsiteX7" fmla="*/ 13917 w 62029"/>
                    <a:gd name="connsiteY7" fmla="*/ 0 h 633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2029" h="63399">
                      <a:moveTo>
                        <a:pt x="13917" y="0"/>
                      </a:moveTo>
                      <a:cubicBezTo>
                        <a:pt x="12370" y="0"/>
                        <a:pt x="10825" y="0"/>
                        <a:pt x="8505" y="0"/>
                      </a:cubicBezTo>
                      <a:cubicBezTo>
                        <a:pt x="6959" y="0"/>
                        <a:pt x="5412" y="773"/>
                        <a:pt x="3866" y="773"/>
                      </a:cubicBezTo>
                      <a:lnTo>
                        <a:pt x="0" y="63400"/>
                      </a:lnTo>
                      <a:lnTo>
                        <a:pt x="60307" y="59534"/>
                      </a:lnTo>
                      <a:cubicBezTo>
                        <a:pt x="61080" y="57215"/>
                        <a:pt x="61080" y="54895"/>
                        <a:pt x="61853" y="52575"/>
                      </a:cubicBezTo>
                      <a:cubicBezTo>
                        <a:pt x="64173" y="22422"/>
                        <a:pt x="43297" y="0"/>
                        <a:pt x="13917" y="0"/>
                      </a:cubicBezTo>
                      <a:lnTo>
                        <a:pt x="13917" y="0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sp>
            <p:nvSpPr>
              <p:cNvPr id="403" name="Forma Livre: Forma 402">
                <a:extLst>
                  <a:ext uri="{FF2B5EF4-FFF2-40B4-BE49-F238E27FC236}">
                    <a16:creationId xmlns:a16="http://schemas.microsoft.com/office/drawing/2014/main" id="{2E60160C-A580-42AA-B96F-8C3107E7ECC2}"/>
                  </a:ext>
                </a:extLst>
              </p:cNvPr>
              <p:cNvSpPr/>
              <p:nvPr/>
            </p:nvSpPr>
            <p:spPr>
              <a:xfrm>
                <a:off x="5220773" y="3810171"/>
                <a:ext cx="489415" cy="489415"/>
              </a:xfrm>
              <a:custGeom>
                <a:avLst/>
                <a:gdLst>
                  <a:gd name="connsiteX0" fmla="*/ 468540 w 489415"/>
                  <a:gd name="connsiteY0" fmla="*/ 489415 h 489415"/>
                  <a:gd name="connsiteX1" fmla="*/ 20876 w 489415"/>
                  <a:gd name="connsiteY1" fmla="*/ 489415 h 489415"/>
                  <a:gd name="connsiteX2" fmla="*/ 0 w 489415"/>
                  <a:gd name="connsiteY2" fmla="*/ 468540 h 489415"/>
                  <a:gd name="connsiteX3" fmla="*/ 0 w 489415"/>
                  <a:gd name="connsiteY3" fmla="*/ 20876 h 489415"/>
                  <a:gd name="connsiteX4" fmla="*/ 20876 w 489415"/>
                  <a:gd name="connsiteY4" fmla="*/ 0 h 489415"/>
                  <a:gd name="connsiteX5" fmla="*/ 242775 w 489415"/>
                  <a:gd name="connsiteY5" fmla="*/ 0 h 489415"/>
                  <a:gd name="connsiteX6" fmla="*/ 263651 w 489415"/>
                  <a:gd name="connsiteY6" fmla="*/ 20876 h 489415"/>
                  <a:gd name="connsiteX7" fmla="*/ 242775 w 489415"/>
                  <a:gd name="connsiteY7" fmla="*/ 41751 h 489415"/>
                  <a:gd name="connsiteX8" fmla="*/ 40978 w 489415"/>
                  <a:gd name="connsiteY8" fmla="*/ 41751 h 489415"/>
                  <a:gd name="connsiteX9" fmla="*/ 40978 w 489415"/>
                  <a:gd name="connsiteY9" fmla="*/ 448437 h 489415"/>
                  <a:gd name="connsiteX10" fmla="*/ 447664 w 489415"/>
                  <a:gd name="connsiteY10" fmla="*/ 448437 h 489415"/>
                  <a:gd name="connsiteX11" fmla="*/ 447664 w 489415"/>
                  <a:gd name="connsiteY11" fmla="*/ 246641 h 489415"/>
                  <a:gd name="connsiteX12" fmla="*/ 468540 w 489415"/>
                  <a:gd name="connsiteY12" fmla="*/ 225765 h 489415"/>
                  <a:gd name="connsiteX13" fmla="*/ 489415 w 489415"/>
                  <a:gd name="connsiteY13" fmla="*/ 246641 h 489415"/>
                  <a:gd name="connsiteX14" fmla="*/ 489415 w 489415"/>
                  <a:gd name="connsiteY14" fmla="*/ 468540 h 489415"/>
                  <a:gd name="connsiteX15" fmla="*/ 468540 w 489415"/>
                  <a:gd name="connsiteY15" fmla="*/ 489415 h 489415"/>
                  <a:gd name="connsiteX16" fmla="*/ 468540 w 489415"/>
                  <a:gd name="connsiteY16" fmla="*/ 489415 h 489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89415" h="489415">
                    <a:moveTo>
                      <a:pt x="468540" y="489415"/>
                    </a:moveTo>
                    <a:lnTo>
                      <a:pt x="20876" y="489415"/>
                    </a:lnTo>
                    <a:cubicBezTo>
                      <a:pt x="9278" y="489415"/>
                      <a:pt x="0" y="480138"/>
                      <a:pt x="0" y="468540"/>
                    </a:cubicBezTo>
                    <a:lnTo>
                      <a:pt x="0" y="20876"/>
                    </a:lnTo>
                    <a:cubicBezTo>
                      <a:pt x="0" y="9278"/>
                      <a:pt x="9278" y="0"/>
                      <a:pt x="20876" y="0"/>
                    </a:cubicBezTo>
                    <a:lnTo>
                      <a:pt x="242775" y="0"/>
                    </a:lnTo>
                    <a:cubicBezTo>
                      <a:pt x="254372" y="0"/>
                      <a:pt x="263651" y="9278"/>
                      <a:pt x="263651" y="20876"/>
                    </a:cubicBezTo>
                    <a:cubicBezTo>
                      <a:pt x="263651" y="32473"/>
                      <a:pt x="254372" y="41751"/>
                      <a:pt x="242775" y="41751"/>
                    </a:cubicBezTo>
                    <a:lnTo>
                      <a:pt x="40978" y="41751"/>
                    </a:lnTo>
                    <a:lnTo>
                      <a:pt x="40978" y="448437"/>
                    </a:lnTo>
                    <a:lnTo>
                      <a:pt x="447664" y="448437"/>
                    </a:lnTo>
                    <a:lnTo>
                      <a:pt x="447664" y="246641"/>
                    </a:lnTo>
                    <a:cubicBezTo>
                      <a:pt x="447664" y="235043"/>
                      <a:pt x="456943" y="225765"/>
                      <a:pt x="468540" y="225765"/>
                    </a:cubicBezTo>
                    <a:cubicBezTo>
                      <a:pt x="480138" y="225765"/>
                      <a:pt x="489415" y="235043"/>
                      <a:pt x="489415" y="246641"/>
                    </a:cubicBezTo>
                    <a:lnTo>
                      <a:pt x="489415" y="468540"/>
                    </a:lnTo>
                    <a:cubicBezTo>
                      <a:pt x="489415" y="480138"/>
                      <a:pt x="480138" y="489415"/>
                      <a:pt x="468540" y="489415"/>
                    </a:cubicBezTo>
                    <a:lnTo>
                      <a:pt x="468540" y="489415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404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9381347" y="5638260"/>
              <a:ext cx="378583" cy="373070"/>
              <a:chOff x="10242499" y="6357760"/>
              <a:chExt cx="477817" cy="470859"/>
            </a:xfrm>
            <a:solidFill>
              <a:srgbClr val="B1B1A1"/>
            </a:solidFill>
          </p:grpSpPr>
          <p:sp>
            <p:nvSpPr>
              <p:cNvPr id="405" name="Forma Livre: Forma 404">
                <a:extLst>
                  <a:ext uri="{FF2B5EF4-FFF2-40B4-BE49-F238E27FC236}">
                    <a16:creationId xmlns:a16="http://schemas.microsoft.com/office/drawing/2014/main" id="{F8D82102-0604-47B9-ABD5-D8A195E4E8FA}"/>
                  </a:ext>
                </a:extLst>
              </p:cNvPr>
              <p:cNvSpPr/>
              <p:nvPr/>
            </p:nvSpPr>
            <p:spPr>
              <a:xfrm>
                <a:off x="10242499" y="6357760"/>
                <a:ext cx="477817" cy="352564"/>
              </a:xfrm>
              <a:custGeom>
                <a:avLst/>
                <a:gdLst>
                  <a:gd name="connsiteX0" fmla="*/ 456942 w 477817"/>
                  <a:gd name="connsiteY0" fmla="*/ 352565 h 352564"/>
                  <a:gd name="connsiteX1" fmla="*/ 20875 w 477817"/>
                  <a:gd name="connsiteY1" fmla="*/ 352565 h 352564"/>
                  <a:gd name="connsiteX2" fmla="*/ 0 w 477817"/>
                  <a:gd name="connsiteY2" fmla="*/ 331689 h 352564"/>
                  <a:gd name="connsiteX3" fmla="*/ 0 w 477817"/>
                  <a:gd name="connsiteY3" fmla="*/ 20876 h 352564"/>
                  <a:gd name="connsiteX4" fmla="*/ 20875 w 477817"/>
                  <a:gd name="connsiteY4" fmla="*/ 0 h 352564"/>
                  <a:gd name="connsiteX5" fmla="*/ 456942 w 477817"/>
                  <a:gd name="connsiteY5" fmla="*/ 0 h 352564"/>
                  <a:gd name="connsiteX6" fmla="*/ 477817 w 477817"/>
                  <a:gd name="connsiteY6" fmla="*/ 20876 h 352564"/>
                  <a:gd name="connsiteX7" fmla="*/ 477817 w 477817"/>
                  <a:gd name="connsiteY7" fmla="*/ 331689 h 352564"/>
                  <a:gd name="connsiteX8" fmla="*/ 456942 w 477817"/>
                  <a:gd name="connsiteY8" fmla="*/ 352565 h 352564"/>
                  <a:gd name="connsiteX9" fmla="*/ 456942 w 477817"/>
                  <a:gd name="connsiteY9" fmla="*/ 352565 h 352564"/>
                  <a:gd name="connsiteX10" fmla="*/ 41750 w 477817"/>
                  <a:gd name="connsiteY10" fmla="*/ 311587 h 352564"/>
                  <a:gd name="connsiteX11" fmla="*/ 436840 w 477817"/>
                  <a:gd name="connsiteY11" fmla="*/ 311587 h 352564"/>
                  <a:gd name="connsiteX12" fmla="*/ 436840 w 477817"/>
                  <a:gd name="connsiteY12" fmla="*/ 42524 h 352564"/>
                  <a:gd name="connsiteX13" fmla="*/ 41750 w 477817"/>
                  <a:gd name="connsiteY13" fmla="*/ 42524 h 352564"/>
                  <a:gd name="connsiteX14" fmla="*/ 41750 w 477817"/>
                  <a:gd name="connsiteY14" fmla="*/ 311587 h 352564"/>
                  <a:gd name="connsiteX15" fmla="*/ 41750 w 477817"/>
                  <a:gd name="connsiteY15" fmla="*/ 311587 h 3525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77817" h="352564">
                    <a:moveTo>
                      <a:pt x="456942" y="352565"/>
                    </a:moveTo>
                    <a:lnTo>
                      <a:pt x="20875" y="352565"/>
                    </a:lnTo>
                    <a:cubicBezTo>
                      <a:pt x="9278" y="352565"/>
                      <a:pt x="0" y="343287"/>
                      <a:pt x="0" y="331689"/>
                    </a:cubicBezTo>
                    <a:lnTo>
                      <a:pt x="0" y="20876"/>
                    </a:lnTo>
                    <a:cubicBezTo>
                      <a:pt x="0" y="9278"/>
                      <a:pt x="9278" y="0"/>
                      <a:pt x="20875" y="0"/>
                    </a:cubicBezTo>
                    <a:lnTo>
                      <a:pt x="456942" y="0"/>
                    </a:lnTo>
                    <a:cubicBezTo>
                      <a:pt x="468540" y="0"/>
                      <a:pt x="477817" y="9278"/>
                      <a:pt x="477817" y="20876"/>
                    </a:cubicBezTo>
                    <a:lnTo>
                      <a:pt x="477817" y="331689"/>
                    </a:lnTo>
                    <a:cubicBezTo>
                      <a:pt x="477044" y="343287"/>
                      <a:pt x="468540" y="352565"/>
                      <a:pt x="456942" y="352565"/>
                    </a:cubicBezTo>
                    <a:lnTo>
                      <a:pt x="456942" y="352565"/>
                    </a:lnTo>
                    <a:close/>
                    <a:moveTo>
                      <a:pt x="41750" y="311587"/>
                    </a:moveTo>
                    <a:lnTo>
                      <a:pt x="436840" y="311587"/>
                    </a:lnTo>
                    <a:lnTo>
                      <a:pt x="436840" y="42524"/>
                    </a:lnTo>
                    <a:lnTo>
                      <a:pt x="41750" y="42524"/>
                    </a:lnTo>
                    <a:lnTo>
                      <a:pt x="41750" y="311587"/>
                    </a:lnTo>
                    <a:lnTo>
                      <a:pt x="41750" y="311587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06" name="Forma Livre: Forma 405">
                <a:extLst>
                  <a:ext uri="{FF2B5EF4-FFF2-40B4-BE49-F238E27FC236}">
                    <a16:creationId xmlns:a16="http://schemas.microsoft.com/office/drawing/2014/main" id="{2C3C15CA-3328-4F3F-A219-2589EC653724}"/>
                  </a:ext>
                </a:extLst>
              </p:cNvPr>
              <p:cNvSpPr/>
              <p:nvPr/>
            </p:nvSpPr>
            <p:spPr>
              <a:xfrm>
                <a:off x="10460532" y="6679398"/>
                <a:ext cx="41751" cy="118294"/>
              </a:xfrm>
              <a:custGeom>
                <a:avLst/>
                <a:gdLst>
                  <a:gd name="connsiteX0" fmla="*/ 20875 w 41751"/>
                  <a:gd name="connsiteY0" fmla="*/ 118295 h 118294"/>
                  <a:gd name="connsiteX1" fmla="*/ 0 w 41751"/>
                  <a:gd name="connsiteY1" fmla="*/ 97419 h 118294"/>
                  <a:gd name="connsiteX2" fmla="*/ 0 w 41751"/>
                  <a:gd name="connsiteY2" fmla="*/ 20875 h 118294"/>
                  <a:gd name="connsiteX3" fmla="*/ 20875 w 41751"/>
                  <a:gd name="connsiteY3" fmla="*/ 0 h 118294"/>
                  <a:gd name="connsiteX4" fmla="*/ 41751 w 41751"/>
                  <a:gd name="connsiteY4" fmla="*/ 20875 h 118294"/>
                  <a:gd name="connsiteX5" fmla="*/ 41751 w 41751"/>
                  <a:gd name="connsiteY5" fmla="*/ 97419 h 118294"/>
                  <a:gd name="connsiteX6" fmla="*/ 20875 w 41751"/>
                  <a:gd name="connsiteY6" fmla="*/ 118295 h 118294"/>
                  <a:gd name="connsiteX7" fmla="*/ 20875 w 41751"/>
                  <a:gd name="connsiteY7" fmla="*/ 118295 h 118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51" h="118294">
                    <a:moveTo>
                      <a:pt x="20875" y="118295"/>
                    </a:moveTo>
                    <a:cubicBezTo>
                      <a:pt x="9278" y="118295"/>
                      <a:pt x="0" y="109017"/>
                      <a:pt x="0" y="97419"/>
                    </a:cubicBezTo>
                    <a:lnTo>
                      <a:pt x="0" y="20875"/>
                    </a:lnTo>
                    <a:cubicBezTo>
                      <a:pt x="0" y="9278"/>
                      <a:pt x="9278" y="0"/>
                      <a:pt x="20875" y="0"/>
                    </a:cubicBezTo>
                    <a:cubicBezTo>
                      <a:pt x="32473" y="0"/>
                      <a:pt x="41751" y="9278"/>
                      <a:pt x="41751" y="20875"/>
                    </a:cubicBezTo>
                    <a:lnTo>
                      <a:pt x="41751" y="97419"/>
                    </a:lnTo>
                    <a:cubicBezTo>
                      <a:pt x="41751" y="109017"/>
                      <a:pt x="32473" y="118295"/>
                      <a:pt x="20875" y="118295"/>
                    </a:cubicBezTo>
                    <a:lnTo>
                      <a:pt x="20875" y="118295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07" name="Forma Livre: Forma 406">
                <a:extLst>
                  <a:ext uri="{FF2B5EF4-FFF2-40B4-BE49-F238E27FC236}">
                    <a16:creationId xmlns:a16="http://schemas.microsoft.com/office/drawing/2014/main" id="{6ACEFE7A-8DF8-41E4-97A9-E565B491FE31}"/>
                  </a:ext>
                </a:extLst>
              </p:cNvPr>
              <p:cNvSpPr/>
              <p:nvPr/>
            </p:nvSpPr>
            <p:spPr>
              <a:xfrm>
                <a:off x="10362726" y="6689062"/>
                <a:ext cx="237363" cy="139556"/>
              </a:xfrm>
              <a:custGeom>
                <a:avLst/>
                <a:gdLst>
                  <a:gd name="connsiteX0" fmla="*/ 216874 w 237363"/>
                  <a:gd name="connsiteY0" fmla="*/ 139557 h 139556"/>
                  <a:gd name="connsiteX1" fmla="*/ 202184 w 237363"/>
                  <a:gd name="connsiteY1" fmla="*/ 133371 h 139556"/>
                  <a:gd name="connsiteX2" fmla="*/ 118681 w 237363"/>
                  <a:gd name="connsiteY2" fmla="*/ 49869 h 139556"/>
                  <a:gd name="connsiteX3" fmla="*/ 35180 w 237363"/>
                  <a:gd name="connsiteY3" fmla="*/ 133371 h 139556"/>
                  <a:gd name="connsiteX4" fmla="*/ 5799 w 237363"/>
                  <a:gd name="connsiteY4" fmla="*/ 133371 h 139556"/>
                  <a:gd name="connsiteX5" fmla="*/ 5799 w 237363"/>
                  <a:gd name="connsiteY5" fmla="*/ 103991 h 139556"/>
                  <a:gd name="connsiteX6" fmla="*/ 103992 w 237363"/>
                  <a:gd name="connsiteY6" fmla="*/ 5799 h 139556"/>
                  <a:gd name="connsiteX7" fmla="*/ 133371 w 237363"/>
                  <a:gd name="connsiteY7" fmla="*/ 5799 h 139556"/>
                  <a:gd name="connsiteX8" fmla="*/ 231564 w 237363"/>
                  <a:gd name="connsiteY8" fmla="*/ 103991 h 139556"/>
                  <a:gd name="connsiteX9" fmla="*/ 231564 w 237363"/>
                  <a:gd name="connsiteY9" fmla="*/ 133371 h 139556"/>
                  <a:gd name="connsiteX10" fmla="*/ 216874 w 237363"/>
                  <a:gd name="connsiteY10" fmla="*/ 139557 h 139556"/>
                  <a:gd name="connsiteX11" fmla="*/ 216874 w 237363"/>
                  <a:gd name="connsiteY11" fmla="*/ 139557 h 1395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37363" h="139556">
                    <a:moveTo>
                      <a:pt x="216874" y="139557"/>
                    </a:moveTo>
                    <a:cubicBezTo>
                      <a:pt x="211461" y="139557"/>
                      <a:pt x="206049" y="137237"/>
                      <a:pt x="202184" y="133371"/>
                    </a:cubicBezTo>
                    <a:lnTo>
                      <a:pt x="118681" y="49869"/>
                    </a:lnTo>
                    <a:lnTo>
                      <a:pt x="35180" y="133371"/>
                    </a:lnTo>
                    <a:cubicBezTo>
                      <a:pt x="27448" y="141103"/>
                      <a:pt x="14303" y="141103"/>
                      <a:pt x="5799" y="133371"/>
                    </a:cubicBezTo>
                    <a:cubicBezTo>
                      <a:pt x="-1933" y="125640"/>
                      <a:pt x="-1933" y="112496"/>
                      <a:pt x="5799" y="103991"/>
                    </a:cubicBezTo>
                    <a:lnTo>
                      <a:pt x="103992" y="5799"/>
                    </a:lnTo>
                    <a:cubicBezTo>
                      <a:pt x="111723" y="-1933"/>
                      <a:pt x="125640" y="-1933"/>
                      <a:pt x="133371" y="5799"/>
                    </a:cubicBezTo>
                    <a:lnTo>
                      <a:pt x="231564" y="103991"/>
                    </a:lnTo>
                    <a:cubicBezTo>
                      <a:pt x="239296" y="111722"/>
                      <a:pt x="239296" y="124866"/>
                      <a:pt x="231564" y="133371"/>
                    </a:cubicBezTo>
                    <a:cubicBezTo>
                      <a:pt x="226925" y="137237"/>
                      <a:pt x="221513" y="139557"/>
                      <a:pt x="216874" y="139557"/>
                    </a:cubicBezTo>
                    <a:lnTo>
                      <a:pt x="216874" y="139557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08" name="Forma Livre: Forma 407">
                <a:extLst>
                  <a:ext uri="{FF2B5EF4-FFF2-40B4-BE49-F238E27FC236}">
                    <a16:creationId xmlns:a16="http://schemas.microsoft.com/office/drawing/2014/main" id="{1DF88B0B-D4BD-4C39-BB29-1B72E960325D}"/>
                  </a:ext>
                </a:extLst>
              </p:cNvPr>
              <p:cNvSpPr/>
              <p:nvPr/>
            </p:nvSpPr>
            <p:spPr>
              <a:xfrm>
                <a:off x="10256416" y="6432757"/>
                <a:ext cx="450757" cy="20102"/>
              </a:xfrm>
              <a:custGeom>
                <a:avLst/>
                <a:gdLst>
                  <a:gd name="connsiteX0" fmla="*/ 440706 w 450757"/>
                  <a:gd name="connsiteY0" fmla="*/ 20102 h 20102"/>
                  <a:gd name="connsiteX1" fmla="*/ 10052 w 450757"/>
                  <a:gd name="connsiteY1" fmla="*/ 20102 h 20102"/>
                  <a:gd name="connsiteX2" fmla="*/ 0 w 450757"/>
                  <a:gd name="connsiteY2" fmla="*/ 10051 h 20102"/>
                  <a:gd name="connsiteX3" fmla="*/ 10052 w 450757"/>
                  <a:gd name="connsiteY3" fmla="*/ 0 h 20102"/>
                  <a:gd name="connsiteX4" fmla="*/ 440706 w 450757"/>
                  <a:gd name="connsiteY4" fmla="*/ 0 h 20102"/>
                  <a:gd name="connsiteX5" fmla="*/ 450757 w 450757"/>
                  <a:gd name="connsiteY5" fmla="*/ 10051 h 20102"/>
                  <a:gd name="connsiteX6" fmla="*/ 440706 w 450757"/>
                  <a:gd name="connsiteY6" fmla="*/ 20102 h 20102"/>
                  <a:gd name="connsiteX7" fmla="*/ 440706 w 450757"/>
                  <a:gd name="connsiteY7" fmla="*/ 20102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50757" h="20102">
                    <a:moveTo>
                      <a:pt x="440706" y="20102"/>
                    </a:moveTo>
                    <a:lnTo>
                      <a:pt x="10052" y="20102"/>
                    </a:lnTo>
                    <a:cubicBezTo>
                      <a:pt x="4639" y="20102"/>
                      <a:pt x="0" y="15463"/>
                      <a:pt x="0" y="10051"/>
                    </a:cubicBezTo>
                    <a:cubicBezTo>
                      <a:pt x="0" y="4639"/>
                      <a:pt x="4639" y="0"/>
                      <a:pt x="10052" y="0"/>
                    </a:cubicBezTo>
                    <a:lnTo>
                      <a:pt x="440706" y="0"/>
                    </a:lnTo>
                    <a:cubicBezTo>
                      <a:pt x="446119" y="0"/>
                      <a:pt x="450757" y="4639"/>
                      <a:pt x="450757" y="10051"/>
                    </a:cubicBezTo>
                    <a:cubicBezTo>
                      <a:pt x="450757" y="15463"/>
                      <a:pt x="446119" y="20102"/>
                      <a:pt x="440706" y="20102"/>
                    </a:cubicBezTo>
                    <a:lnTo>
                      <a:pt x="440706" y="20102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grpSp>
            <p:nvGrpSpPr>
              <p:cNvPr id="409" name="Gráfico 2">
                <a:extLst>
                  <a:ext uri="{FF2B5EF4-FFF2-40B4-BE49-F238E27FC236}">
                    <a16:creationId xmlns:a16="http://schemas.microsoft.com/office/drawing/2014/main" id="{6FEF66BF-8D1E-4FFA-95A2-6EE56886837B}"/>
                  </a:ext>
                </a:extLst>
              </p:cNvPr>
              <p:cNvGrpSpPr/>
              <p:nvPr/>
            </p:nvGrpSpPr>
            <p:grpSpPr>
              <a:xfrm>
                <a:off x="10348423" y="6477601"/>
                <a:ext cx="265969" cy="170096"/>
                <a:chOff x="10348423" y="6477601"/>
                <a:chExt cx="265969" cy="170096"/>
              </a:xfrm>
              <a:grpFill/>
            </p:grpSpPr>
            <p:sp>
              <p:nvSpPr>
                <p:cNvPr id="410" name="Forma Livre: Forma 409">
                  <a:extLst>
                    <a:ext uri="{FF2B5EF4-FFF2-40B4-BE49-F238E27FC236}">
                      <a16:creationId xmlns:a16="http://schemas.microsoft.com/office/drawing/2014/main" id="{3E391398-8208-4B97-B749-5B3E1819AC71}"/>
                    </a:ext>
                  </a:extLst>
                </p:cNvPr>
                <p:cNvSpPr/>
                <p:nvPr/>
              </p:nvSpPr>
              <p:spPr>
                <a:xfrm>
                  <a:off x="10348423" y="6544093"/>
                  <a:ext cx="41751" cy="103604"/>
                </a:xfrm>
                <a:custGeom>
                  <a:avLst/>
                  <a:gdLst>
                    <a:gd name="connsiteX0" fmla="*/ 20875 w 41751"/>
                    <a:gd name="connsiteY0" fmla="*/ 103604 h 103604"/>
                    <a:gd name="connsiteX1" fmla="*/ 0 w 41751"/>
                    <a:gd name="connsiteY1" fmla="*/ 82729 h 103604"/>
                    <a:gd name="connsiteX2" fmla="*/ 0 w 41751"/>
                    <a:gd name="connsiteY2" fmla="*/ 20875 h 103604"/>
                    <a:gd name="connsiteX3" fmla="*/ 20875 w 41751"/>
                    <a:gd name="connsiteY3" fmla="*/ 0 h 103604"/>
                    <a:gd name="connsiteX4" fmla="*/ 41751 w 41751"/>
                    <a:gd name="connsiteY4" fmla="*/ 20875 h 103604"/>
                    <a:gd name="connsiteX5" fmla="*/ 41751 w 41751"/>
                    <a:gd name="connsiteY5" fmla="*/ 82729 h 103604"/>
                    <a:gd name="connsiteX6" fmla="*/ 20875 w 41751"/>
                    <a:gd name="connsiteY6" fmla="*/ 103604 h 103604"/>
                    <a:gd name="connsiteX7" fmla="*/ 20875 w 41751"/>
                    <a:gd name="connsiteY7" fmla="*/ 103604 h 1036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51" h="103604">
                      <a:moveTo>
                        <a:pt x="20875" y="103604"/>
                      </a:moveTo>
                      <a:cubicBezTo>
                        <a:pt x="9278" y="103604"/>
                        <a:pt x="0" y="94326"/>
                        <a:pt x="0" y="82729"/>
                      </a:cubicBezTo>
                      <a:lnTo>
                        <a:pt x="0" y="20875"/>
                      </a:lnTo>
                      <a:cubicBezTo>
                        <a:pt x="0" y="9278"/>
                        <a:pt x="9278" y="0"/>
                        <a:pt x="20875" y="0"/>
                      </a:cubicBezTo>
                      <a:cubicBezTo>
                        <a:pt x="32473" y="0"/>
                        <a:pt x="41751" y="9278"/>
                        <a:pt x="41751" y="20875"/>
                      </a:cubicBezTo>
                      <a:lnTo>
                        <a:pt x="41751" y="82729"/>
                      </a:lnTo>
                      <a:cubicBezTo>
                        <a:pt x="41751" y="94326"/>
                        <a:pt x="32473" y="103604"/>
                        <a:pt x="20875" y="103604"/>
                      </a:cubicBezTo>
                      <a:lnTo>
                        <a:pt x="20875" y="103604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411" name="Forma Livre: Forma 410">
                  <a:extLst>
                    <a:ext uri="{FF2B5EF4-FFF2-40B4-BE49-F238E27FC236}">
                      <a16:creationId xmlns:a16="http://schemas.microsoft.com/office/drawing/2014/main" id="{7844ED19-D3F8-4AD8-A0D7-A683FF14EFDC}"/>
                    </a:ext>
                  </a:extLst>
                </p:cNvPr>
                <p:cNvSpPr/>
                <p:nvPr/>
              </p:nvSpPr>
              <p:spPr>
                <a:xfrm>
                  <a:off x="10423420" y="6477601"/>
                  <a:ext cx="41751" cy="170096"/>
                </a:xfrm>
                <a:custGeom>
                  <a:avLst/>
                  <a:gdLst>
                    <a:gd name="connsiteX0" fmla="*/ 20876 w 41751"/>
                    <a:gd name="connsiteY0" fmla="*/ 170097 h 170096"/>
                    <a:gd name="connsiteX1" fmla="*/ 0 w 41751"/>
                    <a:gd name="connsiteY1" fmla="*/ 149221 h 170096"/>
                    <a:gd name="connsiteX2" fmla="*/ 0 w 41751"/>
                    <a:gd name="connsiteY2" fmla="*/ 20876 h 170096"/>
                    <a:gd name="connsiteX3" fmla="*/ 20876 w 41751"/>
                    <a:gd name="connsiteY3" fmla="*/ 0 h 170096"/>
                    <a:gd name="connsiteX4" fmla="*/ 41751 w 41751"/>
                    <a:gd name="connsiteY4" fmla="*/ 20876 h 170096"/>
                    <a:gd name="connsiteX5" fmla="*/ 41751 w 41751"/>
                    <a:gd name="connsiteY5" fmla="*/ 149221 h 170096"/>
                    <a:gd name="connsiteX6" fmla="*/ 20876 w 41751"/>
                    <a:gd name="connsiteY6" fmla="*/ 170097 h 170096"/>
                    <a:gd name="connsiteX7" fmla="*/ 20876 w 41751"/>
                    <a:gd name="connsiteY7" fmla="*/ 170097 h 1700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51" h="170096">
                      <a:moveTo>
                        <a:pt x="20876" y="170097"/>
                      </a:moveTo>
                      <a:cubicBezTo>
                        <a:pt x="9279" y="170097"/>
                        <a:pt x="0" y="160819"/>
                        <a:pt x="0" y="149221"/>
                      </a:cubicBezTo>
                      <a:lnTo>
                        <a:pt x="0" y="20876"/>
                      </a:lnTo>
                      <a:cubicBezTo>
                        <a:pt x="0" y="9278"/>
                        <a:pt x="9279" y="0"/>
                        <a:pt x="20876" y="0"/>
                      </a:cubicBezTo>
                      <a:cubicBezTo>
                        <a:pt x="32474" y="0"/>
                        <a:pt x="41751" y="9278"/>
                        <a:pt x="41751" y="20876"/>
                      </a:cubicBezTo>
                      <a:lnTo>
                        <a:pt x="41751" y="149221"/>
                      </a:lnTo>
                      <a:cubicBezTo>
                        <a:pt x="40978" y="160819"/>
                        <a:pt x="31701" y="170097"/>
                        <a:pt x="20876" y="170097"/>
                      </a:cubicBezTo>
                      <a:lnTo>
                        <a:pt x="20876" y="170097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412" name="Forma Livre: Forma 411">
                  <a:extLst>
                    <a:ext uri="{FF2B5EF4-FFF2-40B4-BE49-F238E27FC236}">
                      <a16:creationId xmlns:a16="http://schemas.microsoft.com/office/drawing/2014/main" id="{2E206DCB-8FCD-4FDF-93C2-86946910B9E9}"/>
                    </a:ext>
                  </a:extLst>
                </p:cNvPr>
                <p:cNvSpPr/>
                <p:nvPr/>
              </p:nvSpPr>
              <p:spPr>
                <a:xfrm>
                  <a:off x="10497645" y="6564969"/>
                  <a:ext cx="41750" cy="82729"/>
                </a:xfrm>
                <a:custGeom>
                  <a:avLst/>
                  <a:gdLst>
                    <a:gd name="connsiteX0" fmla="*/ 20875 w 41750"/>
                    <a:gd name="connsiteY0" fmla="*/ 82729 h 82729"/>
                    <a:gd name="connsiteX1" fmla="*/ 0 w 41750"/>
                    <a:gd name="connsiteY1" fmla="*/ 61853 h 82729"/>
                    <a:gd name="connsiteX2" fmla="*/ 0 w 41750"/>
                    <a:gd name="connsiteY2" fmla="*/ 20876 h 82729"/>
                    <a:gd name="connsiteX3" fmla="*/ 20875 w 41750"/>
                    <a:gd name="connsiteY3" fmla="*/ 0 h 82729"/>
                    <a:gd name="connsiteX4" fmla="*/ 41750 w 41750"/>
                    <a:gd name="connsiteY4" fmla="*/ 20876 h 82729"/>
                    <a:gd name="connsiteX5" fmla="*/ 41750 w 41750"/>
                    <a:gd name="connsiteY5" fmla="*/ 61853 h 82729"/>
                    <a:gd name="connsiteX6" fmla="*/ 20875 w 41750"/>
                    <a:gd name="connsiteY6" fmla="*/ 82729 h 82729"/>
                    <a:gd name="connsiteX7" fmla="*/ 20875 w 41750"/>
                    <a:gd name="connsiteY7" fmla="*/ 82729 h 827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50" h="82729">
                      <a:moveTo>
                        <a:pt x="20875" y="82729"/>
                      </a:moveTo>
                      <a:cubicBezTo>
                        <a:pt x="9278" y="82729"/>
                        <a:pt x="0" y="73451"/>
                        <a:pt x="0" y="61853"/>
                      </a:cubicBezTo>
                      <a:lnTo>
                        <a:pt x="0" y="20876"/>
                      </a:lnTo>
                      <a:cubicBezTo>
                        <a:pt x="0" y="9278"/>
                        <a:pt x="9278" y="0"/>
                        <a:pt x="20875" y="0"/>
                      </a:cubicBezTo>
                      <a:cubicBezTo>
                        <a:pt x="32473" y="0"/>
                        <a:pt x="41750" y="9278"/>
                        <a:pt x="41750" y="20876"/>
                      </a:cubicBezTo>
                      <a:lnTo>
                        <a:pt x="41750" y="61853"/>
                      </a:lnTo>
                      <a:cubicBezTo>
                        <a:pt x="41750" y="73451"/>
                        <a:pt x="32473" y="82729"/>
                        <a:pt x="20875" y="82729"/>
                      </a:cubicBezTo>
                      <a:lnTo>
                        <a:pt x="20875" y="82729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413" name="Forma Livre: Forma 412">
                  <a:extLst>
                    <a:ext uri="{FF2B5EF4-FFF2-40B4-BE49-F238E27FC236}">
                      <a16:creationId xmlns:a16="http://schemas.microsoft.com/office/drawing/2014/main" id="{D2FEE468-C9E4-433B-B65C-3F4952FBCF1E}"/>
                    </a:ext>
                  </a:extLst>
                </p:cNvPr>
                <p:cNvSpPr/>
                <p:nvPr/>
              </p:nvSpPr>
              <p:spPr>
                <a:xfrm>
                  <a:off x="10572642" y="6503115"/>
                  <a:ext cx="41751" cy="144582"/>
                </a:xfrm>
                <a:custGeom>
                  <a:avLst/>
                  <a:gdLst>
                    <a:gd name="connsiteX0" fmla="*/ 20875 w 41751"/>
                    <a:gd name="connsiteY0" fmla="*/ 144583 h 144582"/>
                    <a:gd name="connsiteX1" fmla="*/ 0 w 41751"/>
                    <a:gd name="connsiteY1" fmla="*/ 123707 h 144582"/>
                    <a:gd name="connsiteX2" fmla="*/ 0 w 41751"/>
                    <a:gd name="connsiteY2" fmla="*/ 20876 h 144582"/>
                    <a:gd name="connsiteX3" fmla="*/ 20875 w 41751"/>
                    <a:gd name="connsiteY3" fmla="*/ 0 h 144582"/>
                    <a:gd name="connsiteX4" fmla="*/ 41751 w 41751"/>
                    <a:gd name="connsiteY4" fmla="*/ 20876 h 144582"/>
                    <a:gd name="connsiteX5" fmla="*/ 41751 w 41751"/>
                    <a:gd name="connsiteY5" fmla="*/ 123707 h 144582"/>
                    <a:gd name="connsiteX6" fmla="*/ 20875 w 41751"/>
                    <a:gd name="connsiteY6" fmla="*/ 144583 h 144582"/>
                    <a:gd name="connsiteX7" fmla="*/ 20875 w 41751"/>
                    <a:gd name="connsiteY7" fmla="*/ 144583 h 1445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1751" h="144582">
                      <a:moveTo>
                        <a:pt x="20875" y="144583"/>
                      </a:moveTo>
                      <a:cubicBezTo>
                        <a:pt x="9278" y="144583"/>
                        <a:pt x="0" y="135304"/>
                        <a:pt x="0" y="123707"/>
                      </a:cubicBezTo>
                      <a:lnTo>
                        <a:pt x="0" y="20876"/>
                      </a:lnTo>
                      <a:cubicBezTo>
                        <a:pt x="0" y="9278"/>
                        <a:pt x="9278" y="0"/>
                        <a:pt x="20875" y="0"/>
                      </a:cubicBezTo>
                      <a:cubicBezTo>
                        <a:pt x="32473" y="0"/>
                        <a:pt x="41751" y="9278"/>
                        <a:pt x="41751" y="20876"/>
                      </a:cubicBezTo>
                      <a:lnTo>
                        <a:pt x="41751" y="123707"/>
                      </a:lnTo>
                      <a:cubicBezTo>
                        <a:pt x="40978" y="135304"/>
                        <a:pt x="31700" y="144583"/>
                        <a:pt x="20875" y="144583"/>
                      </a:cubicBezTo>
                      <a:lnTo>
                        <a:pt x="20875" y="144583"/>
                      </a:lnTo>
                      <a:close/>
                    </a:path>
                  </a:pathLst>
                </a:custGeom>
                <a:grpFill/>
                <a:ln w="77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</p:grpSp>
        <p:grpSp>
          <p:nvGrpSpPr>
            <p:cNvPr id="414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10360273" y="5635197"/>
              <a:ext cx="421465" cy="379809"/>
              <a:chOff x="11478021" y="6353894"/>
              <a:chExt cx="531939" cy="479364"/>
            </a:xfrm>
            <a:solidFill>
              <a:srgbClr val="B1B1A1"/>
            </a:solidFill>
          </p:grpSpPr>
          <p:sp>
            <p:nvSpPr>
              <p:cNvPr id="415" name="Forma Livre: Forma 414">
                <a:extLst>
                  <a:ext uri="{FF2B5EF4-FFF2-40B4-BE49-F238E27FC236}">
                    <a16:creationId xmlns:a16="http://schemas.microsoft.com/office/drawing/2014/main" id="{E2A9629F-6B62-4CA1-BD70-E7FB586CBBB1}"/>
                  </a:ext>
                </a:extLst>
              </p:cNvPr>
              <p:cNvSpPr/>
              <p:nvPr/>
            </p:nvSpPr>
            <p:spPr>
              <a:xfrm>
                <a:off x="11690642" y="6407243"/>
                <a:ext cx="104377" cy="204889"/>
              </a:xfrm>
              <a:custGeom>
                <a:avLst/>
                <a:gdLst>
                  <a:gd name="connsiteX0" fmla="*/ 59535 w 104377"/>
                  <a:gd name="connsiteY0" fmla="*/ 9278 h 204889"/>
                  <a:gd name="connsiteX1" fmla="*/ 59535 w 104377"/>
                  <a:gd name="connsiteY1" fmla="*/ 20102 h 204889"/>
                  <a:gd name="connsiteX2" fmla="*/ 77317 w 104377"/>
                  <a:gd name="connsiteY2" fmla="*/ 24741 h 204889"/>
                  <a:gd name="connsiteX3" fmla="*/ 90461 w 104377"/>
                  <a:gd name="connsiteY3" fmla="*/ 34793 h 204889"/>
                  <a:gd name="connsiteX4" fmla="*/ 97419 w 104377"/>
                  <a:gd name="connsiteY4" fmla="*/ 44844 h 204889"/>
                  <a:gd name="connsiteX5" fmla="*/ 99739 w 104377"/>
                  <a:gd name="connsiteY5" fmla="*/ 54895 h 204889"/>
                  <a:gd name="connsiteX6" fmla="*/ 95873 w 104377"/>
                  <a:gd name="connsiteY6" fmla="*/ 63400 h 204889"/>
                  <a:gd name="connsiteX7" fmla="*/ 87368 w 104377"/>
                  <a:gd name="connsiteY7" fmla="*/ 67266 h 204889"/>
                  <a:gd name="connsiteX8" fmla="*/ 74998 w 104377"/>
                  <a:gd name="connsiteY8" fmla="*/ 56441 h 204889"/>
                  <a:gd name="connsiteX9" fmla="*/ 59535 w 104377"/>
                  <a:gd name="connsiteY9" fmla="*/ 40205 h 204889"/>
                  <a:gd name="connsiteX10" fmla="*/ 59535 w 104377"/>
                  <a:gd name="connsiteY10" fmla="*/ 81183 h 204889"/>
                  <a:gd name="connsiteX11" fmla="*/ 78864 w 104377"/>
                  <a:gd name="connsiteY11" fmla="*/ 87368 h 204889"/>
                  <a:gd name="connsiteX12" fmla="*/ 92007 w 104377"/>
                  <a:gd name="connsiteY12" fmla="*/ 95100 h 204889"/>
                  <a:gd name="connsiteX13" fmla="*/ 101285 w 104377"/>
                  <a:gd name="connsiteY13" fmla="*/ 108244 h 204889"/>
                  <a:gd name="connsiteX14" fmla="*/ 104378 w 104377"/>
                  <a:gd name="connsiteY14" fmla="*/ 124480 h 204889"/>
                  <a:gd name="connsiteX15" fmla="*/ 98966 w 104377"/>
                  <a:gd name="connsiteY15" fmla="*/ 145355 h 204889"/>
                  <a:gd name="connsiteX16" fmla="*/ 83503 w 104377"/>
                  <a:gd name="connsiteY16" fmla="*/ 161592 h 204889"/>
                  <a:gd name="connsiteX17" fmla="*/ 58761 w 104377"/>
                  <a:gd name="connsiteY17" fmla="*/ 169324 h 204889"/>
                  <a:gd name="connsiteX18" fmla="*/ 58761 w 104377"/>
                  <a:gd name="connsiteY18" fmla="*/ 194065 h 204889"/>
                  <a:gd name="connsiteX19" fmla="*/ 57215 w 104377"/>
                  <a:gd name="connsiteY19" fmla="*/ 202570 h 204889"/>
                  <a:gd name="connsiteX20" fmla="*/ 52576 w 104377"/>
                  <a:gd name="connsiteY20" fmla="*/ 204890 h 204889"/>
                  <a:gd name="connsiteX21" fmla="*/ 47937 w 104377"/>
                  <a:gd name="connsiteY21" fmla="*/ 202570 h 204889"/>
                  <a:gd name="connsiteX22" fmla="*/ 46390 w 104377"/>
                  <a:gd name="connsiteY22" fmla="*/ 195611 h 204889"/>
                  <a:gd name="connsiteX23" fmla="*/ 46390 w 104377"/>
                  <a:gd name="connsiteY23" fmla="*/ 169324 h 204889"/>
                  <a:gd name="connsiteX24" fmla="*/ 26288 w 104377"/>
                  <a:gd name="connsiteY24" fmla="*/ 163912 h 204889"/>
                  <a:gd name="connsiteX25" fmla="*/ 11598 w 104377"/>
                  <a:gd name="connsiteY25" fmla="*/ 153860 h 204889"/>
                  <a:gd name="connsiteX26" fmla="*/ 3093 w 104377"/>
                  <a:gd name="connsiteY26" fmla="*/ 140717 h 204889"/>
                  <a:gd name="connsiteX27" fmla="*/ 0 w 104377"/>
                  <a:gd name="connsiteY27" fmla="*/ 127573 h 204889"/>
                  <a:gd name="connsiteX28" fmla="*/ 3866 w 104377"/>
                  <a:gd name="connsiteY28" fmla="*/ 119068 h 204889"/>
                  <a:gd name="connsiteX29" fmla="*/ 13144 w 104377"/>
                  <a:gd name="connsiteY29" fmla="*/ 115202 h 204889"/>
                  <a:gd name="connsiteX30" fmla="*/ 20876 w 104377"/>
                  <a:gd name="connsiteY30" fmla="*/ 117522 h 204889"/>
                  <a:gd name="connsiteX31" fmla="*/ 24742 w 104377"/>
                  <a:gd name="connsiteY31" fmla="*/ 123707 h 204889"/>
                  <a:gd name="connsiteX32" fmla="*/ 29381 w 104377"/>
                  <a:gd name="connsiteY32" fmla="*/ 136077 h 204889"/>
                  <a:gd name="connsiteX33" fmla="*/ 35566 w 104377"/>
                  <a:gd name="connsiteY33" fmla="*/ 143809 h 204889"/>
                  <a:gd name="connsiteX34" fmla="*/ 46390 w 104377"/>
                  <a:gd name="connsiteY34" fmla="*/ 149221 h 204889"/>
                  <a:gd name="connsiteX35" fmla="*/ 46390 w 104377"/>
                  <a:gd name="connsiteY35" fmla="*/ 102831 h 204889"/>
                  <a:gd name="connsiteX36" fmla="*/ 23968 w 104377"/>
                  <a:gd name="connsiteY36" fmla="*/ 94327 h 204889"/>
                  <a:gd name="connsiteX37" fmla="*/ 9279 w 104377"/>
                  <a:gd name="connsiteY37" fmla="*/ 81183 h 204889"/>
                  <a:gd name="connsiteX38" fmla="*/ 3866 w 104377"/>
                  <a:gd name="connsiteY38" fmla="*/ 59534 h 204889"/>
                  <a:gd name="connsiteX39" fmla="*/ 14690 w 104377"/>
                  <a:gd name="connsiteY39" fmla="*/ 31700 h 204889"/>
                  <a:gd name="connsiteX40" fmla="*/ 45617 w 104377"/>
                  <a:gd name="connsiteY40" fmla="*/ 19329 h 204889"/>
                  <a:gd name="connsiteX41" fmla="*/ 45617 w 104377"/>
                  <a:gd name="connsiteY41" fmla="*/ 8505 h 204889"/>
                  <a:gd name="connsiteX42" fmla="*/ 51803 w 104377"/>
                  <a:gd name="connsiteY42" fmla="*/ 0 h 204889"/>
                  <a:gd name="connsiteX43" fmla="*/ 59535 w 104377"/>
                  <a:gd name="connsiteY43" fmla="*/ 9278 h 204889"/>
                  <a:gd name="connsiteX44" fmla="*/ 47163 w 104377"/>
                  <a:gd name="connsiteY44" fmla="*/ 76543 h 204889"/>
                  <a:gd name="connsiteX45" fmla="*/ 47163 w 104377"/>
                  <a:gd name="connsiteY45" fmla="*/ 38658 h 204889"/>
                  <a:gd name="connsiteX46" fmla="*/ 34020 w 104377"/>
                  <a:gd name="connsiteY46" fmla="*/ 44844 h 204889"/>
                  <a:gd name="connsiteX47" fmla="*/ 29381 w 104377"/>
                  <a:gd name="connsiteY47" fmla="*/ 57214 h 204889"/>
                  <a:gd name="connsiteX48" fmla="*/ 34020 w 104377"/>
                  <a:gd name="connsiteY48" fmla="*/ 68812 h 204889"/>
                  <a:gd name="connsiteX49" fmla="*/ 47163 w 104377"/>
                  <a:gd name="connsiteY49" fmla="*/ 76543 h 204889"/>
                  <a:gd name="connsiteX50" fmla="*/ 59535 w 104377"/>
                  <a:gd name="connsiteY50" fmla="*/ 105924 h 204889"/>
                  <a:gd name="connsiteX51" fmla="*/ 59535 w 104377"/>
                  <a:gd name="connsiteY51" fmla="*/ 149221 h 204889"/>
                  <a:gd name="connsiteX52" fmla="*/ 74998 w 104377"/>
                  <a:gd name="connsiteY52" fmla="*/ 141490 h 204889"/>
                  <a:gd name="connsiteX53" fmla="*/ 80410 w 104377"/>
                  <a:gd name="connsiteY53" fmla="*/ 127573 h 204889"/>
                  <a:gd name="connsiteX54" fmla="*/ 74998 w 104377"/>
                  <a:gd name="connsiteY54" fmla="*/ 114429 h 204889"/>
                  <a:gd name="connsiteX55" fmla="*/ 59535 w 104377"/>
                  <a:gd name="connsiteY55" fmla="*/ 105924 h 2048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104377" h="204889">
                    <a:moveTo>
                      <a:pt x="59535" y="9278"/>
                    </a:moveTo>
                    <a:lnTo>
                      <a:pt x="59535" y="20102"/>
                    </a:lnTo>
                    <a:cubicBezTo>
                      <a:pt x="66492" y="20876"/>
                      <a:pt x="72678" y="22422"/>
                      <a:pt x="77317" y="24741"/>
                    </a:cubicBezTo>
                    <a:cubicBezTo>
                      <a:pt x="81956" y="27061"/>
                      <a:pt x="86595" y="30153"/>
                      <a:pt x="90461" y="34793"/>
                    </a:cubicBezTo>
                    <a:cubicBezTo>
                      <a:pt x="93553" y="37885"/>
                      <a:pt x="95873" y="41751"/>
                      <a:pt x="97419" y="44844"/>
                    </a:cubicBezTo>
                    <a:cubicBezTo>
                      <a:pt x="98966" y="48709"/>
                      <a:pt x="99739" y="51802"/>
                      <a:pt x="99739" y="54895"/>
                    </a:cubicBezTo>
                    <a:cubicBezTo>
                      <a:pt x="99739" y="57988"/>
                      <a:pt x="98193" y="61080"/>
                      <a:pt x="95873" y="63400"/>
                    </a:cubicBezTo>
                    <a:cubicBezTo>
                      <a:pt x="93553" y="65719"/>
                      <a:pt x="90461" y="67266"/>
                      <a:pt x="87368" y="67266"/>
                    </a:cubicBezTo>
                    <a:cubicBezTo>
                      <a:pt x="81183" y="67266"/>
                      <a:pt x="76544" y="63400"/>
                      <a:pt x="74998" y="56441"/>
                    </a:cubicBezTo>
                    <a:cubicBezTo>
                      <a:pt x="72678" y="47937"/>
                      <a:pt x="67266" y="42524"/>
                      <a:pt x="59535" y="40205"/>
                    </a:cubicBezTo>
                    <a:lnTo>
                      <a:pt x="59535" y="81183"/>
                    </a:lnTo>
                    <a:cubicBezTo>
                      <a:pt x="68039" y="83502"/>
                      <a:pt x="74224" y="85821"/>
                      <a:pt x="78864" y="87368"/>
                    </a:cubicBezTo>
                    <a:cubicBezTo>
                      <a:pt x="83503" y="88914"/>
                      <a:pt x="88141" y="92007"/>
                      <a:pt x="92007" y="95100"/>
                    </a:cubicBezTo>
                    <a:cubicBezTo>
                      <a:pt x="95873" y="98965"/>
                      <a:pt x="98966" y="102831"/>
                      <a:pt x="101285" y="108244"/>
                    </a:cubicBezTo>
                    <a:cubicBezTo>
                      <a:pt x="103605" y="113656"/>
                      <a:pt x="104378" y="119068"/>
                      <a:pt x="104378" y="124480"/>
                    </a:cubicBezTo>
                    <a:cubicBezTo>
                      <a:pt x="104378" y="132212"/>
                      <a:pt x="102832" y="139170"/>
                      <a:pt x="98966" y="145355"/>
                    </a:cubicBezTo>
                    <a:cubicBezTo>
                      <a:pt x="95100" y="151541"/>
                      <a:pt x="90461" y="156953"/>
                      <a:pt x="83503" y="161592"/>
                    </a:cubicBezTo>
                    <a:cubicBezTo>
                      <a:pt x="76544" y="165458"/>
                      <a:pt x="68812" y="168551"/>
                      <a:pt x="58761" y="169324"/>
                    </a:cubicBezTo>
                    <a:lnTo>
                      <a:pt x="58761" y="194065"/>
                    </a:lnTo>
                    <a:cubicBezTo>
                      <a:pt x="58761" y="197931"/>
                      <a:pt x="57988" y="201024"/>
                      <a:pt x="57215" y="202570"/>
                    </a:cubicBezTo>
                    <a:cubicBezTo>
                      <a:pt x="56442" y="204116"/>
                      <a:pt x="54895" y="204890"/>
                      <a:pt x="52576" y="204890"/>
                    </a:cubicBezTo>
                    <a:cubicBezTo>
                      <a:pt x="50256" y="204890"/>
                      <a:pt x="48710" y="204116"/>
                      <a:pt x="47937" y="202570"/>
                    </a:cubicBezTo>
                    <a:cubicBezTo>
                      <a:pt x="47163" y="201024"/>
                      <a:pt x="46390" y="198704"/>
                      <a:pt x="46390" y="195611"/>
                    </a:cubicBezTo>
                    <a:lnTo>
                      <a:pt x="46390" y="169324"/>
                    </a:lnTo>
                    <a:cubicBezTo>
                      <a:pt x="38658" y="168551"/>
                      <a:pt x="31700" y="167004"/>
                      <a:pt x="26288" y="163912"/>
                    </a:cubicBezTo>
                    <a:cubicBezTo>
                      <a:pt x="20876" y="160819"/>
                      <a:pt x="15463" y="157726"/>
                      <a:pt x="11598" y="153860"/>
                    </a:cubicBezTo>
                    <a:cubicBezTo>
                      <a:pt x="7732" y="149994"/>
                      <a:pt x="4639" y="145355"/>
                      <a:pt x="3093" y="140717"/>
                    </a:cubicBezTo>
                    <a:cubicBezTo>
                      <a:pt x="1547" y="136077"/>
                      <a:pt x="0" y="132212"/>
                      <a:pt x="0" y="127573"/>
                    </a:cubicBezTo>
                    <a:cubicBezTo>
                      <a:pt x="0" y="124480"/>
                      <a:pt x="1547" y="121387"/>
                      <a:pt x="3866" y="119068"/>
                    </a:cubicBezTo>
                    <a:cubicBezTo>
                      <a:pt x="6186" y="116748"/>
                      <a:pt x="9279" y="115202"/>
                      <a:pt x="13144" y="115202"/>
                    </a:cubicBezTo>
                    <a:cubicBezTo>
                      <a:pt x="16236" y="115202"/>
                      <a:pt x="18556" y="115975"/>
                      <a:pt x="20876" y="117522"/>
                    </a:cubicBezTo>
                    <a:cubicBezTo>
                      <a:pt x="23195" y="119068"/>
                      <a:pt x="23968" y="120614"/>
                      <a:pt x="24742" y="123707"/>
                    </a:cubicBezTo>
                    <a:cubicBezTo>
                      <a:pt x="26288" y="129119"/>
                      <a:pt x="27834" y="132985"/>
                      <a:pt x="29381" y="136077"/>
                    </a:cubicBezTo>
                    <a:cubicBezTo>
                      <a:pt x="30927" y="139170"/>
                      <a:pt x="32474" y="141490"/>
                      <a:pt x="35566" y="143809"/>
                    </a:cubicBezTo>
                    <a:cubicBezTo>
                      <a:pt x="37885" y="146128"/>
                      <a:pt x="41751" y="147675"/>
                      <a:pt x="46390" y="149221"/>
                    </a:cubicBezTo>
                    <a:lnTo>
                      <a:pt x="46390" y="102831"/>
                    </a:lnTo>
                    <a:cubicBezTo>
                      <a:pt x="37885" y="100512"/>
                      <a:pt x="30154" y="97419"/>
                      <a:pt x="23968" y="94327"/>
                    </a:cubicBezTo>
                    <a:cubicBezTo>
                      <a:pt x="17783" y="91234"/>
                      <a:pt x="13144" y="87368"/>
                      <a:pt x="9279" y="81183"/>
                    </a:cubicBezTo>
                    <a:cubicBezTo>
                      <a:pt x="5413" y="75770"/>
                      <a:pt x="3866" y="68812"/>
                      <a:pt x="3866" y="59534"/>
                    </a:cubicBezTo>
                    <a:cubicBezTo>
                      <a:pt x="3866" y="47937"/>
                      <a:pt x="7732" y="38658"/>
                      <a:pt x="14690" y="31700"/>
                    </a:cubicBezTo>
                    <a:cubicBezTo>
                      <a:pt x="21649" y="24741"/>
                      <a:pt x="32474" y="20102"/>
                      <a:pt x="45617" y="19329"/>
                    </a:cubicBezTo>
                    <a:lnTo>
                      <a:pt x="45617" y="8505"/>
                    </a:lnTo>
                    <a:cubicBezTo>
                      <a:pt x="45617" y="3092"/>
                      <a:pt x="47937" y="0"/>
                      <a:pt x="51803" y="0"/>
                    </a:cubicBezTo>
                    <a:cubicBezTo>
                      <a:pt x="57215" y="773"/>
                      <a:pt x="59535" y="3866"/>
                      <a:pt x="59535" y="9278"/>
                    </a:cubicBezTo>
                    <a:close/>
                    <a:moveTo>
                      <a:pt x="47163" y="76543"/>
                    </a:moveTo>
                    <a:lnTo>
                      <a:pt x="47163" y="38658"/>
                    </a:lnTo>
                    <a:cubicBezTo>
                      <a:pt x="41751" y="40205"/>
                      <a:pt x="37112" y="42524"/>
                      <a:pt x="34020" y="44844"/>
                    </a:cubicBezTo>
                    <a:cubicBezTo>
                      <a:pt x="30927" y="47163"/>
                      <a:pt x="29381" y="51802"/>
                      <a:pt x="29381" y="57214"/>
                    </a:cubicBezTo>
                    <a:cubicBezTo>
                      <a:pt x="29381" y="62626"/>
                      <a:pt x="30927" y="66492"/>
                      <a:pt x="34020" y="68812"/>
                    </a:cubicBezTo>
                    <a:cubicBezTo>
                      <a:pt x="37112" y="71905"/>
                      <a:pt x="40978" y="74997"/>
                      <a:pt x="47163" y="76543"/>
                    </a:cubicBezTo>
                    <a:close/>
                    <a:moveTo>
                      <a:pt x="59535" y="105924"/>
                    </a:moveTo>
                    <a:lnTo>
                      <a:pt x="59535" y="149221"/>
                    </a:lnTo>
                    <a:cubicBezTo>
                      <a:pt x="66492" y="147675"/>
                      <a:pt x="71132" y="145355"/>
                      <a:pt x="74998" y="141490"/>
                    </a:cubicBezTo>
                    <a:cubicBezTo>
                      <a:pt x="78864" y="137624"/>
                      <a:pt x="80410" y="132985"/>
                      <a:pt x="80410" y="127573"/>
                    </a:cubicBezTo>
                    <a:cubicBezTo>
                      <a:pt x="80410" y="122160"/>
                      <a:pt x="78864" y="117522"/>
                      <a:pt x="74998" y="114429"/>
                    </a:cubicBezTo>
                    <a:cubicBezTo>
                      <a:pt x="71905" y="111336"/>
                      <a:pt x="66492" y="108244"/>
                      <a:pt x="59535" y="105924"/>
                    </a:cubicBez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16" name="Forma Livre: Forma 415">
                <a:extLst>
                  <a:ext uri="{FF2B5EF4-FFF2-40B4-BE49-F238E27FC236}">
                    <a16:creationId xmlns:a16="http://schemas.microsoft.com/office/drawing/2014/main" id="{B9FA827A-D2CD-4FFD-8F9E-57F8394C220A}"/>
                  </a:ext>
                </a:extLst>
              </p:cNvPr>
              <p:cNvSpPr/>
              <p:nvPr/>
            </p:nvSpPr>
            <p:spPr>
              <a:xfrm>
                <a:off x="11478021" y="6353894"/>
                <a:ext cx="531939" cy="311586"/>
              </a:xfrm>
              <a:custGeom>
                <a:avLst/>
                <a:gdLst>
                  <a:gd name="connsiteX0" fmla="*/ 509518 w 531939"/>
                  <a:gd name="connsiteY0" fmla="*/ 311587 h 311586"/>
                  <a:gd name="connsiteX1" fmla="*/ 22422 w 531939"/>
                  <a:gd name="connsiteY1" fmla="*/ 311587 h 311586"/>
                  <a:gd name="connsiteX2" fmla="*/ 0 w 531939"/>
                  <a:gd name="connsiteY2" fmla="*/ 289165 h 311586"/>
                  <a:gd name="connsiteX3" fmla="*/ 0 w 531939"/>
                  <a:gd name="connsiteY3" fmla="*/ 22422 h 311586"/>
                  <a:gd name="connsiteX4" fmla="*/ 22422 w 531939"/>
                  <a:gd name="connsiteY4" fmla="*/ 0 h 311586"/>
                  <a:gd name="connsiteX5" fmla="*/ 509518 w 531939"/>
                  <a:gd name="connsiteY5" fmla="*/ 0 h 311586"/>
                  <a:gd name="connsiteX6" fmla="*/ 531940 w 531939"/>
                  <a:gd name="connsiteY6" fmla="*/ 22422 h 311586"/>
                  <a:gd name="connsiteX7" fmla="*/ 531940 w 531939"/>
                  <a:gd name="connsiteY7" fmla="*/ 289165 h 311586"/>
                  <a:gd name="connsiteX8" fmla="*/ 509518 w 531939"/>
                  <a:gd name="connsiteY8" fmla="*/ 311587 h 311586"/>
                  <a:gd name="connsiteX9" fmla="*/ 509518 w 531939"/>
                  <a:gd name="connsiteY9" fmla="*/ 311587 h 311586"/>
                  <a:gd name="connsiteX10" fmla="*/ 44071 w 531939"/>
                  <a:gd name="connsiteY10" fmla="*/ 266743 h 311586"/>
                  <a:gd name="connsiteX11" fmla="*/ 486323 w 531939"/>
                  <a:gd name="connsiteY11" fmla="*/ 266743 h 311586"/>
                  <a:gd name="connsiteX12" fmla="*/ 486323 w 531939"/>
                  <a:gd name="connsiteY12" fmla="*/ 44844 h 311586"/>
                  <a:gd name="connsiteX13" fmla="*/ 44071 w 531939"/>
                  <a:gd name="connsiteY13" fmla="*/ 44844 h 311586"/>
                  <a:gd name="connsiteX14" fmla="*/ 44071 w 531939"/>
                  <a:gd name="connsiteY14" fmla="*/ 266743 h 311586"/>
                  <a:gd name="connsiteX15" fmla="*/ 44071 w 531939"/>
                  <a:gd name="connsiteY15" fmla="*/ 266743 h 3115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31939" h="311586">
                    <a:moveTo>
                      <a:pt x="509518" y="311587"/>
                    </a:moveTo>
                    <a:lnTo>
                      <a:pt x="22422" y="311587"/>
                    </a:lnTo>
                    <a:cubicBezTo>
                      <a:pt x="10052" y="311587"/>
                      <a:pt x="0" y="301536"/>
                      <a:pt x="0" y="289165"/>
                    </a:cubicBezTo>
                    <a:lnTo>
                      <a:pt x="0" y="22422"/>
                    </a:lnTo>
                    <a:cubicBezTo>
                      <a:pt x="0" y="10051"/>
                      <a:pt x="10052" y="0"/>
                      <a:pt x="22422" y="0"/>
                    </a:cubicBezTo>
                    <a:lnTo>
                      <a:pt x="509518" y="0"/>
                    </a:lnTo>
                    <a:cubicBezTo>
                      <a:pt x="521888" y="0"/>
                      <a:pt x="531940" y="10051"/>
                      <a:pt x="531940" y="22422"/>
                    </a:cubicBezTo>
                    <a:lnTo>
                      <a:pt x="531940" y="289165"/>
                    </a:lnTo>
                    <a:cubicBezTo>
                      <a:pt x="531167" y="301536"/>
                      <a:pt x="521888" y="311587"/>
                      <a:pt x="509518" y="311587"/>
                    </a:cubicBezTo>
                    <a:lnTo>
                      <a:pt x="509518" y="311587"/>
                    </a:lnTo>
                    <a:close/>
                    <a:moveTo>
                      <a:pt x="44071" y="266743"/>
                    </a:moveTo>
                    <a:lnTo>
                      <a:pt x="486323" y="266743"/>
                    </a:lnTo>
                    <a:lnTo>
                      <a:pt x="486323" y="44844"/>
                    </a:lnTo>
                    <a:lnTo>
                      <a:pt x="44071" y="44844"/>
                    </a:lnTo>
                    <a:lnTo>
                      <a:pt x="44071" y="266743"/>
                    </a:lnTo>
                    <a:lnTo>
                      <a:pt x="44071" y="266743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17" name="Forma Livre: Forma 416">
                <a:extLst>
                  <a:ext uri="{FF2B5EF4-FFF2-40B4-BE49-F238E27FC236}">
                    <a16:creationId xmlns:a16="http://schemas.microsoft.com/office/drawing/2014/main" id="{533A11D5-42F5-435A-AD73-B23919E59B06}"/>
                  </a:ext>
                </a:extLst>
              </p:cNvPr>
              <p:cNvSpPr/>
              <p:nvPr/>
            </p:nvSpPr>
            <p:spPr>
              <a:xfrm>
                <a:off x="11478021" y="6521671"/>
                <a:ext cx="531939" cy="311586"/>
              </a:xfrm>
              <a:custGeom>
                <a:avLst/>
                <a:gdLst>
                  <a:gd name="connsiteX0" fmla="*/ 509518 w 531939"/>
                  <a:gd name="connsiteY0" fmla="*/ 311587 h 311586"/>
                  <a:gd name="connsiteX1" fmla="*/ 22422 w 531939"/>
                  <a:gd name="connsiteY1" fmla="*/ 311587 h 311586"/>
                  <a:gd name="connsiteX2" fmla="*/ 0 w 531939"/>
                  <a:gd name="connsiteY2" fmla="*/ 289165 h 311586"/>
                  <a:gd name="connsiteX3" fmla="*/ 0 w 531939"/>
                  <a:gd name="connsiteY3" fmla="*/ 22422 h 311586"/>
                  <a:gd name="connsiteX4" fmla="*/ 22422 w 531939"/>
                  <a:gd name="connsiteY4" fmla="*/ 0 h 311586"/>
                  <a:gd name="connsiteX5" fmla="*/ 44844 w 531939"/>
                  <a:gd name="connsiteY5" fmla="*/ 22422 h 311586"/>
                  <a:gd name="connsiteX6" fmla="*/ 44844 w 531939"/>
                  <a:gd name="connsiteY6" fmla="*/ 266743 h 311586"/>
                  <a:gd name="connsiteX7" fmla="*/ 487096 w 531939"/>
                  <a:gd name="connsiteY7" fmla="*/ 266743 h 311586"/>
                  <a:gd name="connsiteX8" fmla="*/ 487096 w 531939"/>
                  <a:gd name="connsiteY8" fmla="*/ 22422 h 311586"/>
                  <a:gd name="connsiteX9" fmla="*/ 509518 w 531939"/>
                  <a:gd name="connsiteY9" fmla="*/ 0 h 311586"/>
                  <a:gd name="connsiteX10" fmla="*/ 531940 w 531939"/>
                  <a:gd name="connsiteY10" fmla="*/ 22422 h 311586"/>
                  <a:gd name="connsiteX11" fmla="*/ 531940 w 531939"/>
                  <a:gd name="connsiteY11" fmla="*/ 289165 h 311586"/>
                  <a:gd name="connsiteX12" fmla="*/ 509518 w 531939"/>
                  <a:gd name="connsiteY12" fmla="*/ 311587 h 311586"/>
                  <a:gd name="connsiteX13" fmla="*/ 509518 w 531939"/>
                  <a:gd name="connsiteY13" fmla="*/ 311587 h 3115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31939" h="311586">
                    <a:moveTo>
                      <a:pt x="509518" y="311587"/>
                    </a:moveTo>
                    <a:lnTo>
                      <a:pt x="22422" y="311587"/>
                    </a:lnTo>
                    <a:cubicBezTo>
                      <a:pt x="10052" y="311587"/>
                      <a:pt x="0" y="301536"/>
                      <a:pt x="0" y="289165"/>
                    </a:cubicBezTo>
                    <a:lnTo>
                      <a:pt x="0" y="22422"/>
                    </a:lnTo>
                    <a:cubicBezTo>
                      <a:pt x="0" y="10051"/>
                      <a:pt x="10052" y="0"/>
                      <a:pt x="22422" y="0"/>
                    </a:cubicBezTo>
                    <a:cubicBezTo>
                      <a:pt x="34793" y="0"/>
                      <a:pt x="44844" y="10051"/>
                      <a:pt x="44844" y="22422"/>
                    </a:cubicBezTo>
                    <a:lnTo>
                      <a:pt x="44844" y="266743"/>
                    </a:lnTo>
                    <a:lnTo>
                      <a:pt x="487096" y="266743"/>
                    </a:lnTo>
                    <a:lnTo>
                      <a:pt x="487096" y="22422"/>
                    </a:lnTo>
                    <a:cubicBezTo>
                      <a:pt x="487096" y="10051"/>
                      <a:pt x="497147" y="0"/>
                      <a:pt x="509518" y="0"/>
                    </a:cubicBezTo>
                    <a:cubicBezTo>
                      <a:pt x="521888" y="0"/>
                      <a:pt x="531940" y="10051"/>
                      <a:pt x="531940" y="22422"/>
                    </a:cubicBezTo>
                    <a:lnTo>
                      <a:pt x="531940" y="289165"/>
                    </a:lnTo>
                    <a:cubicBezTo>
                      <a:pt x="531167" y="301536"/>
                      <a:pt x="521888" y="311587"/>
                      <a:pt x="509518" y="311587"/>
                    </a:cubicBezTo>
                    <a:lnTo>
                      <a:pt x="509518" y="311587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grpSp>
            <p:nvGrpSpPr>
              <p:cNvPr id="418" name="Gráfico 2">
                <a:extLst>
                  <a:ext uri="{FF2B5EF4-FFF2-40B4-BE49-F238E27FC236}">
                    <a16:creationId xmlns:a16="http://schemas.microsoft.com/office/drawing/2014/main" id="{6FEF66BF-8D1E-4FFA-95A2-6EE56886837B}"/>
                  </a:ext>
                </a:extLst>
              </p:cNvPr>
              <p:cNvGrpSpPr/>
              <p:nvPr/>
            </p:nvGrpSpPr>
            <p:grpSpPr>
              <a:xfrm>
                <a:off x="11548379" y="6421933"/>
                <a:ext cx="389761" cy="176282"/>
                <a:chOff x="11548379" y="6421933"/>
                <a:chExt cx="389761" cy="176282"/>
              </a:xfrm>
              <a:grpFill/>
            </p:grpSpPr>
            <p:grpSp>
              <p:nvGrpSpPr>
                <p:cNvPr id="419" name="Gráfico 2">
                  <a:extLst>
                    <a:ext uri="{FF2B5EF4-FFF2-40B4-BE49-F238E27FC236}">
                      <a16:creationId xmlns:a16="http://schemas.microsoft.com/office/drawing/2014/main" id="{6FEF66BF-8D1E-4FFA-95A2-6EE56886837B}"/>
                    </a:ext>
                  </a:extLst>
                </p:cNvPr>
                <p:cNvGrpSpPr/>
                <p:nvPr/>
              </p:nvGrpSpPr>
              <p:grpSpPr>
                <a:xfrm>
                  <a:off x="11548379" y="6421933"/>
                  <a:ext cx="389761" cy="20102"/>
                  <a:chOff x="11548379" y="6421933"/>
                  <a:chExt cx="389761" cy="20102"/>
                </a:xfrm>
                <a:grpFill/>
              </p:grpSpPr>
              <p:sp>
                <p:nvSpPr>
                  <p:cNvPr id="420" name="Forma Livre: Forma 419">
                    <a:extLst>
                      <a:ext uri="{FF2B5EF4-FFF2-40B4-BE49-F238E27FC236}">
                        <a16:creationId xmlns:a16="http://schemas.microsoft.com/office/drawing/2014/main" id="{7D7ADA66-13CE-4FAA-9E87-618ADEEEF9FF}"/>
                      </a:ext>
                    </a:extLst>
                  </p:cNvPr>
                  <p:cNvSpPr/>
                  <p:nvPr/>
                </p:nvSpPr>
                <p:spPr>
                  <a:xfrm>
                    <a:off x="11548379" y="6421933"/>
                    <a:ext cx="134615" cy="20102"/>
                  </a:xfrm>
                  <a:custGeom>
                    <a:avLst/>
                    <a:gdLst>
                      <a:gd name="connsiteX0" fmla="*/ 124481 w 134615"/>
                      <a:gd name="connsiteY0" fmla="*/ 20103 h 20102"/>
                      <a:gd name="connsiteX1" fmla="*/ 10052 w 134615"/>
                      <a:gd name="connsiteY1" fmla="*/ 20103 h 20102"/>
                      <a:gd name="connsiteX2" fmla="*/ 0 w 134615"/>
                      <a:gd name="connsiteY2" fmla="*/ 10052 h 20102"/>
                      <a:gd name="connsiteX3" fmla="*/ 10052 w 134615"/>
                      <a:gd name="connsiteY3" fmla="*/ 0 h 20102"/>
                      <a:gd name="connsiteX4" fmla="*/ 124481 w 134615"/>
                      <a:gd name="connsiteY4" fmla="*/ 0 h 20102"/>
                      <a:gd name="connsiteX5" fmla="*/ 134531 w 134615"/>
                      <a:gd name="connsiteY5" fmla="*/ 10052 h 20102"/>
                      <a:gd name="connsiteX6" fmla="*/ 124481 w 134615"/>
                      <a:gd name="connsiteY6" fmla="*/ 20103 h 20102"/>
                      <a:gd name="connsiteX7" fmla="*/ 124481 w 134615"/>
                      <a:gd name="connsiteY7" fmla="*/ 20103 h 201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34615" h="20102">
                        <a:moveTo>
                          <a:pt x="124481" y="20103"/>
                        </a:moveTo>
                        <a:lnTo>
                          <a:pt x="10052" y="20103"/>
                        </a:lnTo>
                        <a:cubicBezTo>
                          <a:pt x="4640" y="20103"/>
                          <a:pt x="0" y="15463"/>
                          <a:pt x="0" y="10052"/>
                        </a:cubicBezTo>
                        <a:cubicBezTo>
                          <a:pt x="0" y="4639"/>
                          <a:pt x="4640" y="0"/>
                          <a:pt x="10052" y="0"/>
                        </a:cubicBezTo>
                        <a:lnTo>
                          <a:pt x="124481" y="0"/>
                        </a:lnTo>
                        <a:cubicBezTo>
                          <a:pt x="129893" y="0"/>
                          <a:pt x="134531" y="4639"/>
                          <a:pt x="134531" y="10052"/>
                        </a:cubicBezTo>
                        <a:cubicBezTo>
                          <a:pt x="135304" y="15463"/>
                          <a:pt x="130666" y="20103"/>
                          <a:pt x="124481" y="20103"/>
                        </a:cubicBezTo>
                        <a:lnTo>
                          <a:pt x="124481" y="20103"/>
                        </a:lnTo>
                        <a:close/>
                      </a:path>
                    </a:pathLst>
                  </a:custGeom>
                  <a:grpFill/>
                  <a:ln w="77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BR"/>
                  </a:p>
                </p:txBody>
              </p:sp>
              <p:sp>
                <p:nvSpPr>
                  <p:cNvPr id="421" name="Forma Livre: Forma 420">
                    <a:extLst>
                      <a:ext uri="{FF2B5EF4-FFF2-40B4-BE49-F238E27FC236}">
                        <a16:creationId xmlns:a16="http://schemas.microsoft.com/office/drawing/2014/main" id="{47DB2717-DCDF-463C-9392-8239453AD9B6}"/>
                      </a:ext>
                    </a:extLst>
                  </p:cNvPr>
                  <p:cNvSpPr/>
                  <p:nvPr/>
                </p:nvSpPr>
                <p:spPr>
                  <a:xfrm>
                    <a:off x="11803525" y="6421933"/>
                    <a:ext cx="134615" cy="20102"/>
                  </a:xfrm>
                  <a:custGeom>
                    <a:avLst/>
                    <a:gdLst>
                      <a:gd name="connsiteX0" fmla="*/ 124481 w 134615"/>
                      <a:gd name="connsiteY0" fmla="*/ 20103 h 20102"/>
                      <a:gd name="connsiteX1" fmla="*/ 10052 w 134615"/>
                      <a:gd name="connsiteY1" fmla="*/ 20103 h 20102"/>
                      <a:gd name="connsiteX2" fmla="*/ 0 w 134615"/>
                      <a:gd name="connsiteY2" fmla="*/ 10052 h 20102"/>
                      <a:gd name="connsiteX3" fmla="*/ 10052 w 134615"/>
                      <a:gd name="connsiteY3" fmla="*/ 0 h 20102"/>
                      <a:gd name="connsiteX4" fmla="*/ 124481 w 134615"/>
                      <a:gd name="connsiteY4" fmla="*/ 0 h 20102"/>
                      <a:gd name="connsiteX5" fmla="*/ 134531 w 134615"/>
                      <a:gd name="connsiteY5" fmla="*/ 10052 h 20102"/>
                      <a:gd name="connsiteX6" fmla="*/ 124481 w 134615"/>
                      <a:gd name="connsiteY6" fmla="*/ 20103 h 20102"/>
                      <a:gd name="connsiteX7" fmla="*/ 124481 w 134615"/>
                      <a:gd name="connsiteY7" fmla="*/ 20103 h 201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34615" h="20102">
                        <a:moveTo>
                          <a:pt x="124481" y="20103"/>
                        </a:moveTo>
                        <a:lnTo>
                          <a:pt x="10052" y="20103"/>
                        </a:lnTo>
                        <a:cubicBezTo>
                          <a:pt x="4640" y="20103"/>
                          <a:pt x="0" y="15463"/>
                          <a:pt x="0" y="10052"/>
                        </a:cubicBezTo>
                        <a:cubicBezTo>
                          <a:pt x="0" y="4639"/>
                          <a:pt x="4640" y="0"/>
                          <a:pt x="10052" y="0"/>
                        </a:cubicBezTo>
                        <a:lnTo>
                          <a:pt x="124481" y="0"/>
                        </a:lnTo>
                        <a:cubicBezTo>
                          <a:pt x="129893" y="0"/>
                          <a:pt x="134531" y="4639"/>
                          <a:pt x="134531" y="10052"/>
                        </a:cubicBezTo>
                        <a:cubicBezTo>
                          <a:pt x="135304" y="15463"/>
                          <a:pt x="130666" y="20103"/>
                          <a:pt x="124481" y="20103"/>
                        </a:cubicBezTo>
                        <a:lnTo>
                          <a:pt x="124481" y="20103"/>
                        </a:lnTo>
                        <a:close/>
                      </a:path>
                    </a:pathLst>
                  </a:custGeom>
                  <a:grpFill/>
                  <a:ln w="77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BR"/>
                  </a:p>
                </p:txBody>
              </p:sp>
            </p:grpSp>
            <p:grpSp>
              <p:nvGrpSpPr>
                <p:cNvPr id="422" name="Gráfico 2">
                  <a:extLst>
                    <a:ext uri="{FF2B5EF4-FFF2-40B4-BE49-F238E27FC236}">
                      <a16:creationId xmlns:a16="http://schemas.microsoft.com/office/drawing/2014/main" id="{6FEF66BF-8D1E-4FFA-95A2-6EE56886837B}"/>
                    </a:ext>
                  </a:extLst>
                </p:cNvPr>
                <p:cNvGrpSpPr/>
                <p:nvPr/>
              </p:nvGrpSpPr>
              <p:grpSpPr>
                <a:xfrm>
                  <a:off x="11548379" y="6578113"/>
                  <a:ext cx="389761" cy="20102"/>
                  <a:chOff x="11548379" y="6578113"/>
                  <a:chExt cx="389761" cy="20102"/>
                </a:xfrm>
                <a:grpFill/>
              </p:grpSpPr>
              <p:sp>
                <p:nvSpPr>
                  <p:cNvPr id="423" name="Forma Livre: Forma 422">
                    <a:extLst>
                      <a:ext uri="{FF2B5EF4-FFF2-40B4-BE49-F238E27FC236}">
                        <a16:creationId xmlns:a16="http://schemas.microsoft.com/office/drawing/2014/main" id="{D5B3D696-84D6-4C7B-94EF-387C13F19810}"/>
                      </a:ext>
                    </a:extLst>
                  </p:cNvPr>
                  <p:cNvSpPr/>
                  <p:nvPr/>
                </p:nvSpPr>
                <p:spPr>
                  <a:xfrm>
                    <a:off x="11548379" y="6578113"/>
                    <a:ext cx="134615" cy="20102"/>
                  </a:xfrm>
                  <a:custGeom>
                    <a:avLst/>
                    <a:gdLst>
                      <a:gd name="connsiteX0" fmla="*/ 124481 w 134615"/>
                      <a:gd name="connsiteY0" fmla="*/ 20103 h 20102"/>
                      <a:gd name="connsiteX1" fmla="*/ 10052 w 134615"/>
                      <a:gd name="connsiteY1" fmla="*/ 20103 h 20102"/>
                      <a:gd name="connsiteX2" fmla="*/ 0 w 134615"/>
                      <a:gd name="connsiteY2" fmla="*/ 10051 h 20102"/>
                      <a:gd name="connsiteX3" fmla="*/ 10052 w 134615"/>
                      <a:gd name="connsiteY3" fmla="*/ 0 h 20102"/>
                      <a:gd name="connsiteX4" fmla="*/ 124481 w 134615"/>
                      <a:gd name="connsiteY4" fmla="*/ 0 h 20102"/>
                      <a:gd name="connsiteX5" fmla="*/ 134531 w 134615"/>
                      <a:gd name="connsiteY5" fmla="*/ 10051 h 20102"/>
                      <a:gd name="connsiteX6" fmla="*/ 124481 w 134615"/>
                      <a:gd name="connsiteY6" fmla="*/ 20103 h 20102"/>
                      <a:gd name="connsiteX7" fmla="*/ 124481 w 134615"/>
                      <a:gd name="connsiteY7" fmla="*/ 20103 h 201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34615" h="20102">
                        <a:moveTo>
                          <a:pt x="124481" y="20103"/>
                        </a:moveTo>
                        <a:lnTo>
                          <a:pt x="10052" y="20103"/>
                        </a:lnTo>
                        <a:cubicBezTo>
                          <a:pt x="4640" y="20103"/>
                          <a:pt x="0" y="15463"/>
                          <a:pt x="0" y="10051"/>
                        </a:cubicBezTo>
                        <a:cubicBezTo>
                          <a:pt x="0" y="4639"/>
                          <a:pt x="4640" y="0"/>
                          <a:pt x="10052" y="0"/>
                        </a:cubicBezTo>
                        <a:lnTo>
                          <a:pt x="124481" y="0"/>
                        </a:lnTo>
                        <a:cubicBezTo>
                          <a:pt x="129893" y="0"/>
                          <a:pt x="134531" y="4639"/>
                          <a:pt x="134531" y="10051"/>
                        </a:cubicBezTo>
                        <a:cubicBezTo>
                          <a:pt x="135304" y="15463"/>
                          <a:pt x="130666" y="20103"/>
                          <a:pt x="124481" y="20103"/>
                        </a:cubicBezTo>
                        <a:lnTo>
                          <a:pt x="124481" y="20103"/>
                        </a:lnTo>
                        <a:close/>
                      </a:path>
                    </a:pathLst>
                  </a:custGeom>
                  <a:grpFill/>
                  <a:ln w="77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BR"/>
                  </a:p>
                </p:txBody>
              </p:sp>
              <p:sp>
                <p:nvSpPr>
                  <p:cNvPr id="424" name="Forma Livre: Forma 423">
                    <a:extLst>
                      <a:ext uri="{FF2B5EF4-FFF2-40B4-BE49-F238E27FC236}">
                        <a16:creationId xmlns:a16="http://schemas.microsoft.com/office/drawing/2014/main" id="{66EFB533-32C7-49F6-95D5-7420ACA44015}"/>
                      </a:ext>
                    </a:extLst>
                  </p:cNvPr>
                  <p:cNvSpPr/>
                  <p:nvPr/>
                </p:nvSpPr>
                <p:spPr>
                  <a:xfrm>
                    <a:off x="11803525" y="6578113"/>
                    <a:ext cx="134615" cy="20102"/>
                  </a:xfrm>
                  <a:custGeom>
                    <a:avLst/>
                    <a:gdLst>
                      <a:gd name="connsiteX0" fmla="*/ 124481 w 134615"/>
                      <a:gd name="connsiteY0" fmla="*/ 20103 h 20102"/>
                      <a:gd name="connsiteX1" fmla="*/ 10052 w 134615"/>
                      <a:gd name="connsiteY1" fmla="*/ 20103 h 20102"/>
                      <a:gd name="connsiteX2" fmla="*/ 0 w 134615"/>
                      <a:gd name="connsiteY2" fmla="*/ 10051 h 20102"/>
                      <a:gd name="connsiteX3" fmla="*/ 10052 w 134615"/>
                      <a:gd name="connsiteY3" fmla="*/ 0 h 20102"/>
                      <a:gd name="connsiteX4" fmla="*/ 124481 w 134615"/>
                      <a:gd name="connsiteY4" fmla="*/ 0 h 20102"/>
                      <a:gd name="connsiteX5" fmla="*/ 134531 w 134615"/>
                      <a:gd name="connsiteY5" fmla="*/ 10051 h 20102"/>
                      <a:gd name="connsiteX6" fmla="*/ 124481 w 134615"/>
                      <a:gd name="connsiteY6" fmla="*/ 20103 h 20102"/>
                      <a:gd name="connsiteX7" fmla="*/ 124481 w 134615"/>
                      <a:gd name="connsiteY7" fmla="*/ 20103 h 201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34615" h="20102">
                        <a:moveTo>
                          <a:pt x="124481" y="20103"/>
                        </a:moveTo>
                        <a:lnTo>
                          <a:pt x="10052" y="20103"/>
                        </a:lnTo>
                        <a:cubicBezTo>
                          <a:pt x="4640" y="20103"/>
                          <a:pt x="0" y="15463"/>
                          <a:pt x="0" y="10051"/>
                        </a:cubicBezTo>
                        <a:cubicBezTo>
                          <a:pt x="0" y="4639"/>
                          <a:pt x="4640" y="0"/>
                          <a:pt x="10052" y="0"/>
                        </a:cubicBezTo>
                        <a:lnTo>
                          <a:pt x="124481" y="0"/>
                        </a:lnTo>
                        <a:cubicBezTo>
                          <a:pt x="129893" y="0"/>
                          <a:pt x="134531" y="4639"/>
                          <a:pt x="134531" y="10051"/>
                        </a:cubicBezTo>
                        <a:cubicBezTo>
                          <a:pt x="135304" y="15463"/>
                          <a:pt x="130666" y="20103"/>
                          <a:pt x="124481" y="20103"/>
                        </a:cubicBezTo>
                        <a:lnTo>
                          <a:pt x="124481" y="20103"/>
                        </a:lnTo>
                        <a:close/>
                      </a:path>
                    </a:pathLst>
                  </a:custGeom>
                  <a:grpFill/>
                  <a:ln w="77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BR"/>
                  </a:p>
                </p:txBody>
              </p:sp>
            </p:grpSp>
          </p:grpSp>
          <p:sp>
            <p:nvSpPr>
              <p:cNvPr id="425" name="Forma Livre: Forma 424">
                <a:extLst>
                  <a:ext uri="{FF2B5EF4-FFF2-40B4-BE49-F238E27FC236}">
                    <a16:creationId xmlns:a16="http://schemas.microsoft.com/office/drawing/2014/main" id="{F8E10D7C-E356-4AAB-9D76-2FE3C03B7B7E}"/>
                  </a:ext>
                </a:extLst>
              </p:cNvPr>
              <p:cNvSpPr/>
              <p:nvPr/>
            </p:nvSpPr>
            <p:spPr>
              <a:xfrm>
                <a:off x="11494257" y="6691768"/>
                <a:ext cx="491735" cy="20102"/>
              </a:xfrm>
              <a:custGeom>
                <a:avLst/>
                <a:gdLst>
                  <a:gd name="connsiteX0" fmla="*/ 481684 w 491735"/>
                  <a:gd name="connsiteY0" fmla="*/ 20102 h 20102"/>
                  <a:gd name="connsiteX1" fmla="*/ 10052 w 491735"/>
                  <a:gd name="connsiteY1" fmla="*/ 20102 h 20102"/>
                  <a:gd name="connsiteX2" fmla="*/ 0 w 491735"/>
                  <a:gd name="connsiteY2" fmla="*/ 10051 h 20102"/>
                  <a:gd name="connsiteX3" fmla="*/ 10052 w 491735"/>
                  <a:gd name="connsiteY3" fmla="*/ 0 h 20102"/>
                  <a:gd name="connsiteX4" fmla="*/ 481684 w 491735"/>
                  <a:gd name="connsiteY4" fmla="*/ 0 h 20102"/>
                  <a:gd name="connsiteX5" fmla="*/ 491736 w 491735"/>
                  <a:gd name="connsiteY5" fmla="*/ 10051 h 20102"/>
                  <a:gd name="connsiteX6" fmla="*/ 481684 w 491735"/>
                  <a:gd name="connsiteY6" fmla="*/ 20102 h 20102"/>
                  <a:gd name="connsiteX7" fmla="*/ 481684 w 491735"/>
                  <a:gd name="connsiteY7" fmla="*/ 20102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91735" h="20102">
                    <a:moveTo>
                      <a:pt x="481684" y="20102"/>
                    </a:moveTo>
                    <a:lnTo>
                      <a:pt x="10052" y="20102"/>
                    </a:lnTo>
                    <a:cubicBezTo>
                      <a:pt x="4640" y="20102"/>
                      <a:pt x="0" y="15463"/>
                      <a:pt x="0" y="10051"/>
                    </a:cubicBezTo>
                    <a:cubicBezTo>
                      <a:pt x="0" y="4639"/>
                      <a:pt x="4640" y="0"/>
                      <a:pt x="10052" y="0"/>
                    </a:cubicBezTo>
                    <a:lnTo>
                      <a:pt x="481684" y="0"/>
                    </a:lnTo>
                    <a:cubicBezTo>
                      <a:pt x="487096" y="0"/>
                      <a:pt x="491736" y="4639"/>
                      <a:pt x="491736" y="10051"/>
                    </a:cubicBezTo>
                    <a:cubicBezTo>
                      <a:pt x="491736" y="15463"/>
                      <a:pt x="487096" y="20102"/>
                      <a:pt x="481684" y="20102"/>
                    </a:cubicBezTo>
                    <a:lnTo>
                      <a:pt x="481684" y="20102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26" name="Forma Livre: Forma 425">
                <a:extLst>
                  <a:ext uri="{FF2B5EF4-FFF2-40B4-BE49-F238E27FC236}">
                    <a16:creationId xmlns:a16="http://schemas.microsoft.com/office/drawing/2014/main" id="{6681F213-D105-426F-B49C-AD481C432BBE}"/>
                  </a:ext>
                </a:extLst>
              </p:cNvPr>
              <p:cNvSpPr/>
              <p:nvPr/>
            </p:nvSpPr>
            <p:spPr>
              <a:xfrm>
                <a:off x="11494257" y="6742024"/>
                <a:ext cx="491735" cy="20102"/>
              </a:xfrm>
              <a:custGeom>
                <a:avLst/>
                <a:gdLst>
                  <a:gd name="connsiteX0" fmla="*/ 481684 w 491735"/>
                  <a:gd name="connsiteY0" fmla="*/ 20102 h 20102"/>
                  <a:gd name="connsiteX1" fmla="*/ 10052 w 491735"/>
                  <a:gd name="connsiteY1" fmla="*/ 20102 h 20102"/>
                  <a:gd name="connsiteX2" fmla="*/ 0 w 491735"/>
                  <a:gd name="connsiteY2" fmla="*/ 10051 h 20102"/>
                  <a:gd name="connsiteX3" fmla="*/ 10052 w 491735"/>
                  <a:gd name="connsiteY3" fmla="*/ 0 h 20102"/>
                  <a:gd name="connsiteX4" fmla="*/ 481684 w 491735"/>
                  <a:gd name="connsiteY4" fmla="*/ 0 h 20102"/>
                  <a:gd name="connsiteX5" fmla="*/ 491736 w 491735"/>
                  <a:gd name="connsiteY5" fmla="*/ 10051 h 20102"/>
                  <a:gd name="connsiteX6" fmla="*/ 481684 w 491735"/>
                  <a:gd name="connsiteY6" fmla="*/ 20102 h 20102"/>
                  <a:gd name="connsiteX7" fmla="*/ 481684 w 491735"/>
                  <a:gd name="connsiteY7" fmla="*/ 20102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91735" h="20102">
                    <a:moveTo>
                      <a:pt x="481684" y="20102"/>
                    </a:moveTo>
                    <a:lnTo>
                      <a:pt x="10052" y="20102"/>
                    </a:lnTo>
                    <a:cubicBezTo>
                      <a:pt x="4640" y="20102"/>
                      <a:pt x="0" y="15463"/>
                      <a:pt x="0" y="10051"/>
                    </a:cubicBezTo>
                    <a:cubicBezTo>
                      <a:pt x="0" y="4639"/>
                      <a:pt x="4640" y="0"/>
                      <a:pt x="10052" y="0"/>
                    </a:cubicBezTo>
                    <a:lnTo>
                      <a:pt x="481684" y="0"/>
                    </a:lnTo>
                    <a:cubicBezTo>
                      <a:pt x="487096" y="0"/>
                      <a:pt x="491736" y="4639"/>
                      <a:pt x="491736" y="10051"/>
                    </a:cubicBezTo>
                    <a:cubicBezTo>
                      <a:pt x="491736" y="15463"/>
                      <a:pt x="487096" y="20102"/>
                      <a:pt x="481684" y="20102"/>
                    </a:cubicBezTo>
                    <a:lnTo>
                      <a:pt x="481684" y="20102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427" name="Gráfico 2">
              <a:extLst>
                <a:ext uri="{FF2B5EF4-FFF2-40B4-BE49-F238E27FC236}">
                  <a16:creationId xmlns:a16="http://schemas.microsoft.com/office/drawing/2014/main" id="{6FEF66BF-8D1E-4FFA-95A2-6EE56886837B}"/>
                </a:ext>
              </a:extLst>
            </p:cNvPr>
            <p:cNvGrpSpPr/>
            <p:nvPr/>
          </p:nvGrpSpPr>
          <p:grpSpPr>
            <a:xfrm>
              <a:off x="7393476" y="5630909"/>
              <a:ext cx="388385" cy="387772"/>
              <a:chOff x="7733569" y="6348482"/>
              <a:chExt cx="490188" cy="489415"/>
            </a:xfrm>
            <a:solidFill>
              <a:srgbClr val="B1B1A1"/>
            </a:solidFill>
          </p:grpSpPr>
          <p:sp>
            <p:nvSpPr>
              <p:cNvPr id="428" name="Forma Livre: Forma 427">
                <a:extLst>
                  <a:ext uri="{FF2B5EF4-FFF2-40B4-BE49-F238E27FC236}">
                    <a16:creationId xmlns:a16="http://schemas.microsoft.com/office/drawing/2014/main" id="{D18CA1B2-6EC5-46E6-A2AE-B1CAB2841F48}"/>
                  </a:ext>
                </a:extLst>
              </p:cNvPr>
              <p:cNvSpPr/>
              <p:nvPr/>
            </p:nvSpPr>
            <p:spPr>
              <a:xfrm>
                <a:off x="7733569" y="6348482"/>
                <a:ext cx="490188" cy="489415"/>
              </a:xfrm>
              <a:custGeom>
                <a:avLst/>
                <a:gdLst>
                  <a:gd name="connsiteX0" fmla="*/ 468540 w 490188"/>
                  <a:gd name="connsiteY0" fmla="*/ 489416 h 489415"/>
                  <a:gd name="connsiteX1" fmla="*/ 20876 w 490188"/>
                  <a:gd name="connsiteY1" fmla="*/ 489416 h 489415"/>
                  <a:gd name="connsiteX2" fmla="*/ 0 w 490188"/>
                  <a:gd name="connsiteY2" fmla="*/ 468540 h 489415"/>
                  <a:gd name="connsiteX3" fmla="*/ 0 w 490188"/>
                  <a:gd name="connsiteY3" fmla="*/ 20876 h 489415"/>
                  <a:gd name="connsiteX4" fmla="*/ 20876 w 490188"/>
                  <a:gd name="connsiteY4" fmla="*/ 0 h 489415"/>
                  <a:gd name="connsiteX5" fmla="*/ 41751 w 490188"/>
                  <a:gd name="connsiteY5" fmla="*/ 20876 h 489415"/>
                  <a:gd name="connsiteX6" fmla="*/ 41751 w 490188"/>
                  <a:gd name="connsiteY6" fmla="*/ 448437 h 489415"/>
                  <a:gd name="connsiteX7" fmla="*/ 469313 w 490188"/>
                  <a:gd name="connsiteY7" fmla="*/ 448437 h 489415"/>
                  <a:gd name="connsiteX8" fmla="*/ 490188 w 490188"/>
                  <a:gd name="connsiteY8" fmla="*/ 469313 h 489415"/>
                  <a:gd name="connsiteX9" fmla="*/ 468540 w 490188"/>
                  <a:gd name="connsiteY9" fmla="*/ 489416 h 489415"/>
                  <a:gd name="connsiteX10" fmla="*/ 468540 w 490188"/>
                  <a:gd name="connsiteY10" fmla="*/ 489416 h 489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90188" h="489415">
                    <a:moveTo>
                      <a:pt x="468540" y="489416"/>
                    </a:moveTo>
                    <a:lnTo>
                      <a:pt x="20876" y="489416"/>
                    </a:lnTo>
                    <a:cubicBezTo>
                      <a:pt x="9278" y="489416"/>
                      <a:pt x="0" y="480138"/>
                      <a:pt x="0" y="468540"/>
                    </a:cubicBezTo>
                    <a:lnTo>
                      <a:pt x="0" y="20876"/>
                    </a:lnTo>
                    <a:cubicBezTo>
                      <a:pt x="0" y="9278"/>
                      <a:pt x="9278" y="0"/>
                      <a:pt x="20876" y="0"/>
                    </a:cubicBezTo>
                    <a:cubicBezTo>
                      <a:pt x="32473" y="0"/>
                      <a:pt x="41751" y="9278"/>
                      <a:pt x="41751" y="20876"/>
                    </a:cubicBezTo>
                    <a:lnTo>
                      <a:pt x="41751" y="448437"/>
                    </a:lnTo>
                    <a:lnTo>
                      <a:pt x="469313" y="448437"/>
                    </a:lnTo>
                    <a:cubicBezTo>
                      <a:pt x="480911" y="448437"/>
                      <a:pt x="490188" y="457716"/>
                      <a:pt x="490188" y="469313"/>
                    </a:cubicBezTo>
                    <a:cubicBezTo>
                      <a:pt x="489415" y="480138"/>
                      <a:pt x="480138" y="489416"/>
                      <a:pt x="468540" y="489416"/>
                    </a:cubicBezTo>
                    <a:lnTo>
                      <a:pt x="468540" y="489416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29" name="Forma Livre: Forma 428">
                <a:extLst>
                  <a:ext uri="{FF2B5EF4-FFF2-40B4-BE49-F238E27FC236}">
                    <a16:creationId xmlns:a16="http://schemas.microsoft.com/office/drawing/2014/main" id="{90E7D2FD-7705-44B1-BC0A-DCB1D0DD3F3F}"/>
                  </a:ext>
                </a:extLst>
              </p:cNvPr>
              <p:cNvSpPr/>
              <p:nvPr/>
            </p:nvSpPr>
            <p:spPr>
              <a:xfrm>
                <a:off x="7809339" y="6615225"/>
                <a:ext cx="136077" cy="136077"/>
              </a:xfrm>
              <a:custGeom>
                <a:avLst/>
                <a:gdLst>
                  <a:gd name="connsiteX0" fmla="*/ 68039 w 136077"/>
                  <a:gd name="connsiteY0" fmla="*/ 136078 h 136077"/>
                  <a:gd name="connsiteX1" fmla="*/ 0 w 136077"/>
                  <a:gd name="connsiteY1" fmla="*/ 68039 h 136077"/>
                  <a:gd name="connsiteX2" fmla="*/ 68039 w 136077"/>
                  <a:gd name="connsiteY2" fmla="*/ 0 h 136077"/>
                  <a:gd name="connsiteX3" fmla="*/ 136078 w 136077"/>
                  <a:gd name="connsiteY3" fmla="*/ 68039 h 136077"/>
                  <a:gd name="connsiteX4" fmla="*/ 68039 w 136077"/>
                  <a:gd name="connsiteY4" fmla="*/ 136078 h 136077"/>
                  <a:gd name="connsiteX5" fmla="*/ 68039 w 136077"/>
                  <a:gd name="connsiteY5" fmla="*/ 136078 h 136077"/>
                  <a:gd name="connsiteX6" fmla="*/ 68039 w 136077"/>
                  <a:gd name="connsiteY6" fmla="*/ 40978 h 136077"/>
                  <a:gd name="connsiteX7" fmla="*/ 40978 w 136077"/>
                  <a:gd name="connsiteY7" fmla="*/ 68039 h 136077"/>
                  <a:gd name="connsiteX8" fmla="*/ 68039 w 136077"/>
                  <a:gd name="connsiteY8" fmla="*/ 95100 h 136077"/>
                  <a:gd name="connsiteX9" fmla="*/ 95100 w 136077"/>
                  <a:gd name="connsiteY9" fmla="*/ 68039 h 136077"/>
                  <a:gd name="connsiteX10" fmla="*/ 68039 w 136077"/>
                  <a:gd name="connsiteY10" fmla="*/ 40978 h 136077"/>
                  <a:gd name="connsiteX11" fmla="*/ 68039 w 136077"/>
                  <a:gd name="connsiteY11" fmla="*/ 40978 h 136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36077" h="136077">
                    <a:moveTo>
                      <a:pt x="68039" y="136078"/>
                    </a:moveTo>
                    <a:cubicBezTo>
                      <a:pt x="30154" y="136078"/>
                      <a:pt x="0" y="105151"/>
                      <a:pt x="0" y="68039"/>
                    </a:cubicBezTo>
                    <a:cubicBezTo>
                      <a:pt x="0" y="30927"/>
                      <a:pt x="30927" y="0"/>
                      <a:pt x="68039" y="0"/>
                    </a:cubicBezTo>
                    <a:cubicBezTo>
                      <a:pt x="105151" y="0"/>
                      <a:pt x="136078" y="30927"/>
                      <a:pt x="136078" y="68039"/>
                    </a:cubicBezTo>
                    <a:cubicBezTo>
                      <a:pt x="136078" y="105151"/>
                      <a:pt x="105151" y="136078"/>
                      <a:pt x="68039" y="136078"/>
                    </a:cubicBezTo>
                    <a:lnTo>
                      <a:pt x="68039" y="136078"/>
                    </a:lnTo>
                    <a:close/>
                    <a:moveTo>
                      <a:pt x="68039" y="40978"/>
                    </a:moveTo>
                    <a:cubicBezTo>
                      <a:pt x="52576" y="40978"/>
                      <a:pt x="40978" y="53349"/>
                      <a:pt x="40978" y="68039"/>
                    </a:cubicBezTo>
                    <a:cubicBezTo>
                      <a:pt x="40978" y="83503"/>
                      <a:pt x="53349" y="95100"/>
                      <a:pt x="68039" y="95100"/>
                    </a:cubicBezTo>
                    <a:cubicBezTo>
                      <a:pt x="83503" y="95100"/>
                      <a:pt x="95100" y="82729"/>
                      <a:pt x="95100" y="68039"/>
                    </a:cubicBezTo>
                    <a:cubicBezTo>
                      <a:pt x="95100" y="52576"/>
                      <a:pt x="82729" y="40978"/>
                      <a:pt x="68039" y="40978"/>
                    </a:cubicBezTo>
                    <a:lnTo>
                      <a:pt x="68039" y="40978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30" name="Forma Livre: Forma 429">
                <a:extLst>
                  <a:ext uri="{FF2B5EF4-FFF2-40B4-BE49-F238E27FC236}">
                    <a16:creationId xmlns:a16="http://schemas.microsoft.com/office/drawing/2014/main" id="{CEFB31E0-C177-41F1-A0E7-8BF88FF0EFF0}"/>
                  </a:ext>
                </a:extLst>
              </p:cNvPr>
              <p:cNvSpPr/>
              <p:nvPr/>
            </p:nvSpPr>
            <p:spPr>
              <a:xfrm>
                <a:off x="8072216" y="6567289"/>
                <a:ext cx="136077" cy="136077"/>
              </a:xfrm>
              <a:custGeom>
                <a:avLst/>
                <a:gdLst>
                  <a:gd name="connsiteX0" fmla="*/ 68039 w 136077"/>
                  <a:gd name="connsiteY0" fmla="*/ 136077 h 136077"/>
                  <a:gd name="connsiteX1" fmla="*/ 0 w 136077"/>
                  <a:gd name="connsiteY1" fmla="*/ 68039 h 136077"/>
                  <a:gd name="connsiteX2" fmla="*/ 68039 w 136077"/>
                  <a:gd name="connsiteY2" fmla="*/ 0 h 136077"/>
                  <a:gd name="connsiteX3" fmla="*/ 136077 w 136077"/>
                  <a:gd name="connsiteY3" fmla="*/ 68039 h 136077"/>
                  <a:gd name="connsiteX4" fmla="*/ 68039 w 136077"/>
                  <a:gd name="connsiteY4" fmla="*/ 136077 h 136077"/>
                  <a:gd name="connsiteX5" fmla="*/ 68039 w 136077"/>
                  <a:gd name="connsiteY5" fmla="*/ 136077 h 136077"/>
                  <a:gd name="connsiteX6" fmla="*/ 68039 w 136077"/>
                  <a:gd name="connsiteY6" fmla="*/ 40978 h 136077"/>
                  <a:gd name="connsiteX7" fmla="*/ 40978 w 136077"/>
                  <a:gd name="connsiteY7" fmla="*/ 68039 h 136077"/>
                  <a:gd name="connsiteX8" fmla="*/ 68039 w 136077"/>
                  <a:gd name="connsiteY8" fmla="*/ 95100 h 136077"/>
                  <a:gd name="connsiteX9" fmla="*/ 95100 w 136077"/>
                  <a:gd name="connsiteY9" fmla="*/ 68039 h 136077"/>
                  <a:gd name="connsiteX10" fmla="*/ 68039 w 136077"/>
                  <a:gd name="connsiteY10" fmla="*/ 40978 h 136077"/>
                  <a:gd name="connsiteX11" fmla="*/ 68039 w 136077"/>
                  <a:gd name="connsiteY11" fmla="*/ 40978 h 136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36077" h="136077">
                    <a:moveTo>
                      <a:pt x="68039" y="136077"/>
                    </a:moveTo>
                    <a:cubicBezTo>
                      <a:pt x="30154" y="136077"/>
                      <a:pt x="0" y="105151"/>
                      <a:pt x="0" y="68039"/>
                    </a:cubicBezTo>
                    <a:cubicBezTo>
                      <a:pt x="0" y="30153"/>
                      <a:pt x="30927" y="0"/>
                      <a:pt x="68039" y="0"/>
                    </a:cubicBezTo>
                    <a:cubicBezTo>
                      <a:pt x="105151" y="0"/>
                      <a:pt x="136077" y="30927"/>
                      <a:pt x="136077" y="68039"/>
                    </a:cubicBezTo>
                    <a:cubicBezTo>
                      <a:pt x="136077" y="105924"/>
                      <a:pt x="105925" y="136077"/>
                      <a:pt x="68039" y="136077"/>
                    </a:cubicBezTo>
                    <a:lnTo>
                      <a:pt x="68039" y="136077"/>
                    </a:lnTo>
                    <a:close/>
                    <a:moveTo>
                      <a:pt x="68039" y="40978"/>
                    </a:moveTo>
                    <a:cubicBezTo>
                      <a:pt x="52576" y="40978"/>
                      <a:pt x="40978" y="53348"/>
                      <a:pt x="40978" y="68039"/>
                    </a:cubicBezTo>
                    <a:cubicBezTo>
                      <a:pt x="40978" y="83502"/>
                      <a:pt x="53349" y="95100"/>
                      <a:pt x="68039" y="95100"/>
                    </a:cubicBezTo>
                    <a:cubicBezTo>
                      <a:pt x="83503" y="95100"/>
                      <a:pt x="95100" y="82729"/>
                      <a:pt x="95100" y="68039"/>
                    </a:cubicBezTo>
                    <a:cubicBezTo>
                      <a:pt x="95100" y="52575"/>
                      <a:pt x="83503" y="40978"/>
                      <a:pt x="68039" y="40978"/>
                    </a:cubicBezTo>
                    <a:lnTo>
                      <a:pt x="68039" y="40978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31" name="Forma Livre: Forma 430">
                <a:extLst>
                  <a:ext uri="{FF2B5EF4-FFF2-40B4-BE49-F238E27FC236}">
                    <a16:creationId xmlns:a16="http://schemas.microsoft.com/office/drawing/2014/main" id="{6984B736-F6F6-4AE1-956B-E60A538E7DD2}"/>
                  </a:ext>
                </a:extLst>
              </p:cNvPr>
              <p:cNvSpPr/>
              <p:nvPr/>
            </p:nvSpPr>
            <p:spPr>
              <a:xfrm>
                <a:off x="7918356" y="6413428"/>
                <a:ext cx="136077" cy="136077"/>
              </a:xfrm>
              <a:custGeom>
                <a:avLst/>
                <a:gdLst>
                  <a:gd name="connsiteX0" fmla="*/ 68039 w 136077"/>
                  <a:gd name="connsiteY0" fmla="*/ 136077 h 136077"/>
                  <a:gd name="connsiteX1" fmla="*/ 0 w 136077"/>
                  <a:gd name="connsiteY1" fmla="*/ 68039 h 136077"/>
                  <a:gd name="connsiteX2" fmla="*/ 68039 w 136077"/>
                  <a:gd name="connsiteY2" fmla="*/ 0 h 136077"/>
                  <a:gd name="connsiteX3" fmla="*/ 136077 w 136077"/>
                  <a:gd name="connsiteY3" fmla="*/ 68039 h 136077"/>
                  <a:gd name="connsiteX4" fmla="*/ 68039 w 136077"/>
                  <a:gd name="connsiteY4" fmla="*/ 136077 h 136077"/>
                  <a:gd name="connsiteX5" fmla="*/ 68039 w 136077"/>
                  <a:gd name="connsiteY5" fmla="*/ 136077 h 136077"/>
                  <a:gd name="connsiteX6" fmla="*/ 68039 w 136077"/>
                  <a:gd name="connsiteY6" fmla="*/ 40978 h 136077"/>
                  <a:gd name="connsiteX7" fmla="*/ 40978 w 136077"/>
                  <a:gd name="connsiteY7" fmla="*/ 68039 h 136077"/>
                  <a:gd name="connsiteX8" fmla="*/ 68039 w 136077"/>
                  <a:gd name="connsiteY8" fmla="*/ 95100 h 136077"/>
                  <a:gd name="connsiteX9" fmla="*/ 95100 w 136077"/>
                  <a:gd name="connsiteY9" fmla="*/ 68039 h 136077"/>
                  <a:gd name="connsiteX10" fmla="*/ 68039 w 136077"/>
                  <a:gd name="connsiteY10" fmla="*/ 40978 h 136077"/>
                  <a:gd name="connsiteX11" fmla="*/ 68039 w 136077"/>
                  <a:gd name="connsiteY11" fmla="*/ 40978 h 136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36077" h="136077">
                    <a:moveTo>
                      <a:pt x="68039" y="136077"/>
                    </a:moveTo>
                    <a:cubicBezTo>
                      <a:pt x="30153" y="136077"/>
                      <a:pt x="0" y="105151"/>
                      <a:pt x="0" y="68039"/>
                    </a:cubicBezTo>
                    <a:cubicBezTo>
                      <a:pt x="0" y="30154"/>
                      <a:pt x="30927" y="0"/>
                      <a:pt x="68039" y="0"/>
                    </a:cubicBezTo>
                    <a:cubicBezTo>
                      <a:pt x="105151" y="0"/>
                      <a:pt x="136077" y="30927"/>
                      <a:pt x="136077" y="68039"/>
                    </a:cubicBezTo>
                    <a:cubicBezTo>
                      <a:pt x="136077" y="105924"/>
                      <a:pt x="105924" y="136077"/>
                      <a:pt x="68039" y="136077"/>
                    </a:cubicBezTo>
                    <a:lnTo>
                      <a:pt x="68039" y="136077"/>
                    </a:lnTo>
                    <a:close/>
                    <a:moveTo>
                      <a:pt x="68039" y="40978"/>
                    </a:moveTo>
                    <a:cubicBezTo>
                      <a:pt x="52575" y="40978"/>
                      <a:pt x="40978" y="53349"/>
                      <a:pt x="40978" y="68039"/>
                    </a:cubicBezTo>
                    <a:cubicBezTo>
                      <a:pt x="40978" y="83502"/>
                      <a:pt x="53348" y="95100"/>
                      <a:pt x="68039" y="95100"/>
                    </a:cubicBezTo>
                    <a:cubicBezTo>
                      <a:pt x="83502" y="95100"/>
                      <a:pt x="95100" y="82729"/>
                      <a:pt x="95100" y="68039"/>
                    </a:cubicBezTo>
                    <a:cubicBezTo>
                      <a:pt x="95100" y="53349"/>
                      <a:pt x="83502" y="40978"/>
                      <a:pt x="68039" y="40978"/>
                    </a:cubicBezTo>
                    <a:lnTo>
                      <a:pt x="68039" y="40978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32" name="Forma Livre: Forma 431">
                <a:extLst>
                  <a:ext uri="{FF2B5EF4-FFF2-40B4-BE49-F238E27FC236}">
                    <a16:creationId xmlns:a16="http://schemas.microsoft.com/office/drawing/2014/main" id="{5D434E03-2252-4ED3-AEDC-5965ADA79CA8}"/>
                  </a:ext>
                </a:extLst>
              </p:cNvPr>
              <p:cNvSpPr/>
              <p:nvPr/>
            </p:nvSpPr>
            <p:spPr>
              <a:xfrm>
                <a:off x="7882475" y="6505892"/>
                <a:ext cx="100370" cy="146444"/>
              </a:xfrm>
              <a:custGeom>
                <a:avLst/>
                <a:gdLst>
                  <a:gd name="connsiteX0" fmla="*/ 20418 w 100370"/>
                  <a:gd name="connsiteY0" fmla="*/ 146445 h 146444"/>
                  <a:gd name="connsiteX1" fmla="*/ 10367 w 100370"/>
                  <a:gd name="connsiteY1" fmla="*/ 144125 h 146444"/>
                  <a:gd name="connsiteX2" fmla="*/ 2635 w 100370"/>
                  <a:gd name="connsiteY2" fmla="*/ 116291 h 146444"/>
                  <a:gd name="connsiteX3" fmla="*/ 62169 w 100370"/>
                  <a:gd name="connsiteY3" fmla="*/ 10367 h 146444"/>
                  <a:gd name="connsiteX4" fmla="*/ 90003 w 100370"/>
                  <a:gd name="connsiteY4" fmla="*/ 2635 h 146444"/>
                  <a:gd name="connsiteX5" fmla="*/ 97735 w 100370"/>
                  <a:gd name="connsiteY5" fmla="*/ 30470 h 146444"/>
                  <a:gd name="connsiteX6" fmla="*/ 38201 w 100370"/>
                  <a:gd name="connsiteY6" fmla="*/ 136393 h 146444"/>
                  <a:gd name="connsiteX7" fmla="*/ 20418 w 100370"/>
                  <a:gd name="connsiteY7" fmla="*/ 146445 h 146444"/>
                  <a:gd name="connsiteX8" fmla="*/ 20418 w 100370"/>
                  <a:gd name="connsiteY8" fmla="*/ 146445 h 1464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0370" h="146444">
                    <a:moveTo>
                      <a:pt x="20418" y="146445"/>
                    </a:moveTo>
                    <a:cubicBezTo>
                      <a:pt x="17325" y="146445"/>
                      <a:pt x="13459" y="145671"/>
                      <a:pt x="10367" y="144125"/>
                    </a:cubicBezTo>
                    <a:cubicBezTo>
                      <a:pt x="315" y="138713"/>
                      <a:pt x="-2777" y="126342"/>
                      <a:pt x="2635" y="116291"/>
                    </a:cubicBezTo>
                    <a:lnTo>
                      <a:pt x="62169" y="10367"/>
                    </a:lnTo>
                    <a:cubicBezTo>
                      <a:pt x="67581" y="316"/>
                      <a:pt x="79952" y="-2777"/>
                      <a:pt x="90003" y="2635"/>
                    </a:cubicBezTo>
                    <a:cubicBezTo>
                      <a:pt x="100054" y="8047"/>
                      <a:pt x="103147" y="20418"/>
                      <a:pt x="97735" y="30470"/>
                    </a:cubicBezTo>
                    <a:lnTo>
                      <a:pt x="38201" y="136393"/>
                    </a:lnTo>
                    <a:cubicBezTo>
                      <a:pt x="34335" y="142579"/>
                      <a:pt x="27376" y="146445"/>
                      <a:pt x="20418" y="146445"/>
                    </a:cubicBezTo>
                    <a:lnTo>
                      <a:pt x="20418" y="146445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33" name="Forma Livre: Forma 432">
                <a:extLst>
                  <a:ext uri="{FF2B5EF4-FFF2-40B4-BE49-F238E27FC236}">
                    <a16:creationId xmlns:a16="http://schemas.microsoft.com/office/drawing/2014/main" id="{D9750501-27B1-4494-8372-D4BDEF59B2CB}"/>
                  </a:ext>
                </a:extLst>
              </p:cNvPr>
              <p:cNvSpPr/>
              <p:nvPr/>
            </p:nvSpPr>
            <p:spPr>
              <a:xfrm>
                <a:off x="8000018" y="6495864"/>
                <a:ext cx="129706" cy="122453"/>
              </a:xfrm>
              <a:custGeom>
                <a:avLst/>
                <a:gdLst>
                  <a:gd name="connsiteX0" fmla="*/ 109310 w 129706"/>
                  <a:gd name="connsiteY0" fmla="*/ 122454 h 122453"/>
                  <a:gd name="connsiteX1" fmla="*/ 95393 w 129706"/>
                  <a:gd name="connsiteY1" fmla="*/ 117041 h 122453"/>
                  <a:gd name="connsiteX2" fmla="*/ 6479 w 129706"/>
                  <a:gd name="connsiteY2" fmla="*/ 35086 h 122453"/>
                  <a:gd name="connsiteX3" fmla="*/ 5706 w 129706"/>
                  <a:gd name="connsiteY3" fmla="*/ 6479 h 122453"/>
                  <a:gd name="connsiteX4" fmla="*/ 34313 w 129706"/>
                  <a:gd name="connsiteY4" fmla="*/ 5706 h 122453"/>
                  <a:gd name="connsiteX5" fmla="*/ 123227 w 129706"/>
                  <a:gd name="connsiteY5" fmla="*/ 87661 h 122453"/>
                  <a:gd name="connsiteX6" fmla="*/ 124001 w 129706"/>
                  <a:gd name="connsiteY6" fmla="*/ 116269 h 122453"/>
                  <a:gd name="connsiteX7" fmla="*/ 109310 w 129706"/>
                  <a:gd name="connsiteY7" fmla="*/ 122454 h 122453"/>
                  <a:gd name="connsiteX8" fmla="*/ 109310 w 129706"/>
                  <a:gd name="connsiteY8" fmla="*/ 122454 h 1224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9706" h="122453">
                    <a:moveTo>
                      <a:pt x="109310" y="122454"/>
                    </a:moveTo>
                    <a:cubicBezTo>
                      <a:pt x="104671" y="122454"/>
                      <a:pt x="99259" y="120907"/>
                      <a:pt x="95393" y="117041"/>
                    </a:cubicBezTo>
                    <a:lnTo>
                      <a:pt x="6479" y="35086"/>
                    </a:lnTo>
                    <a:cubicBezTo>
                      <a:pt x="-2026" y="27354"/>
                      <a:pt x="-2026" y="14210"/>
                      <a:pt x="5706" y="6479"/>
                    </a:cubicBezTo>
                    <a:cubicBezTo>
                      <a:pt x="13437" y="-2026"/>
                      <a:pt x="26581" y="-2026"/>
                      <a:pt x="34313" y="5706"/>
                    </a:cubicBezTo>
                    <a:lnTo>
                      <a:pt x="123227" y="87661"/>
                    </a:lnTo>
                    <a:cubicBezTo>
                      <a:pt x="131732" y="95393"/>
                      <a:pt x="131732" y="108537"/>
                      <a:pt x="124001" y="116269"/>
                    </a:cubicBezTo>
                    <a:cubicBezTo>
                      <a:pt x="120908" y="120134"/>
                      <a:pt x="114722" y="122454"/>
                      <a:pt x="109310" y="122454"/>
                    </a:cubicBezTo>
                    <a:lnTo>
                      <a:pt x="109310" y="122454"/>
                    </a:lnTo>
                    <a:close/>
                  </a:path>
                </a:pathLst>
              </a:custGeom>
              <a:grpFill/>
              <a:ln w="77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55740538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6419160" y="1552471"/>
            <a:ext cx="384930" cy="394154"/>
            <a:chOff x="6492864" y="1278399"/>
            <a:chExt cx="473301" cy="484642"/>
          </a:xfrm>
          <a:solidFill>
            <a:srgbClr val="B1B1A1"/>
          </a:solidFill>
        </p:grpSpPr>
        <p:grpSp>
          <p:nvGrpSpPr>
            <p:cNvPr id="6" name="Gráfico 2">
              <a:extLst>
                <a:ext uri="{FF2B5EF4-FFF2-40B4-BE49-F238E27FC236}">
                  <a16:creationId xmlns:a16="http://schemas.microsoft.com/office/drawing/2014/main" id="{777488D5-C9B0-42ED-94FB-5C76F4BD1A17}"/>
                </a:ext>
              </a:extLst>
            </p:cNvPr>
            <p:cNvGrpSpPr/>
            <p:nvPr/>
          </p:nvGrpSpPr>
          <p:grpSpPr>
            <a:xfrm>
              <a:off x="6598661" y="1278399"/>
              <a:ext cx="262540" cy="261737"/>
              <a:chOff x="6598661" y="1278399"/>
              <a:chExt cx="262540" cy="261737"/>
            </a:xfrm>
            <a:grpFill/>
          </p:grpSpPr>
          <p:sp>
            <p:nvSpPr>
              <p:cNvPr id="7" name="Forma Livre: Forma 6">
                <a:extLst>
                  <a:ext uri="{FF2B5EF4-FFF2-40B4-BE49-F238E27FC236}">
                    <a16:creationId xmlns:a16="http://schemas.microsoft.com/office/drawing/2014/main" id="{C9DBD4BD-3700-43ED-9C92-80B8C3C0829C}"/>
                  </a:ext>
                </a:extLst>
              </p:cNvPr>
              <p:cNvSpPr/>
              <p:nvPr/>
            </p:nvSpPr>
            <p:spPr>
              <a:xfrm>
                <a:off x="6598661" y="1418795"/>
                <a:ext cx="262540" cy="121341"/>
              </a:xfrm>
              <a:custGeom>
                <a:avLst/>
                <a:gdLst>
                  <a:gd name="connsiteX0" fmla="*/ 131102 w 262540"/>
                  <a:gd name="connsiteY0" fmla="*/ 121342 h 121341"/>
                  <a:gd name="connsiteX1" fmla="*/ 118675 w 262540"/>
                  <a:gd name="connsiteY1" fmla="*/ 117458 h 121341"/>
                  <a:gd name="connsiteX2" fmla="*/ 8388 w 262540"/>
                  <a:gd name="connsiteY2" fmla="*/ 37461 h 121341"/>
                  <a:gd name="connsiteX3" fmla="*/ 3728 w 262540"/>
                  <a:gd name="connsiteY3" fmla="*/ 8724 h 121341"/>
                  <a:gd name="connsiteX4" fmla="*/ 32465 w 262540"/>
                  <a:gd name="connsiteY4" fmla="*/ 4064 h 121341"/>
                  <a:gd name="connsiteX5" fmla="*/ 131102 w 262540"/>
                  <a:gd name="connsiteY5" fmla="*/ 75518 h 121341"/>
                  <a:gd name="connsiteX6" fmla="*/ 229739 w 262540"/>
                  <a:gd name="connsiteY6" fmla="*/ 4064 h 121341"/>
                  <a:gd name="connsiteX7" fmla="*/ 258476 w 262540"/>
                  <a:gd name="connsiteY7" fmla="*/ 8724 h 121341"/>
                  <a:gd name="connsiteX8" fmla="*/ 253816 w 262540"/>
                  <a:gd name="connsiteY8" fmla="*/ 37461 h 121341"/>
                  <a:gd name="connsiteX9" fmla="*/ 143529 w 262540"/>
                  <a:gd name="connsiteY9" fmla="*/ 117458 h 121341"/>
                  <a:gd name="connsiteX10" fmla="*/ 131102 w 262540"/>
                  <a:gd name="connsiteY10" fmla="*/ 121342 h 121341"/>
                  <a:gd name="connsiteX11" fmla="*/ 131102 w 262540"/>
                  <a:gd name="connsiteY11" fmla="*/ 121342 h 1213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62540" h="121341">
                    <a:moveTo>
                      <a:pt x="131102" y="121342"/>
                    </a:moveTo>
                    <a:cubicBezTo>
                      <a:pt x="127218" y="121342"/>
                      <a:pt x="122559" y="119788"/>
                      <a:pt x="118675" y="117458"/>
                    </a:cubicBezTo>
                    <a:lnTo>
                      <a:pt x="8388" y="37461"/>
                    </a:lnTo>
                    <a:cubicBezTo>
                      <a:pt x="-932" y="30471"/>
                      <a:pt x="-2485" y="18044"/>
                      <a:pt x="3728" y="8724"/>
                    </a:cubicBezTo>
                    <a:cubicBezTo>
                      <a:pt x="10718" y="-596"/>
                      <a:pt x="23145" y="-2149"/>
                      <a:pt x="32465" y="4064"/>
                    </a:cubicBezTo>
                    <a:lnTo>
                      <a:pt x="131102" y="75518"/>
                    </a:lnTo>
                    <a:lnTo>
                      <a:pt x="229739" y="4064"/>
                    </a:lnTo>
                    <a:cubicBezTo>
                      <a:pt x="239059" y="-2926"/>
                      <a:pt x="251486" y="-596"/>
                      <a:pt x="258476" y="8724"/>
                    </a:cubicBezTo>
                    <a:cubicBezTo>
                      <a:pt x="265466" y="18044"/>
                      <a:pt x="263136" y="30471"/>
                      <a:pt x="253816" y="37461"/>
                    </a:cubicBezTo>
                    <a:lnTo>
                      <a:pt x="143529" y="117458"/>
                    </a:lnTo>
                    <a:cubicBezTo>
                      <a:pt x="139645" y="119788"/>
                      <a:pt x="134985" y="121342"/>
                      <a:pt x="131102" y="121342"/>
                    </a:cubicBezTo>
                    <a:lnTo>
                      <a:pt x="131102" y="121342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8" name="Forma Livre: Forma 7">
                <a:extLst>
                  <a:ext uri="{FF2B5EF4-FFF2-40B4-BE49-F238E27FC236}">
                    <a16:creationId xmlns:a16="http://schemas.microsoft.com/office/drawing/2014/main" id="{475639D3-8F00-451B-B90C-1B99FF28B199}"/>
                  </a:ext>
                </a:extLst>
              </p:cNvPr>
              <p:cNvSpPr/>
              <p:nvPr/>
            </p:nvSpPr>
            <p:spPr>
              <a:xfrm>
                <a:off x="6709569" y="1278399"/>
                <a:ext cx="40386" cy="261737"/>
              </a:xfrm>
              <a:custGeom>
                <a:avLst/>
                <a:gdLst>
                  <a:gd name="connsiteX0" fmla="*/ 20193 w 40386"/>
                  <a:gd name="connsiteY0" fmla="*/ 261738 h 261737"/>
                  <a:gd name="connsiteX1" fmla="*/ 0 w 40386"/>
                  <a:gd name="connsiteY1" fmla="*/ 241544 h 261737"/>
                  <a:gd name="connsiteX2" fmla="*/ 0 w 40386"/>
                  <a:gd name="connsiteY2" fmla="*/ 20193 h 261737"/>
                  <a:gd name="connsiteX3" fmla="*/ 20193 w 40386"/>
                  <a:gd name="connsiteY3" fmla="*/ 0 h 261737"/>
                  <a:gd name="connsiteX4" fmla="*/ 40387 w 40386"/>
                  <a:gd name="connsiteY4" fmla="*/ 20193 h 261737"/>
                  <a:gd name="connsiteX5" fmla="*/ 40387 w 40386"/>
                  <a:gd name="connsiteY5" fmla="*/ 241544 h 261737"/>
                  <a:gd name="connsiteX6" fmla="*/ 20193 w 40386"/>
                  <a:gd name="connsiteY6" fmla="*/ 261738 h 261737"/>
                  <a:gd name="connsiteX7" fmla="*/ 20193 w 40386"/>
                  <a:gd name="connsiteY7" fmla="*/ 261738 h 261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386" h="261737">
                    <a:moveTo>
                      <a:pt x="20193" y="261738"/>
                    </a:moveTo>
                    <a:cubicBezTo>
                      <a:pt x="8543" y="261738"/>
                      <a:pt x="0" y="252418"/>
                      <a:pt x="0" y="241544"/>
                    </a:cubicBezTo>
                    <a:lnTo>
                      <a:pt x="0" y="20193"/>
                    </a:lnTo>
                    <a:cubicBezTo>
                      <a:pt x="0" y="8543"/>
                      <a:pt x="9320" y="0"/>
                      <a:pt x="20193" y="0"/>
                    </a:cubicBezTo>
                    <a:cubicBezTo>
                      <a:pt x="31843" y="0"/>
                      <a:pt x="40387" y="9320"/>
                      <a:pt x="40387" y="20193"/>
                    </a:cubicBezTo>
                    <a:lnTo>
                      <a:pt x="40387" y="241544"/>
                    </a:lnTo>
                    <a:cubicBezTo>
                      <a:pt x="40387" y="252418"/>
                      <a:pt x="31067" y="261738"/>
                      <a:pt x="20193" y="261738"/>
                    </a:cubicBezTo>
                    <a:lnTo>
                      <a:pt x="20193" y="261738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9" name="Forma Livre: Forma 8">
              <a:extLst>
                <a:ext uri="{FF2B5EF4-FFF2-40B4-BE49-F238E27FC236}">
                  <a16:creationId xmlns:a16="http://schemas.microsoft.com/office/drawing/2014/main" id="{E467F307-4100-4440-8650-0A34E3EF8C42}"/>
                </a:ext>
              </a:extLst>
            </p:cNvPr>
            <p:cNvSpPr/>
            <p:nvPr/>
          </p:nvSpPr>
          <p:spPr>
            <a:xfrm>
              <a:off x="6493655" y="1576640"/>
              <a:ext cx="471484" cy="186400"/>
            </a:xfrm>
            <a:custGeom>
              <a:avLst/>
              <a:gdLst>
                <a:gd name="connsiteX0" fmla="*/ 452022 w 471484"/>
                <a:gd name="connsiteY0" fmla="*/ 186401 h 186400"/>
                <a:gd name="connsiteX1" fmla="*/ 20193 w 471484"/>
                <a:gd name="connsiteY1" fmla="*/ 186401 h 186400"/>
                <a:gd name="connsiteX2" fmla="*/ 0 w 471484"/>
                <a:gd name="connsiteY2" fmla="*/ 166207 h 186400"/>
                <a:gd name="connsiteX3" fmla="*/ 0 w 471484"/>
                <a:gd name="connsiteY3" fmla="*/ 20193 h 186400"/>
                <a:gd name="connsiteX4" fmla="*/ 20193 w 471484"/>
                <a:gd name="connsiteY4" fmla="*/ 0 h 186400"/>
                <a:gd name="connsiteX5" fmla="*/ 153781 w 471484"/>
                <a:gd name="connsiteY5" fmla="*/ 0 h 186400"/>
                <a:gd name="connsiteX6" fmla="*/ 173974 w 471484"/>
                <a:gd name="connsiteY6" fmla="*/ 20193 h 186400"/>
                <a:gd name="connsiteX7" fmla="*/ 173974 w 471484"/>
                <a:gd name="connsiteY7" fmla="*/ 48930 h 186400"/>
                <a:gd name="connsiteX8" fmla="*/ 297465 w 471484"/>
                <a:gd name="connsiteY8" fmla="*/ 48930 h 186400"/>
                <a:gd name="connsiteX9" fmla="*/ 297465 w 471484"/>
                <a:gd name="connsiteY9" fmla="*/ 20193 h 186400"/>
                <a:gd name="connsiteX10" fmla="*/ 317658 w 471484"/>
                <a:gd name="connsiteY10" fmla="*/ 0 h 186400"/>
                <a:gd name="connsiteX11" fmla="*/ 451245 w 471484"/>
                <a:gd name="connsiteY11" fmla="*/ 0 h 186400"/>
                <a:gd name="connsiteX12" fmla="*/ 471439 w 471484"/>
                <a:gd name="connsiteY12" fmla="*/ 20193 h 186400"/>
                <a:gd name="connsiteX13" fmla="*/ 471439 w 471484"/>
                <a:gd name="connsiteY13" fmla="*/ 166207 h 186400"/>
                <a:gd name="connsiteX14" fmla="*/ 452022 w 471484"/>
                <a:gd name="connsiteY14" fmla="*/ 186401 h 186400"/>
                <a:gd name="connsiteX15" fmla="*/ 452022 w 471484"/>
                <a:gd name="connsiteY15" fmla="*/ 186401 h 186400"/>
                <a:gd name="connsiteX16" fmla="*/ 40387 w 471484"/>
                <a:gd name="connsiteY16" fmla="*/ 145237 h 186400"/>
                <a:gd name="connsiteX17" fmla="*/ 431052 w 471484"/>
                <a:gd name="connsiteY17" fmla="*/ 145237 h 186400"/>
                <a:gd name="connsiteX18" fmla="*/ 431052 w 471484"/>
                <a:gd name="connsiteY18" fmla="*/ 40387 h 186400"/>
                <a:gd name="connsiteX19" fmla="*/ 338628 w 471484"/>
                <a:gd name="connsiteY19" fmla="*/ 40387 h 186400"/>
                <a:gd name="connsiteX20" fmla="*/ 338628 w 471484"/>
                <a:gd name="connsiteY20" fmla="*/ 48930 h 186400"/>
                <a:gd name="connsiteX21" fmla="*/ 297465 w 471484"/>
                <a:gd name="connsiteY21" fmla="*/ 90094 h 186400"/>
                <a:gd name="connsiteX22" fmla="*/ 173974 w 471484"/>
                <a:gd name="connsiteY22" fmla="*/ 90094 h 186400"/>
                <a:gd name="connsiteX23" fmla="*/ 132810 w 471484"/>
                <a:gd name="connsiteY23" fmla="*/ 48930 h 186400"/>
                <a:gd name="connsiteX24" fmla="*/ 132810 w 471484"/>
                <a:gd name="connsiteY24" fmla="*/ 40387 h 186400"/>
                <a:gd name="connsiteX25" fmla="*/ 40387 w 471484"/>
                <a:gd name="connsiteY25" fmla="*/ 40387 h 186400"/>
                <a:gd name="connsiteX26" fmla="*/ 40387 w 471484"/>
                <a:gd name="connsiteY26" fmla="*/ 145237 h 186400"/>
                <a:gd name="connsiteX27" fmla="*/ 40387 w 471484"/>
                <a:gd name="connsiteY27" fmla="*/ 145237 h 186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71484" h="186400">
                  <a:moveTo>
                    <a:pt x="452022" y="186401"/>
                  </a:moveTo>
                  <a:lnTo>
                    <a:pt x="20193" y="186401"/>
                  </a:lnTo>
                  <a:cubicBezTo>
                    <a:pt x="8543" y="186401"/>
                    <a:pt x="0" y="177081"/>
                    <a:pt x="0" y="166207"/>
                  </a:cubicBezTo>
                  <a:lnTo>
                    <a:pt x="0" y="20193"/>
                  </a:lnTo>
                  <a:cubicBezTo>
                    <a:pt x="0" y="8543"/>
                    <a:pt x="9320" y="0"/>
                    <a:pt x="20193" y="0"/>
                  </a:cubicBezTo>
                  <a:lnTo>
                    <a:pt x="153781" y="0"/>
                  </a:lnTo>
                  <a:cubicBezTo>
                    <a:pt x="165431" y="0"/>
                    <a:pt x="173974" y="9320"/>
                    <a:pt x="173974" y="20193"/>
                  </a:cubicBezTo>
                  <a:lnTo>
                    <a:pt x="173974" y="48930"/>
                  </a:lnTo>
                  <a:lnTo>
                    <a:pt x="297465" y="48930"/>
                  </a:lnTo>
                  <a:lnTo>
                    <a:pt x="297465" y="20193"/>
                  </a:lnTo>
                  <a:cubicBezTo>
                    <a:pt x="297465" y="8543"/>
                    <a:pt x="306785" y="0"/>
                    <a:pt x="317658" y="0"/>
                  </a:cubicBezTo>
                  <a:lnTo>
                    <a:pt x="451245" y="0"/>
                  </a:lnTo>
                  <a:cubicBezTo>
                    <a:pt x="462895" y="0"/>
                    <a:pt x="471439" y="9320"/>
                    <a:pt x="471439" y="20193"/>
                  </a:cubicBezTo>
                  <a:lnTo>
                    <a:pt x="471439" y="166207"/>
                  </a:lnTo>
                  <a:cubicBezTo>
                    <a:pt x="472216" y="177081"/>
                    <a:pt x="462895" y="186401"/>
                    <a:pt x="452022" y="186401"/>
                  </a:cubicBezTo>
                  <a:lnTo>
                    <a:pt x="452022" y="186401"/>
                  </a:lnTo>
                  <a:close/>
                  <a:moveTo>
                    <a:pt x="40387" y="145237"/>
                  </a:moveTo>
                  <a:lnTo>
                    <a:pt x="431052" y="145237"/>
                  </a:lnTo>
                  <a:lnTo>
                    <a:pt x="431052" y="40387"/>
                  </a:lnTo>
                  <a:lnTo>
                    <a:pt x="338628" y="40387"/>
                  </a:lnTo>
                  <a:lnTo>
                    <a:pt x="338628" y="48930"/>
                  </a:lnTo>
                  <a:cubicBezTo>
                    <a:pt x="338628" y="71454"/>
                    <a:pt x="319988" y="90094"/>
                    <a:pt x="297465" y="90094"/>
                  </a:cubicBezTo>
                  <a:lnTo>
                    <a:pt x="173974" y="90094"/>
                  </a:lnTo>
                  <a:cubicBezTo>
                    <a:pt x="151451" y="90094"/>
                    <a:pt x="132810" y="71454"/>
                    <a:pt x="132810" y="48930"/>
                  </a:cubicBezTo>
                  <a:lnTo>
                    <a:pt x="132810" y="40387"/>
                  </a:lnTo>
                  <a:lnTo>
                    <a:pt x="40387" y="40387"/>
                  </a:lnTo>
                  <a:lnTo>
                    <a:pt x="40387" y="145237"/>
                  </a:lnTo>
                  <a:lnTo>
                    <a:pt x="40387" y="145237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10" name="Gráfico 2">
              <a:extLst>
                <a:ext uri="{FF2B5EF4-FFF2-40B4-BE49-F238E27FC236}">
                  <a16:creationId xmlns:a16="http://schemas.microsoft.com/office/drawing/2014/main" id="{777488D5-C9B0-42ED-94FB-5C76F4BD1A17}"/>
                </a:ext>
              </a:extLst>
            </p:cNvPr>
            <p:cNvGrpSpPr/>
            <p:nvPr/>
          </p:nvGrpSpPr>
          <p:grpSpPr>
            <a:xfrm>
              <a:off x="6492864" y="1490912"/>
              <a:ext cx="473301" cy="126115"/>
              <a:chOff x="6492864" y="1490912"/>
              <a:chExt cx="473301" cy="126115"/>
            </a:xfrm>
            <a:grpFill/>
          </p:grpSpPr>
          <p:sp>
            <p:nvSpPr>
              <p:cNvPr id="11" name="Forma Livre: Forma 10">
                <a:extLst>
                  <a:ext uri="{FF2B5EF4-FFF2-40B4-BE49-F238E27FC236}">
                    <a16:creationId xmlns:a16="http://schemas.microsoft.com/office/drawing/2014/main" id="{3BCC5A50-73A3-4495-9419-5AC910DD3E71}"/>
                  </a:ext>
                </a:extLst>
              </p:cNvPr>
              <p:cNvSpPr/>
              <p:nvPr/>
            </p:nvSpPr>
            <p:spPr>
              <a:xfrm>
                <a:off x="6492864" y="1490912"/>
                <a:ext cx="123799" cy="126115"/>
              </a:xfrm>
              <a:custGeom>
                <a:avLst/>
                <a:gdLst>
                  <a:gd name="connsiteX0" fmla="*/ 20208 w 123799"/>
                  <a:gd name="connsiteY0" fmla="*/ 126115 h 126115"/>
                  <a:gd name="connsiteX1" fmla="*/ 6228 w 123799"/>
                  <a:gd name="connsiteY1" fmla="*/ 120679 h 126115"/>
                  <a:gd name="connsiteX2" fmla="*/ 5451 w 123799"/>
                  <a:gd name="connsiteY2" fmla="*/ 91942 h 126115"/>
                  <a:gd name="connsiteX3" fmla="*/ 88555 w 123799"/>
                  <a:gd name="connsiteY3" fmla="*/ 6508 h 126115"/>
                  <a:gd name="connsiteX4" fmla="*/ 117292 w 123799"/>
                  <a:gd name="connsiteY4" fmla="*/ 5731 h 126115"/>
                  <a:gd name="connsiteX5" fmla="*/ 118068 w 123799"/>
                  <a:gd name="connsiteY5" fmla="*/ 34468 h 126115"/>
                  <a:gd name="connsiteX6" fmla="*/ 34964 w 123799"/>
                  <a:gd name="connsiteY6" fmla="*/ 119902 h 126115"/>
                  <a:gd name="connsiteX7" fmla="*/ 20208 w 123799"/>
                  <a:gd name="connsiteY7" fmla="*/ 126115 h 126115"/>
                  <a:gd name="connsiteX8" fmla="*/ 20208 w 123799"/>
                  <a:gd name="connsiteY8" fmla="*/ 126115 h 126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3799" h="126115">
                    <a:moveTo>
                      <a:pt x="20208" y="126115"/>
                    </a:moveTo>
                    <a:cubicBezTo>
                      <a:pt x="14771" y="126115"/>
                      <a:pt x="10111" y="124562"/>
                      <a:pt x="6228" y="120679"/>
                    </a:cubicBezTo>
                    <a:cubicBezTo>
                      <a:pt x="-1539" y="112912"/>
                      <a:pt x="-2316" y="99709"/>
                      <a:pt x="5451" y="91942"/>
                    </a:cubicBezTo>
                    <a:lnTo>
                      <a:pt x="88555" y="6508"/>
                    </a:lnTo>
                    <a:cubicBezTo>
                      <a:pt x="96322" y="-2035"/>
                      <a:pt x="109525" y="-2035"/>
                      <a:pt x="117292" y="5731"/>
                    </a:cubicBezTo>
                    <a:cubicBezTo>
                      <a:pt x="125835" y="13498"/>
                      <a:pt x="125835" y="26701"/>
                      <a:pt x="118068" y="34468"/>
                    </a:cubicBezTo>
                    <a:lnTo>
                      <a:pt x="34964" y="119902"/>
                    </a:lnTo>
                    <a:cubicBezTo>
                      <a:pt x="31081" y="124562"/>
                      <a:pt x="25645" y="126115"/>
                      <a:pt x="20208" y="126115"/>
                    </a:cubicBezTo>
                    <a:lnTo>
                      <a:pt x="20208" y="126115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2" name="Forma Livre: Forma 11">
                <a:extLst>
                  <a:ext uri="{FF2B5EF4-FFF2-40B4-BE49-F238E27FC236}">
                    <a16:creationId xmlns:a16="http://schemas.microsoft.com/office/drawing/2014/main" id="{4DBDE792-AE3E-4B0E-86E0-10FF25E62AB7}"/>
                  </a:ext>
                </a:extLst>
              </p:cNvPr>
              <p:cNvSpPr/>
              <p:nvPr/>
            </p:nvSpPr>
            <p:spPr>
              <a:xfrm>
                <a:off x="6842085" y="1490912"/>
                <a:ext cx="124080" cy="126115"/>
              </a:xfrm>
              <a:custGeom>
                <a:avLst/>
                <a:gdLst>
                  <a:gd name="connsiteX0" fmla="*/ 103592 w 124080"/>
                  <a:gd name="connsiteY0" fmla="*/ 126115 h 126115"/>
                  <a:gd name="connsiteX1" fmla="*/ 88835 w 124080"/>
                  <a:gd name="connsiteY1" fmla="*/ 119902 h 126115"/>
                  <a:gd name="connsiteX2" fmla="*/ 5731 w 124080"/>
                  <a:gd name="connsiteY2" fmla="*/ 34468 h 126115"/>
                  <a:gd name="connsiteX3" fmla="*/ 6508 w 124080"/>
                  <a:gd name="connsiteY3" fmla="*/ 5731 h 126115"/>
                  <a:gd name="connsiteX4" fmla="*/ 35245 w 124080"/>
                  <a:gd name="connsiteY4" fmla="*/ 6508 h 126115"/>
                  <a:gd name="connsiteX5" fmla="*/ 118349 w 124080"/>
                  <a:gd name="connsiteY5" fmla="*/ 91942 h 126115"/>
                  <a:gd name="connsiteX6" fmla="*/ 117572 w 124080"/>
                  <a:gd name="connsiteY6" fmla="*/ 120679 h 126115"/>
                  <a:gd name="connsiteX7" fmla="*/ 103592 w 124080"/>
                  <a:gd name="connsiteY7" fmla="*/ 126115 h 126115"/>
                  <a:gd name="connsiteX8" fmla="*/ 103592 w 124080"/>
                  <a:gd name="connsiteY8" fmla="*/ 126115 h 126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4080" h="126115">
                    <a:moveTo>
                      <a:pt x="103592" y="126115"/>
                    </a:moveTo>
                    <a:cubicBezTo>
                      <a:pt x="98155" y="126115"/>
                      <a:pt x="92719" y="123785"/>
                      <a:pt x="88835" y="119902"/>
                    </a:cubicBezTo>
                    <a:lnTo>
                      <a:pt x="5731" y="34468"/>
                    </a:lnTo>
                    <a:cubicBezTo>
                      <a:pt x="-2035" y="25925"/>
                      <a:pt x="-2035" y="13498"/>
                      <a:pt x="6508" y="5731"/>
                    </a:cubicBezTo>
                    <a:cubicBezTo>
                      <a:pt x="15052" y="-2035"/>
                      <a:pt x="27478" y="-2035"/>
                      <a:pt x="35245" y="6508"/>
                    </a:cubicBezTo>
                    <a:lnTo>
                      <a:pt x="118349" y="91942"/>
                    </a:lnTo>
                    <a:cubicBezTo>
                      <a:pt x="126115" y="100485"/>
                      <a:pt x="126115" y="112912"/>
                      <a:pt x="117572" y="120679"/>
                    </a:cubicBezTo>
                    <a:cubicBezTo>
                      <a:pt x="113689" y="124562"/>
                      <a:pt x="108252" y="126115"/>
                      <a:pt x="103592" y="126115"/>
                    </a:cubicBezTo>
                    <a:lnTo>
                      <a:pt x="103592" y="126115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13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3345286" y="1638768"/>
            <a:ext cx="385158" cy="221320"/>
            <a:chOff x="2713305" y="1384508"/>
            <a:chExt cx="473581" cy="272129"/>
          </a:xfrm>
          <a:solidFill>
            <a:srgbClr val="B1B1A1"/>
          </a:solidFill>
        </p:grpSpPr>
        <p:sp>
          <p:nvSpPr>
            <p:cNvPr id="14" name="Forma Livre: Forma 13">
              <a:extLst>
                <a:ext uri="{FF2B5EF4-FFF2-40B4-BE49-F238E27FC236}">
                  <a16:creationId xmlns:a16="http://schemas.microsoft.com/office/drawing/2014/main" id="{0A85C232-9D5E-4996-A64F-374977582D7F}"/>
                </a:ext>
              </a:extLst>
            </p:cNvPr>
            <p:cNvSpPr/>
            <p:nvPr/>
          </p:nvSpPr>
          <p:spPr>
            <a:xfrm>
              <a:off x="2714376" y="1470237"/>
              <a:ext cx="471484" cy="186400"/>
            </a:xfrm>
            <a:custGeom>
              <a:avLst/>
              <a:gdLst>
                <a:gd name="connsiteX0" fmla="*/ 452022 w 471484"/>
                <a:gd name="connsiteY0" fmla="*/ 186401 h 186400"/>
                <a:gd name="connsiteX1" fmla="*/ 20193 w 471484"/>
                <a:gd name="connsiteY1" fmla="*/ 186401 h 186400"/>
                <a:gd name="connsiteX2" fmla="*/ 0 w 471484"/>
                <a:gd name="connsiteY2" fmla="*/ 166207 h 186400"/>
                <a:gd name="connsiteX3" fmla="*/ 0 w 471484"/>
                <a:gd name="connsiteY3" fmla="*/ 20193 h 186400"/>
                <a:gd name="connsiteX4" fmla="*/ 20193 w 471484"/>
                <a:gd name="connsiteY4" fmla="*/ 0 h 186400"/>
                <a:gd name="connsiteX5" fmla="*/ 153781 w 471484"/>
                <a:gd name="connsiteY5" fmla="*/ 0 h 186400"/>
                <a:gd name="connsiteX6" fmla="*/ 173974 w 471484"/>
                <a:gd name="connsiteY6" fmla="*/ 20193 h 186400"/>
                <a:gd name="connsiteX7" fmla="*/ 173974 w 471484"/>
                <a:gd name="connsiteY7" fmla="*/ 48930 h 186400"/>
                <a:gd name="connsiteX8" fmla="*/ 297465 w 471484"/>
                <a:gd name="connsiteY8" fmla="*/ 48930 h 186400"/>
                <a:gd name="connsiteX9" fmla="*/ 297465 w 471484"/>
                <a:gd name="connsiteY9" fmla="*/ 20193 h 186400"/>
                <a:gd name="connsiteX10" fmla="*/ 317658 w 471484"/>
                <a:gd name="connsiteY10" fmla="*/ 0 h 186400"/>
                <a:gd name="connsiteX11" fmla="*/ 451246 w 471484"/>
                <a:gd name="connsiteY11" fmla="*/ 0 h 186400"/>
                <a:gd name="connsiteX12" fmla="*/ 471439 w 471484"/>
                <a:gd name="connsiteY12" fmla="*/ 20193 h 186400"/>
                <a:gd name="connsiteX13" fmla="*/ 471439 w 471484"/>
                <a:gd name="connsiteY13" fmla="*/ 166207 h 186400"/>
                <a:gd name="connsiteX14" fmla="*/ 452022 w 471484"/>
                <a:gd name="connsiteY14" fmla="*/ 186401 h 186400"/>
                <a:gd name="connsiteX15" fmla="*/ 452022 w 471484"/>
                <a:gd name="connsiteY15" fmla="*/ 186401 h 186400"/>
                <a:gd name="connsiteX16" fmla="*/ 40387 w 471484"/>
                <a:gd name="connsiteY16" fmla="*/ 145237 h 186400"/>
                <a:gd name="connsiteX17" fmla="*/ 431052 w 471484"/>
                <a:gd name="connsiteY17" fmla="*/ 145237 h 186400"/>
                <a:gd name="connsiteX18" fmla="*/ 431052 w 471484"/>
                <a:gd name="connsiteY18" fmla="*/ 40387 h 186400"/>
                <a:gd name="connsiteX19" fmla="*/ 338628 w 471484"/>
                <a:gd name="connsiteY19" fmla="*/ 40387 h 186400"/>
                <a:gd name="connsiteX20" fmla="*/ 338628 w 471484"/>
                <a:gd name="connsiteY20" fmla="*/ 48930 h 186400"/>
                <a:gd name="connsiteX21" fmla="*/ 297465 w 471484"/>
                <a:gd name="connsiteY21" fmla="*/ 90094 h 186400"/>
                <a:gd name="connsiteX22" fmla="*/ 173974 w 471484"/>
                <a:gd name="connsiteY22" fmla="*/ 90094 h 186400"/>
                <a:gd name="connsiteX23" fmla="*/ 132811 w 471484"/>
                <a:gd name="connsiteY23" fmla="*/ 48930 h 186400"/>
                <a:gd name="connsiteX24" fmla="*/ 132811 w 471484"/>
                <a:gd name="connsiteY24" fmla="*/ 40387 h 186400"/>
                <a:gd name="connsiteX25" fmla="*/ 40387 w 471484"/>
                <a:gd name="connsiteY25" fmla="*/ 40387 h 186400"/>
                <a:gd name="connsiteX26" fmla="*/ 40387 w 471484"/>
                <a:gd name="connsiteY26" fmla="*/ 145237 h 186400"/>
                <a:gd name="connsiteX27" fmla="*/ 40387 w 471484"/>
                <a:gd name="connsiteY27" fmla="*/ 145237 h 186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71484" h="186400">
                  <a:moveTo>
                    <a:pt x="452022" y="186401"/>
                  </a:moveTo>
                  <a:lnTo>
                    <a:pt x="20193" y="186401"/>
                  </a:lnTo>
                  <a:cubicBezTo>
                    <a:pt x="8543" y="186401"/>
                    <a:pt x="0" y="177081"/>
                    <a:pt x="0" y="166207"/>
                  </a:cubicBezTo>
                  <a:lnTo>
                    <a:pt x="0" y="20193"/>
                  </a:lnTo>
                  <a:cubicBezTo>
                    <a:pt x="0" y="8543"/>
                    <a:pt x="9320" y="0"/>
                    <a:pt x="20193" y="0"/>
                  </a:cubicBezTo>
                  <a:lnTo>
                    <a:pt x="153781" y="0"/>
                  </a:lnTo>
                  <a:cubicBezTo>
                    <a:pt x="165431" y="0"/>
                    <a:pt x="173974" y="9320"/>
                    <a:pt x="173974" y="20193"/>
                  </a:cubicBezTo>
                  <a:lnTo>
                    <a:pt x="173974" y="48930"/>
                  </a:lnTo>
                  <a:lnTo>
                    <a:pt x="297465" y="48930"/>
                  </a:lnTo>
                  <a:lnTo>
                    <a:pt x="297465" y="20193"/>
                  </a:lnTo>
                  <a:cubicBezTo>
                    <a:pt x="297465" y="8543"/>
                    <a:pt x="306785" y="0"/>
                    <a:pt x="317658" y="0"/>
                  </a:cubicBezTo>
                  <a:lnTo>
                    <a:pt x="451246" y="0"/>
                  </a:lnTo>
                  <a:cubicBezTo>
                    <a:pt x="462896" y="0"/>
                    <a:pt x="471439" y="9320"/>
                    <a:pt x="471439" y="20193"/>
                  </a:cubicBezTo>
                  <a:lnTo>
                    <a:pt x="471439" y="166207"/>
                  </a:lnTo>
                  <a:cubicBezTo>
                    <a:pt x="472216" y="177081"/>
                    <a:pt x="462896" y="186401"/>
                    <a:pt x="452022" y="186401"/>
                  </a:cubicBezTo>
                  <a:lnTo>
                    <a:pt x="452022" y="186401"/>
                  </a:lnTo>
                  <a:close/>
                  <a:moveTo>
                    <a:pt x="40387" y="145237"/>
                  </a:moveTo>
                  <a:lnTo>
                    <a:pt x="431052" y="145237"/>
                  </a:lnTo>
                  <a:lnTo>
                    <a:pt x="431052" y="40387"/>
                  </a:lnTo>
                  <a:lnTo>
                    <a:pt x="338628" y="40387"/>
                  </a:lnTo>
                  <a:lnTo>
                    <a:pt x="338628" y="48930"/>
                  </a:lnTo>
                  <a:cubicBezTo>
                    <a:pt x="338628" y="71454"/>
                    <a:pt x="319988" y="90094"/>
                    <a:pt x="297465" y="90094"/>
                  </a:cubicBezTo>
                  <a:lnTo>
                    <a:pt x="173974" y="90094"/>
                  </a:lnTo>
                  <a:cubicBezTo>
                    <a:pt x="151451" y="90094"/>
                    <a:pt x="132811" y="71454"/>
                    <a:pt x="132811" y="48930"/>
                  </a:cubicBezTo>
                  <a:lnTo>
                    <a:pt x="132811" y="40387"/>
                  </a:lnTo>
                  <a:lnTo>
                    <a:pt x="40387" y="40387"/>
                  </a:lnTo>
                  <a:lnTo>
                    <a:pt x="40387" y="145237"/>
                  </a:lnTo>
                  <a:lnTo>
                    <a:pt x="40387" y="145237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15" name="Gráfico 2">
              <a:extLst>
                <a:ext uri="{FF2B5EF4-FFF2-40B4-BE49-F238E27FC236}">
                  <a16:creationId xmlns:a16="http://schemas.microsoft.com/office/drawing/2014/main" id="{777488D5-C9B0-42ED-94FB-5C76F4BD1A17}"/>
                </a:ext>
              </a:extLst>
            </p:cNvPr>
            <p:cNvGrpSpPr/>
            <p:nvPr/>
          </p:nvGrpSpPr>
          <p:grpSpPr>
            <a:xfrm>
              <a:off x="2713305" y="1384508"/>
              <a:ext cx="473581" cy="126115"/>
              <a:chOff x="2713305" y="1384508"/>
              <a:chExt cx="473581" cy="126115"/>
            </a:xfrm>
            <a:grpFill/>
          </p:grpSpPr>
          <p:sp>
            <p:nvSpPr>
              <p:cNvPr id="16" name="Forma Livre: Forma 15">
                <a:extLst>
                  <a:ext uri="{FF2B5EF4-FFF2-40B4-BE49-F238E27FC236}">
                    <a16:creationId xmlns:a16="http://schemas.microsoft.com/office/drawing/2014/main" id="{21A66BAB-3B50-4CB0-AC63-8EC5B1CEBCED}"/>
                  </a:ext>
                </a:extLst>
              </p:cNvPr>
              <p:cNvSpPr/>
              <p:nvPr/>
            </p:nvSpPr>
            <p:spPr>
              <a:xfrm>
                <a:off x="2713305" y="1384803"/>
                <a:ext cx="389406" cy="125820"/>
              </a:xfrm>
              <a:custGeom>
                <a:avLst/>
                <a:gdLst>
                  <a:gd name="connsiteX0" fmla="*/ 20488 w 389406"/>
                  <a:gd name="connsiteY0" fmla="*/ 125821 h 125820"/>
                  <a:gd name="connsiteX1" fmla="*/ 6508 w 389406"/>
                  <a:gd name="connsiteY1" fmla="*/ 120384 h 125820"/>
                  <a:gd name="connsiteX2" fmla="*/ 5731 w 389406"/>
                  <a:gd name="connsiteY2" fmla="*/ 91647 h 125820"/>
                  <a:gd name="connsiteX3" fmla="*/ 88835 w 389406"/>
                  <a:gd name="connsiteY3" fmla="*/ 6213 h 125820"/>
                  <a:gd name="connsiteX4" fmla="*/ 103592 w 389406"/>
                  <a:gd name="connsiteY4" fmla="*/ 0 h 125820"/>
                  <a:gd name="connsiteX5" fmla="*/ 369213 w 389406"/>
                  <a:gd name="connsiteY5" fmla="*/ 0 h 125820"/>
                  <a:gd name="connsiteX6" fmla="*/ 389407 w 389406"/>
                  <a:gd name="connsiteY6" fmla="*/ 20193 h 125820"/>
                  <a:gd name="connsiteX7" fmla="*/ 369213 w 389406"/>
                  <a:gd name="connsiteY7" fmla="*/ 40387 h 125820"/>
                  <a:gd name="connsiteX8" fmla="*/ 112135 w 389406"/>
                  <a:gd name="connsiteY8" fmla="*/ 40387 h 125820"/>
                  <a:gd name="connsiteX9" fmla="*/ 35245 w 389406"/>
                  <a:gd name="connsiteY9" fmla="*/ 119607 h 125820"/>
                  <a:gd name="connsiteX10" fmla="*/ 20488 w 389406"/>
                  <a:gd name="connsiteY10" fmla="*/ 125821 h 125820"/>
                  <a:gd name="connsiteX11" fmla="*/ 20488 w 389406"/>
                  <a:gd name="connsiteY11" fmla="*/ 125821 h 125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89406" h="125820">
                    <a:moveTo>
                      <a:pt x="20488" y="125821"/>
                    </a:moveTo>
                    <a:cubicBezTo>
                      <a:pt x="15051" y="125821"/>
                      <a:pt x="10391" y="124267"/>
                      <a:pt x="6508" y="120384"/>
                    </a:cubicBezTo>
                    <a:cubicBezTo>
                      <a:pt x="-2035" y="112617"/>
                      <a:pt x="-2035" y="99414"/>
                      <a:pt x="5731" y="91647"/>
                    </a:cubicBezTo>
                    <a:lnTo>
                      <a:pt x="88835" y="6213"/>
                    </a:lnTo>
                    <a:cubicBezTo>
                      <a:pt x="92718" y="2330"/>
                      <a:pt x="98155" y="0"/>
                      <a:pt x="103592" y="0"/>
                    </a:cubicBezTo>
                    <a:lnTo>
                      <a:pt x="369213" y="0"/>
                    </a:lnTo>
                    <a:cubicBezTo>
                      <a:pt x="380863" y="0"/>
                      <a:pt x="389407" y="9320"/>
                      <a:pt x="389407" y="20193"/>
                    </a:cubicBezTo>
                    <a:cubicBezTo>
                      <a:pt x="389407" y="31843"/>
                      <a:pt x="380086" y="40387"/>
                      <a:pt x="369213" y="40387"/>
                    </a:cubicBezTo>
                    <a:lnTo>
                      <a:pt x="112135" y="40387"/>
                    </a:lnTo>
                    <a:lnTo>
                      <a:pt x="35245" y="119607"/>
                    </a:lnTo>
                    <a:cubicBezTo>
                      <a:pt x="31361" y="124267"/>
                      <a:pt x="25925" y="125821"/>
                      <a:pt x="20488" y="125821"/>
                    </a:cubicBezTo>
                    <a:lnTo>
                      <a:pt x="20488" y="125821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7" name="Forma Livre: Forma 16">
                <a:extLst>
                  <a:ext uri="{FF2B5EF4-FFF2-40B4-BE49-F238E27FC236}">
                    <a16:creationId xmlns:a16="http://schemas.microsoft.com/office/drawing/2014/main" id="{B80611F0-5009-422C-B5D2-F23062B5DDB4}"/>
                  </a:ext>
                </a:extLst>
              </p:cNvPr>
              <p:cNvSpPr/>
              <p:nvPr/>
            </p:nvSpPr>
            <p:spPr>
              <a:xfrm>
                <a:off x="3062807" y="1384508"/>
                <a:ext cx="124080" cy="126115"/>
              </a:xfrm>
              <a:custGeom>
                <a:avLst/>
                <a:gdLst>
                  <a:gd name="connsiteX0" fmla="*/ 103592 w 124080"/>
                  <a:gd name="connsiteY0" fmla="*/ 126115 h 126115"/>
                  <a:gd name="connsiteX1" fmla="*/ 88835 w 124080"/>
                  <a:gd name="connsiteY1" fmla="*/ 119902 h 126115"/>
                  <a:gd name="connsiteX2" fmla="*/ 5731 w 124080"/>
                  <a:gd name="connsiteY2" fmla="*/ 34468 h 126115"/>
                  <a:gd name="connsiteX3" fmla="*/ 6508 w 124080"/>
                  <a:gd name="connsiteY3" fmla="*/ 5731 h 126115"/>
                  <a:gd name="connsiteX4" fmla="*/ 35245 w 124080"/>
                  <a:gd name="connsiteY4" fmla="*/ 6508 h 126115"/>
                  <a:gd name="connsiteX5" fmla="*/ 118349 w 124080"/>
                  <a:gd name="connsiteY5" fmla="*/ 91942 h 126115"/>
                  <a:gd name="connsiteX6" fmla="*/ 117572 w 124080"/>
                  <a:gd name="connsiteY6" fmla="*/ 120679 h 126115"/>
                  <a:gd name="connsiteX7" fmla="*/ 103592 w 124080"/>
                  <a:gd name="connsiteY7" fmla="*/ 126115 h 126115"/>
                  <a:gd name="connsiteX8" fmla="*/ 103592 w 124080"/>
                  <a:gd name="connsiteY8" fmla="*/ 126115 h 126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4080" h="126115">
                    <a:moveTo>
                      <a:pt x="103592" y="126115"/>
                    </a:moveTo>
                    <a:cubicBezTo>
                      <a:pt x="98155" y="126115"/>
                      <a:pt x="92718" y="123785"/>
                      <a:pt x="88835" y="119902"/>
                    </a:cubicBezTo>
                    <a:lnTo>
                      <a:pt x="5731" y="34468"/>
                    </a:lnTo>
                    <a:cubicBezTo>
                      <a:pt x="-2035" y="25925"/>
                      <a:pt x="-2035" y="13498"/>
                      <a:pt x="6508" y="5731"/>
                    </a:cubicBezTo>
                    <a:cubicBezTo>
                      <a:pt x="15051" y="-2035"/>
                      <a:pt x="27478" y="-2035"/>
                      <a:pt x="35245" y="6508"/>
                    </a:cubicBezTo>
                    <a:lnTo>
                      <a:pt x="118349" y="91942"/>
                    </a:lnTo>
                    <a:cubicBezTo>
                      <a:pt x="126115" y="100485"/>
                      <a:pt x="126115" y="112912"/>
                      <a:pt x="117572" y="120679"/>
                    </a:cubicBezTo>
                    <a:cubicBezTo>
                      <a:pt x="113689" y="124562"/>
                      <a:pt x="108252" y="126115"/>
                      <a:pt x="103592" y="126115"/>
                    </a:cubicBezTo>
                    <a:lnTo>
                      <a:pt x="103592" y="126115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18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5395646" y="1552313"/>
            <a:ext cx="385158" cy="394312"/>
            <a:chOff x="5234377" y="1278205"/>
            <a:chExt cx="473581" cy="484836"/>
          </a:xfrm>
          <a:solidFill>
            <a:srgbClr val="B1B1A1"/>
          </a:solidFill>
        </p:grpSpPr>
        <p:grpSp>
          <p:nvGrpSpPr>
            <p:cNvPr id="19" name="Gráfico 2">
              <a:extLst>
                <a:ext uri="{FF2B5EF4-FFF2-40B4-BE49-F238E27FC236}">
                  <a16:creationId xmlns:a16="http://schemas.microsoft.com/office/drawing/2014/main" id="{777488D5-C9B0-42ED-94FB-5C76F4BD1A17}"/>
                </a:ext>
              </a:extLst>
            </p:cNvPr>
            <p:cNvGrpSpPr/>
            <p:nvPr/>
          </p:nvGrpSpPr>
          <p:grpSpPr>
            <a:xfrm>
              <a:off x="5339342" y="1278205"/>
              <a:ext cx="261763" cy="261932"/>
              <a:chOff x="5339342" y="1278205"/>
              <a:chExt cx="261763" cy="261932"/>
            </a:xfrm>
            <a:grpFill/>
          </p:grpSpPr>
          <p:sp>
            <p:nvSpPr>
              <p:cNvPr id="20" name="Forma Livre: Forma 19">
                <a:extLst>
                  <a:ext uri="{FF2B5EF4-FFF2-40B4-BE49-F238E27FC236}">
                    <a16:creationId xmlns:a16="http://schemas.microsoft.com/office/drawing/2014/main" id="{F9E7EAC6-AFB9-4654-8D99-C3643F3B03C0}"/>
                  </a:ext>
                </a:extLst>
              </p:cNvPr>
              <p:cNvSpPr/>
              <p:nvPr/>
            </p:nvSpPr>
            <p:spPr>
              <a:xfrm>
                <a:off x="5339342" y="1278205"/>
                <a:ext cx="261763" cy="121535"/>
              </a:xfrm>
              <a:custGeom>
                <a:avLst/>
                <a:gdLst>
                  <a:gd name="connsiteX0" fmla="*/ 242502 w 261763"/>
                  <a:gd name="connsiteY0" fmla="*/ 121355 h 121535"/>
                  <a:gd name="connsiteX1" fmla="*/ 230076 w 261763"/>
                  <a:gd name="connsiteY1" fmla="*/ 117471 h 121535"/>
                  <a:gd name="connsiteX2" fmla="*/ 131438 w 261763"/>
                  <a:gd name="connsiteY2" fmla="*/ 46018 h 121535"/>
                  <a:gd name="connsiteX3" fmla="*/ 32801 w 261763"/>
                  <a:gd name="connsiteY3" fmla="*/ 117471 h 121535"/>
                  <a:gd name="connsiteX4" fmla="*/ 4064 w 261763"/>
                  <a:gd name="connsiteY4" fmla="*/ 112811 h 121535"/>
                  <a:gd name="connsiteX5" fmla="*/ 8724 w 261763"/>
                  <a:gd name="connsiteY5" fmla="*/ 84075 h 121535"/>
                  <a:gd name="connsiteX6" fmla="*/ 119012 w 261763"/>
                  <a:gd name="connsiteY6" fmla="*/ 4078 h 121535"/>
                  <a:gd name="connsiteX7" fmla="*/ 143088 w 261763"/>
                  <a:gd name="connsiteY7" fmla="*/ 4078 h 121535"/>
                  <a:gd name="connsiteX8" fmla="*/ 253376 w 261763"/>
                  <a:gd name="connsiteY8" fmla="*/ 84075 h 121535"/>
                  <a:gd name="connsiteX9" fmla="*/ 258035 w 261763"/>
                  <a:gd name="connsiteY9" fmla="*/ 112811 h 121535"/>
                  <a:gd name="connsiteX10" fmla="*/ 242502 w 261763"/>
                  <a:gd name="connsiteY10" fmla="*/ 121355 h 121535"/>
                  <a:gd name="connsiteX11" fmla="*/ 242502 w 261763"/>
                  <a:gd name="connsiteY11" fmla="*/ 121355 h 121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61763" h="121535">
                    <a:moveTo>
                      <a:pt x="242502" y="121355"/>
                    </a:moveTo>
                    <a:cubicBezTo>
                      <a:pt x="238619" y="121355"/>
                      <a:pt x="233959" y="119801"/>
                      <a:pt x="230076" y="117471"/>
                    </a:cubicBezTo>
                    <a:lnTo>
                      <a:pt x="131438" y="46018"/>
                    </a:lnTo>
                    <a:lnTo>
                      <a:pt x="32801" y="117471"/>
                    </a:lnTo>
                    <a:cubicBezTo>
                      <a:pt x="23481" y="124462"/>
                      <a:pt x="11054" y="122131"/>
                      <a:pt x="4064" y="112811"/>
                    </a:cubicBezTo>
                    <a:cubicBezTo>
                      <a:pt x="-2926" y="103491"/>
                      <a:pt x="-596" y="91065"/>
                      <a:pt x="8724" y="84075"/>
                    </a:cubicBezTo>
                    <a:lnTo>
                      <a:pt x="119012" y="4078"/>
                    </a:lnTo>
                    <a:cubicBezTo>
                      <a:pt x="126001" y="-1359"/>
                      <a:pt x="136098" y="-1359"/>
                      <a:pt x="143088" y="4078"/>
                    </a:cubicBezTo>
                    <a:lnTo>
                      <a:pt x="253376" y="84075"/>
                    </a:lnTo>
                    <a:cubicBezTo>
                      <a:pt x="262696" y="91065"/>
                      <a:pt x="264249" y="103491"/>
                      <a:pt x="258035" y="112811"/>
                    </a:cubicBezTo>
                    <a:cubicBezTo>
                      <a:pt x="254929" y="118248"/>
                      <a:pt x="248715" y="121355"/>
                      <a:pt x="242502" y="121355"/>
                    </a:cubicBezTo>
                    <a:lnTo>
                      <a:pt x="242502" y="121355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1" name="Forma Livre: Forma 20">
                <a:extLst>
                  <a:ext uri="{FF2B5EF4-FFF2-40B4-BE49-F238E27FC236}">
                    <a16:creationId xmlns:a16="http://schemas.microsoft.com/office/drawing/2014/main" id="{504E0889-7FE4-43FD-AD4B-6C8CC2D8DEEE}"/>
                  </a:ext>
                </a:extLst>
              </p:cNvPr>
              <p:cNvSpPr/>
              <p:nvPr/>
            </p:nvSpPr>
            <p:spPr>
              <a:xfrm>
                <a:off x="5450587" y="1278399"/>
                <a:ext cx="40431" cy="261737"/>
              </a:xfrm>
              <a:custGeom>
                <a:avLst/>
                <a:gdLst>
                  <a:gd name="connsiteX0" fmla="*/ 20193 w 40431"/>
                  <a:gd name="connsiteY0" fmla="*/ 261738 h 261737"/>
                  <a:gd name="connsiteX1" fmla="*/ 0 w 40431"/>
                  <a:gd name="connsiteY1" fmla="*/ 241544 h 261737"/>
                  <a:gd name="connsiteX2" fmla="*/ 0 w 40431"/>
                  <a:gd name="connsiteY2" fmla="*/ 20193 h 261737"/>
                  <a:gd name="connsiteX3" fmla="*/ 20193 w 40431"/>
                  <a:gd name="connsiteY3" fmla="*/ 0 h 261737"/>
                  <a:gd name="connsiteX4" fmla="*/ 40386 w 40431"/>
                  <a:gd name="connsiteY4" fmla="*/ 20193 h 261737"/>
                  <a:gd name="connsiteX5" fmla="*/ 40386 w 40431"/>
                  <a:gd name="connsiteY5" fmla="*/ 241544 h 261737"/>
                  <a:gd name="connsiteX6" fmla="*/ 20193 w 40431"/>
                  <a:gd name="connsiteY6" fmla="*/ 261738 h 261737"/>
                  <a:gd name="connsiteX7" fmla="*/ 20193 w 40431"/>
                  <a:gd name="connsiteY7" fmla="*/ 261738 h 261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431" h="261737">
                    <a:moveTo>
                      <a:pt x="20193" y="261738"/>
                    </a:moveTo>
                    <a:cubicBezTo>
                      <a:pt x="8543" y="261738"/>
                      <a:pt x="0" y="252418"/>
                      <a:pt x="0" y="241544"/>
                    </a:cubicBezTo>
                    <a:lnTo>
                      <a:pt x="0" y="20193"/>
                    </a:lnTo>
                    <a:cubicBezTo>
                      <a:pt x="0" y="8543"/>
                      <a:pt x="9320" y="0"/>
                      <a:pt x="20193" y="0"/>
                    </a:cubicBezTo>
                    <a:cubicBezTo>
                      <a:pt x="31843" y="0"/>
                      <a:pt x="40386" y="9320"/>
                      <a:pt x="40386" y="20193"/>
                    </a:cubicBezTo>
                    <a:lnTo>
                      <a:pt x="40386" y="241544"/>
                    </a:lnTo>
                    <a:cubicBezTo>
                      <a:pt x="41163" y="252418"/>
                      <a:pt x="31843" y="261738"/>
                      <a:pt x="20193" y="261738"/>
                    </a:cubicBezTo>
                    <a:lnTo>
                      <a:pt x="20193" y="261738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22" name="Forma Livre: Forma 21">
              <a:extLst>
                <a:ext uri="{FF2B5EF4-FFF2-40B4-BE49-F238E27FC236}">
                  <a16:creationId xmlns:a16="http://schemas.microsoft.com/office/drawing/2014/main" id="{A61A0CCC-FEEB-44D7-9892-C717775B540D}"/>
                </a:ext>
              </a:extLst>
            </p:cNvPr>
            <p:cNvSpPr/>
            <p:nvPr/>
          </p:nvSpPr>
          <p:spPr>
            <a:xfrm>
              <a:off x="5235449" y="1576640"/>
              <a:ext cx="471484" cy="186400"/>
            </a:xfrm>
            <a:custGeom>
              <a:avLst/>
              <a:gdLst>
                <a:gd name="connsiteX0" fmla="*/ 452022 w 471484"/>
                <a:gd name="connsiteY0" fmla="*/ 186401 h 186400"/>
                <a:gd name="connsiteX1" fmla="*/ 20193 w 471484"/>
                <a:gd name="connsiteY1" fmla="*/ 186401 h 186400"/>
                <a:gd name="connsiteX2" fmla="*/ 0 w 471484"/>
                <a:gd name="connsiteY2" fmla="*/ 166207 h 186400"/>
                <a:gd name="connsiteX3" fmla="*/ 0 w 471484"/>
                <a:gd name="connsiteY3" fmla="*/ 20193 h 186400"/>
                <a:gd name="connsiteX4" fmla="*/ 20193 w 471484"/>
                <a:gd name="connsiteY4" fmla="*/ 0 h 186400"/>
                <a:gd name="connsiteX5" fmla="*/ 153781 w 471484"/>
                <a:gd name="connsiteY5" fmla="*/ 0 h 186400"/>
                <a:gd name="connsiteX6" fmla="*/ 173974 w 471484"/>
                <a:gd name="connsiteY6" fmla="*/ 20193 h 186400"/>
                <a:gd name="connsiteX7" fmla="*/ 173974 w 471484"/>
                <a:gd name="connsiteY7" fmla="*/ 48930 h 186400"/>
                <a:gd name="connsiteX8" fmla="*/ 297465 w 471484"/>
                <a:gd name="connsiteY8" fmla="*/ 48930 h 186400"/>
                <a:gd name="connsiteX9" fmla="*/ 297465 w 471484"/>
                <a:gd name="connsiteY9" fmla="*/ 20193 h 186400"/>
                <a:gd name="connsiteX10" fmla="*/ 317658 w 471484"/>
                <a:gd name="connsiteY10" fmla="*/ 0 h 186400"/>
                <a:gd name="connsiteX11" fmla="*/ 451245 w 471484"/>
                <a:gd name="connsiteY11" fmla="*/ 0 h 186400"/>
                <a:gd name="connsiteX12" fmla="*/ 471439 w 471484"/>
                <a:gd name="connsiteY12" fmla="*/ 20193 h 186400"/>
                <a:gd name="connsiteX13" fmla="*/ 471439 w 471484"/>
                <a:gd name="connsiteY13" fmla="*/ 166207 h 186400"/>
                <a:gd name="connsiteX14" fmla="*/ 452022 w 471484"/>
                <a:gd name="connsiteY14" fmla="*/ 186401 h 186400"/>
                <a:gd name="connsiteX15" fmla="*/ 452022 w 471484"/>
                <a:gd name="connsiteY15" fmla="*/ 186401 h 186400"/>
                <a:gd name="connsiteX16" fmla="*/ 40387 w 471484"/>
                <a:gd name="connsiteY16" fmla="*/ 145237 h 186400"/>
                <a:gd name="connsiteX17" fmla="*/ 431052 w 471484"/>
                <a:gd name="connsiteY17" fmla="*/ 145237 h 186400"/>
                <a:gd name="connsiteX18" fmla="*/ 431052 w 471484"/>
                <a:gd name="connsiteY18" fmla="*/ 40387 h 186400"/>
                <a:gd name="connsiteX19" fmla="*/ 338628 w 471484"/>
                <a:gd name="connsiteY19" fmla="*/ 40387 h 186400"/>
                <a:gd name="connsiteX20" fmla="*/ 338628 w 471484"/>
                <a:gd name="connsiteY20" fmla="*/ 48930 h 186400"/>
                <a:gd name="connsiteX21" fmla="*/ 297465 w 471484"/>
                <a:gd name="connsiteY21" fmla="*/ 90094 h 186400"/>
                <a:gd name="connsiteX22" fmla="*/ 173974 w 471484"/>
                <a:gd name="connsiteY22" fmla="*/ 90094 h 186400"/>
                <a:gd name="connsiteX23" fmla="*/ 132810 w 471484"/>
                <a:gd name="connsiteY23" fmla="*/ 48930 h 186400"/>
                <a:gd name="connsiteX24" fmla="*/ 132810 w 471484"/>
                <a:gd name="connsiteY24" fmla="*/ 40387 h 186400"/>
                <a:gd name="connsiteX25" fmla="*/ 40387 w 471484"/>
                <a:gd name="connsiteY25" fmla="*/ 40387 h 186400"/>
                <a:gd name="connsiteX26" fmla="*/ 40387 w 471484"/>
                <a:gd name="connsiteY26" fmla="*/ 145237 h 186400"/>
                <a:gd name="connsiteX27" fmla="*/ 40387 w 471484"/>
                <a:gd name="connsiteY27" fmla="*/ 145237 h 186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71484" h="186400">
                  <a:moveTo>
                    <a:pt x="452022" y="186401"/>
                  </a:moveTo>
                  <a:lnTo>
                    <a:pt x="20193" y="186401"/>
                  </a:lnTo>
                  <a:cubicBezTo>
                    <a:pt x="8543" y="186401"/>
                    <a:pt x="0" y="177081"/>
                    <a:pt x="0" y="166207"/>
                  </a:cubicBezTo>
                  <a:lnTo>
                    <a:pt x="0" y="20193"/>
                  </a:lnTo>
                  <a:cubicBezTo>
                    <a:pt x="0" y="8543"/>
                    <a:pt x="9320" y="0"/>
                    <a:pt x="20193" y="0"/>
                  </a:cubicBezTo>
                  <a:lnTo>
                    <a:pt x="153781" y="0"/>
                  </a:lnTo>
                  <a:cubicBezTo>
                    <a:pt x="165431" y="0"/>
                    <a:pt x="173974" y="9320"/>
                    <a:pt x="173974" y="20193"/>
                  </a:cubicBezTo>
                  <a:lnTo>
                    <a:pt x="173974" y="48930"/>
                  </a:lnTo>
                  <a:lnTo>
                    <a:pt x="297465" y="48930"/>
                  </a:lnTo>
                  <a:lnTo>
                    <a:pt x="297465" y="20193"/>
                  </a:lnTo>
                  <a:cubicBezTo>
                    <a:pt x="297465" y="8543"/>
                    <a:pt x="306785" y="0"/>
                    <a:pt x="317658" y="0"/>
                  </a:cubicBezTo>
                  <a:lnTo>
                    <a:pt x="451245" y="0"/>
                  </a:lnTo>
                  <a:cubicBezTo>
                    <a:pt x="462895" y="0"/>
                    <a:pt x="471439" y="9320"/>
                    <a:pt x="471439" y="20193"/>
                  </a:cubicBezTo>
                  <a:lnTo>
                    <a:pt x="471439" y="166207"/>
                  </a:lnTo>
                  <a:cubicBezTo>
                    <a:pt x="472216" y="177081"/>
                    <a:pt x="462895" y="186401"/>
                    <a:pt x="452022" y="186401"/>
                  </a:cubicBezTo>
                  <a:lnTo>
                    <a:pt x="452022" y="186401"/>
                  </a:lnTo>
                  <a:close/>
                  <a:moveTo>
                    <a:pt x="40387" y="145237"/>
                  </a:moveTo>
                  <a:lnTo>
                    <a:pt x="431052" y="145237"/>
                  </a:lnTo>
                  <a:lnTo>
                    <a:pt x="431052" y="40387"/>
                  </a:lnTo>
                  <a:lnTo>
                    <a:pt x="338628" y="40387"/>
                  </a:lnTo>
                  <a:lnTo>
                    <a:pt x="338628" y="48930"/>
                  </a:lnTo>
                  <a:cubicBezTo>
                    <a:pt x="338628" y="71454"/>
                    <a:pt x="319988" y="90094"/>
                    <a:pt x="297465" y="90094"/>
                  </a:cubicBezTo>
                  <a:lnTo>
                    <a:pt x="173974" y="90094"/>
                  </a:lnTo>
                  <a:cubicBezTo>
                    <a:pt x="151451" y="90094"/>
                    <a:pt x="132810" y="71454"/>
                    <a:pt x="132810" y="48930"/>
                  </a:cubicBezTo>
                  <a:lnTo>
                    <a:pt x="132810" y="40387"/>
                  </a:lnTo>
                  <a:lnTo>
                    <a:pt x="40387" y="40387"/>
                  </a:lnTo>
                  <a:lnTo>
                    <a:pt x="40387" y="145237"/>
                  </a:lnTo>
                  <a:lnTo>
                    <a:pt x="40387" y="145237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23" name="Gráfico 2">
              <a:extLst>
                <a:ext uri="{FF2B5EF4-FFF2-40B4-BE49-F238E27FC236}">
                  <a16:creationId xmlns:a16="http://schemas.microsoft.com/office/drawing/2014/main" id="{777488D5-C9B0-42ED-94FB-5C76F4BD1A17}"/>
                </a:ext>
              </a:extLst>
            </p:cNvPr>
            <p:cNvGrpSpPr/>
            <p:nvPr/>
          </p:nvGrpSpPr>
          <p:grpSpPr>
            <a:xfrm>
              <a:off x="5234377" y="1490912"/>
              <a:ext cx="473581" cy="126115"/>
              <a:chOff x="5234377" y="1490912"/>
              <a:chExt cx="473581" cy="126115"/>
            </a:xfrm>
            <a:grpFill/>
          </p:grpSpPr>
          <p:sp>
            <p:nvSpPr>
              <p:cNvPr id="24" name="Forma Livre: Forma 23">
                <a:extLst>
                  <a:ext uri="{FF2B5EF4-FFF2-40B4-BE49-F238E27FC236}">
                    <a16:creationId xmlns:a16="http://schemas.microsoft.com/office/drawing/2014/main" id="{31E78E85-8ADB-42F2-A1C2-ABC9E14D1AF8}"/>
                  </a:ext>
                </a:extLst>
              </p:cNvPr>
              <p:cNvSpPr/>
              <p:nvPr/>
            </p:nvSpPr>
            <p:spPr>
              <a:xfrm>
                <a:off x="5234377" y="1490912"/>
                <a:ext cx="124080" cy="126115"/>
              </a:xfrm>
              <a:custGeom>
                <a:avLst/>
                <a:gdLst>
                  <a:gd name="connsiteX0" fmla="*/ 20488 w 124080"/>
                  <a:gd name="connsiteY0" fmla="*/ 126115 h 126115"/>
                  <a:gd name="connsiteX1" fmla="*/ 6508 w 124080"/>
                  <a:gd name="connsiteY1" fmla="*/ 120679 h 126115"/>
                  <a:gd name="connsiteX2" fmla="*/ 5731 w 124080"/>
                  <a:gd name="connsiteY2" fmla="*/ 91942 h 126115"/>
                  <a:gd name="connsiteX3" fmla="*/ 88835 w 124080"/>
                  <a:gd name="connsiteY3" fmla="*/ 6508 h 126115"/>
                  <a:gd name="connsiteX4" fmla="*/ 117572 w 124080"/>
                  <a:gd name="connsiteY4" fmla="*/ 5731 h 126115"/>
                  <a:gd name="connsiteX5" fmla="*/ 118349 w 124080"/>
                  <a:gd name="connsiteY5" fmla="*/ 34468 h 126115"/>
                  <a:gd name="connsiteX6" fmla="*/ 35245 w 124080"/>
                  <a:gd name="connsiteY6" fmla="*/ 119902 h 126115"/>
                  <a:gd name="connsiteX7" fmla="*/ 20488 w 124080"/>
                  <a:gd name="connsiteY7" fmla="*/ 126115 h 126115"/>
                  <a:gd name="connsiteX8" fmla="*/ 20488 w 124080"/>
                  <a:gd name="connsiteY8" fmla="*/ 126115 h 126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4080" h="126115">
                    <a:moveTo>
                      <a:pt x="20488" y="126115"/>
                    </a:moveTo>
                    <a:cubicBezTo>
                      <a:pt x="15052" y="126115"/>
                      <a:pt x="10392" y="124562"/>
                      <a:pt x="6508" y="120679"/>
                    </a:cubicBezTo>
                    <a:cubicBezTo>
                      <a:pt x="-2035" y="112912"/>
                      <a:pt x="-2035" y="99709"/>
                      <a:pt x="5731" y="91942"/>
                    </a:cubicBezTo>
                    <a:lnTo>
                      <a:pt x="88835" y="6508"/>
                    </a:lnTo>
                    <a:cubicBezTo>
                      <a:pt x="96602" y="-2035"/>
                      <a:pt x="109805" y="-2035"/>
                      <a:pt x="117572" y="5731"/>
                    </a:cubicBezTo>
                    <a:cubicBezTo>
                      <a:pt x="126115" y="13498"/>
                      <a:pt x="126115" y="26701"/>
                      <a:pt x="118349" y="34468"/>
                    </a:cubicBezTo>
                    <a:lnTo>
                      <a:pt x="35245" y="119902"/>
                    </a:lnTo>
                    <a:cubicBezTo>
                      <a:pt x="31361" y="124562"/>
                      <a:pt x="25925" y="126115"/>
                      <a:pt x="20488" y="126115"/>
                    </a:cubicBezTo>
                    <a:lnTo>
                      <a:pt x="20488" y="126115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5" name="Forma Livre: Forma 24">
                <a:extLst>
                  <a:ext uri="{FF2B5EF4-FFF2-40B4-BE49-F238E27FC236}">
                    <a16:creationId xmlns:a16="http://schemas.microsoft.com/office/drawing/2014/main" id="{B827FEA1-8821-41FD-B83C-DC517187BEED}"/>
                  </a:ext>
                </a:extLst>
              </p:cNvPr>
              <p:cNvSpPr/>
              <p:nvPr/>
            </p:nvSpPr>
            <p:spPr>
              <a:xfrm>
                <a:off x="5583879" y="1490912"/>
                <a:ext cx="124080" cy="126115"/>
              </a:xfrm>
              <a:custGeom>
                <a:avLst/>
                <a:gdLst>
                  <a:gd name="connsiteX0" fmla="*/ 103592 w 124080"/>
                  <a:gd name="connsiteY0" fmla="*/ 126115 h 126115"/>
                  <a:gd name="connsiteX1" fmla="*/ 88835 w 124080"/>
                  <a:gd name="connsiteY1" fmla="*/ 119902 h 126115"/>
                  <a:gd name="connsiteX2" fmla="*/ 5731 w 124080"/>
                  <a:gd name="connsiteY2" fmla="*/ 34468 h 126115"/>
                  <a:gd name="connsiteX3" fmla="*/ 6508 w 124080"/>
                  <a:gd name="connsiteY3" fmla="*/ 5731 h 126115"/>
                  <a:gd name="connsiteX4" fmla="*/ 35245 w 124080"/>
                  <a:gd name="connsiteY4" fmla="*/ 6508 h 126115"/>
                  <a:gd name="connsiteX5" fmla="*/ 118349 w 124080"/>
                  <a:gd name="connsiteY5" fmla="*/ 91942 h 126115"/>
                  <a:gd name="connsiteX6" fmla="*/ 117572 w 124080"/>
                  <a:gd name="connsiteY6" fmla="*/ 120679 h 126115"/>
                  <a:gd name="connsiteX7" fmla="*/ 103592 w 124080"/>
                  <a:gd name="connsiteY7" fmla="*/ 126115 h 126115"/>
                  <a:gd name="connsiteX8" fmla="*/ 103592 w 124080"/>
                  <a:gd name="connsiteY8" fmla="*/ 126115 h 126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4080" h="126115">
                    <a:moveTo>
                      <a:pt x="103592" y="126115"/>
                    </a:moveTo>
                    <a:cubicBezTo>
                      <a:pt x="98155" y="126115"/>
                      <a:pt x="92719" y="123785"/>
                      <a:pt x="88835" y="119902"/>
                    </a:cubicBezTo>
                    <a:lnTo>
                      <a:pt x="5731" y="34468"/>
                    </a:lnTo>
                    <a:cubicBezTo>
                      <a:pt x="-2035" y="25925"/>
                      <a:pt x="-2035" y="13498"/>
                      <a:pt x="6508" y="5731"/>
                    </a:cubicBezTo>
                    <a:cubicBezTo>
                      <a:pt x="14275" y="-2035"/>
                      <a:pt x="27478" y="-2035"/>
                      <a:pt x="35245" y="6508"/>
                    </a:cubicBezTo>
                    <a:lnTo>
                      <a:pt x="118349" y="91942"/>
                    </a:lnTo>
                    <a:cubicBezTo>
                      <a:pt x="126115" y="100485"/>
                      <a:pt x="126115" y="112912"/>
                      <a:pt x="117572" y="120679"/>
                    </a:cubicBezTo>
                    <a:cubicBezTo>
                      <a:pt x="113689" y="124562"/>
                      <a:pt x="108252" y="126115"/>
                      <a:pt x="103592" y="126115"/>
                    </a:cubicBezTo>
                    <a:lnTo>
                      <a:pt x="103592" y="126115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26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2316872" y="1548996"/>
            <a:ext cx="399839" cy="400786"/>
            <a:chOff x="1448792" y="1274127"/>
            <a:chExt cx="491632" cy="492797"/>
          </a:xfrm>
          <a:solidFill>
            <a:srgbClr val="B1B1A1"/>
          </a:solidFill>
        </p:grpSpPr>
        <p:grpSp>
          <p:nvGrpSpPr>
            <p:cNvPr id="27" name="Gráfico 2">
              <a:extLst>
                <a:ext uri="{FF2B5EF4-FFF2-40B4-BE49-F238E27FC236}">
                  <a16:creationId xmlns:a16="http://schemas.microsoft.com/office/drawing/2014/main" id="{777488D5-C9B0-42ED-94FB-5C76F4BD1A17}"/>
                </a:ext>
              </a:extLst>
            </p:cNvPr>
            <p:cNvGrpSpPr/>
            <p:nvPr/>
          </p:nvGrpSpPr>
          <p:grpSpPr>
            <a:xfrm>
              <a:off x="1448792" y="1543632"/>
              <a:ext cx="224069" cy="223292"/>
              <a:chOff x="1448792" y="1543632"/>
              <a:chExt cx="224069" cy="223292"/>
            </a:xfrm>
            <a:grpFill/>
          </p:grpSpPr>
          <p:sp>
            <p:nvSpPr>
              <p:cNvPr id="28" name="Forma Livre: Forma 27">
                <a:extLst>
                  <a:ext uri="{FF2B5EF4-FFF2-40B4-BE49-F238E27FC236}">
                    <a16:creationId xmlns:a16="http://schemas.microsoft.com/office/drawing/2014/main" id="{7AFFBEFF-0562-4662-A432-D2326E3E36D3}"/>
                  </a:ext>
                </a:extLst>
              </p:cNvPr>
              <p:cNvSpPr/>
              <p:nvPr/>
            </p:nvSpPr>
            <p:spPr>
              <a:xfrm>
                <a:off x="1485684" y="1544020"/>
                <a:ext cx="187177" cy="187177"/>
              </a:xfrm>
              <a:custGeom>
                <a:avLst/>
                <a:gdLst>
                  <a:gd name="connsiteX0" fmla="*/ 166208 w 187177"/>
                  <a:gd name="connsiteY0" fmla="*/ 187178 h 187177"/>
                  <a:gd name="connsiteX1" fmla="*/ 146014 w 187177"/>
                  <a:gd name="connsiteY1" fmla="*/ 166984 h 187177"/>
                  <a:gd name="connsiteX2" fmla="*/ 146014 w 187177"/>
                  <a:gd name="connsiteY2" fmla="*/ 40387 h 187177"/>
                  <a:gd name="connsiteX3" fmla="*/ 20193 w 187177"/>
                  <a:gd name="connsiteY3" fmla="*/ 40387 h 187177"/>
                  <a:gd name="connsiteX4" fmla="*/ 0 w 187177"/>
                  <a:gd name="connsiteY4" fmla="*/ 20193 h 187177"/>
                  <a:gd name="connsiteX5" fmla="*/ 20193 w 187177"/>
                  <a:gd name="connsiteY5" fmla="*/ 0 h 187177"/>
                  <a:gd name="connsiteX6" fmla="*/ 166984 w 187177"/>
                  <a:gd name="connsiteY6" fmla="*/ 0 h 187177"/>
                  <a:gd name="connsiteX7" fmla="*/ 187178 w 187177"/>
                  <a:gd name="connsiteY7" fmla="*/ 20193 h 187177"/>
                  <a:gd name="connsiteX8" fmla="*/ 187178 w 187177"/>
                  <a:gd name="connsiteY8" fmla="*/ 166984 h 187177"/>
                  <a:gd name="connsiteX9" fmla="*/ 166208 w 187177"/>
                  <a:gd name="connsiteY9" fmla="*/ 187178 h 187177"/>
                  <a:gd name="connsiteX10" fmla="*/ 166208 w 187177"/>
                  <a:gd name="connsiteY10" fmla="*/ 187178 h 187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7177" h="187177">
                    <a:moveTo>
                      <a:pt x="166208" y="187178"/>
                    </a:moveTo>
                    <a:cubicBezTo>
                      <a:pt x="154557" y="187178"/>
                      <a:pt x="146014" y="177857"/>
                      <a:pt x="146014" y="166984"/>
                    </a:cubicBezTo>
                    <a:lnTo>
                      <a:pt x="146014" y="40387"/>
                    </a:lnTo>
                    <a:lnTo>
                      <a:pt x="20193" y="40387"/>
                    </a:lnTo>
                    <a:cubicBezTo>
                      <a:pt x="8543" y="40387"/>
                      <a:pt x="0" y="31067"/>
                      <a:pt x="0" y="20193"/>
                    </a:cubicBezTo>
                    <a:cubicBezTo>
                      <a:pt x="0" y="8543"/>
                      <a:pt x="9320" y="0"/>
                      <a:pt x="20193" y="0"/>
                    </a:cubicBezTo>
                    <a:lnTo>
                      <a:pt x="166984" y="0"/>
                    </a:lnTo>
                    <a:cubicBezTo>
                      <a:pt x="178634" y="0"/>
                      <a:pt x="187178" y="9320"/>
                      <a:pt x="187178" y="20193"/>
                    </a:cubicBezTo>
                    <a:lnTo>
                      <a:pt x="187178" y="166984"/>
                    </a:lnTo>
                    <a:cubicBezTo>
                      <a:pt x="186401" y="177857"/>
                      <a:pt x="177081" y="187178"/>
                      <a:pt x="166208" y="187178"/>
                    </a:cubicBezTo>
                    <a:lnTo>
                      <a:pt x="166208" y="187178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9" name="Forma Livre: Forma 28">
                <a:extLst>
                  <a:ext uri="{FF2B5EF4-FFF2-40B4-BE49-F238E27FC236}">
                    <a16:creationId xmlns:a16="http://schemas.microsoft.com/office/drawing/2014/main" id="{8FE025A5-8E86-4C4E-8376-436B3DFFBECC}"/>
                  </a:ext>
                </a:extLst>
              </p:cNvPr>
              <p:cNvSpPr/>
              <p:nvPr/>
            </p:nvSpPr>
            <p:spPr>
              <a:xfrm>
                <a:off x="1448792" y="1543632"/>
                <a:ext cx="222127" cy="223292"/>
              </a:xfrm>
              <a:custGeom>
                <a:avLst/>
                <a:gdLst>
                  <a:gd name="connsiteX0" fmla="*/ 20582 w 222127"/>
                  <a:gd name="connsiteY0" fmla="*/ 223293 h 223292"/>
                  <a:gd name="connsiteX1" fmla="*/ 5825 w 222127"/>
                  <a:gd name="connsiteY1" fmla="*/ 217079 h 223292"/>
                  <a:gd name="connsiteX2" fmla="*/ 5825 w 222127"/>
                  <a:gd name="connsiteY2" fmla="*/ 188343 h 223292"/>
                  <a:gd name="connsiteX3" fmla="*/ 187566 w 222127"/>
                  <a:gd name="connsiteY3" fmla="*/ 5825 h 223292"/>
                  <a:gd name="connsiteX4" fmla="*/ 216303 w 222127"/>
                  <a:gd name="connsiteY4" fmla="*/ 5825 h 223292"/>
                  <a:gd name="connsiteX5" fmla="*/ 216303 w 222127"/>
                  <a:gd name="connsiteY5" fmla="*/ 34562 h 223292"/>
                  <a:gd name="connsiteX6" fmla="*/ 34562 w 222127"/>
                  <a:gd name="connsiteY6" fmla="*/ 217079 h 223292"/>
                  <a:gd name="connsiteX7" fmla="*/ 20582 w 222127"/>
                  <a:gd name="connsiteY7" fmla="*/ 223293 h 223292"/>
                  <a:gd name="connsiteX8" fmla="*/ 20582 w 222127"/>
                  <a:gd name="connsiteY8" fmla="*/ 223293 h 223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2127" h="223292">
                    <a:moveTo>
                      <a:pt x="20582" y="223293"/>
                    </a:moveTo>
                    <a:cubicBezTo>
                      <a:pt x="15145" y="223293"/>
                      <a:pt x="9708" y="220963"/>
                      <a:pt x="5825" y="217079"/>
                    </a:cubicBezTo>
                    <a:cubicBezTo>
                      <a:pt x="-1942" y="209313"/>
                      <a:pt x="-1942" y="196109"/>
                      <a:pt x="5825" y="188343"/>
                    </a:cubicBezTo>
                    <a:lnTo>
                      <a:pt x="187566" y="5825"/>
                    </a:lnTo>
                    <a:cubicBezTo>
                      <a:pt x="195333" y="-1942"/>
                      <a:pt x="208536" y="-1942"/>
                      <a:pt x="216303" y="5825"/>
                    </a:cubicBezTo>
                    <a:cubicBezTo>
                      <a:pt x="224069" y="13592"/>
                      <a:pt x="224069" y="26795"/>
                      <a:pt x="216303" y="34562"/>
                    </a:cubicBezTo>
                    <a:lnTo>
                      <a:pt x="34562" y="217079"/>
                    </a:lnTo>
                    <a:cubicBezTo>
                      <a:pt x="31455" y="220963"/>
                      <a:pt x="26019" y="223293"/>
                      <a:pt x="20582" y="223293"/>
                    </a:cubicBezTo>
                    <a:lnTo>
                      <a:pt x="20582" y="223293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30" name="Gráfico 2">
              <a:extLst>
                <a:ext uri="{FF2B5EF4-FFF2-40B4-BE49-F238E27FC236}">
                  <a16:creationId xmlns:a16="http://schemas.microsoft.com/office/drawing/2014/main" id="{777488D5-C9B0-42ED-94FB-5C76F4BD1A17}"/>
                </a:ext>
              </a:extLst>
            </p:cNvPr>
            <p:cNvGrpSpPr/>
            <p:nvPr/>
          </p:nvGrpSpPr>
          <p:grpSpPr>
            <a:xfrm>
              <a:off x="1718297" y="1543632"/>
              <a:ext cx="222127" cy="223292"/>
              <a:chOff x="1718297" y="1543632"/>
              <a:chExt cx="222127" cy="223292"/>
            </a:xfrm>
            <a:grpFill/>
          </p:grpSpPr>
          <p:sp>
            <p:nvSpPr>
              <p:cNvPr id="31" name="Forma Livre: Forma 30">
                <a:extLst>
                  <a:ext uri="{FF2B5EF4-FFF2-40B4-BE49-F238E27FC236}">
                    <a16:creationId xmlns:a16="http://schemas.microsoft.com/office/drawing/2014/main" id="{EA3EEF04-73C2-4188-894E-C9F0D797BD7F}"/>
                  </a:ext>
                </a:extLst>
              </p:cNvPr>
              <p:cNvSpPr/>
              <p:nvPr/>
            </p:nvSpPr>
            <p:spPr>
              <a:xfrm>
                <a:off x="1718685" y="1544020"/>
                <a:ext cx="187177" cy="187177"/>
              </a:xfrm>
              <a:custGeom>
                <a:avLst/>
                <a:gdLst>
                  <a:gd name="connsiteX0" fmla="*/ 20193 w 187177"/>
                  <a:gd name="connsiteY0" fmla="*/ 187178 h 187177"/>
                  <a:gd name="connsiteX1" fmla="*/ 0 w 187177"/>
                  <a:gd name="connsiteY1" fmla="*/ 166984 h 187177"/>
                  <a:gd name="connsiteX2" fmla="*/ 0 w 187177"/>
                  <a:gd name="connsiteY2" fmla="*/ 20193 h 187177"/>
                  <a:gd name="connsiteX3" fmla="*/ 20193 w 187177"/>
                  <a:gd name="connsiteY3" fmla="*/ 0 h 187177"/>
                  <a:gd name="connsiteX4" fmla="*/ 166984 w 187177"/>
                  <a:gd name="connsiteY4" fmla="*/ 0 h 187177"/>
                  <a:gd name="connsiteX5" fmla="*/ 187178 w 187177"/>
                  <a:gd name="connsiteY5" fmla="*/ 20193 h 187177"/>
                  <a:gd name="connsiteX6" fmla="*/ 166984 w 187177"/>
                  <a:gd name="connsiteY6" fmla="*/ 40387 h 187177"/>
                  <a:gd name="connsiteX7" fmla="*/ 41164 w 187177"/>
                  <a:gd name="connsiteY7" fmla="*/ 40387 h 187177"/>
                  <a:gd name="connsiteX8" fmla="*/ 41164 w 187177"/>
                  <a:gd name="connsiteY8" fmla="*/ 166207 h 187177"/>
                  <a:gd name="connsiteX9" fmla="*/ 20193 w 187177"/>
                  <a:gd name="connsiteY9" fmla="*/ 187178 h 187177"/>
                  <a:gd name="connsiteX10" fmla="*/ 20193 w 187177"/>
                  <a:gd name="connsiteY10" fmla="*/ 187178 h 187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7177" h="187177">
                    <a:moveTo>
                      <a:pt x="20193" y="187178"/>
                    </a:moveTo>
                    <a:cubicBezTo>
                      <a:pt x="8543" y="187178"/>
                      <a:pt x="0" y="177857"/>
                      <a:pt x="0" y="166984"/>
                    </a:cubicBezTo>
                    <a:lnTo>
                      <a:pt x="0" y="20193"/>
                    </a:lnTo>
                    <a:cubicBezTo>
                      <a:pt x="0" y="8543"/>
                      <a:pt x="9320" y="0"/>
                      <a:pt x="20193" y="0"/>
                    </a:cubicBezTo>
                    <a:lnTo>
                      <a:pt x="166984" y="0"/>
                    </a:lnTo>
                    <a:cubicBezTo>
                      <a:pt x="178634" y="0"/>
                      <a:pt x="187178" y="9320"/>
                      <a:pt x="187178" y="20193"/>
                    </a:cubicBezTo>
                    <a:cubicBezTo>
                      <a:pt x="187178" y="31843"/>
                      <a:pt x="177858" y="40387"/>
                      <a:pt x="166984" y="40387"/>
                    </a:cubicBezTo>
                    <a:lnTo>
                      <a:pt x="41164" y="40387"/>
                    </a:lnTo>
                    <a:lnTo>
                      <a:pt x="41164" y="166207"/>
                    </a:lnTo>
                    <a:cubicBezTo>
                      <a:pt x="40387" y="177857"/>
                      <a:pt x="31067" y="187178"/>
                      <a:pt x="20193" y="187178"/>
                    </a:cubicBezTo>
                    <a:lnTo>
                      <a:pt x="20193" y="187178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2" name="Forma Livre: Forma 31">
                <a:extLst>
                  <a:ext uri="{FF2B5EF4-FFF2-40B4-BE49-F238E27FC236}">
                    <a16:creationId xmlns:a16="http://schemas.microsoft.com/office/drawing/2014/main" id="{E6355E2F-5B18-43AC-87D1-40FA74E083A4}"/>
                  </a:ext>
                </a:extLst>
              </p:cNvPr>
              <p:cNvSpPr/>
              <p:nvPr/>
            </p:nvSpPr>
            <p:spPr>
              <a:xfrm>
                <a:off x="1718297" y="1543632"/>
                <a:ext cx="222127" cy="223292"/>
              </a:xfrm>
              <a:custGeom>
                <a:avLst/>
                <a:gdLst>
                  <a:gd name="connsiteX0" fmla="*/ 202323 w 222127"/>
                  <a:gd name="connsiteY0" fmla="*/ 223293 h 223292"/>
                  <a:gd name="connsiteX1" fmla="*/ 187566 w 222127"/>
                  <a:gd name="connsiteY1" fmla="*/ 217079 h 223292"/>
                  <a:gd name="connsiteX2" fmla="*/ 5825 w 222127"/>
                  <a:gd name="connsiteY2" fmla="*/ 34562 h 223292"/>
                  <a:gd name="connsiteX3" fmla="*/ 5825 w 222127"/>
                  <a:gd name="connsiteY3" fmla="*/ 5825 h 223292"/>
                  <a:gd name="connsiteX4" fmla="*/ 34562 w 222127"/>
                  <a:gd name="connsiteY4" fmla="*/ 5825 h 223292"/>
                  <a:gd name="connsiteX5" fmla="*/ 216303 w 222127"/>
                  <a:gd name="connsiteY5" fmla="*/ 188343 h 223292"/>
                  <a:gd name="connsiteX6" fmla="*/ 216303 w 222127"/>
                  <a:gd name="connsiteY6" fmla="*/ 217079 h 223292"/>
                  <a:gd name="connsiteX7" fmla="*/ 202323 w 222127"/>
                  <a:gd name="connsiteY7" fmla="*/ 223293 h 223292"/>
                  <a:gd name="connsiteX8" fmla="*/ 202323 w 222127"/>
                  <a:gd name="connsiteY8" fmla="*/ 223293 h 223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2127" h="223292">
                    <a:moveTo>
                      <a:pt x="202323" y="223293"/>
                    </a:moveTo>
                    <a:cubicBezTo>
                      <a:pt x="196886" y="223293"/>
                      <a:pt x="191449" y="220963"/>
                      <a:pt x="187566" y="217079"/>
                    </a:cubicBezTo>
                    <a:lnTo>
                      <a:pt x="5825" y="34562"/>
                    </a:lnTo>
                    <a:cubicBezTo>
                      <a:pt x="-1942" y="26795"/>
                      <a:pt x="-1942" y="13592"/>
                      <a:pt x="5825" y="5825"/>
                    </a:cubicBezTo>
                    <a:cubicBezTo>
                      <a:pt x="13592" y="-1942"/>
                      <a:pt x="26795" y="-1942"/>
                      <a:pt x="34562" y="5825"/>
                    </a:cubicBezTo>
                    <a:lnTo>
                      <a:pt x="216303" y="188343"/>
                    </a:lnTo>
                    <a:cubicBezTo>
                      <a:pt x="224069" y="196109"/>
                      <a:pt x="224069" y="209313"/>
                      <a:pt x="216303" y="217079"/>
                    </a:cubicBezTo>
                    <a:cubicBezTo>
                      <a:pt x="213196" y="220963"/>
                      <a:pt x="207759" y="223293"/>
                      <a:pt x="202323" y="223293"/>
                    </a:cubicBezTo>
                    <a:lnTo>
                      <a:pt x="202323" y="223293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33" name="Gráfico 2">
              <a:extLst>
                <a:ext uri="{FF2B5EF4-FFF2-40B4-BE49-F238E27FC236}">
                  <a16:creationId xmlns:a16="http://schemas.microsoft.com/office/drawing/2014/main" id="{777488D5-C9B0-42ED-94FB-5C76F4BD1A17}"/>
                </a:ext>
              </a:extLst>
            </p:cNvPr>
            <p:cNvGrpSpPr/>
            <p:nvPr/>
          </p:nvGrpSpPr>
          <p:grpSpPr>
            <a:xfrm>
              <a:off x="1718297" y="1274127"/>
              <a:ext cx="222127" cy="223292"/>
              <a:chOff x="1718297" y="1274127"/>
              <a:chExt cx="222127" cy="223292"/>
            </a:xfrm>
            <a:grpFill/>
          </p:grpSpPr>
          <p:sp>
            <p:nvSpPr>
              <p:cNvPr id="34" name="Forma Livre: Forma 33">
                <a:extLst>
                  <a:ext uri="{FF2B5EF4-FFF2-40B4-BE49-F238E27FC236}">
                    <a16:creationId xmlns:a16="http://schemas.microsoft.com/office/drawing/2014/main" id="{81C66C06-FF42-4966-9B8C-32B0A7674C86}"/>
                  </a:ext>
                </a:extLst>
              </p:cNvPr>
              <p:cNvSpPr/>
              <p:nvPr/>
            </p:nvSpPr>
            <p:spPr>
              <a:xfrm>
                <a:off x="1718685" y="1310243"/>
                <a:ext cx="186446" cy="187177"/>
              </a:xfrm>
              <a:custGeom>
                <a:avLst/>
                <a:gdLst>
                  <a:gd name="connsiteX0" fmla="*/ 166984 w 186446"/>
                  <a:gd name="connsiteY0" fmla="*/ 187178 h 187177"/>
                  <a:gd name="connsiteX1" fmla="*/ 20193 w 186446"/>
                  <a:gd name="connsiteY1" fmla="*/ 187178 h 187177"/>
                  <a:gd name="connsiteX2" fmla="*/ 0 w 186446"/>
                  <a:gd name="connsiteY2" fmla="*/ 166984 h 187177"/>
                  <a:gd name="connsiteX3" fmla="*/ 0 w 186446"/>
                  <a:gd name="connsiteY3" fmla="*/ 20193 h 187177"/>
                  <a:gd name="connsiteX4" fmla="*/ 20193 w 186446"/>
                  <a:gd name="connsiteY4" fmla="*/ 0 h 187177"/>
                  <a:gd name="connsiteX5" fmla="*/ 40387 w 186446"/>
                  <a:gd name="connsiteY5" fmla="*/ 20193 h 187177"/>
                  <a:gd name="connsiteX6" fmla="*/ 40387 w 186446"/>
                  <a:gd name="connsiteY6" fmla="*/ 146014 h 187177"/>
                  <a:gd name="connsiteX7" fmla="*/ 166208 w 186446"/>
                  <a:gd name="connsiteY7" fmla="*/ 146014 h 187177"/>
                  <a:gd name="connsiteX8" fmla="*/ 186401 w 186446"/>
                  <a:gd name="connsiteY8" fmla="*/ 166208 h 187177"/>
                  <a:gd name="connsiteX9" fmla="*/ 166984 w 186446"/>
                  <a:gd name="connsiteY9" fmla="*/ 187178 h 187177"/>
                  <a:gd name="connsiteX10" fmla="*/ 166984 w 186446"/>
                  <a:gd name="connsiteY10" fmla="*/ 187178 h 187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6446" h="187177">
                    <a:moveTo>
                      <a:pt x="166984" y="187178"/>
                    </a:moveTo>
                    <a:lnTo>
                      <a:pt x="20193" y="187178"/>
                    </a:lnTo>
                    <a:cubicBezTo>
                      <a:pt x="8543" y="187178"/>
                      <a:pt x="0" y="177858"/>
                      <a:pt x="0" y="166984"/>
                    </a:cubicBezTo>
                    <a:lnTo>
                      <a:pt x="0" y="20193"/>
                    </a:lnTo>
                    <a:cubicBezTo>
                      <a:pt x="0" y="8543"/>
                      <a:pt x="9320" y="0"/>
                      <a:pt x="20193" y="0"/>
                    </a:cubicBezTo>
                    <a:cubicBezTo>
                      <a:pt x="31844" y="0"/>
                      <a:pt x="40387" y="9320"/>
                      <a:pt x="40387" y="20193"/>
                    </a:cubicBezTo>
                    <a:lnTo>
                      <a:pt x="40387" y="146014"/>
                    </a:lnTo>
                    <a:lnTo>
                      <a:pt x="166208" y="146014"/>
                    </a:lnTo>
                    <a:cubicBezTo>
                      <a:pt x="177858" y="146014"/>
                      <a:pt x="186401" y="155334"/>
                      <a:pt x="186401" y="166208"/>
                    </a:cubicBezTo>
                    <a:cubicBezTo>
                      <a:pt x="187178" y="177858"/>
                      <a:pt x="177858" y="187178"/>
                      <a:pt x="166984" y="187178"/>
                    </a:cubicBezTo>
                    <a:lnTo>
                      <a:pt x="166984" y="187178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5" name="Forma Livre: Forma 34">
                <a:extLst>
                  <a:ext uri="{FF2B5EF4-FFF2-40B4-BE49-F238E27FC236}">
                    <a16:creationId xmlns:a16="http://schemas.microsoft.com/office/drawing/2014/main" id="{DB9983B4-0D8A-4466-8624-10EC0DB1985E}"/>
                  </a:ext>
                </a:extLst>
              </p:cNvPr>
              <p:cNvSpPr/>
              <p:nvPr/>
            </p:nvSpPr>
            <p:spPr>
              <a:xfrm>
                <a:off x="1718297" y="1274127"/>
                <a:ext cx="222127" cy="223292"/>
              </a:xfrm>
              <a:custGeom>
                <a:avLst/>
                <a:gdLst>
                  <a:gd name="connsiteX0" fmla="*/ 20582 w 222127"/>
                  <a:gd name="connsiteY0" fmla="*/ 223293 h 223292"/>
                  <a:gd name="connsiteX1" fmla="*/ 5825 w 222127"/>
                  <a:gd name="connsiteY1" fmla="*/ 217079 h 223292"/>
                  <a:gd name="connsiteX2" fmla="*/ 5825 w 222127"/>
                  <a:gd name="connsiteY2" fmla="*/ 188343 h 223292"/>
                  <a:gd name="connsiteX3" fmla="*/ 187566 w 222127"/>
                  <a:gd name="connsiteY3" fmla="*/ 5825 h 223292"/>
                  <a:gd name="connsiteX4" fmla="*/ 216303 w 222127"/>
                  <a:gd name="connsiteY4" fmla="*/ 5825 h 223292"/>
                  <a:gd name="connsiteX5" fmla="*/ 216303 w 222127"/>
                  <a:gd name="connsiteY5" fmla="*/ 34562 h 223292"/>
                  <a:gd name="connsiteX6" fmla="*/ 35338 w 222127"/>
                  <a:gd name="connsiteY6" fmla="*/ 217079 h 223292"/>
                  <a:gd name="connsiteX7" fmla="*/ 20582 w 222127"/>
                  <a:gd name="connsiteY7" fmla="*/ 223293 h 223292"/>
                  <a:gd name="connsiteX8" fmla="*/ 20582 w 222127"/>
                  <a:gd name="connsiteY8" fmla="*/ 223293 h 223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2127" h="223292">
                    <a:moveTo>
                      <a:pt x="20582" y="223293"/>
                    </a:moveTo>
                    <a:cubicBezTo>
                      <a:pt x="15145" y="223293"/>
                      <a:pt x="9708" y="220963"/>
                      <a:pt x="5825" y="217079"/>
                    </a:cubicBezTo>
                    <a:cubicBezTo>
                      <a:pt x="-1942" y="209313"/>
                      <a:pt x="-1942" y="196109"/>
                      <a:pt x="5825" y="188343"/>
                    </a:cubicBezTo>
                    <a:lnTo>
                      <a:pt x="187566" y="5825"/>
                    </a:lnTo>
                    <a:cubicBezTo>
                      <a:pt x="195333" y="-1942"/>
                      <a:pt x="208536" y="-1942"/>
                      <a:pt x="216303" y="5825"/>
                    </a:cubicBezTo>
                    <a:cubicBezTo>
                      <a:pt x="224069" y="13592"/>
                      <a:pt x="224069" y="26795"/>
                      <a:pt x="216303" y="34562"/>
                    </a:cubicBezTo>
                    <a:lnTo>
                      <a:pt x="35338" y="217079"/>
                    </a:lnTo>
                    <a:cubicBezTo>
                      <a:pt x="30678" y="220963"/>
                      <a:pt x="26018" y="223293"/>
                      <a:pt x="20582" y="223293"/>
                    </a:cubicBezTo>
                    <a:lnTo>
                      <a:pt x="20582" y="223293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36" name="Gráfico 2">
              <a:extLst>
                <a:ext uri="{FF2B5EF4-FFF2-40B4-BE49-F238E27FC236}">
                  <a16:creationId xmlns:a16="http://schemas.microsoft.com/office/drawing/2014/main" id="{777488D5-C9B0-42ED-94FB-5C76F4BD1A17}"/>
                </a:ext>
              </a:extLst>
            </p:cNvPr>
            <p:cNvGrpSpPr/>
            <p:nvPr/>
          </p:nvGrpSpPr>
          <p:grpSpPr>
            <a:xfrm>
              <a:off x="1449569" y="1274127"/>
              <a:ext cx="222127" cy="223292"/>
              <a:chOff x="1449569" y="1274127"/>
              <a:chExt cx="222127" cy="223292"/>
            </a:xfrm>
            <a:grpFill/>
          </p:grpSpPr>
          <p:sp>
            <p:nvSpPr>
              <p:cNvPr id="37" name="Forma Livre: Forma 36">
                <a:extLst>
                  <a:ext uri="{FF2B5EF4-FFF2-40B4-BE49-F238E27FC236}">
                    <a16:creationId xmlns:a16="http://schemas.microsoft.com/office/drawing/2014/main" id="{F3F801EB-BA92-45BF-A777-8F9C025B1DD0}"/>
                  </a:ext>
                </a:extLst>
              </p:cNvPr>
              <p:cNvSpPr/>
              <p:nvPr/>
            </p:nvSpPr>
            <p:spPr>
              <a:xfrm>
                <a:off x="1484907" y="1311019"/>
                <a:ext cx="186446" cy="186400"/>
              </a:xfrm>
              <a:custGeom>
                <a:avLst/>
                <a:gdLst>
                  <a:gd name="connsiteX0" fmla="*/ 166984 w 186446"/>
                  <a:gd name="connsiteY0" fmla="*/ 186401 h 186400"/>
                  <a:gd name="connsiteX1" fmla="*/ 20193 w 186446"/>
                  <a:gd name="connsiteY1" fmla="*/ 186401 h 186400"/>
                  <a:gd name="connsiteX2" fmla="*/ 0 w 186446"/>
                  <a:gd name="connsiteY2" fmla="*/ 166207 h 186400"/>
                  <a:gd name="connsiteX3" fmla="*/ 20193 w 186446"/>
                  <a:gd name="connsiteY3" fmla="*/ 146014 h 186400"/>
                  <a:gd name="connsiteX4" fmla="*/ 146014 w 186446"/>
                  <a:gd name="connsiteY4" fmla="*/ 146014 h 186400"/>
                  <a:gd name="connsiteX5" fmla="*/ 146014 w 186446"/>
                  <a:gd name="connsiteY5" fmla="*/ 20193 h 186400"/>
                  <a:gd name="connsiteX6" fmla="*/ 166207 w 186446"/>
                  <a:gd name="connsiteY6" fmla="*/ 0 h 186400"/>
                  <a:gd name="connsiteX7" fmla="*/ 186401 w 186446"/>
                  <a:gd name="connsiteY7" fmla="*/ 20193 h 186400"/>
                  <a:gd name="connsiteX8" fmla="*/ 186401 w 186446"/>
                  <a:gd name="connsiteY8" fmla="*/ 166984 h 186400"/>
                  <a:gd name="connsiteX9" fmla="*/ 166984 w 186446"/>
                  <a:gd name="connsiteY9" fmla="*/ 186401 h 186400"/>
                  <a:gd name="connsiteX10" fmla="*/ 166984 w 186446"/>
                  <a:gd name="connsiteY10" fmla="*/ 186401 h 186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6446" h="186400">
                    <a:moveTo>
                      <a:pt x="166984" y="186401"/>
                    </a:moveTo>
                    <a:lnTo>
                      <a:pt x="20193" y="186401"/>
                    </a:lnTo>
                    <a:cubicBezTo>
                      <a:pt x="8543" y="186401"/>
                      <a:pt x="0" y="177081"/>
                      <a:pt x="0" y="166207"/>
                    </a:cubicBezTo>
                    <a:cubicBezTo>
                      <a:pt x="0" y="154557"/>
                      <a:pt x="9320" y="146014"/>
                      <a:pt x="20193" y="146014"/>
                    </a:cubicBezTo>
                    <a:lnTo>
                      <a:pt x="146014" y="146014"/>
                    </a:lnTo>
                    <a:lnTo>
                      <a:pt x="146014" y="20193"/>
                    </a:lnTo>
                    <a:cubicBezTo>
                      <a:pt x="146014" y="8543"/>
                      <a:pt x="155334" y="0"/>
                      <a:pt x="166207" y="0"/>
                    </a:cubicBezTo>
                    <a:cubicBezTo>
                      <a:pt x="177857" y="0"/>
                      <a:pt x="186401" y="9320"/>
                      <a:pt x="186401" y="20193"/>
                    </a:cubicBezTo>
                    <a:lnTo>
                      <a:pt x="186401" y="166984"/>
                    </a:lnTo>
                    <a:cubicBezTo>
                      <a:pt x="187178" y="177081"/>
                      <a:pt x="177857" y="186401"/>
                      <a:pt x="166984" y="186401"/>
                    </a:cubicBezTo>
                    <a:lnTo>
                      <a:pt x="166984" y="186401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8" name="Forma Livre: Forma 37">
                <a:extLst>
                  <a:ext uri="{FF2B5EF4-FFF2-40B4-BE49-F238E27FC236}">
                    <a16:creationId xmlns:a16="http://schemas.microsoft.com/office/drawing/2014/main" id="{199ECCA4-CF09-427C-9A5B-45F5D8E3935C}"/>
                  </a:ext>
                </a:extLst>
              </p:cNvPr>
              <p:cNvSpPr/>
              <p:nvPr/>
            </p:nvSpPr>
            <p:spPr>
              <a:xfrm>
                <a:off x="1449569" y="1274127"/>
                <a:ext cx="222127" cy="223292"/>
              </a:xfrm>
              <a:custGeom>
                <a:avLst/>
                <a:gdLst>
                  <a:gd name="connsiteX0" fmla="*/ 202323 w 222127"/>
                  <a:gd name="connsiteY0" fmla="*/ 223293 h 223292"/>
                  <a:gd name="connsiteX1" fmla="*/ 187566 w 222127"/>
                  <a:gd name="connsiteY1" fmla="*/ 217079 h 223292"/>
                  <a:gd name="connsiteX2" fmla="*/ 5825 w 222127"/>
                  <a:gd name="connsiteY2" fmla="*/ 34562 h 223292"/>
                  <a:gd name="connsiteX3" fmla="*/ 5825 w 222127"/>
                  <a:gd name="connsiteY3" fmla="*/ 5825 h 223292"/>
                  <a:gd name="connsiteX4" fmla="*/ 34562 w 222127"/>
                  <a:gd name="connsiteY4" fmla="*/ 5825 h 223292"/>
                  <a:gd name="connsiteX5" fmla="*/ 216303 w 222127"/>
                  <a:gd name="connsiteY5" fmla="*/ 188343 h 223292"/>
                  <a:gd name="connsiteX6" fmla="*/ 216303 w 222127"/>
                  <a:gd name="connsiteY6" fmla="*/ 217079 h 223292"/>
                  <a:gd name="connsiteX7" fmla="*/ 202323 w 222127"/>
                  <a:gd name="connsiteY7" fmla="*/ 223293 h 223292"/>
                  <a:gd name="connsiteX8" fmla="*/ 202323 w 222127"/>
                  <a:gd name="connsiteY8" fmla="*/ 223293 h 223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2127" h="223292">
                    <a:moveTo>
                      <a:pt x="202323" y="223293"/>
                    </a:moveTo>
                    <a:cubicBezTo>
                      <a:pt x="196886" y="223293"/>
                      <a:pt x="191449" y="220963"/>
                      <a:pt x="187566" y="217079"/>
                    </a:cubicBezTo>
                    <a:lnTo>
                      <a:pt x="5825" y="34562"/>
                    </a:lnTo>
                    <a:cubicBezTo>
                      <a:pt x="-1942" y="26795"/>
                      <a:pt x="-1942" y="13592"/>
                      <a:pt x="5825" y="5825"/>
                    </a:cubicBezTo>
                    <a:cubicBezTo>
                      <a:pt x="13592" y="-1942"/>
                      <a:pt x="26795" y="-1942"/>
                      <a:pt x="34562" y="5825"/>
                    </a:cubicBezTo>
                    <a:lnTo>
                      <a:pt x="216303" y="188343"/>
                    </a:lnTo>
                    <a:cubicBezTo>
                      <a:pt x="224069" y="196109"/>
                      <a:pt x="224069" y="209313"/>
                      <a:pt x="216303" y="217079"/>
                    </a:cubicBezTo>
                    <a:cubicBezTo>
                      <a:pt x="212419" y="220963"/>
                      <a:pt x="206983" y="223293"/>
                      <a:pt x="202323" y="223293"/>
                    </a:cubicBezTo>
                    <a:lnTo>
                      <a:pt x="202323" y="223293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39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1290428" y="1549628"/>
            <a:ext cx="399523" cy="399523"/>
            <a:chOff x="186702" y="1274904"/>
            <a:chExt cx="491244" cy="491244"/>
          </a:xfrm>
          <a:solidFill>
            <a:srgbClr val="B1B1A1"/>
          </a:solidFill>
        </p:grpSpPr>
        <p:grpSp>
          <p:nvGrpSpPr>
            <p:cNvPr id="40" name="Gráfico 2">
              <a:extLst>
                <a:ext uri="{FF2B5EF4-FFF2-40B4-BE49-F238E27FC236}">
                  <a16:creationId xmlns:a16="http://schemas.microsoft.com/office/drawing/2014/main" id="{777488D5-C9B0-42ED-94FB-5C76F4BD1A17}"/>
                </a:ext>
              </a:extLst>
            </p:cNvPr>
            <p:cNvGrpSpPr/>
            <p:nvPr/>
          </p:nvGrpSpPr>
          <p:grpSpPr>
            <a:xfrm>
              <a:off x="186702" y="1274904"/>
              <a:ext cx="222127" cy="223292"/>
              <a:chOff x="186702" y="1274904"/>
              <a:chExt cx="222127" cy="223292"/>
            </a:xfrm>
            <a:grpFill/>
          </p:grpSpPr>
          <p:sp>
            <p:nvSpPr>
              <p:cNvPr id="41" name="Forma Livre: Forma 40">
                <a:extLst>
                  <a:ext uri="{FF2B5EF4-FFF2-40B4-BE49-F238E27FC236}">
                    <a16:creationId xmlns:a16="http://schemas.microsoft.com/office/drawing/2014/main" id="{B8082796-F659-4A14-9CC0-99C4D8F6D890}"/>
                  </a:ext>
                </a:extLst>
              </p:cNvPr>
              <p:cNvSpPr/>
              <p:nvPr/>
            </p:nvSpPr>
            <p:spPr>
              <a:xfrm>
                <a:off x="187091" y="1275292"/>
                <a:ext cx="187177" cy="187177"/>
              </a:xfrm>
              <a:custGeom>
                <a:avLst/>
                <a:gdLst>
                  <a:gd name="connsiteX0" fmla="*/ 20193 w 187177"/>
                  <a:gd name="connsiteY0" fmla="*/ 187178 h 187177"/>
                  <a:gd name="connsiteX1" fmla="*/ 0 w 187177"/>
                  <a:gd name="connsiteY1" fmla="*/ 166984 h 187177"/>
                  <a:gd name="connsiteX2" fmla="*/ 0 w 187177"/>
                  <a:gd name="connsiteY2" fmla="*/ 20193 h 187177"/>
                  <a:gd name="connsiteX3" fmla="*/ 20193 w 187177"/>
                  <a:gd name="connsiteY3" fmla="*/ 0 h 187177"/>
                  <a:gd name="connsiteX4" fmla="*/ 166984 w 187177"/>
                  <a:gd name="connsiteY4" fmla="*/ 0 h 187177"/>
                  <a:gd name="connsiteX5" fmla="*/ 187178 w 187177"/>
                  <a:gd name="connsiteY5" fmla="*/ 20193 h 187177"/>
                  <a:gd name="connsiteX6" fmla="*/ 166984 w 187177"/>
                  <a:gd name="connsiteY6" fmla="*/ 40387 h 187177"/>
                  <a:gd name="connsiteX7" fmla="*/ 41164 w 187177"/>
                  <a:gd name="connsiteY7" fmla="*/ 40387 h 187177"/>
                  <a:gd name="connsiteX8" fmla="*/ 41164 w 187177"/>
                  <a:gd name="connsiteY8" fmla="*/ 166208 h 187177"/>
                  <a:gd name="connsiteX9" fmla="*/ 20193 w 187177"/>
                  <a:gd name="connsiteY9" fmla="*/ 187178 h 187177"/>
                  <a:gd name="connsiteX10" fmla="*/ 20193 w 187177"/>
                  <a:gd name="connsiteY10" fmla="*/ 187178 h 187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7177" h="187177">
                    <a:moveTo>
                      <a:pt x="20193" y="187178"/>
                    </a:moveTo>
                    <a:cubicBezTo>
                      <a:pt x="8543" y="187178"/>
                      <a:pt x="0" y="177858"/>
                      <a:pt x="0" y="166984"/>
                    </a:cubicBezTo>
                    <a:lnTo>
                      <a:pt x="0" y="20193"/>
                    </a:lnTo>
                    <a:cubicBezTo>
                      <a:pt x="0" y="8543"/>
                      <a:pt x="9320" y="0"/>
                      <a:pt x="20193" y="0"/>
                    </a:cubicBezTo>
                    <a:lnTo>
                      <a:pt x="166984" y="0"/>
                    </a:lnTo>
                    <a:cubicBezTo>
                      <a:pt x="178634" y="0"/>
                      <a:pt x="187178" y="9320"/>
                      <a:pt x="187178" y="20193"/>
                    </a:cubicBezTo>
                    <a:cubicBezTo>
                      <a:pt x="187178" y="31844"/>
                      <a:pt x="177858" y="40387"/>
                      <a:pt x="166984" y="40387"/>
                    </a:cubicBezTo>
                    <a:lnTo>
                      <a:pt x="41164" y="40387"/>
                    </a:lnTo>
                    <a:lnTo>
                      <a:pt x="41164" y="166208"/>
                    </a:lnTo>
                    <a:cubicBezTo>
                      <a:pt x="41164" y="177858"/>
                      <a:pt x="31843" y="187178"/>
                      <a:pt x="20193" y="187178"/>
                    </a:cubicBezTo>
                    <a:lnTo>
                      <a:pt x="20193" y="187178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2" name="Forma Livre: Forma 41">
                <a:extLst>
                  <a:ext uri="{FF2B5EF4-FFF2-40B4-BE49-F238E27FC236}">
                    <a16:creationId xmlns:a16="http://schemas.microsoft.com/office/drawing/2014/main" id="{19EC8160-73B4-404B-95B6-2454DC558AEE}"/>
                  </a:ext>
                </a:extLst>
              </p:cNvPr>
              <p:cNvSpPr/>
              <p:nvPr/>
            </p:nvSpPr>
            <p:spPr>
              <a:xfrm>
                <a:off x="186702" y="1274904"/>
                <a:ext cx="222127" cy="223292"/>
              </a:xfrm>
              <a:custGeom>
                <a:avLst/>
                <a:gdLst>
                  <a:gd name="connsiteX0" fmla="*/ 203099 w 222127"/>
                  <a:gd name="connsiteY0" fmla="*/ 223293 h 223292"/>
                  <a:gd name="connsiteX1" fmla="*/ 188343 w 222127"/>
                  <a:gd name="connsiteY1" fmla="*/ 217079 h 223292"/>
                  <a:gd name="connsiteX2" fmla="*/ 5825 w 222127"/>
                  <a:gd name="connsiteY2" fmla="*/ 34562 h 223292"/>
                  <a:gd name="connsiteX3" fmla="*/ 5825 w 222127"/>
                  <a:gd name="connsiteY3" fmla="*/ 5825 h 223292"/>
                  <a:gd name="connsiteX4" fmla="*/ 34562 w 222127"/>
                  <a:gd name="connsiteY4" fmla="*/ 5825 h 223292"/>
                  <a:gd name="connsiteX5" fmla="*/ 216303 w 222127"/>
                  <a:gd name="connsiteY5" fmla="*/ 188343 h 223292"/>
                  <a:gd name="connsiteX6" fmla="*/ 216303 w 222127"/>
                  <a:gd name="connsiteY6" fmla="*/ 217079 h 223292"/>
                  <a:gd name="connsiteX7" fmla="*/ 203099 w 222127"/>
                  <a:gd name="connsiteY7" fmla="*/ 223293 h 223292"/>
                  <a:gd name="connsiteX8" fmla="*/ 203099 w 222127"/>
                  <a:gd name="connsiteY8" fmla="*/ 223293 h 223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2127" h="223292">
                    <a:moveTo>
                      <a:pt x="203099" y="223293"/>
                    </a:moveTo>
                    <a:cubicBezTo>
                      <a:pt x="197663" y="223293"/>
                      <a:pt x="192226" y="220963"/>
                      <a:pt x="188343" y="217079"/>
                    </a:cubicBezTo>
                    <a:lnTo>
                      <a:pt x="5825" y="34562"/>
                    </a:lnTo>
                    <a:cubicBezTo>
                      <a:pt x="-1942" y="26795"/>
                      <a:pt x="-1942" y="13592"/>
                      <a:pt x="5825" y="5825"/>
                    </a:cubicBezTo>
                    <a:cubicBezTo>
                      <a:pt x="13592" y="-1942"/>
                      <a:pt x="26795" y="-1942"/>
                      <a:pt x="34562" y="5825"/>
                    </a:cubicBezTo>
                    <a:lnTo>
                      <a:pt x="216303" y="188343"/>
                    </a:lnTo>
                    <a:cubicBezTo>
                      <a:pt x="224069" y="196109"/>
                      <a:pt x="224069" y="209313"/>
                      <a:pt x="216303" y="217079"/>
                    </a:cubicBezTo>
                    <a:cubicBezTo>
                      <a:pt x="213196" y="220963"/>
                      <a:pt x="207759" y="223293"/>
                      <a:pt x="203099" y="223293"/>
                    </a:cubicBezTo>
                    <a:lnTo>
                      <a:pt x="203099" y="223293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43" name="Gráfico 2">
              <a:extLst>
                <a:ext uri="{FF2B5EF4-FFF2-40B4-BE49-F238E27FC236}">
                  <a16:creationId xmlns:a16="http://schemas.microsoft.com/office/drawing/2014/main" id="{777488D5-C9B0-42ED-94FB-5C76F4BD1A17}"/>
                </a:ext>
              </a:extLst>
            </p:cNvPr>
            <p:cNvGrpSpPr/>
            <p:nvPr/>
          </p:nvGrpSpPr>
          <p:grpSpPr>
            <a:xfrm>
              <a:off x="455430" y="1274904"/>
              <a:ext cx="222516" cy="223292"/>
              <a:chOff x="455430" y="1274904"/>
              <a:chExt cx="222516" cy="223292"/>
            </a:xfrm>
            <a:grpFill/>
          </p:grpSpPr>
          <p:sp>
            <p:nvSpPr>
              <p:cNvPr id="44" name="Forma Livre: Forma 43">
                <a:extLst>
                  <a:ext uri="{FF2B5EF4-FFF2-40B4-BE49-F238E27FC236}">
                    <a16:creationId xmlns:a16="http://schemas.microsoft.com/office/drawing/2014/main" id="{D6B8547E-B365-48D9-97D8-1E65AFB0F2E6}"/>
                  </a:ext>
                </a:extLst>
              </p:cNvPr>
              <p:cNvSpPr/>
              <p:nvPr/>
            </p:nvSpPr>
            <p:spPr>
              <a:xfrm>
                <a:off x="490769" y="1276069"/>
                <a:ext cx="187177" cy="186400"/>
              </a:xfrm>
              <a:custGeom>
                <a:avLst/>
                <a:gdLst>
                  <a:gd name="connsiteX0" fmla="*/ 166984 w 187177"/>
                  <a:gd name="connsiteY0" fmla="*/ 186401 h 186400"/>
                  <a:gd name="connsiteX1" fmla="*/ 146791 w 187177"/>
                  <a:gd name="connsiteY1" fmla="*/ 166207 h 186400"/>
                  <a:gd name="connsiteX2" fmla="*/ 146791 w 187177"/>
                  <a:gd name="connsiteY2" fmla="*/ 40387 h 186400"/>
                  <a:gd name="connsiteX3" fmla="*/ 20193 w 187177"/>
                  <a:gd name="connsiteY3" fmla="*/ 40387 h 186400"/>
                  <a:gd name="connsiteX4" fmla="*/ 0 w 187177"/>
                  <a:gd name="connsiteY4" fmla="*/ 20193 h 186400"/>
                  <a:gd name="connsiteX5" fmla="*/ 20193 w 187177"/>
                  <a:gd name="connsiteY5" fmla="*/ 0 h 186400"/>
                  <a:gd name="connsiteX6" fmla="*/ 166984 w 187177"/>
                  <a:gd name="connsiteY6" fmla="*/ 0 h 186400"/>
                  <a:gd name="connsiteX7" fmla="*/ 187178 w 187177"/>
                  <a:gd name="connsiteY7" fmla="*/ 20193 h 186400"/>
                  <a:gd name="connsiteX8" fmla="*/ 187178 w 187177"/>
                  <a:gd name="connsiteY8" fmla="*/ 166984 h 186400"/>
                  <a:gd name="connsiteX9" fmla="*/ 166984 w 187177"/>
                  <a:gd name="connsiteY9" fmla="*/ 186401 h 186400"/>
                  <a:gd name="connsiteX10" fmla="*/ 166984 w 187177"/>
                  <a:gd name="connsiteY10" fmla="*/ 186401 h 186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7177" h="186400">
                    <a:moveTo>
                      <a:pt x="166984" y="186401"/>
                    </a:moveTo>
                    <a:cubicBezTo>
                      <a:pt x="155334" y="186401"/>
                      <a:pt x="146791" y="177081"/>
                      <a:pt x="146791" y="166207"/>
                    </a:cubicBezTo>
                    <a:lnTo>
                      <a:pt x="146791" y="40387"/>
                    </a:lnTo>
                    <a:lnTo>
                      <a:pt x="20193" y="40387"/>
                    </a:lnTo>
                    <a:cubicBezTo>
                      <a:pt x="8543" y="40387"/>
                      <a:pt x="0" y="31067"/>
                      <a:pt x="0" y="20193"/>
                    </a:cubicBezTo>
                    <a:cubicBezTo>
                      <a:pt x="0" y="8543"/>
                      <a:pt x="9320" y="0"/>
                      <a:pt x="20193" y="0"/>
                    </a:cubicBezTo>
                    <a:lnTo>
                      <a:pt x="166984" y="0"/>
                    </a:lnTo>
                    <a:cubicBezTo>
                      <a:pt x="178634" y="0"/>
                      <a:pt x="187178" y="9320"/>
                      <a:pt x="187178" y="20193"/>
                    </a:cubicBezTo>
                    <a:lnTo>
                      <a:pt x="187178" y="166984"/>
                    </a:lnTo>
                    <a:cubicBezTo>
                      <a:pt x="187178" y="177081"/>
                      <a:pt x="178634" y="186401"/>
                      <a:pt x="166984" y="186401"/>
                    </a:cubicBezTo>
                    <a:lnTo>
                      <a:pt x="166984" y="186401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5" name="Forma Livre: Forma 44">
                <a:extLst>
                  <a:ext uri="{FF2B5EF4-FFF2-40B4-BE49-F238E27FC236}">
                    <a16:creationId xmlns:a16="http://schemas.microsoft.com/office/drawing/2014/main" id="{78968104-57B2-4B2A-A798-6FFBDAEFB424}"/>
                  </a:ext>
                </a:extLst>
              </p:cNvPr>
              <p:cNvSpPr/>
              <p:nvPr/>
            </p:nvSpPr>
            <p:spPr>
              <a:xfrm>
                <a:off x="455430" y="1274904"/>
                <a:ext cx="222127" cy="223292"/>
              </a:xfrm>
              <a:custGeom>
                <a:avLst/>
                <a:gdLst>
                  <a:gd name="connsiteX0" fmla="*/ 20582 w 222127"/>
                  <a:gd name="connsiteY0" fmla="*/ 223293 h 223292"/>
                  <a:gd name="connsiteX1" fmla="*/ 5825 w 222127"/>
                  <a:gd name="connsiteY1" fmla="*/ 217079 h 223292"/>
                  <a:gd name="connsiteX2" fmla="*/ 5825 w 222127"/>
                  <a:gd name="connsiteY2" fmla="*/ 188343 h 223292"/>
                  <a:gd name="connsiteX3" fmla="*/ 187566 w 222127"/>
                  <a:gd name="connsiteY3" fmla="*/ 5825 h 223292"/>
                  <a:gd name="connsiteX4" fmla="*/ 216303 w 222127"/>
                  <a:gd name="connsiteY4" fmla="*/ 5825 h 223292"/>
                  <a:gd name="connsiteX5" fmla="*/ 216303 w 222127"/>
                  <a:gd name="connsiteY5" fmla="*/ 34562 h 223292"/>
                  <a:gd name="connsiteX6" fmla="*/ 34562 w 222127"/>
                  <a:gd name="connsiteY6" fmla="*/ 217079 h 223292"/>
                  <a:gd name="connsiteX7" fmla="*/ 20582 w 222127"/>
                  <a:gd name="connsiteY7" fmla="*/ 223293 h 223292"/>
                  <a:gd name="connsiteX8" fmla="*/ 20582 w 222127"/>
                  <a:gd name="connsiteY8" fmla="*/ 223293 h 223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2127" h="223292">
                    <a:moveTo>
                      <a:pt x="20582" y="223293"/>
                    </a:moveTo>
                    <a:cubicBezTo>
                      <a:pt x="15145" y="223293"/>
                      <a:pt x="9708" y="220963"/>
                      <a:pt x="5825" y="217079"/>
                    </a:cubicBezTo>
                    <a:cubicBezTo>
                      <a:pt x="-1942" y="209313"/>
                      <a:pt x="-1942" y="196109"/>
                      <a:pt x="5825" y="188343"/>
                    </a:cubicBezTo>
                    <a:lnTo>
                      <a:pt x="187566" y="5825"/>
                    </a:lnTo>
                    <a:cubicBezTo>
                      <a:pt x="195333" y="-1942"/>
                      <a:pt x="208536" y="-1942"/>
                      <a:pt x="216303" y="5825"/>
                    </a:cubicBezTo>
                    <a:cubicBezTo>
                      <a:pt x="224069" y="13592"/>
                      <a:pt x="224069" y="26795"/>
                      <a:pt x="216303" y="34562"/>
                    </a:cubicBezTo>
                    <a:lnTo>
                      <a:pt x="34562" y="217079"/>
                    </a:lnTo>
                    <a:cubicBezTo>
                      <a:pt x="30678" y="220963"/>
                      <a:pt x="25242" y="223293"/>
                      <a:pt x="20582" y="223293"/>
                    </a:cubicBezTo>
                    <a:lnTo>
                      <a:pt x="20582" y="223293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46" name="Gráfico 2">
              <a:extLst>
                <a:ext uri="{FF2B5EF4-FFF2-40B4-BE49-F238E27FC236}">
                  <a16:creationId xmlns:a16="http://schemas.microsoft.com/office/drawing/2014/main" id="{777488D5-C9B0-42ED-94FB-5C76F4BD1A17}"/>
                </a:ext>
              </a:extLst>
            </p:cNvPr>
            <p:cNvGrpSpPr/>
            <p:nvPr/>
          </p:nvGrpSpPr>
          <p:grpSpPr>
            <a:xfrm>
              <a:off x="186702" y="1542855"/>
              <a:ext cx="222127" cy="223292"/>
              <a:chOff x="186702" y="1542855"/>
              <a:chExt cx="222127" cy="223292"/>
            </a:xfrm>
            <a:grpFill/>
          </p:grpSpPr>
          <p:sp>
            <p:nvSpPr>
              <p:cNvPr id="47" name="Forma Livre: Forma 46">
                <a:extLst>
                  <a:ext uri="{FF2B5EF4-FFF2-40B4-BE49-F238E27FC236}">
                    <a16:creationId xmlns:a16="http://schemas.microsoft.com/office/drawing/2014/main" id="{48E5018D-0E7E-4FA8-98C1-64A27FE8D841}"/>
                  </a:ext>
                </a:extLst>
              </p:cNvPr>
              <p:cNvSpPr/>
              <p:nvPr/>
            </p:nvSpPr>
            <p:spPr>
              <a:xfrm>
                <a:off x="187091" y="1578971"/>
                <a:ext cx="186449" cy="187177"/>
              </a:xfrm>
              <a:custGeom>
                <a:avLst/>
                <a:gdLst>
                  <a:gd name="connsiteX0" fmla="*/ 166984 w 186449"/>
                  <a:gd name="connsiteY0" fmla="*/ 187178 h 187177"/>
                  <a:gd name="connsiteX1" fmla="*/ 20193 w 186449"/>
                  <a:gd name="connsiteY1" fmla="*/ 187178 h 187177"/>
                  <a:gd name="connsiteX2" fmla="*/ 0 w 186449"/>
                  <a:gd name="connsiteY2" fmla="*/ 166984 h 187177"/>
                  <a:gd name="connsiteX3" fmla="*/ 0 w 186449"/>
                  <a:gd name="connsiteY3" fmla="*/ 20193 h 187177"/>
                  <a:gd name="connsiteX4" fmla="*/ 20193 w 186449"/>
                  <a:gd name="connsiteY4" fmla="*/ 0 h 187177"/>
                  <a:gd name="connsiteX5" fmla="*/ 40387 w 186449"/>
                  <a:gd name="connsiteY5" fmla="*/ 20193 h 187177"/>
                  <a:gd name="connsiteX6" fmla="*/ 40387 w 186449"/>
                  <a:gd name="connsiteY6" fmla="*/ 146014 h 187177"/>
                  <a:gd name="connsiteX7" fmla="*/ 166207 w 186449"/>
                  <a:gd name="connsiteY7" fmla="*/ 146014 h 187177"/>
                  <a:gd name="connsiteX8" fmla="*/ 186401 w 186449"/>
                  <a:gd name="connsiteY8" fmla="*/ 166207 h 187177"/>
                  <a:gd name="connsiteX9" fmla="*/ 166984 w 186449"/>
                  <a:gd name="connsiteY9" fmla="*/ 187178 h 187177"/>
                  <a:gd name="connsiteX10" fmla="*/ 166984 w 186449"/>
                  <a:gd name="connsiteY10" fmla="*/ 187178 h 187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6449" h="187177">
                    <a:moveTo>
                      <a:pt x="166984" y="187178"/>
                    </a:moveTo>
                    <a:lnTo>
                      <a:pt x="20193" y="187178"/>
                    </a:lnTo>
                    <a:cubicBezTo>
                      <a:pt x="8543" y="187178"/>
                      <a:pt x="0" y="177857"/>
                      <a:pt x="0" y="166984"/>
                    </a:cubicBezTo>
                    <a:lnTo>
                      <a:pt x="0" y="20193"/>
                    </a:lnTo>
                    <a:cubicBezTo>
                      <a:pt x="0" y="8543"/>
                      <a:pt x="9320" y="0"/>
                      <a:pt x="20193" y="0"/>
                    </a:cubicBezTo>
                    <a:cubicBezTo>
                      <a:pt x="31843" y="0"/>
                      <a:pt x="40387" y="9320"/>
                      <a:pt x="40387" y="20193"/>
                    </a:cubicBezTo>
                    <a:lnTo>
                      <a:pt x="40387" y="146014"/>
                    </a:lnTo>
                    <a:lnTo>
                      <a:pt x="166207" y="146014"/>
                    </a:lnTo>
                    <a:cubicBezTo>
                      <a:pt x="177858" y="146014"/>
                      <a:pt x="186401" y="155334"/>
                      <a:pt x="186401" y="166207"/>
                    </a:cubicBezTo>
                    <a:cubicBezTo>
                      <a:pt x="187178" y="177857"/>
                      <a:pt x="178634" y="187178"/>
                      <a:pt x="166984" y="187178"/>
                    </a:cubicBezTo>
                    <a:lnTo>
                      <a:pt x="166984" y="187178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8" name="Forma Livre: Forma 47">
                <a:extLst>
                  <a:ext uri="{FF2B5EF4-FFF2-40B4-BE49-F238E27FC236}">
                    <a16:creationId xmlns:a16="http://schemas.microsoft.com/office/drawing/2014/main" id="{5E5B22A8-5911-4D75-A699-EA72A5441AF1}"/>
                  </a:ext>
                </a:extLst>
              </p:cNvPr>
              <p:cNvSpPr/>
              <p:nvPr/>
            </p:nvSpPr>
            <p:spPr>
              <a:xfrm>
                <a:off x="186702" y="1542855"/>
                <a:ext cx="222127" cy="223292"/>
              </a:xfrm>
              <a:custGeom>
                <a:avLst/>
                <a:gdLst>
                  <a:gd name="connsiteX0" fmla="*/ 20582 w 222127"/>
                  <a:gd name="connsiteY0" fmla="*/ 223293 h 223292"/>
                  <a:gd name="connsiteX1" fmla="*/ 5825 w 222127"/>
                  <a:gd name="connsiteY1" fmla="*/ 217079 h 223292"/>
                  <a:gd name="connsiteX2" fmla="*/ 5825 w 222127"/>
                  <a:gd name="connsiteY2" fmla="*/ 188343 h 223292"/>
                  <a:gd name="connsiteX3" fmla="*/ 187566 w 222127"/>
                  <a:gd name="connsiteY3" fmla="*/ 5825 h 223292"/>
                  <a:gd name="connsiteX4" fmla="*/ 216303 w 222127"/>
                  <a:gd name="connsiteY4" fmla="*/ 5825 h 223292"/>
                  <a:gd name="connsiteX5" fmla="*/ 216303 w 222127"/>
                  <a:gd name="connsiteY5" fmla="*/ 34562 h 223292"/>
                  <a:gd name="connsiteX6" fmla="*/ 34562 w 222127"/>
                  <a:gd name="connsiteY6" fmla="*/ 217079 h 223292"/>
                  <a:gd name="connsiteX7" fmla="*/ 20582 w 222127"/>
                  <a:gd name="connsiteY7" fmla="*/ 223293 h 223292"/>
                  <a:gd name="connsiteX8" fmla="*/ 20582 w 222127"/>
                  <a:gd name="connsiteY8" fmla="*/ 223293 h 223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2127" h="223292">
                    <a:moveTo>
                      <a:pt x="20582" y="223293"/>
                    </a:moveTo>
                    <a:cubicBezTo>
                      <a:pt x="15145" y="223293"/>
                      <a:pt x="9708" y="220963"/>
                      <a:pt x="5825" y="217079"/>
                    </a:cubicBezTo>
                    <a:cubicBezTo>
                      <a:pt x="-1942" y="209313"/>
                      <a:pt x="-1942" y="196109"/>
                      <a:pt x="5825" y="188343"/>
                    </a:cubicBezTo>
                    <a:lnTo>
                      <a:pt x="187566" y="5825"/>
                    </a:lnTo>
                    <a:cubicBezTo>
                      <a:pt x="195333" y="-1942"/>
                      <a:pt x="208536" y="-1942"/>
                      <a:pt x="216303" y="5825"/>
                    </a:cubicBezTo>
                    <a:cubicBezTo>
                      <a:pt x="224069" y="13592"/>
                      <a:pt x="224069" y="26795"/>
                      <a:pt x="216303" y="34562"/>
                    </a:cubicBezTo>
                    <a:lnTo>
                      <a:pt x="34562" y="217079"/>
                    </a:lnTo>
                    <a:cubicBezTo>
                      <a:pt x="31455" y="220963"/>
                      <a:pt x="26018" y="223293"/>
                      <a:pt x="20582" y="223293"/>
                    </a:cubicBezTo>
                    <a:lnTo>
                      <a:pt x="20582" y="223293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49" name="Gráfico 2">
              <a:extLst>
                <a:ext uri="{FF2B5EF4-FFF2-40B4-BE49-F238E27FC236}">
                  <a16:creationId xmlns:a16="http://schemas.microsoft.com/office/drawing/2014/main" id="{777488D5-C9B0-42ED-94FB-5C76F4BD1A17}"/>
                </a:ext>
              </a:extLst>
            </p:cNvPr>
            <p:cNvGrpSpPr/>
            <p:nvPr/>
          </p:nvGrpSpPr>
          <p:grpSpPr>
            <a:xfrm>
              <a:off x="455430" y="1543632"/>
              <a:ext cx="222127" cy="222516"/>
              <a:chOff x="455430" y="1543632"/>
              <a:chExt cx="222127" cy="222516"/>
            </a:xfrm>
            <a:grpFill/>
          </p:grpSpPr>
          <p:sp>
            <p:nvSpPr>
              <p:cNvPr id="50" name="Forma Livre: Forma 49">
                <a:extLst>
                  <a:ext uri="{FF2B5EF4-FFF2-40B4-BE49-F238E27FC236}">
                    <a16:creationId xmlns:a16="http://schemas.microsoft.com/office/drawing/2014/main" id="{CA22C851-0DC7-4DD4-AEB1-F1E126763377}"/>
                  </a:ext>
                </a:extLst>
              </p:cNvPr>
              <p:cNvSpPr/>
              <p:nvPr/>
            </p:nvSpPr>
            <p:spPr>
              <a:xfrm>
                <a:off x="490769" y="1579747"/>
                <a:ext cx="186449" cy="186400"/>
              </a:xfrm>
              <a:custGeom>
                <a:avLst/>
                <a:gdLst>
                  <a:gd name="connsiteX0" fmla="*/ 166984 w 186449"/>
                  <a:gd name="connsiteY0" fmla="*/ 186401 h 186400"/>
                  <a:gd name="connsiteX1" fmla="*/ 20193 w 186449"/>
                  <a:gd name="connsiteY1" fmla="*/ 186401 h 186400"/>
                  <a:gd name="connsiteX2" fmla="*/ 0 w 186449"/>
                  <a:gd name="connsiteY2" fmla="*/ 166208 h 186400"/>
                  <a:gd name="connsiteX3" fmla="*/ 20193 w 186449"/>
                  <a:gd name="connsiteY3" fmla="*/ 146014 h 186400"/>
                  <a:gd name="connsiteX4" fmla="*/ 146014 w 186449"/>
                  <a:gd name="connsiteY4" fmla="*/ 146014 h 186400"/>
                  <a:gd name="connsiteX5" fmla="*/ 146014 w 186449"/>
                  <a:gd name="connsiteY5" fmla="*/ 20193 h 186400"/>
                  <a:gd name="connsiteX6" fmla="*/ 166207 w 186449"/>
                  <a:gd name="connsiteY6" fmla="*/ 0 h 186400"/>
                  <a:gd name="connsiteX7" fmla="*/ 186401 w 186449"/>
                  <a:gd name="connsiteY7" fmla="*/ 20193 h 186400"/>
                  <a:gd name="connsiteX8" fmla="*/ 186401 w 186449"/>
                  <a:gd name="connsiteY8" fmla="*/ 166984 h 186400"/>
                  <a:gd name="connsiteX9" fmla="*/ 166984 w 186449"/>
                  <a:gd name="connsiteY9" fmla="*/ 186401 h 186400"/>
                  <a:gd name="connsiteX10" fmla="*/ 166984 w 186449"/>
                  <a:gd name="connsiteY10" fmla="*/ 186401 h 186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6449" h="186400">
                    <a:moveTo>
                      <a:pt x="166984" y="186401"/>
                    </a:moveTo>
                    <a:lnTo>
                      <a:pt x="20193" y="186401"/>
                    </a:lnTo>
                    <a:cubicBezTo>
                      <a:pt x="8543" y="186401"/>
                      <a:pt x="0" y="177081"/>
                      <a:pt x="0" y="166208"/>
                    </a:cubicBezTo>
                    <a:cubicBezTo>
                      <a:pt x="0" y="154557"/>
                      <a:pt x="9320" y="146014"/>
                      <a:pt x="20193" y="146014"/>
                    </a:cubicBezTo>
                    <a:lnTo>
                      <a:pt x="146014" y="146014"/>
                    </a:lnTo>
                    <a:lnTo>
                      <a:pt x="146014" y="20193"/>
                    </a:lnTo>
                    <a:cubicBezTo>
                      <a:pt x="146014" y="8543"/>
                      <a:pt x="155334" y="0"/>
                      <a:pt x="166207" y="0"/>
                    </a:cubicBezTo>
                    <a:cubicBezTo>
                      <a:pt x="177858" y="0"/>
                      <a:pt x="186401" y="9320"/>
                      <a:pt x="186401" y="20193"/>
                    </a:cubicBezTo>
                    <a:lnTo>
                      <a:pt x="186401" y="166984"/>
                    </a:lnTo>
                    <a:cubicBezTo>
                      <a:pt x="187178" y="177081"/>
                      <a:pt x="178634" y="186401"/>
                      <a:pt x="166984" y="186401"/>
                    </a:cubicBezTo>
                    <a:lnTo>
                      <a:pt x="166984" y="186401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51" name="Forma Livre: Forma 50">
                <a:extLst>
                  <a:ext uri="{FF2B5EF4-FFF2-40B4-BE49-F238E27FC236}">
                    <a16:creationId xmlns:a16="http://schemas.microsoft.com/office/drawing/2014/main" id="{44661525-78B0-49C4-9430-A784788A6DDA}"/>
                  </a:ext>
                </a:extLst>
              </p:cNvPr>
              <p:cNvSpPr/>
              <p:nvPr/>
            </p:nvSpPr>
            <p:spPr>
              <a:xfrm>
                <a:off x="455430" y="1543632"/>
                <a:ext cx="222127" cy="222516"/>
              </a:xfrm>
              <a:custGeom>
                <a:avLst/>
                <a:gdLst>
                  <a:gd name="connsiteX0" fmla="*/ 202323 w 222127"/>
                  <a:gd name="connsiteY0" fmla="*/ 222516 h 222516"/>
                  <a:gd name="connsiteX1" fmla="*/ 187566 w 222127"/>
                  <a:gd name="connsiteY1" fmla="*/ 216303 h 222516"/>
                  <a:gd name="connsiteX2" fmla="*/ 5825 w 222127"/>
                  <a:gd name="connsiteY2" fmla="*/ 34562 h 222516"/>
                  <a:gd name="connsiteX3" fmla="*/ 5825 w 222127"/>
                  <a:gd name="connsiteY3" fmla="*/ 5825 h 222516"/>
                  <a:gd name="connsiteX4" fmla="*/ 34562 w 222127"/>
                  <a:gd name="connsiteY4" fmla="*/ 5825 h 222516"/>
                  <a:gd name="connsiteX5" fmla="*/ 216303 w 222127"/>
                  <a:gd name="connsiteY5" fmla="*/ 188343 h 222516"/>
                  <a:gd name="connsiteX6" fmla="*/ 216303 w 222127"/>
                  <a:gd name="connsiteY6" fmla="*/ 217079 h 222516"/>
                  <a:gd name="connsiteX7" fmla="*/ 202323 w 222127"/>
                  <a:gd name="connsiteY7" fmla="*/ 222516 h 222516"/>
                  <a:gd name="connsiteX8" fmla="*/ 202323 w 222127"/>
                  <a:gd name="connsiteY8" fmla="*/ 222516 h 222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2127" h="222516">
                    <a:moveTo>
                      <a:pt x="202323" y="222516"/>
                    </a:moveTo>
                    <a:cubicBezTo>
                      <a:pt x="196886" y="222516"/>
                      <a:pt x="191449" y="220186"/>
                      <a:pt x="187566" y="216303"/>
                    </a:cubicBezTo>
                    <a:lnTo>
                      <a:pt x="5825" y="34562"/>
                    </a:lnTo>
                    <a:cubicBezTo>
                      <a:pt x="-1942" y="26795"/>
                      <a:pt x="-1942" y="13592"/>
                      <a:pt x="5825" y="5825"/>
                    </a:cubicBezTo>
                    <a:cubicBezTo>
                      <a:pt x="13592" y="-1942"/>
                      <a:pt x="26795" y="-1942"/>
                      <a:pt x="34562" y="5825"/>
                    </a:cubicBezTo>
                    <a:lnTo>
                      <a:pt x="216303" y="188343"/>
                    </a:lnTo>
                    <a:cubicBezTo>
                      <a:pt x="224069" y="196109"/>
                      <a:pt x="224069" y="209313"/>
                      <a:pt x="216303" y="217079"/>
                    </a:cubicBezTo>
                    <a:cubicBezTo>
                      <a:pt x="212419" y="220186"/>
                      <a:pt x="207759" y="222516"/>
                      <a:pt x="202323" y="222516"/>
                    </a:cubicBezTo>
                    <a:lnTo>
                      <a:pt x="202323" y="222516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52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1290112" y="555083"/>
            <a:ext cx="395417" cy="320250"/>
            <a:chOff x="186314" y="52036"/>
            <a:chExt cx="486195" cy="393771"/>
          </a:xfrm>
          <a:solidFill>
            <a:srgbClr val="B1B1A1"/>
          </a:solidFill>
        </p:grpSpPr>
        <p:sp>
          <p:nvSpPr>
            <p:cNvPr id="53" name="Forma Livre: Forma 52">
              <a:extLst>
                <a:ext uri="{FF2B5EF4-FFF2-40B4-BE49-F238E27FC236}">
                  <a16:creationId xmlns:a16="http://schemas.microsoft.com/office/drawing/2014/main" id="{485FD216-B435-45F3-8AF2-A989751E873B}"/>
                </a:ext>
              </a:extLst>
            </p:cNvPr>
            <p:cNvSpPr/>
            <p:nvPr/>
          </p:nvSpPr>
          <p:spPr>
            <a:xfrm>
              <a:off x="186314" y="52036"/>
              <a:ext cx="486195" cy="393771"/>
            </a:xfrm>
            <a:custGeom>
              <a:avLst/>
              <a:gdLst>
                <a:gd name="connsiteX0" fmla="*/ 486196 w 486195"/>
                <a:gd name="connsiteY0" fmla="*/ 393772 h 393771"/>
                <a:gd name="connsiteX1" fmla="*/ 155334 w 486195"/>
                <a:gd name="connsiteY1" fmla="*/ 393772 h 393771"/>
                <a:gd name="connsiteX2" fmla="*/ 0 w 486195"/>
                <a:gd name="connsiteY2" fmla="*/ 196498 h 393771"/>
                <a:gd name="connsiteX3" fmla="*/ 155334 w 486195"/>
                <a:gd name="connsiteY3" fmla="*/ 0 h 393771"/>
                <a:gd name="connsiteX4" fmla="*/ 486196 w 486195"/>
                <a:gd name="connsiteY4" fmla="*/ 0 h 393771"/>
                <a:gd name="connsiteX5" fmla="*/ 486196 w 486195"/>
                <a:gd name="connsiteY5" fmla="*/ 393772 h 393771"/>
                <a:gd name="connsiteX6" fmla="*/ 486196 w 486195"/>
                <a:gd name="connsiteY6" fmla="*/ 393772 h 393771"/>
                <a:gd name="connsiteX7" fmla="*/ 175528 w 486195"/>
                <a:gd name="connsiteY7" fmla="*/ 352608 h 393771"/>
                <a:gd name="connsiteX8" fmla="*/ 445032 w 486195"/>
                <a:gd name="connsiteY8" fmla="*/ 352608 h 393771"/>
                <a:gd name="connsiteX9" fmla="*/ 445032 w 486195"/>
                <a:gd name="connsiteY9" fmla="*/ 41164 h 393771"/>
                <a:gd name="connsiteX10" fmla="*/ 175528 w 486195"/>
                <a:gd name="connsiteY10" fmla="*/ 41164 h 393771"/>
                <a:gd name="connsiteX11" fmla="*/ 52814 w 486195"/>
                <a:gd name="connsiteY11" fmla="*/ 196498 h 393771"/>
                <a:gd name="connsiteX12" fmla="*/ 175528 w 486195"/>
                <a:gd name="connsiteY12" fmla="*/ 352608 h 393771"/>
                <a:gd name="connsiteX13" fmla="*/ 175528 w 486195"/>
                <a:gd name="connsiteY13" fmla="*/ 352608 h 393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86195" h="393771">
                  <a:moveTo>
                    <a:pt x="486196" y="393772"/>
                  </a:moveTo>
                  <a:lnTo>
                    <a:pt x="155334" y="393772"/>
                  </a:lnTo>
                  <a:lnTo>
                    <a:pt x="0" y="196498"/>
                  </a:lnTo>
                  <a:lnTo>
                    <a:pt x="155334" y="0"/>
                  </a:lnTo>
                  <a:lnTo>
                    <a:pt x="486196" y="0"/>
                  </a:lnTo>
                  <a:lnTo>
                    <a:pt x="486196" y="393772"/>
                  </a:lnTo>
                  <a:lnTo>
                    <a:pt x="486196" y="393772"/>
                  </a:lnTo>
                  <a:close/>
                  <a:moveTo>
                    <a:pt x="175528" y="352608"/>
                  </a:moveTo>
                  <a:lnTo>
                    <a:pt x="445032" y="352608"/>
                  </a:lnTo>
                  <a:lnTo>
                    <a:pt x="445032" y="41164"/>
                  </a:lnTo>
                  <a:lnTo>
                    <a:pt x="175528" y="41164"/>
                  </a:lnTo>
                  <a:lnTo>
                    <a:pt x="52814" y="196498"/>
                  </a:lnTo>
                  <a:lnTo>
                    <a:pt x="175528" y="352608"/>
                  </a:lnTo>
                  <a:lnTo>
                    <a:pt x="175528" y="352608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54" name="Gráfico 2">
              <a:extLst>
                <a:ext uri="{FF2B5EF4-FFF2-40B4-BE49-F238E27FC236}">
                  <a16:creationId xmlns:a16="http://schemas.microsoft.com/office/drawing/2014/main" id="{777488D5-C9B0-42ED-94FB-5C76F4BD1A17}"/>
                </a:ext>
              </a:extLst>
            </p:cNvPr>
            <p:cNvGrpSpPr/>
            <p:nvPr/>
          </p:nvGrpSpPr>
          <p:grpSpPr>
            <a:xfrm>
              <a:off x="378346" y="162518"/>
              <a:ext cx="171255" cy="171450"/>
              <a:chOff x="378346" y="162518"/>
              <a:chExt cx="171255" cy="171450"/>
            </a:xfrm>
            <a:grpFill/>
          </p:grpSpPr>
          <p:sp>
            <p:nvSpPr>
              <p:cNvPr id="55" name="Forma Livre: Forma 54">
                <a:extLst>
                  <a:ext uri="{FF2B5EF4-FFF2-40B4-BE49-F238E27FC236}">
                    <a16:creationId xmlns:a16="http://schemas.microsoft.com/office/drawing/2014/main" id="{01AB6DA8-FBFD-4D49-83A7-DF4CC2787E57}"/>
                  </a:ext>
                </a:extLst>
              </p:cNvPr>
              <p:cNvSpPr/>
              <p:nvPr/>
            </p:nvSpPr>
            <p:spPr>
              <a:xfrm>
                <a:off x="378346" y="163294"/>
                <a:ext cx="171255" cy="170673"/>
              </a:xfrm>
              <a:custGeom>
                <a:avLst/>
                <a:gdLst>
                  <a:gd name="connsiteX0" fmla="*/ 160577 w 171255"/>
                  <a:gd name="connsiteY0" fmla="*/ 170673 h 170673"/>
                  <a:gd name="connsiteX1" fmla="*/ 153587 w 171255"/>
                  <a:gd name="connsiteY1" fmla="*/ 167567 h 170673"/>
                  <a:gd name="connsiteX2" fmla="*/ 2913 w 171255"/>
                  <a:gd name="connsiteY2" fmla="*/ 17669 h 170673"/>
                  <a:gd name="connsiteX3" fmla="*/ 2913 w 171255"/>
                  <a:gd name="connsiteY3" fmla="*/ 2913 h 170673"/>
                  <a:gd name="connsiteX4" fmla="*/ 17669 w 171255"/>
                  <a:gd name="connsiteY4" fmla="*/ 2913 h 170673"/>
                  <a:gd name="connsiteX5" fmla="*/ 168343 w 171255"/>
                  <a:gd name="connsiteY5" fmla="*/ 153587 h 170673"/>
                  <a:gd name="connsiteX6" fmla="*/ 168343 w 171255"/>
                  <a:gd name="connsiteY6" fmla="*/ 168343 h 170673"/>
                  <a:gd name="connsiteX7" fmla="*/ 160577 w 171255"/>
                  <a:gd name="connsiteY7" fmla="*/ 170673 h 170673"/>
                  <a:gd name="connsiteX8" fmla="*/ 160577 w 171255"/>
                  <a:gd name="connsiteY8" fmla="*/ 170673 h 170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1255" h="170673">
                    <a:moveTo>
                      <a:pt x="160577" y="170673"/>
                    </a:moveTo>
                    <a:cubicBezTo>
                      <a:pt x="158247" y="170673"/>
                      <a:pt x="155140" y="169897"/>
                      <a:pt x="153587" y="167567"/>
                    </a:cubicBezTo>
                    <a:lnTo>
                      <a:pt x="2913" y="17669"/>
                    </a:lnTo>
                    <a:cubicBezTo>
                      <a:pt x="-971" y="13786"/>
                      <a:pt x="-971" y="6796"/>
                      <a:pt x="2913" y="2913"/>
                    </a:cubicBezTo>
                    <a:cubicBezTo>
                      <a:pt x="6796" y="-971"/>
                      <a:pt x="13786" y="-971"/>
                      <a:pt x="17669" y="2913"/>
                    </a:cubicBezTo>
                    <a:lnTo>
                      <a:pt x="168343" y="153587"/>
                    </a:lnTo>
                    <a:cubicBezTo>
                      <a:pt x="172227" y="157470"/>
                      <a:pt x="172227" y="164460"/>
                      <a:pt x="168343" y="168343"/>
                    </a:cubicBezTo>
                    <a:cubicBezTo>
                      <a:pt x="166013" y="169897"/>
                      <a:pt x="162907" y="170673"/>
                      <a:pt x="160577" y="170673"/>
                    </a:cubicBezTo>
                    <a:lnTo>
                      <a:pt x="160577" y="170673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56" name="Forma Livre: Forma 55">
                <a:extLst>
                  <a:ext uri="{FF2B5EF4-FFF2-40B4-BE49-F238E27FC236}">
                    <a16:creationId xmlns:a16="http://schemas.microsoft.com/office/drawing/2014/main" id="{4AD9FC6E-0372-4C5A-968B-BD0ECF0DBB27}"/>
                  </a:ext>
                </a:extLst>
              </p:cNvPr>
              <p:cNvSpPr/>
              <p:nvPr/>
            </p:nvSpPr>
            <p:spPr>
              <a:xfrm>
                <a:off x="378346" y="162518"/>
                <a:ext cx="171255" cy="171450"/>
              </a:xfrm>
              <a:custGeom>
                <a:avLst/>
                <a:gdLst>
                  <a:gd name="connsiteX0" fmla="*/ 9903 w 171255"/>
                  <a:gd name="connsiteY0" fmla="*/ 171450 h 171450"/>
                  <a:gd name="connsiteX1" fmla="*/ 2913 w 171255"/>
                  <a:gd name="connsiteY1" fmla="*/ 168343 h 171450"/>
                  <a:gd name="connsiteX2" fmla="*/ 2913 w 171255"/>
                  <a:gd name="connsiteY2" fmla="*/ 153587 h 171450"/>
                  <a:gd name="connsiteX3" fmla="*/ 153587 w 171255"/>
                  <a:gd name="connsiteY3" fmla="*/ 2913 h 171450"/>
                  <a:gd name="connsiteX4" fmla="*/ 168343 w 171255"/>
                  <a:gd name="connsiteY4" fmla="*/ 2913 h 171450"/>
                  <a:gd name="connsiteX5" fmla="*/ 168343 w 171255"/>
                  <a:gd name="connsiteY5" fmla="*/ 17669 h 171450"/>
                  <a:gd name="connsiteX6" fmla="*/ 17669 w 171255"/>
                  <a:gd name="connsiteY6" fmla="*/ 168343 h 171450"/>
                  <a:gd name="connsiteX7" fmla="*/ 9903 w 171255"/>
                  <a:gd name="connsiteY7" fmla="*/ 171450 h 171450"/>
                  <a:gd name="connsiteX8" fmla="*/ 9903 w 171255"/>
                  <a:gd name="connsiteY8" fmla="*/ 171450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1255" h="171450">
                    <a:moveTo>
                      <a:pt x="9903" y="171450"/>
                    </a:moveTo>
                    <a:cubicBezTo>
                      <a:pt x="7573" y="171450"/>
                      <a:pt x="4466" y="170673"/>
                      <a:pt x="2913" y="168343"/>
                    </a:cubicBezTo>
                    <a:cubicBezTo>
                      <a:pt x="-971" y="164460"/>
                      <a:pt x="-971" y="157470"/>
                      <a:pt x="2913" y="153587"/>
                    </a:cubicBezTo>
                    <a:lnTo>
                      <a:pt x="153587" y="2913"/>
                    </a:lnTo>
                    <a:cubicBezTo>
                      <a:pt x="157470" y="-971"/>
                      <a:pt x="164460" y="-971"/>
                      <a:pt x="168343" y="2913"/>
                    </a:cubicBezTo>
                    <a:cubicBezTo>
                      <a:pt x="172227" y="6796"/>
                      <a:pt x="172227" y="13786"/>
                      <a:pt x="168343" y="17669"/>
                    </a:cubicBezTo>
                    <a:lnTo>
                      <a:pt x="17669" y="168343"/>
                    </a:lnTo>
                    <a:cubicBezTo>
                      <a:pt x="15339" y="170673"/>
                      <a:pt x="13009" y="171450"/>
                      <a:pt x="9903" y="171450"/>
                    </a:cubicBezTo>
                    <a:lnTo>
                      <a:pt x="9903" y="171450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57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2307713" y="512763"/>
            <a:ext cx="411841" cy="411841"/>
            <a:chOff x="1437530" y="0"/>
            <a:chExt cx="506389" cy="506389"/>
          </a:xfrm>
          <a:solidFill>
            <a:srgbClr val="B1B1A1"/>
          </a:solidFill>
        </p:grpSpPr>
        <p:sp>
          <p:nvSpPr>
            <p:cNvPr id="58" name="Forma Livre: Forma 57">
              <a:extLst>
                <a:ext uri="{FF2B5EF4-FFF2-40B4-BE49-F238E27FC236}">
                  <a16:creationId xmlns:a16="http://schemas.microsoft.com/office/drawing/2014/main" id="{E6F35128-9A3D-4FE8-8FFA-960077F30C75}"/>
                </a:ext>
              </a:extLst>
            </p:cNvPr>
            <p:cNvSpPr/>
            <p:nvPr/>
          </p:nvSpPr>
          <p:spPr>
            <a:xfrm>
              <a:off x="1437530" y="0"/>
              <a:ext cx="506389" cy="506389"/>
            </a:xfrm>
            <a:custGeom>
              <a:avLst/>
              <a:gdLst>
                <a:gd name="connsiteX0" fmla="*/ 270281 w 506389"/>
                <a:gd name="connsiteY0" fmla="*/ 506389 h 506389"/>
                <a:gd name="connsiteX1" fmla="*/ 0 w 506389"/>
                <a:gd name="connsiteY1" fmla="*/ 236108 h 506389"/>
                <a:gd name="connsiteX2" fmla="*/ 236108 w 506389"/>
                <a:gd name="connsiteY2" fmla="*/ 0 h 506389"/>
                <a:gd name="connsiteX3" fmla="*/ 506389 w 506389"/>
                <a:gd name="connsiteY3" fmla="*/ 0 h 506389"/>
                <a:gd name="connsiteX4" fmla="*/ 506389 w 506389"/>
                <a:gd name="connsiteY4" fmla="*/ 270281 h 506389"/>
                <a:gd name="connsiteX5" fmla="*/ 270281 w 506389"/>
                <a:gd name="connsiteY5" fmla="*/ 506389 h 506389"/>
                <a:gd name="connsiteX6" fmla="*/ 270281 w 506389"/>
                <a:gd name="connsiteY6" fmla="*/ 506389 h 506389"/>
                <a:gd name="connsiteX7" fmla="*/ 58250 w 506389"/>
                <a:gd name="connsiteY7" fmla="*/ 236108 h 506389"/>
                <a:gd name="connsiteX8" fmla="*/ 270281 w 506389"/>
                <a:gd name="connsiteY8" fmla="*/ 448139 h 506389"/>
                <a:gd name="connsiteX9" fmla="*/ 465226 w 506389"/>
                <a:gd name="connsiteY9" fmla="*/ 253195 h 506389"/>
                <a:gd name="connsiteX10" fmla="*/ 465226 w 506389"/>
                <a:gd name="connsiteY10" fmla="*/ 41164 h 506389"/>
                <a:gd name="connsiteX11" fmla="*/ 253195 w 506389"/>
                <a:gd name="connsiteY11" fmla="*/ 41164 h 506389"/>
                <a:gd name="connsiteX12" fmla="*/ 58250 w 506389"/>
                <a:gd name="connsiteY12" fmla="*/ 236108 h 506389"/>
                <a:gd name="connsiteX13" fmla="*/ 58250 w 506389"/>
                <a:gd name="connsiteY13" fmla="*/ 236108 h 506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6389" h="506389">
                  <a:moveTo>
                    <a:pt x="270281" y="506389"/>
                  </a:moveTo>
                  <a:lnTo>
                    <a:pt x="0" y="236108"/>
                  </a:lnTo>
                  <a:lnTo>
                    <a:pt x="236108" y="0"/>
                  </a:lnTo>
                  <a:lnTo>
                    <a:pt x="506389" y="0"/>
                  </a:lnTo>
                  <a:lnTo>
                    <a:pt x="506389" y="270281"/>
                  </a:lnTo>
                  <a:lnTo>
                    <a:pt x="270281" y="506389"/>
                  </a:lnTo>
                  <a:lnTo>
                    <a:pt x="270281" y="506389"/>
                  </a:lnTo>
                  <a:close/>
                  <a:moveTo>
                    <a:pt x="58250" y="236108"/>
                  </a:moveTo>
                  <a:lnTo>
                    <a:pt x="270281" y="448139"/>
                  </a:lnTo>
                  <a:lnTo>
                    <a:pt x="465226" y="253195"/>
                  </a:lnTo>
                  <a:lnTo>
                    <a:pt x="465226" y="41164"/>
                  </a:lnTo>
                  <a:lnTo>
                    <a:pt x="253195" y="41164"/>
                  </a:lnTo>
                  <a:lnTo>
                    <a:pt x="58250" y="236108"/>
                  </a:lnTo>
                  <a:lnTo>
                    <a:pt x="58250" y="236108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59" name="Gráfico 2">
              <a:extLst>
                <a:ext uri="{FF2B5EF4-FFF2-40B4-BE49-F238E27FC236}">
                  <a16:creationId xmlns:a16="http://schemas.microsoft.com/office/drawing/2014/main" id="{777488D5-C9B0-42ED-94FB-5C76F4BD1A17}"/>
                </a:ext>
              </a:extLst>
            </p:cNvPr>
            <p:cNvGrpSpPr/>
            <p:nvPr/>
          </p:nvGrpSpPr>
          <p:grpSpPr>
            <a:xfrm>
              <a:off x="1614029" y="138441"/>
              <a:ext cx="191449" cy="191643"/>
              <a:chOff x="1614029" y="138441"/>
              <a:chExt cx="191449" cy="191643"/>
            </a:xfrm>
            <a:grpFill/>
          </p:grpSpPr>
          <p:sp>
            <p:nvSpPr>
              <p:cNvPr id="60" name="Forma Livre: Forma 59">
                <a:extLst>
                  <a:ext uri="{FF2B5EF4-FFF2-40B4-BE49-F238E27FC236}">
                    <a16:creationId xmlns:a16="http://schemas.microsoft.com/office/drawing/2014/main" id="{1EE5E311-705F-4F91-BCF3-104C0CB003E0}"/>
                  </a:ext>
                </a:extLst>
              </p:cNvPr>
              <p:cNvSpPr/>
              <p:nvPr/>
            </p:nvSpPr>
            <p:spPr>
              <a:xfrm>
                <a:off x="1614029" y="138441"/>
                <a:ext cx="138635" cy="138829"/>
              </a:xfrm>
              <a:custGeom>
                <a:avLst/>
                <a:gdLst>
                  <a:gd name="connsiteX0" fmla="*/ 9903 w 138635"/>
                  <a:gd name="connsiteY0" fmla="*/ 138830 h 138829"/>
                  <a:gd name="connsiteX1" fmla="*/ 2913 w 138635"/>
                  <a:gd name="connsiteY1" fmla="*/ 135723 h 138829"/>
                  <a:gd name="connsiteX2" fmla="*/ 2913 w 138635"/>
                  <a:gd name="connsiteY2" fmla="*/ 120966 h 138829"/>
                  <a:gd name="connsiteX3" fmla="*/ 120966 w 138635"/>
                  <a:gd name="connsiteY3" fmla="*/ 2913 h 138829"/>
                  <a:gd name="connsiteX4" fmla="*/ 135723 w 138635"/>
                  <a:gd name="connsiteY4" fmla="*/ 2913 h 138829"/>
                  <a:gd name="connsiteX5" fmla="*/ 135723 w 138635"/>
                  <a:gd name="connsiteY5" fmla="*/ 17669 h 138829"/>
                  <a:gd name="connsiteX6" fmla="*/ 17669 w 138635"/>
                  <a:gd name="connsiteY6" fmla="*/ 135723 h 138829"/>
                  <a:gd name="connsiteX7" fmla="*/ 9903 w 138635"/>
                  <a:gd name="connsiteY7" fmla="*/ 138830 h 138829"/>
                  <a:gd name="connsiteX8" fmla="*/ 9903 w 138635"/>
                  <a:gd name="connsiteY8" fmla="*/ 138830 h 138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8635" h="138829">
                    <a:moveTo>
                      <a:pt x="9903" y="138830"/>
                    </a:moveTo>
                    <a:cubicBezTo>
                      <a:pt x="7572" y="138830"/>
                      <a:pt x="4466" y="138053"/>
                      <a:pt x="2913" y="135723"/>
                    </a:cubicBezTo>
                    <a:cubicBezTo>
                      <a:pt x="-971" y="131840"/>
                      <a:pt x="-971" y="124850"/>
                      <a:pt x="2913" y="120966"/>
                    </a:cubicBezTo>
                    <a:lnTo>
                      <a:pt x="120966" y="2913"/>
                    </a:lnTo>
                    <a:cubicBezTo>
                      <a:pt x="124850" y="-971"/>
                      <a:pt x="131840" y="-971"/>
                      <a:pt x="135723" y="2913"/>
                    </a:cubicBezTo>
                    <a:cubicBezTo>
                      <a:pt x="139606" y="6796"/>
                      <a:pt x="139606" y="13786"/>
                      <a:pt x="135723" y="17669"/>
                    </a:cubicBezTo>
                    <a:lnTo>
                      <a:pt x="17669" y="135723"/>
                    </a:lnTo>
                    <a:cubicBezTo>
                      <a:pt x="14563" y="138053"/>
                      <a:pt x="12233" y="138830"/>
                      <a:pt x="9903" y="138830"/>
                    </a:cubicBezTo>
                    <a:lnTo>
                      <a:pt x="9903" y="138830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61" name="Forma Livre: Forma 60">
                <a:extLst>
                  <a:ext uri="{FF2B5EF4-FFF2-40B4-BE49-F238E27FC236}">
                    <a16:creationId xmlns:a16="http://schemas.microsoft.com/office/drawing/2014/main" id="{C72871C1-BECD-4194-8121-7E2A5D0081C5}"/>
                  </a:ext>
                </a:extLst>
              </p:cNvPr>
              <p:cNvSpPr/>
              <p:nvPr/>
            </p:nvSpPr>
            <p:spPr>
              <a:xfrm>
                <a:off x="1666842" y="191255"/>
                <a:ext cx="138635" cy="138829"/>
              </a:xfrm>
              <a:custGeom>
                <a:avLst/>
                <a:gdLst>
                  <a:gd name="connsiteX0" fmla="*/ 9903 w 138635"/>
                  <a:gd name="connsiteY0" fmla="*/ 138830 h 138829"/>
                  <a:gd name="connsiteX1" fmla="*/ 2913 w 138635"/>
                  <a:gd name="connsiteY1" fmla="*/ 135723 h 138829"/>
                  <a:gd name="connsiteX2" fmla="*/ 2913 w 138635"/>
                  <a:gd name="connsiteY2" fmla="*/ 120966 h 138829"/>
                  <a:gd name="connsiteX3" fmla="*/ 120966 w 138635"/>
                  <a:gd name="connsiteY3" fmla="*/ 2913 h 138829"/>
                  <a:gd name="connsiteX4" fmla="*/ 135723 w 138635"/>
                  <a:gd name="connsiteY4" fmla="*/ 2913 h 138829"/>
                  <a:gd name="connsiteX5" fmla="*/ 135723 w 138635"/>
                  <a:gd name="connsiteY5" fmla="*/ 17669 h 138829"/>
                  <a:gd name="connsiteX6" fmla="*/ 17669 w 138635"/>
                  <a:gd name="connsiteY6" fmla="*/ 135723 h 138829"/>
                  <a:gd name="connsiteX7" fmla="*/ 9903 w 138635"/>
                  <a:gd name="connsiteY7" fmla="*/ 138830 h 138829"/>
                  <a:gd name="connsiteX8" fmla="*/ 9903 w 138635"/>
                  <a:gd name="connsiteY8" fmla="*/ 138830 h 138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8635" h="138829">
                    <a:moveTo>
                      <a:pt x="9903" y="138830"/>
                    </a:moveTo>
                    <a:cubicBezTo>
                      <a:pt x="7572" y="138830"/>
                      <a:pt x="4466" y="138053"/>
                      <a:pt x="2913" y="135723"/>
                    </a:cubicBezTo>
                    <a:cubicBezTo>
                      <a:pt x="-971" y="131840"/>
                      <a:pt x="-971" y="124850"/>
                      <a:pt x="2913" y="120966"/>
                    </a:cubicBezTo>
                    <a:lnTo>
                      <a:pt x="120966" y="2913"/>
                    </a:lnTo>
                    <a:cubicBezTo>
                      <a:pt x="124850" y="-971"/>
                      <a:pt x="131840" y="-971"/>
                      <a:pt x="135723" y="2913"/>
                    </a:cubicBezTo>
                    <a:cubicBezTo>
                      <a:pt x="139606" y="6796"/>
                      <a:pt x="139606" y="13786"/>
                      <a:pt x="135723" y="17669"/>
                    </a:cubicBezTo>
                    <a:lnTo>
                      <a:pt x="17669" y="135723"/>
                    </a:lnTo>
                    <a:cubicBezTo>
                      <a:pt x="15339" y="138053"/>
                      <a:pt x="12233" y="138830"/>
                      <a:pt x="9903" y="138830"/>
                    </a:cubicBezTo>
                    <a:lnTo>
                      <a:pt x="9903" y="138830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62" name="Forma Livre: Forma 61">
              <a:extLst>
                <a:ext uri="{FF2B5EF4-FFF2-40B4-BE49-F238E27FC236}">
                  <a16:creationId xmlns:a16="http://schemas.microsoft.com/office/drawing/2014/main" id="{4E687DB8-B785-47D0-A37C-76BA54B85B55}"/>
                </a:ext>
              </a:extLst>
            </p:cNvPr>
            <p:cNvSpPr/>
            <p:nvPr/>
          </p:nvSpPr>
          <p:spPr>
            <a:xfrm>
              <a:off x="1802954" y="83880"/>
              <a:ext cx="56696" cy="56696"/>
            </a:xfrm>
            <a:custGeom>
              <a:avLst/>
              <a:gdLst>
                <a:gd name="connsiteX0" fmla="*/ 28348 w 56696"/>
                <a:gd name="connsiteY0" fmla="*/ 0 h 56696"/>
                <a:gd name="connsiteX1" fmla="*/ 8155 w 56696"/>
                <a:gd name="connsiteY1" fmla="*/ 8543 h 56696"/>
                <a:gd name="connsiteX2" fmla="*/ 8155 w 56696"/>
                <a:gd name="connsiteY2" fmla="*/ 48154 h 56696"/>
                <a:gd name="connsiteX3" fmla="*/ 28348 w 56696"/>
                <a:gd name="connsiteY3" fmla="*/ 56697 h 56696"/>
                <a:gd name="connsiteX4" fmla="*/ 48542 w 56696"/>
                <a:gd name="connsiteY4" fmla="*/ 48154 h 56696"/>
                <a:gd name="connsiteX5" fmla="*/ 48542 w 56696"/>
                <a:gd name="connsiteY5" fmla="*/ 8543 h 56696"/>
                <a:gd name="connsiteX6" fmla="*/ 28348 w 56696"/>
                <a:gd name="connsiteY6" fmla="*/ 0 h 56696"/>
                <a:gd name="connsiteX7" fmla="*/ 28348 w 56696"/>
                <a:gd name="connsiteY7" fmla="*/ 0 h 56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6696" h="56696">
                  <a:moveTo>
                    <a:pt x="28348" y="0"/>
                  </a:moveTo>
                  <a:cubicBezTo>
                    <a:pt x="21358" y="0"/>
                    <a:pt x="13592" y="3107"/>
                    <a:pt x="8155" y="8543"/>
                  </a:cubicBezTo>
                  <a:cubicBezTo>
                    <a:pt x="-2718" y="19417"/>
                    <a:pt x="-2718" y="37280"/>
                    <a:pt x="8155" y="48154"/>
                  </a:cubicBezTo>
                  <a:cubicBezTo>
                    <a:pt x="13592" y="53590"/>
                    <a:pt x="20582" y="56697"/>
                    <a:pt x="28348" y="56697"/>
                  </a:cubicBezTo>
                  <a:cubicBezTo>
                    <a:pt x="35339" y="56697"/>
                    <a:pt x="43105" y="53590"/>
                    <a:pt x="48542" y="48154"/>
                  </a:cubicBezTo>
                  <a:cubicBezTo>
                    <a:pt x="59415" y="37280"/>
                    <a:pt x="59415" y="19417"/>
                    <a:pt x="48542" y="8543"/>
                  </a:cubicBezTo>
                  <a:cubicBezTo>
                    <a:pt x="43105" y="3107"/>
                    <a:pt x="36115" y="0"/>
                    <a:pt x="28348" y="0"/>
                  </a:cubicBezTo>
                  <a:lnTo>
                    <a:pt x="28348" y="0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63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4351104" y="2605444"/>
            <a:ext cx="420704" cy="364466"/>
            <a:chOff x="3950034" y="2573109"/>
            <a:chExt cx="517287" cy="448138"/>
          </a:xfrm>
          <a:solidFill>
            <a:srgbClr val="B1B1A1"/>
          </a:solidFill>
        </p:grpSpPr>
        <p:sp>
          <p:nvSpPr>
            <p:cNvPr id="64" name="Forma Livre: Forma 63">
              <a:extLst>
                <a:ext uri="{FF2B5EF4-FFF2-40B4-BE49-F238E27FC236}">
                  <a16:creationId xmlns:a16="http://schemas.microsoft.com/office/drawing/2014/main" id="{C4748E2F-8B38-400E-A55E-D6B57D8C7C03}"/>
                </a:ext>
              </a:extLst>
            </p:cNvPr>
            <p:cNvSpPr/>
            <p:nvPr/>
          </p:nvSpPr>
          <p:spPr>
            <a:xfrm>
              <a:off x="3950034" y="2573109"/>
              <a:ext cx="517287" cy="448138"/>
            </a:xfrm>
            <a:custGeom>
              <a:avLst/>
              <a:gdLst>
                <a:gd name="connsiteX0" fmla="*/ 262540 w 517287"/>
                <a:gd name="connsiteY0" fmla="*/ 448139 h 448138"/>
                <a:gd name="connsiteX1" fmla="*/ 251666 w 517287"/>
                <a:gd name="connsiteY1" fmla="*/ 445809 h 448138"/>
                <a:gd name="connsiteX2" fmla="*/ 248560 w 517287"/>
                <a:gd name="connsiteY2" fmla="*/ 444256 h 448138"/>
                <a:gd name="connsiteX3" fmla="*/ 241570 w 517287"/>
                <a:gd name="connsiteY3" fmla="*/ 439596 h 448138"/>
                <a:gd name="connsiteX4" fmla="*/ 162349 w 517287"/>
                <a:gd name="connsiteY4" fmla="*/ 382122 h 448138"/>
                <a:gd name="connsiteX5" fmla="*/ 7015 w 517287"/>
                <a:gd name="connsiteY5" fmla="*/ 211254 h 448138"/>
                <a:gd name="connsiteX6" fmla="*/ 25 w 517287"/>
                <a:gd name="connsiteY6" fmla="*/ 164654 h 448138"/>
                <a:gd name="connsiteX7" fmla="*/ 46626 w 517287"/>
                <a:gd name="connsiteY7" fmla="*/ 45824 h 448138"/>
                <a:gd name="connsiteX8" fmla="*/ 147593 w 517287"/>
                <a:gd name="connsiteY8" fmla="*/ 2330 h 448138"/>
                <a:gd name="connsiteX9" fmla="*/ 147593 w 517287"/>
                <a:gd name="connsiteY9" fmla="*/ 2330 h 448138"/>
                <a:gd name="connsiteX10" fmla="*/ 257103 w 517287"/>
                <a:gd name="connsiteY10" fmla="*/ 49707 h 448138"/>
                <a:gd name="connsiteX11" fmla="*/ 365837 w 517287"/>
                <a:gd name="connsiteY11" fmla="*/ 0 h 448138"/>
                <a:gd name="connsiteX12" fmla="*/ 368944 w 517287"/>
                <a:gd name="connsiteY12" fmla="*/ 0 h 448138"/>
                <a:gd name="connsiteX13" fmla="*/ 517288 w 517287"/>
                <a:gd name="connsiteY13" fmla="*/ 158441 h 448138"/>
                <a:gd name="connsiteX14" fmla="*/ 510298 w 517287"/>
                <a:gd name="connsiteY14" fmla="*/ 207371 h 448138"/>
                <a:gd name="connsiteX15" fmla="*/ 360400 w 517287"/>
                <a:gd name="connsiteY15" fmla="*/ 380569 h 448138"/>
                <a:gd name="connsiteX16" fmla="*/ 274190 w 517287"/>
                <a:gd name="connsiteY16" fmla="*/ 445809 h 448138"/>
                <a:gd name="connsiteX17" fmla="*/ 262540 w 517287"/>
                <a:gd name="connsiteY17" fmla="*/ 448139 h 448138"/>
                <a:gd name="connsiteX18" fmla="*/ 262540 w 517287"/>
                <a:gd name="connsiteY18" fmla="*/ 448139 h 448138"/>
                <a:gd name="connsiteX19" fmla="*/ 149923 w 517287"/>
                <a:gd name="connsiteY19" fmla="*/ 45824 h 448138"/>
                <a:gd name="connsiteX20" fmla="*/ 78469 w 517287"/>
                <a:gd name="connsiteY20" fmla="*/ 76114 h 448138"/>
                <a:gd name="connsiteX21" fmla="*/ 44295 w 517287"/>
                <a:gd name="connsiteY21" fmla="*/ 163101 h 448138"/>
                <a:gd name="connsiteX22" fmla="*/ 49732 w 517287"/>
                <a:gd name="connsiteY22" fmla="*/ 198828 h 448138"/>
                <a:gd name="connsiteX23" fmla="*/ 189533 w 517287"/>
                <a:gd name="connsiteY23" fmla="*/ 346395 h 448138"/>
                <a:gd name="connsiteX24" fmla="*/ 262540 w 517287"/>
                <a:gd name="connsiteY24" fmla="*/ 399209 h 448138"/>
                <a:gd name="connsiteX25" fmla="*/ 332440 w 517287"/>
                <a:gd name="connsiteY25" fmla="*/ 345618 h 448138"/>
                <a:gd name="connsiteX26" fmla="*/ 467581 w 517287"/>
                <a:gd name="connsiteY26" fmla="*/ 195721 h 448138"/>
                <a:gd name="connsiteX27" fmla="*/ 473017 w 517287"/>
                <a:gd name="connsiteY27" fmla="*/ 157664 h 448138"/>
                <a:gd name="connsiteX28" fmla="*/ 368167 w 517287"/>
                <a:gd name="connsiteY28" fmla="*/ 42717 h 448138"/>
                <a:gd name="connsiteX29" fmla="*/ 365837 w 517287"/>
                <a:gd name="connsiteY29" fmla="*/ 42717 h 448138"/>
                <a:gd name="connsiteX30" fmla="*/ 276520 w 517287"/>
                <a:gd name="connsiteY30" fmla="*/ 96307 h 448138"/>
                <a:gd name="connsiteX31" fmla="*/ 257880 w 517287"/>
                <a:gd name="connsiteY31" fmla="*/ 107181 h 448138"/>
                <a:gd name="connsiteX32" fmla="*/ 239240 w 517287"/>
                <a:gd name="connsiteY32" fmla="*/ 96307 h 448138"/>
                <a:gd name="connsiteX33" fmla="*/ 149923 w 517287"/>
                <a:gd name="connsiteY33" fmla="*/ 45824 h 448138"/>
                <a:gd name="connsiteX34" fmla="*/ 149923 w 517287"/>
                <a:gd name="connsiteY34" fmla="*/ 45824 h 448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17287" h="448138">
                  <a:moveTo>
                    <a:pt x="262540" y="448139"/>
                  </a:moveTo>
                  <a:cubicBezTo>
                    <a:pt x="258657" y="448139"/>
                    <a:pt x="255550" y="447362"/>
                    <a:pt x="251666" y="445809"/>
                  </a:cubicBezTo>
                  <a:cubicBezTo>
                    <a:pt x="250890" y="445032"/>
                    <a:pt x="250113" y="445032"/>
                    <a:pt x="248560" y="444256"/>
                  </a:cubicBezTo>
                  <a:lnTo>
                    <a:pt x="241570" y="439596"/>
                  </a:lnTo>
                  <a:cubicBezTo>
                    <a:pt x="225260" y="427945"/>
                    <a:pt x="187203" y="401539"/>
                    <a:pt x="162349" y="382122"/>
                  </a:cubicBezTo>
                  <a:cubicBezTo>
                    <a:pt x="66042" y="306785"/>
                    <a:pt x="16335" y="252418"/>
                    <a:pt x="7015" y="211254"/>
                  </a:cubicBezTo>
                  <a:cubicBezTo>
                    <a:pt x="2355" y="198051"/>
                    <a:pt x="25" y="180964"/>
                    <a:pt x="25" y="164654"/>
                  </a:cubicBezTo>
                  <a:cubicBezTo>
                    <a:pt x="-751" y="119607"/>
                    <a:pt x="16335" y="76891"/>
                    <a:pt x="46626" y="45824"/>
                  </a:cubicBezTo>
                  <a:cubicBezTo>
                    <a:pt x="73809" y="17864"/>
                    <a:pt x="109536" y="2330"/>
                    <a:pt x="147593" y="2330"/>
                  </a:cubicBezTo>
                  <a:lnTo>
                    <a:pt x="147593" y="2330"/>
                  </a:lnTo>
                  <a:cubicBezTo>
                    <a:pt x="190310" y="2330"/>
                    <a:pt x="229143" y="19417"/>
                    <a:pt x="257103" y="49707"/>
                  </a:cubicBezTo>
                  <a:cubicBezTo>
                    <a:pt x="284287" y="18640"/>
                    <a:pt x="323120" y="0"/>
                    <a:pt x="365837" y="0"/>
                  </a:cubicBezTo>
                  <a:lnTo>
                    <a:pt x="368944" y="0"/>
                  </a:lnTo>
                  <a:cubicBezTo>
                    <a:pt x="449717" y="0"/>
                    <a:pt x="516511" y="70677"/>
                    <a:pt x="517288" y="158441"/>
                  </a:cubicBezTo>
                  <a:cubicBezTo>
                    <a:pt x="517288" y="175528"/>
                    <a:pt x="514958" y="191838"/>
                    <a:pt x="510298" y="207371"/>
                  </a:cubicBezTo>
                  <a:cubicBezTo>
                    <a:pt x="502531" y="246981"/>
                    <a:pt x="453601" y="303678"/>
                    <a:pt x="360400" y="380569"/>
                  </a:cubicBezTo>
                  <a:cubicBezTo>
                    <a:pt x="324674" y="410082"/>
                    <a:pt x="295937" y="431829"/>
                    <a:pt x="274190" y="445809"/>
                  </a:cubicBezTo>
                  <a:cubicBezTo>
                    <a:pt x="271083" y="446586"/>
                    <a:pt x="267200" y="448139"/>
                    <a:pt x="262540" y="448139"/>
                  </a:cubicBezTo>
                  <a:lnTo>
                    <a:pt x="262540" y="448139"/>
                  </a:lnTo>
                  <a:close/>
                  <a:moveTo>
                    <a:pt x="149923" y="45824"/>
                  </a:moveTo>
                  <a:cubicBezTo>
                    <a:pt x="122739" y="45824"/>
                    <a:pt x="97886" y="56697"/>
                    <a:pt x="78469" y="76114"/>
                  </a:cubicBezTo>
                  <a:cubicBezTo>
                    <a:pt x="56722" y="98637"/>
                    <a:pt x="44295" y="130481"/>
                    <a:pt x="44295" y="163101"/>
                  </a:cubicBezTo>
                  <a:cubicBezTo>
                    <a:pt x="44295" y="175528"/>
                    <a:pt x="46626" y="187954"/>
                    <a:pt x="49732" y="198828"/>
                  </a:cubicBezTo>
                  <a:cubicBezTo>
                    <a:pt x="54392" y="217468"/>
                    <a:pt x="76916" y="258631"/>
                    <a:pt x="189533" y="346395"/>
                  </a:cubicBezTo>
                  <a:cubicBezTo>
                    <a:pt x="212056" y="363482"/>
                    <a:pt x="244677" y="386782"/>
                    <a:pt x="262540" y="399209"/>
                  </a:cubicBezTo>
                  <a:cubicBezTo>
                    <a:pt x="281180" y="386005"/>
                    <a:pt x="305257" y="368142"/>
                    <a:pt x="332440" y="345618"/>
                  </a:cubicBezTo>
                  <a:cubicBezTo>
                    <a:pt x="441951" y="255525"/>
                    <a:pt x="464474" y="213584"/>
                    <a:pt x="467581" y="195721"/>
                  </a:cubicBezTo>
                  <a:cubicBezTo>
                    <a:pt x="471464" y="182518"/>
                    <a:pt x="473017" y="170091"/>
                    <a:pt x="473017" y="157664"/>
                  </a:cubicBezTo>
                  <a:cubicBezTo>
                    <a:pt x="472241" y="93977"/>
                    <a:pt x="424864" y="42717"/>
                    <a:pt x="368167" y="42717"/>
                  </a:cubicBezTo>
                  <a:cubicBezTo>
                    <a:pt x="368167" y="42717"/>
                    <a:pt x="365837" y="42717"/>
                    <a:pt x="365837" y="42717"/>
                  </a:cubicBezTo>
                  <a:cubicBezTo>
                    <a:pt x="328557" y="43494"/>
                    <a:pt x="295160" y="63687"/>
                    <a:pt x="276520" y="96307"/>
                  </a:cubicBezTo>
                  <a:cubicBezTo>
                    <a:pt x="272637" y="103297"/>
                    <a:pt x="265647" y="107181"/>
                    <a:pt x="257880" y="107181"/>
                  </a:cubicBezTo>
                  <a:cubicBezTo>
                    <a:pt x="250890" y="107181"/>
                    <a:pt x="243123" y="103297"/>
                    <a:pt x="239240" y="96307"/>
                  </a:cubicBezTo>
                  <a:cubicBezTo>
                    <a:pt x="219823" y="65241"/>
                    <a:pt x="186426" y="45824"/>
                    <a:pt x="149923" y="45824"/>
                  </a:cubicBezTo>
                  <a:lnTo>
                    <a:pt x="149923" y="45824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65" name="Forma Livre: Forma 64">
              <a:extLst>
                <a:ext uri="{FF2B5EF4-FFF2-40B4-BE49-F238E27FC236}">
                  <a16:creationId xmlns:a16="http://schemas.microsoft.com/office/drawing/2014/main" id="{42F6C582-BB33-44D1-8158-48777FE26216}"/>
                </a:ext>
              </a:extLst>
            </p:cNvPr>
            <p:cNvSpPr/>
            <p:nvPr/>
          </p:nvSpPr>
          <p:spPr>
            <a:xfrm>
              <a:off x="4305774" y="2649222"/>
              <a:ext cx="84657" cy="121937"/>
            </a:xfrm>
            <a:custGeom>
              <a:avLst/>
              <a:gdLst>
                <a:gd name="connsiteX0" fmla="*/ 69900 w 84657"/>
                <a:gd name="connsiteY0" fmla="*/ 121937 h 121937"/>
                <a:gd name="connsiteX1" fmla="*/ 67570 w 84657"/>
                <a:gd name="connsiteY1" fmla="*/ 121937 h 121937"/>
                <a:gd name="connsiteX2" fmla="*/ 59027 w 84657"/>
                <a:gd name="connsiteY2" fmla="*/ 108734 h 121937"/>
                <a:gd name="connsiteX3" fmla="*/ 60580 w 84657"/>
                <a:gd name="connsiteY3" fmla="*/ 102520 h 121937"/>
                <a:gd name="connsiteX4" fmla="*/ 62910 w 84657"/>
                <a:gd name="connsiteY4" fmla="*/ 82327 h 121937"/>
                <a:gd name="connsiteX5" fmla="*/ 10874 w 84657"/>
                <a:gd name="connsiteY5" fmla="*/ 21747 h 121937"/>
                <a:gd name="connsiteX6" fmla="*/ 0 w 84657"/>
                <a:gd name="connsiteY6" fmla="*/ 10873 h 121937"/>
                <a:gd name="connsiteX7" fmla="*/ 10874 w 84657"/>
                <a:gd name="connsiteY7" fmla="*/ 0 h 121937"/>
                <a:gd name="connsiteX8" fmla="*/ 84657 w 84657"/>
                <a:gd name="connsiteY8" fmla="*/ 82327 h 121937"/>
                <a:gd name="connsiteX9" fmla="*/ 80774 w 84657"/>
                <a:gd name="connsiteY9" fmla="*/ 108734 h 121937"/>
                <a:gd name="connsiteX10" fmla="*/ 79997 w 84657"/>
                <a:gd name="connsiteY10" fmla="*/ 113394 h 121937"/>
                <a:gd name="connsiteX11" fmla="*/ 69900 w 84657"/>
                <a:gd name="connsiteY11" fmla="*/ 121937 h 121937"/>
                <a:gd name="connsiteX12" fmla="*/ 69900 w 84657"/>
                <a:gd name="connsiteY12" fmla="*/ 121937 h 121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4657" h="121937">
                  <a:moveTo>
                    <a:pt x="69900" y="121937"/>
                  </a:moveTo>
                  <a:cubicBezTo>
                    <a:pt x="69124" y="121937"/>
                    <a:pt x="68347" y="121937"/>
                    <a:pt x="67570" y="121937"/>
                  </a:cubicBezTo>
                  <a:cubicBezTo>
                    <a:pt x="61357" y="120384"/>
                    <a:pt x="58250" y="114947"/>
                    <a:pt x="59027" y="108734"/>
                  </a:cubicBezTo>
                  <a:lnTo>
                    <a:pt x="60580" y="102520"/>
                  </a:lnTo>
                  <a:cubicBezTo>
                    <a:pt x="62134" y="96307"/>
                    <a:pt x="63687" y="89317"/>
                    <a:pt x="62910" y="82327"/>
                  </a:cubicBezTo>
                  <a:cubicBezTo>
                    <a:pt x="62134" y="48153"/>
                    <a:pt x="39610" y="21747"/>
                    <a:pt x="10874" y="21747"/>
                  </a:cubicBezTo>
                  <a:cubicBezTo>
                    <a:pt x="4660" y="21747"/>
                    <a:pt x="0" y="17087"/>
                    <a:pt x="0" y="10873"/>
                  </a:cubicBezTo>
                  <a:cubicBezTo>
                    <a:pt x="0" y="4660"/>
                    <a:pt x="4660" y="0"/>
                    <a:pt x="10874" y="0"/>
                  </a:cubicBezTo>
                  <a:cubicBezTo>
                    <a:pt x="51260" y="0"/>
                    <a:pt x="83880" y="36503"/>
                    <a:pt x="84657" y="82327"/>
                  </a:cubicBezTo>
                  <a:cubicBezTo>
                    <a:pt x="84657" y="91647"/>
                    <a:pt x="83880" y="100190"/>
                    <a:pt x="80774" y="108734"/>
                  </a:cubicBezTo>
                  <a:lnTo>
                    <a:pt x="79997" y="113394"/>
                  </a:lnTo>
                  <a:cubicBezTo>
                    <a:pt x="79997" y="118830"/>
                    <a:pt x="75337" y="121937"/>
                    <a:pt x="69900" y="121937"/>
                  </a:cubicBezTo>
                  <a:lnTo>
                    <a:pt x="69900" y="121937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66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6395779" y="2606682"/>
            <a:ext cx="423232" cy="351858"/>
            <a:chOff x="6464115" y="2574631"/>
            <a:chExt cx="520395" cy="432636"/>
          </a:xfrm>
          <a:solidFill>
            <a:srgbClr val="B1B1A1"/>
          </a:solidFill>
        </p:grpSpPr>
        <p:sp>
          <p:nvSpPr>
            <p:cNvPr id="67" name="Forma Livre: Forma 66">
              <a:extLst>
                <a:ext uri="{FF2B5EF4-FFF2-40B4-BE49-F238E27FC236}">
                  <a16:creationId xmlns:a16="http://schemas.microsoft.com/office/drawing/2014/main" id="{61F62A7E-92E3-40B1-91C3-FF05E81F7591}"/>
                </a:ext>
              </a:extLst>
            </p:cNvPr>
            <p:cNvSpPr/>
            <p:nvPr/>
          </p:nvSpPr>
          <p:spPr>
            <a:xfrm>
              <a:off x="6729762" y="2752519"/>
              <a:ext cx="254748" cy="254748"/>
            </a:xfrm>
            <a:custGeom>
              <a:avLst/>
              <a:gdLst>
                <a:gd name="connsiteX0" fmla="*/ 127374 w 254748"/>
                <a:gd name="connsiteY0" fmla="*/ 254748 h 254748"/>
                <a:gd name="connsiteX1" fmla="*/ 0 w 254748"/>
                <a:gd name="connsiteY1" fmla="*/ 127374 h 254748"/>
                <a:gd name="connsiteX2" fmla="*/ 127374 w 254748"/>
                <a:gd name="connsiteY2" fmla="*/ 0 h 254748"/>
                <a:gd name="connsiteX3" fmla="*/ 254748 w 254748"/>
                <a:gd name="connsiteY3" fmla="*/ 127374 h 254748"/>
                <a:gd name="connsiteX4" fmla="*/ 127374 w 254748"/>
                <a:gd name="connsiteY4" fmla="*/ 254748 h 254748"/>
                <a:gd name="connsiteX5" fmla="*/ 127374 w 254748"/>
                <a:gd name="connsiteY5" fmla="*/ 254748 h 254748"/>
                <a:gd name="connsiteX6" fmla="*/ 127374 w 254748"/>
                <a:gd name="connsiteY6" fmla="*/ 19417 h 254748"/>
                <a:gd name="connsiteX7" fmla="*/ 20194 w 254748"/>
                <a:gd name="connsiteY7" fmla="*/ 126597 h 254748"/>
                <a:gd name="connsiteX8" fmla="*/ 127374 w 254748"/>
                <a:gd name="connsiteY8" fmla="*/ 233778 h 254748"/>
                <a:gd name="connsiteX9" fmla="*/ 234555 w 254748"/>
                <a:gd name="connsiteY9" fmla="*/ 126597 h 254748"/>
                <a:gd name="connsiteX10" fmla="*/ 127374 w 254748"/>
                <a:gd name="connsiteY10" fmla="*/ 19417 h 254748"/>
                <a:gd name="connsiteX11" fmla="*/ 127374 w 254748"/>
                <a:gd name="connsiteY11" fmla="*/ 19417 h 254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4748" h="254748">
                  <a:moveTo>
                    <a:pt x="127374" y="254748"/>
                  </a:moveTo>
                  <a:cubicBezTo>
                    <a:pt x="56697" y="254748"/>
                    <a:pt x="0" y="197274"/>
                    <a:pt x="0" y="127374"/>
                  </a:cubicBezTo>
                  <a:cubicBezTo>
                    <a:pt x="0" y="56697"/>
                    <a:pt x="57474" y="0"/>
                    <a:pt x="127374" y="0"/>
                  </a:cubicBezTo>
                  <a:cubicBezTo>
                    <a:pt x="198051" y="0"/>
                    <a:pt x="254748" y="57474"/>
                    <a:pt x="254748" y="127374"/>
                  </a:cubicBezTo>
                  <a:cubicBezTo>
                    <a:pt x="254748" y="197274"/>
                    <a:pt x="197274" y="254748"/>
                    <a:pt x="127374" y="254748"/>
                  </a:cubicBezTo>
                  <a:lnTo>
                    <a:pt x="127374" y="254748"/>
                  </a:lnTo>
                  <a:close/>
                  <a:moveTo>
                    <a:pt x="127374" y="19417"/>
                  </a:moveTo>
                  <a:cubicBezTo>
                    <a:pt x="68347" y="19417"/>
                    <a:pt x="20194" y="67570"/>
                    <a:pt x="20194" y="126597"/>
                  </a:cubicBezTo>
                  <a:cubicBezTo>
                    <a:pt x="20194" y="185624"/>
                    <a:pt x="68347" y="233778"/>
                    <a:pt x="127374" y="233778"/>
                  </a:cubicBezTo>
                  <a:cubicBezTo>
                    <a:pt x="186401" y="233778"/>
                    <a:pt x="234555" y="185624"/>
                    <a:pt x="234555" y="126597"/>
                  </a:cubicBezTo>
                  <a:cubicBezTo>
                    <a:pt x="234555" y="67570"/>
                    <a:pt x="186401" y="19417"/>
                    <a:pt x="127374" y="19417"/>
                  </a:cubicBezTo>
                  <a:lnTo>
                    <a:pt x="127374" y="19417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68" name="Forma Livre: Forma 67">
              <a:extLst>
                <a:ext uri="{FF2B5EF4-FFF2-40B4-BE49-F238E27FC236}">
                  <a16:creationId xmlns:a16="http://schemas.microsoft.com/office/drawing/2014/main" id="{CB3FBCC3-F8F8-45E2-B128-7867024166D7}"/>
                </a:ext>
              </a:extLst>
            </p:cNvPr>
            <p:cNvSpPr/>
            <p:nvPr/>
          </p:nvSpPr>
          <p:spPr>
            <a:xfrm>
              <a:off x="6464115" y="2574631"/>
              <a:ext cx="486998" cy="423316"/>
            </a:xfrm>
            <a:custGeom>
              <a:avLst/>
              <a:gdLst>
                <a:gd name="connsiteX0" fmla="*/ 246231 w 486998"/>
                <a:gd name="connsiteY0" fmla="*/ 423316 h 423316"/>
                <a:gd name="connsiteX1" fmla="*/ 236134 w 486998"/>
                <a:gd name="connsiteY1" fmla="*/ 420986 h 423316"/>
                <a:gd name="connsiteX2" fmla="*/ 233804 w 486998"/>
                <a:gd name="connsiteY2" fmla="*/ 419433 h 423316"/>
                <a:gd name="connsiteX3" fmla="*/ 227591 w 486998"/>
                <a:gd name="connsiteY3" fmla="*/ 414773 h 423316"/>
                <a:gd name="connsiteX4" fmla="*/ 153030 w 486998"/>
                <a:gd name="connsiteY4" fmla="*/ 361183 h 423316"/>
                <a:gd name="connsiteX5" fmla="*/ 7016 w 486998"/>
                <a:gd name="connsiteY5" fmla="*/ 200412 h 423316"/>
                <a:gd name="connsiteX6" fmla="*/ 27 w 486998"/>
                <a:gd name="connsiteY6" fmla="*/ 156142 h 423316"/>
                <a:gd name="connsiteX7" fmla="*/ 43520 w 486998"/>
                <a:gd name="connsiteY7" fmla="*/ 44301 h 423316"/>
                <a:gd name="connsiteX8" fmla="*/ 139050 w 486998"/>
                <a:gd name="connsiteY8" fmla="*/ 3137 h 423316"/>
                <a:gd name="connsiteX9" fmla="*/ 242347 w 486998"/>
                <a:gd name="connsiteY9" fmla="*/ 47408 h 423316"/>
                <a:gd name="connsiteX10" fmla="*/ 344091 w 486998"/>
                <a:gd name="connsiteY10" fmla="*/ 31 h 423316"/>
                <a:gd name="connsiteX11" fmla="*/ 440398 w 486998"/>
                <a:gd name="connsiteY11" fmla="*/ 38088 h 423316"/>
                <a:gd name="connsiteX12" fmla="*/ 486999 w 486998"/>
                <a:gd name="connsiteY12" fmla="*/ 148375 h 423316"/>
                <a:gd name="connsiteX13" fmla="*/ 480785 w 486998"/>
                <a:gd name="connsiteY13" fmla="*/ 194198 h 423316"/>
                <a:gd name="connsiteX14" fmla="*/ 474572 w 486998"/>
                <a:gd name="connsiteY14" fmla="*/ 211285 h 423316"/>
                <a:gd name="connsiteX15" fmla="*/ 437292 w 486998"/>
                <a:gd name="connsiteY15" fmla="*/ 194198 h 423316"/>
                <a:gd name="connsiteX16" fmla="*/ 441175 w 486998"/>
                <a:gd name="connsiteY16" fmla="*/ 184102 h 423316"/>
                <a:gd name="connsiteX17" fmla="*/ 445835 w 486998"/>
                <a:gd name="connsiteY17" fmla="*/ 148375 h 423316"/>
                <a:gd name="connsiteX18" fmla="*/ 411662 w 486998"/>
                <a:gd name="connsiteY18" fmla="*/ 66824 h 423316"/>
                <a:gd name="connsiteX19" fmla="*/ 344868 w 486998"/>
                <a:gd name="connsiteY19" fmla="*/ 39641 h 423316"/>
                <a:gd name="connsiteX20" fmla="*/ 260211 w 486998"/>
                <a:gd name="connsiteY20" fmla="*/ 90125 h 423316"/>
                <a:gd name="connsiteX21" fmla="*/ 242347 w 486998"/>
                <a:gd name="connsiteY21" fmla="*/ 100221 h 423316"/>
                <a:gd name="connsiteX22" fmla="*/ 224484 w 486998"/>
                <a:gd name="connsiteY22" fmla="*/ 90125 h 423316"/>
                <a:gd name="connsiteX23" fmla="*/ 139827 w 486998"/>
                <a:gd name="connsiteY23" fmla="*/ 41194 h 423316"/>
                <a:gd name="connsiteX24" fmla="*/ 139050 w 486998"/>
                <a:gd name="connsiteY24" fmla="*/ 41194 h 423316"/>
                <a:gd name="connsiteX25" fmla="*/ 73033 w 486998"/>
                <a:gd name="connsiteY25" fmla="*/ 69931 h 423316"/>
                <a:gd name="connsiteX26" fmla="*/ 41190 w 486998"/>
                <a:gd name="connsiteY26" fmla="*/ 152258 h 423316"/>
                <a:gd name="connsiteX27" fmla="*/ 46627 w 486998"/>
                <a:gd name="connsiteY27" fmla="*/ 185655 h 423316"/>
                <a:gd name="connsiteX28" fmla="*/ 177884 w 486998"/>
                <a:gd name="connsiteY28" fmla="*/ 324679 h 423316"/>
                <a:gd name="connsiteX29" fmla="*/ 246231 w 486998"/>
                <a:gd name="connsiteY29" fmla="*/ 374386 h 423316"/>
                <a:gd name="connsiteX30" fmla="*/ 281181 w 486998"/>
                <a:gd name="connsiteY30" fmla="*/ 348756 h 423316"/>
                <a:gd name="connsiteX31" fmla="*/ 306811 w 486998"/>
                <a:gd name="connsiteY31" fmla="*/ 381376 h 423316"/>
                <a:gd name="connsiteX32" fmla="*/ 257104 w 486998"/>
                <a:gd name="connsiteY32" fmla="*/ 417103 h 423316"/>
                <a:gd name="connsiteX33" fmla="*/ 246231 w 486998"/>
                <a:gd name="connsiteY33" fmla="*/ 423316 h 423316"/>
                <a:gd name="connsiteX34" fmla="*/ 246231 w 486998"/>
                <a:gd name="connsiteY34" fmla="*/ 423316 h 423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86998" h="423316">
                  <a:moveTo>
                    <a:pt x="246231" y="423316"/>
                  </a:moveTo>
                  <a:cubicBezTo>
                    <a:pt x="243124" y="423316"/>
                    <a:pt x="239241" y="422539"/>
                    <a:pt x="236134" y="420986"/>
                  </a:cubicBezTo>
                  <a:cubicBezTo>
                    <a:pt x="235358" y="420210"/>
                    <a:pt x="234581" y="420210"/>
                    <a:pt x="233804" y="419433"/>
                  </a:cubicBezTo>
                  <a:lnTo>
                    <a:pt x="227591" y="414773"/>
                  </a:lnTo>
                  <a:cubicBezTo>
                    <a:pt x="212058" y="403899"/>
                    <a:pt x="176330" y="379046"/>
                    <a:pt x="153030" y="361183"/>
                  </a:cubicBezTo>
                  <a:cubicBezTo>
                    <a:pt x="62160" y="290505"/>
                    <a:pt x="15560" y="239245"/>
                    <a:pt x="7016" y="200412"/>
                  </a:cubicBezTo>
                  <a:cubicBezTo>
                    <a:pt x="3133" y="187985"/>
                    <a:pt x="27" y="172452"/>
                    <a:pt x="27" y="156142"/>
                  </a:cubicBezTo>
                  <a:cubicBezTo>
                    <a:pt x="-750" y="114201"/>
                    <a:pt x="15560" y="73814"/>
                    <a:pt x="43520" y="44301"/>
                  </a:cubicBezTo>
                  <a:cubicBezTo>
                    <a:pt x="69150" y="17894"/>
                    <a:pt x="103324" y="3914"/>
                    <a:pt x="139050" y="3137"/>
                  </a:cubicBezTo>
                  <a:cubicBezTo>
                    <a:pt x="178661" y="2361"/>
                    <a:pt x="215164" y="18671"/>
                    <a:pt x="242347" y="47408"/>
                  </a:cubicBezTo>
                  <a:cubicBezTo>
                    <a:pt x="267978" y="17894"/>
                    <a:pt x="304481" y="807"/>
                    <a:pt x="344091" y="31"/>
                  </a:cubicBezTo>
                  <a:cubicBezTo>
                    <a:pt x="379818" y="-746"/>
                    <a:pt x="413992" y="13234"/>
                    <a:pt x="440398" y="38088"/>
                  </a:cubicBezTo>
                  <a:cubicBezTo>
                    <a:pt x="469135" y="66048"/>
                    <a:pt x="486222" y="106435"/>
                    <a:pt x="486999" y="148375"/>
                  </a:cubicBezTo>
                  <a:cubicBezTo>
                    <a:pt x="486999" y="163908"/>
                    <a:pt x="484669" y="179442"/>
                    <a:pt x="480785" y="194198"/>
                  </a:cubicBezTo>
                  <a:cubicBezTo>
                    <a:pt x="480009" y="198082"/>
                    <a:pt x="477679" y="204295"/>
                    <a:pt x="474572" y="211285"/>
                  </a:cubicBezTo>
                  <a:lnTo>
                    <a:pt x="437292" y="194198"/>
                  </a:lnTo>
                  <a:cubicBezTo>
                    <a:pt x="438845" y="190315"/>
                    <a:pt x="440398" y="187208"/>
                    <a:pt x="441175" y="184102"/>
                  </a:cubicBezTo>
                  <a:cubicBezTo>
                    <a:pt x="445059" y="171675"/>
                    <a:pt x="446612" y="160025"/>
                    <a:pt x="445835" y="148375"/>
                  </a:cubicBezTo>
                  <a:cubicBezTo>
                    <a:pt x="445059" y="117308"/>
                    <a:pt x="433409" y="87794"/>
                    <a:pt x="411662" y="66824"/>
                  </a:cubicBezTo>
                  <a:cubicBezTo>
                    <a:pt x="393022" y="48961"/>
                    <a:pt x="370498" y="38864"/>
                    <a:pt x="344868" y="39641"/>
                  </a:cubicBezTo>
                  <a:cubicBezTo>
                    <a:pt x="309918" y="40418"/>
                    <a:pt x="278075" y="59058"/>
                    <a:pt x="260211" y="90125"/>
                  </a:cubicBezTo>
                  <a:cubicBezTo>
                    <a:pt x="256328" y="96338"/>
                    <a:pt x="250114" y="100221"/>
                    <a:pt x="242347" y="100221"/>
                  </a:cubicBezTo>
                  <a:cubicBezTo>
                    <a:pt x="234581" y="100998"/>
                    <a:pt x="228367" y="96338"/>
                    <a:pt x="224484" y="90125"/>
                  </a:cubicBezTo>
                  <a:cubicBezTo>
                    <a:pt x="205844" y="59834"/>
                    <a:pt x="174777" y="41194"/>
                    <a:pt x="139827" y="41194"/>
                  </a:cubicBezTo>
                  <a:cubicBezTo>
                    <a:pt x="139050" y="41194"/>
                    <a:pt x="139050" y="41194"/>
                    <a:pt x="139050" y="41194"/>
                  </a:cubicBezTo>
                  <a:cubicBezTo>
                    <a:pt x="114197" y="41194"/>
                    <a:pt x="90897" y="51291"/>
                    <a:pt x="73033" y="69931"/>
                  </a:cubicBezTo>
                  <a:cubicBezTo>
                    <a:pt x="52063" y="90901"/>
                    <a:pt x="41190" y="121191"/>
                    <a:pt x="41190" y="152258"/>
                  </a:cubicBezTo>
                  <a:cubicBezTo>
                    <a:pt x="41190" y="163908"/>
                    <a:pt x="42743" y="175558"/>
                    <a:pt x="46627" y="185655"/>
                  </a:cubicBezTo>
                  <a:cubicBezTo>
                    <a:pt x="50510" y="203518"/>
                    <a:pt x="72257" y="242352"/>
                    <a:pt x="177884" y="324679"/>
                  </a:cubicBezTo>
                  <a:cubicBezTo>
                    <a:pt x="198854" y="340989"/>
                    <a:pt x="229921" y="362736"/>
                    <a:pt x="246231" y="374386"/>
                  </a:cubicBezTo>
                  <a:cubicBezTo>
                    <a:pt x="256328" y="367396"/>
                    <a:pt x="267978" y="358853"/>
                    <a:pt x="281181" y="348756"/>
                  </a:cubicBezTo>
                  <a:lnTo>
                    <a:pt x="306811" y="381376"/>
                  </a:lnTo>
                  <a:cubicBezTo>
                    <a:pt x="286618" y="396909"/>
                    <a:pt x="270308" y="408559"/>
                    <a:pt x="257104" y="417103"/>
                  </a:cubicBezTo>
                  <a:cubicBezTo>
                    <a:pt x="253997" y="422539"/>
                    <a:pt x="250114" y="423316"/>
                    <a:pt x="246231" y="423316"/>
                  </a:cubicBezTo>
                  <a:lnTo>
                    <a:pt x="246231" y="423316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69" name="Forma Livre: Forma 68">
              <a:extLst>
                <a:ext uri="{FF2B5EF4-FFF2-40B4-BE49-F238E27FC236}">
                  <a16:creationId xmlns:a16="http://schemas.microsoft.com/office/drawing/2014/main" id="{9EFA9A0C-0166-4234-9FC3-03C086D51E44}"/>
                </a:ext>
              </a:extLst>
            </p:cNvPr>
            <p:cNvSpPr/>
            <p:nvPr/>
          </p:nvSpPr>
          <p:spPr>
            <a:xfrm>
              <a:off x="6836943" y="2803003"/>
              <a:ext cx="40386" cy="153780"/>
            </a:xfrm>
            <a:custGeom>
              <a:avLst/>
              <a:gdLst>
                <a:gd name="connsiteX0" fmla="*/ 20193 w 40386"/>
                <a:gd name="connsiteY0" fmla="*/ 153781 h 153780"/>
                <a:gd name="connsiteX1" fmla="*/ 0 w 40386"/>
                <a:gd name="connsiteY1" fmla="*/ 133587 h 153780"/>
                <a:gd name="connsiteX2" fmla="*/ 0 w 40386"/>
                <a:gd name="connsiteY2" fmla="*/ 20193 h 153780"/>
                <a:gd name="connsiteX3" fmla="*/ 20193 w 40386"/>
                <a:gd name="connsiteY3" fmla="*/ 0 h 153780"/>
                <a:gd name="connsiteX4" fmla="*/ 40386 w 40386"/>
                <a:gd name="connsiteY4" fmla="*/ 20193 h 153780"/>
                <a:gd name="connsiteX5" fmla="*/ 40386 w 40386"/>
                <a:gd name="connsiteY5" fmla="*/ 132811 h 153780"/>
                <a:gd name="connsiteX6" fmla="*/ 20193 w 40386"/>
                <a:gd name="connsiteY6" fmla="*/ 153781 h 153780"/>
                <a:gd name="connsiteX7" fmla="*/ 20193 w 40386"/>
                <a:gd name="connsiteY7" fmla="*/ 153781 h 15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86" h="153780">
                  <a:moveTo>
                    <a:pt x="20193" y="153781"/>
                  </a:moveTo>
                  <a:cubicBezTo>
                    <a:pt x="8543" y="153781"/>
                    <a:pt x="0" y="144461"/>
                    <a:pt x="0" y="133587"/>
                  </a:cubicBezTo>
                  <a:lnTo>
                    <a:pt x="0" y="20193"/>
                  </a:lnTo>
                  <a:cubicBezTo>
                    <a:pt x="0" y="8543"/>
                    <a:pt x="9320" y="0"/>
                    <a:pt x="20193" y="0"/>
                  </a:cubicBezTo>
                  <a:cubicBezTo>
                    <a:pt x="31843" y="0"/>
                    <a:pt x="40386" y="9320"/>
                    <a:pt x="40386" y="20193"/>
                  </a:cubicBezTo>
                  <a:lnTo>
                    <a:pt x="40386" y="132811"/>
                  </a:lnTo>
                  <a:cubicBezTo>
                    <a:pt x="40386" y="144461"/>
                    <a:pt x="31067" y="153781"/>
                    <a:pt x="20193" y="153781"/>
                  </a:cubicBezTo>
                  <a:lnTo>
                    <a:pt x="20193" y="153781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70" name="Forma Livre: Forma 69">
              <a:extLst>
                <a:ext uri="{FF2B5EF4-FFF2-40B4-BE49-F238E27FC236}">
                  <a16:creationId xmlns:a16="http://schemas.microsoft.com/office/drawing/2014/main" id="{5A6D1F1F-B62D-407A-B8A0-53799B0CEE24}"/>
                </a:ext>
              </a:extLst>
            </p:cNvPr>
            <p:cNvSpPr/>
            <p:nvPr/>
          </p:nvSpPr>
          <p:spPr>
            <a:xfrm>
              <a:off x="6780246" y="2859700"/>
              <a:ext cx="153781" cy="40386"/>
            </a:xfrm>
            <a:custGeom>
              <a:avLst/>
              <a:gdLst>
                <a:gd name="connsiteX0" fmla="*/ 133587 w 153781"/>
                <a:gd name="connsiteY0" fmla="*/ 40387 h 40386"/>
                <a:gd name="connsiteX1" fmla="*/ 20194 w 153781"/>
                <a:gd name="connsiteY1" fmla="*/ 40387 h 40386"/>
                <a:gd name="connsiteX2" fmla="*/ 0 w 153781"/>
                <a:gd name="connsiteY2" fmla="*/ 20193 h 40386"/>
                <a:gd name="connsiteX3" fmla="*/ 20194 w 153781"/>
                <a:gd name="connsiteY3" fmla="*/ 0 h 40386"/>
                <a:gd name="connsiteX4" fmla="*/ 133587 w 153781"/>
                <a:gd name="connsiteY4" fmla="*/ 0 h 40386"/>
                <a:gd name="connsiteX5" fmla="*/ 153781 w 153781"/>
                <a:gd name="connsiteY5" fmla="*/ 20193 h 40386"/>
                <a:gd name="connsiteX6" fmla="*/ 133587 w 153781"/>
                <a:gd name="connsiteY6" fmla="*/ 40387 h 40386"/>
                <a:gd name="connsiteX7" fmla="*/ 133587 w 153781"/>
                <a:gd name="connsiteY7" fmla="*/ 40387 h 4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3781" h="40386">
                  <a:moveTo>
                    <a:pt x="133587" y="40387"/>
                  </a:moveTo>
                  <a:lnTo>
                    <a:pt x="20194" y="40387"/>
                  </a:lnTo>
                  <a:cubicBezTo>
                    <a:pt x="8544" y="40387"/>
                    <a:pt x="0" y="31067"/>
                    <a:pt x="0" y="20193"/>
                  </a:cubicBezTo>
                  <a:cubicBezTo>
                    <a:pt x="0" y="8543"/>
                    <a:pt x="9320" y="0"/>
                    <a:pt x="20194" y="0"/>
                  </a:cubicBezTo>
                  <a:lnTo>
                    <a:pt x="133587" y="0"/>
                  </a:lnTo>
                  <a:cubicBezTo>
                    <a:pt x="145237" y="0"/>
                    <a:pt x="153781" y="9320"/>
                    <a:pt x="153781" y="20193"/>
                  </a:cubicBezTo>
                  <a:cubicBezTo>
                    <a:pt x="153781" y="31067"/>
                    <a:pt x="145237" y="40387"/>
                    <a:pt x="133587" y="40387"/>
                  </a:cubicBezTo>
                  <a:lnTo>
                    <a:pt x="133587" y="40387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71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7422222" y="2606682"/>
            <a:ext cx="422607" cy="351858"/>
            <a:chOff x="7726204" y="2574631"/>
            <a:chExt cx="519627" cy="432636"/>
          </a:xfrm>
          <a:solidFill>
            <a:srgbClr val="B1B1A1"/>
          </a:solidFill>
        </p:grpSpPr>
        <p:sp>
          <p:nvSpPr>
            <p:cNvPr id="72" name="Forma Livre: Forma 71">
              <a:extLst>
                <a:ext uri="{FF2B5EF4-FFF2-40B4-BE49-F238E27FC236}">
                  <a16:creationId xmlns:a16="http://schemas.microsoft.com/office/drawing/2014/main" id="{F083766E-8A6C-4771-B054-5D6951ACFDE8}"/>
                </a:ext>
              </a:extLst>
            </p:cNvPr>
            <p:cNvSpPr/>
            <p:nvPr/>
          </p:nvSpPr>
          <p:spPr>
            <a:xfrm>
              <a:off x="7991075" y="2752519"/>
              <a:ext cx="254756" cy="254748"/>
            </a:xfrm>
            <a:custGeom>
              <a:avLst/>
              <a:gdLst>
                <a:gd name="connsiteX0" fmla="*/ 127374 w 254756"/>
                <a:gd name="connsiteY0" fmla="*/ 254748 h 254748"/>
                <a:gd name="connsiteX1" fmla="*/ 0 w 254756"/>
                <a:gd name="connsiteY1" fmla="*/ 127374 h 254748"/>
                <a:gd name="connsiteX2" fmla="*/ 127374 w 254756"/>
                <a:gd name="connsiteY2" fmla="*/ 0 h 254748"/>
                <a:gd name="connsiteX3" fmla="*/ 254748 w 254756"/>
                <a:gd name="connsiteY3" fmla="*/ 127374 h 254748"/>
                <a:gd name="connsiteX4" fmla="*/ 127374 w 254756"/>
                <a:gd name="connsiteY4" fmla="*/ 254748 h 254748"/>
                <a:gd name="connsiteX5" fmla="*/ 127374 w 254756"/>
                <a:gd name="connsiteY5" fmla="*/ 254748 h 254748"/>
                <a:gd name="connsiteX6" fmla="*/ 127374 w 254756"/>
                <a:gd name="connsiteY6" fmla="*/ 19417 h 254748"/>
                <a:gd name="connsiteX7" fmla="*/ 20193 w 254756"/>
                <a:gd name="connsiteY7" fmla="*/ 126597 h 254748"/>
                <a:gd name="connsiteX8" fmla="*/ 127374 w 254756"/>
                <a:gd name="connsiteY8" fmla="*/ 233778 h 254748"/>
                <a:gd name="connsiteX9" fmla="*/ 234554 w 254756"/>
                <a:gd name="connsiteY9" fmla="*/ 126597 h 254748"/>
                <a:gd name="connsiteX10" fmla="*/ 127374 w 254756"/>
                <a:gd name="connsiteY10" fmla="*/ 19417 h 254748"/>
                <a:gd name="connsiteX11" fmla="*/ 127374 w 254756"/>
                <a:gd name="connsiteY11" fmla="*/ 19417 h 254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4756" h="254748">
                  <a:moveTo>
                    <a:pt x="127374" y="254748"/>
                  </a:moveTo>
                  <a:cubicBezTo>
                    <a:pt x="56697" y="254748"/>
                    <a:pt x="0" y="197274"/>
                    <a:pt x="0" y="127374"/>
                  </a:cubicBezTo>
                  <a:cubicBezTo>
                    <a:pt x="0" y="56697"/>
                    <a:pt x="57474" y="0"/>
                    <a:pt x="127374" y="0"/>
                  </a:cubicBezTo>
                  <a:cubicBezTo>
                    <a:pt x="197274" y="0"/>
                    <a:pt x="254748" y="57474"/>
                    <a:pt x="254748" y="127374"/>
                  </a:cubicBezTo>
                  <a:cubicBezTo>
                    <a:pt x="255525" y="197274"/>
                    <a:pt x="198051" y="254748"/>
                    <a:pt x="127374" y="254748"/>
                  </a:cubicBezTo>
                  <a:lnTo>
                    <a:pt x="127374" y="254748"/>
                  </a:lnTo>
                  <a:close/>
                  <a:moveTo>
                    <a:pt x="127374" y="19417"/>
                  </a:moveTo>
                  <a:cubicBezTo>
                    <a:pt x="68347" y="19417"/>
                    <a:pt x="20193" y="67570"/>
                    <a:pt x="20193" y="126597"/>
                  </a:cubicBezTo>
                  <a:cubicBezTo>
                    <a:pt x="20193" y="185624"/>
                    <a:pt x="68347" y="233778"/>
                    <a:pt x="127374" y="233778"/>
                  </a:cubicBezTo>
                  <a:cubicBezTo>
                    <a:pt x="186401" y="233778"/>
                    <a:pt x="234554" y="185624"/>
                    <a:pt x="234554" y="126597"/>
                  </a:cubicBezTo>
                  <a:cubicBezTo>
                    <a:pt x="234554" y="67570"/>
                    <a:pt x="186401" y="19417"/>
                    <a:pt x="127374" y="19417"/>
                  </a:cubicBezTo>
                  <a:lnTo>
                    <a:pt x="127374" y="19417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73" name="Forma Livre: Forma 72">
              <a:extLst>
                <a:ext uri="{FF2B5EF4-FFF2-40B4-BE49-F238E27FC236}">
                  <a16:creationId xmlns:a16="http://schemas.microsoft.com/office/drawing/2014/main" id="{827D311E-F8A8-4F51-9435-3F2522682F13}"/>
                </a:ext>
              </a:extLst>
            </p:cNvPr>
            <p:cNvSpPr/>
            <p:nvPr/>
          </p:nvSpPr>
          <p:spPr>
            <a:xfrm>
              <a:off x="7726204" y="2574631"/>
              <a:ext cx="486222" cy="423316"/>
            </a:xfrm>
            <a:custGeom>
              <a:avLst/>
              <a:gdLst>
                <a:gd name="connsiteX0" fmla="*/ 246231 w 486222"/>
                <a:gd name="connsiteY0" fmla="*/ 423316 h 423316"/>
                <a:gd name="connsiteX1" fmla="*/ 236134 w 486222"/>
                <a:gd name="connsiteY1" fmla="*/ 420986 h 423316"/>
                <a:gd name="connsiteX2" fmla="*/ 233804 w 486222"/>
                <a:gd name="connsiteY2" fmla="*/ 419433 h 423316"/>
                <a:gd name="connsiteX3" fmla="*/ 227591 w 486222"/>
                <a:gd name="connsiteY3" fmla="*/ 414773 h 423316"/>
                <a:gd name="connsiteX4" fmla="*/ 153030 w 486222"/>
                <a:gd name="connsiteY4" fmla="*/ 361183 h 423316"/>
                <a:gd name="connsiteX5" fmla="*/ 7016 w 486222"/>
                <a:gd name="connsiteY5" fmla="*/ 200412 h 423316"/>
                <a:gd name="connsiteX6" fmla="*/ 27 w 486222"/>
                <a:gd name="connsiteY6" fmla="*/ 156142 h 423316"/>
                <a:gd name="connsiteX7" fmla="*/ 43520 w 486222"/>
                <a:gd name="connsiteY7" fmla="*/ 44301 h 423316"/>
                <a:gd name="connsiteX8" fmla="*/ 138274 w 486222"/>
                <a:gd name="connsiteY8" fmla="*/ 3137 h 423316"/>
                <a:gd name="connsiteX9" fmla="*/ 241571 w 486222"/>
                <a:gd name="connsiteY9" fmla="*/ 47408 h 423316"/>
                <a:gd name="connsiteX10" fmla="*/ 343315 w 486222"/>
                <a:gd name="connsiteY10" fmla="*/ 31 h 423316"/>
                <a:gd name="connsiteX11" fmla="*/ 439622 w 486222"/>
                <a:gd name="connsiteY11" fmla="*/ 38088 h 423316"/>
                <a:gd name="connsiteX12" fmla="*/ 486222 w 486222"/>
                <a:gd name="connsiteY12" fmla="*/ 148375 h 423316"/>
                <a:gd name="connsiteX13" fmla="*/ 480008 w 486222"/>
                <a:gd name="connsiteY13" fmla="*/ 194198 h 423316"/>
                <a:gd name="connsiteX14" fmla="*/ 473796 w 486222"/>
                <a:gd name="connsiteY14" fmla="*/ 211285 h 423316"/>
                <a:gd name="connsiteX15" fmla="*/ 436515 w 486222"/>
                <a:gd name="connsiteY15" fmla="*/ 194198 h 423316"/>
                <a:gd name="connsiteX16" fmla="*/ 440398 w 486222"/>
                <a:gd name="connsiteY16" fmla="*/ 184102 h 423316"/>
                <a:gd name="connsiteX17" fmla="*/ 445058 w 486222"/>
                <a:gd name="connsiteY17" fmla="*/ 148375 h 423316"/>
                <a:gd name="connsiteX18" fmla="*/ 410885 w 486222"/>
                <a:gd name="connsiteY18" fmla="*/ 66824 h 423316"/>
                <a:gd name="connsiteX19" fmla="*/ 344091 w 486222"/>
                <a:gd name="connsiteY19" fmla="*/ 39641 h 423316"/>
                <a:gd name="connsiteX20" fmla="*/ 259434 w 486222"/>
                <a:gd name="connsiteY20" fmla="*/ 90125 h 423316"/>
                <a:gd name="connsiteX21" fmla="*/ 241571 w 486222"/>
                <a:gd name="connsiteY21" fmla="*/ 100221 h 423316"/>
                <a:gd name="connsiteX22" fmla="*/ 241571 w 486222"/>
                <a:gd name="connsiteY22" fmla="*/ 100221 h 423316"/>
                <a:gd name="connsiteX23" fmla="*/ 223708 w 486222"/>
                <a:gd name="connsiteY23" fmla="*/ 90125 h 423316"/>
                <a:gd name="connsiteX24" fmla="*/ 139050 w 486222"/>
                <a:gd name="connsiteY24" fmla="*/ 41194 h 423316"/>
                <a:gd name="connsiteX25" fmla="*/ 138274 w 486222"/>
                <a:gd name="connsiteY25" fmla="*/ 41194 h 423316"/>
                <a:gd name="connsiteX26" fmla="*/ 72257 w 486222"/>
                <a:gd name="connsiteY26" fmla="*/ 69931 h 423316"/>
                <a:gd name="connsiteX27" fmla="*/ 40413 w 486222"/>
                <a:gd name="connsiteY27" fmla="*/ 152258 h 423316"/>
                <a:gd name="connsiteX28" fmla="*/ 45850 w 486222"/>
                <a:gd name="connsiteY28" fmla="*/ 185655 h 423316"/>
                <a:gd name="connsiteX29" fmla="*/ 177107 w 486222"/>
                <a:gd name="connsiteY29" fmla="*/ 324679 h 423316"/>
                <a:gd name="connsiteX30" fmla="*/ 245454 w 486222"/>
                <a:gd name="connsiteY30" fmla="*/ 374386 h 423316"/>
                <a:gd name="connsiteX31" fmla="*/ 280404 w 486222"/>
                <a:gd name="connsiteY31" fmla="*/ 348756 h 423316"/>
                <a:gd name="connsiteX32" fmla="*/ 306034 w 486222"/>
                <a:gd name="connsiteY32" fmla="*/ 381376 h 423316"/>
                <a:gd name="connsiteX33" fmla="*/ 256328 w 486222"/>
                <a:gd name="connsiteY33" fmla="*/ 417103 h 423316"/>
                <a:gd name="connsiteX34" fmla="*/ 246231 w 486222"/>
                <a:gd name="connsiteY34" fmla="*/ 423316 h 423316"/>
                <a:gd name="connsiteX35" fmla="*/ 246231 w 486222"/>
                <a:gd name="connsiteY35" fmla="*/ 423316 h 423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486222" h="423316">
                  <a:moveTo>
                    <a:pt x="246231" y="423316"/>
                  </a:moveTo>
                  <a:cubicBezTo>
                    <a:pt x="243124" y="423316"/>
                    <a:pt x="239241" y="422539"/>
                    <a:pt x="236134" y="420986"/>
                  </a:cubicBezTo>
                  <a:cubicBezTo>
                    <a:pt x="235358" y="420210"/>
                    <a:pt x="234581" y="420210"/>
                    <a:pt x="233804" y="419433"/>
                  </a:cubicBezTo>
                  <a:lnTo>
                    <a:pt x="227591" y="414773"/>
                  </a:lnTo>
                  <a:cubicBezTo>
                    <a:pt x="212058" y="403899"/>
                    <a:pt x="176330" y="379046"/>
                    <a:pt x="153030" y="361183"/>
                  </a:cubicBezTo>
                  <a:cubicBezTo>
                    <a:pt x="62160" y="290505"/>
                    <a:pt x="15560" y="239245"/>
                    <a:pt x="7016" y="200412"/>
                  </a:cubicBezTo>
                  <a:cubicBezTo>
                    <a:pt x="3133" y="187985"/>
                    <a:pt x="27" y="172452"/>
                    <a:pt x="27" y="156142"/>
                  </a:cubicBezTo>
                  <a:cubicBezTo>
                    <a:pt x="-750" y="114201"/>
                    <a:pt x="15560" y="73814"/>
                    <a:pt x="43520" y="44301"/>
                  </a:cubicBezTo>
                  <a:cubicBezTo>
                    <a:pt x="69150" y="17894"/>
                    <a:pt x="103324" y="3914"/>
                    <a:pt x="138274" y="3137"/>
                  </a:cubicBezTo>
                  <a:cubicBezTo>
                    <a:pt x="178661" y="2361"/>
                    <a:pt x="214387" y="18671"/>
                    <a:pt x="241571" y="47408"/>
                  </a:cubicBezTo>
                  <a:cubicBezTo>
                    <a:pt x="267201" y="17894"/>
                    <a:pt x="303705" y="807"/>
                    <a:pt x="343315" y="31"/>
                  </a:cubicBezTo>
                  <a:cubicBezTo>
                    <a:pt x="379819" y="-746"/>
                    <a:pt x="413215" y="13234"/>
                    <a:pt x="439622" y="38088"/>
                  </a:cubicBezTo>
                  <a:cubicBezTo>
                    <a:pt x="468358" y="66048"/>
                    <a:pt x="485446" y="106435"/>
                    <a:pt x="486222" y="148375"/>
                  </a:cubicBezTo>
                  <a:cubicBezTo>
                    <a:pt x="486222" y="163908"/>
                    <a:pt x="484669" y="179442"/>
                    <a:pt x="480008" y="194198"/>
                  </a:cubicBezTo>
                  <a:cubicBezTo>
                    <a:pt x="479232" y="198082"/>
                    <a:pt x="476902" y="204295"/>
                    <a:pt x="473796" y="211285"/>
                  </a:cubicBezTo>
                  <a:lnTo>
                    <a:pt x="436515" y="194198"/>
                  </a:lnTo>
                  <a:cubicBezTo>
                    <a:pt x="438069" y="190315"/>
                    <a:pt x="439622" y="187208"/>
                    <a:pt x="440398" y="184102"/>
                  </a:cubicBezTo>
                  <a:cubicBezTo>
                    <a:pt x="444282" y="171675"/>
                    <a:pt x="445836" y="160025"/>
                    <a:pt x="445058" y="148375"/>
                  </a:cubicBezTo>
                  <a:cubicBezTo>
                    <a:pt x="444282" y="117308"/>
                    <a:pt x="432632" y="87794"/>
                    <a:pt x="410885" y="66824"/>
                  </a:cubicBezTo>
                  <a:cubicBezTo>
                    <a:pt x="392245" y="48961"/>
                    <a:pt x="368945" y="38864"/>
                    <a:pt x="344091" y="39641"/>
                  </a:cubicBezTo>
                  <a:cubicBezTo>
                    <a:pt x="309141" y="40418"/>
                    <a:pt x="277298" y="59058"/>
                    <a:pt x="259434" y="90125"/>
                  </a:cubicBezTo>
                  <a:cubicBezTo>
                    <a:pt x="255551" y="96338"/>
                    <a:pt x="249338" y="100221"/>
                    <a:pt x="241571" y="100221"/>
                  </a:cubicBezTo>
                  <a:cubicBezTo>
                    <a:pt x="241571" y="100221"/>
                    <a:pt x="241571" y="100221"/>
                    <a:pt x="241571" y="100221"/>
                  </a:cubicBezTo>
                  <a:cubicBezTo>
                    <a:pt x="234581" y="100221"/>
                    <a:pt x="227591" y="96338"/>
                    <a:pt x="223708" y="90125"/>
                  </a:cubicBezTo>
                  <a:cubicBezTo>
                    <a:pt x="205067" y="59834"/>
                    <a:pt x="174000" y="41194"/>
                    <a:pt x="139050" y="41194"/>
                  </a:cubicBezTo>
                  <a:cubicBezTo>
                    <a:pt x="139050" y="41194"/>
                    <a:pt x="138274" y="41194"/>
                    <a:pt x="138274" y="41194"/>
                  </a:cubicBezTo>
                  <a:cubicBezTo>
                    <a:pt x="113420" y="41194"/>
                    <a:pt x="90120" y="51291"/>
                    <a:pt x="72257" y="69931"/>
                  </a:cubicBezTo>
                  <a:cubicBezTo>
                    <a:pt x="51287" y="90901"/>
                    <a:pt x="40413" y="121191"/>
                    <a:pt x="40413" y="152258"/>
                  </a:cubicBezTo>
                  <a:cubicBezTo>
                    <a:pt x="40413" y="163908"/>
                    <a:pt x="42743" y="175558"/>
                    <a:pt x="45850" y="185655"/>
                  </a:cubicBezTo>
                  <a:cubicBezTo>
                    <a:pt x="49733" y="203518"/>
                    <a:pt x="71480" y="242352"/>
                    <a:pt x="177107" y="324679"/>
                  </a:cubicBezTo>
                  <a:cubicBezTo>
                    <a:pt x="198078" y="340989"/>
                    <a:pt x="229144" y="362736"/>
                    <a:pt x="245454" y="374386"/>
                  </a:cubicBezTo>
                  <a:cubicBezTo>
                    <a:pt x="255551" y="367396"/>
                    <a:pt x="267201" y="358853"/>
                    <a:pt x="280404" y="348756"/>
                  </a:cubicBezTo>
                  <a:lnTo>
                    <a:pt x="306034" y="381376"/>
                  </a:lnTo>
                  <a:cubicBezTo>
                    <a:pt x="285841" y="396909"/>
                    <a:pt x="269531" y="408559"/>
                    <a:pt x="256328" y="417103"/>
                  </a:cubicBezTo>
                  <a:cubicBezTo>
                    <a:pt x="253997" y="422539"/>
                    <a:pt x="250114" y="423316"/>
                    <a:pt x="246231" y="423316"/>
                  </a:cubicBezTo>
                  <a:lnTo>
                    <a:pt x="246231" y="423316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74" name="Forma Livre: Forma 73">
              <a:extLst>
                <a:ext uri="{FF2B5EF4-FFF2-40B4-BE49-F238E27FC236}">
                  <a16:creationId xmlns:a16="http://schemas.microsoft.com/office/drawing/2014/main" id="{6CFD2799-3D20-4EC0-A165-0E3E1152DCD7}"/>
                </a:ext>
              </a:extLst>
            </p:cNvPr>
            <p:cNvSpPr/>
            <p:nvPr/>
          </p:nvSpPr>
          <p:spPr>
            <a:xfrm>
              <a:off x="8041559" y="2859700"/>
              <a:ext cx="153826" cy="40386"/>
            </a:xfrm>
            <a:custGeom>
              <a:avLst/>
              <a:gdLst>
                <a:gd name="connsiteX0" fmla="*/ 133587 w 153826"/>
                <a:gd name="connsiteY0" fmla="*/ 40387 h 40386"/>
                <a:gd name="connsiteX1" fmla="*/ 20193 w 153826"/>
                <a:gd name="connsiteY1" fmla="*/ 40387 h 40386"/>
                <a:gd name="connsiteX2" fmla="*/ 0 w 153826"/>
                <a:gd name="connsiteY2" fmla="*/ 20193 h 40386"/>
                <a:gd name="connsiteX3" fmla="*/ 20193 w 153826"/>
                <a:gd name="connsiteY3" fmla="*/ 0 h 40386"/>
                <a:gd name="connsiteX4" fmla="*/ 133587 w 153826"/>
                <a:gd name="connsiteY4" fmla="*/ 0 h 40386"/>
                <a:gd name="connsiteX5" fmla="*/ 153781 w 153826"/>
                <a:gd name="connsiteY5" fmla="*/ 20193 h 40386"/>
                <a:gd name="connsiteX6" fmla="*/ 133587 w 153826"/>
                <a:gd name="connsiteY6" fmla="*/ 40387 h 40386"/>
                <a:gd name="connsiteX7" fmla="*/ 133587 w 153826"/>
                <a:gd name="connsiteY7" fmla="*/ 40387 h 4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3826" h="40386">
                  <a:moveTo>
                    <a:pt x="133587" y="40387"/>
                  </a:moveTo>
                  <a:lnTo>
                    <a:pt x="20193" y="40387"/>
                  </a:lnTo>
                  <a:cubicBezTo>
                    <a:pt x="8543" y="40387"/>
                    <a:pt x="0" y="31067"/>
                    <a:pt x="0" y="20193"/>
                  </a:cubicBezTo>
                  <a:cubicBezTo>
                    <a:pt x="0" y="8543"/>
                    <a:pt x="9320" y="0"/>
                    <a:pt x="20193" y="0"/>
                  </a:cubicBezTo>
                  <a:lnTo>
                    <a:pt x="133587" y="0"/>
                  </a:lnTo>
                  <a:cubicBezTo>
                    <a:pt x="145237" y="0"/>
                    <a:pt x="153781" y="9320"/>
                    <a:pt x="153781" y="20193"/>
                  </a:cubicBezTo>
                  <a:cubicBezTo>
                    <a:pt x="154558" y="31067"/>
                    <a:pt x="145237" y="40387"/>
                    <a:pt x="133587" y="40387"/>
                  </a:cubicBezTo>
                  <a:lnTo>
                    <a:pt x="133587" y="40387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75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8448666" y="2606682"/>
            <a:ext cx="422607" cy="351858"/>
            <a:chOff x="8988294" y="2574631"/>
            <a:chExt cx="519627" cy="432636"/>
          </a:xfrm>
          <a:solidFill>
            <a:srgbClr val="B1B1A1"/>
          </a:solidFill>
        </p:grpSpPr>
        <p:sp>
          <p:nvSpPr>
            <p:cNvPr id="76" name="Forma Livre: Forma 75">
              <a:extLst>
                <a:ext uri="{FF2B5EF4-FFF2-40B4-BE49-F238E27FC236}">
                  <a16:creationId xmlns:a16="http://schemas.microsoft.com/office/drawing/2014/main" id="{65C3B555-13DC-45BC-AB0E-68CFC98A6005}"/>
                </a:ext>
              </a:extLst>
            </p:cNvPr>
            <p:cNvSpPr/>
            <p:nvPr/>
          </p:nvSpPr>
          <p:spPr>
            <a:xfrm>
              <a:off x="9253165" y="2752519"/>
              <a:ext cx="254756" cy="254748"/>
            </a:xfrm>
            <a:custGeom>
              <a:avLst/>
              <a:gdLst>
                <a:gd name="connsiteX0" fmla="*/ 127374 w 254756"/>
                <a:gd name="connsiteY0" fmla="*/ 254748 h 254748"/>
                <a:gd name="connsiteX1" fmla="*/ 0 w 254756"/>
                <a:gd name="connsiteY1" fmla="*/ 127374 h 254748"/>
                <a:gd name="connsiteX2" fmla="*/ 127374 w 254756"/>
                <a:gd name="connsiteY2" fmla="*/ 0 h 254748"/>
                <a:gd name="connsiteX3" fmla="*/ 254748 w 254756"/>
                <a:gd name="connsiteY3" fmla="*/ 127374 h 254748"/>
                <a:gd name="connsiteX4" fmla="*/ 127374 w 254756"/>
                <a:gd name="connsiteY4" fmla="*/ 254748 h 254748"/>
                <a:gd name="connsiteX5" fmla="*/ 127374 w 254756"/>
                <a:gd name="connsiteY5" fmla="*/ 254748 h 254748"/>
                <a:gd name="connsiteX6" fmla="*/ 127374 w 254756"/>
                <a:gd name="connsiteY6" fmla="*/ 19417 h 254748"/>
                <a:gd name="connsiteX7" fmla="*/ 20193 w 254756"/>
                <a:gd name="connsiteY7" fmla="*/ 126597 h 254748"/>
                <a:gd name="connsiteX8" fmla="*/ 127374 w 254756"/>
                <a:gd name="connsiteY8" fmla="*/ 233778 h 254748"/>
                <a:gd name="connsiteX9" fmla="*/ 234554 w 254756"/>
                <a:gd name="connsiteY9" fmla="*/ 126597 h 254748"/>
                <a:gd name="connsiteX10" fmla="*/ 127374 w 254756"/>
                <a:gd name="connsiteY10" fmla="*/ 19417 h 254748"/>
                <a:gd name="connsiteX11" fmla="*/ 127374 w 254756"/>
                <a:gd name="connsiteY11" fmla="*/ 19417 h 254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4756" h="254748">
                  <a:moveTo>
                    <a:pt x="127374" y="254748"/>
                  </a:moveTo>
                  <a:cubicBezTo>
                    <a:pt x="56697" y="254748"/>
                    <a:pt x="0" y="197274"/>
                    <a:pt x="0" y="127374"/>
                  </a:cubicBezTo>
                  <a:cubicBezTo>
                    <a:pt x="0" y="56697"/>
                    <a:pt x="57474" y="0"/>
                    <a:pt x="127374" y="0"/>
                  </a:cubicBezTo>
                  <a:cubicBezTo>
                    <a:pt x="198051" y="0"/>
                    <a:pt x="254748" y="57474"/>
                    <a:pt x="254748" y="127374"/>
                  </a:cubicBezTo>
                  <a:cubicBezTo>
                    <a:pt x="255525" y="197274"/>
                    <a:pt x="198051" y="254748"/>
                    <a:pt x="127374" y="254748"/>
                  </a:cubicBezTo>
                  <a:lnTo>
                    <a:pt x="127374" y="254748"/>
                  </a:lnTo>
                  <a:close/>
                  <a:moveTo>
                    <a:pt x="127374" y="19417"/>
                  </a:moveTo>
                  <a:cubicBezTo>
                    <a:pt x="68347" y="19417"/>
                    <a:pt x="20193" y="67570"/>
                    <a:pt x="20193" y="126597"/>
                  </a:cubicBezTo>
                  <a:cubicBezTo>
                    <a:pt x="20193" y="185624"/>
                    <a:pt x="68347" y="233778"/>
                    <a:pt x="127374" y="233778"/>
                  </a:cubicBezTo>
                  <a:cubicBezTo>
                    <a:pt x="186401" y="233778"/>
                    <a:pt x="234554" y="185624"/>
                    <a:pt x="234554" y="126597"/>
                  </a:cubicBezTo>
                  <a:cubicBezTo>
                    <a:pt x="234554" y="67570"/>
                    <a:pt x="186401" y="19417"/>
                    <a:pt x="127374" y="19417"/>
                  </a:cubicBezTo>
                  <a:lnTo>
                    <a:pt x="127374" y="19417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77" name="Forma Livre: Forma 76">
              <a:extLst>
                <a:ext uri="{FF2B5EF4-FFF2-40B4-BE49-F238E27FC236}">
                  <a16:creationId xmlns:a16="http://schemas.microsoft.com/office/drawing/2014/main" id="{FD2294C2-2F17-4279-AA68-5BE12057CF8C}"/>
                </a:ext>
              </a:extLst>
            </p:cNvPr>
            <p:cNvSpPr/>
            <p:nvPr/>
          </p:nvSpPr>
          <p:spPr>
            <a:xfrm>
              <a:off x="8988294" y="2574631"/>
              <a:ext cx="486998" cy="423316"/>
            </a:xfrm>
            <a:custGeom>
              <a:avLst/>
              <a:gdLst>
                <a:gd name="connsiteX0" fmla="*/ 246231 w 486998"/>
                <a:gd name="connsiteY0" fmla="*/ 423316 h 423316"/>
                <a:gd name="connsiteX1" fmla="*/ 236135 w 486998"/>
                <a:gd name="connsiteY1" fmla="*/ 420986 h 423316"/>
                <a:gd name="connsiteX2" fmla="*/ 233804 w 486998"/>
                <a:gd name="connsiteY2" fmla="*/ 419433 h 423316"/>
                <a:gd name="connsiteX3" fmla="*/ 227590 w 486998"/>
                <a:gd name="connsiteY3" fmla="*/ 414773 h 423316"/>
                <a:gd name="connsiteX4" fmla="*/ 153030 w 486998"/>
                <a:gd name="connsiteY4" fmla="*/ 361183 h 423316"/>
                <a:gd name="connsiteX5" fmla="*/ 7017 w 486998"/>
                <a:gd name="connsiteY5" fmla="*/ 200412 h 423316"/>
                <a:gd name="connsiteX6" fmla="*/ 27 w 486998"/>
                <a:gd name="connsiteY6" fmla="*/ 156142 h 423316"/>
                <a:gd name="connsiteX7" fmla="*/ 43520 w 486998"/>
                <a:gd name="connsiteY7" fmla="*/ 44301 h 423316"/>
                <a:gd name="connsiteX8" fmla="*/ 139051 w 486998"/>
                <a:gd name="connsiteY8" fmla="*/ 3137 h 423316"/>
                <a:gd name="connsiteX9" fmla="*/ 242347 w 486998"/>
                <a:gd name="connsiteY9" fmla="*/ 47408 h 423316"/>
                <a:gd name="connsiteX10" fmla="*/ 344091 w 486998"/>
                <a:gd name="connsiteY10" fmla="*/ 31 h 423316"/>
                <a:gd name="connsiteX11" fmla="*/ 440398 w 486998"/>
                <a:gd name="connsiteY11" fmla="*/ 38088 h 423316"/>
                <a:gd name="connsiteX12" fmla="*/ 486999 w 486998"/>
                <a:gd name="connsiteY12" fmla="*/ 148375 h 423316"/>
                <a:gd name="connsiteX13" fmla="*/ 480786 w 486998"/>
                <a:gd name="connsiteY13" fmla="*/ 194198 h 423316"/>
                <a:gd name="connsiteX14" fmla="*/ 474572 w 486998"/>
                <a:gd name="connsiteY14" fmla="*/ 211285 h 423316"/>
                <a:gd name="connsiteX15" fmla="*/ 437291 w 486998"/>
                <a:gd name="connsiteY15" fmla="*/ 194198 h 423316"/>
                <a:gd name="connsiteX16" fmla="*/ 441175 w 486998"/>
                <a:gd name="connsiteY16" fmla="*/ 184102 h 423316"/>
                <a:gd name="connsiteX17" fmla="*/ 445836 w 486998"/>
                <a:gd name="connsiteY17" fmla="*/ 148375 h 423316"/>
                <a:gd name="connsiteX18" fmla="*/ 411662 w 486998"/>
                <a:gd name="connsiteY18" fmla="*/ 66824 h 423316"/>
                <a:gd name="connsiteX19" fmla="*/ 344868 w 486998"/>
                <a:gd name="connsiteY19" fmla="*/ 39641 h 423316"/>
                <a:gd name="connsiteX20" fmla="*/ 260211 w 486998"/>
                <a:gd name="connsiteY20" fmla="*/ 90125 h 423316"/>
                <a:gd name="connsiteX21" fmla="*/ 242347 w 486998"/>
                <a:gd name="connsiteY21" fmla="*/ 100221 h 423316"/>
                <a:gd name="connsiteX22" fmla="*/ 242347 w 486998"/>
                <a:gd name="connsiteY22" fmla="*/ 100221 h 423316"/>
                <a:gd name="connsiteX23" fmla="*/ 224484 w 486998"/>
                <a:gd name="connsiteY23" fmla="*/ 90125 h 423316"/>
                <a:gd name="connsiteX24" fmla="*/ 139051 w 486998"/>
                <a:gd name="connsiteY24" fmla="*/ 41194 h 423316"/>
                <a:gd name="connsiteX25" fmla="*/ 73034 w 486998"/>
                <a:gd name="connsiteY25" fmla="*/ 69931 h 423316"/>
                <a:gd name="connsiteX26" fmla="*/ 41189 w 486998"/>
                <a:gd name="connsiteY26" fmla="*/ 152258 h 423316"/>
                <a:gd name="connsiteX27" fmla="*/ 46627 w 486998"/>
                <a:gd name="connsiteY27" fmla="*/ 185655 h 423316"/>
                <a:gd name="connsiteX28" fmla="*/ 177884 w 486998"/>
                <a:gd name="connsiteY28" fmla="*/ 324679 h 423316"/>
                <a:gd name="connsiteX29" fmla="*/ 246231 w 486998"/>
                <a:gd name="connsiteY29" fmla="*/ 374386 h 423316"/>
                <a:gd name="connsiteX30" fmla="*/ 281181 w 486998"/>
                <a:gd name="connsiteY30" fmla="*/ 348756 h 423316"/>
                <a:gd name="connsiteX31" fmla="*/ 306811 w 486998"/>
                <a:gd name="connsiteY31" fmla="*/ 381376 h 423316"/>
                <a:gd name="connsiteX32" fmla="*/ 257104 w 486998"/>
                <a:gd name="connsiteY32" fmla="*/ 417103 h 423316"/>
                <a:gd name="connsiteX33" fmla="*/ 246231 w 486998"/>
                <a:gd name="connsiteY33" fmla="*/ 423316 h 423316"/>
                <a:gd name="connsiteX34" fmla="*/ 246231 w 486998"/>
                <a:gd name="connsiteY34" fmla="*/ 423316 h 423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86998" h="423316">
                  <a:moveTo>
                    <a:pt x="246231" y="423316"/>
                  </a:moveTo>
                  <a:cubicBezTo>
                    <a:pt x="243124" y="423316"/>
                    <a:pt x="239240" y="422539"/>
                    <a:pt x="236135" y="420986"/>
                  </a:cubicBezTo>
                  <a:cubicBezTo>
                    <a:pt x="235357" y="420210"/>
                    <a:pt x="234581" y="420210"/>
                    <a:pt x="233804" y="419433"/>
                  </a:cubicBezTo>
                  <a:lnTo>
                    <a:pt x="227590" y="414773"/>
                  </a:lnTo>
                  <a:cubicBezTo>
                    <a:pt x="212057" y="403899"/>
                    <a:pt x="176330" y="379046"/>
                    <a:pt x="153030" y="361183"/>
                  </a:cubicBezTo>
                  <a:cubicBezTo>
                    <a:pt x="62160" y="290505"/>
                    <a:pt x="15560" y="239245"/>
                    <a:pt x="7017" y="200412"/>
                  </a:cubicBezTo>
                  <a:cubicBezTo>
                    <a:pt x="3133" y="187985"/>
                    <a:pt x="27" y="172452"/>
                    <a:pt x="27" y="156142"/>
                  </a:cubicBezTo>
                  <a:cubicBezTo>
                    <a:pt x="-750" y="114201"/>
                    <a:pt x="15560" y="73814"/>
                    <a:pt x="43520" y="44301"/>
                  </a:cubicBezTo>
                  <a:cubicBezTo>
                    <a:pt x="69150" y="17894"/>
                    <a:pt x="103323" y="3914"/>
                    <a:pt x="139051" y="3137"/>
                  </a:cubicBezTo>
                  <a:cubicBezTo>
                    <a:pt x="179437" y="2361"/>
                    <a:pt x="215164" y="18671"/>
                    <a:pt x="242347" y="47408"/>
                  </a:cubicBezTo>
                  <a:cubicBezTo>
                    <a:pt x="267978" y="17894"/>
                    <a:pt x="304481" y="807"/>
                    <a:pt x="344091" y="31"/>
                  </a:cubicBezTo>
                  <a:cubicBezTo>
                    <a:pt x="380595" y="-746"/>
                    <a:pt x="413991" y="13234"/>
                    <a:pt x="440398" y="38088"/>
                  </a:cubicBezTo>
                  <a:cubicBezTo>
                    <a:pt x="469136" y="66048"/>
                    <a:pt x="486222" y="106435"/>
                    <a:pt x="486999" y="148375"/>
                  </a:cubicBezTo>
                  <a:cubicBezTo>
                    <a:pt x="486999" y="163908"/>
                    <a:pt x="485446" y="179442"/>
                    <a:pt x="480786" y="194198"/>
                  </a:cubicBezTo>
                  <a:cubicBezTo>
                    <a:pt x="480008" y="198082"/>
                    <a:pt x="477679" y="204295"/>
                    <a:pt x="474572" y="211285"/>
                  </a:cubicBezTo>
                  <a:lnTo>
                    <a:pt x="437291" y="194198"/>
                  </a:lnTo>
                  <a:cubicBezTo>
                    <a:pt x="438845" y="190315"/>
                    <a:pt x="440398" y="187208"/>
                    <a:pt x="441175" y="184102"/>
                  </a:cubicBezTo>
                  <a:cubicBezTo>
                    <a:pt x="445058" y="171675"/>
                    <a:pt x="446612" y="160025"/>
                    <a:pt x="445836" y="148375"/>
                  </a:cubicBezTo>
                  <a:cubicBezTo>
                    <a:pt x="445058" y="117308"/>
                    <a:pt x="433408" y="87794"/>
                    <a:pt x="411662" y="66824"/>
                  </a:cubicBezTo>
                  <a:cubicBezTo>
                    <a:pt x="393022" y="48961"/>
                    <a:pt x="370498" y="38864"/>
                    <a:pt x="344868" y="39641"/>
                  </a:cubicBezTo>
                  <a:cubicBezTo>
                    <a:pt x="309918" y="40418"/>
                    <a:pt x="278074" y="59058"/>
                    <a:pt x="260211" y="90125"/>
                  </a:cubicBezTo>
                  <a:cubicBezTo>
                    <a:pt x="256328" y="96338"/>
                    <a:pt x="250114" y="100221"/>
                    <a:pt x="242347" y="100221"/>
                  </a:cubicBezTo>
                  <a:cubicBezTo>
                    <a:pt x="242347" y="100221"/>
                    <a:pt x="242347" y="100221"/>
                    <a:pt x="242347" y="100221"/>
                  </a:cubicBezTo>
                  <a:cubicBezTo>
                    <a:pt x="235357" y="100221"/>
                    <a:pt x="228368" y="96338"/>
                    <a:pt x="224484" y="90125"/>
                  </a:cubicBezTo>
                  <a:cubicBezTo>
                    <a:pt x="205844" y="59058"/>
                    <a:pt x="174001" y="40418"/>
                    <a:pt x="139051" y="41194"/>
                  </a:cubicBezTo>
                  <a:cubicBezTo>
                    <a:pt x="114197" y="41194"/>
                    <a:pt x="90897" y="51291"/>
                    <a:pt x="73034" y="69931"/>
                  </a:cubicBezTo>
                  <a:cubicBezTo>
                    <a:pt x="52063" y="90901"/>
                    <a:pt x="41189" y="121191"/>
                    <a:pt x="41189" y="152258"/>
                  </a:cubicBezTo>
                  <a:cubicBezTo>
                    <a:pt x="41189" y="163908"/>
                    <a:pt x="42743" y="175558"/>
                    <a:pt x="46627" y="185655"/>
                  </a:cubicBezTo>
                  <a:cubicBezTo>
                    <a:pt x="50510" y="203518"/>
                    <a:pt x="72256" y="242352"/>
                    <a:pt x="177884" y="324679"/>
                  </a:cubicBezTo>
                  <a:cubicBezTo>
                    <a:pt x="198854" y="340989"/>
                    <a:pt x="229921" y="362736"/>
                    <a:pt x="246231" y="374386"/>
                  </a:cubicBezTo>
                  <a:cubicBezTo>
                    <a:pt x="256328" y="367396"/>
                    <a:pt x="267978" y="358853"/>
                    <a:pt x="281181" y="348756"/>
                  </a:cubicBezTo>
                  <a:lnTo>
                    <a:pt x="306811" y="381376"/>
                  </a:lnTo>
                  <a:cubicBezTo>
                    <a:pt x="286618" y="396909"/>
                    <a:pt x="270307" y="408559"/>
                    <a:pt x="257104" y="417103"/>
                  </a:cubicBezTo>
                  <a:cubicBezTo>
                    <a:pt x="253997" y="422539"/>
                    <a:pt x="250114" y="423316"/>
                    <a:pt x="246231" y="423316"/>
                  </a:cubicBezTo>
                  <a:lnTo>
                    <a:pt x="246231" y="423316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78" name="Forma Livre: Forma 77">
              <a:extLst>
                <a:ext uri="{FF2B5EF4-FFF2-40B4-BE49-F238E27FC236}">
                  <a16:creationId xmlns:a16="http://schemas.microsoft.com/office/drawing/2014/main" id="{2735B4DD-CBA7-4E09-8F0B-3C8F59F0CB58}"/>
                </a:ext>
              </a:extLst>
            </p:cNvPr>
            <p:cNvSpPr/>
            <p:nvPr/>
          </p:nvSpPr>
          <p:spPr>
            <a:xfrm>
              <a:off x="9320347" y="2818148"/>
              <a:ext cx="121160" cy="121548"/>
            </a:xfrm>
            <a:custGeom>
              <a:avLst/>
              <a:gdLst>
                <a:gd name="connsiteX0" fmla="*/ 20582 w 121160"/>
                <a:gd name="connsiteY0" fmla="*/ 121549 h 121548"/>
                <a:gd name="connsiteX1" fmla="*/ 5825 w 121160"/>
                <a:gd name="connsiteY1" fmla="*/ 115336 h 121548"/>
                <a:gd name="connsiteX2" fmla="*/ 5825 w 121160"/>
                <a:gd name="connsiteY2" fmla="*/ 86599 h 121548"/>
                <a:gd name="connsiteX3" fmla="*/ 86599 w 121160"/>
                <a:gd name="connsiteY3" fmla="*/ 5825 h 121548"/>
                <a:gd name="connsiteX4" fmla="*/ 115335 w 121160"/>
                <a:gd name="connsiteY4" fmla="*/ 5825 h 121548"/>
                <a:gd name="connsiteX5" fmla="*/ 115335 w 121160"/>
                <a:gd name="connsiteY5" fmla="*/ 34562 h 121548"/>
                <a:gd name="connsiteX6" fmla="*/ 34561 w 121160"/>
                <a:gd name="connsiteY6" fmla="*/ 115336 h 121548"/>
                <a:gd name="connsiteX7" fmla="*/ 20582 w 121160"/>
                <a:gd name="connsiteY7" fmla="*/ 121549 h 121548"/>
                <a:gd name="connsiteX8" fmla="*/ 20582 w 121160"/>
                <a:gd name="connsiteY8" fmla="*/ 121549 h 12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160" h="121548">
                  <a:moveTo>
                    <a:pt x="20582" y="121549"/>
                  </a:moveTo>
                  <a:cubicBezTo>
                    <a:pt x="15145" y="121549"/>
                    <a:pt x="9708" y="119219"/>
                    <a:pt x="5825" y="115336"/>
                  </a:cubicBezTo>
                  <a:cubicBezTo>
                    <a:pt x="-1942" y="107569"/>
                    <a:pt x="-1942" y="94365"/>
                    <a:pt x="5825" y="86599"/>
                  </a:cubicBezTo>
                  <a:lnTo>
                    <a:pt x="86599" y="5825"/>
                  </a:lnTo>
                  <a:cubicBezTo>
                    <a:pt x="94366" y="-1942"/>
                    <a:pt x="107569" y="-1942"/>
                    <a:pt x="115335" y="5825"/>
                  </a:cubicBezTo>
                  <a:cubicBezTo>
                    <a:pt x="123102" y="13592"/>
                    <a:pt x="123102" y="26795"/>
                    <a:pt x="115335" y="34562"/>
                  </a:cubicBezTo>
                  <a:lnTo>
                    <a:pt x="34561" y="115336"/>
                  </a:lnTo>
                  <a:cubicBezTo>
                    <a:pt x="30678" y="119995"/>
                    <a:pt x="25242" y="121549"/>
                    <a:pt x="20582" y="121549"/>
                  </a:cubicBezTo>
                  <a:lnTo>
                    <a:pt x="20582" y="121549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79" name="Forma Livre: Forma 78">
              <a:extLst>
                <a:ext uri="{FF2B5EF4-FFF2-40B4-BE49-F238E27FC236}">
                  <a16:creationId xmlns:a16="http://schemas.microsoft.com/office/drawing/2014/main" id="{590568DB-2E50-4854-A83A-8E14BC7B6B9B}"/>
                </a:ext>
              </a:extLst>
            </p:cNvPr>
            <p:cNvSpPr/>
            <p:nvPr/>
          </p:nvSpPr>
          <p:spPr>
            <a:xfrm>
              <a:off x="9319571" y="2818148"/>
              <a:ext cx="121160" cy="121548"/>
            </a:xfrm>
            <a:custGeom>
              <a:avLst/>
              <a:gdLst>
                <a:gd name="connsiteX0" fmla="*/ 101355 w 121160"/>
                <a:gd name="connsiteY0" fmla="*/ 121549 h 121548"/>
                <a:gd name="connsiteX1" fmla="*/ 86598 w 121160"/>
                <a:gd name="connsiteY1" fmla="*/ 115336 h 121548"/>
                <a:gd name="connsiteX2" fmla="*/ 5825 w 121160"/>
                <a:gd name="connsiteY2" fmla="*/ 34562 h 121548"/>
                <a:gd name="connsiteX3" fmla="*/ 5825 w 121160"/>
                <a:gd name="connsiteY3" fmla="*/ 5825 h 121548"/>
                <a:gd name="connsiteX4" fmla="*/ 34561 w 121160"/>
                <a:gd name="connsiteY4" fmla="*/ 5825 h 121548"/>
                <a:gd name="connsiteX5" fmla="*/ 115335 w 121160"/>
                <a:gd name="connsiteY5" fmla="*/ 86599 h 121548"/>
                <a:gd name="connsiteX6" fmla="*/ 115335 w 121160"/>
                <a:gd name="connsiteY6" fmla="*/ 115336 h 121548"/>
                <a:gd name="connsiteX7" fmla="*/ 101355 w 121160"/>
                <a:gd name="connsiteY7" fmla="*/ 121549 h 121548"/>
                <a:gd name="connsiteX8" fmla="*/ 101355 w 121160"/>
                <a:gd name="connsiteY8" fmla="*/ 121549 h 12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160" h="121548">
                  <a:moveTo>
                    <a:pt x="101355" y="121549"/>
                  </a:moveTo>
                  <a:cubicBezTo>
                    <a:pt x="95919" y="121549"/>
                    <a:pt x="90481" y="119219"/>
                    <a:pt x="86598" y="115336"/>
                  </a:cubicBezTo>
                  <a:lnTo>
                    <a:pt x="5825" y="34562"/>
                  </a:lnTo>
                  <a:cubicBezTo>
                    <a:pt x="-1942" y="26795"/>
                    <a:pt x="-1942" y="13592"/>
                    <a:pt x="5825" y="5825"/>
                  </a:cubicBezTo>
                  <a:cubicBezTo>
                    <a:pt x="13592" y="-1942"/>
                    <a:pt x="26795" y="-1942"/>
                    <a:pt x="34561" y="5825"/>
                  </a:cubicBezTo>
                  <a:lnTo>
                    <a:pt x="115335" y="86599"/>
                  </a:lnTo>
                  <a:cubicBezTo>
                    <a:pt x="123102" y="94365"/>
                    <a:pt x="123102" y="107569"/>
                    <a:pt x="115335" y="115336"/>
                  </a:cubicBezTo>
                  <a:cubicBezTo>
                    <a:pt x="112229" y="119995"/>
                    <a:pt x="106792" y="121549"/>
                    <a:pt x="101355" y="121549"/>
                  </a:cubicBezTo>
                  <a:lnTo>
                    <a:pt x="101355" y="121549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sp>
        <p:nvSpPr>
          <p:cNvPr id="80" name="Forma Livre: Forma 79">
            <a:extLst>
              <a:ext uri="{FF2B5EF4-FFF2-40B4-BE49-F238E27FC236}">
                <a16:creationId xmlns:a16="http://schemas.microsoft.com/office/drawing/2014/main" id="{E4561E75-CD30-40B6-8546-4BD466FE550F}"/>
              </a:ext>
            </a:extLst>
          </p:cNvPr>
          <p:cNvSpPr/>
          <p:nvPr/>
        </p:nvSpPr>
        <p:spPr>
          <a:xfrm>
            <a:off x="3326555" y="2606075"/>
            <a:ext cx="420073" cy="363835"/>
          </a:xfrm>
          <a:custGeom>
            <a:avLst/>
            <a:gdLst>
              <a:gd name="connsiteX0" fmla="*/ 263317 w 516511"/>
              <a:gd name="connsiteY0" fmla="*/ 447362 h 447362"/>
              <a:gd name="connsiteX1" fmla="*/ 252443 w 516511"/>
              <a:gd name="connsiteY1" fmla="*/ 445032 h 447362"/>
              <a:gd name="connsiteX2" fmla="*/ 249337 w 516511"/>
              <a:gd name="connsiteY2" fmla="*/ 443479 h 447362"/>
              <a:gd name="connsiteX3" fmla="*/ 242347 w 516511"/>
              <a:gd name="connsiteY3" fmla="*/ 438819 h 447362"/>
              <a:gd name="connsiteX4" fmla="*/ 163126 w 516511"/>
              <a:gd name="connsiteY4" fmla="*/ 381345 h 447362"/>
              <a:gd name="connsiteX5" fmla="*/ 7792 w 516511"/>
              <a:gd name="connsiteY5" fmla="*/ 210478 h 447362"/>
              <a:gd name="connsiteX6" fmla="*/ 25 w 516511"/>
              <a:gd name="connsiteY6" fmla="*/ 163878 h 447362"/>
              <a:gd name="connsiteX7" fmla="*/ 46626 w 516511"/>
              <a:gd name="connsiteY7" fmla="*/ 45047 h 447362"/>
              <a:gd name="connsiteX8" fmla="*/ 147593 w 516511"/>
              <a:gd name="connsiteY8" fmla="*/ 1553 h 447362"/>
              <a:gd name="connsiteX9" fmla="*/ 147593 w 516511"/>
              <a:gd name="connsiteY9" fmla="*/ 1553 h 447362"/>
              <a:gd name="connsiteX10" fmla="*/ 249337 w 516511"/>
              <a:gd name="connsiteY10" fmla="*/ 41940 h 447362"/>
              <a:gd name="connsiteX11" fmla="*/ 253997 w 516511"/>
              <a:gd name="connsiteY11" fmla="*/ 67570 h 447362"/>
              <a:gd name="connsiteX12" fmla="*/ 210503 w 516511"/>
              <a:gd name="connsiteY12" fmla="*/ 157664 h 447362"/>
              <a:gd name="connsiteX13" fmla="*/ 240793 w 516511"/>
              <a:gd name="connsiteY13" fmla="*/ 157664 h 447362"/>
              <a:gd name="connsiteX14" fmla="*/ 257880 w 516511"/>
              <a:gd name="connsiteY14" fmla="*/ 166207 h 447362"/>
              <a:gd name="connsiteX15" fmla="*/ 261763 w 516511"/>
              <a:gd name="connsiteY15" fmla="*/ 185624 h 447362"/>
              <a:gd name="connsiteX16" fmla="*/ 261763 w 516511"/>
              <a:gd name="connsiteY16" fmla="*/ 186401 h 447362"/>
              <a:gd name="connsiteX17" fmla="*/ 287393 w 516511"/>
              <a:gd name="connsiteY17" fmla="*/ 150674 h 447362"/>
              <a:gd name="connsiteX18" fmla="*/ 265647 w 516511"/>
              <a:gd name="connsiteY18" fmla="*/ 150674 h 447362"/>
              <a:gd name="connsiteX19" fmla="*/ 246230 w 516511"/>
              <a:gd name="connsiteY19" fmla="*/ 139024 h 447362"/>
              <a:gd name="connsiteX20" fmla="*/ 247783 w 516511"/>
              <a:gd name="connsiteY20" fmla="*/ 116501 h 447362"/>
              <a:gd name="connsiteX21" fmla="*/ 318460 w 516511"/>
              <a:gd name="connsiteY21" fmla="*/ 13203 h 447362"/>
              <a:gd name="connsiteX22" fmla="*/ 330887 w 516511"/>
              <a:gd name="connsiteY22" fmla="*/ 4660 h 447362"/>
              <a:gd name="connsiteX23" fmla="*/ 365061 w 516511"/>
              <a:gd name="connsiteY23" fmla="*/ 0 h 447362"/>
              <a:gd name="connsiteX24" fmla="*/ 368167 w 516511"/>
              <a:gd name="connsiteY24" fmla="*/ 0 h 447362"/>
              <a:gd name="connsiteX25" fmla="*/ 516511 w 516511"/>
              <a:gd name="connsiteY25" fmla="*/ 158441 h 447362"/>
              <a:gd name="connsiteX26" fmla="*/ 509521 w 516511"/>
              <a:gd name="connsiteY26" fmla="*/ 207371 h 447362"/>
              <a:gd name="connsiteX27" fmla="*/ 359624 w 516511"/>
              <a:gd name="connsiteY27" fmla="*/ 380569 h 447362"/>
              <a:gd name="connsiteX28" fmla="*/ 273413 w 516511"/>
              <a:gd name="connsiteY28" fmla="*/ 445809 h 447362"/>
              <a:gd name="connsiteX29" fmla="*/ 263317 w 516511"/>
              <a:gd name="connsiteY29" fmla="*/ 447362 h 447362"/>
              <a:gd name="connsiteX30" fmla="*/ 263317 w 516511"/>
              <a:gd name="connsiteY30" fmla="*/ 447362 h 447362"/>
              <a:gd name="connsiteX31" fmla="*/ 150699 w 516511"/>
              <a:gd name="connsiteY31" fmla="*/ 45047 h 447362"/>
              <a:gd name="connsiteX32" fmla="*/ 79246 w 516511"/>
              <a:gd name="connsiteY32" fmla="*/ 75337 h 447362"/>
              <a:gd name="connsiteX33" fmla="*/ 45072 w 516511"/>
              <a:gd name="connsiteY33" fmla="*/ 162324 h 447362"/>
              <a:gd name="connsiteX34" fmla="*/ 50509 w 516511"/>
              <a:gd name="connsiteY34" fmla="*/ 198051 h 447362"/>
              <a:gd name="connsiteX35" fmla="*/ 190310 w 516511"/>
              <a:gd name="connsiteY35" fmla="*/ 345618 h 447362"/>
              <a:gd name="connsiteX36" fmla="*/ 263317 w 516511"/>
              <a:gd name="connsiteY36" fmla="*/ 398432 h 447362"/>
              <a:gd name="connsiteX37" fmla="*/ 333217 w 516511"/>
              <a:gd name="connsiteY37" fmla="*/ 344842 h 447362"/>
              <a:gd name="connsiteX38" fmla="*/ 468358 w 516511"/>
              <a:gd name="connsiteY38" fmla="*/ 194944 h 447362"/>
              <a:gd name="connsiteX39" fmla="*/ 473794 w 516511"/>
              <a:gd name="connsiteY39" fmla="*/ 156888 h 447362"/>
              <a:gd name="connsiteX40" fmla="*/ 368944 w 516511"/>
              <a:gd name="connsiteY40" fmla="*/ 41940 h 447362"/>
              <a:gd name="connsiteX41" fmla="*/ 366614 w 516511"/>
              <a:gd name="connsiteY41" fmla="*/ 41940 h 447362"/>
              <a:gd name="connsiteX42" fmla="*/ 350304 w 516511"/>
              <a:gd name="connsiteY42" fmla="*/ 43494 h 447362"/>
              <a:gd name="connsiteX43" fmla="*/ 307587 w 516511"/>
              <a:gd name="connsiteY43" fmla="*/ 105627 h 447362"/>
              <a:gd name="connsiteX44" fmla="*/ 330887 w 516511"/>
              <a:gd name="connsiteY44" fmla="*/ 105627 h 447362"/>
              <a:gd name="connsiteX45" fmla="*/ 350304 w 516511"/>
              <a:gd name="connsiteY45" fmla="*/ 117277 h 447362"/>
              <a:gd name="connsiteX46" fmla="*/ 348750 w 516511"/>
              <a:gd name="connsiteY46" fmla="*/ 139801 h 447362"/>
              <a:gd name="connsiteX47" fmla="*/ 226037 w 516511"/>
              <a:gd name="connsiteY47" fmla="*/ 308338 h 447362"/>
              <a:gd name="connsiteX48" fmla="*/ 198853 w 516511"/>
              <a:gd name="connsiteY48" fmla="*/ 315328 h 447362"/>
              <a:gd name="connsiteX49" fmla="*/ 187203 w 516511"/>
              <a:gd name="connsiteY49" fmla="*/ 289698 h 447362"/>
              <a:gd name="connsiteX50" fmla="*/ 212833 w 516511"/>
              <a:gd name="connsiteY50" fmla="*/ 199604 h 447362"/>
              <a:gd name="connsiteX51" fmla="*/ 176330 w 516511"/>
              <a:gd name="connsiteY51" fmla="*/ 199604 h 447362"/>
              <a:gd name="connsiteX52" fmla="*/ 157689 w 516511"/>
              <a:gd name="connsiteY52" fmla="*/ 189508 h 447362"/>
              <a:gd name="connsiteX53" fmla="*/ 156136 w 516511"/>
              <a:gd name="connsiteY53" fmla="*/ 168538 h 447362"/>
              <a:gd name="connsiteX54" fmla="*/ 206620 w 516511"/>
              <a:gd name="connsiteY54" fmla="*/ 62910 h 447362"/>
              <a:gd name="connsiteX55" fmla="*/ 150699 w 516511"/>
              <a:gd name="connsiteY55" fmla="*/ 45047 h 447362"/>
              <a:gd name="connsiteX56" fmla="*/ 150699 w 516511"/>
              <a:gd name="connsiteY56" fmla="*/ 45047 h 447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516511" h="447362">
                <a:moveTo>
                  <a:pt x="263317" y="447362"/>
                </a:moveTo>
                <a:cubicBezTo>
                  <a:pt x="259433" y="447362"/>
                  <a:pt x="256327" y="446586"/>
                  <a:pt x="252443" y="445032"/>
                </a:cubicBezTo>
                <a:cubicBezTo>
                  <a:pt x="251667" y="444256"/>
                  <a:pt x="250890" y="444256"/>
                  <a:pt x="249337" y="443479"/>
                </a:cubicBezTo>
                <a:lnTo>
                  <a:pt x="242347" y="438819"/>
                </a:lnTo>
                <a:cubicBezTo>
                  <a:pt x="226037" y="427169"/>
                  <a:pt x="187980" y="400762"/>
                  <a:pt x="163126" y="381345"/>
                </a:cubicBezTo>
                <a:cubicBezTo>
                  <a:pt x="66819" y="306008"/>
                  <a:pt x="17112" y="251641"/>
                  <a:pt x="7792" y="210478"/>
                </a:cubicBezTo>
                <a:cubicBezTo>
                  <a:pt x="3132" y="197274"/>
                  <a:pt x="802" y="180188"/>
                  <a:pt x="25" y="163878"/>
                </a:cubicBezTo>
                <a:cubicBezTo>
                  <a:pt x="-751" y="118831"/>
                  <a:pt x="16336" y="76114"/>
                  <a:pt x="46626" y="45047"/>
                </a:cubicBezTo>
                <a:cubicBezTo>
                  <a:pt x="73809" y="17087"/>
                  <a:pt x="109536" y="1553"/>
                  <a:pt x="147593" y="1553"/>
                </a:cubicBezTo>
                <a:lnTo>
                  <a:pt x="147593" y="1553"/>
                </a:lnTo>
                <a:cubicBezTo>
                  <a:pt x="186426" y="1553"/>
                  <a:pt x="222153" y="15533"/>
                  <a:pt x="249337" y="41940"/>
                </a:cubicBezTo>
                <a:cubicBezTo>
                  <a:pt x="256327" y="48154"/>
                  <a:pt x="258657" y="59027"/>
                  <a:pt x="253997" y="67570"/>
                </a:cubicBezTo>
                <a:lnTo>
                  <a:pt x="210503" y="157664"/>
                </a:lnTo>
                <a:lnTo>
                  <a:pt x="240793" y="157664"/>
                </a:lnTo>
                <a:cubicBezTo>
                  <a:pt x="247783" y="157664"/>
                  <a:pt x="253997" y="160771"/>
                  <a:pt x="257880" y="166207"/>
                </a:cubicBezTo>
                <a:cubicBezTo>
                  <a:pt x="261763" y="171644"/>
                  <a:pt x="263317" y="178634"/>
                  <a:pt x="261763" y="185624"/>
                </a:cubicBezTo>
                <a:lnTo>
                  <a:pt x="261763" y="186401"/>
                </a:lnTo>
                <a:lnTo>
                  <a:pt x="287393" y="150674"/>
                </a:lnTo>
                <a:lnTo>
                  <a:pt x="265647" y="150674"/>
                </a:lnTo>
                <a:cubicBezTo>
                  <a:pt x="257880" y="150674"/>
                  <a:pt x="250113" y="146014"/>
                  <a:pt x="246230" y="139024"/>
                </a:cubicBezTo>
                <a:cubicBezTo>
                  <a:pt x="242347" y="132034"/>
                  <a:pt x="243123" y="123491"/>
                  <a:pt x="247783" y="116501"/>
                </a:cubicBezTo>
                <a:lnTo>
                  <a:pt x="318460" y="13203"/>
                </a:lnTo>
                <a:cubicBezTo>
                  <a:pt x="321567" y="8543"/>
                  <a:pt x="326227" y="5437"/>
                  <a:pt x="330887" y="4660"/>
                </a:cubicBezTo>
                <a:cubicBezTo>
                  <a:pt x="342537" y="1553"/>
                  <a:pt x="354187" y="0"/>
                  <a:pt x="365061" y="0"/>
                </a:cubicBezTo>
                <a:lnTo>
                  <a:pt x="368167" y="0"/>
                </a:lnTo>
                <a:cubicBezTo>
                  <a:pt x="448941" y="0"/>
                  <a:pt x="515735" y="70677"/>
                  <a:pt x="516511" y="158441"/>
                </a:cubicBezTo>
                <a:cubicBezTo>
                  <a:pt x="516511" y="174751"/>
                  <a:pt x="514181" y="191838"/>
                  <a:pt x="509521" y="207371"/>
                </a:cubicBezTo>
                <a:cubicBezTo>
                  <a:pt x="501755" y="246981"/>
                  <a:pt x="452048" y="304455"/>
                  <a:pt x="359624" y="380569"/>
                </a:cubicBezTo>
                <a:cubicBezTo>
                  <a:pt x="323897" y="410082"/>
                  <a:pt x="294383" y="431829"/>
                  <a:pt x="273413" y="445809"/>
                </a:cubicBezTo>
                <a:cubicBezTo>
                  <a:pt x="271860" y="445809"/>
                  <a:pt x="267200" y="447362"/>
                  <a:pt x="263317" y="447362"/>
                </a:cubicBezTo>
                <a:lnTo>
                  <a:pt x="263317" y="447362"/>
                </a:lnTo>
                <a:close/>
                <a:moveTo>
                  <a:pt x="150699" y="45047"/>
                </a:moveTo>
                <a:cubicBezTo>
                  <a:pt x="123516" y="45047"/>
                  <a:pt x="98663" y="55920"/>
                  <a:pt x="79246" y="75337"/>
                </a:cubicBezTo>
                <a:cubicBezTo>
                  <a:pt x="57499" y="97861"/>
                  <a:pt x="45072" y="129704"/>
                  <a:pt x="45072" y="162324"/>
                </a:cubicBezTo>
                <a:cubicBezTo>
                  <a:pt x="45072" y="174751"/>
                  <a:pt x="47402" y="187178"/>
                  <a:pt x="50509" y="198051"/>
                </a:cubicBezTo>
                <a:cubicBezTo>
                  <a:pt x="55169" y="216691"/>
                  <a:pt x="77692" y="257855"/>
                  <a:pt x="190310" y="345618"/>
                </a:cubicBezTo>
                <a:cubicBezTo>
                  <a:pt x="212833" y="362705"/>
                  <a:pt x="245453" y="386005"/>
                  <a:pt x="263317" y="398432"/>
                </a:cubicBezTo>
                <a:cubicBezTo>
                  <a:pt x="281957" y="386005"/>
                  <a:pt x="305257" y="367365"/>
                  <a:pt x="333217" y="344842"/>
                </a:cubicBezTo>
                <a:cubicBezTo>
                  <a:pt x="442728" y="254748"/>
                  <a:pt x="465251" y="212808"/>
                  <a:pt x="468358" y="194944"/>
                </a:cubicBezTo>
                <a:cubicBezTo>
                  <a:pt x="472241" y="181741"/>
                  <a:pt x="473794" y="169314"/>
                  <a:pt x="473794" y="156888"/>
                </a:cubicBezTo>
                <a:cubicBezTo>
                  <a:pt x="473018" y="93200"/>
                  <a:pt x="425641" y="41940"/>
                  <a:pt x="368944" y="41940"/>
                </a:cubicBezTo>
                <a:cubicBezTo>
                  <a:pt x="368944" y="41940"/>
                  <a:pt x="366614" y="41940"/>
                  <a:pt x="366614" y="41940"/>
                </a:cubicBezTo>
                <a:cubicBezTo>
                  <a:pt x="361177" y="41940"/>
                  <a:pt x="355740" y="42717"/>
                  <a:pt x="350304" y="43494"/>
                </a:cubicBezTo>
                <a:lnTo>
                  <a:pt x="307587" y="105627"/>
                </a:lnTo>
                <a:lnTo>
                  <a:pt x="330887" y="105627"/>
                </a:lnTo>
                <a:cubicBezTo>
                  <a:pt x="339430" y="105627"/>
                  <a:pt x="346420" y="110287"/>
                  <a:pt x="350304" y="117277"/>
                </a:cubicBezTo>
                <a:cubicBezTo>
                  <a:pt x="354187" y="124267"/>
                  <a:pt x="353410" y="133587"/>
                  <a:pt x="348750" y="139801"/>
                </a:cubicBezTo>
                <a:lnTo>
                  <a:pt x="226037" y="308338"/>
                </a:lnTo>
                <a:cubicBezTo>
                  <a:pt x="219823" y="316882"/>
                  <a:pt x="208173" y="319988"/>
                  <a:pt x="198853" y="315328"/>
                </a:cubicBezTo>
                <a:cubicBezTo>
                  <a:pt x="189533" y="310668"/>
                  <a:pt x="184096" y="299795"/>
                  <a:pt x="187203" y="289698"/>
                </a:cubicBezTo>
                <a:lnTo>
                  <a:pt x="212833" y="199604"/>
                </a:lnTo>
                <a:lnTo>
                  <a:pt x="176330" y="199604"/>
                </a:lnTo>
                <a:cubicBezTo>
                  <a:pt x="168563" y="199604"/>
                  <a:pt x="161573" y="195721"/>
                  <a:pt x="157689" y="189508"/>
                </a:cubicBezTo>
                <a:cubicBezTo>
                  <a:pt x="153806" y="183294"/>
                  <a:pt x="153030" y="175528"/>
                  <a:pt x="156136" y="168538"/>
                </a:cubicBezTo>
                <a:lnTo>
                  <a:pt x="206620" y="62910"/>
                </a:lnTo>
                <a:cubicBezTo>
                  <a:pt x="191086" y="51260"/>
                  <a:pt x="170893" y="45047"/>
                  <a:pt x="150699" y="45047"/>
                </a:cubicBezTo>
                <a:lnTo>
                  <a:pt x="150699" y="45047"/>
                </a:lnTo>
                <a:close/>
              </a:path>
            </a:pathLst>
          </a:custGeom>
          <a:solidFill>
            <a:srgbClr val="B1B1A1"/>
          </a:solidFill>
          <a:ln w="7767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grpSp>
        <p:nvGrpSpPr>
          <p:cNvPr id="81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2302963" y="2586494"/>
            <a:ext cx="422281" cy="394154"/>
            <a:chOff x="1431690" y="2549808"/>
            <a:chExt cx="519226" cy="484642"/>
          </a:xfrm>
          <a:solidFill>
            <a:srgbClr val="B1B1A1"/>
          </a:solidFill>
        </p:grpSpPr>
        <p:sp>
          <p:nvSpPr>
            <p:cNvPr id="82" name="Forma Livre: Forma 81">
              <a:extLst>
                <a:ext uri="{FF2B5EF4-FFF2-40B4-BE49-F238E27FC236}">
                  <a16:creationId xmlns:a16="http://schemas.microsoft.com/office/drawing/2014/main" id="{92C4005E-0F2A-4834-B9FF-E73FA7E04550}"/>
                </a:ext>
              </a:extLst>
            </p:cNvPr>
            <p:cNvSpPr/>
            <p:nvPr/>
          </p:nvSpPr>
          <p:spPr>
            <a:xfrm>
              <a:off x="1696161" y="2779703"/>
              <a:ext cx="254755" cy="254748"/>
            </a:xfrm>
            <a:custGeom>
              <a:avLst/>
              <a:gdLst>
                <a:gd name="connsiteX0" fmla="*/ 127374 w 254755"/>
                <a:gd name="connsiteY0" fmla="*/ 254748 h 254748"/>
                <a:gd name="connsiteX1" fmla="*/ 0 w 254755"/>
                <a:gd name="connsiteY1" fmla="*/ 127374 h 254748"/>
                <a:gd name="connsiteX2" fmla="*/ 127374 w 254755"/>
                <a:gd name="connsiteY2" fmla="*/ 0 h 254748"/>
                <a:gd name="connsiteX3" fmla="*/ 254748 w 254755"/>
                <a:gd name="connsiteY3" fmla="*/ 127374 h 254748"/>
                <a:gd name="connsiteX4" fmla="*/ 127374 w 254755"/>
                <a:gd name="connsiteY4" fmla="*/ 254748 h 254748"/>
                <a:gd name="connsiteX5" fmla="*/ 127374 w 254755"/>
                <a:gd name="connsiteY5" fmla="*/ 254748 h 254748"/>
                <a:gd name="connsiteX6" fmla="*/ 127374 w 254755"/>
                <a:gd name="connsiteY6" fmla="*/ 20193 h 254748"/>
                <a:gd name="connsiteX7" fmla="*/ 20193 w 254755"/>
                <a:gd name="connsiteY7" fmla="*/ 127374 h 254748"/>
                <a:gd name="connsiteX8" fmla="*/ 127374 w 254755"/>
                <a:gd name="connsiteY8" fmla="*/ 234555 h 254748"/>
                <a:gd name="connsiteX9" fmla="*/ 234554 w 254755"/>
                <a:gd name="connsiteY9" fmla="*/ 127374 h 254748"/>
                <a:gd name="connsiteX10" fmla="*/ 127374 w 254755"/>
                <a:gd name="connsiteY10" fmla="*/ 20193 h 254748"/>
                <a:gd name="connsiteX11" fmla="*/ 127374 w 254755"/>
                <a:gd name="connsiteY11" fmla="*/ 20193 h 254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4755" h="254748">
                  <a:moveTo>
                    <a:pt x="127374" y="254748"/>
                  </a:moveTo>
                  <a:cubicBezTo>
                    <a:pt x="56697" y="254748"/>
                    <a:pt x="0" y="197274"/>
                    <a:pt x="0" y="127374"/>
                  </a:cubicBezTo>
                  <a:cubicBezTo>
                    <a:pt x="0" y="56697"/>
                    <a:pt x="57474" y="0"/>
                    <a:pt x="127374" y="0"/>
                  </a:cubicBezTo>
                  <a:cubicBezTo>
                    <a:pt x="198051" y="0"/>
                    <a:pt x="254748" y="57474"/>
                    <a:pt x="254748" y="127374"/>
                  </a:cubicBezTo>
                  <a:cubicBezTo>
                    <a:pt x="255525" y="198051"/>
                    <a:pt x="198051" y="254748"/>
                    <a:pt x="127374" y="254748"/>
                  </a:cubicBezTo>
                  <a:lnTo>
                    <a:pt x="127374" y="254748"/>
                  </a:lnTo>
                  <a:close/>
                  <a:moveTo>
                    <a:pt x="127374" y="20193"/>
                  </a:moveTo>
                  <a:cubicBezTo>
                    <a:pt x="68347" y="20193"/>
                    <a:pt x="20193" y="68347"/>
                    <a:pt x="20193" y="127374"/>
                  </a:cubicBezTo>
                  <a:cubicBezTo>
                    <a:pt x="20193" y="186401"/>
                    <a:pt x="68347" y="234555"/>
                    <a:pt x="127374" y="234555"/>
                  </a:cubicBezTo>
                  <a:cubicBezTo>
                    <a:pt x="186401" y="234555"/>
                    <a:pt x="234554" y="186401"/>
                    <a:pt x="234554" y="127374"/>
                  </a:cubicBezTo>
                  <a:cubicBezTo>
                    <a:pt x="234554" y="68347"/>
                    <a:pt x="186401" y="20193"/>
                    <a:pt x="127374" y="20193"/>
                  </a:cubicBezTo>
                  <a:lnTo>
                    <a:pt x="127374" y="20193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83" name="Forma Livre: Forma 82">
              <a:extLst>
                <a:ext uri="{FF2B5EF4-FFF2-40B4-BE49-F238E27FC236}">
                  <a16:creationId xmlns:a16="http://schemas.microsoft.com/office/drawing/2014/main" id="{B06403F6-4DC0-47F8-B509-CAE68CD231D5}"/>
                </a:ext>
              </a:extLst>
            </p:cNvPr>
            <p:cNvSpPr/>
            <p:nvPr/>
          </p:nvSpPr>
          <p:spPr>
            <a:xfrm>
              <a:off x="1763343" y="2846885"/>
              <a:ext cx="121160" cy="120772"/>
            </a:xfrm>
            <a:custGeom>
              <a:avLst/>
              <a:gdLst>
                <a:gd name="connsiteX0" fmla="*/ 100579 w 121160"/>
                <a:gd name="connsiteY0" fmla="*/ 120772 h 120772"/>
                <a:gd name="connsiteX1" fmla="*/ 85822 w 121160"/>
                <a:gd name="connsiteY1" fmla="*/ 114559 h 120772"/>
                <a:gd name="connsiteX2" fmla="*/ 5825 w 121160"/>
                <a:gd name="connsiteY2" fmla="*/ 34562 h 120772"/>
                <a:gd name="connsiteX3" fmla="*/ 5825 w 121160"/>
                <a:gd name="connsiteY3" fmla="*/ 5825 h 120772"/>
                <a:gd name="connsiteX4" fmla="*/ 34562 w 121160"/>
                <a:gd name="connsiteY4" fmla="*/ 5825 h 120772"/>
                <a:gd name="connsiteX5" fmla="*/ 115336 w 121160"/>
                <a:gd name="connsiteY5" fmla="*/ 86599 h 120772"/>
                <a:gd name="connsiteX6" fmla="*/ 115336 w 121160"/>
                <a:gd name="connsiteY6" fmla="*/ 115336 h 120772"/>
                <a:gd name="connsiteX7" fmla="*/ 100579 w 121160"/>
                <a:gd name="connsiteY7" fmla="*/ 120772 h 120772"/>
                <a:gd name="connsiteX8" fmla="*/ 100579 w 121160"/>
                <a:gd name="connsiteY8" fmla="*/ 120772 h 120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160" h="120772">
                  <a:moveTo>
                    <a:pt x="100579" y="120772"/>
                  </a:moveTo>
                  <a:cubicBezTo>
                    <a:pt x="95142" y="120772"/>
                    <a:pt x="89705" y="118442"/>
                    <a:pt x="85822" y="114559"/>
                  </a:cubicBezTo>
                  <a:lnTo>
                    <a:pt x="5825" y="34562"/>
                  </a:lnTo>
                  <a:cubicBezTo>
                    <a:pt x="-1942" y="26795"/>
                    <a:pt x="-1942" y="13592"/>
                    <a:pt x="5825" y="5825"/>
                  </a:cubicBezTo>
                  <a:cubicBezTo>
                    <a:pt x="13592" y="-1942"/>
                    <a:pt x="26795" y="-1942"/>
                    <a:pt x="34562" y="5825"/>
                  </a:cubicBezTo>
                  <a:lnTo>
                    <a:pt x="115336" y="86599"/>
                  </a:lnTo>
                  <a:cubicBezTo>
                    <a:pt x="123102" y="94366"/>
                    <a:pt x="123102" y="107569"/>
                    <a:pt x="115336" y="115336"/>
                  </a:cubicBezTo>
                  <a:cubicBezTo>
                    <a:pt x="111452" y="119219"/>
                    <a:pt x="106016" y="120772"/>
                    <a:pt x="100579" y="120772"/>
                  </a:cubicBezTo>
                  <a:lnTo>
                    <a:pt x="100579" y="120772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84" name="Forma Livre: Forma 83">
              <a:extLst>
                <a:ext uri="{FF2B5EF4-FFF2-40B4-BE49-F238E27FC236}">
                  <a16:creationId xmlns:a16="http://schemas.microsoft.com/office/drawing/2014/main" id="{F64A634F-1F3F-4146-BAFD-3FAE09EB9EDC}"/>
                </a:ext>
              </a:extLst>
            </p:cNvPr>
            <p:cNvSpPr/>
            <p:nvPr/>
          </p:nvSpPr>
          <p:spPr>
            <a:xfrm>
              <a:off x="1762567" y="2846108"/>
              <a:ext cx="121160" cy="121548"/>
            </a:xfrm>
            <a:custGeom>
              <a:avLst/>
              <a:gdLst>
                <a:gd name="connsiteX0" fmla="*/ 20582 w 121160"/>
                <a:gd name="connsiteY0" fmla="*/ 121549 h 121548"/>
                <a:gd name="connsiteX1" fmla="*/ 5825 w 121160"/>
                <a:gd name="connsiteY1" fmla="*/ 115335 h 121548"/>
                <a:gd name="connsiteX2" fmla="*/ 5825 w 121160"/>
                <a:gd name="connsiteY2" fmla="*/ 86599 h 121548"/>
                <a:gd name="connsiteX3" fmla="*/ 86599 w 121160"/>
                <a:gd name="connsiteY3" fmla="*/ 5825 h 121548"/>
                <a:gd name="connsiteX4" fmla="*/ 115335 w 121160"/>
                <a:gd name="connsiteY4" fmla="*/ 5825 h 121548"/>
                <a:gd name="connsiteX5" fmla="*/ 115335 w 121160"/>
                <a:gd name="connsiteY5" fmla="*/ 34562 h 121548"/>
                <a:gd name="connsiteX6" fmla="*/ 34562 w 121160"/>
                <a:gd name="connsiteY6" fmla="*/ 115335 h 121548"/>
                <a:gd name="connsiteX7" fmla="*/ 20582 w 121160"/>
                <a:gd name="connsiteY7" fmla="*/ 121549 h 121548"/>
                <a:gd name="connsiteX8" fmla="*/ 20582 w 121160"/>
                <a:gd name="connsiteY8" fmla="*/ 121549 h 12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160" h="121548">
                  <a:moveTo>
                    <a:pt x="20582" y="121549"/>
                  </a:moveTo>
                  <a:cubicBezTo>
                    <a:pt x="15145" y="121549"/>
                    <a:pt x="9708" y="119219"/>
                    <a:pt x="5825" y="115335"/>
                  </a:cubicBezTo>
                  <a:cubicBezTo>
                    <a:pt x="-1942" y="107569"/>
                    <a:pt x="-1942" y="94365"/>
                    <a:pt x="5825" y="86599"/>
                  </a:cubicBezTo>
                  <a:lnTo>
                    <a:pt x="86599" y="5825"/>
                  </a:lnTo>
                  <a:cubicBezTo>
                    <a:pt x="94365" y="-1942"/>
                    <a:pt x="107569" y="-1942"/>
                    <a:pt x="115335" y="5825"/>
                  </a:cubicBezTo>
                  <a:cubicBezTo>
                    <a:pt x="123102" y="13592"/>
                    <a:pt x="123102" y="26795"/>
                    <a:pt x="115335" y="34562"/>
                  </a:cubicBezTo>
                  <a:lnTo>
                    <a:pt x="34562" y="115335"/>
                  </a:lnTo>
                  <a:cubicBezTo>
                    <a:pt x="31455" y="119995"/>
                    <a:pt x="26018" y="121549"/>
                    <a:pt x="20582" y="121549"/>
                  </a:cubicBezTo>
                  <a:lnTo>
                    <a:pt x="20582" y="121549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85" name="Gráfico 2">
              <a:extLst>
                <a:ext uri="{FF2B5EF4-FFF2-40B4-BE49-F238E27FC236}">
                  <a16:creationId xmlns:a16="http://schemas.microsoft.com/office/drawing/2014/main" id="{777488D5-C9B0-42ED-94FB-5C76F4BD1A17}"/>
                </a:ext>
              </a:extLst>
            </p:cNvPr>
            <p:cNvGrpSpPr/>
            <p:nvPr/>
          </p:nvGrpSpPr>
          <p:grpSpPr>
            <a:xfrm>
              <a:off x="1431690" y="2590195"/>
              <a:ext cx="405874" cy="372025"/>
              <a:chOff x="1431690" y="2590195"/>
              <a:chExt cx="405874" cy="372025"/>
            </a:xfrm>
            <a:grpFill/>
          </p:grpSpPr>
          <p:sp>
            <p:nvSpPr>
              <p:cNvPr id="86" name="Forma Livre: Forma 85">
                <a:extLst>
                  <a:ext uri="{FF2B5EF4-FFF2-40B4-BE49-F238E27FC236}">
                    <a16:creationId xmlns:a16="http://schemas.microsoft.com/office/drawing/2014/main" id="{53BFEE6F-B817-458F-8C50-BDDB554ECBFC}"/>
                  </a:ext>
                </a:extLst>
              </p:cNvPr>
              <p:cNvSpPr/>
              <p:nvPr/>
            </p:nvSpPr>
            <p:spPr>
              <a:xfrm>
                <a:off x="1431690" y="2590195"/>
                <a:ext cx="248160" cy="372025"/>
              </a:xfrm>
              <a:custGeom>
                <a:avLst/>
                <a:gdLst>
                  <a:gd name="connsiteX0" fmla="*/ 20597 w 248160"/>
                  <a:gd name="connsiteY0" fmla="*/ 372025 h 372025"/>
                  <a:gd name="connsiteX1" fmla="*/ 11276 w 248160"/>
                  <a:gd name="connsiteY1" fmla="*/ 369695 h 372025"/>
                  <a:gd name="connsiteX2" fmla="*/ 1956 w 248160"/>
                  <a:gd name="connsiteY2" fmla="*/ 341735 h 372025"/>
                  <a:gd name="connsiteX3" fmla="*/ 7393 w 248160"/>
                  <a:gd name="connsiteY3" fmla="*/ 331638 h 372025"/>
                  <a:gd name="connsiteX4" fmla="*/ 36907 w 248160"/>
                  <a:gd name="connsiteY4" fmla="*/ 183294 h 372025"/>
                  <a:gd name="connsiteX5" fmla="*/ 216318 w 248160"/>
                  <a:gd name="connsiteY5" fmla="*/ 0 h 372025"/>
                  <a:gd name="connsiteX6" fmla="*/ 216318 w 248160"/>
                  <a:gd name="connsiteY6" fmla="*/ 0 h 372025"/>
                  <a:gd name="connsiteX7" fmla="*/ 227968 w 248160"/>
                  <a:gd name="connsiteY7" fmla="*/ 0 h 372025"/>
                  <a:gd name="connsiteX8" fmla="*/ 248161 w 248160"/>
                  <a:gd name="connsiteY8" fmla="*/ 20193 h 372025"/>
                  <a:gd name="connsiteX9" fmla="*/ 227968 w 248160"/>
                  <a:gd name="connsiteY9" fmla="*/ 40387 h 372025"/>
                  <a:gd name="connsiteX10" fmla="*/ 216318 w 248160"/>
                  <a:gd name="connsiteY10" fmla="*/ 40387 h 372025"/>
                  <a:gd name="connsiteX11" fmla="*/ 216318 w 248160"/>
                  <a:gd name="connsiteY11" fmla="*/ 40387 h 372025"/>
                  <a:gd name="connsiteX12" fmla="*/ 77293 w 248160"/>
                  <a:gd name="connsiteY12" fmla="*/ 185624 h 372025"/>
                  <a:gd name="connsiteX13" fmla="*/ 43120 w 248160"/>
                  <a:gd name="connsiteY13" fmla="*/ 349502 h 372025"/>
                  <a:gd name="connsiteX14" fmla="*/ 39237 w 248160"/>
                  <a:gd name="connsiteY14" fmla="*/ 361152 h 372025"/>
                  <a:gd name="connsiteX15" fmla="*/ 20597 w 248160"/>
                  <a:gd name="connsiteY15" fmla="*/ 372025 h 372025"/>
                  <a:gd name="connsiteX16" fmla="*/ 20597 w 248160"/>
                  <a:gd name="connsiteY16" fmla="*/ 372025 h 372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48160" h="372025">
                    <a:moveTo>
                      <a:pt x="20597" y="372025"/>
                    </a:moveTo>
                    <a:cubicBezTo>
                      <a:pt x="17490" y="372025"/>
                      <a:pt x="14383" y="371248"/>
                      <a:pt x="11276" y="369695"/>
                    </a:cubicBezTo>
                    <a:cubicBezTo>
                      <a:pt x="1180" y="364258"/>
                      <a:pt x="-2704" y="351832"/>
                      <a:pt x="1956" y="341735"/>
                    </a:cubicBezTo>
                    <a:lnTo>
                      <a:pt x="7393" y="331638"/>
                    </a:lnTo>
                    <a:cubicBezTo>
                      <a:pt x="23703" y="299795"/>
                      <a:pt x="28363" y="290475"/>
                      <a:pt x="36907" y="183294"/>
                    </a:cubicBezTo>
                    <a:cubicBezTo>
                      <a:pt x="45450" y="75337"/>
                      <a:pt x="119234" y="0"/>
                      <a:pt x="216318" y="0"/>
                    </a:cubicBezTo>
                    <a:cubicBezTo>
                      <a:pt x="216318" y="0"/>
                      <a:pt x="216318" y="0"/>
                      <a:pt x="216318" y="0"/>
                    </a:cubicBezTo>
                    <a:lnTo>
                      <a:pt x="227968" y="0"/>
                    </a:lnTo>
                    <a:cubicBezTo>
                      <a:pt x="239618" y="0"/>
                      <a:pt x="248161" y="9320"/>
                      <a:pt x="248161" y="20193"/>
                    </a:cubicBezTo>
                    <a:cubicBezTo>
                      <a:pt x="248161" y="31844"/>
                      <a:pt x="238841" y="40387"/>
                      <a:pt x="227968" y="40387"/>
                    </a:cubicBezTo>
                    <a:lnTo>
                      <a:pt x="216318" y="40387"/>
                    </a:lnTo>
                    <a:cubicBezTo>
                      <a:pt x="216318" y="40387"/>
                      <a:pt x="216318" y="40387"/>
                      <a:pt x="216318" y="40387"/>
                    </a:cubicBezTo>
                    <a:cubicBezTo>
                      <a:pt x="140204" y="40387"/>
                      <a:pt x="84284" y="98637"/>
                      <a:pt x="77293" y="185624"/>
                    </a:cubicBezTo>
                    <a:cubicBezTo>
                      <a:pt x="68750" y="295912"/>
                      <a:pt x="62537" y="311445"/>
                      <a:pt x="43120" y="349502"/>
                    </a:cubicBezTo>
                    <a:lnTo>
                      <a:pt x="39237" y="361152"/>
                    </a:lnTo>
                    <a:cubicBezTo>
                      <a:pt x="35353" y="368142"/>
                      <a:pt x="28363" y="372025"/>
                      <a:pt x="20597" y="372025"/>
                    </a:cubicBezTo>
                    <a:lnTo>
                      <a:pt x="20597" y="372025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87" name="Forma Livre: Forma 86">
                <a:extLst>
                  <a:ext uri="{FF2B5EF4-FFF2-40B4-BE49-F238E27FC236}">
                    <a16:creationId xmlns:a16="http://schemas.microsoft.com/office/drawing/2014/main" id="{C72549E6-1BFD-45B2-AB7B-6D6338A3F195}"/>
                  </a:ext>
                </a:extLst>
              </p:cNvPr>
              <p:cNvSpPr/>
              <p:nvPr/>
            </p:nvSpPr>
            <p:spPr>
              <a:xfrm>
                <a:off x="1625484" y="2591749"/>
                <a:ext cx="212080" cy="205040"/>
              </a:xfrm>
              <a:custGeom>
                <a:avLst/>
                <a:gdLst>
                  <a:gd name="connsiteX0" fmla="*/ 191061 w 212080"/>
                  <a:gd name="connsiteY0" fmla="*/ 204264 h 205040"/>
                  <a:gd name="connsiteX1" fmla="*/ 170868 w 212080"/>
                  <a:gd name="connsiteY1" fmla="*/ 185624 h 205040"/>
                  <a:gd name="connsiteX2" fmla="*/ 31844 w 212080"/>
                  <a:gd name="connsiteY2" fmla="*/ 40387 h 205040"/>
                  <a:gd name="connsiteX3" fmla="*/ 31844 w 212080"/>
                  <a:gd name="connsiteY3" fmla="*/ 40387 h 205040"/>
                  <a:gd name="connsiteX4" fmla="*/ 20193 w 212080"/>
                  <a:gd name="connsiteY4" fmla="*/ 40387 h 205040"/>
                  <a:gd name="connsiteX5" fmla="*/ 0 w 212080"/>
                  <a:gd name="connsiteY5" fmla="*/ 20193 h 205040"/>
                  <a:gd name="connsiteX6" fmla="*/ 20193 w 212080"/>
                  <a:gd name="connsiteY6" fmla="*/ 0 h 205040"/>
                  <a:gd name="connsiteX7" fmla="*/ 31844 w 212080"/>
                  <a:gd name="connsiteY7" fmla="*/ 0 h 205040"/>
                  <a:gd name="connsiteX8" fmla="*/ 31844 w 212080"/>
                  <a:gd name="connsiteY8" fmla="*/ 0 h 205040"/>
                  <a:gd name="connsiteX9" fmla="*/ 212031 w 212080"/>
                  <a:gd name="connsiteY9" fmla="*/ 183294 h 205040"/>
                  <a:gd name="connsiteX10" fmla="*/ 193391 w 212080"/>
                  <a:gd name="connsiteY10" fmla="*/ 205041 h 205040"/>
                  <a:gd name="connsiteX11" fmla="*/ 191061 w 212080"/>
                  <a:gd name="connsiteY11" fmla="*/ 204264 h 205040"/>
                  <a:gd name="connsiteX12" fmla="*/ 191061 w 212080"/>
                  <a:gd name="connsiteY12" fmla="*/ 204264 h 205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12080" h="205040">
                    <a:moveTo>
                      <a:pt x="191061" y="204264"/>
                    </a:moveTo>
                    <a:cubicBezTo>
                      <a:pt x="180188" y="204264"/>
                      <a:pt x="171644" y="195721"/>
                      <a:pt x="170868" y="185624"/>
                    </a:cubicBezTo>
                    <a:cubicBezTo>
                      <a:pt x="163878" y="98637"/>
                      <a:pt x="108734" y="40387"/>
                      <a:pt x="31844" y="40387"/>
                    </a:cubicBezTo>
                    <a:cubicBezTo>
                      <a:pt x="31844" y="40387"/>
                      <a:pt x="31844" y="40387"/>
                      <a:pt x="31844" y="40387"/>
                    </a:cubicBezTo>
                    <a:lnTo>
                      <a:pt x="20193" y="40387"/>
                    </a:lnTo>
                    <a:cubicBezTo>
                      <a:pt x="8543" y="40387"/>
                      <a:pt x="0" y="31067"/>
                      <a:pt x="0" y="20193"/>
                    </a:cubicBezTo>
                    <a:cubicBezTo>
                      <a:pt x="0" y="8543"/>
                      <a:pt x="9320" y="0"/>
                      <a:pt x="20193" y="0"/>
                    </a:cubicBezTo>
                    <a:lnTo>
                      <a:pt x="31844" y="0"/>
                    </a:lnTo>
                    <a:cubicBezTo>
                      <a:pt x="31844" y="0"/>
                      <a:pt x="31844" y="0"/>
                      <a:pt x="31844" y="0"/>
                    </a:cubicBezTo>
                    <a:cubicBezTo>
                      <a:pt x="129704" y="0"/>
                      <a:pt x="203488" y="75337"/>
                      <a:pt x="212031" y="183294"/>
                    </a:cubicBezTo>
                    <a:cubicBezTo>
                      <a:pt x="212808" y="194944"/>
                      <a:pt x="204264" y="204264"/>
                      <a:pt x="193391" y="205041"/>
                    </a:cubicBezTo>
                    <a:cubicBezTo>
                      <a:pt x="191838" y="204264"/>
                      <a:pt x="191061" y="204264"/>
                      <a:pt x="191061" y="204264"/>
                    </a:cubicBezTo>
                    <a:lnTo>
                      <a:pt x="191061" y="204264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88" name="Forma Livre: Forma 87">
              <a:extLst>
                <a:ext uri="{FF2B5EF4-FFF2-40B4-BE49-F238E27FC236}">
                  <a16:creationId xmlns:a16="http://schemas.microsoft.com/office/drawing/2014/main" id="{72E5223C-2051-4CAA-8420-6A1D14DA1C1D}"/>
                </a:ext>
              </a:extLst>
            </p:cNvPr>
            <p:cNvSpPr/>
            <p:nvPr/>
          </p:nvSpPr>
          <p:spPr>
            <a:xfrm>
              <a:off x="1444520" y="2901300"/>
              <a:ext cx="268727" cy="61696"/>
            </a:xfrm>
            <a:custGeom>
              <a:avLst/>
              <a:gdLst>
                <a:gd name="connsiteX0" fmla="*/ 8543 w 268727"/>
                <a:gd name="connsiteY0" fmla="*/ 61697 h 61696"/>
                <a:gd name="connsiteX1" fmla="*/ 0 w 268727"/>
                <a:gd name="connsiteY1" fmla="*/ 21310 h 61696"/>
                <a:gd name="connsiteX2" fmla="*/ 268728 w 268727"/>
                <a:gd name="connsiteY2" fmla="*/ 1893 h 61696"/>
                <a:gd name="connsiteX3" fmla="*/ 266398 w 268727"/>
                <a:gd name="connsiteY3" fmla="*/ 43057 h 61696"/>
                <a:gd name="connsiteX4" fmla="*/ 8543 w 268727"/>
                <a:gd name="connsiteY4" fmla="*/ 61697 h 61696"/>
                <a:gd name="connsiteX5" fmla="*/ 8543 w 268727"/>
                <a:gd name="connsiteY5" fmla="*/ 61697 h 6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8727" h="61696">
                  <a:moveTo>
                    <a:pt x="8543" y="61697"/>
                  </a:moveTo>
                  <a:lnTo>
                    <a:pt x="0" y="21310"/>
                  </a:lnTo>
                  <a:cubicBezTo>
                    <a:pt x="88540" y="2670"/>
                    <a:pt x="178634" y="-3544"/>
                    <a:pt x="268728" y="1893"/>
                  </a:cubicBezTo>
                  <a:lnTo>
                    <a:pt x="266398" y="43057"/>
                  </a:lnTo>
                  <a:cubicBezTo>
                    <a:pt x="180188" y="37620"/>
                    <a:pt x="93200" y="43833"/>
                    <a:pt x="8543" y="61697"/>
                  </a:cubicBezTo>
                  <a:lnTo>
                    <a:pt x="8543" y="61697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89" name="Forma Livre: Forma 88">
              <a:extLst>
                <a:ext uri="{FF2B5EF4-FFF2-40B4-BE49-F238E27FC236}">
                  <a16:creationId xmlns:a16="http://schemas.microsoft.com/office/drawing/2014/main" id="{2B006521-1B04-435D-991B-CDA4D2F44B66}"/>
                </a:ext>
              </a:extLst>
            </p:cNvPr>
            <p:cNvSpPr/>
            <p:nvPr/>
          </p:nvSpPr>
          <p:spPr>
            <a:xfrm>
              <a:off x="1632474" y="2549808"/>
              <a:ext cx="40432" cy="78443"/>
            </a:xfrm>
            <a:custGeom>
              <a:avLst/>
              <a:gdLst>
                <a:gd name="connsiteX0" fmla="*/ 20193 w 40432"/>
                <a:gd name="connsiteY0" fmla="*/ 78444 h 78443"/>
                <a:gd name="connsiteX1" fmla="*/ 0 w 40432"/>
                <a:gd name="connsiteY1" fmla="*/ 58250 h 78443"/>
                <a:gd name="connsiteX2" fmla="*/ 0 w 40432"/>
                <a:gd name="connsiteY2" fmla="*/ 20193 h 78443"/>
                <a:gd name="connsiteX3" fmla="*/ 20193 w 40432"/>
                <a:gd name="connsiteY3" fmla="*/ 0 h 78443"/>
                <a:gd name="connsiteX4" fmla="*/ 40387 w 40432"/>
                <a:gd name="connsiteY4" fmla="*/ 20193 h 78443"/>
                <a:gd name="connsiteX5" fmla="*/ 40387 w 40432"/>
                <a:gd name="connsiteY5" fmla="*/ 58250 h 78443"/>
                <a:gd name="connsiteX6" fmla="*/ 20193 w 40432"/>
                <a:gd name="connsiteY6" fmla="*/ 78444 h 78443"/>
                <a:gd name="connsiteX7" fmla="*/ 20193 w 40432"/>
                <a:gd name="connsiteY7" fmla="*/ 78444 h 78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432" h="78443">
                  <a:moveTo>
                    <a:pt x="20193" y="78444"/>
                  </a:moveTo>
                  <a:cubicBezTo>
                    <a:pt x="8543" y="78444"/>
                    <a:pt x="0" y="69124"/>
                    <a:pt x="0" y="58250"/>
                  </a:cubicBezTo>
                  <a:lnTo>
                    <a:pt x="0" y="20193"/>
                  </a:lnTo>
                  <a:cubicBezTo>
                    <a:pt x="0" y="8543"/>
                    <a:pt x="9320" y="0"/>
                    <a:pt x="20193" y="0"/>
                  </a:cubicBezTo>
                  <a:cubicBezTo>
                    <a:pt x="31843" y="0"/>
                    <a:pt x="40387" y="9320"/>
                    <a:pt x="40387" y="20193"/>
                  </a:cubicBezTo>
                  <a:lnTo>
                    <a:pt x="40387" y="58250"/>
                  </a:lnTo>
                  <a:cubicBezTo>
                    <a:pt x="41164" y="69124"/>
                    <a:pt x="31843" y="78444"/>
                    <a:pt x="20193" y="78444"/>
                  </a:cubicBezTo>
                  <a:lnTo>
                    <a:pt x="20193" y="78444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90" name="Forma Livre: Forma 89">
              <a:extLst>
                <a:ext uri="{FF2B5EF4-FFF2-40B4-BE49-F238E27FC236}">
                  <a16:creationId xmlns:a16="http://schemas.microsoft.com/office/drawing/2014/main" id="{B1F54ED5-4D0B-49B6-A5F9-0F4C729C27A0}"/>
                </a:ext>
              </a:extLst>
            </p:cNvPr>
            <p:cNvSpPr/>
            <p:nvPr/>
          </p:nvSpPr>
          <p:spPr>
            <a:xfrm>
              <a:off x="1594418" y="2920280"/>
              <a:ext cx="115014" cy="78443"/>
            </a:xfrm>
            <a:custGeom>
              <a:avLst/>
              <a:gdLst>
                <a:gd name="connsiteX0" fmla="*/ 58250 w 115014"/>
                <a:gd name="connsiteY0" fmla="*/ 78444 h 78443"/>
                <a:gd name="connsiteX1" fmla="*/ 0 w 115014"/>
                <a:gd name="connsiteY1" fmla="*/ 20193 h 78443"/>
                <a:gd name="connsiteX2" fmla="*/ 20193 w 115014"/>
                <a:gd name="connsiteY2" fmla="*/ 0 h 78443"/>
                <a:gd name="connsiteX3" fmla="*/ 40387 w 115014"/>
                <a:gd name="connsiteY3" fmla="*/ 20193 h 78443"/>
                <a:gd name="connsiteX4" fmla="*/ 57474 w 115014"/>
                <a:gd name="connsiteY4" fmla="*/ 37280 h 78443"/>
                <a:gd name="connsiteX5" fmla="*/ 74560 w 115014"/>
                <a:gd name="connsiteY5" fmla="*/ 20193 h 78443"/>
                <a:gd name="connsiteX6" fmla="*/ 94754 w 115014"/>
                <a:gd name="connsiteY6" fmla="*/ 0 h 78443"/>
                <a:gd name="connsiteX7" fmla="*/ 114947 w 115014"/>
                <a:gd name="connsiteY7" fmla="*/ 20193 h 78443"/>
                <a:gd name="connsiteX8" fmla="*/ 58250 w 115014"/>
                <a:gd name="connsiteY8" fmla="*/ 78444 h 78443"/>
                <a:gd name="connsiteX9" fmla="*/ 58250 w 115014"/>
                <a:gd name="connsiteY9" fmla="*/ 78444 h 78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5014" h="78443">
                  <a:moveTo>
                    <a:pt x="58250" y="78444"/>
                  </a:moveTo>
                  <a:cubicBezTo>
                    <a:pt x="26407" y="78444"/>
                    <a:pt x="0" y="52037"/>
                    <a:pt x="0" y="20193"/>
                  </a:cubicBezTo>
                  <a:cubicBezTo>
                    <a:pt x="0" y="8543"/>
                    <a:pt x="9320" y="0"/>
                    <a:pt x="20193" y="0"/>
                  </a:cubicBezTo>
                  <a:cubicBezTo>
                    <a:pt x="31844" y="0"/>
                    <a:pt x="40387" y="9320"/>
                    <a:pt x="40387" y="20193"/>
                  </a:cubicBezTo>
                  <a:cubicBezTo>
                    <a:pt x="40387" y="29513"/>
                    <a:pt x="48154" y="37280"/>
                    <a:pt x="57474" y="37280"/>
                  </a:cubicBezTo>
                  <a:cubicBezTo>
                    <a:pt x="66794" y="37280"/>
                    <a:pt x="74560" y="29513"/>
                    <a:pt x="74560" y="20193"/>
                  </a:cubicBezTo>
                  <a:cubicBezTo>
                    <a:pt x="74560" y="8543"/>
                    <a:pt x="83880" y="0"/>
                    <a:pt x="94754" y="0"/>
                  </a:cubicBezTo>
                  <a:cubicBezTo>
                    <a:pt x="106404" y="0"/>
                    <a:pt x="114947" y="9320"/>
                    <a:pt x="114947" y="20193"/>
                  </a:cubicBezTo>
                  <a:cubicBezTo>
                    <a:pt x="116501" y="52037"/>
                    <a:pt x="90871" y="78444"/>
                    <a:pt x="58250" y="78444"/>
                  </a:cubicBezTo>
                  <a:lnTo>
                    <a:pt x="58250" y="78444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91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1275888" y="2586494"/>
            <a:ext cx="422906" cy="394154"/>
            <a:chOff x="168824" y="2549808"/>
            <a:chExt cx="519995" cy="484642"/>
          </a:xfrm>
          <a:solidFill>
            <a:srgbClr val="B1B1A1"/>
          </a:solidFill>
        </p:grpSpPr>
        <p:sp>
          <p:nvSpPr>
            <p:cNvPr id="92" name="Forma Livre: Forma 91">
              <a:extLst>
                <a:ext uri="{FF2B5EF4-FFF2-40B4-BE49-F238E27FC236}">
                  <a16:creationId xmlns:a16="http://schemas.microsoft.com/office/drawing/2014/main" id="{139AC95C-FA5C-4054-9185-50F6788F71D3}"/>
                </a:ext>
              </a:extLst>
            </p:cNvPr>
            <p:cNvSpPr/>
            <p:nvPr/>
          </p:nvSpPr>
          <p:spPr>
            <a:xfrm>
              <a:off x="434072" y="2779703"/>
              <a:ext cx="254747" cy="254748"/>
            </a:xfrm>
            <a:custGeom>
              <a:avLst/>
              <a:gdLst>
                <a:gd name="connsiteX0" fmla="*/ 127374 w 254747"/>
                <a:gd name="connsiteY0" fmla="*/ 254748 h 254748"/>
                <a:gd name="connsiteX1" fmla="*/ 0 w 254747"/>
                <a:gd name="connsiteY1" fmla="*/ 127374 h 254748"/>
                <a:gd name="connsiteX2" fmla="*/ 127374 w 254747"/>
                <a:gd name="connsiteY2" fmla="*/ 0 h 254748"/>
                <a:gd name="connsiteX3" fmla="*/ 254748 w 254747"/>
                <a:gd name="connsiteY3" fmla="*/ 127374 h 254748"/>
                <a:gd name="connsiteX4" fmla="*/ 127374 w 254747"/>
                <a:gd name="connsiteY4" fmla="*/ 254748 h 254748"/>
                <a:gd name="connsiteX5" fmla="*/ 127374 w 254747"/>
                <a:gd name="connsiteY5" fmla="*/ 254748 h 254748"/>
                <a:gd name="connsiteX6" fmla="*/ 127374 w 254747"/>
                <a:gd name="connsiteY6" fmla="*/ 20193 h 254748"/>
                <a:gd name="connsiteX7" fmla="*/ 20193 w 254747"/>
                <a:gd name="connsiteY7" fmla="*/ 127374 h 254748"/>
                <a:gd name="connsiteX8" fmla="*/ 127374 w 254747"/>
                <a:gd name="connsiteY8" fmla="*/ 234555 h 254748"/>
                <a:gd name="connsiteX9" fmla="*/ 234554 w 254747"/>
                <a:gd name="connsiteY9" fmla="*/ 127374 h 254748"/>
                <a:gd name="connsiteX10" fmla="*/ 127374 w 254747"/>
                <a:gd name="connsiteY10" fmla="*/ 20193 h 254748"/>
                <a:gd name="connsiteX11" fmla="*/ 127374 w 254747"/>
                <a:gd name="connsiteY11" fmla="*/ 20193 h 254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4747" h="254748">
                  <a:moveTo>
                    <a:pt x="127374" y="254748"/>
                  </a:moveTo>
                  <a:cubicBezTo>
                    <a:pt x="56697" y="254748"/>
                    <a:pt x="0" y="197274"/>
                    <a:pt x="0" y="127374"/>
                  </a:cubicBezTo>
                  <a:cubicBezTo>
                    <a:pt x="0" y="56697"/>
                    <a:pt x="57474" y="0"/>
                    <a:pt x="127374" y="0"/>
                  </a:cubicBezTo>
                  <a:cubicBezTo>
                    <a:pt x="198051" y="0"/>
                    <a:pt x="254748" y="57474"/>
                    <a:pt x="254748" y="127374"/>
                  </a:cubicBezTo>
                  <a:cubicBezTo>
                    <a:pt x="254748" y="198051"/>
                    <a:pt x="197274" y="254748"/>
                    <a:pt x="127374" y="254748"/>
                  </a:cubicBezTo>
                  <a:lnTo>
                    <a:pt x="127374" y="254748"/>
                  </a:lnTo>
                  <a:close/>
                  <a:moveTo>
                    <a:pt x="127374" y="20193"/>
                  </a:moveTo>
                  <a:cubicBezTo>
                    <a:pt x="68347" y="20193"/>
                    <a:pt x="20193" y="68347"/>
                    <a:pt x="20193" y="127374"/>
                  </a:cubicBezTo>
                  <a:cubicBezTo>
                    <a:pt x="20193" y="186401"/>
                    <a:pt x="68347" y="234555"/>
                    <a:pt x="127374" y="234555"/>
                  </a:cubicBezTo>
                  <a:cubicBezTo>
                    <a:pt x="186401" y="234555"/>
                    <a:pt x="234554" y="186401"/>
                    <a:pt x="234554" y="127374"/>
                  </a:cubicBezTo>
                  <a:cubicBezTo>
                    <a:pt x="234554" y="68347"/>
                    <a:pt x="186401" y="20193"/>
                    <a:pt x="127374" y="20193"/>
                  </a:cubicBezTo>
                  <a:lnTo>
                    <a:pt x="127374" y="20193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93" name="Forma Livre: Forma 92">
              <a:extLst>
                <a:ext uri="{FF2B5EF4-FFF2-40B4-BE49-F238E27FC236}">
                  <a16:creationId xmlns:a16="http://schemas.microsoft.com/office/drawing/2014/main" id="{184D7088-7349-4EB3-85B3-FF1343FC3057}"/>
                </a:ext>
              </a:extLst>
            </p:cNvPr>
            <p:cNvSpPr/>
            <p:nvPr/>
          </p:nvSpPr>
          <p:spPr>
            <a:xfrm>
              <a:off x="483779" y="2886884"/>
              <a:ext cx="153826" cy="40386"/>
            </a:xfrm>
            <a:custGeom>
              <a:avLst/>
              <a:gdLst>
                <a:gd name="connsiteX0" fmla="*/ 134364 w 153826"/>
                <a:gd name="connsiteY0" fmla="*/ 40387 h 40386"/>
                <a:gd name="connsiteX1" fmla="*/ 20193 w 153826"/>
                <a:gd name="connsiteY1" fmla="*/ 40387 h 40386"/>
                <a:gd name="connsiteX2" fmla="*/ 0 w 153826"/>
                <a:gd name="connsiteY2" fmla="*/ 20193 h 40386"/>
                <a:gd name="connsiteX3" fmla="*/ 20193 w 153826"/>
                <a:gd name="connsiteY3" fmla="*/ 0 h 40386"/>
                <a:gd name="connsiteX4" fmla="*/ 133587 w 153826"/>
                <a:gd name="connsiteY4" fmla="*/ 0 h 40386"/>
                <a:gd name="connsiteX5" fmla="*/ 153781 w 153826"/>
                <a:gd name="connsiteY5" fmla="*/ 20193 h 40386"/>
                <a:gd name="connsiteX6" fmla="*/ 134364 w 153826"/>
                <a:gd name="connsiteY6" fmla="*/ 40387 h 40386"/>
                <a:gd name="connsiteX7" fmla="*/ 134364 w 153826"/>
                <a:gd name="connsiteY7" fmla="*/ 40387 h 4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3826" h="40386">
                  <a:moveTo>
                    <a:pt x="134364" y="40387"/>
                  </a:moveTo>
                  <a:lnTo>
                    <a:pt x="20193" y="40387"/>
                  </a:lnTo>
                  <a:cubicBezTo>
                    <a:pt x="8543" y="40387"/>
                    <a:pt x="0" y="31067"/>
                    <a:pt x="0" y="20193"/>
                  </a:cubicBezTo>
                  <a:cubicBezTo>
                    <a:pt x="0" y="8543"/>
                    <a:pt x="9320" y="0"/>
                    <a:pt x="20193" y="0"/>
                  </a:cubicBezTo>
                  <a:lnTo>
                    <a:pt x="133587" y="0"/>
                  </a:lnTo>
                  <a:cubicBezTo>
                    <a:pt x="145237" y="0"/>
                    <a:pt x="153781" y="9320"/>
                    <a:pt x="153781" y="20193"/>
                  </a:cubicBezTo>
                  <a:cubicBezTo>
                    <a:pt x="154557" y="31067"/>
                    <a:pt x="145237" y="40387"/>
                    <a:pt x="134364" y="40387"/>
                  </a:cubicBezTo>
                  <a:lnTo>
                    <a:pt x="134364" y="40387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94" name="Gráfico 2">
              <a:extLst>
                <a:ext uri="{FF2B5EF4-FFF2-40B4-BE49-F238E27FC236}">
                  <a16:creationId xmlns:a16="http://schemas.microsoft.com/office/drawing/2014/main" id="{777488D5-C9B0-42ED-94FB-5C76F4BD1A17}"/>
                </a:ext>
              </a:extLst>
            </p:cNvPr>
            <p:cNvGrpSpPr/>
            <p:nvPr/>
          </p:nvGrpSpPr>
          <p:grpSpPr>
            <a:xfrm>
              <a:off x="168824" y="2590195"/>
              <a:ext cx="405874" cy="372025"/>
              <a:chOff x="168824" y="2590195"/>
              <a:chExt cx="405874" cy="372025"/>
            </a:xfrm>
            <a:grpFill/>
          </p:grpSpPr>
          <p:sp>
            <p:nvSpPr>
              <p:cNvPr id="95" name="Forma Livre: Forma 94">
                <a:extLst>
                  <a:ext uri="{FF2B5EF4-FFF2-40B4-BE49-F238E27FC236}">
                    <a16:creationId xmlns:a16="http://schemas.microsoft.com/office/drawing/2014/main" id="{F453306D-714E-43D2-B4D2-72E441D5B582}"/>
                  </a:ext>
                </a:extLst>
              </p:cNvPr>
              <p:cNvSpPr/>
              <p:nvPr/>
            </p:nvSpPr>
            <p:spPr>
              <a:xfrm>
                <a:off x="168824" y="2590195"/>
                <a:ext cx="248161" cy="372025"/>
              </a:xfrm>
              <a:custGeom>
                <a:avLst/>
                <a:gdLst>
                  <a:gd name="connsiteX0" fmla="*/ 20597 w 248161"/>
                  <a:gd name="connsiteY0" fmla="*/ 372025 h 372025"/>
                  <a:gd name="connsiteX1" fmla="*/ 11277 w 248161"/>
                  <a:gd name="connsiteY1" fmla="*/ 369695 h 372025"/>
                  <a:gd name="connsiteX2" fmla="*/ 1956 w 248161"/>
                  <a:gd name="connsiteY2" fmla="*/ 341735 h 372025"/>
                  <a:gd name="connsiteX3" fmla="*/ 7393 w 248161"/>
                  <a:gd name="connsiteY3" fmla="*/ 331638 h 372025"/>
                  <a:gd name="connsiteX4" fmla="*/ 36907 w 248161"/>
                  <a:gd name="connsiteY4" fmla="*/ 183294 h 372025"/>
                  <a:gd name="connsiteX5" fmla="*/ 216318 w 248161"/>
                  <a:gd name="connsiteY5" fmla="*/ 0 h 372025"/>
                  <a:gd name="connsiteX6" fmla="*/ 216318 w 248161"/>
                  <a:gd name="connsiteY6" fmla="*/ 0 h 372025"/>
                  <a:gd name="connsiteX7" fmla="*/ 227968 w 248161"/>
                  <a:gd name="connsiteY7" fmla="*/ 0 h 372025"/>
                  <a:gd name="connsiteX8" fmla="*/ 248161 w 248161"/>
                  <a:gd name="connsiteY8" fmla="*/ 20193 h 372025"/>
                  <a:gd name="connsiteX9" fmla="*/ 227968 w 248161"/>
                  <a:gd name="connsiteY9" fmla="*/ 40387 h 372025"/>
                  <a:gd name="connsiteX10" fmla="*/ 216318 w 248161"/>
                  <a:gd name="connsiteY10" fmla="*/ 40387 h 372025"/>
                  <a:gd name="connsiteX11" fmla="*/ 216318 w 248161"/>
                  <a:gd name="connsiteY11" fmla="*/ 40387 h 372025"/>
                  <a:gd name="connsiteX12" fmla="*/ 77294 w 248161"/>
                  <a:gd name="connsiteY12" fmla="*/ 185624 h 372025"/>
                  <a:gd name="connsiteX13" fmla="*/ 43120 w 248161"/>
                  <a:gd name="connsiteY13" fmla="*/ 349502 h 372025"/>
                  <a:gd name="connsiteX14" fmla="*/ 39237 w 248161"/>
                  <a:gd name="connsiteY14" fmla="*/ 361152 h 372025"/>
                  <a:gd name="connsiteX15" fmla="*/ 20597 w 248161"/>
                  <a:gd name="connsiteY15" fmla="*/ 372025 h 372025"/>
                  <a:gd name="connsiteX16" fmla="*/ 20597 w 248161"/>
                  <a:gd name="connsiteY16" fmla="*/ 372025 h 372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48161" h="372025">
                    <a:moveTo>
                      <a:pt x="20597" y="372025"/>
                    </a:moveTo>
                    <a:cubicBezTo>
                      <a:pt x="17490" y="372025"/>
                      <a:pt x="14383" y="371248"/>
                      <a:pt x="11277" y="369695"/>
                    </a:cubicBezTo>
                    <a:cubicBezTo>
                      <a:pt x="1180" y="364258"/>
                      <a:pt x="-2704" y="351832"/>
                      <a:pt x="1956" y="341735"/>
                    </a:cubicBezTo>
                    <a:lnTo>
                      <a:pt x="7393" y="331638"/>
                    </a:lnTo>
                    <a:cubicBezTo>
                      <a:pt x="23703" y="299795"/>
                      <a:pt x="28363" y="290475"/>
                      <a:pt x="36907" y="183294"/>
                    </a:cubicBezTo>
                    <a:cubicBezTo>
                      <a:pt x="45450" y="75337"/>
                      <a:pt x="119234" y="0"/>
                      <a:pt x="216318" y="0"/>
                    </a:cubicBezTo>
                    <a:cubicBezTo>
                      <a:pt x="216318" y="0"/>
                      <a:pt x="216318" y="0"/>
                      <a:pt x="216318" y="0"/>
                    </a:cubicBezTo>
                    <a:lnTo>
                      <a:pt x="227968" y="0"/>
                    </a:lnTo>
                    <a:cubicBezTo>
                      <a:pt x="239618" y="0"/>
                      <a:pt x="248161" y="9320"/>
                      <a:pt x="248161" y="20193"/>
                    </a:cubicBezTo>
                    <a:cubicBezTo>
                      <a:pt x="248161" y="31844"/>
                      <a:pt x="238841" y="40387"/>
                      <a:pt x="227968" y="40387"/>
                    </a:cubicBezTo>
                    <a:lnTo>
                      <a:pt x="216318" y="40387"/>
                    </a:lnTo>
                    <a:cubicBezTo>
                      <a:pt x="216318" y="40387"/>
                      <a:pt x="216318" y="40387"/>
                      <a:pt x="216318" y="40387"/>
                    </a:cubicBezTo>
                    <a:cubicBezTo>
                      <a:pt x="140204" y="40387"/>
                      <a:pt x="84284" y="98637"/>
                      <a:pt x="77294" y="185624"/>
                    </a:cubicBezTo>
                    <a:cubicBezTo>
                      <a:pt x="68750" y="295912"/>
                      <a:pt x="62537" y="311445"/>
                      <a:pt x="43120" y="349502"/>
                    </a:cubicBezTo>
                    <a:lnTo>
                      <a:pt x="39237" y="361152"/>
                    </a:lnTo>
                    <a:cubicBezTo>
                      <a:pt x="35353" y="368142"/>
                      <a:pt x="28363" y="372025"/>
                      <a:pt x="20597" y="372025"/>
                    </a:cubicBezTo>
                    <a:lnTo>
                      <a:pt x="20597" y="372025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96" name="Forma Livre: Forma 95">
                <a:extLst>
                  <a:ext uri="{FF2B5EF4-FFF2-40B4-BE49-F238E27FC236}">
                    <a16:creationId xmlns:a16="http://schemas.microsoft.com/office/drawing/2014/main" id="{3838B6B4-5740-4ABB-8A3E-644E105CC037}"/>
                  </a:ext>
                </a:extLst>
              </p:cNvPr>
              <p:cNvSpPr/>
              <p:nvPr/>
            </p:nvSpPr>
            <p:spPr>
              <a:xfrm>
                <a:off x="362618" y="2591749"/>
                <a:ext cx="212080" cy="205040"/>
              </a:xfrm>
              <a:custGeom>
                <a:avLst/>
                <a:gdLst>
                  <a:gd name="connsiteX0" fmla="*/ 191061 w 212080"/>
                  <a:gd name="connsiteY0" fmla="*/ 204264 h 205040"/>
                  <a:gd name="connsiteX1" fmla="*/ 170868 w 212080"/>
                  <a:gd name="connsiteY1" fmla="*/ 185624 h 205040"/>
                  <a:gd name="connsiteX2" fmla="*/ 31844 w 212080"/>
                  <a:gd name="connsiteY2" fmla="*/ 40387 h 205040"/>
                  <a:gd name="connsiteX3" fmla="*/ 31844 w 212080"/>
                  <a:gd name="connsiteY3" fmla="*/ 40387 h 205040"/>
                  <a:gd name="connsiteX4" fmla="*/ 20193 w 212080"/>
                  <a:gd name="connsiteY4" fmla="*/ 40387 h 205040"/>
                  <a:gd name="connsiteX5" fmla="*/ 0 w 212080"/>
                  <a:gd name="connsiteY5" fmla="*/ 20193 h 205040"/>
                  <a:gd name="connsiteX6" fmla="*/ 20193 w 212080"/>
                  <a:gd name="connsiteY6" fmla="*/ 0 h 205040"/>
                  <a:gd name="connsiteX7" fmla="*/ 31844 w 212080"/>
                  <a:gd name="connsiteY7" fmla="*/ 0 h 205040"/>
                  <a:gd name="connsiteX8" fmla="*/ 31844 w 212080"/>
                  <a:gd name="connsiteY8" fmla="*/ 0 h 205040"/>
                  <a:gd name="connsiteX9" fmla="*/ 212031 w 212080"/>
                  <a:gd name="connsiteY9" fmla="*/ 183294 h 205040"/>
                  <a:gd name="connsiteX10" fmla="*/ 193391 w 212080"/>
                  <a:gd name="connsiteY10" fmla="*/ 205041 h 205040"/>
                  <a:gd name="connsiteX11" fmla="*/ 191061 w 212080"/>
                  <a:gd name="connsiteY11" fmla="*/ 204264 h 205040"/>
                  <a:gd name="connsiteX12" fmla="*/ 191061 w 212080"/>
                  <a:gd name="connsiteY12" fmla="*/ 204264 h 205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12080" h="205040">
                    <a:moveTo>
                      <a:pt x="191061" y="204264"/>
                    </a:moveTo>
                    <a:cubicBezTo>
                      <a:pt x="180188" y="204264"/>
                      <a:pt x="171644" y="195721"/>
                      <a:pt x="170868" y="185624"/>
                    </a:cubicBezTo>
                    <a:cubicBezTo>
                      <a:pt x="163877" y="98637"/>
                      <a:pt x="107957" y="40387"/>
                      <a:pt x="31844" y="40387"/>
                    </a:cubicBezTo>
                    <a:cubicBezTo>
                      <a:pt x="31844" y="40387"/>
                      <a:pt x="31844" y="40387"/>
                      <a:pt x="31844" y="40387"/>
                    </a:cubicBezTo>
                    <a:lnTo>
                      <a:pt x="20193" y="40387"/>
                    </a:lnTo>
                    <a:cubicBezTo>
                      <a:pt x="8543" y="40387"/>
                      <a:pt x="0" y="31067"/>
                      <a:pt x="0" y="20193"/>
                    </a:cubicBezTo>
                    <a:cubicBezTo>
                      <a:pt x="0" y="8543"/>
                      <a:pt x="9320" y="0"/>
                      <a:pt x="20193" y="0"/>
                    </a:cubicBezTo>
                    <a:lnTo>
                      <a:pt x="31844" y="0"/>
                    </a:lnTo>
                    <a:cubicBezTo>
                      <a:pt x="31844" y="0"/>
                      <a:pt x="31844" y="0"/>
                      <a:pt x="31844" y="0"/>
                    </a:cubicBezTo>
                    <a:cubicBezTo>
                      <a:pt x="129704" y="0"/>
                      <a:pt x="203488" y="75337"/>
                      <a:pt x="212031" y="183294"/>
                    </a:cubicBezTo>
                    <a:cubicBezTo>
                      <a:pt x="212808" y="194944"/>
                      <a:pt x="204264" y="204264"/>
                      <a:pt x="193391" y="205041"/>
                    </a:cubicBezTo>
                    <a:cubicBezTo>
                      <a:pt x="191838" y="204264"/>
                      <a:pt x="191838" y="204264"/>
                      <a:pt x="191061" y="204264"/>
                    </a:cubicBezTo>
                    <a:lnTo>
                      <a:pt x="191061" y="204264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97" name="Forma Livre: Forma 96">
              <a:extLst>
                <a:ext uri="{FF2B5EF4-FFF2-40B4-BE49-F238E27FC236}">
                  <a16:creationId xmlns:a16="http://schemas.microsoft.com/office/drawing/2014/main" id="{D4E92DA3-8188-40E7-AA18-31F82ED2B511}"/>
                </a:ext>
              </a:extLst>
            </p:cNvPr>
            <p:cNvSpPr/>
            <p:nvPr/>
          </p:nvSpPr>
          <p:spPr>
            <a:xfrm>
              <a:off x="182431" y="2901300"/>
              <a:ext cx="268727" cy="61696"/>
            </a:xfrm>
            <a:custGeom>
              <a:avLst/>
              <a:gdLst>
                <a:gd name="connsiteX0" fmla="*/ 8543 w 268727"/>
                <a:gd name="connsiteY0" fmla="*/ 61697 h 61696"/>
                <a:gd name="connsiteX1" fmla="*/ 0 w 268727"/>
                <a:gd name="connsiteY1" fmla="*/ 21310 h 61696"/>
                <a:gd name="connsiteX2" fmla="*/ 268728 w 268727"/>
                <a:gd name="connsiteY2" fmla="*/ 1893 h 61696"/>
                <a:gd name="connsiteX3" fmla="*/ 266398 w 268727"/>
                <a:gd name="connsiteY3" fmla="*/ 43057 h 61696"/>
                <a:gd name="connsiteX4" fmla="*/ 8543 w 268727"/>
                <a:gd name="connsiteY4" fmla="*/ 61697 h 61696"/>
                <a:gd name="connsiteX5" fmla="*/ 8543 w 268727"/>
                <a:gd name="connsiteY5" fmla="*/ 61697 h 6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8727" h="61696">
                  <a:moveTo>
                    <a:pt x="8543" y="61697"/>
                  </a:moveTo>
                  <a:lnTo>
                    <a:pt x="0" y="21310"/>
                  </a:lnTo>
                  <a:cubicBezTo>
                    <a:pt x="88540" y="2670"/>
                    <a:pt x="178634" y="-3544"/>
                    <a:pt x="268728" y="1893"/>
                  </a:cubicBezTo>
                  <a:lnTo>
                    <a:pt x="266398" y="43057"/>
                  </a:lnTo>
                  <a:cubicBezTo>
                    <a:pt x="179411" y="37620"/>
                    <a:pt x="93200" y="43833"/>
                    <a:pt x="8543" y="61697"/>
                  </a:cubicBezTo>
                  <a:lnTo>
                    <a:pt x="8543" y="61697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98" name="Forma Livre: Forma 97">
              <a:extLst>
                <a:ext uri="{FF2B5EF4-FFF2-40B4-BE49-F238E27FC236}">
                  <a16:creationId xmlns:a16="http://schemas.microsoft.com/office/drawing/2014/main" id="{7F120D1F-3AF9-4552-A96B-83D390DC41E6}"/>
                </a:ext>
              </a:extLst>
            </p:cNvPr>
            <p:cNvSpPr/>
            <p:nvPr/>
          </p:nvSpPr>
          <p:spPr>
            <a:xfrm>
              <a:off x="370385" y="2549808"/>
              <a:ext cx="40386" cy="78443"/>
            </a:xfrm>
            <a:custGeom>
              <a:avLst/>
              <a:gdLst>
                <a:gd name="connsiteX0" fmla="*/ 20193 w 40386"/>
                <a:gd name="connsiteY0" fmla="*/ 78444 h 78443"/>
                <a:gd name="connsiteX1" fmla="*/ 0 w 40386"/>
                <a:gd name="connsiteY1" fmla="*/ 58250 h 78443"/>
                <a:gd name="connsiteX2" fmla="*/ 0 w 40386"/>
                <a:gd name="connsiteY2" fmla="*/ 20193 h 78443"/>
                <a:gd name="connsiteX3" fmla="*/ 20193 w 40386"/>
                <a:gd name="connsiteY3" fmla="*/ 0 h 78443"/>
                <a:gd name="connsiteX4" fmla="*/ 40387 w 40386"/>
                <a:gd name="connsiteY4" fmla="*/ 20193 h 78443"/>
                <a:gd name="connsiteX5" fmla="*/ 40387 w 40386"/>
                <a:gd name="connsiteY5" fmla="*/ 58250 h 78443"/>
                <a:gd name="connsiteX6" fmla="*/ 20193 w 40386"/>
                <a:gd name="connsiteY6" fmla="*/ 78444 h 78443"/>
                <a:gd name="connsiteX7" fmla="*/ 20193 w 40386"/>
                <a:gd name="connsiteY7" fmla="*/ 78444 h 78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86" h="78443">
                  <a:moveTo>
                    <a:pt x="20193" y="78444"/>
                  </a:moveTo>
                  <a:cubicBezTo>
                    <a:pt x="8543" y="78444"/>
                    <a:pt x="0" y="69124"/>
                    <a:pt x="0" y="58250"/>
                  </a:cubicBezTo>
                  <a:lnTo>
                    <a:pt x="0" y="20193"/>
                  </a:lnTo>
                  <a:cubicBezTo>
                    <a:pt x="0" y="8543"/>
                    <a:pt x="9320" y="0"/>
                    <a:pt x="20193" y="0"/>
                  </a:cubicBezTo>
                  <a:cubicBezTo>
                    <a:pt x="31844" y="0"/>
                    <a:pt x="40387" y="9320"/>
                    <a:pt x="40387" y="20193"/>
                  </a:cubicBezTo>
                  <a:lnTo>
                    <a:pt x="40387" y="58250"/>
                  </a:lnTo>
                  <a:cubicBezTo>
                    <a:pt x="40387" y="69124"/>
                    <a:pt x="31067" y="78444"/>
                    <a:pt x="20193" y="78444"/>
                  </a:cubicBezTo>
                  <a:lnTo>
                    <a:pt x="20193" y="78444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99" name="Forma Livre: Forma 98">
              <a:extLst>
                <a:ext uri="{FF2B5EF4-FFF2-40B4-BE49-F238E27FC236}">
                  <a16:creationId xmlns:a16="http://schemas.microsoft.com/office/drawing/2014/main" id="{C1BAD25D-79BF-458F-AFD0-BBBBFEA7F6B0}"/>
                </a:ext>
              </a:extLst>
            </p:cNvPr>
            <p:cNvSpPr/>
            <p:nvPr/>
          </p:nvSpPr>
          <p:spPr>
            <a:xfrm>
              <a:off x="331551" y="2920280"/>
              <a:ext cx="115090" cy="78443"/>
            </a:xfrm>
            <a:custGeom>
              <a:avLst/>
              <a:gdLst>
                <a:gd name="connsiteX0" fmla="*/ 58250 w 115090"/>
                <a:gd name="connsiteY0" fmla="*/ 78444 h 78443"/>
                <a:gd name="connsiteX1" fmla="*/ 0 w 115090"/>
                <a:gd name="connsiteY1" fmla="*/ 20193 h 78443"/>
                <a:gd name="connsiteX2" fmla="*/ 20193 w 115090"/>
                <a:gd name="connsiteY2" fmla="*/ 0 h 78443"/>
                <a:gd name="connsiteX3" fmla="*/ 40387 w 115090"/>
                <a:gd name="connsiteY3" fmla="*/ 20193 h 78443"/>
                <a:gd name="connsiteX4" fmla="*/ 57474 w 115090"/>
                <a:gd name="connsiteY4" fmla="*/ 37280 h 78443"/>
                <a:gd name="connsiteX5" fmla="*/ 74560 w 115090"/>
                <a:gd name="connsiteY5" fmla="*/ 20193 h 78443"/>
                <a:gd name="connsiteX6" fmla="*/ 94754 w 115090"/>
                <a:gd name="connsiteY6" fmla="*/ 0 h 78443"/>
                <a:gd name="connsiteX7" fmla="*/ 114947 w 115090"/>
                <a:gd name="connsiteY7" fmla="*/ 20193 h 78443"/>
                <a:gd name="connsiteX8" fmla="*/ 58250 w 115090"/>
                <a:gd name="connsiteY8" fmla="*/ 78444 h 78443"/>
                <a:gd name="connsiteX9" fmla="*/ 58250 w 115090"/>
                <a:gd name="connsiteY9" fmla="*/ 78444 h 78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5090" h="78443">
                  <a:moveTo>
                    <a:pt x="58250" y="78444"/>
                  </a:moveTo>
                  <a:cubicBezTo>
                    <a:pt x="26407" y="78444"/>
                    <a:pt x="0" y="52037"/>
                    <a:pt x="0" y="20193"/>
                  </a:cubicBezTo>
                  <a:cubicBezTo>
                    <a:pt x="0" y="8543"/>
                    <a:pt x="9320" y="0"/>
                    <a:pt x="20193" y="0"/>
                  </a:cubicBezTo>
                  <a:cubicBezTo>
                    <a:pt x="31843" y="0"/>
                    <a:pt x="40387" y="9320"/>
                    <a:pt x="40387" y="20193"/>
                  </a:cubicBezTo>
                  <a:cubicBezTo>
                    <a:pt x="40387" y="29513"/>
                    <a:pt x="48154" y="37280"/>
                    <a:pt x="57474" y="37280"/>
                  </a:cubicBezTo>
                  <a:cubicBezTo>
                    <a:pt x="66794" y="37280"/>
                    <a:pt x="74560" y="29513"/>
                    <a:pt x="74560" y="20193"/>
                  </a:cubicBezTo>
                  <a:cubicBezTo>
                    <a:pt x="74560" y="8543"/>
                    <a:pt x="83880" y="0"/>
                    <a:pt x="94754" y="0"/>
                  </a:cubicBezTo>
                  <a:cubicBezTo>
                    <a:pt x="105627" y="0"/>
                    <a:pt x="114947" y="9320"/>
                    <a:pt x="114947" y="20193"/>
                  </a:cubicBezTo>
                  <a:cubicBezTo>
                    <a:pt x="117277" y="52037"/>
                    <a:pt x="90870" y="78444"/>
                    <a:pt x="58250" y="78444"/>
                  </a:cubicBezTo>
                  <a:lnTo>
                    <a:pt x="58250" y="78444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00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10492888" y="521606"/>
            <a:ext cx="444371" cy="388469"/>
            <a:chOff x="11501820" y="10873"/>
            <a:chExt cx="546387" cy="477652"/>
          </a:xfrm>
          <a:solidFill>
            <a:srgbClr val="B1B1A1"/>
          </a:solidFill>
        </p:grpSpPr>
        <p:sp>
          <p:nvSpPr>
            <p:cNvPr id="101" name="Forma Livre: Forma 100">
              <a:extLst>
                <a:ext uri="{FF2B5EF4-FFF2-40B4-BE49-F238E27FC236}">
                  <a16:creationId xmlns:a16="http://schemas.microsoft.com/office/drawing/2014/main" id="{F60D2E17-9530-4BA2-A8B2-4498AC221E73}"/>
                </a:ext>
              </a:extLst>
            </p:cNvPr>
            <p:cNvSpPr/>
            <p:nvPr/>
          </p:nvSpPr>
          <p:spPr>
            <a:xfrm>
              <a:off x="11751713" y="180187"/>
              <a:ext cx="42716" cy="212031"/>
            </a:xfrm>
            <a:custGeom>
              <a:avLst/>
              <a:gdLst>
                <a:gd name="connsiteX0" fmla="*/ 6214 w 42716"/>
                <a:gd name="connsiteY0" fmla="*/ 119607 h 212031"/>
                <a:gd name="connsiteX1" fmla="*/ 1554 w 42716"/>
                <a:gd name="connsiteY1" fmla="*/ 52037 h 212031"/>
                <a:gd name="connsiteX2" fmla="*/ 0 w 42716"/>
                <a:gd name="connsiteY2" fmla="*/ 24077 h 212031"/>
                <a:gd name="connsiteX3" fmla="*/ 6214 w 42716"/>
                <a:gd name="connsiteY3" fmla="*/ 6213 h 212031"/>
                <a:gd name="connsiteX4" fmla="*/ 22524 w 42716"/>
                <a:gd name="connsiteY4" fmla="*/ 0 h 212031"/>
                <a:gd name="connsiteX5" fmla="*/ 38834 w 42716"/>
                <a:gd name="connsiteY5" fmla="*/ 8543 h 212031"/>
                <a:gd name="connsiteX6" fmla="*/ 42717 w 42716"/>
                <a:gd name="connsiteY6" fmla="*/ 32620 h 212031"/>
                <a:gd name="connsiteX7" fmla="*/ 41940 w 42716"/>
                <a:gd name="connsiteY7" fmla="*/ 51260 h 212031"/>
                <a:gd name="connsiteX8" fmla="*/ 35728 w 42716"/>
                <a:gd name="connsiteY8" fmla="*/ 120384 h 212031"/>
                <a:gd name="connsiteX9" fmla="*/ 31844 w 42716"/>
                <a:gd name="connsiteY9" fmla="*/ 139024 h 212031"/>
                <a:gd name="connsiteX10" fmla="*/ 20971 w 42716"/>
                <a:gd name="connsiteY10" fmla="*/ 146014 h 212031"/>
                <a:gd name="connsiteX11" fmla="*/ 10097 w 42716"/>
                <a:gd name="connsiteY11" fmla="*/ 139801 h 212031"/>
                <a:gd name="connsiteX12" fmla="*/ 6214 w 42716"/>
                <a:gd name="connsiteY12" fmla="*/ 119607 h 212031"/>
                <a:gd name="connsiteX13" fmla="*/ 21747 w 42716"/>
                <a:gd name="connsiteY13" fmla="*/ 212031 h 212031"/>
                <a:gd name="connsiteX14" fmla="*/ 6990 w 42716"/>
                <a:gd name="connsiteY14" fmla="*/ 206594 h 212031"/>
                <a:gd name="connsiteX15" fmla="*/ 777 w 42716"/>
                <a:gd name="connsiteY15" fmla="*/ 191061 h 212031"/>
                <a:gd name="connsiteX16" fmla="*/ 6990 w 42716"/>
                <a:gd name="connsiteY16" fmla="*/ 176304 h 212031"/>
                <a:gd name="connsiteX17" fmla="*/ 21747 w 42716"/>
                <a:gd name="connsiteY17" fmla="*/ 170091 h 212031"/>
                <a:gd name="connsiteX18" fmla="*/ 36504 w 42716"/>
                <a:gd name="connsiteY18" fmla="*/ 176304 h 212031"/>
                <a:gd name="connsiteX19" fmla="*/ 42717 w 42716"/>
                <a:gd name="connsiteY19" fmla="*/ 191061 h 212031"/>
                <a:gd name="connsiteX20" fmla="*/ 36504 w 42716"/>
                <a:gd name="connsiteY20" fmla="*/ 206594 h 212031"/>
                <a:gd name="connsiteX21" fmla="*/ 21747 w 42716"/>
                <a:gd name="connsiteY21" fmla="*/ 212031 h 212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2716" h="212031">
                  <a:moveTo>
                    <a:pt x="6214" y="119607"/>
                  </a:moveTo>
                  <a:lnTo>
                    <a:pt x="1554" y="52037"/>
                  </a:lnTo>
                  <a:cubicBezTo>
                    <a:pt x="777" y="38834"/>
                    <a:pt x="0" y="29513"/>
                    <a:pt x="0" y="24077"/>
                  </a:cubicBezTo>
                  <a:cubicBezTo>
                    <a:pt x="0" y="16310"/>
                    <a:pt x="2330" y="10097"/>
                    <a:pt x="6214" y="6213"/>
                  </a:cubicBezTo>
                  <a:cubicBezTo>
                    <a:pt x="10097" y="1553"/>
                    <a:pt x="15533" y="0"/>
                    <a:pt x="22524" y="0"/>
                  </a:cubicBezTo>
                  <a:cubicBezTo>
                    <a:pt x="30290" y="0"/>
                    <a:pt x="35728" y="3107"/>
                    <a:pt x="38834" y="8543"/>
                  </a:cubicBezTo>
                  <a:cubicBezTo>
                    <a:pt x="41164" y="13980"/>
                    <a:pt x="42717" y="22523"/>
                    <a:pt x="42717" y="32620"/>
                  </a:cubicBezTo>
                  <a:cubicBezTo>
                    <a:pt x="42717" y="38834"/>
                    <a:pt x="42717" y="45047"/>
                    <a:pt x="41940" y="51260"/>
                  </a:cubicBezTo>
                  <a:lnTo>
                    <a:pt x="35728" y="120384"/>
                  </a:lnTo>
                  <a:cubicBezTo>
                    <a:pt x="34950" y="128927"/>
                    <a:pt x="33397" y="135141"/>
                    <a:pt x="31844" y="139024"/>
                  </a:cubicBezTo>
                  <a:cubicBezTo>
                    <a:pt x="29514" y="143684"/>
                    <a:pt x="26407" y="146014"/>
                    <a:pt x="20971" y="146014"/>
                  </a:cubicBezTo>
                  <a:cubicBezTo>
                    <a:pt x="15533" y="146014"/>
                    <a:pt x="12427" y="143684"/>
                    <a:pt x="10097" y="139801"/>
                  </a:cubicBezTo>
                  <a:cubicBezTo>
                    <a:pt x="8544" y="135141"/>
                    <a:pt x="6990" y="128151"/>
                    <a:pt x="6214" y="119607"/>
                  </a:cubicBezTo>
                  <a:close/>
                  <a:moveTo>
                    <a:pt x="21747" y="212031"/>
                  </a:moveTo>
                  <a:cubicBezTo>
                    <a:pt x="16311" y="212031"/>
                    <a:pt x="10874" y="210478"/>
                    <a:pt x="6990" y="206594"/>
                  </a:cubicBezTo>
                  <a:cubicBezTo>
                    <a:pt x="3107" y="202711"/>
                    <a:pt x="777" y="198051"/>
                    <a:pt x="777" y="191061"/>
                  </a:cubicBezTo>
                  <a:cubicBezTo>
                    <a:pt x="777" y="185624"/>
                    <a:pt x="3107" y="180188"/>
                    <a:pt x="6990" y="176304"/>
                  </a:cubicBezTo>
                  <a:cubicBezTo>
                    <a:pt x="10874" y="172421"/>
                    <a:pt x="16311" y="170091"/>
                    <a:pt x="21747" y="170091"/>
                  </a:cubicBezTo>
                  <a:cubicBezTo>
                    <a:pt x="27961" y="170091"/>
                    <a:pt x="32621" y="172421"/>
                    <a:pt x="36504" y="176304"/>
                  </a:cubicBezTo>
                  <a:cubicBezTo>
                    <a:pt x="40387" y="180188"/>
                    <a:pt x="42717" y="185624"/>
                    <a:pt x="42717" y="191061"/>
                  </a:cubicBezTo>
                  <a:cubicBezTo>
                    <a:pt x="42717" y="197274"/>
                    <a:pt x="40387" y="202711"/>
                    <a:pt x="36504" y="206594"/>
                  </a:cubicBezTo>
                  <a:cubicBezTo>
                    <a:pt x="31844" y="210478"/>
                    <a:pt x="27183" y="212031"/>
                    <a:pt x="21747" y="212031"/>
                  </a:cubicBez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02" name="Forma Livre: Forma 101">
              <a:extLst>
                <a:ext uri="{FF2B5EF4-FFF2-40B4-BE49-F238E27FC236}">
                  <a16:creationId xmlns:a16="http://schemas.microsoft.com/office/drawing/2014/main" id="{F4E2D9EC-547C-4608-A3DB-DBF3B14542C3}"/>
                </a:ext>
              </a:extLst>
            </p:cNvPr>
            <p:cNvSpPr/>
            <p:nvPr/>
          </p:nvSpPr>
          <p:spPr>
            <a:xfrm>
              <a:off x="11501820" y="10873"/>
              <a:ext cx="546387" cy="477652"/>
            </a:xfrm>
            <a:custGeom>
              <a:avLst/>
              <a:gdLst>
                <a:gd name="connsiteX0" fmla="*/ 526389 w 546387"/>
                <a:gd name="connsiteY0" fmla="*/ 477652 h 477652"/>
                <a:gd name="connsiteX1" fmla="*/ 20775 w 546387"/>
                <a:gd name="connsiteY1" fmla="*/ 477652 h 477652"/>
                <a:gd name="connsiteX2" fmla="*/ 2913 w 546387"/>
                <a:gd name="connsiteY2" fmla="*/ 467556 h 477652"/>
                <a:gd name="connsiteX3" fmla="*/ 2913 w 546387"/>
                <a:gd name="connsiteY3" fmla="*/ 447362 h 477652"/>
                <a:gd name="connsiteX4" fmla="*/ 255330 w 546387"/>
                <a:gd name="connsiteY4" fmla="*/ 9320 h 477652"/>
                <a:gd name="connsiteX5" fmla="*/ 291057 w 546387"/>
                <a:gd name="connsiteY5" fmla="*/ 9320 h 477652"/>
                <a:gd name="connsiteX6" fmla="*/ 543475 w 546387"/>
                <a:gd name="connsiteY6" fmla="*/ 447362 h 477652"/>
                <a:gd name="connsiteX7" fmla="*/ 543475 w 546387"/>
                <a:gd name="connsiteY7" fmla="*/ 467556 h 477652"/>
                <a:gd name="connsiteX8" fmla="*/ 526389 w 546387"/>
                <a:gd name="connsiteY8" fmla="*/ 477652 h 477652"/>
                <a:gd name="connsiteX9" fmla="*/ 526389 w 546387"/>
                <a:gd name="connsiteY9" fmla="*/ 477652 h 477652"/>
                <a:gd name="connsiteX10" fmla="*/ 56503 w 546387"/>
                <a:gd name="connsiteY10" fmla="*/ 436489 h 477652"/>
                <a:gd name="connsiteX11" fmla="*/ 490661 w 546387"/>
                <a:gd name="connsiteY11" fmla="*/ 436489 h 477652"/>
                <a:gd name="connsiteX12" fmla="*/ 273193 w 546387"/>
                <a:gd name="connsiteY12" fmla="*/ 60580 h 477652"/>
                <a:gd name="connsiteX13" fmla="*/ 56503 w 546387"/>
                <a:gd name="connsiteY13" fmla="*/ 436489 h 477652"/>
                <a:gd name="connsiteX14" fmla="*/ 56503 w 546387"/>
                <a:gd name="connsiteY14" fmla="*/ 436489 h 477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46387" h="477652">
                  <a:moveTo>
                    <a:pt x="526389" y="477652"/>
                  </a:moveTo>
                  <a:lnTo>
                    <a:pt x="20775" y="477652"/>
                  </a:lnTo>
                  <a:cubicBezTo>
                    <a:pt x="13786" y="477652"/>
                    <a:pt x="6796" y="473769"/>
                    <a:pt x="2913" y="467556"/>
                  </a:cubicBezTo>
                  <a:cubicBezTo>
                    <a:pt x="-971" y="461342"/>
                    <a:pt x="-971" y="453576"/>
                    <a:pt x="2913" y="447362"/>
                  </a:cubicBezTo>
                  <a:lnTo>
                    <a:pt x="255330" y="9320"/>
                  </a:lnTo>
                  <a:cubicBezTo>
                    <a:pt x="262321" y="-3107"/>
                    <a:pt x="283290" y="-3107"/>
                    <a:pt x="291057" y="9320"/>
                  </a:cubicBezTo>
                  <a:lnTo>
                    <a:pt x="543475" y="447362"/>
                  </a:lnTo>
                  <a:cubicBezTo>
                    <a:pt x="547358" y="453576"/>
                    <a:pt x="547358" y="461342"/>
                    <a:pt x="543475" y="467556"/>
                  </a:cubicBezTo>
                  <a:cubicBezTo>
                    <a:pt x="541145" y="473769"/>
                    <a:pt x="534155" y="477652"/>
                    <a:pt x="526389" y="477652"/>
                  </a:cubicBezTo>
                  <a:lnTo>
                    <a:pt x="526389" y="477652"/>
                  </a:lnTo>
                  <a:close/>
                  <a:moveTo>
                    <a:pt x="56503" y="436489"/>
                  </a:moveTo>
                  <a:lnTo>
                    <a:pt x="490661" y="436489"/>
                  </a:lnTo>
                  <a:lnTo>
                    <a:pt x="273193" y="60580"/>
                  </a:lnTo>
                  <a:lnTo>
                    <a:pt x="56503" y="436489"/>
                  </a:lnTo>
                  <a:lnTo>
                    <a:pt x="56503" y="436489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sp>
        <p:nvSpPr>
          <p:cNvPr id="103" name="Forma Livre: Forma 102">
            <a:extLst>
              <a:ext uri="{FF2B5EF4-FFF2-40B4-BE49-F238E27FC236}">
                <a16:creationId xmlns:a16="http://schemas.microsoft.com/office/drawing/2014/main" id="{F77C3C86-CCFC-431D-B4CB-22A1427238E9}"/>
              </a:ext>
            </a:extLst>
          </p:cNvPr>
          <p:cNvSpPr/>
          <p:nvPr/>
        </p:nvSpPr>
        <p:spPr>
          <a:xfrm>
            <a:off x="10519260" y="3626202"/>
            <a:ext cx="392891" cy="392890"/>
          </a:xfrm>
          <a:custGeom>
            <a:avLst/>
            <a:gdLst>
              <a:gd name="connsiteX0" fmla="*/ 267951 w 483089"/>
              <a:gd name="connsiteY0" fmla="*/ 483089 h 483088"/>
              <a:gd name="connsiteX1" fmla="*/ 215138 w 483089"/>
              <a:gd name="connsiteY1" fmla="*/ 483089 h 483088"/>
              <a:gd name="connsiteX2" fmla="*/ 180188 w 483089"/>
              <a:gd name="connsiteY2" fmla="*/ 448139 h 483088"/>
              <a:gd name="connsiteX3" fmla="*/ 180188 w 483089"/>
              <a:gd name="connsiteY3" fmla="*/ 413966 h 483088"/>
              <a:gd name="connsiteX4" fmla="*/ 163878 w 483089"/>
              <a:gd name="connsiteY4" fmla="*/ 407752 h 483088"/>
              <a:gd name="connsiteX5" fmla="*/ 139024 w 483089"/>
              <a:gd name="connsiteY5" fmla="*/ 431052 h 483088"/>
              <a:gd name="connsiteX6" fmla="*/ 89317 w 483089"/>
              <a:gd name="connsiteY6" fmla="*/ 431052 h 483088"/>
              <a:gd name="connsiteX7" fmla="*/ 52037 w 483089"/>
              <a:gd name="connsiteY7" fmla="*/ 393772 h 483088"/>
              <a:gd name="connsiteX8" fmla="*/ 41940 w 483089"/>
              <a:gd name="connsiteY8" fmla="*/ 368919 h 483088"/>
              <a:gd name="connsiteX9" fmla="*/ 52037 w 483089"/>
              <a:gd name="connsiteY9" fmla="*/ 344065 h 483088"/>
              <a:gd name="connsiteX10" fmla="*/ 76114 w 483089"/>
              <a:gd name="connsiteY10" fmla="*/ 319988 h 483088"/>
              <a:gd name="connsiteX11" fmla="*/ 69124 w 483089"/>
              <a:gd name="connsiteY11" fmla="*/ 303678 h 483088"/>
              <a:gd name="connsiteX12" fmla="*/ 34950 w 483089"/>
              <a:gd name="connsiteY12" fmla="*/ 302902 h 483088"/>
              <a:gd name="connsiteX13" fmla="*/ 0 w 483089"/>
              <a:gd name="connsiteY13" fmla="*/ 267952 h 483088"/>
              <a:gd name="connsiteX14" fmla="*/ 0 w 483089"/>
              <a:gd name="connsiteY14" fmla="*/ 215138 h 483088"/>
              <a:gd name="connsiteX15" fmla="*/ 34950 w 483089"/>
              <a:gd name="connsiteY15" fmla="*/ 180187 h 483088"/>
              <a:gd name="connsiteX16" fmla="*/ 69124 w 483089"/>
              <a:gd name="connsiteY16" fmla="*/ 180187 h 483088"/>
              <a:gd name="connsiteX17" fmla="*/ 75338 w 483089"/>
              <a:gd name="connsiteY17" fmla="*/ 163878 h 483088"/>
              <a:gd name="connsiteX18" fmla="*/ 52037 w 483089"/>
              <a:gd name="connsiteY18" fmla="*/ 139024 h 483088"/>
              <a:gd name="connsiteX19" fmla="*/ 41940 w 483089"/>
              <a:gd name="connsiteY19" fmla="*/ 114171 h 483088"/>
              <a:gd name="connsiteX20" fmla="*/ 52037 w 483089"/>
              <a:gd name="connsiteY20" fmla="*/ 89317 h 483088"/>
              <a:gd name="connsiteX21" fmla="*/ 89317 w 483089"/>
              <a:gd name="connsiteY21" fmla="*/ 52037 h 483088"/>
              <a:gd name="connsiteX22" fmla="*/ 139024 w 483089"/>
              <a:gd name="connsiteY22" fmla="*/ 52037 h 483088"/>
              <a:gd name="connsiteX23" fmla="*/ 163101 w 483089"/>
              <a:gd name="connsiteY23" fmla="*/ 76114 h 483088"/>
              <a:gd name="connsiteX24" fmla="*/ 179412 w 483089"/>
              <a:gd name="connsiteY24" fmla="*/ 69124 h 483088"/>
              <a:gd name="connsiteX25" fmla="*/ 180188 w 483089"/>
              <a:gd name="connsiteY25" fmla="*/ 34950 h 483088"/>
              <a:gd name="connsiteX26" fmla="*/ 215138 w 483089"/>
              <a:gd name="connsiteY26" fmla="*/ 0 h 483088"/>
              <a:gd name="connsiteX27" fmla="*/ 267951 w 483089"/>
              <a:gd name="connsiteY27" fmla="*/ 0 h 483088"/>
              <a:gd name="connsiteX28" fmla="*/ 302901 w 483089"/>
              <a:gd name="connsiteY28" fmla="*/ 34950 h 483088"/>
              <a:gd name="connsiteX29" fmla="*/ 302901 w 483089"/>
              <a:gd name="connsiteY29" fmla="*/ 69124 h 483088"/>
              <a:gd name="connsiteX30" fmla="*/ 319212 w 483089"/>
              <a:gd name="connsiteY30" fmla="*/ 75337 h 483088"/>
              <a:gd name="connsiteX31" fmla="*/ 344065 w 483089"/>
              <a:gd name="connsiteY31" fmla="*/ 52037 h 483088"/>
              <a:gd name="connsiteX32" fmla="*/ 368918 w 483089"/>
              <a:gd name="connsiteY32" fmla="*/ 41940 h 483088"/>
              <a:gd name="connsiteX33" fmla="*/ 368918 w 483089"/>
              <a:gd name="connsiteY33" fmla="*/ 41940 h 483088"/>
              <a:gd name="connsiteX34" fmla="*/ 393773 w 483089"/>
              <a:gd name="connsiteY34" fmla="*/ 52037 h 483088"/>
              <a:gd name="connsiteX35" fmla="*/ 431052 w 483089"/>
              <a:gd name="connsiteY35" fmla="*/ 89317 h 483088"/>
              <a:gd name="connsiteX36" fmla="*/ 441149 w 483089"/>
              <a:gd name="connsiteY36" fmla="*/ 114171 h 483088"/>
              <a:gd name="connsiteX37" fmla="*/ 431052 w 483089"/>
              <a:gd name="connsiteY37" fmla="*/ 139024 h 483088"/>
              <a:gd name="connsiteX38" fmla="*/ 406976 w 483089"/>
              <a:gd name="connsiteY38" fmla="*/ 163101 h 483088"/>
              <a:gd name="connsiteX39" fmla="*/ 413966 w 483089"/>
              <a:gd name="connsiteY39" fmla="*/ 179411 h 483088"/>
              <a:gd name="connsiteX40" fmla="*/ 448139 w 483089"/>
              <a:gd name="connsiteY40" fmla="*/ 180187 h 483088"/>
              <a:gd name="connsiteX41" fmla="*/ 483090 w 483089"/>
              <a:gd name="connsiteY41" fmla="*/ 215138 h 483088"/>
              <a:gd name="connsiteX42" fmla="*/ 483090 w 483089"/>
              <a:gd name="connsiteY42" fmla="*/ 267952 h 483088"/>
              <a:gd name="connsiteX43" fmla="*/ 448139 w 483089"/>
              <a:gd name="connsiteY43" fmla="*/ 302902 h 483088"/>
              <a:gd name="connsiteX44" fmla="*/ 413966 w 483089"/>
              <a:gd name="connsiteY44" fmla="*/ 302902 h 483088"/>
              <a:gd name="connsiteX45" fmla="*/ 407752 w 483089"/>
              <a:gd name="connsiteY45" fmla="*/ 319212 h 483088"/>
              <a:gd name="connsiteX46" fmla="*/ 431052 w 483089"/>
              <a:gd name="connsiteY46" fmla="*/ 344065 h 483088"/>
              <a:gd name="connsiteX47" fmla="*/ 441149 w 483089"/>
              <a:gd name="connsiteY47" fmla="*/ 368919 h 483088"/>
              <a:gd name="connsiteX48" fmla="*/ 431052 w 483089"/>
              <a:gd name="connsiteY48" fmla="*/ 393772 h 483088"/>
              <a:gd name="connsiteX49" fmla="*/ 393773 w 483089"/>
              <a:gd name="connsiteY49" fmla="*/ 431052 h 483088"/>
              <a:gd name="connsiteX50" fmla="*/ 344065 w 483089"/>
              <a:gd name="connsiteY50" fmla="*/ 431052 h 483088"/>
              <a:gd name="connsiteX51" fmla="*/ 319989 w 483089"/>
              <a:gd name="connsiteY51" fmla="*/ 406975 h 483088"/>
              <a:gd name="connsiteX52" fmla="*/ 303679 w 483089"/>
              <a:gd name="connsiteY52" fmla="*/ 413966 h 483088"/>
              <a:gd name="connsiteX53" fmla="*/ 302901 w 483089"/>
              <a:gd name="connsiteY53" fmla="*/ 448139 h 483088"/>
              <a:gd name="connsiteX54" fmla="*/ 267951 w 483089"/>
              <a:gd name="connsiteY54" fmla="*/ 483089 h 483088"/>
              <a:gd name="connsiteX55" fmla="*/ 267951 w 483089"/>
              <a:gd name="connsiteY55" fmla="*/ 483089 h 483088"/>
              <a:gd name="connsiteX56" fmla="*/ 221351 w 483089"/>
              <a:gd name="connsiteY56" fmla="*/ 441925 h 483088"/>
              <a:gd name="connsiteX57" fmla="*/ 261739 w 483089"/>
              <a:gd name="connsiteY57" fmla="*/ 441925 h 483088"/>
              <a:gd name="connsiteX58" fmla="*/ 261739 w 483089"/>
              <a:gd name="connsiteY58" fmla="*/ 413966 h 483088"/>
              <a:gd name="connsiteX59" fmla="*/ 289698 w 483089"/>
              <a:gd name="connsiteY59" fmla="*/ 375132 h 483088"/>
              <a:gd name="connsiteX60" fmla="*/ 303679 w 483089"/>
              <a:gd name="connsiteY60" fmla="*/ 368919 h 483088"/>
              <a:gd name="connsiteX61" fmla="*/ 319989 w 483089"/>
              <a:gd name="connsiteY61" fmla="*/ 365812 h 483088"/>
              <a:gd name="connsiteX62" fmla="*/ 349502 w 483089"/>
              <a:gd name="connsiteY62" fmla="*/ 377462 h 483088"/>
              <a:gd name="connsiteX63" fmla="*/ 369696 w 483089"/>
              <a:gd name="connsiteY63" fmla="*/ 397655 h 483088"/>
              <a:gd name="connsiteX64" fmla="*/ 398432 w 483089"/>
              <a:gd name="connsiteY64" fmla="*/ 368919 h 483088"/>
              <a:gd name="connsiteX65" fmla="*/ 378239 w 483089"/>
              <a:gd name="connsiteY65" fmla="*/ 348725 h 483088"/>
              <a:gd name="connsiteX66" fmla="*/ 370472 w 483089"/>
              <a:gd name="connsiteY66" fmla="*/ 302125 h 483088"/>
              <a:gd name="connsiteX67" fmla="*/ 375909 w 483089"/>
              <a:gd name="connsiteY67" fmla="*/ 288145 h 483088"/>
              <a:gd name="connsiteX68" fmla="*/ 413966 w 483089"/>
              <a:gd name="connsiteY68" fmla="*/ 261738 h 483088"/>
              <a:gd name="connsiteX69" fmla="*/ 441926 w 483089"/>
              <a:gd name="connsiteY69" fmla="*/ 261738 h 483088"/>
              <a:gd name="connsiteX70" fmla="*/ 441926 w 483089"/>
              <a:gd name="connsiteY70" fmla="*/ 221351 h 483088"/>
              <a:gd name="connsiteX71" fmla="*/ 413966 w 483089"/>
              <a:gd name="connsiteY71" fmla="*/ 221351 h 483088"/>
              <a:gd name="connsiteX72" fmla="*/ 375132 w 483089"/>
              <a:gd name="connsiteY72" fmla="*/ 193391 h 483088"/>
              <a:gd name="connsiteX73" fmla="*/ 368918 w 483089"/>
              <a:gd name="connsiteY73" fmla="*/ 179411 h 483088"/>
              <a:gd name="connsiteX74" fmla="*/ 377463 w 483089"/>
              <a:gd name="connsiteY74" fmla="*/ 133587 h 483088"/>
              <a:gd name="connsiteX75" fmla="*/ 397656 w 483089"/>
              <a:gd name="connsiteY75" fmla="*/ 113394 h 483088"/>
              <a:gd name="connsiteX76" fmla="*/ 368918 w 483089"/>
              <a:gd name="connsiteY76" fmla="*/ 84657 h 483088"/>
              <a:gd name="connsiteX77" fmla="*/ 348725 w 483089"/>
              <a:gd name="connsiteY77" fmla="*/ 104851 h 483088"/>
              <a:gd name="connsiteX78" fmla="*/ 302125 w 483089"/>
              <a:gd name="connsiteY78" fmla="*/ 112617 h 483088"/>
              <a:gd name="connsiteX79" fmla="*/ 288146 w 483089"/>
              <a:gd name="connsiteY79" fmla="*/ 107181 h 483088"/>
              <a:gd name="connsiteX80" fmla="*/ 261739 w 483089"/>
              <a:gd name="connsiteY80" fmla="*/ 69124 h 483088"/>
              <a:gd name="connsiteX81" fmla="*/ 261739 w 483089"/>
              <a:gd name="connsiteY81" fmla="*/ 41164 h 483088"/>
              <a:gd name="connsiteX82" fmla="*/ 221351 w 483089"/>
              <a:gd name="connsiteY82" fmla="*/ 41164 h 483088"/>
              <a:gd name="connsiteX83" fmla="*/ 221351 w 483089"/>
              <a:gd name="connsiteY83" fmla="*/ 69124 h 483088"/>
              <a:gd name="connsiteX84" fmla="*/ 193391 w 483089"/>
              <a:gd name="connsiteY84" fmla="*/ 107957 h 483088"/>
              <a:gd name="connsiteX85" fmla="*/ 179412 w 483089"/>
              <a:gd name="connsiteY85" fmla="*/ 114171 h 483088"/>
              <a:gd name="connsiteX86" fmla="*/ 163101 w 483089"/>
              <a:gd name="connsiteY86" fmla="*/ 117277 h 483088"/>
              <a:gd name="connsiteX87" fmla="*/ 133588 w 483089"/>
              <a:gd name="connsiteY87" fmla="*/ 105627 h 483088"/>
              <a:gd name="connsiteX88" fmla="*/ 113395 w 483089"/>
              <a:gd name="connsiteY88" fmla="*/ 85434 h 483088"/>
              <a:gd name="connsiteX89" fmla="*/ 84657 w 483089"/>
              <a:gd name="connsiteY89" fmla="*/ 114171 h 483088"/>
              <a:gd name="connsiteX90" fmla="*/ 104851 w 483089"/>
              <a:gd name="connsiteY90" fmla="*/ 134364 h 483088"/>
              <a:gd name="connsiteX91" fmla="*/ 112617 w 483089"/>
              <a:gd name="connsiteY91" fmla="*/ 180964 h 483088"/>
              <a:gd name="connsiteX92" fmla="*/ 107181 w 483089"/>
              <a:gd name="connsiteY92" fmla="*/ 194944 h 483088"/>
              <a:gd name="connsiteX93" fmla="*/ 69124 w 483089"/>
              <a:gd name="connsiteY93" fmla="*/ 221351 h 483088"/>
              <a:gd name="connsiteX94" fmla="*/ 41164 w 483089"/>
              <a:gd name="connsiteY94" fmla="*/ 221351 h 483088"/>
              <a:gd name="connsiteX95" fmla="*/ 41164 w 483089"/>
              <a:gd name="connsiteY95" fmla="*/ 261738 h 483088"/>
              <a:gd name="connsiteX96" fmla="*/ 69124 w 483089"/>
              <a:gd name="connsiteY96" fmla="*/ 261738 h 483088"/>
              <a:gd name="connsiteX97" fmla="*/ 107957 w 483089"/>
              <a:gd name="connsiteY97" fmla="*/ 289698 h 483088"/>
              <a:gd name="connsiteX98" fmla="*/ 114171 w 483089"/>
              <a:gd name="connsiteY98" fmla="*/ 303678 h 483088"/>
              <a:gd name="connsiteX99" fmla="*/ 105628 w 483089"/>
              <a:gd name="connsiteY99" fmla="*/ 349502 h 483088"/>
              <a:gd name="connsiteX100" fmla="*/ 85434 w 483089"/>
              <a:gd name="connsiteY100" fmla="*/ 369695 h 483088"/>
              <a:gd name="connsiteX101" fmla="*/ 114171 w 483089"/>
              <a:gd name="connsiteY101" fmla="*/ 398432 h 483088"/>
              <a:gd name="connsiteX102" fmla="*/ 134364 w 483089"/>
              <a:gd name="connsiteY102" fmla="*/ 378238 h 483088"/>
              <a:gd name="connsiteX103" fmla="*/ 180965 w 483089"/>
              <a:gd name="connsiteY103" fmla="*/ 370472 h 483088"/>
              <a:gd name="connsiteX104" fmla="*/ 194945 w 483089"/>
              <a:gd name="connsiteY104" fmla="*/ 375908 h 483088"/>
              <a:gd name="connsiteX105" fmla="*/ 221351 w 483089"/>
              <a:gd name="connsiteY105" fmla="*/ 413966 h 483088"/>
              <a:gd name="connsiteX106" fmla="*/ 221351 w 483089"/>
              <a:gd name="connsiteY106" fmla="*/ 441925 h 483088"/>
              <a:gd name="connsiteX107" fmla="*/ 221351 w 483089"/>
              <a:gd name="connsiteY107" fmla="*/ 441925 h 483088"/>
              <a:gd name="connsiteX108" fmla="*/ 241545 w 483089"/>
              <a:gd name="connsiteY108" fmla="*/ 331638 h 483088"/>
              <a:gd name="connsiteX109" fmla="*/ 151451 w 483089"/>
              <a:gd name="connsiteY109" fmla="*/ 241545 h 483088"/>
              <a:gd name="connsiteX110" fmla="*/ 241545 w 483089"/>
              <a:gd name="connsiteY110" fmla="*/ 151451 h 483088"/>
              <a:gd name="connsiteX111" fmla="*/ 331639 w 483089"/>
              <a:gd name="connsiteY111" fmla="*/ 241545 h 483088"/>
              <a:gd name="connsiteX112" fmla="*/ 241545 w 483089"/>
              <a:gd name="connsiteY112" fmla="*/ 331638 h 483088"/>
              <a:gd name="connsiteX113" fmla="*/ 241545 w 483089"/>
              <a:gd name="connsiteY113" fmla="*/ 331638 h 483088"/>
              <a:gd name="connsiteX114" fmla="*/ 241545 w 483089"/>
              <a:gd name="connsiteY114" fmla="*/ 191837 h 483088"/>
              <a:gd name="connsiteX115" fmla="*/ 192615 w 483089"/>
              <a:gd name="connsiteY115" fmla="*/ 240768 h 483088"/>
              <a:gd name="connsiteX116" fmla="*/ 241545 w 483089"/>
              <a:gd name="connsiteY116" fmla="*/ 289698 h 483088"/>
              <a:gd name="connsiteX117" fmla="*/ 290475 w 483089"/>
              <a:gd name="connsiteY117" fmla="*/ 240768 h 483088"/>
              <a:gd name="connsiteX118" fmla="*/ 241545 w 483089"/>
              <a:gd name="connsiteY118" fmla="*/ 191837 h 483088"/>
              <a:gd name="connsiteX119" fmla="*/ 241545 w 483089"/>
              <a:gd name="connsiteY119" fmla="*/ 191837 h 483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483089" h="483088">
                <a:moveTo>
                  <a:pt x="267951" y="483089"/>
                </a:moveTo>
                <a:lnTo>
                  <a:pt x="215138" y="483089"/>
                </a:lnTo>
                <a:cubicBezTo>
                  <a:pt x="195722" y="483089"/>
                  <a:pt x="180188" y="467555"/>
                  <a:pt x="180188" y="448139"/>
                </a:cubicBezTo>
                <a:lnTo>
                  <a:pt x="180188" y="413966"/>
                </a:lnTo>
                <a:lnTo>
                  <a:pt x="163878" y="407752"/>
                </a:lnTo>
                <a:lnTo>
                  <a:pt x="139024" y="431052"/>
                </a:lnTo>
                <a:cubicBezTo>
                  <a:pt x="125821" y="444255"/>
                  <a:pt x="102521" y="444255"/>
                  <a:pt x="89317" y="431052"/>
                </a:cubicBezTo>
                <a:lnTo>
                  <a:pt x="52037" y="393772"/>
                </a:lnTo>
                <a:cubicBezTo>
                  <a:pt x="45824" y="387559"/>
                  <a:pt x="41940" y="378238"/>
                  <a:pt x="41940" y="368919"/>
                </a:cubicBezTo>
                <a:cubicBezTo>
                  <a:pt x="41940" y="359599"/>
                  <a:pt x="45824" y="351055"/>
                  <a:pt x="52037" y="344065"/>
                </a:cubicBezTo>
                <a:lnTo>
                  <a:pt x="76114" y="319988"/>
                </a:lnTo>
                <a:lnTo>
                  <a:pt x="69124" y="303678"/>
                </a:lnTo>
                <a:lnTo>
                  <a:pt x="34950" y="302902"/>
                </a:lnTo>
                <a:cubicBezTo>
                  <a:pt x="15533" y="302902"/>
                  <a:pt x="0" y="287368"/>
                  <a:pt x="0" y="267952"/>
                </a:cubicBezTo>
                <a:lnTo>
                  <a:pt x="0" y="215138"/>
                </a:lnTo>
                <a:cubicBezTo>
                  <a:pt x="0" y="195721"/>
                  <a:pt x="15533" y="180187"/>
                  <a:pt x="34950" y="180187"/>
                </a:cubicBezTo>
                <a:lnTo>
                  <a:pt x="69124" y="180187"/>
                </a:lnTo>
                <a:lnTo>
                  <a:pt x="75338" y="163878"/>
                </a:lnTo>
                <a:lnTo>
                  <a:pt x="52037" y="139024"/>
                </a:lnTo>
                <a:cubicBezTo>
                  <a:pt x="45824" y="132811"/>
                  <a:pt x="41940" y="123491"/>
                  <a:pt x="41940" y="114171"/>
                </a:cubicBezTo>
                <a:cubicBezTo>
                  <a:pt x="41940" y="104851"/>
                  <a:pt x="45824" y="96307"/>
                  <a:pt x="52037" y="89317"/>
                </a:cubicBezTo>
                <a:lnTo>
                  <a:pt x="89317" y="52037"/>
                </a:lnTo>
                <a:cubicBezTo>
                  <a:pt x="102521" y="38834"/>
                  <a:pt x="125821" y="38834"/>
                  <a:pt x="139024" y="52037"/>
                </a:cubicBezTo>
                <a:lnTo>
                  <a:pt x="163101" y="76114"/>
                </a:lnTo>
                <a:lnTo>
                  <a:pt x="179412" y="69124"/>
                </a:lnTo>
                <a:lnTo>
                  <a:pt x="180188" y="34950"/>
                </a:lnTo>
                <a:cubicBezTo>
                  <a:pt x="180188" y="15533"/>
                  <a:pt x="195722" y="0"/>
                  <a:pt x="215138" y="0"/>
                </a:cubicBezTo>
                <a:lnTo>
                  <a:pt x="267951" y="0"/>
                </a:lnTo>
                <a:cubicBezTo>
                  <a:pt x="287368" y="0"/>
                  <a:pt x="302901" y="15533"/>
                  <a:pt x="302901" y="34950"/>
                </a:cubicBezTo>
                <a:lnTo>
                  <a:pt x="302901" y="69124"/>
                </a:lnTo>
                <a:lnTo>
                  <a:pt x="319212" y="75337"/>
                </a:lnTo>
                <a:lnTo>
                  <a:pt x="344065" y="52037"/>
                </a:lnTo>
                <a:cubicBezTo>
                  <a:pt x="351056" y="45047"/>
                  <a:pt x="359599" y="41940"/>
                  <a:pt x="368918" y="41940"/>
                </a:cubicBezTo>
                <a:lnTo>
                  <a:pt x="368918" y="41940"/>
                </a:lnTo>
                <a:cubicBezTo>
                  <a:pt x="378239" y="41940"/>
                  <a:pt x="386782" y="45824"/>
                  <a:pt x="393773" y="52037"/>
                </a:cubicBezTo>
                <a:lnTo>
                  <a:pt x="431052" y="89317"/>
                </a:lnTo>
                <a:cubicBezTo>
                  <a:pt x="437266" y="95531"/>
                  <a:pt x="441149" y="104851"/>
                  <a:pt x="441149" y="114171"/>
                </a:cubicBezTo>
                <a:cubicBezTo>
                  <a:pt x="441149" y="123491"/>
                  <a:pt x="437266" y="132034"/>
                  <a:pt x="431052" y="139024"/>
                </a:cubicBezTo>
                <a:lnTo>
                  <a:pt x="406976" y="163101"/>
                </a:lnTo>
                <a:lnTo>
                  <a:pt x="413966" y="179411"/>
                </a:lnTo>
                <a:lnTo>
                  <a:pt x="448139" y="180187"/>
                </a:lnTo>
                <a:cubicBezTo>
                  <a:pt x="467556" y="180187"/>
                  <a:pt x="483090" y="195721"/>
                  <a:pt x="483090" y="215138"/>
                </a:cubicBezTo>
                <a:lnTo>
                  <a:pt x="483090" y="267952"/>
                </a:lnTo>
                <a:cubicBezTo>
                  <a:pt x="483090" y="287368"/>
                  <a:pt x="467556" y="302902"/>
                  <a:pt x="448139" y="302902"/>
                </a:cubicBezTo>
                <a:lnTo>
                  <a:pt x="413966" y="302902"/>
                </a:lnTo>
                <a:lnTo>
                  <a:pt x="407752" y="319212"/>
                </a:lnTo>
                <a:lnTo>
                  <a:pt x="431052" y="344065"/>
                </a:lnTo>
                <a:cubicBezTo>
                  <a:pt x="437266" y="350278"/>
                  <a:pt x="441149" y="359599"/>
                  <a:pt x="441149" y="368919"/>
                </a:cubicBezTo>
                <a:cubicBezTo>
                  <a:pt x="441149" y="378238"/>
                  <a:pt x="437266" y="386782"/>
                  <a:pt x="431052" y="393772"/>
                </a:cubicBezTo>
                <a:lnTo>
                  <a:pt x="393773" y="431052"/>
                </a:lnTo>
                <a:cubicBezTo>
                  <a:pt x="380569" y="444255"/>
                  <a:pt x="357268" y="444255"/>
                  <a:pt x="344065" y="431052"/>
                </a:cubicBezTo>
                <a:lnTo>
                  <a:pt x="319989" y="406975"/>
                </a:lnTo>
                <a:lnTo>
                  <a:pt x="303679" y="413966"/>
                </a:lnTo>
                <a:lnTo>
                  <a:pt x="302901" y="448139"/>
                </a:lnTo>
                <a:cubicBezTo>
                  <a:pt x="302901" y="467555"/>
                  <a:pt x="287368" y="483089"/>
                  <a:pt x="267951" y="483089"/>
                </a:cubicBezTo>
                <a:lnTo>
                  <a:pt x="267951" y="483089"/>
                </a:lnTo>
                <a:close/>
                <a:moveTo>
                  <a:pt x="221351" y="441925"/>
                </a:moveTo>
                <a:lnTo>
                  <a:pt x="261739" y="441925"/>
                </a:lnTo>
                <a:lnTo>
                  <a:pt x="261739" y="413966"/>
                </a:lnTo>
                <a:cubicBezTo>
                  <a:pt x="261739" y="397655"/>
                  <a:pt x="273389" y="380569"/>
                  <a:pt x="289698" y="375132"/>
                </a:cubicBezTo>
                <a:lnTo>
                  <a:pt x="303679" y="368919"/>
                </a:lnTo>
                <a:cubicBezTo>
                  <a:pt x="307562" y="366588"/>
                  <a:pt x="313775" y="365812"/>
                  <a:pt x="319989" y="365812"/>
                </a:cubicBezTo>
                <a:cubicBezTo>
                  <a:pt x="330862" y="365812"/>
                  <a:pt x="341735" y="369695"/>
                  <a:pt x="349502" y="377462"/>
                </a:cubicBezTo>
                <a:lnTo>
                  <a:pt x="369696" y="397655"/>
                </a:lnTo>
                <a:lnTo>
                  <a:pt x="398432" y="368919"/>
                </a:lnTo>
                <a:lnTo>
                  <a:pt x="378239" y="348725"/>
                </a:lnTo>
                <a:cubicBezTo>
                  <a:pt x="366589" y="337075"/>
                  <a:pt x="363482" y="316882"/>
                  <a:pt x="370472" y="302125"/>
                </a:cubicBezTo>
                <a:lnTo>
                  <a:pt x="375909" y="288145"/>
                </a:lnTo>
                <a:cubicBezTo>
                  <a:pt x="380569" y="273388"/>
                  <a:pt x="396879" y="261738"/>
                  <a:pt x="413966" y="261738"/>
                </a:cubicBezTo>
                <a:lnTo>
                  <a:pt x="441926" y="261738"/>
                </a:lnTo>
                <a:lnTo>
                  <a:pt x="441926" y="221351"/>
                </a:lnTo>
                <a:lnTo>
                  <a:pt x="413966" y="221351"/>
                </a:lnTo>
                <a:cubicBezTo>
                  <a:pt x="396879" y="221351"/>
                  <a:pt x="380569" y="209701"/>
                  <a:pt x="375132" y="193391"/>
                </a:cubicBezTo>
                <a:lnTo>
                  <a:pt x="368918" y="179411"/>
                </a:lnTo>
                <a:cubicBezTo>
                  <a:pt x="361929" y="166207"/>
                  <a:pt x="365035" y="146014"/>
                  <a:pt x="377463" y="133587"/>
                </a:cubicBezTo>
                <a:lnTo>
                  <a:pt x="397656" y="113394"/>
                </a:lnTo>
                <a:lnTo>
                  <a:pt x="368918" y="84657"/>
                </a:lnTo>
                <a:lnTo>
                  <a:pt x="348725" y="104851"/>
                </a:lnTo>
                <a:cubicBezTo>
                  <a:pt x="337075" y="116501"/>
                  <a:pt x="316882" y="119607"/>
                  <a:pt x="302125" y="112617"/>
                </a:cubicBezTo>
                <a:lnTo>
                  <a:pt x="288146" y="107181"/>
                </a:lnTo>
                <a:cubicBezTo>
                  <a:pt x="273389" y="102521"/>
                  <a:pt x="261739" y="86210"/>
                  <a:pt x="261739" y="69124"/>
                </a:cubicBezTo>
                <a:lnTo>
                  <a:pt x="261739" y="41164"/>
                </a:lnTo>
                <a:lnTo>
                  <a:pt x="221351" y="41164"/>
                </a:lnTo>
                <a:lnTo>
                  <a:pt x="221351" y="69124"/>
                </a:lnTo>
                <a:cubicBezTo>
                  <a:pt x="221351" y="85434"/>
                  <a:pt x="209701" y="102521"/>
                  <a:pt x="193391" y="107957"/>
                </a:cubicBezTo>
                <a:lnTo>
                  <a:pt x="179412" y="114171"/>
                </a:lnTo>
                <a:cubicBezTo>
                  <a:pt x="175528" y="116501"/>
                  <a:pt x="169315" y="117277"/>
                  <a:pt x="163101" y="117277"/>
                </a:cubicBezTo>
                <a:cubicBezTo>
                  <a:pt x="152228" y="117277"/>
                  <a:pt x="141355" y="113394"/>
                  <a:pt x="133588" y="105627"/>
                </a:cubicBezTo>
                <a:lnTo>
                  <a:pt x="113395" y="85434"/>
                </a:lnTo>
                <a:lnTo>
                  <a:pt x="84657" y="114171"/>
                </a:lnTo>
                <a:lnTo>
                  <a:pt x="104851" y="134364"/>
                </a:lnTo>
                <a:cubicBezTo>
                  <a:pt x="116501" y="146014"/>
                  <a:pt x="119607" y="166207"/>
                  <a:pt x="112617" y="180964"/>
                </a:cubicBezTo>
                <a:lnTo>
                  <a:pt x="107181" y="194944"/>
                </a:lnTo>
                <a:cubicBezTo>
                  <a:pt x="102521" y="209701"/>
                  <a:pt x="85434" y="221351"/>
                  <a:pt x="69124" y="221351"/>
                </a:cubicBezTo>
                <a:lnTo>
                  <a:pt x="41164" y="221351"/>
                </a:lnTo>
                <a:lnTo>
                  <a:pt x="41164" y="261738"/>
                </a:lnTo>
                <a:lnTo>
                  <a:pt x="69124" y="261738"/>
                </a:lnTo>
                <a:cubicBezTo>
                  <a:pt x="85434" y="261738"/>
                  <a:pt x="102521" y="273388"/>
                  <a:pt x="107957" y="289698"/>
                </a:cubicBezTo>
                <a:lnTo>
                  <a:pt x="114171" y="303678"/>
                </a:lnTo>
                <a:cubicBezTo>
                  <a:pt x="121161" y="316882"/>
                  <a:pt x="118054" y="337075"/>
                  <a:pt x="105628" y="349502"/>
                </a:cubicBezTo>
                <a:lnTo>
                  <a:pt x="85434" y="369695"/>
                </a:lnTo>
                <a:lnTo>
                  <a:pt x="114171" y="398432"/>
                </a:lnTo>
                <a:lnTo>
                  <a:pt x="134364" y="378238"/>
                </a:lnTo>
                <a:cubicBezTo>
                  <a:pt x="146014" y="366588"/>
                  <a:pt x="166208" y="363482"/>
                  <a:pt x="180965" y="370472"/>
                </a:cubicBezTo>
                <a:lnTo>
                  <a:pt x="194945" y="375908"/>
                </a:lnTo>
                <a:cubicBezTo>
                  <a:pt x="209701" y="380569"/>
                  <a:pt x="221351" y="396879"/>
                  <a:pt x="221351" y="413966"/>
                </a:cubicBezTo>
                <a:lnTo>
                  <a:pt x="221351" y="441925"/>
                </a:lnTo>
                <a:lnTo>
                  <a:pt x="221351" y="441925"/>
                </a:lnTo>
                <a:close/>
                <a:moveTo>
                  <a:pt x="241545" y="331638"/>
                </a:moveTo>
                <a:cubicBezTo>
                  <a:pt x="191838" y="331638"/>
                  <a:pt x="151451" y="291252"/>
                  <a:pt x="151451" y="241545"/>
                </a:cubicBezTo>
                <a:cubicBezTo>
                  <a:pt x="151451" y="191837"/>
                  <a:pt x="191838" y="151451"/>
                  <a:pt x="241545" y="151451"/>
                </a:cubicBezTo>
                <a:cubicBezTo>
                  <a:pt x="291251" y="151451"/>
                  <a:pt x="331639" y="191837"/>
                  <a:pt x="331639" y="241545"/>
                </a:cubicBezTo>
                <a:cubicBezTo>
                  <a:pt x="331639" y="291252"/>
                  <a:pt x="291251" y="331638"/>
                  <a:pt x="241545" y="331638"/>
                </a:cubicBezTo>
                <a:lnTo>
                  <a:pt x="241545" y="331638"/>
                </a:lnTo>
                <a:close/>
                <a:moveTo>
                  <a:pt x="241545" y="191837"/>
                </a:moveTo>
                <a:cubicBezTo>
                  <a:pt x="214362" y="191837"/>
                  <a:pt x="192615" y="213585"/>
                  <a:pt x="192615" y="240768"/>
                </a:cubicBezTo>
                <a:cubicBezTo>
                  <a:pt x="192615" y="267952"/>
                  <a:pt x="214362" y="289698"/>
                  <a:pt x="241545" y="289698"/>
                </a:cubicBezTo>
                <a:cubicBezTo>
                  <a:pt x="268729" y="289698"/>
                  <a:pt x="290475" y="267952"/>
                  <a:pt x="290475" y="240768"/>
                </a:cubicBezTo>
                <a:cubicBezTo>
                  <a:pt x="290475" y="214361"/>
                  <a:pt x="268729" y="191837"/>
                  <a:pt x="241545" y="191837"/>
                </a:cubicBezTo>
                <a:lnTo>
                  <a:pt x="241545" y="191837"/>
                </a:lnTo>
                <a:close/>
              </a:path>
            </a:pathLst>
          </a:custGeom>
          <a:solidFill>
            <a:srgbClr val="B1B1A1"/>
          </a:solidFill>
          <a:ln w="7767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grpSp>
        <p:nvGrpSpPr>
          <p:cNvPr id="104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7466460" y="1546154"/>
            <a:ext cx="343621" cy="406155"/>
            <a:chOff x="7780598" y="1270632"/>
            <a:chExt cx="422508" cy="499398"/>
          </a:xfrm>
          <a:solidFill>
            <a:srgbClr val="B1B1A1"/>
          </a:solidFill>
        </p:grpSpPr>
        <p:sp>
          <p:nvSpPr>
            <p:cNvPr id="105" name="Forma Livre: Forma 104">
              <a:extLst>
                <a:ext uri="{FF2B5EF4-FFF2-40B4-BE49-F238E27FC236}">
                  <a16:creationId xmlns:a16="http://schemas.microsoft.com/office/drawing/2014/main" id="{2085E845-1623-41BB-9176-FC52E2EED03E}"/>
                </a:ext>
              </a:extLst>
            </p:cNvPr>
            <p:cNvSpPr/>
            <p:nvPr/>
          </p:nvSpPr>
          <p:spPr>
            <a:xfrm>
              <a:off x="7780598" y="1270632"/>
              <a:ext cx="422508" cy="499398"/>
            </a:xfrm>
            <a:custGeom>
              <a:avLst/>
              <a:gdLst>
                <a:gd name="connsiteX0" fmla="*/ 210478 w 422508"/>
                <a:gd name="connsiteY0" fmla="*/ 499399 h 499398"/>
                <a:gd name="connsiteX1" fmla="*/ 197274 w 422508"/>
                <a:gd name="connsiteY1" fmla="*/ 494739 h 499398"/>
                <a:gd name="connsiteX2" fmla="*/ 0 w 422508"/>
                <a:gd name="connsiteY2" fmla="*/ 211254 h 499398"/>
                <a:gd name="connsiteX3" fmla="*/ 211254 w 422508"/>
                <a:gd name="connsiteY3" fmla="*/ 0 h 499398"/>
                <a:gd name="connsiteX4" fmla="*/ 422509 w 422508"/>
                <a:gd name="connsiteY4" fmla="*/ 211254 h 499398"/>
                <a:gd name="connsiteX5" fmla="*/ 225234 w 422508"/>
                <a:gd name="connsiteY5" fmla="*/ 494739 h 499398"/>
                <a:gd name="connsiteX6" fmla="*/ 210478 w 422508"/>
                <a:gd name="connsiteY6" fmla="*/ 499399 h 499398"/>
                <a:gd name="connsiteX7" fmla="*/ 210478 w 422508"/>
                <a:gd name="connsiteY7" fmla="*/ 499399 h 499398"/>
                <a:gd name="connsiteX8" fmla="*/ 210478 w 422508"/>
                <a:gd name="connsiteY8" fmla="*/ 41163 h 499398"/>
                <a:gd name="connsiteX9" fmla="*/ 40386 w 422508"/>
                <a:gd name="connsiteY9" fmla="*/ 211254 h 499398"/>
                <a:gd name="connsiteX10" fmla="*/ 210478 w 422508"/>
                <a:gd name="connsiteY10" fmla="*/ 451245 h 499398"/>
                <a:gd name="connsiteX11" fmla="*/ 380569 w 422508"/>
                <a:gd name="connsiteY11" fmla="*/ 211254 h 499398"/>
                <a:gd name="connsiteX12" fmla="*/ 210478 w 422508"/>
                <a:gd name="connsiteY12" fmla="*/ 41163 h 499398"/>
                <a:gd name="connsiteX13" fmla="*/ 210478 w 422508"/>
                <a:gd name="connsiteY13" fmla="*/ 41163 h 499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22508" h="499398">
                  <a:moveTo>
                    <a:pt x="210478" y="499399"/>
                  </a:moveTo>
                  <a:cubicBezTo>
                    <a:pt x="205818" y="499399"/>
                    <a:pt x="201157" y="497846"/>
                    <a:pt x="197274" y="494739"/>
                  </a:cubicBezTo>
                  <a:cubicBezTo>
                    <a:pt x="177081" y="477652"/>
                    <a:pt x="0" y="323095"/>
                    <a:pt x="0" y="211254"/>
                  </a:cubicBezTo>
                  <a:cubicBezTo>
                    <a:pt x="0" y="94754"/>
                    <a:pt x="94753" y="0"/>
                    <a:pt x="211254" y="0"/>
                  </a:cubicBezTo>
                  <a:cubicBezTo>
                    <a:pt x="327755" y="0"/>
                    <a:pt x="422509" y="94754"/>
                    <a:pt x="422509" y="211254"/>
                  </a:cubicBezTo>
                  <a:cubicBezTo>
                    <a:pt x="422509" y="322318"/>
                    <a:pt x="245428" y="476876"/>
                    <a:pt x="225234" y="494739"/>
                  </a:cubicBezTo>
                  <a:cubicBezTo>
                    <a:pt x="219798" y="497846"/>
                    <a:pt x="215137" y="499399"/>
                    <a:pt x="210478" y="499399"/>
                  </a:cubicBezTo>
                  <a:lnTo>
                    <a:pt x="210478" y="499399"/>
                  </a:lnTo>
                  <a:close/>
                  <a:moveTo>
                    <a:pt x="210478" y="41163"/>
                  </a:moveTo>
                  <a:cubicBezTo>
                    <a:pt x="116501" y="41163"/>
                    <a:pt x="40386" y="117277"/>
                    <a:pt x="40386" y="211254"/>
                  </a:cubicBezTo>
                  <a:cubicBezTo>
                    <a:pt x="40386" y="283485"/>
                    <a:pt x="153004" y="399209"/>
                    <a:pt x="210478" y="451245"/>
                  </a:cubicBezTo>
                  <a:cubicBezTo>
                    <a:pt x="267951" y="399209"/>
                    <a:pt x="380569" y="283485"/>
                    <a:pt x="380569" y="211254"/>
                  </a:cubicBezTo>
                  <a:cubicBezTo>
                    <a:pt x="380569" y="117277"/>
                    <a:pt x="304454" y="41163"/>
                    <a:pt x="210478" y="41163"/>
                  </a:cubicBezTo>
                  <a:lnTo>
                    <a:pt x="210478" y="41163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06" name="Forma Livre: Forma 105">
              <a:extLst>
                <a:ext uri="{FF2B5EF4-FFF2-40B4-BE49-F238E27FC236}">
                  <a16:creationId xmlns:a16="http://schemas.microsoft.com/office/drawing/2014/main" id="{29AF7FF4-FAFD-4A0D-94EB-605A33E649CA}"/>
                </a:ext>
              </a:extLst>
            </p:cNvPr>
            <p:cNvSpPr/>
            <p:nvPr/>
          </p:nvSpPr>
          <p:spPr>
            <a:xfrm>
              <a:off x="7888555" y="1379366"/>
              <a:ext cx="205050" cy="205040"/>
            </a:xfrm>
            <a:custGeom>
              <a:avLst/>
              <a:gdLst>
                <a:gd name="connsiteX0" fmla="*/ 102521 w 205050"/>
                <a:gd name="connsiteY0" fmla="*/ 205041 h 205040"/>
                <a:gd name="connsiteX1" fmla="*/ 0 w 205050"/>
                <a:gd name="connsiteY1" fmla="*/ 102520 h 205040"/>
                <a:gd name="connsiteX2" fmla="*/ 102521 w 205050"/>
                <a:gd name="connsiteY2" fmla="*/ 0 h 205040"/>
                <a:gd name="connsiteX3" fmla="*/ 205041 w 205050"/>
                <a:gd name="connsiteY3" fmla="*/ 102520 h 205040"/>
                <a:gd name="connsiteX4" fmla="*/ 102521 w 205050"/>
                <a:gd name="connsiteY4" fmla="*/ 205041 h 205040"/>
                <a:gd name="connsiteX5" fmla="*/ 102521 w 205050"/>
                <a:gd name="connsiteY5" fmla="*/ 205041 h 205040"/>
                <a:gd name="connsiteX6" fmla="*/ 102521 w 205050"/>
                <a:gd name="connsiteY6" fmla="*/ 40387 h 205040"/>
                <a:gd name="connsiteX7" fmla="*/ 41163 w 205050"/>
                <a:gd name="connsiteY7" fmla="*/ 101744 h 205040"/>
                <a:gd name="connsiteX8" fmla="*/ 102521 w 205050"/>
                <a:gd name="connsiteY8" fmla="*/ 163101 h 205040"/>
                <a:gd name="connsiteX9" fmla="*/ 163878 w 205050"/>
                <a:gd name="connsiteY9" fmla="*/ 101744 h 205040"/>
                <a:gd name="connsiteX10" fmla="*/ 102521 w 205050"/>
                <a:gd name="connsiteY10" fmla="*/ 40387 h 205040"/>
                <a:gd name="connsiteX11" fmla="*/ 102521 w 205050"/>
                <a:gd name="connsiteY11" fmla="*/ 40387 h 205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5050" h="205040">
                  <a:moveTo>
                    <a:pt x="102521" y="205041"/>
                  </a:moveTo>
                  <a:cubicBezTo>
                    <a:pt x="45824" y="205041"/>
                    <a:pt x="0" y="159217"/>
                    <a:pt x="0" y="102520"/>
                  </a:cubicBezTo>
                  <a:cubicBezTo>
                    <a:pt x="0" y="45824"/>
                    <a:pt x="45824" y="0"/>
                    <a:pt x="102521" y="0"/>
                  </a:cubicBezTo>
                  <a:cubicBezTo>
                    <a:pt x="159217" y="0"/>
                    <a:pt x="205041" y="45824"/>
                    <a:pt x="205041" y="102520"/>
                  </a:cubicBezTo>
                  <a:cubicBezTo>
                    <a:pt x="205818" y="159217"/>
                    <a:pt x="159217" y="205041"/>
                    <a:pt x="102521" y="205041"/>
                  </a:cubicBezTo>
                  <a:lnTo>
                    <a:pt x="102521" y="205041"/>
                  </a:lnTo>
                  <a:close/>
                  <a:moveTo>
                    <a:pt x="102521" y="40387"/>
                  </a:moveTo>
                  <a:cubicBezTo>
                    <a:pt x="68347" y="40387"/>
                    <a:pt x="41163" y="68347"/>
                    <a:pt x="41163" y="101744"/>
                  </a:cubicBezTo>
                  <a:cubicBezTo>
                    <a:pt x="41163" y="135141"/>
                    <a:pt x="69124" y="163101"/>
                    <a:pt x="102521" y="163101"/>
                  </a:cubicBezTo>
                  <a:cubicBezTo>
                    <a:pt x="136694" y="163101"/>
                    <a:pt x="163878" y="135141"/>
                    <a:pt x="163878" y="101744"/>
                  </a:cubicBezTo>
                  <a:cubicBezTo>
                    <a:pt x="163878" y="68347"/>
                    <a:pt x="136694" y="40387"/>
                    <a:pt x="102521" y="40387"/>
                  </a:cubicBezTo>
                  <a:lnTo>
                    <a:pt x="102521" y="40387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07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9489026" y="3625571"/>
            <a:ext cx="394154" cy="394154"/>
            <a:chOff x="10267496" y="3827431"/>
            <a:chExt cx="484642" cy="484642"/>
          </a:xfrm>
          <a:solidFill>
            <a:srgbClr val="B1B1A1"/>
          </a:solidFill>
        </p:grpSpPr>
        <p:sp>
          <p:nvSpPr>
            <p:cNvPr id="108" name="Forma Livre: Forma 107">
              <a:extLst>
                <a:ext uri="{FF2B5EF4-FFF2-40B4-BE49-F238E27FC236}">
                  <a16:creationId xmlns:a16="http://schemas.microsoft.com/office/drawing/2014/main" id="{F2E44DD9-754D-4E6E-879F-1DA474D0532E}"/>
                </a:ext>
              </a:extLst>
            </p:cNvPr>
            <p:cNvSpPr/>
            <p:nvPr/>
          </p:nvSpPr>
          <p:spPr>
            <a:xfrm>
              <a:off x="10267496" y="3827431"/>
              <a:ext cx="484642" cy="484642"/>
            </a:xfrm>
            <a:custGeom>
              <a:avLst/>
              <a:gdLst>
                <a:gd name="connsiteX0" fmla="*/ 242322 w 484642"/>
                <a:gd name="connsiteY0" fmla="*/ 484643 h 484642"/>
                <a:gd name="connsiteX1" fmla="*/ 0 w 484642"/>
                <a:gd name="connsiteY1" fmla="*/ 242321 h 484642"/>
                <a:gd name="connsiteX2" fmla="*/ 242322 w 484642"/>
                <a:gd name="connsiteY2" fmla="*/ 0 h 484642"/>
                <a:gd name="connsiteX3" fmla="*/ 484643 w 484642"/>
                <a:gd name="connsiteY3" fmla="*/ 242321 h 484642"/>
                <a:gd name="connsiteX4" fmla="*/ 242322 w 484642"/>
                <a:gd name="connsiteY4" fmla="*/ 484643 h 484642"/>
                <a:gd name="connsiteX5" fmla="*/ 242322 w 484642"/>
                <a:gd name="connsiteY5" fmla="*/ 484643 h 484642"/>
                <a:gd name="connsiteX6" fmla="*/ 242322 w 484642"/>
                <a:gd name="connsiteY6" fmla="*/ 41164 h 484642"/>
                <a:gd name="connsiteX7" fmla="*/ 41164 w 484642"/>
                <a:gd name="connsiteY7" fmla="*/ 242321 h 484642"/>
                <a:gd name="connsiteX8" fmla="*/ 242322 w 484642"/>
                <a:gd name="connsiteY8" fmla="*/ 443479 h 484642"/>
                <a:gd name="connsiteX9" fmla="*/ 443479 w 484642"/>
                <a:gd name="connsiteY9" fmla="*/ 242321 h 484642"/>
                <a:gd name="connsiteX10" fmla="*/ 242322 w 484642"/>
                <a:gd name="connsiteY10" fmla="*/ 41164 h 484642"/>
                <a:gd name="connsiteX11" fmla="*/ 242322 w 484642"/>
                <a:gd name="connsiteY11" fmla="*/ 41164 h 484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84642" h="484642">
                  <a:moveTo>
                    <a:pt x="242322" y="484643"/>
                  </a:moveTo>
                  <a:cubicBezTo>
                    <a:pt x="108734" y="484643"/>
                    <a:pt x="0" y="375909"/>
                    <a:pt x="0" y="242321"/>
                  </a:cubicBezTo>
                  <a:cubicBezTo>
                    <a:pt x="0" y="108734"/>
                    <a:pt x="108734" y="0"/>
                    <a:pt x="242322" y="0"/>
                  </a:cubicBezTo>
                  <a:cubicBezTo>
                    <a:pt x="375909" y="0"/>
                    <a:pt x="484643" y="108734"/>
                    <a:pt x="484643" y="242321"/>
                  </a:cubicBezTo>
                  <a:cubicBezTo>
                    <a:pt x="484643" y="375909"/>
                    <a:pt x="375909" y="484643"/>
                    <a:pt x="242322" y="484643"/>
                  </a:cubicBezTo>
                  <a:lnTo>
                    <a:pt x="242322" y="484643"/>
                  </a:lnTo>
                  <a:close/>
                  <a:moveTo>
                    <a:pt x="242322" y="41164"/>
                  </a:moveTo>
                  <a:cubicBezTo>
                    <a:pt x="131258" y="41164"/>
                    <a:pt x="41164" y="131258"/>
                    <a:pt x="41164" y="242321"/>
                  </a:cubicBezTo>
                  <a:cubicBezTo>
                    <a:pt x="41164" y="353385"/>
                    <a:pt x="131258" y="443479"/>
                    <a:pt x="242322" y="443479"/>
                  </a:cubicBezTo>
                  <a:cubicBezTo>
                    <a:pt x="353385" y="443479"/>
                    <a:pt x="443479" y="353385"/>
                    <a:pt x="443479" y="242321"/>
                  </a:cubicBezTo>
                  <a:cubicBezTo>
                    <a:pt x="443479" y="131258"/>
                    <a:pt x="353385" y="41164"/>
                    <a:pt x="242322" y="41164"/>
                  </a:cubicBezTo>
                  <a:lnTo>
                    <a:pt x="242322" y="41164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09" name="Forma Livre: Forma 108">
              <a:extLst>
                <a:ext uri="{FF2B5EF4-FFF2-40B4-BE49-F238E27FC236}">
                  <a16:creationId xmlns:a16="http://schemas.microsoft.com/office/drawing/2014/main" id="{279B3860-9900-451D-A4E8-AD5D62CC2910}"/>
                </a:ext>
              </a:extLst>
            </p:cNvPr>
            <p:cNvSpPr/>
            <p:nvPr/>
          </p:nvSpPr>
          <p:spPr>
            <a:xfrm>
              <a:off x="10390987" y="3950922"/>
              <a:ext cx="237660" cy="237660"/>
            </a:xfrm>
            <a:custGeom>
              <a:avLst/>
              <a:gdLst>
                <a:gd name="connsiteX0" fmla="*/ 118831 w 237660"/>
                <a:gd name="connsiteY0" fmla="*/ 237661 h 237660"/>
                <a:gd name="connsiteX1" fmla="*/ 0 w 237660"/>
                <a:gd name="connsiteY1" fmla="*/ 118830 h 237660"/>
                <a:gd name="connsiteX2" fmla="*/ 118831 w 237660"/>
                <a:gd name="connsiteY2" fmla="*/ 0 h 237660"/>
                <a:gd name="connsiteX3" fmla="*/ 237661 w 237660"/>
                <a:gd name="connsiteY3" fmla="*/ 118830 h 237660"/>
                <a:gd name="connsiteX4" fmla="*/ 118831 w 237660"/>
                <a:gd name="connsiteY4" fmla="*/ 237661 h 237660"/>
                <a:gd name="connsiteX5" fmla="*/ 118831 w 237660"/>
                <a:gd name="connsiteY5" fmla="*/ 237661 h 237660"/>
                <a:gd name="connsiteX6" fmla="*/ 118831 w 237660"/>
                <a:gd name="connsiteY6" fmla="*/ 41163 h 237660"/>
                <a:gd name="connsiteX7" fmla="*/ 41164 w 237660"/>
                <a:gd name="connsiteY7" fmla="*/ 118830 h 237660"/>
                <a:gd name="connsiteX8" fmla="*/ 118831 w 237660"/>
                <a:gd name="connsiteY8" fmla="*/ 196498 h 237660"/>
                <a:gd name="connsiteX9" fmla="*/ 196498 w 237660"/>
                <a:gd name="connsiteY9" fmla="*/ 118830 h 237660"/>
                <a:gd name="connsiteX10" fmla="*/ 118831 w 237660"/>
                <a:gd name="connsiteY10" fmla="*/ 41163 h 237660"/>
                <a:gd name="connsiteX11" fmla="*/ 118831 w 237660"/>
                <a:gd name="connsiteY11" fmla="*/ 41163 h 237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7660" h="237660">
                  <a:moveTo>
                    <a:pt x="118831" y="237661"/>
                  </a:moveTo>
                  <a:cubicBezTo>
                    <a:pt x="53590" y="237661"/>
                    <a:pt x="0" y="184071"/>
                    <a:pt x="0" y="118830"/>
                  </a:cubicBezTo>
                  <a:cubicBezTo>
                    <a:pt x="0" y="53590"/>
                    <a:pt x="53590" y="0"/>
                    <a:pt x="118831" y="0"/>
                  </a:cubicBezTo>
                  <a:cubicBezTo>
                    <a:pt x="184071" y="0"/>
                    <a:pt x="237661" y="53590"/>
                    <a:pt x="237661" y="118830"/>
                  </a:cubicBezTo>
                  <a:cubicBezTo>
                    <a:pt x="237661" y="184071"/>
                    <a:pt x="184848" y="237661"/>
                    <a:pt x="118831" y="237661"/>
                  </a:cubicBezTo>
                  <a:lnTo>
                    <a:pt x="118831" y="237661"/>
                  </a:lnTo>
                  <a:close/>
                  <a:moveTo>
                    <a:pt x="118831" y="41163"/>
                  </a:moveTo>
                  <a:cubicBezTo>
                    <a:pt x="76114" y="41163"/>
                    <a:pt x="41164" y="76114"/>
                    <a:pt x="41164" y="118830"/>
                  </a:cubicBezTo>
                  <a:cubicBezTo>
                    <a:pt x="41164" y="161547"/>
                    <a:pt x="76114" y="196498"/>
                    <a:pt x="118831" y="196498"/>
                  </a:cubicBezTo>
                  <a:cubicBezTo>
                    <a:pt x="161548" y="196498"/>
                    <a:pt x="196498" y="161547"/>
                    <a:pt x="196498" y="118830"/>
                  </a:cubicBezTo>
                  <a:cubicBezTo>
                    <a:pt x="196498" y="76114"/>
                    <a:pt x="161548" y="41163"/>
                    <a:pt x="118831" y="41163"/>
                  </a:cubicBezTo>
                  <a:lnTo>
                    <a:pt x="118831" y="41163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110" name="Gráfico 2">
              <a:extLst>
                <a:ext uri="{FF2B5EF4-FFF2-40B4-BE49-F238E27FC236}">
                  <a16:creationId xmlns:a16="http://schemas.microsoft.com/office/drawing/2014/main" id="{777488D5-C9B0-42ED-94FB-5C76F4BD1A17}"/>
                </a:ext>
              </a:extLst>
            </p:cNvPr>
            <p:cNvGrpSpPr/>
            <p:nvPr/>
          </p:nvGrpSpPr>
          <p:grpSpPr>
            <a:xfrm>
              <a:off x="10457781" y="3849955"/>
              <a:ext cx="104158" cy="135140"/>
              <a:chOff x="10457781" y="3849955"/>
              <a:chExt cx="104158" cy="135140"/>
            </a:xfrm>
            <a:grpFill/>
          </p:grpSpPr>
          <p:sp>
            <p:nvSpPr>
              <p:cNvPr id="111" name="Forma Livre: Forma 110">
                <a:extLst>
                  <a:ext uri="{FF2B5EF4-FFF2-40B4-BE49-F238E27FC236}">
                    <a16:creationId xmlns:a16="http://schemas.microsoft.com/office/drawing/2014/main" id="{9B98BA86-9AA5-4F2F-8C66-C09EBB328CA4}"/>
                  </a:ext>
                </a:extLst>
              </p:cNvPr>
              <p:cNvSpPr/>
              <p:nvPr/>
            </p:nvSpPr>
            <p:spPr>
              <a:xfrm>
                <a:off x="10457781" y="3849955"/>
                <a:ext cx="20193" cy="135140"/>
              </a:xfrm>
              <a:custGeom>
                <a:avLst/>
                <a:gdLst>
                  <a:gd name="connsiteX0" fmla="*/ 10097 w 20193"/>
                  <a:gd name="connsiteY0" fmla="*/ 135140 h 135140"/>
                  <a:gd name="connsiteX1" fmla="*/ 0 w 20193"/>
                  <a:gd name="connsiteY1" fmla="*/ 125044 h 135140"/>
                  <a:gd name="connsiteX2" fmla="*/ 0 w 20193"/>
                  <a:gd name="connsiteY2" fmla="*/ 10097 h 135140"/>
                  <a:gd name="connsiteX3" fmla="*/ 10097 w 20193"/>
                  <a:gd name="connsiteY3" fmla="*/ 0 h 135140"/>
                  <a:gd name="connsiteX4" fmla="*/ 20193 w 20193"/>
                  <a:gd name="connsiteY4" fmla="*/ 10097 h 135140"/>
                  <a:gd name="connsiteX5" fmla="*/ 20193 w 20193"/>
                  <a:gd name="connsiteY5" fmla="*/ 125044 h 135140"/>
                  <a:gd name="connsiteX6" fmla="*/ 10097 w 20193"/>
                  <a:gd name="connsiteY6" fmla="*/ 135140 h 135140"/>
                  <a:gd name="connsiteX7" fmla="*/ 10097 w 20193"/>
                  <a:gd name="connsiteY7" fmla="*/ 135140 h 1351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93" h="135140">
                    <a:moveTo>
                      <a:pt x="10097" y="135140"/>
                    </a:moveTo>
                    <a:cubicBezTo>
                      <a:pt x="4660" y="135140"/>
                      <a:pt x="0" y="130481"/>
                      <a:pt x="0" y="125044"/>
                    </a:cubicBezTo>
                    <a:lnTo>
                      <a:pt x="0" y="10097"/>
                    </a:lnTo>
                    <a:cubicBezTo>
                      <a:pt x="0" y="4660"/>
                      <a:pt x="4660" y="0"/>
                      <a:pt x="10097" y="0"/>
                    </a:cubicBezTo>
                    <a:cubicBezTo>
                      <a:pt x="15533" y="0"/>
                      <a:pt x="20193" y="4660"/>
                      <a:pt x="20193" y="10097"/>
                    </a:cubicBezTo>
                    <a:lnTo>
                      <a:pt x="20193" y="125044"/>
                    </a:lnTo>
                    <a:cubicBezTo>
                      <a:pt x="20193" y="130481"/>
                      <a:pt x="16310" y="135140"/>
                      <a:pt x="10097" y="135140"/>
                    </a:cubicBezTo>
                    <a:lnTo>
                      <a:pt x="10097" y="135140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12" name="Forma Livre: Forma 111">
                <a:extLst>
                  <a:ext uri="{FF2B5EF4-FFF2-40B4-BE49-F238E27FC236}">
                    <a16:creationId xmlns:a16="http://schemas.microsoft.com/office/drawing/2014/main" id="{4F7F87F8-27B9-4D89-A1A6-91105B305B4F}"/>
                  </a:ext>
                </a:extLst>
              </p:cNvPr>
              <p:cNvSpPr/>
              <p:nvPr/>
            </p:nvSpPr>
            <p:spPr>
              <a:xfrm>
                <a:off x="10541661" y="3849955"/>
                <a:ext cx="20277" cy="135140"/>
              </a:xfrm>
              <a:custGeom>
                <a:avLst/>
                <a:gdLst>
                  <a:gd name="connsiteX0" fmla="*/ 10096 w 20277"/>
                  <a:gd name="connsiteY0" fmla="*/ 135140 h 135140"/>
                  <a:gd name="connsiteX1" fmla="*/ 0 w 20277"/>
                  <a:gd name="connsiteY1" fmla="*/ 125044 h 135140"/>
                  <a:gd name="connsiteX2" fmla="*/ 0 w 20277"/>
                  <a:gd name="connsiteY2" fmla="*/ 10097 h 135140"/>
                  <a:gd name="connsiteX3" fmla="*/ 10096 w 20277"/>
                  <a:gd name="connsiteY3" fmla="*/ 0 h 135140"/>
                  <a:gd name="connsiteX4" fmla="*/ 20193 w 20277"/>
                  <a:gd name="connsiteY4" fmla="*/ 10097 h 135140"/>
                  <a:gd name="connsiteX5" fmla="*/ 20193 w 20277"/>
                  <a:gd name="connsiteY5" fmla="*/ 125044 h 135140"/>
                  <a:gd name="connsiteX6" fmla="*/ 10096 w 20277"/>
                  <a:gd name="connsiteY6" fmla="*/ 135140 h 135140"/>
                  <a:gd name="connsiteX7" fmla="*/ 10096 w 20277"/>
                  <a:gd name="connsiteY7" fmla="*/ 135140 h 1351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277" h="135140">
                    <a:moveTo>
                      <a:pt x="10096" y="135140"/>
                    </a:moveTo>
                    <a:cubicBezTo>
                      <a:pt x="4660" y="135140"/>
                      <a:pt x="0" y="130481"/>
                      <a:pt x="0" y="125044"/>
                    </a:cubicBezTo>
                    <a:lnTo>
                      <a:pt x="0" y="10097"/>
                    </a:lnTo>
                    <a:cubicBezTo>
                      <a:pt x="0" y="4660"/>
                      <a:pt x="4660" y="0"/>
                      <a:pt x="10096" y="0"/>
                    </a:cubicBezTo>
                    <a:cubicBezTo>
                      <a:pt x="15533" y="0"/>
                      <a:pt x="20193" y="4660"/>
                      <a:pt x="20193" y="10097"/>
                    </a:cubicBezTo>
                    <a:lnTo>
                      <a:pt x="20193" y="125044"/>
                    </a:lnTo>
                    <a:cubicBezTo>
                      <a:pt x="20970" y="130481"/>
                      <a:pt x="16310" y="135140"/>
                      <a:pt x="10096" y="135140"/>
                    </a:cubicBezTo>
                    <a:lnTo>
                      <a:pt x="10096" y="135140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113" name="Gráfico 2">
              <a:extLst>
                <a:ext uri="{FF2B5EF4-FFF2-40B4-BE49-F238E27FC236}">
                  <a16:creationId xmlns:a16="http://schemas.microsoft.com/office/drawing/2014/main" id="{777488D5-C9B0-42ED-94FB-5C76F4BD1A17}"/>
                </a:ext>
              </a:extLst>
            </p:cNvPr>
            <p:cNvGrpSpPr/>
            <p:nvPr/>
          </p:nvGrpSpPr>
          <p:grpSpPr>
            <a:xfrm>
              <a:off x="10457781" y="4155186"/>
              <a:ext cx="104158" cy="135140"/>
              <a:chOff x="10457781" y="4155186"/>
              <a:chExt cx="104158" cy="135140"/>
            </a:xfrm>
            <a:grpFill/>
          </p:grpSpPr>
          <p:sp>
            <p:nvSpPr>
              <p:cNvPr id="114" name="Forma Livre: Forma 113">
                <a:extLst>
                  <a:ext uri="{FF2B5EF4-FFF2-40B4-BE49-F238E27FC236}">
                    <a16:creationId xmlns:a16="http://schemas.microsoft.com/office/drawing/2014/main" id="{7F3D91FC-F3B5-4D58-AB57-40AE1EAC0699}"/>
                  </a:ext>
                </a:extLst>
              </p:cNvPr>
              <p:cNvSpPr/>
              <p:nvPr/>
            </p:nvSpPr>
            <p:spPr>
              <a:xfrm>
                <a:off x="10457781" y="4155186"/>
                <a:ext cx="20193" cy="135140"/>
              </a:xfrm>
              <a:custGeom>
                <a:avLst/>
                <a:gdLst>
                  <a:gd name="connsiteX0" fmla="*/ 10097 w 20193"/>
                  <a:gd name="connsiteY0" fmla="*/ 135141 h 135140"/>
                  <a:gd name="connsiteX1" fmla="*/ 0 w 20193"/>
                  <a:gd name="connsiteY1" fmla="*/ 125044 h 135140"/>
                  <a:gd name="connsiteX2" fmla="*/ 0 w 20193"/>
                  <a:gd name="connsiteY2" fmla="*/ 10097 h 135140"/>
                  <a:gd name="connsiteX3" fmla="*/ 10097 w 20193"/>
                  <a:gd name="connsiteY3" fmla="*/ 0 h 135140"/>
                  <a:gd name="connsiteX4" fmla="*/ 20193 w 20193"/>
                  <a:gd name="connsiteY4" fmla="*/ 10097 h 135140"/>
                  <a:gd name="connsiteX5" fmla="*/ 20193 w 20193"/>
                  <a:gd name="connsiteY5" fmla="*/ 124267 h 135140"/>
                  <a:gd name="connsiteX6" fmla="*/ 10097 w 20193"/>
                  <a:gd name="connsiteY6" fmla="*/ 135141 h 135140"/>
                  <a:gd name="connsiteX7" fmla="*/ 10097 w 20193"/>
                  <a:gd name="connsiteY7" fmla="*/ 135141 h 1351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93" h="135140">
                    <a:moveTo>
                      <a:pt x="10097" y="135141"/>
                    </a:moveTo>
                    <a:cubicBezTo>
                      <a:pt x="4660" y="135141"/>
                      <a:pt x="0" y="130481"/>
                      <a:pt x="0" y="125044"/>
                    </a:cubicBezTo>
                    <a:lnTo>
                      <a:pt x="0" y="10097"/>
                    </a:lnTo>
                    <a:cubicBezTo>
                      <a:pt x="0" y="4660"/>
                      <a:pt x="4660" y="0"/>
                      <a:pt x="10097" y="0"/>
                    </a:cubicBezTo>
                    <a:cubicBezTo>
                      <a:pt x="15533" y="0"/>
                      <a:pt x="20193" y="4660"/>
                      <a:pt x="20193" y="10097"/>
                    </a:cubicBezTo>
                    <a:lnTo>
                      <a:pt x="20193" y="124267"/>
                    </a:lnTo>
                    <a:cubicBezTo>
                      <a:pt x="20193" y="130481"/>
                      <a:pt x="16310" y="135141"/>
                      <a:pt x="10097" y="135141"/>
                    </a:cubicBezTo>
                    <a:lnTo>
                      <a:pt x="10097" y="135141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15" name="Forma Livre: Forma 114">
                <a:extLst>
                  <a:ext uri="{FF2B5EF4-FFF2-40B4-BE49-F238E27FC236}">
                    <a16:creationId xmlns:a16="http://schemas.microsoft.com/office/drawing/2014/main" id="{2D16EF3E-08F8-4529-BCA3-9F2BE0619373}"/>
                  </a:ext>
                </a:extLst>
              </p:cNvPr>
              <p:cNvSpPr/>
              <p:nvPr/>
            </p:nvSpPr>
            <p:spPr>
              <a:xfrm>
                <a:off x="10541661" y="4155186"/>
                <a:ext cx="20277" cy="135140"/>
              </a:xfrm>
              <a:custGeom>
                <a:avLst/>
                <a:gdLst>
                  <a:gd name="connsiteX0" fmla="*/ 10096 w 20277"/>
                  <a:gd name="connsiteY0" fmla="*/ 135141 h 135140"/>
                  <a:gd name="connsiteX1" fmla="*/ 0 w 20277"/>
                  <a:gd name="connsiteY1" fmla="*/ 125044 h 135140"/>
                  <a:gd name="connsiteX2" fmla="*/ 0 w 20277"/>
                  <a:gd name="connsiteY2" fmla="*/ 10097 h 135140"/>
                  <a:gd name="connsiteX3" fmla="*/ 10096 w 20277"/>
                  <a:gd name="connsiteY3" fmla="*/ 0 h 135140"/>
                  <a:gd name="connsiteX4" fmla="*/ 20193 w 20277"/>
                  <a:gd name="connsiteY4" fmla="*/ 10097 h 135140"/>
                  <a:gd name="connsiteX5" fmla="*/ 20193 w 20277"/>
                  <a:gd name="connsiteY5" fmla="*/ 124267 h 135140"/>
                  <a:gd name="connsiteX6" fmla="*/ 10096 w 20277"/>
                  <a:gd name="connsiteY6" fmla="*/ 135141 h 135140"/>
                  <a:gd name="connsiteX7" fmla="*/ 10096 w 20277"/>
                  <a:gd name="connsiteY7" fmla="*/ 135141 h 1351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277" h="135140">
                    <a:moveTo>
                      <a:pt x="10096" y="135141"/>
                    </a:moveTo>
                    <a:cubicBezTo>
                      <a:pt x="4660" y="135141"/>
                      <a:pt x="0" y="130481"/>
                      <a:pt x="0" y="125044"/>
                    </a:cubicBezTo>
                    <a:lnTo>
                      <a:pt x="0" y="10097"/>
                    </a:lnTo>
                    <a:cubicBezTo>
                      <a:pt x="0" y="4660"/>
                      <a:pt x="4660" y="0"/>
                      <a:pt x="10096" y="0"/>
                    </a:cubicBezTo>
                    <a:cubicBezTo>
                      <a:pt x="15533" y="0"/>
                      <a:pt x="20193" y="4660"/>
                      <a:pt x="20193" y="10097"/>
                    </a:cubicBezTo>
                    <a:lnTo>
                      <a:pt x="20193" y="124267"/>
                    </a:lnTo>
                    <a:cubicBezTo>
                      <a:pt x="20970" y="130481"/>
                      <a:pt x="16310" y="135141"/>
                      <a:pt x="10096" y="135141"/>
                    </a:cubicBezTo>
                    <a:lnTo>
                      <a:pt x="10096" y="135141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116" name="Gráfico 2">
              <a:extLst>
                <a:ext uri="{FF2B5EF4-FFF2-40B4-BE49-F238E27FC236}">
                  <a16:creationId xmlns:a16="http://schemas.microsoft.com/office/drawing/2014/main" id="{777488D5-C9B0-42ED-94FB-5C76F4BD1A17}"/>
                </a:ext>
              </a:extLst>
            </p:cNvPr>
            <p:cNvGrpSpPr/>
            <p:nvPr/>
          </p:nvGrpSpPr>
          <p:grpSpPr>
            <a:xfrm>
              <a:off x="10595252" y="4017716"/>
              <a:ext cx="135139" cy="104074"/>
              <a:chOff x="10595252" y="4017716"/>
              <a:chExt cx="135139" cy="104074"/>
            </a:xfrm>
            <a:grpFill/>
          </p:grpSpPr>
          <p:sp>
            <p:nvSpPr>
              <p:cNvPr id="117" name="Forma Livre: Forma 116">
                <a:extLst>
                  <a:ext uri="{FF2B5EF4-FFF2-40B4-BE49-F238E27FC236}">
                    <a16:creationId xmlns:a16="http://schemas.microsoft.com/office/drawing/2014/main" id="{4633E87D-2B08-4DE5-AC44-29AF47A6172B}"/>
                  </a:ext>
                </a:extLst>
              </p:cNvPr>
              <p:cNvSpPr/>
              <p:nvPr/>
            </p:nvSpPr>
            <p:spPr>
              <a:xfrm>
                <a:off x="10595252" y="4017716"/>
                <a:ext cx="135139" cy="20193"/>
              </a:xfrm>
              <a:custGeom>
                <a:avLst/>
                <a:gdLst>
                  <a:gd name="connsiteX0" fmla="*/ 125044 w 135139"/>
                  <a:gd name="connsiteY0" fmla="*/ 20194 h 20193"/>
                  <a:gd name="connsiteX1" fmla="*/ 10096 w 135139"/>
                  <a:gd name="connsiteY1" fmla="*/ 20194 h 20193"/>
                  <a:gd name="connsiteX2" fmla="*/ 0 w 135139"/>
                  <a:gd name="connsiteY2" fmla="*/ 10097 h 20193"/>
                  <a:gd name="connsiteX3" fmla="*/ 10096 w 135139"/>
                  <a:gd name="connsiteY3" fmla="*/ 0 h 20193"/>
                  <a:gd name="connsiteX4" fmla="*/ 125044 w 135139"/>
                  <a:gd name="connsiteY4" fmla="*/ 0 h 20193"/>
                  <a:gd name="connsiteX5" fmla="*/ 135140 w 135139"/>
                  <a:gd name="connsiteY5" fmla="*/ 10097 h 20193"/>
                  <a:gd name="connsiteX6" fmla="*/ 125044 w 135139"/>
                  <a:gd name="connsiteY6" fmla="*/ 20194 h 20193"/>
                  <a:gd name="connsiteX7" fmla="*/ 125044 w 135139"/>
                  <a:gd name="connsiteY7" fmla="*/ 20194 h 20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5139" h="20193">
                    <a:moveTo>
                      <a:pt x="125044" y="20194"/>
                    </a:moveTo>
                    <a:lnTo>
                      <a:pt x="10096" y="20194"/>
                    </a:lnTo>
                    <a:cubicBezTo>
                      <a:pt x="4660" y="20194"/>
                      <a:pt x="0" y="15533"/>
                      <a:pt x="0" y="10097"/>
                    </a:cubicBezTo>
                    <a:cubicBezTo>
                      <a:pt x="0" y="4660"/>
                      <a:pt x="4660" y="0"/>
                      <a:pt x="10096" y="0"/>
                    </a:cubicBezTo>
                    <a:lnTo>
                      <a:pt x="125044" y="0"/>
                    </a:lnTo>
                    <a:cubicBezTo>
                      <a:pt x="130480" y="0"/>
                      <a:pt x="135140" y="4660"/>
                      <a:pt x="135140" y="10097"/>
                    </a:cubicBezTo>
                    <a:cubicBezTo>
                      <a:pt x="135140" y="15533"/>
                      <a:pt x="130480" y="20194"/>
                      <a:pt x="125044" y="20194"/>
                    </a:cubicBezTo>
                    <a:lnTo>
                      <a:pt x="125044" y="20194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18" name="Forma Livre: Forma 117">
                <a:extLst>
                  <a:ext uri="{FF2B5EF4-FFF2-40B4-BE49-F238E27FC236}">
                    <a16:creationId xmlns:a16="http://schemas.microsoft.com/office/drawing/2014/main" id="{0ACE1601-6372-4086-85B9-BAE80AF3C0CC}"/>
                  </a:ext>
                </a:extLst>
              </p:cNvPr>
              <p:cNvSpPr/>
              <p:nvPr/>
            </p:nvSpPr>
            <p:spPr>
              <a:xfrm>
                <a:off x="10595252" y="4101596"/>
                <a:ext cx="135139" cy="20193"/>
              </a:xfrm>
              <a:custGeom>
                <a:avLst/>
                <a:gdLst>
                  <a:gd name="connsiteX0" fmla="*/ 125044 w 135139"/>
                  <a:gd name="connsiteY0" fmla="*/ 20194 h 20193"/>
                  <a:gd name="connsiteX1" fmla="*/ 10096 w 135139"/>
                  <a:gd name="connsiteY1" fmla="*/ 20194 h 20193"/>
                  <a:gd name="connsiteX2" fmla="*/ 0 w 135139"/>
                  <a:gd name="connsiteY2" fmla="*/ 10097 h 20193"/>
                  <a:gd name="connsiteX3" fmla="*/ 10096 w 135139"/>
                  <a:gd name="connsiteY3" fmla="*/ 0 h 20193"/>
                  <a:gd name="connsiteX4" fmla="*/ 125044 w 135139"/>
                  <a:gd name="connsiteY4" fmla="*/ 0 h 20193"/>
                  <a:gd name="connsiteX5" fmla="*/ 135140 w 135139"/>
                  <a:gd name="connsiteY5" fmla="*/ 10097 h 20193"/>
                  <a:gd name="connsiteX6" fmla="*/ 125044 w 135139"/>
                  <a:gd name="connsiteY6" fmla="*/ 20194 h 20193"/>
                  <a:gd name="connsiteX7" fmla="*/ 125044 w 135139"/>
                  <a:gd name="connsiteY7" fmla="*/ 20194 h 20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5139" h="20193">
                    <a:moveTo>
                      <a:pt x="125044" y="20194"/>
                    </a:moveTo>
                    <a:lnTo>
                      <a:pt x="10096" y="20194"/>
                    </a:lnTo>
                    <a:cubicBezTo>
                      <a:pt x="4660" y="20194"/>
                      <a:pt x="0" y="15533"/>
                      <a:pt x="0" y="10097"/>
                    </a:cubicBezTo>
                    <a:cubicBezTo>
                      <a:pt x="0" y="4660"/>
                      <a:pt x="4660" y="0"/>
                      <a:pt x="10096" y="0"/>
                    </a:cubicBezTo>
                    <a:lnTo>
                      <a:pt x="125044" y="0"/>
                    </a:lnTo>
                    <a:cubicBezTo>
                      <a:pt x="130480" y="0"/>
                      <a:pt x="135140" y="4660"/>
                      <a:pt x="135140" y="10097"/>
                    </a:cubicBezTo>
                    <a:cubicBezTo>
                      <a:pt x="135140" y="15533"/>
                      <a:pt x="130480" y="20194"/>
                      <a:pt x="125044" y="20194"/>
                    </a:cubicBezTo>
                    <a:lnTo>
                      <a:pt x="125044" y="20194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119" name="Gráfico 2">
              <a:extLst>
                <a:ext uri="{FF2B5EF4-FFF2-40B4-BE49-F238E27FC236}">
                  <a16:creationId xmlns:a16="http://schemas.microsoft.com/office/drawing/2014/main" id="{777488D5-C9B0-42ED-94FB-5C76F4BD1A17}"/>
                </a:ext>
              </a:extLst>
            </p:cNvPr>
            <p:cNvGrpSpPr/>
            <p:nvPr/>
          </p:nvGrpSpPr>
          <p:grpSpPr>
            <a:xfrm>
              <a:off x="10290020" y="4017716"/>
              <a:ext cx="135140" cy="104074"/>
              <a:chOff x="10290020" y="4017716"/>
              <a:chExt cx="135140" cy="104074"/>
            </a:xfrm>
            <a:grpFill/>
          </p:grpSpPr>
          <p:sp>
            <p:nvSpPr>
              <p:cNvPr id="120" name="Forma Livre: Forma 119">
                <a:extLst>
                  <a:ext uri="{FF2B5EF4-FFF2-40B4-BE49-F238E27FC236}">
                    <a16:creationId xmlns:a16="http://schemas.microsoft.com/office/drawing/2014/main" id="{939BBE85-C480-40DA-8FF5-E6D21A806DD7}"/>
                  </a:ext>
                </a:extLst>
              </p:cNvPr>
              <p:cNvSpPr/>
              <p:nvPr/>
            </p:nvSpPr>
            <p:spPr>
              <a:xfrm>
                <a:off x="10290020" y="4017716"/>
                <a:ext cx="135140" cy="20193"/>
              </a:xfrm>
              <a:custGeom>
                <a:avLst/>
                <a:gdLst>
                  <a:gd name="connsiteX0" fmla="*/ 125044 w 135140"/>
                  <a:gd name="connsiteY0" fmla="*/ 20194 h 20193"/>
                  <a:gd name="connsiteX1" fmla="*/ 10097 w 135140"/>
                  <a:gd name="connsiteY1" fmla="*/ 20194 h 20193"/>
                  <a:gd name="connsiteX2" fmla="*/ 0 w 135140"/>
                  <a:gd name="connsiteY2" fmla="*/ 10097 h 20193"/>
                  <a:gd name="connsiteX3" fmla="*/ 10097 w 135140"/>
                  <a:gd name="connsiteY3" fmla="*/ 0 h 20193"/>
                  <a:gd name="connsiteX4" fmla="*/ 125044 w 135140"/>
                  <a:gd name="connsiteY4" fmla="*/ 0 h 20193"/>
                  <a:gd name="connsiteX5" fmla="*/ 135141 w 135140"/>
                  <a:gd name="connsiteY5" fmla="*/ 10097 h 20193"/>
                  <a:gd name="connsiteX6" fmla="*/ 125044 w 135140"/>
                  <a:gd name="connsiteY6" fmla="*/ 20194 h 20193"/>
                  <a:gd name="connsiteX7" fmla="*/ 125044 w 135140"/>
                  <a:gd name="connsiteY7" fmla="*/ 20194 h 20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5140" h="20193">
                    <a:moveTo>
                      <a:pt x="125044" y="20194"/>
                    </a:moveTo>
                    <a:lnTo>
                      <a:pt x="10097" y="20194"/>
                    </a:lnTo>
                    <a:cubicBezTo>
                      <a:pt x="4660" y="20194"/>
                      <a:pt x="0" y="15533"/>
                      <a:pt x="0" y="10097"/>
                    </a:cubicBezTo>
                    <a:cubicBezTo>
                      <a:pt x="0" y="4660"/>
                      <a:pt x="4660" y="0"/>
                      <a:pt x="10097" y="0"/>
                    </a:cubicBezTo>
                    <a:lnTo>
                      <a:pt x="125044" y="0"/>
                    </a:lnTo>
                    <a:cubicBezTo>
                      <a:pt x="130481" y="0"/>
                      <a:pt x="135141" y="4660"/>
                      <a:pt x="135141" y="10097"/>
                    </a:cubicBezTo>
                    <a:cubicBezTo>
                      <a:pt x="135141" y="15533"/>
                      <a:pt x="130481" y="20194"/>
                      <a:pt x="125044" y="20194"/>
                    </a:cubicBezTo>
                    <a:lnTo>
                      <a:pt x="125044" y="20194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21" name="Forma Livre: Forma 120">
                <a:extLst>
                  <a:ext uri="{FF2B5EF4-FFF2-40B4-BE49-F238E27FC236}">
                    <a16:creationId xmlns:a16="http://schemas.microsoft.com/office/drawing/2014/main" id="{361D134E-937D-4AA5-AD2B-FA7F311BEA2A}"/>
                  </a:ext>
                </a:extLst>
              </p:cNvPr>
              <p:cNvSpPr/>
              <p:nvPr/>
            </p:nvSpPr>
            <p:spPr>
              <a:xfrm>
                <a:off x="10290020" y="4101596"/>
                <a:ext cx="135140" cy="20193"/>
              </a:xfrm>
              <a:custGeom>
                <a:avLst/>
                <a:gdLst>
                  <a:gd name="connsiteX0" fmla="*/ 125044 w 135140"/>
                  <a:gd name="connsiteY0" fmla="*/ 20194 h 20193"/>
                  <a:gd name="connsiteX1" fmla="*/ 10097 w 135140"/>
                  <a:gd name="connsiteY1" fmla="*/ 20194 h 20193"/>
                  <a:gd name="connsiteX2" fmla="*/ 0 w 135140"/>
                  <a:gd name="connsiteY2" fmla="*/ 10097 h 20193"/>
                  <a:gd name="connsiteX3" fmla="*/ 10097 w 135140"/>
                  <a:gd name="connsiteY3" fmla="*/ 0 h 20193"/>
                  <a:gd name="connsiteX4" fmla="*/ 125044 w 135140"/>
                  <a:gd name="connsiteY4" fmla="*/ 0 h 20193"/>
                  <a:gd name="connsiteX5" fmla="*/ 135141 w 135140"/>
                  <a:gd name="connsiteY5" fmla="*/ 10097 h 20193"/>
                  <a:gd name="connsiteX6" fmla="*/ 125044 w 135140"/>
                  <a:gd name="connsiteY6" fmla="*/ 20194 h 20193"/>
                  <a:gd name="connsiteX7" fmla="*/ 125044 w 135140"/>
                  <a:gd name="connsiteY7" fmla="*/ 20194 h 20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5140" h="20193">
                    <a:moveTo>
                      <a:pt x="125044" y="20194"/>
                    </a:moveTo>
                    <a:lnTo>
                      <a:pt x="10097" y="20194"/>
                    </a:lnTo>
                    <a:cubicBezTo>
                      <a:pt x="4660" y="20194"/>
                      <a:pt x="0" y="15533"/>
                      <a:pt x="0" y="10097"/>
                    </a:cubicBezTo>
                    <a:cubicBezTo>
                      <a:pt x="0" y="4660"/>
                      <a:pt x="4660" y="0"/>
                      <a:pt x="10097" y="0"/>
                    </a:cubicBezTo>
                    <a:lnTo>
                      <a:pt x="125044" y="0"/>
                    </a:lnTo>
                    <a:cubicBezTo>
                      <a:pt x="130481" y="0"/>
                      <a:pt x="135141" y="4660"/>
                      <a:pt x="135141" y="10097"/>
                    </a:cubicBezTo>
                    <a:cubicBezTo>
                      <a:pt x="135141" y="15533"/>
                      <a:pt x="130481" y="20194"/>
                      <a:pt x="125044" y="20194"/>
                    </a:cubicBezTo>
                    <a:lnTo>
                      <a:pt x="125044" y="20194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122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3340157" y="518448"/>
            <a:ext cx="394786" cy="393522"/>
            <a:chOff x="2706998" y="6990"/>
            <a:chExt cx="485419" cy="483865"/>
          </a:xfrm>
          <a:solidFill>
            <a:srgbClr val="B1B1A1"/>
          </a:solidFill>
        </p:grpSpPr>
        <p:grpSp>
          <p:nvGrpSpPr>
            <p:cNvPr id="123" name="Gráfico 2">
              <a:extLst>
                <a:ext uri="{FF2B5EF4-FFF2-40B4-BE49-F238E27FC236}">
                  <a16:creationId xmlns:a16="http://schemas.microsoft.com/office/drawing/2014/main" id="{777488D5-C9B0-42ED-94FB-5C76F4BD1A17}"/>
                </a:ext>
              </a:extLst>
            </p:cNvPr>
            <p:cNvGrpSpPr/>
            <p:nvPr/>
          </p:nvGrpSpPr>
          <p:grpSpPr>
            <a:xfrm>
              <a:off x="2848740" y="147567"/>
              <a:ext cx="202711" cy="202710"/>
              <a:chOff x="2848740" y="147567"/>
              <a:chExt cx="202711" cy="202710"/>
            </a:xfrm>
            <a:grpFill/>
          </p:grpSpPr>
          <p:sp>
            <p:nvSpPr>
              <p:cNvPr id="124" name="Forma Livre: Forma 123">
                <a:extLst>
                  <a:ext uri="{FF2B5EF4-FFF2-40B4-BE49-F238E27FC236}">
                    <a16:creationId xmlns:a16="http://schemas.microsoft.com/office/drawing/2014/main" id="{8843C285-DE63-42C2-A886-BFEFF6A9A4A3}"/>
                  </a:ext>
                </a:extLst>
              </p:cNvPr>
              <p:cNvSpPr/>
              <p:nvPr/>
            </p:nvSpPr>
            <p:spPr>
              <a:xfrm>
                <a:off x="2930291" y="147567"/>
                <a:ext cx="40386" cy="202710"/>
              </a:xfrm>
              <a:custGeom>
                <a:avLst/>
                <a:gdLst>
                  <a:gd name="connsiteX0" fmla="*/ 20193 w 40386"/>
                  <a:gd name="connsiteY0" fmla="*/ 202711 h 202710"/>
                  <a:gd name="connsiteX1" fmla="*/ 0 w 40386"/>
                  <a:gd name="connsiteY1" fmla="*/ 182518 h 202710"/>
                  <a:gd name="connsiteX2" fmla="*/ 0 w 40386"/>
                  <a:gd name="connsiteY2" fmla="*/ 20193 h 202710"/>
                  <a:gd name="connsiteX3" fmla="*/ 20193 w 40386"/>
                  <a:gd name="connsiteY3" fmla="*/ 0 h 202710"/>
                  <a:gd name="connsiteX4" fmla="*/ 40387 w 40386"/>
                  <a:gd name="connsiteY4" fmla="*/ 20193 h 202710"/>
                  <a:gd name="connsiteX5" fmla="*/ 40387 w 40386"/>
                  <a:gd name="connsiteY5" fmla="*/ 182518 h 202710"/>
                  <a:gd name="connsiteX6" fmla="*/ 20193 w 40386"/>
                  <a:gd name="connsiteY6" fmla="*/ 202711 h 202710"/>
                  <a:gd name="connsiteX7" fmla="*/ 20193 w 40386"/>
                  <a:gd name="connsiteY7" fmla="*/ 202711 h 2027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386" h="202710">
                    <a:moveTo>
                      <a:pt x="20193" y="202711"/>
                    </a:moveTo>
                    <a:cubicBezTo>
                      <a:pt x="8543" y="202711"/>
                      <a:pt x="0" y="193391"/>
                      <a:pt x="0" y="182518"/>
                    </a:cubicBezTo>
                    <a:lnTo>
                      <a:pt x="0" y="20193"/>
                    </a:lnTo>
                    <a:cubicBezTo>
                      <a:pt x="0" y="8543"/>
                      <a:pt x="9320" y="0"/>
                      <a:pt x="20193" y="0"/>
                    </a:cubicBezTo>
                    <a:cubicBezTo>
                      <a:pt x="31844" y="0"/>
                      <a:pt x="40387" y="9320"/>
                      <a:pt x="40387" y="20193"/>
                    </a:cubicBezTo>
                    <a:lnTo>
                      <a:pt x="40387" y="182518"/>
                    </a:lnTo>
                    <a:cubicBezTo>
                      <a:pt x="40387" y="193391"/>
                      <a:pt x="31067" y="202711"/>
                      <a:pt x="20193" y="202711"/>
                    </a:cubicBezTo>
                    <a:lnTo>
                      <a:pt x="20193" y="202711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25" name="Forma Livre: Forma 124">
                <a:extLst>
                  <a:ext uri="{FF2B5EF4-FFF2-40B4-BE49-F238E27FC236}">
                    <a16:creationId xmlns:a16="http://schemas.microsoft.com/office/drawing/2014/main" id="{88F96099-4C88-408E-AE9E-81E6594FB32D}"/>
                  </a:ext>
                </a:extLst>
              </p:cNvPr>
              <p:cNvSpPr/>
              <p:nvPr/>
            </p:nvSpPr>
            <p:spPr>
              <a:xfrm>
                <a:off x="2848740" y="229117"/>
                <a:ext cx="202711" cy="40386"/>
              </a:xfrm>
              <a:custGeom>
                <a:avLst/>
                <a:gdLst>
                  <a:gd name="connsiteX0" fmla="*/ 182518 w 202711"/>
                  <a:gd name="connsiteY0" fmla="*/ 40387 h 40386"/>
                  <a:gd name="connsiteX1" fmla="*/ 20193 w 202711"/>
                  <a:gd name="connsiteY1" fmla="*/ 40387 h 40386"/>
                  <a:gd name="connsiteX2" fmla="*/ 0 w 202711"/>
                  <a:gd name="connsiteY2" fmla="*/ 20193 h 40386"/>
                  <a:gd name="connsiteX3" fmla="*/ 20193 w 202711"/>
                  <a:gd name="connsiteY3" fmla="*/ 0 h 40386"/>
                  <a:gd name="connsiteX4" fmla="*/ 182518 w 202711"/>
                  <a:gd name="connsiteY4" fmla="*/ 0 h 40386"/>
                  <a:gd name="connsiteX5" fmla="*/ 202711 w 202711"/>
                  <a:gd name="connsiteY5" fmla="*/ 20193 h 40386"/>
                  <a:gd name="connsiteX6" fmla="*/ 182518 w 202711"/>
                  <a:gd name="connsiteY6" fmla="*/ 40387 h 40386"/>
                  <a:gd name="connsiteX7" fmla="*/ 182518 w 202711"/>
                  <a:gd name="connsiteY7" fmla="*/ 40387 h 40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2711" h="40386">
                    <a:moveTo>
                      <a:pt x="182518" y="40387"/>
                    </a:moveTo>
                    <a:lnTo>
                      <a:pt x="20193" y="40387"/>
                    </a:lnTo>
                    <a:cubicBezTo>
                      <a:pt x="8543" y="40387"/>
                      <a:pt x="0" y="31067"/>
                      <a:pt x="0" y="20193"/>
                    </a:cubicBezTo>
                    <a:cubicBezTo>
                      <a:pt x="0" y="8543"/>
                      <a:pt x="9320" y="0"/>
                      <a:pt x="20193" y="0"/>
                    </a:cubicBezTo>
                    <a:lnTo>
                      <a:pt x="182518" y="0"/>
                    </a:lnTo>
                    <a:cubicBezTo>
                      <a:pt x="194168" y="0"/>
                      <a:pt x="202711" y="9320"/>
                      <a:pt x="202711" y="20193"/>
                    </a:cubicBezTo>
                    <a:cubicBezTo>
                      <a:pt x="202711" y="31067"/>
                      <a:pt x="193391" y="40387"/>
                      <a:pt x="182518" y="40387"/>
                    </a:cubicBezTo>
                    <a:lnTo>
                      <a:pt x="182518" y="40387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126" name="Forma Livre: Forma 125">
              <a:extLst>
                <a:ext uri="{FF2B5EF4-FFF2-40B4-BE49-F238E27FC236}">
                  <a16:creationId xmlns:a16="http://schemas.microsoft.com/office/drawing/2014/main" id="{16A8D35E-1DDC-4986-BB76-6DEFD8289C9D}"/>
                </a:ext>
              </a:extLst>
            </p:cNvPr>
            <p:cNvSpPr/>
            <p:nvPr/>
          </p:nvSpPr>
          <p:spPr>
            <a:xfrm>
              <a:off x="2706998" y="6990"/>
              <a:ext cx="485419" cy="483865"/>
            </a:xfrm>
            <a:custGeom>
              <a:avLst/>
              <a:gdLst>
                <a:gd name="connsiteX0" fmla="*/ 242709 w 485419"/>
                <a:gd name="connsiteY0" fmla="*/ 483866 h 483865"/>
                <a:gd name="connsiteX1" fmla="*/ 71065 w 485419"/>
                <a:gd name="connsiteY1" fmla="*/ 413189 h 483865"/>
                <a:gd name="connsiteX2" fmla="*/ 71065 w 485419"/>
                <a:gd name="connsiteY2" fmla="*/ 70677 h 483865"/>
                <a:gd name="connsiteX3" fmla="*/ 242709 w 485419"/>
                <a:gd name="connsiteY3" fmla="*/ 0 h 483865"/>
                <a:gd name="connsiteX4" fmla="*/ 414354 w 485419"/>
                <a:gd name="connsiteY4" fmla="*/ 70677 h 483865"/>
                <a:gd name="connsiteX5" fmla="*/ 414354 w 485419"/>
                <a:gd name="connsiteY5" fmla="*/ 413189 h 483865"/>
                <a:gd name="connsiteX6" fmla="*/ 242709 w 485419"/>
                <a:gd name="connsiteY6" fmla="*/ 483866 h 483865"/>
                <a:gd name="connsiteX7" fmla="*/ 242709 w 485419"/>
                <a:gd name="connsiteY7" fmla="*/ 483866 h 483865"/>
                <a:gd name="connsiteX8" fmla="*/ 243486 w 485419"/>
                <a:gd name="connsiteY8" fmla="*/ 40387 h 483865"/>
                <a:gd name="connsiteX9" fmla="*/ 101356 w 485419"/>
                <a:gd name="connsiteY9" fmla="*/ 99414 h 483865"/>
                <a:gd name="connsiteX10" fmla="*/ 101356 w 485419"/>
                <a:gd name="connsiteY10" fmla="*/ 383675 h 483865"/>
                <a:gd name="connsiteX11" fmla="*/ 243486 w 485419"/>
                <a:gd name="connsiteY11" fmla="*/ 442702 h 483865"/>
                <a:gd name="connsiteX12" fmla="*/ 385617 w 485419"/>
                <a:gd name="connsiteY12" fmla="*/ 383675 h 483865"/>
                <a:gd name="connsiteX13" fmla="*/ 385617 w 485419"/>
                <a:gd name="connsiteY13" fmla="*/ 99414 h 483865"/>
                <a:gd name="connsiteX14" fmla="*/ 243486 w 485419"/>
                <a:gd name="connsiteY14" fmla="*/ 40387 h 483865"/>
                <a:gd name="connsiteX15" fmla="*/ 243486 w 485419"/>
                <a:gd name="connsiteY15" fmla="*/ 40387 h 483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85419" h="483865">
                  <a:moveTo>
                    <a:pt x="242709" y="483866"/>
                  </a:moveTo>
                  <a:cubicBezTo>
                    <a:pt x="178246" y="483866"/>
                    <a:pt x="116889" y="459012"/>
                    <a:pt x="71065" y="413189"/>
                  </a:cubicBezTo>
                  <a:cubicBezTo>
                    <a:pt x="-23688" y="318435"/>
                    <a:pt x="-23688" y="164654"/>
                    <a:pt x="71065" y="70677"/>
                  </a:cubicBezTo>
                  <a:cubicBezTo>
                    <a:pt x="116889" y="24853"/>
                    <a:pt x="177469" y="0"/>
                    <a:pt x="242709" y="0"/>
                  </a:cubicBezTo>
                  <a:cubicBezTo>
                    <a:pt x="307173" y="0"/>
                    <a:pt x="368530" y="24853"/>
                    <a:pt x="414354" y="70677"/>
                  </a:cubicBezTo>
                  <a:cubicBezTo>
                    <a:pt x="509108" y="165431"/>
                    <a:pt x="509108" y="319212"/>
                    <a:pt x="414354" y="413189"/>
                  </a:cubicBezTo>
                  <a:cubicBezTo>
                    <a:pt x="368530" y="459012"/>
                    <a:pt x="307950" y="483866"/>
                    <a:pt x="242709" y="483866"/>
                  </a:cubicBezTo>
                  <a:lnTo>
                    <a:pt x="242709" y="483866"/>
                  </a:lnTo>
                  <a:close/>
                  <a:moveTo>
                    <a:pt x="243486" y="40387"/>
                  </a:moveTo>
                  <a:cubicBezTo>
                    <a:pt x="189896" y="40387"/>
                    <a:pt x="139412" y="61357"/>
                    <a:pt x="101356" y="99414"/>
                  </a:cubicBezTo>
                  <a:cubicBezTo>
                    <a:pt x="22912" y="177858"/>
                    <a:pt x="22912" y="305232"/>
                    <a:pt x="101356" y="383675"/>
                  </a:cubicBezTo>
                  <a:cubicBezTo>
                    <a:pt x="139412" y="421732"/>
                    <a:pt x="189896" y="442702"/>
                    <a:pt x="243486" y="442702"/>
                  </a:cubicBezTo>
                  <a:cubicBezTo>
                    <a:pt x="297076" y="442702"/>
                    <a:pt x="347560" y="421732"/>
                    <a:pt x="385617" y="383675"/>
                  </a:cubicBezTo>
                  <a:cubicBezTo>
                    <a:pt x="464061" y="305232"/>
                    <a:pt x="464061" y="177858"/>
                    <a:pt x="385617" y="99414"/>
                  </a:cubicBezTo>
                  <a:cubicBezTo>
                    <a:pt x="347560" y="61357"/>
                    <a:pt x="297076" y="40387"/>
                    <a:pt x="243486" y="40387"/>
                  </a:cubicBezTo>
                  <a:lnTo>
                    <a:pt x="243486" y="40387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27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4365021" y="517816"/>
            <a:ext cx="394470" cy="394154"/>
            <a:chOff x="3967146" y="6213"/>
            <a:chExt cx="485030" cy="484642"/>
          </a:xfrm>
          <a:solidFill>
            <a:srgbClr val="B1B1A1"/>
          </a:solidFill>
        </p:grpSpPr>
        <p:sp>
          <p:nvSpPr>
            <p:cNvPr id="128" name="Forma Livre: Forma 127">
              <a:extLst>
                <a:ext uri="{FF2B5EF4-FFF2-40B4-BE49-F238E27FC236}">
                  <a16:creationId xmlns:a16="http://schemas.microsoft.com/office/drawing/2014/main" id="{A5061905-FD3D-4819-9A50-574774C907C1}"/>
                </a:ext>
              </a:extLst>
            </p:cNvPr>
            <p:cNvSpPr/>
            <p:nvPr/>
          </p:nvSpPr>
          <p:spPr>
            <a:xfrm>
              <a:off x="4107723" y="229117"/>
              <a:ext cx="202756" cy="40386"/>
            </a:xfrm>
            <a:custGeom>
              <a:avLst/>
              <a:gdLst>
                <a:gd name="connsiteX0" fmla="*/ 182518 w 202756"/>
                <a:gd name="connsiteY0" fmla="*/ 40387 h 40386"/>
                <a:gd name="connsiteX1" fmla="*/ 20193 w 202756"/>
                <a:gd name="connsiteY1" fmla="*/ 40387 h 40386"/>
                <a:gd name="connsiteX2" fmla="*/ 0 w 202756"/>
                <a:gd name="connsiteY2" fmla="*/ 20193 h 40386"/>
                <a:gd name="connsiteX3" fmla="*/ 20193 w 202756"/>
                <a:gd name="connsiteY3" fmla="*/ 0 h 40386"/>
                <a:gd name="connsiteX4" fmla="*/ 182518 w 202756"/>
                <a:gd name="connsiteY4" fmla="*/ 0 h 40386"/>
                <a:gd name="connsiteX5" fmla="*/ 202711 w 202756"/>
                <a:gd name="connsiteY5" fmla="*/ 20193 h 40386"/>
                <a:gd name="connsiteX6" fmla="*/ 182518 w 202756"/>
                <a:gd name="connsiteY6" fmla="*/ 40387 h 40386"/>
                <a:gd name="connsiteX7" fmla="*/ 182518 w 202756"/>
                <a:gd name="connsiteY7" fmla="*/ 40387 h 4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2756" h="40386">
                  <a:moveTo>
                    <a:pt x="182518" y="40387"/>
                  </a:moveTo>
                  <a:lnTo>
                    <a:pt x="20193" y="40387"/>
                  </a:lnTo>
                  <a:cubicBezTo>
                    <a:pt x="8543" y="40387"/>
                    <a:pt x="0" y="31067"/>
                    <a:pt x="0" y="20193"/>
                  </a:cubicBezTo>
                  <a:cubicBezTo>
                    <a:pt x="0" y="8543"/>
                    <a:pt x="9320" y="0"/>
                    <a:pt x="20193" y="0"/>
                  </a:cubicBezTo>
                  <a:lnTo>
                    <a:pt x="182518" y="0"/>
                  </a:lnTo>
                  <a:cubicBezTo>
                    <a:pt x="194168" y="0"/>
                    <a:pt x="202711" y="9320"/>
                    <a:pt x="202711" y="20193"/>
                  </a:cubicBezTo>
                  <a:cubicBezTo>
                    <a:pt x="203488" y="31067"/>
                    <a:pt x="194168" y="40387"/>
                    <a:pt x="182518" y="40387"/>
                  </a:cubicBezTo>
                  <a:lnTo>
                    <a:pt x="182518" y="40387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29" name="Forma Livre: Forma 128">
              <a:extLst>
                <a:ext uri="{FF2B5EF4-FFF2-40B4-BE49-F238E27FC236}">
                  <a16:creationId xmlns:a16="http://schemas.microsoft.com/office/drawing/2014/main" id="{91F8D1CE-0806-42F4-AC9A-FB612A9B5613}"/>
                </a:ext>
              </a:extLst>
            </p:cNvPr>
            <p:cNvSpPr/>
            <p:nvPr/>
          </p:nvSpPr>
          <p:spPr>
            <a:xfrm>
              <a:off x="3967146" y="6213"/>
              <a:ext cx="485030" cy="484642"/>
            </a:xfrm>
            <a:custGeom>
              <a:avLst/>
              <a:gdLst>
                <a:gd name="connsiteX0" fmla="*/ 242321 w 485030"/>
                <a:gd name="connsiteY0" fmla="*/ 484642 h 484642"/>
                <a:gd name="connsiteX1" fmla="*/ 70677 w 485030"/>
                <a:gd name="connsiteY1" fmla="*/ 413965 h 484642"/>
                <a:gd name="connsiteX2" fmla="*/ 0 w 485030"/>
                <a:gd name="connsiteY2" fmla="*/ 242321 h 484642"/>
                <a:gd name="connsiteX3" fmla="*/ 70677 w 485030"/>
                <a:gd name="connsiteY3" fmla="*/ 70677 h 484642"/>
                <a:gd name="connsiteX4" fmla="*/ 242321 w 485030"/>
                <a:gd name="connsiteY4" fmla="*/ 0 h 484642"/>
                <a:gd name="connsiteX5" fmla="*/ 413966 w 485030"/>
                <a:gd name="connsiteY5" fmla="*/ 70677 h 484642"/>
                <a:gd name="connsiteX6" fmla="*/ 413966 w 485030"/>
                <a:gd name="connsiteY6" fmla="*/ 413189 h 484642"/>
                <a:gd name="connsiteX7" fmla="*/ 242321 w 485030"/>
                <a:gd name="connsiteY7" fmla="*/ 484642 h 484642"/>
                <a:gd name="connsiteX8" fmla="*/ 242321 w 485030"/>
                <a:gd name="connsiteY8" fmla="*/ 484642 h 484642"/>
                <a:gd name="connsiteX9" fmla="*/ 242321 w 485030"/>
                <a:gd name="connsiteY9" fmla="*/ 41164 h 484642"/>
                <a:gd name="connsiteX10" fmla="*/ 100190 w 485030"/>
                <a:gd name="connsiteY10" fmla="*/ 100190 h 484642"/>
                <a:gd name="connsiteX11" fmla="*/ 41164 w 485030"/>
                <a:gd name="connsiteY11" fmla="*/ 242321 h 484642"/>
                <a:gd name="connsiteX12" fmla="*/ 100190 w 485030"/>
                <a:gd name="connsiteY12" fmla="*/ 384452 h 484642"/>
                <a:gd name="connsiteX13" fmla="*/ 242321 w 485030"/>
                <a:gd name="connsiteY13" fmla="*/ 443479 h 484642"/>
                <a:gd name="connsiteX14" fmla="*/ 384452 w 485030"/>
                <a:gd name="connsiteY14" fmla="*/ 384452 h 484642"/>
                <a:gd name="connsiteX15" fmla="*/ 384452 w 485030"/>
                <a:gd name="connsiteY15" fmla="*/ 100190 h 484642"/>
                <a:gd name="connsiteX16" fmla="*/ 242321 w 485030"/>
                <a:gd name="connsiteY16" fmla="*/ 41164 h 484642"/>
                <a:gd name="connsiteX17" fmla="*/ 242321 w 485030"/>
                <a:gd name="connsiteY17" fmla="*/ 41164 h 484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85030" h="484642">
                  <a:moveTo>
                    <a:pt x="242321" y="484642"/>
                  </a:moveTo>
                  <a:cubicBezTo>
                    <a:pt x="177857" y="484642"/>
                    <a:pt x="116501" y="459789"/>
                    <a:pt x="70677" y="413965"/>
                  </a:cubicBezTo>
                  <a:cubicBezTo>
                    <a:pt x="24854" y="368142"/>
                    <a:pt x="0" y="307562"/>
                    <a:pt x="0" y="242321"/>
                  </a:cubicBezTo>
                  <a:cubicBezTo>
                    <a:pt x="0" y="177858"/>
                    <a:pt x="24854" y="116501"/>
                    <a:pt x="70677" y="70677"/>
                  </a:cubicBezTo>
                  <a:cubicBezTo>
                    <a:pt x="116501" y="24853"/>
                    <a:pt x="177081" y="0"/>
                    <a:pt x="242321" y="0"/>
                  </a:cubicBezTo>
                  <a:cubicBezTo>
                    <a:pt x="307562" y="0"/>
                    <a:pt x="368142" y="24853"/>
                    <a:pt x="413966" y="70677"/>
                  </a:cubicBezTo>
                  <a:cubicBezTo>
                    <a:pt x="508719" y="165431"/>
                    <a:pt x="508719" y="319212"/>
                    <a:pt x="413966" y="413189"/>
                  </a:cubicBezTo>
                  <a:cubicBezTo>
                    <a:pt x="368142" y="459789"/>
                    <a:pt x="306785" y="484642"/>
                    <a:pt x="242321" y="484642"/>
                  </a:cubicBezTo>
                  <a:lnTo>
                    <a:pt x="242321" y="484642"/>
                  </a:lnTo>
                  <a:close/>
                  <a:moveTo>
                    <a:pt x="242321" y="41164"/>
                  </a:moveTo>
                  <a:cubicBezTo>
                    <a:pt x="188731" y="41164"/>
                    <a:pt x="138247" y="62134"/>
                    <a:pt x="100190" y="100190"/>
                  </a:cubicBezTo>
                  <a:cubicBezTo>
                    <a:pt x="62134" y="138247"/>
                    <a:pt x="41164" y="188731"/>
                    <a:pt x="41164" y="242321"/>
                  </a:cubicBezTo>
                  <a:cubicBezTo>
                    <a:pt x="41164" y="295911"/>
                    <a:pt x="62134" y="346395"/>
                    <a:pt x="100190" y="384452"/>
                  </a:cubicBezTo>
                  <a:cubicBezTo>
                    <a:pt x="138247" y="422509"/>
                    <a:pt x="188731" y="443479"/>
                    <a:pt x="242321" y="443479"/>
                  </a:cubicBezTo>
                  <a:cubicBezTo>
                    <a:pt x="295912" y="443479"/>
                    <a:pt x="346395" y="422509"/>
                    <a:pt x="384452" y="384452"/>
                  </a:cubicBezTo>
                  <a:cubicBezTo>
                    <a:pt x="462896" y="306008"/>
                    <a:pt x="462896" y="178634"/>
                    <a:pt x="384452" y="100190"/>
                  </a:cubicBezTo>
                  <a:cubicBezTo>
                    <a:pt x="346395" y="62134"/>
                    <a:pt x="295912" y="41164"/>
                    <a:pt x="242321" y="41164"/>
                  </a:cubicBezTo>
                  <a:lnTo>
                    <a:pt x="242321" y="41164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30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5390833" y="517816"/>
            <a:ext cx="394470" cy="394154"/>
            <a:chOff x="5228459" y="6213"/>
            <a:chExt cx="485030" cy="484642"/>
          </a:xfrm>
          <a:solidFill>
            <a:srgbClr val="B1B1A1"/>
          </a:solidFill>
        </p:grpSpPr>
        <p:grpSp>
          <p:nvGrpSpPr>
            <p:cNvPr id="131" name="Gráfico 2">
              <a:extLst>
                <a:ext uri="{FF2B5EF4-FFF2-40B4-BE49-F238E27FC236}">
                  <a16:creationId xmlns:a16="http://schemas.microsoft.com/office/drawing/2014/main" id="{777488D5-C9B0-42ED-94FB-5C76F4BD1A17}"/>
                </a:ext>
              </a:extLst>
            </p:cNvPr>
            <p:cNvGrpSpPr/>
            <p:nvPr/>
          </p:nvGrpSpPr>
          <p:grpSpPr>
            <a:xfrm>
              <a:off x="5392725" y="171255"/>
              <a:ext cx="156110" cy="155722"/>
              <a:chOff x="5392725" y="171255"/>
              <a:chExt cx="156110" cy="155722"/>
            </a:xfrm>
            <a:grpFill/>
          </p:grpSpPr>
          <p:sp>
            <p:nvSpPr>
              <p:cNvPr id="132" name="Forma Livre: Forma 131">
                <a:extLst>
                  <a:ext uri="{FF2B5EF4-FFF2-40B4-BE49-F238E27FC236}">
                    <a16:creationId xmlns:a16="http://schemas.microsoft.com/office/drawing/2014/main" id="{6C0A7FE7-130C-46BB-9CE6-BA1FA83EC6CD}"/>
                  </a:ext>
                </a:extLst>
              </p:cNvPr>
              <p:cNvSpPr/>
              <p:nvPr/>
            </p:nvSpPr>
            <p:spPr>
              <a:xfrm>
                <a:off x="5393501" y="171255"/>
                <a:ext cx="155334" cy="155722"/>
              </a:xfrm>
              <a:custGeom>
                <a:avLst/>
                <a:gdLst>
                  <a:gd name="connsiteX0" fmla="*/ 20582 w 155334"/>
                  <a:gd name="connsiteY0" fmla="*/ 155722 h 155722"/>
                  <a:gd name="connsiteX1" fmla="*/ 5825 w 155334"/>
                  <a:gd name="connsiteY1" fmla="*/ 149509 h 155722"/>
                  <a:gd name="connsiteX2" fmla="*/ 5825 w 155334"/>
                  <a:gd name="connsiteY2" fmla="*/ 120772 h 155722"/>
                  <a:gd name="connsiteX3" fmla="*/ 120772 w 155334"/>
                  <a:gd name="connsiteY3" fmla="*/ 5825 h 155722"/>
                  <a:gd name="connsiteX4" fmla="*/ 149509 w 155334"/>
                  <a:gd name="connsiteY4" fmla="*/ 5825 h 155722"/>
                  <a:gd name="connsiteX5" fmla="*/ 149509 w 155334"/>
                  <a:gd name="connsiteY5" fmla="*/ 34562 h 155722"/>
                  <a:gd name="connsiteX6" fmla="*/ 34562 w 155334"/>
                  <a:gd name="connsiteY6" fmla="*/ 149509 h 155722"/>
                  <a:gd name="connsiteX7" fmla="*/ 20582 w 155334"/>
                  <a:gd name="connsiteY7" fmla="*/ 155722 h 155722"/>
                  <a:gd name="connsiteX8" fmla="*/ 20582 w 155334"/>
                  <a:gd name="connsiteY8" fmla="*/ 155722 h 155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5334" h="155722">
                    <a:moveTo>
                      <a:pt x="20582" y="155722"/>
                    </a:moveTo>
                    <a:cubicBezTo>
                      <a:pt x="15145" y="155722"/>
                      <a:pt x="9708" y="153392"/>
                      <a:pt x="5825" y="149509"/>
                    </a:cubicBezTo>
                    <a:cubicBezTo>
                      <a:pt x="-1942" y="141742"/>
                      <a:pt x="-1942" y="128539"/>
                      <a:pt x="5825" y="120772"/>
                    </a:cubicBezTo>
                    <a:lnTo>
                      <a:pt x="120772" y="5825"/>
                    </a:lnTo>
                    <a:cubicBezTo>
                      <a:pt x="128539" y="-1942"/>
                      <a:pt x="141742" y="-1942"/>
                      <a:pt x="149509" y="5825"/>
                    </a:cubicBezTo>
                    <a:cubicBezTo>
                      <a:pt x="157276" y="13592"/>
                      <a:pt x="157276" y="26795"/>
                      <a:pt x="149509" y="34562"/>
                    </a:cubicBezTo>
                    <a:lnTo>
                      <a:pt x="34562" y="149509"/>
                    </a:lnTo>
                    <a:cubicBezTo>
                      <a:pt x="30679" y="153392"/>
                      <a:pt x="25242" y="155722"/>
                      <a:pt x="20582" y="155722"/>
                    </a:cubicBezTo>
                    <a:lnTo>
                      <a:pt x="20582" y="155722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33" name="Forma Livre: Forma 132">
                <a:extLst>
                  <a:ext uri="{FF2B5EF4-FFF2-40B4-BE49-F238E27FC236}">
                    <a16:creationId xmlns:a16="http://schemas.microsoft.com/office/drawing/2014/main" id="{7F4D04C7-8AA8-4457-8095-5BB3FB67BF0A}"/>
                  </a:ext>
                </a:extLst>
              </p:cNvPr>
              <p:cNvSpPr/>
              <p:nvPr/>
            </p:nvSpPr>
            <p:spPr>
              <a:xfrm>
                <a:off x="5392725" y="171255"/>
                <a:ext cx="155334" cy="155722"/>
              </a:xfrm>
              <a:custGeom>
                <a:avLst/>
                <a:gdLst>
                  <a:gd name="connsiteX0" fmla="*/ 135529 w 155334"/>
                  <a:gd name="connsiteY0" fmla="*/ 155722 h 155722"/>
                  <a:gd name="connsiteX1" fmla="*/ 120772 w 155334"/>
                  <a:gd name="connsiteY1" fmla="*/ 149509 h 155722"/>
                  <a:gd name="connsiteX2" fmla="*/ 5825 w 155334"/>
                  <a:gd name="connsiteY2" fmla="*/ 34562 h 155722"/>
                  <a:gd name="connsiteX3" fmla="*/ 5825 w 155334"/>
                  <a:gd name="connsiteY3" fmla="*/ 5825 h 155722"/>
                  <a:gd name="connsiteX4" fmla="*/ 34562 w 155334"/>
                  <a:gd name="connsiteY4" fmla="*/ 5825 h 155722"/>
                  <a:gd name="connsiteX5" fmla="*/ 149509 w 155334"/>
                  <a:gd name="connsiteY5" fmla="*/ 120772 h 155722"/>
                  <a:gd name="connsiteX6" fmla="*/ 149509 w 155334"/>
                  <a:gd name="connsiteY6" fmla="*/ 149509 h 155722"/>
                  <a:gd name="connsiteX7" fmla="*/ 135529 w 155334"/>
                  <a:gd name="connsiteY7" fmla="*/ 155722 h 155722"/>
                  <a:gd name="connsiteX8" fmla="*/ 135529 w 155334"/>
                  <a:gd name="connsiteY8" fmla="*/ 155722 h 155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5334" h="155722">
                    <a:moveTo>
                      <a:pt x="135529" y="155722"/>
                    </a:moveTo>
                    <a:cubicBezTo>
                      <a:pt x="130092" y="155722"/>
                      <a:pt x="124656" y="153392"/>
                      <a:pt x="120772" y="149509"/>
                    </a:cubicBezTo>
                    <a:lnTo>
                      <a:pt x="5825" y="34562"/>
                    </a:lnTo>
                    <a:cubicBezTo>
                      <a:pt x="-1942" y="26795"/>
                      <a:pt x="-1942" y="13592"/>
                      <a:pt x="5825" y="5825"/>
                    </a:cubicBezTo>
                    <a:cubicBezTo>
                      <a:pt x="13592" y="-1942"/>
                      <a:pt x="26795" y="-1942"/>
                      <a:pt x="34562" y="5825"/>
                    </a:cubicBezTo>
                    <a:lnTo>
                      <a:pt x="149509" y="120772"/>
                    </a:lnTo>
                    <a:cubicBezTo>
                      <a:pt x="157276" y="128539"/>
                      <a:pt x="157276" y="141742"/>
                      <a:pt x="149509" y="149509"/>
                    </a:cubicBezTo>
                    <a:cubicBezTo>
                      <a:pt x="146402" y="153392"/>
                      <a:pt x="140965" y="155722"/>
                      <a:pt x="135529" y="155722"/>
                    </a:cubicBezTo>
                    <a:lnTo>
                      <a:pt x="135529" y="155722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134" name="Forma Livre: Forma 133">
              <a:extLst>
                <a:ext uri="{FF2B5EF4-FFF2-40B4-BE49-F238E27FC236}">
                  <a16:creationId xmlns:a16="http://schemas.microsoft.com/office/drawing/2014/main" id="{EEB9D5F3-1DAC-4C74-AC01-1D08F9D33313}"/>
                </a:ext>
              </a:extLst>
            </p:cNvPr>
            <p:cNvSpPr/>
            <p:nvPr/>
          </p:nvSpPr>
          <p:spPr>
            <a:xfrm>
              <a:off x="5228459" y="6213"/>
              <a:ext cx="485030" cy="484642"/>
            </a:xfrm>
            <a:custGeom>
              <a:avLst/>
              <a:gdLst>
                <a:gd name="connsiteX0" fmla="*/ 242321 w 485030"/>
                <a:gd name="connsiteY0" fmla="*/ 484642 h 484642"/>
                <a:gd name="connsiteX1" fmla="*/ 70677 w 485030"/>
                <a:gd name="connsiteY1" fmla="*/ 413965 h 484642"/>
                <a:gd name="connsiteX2" fmla="*/ 0 w 485030"/>
                <a:gd name="connsiteY2" fmla="*/ 242321 h 484642"/>
                <a:gd name="connsiteX3" fmla="*/ 70677 w 485030"/>
                <a:gd name="connsiteY3" fmla="*/ 70677 h 484642"/>
                <a:gd name="connsiteX4" fmla="*/ 242321 w 485030"/>
                <a:gd name="connsiteY4" fmla="*/ 0 h 484642"/>
                <a:gd name="connsiteX5" fmla="*/ 413965 w 485030"/>
                <a:gd name="connsiteY5" fmla="*/ 70677 h 484642"/>
                <a:gd name="connsiteX6" fmla="*/ 413965 w 485030"/>
                <a:gd name="connsiteY6" fmla="*/ 413189 h 484642"/>
                <a:gd name="connsiteX7" fmla="*/ 242321 w 485030"/>
                <a:gd name="connsiteY7" fmla="*/ 484642 h 484642"/>
                <a:gd name="connsiteX8" fmla="*/ 242321 w 485030"/>
                <a:gd name="connsiteY8" fmla="*/ 484642 h 484642"/>
                <a:gd name="connsiteX9" fmla="*/ 242321 w 485030"/>
                <a:gd name="connsiteY9" fmla="*/ 41164 h 484642"/>
                <a:gd name="connsiteX10" fmla="*/ 100191 w 485030"/>
                <a:gd name="connsiteY10" fmla="*/ 100190 h 484642"/>
                <a:gd name="connsiteX11" fmla="*/ 41163 w 485030"/>
                <a:gd name="connsiteY11" fmla="*/ 242321 h 484642"/>
                <a:gd name="connsiteX12" fmla="*/ 100191 w 485030"/>
                <a:gd name="connsiteY12" fmla="*/ 384452 h 484642"/>
                <a:gd name="connsiteX13" fmla="*/ 242321 w 485030"/>
                <a:gd name="connsiteY13" fmla="*/ 443479 h 484642"/>
                <a:gd name="connsiteX14" fmla="*/ 384452 w 485030"/>
                <a:gd name="connsiteY14" fmla="*/ 384452 h 484642"/>
                <a:gd name="connsiteX15" fmla="*/ 384452 w 485030"/>
                <a:gd name="connsiteY15" fmla="*/ 100190 h 484642"/>
                <a:gd name="connsiteX16" fmla="*/ 242321 w 485030"/>
                <a:gd name="connsiteY16" fmla="*/ 41164 h 484642"/>
                <a:gd name="connsiteX17" fmla="*/ 242321 w 485030"/>
                <a:gd name="connsiteY17" fmla="*/ 41164 h 484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85030" h="484642">
                  <a:moveTo>
                    <a:pt x="242321" y="484642"/>
                  </a:moveTo>
                  <a:cubicBezTo>
                    <a:pt x="177858" y="484642"/>
                    <a:pt x="116501" y="459789"/>
                    <a:pt x="70677" y="413965"/>
                  </a:cubicBezTo>
                  <a:cubicBezTo>
                    <a:pt x="24854" y="368142"/>
                    <a:pt x="0" y="307562"/>
                    <a:pt x="0" y="242321"/>
                  </a:cubicBezTo>
                  <a:cubicBezTo>
                    <a:pt x="0" y="177858"/>
                    <a:pt x="24854" y="116501"/>
                    <a:pt x="70677" y="70677"/>
                  </a:cubicBezTo>
                  <a:cubicBezTo>
                    <a:pt x="116501" y="24853"/>
                    <a:pt x="177081" y="0"/>
                    <a:pt x="242321" y="0"/>
                  </a:cubicBezTo>
                  <a:cubicBezTo>
                    <a:pt x="306785" y="0"/>
                    <a:pt x="368142" y="24853"/>
                    <a:pt x="413965" y="70677"/>
                  </a:cubicBezTo>
                  <a:cubicBezTo>
                    <a:pt x="508719" y="165431"/>
                    <a:pt x="508719" y="319212"/>
                    <a:pt x="413965" y="413189"/>
                  </a:cubicBezTo>
                  <a:cubicBezTo>
                    <a:pt x="368142" y="459789"/>
                    <a:pt x="307562" y="484642"/>
                    <a:pt x="242321" y="484642"/>
                  </a:cubicBezTo>
                  <a:lnTo>
                    <a:pt x="242321" y="484642"/>
                  </a:lnTo>
                  <a:close/>
                  <a:moveTo>
                    <a:pt x="242321" y="41164"/>
                  </a:moveTo>
                  <a:cubicBezTo>
                    <a:pt x="188731" y="41164"/>
                    <a:pt x="138247" y="62134"/>
                    <a:pt x="100191" y="100190"/>
                  </a:cubicBezTo>
                  <a:cubicBezTo>
                    <a:pt x="62134" y="138247"/>
                    <a:pt x="41163" y="188731"/>
                    <a:pt x="41163" y="242321"/>
                  </a:cubicBezTo>
                  <a:cubicBezTo>
                    <a:pt x="41163" y="295911"/>
                    <a:pt x="62134" y="346395"/>
                    <a:pt x="100191" y="384452"/>
                  </a:cubicBezTo>
                  <a:cubicBezTo>
                    <a:pt x="138247" y="422509"/>
                    <a:pt x="188731" y="443479"/>
                    <a:pt x="242321" y="443479"/>
                  </a:cubicBezTo>
                  <a:cubicBezTo>
                    <a:pt x="295912" y="443479"/>
                    <a:pt x="346395" y="422509"/>
                    <a:pt x="384452" y="384452"/>
                  </a:cubicBezTo>
                  <a:cubicBezTo>
                    <a:pt x="462896" y="306008"/>
                    <a:pt x="462896" y="178634"/>
                    <a:pt x="384452" y="100190"/>
                  </a:cubicBezTo>
                  <a:cubicBezTo>
                    <a:pt x="347172" y="62134"/>
                    <a:pt x="296688" y="41164"/>
                    <a:pt x="242321" y="41164"/>
                  </a:cubicBezTo>
                  <a:lnTo>
                    <a:pt x="242321" y="41164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35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6414750" y="517816"/>
            <a:ext cx="394470" cy="394154"/>
            <a:chOff x="6487442" y="6213"/>
            <a:chExt cx="485030" cy="484642"/>
          </a:xfrm>
          <a:solidFill>
            <a:srgbClr val="B1B1A1"/>
          </a:solidFill>
        </p:grpSpPr>
        <p:grpSp>
          <p:nvGrpSpPr>
            <p:cNvPr id="136" name="Gráfico 2">
              <a:extLst>
                <a:ext uri="{FF2B5EF4-FFF2-40B4-BE49-F238E27FC236}">
                  <a16:creationId xmlns:a16="http://schemas.microsoft.com/office/drawing/2014/main" id="{777488D5-C9B0-42ED-94FB-5C76F4BD1A17}"/>
                </a:ext>
              </a:extLst>
            </p:cNvPr>
            <p:cNvGrpSpPr/>
            <p:nvPr/>
          </p:nvGrpSpPr>
          <p:grpSpPr>
            <a:xfrm>
              <a:off x="6633456" y="187954"/>
              <a:ext cx="202756" cy="122713"/>
              <a:chOff x="6633456" y="187954"/>
              <a:chExt cx="202756" cy="122713"/>
            </a:xfrm>
            <a:grpFill/>
          </p:grpSpPr>
          <p:sp>
            <p:nvSpPr>
              <p:cNvPr id="137" name="Forma Livre: Forma 136">
                <a:extLst>
                  <a:ext uri="{FF2B5EF4-FFF2-40B4-BE49-F238E27FC236}">
                    <a16:creationId xmlns:a16="http://schemas.microsoft.com/office/drawing/2014/main" id="{3C52CAD7-5416-40AA-81A1-1BB00606931B}"/>
                  </a:ext>
                </a:extLst>
              </p:cNvPr>
              <p:cNvSpPr/>
              <p:nvPr/>
            </p:nvSpPr>
            <p:spPr>
              <a:xfrm>
                <a:off x="6633456" y="270281"/>
                <a:ext cx="202756" cy="40386"/>
              </a:xfrm>
              <a:custGeom>
                <a:avLst/>
                <a:gdLst>
                  <a:gd name="connsiteX0" fmla="*/ 182518 w 202756"/>
                  <a:gd name="connsiteY0" fmla="*/ 40387 h 40386"/>
                  <a:gd name="connsiteX1" fmla="*/ 20193 w 202756"/>
                  <a:gd name="connsiteY1" fmla="*/ 40387 h 40386"/>
                  <a:gd name="connsiteX2" fmla="*/ 0 w 202756"/>
                  <a:gd name="connsiteY2" fmla="*/ 20193 h 40386"/>
                  <a:gd name="connsiteX3" fmla="*/ 20193 w 202756"/>
                  <a:gd name="connsiteY3" fmla="*/ 0 h 40386"/>
                  <a:gd name="connsiteX4" fmla="*/ 182518 w 202756"/>
                  <a:gd name="connsiteY4" fmla="*/ 0 h 40386"/>
                  <a:gd name="connsiteX5" fmla="*/ 202711 w 202756"/>
                  <a:gd name="connsiteY5" fmla="*/ 20193 h 40386"/>
                  <a:gd name="connsiteX6" fmla="*/ 182518 w 202756"/>
                  <a:gd name="connsiteY6" fmla="*/ 40387 h 40386"/>
                  <a:gd name="connsiteX7" fmla="*/ 182518 w 202756"/>
                  <a:gd name="connsiteY7" fmla="*/ 40387 h 40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2756" h="40386">
                    <a:moveTo>
                      <a:pt x="182518" y="40387"/>
                    </a:moveTo>
                    <a:lnTo>
                      <a:pt x="20193" y="40387"/>
                    </a:lnTo>
                    <a:cubicBezTo>
                      <a:pt x="8543" y="40387"/>
                      <a:pt x="0" y="31067"/>
                      <a:pt x="0" y="20193"/>
                    </a:cubicBezTo>
                    <a:cubicBezTo>
                      <a:pt x="0" y="8543"/>
                      <a:pt x="9320" y="0"/>
                      <a:pt x="20193" y="0"/>
                    </a:cubicBezTo>
                    <a:lnTo>
                      <a:pt x="182518" y="0"/>
                    </a:lnTo>
                    <a:cubicBezTo>
                      <a:pt x="194168" y="0"/>
                      <a:pt x="202711" y="9320"/>
                      <a:pt x="202711" y="20193"/>
                    </a:cubicBezTo>
                    <a:cubicBezTo>
                      <a:pt x="203488" y="31067"/>
                      <a:pt x="194168" y="40387"/>
                      <a:pt x="182518" y="40387"/>
                    </a:cubicBezTo>
                    <a:lnTo>
                      <a:pt x="182518" y="40387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38" name="Forma Livre: Forma 137">
                <a:extLst>
                  <a:ext uri="{FF2B5EF4-FFF2-40B4-BE49-F238E27FC236}">
                    <a16:creationId xmlns:a16="http://schemas.microsoft.com/office/drawing/2014/main" id="{55835170-25A0-4617-8E4C-58C2DA80B100}"/>
                  </a:ext>
                </a:extLst>
              </p:cNvPr>
              <p:cNvSpPr/>
              <p:nvPr/>
            </p:nvSpPr>
            <p:spPr>
              <a:xfrm>
                <a:off x="6633456" y="187954"/>
                <a:ext cx="202756" cy="40386"/>
              </a:xfrm>
              <a:custGeom>
                <a:avLst/>
                <a:gdLst>
                  <a:gd name="connsiteX0" fmla="*/ 182518 w 202756"/>
                  <a:gd name="connsiteY0" fmla="*/ 40387 h 40386"/>
                  <a:gd name="connsiteX1" fmla="*/ 20193 w 202756"/>
                  <a:gd name="connsiteY1" fmla="*/ 40387 h 40386"/>
                  <a:gd name="connsiteX2" fmla="*/ 0 w 202756"/>
                  <a:gd name="connsiteY2" fmla="*/ 20193 h 40386"/>
                  <a:gd name="connsiteX3" fmla="*/ 20193 w 202756"/>
                  <a:gd name="connsiteY3" fmla="*/ 0 h 40386"/>
                  <a:gd name="connsiteX4" fmla="*/ 182518 w 202756"/>
                  <a:gd name="connsiteY4" fmla="*/ 0 h 40386"/>
                  <a:gd name="connsiteX5" fmla="*/ 202711 w 202756"/>
                  <a:gd name="connsiteY5" fmla="*/ 20193 h 40386"/>
                  <a:gd name="connsiteX6" fmla="*/ 182518 w 202756"/>
                  <a:gd name="connsiteY6" fmla="*/ 40387 h 40386"/>
                  <a:gd name="connsiteX7" fmla="*/ 182518 w 202756"/>
                  <a:gd name="connsiteY7" fmla="*/ 40387 h 40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2756" h="40386">
                    <a:moveTo>
                      <a:pt x="182518" y="40387"/>
                    </a:moveTo>
                    <a:lnTo>
                      <a:pt x="20193" y="40387"/>
                    </a:lnTo>
                    <a:cubicBezTo>
                      <a:pt x="8543" y="40387"/>
                      <a:pt x="0" y="31067"/>
                      <a:pt x="0" y="20193"/>
                    </a:cubicBezTo>
                    <a:cubicBezTo>
                      <a:pt x="0" y="8543"/>
                      <a:pt x="9320" y="0"/>
                      <a:pt x="20193" y="0"/>
                    </a:cubicBezTo>
                    <a:lnTo>
                      <a:pt x="182518" y="0"/>
                    </a:lnTo>
                    <a:cubicBezTo>
                      <a:pt x="194168" y="0"/>
                      <a:pt x="202711" y="9320"/>
                      <a:pt x="202711" y="20193"/>
                    </a:cubicBezTo>
                    <a:cubicBezTo>
                      <a:pt x="203488" y="31067"/>
                      <a:pt x="194168" y="40387"/>
                      <a:pt x="182518" y="40387"/>
                    </a:cubicBezTo>
                    <a:lnTo>
                      <a:pt x="182518" y="40387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139" name="Forma Livre: Forma 138">
              <a:extLst>
                <a:ext uri="{FF2B5EF4-FFF2-40B4-BE49-F238E27FC236}">
                  <a16:creationId xmlns:a16="http://schemas.microsoft.com/office/drawing/2014/main" id="{2EB411EE-321E-4852-8BBC-34DE00E99D0D}"/>
                </a:ext>
              </a:extLst>
            </p:cNvPr>
            <p:cNvSpPr/>
            <p:nvPr/>
          </p:nvSpPr>
          <p:spPr>
            <a:xfrm>
              <a:off x="6487442" y="6213"/>
              <a:ext cx="485030" cy="484642"/>
            </a:xfrm>
            <a:custGeom>
              <a:avLst/>
              <a:gdLst>
                <a:gd name="connsiteX0" fmla="*/ 242321 w 485030"/>
                <a:gd name="connsiteY0" fmla="*/ 484642 h 484642"/>
                <a:gd name="connsiteX1" fmla="*/ 70677 w 485030"/>
                <a:gd name="connsiteY1" fmla="*/ 413965 h 484642"/>
                <a:gd name="connsiteX2" fmla="*/ 0 w 485030"/>
                <a:gd name="connsiteY2" fmla="*/ 242321 h 484642"/>
                <a:gd name="connsiteX3" fmla="*/ 70677 w 485030"/>
                <a:gd name="connsiteY3" fmla="*/ 70677 h 484642"/>
                <a:gd name="connsiteX4" fmla="*/ 242321 w 485030"/>
                <a:gd name="connsiteY4" fmla="*/ 0 h 484642"/>
                <a:gd name="connsiteX5" fmla="*/ 413965 w 485030"/>
                <a:gd name="connsiteY5" fmla="*/ 70677 h 484642"/>
                <a:gd name="connsiteX6" fmla="*/ 413965 w 485030"/>
                <a:gd name="connsiteY6" fmla="*/ 413189 h 484642"/>
                <a:gd name="connsiteX7" fmla="*/ 242321 w 485030"/>
                <a:gd name="connsiteY7" fmla="*/ 484642 h 484642"/>
                <a:gd name="connsiteX8" fmla="*/ 242321 w 485030"/>
                <a:gd name="connsiteY8" fmla="*/ 484642 h 484642"/>
                <a:gd name="connsiteX9" fmla="*/ 242321 w 485030"/>
                <a:gd name="connsiteY9" fmla="*/ 41164 h 484642"/>
                <a:gd name="connsiteX10" fmla="*/ 100190 w 485030"/>
                <a:gd name="connsiteY10" fmla="*/ 100190 h 484642"/>
                <a:gd name="connsiteX11" fmla="*/ 41163 w 485030"/>
                <a:gd name="connsiteY11" fmla="*/ 242321 h 484642"/>
                <a:gd name="connsiteX12" fmla="*/ 100190 w 485030"/>
                <a:gd name="connsiteY12" fmla="*/ 384452 h 484642"/>
                <a:gd name="connsiteX13" fmla="*/ 242321 w 485030"/>
                <a:gd name="connsiteY13" fmla="*/ 443479 h 484642"/>
                <a:gd name="connsiteX14" fmla="*/ 384452 w 485030"/>
                <a:gd name="connsiteY14" fmla="*/ 384452 h 484642"/>
                <a:gd name="connsiteX15" fmla="*/ 384452 w 485030"/>
                <a:gd name="connsiteY15" fmla="*/ 100190 h 484642"/>
                <a:gd name="connsiteX16" fmla="*/ 242321 w 485030"/>
                <a:gd name="connsiteY16" fmla="*/ 41164 h 484642"/>
                <a:gd name="connsiteX17" fmla="*/ 242321 w 485030"/>
                <a:gd name="connsiteY17" fmla="*/ 41164 h 484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85030" h="484642">
                  <a:moveTo>
                    <a:pt x="242321" y="484642"/>
                  </a:moveTo>
                  <a:cubicBezTo>
                    <a:pt x="177857" y="484642"/>
                    <a:pt x="116501" y="459789"/>
                    <a:pt x="70677" y="413965"/>
                  </a:cubicBezTo>
                  <a:cubicBezTo>
                    <a:pt x="24853" y="368142"/>
                    <a:pt x="0" y="307562"/>
                    <a:pt x="0" y="242321"/>
                  </a:cubicBezTo>
                  <a:cubicBezTo>
                    <a:pt x="0" y="177081"/>
                    <a:pt x="24853" y="116501"/>
                    <a:pt x="70677" y="70677"/>
                  </a:cubicBezTo>
                  <a:cubicBezTo>
                    <a:pt x="116501" y="24853"/>
                    <a:pt x="177081" y="0"/>
                    <a:pt x="242321" y="0"/>
                  </a:cubicBezTo>
                  <a:cubicBezTo>
                    <a:pt x="306785" y="0"/>
                    <a:pt x="368142" y="24853"/>
                    <a:pt x="413965" y="70677"/>
                  </a:cubicBezTo>
                  <a:cubicBezTo>
                    <a:pt x="508719" y="165431"/>
                    <a:pt x="508719" y="319212"/>
                    <a:pt x="413965" y="413189"/>
                  </a:cubicBezTo>
                  <a:cubicBezTo>
                    <a:pt x="367365" y="459789"/>
                    <a:pt x="306785" y="484642"/>
                    <a:pt x="242321" y="484642"/>
                  </a:cubicBezTo>
                  <a:lnTo>
                    <a:pt x="242321" y="484642"/>
                  </a:lnTo>
                  <a:close/>
                  <a:moveTo>
                    <a:pt x="242321" y="41164"/>
                  </a:moveTo>
                  <a:cubicBezTo>
                    <a:pt x="188731" y="41164"/>
                    <a:pt x="138247" y="62134"/>
                    <a:pt x="100190" y="100190"/>
                  </a:cubicBezTo>
                  <a:cubicBezTo>
                    <a:pt x="62134" y="138247"/>
                    <a:pt x="41163" y="188731"/>
                    <a:pt x="41163" y="242321"/>
                  </a:cubicBezTo>
                  <a:cubicBezTo>
                    <a:pt x="41163" y="295911"/>
                    <a:pt x="62134" y="346395"/>
                    <a:pt x="100190" y="384452"/>
                  </a:cubicBezTo>
                  <a:cubicBezTo>
                    <a:pt x="138247" y="422509"/>
                    <a:pt x="188731" y="443479"/>
                    <a:pt x="242321" y="443479"/>
                  </a:cubicBezTo>
                  <a:cubicBezTo>
                    <a:pt x="295911" y="443479"/>
                    <a:pt x="346395" y="422509"/>
                    <a:pt x="384452" y="384452"/>
                  </a:cubicBezTo>
                  <a:cubicBezTo>
                    <a:pt x="462895" y="306008"/>
                    <a:pt x="462895" y="178634"/>
                    <a:pt x="384452" y="100190"/>
                  </a:cubicBezTo>
                  <a:cubicBezTo>
                    <a:pt x="346395" y="62134"/>
                    <a:pt x="295911" y="41164"/>
                    <a:pt x="242321" y="41164"/>
                  </a:cubicBezTo>
                  <a:lnTo>
                    <a:pt x="242321" y="41164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40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7440246" y="518448"/>
            <a:ext cx="394786" cy="393522"/>
            <a:chOff x="7748366" y="6990"/>
            <a:chExt cx="485419" cy="483865"/>
          </a:xfrm>
          <a:solidFill>
            <a:srgbClr val="B1B1A1"/>
          </a:solidFill>
        </p:grpSpPr>
        <p:sp>
          <p:nvSpPr>
            <p:cNvPr id="141" name="Forma Livre: Forma 140">
              <a:extLst>
                <a:ext uri="{FF2B5EF4-FFF2-40B4-BE49-F238E27FC236}">
                  <a16:creationId xmlns:a16="http://schemas.microsoft.com/office/drawing/2014/main" id="{8033C669-B387-41EF-9D5D-A68A48A099A3}"/>
                </a:ext>
              </a:extLst>
            </p:cNvPr>
            <p:cNvSpPr/>
            <p:nvPr/>
          </p:nvSpPr>
          <p:spPr>
            <a:xfrm>
              <a:off x="7892144" y="147048"/>
              <a:ext cx="212067" cy="184589"/>
            </a:xfrm>
            <a:custGeom>
              <a:avLst/>
              <a:gdLst>
                <a:gd name="connsiteX0" fmla="*/ 74078 w 212067"/>
                <a:gd name="connsiteY0" fmla="*/ 184590 h 184589"/>
                <a:gd name="connsiteX1" fmla="*/ 59322 w 212067"/>
                <a:gd name="connsiteY1" fmla="*/ 178376 h 184589"/>
                <a:gd name="connsiteX2" fmla="*/ 5731 w 212067"/>
                <a:gd name="connsiteY2" fmla="*/ 122456 h 184589"/>
                <a:gd name="connsiteX3" fmla="*/ 6508 w 212067"/>
                <a:gd name="connsiteY3" fmla="*/ 93719 h 184589"/>
                <a:gd name="connsiteX4" fmla="*/ 35245 w 212067"/>
                <a:gd name="connsiteY4" fmla="*/ 94496 h 184589"/>
                <a:gd name="connsiteX5" fmla="*/ 72525 w 212067"/>
                <a:gd name="connsiteY5" fmla="*/ 133329 h 184589"/>
                <a:gd name="connsiteX6" fmla="*/ 175822 w 212067"/>
                <a:gd name="connsiteY6" fmla="*/ 7509 h 184589"/>
                <a:gd name="connsiteX7" fmla="*/ 204559 w 212067"/>
                <a:gd name="connsiteY7" fmla="*/ 4402 h 184589"/>
                <a:gd name="connsiteX8" fmla="*/ 207666 w 212067"/>
                <a:gd name="connsiteY8" fmla="*/ 33139 h 184589"/>
                <a:gd name="connsiteX9" fmla="*/ 89612 w 212067"/>
                <a:gd name="connsiteY9" fmla="*/ 176823 h 184589"/>
                <a:gd name="connsiteX10" fmla="*/ 74078 w 212067"/>
                <a:gd name="connsiteY10" fmla="*/ 184590 h 184589"/>
                <a:gd name="connsiteX11" fmla="*/ 74078 w 212067"/>
                <a:gd name="connsiteY11" fmla="*/ 184590 h 184589"/>
                <a:gd name="connsiteX12" fmla="*/ 74078 w 212067"/>
                <a:gd name="connsiteY12" fmla="*/ 184590 h 184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2067" h="184589">
                  <a:moveTo>
                    <a:pt x="74078" y="184590"/>
                  </a:moveTo>
                  <a:cubicBezTo>
                    <a:pt x="68642" y="184590"/>
                    <a:pt x="63205" y="182260"/>
                    <a:pt x="59322" y="178376"/>
                  </a:cubicBezTo>
                  <a:lnTo>
                    <a:pt x="5731" y="122456"/>
                  </a:lnTo>
                  <a:cubicBezTo>
                    <a:pt x="-2035" y="113913"/>
                    <a:pt x="-2035" y="101486"/>
                    <a:pt x="6508" y="93719"/>
                  </a:cubicBezTo>
                  <a:cubicBezTo>
                    <a:pt x="15052" y="85953"/>
                    <a:pt x="27478" y="85953"/>
                    <a:pt x="35245" y="94496"/>
                  </a:cubicBezTo>
                  <a:lnTo>
                    <a:pt x="72525" y="133329"/>
                  </a:lnTo>
                  <a:lnTo>
                    <a:pt x="175822" y="7509"/>
                  </a:lnTo>
                  <a:cubicBezTo>
                    <a:pt x="182812" y="-1035"/>
                    <a:pt x="196016" y="-2588"/>
                    <a:pt x="204559" y="4402"/>
                  </a:cubicBezTo>
                  <a:cubicBezTo>
                    <a:pt x="213102" y="11392"/>
                    <a:pt x="214656" y="24596"/>
                    <a:pt x="207666" y="33139"/>
                  </a:cubicBezTo>
                  <a:lnTo>
                    <a:pt x="89612" y="176823"/>
                  </a:lnTo>
                  <a:cubicBezTo>
                    <a:pt x="86505" y="181483"/>
                    <a:pt x="81069" y="184590"/>
                    <a:pt x="74078" y="184590"/>
                  </a:cubicBezTo>
                  <a:cubicBezTo>
                    <a:pt x="74855" y="184590"/>
                    <a:pt x="74855" y="184590"/>
                    <a:pt x="74078" y="184590"/>
                  </a:cubicBezTo>
                  <a:lnTo>
                    <a:pt x="74078" y="184590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42" name="Forma Livre: Forma 141">
              <a:extLst>
                <a:ext uri="{FF2B5EF4-FFF2-40B4-BE49-F238E27FC236}">
                  <a16:creationId xmlns:a16="http://schemas.microsoft.com/office/drawing/2014/main" id="{84C70617-733C-4658-B8A8-6F4A6A7B4674}"/>
                </a:ext>
              </a:extLst>
            </p:cNvPr>
            <p:cNvSpPr/>
            <p:nvPr/>
          </p:nvSpPr>
          <p:spPr>
            <a:xfrm>
              <a:off x="7748366" y="6990"/>
              <a:ext cx="485419" cy="483865"/>
            </a:xfrm>
            <a:custGeom>
              <a:avLst/>
              <a:gdLst>
                <a:gd name="connsiteX0" fmla="*/ 242709 w 485419"/>
                <a:gd name="connsiteY0" fmla="*/ 483866 h 483865"/>
                <a:gd name="connsiteX1" fmla="*/ 71065 w 485419"/>
                <a:gd name="connsiteY1" fmla="*/ 413189 h 483865"/>
                <a:gd name="connsiteX2" fmla="*/ 71065 w 485419"/>
                <a:gd name="connsiteY2" fmla="*/ 70677 h 483865"/>
                <a:gd name="connsiteX3" fmla="*/ 242709 w 485419"/>
                <a:gd name="connsiteY3" fmla="*/ 0 h 483865"/>
                <a:gd name="connsiteX4" fmla="*/ 414353 w 485419"/>
                <a:gd name="connsiteY4" fmla="*/ 70677 h 483865"/>
                <a:gd name="connsiteX5" fmla="*/ 414353 w 485419"/>
                <a:gd name="connsiteY5" fmla="*/ 413189 h 483865"/>
                <a:gd name="connsiteX6" fmla="*/ 242709 w 485419"/>
                <a:gd name="connsiteY6" fmla="*/ 483866 h 483865"/>
                <a:gd name="connsiteX7" fmla="*/ 242709 w 485419"/>
                <a:gd name="connsiteY7" fmla="*/ 483866 h 483865"/>
                <a:gd name="connsiteX8" fmla="*/ 242709 w 485419"/>
                <a:gd name="connsiteY8" fmla="*/ 40387 h 483865"/>
                <a:gd name="connsiteX9" fmla="*/ 100579 w 485419"/>
                <a:gd name="connsiteY9" fmla="*/ 99414 h 483865"/>
                <a:gd name="connsiteX10" fmla="*/ 100579 w 485419"/>
                <a:gd name="connsiteY10" fmla="*/ 383675 h 483865"/>
                <a:gd name="connsiteX11" fmla="*/ 242709 w 485419"/>
                <a:gd name="connsiteY11" fmla="*/ 442702 h 483865"/>
                <a:gd name="connsiteX12" fmla="*/ 384840 w 485419"/>
                <a:gd name="connsiteY12" fmla="*/ 383675 h 483865"/>
                <a:gd name="connsiteX13" fmla="*/ 384840 w 485419"/>
                <a:gd name="connsiteY13" fmla="*/ 99414 h 483865"/>
                <a:gd name="connsiteX14" fmla="*/ 242709 w 485419"/>
                <a:gd name="connsiteY14" fmla="*/ 40387 h 483865"/>
                <a:gd name="connsiteX15" fmla="*/ 242709 w 485419"/>
                <a:gd name="connsiteY15" fmla="*/ 40387 h 483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85419" h="483865">
                  <a:moveTo>
                    <a:pt x="242709" y="483866"/>
                  </a:moveTo>
                  <a:cubicBezTo>
                    <a:pt x="178246" y="483866"/>
                    <a:pt x="116889" y="459012"/>
                    <a:pt x="71065" y="413189"/>
                  </a:cubicBezTo>
                  <a:cubicBezTo>
                    <a:pt x="-23688" y="318435"/>
                    <a:pt x="-23688" y="164654"/>
                    <a:pt x="71065" y="70677"/>
                  </a:cubicBezTo>
                  <a:cubicBezTo>
                    <a:pt x="116889" y="24853"/>
                    <a:pt x="177469" y="0"/>
                    <a:pt x="242709" y="0"/>
                  </a:cubicBezTo>
                  <a:cubicBezTo>
                    <a:pt x="307173" y="0"/>
                    <a:pt x="368530" y="24853"/>
                    <a:pt x="414353" y="70677"/>
                  </a:cubicBezTo>
                  <a:cubicBezTo>
                    <a:pt x="509108" y="165431"/>
                    <a:pt x="509108" y="319212"/>
                    <a:pt x="414353" y="413189"/>
                  </a:cubicBezTo>
                  <a:cubicBezTo>
                    <a:pt x="368530" y="459012"/>
                    <a:pt x="307173" y="483866"/>
                    <a:pt x="242709" y="483866"/>
                  </a:cubicBezTo>
                  <a:lnTo>
                    <a:pt x="242709" y="483866"/>
                  </a:lnTo>
                  <a:close/>
                  <a:moveTo>
                    <a:pt x="242709" y="40387"/>
                  </a:moveTo>
                  <a:cubicBezTo>
                    <a:pt x="189119" y="40387"/>
                    <a:pt x="138635" y="61357"/>
                    <a:pt x="100579" y="99414"/>
                  </a:cubicBezTo>
                  <a:cubicBezTo>
                    <a:pt x="22135" y="177858"/>
                    <a:pt x="22135" y="305232"/>
                    <a:pt x="100579" y="383675"/>
                  </a:cubicBezTo>
                  <a:cubicBezTo>
                    <a:pt x="138635" y="421732"/>
                    <a:pt x="189119" y="442702"/>
                    <a:pt x="242709" y="442702"/>
                  </a:cubicBezTo>
                  <a:cubicBezTo>
                    <a:pt x="296300" y="442702"/>
                    <a:pt x="346783" y="421732"/>
                    <a:pt x="384840" y="383675"/>
                  </a:cubicBezTo>
                  <a:cubicBezTo>
                    <a:pt x="463284" y="305232"/>
                    <a:pt x="463284" y="177858"/>
                    <a:pt x="384840" y="99414"/>
                  </a:cubicBezTo>
                  <a:cubicBezTo>
                    <a:pt x="346783" y="61357"/>
                    <a:pt x="296300" y="40387"/>
                    <a:pt x="242709" y="40387"/>
                  </a:cubicBezTo>
                  <a:lnTo>
                    <a:pt x="242709" y="40387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43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8467005" y="517816"/>
            <a:ext cx="394470" cy="394154"/>
            <a:chOff x="9010844" y="6213"/>
            <a:chExt cx="485030" cy="484642"/>
          </a:xfrm>
          <a:solidFill>
            <a:srgbClr val="B1B1A1"/>
          </a:solidFill>
        </p:grpSpPr>
        <p:sp>
          <p:nvSpPr>
            <p:cNvPr id="144" name="Forma Livre: Forma 143">
              <a:extLst>
                <a:ext uri="{FF2B5EF4-FFF2-40B4-BE49-F238E27FC236}">
                  <a16:creationId xmlns:a16="http://schemas.microsoft.com/office/drawing/2014/main" id="{3868B86D-A531-491F-8D0B-B3839ED46C48}"/>
                </a:ext>
              </a:extLst>
            </p:cNvPr>
            <p:cNvSpPr/>
            <p:nvPr/>
          </p:nvSpPr>
          <p:spPr>
            <a:xfrm>
              <a:off x="9175498" y="133587"/>
              <a:ext cx="153003" cy="232224"/>
            </a:xfrm>
            <a:custGeom>
              <a:avLst/>
              <a:gdLst>
                <a:gd name="connsiteX0" fmla="*/ 0 w 153003"/>
                <a:gd name="connsiteY0" fmla="*/ 64464 h 232224"/>
                <a:gd name="connsiteX1" fmla="*/ 9320 w 153003"/>
                <a:gd name="connsiteY1" fmla="*/ 34950 h 232224"/>
                <a:gd name="connsiteX2" fmla="*/ 36503 w 153003"/>
                <a:gd name="connsiteY2" fmla="*/ 10097 h 232224"/>
                <a:gd name="connsiteX3" fmla="*/ 78444 w 153003"/>
                <a:gd name="connsiteY3" fmla="*/ 0 h 232224"/>
                <a:gd name="connsiteX4" fmla="*/ 117277 w 153003"/>
                <a:gd name="connsiteY4" fmla="*/ 8543 h 232224"/>
                <a:gd name="connsiteX5" fmla="*/ 143684 w 153003"/>
                <a:gd name="connsiteY5" fmla="*/ 31067 h 232224"/>
                <a:gd name="connsiteX6" fmla="*/ 153004 w 153003"/>
                <a:gd name="connsiteY6" fmla="*/ 61357 h 232224"/>
                <a:gd name="connsiteX7" fmla="*/ 147567 w 153003"/>
                <a:gd name="connsiteY7" fmla="*/ 83880 h 232224"/>
                <a:gd name="connsiteX8" fmla="*/ 135141 w 153003"/>
                <a:gd name="connsiteY8" fmla="*/ 100967 h 232224"/>
                <a:gd name="connsiteX9" fmla="*/ 108734 w 153003"/>
                <a:gd name="connsiteY9" fmla="*/ 125044 h 232224"/>
                <a:gd name="connsiteX10" fmla="*/ 100191 w 153003"/>
                <a:gd name="connsiteY10" fmla="*/ 133587 h 232224"/>
                <a:gd name="connsiteX11" fmla="*/ 95531 w 153003"/>
                <a:gd name="connsiteY11" fmla="*/ 139801 h 232224"/>
                <a:gd name="connsiteX12" fmla="*/ 93200 w 153003"/>
                <a:gd name="connsiteY12" fmla="*/ 146014 h 232224"/>
                <a:gd name="connsiteX13" fmla="*/ 90870 w 153003"/>
                <a:gd name="connsiteY13" fmla="*/ 156887 h 232224"/>
                <a:gd name="connsiteX14" fmla="*/ 73007 w 153003"/>
                <a:gd name="connsiteY14" fmla="*/ 173198 h 232224"/>
                <a:gd name="connsiteX15" fmla="*/ 59803 w 153003"/>
                <a:gd name="connsiteY15" fmla="*/ 167761 h 232224"/>
                <a:gd name="connsiteX16" fmla="*/ 54367 w 153003"/>
                <a:gd name="connsiteY16" fmla="*/ 152227 h 232224"/>
                <a:gd name="connsiteX17" fmla="*/ 58250 w 153003"/>
                <a:gd name="connsiteY17" fmla="*/ 129704 h 232224"/>
                <a:gd name="connsiteX18" fmla="*/ 69124 w 153003"/>
                <a:gd name="connsiteY18" fmla="*/ 113394 h 232224"/>
                <a:gd name="connsiteX19" fmla="*/ 86987 w 153003"/>
                <a:gd name="connsiteY19" fmla="*/ 96307 h 232224"/>
                <a:gd name="connsiteX20" fmla="*/ 100967 w 153003"/>
                <a:gd name="connsiteY20" fmla="*/ 83104 h 232224"/>
                <a:gd name="connsiteX21" fmla="*/ 107957 w 153003"/>
                <a:gd name="connsiteY21" fmla="*/ 73007 h 232224"/>
                <a:gd name="connsiteX22" fmla="*/ 111064 w 153003"/>
                <a:gd name="connsiteY22" fmla="*/ 61357 h 232224"/>
                <a:gd name="connsiteX23" fmla="*/ 101744 w 153003"/>
                <a:gd name="connsiteY23" fmla="*/ 40387 h 232224"/>
                <a:gd name="connsiteX24" fmla="*/ 78444 w 153003"/>
                <a:gd name="connsiteY24" fmla="*/ 31843 h 232224"/>
                <a:gd name="connsiteX25" fmla="*/ 53590 w 153003"/>
                <a:gd name="connsiteY25" fmla="*/ 40387 h 232224"/>
                <a:gd name="connsiteX26" fmla="*/ 40386 w 153003"/>
                <a:gd name="connsiteY26" fmla="*/ 65240 h 232224"/>
                <a:gd name="connsiteX27" fmla="*/ 20970 w 153003"/>
                <a:gd name="connsiteY27" fmla="*/ 82327 h 232224"/>
                <a:gd name="connsiteX28" fmla="*/ 6214 w 153003"/>
                <a:gd name="connsiteY28" fmla="*/ 76114 h 232224"/>
                <a:gd name="connsiteX29" fmla="*/ 0 w 153003"/>
                <a:gd name="connsiteY29" fmla="*/ 64464 h 232224"/>
                <a:gd name="connsiteX30" fmla="*/ 75337 w 153003"/>
                <a:gd name="connsiteY30" fmla="*/ 232224 h 232224"/>
                <a:gd name="connsiteX31" fmla="*/ 59027 w 153003"/>
                <a:gd name="connsiteY31" fmla="*/ 226011 h 232224"/>
                <a:gd name="connsiteX32" fmla="*/ 52037 w 153003"/>
                <a:gd name="connsiteY32" fmla="*/ 208924 h 232224"/>
                <a:gd name="connsiteX33" fmla="*/ 59027 w 153003"/>
                <a:gd name="connsiteY33" fmla="*/ 192614 h 232224"/>
                <a:gd name="connsiteX34" fmla="*/ 75337 w 153003"/>
                <a:gd name="connsiteY34" fmla="*/ 186401 h 232224"/>
                <a:gd name="connsiteX35" fmla="*/ 91647 w 153003"/>
                <a:gd name="connsiteY35" fmla="*/ 192614 h 232224"/>
                <a:gd name="connsiteX36" fmla="*/ 97860 w 153003"/>
                <a:gd name="connsiteY36" fmla="*/ 208924 h 232224"/>
                <a:gd name="connsiteX37" fmla="*/ 90870 w 153003"/>
                <a:gd name="connsiteY37" fmla="*/ 226011 h 232224"/>
                <a:gd name="connsiteX38" fmla="*/ 75337 w 153003"/>
                <a:gd name="connsiteY38" fmla="*/ 232224 h 232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53003" h="232224">
                  <a:moveTo>
                    <a:pt x="0" y="64464"/>
                  </a:moveTo>
                  <a:cubicBezTo>
                    <a:pt x="0" y="55144"/>
                    <a:pt x="3107" y="45047"/>
                    <a:pt x="9320" y="34950"/>
                  </a:cubicBezTo>
                  <a:cubicBezTo>
                    <a:pt x="15533" y="24853"/>
                    <a:pt x="24853" y="17087"/>
                    <a:pt x="36503" y="10097"/>
                  </a:cubicBezTo>
                  <a:cubicBezTo>
                    <a:pt x="48153" y="3883"/>
                    <a:pt x="62134" y="0"/>
                    <a:pt x="78444" y="0"/>
                  </a:cubicBezTo>
                  <a:cubicBezTo>
                    <a:pt x="93200" y="0"/>
                    <a:pt x="106403" y="3107"/>
                    <a:pt x="117277" y="8543"/>
                  </a:cubicBezTo>
                  <a:cubicBezTo>
                    <a:pt x="128927" y="13980"/>
                    <a:pt x="137470" y="21747"/>
                    <a:pt x="143684" y="31067"/>
                  </a:cubicBezTo>
                  <a:cubicBezTo>
                    <a:pt x="149898" y="40387"/>
                    <a:pt x="153004" y="50484"/>
                    <a:pt x="153004" y="61357"/>
                  </a:cubicBezTo>
                  <a:cubicBezTo>
                    <a:pt x="153004" y="69900"/>
                    <a:pt x="151451" y="77667"/>
                    <a:pt x="147567" y="83880"/>
                  </a:cubicBezTo>
                  <a:cubicBezTo>
                    <a:pt x="143684" y="90094"/>
                    <a:pt x="139801" y="96307"/>
                    <a:pt x="135141" y="100967"/>
                  </a:cubicBezTo>
                  <a:cubicBezTo>
                    <a:pt x="130481" y="105627"/>
                    <a:pt x="121937" y="113394"/>
                    <a:pt x="108734" y="125044"/>
                  </a:cubicBezTo>
                  <a:cubicBezTo>
                    <a:pt x="105627" y="128151"/>
                    <a:pt x="102520" y="131257"/>
                    <a:pt x="100191" y="133587"/>
                  </a:cubicBezTo>
                  <a:cubicBezTo>
                    <a:pt x="97860" y="135917"/>
                    <a:pt x="96307" y="138247"/>
                    <a:pt x="95531" y="139801"/>
                  </a:cubicBezTo>
                  <a:cubicBezTo>
                    <a:pt x="94753" y="142131"/>
                    <a:pt x="93977" y="143684"/>
                    <a:pt x="93200" y="146014"/>
                  </a:cubicBezTo>
                  <a:cubicBezTo>
                    <a:pt x="92424" y="148344"/>
                    <a:pt x="91647" y="151451"/>
                    <a:pt x="90870" y="156887"/>
                  </a:cubicBezTo>
                  <a:cubicBezTo>
                    <a:pt x="89317" y="167761"/>
                    <a:pt x="83103" y="173198"/>
                    <a:pt x="73007" y="173198"/>
                  </a:cubicBezTo>
                  <a:cubicBezTo>
                    <a:pt x="67570" y="173198"/>
                    <a:pt x="62910" y="171644"/>
                    <a:pt x="59803" y="167761"/>
                  </a:cubicBezTo>
                  <a:cubicBezTo>
                    <a:pt x="55920" y="164654"/>
                    <a:pt x="54367" y="159217"/>
                    <a:pt x="54367" y="152227"/>
                  </a:cubicBezTo>
                  <a:cubicBezTo>
                    <a:pt x="54367" y="143684"/>
                    <a:pt x="55920" y="135917"/>
                    <a:pt x="58250" y="129704"/>
                  </a:cubicBezTo>
                  <a:cubicBezTo>
                    <a:pt x="60581" y="123491"/>
                    <a:pt x="64464" y="118054"/>
                    <a:pt x="69124" y="113394"/>
                  </a:cubicBezTo>
                  <a:cubicBezTo>
                    <a:pt x="73784" y="108734"/>
                    <a:pt x="79220" y="103297"/>
                    <a:pt x="86987" y="96307"/>
                  </a:cubicBezTo>
                  <a:cubicBezTo>
                    <a:pt x="93200" y="90870"/>
                    <a:pt x="97860" y="86210"/>
                    <a:pt x="100967" y="83104"/>
                  </a:cubicBezTo>
                  <a:cubicBezTo>
                    <a:pt x="104074" y="79997"/>
                    <a:pt x="106403" y="76890"/>
                    <a:pt x="107957" y="73007"/>
                  </a:cubicBezTo>
                  <a:cubicBezTo>
                    <a:pt x="110287" y="69124"/>
                    <a:pt x="111064" y="65240"/>
                    <a:pt x="111064" y="61357"/>
                  </a:cubicBezTo>
                  <a:cubicBezTo>
                    <a:pt x="111064" y="52814"/>
                    <a:pt x="107957" y="46600"/>
                    <a:pt x="101744" y="40387"/>
                  </a:cubicBezTo>
                  <a:cubicBezTo>
                    <a:pt x="95531" y="34950"/>
                    <a:pt x="87764" y="31843"/>
                    <a:pt x="78444" y="31843"/>
                  </a:cubicBezTo>
                  <a:cubicBezTo>
                    <a:pt x="67570" y="31843"/>
                    <a:pt x="59027" y="34950"/>
                    <a:pt x="53590" y="40387"/>
                  </a:cubicBezTo>
                  <a:cubicBezTo>
                    <a:pt x="48153" y="45824"/>
                    <a:pt x="43493" y="54367"/>
                    <a:pt x="40386" y="65240"/>
                  </a:cubicBezTo>
                  <a:cubicBezTo>
                    <a:pt x="36503" y="76890"/>
                    <a:pt x="30290" y="82327"/>
                    <a:pt x="20970" y="82327"/>
                  </a:cubicBezTo>
                  <a:cubicBezTo>
                    <a:pt x="15533" y="82327"/>
                    <a:pt x="10097" y="79997"/>
                    <a:pt x="6214" y="76114"/>
                  </a:cubicBezTo>
                  <a:cubicBezTo>
                    <a:pt x="2330" y="73007"/>
                    <a:pt x="0" y="69124"/>
                    <a:pt x="0" y="64464"/>
                  </a:cubicBezTo>
                  <a:close/>
                  <a:moveTo>
                    <a:pt x="75337" y="232224"/>
                  </a:moveTo>
                  <a:cubicBezTo>
                    <a:pt x="69124" y="232224"/>
                    <a:pt x="63687" y="229894"/>
                    <a:pt x="59027" y="226011"/>
                  </a:cubicBezTo>
                  <a:cubicBezTo>
                    <a:pt x="54367" y="222128"/>
                    <a:pt x="52037" y="216691"/>
                    <a:pt x="52037" y="208924"/>
                  </a:cubicBezTo>
                  <a:cubicBezTo>
                    <a:pt x="52037" y="202711"/>
                    <a:pt x="54367" y="197274"/>
                    <a:pt x="59027" y="192614"/>
                  </a:cubicBezTo>
                  <a:cubicBezTo>
                    <a:pt x="63687" y="187954"/>
                    <a:pt x="69124" y="186401"/>
                    <a:pt x="75337" y="186401"/>
                  </a:cubicBezTo>
                  <a:cubicBezTo>
                    <a:pt x="81550" y="186401"/>
                    <a:pt x="86987" y="188731"/>
                    <a:pt x="91647" y="192614"/>
                  </a:cubicBezTo>
                  <a:cubicBezTo>
                    <a:pt x="96307" y="197274"/>
                    <a:pt x="97860" y="202711"/>
                    <a:pt x="97860" y="208924"/>
                  </a:cubicBezTo>
                  <a:cubicBezTo>
                    <a:pt x="97860" y="215914"/>
                    <a:pt x="95531" y="221351"/>
                    <a:pt x="90870" y="226011"/>
                  </a:cubicBezTo>
                  <a:cubicBezTo>
                    <a:pt x="86210" y="229894"/>
                    <a:pt x="80774" y="232224"/>
                    <a:pt x="75337" y="232224"/>
                  </a:cubicBez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45" name="Forma Livre: Forma 144">
              <a:extLst>
                <a:ext uri="{FF2B5EF4-FFF2-40B4-BE49-F238E27FC236}">
                  <a16:creationId xmlns:a16="http://schemas.microsoft.com/office/drawing/2014/main" id="{6F76B95B-D9D9-4DB1-B006-6CFFA7E004BD}"/>
                </a:ext>
              </a:extLst>
            </p:cNvPr>
            <p:cNvSpPr/>
            <p:nvPr/>
          </p:nvSpPr>
          <p:spPr>
            <a:xfrm>
              <a:off x="9010844" y="6213"/>
              <a:ext cx="485030" cy="484642"/>
            </a:xfrm>
            <a:custGeom>
              <a:avLst/>
              <a:gdLst>
                <a:gd name="connsiteX0" fmla="*/ 242321 w 485030"/>
                <a:gd name="connsiteY0" fmla="*/ 484642 h 484642"/>
                <a:gd name="connsiteX1" fmla="*/ 70677 w 485030"/>
                <a:gd name="connsiteY1" fmla="*/ 413965 h 484642"/>
                <a:gd name="connsiteX2" fmla="*/ 0 w 485030"/>
                <a:gd name="connsiteY2" fmla="*/ 242321 h 484642"/>
                <a:gd name="connsiteX3" fmla="*/ 70677 w 485030"/>
                <a:gd name="connsiteY3" fmla="*/ 70677 h 484642"/>
                <a:gd name="connsiteX4" fmla="*/ 242321 w 485030"/>
                <a:gd name="connsiteY4" fmla="*/ 0 h 484642"/>
                <a:gd name="connsiteX5" fmla="*/ 413965 w 485030"/>
                <a:gd name="connsiteY5" fmla="*/ 70677 h 484642"/>
                <a:gd name="connsiteX6" fmla="*/ 413965 w 485030"/>
                <a:gd name="connsiteY6" fmla="*/ 413189 h 484642"/>
                <a:gd name="connsiteX7" fmla="*/ 242321 w 485030"/>
                <a:gd name="connsiteY7" fmla="*/ 484642 h 484642"/>
                <a:gd name="connsiteX8" fmla="*/ 242321 w 485030"/>
                <a:gd name="connsiteY8" fmla="*/ 484642 h 484642"/>
                <a:gd name="connsiteX9" fmla="*/ 242321 w 485030"/>
                <a:gd name="connsiteY9" fmla="*/ 41164 h 484642"/>
                <a:gd name="connsiteX10" fmla="*/ 100190 w 485030"/>
                <a:gd name="connsiteY10" fmla="*/ 100190 h 484642"/>
                <a:gd name="connsiteX11" fmla="*/ 41163 w 485030"/>
                <a:gd name="connsiteY11" fmla="*/ 242321 h 484642"/>
                <a:gd name="connsiteX12" fmla="*/ 100190 w 485030"/>
                <a:gd name="connsiteY12" fmla="*/ 384452 h 484642"/>
                <a:gd name="connsiteX13" fmla="*/ 242321 w 485030"/>
                <a:gd name="connsiteY13" fmla="*/ 443479 h 484642"/>
                <a:gd name="connsiteX14" fmla="*/ 384452 w 485030"/>
                <a:gd name="connsiteY14" fmla="*/ 384452 h 484642"/>
                <a:gd name="connsiteX15" fmla="*/ 384452 w 485030"/>
                <a:gd name="connsiteY15" fmla="*/ 100190 h 484642"/>
                <a:gd name="connsiteX16" fmla="*/ 242321 w 485030"/>
                <a:gd name="connsiteY16" fmla="*/ 41164 h 484642"/>
                <a:gd name="connsiteX17" fmla="*/ 242321 w 485030"/>
                <a:gd name="connsiteY17" fmla="*/ 41164 h 484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85030" h="484642">
                  <a:moveTo>
                    <a:pt x="242321" y="484642"/>
                  </a:moveTo>
                  <a:cubicBezTo>
                    <a:pt x="177857" y="484642"/>
                    <a:pt x="116501" y="459789"/>
                    <a:pt x="70677" y="413965"/>
                  </a:cubicBezTo>
                  <a:cubicBezTo>
                    <a:pt x="24853" y="368142"/>
                    <a:pt x="0" y="307562"/>
                    <a:pt x="0" y="242321"/>
                  </a:cubicBezTo>
                  <a:cubicBezTo>
                    <a:pt x="0" y="177081"/>
                    <a:pt x="24853" y="116501"/>
                    <a:pt x="70677" y="70677"/>
                  </a:cubicBezTo>
                  <a:cubicBezTo>
                    <a:pt x="116501" y="24853"/>
                    <a:pt x="177080" y="0"/>
                    <a:pt x="242321" y="0"/>
                  </a:cubicBezTo>
                  <a:cubicBezTo>
                    <a:pt x="306785" y="0"/>
                    <a:pt x="368141" y="24853"/>
                    <a:pt x="413965" y="70677"/>
                  </a:cubicBezTo>
                  <a:cubicBezTo>
                    <a:pt x="508719" y="165431"/>
                    <a:pt x="508719" y="319212"/>
                    <a:pt x="413965" y="413189"/>
                  </a:cubicBezTo>
                  <a:cubicBezTo>
                    <a:pt x="368141" y="459789"/>
                    <a:pt x="307561" y="484642"/>
                    <a:pt x="242321" y="484642"/>
                  </a:cubicBezTo>
                  <a:lnTo>
                    <a:pt x="242321" y="484642"/>
                  </a:lnTo>
                  <a:close/>
                  <a:moveTo>
                    <a:pt x="242321" y="41164"/>
                  </a:moveTo>
                  <a:cubicBezTo>
                    <a:pt x="188730" y="41164"/>
                    <a:pt x="138247" y="62134"/>
                    <a:pt x="100190" y="100190"/>
                  </a:cubicBezTo>
                  <a:cubicBezTo>
                    <a:pt x="62134" y="138247"/>
                    <a:pt x="41163" y="188731"/>
                    <a:pt x="41163" y="242321"/>
                  </a:cubicBezTo>
                  <a:cubicBezTo>
                    <a:pt x="41163" y="295911"/>
                    <a:pt x="62134" y="346395"/>
                    <a:pt x="100190" y="384452"/>
                  </a:cubicBezTo>
                  <a:cubicBezTo>
                    <a:pt x="138247" y="422509"/>
                    <a:pt x="188730" y="443479"/>
                    <a:pt x="242321" y="443479"/>
                  </a:cubicBezTo>
                  <a:cubicBezTo>
                    <a:pt x="295911" y="443479"/>
                    <a:pt x="346395" y="422509"/>
                    <a:pt x="384452" y="384452"/>
                  </a:cubicBezTo>
                  <a:cubicBezTo>
                    <a:pt x="462895" y="306008"/>
                    <a:pt x="462895" y="178634"/>
                    <a:pt x="384452" y="100190"/>
                  </a:cubicBezTo>
                  <a:cubicBezTo>
                    <a:pt x="346395" y="62134"/>
                    <a:pt x="295911" y="41164"/>
                    <a:pt x="242321" y="41164"/>
                  </a:cubicBezTo>
                  <a:lnTo>
                    <a:pt x="242321" y="41164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46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9489026" y="517816"/>
            <a:ext cx="394470" cy="394154"/>
            <a:chOff x="10267496" y="6213"/>
            <a:chExt cx="485030" cy="484642"/>
          </a:xfrm>
          <a:solidFill>
            <a:srgbClr val="B1B1A1"/>
          </a:solidFill>
        </p:grpSpPr>
        <p:sp>
          <p:nvSpPr>
            <p:cNvPr id="147" name="Forma Livre: Forma 146">
              <a:extLst>
                <a:ext uri="{FF2B5EF4-FFF2-40B4-BE49-F238E27FC236}">
                  <a16:creationId xmlns:a16="http://schemas.microsoft.com/office/drawing/2014/main" id="{532C84CA-1710-45FD-8272-7553BD79C433}"/>
                </a:ext>
              </a:extLst>
            </p:cNvPr>
            <p:cNvSpPr/>
            <p:nvPr/>
          </p:nvSpPr>
          <p:spPr>
            <a:xfrm>
              <a:off x="10488071" y="135140"/>
              <a:ext cx="42716" cy="230671"/>
            </a:xfrm>
            <a:custGeom>
              <a:avLst/>
              <a:gdLst>
                <a:gd name="connsiteX0" fmla="*/ 21747 w 42716"/>
                <a:gd name="connsiteY0" fmla="*/ 41164 h 230671"/>
                <a:gd name="connsiteX1" fmla="*/ 6990 w 42716"/>
                <a:gd name="connsiteY1" fmla="*/ 35727 h 230671"/>
                <a:gd name="connsiteX2" fmla="*/ 776 w 42716"/>
                <a:gd name="connsiteY2" fmla="*/ 20193 h 230671"/>
                <a:gd name="connsiteX3" fmla="*/ 6990 w 42716"/>
                <a:gd name="connsiteY3" fmla="*/ 5437 h 230671"/>
                <a:gd name="connsiteX4" fmla="*/ 21747 w 42716"/>
                <a:gd name="connsiteY4" fmla="*/ 0 h 230671"/>
                <a:gd name="connsiteX5" fmla="*/ 36503 w 42716"/>
                <a:gd name="connsiteY5" fmla="*/ 5437 h 230671"/>
                <a:gd name="connsiteX6" fmla="*/ 42717 w 42716"/>
                <a:gd name="connsiteY6" fmla="*/ 20970 h 230671"/>
                <a:gd name="connsiteX7" fmla="*/ 36503 w 42716"/>
                <a:gd name="connsiteY7" fmla="*/ 35727 h 230671"/>
                <a:gd name="connsiteX8" fmla="*/ 21747 w 42716"/>
                <a:gd name="connsiteY8" fmla="*/ 41164 h 230671"/>
                <a:gd name="connsiteX9" fmla="*/ 41940 w 42716"/>
                <a:gd name="connsiteY9" fmla="*/ 84657 h 230671"/>
                <a:gd name="connsiteX10" fmla="*/ 41940 w 42716"/>
                <a:gd name="connsiteY10" fmla="*/ 205818 h 230671"/>
                <a:gd name="connsiteX11" fmla="*/ 35727 w 42716"/>
                <a:gd name="connsiteY11" fmla="*/ 224458 h 230671"/>
                <a:gd name="connsiteX12" fmla="*/ 20193 w 42716"/>
                <a:gd name="connsiteY12" fmla="*/ 230671 h 230671"/>
                <a:gd name="connsiteX13" fmla="*/ 5436 w 42716"/>
                <a:gd name="connsiteY13" fmla="*/ 224458 h 230671"/>
                <a:gd name="connsiteX14" fmla="*/ 0 w 42716"/>
                <a:gd name="connsiteY14" fmla="*/ 205818 h 230671"/>
                <a:gd name="connsiteX15" fmla="*/ 0 w 42716"/>
                <a:gd name="connsiteY15" fmla="*/ 85434 h 230671"/>
                <a:gd name="connsiteX16" fmla="*/ 5436 w 42716"/>
                <a:gd name="connsiteY16" fmla="*/ 66794 h 230671"/>
                <a:gd name="connsiteX17" fmla="*/ 20193 w 42716"/>
                <a:gd name="connsiteY17" fmla="*/ 60580 h 230671"/>
                <a:gd name="connsiteX18" fmla="*/ 35727 w 42716"/>
                <a:gd name="connsiteY18" fmla="*/ 66794 h 230671"/>
                <a:gd name="connsiteX19" fmla="*/ 41940 w 42716"/>
                <a:gd name="connsiteY19" fmla="*/ 84657 h 230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2716" h="230671">
                  <a:moveTo>
                    <a:pt x="21747" y="41164"/>
                  </a:moveTo>
                  <a:cubicBezTo>
                    <a:pt x="15533" y="41164"/>
                    <a:pt x="10874" y="39610"/>
                    <a:pt x="6990" y="35727"/>
                  </a:cubicBezTo>
                  <a:cubicBezTo>
                    <a:pt x="3107" y="31843"/>
                    <a:pt x="776" y="27183"/>
                    <a:pt x="776" y="20193"/>
                  </a:cubicBezTo>
                  <a:cubicBezTo>
                    <a:pt x="776" y="13980"/>
                    <a:pt x="3107" y="9320"/>
                    <a:pt x="6990" y="5437"/>
                  </a:cubicBezTo>
                  <a:cubicBezTo>
                    <a:pt x="10874" y="1553"/>
                    <a:pt x="16310" y="0"/>
                    <a:pt x="21747" y="0"/>
                  </a:cubicBezTo>
                  <a:cubicBezTo>
                    <a:pt x="27183" y="0"/>
                    <a:pt x="31843" y="1553"/>
                    <a:pt x="36503" y="5437"/>
                  </a:cubicBezTo>
                  <a:cubicBezTo>
                    <a:pt x="40386" y="8543"/>
                    <a:pt x="42717" y="13980"/>
                    <a:pt x="42717" y="20970"/>
                  </a:cubicBezTo>
                  <a:cubicBezTo>
                    <a:pt x="42717" y="27183"/>
                    <a:pt x="40386" y="32620"/>
                    <a:pt x="36503" y="35727"/>
                  </a:cubicBezTo>
                  <a:cubicBezTo>
                    <a:pt x="31843" y="39610"/>
                    <a:pt x="27183" y="41164"/>
                    <a:pt x="21747" y="41164"/>
                  </a:cubicBezTo>
                  <a:close/>
                  <a:moveTo>
                    <a:pt x="41940" y="84657"/>
                  </a:moveTo>
                  <a:lnTo>
                    <a:pt x="41940" y="205818"/>
                  </a:lnTo>
                  <a:cubicBezTo>
                    <a:pt x="41940" y="214361"/>
                    <a:pt x="39610" y="220574"/>
                    <a:pt x="35727" y="224458"/>
                  </a:cubicBezTo>
                  <a:cubicBezTo>
                    <a:pt x="31843" y="229118"/>
                    <a:pt x="26407" y="230671"/>
                    <a:pt x="20193" y="230671"/>
                  </a:cubicBezTo>
                  <a:cubicBezTo>
                    <a:pt x="13980" y="230671"/>
                    <a:pt x="9320" y="228341"/>
                    <a:pt x="5436" y="224458"/>
                  </a:cubicBezTo>
                  <a:cubicBezTo>
                    <a:pt x="1553" y="219798"/>
                    <a:pt x="0" y="213584"/>
                    <a:pt x="0" y="205818"/>
                  </a:cubicBezTo>
                  <a:lnTo>
                    <a:pt x="0" y="85434"/>
                  </a:lnTo>
                  <a:cubicBezTo>
                    <a:pt x="0" y="76890"/>
                    <a:pt x="1553" y="70677"/>
                    <a:pt x="5436" y="66794"/>
                  </a:cubicBezTo>
                  <a:cubicBezTo>
                    <a:pt x="9320" y="62910"/>
                    <a:pt x="13980" y="60580"/>
                    <a:pt x="20193" y="60580"/>
                  </a:cubicBezTo>
                  <a:cubicBezTo>
                    <a:pt x="26407" y="60580"/>
                    <a:pt x="31067" y="62910"/>
                    <a:pt x="35727" y="66794"/>
                  </a:cubicBezTo>
                  <a:cubicBezTo>
                    <a:pt x="40386" y="71454"/>
                    <a:pt x="41940" y="76890"/>
                    <a:pt x="41940" y="84657"/>
                  </a:cubicBez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48" name="Forma Livre: Forma 147">
              <a:extLst>
                <a:ext uri="{FF2B5EF4-FFF2-40B4-BE49-F238E27FC236}">
                  <a16:creationId xmlns:a16="http://schemas.microsoft.com/office/drawing/2014/main" id="{6AB81C53-8632-4F17-872D-72597CE8D8D7}"/>
                </a:ext>
              </a:extLst>
            </p:cNvPr>
            <p:cNvSpPr/>
            <p:nvPr/>
          </p:nvSpPr>
          <p:spPr>
            <a:xfrm>
              <a:off x="10267496" y="6213"/>
              <a:ext cx="485030" cy="484642"/>
            </a:xfrm>
            <a:custGeom>
              <a:avLst/>
              <a:gdLst>
                <a:gd name="connsiteX0" fmla="*/ 242322 w 485030"/>
                <a:gd name="connsiteY0" fmla="*/ 484642 h 484642"/>
                <a:gd name="connsiteX1" fmla="*/ 70677 w 485030"/>
                <a:gd name="connsiteY1" fmla="*/ 413965 h 484642"/>
                <a:gd name="connsiteX2" fmla="*/ 0 w 485030"/>
                <a:gd name="connsiteY2" fmla="*/ 242321 h 484642"/>
                <a:gd name="connsiteX3" fmla="*/ 70677 w 485030"/>
                <a:gd name="connsiteY3" fmla="*/ 70677 h 484642"/>
                <a:gd name="connsiteX4" fmla="*/ 242322 w 485030"/>
                <a:gd name="connsiteY4" fmla="*/ 0 h 484642"/>
                <a:gd name="connsiteX5" fmla="*/ 413966 w 485030"/>
                <a:gd name="connsiteY5" fmla="*/ 70677 h 484642"/>
                <a:gd name="connsiteX6" fmla="*/ 413966 w 485030"/>
                <a:gd name="connsiteY6" fmla="*/ 413189 h 484642"/>
                <a:gd name="connsiteX7" fmla="*/ 242322 w 485030"/>
                <a:gd name="connsiteY7" fmla="*/ 484642 h 484642"/>
                <a:gd name="connsiteX8" fmla="*/ 242322 w 485030"/>
                <a:gd name="connsiteY8" fmla="*/ 484642 h 484642"/>
                <a:gd name="connsiteX9" fmla="*/ 242322 w 485030"/>
                <a:gd name="connsiteY9" fmla="*/ 41164 h 484642"/>
                <a:gd name="connsiteX10" fmla="*/ 100191 w 485030"/>
                <a:gd name="connsiteY10" fmla="*/ 100190 h 484642"/>
                <a:gd name="connsiteX11" fmla="*/ 41164 w 485030"/>
                <a:gd name="connsiteY11" fmla="*/ 242321 h 484642"/>
                <a:gd name="connsiteX12" fmla="*/ 100191 w 485030"/>
                <a:gd name="connsiteY12" fmla="*/ 384452 h 484642"/>
                <a:gd name="connsiteX13" fmla="*/ 242322 w 485030"/>
                <a:gd name="connsiteY13" fmla="*/ 443479 h 484642"/>
                <a:gd name="connsiteX14" fmla="*/ 384452 w 485030"/>
                <a:gd name="connsiteY14" fmla="*/ 384452 h 484642"/>
                <a:gd name="connsiteX15" fmla="*/ 384452 w 485030"/>
                <a:gd name="connsiteY15" fmla="*/ 100190 h 484642"/>
                <a:gd name="connsiteX16" fmla="*/ 242322 w 485030"/>
                <a:gd name="connsiteY16" fmla="*/ 41164 h 484642"/>
                <a:gd name="connsiteX17" fmla="*/ 242322 w 485030"/>
                <a:gd name="connsiteY17" fmla="*/ 41164 h 484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85030" h="484642">
                  <a:moveTo>
                    <a:pt x="242322" y="484642"/>
                  </a:moveTo>
                  <a:cubicBezTo>
                    <a:pt x="177858" y="484642"/>
                    <a:pt x="116501" y="459789"/>
                    <a:pt x="70677" y="413965"/>
                  </a:cubicBezTo>
                  <a:cubicBezTo>
                    <a:pt x="24854" y="368142"/>
                    <a:pt x="0" y="307562"/>
                    <a:pt x="0" y="242321"/>
                  </a:cubicBezTo>
                  <a:cubicBezTo>
                    <a:pt x="0" y="177081"/>
                    <a:pt x="24854" y="116501"/>
                    <a:pt x="70677" y="70677"/>
                  </a:cubicBezTo>
                  <a:cubicBezTo>
                    <a:pt x="116501" y="24853"/>
                    <a:pt x="177081" y="0"/>
                    <a:pt x="242322" y="0"/>
                  </a:cubicBezTo>
                  <a:cubicBezTo>
                    <a:pt x="306785" y="0"/>
                    <a:pt x="368142" y="24853"/>
                    <a:pt x="413966" y="70677"/>
                  </a:cubicBezTo>
                  <a:cubicBezTo>
                    <a:pt x="508719" y="165431"/>
                    <a:pt x="508719" y="319212"/>
                    <a:pt x="413966" y="413189"/>
                  </a:cubicBezTo>
                  <a:cubicBezTo>
                    <a:pt x="368142" y="459789"/>
                    <a:pt x="307561" y="484642"/>
                    <a:pt x="242322" y="484642"/>
                  </a:cubicBezTo>
                  <a:lnTo>
                    <a:pt x="242322" y="484642"/>
                  </a:lnTo>
                  <a:close/>
                  <a:moveTo>
                    <a:pt x="242322" y="41164"/>
                  </a:moveTo>
                  <a:cubicBezTo>
                    <a:pt x="188731" y="41164"/>
                    <a:pt x="138248" y="62134"/>
                    <a:pt x="100191" y="100190"/>
                  </a:cubicBezTo>
                  <a:cubicBezTo>
                    <a:pt x="62134" y="138247"/>
                    <a:pt x="41164" y="188731"/>
                    <a:pt x="41164" y="242321"/>
                  </a:cubicBezTo>
                  <a:cubicBezTo>
                    <a:pt x="41164" y="295911"/>
                    <a:pt x="62134" y="346395"/>
                    <a:pt x="100191" y="384452"/>
                  </a:cubicBezTo>
                  <a:cubicBezTo>
                    <a:pt x="138248" y="422509"/>
                    <a:pt x="188731" y="443479"/>
                    <a:pt x="242322" y="443479"/>
                  </a:cubicBezTo>
                  <a:cubicBezTo>
                    <a:pt x="295911" y="443479"/>
                    <a:pt x="346395" y="422509"/>
                    <a:pt x="384452" y="384452"/>
                  </a:cubicBezTo>
                  <a:cubicBezTo>
                    <a:pt x="462895" y="306008"/>
                    <a:pt x="462895" y="178634"/>
                    <a:pt x="384452" y="100190"/>
                  </a:cubicBezTo>
                  <a:cubicBezTo>
                    <a:pt x="347172" y="62134"/>
                    <a:pt x="296689" y="41164"/>
                    <a:pt x="242322" y="41164"/>
                  </a:cubicBezTo>
                  <a:lnTo>
                    <a:pt x="242322" y="41164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49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1254740" y="4659594"/>
            <a:ext cx="462379" cy="406155"/>
            <a:chOff x="142821" y="5098841"/>
            <a:chExt cx="568530" cy="499398"/>
          </a:xfrm>
          <a:solidFill>
            <a:srgbClr val="B1B1A1"/>
          </a:solidFill>
        </p:grpSpPr>
        <p:sp>
          <p:nvSpPr>
            <p:cNvPr id="150" name="Forma Livre: Forma 149">
              <a:extLst>
                <a:ext uri="{FF2B5EF4-FFF2-40B4-BE49-F238E27FC236}">
                  <a16:creationId xmlns:a16="http://schemas.microsoft.com/office/drawing/2014/main" id="{D0D46655-2020-4BB8-A8C5-C6FECCC6EC6B}"/>
                </a:ext>
              </a:extLst>
            </p:cNvPr>
            <p:cNvSpPr/>
            <p:nvPr/>
          </p:nvSpPr>
          <p:spPr>
            <a:xfrm>
              <a:off x="236798" y="5197478"/>
              <a:ext cx="107974" cy="118054"/>
            </a:xfrm>
            <a:custGeom>
              <a:avLst/>
              <a:gdLst>
                <a:gd name="connsiteX0" fmla="*/ 54367 w 107974"/>
                <a:gd name="connsiteY0" fmla="*/ 118054 h 118054"/>
                <a:gd name="connsiteX1" fmla="*/ 0 w 107974"/>
                <a:gd name="connsiteY1" fmla="*/ 59027 h 118054"/>
                <a:gd name="connsiteX2" fmla="*/ 54367 w 107974"/>
                <a:gd name="connsiteY2" fmla="*/ 0 h 118054"/>
                <a:gd name="connsiteX3" fmla="*/ 107957 w 107974"/>
                <a:gd name="connsiteY3" fmla="*/ 59027 h 118054"/>
                <a:gd name="connsiteX4" fmla="*/ 54367 w 107974"/>
                <a:gd name="connsiteY4" fmla="*/ 118054 h 118054"/>
                <a:gd name="connsiteX5" fmla="*/ 54367 w 107974"/>
                <a:gd name="connsiteY5" fmla="*/ 118054 h 118054"/>
                <a:gd name="connsiteX6" fmla="*/ 54367 w 107974"/>
                <a:gd name="connsiteY6" fmla="*/ 41163 h 118054"/>
                <a:gd name="connsiteX7" fmla="*/ 41164 w 107974"/>
                <a:gd name="connsiteY7" fmla="*/ 59027 h 118054"/>
                <a:gd name="connsiteX8" fmla="*/ 54367 w 107974"/>
                <a:gd name="connsiteY8" fmla="*/ 76890 h 118054"/>
                <a:gd name="connsiteX9" fmla="*/ 66794 w 107974"/>
                <a:gd name="connsiteY9" fmla="*/ 59027 h 118054"/>
                <a:gd name="connsiteX10" fmla="*/ 54367 w 107974"/>
                <a:gd name="connsiteY10" fmla="*/ 41163 h 118054"/>
                <a:gd name="connsiteX11" fmla="*/ 54367 w 107974"/>
                <a:gd name="connsiteY11" fmla="*/ 41163 h 118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7974" h="118054">
                  <a:moveTo>
                    <a:pt x="54367" y="118054"/>
                  </a:moveTo>
                  <a:cubicBezTo>
                    <a:pt x="24853" y="118054"/>
                    <a:pt x="0" y="91647"/>
                    <a:pt x="0" y="59027"/>
                  </a:cubicBezTo>
                  <a:cubicBezTo>
                    <a:pt x="0" y="26407"/>
                    <a:pt x="24077" y="0"/>
                    <a:pt x="54367" y="0"/>
                  </a:cubicBezTo>
                  <a:cubicBezTo>
                    <a:pt x="83880" y="0"/>
                    <a:pt x="107957" y="26407"/>
                    <a:pt x="107957" y="59027"/>
                  </a:cubicBezTo>
                  <a:cubicBezTo>
                    <a:pt x="108734" y="91647"/>
                    <a:pt x="83880" y="118054"/>
                    <a:pt x="54367" y="118054"/>
                  </a:cubicBezTo>
                  <a:lnTo>
                    <a:pt x="54367" y="118054"/>
                  </a:lnTo>
                  <a:close/>
                  <a:moveTo>
                    <a:pt x="54367" y="41163"/>
                  </a:moveTo>
                  <a:cubicBezTo>
                    <a:pt x="47377" y="41163"/>
                    <a:pt x="41164" y="49707"/>
                    <a:pt x="41164" y="59027"/>
                  </a:cubicBezTo>
                  <a:cubicBezTo>
                    <a:pt x="41164" y="69123"/>
                    <a:pt x="47377" y="76890"/>
                    <a:pt x="54367" y="76890"/>
                  </a:cubicBezTo>
                  <a:cubicBezTo>
                    <a:pt x="61357" y="76890"/>
                    <a:pt x="66794" y="68347"/>
                    <a:pt x="66794" y="59027"/>
                  </a:cubicBezTo>
                  <a:cubicBezTo>
                    <a:pt x="67570" y="48930"/>
                    <a:pt x="61357" y="41163"/>
                    <a:pt x="54367" y="41163"/>
                  </a:cubicBezTo>
                  <a:lnTo>
                    <a:pt x="54367" y="41163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51" name="Forma Livre: Forma 150">
              <a:extLst>
                <a:ext uri="{FF2B5EF4-FFF2-40B4-BE49-F238E27FC236}">
                  <a16:creationId xmlns:a16="http://schemas.microsoft.com/office/drawing/2014/main" id="{0106C4CF-DE6E-452D-9E27-A2575BCBC503}"/>
                </a:ext>
              </a:extLst>
            </p:cNvPr>
            <p:cNvSpPr/>
            <p:nvPr/>
          </p:nvSpPr>
          <p:spPr>
            <a:xfrm>
              <a:off x="203289" y="5308542"/>
              <a:ext cx="174975" cy="121160"/>
            </a:xfrm>
            <a:custGeom>
              <a:avLst/>
              <a:gdLst>
                <a:gd name="connsiteX0" fmla="*/ 152340 w 174975"/>
                <a:gd name="connsiteY0" fmla="*/ 121161 h 121160"/>
                <a:gd name="connsiteX1" fmla="*/ 23412 w 174975"/>
                <a:gd name="connsiteY1" fmla="*/ 121161 h 121160"/>
                <a:gd name="connsiteX2" fmla="*/ 3219 w 174975"/>
                <a:gd name="connsiteY2" fmla="*/ 101744 h 121160"/>
                <a:gd name="connsiteX3" fmla="*/ 112 w 174975"/>
                <a:gd name="connsiteY3" fmla="*/ 59804 h 121160"/>
                <a:gd name="connsiteX4" fmla="*/ 33509 w 174975"/>
                <a:gd name="connsiteY4" fmla="*/ 9320 h 121160"/>
                <a:gd name="connsiteX5" fmla="*/ 141466 w 174975"/>
                <a:gd name="connsiteY5" fmla="*/ 9320 h 121160"/>
                <a:gd name="connsiteX6" fmla="*/ 174863 w 174975"/>
                <a:gd name="connsiteY6" fmla="*/ 59804 h 121160"/>
                <a:gd name="connsiteX7" fmla="*/ 171756 w 174975"/>
                <a:gd name="connsiteY7" fmla="*/ 100967 h 121160"/>
                <a:gd name="connsiteX8" fmla="*/ 152340 w 174975"/>
                <a:gd name="connsiteY8" fmla="*/ 121161 h 121160"/>
                <a:gd name="connsiteX9" fmla="*/ 152340 w 174975"/>
                <a:gd name="connsiteY9" fmla="*/ 121161 h 121160"/>
                <a:gd name="connsiteX10" fmla="*/ 42829 w 174975"/>
                <a:gd name="connsiteY10" fmla="*/ 79997 h 121160"/>
                <a:gd name="connsiteX11" fmla="*/ 132923 w 174975"/>
                <a:gd name="connsiteY11" fmla="*/ 79997 h 121160"/>
                <a:gd name="connsiteX12" fmla="*/ 134476 w 174975"/>
                <a:gd name="connsiteY12" fmla="*/ 57474 h 121160"/>
                <a:gd name="connsiteX13" fmla="*/ 127486 w 174975"/>
                <a:gd name="connsiteY13" fmla="*/ 48154 h 121160"/>
                <a:gd name="connsiteX14" fmla="*/ 47489 w 174975"/>
                <a:gd name="connsiteY14" fmla="*/ 48154 h 121160"/>
                <a:gd name="connsiteX15" fmla="*/ 41276 w 174975"/>
                <a:gd name="connsiteY15" fmla="*/ 57474 h 121160"/>
                <a:gd name="connsiteX16" fmla="*/ 42829 w 174975"/>
                <a:gd name="connsiteY16" fmla="*/ 79997 h 121160"/>
                <a:gd name="connsiteX17" fmla="*/ 42829 w 174975"/>
                <a:gd name="connsiteY17" fmla="*/ 79997 h 121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74975" h="121160">
                  <a:moveTo>
                    <a:pt x="152340" y="121161"/>
                  </a:moveTo>
                  <a:lnTo>
                    <a:pt x="23412" y="121161"/>
                  </a:lnTo>
                  <a:cubicBezTo>
                    <a:pt x="12539" y="121161"/>
                    <a:pt x="3996" y="112617"/>
                    <a:pt x="3219" y="101744"/>
                  </a:cubicBezTo>
                  <a:lnTo>
                    <a:pt x="112" y="59804"/>
                  </a:lnTo>
                  <a:cubicBezTo>
                    <a:pt x="-1441" y="38834"/>
                    <a:pt x="13316" y="17087"/>
                    <a:pt x="33509" y="9320"/>
                  </a:cubicBezTo>
                  <a:cubicBezTo>
                    <a:pt x="68459" y="-3107"/>
                    <a:pt x="107293" y="-3107"/>
                    <a:pt x="141466" y="9320"/>
                  </a:cubicBezTo>
                  <a:cubicBezTo>
                    <a:pt x="161660" y="17087"/>
                    <a:pt x="176416" y="38834"/>
                    <a:pt x="174863" y="59804"/>
                  </a:cubicBezTo>
                  <a:lnTo>
                    <a:pt x="171756" y="100967"/>
                  </a:lnTo>
                  <a:cubicBezTo>
                    <a:pt x="171756" y="112617"/>
                    <a:pt x="163213" y="121161"/>
                    <a:pt x="152340" y="121161"/>
                  </a:cubicBezTo>
                  <a:lnTo>
                    <a:pt x="152340" y="121161"/>
                  </a:lnTo>
                  <a:close/>
                  <a:moveTo>
                    <a:pt x="42829" y="79997"/>
                  </a:moveTo>
                  <a:lnTo>
                    <a:pt x="132923" y="79997"/>
                  </a:lnTo>
                  <a:lnTo>
                    <a:pt x="134476" y="57474"/>
                  </a:lnTo>
                  <a:cubicBezTo>
                    <a:pt x="134476" y="55144"/>
                    <a:pt x="131369" y="49707"/>
                    <a:pt x="127486" y="48154"/>
                  </a:cubicBezTo>
                  <a:cubicBezTo>
                    <a:pt x="101856" y="38834"/>
                    <a:pt x="73119" y="38834"/>
                    <a:pt x="47489" y="48154"/>
                  </a:cubicBezTo>
                  <a:cubicBezTo>
                    <a:pt x="44382" y="49707"/>
                    <a:pt x="41276" y="55144"/>
                    <a:pt x="41276" y="57474"/>
                  </a:cubicBezTo>
                  <a:lnTo>
                    <a:pt x="42829" y="79997"/>
                  </a:lnTo>
                  <a:lnTo>
                    <a:pt x="42829" y="79997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52" name="Forma Livre: Forma 151">
              <a:extLst>
                <a:ext uri="{FF2B5EF4-FFF2-40B4-BE49-F238E27FC236}">
                  <a16:creationId xmlns:a16="http://schemas.microsoft.com/office/drawing/2014/main" id="{03C1D9F5-EC8F-4651-9F58-61BFF29BD52D}"/>
                </a:ext>
              </a:extLst>
            </p:cNvPr>
            <p:cNvSpPr/>
            <p:nvPr/>
          </p:nvSpPr>
          <p:spPr>
            <a:xfrm>
              <a:off x="266311" y="5098841"/>
              <a:ext cx="226011" cy="71453"/>
            </a:xfrm>
            <a:custGeom>
              <a:avLst/>
              <a:gdLst>
                <a:gd name="connsiteX0" fmla="*/ 190284 w 226011"/>
                <a:gd name="connsiteY0" fmla="*/ 0 h 71453"/>
                <a:gd name="connsiteX1" fmla="*/ 35727 w 226011"/>
                <a:gd name="connsiteY1" fmla="*/ 0 h 71453"/>
                <a:gd name="connsiteX2" fmla="*/ 0 w 226011"/>
                <a:gd name="connsiteY2" fmla="*/ 35727 h 71453"/>
                <a:gd name="connsiteX3" fmla="*/ 35727 w 226011"/>
                <a:gd name="connsiteY3" fmla="*/ 71454 h 71453"/>
                <a:gd name="connsiteX4" fmla="*/ 190284 w 226011"/>
                <a:gd name="connsiteY4" fmla="*/ 71454 h 71453"/>
                <a:gd name="connsiteX5" fmla="*/ 226011 w 226011"/>
                <a:gd name="connsiteY5" fmla="*/ 35727 h 71453"/>
                <a:gd name="connsiteX6" fmla="*/ 190284 w 226011"/>
                <a:gd name="connsiteY6" fmla="*/ 0 h 71453"/>
                <a:gd name="connsiteX7" fmla="*/ 190284 w 226011"/>
                <a:gd name="connsiteY7" fmla="*/ 0 h 71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6011" h="71453">
                  <a:moveTo>
                    <a:pt x="190284" y="0"/>
                  </a:moveTo>
                  <a:lnTo>
                    <a:pt x="35727" y="0"/>
                  </a:lnTo>
                  <a:cubicBezTo>
                    <a:pt x="15533" y="0"/>
                    <a:pt x="0" y="16310"/>
                    <a:pt x="0" y="35727"/>
                  </a:cubicBezTo>
                  <a:cubicBezTo>
                    <a:pt x="0" y="55920"/>
                    <a:pt x="16310" y="71454"/>
                    <a:pt x="35727" y="71454"/>
                  </a:cubicBezTo>
                  <a:lnTo>
                    <a:pt x="190284" y="71454"/>
                  </a:lnTo>
                  <a:cubicBezTo>
                    <a:pt x="210478" y="71454"/>
                    <a:pt x="226011" y="55143"/>
                    <a:pt x="226011" y="35727"/>
                  </a:cubicBezTo>
                  <a:cubicBezTo>
                    <a:pt x="226011" y="16310"/>
                    <a:pt x="209701" y="0"/>
                    <a:pt x="190284" y="0"/>
                  </a:cubicBezTo>
                  <a:lnTo>
                    <a:pt x="190284" y="0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53" name="Forma Livre: Forma 152">
              <a:extLst>
                <a:ext uri="{FF2B5EF4-FFF2-40B4-BE49-F238E27FC236}">
                  <a16:creationId xmlns:a16="http://schemas.microsoft.com/office/drawing/2014/main" id="{CA78A137-2D4F-4735-B8AF-9C78F5390AFE}"/>
                </a:ext>
              </a:extLst>
            </p:cNvPr>
            <p:cNvSpPr/>
            <p:nvPr/>
          </p:nvSpPr>
          <p:spPr>
            <a:xfrm>
              <a:off x="399122" y="5245632"/>
              <a:ext cx="125820" cy="40386"/>
            </a:xfrm>
            <a:custGeom>
              <a:avLst/>
              <a:gdLst>
                <a:gd name="connsiteX0" fmla="*/ 105627 w 125820"/>
                <a:gd name="connsiteY0" fmla="*/ 40386 h 40386"/>
                <a:gd name="connsiteX1" fmla="*/ 20193 w 125820"/>
                <a:gd name="connsiteY1" fmla="*/ 40386 h 40386"/>
                <a:gd name="connsiteX2" fmla="*/ 0 w 125820"/>
                <a:gd name="connsiteY2" fmla="*/ 20193 h 40386"/>
                <a:gd name="connsiteX3" fmla="*/ 20193 w 125820"/>
                <a:gd name="connsiteY3" fmla="*/ 0 h 40386"/>
                <a:gd name="connsiteX4" fmla="*/ 105627 w 125820"/>
                <a:gd name="connsiteY4" fmla="*/ 0 h 40386"/>
                <a:gd name="connsiteX5" fmla="*/ 125821 w 125820"/>
                <a:gd name="connsiteY5" fmla="*/ 20193 h 40386"/>
                <a:gd name="connsiteX6" fmla="*/ 105627 w 125820"/>
                <a:gd name="connsiteY6" fmla="*/ 40386 h 40386"/>
                <a:gd name="connsiteX7" fmla="*/ 105627 w 125820"/>
                <a:gd name="connsiteY7" fmla="*/ 40386 h 4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820" h="40386">
                  <a:moveTo>
                    <a:pt x="105627" y="40386"/>
                  </a:moveTo>
                  <a:lnTo>
                    <a:pt x="20193" y="40386"/>
                  </a:lnTo>
                  <a:cubicBezTo>
                    <a:pt x="8543" y="40386"/>
                    <a:pt x="0" y="31067"/>
                    <a:pt x="0" y="20193"/>
                  </a:cubicBezTo>
                  <a:cubicBezTo>
                    <a:pt x="0" y="8543"/>
                    <a:pt x="9320" y="0"/>
                    <a:pt x="20193" y="0"/>
                  </a:cubicBezTo>
                  <a:lnTo>
                    <a:pt x="105627" y="0"/>
                  </a:lnTo>
                  <a:cubicBezTo>
                    <a:pt x="117277" y="0"/>
                    <a:pt x="125821" y="9320"/>
                    <a:pt x="125821" y="20193"/>
                  </a:cubicBezTo>
                  <a:cubicBezTo>
                    <a:pt x="125821" y="31067"/>
                    <a:pt x="116501" y="40386"/>
                    <a:pt x="105627" y="40386"/>
                  </a:cubicBezTo>
                  <a:lnTo>
                    <a:pt x="105627" y="40386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54" name="Forma Livre: Forma 153">
              <a:extLst>
                <a:ext uri="{FF2B5EF4-FFF2-40B4-BE49-F238E27FC236}">
                  <a16:creationId xmlns:a16="http://schemas.microsoft.com/office/drawing/2014/main" id="{BF50ACB6-3765-4CED-841B-C2E2D661BBAA}"/>
                </a:ext>
              </a:extLst>
            </p:cNvPr>
            <p:cNvSpPr/>
            <p:nvPr/>
          </p:nvSpPr>
          <p:spPr>
            <a:xfrm>
              <a:off x="399122" y="5310872"/>
              <a:ext cx="125820" cy="40386"/>
            </a:xfrm>
            <a:custGeom>
              <a:avLst/>
              <a:gdLst>
                <a:gd name="connsiteX0" fmla="*/ 105627 w 125820"/>
                <a:gd name="connsiteY0" fmla="*/ 40387 h 40386"/>
                <a:gd name="connsiteX1" fmla="*/ 20193 w 125820"/>
                <a:gd name="connsiteY1" fmla="*/ 40387 h 40386"/>
                <a:gd name="connsiteX2" fmla="*/ 0 w 125820"/>
                <a:gd name="connsiteY2" fmla="*/ 20194 h 40386"/>
                <a:gd name="connsiteX3" fmla="*/ 20193 w 125820"/>
                <a:gd name="connsiteY3" fmla="*/ 0 h 40386"/>
                <a:gd name="connsiteX4" fmla="*/ 105627 w 125820"/>
                <a:gd name="connsiteY4" fmla="*/ 0 h 40386"/>
                <a:gd name="connsiteX5" fmla="*/ 125821 w 125820"/>
                <a:gd name="connsiteY5" fmla="*/ 20194 h 40386"/>
                <a:gd name="connsiteX6" fmla="*/ 105627 w 125820"/>
                <a:gd name="connsiteY6" fmla="*/ 40387 h 40386"/>
                <a:gd name="connsiteX7" fmla="*/ 105627 w 125820"/>
                <a:gd name="connsiteY7" fmla="*/ 40387 h 4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820" h="40386">
                  <a:moveTo>
                    <a:pt x="105627" y="40387"/>
                  </a:moveTo>
                  <a:lnTo>
                    <a:pt x="20193" y="40387"/>
                  </a:lnTo>
                  <a:cubicBezTo>
                    <a:pt x="8543" y="40387"/>
                    <a:pt x="0" y="31067"/>
                    <a:pt x="0" y="20194"/>
                  </a:cubicBezTo>
                  <a:cubicBezTo>
                    <a:pt x="0" y="8544"/>
                    <a:pt x="9320" y="0"/>
                    <a:pt x="20193" y="0"/>
                  </a:cubicBezTo>
                  <a:lnTo>
                    <a:pt x="105627" y="0"/>
                  </a:lnTo>
                  <a:cubicBezTo>
                    <a:pt x="117277" y="0"/>
                    <a:pt x="125821" y="9320"/>
                    <a:pt x="125821" y="20194"/>
                  </a:cubicBezTo>
                  <a:cubicBezTo>
                    <a:pt x="125821" y="31067"/>
                    <a:pt x="116501" y="40387"/>
                    <a:pt x="105627" y="40387"/>
                  </a:cubicBezTo>
                  <a:lnTo>
                    <a:pt x="105627" y="40387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55" name="Forma Livre: Forma 154">
              <a:extLst>
                <a:ext uri="{FF2B5EF4-FFF2-40B4-BE49-F238E27FC236}">
                  <a16:creationId xmlns:a16="http://schemas.microsoft.com/office/drawing/2014/main" id="{84930A0C-8F6F-48F2-B15C-758BD9E02CD4}"/>
                </a:ext>
              </a:extLst>
            </p:cNvPr>
            <p:cNvSpPr/>
            <p:nvPr/>
          </p:nvSpPr>
          <p:spPr>
            <a:xfrm>
              <a:off x="456595" y="5343492"/>
              <a:ext cx="254755" cy="254747"/>
            </a:xfrm>
            <a:custGeom>
              <a:avLst/>
              <a:gdLst>
                <a:gd name="connsiteX0" fmla="*/ 127374 w 254755"/>
                <a:gd name="connsiteY0" fmla="*/ 254748 h 254747"/>
                <a:gd name="connsiteX1" fmla="*/ 0 w 254755"/>
                <a:gd name="connsiteY1" fmla="*/ 127374 h 254747"/>
                <a:gd name="connsiteX2" fmla="*/ 127374 w 254755"/>
                <a:gd name="connsiteY2" fmla="*/ 0 h 254747"/>
                <a:gd name="connsiteX3" fmla="*/ 254748 w 254755"/>
                <a:gd name="connsiteY3" fmla="*/ 127374 h 254747"/>
                <a:gd name="connsiteX4" fmla="*/ 127374 w 254755"/>
                <a:gd name="connsiteY4" fmla="*/ 254748 h 254747"/>
                <a:gd name="connsiteX5" fmla="*/ 127374 w 254755"/>
                <a:gd name="connsiteY5" fmla="*/ 254748 h 254747"/>
                <a:gd name="connsiteX6" fmla="*/ 127374 w 254755"/>
                <a:gd name="connsiteY6" fmla="*/ 20193 h 254747"/>
                <a:gd name="connsiteX7" fmla="*/ 20193 w 254755"/>
                <a:gd name="connsiteY7" fmla="*/ 127374 h 254747"/>
                <a:gd name="connsiteX8" fmla="*/ 127374 w 254755"/>
                <a:gd name="connsiteY8" fmla="*/ 234555 h 254747"/>
                <a:gd name="connsiteX9" fmla="*/ 234554 w 254755"/>
                <a:gd name="connsiteY9" fmla="*/ 127374 h 254747"/>
                <a:gd name="connsiteX10" fmla="*/ 127374 w 254755"/>
                <a:gd name="connsiteY10" fmla="*/ 20193 h 254747"/>
                <a:gd name="connsiteX11" fmla="*/ 127374 w 254755"/>
                <a:gd name="connsiteY11" fmla="*/ 20193 h 254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4755" h="254747">
                  <a:moveTo>
                    <a:pt x="127374" y="254748"/>
                  </a:moveTo>
                  <a:cubicBezTo>
                    <a:pt x="56697" y="254748"/>
                    <a:pt x="0" y="197274"/>
                    <a:pt x="0" y="127374"/>
                  </a:cubicBezTo>
                  <a:cubicBezTo>
                    <a:pt x="0" y="56697"/>
                    <a:pt x="57474" y="0"/>
                    <a:pt x="127374" y="0"/>
                  </a:cubicBezTo>
                  <a:cubicBezTo>
                    <a:pt x="198051" y="0"/>
                    <a:pt x="254748" y="57474"/>
                    <a:pt x="254748" y="127374"/>
                  </a:cubicBezTo>
                  <a:cubicBezTo>
                    <a:pt x="255525" y="197274"/>
                    <a:pt x="198051" y="254748"/>
                    <a:pt x="127374" y="254748"/>
                  </a:cubicBezTo>
                  <a:lnTo>
                    <a:pt x="127374" y="254748"/>
                  </a:lnTo>
                  <a:close/>
                  <a:moveTo>
                    <a:pt x="127374" y="20193"/>
                  </a:moveTo>
                  <a:cubicBezTo>
                    <a:pt x="68347" y="20193"/>
                    <a:pt x="20193" y="68347"/>
                    <a:pt x="20193" y="127374"/>
                  </a:cubicBezTo>
                  <a:cubicBezTo>
                    <a:pt x="20193" y="186401"/>
                    <a:pt x="68347" y="234555"/>
                    <a:pt x="127374" y="234555"/>
                  </a:cubicBezTo>
                  <a:cubicBezTo>
                    <a:pt x="186401" y="234555"/>
                    <a:pt x="234554" y="186401"/>
                    <a:pt x="234554" y="127374"/>
                  </a:cubicBezTo>
                  <a:cubicBezTo>
                    <a:pt x="234554" y="68347"/>
                    <a:pt x="186401" y="20193"/>
                    <a:pt x="127374" y="20193"/>
                  </a:cubicBezTo>
                  <a:lnTo>
                    <a:pt x="127374" y="20193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56" name="Forma Livre: Forma 155">
              <a:extLst>
                <a:ext uri="{FF2B5EF4-FFF2-40B4-BE49-F238E27FC236}">
                  <a16:creationId xmlns:a16="http://schemas.microsoft.com/office/drawing/2014/main" id="{41EFCBFD-C24A-47C5-B6C2-8DD9238CC2FC}"/>
                </a:ext>
              </a:extLst>
            </p:cNvPr>
            <p:cNvSpPr/>
            <p:nvPr/>
          </p:nvSpPr>
          <p:spPr>
            <a:xfrm>
              <a:off x="142821" y="5115928"/>
              <a:ext cx="462895" cy="376685"/>
            </a:xfrm>
            <a:custGeom>
              <a:avLst/>
              <a:gdLst>
                <a:gd name="connsiteX0" fmla="*/ 323872 w 462895"/>
                <a:gd name="connsiteY0" fmla="*/ 376685 h 376685"/>
                <a:gd name="connsiteX1" fmla="*/ 20193 w 462895"/>
                <a:gd name="connsiteY1" fmla="*/ 376685 h 376685"/>
                <a:gd name="connsiteX2" fmla="*/ 0 w 462895"/>
                <a:gd name="connsiteY2" fmla="*/ 356491 h 376685"/>
                <a:gd name="connsiteX3" fmla="*/ 0 w 462895"/>
                <a:gd name="connsiteY3" fmla="*/ 20193 h 376685"/>
                <a:gd name="connsiteX4" fmla="*/ 20193 w 462895"/>
                <a:gd name="connsiteY4" fmla="*/ 0 h 376685"/>
                <a:gd name="connsiteX5" fmla="*/ 442702 w 462895"/>
                <a:gd name="connsiteY5" fmla="*/ 0 h 376685"/>
                <a:gd name="connsiteX6" fmla="*/ 462896 w 462895"/>
                <a:gd name="connsiteY6" fmla="*/ 20193 h 376685"/>
                <a:gd name="connsiteX7" fmla="*/ 462896 w 462895"/>
                <a:gd name="connsiteY7" fmla="*/ 237661 h 376685"/>
                <a:gd name="connsiteX8" fmla="*/ 421732 w 462895"/>
                <a:gd name="connsiteY8" fmla="*/ 237661 h 376685"/>
                <a:gd name="connsiteX9" fmla="*/ 421732 w 462895"/>
                <a:gd name="connsiteY9" fmla="*/ 40387 h 376685"/>
                <a:gd name="connsiteX10" fmla="*/ 41164 w 462895"/>
                <a:gd name="connsiteY10" fmla="*/ 40387 h 376685"/>
                <a:gd name="connsiteX11" fmla="*/ 41164 w 462895"/>
                <a:gd name="connsiteY11" fmla="*/ 335522 h 376685"/>
                <a:gd name="connsiteX12" fmla="*/ 323872 w 462895"/>
                <a:gd name="connsiteY12" fmla="*/ 335522 h 376685"/>
                <a:gd name="connsiteX13" fmla="*/ 323872 w 462895"/>
                <a:gd name="connsiteY13" fmla="*/ 376685 h 376685"/>
                <a:gd name="connsiteX14" fmla="*/ 323872 w 462895"/>
                <a:gd name="connsiteY14" fmla="*/ 376685 h 376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62895" h="376685">
                  <a:moveTo>
                    <a:pt x="323872" y="376685"/>
                  </a:moveTo>
                  <a:lnTo>
                    <a:pt x="20193" y="376685"/>
                  </a:lnTo>
                  <a:cubicBezTo>
                    <a:pt x="8543" y="376685"/>
                    <a:pt x="0" y="367365"/>
                    <a:pt x="0" y="356491"/>
                  </a:cubicBezTo>
                  <a:lnTo>
                    <a:pt x="0" y="20193"/>
                  </a:lnTo>
                  <a:cubicBezTo>
                    <a:pt x="0" y="8543"/>
                    <a:pt x="9320" y="0"/>
                    <a:pt x="20193" y="0"/>
                  </a:cubicBezTo>
                  <a:lnTo>
                    <a:pt x="442702" y="0"/>
                  </a:lnTo>
                  <a:cubicBezTo>
                    <a:pt x="454352" y="0"/>
                    <a:pt x="462896" y="9320"/>
                    <a:pt x="462896" y="20193"/>
                  </a:cubicBezTo>
                  <a:lnTo>
                    <a:pt x="462896" y="237661"/>
                  </a:lnTo>
                  <a:lnTo>
                    <a:pt x="421732" y="237661"/>
                  </a:lnTo>
                  <a:lnTo>
                    <a:pt x="421732" y="40387"/>
                  </a:lnTo>
                  <a:lnTo>
                    <a:pt x="41164" y="40387"/>
                  </a:lnTo>
                  <a:lnTo>
                    <a:pt x="41164" y="335522"/>
                  </a:lnTo>
                  <a:lnTo>
                    <a:pt x="323872" y="335522"/>
                  </a:lnTo>
                  <a:lnTo>
                    <a:pt x="323872" y="376685"/>
                  </a:lnTo>
                  <a:lnTo>
                    <a:pt x="323872" y="376685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57" name="Forma Livre: Forma 156">
              <a:extLst>
                <a:ext uri="{FF2B5EF4-FFF2-40B4-BE49-F238E27FC236}">
                  <a16:creationId xmlns:a16="http://schemas.microsoft.com/office/drawing/2014/main" id="{F31A3B85-A700-48F6-9B5A-CE1DB406CA6B}"/>
                </a:ext>
              </a:extLst>
            </p:cNvPr>
            <p:cNvSpPr/>
            <p:nvPr/>
          </p:nvSpPr>
          <p:spPr>
            <a:xfrm>
              <a:off x="523777" y="5409897"/>
              <a:ext cx="121160" cy="121549"/>
            </a:xfrm>
            <a:custGeom>
              <a:avLst/>
              <a:gdLst>
                <a:gd name="connsiteX0" fmla="*/ 20582 w 121160"/>
                <a:gd name="connsiteY0" fmla="*/ 121549 h 121549"/>
                <a:gd name="connsiteX1" fmla="*/ 5825 w 121160"/>
                <a:gd name="connsiteY1" fmla="*/ 115336 h 121549"/>
                <a:gd name="connsiteX2" fmla="*/ 5825 w 121160"/>
                <a:gd name="connsiteY2" fmla="*/ 86599 h 121549"/>
                <a:gd name="connsiteX3" fmla="*/ 86599 w 121160"/>
                <a:gd name="connsiteY3" fmla="*/ 5825 h 121549"/>
                <a:gd name="connsiteX4" fmla="*/ 115336 w 121160"/>
                <a:gd name="connsiteY4" fmla="*/ 5825 h 121549"/>
                <a:gd name="connsiteX5" fmla="*/ 115336 w 121160"/>
                <a:gd name="connsiteY5" fmla="*/ 34562 h 121549"/>
                <a:gd name="connsiteX6" fmla="*/ 34562 w 121160"/>
                <a:gd name="connsiteY6" fmla="*/ 115336 h 121549"/>
                <a:gd name="connsiteX7" fmla="*/ 20582 w 121160"/>
                <a:gd name="connsiteY7" fmla="*/ 121549 h 121549"/>
                <a:gd name="connsiteX8" fmla="*/ 20582 w 121160"/>
                <a:gd name="connsiteY8" fmla="*/ 121549 h 121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160" h="121549">
                  <a:moveTo>
                    <a:pt x="20582" y="121549"/>
                  </a:moveTo>
                  <a:cubicBezTo>
                    <a:pt x="15145" y="121549"/>
                    <a:pt x="9708" y="119219"/>
                    <a:pt x="5825" y="115336"/>
                  </a:cubicBezTo>
                  <a:cubicBezTo>
                    <a:pt x="-1942" y="107569"/>
                    <a:pt x="-1942" y="94366"/>
                    <a:pt x="5825" y="86599"/>
                  </a:cubicBezTo>
                  <a:lnTo>
                    <a:pt x="86599" y="5825"/>
                  </a:lnTo>
                  <a:cubicBezTo>
                    <a:pt x="94365" y="-1942"/>
                    <a:pt x="107569" y="-1942"/>
                    <a:pt x="115336" y="5825"/>
                  </a:cubicBezTo>
                  <a:cubicBezTo>
                    <a:pt x="123102" y="13592"/>
                    <a:pt x="123102" y="26795"/>
                    <a:pt x="115336" y="34562"/>
                  </a:cubicBezTo>
                  <a:lnTo>
                    <a:pt x="34562" y="115336"/>
                  </a:lnTo>
                  <a:cubicBezTo>
                    <a:pt x="30678" y="119219"/>
                    <a:pt x="25242" y="121549"/>
                    <a:pt x="20582" y="121549"/>
                  </a:cubicBezTo>
                  <a:lnTo>
                    <a:pt x="20582" y="121549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58" name="Forma Livre: Forma 157">
              <a:extLst>
                <a:ext uri="{FF2B5EF4-FFF2-40B4-BE49-F238E27FC236}">
                  <a16:creationId xmlns:a16="http://schemas.microsoft.com/office/drawing/2014/main" id="{2AAB120D-3224-4D6D-AD8A-B139833B34A8}"/>
                </a:ext>
              </a:extLst>
            </p:cNvPr>
            <p:cNvSpPr/>
            <p:nvPr/>
          </p:nvSpPr>
          <p:spPr>
            <a:xfrm>
              <a:off x="523001" y="5409897"/>
              <a:ext cx="121160" cy="121549"/>
            </a:xfrm>
            <a:custGeom>
              <a:avLst/>
              <a:gdLst>
                <a:gd name="connsiteX0" fmla="*/ 101355 w 121160"/>
                <a:gd name="connsiteY0" fmla="*/ 121549 h 121549"/>
                <a:gd name="connsiteX1" fmla="*/ 86599 w 121160"/>
                <a:gd name="connsiteY1" fmla="*/ 115336 h 121549"/>
                <a:gd name="connsiteX2" fmla="*/ 5825 w 121160"/>
                <a:gd name="connsiteY2" fmla="*/ 34562 h 121549"/>
                <a:gd name="connsiteX3" fmla="*/ 5825 w 121160"/>
                <a:gd name="connsiteY3" fmla="*/ 5825 h 121549"/>
                <a:gd name="connsiteX4" fmla="*/ 34562 w 121160"/>
                <a:gd name="connsiteY4" fmla="*/ 5825 h 121549"/>
                <a:gd name="connsiteX5" fmla="*/ 115336 w 121160"/>
                <a:gd name="connsiteY5" fmla="*/ 86599 h 121549"/>
                <a:gd name="connsiteX6" fmla="*/ 115336 w 121160"/>
                <a:gd name="connsiteY6" fmla="*/ 115336 h 121549"/>
                <a:gd name="connsiteX7" fmla="*/ 101355 w 121160"/>
                <a:gd name="connsiteY7" fmla="*/ 121549 h 121549"/>
                <a:gd name="connsiteX8" fmla="*/ 101355 w 121160"/>
                <a:gd name="connsiteY8" fmla="*/ 121549 h 121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160" h="121549">
                  <a:moveTo>
                    <a:pt x="101355" y="121549"/>
                  </a:moveTo>
                  <a:cubicBezTo>
                    <a:pt x="95919" y="121549"/>
                    <a:pt x="90482" y="119219"/>
                    <a:pt x="86599" y="115336"/>
                  </a:cubicBezTo>
                  <a:lnTo>
                    <a:pt x="5825" y="34562"/>
                  </a:lnTo>
                  <a:cubicBezTo>
                    <a:pt x="-1942" y="26795"/>
                    <a:pt x="-1942" y="13592"/>
                    <a:pt x="5825" y="5825"/>
                  </a:cubicBezTo>
                  <a:cubicBezTo>
                    <a:pt x="13592" y="-1942"/>
                    <a:pt x="26795" y="-1942"/>
                    <a:pt x="34562" y="5825"/>
                  </a:cubicBezTo>
                  <a:lnTo>
                    <a:pt x="115336" y="86599"/>
                  </a:lnTo>
                  <a:cubicBezTo>
                    <a:pt x="123102" y="94366"/>
                    <a:pt x="123102" y="107569"/>
                    <a:pt x="115336" y="115336"/>
                  </a:cubicBezTo>
                  <a:cubicBezTo>
                    <a:pt x="112229" y="119219"/>
                    <a:pt x="106792" y="121549"/>
                    <a:pt x="101355" y="121549"/>
                  </a:cubicBezTo>
                  <a:lnTo>
                    <a:pt x="101355" y="121549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59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2327294" y="3632519"/>
            <a:ext cx="379841" cy="379625"/>
            <a:chOff x="1461607" y="3835975"/>
            <a:chExt cx="467043" cy="466778"/>
          </a:xfrm>
          <a:solidFill>
            <a:srgbClr val="B1B1A1"/>
          </a:solidFill>
        </p:grpSpPr>
        <p:sp>
          <p:nvSpPr>
            <p:cNvPr id="160" name="Forma Livre: Forma 159">
              <a:extLst>
                <a:ext uri="{FF2B5EF4-FFF2-40B4-BE49-F238E27FC236}">
                  <a16:creationId xmlns:a16="http://schemas.microsoft.com/office/drawing/2014/main" id="{8E4CEF5B-EEA9-486F-9ED6-0F0F52E82AEB}"/>
                </a:ext>
              </a:extLst>
            </p:cNvPr>
            <p:cNvSpPr/>
            <p:nvPr/>
          </p:nvSpPr>
          <p:spPr>
            <a:xfrm>
              <a:off x="1461607" y="3835975"/>
              <a:ext cx="467043" cy="466778"/>
            </a:xfrm>
            <a:custGeom>
              <a:avLst/>
              <a:gdLst>
                <a:gd name="connsiteX0" fmla="*/ 205041 w 467043"/>
                <a:gd name="connsiteY0" fmla="*/ 466779 h 466778"/>
                <a:gd name="connsiteX1" fmla="*/ 190284 w 467043"/>
                <a:gd name="connsiteY1" fmla="*/ 460566 h 466778"/>
                <a:gd name="connsiteX2" fmla="*/ 185624 w 467043"/>
                <a:gd name="connsiteY2" fmla="*/ 438042 h 466778"/>
                <a:gd name="connsiteX3" fmla="*/ 175527 w 467043"/>
                <a:gd name="connsiteY3" fmla="*/ 326978 h 466778"/>
                <a:gd name="connsiteX4" fmla="*/ 158441 w 467043"/>
                <a:gd name="connsiteY4" fmla="*/ 324648 h 466778"/>
                <a:gd name="connsiteX5" fmla="*/ 142131 w 467043"/>
                <a:gd name="connsiteY5" fmla="*/ 308338 h 466778"/>
                <a:gd name="connsiteX6" fmla="*/ 139801 w 467043"/>
                <a:gd name="connsiteY6" fmla="*/ 291252 h 466778"/>
                <a:gd name="connsiteX7" fmla="*/ 28737 w 467043"/>
                <a:gd name="connsiteY7" fmla="*/ 281155 h 466778"/>
                <a:gd name="connsiteX8" fmla="*/ 6213 w 467043"/>
                <a:gd name="connsiteY8" fmla="*/ 276495 h 466778"/>
                <a:gd name="connsiteX9" fmla="*/ 1553 w 467043"/>
                <a:gd name="connsiteY9" fmla="*/ 253971 h 466778"/>
                <a:gd name="connsiteX10" fmla="*/ 34950 w 467043"/>
                <a:gd name="connsiteY10" fmla="*/ 204264 h 466778"/>
                <a:gd name="connsiteX11" fmla="*/ 162324 w 467043"/>
                <a:gd name="connsiteY11" fmla="*/ 159218 h 466778"/>
                <a:gd name="connsiteX12" fmla="*/ 217468 w 467043"/>
                <a:gd name="connsiteY12" fmla="*/ 79997 h 466778"/>
                <a:gd name="connsiteX13" fmla="*/ 402315 w 467043"/>
                <a:gd name="connsiteY13" fmla="*/ 0 h 466778"/>
                <a:gd name="connsiteX14" fmla="*/ 446586 w 467043"/>
                <a:gd name="connsiteY14" fmla="*/ 4660 h 466778"/>
                <a:gd name="connsiteX15" fmla="*/ 462896 w 467043"/>
                <a:gd name="connsiteY15" fmla="*/ 20970 h 466778"/>
                <a:gd name="connsiteX16" fmla="*/ 387559 w 467043"/>
                <a:gd name="connsiteY16" fmla="*/ 250088 h 466778"/>
                <a:gd name="connsiteX17" fmla="*/ 308338 w 467043"/>
                <a:gd name="connsiteY17" fmla="*/ 305232 h 466778"/>
                <a:gd name="connsiteX18" fmla="*/ 263291 w 467043"/>
                <a:gd name="connsiteY18" fmla="*/ 432605 h 466778"/>
                <a:gd name="connsiteX19" fmla="*/ 213584 w 467043"/>
                <a:gd name="connsiteY19" fmla="*/ 466003 h 466778"/>
                <a:gd name="connsiteX20" fmla="*/ 205041 w 467043"/>
                <a:gd name="connsiteY20" fmla="*/ 466779 h 466778"/>
                <a:gd name="connsiteX21" fmla="*/ 205041 w 467043"/>
                <a:gd name="connsiteY21" fmla="*/ 466779 h 466778"/>
                <a:gd name="connsiteX22" fmla="*/ 180964 w 467043"/>
                <a:gd name="connsiteY22" fmla="*/ 286591 h 466778"/>
                <a:gd name="connsiteX23" fmla="*/ 188731 w 467043"/>
                <a:gd name="connsiteY23" fmla="*/ 287368 h 466778"/>
                <a:gd name="connsiteX24" fmla="*/ 203488 w 467043"/>
                <a:gd name="connsiteY24" fmla="*/ 295135 h 466778"/>
                <a:gd name="connsiteX25" fmla="*/ 236108 w 467043"/>
                <a:gd name="connsiteY25" fmla="*/ 400762 h 466778"/>
                <a:gd name="connsiteX26" fmla="*/ 265621 w 467043"/>
                <a:gd name="connsiteY26" fmla="*/ 295912 h 466778"/>
                <a:gd name="connsiteX27" fmla="*/ 278048 w 467043"/>
                <a:gd name="connsiteY27" fmla="*/ 272611 h 466778"/>
                <a:gd name="connsiteX28" fmla="*/ 358045 w 467043"/>
                <a:gd name="connsiteY28" fmla="*/ 219798 h 466778"/>
                <a:gd name="connsiteX29" fmla="*/ 424062 w 467043"/>
                <a:gd name="connsiteY29" fmla="*/ 41940 h 466778"/>
                <a:gd name="connsiteX30" fmla="*/ 246205 w 467043"/>
                <a:gd name="connsiteY30" fmla="*/ 107957 h 466778"/>
                <a:gd name="connsiteX31" fmla="*/ 193391 w 467043"/>
                <a:gd name="connsiteY31" fmla="*/ 187954 h 466778"/>
                <a:gd name="connsiteX32" fmla="*/ 170091 w 467043"/>
                <a:gd name="connsiteY32" fmla="*/ 200381 h 466778"/>
                <a:gd name="connsiteX33" fmla="*/ 66017 w 467043"/>
                <a:gd name="connsiteY33" fmla="*/ 229895 h 466778"/>
                <a:gd name="connsiteX34" fmla="*/ 171644 w 467043"/>
                <a:gd name="connsiteY34" fmla="*/ 262515 h 466778"/>
                <a:gd name="connsiteX35" fmla="*/ 179411 w 467043"/>
                <a:gd name="connsiteY35" fmla="*/ 277271 h 466778"/>
                <a:gd name="connsiteX36" fmla="*/ 180964 w 467043"/>
                <a:gd name="connsiteY36" fmla="*/ 286591 h 466778"/>
                <a:gd name="connsiteX37" fmla="*/ 180964 w 467043"/>
                <a:gd name="connsiteY37" fmla="*/ 286591 h 466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67043" h="466778">
                  <a:moveTo>
                    <a:pt x="205041" y="466779"/>
                  </a:moveTo>
                  <a:cubicBezTo>
                    <a:pt x="199604" y="466779"/>
                    <a:pt x="194168" y="464449"/>
                    <a:pt x="190284" y="460566"/>
                  </a:cubicBezTo>
                  <a:cubicBezTo>
                    <a:pt x="184071" y="454352"/>
                    <a:pt x="182518" y="445809"/>
                    <a:pt x="185624" y="438042"/>
                  </a:cubicBezTo>
                  <a:cubicBezTo>
                    <a:pt x="201158" y="401538"/>
                    <a:pt x="196498" y="360375"/>
                    <a:pt x="175527" y="326978"/>
                  </a:cubicBezTo>
                  <a:cubicBezTo>
                    <a:pt x="169314" y="326202"/>
                    <a:pt x="163877" y="325425"/>
                    <a:pt x="158441" y="324648"/>
                  </a:cubicBezTo>
                  <a:cubicBezTo>
                    <a:pt x="149897" y="323095"/>
                    <a:pt x="143684" y="316882"/>
                    <a:pt x="142131" y="308338"/>
                  </a:cubicBezTo>
                  <a:cubicBezTo>
                    <a:pt x="141354" y="302902"/>
                    <a:pt x="139801" y="297465"/>
                    <a:pt x="139801" y="291252"/>
                  </a:cubicBezTo>
                  <a:cubicBezTo>
                    <a:pt x="107181" y="270281"/>
                    <a:pt x="64464" y="265621"/>
                    <a:pt x="28737" y="281155"/>
                  </a:cubicBezTo>
                  <a:cubicBezTo>
                    <a:pt x="20970" y="284261"/>
                    <a:pt x="12427" y="282708"/>
                    <a:pt x="6213" y="276495"/>
                  </a:cubicBezTo>
                  <a:cubicBezTo>
                    <a:pt x="0" y="270281"/>
                    <a:pt x="-1553" y="261738"/>
                    <a:pt x="1553" y="253971"/>
                  </a:cubicBezTo>
                  <a:cubicBezTo>
                    <a:pt x="9320" y="235331"/>
                    <a:pt x="20970" y="218244"/>
                    <a:pt x="34950" y="204264"/>
                  </a:cubicBezTo>
                  <a:cubicBezTo>
                    <a:pt x="68347" y="170868"/>
                    <a:pt x="114947" y="154557"/>
                    <a:pt x="162324" y="159218"/>
                  </a:cubicBezTo>
                  <a:cubicBezTo>
                    <a:pt x="176304" y="129704"/>
                    <a:pt x="194168" y="103297"/>
                    <a:pt x="217468" y="79997"/>
                  </a:cubicBezTo>
                  <a:cubicBezTo>
                    <a:pt x="267951" y="29514"/>
                    <a:pt x="335522" y="0"/>
                    <a:pt x="402315" y="0"/>
                  </a:cubicBezTo>
                  <a:cubicBezTo>
                    <a:pt x="417072" y="0"/>
                    <a:pt x="431829" y="1553"/>
                    <a:pt x="446586" y="4660"/>
                  </a:cubicBezTo>
                  <a:cubicBezTo>
                    <a:pt x="454352" y="6214"/>
                    <a:pt x="461342" y="12427"/>
                    <a:pt x="462896" y="20970"/>
                  </a:cubicBezTo>
                  <a:cubicBezTo>
                    <a:pt x="478429" y="100190"/>
                    <a:pt x="449692" y="187954"/>
                    <a:pt x="387559" y="250088"/>
                  </a:cubicBezTo>
                  <a:cubicBezTo>
                    <a:pt x="364258" y="273388"/>
                    <a:pt x="337852" y="292028"/>
                    <a:pt x="308338" y="305232"/>
                  </a:cubicBezTo>
                  <a:cubicBezTo>
                    <a:pt x="312998" y="352608"/>
                    <a:pt x="296688" y="399209"/>
                    <a:pt x="263291" y="432605"/>
                  </a:cubicBezTo>
                  <a:cubicBezTo>
                    <a:pt x="249311" y="446586"/>
                    <a:pt x="232224" y="458236"/>
                    <a:pt x="213584" y="466003"/>
                  </a:cubicBezTo>
                  <a:cubicBezTo>
                    <a:pt x="210478" y="466779"/>
                    <a:pt x="207371" y="466779"/>
                    <a:pt x="205041" y="466779"/>
                  </a:cubicBezTo>
                  <a:lnTo>
                    <a:pt x="205041" y="466779"/>
                  </a:lnTo>
                  <a:close/>
                  <a:moveTo>
                    <a:pt x="180964" y="286591"/>
                  </a:moveTo>
                  <a:cubicBezTo>
                    <a:pt x="183294" y="286591"/>
                    <a:pt x="186401" y="287368"/>
                    <a:pt x="188731" y="287368"/>
                  </a:cubicBezTo>
                  <a:cubicBezTo>
                    <a:pt x="194944" y="288145"/>
                    <a:pt x="200381" y="290475"/>
                    <a:pt x="203488" y="295135"/>
                  </a:cubicBezTo>
                  <a:cubicBezTo>
                    <a:pt x="226788" y="326202"/>
                    <a:pt x="237661" y="363482"/>
                    <a:pt x="236108" y="400762"/>
                  </a:cubicBezTo>
                  <a:cubicBezTo>
                    <a:pt x="262515" y="372802"/>
                    <a:pt x="273388" y="333969"/>
                    <a:pt x="265621" y="295912"/>
                  </a:cubicBezTo>
                  <a:cubicBezTo>
                    <a:pt x="263291" y="285815"/>
                    <a:pt x="268728" y="276495"/>
                    <a:pt x="278048" y="272611"/>
                  </a:cubicBezTo>
                  <a:cubicBezTo>
                    <a:pt x="308338" y="260961"/>
                    <a:pt x="335522" y="243098"/>
                    <a:pt x="358045" y="219798"/>
                  </a:cubicBezTo>
                  <a:cubicBezTo>
                    <a:pt x="406975" y="170868"/>
                    <a:pt x="431829" y="104074"/>
                    <a:pt x="424062" y="41940"/>
                  </a:cubicBezTo>
                  <a:cubicBezTo>
                    <a:pt x="361928" y="34950"/>
                    <a:pt x="295135" y="59804"/>
                    <a:pt x="246205" y="107957"/>
                  </a:cubicBezTo>
                  <a:cubicBezTo>
                    <a:pt x="222904" y="131257"/>
                    <a:pt x="205818" y="157664"/>
                    <a:pt x="193391" y="187954"/>
                  </a:cubicBezTo>
                  <a:cubicBezTo>
                    <a:pt x="189508" y="197274"/>
                    <a:pt x="180188" y="202711"/>
                    <a:pt x="170091" y="200381"/>
                  </a:cubicBezTo>
                  <a:cubicBezTo>
                    <a:pt x="132811" y="192614"/>
                    <a:pt x="93200" y="203488"/>
                    <a:pt x="66017" y="229895"/>
                  </a:cubicBezTo>
                  <a:cubicBezTo>
                    <a:pt x="103297" y="228341"/>
                    <a:pt x="141354" y="239991"/>
                    <a:pt x="171644" y="262515"/>
                  </a:cubicBezTo>
                  <a:cubicBezTo>
                    <a:pt x="176304" y="266398"/>
                    <a:pt x="179411" y="271835"/>
                    <a:pt x="179411" y="277271"/>
                  </a:cubicBezTo>
                  <a:cubicBezTo>
                    <a:pt x="180188" y="281155"/>
                    <a:pt x="180188" y="284261"/>
                    <a:pt x="180964" y="286591"/>
                  </a:cubicBezTo>
                  <a:lnTo>
                    <a:pt x="180964" y="286591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61" name="Forma Livre: Forma 160">
              <a:extLst>
                <a:ext uri="{FF2B5EF4-FFF2-40B4-BE49-F238E27FC236}">
                  <a16:creationId xmlns:a16="http://schemas.microsoft.com/office/drawing/2014/main" id="{32D27310-42F2-4677-A375-4CDA036B550A}"/>
                </a:ext>
              </a:extLst>
            </p:cNvPr>
            <p:cNvSpPr/>
            <p:nvPr/>
          </p:nvSpPr>
          <p:spPr>
            <a:xfrm>
              <a:off x="1745480" y="3916943"/>
              <a:ext cx="102908" cy="102326"/>
            </a:xfrm>
            <a:custGeom>
              <a:avLst/>
              <a:gdLst>
                <a:gd name="connsiteX0" fmla="*/ 51649 w 102908"/>
                <a:gd name="connsiteY0" fmla="*/ 102326 h 102326"/>
                <a:gd name="connsiteX1" fmla="*/ 15145 w 102908"/>
                <a:gd name="connsiteY1" fmla="*/ 87569 h 102326"/>
                <a:gd name="connsiteX2" fmla="*/ 15145 w 102908"/>
                <a:gd name="connsiteY2" fmla="*/ 14563 h 102326"/>
                <a:gd name="connsiteX3" fmla="*/ 88152 w 102908"/>
                <a:gd name="connsiteY3" fmla="*/ 14563 h 102326"/>
                <a:gd name="connsiteX4" fmla="*/ 102909 w 102908"/>
                <a:gd name="connsiteY4" fmla="*/ 51066 h 102326"/>
                <a:gd name="connsiteX5" fmla="*/ 88152 w 102908"/>
                <a:gd name="connsiteY5" fmla="*/ 87569 h 102326"/>
                <a:gd name="connsiteX6" fmla="*/ 51649 w 102908"/>
                <a:gd name="connsiteY6" fmla="*/ 102326 h 102326"/>
                <a:gd name="connsiteX7" fmla="*/ 51649 w 102908"/>
                <a:gd name="connsiteY7" fmla="*/ 102326 h 102326"/>
                <a:gd name="connsiteX8" fmla="*/ 50872 w 102908"/>
                <a:gd name="connsiteY8" fmla="*/ 19999 h 102326"/>
                <a:gd name="connsiteX9" fmla="*/ 29125 w 102908"/>
                <a:gd name="connsiteY9" fmla="*/ 29319 h 102326"/>
                <a:gd name="connsiteX10" fmla="*/ 29125 w 102908"/>
                <a:gd name="connsiteY10" fmla="*/ 72813 h 102326"/>
                <a:gd name="connsiteX11" fmla="*/ 72619 w 102908"/>
                <a:gd name="connsiteY11" fmla="*/ 72813 h 102326"/>
                <a:gd name="connsiteX12" fmla="*/ 81939 w 102908"/>
                <a:gd name="connsiteY12" fmla="*/ 51066 h 102326"/>
                <a:gd name="connsiteX13" fmla="*/ 72619 w 102908"/>
                <a:gd name="connsiteY13" fmla="*/ 29319 h 102326"/>
                <a:gd name="connsiteX14" fmla="*/ 50872 w 102908"/>
                <a:gd name="connsiteY14" fmla="*/ 19999 h 102326"/>
                <a:gd name="connsiteX15" fmla="*/ 50872 w 102908"/>
                <a:gd name="connsiteY15" fmla="*/ 19999 h 102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2908" h="102326">
                  <a:moveTo>
                    <a:pt x="51649" y="102326"/>
                  </a:moveTo>
                  <a:cubicBezTo>
                    <a:pt x="37669" y="102326"/>
                    <a:pt x="25242" y="96889"/>
                    <a:pt x="15145" y="87569"/>
                  </a:cubicBezTo>
                  <a:cubicBezTo>
                    <a:pt x="-5048" y="67376"/>
                    <a:pt x="-5048" y="34756"/>
                    <a:pt x="15145" y="14563"/>
                  </a:cubicBezTo>
                  <a:cubicBezTo>
                    <a:pt x="34562" y="-4854"/>
                    <a:pt x="68735" y="-4854"/>
                    <a:pt x="88152" y="14563"/>
                  </a:cubicBezTo>
                  <a:cubicBezTo>
                    <a:pt x="98249" y="23882"/>
                    <a:pt x="102909" y="37086"/>
                    <a:pt x="102909" y="51066"/>
                  </a:cubicBezTo>
                  <a:cubicBezTo>
                    <a:pt x="102909" y="65046"/>
                    <a:pt x="97472" y="77473"/>
                    <a:pt x="88152" y="87569"/>
                  </a:cubicBezTo>
                  <a:cubicBezTo>
                    <a:pt x="78055" y="96889"/>
                    <a:pt x="64852" y="102326"/>
                    <a:pt x="51649" y="102326"/>
                  </a:cubicBezTo>
                  <a:lnTo>
                    <a:pt x="51649" y="102326"/>
                  </a:lnTo>
                  <a:close/>
                  <a:moveTo>
                    <a:pt x="50872" y="19999"/>
                  </a:moveTo>
                  <a:cubicBezTo>
                    <a:pt x="42329" y="19999"/>
                    <a:pt x="34562" y="23106"/>
                    <a:pt x="29125" y="29319"/>
                  </a:cubicBezTo>
                  <a:cubicBezTo>
                    <a:pt x="17475" y="40969"/>
                    <a:pt x="17475" y="61163"/>
                    <a:pt x="29125" y="72813"/>
                  </a:cubicBezTo>
                  <a:cubicBezTo>
                    <a:pt x="40775" y="84463"/>
                    <a:pt x="60969" y="84463"/>
                    <a:pt x="72619" y="72813"/>
                  </a:cubicBezTo>
                  <a:cubicBezTo>
                    <a:pt x="78832" y="66600"/>
                    <a:pt x="81939" y="59609"/>
                    <a:pt x="81939" y="51066"/>
                  </a:cubicBezTo>
                  <a:cubicBezTo>
                    <a:pt x="81939" y="42523"/>
                    <a:pt x="78832" y="34756"/>
                    <a:pt x="72619" y="29319"/>
                  </a:cubicBezTo>
                  <a:cubicBezTo>
                    <a:pt x="67182" y="23106"/>
                    <a:pt x="59415" y="19999"/>
                    <a:pt x="50872" y="19999"/>
                  </a:cubicBezTo>
                  <a:lnTo>
                    <a:pt x="50872" y="19999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62" name="Forma Livre: Forma 161">
              <a:extLst>
                <a:ext uri="{FF2B5EF4-FFF2-40B4-BE49-F238E27FC236}">
                  <a16:creationId xmlns:a16="http://schemas.microsoft.com/office/drawing/2014/main" id="{7FCAF0E4-B188-4CFC-97E4-52FE9AC6D046}"/>
                </a:ext>
              </a:extLst>
            </p:cNvPr>
            <p:cNvSpPr/>
            <p:nvPr/>
          </p:nvSpPr>
          <p:spPr>
            <a:xfrm>
              <a:off x="1532189" y="4099460"/>
              <a:ext cx="133487" cy="132616"/>
            </a:xfrm>
            <a:custGeom>
              <a:avLst/>
              <a:gdLst>
                <a:gd name="connsiteX0" fmla="*/ 30385 w 133487"/>
                <a:gd name="connsiteY0" fmla="*/ 132617 h 132616"/>
                <a:gd name="connsiteX1" fmla="*/ 10191 w 133487"/>
                <a:gd name="connsiteY1" fmla="*/ 131063 h 132616"/>
                <a:gd name="connsiteX2" fmla="*/ 1648 w 133487"/>
                <a:gd name="connsiteY2" fmla="*/ 122519 h 132616"/>
                <a:gd name="connsiteX3" fmla="*/ 42811 w 133487"/>
                <a:gd name="connsiteY3" fmla="*/ 2913 h 132616"/>
                <a:gd name="connsiteX4" fmla="*/ 57568 w 133487"/>
                <a:gd name="connsiteY4" fmla="*/ 2913 h 132616"/>
                <a:gd name="connsiteX5" fmla="*/ 57568 w 133487"/>
                <a:gd name="connsiteY5" fmla="*/ 17669 h 132616"/>
                <a:gd name="connsiteX6" fmla="*/ 21065 w 133487"/>
                <a:gd name="connsiteY6" fmla="*/ 112423 h 132616"/>
                <a:gd name="connsiteX7" fmla="*/ 115818 w 133487"/>
                <a:gd name="connsiteY7" fmla="*/ 75919 h 132616"/>
                <a:gd name="connsiteX8" fmla="*/ 130575 w 133487"/>
                <a:gd name="connsiteY8" fmla="*/ 75919 h 132616"/>
                <a:gd name="connsiteX9" fmla="*/ 130575 w 133487"/>
                <a:gd name="connsiteY9" fmla="*/ 90676 h 132616"/>
                <a:gd name="connsiteX10" fmla="*/ 30385 w 133487"/>
                <a:gd name="connsiteY10" fmla="*/ 132617 h 132616"/>
                <a:gd name="connsiteX11" fmla="*/ 30385 w 133487"/>
                <a:gd name="connsiteY11" fmla="*/ 132617 h 132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3487" h="132616">
                  <a:moveTo>
                    <a:pt x="30385" y="132617"/>
                  </a:moveTo>
                  <a:cubicBezTo>
                    <a:pt x="23395" y="132617"/>
                    <a:pt x="16405" y="131840"/>
                    <a:pt x="10191" y="131063"/>
                  </a:cubicBezTo>
                  <a:cubicBezTo>
                    <a:pt x="5531" y="130286"/>
                    <a:pt x="2425" y="127180"/>
                    <a:pt x="1648" y="122519"/>
                  </a:cubicBezTo>
                  <a:cubicBezTo>
                    <a:pt x="-5342" y="80580"/>
                    <a:pt x="10191" y="35533"/>
                    <a:pt x="42811" y="2913"/>
                  </a:cubicBezTo>
                  <a:cubicBezTo>
                    <a:pt x="46695" y="-971"/>
                    <a:pt x="53685" y="-971"/>
                    <a:pt x="57568" y="2913"/>
                  </a:cubicBezTo>
                  <a:cubicBezTo>
                    <a:pt x="61452" y="6796"/>
                    <a:pt x="61452" y="13786"/>
                    <a:pt x="57568" y="17669"/>
                  </a:cubicBezTo>
                  <a:cubicBezTo>
                    <a:pt x="31161" y="44076"/>
                    <a:pt x="17958" y="79026"/>
                    <a:pt x="21065" y="112423"/>
                  </a:cubicBezTo>
                  <a:cubicBezTo>
                    <a:pt x="54461" y="115530"/>
                    <a:pt x="89412" y="102326"/>
                    <a:pt x="115818" y="75919"/>
                  </a:cubicBezTo>
                  <a:cubicBezTo>
                    <a:pt x="119702" y="72036"/>
                    <a:pt x="126692" y="72036"/>
                    <a:pt x="130575" y="75919"/>
                  </a:cubicBezTo>
                  <a:cubicBezTo>
                    <a:pt x="134459" y="79803"/>
                    <a:pt x="134459" y="86793"/>
                    <a:pt x="130575" y="90676"/>
                  </a:cubicBezTo>
                  <a:cubicBezTo>
                    <a:pt x="102615" y="117860"/>
                    <a:pt x="66111" y="132617"/>
                    <a:pt x="30385" y="132617"/>
                  </a:cubicBezTo>
                  <a:lnTo>
                    <a:pt x="30385" y="132617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sp>
        <p:nvSpPr>
          <p:cNvPr id="163" name="Forma Livre: Forma 162">
            <a:extLst>
              <a:ext uri="{FF2B5EF4-FFF2-40B4-BE49-F238E27FC236}">
                <a16:creationId xmlns:a16="http://schemas.microsoft.com/office/drawing/2014/main" id="{7FECFC6D-0A1B-4F43-B86F-15A6B9C3D652}"/>
              </a:ext>
            </a:extLst>
          </p:cNvPr>
          <p:cNvSpPr/>
          <p:nvPr/>
        </p:nvSpPr>
        <p:spPr>
          <a:xfrm>
            <a:off x="3341736" y="3627150"/>
            <a:ext cx="392891" cy="391312"/>
          </a:xfrm>
          <a:custGeom>
            <a:avLst/>
            <a:gdLst>
              <a:gd name="connsiteX0" fmla="*/ 241545 w 483089"/>
              <a:gd name="connsiteY0" fmla="*/ 481147 h 481147"/>
              <a:gd name="connsiteX1" fmla="*/ 241545 w 483089"/>
              <a:gd name="connsiteY1" fmla="*/ 481147 h 481147"/>
              <a:gd name="connsiteX2" fmla="*/ 210478 w 483089"/>
              <a:gd name="connsiteY2" fmla="*/ 467944 h 481147"/>
              <a:gd name="connsiteX3" fmla="*/ 13203 w 483089"/>
              <a:gd name="connsiteY3" fmla="*/ 271446 h 481147"/>
              <a:gd name="connsiteX4" fmla="*/ 0 w 483089"/>
              <a:gd name="connsiteY4" fmla="*/ 240379 h 481147"/>
              <a:gd name="connsiteX5" fmla="*/ 13203 w 483089"/>
              <a:gd name="connsiteY5" fmla="*/ 209313 h 481147"/>
              <a:gd name="connsiteX6" fmla="*/ 75337 w 483089"/>
              <a:gd name="connsiteY6" fmla="*/ 147179 h 481147"/>
              <a:gd name="connsiteX7" fmla="*/ 95531 w 483089"/>
              <a:gd name="connsiteY7" fmla="*/ 141742 h 481147"/>
              <a:gd name="connsiteX8" fmla="*/ 109511 w 483089"/>
              <a:gd name="connsiteY8" fmla="*/ 157276 h 481147"/>
              <a:gd name="connsiteX9" fmla="*/ 121937 w 483089"/>
              <a:gd name="connsiteY9" fmla="*/ 180576 h 481147"/>
              <a:gd name="connsiteX10" fmla="*/ 187954 w 483089"/>
              <a:gd name="connsiteY10" fmla="*/ 180576 h 481147"/>
              <a:gd name="connsiteX11" fmla="*/ 187954 w 483089"/>
              <a:gd name="connsiteY11" fmla="*/ 114559 h 481147"/>
              <a:gd name="connsiteX12" fmla="*/ 164654 w 483089"/>
              <a:gd name="connsiteY12" fmla="*/ 102132 h 481147"/>
              <a:gd name="connsiteX13" fmla="*/ 149121 w 483089"/>
              <a:gd name="connsiteY13" fmla="*/ 88152 h 481147"/>
              <a:gd name="connsiteX14" fmla="*/ 154557 w 483089"/>
              <a:gd name="connsiteY14" fmla="*/ 67959 h 481147"/>
              <a:gd name="connsiteX15" fmla="*/ 209701 w 483089"/>
              <a:gd name="connsiteY15" fmla="*/ 12815 h 481147"/>
              <a:gd name="connsiteX16" fmla="*/ 272611 w 483089"/>
              <a:gd name="connsiteY16" fmla="*/ 12815 h 481147"/>
              <a:gd name="connsiteX17" fmla="*/ 312998 w 483089"/>
              <a:gd name="connsiteY17" fmla="*/ 53202 h 481147"/>
              <a:gd name="connsiteX18" fmla="*/ 330862 w 483089"/>
              <a:gd name="connsiteY18" fmla="*/ 27572 h 481147"/>
              <a:gd name="connsiteX19" fmla="*/ 392995 w 483089"/>
              <a:gd name="connsiteY19" fmla="*/ 1942 h 481147"/>
              <a:gd name="connsiteX20" fmla="*/ 455129 w 483089"/>
              <a:gd name="connsiteY20" fmla="*/ 27572 h 481147"/>
              <a:gd name="connsiteX21" fmla="*/ 455129 w 483089"/>
              <a:gd name="connsiteY21" fmla="*/ 151839 h 481147"/>
              <a:gd name="connsiteX22" fmla="*/ 429499 w 483089"/>
              <a:gd name="connsiteY22" fmla="*/ 169703 h 481147"/>
              <a:gd name="connsiteX23" fmla="*/ 469886 w 483089"/>
              <a:gd name="connsiteY23" fmla="*/ 210089 h 481147"/>
              <a:gd name="connsiteX24" fmla="*/ 483089 w 483089"/>
              <a:gd name="connsiteY24" fmla="*/ 241156 h 481147"/>
              <a:gd name="connsiteX25" fmla="*/ 469886 w 483089"/>
              <a:gd name="connsiteY25" fmla="*/ 272223 h 481147"/>
              <a:gd name="connsiteX26" fmla="*/ 414742 w 483089"/>
              <a:gd name="connsiteY26" fmla="*/ 327367 h 481147"/>
              <a:gd name="connsiteX27" fmla="*/ 394549 w 483089"/>
              <a:gd name="connsiteY27" fmla="*/ 332803 h 481147"/>
              <a:gd name="connsiteX28" fmla="*/ 380569 w 483089"/>
              <a:gd name="connsiteY28" fmla="*/ 317270 h 481147"/>
              <a:gd name="connsiteX29" fmla="*/ 368142 w 483089"/>
              <a:gd name="connsiteY29" fmla="*/ 293970 h 481147"/>
              <a:gd name="connsiteX30" fmla="*/ 302125 w 483089"/>
              <a:gd name="connsiteY30" fmla="*/ 293970 h 481147"/>
              <a:gd name="connsiteX31" fmla="*/ 302125 w 483089"/>
              <a:gd name="connsiteY31" fmla="*/ 359987 h 481147"/>
              <a:gd name="connsiteX32" fmla="*/ 325425 w 483089"/>
              <a:gd name="connsiteY32" fmla="*/ 372413 h 481147"/>
              <a:gd name="connsiteX33" fmla="*/ 340958 w 483089"/>
              <a:gd name="connsiteY33" fmla="*/ 386393 h 481147"/>
              <a:gd name="connsiteX34" fmla="*/ 335522 w 483089"/>
              <a:gd name="connsiteY34" fmla="*/ 406587 h 481147"/>
              <a:gd name="connsiteX35" fmla="*/ 273388 w 483089"/>
              <a:gd name="connsiteY35" fmla="*/ 468721 h 481147"/>
              <a:gd name="connsiteX36" fmla="*/ 241545 w 483089"/>
              <a:gd name="connsiteY36" fmla="*/ 481147 h 481147"/>
              <a:gd name="connsiteX37" fmla="*/ 241545 w 483089"/>
              <a:gd name="connsiteY37" fmla="*/ 481147 h 481147"/>
              <a:gd name="connsiteX38" fmla="*/ 83104 w 483089"/>
              <a:gd name="connsiteY38" fmla="*/ 196886 h 481147"/>
              <a:gd name="connsiteX39" fmla="*/ 42717 w 483089"/>
              <a:gd name="connsiteY39" fmla="*/ 237273 h 481147"/>
              <a:gd name="connsiteX40" fmla="*/ 41940 w 483089"/>
              <a:gd name="connsiteY40" fmla="*/ 239603 h 481147"/>
              <a:gd name="connsiteX41" fmla="*/ 42717 w 483089"/>
              <a:gd name="connsiteY41" fmla="*/ 241933 h 481147"/>
              <a:gd name="connsiteX42" fmla="*/ 239215 w 483089"/>
              <a:gd name="connsiteY42" fmla="*/ 438430 h 481147"/>
              <a:gd name="connsiteX43" fmla="*/ 243874 w 483089"/>
              <a:gd name="connsiteY43" fmla="*/ 438430 h 481147"/>
              <a:gd name="connsiteX44" fmla="*/ 284261 w 483089"/>
              <a:gd name="connsiteY44" fmla="*/ 398043 h 481147"/>
              <a:gd name="connsiteX45" fmla="*/ 271835 w 483089"/>
              <a:gd name="connsiteY45" fmla="*/ 387947 h 481147"/>
              <a:gd name="connsiteX46" fmla="*/ 271835 w 483089"/>
              <a:gd name="connsiteY46" fmla="*/ 263680 h 481147"/>
              <a:gd name="connsiteX47" fmla="*/ 333968 w 483089"/>
              <a:gd name="connsiteY47" fmla="*/ 238050 h 481147"/>
              <a:gd name="connsiteX48" fmla="*/ 396102 w 483089"/>
              <a:gd name="connsiteY48" fmla="*/ 263680 h 481147"/>
              <a:gd name="connsiteX49" fmla="*/ 406199 w 483089"/>
              <a:gd name="connsiteY49" fmla="*/ 276106 h 481147"/>
              <a:gd name="connsiteX50" fmla="*/ 440372 w 483089"/>
              <a:gd name="connsiteY50" fmla="*/ 241933 h 481147"/>
              <a:gd name="connsiteX51" fmla="*/ 441149 w 483089"/>
              <a:gd name="connsiteY51" fmla="*/ 239603 h 481147"/>
              <a:gd name="connsiteX52" fmla="*/ 440372 w 483089"/>
              <a:gd name="connsiteY52" fmla="*/ 237273 h 481147"/>
              <a:gd name="connsiteX53" fmla="*/ 372802 w 483089"/>
              <a:gd name="connsiteY53" fmla="*/ 169703 h 481147"/>
              <a:gd name="connsiteX54" fmla="*/ 368918 w 483089"/>
              <a:gd name="connsiteY54" fmla="*/ 146402 h 481147"/>
              <a:gd name="connsiteX55" fmla="*/ 389112 w 483089"/>
              <a:gd name="connsiteY55" fmla="*/ 134752 h 481147"/>
              <a:gd name="connsiteX56" fmla="*/ 425616 w 483089"/>
              <a:gd name="connsiteY56" fmla="*/ 121549 h 481147"/>
              <a:gd name="connsiteX57" fmla="*/ 425616 w 483089"/>
              <a:gd name="connsiteY57" fmla="*/ 55532 h 481147"/>
              <a:gd name="connsiteX58" fmla="*/ 359599 w 483089"/>
              <a:gd name="connsiteY58" fmla="*/ 55532 h 481147"/>
              <a:gd name="connsiteX59" fmla="*/ 346395 w 483089"/>
              <a:gd name="connsiteY59" fmla="*/ 92035 h 481147"/>
              <a:gd name="connsiteX60" fmla="*/ 334745 w 483089"/>
              <a:gd name="connsiteY60" fmla="*/ 112229 h 481147"/>
              <a:gd name="connsiteX61" fmla="*/ 311445 w 483089"/>
              <a:gd name="connsiteY61" fmla="*/ 108346 h 481147"/>
              <a:gd name="connsiteX62" fmla="*/ 243874 w 483089"/>
              <a:gd name="connsiteY62" fmla="*/ 40775 h 481147"/>
              <a:gd name="connsiteX63" fmla="*/ 239215 w 483089"/>
              <a:gd name="connsiteY63" fmla="*/ 40775 h 481147"/>
              <a:gd name="connsiteX64" fmla="*/ 205041 w 483089"/>
              <a:gd name="connsiteY64" fmla="*/ 74949 h 481147"/>
              <a:gd name="connsiteX65" fmla="*/ 217468 w 483089"/>
              <a:gd name="connsiteY65" fmla="*/ 85045 h 481147"/>
              <a:gd name="connsiteX66" fmla="*/ 217468 w 483089"/>
              <a:gd name="connsiteY66" fmla="*/ 209313 h 481147"/>
              <a:gd name="connsiteX67" fmla="*/ 155334 w 483089"/>
              <a:gd name="connsiteY67" fmla="*/ 234943 h 481147"/>
              <a:gd name="connsiteX68" fmla="*/ 93200 w 483089"/>
              <a:gd name="connsiteY68" fmla="*/ 209313 h 481147"/>
              <a:gd name="connsiteX69" fmla="*/ 83104 w 483089"/>
              <a:gd name="connsiteY69" fmla="*/ 196886 h 481147"/>
              <a:gd name="connsiteX70" fmla="*/ 83104 w 483089"/>
              <a:gd name="connsiteY70" fmla="*/ 196886 h 4811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483089" h="481147">
                <a:moveTo>
                  <a:pt x="241545" y="481147"/>
                </a:moveTo>
                <a:cubicBezTo>
                  <a:pt x="241545" y="481147"/>
                  <a:pt x="241545" y="481147"/>
                  <a:pt x="241545" y="481147"/>
                </a:cubicBezTo>
                <a:cubicBezTo>
                  <a:pt x="229895" y="481147"/>
                  <a:pt x="218244" y="476487"/>
                  <a:pt x="210478" y="467944"/>
                </a:cubicBezTo>
                <a:lnTo>
                  <a:pt x="13203" y="271446"/>
                </a:lnTo>
                <a:cubicBezTo>
                  <a:pt x="4660" y="262903"/>
                  <a:pt x="0" y="252030"/>
                  <a:pt x="0" y="240379"/>
                </a:cubicBezTo>
                <a:cubicBezTo>
                  <a:pt x="0" y="228729"/>
                  <a:pt x="4660" y="217079"/>
                  <a:pt x="13203" y="209313"/>
                </a:cubicBezTo>
                <a:lnTo>
                  <a:pt x="75337" y="147179"/>
                </a:lnTo>
                <a:cubicBezTo>
                  <a:pt x="80774" y="141742"/>
                  <a:pt x="88540" y="140189"/>
                  <a:pt x="95531" y="141742"/>
                </a:cubicBezTo>
                <a:cubicBezTo>
                  <a:pt x="102521" y="144072"/>
                  <a:pt x="107957" y="149509"/>
                  <a:pt x="109511" y="157276"/>
                </a:cubicBezTo>
                <a:cubicBezTo>
                  <a:pt x="111064" y="166596"/>
                  <a:pt x="115724" y="174362"/>
                  <a:pt x="121937" y="180576"/>
                </a:cubicBezTo>
                <a:cubicBezTo>
                  <a:pt x="139801" y="198439"/>
                  <a:pt x="170091" y="198439"/>
                  <a:pt x="187954" y="180576"/>
                </a:cubicBezTo>
                <a:cubicBezTo>
                  <a:pt x="205818" y="162712"/>
                  <a:pt x="205818" y="133199"/>
                  <a:pt x="187954" y="114559"/>
                </a:cubicBezTo>
                <a:cubicBezTo>
                  <a:pt x="181741" y="108346"/>
                  <a:pt x="173974" y="103685"/>
                  <a:pt x="164654" y="102132"/>
                </a:cubicBezTo>
                <a:cubicBezTo>
                  <a:pt x="156888" y="100579"/>
                  <a:pt x="151451" y="95142"/>
                  <a:pt x="149121" y="88152"/>
                </a:cubicBezTo>
                <a:cubicBezTo>
                  <a:pt x="146791" y="81162"/>
                  <a:pt x="149121" y="73395"/>
                  <a:pt x="154557" y="67959"/>
                </a:cubicBezTo>
                <a:lnTo>
                  <a:pt x="209701" y="12815"/>
                </a:lnTo>
                <a:cubicBezTo>
                  <a:pt x="226788" y="-4272"/>
                  <a:pt x="255525" y="-4272"/>
                  <a:pt x="272611" y="12815"/>
                </a:cubicBezTo>
                <a:lnTo>
                  <a:pt x="312998" y="53202"/>
                </a:lnTo>
                <a:cubicBezTo>
                  <a:pt x="316882" y="43882"/>
                  <a:pt x="323095" y="35339"/>
                  <a:pt x="330862" y="27572"/>
                </a:cubicBezTo>
                <a:cubicBezTo>
                  <a:pt x="347172" y="11262"/>
                  <a:pt x="369695" y="1942"/>
                  <a:pt x="392995" y="1942"/>
                </a:cubicBezTo>
                <a:cubicBezTo>
                  <a:pt x="416295" y="1942"/>
                  <a:pt x="438042" y="11262"/>
                  <a:pt x="455129" y="27572"/>
                </a:cubicBezTo>
                <a:cubicBezTo>
                  <a:pt x="489302" y="61745"/>
                  <a:pt x="489302" y="117666"/>
                  <a:pt x="455129" y="151839"/>
                </a:cubicBezTo>
                <a:cubicBezTo>
                  <a:pt x="447362" y="159606"/>
                  <a:pt x="438819" y="165042"/>
                  <a:pt x="429499" y="169703"/>
                </a:cubicBezTo>
                <a:lnTo>
                  <a:pt x="469886" y="210089"/>
                </a:lnTo>
                <a:cubicBezTo>
                  <a:pt x="478429" y="218633"/>
                  <a:pt x="483089" y="229506"/>
                  <a:pt x="483089" y="241156"/>
                </a:cubicBezTo>
                <a:cubicBezTo>
                  <a:pt x="483089" y="252806"/>
                  <a:pt x="478429" y="264456"/>
                  <a:pt x="469886" y="272223"/>
                </a:cubicBezTo>
                <a:lnTo>
                  <a:pt x="414742" y="327367"/>
                </a:lnTo>
                <a:cubicBezTo>
                  <a:pt x="409305" y="332803"/>
                  <a:pt x="401539" y="334356"/>
                  <a:pt x="394549" y="332803"/>
                </a:cubicBezTo>
                <a:cubicBezTo>
                  <a:pt x="387559" y="330473"/>
                  <a:pt x="382122" y="325037"/>
                  <a:pt x="380569" y="317270"/>
                </a:cubicBezTo>
                <a:cubicBezTo>
                  <a:pt x="379015" y="308726"/>
                  <a:pt x="374355" y="300183"/>
                  <a:pt x="368142" y="293970"/>
                </a:cubicBezTo>
                <a:cubicBezTo>
                  <a:pt x="350278" y="276106"/>
                  <a:pt x="319988" y="276106"/>
                  <a:pt x="302125" y="293970"/>
                </a:cubicBezTo>
                <a:cubicBezTo>
                  <a:pt x="284261" y="311833"/>
                  <a:pt x="284261" y="341347"/>
                  <a:pt x="302125" y="359987"/>
                </a:cubicBezTo>
                <a:cubicBezTo>
                  <a:pt x="308338" y="366200"/>
                  <a:pt x="316882" y="370860"/>
                  <a:pt x="325425" y="372413"/>
                </a:cubicBezTo>
                <a:cubicBezTo>
                  <a:pt x="332415" y="373967"/>
                  <a:pt x="338628" y="379404"/>
                  <a:pt x="340958" y="386393"/>
                </a:cubicBezTo>
                <a:cubicBezTo>
                  <a:pt x="343288" y="393384"/>
                  <a:pt x="340958" y="401150"/>
                  <a:pt x="335522" y="406587"/>
                </a:cubicBezTo>
                <a:lnTo>
                  <a:pt x="273388" y="468721"/>
                </a:lnTo>
                <a:cubicBezTo>
                  <a:pt x="264068" y="476487"/>
                  <a:pt x="253195" y="481147"/>
                  <a:pt x="241545" y="481147"/>
                </a:cubicBezTo>
                <a:lnTo>
                  <a:pt x="241545" y="481147"/>
                </a:lnTo>
                <a:close/>
                <a:moveTo>
                  <a:pt x="83104" y="196886"/>
                </a:moveTo>
                <a:lnTo>
                  <a:pt x="42717" y="237273"/>
                </a:lnTo>
                <a:cubicBezTo>
                  <a:pt x="41940" y="238050"/>
                  <a:pt x="41940" y="238826"/>
                  <a:pt x="41940" y="239603"/>
                </a:cubicBezTo>
                <a:cubicBezTo>
                  <a:pt x="41940" y="240379"/>
                  <a:pt x="41940" y="241156"/>
                  <a:pt x="42717" y="241933"/>
                </a:cubicBezTo>
                <a:lnTo>
                  <a:pt x="239215" y="438430"/>
                </a:lnTo>
                <a:cubicBezTo>
                  <a:pt x="240768" y="439984"/>
                  <a:pt x="242321" y="439984"/>
                  <a:pt x="243874" y="438430"/>
                </a:cubicBezTo>
                <a:lnTo>
                  <a:pt x="284261" y="398043"/>
                </a:lnTo>
                <a:cubicBezTo>
                  <a:pt x="279601" y="394937"/>
                  <a:pt x="275718" y="391830"/>
                  <a:pt x="271835" y="387947"/>
                </a:cubicBezTo>
                <a:cubicBezTo>
                  <a:pt x="237661" y="353773"/>
                  <a:pt x="237661" y="297853"/>
                  <a:pt x="271835" y="263680"/>
                </a:cubicBezTo>
                <a:cubicBezTo>
                  <a:pt x="288145" y="247370"/>
                  <a:pt x="310668" y="238050"/>
                  <a:pt x="333968" y="238050"/>
                </a:cubicBezTo>
                <a:cubicBezTo>
                  <a:pt x="357268" y="238050"/>
                  <a:pt x="379015" y="247370"/>
                  <a:pt x="396102" y="263680"/>
                </a:cubicBezTo>
                <a:cubicBezTo>
                  <a:pt x="399985" y="267563"/>
                  <a:pt x="403092" y="271446"/>
                  <a:pt x="406199" y="276106"/>
                </a:cubicBezTo>
                <a:lnTo>
                  <a:pt x="440372" y="241933"/>
                </a:lnTo>
                <a:cubicBezTo>
                  <a:pt x="441149" y="241156"/>
                  <a:pt x="441149" y="240379"/>
                  <a:pt x="441149" y="239603"/>
                </a:cubicBezTo>
                <a:cubicBezTo>
                  <a:pt x="441149" y="238826"/>
                  <a:pt x="441149" y="238050"/>
                  <a:pt x="440372" y="237273"/>
                </a:cubicBezTo>
                <a:lnTo>
                  <a:pt x="372802" y="169703"/>
                </a:lnTo>
                <a:cubicBezTo>
                  <a:pt x="366589" y="163489"/>
                  <a:pt x="365035" y="154169"/>
                  <a:pt x="368918" y="146402"/>
                </a:cubicBezTo>
                <a:cubicBezTo>
                  <a:pt x="372802" y="138636"/>
                  <a:pt x="380569" y="133976"/>
                  <a:pt x="389112" y="134752"/>
                </a:cubicBezTo>
                <a:cubicBezTo>
                  <a:pt x="403092" y="135529"/>
                  <a:pt x="416295" y="130869"/>
                  <a:pt x="425616" y="121549"/>
                </a:cubicBezTo>
                <a:cubicBezTo>
                  <a:pt x="443479" y="103685"/>
                  <a:pt x="443479" y="74172"/>
                  <a:pt x="425616" y="55532"/>
                </a:cubicBezTo>
                <a:cubicBezTo>
                  <a:pt x="407752" y="37668"/>
                  <a:pt x="377462" y="37668"/>
                  <a:pt x="359599" y="55532"/>
                </a:cubicBezTo>
                <a:cubicBezTo>
                  <a:pt x="350278" y="64852"/>
                  <a:pt x="345618" y="78055"/>
                  <a:pt x="346395" y="92035"/>
                </a:cubicBezTo>
                <a:cubicBezTo>
                  <a:pt x="347172" y="100579"/>
                  <a:pt x="342512" y="108346"/>
                  <a:pt x="334745" y="112229"/>
                </a:cubicBezTo>
                <a:cubicBezTo>
                  <a:pt x="326978" y="116112"/>
                  <a:pt x="317658" y="114559"/>
                  <a:pt x="311445" y="108346"/>
                </a:cubicBezTo>
                <a:lnTo>
                  <a:pt x="243874" y="40775"/>
                </a:lnTo>
                <a:cubicBezTo>
                  <a:pt x="242321" y="39222"/>
                  <a:pt x="240768" y="39222"/>
                  <a:pt x="239215" y="40775"/>
                </a:cubicBezTo>
                <a:lnTo>
                  <a:pt x="205041" y="74949"/>
                </a:lnTo>
                <a:cubicBezTo>
                  <a:pt x="209701" y="78055"/>
                  <a:pt x="213584" y="81162"/>
                  <a:pt x="217468" y="85045"/>
                </a:cubicBezTo>
                <a:cubicBezTo>
                  <a:pt x="251641" y="119219"/>
                  <a:pt x="251641" y="175139"/>
                  <a:pt x="217468" y="209313"/>
                </a:cubicBezTo>
                <a:cubicBezTo>
                  <a:pt x="201158" y="225623"/>
                  <a:pt x="178634" y="234943"/>
                  <a:pt x="155334" y="234943"/>
                </a:cubicBezTo>
                <a:cubicBezTo>
                  <a:pt x="132034" y="234943"/>
                  <a:pt x="110287" y="225623"/>
                  <a:pt x="93200" y="209313"/>
                </a:cubicBezTo>
                <a:cubicBezTo>
                  <a:pt x="89317" y="205429"/>
                  <a:pt x="85434" y="201546"/>
                  <a:pt x="83104" y="196886"/>
                </a:cubicBezTo>
                <a:lnTo>
                  <a:pt x="83104" y="196886"/>
                </a:lnTo>
                <a:close/>
              </a:path>
            </a:pathLst>
          </a:custGeom>
          <a:solidFill>
            <a:srgbClr val="B1B1A1"/>
          </a:solidFill>
          <a:ln w="7767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grpSp>
        <p:nvGrpSpPr>
          <p:cNvPr id="164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6437490" y="3643257"/>
            <a:ext cx="349306" cy="358150"/>
            <a:chOff x="6515402" y="3849178"/>
            <a:chExt cx="429498" cy="440372"/>
          </a:xfrm>
          <a:solidFill>
            <a:srgbClr val="B1B1A1"/>
          </a:solidFill>
        </p:grpSpPr>
        <p:sp>
          <p:nvSpPr>
            <p:cNvPr id="165" name="Forma Livre: Forma 164">
              <a:extLst>
                <a:ext uri="{FF2B5EF4-FFF2-40B4-BE49-F238E27FC236}">
                  <a16:creationId xmlns:a16="http://schemas.microsoft.com/office/drawing/2014/main" id="{FD76AED0-E9B3-470F-A5B8-37414A28E051}"/>
                </a:ext>
              </a:extLst>
            </p:cNvPr>
            <p:cNvSpPr/>
            <p:nvPr/>
          </p:nvSpPr>
          <p:spPr>
            <a:xfrm>
              <a:off x="6515402" y="4052278"/>
              <a:ext cx="224846" cy="225622"/>
            </a:xfrm>
            <a:custGeom>
              <a:avLst/>
              <a:gdLst>
                <a:gd name="connsiteX0" fmla="*/ 100191 w 224846"/>
                <a:gd name="connsiteY0" fmla="*/ 225623 h 225622"/>
                <a:gd name="connsiteX1" fmla="*/ 29513 w 224846"/>
                <a:gd name="connsiteY1" fmla="*/ 196109 h 225622"/>
                <a:gd name="connsiteX2" fmla="*/ 0 w 224846"/>
                <a:gd name="connsiteY2" fmla="*/ 125432 h 225622"/>
                <a:gd name="connsiteX3" fmla="*/ 29513 w 224846"/>
                <a:gd name="connsiteY3" fmla="*/ 54755 h 225622"/>
                <a:gd name="connsiteX4" fmla="*/ 78444 w 224846"/>
                <a:gd name="connsiteY4" fmla="*/ 5825 h 225622"/>
                <a:gd name="connsiteX5" fmla="*/ 107180 w 224846"/>
                <a:gd name="connsiteY5" fmla="*/ 5825 h 225622"/>
                <a:gd name="connsiteX6" fmla="*/ 107180 w 224846"/>
                <a:gd name="connsiteY6" fmla="*/ 34562 h 225622"/>
                <a:gd name="connsiteX7" fmla="*/ 58250 w 224846"/>
                <a:gd name="connsiteY7" fmla="*/ 83492 h 225622"/>
                <a:gd name="connsiteX8" fmla="*/ 41163 w 224846"/>
                <a:gd name="connsiteY8" fmla="*/ 125432 h 225622"/>
                <a:gd name="connsiteX9" fmla="*/ 58250 w 224846"/>
                <a:gd name="connsiteY9" fmla="*/ 167372 h 225622"/>
                <a:gd name="connsiteX10" fmla="*/ 141354 w 224846"/>
                <a:gd name="connsiteY10" fmla="*/ 167372 h 225622"/>
                <a:gd name="connsiteX11" fmla="*/ 190284 w 224846"/>
                <a:gd name="connsiteY11" fmla="*/ 118442 h 225622"/>
                <a:gd name="connsiteX12" fmla="*/ 219021 w 224846"/>
                <a:gd name="connsiteY12" fmla="*/ 118442 h 225622"/>
                <a:gd name="connsiteX13" fmla="*/ 219021 w 224846"/>
                <a:gd name="connsiteY13" fmla="*/ 147179 h 225622"/>
                <a:gd name="connsiteX14" fmla="*/ 170091 w 224846"/>
                <a:gd name="connsiteY14" fmla="*/ 196109 h 225622"/>
                <a:gd name="connsiteX15" fmla="*/ 100191 w 224846"/>
                <a:gd name="connsiteY15" fmla="*/ 225623 h 225622"/>
                <a:gd name="connsiteX16" fmla="*/ 100191 w 224846"/>
                <a:gd name="connsiteY16" fmla="*/ 225623 h 225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4846" h="225622">
                  <a:moveTo>
                    <a:pt x="100191" y="225623"/>
                  </a:moveTo>
                  <a:cubicBezTo>
                    <a:pt x="73784" y="225623"/>
                    <a:pt x="48154" y="215526"/>
                    <a:pt x="29513" y="196109"/>
                  </a:cubicBezTo>
                  <a:cubicBezTo>
                    <a:pt x="10874" y="177469"/>
                    <a:pt x="0" y="151839"/>
                    <a:pt x="0" y="125432"/>
                  </a:cubicBezTo>
                  <a:cubicBezTo>
                    <a:pt x="0" y="99025"/>
                    <a:pt x="10097" y="73395"/>
                    <a:pt x="29513" y="54755"/>
                  </a:cubicBezTo>
                  <a:lnTo>
                    <a:pt x="78444" y="5825"/>
                  </a:lnTo>
                  <a:cubicBezTo>
                    <a:pt x="86210" y="-1942"/>
                    <a:pt x="99414" y="-1942"/>
                    <a:pt x="107180" y="5825"/>
                  </a:cubicBezTo>
                  <a:cubicBezTo>
                    <a:pt x="114947" y="13592"/>
                    <a:pt x="114947" y="26795"/>
                    <a:pt x="107180" y="34562"/>
                  </a:cubicBezTo>
                  <a:lnTo>
                    <a:pt x="58250" y="83492"/>
                  </a:lnTo>
                  <a:cubicBezTo>
                    <a:pt x="47377" y="94366"/>
                    <a:pt x="41163" y="109122"/>
                    <a:pt x="41163" y="125432"/>
                  </a:cubicBezTo>
                  <a:cubicBezTo>
                    <a:pt x="41163" y="140966"/>
                    <a:pt x="47377" y="155722"/>
                    <a:pt x="58250" y="167372"/>
                  </a:cubicBezTo>
                  <a:cubicBezTo>
                    <a:pt x="80774" y="189896"/>
                    <a:pt x="119607" y="189896"/>
                    <a:pt x="141354" y="167372"/>
                  </a:cubicBezTo>
                  <a:lnTo>
                    <a:pt x="190284" y="118442"/>
                  </a:lnTo>
                  <a:cubicBezTo>
                    <a:pt x="198051" y="110676"/>
                    <a:pt x="211254" y="110676"/>
                    <a:pt x="219021" y="118442"/>
                  </a:cubicBezTo>
                  <a:cubicBezTo>
                    <a:pt x="226788" y="126209"/>
                    <a:pt x="226788" y="139412"/>
                    <a:pt x="219021" y="147179"/>
                  </a:cubicBezTo>
                  <a:lnTo>
                    <a:pt x="170091" y="196109"/>
                  </a:lnTo>
                  <a:cubicBezTo>
                    <a:pt x="152227" y="214750"/>
                    <a:pt x="126597" y="225623"/>
                    <a:pt x="100191" y="225623"/>
                  </a:cubicBezTo>
                  <a:lnTo>
                    <a:pt x="100191" y="225623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66" name="Forma Livre: Forma 165">
              <a:extLst>
                <a:ext uri="{FF2B5EF4-FFF2-40B4-BE49-F238E27FC236}">
                  <a16:creationId xmlns:a16="http://schemas.microsoft.com/office/drawing/2014/main" id="{85D76659-3EEC-43A2-9E09-A3B2DB75AD7F}"/>
                </a:ext>
              </a:extLst>
            </p:cNvPr>
            <p:cNvSpPr/>
            <p:nvPr/>
          </p:nvSpPr>
          <p:spPr>
            <a:xfrm>
              <a:off x="6580031" y="3849178"/>
              <a:ext cx="364869" cy="364258"/>
            </a:xfrm>
            <a:custGeom>
              <a:avLst/>
              <a:gdLst>
                <a:gd name="connsiteX0" fmla="*/ 155946 w 364869"/>
                <a:gd name="connsiteY0" fmla="*/ 364258 h 364258"/>
                <a:gd name="connsiteX1" fmla="*/ 138859 w 364869"/>
                <a:gd name="connsiteY1" fmla="*/ 354938 h 364258"/>
                <a:gd name="connsiteX2" fmla="*/ 9155 w 364869"/>
                <a:gd name="connsiteY2" fmla="*/ 225234 h 364258"/>
                <a:gd name="connsiteX3" fmla="*/ 2164 w 364869"/>
                <a:gd name="connsiteY3" fmla="*/ 198828 h 364258"/>
                <a:gd name="connsiteX4" fmla="*/ 92258 w 364869"/>
                <a:gd name="connsiteY4" fmla="*/ 11650 h 364258"/>
                <a:gd name="connsiteX5" fmla="*/ 105462 w 364869"/>
                <a:gd name="connsiteY5" fmla="*/ 777 h 364258"/>
                <a:gd name="connsiteX6" fmla="*/ 122548 w 364869"/>
                <a:gd name="connsiteY6" fmla="*/ 3107 h 364258"/>
                <a:gd name="connsiteX7" fmla="*/ 361763 w 364869"/>
                <a:gd name="connsiteY7" fmla="*/ 242321 h 364258"/>
                <a:gd name="connsiteX8" fmla="*/ 364093 w 364869"/>
                <a:gd name="connsiteY8" fmla="*/ 259408 h 364258"/>
                <a:gd name="connsiteX9" fmla="*/ 353220 w 364869"/>
                <a:gd name="connsiteY9" fmla="*/ 272611 h 364258"/>
                <a:gd name="connsiteX10" fmla="*/ 164489 w 364869"/>
                <a:gd name="connsiteY10" fmla="*/ 361928 h 364258"/>
                <a:gd name="connsiteX11" fmla="*/ 155946 w 364869"/>
                <a:gd name="connsiteY11" fmla="*/ 364258 h 364258"/>
                <a:gd name="connsiteX12" fmla="*/ 155946 w 364869"/>
                <a:gd name="connsiteY12" fmla="*/ 364258 h 364258"/>
                <a:gd name="connsiteX13" fmla="*/ 46435 w 364869"/>
                <a:gd name="connsiteY13" fmla="*/ 201158 h 364258"/>
                <a:gd name="connsiteX14" fmla="*/ 162935 w 364869"/>
                <a:gd name="connsiteY14" fmla="*/ 317658 h 364258"/>
                <a:gd name="connsiteX15" fmla="*/ 312833 w 364869"/>
                <a:gd name="connsiteY15" fmla="*/ 245428 h 364258"/>
                <a:gd name="connsiteX16" fmla="*/ 118665 w 364869"/>
                <a:gd name="connsiteY16" fmla="*/ 51260 h 364258"/>
                <a:gd name="connsiteX17" fmla="*/ 46435 w 364869"/>
                <a:gd name="connsiteY17" fmla="*/ 201158 h 364258"/>
                <a:gd name="connsiteX18" fmla="*/ 46435 w 364869"/>
                <a:gd name="connsiteY18" fmla="*/ 201158 h 364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64869" h="364258">
                  <a:moveTo>
                    <a:pt x="155946" y="364258"/>
                  </a:moveTo>
                  <a:cubicBezTo>
                    <a:pt x="148955" y="364258"/>
                    <a:pt x="142742" y="361152"/>
                    <a:pt x="138859" y="354938"/>
                  </a:cubicBezTo>
                  <a:cubicBezTo>
                    <a:pt x="104685" y="302901"/>
                    <a:pt x="61192" y="259408"/>
                    <a:pt x="9155" y="225234"/>
                  </a:cubicBezTo>
                  <a:cubicBezTo>
                    <a:pt x="611" y="219798"/>
                    <a:pt x="-2495" y="208148"/>
                    <a:pt x="2164" y="198828"/>
                  </a:cubicBezTo>
                  <a:lnTo>
                    <a:pt x="92258" y="11650"/>
                  </a:lnTo>
                  <a:cubicBezTo>
                    <a:pt x="94588" y="6213"/>
                    <a:pt x="99248" y="2330"/>
                    <a:pt x="105462" y="777"/>
                  </a:cubicBezTo>
                  <a:cubicBezTo>
                    <a:pt x="110898" y="-777"/>
                    <a:pt x="117112" y="0"/>
                    <a:pt x="122548" y="3107"/>
                  </a:cubicBezTo>
                  <a:cubicBezTo>
                    <a:pt x="218079" y="66017"/>
                    <a:pt x="298853" y="146014"/>
                    <a:pt x="361763" y="242321"/>
                  </a:cubicBezTo>
                  <a:cubicBezTo>
                    <a:pt x="364870" y="246981"/>
                    <a:pt x="365647" y="253195"/>
                    <a:pt x="364093" y="259408"/>
                  </a:cubicBezTo>
                  <a:cubicBezTo>
                    <a:pt x="362540" y="264845"/>
                    <a:pt x="358656" y="269505"/>
                    <a:pt x="353220" y="272611"/>
                  </a:cubicBezTo>
                  <a:lnTo>
                    <a:pt x="164489" y="361928"/>
                  </a:lnTo>
                  <a:cubicBezTo>
                    <a:pt x="162159" y="363482"/>
                    <a:pt x="159052" y="364258"/>
                    <a:pt x="155946" y="364258"/>
                  </a:cubicBezTo>
                  <a:lnTo>
                    <a:pt x="155946" y="364258"/>
                  </a:lnTo>
                  <a:close/>
                  <a:moveTo>
                    <a:pt x="46435" y="201158"/>
                  </a:moveTo>
                  <a:cubicBezTo>
                    <a:pt x="91482" y="233001"/>
                    <a:pt x="131092" y="272611"/>
                    <a:pt x="162935" y="317658"/>
                  </a:cubicBezTo>
                  <a:lnTo>
                    <a:pt x="312833" y="245428"/>
                  </a:lnTo>
                  <a:cubicBezTo>
                    <a:pt x="260019" y="169314"/>
                    <a:pt x="194779" y="104074"/>
                    <a:pt x="118665" y="51260"/>
                  </a:cubicBezTo>
                  <a:lnTo>
                    <a:pt x="46435" y="201158"/>
                  </a:lnTo>
                  <a:lnTo>
                    <a:pt x="46435" y="201158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67" name="Forma Livre: Forma 166">
              <a:extLst>
                <a:ext uri="{FF2B5EF4-FFF2-40B4-BE49-F238E27FC236}">
                  <a16:creationId xmlns:a16="http://schemas.microsoft.com/office/drawing/2014/main" id="{BDC8230C-D6FB-4862-90C9-ED62C62B0C5E}"/>
                </a:ext>
              </a:extLst>
            </p:cNvPr>
            <p:cNvSpPr/>
            <p:nvPr/>
          </p:nvSpPr>
          <p:spPr>
            <a:xfrm>
              <a:off x="6657920" y="4226252"/>
              <a:ext cx="117277" cy="63298"/>
            </a:xfrm>
            <a:custGeom>
              <a:avLst/>
              <a:gdLst>
                <a:gd name="connsiteX0" fmla="*/ 70289 w 117277"/>
                <a:gd name="connsiteY0" fmla="*/ 63298 h 63298"/>
                <a:gd name="connsiteX1" fmla="*/ 5825 w 117277"/>
                <a:gd name="connsiteY1" fmla="*/ 34561 h 63298"/>
                <a:gd name="connsiteX2" fmla="*/ 5825 w 117277"/>
                <a:gd name="connsiteY2" fmla="*/ 5825 h 63298"/>
                <a:gd name="connsiteX3" fmla="*/ 34562 w 117277"/>
                <a:gd name="connsiteY3" fmla="*/ 5825 h 63298"/>
                <a:gd name="connsiteX4" fmla="*/ 82716 w 117277"/>
                <a:gd name="connsiteY4" fmla="*/ 18252 h 63298"/>
                <a:gd name="connsiteX5" fmla="*/ 111452 w 117277"/>
                <a:gd name="connsiteY5" fmla="*/ 18252 h 63298"/>
                <a:gd name="connsiteX6" fmla="*/ 111452 w 117277"/>
                <a:gd name="connsiteY6" fmla="*/ 46988 h 63298"/>
                <a:gd name="connsiteX7" fmla="*/ 70289 w 117277"/>
                <a:gd name="connsiteY7" fmla="*/ 63298 h 63298"/>
                <a:gd name="connsiteX8" fmla="*/ 70289 w 117277"/>
                <a:gd name="connsiteY8" fmla="*/ 63298 h 63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7277" h="63298">
                  <a:moveTo>
                    <a:pt x="70289" y="63298"/>
                  </a:moveTo>
                  <a:cubicBezTo>
                    <a:pt x="48542" y="63298"/>
                    <a:pt x="25242" y="53202"/>
                    <a:pt x="5825" y="34561"/>
                  </a:cubicBezTo>
                  <a:cubicBezTo>
                    <a:pt x="-1942" y="26795"/>
                    <a:pt x="-1942" y="13592"/>
                    <a:pt x="5825" y="5825"/>
                  </a:cubicBezTo>
                  <a:cubicBezTo>
                    <a:pt x="13592" y="-1942"/>
                    <a:pt x="26795" y="-1942"/>
                    <a:pt x="34562" y="5825"/>
                  </a:cubicBezTo>
                  <a:cubicBezTo>
                    <a:pt x="52425" y="23688"/>
                    <a:pt x="74172" y="26795"/>
                    <a:pt x="82716" y="18252"/>
                  </a:cubicBezTo>
                  <a:cubicBezTo>
                    <a:pt x="90482" y="10485"/>
                    <a:pt x="103686" y="10485"/>
                    <a:pt x="111452" y="18252"/>
                  </a:cubicBezTo>
                  <a:cubicBezTo>
                    <a:pt x="119219" y="26018"/>
                    <a:pt x="119219" y="39222"/>
                    <a:pt x="111452" y="46988"/>
                  </a:cubicBezTo>
                  <a:cubicBezTo>
                    <a:pt x="101356" y="57862"/>
                    <a:pt x="86599" y="63298"/>
                    <a:pt x="70289" y="63298"/>
                  </a:cubicBezTo>
                  <a:lnTo>
                    <a:pt x="70289" y="63298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68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7429823" y="3620518"/>
            <a:ext cx="408050" cy="412472"/>
            <a:chOff x="7735551" y="3821218"/>
            <a:chExt cx="501728" cy="507165"/>
          </a:xfrm>
          <a:solidFill>
            <a:srgbClr val="B1B1A1"/>
          </a:solidFill>
        </p:grpSpPr>
        <p:sp>
          <p:nvSpPr>
            <p:cNvPr id="169" name="Forma Livre: Forma 168">
              <a:extLst>
                <a:ext uri="{FF2B5EF4-FFF2-40B4-BE49-F238E27FC236}">
                  <a16:creationId xmlns:a16="http://schemas.microsoft.com/office/drawing/2014/main" id="{92A83F10-6227-4F55-9E2F-A71CFFE73450}"/>
                </a:ext>
              </a:extLst>
            </p:cNvPr>
            <p:cNvSpPr/>
            <p:nvPr/>
          </p:nvSpPr>
          <p:spPr>
            <a:xfrm>
              <a:off x="7992629" y="3821218"/>
              <a:ext cx="244650" cy="243874"/>
            </a:xfrm>
            <a:custGeom>
              <a:avLst/>
              <a:gdLst>
                <a:gd name="connsiteX0" fmla="*/ 233778 w 244650"/>
                <a:gd name="connsiteY0" fmla="*/ 243875 h 243874"/>
                <a:gd name="connsiteX1" fmla="*/ 223681 w 244650"/>
                <a:gd name="connsiteY1" fmla="*/ 233778 h 243874"/>
                <a:gd name="connsiteX2" fmla="*/ 10097 w 244650"/>
                <a:gd name="connsiteY2" fmla="*/ 20193 h 243874"/>
                <a:gd name="connsiteX3" fmla="*/ 0 w 244650"/>
                <a:gd name="connsiteY3" fmla="*/ 10097 h 243874"/>
                <a:gd name="connsiteX4" fmla="*/ 10097 w 244650"/>
                <a:gd name="connsiteY4" fmla="*/ 0 h 243874"/>
                <a:gd name="connsiteX5" fmla="*/ 244651 w 244650"/>
                <a:gd name="connsiteY5" fmla="*/ 234555 h 243874"/>
                <a:gd name="connsiteX6" fmla="*/ 233778 w 244650"/>
                <a:gd name="connsiteY6" fmla="*/ 243875 h 243874"/>
                <a:gd name="connsiteX7" fmla="*/ 233778 w 244650"/>
                <a:gd name="connsiteY7" fmla="*/ 243875 h 243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4650" h="243874">
                  <a:moveTo>
                    <a:pt x="233778" y="243875"/>
                  </a:moveTo>
                  <a:cubicBezTo>
                    <a:pt x="228341" y="243875"/>
                    <a:pt x="223681" y="239214"/>
                    <a:pt x="223681" y="233778"/>
                  </a:cubicBezTo>
                  <a:cubicBezTo>
                    <a:pt x="223681" y="115724"/>
                    <a:pt x="128150" y="20193"/>
                    <a:pt x="10097" y="20193"/>
                  </a:cubicBezTo>
                  <a:cubicBezTo>
                    <a:pt x="4660" y="20193"/>
                    <a:pt x="0" y="15533"/>
                    <a:pt x="0" y="10097"/>
                  </a:cubicBezTo>
                  <a:cubicBezTo>
                    <a:pt x="0" y="4660"/>
                    <a:pt x="4660" y="0"/>
                    <a:pt x="10097" y="0"/>
                  </a:cubicBezTo>
                  <a:cubicBezTo>
                    <a:pt x="139024" y="0"/>
                    <a:pt x="244651" y="104851"/>
                    <a:pt x="244651" y="234555"/>
                  </a:cubicBezTo>
                  <a:cubicBezTo>
                    <a:pt x="243874" y="239214"/>
                    <a:pt x="239214" y="243875"/>
                    <a:pt x="233778" y="243875"/>
                  </a:cubicBezTo>
                  <a:lnTo>
                    <a:pt x="233778" y="243875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70" name="Forma Livre: Forma 169">
              <a:extLst>
                <a:ext uri="{FF2B5EF4-FFF2-40B4-BE49-F238E27FC236}">
                  <a16:creationId xmlns:a16="http://schemas.microsoft.com/office/drawing/2014/main" id="{EF622B77-AFCB-4B34-AAD9-BCC6458845A1}"/>
                </a:ext>
              </a:extLst>
            </p:cNvPr>
            <p:cNvSpPr/>
            <p:nvPr/>
          </p:nvSpPr>
          <p:spPr>
            <a:xfrm>
              <a:off x="7991852" y="3887235"/>
              <a:ext cx="178634" cy="177857"/>
            </a:xfrm>
            <a:custGeom>
              <a:avLst/>
              <a:gdLst>
                <a:gd name="connsiteX0" fmla="*/ 168538 w 178634"/>
                <a:gd name="connsiteY0" fmla="*/ 177858 h 177857"/>
                <a:gd name="connsiteX1" fmla="*/ 158441 w 178634"/>
                <a:gd name="connsiteY1" fmla="*/ 167761 h 177857"/>
                <a:gd name="connsiteX2" fmla="*/ 10097 w 178634"/>
                <a:gd name="connsiteY2" fmla="*/ 20193 h 177857"/>
                <a:gd name="connsiteX3" fmla="*/ 0 w 178634"/>
                <a:gd name="connsiteY3" fmla="*/ 10097 h 177857"/>
                <a:gd name="connsiteX4" fmla="*/ 10097 w 178634"/>
                <a:gd name="connsiteY4" fmla="*/ 0 h 177857"/>
                <a:gd name="connsiteX5" fmla="*/ 178634 w 178634"/>
                <a:gd name="connsiteY5" fmla="*/ 168538 h 177857"/>
                <a:gd name="connsiteX6" fmla="*/ 168538 w 178634"/>
                <a:gd name="connsiteY6" fmla="*/ 177858 h 177857"/>
                <a:gd name="connsiteX7" fmla="*/ 168538 w 178634"/>
                <a:gd name="connsiteY7" fmla="*/ 177858 h 177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8634" h="177857">
                  <a:moveTo>
                    <a:pt x="168538" y="177858"/>
                  </a:moveTo>
                  <a:cubicBezTo>
                    <a:pt x="163101" y="177858"/>
                    <a:pt x="158441" y="173197"/>
                    <a:pt x="158441" y="167761"/>
                  </a:cubicBezTo>
                  <a:cubicBezTo>
                    <a:pt x="158441" y="86210"/>
                    <a:pt x="92424" y="20193"/>
                    <a:pt x="10097" y="20193"/>
                  </a:cubicBezTo>
                  <a:cubicBezTo>
                    <a:pt x="4660" y="20193"/>
                    <a:pt x="0" y="15533"/>
                    <a:pt x="0" y="10097"/>
                  </a:cubicBezTo>
                  <a:cubicBezTo>
                    <a:pt x="0" y="4660"/>
                    <a:pt x="4660" y="0"/>
                    <a:pt x="10097" y="0"/>
                  </a:cubicBezTo>
                  <a:cubicBezTo>
                    <a:pt x="103298" y="0"/>
                    <a:pt x="178634" y="75337"/>
                    <a:pt x="178634" y="168538"/>
                  </a:cubicBezTo>
                  <a:cubicBezTo>
                    <a:pt x="178634" y="173197"/>
                    <a:pt x="173974" y="177858"/>
                    <a:pt x="168538" y="177858"/>
                  </a:cubicBezTo>
                  <a:lnTo>
                    <a:pt x="168538" y="177858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71" name="Forma Livre: Forma 170">
              <a:extLst>
                <a:ext uri="{FF2B5EF4-FFF2-40B4-BE49-F238E27FC236}">
                  <a16:creationId xmlns:a16="http://schemas.microsoft.com/office/drawing/2014/main" id="{538DF0EC-3319-439D-8BDD-D4C06EB903BA}"/>
                </a:ext>
              </a:extLst>
            </p:cNvPr>
            <p:cNvSpPr/>
            <p:nvPr/>
          </p:nvSpPr>
          <p:spPr>
            <a:xfrm>
              <a:off x="7735551" y="4091111"/>
              <a:ext cx="224846" cy="225622"/>
            </a:xfrm>
            <a:custGeom>
              <a:avLst/>
              <a:gdLst>
                <a:gd name="connsiteX0" fmla="*/ 100191 w 224846"/>
                <a:gd name="connsiteY0" fmla="*/ 225623 h 225622"/>
                <a:gd name="connsiteX1" fmla="*/ 29514 w 224846"/>
                <a:gd name="connsiteY1" fmla="*/ 196109 h 225622"/>
                <a:gd name="connsiteX2" fmla="*/ 0 w 224846"/>
                <a:gd name="connsiteY2" fmla="*/ 125432 h 225622"/>
                <a:gd name="connsiteX3" fmla="*/ 29514 w 224846"/>
                <a:gd name="connsiteY3" fmla="*/ 54755 h 225622"/>
                <a:gd name="connsiteX4" fmla="*/ 78444 w 224846"/>
                <a:gd name="connsiteY4" fmla="*/ 5825 h 225622"/>
                <a:gd name="connsiteX5" fmla="*/ 107181 w 224846"/>
                <a:gd name="connsiteY5" fmla="*/ 5825 h 225622"/>
                <a:gd name="connsiteX6" fmla="*/ 107181 w 224846"/>
                <a:gd name="connsiteY6" fmla="*/ 34562 h 225622"/>
                <a:gd name="connsiteX7" fmla="*/ 58250 w 224846"/>
                <a:gd name="connsiteY7" fmla="*/ 83492 h 225622"/>
                <a:gd name="connsiteX8" fmla="*/ 41164 w 224846"/>
                <a:gd name="connsiteY8" fmla="*/ 125432 h 225622"/>
                <a:gd name="connsiteX9" fmla="*/ 58250 w 224846"/>
                <a:gd name="connsiteY9" fmla="*/ 167372 h 225622"/>
                <a:gd name="connsiteX10" fmla="*/ 141354 w 224846"/>
                <a:gd name="connsiteY10" fmla="*/ 167372 h 225622"/>
                <a:gd name="connsiteX11" fmla="*/ 190284 w 224846"/>
                <a:gd name="connsiteY11" fmla="*/ 118442 h 225622"/>
                <a:gd name="connsiteX12" fmla="*/ 219021 w 224846"/>
                <a:gd name="connsiteY12" fmla="*/ 118442 h 225622"/>
                <a:gd name="connsiteX13" fmla="*/ 219021 w 224846"/>
                <a:gd name="connsiteY13" fmla="*/ 147179 h 225622"/>
                <a:gd name="connsiteX14" fmla="*/ 170091 w 224846"/>
                <a:gd name="connsiteY14" fmla="*/ 196109 h 225622"/>
                <a:gd name="connsiteX15" fmla="*/ 100191 w 224846"/>
                <a:gd name="connsiteY15" fmla="*/ 225623 h 225622"/>
                <a:gd name="connsiteX16" fmla="*/ 100191 w 224846"/>
                <a:gd name="connsiteY16" fmla="*/ 225623 h 225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4846" h="225622">
                  <a:moveTo>
                    <a:pt x="100191" y="225623"/>
                  </a:moveTo>
                  <a:cubicBezTo>
                    <a:pt x="73784" y="225623"/>
                    <a:pt x="48154" y="215526"/>
                    <a:pt x="29514" y="196109"/>
                  </a:cubicBezTo>
                  <a:cubicBezTo>
                    <a:pt x="10874" y="177469"/>
                    <a:pt x="0" y="151839"/>
                    <a:pt x="0" y="125432"/>
                  </a:cubicBezTo>
                  <a:cubicBezTo>
                    <a:pt x="0" y="99025"/>
                    <a:pt x="10097" y="73395"/>
                    <a:pt x="29514" y="54755"/>
                  </a:cubicBezTo>
                  <a:lnTo>
                    <a:pt x="78444" y="5825"/>
                  </a:lnTo>
                  <a:cubicBezTo>
                    <a:pt x="86211" y="-1942"/>
                    <a:pt x="99414" y="-1942"/>
                    <a:pt x="107181" y="5825"/>
                  </a:cubicBezTo>
                  <a:cubicBezTo>
                    <a:pt x="114948" y="13592"/>
                    <a:pt x="114948" y="26795"/>
                    <a:pt x="107181" y="34562"/>
                  </a:cubicBezTo>
                  <a:lnTo>
                    <a:pt x="58250" y="83492"/>
                  </a:lnTo>
                  <a:cubicBezTo>
                    <a:pt x="47377" y="94366"/>
                    <a:pt x="41164" y="109122"/>
                    <a:pt x="41164" y="125432"/>
                  </a:cubicBezTo>
                  <a:cubicBezTo>
                    <a:pt x="41164" y="140966"/>
                    <a:pt x="47377" y="155722"/>
                    <a:pt x="58250" y="167372"/>
                  </a:cubicBezTo>
                  <a:cubicBezTo>
                    <a:pt x="80774" y="189896"/>
                    <a:pt x="119607" y="189896"/>
                    <a:pt x="141354" y="167372"/>
                  </a:cubicBezTo>
                  <a:lnTo>
                    <a:pt x="190284" y="118442"/>
                  </a:lnTo>
                  <a:cubicBezTo>
                    <a:pt x="198051" y="110676"/>
                    <a:pt x="211254" y="110676"/>
                    <a:pt x="219021" y="118442"/>
                  </a:cubicBezTo>
                  <a:cubicBezTo>
                    <a:pt x="226788" y="126209"/>
                    <a:pt x="226788" y="139412"/>
                    <a:pt x="219021" y="147179"/>
                  </a:cubicBezTo>
                  <a:lnTo>
                    <a:pt x="170091" y="196109"/>
                  </a:lnTo>
                  <a:cubicBezTo>
                    <a:pt x="152228" y="215526"/>
                    <a:pt x="126598" y="225623"/>
                    <a:pt x="100191" y="225623"/>
                  </a:cubicBezTo>
                  <a:lnTo>
                    <a:pt x="100191" y="225623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72" name="Forma Livre: Forma 171">
              <a:extLst>
                <a:ext uri="{FF2B5EF4-FFF2-40B4-BE49-F238E27FC236}">
                  <a16:creationId xmlns:a16="http://schemas.microsoft.com/office/drawing/2014/main" id="{7D64D2B0-BC05-451E-9FBF-B1EE375C0F90}"/>
                </a:ext>
              </a:extLst>
            </p:cNvPr>
            <p:cNvSpPr/>
            <p:nvPr/>
          </p:nvSpPr>
          <p:spPr>
            <a:xfrm>
              <a:off x="7800180" y="3888012"/>
              <a:ext cx="364869" cy="364258"/>
            </a:xfrm>
            <a:custGeom>
              <a:avLst/>
              <a:gdLst>
                <a:gd name="connsiteX0" fmla="*/ 155945 w 364869"/>
                <a:gd name="connsiteY0" fmla="*/ 364258 h 364258"/>
                <a:gd name="connsiteX1" fmla="*/ 138859 w 364869"/>
                <a:gd name="connsiteY1" fmla="*/ 354938 h 364258"/>
                <a:gd name="connsiteX2" fmla="*/ 9154 w 364869"/>
                <a:gd name="connsiteY2" fmla="*/ 225234 h 364258"/>
                <a:gd name="connsiteX3" fmla="*/ 2165 w 364869"/>
                <a:gd name="connsiteY3" fmla="*/ 198828 h 364258"/>
                <a:gd name="connsiteX4" fmla="*/ 92258 w 364869"/>
                <a:gd name="connsiteY4" fmla="*/ 11650 h 364258"/>
                <a:gd name="connsiteX5" fmla="*/ 105462 w 364869"/>
                <a:gd name="connsiteY5" fmla="*/ 777 h 364258"/>
                <a:gd name="connsiteX6" fmla="*/ 122549 w 364869"/>
                <a:gd name="connsiteY6" fmla="*/ 3107 h 364258"/>
                <a:gd name="connsiteX7" fmla="*/ 361763 w 364869"/>
                <a:gd name="connsiteY7" fmla="*/ 242321 h 364258"/>
                <a:gd name="connsiteX8" fmla="*/ 364093 w 364869"/>
                <a:gd name="connsiteY8" fmla="*/ 259408 h 364258"/>
                <a:gd name="connsiteX9" fmla="*/ 353220 w 364869"/>
                <a:gd name="connsiteY9" fmla="*/ 272611 h 364258"/>
                <a:gd name="connsiteX10" fmla="*/ 166042 w 364869"/>
                <a:gd name="connsiteY10" fmla="*/ 362705 h 364258"/>
                <a:gd name="connsiteX11" fmla="*/ 155945 w 364869"/>
                <a:gd name="connsiteY11" fmla="*/ 364258 h 364258"/>
                <a:gd name="connsiteX12" fmla="*/ 155945 w 364869"/>
                <a:gd name="connsiteY12" fmla="*/ 364258 h 364258"/>
                <a:gd name="connsiteX13" fmla="*/ 46435 w 364869"/>
                <a:gd name="connsiteY13" fmla="*/ 201158 h 364258"/>
                <a:gd name="connsiteX14" fmla="*/ 162936 w 364869"/>
                <a:gd name="connsiteY14" fmla="*/ 317658 h 364258"/>
                <a:gd name="connsiteX15" fmla="*/ 312832 w 364869"/>
                <a:gd name="connsiteY15" fmla="*/ 245428 h 364258"/>
                <a:gd name="connsiteX16" fmla="*/ 118665 w 364869"/>
                <a:gd name="connsiteY16" fmla="*/ 51260 h 364258"/>
                <a:gd name="connsiteX17" fmla="*/ 46435 w 364869"/>
                <a:gd name="connsiteY17" fmla="*/ 201158 h 364258"/>
                <a:gd name="connsiteX18" fmla="*/ 46435 w 364869"/>
                <a:gd name="connsiteY18" fmla="*/ 201158 h 364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64869" h="364258">
                  <a:moveTo>
                    <a:pt x="155945" y="364258"/>
                  </a:moveTo>
                  <a:cubicBezTo>
                    <a:pt x="148955" y="364258"/>
                    <a:pt x="142742" y="361152"/>
                    <a:pt x="138859" y="354938"/>
                  </a:cubicBezTo>
                  <a:cubicBezTo>
                    <a:pt x="104685" y="302901"/>
                    <a:pt x="61192" y="259408"/>
                    <a:pt x="9154" y="225234"/>
                  </a:cubicBezTo>
                  <a:cubicBezTo>
                    <a:pt x="611" y="219798"/>
                    <a:pt x="-2496" y="208148"/>
                    <a:pt x="2165" y="198828"/>
                  </a:cubicBezTo>
                  <a:lnTo>
                    <a:pt x="92258" y="11650"/>
                  </a:lnTo>
                  <a:cubicBezTo>
                    <a:pt x="94588" y="6213"/>
                    <a:pt x="99249" y="2330"/>
                    <a:pt x="105462" y="777"/>
                  </a:cubicBezTo>
                  <a:cubicBezTo>
                    <a:pt x="110899" y="-777"/>
                    <a:pt x="117112" y="0"/>
                    <a:pt x="122549" y="3107"/>
                  </a:cubicBezTo>
                  <a:cubicBezTo>
                    <a:pt x="218079" y="66017"/>
                    <a:pt x="298853" y="146014"/>
                    <a:pt x="361763" y="242321"/>
                  </a:cubicBezTo>
                  <a:cubicBezTo>
                    <a:pt x="364870" y="246981"/>
                    <a:pt x="365646" y="253195"/>
                    <a:pt x="364093" y="259408"/>
                  </a:cubicBezTo>
                  <a:cubicBezTo>
                    <a:pt x="362540" y="264845"/>
                    <a:pt x="358656" y="269505"/>
                    <a:pt x="353220" y="272611"/>
                  </a:cubicBezTo>
                  <a:lnTo>
                    <a:pt x="166042" y="362705"/>
                  </a:lnTo>
                  <a:cubicBezTo>
                    <a:pt x="162159" y="363482"/>
                    <a:pt x="159052" y="364258"/>
                    <a:pt x="155945" y="364258"/>
                  </a:cubicBezTo>
                  <a:lnTo>
                    <a:pt x="155945" y="364258"/>
                  </a:lnTo>
                  <a:close/>
                  <a:moveTo>
                    <a:pt x="46435" y="201158"/>
                  </a:moveTo>
                  <a:cubicBezTo>
                    <a:pt x="91482" y="233001"/>
                    <a:pt x="131092" y="272611"/>
                    <a:pt x="162936" y="317658"/>
                  </a:cubicBezTo>
                  <a:lnTo>
                    <a:pt x="312832" y="245428"/>
                  </a:lnTo>
                  <a:cubicBezTo>
                    <a:pt x="260019" y="169314"/>
                    <a:pt x="194779" y="104074"/>
                    <a:pt x="118665" y="51260"/>
                  </a:cubicBezTo>
                  <a:lnTo>
                    <a:pt x="46435" y="201158"/>
                  </a:lnTo>
                  <a:lnTo>
                    <a:pt x="46435" y="201158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73" name="Forma Livre: Forma 172">
              <a:extLst>
                <a:ext uri="{FF2B5EF4-FFF2-40B4-BE49-F238E27FC236}">
                  <a16:creationId xmlns:a16="http://schemas.microsoft.com/office/drawing/2014/main" id="{BA37F207-C6EB-4CCB-802B-4111687C2C06}"/>
                </a:ext>
              </a:extLst>
            </p:cNvPr>
            <p:cNvSpPr/>
            <p:nvPr/>
          </p:nvSpPr>
          <p:spPr>
            <a:xfrm>
              <a:off x="7878070" y="4265085"/>
              <a:ext cx="117277" cy="63298"/>
            </a:xfrm>
            <a:custGeom>
              <a:avLst/>
              <a:gdLst>
                <a:gd name="connsiteX0" fmla="*/ 70289 w 117277"/>
                <a:gd name="connsiteY0" fmla="*/ 63298 h 63298"/>
                <a:gd name="connsiteX1" fmla="*/ 5825 w 117277"/>
                <a:gd name="connsiteY1" fmla="*/ 34561 h 63298"/>
                <a:gd name="connsiteX2" fmla="*/ 5825 w 117277"/>
                <a:gd name="connsiteY2" fmla="*/ 5825 h 63298"/>
                <a:gd name="connsiteX3" fmla="*/ 34562 w 117277"/>
                <a:gd name="connsiteY3" fmla="*/ 5825 h 63298"/>
                <a:gd name="connsiteX4" fmla="*/ 82715 w 117277"/>
                <a:gd name="connsiteY4" fmla="*/ 18252 h 63298"/>
                <a:gd name="connsiteX5" fmla="*/ 111452 w 117277"/>
                <a:gd name="connsiteY5" fmla="*/ 18252 h 63298"/>
                <a:gd name="connsiteX6" fmla="*/ 111452 w 117277"/>
                <a:gd name="connsiteY6" fmla="*/ 46988 h 63298"/>
                <a:gd name="connsiteX7" fmla="*/ 70289 w 117277"/>
                <a:gd name="connsiteY7" fmla="*/ 63298 h 63298"/>
                <a:gd name="connsiteX8" fmla="*/ 70289 w 117277"/>
                <a:gd name="connsiteY8" fmla="*/ 63298 h 63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7277" h="63298">
                  <a:moveTo>
                    <a:pt x="70289" y="63298"/>
                  </a:moveTo>
                  <a:cubicBezTo>
                    <a:pt x="48542" y="63298"/>
                    <a:pt x="25242" y="53202"/>
                    <a:pt x="5825" y="34561"/>
                  </a:cubicBezTo>
                  <a:cubicBezTo>
                    <a:pt x="-1942" y="26795"/>
                    <a:pt x="-1942" y="13592"/>
                    <a:pt x="5825" y="5825"/>
                  </a:cubicBezTo>
                  <a:cubicBezTo>
                    <a:pt x="13592" y="-1942"/>
                    <a:pt x="26795" y="-1942"/>
                    <a:pt x="34562" y="5825"/>
                  </a:cubicBezTo>
                  <a:cubicBezTo>
                    <a:pt x="52425" y="23688"/>
                    <a:pt x="74172" y="26795"/>
                    <a:pt x="82715" y="18252"/>
                  </a:cubicBezTo>
                  <a:cubicBezTo>
                    <a:pt x="90482" y="10485"/>
                    <a:pt x="103685" y="10485"/>
                    <a:pt x="111452" y="18252"/>
                  </a:cubicBezTo>
                  <a:cubicBezTo>
                    <a:pt x="119219" y="26018"/>
                    <a:pt x="119219" y="39222"/>
                    <a:pt x="111452" y="46988"/>
                  </a:cubicBezTo>
                  <a:cubicBezTo>
                    <a:pt x="101355" y="57862"/>
                    <a:pt x="86598" y="63298"/>
                    <a:pt x="70289" y="63298"/>
                  </a:cubicBezTo>
                  <a:lnTo>
                    <a:pt x="70289" y="63298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74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5401295" y="3634825"/>
            <a:ext cx="374086" cy="374162"/>
            <a:chOff x="5241322" y="3838810"/>
            <a:chExt cx="459967" cy="460060"/>
          </a:xfrm>
          <a:solidFill>
            <a:srgbClr val="B1B1A1"/>
          </a:solidFill>
        </p:grpSpPr>
        <p:sp>
          <p:nvSpPr>
            <p:cNvPr id="175" name="Forma Livre: Forma 174">
              <a:extLst>
                <a:ext uri="{FF2B5EF4-FFF2-40B4-BE49-F238E27FC236}">
                  <a16:creationId xmlns:a16="http://schemas.microsoft.com/office/drawing/2014/main" id="{0F9F28FC-F09B-454B-A92E-F37E6491F9AC}"/>
                </a:ext>
              </a:extLst>
            </p:cNvPr>
            <p:cNvSpPr/>
            <p:nvPr/>
          </p:nvSpPr>
          <p:spPr>
            <a:xfrm>
              <a:off x="5241322" y="3838810"/>
              <a:ext cx="459967" cy="460060"/>
            </a:xfrm>
            <a:custGeom>
              <a:avLst/>
              <a:gdLst>
                <a:gd name="connsiteX0" fmla="*/ 303242 w 459967"/>
                <a:gd name="connsiteY0" fmla="*/ 460061 h 460060"/>
                <a:gd name="connsiteX1" fmla="*/ 285378 w 459967"/>
                <a:gd name="connsiteY1" fmla="*/ 449964 h 460060"/>
                <a:gd name="connsiteX2" fmla="*/ 180528 w 459967"/>
                <a:gd name="connsiteY2" fmla="*/ 279097 h 460060"/>
                <a:gd name="connsiteX3" fmla="*/ 9660 w 459967"/>
                <a:gd name="connsiteY3" fmla="*/ 174246 h 460060"/>
                <a:gd name="connsiteX4" fmla="*/ 340 w 459967"/>
                <a:gd name="connsiteY4" fmla="*/ 154052 h 460060"/>
                <a:gd name="connsiteX5" fmla="*/ 14320 w 459967"/>
                <a:gd name="connsiteY5" fmla="*/ 136966 h 460060"/>
                <a:gd name="connsiteX6" fmla="*/ 432946 w 459967"/>
                <a:gd name="connsiteY6" fmla="*/ 1048 h 460060"/>
                <a:gd name="connsiteX7" fmla="*/ 453916 w 459967"/>
                <a:gd name="connsiteY7" fmla="*/ 5709 h 460060"/>
                <a:gd name="connsiteX8" fmla="*/ 458576 w 459967"/>
                <a:gd name="connsiteY8" fmla="*/ 26679 h 460060"/>
                <a:gd name="connsiteX9" fmla="*/ 322658 w 459967"/>
                <a:gd name="connsiteY9" fmla="*/ 446081 h 460060"/>
                <a:gd name="connsiteX10" fmla="*/ 305571 w 459967"/>
                <a:gd name="connsiteY10" fmla="*/ 460061 h 460060"/>
                <a:gd name="connsiteX11" fmla="*/ 303242 w 459967"/>
                <a:gd name="connsiteY11" fmla="*/ 460061 h 460060"/>
                <a:gd name="connsiteX12" fmla="*/ 303242 w 459967"/>
                <a:gd name="connsiteY12" fmla="*/ 460061 h 460060"/>
                <a:gd name="connsiteX13" fmla="*/ 69464 w 459967"/>
                <a:gd name="connsiteY13" fmla="*/ 163373 h 460060"/>
                <a:gd name="connsiteX14" fmla="*/ 206934 w 459967"/>
                <a:gd name="connsiteY14" fmla="*/ 247253 h 460060"/>
                <a:gd name="connsiteX15" fmla="*/ 213924 w 459967"/>
                <a:gd name="connsiteY15" fmla="*/ 254243 h 460060"/>
                <a:gd name="connsiteX16" fmla="*/ 297805 w 459967"/>
                <a:gd name="connsiteY16" fmla="*/ 391714 h 460060"/>
                <a:gd name="connsiteX17" fmla="*/ 407316 w 459967"/>
                <a:gd name="connsiteY17" fmla="*/ 53862 h 460060"/>
                <a:gd name="connsiteX18" fmla="*/ 69464 w 459967"/>
                <a:gd name="connsiteY18" fmla="*/ 163373 h 460060"/>
                <a:gd name="connsiteX19" fmla="*/ 69464 w 459967"/>
                <a:gd name="connsiteY19" fmla="*/ 163373 h 460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59967" h="460060">
                  <a:moveTo>
                    <a:pt x="303242" y="460061"/>
                  </a:moveTo>
                  <a:cubicBezTo>
                    <a:pt x="296251" y="460061"/>
                    <a:pt x="289262" y="456177"/>
                    <a:pt x="285378" y="449964"/>
                  </a:cubicBezTo>
                  <a:lnTo>
                    <a:pt x="180528" y="279097"/>
                  </a:lnTo>
                  <a:lnTo>
                    <a:pt x="9660" y="174246"/>
                  </a:lnTo>
                  <a:cubicBezTo>
                    <a:pt x="2670" y="170363"/>
                    <a:pt x="-1213" y="162596"/>
                    <a:pt x="340" y="154052"/>
                  </a:cubicBezTo>
                  <a:cubicBezTo>
                    <a:pt x="1117" y="146286"/>
                    <a:pt x="6553" y="139296"/>
                    <a:pt x="14320" y="136966"/>
                  </a:cubicBezTo>
                  <a:lnTo>
                    <a:pt x="432946" y="1048"/>
                  </a:lnTo>
                  <a:cubicBezTo>
                    <a:pt x="439935" y="-1281"/>
                    <a:pt x="448479" y="272"/>
                    <a:pt x="453916" y="5709"/>
                  </a:cubicBezTo>
                  <a:cubicBezTo>
                    <a:pt x="459352" y="11145"/>
                    <a:pt x="461682" y="18912"/>
                    <a:pt x="458576" y="26679"/>
                  </a:cubicBezTo>
                  <a:lnTo>
                    <a:pt x="322658" y="446081"/>
                  </a:lnTo>
                  <a:cubicBezTo>
                    <a:pt x="320328" y="453847"/>
                    <a:pt x="313338" y="459284"/>
                    <a:pt x="305571" y="460061"/>
                  </a:cubicBezTo>
                  <a:cubicBezTo>
                    <a:pt x="304795" y="460061"/>
                    <a:pt x="304018" y="460061"/>
                    <a:pt x="303242" y="460061"/>
                  </a:cubicBezTo>
                  <a:lnTo>
                    <a:pt x="303242" y="460061"/>
                  </a:lnTo>
                  <a:close/>
                  <a:moveTo>
                    <a:pt x="69464" y="163373"/>
                  </a:moveTo>
                  <a:lnTo>
                    <a:pt x="206934" y="247253"/>
                  </a:lnTo>
                  <a:cubicBezTo>
                    <a:pt x="210041" y="248806"/>
                    <a:pt x="212371" y="251136"/>
                    <a:pt x="213924" y="254243"/>
                  </a:cubicBezTo>
                  <a:lnTo>
                    <a:pt x="297805" y="391714"/>
                  </a:lnTo>
                  <a:lnTo>
                    <a:pt x="407316" y="53862"/>
                  </a:lnTo>
                  <a:lnTo>
                    <a:pt x="69464" y="163373"/>
                  </a:lnTo>
                  <a:lnTo>
                    <a:pt x="69464" y="163373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76" name="Forma Livre: Forma 175">
              <a:extLst>
                <a:ext uri="{FF2B5EF4-FFF2-40B4-BE49-F238E27FC236}">
                  <a16:creationId xmlns:a16="http://schemas.microsoft.com/office/drawing/2014/main" id="{68939097-C9EF-41F8-B8E6-AD9EE91B1793}"/>
                </a:ext>
              </a:extLst>
            </p:cNvPr>
            <p:cNvSpPr/>
            <p:nvPr/>
          </p:nvSpPr>
          <p:spPr>
            <a:xfrm>
              <a:off x="5416801" y="3840247"/>
              <a:ext cx="283484" cy="283872"/>
            </a:xfrm>
            <a:custGeom>
              <a:avLst/>
              <a:gdLst>
                <a:gd name="connsiteX0" fmla="*/ 20582 w 283484"/>
                <a:gd name="connsiteY0" fmla="*/ 283873 h 283872"/>
                <a:gd name="connsiteX1" fmla="*/ 5825 w 283484"/>
                <a:gd name="connsiteY1" fmla="*/ 277660 h 283872"/>
                <a:gd name="connsiteX2" fmla="*/ 5825 w 283484"/>
                <a:gd name="connsiteY2" fmla="*/ 248923 h 283872"/>
                <a:gd name="connsiteX3" fmla="*/ 248923 w 283484"/>
                <a:gd name="connsiteY3" fmla="*/ 5825 h 283872"/>
                <a:gd name="connsiteX4" fmla="*/ 277660 w 283484"/>
                <a:gd name="connsiteY4" fmla="*/ 5825 h 283872"/>
                <a:gd name="connsiteX5" fmla="*/ 277660 w 283484"/>
                <a:gd name="connsiteY5" fmla="*/ 34562 h 283872"/>
                <a:gd name="connsiteX6" fmla="*/ 34562 w 283484"/>
                <a:gd name="connsiteY6" fmla="*/ 277660 h 283872"/>
                <a:gd name="connsiteX7" fmla="*/ 20582 w 283484"/>
                <a:gd name="connsiteY7" fmla="*/ 283873 h 283872"/>
                <a:gd name="connsiteX8" fmla="*/ 20582 w 283484"/>
                <a:gd name="connsiteY8" fmla="*/ 283873 h 283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3484" h="283872">
                  <a:moveTo>
                    <a:pt x="20582" y="283873"/>
                  </a:moveTo>
                  <a:cubicBezTo>
                    <a:pt x="15145" y="283873"/>
                    <a:pt x="9708" y="281543"/>
                    <a:pt x="5825" y="277660"/>
                  </a:cubicBezTo>
                  <a:cubicBezTo>
                    <a:pt x="-1942" y="269893"/>
                    <a:pt x="-1942" y="256689"/>
                    <a:pt x="5825" y="248923"/>
                  </a:cubicBezTo>
                  <a:lnTo>
                    <a:pt x="248923" y="5825"/>
                  </a:lnTo>
                  <a:cubicBezTo>
                    <a:pt x="256689" y="-1942"/>
                    <a:pt x="269893" y="-1942"/>
                    <a:pt x="277660" y="5825"/>
                  </a:cubicBezTo>
                  <a:cubicBezTo>
                    <a:pt x="285426" y="13592"/>
                    <a:pt x="285426" y="26795"/>
                    <a:pt x="277660" y="34562"/>
                  </a:cubicBezTo>
                  <a:lnTo>
                    <a:pt x="34562" y="277660"/>
                  </a:lnTo>
                  <a:cubicBezTo>
                    <a:pt x="30679" y="281543"/>
                    <a:pt x="25242" y="283873"/>
                    <a:pt x="20582" y="283873"/>
                  </a:cubicBezTo>
                  <a:lnTo>
                    <a:pt x="20582" y="283873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77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4421870" y="3619255"/>
            <a:ext cx="280455" cy="406787"/>
            <a:chOff x="4037046" y="3819665"/>
            <a:chExt cx="344841" cy="500175"/>
          </a:xfrm>
          <a:solidFill>
            <a:srgbClr val="B1B1A1"/>
          </a:solidFill>
        </p:grpSpPr>
        <p:sp>
          <p:nvSpPr>
            <p:cNvPr id="178" name="Forma Livre: Forma 177">
              <a:extLst>
                <a:ext uri="{FF2B5EF4-FFF2-40B4-BE49-F238E27FC236}">
                  <a16:creationId xmlns:a16="http://schemas.microsoft.com/office/drawing/2014/main" id="{28F06ABE-A0BE-4E42-8FE3-69A981D686CC}"/>
                </a:ext>
              </a:extLst>
            </p:cNvPr>
            <p:cNvSpPr/>
            <p:nvPr/>
          </p:nvSpPr>
          <p:spPr>
            <a:xfrm>
              <a:off x="4037046" y="3819665"/>
              <a:ext cx="344841" cy="409305"/>
            </a:xfrm>
            <a:custGeom>
              <a:avLst/>
              <a:gdLst>
                <a:gd name="connsiteX0" fmla="*/ 250088 w 344841"/>
                <a:gd name="connsiteY0" fmla="*/ 409305 h 409305"/>
                <a:gd name="connsiteX1" fmla="*/ 95531 w 344841"/>
                <a:gd name="connsiteY1" fmla="*/ 409305 h 409305"/>
                <a:gd name="connsiteX2" fmla="*/ 80774 w 344841"/>
                <a:gd name="connsiteY2" fmla="*/ 403092 h 409305"/>
                <a:gd name="connsiteX3" fmla="*/ 75337 w 344841"/>
                <a:gd name="connsiteY3" fmla="*/ 387559 h 409305"/>
                <a:gd name="connsiteX4" fmla="*/ 65240 w 344841"/>
                <a:gd name="connsiteY4" fmla="*/ 333968 h 409305"/>
                <a:gd name="connsiteX5" fmla="*/ 0 w 344841"/>
                <a:gd name="connsiteY5" fmla="*/ 172421 h 409305"/>
                <a:gd name="connsiteX6" fmla="*/ 172421 w 344841"/>
                <a:gd name="connsiteY6" fmla="*/ 0 h 409305"/>
                <a:gd name="connsiteX7" fmla="*/ 344842 w 344841"/>
                <a:gd name="connsiteY7" fmla="*/ 172421 h 409305"/>
                <a:gd name="connsiteX8" fmla="*/ 279602 w 344841"/>
                <a:gd name="connsiteY8" fmla="*/ 333968 h 409305"/>
                <a:gd name="connsiteX9" fmla="*/ 270281 w 344841"/>
                <a:gd name="connsiteY9" fmla="*/ 386782 h 409305"/>
                <a:gd name="connsiteX10" fmla="*/ 264845 w 344841"/>
                <a:gd name="connsiteY10" fmla="*/ 402315 h 409305"/>
                <a:gd name="connsiteX11" fmla="*/ 250088 w 344841"/>
                <a:gd name="connsiteY11" fmla="*/ 409305 h 409305"/>
                <a:gd name="connsiteX12" fmla="*/ 250088 w 344841"/>
                <a:gd name="connsiteY12" fmla="*/ 409305 h 409305"/>
                <a:gd name="connsiteX13" fmla="*/ 115724 w 344841"/>
                <a:gd name="connsiteY13" fmla="*/ 368142 h 409305"/>
                <a:gd name="connsiteX14" fmla="*/ 229895 w 344841"/>
                <a:gd name="connsiteY14" fmla="*/ 368142 h 409305"/>
                <a:gd name="connsiteX15" fmla="*/ 247758 w 344841"/>
                <a:gd name="connsiteY15" fmla="*/ 309115 h 409305"/>
                <a:gd name="connsiteX16" fmla="*/ 304455 w 344841"/>
                <a:gd name="connsiteY16" fmla="*/ 172421 h 409305"/>
                <a:gd name="connsiteX17" fmla="*/ 173198 w 344841"/>
                <a:gd name="connsiteY17" fmla="*/ 41164 h 409305"/>
                <a:gd name="connsiteX18" fmla="*/ 41940 w 344841"/>
                <a:gd name="connsiteY18" fmla="*/ 172421 h 409305"/>
                <a:gd name="connsiteX19" fmla="*/ 98637 w 344841"/>
                <a:gd name="connsiteY19" fmla="*/ 309115 h 409305"/>
                <a:gd name="connsiteX20" fmla="*/ 115724 w 344841"/>
                <a:gd name="connsiteY20" fmla="*/ 368142 h 409305"/>
                <a:gd name="connsiteX21" fmla="*/ 115724 w 344841"/>
                <a:gd name="connsiteY21" fmla="*/ 368142 h 409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44841" h="409305">
                  <a:moveTo>
                    <a:pt x="250088" y="409305"/>
                  </a:moveTo>
                  <a:lnTo>
                    <a:pt x="95531" y="409305"/>
                  </a:lnTo>
                  <a:cubicBezTo>
                    <a:pt x="90094" y="409305"/>
                    <a:pt x="84657" y="406976"/>
                    <a:pt x="80774" y="403092"/>
                  </a:cubicBezTo>
                  <a:cubicBezTo>
                    <a:pt x="76890" y="399209"/>
                    <a:pt x="74560" y="393772"/>
                    <a:pt x="75337" y="387559"/>
                  </a:cubicBezTo>
                  <a:cubicBezTo>
                    <a:pt x="76114" y="372802"/>
                    <a:pt x="74560" y="345618"/>
                    <a:pt x="65240" y="333968"/>
                  </a:cubicBezTo>
                  <a:cubicBezTo>
                    <a:pt x="777" y="250864"/>
                    <a:pt x="0" y="173197"/>
                    <a:pt x="0" y="172421"/>
                  </a:cubicBezTo>
                  <a:cubicBezTo>
                    <a:pt x="0" y="76891"/>
                    <a:pt x="77667" y="0"/>
                    <a:pt x="172421" y="0"/>
                  </a:cubicBezTo>
                  <a:cubicBezTo>
                    <a:pt x="267952" y="0"/>
                    <a:pt x="344842" y="77667"/>
                    <a:pt x="344842" y="172421"/>
                  </a:cubicBezTo>
                  <a:cubicBezTo>
                    <a:pt x="344842" y="173197"/>
                    <a:pt x="344065" y="250864"/>
                    <a:pt x="279602" y="333968"/>
                  </a:cubicBezTo>
                  <a:cubicBezTo>
                    <a:pt x="271058" y="345618"/>
                    <a:pt x="269505" y="375132"/>
                    <a:pt x="270281" y="386782"/>
                  </a:cubicBezTo>
                  <a:cubicBezTo>
                    <a:pt x="271058" y="392219"/>
                    <a:pt x="268728" y="398432"/>
                    <a:pt x="264845" y="402315"/>
                  </a:cubicBezTo>
                  <a:cubicBezTo>
                    <a:pt x="260961" y="406976"/>
                    <a:pt x="255525" y="409305"/>
                    <a:pt x="250088" y="409305"/>
                  </a:cubicBezTo>
                  <a:lnTo>
                    <a:pt x="250088" y="409305"/>
                  </a:lnTo>
                  <a:close/>
                  <a:moveTo>
                    <a:pt x="115724" y="368142"/>
                  </a:moveTo>
                  <a:lnTo>
                    <a:pt x="229895" y="368142"/>
                  </a:lnTo>
                  <a:cubicBezTo>
                    <a:pt x="230671" y="350279"/>
                    <a:pt x="234554" y="326202"/>
                    <a:pt x="247758" y="309115"/>
                  </a:cubicBezTo>
                  <a:cubicBezTo>
                    <a:pt x="302125" y="239214"/>
                    <a:pt x="304455" y="173197"/>
                    <a:pt x="304455" y="172421"/>
                  </a:cubicBezTo>
                  <a:cubicBezTo>
                    <a:pt x="304455" y="100191"/>
                    <a:pt x="245428" y="41164"/>
                    <a:pt x="173198" y="41164"/>
                  </a:cubicBezTo>
                  <a:cubicBezTo>
                    <a:pt x="100967" y="41164"/>
                    <a:pt x="41940" y="100191"/>
                    <a:pt x="41940" y="172421"/>
                  </a:cubicBezTo>
                  <a:cubicBezTo>
                    <a:pt x="41940" y="173197"/>
                    <a:pt x="44270" y="239214"/>
                    <a:pt x="98637" y="309115"/>
                  </a:cubicBezTo>
                  <a:cubicBezTo>
                    <a:pt x="110287" y="325425"/>
                    <a:pt x="114170" y="350279"/>
                    <a:pt x="115724" y="368142"/>
                  </a:cubicBezTo>
                  <a:lnTo>
                    <a:pt x="115724" y="368142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79" name="Forma Livre: Forma 178">
              <a:extLst>
                <a:ext uri="{FF2B5EF4-FFF2-40B4-BE49-F238E27FC236}">
                  <a16:creationId xmlns:a16="http://schemas.microsoft.com/office/drawing/2014/main" id="{90ADC8B6-41FF-4F33-8DCF-D630E10284B8}"/>
                </a:ext>
              </a:extLst>
            </p:cNvPr>
            <p:cNvSpPr/>
            <p:nvPr/>
          </p:nvSpPr>
          <p:spPr>
            <a:xfrm>
              <a:off x="4108500" y="4234407"/>
              <a:ext cx="201934" cy="40386"/>
            </a:xfrm>
            <a:custGeom>
              <a:avLst/>
              <a:gdLst>
                <a:gd name="connsiteX0" fmla="*/ 181741 w 201934"/>
                <a:gd name="connsiteY0" fmla="*/ 40387 h 40386"/>
                <a:gd name="connsiteX1" fmla="*/ 20193 w 201934"/>
                <a:gd name="connsiteY1" fmla="*/ 40387 h 40386"/>
                <a:gd name="connsiteX2" fmla="*/ 0 w 201934"/>
                <a:gd name="connsiteY2" fmla="*/ 20193 h 40386"/>
                <a:gd name="connsiteX3" fmla="*/ 20193 w 201934"/>
                <a:gd name="connsiteY3" fmla="*/ 0 h 40386"/>
                <a:gd name="connsiteX4" fmla="*/ 181741 w 201934"/>
                <a:gd name="connsiteY4" fmla="*/ 0 h 40386"/>
                <a:gd name="connsiteX5" fmla="*/ 201934 w 201934"/>
                <a:gd name="connsiteY5" fmla="*/ 20193 h 40386"/>
                <a:gd name="connsiteX6" fmla="*/ 181741 w 201934"/>
                <a:gd name="connsiteY6" fmla="*/ 40387 h 40386"/>
                <a:gd name="connsiteX7" fmla="*/ 181741 w 201934"/>
                <a:gd name="connsiteY7" fmla="*/ 40387 h 4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934" h="40386">
                  <a:moveTo>
                    <a:pt x="181741" y="40387"/>
                  </a:moveTo>
                  <a:lnTo>
                    <a:pt x="20193" y="40387"/>
                  </a:lnTo>
                  <a:cubicBezTo>
                    <a:pt x="8543" y="40387"/>
                    <a:pt x="0" y="31067"/>
                    <a:pt x="0" y="20193"/>
                  </a:cubicBezTo>
                  <a:cubicBezTo>
                    <a:pt x="0" y="8543"/>
                    <a:pt x="9320" y="0"/>
                    <a:pt x="20193" y="0"/>
                  </a:cubicBezTo>
                  <a:lnTo>
                    <a:pt x="181741" y="0"/>
                  </a:lnTo>
                  <a:cubicBezTo>
                    <a:pt x="193391" y="0"/>
                    <a:pt x="201934" y="9320"/>
                    <a:pt x="201934" y="20193"/>
                  </a:cubicBezTo>
                  <a:cubicBezTo>
                    <a:pt x="201934" y="31067"/>
                    <a:pt x="192614" y="40387"/>
                    <a:pt x="181741" y="40387"/>
                  </a:cubicBezTo>
                  <a:lnTo>
                    <a:pt x="181741" y="40387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80" name="Forma Livre: Forma 179">
              <a:extLst>
                <a:ext uri="{FF2B5EF4-FFF2-40B4-BE49-F238E27FC236}">
                  <a16:creationId xmlns:a16="http://schemas.microsoft.com/office/drawing/2014/main" id="{7FBAE77B-C593-4C65-97E1-14CA4FCFE372}"/>
                </a:ext>
              </a:extLst>
            </p:cNvPr>
            <p:cNvSpPr/>
            <p:nvPr/>
          </p:nvSpPr>
          <p:spPr>
            <a:xfrm>
              <a:off x="4128693" y="4279454"/>
              <a:ext cx="162323" cy="40386"/>
            </a:xfrm>
            <a:custGeom>
              <a:avLst/>
              <a:gdLst>
                <a:gd name="connsiteX0" fmla="*/ 142131 w 162323"/>
                <a:gd name="connsiteY0" fmla="*/ 40387 h 40386"/>
                <a:gd name="connsiteX1" fmla="*/ 20193 w 162323"/>
                <a:gd name="connsiteY1" fmla="*/ 40387 h 40386"/>
                <a:gd name="connsiteX2" fmla="*/ 0 w 162323"/>
                <a:gd name="connsiteY2" fmla="*/ 20193 h 40386"/>
                <a:gd name="connsiteX3" fmla="*/ 20193 w 162323"/>
                <a:gd name="connsiteY3" fmla="*/ 0 h 40386"/>
                <a:gd name="connsiteX4" fmla="*/ 142131 w 162323"/>
                <a:gd name="connsiteY4" fmla="*/ 0 h 40386"/>
                <a:gd name="connsiteX5" fmla="*/ 162324 w 162323"/>
                <a:gd name="connsiteY5" fmla="*/ 20193 h 40386"/>
                <a:gd name="connsiteX6" fmla="*/ 142131 w 162323"/>
                <a:gd name="connsiteY6" fmla="*/ 40387 h 40386"/>
                <a:gd name="connsiteX7" fmla="*/ 142131 w 162323"/>
                <a:gd name="connsiteY7" fmla="*/ 40387 h 4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2323" h="40386">
                  <a:moveTo>
                    <a:pt x="142131" y="40387"/>
                  </a:moveTo>
                  <a:lnTo>
                    <a:pt x="20193" y="40387"/>
                  </a:lnTo>
                  <a:cubicBezTo>
                    <a:pt x="8543" y="40387"/>
                    <a:pt x="0" y="31067"/>
                    <a:pt x="0" y="20193"/>
                  </a:cubicBezTo>
                  <a:cubicBezTo>
                    <a:pt x="0" y="8543"/>
                    <a:pt x="9320" y="0"/>
                    <a:pt x="20193" y="0"/>
                  </a:cubicBezTo>
                  <a:lnTo>
                    <a:pt x="142131" y="0"/>
                  </a:lnTo>
                  <a:cubicBezTo>
                    <a:pt x="153781" y="0"/>
                    <a:pt x="162324" y="9320"/>
                    <a:pt x="162324" y="20193"/>
                  </a:cubicBezTo>
                  <a:cubicBezTo>
                    <a:pt x="162324" y="31067"/>
                    <a:pt x="153004" y="40387"/>
                    <a:pt x="142131" y="40387"/>
                  </a:cubicBezTo>
                  <a:lnTo>
                    <a:pt x="142131" y="40387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181" name="Gráfico 2">
              <a:extLst>
                <a:ext uri="{FF2B5EF4-FFF2-40B4-BE49-F238E27FC236}">
                  <a16:creationId xmlns:a16="http://schemas.microsoft.com/office/drawing/2014/main" id="{777488D5-C9B0-42ED-94FB-5C76F4BD1A17}"/>
                </a:ext>
              </a:extLst>
            </p:cNvPr>
            <p:cNvGrpSpPr/>
            <p:nvPr/>
          </p:nvGrpSpPr>
          <p:grpSpPr>
            <a:xfrm>
              <a:off x="4146557" y="3988202"/>
              <a:ext cx="125820" cy="217467"/>
              <a:chOff x="4146557" y="3988202"/>
              <a:chExt cx="125820" cy="217467"/>
            </a:xfrm>
            <a:grpFill/>
          </p:grpSpPr>
          <p:sp>
            <p:nvSpPr>
              <p:cNvPr id="182" name="Forma Livre: Forma 181">
                <a:extLst>
                  <a:ext uri="{FF2B5EF4-FFF2-40B4-BE49-F238E27FC236}">
                    <a16:creationId xmlns:a16="http://schemas.microsoft.com/office/drawing/2014/main" id="{F8E25E6F-DD12-4341-96E4-CBA050C58658}"/>
                  </a:ext>
                </a:extLst>
              </p:cNvPr>
              <p:cNvSpPr/>
              <p:nvPr/>
            </p:nvSpPr>
            <p:spPr>
              <a:xfrm>
                <a:off x="4146557" y="3988202"/>
                <a:ext cx="46600" cy="217467"/>
              </a:xfrm>
              <a:custGeom>
                <a:avLst/>
                <a:gdLst>
                  <a:gd name="connsiteX0" fmla="*/ 25630 w 46600"/>
                  <a:gd name="connsiteY0" fmla="*/ 217468 h 217467"/>
                  <a:gd name="connsiteX1" fmla="*/ 0 w 46600"/>
                  <a:gd name="connsiteY1" fmla="*/ 2330 h 217467"/>
                  <a:gd name="connsiteX2" fmla="*/ 20193 w 46600"/>
                  <a:gd name="connsiteY2" fmla="*/ 0 h 217467"/>
                  <a:gd name="connsiteX3" fmla="*/ 46600 w 46600"/>
                  <a:gd name="connsiteY3" fmla="*/ 214361 h 217467"/>
                  <a:gd name="connsiteX4" fmla="*/ 25630 w 46600"/>
                  <a:gd name="connsiteY4" fmla="*/ 217468 h 21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600" h="217467">
                    <a:moveTo>
                      <a:pt x="25630" y="217468"/>
                    </a:moveTo>
                    <a:lnTo>
                      <a:pt x="0" y="2330"/>
                    </a:lnTo>
                    <a:lnTo>
                      <a:pt x="20193" y="0"/>
                    </a:lnTo>
                    <a:lnTo>
                      <a:pt x="46600" y="214361"/>
                    </a:lnTo>
                    <a:lnTo>
                      <a:pt x="25630" y="217468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83" name="Forma Livre: Forma 182">
                <a:extLst>
                  <a:ext uri="{FF2B5EF4-FFF2-40B4-BE49-F238E27FC236}">
                    <a16:creationId xmlns:a16="http://schemas.microsoft.com/office/drawing/2014/main" id="{B0D28DC9-58D4-4742-881C-F483C2DE9830}"/>
                  </a:ext>
                </a:extLst>
              </p:cNvPr>
              <p:cNvSpPr/>
              <p:nvPr/>
            </p:nvSpPr>
            <p:spPr>
              <a:xfrm>
                <a:off x="4225777" y="3988202"/>
                <a:ext cx="46600" cy="217467"/>
              </a:xfrm>
              <a:custGeom>
                <a:avLst/>
                <a:gdLst>
                  <a:gd name="connsiteX0" fmla="*/ 20193 w 46600"/>
                  <a:gd name="connsiteY0" fmla="*/ 217468 h 217467"/>
                  <a:gd name="connsiteX1" fmla="*/ 0 w 46600"/>
                  <a:gd name="connsiteY1" fmla="*/ 214361 h 217467"/>
                  <a:gd name="connsiteX2" fmla="*/ 26407 w 46600"/>
                  <a:gd name="connsiteY2" fmla="*/ 0 h 217467"/>
                  <a:gd name="connsiteX3" fmla="*/ 46600 w 46600"/>
                  <a:gd name="connsiteY3" fmla="*/ 2330 h 217467"/>
                  <a:gd name="connsiteX4" fmla="*/ 20193 w 46600"/>
                  <a:gd name="connsiteY4" fmla="*/ 217468 h 21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600" h="217467">
                    <a:moveTo>
                      <a:pt x="20193" y="217468"/>
                    </a:moveTo>
                    <a:lnTo>
                      <a:pt x="0" y="214361"/>
                    </a:lnTo>
                    <a:lnTo>
                      <a:pt x="26407" y="0"/>
                    </a:lnTo>
                    <a:lnTo>
                      <a:pt x="46600" y="2330"/>
                    </a:lnTo>
                    <a:lnTo>
                      <a:pt x="20193" y="217468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184" name="Forma Livre: Forma 183">
              <a:extLst>
                <a:ext uri="{FF2B5EF4-FFF2-40B4-BE49-F238E27FC236}">
                  <a16:creationId xmlns:a16="http://schemas.microsoft.com/office/drawing/2014/main" id="{72984099-8814-4634-9233-3983F93B51C0}"/>
                </a:ext>
              </a:extLst>
            </p:cNvPr>
            <p:cNvSpPr/>
            <p:nvPr/>
          </p:nvSpPr>
          <p:spPr>
            <a:xfrm>
              <a:off x="4154323" y="4007619"/>
              <a:ext cx="108733" cy="34173"/>
            </a:xfrm>
            <a:custGeom>
              <a:avLst/>
              <a:gdLst>
                <a:gd name="connsiteX0" fmla="*/ 91647 w 108733"/>
                <a:gd name="connsiteY0" fmla="*/ 34174 h 34173"/>
                <a:gd name="connsiteX1" fmla="*/ 79220 w 108733"/>
                <a:gd name="connsiteY1" fmla="*/ 26407 h 34173"/>
                <a:gd name="connsiteX2" fmla="*/ 66793 w 108733"/>
                <a:gd name="connsiteY2" fmla="*/ 34174 h 34173"/>
                <a:gd name="connsiteX3" fmla="*/ 54367 w 108733"/>
                <a:gd name="connsiteY3" fmla="*/ 27183 h 34173"/>
                <a:gd name="connsiteX4" fmla="*/ 41940 w 108733"/>
                <a:gd name="connsiteY4" fmla="*/ 34174 h 34173"/>
                <a:gd name="connsiteX5" fmla="*/ 29513 w 108733"/>
                <a:gd name="connsiteY5" fmla="*/ 27183 h 34173"/>
                <a:gd name="connsiteX6" fmla="*/ 17087 w 108733"/>
                <a:gd name="connsiteY6" fmla="*/ 34174 h 34173"/>
                <a:gd name="connsiteX7" fmla="*/ 1553 w 108733"/>
                <a:gd name="connsiteY7" fmla="*/ 20970 h 34173"/>
                <a:gd name="connsiteX8" fmla="*/ 0 w 108733"/>
                <a:gd name="connsiteY8" fmla="*/ 17863 h 34173"/>
                <a:gd name="connsiteX9" fmla="*/ 4660 w 108733"/>
                <a:gd name="connsiteY9" fmla="*/ 20193 h 34173"/>
                <a:gd name="connsiteX10" fmla="*/ 4660 w 108733"/>
                <a:gd name="connsiteY10" fmla="*/ 0 h 34173"/>
                <a:gd name="connsiteX11" fmla="*/ 17087 w 108733"/>
                <a:gd name="connsiteY11" fmla="*/ 6990 h 34173"/>
                <a:gd name="connsiteX12" fmla="*/ 29513 w 108733"/>
                <a:gd name="connsiteY12" fmla="*/ 0 h 34173"/>
                <a:gd name="connsiteX13" fmla="*/ 41940 w 108733"/>
                <a:gd name="connsiteY13" fmla="*/ 6990 h 34173"/>
                <a:gd name="connsiteX14" fmla="*/ 54367 w 108733"/>
                <a:gd name="connsiteY14" fmla="*/ 0 h 34173"/>
                <a:gd name="connsiteX15" fmla="*/ 66793 w 108733"/>
                <a:gd name="connsiteY15" fmla="*/ 7767 h 34173"/>
                <a:gd name="connsiteX16" fmla="*/ 79220 w 108733"/>
                <a:gd name="connsiteY16" fmla="*/ 0 h 34173"/>
                <a:gd name="connsiteX17" fmla="*/ 91647 w 108733"/>
                <a:gd name="connsiteY17" fmla="*/ 7767 h 34173"/>
                <a:gd name="connsiteX18" fmla="*/ 104074 w 108733"/>
                <a:gd name="connsiteY18" fmla="*/ 0 h 34173"/>
                <a:gd name="connsiteX19" fmla="*/ 104074 w 108733"/>
                <a:gd name="connsiteY19" fmla="*/ 20193 h 34173"/>
                <a:gd name="connsiteX20" fmla="*/ 108734 w 108733"/>
                <a:gd name="connsiteY20" fmla="*/ 18640 h 34173"/>
                <a:gd name="connsiteX21" fmla="*/ 107180 w 108733"/>
                <a:gd name="connsiteY21" fmla="*/ 21747 h 34173"/>
                <a:gd name="connsiteX22" fmla="*/ 91647 w 108733"/>
                <a:gd name="connsiteY22" fmla="*/ 34174 h 34173"/>
                <a:gd name="connsiteX23" fmla="*/ 91647 w 108733"/>
                <a:gd name="connsiteY23" fmla="*/ 34174 h 34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08733" h="34173">
                  <a:moveTo>
                    <a:pt x="91647" y="34174"/>
                  </a:moveTo>
                  <a:cubicBezTo>
                    <a:pt x="85434" y="34174"/>
                    <a:pt x="81550" y="30290"/>
                    <a:pt x="79220" y="26407"/>
                  </a:cubicBezTo>
                  <a:cubicBezTo>
                    <a:pt x="76891" y="30290"/>
                    <a:pt x="73007" y="34174"/>
                    <a:pt x="66793" y="34174"/>
                  </a:cubicBezTo>
                  <a:cubicBezTo>
                    <a:pt x="60580" y="34174"/>
                    <a:pt x="56697" y="30290"/>
                    <a:pt x="54367" y="27183"/>
                  </a:cubicBezTo>
                  <a:cubicBezTo>
                    <a:pt x="52037" y="31067"/>
                    <a:pt x="48154" y="34174"/>
                    <a:pt x="41940" y="34174"/>
                  </a:cubicBezTo>
                  <a:cubicBezTo>
                    <a:pt x="35727" y="34174"/>
                    <a:pt x="31843" y="30290"/>
                    <a:pt x="29513" y="27183"/>
                  </a:cubicBezTo>
                  <a:cubicBezTo>
                    <a:pt x="27183" y="31067"/>
                    <a:pt x="23300" y="34174"/>
                    <a:pt x="17087" y="34174"/>
                  </a:cubicBezTo>
                  <a:cubicBezTo>
                    <a:pt x="6990" y="34174"/>
                    <a:pt x="3107" y="25630"/>
                    <a:pt x="1553" y="20970"/>
                  </a:cubicBezTo>
                  <a:cubicBezTo>
                    <a:pt x="776" y="20193"/>
                    <a:pt x="776" y="18640"/>
                    <a:pt x="0" y="17863"/>
                  </a:cubicBezTo>
                  <a:cubicBezTo>
                    <a:pt x="776" y="18640"/>
                    <a:pt x="2330" y="20193"/>
                    <a:pt x="4660" y="20193"/>
                  </a:cubicBezTo>
                  <a:lnTo>
                    <a:pt x="4660" y="0"/>
                  </a:lnTo>
                  <a:cubicBezTo>
                    <a:pt x="10874" y="0"/>
                    <a:pt x="14757" y="3883"/>
                    <a:pt x="17087" y="6990"/>
                  </a:cubicBezTo>
                  <a:cubicBezTo>
                    <a:pt x="19417" y="3107"/>
                    <a:pt x="23300" y="0"/>
                    <a:pt x="29513" y="0"/>
                  </a:cubicBezTo>
                  <a:cubicBezTo>
                    <a:pt x="35727" y="0"/>
                    <a:pt x="39610" y="3883"/>
                    <a:pt x="41940" y="6990"/>
                  </a:cubicBezTo>
                  <a:cubicBezTo>
                    <a:pt x="44270" y="3107"/>
                    <a:pt x="48154" y="0"/>
                    <a:pt x="54367" y="0"/>
                  </a:cubicBezTo>
                  <a:cubicBezTo>
                    <a:pt x="60580" y="0"/>
                    <a:pt x="64464" y="3883"/>
                    <a:pt x="66793" y="7767"/>
                  </a:cubicBezTo>
                  <a:cubicBezTo>
                    <a:pt x="69124" y="3883"/>
                    <a:pt x="73007" y="0"/>
                    <a:pt x="79220" y="0"/>
                  </a:cubicBezTo>
                  <a:cubicBezTo>
                    <a:pt x="85434" y="0"/>
                    <a:pt x="89317" y="3883"/>
                    <a:pt x="91647" y="7767"/>
                  </a:cubicBezTo>
                  <a:cubicBezTo>
                    <a:pt x="93977" y="3883"/>
                    <a:pt x="97860" y="0"/>
                    <a:pt x="104074" y="0"/>
                  </a:cubicBezTo>
                  <a:lnTo>
                    <a:pt x="104074" y="20193"/>
                  </a:lnTo>
                  <a:cubicBezTo>
                    <a:pt x="106404" y="20193"/>
                    <a:pt x="107957" y="18640"/>
                    <a:pt x="108734" y="18640"/>
                  </a:cubicBezTo>
                  <a:cubicBezTo>
                    <a:pt x="108734" y="19417"/>
                    <a:pt x="107957" y="20970"/>
                    <a:pt x="107180" y="21747"/>
                  </a:cubicBezTo>
                  <a:cubicBezTo>
                    <a:pt x="105627" y="25630"/>
                    <a:pt x="101744" y="34174"/>
                    <a:pt x="91647" y="34174"/>
                  </a:cubicBezTo>
                  <a:lnTo>
                    <a:pt x="91647" y="34174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85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2318450" y="4677913"/>
            <a:ext cx="397944" cy="360676"/>
            <a:chOff x="1450733" y="5121365"/>
            <a:chExt cx="489302" cy="443478"/>
          </a:xfrm>
          <a:solidFill>
            <a:srgbClr val="B1B1A1"/>
          </a:solidFill>
        </p:grpSpPr>
        <p:sp>
          <p:nvSpPr>
            <p:cNvPr id="186" name="Forma Livre: Forma 185">
              <a:extLst>
                <a:ext uri="{FF2B5EF4-FFF2-40B4-BE49-F238E27FC236}">
                  <a16:creationId xmlns:a16="http://schemas.microsoft.com/office/drawing/2014/main" id="{C75DDC77-A0BE-45F6-AAAA-BE240D1F6D91}"/>
                </a:ext>
              </a:extLst>
            </p:cNvPr>
            <p:cNvSpPr/>
            <p:nvPr/>
          </p:nvSpPr>
          <p:spPr>
            <a:xfrm>
              <a:off x="1450733" y="5197478"/>
              <a:ext cx="489302" cy="367365"/>
            </a:xfrm>
            <a:custGeom>
              <a:avLst/>
              <a:gdLst>
                <a:gd name="connsiteX0" fmla="*/ 445809 w 489302"/>
                <a:gd name="connsiteY0" fmla="*/ 367365 h 367365"/>
                <a:gd name="connsiteX1" fmla="*/ 43494 w 489302"/>
                <a:gd name="connsiteY1" fmla="*/ 367365 h 367365"/>
                <a:gd name="connsiteX2" fmla="*/ 0 w 489302"/>
                <a:gd name="connsiteY2" fmla="*/ 323872 h 367365"/>
                <a:gd name="connsiteX3" fmla="*/ 0 w 489302"/>
                <a:gd name="connsiteY3" fmla="*/ 43493 h 367365"/>
                <a:gd name="connsiteX4" fmla="*/ 43494 w 489302"/>
                <a:gd name="connsiteY4" fmla="*/ 0 h 367365"/>
                <a:gd name="connsiteX5" fmla="*/ 445809 w 489302"/>
                <a:gd name="connsiteY5" fmla="*/ 0 h 367365"/>
                <a:gd name="connsiteX6" fmla="*/ 489302 w 489302"/>
                <a:gd name="connsiteY6" fmla="*/ 43493 h 367365"/>
                <a:gd name="connsiteX7" fmla="*/ 489302 w 489302"/>
                <a:gd name="connsiteY7" fmla="*/ 324648 h 367365"/>
                <a:gd name="connsiteX8" fmla="*/ 445809 w 489302"/>
                <a:gd name="connsiteY8" fmla="*/ 367365 h 367365"/>
                <a:gd name="connsiteX9" fmla="*/ 445809 w 489302"/>
                <a:gd name="connsiteY9" fmla="*/ 367365 h 367365"/>
                <a:gd name="connsiteX10" fmla="*/ 43494 w 489302"/>
                <a:gd name="connsiteY10" fmla="*/ 41163 h 367365"/>
                <a:gd name="connsiteX11" fmla="*/ 41164 w 489302"/>
                <a:gd name="connsiteY11" fmla="*/ 43493 h 367365"/>
                <a:gd name="connsiteX12" fmla="*/ 41164 w 489302"/>
                <a:gd name="connsiteY12" fmla="*/ 324648 h 367365"/>
                <a:gd name="connsiteX13" fmla="*/ 43494 w 489302"/>
                <a:gd name="connsiteY13" fmla="*/ 326978 h 367365"/>
                <a:gd name="connsiteX14" fmla="*/ 445809 w 489302"/>
                <a:gd name="connsiteY14" fmla="*/ 326978 h 367365"/>
                <a:gd name="connsiteX15" fmla="*/ 448139 w 489302"/>
                <a:gd name="connsiteY15" fmla="*/ 324648 h 367365"/>
                <a:gd name="connsiteX16" fmla="*/ 448139 w 489302"/>
                <a:gd name="connsiteY16" fmla="*/ 44270 h 367365"/>
                <a:gd name="connsiteX17" fmla="*/ 445809 w 489302"/>
                <a:gd name="connsiteY17" fmla="*/ 41940 h 367365"/>
                <a:gd name="connsiteX18" fmla="*/ 43494 w 489302"/>
                <a:gd name="connsiteY18" fmla="*/ 41940 h 367365"/>
                <a:gd name="connsiteX19" fmla="*/ 43494 w 489302"/>
                <a:gd name="connsiteY19" fmla="*/ 41163 h 367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89302" h="367365">
                  <a:moveTo>
                    <a:pt x="445809" y="367365"/>
                  </a:moveTo>
                  <a:lnTo>
                    <a:pt x="43494" y="367365"/>
                  </a:lnTo>
                  <a:cubicBezTo>
                    <a:pt x="19417" y="367365"/>
                    <a:pt x="0" y="347948"/>
                    <a:pt x="0" y="323872"/>
                  </a:cubicBezTo>
                  <a:lnTo>
                    <a:pt x="0" y="43493"/>
                  </a:lnTo>
                  <a:cubicBezTo>
                    <a:pt x="0" y="19417"/>
                    <a:pt x="19417" y="0"/>
                    <a:pt x="43494" y="0"/>
                  </a:cubicBezTo>
                  <a:lnTo>
                    <a:pt x="445809" y="0"/>
                  </a:lnTo>
                  <a:cubicBezTo>
                    <a:pt x="469886" y="0"/>
                    <a:pt x="489302" y="19417"/>
                    <a:pt x="489302" y="43493"/>
                  </a:cubicBezTo>
                  <a:lnTo>
                    <a:pt x="489302" y="324648"/>
                  </a:lnTo>
                  <a:cubicBezTo>
                    <a:pt x="488526" y="347948"/>
                    <a:pt x="469109" y="367365"/>
                    <a:pt x="445809" y="367365"/>
                  </a:cubicBezTo>
                  <a:lnTo>
                    <a:pt x="445809" y="367365"/>
                  </a:lnTo>
                  <a:close/>
                  <a:moveTo>
                    <a:pt x="43494" y="41163"/>
                  </a:moveTo>
                  <a:cubicBezTo>
                    <a:pt x="41940" y="41163"/>
                    <a:pt x="41164" y="41940"/>
                    <a:pt x="41164" y="43493"/>
                  </a:cubicBezTo>
                  <a:lnTo>
                    <a:pt x="41164" y="324648"/>
                  </a:lnTo>
                  <a:cubicBezTo>
                    <a:pt x="41164" y="326202"/>
                    <a:pt x="41940" y="326978"/>
                    <a:pt x="43494" y="326978"/>
                  </a:cubicBezTo>
                  <a:lnTo>
                    <a:pt x="445809" y="326978"/>
                  </a:lnTo>
                  <a:cubicBezTo>
                    <a:pt x="447362" y="326978"/>
                    <a:pt x="448139" y="326202"/>
                    <a:pt x="448139" y="324648"/>
                  </a:cubicBezTo>
                  <a:lnTo>
                    <a:pt x="448139" y="44270"/>
                  </a:lnTo>
                  <a:cubicBezTo>
                    <a:pt x="448139" y="42717"/>
                    <a:pt x="447362" y="41940"/>
                    <a:pt x="445809" y="41940"/>
                  </a:cubicBezTo>
                  <a:lnTo>
                    <a:pt x="43494" y="41940"/>
                  </a:lnTo>
                  <a:lnTo>
                    <a:pt x="43494" y="41163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87" name="Forma Livre: Forma 186">
              <a:extLst>
                <a:ext uri="{FF2B5EF4-FFF2-40B4-BE49-F238E27FC236}">
                  <a16:creationId xmlns:a16="http://schemas.microsoft.com/office/drawing/2014/main" id="{69A03F7B-6B62-4FF0-A6DC-3701D15B056B}"/>
                </a:ext>
              </a:extLst>
            </p:cNvPr>
            <p:cNvSpPr/>
            <p:nvPr/>
          </p:nvSpPr>
          <p:spPr>
            <a:xfrm>
              <a:off x="1592864" y="5121365"/>
              <a:ext cx="206594" cy="115723"/>
            </a:xfrm>
            <a:custGeom>
              <a:avLst/>
              <a:gdLst>
                <a:gd name="connsiteX0" fmla="*/ 184848 w 206594"/>
                <a:gd name="connsiteY0" fmla="*/ 115724 h 115723"/>
                <a:gd name="connsiteX1" fmla="*/ 164654 w 206594"/>
                <a:gd name="connsiteY1" fmla="*/ 95530 h 115723"/>
                <a:gd name="connsiteX2" fmla="*/ 164654 w 206594"/>
                <a:gd name="connsiteY2" fmla="*/ 43493 h 115723"/>
                <a:gd name="connsiteX3" fmla="*/ 162324 w 206594"/>
                <a:gd name="connsiteY3" fmla="*/ 41163 h 115723"/>
                <a:gd name="connsiteX4" fmla="*/ 42717 w 206594"/>
                <a:gd name="connsiteY4" fmla="*/ 41163 h 115723"/>
                <a:gd name="connsiteX5" fmla="*/ 40387 w 206594"/>
                <a:gd name="connsiteY5" fmla="*/ 43493 h 115723"/>
                <a:gd name="connsiteX6" fmla="*/ 40387 w 206594"/>
                <a:gd name="connsiteY6" fmla="*/ 94753 h 115723"/>
                <a:gd name="connsiteX7" fmla="*/ 20193 w 206594"/>
                <a:gd name="connsiteY7" fmla="*/ 114947 h 115723"/>
                <a:gd name="connsiteX8" fmla="*/ 0 w 206594"/>
                <a:gd name="connsiteY8" fmla="*/ 94753 h 115723"/>
                <a:gd name="connsiteX9" fmla="*/ 0 w 206594"/>
                <a:gd name="connsiteY9" fmla="*/ 43493 h 115723"/>
                <a:gd name="connsiteX10" fmla="*/ 43494 w 206594"/>
                <a:gd name="connsiteY10" fmla="*/ 0 h 115723"/>
                <a:gd name="connsiteX11" fmla="*/ 163101 w 206594"/>
                <a:gd name="connsiteY11" fmla="*/ 0 h 115723"/>
                <a:gd name="connsiteX12" fmla="*/ 206594 w 206594"/>
                <a:gd name="connsiteY12" fmla="*/ 43493 h 115723"/>
                <a:gd name="connsiteX13" fmla="*/ 206594 w 206594"/>
                <a:gd name="connsiteY13" fmla="*/ 94753 h 115723"/>
                <a:gd name="connsiteX14" fmla="*/ 184848 w 206594"/>
                <a:gd name="connsiteY14" fmla="*/ 115724 h 115723"/>
                <a:gd name="connsiteX15" fmla="*/ 184848 w 206594"/>
                <a:gd name="connsiteY15" fmla="*/ 115724 h 115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6594" h="115723">
                  <a:moveTo>
                    <a:pt x="184848" y="115724"/>
                  </a:moveTo>
                  <a:cubicBezTo>
                    <a:pt x="173198" y="115724"/>
                    <a:pt x="164654" y="106403"/>
                    <a:pt x="164654" y="95530"/>
                  </a:cubicBezTo>
                  <a:lnTo>
                    <a:pt x="164654" y="43493"/>
                  </a:lnTo>
                  <a:cubicBezTo>
                    <a:pt x="164654" y="41940"/>
                    <a:pt x="163878" y="41163"/>
                    <a:pt x="162324" y="41163"/>
                  </a:cubicBezTo>
                  <a:lnTo>
                    <a:pt x="42717" y="41163"/>
                  </a:lnTo>
                  <a:cubicBezTo>
                    <a:pt x="41164" y="41163"/>
                    <a:pt x="40387" y="41940"/>
                    <a:pt x="40387" y="43493"/>
                  </a:cubicBezTo>
                  <a:lnTo>
                    <a:pt x="40387" y="94753"/>
                  </a:lnTo>
                  <a:cubicBezTo>
                    <a:pt x="40387" y="106403"/>
                    <a:pt x="31067" y="114947"/>
                    <a:pt x="20193" y="114947"/>
                  </a:cubicBezTo>
                  <a:cubicBezTo>
                    <a:pt x="8543" y="114947"/>
                    <a:pt x="0" y="105627"/>
                    <a:pt x="0" y="94753"/>
                  </a:cubicBezTo>
                  <a:lnTo>
                    <a:pt x="0" y="43493"/>
                  </a:lnTo>
                  <a:cubicBezTo>
                    <a:pt x="0" y="19417"/>
                    <a:pt x="19417" y="0"/>
                    <a:pt x="43494" y="0"/>
                  </a:cubicBezTo>
                  <a:lnTo>
                    <a:pt x="163101" y="0"/>
                  </a:lnTo>
                  <a:cubicBezTo>
                    <a:pt x="187178" y="0"/>
                    <a:pt x="206594" y="19417"/>
                    <a:pt x="206594" y="43493"/>
                  </a:cubicBezTo>
                  <a:lnTo>
                    <a:pt x="206594" y="94753"/>
                  </a:lnTo>
                  <a:cubicBezTo>
                    <a:pt x="205041" y="106403"/>
                    <a:pt x="196498" y="115724"/>
                    <a:pt x="184848" y="115724"/>
                  </a:cubicBezTo>
                  <a:lnTo>
                    <a:pt x="184848" y="115724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88" name="Forma Livre: Forma 187">
              <a:extLst>
                <a:ext uri="{FF2B5EF4-FFF2-40B4-BE49-F238E27FC236}">
                  <a16:creationId xmlns:a16="http://schemas.microsoft.com/office/drawing/2014/main" id="{CECCA659-66AD-487F-97B7-FACDF27B9FDD}"/>
                </a:ext>
              </a:extLst>
            </p:cNvPr>
            <p:cNvSpPr/>
            <p:nvPr/>
          </p:nvSpPr>
          <p:spPr>
            <a:xfrm>
              <a:off x="1469374" y="5342716"/>
              <a:ext cx="191145" cy="20193"/>
            </a:xfrm>
            <a:custGeom>
              <a:avLst/>
              <a:gdLst>
                <a:gd name="connsiteX0" fmla="*/ 180964 w 191145"/>
                <a:gd name="connsiteY0" fmla="*/ 20193 h 20193"/>
                <a:gd name="connsiteX1" fmla="*/ 10097 w 191145"/>
                <a:gd name="connsiteY1" fmla="*/ 20193 h 20193"/>
                <a:gd name="connsiteX2" fmla="*/ 0 w 191145"/>
                <a:gd name="connsiteY2" fmla="*/ 10097 h 20193"/>
                <a:gd name="connsiteX3" fmla="*/ 10097 w 191145"/>
                <a:gd name="connsiteY3" fmla="*/ 0 h 20193"/>
                <a:gd name="connsiteX4" fmla="*/ 180964 w 191145"/>
                <a:gd name="connsiteY4" fmla="*/ 0 h 20193"/>
                <a:gd name="connsiteX5" fmla="*/ 191061 w 191145"/>
                <a:gd name="connsiteY5" fmla="*/ 10097 h 20193"/>
                <a:gd name="connsiteX6" fmla="*/ 180964 w 191145"/>
                <a:gd name="connsiteY6" fmla="*/ 20193 h 20193"/>
                <a:gd name="connsiteX7" fmla="*/ 180964 w 191145"/>
                <a:gd name="connsiteY7" fmla="*/ 20193 h 20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1145" h="20193">
                  <a:moveTo>
                    <a:pt x="180964" y="20193"/>
                  </a:moveTo>
                  <a:lnTo>
                    <a:pt x="10097" y="20193"/>
                  </a:lnTo>
                  <a:cubicBezTo>
                    <a:pt x="4660" y="20193"/>
                    <a:pt x="0" y="15533"/>
                    <a:pt x="0" y="10097"/>
                  </a:cubicBezTo>
                  <a:cubicBezTo>
                    <a:pt x="0" y="4660"/>
                    <a:pt x="4660" y="0"/>
                    <a:pt x="10097" y="0"/>
                  </a:cubicBezTo>
                  <a:lnTo>
                    <a:pt x="180964" y="0"/>
                  </a:lnTo>
                  <a:cubicBezTo>
                    <a:pt x="186401" y="0"/>
                    <a:pt x="191061" y="4660"/>
                    <a:pt x="191061" y="10097"/>
                  </a:cubicBezTo>
                  <a:cubicBezTo>
                    <a:pt x="191838" y="16310"/>
                    <a:pt x="187178" y="20193"/>
                    <a:pt x="180964" y="20193"/>
                  </a:cubicBezTo>
                  <a:lnTo>
                    <a:pt x="180964" y="20193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89" name="Forma Livre: Forma 188">
              <a:extLst>
                <a:ext uri="{FF2B5EF4-FFF2-40B4-BE49-F238E27FC236}">
                  <a16:creationId xmlns:a16="http://schemas.microsoft.com/office/drawing/2014/main" id="{673BBD52-98CA-4AC4-9DE3-D546ABCEA1DB}"/>
                </a:ext>
              </a:extLst>
            </p:cNvPr>
            <p:cNvSpPr/>
            <p:nvPr/>
          </p:nvSpPr>
          <p:spPr>
            <a:xfrm>
              <a:off x="1722568" y="5342716"/>
              <a:ext cx="191060" cy="20193"/>
            </a:xfrm>
            <a:custGeom>
              <a:avLst/>
              <a:gdLst>
                <a:gd name="connsiteX0" fmla="*/ 180964 w 191060"/>
                <a:gd name="connsiteY0" fmla="*/ 20193 h 20193"/>
                <a:gd name="connsiteX1" fmla="*/ 10097 w 191060"/>
                <a:gd name="connsiteY1" fmla="*/ 20193 h 20193"/>
                <a:gd name="connsiteX2" fmla="*/ 0 w 191060"/>
                <a:gd name="connsiteY2" fmla="*/ 10097 h 20193"/>
                <a:gd name="connsiteX3" fmla="*/ 10097 w 191060"/>
                <a:gd name="connsiteY3" fmla="*/ 0 h 20193"/>
                <a:gd name="connsiteX4" fmla="*/ 180964 w 191060"/>
                <a:gd name="connsiteY4" fmla="*/ 0 h 20193"/>
                <a:gd name="connsiteX5" fmla="*/ 191061 w 191060"/>
                <a:gd name="connsiteY5" fmla="*/ 10097 h 20193"/>
                <a:gd name="connsiteX6" fmla="*/ 180964 w 191060"/>
                <a:gd name="connsiteY6" fmla="*/ 20193 h 20193"/>
                <a:gd name="connsiteX7" fmla="*/ 180964 w 191060"/>
                <a:gd name="connsiteY7" fmla="*/ 20193 h 20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1060" h="20193">
                  <a:moveTo>
                    <a:pt x="180964" y="20193"/>
                  </a:moveTo>
                  <a:lnTo>
                    <a:pt x="10097" y="20193"/>
                  </a:lnTo>
                  <a:cubicBezTo>
                    <a:pt x="4660" y="20193"/>
                    <a:pt x="0" y="15533"/>
                    <a:pt x="0" y="10097"/>
                  </a:cubicBezTo>
                  <a:cubicBezTo>
                    <a:pt x="0" y="4660"/>
                    <a:pt x="4660" y="0"/>
                    <a:pt x="10097" y="0"/>
                  </a:cubicBezTo>
                  <a:lnTo>
                    <a:pt x="180964" y="0"/>
                  </a:lnTo>
                  <a:cubicBezTo>
                    <a:pt x="186401" y="0"/>
                    <a:pt x="191061" y="4660"/>
                    <a:pt x="191061" y="10097"/>
                  </a:cubicBezTo>
                  <a:cubicBezTo>
                    <a:pt x="191061" y="16310"/>
                    <a:pt x="186401" y="20193"/>
                    <a:pt x="180964" y="20193"/>
                  </a:cubicBezTo>
                  <a:lnTo>
                    <a:pt x="180964" y="20193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90" name="Forma Livre: Forma 189">
              <a:extLst>
                <a:ext uri="{FF2B5EF4-FFF2-40B4-BE49-F238E27FC236}">
                  <a16:creationId xmlns:a16="http://schemas.microsoft.com/office/drawing/2014/main" id="{1533C66D-4F51-42FB-B574-909C0E8B29F1}"/>
                </a:ext>
              </a:extLst>
            </p:cNvPr>
            <p:cNvSpPr/>
            <p:nvPr/>
          </p:nvSpPr>
          <p:spPr>
            <a:xfrm>
              <a:off x="1656551" y="5314755"/>
              <a:ext cx="76975" cy="105627"/>
            </a:xfrm>
            <a:custGeom>
              <a:avLst/>
              <a:gdLst>
                <a:gd name="connsiteX0" fmla="*/ 66794 w 76975"/>
                <a:gd name="connsiteY0" fmla="*/ 105627 h 105627"/>
                <a:gd name="connsiteX1" fmla="*/ 10097 w 76975"/>
                <a:gd name="connsiteY1" fmla="*/ 105627 h 105627"/>
                <a:gd name="connsiteX2" fmla="*/ 0 w 76975"/>
                <a:gd name="connsiteY2" fmla="*/ 95530 h 105627"/>
                <a:gd name="connsiteX3" fmla="*/ 0 w 76975"/>
                <a:gd name="connsiteY3" fmla="*/ 10097 h 105627"/>
                <a:gd name="connsiteX4" fmla="*/ 10097 w 76975"/>
                <a:gd name="connsiteY4" fmla="*/ 0 h 105627"/>
                <a:gd name="connsiteX5" fmla="*/ 66794 w 76975"/>
                <a:gd name="connsiteY5" fmla="*/ 0 h 105627"/>
                <a:gd name="connsiteX6" fmla="*/ 76890 w 76975"/>
                <a:gd name="connsiteY6" fmla="*/ 10097 h 105627"/>
                <a:gd name="connsiteX7" fmla="*/ 76890 w 76975"/>
                <a:gd name="connsiteY7" fmla="*/ 95530 h 105627"/>
                <a:gd name="connsiteX8" fmla="*/ 66794 w 76975"/>
                <a:gd name="connsiteY8" fmla="*/ 105627 h 105627"/>
                <a:gd name="connsiteX9" fmla="*/ 66794 w 76975"/>
                <a:gd name="connsiteY9" fmla="*/ 105627 h 105627"/>
                <a:gd name="connsiteX10" fmla="*/ 20193 w 76975"/>
                <a:gd name="connsiteY10" fmla="*/ 84657 h 105627"/>
                <a:gd name="connsiteX11" fmla="*/ 56697 w 76975"/>
                <a:gd name="connsiteY11" fmla="*/ 84657 h 105627"/>
                <a:gd name="connsiteX12" fmla="*/ 56697 w 76975"/>
                <a:gd name="connsiteY12" fmla="*/ 20194 h 105627"/>
                <a:gd name="connsiteX13" fmla="*/ 20193 w 76975"/>
                <a:gd name="connsiteY13" fmla="*/ 20194 h 105627"/>
                <a:gd name="connsiteX14" fmla="*/ 20193 w 76975"/>
                <a:gd name="connsiteY14" fmla="*/ 84657 h 105627"/>
                <a:gd name="connsiteX15" fmla="*/ 20193 w 76975"/>
                <a:gd name="connsiteY15" fmla="*/ 84657 h 105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6975" h="105627">
                  <a:moveTo>
                    <a:pt x="66794" y="105627"/>
                  </a:moveTo>
                  <a:lnTo>
                    <a:pt x="10097" y="105627"/>
                  </a:lnTo>
                  <a:cubicBezTo>
                    <a:pt x="4660" y="105627"/>
                    <a:pt x="0" y="100967"/>
                    <a:pt x="0" y="95530"/>
                  </a:cubicBezTo>
                  <a:lnTo>
                    <a:pt x="0" y="10097"/>
                  </a:lnTo>
                  <a:cubicBezTo>
                    <a:pt x="0" y="4660"/>
                    <a:pt x="4660" y="0"/>
                    <a:pt x="10097" y="0"/>
                  </a:cubicBezTo>
                  <a:lnTo>
                    <a:pt x="66794" y="0"/>
                  </a:lnTo>
                  <a:cubicBezTo>
                    <a:pt x="72230" y="0"/>
                    <a:pt x="76890" y="4660"/>
                    <a:pt x="76890" y="10097"/>
                  </a:cubicBezTo>
                  <a:lnTo>
                    <a:pt x="76890" y="95530"/>
                  </a:lnTo>
                  <a:cubicBezTo>
                    <a:pt x="77667" y="100967"/>
                    <a:pt x="73007" y="105627"/>
                    <a:pt x="66794" y="105627"/>
                  </a:cubicBezTo>
                  <a:lnTo>
                    <a:pt x="66794" y="105627"/>
                  </a:lnTo>
                  <a:close/>
                  <a:moveTo>
                    <a:pt x="20193" y="84657"/>
                  </a:moveTo>
                  <a:lnTo>
                    <a:pt x="56697" y="84657"/>
                  </a:lnTo>
                  <a:lnTo>
                    <a:pt x="56697" y="20194"/>
                  </a:lnTo>
                  <a:lnTo>
                    <a:pt x="20193" y="20194"/>
                  </a:lnTo>
                  <a:lnTo>
                    <a:pt x="20193" y="84657"/>
                  </a:lnTo>
                  <a:lnTo>
                    <a:pt x="20193" y="84657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91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3341736" y="4670964"/>
            <a:ext cx="392259" cy="375835"/>
            <a:chOff x="2708940" y="5112821"/>
            <a:chExt cx="482312" cy="462118"/>
          </a:xfrm>
          <a:solidFill>
            <a:srgbClr val="B1B1A1"/>
          </a:solidFill>
        </p:grpSpPr>
        <p:grpSp>
          <p:nvGrpSpPr>
            <p:cNvPr id="192" name="Gráfico 2">
              <a:extLst>
                <a:ext uri="{FF2B5EF4-FFF2-40B4-BE49-F238E27FC236}">
                  <a16:creationId xmlns:a16="http://schemas.microsoft.com/office/drawing/2014/main" id="{777488D5-C9B0-42ED-94FB-5C76F4BD1A17}"/>
                </a:ext>
              </a:extLst>
            </p:cNvPr>
            <p:cNvGrpSpPr/>
            <p:nvPr/>
          </p:nvGrpSpPr>
          <p:grpSpPr>
            <a:xfrm>
              <a:off x="2789713" y="5112821"/>
              <a:ext cx="320765" cy="222904"/>
              <a:chOff x="2789713" y="5112821"/>
              <a:chExt cx="320765" cy="222904"/>
            </a:xfrm>
            <a:grpFill/>
          </p:grpSpPr>
          <p:sp>
            <p:nvSpPr>
              <p:cNvPr id="193" name="Forma Livre: Forma 192">
                <a:extLst>
                  <a:ext uri="{FF2B5EF4-FFF2-40B4-BE49-F238E27FC236}">
                    <a16:creationId xmlns:a16="http://schemas.microsoft.com/office/drawing/2014/main" id="{0B79FD11-AE8E-485B-8628-0A0F6D27A56E}"/>
                  </a:ext>
                </a:extLst>
              </p:cNvPr>
              <p:cNvSpPr/>
              <p:nvPr/>
            </p:nvSpPr>
            <p:spPr>
              <a:xfrm>
                <a:off x="2789713" y="5112821"/>
                <a:ext cx="130480" cy="130480"/>
              </a:xfrm>
              <a:custGeom>
                <a:avLst/>
                <a:gdLst>
                  <a:gd name="connsiteX0" fmla="*/ 120384 w 130480"/>
                  <a:gd name="connsiteY0" fmla="*/ 130481 h 130480"/>
                  <a:gd name="connsiteX1" fmla="*/ 10097 w 130480"/>
                  <a:gd name="connsiteY1" fmla="*/ 130481 h 130480"/>
                  <a:gd name="connsiteX2" fmla="*/ 0 w 130480"/>
                  <a:gd name="connsiteY2" fmla="*/ 120384 h 130480"/>
                  <a:gd name="connsiteX3" fmla="*/ 10097 w 130480"/>
                  <a:gd name="connsiteY3" fmla="*/ 110287 h 130480"/>
                  <a:gd name="connsiteX4" fmla="*/ 110287 w 130480"/>
                  <a:gd name="connsiteY4" fmla="*/ 110287 h 130480"/>
                  <a:gd name="connsiteX5" fmla="*/ 110287 w 130480"/>
                  <a:gd name="connsiteY5" fmla="*/ 10097 h 130480"/>
                  <a:gd name="connsiteX6" fmla="*/ 120384 w 130480"/>
                  <a:gd name="connsiteY6" fmla="*/ 0 h 130480"/>
                  <a:gd name="connsiteX7" fmla="*/ 130481 w 130480"/>
                  <a:gd name="connsiteY7" fmla="*/ 10097 h 130480"/>
                  <a:gd name="connsiteX8" fmla="*/ 130481 w 130480"/>
                  <a:gd name="connsiteY8" fmla="*/ 120384 h 130480"/>
                  <a:gd name="connsiteX9" fmla="*/ 120384 w 130480"/>
                  <a:gd name="connsiteY9" fmla="*/ 130481 h 130480"/>
                  <a:gd name="connsiteX10" fmla="*/ 120384 w 130480"/>
                  <a:gd name="connsiteY10" fmla="*/ 130481 h 130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30480" h="130480">
                    <a:moveTo>
                      <a:pt x="120384" y="130481"/>
                    </a:moveTo>
                    <a:lnTo>
                      <a:pt x="10097" y="130481"/>
                    </a:lnTo>
                    <a:cubicBezTo>
                      <a:pt x="4660" y="130481"/>
                      <a:pt x="0" y="125821"/>
                      <a:pt x="0" y="120384"/>
                    </a:cubicBezTo>
                    <a:cubicBezTo>
                      <a:pt x="0" y="114947"/>
                      <a:pt x="4660" y="110287"/>
                      <a:pt x="10097" y="110287"/>
                    </a:cubicBezTo>
                    <a:lnTo>
                      <a:pt x="110287" y="110287"/>
                    </a:lnTo>
                    <a:lnTo>
                      <a:pt x="110287" y="10097"/>
                    </a:lnTo>
                    <a:cubicBezTo>
                      <a:pt x="110287" y="4660"/>
                      <a:pt x="114947" y="0"/>
                      <a:pt x="120384" y="0"/>
                    </a:cubicBezTo>
                    <a:cubicBezTo>
                      <a:pt x="125821" y="0"/>
                      <a:pt x="130481" y="4660"/>
                      <a:pt x="130481" y="10097"/>
                    </a:cubicBezTo>
                    <a:lnTo>
                      <a:pt x="130481" y="120384"/>
                    </a:lnTo>
                    <a:cubicBezTo>
                      <a:pt x="130481" y="125821"/>
                      <a:pt x="126597" y="130481"/>
                      <a:pt x="120384" y="130481"/>
                    </a:cubicBezTo>
                    <a:lnTo>
                      <a:pt x="120384" y="130481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94" name="Forma Livre: Forma 193">
                <a:extLst>
                  <a:ext uri="{FF2B5EF4-FFF2-40B4-BE49-F238E27FC236}">
                    <a16:creationId xmlns:a16="http://schemas.microsoft.com/office/drawing/2014/main" id="{E53B9B22-6499-48ED-A5DE-D08B38AC8D9E}"/>
                  </a:ext>
                </a:extLst>
              </p:cNvPr>
              <p:cNvSpPr/>
              <p:nvPr/>
            </p:nvSpPr>
            <p:spPr>
              <a:xfrm>
                <a:off x="2789713" y="5112821"/>
                <a:ext cx="320765" cy="222904"/>
              </a:xfrm>
              <a:custGeom>
                <a:avLst/>
                <a:gdLst>
                  <a:gd name="connsiteX0" fmla="*/ 310668 w 320765"/>
                  <a:gd name="connsiteY0" fmla="*/ 222905 h 222904"/>
                  <a:gd name="connsiteX1" fmla="*/ 10097 w 320765"/>
                  <a:gd name="connsiteY1" fmla="*/ 222905 h 222904"/>
                  <a:gd name="connsiteX2" fmla="*/ 0 w 320765"/>
                  <a:gd name="connsiteY2" fmla="*/ 212808 h 222904"/>
                  <a:gd name="connsiteX3" fmla="*/ 0 w 320765"/>
                  <a:gd name="connsiteY3" fmla="*/ 120384 h 222904"/>
                  <a:gd name="connsiteX4" fmla="*/ 3107 w 320765"/>
                  <a:gd name="connsiteY4" fmla="*/ 113394 h 222904"/>
                  <a:gd name="connsiteX5" fmla="*/ 113394 w 320765"/>
                  <a:gd name="connsiteY5" fmla="*/ 3107 h 222904"/>
                  <a:gd name="connsiteX6" fmla="*/ 120384 w 320765"/>
                  <a:gd name="connsiteY6" fmla="*/ 0 h 222904"/>
                  <a:gd name="connsiteX7" fmla="*/ 310668 w 320765"/>
                  <a:gd name="connsiteY7" fmla="*/ 0 h 222904"/>
                  <a:gd name="connsiteX8" fmla="*/ 320765 w 320765"/>
                  <a:gd name="connsiteY8" fmla="*/ 10097 h 222904"/>
                  <a:gd name="connsiteX9" fmla="*/ 320765 w 320765"/>
                  <a:gd name="connsiteY9" fmla="*/ 212808 h 222904"/>
                  <a:gd name="connsiteX10" fmla="*/ 310668 w 320765"/>
                  <a:gd name="connsiteY10" fmla="*/ 222905 h 222904"/>
                  <a:gd name="connsiteX11" fmla="*/ 310668 w 320765"/>
                  <a:gd name="connsiteY11" fmla="*/ 222905 h 222904"/>
                  <a:gd name="connsiteX12" fmla="*/ 20193 w 320765"/>
                  <a:gd name="connsiteY12" fmla="*/ 202711 h 222904"/>
                  <a:gd name="connsiteX13" fmla="*/ 299795 w 320765"/>
                  <a:gd name="connsiteY13" fmla="*/ 202711 h 222904"/>
                  <a:gd name="connsiteX14" fmla="*/ 299795 w 320765"/>
                  <a:gd name="connsiteY14" fmla="*/ 20194 h 222904"/>
                  <a:gd name="connsiteX15" fmla="*/ 124267 w 320765"/>
                  <a:gd name="connsiteY15" fmla="*/ 20194 h 222904"/>
                  <a:gd name="connsiteX16" fmla="*/ 20193 w 320765"/>
                  <a:gd name="connsiteY16" fmla="*/ 124267 h 222904"/>
                  <a:gd name="connsiteX17" fmla="*/ 20193 w 320765"/>
                  <a:gd name="connsiteY17" fmla="*/ 202711 h 222904"/>
                  <a:gd name="connsiteX18" fmla="*/ 20193 w 320765"/>
                  <a:gd name="connsiteY18" fmla="*/ 202711 h 2229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20765" h="222904">
                    <a:moveTo>
                      <a:pt x="310668" y="222905"/>
                    </a:moveTo>
                    <a:lnTo>
                      <a:pt x="10097" y="222905"/>
                    </a:lnTo>
                    <a:cubicBezTo>
                      <a:pt x="4660" y="222905"/>
                      <a:pt x="0" y="218245"/>
                      <a:pt x="0" y="212808"/>
                    </a:cubicBezTo>
                    <a:lnTo>
                      <a:pt x="0" y="120384"/>
                    </a:lnTo>
                    <a:cubicBezTo>
                      <a:pt x="0" y="117278"/>
                      <a:pt x="777" y="114947"/>
                      <a:pt x="3107" y="113394"/>
                    </a:cubicBezTo>
                    <a:lnTo>
                      <a:pt x="113394" y="3107"/>
                    </a:lnTo>
                    <a:cubicBezTo>
                      <a:pt x="114947" y="1553"/>
                      <a:pt x="118054" y="0"/>
                      <a:pt x="120384" y="0"/>
                    </a:cubicBezTo>
                    <a:lnTo>
                      <a:pt x="310668" y="0"/>
                    </a:lnTo>
                    <a:cubicBezTo>
                      <a:pt x="316105" y="0"/>
                      <a:pt x="320765" y="4660"/>
                      <a:pt x="320765" y="10097"/>
                    </a:cubicBezTo>
                    <a:lnTo>
                      <a:pt x="320765" y="212808"/>
                    </a:lnTo>
                    <a:cubicBezTo>
                      <a:pt x="320765" y="218245"/>
                      <a:pt x="316105" y="222905"/>
                      <a:pt x="310668" y="222905"/>
                    </a:cubicBezTo>
                    <a:lnTo>
                      <a:pt x="310668" y="222905"/>
                    </a:lnTo>
                    <a:close/>
                    <a:moveTo>
                      <a:pt x="20193" y="202711"/>
                    </a:moveTo>
                    <a:lnTo>
                      <a:pt x="299795" y="202711"/>
                    </a:lnTo>
                    <a:lnTo>
                      <a:pt x="299795" y="20194"/>
                    </a:lnTo>
                    <a:lnTo>
                      <a:pt x="124267" y="20194"/>
                    </a:lnTo>
                    <a:lnTo>
                      <a:pt x="20193" y="124267"/>
                    </a:lnTo>
                    <a:lnTo>
                      <a:pt x="20193" y="202711"/>
                    </a:lnTo>
                    <a:lnTo>
                      <a:pt x="20193" y="202711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195" name="Forma Livre: Forma 194">
              <a:extLst>
                <a:ext uri="{FF2B5EF4-FFF2-40B4-BE49-F238E27FC236}">
                  <a16:creationId xmlns:a16="http://schemas.microsoft.com/office/drawing/2014/main" id="{046113AE-A7A7-4330-A273-EBE4047806BA}"/>
                </a:ext>
              </a:extLst>
            </p:cNvPr>
            <p:cNvSpPr/>
            <p:nvPr/>
          </p:nvSpPr>
          <p:spPr>
            <a:xfrm>
              <a:off x="2789713" y="5453002"/>
              <a:ext cx="320765" cy="121937"/>
            </a:xfrm>
            <a:custGeom>
              <a:avLst/>
              <a:gdLst>
                <a:gd name="connsiteX0" fmla="*/ 310668 w 320765"/>
                <a:gd name="connsiteY0" fmla="*/ 121937 h 121937"/>
                <a:gd name="connsiteX1" fmla="*/ 10097 w 320765"/>
                <a:gd name="connsiteY1" fmla="*/ 121937 h 121937"/>
                <a:gd name="connsiteX2" fmla="*/ 0 w 320765"/>
                <a:gd name="connsiteY2" fmla="*/ 111841 h 121937"/>
                <a:gd name="connsiteX3" fmla="*/ 0 w 320765"/>
                <a:gd name="connsiteY3" fmla="*/ 10097 h 121937"/>
                <a:gd name="connsiteX4" fmla="*/ 10097 w 320765"/>
                <a:gd name="connsiteY4" fmla="*/ 0 h 121937"/>
                <a:gd name="connsiteX5" fmla="*/ 310668 w 320765"/>
                <a:gd name="connsiteY5" fmla="*/ 0 h 121937"/>
                <a:gd name="connsiteX6" fmla="*/ 320765 w 320765"/>
                <a:gd name="connsiteY6" fmla="*/ 10097 h 121937"/>
                <a:gd name="connsiteX7" fmla="*/ 320765 w 320765"/>
                <a:gd name="connsiteY7" fmla="*/ 111841 h 121937"/>
                <a:gd name="connsiteX8" fmla="*/ 310668 w 320765"/>
                <a:gd name="connsiteY8" fmla="*/ 121937 h 121937"/>
                <a:gd name="connsiteX9" fmla="*/ 310668 w 320765"/>
                <a:gd name="connsiteY9" fmla="*/ 121937 h 121937"/>
                <a:gd name="connsiteX10" fmla="*/ 20193 w 320765"/>
                <a:gd name="connsiteY10" fmla="*/ 100967 h 121937"/>
                <a:gd name="connsiteX11" fmla="*/ 299795 w 320765"/>
                <a:gd name="connsiteY11" fmla="*/ 100967 h 121937"/>
                <a:gd name="connsiteX12" fmla="*/ 299795 w 320765"/>
                <a:gd name="connsiteY12" fmla="*/ 20194 h 121937"/>
                <a:gd name="connsiteX13" fmla="*/ 20193 w 320765"/>
                <a:gd name="connsiteY13" fmla="*/ 20194 h 121937"/>
                <a:gd name="connsiteX14" fmla="*/ 20193 w 320765"/>
                <a:gd name="connsiteY14" fmla="*/ 100967 h 121937"/>
                <a:gd name="connsiteX15" fmla="*/ 20193 w 320765"/>
                <a:gd name="connsiteY15" fmla="*/ 100967 h 121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0765" h="121937">
                  <a:moveTo>
                    <a:pt x="310668" y="121937"/>
                  </a:moveTo>
                  <a:lnTo>
                    <a:pt x="10097" y="121937"/>
                  </a:lnTo>
                  <a:cubicBezTo>
                    <a:pt x="4660" y="121937"/>
                    <a:pt x="0" y="117278"/>
                    <a:pt x="0" y="111841"/>
                  </a:cubicBezTo>
                  <a:lnTo>
                    <a:pt x="0" y="10097"/>
                  </a:lnTo>
                  <a:cubicBezTo>
                    <a:pt x="0" y="4660"/>
                    <a:pt x="4660" y="0"/>
                    <a:pt x="10097" y="0"/>
                  </a:cubicBezTo>
                  <a:lnTo>
                    <a:pt x="310668" y="0"/>
                  </a:lnTo>
                  <a:cubicBezTo>
                    <a:pt x="316105" y="0"/>
                    <a:pt x="320765" y="4660"/>
                    <a:pt x="320765" y="10097"/>
                  </a:cubicBezTo>
                  <a:lnTo>
                    <a:pt x="320765" y="111841"/>
                  </a:lnTo>
                  <a:cubicBezTo>
                    <a:pt x="320765" y="117278"/>
                    <a:pt x="316105" y="121937"/>
                    <a:pt x="310668" y="121937"/>
                  </a:cubicBezTo>
                  <a:lnTo>
                    <a:pt x="310668" y="121937"/>
                  </a:lnTo>
                  <a:close/>
                  <a:moveTo>
                    <a:pt x="20193" y="100967"/>
                  </a:moveTo>
                  <a:lnTo>
                    <a:pt x="299795" y="100967"/>
                  </a:lnTo>
                  <a:lnTo>
                    <a:pt x="299795" y="20194"/>
                  </a:lnTo>
                  <a:lnTo>
                    <a:pt x="20193" y="20194"/>
                  </a:lnTo>
                  <a:lnTo>
                    <a:pt x="20193" y="100967"/>
                  </a:lnTo>
                  <a:lnTo>
                    <a:pt x="20193" y="100967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96" name="Forma Livre: Forma 195">
              <a:extLst>
                <a:ext uri="{FF2B5EF4-FFF2-40B4-BE49-F238E27FC236}">
                  <a16:creationId xmlns:a16="http://schemas.microsoft.com/office/drawing/2014/main" id="{61214919-A88A-4991-AB81-D093151D912D}"/>
                </a:ext>
              </a:extLst>
            </p:cNvPr>
            <p:cNvSpPr/>
            <p:nvPr/>
          </p:nvSpPr>
          <p:spPr>
            <a:xfrm>
              <a:off x="2708940" y="5307765"/>
              <a:ext cx="482312" cy="231447"/>
            </a:xfrm>
            <a:custGeom>
              <a:avLst/>
              <a:gdLst>
                <a:gd name="connsiteX0" fmla="*/ 482312 w 482312"/>
                <a:gd name="connsiteY0" fmla="*/ 231448 h 231447"/>
                <a:gd name="connsiteX1" fmla="*/ 418625 w 482312"/>
                <a:gd name="connsiteY1" fmla="*/ 231448 h 231447"/>
                <a:gd name="connsiteX2" fmla="*/ 418625 w 482312"/>
                <a:gd name="connsiteY2" fmla="*/ 190284 h 231447"/>
                <a:gd name="connsiteX3" fmla="*/ 441925 w 482312"/>
                <a:gd name="connsiteY3" fmla="*/ 190284 h 231447"/>
                <a:gd name="connsiteX4" fmla="*/ 441925 w 482312"/>
                <a:gd name="connsiteY4" fmla="*/ 41163 h 231447"/>
                <a:gd name="connsiteX5" fmla="*/ 40387 w 482312"/>
                <a:gd name="connsiteY5" fmla="*/ 41163 h 231447"/>
                <a:gd name="connsiteX6" fmla="*/ 40387 w 482312"/>
                <a:gd name="connsiteY6" fmla="*/ 190284 h 231447"/>
                <a:gd name="connsiteX7" fmla="*/ 63687 w 482312"/>
                <a:gd name="connsiteY7" fmla="*/ 190284 h 231447"/>
                <a:gd name="connsiteX8" fmla="*/ 63687 w 482312"/>
                <a:gd name="connsiteY8" fmla="*/ 231448 h 231447"/>
                <a:gd name="connsiteX9" fmla="*/ 0 w 482312"/>
                <a:gd name="connsiteY9" fmla="*/ 231448 h 231447"/>
                <a:gd name="connsiteX10" fmla="*/ 0 w 482312"/>
                <a:gd name="connsiteY10" fmla="*/ 0 h 231447"/>
                <a:gd name="connsiteX11" fmla="*/ 482312 w 482312"/>
                <a:gd name="connsiteY11" fmla="*/ 0 h 231447"/>
                <a:gd name="connsiteX12" fmla="*/ 482312 w 482312"/>
                <a:gd name="connsiteY12" fmla="*/ 231448 h 231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82312" h="231447">
                  <a:moveTo>
                    <a:pt x="482312" y="231448"/>
                  </a:moveTo>
                  <a:lnTo>
                    <a:pt x="418625" y="231448"/>
                  </a:lnTo>
                  <a:lnTo>
                    <a:pt x="418625" y="190284"/>
                  </a:lnTo>
                  <a:lnTo>
                    <a:pt x="441925" y="190284"/>
                  </a:lnTo>
                  <a:lnTo>
                    <a:pt x="441925" y="41163"/>
                  </a:lnTo>
                  <a:lnTo>
                    <a:pt x="40387" y="41163"/>
                  </a:lnTo>
                  <a:lnTo>
                    <a:pt x="40387" y="190284"/>
                  </a:lnTo>
                  <a:lnTo>
                    <a:pt x="63687" y="190284"/>
                  </a:lnTo>
                  <a:lnTo>
                    <a:pt x="63687" y="231448"/>
                  </a:lnTo>
                  <a:lnTo>
                    <a:pt x="0" y="231448"/>
                  </a:lnTo>
                  <a:lnTo>
                    <a:pt x="0" y="0"/>
                  </a:lnTo>
                  <a:lnTo>
                    <a:pt x="482312" y="0"/>
                  </a:lnTo>
                  <a:lnTo>
                    <a:pt x="482312" y="231448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97" name="Forma Livre: Forma 196">
              <a:extLst>
                <a:ext uri="{FF2B5EF4-FFF2-40B4-BE49-F238E27FC236}">
                  <a16:creationId xmlns:a16="http://schemas.microsoft.com/office/drawing/2014/main" id="{43ED748E-BEB8-4E5C-87C4-9FD14E118EC3}"/>
                </a:ext>
              </a:extLst>
            </p:cNvPr>
            <p:cNvSpPr/>
            <p:nvPr/>
          </p:nvSpPr>
          <p:spPr>
            <a:xfrm>
              <a:off x="3046791" y="5379219"/>
              <a:ext cx="48153" cy="48153"/>
            </a:xfrm>
            <a:custGeom>
              <a:avLst/>
              <a:gdLst>
                <a:gd name="connsiteX0" fmla="*/ 24077 w 48153"/>
                <a:gd name="connsiteY0" fmla="*/ 0 h 48153"/>
                <a:gd name="connsiteX1" fmla="*/ 0 w 48153"/>
                <a:gd name="connsiteY1" fmla="*/ 24077 h 48153"/>
                <a:gd name="connsiteX2" fmla="*/ 24077 w 48153"/>
                <a:gd name="connsiteY2" fmla="*/ 48154 h 48153"/>
                <a:gd name="connsiteX3" fmla="*/ 48154 w 48153"/>
                <a:gd name="connsiteY3" fmla="*/ 24077 h 48153"/>
                <a:gd name="connsiteX4" fmla="*/ 24077 w 48153"/>
                <a:gd name="connsiteY4" fmla="*/ 0 h 48153"/>
                <a:gd name="connsiteX5" fmla="*/ 24077 w 48153"/>
                <a:gd name="connsiteY5" fmla="*/ 0 h 48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153" h="48153">
                  <a:moveTo>
                    <a:pt x="24077" y="0"/>
                  </a:moveTo>
                  <a:cubicBezTo>
                    <a:pt x="10873" y="0"/>
                    <a:pt x="0" y="10874"/>
                    <a:pt x="0" y="24077"/>
                  </a:cubicBezTo>
                  <a:cubicBezTo>
                    <a:pt x="0" y="37281"/>
                    <a:pt x="10873" y="48154"/>
                    <a:pt x="24077" y="48154"/>
                  </a:cubicBezTo>
                  <a:cubicBezTo>
                    <a:pt x="37280" y="48154"/>
                    <a:pt x="48154" y="37281"/>
                    <a:pt x="48154" y="24077"/>
                  </a:cubicBezTo>
                  <a:cubicBezTo>
                    <a:pt x="48154" y="10874"/>
                    <a:pt x="37280" y="0"/>
                    <a:pt x="24077" y="0"/>
                  </a:cubicBezTo>
                  <a:lnTo>
                    <a:pt x="24077" y="0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98" name="Forma Livre: Forma 197">
              <a:extLst>
                <a:ext uri="{FF2B5EF4-FFF2-40B4-BE49-F238E27FC236}">
                  <a16:creationId xmlns:a16="http://schemas.microsoft.com/office/drawing/2014/main" id="{246BDBE4-9F1F-4662-B7B3-2457CDF7F0FF}"/>
                </a:ext>
              </a:extLst>
            </p:cNvPr>
            <p:cNvSpPr/>
            <p:nvPr/>
          </p:nvSpPr>
          <p:spPr>
            <a:xfrm>
              <a:off x="2875147" y="5388539"/>
              <a:ext cx="146790" cy="20193"/>
            </a:xfrm>
            <a:custGeom>
              <a:avLst/>
              <a:gdLst>
                <a:gd name="connsiteX0" fmla="*/ 136694 w 146790"/>
                <a:gd name="connsiteY0" fmla="*/ 20194 h 20193"/>
                <a:gd name="connsiteX1" fmla="*/ 10097 w 146790"/>
                <a:gd name="connsiteY1" fmla="*/ 20194 h 20193"/>
                <a:gd name="connsiteX2" fmla="*/ 0 w 146790"/>
                <a:gd name="connsiteY2" fmla="*/ 10097 h 20193"/>
                <a:gd name="connsiteX3" fmla="*/ 10097 w 146790"/>
                <a:gd name="connsiteY3" fmla="*/ 0 h 20193"/>
                <a:gd name="connsiteX4" fmla="*/ 136694 w 146790"/>
                <a:gd name="connsiteY4" fmla="*/ 0 h 20193"/>
                <a:gd name="connsiteX5" fmla="*/ 146791 w 146790"/>
                <a:gd name="connsiteY5" fmla="*/ 10097 h 20193"/>
                <a:gd name="connsiteX6" fmla="*/ 136694 w 146790"/>
                <a:gd name="connsiteY6" fmla="*/ 20194 h 20193"/>
                <a:gd name="connsiteX7" fmla="*/ 136694 w 146790"/>
                <a:gd name="connsiteY7" fmla="*/ 20194 h 20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6790" h="20193">
                  <a:moveTo>
                    <a:pt x="136694" y="20194"/>
                  </a:moveTo>
                  <a:lnTo>
                    <a:pt x="10097" y="20194"/>
                  </a:lnTo>
                  <a:cubicBezTo>
                    <a:pt x="4660" y="20194"/>
                    <a:pt x="0" y="15533"/>
                    <a:pt x="0" y="10097"/>
                  </a:cubicBezTo>
                  <a:cubicBezTo>
                    <a:pt x="0" y="4660"/>
                    <a:pt x="4660" y="0"/>
                    <a:pt x="10097" y="0"/>
                  </a:cubicBezTo>
                  <a:lnTo>
                    <a:pt x="136694" y="0"/>
                  </a:lnTo>
                  <a:cubicBezTo>
                    <a:pt x="142131" y="0"/>
                    <a:pt x="146791" y="4660"/>
                    <a:pt x="146791" y="10097"/>
                  </a:cubicBezTo>
                  <a:cubicBezTo>
                    <a:pt x="146791" y="15533"/>
                    <a:pt x="142131" y="20194"/>
                    <a:pt x="136694" y="20194"/>
                  </a:cubicBezTo>
                  <a:lnTo>
                    <a:pt x="136694" y="20194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99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4365652" y="4641276"/>
            <a:ext cx="392891" cy="427000"/>
            <a:chOff x="3967922" y="5076317"/>
            <a:chExt cx="483089" cy="525029"/>
          </a:xfrm>
          <a:solidFill>
            <a:srgbClr val="B1B1A1"/>
          </a:solidFill>
        </p:grpSpPr>
        <p:grpSp>
          <p:nvGrpSpPr>
            <p:cNvPr id="200" name="Gráfico 2">
              <a:extLst>
                <a:ext uri="{FF2B5EF4-FFF2-40B4-BE49-F238E27FC236}">
                  <a16:creationId xmlns:a16="http://schemas.microsoft.com/office/drawing/2014/main" id="{777488D5-C9B0-42ED-94FB-5C76F4BD1A17}"/>
                </a:ext>
              </a:extLst>
            </p:cNvPr>
            <p:cNvGrpSpPr/>
            <p:nvPr/>
          </p:nvGrpSpPr>
          <p:grpSpPr>
            <a:xfrm>
              <a:off x="4048696" y="5076317"/>
              <a:ext cx="320849" cy="222904"/>
              <a:chOff x="4048696" y="5076317"/>
              <a:chExt cx="320849" cy="222904"/>
            </a:xfrm>
            <a:grpFill/>
          </p:grpSpPr>
          <p:sp>
            <p:nvSpPr>
              <p:cNvPr id="201" name="Forma Livre: Forma 200">
                <a:extLst>
                  <a:ext uri="{FF2B5EF4-FFF2-40B4-BE49-F238E27FC236}">
                    <a16:creationId xmlns:a16="http://schemas.microsoft.com/office/drawing/2014/main" id="{57E0B850-8B15-4FFC-9345-9B89E9FD1631}"/>
                  </a:ext>
                </a:extLst>
              </p:cNvPr>
              <p:cNvSpPr/>
              <p:nvPr/>
            </p:nvSpPr>
            <p:spPr>
              <a:xfrm>
                <a:off x="4049473" y="5076317"/>
                <a:ext cx="130480" cy="130481"/>
              </a:xfrm>
              <a:custGeom>
                <a:avLst/>
                <a:gdLst>
                  <a:gd name="connsiteX0" fmla="*/ 120384 w 130480"/>
                  <a:gd name="connsiteY0" fmla="*/ 130481 h 130481"/>
                  <a:gd name="connsiteX1" fmla="*/ 10097 w 130480"/>
                  <a:gd name="connsiteY1" fmla="*/ 130481 h 130481"/>
                  <a:gd name="connsiteX2" fmla="*/ 0 w 130480"/>
                  <a:gd name="connsiteY2" fmla="*/ 120384 h 130481"/>
                  <a:gd name="connsiteX3" fmla="*/ 10097 w 130480"/>
                  <a:gd name="connsiteY3" fmla="*/ 110287 h 130481"/>
                  <a:gd name="connsiteX4" fmla="*/ 110287 w 130480"/>
                  <a:gd name="connsiteY4" fmla="*/ 110287 h 130481"/>
                  <a:gd name="connsiteX5" fmla="*/ 110287 w 130480"/>
                  <a:gd name="connsiteY5" fmla="*/ 10097 h 130481"/>
                  <a:gd name="connsiteX6" fmla="*/ 120384 w 130480"/>
                  <a:gd name="connsiteY6" fmla="*/ 0 h 130481"/>
                  <a:gd name="connsiteX7" fmla="*/ 130481 w 130480"/>
                  <a:gd name="connsiteY7" fmla="*/ 10097 h 130481"/>
                  <a:gd name="connsiteX8" fmla="*/ 130481 w 130480"/>
                  <a:gd name="connsiteY8" fmla="*/ 120384 h 130481"/>
                  <a:gd name="connsiteX9" fmla="*/ 120384 w 130480"/>
                  <a:gd name="connsiteY9" fmla="*/ 130481 h 130481"/>
                  <a:gd name="connsiteX10" fmla="*/ 120384 w 130480"/>
                  <a:gd name="connsiteY10" fmla="*/ 130481 h 1304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30480" h="130481">
                    <a:moveTo>
                      <a:pt x="120384" y="130481"/>
                    </a:moveTo>
                    <a:lnTo>
                      <a:pt x="10097" y="130481"/>
                    </a:lnTo>
                    <a:cubicBezTo>
                      <a:pt x="4660" y="130481"/>
                      <a:pt x="0" y="125821"/>
                      <a:pt x="0" y="120384"/>
                    </a:cubicBezTo>
                    <a:cubicBezTo>
                      <a:pt x="0" y="114948"/>
                      <a:pt x="4660" y="110287"/>
                      <a:pt x="10097" y="110287"/>
                    </a:cubicBezTo>
                    <a:lnTo>
                      <a:pt x="110287" y="110287"/>
                    </a:lnTo>
                    <a:lnTo>
                      <a:pt x="110287" y="10097"/>
                    </a:lnTo>
                    <a:cubicBezTo>
                      <a:pt x="110287" y="4660"/>
                      <a:pt x="114947" y="0"/>
                      <a:pt x="120384" y="0"/>
                    </a:cubicBezTo>
                    <a:cubicBezTo>
                      <a:pt x="125821" y="0"/>
                      <a:pt x="130481" y="4660"/>
                      <a:pt x="130481" y="10097"/>
                    </a:cubicBezTo>
                    <a:lnTo>
                      <a:pt x="130481" y="120384"/>
                    </a:lnTo>
                    <a:cubicBezTo>
                      <a:pt x="130481" y="125821"/>
                      <a:pt x="125821" y="130481"/>
                      <a:pt x="120384" y="130481"/>
                    </a:cubicBezTo>
                    <a:lnTo>
                      <a:pt x="120384" y="130481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02" name="Forma Livre: Forma 201">
                <a:extLst>
                  <a:ext uri="{FF2B5EF4-FFF2-40B4-BE49-F238E27FC236}">
                    <a16:creationId xmlns:a16="http://schemas.microsoft.com/office/drawing/2014/main" id="{05AA1D27-B192-401B-B490-C838EA02B3B1}"/>
                  </a:ext>
                </a:extLst>
              </p:cNvPr>
              <p:cNvSpPr/>
              <p:nvPr/>
            </p:nvSpPr>
            <p:spPr>
              <a:xfrm>
                <a:off x="4048696" y="5076317"/>
                <a:ext cx="320849" cy="222904"/>
              </a:xfrm>
              <a:custGeom>
                <a:avLst/>
                <a:gdLst>
                  <a:gd name="connsiteX0" fmla="*/ 310668 w 320849"/>
                  <a:gd name="connsiteY0" fmla="*/ 222905 h 222904"/>
                  <a:gd name="connsiteX1" fmla="*/ 10097 w 320849"/>
                  <a:gd name="connsiteY1" fmla="*/ 222905 h 222904"/>
                  <a:gd name="connsiteX2" fmla="*/ 0 w 320849"/>
                  <a:gd name="connsiteY2" fmla="*/ 212808 h 222904"/>
                  <a:gd name="connsiteX3" fmla="*/ 0 w 320849"/>
                  <a:gd name="connsiteY3" fmla="*/ 120384 h 222904"/>
                  <a:gd name="connsiteX4" fmla="*/ 3107 w 320849"/>
                  <a:gd name="connsiteY4" fmla="*/ 113394 h 222904"/>
                  <a:gd name="connsiteX5" fmla="*/ 113394 w 320849"/>
                  <a:gd name="connsiteY5" fmla="*/ 3107 h 222904"/>
                  <a:gd name="connsiteX6" fmla="*/ 120384 w 320849"/>
                  <a:gd name="connsiteY6" fmla="*/ 0 h 222904"/>
                  <a:gd name="connsiteX7" fmla="*/ 310668 w 320849"/>
                  <a:gd name="connsiteY7" fmla="*/ 0 h 222904"/>
                  <a:gd name="connsiteX8" fmla="*/ 320765 w 320849"/>
                  <a:gd name="connsiteY8" fmla="*/ 10097 h 222904"/>
                  <a:gd name="connsiteX9" fmla="*/ 320765 w 320849"/>
                  <a:gd name="connsiteY9" fmla="*/ 212808 h 222904"/>
                  <a:gd name="connsiteX10" fmla="*/ 310668 w 320849"/>
                  <a:gd name="connsiteY10" fmla="*/ 222905 h 222904"/>
                  <a:gd name="connsiteX11" fmla="*/ 310668 w 320849"/>
                  <a:gd name="connsiteY11" fmla="*/ 222905 h 222904"/>
                  <a:gd name="connsiteX12" fmla="*/ 20970 w 320849"/>
                  <a:gd name="connsiteY12" fmla="*/ 201934 h 222904"/>
                  <a:gd name="connsiteX13" fmla="*/ 300571 w 320849"/>
                  <a:gd name="connsiteY13" fmla="*/ 201934 h 222904"/>
                  <a:gd name="connsiteX14" fmla="*/ 300571 w 320849"/>
                  <a:gd name="connsiteY14" fmla="*/ 19417 h 222904"/>
                  <a:gd name="connsiteX15" fmla="*/ 125044 w 320849"/>
                  <a:gd name="connsiteY15" fmla="*/ 19417 h 222904"/>
                  <a:gd name="connsiteX16" fmla="*/ 20970 w 320849"/>
                  <a:gd name="connsiteY16" fmla="*/ 123491 h 222904"/>
                  <a:gd name="connsiteX17" fmla="*/ 20970 w 320849"/>
                  <a:gd name="connsiteY17" fmla="*/ 201934 h 222904"/>
                  <a:gd name="connsiteX18" fmla="*/ 20970 w 320849"/>
                  <a:gd name="connsiteY18" fmla="*/ 201934 h 2229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20849" h="222904">
                    <a:moveTo>
                      <a:pt x="310668" y="222905"/>
                    </a:moveTo>
                    <a:lnTo>
                      <a:pt x="10097" y="222905"/>
                    </a:lnTo>
                    <a:cubicBezTo>
                      <a:pt x="4660" y="222905"/>
                      <a:pt x="0" y="218245"/>
                      <a:pt x="0" y="212808"/>
                    </a:cubicBezTo>
                    <a:lnTo>
                      <a:pt x="0" y="120384"/>
                    </a:lnTo>
                    <a:cubicBezTo>
                      <a:pt x="0" y="117278"/>
                      <a:pt x="777" y="114948"/>
                      <a:pt x="3107" y="113394"/>
                    </a:cubicBezTo>
                    <a:lnTo>
                      <a:pt x="113394" y="3107"/>
                    </a:lnTo>
                    <a:cubicBezTo>
                      <a:pt x="114947" y="1553"/>
                      <a:pt x="118054" y="0"/>
                      <a:pt x="120384" y="0"/>
                    </a:cubicBezTo>
                    <a:lnTo>
                      <a:pt x="310668" y="0"/>
                    </a:lnTo>
                    <a:cubicBezTo>
                      <a:pt x="316105" y="0"/>
                      <a:pt x="320765" y="4660"/>
                      <a:pt x="320765" y="10097"/>
                    </a:cubicBezTo>
                    <a:lnTo>
                      <a:pt x="320765" y="212808"/>
                    </a:lnTo>
                    <a:cubicBezTo>
                      <a:pt x="321542" y="218245"/>
                      <a:pt x="316882" y="222905"/>
                      <a:pt x="310668" y="222905"/>
                    </a:cubicBezTo>
                    <a:lnTo>
                      <a:pt x="310668" y="222905"/>
                    </a:lnTo>
                    <a:close/>
                    <a:moveTo>
                      <a:pt x="20970" y="201934"/>
                    </a:moveTo>
                    <a:lnTo>
                      <a:pt x="300571" y="201934"/>
                    </a:lnTo>
                    <a:lnTo>
                      <a:pt x="300571" y="19417"/>
                    </a:lnTo>
                    <a:lnTo>
                      <a:pt x="125044" y="19417"/>
                    </a:lnTo>
                    <a:lnTo>
                      <a:pt x="20970" y="123491"/>
                    </a:lnTo>
                    <a:lnTo>
                      <a:pt x="20970" y="201934"/>
                    </a:lnTo>
                    <a:lnTo>
                      <a:pt x="20970" y="201934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203" name="Forma Livre: Forma 202">
              <a:extLst>
                <a:ext uri="{FF2B5EF4-FFF2-40B4-BE49-F238E27FC236}">
                  <a16:creationId xmlns:a16="http://schemas.microsoft.com/office/drawing/2014/main" id="{E775B5D1-D012-42CA-BC27-69101E85C5A1}"/>
                </a:ext>
              </a:extLst>
            </p:cNvPr>
            <p:cNvSpPr/>
            <p:nvPr/>
          </p:nvSpPr>
          <p:spPr>
            <a:xfrm>
              <a:off x="4050250" y="5416499"/>
              <a:ext cx="320765" cy="111840"/>
            </a:xfrm>
            <a:custGeom>
              <a:avLst/>
              <a:gdLst>
                <a:gd name="connsiteX0" fmla="*/ 319988 w 320765"/>
                <a:gd name="connsiteY0" fmla="*/ 111064 h 111840"/>
                <a:gd name="connsiteX1" fmla="*/ 299795 w 320765"/>
                <a:gd name="connsiteY1" fmla="*/ 111064 h 111840"/>
                <a:gd name="connsiteX2" fmla="*/ 299795 w 320765"/>
                <a:gd name="connsiteY2" fmla="*/ 20193 h 111840"/>
                <a:gd name="connsiteX3" fmla="*/ 20193 w 320765"/>
                <a:gd name="connsiteY3" fmla="*/ 20193 h 111840"/>
                <a:gd name="connsiteX4" fmla="*/ 20193 w 320765"/>
                <a:gd name="connsiteY4" fmla="*/ 111840 h 111840"/>
                <a:gd name="connsiteX5" fmla="*/ 0 w 320765"/>
                <a:gd name="connsiteY5" fmla="*/ 111840 h 111840"/>
                <a:gd name="connsiteX6" fmla="*/ 0 w 320765"/>
                <a:gd name="connsiteY6" fmla="*/ 10097 h 111840"/>
                <a:gd name="connsiteX7" fmla="*/ 10097 w 320765"/>
                <a:gd name="connsiteY7" fmla="*/ 0 h 111840"/>
                <a:gd name="connsiteX8" fmla="*/ 310668 w 320765"/>
                <a:gd name="connsiteY8" fmla="*/ 0 h 111840"/>
                <a:gd name="connsiteX9" fmla="*/ 320765 w 320765"/>
                <a:gd name="connsiteY9" fmla="*/ 10097 h 111840"/>
                <a:gd name="connsiteX10" fmla="*/ 320765 w 320765"/>
                <a:gd name="connsiteY10" fmla="*/ 111064 h 111840"/>
                <a:gd name="connsiteX11" fmla="*/ 319988 w 320765"/>
                <a:gd name="connsiteY11" fmla="*/ 111064 h 111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0765" h="111840">
                  <a:moveTo>
                    <a:pt x="319988" y="111064"/>
                  </a:moveTo>
                  <a:lnTo>
                    <a:pt x="299795" y="111064"/>
                  </a:lnTo>
                  <a:lnTo>
                    <a:pt x="299795" y="20193"/>
                  </a:lnTo>
                  <a:lnTo>
                    <a:pt x="20193" y="20193"/>
                  </a:lnTo>
                  <a:lnTo>
                    <a:pt x="20193" y="111840"/>
                  </a:lnTo>
                  <a:lnTo>
                    <a:pt x="0" y="111840"/>
                  </a:lnTo>
                  <a:lnTo>
                    <a:pt x="0" y="10097"/>
                  </a:lnTo>
                  <a:cubicBezTo>
                    <a:pt x="0" y="4660"/>
                    <a:pt x="4660" y="0"/>
                    <a:pt x="10097" y="0"/>
                  </a:cubicBezTo>
                  <a:lnTo>
                    <a:pt x="310668" y="0"/>
                  </a:lnTo>
                  <a:cubicBezTo>
                    <a:pt x="316105" y="0"/>
                    <a:pt x="320765" y="4660"/>
                    <a:pt x="320765" y="10097"/>
                  </a:cubicBezTo>
                  <a:lnTo>
                    <a:pt x="320765" y="111064"/>
                  </a:lnTo>
                  <a:lnTo>
                    <a:pt x="319988" y="111064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04" name="Forma Livre: Forma 203">
              <a:extLst>
                <a:ext uri="{FF2B5EF4-FFF2-40B4-BE49-F238E27FC236}">
                  <a16:creationId xmlns:a16="http://schemas.microsoft.com/office/drawing/2014/main" id="{288463E9-AB8F-4A5D-B90B-264BB1315D6F}"/>
                </a:ext>
              </a:extLst>
            </p:cNvPr>
            <p:cNvSpPr/>
            <p:nvPr/>
          </p:nvSpPr>
          <p:spPr>
            <a:xfrm>
              <a:off x="3967922" y="5271262"/>
              <a:ext cx="483089" cy="231447"/>
            </a:xfrm>
            <a:custGeom>
              <a:avLst/>
              <a:gdLst>
                <a:gd name="connsiteX0" fmla="*/ 483089 w 483089"/>
                <a:gd name="connsiteY0" fmla="*/ 231448 h 231447"/>
                <a:gd name="connsiteX1" fmla="*/ 418626 w 483089"/>
                <a:gd name="connsiteY1" fmla="*/ 231448 h 231447"/>
                <a:gd name="connsiteX2" fmla="*/ 418626 w 483089"/>
                <a:gd name="connsiteY2" fmla="*/ 190284 h 231447"/>
                <a:gd name="connsiteX3" fmla="*/ 441926 w 483089"/>
                <a:gd name="connsiteY3" fmla="*/ 190284 h 231447"/>
                <a:gd name="connsiteX4" fmla="*/ 441926 w 483089"/>
                <a:gd name="connsiteY4" fmla="*/ 41163 h 231447"/>
                <a:gd name="connsiteX5" fmla="*/ 41163 w 483089"/>
                <a:gd name="connsiteY5" fmla="*/ 41163 h 231447"/>
                <a:gd name="connsiteX6" fmla="*/ 41163 w 483089"/>
                <a:gd name="connsiteY6" fmla="*/ 190284 h 231447"/>
                <a:gd name="connsiteX7" fmla="*/ 64464 w 483089"/>
                <a:gd name="connsiteY7" fmla="*/ 190284 h 231447"/>
                <a:gd name="connsiteX8" fmla="*/ 64464 w 483089"/>
                <a:gd name="connsiteY8" fmla="*/ 231448 h 231447"/>
                <a:gd name="connsiteX9" fmla="*/ 0 w 483089"/>
                <a:gd name="connsiteY9" fmla="*/ 231448 h 231447"/>
                <a:gd name="connsiteX10" fmla="*/ 0 w 483089"/>
                <a:gd name="connsiteY10" fmla="*/ 0 h 231447"/>
                <a:gd name="connsiteX11" fmla="*/ 483089 w 483089"/>
                <a:gd name="connsiteY11" fmla="*/ 0 h 231447"/>
                <a:gd name="connsiteX12" fmla="*/ 483089 w 483089"/>
                <a:gd name="connsiteY12" fmla="*/ 231448 h 231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83089" h="231447">
                  <a:moveTo>
                    <a:pt x="483089" y="231448"/>
                  </a:moveTo>
                  <a:lnTo>
                    <a:pt x="418626" y="231448"/>
                  </a:lnTo>
                  <a:lnTo>
                    <a:pt x="418626" y="190284"/>
                  </a:lnTo>
                  <a:lnTo>
                    <a:pt x="441926" y="190284"/>
                  </a:lnTo>
                  <a:lnTo>
                    <a:pt x="441926" y="41163"/>
                  </a:lnTo>
                  <a:lnTo>
                    <a:pt x="41163" y="41163"/>
                  </a:lnTo>
                  <a:lnTo>
                    <a:pt x="41163" y="190284"/>
                  </a:lnTo>
                  <a:lnTo>
                    <a:pt x="64464" y="190284"/>
                  </a:lnTo>
                  <a:lnTo>
                    <a:pt x="64464" y="231448"/>
                  </a:lnTo>
                  <a:lnTo>
                    <a:pt x="0" y="231448"/>
                  </a:lnTo>
                  <a:lnTo>
                    <a:pt x="0" y="0"/>
                  </a:lnTo>
                  <a:lnTo>
                    <a:pt x="483089" y="0"/>
                  </a:lnTo>
                  <a:lnTo>
                    <a:pt x="483089" y="231448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05" name="Forma Livre: Forma 204">
              <a:extLst>
                <a:ext uri="{FF2B5EF4-FFF2-40B4-BE49-F238E27FC236}">
                  <a16:creationId xmlns:a16="http://schemas.microsoft.com/office/drawing/2014/main" id="{0CAF1994-BE13-47FF-A912-761FA5FEEF18}"/>
                </a:ext>
              </a:extLst>
            </p:cNvPr>
            <p:cNvSpPr/>
            <p:nvPr/>
          </p:nvSpPr>
          <p:spPr>
            <a:xfrm>
              <a:off x="4305774" y="5342716"/>
              <a:ext cx="48153" cy="48153"/>
            </a:xfrm>
            <a:custGeom>
              <a:avLst/>
              <a:gdLst>
                <a:gd name="connsiteX0" fmla="*/ 24077 w 48153"/>
                <a:gd name="connsiteY0" fmla="*/ 0 h 48153"/>
                <a:gd name="connsiteX1" fmla="*/ 0 w 48153"/>
                <a:gd name="connsiteY1" fmla="*/ 24077 h 48153"/>
                <a:gd name="connsiteX2" fmla="*/ 24077 w 48153"/>
                <a:gd name="connsiteY2" fmla="*/ 48153 h 48153"/>
                <a:gd name="connsiteX3" fmla="*/ 48154 w 48153"/>
                <a:gd name="connsiteY3" fmla="*/ 24077 h 48153"/>
                <a:gd name="connsiteX4" fmla="*/ 24077 w 48153"/>
                <a:gd name="connsiteY4" fmla="*/ 0 h 48153"/>
                <a:gd name="connsiteX5" fmla="*/ 24077 w 48153"/>
                <a:gd name="connsiteY5" fmla="*/ 0 h 48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153" h="48153">
                  <a:moveTo>
                    <a:pt x="24077" y="0"/>
                  </a:moveTo>
                  <a:cubicBezTo>
                    <a:pt x="10874" y="0"/>
                    <a:pt x="0" y="10873"/>
                    <a:pt x="0" y="24077"/>
                  </a:cubicBezTo>
                  <a:cubicBezTo>
                    <a:pt x="0" y="37280"/>
                    <a:pt x="10874" y="48153"/>
                    <a:pt x="24077" y="48153"/>
                  </a:cubicBezTo>
                  <a:cubicBezTo>
                    <a:pt x="37280" y="48153"/>
                    <a:pt x="48154" y="37280"/>
                    <a:pt x="48154" y="24077"/>
                  </a:cubicBezTo>
                  <a:cubicBezTo>
                    <a:pt x="48154" y="10873"/>
                    <a:pt x="37280" y="0"/>
                    <a:pt x="24077" y="0"/>
                  </a:cubicBezTo>
                  <a:lnTo>
                    <a:pt x="24077" y="0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06" name="Forma Livre: Forma 205">
              <a:extLst>
                <a:ext uri="{FF2B5EF4-FFF2-40B4-BE49-F238E27FC236}">
                  <a16:creationId xmlns:a16="http://schemas.microsoft.com/office/drawing/2014/main" id="{4873238C-DAEA-475B-830B-78AC81460F25}"/>
                </a:ext>
              </a:extLst>
            </p:cNvPr>
            <p:cNvSpPr/>
            <p:nvPr/>
          </p:nvSpPr>
          <p:spPr>
            <a:xfrm>
              <a:off x="4134130" y="5351259"/>
              <a:ext cx="146790" cy="20193"/>
            </a:xfrm>
            <a:custGeom>
              <a:avLst/>
              <a:gdLst>
                <a:gd name="connsiteX0" fmla="*/ 136694 w 146790"/>
                <a:gd name="connsiteY0" fmla="*/ 20193 h 20193"/>
                <a:gd name="connsiteX1" fmla="*/ 10097 w 146790"/>
                <a:gd name="connsiteY1" fmla="*/ 20193 h 20193"/>
                <a:gd name="connsiteX2" fmla="*/ 0 w 146790"/>
                <a:gd name="connsiteY2" fmla="*/ 10097 h 20193"/>
                <a:gd name="connsiteX3" fmla="*/ 10097 w 146790"/>
                <a:gd name="connsiteY3" fmla="*/ 0 h 20193"/>
                <a:gd name="connsiteX4" fmla="*/ 136694 w 146790"/>
                <a:gd name="connsiteY4" fmla="*/ 0 h 20193"/>
                <a:gd name="connsiteX5" fmla="*/ 146790 w 146790"/>
                <a:gd name="connsiteY5" fmla="*/ 10097 h 20193"/>
                <a:gd name="connsiteX6" fmla="*/ 136694 w 146790"/>
                <a:gd name="connsiteY6" fmla="*/ 20193 h 20193"/>
                <a:gd name="connsiteX7" fmla="*/ 136694 w 146790"/>
                <a:gd name="connsiteY7" fmla="*/ 20193 h 20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6790" h="20193">
                  <a:moveTo>
                    <a:pt x="136694" y="20193"/>
                  </a:moveTo>
                  <a:lnTo>
                    <a:pt x="10097" y="20193"/>
                  </a:lnTo>
                  <a:cubicBezTo>
                    <a:pt x="4660" y="20193"/>
                    <a:pt x="0" y="15533"/>
                    <a:pt x="0" y="10097"/>
                  </a:cubicBezTo>
                  <a:cubicBezTo>
                    <a:pt x="0" y="4660"/>
                    <a:pt x="4660" y="0"/>
                    <a:pt x="10097" y="0"/>
                  </a:cubicBezTo>
                  <a:lnTo>
                    <a:pt x="136694" y="0"/>
                  </a:lnTo>
                  <a:cubicBezTo>
                    <a:pt x="142131" y="0"/>
                    <a:pt x="146790" y="4660"/>
                    <a:pt x="146790" y="10097"/>
                  </a:cubicBezTo>
                  <a:cubicBezTo>
                    <a:pt x="146790" y="16310"/>
                    <a:pt x="142131" y="20193"/>
                    <a:pt x="136694" y="20193"/>
                  </a:cubicBezTo>
                  <a:lnTo>
                    <a:pt x="136694" y="20193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07" name="Forma Livre: Forma 206">
              <a:extLst>
                <a:ext uri="{FF2B5EF4-FFF2-40B4-BE49-F238E27FC236}">
                  <a16:creationId xmlns:a16="http://schemas.microsoft.com/office/drawing/2014/main" id="{14695709-1492-497E-84F4-F6E134657863}"/>
                </a:ext>
              </a:extLst>
            </p:cNvPr>
            <p:cNvSpPr/>
            <p:nvPr/>
          </p:nvSpPr>
          <p:spPr>
            <a:xfrm>
              <a:off x="4106946" y="5431256"/>
              <a:ext cx="20969" cy="134363"/>
            </a:xfrm>
            <a:custGeom>
              <a:avLst/>
              <a:gdLst>
                <a:gd name="connsiteX0" fmla="*/ 20970 w 20969"/>
                <a:gd name="connsiteY0" fmla="*/ 134364 h 134363"/>
                <a:gd name="connsiteX1" fmla="*/ 0 w 20969"/>
                <a:gd name="connsiteY1" fmla="*/ 134364 h 134363"/>
                <a:gd name="connsiteX2" fmla="*/ 0 w 20969"/>
                <a:gd name="connsiteY2" fmla="*/ 0 h 134363"/>
                <a:gd name="connsiteX3" fmla="*/ 20970 w 20969"/>
                <a:gd name="connsiteY3" fmla="*/ 0 h 134363"/>
                <a:gd name="connsiteX4" fmla="*/ 20970 w 20969"/>
                <a:gd name="connsiteY4" fmla="*/ 134364 h 134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969" h="134363">
                  <a:moveTo>
                    <a:pt x="20970" y="134364"/>
                  </a:moveTo>
                  <a:lnTo>
                    <a:pt x="0" y="134364"/>
                  </a:lnTo>
                  <a:lnTo>
                    <a:pt x="0" y="0"/>
                  </a:lnTo>
                  <a:lnTo>
                    <a:pt x="20970" y="0"/>
                  </a:lnTo>
                  <a:lnTo>
                    <a:pt x="20970" y="134364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08" name="Forma Livre: Forma 207">
              <a:extLst>
                <a:ext uri="{FF2B5EF4-FFF2-40B4-BE49-F238E27FC236}">
                  <a16:creationId xmlns:a16="http://schemas.microsoft.com/office/drawing/2014/main" id="{CC724B82-88D8-4B1E-9B04-9C11E5D54FEE}"/>
                </a:ext>
              </a:extLst>
            </p:cNvPr>
            <p:cNvSpPr/>
            <p:nvPr/>
          </p:nvSpPr>
          <p:spPr>
            <a:xfrm>
              <a:off x="4165973" y="5431256"/>
              <a:ext cx="20970" cy="170091"/>
            </a:xfrm>
            <a:custGeom>
              <a:avLst/>
              <a:gdLst>
                <a:gd name="connsiteX0" fmla="*/ 20970 w 20970"/>
                <a:gd name="connsiteY0" fmla="*/ 170091 h 170091"/>
                <a:gd name="connsiteX1" fmla="*/ 0 w 20970"/>
                <a:gd name="connsiteY1" fmla="*/ 170091 h 170091"/>
                <a:gd name="connsiteX2" fmla="*/ 0 w 20970"/>
                <a:gd name="connsiteY2" fmla="*/ 0 h 170091"/>
                <a:gd name="connsiteX3" fmla="*/ 20970 w 20970"/>
                <a:gd name="connsiteY3" fmla="*/ 0 h 170091"/>
                <a:gd name="connsiteX4" fmla="*/ 20970 w 20970"/>
                <a:gd name="connsiteY4" fmla="*/ 170091 h 170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970" h="170091">
                  <a:moveTo>
                    <a:pt x="20970" y="170091"/>
                  </a:moveTo>
                  <a:lnTo>
                    <a:pt x="0" y="170091"/>
                  </a:lnTo>
                  <a:lnTo>
                    <a:pt x="0" y="0"/>
                  </a:lnTo>
                  <a:lnTo>
                    <a:pt x="20970" y="0"/>
                  </a:lnTo>
                  <a:lnTo>
                    <a:pt x="20970" y="170091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09" name="Forma Livre: Forma 208">
              <a:extLst>
                <a:ext uri="{FF2B5EF4-FFF2-40B4-BE49-F238E27FC236}">
                  <a16:creationId xmlns:a16="http://schemas.microsoft.com/office/drawing/2014/main" id="{29F3DE51-802C-4045-8F68-D4080228D8B3}"/>
                </a:ext>
              </a:extLst>
            </p:cNvPr>
            <p:cNvSpPr/>
            <p:nvPr/>
          </p:nvSpPr>
          <p:spPr>
            <a:xfrm>
              <a:off x="4225777" y="5431256"/>
              <a:ext cx="20193" cy="170091"/>
            </a:xfrm>
            <a:custGeom>
              <a:avLst/>
              <a:gdLst>
                <a:gd name="connsiteX0" fmla="*/ 20193 w 20193"/>
                <a:gd name="connsiteY0" fmla="*/ 170091 h 170091"/>
                <a:gd name="connsiteX1" fmla="*/ 0 w 20193"/>
                <a:gd name="connsiteY1" fmla="*/ 170091 h 170091"/>
                <a:gd name="connsiteX2" fmla="*/ 0 w 20193"/>
                <a:gd name="connsiteY2" fmla="*/ 0 h 170091"/>
                <a:gd name="connsiteX3" fmla="*/ 20193 w 20193"/>
                <a:gd name="connsiteY3" fmla="*/ 0 h 170091"/>
                <a:gd name="connsiteX4" fmla="*/ 20193 w 20193"/>
                <a:gd name="connsiteY4" fmla="*/ 170091 h 170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93" h="170091">
                  <a:moveTo>
                    <a:pt x="20193" y="170091"/>
                  </a:moveTo>
                  <a:lnTo>
                    <a:pt x="0" y="170091"/>
                  </a:lnTo>
                  <a:lnTo>
                    <a:pt x="0" y="0"/>
                  </a:lnTo>
                  <a:lnTo>
                    <a:pt x="20193" y="0"/>
                  </a:lnTo>
                  <a:lnTo>
                    <a:pt x="20193" y="170091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10" name="Forma Livre: Forma 209">
              <a:extLst>
                <a:ext uri="{FF2B5EF4-FFF2-40B4-BE49-F238E27FC236}">
                  <a16:creationId xmlns:a16="http://schemas.microsoft.com/office/drawing/2014/main" id="{0C0B6249-B2FD-4519-B636-08A0AAA8D162}"/>
                </a:ext>
              </a:extLst>
            </p:cNvPr>
            <p:cNvSpPr/>
            <p:nvPr/>
          </p:nvSpPr>
          <p:spPr>
            <a:xfrm>
              <a:off x="4284804" y="5431256"/>
              <a:ext cx="20193" cy="134363"/>
            </a:xfrm>
            <a:custGeom>
              <a:avLst/>
              <a:gdLst>
                <a:gd name="connsiteX0" fmla="*/ 20194 w 20193"/>
                <a:gd name="connsiteY0" fmla="*/ 134364 h 134363"/>
                <a:gd name="connsiteX1" fmla="*/ 0 w 20193"/>
                <a:gd name="connsiteY1" fmla="*/ 134364 h 134363"/>
                <a:gd name="connsiteX2" fmla="*/ 0 w 20193"/>
                <a:gd name="connsiteY2" fmla="*/ 0 h 134363"/>
                <a:gd name="connsiteX3" fmla="*/ 20194 w 20193"/>
                <a:gd name="connsiteY3" fmla="*/ 0 h 134363"/>
                <a:gd name="connsiteX4" fmla="*/ 20194 w 20193"/>
                <a:gd name="connsiteY4" fmla="*/ 134364 h 134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93" h="134363">
                  <a:moveTo>
                    <a:pt x="20194" y="134364"/>
                  </a:moveTo>
                  <a:lnTo>
                    <a:pt x="0" y="134364"/>
                  </a:lnTo>
                  <a:lnTo>
                    <a:pt x="0" y="0"/>
                  </a:lnTo>
                  <a:lnTo>
                    <a:pt x="20194" y="0"/>
                  </a:lnTo>
                  <a:lnTo>
                    <a:pt x="20194" y="134364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11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8466689" y="3614833"/>
            <a:ext cx="393632" cy="414367"/>
            <a:chOff x="9010455" y="3814228"/>
            <a:chExt cx="484000" cy="509495"/>
          </a:xfrm>
          <a:solidFill>
            <a:srgbClr val="B1B1A1"/>
          </a:solidFill>
        </p:grpSpPr>
        <p:sp>
          <p:nvSpPr>
            <p:cNvPr id="212" name="Forma Livre: Forma 211">
              <a:extLst>
                <a:ext uri="{FF2B5EF4-FFF2-40B4-BE49-F238E27FC236}">
                  <a16:creationId xmlns:a16="http://schemas.microsoft.com/office/drawing/2014/main" id="{35CEA7F7-9F92-4E92-9F17-605EE515B1C5}"/>
                </a:ext>
              </a:extLst>
            </p:cNvPr>
            <p:cNvSpPr/>
            <p:nvPr/>
          </p:nvSpPr>
          <p:spPr>
            <a:xfrm>
              <a:off x="9086957" y="4051889"/>
              <a:ext cx="152227" cy="152227"/>
            </a:xfrm>
            <a:custGeom>
              <a:avLst/>
              <a:gdLst>
                <a:gd name="connsiteX0" fmla="*/ 76114 w 152227"/>
                <a:gd name="connsiteY0" fmla="*/ 152227 h 152227"/>
                <a:gd name="connsiteX1" fmla="*/ 0 w 152227"/>
                <a:gd name="connsiteY1" fmla="*/ 76114 h 152227"/>
                <a:gd name="connsiteX2" fmla="*/ 76114 w 152227"/>
                <a:gd name="connsiteY2" fmla="*/ 0 h 152227"/>
                <a:gd name="connsiteX3" fmla="*/ 152227 w 152227"/>
                <a:gd name="connsiteY3" fmla="*/ 76114 h 152227"/>
                <a:gd name="connsiteX4" fmla="*/ 76114 w 152227"/>
                <a:gd name="connsiteY4" fmla="*/ 152227 h 152227"/>
                <a:gd name="connsiteX5" fmla="*/ 76114 w 152227"/>
                <a:gd name="connsiteY5" fmla="*/ 152227 h 152227"/>
                <a:gd name="connsiteX6" fmla="*/ 76114 w 152227"/>
                <a:gd name="connsiteY6" fmla="*/ 41940 h 152227"/>
                <a:gd name="connsiteX7" fmla="*/ 41164 w 152227"/>
                <a:gd name="connsiteY7" fmla="*/ 76890 h 152227"/>
                <a:gd name="connsiteX8" fmla="*/ 76114 w 152227"/>
                <a:gd name="connsiteY8" fmla="*/ 111840 h 152227"/>
                <a:gd name="connsiteX9" fmla="*/ 111064 w 152227"/>
                <a:gd name="connsiteY9" fmla="*/ 76890 h 152227"/>
                <a:gd name="connsiteX10" fmla="*/ 76114 w 152227"/>
                <a:gd name="connsiteY10" fmla="*/ 41940 h 152227"/>
                <a:gd name="connsiteX11" fmla="*/ 76114 w 152227"/>
                <a:gd name="connsiteY11" fmla="*/ 41940 h 152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2227" h="152227">
                  <a:moveTo>
                    <a:pt x="76114" y="152227"/>
                  </a:moveTo>
                  <a:cubicBezTo>
                    <a:pt x="34174" y="152227"/>
                    <a:pt x="0" y="118054"/>
                    <a:pt x="0" y="76114"/>
                  </a:cubicBezTo>
                  <a:cubicBezTo>
                    <a:pt x="0" y="34173"/>
                    <a:pt x="34174" y="0"/>
                    <a:pt x="76114" y="0"/>
                  </a:cubicBezTo>
                  <a:cubicBezTo>
                    <a:pt x="118054" y="0"/>
                    <a:pt x="152227" y="34173"/>
                    <a:pt x="152227" y="76114"/>
                  </a:cubicBezTo>
                  <a:cubicBezTo>
                    <a:pt x="152227" y="118830"/>
                    <a:pt x="118054" y="152227"/>
                    <a:pt x="76114" y="152227"/>
                  </a:cubicBezTo>
                  <a:lnTo>
                    <a:pt x="76114" y="152227"/>
                  </a:lnTo>
                  <a:close/>
                  <a:moveTo>
                    <a:pt x="76114" y="41940"/>
                  </a:moveTo>
                  <a:cubicBezTo>
                    <a:pt x="56697" y="41940"/>
                    <a:pt x="41164" y="57473"/>
                    <a:pt x="41164" y="76890"/>
                  </a:cubicBezTo>
                  <a:cubicBezTo>
                    <a:pt x="41164" y="96307"/>
                    <a:pt x="56697" y="111840"/>
                    <a:pt x="76114" y="111840"/>
                  </a:cubicBezTo>
                  <a:cubicBezTo>
                    <a:pt x="95531" y="111840"/>
                    <a:pt x="111064" y="96307"/>
                    <a:pt x="111064" y="76890"/>
                  </a:cubicBezTo>
                  <a:cubicBezTo>
                    <a:pt x="111064" y="57473"/>
                    <a:pt x="95531" y="41940"/>
                    <a:pt x="76114" y="41940"/>
                  </a:cubicBezTo>
                  <a:lnTo>
                    <a:pt x="76114" y="41940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13" name="Forma Livre: Forma 212">
              <a:extLst>
                <a:ext uri="{FF2B5EF4-FFF2-40B4-BE49-F238E27FC236}">
                  <a16:creationId xmlns:a16="http://schemas.microsoft.com/office/drawing/2014/main" id="{C28ED47C-985F-4766-B61D-EAF6827C5994}"/>
                </a:ext>
              </a:extLst>
            </p:cNvPr>
            <p:cNvSpPr/>
            <p:nvPr/>
          </p:nvSpPr>
          <p:spPr>
            <a:xfrm>
              <a:off x="9288115" y="3814228"/>
              <a:ext cx="159993" cy="159994"/>
            </a:xfrm>
            <a:custGeom>
              <a:avLst/>
              <a:gdLst>
                <a:gd name="connsiteX0" fmla="*/ 79997 w 159993"/>
                <a:gd name="connsiteY0" fmla="*/ 159994 h 159994"/>
                <a:gd name="connsiteX1" fmla="*/ 0 w 159993"/>
                <a:gd name="connsiteY1" fmla="*/ 79997 h 159994"/>
                <a:gd name="connsiteX2" fmla="*/ 79997 w 159993"/>
                <a:gd name="connsiteY2" fmla="*/ 0 h 159994"/>
                <a:gd name="connsiteX3" fmla="*/ 159994 w 159993"/>
                <a:gd name="connsiteY3" fmla="*/ 79997 h 159994"/>
                <a:gd name="connsiteX4" fmla="*/ 79997 w 159993"/>
                <a:gd name="connsiteY4" fmla="*/ 159994 h 159994"/>
                <a:gd name="connsiteX5" fmla="*/ 79997 w 159993"/>
                <a:gd name="connsiteY5" fmla="*/ 159994 h 159994"/>
                <a:gd name="connsiteX6" fmla="*/ 79997 w 159993"/>
                <a:gd name="connsiteY6" fmla="*/ 41940 h 159994"/>
                <a:gd name="connsiteX7" fmla="*/ 41164 w 159993"/>
                <a:gd name="connsiteY7" fmla="*/ 80774 h 159994"/>
                <a:gd name="connsiteX8" fmla="*/ 79997 w 159993"/>
                <a:gd name="connsiteY8" fmla="*/ 119607 h 159994"/>
                <a:gd name="connsiteX9" fmla="*/ 118831 w 159993"/>
                <a:gd name="connsiteY9" fmla="*/ 80774 h 159994"/>
                <a:gd name="connsiteX10" fmla="*/ 79997 w 159993"/>
                <a:gd name="connsiteY10" fmla="*/ 41940 h 159994"/>
                <a:gd name="connsiteX11" fmla="*/ 79997 w 159993"/>
                <a:gd name="connsiteY11" fmla="*/ 41940 h 159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9993" h="159994">
                  <a:moveTo>
                    <a:pt x="79997" y="159994"/>
                  </a:moveTo>
                  <a:cubicBezTo>
                    <a:pt x="35727" y="159994"/>
                    <a:pt x="0" y="124267"/>
                    <a:pt x="0" y="79997"/>
                  </a:cubicBezTo>
                  <a:cubicBezTo>
                    <a:pt x="0" y="35727"/>
                    <a:pt x="35727" y="0"/>
                    <a:pt x="79997" y="0"/>
                  </a:cubicBezTo>
                  <a:cubicBezTo>
                    <a:pt x="124267" y="0"/>
                    <a:pt x="159994" y="35727"/>
                    <a:pt x="159994" y="79997"/>
                  </a:cubicBezTo>
                  <a:cubicBezTo>
                    <a:pt x="159994" y="124267"/>
                    <a:pt x="124267" y="159994"/>
                    <a:pt x="79997" y="159994"/>
                  </a:cubicBezTo>
                  <a:lnTo>
                    <a:pt x="79997" y="159994"/>
                  </a:lnTo>
                  <a:close/>
                  <a:moveTo>
                    <a:pt x="79997" y="41940"/>
                  </a:moveTo>
                  <a:cubicBezTo>
                    <a:pt x="59027" y="41940"/>
                    <a:pt x="41164" y="59027"/>
                    <a:pt x="41164" y="80774"/>
                  </a:cubicBezTo>
                  <a:cubicBezTo>
                    <a:pt x="41164" y="101744"/>
                    <a:pt x="58250" y="119607"/>
                    <a:pt x="79997" y="119607"/>
                  </a:cubicBezTo>
                  <a:cubicBezTo>
                    <a:pt x="100967" y="119607"/>
                    <a:pt x="118831" y="102520"/>
                    <a:pt x="118831" y="80774"/>
                  </a:cubicBezTo>
                  <a:cubicBezTo>
                    <a:pt x="118831" y="59027"/>
                    <a:pt x="101744" y="41940"/>
                    <a:pt x="79997" y="41940"/>
                  </a:cubicBezTo>
                  <a:lnTo>
                    <a:pt x="79997" y="41940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14" name="Forma Livre: Forma 213">
              <a:extLst>
                <a:ext uri="{FF2B5EF4-FFF2-40B4-BE49-F238E27FC236}">
                  <a16:creationId xmlns:a16="http://schemas.microsoft.com/office/drawing/2014/main" id="{0EE43003-35F3-4DF0-92A0-4721AE1DE3A1}"/>
                </a:ext>
              </a:extLst>
            </p:cNvPr>
            <p:cNvSpPr/>
            <p:nvPr/>
          </p:nvSpPr>
          <p:spPr>
            <a:xfrm>
              <a:off x="9156081" y="3934612"/>
              <a:ext cx="123490" cy="123490"/>
            </a:xfrm>
            <a:custGeom>
              <a:avLst/>
              <a:gdLst>
                <a:gd name="connsiteX0" fmla="*/ 102520 w 123490"/>
                <a:gd name="connsiteY0" fmla="*/ 123491 h 123490"/>
                <a:gd name="connsiteX1" fmla="*/ 102520 w 123490"/>
                <a:gd name="connsiteY1" fmla="*/ 123491 h 123490"/>
                <a:gd name="connsiteX2" fmla="*/ 82327 w 123490"/>
                <a:gd name="connsiteY2" fmla="*/ 102520 h 123490"/>
                <a:gd name="connsiteX3" fmla="*/ 82327 w 123490"/>
                <a:gd name="connsiteY3" fmla="*/ 40387 h 123490"/>
                <a:gd name="connsiteX4" fmla="*/ 20193 w 123490"/>
                <a:gd name="connsiteY4" fmla="*/ 40387 h 123490"/>
                <a:gd name="connsiteX5" fmla="*/ 0 w 123490"/>
                <a:gd name="connsiteY5" fmla="*/ 20193 h 123490"/>
                <a:gd name="connsiteX6" fmla="*/ 20193 w 123490"/>
                <a:gd name="connsiteY6" fmla="*/ 0 h 123490"/>
                <a:gd name="connsiteX7" fmla="*/ 102520 w 123490"/>
                <a:gd name="connsiteY7" fmla="*/ 0 h 123490"/>
                <a:gd name="connsiteX8" fmla="*/ 117277 w 123490"/>
                <a:gd name="connsiteY8" fmla="*/ 6213 h 123490"/>
                <a:gd name="connsiteX9" fmla="*/ 123491 w 123490"/>
                <a:gd name="connsiteY9" fmla="*/ 20970 h 123490"/>
                <a:gd name="connsiteX10" fmla="*/ 123491 w 123490"/>
                <a:gd name="connsiteY10" fmla="*/ 103297 h 123490"/>
                <a:gd name="connsiteX11" fmla="*/ 102520 w 123490"/>
                <a:gd name="connsiteY11" fmla="*/ 123491 h 123490"/>
                <a:gd name="connsiteX12" fmla="*/ 102520 w 123490"/>
                <a:gd name="connsiteY12" fmla="*/ 123491 h 123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3490" h="123490">
                  <a:moveTo>
                    <a:pt x="102520" y="123491"/>
                  </a:moveTo>
                  <a:lnTo>
                    <a:pt x="102520" y="123491"/>
                  </a:lnTo>
                  <a:cubicBezTo>
                    <a:pt x="90870" y="123491"/>
                    <a:pt x="82327" y="114170"/>
                    <a:pt x="82327" y="102520"/>
                  </a:cubicBezTo>
                  <a:lnTo>
                    <a:pt x="82327" y="40387"/>
                  </a:lnTo>
                  <a:lnTo>
                    <a:pt x="20193" y="40387"/>
                  </a:lnTo>
                  <a:cubicBezTo>
                    <a:pt x="8543" y="40387"/>
                    <a:pt x="0" y="31067"/>
                    <a:pt x="0" y="20193"/>
                  </a:cubicBezTo>
                  <a:cubicBezTo>
                    <a:pt x="0" y="8543"/>
                    <a:pt x="9320" y="0"/>
                    <a:pt x="20193" y="0"/>
                  </a:cubicBezTo>
                  <a:lnTo>
                    <a:pt x="102520" y="0"/>
                  </a:lnTo>
                  <a:cubicBezTo>
                    <a:pt x="107957" y="0"/>
                    <a:pt x="113394" y="2330"/>
                    <a:pt x="117277" y="6213"/>
                  </a:cubicBezTo>
                  <a:cubicBezTo>
                    <a:pt x="121160" y="10097"/>
                    <a:pt x="123491" y="15533"/>
                    <a:pt x="123491" y="20970"/>
                  </a:cubicBezTo>
                  <a:lnTo>
                    <a:pt x="123491" y="103297"/>
                  </a:lnTo>
                  <a:cubicBezTo>
                    <a:pt x="122714" y="114170"/>
                    <a:pt x="113394" y="123491"/>
                    <a:pt x="102520" y="123491"/>
                  </a:cubicBezTo>
                  <a:lnTo>
                    <a:pt x="102520" y="123491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15" name="Forma Livre: Forma 214">
              <a:extLst>
                <a:ext uri="{FF2B5EF4-FFF2-40B4-BE49-F238E27FC236}">
                  <a16:creationId xmlns:a16="http://schemas.microsoft.com/office/drawing/2014/main" id="{11633E81-3E3C-4354-90C8-78D229DD9E19}"/>
                </a:ext>
              </a:extLst>
            </p:cNvPr>
            <p:cNvSpPr/>
            <p:nvPr/>
          </p:nvSpPr>
          <p:spPr>
            <a:xfrm>
              <a:off x="9154919" y="3942389"/>
              <a:ext cx="115322" cy="149887"/>
            </a:xfrm>
            <a:custGeom>
              <a:avLst/>
              <a:gdLst>
                <a:gd name="connsiteX0" fmla="*/ 20579 w 115322"/>
                <a:gd name="connsiteY0" fmla="*/ 149887 h 149887"/>
                <a:gd name="connsiteX1" fmla="*/ 14365 w 115322"/>
                <a:gd name="connsiteY1" fmla="*/ 149110 h 149887"/>
                <a:gd name="connsiteX2" fmla="*/ 1162 w 115322"/>
                <a:gd name="connsiteY2" fmla="*/ 123480 h 149887"/>
                <a:gd name="connsiteX3" fmla="*/ 62519 w 115322"/>
                <a:gd name="connsiteY3" fmla="*/ 22513 h 149887"/>
                <a:gd name="connsiteX4" fmla="*/ 81936 w 115322"/>
                <a:gd name="connsiteY4" fmla="*/ 4650 h 149887"/>
                <a:gd name="connsiteX5" fmla="*/ 110673 w 115322"/>
                <a:gd name="connsiteY5" fmla="*/ 7757 h 149887"/>
                <a:gd name="connsiteX6" fmla="*/ 107566 w 115322"/>
                <a:gd name="connsiteY6" fmla="*/ 36493 h 149887"/>
                <a:gd name="connsiteX7" fmla="*/ 91256 w 115322"/>
                <a:gd name="connsiteY7" fmla="*/ 51250 h 149887"/>
                <a:gd name="connsiteX8" fmla="*/ 39996 w 115322"/>
                <a:gd name="connsiteY8" fmla="*/ 135907 h 149887"/>
                <a:gd name="connsiteX9" fmla="*/ 20579 w 115322"/>
                <a:gd name="connsiteY9" fmla="*/ 149887 h 149887"/>
                <a:gd name="connsiteX10" fmla="*/ 20579 w 115322"/>
                <a:gd name="connsiteY10" fmla="*/ 149887 h 149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5322" h="149887">
                  <a:moveTo>
                    <a:pt x="20579" y="149887"/>
                  </a:moveTo>
                  <a:cubicBezTo>
                    <a:pt x="18249" y="149887"/>
                    <a:pt x="16696" y="149887"/>
                    <a:pt x="14365" y="149110"/>
                  </a:cubicBezTo>
                  <a:cubicBezTo>
                    <a:pt x="3493" y="145227"/>
                    <a:pt x="-2721" y="134354"/>
                    <a:pt x="1162" y="123480"/>
                  </a:cubicBezTo>
                  <a:cubicBezTo>
                    <a:pt x="13589" y="85423"/>
                    <a:pt x="34559" y="51250"/>
                    <a:pt x="62519" y="22513"/>
                  </a:cubicBezTo>
                  <a:cubicBezTo>
                    <a:pt x="68732" y="16300"/>
                    <a:pt x="74946" y="10086"/>
                    <a:pt x="81936" y="4650"/>
                  </a:cubicBezTo>
                  <a:cubicBezTo>
                    <a:pt x="90479" y="-2340"/>
                    <a:pt x="103682" y="-1564"/>
                    <a:pt x="110673" y="7757"/>
                  </a:cubicBezTo>
                  <a:cubicBezTo>
                    <a:pt x="117663" y="16300"/>
                    <a:pt x="116886" y="29503"/>
                    <a:pt x="107566" y="36493"/>
                  </a:cubicBezTo>
                  <a:cubicBezTo>
                    <a:pt x="102129" y="41154"/>
                    <a:pt x="96693" y="45813"/>
                    <a:pt x="91256" y="51250"/>
                  </a:cubicBezTo>
                  <a:cubicBezTo>
                    <a:pt x="67179" y="75327"/>
                    <a:pt x="50093" y="103287"/>
                    <a:pt x="39996" y="135907"/>
                  </a:cubicBezTo>
                  <a:cubicBezTo>
                    <a:pt x="37665" y="143674"/>
                    <a:pt x="29899" y="149887"/>
                    <a:pt x="20579" y="149887"/>
                  </a:cubicBezTo>
                  <a:lnTo>
                    <a:pt x="20579" y="149887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16" name="Forma Livre: Forma 215">
              <a:extLst>
                <a:ext uri="{FF2B5EF4-FFF2-40B4-BE49-F238E27FC236}">
                  <a16:creationId xmlns:a16="http://schemas.microsoft.com/office/drawing/2014/main" id="{3BFA9EFE-913C-48B9-858B-0396429F9984}"/>
                </a:ext>
              </a:extLst>
            </p:cNvPr>
            <p:cNvSpPr/>
            <p:nvPr/>
          </p:nvSpPr>
          <p:spPr>
            <a:xfrm>
              <a:off x="9010455" y="3839524"/>
              <a:ext cx="484000" cy="484199"/>
            </a:xfrm>
            <a:custGeom>
              <a:avLst/>
              <a:gdLst>
                <a:gd name="connsiteX0" fmla="*/ 242710 w 484000"/>
                <a:gd name="connsiteY0" fmla="*/ 484200 h 484199"/>
                <a:gd name="connsiteX1" fmla="*/ 71066 w 484000"/>
                <a:gd name="connsiteY1" fmla="*/ 413523 h 484199"/>
                <a:gd name="connsiteX2" fmla="*/ 71066 w 484000"/>
                <a:gd name="connsiteY2" fmla="*/ 71011 h 484199"/>
                <a:gd name="connsiteX3" fmla="*/ 310280 w 484000"/>
                <a:gd name="connsiteY3" fmla="*/ 9654 h 484199"/>
                <a:gd name="connsiteX4" fmla="*/ 324260 w 484000"/>
                <a:gd name="connsiteY4" fmla="*/ 35284 h 484199"/>
                <a:gd name="connsiteX5" fmla="*/ 298630 w 484000"/>
                <a:gd name="connsiteY5" fmla="*/ 49264 h 484199"/>
                <a:gd name="connsiteX6" fmla="*/ 99802 w 484000"/>
                <a:gd name="connsiteY6" fmla="*/ 99748 h 484199"/>
                <a:gd name="connsiteX7" fmla="*/ 99802 w 484000"/>
                <a:gd name="connsiteY7" fmla="*/ 384009 h 484199"/>
                <a:gd name="connsiteX8" fmla="*/ 384063 w 484000"/>
                <a:gd name="connsiteY8" fmla="*/ 384009 h 484199"/>
                <a:gd name="connsiteX9" fmla="*/ 388724 w 484000"/>
                <a:gd name="connsiteY9" fmla="*/ 104408 h 484199"/>
                <a:gd name="connsiteX10" fmla="*/ 389501 w 484000"/>
                <a:gd name="connsiteY10" fmla="*/ 75671 h 484199"/>
                <a:gd name="connsiteX11" fmla="*/ 418237 w 484000"/>
                <a:gd name="connsiteY11" fmla="*/ 76448 h 484199"/>
                <a:gd name="connsiteX12" fmla="*/ 412801 w 484000"/>
                <a:gd name="connsiteY12" fmla="*/ 412746 h 484199"/>
                <a:gd name="connsiteX13" fmla="*/ 242710 w 484000"/>
                <a:gd name="connsiteY13" fmla="*/ 484200 h 484199"/>
                <a:gd name="connsiteX14" fmla="*/ 242710 w 484000"/>
                <a:gd name="connsiteY14" fmla="*/ 484200 h 48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84000" h="484199">
                  <a:moveTo>
                    <a:pt x="242710" y="484200"/>
                  </a:moveTo>
                  <a:cubicBezTo>
                    <a:pt x="180576" y="484200"/>
                    <a:pt x="118442" y="460900"/>
                    <a:pt x="71066" y="413523"/>
                  </a:cubicBezTo>
                  <a:cubicBezTo>
                    <a:pt x="-23689" y="318769"/>
                    <a:pt x="-23689" y="164988"/>
                    <a:pt x="71066" y="71011"/>
                  </a:cubicBezTo>
                  <a:cubicBezTo>
                    <a:pt x="133199" y="8877"/>
                    <a:pt x="224846" y="-15199"/>
                    <a:pt x="310280" y="9654"/>
                  </a:cubicBezTo>
                  <a:cubicBezTo>
                    <a:pt x="321153" y="12761"/>
                    <a:pt x="327367" y="24411"/>
                    <a:pt x="324260" y="35284"/>
                  </a:cubicBezTo>
                  <a:cubicBezTo>
                    <a:pt x="321153" y="46158"/>
                    <a:pt x="309503" y="52371"/>
                    <a:pt x="298630" y="49264"/>
                  </a:cubicBezTo>
                  <a:cubicBezTo>
                    <a:pt x="227953" y="29071"/>
                    <a:pt x="151840" y="48488"/>
                    <a:pt x="99802" y="99748"/>
                  </a:cubicBezTo>
                  <a:cubicBezTo>
                    <a:pt x="21359" y="178191"/>
                    <a:pt x="21359" y="305566"/>
                    <a:pt x="99802" y="384009"/>
                  </a:cubicBezTo>
                  <a:cubicBezTo>
                    <a:pt x="178246" y="462453"/>
                    <a:pt x="305620" y="462453"/>
                    <a:pt x="384063" y="384009"/>
                  </a:cubicBezTo>
                  <a:cubicBezTo>
                    <a:pt x="460954" y="307119"/>
                    <a:pt x="463284" y="184405"/>
                    <a:pt x="388724" y="104408"/>
                  </a:cubicBezTo>
                  <a:cubicBezTo>
                    <a:pt x="380957" y="95865"/>
                    <a:pt x="381734" y="83438"/>
                    <a:pt x="389501" y="75671"/>
                  </a:cubicBezTo>
                  <a:cubicBezTo>
                    <a:pt x="398044" y="67904"/>
                    <a:pt x="410470" y="68681"/>
                    <a:pt x="418237" y="76448"/>
                  </a:cubicBezTo>
                  <a:cubicBezTo>
                    <a:pt x="508331" y="172755"/>
                    <a:pt x="505225" y="320322"/>
                    <a:pt x="412801" y="412746"/>
                  </a:cubicBezTo>
                  <a:cubicBezTo>
                    <a:pt x="366977" y="460900"/>
                    <a:pt x="304843" y="484200"/>
                    <a:pt x="242710" y="484200"/>
                  </a:cubicBezTo>
                  <a:lnTo>
                    <a:pt x="242710" y="484200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17" name="Forma Livre: Forma 216">
              <a:extLst>
                <a:ext uri="{FF2B5EF4-FFF2-40B4-BE49-F238E27FC236}">
                  <a16:creationId xmlns:a16="http://schemas.microsoft.com/office/drawing/2014/main" id="{82403215-0CC0-446C-801A-A70A9EE0EFCD}"/>
                </a:ext>
              </a:extLst>
            </p:cNvPr>
            <p:cNvSpPr/>
            <p:nvPr/>
          </p:nvSpPr>
          <p:spPr>
            <a:xfrm>
              <a:off x="9302483" y="4069364"/>
              <a:ext cx="104074" cy="104462"/>
            </a:xfrm>
            <a:custGeom>
              <a:avLst/>
              <a:gdLst>
                <a:gd name="connsiteX0" fmla="*/ 20582 w 104074"/>
                <a:gd name="connsiteY0" fmla="*/ 104462 h 104462"/>
                <a:gd name="connsiteX1" fmla="*/ 5825 w 104074"/>
                <a:gd name="connsiteY1" fmla="*/ 98249 h 104462"/>
                <a:gd name="connsiteX2" fmla="*/ 5825 w 104074"/>
                <a:gd name="connsiteY2" fmla="*/ 69512 h 104462"/>
                <a:gd name="connsiteX3" fmla="*/ 69513 w 104074"/>
                <a:gd name="connsiteY3" fmla="*/ 5825 h 104462"/>
                <a:gd name="connsiteX4" fmla="*/ 98249 w 104074"/>
                <a:gd name="connsiteY4" fmla="*/ 5825 h 104462"/>
                <a:gd name="connsiteX5" fmla="*/ 98249 w 104074"/>
                <a:gd name="connsiteY5" fmla="*/ 34562 h 104462"/>
                <a:gd name="connsiteX6" fmla="*/ 34562 w 104074"/>
                <a:gd name="connsiteY6" fmla="*/ 98249 h 104462"/>
                <a:gd name="connsiteX7" fmla="*/ 20582 w 104074"/>
                <a:gd name="connsiteY7" fmla="*/ 104462 h 104462"/>
                <a:gd name="connsiteX8" fmla="*/ 20582 w 104074"/>
                <a:gd name="connsiteY8" fmla="*/ 104462 h 104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4074" h="104462">
                  <a:moveTo>
                    <a:pt x="20582" y="104462"/>
                  </a:moveTo>
                  <a:cubicBezTo>
                    <a:pt x="15146" y="104462"/>
                    <a:pt x="9708" y="102132"/>
                    <a:pt x="5825" y="98249"/>
                  </a:cubicBezTo>
                  <a:cubicBezTo>
                    <a:pt x="-1942" y="90482"/>
                    <a:pt x="-1942" y="77279"/>
                    <a:pt x="5825" y="69512"/>
                  </a:cubicBezTo>
                  <a:lnTo>
                    <a:pt x="69513" y="5825"/>
                  </a:lnTo>
                  <a:cubicBezTo>
                    <a:pt x="77279" y="-1942"/>
                    <a:pt x="90482" y="-1942"/>
                    <a:pt x="98249" y="5825"/>
                  </a:cubicBezTo>
                  <a:cubicBezTo>
                    <a:pt x="106016" y="13592"/>
                    <a:pt x="106016" y="26795"/>
                    <a:pt x="98249" y="34562"/>
                  </a:cubicBezTo>
                  <a:lnTo>
                    <a:pt x="34562" y="98249"/>
                  </a:lnTo>
                  <a:cubicBezTo>
                    <a:pt x="31456" y="102132"/>
                    <a:pt x="26018" y="104462"/>
                    <a:pt x="20582" y="104462"/>
                  </a:cubicBezTo>
                  <a:lnTo>
                    <a:pt x="20582" y="104462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18" name="Forma Livre: Forma 217">
              <a:extLst>
                <a:ext uri="{FF2B5EF4-FFF2-40B4-BE49-F238E27FC236}">
                  <a16:creationId xmlns:a16="http://schemas.microsoft.com/office/drawing/2014/main" id="{C5047EDD-18EA-4DCE-A26F-A35C2B647E80}"/>
                </a:ext>
              </a:extLst>
            </p:cNvPr>
            <p:cNvSpPr/>
            <p:nvPr/>
          </p:nvSpPr>
          <p:spPr>
            <a:xfrm>
              <a:off x="9302483" y="4069364"/>
              <a:ext cx="104074" cy="104462"/>
            </a:xfrm>
            <a:custGeom>
              <a:avLst/>
              <a:gdLst>
                <a:gd name="connsiteX0" fmla="*/ 84269 w 104074"/>
                <a:gd name="connsiteY0" fmla="*/ 104462 h 104462"/>
                <a:gd name="connsiteX1" fmla="*/ 69513 w 104074"/>
                <a:gd name="connsiteY1" fmla="*/ 98249 h 104462"/>
                <a:gd name="connsiteX2" fmla="*/ 5825 w 104074"/>
                <a:gd name="connsiteY2" fmla="*/ 34562 h 104462"/>
                <a:gd name="connsiteX3" fmla="*/ 5825 w 104074"/>
                <a:gd name="connsiteY3" fmla="*/ 5825 h 104462"/>
                <a:gd name="connsiteX4" fmla="*/ 34562 w 104074"/>
                <a:gd name="connsiteY4" fmla="*/ 5825 h 104462"/>
                <a:gd name="connsiteX5" fmla="*/ 98249 w 104074"/>
                <a:gd name="connsiteY5" fmla="*/ 69512 h 104462"/>
                <a:gd name="connsiteX6" fmla="*/ 98249 w 104074"/>
                <a:gd name="connsiteY6" fmla="*/ 98249 h 104462"/>
                <a:gd name="connsiteX7" fmla="*/ 84269 w 104074"/>
                <a:gd name="connsiteY7" fmla="*/ 104462 h 104462"/>
                <a:gd name="connsiteX8" fmla="*/ 84269 w 104074"/>
                <a:gd name="connsiteY8" fmla="*/ 104462 h 104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4074" h="104462">
                  <a:moveTo>
                    <a:pt x="84269" y="104462"/>
                  </a:moveTo>
                  <a:cubicBezTo>
                    <a:pt x="78832" y="104462"/>
                    <a:pt x="73396" y="102132"/>
                    <a:pt x="69513" y="98249"/>
                  </a:cubicBezTo>
                  <a:lnTo>
                    <a:pt x="5825" y="34562"/>
                  </a:lnTo>
                  <a:cubicBezTo>
                    <a:pt x="-1942" y="26795"/>
                    <a:pt x="-1942" y="13592"/>
                    <a:pt x="5825" y="5825"/>
                  </a:cubicBezTo>
                  <a:cubicBezTo>
                    <a:pt x="13592" y="-1942"/>
                    <a:pt x="26796" y="-1942"/>
                    <a:pt x="34562" y="5825"/>
                  </a:cubicBezTo>
                  <a:lnTo>
                    <a:pt x="98249" y="69512"/>
                  </a:lnTo>
                  <a:cubicBezTo>
                    <a:pt x="106016" y="77279"/>
                    <a:pt x="106016" y="90482"/>
                    <a:pt x="98249" y="98249"/>
                  </a:cubicBezTo>
                  <a:cubicBezTo>
                    <a:pt x="95142" y="102132"/>
                    <a:pt x="89706" y="104462"/>
                    <a:pt x="84269" y="104462"/>
                  </a:cubicBezTo>
                  <a:lnTo>
                    <a:pt x="84269" y="104462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19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3320892" y="5726464"/>
            <a:ext cx="434580" cy="333514"/>
            <a:chOff x="2683310" y="6410638"/>
            <a:chExt cx="534349" cy="410081"/>
          </a:xfrm>
          <a:solidFill>
            <a:srgbClr val="B1B1A1"/>
          </a:solidFill>
        </p:grpSpPr>
        <p:sp>
          <p:nvSpPr>
            <p:cNvPr id="220" name="Forma Livre: Forma 219">
              <a:extLst>
                <a:ext uri="{FF2B5EF4-FFF2-40B4-BE49-F238E27FC236}">
                  <a16:creationId xmlns:a16="http://schemas.microsoft.com/office/drawing/2014/main" id="{A8B00746-64AB-485D-B480-45E030EC7849}"/>
                </a:ext>
              </a:extLst>
            </p:cNvPr>
            <p:cNvSpPr/>
            <p:nvPr/>
          </p:nvSpPr>
          <p:spPr>
            <a:xfrm>
              <a:off x="2889904" y="6523751"/>
              <a:ext cx="118830" cy="180273"/>
            </a:xfrm>
            <a:custGeom>
              <a:avLst/>
              <a:gdLst>
                <a:gd name="connsiteX0" fmla="*/ 48153 w 118830"/>
                <a:gd name="connsiteY0" fmla="*/ 79501 h 180273"/>
                <a:gd name="connsiteX1" fmla="*/ 62910 w 118830"/>
                <a:gd name="connsiteY1" fmla="*/ 72510 h 180273"/>
                <a:gd name="connsiteX2" fmla="*/ 75337 w 118830"/>
                <a:gd name="connsiteY2" fmla="*/ 67850 h 180273"/>
                <a:gd name="connsiteX3" fmla="*/ 79997 w 118830"/>
                <a:gd name="connsiteY3" fmla="*/ 73287 h 180273"/>
                <a:gd name="connsiteX4" fmla="*/ 76890 w 118830"/>
                <a:gd name="connsiteY4" fmla="*/ 81054 h 180273"/>
                <a:gd name="connsiteX5" fmla="*/ 69124 w 118830"/>
                <a:gd name="connsiteY5" fmla="*/ 87267 h 180273"/>
                <a:gd name="connsiteX6" fmla="*/ 51260 w 118830"/>
                <a:gd name="connsiteY6" fmla="*/ 95810 h 180273"/>
                <a:gd name="connsiteX7" fmla="*/ 51260 w 118830"/>
                <a:gd name="connsiteY7" fmla="*/ 97364 h 180273"/>
                <a:gd name="connsiteX8" fmla="*/ 46600 w 118830"/>
                <a:gd name="connsiteY8" fmla="*/ 117557 h 180273"/>
                <a:gd name="connsiteX9" fmla="*/ 31067 w 118830"/>
                <a:gd name="connsiteY9" fmla="*/ 145518 h 180273"/>
                <a:gd name="connsiteX10" fmla="*/ 37280 w 118830"/>
                <a:gd name="connsiteY10" fmla="*/ 140857 h 180273"/>
                <a:gd name="connsiteX11" fmla="*/ 44270 w 118830"/>
                <a:gd name="connsiteY11" fmla="*/ 136197 h 180273"/>
                <a:gd name="connsiteX12" fmla="*/ 52813 w 118830"/>
                <a:gd name="connsiteY12" fmla="*/ 131538 h 180273"/>
                <a:gd name="connsiteX13" fmla="*/ 71454 w 118830"/>
                <a:gd name="connsiteY13" fmla="*/ 124547 h 180273"/>
                <a:gd name="connsiteX14" fmla="*/ 86987 w 118830"/>
                <a:gd name="connsiteY14" fmla="*/ 119111 h 180273"/>
                <a:gd name="connsiteX15" fmla="*/ 99414 w 118830"/>
                <a:gd name="connsiteY15" fmla="*/ 111344 h 180273"/>
                <a:gd name="connsiteX16" fmla="*/ 107957 w 118830"/>
                <a:gd name="connsiteY16" fmla="*/ 105907 h 180273"/>
                <a:gd name="connsiteX17" fmla="*/ 115724 w 118830"/>
                <a:gd name="connsiteY17" fmla="*/ 105907 h 180273"/>
                <a:gd name="connsiteX18" fmla="*/ 118830 w 118830"/>
                <a:gd name="connsiteY18" fmla="*/ 112897 h 180273"/>
                <a:gd name="connsiteX19" fmla="*/ 109510 w 118830"/>
                <a:gd name="connsiteY19" fmla="*/ 129207 h 180273"/>
                <a:gd name="connsiteX20" fmla="*/ 90094 w 118830"/>
                <a:gd name="connsiteY20" fmla="*/ 142411 h 180273"/>
                <a:gd name="connsiteX21" fmla="*/ 53590 w 118830"/>
                <a:gd name="connsiteY21" fmla="*/ 152507 h 180273"/>
                <a:gd name="connsiteX22" fmla="*/ 51260 w 118830"/>
                <a:gd name="connsiteY22" fmla="*/ 153284 h 180273"/>
                <a:gd name="connsiteX23" fmla="*/ 46600 w 118830"/>
                <a:gd name="connsiteY23" fmla="*/ 154838 h 180273"/>
                <a:gd name="connsiteX24" fmla="*/ 39610 w 118830"/>
                <a:gd name="connsiteY24" fmla="*/ 157944 h 180273"/>
                <a:gd name="connsiteX25" fmla="*/ 32620 w 118830"/>
                <a:gd name="connsiteY25" fmla="*/ 162604 h 180273"/>
                <a:gd name="connsiteX26" fmla="*/ 21747 w 118830"/>
                <a:gd name="connsiteY26" fmla="*/ 171924 h 180273"/>
                <a:gd name="connsiteX27" fmla="*/ 10873 w 118830"/>
                <a:gd name="connsiteY27" fmla="*/ 179691 h 180273"/>
                <a:gd name="connsiteX28" fmla="*/ 3883 w 118830"/>
                <a:gd name="connsiteY28" fmla="*/ 179691 h 180273"/>
                <a:gd name="connsiteX29" fmla="*/ 0 w 118830"/>
                <a:gd name="connsiteY29" fmla="*/ 171924 h 180273"/>
                <a:gd name="connsiteX30" fmla="*/ 1553 w 118830"/>
                <a:gd name="connsiteY30" fmla="*/ 167264 h 180273"/>
                <a:gd name="connsiteX31" fmla="*/ 5437 w 118830"/>
                <a:gd name="connsiteY31" fmla="*/ 160274 h 180273"/>
                <a:gd name="connsiteX32" fmla="*/ 13980 w 118830"/>
                <a:gd name="connsiteY32" fmla="*/ 149401 h 180273"/>
                <a:gd name="connsiteX33" fmla="*/ 22523 w 118830"/>
                <a:gd name="connsiteY33" fmla="*/ 133867 h 180273"/>
                <a:gd name="connsiteX34" fmla="*/ 25630 w 118830"/>
                <a:gd name="connsiteY34" fmla="*/ 117557 h 180273"/>
                <a:gd name="connsiteX35" fmla="*/ 24853 w 118830"/>
                <a:gd name="connsiteY35" fmla="*/ 109014 h 180273"/>
                <a:gd name="connsiteX36" fmla="*/ 16310 w 118830"/>
                <a:gd name="connsiteY36" fmla="*/ 112897 h 180273"/>
                <a:gd name="connsiteX37" fmla="*/ 5437 w 118830"/>
                <a:gd name="connsiteY37" fmla="*/ 116004 h 180273"/>
                <a:gd name="connsiteX38" fmla="*/ 1553 w 118830"/>
                <a:gd name="connsiteY38" fmla="*/ 110567 h 180273"/>
                <a:gd name="connsiteX39" fmla="*/ 13980 w 118830"/>
                <a:gd name="connsiteY39" fmla="*/ 95810 h 180273"/>
                <a:gd name="connsiteX40" fmla="*/ 20193 w 118830"/>
                <a:gd name="connsiteY40" fmla="*/ 93481 h 180273"/>
                <a:gd name="connsiteX41" fmla="*/ 15533 w 118830"/>
                <a:gd name="connsiteY41" fmla="*/ 70957 h 180273"/>
                <a:gd name="connsiteX42" fmla="*/ 20970 w 118830"/>
                <a:gd name="connsiteY42" fmla="*/ 46880 h 180273"/>
                <a:gd name="connsiteX43" fmla="*/ 37280 w 118830"/>
                <a:gd name="connsiteY43" fmla="*/ 24357 h 180273"/>
                <a:gd name="connsiteX44" fmla="*/ 61357 w 118830"/>
                <a:gd name="connsiteY44" fmla="*/ 7270 h 180273"/>
                <a:gd name="connsiteX45" fmla="*/ 82327 w 118830"/>
                <a:gd name="connsiteY45" fmla="*/ 280 h 180273"/>
                <a:gd name="connsiteX46" fmla="*/ 97860 w 118830"/>
                <a:gd name="connsiteY46" fmla="*/ 3387 h 180273"/>
                <a:gd name="connsiteX47" fmla="*/ 109510 w 118830"/>
                <a:gd name="connsiteY47" fmla="*/ 23580 h 180273"/>
                <a:gd name="connsiteX48" fmla="*/ 105627 w 118830"/>
                <a:gd name="connsiteY48" fmla="*/ 33677 h 180273"/>
                <a:gd name="connsiteX49" fmla="*/ 96307 w 118830"/>
                <a:gd name="connsiteY49" fmla="*/ 41443 h 180273"/>
                <a:gd name="connsiteX50" fmla="*/ 83880 w 118830"/>
                <a:gd name="connsiteY50" fmla="*/ 36784 h 180273"/>
                <a:gd name="connsiteX51" fmla="*/ 76114 w 118830"/>
                <a:gd name="connsiteY51" fmla="*/ 25134 h 180273"/>
                <a:gd name="connsiteX52" fmla="*/ 62910 w 118830"/>
                <a:gd name="connsiteY52" fmla="*/ 26687 h 180273"/>
                <a:gd name="connsiteX53" fmla="*/ 48153 w 118830"/>
                <a:gd name="connsiteY53" fmla="*/ 39890 h 180273"/>
                <a:gd name="connsiteX54" fmla="*/ 42717 w 118830"/>
                <a:gd name="connsiteY54" fmla="*/ 57754 h 180273"/>
                <a:gd name="connsiteX55" fmla="*/ 44270 w 118830"/>
                <a:gd name="connsiteY55" fmla="*/ 67850 h 180273"/>
                <a:gd name="connsiteX56" fmla="*/ 48153 w 118830"/>
                <a:gd name="connsiteY56" fmla="*/ 79501 h 180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118830" h="180273">
                  <a:moveTo>
                    <a:pt x="48153" y="79501"/>
                  </a:moveTo>
                  <a:cubicBezTo>
                    <a:pt x="52813" y="77171"/>
                    <a:pt x="58250" y="74840"/>
                    <a:pt x="62910" y="72510"/>
                  </a:cubicBezTo>
                  <a:cubicBezTo>
                    <a:pt x="68347" y="70180"/>
                    <a:pt x="72230" y="68627"/>
                    <a:pt x="75337" y="67850"/>
                  </a:cubicBezTo>
                  <a:cubicBezTo>
                    <a:pt x="78444" y="67850"/>
                    <a:pt x="79997" y="69404"/>
                    <a:pt x="79997" y="73287"/>
                  </a:cubicBezTo>
                  <a:cubicBezTo>
                    <a:pt x="79997" y="76394"/>
                    <a:pt x="79220" y="78724"/>
                    <a:pt x="76890" y="81054"/>
                  </a:cubicBezTo>
                  <a:cubicBezTo>
                    <a:pt x="74560" y="83384"/>
                    <a:pt x="72230" y="85714"/>
                    <a:pt x="69124" y="87267"/>
                  </a:cubicBezTo>
                  <a:cubicBezTo>
                    <a:pt x="62910" y="90374"/>
                    <a:pt x="57474" y="92704"/>
                    <a:pt x="51260" y="95810"/>
                  </a:cubicBezTo>
                  <a:cubicBezTo>
                    <a:pt x="51260" y="96587"/>
                    <a:pt x="51260" y="96587"/>
                    <a:pt x="51260" y="97364"/>
                  </a:cubicBezTo>
                  <a:cubicBezTo>
                    <a:pt x="51260" y="104354"/>
                    <a:pt x="49707" y="110567"/>
                    <a:pt x="46600" y="117557"/>
                  </a:cubicBezTo>
                  <a:cubicBezTo>
                    <a:pt x="43493" y="124547"/>
                    <a:pt x="38057" y="133867"/>
                    <a:pt x="31067" y="145518"/>
                  </a:cubicBezTo>
                  <a:cubicBezTo>
                    <a:pt x="33397" y="143964"/>
                    <a:pt x="35727" y="142411"/>
                    <a:pt x="37280" y="140857"/>
                  </a:cubicBezTo>
                  <a:cubicBezTo>
                    <a:pt x="39610" y="139304"/>
                    <a:pt x="41940" y="137751"/>
                    <a:pt x="44270" y="136197"/>
                  </a:cubicBezTo>
                  <a:cubicBezTo>
                    <a:pt x="46600" y="134644"/>
                    <a:pt x="49707" y="133091"/>
                    <a:pt x="52813" y="131538"/>
                  </a:cubicBezTo>
                  <a:cubicBezTo>
                    <a:pt x="57474" y="129207"/>
                    <a:pt x="63687" y="126877"/>
                    <a:pt x="71454" y="124547"/>
                  </a:cubicBezTo>
                  <a:cubicBezTo>
                    <a:pt x="79220" y="122217"/>
                    <a:pt x="84657" y="119887"/>
                    <a:pt x="86987" y="119111"/>
                  </a:cubicBezTo>
                  <a:cubicBezTo>
                    <a:pt x="90870" y="117557"/>
                    <a:pt x="94754" y="115227"/>
                    <a:pt x="99414" y="111344"/>
                  </a:cubicBezTo>
                  <a:cubicBezTo>
                    <a:pt x="104074" y="108237"/>
                    <a:pt x="106404" y="105907"/>
                    <a:pt x="107957" y="105907"/>
                  </a:cubicBezTo>
                  <a:cubicBezTo>
                    <a:pt x="111064" y="104354"/>
                    <a:pt x="113394" y="104354"/>
                    <a:pt x="115724" y="105907"/>
                  </a:cubicBezTo>
                  <a:cubicBezTo>
                    <a:pt x="118054" y="107460"/>
                    <a:pt x="118830" y="109790"/>
                    <a:pt x="118830" y="112897"/>
                  </a:cubicBezTo>
                  <a:cubicBezTo>
                    <a:pt x="118830" y="118334"/>
                    <a:pt x="115724" y="123771"/>
                    <a:pt x="109510" y="129207"/>
                  </a:cubicBezTo>
                  <a:cubicBezTo>
                    <a:pt x="103297" y="134644"/>
                    <a:pt x="97084" y="139304"/>
                    <a:pt x="90094" y="142411"/>
                  </a:cubicBezTo>
                  <a:cubicBezTo>
                    <a:pt x="85434" y="143964"/>
                    <a:pt x="73784" y="147847"/>
                    <a:pt x="53590" y="152507"/>
                  </a:cubicBezTo>
                  <a:cubicBezTo>
                    <a:pt x="52813" y="152507"/>
                    <a:pt x="52037" y="152507"/>
                    <a:pt x="51260" y="153284"/>
                  </a:cubicBezTo>
                  <a:cubicBezTo>
                    <a:pt x="49707" y="153284"/>
                    <a:pt x="48153" y="154061"/>
                    <a:pt x="46600" y="154838"/>
                  </a:cubicBezTo>
                  <a:cubicBezTo>
                    <a:pt x="45047" y="155614"/>
                    <a:pt x="42717" y="156391"/>
                    <a:pt x="39610" y="157944"/>
                  </a:cubicBezTo>
                  <a:cubicBezTo>
                    <a:pt x="36503" y="159497"/>
                    <a:pt x="34173" y="161051"/>
                    <a:pt x="32620" y="162604"/>
                  </a:cubicBezTo>
                  <a:cubicBezTo>
                    <a:pt x="30290" y="164157"/>
                    <a:pt x="27183" y="167264"/>
                    <a:pt x="21747" y="171924"/>
                  </a:cubicBezTo>
                  <a:cubicBezTo>
                    <a:pt x="16310" y="176584"/>
                    <a:pt x="13203" y="178914"/>
                    <a:pt x="10873" y="179691"/>
                  </a:cubicBezTo>
                  <a:cubicBezTo>
                    <a:pt x="8543" y="180468"/>
                    <a:pt x="6213" y="180468"/>
                    <a:pt x="3883" y="179691"/>
                  </a:cubicBezTo>
                  <a:cubicBezTo>
                    <a:pt x="1553" y="178138"/>
                    <a:pt x="0" y="175807"/>
                    <a:pt x="0" y="171924"/>
                  </a:cubicBezTo>
                  <a:cubicBezTo>
                    <a:pt x="0" y="170371"/>
                    <a:pt x="776" y="168818"/>
                    <a:pt x="1553" y="167264"/>
                  </a:cubicBezTo>
                  <a:cubicBezTo>
                    <a:pt x="2330" y="165711"/>
                    <a:pt x="3883" y="163381"/>
                    <a:pt x="5437" y="160274"/>
                  </a:cubicBezTo>
                  <a:cubicBezTo>
                    <a:pt x="6990" y="157944"/>
                    <a:pt x="10097" y="154061"/>
                    <a:pt x="13980" y="149401"/>
                  </a:cubicBezTo>
                  <a:cubicBezTo>
                    <a:pt x="17087" y="144741"/>
                    <a:pt x="20193" y="140081"/>
                    <a:pt x="22523" y="133867"/>
                  </a:cubicBezTo>
                  <a:cubicBezTo>
                    <a:pt x="24853" y="127654"/>
                    <a:pt x="25630" y="122217"/>
                    <a:pt x="25630" y="117557"/>
                  </a:cubicBezTo>
                  <a:cubicBezTo>
                    <a:pt x="25630" y="116004"/>
                    <a:pt x="25630" y="112897"/>
                    <a:pt x="24853" y="109014"/>
                  </a:cubicBezTo>
                  <a:cubicBezTo>
                    <a:pt x="21747" y="110567"/>
                    <a:pt x="19417" y="111344"/>
                    <a:pt x="16310" y="112897"/>
                  </a:cubicBezTo>
                  <a:cubicBezTo>
                    <a:pt x="11650" y="115227"/>
                    <a:pt x="7767" y="116004"/>
                    <a:pt x="5437" y="116004"/>
                  </a:cubicBezTo>
                  <a:cubicBezTo>
                    <a:pt x="3107" y="116004"/>
                    <a:pt x="1553" y="113674"/>
                    <a:pt x="1553" y="110567"/>
                  </a:cubicBezTo>
                  <a:cubicBezTo>
                    <a:pt x="1553" y="104354"/>
                    <a:pt x="5437" y="98917"/>
                    <a:pt x="13980" y="95810"/>
                  </a:cubicBezTo>
                  <a:cubicBezTo>
                    <a:pt x="16310" y="95034"/>
                    <a:pt x="17863" y="94257"/>
                    <a:pt x="20193" y="93481"/>
                  </a:cubicBezTo>
                  <a:cubicBezTo>
                    <a:pt x="17087" y="84937"/>
                    <a:pt x="15533" y="77171"/>
                    <a:pt x="15533" y="70957"/>
                  </a:cubicBezTo>
                  <a:cubicBezTo>
                    <a:pt x="15533" y="63190"/>
                    <a:pt x="17087" y="54647"/>
                    <a:pt x="20970" y="46880"/>
                  </a:cubicBezTo>
                  <a:cubicBezTo>
                    <a:pt x="24853" y="39114"/>
                    <a:pt x="30290" y="31347"/>
                    <a:pt x="37280" y="24357"/>
                  </a:cubicBezTo>
                  <a:cubicBezTo>
                    <a:pt x="44270" y="17367"/>
                    <a:pt x="52813" y="11930"/>
                    <a:pt x="61357" y="7270"/>
                  </a:cubicBezTo>
                  <a:cubicBezTo>
                    <a:pt x="69124" y="3387"/>
                    <a:pt x="76114" y="1057"/>
                    <a:pt x="82327" y="280"/>
                  </a:cubicBezTo>
                  <a:cubicBezTo>
                    <a:pt x="87764" y="-496"/>
                    <a:pt x="93200" y="280"/>
                    <a:pt x="97860" y="3387"/>
                  </a:cubicBezTo>
                  <a:cubicBezTo>
                    <a:pt x="105627" y="8047"/>
                    <a:pt x="109510" y="15037"/>
                    <a:pt x="109510" y="23580"/>
                  </a:cubicBezTo>
                  <a:cubicBezTo>
                    <a:pt x="109510" y="26687"/>
                    <a:pt x="107957" y="30570"/>
                    <a:pt x="105627" y="33677"/>
                  </a:cubicBezTo>
                  <a:cubicBezTo>
                    <a:pt x="103297" y="37560"/>
                    <a:pt x="100190" y="39890"/>
                    <a:pt x="96307" y="41443"/>
                  </a:cubicBezTo>
                  <a:cubicBezTo>
                    <a:pt x="90094" y="44550"/>
                    <a:pt x="85434" y="42997"/>
                    <a:pt x="83880" y="36784"/>
                  </a:cubicBezTo>
                  <a:cubicBezTo>
                    <a:pt x="82327" y="30570"/>
                    <a:pt x="79220" y="26687"/>
                    <a:pt x="76114" y="25134"/>
                  </a:cubicBezTo>
                  <a:cubicBezTo>
                    <a:pt x="73007" y="23580"/>
                    <a:pt x="68347" y="23580"/>
                    <a:pt x="62910" y="26687"/>
                  </a:cubicBezTo>
                  <a:cubicBezTo>
                    <a:pt x="56697" y="29793"/>
                    <a:pt x="52037" y="33677"/>
                    <a:pt x="48153" y="39890"/>
                  </a:cubicBezTo>
                  <a:cubicBezTo>
                    <a:pt x="44270" y="45327"/>
                    <a:pt x="42717" y="51540"/>
                    <a:pt x="42717" y="57754"/>
                  </a:cubicBezTo>
                  <a:cubicBezTo>
                    <a:pt x="42717" y="61637"/>
                    <a:pt x="43493" y="64744"/>
                    <a:pt x="44270" y="67850"/>
                  </a:cubicBezTo>
                  <a:cubicBezTo>
                    <a:pt x="45047" y="69404"/>
                    <a:pt x="45824" y="74064"/>
                    <a:pt x="48153" y="79501"/>
                  </a:cubicBez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21" name="Forma Livre: Forma 220">
              <a:extLst>
                <a:ext uri="{FF2B5EF4-FFF2-40B4-BE49-F238E27FC236}">
                  <a16:creationId xmlns:a16="http://schemas.microsoft.com/office/drawing/2014/main" id="{7AF88F5B-0B7A-4359-8B13-33740982C069}"/>
                </a:ext>
              </a:extLst>
            </p:cNvPr>
            <p:cNvSpPr/>
            <p:nvPr/>
          </p:nvSpPr>
          <p:spPr>
            <a:xfrm>
              <a:off x="2683310" y="6410638"/>
              <a:ext cx="534349" cy="410081"/>
            </a:xfrm>
            <a:custGeom>
              <a:avLst/>
              <a:gdLst>
                <a:gd name="connsiteX0" fmla="*/ 112617 w 534349"/>
                <a:gd name="connsiteY0" fmla="*/ 410082 h 410081"/>
                <a:gd name="connsiteX1" fmla="*/ 9320 w 534349"/>
                <a:gd name="connsiteY1" fmla="*/ 375908 h 410081"/>
                <a:gd name="connsiteX2" fmla="*/ 0 w 534349"/>
                <a:gd name="connsiteY2" fmla="*/ 358045 h 410081"/>
                <a:gd name="connsiteX3" fmla="*/ 0 w 534349"/>
                <a:gd name="connsiteY3" fmla="*/ 90094 h 410081"/>
                <a:gd name="connsiteX4" fmla="*/ 12427 w 534349"/>
                <a:gd name="connsiteY4" fmla="*/ 69900 h 410081"/>
                <a:gd name="connsiteX5" fmla="*/ 35727 w 534349"/>
                <a:gd name="connsiteY5" fmla="*/ 71453 h 410081"/>
                <a:gd name="connsiteX6" fmla="*/ 113394 w 534349"/>
                <a:gd name="connsiteY6" fmla="*/ 97084 h 410081"/>
                <a:gd name="connsiteX7" fmla="*/ 257854 w 534349"/>
                <a:gd name="connsiteY7" fmla="*/ 50484 h 410081"/>
                <a:gd name="connsiteX8" fmla="*/ 421732 w 534349"/>
                <a:gd name="connsiteY8" fmla="*/ 0 h 410081"/>
                <a:gd name="connsiteX9" fmla="*/ 525029 w 534349"/>
                <a:gd name="connsiteY9" fmla="*/ 34173 h 410081"/>
                <a:gd name="connsiteX10" fmla="*/ 534349 w 534349"/>
                <a:gd name="connsiteY10" fmla="*/ 52037 h 410081"/>
                <a:gd name="connsiteX11" fmla="*/ 534349 w 534349"/>
                <a:gd name="connsiteY11" fmla="*/ 319211 h 410081"/>
                <a:gd name="connsiteX12" fmla="*/ 521922 w 534349"/>
                <a:gd name="connsiteY12" fmla="*/ 339405 h 410081"/>
                <a:gd name="connsiteX13" fmla="*/ 498622 w 534349"/>
                <a:gd name="connsiteY13" fmla="*/ 337852 h 410081"/>
                <a:gd name="connsiteX14" fmla="*/ 420955 w 534349"/>
                <a:gd name="connsiteY14" fmla="*/ 312221 h 410081"/>
                <a:gd name="connsiteX15" fmla="*/ 276495 w 534349"/>
                <a:gd name="connsiteY15" fmla="*/ 358821 h 410081"/>
                <a:gd name="connsiteX16" fmla="*/ 112617 w 534349"/>
                <a:gd name="connsiteY16" fmla="*/ 410082 h 410081"/>
                <a:gd name="connsiteX17" fmla="*/ 112617 w 534349"/>
                <a:gd name="connsiteY17" fmla="*/ 410082 h 410081"/>
                <a:gd name="connsiteX18" fmla="*/ 45047 w 534349"/>
                <a:gd name="connsiteY18" fmla="*/ 345618 h 410081"/>
                <a:gd name="connsiteX19" fmla="*/ 113394 w 534349"/>
                <a:gd name="connsiteY19" fmla="*/ 365035 h 410081"/>
                <a:gd name="connsiteX20" fmla="*/ 257854 w 534349"/>
                <a:gd name="connsiteY20" fmla="*/ 318435 h 410081"/>
                <a:gd name="connsiteX21" fmla="*/ 421732 w 534349"/>
                <a:gd name="connsiteY21" fmla="*/ 267951 h 410081"/>
                <a:gd name="connsiteX22" fmla="*/ 490079 w 534349"/>
                <a:gd name="connsiteY22" fmla="*/ 281931 h 410081"/>
                <a:gd name="connsiteX23" fmla="*/ 490079 w 534349"/>
                <a:gd name="connsiteY23" fmla="*/ 65240 h 410081"/>
                <a:gd name="connsiteX24" fmla="*/ 421732 w 534349"/>
                <a:gd name="connsiteY24" fmla="*/ 45823 h 410081"/>
                <a:gd name="connsiteX25" fmla="*/ 277271 w 534349"/>
                <a:gd name="connsiteY25" fmla="*/ 92424 h 410081"/>
                <a:gd name="connsiteX26" fmla="*/ 113394 w 534349"/>
                <a:gd name="connsiteY26" fmla="*/ 142907 h 410081"/>
                <a:gd name="connsiteX27" fmla="*/ 45047 w 534349"/>
                <a:gd name="connsiteY27" fmla="*/ 128927 h 410081"/>
                <a:gd name="connsiteX28" fmla="*/ 45047 w 534349"/>
                <a:gd name="connsiteY28" fmla="*/ 345618 h 410081"/>
                <a:gd name="connsiteX29" fmla="*/ 45047 w 534349"/>
                <a:gd name="connsiteY29" fmla="*/ 345618 h 410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34349" h="410081">
                  <a:moveTo>
                    <a:pt x="112617" y="410082"/>
                  </a:moveTo>
                  <a:cubicBezTo>
                    <a:pt x="75337" y="410082"/>
                    <a:pt x="41163" y="399208"/>
                    <a:pt x="9320" y="375908"/>
                  </a:cubicBezTo>
                  <a:cubicBezTo>
                    <a:pt x="3107" y="372025"/>
                    <a:pt x="0" y="365035"/>
                    <a:pt x="0" y="358045"/>
                  </a:cubicBezTo>
                  <a:lnTo>
                    <a:pt x="0" y="90094"/>
                  </a:lnTo>
                  <a:cubicBezTo>
                    <a:pt x="0" y="81550"/>
                    <a:pt x="4660" y="73784"/>
                    <a:pt x="12427" y="69900"/>
                  </a:cubicBezTo>
                  <a:cubicBezTo>
                    <a:pt x="20193" y="66017"/>
                    <a:pt x="28737" y="66793"/>
                    <a:pt x="35727" y="71453"/>
                  </a:cubicBezTo>
                  <a:cubicBezTo>
                    <a:pt x="59803" y="88540"/>
                    <a:pt x="85434" y="97084"/>
                    <a:pt x="113394" y="97084"/>
                  </a:cubicBezTo>
                  <a:cubicBezTo>
                    <a:pt x="159994" y="97084"/>
                    <a:pt x="207371" y="74560"/>
                    <a:pt x="257854" y="50484"/>
                  </a:cubicBezTo>
                  <a:cubicBezTo>
                    <a:pt x="310668" y="25630"/>
                    <a:pt x="365035" y="0"/>
                    <a:pt x="421732" y="0"/>
                  </a:cubicBezTo>
                  <a:cubicBezTo>
                    <a:pt x="459012" y="0"/>
                    <a:pt x="493186" y="10873"/>
                    <a:pt x="525029" y="34173"/>
                  </a:cubicBezTo>
                  <a:cubicBezTo>
                    <a:pt x="531243" y="38057"/>
                    <a:pt x="534349" y="45047"/>
                    <a:pt x="534349" y="52037"/>
                  </a:cubicBezTo>
                  <a:lnTo>
                    <a:pt x="534349" y="319211"/>
                  </a:lnTo>
                  <a:cubicBezTo>
                    <a:pt x="534349" y="327755"/>
                    <a:pt x="529689" y="335521"/>
                    <a:pt x="521922" y="339405"/>
                  </a:cubicBezTo>
                  <a:cubicBezTo>
                    <a:pt x="514156" y="343288"/>
                    <a:pt x="505613" y="342511"/>
                    <a:pt x="498622" y="337852"/>
                  </a:cubicBezTo>
                  <a:cubicBezTo>
                    <a:pt x="474546" y="320765"/>
                    <a:pt x="448915" y="312221"/>
                    <a:pt x="420955" y="312221"/>
                  </a:cubicBezTo>
                  <a:cubicBezTo>
                    <a:pt x="374355" y="312221"/>
                    <a:pt x="326978" y="334745"/>
                    <a:pt x="276495" y="358821"/>
                  </a:cubicBezTo>
                  <a:cubicBezTo>
                    <a:pt x="223681" y="384452"/>
                    <a:pt x="169314" y="410082"/>
                    <a:pt x="112617" y="410082"/>
                  </a:cubicBezTo>
                  <a:lnTo>
                    <a:pt x="112617" y="410082"/>
                  </a:lnTo>
                  <a:close/>
                  <a:moveTo>
                    <a:pt x="45047" y="345618"/>
                  </a:moveTo>
                  <a:cubicBezTo>
                    <a:pt x="66794" y="358821"/>
                    <a:pt x="88540" y="365035"/>
                    <a:pt x="113394" y="365035"/>
                  </a:cubicBezTo>
                  <a:cubicBezTo>
                    <a:pt x="159994" y="365035"/>
                    <a:pt x="207371" y="342511"/>
                    <a:pt x="257854" y="318435"/>
                  </a:cubicBezTo>
                  <a:cubicBezTo>
                    <a:pt x="310668" y="293581"/>
                    <a:pt x="365035" y="267951"/>
                    <a:pt x="421732" y="267951"/>
                  </a:cubicBezTo>
                  <a:cubicBezTo>
                    <a:pt x="445809" y="267951"/>
                    <a:pt x="468332" y="272611"/>
                    <a:pt x="490079" y="281931"/>
                  </a:cubicBezTo>
                  <a:lnTo>
                    <a:pt x="490079" y="65240"/>
                  </a:lnTo>
                  <a:cubicBezTo>
                    <a:pt x="468332" y="52037"/>
                    <a:pt x="446586" y="45823"/>
                    <a:pt x="421732" y="45823"/>
                  </a:cubicBezTo>
                  <a:cubicBezTo>
                    <a:pt x="375132" y="45823"/>
                    <a:pt x="327755" y="68347"/>
                    <a:pt x="277271" y="92424"/>
                  </a:cubicBezTo>
                  <a:cubicBezTo>
                    <a:pt x="224458" y="117277"/>
                    <a:pt x="170091" y="142907"/>
                    <a:pt x="113394" y="142907"/>
                  </a:cubicBezTo>
                  <a:cubicBezTo>
                    <a:pt x="89317" y="142907"/>
                    <a:pt x="66794" y="138247"/>
                    <a:pt x="45047" y="128927"/>
                  </a:cubicBezTo>
                  <a:lnTo>
                    <a:pt x="45047" y="345618"/>
                  </a:lnTo>
                  <a:lnTo>
                    <a:pt x="45047" y="345618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222" name="Gráfico 2">
              <a:extLst>
                <a:ext uri="{FF2B5EF4-FFF2-40B4-BE49-F238E27FC236}">
                  <a16:creationId xmlns:a16="http://schemas.microsoft.com/office/drawing/2014/main" id="{777488D5-C9B0-42ED-94FB-5C76F4BD1A17}"/>
                </a:ext>
              </a:extLst>
            </p:cNvPr>
            <p:cNvGrpSpPr/>
            <p:nvPr/>
          </p:nvGrpSpPr>
          <p:grpSpPr>
            <a:xfrm>
              <a:off x="2754418" y="6477697"/>
              <a:ext cx="392132" cy="275451"/>
              <a:chOff x="2754418" y="6477697"/>
              <a:chExt cx="392132" cy="275451"/>
            </a:xfrm>
            <a:grpFill/>
          </p:grpSpPr>
          <p:grpSp>
            <p:nvGrpSpPr>
              <p:cNvPr id="223" name="Gráfico 2">
                <a:extLst>
                  <a:ext uri="{FF2B5EF4-FFF2-40B4-BE49-F238E27FC236}">
                    <a16:creationId xmlns:a16="http://schemas.microsoft.com/office/drawing/2014/main" id="{777488D5-C9B0-42ED-94FB-5C76F4BD1A17}"/>
                  </a:ext>
                </a:extLst>
              </p:cNvPr>
              <p:cNvGrpSpPr/>
              <p:nvPr/>
            </p:nvGrpSpPr>
            <p:grpSpPr>
              <a:xfrm>
                <a:off x="2754418" y="6477697"/>
                <a:ext cx="392132" cy="118564"/>
                <a:chOff x="2754418" y="6477697"/>
                <a:chExt cx="392132" cy="118564"/>
              </a:xfrm>
              <a:grpFill/>
            </p:grpSpPr>
            <p:sp>
              <p:nvSpPr>
                <p:cNvPr id="224" name="Forma Livre: Forma 223">
                  <a:extLst>
                    <a:ext uri="{FF2B5EF4-FFF2-40B4-BE49-F238E27FC236}">
                      <a16:creationId xmlns:a16="http://schemas.microsoft.com/office/drawing/2014/main" id="{51218670-31D6-4B40-A978-B289C5850EE0}"/>
                    </a:ext>
                  </a:extLst>
                </p:cNvPr>
                <p:cNvSpPr/>
                <p:nvPr/>
              </p:nvSpPr>
              <p:spPr>
                <a:xfrm>
                  <a:off x="2754418" y="6558199"/>
                  <a:ext cx="135491" cy="38062"/>
                </a:xfrm>
                <a:custGeom>
                  <a:avLst/>
                  <a:gdLst>
                    <a:gd name="connsiteX0" fmla="*/ 41509 w 135491"/>
                    <a:gd name="connsiteY0" fmla="*/ 38063 h 38062"/>
                    <a:gd name="connsiteX1" fmla="*/ 8112 w 135491"/>
                    <a:gd name="connsiteY1" fmla="*/ 34956 h 38062"/>
                    <a:gd name="connsiteX2" fmla="*/ 345 w 135491"/>
                    <a:gd name="connsiteY2" fmla="*/ 22529 h 38062"/>
                    <a:gd name="connsiteX3" fmla="*/ 12772 w 135491"/>
                    <a:gd name="connsiteY3" fmla="*/ 14763 h 38062"/>
                    <a:gd name="connsiteX4" fmla="*/ 121506 w 135491"/>
                    <a:gd name="connsiteY4" fmla="*/ 783 h 38062"/>
                    <a:gd name="connsiteX5" fmla="*/ 134709 w 135491"/>
                    <a:gd name="connsiteY5" fmla="*/ 6996 h 38062"/>
                    <a:gd name="connsiteX6" fmla="*/ 128496 w 135491"/>
                    <a:gd name="connsiteY6" fmla="*/ 20199 h 38062"/>
                    <a:gd name="connsiteX7" fmla="*/ 41509 w 135491"/>
                    <a:gd name="connsiteY7" fmla="*/ 38063 h 38062"/>
                    <a:gd name="connsiteX8" fmla="*/ 41509 w 135491"/>
                    <a:gd name="connsiteY8" fmla="*/ 38063 h 380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35491" h="38062">
                      <a:moveTo>
                        <a:pt x="41509" y="38063"/>
                      </a:moveTo>
                      <a:cubicBezTo>
                        <a:pt x="29859" y="38063"/>
                        <a:pt x="18985" y="37286"/>
                        <a:pt x="8112" y="34956"/>
                      </a:cubicBezTo>
                      <a:cubicBezTo>
                        <a:pt x="2675" y="33403"/>
                        <a:pt x="-1208" y="27966"/>
                        <a:pt x="345" y="22529"/>
                      </a:cubicBezTo>
                      <a:cubicBezTo>
                        <a:pt x="1899" y="17093"/>
                        <a:pt x="7335" y="13209"/>
                        <a:pt x="12772" y="14763"/>
                      </a:cubicBezTo>
                      <a:cubicBezTo>
                        <a:pt x="43839" y="21753"/>
                        <a:pt x="78789" y="17093"/>
                        <a:pt x="121506" y="783"/>
                      </a:cubicBezTo>
                      <a:cubicBezTo>
                        <a:pt x="126943" y="-1547"/>
                        <a:pt x="132379" y="1559"/>
                        <a:pt x="134709" y="6996"/>
                      </a:cubicBezTo>
                      <a:cubicBezTo>
                        <a:pt x="137039" y="12433"/>
                        <a:pt x="133933" y="17870"/>
                        <a:pt x="128496" y="20199"/>
                      </a:cubicBezTo>
                      <a:cubicBezTo>
                        <a:pt x="95876" y="31850"/>
                        <a:pt x="67916" y="38063"/>
                        <a:pt x="41509" y="38063"/>
                      </a:cubicBezTo>
                      <a:lnTo>
                        <a:pt x="41509" y="38063"/>
                      </a:lnTo>
                      <a:close/>
                    </a:path>
                  </a:pathLst>
                </a:custGeom>
                <a:grpFill/>
                <a:ln w="77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225" name="Forma Livre: Forma 224">
                  <a:extLst>
                    <a:ext uri="{FF2B5EF4-FFF2-40B4-BE49-F238E27FC236}">
                      <a16:creationId xmlns:a16="http://schemas.microsoft.com/office/drawing/2014/main" id="{3373A0CF-38D4-4C6A-91BF-C2616AEEB9F6}"/>
                    </a:ext>
                  </a:extLst>
                </p:cNvPr>
                <p:cNvSpPr/>
                <p:nvPr/>
              </p:nvSpPr>
              <p:spPr>
                <a:xfrm>
                  <a:off x="3011058" y="6477697"/>
                  <a:ext cx="135491" cy="38567"/>
                </a:xfrm>
                <a:custGeom>
                  <a:avLst/>
                  <a:gdLst>
                    <a:gd name="connsiteX0" fmla="*/ 10103 w 135491"/>
                    <a:gd name="connsiteY0" fmla="*/ 38567 h 38567"/>
                    <a:gd name="connsiteX1" fmla="*/ 783 w 135491"/>
                    <a:gd name="connsiteY1" fmla="*/ 31577 h 38567"/>
                    <a:gd name="connsiteX2" fmla="*/ 6996 w 135491"/>
                    <a:gd name="connsiteY2" fmla="*/ 18374 h 38567"/>
                    <a:gd name="connsiteX3" fmla="*/ 127380 w 135491"/>
                    <a:gd name="connsiteY3" fmla="*/ 3617 h 38567"/>
                    <a:gd name="connsiteX4" fmla="*/ 135147 w 135491"/>
                    <a:gd name="connsiteY4" fmla="*/ 16044 h 38567"/>
                    <a:gd name="connsiteX5" fmla="*/ 122720 w 135491"/>
                    <a:gd name="connsiteY5" fmla="*/ 23811 h 38567"/>
                    <a:gd name="connsiteX6" fmla="*/ 13986 w 135491"/>
                    <a:gd name="connsiteY6" fmla="*/ 37791 h 38567"/>
                    <a:gd name="connsiteX7" fmla="*/ 10103 w 135491"/>
                    <a:gd name="connsiteY7" fmla="*/ 38567 h 38567"/>
                    <a:gd name="connsiteX8" fmla="*/ 10103 w 135491"/>
                    <a:gd name="connsiteY8" fmla="*/ 38567 h 385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35491" h="38567">
                      <a:moveTo>
                        <a:pt x="10103" y="38567"/>
                      </a:moveTo>
                      <a:cubicBezTo>
                        <a:pt x="6219" y="38567"/>
                        <a:pt x="2336" y="36238"/>
                        <a:pt x="783" y="31577"/>
                      </a:cubicBezTo>
                      <a:cubicBezTo>
                        <a:pt x="-1547" y="26141"/>
                        <a:pt x="1559" y="20704"/>
                        <a:pt x="6996" y="18374"/>
                      </a:cubicBezTo>
                      <a:cubicBezTo>
                        <a:pt x="53596" y="510"/>
                        <a:pt x="91653" y="-4149"/>
                        <a:pt x="127380" y="3617"/>
                      </a:cubicBezTo>
                      <a:cubicBezTo>
                        <a:pt x="132817" y="5171"/>
                        <a:pt x="136700" y="10608"/>
                        <a:pt x="135147" y="16044"/>
                      </a:cubicBezTo>
                      <a:cubicBezTo>
                        <a:pt x="133593" y="21481"/>
                        <a:pt x="128157" y="25364"/>
                        <a:pt x="122720" y="23811"/>
                      </a:cubicBezTo>
                      <a:cubicBezTo>
                        <a:pt x="91653" y="16821"/>
                        <a:pt x="56703" y="21481"/>
                        <a:pt x="13986" y="37791"/>
                      </a:cubicBezTo>
                      <a:cubicBezTo>
                        <a:pt x="12433" y="38567"/>
                        <a:pt x="10880" y="38567"/>
                        <a:pt x="10103" y="38567"/>
                      </a:cubicBezTo>
                      <a:lnTo>
                        <a:pt x="10103" y="38567"/>
                      </a:lnTo>
                      <a:close/>
                    </a:path>
                  </a:pathLst>
                </a:custGeom>
                <a:grpFill/>
                <a:ln w="77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grpSp>
            <p:nvGrpSpPr>
              <p:cNvPr id="226" name="Gráfico 2">
                <a:extLst>
                  <a:ext uri="{FF2B5EF4-FFF2-40B4-BE49-F238E27FC236}">
                    <a16:creationId xmlns:a16="http://schemas.microsoft.com/office/drawing/2014/main" id="{777488D5-C9B0-42ED-94FB-5C76F4BD1A17}"/>
                  </a:ext>
                </a:extLst>
              </p:cNvPr>
              <p:cNvGrpSpPr/>
              <p:nvPr/>
            </p:nvGrpSpPr>
            <p:grpSpPr>
              <a:xfrm>
                <a:off x="2754418" y="6634585"/>
                <a:ext cx="392132" cy="118564"/>
                <a:chOff x="2754418" y="6634585"/>
                <a:chExt cx="392132" cy="118564"/>
              </a:xfrm>
              <a:grpFill/>
            </p:grpSpPr>
            <p:sp>
              <p:nvSpPr>
                <p:cNvPr id="227" name="Forma Livre: Forma 226">
                  <a:extLst>
                    <a:ext uri="{FF2B5EF4-FFF2-40B4-BE49-F238E27FC236}">
                      <a16:creationId xmlns:a16="http://schemas.microsoft.com/office/drawing/2014/main" id="{A4BC215C-2C32-4C2D-B501-DD04EF8D7878}"/>
                    </a:ext>
                  </a:extLst>
                </p:cNvPr>
                <p:cNvSpPr/>
                <p:nvPr/>
              </p:nvSpPr>
              <p:spPr>
                <a:xfrm>
                  <a:off x="2754418" y="6715086"/>
                  <a:ext cx="135491" cy="38062"/>
                </a:xfrm>
                <a:custGeom>
                  <a:avLst/>
                  <a:gdLst>
                    <a:gd name="connsiteX0" fmla="*/ 41509 w 135491"/>
                    <a:gd name="connsiteY0" fmla="*/ 38063 h 38062"/>
                    <a:gd name="connsiteX1" fmla="*/ 8112 w 135491"/>
                    <a:gd name="connsiteY1" fmla="*/ 34956 h 38062"/>
                    <a:gd name="connsiteX2" fmla="*/ 345 w 135491"/>
                    <a:gd name="connsiteY2" fmla="*/ 22529 h 38062"/>
                    <a:gd name="connsiteX3" fmla="*/ 12772 w 135491"/>
                    <a:gd name="connsiteY3" fmla="*/ 14763 h 38062"/>
                    <a:gd name="connsiteX4" fmla="*/ 121506 w 135491"/>
                    <a:gd name="connsiteY4" fmla="*/ 783 h 38062"/>
                    <a:gd name="connsiteX5" fmla="*/ 134709 w 135491"/>
                    <a:gd name="connsiteY5" fmla="*/ 6996 h 38062"/>
                    <a:gd name="connsiteX6" fmla="*/ 128496 w 135491"/>
                    <a:gd name="connsiteY6" fmla="*/ 20199 h 38062"/>
                    <a:gd name="connsiteX7" fmla="*/ 41509 w 135491"/>
                    <a:gd name="connsiteY7" fmla="*/ 38063 h 38062"/>
                    <a:gd name="connsiteX8" fmla="*/ 41509 w 135491"/>
                    <a:gd name="connsiteY8" fmla="*/ 38063 h 380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35491" h="38062">
                      <a:moveTo>
                        <a:pt x="41509" y="38063"/>
                      </a:moveTo>
                      <a:cubicBezTo>
                        <a:pt x="29859" y="38063"/>
                        <a:pt x="18985" y="37286"/>
                        <a:pt x="8112" y="34956"/>
                      </a:cubicBezTo>
                      <a:cubicBezTo>
                        <a:pt x="2675" y="33403"/>
                        <a:pt x="-1208" y="27966"/>
                        <a:pt x="345" y="22529"/>
                      </a:cubicBezTo>
                      <a:cubicBezTo>
                        <a:pt x="1899" y="17093"/>
                        <a:pt x="7335" y="13209"/>
                        <a:pt x="12772" y="14763"/>
                      </a:cubicBezTo>
                      <a:cubicBezTo>
                        <a:pt x="43839" y="21753"/>
                        <a:pt x="78789" y="17093"/>
                        <a:pt x="121506" y="783"/>
                      </a:cubicBezTo>
                      <a:cubicBezTo>
                        <a:pt x="126943" y="-1547"/>
                        <a:pt x="132379" y="1559"/>
                        <a:pt x="134709" y="6996"/>
                      </a:cubicBezTo>
                      <a:cubicBezTo>
                        <a:pt x="137039" y="12433"/>
                        <a:pt x="133933" y="17870"/>
                        <a:pt x="128496" y="20199"/>
                      </a:cubicBezTo>
                      <a:cubicBezTo>
                        <a:pt x="95876" y="31850"/>
                        <a:pt x="67916" y="38063"/>
                        <a:pt x="41509" y="38063"/>
                      </a:cubicBezTo>
                      <a:lnTo>
                        <a:pt x="41509" y="38063"/>
                      </a:lnTo>
                      <a:close/>
                    </a:path>
                  </a:pathLst>
                </a:custGeom>
                <a:grpFill/>
                <a:ln w="77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228" name="Forma Livre: Forma 227">
                  <a:extLst>
                    <a:ext uri="{FF2B5EF4-FFF2-40B4-BE49-F238E27FC236}">
                      <a16:creationId xmlns:a16="http://schemas.microsoft.com/office/drawing/2014/main" id="{3B7E0861-8D32-400D-80A8-044F100A92F9}"/>
                    </a:ext>
                  </a:extLst>
                </p:cNvPr>
                <p:cNvSpPr/>
                <p:nvPr/>
              </p:nvSpPr>
              <p:spPr>
                <a:xfrm>
                  <a:off x="3011058" y="6634585"/>
                  <a:ext cx="135491" cy="38567"/>
                </a:xfrm>
                <a:custGeom>
                  <a:avLst/>
                  <a:gdLst>
                    <a:gd name="connsiteX0" fmla="*/ 10103 w 135491"/>
                    <a:gd name="connsiteY0" fmla="*/ 38567 h 38567"/>
                    <a:gd name="connsiteX1" fmla="*/ 783 w 135491"/>
                    <a:gd name="connsiteY1" fmla="*/ 31577 h 38567"/>
                    <a:gd name="connsiteX2" fmla="*/ 6996 w 135491"/>
                    <a:gd name="connsiteY2" fmla="*/ 18374 h 38567"/>
                    <a:gd name="connsiteX3" fmla="*/ 127380 w 135491"/>
                    <a:gd name="connsiteY3" fmla="*/ 3617 h 38567"/>
                    <a:gd name="connsiteX4" fmla="*/ 135147 w 135491"/>
                    <a:gd name="connsiteY4" fmla="*/ 16044 h 38567"/>
                    <a:gd name="connsiteX5" fmla="*/ 122720 w 135491"/>
                    <a:gd name="connsiteY5" fmla="*/ 23811 h 38567"/>
                    <a:gd name="connsiteX6" fmla="*/ 13986 w 135491"/>
                    <a:gd name="connsiteY6" fmla="*/ 37791 h 38567"/>
                    <a:gd name="connsiteX7" fmla="*/ 10103 w 135491"/>
                    <a:gd name="connsiteY7" fmla="*/ 38567 h 38567"/>
                    <a:gd name="connsiteX8" fmla="*/ 10103 w 135491"/>
                    <a:gd name="connsiteY8" fmla="*/ 38567 h 385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35491" h="38567">
                      <a:moveTo>
                        <a:pt x="10103" y="38567"/>
                      </a:moveTo>
                      <a:cubicBezTo>
                        <a:pt x="6219" y="38567"/>
                        <a:pt x="2336" y="36238"/>
                        <a:pt x="783" y="31577"/>
                      </a:cubicBezTo>
                      <a:cubicBezTo>
                        <a:pt x="-1547" y="26140"/>
                        <a:pt x="1559" y="20704"/>
                        <a:pt x="6996" y="18374"/>
                      </a:cubicBezTo>
                      <a:cubicBezTo>
                        <a:pt x="53596" y="510"/>
                        <a:pt x="91653" y="-4149"/>
                        <a:pt x="127380" y="3617"/>
                      </a:cubicBezTo>
                      <a:cubicBezTo>
                        <a:pt x="132817" y="5171"/>
                        <a:pt x="136700" y="10607"/>
                        <a:pt x="135147" y="16044"/>
                      </a:cubicBezTo>
                      <a:cubicBezTo>
                        <a:pt x="133593" y="21481"/>
                        <a:pt x="128157" y="25364"/>
                        <a:pt x="122720" y="23811"/>
                      </a:cubicBezTo>
                      <a:cubicBezTo>
                        <a:pt x="91653" y="16821"/>
                        <a:pt x="56703" y="21481"/>
                        <a:pt x="13986" y="37791"/>
                      </a:cubicBezTo>
                      <a:cubicBezTo>
                        <a:pt x="12433" y="38567"/>
                        <a:pt x="10880" y="38567"/>
                        <a:pt x="10103" y="38567"/>
                      </a:cubicBezTo>
                      <a:lnTo>
                        <a:pt x="10103" y="38567"/>
                      </a:lnTo>
                      <a:close/>
                    </a:path>
                  </a:pathLst>
                </a:custGeom>
                <a:grpFill/>
                <a:ln w="77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</p:grpSp>
      </p:grpSp>
      <p:grpSp>
        <p:nvGrpSpPr>
          <p:cNvPr id="229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4345440" y="5726464"/>
            <a:ext cx="434580" cy="333514"/>
            <a:chOff x="3943069" y="6410638"/>
            <a:chExt cx="534349" cy="410081"/>
          </a:xfrm>
          <a:solidFill>
            <a:srgbClr val="B1B1A1"/>
          </a:solidFill>
        </p:grpSpPr>
        <p:sp>
          <p:nvSpPr>
            <p:cNvPr id="230" name="Forma Livre: Forma 229">
              <a:extLst>
                <a:ext uri="{FF2B5EF4-FFF2-40B4-BE49-F238E27FC236}">
                  <a16:creationId xmlns:a16="http://schemas.microsoft.com/office/drawing/2014/main" id="{6A89D118-6A43-4A34-A0EB-207614270483}"/>
                </a:ext>
              </a:extLst>
            </p:cNvPr>
            <p:cNvSpPr/>
            <p:nvPr/>
          </p:nvSpPr>
          <p:spPr>
            <a:xfrm>
              <a:off x="4151993" y="6534394"/>
              <a:ext cx="114947" cy="173901"/>
            </a:xfrm>
            <a:custGeom>
              <a:avLst/>
              <a:gdLst>
                <a:gd name="connsiteX0" fmla="*/ 22523 w 114947"/>
                <a:gd name="connsiteY0" fmla="*/ 142641 h 173901"/>
                <a:gd name="connsiteX1" fmla="*/ 45047 w 114947"/>
                <a:gd name="connsiteY1" fmla="*/ 132544 h 173901"/>
                <a:gd name="connsiteX2" fmla="*/ 45047 w 114947"/>
                <a:gd name="connsiteY2" fmla="*/ 118564 h 173901"/>
                <a:gd name="connsiteX3" fmla="*/ 22523 w 114947"/>
                <a:gd name="connsiteY3" fmla="*/ 128661 h 173901"/>
                <a:gd name="connsiteX4" fmla="*/ 8543 w 114947"/>
                <a:gd name="connsiteY4" fmla="*/ 125554 h 173901"/>
                <a:gd name="connsiteX5" fmla="*/ 22523 w 114947"/>
                <a:gd name="connsiteY5" fmla="*/ 110021 h 173901"/>
                <a:gd name="connsiteX6" fmla="*/ 34950 w 114947"/>
                <a:gd name="connsiteY6" fmla="*/ 104584 h 173901"/>
                <a:gd name="connsiteX7" fmla="*/ 5437 w 114947"/>
                <a:gd name="connsiteY7" fmla="*/ 71187 h 173901"/>
                <a:gd name="connsiteX8" fmla="*/ 776 w 114947"/>
                <a:gd name="connsiteY8" fmla="*/ 64974 h 173901"/>
                <a:gd name="connsiteX9" fmla="*/ 0 w 114947"/>
                <a:gd name="connsiteY9" fmla="*/ 60314 h 173901"/>
                <a:gd name="connsiteX10" fmla="*/ 3106 w 114947"/>
                <a:gd name="connsiteY10" fmla="*/ 50994 h 173901"/>
                <a:gd name="connsiteX11" fmla="*/ 10873 w 114947"/>
                <a:gd name="connsiteY11" fmla="*/ 44780 h 173901"/>
                <a:gd name="connsiteX12" fmla="*/ 19417 w 114947"/>
                <a:gd name="connsiteY12" fmla="*/ 44004 h 173901"/>
                <a:gd name="connsiteX13" fmla="*/ 26407 w 114947"/>
                <a:gd name="connsiteY13" fmla="*/ 50217 h 173901"/>
                <a:gd name="connsiteX14" fmla="*/ 58250 w 114947"/>
                <a:gd name="connsiteY14" fmla="*/ 85167 h 173901"/>
                <a:gd name="connsiteX15" fmla="*/ 86987 w 114947"/>
                <a:gd name="connsiteY15" fmla="*/ 24587 h 173901"/>
                <a:gd name="connsiteX16" fmla="*/ 90094 w 114947"/>
                <a:gd name="connsiteY16" fmla="*/ 17597 h 173901"/>
                <a:gd name="connsiteX17" fmla="*/ 93977 w 114947"/>
                <a:gd name="connsiteY17" fmla="*/ 10607 h 173901"/>
                <a:gd name="connsiteX18" fmla="*/ 97860 w 114947"/>
                <a:gd name="connsiteY18" fmla="*/ 5170 h 173901"/>
                <a:gd name="connsiteX19" fmla="*/ 104074 w 114947"/>
                <a:gd name="connsiteY19" fmla="*/ 1287 h 173901"/>
                <a:gd name="connsiteX20" fmla="*/ 111840 w 114947"/>
                <a:gd name="connsiteY20" fmla="*/ 510 h 173901"/>
                <a:gd name="connsiteX21" fmla="*/ 114947 w 114947"/>
                <a:gd name="connsiteY21" fmla="*/ 6724 h 173901"/>
                <a:gd name="connsiteX22" fmla="*/ 113394 w 114947"/>
                <a:gd name="connsiteY22" fmla="*/ 13713 h 173901"/>
                <a:gd name="connsiteX23" fmla="*/ 109510 w 114947"/>
                <a:gd name="connsiteY23" fmla="*/ 22257 h 173901"/>
                <a:gd name="connsiteX24" fmla="*/ 80773 w 114947"/>
                <a:gd name="connsiteY24" fmla="*/ 82061 h 173901"/>
                <a:gd name="connsiteX25" fmla="*/ 93200 w 114947"/>
                <a:gd name="connsiteY25" fmla="*/ 76624 h 173901"/>
                <a:gd name="connsiteX26" fmla="*/ 107180 w 114947"/>
                <a:gd name="connsiteY26" fmla="*/ 79730 h 173901"/>
                <a:gd name="connsiteX27" fmla="*/ 93200 w 114947"/>
                <a:gd name="connsiteY27" fmla="*/ 95264 h 173901"/>
                <a:gd name="connsiteX28" fmla="*/ 70677 w 114947"/>
                <a:gd name="connsiteY28" fmla="*/ 105361 h 173901"/>
                <a:gd name="connsiteX29" fmla="*/ 70677 w 114947"/>
                <a:gd name="connsiteY29" fmla="*/ 119341 h 173901"/>
                <a:gd name="connsiteX30" fmla="*/ 93200 w 114947"/>
                <a:gd name="connsiteY30" fmla="*/ 109244 h 173901"/>
                <a:gd name="connsiteX31" fmla="*/ 107180 w 114947"/>
                <a:gd name="connsiteY31" fmla="*/ 112351 h 173901"/>
                <a:gd name="connsiteX32" fmla="*/ 93200 w 114947"/>
                <a:gd name="connsiteY32" fmla="*/ 127884 h 173901"/>
                <a:gd name="connsiteX33" fmla="*/ 70677 w 114947"/>
                <a:gd name="connsiteY33" fmla="*/ 137981 h 173901"/>
                <a:gd name="connsiteX34" fmla="*/ 70677 w 114947"/>
                <a:gd name="connsiteY34" fmla="*/ 145747 h 173901"/>
                <a:gd name="connsiteX35" fmla="*/ 57473 w 114947"/>
                <a:gd name="connsiteY35" fmla="*/ 172154 h 173901"/>
                <a:gd name="connsiteX36" fmla="*/ 44270 w 114947"/>
                <a:gd name="connsiteY36" fmla="*/ 158174 h 173901"/>
                <a:gd name="connsiteX37" fmla="*/ 44270 w 114947"/>
                <a:gd name="connsiteY37" fmla="*/ 150408 h 173901"/>
                <a:gd name="connsiteX38" fmla="*/ 21747 w 114947"/>
                <a:gd name="connsiteY38" fmla="*/ 160504 h 173901"/>
                <a:gd name="connsiteX39" fmla="*/ 7767 w 114947"/>
                <a:gd name="connsiteY39" fmla="*/ 157397 h 173901"/>
                <a:gd name="connsiteX40" fmla="*/ 22523 w 114947"/>
                <a:gd name="connsiteY40" fmla="*/ 142641 h 173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14947" h="173901">
                  <a:moveTo>
                    <a:pt x="22523" y="142641"/>
                  </a:moveTo>
                  <a:cubicBezTo>
                    <a:pt x="30290" y="139534"/>
                    <a:pt x="37280" y="135651"/>
                    <a:pt x="45047" y="132544"/>
                  </a:cubicBezTo>
                  <a:cubicBezTo>
                    <a:pt x="45047" y="127884"/>
                    <a:pt x="45047" y="123224"/>
                    <a:pt x="45047" y="118564"/>
                  </a:cubicBezTo>
                  <a:cubicBezTo>
                    <a:pt x="37280" y="122447"/>
                    <a:pt x="30290" y="125554"/>
                    <a:pt x="22523" y="128661"/>
                  </a:cubicBezTo>
                  <a:cubicBezTo>
                    <a:pt x="13203" y="132544"/>
                    <a:pt x="8543" y="131767"/>
                    <a:pt x="8543" y="125554"/>
                  </a:cubicBezTo>
                  <a:cubicBezTo>
                    <a:pt x="8543" y="119341"/>
                    <a:pt x="13203" y="114681"/>
                    <a:pt x="22523" y="110021"/>
                  </a:cubicBezTo>
                  <a:cubicBezTo>
                    <a:pt x="26407" y="108467"/>
                    <a:pt x="31067" y="106137"/>
                    <a:pt x="34950" y="104584"/>
                  </a:cubicBezTo>
                  <a:cubicBezTo>
                    <a:pt x="24854" y="93711"/>
                    <a:pt x="15533" y="82837"/>
                    <a:pt x="5437" y="71187"/>
                  </a:cubicBezTo>
                  <a:cubicBezTo>
                    <a:pt x="3106" y="68857"/>
                    <a:pt x="1553" y="66527"/>
                    <a:pt x="776" y="64974"/>
                  </a:cubicBezTo>
                  <a:cubicBezTo>
                    <a:pt x="0" y="63420"/>
                    <a:pt x="0" y="61867"/>
                    <a:pt x="0" y="60314"/>
                  </a:cubicBezTo>
                  <a:cubicBezTo>
                    <a:pt x="0" y="57207"/>
                    <a:pt x="776" y="54100"/>
                    <a:pt x="3106" y="50994"/>
                  </a:cubicBezTo>
                  <a:cubicBezTo>
                    <a:pt x="5437" y="47887"/>
                    <a:pt x="7767" y="45557"/>
                    <a:pt x="10873" y="44780"/>
                  </a:cubicBezTo>
                  <a:cubicBezTo>
                    <a:pt x="13980" y="43227"/>
                    <a:pt x="17087" y="43227"/>
                    <a:pt x="19417" y="44004"/>
                  </a:cubicBezTo>
                  <a:cubicBezTo>
                    <a:pt x="21747" y="44780"/>
                    <a:pt x="24077" y="47111"/>
                    <a:pt x="26407" y="50217"/>
                  </a:cubicBezTo>
                  <a:cubicBezTo>
                    <a:pt x="37280" y="61867"/>
                    <a:pt x="47377" y="73517"/>
                    <a:pt x="58250" y="85167"/>
                  </a:cubicBezTo>
                  <a:cubicBezTo>
                    <a:pt x="67570" y="64974"/>
                    <a:pt x="77667" y="44780"/>
                    <a:pt x="86987" y="24587"/>
                  </a:cubicBezTo>
                  <a:cubicBezTo>
                    <a:pt x="87764" y="22257"/>
                    <a:pt x="89317" y="19927"/>
                    <a:pt x="90094" y="17597"/>
                  </a:cubicBezTo>
                  <a:cubicBezTo>
                    <a:pt x="91647" y="15267"/>
                    <a:pt x="92424" y="12937"/>
                    <a:pt x="93977" y="10607"/>
                  </a:cubicBezTo>
                  <a:cubicBezTo>
                    <a:pt x="94754" y="9054"/>
                    <a:pt x="96307" y="6724"/>
                    <a:pt x="97860" y="5170"/>
                  </a:cubicBezTo>
                  <a:cubicBezTo>
                    <a:pt x="99414" y="3617"/>
                    <a:pt x="101744" y="2063"/>
                    <a:pt x="104074" y="1287"/>
                  </a:cubicBezTo>
                  <a:cubicBezTo>
                    <a:pt x="107180" y="-267"/>
                    <a:pt x="110287" y="-267"/>
                    <a:pt x="111840" y="510"/>
                  </a:cubicBezTo>
                  <a:cubicBezTo>
                    <a:pt x="114171" y="1287"/>
                    <a:pt x="114947" y="3617"/>
                    <a:pt x="114947" y="6724"/>
                  </a:cubicBezTo>
                  <a:cubicBezTo>
                    <a:pt x="114947" y="9054"/>
                    <a:pt x="114171" y="11383"/>
                    <a:pt x="113394" y="13713"/>
                  </a:cubicBezTo>
                  <a:cubicBezTo>
                    <a:pt x="112617" y="16044"/>
                    <a:pt x="111064" y="19150"/>
                    <a:pt x="109510" y="22257"/>
                  </a:cubicBezTo>
                  <a:cubicBezTo>
                    <a:pt x="100190" y="41674"/>
                    <a:pt x="90871" y="61867"/>
                    <a:pt x="80773" y="82061"/>
                  </a:cubicBezTo>
                  <a:cubicBezTo>
                    <a:pt x="84657" y="79730"/>
                    <a:pt x="89317" y="78177"/>
                    <a:pt x="93200" y="76624"/>
                  </a:cubicBezTo>
                  <a:cubicBezTo>
                    <a:pt x="102521" y="72741"/>
                    <a:pt x="107180" y="73517"/>
                    <a:pt x="107180" y="79730"/>
                  </a:cubicBezTo>
                  <a:cubicBezTo>
                    <a:pt x="107180" y="85944"/>
                    <a:pt x="102521" y="90604"/>
                    <a:pt x="93200" y="95264"/>
                  </a:cubicBezTo>
                  <a:cubicBezTo>
                    <a:pt x="85434" y="98371"/>
                    <a:pt x="78444" y="102254"/>
                    <a:pt x="70677" y="105361"/>
                  </a:cubicBezTo>
                  <a:cubicBezTo>
                    <a:pt x="70677" y="110021"/>
                    <a:pt x="70677" y="114681"/>
                    <a:pt x="70677" y="119341"/>
                  </a:cubicBezTo>
                  <a:cubicBezTo>
                    <a:pt x="78444" y="115458"/>
                    <a:pt x="85434" y="112351"/>
                    <a:pt x="93200" y="109244"/>
                  </a:cubicBezTo>
                  <a:cubicBezTo>
                    <a:pt x="102521" y="105361"/>
                    <a:pt x="107180" y="106137"/>
                    <a:pt x="107180" y="112351"/>
                  </a:cubicBezTo>
                  <a:cubicBezTo>
                    <a:pt x="107180" y="118564"/>
                    <a:pt x="102521" y="123224"/>
                    <a:pt x="93200" y="127884"/>
                  </a:cubicBezTo>
                  <a:cubicBezTo>
                    <a:pt x="85434" y="130991"/>
                    <a:pt x="78444" y="134874"/>
                    <a:pt x="70677" y="137981"/>
                  </a:cubicBezTo>
                  <a:cubicBezTo>
                    <a:pt x="70677" y="140311"/>
                    <a:pt x="70677" y="143417"/>
                    <a:pt x="70677" y="145747"/>
                  </a:cubicBezTo>
                  <a:cubicBezTo>
                    <a:pt x="70677" y="158951"/>
                    <a:pt x="66017" y="168271"/>
                    <a:pt x="57473" y="172154"/>
                  </a:cubicBezTo>
                  <a:cubicBezTo>
                    <a:pt x="48154" y="176814"/>
                    <a:pt x="44270" y="172154"/>
                    <a:pt x="44270" y="158174"/>
                  </a:cubicBezTo>
                  <a:cubicBezTo>
                    <a:pt x="44270" y="155844"/>
                    <a:pt x="44270" y="152738"/>
                    <a:pt x="44270" y="150408"/>
                  </a:cubicBezTo>
                  <a:cubicBezTo>
                    <a:pt x="36504" y="154291"/>
                    <a:pt x="29513" y="157397"/>
                    <a:pt x="21747" y="160504"/>
                  </a:cubicBezTo>
                  <a:cubicBezTo>
                    <a:pt x="12427" y="164388"/>
                    <a:pt x="7767" y="163611"/>
                    <a:pt x="7767" y="157397"/>
                  </a:cubicBezTo>
                  <a:cubicBezTo>
                    <a:pt x="8543" y="151961"/>
                    <a:pt x="13203" y="146524"/>
                    <a:pt x="22523" y="142641"/>
                  </a:cubicBez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31" name="Forma Livre: Forma 230">
              <a:extLst>
                <a:ext uri="{FF2B5EF4-FFF2-40B4-BE49-F238E27FC236}">
                  <a16:creationId xmlns:a16="http://schemas.microsoft.com/office/drawing/2014/main" id="{1BBD58B1-F9B7-4049-933E-6C2AD6D26874}"/>
                </a:ext>
              </a:extLst>
            </p:cNvPr>
            <p:cNvSpPr/>
            <p:nvPr/>
          </p:nvSpPr>
          <p:spPr>
            <a:xfrm>
              <a:off x="3943069" y="6410638"/>
              <a:ext cx="534349" cy="410081"/>
            </a:xfrm>
            <a:custGeom>
              <a:avLst/>
              <a:gdLst>
                <a:gd name="connsiteX0" fmla="*/ 112617 w 534349"/>
                <a:gd name="connsiteY0" fmla="*/ 410082 h 410081"/>
                <a:gd name="connsiteX1" fmla="*/ 9320 w 534349"/>
                <a:gd name="connsiteY1" fmla="*/ 375908 h 410081"/>
                <a:gd name="connsiteX2" fmla="*/ 0 w 534349"/>
                <a:gd name="connsiteY2" fmla="*/ 358045 h 410081"/>
                <a:gd name="connsiteX3" fmla="*/ 0 w 534349"/>
                <a:gd name="connsiteY3" fmla="*/ 90094 h 410081"/>
                <a:gd name="connsiteX4" fmla="*/ 12427 w 534349"/>
                <a:gd name="connsiteY4" fmla="*/ 69900 h 410081"/>
                <a:gd name="connsiteX5" fmla="*/ 35727 w 534349"/>
                <a:gd name="connsiteY5" fmla="*/ 71453 h 410081"/>
                <a:gd name="connsiteX6" fmla="*/ 113394 w 534349"/>
                <a:gd name="connsiteY6" fmla="*/ 97084 h 410081"/>
                <a:gd name="connsiteX7" fmla="*/ 257855 w 534349"/>
                <a:gd name="connsiteY7" fmla="*/ 50484 h 410081"/>
                <a:gd name="connsiteX8" fmla="*/ 421732 w 534349"/>
                <a:gd name="connsiteY8" fmla="*/ 0 h 410081"/>
                <a:gd name="connsiteX9" fmla="*/ 525030 w 534349"/>
                <a:gd name="connsiteY9" fmla="*/ 34173 h 410081"/>
                <a:gd name="connsiteX10" fmla="*/ 534349 w 534349"/>
                <a:gd name="connsiteY10" fmla="*/ 52037 h 410081"/>
                <a:gd name="connsiteX11" fmla="*/ 534349 w 534349"/>
                <a:gd name="connsiteY11" fmla="*/ 319211 h 410081"/>
                <a:gd name="connsiteX12" fmla="*/ 521923 w 534349"/>
                <a:gd name="connsiteY12" fmla="*/ 339405 h 410081"/>
                <a:gd name="connsiteX13" fmla="*/ 498623 w 534349"/>
                <a:gd name="connsiteY13" fmla="*/ 337852 h 410081"/>
                <a:gd name="connsiteX14" fmla="*/ 420955 w 534349"/>
                <a:gd name="connsiteY14" fmla="*/ 312221 h 410081"/>
                <a:gd name="connsiteX15" fmla="*/ 276495 w 534349"/>
                <a:gd name="connsiteY15" fmla="*/ 358821 h 410081"/>
                <a:gd name="connsiteX16" fmla="*/ 112617 w 534349"/>
                <a:gd name="connsiteY16" fmla="*/ 410082 h 410081"/>
                <a:gd name="connsiteX17" fmla="*/ 112617 w 534349"/>
                <a:gd name="connsiteY17" fmla="*/ 410082 h 410081"/>
                <a:gd name="connsiteX18" fmla="*/ 44270 w 534349"/>
                <a:gd name="connsiteY18" fmla="*/ 345618 h 410081"/>
                <a:gd name="connsiteX19" fmla="*/ 112617 w 534349"/>
                <a:gd name="connsiteY19" fmla="*/ 365035 h 410081"/>
                <a:gd name="connsiteX20" fmla="*/ 257078 w 534349"/>
                <a:gd name="connsiteY20" fmla="*/ 318435 h 410081"/>
                <a:gd name="connsiteX21" fmla="*/ 420955 w 534349"/>
                <a:gd name="connsiteY21" fmla="*/ 267951 h 410081"/>
                <a:gd name="connsiteX22" fmla="*/ 489302 w 534349"/>
                <a:gd name="connsiteY22" fmla="*/ 281931 h 410081"/>
                <a:gd name="connsiteX23" fmla="*/ 489302 w 534349"/>
                <a:gd name="connsiteY23" fmla="*/ 65240 h 410081"/>
                <a:gd name="connsiteX24" fmla="*/ 420955 w 534349"/>
                <a:gd name="connsiteY24" fmla="*/ 45823 h 410081"/>
                <a:gd name="connsiteX25" fmla="*/ 276495 w 534349"/>
                <a:gd name="connsiteY25" fmla="*/ 92424 h 410081"/>
                <a:gd name="connsiteX26" fmla="*/ 112617 w 534349"/>
                <a:gd name="connsiteY26" fmla="*/ 142907 h 410081"/>
                <a:gd name="connsiteX27" fmla="*/ 44270 w 534349"/>
                <a:gd name="connsiteY27" fmla="*/ 128927 h 410081"/>
                <a:gd name="connsiteX28" fmla="*/ 44270 w 534349"/>
                <a:gd name="connsiteY28" fmla="*/ 345618 h 410081"/>
                <a:gd name="connsiteX29" fmla="*/ 44270 w 534349"/>
                <a:gd name="connsiteY29" fmla="*/ 345618 h 410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34349" h="410081">
                  <a:moveTo>
                    <a:pt x="112617" y="410082"/>
                  </a:moveTo>
                  <a:cubicBezTo>
                    <a:pt x="75337" y="410082"/>
                    <a:pt x="41164" y="399208"/>
                    <a:pt x="9320" y="375908"/>
                  </a:cubicBezTo>
                  <a:cubicBezTo>
                    <a:pt x="3107" y="372025"/>
                    <a:pt x="0" y="365035"/>
                    <a:pt x="0" y="358045"/>
                  </a:cubicBezTo>
                  <a:lnTo>
                    <a:pt x="0" y="90094"/>
                  </a:lnTo>
                  <a:cubicBezTo>
                    <a:pt x="0" y="81550"/>
                    <a:pt x="4660" y="73784"/>
                    <a:pt x="12427" y="69900"/>
                  </a:cubicBezTo>
                  <a:cubicBezTo>
                    <a:pt x="20193" y="66017"/>
                    <a:pt x="28737" y="66793"/>
                    <a:pt x="35727" y="71453"/>
                  </a:cubicBezTo>
                  <a:cubicBezTo>
                    <a:pt x="59804" y="88540"/>
                    <a:pt x="85434" y="97084"/>
                    <a:pt x="113394" y="97084"/>
                  </a:cubicBezTo>
                  <a:cubicBezTo>
                    <a:pt x="159994" y="97084"/>
                    <a:pt x="207371" y="74560"/>
                    <a:pt x="257855" y="50484"/>
                  </a:cubicBezTo>
                  <a:cubicBezTo>
                    <a:pt x="310668" y="25630"/>
                    <a:pt x="365035" y="0"/>
                    <a:pt x="421732" y="0"/>
                  </a:cubicBezTo>
                  <a:cubicBezTo>
                    <a:pt x="459013" y="0"/>
                    <a:pt x="493186" y="10873"/>
                    <a:pt x="525030" y="34173"/>
                  </a:cubicBezTo>
                  <a:cubicBezTo>
                    <a:pt x="531243" y="38057"/>
                    <a:pt x="534349" y="45047"/>
                    <a:pt x="534349" y="52037"/>
                  </a:cubicBezTo>
                  <a:lnTo>
                    <a:pt x="534349" y="319211"/>
                  </a:lnTo>
                  <a:cubicBezTo>
                    <a:pt x="534349" y="327755"/>
                    <a:pt x="529689" y="335521"/>
                    <a:pt x="521923" y="339405"/>
                  </a:cubicBezTo>
                  <a:cubicBezTo>
                    <a:pt x="514156" y="343288"/>
                    <a:pt x="505613" y="342511"/>
                    <a:pt x="498623" y="337852"/>
                  </a:cubicBezTo>
                  <a:cubicBezTo>
                    <a:pt x="474546" y="320765"/>
                    <a:pt x="448915" y="312221"/>
                    <a:pt x="420955" y="312221"/>
                  </a:cubicBezTo>
                  <a:cubicBezTo>
                    <a:pt x="374355" y="312221"/>
                    <a:pt x="326979" y="334745"/>
                    <a:pt x="276495" y="358821"/>
                  </a:cubicBezTo>
                  <a:cubicBezTo>
                    <a:pt x="222905" y="384452"/>
                    <a:pt x="168538" y="410082"/>
                    <a:pt x="112617" y="410082"/>
                  </a:cubicBezTo>
                  <a:lnTo>
                    <a:pt x="112617" y="410082"/>
                  </a:lnTo>
                  <a:close/>
                  <a:moveTo>
                    <a:pt x="44270" y="345618"/>
                  </a:moveTo>
                  <a:cubicBezTo>
                    <a:pt x="66017" y="358821"/>
                    <a:pt x="87764" y="365035"/>
                    <a:pt x="112617" y="365035"/>
                  </a:cubicBezTo>
                  <a:cubicBezTo>
                    <a:pt x="159217" y="365035"/>
                    <a:pt x="206595" y="342511"/>
                    <a:pt x="257078" y="318435"/>
                  </a:cubicBezTo>
                  <a:cubicBezTo>
                    <a:pt x="309892" y="293581"/>
                    <a:pt x="364259" y="267951"/>
                    <a:pt x="420955" y="267951"/>
                  </a:cubicBezTo>
                  <a:cubicBezTo>
                    <a:pt x="445032" y="267951"/>
                    <a:pt x="467556" y="272611"/>
                    <a:pt x="489302" y="281931"/>
                  </a:cubicBezTo>
                  <a:lnTo>
                    <a:pt x="489302" y="65240"/>
                  </a:lnTo>
                  <a:cubicBezTo>
                    <a:pt x="467556" y="52037"/>
                    <a:pt x="445809" y="45823"/>
                    <a:pt x="420955" y="45823"/>
                  </a:cubicBezTo>
                  <a:cubicBezTo>
                    <a:pt x="374355" y="45823"/>
                    <a:pt x="326979" y="68347"/>
                    <a:pt x="276495" y="92424"/>
                  </a:cubicBezTo>
                  <a:cubicBezTo>
                    <a:pt x="223681" y="117277"/>
                    <a:pt x="169314" y="142907"/>
                    <a:pt x="112617" y="142907"/>
                  </a:cubicBezTo>
                  <a:cubicBezTo>
                    <a:pt x="88541" y="142907"/>
                    <a:pt x="66017" y="138247"/>
                    <a:pt x="44270" y="128927"/>
                  </a:cubicBezTo>
                  <a:lnTo>
                    <a:pt x="44270" y="345618"/>
                  </a:lnTo>
                  <a:lnTo>
                    <a:pt x="44270" y="345618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232" name="Gráfico 2">
              <a:extLst>
                <a:ext uri="{FF2B5EF4-FFF2-40B4-BE49-F238E27FC236}">
                  <a16:creationId xmlns:a16="http://schemas.microsoft.com/office/drawing/2014/main" id="{777488D5-C9B0-42ED-94FB-5C76F4BD1A17}"/>
                </a:ext>
              </a:extLst>
            </p:cNvPr>
            <p:cNvGrpSpPr/>
            <p:nvPr/>
          </p:nvGrpSpPr>
          <p:grpSpPr>
            <a:xfrm>
              <a:off x="4013401" y="6477697"/>
              <a:ext cx="392132" cy="275451"/>
              <a:chOff x="4013401" y="6477697"/>
              <a:chExt cx="392132" cy="275451"/>
            </a:xfrm>
            <a:grpFill/>
          </p:grpSpPr>
          <p:grpSp>
            <p:nvGrpSpPr>
              <p:cNvPr id="233" name="Gráfico 2">
                <a:extLst>
                  <a:ext uri="{FF2B5EF4-FFF2-40B4-BE49-F238E27FC236}">
                    <a16:creationId xmlns:a16="http://schemas.microsoft.com/office/drawing/2014/main" id="{777488D5-C9B0-42ED-94FB-5C76F4BD1A17}"/>
                  </a:ext>
                </a:extLst>
              </p:cNvPr>
              <p:cNvGrpSpPr/>
              <p:nvPr/>
            </p:nvGrpSpPr>
            <p:grpSpPr>
              <a:xfrm>
                <a:off x="4013401" y="6477697"/>
                <a:ext cx="392132" cy="118564"/>
                <a:chOff x="4013401" y="6477697"/>
                <a:chExt cx="392132" cy="118564"/>
              </a:xfrm>
              <a:grpFill/>
            </p:grpSpPr>
            <p:sp>
              <p:nvSpPr>
                <p:cNvPr id="234" name="Forma Livre: Forma 233">
                  <a:extLst>
                    <a:ext uri="{FF2B5EF4-FFF2-40B4-BE49-F238E27FC236}">
                      <a16:creationId xmlns:a16="http://schemas.microsoft.com/office/drawing/2014/main" id="{4E476EFD-063C-4937-9CC2-8921B8208FA7}"/>
                    </a:ext>
                  </a:extLst>
                </p:cNvPr>
                <p:cNvSpPr/>
                <p:nvPr/>
              </p:nvSpPr>
              <p:spPr>
                <a:xfrm>
                  <a:off x="4013401" y="6558199"/>
                  <a:ext cx="135491" cy="38062"/>
                </a:xfrm>
                <a:custGeom>
                  <a:avLst/>
                  <a:gdLst>
                    <a:gd name="connsiteX0" fmla="*/ 41509 w 135491"/>
                    <a:gd name="connsiteY0" fmla="*/ 38063 h 38062"/>
                    <a:gd name="connsiteX1" fmla="*/ 8112 w 135491"/>
                    <a:gd name="connsiteY1" fmla="*/ 34956 h 38062"/>
                    <a:gd name="connsiteX2" fmla="*/ 345 w 135491"/>
                    <a:gd name="connsiteY2" fmla="*/ 22529 h 38062"/>
                    <a:gd name="connsiteX3" fmla="*/ 12772 w 135491"/>
                    <a:gd name="connsiteY3" fmla="*/ 14763 h 38062"/>
                    <a:gd name="connsiteX4" fmla="*/ 121506 w 135491"/>
                    <a:gd name="connsiteY4" fmla="*/ 783 h 38062"/>
                    <a:gd name="connsiteX5" fmla="*/ 134709 w 135491"/>
                    <a:gd name="connsiteY5" fmla="*/ 6996 h 38062"/>
                    <a:gd name="connsiteX6" fmla="*/ 128496 w 135491"/>
                    <a:gd name="connsiteY6" fmla="*/ 20199 h 38062"/>
                    <a:gd name="connsiteX7" fmla="*/ 41509 w 135491"/>
                    <a:gd name="connsiteY7" fmla="*/ 38063 h 38062"/>
                    <a:gd name="connsiteX8" fmla="*/ 41509 w 135491"/>
                    <a:gd name="connsiteY8" fmla="*/ 38063 h 380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35491" h="38062">
                      <a:moveTo>
                        <a:pt x="41509" y="38063"/>
                      </a:moveTo>
                      <a:cubicBezTo>
                        <a:pt x="29859" y="38063"/>
                        <a:pt x="18985" y="37286"/>
                        <a:pt x="8112" y="34956"/>
                      </a:cubicBezTo>
                      <a:cubicBezTo>
                        <a:pt x="2675" y="33403"/>
                        <a:pt x="-1208" y="27966"/>
                        <a:pt x="345" y="22529"/>
                      </a:cubicBezTo>
                      <a:cubicBezTo>
                        <a:pt x="1122" y="17093"/>
                        <a:pt x="7335" y="13209"/>
                        <a:pt x="12772" y="14763"/>
                      </a:cubicBezTo>
                      <a:cubicBezTo>
                        <a:pt x="43839" y="21753"/>
                        <a:pt x="78789" y="17093"/>
                        <a:pt x="121506" y="783"/>
                      </a:cubicBezTo>
                      <a:cubicBezTo>
                        <a:pt x="126943" y="-1547"/>
                        <a:pt x="132379" y="1559"/>
                        <a:pt x="134709" y="6996"/>
                      </a:cubicBezTo>
                      <a:cubicBezTo>
                        <a:pt x="137039" y="12433"/>
                        <a:pt x="133932" y="17870"/>
                        <a:pt x="128496" y="20199"/>
                      </a:cubicBezTo>
                      <a:cubicBezTo>
                        <a:pt x="96652" y="31850"/>
                        <a:pt x="67916" y="38063"/>
                        <a:pt x="41509" y="38063"/>
                      </a:cubicBezTo>
                      <a:lnTo>
                        <a:pt x="41509" y="38063"/>
                      </a:lnTo>
                      <a:close/>
                    </a:path>
                  </a:pathLst>
                </a:custGeom>
                <a:grpFill/>
                <a:ln w="77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235" name="Forma Livre: Forma 234">
                  <a:extLst>
                    <a:ext uri="{FF2B5EF4-FFF2-40B4-BE49-F238E27FC236}">
                      <a16:creationId xmlns:a16="http://schemas.microsoft.com/office/drawing/2014/main" id="{FA421D7F-E08B-4A3D-992F-EFD59FB88A47}"/>
                    </a:ext>
                  </a:extLst>
                </p:cNvPr>
                <p:cNvSpPr/>
                <p:nvPr/>
              </p:nvSpPr>
              <p:spPr>
                <a:xfrm>
                  <a:off x="4270041" y="6477697"/>
                  <a:ext cx="135491" cy="38567"/>
                </a:xfrm>
                <a:custGeom>
                  <a:avLst/>
                  <a:gdLst>
                    <a:gd name="connsiteX0" fmla="*/ 10103 w 135491"/>
                    <a:gd name="connsiteY0" fmla="*/ 38567 h 38567"/>
                    <a:gd name="connsiteX1" fmla="*/ 783 w 135491"/>
                    <a:gd name="connsiteY1" fmla="*/ 31577 h 38567"/>
                    <a:gd name="connsiteX2" fmla="*/ 6996 w 135491"/>
                    <a:gd name="connsiteY2" fmla="*/ 18374 h 38567"/>
                    <a:gd name="connsiteX3" fmla="*/ 127380 w 135491"/>
                    <a:gd name="connsiteY3" fmla="*/ 3617 h 38567"/>
                    <a:gd name="connsiteX4" fmla="*/ 135147 w 135491"/>
                    <a:gd name="connsiteY4" fmla="*/ 16044 h 38567"/>
                    <a:gd name="connsiteX5" fmla="*/ 122720 w 135491"/>
                    <a:gd name="connsiteY5" fmla="*/ 23811 h 38567"/>
                    <a:gd name="connsiteX6" fmla="*/ 13986 w 135491"/>
                    <a:gd name="connsiteY6" fmla="*/ 37791 h 38567"/>
                    <a:gd name="connsiteX7" fmla="*/ 10103 w 135491"/>
                    <a:gd name="connsiteY7" fmla="*/ 38567 h 38567"/>
                    <a:gd name="connsiteX8" fmla="*/ 10103 w 135491"/>
                    <a:gd name="connsiteY8" fmla="*/ 38567 h 385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35491" h="38567">
                      <a:moveTo>
                        <a:pt x="10103" y="38567"/>
                      </a:moveTo>
                      <a:cubicBezTo>
                        <a:pt x="6219" y="38567"/>
                        <a:pt x="2336" y="36238"/>
                        <a:pt x="783" y="31577"/>
                      </a:cubicBezTo>
                      <a:cubicBezTo>
                        <a:pt x="-1547" y="26141"/>
                        <a:pt x="1559" y="20704"/>
                        <a:pt x="6996" y="18374"/>
                      </a:cubicBezTo>
                      <a:cubicBezTo>
                        <a:pt x="53596" y="510"/>
                        <a:pt x="91653" y="-4149"/>
                        <a:pt x="127380" y="3617"/>
                      </a:cubicBezTo>
                      <a:cubicBezTo>
                        <a:pt x="132817" y="5171"/>
                        <a:pt x="136700" y="10608"/>
                        <a:pt x="135147" y="16044"/>
                      </a:cubicBezTo>
                      <a:cubicBezTo>
                        <a:pt x="133593" y="21481"/>
                        <a:pt x="128157" y="25364"/>
                        <a:pt x="122720" y="23811"/>
                      </a:cubicBezTo>
                      <a:cubicBezTo>
                        <a:pt x="91653" y="16821"/>
                        <a:pt x="56703" y="21481"/>
                        <a:pt x="13986" y="37791"/>
                      </a:cubicBezTo>
                      <a:cubicBezTo>
                        <a:pt x="12433" y="38567"/>
                        <a:pt x="10879" y="38567"/>
                        <a:pt x="10103" y="38567"/>
                      </a:cubicBezTo>
                      <a:lnTo>
                        <a:pt x="10103" y="38567"/>
                      </a:lnTo>
                      <a:close/>
                    </a:path>
                  </a:pathLst>
                </a:custGeom>
                <a:grpFill/>
                <a:ln w="77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grpSp>
            <p:nvGrpSpPr>
              <p:cNvPr id="236" name="Gráfico 2">
                <a:extLst>
                  <a:ext uri="{FF2B5EF4-FFF2-40B4-BE49-F238E27FC236}">
                    <a16:creationId xmlns:a16="http://schemas.microsoft.com/office/drawing/2014/main" id="{777488D5-C9B0-42ED-94FB-5C76F4BD1A17}"/>
                  </a:ext>
                </a:extLst>
              </p:cNvPr>
              <p:cNvGrpSpPr/>
              <p:nvPr/>
            </p:nvGrpSpPr>
            <p:grpSpPr>
              <a:xfrm>
                <a:off x="4013401" y="6634585"/>
                <a:ext cx="392132" cy="118564"/>
                <a:chOff x="4013401" y="6634585"/>
                <a:chExt cx="392132" cy="118564"/>
              </a:xfrm>
              <a:grpFill/>
            </p:grpSpPr>
            <p:sp>
              <p:nvSpPr>
                <p:cNvPr id="237" name="Forma Livre: Forma 236">
                  <a:extLst>
                    <a:ext uri="{FF2B5EF4-FFF2-40B4-BE49-F238E27FC236}">
                      <a16:creationId xmlns:a16="http://schemas.microsoft.com/office/drawing/2014/main" id="{1FCA9103-1B90-4A4F-97DB-C808583F7625}"/>
                    </a:ext>
                  </a:extLst>
                </p:cNvPr>
                <p:cNvSpPr/>
                <p:nvPr/>
              </p:nvSpPr>
              <p:spPr>
                <a:xfrm>
                  <a:off x="4013401" y="6715086"/>
                  <a:ext cx="135491" cy="38062"/>
                </a:xfrm>
                <a:custGeom>
                  <a:avLst/>
                  <a:gdLst>
                    <a:gd name="connsiteX0" fmla="*/ 41509 w 135491"/>
                    <a:gd name="connsiteY0" fmla="*/ 38063 h 38062"/>
                    <a:gd name="connsiteX1" fmla="*/ 8112 w 135491"/>
                    <a:gd name="connsiteY1" fmla="*/ 34956 h 38062"/>
                    <a:gd name="connsiteX2" fmla="*/ 345 w 135491"/>
                    <a:gd name="connsiteY2" fmla="*/ 22529 h 38062"/>
                    <a:gd name="connsiteX3" fmla="*/ 12772 w 135491"/>
                    <a:gd name="connsiteY3" fmla="*/ 14763 h 38062"/>
                    <a:gd name="connsiteX4" fmla="*/ 121506 w 135491"/>
                    <a:gd name="connsiteY4" fmla="*/ 783 h 38062"/>
                    <a:gd name="connsiteX5" fmla="*/ 134709 w 135491"/>
                    <a:gd name="connsiteY5" fmla="*/ 6996 h 38062"/>
                    <a:gd name="connsiteX6" fmla="*/ 128496 w 135491"/>
                    <a:gd name="connsiteY6" fmla="*/ 20199 h 38062"/>
                    <a:gd name="connsiteX7" fmla="*/ 41509 w 135491"/>
                    <a:gd name="connsiteY7" fmla="*/ 38063 h 38062"/>
                    <a:gd name="connsiteX8" fmla="*/ 41509 w 135491"/>
                    <a:gd name="connsiteY8" fmla="*/ 38063 h 380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35491" h="38062">
                      <a:moveTo>
                        <a:pt x="41509" y="38063"/>
                      </a:moveTo>
                      <a:cubicBezTo>
                        <a:pt x="29859" y="38063"/>
                        <a:pt x="18985" y="37286"/>
                        <a:pt x="8112" y="34956"/>
                      </a:cubicBezTo>
                      <a:cubicBezTo>
                        <a:pt x="2675" y="33403"/>
                        <a:pt x="-1208" y="27966"/>
                        <a:pt x="345" y="22529"/>
                      </a:cubicBezTo>
                      <a:cubicBezTo>
                        <a:pt x="1122" y="17093"/>
                        <a:pt x="7335" y="13209"/>
                        <a:pt x="12772" y="14763"/>
                      </a:cubicBezTo>
                      <a:cubicBezTo>
                        <a:pt x="43839" y="21753"/>
                        <a:pt x="78789" y="17093"/>
                        <a:pt x="121506" y="783"/>
                      </a:cubicBezTo>
                      <a:cubicBezTo>
                        <a:pt x="126943" y="-1547"/>
                        <a:pt x="132379" y="1559"/>
                        <a:pt x="134709" y="6996"/>
                      </a:cubicBezTo>
                      <a:cubicBezTo>
                        <a:pt x="137039" y="12433"/>
                        <a:pt x="133932" y="17870"/>
                        <a:pt x="128496" y="20199"/>
                      </a:cubicBezTo>
                      <a:cubicBezTo>
                        <a:pt x="96652" y="31850"/>
                        <a:pt x="67916" y="38063"/>
                        <a:pt x="41509" y="38063"/>
                      </a:cubicBezTo>
                      <a:lnTo>
                        <a:pt x="41509" y="38063"/>
                      </a:lnTo>
                      <a:close/>
                    </a:path>
                  </a:pathLst>
                </a:custGeom>
                <a:grpFill/>
                <a:ln w="77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238" name="Forma Livre: Forma 237">
                  <a:extLst>
                    <a:ext uri="{FF2B5EF4-FFF2-40B4-BE49-F238E27FC236}">
                      <a16:creationId xmlns:a16="http://schemas.microsoft.com/office/drawing/2014/main" id="{6EDBEACC-C1DE-453E-9FBC-F99B54259E90}"/>
                    </a:ext>
                  </a:extLst>
                </p:cNvPr>
                <p:cNvSpPr/>
                <p:nvPr/>
              </p:nvSpPr>
              <p:spPr>
                <a:xfrm>
                  <a:off x="4270041" y="6634585"/>
                  <a:ext cx="135491" cy="38567"/>
                </a:xfrm>
                <a:custGeom>
                  <a:avLst/>
                  <a:gdLst>
                    <a:gd name="connsiteX0" fmla="*/ 10103 w 135491"/>
                    <a:gd name="connsiteY0" fmla="*/ 38567 h 38567"/>
                    <a:gd name="connsiteX1" fmla="*/ 783 w 135491"/>
                    <a:gd name="connsiteY1" fmla="*/ 31577 h 38567"/>
                    <a:gd name="connsiteX2" fmla="*/ 6996 w 135491"/>
                    <a:gd name="connsiteY2" fmla="*/ 18374 h 38567"/>
                    <a:gd name="connsiteX3" fmla="*/ 127380 w 135491"/>
                    <a:gd name="connsiteY3" fmla="*/ 3617 h 38567"/>
                    <a:gd name="connsiteX4" fmla="*/ 135147 w 135491"/>
                    <a:gd name="connsiteY4" fmla="*/ 16044 h 38567"/>
                    <a:gd name="connsiteX5" fmla="*/ 122720 w 135491"/>
                    <a:gd name="connsiteY5" fmla="*/ 23811 h 38567"/>
                    <a:gd name="connsiteX6" fmla="*/ 13986 w 135491"/>
                    <a:gd name="connsiteY6" fmla="*/ 37791 h 38567"/>
                    <a:gd name="connsiteX7" fmla="*/ 10103 w 135491"/>
                    <a:gd name="connsiteY7" fmla="*/ 38567 h 38567"/>
                    <a:gd name="connsiteX8" fmla="*/ 10103 w 135491"/>
                    <a:gd name="connsiteY8" fmla="*/ 38567 h 385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35491" h="38567">
                      <a:moveTo>
                        <a:pt x="10103" y="38567"/>
                      </a:moveTo>
                      <a:cubicBezTo>
                        <a:pt x="6219" y="38567"/>
                        <a:pt x="2336" y="36238"/>
                        <a:pt x="783" y="31577"/>
                      </a:cubicBezTo>
                      <a:cubicBezTo>
                        <a:pt x="-1547" y="26140"/>
                        <a:pt x="1559" y="20704"/>
                        <a:pt x="6996" y="18374"/>
                      </a:cubicBezTo>
                      <a:cubicBezTo>
                        <a:pt x="53596" y="510"/>
                        <a:pt x="91653" y="-4149"/>
                        <a:pt x="127380" y="3617"/>
                      </a:cubicBezTo>
                      <a:cubicBezTo>
                        <a:pt x="132817" y="5171"/>
                        <a:pt x="136700" y="10607"/>
                        <a:pt x="135147" y="16044"/>
                      </a:cubicBezTo>
                      <a:cubicBezTo>
                        <a:pt x="133593" y="21481"/>
                        <a:pt x="128157" y="25364"/>
                        <a:pt x="122720" y="23811"/>
                      </a:cubicBezTo>
                      <a:cubicBezTo>
                        <a:pt x="91653" y="16821"/>
                        <a:pt x="56703" y="21481"/>
                        <a:pt x="13986" y="37791"/>
                      </a:cubicBezTo>
                      <a:cubicBezTo>
                        <a:pt x="12433" y="38567"/>
                        <a:pt x="10879" y="38567"/>
                        <a:pt x="10103" y="38567"/>
                      </a:cubicBezTo>
                      <a:lnTo>
                        <a:pt x="10103" y="38567"/>
                      </a:lnTo>
                      <a:close/>
                    </a:path>
                  </a:pathLst>
                </a:custGeom>
                <a:grpFill/>
                <a:ln w="77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</p:grpSp>
      </p:grpSp>
      <p:grpSp>
        <p:nvGrpSpPr>
          <p:cNvPr id="239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2300133" y="5726464"/>
            <a:ext cx="434580" cy="333514"/>
            <a:chOff x="1428210" y="6410638"/>
            <a:chExt cx="534349" cy="410081"/>
          </a:xfrm>
          <a:solidFill>
            <a:srgbClr val="B1B1A1"/>
          </a:solidFill>
        </p:grpSpPr>
        <p:sp>
          <p:nvSpPr>
            <p:cNvPr id="240" name="Forma Livre: Forma 239">
              <a:extLst>
                <a:ext uri="{FF2B5EF4-FFF2-40B4-BE49-F238E27FC236}">
                  <a16:creationId xmlns:a16="http://schemas.microsoft.com/office/drawing/2014/main" id="{E363CCFF-7D03-4C0D-816E-2DC5AE51152C}"/>
                </a:ext>
              </a:extLst>
            </p:cNvPr>
            <p:cNvSpPr/>
            <p:nvPr/>
          </p:nvSpPr>
          <p:spPr>
            <a:xfrm>
              <a:off x="1637134" y="6531546"/>
              <a:ext cx="114170" cy="159221"/>
            </a:xfrm>
            <a:custGeom>
              <a:avLst/>
              <a:gdLst>
                <a:gd name="connsiteX0" fmla="*/ 42717 w 114170"/>
                <a:gd name="connsiteY0" fmla="*/ 109762 h 159221"/>
                <a:gd name="connsiteX1" fmla="*/ 65240 w 114170"/>
                <a:gd name="connsiteY1" fmla="*/ 134616 h 159221"/>
                <a:gd name="connsiteX2" fmla="*/ 78444 w 114170"/>
                <a:gd name="connsiteY2" fmla="*/ 125296 h 159221"/>
                <a:gd name="connsiteX3" fmla="*/ 90094 w 114170"/>
                <a:gd name="connsiteY3" fmla="*/ 103549 h 159221"/>
                <a:gd name="connsiteX4" fmla="*/ 96307 w 114170"/>
                <a:gd name="connsiteY4" fmla="*/ 90345 h 159221"/>
                <a:gd name="connsiteX5" fmla="*/ 101744 w 114170"/>
                <a:gd name="connsiteY5" fmla="*/ 85686 h 159221"/>
                <a:gd name="connsiteX6" fmla="*/ 111064 w 114170"/>
                <a:gd name="connsiteY6" fmla="*/ 84909 h 159221"/>
                <a:gd name="connsiteX7" fmla="*/ 114171 w 114170"/>
                <a:gd name="connsiteY7" fmla="*/ 93452 h 159221"/>
                <a:gd name="connsiteX8" fmla="*/ 100191 w 114170"/>
                <a:gd name="connsiteY8" fmla="*/ 126073 h 159221"/>
                <a:gd name="connsiteX9" fmla="*/ 65240 w 114170"/>
                <a:gd name="connsiteY9" fmla="*/ 154033 h 159221"/>
                <a:gd name="connsiteX10" fmla="*/ 31844 w 114170"/>
                <a:gd name="connsiteY10" fmla="*/ 155586 h 159221"/>
                <a:gd name="connsiteX11" fmla="*/ 14757 w 114170"/>
                <a:gd name="connsiteY11" fmla="*/ 121412 h 159221"/>
                <a:gd name="connsiteX12" fmla="*/ 2330 w 114170"/>
                <a:gd name="connsiteY12" fmla="*/ 126849 h 159221"/>
                <a:gd name="connsiteX13" fmla="*/ 777 w 114170"/>
                <a:gd name="connsiteY13" fmla="*/ 125296 h 159221"/>
                <a:gd name="connsiteX14" fmla="*/ 2330 w 114170"/>
                <a:gd name="connsiteY14" fmla="*/ 118306 h 159221"/>
                <a:gd name="connsiteX15" fmla="*/ 5437 w 114170"/>
                <a:gd name="connsiteY15" fmla="*/ 112869 h 159221"/>
                <a:gd name="connsiteX16" fmla="*/ 13980 w 114170"/>
                <a:gd name="connsiteY16" fmla="*/ 108986 h 159221"/>
                <a:gd name="connsiteX17" fmla="*/ 13980 w 114170"/>
                <a:gd name="connsiteY17" fmla="*/ 105102 h 159221"/>
                <a:gd name="connsiteX18" fmla="*/ 13980 w 114170"/>
                <a:gd name="connsiteY18" fmla="*/ 92676 h 159221"/>
                <a:gd name="connsiteX19" fmla="*/ 1553 w 114170"/>
                <a:gd name="connsiteY19" fmla="*/ 98112 h 159221"/>
                <a:gd name="connsiteX20" fmla="*/ 0 w 114170"/>
                <a:gd name="connsiteY20" fmla="*/ 96559 h 159221"/>
                <a:gd name="connsiteX21" fmla="*/ 1553 w 114170"/>
                <a:gd name="connsiteY21" fmla="*/ 89569 h 159221"/>
                <a:gd name="connsiteX22" fmla="*/ 4660 w 114170"/>
                <a:gd name="connsiteY22" fmla="*/ 84132 h 159221"/>
                <a:gd name="connsiteX23" fmla="*/ 14757 w 114170"/>
                <a:gd name="connsiteY23" fmla="*/ 80249 h 159221"/>
                <a:gd name="connsiteX24" fmla="*/ 63687 w 114170"/>
                <a:gd name="connsiteY24" fmla="*/ 6465 h 159221"/>
                <a:gd name="connsiteX25" fmla="*/ 95530 w 114170"/>
                <a:gd name="connsiteY25" fmla="*/ 1028 h 159221"/>
                <a:gd name="connsiteX26" fmla="*/ 108734 w 114170"/>
                <a:gd name="connsiteY26" fmla="*/ 18892 h 159221"/>
                <a:gd name="connsiteX27" fmla="*/ 105627 w 114170"/>
                <a:gd name="connsiteY27" fmla="*/ 28212 h 159221"/>
                <a:gd name="connsiteX28" fmla="*/ 97861 w 114170"/>
                <a:gd name="connsiteY28" fmla="*/ 35202 h 159221"/>
                <a:gd name="connsiteX29" fmla="*/ 90094 w 114170"/>
                <a:gd name="connsiteY29" fmla="*/ 35979 h 159221"/>
                <a:gd name="connsiteX30" fmla="*/ 85434 w 114170"/>
                <a:gd name="connsiteY30" fmla="*/ 29765 h 159221"/>
                <a:gd name="connsiteX31" fmla="*/ 78444 w 114170"/>
                <a:gd name="connsiteY31" fmla="*/ 21999 h 159221"/>
                <a:gd name="connsiteX32" fmla="*/ 65240 w 114170"/>
                <a:gd name="connsiteY32" fmla="*/ 24328 h 159221"/>
                <a:gd name="connsiteX33" fmla="*/ 48154 w 114170"/>
                <a:gd name="connsiteY33" fmla="*/ 39862 h 159221"/>
                <a:gd name="connsiteX34" fmla="*/ 40387 w 114170"/>
                <a:gd name="connsiteY34" fmla="*/ 67045 h 159221"/>
                <a:gd name="connsiteX35" fmla="*/ 72230 w 114170"/>
                <a:gd name="connsiteY35" fmla="*/ 52289 h 159221"/>
                <a:gd name="connsiteX36" fmla="*/ 74560 w 114170"/>
                <a:gd name="connsiteY36" fmla="*/ 53842 h 159221"/>
                <a:gd name="connsiteX37" fmla="*/ 73007 w 114170"/>
                <a:gd name="connsiteY37" fmla="*/ 60832 h 159221"/>
                <a:gd name="connsiteX38" fmla="*/ 69900 w 114170"/>
                <a:gd name="connsiteY38" fmla="*/ 66269 h 159221"/>
                <a:gd name="connsiteX39" fmla="*/ 40387 w 114170"/>
                <a:gd name="connsiteY39" fmla="*/ 80249 h 159221"/>
                <a:gd name="connsiteX40" fmla="*/ 40387 w 114170"/>
                <a:gd name="connsiteY40" fmla="*/ 90345 h 159221"/>
                <a:gd name="connsiteX41" fmla="*/ 40387 w 114170"/>
                <a:gd name="connsiteY41" fmla="*/ 96559 h 159221"/>
                <a:gd name="connsiteX42" fmla="*/ 73007 w 114170"/>
                <a:gd name="connsiteY42" fmla="*/ 81026 h 159221"/>
                <a:gd name="connsiteX43" fmla="*/ 75337 w 114170"/>
                <a:gd name="connsiteY43" fmla="*/ 82579 h 159221"/>
                <a:gd name="connsiteX44" fmla="*/ 73784 w 114170"/>
                <a:gd name="connsiteY44" fmla="*/ 89569 h 159221"/>
                <a:gd name="connsiteX45" fmla="*/ 70677 w 114170"/>
                <a:gd name="connsiteY45" fmla="*/ 95006 h 159221"/>
                <a:gd name="connsiteX46" fmla="*/ 42717 w 114170"/>
                <a:gd name="connsiteY46" fmla="*/ 109762 h 159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14170" h="159221">
                  <a:moveTo>
                    <a:pt x="42717" y="109762"/>
                  </a:moveTo>
                  <a:cubicBezTo>
                    <a:pt x="45047" y="132286"/>
                    <a:pt x="52814" y="140829"/>
                    <a:pt x="65240" y="134616"/>
                  </a:cubicBezTo>
                  <a:cubicBezTo>
                    <a:pt x="69900" y="132286"/>
                    <a:pt x="74560" y="129179"/>
                    <a:pt x="78444" y="125296"/>
                  </a:cubicBezTo>
                  <a:cubicBezTo>
                    <a:pt x="82327" y="121412"/>
                    <a:pt x="86210" y="113646"/>
                    <a:pt x="90094" y="103549"/>
                  </a:cubicBezTo>
                  <a:cubicBezTo>
                    <a:pt x="92424" y="96559"/>
                    <a:pt x="94754" y="92676"/>
                    <a:pt x="96307" y="90345"/>
                  </a:cubicBezTo>
                  <a:cubicBezTo>
                    <a:pt x="97861" y="88016"/>
                    <a:pt x="100191" y="86462"/>
                    <a:pt x="101744" y="85686"/>
                  </a:cubicBezTo>
                  <a:cubicBezTo>
                    <a:pt x="105627" y="84132"/>
                    <a:pt x="108734" y="84132"/>
                    <a:pt x="111064" y="84909"/>
                  </a:cubicBezTo>
                  <a:cubicBezTo>
                    <a:pt x="113394" y="86462"/>
                    <a:pt x="114171" y="88792"/>
                    <a:pt x="114171" y="93452"/>
                  </a:cubicBezTo>
                  <a:cubicBezTo>
                    <a:pt x="114171" y="102772"/>
                    <a:pt x="109511" y="113646"/>
                    <a:pt x="100191" y="126073"/>
                  </a:cubicBezTo>
                  <a:cubicBezTo>
                    <a:pt x="90871" y="138499"/>
                    <a:pt x="79220" y="147819"/>
                    <a:pt x="65240" y="154033"/>
                  </a:cubicBezTo>
                  <a:cubicBezTo>
                    <a:pt x="52814" y="160246"/>
                    <a:pt x="41164" y="161023"/>
                    <a:pt x="31844" y="155586"/>
                  </a:cubicBezTo>
                  <a:cubicBezTo>
                    <a:pt x="22524" y="150926"/>
                    <a:pt x="17087" y="139276"/>
                    <a:pt x="14757" y="121412"/>
                  </a:cubicBezTo>
                  <a:cubicBezTo>
                    <a:pt x="10873" y="122966"/>
                    <a:pt x="6213" y="125296"/>
                    <a:pt x="2330" y="126849"/>
                  </a:cubicBezTo>
                  <a:cubicBezTo>
                    <a:pt x="777" y="127626"/>
                    <a:pt x="777" y="126849"/>
                    <a:pt x="777" y="125296"/>
                  </a:cubicBezTo>
                  <a:cubicBezTo>
                    <a:pt x="777" y="123743"/>
                    <a:pt x="1553" y="121412"/>
                    <a:pt x="2330" y="118306"/>
                  </a:cubicBezTo>
                  <a:cubicBezTo>
                    <a:pt x="3883" y="115199"/>
                    <a:pt x="4660" y="113646"/>
                    <a:pt x="5437" y="112869"/>
                  </a:cubicBezTo>
                  <a:cubicBezTo>
                    <a:pt x="8543" y="111316"/>
                    <a:pt x="10873" y="110539"/>
                    <a:pt x="13980" y="108986"/>
                  </a:cubicBezTo>
                  <a:cubicBezTo>
                    <a:pt x="13980" y="107432"/>
                    <a:pt x="13980" y="106656"/>
                    <a:pt x="13980" y="105102"/>
                  </a:cubicBezTo>
                  <a:cubicBezTo>
                    <a:pt x="13980" y="101996"/>
                    <a:pt x="13980" y="98112"/>
                    <a:pt x="13980" y="92676"/>
                  </a:cubicBezTo>
                  <a:cubicBezTo>
                    <a:pt x="10097" y="94229"/>
                    <a:pt x="6213" y="96559"/>
                    <a:pt x="1553" y="98112"/>
                  </a:cubicBezTo>
                  <a:cubicBezTo>
                    <a:pt x="0" y="98889"/>
                    <a:pt x="0" y="98112"/>
                    <a:pt x="0" y="96559"/>
                  </a:cubicBezTo>
                  <a:cubicBezTo>
                    <a:pt x="0" y="95006"/>
                    <a:pt x="777" y="92676"/>
                    <a:pt x="1553" y="89569"/>
                  </a:cubicBezTo>
                  <a:cubicBezTo>
                    <a:pt x="3107" y="86462"/>
                    <a:pt x="3883" y="84909"/>
                    <a:pt x="4660" y="84132"/>
                  </a:cubicBezTo>
                  <a:cubicBezTo>
                    <a:pt x="7767" y="82579"/>
                    <a:pt x="10873" y="81026"/>
                    <a:pt x="14757" y="80249"/>
                  </a:cubicBezTo>
                  <a:cubicBezTo>
                    <a:pt x="19417" y="43745"/>
                    <a:pt x="34950" y="19669"/>
                    <a:pt x="63687" y="6465"/>
                  </a:cubicBezTo>
                  <a:cubicBezTo>
                    <a:pt x="76114" y="252"/>
                    <a:pt x="86987" y="-1302"/>
                    <a:pt x="95530" y="1028"/>
                  </a:cubicBezTo>
                  <a:cubicBezTo>
                    <a:pt x="104851" y="3359"/>
                    <a:pt x="108734" y="9572"/>
                    <a:pt x="108734" y="18892"/>
                  </a:cubicBezTo>
                  <a:cubicBezTo>
                    <a:pt x="108734" y="21999"/>
                    <a:pt x="107957" y="25105"/>
                    <a:pt x="105627" y="28212"/>
                  </a:cubicBezTo>
                  <a:cubicBezTo>
                    <a:pt x="103297" y="31319"/>
                    <a:pt x="100967" y="33649"/>
                    <a:pt x="97861" y="35202"/>
                  </a:cubicBezTo>
                  <a:cubicBezTo>
                    <a:pt x="94754" y="36755"/>
                    <a:pt x="91647" y="36755"/>
                    <a:pt x="90094" y="35979"/>
                  </a:cubicBezTo>
                  <a:cubicBezTo>
                    <a:pt x="88541" y="35202"/>
                    <a:pt x="86987" y="32872"/>
                    <a:pt x="85434" y="29765"/>
                  </a:cubicBezTo>
                  <a:cubicBezTo>
                    <a:pt x="83880" y="25882"/>
                    <a:pt x="81550" y="23552"/>
                    <a:pt x="78444" y="21999"/>
                  </a:cubicBezTo>
                  <a:cubicBezTo>
                    <a:pt x="76114" y="20445"/>
                    <a:pt x="71454" y="21999"/>
                    <a:pt x="65240" y="24328"/>
                  </a:cubicBezTo>
                  <a:cubicBezTo>
                    <a:pt x="58250" y="27435"/>
                    <a:pt x="52037" y="32872"/>
                    <a:pt x="48154" y="39862"/>
                  </a:cubicBezTo>
                  <a:cubicBezTo>
                    <a:pt x="44270" y="46852"/>
                    <a:pt x="41940" y="56172"/>
                    <a:pt x="40387" y="67045"/>
                  </a:cubicBezTo>
                  <a:cubicBezTo>
                    <a:pt x="51260" y="62386"/>
                    <a:pt x="61357" y="56949"/>
                    <a:pt x="72230" y="52289"/>
                  </a:cubicBezTo>
                  <a:cubicBezTo>
                    <a:pt x="73784" y="51512"/>
                    <a:pt x="74560" y="52289"/>
                    <a:pt x="74560" y="53842"/>
                  </a:cubicBezTo>
                  <a:cubicBezTo>
                    <a:pt x="74560" y="55395"/>
                    <a:pt x="73784" y="57726"/>
                    <a:pt x="73007" y="60832"/>
                  </a:cubicBezTo>
                  <a:cubicBezTo>
                    <a:pt x="71454" y="63939"/>
                    <a:pt x="70677" y="65492"/>
                    <a:pt x="69900" y="66269"/>
                  </a:cubicBezTo>
                  <a:cubicBezTo>
                    <a:pt x="59804" y="70929"/>
                    <a:pt x="50484" y="75589"/>
                    <a:pt x="40387" y="80249"/>
                  </a:cubicBezTo>
                  <a:cubicBezTo>
                    <a:pt x="40387" y="83356"/>
                    <a:pt x="40387" y="86462"/>
                    <a:pt x="40387" y="90345"/>
                  </a:cubicBezTo>
                  <a:cubicBezTo>
                    <a:pt x="40387" y="93452"/>
                    <a:pt x="40387" y="95782"/>
                    <a:pt x="40387" y="96559"/>
                  </a:cubicBezTo>
                  <a:cubicBezTo>
                    <a:pt x="51260" y="91122"/>
                    <a:pt x="62134" y="86462"/>
                    <a:pt x="73007" y="81026"/>
                  </a:cubicBezTo>
                  <a:cubicBezTo>
                    <a:pt x="74560" y="80249"/>
                    <a:pt x="75337" y="81026"/>
                    <a:pt x="75337" y="82579"/>
                  </a:cubicBezTo>
                  <a:cubicBezTo>
                    <a:pt x="75337" y="84132"/>
                    <a:pt x="74560" y="87239"/>
                    <a:pt x="73784" y="89569"/>
                  </a:cubicBezTo>
                  <a:cubicBezTo>
                    <a:pt x="72230" y="92676"/>
                    <a:pt x="71454" y="94229"/>
                    <a:pt x="70677" y="95006"/>
                  </a:cubicBezTo>
                  <a:cubicBezTo>
                    <a:pt x="62134" y="101219"/>
                    <a:pt x="52814" y="105102"/>
                    <a:pt x="42717" y="109762"/>
                  </a:cubicBez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41" name="Forma Livre: Forma 240">
              <a:extLst>
                <a:ext uri="{FF2B5EF4-FFF2-40B4-BE49-F238E27FC236}">
                  <a16:creationId xmlns:a16="http://schemas.microsoft.com/office/drawing/2014/main" id="{DE1BC355-9AC0-453C-9AFB-728B565E984F}"/>
                </a:ext>
              </a:extLst>
            </p:cNvPr>
            <p:cNvSpPr/>
            <p:nvPr/>
          </p:nvSpPr>
          <p:spPr>
            <a:xfrm>
              <a:off x="1428210" y="6410638"/>
              <a:ext cx="534349" cy="410081"/>
            </a:xfrm>
            <a:custGeom>
              <a:avLst/>
              <a:gdLst>
                <a:gd name="connsiteX0" fmla="*/ 112617 w 534349"/>
                <a:gd name="connsiteY0" fmla="*/ 410082 h 410081"/>
                <a:gd name="connsiteX1" fmla="*/ 9320 w 534349"/>
                <a:gd name="connsiteY1" fmla="*/ 375908 h 410081"/>
                <a:gd name="connsiteX2" fmla="*/ 0 w 534349"/>
                <a:gd name="connsiteY2" fmla="*/ 358045 h 410081"/>
                <a:gd name="connsiteX3" fmla="*/ 0 w 534349"/>
                <a:gd name="connsiteY3" fmla="*/ 90094 h 410081"/>
                <a:gd name="connsiteX4" fmla="*/ 12427 w 534349"/>
                <a:gd name="connsiteY4" fmla="*/ 69900 h 410081"/>
                <a:gd name="connsiteX5" fmla="*/ 35727 w 534349"/>
                <a:gd name="connsiteY5" fmla="*/ 71453 h 410081"/>
                <a:gd name="connsiteX6" fmla="*/ 113394 w 534349"/>
                <a:gd name="connsiteY6" fmla="*/ 97084 h 410081"/>
                <a:gd name="connsiteX7" fmla="*/ 257855 w 534349"/>
                <a:gd name="connsiteY7" fmla="*/ 50484 h 410081"/>
                <a:gd name="connsiteX8" fmla="*/ 421732 w 534349"/>
                <a:gd name="connsiteY8" fmla="*/ 0 h 410081"/>
                <a:gd name="connsiteX9" fmla="*/ 525029 w 534349"/>
                <a:gd name="connsiteY9" fmla="*/ 34173 h 410081"/>
                <a:gd name="connsiteX10" fmla="*/ 534349 w 534349"/>
                <a:gd name="connsiteY10" fmla="*/ 52037 h 410081"/>
                <a:gd name="connsiteX11" fmla="*/ 534349 w 534349"/>
                <a:gd name="connsiteY11" fmla="*/ 319211 h 410081"/>
                <a:gd name="connsiteX12" fmla="*/ 521923 w 534349"/>
                <a:gd name="connsiteY12" fmla="*/ 339405 h 410081"/>
                <a:gd name="connsiteX13" fmla="*/ 498622 w 534349"/>
                <a:gd name="connsiteY13" fmla="*/ 337852 h 410081"/>
                <a:gd name="connsiteX14" fmla="*/ 420955 w 534349"/>
                <a:gd name="connsiteY14" fmla="*/ 312221 h 410081"/>
                <a:gd name="connsiteX15" fmla="*/ 276495 w 534349"/>
                <a:gd name="connsiteY15" fmla="*/ 358821 h 410081"/>
                <a:gd name="connsiteX16" fmla="*/ 112617 w 534349"/>
                <a:gd name="connsiteY16" fmla="*/ 410082 h 410081"/>
                <a:gd name="connsiteX17" fmla="*/ 112617 w 534349"/>
                <a:gd name="connsiteY17" fmla="*/ 410082 h 410081"/>
                <a:gd name="connsiteX18" fmla="*/ 112617 w 534349"/>
                <a:gd name="connsiteY18" fmla="*/ 410082 h 410081"/>
                <a:gd name="connsiteX19" fmla="*/ 45047 w 534349"/>
                <a:gd name="connsiteY19" fmla="*/ 345618 h 410081"/>
                <a:gd name="connsiteX20" fmla="*/ 113394 w 534349"/>
                <a:gd name="connsiteY20" fmla="*/ 365035 h 410081"/>
                <a:gd name="connsiteX21" fmla="*/ 113394 w 534349"/>
                <a:gd name="connsiteY21" fmla="*/ 365035 h 410081"/>
                <a:gd name="connsiteX22" fmla="*/ 257855 w 534349"/>
                <a:gd name="connsiteY22" fmla="*/ 318435 h 410081"/>
                <a:gd name="connsiteX23" fmla="*/ 421732 w 534349"/>
                <a:gd name="connsiteY23" fmla="*/ 267951 h 410081"/>
                <a:gd name="connsiteX24" fmla="*/ 490079 w 534349"/>
                <a:gd name="connsiteY24" fmla="*/ 281931 h 410081"/>
                <a:gd name="connsiteX25" fmla="*/ 490079 w 534349"/>
                <a:gd name="connsiteY25" fmla="*/ 65240 h 410081"/>
                <a:gd name="connsiteX26" fmla="*/ 421732 w 534349"/>
                <a:gd name="connsiteY26" fmla="*/ 45823 h 410081"/>
                <a:gd name="connsiteX27" fmla="*/ 277271 w 534349"/>
                <a:gd name="connsiteY27" fmla="*/ 92424 h 410081"/>
                <a:gd name="connsiteX28" fmla="*/ 113394 w 534349"/>
                <a:gd name="connsiteY28" fmla="*/ 142907 h 410081"/>
                <a:gd name="connsiteX29" fmla="*/ 45047 w 534349"/>
                <a:gd name="connsiteY29" fmla="*/ 128927 h 410081"/>
                <a:gd name="connsiteX30" fmla="*/ 45047 w 534349"/>
                <a:gd name="connsiteY30" fmla="*/ 345618 h 410081"/>
                <a:gd name="connsiteX31" fmla="*/ 45047 w 534349"/>
                <a:gd name="connsiteY31" fmla="*/ 345618 h 410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34349" h="410081">
                  <a:moveTo>
                    <a:pt x="112617" y="410082"/>
                  </a:moveTo>
                  <a:cubicBezTo>
                    <a:pt x="75337" y="410082"/>
                    <a:pt x="41164" y="399208"/>
                    <a:pt x="9320" y="375908"/>
                  </a:cubicBezTo>
                  <a:cubicBezTo>
                    <a:pt x="3107" y="372025"/>
                    <a:pt x="0" y="365035"/>
                    <a:pt x="0" y="358045"/>
                  </a:cubicBezTo>
                  <a:lnTo>
                    <a:pt x="0" y="90094"/>
                  </a:lnTo>
                  <a:cubicBezTo>
                    <a:pt x="0" y="81550"/>
                    <a:pt x="4660" y="73784"/>
                    <a:pt x="12427" y="69900"/>
                  </a:cubicBezTo>
                  <a:cubicBezTo>
                    <a:pt x="20193" y="66017"/>
                    <a:pt x="28737" y="66793"/>
                    <a:pt x="35727" y="71453"/>
                  </a:cubicBezTo>
                  <a:cubicBezTo>
                    <a:pt x="59804" y="88540"/>
                    <a:pt x="85434" y="97084"/>
                    <a:pt x="113394" y="97084"/>
                  </a:cubicBezTo>
                  <a:cubicBezTo>
                    <a:pt x="159994" y="97084"/>
                    <a:pt x="207371" y="74560"/>
                    <a:pt x="257855" y="50484"/>
                  </a:cubicBezTo>
                  <a:cubicBezTo>
                    <a:pt x="310668" y="25630"/>
                    <a:pt x="365035" y="0"/>
                    <a:pt x="421732" y="0"/>
                  </a:cubicBezTo>
                  <a:cubicBezTo>
                    <a:pt x="459012" y="0"/>
                    <a:pt x="493186" y="10873"/>
                    <a:pt x="525029" y="34173"/>
                  </a:cubicBezTo>
                  <a:cubicBezTo>
                    <a:pt x="531243" y="38057"/>
                    <a:pt x="534349" y="45047"/>
                    <a:pt x="534349" y="52037"/>
                  </a:cubicBezTo>
                  <a:lnTo>
                    <a:pt x="534349" y="319211"/>
                  </a:lnTo>
                  <a:cubicBezTo>
                    <a:pt x="534349" y="327755"/>
                    <a:pt x="529689" y="335521"/>
                    <a:pt x="521923" y="339405"/>
                  </a:cubicBezTo>
                  <a:cubicBezTo>
                    <a:pt x="514156" y="343288"/>
                    <a:pt x="505613" y="342511"/>
                    <a:pt x="498622" y="337852"/>
                  </a:cubicBezTo>
                  <a:cubicBezTo>
                    <a:pt x="474546" y="320765"/>
                    <a:pt x="448916" y="312221"/>
                    <a:pt x="420955" y="312221"/>
                  </a:cubicBezTo>
                  <a:cubicBezTo>
                    <a:pt x="374355" y="312221"/>
                    <a:pt x="326978" y="334745"/>
                    <a:pt x="276495" y="358821"/>
                  </a:cubicBezTo>
                  <a:cubicBezTo>
                    <a:pt x="223681" y="384452"/>
                    <a:pt x="169314" y="410082"/>
                    <a:pt x="112617" y="410082"/>
                  </a:cubicBezTo>
                  <a:lnTo>
                    <a:pt x="112617" y="410082"/>
                  </a:lnTo>
                  <a:lnTo>
                    <a:pt x="112617" y="410082"/>
                  </a:lnTo>
                  <a:close/>
                  <a:moveTo>
                    <a:pt x="45047" y="345618"/>
                  </a:moveTo>
                  <a:cubicBezTo>
                    <a:pt x="66794" y="358821"/>
                    <a:pt x="88540" y="365035"/>
                    <a:pt x="113394" y="365035"/>
                  </a:cubicBezTo>
                  <a:cubicBezTo>
                    <a:pt x="113394" y="365035"/>
                    <a:pt x="113394" y="365035"/>
                    <a:pt x="113394" y="365035"/>
                  </a:cubicBezTo>
                  <a:cubicBezTo>
                    <a:pt x="159994" y="365035"/>
                    <a:pt x="207371" y="342511"/>
                    <a:pt x="257855" y="318435"/>
                  </a:cubicBezTo>
                  <a:cubicBezTo>
                    <a:pt x="310668" y="293581"/>
                    <a:pt x="365035" y="267951"/>
                    <a:pt x="421732" y="267951"/>
                  </a:cubicBezTo>
                  <a:cubicBezTo>
                    <a:pt x="445809" y="267951"/>
                    <a:pt x="468332" y="272611"/>
                    <a:pt x="490079" y="281931"/>
                  </a:cubicBezTo>
                  <a:lnTo>
                    <a:pt x="490079" y="65240"/>
                  </a:lnTo>
                  <a:cubicBezTo>
                    <a:pt x="468332" y="52037"/>
                    <a:pt x="446586" y="45823"/>
                    <a:pt x="421732" y="45823"/>
                  </a:cubicBezTo>
                  <a:cubicBezTo>
                    <a:pt x="375132" y="45823"/>
                    <a:pt x="327755" y="68347"/>
                    <a:pt x="277271" y="92424"/>
                  </a:cubicBezTo>
                  <a:cubicBezTo>
                    <a:pt x="224458" y="117277"/>
                    <a:pt x="170091" y="142907"/>
                    <a:pt x="113394" y="142907"/>
                  </a:cubicBezTo>
                  <a:cubicBezTo>
                    <a:pt x="89317" y="142907"/>
                    <a:pt x="66794" y="138247"/>
                    <a:pt x="45047" y="128927"/>
                  </a:cubicBezTo>
                  <a:lnTo>
                    <a:pt x="45047" y="345618"/>
                  </a:lnTo>
                  <a:lnTo>
                    <a:pt x="45047" y="345618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242" name="Gráfico 2">
              <a:extLst>
                <a:ext uri="{FF2B5EF4-FFF2-40B4-BE49-F238E27FC236}">
                  <a16:creationId xmlns:a16="http://schemas.microsoft.com/office/drawing/2014/main" id="{777488D5-C9B0-42ED-94FB-5C76F4BD1A17}"/>
                </a:ext>
              </a:extLst>
            </p:cNvPr>
            <p:cNvGrpSpPr/>
            <p:nvPr/>
          </p:nvGrpSpPr>
          <p:grpSpPr>
            <a:xfrm>
              <a:off x="1499319" y="6477697"/>
              <a:ext cx="392132" cy="275451"/>
              <a:chOff x="1499319" y="6477697"/>
              <a:chExt cx="392132" cy="275451"/>
            </a:xfrm>
            <a:grpFill/>
          </p:grpSpPr>
          <p:grpSp>
            <p:nvGrpSpPr>
              <p:cNvPr id="243" name="Gráfico 2">
                <a:extLst>
                  <a:ext uri="{FF2B5EF4-FFF2-40B4-BE49-F238E27FC236}">
                    <a16:creationId xmlns:a16="http://schemas.microsoft.com/office/drawing/2014/main" id="{777488D5-C9B0-42ED-94FB-5C76F4BD1A17}"/>
                  </a:ext>
                </a:extLst>
              </p:cNvPr>
              <p:cNvGrpSpPr/>
              <p:nvPr/>
            </p:nvGrpSpPr>
            <p:grpSpPr>
              <a:xfrm>
                <a:off x="1499319" y="6477697"/>
                <a:ext cx="392132" cy="118564"/>
                <a:chOff x="1499319" y="6477697"/>
                <a:chExt cx="392132" cy="118564"/>
              </a:xfrm>
              <a:grpFill/>
            </p:grpSpPr>
            <p:sp>
              <p:nvSpPr>
                <p:cNvPr id="244" name="Forma Livre: Forma 243">
                  <a:extLst>
                    <a:ext uri="{FF2B5EF4-FFF2-40B4-BE49-F238E27FC236}">
                      <a16:creationId xmlns:a16="http://schemas.microsoft.com/office/drawing/2014/main" id="{75781D65-0B62-4CF6-B7EB-9B830A78A635}"/>
                    </a:ext>
                  </a:extLst>
                </p:cNvPr>
                <p:cNvSpPr/>
                <p:nvPr/>
              </p:nvSpPr>
              <p:spPr>
                <a:xfrm>
                  <a:off x="1499319" y="6558199"/>
                  <a:ext cx="135491" cy="38062"/>
                </a:xfrm>
                <a:custGeom>
                  <a:avLst/>
                  <a:gdLst>
                    <a:gd name="connsiteX0" fmla="*/ 41509 w 135491"/>
                    <a:gd name="connsiteY0" fmla="*/ 38063 h 38062"/>
                    <a:gd name="connsiteX1" fmla="*/ 8112 w 135491"/>
                    <a:gd name="connsiteY1" fmla="*/ 34956 h 38062"/>
                    <a:gd name="connsiteX2" fmla="*/ 345 w 135491"/>
                    <a:gd name="connsiteY2" fmla="*/ 22529 h 38062"/>
                    <a:gd name="connsiteX3" fmla="*/ 12772 w 135491"/>
                    <a:gd name="connsiteY3" fmla="*/ 14763 h 38062"/>
                    <a:gd name="connsiteX4" fmla="*/ 121506 w 135491"/>
                    <a:gd name="connsiteY4" fmla="*/ 783 h 38062"/>
                    <a:gd name="connsiteX5" fmla="*/ 134709 w 135491"/>
                    <a:gd name="connsiteY5" fmla="*/ 6996 h 38062"/>
                    <a:gd name="connsiteX6" fmla="*/ 128496 w 135491"/>
                    <a:gd name="connsiteY6" fmla="*/ 20199 h 38062"/>
                    <a:gd name="connsiteX7" fmla="*/ 41509 w 135491"/>
                    <a:gd name="connsiteY7" fmla="*/ 38063 h 38062"/>
                    <a:gd name="connsiteX8" fmla="*/ 41509 w 135491"/>
                    <a:gd name="connsiteY8" fmla="*/ 38063 h 380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35491" h="38062">
                      <a:moveTo>
                        <a:pt x="41509" y="38063"/>
                      </a:moveTo>
                      <a:cubicBezTo>
                        <a:pt x="29859" y="38063"/>
                        <a:pt x="18985" y="37286"/>
                        <a:pt x="8112" y="34956"/>
                      </a:cubicBezTo>
                      <a:cubicBezTo>
                        <a:pt x="2675" y="33403"/>
                        <a:pt x="-1208" y="27966"/>
                        <a:pt x="345" y="22529"/>
                      </a:cubicBezTo>
                      <a:cubicBezTo>
                        <a:pt x="1898" y="17093"/>
                        <a:pt x="7335" y="13209"/>
                        <a:pt x="12772" y="14763"/>
                      </a:cubicBezTo>
                      <a:cubicBezTo>
                        <a:pt x="43839" y="21753"/>
                        <a:pt x="78789" y="17093"/>
                        <a:pt x="121506" y="783"/>
                      </a:cubicBezTo>
                      <a:cubicBezTo>
                        <a:pt x="126942" y="-1547"/>
                        <a:pt x="133156" y="1559"/>
                        <a:pt x="134709" y="6996"/>
                      </a:cubicBezTo>
                      <a:cubicBezTo>
                        <a:pt x="137039" y="12433"/>
                        <a:pt x="133932" y="17870"/>
                        <a:pt x="128496" y="20199"/>
                      </a:cubicBezTo>
                      <a:cubicBezTo>
                        <a:pt x="95876" y="31850"/>
                        <a:pt x="67915" y="38063"/>
                        <a:pt x="41509" y="38063"/>
                      </a:cubicBezTo>
                      <a:lnTo>
                        <a:pt x="41509" y="38063"/>
                      </a:lnTo>
                      <a:close/>
                    </a:path>
                  </a:pathLst>
                </a:custGeom>
                <a:grpFill/>
                <a:ln w="77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245" name="Forma Livre: Forma 244">
                  <a:extLst>
                    <a:ext uri="{FF2B5EF4-FFF2-40B4-BE49-F238E27FC236}">
                      <a16:creationId xmlns:a16="http://schemas.microsoft.com/office/drawing/2014/main" id="{80D2DD18-6AEB-4FF4-AB32-AA6BE6105963}"/>
                    </a:ext>
                  </a:extLst>
                </p:cNvPr>
                <p:cNvSpPr/>
                <p:nvPr/>
              </p:nvSpPr>
              <p:spPr>
                <a:xfrm>
                  <a:off x="1755959" y="6477697"/>
                  <a:ext cx="135491" cy="38567"/>
                </a:xfrm>
                <a:custGeom>
                  <a:avLst/>
                  <a:gdLst>
                    <a:gd name="connsiteX0" fmla="*/ 10103 w 135491"/>
                    <a:gd name="connsiteY0" fmla="*/ 38567 h 38567"/>
                    <a:gd name="connsiteX1" fmla="*/ 783 w 135491"/>
                    <a:gd name="connsiteY1" fmla="*/ 31577 h 38567"/>
                    <a:gd name="connsiteX2" fmla="*/ 6996 w 135491"/>
                    <a:gd name="connsiteY2" fmla="*/ 18374 h 38567"/>
                    <a:gd name="connsiteX3" fmla="*/ 127380 w 135491"/>
                    <a:gd name="connsiteY3" fmla="*/ 3617 h 38567"/>
                    <a:gd name="connsiteX4" fmla="*/ 135147 w 135491"/>
                    <a:gd name="connsiteY4" fmla="*/ 16044 h 38567"/>
                    <a:gd name="connsiteX5" fmla="*/ 122720 w 135491"/>
                    <a:gd name="connsiteY5" fmla="*/ 23811 h 38567"/>
                    <a:gd name="connsiteX6" fmla="*/ 13986 w 135491"/>
                    <a:gd name="connsiteY6" fmla="*/ 37791 h 38567"/>
                    <a:gd name="connsiteX7" fmla="*/ 10103 w 135491"/>
                    <a:gd name="connsiteY7" fmla="*/ 38567 h 38567"/>
                    <a:gd name="connsiteX8" fmla="*/ 10103 w 135491"/>
                    <a:gd name="connsiteY8" fmla="*/ 38567 h 385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35491" h="38567">
                      <a:moveTo>
                        <a:pt x="10103" y="38567"/>
                      </a:moveTo>
                      <a:cubicBezTo>
                        <a:pt x="6219" y="38567"/>
                        <a:pt x="2336" y="36238"/>
                        <a:pt x="783" y="31577"/>
                      </a:cubicBezTo>
                      <a:cubicBezTo>
                        <a:pt x="-1547" y="26141"/>
                        <a:pt x="1559" y="20704"/>
                        <a:pt x="6996" y="18374"/>
                      </a:cubicBezTo>
                      <a:cubicBezTo>
                        <a:pt x="53596" y="510"/>
                        <a:pt x="92430" y="-4149"/>
                        <a:pt x="127380" y="3617"/>
                      </a:cubicBezTo>
                      <a:cubicBezTo>
                        <a:pt x="132817" y="5171"/>
                        <a:pt x="136700" y="10608"/>
                        <a:pt x="135147" y="16044"/>
                      </a:cubicBezTo>
                      <a:cubicBezTo>
                        <a:pt x="133593" y="21481"/>
                        <a:pt x="128157" y="25364"/>
                        <a:pt x="122720" y="23811"/>
                      </a:cubicBezTo>
                      <a:cubicBezTo>
                        <a:pt x="91653" y="16821"/>
                        <a:pt x="56703" y="21481"/>
                        <a:pt x="13986" y="37791"/>
                      </a:cubicBezTo>
                      <a:cubicBezTo>
                        <a:pt x="12433" y="38567"/>
                        <a:pt x="10879" y="38567"/>
                        <a:pt x="10103" y="38567"/>
                      </a:cubicBezTo>
                      <a:lnTo>
                        <a:pt x="10103" y="38567"/>
                      </a:lnTo>
                      <a:close/>
                    </a:path>
                  </a:pathLst>
                </a:custGeom>
                <a:grpFill/>
                <a:ln w="77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grpSp>
            <p:nvGrpSpPr>
              <p:cNvPr id="246" name="Gráfico 2">
                <a:extLst>
                  <a:ext uri="{FF2B5EF4-FFF2-40B4-BE49-F238E27FC236}">
                    <a16:creationId xmlns:a16="http://schemas.microsoft.com/office/drawing/2014/main" id="{777488D5-C9B0-42ED-94FB-5C76F4BD1A17}"/>
                  </a:ext>
                </a:extLst>
              </p:cNvPr>
              <p:cNvGrpSpPr/>
              <p:nvPr/>
            </p:nvGrpSpPr>
            <p:grpSpPr>
              <a:xfrm>
                <a:off x="1499319" y="6634585"/>
                <a:ext cx="392132" cy="118564"/>
                <a:chOff x="1499319" y="6634585"/>
                <a:chExt cx="392132" cy="118564"/>
              </a:xfrm>
              <a:grpFill/>
            </p:grpSpPr>
            <p:sp>
              <p:nvSpPr>
                <p:cNvPr id="247" name="Forma Livre: Forma 246">
                  <a:extLst>
                    <a:ext uri="{FF2B5EF4-FFF2-40B4-BE49-F238E27FC236}">
                      <a16:creationId xmlns:a16="http://schemas.microsoft.com/office/drawing/2014/main" id="{80E2439A-181E-4398-ABB7-5F4A1626CCFD}"/>
                    </a:ext>
                  </a:extLst>
                </p:cNvPr>
                <p:cNvSpPr/>
                <p:nvPr/>
              </p:nvSpPr>
              <p:spPr>
                <a:xfrm>
                  <a:off x="1499319" y="6715086"/>
                  <a:ext cx="135491" cy="38062"/>
                </a:xfrm>
                <a:custGeom>
                  <a:avLst/>
                  <a:gdLst>
                    <a:gd name="connsiteX0" fmla="*/ 41509 w 135491"/>
                    <a:gd name="connsiteY0" fmla="*/ 38063 h 38062"/>
                    <a:gd name="connsiteX1" fmla="*/ 8112 w 135491"/>
                    <a:gd name="connsiteY1" fmla="*/ 34956 h 38062"/>
                    <a:gd name="connsiteX2" fmla="*/ 345 w 135491"/>
                    <a:gd name="connsiteY2" fmla="*/ 22529 h 38062"/>
                    <a:gd name="connsiteX3" fmla="*/ 12772 w 135491"/>
                    <a:gd name="connsiteY3" fmla="*/ 14763 h 38062"/>
                    <a:gd name="connsiteX4" fmla="*/ 121506 w 135491"/>
                    <a:gd name="connsiteY4" fmla="*/ 783 h 38062"/>
                    <a:gd name="connsiteX5" fmla="*/ 134709 w 135491"/>
                    <a:gd name="connsiteY5" fmla="*/ 6996 h 38062"/>
                    <a:gd name="connsiteX6" fmla="*/ 128496 w 135491"/>
                    <a:gd name="connsiteY6" fmla="*/ 20199 h 38062"/>
                    <a:gd name="connsiteX7" fmla="*/ 41509 w 135491"/>
                    <a:gd name="connsiteY7" fmla="*/ 38063 h 38062"/>
                    <a:gd name="connsiteX8" fmla="*/ 41509 w 135491"/>
                    <a:gd name="connsiteY8" fmla="*/ 38063 h 380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35491" h="38062">
                      <a:moveTo>
                        <a:pt x="41509" y="38063"/>
                      </a:moveTo>
                      <a:cubicBezTo>
                        <a:pt x="29859" y="38063"/>
                        <a:pt x="18985" y="37286"/>
                        <a:pt x="8112" y="34956"/>
                      </a:cubicBezTo>
                      <a:cubicBezTo>
                        <a:pt x="2675" y="33403"/>
                        <a:pt x="-1208" y="27966"/>
                        <a:pt x="345" y="22529"/>
                      </a:cubicBezTo>
                      <a:cubicBezTo>
                        <a:pt x="1898" y="17093"/>
                        <a:pt x="7335" y="13209"/>
                        <a:pt x="12772" y="14763"/>
                      </a:cubicBezTo>
                      <a:cubicBezTo>
                        <a:pt x="43839" y="21753"/>
                        <a:pt x="78789" y="17093"/>
                        <a:pt x="121506" y="783"/>
                      </a:cubicBezTo>
                      <a:cubicBezTo>
                        <a:pt x="126942" y="-1547"/>
                        <a:pt x="133156" y="1559"/>
                        <a:pt x="134709" y="6996"/>
                      </a:cubicBezTo>
                      <a:cubicBezTo>
                        <a:pt x="137039" y="12433"/>
                        <a:pt x="133932" y="17870"/>
                        <a:pt x="128496" y="20199"/>
                      </a:cubicBezTo>
                      <a:cubicBezTo>
                        <a:pt x="95876" y="31850"/>
                        <a:pt x="67915" y="38063"/>
                        <a:pt x="41509" y="38063"/>
                      </a:cubicBezTo>
                      <a:lnTo>
                        <a:pt x="41509" y="38063"/>
                      </a:lnTo>
                      <a:close/>
                    </a:path>
                  </a:pathLst>
                </a:custGeom>
                <a:grpFill/>
                <a:ln w="77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248" name="Forma Livre: Forma 247">
                  <a:extLst>
                    <a:ext uri="{FF2B5EF4-FFF2-40B4-BE49-F238E27FC236}">
                      <a16:creationId xmlns:a16="http://schemas.microsoft.com/office/drawing/2014/main" id="{B2B4F2DF-EE3A-481A-BE7F-BEE887454777}"/>
                    </a:ext>
                  </a:extLst>
                </p:cNvPr>
                <p:cNvSpPr/>
                <p:nvPr/>
              </p:nvSpPr>
              <p:spPr>
                <a:xfrm>
                  <a:off x="1755959" y="6634585"/>
                  <a:ext cx="135491" cy="38567"/>
                </a:xfrm>
                <a:custGeom>
                  <a:avLst/>
                  <a:gdLst>
                    <a:gd name="connsiteX0" fmla="*/ 10103 w 135491"/>
                    <a:gd name="connsiteY0" fmla="*/ 38567 h 38567"/>
                    <a:gd name="connsiteX1" fmla="*/ 783 w 135491"/>
                    <a:gd name="connsiteY1" fmla="*/ 31577 h 38567"/>
                    <a:gd name="connsiteX2" fmla="*/ 6996 w 135491"/>
                    <a:gd name="connsiteY2" fmla="*/ 18374 h 38567"/>
                    <a:gd name="connsiteX3" fmla="*/ 127380 w 135491"/>
                    <a:gd name="connsiteY3" fmla="*/ 3617 h 38567"/>
                    <a:gd name="connsiteX4" fmla="*/ 135147 w 135491"/>
                    <a:gd name="connsiteY4" fmla="*/ 16044 h 38567"/>
                    <a:gd name="connsiteX5" fmla="*/ 122720 w 135491"/>
                    <a:gd name="connsiteY5" fmla="*/ 23811 h 38567"/>
                    <a:gd name="connsiteX6" fmla="*/ 13986 w 135491"/>
                    <a:gd name="connsiteY6" fmla="*/ 37791 h 38567"/>
                    <a:gd name="connsiteX7" fmla="*/ 10103 w 135491"/>
                    <a:gd name="connsiteY7" fmla="*/ 38567 h 38567"/>
                    <a:gd name="connsiteX8" fmla="*/ 10103 w 135491"/>
                    <a:gd name="connsiteY8" fmla="*/ 38567 h 385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35491" h="38567">
                      <a:moveTo>
                        <a:pt x="10103" y="38567"/>
                      </a:moveTo>
                      <a:cubicBezTo>
                        <a:pt x="6219" y="38567"/>
                        <a:pt x="2336" y="36238"/>
                        <a:pt x="783" y="31577"/>
                      </a:cubicBezTo>
                      <a:cubicBezTo>
                        <a:pt x="-1547" y="26140"/>
                        <a:pt x="1559" y="20704"/>
                        <a:pt x="6996" y="18374"/>
                      </a:cubicBezTo>
                      <a:cubicBezTo>
                        <a:pt x="53596" y="510"/>
                        <a:pt x="92430" y="-4149"/>
                        <a:pt x="127380" y="3617"/>
                      </a:cubicBezTo>
                      <a:cubicBezTo>
                        <a:pt x="132817" y="5171"/>
                        <a:pt x="136700" y="10607"/>
                        <a:pt x="135147" y="16044"/>
                      </a:cubicBezTo>
                      <a:cubicBezTo>
                        <a:pt x="133593" y="21481"/>
                        <a:pt x="128157" y="25364"/>
                        <a:pt x="122720" y="23811"/>
                      </a:cubicBezTo>
                      <a:cubicBezTo>
                        <a:pt x="91653" y="16821"/>
                        <a:pt x="56703" y="21481"/>
                        <a:pt x="13986" y="37791"/>
                      </a:cubicBezTo>
                      <a:cubicBezTo>
                        <a:pt x="12433" y="38567"/>
                        <a:pt x="10879" y="38567"/>
                        <a:pt x="10103" y="38567"/>
                      </a:cubicBezTo>
                      <a:lnTo>
                        <a:pt x="10103" y="38567"/>
                      </a:lnTo>
                      <a:close/>
                    </a:path>
                  </a:pathLst>
                </a:custGeom>
                <a:grpFill/>
                <a:ln w="77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</p:grpSp>
      </p:grpSp>
      <p:grpSp>
        <p:nvGrpSpPr>
          <p:cNvPr id="249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1273690" y="5726464"/>
            <a:ext cx="434580" cy="333514"/>
            <a:chOff x="166121" y="6410638"/>
            <a:chExt cx="534349" cy="410081"/>
          </a:xfrm>
          <a:solidFill>
            <a:srgbClr val="B1B1A1"/>
          </a:solidFill>
        </p:grpSpPr>
        <p:sp>
          <p:nvSpPr>
            <p:cNvPr id="250" name="Forma Livre: Forma 249">
              <a:extLst>
                <a:ext uri="{FF2B5EF4-FFF2-40B4-BE49-F238E27FC236}">
                  <a16:creationId xmlns:a16="http://schemas.microsoft.com/office/drawing/2014/main" id="{244E31FA-DF6C-4A0B-B1AC-2298A1A0C6CA}"/>
                </a:ext>
              </a:extLst>
            </p:cNvPr>
            <p:cNvSpPr/>
            <p:nvPr/>
          </p:nvSpPr>
          <p:spPr>
            <a:xfrm>
              <a:off x="381258" y="6512886"/>
              <a:ext cx="103297" cy="205432"/>
            </a:xfrm>
            <a:custGeom>
              <a:avLst/>
              <a:gdLst>
                <a:gd name="connsiteX0" fmla="*/ 58250 w 103297"/>
                <a:gd name="connsiteY0" fmla="*/ 5708 h 205432"/>
                <a:gd name="connsiteX1" fmla="*/ 58250 w 103297"/>
                <a:gd name="connsiteY1" fmla="*/ 16582 h 205432"/>
                <a:gd name="connsiteX2" fmla="*/ 76114 w 103297"/>
                <a:gd name="connsiteY2" fmla="*/ 12699 h 205432"/>
                <a:gd name="connsiteX3" fmla="*/ 89317 w 103297"/>
                <a:gd name="connsiteY3" fmla="*/ 16582 h 205432"/>
                <a:gd name="connsiteX4" fmla="*/ 96307 w 103297"/>
                <a:gd name="connsiteY4" fmla="*/ 23572 h 205432"/>
                <a:gd name="connsiteX5" fmla="*/ 98637 w 103297"/>
                <a:gd name="connsiteY5" fmla="*/ 32115 h 205432"/>
                <a:gd name="connsiteX6" fmla="*/ 94754 w 103297"/>
                <a:gd name="connsiteY6" fmla="*/ 42212 h 205432"/>
                <a:gd name="connsiteX7" fmla="*/ 86210 w 103297"/>
                <a:gd name="connsiteY7" fmla="*/ 49979 h 205432"/>
                <a:gd name="connsiteX8" fmla="*/ 73784 w 103297"/>
                <a:gd name="connsiteY8" fmla="*/ 45319 h 205432"/>
                <a:gd name="connsiteX9" fmla="*/ 58250 w 103297"/>
                <a:gd name="connsiteY9" fmla="*/ 35999 h 205432"/>
                <a:gd name="connsiteX10" fmla="*/ 58250 w 103297"/>
                <a:gd name="connsiteY10" fmla="*/ 77162 h 205432"/>
                <a:gd name="connsiteX11" fmla="*/ 77667 w 103297"/>
                <a:gd name="connsiteY11" fmla="*/ 74055 h 205432"/>
                <a:gd name="connsiteX12" fmla="*/ 90870 w 103297"/>
                <a:gd name="connsiteY12" fmla="*/ 76386 h 205432"/>
                <a:gd name="connsiteX13" fmla="*/ 100190 w 103297"/>
                <a:gd name="connsiteY13" fmla="*/ 84929 h 205432"/>
                <a:gd name="connsiteX14" fmla="*/ 103297 w 103297"/>
                <a:gd name="connsiteY14" fmla="*/ 100462 h 205432"/>
                <a:gd name="connsiteX15" fmla="*/ 97860 w 103297"/>
                <a:gd name="connsiteY15" fmla="*/ 123762 h 205432"/>
                <a:gd name="connsiteX16" fmla="*/ 82327 w 103297"/>
                <a:gd name="connsiteY16" fmla="*/ 147062 h 205432"/>
                <a:gd name="connsiteX17" fmla="*/ 58250 w 103297"/>
                <a:gd name="connsiteY17" fmla="*/ 165703 h 205432"/>
                <a:gd name="connsiteX18" fmla="*/ 58250 w 103297"/>
                <a:gd name="connsiteY18" fmla="*/ 190556 h 205432"/>
                <a:gd name="connsiteX19" fmla="*/ 57474 w 103297"/>
                <a:gd name="connsiteY19" fmla="*/ 199876 h 205432"/>
                <a:gd name="connsiteX20" fmla="*/ 52814 w 103297"/>
                <a:gd name="connsiteY20" fmla="*/ 204536 h 205432"/>
                <a:gd name="connsiteX21" fmla="*/ 48154 w 103297"/>
                <a:gd name="connsiteY21" fmla="*/ 204536 h 205432"/>
                <a:gd name="connsiteX22" fmla="*/ 46600 w 103297"/>
                <a:gd name="connsiteY22" fmla="*/ 198323 h 205432"/>
                <a:gd name="connsiteX23" fmla="*/ 46600 w 103297"/>
                <a:gd name="connsiteY23" fmla="*/ 171916 h 205432"/>
                <a:gd name="connsiteX24" fmla="*/ 26407 w 103297"/>
                <a:gd name="connsiteY24" fmla="*/ 175799 h 205432"/>
                <a:gd name="connsiteX25" fmla="*/ 11650 w 103297"/>
                <a:gd name="connsiteY25" fmla="*/ 171916 h 205432"/>
                <a:gd name="connsiteX26" fmla="*/ 3107 w 103297"/>
                <a:gd name="connsiteY26" fmla="*/ 162596 h 205432"/>
                <a:gd name="connsiteX27" fmla="*/ 0 w 103297"/>
                <a:gd name="connsiteY27" fmla="*/ 150946 h 205432"/>
                <a:gd name="connsiteX28" fmla="*/ 3883 w 103297"/>
                <a:gd name="connsiteY28" fmla="*/ 140849 h 205432"/>
                <a:gd name="connsiteX29" fmla="*/ 13203 w 103297"/>
                <a:gd name="connsiteY29" fmla="*/ 133083 h 205432"/>
                <a:gd name="connsiteX30" fmla="*/ 20970 w 103297"/>
                <a:gd name="connsiteY30" fmla="*/ 131529 h 205432"/>
                <a:gd name="connsiteX31" fmla="*/ 24853 w 103297"/>
                <a:gd name="connsiteY31" fmla="*/ 135412 h 205432"/>
                <a:gd name="connsiteX32" fmla="*/ 29513 w 103297"/>
                <a:gd name="connsiteY32" fmla="*/ 145509 h 205432"/>
                <a:gd name="connsiteX33" fmla="*/ 35727 w 103297"/>
                <a:gd name="connsiteY33" fmla="*/ 150946 h 205432"/>
                <a:gd name="connsiteX34" fmla="*/ 46600 w 103297"/>
                <a:gd name="connsiteY34" fmla="*/ 151722 h 205432"/>
                <a:gd name="connsiteX35" fmla="*/ 46600 w 103297"/>
                <a:gd name="connsiteY35" fmla="*/ 105899 h 205432"/>
                <a:gd name="connsiteX36" fmla="*/ 24077 w 103297"/>
                <a:gd name="connsiteY36" fmla="*/ 108229 h 205432"/>
                <a:gd name="connsiteX37" fmla="*/ 9320 w 103297"/>
                <a:gd name="connsiteY37" fmla="*/ 102016 h 205432"/>
                <a:gd name="connsiteX38" fmla="*/ 3883 w 103297"/>
                <a:gd name="connsiteY38" fmla="*/ 83375 h 205432"/>
                <a:gd name="connsiteX39" fmla="*/ 14757 w 103297"/>
                <a:gd name="connsiteY39" fmla="*/ 50755 h 205432"/>
                <a:gd name="connsiteX40" fmla="*/ 45824 w 103297"/>
                <a:gd name="connsiteY40" fmla="*/ 23572 h 205432"/>
                <a:gd name="connsiteX41" fmla="*/ 45824 w 103297"/>
                <a:gd name="connsiteY41" fmla="*/ 12699 h 205432"/>
                <a:gd name="connsiteX42" fmla="*/ 52037 w 103297"/>
                <a:gd name="connsiteY42" fmla="*/ 1049 h 205432"/>
                <a:gd name="connsiteX43" fmla="*/ 58250 w 103297"/>
                <a:gd name="connsiteY43" fmla="*/ 5708 h 205432"/>
                <a:gd name="connsiteX44" fmla="*/ 45047 w 103297"/>
                <a:gd name="connsiteY44" fmla="*/ 79492 h 205432"/>
                <a:gd name="connsiteX45" fmla="*/ 45047 w 103297"/>
                <a:gd name="connsiteY45" fmla="*/ 41435 h 205432"/>
                <a:gd name="connsiteX46" fmla="*/ 31843 w 103297"/>
                <a:gd name="connsiteY46" fmla="*/ 53862 h 205432"/>
                <a:gd name="connsiteX47" fmla="*/ 27183 w 103297"/>
                <a:gd name="connsiteY47" fmla="*/ 68619 h 205432"/>
                <a:gd name="connsiteX48" fmla="*/ 31843 w 103297"/>
                <a:gd name="connsiteY48" fmla="*/ 78716 h 205432"/>
                <a:gd name="connsiteX49" fmla="*/ 45047 w 103297"/>
                <a:gd name="connsiteY49" fmla="*/ 79492 h 205432"/>
                <a:gd name="connsiteX50" fmla="*/ 58250 w 103297"/>
                <a:gd name="connsiteY50" fmla="*/ 103569 h 205432"/>
                <a:gd name="connsiteX51" fmla="*/ 58250 w 103297"/>
                <a:gd name="connsiteY51" fmla="*/ 147062 h 205432"/>
                <a:gd name="connsiteX52" fmla="*/ 73784 w 103297"/>
                <a:gd name="connsiteY52" fmla="*/ 131529 h 205432"/>
                <a:gd name="connsiteX53" fmla="*/ 79220 w 103297"/>
                <a:gd name="connsiteY53" fmla="*/ 115219 h 205432"/>
                <a:gd name="connsiteX54" fmla="*/ 73784 w 103297"/>
                <a:gd name="connsiteY54" fmla="*/ 104346 h 205432"/>
                <a:gd name="connsiteX55" fmla="*/ 58250 w 103297"/>
                <a:gd name="connsiteY55" fmla="*/ 103569 h 205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103297" h="205432">
                  <a:moveTo>
                    <a:pt x="58250" y="5708"/>
                  </a:moveTo>
                  <a:cubicBezTo>
                    <a:pt x="58250" y="9592"/>
                    <a:pt x="58250" y="12699"/>
                    <a:pt x="58250" y="16582"/>
                  </a:cubicBezTo>
                  <a:cubicBezTo>
                    <a:pt x="65240" y="14252"/>
                    <a:pt x="71454" y="12699"/>
                    <a:pt x="76114" y="12699"/>
                  </a:cubicBezTo>
                  <a:cubicBezTo>
                    <a:pt x="81550" y="12699"/>
                    <a:pt x="85434" y="13475"/>
                    <a:pt x="89317" y="16582"/>
                  </a:cubicBezTo>
                  <a:cubicBezTo>
                    <a:pt x="92424" y="18912"/>
                    <a:pt x="94754" y="21242"/>
                    <a:pt x="96307" y="23572"/>
                  </a:cubicBezTo>
                  <a:cubicBezTo>
                    <a:pt x="97860" y="26679"/>
                    <a:pt x="98637" y="29008"/>
                    <a:pt x="98637" y="32115"/>
                  </a:cubicBezTo>
                  <a:cubicBezTo>
                    <a:pt x="98637" y="35222"/>
                    <a:pt x="97084" y="39105"/>
                    <a:pt x="94754" y="42212"/>
                  </a:cubicBezTo>
                  <a:cubicBezTo>
                    <a:pt x="92424" y="45319"/>
                    <a:pt x="89317" y="48425"/>
                    <a:pt x="86210" y="49979"/>
                  </a:cubicBezTo>
                  <a:cubicBezTo>
                    <a:pt x="79997" y="53086"/>
                    <a:pt x="75337" y="51532"/>
                    <a:pt x="73784" y="45319"/>
                  </a:cubicBezTo>
                  <a:cubicBezTo>
                    <a:pt x="71454" y="38329"/>
                    <a:pt x="66794" y="35222"/>
                    <a:pt x="58250" y="35999"/>
                  </a:cubicBezTo>
                  <a:cubicBezTo>
                    <a:pt x="58250" y="49979"/>
                    <a:pt x="58250" y="63182"/>
                    <a:pt x="58250" y="77162"/>
                  </a:cubicBezTo>
                  <a:cubicBezTo>
                    <a:pt x="66794" y="75609"/>
                    <a:pt x="73007" y="74832"/>
                    <a:pt x="77667" y="74055"/>
                  </a:cubicBezTo>
                  <a:cubicBezTo>
                    <a:pt x="82327" y="74055"/>
                    <a:pt x="86987" y="74055"/>
                    <a:pt x="90870" y="76386"/>
                  </a:cubicBezTo>
                  <a:cubicBezTo>
                    <a:pt x="94754" y="77939"/>
                    <a:pt x="97860" y="81045"/>
                    <a:pt x="100190" y="84929"/>
                  </a:cubicBezTo>
                  <a:cubicBezTo>
                    <a:pt x="102521" y="88812"/>
                    <a:pt x="103297" y="94249"/>
                    <a:pt x="103297" y="100462"/>
                  </a:cubicBezTo>
                  <a:cubicBezTo>
                    <a:pt x="103297" y="108229"/>
                    <a:pt x="101744" y="115996"/>
                    <a:pt x="97860" y="123762"/>
                  </a:cubicBezTo>
                  <a:cubicBezTo>
                    <a:pt x="93977" y="131529"/>
                    <a:pt x="89317" y="139296"/>
                    <a:pt x="82327" y="147062"/>
                  </a:cubicBezTo>
                  <a:cubicBezTo>
                    <a:pt x="75337" y="154053"/>
                    <a:pt x="67570" y="160266"/>
                    <a:pt x="58250" y="165703"/>
                  </a:cubicBezTo>
                  <a:cubicBezTo>
                    <a:pt x="58250" y="174246"/>
                    <a:pt x="58250" y="182013"/>
                    <a:pt x="58250" y="190556"/>
                  </a:cubicBezTo>
                  <a:cubicBezTo>
                    <a:pt x="58250" y="194439"/>
                    <a:pt x="57474" y="197546"/>
                    <a:pt x="57474" y="199876"/>
                  </a:cubicBezTo>
                  <a:cubicBezTo>
                    <a:pt x="56697" y="202206"/>
                    <a:pt x="55144" y="203759"/>
                    <a:pt x="52814" y="204536"/>
                  </a:cubicBezTo>
                  <a:cubicBezTo>
                    <a:pt x="50484" y="205313"/>
                    <a:pt x="48930" y="206089"/>
                    <a:pt x="48154" y="204536"/>
                  </a:cubicBezTo>
                  <a:cubicBezTo>
                    <a:pt x="47377" y="203759"/>
                    <a:pt x="46600" y="201429"/>
                    <a:pt x="46600" y="198323"/>
                  </a:cubicBezTo>
                  <a:cubicBezTo>
                    <a:pt x="46600" y="189779"/>
                    <a:pt x="46600" y="180459"/>
                    <a:pt x="46600" y="171916"/>
                  </a:cubicBezTo>
                  <a:cubicBezTo>
                    <a:pt x="38834" y="175022"/>
                    <a:pt x="31843" y="175799"/>
                    <a:pt x="26407" y="175799"/>
                  </a:cubicBezTo>
                  <a:cubicBezTo>
                    <a:pt x="20970" y="175799"/>
                    <a:pt x="15533" y="174246"/>
                    <a:pt x="11650" y="171916"/>
                  </a:cubicBezTo>
                  <a:cubicBezTo>
                    <a:pt x="7767" y="169586"/>
                    <a:pt x="4660" y="166479"/>
                    <a:pt x="3107" y="162596"/>
                  </a:cubicBezTo>
                  <a:cubicBezTo>
                    <a:pt x="1553" y="158713"/>
                    <a:pt x="0" y="154829"/>
                    <a:pt x="0" y="150946"/>
                  </a:cubicBezTo>
                  <a:cubicBezTo>
                    <a:pt x="0" y="147839"/>
                    <a:pt x="1553" y="144733"/>
                    <a:pt x="3883" y="140849"/>
                  </a:cubicBezTo>
                  <a:cubicBezTo>
                    <a:pt x="6213" y="136966"/>
                    <a:pt x="9320" y="134636"/>
                    <a:pt x="13203" y="133083"/>
                  </a:cubicBezTo>
                  <a:cubicBezTo>
                    <a:pt x="16310" y="131529"/>
                    <a:pt x="18640" y="131529"/>
                    <a:pt x="20970" y="131529"/>
                  </a:cubicBezTo>
                  <a:cubicBezTo>
                    <a:pt x="23300" y="132306"/>
                    <a:pt x="24077" y="133083"/>
                    <a:pt x="24853" y="135412"/>
                  </a:cubicBezTo>
                  <a:cubicBezTo>
                    <a:pt x="26407" y="140072"/>
                    <a:pt x="27960" y="143179"/>
                    <a:pt x="29513" y="145509"/>
                  </a:cubicBezTo>
                  <a:cubicBezTo>
                    <a:pt x="31067" y="147839"/>
                    <a:pt x="32620" y="149392"/>
                    <a:pt x="35727" y="150946"/>
                  </a:cubicBezTo>
                  <a:cubicBezTo>
                    <a:pt x="38057" y="151722"/>
                    <a:pt x="41940" y="152499"/>
                    <a:pt x="46600" y="151722"/>
                  </a:cubicBezTo>
                  <a:cubicBezTo>
                    <a:pt x="46600" y="136189"/>
                    <a:pt x="46600" y="120655"/>
                    <a:pt x="46600" y="105899"/>
                  </a:cubicBezTo>
                  <a:cubicBezTo>
                    <a:pt x="38057" y="107452"/>
                    <a:pt x="30290" y="108229"/>
                    <a:pt x="24077" y="108229"/>
                  </a:cubicBezTo>
                  <a:cubicBezTo>
                    <a:pt x="17863" y="108229"/>
                    <a:pt x="13203" y="105899"/>
                    <a:pt x="9320" y="102016"/>
                  </a:cubicBezTo>
                  <a:cubicBezTo>
                    <a:pt x="5437" y="98132"/>
                    <a:pt x="3883" y="91919"/>
                    <a:pt x="3883" y="83375"/>
                  </a:cubicBezTo>
                  <a:cubicBezTo>
                    <a:pt x="3883" y="71725"/>
                    <a:pt x="7767" y="60852"/>
                    <a:pt x="14757" y="50755"/>
                  </a:cubicBezTo>
                  <a:cubicBezTo>
                    <a:pt x="21747" y="40659"/>
                    <a:pt x="32620" y="31338"/>
                    <a:pt x="45824" y="23572"/>
                  </a:cubicBezTo>
                  <a:cubicBezTo>
                    <a:pt x="45824" y="19688"/>
                    <a:pt x="45824" y="16582"/>
                    <a:pt x="45824" y="12699"/>
                  </a:cubicBezTo>
                  <a:cubicBezTo>
                    <a:pt x="45824" y="7262"/>
                    <a:pt x="48154" y="3378"/>
                    <a:pt x="52037" y="1049"/>
                  </a:cubicBezTo>
                  <a:cubicBezTo>
                    <a:pt x="55920" y="-1281"/>
                    <a:pt x="58250" y="272"/>
                    <a:pt x="58250" y="5708"/>
                  </a:cubicBezTo>
                  <a:close/>
                  <a:moveTo>
                    <a:pt x="45047" y="79492"/>
                  </a:moveTo>
                  <a:cubicBezTo>
                    <a:pt x="45047" y="67066"/>
                    <a:pt x="45047" y="53862"/>
                    <a:pt x="45047" y="41435"/>
                  </a:cubicBezTo>
                  <a:cubicBezTo>
                    <a:pt x="39610" y="46095"/>
                    <a:pt x="34950" y="49979"/>
                    <a:pt x="31843" y="53862"/>
                  </a:cubicBezTo>
                  <a:cubicBezTo>
                    <a:pt x="28737" y="57745"/>
                    <a:pt x="27183" y="63182"/>
                    <a:pt x="27183" y="68619"/>
                  </a:cubicBezTo>
                  <a:cubicBezTo>
                    <a:pt x="27183" y="74055"/>
                    <a:pt x="28737" y="77162"/>
                    <a:pt x="31843" y="78716"/>
                  </a:cubicBezTo>
                  <a:cubicBezTo>
                    <a:pt x="34950" y="80269"/>
                    <a:pt x="39610" y="80269"/>
                    <a:pt x="45047" y="79492"/>
                  </a:cubicBezTo>
                  <a:close/>
                  <a:moveTo>
                    <a:pt x="58250" y="103569"/>
                  </a:moveTo>
                  <a:cubicBezTo>
                    <a:pt x="58250" y="118326"/>
                    <a:pt x="58250" y="132306"/>
                    <a:pt x="58250" y="147062"/>
                  </a:cubicBezTo>
                  <a:cubicBezTo>
                    <a:pt x="65240" y="142403"/>
                    <a:pt x="69900" y="137742"/>
                    <a:pt x="73784" y="131529"/>
                  </a:cubicBezTo>
                  <a:cubicBezTo>
                    <a:pt x="77667" y="126092"/>
                    <a:pt x="79220" y="120655"/>
                    <a:pt x="79220" y="115219"/>
                  </a:cubicBezTo>
                  <a:cubicBezTo>
                    <a:pt x="79220" y="109782"/>
                    <a:pt x="77667" y="105899"/>
                    <a:pt x="73784" y="104346"/>
                  </a:cubicBezTo>
                  <a:cubicBezTo>
                    <a:pt x="69900" y="102016"/>
                    <a:pt x="64464" y="102016"/>
                    <a:pt x="58250" y="103569"/>
                  </a:cubicBez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51" name="Forma Livre: Forma 250">
              <a:extLst>
                <a:ext uri="{FF2B5EF4-FFF2-40B4-BE49-F238E27FC236}">
                  <a16:creationId xmlns:a16="http://schemas.microsoft.com/office/drawing/2014/main" id="{F987D656-ADCB-4FB7-BC72-E35361F859DC}"/>
                </a:ext>
              </a:extLst>
            </p:cNvPr>
            <p:cNvSpPr/>
            <p:nvPr/>
          </p:nvSpPr>
          <p:spPr>
            <a:xfrm>
              <a:off x="166121" y="6410638"/>
              <a:ext cx="534349" cy="410081"/>
            </a:xfrm>
            <a:custGeom>
              <a:avLst/>
              <a:gdLst>
                <a:gd name="connsiteX0" fmla="*/ 112617 w 534349"/>
                <a:gd name="connsiteY0" fmla="*/ 410082 h 410081"/>
                <a:gd name="connsiteX1" fmla="*/ 9320 w 534349"/>
                <a:gd name="connsiteY1" fmla="*/ 375908 h 410081"/>
                <a:gd name="connsiteX2" fmla="*/ 0 w 534349"/>
                <a:gd name="connsiteY2" fmla="*/ 358045 h 410081"/>
                <a:gd name="connsiteX3" fmla="*/ 0 w 534349"/>
                <a:gd name="connsiteY3" fmla="*/ 90094 h 410081"/>
                <a:gd name="connsiteX4" fmla="*/ 12427 w 534349"/>
                <a:gd name="connsiteY4" fmla="*/ 69900 h 410081"/>
                <a:gd name="connsiteX5" fmla="*/ 35727 w 534349"/>
                <a:gd name="connsiteY5" fmla="*/ 71453 h 410081"/>
                <a:gd name="connsiteX6" fmla="*/ 113394 w 534349"/>
                <a:gd name="connsiteY6" fmla="*/ 97084 h 410081"/>
                <a:gd name="connsiteX7" fmla="*/ 257855 w 534349"/>
                <a:gd name="connsiteY7" fmla="*/ 50484 h 410081"/>
                <a:gd name="connsiteX8" fmla="*/ 421732 w 534349"/>
                <a:gd name="connsiteY8" fmla="*/ 0 h 410081"/>
                <a:gd name="connsiteX9" fmla="*/ 525029 w 534349"/>
                <a:gd name="connsiteY9" fmla="*/ 34173 h 410081"/>
                <a:gd name="connsiteX10" fmla="*/ 534349 w 534349"/>
                <a:gd name="connsiteY10" fmla="*/ 52037 h 410081"/>
                <a:gd name="connsiteX11" fmla="*/ 534349 w 534349"/>
                <a:gd name="connsiteY11" fmla="*/ 319211 h 410081"/>
                <a:gd name="connsiteX12" fmla="*/ 521923 w 534349"/>
                <a:gd name="connsiteY12" fmla="*/ 339405 h 410081"/>
                <a:gd name="connsiteX13" fmla="*/ 498622 w 534349"/>
                <a:gd name="connsiteY13" fmla="*/ 337852 h 410081"/>
                <a:gd name="connsiteX14" fmla="*/ 420955 w 534349"/>
                <a:gd name="connsiteY14" fmla="*/ 312221 h 410081"/>
                <a:gd name="connsiteX15" fmla="*/ 276495 w 534349"/>
                <a:gd name="connsiteY15" fmla="*/ 358821 h 410081"/>
                <a:gd name="connsiteX16" fmla="*/ 112617 w 534349"/>
                <a:gd name="connsiteY16" fmla="*/ 410082 h 410081"/>
                <a:gd name="connsiteX17" fmla="*/ 112617 w 534349"/>
                <a:gd name="connsiteY17" fmla="*/ 410082 h 410081"/>
                <a:gd name="connsiteX18" fmla="*/ 112617 w 534349"/>
                <a:gd name="connsiteY18" fmla="*/ 410082 h 410081"/>
                <a:gd name="connsiteX19" fmla="*/ 44270 w 534349"/>
                <a:gd name="connsiteY19" fmla="*/ 345618 h 410081"/>
                <a:gd name="connsiteX20" fmla="*/ 112617 w 534349"/>
                <a:gd name="connsiteY20" fmla="*/ 365035 h 410081"/>
                <a:gd name="connsiteX21" fmla="*/ 112617 w 534349"/>
                <a:gd name="connsiteY21" fmla="*/ 365035 h 410081"/>
                <a:gd name="connsiteX22" fmla="*/ 257078 w 534349"/>
                <a:gd name="connsiteY22" fmla="*/ 318435 h 410081"/>
                <a:gd name="connsiteX23" fmla="*/ 420955 w 534349"/>
                <a:gd name="connsiteY23" fmla="*/ 267951 h 410081"/>
                <a:gd name="connsiteX24" fmla="*/ 489302 w 534349"/>
                <a:gd name="connsiteY24" fmla="*/ 281931 h 410081"/>
                <a:gd name="connsiteX25" fmla="*/ 489302 w 534349"/>
                <a:gd name="connsiteY25" fmla="*/ 65240 h 410081"/>
                <a:gd name="connsiteX26" fmla="*/ 420955 w 534349"/>
                <a:gd name="connsiteY26" fmla="*/ 45823 h 410081"/>
                <a:gd name="connsiteX27" fmla="*/ 276495 w 534349"/>
                <a:gd name="connsiteY27" fmla="*/ 92424 h 410081"/>
                <a:gd name="connsiteX28" fmla="*/ 112617 w 534349"/>
                <a:gd name="connsiteY28" fmla="*/ 142907 h 410081"/>
                <a:gd name="connsiteX29" fmla="*/ 44270 w 534349"/>
                <a:gd name="connsiteY29" fmla="*/ 128927 h 410081"/>
                <a:gd name="connsiteX30" fmla="*/ 44270 w 534349"/>
                <a:gd name="connsiteY30" fmla="*/ 345618 h 410081"/>
                <a:gd name="connsiteX31" fmla="*/ 44270 w 534349"/>
                <a:gd name="connsiteY31" fmla="*/ 345618 h 410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34349" h="410081">
                  <a:moveTo>
                    <a:pt x="112617" y="410082"/>
                  </a:moveTo>
                  <a:cubicBezTo>
                    <a:pt x="75337" y="410082"/>
                    <a:pt x="41164" y="399208"/>
                    <a:pt x="9320" y="375908"/>
                  </a:cubicBezTo>
                  <a:cubicBezTo>
                    <a:pt x="3107" y="372025"/>
                    <a:pt x="0" y="365035"/>
                    <a:pt x="0" y="358045"/>
                  </a:cubicBezTo>
                  <a:lnTo>
                    <a:pt x="0" y="90094"/>
                  </a:lnTo>
                  <a:cubicBezTo>
                    <a:pt x="0" y="81550"/>
                    <a:pt x="4660" y="73784"/>
                    <a:pt x="12427" y="69900"/>
                  </a:cubicBezTo>
                  <a:cubicBezTo>
                    <a:pt x="20193" y="66017"/>
                    <a:pt x="28737" y="66793"/>
                    <a:pt x="35727" y="71453"/>
                  </a:cubicBezTo>
                  <a:cubicBezTo>
                    <a:pt x="59804" y="88540"/>
                    <a:pt x="85434" y="97084"/>
                    <a:pt x="113394" y="97084"/>
                  </a:cubicBezTo>
                  <a:cubicBezTo>
                    <a:pt x="159994" y="97084"/>
                    <a:pt x="207371" y="74560"/>
                    <a:pt x="257855" y="50484"/>
                  </a:cubicBezTo>
                  <a:cubicBezTo>
                    <a:pt x="310668" y="25630"/>
                    <a:pt x="365035" y="0"/>
                    <a:pt x="421732" y="0"/>
                  </a:cubicBezTo>
                  <a:cubicBezTo>
                    <a:pt x="459012" y="0"/>
                    <a:pt x="493186" y="10873"/>
                    <a:pt x="525029" y="34173"/>
                  </a:cubicBezTo>
                  <a:cubicBezTo>
                    <a:pt x="531243" y="38057"/>
                    <a:pt x="534349" y="45047"/>
                    <a:pt x="534349" y="52037"/>
                  </a:cubicBezTo>
                  <a:lnTo>
                    <a:pt x="534349" y="319211"/>
                  </a:lnTo>
                  <a:cubicBezTo>
                    <a:pt x="534349" y="327755"/>
                    <a:pt x="529689" y="335521"/>
                    <a:pt x="521923" y="339405"/>
                  </a:cubicBezTo>
                  <a:cubicBezTo>
                    <a:pt x="514156" y="343288"/>
                    <a:pt x="505612" y="342511"/>
                    <a:pt x="498622" y="337852"/>
                  </a:cubicBezTo>
                  <a:cubicBezTo>
                    <a:pt x="474546" y="320765"/>
                    <a:pt x="448916" y="312221"/>
                    <a:pt x="420955" y="312221"/>
                  </a:cubicBezTo>
                  <a:cubicBezTo>
                    <a:pt x="374355" y="312221"/>
                    <a:pt x="326978" y="334745"/>
                    <a:pt x="276495" y="358821"/>
                  </a:cubicBezTo>
                  <a:cubicBezTo>
                    <a:pt x="223681" y="384452"/>
                    <a:pt x="168538" y="410082"/>
                    <a:pt x="112617" y="410082"/>
                  </a:cubicBezTo>
                  <a:cubicBezTo>
                    <a:pt x="112617" y="410082"/>
                    <a:pt x="112617" y="410082"/>
                    <a:pt x="112617" y="410082"/>
                  </a:cubicBezTo>
                  <a:lnTo>
                    <a:pt x="112617" y="410082"/>
                  </a:lnTo>
                  <a:close/>
                  <a:moveTo>
                    <a:pt x="44270" y="345618"/>
                  </a:moveTo>
                  <a:cubicBezTo>
                    <a:pt x="66017" y="358821"/>
                    <a:pt x="87764" y="365035"/>
                    <a:pt x="112617" y="365035"/>
                  </a:cubicBezTo>
                  <a:cubicBezTo>
                    <a:pt x="112617" y="365035"/>
                    <a:pt x="112617" y="365035"/>
                    <a:pt x="112617" y="365035"/>
                  </a:cubicBezTo>
                  <a:cubicBezTo>
                    <a:pt x="159217" y="365035"/>
                    <a:pt x="206594" y="342511"/>
                    <a:pt x="257078" y="318435"/>
                  </a:cubicBezTo>
                  <a:cubicBezTo>
                    <a:pt x="309892" y="293581"/>
                    <a:pt x="364258" y="267951"/>
                    <a:pt x="420955" y="267951"/>
                  </a:cubicBezTo>
                  <a:cubicBezTo>
                    <a:pt x="445032" y="267951"/>
                    <a:pt x="467556" y="272611"/>
                    <a:pt x="489302" y="281931"/>
                  </a:cubicBezTo>
                  <a:lnTo>
                    <a:pt x="489302" y="65240"/>
                  </a:lnTo>
                  <a:cubicBezTo>
                    <a:pt x="468332" y="52037"/>
                    <a:pt x="445809" y="45823"/>
                    <a:pt x="420955" y="45823"/>
                  </a:cubicBezTo>
                  <a:cubicBezTo>
                    <a:pt x="374355" y="45823"/>
                    <a:pt x="326978" y="68347"/>
                    <a:pt x="276495" y="92424"/>
                  </a:cubicBezTo>
                  <a:cubicBezTo>
                    <a:pt x="223681" y="117277"/>
                    <a:pt x="169314" y="142907"/>
                    <a:pt x="112617" y="142907"/>
                  </a:cubicBezTo>
                  <a:cubicBezTo>
                    <a:pt x="88540" y="142907"/>
                    <a:pt x="66017" y="138247"/>
                    <a:pt x="44270" y="128927"/>
                  </a:cubicBezTo>
                  <a:lnTo>
                    <a:pt x="44270" y="345618"/>
                  </a:lnTo>
                  <a:lnTo>
                    <a:pt x="44270" y="345618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252" name="Gráfico 2">
              <a:extLst>
                <a:ext uri="{FF2B5EF4-FFF2-40B4-BE49-F238E27FC236}">
                  <a16:creationId xmlns:a16="http://schemas.microsoft.com/office/drawing/2014/main" id="{777488D5-C9B0-42ED-94FB-5C76F4BD1A17}"/>
                </a:ext>
              </a:extLst>
            </p:cNvPr>
            <p:cNvGrpSpPr/>
            <p:nvPr/>
          </p:nvGrpSpPr>
          <p:grpSpPr>
            <a:xfrm>
              <a:off x="237229" y="6477697"/>
              <a:ext cx="391355" cy="275451"/>
              <a:chOff x="237229" y="6477697"/>
              <a:chExt cx="391355" cy="275451"/>
            </a:xfrm>
            <a:grpFill/>
          </p:grpSpPr>
          <p:grpSp>
            <p:nvGrpSpPr>
              <p:cNvPr id="253" name="Gráfico 2">
                <a:extLst>
                  <a:ext uri="{FF2B5EF4-FFF2-40B4-BE49-F238E27FC236}">
                    <a16:creationId xmlns:a16="http://schemas.microsoft.com/office/drawing/2014/main" id="{777488D5-C9B0-42ED-94FB-5C76F4BD1A17}"/>
                  </a:ext>
                </a:extLst>
              </p:cNvPr>
              <p:cNvGrpSpPr/>
              <p:nvPr/>
            </p:nvGrpSpPr>
            <p:grpSpPr>
              <a:xfrm>
                <a:off x="237229" y="6477697"/>
                <a:ext cx="391355" cy="118564"/>
                <a:chOff x="237229" y="6477697"/>
                <a:chExt cx="391355" cy="118564"/>
              </a:xfrm>
              <a:grpFill/>
            </p:grpSpPr>
            <p:sp>
              <p:nvSpPr>
                <p:cNvPr id="254" name="Forma Livre: Forma 253">
                  <a:extLst>
                    <a:ext uri="{FF2B5EF4-FFF2-40B4-BE49-F238E27FC236}">
                      <a16:creationId xmlns:a16="http://schemas.microsoft.com/office/drawing/2014/main" id="{55B3C0AC-474D-4600-A901-9251EEA3980C}"/>
                    </a:ext>
                  </a:extLst>
                </p:cNvPr>
                <p:cNvSpPr/>
                <p:nvPr/>
              </p:nvSpPr>
              <p:spPr>
                <a:xfrm>
                  <a:off x="237229" y="6558199"/>
                  <a:ext cx="135491" cy="38062"/>
                </a:xfrm>
                <a:custGeom>
                  <a:avLst/>
                  <a:gdLst>
                    <a:gd name="connsiteX0" fmla="*/ 41509 w 135491"/>
                    <a:gd name="connsiteY0" fmla="*/ 38063 h 38062"/>
                    <a:gd name="connsiteX1" fmla="*/ 8112 w 135491"/>
                    <a:gd name="connsiteY1" fmla="*/ 34956 h 38062"/>
                    <a:gd name="connsiteX2" fmla="*/ 345 w 135491"/>
                    <a:gd name="connsiteY2" fmla="*/ 22529 h 38062"/>
                    <a:gd name="connsiteX3" fmla="*/ 12772 w 135491"/>
                    <a:gd name="connsiteY3" fmla="*/ 14763 h 38062"/>
                    <a:gd name="connsiteX4" fmla="*/ 121506 w 135491"/>
                    <a:gd name="connsiteY4" fmla="*/ 783 h 38062"/>
                    <a:gd name="connsiteX5" fmla="*/ 134709 w 135491"/>
                    <a:gd name="connsiteY5" fmla="*/ 6996 h 38062"/>
                    <a:gd name="connsiteX6" fmla="*/ 128496 w 135491"/>
                    <a:gd name="connsiteY6" fmla="*/ 20199 h 38062"/>
                    <a:gd name="connsiteX7" fmla="*/ 41509 w 135491"/>
                    <a:gd name="connsiteY7" fmla="*/ 38063 h 38062"/>
                    <a:gd name="connsiteX8" fmla="*/ 41509 w 135491"/>
                    <a:gd name="connsiteY8" fmla="*/ 38063 h 380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35491" h="38062">
                      <a:moveTo>
                        <a:pt x="41509" y="38063"/>
                      </a:moveTo>
                      <a:cubicBezTo>
                        <a:pt x="29859" y="38063"/>
                        <a:pt x="18985" y="37286"/>
                        <a:pt x="8112" y="34956"/>
                      </a:cubicBezTo>
                      <a:cubicBezTo>
                        <a:pt x="2675" y="33403"/>
                        <a:pt x="-1208" y="27966"/>
                        <a:pt x="345" y="22529"/>
                      </a:cubicBezTo>
                      <a:cubicBezTo>
                        <a:pt x="1898" y="17093"/>
                        <a:pt x="7335" y="13209"/>
                        <a:pt x="12772" y="14763"/>
                      </a:cubicBezTo>
                      <a:cubicBezTo>
                        <a:pt x="43839" y="21753"/>
                        <a:pt x="78789" y="17093"/>
                        <a:pt x="121506" y="783"/>
                      </a:cubicBezTo>
                      <a:cubicBezTo>
                        <a:pt x="126942" y="-1547"/>
                        <a:pt x="132379" y="1559"/>
                        <a:pt x="134709" y="6996"/>
                      </a:cubicBezTo>
                      <a:cubicBezTo>
                        <a:pt x="137039" y="12433"/>
                        <a:pt x="133932" y="17870"/>
                        <a:pt x="128496" y="20199"/>
                      </a:cubicBezTo>
                      <a:cubicBezTo>
                        <a:pt x="95876" y="31850"/>
                        <a:pt x="67139" y="38063"/>
                        <a:pt x="41509" y="38063"/>
                      </a:cubicBezTo>
                      <a:lnTo>
                        <a:pt x="41509" y="38063"/>
                      </a:lnTo>
                      <a:close/>
                    </a:path>
                  </a:pathLst>
                </a:custGeom>
                <a:grpFill/>
                <a:ln w="77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255" name="Forma Livre: Forma 254">
                  <a:extLst>
                    <a:ext uri="{FF2B5EF4-FFF2-40B4-BE49-F238E27FC236}">
                      <a16:creationId xmlns:a16="http://schemas.microsoft.com/office/drawing/2014/main" id="{04D24814-6696-47F2-81FE-3705BFDB76E3}"/>
                    </a:ext>
                  </a:extLst>
                </p:cNvPr>
                <p:cNvSpPr/>
                <p:nvPr/>
              </p:nvSpPr>
              <p:spPr>
                <a:xfrm>
                  <a:off x="493093" y="6477697"/>
                  <a:ext cx="135491" cy="38567"/>
                </a:xfrm>
                <a:custGeom>
                  <a:avLst/>
                  <a:gdLst>
                    <a:gd name="connsiteX0" fmla="*/ 10103 w 135491"/>
                    <a:gd name="connsiteY0" fmla="*/ 38567 h 38567"/>
                    <a:gd name="connsiteX1" fmla="*/ 783 w 135491"/>
                    <a:gd name="connsiteY1" fmla="*/ 31577 h 38567"/>
                    <a:gd name="connsiteX2" fmla="*/ 6996 w 135491"/>
                    <a:gd name="connsiteY2" fmla="*/ 18374 h 38567"/>
                    <a:gd name="connsiteX3" fmla="*/ 127380 w 135491"/>
                    <a:gd name="connsiteY3" fmla="*/ 3617 h 38567"/>
                    <a:gd name="connsiteX4" fmla="*/ 135147 w 135491"/>
                    <a:gd name="connsiteY4" fmla="*/ 16044 h 38567"/>
                    <a:gd name="connsiteX5" fmla="*/ 122720 w 135491"/>
                    <a:gd name="connsiteY5" fmla="*/ 23811 h 38567"/>
                    <a:gd name="connsiteX6" fmla="*/ 13986 w 135491"/>
                    <a:gd name="connsiteY6" fmla="*/ 37791 h 38567"/>
                    <a:gd name="connsiteX7" fmla="*/ 10103 w 135491"/>
                    <a:gd name="connsiteY7" fmla="*/ 38567 h 38567"/>
                    <a:gd name="connsiteX8" fmla="*/ 10103 w 135491"/>
                    <a:gd name="connsiteY8" fmla="*/ 38567 h 385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35491" h="38567">
                      <a:moveTo>
                        <a:pt x="10103" y="38567"/>
                      </a:moveTo>
                      <a:cubicBezTo>
                        <a:pt x="6219" y="38567"/>
                        <a:pt x="2336" y="36238"/>
                        <a:pt x="783" y="31577"/>
                      </a:cubicBezTo>
                      <a:cubicBezTo>
                        <a:pt x="-1547" y="26141"/>
                        <a:pt x="1559" y="20704"/>
                        <a:pt x="6996" y="18374"/>
                      </a:cubicBezTo>
                      <a:cubicBezTo>
                        <a:pt x="53596" y="510"/>
                        <a:pt x="91653" y="-4149"/>
                        <a:pt x="127380" y="3617"/>
                      </a:cubicBezTo>
                      <a:cubicBezTo>
                        <a:pt x="132817" y="5171"/>
                        <a:pt x="136700" y="10608"/>
                        <a:pt x="135147" y="16044"/>
                      </a:cubicBezTo>
                      <a:cubicBezTo>
                        <a:pt x="134370" y="21481"/>
                        <a:pt x="128157" y="25364"/>
                        <a:pt x="122720" y="23811"/>
                      </a:cubicBezTo>
                      <a:cubicBezTo>
                        <a:pt x="91653" y="17597"/>
                        <a:pt x="56703" y="21481"/>
                        <a:pt x="13986" y="37791"/>
                      </a:cubicBezTo>
                      <a:cubicBezTo>
                        <a:pt x="12433" y="38567"/>
                        <a:pt x="11656" y="38567"/>
                        <a:pt x="10103" y="38567"/>
                      </a:cubicBezTo>
                      <a:lnTo>
                        <a:pt x="10103" y="38567"/>
                      </a:lnTo>
                      <a:close/>
                    </a:path>
                  </a:pathLst>
                </a:custGeom>
                <a:grpFill/>
                <a:ln w="77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grpSp>
            <p:nvGrpSpPr>
              <p:cNvPr id="256" name="Gráfico 2">
                <a:extLst>
                  <a:ext uri="{FF2B5EF4-FFF2-40B4-BE49-F238E27FC236}">
                    <a16:creationId xmlns:a16="http://schemas.microsoft.com/office/drawing/2014/main" id="{777488D5-C9B0-42ED-94FB-5C76F4BD1A17}"/>
                  </a:ext>
                </a:extLst>
              </p:cNvPr>
              <p:cNvGrpSpPr/>
              <p:nvPr/>
            </p:nvGrpSpPr>
            <p:grpSpPr>
              <a:xfrm>
                <a:off x="237229" y="6634585"/>
                <a:ext cx="391355" cy="118564"/>
                <a:chOff x="237229" y="6634585"/>
                <a:chExt cx="391355" cy="118564"/>
              </a:xfrm>
              <a:grpFill/>
            </p:grpSpPr>
            <p:sp>
              <p:nvSpPr>
                <p:cNvPr id="257" name="Forma Livre: Forma 256">
                  <a:extLst>
                    <a:ext uri="{FF2B5EF4-FFF2-40B4-BE49-F238E27FC236}">
                      <a16:creationId xmlns:a16="http://schemas.microsoft.com/office/drawing/2014/main" id="{0D43F506-6BDA-4383-BBB7-8417C166DA68}"/>
                    </a:ext>
                  </a:extLst>
                </p:cNvPr>
                <p:cNvSpPr/>
                <p:nvPr/>
              </p:nvSpPr>
              <p:spPr>
                <a:xfrm>
                  <a:off x="237229" y="6715086"/>
                  <a:ext cx="135491" cy="38062"/>
                </a:xfrm>
                <a:custGeom>
                  <a:avLst/>
                  <a:gdLst>
                    <a:gd name="connsiteX0" fmla="*/ 41509 w 135491"/>
                    <a:gd name="connsiteY0" fmla="*/ 38063 h 38062"/>
                    <a:gd name="connsiteX1" fmla="*/ 8112 w 135491"/>
                    <a:gd name="connsiteY1" fmla="*/ 34956 h 38062"/>
                    <a:gd name="connsiteX2" fmla="*/ 345 w 135491"/>
                    <a:gd name="connsiteY2" fmla="*/ 22529 h 38062"/>
                    <a:gd name="connsiteX3" fmla="*/ 12772 w 135491"/>
                    <a:gd name="connsiteY3" fmla="*/ 14763 h 38062"/>
                    <a:gd name="connsiteX4" fmla="*/ 121506 w 135491"/>
                    <a:gd name="connsiteY4" fmla="*/ 783 h 38062"/>
                    <a:gd name="connsiteX5" fmla="*/ 134709 w 135491"/>
                    <a:gd name="connsiteY5" fmla="*/ 6996 h 38062"/>
                    <a:gd name="connsiteX6" fmla="*/ 128496 w 135491"/>
                    <a:gd name="connsiteY6" fmla="*/ 20199 h 38062"/>
                    <a:gd name="connsiteX7" fmla="*/ 41509 w 135491"/>
                    <a:gd name="connsiteY7" fmla="*/ 38063 h 38062"/>
                    <a:gd name="connsiteX8" fmla="*/ 41509 w 135491"/>
                    <a:gd name="connsiteY8" fmla="*/ 38063 h 380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35491" h="38062">
                      <a:moveTo>
                        <a:pt x="41509" y="38063"/>
                      </a:moveTo>
                      <a:cubicBezTo>
                        <a:pt x="29859" y="38063"/>
                        <a:pt x="18985" y="37286"/>
                        <a:pt x="8112" y="34956"/>
                      </a:cubicBezTo>
                      <a:cubicBezTo>
                        <a:pt x="2675" y="33403"/>
                        <a:pt x="-1208" y="27966"/>
                        <a:pt x="345" y="22529"/>
                      </a:cubicBezTo>
                      <a:cubicBezTo>
                        <a:pt x="1898" y="17093"/>
                        <a:pt x="7335" y="13209"/>
                        <a:pt x="12772" y="14763"/>
                      </a:cubicBezTo>
                      <a:cubicBezTo>
                        <a:pt x="43839" y="21753"/>
                        <a:pt x="78789" y="17093"/>
                        <a:pt x="121506" y="783"/>
                      </a:cubicBezTo>
                      <a:cubicBezTo>
                        <a:pt x="126942" y="-1547"/>
                        <a:pt x="132379" y="1559"/>
                        <a:pt x="134709" y="6996"/>
                      </a:cubicBezTo>
                      <a:cubicBezTo>
                        <a:pt x="137039" y="12433"/>
                        <a:pt x="133932" y="17870"/>
                        <a:pt x="128496" y="20199"/>
                      </a:cubicBezTo>
                      <a:cubicBezTo>
                        <a:pt x="95876" y="31850"/>
                        <a:pt x="67139" y="38063"/>
                        <a:pt x="41509" y="38063"/>
                      </a:cubicBezTo>
                      <a:lnTo>
                        <a:pt x="41509" y="38063"/>
                      </a:lnTo>
                      <a:close/>
                    </a:path>
                  </a:pathLst>
                </a:custGeom>
                <a:grpFill/>
                <a:ln w="77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258" name="Forma Livre: Forma 257">
                  <a:extLst>
                    <a:ext uri="{FF2B5EF4-FFF2-40B4-BE49-F238E27FC236}">
                      <a16:creationId xmlns:a16="http://schemas.microsoft.com/office/drawing/2014/main" id="{E81C2F87-3852-4283-848C-8463E16167DB}"/>
                    </a:ext>
                  </a:extLst>
                </p:cNvPr>
                <p:cNvSpPr/>
                <p:nvPr/>
              </p:nvSpPr>
              <p:spPr>
                <a:xfrm>
                  <a:off x="493093" y="6634585"/>
                  <a:ext cx="135491" cy="38567"/>
                </a:xfrm>
                <a:custGeom>
                  <a:avLst/>
                  <a:gdLst>
                    <a:gd name="connsiteX0" fmla="*/ 10103 w 135491"/>
                    <a:gd name="connsiteY0" fmla="*/ 38567 h 38567"/>
                    <a:gd name="connsiteX1" fmla="*/ 783 w 135491"/>
                    <a:gd name="connsiteY1" fmla="*/ 31577 h 38567"/>
                    <a:gd name="connsiteX2" fmla="*/ 6996 w 135491"/>
                    <a:gd name="connsiteY2" fmla="*/ 18374 h 38567"/>
                    <a:gd name="connsiteX3" fmla="*/ 127380 w 135491"/>
                    <a:gd name="connsiteY3" fmla="*/ 3617 h 38567"/>
                    <a:gd name="connsiteX4" fmla="*/ 135147 w 135491"/>
                    <a:gd name="connsiteY4" fmla="*/ 16044 h 38567"/>
                    <a:gd name="connsiteX5" fmla="*/ 122720 w 135491"/>
                    <a:gd name="connsiteY5" fmla="*/ 23811 h 38567"/>
                    <a:gd name="connsiteX6" fmla="*/ 13986 w 135491"/>
                    <a:gd name="connsiteY6" fmla="*/ 37791 h 38567"/>
                    <a:gd name="connsiteX7" fmla="*/ 10103 w 135491"/>
                    <a:gd name="connsiteY7" fmla="*/ 38567 h 38567"/>
                    <a:gd name="connsiteX8" fmla="*/ 10103 w 135491"/>
                    <a:gd name="connsiteY8" fmla="*/ 38567 h 385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35491" h="38567">
                      <a:moveTo>
                        <a:pt x="10103" y="38567"/>
                      </a:moveTo>
                      <a:cubicBezTo>
                        <a:pt x="6219" y="38567"/>
                        <a:pt x="2336" y="36238"/>
                        <a:pt x="783" y="31577"/>
                      </a:cubicBezTo>
                      <a:cubicBezTo>
                        <a:pt x="-1547" y="26140"/>
                        <a:pt x="1559" y="20704"/>
                        <a:pt x="6996" y="18374"/>
                      </a:cubicBezTo>
                      <a:cubicBezTo>
                        <a:pt x="53596" y="510"/>
                        <a:pt x="91653" y="-4149"/>
                        <a:pt x="127380" y="3617"/>
                      </a:cubicBezTo>
                      <a:cubicBezTo>
                        <a:pt x="132817" y="5171"/>
                        <a:pt x="136700" y="10607"/>
                        <a:pt x="135147" y="16044"/>
                      </a:cubicBezTo>
                      <a:cubicBezTo>
                        <a:pt x="134370" y="21481"/>
                        <a:pt x="128157" y="25364"/>
                        <a:pt x="122720" y="23811"/>
                      </a:cubicBezTo>
                      <a:cubicBezTo>
                        <a:pt x="91653" y="17597"/>
                        <a:pt x="56703" y="21481"/>
                        <a:pt x="13986" y="37791"/>
                      </a:cubicBezTo>
                      <a:cubicBezTo>
                        <a:pt x="12433" y="38567"/>
                        <a:pt x="11656" y="38567"/>
                        <a:pt x="10103" y="38567"/>
                      </a:cubicBezTo>
                      <a:lnTo>
                        <a:pt x="10103" y="38567"/>
                      </a:lnTo>
                      <a:close/>
                    </a:path>
                  </a:pathLst>
                </a:custGeom>
                <a:grpFill/>
                <a:ln w="776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</p:grpSp>
      </p:grpSp>
      <p:grpSp>
        <p:nvGrpSpPr>
          <p:cNvPr id="259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5381990" y="5708146"/>
            <a:ext cx="412472" cy="370783"/>
            <a:chOff x="5217585" y="6388114"/>
            <a:chExt cx="507165" cy="455905"/>
          </a:xfrm>
          <a:solidFill>
            <a:srgbClr val="B1B1A1"/>
          </a:solidFill>
        </p:grpSpPr>
        <p:sp>
          <p:nvSpPr>
            <p:cNvPr id="260" name="Forma Livre: Forma 259">
              <a:extLst>
                <a:ext uri="{FF2B5EF4-FFF2-40B4-BE49-F238E27FC236}">
                  <a16:creationId xmlns:a16="http://schemas.microsoft.com/office/drawing/2014/main" id="{96BEF6B3-4431-41DF-9C3E-8F4505C23439}"/>
                </a:ext>
              </a:extLst>
            </p:cNvPr>
            <p:cNvSpPr/>
            <p:nvPr/>
          </p:nvSpPr>
          <p:spPr>
            <a:xfrm>
              <a:off x="5344183" y="6463451"/>
              <a:ext cx="380568" cy="380568"/>
            </a:xfrm>
            <a:custGeom>
              <a:avLst/>
              <a:gdLst>
                <a:gd name="connsiteX0" fmla="*/ 190284 w 380568"/>
                <a:gd name="connsiteY0" fmla="*/ 380569 h 380568"/>
                <a:gd name="connsiteX1" fmla="*/ 0 w 380568"/>
                <a:gd name="connsiteY1" fmla="*/ 190284 h 380568"/>
                <a:gd name="connsiteX2" fmla="*/ 190284 w 380568"/>
                <a:gd name="connsiteY2" fmla="*/ 0 h 380568"/>
                <a:gd name="connsiteX3" fmla="*/ 380569 w 380568"/>
                <a:gd name="connsiteY3" fmla="*/ 190284 h 380568"/>
                <a:gd name="connsiteX4" fmla="*/ 190284 w 380568"/>
                <a:gd name="connsiteY4" fmla="*/ 380569 h 380568"/>
                <a:gd name="connsiteX5" fmla="*/ 190284 w 380568"/>
                <a:gd name="connsiteY5" fmla="*/ 380569 h 380568"/>
                <a:gd name="connsiteX6" fmla="*/ 190284 w 380568"/>
                <a:gd name="connsiteY6" fmla="*/ 41163 h 380568"/>
                <a:gd name="connsiteX7" fmla="*/ 41163 w 380568"/>
                <a:gd name="connsiteY7" fmla="*/ 190284 h 380568"/>
                <a:gd name="connsiteX8" fmla="*/ 190284 w 380568"/>
                <a:gd name="connsiteY8" fmla="*/ 339405 h 380568"/>
                <a:gd name="connsiteX9" fmla="*/ 339405 w 380568"/>
                <a:gd name="connsiteY9" fmla="*/ 190284 h 380568"/>
                <a:gd name="connsiteX10" fmla="*/ 190284 w 380568"/>
                <a:gd name="connsiteY10" fmla="*/ 41163 h 380568"/>
                <a:gd name="connsiteX11" fmla="*/ 190284 w 380568"/>
                <a:gd name="connsiteY11" fmla="*/ 41163 h 380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0568" h="380568">
                  <a:moveTo>
                    <a:pt x="190284" y="380569"/>
                  </a:moveTo>
                  <a:cubicBezTo>
                    <a:pt x="85434" y="380569"/>
                    <a:pt x="0" y="295135"/>
                    <a:pt x="0" y="190284"/>
                  </a:cubicBezTo>
                  <a:cubicBezTo>
                    <a:pt x="0" y="85434"/>
                    <a:pt x="85434" y="0"/>
                    <a:pt x="190284" y="0"/>
                  </a:cubicBezTo>
                  <a:cubicBezTo>
                    <a:pt x="295135" y="0"/>
                    <a:pt x="380569" y="85434"/>
                    <a:pt x="380569" y="190284"/>
                  </a:cubicBezTo>
                  <a:cubicBezTo>
                    <a:pt x="380569" y="295135"/>
                    <a:pt x="295135" y="380569"/>
                    <a:pt x="190284" y="380569"/>
                  </a:cubicBezTo>
                  <a:lnTo>
                    <a:pt x="190284" y="380569"/>
                  </a:lnTo>
                  <a:close/>
                  <a:moveTo>
                    <a:pt x="190284" y="41163"/>
                  </a:moveTo>
                  <a:cubicBezTo>
                    <a:pt x="107957" y="41163"/>
                    <a:pt x="41163" y="107957"/>
                    <a:pt x="41163" y="190284"/>
                  </a:cubicBezTo>
                  <a:cubicBezTo>
                    <a:pt x="41163" y="272611"/>
                    <a:pt x="107957" y="339405"/>
                    <a:pt x="190284" y="339405"/>
                  </a:cubicBezTo>
                  <a:cubicBezTo>
                    <a:pt x="272611" y="339405"/>
                    <a:pt x="339405" y="272611"/>
                    <a:pt x="339405" y="190284"/>
                  </a:cubicBezTo>
                  <a:cubicBezTo>
                    <a:pt x="339405" y="107957"/>
                    <a:pt x="272611" y="41163"/>
                    <a:pt x="190284" y="41163"/>
                  </a:cubicBezTo>
                  <a:lnTo>
                    <a:pt x="190284" y="41163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61" name="Forma Livre: Forma 260">
              <a:extLst>
                <a:ext uri="{FF2B5EF4-FFF2-40B4-BE49-F238E27FC236}">
                  <a16:creationId xmlns:a16="http://schemas.microsoft.com/office/drawing/2014/main" id="{C6020356-4E4C-4579-9DEE-9586A08484E6}"/>
                </a:ext>
              </a:extLst>
            </p:cNvPr>
            <p:cNvSpPr/>
            <p:nvPr/>
          </p:nvSpPr>
          <p:spPr>
            <a:xfrm>
              <a:off x="5409423" y="6528691"/>
              <a:ext cx="250087" cy="250087"/>
            </a:xfrm>
            <a:custGeom>
              <a:avLst/>
              <a:gdLst>
                <a:gd name="connsiteX0" fmla="*/ 125044 w 250087"/>
                <a:gd name="connsiteY0" fmla="*/ 250088 h 250087"/>
                <a:gd name="connsiteX1" fmla="*/ 0 w 250087"/>
                <a:gd name="connsiteY1" fmla="*/ 125044 h 250087"/>
                <a:gd name="connsiteX2" fmla="*/ 125044 w 250087"/>
                <a:gd name="connsiteY2" fmla="*/ 0 h 250087"/>
                <a:gd name="connsiteX3" fmla="*/ 250088 w 250087"/>
                <a:gd name="connsiteY3" fmla="*/ 125044 h 250087"/>
                <a:gd name="connsiteX4" fmla="*/ 125044 w 250087"/>
                <a:gd name="connsiteY4" fmla="*/ 250088 h 250087"/>
                <a:gd name="connsiteX5" fmla="*/ 125044 w 250087"/>
                <a:gd name="connsiteY5" fmla="*/ 250088 h 250087"/>
                <a:gd name="connsiteX6" fmla="*/ 125044 w 250087"/>
                <a:gd name="connsiteY6" fmla="*/ 20194 h 250087"/>
                <a:gd name="connsiteX7" fmla="*/ 20194 w 250087"/>
                <a:gd name="connsiteY7" fmla="*/ 125044 h 250087"/>
                <a:gd name="connsiteX8" fmla="*/ 125044 w 250087"/>
                <a:gd name="connsiteY8" fmla="*/ 229895 h 250087"/>
                <a:gd name="connsiteX9" fmla="*/ 229895 w 250087"/>
                <a:gd name="connsiteY9" fmla="*/ 125044 h 250087"/>
                <a:gd name="connsiteX10" fmla="*/ 125044 w 250087"/>
                <a:gd name="connsiteY10" fmla="*/ 20194 h 250087"/>
                <a:gd name="connsiteX11" fmla="*/ 125044 w 250087"/>
                <a:gd name="connsiteY11" fmla="*/ 20194 h 250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0087" h="250087">
                  <a:moveTo>
                    <a:pt x="125044" y="250088"/>
                  </a:moveTo>
                  <a:cubicBezTo>
                    <a:pt x="55920" y="250088"/>
                    <a:pt x="0" y="194168"/>
                    <a:pt x="0" y="125044"/>
                  </a:cubicBezTo>
                  <a:cubicBezTo>
                    <a:pt x="0" y="55920"/>
                    <a:pt x="55920" y="0"/>
                    <a:pt x="125044" y="0"/>
                  </a:cubicBezTo>
                  <a:cubicBezTo>
                    <a:pt x="194168" y="0"/>
                    <a:pt x="250088" y="55920"/>
                    <a:pt x="250088" y="125044"/>
                  </a:cubicBezTo>
                  <a:cubicBezTo>
                    <a:pt x="250088" y="194168"/>
                    <a:pt x="194168" y="250088"/>
                    <a:pt x="125044" y="250088"/>
                  </a:cubicBezTo>
                  <a:lnTo>
                    <a:pt x="125044" y="250088"/>
                  </a:lnTo>
                  <a:close/>
                  <a:moveTo>
                    <a:pt x="125044" y="20194"/>
                  </a:moveTo>
                  <a:cubicBezTo>
                    <a:pt x="67570" y="20194"/>
                    <a:pt x="20194" y="66794"/>
                    <a:pt x="20194" y="125044"/>
                  </a:cubicBezTo>
                  <a:cubicBezTo>
                    <a:pt x="20194" y="182518"/>
                    <a:pt x="66794" y="229895"/>
                    <a:pt x="125044" y="229895"/>
                  </a:cubicBezTo>
                  <a:cubicBezTo>
                    <a:pt x="182518" y="229895"/>
                    <a:pt x="229895" y="183295"/>
                    <a:pt x="229895" y="125044"/>
                  </a:cubicBezTo>
                  <a:cubicBezTo>
                    <a:pt x="229895" y="66794"/>
                    <a:pt x="182518" y="20194"/>
                    <a:pt x="125044" y="20194"/>
                  </a:cubicBezTo>
                  <a:lnTo>
                    <a:pt x="125044" y="20194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62" name="Forma Livre: Forma 261">
              <a:extLst>
                <a:ext uri="{FF2B5EF4-FFF2-40B4-BE49-F238E27FC236}">
                  <a16:creationId xmlns:a16="http://schemas.microsoft.com/office/drawing/2014/main" id="{39972A4E-CA2A-409B-9079-A187B732A809}"/>
                </a:ext>
              </a:extLst>
            </p:cNvPr>
            <p:cNvSpPr/>
            <p:nvPr/>
          </p:nvSpPr>
          <p:spPr>
            <a:xfrm>
              <a:off x="5217585" y="6481314"/>
              <a:ext cx="256346" cy="40386"/>
            </a:xfrm>
            <a:custGeom>
              <a:avLst/>
              <a:gdLst>
                <a:gd name="connsiteX0" fmla="*/ 236108 w 256346"/>
                <a:gd name="connsiteY0" fmla="*/ 40387 h 40386"/>
                <a:gd name="connsiteX1" fmla="*/ 20193 w 256346"/>
                <a:gd name="connsiteY1" fmla="*/ 40387 h 40386"/>
                <a:gd name="connsiteX2" fmla="*/ 0 w 256346"/>
                <a:gd name="connsiteY2" fmla="*/ 20193 h 40386"/>
                <a:gd name="connsiteX3" fmla="*/ 20193 w 256346"/>
                <a:gd name="connsiteY3" fmla="*/ 0 h 40386"/>
                <a:gd name="connsiteX4" fmla="*/ 236108 w 256346"/>
                <a:gd name="connsiteY4" fmla="*/ 0 h 40386"/>
                <a:gd name="connsiteX5" fmla="*/ 256301 w 256346"/>
                <a:gd name="connsiteY5" fmla="*/ 20193 h 40386"/>
                <a:gd name="connsiteX6" fmla="*/ 236108 w 256346"/>
                <a:gd name="connsiteY6" fmla="*/ 40387 h 40386"/>
                <a:gd name="connsiteX7" fmla="*/ 236108 w 256346"/>
                <a:gd name="connsiteY7" fmla="*/ 40387 h 4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6346" h="40386">
                  <a:moveTo>
                    <a:pt x="236108" y="40387"/>
                  </a:moveTo>
                  <a:lnTo>
                    <a:pt x="20193" y="40387"/>
                  </a:lnTo>
                  <a:cubicBezTo>
                    <a:pt x="8543" y="40387"/>
                    <a:pt x="0" y="31067"/>
                    <a:pt x="0" y="20193"/>
                  </a:cubicBezTo>
                  <a:cubicBezTo>
                    <a:pt x="0" y="8543"/>
                    <a:pt x="9320" y="0"/>
                    <a:pt x="20193" y="0"/>
                  </a:cubicBezTo>
                  <a:lnTo>
                    <a:pt x="236108" y="0"/>
                  </a:lnTo>
                  <a:cubicBezTo>
                    <a:pt x="247758" y="0"/>
                    <a:pt x="256301" y="9320"/>
                    <a:pt x="256301" y="20193"/>
                  </a:cubicBezTo>
                  <a:cubicBezTo>
                    <a:pt x="257078" y="31067"/>
                    <a:pt x="247758" y="40387"/>
                    <a:pt x="236108" y="40387"/>
                  </a:cubicBezTo>
                  <a:lnTo>
                    <a:pt x="236108" y="40387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63" name="Forma Livre: Forma 262">
              <a:extLst>
                <a:ext uri="{FF2B5EF4-FFF2-40B4-BE49-F238E27FC236}">
                  <a16:creationId xmlns:a16="http://schemas.microsoft.com/office/drawing/2014/main" id="{4BBCC7FA-B150-4F38-B828-84009FC03A46}"/>
                </a:ext>
              </a:extLst>
            </p:cNvPr>
            <p:cNvSpPr/>
            <p:nvPr/>
          </p:nvSpPr>
          <p:spPr>
            <a:xfrm>
              <a:off x="5217585" y="6388114"/>
              <a:ext cx="321586" cy="40386"/>
            </a:xfrm>
            <a:custGeom>
              <a:avLst/>
              <a:gdLst>
                <a:gd name="connsiteX0" fmla="*/ 301348 w 321586"/>
                <a:gd name="connsiteY0" fmla="*/ 40387 h 40386"/>
                <a:gd name="connsiteX1" fmla="*/ 20193 w 321586"/>
                <a:gd name="connsiteY1" fmla="*/ 40387 h 40386"/>
                <a:gd name="connsiteX2" fmla="*/ 0 w 321586"/>
                <a:gd name="connsiteY2" fmla="*/ 20193 h 40386"/>
                <a:gd name="connsiteX3" fmla="*/ 20193 w 321586"/>
                <a:gd name="connsiteY3" fmla="*/ 0 h 40386"/>
                <a:gd name="connsiteX4" fmla="*/ 301348 w 321586"/>
                <a:gd name="connsiteY4" fmla="*/ 0 h 40386"/>
                <a:gd name="connsiteX5" fmla="*/ 321541 w 321586"/>
                <a:gd name="connsiteY5" fmla="*/ 20193 h 40386"/>
                <a:gd name="connsiteX6" fmla="*/ 301348 w 321586"/>
                <a:gd name="connsiteY6" fmla="*/ 40387 h 40386"/>
                <a:gd name="connsiteX7" fmla="*/ 301348 w 321586"/>
                <a:gd name="connsiteY7" fmla="*/ 40387 h 4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1586" h="40386">
                  <a:moveTo>
                    <a:pt x="301348" y="40387"/>
                  </a:moveTo>
                  <a:lnTo>
                    <a:pt x="20193" y="40387"/>
                  </a:lnTo>
                  <a:cubicBezTo>
                    <a:pt x="8543" y="40387"/>
                    <a:pt x="0" y="31067"/>
                    <a:pt x="0" y="20193"/>
                  </a:cubicBezTo>
                  <a:cubicBezTo>
                    <a:pt x="0" y="8543"/>
                    <a:pt x="9320" y="0"/>
                    <a:pt x="20193" y="0"/>
                  </a:cubicBezTo>
                  <a:lnTo>
                    <a:pt x="301348" y="0"/>
                  </a:lnTo>
                  <a:cubicBezTo>
                    <a:pt x="312998" y="0"/>
                    <a:pt x="321541" y="9320"/>
                    <a:pt x="321541" y="20193"/>
                  </a:cubicBezTo>
                  <a:cubicBezTo>
                    <a:pt x="322318" y="31843"/>
                    <a:pt x="312998" y="40387"/>
                    <a:pt x="301348" y="40387"/>
                  </a:cubicBezTo>
                  <a:lnTo>
                    <a:pt x="301348" y="40387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64" name="Forma Livre: Forma 263">
              <a:extLst>
                <a:ext uri="{FF2B5EF4-FFF2-40B4-BE49-F238E27FC236}">
                  <a16:creationId xmlns:a16="http://schemas.microsoft.com/office/drawing/2014/main" id="{F0C68285-B613-4770-A8AA-22CDA780C0EA}"/>
                </a:ext>
              </a:extLst>
            </p:cNvPr>
            <p:cNvSpPr/>
            <p:nvPr/>
          </p:nvSpPr>
          <p:spPr>
            <a:xfrm>
              <a:off x="5217585" y="6573738"/>
              <a:ext cx="156932" cy="40386"/>
            </a:xfrm>
            <a:custGeom>
              <a:avLst/>
              <a:gdLst>
                <a:gd name="connsiteX0" fmla="*/ 136694 w 156932"/>
                <a:gd name="connsiteY0" fmla="*/ 40386 h 40386"/>
                <a:gd name="connsiteX1" fmla="*/ 20193 w 156932"/>
                <a:gd name="connsiteY1" fmla="*/ 40386 h 40386"/>
                <a:gd name="connsiteX2" fmla="*/ 0 w 156932"/>
                <a:gd name="connsiteY2" fmla="*/ 20193 h 40386"/>
                <a:gd name="connsiteX3" fmla="*/ 20193 w 156932"/>
                <a:gd name="connsiteY3" fmla="*/ 0 h 40386"/>
                <a:gd name="connsiteX4" fmla="*/ 136694 w 156932"/>
                <a:gd name="connsiteY4" fmla="*/ 0 h 40386"/>
                <a:gd name="connsiteX5" fmla="*/ 156887 w 156932"/>
                <a:gd name="connsiteY5" fmla="*/ 20193 h 40386"/>
                <a:gd name="connsiteX6" fmla="*/ 136694 w 156932"/>
                <a:gd name="connsiteY6" fmla="*/ 40386 h 40386"/>
                <a:gd name="connsiteX7" fmla="*/ 136694 w 156932"/>
                <a:gd name="connsiteY7" fmla="*/ 40386 h 4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6932" h="40386">
                  <a:moveTo>
                    <a:pt x="136694" y="40386"/>
                  </a:moveTo>
                  <a:lnTo>
                    <a:pt x="20193" y="40386"/>
                  </a:lnTo>
                  <a:cubicBezTo>
                    <a:pt x="8543" y="40386"/>
                    <a:pt x="0" y="31067"/>
                    <a:pt x="0" y="20193"/>
                  </a:cubicBezTo>
                  <a:cubicBezTo>
                    <a:pt x="0" y="8543"/>
                    <a:pt x="9320" y="0"/>
                    <a:pt x="20193" y="0"/>
                  </a:cubicBezTo>
                  <a:lnTo>
                    <a:pt x="136694" y="0"/>
                  </a:lnTo>
                  <a:cubicBezTo>
                    <a:pt x="148344" y="0"/>
                    <a:pt x="156887" y="9320"/>
                    <a:pt x="156887" y="20193"/>
                  </a:cubicBezTo>
                  <a:cubicBezTo>
                    <a:pt x="157664" y="31067"/>
                    <a:pt x="148344" y="40386"/>
                    <a:pt x="136694" y="40386"/>
                  </a:cubicBezTo>
                  <a:lnTo>
                    <a:pt x="136694" y="40386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65" name="Forma Livre: Forma 264">
              <a:extLst>
                <a:ext uri="{FF2B5EF4-FFF2-40B4-BE49-F238E27FC236}">
                  <a16:creationId xmlns:a16="http://schemas.microsoft.com/office/drawing/2014/main" id="{5DB17781-2CA2-47A2-8234-152850AD429F}"/>
                </a:ext>
              </a:extLst>
            </p:cNvPr>
            <p:cNvSpPr/>
            <p:nvPr/>
          </p:nvSpPr>
          <p:spPr>
            <a:xfrm>
              <a:off x="5217585" y="6666162"/>
              <a:ext cx="156932" cy="40386"/>
            </a:xfrm>
            <a:custGeom>
              <a:avLst/>
              <a:gdLst>
                <a:gd name="connsiteX0" fmla="*/ 136694 w 156932"/>
                <a:gd name="connsiteY0" fmla="*/ 40387 h 40386"/>
                <a:gd name="connsiteX1" fmla="*/ 20193 w 156932"/>
                <a:gd name="connsiteY1" fmla="*/ 40387 h 40386"/>
                <a:gd name="connsiteX2" fmla="*/ 0 w 156932"/>
                <a:gd name="connsiteY2" fmla="*/ 20194 h 40386"/>
                <a:gd name="connsiteX3" fmla="*/ 20193 w 156932"/>
                <a:gd name="connsiteY3" fmla="*/ 0 h 40386"/>
                <a:gd name="connsiteX4" fmla="*/ 136694 w 156932"/>
                <a:gd name="connsiteY4" fmla="*/ 0 h 40386"/>
                <a:gd name="connsiteX5" fmla="*/ 156887 w 156932"/>
                <a:gd name="connsiteY5" fmla="*/ 20194 h 40386"/>
                <a:gd name="connsiteX6" fmla="*/ 136694 w 156932"/>
                <a:gd name="connsiteY6" fmla="*/ 40387 h 40386"/>
                <a:gd name="connsiteX7" fmla="*/ 136694 w 156932"/>
                <a:gd name="connsiteY7" fmla="*/ 40387 h 4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6932" h="40386">
                  <a:moveTo>
                    <a:pt x="136694" y="40387"/>
                  </a:moveTo>
                  <a:lnTo>
                    <a:pt x="20193" y="40387"/>
                  </a:lnTo>
                  <a:cubicBezTo>
                    <a:pt x="8543" y="40387"/>
                    <a:pt x="0" y="31067"/>
                    <a:pt x="0" y="20194"/>
                  </a:cubicBezTo>
                  <a:cubicBezTo>
                    <a:pt x="0" y="8544"/>
                    <a:pt x="9320" y="0"/>
                    <a:pt x="20193" y="0"/>
                  </a:cubicBezTo>
                  <a:lnTo>
                    <a:pt x="136694" y="0"/>
                  </a:lnTo>
                  <a:cubicBezTo>
                    <a:pt x="148344" y="0"/>
                    <a:pt x="156887" y="9320"/>
                    <a:pt x="156887" y="20194"/>
                  </a:cubicBezTo>
                  <a:cubicBezTo>
                    <a:pt x="157664" y="31067"/>
                    <a:pt x="148344" y="40387"/>
                    <a:pt x="136694" y="40387"/>
                  </a:cubicBezTo>
                  <a:lnTo>
                    <a:pt x="136694" y="40387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66" name="Forma Livre: Forma 265">
              <a:extLst>
                <a:ext uri="{FF2B5EF4-FFF2-40B4-BE49-F238E27FC236}">
                  <a16:creationId xmlns:a16="http://schemas.microsoft.com/office/drawing/2014/main" id="{5C63F8B5-2B56-49F0-BCE1-2382F5C9D7BF}"/>
                </a:ext>
              </a:extLst>
            </p:cNvPr>
            <p:cNvSpPr/>
            <p:nvPr/>
          </p:nvSpPr>
          <p:spPr>
            <a:xfrm>
              <a:off x="5217585" y="6758586"/>
              <a:ext cx="212030" cy="40386"/>
            </a:xfrm>
            <a:custGeom>
              <a:avLst/>
              <a:gdLst>
                <a:gd name="connsiteX0" fmla="*/ 191837 w 212030"/>
                <a:gd name="connsiteY0" fmla="*/ 40387 h 40386"/>
                <a:gd name="connsiteX1" fmla="*/ 20193 w 212030"/>
                <a:gd name="connsiteY1" fmla="*/ 40387 h 40386"/>
                <a:gd name="connsiteX2" fmla="*/ 0 w 212030"/>
                <a:gd name="connsiteY2" fmla="*/ 20193 h 40386"/>
                <a:gd name="connsiteX3" fmla="*/ 20193 w 212030"/>
                <a:gd name="connsiteY3" fmla="*/ 0 h 40386"/>
                <a:gd name="connsiteX4" fmla="*/ 191837 w 212030"/>
                <a:gd name="connsiteY4" fmla="*/ 0 h 40386"/>
                <a:gd name="connsiteX5" fmla="*/ 212031 w 212030"/>
                <a:gd name="connsiteY5" fmla="*/ 20193 h 40386"/>
                <a:gd name="connsiteX6" fmla="*/ 191837 w 212030"/>
                <a:gd name="connsiteY6" fmla="*/ 40387 h 40386"/>
                <a:gd name="connsiteX7" fmla="*/ 191837 w 212030"/>
                <a:gd name="connsiteY7" fmla="*/ 40387 h 4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2030" h="40386">
                  <a:moveTo>
                    <a:pt x="191837" y="40387"/>
                  </a:moveTo>
                  <a:lnTo>
                    <a:pt x="20193" y="40387"/>
                  </a:lnTo>
                  <a:cubicBezTo>
                    <a:pt x="8543" y="40387"/>
                    <a:pt x="0" y="31067"/>
                    <a:pt x="0" y="20193"/>
                  </a:cubicBezTo>
                  <a:cubicBezTo>
                    <a:pt x="0" y="8543"/>
                    <a:pt x="9320" y="0"/>
                    <a:pt x="20193" y="0"/>
                  </a:cubicBezTo>
                  <a:lnTo>
                    <a:pt x="191837" y="0"/>
                  </a:lnTo>
                  <a:cubicBezTo>
                    <a:pt x="203487" y="0"/>
                    <a:pt x="212031" y="9320"/>
                    <a:pt x="212031" y="20193"/>
                  </a:cubicBezTo>
                  <a:cubicBezTo>
                    <a:pt x="212031" y="31067"/>
                    <a:pt x="203487" y="40387"/>
                    <a:pt x="191837" y="40387"/>
                  </a:cubicBezTo>
                  <a:lnTo>
                    <a:pt x="191837" y="40387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67" name="Forma Livre: Forma 266">
              <a:extLst>
                <a:ext uri="{FF2B5EF4-FFF2-40B4-BE49-F238E27FC236}">
                  <a16:creationId xmlns:a16="http://schemas.microsoft.com/office/drawing/2014/main" id="{404DCAED-D0AE-4E3F-88D0-7270317B8C94}"/>
                </a:ext>
              </a:extLst>
            </p:cNvPr>
            <p:cNvSpPr/>
            <p:nvPr/>
          </p:nvSpPr>
          <p:spPr>
            <a:xfrm>
              <a:off x="5487090" y="6560535"/>
              <a:ext cx="103297" cy="205040"/>
            </a:xfrm>
            <a:custGeom>
              <a:avLst/>
              <a:gdLst>
                <a:gd name="connsiteX0" fmla="*/ 58250 w 103297"/>
                <a:gd name="connsiteY0" fmla="*/ 8543 h 205040"/>
                <a:gd name="connsiteX1" fmla="*/ 58250 w 103297"/>
                <a:gd name="connsiteY1" fmla="*/ 19417 h 205040"/>
                <a:gd name="connsiteX2" fmla="*/ 76114 w 103297"/>
                <a:gd name="connsiteY2" fmla="*/ 24077 h 205040"/>
                <a:gd name="connsiteX3" fmla="*/ 89317 w 103297"/>
                <a:gd name="connsiteY3" fmla="*/ 34173 h 205040"/>
                <a:gd name="connsiteX4" fmla="*/ 96307 w 103297"/>
                <a:gd name="connsiteY4" fmla="*/ 44270 h 205040"/>
                <a:gd name="connsiteX5" fmla="*/ 98637 w 103297"/>
                <a:gd name="connsiteY5" fmla="*/ 54367 h 205040"/>
                <a:gd name="connsiteX6" fmla="*/ 94754 w 103297"/>
                <a:gd name="connsiteY6" fmla="*/ 62910 h 205040"/>
                <a:gd name="connsiteX7" fmla="*/ 86211 w 103297"/>
                <a:gd name="connsiteY7" fmla="*/ 66793 h 205040"/>
                <a:gd name="connsiteX8" fmla="*/ 73784 w 103297"/>
                <a:gd name="connsiteY8" fmla="*/ 55920 h 205040"/>
                <a:gd name="connsiteX9" fmla="*/ 58250 w 103297"/>
                <a:gd name="connsiteY9" fmla="*/ 39610 h 205040"/>
                <a:gd name="connsiteX10" fmla="*/ 58250 w 103297"/>
                <a:gd name="connsiteY10" fmla="*/ 80773 h 205040"/>
                <a:gd name="connsiteX11" fmla="*/ 77667 w 103297"/>
                <a:gd name="connsiteY11" fmla="*/ 86987 h 205040"/>
                <a:gd name="connsiteX12" fmla="*/ 90871 w 103297"/>
                <a:gd name="connsiteY12" fmla="*/ 94754 h 205040"/>
                <a:gd name="connsiteX13" fmla="*/ 100191 w 103297"/>
                <a:gd name="connsiteY13" fmla="*/ 107957 h 205040"/>
                <a:gd name="connsiteX14" fmla="*/ 103298 w 103297"/>
                <a:gd name="connsiteY14" fmla="*/ 124267 h 205040"/>
                <a:gd name="connsiteX15" fmla="*/ 97861 w 103297"/>
                <a:gd name="connsiteY15" fmla="*/ 145237 h 205040"/>
                <a:gd name="connsiteX16" fmla="*/ 82327 w 103297"/>
                <a:gd name="connsiteY16" fmla="*/ 161547 h 205040"/>
                <a:gd name="connsiteX17" fmla="*/ 58250 w 103297"/>
                <a:gd name="connsiteY17" fmla="*/ 169314 h 205040"/>
                <a:gd name="connsiteX18" fmla="*/ 58250 w 103297"/>
                <a:gd name="connsiteY18" fmla="*/ 194168 h 205040"/>
                <a:gd name="connsiteX19" fmla="*/ 57474 w 103297"/>
                <a:gd name="connsiteY19" fmla="*/ 202711 h 205040"/>
                <a:gd name="connsiteX20" fmla="*/ 52814 w 103297"/>
                <a:gd name="connsiteY20" fmla="*/ 205041 h 205040"/>
                <a:gd name="connsiteX21" fmla="*/ 48154 w 103297"/>
                <a:gd name="connsiteY21" fmla="*/ 202711 h 205040"/>
                <a:gd name="connsiteX22" fmla="*/ 46600 w 103297"/>
                <a:gd name="connsiteY22" fmla="*/ 195721 h 205040"/>
                <a:gd name="connsiteX23" fmla="*/ 46600 w 103297"/>
                <a:gd name="connsiteY23" fmla="*/ 169314 h 205040"/>
                <a:gd name="connsiteX24" fmla="*/ 26407 w 103297"/>
                <a:gd name="connsiteY24" fmla="*/ 163877 h 205040"/>
                <a:gd name="connsiteX25" fmla="*/ 11650 w 103297"/>
                <a:gd name="connsiteY25" fmla="*/ 153781 h 205040"/>
                <a:gd name="connsiteX26" fmla="*/ 3107 w 103297"/>
                <a:gd name="connsiteY26" fmla="*/ 140577 h 205040"/>
                <a:gd name="connsiteX27" fmla="*/ 0 w 103297"/>
                <a:gd name="connsiteY27" fmla="*/ 127374 h 205040"/>
                <a:gd name="connsiteX28" fmla="*/ 3883 w 103297"/>
                <a:gd name="connsiteY28" fmla="*/ 118830 h 205040"/>
                <a:gd name="connsiteX29" fmla="*/ 13203 w 103297"/>
                <a:gd name="connsiteY29" fmla="*/ 114947 h 205040"/>
                <a:gd name="connsiteX30" fmla="*/ 20970 w 103297"/>
                <a:gd name="connsiteY30" fmla="*/ 117277 h 205040"/>
                <a:gd name="connsiteX31" fmla="*/ 24854 w 103297"/>
                <a:gd name="connsiteY31" fmla="*/ 123490 h 205040"/>
                <a:gd name="connsiteX32" fmla="*/ 29514 w 103297"/>
                <a:gd name="connsiteY32" fmla="*/ 135917 h 205040"/>
                <a:gd name="connsiteX33" fmla="*/ 35727 w 103297"/>
                <a:gd name="connsiteY33" fmla="*/ 143684 h 205040"/>
                <a:gd name="connsiteX34" fmla="*/ 46600 w 103297"/>
                <a:gd name="connsiteY34" fmla="*/ 149121 h 205040"/>
                <a:gd name="connsiteX35" fmla="*/ 46600 w 103297"/>
                <a:gd name="connsiteY35" fmla="*/ 103297 h 205040"/>
                <a:gd name="connsiteX36" fmla="*/ 24077 w 103297"/>
                <a:gd name="connsiteY36" fmla="*/ 94754 h 205040"/>
                <a:gd name="connsiteX37" fmla="*/ 9320 w 103297"/>
                <a:gd name="connsiteY37" fmla="*/ 81550 h 205040"/>
                <a:gd name="connsiteX38" fmla="*/ 3883 w 103297"/>
                <a:gd name="connsiteY38" fmla="*/ 59804 h 205040"/>
                <a:gd name="connsiteX39" fmla="*/ 14757 w 103297"/>
                <a:gd name="connsiteY39" fmla="*/ 31843 h 205040"/>
                <a:gd name="connsiteX40" fmla="*/ 45824 w 103297"/>
                <a:gd name="connsiteY40" fmla="*/ 19417 h 205040"/>
                <a:gd name="connsiteX41" fmla="*/ 45824 w 103297"/>
                <a:gd name="connsiteY41" fmla="*/ 8543 h 205040"/>
                <a:gd name="connsiteX42" fmla="*/ 52037 w 103297"/>
                <a:gd name="connsiteY42" fmla="*/ 0 h 205040"/>
                <a:gd name="connsiteX43" fmla="*/ 58250 w 103297"/>
                <a:gd name="connsiteY43" fmla="*/ 8543 h 205040"/>
                <a:gd name="connsiteX44" fmla="*/ 45824 w 103297"/>
                <a:gd name="connsiteY44" fmla="*/ 76890 h 205040"/>
                <a:gd name="connsiteX45" fmla="*/ 45824 w 103297"/>
                <a:gd name="connsiteY45" fmla="*/ 38834 h 205040"/>
                <a:gd name="connsiteX46" fmla="*/ 32620 w 103297"/>
                <a:gd name="connsiteY46" fmla="*/ 45047 h 205040"/>
                <a:gd name="connsiteX47" fmla="*/ 27960 w 103297"/>
                <a:gd name="connsiteY47" fmla="*/ 57473 h 205040"/>
                <a:gd name="connsiteX48" fmla="*/ 32620 w 103297"/>
                <a:gd name="connsiteY48" fmla="*/ 69123 h 205040"/>
                <a:gd name="connsiteX49" fmla="*/ 45824 w 103297"/>
                <a:gd name="connsiteY49" fmla="*/ 76890 h 205040"/>
                <a:gd name="connsiteX50" fmla="*/ 58250 w 103297"/>
                <a:gd name="connsiteY50" fmla="*/ 105627 h 205040"/>
                <a:gd name="connsiteX51" fmla="*/ 58250 w 103297"/>
                <a:gd name="connsiteY51" fmla="*/ 149121 h 205040"/>
                <a:gd name="connsiteX52" fmla="*/ 73784 w 103297"/>
                <a:gd name="connsiteY52" fmla="*/ 141354 h 205040"/>
                <a:gd name="connsiteX53" fmla="*/ 79220 w 103297"/>
                <a:gd name="connsiteY53" fmla="*/ 127374 h 205040"/>
                <a:gd name="connsiteX54" fmla="*/ 73784 w 103297"/>
                <a:gd name="connsiteY54" fmla="*/ 114171 h 205040"/>
                <a:gd name="connsiteX55" fmla="*/ 58250 w 103297"/>
                <a:gd name="connsiteY55" fmla="*/ 105627 h 205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103297" h="205040">
                  <a:moveTo>
                    <a:pt x="58250" y="8543"/>
                  </a:moveTo>
                  <a:lnTo>
                    <a:pt x="58250" y="19417"/>
                  </a:lnTo>
                  <a:cubicBezTo>
                    <a:pt x="65241" y="20193"/>
                    <a:pt x="71454" y="21747"/>
                    <a:pt x="76114" y="24077"/>
                  </a:cubicBezTo>
                  <a:cubicBezTo>
                    <a:pt x="80774" y="26407"/>
                    <a:pt x="85434" y="29513"/>
                    <a:pt x="89317" y="34173"/>
                  </a:cubicBezTo>
                  <a:cubicBezTo>
                    <a:pt x="92424" y="37280"/>
                    <a:pt x="94754" y="41163"/>
                    <a:pt x="96307" y="44270"/>
                  </a:cubicBezTo>
                  <a:cubicBezTo>
                    <a:pt x="97861" y="48154"/>
                    <a:pt x="98637" y="51260"/>
                    <a:pt x="98637" y="54367"/>
                  </a:cubicBezTo>
                  <a:cubicBezTo>
                    <a:pt x="98637" y="57473"/>
                    <a:pt x="97084" y="60580"/>
                    <a:pt x="94754" y="62910"/>
                  </a:cubicBezTo>
                  <a:cubicBezTo>
                    <a:pt x="92424" y="65240"/>
                    <a:pt x="89317" y="66793"/>
                    <a:pt x="86211" y="66793"/>
                  </a:cubicBezTo>
                  <a:cubicBezTo>
                    <a:pt x="79997" y="66793"/>
                    <a:pt x="75337" y="62910"/>
                    <a:pt x="73784" y="55920"/>
                  </a:cubicBezTo>
                  <a:cubicBezTo>
                    <a:pt x="71454" y="47377"/>
                    <a:pt x="66017" y="41940"/>
                    <a:pt x="58250" y="39610"/>
                  </a:cubicBezTo>
                  <a:lnTo>
                    <a:pt x="58250" y="80773"/>
                  </a:lnTo>
                  <a:cubicBezTo>
                    <a:pt x="66794" y="83104"/>
                    <a:pt x="73007" y="84657"/>
                    <a:pt x="77667" y="86987"/>
                  </a:cubicBezTo>
                  <a:cubicBezTo>
                    <a:pt x="82327" y="88540"/>
                    <a:pt x="86987" y="91647"/>
                    <a:pt x="90871" y="94754"/>
                  </a:cubicBezTo>
                  <a:cubicBezTo>
                    <a:pt x="94754" y="98637"/>
                    <a:pt x="97861" y="102521"/>
                    <a:pt x="100191" y="107957"/>
                  </a:cubicBezTo>
                  <a:cubicBezTo>
                    <a:pt x="102521" y="112617"/>
                    <a:pt x="103298" y="118830"/>
                    <a:pt x="103298" y="124267"/>
                  </a:cubicBezTo>
                  <a:cubicBezTo>
                    <a:pt x="103298" y="132034"/>
                    <a:pt x="101744" y="139024"/>
                    <a:pt x="97861" y="145237"/>
                  </a:cubicBezTo>
                  <a:cubicBezTo>
                    <a:pt x="93977" y="151451"/>
                    <a:pt x="89317" y="156888"/>
                    <a:pt x="82327" y="161547"/>
                  </a:cubicBezTo>
                  <a:cubicBezTo>
                    <a:pt x="75337" y="165431"/>
                    <a:pt x="67570" y="168538"/>
                    <a:pt x="58250" y="169314"/>
                  </a:cubicBezTo>
                  <a:lnTo>
                    <a:pt x="58250" y="194168"/>
                  </a:lnTo>
                  <a:cubicBezTo>
                    <a:pt x="58250" y="198051"/>
                    <a:pt x="58250" y="201157"/>
                    <a:pt x="57474" y="202711"/>
                  </a:cubicBezTo>
                  <a:cubicBezTo>
                    <a:pt x="56697" y="204264"/>
                    <a:pt x="55144" y="205041"/>
                    <a:pt x="52814" y="205041"/>
                  </a:cubicBezTo>
                  <a:cubicBezTo>
                    <a:pt x="50484" y="205041"/>
                    <a:pt x="48931" y="204264"/>
                    <a:pt x="48154" y="202711"/>
                  </a:cubicBezTo>
                  <a:cubicBezTo>
                    <a:pt x="47377" y="201157"/>
                    <a:pt x="46600" y="198827"/>
                    <a:pt x="46600" y="195721"/>
                  </a:cubicBezTo>
                  <a:lnTo>
                    <a:pt x="46600" y="169314"/>
                  </a:lnTo>
                  <a:cubicBezTo>
                    <a:pt x="38834" y="168538"/>
                    <a:pt x="31844" y="166984"/>
                    <a:pt x="26407" y="163877"/>
                  </a:cubicBezTo>
                  <a:cubicBezTo>
                    <a:pt x="20970" y="160771"/>
                    <a:pt x="15533" y="157664"/>
                    <a:pt x="11650" y="153781"/>
                  </a:cubicBezTo>
                  <a:cubicBezTo>
                    <a:pt x="7767" y="149897"/>
                    <a:pt x="4660" y="145237"/>
                    <a:pt x="3107" y="140577"/>
                  </a:cubicBezTo>
                  <a:cubicBezTo>
                    <a:pt x="1553" y="135917"/>
                    <a:pt x="0" y="132034"/>
                    <a:pt x="0" y="127374"/>
                  </a:cubicBezTo>
                  <a:cubicBezTo>
                    <a:pt x="0" y="124267"/>
                    <a:pt x="1553" y="121160"/>
                    <a:pt x="3883" y="118830"/>
                  </a:cubicBezTo>
                  <a:cubicBezTo>
                    <a:pt x="6214" y="116501"/>
                    <a:pt x="9320" y="114947"/>
                    <a:pt x="13203" y="114947"/>
                  </a:cubicBezTo>
                  <a:cubicBezTo>
                    <a:pt x="16310" y="114947"/>
                    <a:pt x="18640" y="115724"/>
                    <a:pt x="20970" y="117277"/>
                  </a:cubicBezTo>
                  <a:cubicBezTo>
                    <a:pt x="23300" y="118830"/>
                    <a:pt x="24077" y="120384"/>
                    <a:pt x="24854" y="123490"/>
                  </a:cubicBezTo>
                  <a:cubicBezTo>
                    <a:pt x="26407" y="128927"/>
                    <a:pt x="27960" y="132810"/>
                    <a:pt x="29514" y="135917"/>
                  </a:cubicBezTo>
                  <a:cubicBezTo>
                    <a:pt x="31067" y="139024"/>
                    <a:pt x="32620" y="141354"/>
                    <a:pt x="35727" y="143684"/>
                  </a:cubicBezTo>
                  <a:cubicBezTo>
                    <a:pt x="38057" y="146014"/>
                    <a:pt x="41940" y="147567"/>
                    <a:pt x="46600" y="149121"/>
                  </a:cubicBezTo>
                  <a:lnTo>
                    <a:pt x="46600" y="103297"/>
                  </a:lnTo>
                  <a:cubicBezTo>
                    <a:pt x="38057" y="100967"/>
                    <a:pt x="30290" y="97860"/>
                    <a:pt x="24077" y="94754"/>
                  </a:cubicBezTo>
                  <a:cubicBezTo>
                    <a:pt x="17864" y="91647"/>
                    <a:pt x="13203" y="87764"/>
                    <a:pt x="9320" y="81550"/>
                  </a:cubicBezTo>
                  <a:cubicBezTo>
                    <a:pt x="5437" y="76114"/>
                    <a:pt x="3883" y="69123"/>
                    <a:pt x="3883" y="59804"/>
                  </a:cubicBezTo>
                  <a:cubicBezTo>
                    <a:pt x="3883" y="48154"/>
                    <a:pt x="7767" y="38834"/>
                    <a:pt x="14757" y="31843"/>
                  </a:cubicBezTo>
                  <a:cubicBezTo>
                    <a:pt x="21747" y="24854"/>
                    <a:pt x="32620" y="20193"/>
                    <a:pt x="45824" y="19417"/>
                  </a:cubicBezTo>
                  <a:lnTo>
                    <a:pt x="45824" y="8543"/>
                  </a:lnTo>
                  <a:cubicBezTo>
                    <a:pt x="45824" y="3106"/>
                    <a:pt x="48154" y="0"/>
                    <a:pt x="52037" y="0"/>
                  </a:cubicBezTo>
                  <a:cubicBezTo>
                    <a:pt x="55920" y="776"/>
                    <a:pt x="58250" y="3106"/>
                    <a:pt x="58250" y="8543"/>
                  </a:cubicBezTo>
                  <a:close/>
                  <a:moveTo>
                    <a:pt x="45824" y="76890"/>
                  </a:moveTo>
                  <a:lnTo>
                    <a:pt x="45824" y="38834"/>
                  </a:lnTo>
                  <a:cubicBezTo>
                    <a:pt x="40387" y="40387"/>
                    <a:pt x="35727" y="42717"/>
                    <a:pt x="32620" y="45047"/>
                  </a:cubicBezTo>
                  <a:cubicBezTo>
                    <a:pt x="29514" y="47377"/>
                    <a:pt x="27960" y="52037"/>
                    <a:pt x="27960" y="57473"/>
                  </a:cubicBezTo>
                  <a:cubicBezTo>
                    <a:pt x="27960" y="62910"/>
                    <a:pt x="29514" y="66793"/>
                    <a:pt x="32620" y="69123"/>
                  </a:cubicBezTo>
                  <a:cubicBezTo>
                    <a:pt x="35727" y="72230"/>
                    <a:pt x="39610" y="74560"/>
                    <a:pt x="45824" y="76890"/>
                  </a:cubicBezTo>
                  <a:close/>
                  <a:moveTo>
                    <a:pt x="58250" y="105627"/>
                  </a:moveTo>
                  <a:lnTo>
                    <a:pt x="58250" y="149121"/>
                  </a:lnTo>
                  <a:cubicBezTo>
                    <a:pt x="65241" y="147567"/>
                    <a:pt x="69900" y="145237"/>
                    <a:pt x="73784" y="141354"/>
                  </a:cubicBezTo>
                  <a:cubicBezTo>
                    <a:pt x="77667" y="137471"/>
                    <a:pt x="79220" y="132810"/>
                    <a:pt x="79220" y="127374"/>
                  </a:cubicBezTo>
                  <a:cubicBezTo>
                    <a:pt x="79220" y="121937"/>
                    <a:pt x="77667" y="117277"/>
                    <a:pt x="73784" y="114171"/>
                  </a:cubicBezTo>
                  <a:cubicBezTo>
                    <a:pt x="70677" y="111064"/>
                    <a:pt x="65241" y="107957"/>
                    <a:pt x="58250" y="105627"/>
                  </a:cubicBez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68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6405275" y="5708146"/>
            <a:ext cx="412472" cy="370783"/>
            <a:chOff x="6475792" y="6388114"/>
            <a:chExt cx="507165" cy="455905"/>
          </a:xfrm>
          <a:solidFill>
            <a:srgbClr val="B1B1A1"/>
          </a:solidFill>
        </p:grpSpPr>
        <p:sp>
          <p:nvSpPr>
            <p:cNvPr id="269" name="Forma Livre: Forma 268">
              <a:extLst>
                <a:ext uri="{FF2B5EF4-FFF2-40B4-BE49-F238E27FC236}">
                  <a16:creationId xmlns:a16="http://schemas.microsoft.com/office/drawing/2014/main" id="{B505E901-ED8D-4DA2-80AE-E1F99BC73960}"/>
                </a:ext>
              </a:extLst>
            </p:cNvPr>
            <p:cNvSpPr/>
            <p:nvPr/>
          </p:nvSpPr>
          <p:spPr>
            <a:xfrm>
              <a:off x="6602389" y="6463451"/>
              <a:ext cx="380568" cy="380568"/>
            </a:xfrm>
            <a:custGeom>
              <a:avLst/>
              <a:gdLst>
                <a:gd name="connsiteX0" fmla="*/ 190284 w 380568"/>
                <a:gd name="connsiteY0" fmla="*/ 380569 h 380568"/>
                <a:gd name="connsiteX1" fmla="*/ 0 w 380568"/>
                <a:gd name="connsiteY1" fmla="*/ 190284 h 380568"/>
                <a:gd name="connsiteX2" fmla="*/ 190284 w 380568"/>
                <a:gd name="connsiteY2" fmla="*/ 0 h 380568"/>
                <a:gd name="connsiteX3" fmla="*/ 380569 w 380568"/>
                <a:gd name="connsiteY3" fmla="*/ 190284 h 380568"/>
                <a:gd name="connsiteX4" fmla="*/ 190284 w 380568"/>
                <a:gd name="connsiteY4" fmla="*/ 380569 h 380568"/>
                <a:gd name="connsiteX5" fmla="*/ 190284 w 380568"/>
                <a:gd name="connsiteY5" fmla="*/ 380569 h 380568"/>
                <a:gd name="connsiteX6" fmla="*/ 190284 w 380568"/>
                <a:gd name="connsiteY6" fmla="*/ 41163 h 380568"/>
                <a:gd name="connsiteX7" fmla="*/ 41163 w 380568"/>
                <a:gd name="connsiteY7" fmla="*/ 190284 h 380568"/>
                <a:gd name="connsiteX8" fmla="*/ 190284 w 380568"/>
                <a:gd name="connsiteY8" fmla="*/ 339405 h 380568"/>
                <a:gd name="connsiteX9" fmla="*/ 339405 w 380568"/>
                <a:gd name="connsiteY9" fmla="*/ 190284 h 380568"/>
                <a:gd name="connsiteX10" fmla="*/ 190284 w 380568"/>
                <a:gd name="connsiteY10" fmla="*/ 41163 h 380568"/>
                <a:gd name="connsiteX11" fmla="*/ 190284 w 380568"/>
                <a:gd name="connsiteY11" fmla="*/ 41163 h 380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0568" h="380568">
                  <a:moveTo>
                    <a:pt x="190284" y="380569"/>
                  </a:moveTo>
                  <a:cubicBezTo>
                    <a:pt x="85434" y="380569"/>
                    <a:pt x="0" y="295135"/>
                    <a:pt x="0" y="190284"/>
                  </a:cubicBezTo>
                  <a:cubicBezTo>
                    <a:pt x="0" y="85434"/>
                    <a:pt x="85434" y="0"/>
                    <a:pt x="190284" y="0"/>
                  </a:cubicBezTo>
                  <a:cubicBezTo>
                    <a:pt x="295135" y="0"/>
                    <a:pt x="380569" y="85434"/>
                    <a:pt x="380569" y="190284"/>
                  </a:cubicBezTo>
                  <a:cubicBezTo>
                    <a:pt x="380569" y="295135"/>
                    <a:pt x="295135" y="380569"/>
                    <a:pt x="190284" y="380569"/>
                  </a:cubicBezTo>
                  <a:lnTo>
                    <a:pt x="190284" y="380569"/>
                  </a:lnTo>
                  <a:close/>
                  <a:moveTo>
                    <a:pt x="190284" y="41163"/>
                  </a:moveTo>
                  <a:cubicBezTo>
                    <a:pt x="107957" y="41163"/>
                    <a:pt x="41163" y="107957"/>
                    <a:pt x="41163" y="190284"/>
                  </a:cubicBezTo>
                  <a:cubicBezTo>
                    <a:pt x="41163" y="272611"/>
                    <a:pt x="107957" y="339405"/>
                    <a:pt x="190284" y="339405"/>
                  </a:cubicBezTo>
                  <a:cubicBezTo>
                    <a:pt x="272611" y="339405"/>
                    <a:pt x="339405" y="272611"/>
                    <a:pt x="339405" y="190284"/>
                  </a:cubicBezTo>
                  <a:cubicBezTo>
                    <a:pt x="339405" y="107957"/>
                    <a:pt x="272611" y="41163"/>
                    <a:pt x="190284" y="41163"/>
                  </a:cubicBezTo>
                  <a:lnTo>
                    <a:pt x="190284" y="41163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70" name="Forma Livre: Forma 269">
              <a:extLst>
                <a:ext uri="{FF2B5EF4-FFF2-40B4-BE49-F238E27FC236}">
                  <a16:creationId xmlns:a16="http://schemas.microsoft.com/office/drawing/2014/main" id="{0FCFAB81-3656-4FF3-B687-AEE1DA69B920}"/>
                </a:ext>
              </a:extLst>
            </p:cNvPr>
            <p:cNvSpPr/>
            <p:nvPr/>
          </p:nvSpPr>
          <p:spPr>
            <a:xfrm>
              <a:off x="6667629" y="6528691"/>
              <a:ext cx="250087" cy="250087"/>
            </a:xfrm>
            <a:custGeom>
              <a:avLst/>
              <a:gdLst>
                <a:gd name="connsiteX0" fmla="*/ 125044 w 250087"/>
                <a:gd name="connsiteY0" fmla="*/ 250088 h 250087"/>
                <a:gd name="connsiteX1" fmla="*/ 0 w 250087"/>
                <a:gd name="connsiteY1" fmla="*/ 125044 h 250087"/>
                <a:gd name="connsiteX2" fmla="*/ 125044 w 250087"/>
                <a:gd name="connsiteY2" fmla="*/ 0 h 250087"/>
                <a:gd name="connsiteX3" fmla="*/ 250088 w 250087"/>
                <a:gd name="connsiteY3" fmla="*/ 125044 h 250087"/>
                <a:gd name="connsiteX4" fmla="*/ 125044 w 250087"/>
                <a:gd name="connsiteY4" fmla="*/ 250088 h 250087"/>
                <a:gd name="connsiteX5" fmla="*/ 125044 w 250087"/>
                <a:gd name="connsiteY5" fmla="*/ 250088 h 250087"/>
                <a:gd name="connsiteX6" fmla="*/ 125044 w 250087"/>
                <a:gd name="connsiteY6" fmla="*/ 20194 h 250087"/>
                <a:gd name="connsiteX7" fmla="*/ 20194 w 250087"/>
                <a:gd name="connsiteY7" fmla="*/ 125044 h 250087"/>
                <a:gd name="connsiteX8" fmla="*/ 125044 w 250087"/>
                <a:gd name="connsiteY8" fmla="*/ 229895 h 250087"/>
                <a:gd name="connsiteX9" fmla="*/ 229895 w 250087"/>
                <a:gd name="connsiteY9" fmla="*/ 125044 h 250087"/>
                <a:gd name="connsiteX10" fmla="*/ 125044 w 250087"/>
                <a:gd name="connsiteY10" fmla="*/ 20194 h 250087"/>
                <a:gd name="connsiteX11" fmla="*/ 125044 w 250087"/>
                <a:gd name="connsiteY11" fmla="*/ 20194 h 250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0087" h="250087">
                  <a:moveTo>
                    <a:pt x="125044" y="250088"/>
                  </a:moveTo>
                  <a:cubicBezTo>
                    <a:pt x="55920" y="250088"/>
                    <a:pt x="0" y="194168"/>
                    <a:pt x="0" y="125044"/>
                  </a:cubicBezTo>
                  <a:cubicBezTo>
                    <a:pt x="0" y="55920"/>
                    <a:pt x="55920" y="0"/>
                    <a:pt x="125044" y="0"/>
                  </a:cubicBezTo>
                  <a:cubicBezTo>
                    <a:pt x="194168" y="0"/>
                    <a:pt x="250088" y="55920"/>
                    <a:pt x="250088" y="125044"/>
                  </a:cubicBezTo>
                  <a:cubicBezTo>
                    <a:pt x="250088" y="194168"/>
                    <a:pt x="194168" y="250088"/>
                    <a:pt x="125044" y="250088"/>
                  </a:cubicBezTo>
                  <a:lnTo>
                    <a:pt x="125044" y="250088"/>
                  </a:lnTo>
                  <a:close/>
                  <a:moveTo>
                    <a:pt x="125044" y="20194"/>
                  </a:moveTo>
                  <a:cubicBezTo>
                    <a:pt x="67570" y="20194"/>
                    <a:pt x="20194" y="66794"/>
                    <a:pt x="20194" y="125044"/>
                  </a:cubicBezTo>
                  <a:cubicBezTo>
                    <a:pt x="20194" y="182518"/>
                    <a:pt x="66794" y="229895"/>
                    <a:pt x="125044" y="229895"/>
                  </a:cubicBezTo>
                  <a:cubicBezTo>
                    <a:pt x="182518" y="229895"/>
                    <a:pt x="229895" y="183295"/>
                    <a:pt x="229895" y="125044"/>
                  </a:cubicBezTo>
                  <a:cubicBezTo>
                    <a:pt x="229895" y="66794"/>
                    <a:pt x="183295" y="20194"/>
                    <a:pt x="125044" y="20194"/>
                  </a:cubicBezTo>
                  <a:lnTo>
                    <a:pt x="125044" y="20194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71" name="Forma Livre: Forma 270">
              <a:extLst>
                <a:ext uri="{FF2B5EF4-FFF2-40B4-BE49-F238E27FC236}">
                  <a16:creationId xmlns:a16="http://schemas.microsoft.com/office/drawing/2014/main" id="{A2A90AFD-1F43-4374-8E01-A9AE2CBA960F}"/>
                </a:ext>
              </a:extLst>
            </p:cNvPr>
            <p:cNvSpPr/>
            <p:nvPr/>
          </p:nvSpPr>
          <p:spPr>
            <a:xfrm>
              <a:off x="6475792" y="6481314"/>
              <a:ext cx="256346" cy="40386"/>
            </a:xfrm>
            <a:custGeom>
              <a:avLst/>
              <a:gdLst>
                <a:gd name="connsiteX0" fmla="*/ 236884 w 256346"/>
                <a:gd name="connsiteY0" fmla="*/ 40387 h 40386"/>
                <a:gd name="connsiteX1" fmla="*/ 20193 w 256346"/>
                <a:gd name="connsiteY1" fmla="*/ 40387 h 40386"/>
                <a:gd name="connsiteX2" fmla="*/ 0 w 256346"/>
                <a:gd name="connsiteY2" fmla="*/ 20193 h 40386"/>
                <a:gd name="connsiteX3" fmla="*/ 20193 w 256346"/>
                <a:gd name="connsiteY3" fmla="*/ 0 h 40386"/>
                <a:gd name="connsiteX4" fmla="*/ 236108 w 256346"/>
                <a:gd name="connsiteY4" fmla="*/ 0 h 40386"/>
                <a:gd name="connsiteX5" fmla="*/ 256301 w 256346"/>
                <a:gd name="connsiteY5" fmla="*/ 20193 h 40386"/>
                <a:gd name="connsiteX6" fmla="*/ 236884 w 256346"/>
                <a:gd name="connsiteY6" fmla="*/ 40387 h 40386"/>
                <a:gd name="connsiteX7" fmla="*/ 236884 w 256346"/>
                <a:gd name="connsiteY7" fmla="*/ 40387 h 4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6346" h="40386">
                  <a:moveTo>
                    <a:pt x="236884" y="40387"/>
                  </a:moveTo>
                  <a:lnTo>
                    <a:pt x="20193" y="40387"/>
                  </a:lnTo>
                  <a:cubicBezTo>
                    <a:pt x="8543" y="40387"/>
                    <a:pt x="0" y="31067"/>
                    <a:pt x="0" y="20193"/>
                  </a:cubicBezTo>
                  <a:cubicBezTo>
                    <a:pt x="0" y="8543"/>
                    <a:pt x="9320" y="0"/>
                    <a:pt x="20193" y="0"/>
                  </a:cubicBezTo>
                  <a:lnTo>
                    <a:pt x="236108" y="0"/>
                  </a:lnTo>
                  <a:cubicBezTo>
                    <a:pt x="247758" y="0"/>
                    <a:pt x="256301" y="9320"/>
                    <a:pt x="256301" y="20193"/>
                  </a:cubicBezTo>
                  <a:cubicBezTo>
                    <a:pt x="257078" y="31067"/>
                    <a:pt x="247758" y="40387"/>
                    <a:pt x="236884" y="40387"/>
                  </a:cubicBezTo>
                  <a:lnTo>
                    <a:pt x="236884" y="40387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72" name="Forma Livre: Forma 271">
              <a:extLst>
                <a:ext uri="{FF2B5EF4-FFF2-40B4-BE49-F238E27FC236}">
                  <a16:creationId xmlns:a16="http://schemas.microsoft.com/office/drawing/2014/main" id="{5A5E7423-55ED-4377-B674-D04AF36B27BD}"/>
                </a:ext>
              </a:extLst>
            </p:cNvPr>
            <p:cNvSpPr/>
            <p:nvPr/>
          </p:nvSpPr>
          <p:spPr>
            <a:xfrm>
              <a:off x="6475792" y="6388114"/>
              <a:ext cx="321586" cy="40386"/>
            </a:xfrm>
            <a:custGeom>
              <a:avLst/>
              <a:gdLst>
                <a:gd name="connsiteX0" fmla="*/ 301348 w 321586"/>
                <a:gd name="connsiteY0" fmla="*/ 40387 h 40386"/>
                <a:gd name="connsiteX1" fmla="*/ 20193 w 321586"/>
                <a:gd name="connsiteY1" fmla="*/ 40387 h 40386"/>
                <a:gd name="connsiteX2" fmla="*/ 0 w 321586"/>
                <a:gd name="connsiteY2" fmla="*/ 20193 h 40386"/>
                <a:gd name="connsiteX3" fmla="*/ 20193 w 321586"/>
                <a:gd name="connsiteY3" fmla="*/ 0 h 40386"/>
                <a:gd name="connsiteX4" fmla="*/ 301348 w 321586"/>
                <a:gd name="connsiteY4" fmla="*/ 0 h 40386"/>
                <a:gd name="connsiteX5" fmla="*/ 321541 w 321586"/>
                <a:gd name="connsiteY5" fmla="*/ 20193 h 40386"/>
                <a:gd name="connsiteX6" fmla="*/ 301348 w 321586"/>
                <a:gd name="connsiteY6" fmla="*/ 40387 h 40386"/>
                <a:gd name="connsiteX7" fmla="*/ 301348 w 321586"/>
                <a:gd name="connsiteY7" fmla="*/ 40387 h 4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1586" h="40386">
                  <a:moveTo>
                    <a:pt x="301348" y="40387"/>
                  </a:moveTo>
                  <a:lnTo>
                    <a:pt x="20193" y="40387"/>
                  </a:lnTo>
                  <a:cubicBezTo>
                    <a:pt x="8543" y="40387"/>
                    <a:pt x="0" y="31067"/>
                    <a:pt x="0" y="20193"/>
                  </a:cubicBezTo>
                  <a:cubicBezTo>
                    <a:pt x="0" y="8543"/>
                    <a:pt x="9320" y="0"/>
                    <a:pt x="20193" y="0"/>
                  </a:cubicBezTo>
                  <a:lnTo>
                    <a:pt x="301348" y="0"/>
                  </a:lnTo>
                  <a:cubicBezTo>
                    <a:pt x="312998" y="0"/>
                    <a:pt x="321541" y="9320"/>
                    <a:pt x="321541" y="20193"/>
                  </a:cubicBezTo>
                  <a:cubicBezTo>
                    <a:pt x="322318" y="31843"/>
                    <a:pt x="312998" y="40387"/>
                    <a:pt x="301348" y="40387"/>
                  </a:cubicBezTo>
                  <a:lnTo>
                    <a:pt x="301348" y="40387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73" name="Forma Livre: Forma 272">
              <a:extLst>
                <a:ext uri="{FF2B5EF4-FFF2-40B4-BE49-F238E27FC236}">
                  <a16:creationId xmlns:a16="http://schemas.microsoft.com/office/drawing/2014/main" id="{AE684948-8837-4DE1-9B9E-21EE1CD46AAD}"/>
                </a:ext>
              </a:extLst>
            </p:cNvPr>
            <p:cNvSpPr/>
            <p:nvPr/>
          </p:nvSpPr>
          <p:spPr>
            <a:xfrm>
              <a:off x="6476568" y="6573738"/>
              <a:ext cx="156887" cy="40386"/>
            </a:xfrm>
            <a:custGeom>
              <a:avLst/>
              <a:gdLst>
                <a:gd name="connsiteX0" fmla="*/ 136694 w 156887"/>
                <a:gd name="connsiteY0" fmla="*/ 40386 h 40386"/>
                <a:gd name="connsiteX1" fmla="*/ 20193 w 156887"/>
                <a:gd name="connsiteY1" fmla="*/ 40386 h 40386"/>
                <a:gd name="connsiteX2" fmla="*/ 0 w 156887"/>
                <a:gd name="connsiteY2" fmla="*/ 20193 h 40386"/>
                <a:gd name="connsiteX3" fmla="*/ 20193 w 156887"/>
                <a:gd name="connsiteY3" fmla="*/ 0 h 40386"/>
                <a:gd name="connsiteX4" fmla="*/ 136694 w 156887"/>
                <a:gd name="connsiteY4" fmla="*/ 0 h 40386"/>
                <a:gd name="connsiteX5" fmla="*/ 156888 w 156887"/>
                <a:gd name="connsiteY5" fmla="*/ 20193 h 40386"/>
                <a:gd name="connsiteX6" fmla="*/ 136694 w 156887"/>
                <a:gd name="connsiteY6" fmla="*/ 40386 h 40386"/>
                <a:gd name="connsiteX7" fmla="*/ 136694 w 156887"/>
                <a:gd name="connsiteY7" fmla="*/ 40386 h 4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6887" h="40386">
                  <a:moveTo>
                    <a:pt x="136694" y="40386"/>
                  </a:moveTo>
                  <a:lnTo>
                    <a:pt x="20193" y="40386"/>
                  </a:lnTo>
                  <a:cubicBezTo>
                    <a:pt x="8543" y="40386"/>
                    <a:pt x="0" y="31067"/>
                    <a:pt x="0" y="20193"/>
                  </a:cubicBezTo>
                  <a:cubicBezTo>
                    <a:pt x="0" y="8543"/>
                    <a:pt x="9320" y="0"/>
                    <a:pt x="20193" y="0"/>
                  </a:cubicBezTo>
                  <a:lnTo>
                    <a:pt x="136694" y="0"/>
                  </a:lnTo>
                  <a:cubicBezTo>
                    <a:pt x="148344" y="0"/>
                    <a:pt x="156888" y="9320"/>
                    <a:pt x="156888" y="20193"/>
                  </a:cubicBezTo>
                  <a:cubicBezTo>
                    <a:pt x="156888" y="31067"/>
                    <a:pt x="147567" y="40386"/>
                    <a:pt x="136694" y="40386"/>
                  </a:cubicBezTo>
                  <a:lnTo>
                    <a:pt x="136694" y="40386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74" name="Forma Livre: Forma 273">
              <a:extLst>
                <a:ext uri="{FF2B5EF4-FFF2-40B4-BE49-F238E27FC236}">
                  <a16:creationId xmlns:a16="http://schemas.microsoft.com/office/drawing/2014/main" id="{D0090B49-807E-4750-8297-79BA905BA67B}"/>
                </a:ext>
              </a:extLst>
            </p:cNvPr>
            <p:cNvSpPr/>
            <p:nvPr/>
          </p:nvSpPr>
          <p:spPr>
            <a:xfrm>
              <a:off x="6476568" y="6666162"/>
              <a:ext cx="156887" cy="40386"/>
            </a:xfrm>
            <a:custGeom>
              <a:avLst/>
              <a:gdLst>
                <a:gd name="connsiteX0" fmla="*/ 136694 w 156887"/>
                <a:gd name="connsiteY0" fmla="*/ 40387 h 40386"/>
                <a:gd name="connsiteX1" fmla="*/ 20193 w 156887"/>
                <a:gd name="connsiteY1" fmla="*/ 40387 h 40386"/>
                <a:gd name="connsiteX2" fmla="*/ 0 w 156887"/>
                <a:gd name="connsiteY2" fmla="*/ 20194 h 40386"/>
                <a:gd name="connsiteX3" fmla="*/ 20193 w 156887"/>
                <a:gd name="connsiteY3" fmla="*/ 0 h 40386"/>
                <a:gd name="connsiteX4" fmla="*/ 136694 w 156887"/>
                <a:gd name="connsiteY4" fmla="*/ 0 h 40386"/>
                <a:gd name="connsiteX5" fmla="*/ 156888 w 156887"/>
                <a:gd name="connsiteY5" fmla="*/ 20194 h 40386"/>
                <a:gd name="connsiteX6" fmla="*/ 136694 w 156887"/>
                <a:gd name="connsiteY6" fmla="*/ 40387 h 40386"/>
                <a:gd name="connsiteX7" fmla="*/ 136694 w 156887"/>
                <a:gd name="connsiteY7" fmla="*/ 40387 h 4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6887" h="40386">
                  <a:moveTo>
                    <a:pt x="136694" y="40387"/>
                  </a:moveTo>
                  <a:lnTo>
                    <a:pt x="20193" y="40387"/>
                  </a:lnTo>
                  <a:cubicBezTo>
                    <a:pt x="8543" y="40387"/>
                    <a:pt x="0" y="31067"/>
                    <a:pt x="0" y="20194"/>
                  </a:cubicBezTo>
                  <a:cubicBezTo>
                    <a:pt x="0" y="8544"/>
                    <a:pt x="9320" y="0"/>
                    <a:pt x="20193" y="0"/>
                  </a:cubicBezTo>
                  <a:lnTo>
                    <a:pt x="136694" y="0"/>
                  </a:lnTo>
                  <a:cubicBezTo>
                    <a:pt x="148344" y="0"/>
                    <a:pt x="156888" y="9320"/>
                    <a:pt x="156888" y="20194"/>
                  </a:cubicBezTo>
                  <a:cubicBezTo>
                    <a:pt x="156888" y="31067"/>
                    <a:pt x="147567" y="40387"/>
                    <a:pt x="136694" y="40387"/>
                  </a:cubicBezTo>
                  <a:lnTo>
                    <a:pt x="136694" y="40387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75" name="Forma Livre: Forma 274">
              <a:extLst>
                <a:ext uri="{FF2B5EF4-FFF2-40B4-BE49-F238E27FC236}">
                  <a16:creationId xmlns:a16="http://schemas.microsoft.com/office/drawing/2014/main" id="{20F3AE5E-6C0B-4E59-B94D-7218A29DDBFB}"/>
                </a:ext>
              </a:extLst>
            </p:cNvPr>
            <p:cNvSpPr/>
            <p:nvPr/>
          </p:nvSpPr>
          <p:spPr>
            <a:xfrm>
              <a:off x="6475792" y="6758586"/>
              <a:ext cx="212076" cy="40386"/>
            </a:xfrm>
            <a:custGeom>
              <a:avLst/>
              <a:gdLst>
                <a:gd name="connsiteX0" fmla="*/ 191837 w 212076"/>
                <a:gd name="connsiteY0" fmla="*/ 40387 h 40386"/>
                <a:gd name="connsiteX1" fmla="*/ 20193 w 212076"/>
                <a:gd name="connsiteY1" fmla="*/ 40387 h 40386"/>
                <a:gd name="connsiteX2" fmla="*/ 0 w 212076"/>
                <a:gd name="connsiteY2" fmla="*/ 20193 h 40386"/>
                <a:gd name="connsiteX3" fmla="*/ 20193 w 212076"/>
                <a:gd name="connsiteY3" fmla="*/ 0 h 40386"/>
                <a:gd name="connsiteX4" fmla="*/ 191837 w 212076"/>
                <a:gd name="connsiteY4" fmla="*/ 0 h 40386"/>
                <a:gd name="connsiteX5" fmla="*/ 212031 w 212076"/>
                <a:gd name="connsiteY5" fmla="*/ 20193 h 40386"/>
                <a:gd name="connsiteX6" fmla="*/ 191837 w 212076"/>
                <a:gd name="connsiteY6" fmla="*/ 40387 h 40386"/>
                <a:gd name="connsiteX7" fmla="*/ 191837 w 212076"/>
                <a:gd name="connsiteY7" fmla="*/ 40387 h 4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2076" h="40386">
                  <a:moveTo>
                    <a:pt x="191837" y="40387"/>
                  </a:moveTo>
                  <a:lnTo>
                    <a:pt x="20193" y="40387"/>
                  </a:lnTo>
                  <a:cubicBezTo>
                    <a:pt x="8543" y="40387"/>
                    <a:pt x="0" y="31067"/>
                    <a:pt x="0" y="20193"/>
                  </a:cubicBezTo>
                  <a:cubicBezTo>
                    <a:pt x="0" y="8543"/>
                    <a:pt x="9320" y="0"/>
                    <a:pt x="20193" y="0"/>
                  </a:cubicBezTo>
                  <a:lnTo>
                    <a:pt x="191837" y="0"/>
                  </a:lnTo>
                  <a:cubicBezTo>
                    <a:pt x="203487" y="0"/>
                    <a:pt x="212031" y="9320"/>
                    <a:pt x="212031" y="20193"/>
                  </a:cubicBezTo>
                  <a:cubicBezTo>
                    <a:pt x="212807" y="31067"/>
                    <a:pt x="203487" y="40387"/>
                    <a:pt x="191837" y="40387"/>
                  </a:cubicBezTo>
                  <a:lnTo>
                    <a:pt x="191837" y="40387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76" name="Forma Livre: Forma 275">
              <a:extLst>
                <a:ext uri="{FF2B5EF4-FFF2-40B4-BE49-F238E27FC236}">
                  <a16:creationId xmlns:a16="http://schemas.microsoft.com/office/drawing/2014/main" id="{14B7BF41-7688-481B-ADAF-1027A71F68DE}"/>
                </a:ext>
              </a:extLst>
            </p:cNvPr>
            <p:cNvSpPr/>
            <p:nvPr/>
          </p:nvSpPr>
          <p:spPr>
            <a:xfrm>
              <a:off x="6730539" y="6580728"/>
              <a:ext cx="113393" cy="148344"/>
            </a:xfrm>
            <a:custGeom>
              <a:avLst/>
              <a:gdLst>
                <a:gd name="connsiteX0" fmla="*/ 41940 w 113393"/>
                <a:gd name="connsiteY0" fmla="*/ 92424 h 148344"/>
                <a:gd name="connsiteX1" fmla="*/ 64464 w 113393"/>
                <a:gd name="connsiteY1" fmla="*/ 128151 h 148344"/>
                <a:gd name="connsiteX2" fmla="*/ 77667 w 113393"/>
                <a:gd name="connsiteY2" fmla="*/ 125044 h 148344"/>
                <a:gd name="connsiteX3" fmla="*/ 89317 w 113393"/>
                <a:gd name="connsiteY3" fmla="*/ 108734 h 148344"/>
                <a:gd name="connsiteX4" fmla="*/ 95530 w 113393"/>
                <a:gd name="connsiteY4" fmla="*/ 98637 h 148344"/>
                <a:gd name="connsiteX5" fmla="*/ 100967 w 113393"/>
                <a:gd name="connsiteY5" fmla="*/ 96307 h 148344"/>
                <a:gd name="connsiteX6" fmla="*/ 110287 w 113393"/>
                <a:gd name="connsiteY6" fmla="*/ 99414 h 148344"/>
                <a:gd name="connsiteX7" fmla="*/ 113394 w 113393"/>
                <a:gd name="connsiteY7" fmla="*/ 108734 h 148344"/>
                <a:gd name="connsiteX8" fmla="*/ 99414 w 113393"/>
                <a:gd name="connsiteY8" fmla="*/ 135917 h 148344"/>
                <a:gd name="connsiteX9" fmla="*/ 64464 w 113393"/>
                <a:gd name="connsiteY9" fmla="*/ 148344 h 148344"/>
                <a:gd name="connsiteX10" fmla="*/ 31067 w 113393"/>
                <a:gd name="connsiteY10" fmla="*/ 134364 h 148344"/>
                <a:gd name="connsiteX11" fmla="*/ 13980 w 113393"/>
                <a:gd name="connsiteY11" fmla="*/ 92424 h 148344"/>
                <a:gd name="connsiteX12" fmla="*/ 1553 w 113393"/>
                <a:gd name="connsiteY12" fmla="*/ 92424 h 148344"/>
                <a:gd name="connsiteX13" fmla="*/ 0 w 113393"/>
                <a:gd name="connsiteY13" fmla="*/ 90094 h 148344"/>
                <a:gd name="connsiteX14" fmla="*/ 1553 w 113393"/>
                <a:gd name="connsiteY14" fmla="*/ 83880 h 148344"/>
                <a:gd name="connsiteX15" fmla="*/ 4660 w 113393"/>
                <a:gd name="connsiteY15" fmla="*/ 79997 h 148344"/>
                <a:gd name="connsiteX16" fmla="*/ 13203 w 113393"/>
                <a:gd name="connsiteY16" fmla="*/ 79997 h 148344"/>
                <a:gd name="connsiteX17" fmla="*/ 13203 w 113393"/>
                <a:gd name="connsiteY17" fmla="*/ 76114 h 148344"/>
                <a:gd name="connsiteX18" fmla="*/ 13980 w 113393"/>
                <a:gd name="connsiteY18" fmla="*/ 63687 h 148344"/>
                <a:gd name="connsiteX19" fmla="*/ 1553 w 113393"/>
                <a:gd name="connsiteY19" fmla="*/ 63687 h 148344"/>
                <a:gd name="connsiteX20" fmla="*/ 0 w 113393"/>
                <a:gd name="connsiteY20" fmla="*/ 61357 h 148344"/>
                <a:gd name="connsiteX21" fmla="*/ 1553 w 113393"/>
                <a:gd name="connsiteY21" fmla="*/ 55144 h 148344"/>
                <a:gd name="connsiteX22" fmla="*/ 4660 w 113393"/>
                <a:gd name="connsiteY22" fmla="*/ 51261 h 148344"/>
                <a:gd name="connsiteX23" fmla="*/ 14756 w 113393"/>
                <a:gd name="connsiteY23" fmla="*/ 51261 h 148344"/>
                <a:gd name="connsiteX24" fmla="*/ 63687 w 113393"/>
                <a:gd name="connsiteY24" fmla="*/ 0 h 148344"/>
                <a:gd name="connsiteX25" fmla="*/ 95530 w 113393"/>
                <a:gd name="connsiteY25" fmla="*/ 9320 h 148344"/>
                <a:gd name="connsiteX26" fmla="*/ 108734 w 113393"/>
                <a:gd name="connsiteY26" fmla="*/ 33397 h 148344"/>
                <a:gd name="connsiteX27" fmla="*/ 105627 w 113393"/>
                <a:gd name="connsiteY27" fmla="*/ 41940 h 148344"/>
                <a:gd name="connsiteX28" fmla="*/ 97860 w 113393"/>
                <a:gd name="connsiteY28" fmla="*/ 45047 h 148344"/>
                <a:gd name="connsiteX29" fmla="*/ 90871 w 113393"/>
                <a:gd name="connsiteY29" fmla="*/ 42717 h 148344"/>
                <a:gd name="connsiteX30" fmla="*/ 86210 w 113393"/>
                <a:gd name="connsiteY30" fmla="*/ 34950 h 148344"/>
                <a:gd name="connsiteX31" fmla="*/ 79220 w 113393"/>
                <a:gd name="connsiteY31" fmla="*/ 24077 h 148344"/>
                <a:gd name="connsiteX32" fmla="*/ 66017 w 113393"/>
                <a:gd name="connsiteY32" fmla="*/ 20194 h 148344"/>
                <a:gd name="connsiteX33" fmla="*/ 48930 w 113393"/>
                <a:gd name="connsiteY33" fmla="*/ 27960 h 148344"/>
                <a:gd name="connsiteX34" fmla="*/ 41163 w 113393"/>
                <a:gd name="connsiteY34" fmla="*/ 52037 h 148344"/>
                <a:gd name="connsiteX35" fmla="*/ 73007 w 113393"/>
                <a:gd name="connsiteY35" fmla="*/ 52037 h 148344"/>
                <a:gd name="connsiteX36" fmla="*/ 75337 w 113393"/>
                <a:gd name="connsiteY36" fmla="*/ 54367 h 148344"/>
                <a:gd name="connsiteX37" fmla="*/ 73784 w 113393"/>
                <a:gd name="connsiteY37" fmla="*/ 60580 h 148344"/>
                <a:gd name="connsiteX38" fmla="*/ 70677 w 113393"/>
                <a:gd name="connsiteY38" fmla="*/ 64464 h 148344"/>
                <a:gd name="connsiteX39" fmla="*/ 41163 w 113393"/>
                <a:gd name="connsiteY39" fmla="*/ 64464 h 148344"/>
                <a:gd name="connsiteX40" fmla="*/ 41163 w 113393"/>
                <a:gd name="connsiteY40" fmla="*/ 73784 h 148344"/>
                <a:gd name="connsiteX41" fmla="*/ 41163 w 113393"/>
                <a:gd name="connsiteY41" fmla="*/ 79997 h 148344"/>
                <a:gd name="connsiteX42" fmla="*/ 73784 w 113393"/>
                <a:gd name="connsiteY42" fmla="*/ 79997 h 148344"/>
                <a:gd name="connsiteX43" fmla="*/ 76114 w 113393"/>
                <a:gd name="connsiteY43" fmla="*/ 82327 h 148344"/>
                <a:gd name="connsiteX44" fmla="*/ 74560 w 113393"/>
                <a:gd name="connsiteY44" fmla="*/ 88541 h 148344"/>
                <a:gd name="connsiteX45" fmla="*/ 71454 w 113393"/>
                <a:gd name="connsiteY45" fmla="*/ 92424 h 148344"/>
                <a:gd name="connsiteX46" fmla="*/ 41940 w 113393"/>
                <a:gd name="connsiteY46" fmla="*/ 92424 h 14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13393" h="148344">
                  <a:moveTo>
                    <a:pt x="41940" y="92424"/>
                  </a:moveTo>
                  <a:cubicBezTo>
                    <a:pt x="44270" y="115724"/>
                    <a:pt x="52037" y="128151"/>
                    <a:pt x="64464" y="128151"/>
                  </a:cubicBezTo>
                  <a:cubicBezTo>
                    <a:pt x="69123" y="128151"/>
                    <a:pt x="73784" y="126597"/>
                    <a:pt x="77667" y="125044"/>
                  </a:cubicBezTo>
                  <a:cubicBezTo>
                    <a:pt x="81550" y="122714"/>
                    <a:pt x="85434" y="117278"/>
                    <a:pt x="89317" y="108734"/>
                  </a:cubicBezTo>
                  <a:cubicBezTo>
                    <a:pt x="91647" y="103297"/>
                    <a:pt x="93977" y="99414"/>
                    <a:pt x="95530" y="98637"/>
                  </a:cubicBezTo>
                  <a:cubicBezTo>
                    <a:pt x="97084" y="97084"/>
                    <a:pt x="99414" y="96307"/>
                    <a:pt x="100967" y="96307"/>
                  </a:cubicBezTo>
                  <a:cubicBezTo>
                    <a:pt x="104851" y="96307"/>
                    <a:pt x="107957" y="97084"/>
                    <a:pt x="110287" y="99414"/>
                  </a:cubicBezTo>
                  <a:cubicBezTo>
                    <a:pt x="112617" y="101744"/>
                    <a:pt x="113394" y="104851"/>
                    <a:pt x="113394" y="108734"/>
                  </a:cubicBezTo>
                  <a:cubicBezTo>
                    <a:pt x="113394" y="118054"/>
                    <a:pt x="108734" y="127374"/>
                    <a:pt x="99414" y="135917"/>
                  </a:cubicBezTo>
                  <a:cubicBezTo>
                    <a:pt x="90094" y="144461"/>
                    <a:pt x="78444" y="148344"/>
                    <a:pt x="64464" y="148344"/>
                  </a:cubicBezTo>
                  <a:cubicBezTo>
                    <a:pt x="52037" y="148344"/>
                    <a:pt x="40387" y="143684"/>
                    <a:pt x="31067" y="134364"/>
                  </a:cubicBezTo>
                  <a:cubicBezTo>
                    <a:pt x="21747" y="125044"/>
                    <a:pt x="16310" y="111064"/>
                    <a:pt x="13980" y="92424"/>
                  </a:cubicBezTo>
                  <a:lnTo>
                    <a:pt x="1553" y="92424"/>
                  </a:lnTo>
                  <a:cubicBezTo>
                    <a:pt x="0" y="92424"/>
                    <a:pt x="0" y="91647"/>
                    <a:pt x="0" y="90094"/>
                  </a:cubicBezTo>
                  <a:cubicBezTo>
                    <a:pt x="0" y="88541"/>
                    <a:pt x="776" y="86211"/>
                    <a:pt x="1553" y="83880"/>
                  </a:cubicBezTo>
                  <a:cubicBezTo>
                    <a:pt x="3106" y="81550"/>
                    <a:pt x="3883" y="79997"/>
                    <a:pt x="4660" y="79997"/>
                  </a:cubicBezTo>
                  <a:lnTo>
                    <a:pt x="13203" y="79997"/>
                  </a:lnTo>
                  <a:lnTo>
                    <a:pt x="13203" y="76114"/>
                  </a:lnTo>
                  <a:cubicBezTo>
                    <a:pt x="13203" y="73007"/>
                    <a:pt x="13203" y="69124"/>
                    <a:pt x="13980" y="63687"/>
                  </a:cubicBezTo>
                  <a:lnTo>
                    <a:pt x="1553" y="63687"/>
                  </a:lnTo>
                  <a:cubicBezTo>
                    <a:pt x="0" y="63687"/>
                    <a:pt x="0" y="62911"/>
                    <a:pt x="0" y="61357"/>
                  </a:cubicBezTo>
                  <a:cubicBezTo>
                    <a:pt x="0" y="59804"/>
                    <a:pt x="776" y="57474"/>
                    <a:pt x="1553" y="55144"/>
                  </a:cubicBezTo>
                  <a:cubicBezTo>
                    <a:pt x="3106" y="52813"/>
                    <a:pt x="3883" y="51261"/>
                    <a:pt x="4660" y="51261"/>
                  </a:cubicBezTo>
                  <a:lnTo>
                    <a:pt x="14756" y="51261"/>
                  </a:lnTo>
                  <a:cubicBezTo>
                    <a:pt x="19417" y="17087"/>
                    <a:pt x="34950" y="0"/>
                    <a:pt x="63687" y="0"/>
                  </a:cubicBezTo>
                  <a:cubicBezTo>
                    <a:pt x="76114" y="0"/>
                    <a:pt x="86987" y="3107"/>
                    <a:pt x="95530" y="9320"/>
                  </a:cubicBezTo>
                  <a:cubicBezTo>
                    <a:pt x="104851" y="15533"/>
                    <a:pt x="108734" y="23300"/>
                    <a:pt x="108734" y="33397"/>
                  </a:cubicBezTo>
                  <a:cubicBezTo>
                    <a:pt x="108734" y="36504"/>
                    <a:pt x="107957" y="39610"/>
                    <a:pt x="105627" y="41940"/>
                  </a:cubicBezTo>
                  <a:cubicBezTo>
                    <a:pt x="103297" y="44270"/>
                    <a:pt x="100967" y="45047"/>
                    <a:pt x="97860" y="45047"/>
                  </a:cubicBezTo>
                  <a:cubicBezTo>
                    <a:pt x="94754" y="45047"/>
                    <a:pt x="92424" y="44270"/>
                    <a:pt x="90871" y="42717"/>
                  </a:cubicBezTo>
                  <a:cubicBezTo>
                    <a:pt x="89317" y="41163"/>
                    <a:pt x="87764" y="38057"/>
                    <a:pt x="86210" y="34950"/>
                  </a:cubicBezTo>
                  <a:cubicBezTo>
                    <a:pt x="84657" y="30290"/>
                    <a:pt x="82327" y="26407"/>
                    <a:pt x="79220" y="24077"/>
                  </a:cubicBezTo>
                  <a:cubicBezTo>
                    <a:pt x="76890" y="21747"/>
                    <a:pt x="72230" y="20194"/>
                    <a:pt x="66017" y="20194"/>
                  </a:cubicBezTo>
                  <a:cubicBezTo>
                    <a:pt x="59027" y="20194"/>
                    <a:pt x="52813" y="22524"/>
                    <a:pt x="48930" y="27960"/>
                  </a:cubicBezTo>
                  <a:cubicBezTo>
                    <a:pt x="45047" y="33397"/>
                    <a:pt x="42717" y="41163"/>
                    <a:pt x="41163" y="52037"/>
                  </a:cubicBezTo>
                  <a:lnTo>
                    <a:pt x="73007" y="52037"/>
                  </a:lnTo>
                  <a:cubicBezTo>
                    <a:pt x="74560" y="52037"/>
                    <a:pt x="75337" y="52813"/>
                    <a:pt x="75337" y="54367"/>
                  </a:cubicBezTo>
                  <a:cubicBezTo>
                    <a:pt x="75337" y="55920"/>
                    <a:pt x="74560" y="58250"/>
                    <a:pt x="73784" y="60580"/>
                  </a:cubicBezTo>
                  <a:cubicBezTo>
                    <a:pt x="72230" y="62911"/>
                    <a:pt x="71454" y="64464"/>
                    <a:pt x="70677" y="64464"/>
                  </a:cubicBezTo>
                  <a:lnTo>
                    <a:pt x="41163" y="64464"/>
                  </a:lnTo>
                  <a:lnTo>
                    <a:pt x="41163" y="73784"/>
                  </a:lnTo>
                  <a:cubicBezTo>
                    <a:pt x="41163" y="76891"/>
                    <a:pt x="41163" y="79220"/>
                    <a:pt x="41163" y="79997"/>
                  </a:cubicBezTo>
                  <a:lnTo>
                    <a:pt x="73784" y="79997"/>
                  </a:lnTo>
                  <a:cubicBezTo>
                    <a:pt x="75337" y="79997"/>
                    <a:pt x="76114" y="80774"/>
                    <a:pt x="76114" y="82327"/>
                  </a:cubicBezTo>
                  <a:cubicBezTo>
                    <a:pt x="76114" y="83880"/>
                    <a:pt x="75337" y="86211"/>
                    <a:pt x="74560" y="88541"/>
                  </a:cubicBezTo>
                  <a:cubicBezTo>
                    <a:pt x="73007" y="90871"/>
                    <a:pt x="72230" y="92424"/>
                    <a:pt x="71454" y="92424"/>
                  </a:cubicBezTo>
                  <a:lnTo>
                    <a:pt x="41940" y="92424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77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7431718" y="5708146"/>
            <a:ext cx="412472" cy="370783"/>
            <a:chOff x="7737881" y="6388114"/>
            <a:chExt cx="507165" cy="455905"/>
          </a:xfrm>
          <a:solidFill>
            <a:srgbClr val="B1B1A1"/>
          </a:solidFill>
        </p:grpSpPr>
        <p:sp>
          <p:nvSpPr>
            <p:cNvPr id="278" name="Forma Livre: Forma 277">
              <a:extLst>
                <a:ext uri="{FF2B5EF4-FFF2-40B4-BE49-F238E27FC236}">
                  <a16:creationId xmlns:a16="http://schemas.microsoft.com/office/drawing/2014/main" id="{E15D4F58-BAA9-46C2-BB43-382424F8A17E}"/>
                </a:ext>
              </a:extLst>
            </p:cNvPr>
            <p:cNvSpPr/>
            <p:nvPr/>
          </p:nvSpPr>
          <p:spPr>
            <a:xfrm>
              <a:off x="7864478" y="6463451"/>
              <a:ext cx="380568" cy="380568"/>
            </a:xfrm>
            <a:custGeom>
              <a:avLst/>
              <a:gdLst>
                <a:gd name="connsiteX0" fmla="*/ 190284 w 380568"/>
                <a:gd name="connsiteY0" fmla="*/ 380569 h 380568"/>
                <a:gd name="connsiteX1" fmla="*/ 0 w 380568"/>
                <a:gd name="connsiteY1" fmla="*/ 190284 h 380568"/>
                <a:gd name="connsiteX2" fmla="*/ 190284 w 380568"/>
                <a:gd name="connsiteY2" fmla="*/ 0 h 380568"/>
                <a:gd name="connsiteX3" fmla="*/ 380568 w 380568"/>
                <a:gd name="connsiteY3" fmla="*/ 190284 h 380568"/>
                <a:gd name="connsiteX4" fmla="*/ 190284 w 380568"/>
                <a:gd name="connsiteY4" fmla="*/ 380569 h 380568"/>
                <a:gd name="connsiteX5" fmla="*/ 190284 w 380568"/>
                <a:gd name="connsiteY5" fmla="*/ 380569 h 380568"/>
                <a:gd name="connsiteX6" fmla="*/ 190284 w 380568"/>
                <a:gd name="connsiteY6" fmla="*/ 41163 h 380568"/>
                <a:gd name="connsiteX7" fmla="*/ 41163 w 380568"/>
                <a:gd name="connsiteY7" fmla="*/ 190284 h 380568"/>
                <a:gd name="connsiteX8" fmla="*/ 190284 w 380568"/>
                <a:gd name="connsiteY8" fmla="*/ 339405 h 380568"/>
                <a:gd name="connsiteX9" fmla="*/ 339405 w 380568"/>
                <a:gd name="connsiteY9" fmla="*/ 190284 h 380568"/>
                <a:gd name="connsiteX10" fmla="*/ 190284 w 380568"/>
                <a:gd name="connsiteY10" fmla="*/ 41163 h 380568"/>
                <a:gd name="connsiteX11" fmla="*/ 190284 w 380568"/>
                <a:gd name="connsiteY11" fmla="*/ 41163 h 380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0568" h="380568">
                  <a:moveTo>
                    <a:pt x="190284" y="380569"/>
                  </a:moveTo>
                  <a:cubicBezTo>
                    <a:pt x="85434" y="380569"/>
                    <a:pt x="0" y="295135"/>
                    <a:pt x="0" y="190284"/>
                  </a:cubicBezTo>
                  <a:cubicBezTo>
                    <a:pt x="0" y="85434"/>
                    <a:pt x="85434" y="0"/>
                    <a:pt x="190284" y="0"/>
                  </a:cubicBezTo>
                  <a:cubicBezTo>
                    <a:pt x="295134" y="0"/>
                    <a:pt x="380568" y="85434"/>
                    <a:pt x="380568" y="190284"/>
                  </a:cubicBezTo>
                  <a:cubicBezTo>
                    <a:pt x="380568" y="295135"/>
                    <a:pt x="295134" y="380569"/>
                    <a:pt x="190284" y="380569"/>
                  </a:cubicBezTo>
                  <a:lnTo>
                    <a:pt x="190284" y="380569"/>
                  </a:lnTo>
                  <a:close/>
                  <a:moveTo>
                    <a:pt x="190284" y="41163"/>
                  </a:moveTo>
                  <a:cubicBezTo>
                    <a:pt x="107957" y="41163"/>
                    <a:pt x="41163" y="107957"/>
                    <a:pt x="41163" y="190284"/>
                  </a:cubicBezTo>
                  <a:cubicBezTo>
                    <a:pt x="41163" y="272611"/>
                    <a:pt x="107957" y="339405"/>
                    <a:pt x="190284" y="339405"/>
                  </a:cubicBezTo>
                  <a:cubicBezTo>
                    <a:pt x="272612" y="339405"/>
                    <a:pt x="339405" y="272611"/>
                    <a:pt x="339405" y="190284"/>
                  </a:cubicBezTo>
                  <a:cubicBezTo>
                    <a:pt x="339405" y="107957"/>
                    <a:pt x="272612" y="41163"/>
                    <a:pt x="190284" y="41163"/>
                  </a:cubicBezTo>
                  <a:lnTo>
                    <a:pt x="190284" y="41163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79" name="Forma Livre: Forma 278">
              <a:extLst>
                <a:ext uri="{FF2B5EF4-FFF2-40B4-BE49-F238E27FC236}">
                  <a16:creationId xmlns:a16="http://schemas.microsoft.com/office/drawing/2014/main" id="{2C540592-4EDF-4D18-B01D-8F3C9E8C5DAB}"/>
                </a:ext>
              </a:extLst>
            </p:cNvPr>
            <p:cNvSpPr/>
            <p:nvPr/>
          </p:nvSpPr>
          <p:spPr>
            <a:xfrm>
              <a:off x="7929718" y="6528691"/>
              <a:ext cx="250088" cy="250087"/>
            </a:xfrm>
            <a:custGeom>
              <a:avLst/>
              <a:gdLst>
                <a:gd name="connsiteX0" fmla="*/ 125044 w 250088"/>
                <a:gd name="connsiteY0" fmla="*/ 250088 h 250087"/>
                <a:gd name="connsiteX1" fmla="*/ 0 w 250088"/>
                <a:gd name="connsiteY1" fmla="*/ 125044 h 250087"/>
                <a:gd name="connsiteX2" fmla="*/ 125044 w 250088"/>
                <a:gd name="connsiteY2" fmla="*/ 0 h 250087"/>
                <a:gd name="connsiteX3" fmla="*/ 250088 w 250088"/>
                <a:gd name="connsiteY3" fmla="*/ 125044 h 250087"/>
                <a:gd name="connsiteX4" fmla="*/ 125044 w 250088"/>
                <a:gd name="connsiteY4" fmla="*/ 250088 h 250087"/>
                <a:gd name="connsiteX5" fmla="*/ 125044 w 250088"/>
                <a:gd name="connsiteY5" fmla="*/ 250088 h 250087"/>
                <a:gd name="connsiteX6" fmla="*/ 125044 w 250088"/>
                <a:gd name="connsiteY6" fmla="*/ 20194 h 250087"/>
                <a:gd name="connsiteX7" fmla="*/ 20194 w 250088"/>
                <a:gd name="connsiteY7" fmla="*/ 125044 h 250087"/>
                <a:gd name="connsiteX8" fmla="*/ 125044 w 250088"/>
                <a:gd name="connsiteY8" fmla="*/ 229895 h 250087"/>
                <a:gd name="connsiteX9" fmla="*/ 229894 w 250088"/>
                <a:gd name="connsiteY9" fmla="*/ 125044 h 250087"/>
                <a:gd name="connsiteX10" fmla="*/ 125044 w 250088"/>
                <a:gd name="connsiteY10" fmla="*/ 20194 h 250087"/>
                <a:gd name="connsiteX11" fmla="*/ 125044 w 250088"/>
                <a:gd name="connsiteY11" fmla="*/ 20194 h 250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0088" h="250087">
                  <a:moveTo>
                    <a:pt x="125044" y="250088"/>
                  </a:moveTo>
                  <a:cubicBezTo>
                    <a:pt x="55920" y="250088"/>
                    <a:pt x="0" y="194168"/>
                    <a:pt x="0" y="125044"/>
                  </a:cubicBezTo>
                  <a:cubicBezTo>
                    <a:pt x="0" y="55920"/>
                    <a:pt x="55920" y="0"/>
                    <a:pt x="125044" y="0"/>
                  </a:cubicBezTo>
                  <a:cubicBezTo>
                    <a:pt x="194168" y="0"/>
                    <a:pt x="250088" y="55920"/>
                    <a:pt x="250088" y="125044"/>
                  </a:cubicBezTo>
                  <a:cubicBezTo>
                    <a:pt x="250088" y="194168"/>
                    <a:pt x="194168" y="250088"/>
                    <a:pt x="125044" y="250088"/>
                  </a:cubicBezTo>
                  <a:lnTo>
                    <a:pt x="125044" y="250088"/>
                  </a:lnTo>
                  <a:close/>
                  <a:moveTo>
                    <a:pt x="125044" y="20194"/>
                  </a:moveTo>
                  <a:cubicBezTo>
                    <a:pt x="67570" y="20194"/>
                    <a:pt x="20194" y="66794"/>
                    <a:pt x="20194" y="125044"/>
                  </a:cubicBezTo>
                  <a:cubicBezTo>
                    <a:pt x="20194" y="182518"/>
                    <a:pt x="66794" y="229895"/>
                    <a:pt x="125044" y="229895"/>
                  </a:cubicBezTo>
                  <a:cubicBezTo>
                    <a:pt x="182518" y="229895"/>
                    <a:pt x="229894" y="183295"/>
                    <a:pt x="229894" y="125044"/>
                  </a:cubicBezTo>
                  <a:cubicBezTo>
                    <a:pt x="229118" y="66794"/>
                    <a:pt x="182518" y="20194"/>
                    <a:pt x="125044" y="20194"/>
                  </a:cubicBezTo>
                  <a:lnTo>
                    <a:pt x="125044" y="20194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80" name="Forma Livre: Forma 279">
              <a:extLst>
                <a:ext uri="{FF2B5EF4-FFF2-40B4-BE49-F238E27FC236}">
                  <a16:creationId xmlns:a16="http://schemas.microsoft.com/office/drawing/2014/main" id="{E13AB54E-0D08-4692-A063-8B39592C4FA0}"/>
                </a:ext>
              </a:extLst>
            </p:cNvPr>
            <p:cNvSpPr/>
            <p:nvPr/>
          </p:nvSpPr>
          <p:spPr>
            <a:xfrm>
              <a:off x="7737881" y="6481314"/>
              <a:ext cx="256301" cy="40386"/>
            </a:xfrm>
            <a:custGeom>
              <a:avLst/>
              <a:gdLst>
                <a:gd name="connsiteX0" fmla="*/ 236108 w 256301"/>
                <a:gd name="connsiteY0" fmla="*/ 40387 h 40386"/>
                <a:gd name="connsiteX1" fmla="*/ 20193 w 256301"/>
                <a:gd name="connsiteY1" fmla="*/ 40387 h 40386"/>
                <a:gd name="connsiteX2" fmla="*/ 0 w 256301"/>
                <a:gd name="connsiteY2" fmla="*/ 20193 h 40386"/>
                <a:gd name="connsiteX3" fmla="*/ 20193 w 256301"/>
                <a:gd name="connsiteY3" fmla="*/ 0 h 40386"/>
                <a:gd name="connsiteX4" fmla="*/ 236108 w 256301"/>
                <a:gd name="connsiteY4" fmla="*/ 0 h 40386"/>
                <a:gd name="connsiteX5" fmla="*/ 256301 w 256301"/>
                <a:gd name="connsiteY5" fmla="*/ 20193 h 40386"/>
                <a:gd name="connsiteX6" fmla="*/ 236108 w 256301"/>
                <a:gd name="connsiteY6" fmla="*/ 40387 h 40386"/>
                <a:gd name="connsiteX7" fmla="*/ 236108 w 256301"/>
                <a:gd name="connsiteY7" fmla="*/ 40387 h 4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6301" h="40386">
                  <a:moveTo>
                    <a:pt x="236108" y="40387"/>
                  </a:moveTo>
                  <a:lnTo>
                    <a:pt x="20193" y="40387"/>
                  </a:lnTo>
                  <a:cubicBezTo>
                    <a:pt x="8543" y="40387"/>
                    <a:pt x="0" y="31067"/>
                    <a:pt x="0" y="20193"/>
                  </a:cubicBezTo>
                  <a:cubicBezTo>
                    <a:pt x="0" y="8543"/>
                    <a:pt x="9320" y="0"/>
                    <a:pt x="20193" y="0"/>
                  </a:cubicBezTo>
                  <a:lnTo>
                    <a:pt x="236108" y="0"/>
                  </a:lnTo>
                  <a:cubicBezTo>
                    <a:pt x="247758" y="0"/>
                    <a:pt x="256301" y="9320"/>
                    <a:pt x="256301" y="20193"/>
                  </a:cubicBezTo>
                  <a:cubicBezTo>
                    <a:pt x="256301" y="31067"/>
                    <a:pt x="247758" y="40387"/>
                    <a:pt x="236108" y="40387"/>
                  </a:cubicBezTo>
                  <a:lnTo>
                    <a:pt x="236108" y="40387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81" name="Forma Livre: Forma 280">
              <a:extLst>
                <a:ext uri="{FF2B5EF4-FFF2-40B4-BE49-F238E27FC236}">
                  <a16:creationId xmlns:a16="http://schemas.microsoft.com/office/drawing/2014/main" id="{6A64897B-7150-41B2-8BBA-8A17AD643FCD}"/>
                </a:ext>
              </a:extLst>
            </p:cNvPr>
            <p:cNvSpPr/>
            <p:nvPr/>
          </p:nvSpPr>
          <p:spPr>
            <a:xfrm>
              <a:off x="7737881" y="6388114"/>
              <a:ext cx="321541" cy="40386"/>
            </a:xfrm>
            <a:custGeom>
              <a:avLst/>
              <a:gdLst>
                <a:gd name="connsiteX0" fmla="*/ 301348 w 321541"/>
                <a:gd name="connsiteY0" fmla="*/ 40387 h 40386"/>
                <a:gd name="connsiteX1" fmla="*/ 20193 w 321541"/>
                <a:gd name="connsiteY1" fmla="*/ 40387 h 40386"/>
                <a:gd name="connsiteX2" fmla="*/ 0 w 321541"/>
                <a:gd name="connsiteY2" fmla="*/ 20193 h 40386"/>
                <a:gd name="connsiteX3" fmla="*/ 20193 w 321541"/>
                <a:gd name="connsiteY3" fmla="*/ 0 h 40386"/>
                <a:gd name="connsiteX4" fmla="*/ 301348 w 321541"/>
                <a:gd name="connsiteY4" fmla="*/ 0 h 40386"/>
                <a:gd name="connsiteX5" fmla="*/ 321541 w 321541"/>
                <a:gd name="connsiteY5" fmla="*/ 20193 h 40386"/>
                <a:gd name="connsiteX6" fmla="*/ 301348 w 321541"/>
                <a:gd name="connsiteY6" fmla="*/ 40387 h 40386"/>
                <a:gd name="connsiteX7" fmla="*/ 301348 w 321541"/>
                <a:gd name="connsiteY7" fmla="*/ 40387 h 4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1541" h="40386">
                  <a:moveTo>
                    <a:pt x="301348" y="40387"/>
                  </a:moveTo>
                  <a:lnTo>
                    <a:pt x="20193" y="40387"/>
                  </a:lnTo>
                  <a:cubicBezTo>
                    <a:pt x="8543" y="40387"/>
                    <a:pt x="0" y="31067"/>
                    <a:pt x="0" y="20193"/>
                  </a:cubicBezTo>
                  <a:cubicBezTo>
                    <a:pt x="0" y="8543"/>
                    <a:pt x="9320" y="0"/>
                    <a:pt x="20193" y="0"/>
                  </a:cubicBezTo>
                  <a:lnTo>
                    <a:pt x="301348" y="0"/>
                  </a:lnTo>
                  <a:cubicBezTo>
                    <a:pt x="312998" y="0"/>
                    <a:pt x="321541" y="9320"/>
                    <a:pt x="321541" y="20193"/>
                  </a:cubicBezTo>
                  <a:cubicBezTo>
                    <a:pt x="321541" y="31843"/>
                    <a:pt x="312998" y="40387"/>
                    <a:pt x="301348" y="40387"/>
                  </a:cubicBezTo>
                  <a:lnTo>
                    <a:pt x="301348" y="40387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82" name="Forma Livre: Forma 281">
              <a:extLst>
                <a:ext uri="{FF2B5EF4-FFF2-40B4-BE49-F238E27FC236}">
                  <a16:creationId xmlns:a16="http://schemas.microsoft.com/office/drawing/2014/main" id="{89B18330-4435-4F9A-8785-175300F9218B}"/>
                </a:ext>
              </a:extLst>
            </p:cNvPr>
            <p:cNvSpPr/>
            <p:nvPr/>
          </p:nvSpPr>
          <p:spPr>
            <a:xfrm>
              <a:off x="7737881" y="6573738"/>
              <a:ext cx="156887" cy="40386"/>
            </a:xfrm>
            <a:custGeom>
              <a:avLst/>
              <a:gdLst>
                <a:gd name="connsiteX0" fmla="*/ 136694 w 156887"/>
                <a:gd name="connsiteY0" fmla="*/ 40386 h 40386"/>
                <a:gd name="connsiteX1" fmla="*/ 20193 w 156887"/>
                <a:gd name="connsiteY1" fmla="*/ 40386 h 40386"/>
                <a:gd name="connsiteX2" fmla="*/ 0 w 156887"/>
                <a:gd name="connsiteY2" fmla="*/ 20193 h 40386"/>
                <a:gd name="connsiteX3" fmla="*/ 20193 w 156887"/>
                <a:gd name="connsiteY3" fmla="*/ 0 h 40386"/>
                <a:gd name="connsiteX4" fmla="*/ 136694 w 156887"/>
                <a:gd name="connsiteY4" fmla="*/ 0 h 40386"/>
                <a:gd name="connsiteX5" fmla="*/ 156887 w 156887"/>
                <a:gd name="connsiteY5" fmla="*/ 20193 h 40386"/>
                <a:gd name="connsiteX6" fmla="*/ 136694 w 156887"/>
                <a:gd name="connsiteY6" fmla="*/ 40386 h 40386"/>
                <a:gd name="connsiteX7" fmla="*/ 136694 w 156887"/>
                <a:gd name="connsiteY7" fmla="*/ 40386 h 4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6887" h="40386">
                  <a:moveTo>
                    <a:pt x="136694" y="40386"/>
                  </a:moveTo>
                  <a:lnTo>
                    <a:pt x="20193" y="40386"/>
                  </a:lnTo>
                  <a:cubicBezTo>
                    <a:pt x="8543" y="40386"/>
                    <a:pt x="0" y="31067"/>
                    <a:pt x="0" y="20193"/>
                  </a:cubicBezTo>
                  <a:cubicBezTo>
                    <a:pt x="0" y="8543"/>
                    <a:pt x="9320" y="0"/>
                    <a:pt x="20193" y="0"/>
                  </a:cubicBezTo>
                  <a:lnTo>
                    <a:pt x="136694" y="0"/>
                  </a:lnTo>
                  <a:cubicBezTo>
                    <a:pt x="148344" y="0"/>
                    <a:pt x="156887" y="9320"/>
                    <a:pt x="156887" y="20193"/>
                  </a:cubicBezTo>
                  <a:cubicBezTo>
                    <a:pt x="156887" y="31067"/>
                    <a:pt x="148344" y="40386"/>
                    <a:pt x="136694" y="40386"/>
                  </a:cubicBezTo>
                  <a:lnTo>
                    <a:pt x="136694" y="40386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83" name="Forma Livre: Forma 282">
              <a:extLst>
                <a:ext uri="{FF2B5EF4-FFF2-40B4-BE49-F238E27FC236}">
                  <a16:creationId xmlns:a16="http://schemas.microsoft.com/office/drawing/2014/main" id="{A4162F42-53C5-4382-89C4-513AA7B080A5}"/>
                </a:ext>
              </a:extLst>
            </p:cNvPr>
            <p:cNvSpPr/>
            <p:nvPr/>
          </p:nvSpPr>
          <p:spPr>
            <a:xfrm>
              <a:off x="7737881" y="6666162"/>
              <a:ext cx="156887" cy="40386"/>
            </a:xfrm>
            <a:custGeom>
              <a:avLst/>
              <a:gdLst>
                <a:gd name="connsiteX0" fmla="*/ 136694 w 156887"/>
                <a:gd name="connsiteY0" fmla="*/ 40387 h 40386"/>
                <a:gd name="connsiteX1" fmla="*/ 20193 w 156887"/>
                <a:gd name="connsiteY1" fmla="*/ 40387 h 40386"/>
                <a:gd name="connsiteX2" fmla="*/ 0 w 156887"/>
                <a:gd name="connsiteY2" fmla="*/ 20194 h 40386"/>
                <a:gd name="connsiteX3" fmla="*/ 20193 w 156887"/>
                <a:gd name="connsiteY3" fmla="*/ 0 h 40386"/>
                <a:gd name="connsiteX4" fmla="*/ 136694 w 156887"/>
                <a:gd name="connsiteY4" fmla="*/ 0 h 40386"/>
                <a:gd name="connsiteX5" fmla="*/ 156887 w 156887"/>
                <a:gd name="connsiteY5" fmla="*/ 20194 h 40386"/>
                <a:gd name="connsiteX6" fmla="*/ 136694 w 156887"/>
                <a:gd name="connsiteY6" fmla="*/ 40387 h 40386"/>
                <a:gd name="connsiteX7" fmla="*/ 136694 w 156887"/>
                <a:gd name="connsiteY7" fmla="*/ 40387 h 4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6887" h="40386">
                  <a:moveTo>
                    <a:pt x="136694" y="40387"/>
                  </a:moveTo>
                  <a:lnTo>
                    <a:pt x="20193" y="40387"/>
                  </a:lnTo>
                  <a:cubicBezTo>
                    <a:pt x="8543" y="40387"/>
                    <a:pt x="0" y="31067"/>
                    <a:pt x="0" y="20194"/>
                  </a:cubicBezTo>
                  <a:cubicBezTo>
                    <a:pt x="0" y="8544"/>
                    <a:pt x="9320" y="0"/>
                    <a:pt x="20193" y="0"/>
                  </a:cubicBezTo>
                  <a:lnTo>
                    <a:pt x="136694" y="0"/>
                  </a:lnTo>
                  <a:cubicBezTo>
                    <a:pt x="148344" y="0"/>
                    <a:pt x="156887" y="9320"/>
                    <a:pt x="156887" y="20194"/>
                  </a:cubicBezTo>
                  <a:cubicBezTo>
                    <a:pt x="156887" y="31067"/>
                    <a:pt x="148344" y="40387"/>
                    <a:pt x="136694" y="40387"/>
                  </a:cubicBezTo>
                  <a:lnTo>
                    <a:pt x="136694" y="40387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84" name="Forma Livre: Forma 283">
              <a:extLst>
                <a:ext uri="{FF2B5EF4-FFF2-40B4-BE49-F238E27FC236}">
                  <a16:creationId xmlns:a16="http://schemas.microsoft.com/office/drawing/2014/main" id="{91D838FC-4744-4613-8E36-4D060B25D011}"/>
                </a:ext>
              </a:extLst>
            </p:cNvPr>
            <p:cNvSpPr/>
            <p:nvPr/>
          </p:nvSpPr>
          <p:spPr>
            <a:xfrm>
              <a:off x="7737881" y="6758586"/>
              <a:ext cx="212030" cy="40386"/>
            </a:xfrm>
            <a:custGeom>
              <a:avLst/>
              <a:gdLst>
                <a:gd name="connsiteX0" fmla="*/ 191837 w 212030"/>
                <a:gd name="connsiteY0" fmla="*/ 40387 h 40386"/>
                <a:gd name="connsiteX1" fmla="*/ 20193 w 212030"/>
                <a:gd name="connsiteY1" fmla="*/ 40387 h 40386"/>
                <a:gd name="connsiteX2" fmla="*/ 0 w 212030"/>
                <a:gd name="connsiteY2" fmla="*/ 20193 h 40386"/>
                <a:gd name="connsiteX3" fmla="*/ 20193 w 212030"/>
                <a:gd name="connsiteY3" fmla="*/ 0 h 40386"/>
                <a:gd name="connsiteX4" fmla="*/ 191837 w 212030"/>
                <a:gd name="connsiteY4" fmla="*/ 0 h 40386"/>
                <a:gd name="connsiteX5" fmla="*/ 212031 w 212030"/>
                <a:gd name="connsiteY5" fmla="*/ 20193 h 40386"/>
                <a:gd name="connsiteX6" fmla="*/ 191837 w 212030"/>
                <a:gd name="connsiteY6" fmla="*/ 40387 h 40386"/>
                <a:gd name="connsiteX7" fmla="*/ 191837 w 212030"/>
                <a:gd name="connsiteY7" fmla="*/ 40387 h 4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2030" h="40386">
                  <a:moveTo>
                    <a:pt x="191837" y="40387"/>
                  </a:moveTo>
                  <a:lnTo>
                    <a:pt x="20193" y="40387"/>
                  </a:lnTo>
                  <a:cubicBezTo>
                    <a:pt x="8543" y="40387"/>
                    <a:pt x="0" y="31067"/>
                    <a:pt x="0" y="20193"/>
                  </a:cubicBezTo>
                  <a:cubicBezTo>
                    <a:pt x="0" y="8543"/>
                    <a:pt x="9320" y="0"/>
                    <a:pt x="20193" y="0"/>
                  </a:cubicBezTo>
                  <a:lnTo>
                    <a:pt x="191837" y="0"/>
                  </a:lnTo>
                  <a:cubicBezTo>
                    <a:pt x="203487" y="0"/>
                    <a:pt x="212031" y="9320"/>
                    <a:pt x="212031" y="20193"/>
                  </a:cubicBezTo>
                  <a:cubicBezTo>
                    <a:pt x="212031" y="31067"/>
                    <a:pt x="202711" y="40387"/>
                    <a:pt x="191837" y="40387"/>
                  </a:cubicBezTo>
                  <a:lnTo>
                    <a:pt x="191837" y="40387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85" name="Forma Livre: Forma 284">
              <a:extLst>
                <a:ext uri="{FF2B5EF4-FFF2-40B4-BE49-F238E27FC236}">
                  <a16:creationId xmlns:a16="http://schemas.microsoft.com/office/drawing/2014/main" id="{0AD876EA-4142-44B1-B6F7-BC3147461010}"/>
                </a:ext>
              </a:extLst>
            </p:cNvPr>
            <p:cNvSpPr/>
            <p:nvPr/>
          </p:nvSpPr>
          <p:spPr>
            <a:xfrm>
              <a:off x="7996512" y="6579175"/>
              <a:ext cx="118830" cy="149897"/>
            </a:xfrm>
            <a:custGeom>
              <a:avLst/>
              <a:gdLst>
                <a:gd name="connsiteX0" fmla="*/ 48154 w 118830"/>
                <a:gd name="connsiteY0" fmla="*/ 66017 h 149897"/>
                <a:gd name="connsiteX1" fmla="*/ 62910 w 118830"/>
                <a:gd name="connsiteY1" fmla="*/ 66017 h 149897"/>
                <a:gd name="connsiteX2" fmla="*/ 75337 w 118830"/>
                <a:gd name="connsiteY2" fmla="*/ 67570 h 149897"/>
                <a:gd name="connsiteX3" fmla="*/ 79997 w 118830"/>
                <a:gd name="connsiteY3" fmla="*/ 75337 h 149897"/>
                <a:gd name="connsiteX4" fmla="*/ 76890 w 118830"/>
                <a:gd name="connsiteY4" fmla="*/ 82327 h 149897"/>
                <a:gd name="connsiteX5" fmla="*/ 69123 w 118830"/>
                <a:gd name="connsiteY5" fmla="*/ 84657 h 149897"/>
                <a:gd name="connsiteX6" fmla="*/ 51260 w 118830"/>
                <a:gd name="connsiteY6" fmla="*/ 84657 h 149897"/>
                <a:gd name="connsiteX7" fmla="*/ 51260 w 118830"/>
                <a:gd name="connsiteY7" fmla="*/ 86211 h 149897"/>
                <a:gd name="connsiteX8" fmla="*/ 46600 w 118830"/>
                <a:gd name="connsiteY8" fmla="*/ 104851 h 149897"/>
                <a:gd name="connsiteX9" fmla="*/ 31067 w 118830"/>
                <a:gd name="connsiteY9" fmla="*/ 125821 h 149897"/>
                <a:gd name="connsiteX10" fmla="*/ 37280 w 118830"/>
                <a:gd name="connsiteY10" fmla="*/ 124267 h 149897"/>
                <a:gd name="connsiteX11" fmla="*/ 44270 w 118830"/>
                <a:gd name="connsiteY11" fmla="*/ 122714 h 149897"/>
                <a:gd name="connsiteX12" fmla="*/ 52813 w 118830"/>
                <a:gd name="connsiteY12" fmla="*/ 121937 h 149897"/>
                <a:gd name="connsiteX13" fmla="*/ 71454 w 118830"/>
                <a:gd name="connsiteY13" fmla="*/ 123491 h 149897"/>
                <a:gd name="connsiteX14" fmla="*/ 86987 w 118830"/>
                <a:gd name="connsiteY14" fmla="*/ 125044 h 149897"/>
                <a:gd name="connsiteX15" fmla="*/ 99414 w 118830"/>
                <a:gd name="connsiteY15" fmla="*/ 122714 h 149897"/>
                <a:gd name="connsiteX16" fmla="*/ 107957 w 118830"/>
                <a:gd name="connsiteY16" fmla="*/ 120384 h 149897"/>
                <a:gd name="connsiteX17" fmla="*/ 115724 w 118830"/>
                <a:gd name="connsiteY17" fmla="*/ 124267 h 149897"/>
                <a:gd name="connsiteX18" fmla="*/ 118830 w 118830"/>
                <a:gd name="connsiteY18" fmla="*/ 132811 h 149897"/>
                <a:gd name="connsiteX19" fmla="*/ 109511 w 118830"/>
                <a:gd name="connsiteY19" fmla="*/ 145237 h 149897"/>
                <a:gd name="connsiteX20" fmla="*/ 90094 w 118830"/>
                <a:gd name="connsiteY20" fmla="*/ 149898 h 149897"/>
                <a:gd name="connsiteX21" fmla="*/ 53590 w 118830"/>
                <a:gd name="connsiteY21" fmla="*/ 142908 h 149897"/>
                <a:gd name="connsiteX22" fmla="*/ 51260 w 118830"/>
                <a:gd name="connsiteY22" fmla="*/ 142131 h 149897"/>
                <a:gd name="connsiteX23" fmla="*/ 46600 w 118830"/>
                <a:gd name="connsiteY23" fmla="*/ 141354 h 149897"/>
                <a:gd name="connsiteX24" fmla="*/ 39610 w 118830"/>
                <a:gd name="connsiteY24" fmla="*/ 140578 h 149897"/>
                <a:gd name="connsiteX25" fmla="*/ 32620 w 118830"/>
                <a:gd name="connsiteY25" fmla="*/ 142131 h 149897"/>
                <a:gd name="connsiteX26" fmla="*/ 21747 w 118830"/>
                <a:gd name="connsiteY26" fmla="*/ 146791 h 149897"/>
                <a:gd name="connsiteX27" fmla="*/ 10873 w 118830"/>
                <a:gd name="connsiteY27" fmla="*/ 149898 h 149897"/>
                <a:gd name="connsiteX28" fmla="*/ 3883 w 118830"/>
                <a:gd name="connsiteY28" fmla="*/ 146791 h 149897"/>
                <a:gd name="connsiteX29" fmla="*/ 0 w 118830"/>
                <a:gd name="connsiteY29" fmla="*/ 137471 h 149897"/>
                <a:gd name="connsiteX30" fmla="*/ 1553 w 118830"/>
                <a:gd name="connsiteY30" fmla="*/ 132811 h 149897"/>
                <a:gd name="connsiteX31" fmla="*/ 5437 w 118830"/>
                <a:gd name="connsiteY31" fmla="*/ 127374 h 149897"/>
                <a:gd name="connsiteX32" fmla="*/ 13980 w 118830"/>
                <a:gd name="connsiteY32" fmla="*/ 119607 h 149897"/>
                <a:gd name="connsiteX33" fmla="*/ 22523 w 118830"/>
                <a:gd name="connsiteY33" fmla="*/ 107957 h 149897"/>
                <a:gd name="connsiteX34" fmla="*/ 25630 w 118830"/>
                <a:gd name="connsiteY34" fmla="*/ 93200 h 149897"/>
                <a:gd name="connsiteX35" fmla="*/ 24854 w 118830"/>
                <a:gd name="connsiteY35" fmla="*/ 84657 h 149897"/>
                <a:gd name="connsiteX36" fmla="*/ 16310 w 118830"/>
                <a:gd name="connsiteY36" fmla="*/ 84657 h 149897"/>
                <a:gd name="connsiteX37" fmla="*/ 5437 w 118830"/>
                <a:gd name="connsiteY37" fmla="*/ 83104 h 149897"/>
                <a:gd name="connsiteX38" fmla="*/ 1553 w 118830"/>
                <a:gd name="connsiteY38" fmla="*/ 76114 h 149897"/>
                <a:gd name="connsiteX39" fmla="*/ 13980 w 118830"/>
                <a:gd name="connsiteY39" fmla="*/ 66017 h 149897"/>
                <a:gd name="connsiteX40" fmla="*/ 20193 w 118830"/>
                <a:gd name="connsiteY40" fmla="*/ 66017 h 149897"/>
                <a:gd name="connsiteX41" fmla="*/ 15533 w 118830"/>
                <a:gd name="connsiteY41" fmla="*/ 41940 h 149897"/>
                <a:gd name="connsiteX42" fmla="*/ 20970 w 118830"/>
                <a:gd name="connsiteY42" fmla="*/ 20194 h 149897"/>
                <a:gd name="connsiteX43" fmla="*/ 37280 w 118830"/>
                <a:gd name="connsiteY43" fmla="*/ 5437 h 149897"/>
                <a:gd name="connsiteX44" fmla="*/ 61357 w 118830"/>
                <a:gd name="connsiteY44" fmla="*/ 0 h 149897"/>
                <a:gd name="connsiteX45" fmla="*/ 82327 w 118830"/>
                <a:gd name="connsiteY45" fmla="*/ 3107 h 149897"/>
                <a:gd name="connsiteX46" fmla="*/ 97860 w 118830"/>
                <a:gd name="connsiteY46" fmla="*/ 13203 h 149897"/>
                <a:gd name="connsiteX47" fmla="*/ 109511 w 118830"/>
                <a:gd name="connsiteY47" fmla="*/ 38834 h 149897"/>
                <a:gd name="connsiteX48" fmla="*/ 105627 w 118830"/>
                <a:gd name="connsiteY48" fmla="*/ 47377 h 149897"/>
                <a:gd name="connsiteX49" fmla="*/ 96307 w 118830"/>
                <a:gd name="connsiteY49" fmla="*/ 51261 h 149897"/>
                <a:gd name="connsiteX50" fmla="*/ 83880 w 118830"/>
                <a:gd name="connsiteY50" fmla="*/ 40387 h 149897"/>
                <a:gd name="connsiteX51" fmla="*/ 76114 w 118830"/>
                <a:gd name="connsiteY51" fmla="*/ 24854 h 149897"/>
                <a:gd name="connsiteX52" fmla="*/ 62910 w 118830"/>
                <a:gd name="connsiteY52" fmla="*/ 20194 h 149897"/>
                <a:gd name="connsiteX53" fmla="*/ 48154 w 118830"/>
                <a:gd name="connsiteY53" fmla="*/ 26407 h 149897"/>
                <a:gd name="connsiteX54" fmla="*/ 42717 w 118830"/>
                <a:gd name="connsiteY54" fmla="*/ 41940 h 149897"/>
                <a:gd name="connsiteX55" fmla="*/ 44270 w 118830"/>
                <a:gd name="connsiteY55" fmla="*/ 52814 h 149897"/>
                <a:gd name="connsiteX56" fmla="*/ 48154 w 118830"/>
                <a:gd name="connsiteY56" fmla="*/ 66017 h 149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118830" h="149897">
                  <a:moveTo>
                    <a:pt x="48154" y="66017"/>
                  </a:moveTo>
                  <a:lnTo>
                    <a:pt x="62910" y="66017"/>
                  </a:lnTo>
                  <a:cubicBezTo>
                    <a:pt x="68347" y="66017"/>
                    <a:pt x="72230" y="66794"/>
                    <a:pt x="75337" y="67570"/>
                  </a:cubicBezTo>
                  <a:cubicBezTo>
                    <a:pt x="78444" y="68347"/>
                    <a:pt x="79997" y="71454"/>
                    <a:pt x="79997" y="75337"/>
                  </a:cubicBezTo>
                  <a:cubicBezTo>
                    <a:pt x="79997" y="78444"/>
                    <a:pt x="79220" y="79997"/>
                    <a:pt x="76890" y="82327"/>
                  </a:cubicBezTo>
                  <a:cubicBezTo>
                    <a:pt x="74560" y="83881"/>
                    <a:pt x="72230" y="84657"/>
                    <a:pt x="69123" y="84657"/>
                  </a:cubicBezTo>
                  <a:lnTo>
                    <a:pt x="51260" y="84657"/>
                  </a:lnTo>
                  <a:lnTo>
                    <a:pt x="51260" y="86211"/>
                  </a:lnTo>
                  <a:cubicBezTo>
                    <a:pt x="51260" y="93200"/>
                    <a:pt x="49707" y="98637"/>
                    <a:pt x="46600" y="104851"/>
                  </a:cubicBezTo>
                  <a:cubicBezTo>
                    <a:pt x="43493" y="110287"/>
                    <a:pt x="38057" y="117278"/>
                    <a:pt x="31067" y="125821"/>
                  </a:cubicBezTo>
                  <a:cubicBezTo>
                    <a:pt x="33397" y="125044"/>
                    <a:pt x="35727" y="125044"/>
                    <a:pt x="37280" y="124267"/>
                  </a:cubicBezTo>
                  <a:cubicBezTo>
                    <a:pt x="39610" y="123491"/>
                    <a:pt x="41940" y="123491"/>
                    <a:pt x="44270" y="122714"/>
                  </a:cubicBezTo>
                  <a:cubicBezTo>
                    <a:pt x="46600" y="122714"/>
                    <a:pt x="49707" y="121937"/>
                    <a:pt x="52813" y="121937"/>
                  </a:cubicBezTo>
                  <a:cubicBezTo>
                    <a:pt x="57473" y="121937"/>
                    <a:pt x="63687" y="122714"/>
                    <a:pt x="71454" y="123491"/>
                  </a:cubicBezTo>
                  <a:cubicBezTo>
                    <a:pt x="79220" y="124267"/>
                    <a:pt x="84657" y="125044"/>
                    <a:pt x="86987" y="125044"/>
                  </a:cubicBezTo>
                  <a:cubicBezTo>
                    <a:pt x="90871" y="125044"/>
                    <a:pt x="94754" y="124267"/>
                    <a:pt x="99414" y="122714"/>
                  </a:cubicBezTo>
                  <a:cubicBezTo>
                    <a:pt x="104074" y="121161"/>
                    <a:pt x="106404" y="120384"/>
                    <a:pt x="107957" y="120384"/>
                  </a:cubicBezTo>
                  <a:cubicBezTo>
                    <a:pt x="111064" y="120384"/>
                    <a:pt x="113394" y="121937"/>
                    <a:pt x="115724" y="124267"/>
                  </a:cubicBezTo>
                  <a:cubicBezTo>
                    <a:pt x="118054" y="126598"/>
                    <a:pt x="118830" y="129704"/>
                    <a:pt x="118830" y="132811"/>
                  </a:cubicBezTo>
                  <a:cubicBezTo>
                    <a:pt x="118830" y="138248"/>
                    <a:pt x="115724" y="142131"/>
                    <a:pt x="109511" y="145237"/>
                  </a:cubicBezTo>
                  <a:cubicBezTo>
                    <a:pt x="103297" y="148344"/>
                    <a:pt x="97084" y="149898"/>
                    <a:pt x="90094" y="149898"/>
                  </a:cubicBezTo>
                  <a:cubicBezTo>
                    <a:pt x="85434" y="149898"/>
                    <a:pt x="73784" y="147567"/>
                    <a:pt x="53590" y="142908"/>
                  </a:cubicBezTo>
                  <a:cubicBezTo>
                    <a:pt x="52813" y="142908"/>
                    <a:pt x="52037" y="142131"/>
                    <a:pt x="51260" y="142131"/>
                  </a:cubicBezTo>
                  <a:cubicBezTo>
                    <a:pt x="49707" y="141354"/>
                    <a:pt x="48154" y="141354"/>
                    <a:pt x="46600" y="141354"/>
                  </a:cubicBezTo>
                  <a:cubicBezTo>
                    <a:pt x="45047" y="141354"/>
                    <a:pt x="42717" y="140578"/>
                    <a:pt x="39610" y="140578"/>
                  </a:cubicBezTo>
                  <a:cubicBezTo>
                    <a:pt x="36504" y="140578"/>
                    <a:pt x="34173" y="141354"/>
                    <a:pt x="32620" y="142131"/>
                  </a:cubicBezTo>
                  <a:cubicBezTo>
                    <a:pt x="30290" y="142908"/>
                    <a:pt x="27183" y="144461"/>
                    <a:pt x="21747" y="146791"/>
                  </a:cubicBezTo>
                  <a:cubicBezTo>
                    <a:pt x="16310" y="149121"/>
                    <a:pt x="13203" y="149898"/>
                    <a:pt x="10873" y="149898"/>
                  </a:cubicBezTo>
                  <a:cubicBezTo>
                    <a:pt x="8543" y="149898"/>
                    <a:pt x="6213" y="149121"/>
                    <a:pt x="3883" y="146791"/>
                  </a:cubicBezTo>
                  <a:cubicBezTo>
                    <a:pt x="1553" y="144461"/>
                    <a:pt x="0" y="141354"/>
                    <a:pt x="0" y="137471"/>
                  </a:cubicBezTo>
                  <a:cubicBezTo>
                    <a:pt x="0" y="135917"/>
                    <a:pt x="776" y="134364"/>
                    <a:pt x="1553" y="132811"/>
                  </a:cubicBezTo>
                  <a:cubicBezTo>
                    <a:pt x="2330" y="131258"/>
                    <a:pt x="3883" y="129704"/>
                    <a:pt x="5437" y="127374"/>
                  </a:cubicBezTo>
                  <a:cubicBezTo>
                    <a:pt x="6990" y="125821"/>
                    <a:pt x="10097" y="122714"/>
                    <a:pt x="13980" y="119607"/>
                  </a:cubicBezTo>
                  <a:cubicBezTo>
                    <a:pt x="17087" y="116501"/>
                    <a:pt x="20193" y="112617"/>
                    <a:pt x="22523" y="107957"/>
                  </a:cubicBezTo>
                  <a:cubicBezTo>
                    <a:pt x="24854" y="102521"/>
                    <a:pt x="25630" y="97861"/>
                    <a:pt x="25630" y="93200"/>
                  </a:cubicBezTo>
                  <a:cubicBezTo>
                    <a:pt x="25630" y="91647"/>
                    <a:pt x="25630" y="88541"/>
                    <a:pt x="24854" y="84657"/>
                  </a:cubicBezTo>
                  <a:lnTo>
                    <a:pt x="16310" y="84657"/>
                  </a:lnTo>
                  <a:cubicBezTo>
                    <a:pt x="11650" y="84657"/>
                    <a:pt x="7767" y="83881"/>
                    <a:pt x="5437" y="83104"/>
                  </a:cubicBezTo>
                  <a:cubicBezTo>
                    <a:pt x="3106" y="81550"/>
                    <a:pt x="1553" y="79220"/>
                    <a:pt x="1553" y="76114"/>
                  </a:cubicBezTo>
                  <a:cubicBezTo>
                    <a:pt x="1553" y="69900"/>
                    <a:pt x="5437" y="66017"/>
                    <a:pt x="13980" y="66017"/>
                  </a:cubicBezTo>
                  <a:lnTo>
                    <a:pt x="20193" y="66017"/>
                  </a:lnTo>
                  <a:cubicBezTo>
                    <a:pt x="17087" y="55920"/>
                    <a:pt x="15533" y="47377"/>
                    <a:pt x="15533" y="41940"/>
                  </a:cubicBezTo>
                  <a:cubicBezTo>
                    <a:pt x="15533" y="34174"/>
                    <a:pt x="17087" y="26407"/>
                    <a:pt x="20970" y="20194"/>
                  </a:cubicBezTo>
                  <a:cubicBezTo>
                    <a:pt x="24854" y="13980"/>
                    <a:pt x="30290" y="8544"/>
                    <a:pt x="37280" y="5437"/>
                  </a:cubicBezTo>
                  <a:cubicBezTo>
                    <a:pt x="44270" y="1553"/>
                    <a:pt x="52813" y="0"/>
                    <a:pt x="61357" y="0"/>
                  </a:cubicBezTo>
                  <a:cubicBezTo>
                    <a:pt x="69123" y="0"/>
                    <a:pt x="76114" y="777"/>
                    <a:pt x="82327" y="3107"/>
                  </a:cubicBezTo>
                  <a:cubicBezTo>
                    <a:pt x="87764" y="5437"/>
                    <a:pt x="93200" y="8544"/>
                    <a:pt x="97860" y="13203"/>
                  </a:cubicBezTo>
                  <a:cubicBezTo>
                    <a:pt x="105627" y="20970"/>
                    <a:pt x="109511" y="29514"/>
                    <a:pt x="109511" y="38834"/>
                  </a:cubicBezTo>
                  <a:cubicBezTo>
                    <a:pt x="109511" y="41940"/>
                    <a:pt x="107957" y="45047"/>
                    <a:pt x="105627" y="47377"/>
                  </a:cubicBezTo>
                  <a:cubicBezTo>
                    <a:pt x="103297" y="49707"/>
                    <a:pt x="100190" y="51261"/>
                    <a:pt x="96307" y="51261"/>
                  </a:cubicBezTo>
                  <a:cubicBezTo>
                    <a:pt x="90094" y="51261"/>
                    <a:pt x="85434" y="47377"/>
                    <a:pt x="83880" y="40387"/>
                  </a:cubicBezTo>
                  <a:cubicBezTo>
                    <a:pt x="82327" y="33397"/>
                    <a:pt x="79220" y="28737"/>
                    <a:pt x="76114" y="24854"/>
                  </a:cubicBezTo>
                  <a:cubicBezTo>
                    <a:pt x="73007" y="21747"/>
                    <a:pt x="68347" y="20194"/>
                    <a:pt x="62910" y="20194"/>
                  </a:cubicBezTo>
                  <a:cubicBezTo>
                    <a:pt x="56697" y="20194"/>
                    <a:pt x="52037" y="22524"/>
                    <a:pt x="48154" y="26407"/>
                  </a:cubicBezTo>
                  <a:cubicBezTo>
                    <a:pt x="44270" y="30290"/>
                    <a:pt x="42717" y="35727"/>
                    <a:pt x="42717" y="41940"/>
                  </a:cubicBezTo>
                  <a:cubicBezTo>
                    <a:pt x="42717" y="45824"/>
                    <a:pt x="43493" y="48931"/>
                    <a:pt x="44270" y="52814"/>
                  </a:cubicBezTo>
                  <a:cubicBezTo>
                    <a:pt x="44270" y="55144"/>
                    <a:pt x="45823" y="59804"/>
                    <a:pt x="48154" y="66017"/>
                  </a:cubicBez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86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8458162" y="5708146"/>
            <a:ext cx="412472" cy="370783"/>
            <a:chOff x="8999971" y="6388114"/>
            <a:chExt cx="507165" cy="455905"/>
          </a:xfrm>
          <a:solidFill>
            <a:srgbClr val="B1B1A1"/>
          </a:solidFill>
        </p:grpSpPr>
        <p:sp>
          <p:nvSpPr>
            <p:cNvPr id="287" name="Forma Livre: Forma 286">
              <a:extLst>
                <a:ext uri="{FF2B5EF4-FFF2-40B4-BE49-F238E27FC236}">
                  <a16:creationId xmlns:a16="http://schemas.microsoft.com/office/drawing/2014/main" id="{32CA420A-7A07-48F1-8FAF-468516CD0B08}"/>
                </a:ext>
              </a:extLst>
            </p:cNvPr>
            <p:cNvSpPr/>
            <p:nvPr/>
          </p:nvSpPr>
          <p:spPr>
            <a:xfrm>
              <a:off x="9126567" y="6463451"/>
              <a:ext cx="380568" cy="380568"/>
            </a:xfrm>
            <a:custGeom>
              <a:avLst/>
              <a:gdLst>
                <a:gd name="connsiteX0" fmla="*/ 190284 w 380568"/>
                <a:gd name="connsiteY0" fmla="*/ 380569 h 380568"/>
                <a:gd name="connsiteX1" fmla="*/ 0 w 380568"/>
                <a:gd name="connsiteY1" fmla="*/ 190284 h 380568"/>
                <a:gd name="connsiteX2" fmla="*/ 190284 w 380568"/>
                <a:gd name="connsiteY2" fmla="*/ 0 h 380568"/>
                <a:gd name="connsiteX3" fmla="*/ 380569 w 380568"/>
                <a:gd name="connsiteY3" fmla="*/ 190284 h 380568"/>
                <a:gd name="connsiteX4" fmla="*/ 190284 w 380568"/>
                <a:gd name="connsiteY4" fmla="*/ 380569 h 380568"/>
                <a:gd name="connsiteX5" fmla="*/ 190284 w 380568"/>
                <a:gd name="connsiteY5" fmla="*/ 380569 h 380568"/>
                <a:gd name="connsiteX6" fmla="*/ 190284 w 380568"/>
                <a:gd name="connsiteY6" fmla="*/ 41163 h 380568"/>
                <a:gd name="connsiteX7" fmla="*/ 41164 w 380568"/>
                <a:gd name="connsiteY7" fmla="*/ 190284 h 380568"/>
                <a:gd name="connsiteX8" fmla="*/ 190284 w 380568"/>
                <a:gd name="connsiteY8" fmla="*/ 339405 h 380568"/>
                <a:gd name="connsiteX9" fmla="*/ 339406 w 380568"/>
                <a:gd name="connsiteY9" fmla="*/ 190284 h 380568"/>
                <a:gd name="connsiteX10" fmla="*/ 190284 w 380568"/>
                <a:gd name="connsiteY10" fmla="*/ 41163 h 380568"/>
                <a:gd name="connsiteX11" fmla="*/ 190284 w 380568"/>
                <a:gd name="connsiteY11" fmla="*/ 41163 h 380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0568" h="380568">
                  <a:moveTo>
                    <a:pt x="190284" y="380569"/>
                  </a:moveTo>
                  <a:cubicBezTo>
                    <a:pt x="85434" y="380569"/>
                    <a:pt x="0" y="295135"/>
                    <a:pt x="0" y="190284"/>
                  </a:cubicBezTo>
                  <a:cubicBezTo>
                    <a:pt x="0" y="85434"/>
                    <a:pt x="85434" y="0"/>
                    <a:pt x="190284" y="0"/>
                  </a:cubicBezTo>
                  <a:cubicBezTo>
                    <a:pt x="295135" y="0"/>
                    <a:pt x="380569" y="85434"/>
                    <a:pt x="380569" y="190284"/>
                  </a:cubicBezTo>
                  <a:cubicBezTo>
                    <a:pt x="380569" y="295135"/>
                    <a:pt x="295135" y="380569"/>
                    <a:pt x="190284" y="380569"/>
                  </a:cubicBezTo>
                  <a:lnTo>
                    <a:pt x="190284" y="380569"/>
                  </a:lnTo>
                  <a:close/>
                  <a:moveTo>
                    <a:pt x="190284" y="41163"/>
                  </a:moveTo>
                  <a:cubicBezTo>
                    <a:pt x="107957" y="41163"/>
                    <a:pt x="41164" y="107957"/>
                    <a:pt x="41164" y="190284"/>
                  </a:cubicBezTo>
                  <a:cubicBezTo>
                    <a:pt x="41164" y="272611"/>
                    <a:pt x="107957" y="339405"/>
                    <a:pt x="190284" y="339405"/>
                  </a:cubicBezTo>
                  <a:cubicBezTo>
                    <a:pt x="272612" y="339405"/>
                    <a:pt x="339406" y="272611"/>
                    <a:pt x="339406" y="190284"/>
                  </a:cubicBezTo>
                  <a:cubicBezTo>
                    <a:pt x="339406" y="107957"/>
                    <a:pt x="272612" y="41163"/>
                    <a:pt x="190284" y="41163"/>
                  </a:cubicBezTo>
                  <a:lnTo>
                    <a:pt x="190284" y="41163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88" name="Forma Livre: Forma 287">
              <a:extLst>
                <a:ext uri="{FF2B5EF4-FFF2-40B4-BE49-F238E27FC236}">
                  <a16:creationId xmlns:a16="http://schemas.microsoft.com/office/drawing/2014/main" id="{CD897778-13D4-4C98-A503-D68BCD0AD1DD}"/>
                </a:ext>
              </a:extLst>
            </p:cNvPr>
            <p:cNvSpPr/>
            <p:nvPr/>
          </p:nvSpPr>
          <p:spPr>
            <a:xfrm>
              <a:off x="9191808" y="6528691"/>
              <a:ext cx="250088" cy="250087"/>
            </a:xfrm>
            <a:custGeom>
              <a:avLst/>
              <a:gdLst>
                <a:gd name="connsiteX0" fmla="*/ 125044 w 250088"/>
                <a:gd name="connsiteY0" fmla="*/ 250088 h 250087"/>
                <a:gd name="connsiteX1" fmla="*/ 0 w 250088"/>
                <a:gd name="connsiteY1" fmla="*/ 125044 h 250087"/>
                <a:gd name="connsiteX2" fmla="*/ 125044 w 250088"/>
                <a:gd name="connsiteY2" fmla="*/ 0 h 250087"/>
                <a:gd name="connsiteX3" fmla="*/ 250088 w 250088"/>
                <a:gd name="connsiteY3" fmla="*/ 125044 h 250087"/>
                <a:gd name="connsiteX4" fmla="*/ 125044 w 250088"/>
                <a:gd name="connsiteY4" fmla="*/ 250088 h 250087"/>
                <a:gd name="connsiteX5" fmla="*/ 125044 w 250088"/>
                <a:gd name="connsiteY5" fmla="*/ 250088 h 250087"/>
                <a:gd name="connsiteX6" fmla="*/ 125044 w 250088"/>
                <a:gd name="connsiteY6" fmla="*/ 20194 h 250087"/>
                <a:gd name="connsiteX7" fmla="*/ 20193 w 250088"/>
                <a:gd name="connsiteY7" fmla="*/ 125044 h 250087"/>
                <a:gd name="connsiteX8" fmla="*/ 125044 w 250088"/>
                <a:gd name="connsiteY8" fmla="*/ 229895 h 250087"/>
                <a:gd name="connsiteX9" fmla="*/ 229894 w 250088"/>
                <a:gd name="connsiteY9" fmla="*/ 125044 h 250087"/>
                <a:gd name="connsiteX10" fmla="*/ 125044 w 250088"/>
                <a:gd name="connsiteY10" fmla="*/ 20194 h 250087"/>
                <a:gd name="connsiteX11" fmla="*/ 125044 w 250088"/>
                <a:gd name="connsiteY11" fmla="*/ 20194 h 250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0088" h="250087">
                  <a:moveTo>
                    <a:pt x="125044" y="250088"/>
                  </a:moveTo>
                  <a:cubicBezTo>
                    <a:pt x="55921" y="250088"/>
                    <a:pt x="0" y="194168"/>
                    <a:pt x="0" y="125044"/>
                  </a:cubicBezTo>
                  <a:cubicBezTo>
                    <a:pt x="0" y="55920"/>
                    <a:pt x="55921" y="0"/>
                    <a:pt x="125044" y="0"/>
                  </a:cubicBezTo>
                  <a:cubicBezTo>
                    <a:pt x="194168" y="0"/>
                    <a:pt x="250088" y="55920"/>
                    <a:pt x="250088" y="125044"/>
                  </a:cubicBezTo>
                  <a:cubicBezTo>
                    <a:pt x="250088" y="194168"/>
                    <a:pt x="194168" y="250088"/>
                    <a:pt x="125044" y="250088"/>
                  </a:cubicBezTo>
                  <a:lnTo>
                    <a:pt x="125044" y="250088"/>
                  </a:lnTo>
                  <a:close/>
                  <a:moveTo>
                    <a:pt x="125044" y="20194"/>
                  </a:moveTo>
                  <a:cubicBezTo>
                    <a:pt x="67571" y="20194"/>
                    <a:pt x="20193" y="66794"/>
                    <a:pt x="20193" y="125044"/>
                  </a:cubicBezTo>
                  <a:cubicBezTo>
                    <a:pt x="20193" y="182518"/>
                    <a:pt x="66793" y="229895"/>
                    <a:pt x="125044" y="229895"/>
                  </a:cubicBezTo>
                  <a:cubicBezTo>
                    <a:pt x="183294" y="229895"/>
                    <a:pt x="229894" y="183295"/>
                    <a:pt x="229894" y="125044"/>
                  </a:cubicBezTo>
                  <a:cubicBezTo>
                    <a:pt x="229894" y="66794"/>
                    <a:pt x="182518" y="20194"/>
                    <a:pt x="125044" y="20194"/>
                  </a:cubicBezTo>
                  <a:lnTo>
                    <a:pt x="125044" y="20194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89" name="Forma Livre: Forma 288">
              <a:extLst>
                <a:ext uri="{FF2B5EF4-FFF2-40B4-BE49-F238E27FC236}">
                  <a16:creationId xmlns:a16="http://schemas.microsoft.com/office/drawing/2014/main" id="{A7042796-3069-451F-A48A-A1F0B1EE4F69}"/>
                </a:ext>
              </a:extLst>
            </p:cNvPr>
            <p:cNvSpPr/>
            <p:nvPr/>
          </p:nvSpPr>
          <p:spPr>
            <a:xfrm>
              <a:off x="8999971" y="6481314"/>
              <a:ext cx="256346" cy="40386"/>
            </a:xfrm>
            <a:custGeom>
              <a:avLst/>
              <a:gdLst>
                <a:gd name="connsiteX0" fmla="*/ 236108 w 256346"/>
                <a:gd name="connsiteY0" fmla="*/ 40387 h 40386"/>
                <a:gd name="connsiteX1" fmla="*/ 20193 w 256346"/>
                <a:gd name="connsiteY1" fmla="*/ 40387 h 40386"/>
                <a:gd name="connsiteX2" fmla="*/ 0 w 256346"/>
                <a:gd name="connsiteY2" fmla="*/ 20193 h 40386"/>
                <a:gd name="connsiteX3" fmla="*/ 20193 w 256346"/>
                <a:gd name="connsiteY3" fmla="*/ 0 h 40386"/>
                <a:gd name="connsiteX4" fmla="*/ 236108 w 256346"/>
                <a:gd name="connsiteY4" fmla="*/ 0 h 40386"/>
                <a:gd name="connsiteX5" fmla="*/ 256301 w 256346"/>
                <a:gd name="connsiteY5" fmla="*/ 20193 h 40386"/>
                <a:gd name="connsiteX6" fmla="*/ 236108 w 256346"/>
                <a:gd name="connsiteY6" fmla="*/ 40387 h 40386"/>
                <a:gd name="connsiteX7" fmla="*/ 236108 w 256346"/>
                <a:gd name="connsiteY7" fmla="*/ 40387 h 4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6346" h="40386">
                  <a:moveTo>
                    <a:pt x="236108" y="40387"/>
                  </a:moveTo>
                  <a:lnTo>
                    <a:pt x="20193" y="40387"/>
                  </a:lnTo>
                  <a:cubicBezTo>
                    <a:pt x="8543" y="40387"/>
                    <a:pt x="0" y="31067"/>
                    <a:pt x="0" y="20193"/>
                  </a:cubicBezTo>
                  <a:cubicBezTo>
                    <a:pt x="0" y="8543"/>
                    <a:pt x="9320" y="0"/>
                    <a:pt x="20193" y="0"/>
                  </a:cubicBezTo>
                  <a:lnTo>
                    <a:pt x="236108" y="0"/>
                  </a:lnTo>
                  <a:cubicBezTo>
                    <a:pt x="247758" y="0"/>
                    <a:pt x="256301" y="9320"/>
                    <a:pt x="256301" y="20193"/>
                  </a:cubicBezTo>
                  <a:cubicBezTo>
                    <a:pt x="257078" y="31067"/>
                    <a:pt x="247758" y="40387"/>
                    <a:pt x="236108" y="40387"/>
                  </a:cubicBezTo>
                  <a:lnTo>
                    <a:pt x="236108" y="40387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90" name="Forma Livre: Forma 289">
              <a:extLst>
                <a:ext uri="{FF2B5EF4-FFF2-40B4-BE49-F238E27FC236}">
                  <a16:creationId xmlns:a16="http://schemas.microsoft.com/office/drawing/2014/main" id="{8659409E-E01C-43FC-96AA-02A329A37332}"/>
                </a:ext>
              </a:extLst>
            </p:cNvPr>
            <p:cNvSpPr/>
            <p:nvPr/>
          </p:nvSpPr>
          <p:spPr>
            <a:xfrm>
              <a:off x="8999971" y="6388114"/>
              <a:ext cx="321586" cy="40386"/>
            </a:xfrm>
            <a:custGeom>
              <a:avLst/>
              <a:gdLst>
                <a:gd name="connsiteX0" fmla="*/ 301348 w 321586"/>
                <a:gd name="connsiteY0" fmla="*/ 40387 h 40386"/>
                <a:gd name="connsiteX1" fmla="*/ 20193 w 321586"/>
                <a:gd name="connsiteY1" fmla="*/ 40387 h 40386"/>
                <a:gd name="connsiteX2" fmla="*/ 0 w 321586"/>
                <a:gd name="connsiteY2" fmla="*/ 20193 h 40386"/>
                <a:gd name="connsiteX3" fmla="*/ 20193 w 321586"/>
                <a:gd name="connsiteY3" fmla="*/ 0 h 40386"/>
                <a:gd name="connsiteX4" fmla="*/ 301348 w 321586"/>
                <a:gd name="connsiteY4" fmla="*/ 0 h 40386"/>
                <a:gd name="connsiteX5" fmla="*/ 321542 w 321586"/>
                <a:gd name="connsiteY5" fmla="*/ 20193 h 40386"/>
                <a:gd name="connsiteX6" fmla="*/ 301348 w 321586"/>
                <a:gd name="connsiteY6" fmla="*/ 40387 h 40386"/>
                <a:gd name="connsiteX7" fmla="*/ 301348 w 321586"/>
                <a:gd name="connsiteY7" fmla="*/ 40387 h 4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1586" h="40386">
                  <a:moveTo>
                    <a:pt x="301348" y="40387"/>
                  </a:moveTo>
                  <a:lnTo>
                    <a:pt x="20193" y="40387"/>
                  </a:lnTo>
                  <a:cubicBezTo>
                    <a:pt x="8543" y="40387"/>
                    <a:pt x="0" y="31067"/>
                    <a:pt x="0" y="20193"/>
                  </a:cubicBezTo>
                  <a:cubicBezTo>
                    <a:pt x="0" y="8543"/>
                    <a:pt x="9320" y="0"/>
                    <a:pt x="20193" y="0"/>
                  </a:cubicBezTo>
                  <a:lnTo>
                    <a:pt x="301348" y="0"/>
                  </a:lnTo>
                  <a:cubicBezTo>
                    <a:pt x="312998" y="0"/>
                    <a:pt x="321542" y="9320"/>
                    <a:pt x="321542" y="20193"/>
                  </a:cubicBezTo>
                  <a:cubicBezTo>
                    <a:pt x="322318" y="31843"/>
                    <a:pt x="312998" y="40387"/>
                    <a:pt x="301348" y="40387"/>
                  </a:cubicBezTo>
                  <a:lnTo>
                    <a:pt x="301348" y="40387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91" name="Forma Livre: Forma 290">
              <a:extLst>
                <a:ext uri="{FF2B5EF4-FFF2-40B4-BE49-F238E27FC236}">
                  <a16:creationId xmlns:a16="http://schemas.microsoft.com/office/drawing/2014/main" id="{008CA6B0-ABFF-4D54-9F53-C6C0ED5CE1A4}"/>
                </a:ext>
              </a:extLst>
            </p:cNvPr>
            <p:cNvSpPr/>
            <p:nvPr/>
          </p:nvSpPr>
          <p:spPr>
            <a:xfrm>
              <a:off x="8999971" y="6573738"/>
              <a:ext cx="156932" cy="40386"/>
            </a:xfrm>
            <a:custGeom>
              <a:avLst/>
              <a:gdLst>
                <a:gd name="connsiteX0" fmla="*/ 136694 w 156932"/>
                <a:gd name="connsiteY0" fmla="*/ 40386 h 40386"/>
                <a:gd name="connsiteX1" fmla="*/ 20193 w 156932"/>
                <a:gd name="connsiteY1" fmla="*/ 40386 h 40386"/>
                <a:gd name="connsiteX2" fmla="*/ 0 w 156932"/>
                <a:gd name="connsiteY2" fmla="*/ 20193 h 40386"/>
                <a:gd name="connsiteX3" fmla="*/ 20193 w 156932"/>
                <a:gd name="connsiteY3" fmla="*/ 0 h 40386"/>
                <a:gd name="connsiteX4" fmla="*/ 136694 w 156932"/>
                <a:gd name="connsiteY4" fmla="*/ 0 h 40386"/>
                <a:gd name="connsiteX5" fmla="*/ 156887 w 156932"/>
                <a:gd name="connsiteY5" fmla="*/ 20193 h 40386"/>
                <a:gd name="connsiteX6" fmla="*/ 136694 w 156932"/>
                <a:gd name="connsiteY6" fmla="*/ 40386 h 40386"/>
                <a:gd name="connsiteX7" fmla="*/ 136694 w 156932"/>
                <a:gd name="connsiteY7" fmla="*/ 40386 h 4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6932" h="40386">
                  <a:moveTo>
                    <a:pt x="136694" y="40386"/>
                  </a:moveTo>
                  <a:lnTo>
                    <a:pt x="20193" y="40386"/>
                  </a:lnTo>
                  <a:cubicBezTo>
                    <a:pt x="8543" y="40386"/>
                    <a:pt x="0" y="31067"/>
                    <a:pt x="0" y="20193"/>
                  </a:cubicBezTo>
                  <a:cubicBezTo>
                    <a:pt x="0" y="8543"/>
                    <a:pt x="9320" y="0"/>
                    <a:pt x="20193" y="0"/>
                  </a:cubicBezTo>
                  <a:lnTo>
                    <a:pt x="136694" y="0"/>
                  </a:lnTo>
                  <a:cubicBezTo>
                    <a:pt x="148344" y="0"/>
                    <a:pt x="156887" y="9320"/>
                    <a:pt x="156887" y="20193"/>
                  </a:cubicBezTo>
                  <a:cubicBezTo>
                    <a:pt x="157664" y="31067"/>
                    <a:pt x="148344" y="40386"/>
                    <a:pt x="136694" y="40386"/>
                  </a:cubicBezTo>
                  <a:lnTo>
                    <a:pt x="136694" y="40386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92" name="Forma Livre: Forma 291">
              <a:extLst>
                <a:ext uri="{FF2B5EF4-FFF2-40B4-BE49-F238E27FC236}">
                  <a16:creationId xmlns:a16="http://schemas.microsoft.com/office/drawing/2014/main" id="{BDF9F08E-295B-4671-B45B-6BC85424C682}"/>
                </a:ext>
              </a:extLst>
            </p:cNvPr>
            <p:cNvSpPr/>
            <p:nvPr/>
          </p:nvSpPr>
          <p:spPr>
            <a:xfrm>
              <a:off x="8999971" y="6666162"/>
              <a:ext cx="156932" cy="40386"/>
            </a:xfrm>
            <a:custGeom>
              <a:avLst/>
              <a:gdLst>
                <a:gd name="connsiteX0" fmla="*/ 136694 w 156932"/>
                <a:gd name="connsiteY0" fmla="*/ 40387 h 40386"/>
                <a:gd name="connsiteX1" fmla="*/ 20193 w 156932"/>
                <a:gd name="connsiteY1" fmla="*/ 40387 h 40386"/>
                <a:gd name="connsiteX2" fmla="*/ 0 w 156932"/>
                <a:gd name="connsiteY2" fmla="*/ 20194 h 40386"/>
                <a:gd name="connsiteX3" fmla="*/ 20193 w 156932"/>
                <a:gd name="connsiteY3" fmla="*/ 0 h 40386"/>
                <a:gd name="connsiteX4" fmla="*/ 136694 w 156932"/>
                <a:gd name="connsiteY4" fmla="*/ 0 h 40386"/>
                <a:gd name="connsiteX5" fmla="*/ 156887 w 156932"/>
                <a:gd name="connsiteY5" fmla="*/ 20194 h 40386"/>
                <a:gd name="connsiteX6" fmla="*/ 136694 w 156932"/>
                <a:gd name="connsiteY6" fmla="*/ 40387 h 40386"/>
                <a:gd name="connsiteX7" fmla="*/ 136694 w 156932"/>
                <a:gd name="connsiteY7" fmla="*/ 40387 h 4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6932" h="40386">
                  <a:moveTo>
                    <a:pt x="136694" y="40387"/>
                  </a:moveTo>
                  <a:lnTo>
                    <a:pt x="20193" y="40387"/>
                  </a:lnTo>
                  <a:cubicBezTo>
                    <a:pt x="8543" y="40387"/>
                    <a:pt x="0" y="31067"/>
                    <a:pt x="0" y="20194"/>
                  </a:cubicBezTo>
                  <a:cubicBezTo>
                    <a:pt x="0" y="8544"/>
                    <a:pt x="9320" y="0"/>
                    <a:pt x="20193" y="0"/>
                  </a:cubicBezTo>
                  <a:lnTo>
                    <a:pt x="136694" y="0"/>
                  </a:lnTo>
                  <a:cubicBezTo>
                    <a:pt x="148344" y="0"/>
                    <a:pt x="156887" y="9320"/>
                    <a:pt x="156887" y="20194"/>
                  </a:cubicBezTo>
                  <a:cubicBezTo>
                    <a:pt x="157664" y="31067"/>
                    <a:pt x="148344" y="40387"/>
                    <a:pt x="136694" y="40387"/>
                  </a:cubicBezTo>
                  <a:lnTo>
                    <a:pt x="136694" y="40387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93" name="Forma Livre: Forma 292">
              <a:extLst>
                <a:ext uri="{FF2B5EF4-FFF2-40B4-BE49-F238E27FC236}">
                  <a16:creationId xmlns:a16="http://schemas.microsoft.com/office/drawing/2014/main" id="{CA5A6908-53F7-48D6-86AC-489BE4AB9B44}"/>
                </a:ext>
              </a:extLst>
            </p:cNvPr>
            <p:cNvSpPr/>
            <p:nvPr/>
          </p:nvSpPr>
          <p:spPr>
            <a:xfrm>
              <a:off x="8999971" y="6758586"/>
              <a:ext cx="212030" cy="40386"/>
            </a:xfrm>
            <a:custGeom>
              <a:avLst/>
              <a:gdLst>
                <a:gd name="connsiteX0" fmla="*/ 191837 w 212030"/>
                <a:gd name="connsiteY0" fmla="*/ 40387 h 40386"/>
                <a:gd name="connsiteX1" fmla="*/ 20193 w 212030"/>
                <a:gd name="connsiteY1" fmla="*/ 40387 h 40386"/>
                <a:gd name="connsiteX2" fmla="*/ 0 w 212030"/>
                <a:gd name="connsiteY2" fmla="*/ 20193 h 40386"/>
                <a:gd name="connsiteX3" fmla="*/ 20193 w 212030"/>
                <a:gd name="connsiteY3" fmla="*/ 0 h 40386"/>
                <a:gd name="connsiteX4" fmla="*/ 191837 w 212030"/>
                <a:gd name="connsiteY4" fmla="*/ 0 h 40386"/>
                <a:gd name="connsiteX5" fmla="*/ 212030 w 212030"/>
                <a:gd name="connsiteY5" fmla="*/ 20193 h 40386"/>
                <a:gd name="connsiteX6" fmla="*/ 191837 w 212030"/>
                <a:gd name="connsiteY6" fmla="*/ 40387 h 40386"/>
                <a:gd name="connsiteX7" fmla="*/ 191837 w 212030"/>
                <a:gd name="connsiteY7" fmla="*/ 40387 h 4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2030" h="40386">
                  <a:moveTo>
                    <a:pt x="191837" y="40387"/>
                  </a:moveTo>
                  <a:lnTo>
                    <a:pt x="20193" y="40387"/>
                  </a:lnTo>
                  <a:cubicBezTo>
                    <a:pt x="8543" y="40387"/>
                    <a:pt x="0" y="31067"/>
                    <a:pt x="0" y="20193"/>
                  </a:cubicBezTo>
                  <a:cubicBezTo>
                    <a:pt x="0" y="8543"/>
                    <a:pt x="9320" y="0"/>
                    <a:pt x="20193" y="0"/>
                  </a:cubicBezTo>
                  <a:lnTo>
                    <a:pt x="191837" y="0"/>
                  </a:lnTo>
                  <a:cubicBezTo>
                    <a:pt x="203487" y="0"/>
                    <a:pt x="212030" y="9320"/>
                    <a:pt x="212030" y="20193"/>
                  </a:cubicBezTo>
                  <a:cubicBezTo>
                    <a:pt x="212030" y="31067"/>
                    <a:pt x="202711" y="40387"/>
                    <a:pt x="191837" y="40387"/>
                  </a:cubicBezTo>
                  <a:lnTo>
                    <a:pt x="191837" y="40387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94" name="Forma Livre: Forma 293">
              <a:extLst>
                <a:ext uri="{FF2B5EF4-FFF2-40B4-BE49-F238E27FC236}">
                  <a16:creationId xmlns:a16="http://schemas.microsoft.com/office/drawing/2014/main" id="{A21C90C0-F278-46E4-ACE4-F6DA8689A1C0}"/>
                </a:ext>
              </a:extLst>
            </p:cNvPr>
            <p:cNvSpPr/>
            <p:nvPr/>
          </p:nvSpPr>
          <p:spPr>
            <a:xfrm>
              <a:off x="9260155" y="6578398"/>
              <a:ext cx="114170" cy="150674"/>
            </a:xfrm>
            <a:custGeom>
              <a:avLst/>
              <a:gdLst>
                <a:gd name="connsiteX0" fmla="*/ 22524 w 114170"/>
                <a:gd name="connsiteY0" fmla="*/ 104851 h 150674"/>
                <a:gd name="connsiteX1" fmla="*/ 45046 w 114170"/>
                <a:gd name="connsiteY1" fmla="*/ 104851 h 150674"/>
                <a:gd name="connsiteX2" fmla="*/ 45046 w 114170"/>
                <a:gd name="connsiteY2" fmla="*/ 90871 h 150674"/>
                <a:gd name="connsiteX3" fmla="*/ 22524 w 114170"/>
                <a:gd name="connsiteY3" fmla="*/ 90871 h 150674"/>
                <a:gd name="connsiteX4" fmla="*/ 8543 w 114170"/>
                <a:gd name="connsiteY4" fmla="*/ 81550 h 150674"/>
                <a:gd name="connsiteX5" fmla="*/ 22524 w 114170"/>
                <a:gd name="connsiteY5" fmla="*/ 72230 h 150674"/>
                <a:gd name="connsiteX6" fmla="*/ 34950 w 114170"/>
                <a:gd name="connsiteY6" fmla="*/ 72230 h 150674"/>
                <a:gd name="connsiteX7" fmla="*/ 5436 w 114170"/>
                <a:gd name="connsiteY7" fmla="*/ 25630 h 150674"/>
                <a:gd name="connsiteX8" fmla="*/ 776 w 114170"/>
                <a:gd name="connsiteY8" fmla="*/ 17863 h 150674"/>
                <a:gd name="connsiteX9" fmla="*/ 0 w 114170"/>
                <a:gd name="connsiteY9" fmla="*/ 12427 h 150674"/>
                <a:gd name="connsiteX10" fmla="*/ 3107 w 114170"/>
                <a:gd name="connsiteY10" fmla="*/ 3883 h 150674"/>
                <a:gd name="connsiteX11" fmla="*/ 10874 w 114170"/>
                <a:gd name="connsiteY11" fmla="*/ 776 h 150674"/>
                <a:gd name="connsiteX12" fmla="*/ 19417 w 114170"/>
                <a:gd name="connsiteY12" fmla="*/ 3883 h 150674"/>
                <a:gd name="connsiteX13" fmla="*/ 26407 w 114170"/>
                <a:gd name="connsiteY13" fmla="*/ 13980 h 150674"/>
                <a:gd name="connsiteX14" fmla="*/ 58250 w 114170"/>
                <a:gd name="connsiteY14" fmla="*/ 63687 h 150674"/>
                <a:gd name="connsiteX15" fmla="*/ 86987 w 114170"/>
                <a:gd name="connsiteY15" fmla="*/ 16310 h 150674"/>
                <a:gd name="connsiteX16" fmla="*/ 90094 w 114170"/>
                <a:gd name="connsiteY16" fmla="*/ 10874 h 150674"/>
                <a:gd name="connsiteX17" fmla="*/ 93200 w 114170"/>
                <a:gd name="connsiteY17" fmla="*/ 5437 h 150674"/>
                <a:gd name="connsiteX18" fmla="*/ 97084 w 114170"/>
                <a:gd name="connsiteY18" fmla="*/ 1553 h 150674"/>
                <a:gd name="connsiteX19" fmla="*/ 103297 w 114170"/>
                <a:gd name="connsiteY19" fmla="*/ 0 h 150674"/>
                <a:gd name="connsiteX20" fmla="*/ 111063 w 114170"/>
                <a:gd name="connsiteY20" fmla="*/ 3107 h 150674"/>
                <a:gd name="connsiteX21" fmla="*/ 114170 w 114170"/>
                <a:gd name="connsiteY21" fmla="*/ 10874 h 150674"/>
                <a:gd name="connsiteX22" fmla="*/ 112617 w 114170"/>
                <a:gd name="connsiteY22" fmla="*/ 17087 h 150674"/>
                <a:gd name="connsiteX23" fmla="*/ 108734 w 114170"/>
                <a:gd name="connsiteY23" fmla="*/ 24077 h 150674"/>
                <a:gd name="connsiteX24" fmla="*/ 79996 w 114170"/>
                <a:gd name="connsiteY24" fmla="*/ 71454 h 150674"/>
                <a:gd name="connsiteX25" fmla="*/ 92424 w 114170"/>
                <a:gd name="connsiteY25" fmla="*/ 71454 h 150674"/>
                <a:gd name="connsiteX26" fmla="*/ 106403 w 114170"/>
                <a:gd name="connsiteY26" fmla="*/ 80774 h 150674"/>
                <a:gd name="connsiteX27" fmla="*/ 92424 w 114170"/>
                <a:gd name="connsiteY27" fmla="*/ 90094 h 150674"/>
                <a:gd name="connsiteX28" fmla="*/ 69900 w 114170"/>
                <a:gd name="connsiteY28" fmla="*/ 90094 h 150674"/>
                <a:gd name="connsiteX29" fmla="*/ 69900 w 114170"/>
                <a:gd name="connsiteY29" fmla="*/ 104074 h 150674"/>
                <a:gd name="connsiteX30" fmla="*/ 92424 w 114170"/>
                <a:gd name="connsiteY30" fmla="*/ 104074 h 150674"/>
                <a:gd name="connsiteX31" fmla="*/ 106403 w 114170"/>
                <a:gd name="connsiteY31" fmla="*/ 113394 h 150674"/>
                <a:gd name="connsiteX32" fmla="*/ 92424 w 114170"/>
                <a:gd name="connsiteY32" fmla="*/ 122714 h 150674"/>
                <a:gd name="connsiteX33" fmla="*/ 69900 w 114170"/>
                <a:gd name="connsiteY33" fmla="*/ 122714 h 150674"/>
                <a:gd name="connsiteX34" fmla="*/ 69900 w 114170"/>
                <a:gd name="connsiteY34" fmla="*/ 130481 h 150674"/>
                <a:gd name="connsiteX35" fmla="*/ 56696 w 114170"/>
                <a:gd name="connsiteY35" fmla="*/ 150674 h 150674"/>
                <a:gd name="connsiteX36" fmla="*/ 43493 w 114170"/>
                <a:gd name="connsiteY36" fmla="*/ 130481 h 150674"/>
                <a:gd name="connsiteX37" fmla="*/ 43493 w 114170"/>
                <a:gd name="connsiteY37" fmla="*/ 122714 h 150674"/>
                <a:gd name="connsiteX38" fmla="*/ 20970 w 114170"/>
                <a:gd name="connsiteY38" fmla="*/ 122714 h 150674"/>
                <a:gd name="connsiteX39" fmla="*/ 6990 w 114170"/>
                <a:gd name="connsiteY39" fmla="*/ 113394 h 150674"/>
                <a:gd name="connsiteX40" fmla="*/ 22524 w 114170"/>
                <a:gd name="connsiteY40" fmla="*/ 104851 h 150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14170" h="150674">
                  <a:moveTo>
                    <a:pt x="22524" y="104851"/>
                  </a:moveTo>
                  <a:lnTo>
                    <a:pt x="45046" y="104851"/>
                  </a:lnTo>
                  <a:lnTo>
                    <a:pt x="45046" y="90871"/>
                  </a:lnTo>
                  <a:lnTo>
                    <a:pt x="22524" y="90871"/>
                  </a:lnTo>
                  <a:cubicBezTo>
                    <a:pt x="13203" y="90871"/>
                    <a:pt x="8543" y="87764"/>
                    <a:pt x="8543" y="81550"/>
                  </a:cubicBezTo>
                  <a:cubicBezTo>
                    <a:pt x="8543" y="75337"/>
                    <a:pt x="13203" y="72230"/>
                    <a:pt x="22524" y="72230"/>
                  </a:cubicBezTo>
                  <a:lnTo>
                    <a:pt x="34950" y="72230"/>
                  </a:lnTo>
                  <a:lnTo>
                    <a:pt x="5436" y="25630"/>
                  </a:lnTo>
                  <a:cubicBezTo>
                    <a:pt x="3107" y="21747"/>
                    <a:pt x="1553" y="19417"/>
                    <a:pt x="776" y="17863"/>
                  </a:cubicBezTo>
                  <a:cubicBezTo>
                    <a:pt x="0" y="16310"/>
                    <a:pt x="0" y="14757"/>
                    <a:pt x="0" y="12427"/>
                  </a:cubicBezTo>
                  <a:cubicBezTo>
                    <a:pt x="0" y="9320"/>
                    <a:pt x="776" y="6213"/>
                    <a:pt x="3107" y="3883"/>
                  </a:cubicBezTo>
                  <a:cubicBezTo>
                    <a:pt x="5436" y="1553"/>
                    <a:pt x="7767" y="776"/>
                    <a:pt x="10874" y="776"/>
                  </a:cubicBezTo>
                  <a:cubicBezTo>
                    <a:pt x="13979" y="776"/>
                    <a:pt x="17086" y="1553"/>
                    <a:pt x="19417" y="3883"/>
                  </a:cubicBezTo>
                  <a:cubicBezTo>
                    <a:pt x="21746" y="6213"/>
                    <a:pt x="24077" y="9320"/>
                    <a:pt x="26407" y="13980"/>
                  </a:cubicBezTo>
                  <a:lnTo>
                    <a:pt x="58250" y="63687"/>
                  </a:lnTo>
                  <a:lnTo>
                    <a:pt x="86987" y="16310"/>
                  </a:lnTo>
                  <a:cubicBezTo>
                    <a:pt x="87763" y="14757"/>
                    <a:pt x="89317" y="12427"/>
                    <a:pt x="90094" y="10874"/>
                  </a:cubicBezTo>
                  <a:cubicBezTo>
                    <a:pt x="91647" y="8543"/>
                    <a:pt x="92424" y="6990"/>
                    <a:pt x="93200" y="5437"/>
                  </a:cubicBezTo>
                  <a:cubicBezTo>
                    <a:pt x="93977" y="3883"/>
                    <a:pt x="95530" y="3107"/>
                    <a:pt x="97084" y="1553"/>
                  </a:cubicBezTo>
                  <a:cubicBezTo>
                    <a:pt x="98637" y="776"/>
                    <a:pt x="100967" y="0"/>
                    <a:pt x="103297" y="0"/>
                  </a:cubicBezTo>
                  <a:cubicBezTo>
                    <a:pt x="106403" y="0"/>
                    <a:pt x="109510" y="776"/>
                    <a:pt x="111063" y="3107"/>
                  </a:cubicBezTo>
                  <a:cubicBezTo>
                    <a:pt x="113394" y="5437"/>
                    <a:pt x="114170" y="7767"/>
                    <a:pt x="114170" y="10874"/>
                  </a:cubicBezTo>
                  <a:cubicBezTo>
                    <a:pt x="114170" y="13203"/>
                    <a:pt x="113394" y="15533"/>
                    <a:pt x="112617" y="17087"/>
                  </a:cubicBezTo>
                  <a:cubicBezTo>
                    <a:pt x="111841" y="18640"/>
                    <a:pt x="110287" y="21747"/>
                    <a:pt x="108734" y="24077"/>
                  </a:cubicBezTo>
                  <a:lnTo>
                    <a:pt x="79996" y="71454"/>
                  </a:lnTo>
                  <a:lnTo>
                    <a:pt x="92424" y="71454"/>
                  </a:lnTo>
                  <a:cubicBezTo>
                    <a:pt x="101744" y="71454"/>
                    <a:pt x="106403" y="74560"/>
                    <a:pt x="106403" y="80774"/>
                  </a:cubicBezTo>
                  <a:cubicBezTo>
                    <a:pt x="106403" y="86987"/>
                    <a:pt x="101744" y="90094"/>
                    <a:pt x="92424" y="90094"/>
                  </a:cubicBezTo>
                  <a:lnTo>
                    <a:pt x="69900" y="90094"/>
                  </a:lnTo>
                  <a:lnTo>
                    <a:pt x="69900" y="104074"/>
                  </a:lnTo>
                  <a:lnTo>
                    <a:pt x="92424" y="104074"/>
                  </a:lnTo>
                  <a:cubicBezTo>
                    <a:pt x="101744" y="104074"/>
                    <a:pt x="106403" y="107180"/>
                    <a:pt x="106403" y="113394"/>
                  </a:cubicBezTo>
                  <a:cubicBezTo>
                    <a:pt x="106403" y="119607"/>
                    <a:pt x="101744" y="122714"/>
                    <a:pt x="92424" y="122714"/>
                  </a:cubicBezTo>
                  <a:lnTo>
                    <a:pt x="69900" y="122714"/>
                  </a:lnTo>
                  <a:lnTo>
                    <a:pt x="69900" y="130481"/>
                  </a:lnTo>
                  <a:cubicBezTo>
                    <a:pt x="69900" y="143684"/>
                    <a:pt x="65241" y="150674"/>
                    <a:pt x="56696" y="150674"/>
                  </a:cubicBezTo>
                  <a:cubicBezTo>
                    <a:pt x="47377" y="150674"/>
                    <a:pt x="43493" y="143684"/>
                    <a:pt x="43493" y="130481"/>
                  </a:cubicBezTo>
                  <a:lnTo>
                    <a:pt x="43493" y="122714"/>
                  </a:lnTo>
                  <a:lnTo>
                    <a:pt x="20970" y="122714"/>
                  </a:lnTo>
                  <a:cubicBezTo>
                    <a:pt x="11650" y="122714"/>
                    <a:pt x="6990" y="119607"/>
                    <a:pt x="6990" y="113394"/>
                  </a:cubicBezTo>
                  <a:cubicBezTo>
                    <a:pt x="8543" y="107957"/>
                    <a:pt x="13203" y="104851"/>
                    <a:pt x="22524" y="104851"/>
                  </a:cubicBez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95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9487763" y="5694881"/>
            <a:ext cx="397944" cy="397944"/>
            <a:chOff x="10265943" y="6371804"/>
            <a:chExt cx="489302" cy="489302"/>
          </a:xfrm>
          <a:solidFill>
            <a:srgbClr val="B1B1A1"/>
          </a:solidFill>
        </p:grpSpPr>
        <p:grpSp>
          <p:nvGrpSpPr>
            <p:cNvPr id="296" name="Gráfico 2">
              <a:extLst>
                <a:ext uri="{FF2B5EF4-FFF2-40B4-BE49-F238E27FC236}">
                  <a16:creationId xmlns:a16="http://schemas.microsoft.com/office/drawing/2014/main" id="{777488D5-C9B0-42ED-94FB-5C76F4BD1A17}"/>
                </a:ext>
              </a:extLst>
            </p:cNvPr>
            <p:cNvGrpSpPr/>
            <p:nvPr/>
          </p:nvGrpSpPr>
          <p:grpSpPr>
            <a:xfrm>
              <a:off x="10384773" y="6444034"/>
              <a:ext cx="253195" cy="329307"/>
              <a:chOff x="10384773" y="6444034"/>
              <a:chExt cx="253195" cy="329307"/>
            </a:xfrm>
            <a:grpFill/>
          </p:grpSpPr>
          <p:sp>
            <p:nvSpPr>
              <p:cNvPr id="297" name="Forma Livre: Forma 296">
                <a:extLst>
                  <a:ext uri="{FF2B5EF4-FFF2-40B4-BE49-F238E27FC236}">
                    <a16:creationId xmlns:a16="http://schemas.microsoft.com/office/drawing/2014/main" id="{4BCE80A8-C3C5-499D-AAF5-CF0705438B54}"/>
                  </a:ext>
                </a:extLst>
              </p:cNvPr>
              <p:cNvSpPr/>
              <p:nvPr/>
            </p:nvSpPr>
            <p:spPr>
              <a:xfrm>
                <a:off x="10389434" y="6444034"/>
                <a:ext cx="86986" cy="173197"/>
              </a:xfrm>
              <a:custGeom>
                <a:avLst/>
                <a:gdLst>
                  <a:gd name="connsiteX0" fmla="*/ 48930 w 86986"/>
                  <a:gd name="connsiteY0" fmla="*/ 7767 h 173197"/>
                  <a:gd name="connsiteX1" fmla="*/ 48930 w 86986"/>
                  <a:gd name="connsiteY1" fmla="*/ 17087 h 173197"/>
                  <a:gd name="connsiteX2" fmla="*/ 64463 w 86986"/>
                  <a:gd name="connsiteY2" fmla="*/ 20970 h 173197"/>
                  <a:gd name="connsiteX3" fmla="*/ 75337 w 86986"/>
                  <a:gd name="connsiteY3" fmla="*/ 29513 h 173197"/>
                  <a:gd name="connsiteX4" fmla="*/ 80773 w 86986"/>
                  <a:gd name="connsiteY4" fmla="*/ 38057 h 173197"/>
                  <a:gd name="connsiteX5" fmla="*/ 83103 w 86986"/>
                  <a:gd name="connsiteY5" fmla="*/ 46600 h 173197"/>
                  <a:gd name="connsiteX6" fmla="*/ 79996 w 86986"/>
                  <a:gd name="connsiteY6" fmla="*/ 53590 h 173197"/>
                  <a:gd name="connsiteX7" fmla="*/ 73006 w 86986"/>
                  <a:gd name="connsiteY7" fmla="*/ 56697 h 173197"/>
                  <a:gd name="connsiteX8" fmla="*/ 62134 w 86986"/>
                  <a:gd name="connsiteY8" fmla="*/ 48154 h 173197"/>
                  <a:gd name="connsiteX9" fmla="*/ 48930 w 86986"/>
                  <a:gd name="connsiteY9" fmla="*/ 34173 h 173197"/>
                  <a:gd name="connsiteX10" fmla="*/ 48930 w 86986"/>
                  <a:gd name="connsiteY10" fmla="*/ 68347 h 173197"/>
                  <a:gd name="connsiteX11" fmla="*/ 65240 w 86986"/>
                  <a:gd name="connsiteY11" fmla="*/ 73784 h 173197"/>
                  <a:gd name="connsiteX12" fmla="*/ 76113 w 86986"/>
                  <a:gd name="connsiteY12" fmla="*/ 80773 h 173197"/>
                  <a:gd name="connsiteX13" fmla="*/ 83880 w 86986"/>
                  <a:gd name="connsiteY13" fmla="*/ 91647 h 173197"/>
                  <a:gd name="connsiteX14" fmla="*/ 86987 w 86986"/>
                  <a:gd name="connsiteY14" fmla="*/ 105627 h 173197"/>
                  <a:gd name="connsiteX15" fmla="*/ 82327 w 86986"/>
                  <a:gd name="connsiteY15" fmla="*/ 123490 h 173197"/>
                  <a:gd name="connsiteX16" fmla="*/ 69123 w 86986"/>
                  <a:gd name="connsiteY16" fmla="*/ 136694 h 173197"/>
                  <a:gd name="connsiteX17" fmla="*/ 48930 w 86986"/>
                  <a:gd name="connsiteY17" fmla="*/ 142907 h 173197"/>
                  <a:gd name="connsiteX18" fmla="*/ 48930 w 86986"/>
                  <a:gd name="connsiteY18" fmla="*/ 163877 h 173197"/>
                  <a:gd name="connsiteX19" fmla="*/ 48153 w 86986"/>
                  <a:gd name="connsiteY19" fmla="*/ 170868 h 173197"/>
                  <a:gd name="connsiteX20" fmla="*/ 44270 w 86986"/>
                  <a:gd name="connsiteY20" fmla="*/ 173197 h 173197"/>
                  <a:gd name="connsiteX21" fmla="*/ 40386 w 86986"/>
                  <a:gd name="connsiteY21" fmla="*/ 171644 h 173197"/>
                  <a:gd name="connsiteX22" fmla="*/ 38834 w 86986"/>
                  <a:gd name="connsiteY22" fmla="*/ 166207 h 173197"/>
                  <a:gd name="connsiteX23" fmla="*/ 38834 w 86986"/>
                  <a:gd name="connsiteY23" fmla="*/ 142131 h 173197"/>
                  <a:gd name="connsiteX24" fmla="*/ 21746 w 86986"/>
                  <a:gd name="connsiteY24" fmla="*/ 137471 h 173197"/>
                  <a:gd name="connsiteX25" fmla="*/ 9320 w 86986"/>
                  <a:gd name="connsiteY25" fmla="*/ 128927 h 173197"/>
                  <a:gd name="connsiteX26" fmla="*/ 2329 w 86986"/>
                  <a:gd name="connsiteY26" fmla="*/ 118054 h 173197"/>
                  <a:gd name="connsiteX27" fmla="*/ 0 w 86986"/>
                  <a:gd name="connsiteY27" fmla="*/ 107180 h 173197"/>
                  <a:gd name="connsiteX28" fmla="*/ 3106 w 86986"/>
                  <a:gd name="connsiteY28" fmla="*/ 100190 h 173197"/>
                  <a:gd name="connsiteX29" fmla="*/ 10873 w 86986"/>
                  <a:gd name="connsiteY29" fmla="*/ 97084 h 173197"/>
                  <a:gd name="connsiteX30" fmla="*/ 17086 w 86986"/>
                  <a:gd name="connsiteY30" fmla="*/ 98637 h 173197"/>
                  <a:gd name="connsiteX31" fmla="*/ 20970 w 86986"/>
                  <a:gd name="connsiteY31" fmla="*/ 103297 h 173197"/>
                  <a:gd name="connsiteX32" fmla="*/ 24853 w 86986"/>
                  <a:gd name="connsiteY32" fmla="*/ 113394 h 173197"/>
                  <a:gd name="connsiteX33" fmla="*/ 29513 w 86986"/>
                  <a:gd name="connsiteY33" fmla="*/ 119607 h 173197"/>
                  <a:gd name="connsiteX34" fmla="*/ 38056 w 86986"/>
                  <a:gd name="connsiteY34" fmla="*/ 124267 h 173197"/>
                  <a:gd name="connsiteX35" fmla="*/ 38056 w 86986"/>
                  <a:gd name="connsiteY35" fmla="*/ 85434 h 173197"/>
                  <a:gd name="connsiteX36" fmla="*/ 19417 w 86986"/>
                  <a:gd name="connsiteY36" fmla="*/ 78444 h 173197"/>
                  <a:gd name="connsiteX37" fmla="*/ 6989 w 86986"/>
                  <a:gd name="connsiteY37" fmla="*/ 67570 h 173197"/>
                  <a:gd name="connsiteX38" fmla="*/ 2329 w 86986"/>
                  <a:gd name="connsiteY38" fmla="*/ 49707 h 173197"/>
                  <a:gd name="connsiteX39" fmla="*/ 11650 w 86986"/>
                  <a:gd name="connsiteY39" fmla="*/ 26407 h 173197"/>
                  <a:gd name="connsiteX40" fmla="*/ 38056 w 86986"/>
                  <a:gd name="connsiteY40" fmla="*/ 15533 h 173197"/>
                  <a:gd name="connsiteX41" fmla="*/ 38056 w 86986"/>
                  <a:gd name="connsiteY41" fmla="*/ 6990 h 173197"/>
                  <a:gd name="connsiteX42" fmla="*/ 43493 w 86986"/>
                  <a:gd name="connsiteY42" fmla="*/ 0 h 173197"/>
                  <a:gd name="connsiteX43" fmla="*/ 48930 w 86986"/>
                  <a:gd name="connsiteY43" fmla="*/ 7767 h 173197"/>
                  <a:gd name="connsiteX44" fmla="*/ 38834 w 86986"/>
                  <a:gd name="connsiteY44" fmla="*/ 64464 h 173197"/>
                  <a:gd name="connsiteX45" fmla="*/ 38834 w 86986"/>
                  <a:gd name="connsiteY45" fmla="*/ 33397 h 173197"/>
                  <a:gd name="connsiteX46" fmla="*/ 27960 w 86986"/>
                  <a:gd name="connsiteY46" fmla="*/ 38834 h 173197"/>
                  <a:gd name="connsiteX47" fmla="*/ 24077 w 86986"/>
                  <a:gd name="connsiteY47" fmla="*/ 48930 h 173197"/>
                  <a:gd name="connsiteX48" fmla="*/ 27960 w 86986"/>
                  <a:gd name="connsiteY48" fmla="*/ 59027 h 173197"/>
                  <a:gd name="connsiteX49" fmla="*/ 38834 w 86986"/>
                  <a:gd name="connsiteY49" fmla="*/ 64464 h 173197"/>
                  <a:gd name="connsiteX50" fmla="*/ 48930 w 86986"/>
                  <a:gd name="connsiteY50" fmla="*/ 89317 h 173197"/>
                  <a:gd name="connsiteX51" fmla="*/ 48930 w 86986"/>
                  <a:gd name="connsiteY51" fmla="*/ 125821 h 173197"/>
                  <a:gd name="connsiteX52" fmla="*/ 62134 w 86986"/>
                  <a:gd name="connsiteY52" fmla="*/ 118830 h 173197"/>
                  <a:gd name="connsiteX53" fmla="*/ 66793 w 86986"/>
                  <a:gd name="connsiteY53" fmla="*/ 107180 h 173197"/>
                  <a:gd name="connsiteX54" fmla="*/ 62134 w 86986"/>
                  <a:gd name="connsiteY54" fmla="*/ 96307 h 173197"/>
                  <a:gd name="connsiteX55" fmla="*/ 48930 w 86986"/>
                  <a:gd name="connsiteY55" fmla="*/ 89317 h 173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86986" h="173197">
                    <a:moveTo>
                      <a:pt x="48930" y="7767"/>
                    </a:moveTo>
                    <a:lnTo>
                      <a:pt x="48930" y="17087"/>
                    </a:lnTo>
                    <a:cubicBezTo>
                      <a:pt x="55143" y="17863"/>
                      <a:pt x="59803" y="18640"/>
                      <a:pt x="64463" y="20970"/>
                    </a:cubicBezTo>
                    <a:cubicBezTo>
                      <a:pt x="68346" y="22523"/>
                      <a:pt x="72230" y="25630"/>
                      <a:pt x="75337" y="29513"/>
                    </a:cubicBezTo>
                    <a:cubicBezTo>
                      <a:pt x="77667" y="32620"/>
                      <a:pt x="79996" y="34950"/>
                      <a:pt x="80773" y="38057"/>
                    </a:cubicBezTo>
                    <a:cubicBezTo>
                      <a:pt x="82327" y="41163"/>
                      <a:pt x="83103" y="43493"/>
                      <a:pt x="83103" y="46600"/>
                    </a:cubicBezTo>
                    <a:cubicBezTo>
                      <a:pt x="83103" y="49707"/>
                      <a:pt x="82327" y="52037"/>
                      <a:pt x="79996" y="53590"/>
                    </a:cubicBezTo>
                    <a:cubicBezTo>
                      <a:pt x="77667" y="55920"/>
                      <a:pt x="75337" y="56697"/>
                      <a:pt x="73006" y="56697"/>
                    </a:cubicBezTo>
                    <a:cubicBezTo>
                      <a:pt x="67570" y="56697"/>
                      <a:pt x="64463" y="53590"/>
                      <a:pt x="62134" y="48154"/>
                    </a:cubicBezTo>
                    <a:cubicBezTo>
                      <a:pt x="60580" y="41163"/>
                      <a:pt x="55920" y="36504"/>
                      <a:pt x="48930" y="34173"/>
                    </a:cubicBezTo>
                    <a:lnTo>
                      <a:pt x="48930" y="68347"/>
                    </a:lnTo>
                    <a:cubicBezTo>
                      <a:pt x="55920" y="69900"/>
                      <a:pt x="61356" y="72230"/>
                      <a:pt x="65240" y="73784"/>
                    </a:cubicBezTo>
                    <a:cubicBezTo>
                      <a:pt x="69123" y="75337"/>
                      <a:pt x="73006" y="77667"/>
                      <a:pt x="76113" y="80773"/>
                    </a:cubicBezTo>
                    <a:cubicBezTo>
                      <a:pt x="79220" y="83880"/>
                      <a:pt x="82327" y="87764"/>
                      <a:pt x="83880" y="91647"/>
                    </a:cubicBezTo>
                    <a:cubicBezTo>
                      <a:pt x="85434" y="95530"/>
                      <a:pt x="86987" y="100190"/>
                      <a:pt x="86987" y="105627"/>
                    </a:cubicBezTo>
                    <a:cubicBezTo>
                      <a:pt x="86987" y="111840"/>
                      <a:pt x="85434" y="118054"/>
                      <a:pt x="82327" y="123490"/>
                    </a:cubicBezTo>
                    <a:cubicBezTo>
                      <a:pt x="79220" y="128927"/>
                      <a:pt x="75337" y="133587"/>
                      <a:pt x="69123" y="136694"/>
                    </a:cubicBezTo>
                    <a:cubicBezTo>
                      <a:pt x="63687" y="139801"/>
                      <a:pt x="56696" y="142131"/>
                      <a:pt x="48930" y="142907"/>
                    </a:cubicBezTo>
                    <a:lnTo>
                      <a:pt x="48930" y="163877"/>
                    </a:lnTo>
                    <a:cubicBezTo>
                      <a:pt x="48930" y="166984"/>
                      <a:pt x="48930" y="169314"/>
                      <a:pt x="48153" y="170868"/>
                    </a:cubicBezTo>
                    <a:cubicBezTo>
                      <a:pt x="47377" y="172421"/>
                      <a:pt x="45823" y="173197"/>
                      <a:pt x="44270" y="173197"/>
                    </a:cubicBezTo>
                    <a:cubicBezTo>
                      <a:pt x="41939" y="173197"/>
                      <a:pt x="41163" y="172421"/>
                      <a:pt x="40386" y="171644"/>
                    </a:cubicBezTo>
                    <a:cubicBezTo>
                      <a:pt x="39610" y="170091"/>
                      <a:pt x="38834" y="168538"/>
                      <a:pt x="38834" y="166207"/>
                    </a:cubicBezTo>
                    <a:lnTo>
                      <a:pt x="38834" y="142131"/>
                    </a:lnTo>
                    <a:cubicBezTo>
                      <a:pt x="32620" y="141354"/>
                      <a:pt x="26406" y="139801"/>
                      <a:pt x="21746" y="137471"/>
                    </a:cubicBezTo>
                    <a:cubicBezTo>
                      <a:pt x="17086" y="135140"/>
                      <a:pt x="13203" y="132034"/>
                      <a:pt x="9320" y="128927"/>
                    </a:cubicBezTo>
                    <a:cubicBezTo>
                      <a:pt x="6213" y="125821"/>
                      <a:pt x="3883" y="121937"/>
                      <a:pt x="2329" y="118054"/>
                    </a:cubicBezTo>
                    <a:cubicBezTo>
                      <a:pt x="776" y="114171"/>
                      <a:pt x="0" y="110287"/>
                      <a:pt x="0" y="107180"/>
                    </a:cubicBezTo>
                    <a:cubicBezTo>
                      <a:pt x="0" y="104851"/>
                      <a:pt x="776" y="102521"/>
                      <a:pt x="3106" y="100190"/>
                    </a:cubicBezTo>
                    <a:cubicBezTo>
                      <a:pt x="5436" y="97860"/>
                      <a:pt x="7767" y="97084"/>
                      <a:pt x="10873" y="97084"/>
                    </a:cubicBezTo>
                    <a:cubicBezTo>
                      <a:pt x="13203" y="97084"/>
                      <a:pt x="15533" y="97860"/>
                      <a:pt x="17086" y="98637"/>
                    </a:cubicBezTo>
                    <a:cubicBezTo>
                      <a:pt x="18639" y="99414"/>
                      <a:pt x="20193" y="101744"/>
                      <a:pt x="20970" y="103297"/>
                    </a:cubicBezTo>
                    <a:cubicBezTo>
                      <a:pt x="22523" y="107957"/>
                      <a:pt x="24077" y="111064"/>
                      <a:pt x="24853" y="113394"/>
                    </a:cubicBezTo>
                    <a:cubicBezTo>
                      <a:pt x="25630" y="115724"/>
                      <a:pt x="27960" y="118054"/>
                      <a:pt x="29513" y="119607"/>
                    </a:cubicBezTo>
                    <a:cubicBezTo>
                      <a:pt x="31843" y="121937"/>
                      <a:pt x="34950" y="123490"/>
                      <a:pt x="38056" y="124267"/>
                    </a:cubicBezTo>
                    <a:lnTo>
                      <a:pt x="38056" y="85434"/>
                    </a:lnTo>
                    <a:cubicBezTo>
                      <a:pt x="30289" y="83104"/>
                      <a:pt x="24853" y="80773"/>
                      <a:pt x="19417" y="78444"/>
                    </a:cubicBezTo>
                    <a:cubicBezTo>
                      <a:pt x="14756" y="76114"/>
                      <a:pt x="10096" y="72230"/>
                      <a:pt x="6989" y="67570"/>
                    </a:cubicBezTo>
                    <a:cubicBezTo>
                      <a:pt x="3883" y="62910"/>
                      <a:pt x="2329" y="56697"/>
                      <a:pt x="2329" y="49707"/>
                    </a:cubicBezTo>
                    <a:cubicBezTo>
                      <a:pt x="2329" y="40387"/>
                      <a:pt x="5436" y="32620"/>
                      <a:pt x="11650" y="26407"/>
                    </a:cubicBezTo>
                    <a:cubicBezTo>
                      <a:pt x="17863" y="20193"/>
                      <a:pt x="26406" y="17087"/>
                      <a:pt x="38056" y="15533"/>
                    </a:cubicBezTo>
                    <a:lnTo>
                      <a:pt x="38056" y="6990"/>
                    </a:lnTo>
                    <a:cubicBezTo>
                      <a:pt x="38056" y="2330"/>
                      <a:pt x="39610" y="0"/>
                      <a:pt x="43493" y="0"/>
                    </a:cubicBezTo>
                    <a:cubicBezTo>
                      <a:pt x="47377" y="1553"/>
                      <a:pt x="48930" y="3106"/>
                      <a:pt x="48930" y="7767"/>
                    </a:cubicBezTo>
                    <a:close/>
                    <a:moveTo>
                      <a:pt x="38834" y="64464"/>
                    </a:moveTo>
                    <a:lnTo>
                      <a:pt x="38834" y="33397"/>
                    </a:lnTo>
                    <a:cubicBezTo>
                      <a:pt x="34173" y="34950"/>
                      <a:pt x="30289" y="36504"/>
                      <a:pt x="27960" y="38834"/>
                    </a:cubicBezTo>
                    <a:cubicBezTo>
                      <a:pt x="25630" y="41163"/>
                      <a:pt x="24077" y="44270"/>
                      <a:pt x="24077" y="48930"/>
                    </a:cubicBezTo>
                    <a:cubicBezTo>
                      <a:pt x="24077" y="53590"/>
                      <a:pt x="25630" y="56697"/>
                      <a:pt x="27960" y="59027"/>
                    </a:cubicBezTo>
                    <a:cubicBezTo>
                      <a:pt x="30289" y="60580"/>
                      <a:pt x="33396" y="62910"/>
                      <a:pt x="38834" y="64464"/>
                    </a:cubicBezTo>
                    <a:close/>
                    <a:moveTo>
                      <a:pt x="48930" y="89317"/>
                    </a:moveTo>
                    <a:lnTo>
                      <a:pt x="48930" y="125821"/>
                    </a:lnTo>
                    <a:cubicBezTo>
                      <a:pt x="54367" y="125044"/>
                      <a:pt x="59027" y="122714"/>
                      <a:pt x="62134" y="118830"/>
                    </a:cubicBezTo>
                    <a:cubicBezTo>
                      <a:pt x="65240" y="115724"/>
                      <a:pt x="66793" y="111840"/>
                      <a:pt x="66793" y="107180"/>
                    </a:cubicBezTo>
                    <a:cubicBezTo>
                      <a:pt x="66793" y="102521"/>
                      <a:pt x="65240" y="98637"/>
                      <a:pt x="62134" y="96307"/>
                    </a:cubicBezTo>
                    <a:cubicBezTo>
                      <a:pt x="59027" y="93200"/>
                      <a:pt x="55143" y="90871"/>
                      <a:pt x="48930" y="89317"/>
                    </a:cubicBez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98" name="Forma Livre: Forma 297">
                <a:extLst>
                  <a:ext uri="{FF2B5EF4-FFF2-40B4-BE49-F238E27FC236}">
                    <a16:creationId xmlns:a16="http://schemas.microsoft.com/office/drawing/2014/main" id="{B80D4A19-52AD-4128-B8AC-109782650959}"/>
                  </a:ext>
                </a:extLst>
              </p:cNvPr>
              <p:cNvSpPr/>
              <p:nvPr/>
            </p:nvSpPr>
            <p:spPr>
              <a:xfrm>
                <a:off x="10540885" y="6466557"/>
                <a:ext cx="95529" cy="125820"/>
              </a:xfrm>
              <a:custGeom>
                <a:avLst/>
                <a:gdLst>
                  <a:gd name="connsiteX0" fmla="*/ 34950 w 95529"/>
                  <a:gd name="connsiteY0" fmla="*/ 79220 h 125820"/>
                  <a:gd name="connsiteX1" fmla="*/ 54367 w 95529"/>
                  <a:gd name="connsiteY1" fmla="*/ 108734 h 125820"/>
                  <a:gd name="connsiteX2" fmla="*/ 65240 w 95529"/>
                  <a:gd name="connsiteY2" fmla="*/ 105627 h 125820"/>
                  <a:gd name="connsiteX3" fmla="*/ 74560 w 95529"/>
                  <a:gd name="connsiteY3" fmla="*/ 92424 h 125820"/>
                  <a:gd name="connsiteX4" fmla="*/ 79996 w 95529"/>
                  <a:gd name="connsiteY4" fmla="*/ 83881 h 125820"/>
                  <a:gd name="connsiteX5" fmla="*/ 84656 w 95529"/>
                  <a:gd name="connsiteY5" fmla="*/ 82327 h 125820"/>
                  <a:gd name="connsiteX6" fmla="*/ 92423 w 95529"/>
                  <a:gd name="connsiteY6" fmla="*/ 85434 h 125820"/>
                  <a:gd name="connsiteX7" fmla="*/ 95530 w 95529"/>
                  <a:gd name="connsiteY7" fmla="*/ 93200 h 125820"/>
                  <a:gd name="connsiteX8" fmla="*/ 83880 w 95529"/>
                  <a:gd name="connsiteY8" fmla="*/ 115724 h 125820"/>
                  <a:gd name="connsiteX9" fmla="*/ 55143 w 95529"/>
                  <a:gd name="connsiteY9" fmla="*/ 125821 h 125820"/>
                  <a:gd name="connsiteX10" fmla="*/ 27183 w 95529"/>
                  <a:gd name="connsiteY10" fmla="*/ 114171 h 125820"/>
                  <a:gd name="connsiteX11" fmla="*/ 13203 w 95529"/>
                  <a:gd name="connsiteY11" fmla="*/ 79220 h 125820"/>
                  <a:gd name="connsiteX12" fmla="*/ 2329 w 95529"/>
                  <a:gd name="connsiteY12" fmla="*/ 79220 h 125820"/>
                  <a:gd name="connsiteX13" fmla="*/ 776 w 95529"/>
                  <a:gd name="connsiteY13" fmla="*/ 76891 h 125820"/>
                  <a:gd name="connsiteX14" fmla="*/ 2329 w 95529"/>
                  <a:gd name="connsiteY14" fmla="*/ 71454 h 125820"/>
                  <a:gd name="connsiteX15" fmla="*/ 4660 w 95529"/>
                  <a:gd name="connsiteY15" fmla="*/ 68347 h 125820"/>
                  <a:gd name="connsiteX16" fmla="*/ 11650 w 95529"/>
                  <a:gd name="connsiteY16" fmla="*/ 68347 h 125820"/>
                  <a:gd name="connsiteX17" fmla="*/ 11650 w 95529"/>
                  <a:gd name="connsiteY17" fmla="*/ 65241 h 125820"/>
                  <a:gd name="connsiteX18" fmla="*/ 11650 w 95529"/>
                  <a:gd name="connsiteY18" fmla="*/ 54367 h 125820"/>
                  <a:gd name="connsiteX19" fmla="*/ 1553 w 95529"/>
                  <a:gd name="connsiteY19" fmla="*/ 54367 h 125820"/>
                  <a:gd name="connsiteX20" fmla="*/ 0 w 95529"/>
                  <a:gd name="connsiteY20" fmla="*/ 52037 h 125820"/>
                  <a:gd name="connsiteX21" fmla="*/ 1553 w 95529"/>
                  <a:gd name="connsiteY21" fmla="*/ 46600 h 125820"/>
                  <a:gd name="connsiteX22" fmla="*/ 3883 w 95529"/>
                  <a:gd name="connsiteY22" fmla="*/ 43494 h 125820"/>
                  <a:gd name="connsiteX23" fmla="*/ 12427 w 95529"/>
                  <a:gd name="connsiteY23" fmla="*/ 43494 h 125820"/>
                  <a:gd name="connsiteX24" fmla="*/ 52813 w 95529"/>
                  <a:gd name="connsiteY24" fmla="*/ 0 h 125820"/>
                  <a:gd name="connsiteX25" fmla="*/ 79996 w 95529"/>
                  <a:gd name="connsiteY25" fmla="*/ 7767 h 125820"/>
                  <a:gd name="connsiteX26" fmla="*/ 91647 w 95529"/>
                  <a:gd name="connsiteY26" fmla="*/ 27960 h 125820"/>
                  <a:gd name="connsiteX27" fmla="*/ 89317 w 95529"/>
                  <a:gd name="connsiteY27" fmla="*/ 34950 h 125820"/>
                  <a:gd name="connsiteX28" fmla="*/ 83103 w 95529"/>
                  <a:gd name="connsiteY28" fmla="*/ 38057 h 125820"/>
                  <a:gd name="connsiteX29" fmla="*/ 76890 w 95529"/>
                  <a:gd name="connsiteY29" fmla="*/ 35727 h 125820"/>
                  <a:gd name="connsiteX30" fmla="*/ 73006 w 95529"/>
                  <a:gd name="connsiteY30" fmla="*/ 28737 h 125820"/>
                  <a:gd name="connsiteX31" fmla="*/ 67570 w 95529"/>
                  <a:gd name="connsiteY31" fmla="*/ 19417 h 125820"/>
                  <a:gd name="connsiteX32" fmla="*/ 56696 w 95529"/>
                  <a:gd name="connsiteY32" fmla="*/ 16310 h 125820"/>
                  <a:gd name="connsiteX33" fmla="*/ 42717 w 95529"/>
                  <a:gd name="connsiteY33" fmla="*/ 22524 h 125820"/>
                  <a:gd name="connsiteX34" fmla="*/ 36503 w 95529"/>
                  <a:gd name="connsiteY34" fmla="*/ 42717 h 125820"/>
                  <a:gd name="connsiteX35" fmla="*/ 62910 w 95529"/>
                  <a:gd name="connsiteY35" fmla="*/ 42717 h 125820"/>
                  <a:gd name="connsiteX36" fmla="*/ 64463 w 95529"/>
                  <a:gd name="connsiteY36" fmla="*/ 45047 h 125820"/>
                  <a:gd name="connsiteX37" fmla="*/ 62910 w 95529"/>
                  <a:gd name="connsiteY37" fmla="*/ 50484 h 125820"/>
                  <a:gd name="connsiteX38" fmla="*/ 60580 w 95529"/>
                  <a:gd name="connsiteY38" fmla="*/ 53590 h 125820"/>
                  <a:gd name="connsiteX39" fmla="*/ 35727 w 95529"/>
                  <a:gd name="connsiteY39" fmla="*/ 53590 h 125820"/>
                  <a:gd name="connsiteX40" fmla="*/ 35727 w 95529"/>
                  <a:gd name="connsiteY40" fmla="*/ 61357 h 125820"/>
                  <a:gd name="connsiteX41" fmla="*/ 35727 w 95529"/>
                  <a:gd name="connsiteY41" fmla="*/ 66794 h 125820"/>
                  <a:gd name="connsiteX42" fmla="*/ 62910 w 95529"/>
                  <a:gd name="connsiteY42" fmla="*/ 66794 h 125820"/>
                  <a:gd name="connsiteX43" fmla="*/ 64463 w 95529"/>
                  <a:gd name="connsiteY43" fmla="*/ 69124 h 125820"/>
                  <a:gd name="connsiteX44" fmla="*/ 62910 w 95529"/>
                  <a:gd name="connsiteY44" fmla="*/ 74561 h 125820"/>
                  <a:gd name="connsiteX45" fmla="*/ 60580 w 95529"/>
                  <a:gd name="connsiteY45" fmla="*/ 77667 h 125820"/>
                  <a:gd name="connsiteX46" fmla="*/ 34950 w 95529"/>
                  <a:gd name="connsiteY46" fmla="*/ 77667 h 125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95529" h="125820">
                    <a:moveTo>
                      <a:pt x="34950" y="79220"/>
                    </a:moveTo>
                    <a:cubicBezTo>
                      <a:pt x="36503" y="99414"/>
                      <a:pt x="43493" y="108734"/>
                      <a:pt x="54367" y="108734"/>
                    </a:cubicBezTo>
                    <a:cubicBezTo>
                      <a:pt x="58250" y="108734"/>
                      <a:pt x="62134" y="107957"/>
                      <a:pt x="65240" y="105627"/>
                    </a:cubicBezTo>
                    <a:cubicBezTo>
                      <a:pt x="68346" y="104074"/>
                      <a:pt x="71453" y="99414"/>
                      <a:pt x="74560" y="92424"/>
                    </a:cubicBezTo>
                    <a:cubicBezTo>
                      <a:pt x="76890" y="87764"/>
                      <a:pt x="78444" y="84657"/>
                      <a:pt x="79996" y="83881"/>
                    </a:cubicBezTo>
                    <a:cubicBezTo>
                      <a:pt x="81550" y="83104"/>
                      <a:pt x="83103" y="82327"/>
                      <a:pt x="84656" y="82327"/>
                    </a:cubicBezTo>
                    <a:cubicBezTo>
                      <a:pt x="87763" y="82327"/>
                      <a:pt x="90870" y="83104"/>
                      <a:pt x="92423" y="85434"/>
                    </a:cubicBezTo>
                    <a:cubicBezTo>
                      <a:pt x="93977" y="86987"/>
                      <a:pt x="95530" y="90094"/>
                      <a:pt x="95530" y="93200"/>
                    </a:cubicBezTo>
                    <a:cubicBezTo>
                      <a:pt x="95530" y="100967"/>
                      <a:pt x="91647" y="108734"/>
                      <a:pt x="83880" y="115724"/>
                    </a:cubicBezTo>
                    <a:cubicBezTo>
                      <a:pt x="76113" y="122714"/>
                      <a:pt x="66017" y="125821"/>
                      <a:pt x="55143" y="125821"/>
                    </a:cubicBezTo>
                    <a:cubicBezTo>
                      <a:pt x="44270" y="125821"/>
                      <a:pt x="34950" y="121937"/>
                      <a:pt x="27183" y="114171"/>
                    </a:cubicBezTo>
                    <a:cubicBezTo>
                      <a:pt x="19417" y="106404"/>
                      <a:pt x="14756" y="94754"/>
                      <a:pt x="13203" y="79220"/>
                    </a:cubicBezTo>
                    <a:lnTo>
                      <a:pt x="2329" y="79220"/>
                    </a:lnTo>
                    <a:cubicBezTo>
                      <a:pt x="1553" y="79220"/>
                      <a:pt x="776" y="78444"/>
                      <a:pt x="776" y="76891"/>
                    </a:cubicBezTo>
                    <a:cubicBezTo>
                      <a:pt x="776" y="75337"/>
                      <a:pt x="1553" y="73784"/>
                      <a:pt x="2329" y="71454"/>
                    </a:cubicBezTo>
                    <a:cubicBezTo>
                      <a:pt x="3106" y="69124"/>
                      <a:pt x="3883" y="68347"/>
                      <a:pt x="4660" y="68347"/>
                    </a:cubicBezTo>
                    <a:lnTo>
                      <a:pt x="11650" y="68347"/>
                    </a:lnTo>
                    <a:lnTo>
                      <a:pt x="11650" y="65241"/>
                    </a:lnTo>
                    <a:cubicBezTo>
                      <a:pt x="11650" y="62911"/>
                      <a:pt x="11650" y="59027"/>
                      <a:pt x="11650" y="54367"/>
                    </a:cubicBezTo>
                    <a:lnTo>
                      <a:pt x="1553" y="54367"/>
                    </a:lnTo>
                    <a:cubicBezTo>
                      <a:pt x="776" y="54367"/>
                      <a:pt x="0" y="53590"/>
                      <a:pt x="0" y="52037"/>
                    </a:cubicBezTo>
                    <a:cubicBezTo>
                      <a:pt x="0" y="50484"/>
                      <a:pt x="776" y="48931"/>
                      <a:pt x="1553" y="46600"/>
                    </a:cubicBezTo>
                    <a:cubicBezTo>
                      <a:pt x="2329" y="44270"/>
                      <a:pt x="3106" y="43494"/>
                      <a:pt x="3883" y="43494"/>
                    </a:cubicBezTo>
                    <a:lnTo>
                      <a:pt x="12427" y="43494"/>
                    </a:lnTo>
                    <a:cubicBezTo>
                      <a:pt x="16310" y="14757"/>
                      <a:pt x="29513" y="0"/>
                      <a:pt x="52813" y="0"/>
                    </a:cubicBezTo>
                    <a:cubicBezTo>
                      <a:pt x="62910" y="0"/>
                      <a:pt x="72230" y="2330"/>
                      <a:pt x="79996" y="7767"/>
                    </a:cubicBezTo>
                    <a:cubicBezTo>
                      <a:pt x="87763" y="13203"/>
                      <a:pt x="91647" y="19417"/>
                      <a:pt x="91647" y="27960"/>
                    </a:cubicBezTo>
                    <a:cubicBezTo>
                      <a:pt x="91647" y="30290"/>
                      <a:pt x="90870" y="32620"/>
                      <a:pt x="89317" y="34950"/>
                    </a:cubicBezTo>
                    <a:cubicBezTo>
                      <a:pt x="87763" y="36504"/>
                      <a:pt x="85434" y="38057"/>
                      <a:pt x="83103" y="38057"/>
                    </a:cubicBezTo>
                    <a:cubicBezTo>
                      <a:pt x="79996" y="38057"/>
                      <a:pt x="78444" y="37281"/>
                      <a:pt x="76890" y="35727"/>
                    </a:cubicBezTo>
                    <a:cubicBezTo>
                      <a:pt x="75337" y="34174"/>
                      <a:pt x="74560" y="31844"/>
                      <a:pt x="73006" y="28737"/>
                    </a:cubicBezTo>
                    <a:cubicBezTo>
                      <a:pt x="71453" y="24854"/>
                      <a:pt x="69123" y="21747"/>
                      <a:pt x="67570" y="19417"/>
                    </a:cubicBezTo>
                    <a:cubicBezTo>
                      <a:pt x="65240" y="17087"/>
                      <a:pt x="61356" y="16310"/>
                      <a:pt x="56696" y="16310"/>
                    </a:cubicBezTo>
                    <a:cubicBezTo>
                      <a:pt x="50484" y="16310"/>
                      <a:pt x="45823" y="18640"/>
                      <a:pt x="42717" y="22524"/>
                    </a:cubicBezTo>
                    <a:cubicBezTo>
                      <a:pt x="39610" y="26407"/>
                      <a:pt x="37280" y="33397"/>
                      <a:pt x="36503" y="42717"/>
                    </a:cubicBezTo>
                    <a:lnTo>
                      <a:pt x="62910" y="42717"/>
                    </a:lnTo>
                    <a:cubicBezTo>
                      <a:pt x="63687" y="42717"/>
                      <a:pt x="64463" y="43494"/>
                      <a:pt x="64463" y="45047"/>
                    </a:cubicBezTo>
                    <a:cubicBezTo>
                      <a:pt x="64463" y="46600"/>
                      <a:pt x="63687" y="48154"/>
                      <a:pt x="62910" y="50484"/>
                    </a:cubicBezTo>
                    <a:cubicBezTo>
                      <a:pt x="62134" y="52814"/>
                      <a:pt x="61356" y="53590"/>
                      <a:pt x="60580" y="53590"/>
                    </a:cubicBezTo>
                    <a:lnTo>
                      <a:pt x="35727" y="53590"/>
                    </a:lnTo>
                    <a:lnTo>
                      <a:pt x="35727" y="61357"/>
                    </a:lnTo>
                    <a:cubicBezTo>
                      <a:pt x="35727" y="63687"/>
                      <a:pt x="35727" y="66017"/>
                      <a:pt x="35727" y="66794"/>
                    </a:cubicBezTo>
                    <a:lnTo>
                      <a:pt x="62910" y="66794"/>
                    </a:lnTo>
                    <a:cubicBezTo>
                      <a:pt x="63687" y="66794"/>
                      <a:pt x="64463" y="67570"/>
                      <a:pt x="64463" y="69124"/>
                    </a:cubicBezTo>
                    <a:cubicBezTo>
                      <a:pt x="64463" y="70677"/>
                      <a:pt x="63687" y="72231"/>
                      <a:pt x="62910" y="74561"/>
                    </a:cubicBezTo>
                    <a:cubicBezTo>
                      <a:pt x="62134" y="76891"/>
                      <a:pt x="61356" y="77667"/>
                      <a:pt x="60580" y="77667"/>
                    </a:cubicBezTo>
                    <a:lnTo>
                      <a:pt x="34950" y="77667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99" name="Forma Livre: Forma 298">
                <a:extLst>
                  <a:ext uri="{FF2B5EF4-FFF2-40B4-BE49-F238E27FC236}">
                    <a16:creationId xmlns:a16="http://schemas.microsoft.com/office/drawing/2014/main" id="{D5FE4671-435C-48B7-8CE5-F1300982D9E4}"/>
                  </a:ext>
                </a:extLst>
              </p:cNvPr>
              <p:cNvSpPr/>
              <p:nvPr/>
            </p:nvSpPr>
            <p:spPr>
              <a:xfrm>
                <a:off x="10384773" y="6647522"/>
                <a:ext cx="99414" cy="125820"/>
              </a:xfrm>
              <a:custGeom>
                <a:avLst/>
                <a:gdLst>
                  <a:gd name="connsiteX0" fmla="*/ 38057 w 99414"/>
                  <a:gd name="connsiteY0" fmla="*/ 53590 h 125820"/>
                  <a:gd name="connsiteX1" fmla="*/ 50484 w 99414"/>
                  <a:gd name="connsiteY1" fmla="*/ 53590 h 125820"/>
                  <a:gd name="connsiteX2" fmla="*/ 61357 w 99414"/>
                  <a:gd name="connsiteY2" fmla="*/ 55143 h 125820"/>
                  <a:gd name="connsiteX3" fmla="*/ 65241 w 99414"/>
                  <a:gd name="connsiteY3" fmla="*/ 61357 h 125820"/>
                  <a:gd name="connsiteX4" fmla="*/ 62911 w 99414"/>
                  <a:gd name="connsiteY4" fmla="*/ 66793 h 125820"/>
                  <a:gd name="connsiteX5" fmla="*/ 56697 w 99414"/>
                  <a:gd name="connsiteY5" fmla="*/ 69123 h 125820"/>
                  <a:gd name="connsiteX6" fmla="*/ 41940 w 99414"/>
                  <a:gd name="connsiteY6" fmla="*/ 69123 h 125820"/>
                  <a:gd name="connsiteX7" fmla="*/ 41940 w 99414"/>
                  <a:gd name="connsiteY7" fmla="*/ 70677 h 125820"/>
                  <a:gd name="connsiteX8" fmla="*/ 38057 w 99414"/>
                  <a:gd name="connsiteY8" fmla="*/ 86210 h 125820"/>
                  <a:gd name="connsiteX9" fmla="*/ 24854 w 99414"/>
                  <a:gd name="connsiteY9" fmla="*/ 104074 h 125820"/>
                  <a:gd name="connsiteX10" fmla="*/ 30290 w 99414"/>
                  <a:gd name="connsiteY10" fmla="*/ 102520 h 125820"/>
                  <a:gd name="connsiteX11" fmla="*/ 36504 w 99414"/>
                  <a:gd name="connsiteY11" fmla="*/ 101744 h 125820"/>
                  <a:gd name="connsiteX12" fmla="*/ 43494 w 99414"/>
                  <a:gd name="connsiteY12" fmla="*/ 100967 h 125820"/>
                  <a:gd name="connsiteX13" fmla="*/ 59028 w 99414"/>
                  <a:gd name="connsiteY13" fmla="*/ 102520 h 125820"/>
                  <a:gd name="connsiteX14" fmla="*/ 72231 w 99414"/>
                  <a:gd name="connsiteY14" fmla="*/ 104074 h 125820"/>
                  <a:gd name="connsiteX15" fmla="*/ 82328 w 99414"/>
                  <a:gd name="connsiteY15" fmla="*/ 102520 h 125820"/>
                  <a:gd name="connsiteX16" fmla="*/ 89317 w 99414"/>
                  <a:gd name="connsiteY16" fmla="*/ 100967 h 125820"/>
                  <a:gd name="connsiteX17" fmla="*/ 96307 w 99414"/>
                  <a:gd name="connsiteY17" fmla="*/ 104074 h 125820"/>
                  <a:gd name="connsiteX18" fmla="*/ 99414 w 99414"/>
                  <a:gd name="connsiteY18" fmla="*/ 111064 h 125820"/>
                  <a:gd name="connsiteX19" fmla="*/ 91647 w 99414"/>
                  <a:gd name="connsiteY19" fmla="*/ 121937 h 125820"/>
                  <a:gd name="connsiteX20" fmla="*/ 75338 w 99414"/>
                  <a:gd name="connsiteY20" fmla="*/ 125820 h 125820"/>
                  <a:gd name="connsiteX21" fmla="*/ 45047 w 99414"/>
                  <a:gd name="connsiteY21" fmla="*/ 120384 h 125820"/>
                  <a:gd name="connsiteX22" fmla="*/ 42717 w 99414"/>
                  <a:gd name="connsiteY22" fmla="*/ 119607 h 125820"/>
                  <a:gd name="connsiteX23" fmla="*/ 38834 w 99414"/>
                  <a:gd name="connsiteY23" fmla="*/ 118830 h 125820"/>
                  <a:gd name="connsiteX24" fmla="*/ 33397 w 99414"/>
                  <a:gd name="connsiteY24" fmla="*/ 118830 h 125820"/>
                  <a:gd name="connsiteX25" fmla="*/ 27183 w 99414"/>
                  <a:gd name="connsiteY25" fmla="*/ 119607 h 125820"/>
                  <a:gd name="connsiteX26" fmla="*/ 17864 w 99414"/>
                  <a:gd name="connsiteY26" fmla="*/ 123490 h 125820"/>
                  <a:gd name="connsiteX27" fmla="*/ 9321 w 99414"/>
                  <a:gd name="connsiteY27" fmla="*/ 125820 h 125820"/>
                  <a:gd name="connsiteX28" fmla="*/ 3107 w 99414"/>
                  <a:gd name="connsiteY28" fmla="*/ 122714 h 125820"/>
                  <a:gd name="connsiteX29" fmla="*/ 0 w 99414"/>
                  <a:gd name="connsiteY29" fmla="*/ 114947 h 125820"/>
                  <a:gd name="connsiteX30" fmla="*/ 777 w 99414"/>
                  <a:gd name="connsiteY30" fmla="*/ 111064 h 125820"/>
                  <a:gd name="connsiteX31" fmla="*/ 3883 w 99414"/>
                  <a:gd name="connsiteY31" fmla="*/ 106403 h 125820"/>
                  <a:gd name="connsiteX32" fmla="*/ 10874 w 99414"/>
                  <a:gd name="connsiteY32" fmla="*/ 100190 h 125820"/>
                  <a:gd name="connsiteX33" fmla="*/ 17864 w 99414"/>
                  <a:gd name="connsiteY33" fmla="*/ 90094 h 125820"/>
                  <a:gd name="connsiteX34" fmla="*/ 20971 w 99414"/>
                  <a:gd name="connsiteY34" fmla="*/ 77667 h 125820"/>
                  <a:gd name="connsiteX35" fmla="*/ 20194 w 99414"/>
                  <a:gd name="connsiteY35" fmla="*/ 70677 h 125820"/>
                  <a:gd name="connsiteX36" fmla="*/ 13204 w 99414"/>
                  <a:gd name="connsiteY36" fmla="*/ 70677 h 125820"/>
                  <a:gd name="connsiteX37" fmla="*/ 3883 w 99414"/>
                  <a:gd name="connsiteY37" fmla="*/ 69123 h 125820"/>
                  <a:gd name="connsiteX38" fmla="*/ 777 w 99414"/>
                  <a:gd name="connsiteY38" fmla="*/ 62910 h 125820"/>
                  <a:gd name="connsiteX39" fmla="*/ 11650 w 99414"/>
                  <a:gd name="connsiteY39" fmla="*/ 55143 h 125820"/>
                  <a:gd name="connsiteX40" fmla="*/ 16311 w 99414"/>
                  <a:gd name="connsiteY40" fmla="*/ 55143 h 125820"/>
                  <a:gd name="connsiteX41" fmla="*/ 12427 w 99414"/>
                  <a:gd name="connsiteY41" fmla="*/ 34950 h 125820"/>
                  <a:gd name="connsiteX42" fmla="*/ 17087 w 99414"/>
                  <a:gd name="connsiteY42" fmla="*/ 17086 h 125820"/>
                  <a:gd name="connsiteX43" fmla="*/ 31067 w 99414"/>
                  <a:gd name="connsiteY43" fmla="*/ 4660 h 125820"/>
                  <a:gd name="connsiteX44" fmla="*/ 51261 w 99414"/>
                  <a:gd name="connsiteY44" fmla="*/ 0 h 125820"/>
                  <a:gd name="connsiteX45" fmla="*/ 69124 w 99414"/>
                  <a:gd name="connsiteY45" fmla="*/ 2330 h 125820"/>
                  <a:gd name="connsiteX46" fmla="*/ 82328 w 99414"/>
                  <a:gd name="connsiteY46" fmla="*/ 10873 h 125820"/>
                  <a:gd name="connsiteX47" fmla="*/ 91647 w 99414"/>
                  <a:gd name="connsiteY47" fmla="*/ 32620 h 125820"/>
                  <a:gd name="connsiteX48" fmla="*/ 88541 w 99414"/>
                  <a:gd name="connsiteY48" fmla="*/ 39610 h 125820"/>
                  <a:gd name="connsiteX49" fmla="*/ 80774 w 99414"/>
                  <a:gd name="connsiteY49" fmla="*/ 42717 h 125820"/>
                  <a:gd name="connsiteX50" fmla="*/ 69900 w 99414"/>
                  <a:gd name="connsiteY50" fmla="*/ 33397 h 125820"/>
                  <a:gd name="connsiteX51" fmla="*/ 63688 w 99414"/>
                  <a:gd name="connsiteY51" fmla="*/ 20970 h 125820"/>
                  <a:gd name="connsiteX52" fmla="*/ 52814 w 99414"/>
                  <a:gd name="connsiteY52" fmla="*/ 17086 h 125820"/>
                  <a:gd name="connsiteX53" fmla="*/ 40387 w 99414"/>
                  <a:gd name="connsiteY53" fmla="*/ 21747 h 125820"/>
                  <a:gd name="connsiteX54" fmla="*/ 35728 w 99414"/>
                  <a:gd name="connsiteY54" fmla="*/ 34173 h 125820"/>
                  <a:gd name="connsiteX55" fmla="*/ 36504 w 99414"/>
                  <a:gd name="connsiteY55" fmla="*/ 42717 h 125820"/>
                  <a:gd name="connsiteX56" fmla="*/ 38057 w 99414"/>
                  <a:gd name="connsiteY56" fmla="*/ 53590 h 125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99414" h="125820">
                    <a:moveTo>
                      <a:pt x="38057" y="53590"/>
                    </a:moveTo>
                    <a:lnTo>
                      <a:pt x="50484" y="53590"/>
                    </a:lnTo>
                    <a:cubicBezTo>
                      <a:pt x="55144" y="53590"/>
                      <a:pt x="58250" y="54367"/>
                      <a:pt x="61357" y="55143"/>
                    </a:cubicBezTo>
                    <a:cubicBezTo>
                      <a:pt x="63688" y="55920"/>
                      <a:pt x="65241" y="58250"/>
                      <a:pt x="65241" y="61357"/>
                    </a:cubicBezTo>
                    <a:cubicBezTo>
                      <a:pt x="65241" y="63687"/>
                      <a:pt x="64464" y="65240"/>
                      <a:pt x="62911" y="66793"/>
                    </a:cubicBezTo>
                    <a:cubicBezTo>
                      <a:pt x="61357" y="68347"/>
                      <a:pt x="59028" y="69123"/>
                      <a:pt x="56697" y="69123"/>
                    </a:cubicBezTo>
                    <a:lnTo>
                      <a:pt x="41940" y="69123"/>
                    </a:lnTo>
                    <a:lnTo>
                      <a:pt x="41940" y="70677"/>
                    </a:lnTo>
                    <a:cubicBezTo>
                      <a:pt x="41940" y="76114"/>
                      <a:pt x="40387" y="81550"/>
                      <a:pt x="38057" y="86210"/>
                    </a:cubicBezTo>
                    <a:cubicBezTo>
                      <a:pt x="35728" y="90870"/>
                      <a:pt x="31067" y="97084"/>
                      <a:pt x="24854" y="104074"/>
                    </a:cubicBezTo>
                    <a:cubicBezTo>
                      <a:pt x="26407" y="103297"/>
                      <a:pt x="28737" y="103297"/>
                      <a:pt x="30290" y="102520"/>
                    </a:cubicBezTo>
                    <a:cubicBezTo>
                      <a:pt x="31844" y="101744"/>
                      <a:pt x="34174" y="101744"/>
                      <a:pt x="36504" y="101744"/>
                    </a:cubicBezTo>
                    <a:cubicBezTo>
                      <a:pt x="38834" y="101744"/>
                      <a:pt x="41164" y="100967"/>
                      <a:pt x="43494" y="100967"/>
                    </a:cubicBezTo>
                    <a:cubicBezTo>
                      <a:pt x="47378" y="100967"/>
                      <a:pt x="52037" y="101744"/>
                      <a:pt x="59028" y="102520"/>
                    </a:cubicBezTo>
                    <a:cubicBezTo>
                      <a:pt x="66017" y="103297"/>
                      <a:pt x="69900" y="104074"/>
                      <a:pt x="72231" y="104074"/>
                    </a:cubicBezTo>
                    <a:cubicBezTo>
                      <a:pt x="75338" y="104074"/>
                      <a:pt x="78444" y="103297"/>
                      <a:pt x="82328" y="102520"/>
                    </a:cubicBezTo>
                    <a:cubicBezTo>
                      <a:pt x="86211" y="101744"/>
                      <a:pt x="88541" y="100967"/>
                      <a:pt x="89317" y="100967"/>
                    </a:cubicBezTo>
                    <a:cubicBezTo>
                      <a:pt x="91647" y="100967"/>
                      <a:pt x="93978" y="101744"/>
                      <a:pt x="96307" y="104074"/>
                    </a:cubicBezTo>
                    <a:cubicBezTo>
                      <a:pt x="97861" y="106403"/>
                      <a:pt x="99414" y="108734"/>
                      <a:pt x="99414" y="111064"/>
                    </a:cubicBezTo>
                    <a:cubicBezTo>
                      <a:pt x="99414" y="115724"/>
                      <a:pt x="97084" y="118830"/>
                      <a:pt x="91647" y="121937"/>
                    </a:cubicBezTo>
                    <a:cubicBezTo>
                      <a:pt x="86211" y="124267"/>
                      <a:pt x="80774" y="125820"/>
                      <a:pt x="75338" y="125820"/>
                    </a:cubicBezTo>
                    <a:cubicBezTo>
                      <a:pt x="71454" y="125820"/>
                      <a:pt x="61357" y="124267"/>
                      <a:pt x="45047" y="120384"/>
                    </a:cubicBezTo>
                    <a:cubicBezTo>
                      <a:pt x="44271" y="120384"/>
                      <a:pt x="43494" y="120384"/>
                      <a:pt x="42717" y="119607"/>
                    </a:cubicBezTo>
                    <a:cubicBezTo>
                      <a:pt x="41940" y="119607"/>
                      <a:pt x="40387" y="118830"/>
                      <a:pt x="38834" y="118830"/>
                    </a:cubicBezTo>
                    <a:cubicBezTo>
                      <a:pt x="37281" y="118830"/>
                      <a:pt x="35728" y="118830"/>
                      <a:pt x="33397" y="118830"/>
                    </a:cubicBezTo>
                    <a:cubicBezTo>
                      <a:pt x="31067" y="118830"/>
                      <a:pt x="28737" y="118830"/>
                      <a:pt x="27183" y="119607"/>
                    </a:cubicBezTo>
                    <a:cubicBezTo>
                      <a:pt x="25631" y="120384"/>
                      <a:pt x="22524" y="121160"/>
                      <a:pt x="17864" y="123490"/>
                    </a:cubicBezTo>
                    <a:cubicBezTo>
                      <a:pt x="13204" y="125044"/>
                      <a:pt x="10874" y="125820"/>
                      <a:pt x="9321" y="125820"/>
                    </a:cubicBezTo>
                    <a:cubicBezTo>
                      <a:pt x="6990" y="125820"/>
                      <a:pt x="5437" y="125044"/>
                      <a:pt x="3107" y="122714"/>
                    </a:cubicBezTo>
                    <a:cubicBezTo>
                      <a:pt x="777" y="121160"/>
                      <a:pt x="0" y="118054"/>
                      <a:pt x="0" y="114947"/>
                    </a:cubicBezTo>
                    <a:cubicBezTo>
                      <a:pt x="0" y="114170"/>
                      <a:pt x="0" y="112617"/>
                      <a:pt x="777" y="111064"/>
                    </a:cubicBezTo>
                    <a:cubicBezTo>
                      <a:pt x="1554" y="109510"/>
                      <a:pt x="2330" y="108734"/>
                      <a:pt x="3883" y="106403"/>
                    </a:cubicBezTo>
                    <a:cubicBezTo>
                      <a:pt x="5437" y="104851"/>
                      <a:pt x="7767" y="102520"/>
                      <a:pt x="10874" y="100190"/>
                    </a:cubicBezTo>
                    <a:cubicBezTo>
                      <a:pt x="13980" y="97860"/>
                      <a:pt x="16311" y="94753"/>
                      <a:pt x="17864" y="90094"/>
                    </a:cubicBezTo>
                    <a:cubicBezTo>
                      <a:pt x="19417" y="85434"/>
                      <a:pt x="20971" y="81550"/>
                      <a:pt x="20971" y="77667"/>
                    </a:cubicBezTo>
                    <a:cubicBezTo>
                      <a:pt x="20971" y="76114"/>
                      <a:pt x="20971" y="73784"/>
                      <a:pt x="20194" y="70677"/>
                    </a:cubicBezTo>
                    <a:lnTo>
                      <a:pt x="13204" y="70677"/>
                    </a:lnTo>
                    <a:cubicBezTo>
                      <a:pt x="9321" y="70677"/>
                      <a:pt x="6214" y="69900"/>
                      <a:pt x="3883" y="69123"/>
                    </a:cubicBezTo>
                    <a:cubicBezTo>
                      <a:pt x="1554" y="68347"/>
                      <a:pt x="777" y="66017"/>
                      <a:pt x="777" y="62910"/>
                    </a:cubicBezTo>
                    <a:cubicBezTo>
                      <a:pt x="777" y="57473"/>
                      <a:pt x="4661" y="55143"/>
                      <a:pt x="11650" y="55143"/>
                    </a:cubicBezTo>
                    <a:lnTo>
                      <a:pt x="16311" y="55143"/>
                    </a:lnTo>
                    <a:cubicBezTo>
                      <a:pt x="13980" y="46600"/>
                      <a:pt x="12427" y="39610"/>
                      <a:pt x="12427" y="34950"/>
                    </a:cubicBezTo>
                    <a:cubicBezTo>
                      <a:pt x="12427" y="27960"/>
                      <a:pt x="13980" y="21747"/>
                      <a:pt x="17087" y="17086"/>
                    </a:cubicBezTo>
                    <a:cubicBezTo>
                      <a:pt x="20194" y="11650"/>
                      <a:pt x="24854" y="7767"/>
                      <a:pt x="31067" y="4660"/>
                    </a:cubicBezTo>
                    <a:cubicBezTo>
                      <a:pt x="37281" y="1553"/>
                      <a:pt x="44271" y="0"/>
                      <a:pt x="51261" y="0"/>
                    </a:cubicBezTo>
                    <a:cubicBezTo>
                      <a:pt x="58250" y="0"/>
                      <a:pt x="63688" y="776"/>
                      <a:pt x="69124" y="2330"/>
                    </a:cubicBezTo>
                    <a:cubicBezTo>
                      <a:pt x="73784" y="3883"/>
                      <a:pt x="78444" y="6990"/>
                      <a:pt x="82328" y="10873"/>
                    </a:cubicBezTo>
                    <a:cubicBezTo>
                      <a:pt x="88541" y="17863"/>
                      <a:pt x="91647" y="24853"/>
                      <a:pt x="91647" y="32620"/>
                    </a:cubicBezTo>
                    <a:cubicBezTo>
                      <a:pt x="91647" y="34950"/>
                      <a:pt x="90871" y="38057"/>
                      <a:pt x="88541" y="39610"/>
                    </a:cubicBezTo>
                    <a:cubicBezTo>
                      <a:pt x="86211" y="41940"/>
                      <a:pt x="83881" y="42717"/>
                      <a:pt x="80774" y="42717"/>
                    </a:cubicBezTo>
                    <a:cubicBezTo>
                      <a:pt x="75338" y="42717"/>
                      <a:pt x="72231" y="39610"/>
                      <a:pt x="69900" y="33397"/>
                    </a:cubicBezTo>
                    <a:cubicBezTo>
                      <a:pt x="68347" y="27960"/>
                      <a:pt x="66017" y="23300"/>
                      <a:pt x="63688" y="20970"/>
                    </a:cubicBezTo>
                    <a:cubicBezTo>
                      <a:pt x="60581" y="17863"/>
                      <a:pt x="57474" y="17086"/>
                      <a:pt x="52814" y="17086"/>
                    </a:cubicBezTo>
                    <a:cubicBezTo>
                      <a:pt x="47378" y="17086"/>
                      <a:pt x="43494" y="18640"/>
                      <a:pt x="40387" y="21747"/>
                    </a:cubicBezTo>
                    <a:cubicBezTo>
                      <a:pt x="37281" y="24853"/>
                      <a:pt x="35728" y="29513"/>
                      <a:pt x="35728" y="34173"/>
                    </a:cubicBezTo>
                    <a:cubicBezTo>
                      <a:pt x="35728" y="37280"/>
                      <a:pt x="35728" y="40386"/>
                      <a:pt x="36504" y="42717"/>
                    </a:cubicBezTo>
                    <a:cubicBezTo>
                      <a:pt x="35728" y="44270"/>
                      <a:pt x="36504" y="48153"/>
                      <a:pt x="38057" y="53590"/>
                    </a:cubicBez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00" name="Forma Livre: Forma 299">
                <a:extLst>
                  <a:ext uri="{FF2B5EF4-FFF2-40B4-BE49-F238E27FC236}">
                    <a16:creationId xmlns:a16="http://schemas.microsoft.com/office/drawing/2014/main" id="{2F0A1881-A511-4722-B5F8-A7414856FFAE}"/>
                  </a:ext>
                </a:extLst>
              </p:cNvPr>
              <p:cNvSpPr/>
              <p:nvPr/>
            </p:nvSpPr>
            <p:spPr>
              <a:xfrm>
                <a:off x="10540885" y="6645192"/>
                <a:ext cx="97083" cy="126597"/>
              </a:xfrm>
              <a:custGeom>
                <a:avLst/>
                <a:gdLst>
                  <a:gd name="connsiteX0" fmla="*/ 18639 w 97083"/>
                  <a:gd name="connsiteY0" fmla="*/ 86987 h 126597"/>
                  <a:gd name="connsiteX1" fmla="*/ 37280 w 97083"/>
                  <a:gd name="connsiteY1" fmla="*/ 86987 h 126597"/>
                  <a:gd name="connsiteX2" fmla="*/ 37280 w 97083"/>
                  <a:gd name="connsiteY2" fmla="*/ 75337 h 126597"/>
                  <a:gd name="connsiteX3" fmla="*/ 18639 w 97083"/>
                  <a:gd name="connsiteY3" fmla="*/ 75337 h 126597"/>
                  <a:gd name="connsiteX4" fmla="*/ 6989 w 97083"/>
                  <a:gd name="connsiteY4" fmla="*/ 67570 h 126597"/>
                  <a:gd name="connsiteX5" fmla="*/ 18639 w 97083"/>
                  <a:gd name="connsiteY5" fmla="*/ 59804 h 126597"/>
                  <a:gd name="connsiteX6" fmla="*/ 29513 w 97083"/>
                  <a:gd name="connsiteY6" fmla="*/ 59804 h 126597"/>
                  <a:gd name="connsiteX7" fmla="*/ 4660 w 97083"/>
                  <a:gd name="connsiteY7" fmla="*/ 20970 h 126597"/>
                  <a:gd name="connsiteX8" fmla="*/ 776 w 97083"/>
                  <a:gd name="connsiteY8" fmla="*/ 13980 h 126597"/>
                  <a:gd name="connsiteX9" fmla="*/ 0 w 97083"/>
                  <a:gd name="connsiteY9" fmla="*/ 9320 h 126597"/>
                  <a:gd name="connsiteX10" fmla="*/ 2329 w 97083"/>
                  <a:gd name="connsiteY10" fmla="*/ 2330 h 126597"/>
                  <a:gd name="connsiteX11" fmla="*/ 9320 w 97083"/>
                  <a:gd name="connsiteY11" fmla="*/ 0 h 126597"/>
                  <a:gd name="connsiteX12" fmla="*/ 16310 w 97083"/>
                  <a:gd name="connsiteY12" fmla="*/ 2330 h 126597"/>
                  <a:gd name="connsiteX13" fmla="*/ 22523 w 97083"/>
                  <a:gd name="connsiteY13" fmla="*/ 10874 h 126597"/>
                  <a:gd name="connsiteX14" fmla="*/ 48930 w 97083"/>
                  <a:gd name="connsiteY14" fmla="*/ 52814 h 126597"/>
                  <a:gd name="connsiteX15" fmla="*/ 73006 w 97083"/>
                  <a:gd name="connsiteY15" fmla="*/ 13203 h 126597"/>
                  <a:gd name="connsiteX16" fmla="*/ 76113 w 97083"/>
                  <a:gd name="connsiteY16" fmla="*/ 8544 h 126597"/>
                  <a:gd name="connsiteX17" fmla="*/ 79220 w 97083"/>
                  <a:gd name="connsiteY17" fmla="*/ 3883 h 126597"/>
                  <a:gd name="connsiteX18" fmla="*/ 83103 w 97083"/>
                  <a:gd name="connsiteY18" fmla="*/ 777 h 126597"/>
                  <a:gd name="connsiteX19" fmla="*/ 87763 w 97083"/>
                  <a:gd name="connsiteY19" fmla="*/ 0 h 126597"/>
                  <a:gd name="connsiteX20" fmla="*/ 94753 w 97083"/>
                  <a:gd name="connsiteY20" fmla="*/ 2330 h 126597"/>
                  <a:gd name="connsiteX21" fmla="*/ 97084 w 97083"/>
                  <a:gd name="connsiteY21" fmla="*/ 8544 h 126597"/>
                  <a:gd name="connsiteX22" fmla="*/ 96306 w 97083"/>
                  <a:gd name="connsiteY22" fmla="*/ 13980 h 126597"/>
                  <a:gd name="connsiteX23" fmla="*/ 93200 w 97083"/>
                  <a:gd name="connsiteY23" fmla="*/ 20194 h 126597"/>
                  <a:gd name="connsiteX24" fmla="*/ 69123 w 97083"/>
                  <a:gd name="connsiteY24" fmla="*/ 59804 h 126597"/>
                  <a:gd name="connsiteX25" fmla="*/ 79996 w 97083"/>
                  <a:gd name="connsiteY25" fmla="*/ 59804 h 126597"/>
                  <a:gd name="connsiteX26" fmla="*/ 91647 w 97083"/>
                  <a:gd name="connsiteY26" fmla="*/ 67570 h 126597"/>
                  <a:gd name="connsiteX27" fmla="*/ 79996 w 97083"/>
                  <a:gd name="connsiteY27" fmla="*/ 75337 h 126597"/>
                  <a:gd name="connsiteX28" fmla="*/ 61356 w 97083"/>
                  <a:gd name="connsiteY28" fmla="*/ 75337 h 126597"/>
                  <a:gd name="connsiteX29" fmla="*/ 61356 w 97083"/>
                  <a:gd name="connsiteY29" fmla="*/ 86987 h 126597"/>
                  <a:gd name="connsiteX30" fmla="*/ 79996 w 97083"/>
                  <a:gd name="connsiteY30" fmla="*/ 86987 h 126597"/>
                  <a:gd name="connsiteX31" fmla="*/ 91647 w 97083"/>
                  <a:gd name="connsiteY31" fmla="*/ 94754 h 126597"/>
                  <a:gd name="connsiteX32" fmla="*/ 79996 w 97083"/>
                  <a:gd name="connsiteY32" fmla="*/ 102521 h 126597"/>
                  <a:gd name="connsiteX33" fmla="*/ 61356 w 97083"/>
                  <a:gd name="connsiteY33" fmla="*/ 102521 h 126597"/>
                  <a:gd name="connsiteX34" fmla="*/ 61356 w 97083"/>
                  <a:gd name="connsiteY34" fmla="*/ 109511 h 126597"/>
                  <a:gd name="connsiteX35" fmla="*/ 50484 w 97083"/>
                  <a:gd name="connsiteY35" fmla="*/ 126598 h 126597"/>
                  <a:gd name="connsiteX36" fmla="*/ 38834 w 97083"/>
                  <a:gd name="connsiteY36" fmla="*/ 109511 h 126597"/>
                  <a:gd name="connsiteX37" fmla="*/ 38834 w 97083"/>
                  <a:gd name="connsiteY37" fmla="*/ 102521 h 126597"/>
                  <a:gd name="connsiteX38" fmla="*/ 20193 w 97083"/>
                  <a:gd name="connsiteY38" fmla="*/ 102521 h 126597"/>
                  <a:gd name="connsiteX39" fmla="*/ 8543 w 97083"/>
                  <a:gd name="connsiteY39" fmla="*/ 94754 h 126597"/>
                  <a:gd name="connsiteX40" fmla="*/ 18639 w 97083"/>
                  <a:gd name="connsiteY40" fmla="*/ 86987 h 1265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97083" h="126597">
                    <a:moveTo>
                      <a:pt x="18639" y="86987"/>
                    </a:moveTo>
                    <a:lnTo>
                      <a:pt x="37280" y="86987"/>
                    </a:lnTo>
                    <a:lnTo>
                      <a:pt x="37280" y="75337"/>
                    </a:lnTo>
                    <a:lnTo>
                      <a:pt x="18639" y="75337"/>
                    </a:lnTo>
                    <a:cubicBezTo>
                      <a:pt x="10873" y="75337"/>
                      <a:pt x="6989" y="73007"/>
                      <a:pt x="6989" y="67570"/>
                    </a:cubicBezTo>
                    <a:cubicBezTo>
                      <a:pt x="6989" y="62134"/>
                      <a:pt x="10873" y="59804"/>
                      <a:pt x="18639" y="59804"/>
                    </a:cubicBezTo>
                    <a:lnTo>
                      <a:pt x="29513" y="59804"/>
                    </a:lnTo>
                    <a:lnTo>
                      <a:pt x="4660" y="20970"/>
                    </a:lnTo>
                    <a:cubicBezTo>
                      <a:pt x="2329" y="17864"/>
                      <a:pt x="1553" y="15533"/>
                      <a:pt x="776" y="13980"/>
                    </a:cubicBezTo>
                    <a:cubicBezTo>
                      <a:pt x="0" y="12427"/>
                      <a:pt x="0" y="10874"/>
                      <a:pt x="0" y="9320"/>
                    </a:cubicBezTo>
                    <a:cubicBezTo>
                      <a:pt x="0" y="6214"/>
                      <a:pt x="776" y="3883"/>
                      <a:pt x="2329" y="2330"/>
                    </a:cubicBezTo>
                    <a:cubicBezTo>
                      <a:pt x="3883" y="777"/>
                      <a:pt x="6213" y="0"/>
                      <a:pt x="9320" y="0"/>
                    </a:cubicBezTo>
                    <a:cubicBezTo>
                      <a:pt x="12427" y="0"/>
                      <a:pt x="14756" y="777"/>
                      <a:pt x="16310" y="2330"/>
                    </a:cubicBezTo>
                    <a:cubicBezTo>
                      <a:pt x="17863" y="3883"/>
                      <a:pt x="20193" y="6990"/>
                      <a:pt x="22523" y="10874"/>
                    </a:cubicBezTo>
                    <a:lnTo>
                      <a:pt x="48930" y="52814"/>
                    </a:lnTo>
                    <a:lnTo>
                      <a:pt x="73006" y="13203"/>
                    </a:lnTo>
                    <a:cubicBezTo>
                      <a:pt x="73784" y="11650"/>
                      <a:pt x="74560" y="10097"/>
                      <a:pt x="76113" y="8544"/>
                    </a:cubicBezTo>
                    <a:cubicBezTo>
                      <a:pt x="76890" y="6990"/>
                      <a:pt x="78444" y="5437"/>
                      <a:pt x="79220" y="3883"/>
                    </a:cubicBezTo>
                    <a:cubicBezTo>
                      <a:pt x="79996" y="2330"/>
                      <a:pt x="81550" y="1553"/>
                      <a:pt x="83103" y="777"/>
                    </a:cubicBezTo>
                    <a:cubicBezTo>
                      <a:pt x="84656" y="0"/>
                      <a:pt x="86210" y="0"/>
                      <a:pt x="87763" y="0"/>
                    </a:cubicBezTo>
                    <a:cubicBezTo>
                      <a:pt x="90870" y="0"/>
                      <a:pt x="92423" y="777"/>
                      <a:pt x="94753" y="2330"/>
                    </a:cubicBezTo>
                    <a:cubicBezTo>
                      <a:pt x="96306" y="3883"/>
                      <a:pt x="97084" y="6214"/>
                      <a:pt x="97084" y="8544"/>
                    </a:cubicBezTo>
                    <a:cubicBezTo>
                      <a:pt x="97084" y="10097"/>
                      <a:pt x="97084" y="12427"/>
                      <a:pt x="96306" y="13980"/>
                    </a:cubicBezTo>
                    <a:cubicBezTo>
                      <a:pt x="95530" y="15533"/>
                      <a:pt x="94753" y="17864"/>
                      <a:pt x="93200" y="20194"/>
                    </a:cubicBezTo>
                    <a:lnTo>
                      <a:pt x="69123" y="59804"/>
                    </a:lnTo>
                    <a:lnTo>
                      <a:pt x="79996" y="59804"/>
                    </a:lnTo>
                    <a:cubicBezTo>
                      <a:pt x="87763" y="59804"/>
                      <a:pt x="91647" y="62134"/>
                      <a:pt x="91647" y="67570"/>
                    </a:cubicBezTo>
                    <a:cubicBezTo>
                      <a:pt x="91647" y="73007"/>
                      <a:pt x="87763" y="75337"/>
                      <a:pt x="79996" y="75337"/>
                    </a:cubicBezTo>
                    <a:lnTo>
                      <a:pt x="61356" y="75337"/>
                    </a:lnTo>
                    <a:lnTo>
                      <a:pt x="61356" y="86987"/>
                    </a:lnTo>
                    <a:lnTo>
                      <a:pt x="79996" y="86987"/>
                    </a:lnTo>
                    <a:cubicBezTo>
                      <a:pt x="87763" y="86987"/>
                      <a:pt x="91647" y="89317"/>
                      <a:pt x="91647" y="94754"/>
                    </a:cubicBezTo>
                    <a:cubicBezTo>
                      <a:pt x="91647" y="100191"/>
                      <a:pt x="87763" y="102521"/>
                      <a:pt x="79996" y="102521"/>
                    </a:cubicBezTo>
                    <a:lnTo>
                      <a:pt x="61356" y="102521"/>
                    </a:lnTo>
                    <a:lnTo>
                      <a:pt x="61356" y="109511"/>
                    </a:lnTo>
                    <a:cubicBezTo>
                      <a:pt x="61356" y="120384"/>
                      <a:pt x="57473" y="126598"/>
                      <a:pt x="50484" y="126598"/>
                    </a:cubicBezTo>
                    <a:cubicBezTo>
                      <a:pt x="42717" y="126598"/>
                      <a:pt x="38834" y="121161"/>
                      <a:pt x="38834" y="109511"/>
                    </a:cubicBezTo>
                    <a:lnTo>
                      <a:pt x="38834" y="102521"/>
                    </a:lnTo>
                    <a:lnTo>
                      <a:pt x="20193" y="102521"/>
                    </a:lnTo>
                    <a:cubicBezTo>
                      <a:pt x="12427" y="102521"/>
                      <a:pt x="8543" y="100191"/>
                      <a:pt x="8543" y="94754"/>
                    </a:cubicBezTo>
                    <a:cubicBezTo>
                      <a:pt x="6989" y="90094"/>
                      <a:pt x="10873" y="86987"/>
                      <a:pt x="18639" y="86987"/>
                    </a:cubicBez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301" name="Forma Livre: Forma 300">
              <a:extLst>
                <a:ext uri="{FF2B5EF4-FFF2-40B4-BE49-F238E27FC236}">
                  <a16:creationId xmlns:a16="http://schemas.microsoft.com/office/drawing/2014/main" id="{61B3DFBA-863F-4C8D-849F-921E47C71E4B}"/>
                </a:ext>
              </a:extLst>
            </p:cNvPr>
            <p:cNvSpPr/>
            <p:nvPr/>
          </p:nvSpPr>
          <p:spPr>
            <a:xfrm>
              <a:off x="10265943" y="6371804"/>
              <a:ext cx="489302" cy="489302"/>
            </a:xfrm>
            <a:custGeom>
              <a:avLst/>
              <a:gdLst>
                <a:gd name="connsiteX0" fmla="*/ 469109 w 489302"/>
                <a:gd name="connsiteY0" fmla="*/ 489302 h 489302"/>
                <a:gd name="connsiteX1" fmla="*/ 20193 w 489302"/>
                <a:gd name="connsiteY1" fmla="*/ 489302 h 489302"/>
                <a:gd name="connsiteX2" fmla="*/ 0 w 489302"/>
                <a:gd name="connsiteY2" fmla="*/ 469109 h 489302"/>
                <a:gd name="connsiteX3" fmla="*/ 0 w 489302"/>
                <a:gd name="connsiteY3" fmla="*/ 20193 h 489302"/>
                <a:gd name="connsiteX4" fmla="*/ 20193 w 489302"/>
                <a:gd name="connsiteY4" fmla="*/ 0 h 489302"/>
                <a:gd name="connsiteX5" fmla="*/ 469109 w 489302"/>
                <a:gd name="connsiteY5" fmla="*/ 0 h 489302"/>
                <a:gd name="connsiteX6" fmla="*/ 489302 w 489302"/>
                <a:gd name="connsiteY6" fmla="*/ 20193 h 489302"/>
                <a:gd name="connsiteX7" fmla="*/ 489302 w 489302"/>
                <a:gd name="connsiteY7" fmla="*/ 469109 h 489302"/>
                <a:gd name="connsiteX8" fmla="*/ 469109 w 489302"/>
                <a:gd name="connsiteY8" fmla="*/ 489302 h 489302"/>
                <a:gd name="connsiteX9" fmla="*/ 469109 w 489302"/>
                <a:gd name="connsiteY9" fmla="*/ 489302 h 489302"/>
                <a:gd name="connsiteX10" fmla="*/ 40386 w 489302"/>
                <a:gd name="connsiteY10" fmla="*/ 448138 h 489302"/>
                <a:gd name="connsiteX11" fmla="*/ 448138 w 489302"/>
                <a:gd name="connsiteY11" fmla="*/ 448138 h 489302"/>
                <a:gd name="connsiteX12" fmla="*/ 448138 w 489302"/>
                <a:gd name="connsiteY12" fmla="*/ 40386 h 489302"/>
                <a:gd name="connsiteX13" fmla="*/ 40386 w 489302"/>
                <a:gd name="connsiteY13" fmla="*/ 40386 h 489302"/>
                <a:gd name="connsiteX14" fmla="*/ 40386 w 489302"/>
                <a:gd name="connsiteY14" fmla="*/ 448138 h 489302"/>
                <a:gd name="connsiteX15" fmla="*/ 40386 w 489302"/>
                <a:gd name="connsiteY15" fmla="*/ 448138 h 489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89302" h="489302">
                  <a:moveTo>
                    <a:pt x="469109" y="489302"/>
                  </a:moveTo>
                  <a:lnTo>
                    <a:pt x="20193" y="489302"/>
                  </a:lnTo>
                  <a:cubicBezTo>
                    <a:pt x="8543" y="489302"/>
                    <a:pt x="0" y="479982"/>
                    <a:pt x="0" y="469109"/>
                  </a:cubicBezTo>
                  <a:lnTo>
                    <a:pt x="0" y="20193"/>
                  </a:lnTo>
                  <a:cubicBezTo>
                    <a:pt x="0" y="8543"/>
                    <a:pt x="9320" y="0"/>
                    <a:pt x="20193" y="0"/>
                  </a:cubicBezTo>
                  <a:lnTo>
                    <a:pt x="469109" y="0"/>
                  </a:lnTo>
                  <a:cubicBezTo>
                    <a:pt x="480759" y="0"/>
                    <a:pt x="489302" y="9320"/>
                    <a:pt x="489302" y="20193"/>
                  </a:cubicBezTo>
                  <a:lnTo>
                    <a:pt x="489302" y="469109"/>
                  </a:lnTo>
                  <a:cubicBezTo>
                    <a:pt x="489302" y="479982"/>
                    <a:pt x="479982" y="489302"/>
                    <a:pt x="469109" y="489302"/>
                  </a:cubicBezTo>
                  <a:lnTo>
                    <a:pt x="469109" y="489302"/>
                  </a:lnTo>
                  <a:close/>
                  <a:moveTo>
                    <a:pt x="40386" y="448138"/>
                  </a:moveTo>
                  <a:lnTo>
                    <a:pt x="448138" y="448138"/>
                  </a:lnTo>
                  <a:lnTo>
                    <a:pt x="448138" y="40386"/>
                  </a:lnTo>
                  <a:lnTo>
                    <a:pt x="40386" y="40386"/>
                  </a:lnTo>
                  <a:lnTo>
                    <a:pt x="40386" y="448138"/>
                  </a:lnTo>
                  <a:lnTo>
                    <a:pt x="40386" y="448138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02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10522103" y="5699302"/>
            <a:ext cx="386890" cy="388469"/>
            <a:chOff x="11537741" y="6377240"/>
            <a:chExt cx="475710" cy="477652"/>
          </a:xfrm>
          <a:solidFill>
            <a:srgbClr val="B1B1A1"/>
          </a:solidFill>
        </p:grpSpPr>
        <p:grpSp>
          <p:nvGrpSpPr>
            <p:cNvPr id="303" name="Gráfico 2">
              <a:extLst>
                <a:ext uri="{FF2B5EF4-FFF2-40B4-BE49-F238E27FC236}">
                  <a16:creationId xmlns:a16="http://schemas.microsoft.com/office/drawing/2014/main" id="{777488D5-C9B0-42ED-94FB-5C76F4BD1A17}"/>
                </a:ext>
              </a:extLst>
            </p:cNvPr>
            <p:cNvGrpSpPr/>
            <p:nvPr/>
          </p:nvGrpSpPr>
          <p:grpSpPr>
            <a:xfrm>
              <a:off x="11559100" y="6377240"/>
              <a:ext cx="432616" cy="469885"/>
              <a:chOff x="11559100" y="6377240"/>
              <a:chExt cx="432616" cy="469885"/>
            </a:xfrm>
            <a:grpFill/>
          </p:grpSpPr>
          <p:sp>
            <p:nvSpPr>
              <p:cNvPr id="304" name="Forma Livre: Forma 303">
                <a:extLst>
                  <a:ext uri="{FF2B5EF4-FFF2-40B4-BE49-F238E27FC236}">
                    <a16:creationId xmlns:a16="http://schemas.microsoft.com/office/drawing/2014/main" id="{8EE90B0E-D5A3-4975-96C2-959F5EABFDF3}"/>
                  </a:ext>
                </a:extLst>
              </p:cNvPr>
              <p:cNvSpPr/>
              <p:nvPr/>
            </p:nvSpPr>
            <p:spPr>
              <a:xfrm>
                <a:off x="11559100" y="6377240"/>
                <a:ext cx="167772" cy="253971"/>
              </a:xfrm>
              <a:custGeom>
                <a:avLst/>
                <a:gdLst>
                  <a:gd name="connsiteX0" fmla="*/ 83880 w 167772"/>
                  <a:gd name="connsiteY0" fmla="*/ 253971 h 253971"/>
                  <a:gd name="connsiteX1" fmla="*/ 0 w 167772"/>
                  <a:gd name="connsiteY1" fmla="*/ 170091 h 253971"/>
                  <a:gd name="connsiteX2" fmla="*/ 0 w 167772"/>
                  <a:gd name="connsiteY2" fmla="*/ 83881 h 253971"/>
                  <a:gd name="connsiteX3" fmla="*/ 83880 w 167772"/>
                  <a:gd name="connsiteY3" fmla="*/ 0 h 253971"/>
                  <a:gd name="connsiteX4" fmla="*/ 167761 w 167772"/>
                  <a:gd name="connsiteY4" fmla="*/ 83881 h 253971"/>
                  <a:gd name="connsiteX5" fmla="*/ 167761 w 167772"/>
                  <a:gd name="connsiteY5" fmla="*/ 170091 h 253971"/>
                  <a:gd name="connsiteX6" fmla="*/ 83880 w 167772"/>
                  <a:gd name="connsiteY6" fmla="*/ 253971 h 253971"/>
                  <a:gd name="connsiteX7" fmla="*/ 83880 w 167772"/>
                  <a:gd name="connsiteY7" fmla="*/ 253971 h 253971"/>
                  <a:gd name="connsiteX8" fmla="*/ 83880 w 167772"/>
                  <a:gd name="connsiteY8" fmla="*/ 40387 h 253971"/>
                  <a:gd name="connsiteX9" fmla="*/ 41163 w 167772"/>
                  <a:gd name="connsiteY9" fmla="*/ 83104 h 253971"/>
                  <a:gd name="connsiteX10" fmla="*/ 41163 w 167772"/>
                  <a:gd name="connsiteY10" fmla="*/ 170091 h 253971"/>
                  <a:gd name="connsiteX11" fmla="*/ 83880 w 167772"/>
                  <a:gd name="connsiteY11" fmla="*/ 212808 h 253971"/>
                  <a:gd name="connsiteX12" fmla="*/ 126597 w 167772"/>
                  <a:gd name="connsiteY12" fmla="*/ 170091 h 253971"/>
                  <a:gd name="connsiteX13" fmla="*/ 126597 w 167772"/>
                  <a:gd name="connsiteY13" fmla="*/ 83881 h 253971"/>
                  <a:gd name="connsiteX14" fmla="*/ 83880 w 167772"/>
                  <a:gd name="connsiteY14" fmla="*/ 40387 h 253971"/>
                  <a:gd name="connsiteX15" fmla="*/ 83880 w 167772"/>
                  <a:gd name="connsiteY15" fmla="*/ 40387 h 253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67772" h="253971">
                    <a:moveTo>
                      <a:pt x="83880" y="253971"/>
                    </a:moveTo>
                    <a:cubicBezTo>
                      <a:pt x="37280" y="253971"/>
                      <a:pt x="0" y="215915"/>
                      <a:pt x="0" y="170091"/>
                    </a:cubicBezTo>
                    <a:lnTo>
                      <a:pt x="0" y="83881"/>
                    </a:lnTo>
                    <a:cubicBezTo>
                      <a:pt x="0" y="37281"/>
                      <a:pt x="38057" y="0"/>
                      <a:pt x="83880" y="0"/>
                    </a:cubicBezTo>
                    <a:cubicBezTo>
                      <a:pt x="130480" y="0"/>
                      <a:pt x="167761" y="38057"/>
                      <a:pt x="167761" y="83881"/>
                    </a:cubicBezTo>
                    <a:lnTo>
                      <a:pt x="167761" y="170091"/>
                    </a:lnTo>
                    <a:cubicBezTo>
                      <a:pt x="168537" y="216691"/>
                      <a:pt x="130480" y="253971"/>
                      <a:pt x="83880" y="253971"/>
                    </a:cubicBezTo>
                    <a:lnTo>
                      <a:pt x="83880" y="253971"/>
                    </a:lnTo>
                    <a:close/>
                    <a:moveTo>
                      <a:pt x="83880" y="40387"/>
                    </a:moveTo>
                    <a:cubicBezTo>
                      <a:pt x="60580" y="40387"/>
                      <a:pt x="41163" y="59804"/>
                      <a:pt x="41163" y="83104"/>
                    </a:cubicBezTo>
                    <a:lnTo>
                      <a:pt x="41163" y="170091"/>
                    </a:lnTo>
                    <a:cubicBezTo>
                      <a:pt x="41163" y="193391"/>
                      <a:pt x="60580" y="212808"/>
                      <a:pt x="83880" y="212808"/>
                    </a:cubicBezTo>
                    <a:cubicBezTo>
                      <a:pt x="107180" y="212808"/>
                      <a:pt x="126597" y="193391"/>
                      <a:pt x="126597" y="170091"/>
                    </a:cubicBezTo>
                    <a:lnTo>
                      <a:pt x="126597" y="83881"/>
                    </a:lnTo>
                    <a:cubicBezTo>
                      <a:pt x="127374" y="59804"/>
                      <a:pt x="107957" y="40387"/>
                      <a:pt x="83880" y="40387"/>
                    </a:cubicBezTo>
                    <a:lnTo>
                      <a:pt x="83880" y="40387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05" name="Forma Livre: Forma 304">
                <a:extLst>
                  <a:ext uri="{FF2B5EF4-FFF2-40B4-BE49-F238E27FC236}">
                    <a16:creationId xmlns:a16="http://schemas.microsoft.com/office/drawing/2014/main" id="{17284C7A-97D3-43DE-916A-47DE3B6AAA58}"/>
                  </a:ext>
                </a:extLst>
              </p:cNvPr>
              <p:cNvSpPr/>
              <p:nvPr/>
            </p:nvSpPr>
            <p:spPr>
              <a:xfrm>
                <a:off x="11823944" y="6593155"/>
                <a:ext cx="167772" cy="253970"/>
              </a:xfrm>
              <a:custGeom>
                <a:avLst/>
                <a:gdLst>
                  <a:gd name="connsiteX0" fmla="*/ 83881 w 167772"/>
                  <a:gd name="connsiteY0" fmla="*/ 253971 h 253970"/>
                  <a:gd name="connsiteX1" fmla="*/ 0 w 167772"/>
                  <a:gd name="connsiteY1" fmla="*/ 170091 h 253970"/>
                  <a:gd name="connsiteX2" fmla="*/ 0 w 167772"/>
                  <a:gd name="connsiteY2" fmla="*/ 83880 h 253970"/>
                  <a:gd name="connsiteX3" fmla="*/ 83881 w 167772"/>
                  <a:gd name="connsiteY3" fmla="*/ 0 h 253970"/>
                  <a:gd name="connsiteX4" fmla="*/ 167761 w 167772"/>
                  <a:gd name="connsiteY4" fmla="*/ 83880 h 253970"/>
                  <a:gd name="connsiteX5" fmla="*/ 167761 w 167772"/>
                  <a:gd name="connsiteY5" fmla="*/ 170091 h 253970"/>
                  <a:gd name="connsiteX6" fmla="*/ 83881 w 167772"/>
                  <a:gd name="connsiteY6" fmla="*/ 253971 h 253970"/>
                  <a:gd name="connsiteX7" fmla="*/ 83881 w 167772"/>
                  <a:gd name="connsiteY7" fmla="*/ 253971 h 253970"/>
                  <a:gd name="connsiteX8" fmla="*/ 83881 w 167772"/>
                  <a:gd name="connsiteY8" fmla="*/ 41163 h 253970"/>
                  <a:gd name="connsiteX9" fmla="*/ 41164 w 167772"/>
                  <a:gd name="connsiteY9" fmla="*/ 83880 h 253970"/>
                  <a:gd name="connsiteX10" fmla="*/ 41164 w 167772"/>
                  <a:gd name="connsiteY10" fmla="*/ 170091 h 253970"/>
                  <a:gd name="connsiteX11" fmla="*/ 83881 w 167772"/>
                  <a:gd name="connsiteY11" fmla="*/ 212807 h 253970"/>
                  <a:gd name="connsiteX12" fmla="*/ 126598 w 167772"/>
                  <a:gd name="connsiteY12" fmla="*/ 170091 h 253970"/>
                  <a:gd name="connsiteX13" fmla="*/ 126598 w 167772"/>
                  <a:gd name="connsiteY13" fmla="*/ 83880 h 253970"/>
                  <a:gd name="connsiteX14" fmla="*/ 83881 w 167772"/>
                  <a:gd name="connsiteY14" fmla="*/ 41163 h 253970"/>
                  <a:gd name="connsiteX15" fmla="*/ 83881 w 167772"/>
                  <a:gd name="connsiteY15" fmla="*/ 41163 h 2539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67772" h="253970">
                    <a:moveTo>
                      <a:pt x="83881" y="253971"/>
                    </a:moveTo>
                    <a:cubicBezTo>
                      <a:pt x="37281" y="253971"/>
                      <a:pt x="0" y="215914"/>
                      <a:pt x="0" y="170091"/>
                    </a:cubicBezTo>
                    <a:lnTo>
                      <a:pt x="0" y="83880"/>
                    </a:lnTo>
                    <a:cubicBezTo>
                      <a:pt x="0" y="37280"/>
                      <a:pt x="38057" y="0"/>
                      <a:pt x="83881" y="0"/>
                    </a:cubicBezTo>
                    <a:cubicBezTo>
                      <a:pt x="130481" y="0"/>
                      <a:pt x="167761" y="38057"/>
                      <a:pt x="167761" y="83880"/>
                    </a:cubicBezTo>
                    <a:lnTo>
                      <a:pt x="167761" y="170091"/>
                    </a:lnTo>
                    <a:cubicBezTo>
                      <a:pt x="168537" y="216691"/>
                      <a:pt x="130481" y="253971"/>
                      <a:pt x="83881" y="253971"/>
                    </a:cubicBezTo>
                    <a:lnTo>
                      <a:pt x="83881" y="253971"/>
                    </a:lnTo>
                    <a:close/>
                    <a:moveTo>
                      <a:pt x="83881" y="41163"/>
                    </a:moveTo>
                    <a:cubicBezTo>
                      <a:pt x="60581" y="41163"/>
                      <a:pt x="41164" y="60580"/>
                      <a:pt x="41164" y="83880"/>
                    </a:cubicBezTo>
                    <a:lnTo>
                      <a:pt x="41164" y="170091"/>
                    </a:lnTo>
                    <a:cubicBezTo>
                      <a:pt x="41164" y="193391"/>
                      <a:pt x="60581" y="212807"/>
                      <a:pt x="83881" y="212807"/>
                    </a:cubicBezTo>
                    <a:cubicBezTo>
                      <a:pt x="107181" y="212807"/>
                      <a:pt x="126598" y="193391"/>
                      <a:pt x="126598" y="170091"/>
                    </a:cubicBezTo>
                    <a:lnTo>
                      <a:pt x="126598" y="83880"/>
                    </a:lnTo>
                    <a:cubicBezTo>
                      <a:pt x="127374" y="59803"/>
                      <a:pt x="107957" y="41163"/>
                      <a:pt x="83881" y="41163"/>
                    </a:cubicBezTo>
                    <a:lnTo>
                      <a:pt x="83881" y="41163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306" name="Gráfico 2">
              <a:extLst>
                <a:ext uri="{FF2B5EF4-FFF2-40B4-BE49-F238E27FC236}">
                  <a16:creationId xmlns:a16="http://schemas.microsoft.com/office/drawing/2014/main" id="{777488D5-C9B0-42ED-94FB-5C76F4BD1A17}"/>
                </a:ext>
              </a:extLst>
            </p:cNvPr>
            <p:cNvGrpSpPr/>
            <p:nvPr/>
          </p:nvGrpSpPr>
          <p:grpSpPr>
            <a:xfrm>
              <a:off x="11537741" y="6379571"/>
              <a:ext cx="475710" cy="475321"/>
              <a:chOff x="11537741" y="6379571"/>
              <a:chExt cx="475710" cy="475321"/>
            </a:xfrm>
            <a:grpFill/>
          </p:grpSpPr>
          <p:sp>
            <p:nvSpPr>
              <p:cNvPr id="307" name="Forma Livre: Forma 306">
                <a:extLst>
                  <a:ext uri="{FF2B5EF4-FFF2-40B4-BE49-F238E27FC236}">
                    <a16:creationId xmlns:a16="http://schemas.microsoft.com/office/drawing/2014/main" id="{3845F8D2-9A03-430B-8C59-99CE5010D3DE}"/>
                  </a:ext>
                </a:extLst>
              </p:cNvPr>
              <p:cNvSpPr/>
              <p:nvPr/>
            </p:nvSpPr>
            <p:spPr>
              <a:xfrm>
                <a:off x="11848021" y="6379571"/>
                <a:ext cx="165431" cy="165430"/>
              </a:xfrm>
              <a:custGeom>
                <a:avLst/>
                <a:gdLst>
                  <a:gd name="connsiteX0" fmla="*/ 145238 w 165431"/>
                  <a:gd name="connsiteY0" fmla="*/ 165431 h 165430"/>
                  <a:gd name="connsiteX1" fmla="*/ 125044 w 165431"/>
                  <a:gd name="connsiteY1" fmla="*/ 145237 h 165430"/>
                  <a:gd name="connsiteX2" fmla="*/ 125044 w 165431"/>
                  <a:gd name="connsiteY2" fmla="*/ 40386 h 165430"/>
                  <a:gd name="connsiteX3" fmla="*/ 20193 w 165431"/>
                  <a:gd name="connsiteY3" fmla="*/ 40386 h 165430"/>
                  <a:gd name="connsiteX4" fmla="*/ 0 w 165431"/>
                  <a:gd name="connsiteY4" fmla="*/ 20193 h 165430"/>
                  <a:gd name="connsiteX5" fmla="*/ 20193 w 165431"/>
                  <a:gd name="connsiteY5" fmla="*/ 0 h 165430"/>
                  <a:gd name="connsiteX6" fmla="*/ 20193 w 165431"/>
                  <a:gd name="connsiteY6" fmla="*/ 0 h 165430"/>
                  <a:gd name="connsiteX7" fmla="*/ 145238 w 165431"/>
                  <a:gd name="connsiteY7" fmla="*/ 0 h 165430"/>
                  <a:gd name="connsiteX8" fmla="*/ 165431 w 165431"/>
                  <a:gd name="connsiteY8" fmla="*/ 20193 h 165430"/>
                  <a:gd name="connsiteX9" fmla="*/ 165431 w 165431"/>
                  <a:gd name="connsiteY9" fmla="*/ 145237 h 165430"/>
                  <a:gd name="connsiteX10" fmla="*/ 145238 w 165431"/>
                  <a:gd name="connsiteY10" fmla="*/ 165431 h 165430"/>
                  <a:gd name="connsiteX11" fmla="*/ 145238 w 165431"/>
                  <a:gd name="connsiteY11" fmla="*/ 165431 h 165430"/>
                  <a:gd name="connsiteX12" fmla="*/ 145238 w 165431"/>
                  <a:gd name="connsiteY12" fmla="*/ 165431 h 165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65431" h="165430">
                    <a:moveTo>
                      <a:pt x="145238" y="165431"/>
                    </a:moveTo>
                    <a:cubicBezTo>
                      <a:pt x="133588" y="165431"/>
                      <a:pt x="125044" y="156111"/>
                      <a:pt x="125044" y="145237"/>
                    </a:cubicBezTo>
                    <a:lnTo>
                      <a:pt x="125044" y="40386"/>
                    </a:lnTo>
                    <a:lnTo>
                      <a:pt x="20193" y="40386"/>
                    </a:lnTo>
                    <a:cubicBezTo>
                      <a:pt x="8543" y="40386"/>
                      <a:pt x="0" y="31067"/>
                      <a:pt x="0" y="20193"/>
                    </a:cubicBezTo>
                    <a:cubicBezTo>
                      <a:pt x="0" y="8543"/>
                      <a:pt x="9321" y="0"/>
                      <a:pt x="20193" y="0"/>
                    </a:cubicBezTo>
                    <a:lnTo>
                      <a:pt x="20193" y="0"/>
                    </a:lnTo>
                    <a:lnTo>
                      <a:pt x="145238" y="0"/>
                    </a:lnTo>
                    <a:cubicBezTo>
                      <a:pt x="156888" y="0"/>
                      <a:pt x="165431" y="9320"/>
                      <a:pt x="165431" y="20193"/>
                    </a:cubicBezTo>
                    <a:lnTo>
                      <a:pt x="165431" y="145237"/>
                    </a:lnTo>
                    <a:cubicBezTo>
                      <a:pt x="165431" y="156887"/>
                      <a:pt x="156111" y="165431"/>
                      <a:pt x="145238" y="165431"/>
                    </a:cubicBezTo>
                    <a:lnTo>
                      <a:pt x="145238" y="165431"/>
                    </a:lnTo>
                    <a:lnTo>
                      <a:pt x="145238" y="165431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08" name="Forma Livre: Forma 307">
                <a:extLst>
                  <a:ext uri="{FF2B5EF4-FFF2-40B4-BE49-F238E27FC236}">
                    <a16:creationId xmlns:a16="http://schemas.microsoft.com/office/drawing/2014/main" id="{240061C8-F9EA-496E-BE4C-0161EFDCEA23}"/>
                  </a:ext>
                </a:extLst>
              </p:cNvPr>
              <p:cNvSpPr/>
              <p:nvPr/>
            </p:nvSpPr>
            <p:spPr>
              <a:xfrm>
                <a:off x="11537741" y="6396269"/>
                <a:ext cx="458235" cy="458623"/>
              </a:xfrm>
              <a:custGeom>
                <a:avLst/>
                <a:gdLst>
                  <a:gd name="connsiteX0" fmla="*/ 20582 w 458235"/>
                  <a:gd name="connsiteY0" fmla="*/ 458624 h 458623"/>
                  <a:gd name="connsiteX1" fmla="*/ 5825 w 458235"/>
                  <a:gd name="connsiteY1" fmla="*/ 452411 h 458623"/>
                  <a:gd name="connsiteX2" fmla="*/ 5825 w 458235"/>
                  <a:gd name="connsiteY2" fmla="*/ 423674 h 458623"/>
                  <a:gd name="connsiteX3" fmla="*/ 423673 w 458235"/>
                  <a:gd name="connsiteY3" fmla="*/ 5825 h 458623"/>
                  <a:gd name="connsiteX4" fmla="*/ 452411 w 458235"/>
                  <a:gd name="connsiteY4" fmla="*/ 5825 h 458623"/>
                  <a:gd name="connsiteX5" fmla="*/ 452411 w 458235"/>
                  <a:gd name="connsiteY5" fmla="*/ 34562 h 458623"/>
                  <a:gd name="connsiteX6" fmla="*/ 34561 w 458235"/>
                  <a:gd name="connsiteY6" fmla="*/ 452411 h 458623"/>
                  <a:gd name="connsiteX7" fmla="*/ 20582 w 458235"/>
                  <a:gd name="connsiteY7" fmla="*/ 458624 h 458623"/>
                  <a:gd name="connsiteX8" fmla="*/ 20582 w 458235"/>
                  <a:gd name="connsiteY8" fmla="*/ 458624 h 45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8235" h="458623">
                    <a:moveTo>
                      <a:pt x="20582" y="458624"/>
                    </a:moveTo>
                    <a:cubicBezTo>
                      <a:pt x="15145" y="458624"/>
                      <a:pt x="9708" y="456294"/>
                      <a:pt x="5825" y="452411"/>
                    </a:cubicBezTo>
                    <a:cubicBezTo>
                      <a:pt x="-1942" y="444644"/>
                      <a:pt x="-1942" y="431440"/>
                      <a:pt x="5825" y="423674"/>
                    </a:cubicBezTo>
                    <a:lnTo>
                      <a:pt x="423673" y="5825"/>
                    </a:lnTo>
                    <a:cubicBezTo>
                      <a:pt x="431440" y="-1942"/>
                      <a:pt x="444644" y="-1942"/>
                      <a:pt x="452411" y="5825"/>
                    </a:cubicBezTo>
                    <a:cubicBezTo>
                      <a:pt x="460177" y="13592"/>
                      <a:pt x="460177" y="26795"/>
                      <a:pt x="452411" y="34562"/>
                    </a:cubicBezTo>
                    <a:lnTo>
                      <a:pt x="34561" y="452411"/>
                    </a:lnTo>
                    <a:cubicBezTo>
                      <a:pt x="31455" y="456294"/>
                      <a:pt x="26018" y="458624"/>
                      <a:pt x="20582" y="458624"/>
                    </a:cubicBezTo>
                    <a:lnTo>
                      <a:pt x="20582" y="458624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309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5370620" y="2570071"/>
            <a:ext cx="434649" cy="434580"/>
            <a:chOff x="5203605" y="2529615"/>
            <a:chExt cx="534434" cy="534349"/>
          </a:xfrm>
          <a:solidFill>
            <a:srgbClr val="B1B1A1"/>
          </a:solidFill>
        </p:grpSpPr>
        <p:sp>
          <p:nvSpPr>
            <p:cNvPr id="310" name="Forma Livre: Forma 309">
              <a:extLst>
                <a:ext uri="{FF2B5EF4-FFF2-40B4-BE49-F238E27FC236}">
                  <a16:creationId xmlns:a16="http://schemas.microsoft.com/office/drawing/2014/main" id="{6050FAB8-9700-40FE-8958-AAF9641A0411}"/>
                </a:ext>
              </a:extLst>
            </p:cNvPr>
            <p:cNvSpPr/>
            <p:nvPr/>
          </p:nvSpPr>
          <p:spPr>
            <a:xfrm>
              <a:off x="5234645" y="2565342"/>
              <a:ext cx="486222" cy="423285"/>
            </a:xfrm>
            <a:custGeom>
              <a:avLst/>
              <a:gdLst>
                <a:gd name="connsiteX0" fmla="*/ 246231 w 486222"/>
                <a:gd name="connsiteY0" fmla="*/ 423285 h 423285"/>
                <a:gd name="connsiteX1" fmla="*/ 236135 w 486222"/>
                <a:gd name="connsiteY1" fmla="*/ 420955 h 423285"/>
                <a:gd name="connsiteX2" fmla="*/ 233805 w 486222"/>
                <a:gd name="connsiteY2" fmla="*/ 419402 h 423285"/>
                <a:gd name="connsiteX3" fmla="*/ 227591 w 486222"/>
                <a:gd name="connsiteY3" fmla="*/ 414742 h 423285"/>
                <a:gd name="connsiteX4" fmla="*/ 153031 w 486222"/>
                <a:gd name="connsiteY4" fmla="*/ 361152 h 423285"/>
                <a:gd name="connsiteX5" fmla="*/ 7017 w 486222"/>
                <a:gd name="connsiteY5" fmla="*/ 200381 h 423285"/>
                <a:gd name="connsiteX6" fmla="*/ 27 w 486222"/>
                <a:gd name="connsiteY6" fmla="*/ 156111 h 423285"/>
                <a:gd name="connsiteX7" fmla="*/ 43520 w 486222"/>
                <a:gd name="connsiteY7" fmla="*/ 44270 h 423285"/>
                <a:gd name="connsiteX8" fmla="*/ 139051 w 486222"/>
                <a:gd name="connsiteY8" fmla="*/ 3107 h 423285"/>
                <a:gd name="connsiteX9" fmla="*/ 139051 w 486222"/>
                <a:gd name="connsiteY9" fmla="*/ 3107 h 423285"/>
                <a:gd name="connsiteX10" fmla="*/ 242348 w 486222"/>
                <a:gd name="connsiteY10" fmla="*/ 47377 h 423285"/>
                <a:gd name="connsiteX11" fmla="*/ 344092 w 486222"/>
                <a:gd name="connsiteY11" fmla="*/ 0 h 423285"/>
                <a:gd name="connsiteX12" fmla="*/ 346422 w 486222"/>
                <a:gd name="connsiteY12" fmla="*/ 0 h 423285"/>
                <a:gd name="connsiteX13" fmla="*/ 486223 w 486222"/>
                <a:gd name="connsiteY13" fmla="*/ 148344 h 423285"/>
                <a:gd name="connsiteX14" fmla="*/ 480009 w 486222"/>
                <a:gd name="connsiteY14" fmla="*/ 194168 h 423285"/>
                <a:gd name="connsiteX15" fmla="*/ 338655 w 486222"/>
                <a:gd name="connsiteY15" fmla="*/ 356492 h 423285"/>
                <a:gd name="connsiteX16" fmla="*/ 257105 w 486222"/>
                <a:gd name="connsiteY16" fmla="*/ 417849 h 423285"/>
                <a:gd name="connsiteX17" fmla="*/ 246231 w 486222"/>
                <a:gd name="connsiteY17" fmla="*/ 423285 h 423285"/>
                <a:gd name="connsiteX18" fmla="*/ 246231 w 486222"/>
                <a:gd name="connsiteY18" fmla="*/ 423285 h 423285"/>
                <a:gd name="connsiteX19" fmla="*/ 139827 w 486222"/>
                <a:gd name="connsiteY19" fmla="*/ 45047 h 423285"/>
                <a:gd name="connsiteX20" fmla="*/ 72257 w 486222"/>
                <a:gd name="connsiteY20" fmla="*/ 73784 h 423285"/>
                <a:gd name="connsiteX21" fmla="*/ 40413 w 486222"/>
                <a:gd name="connsiteY21" fmla="*/ 156111 h 423285"/>
                <a:gd name="connsiteX22" fmla="*/ 45850 w 486222"/>
                <a:gd name="connsiteY22" fmla="*/ 189508 h 423285"/>
                <a:gd name="connsiteX23" fmla="*/ 177108 w 486222"/>
                <a:gd name="connsiteY23" fmla="*/ 328532 h 423285"/>
                <a:gd name="connsiteX24" fmla="*/ 245455 w 486222"/>
                <a:gd name="connsiteY24" fmla="*/ 378239 h 423285"/>
                <a:gd name="connsiteX25" fmla="*/ 311472 w 486222"/>
                <a:gd name="connsiteY25" fmla="*/ 327755 h 423285"/>
                <a:gd name="connsiteX26" fmla="*/ 438845 w 486222"/>
                <a:gd name="connsiteY26" fmla="*/ 187178 h 423285"/>
                <a:gd name="connsiteX27" fmla="*/ 443506 w 486222"/>
                <a:gd name="connsiteY27" fmla="*/ 151451 h 423285"/>
                <a:gd name="connsiteX28" fmla="*/ 344868 w 486222"/>
                <a:gd name="connsiteY28" fmla="*/ 43494 h 423285"/>
                <a:gd name="connsiteX29" fmla="*/ 342538 w 486222"/>
                <a:gd name="connsiteY29" fmla="*/ 43494 h 423285"/>
                <a:gd name="connsiteX30" fmla="*/ 258658 w 486222"/>
                <a:gd name="connsiteY30" fmla="*/ 93977 h 423285"/>
                <a:gd name="connsiteX31" fmla="*/ 240794 w 486222"/>
                <a:gd name="connsiteY31" fmla="*/ 104074 h 423285"/>
                <a:gd name="connsiteX32" fmla="*/ 240794 w 486222"/>
                <a:gd name="connsiteY32" fmla="*/ 104074 h 423285"/>
                <a:gd name="connsiteX33" fmla="*/ 222931 w 486222"/>
                <a:gd name="connsiteY33" fmla="*/ 93977 h 423285"/>
                <a:gd name="connsiteX34" fmla="*/ 139827 w 486222"/>
                <a:gd name="connsiteY34" fmla="*/ 45047 h 423285"/>
                <a:gd name="connsiteX35" fmla="*/ 139827 w 486222"/>
                <a:gd name="connsiteY35" fmla="*/ 45047 h 423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486222" h="423285">
                  <a:moveTo>
                    <a:pt x="246231" y="423285"/>
                  </a:moveTo>
                  <a:cubicBezTo>
                    <a:pt x="243125" y="423285"/>
                    <a:pt x="239241" y="422509"/>
                    <a:pt x="236135" y="420955"/>
                  </a:cubicBezTo>
                  <a:cubicBezTo>
                    <a:pt x="235358" y="420179"/>
                    <a:pt x="234581" y="420179"/>
                    <a:pt x="233805" y="419402"/>
                  </a:cubicBezTo>
                  <a:lnTo>
                    <a:pt x="227591" y="414742"/>
                  </a:lnTo>
                  <a:cubicBezTo>
                    <a:pt x="212058" y="403869"/>
                    <a:pt x="176331" y="379015"/>
                    <a:pt x="153031" y="361152"/>
                  </a:cubicBezTo>
                  <a:cubicBezTo>
                    <a:pt x="62160" y="290475"/>
                    <a:pt x="15560" y="239215"/>
                    <a:pt x="7017" y="200381"/>
                  </a:cubicBezTo>
                  <a:cubicBezTo>
                    <a:pt x="3133" y="187954"/>
                    <a:pt x="27" y="172421"/>
                    <a:pt x="27" y="156111"/>
                  </a:cubicBezTo>
                  <a:cubicBezTo>
                    <a:pt x="-750" y="114171"/>
                    <a:pt x="15560" y="73784"/>
                    <a:pt x="43520" y="44270"/>
                  </a:cubicBezTo>
                  <a:cubicBezTo>
                    <a:pt x="69150" y="17864"/>
                    <a:pt x="103324" y="3883"/>
                    <a:pt x="139051" y="3107"/>
                  </a:cubicBezTo>
                  <a:lnTo>
                    <a:pt x="139051" y="3107"/>
                  </a:lnTo>
                  <a:cubicBezTo>
                    <a:pt x="179438" y="3107"/>
                    <a:pt x="215941" y="19417"/>
                    <a:pt x="242348" y="47377"/>
                  </a:cubicBezTo>
                  <a:cubicBezTo>
                    <a:pt x="267978" y="17864"/>
                    <a:pt x="304481" y="777"/>
                    <a:pt x="344092" y="0"/>
                  </a:cubicBezTo>
                  <a:lnTo>
                    <a:pt x="346422" y="0"/>
                  </a:lnTo>
                  <a:cubicBezTo>
                    <a:pt x="422535" y="0"/>
                    <a:pt x="485446" y="66794"/>
                    <a:pt x="486223" y="148344"/>
                  </a:cubicBezTo>
                  <a:cubicBezTo>
                    <a:pt x="486223" y="163878"/>
                    <a:pt x="484669" y="179411"/>
                    <a:pt x="480009" y="194168"/>
                  </a:cubicBezTo>
                  <a:cubicBezTo>
                    <a:pt x="473019" y="231448"/>
                    <a:pt x="426419" y="285038"/>
                    <a:pt x="338655" y="356492"/>
                  </a:cubicBezTo>
                  <a:cubicBezTo>
                    <a:pt x="305258" y="384452"/>
                    <a:pt x="277298" y="404645"/>
                    <a:pt x="257105" y="417849"/>
                  </a:cubicBezTo>
                  <a:cubicBezTo>
                    <a:pt x="253998" y="421732"/>
                    <a:pt x="250115" y="423285"/>
                    <a:pt x="246231" y="423285"/>
                  </a:cubicBezTo>
                  <a:lnTo>
                    <a:pt x="246231" y="423285"/>
                  </a:lnTo>
                  <a:close/>
                  <a:moveTo>
                    <a:pt x="139827" y="45047"/>
                  </a:moveTo>
                  <a:cubicBezTo>
                    <a:pt x="114197" y="45047"/>
                    <a:pt x="90897" y="55144"/>
                    <a:pt x="72257" y="73784"/>
                  </a:cubicBezTo>
                  <a:cubicBezTo>
                    <a:pt x="51287" y="94754"/>
                    <a:pt x="40413" y="125044"/>
                    <a:pt x="40413" y="156111"/>
                  </a:cubicBezTo>
                  <a:cubicBezTo>
                    <a:pt x="40413" y="167761"/>
                    <a:pt x="42743" y="179411"/>
                    <a:pt x="45850" y="189508"/>
                  </a:cubicBezTo>
                  <a:cubicBezTo>
                    <a:pt x="49734" y="207371"/>
                    <a:pt x="71480" y="246205"/>
                    <a:pt x="177108" y="328532"/>
                  </a:cubicBezTo>
                  <a:cubicBezTo>
                    <a:pt x="198078" y="344842"/>
                    <a:pt x="229144" y="366589"/>
                    <a:pt x="245455" y="378239"/>
                  </a:cubicBezTo>
                  <a:cubicBezTo>
                    <a:pt x="262542" y="366589"/>
                    <a:pt x="285065" y="349502"/>
                    <a:pt x="311472" y="327755"/>
                  </a:cubicBezTo>
                  <a:cubicBezTo>
                    <a:pt x="414769" y="243098"/>
                    <a:pt x="435739" y="203488"/>
                    <a:pt x="438845" y="187178"/>
                  </a:cubicBezTo>
                  <a:cubicBezTo>
                    <a:pt x="442729" y="174751"/>
                    <a:pt x="444282" y="163101"/>
                    <a:pt x="443506" y="151451"/>
                  </a:cubicBezTo>
                  <a:cubicBezTo>
                    <a:pt x="442729" y="91647"/>
                    <a:pt x="398459" y="43494"/>
                    <a:pt x="344868" y="43494"/>
                  </a:cubicBezTo>
                  <a:cubicBezTo>
                    <a:pt x="344868" y="43494"/>
                    <a:pt x="342538" y="43494"/>
                    <a:pt x="342538" y="43494"/>
                  </a:cubicBezTo>
                  <a:cubicBezTo>
                    <a:pt x="307588" y="44270"/>
                    <a:pt x="275745" y="62910"/>
                    <a:pt x="258658" y="93977"/>
                  </a:cubicBezTo>
                  <a:cubicBezTo>
                    <a:pt x="254775" y="100191"/>
                    <a:pt x="248561" y="104074"/>
                    <a:pt x="240794" y="104074"/>
                  </a:cubicBezTo>
                  <a:cubicBezTo>
                    <a:pt x="240794" y="104074"/>
                    <a:pt x="240794" y="104074"/>
                    <a:pt x="240794" y="104074"/>
                  </a:cubicBezTo>
                  <a:cubicBezTo>
                    <a:pt x="233805" y="104074"/>
                    <a:pt x="226814" y="100191"/>
                    <a:pt x="222931" y="93977"/>
                  </a:cubicBezTo>
                  <a:cubicBezTo>
                    <a:pt x="205844" y="62910"/>
                    <a:pt x="174777" y="45047"/>
                    <a:pt x="139827" y="45047"/>
                  </a:cubicBezTo>
                  <a:lnTo>
                    <a:pt x="139827" y="45047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311" name="Gráfico 2">
              <a:extLst>
                <a:ext uri="{FF2B5EF4-FFF2-40B4-BE49-F238E27FC236}">
                  <a16:creationId xmlns:a16="http://schemas.microsoft.com/office/drawing/2014/main" id="{777488D5-C9B0-42ED-94FB-5C76F4BD1A17}"/>
                </a:ext>
              </a:extLst>
            </p:cNvPr>
            <p:cNvGrpSpPr/>
            <p:nvPr/>
          </p:nvGrpSpPr>
          <p:grpSpPr>
            <a:xfrm>
              <a:off x="5203605" y="2529615"/>
              <a:ext cx="534434" cy="534349"/>
              <a:chOff x="5203605" y="2529615"/>
              <a:chExt cx="534434" cy="534349"/>
            </a:xfrm>
            <a:grpFill/>
          </p:grpSpPr>
          <p:sp>
            <p:nvSpPr>
              <p:cNvPr id="312" name="Forma Livre: Forma 311">
                <a:extLst>
                  <a:ext uri="{FF2B5EF4-FFF2-40B4-BE49-F238E27FC236}">
                    <a16:creationId xmlns:a16="http://schemas.microsoft.com/office/drawing/2014/main" id="{08198669-F21D-4956-99E7-22DDCE271A74}"/>
                  </a:ext>
                </a:extLst>
              </p:cNvPr>
              <p:cNvSpPr/>
              <p:nvPr/>
            </p:nvSpPr>
            <p:spPr>
              <a:xfrm>
                <a:off x="5636210" y="2529615"/>
                <a:ext cx="101828" cy="101743"/>
              </a:xfrm>
              <a:custGeom>
                <a:avLst/>
                <a:gdLst>
                  <a:gd name="connsiteX0" fmla="*/ 91647 w 101828"/>
                  <a:gd name="connsiteY0" fmla="*/ 101744 h 101743"/>
                  <a:gd name="connsiteX1" fmla="*/ 81550 w 101828"/>
                  <a:gd name="connsiteY1" fmla="*/ 91647 h 101743"/>
                  <a:gd name="connsiteX2" fmla="*/ 81550 w 101828"/>
                  <a:gd name="connsiteY2" fmla="*/ 20193 h 101743"/>
                  <a:gd name="connsiteX3" fmla="*/ 10097 w 101828"/>
                  <a:gd name="connsiteY3" fmla="*/ 20193 h 101743"/>
                  <a:gd name="connsiteX4" fmla="*/ 0 w 101828"/>
                  <a:gd name="connsiteY4" fmla="*/ 10097 h 101743"/>
                  <a:gd name="connsiteX5" fmla="*/ 10097 w 101828"/>
                  <a:gd name="connsiteY5" fmla="*/ 0 h 101743"/>
                  <a:gd name="connsiteX6" fmla="*/ 10097 w 101828"/>
                  <a:gd name="connsiteY6" fmla="*/ 0 h 101743"/>
                  <a:gd name="connsiteX7" fmla="*/ 91647 w 101828"/>
                  <a:gd name="connsiteY7" fmla="*/ 0 h 101743"/>
                  <a:gd name="connsiteX8" fmla="*/ 101744 w 101828"/>
                  <a:gd name="connsiteY8" fmla="*/ 10097 h 101743"/>
                  <a:gd name="connsiteX9" fmla="*/ 101744 w 101828"/>
                  <a:gd name="connsiteY9" fmla="*/ 91647 h 101743"/>
                  <a:gd name="connsiteX10" fmla="*/ 91647 w 101828"/>
                  <a:gd name="connsiteY10" fmla="*/ 101744 h 101743"/>
                  <a:gd name="connsiteX11" fmla="*/ 91647 w 101828"/>
                  <a:gd name="connsiteY11" fmla="*/ 101744 h 101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1828" h="101743">
                    <a:moveTo>
                      <a:pt x="91647" y="101744"/>
                    </a:moveTo>
                    <a:cubicBezTo>
                      <a:pt x="86211" y="101744"/>
                      <a:pt x="81550" y="97084"/>
                      <a:pt x="81550" y="91647"/>
                    </a:cubicBezTo>
                    <a:lnTo>
                      <a:pt x="81550" y="20193"/>
                    </a:lnTo>
                    <a:lnTo>
                      <a:pt x="10097" y="20193"/>
                    </a:lnTo>
                    <a:cubicBezTo>
                      <a:pt x="4660" y="20193"/>
                      <a:pt x="0" y="15533"/>
                      <a:pt x="0" y="10097"/>
                    </a:cubicBezTo>
                    <a:cubicBezTo>
                      <a:pt x="0" y="4660"/>
                      <a:pt x="4660" y="0"/>
                      <a:pt x="10097" y="0"/>
                    </a:cubicBezTo>
                    <a:lnTo>
                      <a:pt x="10097" y="0"/>
                    </a:lnTo>
                    <a:lnTo>
                      <a:pt x="91647" y="0"/>
                    </a:lnTo>
                    <a:cubicBezTo>
                      <a:pt x="97084" y="0"/>
                      <a:pt x="101744" y="4660"/>
                      <a:pt x="101744" y="10097"/>
                    </a:cubicBezTo>
                    <a:lnTo>
                      <a:pt x="101744" y="91647"/>
                    </a:lnTo>
                    <a:cubicBezTo>
                      <a:pt x="102521" y="97084"/>
                      <a:pt x="97861" y="101744"/>
                      <a:pt x="91647" y="101744"/>
                    </a:cubicBezTo>
                    <a:lnTo>
                      <a:pt x="91647" y="101744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13" name="Forma Livre: Forma 312">
                <a:extLst>
                  <a:ext uri="{FF2B5EF4-FFF2-40B4-BE49-F238E27FC236}">
                    <a16:creationId xmlns:a16="http://schemas.microsoft.com/office/drawing/2014/main" id="{42451BDD-1377-4299-B28B-A3B6E185EEF2}"/>
                  </a:ext>
                </a:extLst>
              </p:cNvPr>
              <p:cNvSpPr/>
              <p:nvPr/>
            </p:nvSpPr>
            <p:spPr>
              <a:xfrm>
                <a:off x="5241662" y="2924940"/>
                <a:ext cx="101743" cy="101743"/>
              </a:xfrm>
              <a:custGeom>
                <a:avLst/>
                <a:gdLst>
                  <a:gd name="connsiteX0" fmla="*/ 91647 w 101743"/>
                  <a:gd name="connsiteY0" fmla="*/ 101744 h 101743"/>
                  <a:gd name="connsiteX1" fmla="*/ 81550 w 101743"/>
                  <a:gd name="connsiteY1" fmla="*/ 91647 h 101743"/>
                  <a:gd name="connsiteX2" fmla="*/ 81550 w 101743"/>
                  <a:gd name="connsiteY2" fmla="*/ 20193 h 101743"/>
                  <a:gd name="connsiteX3" fmla="*/ 10097 w 101743"/>
                  <a:gd name="connsiteY3" fmla="*/ 20193 h 101743"/>
                  <a:gd name="connsiteX4" fmla="*/ 0 w 101743"/>
                  <a:gd name="connsiteY4" fmla="*/ 10097 h 101743"/>
                  <a:gd name="connsiteX5" fmla="*/ 10097 w 101743"/>
                  <a:gd name="connsiteY5" fmla="*/ 0 h 101743"/>
                  <a:gd name="connsiteX6" fmla="*/ 10097 w 101743"/>
                  <a:gd name="connsiteY6" fmla="*/ 0 h 101743"/>
                  <a:gd name="connsiteX7" fmla="*/ 91647 w 101743"/>
                  <a:gd name="connsiteY7" fmla="*/ 0 h 101743"/>
                  <a:gd name="connsiteX8" fmla="*/ 101744 w 101743"/>
                  <a:gd name="connsiteY8" fmla="*/ 10097 h 101743"/>
                  <a:gd name="connsiteX9" fmla="*/ 101744 w 101743"/>
                  <a:gd name="connsiteY9" fmla="*/ 91647 h 101743"/>
                  <a:gd name="connsiteX10" fmla="*/ 91647 w 101743"/>
                  <a:gd name="connsiteY10" fmla="*/ 101744 h 101743"/>
                  <a:gd name="connsiteX11" fmla="*/ 91647 w 101743"/>
                  <a:gd name="connsiteY11" fmla="*/ 101744 h 101743"/>
                  <a:gd name="connsiteX12" fmla="*/ 91647 w 101743"/>
                  <a:gd name="connsiteY12" fmla="*/ 101744 h 101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1743" h="101743">
                    <a:moveTo>
                      <a:pt x="91647" y="101744"/>
                    </a:moveTo>
                    <a:cubicBezTo>
                      <a:pt x="86210" y="101744"/>
                      <a:pt x="81550" y="97084"/>
                      <a:pt x="81550" y="91647"/>
                    </a:cubicBezTo>
                    <a:lnTo>
                      <a:pt x="81550" y="20193"/>
                    </a:lnTo>
                    <a:lnTo>
                      <a:pt x="10097" y="20193"/>
                    </a:lnTo>
                    <a:cubicBezTo>
                      <a:pt x="4660" y="20193"/>
                      <a:pt x="0" y="15533"/>
                      <a:pt x="0" y="10097"/>
                    </a:cubicBezTo>
                    <a:cubicBezTo>
                      <a:pt x="0" y="4660"/>
                      <a:pt x="4660" y="0"/>
                      <a:pt x="10097" y="0"/>
                    </a:cubicBezTo>
                    <a:lnTo>
                      <a:pt x="10097" y="0"/>
                    </a:lnTo>
                    <a:lnTo>
                      <a:pt x="91647" y="0"/>
                    </a:lnTo>
                    <a:cubicBezTo>
                      <a:pt x="97084" y="0"/>
                      <a:pt x="101744" y="4660"/>
                      <a:pt x="101744" y="10097"/>
                    </a:cubicBezTo>
                    <a:lnTo>
                      <a:pt x="101744" y="91647"/>
                    </a:lnTo>
                    <a:cubicBezTo>
                      <a:pt x="101744" y="97084"/>
                      <a:pt x="97084" y="101744"/>
                      <a:pt x="91647" y="101744"/>
                    </a:cubicBezTo>
                    <a:lnTo>
                      <a:pt x="91647" y="101744"/>
                    </a:lnTo>
                    <a:lnTo>
                      <a:pt x="91647" y="101744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14" name="Forma Livre: Forma 313">
                <a:extLst>
                  <a:ext uri="{FF2B5EF4-FFF2-40B4-BE49-F238E27FC236}">
                    <a16:creationId xmlns:a16="http://schemas.microsoft.com/office/drawing/2014/main" id="{3A41F203-C1F7-450B-9C7C-F2C92FC50F12}"/>
                  </a:ext>
                </a:extLst>
              </p:cNvPr>
              <p:cNvSpPr/>
              <p:nvPr/>
            </p:nvSpPr>
            <p:spPr>
              <a:xfrm>
                <a:off x="5203605" y="2962221"/>
                <a:ext cx="101744" cy="101743"/>
              </a:xfrm>
              <a:custGeom>
                <a:avLst/>
                <a:gdLst>
                  <a:gd name="connsiteX0" fmla="*/ 91647 w 101744"/>
                  <a:gd name="connsiteY0" fmla="*/ 101744 h 101743"/>
                  <a:gd name="connsiteX1" fmla="*/ 81550 w 101744"/>
                  <a:gd name="connsiteY1" fmla="*/ 91647 h 101743"/>
                  <a:gd name="connsiteX2" fmla="*/ 81550 w 101744"/>
                  <a:gd name="connsiteY2" fmla="*/ 20193 h 101743"/>
                  <a:gd name="connsiteX3" fmla="*/ 10097 w 101744"/>
                  <a:gd name="connsiteY3" fmla="*/ 20193 h 101743"/>
                  <a:gd name="connsiteX4" fmla="*/ 0 w 101744"/>
                  <a:gd name="connsiteY4" fmla="*/ 10097 h 101743"/>
                  <a:gd name="connsiteX5" fmla="*/ 10097 w 101744"/>
                  <a:gd name="connsiteY5" fmla="*/ 0 h 101743"/>
                  <a:gd name="connsiteX6" fmla="*/ 10097 w 101744"/>
                  <a:gd name="connsiteY6" fmla="*/ 0 h 101743"/>
                  <a:gd name="connsiteX7" fmla="*/ 91647 w 101744"/>
                  <a:gd name="connsiteY7" fmla="*/ 0 h 101743"/>
                  <a:gd name="connsiteX8" fmla="*/ 101744 w 101744"/>
                  <a:gd name="connsiteY8" fmla="*/ 10097 h 101743"/>
                  <a:gd name="connsiteX9" fmla="*/ 101744 w 101744"/>
                  <a:gd name="connsiteY9" fmla="*/ 91647 h 101743"/>
                  <a:gd name="connsiteX10" fmla="*/ 91647 w 101744"/>
                  <a:gd name="connsiteY10" fmla="*/ 101744 h 101743"/>
                  <a:gd name="connsiteX11" fmla="*/ 91647 w 101744"/>
                  <a:gd name="connsiteY11" fmla="*/ 101744 h 101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1744" h="101743">
                    <a:moveTo>
                      <a:pt x="91647" y="101744"/>
                    </a:moveTo>
                    <a:cubicBezTo>
                      <a:pt x="86211" y="101744"/>
                      <a:pt x="81550" y="97084"/>
                      <a:pt x="81550" y="91647"/>
                    </a:cubicBezTo>
                    <a:lnTo>
                      <a:pt x="81550" y="20193"/>
                    </a:lnTo>
                    <a:lnTo>
                      <a:pt x="10097" y="20193"/>
                    </a:lnTo>
                    <a:cubicBezTo>
                      <a:pt x="4660" y="20193"/>
                      <a:pt x="0" y="15533"/>
                      <a:pt x="0" y="10097"/>
                    </a:cubicBezTo>
                    <a:cubicBezTo>
                      <a:pt x="0" y="4660"/>
                      <a:pt x="4660" y="0"/>
                      <a:pt x="10097" y="0"/>
                    </a:cubicBezTo>
                    <a:lnTo>
                      <a:pt x="10097" y="0"/>
                    </a:lnTo>
                    <a:lnTo>
                      <a:pt x="91647" y="0"/>
                    </a:lnTo>
                    <a:cubicBezTo>
                      <a:pt x="97084" y="0"/>
                      <a:pt x="101744" y="4660"/>
                      <a:pt x="101744" y="10097"/>
                    </a:cubicBezTo>
                    <a:lnTo>
                      <a:pt x="101744" y="91647"/>
                    </a:lnTo>
                    <a:cubicBezTo>
                      <a:pt x="101744" y="97084"/>
                      <a:pt x="97861" y="101744"/>
                      <a:pt x="91647" y="101744"/>
                    </a:cubicBezTo>
                    <a:lnTo>
                      <a:pt x="91647" y="101744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15" name="Forma Livre: Forma 314">
                <a:extLst>
                  <a:ext uri="{FF2B5EF4-FFF2-40B4-BE49-F238E27FC236}">
                    <a16:creationId xmlns:a16="http://schemas.microsoft.com/office/drawing/2014/main" id="{71D4CA4A-5BAF-4BBA-BBA2-EA6D5ABE77A4}"/>
                  </a:ext>
                </a:extLst>
              </p:cNvPr>
              <p:cNvSpPr/>
              <p:nvPr/>
            </p:nvSpPr>
            <p:spPr>
              <a:xfrm>
                <a:off x="5258166" y="2782227"/>
                <a:ext cx="227952" cy="228146"/>
              </a:xfrm>
              <a:custGeom>
                <a:avLst/>
                <a:gdLst>
                  <a:gd name="connsiteX0" fmla="*/ 9903 w 227952"/>
                  <a:gd name="connsiteY0" fmla="*/ 228147 h 228146"/>
                  <a:gd name="connsiteX1" fmla="*/ 2913 w 227952"/>
                  <a:gd name="connsiteY1" fmla="*/ 225040 h 228146"/>
                  <a:gd name="connsiteX2" fmla="*/ 2913 w 227952"/>
                  <a:gd name="connsiteY2" fmla="*/ 210283 h 228146"/>
                  <a:gd name="connsiteX3" fmla="*/ 210284 w 227952"/>
                  <a:gd name="connsiteY3" fmla="*/ 2913 h 228146"/>
                  <a:gd name="connsiteX4" fmla="*/ 225040 w 227952"/>
                  <a:gd name="connsiteY4" fmla="*/ 2913 h 228146"/>
                  <a:gd name="connsiteX5" fmla="*/ 225040 w 227952"/>
                  <a:gd name="connsiteY5" fmla="*/ 17669 h 228146"/>
                  <a:gd name="connsiteX6" fmla="*/ 17669 w 227952"/>
                  <a:gd name="connsiteY6" fmla="*/ 225040 h 228146"/>
                  <a:gd name="connsiteX7" fmla="*/ 9903 w 227952"/>
                  <a:gd name="connsiteY7" fmla="*/ 228147 h 228146"/>
                  <a:gd name="connsiteX8" fmla="*/ 9903 w 227952"/>
                  <a:gd name="connsiteY8" fmla="*/ 228147 h 228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7952" h="228146">
                    <a:moveTo>
                      <a:pt x="9903" y="228147"/>
                    </a:moveTo>
                    <a:cubicBezTo>
                      <a:pt x="7572" y="228147"/>
                      <a:pt x="4466" y="227370"/>
                      <a:pt x="2913" y="225040"/>
                    </a:cubicBezTo>
                    <a:cubicBezTo>
                      <a:pt x="-971" y="221157"/>
                      <a:pt x="-971" y="214167"/>
                      <a:pt x="2913" y="210283"/>
                    </a:cubicBezTo>
                    <a:lnTo>
                      <a:pt x="210284" y="2913"/>
                    </a:lnTo>
                    <a:cubicBezTo>
                      <a:pt x="214167" y="-971"/>
                      <a:pt x="221157" y="-971"/>
                      <a:pt x="225040" y="2913"/>
                    </a:cubicBezTo>
                    <a:cubicBezTo>
                      <a:pt x="228923" y="6796"/>
                      <a:pt x="228923" y="13786"/>
                      <a:pt x="225040" y="17669"/>
                    </a:cubicBezTo>
                    <a:lnTo>
                      <a:pt x="17669" y="225040"/>
                    </a:lnTo>
                    <a:cubicBezTo>
                      <a:pt x="15339" y="226594"/>
                      <a:pt x="12233" y="228147"/>
                      <a:pt x="9903" y="228147"/>
                    </a:cubicBezTo>
                    <a:lnTo>
                      <a:pt x="9903" y="228147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16" name="Forma Livre: Forma 315">
                <a:extLst>
                  <a:ext uri="{FF2B5EF4-FFF2-40B4-BE49-F238E27FC236}">
                    <a16:creationId xmlns:a16="http://schemas.microsoft.com/office/drawing/2014/main" id="{23AA8FCC-42ED-4707-8BC0-B0F0E63F2E16}"/>
                  </a:ext>
                </a:extLst>
              </p:cNvPr>
              <p:cNvSpPr/>
              <p:nvPr/>
            </p:nvSpPr>
            <p:spPr>
              <a:xfrm>
                <a:off x="5646501" y="2539807"/>
                <a:ext cx="80781" cy="81455"/>
              </a:xfrm>
              <a:custGeom>
                <a:avLst/>
                <a:gdLst>
                  <a:gd name="connsiteX0" fmla="*/ 9903 w 80781"/>
                  <a:gd name="connsiteY0" fmla="*/ 81456 h 81455"/>
                  <a:gd name="connsiteX1" fmla="*/ 2913 w 80781"/>
                  <a:gd name="connsiteY1" fmla="*/ 78349 h 81455"/>
                  <a:gd name="connsiteX2" fmla="*/ 2913 w 80781"/>
                  <a:gd name="connsiteY2" fmla="*/ 63592 h 81455"/>
                  <a:gd name="connsiteX3" fmla="*/ 74366 w 80781"/>
                  <a:gd name="connsiteY3" fmla="*/ 682 h 81455"/>
                  <a:gd name="connsiteX4" fmla="*/ 80580 w 80781"/>
                  <a:gd name="connsiteY4" fmla="*/ 8449 h 81455"/>
                  <a:gd name="connsiteX5" fmla="*/ 77473 w 80781"/>
                  <a:gd name="connsiteY5" fmla="*/ 17768 h 81455"/>
                  <a:gd name="connsiteX6" fmla="*/ 16892 w 80781"/>
                  <a:gd name="connsiteY6" fmla="*/ 78349 h 81455"/>
                  <a:gd name="connsiteX7" fmla="*/ 9903 w 80781"/>
                  <a:gd name="connsiteY7" fmla="*/ 81456 h 81455"/>
                  <a:gd name="connsiteX8" fmla="*/ 9903 w 80781"/>
                  <a:gd name="connsiteY8" fmla="*/ 81456 h 814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0781" h="81455">
                    <a:moveTo>
                      <a:pt x="9903" y="81456"/>
                    </a:moveTo>
                    <a:cubicBezTo>
                      <a:pt x="7572" y="81456"/>
                      <a:pt x="4466" y="80679"/>
                      <a:pt x="2913" y="78349"/>
                    </a:cubicBezTo>
                    <a:cubicBezTo>
                      <a:pt x="-971" y="74466"/>
                      <a:pt x="-971" y="67476"/>
                      <a:pt x="2913" y="63592"/>
                    </a:cubicBezTo>
                    <a:cubicBezTo>
                      <a:pt x="68153" y="-1648"/>
                      <a:pt x="68153" y="-1648"/>
                      <a:pt x="74366" y="682"/>
                    </a:cubicBezTo>
                    <a:cubicBezTo>
                      <a:pt x="77473" y="2235"/>
                      <a:pt x="79803" y="4565"/>
                      <a:pt x="80580" y="8449"/>
                    </a:cubicBezTo>
                    <a:cubicBezTo>
                      <a:pt x="81356" y="11555"/>
                      <a:pt x="79803" y="15439"/>
                      <a:pt x="77473" y="17768"/>
                    </a:cubicBezTo>
                    <a:cubicBezTo>
                      <a:pt x="76696" y="18545"/>
                      <a:pt x="16892" y="78349"/>
                      <a:pt x="16892" y="78349"/>
                    </a:cubicBezTo>
                    <a:cubicBezTo>
                      <a:pt x="15339" y="80679"/>
                      <a:pt x="13009" y="81456"/>
                      <a:pt x="9903" y="81456"/>
                    </a:cubicBezTo>
                    <a:lnTo>
                      <a:pt x="9903" y="81456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317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8492903" y="1546154"/>
            <a:ext cx="343621" cy="406155"/>
            <a:chOff x="9042687" y="1270632"/>
            <a:chExt cx="422508" cy="499398"/>
          </a:xfrm>
          <a:solidFill>
            <a:srgbClr val="B1B1A1"/>
          </a:solidFill>
        </p:grpSpPr>
        <p:sp>
          <p:nvSpPr>
            <p:cNvPr id="318" name="Forma Livre: Forma 317">
              <a:extLst>
                <a:ext uri="{FF2B5EF4-FFF2-40B4-BE49-F238E27FC236}">
                  <a16:creationId xmlns:a16="http://schemas.microsoft.com/office/drawing/2014/main" id="{08256A0C-A984-43B8-AA3C-A5879B935869}"/>
                </a:ext>
              </a:extLst>
            </p:cNvPr>
            <p:cNvSpPr/>
            <p:nvPr/>
          </p:nvSpPr>
          <p:spPr>
            <a:xfrm>
              <a:off x="9042687" y="1270632"/>
              <a:ext cx="422508" cy="499398"/>
            </a:xfrm>
            <a:custGeom>
              <a:avLst/>
              <a:gdLst>
                <a:gd name="connsiteX0" fmla="*/ 210478 w 422508"/>
                <a:gd name="connsiteY0" fmla="*/ 499399 h 499398"/>
                <a:gd name="connsiteX1" fmla="*/ 197274 w 422508"/>
                <a:gd name="connsiteY1" fmla="*/ 494739 h 499398"/>
                <a:gd name="connsiteX2" fmla="*/ 0 w 422508"/>
                <a:gd name="connsiteY2" fmla="*/ 211254 h 499398"/>
                <a:gd name="connsiteX3" fmla="*/ 211254 w 422508"/>
                <a:gd name="connsiteY3" fmla="*/ 0 h 499398"/>
                <a:gd name="connsiteX4" fmla="*/ 422509 w 422508"/>
                <a:gd name="connsiteY4" fmla="*/ 211254 h 499398"/>
                <a:gd name="connsiteX5" fmla="*/ 225234 w 422508"/>
                <a:gd name="connsiteY5" fmla="*/ 494739 h 499398"/>
                <a:gd name="connsiteX6" fmla="*/ 210478 w 422508"/>
                <a:gd name="connsiteY6" fmla="*/ 499399 h 499398"/>
                <a:gd name="connsiteX7" fmla="*/ 210478 w 422508"/>
                <a:gd name="connsiteY7" fmla="*/ 499399 h 499398"/>
                <a:gd name="connsiteX8" fmla="*/ 210478 w 422508"/>
                <a:gd name="connsiteY8" fmla="*/ 41163 h 499398"/>
                <a:gd name="connsiteX9" fmla="*/ 40386 w 422508"/>
                <a:gd name="connsiteY9" fmla="*/ 211254 h 499398"/>
                <a:gd name="connsiteX10" fmla="*/ 210478 w 422508"/>
                <a:gd name="connsiteY10" fmla="*/ 451245 h 499398"/>
                <a:gd name="connsiteX11" fmla="*/ 380569 w 422508"/>
                <a:gd name="connsiteY11" fmla="*/ 211254 h 499398"/>
                <a:gd name="connsiteX12" fmla="*/ 210478 w 422508"/>
                <a:gd name="connsiteY12" fmla="*/ 41163 h 499398"/>
                <a:gd name="connsiteX13" fmla="*/ 210478 w 422508"/>
                <a:gd name="connsiteY13" fmla="*/ 41163 h 499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22508" h="499398">
                  <a:moveTo>
                    <a:pt x="210478" y="499399"/>
                  </a:moveTo>
                  <a:cubicBezTo>
                    <a:pt x="205818" y="499399"/>
                    <a:pt x="201158" y="497846"/>
                    <a:pt x="197274" y="494739"/>
                  </a:cubicBezTo>
                  <a:cubicBezTo>
                    <a:pt x="177080" y="477652"/>
                    <a:pt x="0" y="323095"/>
                    <a:pt x="0" y="211254"/>
                  </a:cubicBezTo>
                  <a:cubicBezTo>
                    <a:pt x="0" y="94754"/>
                    <a:pt x="94753" y="0"/>
                    <a:pt x="211254" y="0"/>
                  </a:cubicBezTo>
                  <a:cubicBezTo>
                    <a:pt x="327755" y="0"/>
                    <a:pt x="422509" y="94754"/>
                    <a:pt x="422509" y="211254"/>
                  </a:cubicBezTo>
                  <a:cubicBezTo>
                    <a:pt x="422509" y="322318"/>
                    <a:pt x="245428" y="476876"/>
                    <a:pt x="225234" y="494739"/>
                  </a:cubicBezTo>
                  <a:cubicBezTo>
                    <a:pt x="219797" y="497846"/>
                    <a:pt x="215137" y="499399"/>
                    <a:pt x="210478" y="499399"/>
                  </a:cubicBezTo>
                  <a:lnTo>
                    <a:pt x="210478" y="499399"/>
                  </a:lnTo>
                  <a:close/>
                  <a:moveTo>
                    <a:pt x="210478" y="41163"/>
                  </a:moveTo>
                  <a:cubicBezTo>
                    <a:pt x="116501" y="41163"/>
                    <a:pt x="40386" y="117277"/>
                    <a:pt x="40386" y="211254"/>
                  </a:cubicBezTo>
                  <a:cubicBezTo>
                    <a:pt x="40386" y="283485"/>
                    <a:pt x="153004" y="399985"/>
                    <a:pt x="210478" y="451245"/>
                  </a:cubicBezTo>
                  <a:cubicBezTo>
                    <a:pt x="267951" y="399209"/>
                    <a:pt x="380569" y="283485"/>
                    <a:pt x="380569" y="211254"/>
                  </a:cubicBezTo>
                  <a:cubicBezTo>
                    <a:pt x="380569" y="117277"/>
                    <a:pt x="304454" y="41163"/>
                    <a:pt x="210478" y="41163"/>
                  </a:cubicBezTo>
                  <a:lnTo>
                    <a:pt x="210478" y="41163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319" name="Gráfico 2">
              <a:extLst>
                <a:ext uri="{FF2B5EF4-FFF2-40B4-BE49-F238E27FC236}">
                  <a16:creationId xmlns:a16="http://schemas.microsoft.com/office/drawing/2014/main" id="{777488D5-C9B0-42ED-94FB-5C76F4BD1A17}"/>
                </a:ext>
              </a:extLst>
            </p:cNvPr>
            <p:cNvGrpSpPr/>
            <p:nvPr/>
          </p:nvGrpSpPr>
          <p:grpSpPr>
            <a:xfrm>
              <a:off x="9125791" y="1354513"/>
              <a:ext cx="254756" cy="254747"/>
              <a:chOff x="9125791" y="1354513"/>
              <a:chExt cx="254756" cy="254747"/>
            </a:xfrm>
            <a:grpFill/>
          </p:grpSpPr>
          <p:sp>
            <p:nvSpPr>
              <p:cNvPr id="320" name="Forma Livre: Forma 319">
                <a:extLst>
                  <a:ext uri="{FF2B5EF4-FFF2-40B4-BE49-F238E27FC236}">
                    <a16:creationId xmlns:a16="http://schemas.microsoft.com/office/drawing/2014/main" id="{C5212493-5D4C-48BC-B03A-656E2262BDC2}"/>
                  </a:ext>
                </a:extLst>
              </p:cNvPr>
              <p:cNvSpPr/>
              <p:nvPr/>
            </p:nvSpPr>
            <p:spPr>
              <a:xfrm>
                <a:off x="9125791" y="1354513"/>
                <a:ext cx="254756" cy="254747"/>
              </a:xfrm>
              <a:custGeom>
                <a:avLst/>
                <a:gdLst>
                  <a:gd name="connsiteX0" fmla="*/ 127374 w 254756"/>
                  <a:gd name="connsiteY0" fmla="*/ 254748 h 254747"/>
                  <a:gd name="connsiteX1" fmla="*/ 0 w 254756"/>
                  <a:gd name="connsiteY1" fmla="*/ 127374 h 254747"/>
                  <a:gd name="connsiteX2" fmla="*/ 127374 w 254756"/>
                  <a:gd name="connsiteY2" fmla="*/ 0 h 254747"/>
                  <a:gd name="connsiteX3" fmla="*/ 254748 w 254756"/>
                  <a:gd name="connsiteY3" fmla="*/ 127374 h 254747"/>
                  <a:gd name="connsiteX4" fmla="*/ 127374 w 254756"/>
                  <a:gd name="connsiteY4" fmla="*/ 254748 h 254747"/>
                  <a:gd name="connsiteX5" fmla="*/ 127374 w 254756"/>
                  <a:gd name="connsiteY5" fmla="*/ 254748 h 254747"/>
                  <a:gd name="connsiteX6" fmla="*/ 127374 w 254756"/>
                  <a:gd name="connsiteY6" fmla="*/ 20193 h 254747"/>
                  <a:gd name="connsiteX7" fmla="*/ 20193 w 254756"/>
                  <a:gd name="connsiteY7" fmla="*/ 127374 h 254747"/>
                  <a:gd name="connsiteX8" fmla="*/ 127374 w 254756"/>
                  <a:gd name="connsiteY8" fmla="*/ 234555 h 254747"/>
                  <a:gd name="connsiteX9" fmla="*/ 234555 w 254756"/>
                  <a:gd name="connsiteY9" fmla="*/ 127374 h 254747"/>
                  <a:gd name="connsiteX10" fmla="*/ 127374 w 254756"/>
                  <a:gd name="connsiteY10" fmla="*/ 20193 h 254747"/>
                  <a:gd name="connsiteX11" fmla="*/ 127374 w 254756"/>
                  <a:gd name="connsiteY11" fmla="*/ 20193 h 2547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54756" h="254747">
                    <a:moveTo>
                      <a:pt x="127374" y="254748"/>
                    </a:moveTo>
                    <a:cubicBezTo>
                      <a:pt x="56697" y="254748"/>
                      <a:pt x="0" y="197274"/>
                      <a:pt x="0" y="127374"/>
                    </a:cubicBezTo>
                    <a:cubicBezTo>
                      <a:pt x="0" y="56697"/>
                      <a:pt x="57474" y="0"/>
                      <a:pt x="127374" y="0"/>
                    </a:cubicBezTo>
                    <a:cubicBezTo>
                      <a:pt x="198051" y="0"/>
                      <a:pt x="254748" y="57474"/>
                      <a:pt x="254748" y="127374"/>
                    </a:cubicBezTo>
                    <a:cubicBezTo>
                      <a:pt x="255525" y="198051"/>
                      <a:pt x="198051" y="254748"/>
                      <a:pt x="127374" y="254748"/>
                    </a:cubicBezTo>
                    <a:lnTo>
                      <a:pt x="127374" y="254748"/>
                    </a:lnTo>
                    <a:close/>
                    <a:moveTo>
                      <a:pt x="127374" y="20193"/>
                    </a:moveTo>
                    <a:cubicBezTo>
                      <a:pt x="68347" y="20193"/>
                      <a:pt x="20193" y="68347"/>
                      <a:pt x="20193" y="127374"/>
                    </a:cubicBezTo>
                    <a:cubicBezTo>
                      <a:pt x="20193" y="186401"/>
                      <a:pt x="68347" y="234555"/>
                      <a:pt x="127374" y="234555"/>
                    </a:cubicBezTo>
                    <a:cubicBezTo>
                      <a:pt x="186401" y="234555"/>
                      <a:pt x="234555" y="186401"/>
                      <a:pt x="234555" y="127374"/>
                    </a:cubicBezTo>
                    <a:cubicBezTo>
                      <a:pt x="234555" y="68347"/>
                      <a:pt x="186401" y="20193"/>
                      <a:pt x="127374" y="20193"/>
                    </a:cubicBezTo>
                    <a:lnTo>
                      <a:pt x="127374" y="20193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21" name="Forma Livre: Forma 320">
                <a:extLst>
                  <a:ext uri="{FF2B5EF4-FFF2-40B4-BE49-F238E27FC236}">
                    <a16:creationId xmlns:a16="http://schemas.microsoft.com/office/drawing/2014/main" id="{3F437E87-683C-499D-AD64-3A184B21D51C}"/>
                  </a:ext>
                </a:extLst>
              </p:cNvPr>
              <p:cNvSpPr/>
              <p:nvPr/>
            </p:nvSpPr>
            <p:spPr>
              <a:xfrm>
                <a:off x="9232972" y="1405773"/>
                <a:ext cx="40431" cy="153780"/>
              </a:xfrm>
              <a:custGeom>
                <a:avLst/>
                <a:gdLst>
                  <a:gd name="connsiteX0" fmla="*/ 20193 w 40431"/>
                  <a:gd name="connsiteY0" fmla="*/ 153781 h 153780"/>
                  <a:gd name="connsiteX1" fmla="*/ 0 w 40431"/>
                  <a:gd name="connsiteY1" fmla="*/ 133587 h 153780"/>
                  <a:gd name="connsiteX2" fmla="*/ 0 w 40431"/>
                  <a:gd name="connsiteY2" fmla="*/ 20193 h 153780"/>
                  <a:gd name="connsiteX3" fmla="*/ 20193 w 40431"/>
                  <a:gd name="connsiteY3" fmla="*/ 0 h 153780"/>
                  <a:gd name="connsiteX4" fmla="*/ 40386 w 40431"/>
                  <a:gd name="connsiteY4" fmla="*/ 20193 h 153780"/>
                  <a:gd name="connsiteX5" fmla="*/ 40386 w 40431"/>
                  <a:gd name="connsiteY5" fmla="*/ 133587 h 153780"/>
                  <a:gd name="connsiteX6" fmla="*/ 20193 w 40431"/>
                  <a:gd name="connsiteY6" fmla="*/ 153781 h 153780"/>
                  <a:gd name="connsiteX7" fmla="*/ 20193 w 40431"/>
                  <a:gd name="connsiteY7" fmla="*/ 153781 h 153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431" h="153780">
                    <a:moveTo>
                      <a:pt x="20193" y="153781"/>
                    </a:moveTo>
                    <a:cubicBezTo>
                      <a:pt x="8543" y="153781"/>
                      <a:pt x="0" y="144461"/>
                      <a:pt x="0" y="133587"/>
                    </a:cubicBezTo>
                    <a:lnTo>
                      <a:pt x="0" y="20193"/>
                    </a:lnTo>
                    <a:cubicBezTo>
                      <a:pt x="0" y="8543"/>
                      <a:pt x="9320" y="0"/>
                      <a:pt x="20193" y="0"/>
                    </a:cubicBezTo>
                    <a:cubicBezTo>
                      <a:pt x="31843" y="0"/>
                      <a:pt x="40386" y="9320"/>
                      <a:pt x="40386" y="20193"/>
                    </a:cubicBezTo>
                    <a:lnTo>
                      <a:pt x="40386" y="133587"/>
                    </a:lnTo>
                    <a:cubicBezTo>
                      <a:pt x="41163" y="144461"/>
                      <a:pt x="31843" y="153781"/>
                      <a:pt x="20193" y="153781"/>
                    </a:cubicBezTo>
                    <a:lnTo>
                      <a:pt x="20193" y="153781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22" name="Forma Livre: Forma 321">
                <a:extLst>
                  <a:ext uri="{FF2B5EF4-FFF2-40B4-BE49-F238E27FC236}">
                    <a16:creationId xmlns:a16="http://schemas.microsoft.com/office/drawing/2014/main" id="{875D5684-9240-4EFD-A5BA-A6D7FA7DB7CD}"/>
                  </a:ext>
                </a:extLst>
              </p:cNvPr>
              <p:cNvSpPr/>
              <p:nvPr/>
            </p:nvSpPr>
            <p:spPr>
              <a:xfrm>
                <a:off x="9176274" y="1461693"/>
                <a:ext cx="153826" cy="40386"/>
              </a:xfrm>
              <a:custGeom>
                <a:avLst/>
                <a:gdLst>
                  <a:gd name="connsiteX0" fmla="*/ 133588 w 153826"/>
                  <a:gd name="connsiteY0" fmla="*/ 40387 h 40386"/>
                  <a:gd name="connsiteX1" fmla="*/ 20193 w 153826"/>
                  <a:gd name="connsiteY1" fmla="*/ 40387 h 40386"/>
                  <a:gd name="connsiteX2" fmla="*/ 0 w 153826"/>
                  <a:gd name="connsiteY2" fmla="*/ 20193 h 40386"/>
                  <a:gd name="connsiteX3" fmla="*/ 20193 w 153826"/>
                  <a:gd name="connsiteY3" fmla="*/ 0 h 40386"/>
                  <a:gd name="connsiteX4" fmla="*/ 133588 w 153826"/>
                  <a:gd name="connsiteY4" fmla="*/ 0 h 40386"/>
                  <a:gd name="connsiteX5" fmla="*/ 153781 w 153826"/>
                  <a:gd name="connsiteY5" fmla="*/ 20193 h 40386"/>
                  <a:gd name="connsiteX6" fmla="*/ 133588 w 153826"/>
                  <a:gd name="connsiteY6" fmla="*/ 40387 h 40386"/>
                  <a:gd name="connsiteX7" fmla="*/ 133588 w 153826"/>
                  <a:gd name="connsiteY7" fmla="*/ 40387 h 40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3826" h="40386">
                    <a:moveTo>
                      <a:pt x="133588" y="40387"/>
                    </a:moveTo>
                    <a:lnTo>
                      <a:pt x="20193" y="40387"/>
                    </a:lnTo>
                    <a:cubicBezTo>
                      <a:pt x="8543" y="40387"/>
                      <a:pt x="0" y="31067"/>
                      <a:pt x="0" y="20193"/>
                    </a:cubicBezTo>
                    <a:cubicBezTo>
                      <a:pt x="0" y="8543"/>
                      <a:pt x="9321" y="0"/>
                      <a:pt x="20193" y="0"/>
                    </a:cubicBezTo>
                    <a:lnTo>
                      <a:pt x="133588" y="0"/>
                    </a:lnTo>
                    <a:cubicBezTo>
                      <a:pt x="145238" y="0"/>
                      <a:pt x="153781" y="9320"/>
                      <a:pt x="153781" y="20193"/>
                    </a:cubicBezTo>
                    <a:cubicBezTo>
                      <a:pt x="154558" y="31067"/>
                      <a:pt x="145238" y="40387"/>
                      <a:pt x="133588" y="40387"/>
                    </a:cubicBezTo>
                    <a:lnTo>
                      <a:pt x="133588" y="40387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323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10544526" y="1546154"/>
            <a:ext cx="343621" cy="406155"/>
            <a:chOff x="11565312" y="1270632"/>
            <a:chExt cx="422508" cy="499398"/>
          </a:xfrm>
          <a:solidFill>
            <a:srgbClr val="B1B1A1"/>
          </a:solidFill>
        </p:grpSpPr>
        <p:sp>
          <p:nvSpPr>
            <p:cNvPr id="324" name="Forma Livre: Forma 323">
              <a:extLst>
                <a:ext uri="{FF2B5EF4-FFF2-40B4-BE49-F238E27FC236}">
                  <a16:creationId xmlns:a16="http://schemas.microsoft.com/office/drawing/2014/main" id="{25B73677-68D0-4CD3-AD60-52D23FB10A1C}"/>
                </a:ext>
              </a:extLst>
            </p:cNvPr>
            <p:cNvSpPr/>
            <p:nvPr/>
          </p:nvSpPr>
          <p:spPr>
            <a:xfrm>
              <a:off x="11565312" y="1270632"/>
              <a:ext cx="422508" cy="499398"/>
            </a:xfrm>
            <a:custGeom>
              <a:avLst/>
              <a:gdLst>
                <a:gd name="connsiteX0" fmla="*/ 210478 w 422508"/>
                <a:gd name="connsiteY0" fmla="*/ 499399 h 499398"/>
                <a:gd name="connsiteX1" fmla="*/ 197274 w 422508"/>
                <a:gd name="connsiteY1" fmla="*/ 494739 h 499398"/>
                <a:gd name="connsiteX2" fmla="*/ 0 w 422508"/>
                <a:gd name="connsiteY2" fmla="*/ 211254 h 499398"/>
                <a:gd name="connsiteX3" fmla="*/ 211255 w 422508"/>
                <a:gd name="connsiteY3" fmla="*/ 0 h 499398"/>
                <a:gd name="connsiteX4" fmla="*/ 422509 w 422508"/>
                <a:gd name="connsiteY4" fmla="*/ 211254 h 499398"/>
                <a:gd name="connsiteX5" fmla="*/ 225234 w 422508"/>
                <a:gd name="connsiteY5" fmla="*/ 494739 h 499398"/>
                <a:gd name="connsiteX6" fmla="*/ 210478 w 422508"/>
                <a:gd name="connsiteY6" fmla="*/ 499399 h 499398"/>
                <a:gd name="connsiteX7" fmla="*/ 210478 w 422508"/>
                <a:gd name="connsiteY7" fmla="*/ 499399 h 499398"/>
                <a:gd name="connsiteX8" fmla="*/ 210478 w 422508"/>
                <a:gd name="connsiteY8" fmla="*/ 41163 h 499398"/>
                <a:gd name="connsiteX9" fmla="*/ 40387 w 422508"/>
                <a:gd name="connsiteY9" fmla="*/ 211254 h 499398"/>
                <a:gd name="connsiteX10" fmla="*/ 210478 w 422508"/>
                <a:gd name="connsiteY10" fmla="*/ 451245 h 499398"/>
                <a:gd name="connsiteX11" fmla="*/ 380569 w 422508"/>
                <a:gd name="connsiteY11" fmla="*/ 211254 h 499398"/>
                <a:gd name="connsiteX12" fmla="*/ 210478 w 422508"/>
                <a:gd name="connsiteY12" fmla="*/ 41163 h 499398"/>
                <a:gd name="connsiteX13" fmla="*/ 210478 w 422508"/>
                <a:gd name="connsiteY13" fmla="*/ 41163 h 499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22508" h="499398">
                  <a:moveTo>
                    <a:pt x="210478" y="499399"/>
                  </a:moveTo>
                  <a:cubicBezTo>
                    <a:pt x="205818" y="499399"/>
                    <a:pt x="201158" y="497846"/>
                    <a:pt x="197274" y="494739"/>
                  </a:cubicBezTo>
                  <a:cubicBezTo>
                    <a:pt x="177081" y="477652"/>
                    <a:pt x="0" y="323095"/>
                    <a:pt x="0" y="211254"/>
                  </a:cubicBezTo>
                  <a:cubicBezTo>
                    <a:pt x="0" y="94754"/>
                    <a:pt x="94754" y="0"/>
                    <a:pt x="211255" y="0"/>
                  </a:cubicBezTo>
                  <a:cubicBezTo>
                    <a:pt x="327756" y="0"/>
                    <a:pt x="422509" y="94754"/>
                    <a:pt x="422509" y="211254"/>
                  </a:cubicBezTo>
                  <a:cubicBezTo>
                    <a:pt x="422509" y="322318"/>
                    <a:pt x="245429" y="476876"/>
                    <a:pt x="225234" y="494739"/>
                  </a:cubicBezTo>
                  <a:cubicBezTo>
                    <a:pt x="219798" y="497846"/>
                    <a:pt x="215138" y="499399"/>
                    <a:pt x="210478" y="499399"/>
                  </a:cubicBezTo>
                  <a:lnTo>
                    <a:pt x="210478" y="499399"/>
                  </a:lnTo>
                  <a:close/>
                  <a:moveTo>
                    <a:pt x="210478" y="41163"/>
                  </a:moveTo>
                  <a:cubicBezTo>
                    <a:pt x="116501" y="41163"/>
                    <a:pt x="40387" y="117277"/>
                    <a:pt x="40387" y="211254"/>
                  </a:cubicBezTo>
                  <a:cubicBezTo>
                    <a:pt x="40387" y="283485"/>
                    <a:pt x="153005" y="399209"/>
                    <a:pt x="210478" y="451245"/>
                  </a:cubicBezTo>
                  <a:cubicBezTo>
                    <a:pt x="267951" y="399209"/>
                    <a:pt x="380569" y="283485"/>
                    <a:pt x="380569" y="211254"/>
                  </a:cubicBezTo>
                  <a:cubicBezTo>
                    <a:pt x="380569" y="117277"/>
                    <a:pt x="304455" y="41163"/>
                    <a:pt x="210478" y="41163"/>
                  </a:cubicBezTo>
                  <a:lnTo>
                    <a:pt x="210478" y="41163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25" name="Forma Livre: Forma 324">
              <a:extLst>
                <a:ext uri="{FF2B5EF4-FFF2-40B4-BE49-F238E27FC236}">
                  <a16:creationId xmlns:a16="http://schemas.microsoft.com/office/drawing/2014/main" id="{BF42A7A4-D973-4D14-9F96-AE44998A77F1}"/>
                </a:ext>
              </a:extLst>
            </p:cNvPr>
            <p:cNvSpPr/>
            <p:nvPr/>
          </p:nvSpPr>
          <p:spPr>
            <a:xfrm>
              <a:off x="11648417" y="1354513"/>
              <a:ext cx="254747" cy="254747"/>
            </a:xfrm>
            <a:custGeom>
              <a:avLst/>
              <a:gdLst>
                <a:gd name="connsiteX0" fmla="*/ 127374 w 254747"/>
                <a:gd name="connsiteY0" fmla="*/ 254748 h 254747"/>
                <a:gd name="connsiteX1" fmla="*/ 0 w 254747"/>
                <a:gd name="connsiteY1" fmla="*/ 127374 h 254747"/>
                <a:gd name="connsiteX2" fmla="*/ 127374 w 254747"/>
                <a:gd name="connsiteY2" fmla="*/ 0 h 254747"/>
                <a:gd name="connsiteX3" fmla="*/ 254747 w 254747"/>
                <a:gd name="connsiteY3" fmla="*/ 127374 h 254747"/>
                <a:gd name="connsiteX4" fmla="*/ 127374 w 254747"/>
                <a:gd name="connsiteY4" fmla="*/ 254748 h 254747"/>
                <a:gd name="connsiteX5" fmla="*/ 127374 w 254747"/>
                <a:gd name="connsiteY5" fmla="*/ 254748 h 254747"/>
                <a:gd name="connsiteX6" fmla="*/ 127374 w 254747"/>
                <a:gd name="connsiteY6" fmla="*/ 20193 h 254747"/>
                <a:gd name="connsiteX7" fmla="*/ 20193 w 254747"/>
                <a:gd name="connsiteY7" fmla="*/ 127374 h 254747"/>
                <a:gd name="connsiteX8" fmla="*/ 127374 w 254747"/>
                <a:gd name="connsiteY8" fmla="*/ 234555 h 254747"/>
                <a:gd name="connsiteX9" fmla="*/ 234554 w 254747"/>
                <a:gd name="connsiteY9" fmla="*/ 127374 h 254747"/>
                <a:gd name="connsiteX10" fmla="*/ 127374 w 254747"/>
                <a:gd name="connsiteY10" fmla="*/ 20193 h 254747"/>
                <a:gd name="connsiteX11" fmla="*/ 127374 w 254747"/>
                <a:gd name="connsiteY11" fmla="*/ 20193 h 254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4747" h="254747">
                  <a:moveTo>
                    <a:pt x="127374" y="254748"/>
                  </a:moveTo>
                  <a:cubicBezTo>
                    <a:pt x="56696" y="254748"/>
                    <a:pt x="0" y="197274"/>
                    <a:pt x="0" y="127374"/>
                  </a:cubicBezTo>
                  <a:cubicBezTo>
                    <a:pt x="0" y="56697"/>
                    <a:pt x="57474" y="0"/>
                    <a:pt x="127374" y="0"/>
                  </a:cubicBezTo>
                  <a:cubicBezTo>
                    <a:pt x="198051" y="0"/>
                    <a:pt x="254747" y="57474"/>
                    <a:pt x="254747" y="127374"/>
                  </a:cubicBezTo>
                  <a:cubicBezTo>
                    <a:pt x="254747" y="198051"/>
                    <a:pt x="198051" y="254748"/>
                    <a:pt x="127374" y="254748"/>
                  </a:cubicBezTo>
                  <a:lnTo>
                    <a:pt x="127374" y="254748"/>
                  </a:lnTo>
                  <a:close/>
                  <a:moveTo>
                    <a:pt x="127374" y="20193"/>
                  </a:moveTo>
                  <a:cubicBezTo>
                    <a:pt x="68346" y="20193"/>
                    <a:pt x="20193" y="68347"/>
                    <a:pt x="20193" y="127374"/>
                  </a:cubicBezTo>
                  <a:cubicBezTo>
                    <a:pt x="20193" y="186401"/>
                    <a:pt x="68346" y="234555"/>
                    <a:pt x="127374" y="234555"/>
                  </a:cubicBezTo>
                  <a:cubicBezTo>
                    <a:pt x="186401" y="234555"/>
                    <a:pt x="234554" y="186401"/>
                    <a:pt x="234554" y="127374"/>
                  </a:cubicBezTo>
                  <a:cubicBezTo>
                    <a:pt x="234554" y="68347"/>
                    <a:pt x="186401" y="20193"/>
                    <a:pt x="127374" y="20193"/>
                  </a:cubicBezTo>
                  <a:lnTo>
                    <a:pt x="127374" y="20193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26" name="Forma Livre: Forma 325">
              <a:extLst>
                <a:ext uri="{FF2B5EF4-FFF2-40B4-BE49-F238E27FC236}">
                  <a16:creationId xmlns:a16="http://schemas.microsoft.com/office/drawing/2014/main" id="{605091A3-4947-4C46-988F-018AB4EBB043}"/>
                </a:ext>
              </a:extLst>
            </p:cNvPr>
            <p:cNvSpPr/>
            <p:nvPr/>
          </p:nvSpPr>
          <p:spPr>
            <a:xfrm>
              <a:off x="11706667" y="1411986"/>
              <a:ext cx="138246" cy="138247"/>
            </a:xfrm>
            <a:custGeom>
              <a:avLst/>
              <a:gdLst>
                <a:gd name="connsiteX0" fmla="*/ 69124 w 138246"/>
                <a:gd name="connsiteY0" fmla="*/ 0 h 138247"/>
                <a:gd name="connsiteX1" fmla="*/ 0 w 138246"/>
                <a:gd name="connsiteY1" fmla="*/ 69124 h 138247"/>
                <a:gd name="connsiteX2" fmla="*/ 69124 w 138246"/>
                <a:gd name="connsiteY2" fmla="*/ 138247 h 138247"/>
                <a:gd name="connsiteX3" fmla="*/ 138247 w 138246"/>
                <a:gd name="connsiteY3" fmla="*/ 69124 h 138247"/>
                <a:gd name="connsiteX4" fmla="*/ 69124 w 138246"/>
                <a:gd name="connsiteY4" fmla="*/ 0 h 138247"/>
                <a:gd name="connsiteX5" fmla="*/ 69124 w 138246"/>
                <a:gd name="connsiteY5" fmla="*/ 0 h 138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8246" h="138247">
                  <a:moveTo>
                    <a:pt x="69124" y="0"/>
                  </a:moveTo>
                  <a:cubicBezTo>
                    <a:pt x="31067" y="0"/>
                    <a:pt x="0" y="31067"/>
                    <a:pt x="0" y="69124"/>
                  </a:cubicBezTo>
                  <a:cubicBezTo>
                    <a:pt x="0" y="107181"/>
                    <a:pt x="31067" y="138247"/>
                    <a:pt x="69124" y="138247"/>
                  </a:cubicBezTo>
                  <a:cubicBezTo>
                    <a:pt x="107180" y="138247"/>
                    <a:pt x="138247" y="107181"/>
                    <a:pt x="138247" y="69124"/>
                  </a:cubicBezTo>
                  <a:cubicBezTo>
                    <a:pt x="138247" y="31067"/>
                    <a:pt x="107180" y="0"/>
                    <a:pt x="69124" y="0"/>
                  </a:cubicBezTo>
                  <a:lnTo>
                    <a:pt x="69124" y="0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27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9514925" y="1546154"/>
            <a:ext cx="343621" cy="406155"/>
            <a:chOff x="10299340" y="1270632"/>
            <a:chExt cx="422508" cy="499398"/>
          </a:xfrm>
          <a:solidFill>
            <a:srgbClr val="B1B1A1"/>
          </a:solidFill>
        </p:grpSpPr>
        <p:sp>
          <p:nvSpPr>
            <p:cNvPr id="328" name="Forma Livre: Forma 327">
              <a:extLst>
                <a:ext uri="{FF2B5EF4-FFF2-40B4-BE49-F238E27FC236}">
                  <a16:creationId xmlns:a16="http://schemas.microsoft.com/office/drawing/2014/main" id="{8BBEA0B2-3DE7-44AD-89D2-9F1C4F60CF27}"/>
                </a:ext>
              </a:extLst>
            </p:cNvPr>
            <p:cNvSpPr/>
            <p:nvPr/>
          </p:nvSpPr>
          <p:spPr>
            <a:xfrm>
              <a:off x="10299340" y="1270632"/>
              <a:ext cx="422508" cy="499398"/>
            </a:xfrm>
            <a:custGeom>
              <a:avLst/>
              <a:gdLst>
                <a:gd name="connsiteX0" fmla="*/ 210478 w 422508"/>
                <a:gd name="connsiteY0" fmla="*/ 499399 h 499398"/>
                <a:gd name="connsiteX1" fmla="*/ 197274 w 422508"/>
                <a:gd name="connsiteY1" fmla="*/ 494739 h 499398"/>
                <a:gd name="connsiteX2" fmla="*/ 0 w 422508"/>
                <a:gd name="connsiteY2" fmla="*/ 211254 h 499398"/>
                <a:gd name="connsiteX3" fmla="*/ 211255 w 422508"/>
                <a:gd name="connsiteY3" fmla="*/ 0 h 499398"/>
                <a:gd name="connsiteX4" fmla="*/ 422509 w 422508"/>
                <a:gd name="connsiteY4" fmla="*/ 211254 h 499398"/>
                <a:gd name="connsiteX5" fmla="*/ 225234 w 422508"/>
                <a:gd name="connsiteY5" fmla="*/ 494739 h 499398"/>
                <a:gd name="connsiteX6" fmla="*/ 210478 w 422508"/>
                <a:gd name="connsiteY6" fmla="*/ 499399 h 499398"/>
                <a:gd name="connsiteX7" fmla="*/ 210478 w 422508"/>
                <a:gd name="connsiteY7" fmla="*/ 499399 h 499398"/>
                <a:gd name="connsiteX8" fmla="*/ 210478 w 422508"/>
                <a:gd name="connsiteY8" fmla="*/ 41163 h 499398"/>
                <a:gd name="connsiteX9" fmla="*/ 40387 w 422508"/>
                <a:gd name="connsiteY9" fmla="*/ 211254 h 499398"/>
                <a:gd name="connsiteX10" fmla="*/ 210478 w 422508"/>
                <a:gd name="connsiteY10" fmla="*/ 451245 h 499398"/>
                <a:gd name="connsiteX11" fmla="*/ 380569 w 422508"/>
                <a:gd name="connsiteY11" fmla="*/ 211254 h 499398"/>
                <a:gd name="connsiteX12" fmla="*/ 210478 w 422508"/>
                <a:gd name="connsiteY12" fmla="*/ 41163 h 499398"/>
                <a:gd name="connsiteX13" fmla="*/ 210478 w 422508"/>
                <a:gd name="connsiteY13" fmla="*/ 41163 h 499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22508" h="499398">
                  <a:moveTo>
                    <a:pt x="210478" y="499399"/>
                  </a:moveTo>
                  <a:cubicBezTo>
                    <a:pt x="205818" y="499399"/>
                    <a:pt x="201158" y="497846"/>
                    <a:pt x="197274" y="494739"/>
                  </a:cubicBezTo>
                  <a:cubicBezTo>
                    <a:pt x="177081" y="477652"/>
                    <a:pt x="0" y="323095"/>
                    <a:pt x="0" y="211254"/>
                  </a:cubicBezTo>
                  <a:cubicBezTo>
                    <a:pt x="0" y="94754"/>
                    <a:pt x="94754" y="0"/>
                    <a:pt x="211255" y="0"/>
                  </a:cubicBezTo>
                  <a:cubicBezTo>
                    <a:pt x="327756" y="0"/>
                    <a:pt x="422509" y="94754"/>
                    <a:pt x="422509" y="211254"/>
                  </a:cubicBezTo>
                  <a:cubicBezTo>
                    <a:pt x="422509" y="322318"/>
                    <a:pt x="245429" y="476876"/>
                    <a:pt x="225234" y="494739"/>
                  </a:cubicBezTo>
                  <a:cubicBezTo>
                    <a:pt x="220575" y="497846"/>
                    <a:pt x="215138" y="499399"/>
                    <a:pt x="210478" y="499399"/>
                  </a:cubicBezTo>
                  <a:lnTo>
                    <a:pt x="210478" y="499399"/>
                  </a:lnTo>
                  <a:close/>
                  <a:moveTo>
                    <a:pt x="210478" y="41163"/>
                  </a:moveTo>
                  <a:cubicBezTo>
                    <a:pt x="116501" y="41163"/>
                    <a:pt x="40387" y="117277"/>
                    <a:pt x="40387" y="211254"/>
                  </a:cubicBezTo>
                  <a:cubicBezTo>
                    <a:pt x="40387" y="283485"/>
                    <a:pt x="153005" y="399985"/>
                    <a:pt x="210478" y="451245"/>
                  </a:cubicBezTo>
                  <a:cubicBezTo>
                    <a:pt x="267951" y="399209"/>
                    <a:pt x="380569" y="283485"/>
                    <a:pt x="380569" y="211254"/>
                  </a:cubicBezTo>
                  <a:cubicBezTo>
                    <a:pt x="380569" y="117277"/>
                    <a:pt x="304455" y="41163"/>
                    <a:pt x="210478" y="41163"/>
                  </a:cubicBezTo>
                  <a:lnTo>
                    <a:pt x="210478" y="41163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329" name="Gráfico 2">
              <a:extLst>
                <a:ext uri="{FF2B5EF4-FFF2-40B4-BE49-F238E27FC236}">
                  <a16:creationId xmlns:a16="http://schemas.microsoft.com/office/drawing/2014/main" id="{777488D5-C9B0-42ED-94FB-5C76F4BD1A17}"/>
                </a:ext>
              </a:extLst>
            </p:cNvPr>
            <p:cNvGrpSpPr/>
            <p:nvPr/>
          </p:nvGrpSpPr>
          <p:grpSpPr>
            <a:xfrm>
              <a:off x="10382444" y="1354513"/>
              <a:ext cx="254755" cy="254747"/>
              <a:chOff x="10382444" y="1354513"/>
              <a:chExt cx="254755" cy="254747"/>
            </a:xfrm>
            <a:grpFill/>
          </p:grpSpPr>
          <p:sp>
            <p:nvSpPr>
              <p:cNvPr id="330" name="Forma Livre: Forma 329">
                <a:extLst>
                  <a:ext uri="{FF2B5EF4-FFF2-40B4-BE49-F238E27FC236}">
                    <a16:creationId xmlns:a16="http://schemas.microsoft.com/office/drawing/2014/main" id="{843DBEA9-0A89-4DC9-B566-901774737AC2}"/>
                  </a:ext>
                </a:extLst>
              </p:cNvPr>
              <p:cNvSpPr/>
              <p:nvPr/>
            </p:nvSpPr>
            <p:spPr>
              <a:xfrm>
                <a:off x="10382444" y="1354513"/>
                <a:ext cx="254755" cy="254747"/>
              </a:xfrm>
              <a:custGeom>
                <a:avLst/>
                <a:gdLst>
                  <a:gd name="connsiteX0" fmla="*/ 127374 w 254755"/>
                  <a:gd name="connsiteY0" fmla="*/ 254748 h 254747"/>
                  <a:gd name="connsiteX1" fmla="*/ 0 w 254755"/>
                  <a:gd name="connsiteY1" fmla="*/ 127374 h 254747"/>
                  <a:gd name="connsiteX2" fmla="*/ 127374 w 254755"/>
                  <a:gd name="connsiteY2" fmla="*/ 0 h 254747"/>
                  <a:gd name="connsiteX3" fmla="*/ 254747 w 254755"/>
                  <a:gd name="connsiteY3" fmla="*/ 127374 h 254747"/>
                  <a:gd name="connsiteX4" fmla="*/ 127374 w 254755"/>
                  <a:gd name="connsiteY4" fmla="*/ 254748 h 254747"/>
                  <a:gd name="connsiteX5" fmla="*/ 127374 w 254755"/>
                  <a:gd name="connsiteY5" fmla="*/ 254748 h 254747"/>
                  <a:gd name="connsiteX6" fmla="*/ 127374 w 254755"/>
                  <a:gd name="connsiteY6" fmla="*/ 20193 h 254747"/>
                  <a:gd name="connsiteX7" fmla="*/ 20193 w 254755"/>
                  <a:gd name="connsiteY7" fmla="*/ 127374 h 254747"/>
                  <a:gd name="connsiteX8" fmla="*/ 127374 w 254755"/>
                  <a:gd name="connsiteY8" fmla="*/ 234555 h 254747"/>
                  <a:gd name="connsiteX9" fmla="*/ 234554 w 254755"/>
                  <a:gd name="connsiteY9" fmla="*/ 127374 h 254747"/>
                  <a:gd name="connsiteX10" fmla="*/ 127374 w 254755"/>
                  <a:gd name="connsiteY10" fmla="*/ 20193 h 254747"/>
                  <a:gd name="connsiteX11" fmla="*/ 127374 w 254755"/>
                  <a:gd name="connsiteY11" fmla="*/ 20193 h 2547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54755" h="254747">
                    <a:moveTo>
                      <a:pt x="127374" y="254748"/>
                    </a:moveTo>
                    <a:cubicBezTo>
                      <a:pt x="56696" y="254748"/>
                      <a:pt x="0" y="197274"/>
                      <a:pt x="0" y="127374"/>
                    </a:cubicBezTo>
                    <a:cubicBezTo>
                      <a:pt x="0" y="56697"/>
                      <a:pt x="57474" y="0"/>
                      <a:pt x="127374" y="0"/>
                    </a:cubicBezTo>
                    <a:cubicBezTo>
                      <a:pt x="198051" y="0"/>
                      <a:pt x="254747" y="57474"/>
                      <a:pt x="254747" y="127374"/>
                    </a:cubicBezTo>
                    <a:cubicBezTo>
                      <a:pt x="255525" y="198051"/>
                      <a:pt x="198051" y="254748"/>
                      <a:pt x="127374" y="254748"/>
                    </a:cubicBezTo>
                    <a:lnTo>
                      <a:pt x="127374" y="254748"/>
                    </a:lnTo>
                    <a:close/>
                    <a:moveTo>
                      <a:pt x="127374" y="20193"/>
                    </a:moveTo>
                    <a:cubicBezTo>
                      <a:pt x="68346" y="20193"/>
                      <a:pt x="20193" y="68347"/>
                      <a:pt x="20193" y="127374"/>
                    </a:cubicBezTo>
                    <a:cubicBezTo>
                      <a:pt x="20193" y="186401"/>
                      <a:pt x="68346" y="234555"/>
                      <a:pt x="127374" y="234555"/>
                    </a:cubicBezTo>
                    <a:cubicBezTo>
                      <a:pt x="186401" y="234555"/>
                      <a:pt x="234554" y="186401"/>
                      <a:pt x="234554" y="127374"/>
                    </a:cubicBezTo>
                    <a:cubicBezTo>
                      <a:pt x="234554" y="68347"/>
                      <a:pt x="186401" y="20193"/>
                      <a:pt x="127374" y="20193"/>
                    </a:cubicBezTo>
                    <a:lnTo>
                      <a:pt x="127374" y="20193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31" name="Forma Livre: Forma 330">
                <a:extLst>
                  <a:ext uri="{FF2B5EF4-FFF2-40B4-BE49-F238E27FC236}">
                    <a16:creationId xmlns:a16="http://schemas.microsoft.com/office/drawing/2014/main" id="{EE593D89-4D22-4DDD-A265-6A04A4E689C0}"/>
                  </a:ext>
                </a:extLst>
              </p:cNvPr>
              <p:cNvSpPr/>
              <p:nvPr/>
            </p:nvSpPr>
            <p:spPr>
              <a:xfrm>
                <a:off x="10433704" y="1461693"/>
                <a:ext cx="153781" cy="40386"/>
              </a:xfrm>
              <a:custGeom>
                <a:avLst/>
                <a:gdLst>
                  <a:gd name="connsiteX0" fmla="*/ 133587 w 153781"/>
                  <a:gd name="connsiteY0" fmla="*/ 40387 h 40386"/>
                  <a:gd name="connsiteX1" fmla="*/ 20193 w 153781"/>
                  <a:gd name="connsiteY1" fmla="*/ 40387 h 40386"/>
                  <a:gd name="connsiteX2" fmla="*/ 0 w 153781"/>
                  <a:gd name="connsiteY2" fmla="*/ 20193 h 40386"/>
                  <a:gd name="connsiteX3" fmla="*/ 20193 w 153781"/>
                  <a:gd name="connsiteY3" fmla="*/ 0 h 40386"/>
                  <a:gd name="connsiteX4" fmla="*/ 133587 w 153781"/>
                  <a:gd name="connsiteY4" fmla="*/ 0 h 40386"/>
                  <a:gd name="connsiteX5" fmla="*/ 153781 w 153781"/>
                  <a:gd name="connsiteY5" fmla="*/ 20193 h 40386"/>
                  <a:gd name="connsiteX6" fmla="*/ 133587 w 153781"/>
                  <a:gd name="connsiteY6" fmla="*/ 40387 h 40386"/>
                  <a:gd name="connsiteX7" fmla="*/ 133587 w 153781"/>
                  <a:gd name="connsiteY7" fmla="*/ 40387 h 40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3781" h="40386">
                    <a:moveTo>
                      <a:pt x="133587" y="40387"/>
                    </a:moveTo>
                    <a:lnTo>
                      <a:pt x="20193" y="40387"/>
                    </a:lnTo>
                    <a:cubicBezTo>
                      <a:pt x="8543" y="40387"/>
                      <a:pt x="0" y="31067"/>
                      <a:pt x="0" y="20193"/>
                    </a:cubicBezTo>
                    <a:cubicBezTo>
                      <a:pt x="0" y="8543"/>
                      <a:pt x="9320" y="0"/>
                      <a:pt x="20193" y="0"/>
                    </a:cubicBezTo>
                    <a:lnTo>
                      <a:pt x="133587" y="0"/>
                    </a:lnTo>
                    <a:cubicBezTo>
                      <a:pt x="145237" y="0"/>
                      <a:pt x="153781" y="9320"/>
                      <a:pt x="153781" y="20193"/>
                    </a:cubicBezTo>
                    <a:cubicBezTo>
                      <a:pt x="153781" y="31067"/>
                      <a:pt x="144461" y="40387"/>
                      <a:pt x="133587" y="40387"/>
                    </a:cubicBezTo>
                    <a:lnTo>
                      <a:pt x="133587" y="40387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332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6423593" y="4691809"/>
            <a:ext cx="376467" cy="334146"/>
            <a:chOff x="6498315" y="5138451"/>
            <a:chExt cx="462895" cy="410858"/>
          </a:xfrm>
          <a:solidFill>
            <a:srgbClr val="B1B1A1"/>
          </a:solidFill>
        </p:grpSpPr>
        <p:sp>
          <p:nvSpPr>
            <p:cNvPr id="333" name="Forma Livre: Forma 332">
              <a:extLst>
                <a:ext uri="{FF2B5EF4-FFF2-40B4-BE49-F238E27FC236}">
                  <a16:creationId xmlns:a16="http://schemas.microsoft.com/office/drawing/2014/main" id="{248D9506-9D6C-4A22-88CE-C323749B3982}"/>
                </a:ext>
              </a:extLst>
            </p:cNvPr>
            <p:cNvSpPr/>
            <p:nvPr/>
          </p:nvSpPr>
          <p:spPr>
            <a:xfrm>
              <a:off x="6498315" y="5172625"/>
              <a:ext cx="462895" cy="376685"/>
            </a:xfrm>
            <a:custGeom>
              <a:avLst/>
              <a:gdLst>
                <a:gd name="connsiteX0" fmla="*/ 442702 w 462895"/>
                <a:gd name="connsiteY0" fmla="*/ 376685 h 376685"/>
                <a:gd name="connsiteX1" fmla="*/ 20194 w 462895"/>
                <a:gd name="connsiteY1" fmla="*/ 376685 h 376685"/>
                <a:gd name="connsiteX2" fmla="*/ 0 w 462895"/>
                <a:gd name="connsiteY2" fmla="*/ 356492 h 376685"/>
                <a:gd name="connsiteX3" fmla="*/ 0 w 462895"/>
                <a:gd name="connsiteY3" fmla="*/ 20193 h 376685"/>
                <a:gd name="connsiteX4" fmla="*/ 20194 w 462895"/>
                <a:gd name="connsiteY4" fmla="*/ 0 h 376685"/>
                <a:gd name="connsiteX5" fmla="*/ 442702 w 462895"/>
                <a:gd name="connsiteY5" fmla="*/ 0 h 376685"/>
                <a:gd name="connsiteX6" fmla="*/ 462896 w 462895"/>
                <a:gd name="connsiteY6" fmla="*/ 20193 h 376685"/>
                <a:gd name="connsiteX7" fmla="*/ 462896 w 462895"/>
                <a:gd name="connsiteY7" fmla="*/ 356492 h 376685"/>
                <a:gd name="connsiteX8" fmla="*/ 442702 w 462895"/>
                <a:gd name="connsiteY8" fmla="*/ 376685 h 376685"/>
                <a:gd name="connsiteX9" fmla="*/ 442702 w 462895"/>
                <a:gd name="connsiteY9" fmla="*/ 376685 h 376685"/>
                <a:gd name="connsiteX10" fmla="*/ 40387 w 462895"/>
                <a:gd name="connsiteY10" fmla="*/ 335522 h 376685"/>
                <a:gd name="connsiteX11" fmla="*/ 421732 w 462895"/>
                <a:gd name="connsiteY11" fmla="*/ 335522 h 376685"/>
                <a:gd name="connsiteX12" fmla="*/ 421732 w 462895"/>
                <a:gd name="connsiteY12" fmla="*/ 40387 h 376685"/>
                <a:gd name="connsiteX13" fmla="*/ 40387 w 462895"/>
                <a:gd name="connsiteY13" fmla="*/ 40387 h 376685"/>
                <a:gd name="connsiteX14" fmla="*/ 40387 w 462895"/>
                <a:gd name="connsiteY14" fmla="*/ 335522 h 376685"/>
                <a:gd name="connsiteX15" fmla="*/ 40387 w 462895"/>
                <a:gd name="connsiteY15" fmla="*/ 335522 h 376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62895" h="376685">
                  <a:moveTo>
                    <a:pt x="442702" y="376685"/>
                  </a:moveTo>
                  <a:lnTo>
                    <a:pt x="20194" y="376685"/>
                  </a:lnTo>
                  <a:cubicBezTo>
                    <a:pt x="8544" y="376685"/>
                    <a:pt x="0" y="367365"/>
                    <a:pt x="0" y="356492"/>
                  </a:cubicBezTo>
                  <a:lnTo>
                    <a:pt x="0" y="20193"/>
                  </a:lnTo>
                  <a:cubicBezTo>
                    <a:pt x="0" y="8543"/>
                    <a:pt x="9320" y="0"/>
                    <a:pt x="20194" y="0"/>
                  </a:cubicBezTo>
                  <a:lnTo>
                    <a:pt x="442702" y="0"/>
                  </a:lnTo>
                  <a:cubicBezTo>
                    <a:pt x="454352" y="0"/>
                    <a:pt x="462896" y="9320"/>
                    <a:pt x="462896" y="20193"/>
                  </a:cubicBezTo>
                  <a:lnTo>
                    <a:pt x="462896" y="356492"/>
                  </a:lnTo>
                  <a:cubicBezTo>
                    <a:pt x="462896" y="367365"/>
                    <a:pt x="453576" y="376685"/>
                    <a:pt x="442702" y="376685"/>
                  </a:cubicBezTo>
                  <a:lnTo>
                    <a:pt x="442702" y="376685"/>
                  </a:lnTo>
                  <a:close/>
                  <a:moveTo>
                    <a:pt x="40387" y="335522"/>
                  </a:moveTo>
                  <a:lnTo>
                    <a:pt x="421732" y="335522"/>
                  </a:lnTo>
                  <a:lnTo>
                    <a:pt x="421732" y="40387"/>
                  </a:lnTo>
                  <a:lnTo>
                    <a:pt x="40387" y="40387"/>
                  </a:lnTo>
                  <a:lnTo>
                    <a:pt x="40387" y="335522"/>
                  </a:lnTo>
                  <a:lnTo>
                    <a:pt x="40387" y="335522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34" name="Forma Livre: Forma 333">
              <a:extLst>
                <a:ext uri="{FF2B5EF4-FFF2-40B4-BE49-F238E27FC236}">
                  <a16:creationId xmlns:a16="http://schemas.microsoft.com/office/drawing/2014/main" id="{0DCD2C92-2A6A-4385-AA71-EC076CE5A0A9}"/>
                </a:ext>
              </a:extLst>
            </p:cNvPr>
            <p:cNvSpPr/>
            <p:nvPr/>
          </p:nvSpPr>
          <p:spPr>
            <a:xfrm>
              <a:off x="6841603" y="5138451"/>
              <a:ext cx="40432" cy="108733"/>
            </a:xfrm>
            <a:custGeom>
              <a:avLst/>
              <a:gdLst>
                <a:gd name="connsiteX0" fmla="*/ 20193 w 40432"/>
                <a:gd name="connsiteY0" fmla="*/ 108734 h 108733"/>
                <a:gd name="connsiteX1" fmla="*/ 0 w 40432"/>
                <a:gd name="connsiteY1" fmla="*/ 88541 h 108733"/>
                <a:gd name="connsiteX2" fmla="*/ 0 w 40432"/>
                <a:gd name="connsiteY2" fmla="*/ 20194 h 108733"/>
                <a:gd name="connsiteX3" fmla="*/ 20193 w 40432"/>
                <a:gd name="connsiteY3" fmla="*/ 0 h 108733"/>
                <a:gd name="connsiteX4" fmla="*/ 40387 w 40432"/>
                <a:gd name="connsiteY4" fmla="*/ 20194 h 108733"/>
                <a:gd name="connsiteX5" fmla="*/ 40387 w 40432"/>
                <a:gd name="connsiteY5" fmla="*/ 88541 h 108733"/>
                <a:gd name="connsiteX6" fmla="*/ 20193 w 40432"/>
                <a:gd name="connsiteY6" fmla="*/ 108734 h 108733"/>
                <a:gd name="connsiteX7" fmla="*/ 20193 w 40432"/>
                <a:gd name="connsiteY7" fmla="*/ 108734 h 108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432" h="108733">
                  <a:moveTo>
                    <a:pt x="20193" y="108734"/>
                  </a:moveTo>
                  <a:cubicBezTo>
                    <a:pt x="8543" y="108734"/>
                    <a:pt x="0" y="99414"/>
                    <a:pt x="0" y="88541"/>
                  </a:cubicBezTo>
                  <a:lnTo>
                    <a:pt x="0" y="20194"/>
                  </a:lnTo>
                  <a:cubicBezTo>
                    <a:pt x="0" y="8544"/>
                    <a:pt x="9320" y="0"/>
                    <a:pt x="20193" y="0"/>
                  </a:cubicBezTo>
                  <a:cubicBezTo>
                    <a:pt x="31843" y="0"/>
                    <a:pt x="40387" y="9320"/>
                    <a:pt x="40387" y="20194"/>
                  </a:cubicBezTo>
                  <a:lnTo>
                    <a:pt x="40387" y="88541"/>
                  </a:lnTo>
                  <a:cubicBezTo>
                    <a:pt x="41163" y="100191"/>
                    <a:pt x="31843" y="108734"/>
                    <a:pt x="20193" y="108734"/>
                  </a:cubicBezTo>
                  <a:lnTo>
                    <a:pt x="20193" y="108734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35" name="Forma Livre: Forma 334">
              <a:extLst>
                <a:ext uri="{FF2B5EF4-FFF2-40B4-BE49-F238E27FC236}">
                  <a16:creationId xmlns:a16="http://schemas.microsoft.com/office/drawing/2014/main" id="{C3852A4A-D937-4563-98BB-8C2507333F40}"/>
                </a:ext>
              </a:extLst>
            </p:cNvPr>
            <p:cNvSpPr/>
            <p:nvPr/>
          </p:nvSpPr>
          <p:spPr>
            <a:xfrm>
              <a:off x="6579089" y="5138451"/>
              <a:ext cx="40432" cy="108733"/>
            </a:xfrm>
            <a:custGeom>
              <a:avLst/>
              <a:gdLst>
                <a:gd name="connsiteX0" fmla="*/ 20193 w 40432"/>
                <a:gd name="connsiteY0" fmla="*/ 108734 h 108733"/>
                <a:gd name="connsiteX1" fmla="*/ 0 w 40432"/>
                <a:gd name="connsiteY1" fmla="*/ 88541 h 108733"/>
                <a:gd name="connsiteX2" fmla="*/ 0 w 40432"/>
                <a:gd name="connsiteY2" fmla="*/ 20194 h 108733"/>
                <a:gd name="connsiteX3" fmla="*/ 20193 w 40432"/>
                <a:gd name="connsiteY3" fmla="*/ 0 h 108733"/>
                <a:gd name="connsiteX4" fmla="*/ 40387 w 40432"/>
                <a:gd name="connsiteY4" fmla="*/ 20194 h 108733"/>
                <a:gd name="connsiteX5" fmla="*/ 40387 w 40432"/>
                <a:gd name="connsiteY5" fmla="*/ 88541 h 108733"/>
                <a:gd name="connsiteX6" fmla="*/ 20193 w 40432"/>
                <a:gd name="connsiteY6" fmla="*/ 108734 h 108733"/>
                <a:gd name="connsiteX7" fmla="*/ 20193 w 40432"/>
                <a:gd name="connsiteY7" fmla="*/ 108734 h 108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432" h="108733">
                  <a:moveTo>
                    <a:pt x="20193" y="108734"/>
                  </a:moveTo>
                  <a:cubicBezTo>
                    <a:pt x="8543" y="108734"/>
                    <a:pt x="0" y="99414"/>
                    <a:pt x="0" y="88541"/>
                  </a:cubicBezTo>
                  <a:lnTo>
                    <a:pt x="0" y="20194"/>
                  </a:lnTo>
                  <a:cubicBezTo>
                    <a:pt x="0" y="8544"/>
                    <a:pt x="9320" y="0"/>
                    <a:pt x="20193" y="0"/>
                  </a:cubicBezTo>
                  <a:cubicBezTo>
                    <a:pt x="31843" y="0"/>
                    <a:pt x="40387" y="9320"/>
                    <a:pt x="40387" y="20194"/>
                  </a:cubicBezTo>
                  <a:lnTo>
                    <a:pt x="40387" y="88541"/>
                  </a:lnTo>
                  <a:cubicBezTo>
                    <a:pt x="41163" y="100191"/>
                    <a:pt x="31843" y="108734"/>
                    <a:pt x="20193" y="108734"/>
                  </a:cubicBezTo>
                  <a:lnTo>
                    <a:pt x="20193" y="108734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36" name="Forma Livre: Forma 335">
              <a:extLst>
                <a:ext uri="{FF2B5EF4-FFF2-40B4-BE49-F238E27FC236}">
                  <a16:creationId xmlns:a16="http://schemas.microsoft.com/office/drawing/2014/main" id="{B8B57557-C684-4EDA-BD62-E7FD720747D3}"/>
                </a:ext>
              </a:extLst>
            </p:cNvPr>
            <p:cNvSpPr/>
            <p:nvPr/>
          </p:nvSpPr>
          <p:spPr>
            <a:xfrm>
              <a:off x="6510742" y="5293785"/>
              <a:ext cx="438818" cy="20193"/>
            </a:xfrm>
            <a:custGeom>
              <a:avLst/>
              <a:gdLst>
                <a:gd name="connsiteX0" fmla="*/ 428722 w 438818"/>
                <a:gd name="connsiteY0" fmla="*/ 20194 h 20193"/>
                <a:gd name="connsiteX1" fmla="*/ 10097 w 438818"/>
                <a:gd name="connsiteY1" fmla="*/ 20194 h 20193"/>
                <a:gd name="connsiteX2" fmla="*/ 0 w 438818"/>
                <a:gd name="connsiteY2" fmla="*/ 10097 h 20193"/>
                <a:gd name="connsiteX3" fmla="*/ 10097 w 438818"/>
                <a:gd name="connsiteY3" fmla="*/ 0 h 20193"/>
                <a:gd name="connsiteX4" fmla="*/ 428722 w 438818"/>
                <a:gd name="connsiteY4" fmla="*/ 0 h 20193"/>
                <a:gd name="connsiteX5" fmla="*/ 438819 w 438818"/>
                <a:gd name="connsiteY5" fmla="*/ 10097 h 20193"/>
                <a:gd name="connsiteX6" fmla="*/ 428722 w 438818"/>
                <a:gd name="connsiteY6" fmla="*/ 20194 h 20193"/>
                <a:gd name="connsiteX7" fmla="*/ 428722 w 438818"/>
                <a:gd name="connsiteY7" fmla="*/ 20194 h 20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38818" h="20193">
                  <a:moveTo>
                    <a:pt x="428722" y="20194"/>
                  </a:moveTo>
                  <a:lnTo>
                    <a:pt x="10097" y="20194"/>
                  </a:lnTo>
                  <a:cubicBezTo>
                    <a:pt x="4660" y="20194"/>
                    <a:pt x="0" y="15533"/>
                    <a:pt x="0" y="10097"/>
                  </a:cubicBezTo>
                  <a:cubicBezTo>
                    <a:pt x="0" y="4660"/>
                    <a:pt x="4660" y="0"/>
                    <a:pt x="10097" y="0"/>
                  </a:cubicBezTo>
                  <a:lnTo>
                    <a:pt x="428722" y="0"/>
                  </a:lnTo>
                  <a:cubicBezTo>
                    <a:pt x="434159" y="0"/>
                    <a:pt x="438819" y="4660"/>
                    <a:pt x="438819" y="10097"/>
                  </a:cubicBezTo>
                  <a:cubicBezTo>
                    <a:pt x="438819" y="15533"/>
                    <a:pt x="434159" y="20194"/>
                    <a:pt x="428722" y="20194"/>
                  </a:cubicBezTo>
                  <a:lnTo>
                    <a:pt x="428722" y="20194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37" name="Forma Livre: Forma 336">
              <a:extLst>
                <a:ext uri="{FF2B5EF4-FFF2-40B4-BE49-F238E27FC236}">
                  <a16:creationId xmlns:a16="http://schemas.microsoft.com/office/drawing/2014/main" id="{35C250F2-6F39-4F5D-9083-9B090704FF04}"/>
                </a:ext>
              </a:extLst>
            </p:cNvPr>
            <p:cNvSpPr/>
            <p:nvPr/>
          </p:nvSpPr>
          <p:spPr>
            <a:xfrm>
              <a:off x="6574428" y="5355919"/>
              <a:ext cx="40386" cy="39610"/>
            </a:xfrm>
            <a:custGeom>
              <a:avLst/>
              <a:gdLst>
                <a:gd name="connsiteX0" fmla="*/ 40387 w 40386"/>
                <a:gd name="connsiteY0" fmla="*/ 0 h 39610"/>
                <a:gd name="connsiteX1" fmla="*/ 0 w 40386"/>
                <a:gd name="connsiteY1" fmla="*/ 0 h 39610"/>
                <a:gd name="connsiteX2" fmla="*/ 0 w 40386"/>
                <a:gd name="connsiteY2" fmla="*/ 39610 h 39610"/>
                <a:gd name="connsiteX3" fmla="*/ 40387 w 40386"/>
                <a:gd name="connsiteY3" fmla="*/ 39610 h 39610"/>
                <a:gd name="connsiteX4" fmla="*/ 40387 w 40386"/>
                <a:gd name="connsiteY4" fmla="*/ 0 h 39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386" h="39610">
                  <a:moveTo>
                    <a:pt x="40387" y="0"/>
                  </a:moveTo>
                  <a:lnTo>
                    <a:pt x="0" y="0"/>
                  </a:lnTo>
                  <a:lnTo>
                    <a:pt x="0" y="39610"/>
                  </a:lnTo>
                  <a:lnTo>
                    <a:pt x="40387" y="39610"/>
                  </a:lnTo>
                  <a:lnTo>
                    <a:pt x="40387" y="0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38" name="Forma Livre: Forma 337">
              <a:extLst>
                <a:ext uri="{FF2B5EF4-FFF2-40B4-BE49-F238E27FC236}">
                  <a16:creationId xmlns:a16="http://schemas.microsoft.com/office/drawing/2014/main" id="{A2CA683F-5C5C-49F6-A79F-B3EBB23AB4CF}"/>
                </a:ext>
              </a:extLst>
            </p:cNvPr>
            <p:cNvSpPr/>
            <p:nvPr/>
          </p:nvSpPr>
          <p:spPr>
            <a:xfrm>
              <a:off x="6643552" y="5355919"/>
              <a:ext cx="40386" cy="39610"/>
            </a:xfrm>
            <a:custGeom>
              <a:avLst/>
              <a:gdLst>
                <a:gd name="connsiteX0" fmla="*/ 40387 w 40386"/>
                <a:gd name="connsiteY0" fmla="*/ 0 h 39610"/>
                <a:gd name="connsiteX1" fmla="*/ 0 w 40386"/>
                <a:gd name="connsiteY1" fmla="*/ 0 h 39610"/>
                <a:gd name="connsiteX2" fmla="*/ 0 w 40386"/>
                <a:gd name="connsiteY2" fmla="*/ 39610 h 39610"/>
                <a:gd name="connsiteX3" fmla="*/ 40387 w 40386"/>
                <a:gd name="connsiteY3" fmla="*/ 39610 h 39610"/>
                <a:gd name="connsiteX4" fmla="*/ 40387 w 40386"/>
                <a:gd name="connsiteY4" fmla="*/ 0 h 39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386" h="39610">
                  <a:moveTo>
                    <a:pt x="40387" y="0"/>
                  </a:moveTo>
                  <a:lnTo>
                    <a:pt x="0" y="0"/>
                  </a:lnTo>
                  <a:lnTo>
                    <a:pt x="0" y="39610"/>
                  </a:lnTo>
                  <a:lnTo>
                    <a:pt x="40387" y="39610"/>
                  </a:lnTo>
                  <a:lnTo>
                    <a:pt x="40387" y="0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39" name="Forma Livre: Forma 338">
              <a:extLst>
                <a:ext uri="{FF2B5EF4-FFF2-40B4-BE49-F238E27FC236}">
                  <a16:creationId xmlns:a16="http://schemas.microsoft.com/office/drawing/2014/main" id="{1FB2ABE2-F190-4D49-9368-680AE50200B2}"/>
                </a:ext>
              </a:extLst>
            </p:cNvPr>
            <p:cNvSpPr/>
            <p:nvPr/>
          </p:nvSpPr>
          <p:spPr>
            <a:xfrm>
              <a:off x="6712676" y="5355919"/>
              <a:ext cx="40386" cy="39610"/>
            </a:xfrm>
            <a:custGeom>
              <a:avLst/>
              <a:gdLst>
                <a:gd name="connsiteX0" fmla="*/ 40386 w 40386"/>
                <a:gd name="connsiteY0" fmla="*/ 0 h 39610"/>
                <a:gd name="connsiteX1" fmla="*/ 0 w 40386"/>
                <a:gd name="connsiteY1" fmla="*/ 0 h 39610"/>
                <a:gd name="connsiteX2" fmla="*/ 0 w 40386"/>
                <a:gd name="connsiteY2" fmla="*/ 39610 h 39610"/>
                <a:gd name="connsiteX3" fmla="*/ 40386 w 40386"/>
                <a:gd name="connsiteY3" fmla="*/ 39610 h 39610"/>
                <a:gd name="connsiteX4" fmla="*/ 40386 w 40386"/>
                <a:gd name="connsiteY4" fmla="*/ 0 h 39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386" h="39610">
                  <a:moveTo>
                    <a:pt x="40386" y="0"/>
                  </a:moveTo>
                  <a:lnTo>
                    <a:pt x="0" y="0"/>
                  </a:lnTo>
                  <a:lnTo>
                    <a:pt x="0" y="39610"/>
                  </a:lnTo>
                  <a:lnTo>
                    <a:pt x="40386" y="39610"/>
                  </a:lnTo>
                  <a:lnTo>
                    <a:pt x="40386" y="0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40" name="Forma Livre: Forma 339">
              <a:extLst>
                <a:ext uri="{FF2B5EF4-FFF2-40B4-BE49-F238E27FC236}">
                  <a16:creationId xmlns:a16="http://schemas.microsoft.com/office/drawing/2014/main" id="{A62EAE18-7D4F-45D3-A02D-ECB0B8019209}"/>
                </a:ext>
              </a:extLst>
            </p:cNvPr>
            <p:cNvSpPr/>
            <p:nvPr/>
          </p:nvSpPr>
          <p:spPr>
            <a:xfrm>
              <a:off x="6781799" y="5355919"/>
              <a:ext cx="40386" cy="39610"/>
            </a:xfrm>
            <a:custGeom>
              <a:avLst/>
              <a:gdLst>
                <a:gd name="connsiteX0" fmla="*/ 40387 w 40386"/>
                <a:gd name="connsiteY0" fmla="*/ 0 h 39610"/>
                <a:gd name="connsiteX1" fmla="*/ 0 w 40386"/>
                <a:gd name="connsiteY1" fmla="*/ 0 h 39610"/>
                <a:gd name="connsiteX2" fmla="*/ 0 w 40386"/>
                <a:gd name="connsiteY2" fmla="*/ 39610 h 39610"/>
                <a:gd name="connsiteX3" fmla="*/ 40387 w 40386"/>
                <a:gd name="connsiteY3" fmla="*/ 39610 h 39610"/>
                <a:gd name="connsiteX4" fmla="*/ 40387 w 40386"/>
                <a:gd name="connsiteY4" fmla="*/ 0 h 39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386" h="39610">
                  <a:moveTo>
                    <a:pt x="40387" y="0"/>
                  </a:moveTo>
                  <a:lnTo>
                    <a:pt x="0" y="0"/>
                  </a:lnTo>
                  <a:lnTo>
                    <a:pt x="0" y="39610"/>
                  </a:lnTo>
                  <a:lnTo>
                    <a:pt x="40387" y="39610"/>
                  </a:lnTo>
                  <a:lnTo>
                    <a:pt x="40387" y="0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41" name="Forma Livre: Forma 340">
              <a:extLst>
                <a:ext uri="{FF2B5EF4-FFF2-40B4-BE49-F238E27FC236}">
                  <a16:creationId xmlns:a16="http://schemas.microsoft.com/office/drawing/2014/main" id="{73147C10-F9FA-41D0-8900-5FB16A5631D9}"/>
                </a:ext>
              </a:extLst>
            </p:cNvPr>
            <p:cNvSpPr/>
            <p:nvPr/>
          </p:nvSpPr>
          <p:spPr>
            <a:xfrm>
              <a:off x="6850923" y="5355919"/>
              <a:ext cx="39610" cy="39610"/>
            </a:xfrm>
            <a:custGeom>
              <a:avLst/>
              <a:gdLst>
                <a:gd name="connsiteX0" fmla="*/ 39610 w 39610"/>
                <a:gd name="connsiteY0" fmla="*/ 0 h 39610"/>
                <a:gd name="connsiteX1" fmla="*/ 0 w 39610"/>
                <a:gd name="connsiteY1" fmla="*/ 0 h 39610"/>
                <a:gd name="connsiteX2" fmla="*/ 0 w 39610"/>
                <a:gd name="connsiteY2" fmla="*/ 39610 h 39610"/>
                <a:gd name="connsiteX3" fmla="*/ 39610 w 39610"/>
                <a:gd name="connsiteY3" fmla="*/ 39610 h 39610"/>
                <a:gd name="connsiteX4" fmla="*/ 39610 w 39610"/>
                <a:gd name="connsiteY4" fmla="*/ 0 h 39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10" h="39610">
                  <a:moveTo>
                    <a:pt x="39610" y="0"/>
                  </a:moveTo>
                  <a:lnTo>
                    <a:pt x="0" y="0"/>
                  </a:lnTo>
                  <a:lnTo>
                    <a:pt x="0" y="39610"/>
                  </a:lnTo>
                  <a:lnTo>
                    <a:pt x="39610" y="39610"/>
                  </a:lnTo>
                  <a:lnTo>
                    <a:pt x="39610" y="0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42" name="Forma Livre: Forma 341">
              <a:extLst>
                <a:ext uri="{FF2B5EF4-FFF2-40B4-BE49-F238E27FC236}">
                  <a16:creationId xmlns:a16="http://schemas.microsoft.com/office/drawing/2014/main" id="{C9A40C19-F864-4931-B1E3-E44A06CDEBC4}"/>
                </a:ext>
              </a:extLst>
            </p:cNvPr>
            <p:cNvSpPr/>
            <p:nvPr/>
          </p:nvSpPr>
          <p:spPr>
            <a:xfrm>
              <a:off x="6574428" y="5419606"/>
              <a:ext cx="40386" cy="40386"/>
            </a:xfrm>
            <a:custGeom>
              <a:avLst/>
              <a:gdLst>
                <a:gd name="connsiteX0" fmla="*/ 40387 w 40386"/>
                <a:gd name="connsiteY0" fmla="*/ 0 h 40386"/>
                <a:gd name="connsiteX1" fmla="*/ 0 w 40386"/>
                <a:gd name="connsiteY1" fmla="*/ 0 h 40386"/>
                <a:gd name="connsiteX2" fmla="*/ 0 w 40386"/>
                <a:gd name="connsiteY2" fmla="*/ 40387 h 40386"/>
                <a:gd name="connsiteX3" fmla="*/ 40387 w 40386"/>
                <a:gd name="connsiteY3" fmla="*/ 40387 h 40386"/>
                <a:gd name="connsiteX4" fmla="*/ 40387 w 40386"/>
                <a:gd name="connsiteY4" fmla="*/ 0 h 4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386" h="40386">
                  <a:moveTo>
                    <a:pt x="40387" y="0"/>
                  </a:moveTo>
                  <a:lnTo>
                    <a:pt x="0" y="0"/>
                  </a:lnTo>
                  <a:lnTo>
                    <a:pt x="0" y="40387"/>
                  </a:lnTo>
                  <a:lnTo>
                    <a:pt x="40387" y="40387"/>
                  </a:lnTo>
                  <a:lnTo>
                    <a:pt x="40387" y="0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43" name="Forma Livre: Forma 342">
              <a:extLst>
                <a:ext uri="{FF2B5EF4-FFF2-40B4-BE49-F238E27FC236}">
                  <a16:creationId xmlns:a16="http://schemas.microsoft.com/office/drawing/2014/main" id="{79142A2C-8FEC-4D23-B7FF-CA30279FEEDA}"/>
                </a:ext>
              </a:extLst>
            </p:cNvPr>
            <p:cNvSpPr/>
            <p:nvPr/>
          </p:nvSpPr>
          <p:spPr>
            <a:xfrm>
              <a:off x="6643552" y="5419606"/>
              <a:ext cx="40386" cy="40386"/>
            </a:xfrm>
            <a:custGeom>
              <a:avLst/>
              <a:gdLst>
                <a:gd name="connsiteX0" fmla="*/ 40387 w 40386"/>
                <a:gd name="connsiteY0" fmla="*/ 0 h 40386"/>
                <a:gd name="connsiteX1" fmla="*/ 0 w 40386"/>
                <a:gd name="connsiteY1" fmla="*/ 0 h 40386"/>
                <a:gd name="connsiteX2" fmla="*/ 0 w 40386"/>
                <a:gd name="connsiteY2" fmla="*/ 40387 h 40386"/>
                <a:gd name="connsiteX3" fmla="*/ 40387 w 40386"/>
                <a:gd name="connsiteY3" fmla="*/ 40387 h 40386"/>
                <a:gd name="connsiteX4" fmla="*/ 40387 w 40386"/>
                <a:gd name="connsiteY4" fmla="*/ 0 h 4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386" h="40386">
                  <a:moveTo>
                    <a:pt x="40387" y="0"/>
                  </a:moveTo>
                  <a:lnTo>
                    <a:pt x="0" y="0"/>
                  </a:lnTo>
                  <a:lnTo>
                    <a:pt x="0" y="40387"/>
                  </a:lnTo>
                  <a:lnTo>
                    <a:pt x="40387" y="40387"/>
                  </a:lnTo>
                  <a:lnTo>
                    <a:pt x="40387" y="0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44" name="Forma Livre: Forma 343">
              <a:extLst>
                <a:ext uri="{FF2B5EF4-FFF2-40B4-BE49-F238E27FC236}">
                  <a16:creationId xmlns:a16="http://schemas.microsoft.com/office/drawing/2014/main" id="{AABD7BC0-9F98-4537-B1D9-348C30C7632C}"/>
                </a:ext>
              </a:extLst>
            </p:cNvPr>
            <p:cNvSpPr/>
            <p:nvPr/>
          </p:nvSpPr>
          <p:spPr>
            <a:xfrm>
              <a:off x="6712676" y="5419606"/>
              <a:ext cx="40386" cy="40386"/>
            </a:xfrm>
            <a:custGeom>
              <a:avLst/>
              <a:gdLst>
                <a:gd name="connsiteX0" fmla="*/ 40386 w 40386"/>
                <a:gd name="connsiteY0" fmla="*/ 0 h 40386"/>
                <a:gd name="connsiteX1" fmla="*/ 0 w 40386"/>
                <a:gd name="connsiteY1" fmla="*/ 0 h 40386"/>
                <a:gd name="connsiteX2" fmla="*/ 0 w 40386"/>
                <a:gd name="connsiteY2" fmla="*/ 40387 h 40386"/>
                <a:gd name="connsiteX3" fmla="*/ 40386 w 40386"/>
                <a:gd name="connsiteY3" fmla="*/ 40387 h 40386"/>
                <a:gd name="connsiteX4" fmla="*/ 40386 w 40386"/>
                <a:gd name="connsiteY4" fmla="*/ 0 h 4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386" h="40386">
                  <a:moveTo>
                    <a:pt x="40386" y="0"/>
                  </a:moveTo>
                  <a:lnTo>
                    <a:pt x="0" y="0"/>
                  </a:lnTo>
                  <a:lnTo>
                    <a:pt x="0" y="40387"/>
                  </a:lnTo>
                  <a:lnTo>
                    <a:pt x="40386" y="40387"/>
                  </a:lnTo>
                  <a:lnTo>
                    <a:pt x="40386" y="0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45" name="Forma Livre: Forma 344">
              <a:extLst>
                <a:ext uri="{FF2B5EF4-FFF2-40B4-BE49-F238E27FC236}">
                  <a16:creationId xmlns:a16="http://schemas.microsoft.com/office/drawing/2014/main" id="{02B3CD06-63F0-488E-A922-AB0676254D04}"/>
                </a:ext>
              </a:extLst>
            </p:cNvPr>
            <p:cNvSpPr/>
            <p:nvPr/>
          </p:nvSpPr>
          <p:spPr>
            <a:xfrm>
              <a:off x="6781799" y="5419606"/>
              <a:ext cx="40386" cy="40386"/>
            </a:xfrm>
            <a:custGeom>
              <a:avLst/>
              <a:gdLst>
                <a:gd name="connsiteX0" fmla="*/ 40387 w 40386"/>
                <a:gd name="connsiteY0" fmla="*/ 0 h 40386"/>
                <a:gd name="connsiteX1" fmla="*/ 0 w 40386"/>
                <a:gd name="connsiteY1" fmla="*/ 0 h 40386"/>
                <a:gd name="connsiteX2" fmla="*/ 0 w 40386"/>
                <a:gd name="connsiteY2" fmla="*/ 40387 h 40386"/>
                <a:gd name="connsiteX3" fmla="*/ 40387 w 40386"/>
                <a:gd name="connsiteY3" fmla="*/ 40387 h 40386"/>
                <a:gd name="connsiteX4" fmla="*/ 40387 w 40386"/>
                <a:gd name="connsiteY4" fmla="*/ 0 h 4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386" h="40386">
                  <a:moveTo>
                    <a:pt x="40387" y="0"/>
                  </a:moveTo>
                  <a:lnTo>
                    <a:pt x="0" y="0"/>
                  </a:lnTo>
                  <a:lnTo>
                    <a:pt x="0" y="40387"/>
                  </a:lnTo>
                  <a:lnTo>
                    <a:pt x="40387" y="40387"/>
                  </a:lnTo>
                  <a:lnTo>
                    <a:pt x="40387" y="0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46" name="Forma Livre: Forma 345">
              <a:extLst>
                <a:ext uri="{FF2B5EF4-FFF2-40B4-BE49-F238E27FC236}">
                  <a16:creationId xmlns:a16="http://schemas.microsoft.com/office/drawing/2014/main" id="{62DC9B85-8DD4-4F11-A7DD-91DB43D2C2CD}"/>
                </a:ext>
              </a:extLst>
            </p:cNvPr>
            <p:cNvSpPr/>
            <p:nvPr/>
          </p:nvSpPr>
          <p:spPr>
            <a:xfrm>
              <a:off x="6850923" y="5419606"/>
              <a:ext cx="39610" cy="40386"/>
            </a:xfrm>
            <a:custGeom>
              <a:avLst/>
              <a:gdLst>
                <a:gd name="connsiteX0" fmla="*/ 39610 w 39610"/>
                <a:gd name="connsiteY0" fmla="*/ 0 h 40386"/>
                <a:gd name="connsiteX1" fmla="*/ 0 w 39610"/>
                <a:gd name="connsiteY1" fmla="*/ 0 h 40386"/>
                <a:gd name="connsiteX2" fmla="*/ 0 w 39610"/>
                <a:gd name="connsiteY2" fmla="*/ 40387 h 40386"/>
                <a:gd name="connsiteX3" fmla="*/ 39610 w 39610"/>
                <a:gd name="connsiteY3" fmla="*/ 40387 h 40386"/>
                <a:gd name="connsiteX4" fmla="*/ 39610 w 39610"/>
                <a:gd name="connsiteY4" fmla="*/ 0 h 4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10" h="40386">
                  <a:moveTo>
                    <a:pt x="39610" y="0"/>
                  </a:moveTo>
                  <a:lnTo>
                    <a:pt x="0" y="0"/>
                  </a:lnTo>
                  <a:lnTo>
                    <a:pt x="0" y="40387"/>
                  </a:lnTo>
                  <a:lnTo>
                    <a:pt x="39610" y="40387"/>
                  </a:lnTo>
                  <a:lnTo>
                    <a:pt x="39610" y="0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47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7420349" y="4665279"/>
            <a:ext cx="426368" cy="378994"/>
            <a:chOff x="7723901" y="5105831"/>
            <a:chExt cx="524252" cy="466002"/>
          </a:xfrm>
          <a:solidFill>
            <a:srgbClr val="B1B1A1"/>
          </a:solidFill>
        </p:grpSpPr>
        <p:sp>
          <p:nvSpPr>
            <p:cNvPr id="348" name="Forma Livre: Forma 347">
              <a:extLst>
                <a:ext uri="{FF2B5EF4-FFF2-40B4-BE49-F238E27FC236}">
                  <a16:creationId xmlns:a16="http://schemas.microsoft.com/office/drawing/2014/main" id="{F5486588-B1AE-4F6E-83CD-FA0BA95F48B0}"/>
                </a:ext>
              </a:extLst>
            </p:cNvPr>
            <p:cNvSpPr/>
            <p:nvPr/>
          </p:nvSpPr>
          <p:spPr>
            <a:xfrm>
              <a:off x="8067189" y="5105831"/>
              <a:ext cx="40432" cy="108733"/>
            </a:xfrm>
            <a:custGeom>
              <a:avLst/>
              <a:gdLst>
                <a:gd name="connsiteX0" fmla="*/ 20194 w 40432"/>
                <a:gd name="connsiteY0" fmla="*/ 108734 h 108733"/>
                <a:gd name="connsiteX1" fmla="*/ 0 w 40432"/>
                <a:gd name="connsiteY1" fmla="*/ 88540 h 108733"/>
                <a:gd name="connsiteX2" fmla="*/ 0 w 40432"/>
                <a:gd name="connsiteY2" fmla="*/ 20193 h 108733"/>
                <a:gd name="connsiteX3" fmla="*/ 20194 w 40432"/>
                <a:gd name="connsiteY3" fmla="*/ 0 h 108733"/>
                <a:gd name="connsiteX4" fmla="*/ 40387 w 40432"/>
                <a:gd name="connsiteY4" fmla="*/ 20193 h 108733"/>
                <a:gd name="connsiteX5" fmla="*/ 40387 w 40432"/>
                <a:gd name="connsiteY5" fmla="*/ 88540 h 108733"/>
                <a:gd name="connsiteX6" fmla="*/ 20194 w 40432"/>
                <a:gd name="connsiteY6" fmla="*/ 108734 h 108733"/>
                <a:gd name="connsiteX7" fmla="*/ 20194 w 40432"/>
                <a:gd name="connsiteY7" fmla="*/ 108734 h 108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432" h="108733">
                  <a:moveTo>
                    <a:pt x="20194" y="108734"/>
                  </a:moveTo>
                  <a:cubicBezTo>
                    <a:pt x="8544" y="108734"/>
                    <a:pt x="0" y="99414"/>
                    <a:pt x="0" y="88540"/>
                  </a:cubicBezTo>
                  <a:lnTo>
                    <a:pt x="0" y="20193"/>
                  </a:lnTo>
                  <a:cubicBezTo>
                    <a:pt x="0" y="8543"/>
                    <a:pt x="9320" y="0"/>
                    <a:pt x="20194" y="0"/>
                  </a:cubicBezTo>
                  <a:cubicBezTo>
                    <a:pt x="31844" y="0"/>
                    <a:pt x="40387" y="9320"/>
                    <a:pt x="40387" y="20193"/>
                  </a:cubicBezTo>
                  <a:lnTo>
                    <a:pt x="40387" y="88540"/>
                  </a:lnTo>
                  <a:cubicBezTo>
                    <a:pt x="41163" y="99414"/>
                    <a:pt x="31844" y="108734"/>
                    <a:pt x="20194" y="108734"/>
                  </a:cubicBezTo>
                  <a:lnTo>
                    <a:pt x="20194" y="108734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49" name="Forma Livre: Forma 348">
              <a:extLst>
                <a:ext uri="{FF2B5EF4-FFF2-40B4-BE49-F238E27FC236}">
                  <a16:creationId xmlns:a16="http://schemas.microsoft.com/office/drawing/2014/main" id="{F8F00912-F159-4048-9F4B-9058D099FEB0}"/>
                </a:ext>
              </a:extLst>
            </p:cNvPr>
            <p:cNvSpPr/>
            <p:nvPr/>
          </p:nvSpPr>
          <p:spPr>
            <a:xfrm>
              <a:off x="7805451" y="5105831"/>
              <a:ext cx="40386" cy="108733"/>
            </a:xfrm>
            <a:custGeom>
              <a:avLst/>
              <a:gdLst>
                <a:gd name="connsiteX0" fmla="*/ 20194 w 40386"/>
                <a:gd name="connsiteY0" fmla="*/ 108734 h 108733"/>
                <a:gd name="connsiteX1" fmla="*/ 0 w 40386"/>
                <a:gd name="connsiteY1" fmla="*/ 88540 h 108733"/>
                <a:gd name="connsiteX2" fmla="*/ 0 w 40386"/>
                <a:gd name="connsiteY2" fmla="*/ 20193 h 108733"/>
                <a:gd name="connsiteX3" fmla="*/ 20194 w 40386"/>
                <a:gd name="connsiteY3" fmla="*/ 0 h 108733"/>
                <a:gd name="connsiteX4" fmla="*/ 40387 w 40386"/>
                <a:gd name="connsiteY4" fmla="*/ 20193 h 108733"/>
                <a:gd name="connsiteX5" fmla="*/ 40387 w 40386"/>
                <a:gd name="connsiteY5" fmla="*/ 88540 h 108733"/>
                <a:gd name="connsiteX6" fmla="*/ 20194 w 40386"/>
                <a:gd name="connsiteY6" fmla="*/ 108734 h 108733"/>
                <a:gd name="connsiteX7" fmla="*/ 20194 w 40386"/>
                <a:gd name="connsiteY7" fmla="*/ 108734 h 108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86" h="108733">
                  <a:moveTo>
                    <a:pt x="20194" y="108734"/>
                  </a:moveTo>
                  <a:cubicBezTo>
                    <a:pt x="8544" y="108734"/>
                    <a:pt x="0" y="99414"/>
                    <a:pt x="0" y="88540"/>
                  </a:cubicBezTo>
                  <a:lnTo>
                    <a:pt x="0" y="20193"/>
                  </a:lnTo>
                  <a:cubicBezTo>
                    <a:pt x="0" y="8543"/>
                    <a:pt x="9320" y="0"/>
                    <a:pt x="20194" y="0"/>
                  </a:cubicBezTo>
                  <a:cubicBezTo>
                    <a:pt x="31844" y="0"/>
                    <a:pt x="40387" y="9320"/>
                    <a:pt x="40387" y="20193"/>
                  </a:cubicBezTo>
                  <a:lnTo>
                    <a:pt x="40387" y="88540"/>
                  </a:lnTo>
                  <a:cubicBezTo>
                    <a:pt x="40387" y="99414"/>
                    <a:pt x="31067" y="108734"/>
                    <a:pt x="20194" y="108734"/>
                  </a:cubicBezTo>
                  <a:lnTo>
                    <a:pt x="20194" y="108734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50" name="Forma Livre: Forma 349">
              <a:extLst>
                <a:ext uri="{FF2B5EF4-FFF2-40B4-BE49-F238E27FC236}">
                  <a16:creationId xmlns:a16="http://schemas.microsoft.com/office/drawing/2014/main" id="{6F5CA1D9-BDDF-4543-99E2-D3EE93D10074}"/>
                </a:ext>
              </a:extLst>
            </p:cNvPr>
            <p:cNvSpPr/>
            <p:nvPr/>
          </p:nvSpPr>
          <p:spPr>
            <a:xfrm>
              <a:off x="7736328" y="5261165"/>
              <a:ext cx="438903" cy="20193"/>
            </a:xfrm>
            <a:custGeom>
              <a:avLst/>
              <a:gdLst>
                <a:gd name="connsiteX0" fmla="*/ 428722 w 438903"/>
                <a:gd name="connsiteY0" fmla="*/ 20193 h 20193"/>
                <a:gd name="connsiteX1" fmla="*/ 10097 w 438903"/>
                <a:gd name="connsiteY1" fmla="*/ 20193 h 20193"/>
                <a:gd name="connsiteX2" fmla="*/ 0 w 438903"/>
                <a:gd name="connsiteY2" fmla="*/ 10097 h 20193"/>
                <a:gd name="connsiteX3" fmla="*/ 10097 w 438903"/>
                <a:gd name="connsiteY3" fmla="*/ 0 h 20193"/>
                <a:gd name="connsiteX4" fmla="*/ 428722 w 438903"/>
                <a:gd name="connsiteY4" fmla="*/ 0 h 20193"/>
                <a:gd name="connsiteX5" fmla="*/ 438818 w 438903"/>
                <a:gd name="connsiteY5" fmla="*/ 10097 h 20193"/>
                <a:gd name="connsiteX6" fmla="*/ 428722 w 438903"/>
                <a:gd name="connsiteY6" fmla="*/ 20193 h 20193"/>
                <a:gd name="connsiteX7" fmla="*/ 428722 w 438903"/>
                <a:gd name="connsiteY7" fmla="*/ 20193 h 20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38903" h="20193">
                  <a:moveTo>
                    <a:pt x="428722" y="20193"/>
                  </a:moveTo>
                  <a:lnTo>
                    <a:pt x="10097" y="20193"/>
                  </a:lnTo>
                  <a:cubicBezTo>
                    <a:pt x="4660" y="20193"/>
                    <a:pt x="0" y="15533"/>
                    <a:pt x="0" y="10097"/>
                  </a:cubicBezTo>
                  <a:cubicBezTo>
                    <a:pt x="0" y="4660"/>
                    <a:pt x="4660" y="0"/>
                    <a:pt x="10097" y="0"/>
                  </a:cubicBezTo>
                  <a:lnTo>
                    <a:pt x="428722" y="0"/>
                  </a:lnTo>
                  <a:cubicBezTo>
                    <a:pt x="434159" y="0"/>
                    <a:pt x="438818" y="4660"/>
                    <a:pt x="438818" y="10097"/>
                  </a:cubicBezTo>
                  <a:cubicBezTo>
                    <a:pt x="439596" y="15533"/>
                    <a:pt x="434935" y="20193"/>
                    <a:pt x="428722" y="20193"/>
                  </a:cubicBezTo>
                  <a:lnTo>
                    <a:pt x="428722" y="20193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51" name="Forma Livre: Forma 350">
              <a:extLst>
                <a:ext uri="{FF2B5EF4-FFF2-40B4-BE49-F238E27FC236}">
                  <a16:creationId xmlns:a16="http://schemas.microsoft.com/office/drawing/2014/main" id="{D129ACDB-94AC-4DB9-A696-967EEB4B6CBF}"/>
                </a:ext>
              </a:extLst>
            </p:cNvPr>
            <p:cNvSpPr/>
            <p:nvPr/>
          </p:nvSpPr>
          <p:spPr>
            <a:xfrm>
              <a:off x="7800791" y="5323299"/>
              <a:ext cx="39610" cy="39610"/>
            </a:xfrm>
            <a:custGeom>
              <a:avLst/>
              <a:gdLst>
                <a:gd name="connsiteX0" fmla="*/ 39610 w 39610"/>
                <a:gd name="connsiteY0" fmla="*/ 0 h 39610"/>
                <a:gd name="connsiteX1" fmla="*/ 0 w 39610"/>
                <a:gd name="connsiteY1" fmla="*/ 0 h 39610"/>
                <a:gd name="connsiteX2" fmla="*/ 0 w 39610"/>
                <a:gd name="connsiteY2" fmla="*/ 39610 h 39610"/>
                <a:gd name="connsiteX3" fmla="*/ 39610 w 39610"/>
                <a:gd name="connsiteY3" fmla="*/ 39610 h 39610"/>
                <a:gd name="connsiteX4" fmla="*/ 39610 w 39610"/>
                <a:gd name="connsiteY4" fmla="*/ 0 h 39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10" h="39610">
                  <a:moveTo>
                    <a:pt x="39610" y="0"/>
                  </a:moveTo>
                  <a:lnTo>
                    <a:pt x="0" y="0"/>
                  </a:lnTo>
                  <a:lnTo>
                    <a:pt x="0" y="39610"/>
                  </a:lnTo>
                  <a:lnTo>
                    <a:pt x="39610" y="39610"/>
                  </a:lnTo>
                  <a:lnTo>
                    <a:pt x="39610" y="0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52" name="Forma Livre: Forma 351">
              <a:extLst>
                <a:ext uri="{FF2B5EF4-FFF2-40B4-BE49-F238E27FC236}">
                  <a16:creationId xmlns:a16="http://schemas.microsoft.com/office/drawing/2014/main" id="{A966017B-9FDB-4589-A1A1-17E2DF2F573C}"/>
                </a:ext>
              </a:extLst>
            </p:cNvPr>
            <p:cNvSpPr/>
            <p:nvPr/>
          </p:nvSpPr>
          <p:spPr>
            <a:xfrm>
              <a:off x="7869138" y="5323299"/>
              <a:ext cx="40386" cy="39610"/>
            </a:xfrm>
            <a:custGeom>
              <a:avLst/>
              <a:gdLst>
                <a:gd name="connsiteX0" fmla="*/ 40387 w 40386"/>
                <a:gd name="connsiteY0" fmla="*/ 0 h 39610"/>
                <a:gd name="connsiteX1" fmla="*/ 0 w 40386"/>
                <a:gd name="connsiteY1" fmla="*/ 0 h 39610"/>
                <a:gd name="connsiteX2" fmla="*/ 0 w 40386"/>
                <a:gd name="connsiteY2" fmla="*/ 39610 h 39610"/>
                <a:gd name="connsiteX3" fmla="*/ 40387 w 40386"/>
                <a:gd name="connsiteY3" fmla="*/ 39610 h 39610"/>
                <a:gd name="connsiteX4" fmla="*/ 40387 w 40386"/>
                <a:gd name="connsiteY4" fmla="*/ 0 h 39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386" h="39610">
                  <a:moveTo>
                    <a:pt x="40387" y="0"/>
                  </a:moveTo>
                  <a:lnTo>
                    <a:pt x="0" y="0"/>
                  </a:lnTo>
                  <a:lnTo>
                    <a:pt x="0" y="39610"/>
                  </a:lnTo>
                  <a:lnTo>
                    <a:pt x="40387" y="39610"/>
                  </a:lnTo>
                  <a:lnTo>
                    <a:pt x="40387" y="0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53" name="Forma Livre: Forma 352">
              <a:extLst>
                <a:ext uri="{FF2B5EF4-FFF2-40B4-BE49-F238E27FC236}">
                  <a16:creationId xmlns:a16="http://schemas.microsoft.com/office/drawing/2014/main" id="{63B49525-75FC-4211-B5B3-B4CD35B36BB6}"/>
                </a:ext>
              </a:extLst>
            </p:cNvPr>
            <p:cNvSpPr/>
            <p:nvPr/>
          </p:nvSpPr>
          <p:spPr>
            <a:xfrm>
              <a:off x="7938262" y="5323299"/>
              <a:ext cx="40386" cy="39610"/>
            </a:xfrm>
            <a:custGeom>
              <a:avLst/>
              <a:gdLst>
                <a:gd name="connsiteX0" fmla="*/ 40387 w 40386"/>
                <a:gd name="connsiteY0" fmla="*/ 0 h 39610"/>
                <a:gd name="connsiteX1" fmla="*/ 0 w 40386"/>
                <a:gd name="connsiteY1" fmla="*/ 0 h 39610"/>
                <a:gd name="connsiteX2" fmla="*/ 0 w 40386"/>
                <a:gd name="connsiteY2" fmla="*/ 39610 h 39610"/>
                <a:gd name="connsiteX3" fmla="*/ 40387 w 40386"/>
                <a:gd name="connsiteY3" fmla="*/ 39610 h 39610"/>
                <a:gd name="connsiteX4" fmla="*/ 40387 w 40386"/>
                <a:gd name="connsiteY4" fmla="*/ 0 h 39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386" h="39610">
                  <a:moveTo>
                    <a:pt x="40387" y="0"/>
                  </a:moveTo>
                  <a:lnTo>
                    <a:pt x="0" y="0"/>
                  </a:lnTo>
                  <a:lnTo>
                    <a:pt x="0" y="39610"/>
                  </a:lnTo>
                  <a:lnTo>
                    <a:pt x="40387" y="39610"/>
                  </a:lnTo>
                  <a:lnTo>
                    <a:pt x="40387" y="0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54" name="Forma Livre: Forma 353">
              <a:extLst>
                <a:ext uri="{FF2B5EF4-FFF2-40B4-BE49-F238E27FC236}">
                  <a16:creationId xmlns:a16="http://schemas.microsoft.com/office/drawing/2014/main" id="{EE83430F-3491-4263-AEF4-101772326639}"/>
                </a:ext>
              </a:extLst>
            </p:cNvPr>
            <p:cNvSpPr/>
            <p:nvPr/>
          </p:nvSpPr>
          <p:spPr>
            <a:xfrm>
              <a:off x="8007385" y="5323299"/>
              <a:ext cx="40386" cy="39610"/>
            </a:xfrm>
            <a:custGeom>
              <a:avLst/>
              <a:gdLst>
                <a:gd name="connsiteX0" fmla="*/ 40387 w 40386"/>
                <a:gd name="connsiteY0" fmla="*/ 0 h 39610"/>
                <a:gd name="connsiteX1" fmla="*/ 0 w 40386"/>
                <a:gd name="connsiteY1" fmla="*/ 0 h 39610"/>
                <a:gd name="connsiteX2" fmla="*/ 0 w 40386"/>
                <a:gd name="connsiteY2" fmla="*/ 39610 h 39610"/>
                <a:gd name="connsiteX3" fmla="*/ 40387 w 40386"/>
                <a:gd name="connsiteY3" fmla="*/ 39610 h 39610"/>
                <a:gd name="connsiteX4" fmla="*/ 40387 w 40386"/>
                <a:gd name="connsiteY4" fmla="*/ 0 h 39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386" h="39610">
                  <a:moveTo>
                    <a:pt x="40387" y="0"/>
                  </a:moveTo>
                  <a:lnTo>
                    <a:pt x="0" y="0"/>
                  </a:lnTo>
                  <a:lnTo>
                    <a:pt x="0" y="39610"/>
                  </a:lnTo>
                  <a:lnTo>
                    <a:pt x="40387" y="39610"/>
                  </a:lnTo>
                  <a:lnTo>
                    <a:pt x="40387" y="0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55" name="Forma Livre: Forma 354">
              <a:extLst>
                <a:ext uri="{FF2B5EF4-FFF2-40B4-BE49-F238E27FC236}">
                  <a16:creationId xmlns:a16="http://schemas.microsoft.com/office/drawing/2014/main" id="{E50EAC46-4050-47E6-905B-BF7DA3021E31}"/>
                </a:ext>
              </a:extLst>
            </p:cNvPr>
            <p:cNvSpPr/>
            <p:nvPr/>
          </p:nvSpPr>
          <p:spPr>
            <a:xfrm>
              <a:off x="7800791" y="5386985"/>
              <a:ext cx="39610" cy="40386"/>
            </a:xfrm>
            <a:custGeom>
              <a:avLst/>
              <a:gdLst>
                <a:gd name="connsiteX0" fmla="*/ 39610 w 39610"/>
                <a:gd name="connsiteY0" fmla="*/ 0 h 40386"/>
                <a:gd name="connsiteX1" fmla="*/ 0 w 39610"/>
                <a:gd name="connsiteY1" fmla="*/ 0 h 40386"/>
                <a:gd name="connsiteX2" fmla="*/ 0 w 39610"/>
                <a:gd name="connsiteY2" fmla="*/ 40387 h 40386"/>
                <a:gd name="connsiteX3" fmla="*/ 39610 w 39610"/>
                <a:gd name="connsiteY3" fmla="*/ 40387 h 40386"/>
                <a:gd name="connsiteX4" fmla="*/ 39610 w 39610"/>
                <a:gd name="connsiteY4" fmla="*/ 0 h 4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10" h="40386">
                  <a:moveTo>
                    <a:pt x="39610" y="0"/>
                  </a:moveTo>
                  <a:lnTo>
                    <a:pt x="0" y="0"/>
                  </a:lnTo>
                  <a:lnTo>
                    <a:pt x="0" y="40387"/>
                  </a:lnTo>
                  <a:lnTo>
                    <a:pt x="39610" y="40387"/>
                  </a:lnTo>
                  <a:lnTo>
                    <a:pt x="39610" y="0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56" name="Forma Livre: Forma 355">
              <a:extLst>
                <a:ext uri="{FF2B5EF4-FFF2-40B4-BE49-F238E27FC236}">
                  <a16:creationId xmlns:a16="http://schemas.microsoft.com/office/drawing/2014/main" id="{35DB82AF-A84A-4C5A-825C-86E8F4AF699E}"/>
                </a:ext>
              </a:extLst>
            </p:cNvPr>
            <p:cNvSpPr/>
            <p:nvPr/>
          </p:nvSpPr>
          <p:spPr>
            <a:xfrm>
              <a:off x="7869138" y="5386985"/>
              <a:ext cx="40386" cy="40386"/>
            </a:xfrm>
            <a:custGeom>
              <a:avLst/>
              <a:gdLst>
                <a:gd name="connsiteX0" fmla="*/ 40387 w 40386"/>
                <a:gd name="connsiteY0" fmla="*/ 0 h 40386"/>
                <a:gd name="connsiteX1" fmla="*/ 0 w 40386"/>
                <a:gd name="connsiteY1" fmla="*/ 0 h 40386"/>
                <a:gd name="connsiteX2" fmla="*/ 0 w 40386"/>
                <a:gd name="connsiteY2" fmla="*/ 40387 h 40386"/>
                <a:gd name="connsiteX3" fmla="*/ 40387 w 40386"/>
                <a:gd name="connsiteY3" fmla="*/ 40387 h 40386"/>
                <a:gd name="connsiteX4" fmla="*/ 40387 w 40386"/>
                <a:gd name="connsiteY4" fmla="*/ 0 h 4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386" h="40386">
                  <a:moveTo>
                    <a:pt x="40387" y="0"/>
                  </a:moveTo>
                  <a:lnTo>
                    <a:pt x="0" y="0"/>
                  </a:lnTo>
                  <a:lnTo>
                    <a:pt x="0" y="40387"/>
                  </a:lnTo>
                  <a:lnTo>
                    <a:pt x="40387" y="40387"/>
                  </a:lnTo>
                  <a:lnTo>
                    <a:pt x="40387" y="0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57" name="Forma Livre: Forma 356">
              <a:extLst>
                <a:ext uri="{FF2B5EF4-FFF2-40B4-BE49-F238E27FC236}">
                  <a16:creationId xmlns:a16="http://schemas.microsoft.com/office/drawing/2014/main" id="{43B028F9-184F-4322-8E2B-F04FF3F56218}"/>
                </a:ext>
              </a:extLst>
            </p:cNvPr>
            <p:cNvSpPr/>
            <p:nvPr/>
          </p:nvSpPr>
          <p:spPr>
            <a:xfrm>
              <a:off x="7938262" y="5386985"/>
              <a:ext cx="40386" cy="40386"/>
            </a:xfrm>
            <a:custGeom>
              <a:avLst/>
              <a:gdLst>
                <a:gd name="connsiteX0" fmla="*/ 40387 w 40386"/>
                <a:gd name="connsiteY0" fmla="*/ 0 h 40386"/>
                <a:gd name="connsiteX1" fmla="*/ 0 w 40386"/>
                <a:gd name="connsiteY1" fmla="*/ 0 h 40386"/>
                <a:gd name="connsiteX2" fmla="*/ 0 w 40386"/>
                <a:gd name="connsiteY2" fmla="*/ 40387 h 40386"/>
                <a:gd name="connsiteX3" fmla="*/ 40387 w 40386"/>
                <a:gd name="connsiteY3" fmla="*/ 40387 h 40386"/>
                <a:gd name="connsiteX4" fmla="*/ 40387 w 40386"/>
                <a:gd name="connsiteY4" fmla="*/ 0 h 4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386" h="40386">
                  <a:moveTo>
                    <a:pt x="40387" y="0"/>
                  </a:moveTo>
                  <a:lnTo>
                    <a:pt x="0" y="0"/>
                  </a:lnTo>
                  <a:lnTo>
                    <a:pt x="0" y="40387"/>
                  </a:lnTo>
                  <a:lnTo>
                    <a:pt x="40387" y="40387"/>
                  </a:lnTo>
                  <a:lnTo>
                    <a:pt x="40387" y="0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58" name="Forma Livre: Forma 357">
              <a:extLst>
                <a:ext uri="{FF2B5EF4-FFF2-40B4-BE49-F238E27FC236}">
                  <a16:creationId xmlns:a16="http://schemas.microsoft.com/office/drawing/2014/main" id="{1FC3FCF1-2399-49AC-8571-602CEE7C9D1E}"/>
                </a:ext>
              </a:extLst>
            </p:cNvPr>
            <p:cNvSpPr/>
            <p:nvPr/>
          </p:nvSpPr>
          <p:spPr>
            <a:xfrm>
              <a:off x="7993405" y="5317085"/>
              <a:ext cx="254747" cy="254748"/>
            </a:xfrm>
            <a:custGeom>
              <a:avLst/>
              <a:gdLst>
                <a:gd name="connsiteX0" fmla="*/ 127374 w 254747"/>
                <a:gd name="connsiteY0" fmla="*/ 254748 h 254748"/>
                <a:gd name="connsiteX1" fmla="*/ 0 w 254747"/>
                <a:gd name="connsiteY1" fmla="*/ 127374 h 254748"/>
                <a:gd name="connsiteX2" fmla="*/ 127374 w 254747"/>
                <a:gd name="connsiteY2" fmla="*/ 0 h 254748"/>
                <a:gd name="connsiteX3" fmla="*/ 254748 w 254747"/>
                <a:gd name="connsiteY3" fmla="*/ 127374 h 254748"/>
                <a:gd name="connsiteX4" fmla="*/ 127374 w 254747"/>
                <a:gd name="connsiteY4" fmla="*/ 254748 h 254748"/>
                <a:gd name="connsiteX5" fmla="*/ 127374 w 254747"/>
                <a:gd name="connsiteY5" fmla="*/ 254748 h 254748"/>
                <a:gd name="connsiteX6" fmla="*/ 127374 w 254747"/>
                <a:gd name="connsiteY6" fmla="*/ 19417 h 254748"/>
                <a:gd name="connsiteX7" fmla="*/ 20194 w 254747"/>
                <a:gd name="connsiteY7" fmla="*/ 126598 h 254748"/>
                <a:gd name="connsiteX8" fmla="*/ 127374 w 254747"/>
                <a:gd name="connsiteY8" fmla="*/ 233778 h 254748"/>
                <a:gd name="connsiteX9" fmla="*/ 234555 w 254747"/>
                <a:gd name="connsiteY9" fmla="*/ 126598 h 254748"/>
                <a:gd name="connsiteX10" fmla="*/ 127374 w 254747"/>
                <a:gd name="connsiteY10" fmla="*/ 19417 h 254748"/>
                <a:gd name="connsiteX11" fmla="*/ 127374 w 254747"/>
                <a:gd name="connsiteY11" fmla="*/ 19417 h 254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4747" h="254748">
                  <a:moveTo>
                    <a:pt x="127374" y="254748"/>
                  </a:moveTo>
                  <a:cubicBezTo>
                    <a:pt x="56697" y="254748"/>
                    <a:pt x="0" y="197274"/>
                    <a:pt x="0" y="127374"/>
                  </a:cubicBezTo>
                  <a:cubicBezTo>
                    <a:pt x="0" y="56697"/>
                    <a:pt x="57474" y="0"/>
                    <a:pt x="127374" y="0"/>
                  </a:cubicBezTo>
                  <a:cubicBezTo>
                    <a:pt x="198051" y="0"/>
                    <a:pt x="254748" y="57474"/>
                    <a:pt x="254748" y="127374"/>
                  </a:cubicBezTo>
                  <a:cubicBezTo>
                    <a:pt x="254748" y="197274"/>
                    <a:pt x="198051" y="254748"/>
                    <a:pt x="127374" y="254748"/>
                  </a:cubicBezTo>
                  <a:lnTo>
                    <a:pt x="127374" y="254748"/>
                  </a:lnTo>
                  <a:close/>
                  <a:moveTo>
                    <a:pt x="127374" y="19417"/>
                  </a:moveTo>
                  <a:cubicBezTo>
                    <a:pt x="68347" y="19417"/>
                    <a:pt x="20194" y="67570"/>
                    <a:pt x="20194" y="126598"/>
                  </a:cubicBezTo>
                  <a:cubicBezTo>
                    <a:pt x="20194" y="185624"/>
                    <a:pt x="68347" y="233778"/>
                    <a:pt x="127374" y="233778"/>
                  </a:cubicBezTo>
                  <a:cubicBezTo>
                    <a:pt x="186401" y="233778"/>
                    <a:pt x="234555" y="185624"/>
                    <a:pt x="234555" y="126598"/>
                  </a:cubicBezTo>
                  <a:cubicBezTo>
                    <a:pt x="234555" y="67570"/>
                    <a:pt x="186401" y="19417"/>
                    <a:pt x="127374" y="19417"/>
                  </a:cubicBezTo>
                  <a:lnTo>
                    <a:pt x="127374" y="19417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59" name="Forma Livre: Forma 358">
              <a:extLst>
                <a:ext uri="{FF2B5EF4-FFF2-40B4-BE49-F238E27FC236}">
                  <a16:creationId xmlns:a16="http://schemas.microsoft.com/office/drawing/2014/main" id="{740978E1-9407-462E-AD8F-45155B3F203F}"/>
                </a:ext>
              </a:extLst>
            </p:cNvPr>
            <p:cNvSpPr/>
            <p:nvPr/>
          </p:nvSpPr>
          <p:spPr>
            <a:xfrm>
              <a:off x="8043889" y="5424266"/>
              <a:ext cx="153825" cy="40386"/>
            </a:xfrm>
            <a:custGeom>
              <a:avLst/>
              <a:gdLst>
                <a:gd name="connsiteX0" fmla="*/ 133587 w 153825"/>
                <a:gd name="connsiteY0" fmla="*/ 40386 h 40386"/>
                <a:gd name="connsiteX1" fmla="*/ 20194 w 153825"/>
                <a:gd name="connsiteY1" fmla="*/ 40386 h 40386"/>
                <a:gd name="connsiteX2" fmla="*/ 0 w 153825"/>
                <a:gd name="connsiteY2" fmla="*/ 20193 h 40386"/>
                <a:gd name="connsiteX3" fmla="*/ 20194 w 153825"/>
                <a:gd name="connsiteY3" fmla="*/ 0 h 40386"/>
                <a:gd name="connsiteX4" fmla="*/ 133587 w 153825"/>
                <a:gd name="connsiteY4" fmla="*/ 0 h 40386"/>
                <a:gd name="connsiteX5" fmla="*/ 153781 w 153825"/>
                <a:gd name="connsiteY5" fmla="*/ 20193 h 40386"/>
                <a:gd name="connsiteX6" fmla="*/ 133587 w 153825"/>
                <a:gd name="connsiteY6" fmla="*/ 40386 h 40386"/>
                <a:gd name="connsiteX7" fmla="*/ 133587 w 153825"/>
                <a:gd name="connsiteY7" fmla="*/ 40386 h 4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3825" h="40386">
                  <a:moveTo>
                    <a:pt x="133587" y="40386"/>
                  </a:moveTo>
                  <a:lnTo>
                    <a:pt x="20194" y="40386"/>
                  </a:lnTo>
                  <a:cubicBezTo>
                    <a:pt x="8544" y="40386"/>
                    <a:pt x="0" y="31067"/>
                    <a:pt x="0" y="20193"/>
                  </a:cubicBezTo>
                  <a:cubicBezTo>
                    <a:pt x="0" y="8543"/>
                    <a:pt x="9320" y="0"/>
                    <a:pt x="20194" y="0"/>
                  </a:cubicBezTo>
                  <a:lnTo>
                    <a:pt x="133587" y="0"/>
                  </a:lnTo>
                  <a:cubicBezTo>
                    <a:pt x="145237" y="0"/>
                    <a:pt x="153781" y="9320"/>
                    <a:pt x="153781" y="20193"/>
                  </a:cubicBezTo>
                  <a:cubicBezTo>
                    <a:pt x="154557" y="31067"/>
                    <a:pt x="145237" y="40386"/>
                    <a:pt x="133587" y="40386"/>
                  </a:cubicBezTo>
                  <a:lnTo>
                    <a:pt x="133587" y="40386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60" name="Forma Livre: Forma 359">
              <a:extLst>
                <a:ext uri="{FF2B5EF4-FFF2-40B4-BE49-F238E27FC236}">
                  <a16:creationId xmlns:a16="http://schemas.microsoft.com/office/drawing/2014/main" id="{B5A30CDA-B831-47EC-BEF2-F44193D6CAA8}"/>
                </a:ext>
              </a:extLst>
            </p:cNvPr>
            <p:cNvSpPr/>
            <p:nvPr/>
          </p:nvSpPr>
          <p:spPr>
            <a:xfrm>
              <a:off x="8100586" y="5367569"/>
              <a:ext cx="40387" cy="153781"/>
            </a:xfrm>
            <a:custGeom>
              <a:avLst/>
              <a:gdLst>
                <a:gd name="connsiteX0" fmla="*/ 20193 w 40387"/>
                <a:gd name="connsiteY0" fmla="*/ 153781 h 153781"/>
                <a:gd name="connsiteX1" fmla="*/ 0 w 40387"/>
                <a:gd name="connsiteY1" fmla="*/ 133587 h 153781"/>
                <a:gd name="connsiteX2" fmla="*/ 0 w 40387"/>
                <a:gd name="connsiteY2" fmla="*/ 20194 h 153781"/>
                <a:gd name="connsiteX3" fmla="*/ 20193 w 40387"/>
                <a:gd name="connsiteY3" fmla="*/ 0 h 153781"/>
                <a:gd name="connsiteX4" fmla="*/ 40387 w 40387"/>
                <a:gd name="connsiteY4" fmla="*/ 20194 h 153781"/>
                <a:gd name="connsiteX5" fmla="*/ 40387 w 40387"/>
                <a:gd name="connsiteY5" fmla="*/ 133587 h 153781"/>
                <a:gd name="connsiteX6" fmla="*/ 20193 w 40387"/>
                <a:gd name="connsiteY6" fmla="*/ 153781 h 153781"/>
                <a:gd name="connsiteX7" fmla="*/ 20193 w 40387"/>
                <a:gd name="connsiteY7" fmla="*/ 153781 h 153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87" h="153781">
                  <a:moveTo>
                    <a:pt x="20193" y="153781"/>
                  </a:moveTo>
                  <a:cubicBezTo>
                    <a:pt x="8543" y="153781"/>
                    <a:pt x="0" y="144461"/>
                    <a:pt x="0" y="133587"/>
                  </a:cubicBezTo>
                  <a:lnTo>
                    <a:pt x="0" y="20194"/>
                  </a:lnTo>
                  <a:cubicBezTo>
                    <a:pt x="0" y="8544"/>
                    <a:pt x="9321" y="0"/>
                    <a:pt x="20193" y="0"/>
                  </a:cubicBezTo>
                  <a:cubicBezTo>
                    <a:pt x="31067" y="0"/>
                    <a:pt x="40387" y="9320"/>
                    <a:pt x="40387" y="20194"/>
                  </a:cubicBezTo>
                  <a:lnTo>
                    <a:pt x="40387" y="133587"/>
                  </a:lnTo>
                  <a:cubicBezTo>
                    <a:pt x="40387" y="144461"/>
                    <a:pt x="31843" y="153781"/>
                    <a:pt x="20193" y="153781"/>
                  </a:cubicBezTo>
                  <a:lnTo>
                    <a:pt x="20193" y="153781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61" name="Forma Livre: Forma 360">
              <a:extLst>
                <a:ext uri="{FF2B5EF4-FFF2-40B4-BE49-F238E27FC236}">
                  <a16:creationId xmlns:a16="http://schemas.microsoft.com/office/drawing/2014/main" id="{32438AA2-46D6-4BDF-8F6C-FB3A5D3EDC33}"/>
                </a:ext>
              </a:extLst>
            </p:cNvPr>
            <p:cNvSpPr/>
            <p:nvPr/>
          </p:nvSpPr>
          <p:spPr>
            <a:xfrm>
              <a:off x="7723901" y="5140004"/>
              <a:ext cx="462895" cy="376685"/>
            </a:xfrm>
            <a:custGeom>
              <a:avLst/>
              <a:gdLst>
                <a:gd name="connsiteX0" fmla="*/ 291251 w 462895"/>
                <a:gd name="connsiteY0" fmla="*/ 376685 h 376685"/>
                <a:gd name="connsiteX1" fmla="*/ 20194 w 462895"/>
                <a:gd name="connsiteY1" fmla="*/ 376685 h 376685"/>
                <a:gd name="connsiteX2" fmla="*/ 0 w 462895"/>
                <a:gd name="connsiteY2" fmla="*/ 356492 h 376685"/>
                <a:gd name="connsiteX3" fmla="*/ 0 w 462895"/>
                <a:gd name="connsiteY3" fmla="*/ 20194 h 376685"/>
                <a:gd name="connsiteX4" fmla="*/ 20194 w 462895"/>
                <a:gd name="connsiteY4" fmla="*/ 0 h 376685"/>
                <a:gd name="connsiteX5" fmla="*/ 442702 w 462895"/>
                <a:gd name="connsiteY5" fmla="*/ 0 h 376685"/>
                <a:gd name="connsiteX6" fmla="*/ 462895 w 462895"/>
                <a:gd name="connsiteY6" fmla="*/ 20194 h 376685"/>
                <a:gd name="connsiteX7" fmla="*/ 462895 w 462895"/>
                <a:gd name="connsiteY7" fmla="*/ 195721 h 376685"/>
                <a:gd name="connsiteX8" fmla="*/ 421732 w 462895"/>
                <a:gd name="connsiteY8" fmla="*/ 195721 h 376685"/>
                <a:gd name="connsiteX9" fmla="*/ 421732 w 462895"/>
                <a:gd name="connsiteY9" fmla="*/ 40387 h 376685"/>
                <a:gd name="connsiteX10" fmla="*/ 40387 w 462895"/>
                <a:gd name="connsiteY10" fmla="*/ 40387 h 376685"/>
                <a:gd name="connsiteX11" fmla="*/ 40387 w 462895"/>
                <a:gd name="connsiteY11" fmla="*/ 335522 h 376685"/>
                <a:gd name="connsiteX12" fmla="*/ 291251 w 462895"/>
                <a:gd name="connsiteY12" fmla="*/ 335522 h 376685"/>
                <a:gd name="connsiteX13" fmla="*/ 291251 w 462895"/>
                <a:gd name="connsiteY13" fmla="*/ 376685 h 376685"/>
                <a:gd name="connsiteX14" fmla="*/ 291251 w 462895"/>
                <a:gd name="connsiteY14" fmla="*/ 376685 h 376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62895" h="376685">
                  <a:moveTo>
                    <a:pt x="291251" y="376685"/>
                  </a:moveTo>
                  <a:lnTo>
                    <a:pt x="20194" y="376685"/>
                  </a:lnTo>
                  <a:cubicBezTo>
                    <a:pt x="8544" y="376685"/>
                    <a:pt x="0" y="367365"/>
                    <a:pt x="0" y="356492"/>
                  </a:cubicBezTo>
                  <a:lnTo>
                    <a:pt x="0" y="20194"/>
                  </a:lnTo>
                  <a:cubicBezTo>
                    <a:pt x="0" y="8544"/>
                    <a:pt x="9320" y="0"/>
                    <a:pt x="20194" y="0"/>
                  </a:cubicBezTo>
                  <a:lnTo>
                    <a:pt x="442702" y="0"/>
                  </a:lnTo>
                  <a:cubicBezTo>
                    <a:pt x="454352" y="0"/>
                    <a:pt x="462895" y="9320"/>
                    <a:pt x="462895" y="20194"/>
                  </a:cubicBezTo>
                  <a:lnTo>
                    <a:pt x="462895" y="195721"/>
                  </a:lnTo>
                  <a:lnTo>
                    <a:pt x="421732" y="195721"/>
                  </a:lnTo>
                  <a:lnTo>
                    <a:pt x="421732" y="40387"/>
                  </a:lnTo>
                  <a:lnTo>
                    <a:pt x="40387" y="40387"/>
                  </a:lnTo>
                  <a:lnTo>
                    <a:pt x="40387" y="335522"/>
                  </a:lnTo>
                  <a:lnTo>
                    <a:pt x="291251" y="335522"/>
                  </a:lnTo>
                  <a:lnTo>
                    <a:pt x="291251" y="376685"/>
                  </a:lnTo>
                  <a:lnTo>
                    <a:pt x="291251" y="376685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62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8447424" y="4665279"/>
            <a:ext cx="425743" cy="378994"/>
            <a:chOff x="8986767" y="5105831"/>
            <a:chExt cx="523483" cy="466002"/>
          </a:xfrm>
          <a:solidFill>
            <a:srgbClr val="B1B1A1"/>
          </a:solidFill>
        </p:grpSpPr>
        <p:sp>
          <p:nvSpPr>
            <p:cNvPr id="363" name="Forma Livre: Forma 362">
              <a:extLst>
                <a:ext uri="{FF2B5EF4-FFF2-40B4-BE49-F238E27FC236}">
                  <a16:creationId xmlns:a16="http://schemas.microsoft.com/office/drawing/2014/main" id="{BEB83704-4FFB-4C7C-B82E-FCA8BC204A59}"/>
                </a:ext>
              </a:extLst>
            </p:cNvPr>
            <p:cNvSpPr/>
            <p:nvPr/>
          </p:nvSpPr>
          <p:spPr>
            <a:xfrm>
              <a:off x="9329279" y="5105831"/>
              <a:ext cx="40431" cy="108733"/>
            </a:xfrm>
            <a:custGeom>
              <a:avLst/>
              <a:gdLst>
                <a:gd name="connsiteX0" fmla="*/ 20193 w 40431"/>
                <a:gd name="connsiteY0" fmla="*/ 108734 h 108733"/>
                <a:gd name="connsiteX1" fmla="*/ 0 w 40431"/>
                <a:gd name="connsiteY1" fmla="*/ 88540 h 108733"/>
                <a:gd name="connsiteX2" fmla="*/ 0 w 40431"/>
                <a:gd name="connsiteY2" fmla="*/ 20193 h 108733"/>
                <a:gd name="connsiteX3" fmla="*/ 20193 w 40431"/>
                <a:gd name="connsiteY3" fmla="*/ 0 h 108733"/>
                <a:gd name="connsiteX4" fmla="*/ 40386 w 40431"/>
                <a:gd name="connsiteY4" fmla="*/ 20193 h 108733"/>
                <a:gd name="connsiteX5" fmla="*/ 40386 w 40431"/>
                <a:gd name="connsiteY5" fmla="*/ 88540 h 108733"/>
                <a:gd name="connsiteX6" fmla="*/ 20193 w 40431"/>
                <a:gd name="connsiteY6" fmla="*/ 108734 h 108733"/>
                <a:gd name="connsiteX7" fmla="*/ 20193 w 40431"/>
                <a:gd name="connsiteY7" fmla="*/ 108734 h 108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431" h="108733">
                  <a:moveTo>
                    <a:pt x="20193" y="108734"/>
                  </a:moveTo>
                  <a:cubicBezTo>
                    <a:pt x="8543" y="108734"/>
                    <a:pt x="0" y="99414"/>
                    <a:pt x="0" y="88540"/>
                  </a:cubicBezTo>
                  <a:lnTo>
                    <a:pt x="0" y="20193"/>
                  </a:lnTo>
                  <a:cubicBezTo>
                    <a:pt x="0" y="8543"/>
                    <a:pt x="9320" y="0"/>
                    <a:pt x="20193" y="0"/>
                  </a:cubicBezTo>
                  <a:cubicBezTo>
                    <a:pt x="31843" y="0"/>
                    <a:pt x="40386" y="9320"/>
                    <a:pt x="40386" y="20193"/>
                  </a:cubicBezTo>
                  <a:lnTo>
                    <a:pt x="40386" y="88540"/>
                  </a:lnTo>
                  <a:cubicBezTo>
                    <a:pt x="41163" y="99414"/>
                    <a:pt x="31843" y="108734"/>
                    <a:pt x="20193" y="108734"/>
                  </a:cubicBezTo>
                  <a:lnTo>
                    <a:pt x="20193" y="108734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64" name="Forma Livre: Forma 363">
              <a:extLst>
                <a:ext uri="{FF2B5EF4-FFF2-40B4-BE49-F238E27FC236}">
                  <a16:creationId xmlns:a16="http://schemas.microsoft.com/office/drawing/2014/main" id="{AB4CF75D-36FC-4453-A373-DABD3AC45332}"/>
                </a:ext>
              </a:extLst>
            </p:cNvPr>
            <p:cNvSpPr/>
            <p:nvPr/>
          </p:nvSpPr>
          <p:spPr>
            <a:xfrm>
              <a:off x="9067540" y="5105831"/>
              <a:ext cx="40387" cy="108733"/>
            </a:xfrm>
            <a:custGeom>
              <a:avLst/>
              <a:gdLst>
                <a:gd name="connsiteX0" fmla="*/ 20193 w 40387"/>
                <a:gd name="connsiteY0" fmla="*/ 108734 h 108733"/>
                <a:gd name="connsiteX1" fmla="*/ 0 w 40387"/>
                <a:gd name="connsiteY1" fmla="*/ 88540 h 108733"/>
                <a:gd name="connsiteX2" fmla="*/ 0 w 40387"/>
                <a:gd name="connsiteY2" fmla="*/ 20193 h 108733"/>
                <a:gd name="connsiteX3" fmla="*/ 20193 w 40387"/>
                <a:gd name="connsiteY3" fmla="*/ 0 h 108733"/>
                <a:gd name="connsiteX4" fmla="*/ 40387 w 40387"/>
                <a:gd name="connsiteY4" fmla="*/ 20193 h 108733"/>
                <a:gd name="connsiteX5" fmla="*/ 40387 w 40387"/>
                <a:gd name="connsiteY5" fmla="*/ 88540 h 108733"/>
                <a:gd name="connsiteX6" fmla="*/ 20193 w 40387"/>
                <a:gd name="connsiteY6" fmla="*/ 108734 h 108733"/>
                <a:gd name="connsiteX7" fmla="*/ 20193 w 40387"/>
                <a:gd name="connsiteY7" fmla="*/ 108734 h 108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87" h="108733">
                  <a:moveTo>
                    <a:pt x="20193" y="108734"/>
                  </a:moveTo>
                  <a:cubicBezTo>
                    <a:pt x="8543" y="108734"/>
                    <a:pt x="0" y="99414"/>
                    <a:pt x="0" y="88540"/>
                  </a:cubicBezTo>
                  <a:lnTo>
                    <a:pt x="0" y="20193"/>
                  </a:lnTo>
                  <a:cubicBezTo>
                    <a:pt x="0" y="8543"/>
                    <a:pt x="9321" y="0"/>
                    <a:pt x="20193" y="0"/>
                  </a:cubicBezTo>
                  <a:cubicBezTo>
                    <a:pt x="31843" y="0"/>
                    <a:pt x="40387" y="9320"/>
                    <a:pt x="40387" y="20193"/>
                  </a:cubicBezTo>
                  <a:lnTo>
                    <a:pt x="40387" y="88540"/>
                  </a:lnTo>
                  <a:cubicBezTo>
                    <a:pt x="40387" y="99414"/>
                    <a:pt x="31067" y="108734"/>
                    <a:pt x="20193" y="108734"/>
                  </a:cubicBezTo>
                  <a:lnTo>
                    <a:pt x="20193" y="108734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65" name="Forma Livre: Forma 364">
              <a:extLst>
                <a:ext uri="{FF2B5EF4-FFF2-40B4-BE49-F238E27FC236}">
                  <a16:creationId xmlns:a16="http://schemas.microsoft.com/office/drawing/2014/main" id="{FFD3D43F-D10F-43A6-8133-393E380D274D}"/>
                </a:ext>
              </a:extLst>
            </p:cNvPr>
            <p:cNvSpPr/>
            <p:nvPr/>
          </p:nvSpPr>
          <p:spPr>
            <a:xfrm>
              <a:off x="8999194" y="5261165"/>
              <a:ext cx="438818" cy="20193"/>
            </a:xfrm>
            <a:custGeom>
              <a:avLst/>
              <a:gdLst>
                <a:gd name="connsiteX0" fmla="*/ 428722 w 438818"/>
                <a:gd name="connsiteY0" fmla="*/ 20193 h 20193"/>
                <a:gd name="connsiteX1" fmla="*/ 10096 w 438818"/>
                <a:gd name="connsiteY1" fmla="*/ 20193 h 20193"/>
                <a:gd name="connsiteX2" fmla="*/ 0 w 438818"/>
                <a:gd name="connsiteY2" fmla="*/ 10097 h 20193"/>
                <a:gd name="connsiteX3" fmla="*/ 10096 w 438818"/>
                <a:gd name="connsiteY3" fmla="*/ 0 h 20193"/>
                <a:gd name="connsiteX4" fmla="*/ 428722 w 438818"/>
                <a:gd name="connsiteY4" fmla="*/ 0 h 20193"/>
                <a:gd name="connsiteX5" fmla="*/ 438819 w 438818"/>
                <a:gd name="connsiteY5" fmla="*/ 10097 h 20193"/>
                <a:gd name="connsiteX6" fmla="*/ 428722 w 438818"/>
                <a:gd name="connsiteY6" fmla="*/ 20193 h 20193"/>
                <a:gd name="connsiteX7" fmla="*/ 428722 w 438818"/>
                <a:gd name="connsiteY7" fmla="*/ 20193 h 20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38818" h="20193">
                  <a:moveTo>
                    <a:pt x="428722" y="20193"/>
                  </a:moveTo>
                  <a:lnTo>
                    <a:pt x="10096" y="20193"/>
                  </a:lnTo>
                  <a:cubicBezTo>
                    <a:pt x="4660" y="20193"/>
                    <a:pt x="0" y="15533"/>
                    <a:pt x="0" y="10097"/>
                  </a:cubicBezTo>
                  <a:cubicBezTo>
                    <a:pt x="0" y="4660"/>
                    <a:pt x="4660" y="0"/>
                    <a:pt x="10096" y="0"/>
                  </a:cubicBezTo>
                  <a:lnTo>
                    <a:pt x="428722" y="0"/>
                  </a:lnTo>
                  <a:cubicBezTo>
                    <a:pt x="434158" y="0"/>
                    <a:pt x="438819" y="4660"/>
                    <a:pt x="438819" y="10097"/>
                  </a:cubicBezTo>
                  <a:cubicBezTo>
                    <a:pt x="438819" y="15533"/>
                    <a:pt x="434158" y="20193"/>
                    <a:pt x="428722" y="20193"/>
                  </a:cubicBezTo>
                  <a:lnTo>
                    <a:pt x="428722" y="20193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66" name="Forma Livre: Forma 365">
              <a:extLst>
                <a:ext uri="{FF2B5EF4-FFF2-40B4-BE49-F238E27FC236}">
                  <a16:creationId xmlns:a16="http://schemas.microsoft.com/office/drawing/2014/main" id="{D8A608D7-E271-46FD-90A8-AC2028540CB4}"/>
                </a:ext>
              </a:extLst>
            </p:cNvPr>
            <p:cNvSpPr/>
            <p:nvPr/>
          </p:nvSpPr>
          <p:spPr>
            <a:xfrm>
              <a:off x="9062881" y="5323299"/>
              <a:ext cx="39610" cy="39610"/>
            </a:xfrm>
            <a:custGeom>
              <a:avLst/>
              <a:gdLst>
                <a:gd name="connsiteX0" fmla="*/ 39610 w 39610"/>
                <a:gd name="connsiteY0" fmla="*/ 0 h 39610"/>
                <a:gd name="connsiteX1" fmla="*/ 0 w 39610"/>
                <a:gd name="connsiteY1" fmla="*/ 0 h 39610"/>
                <a:gd name="connsiteX2" fmla="*/ 0 w 39610"/>
                <a:gd name="connsiteY2" fmla="*/ 39610 h 39610"/>
                <a:gd name="connsiteX3" fmla="*/ 39610 w 39610"/>
                <a:gd name="connsiteY3" fmla="*/ 39610 h 39610"/>
                <a:gd name="connsiteX4" fmla="*/ 39610 w 39610"/>
                <a:gd name="connsiteY4" fmla="*/ 0 h 39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10" h="39610">
                  <a:moveTo>
                    <a:pt x="39610" y="0"/>
                  </a:moveTo>
                  <a:lnTo>
                    <a:pt x="0" y="0"/>
                  </a:lnTo>
                  <a:lnTo>
                    <a:pt x="0" y="39610"/>
                  </a:lnTo>
                  <a:lnTo>
                    <a:pt x="39610" y="39610"/>
                  </a:lnTo>
                  <a:lnTo>
                    <a:pt x="39610" y="0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67" name="Forma Livre: Forma 366">
              <a:extLst>
                <a:ext uri="{FF2B5EF4-FFF2-40B4-BE49-F238E27FC236}">
                  <a16:creationId xmlns:a16="http://schemas.microsoft.com/office/drawing/2014/main" id="{FE6FF506-88CE-4F8E-AAF6-C694C30F12BB}"/>
                </a:ext>
              </a:extLst>
            </p:cNvPr>
            <p:cNvSpPr/>
            <p:nvPr/>
          </p:nvSpPr>
          <p:spPr>
            <a:xfrm>
              <a:off x="9132004" y="5323299"/>
              <a:ext cx="39610" cy="39610"/>
            </a:xfrm>
            <a:custGeom>
              <a:avLst/>
              <a:gdLst>
                <a:gd name="connsiteX0" fmla="*/ 39610 w 39610"/>
                <a:gd name="connsiteY0" fmla="*/ 0 h 39610"/>
                <a:gd name="connsiteX1" fmla="*/ 0 w 39610"/>
                <a:gd name="connsiteY1" fmla="*/ 0 h 39610"/>
                <a:gd name="connsiteX2" fmla="*/ 0 w 39610"/>
                <a:gd name="connsiteY2" fmla="*/ 39610 h 39610"/>
                <a:gd name="connsiteX3" fmla="*/ 39610 w 39610"/>
                <a:gd name="connsiteY3" fmla="*/ 39610 h 39610"/>
                <a:gd name="connsiteX4" fmla="*/ 39610 w 39610"/>
                <a:gd name="connsiteY4" fmla="*/ 0 h 39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10" h="39610">
                  <a:moveTo>
                    <a:pt x="39610" y="0"/>
                  </a:moveTo>
                  <a:lnTo>
                    <a:pt x="0" y="0"/>
                  </a:lnTo>
                  <a:lnTo>
                    <a:pt x="0" y="39610"/>
                  </a:lnTo>
                  <a:lnTo>
                    <a:pt x="39610" y="39610"/>
                  </a:lnTo>
                  <a:lnTo>
                    <a:pt x="39610" y="0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68" name="Forma Livre: Forma 367">
              <a:extLst>
                <a:ext uri="{FF2B5EF4-FFF2-40B4-BE49-F238E27FC236}">
                  <a16:creationId xmlns:a16="http://schemas.microsoft.com/office/drawing/2014/main" id="{6E13B7F8-A4B8-45FF-B496-72F52A22B7EA}"/>
                </a:ext>
              </a:extLst>
            </p:cNvPr>
            <p:cNvSpPr/>
            <p:nvPr/>
          </p:nvSpPr>
          <p:spPr>
            <a:xfrm>
              <a:off x="9201128" y="5323299"/>
              <a:ext cx="39610" cy="39610"/>
            </a:xfrm>
            <a:custGeom>
              <a:avLst/>
              <a:gdLst>
                <a:gd name="connsiteX0" fmla="*/ 39610 w 39610"/>
                <a:gd name="connsiteY0" fmla="*/ 0 h 39610"/>
                <a:gd name="connsiteX1" fmla="*/ 0 w 39610"/>
                <a:gd name="connsiteY1" fmla="*/ 0 h 39610"/>
                <a:gd name="connsiteX2" fmla="*/ 0 w 39610"/>
                <a:gd name="connsiteY2" fmla="*/ 39610 h 39610"/>
                <a:gd name="connsiteX3" fmla="*/ 39610 w 39610"/>
                <a:gd name="connsiteY3" fmla="*/ 39610 h 39610"/>
                <a:gd name="connsiteX4" fmla="*/ 39610 w 39610"/>
                <a:gd name="connsiteY4" fmla="*/ 0 h 39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10" h="39610">
                  <a:moveTo>
                    <a:pt x="39610" y="0"/>
                  </a:moveTo>
                  <a:lnTo>
                    <a:pt x="0" y="0"/>
                  </a:lnTo>
                  <a:lnTo>
                    <a:pt x="0" y="39610"/>
                  </a:lnTo>
                  <a:lnTo>
                    <a:pt x="39610" y="39610"/>
                  </a:lnTo>
                  <a:lnTo>
                    <a:pt x="39610" y="0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69" name="Forma Livre: Forma 368">
              <a:extLst>
                <a:ext uri="{FF2B5EF4-FFF2-40B4-BE49-F238E27FC236}">
                  <a16:creationId xmlns:a16="http://schemas.microsoft.com/office/drawing/2014/main" id="{8507AA79-4152-49E9-91EE-895AD0A484C9}"/>
                </a:ext>
              </a:extLst>
            </p:cNvPr>
            <p:cNvSpPr/>
            <p:nvPr/>
          </p:nvSpPr>
          <p:spPr>
            <a:xfrm>
              <a:off x="9270251" y="5323299"/>
              <a:ext cx="39610" cy="39610"/>
            </a:xfrm>
            <a:custGeom>
              <a:avLst/>
              <a:gdLst>
                <a:gd name="connsiteX0" fmla="*/ 39611 w 39610"/>
                <a:gd name="connsiteY0" fmla="*/ 0 h 39610"/>
                <a:gd name="connsiteX1" fmla="*/ 0 w 39610"/>
                <a:gd name="connsiteY1" fmla="*/ 0 h 39610"/>
                <a:gd name="connsiteX2" fmla="*/ 0 w 39610"/>
                <a:gd name="connsiteY2" fmla="*/ 39610 h 39610"/>
                <a:gd name="connsiteX3" fmla="*/ 39611 w 39610"/>
                <a:gd name="connsiteY3" fmla="*/ 39610 h 39610"/>
                <a:gd name="connsiteX4" fmla="*/ 39611 w 39610"/>
                <a:gd name="connsiteY4" fmla="*/ 0 h 39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10" h="39610">
                  <a:moveTo>
                    <a:pt x="39611" y="0"/>
                  </a:moveTo>
                  <a:lnTo>
                    <a:pt x="0" y="0"/>
                  </a:lnTo>
                  <a:lnTo>
                    <a:pt x="0" y="39610"/>
                  </a:lnTo>
                  <a:lnTo>
                    <a:pt x="39611" y="39610"/>
                  </a:lnTo>
                  <a:lnTo>
                    <a:pt x="39611" y="0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70" name="Forma Livre: Forma 369">
              <a:extLst>
                <a:ext uri="{FF2B5EF4-FFF2-40B4-BE49-F238E27FC236}">
                  <a16:creationId xmlns:a16="http://schemas.microsoft.com/office/drawing/2014/main" id="{A31F0781-159D-4634-8BA0-CCA22F07DADA}"/>
                </a:ext>
              </a:extLst>
            </p:cNvPr>
            <p:cNvSpPr/>
            <p:nvPr/>
          </p:nvSpPr>
          <p:spPr>
            <a:xfrm>
              <a:off x="9062881" y="5386985"/>
              <a:ext cx="39610" cy="40386"/>
            </a:xfrm>
            <a:custGeom>
              <a:avLst/>
              <a:gdLst>
                <a:gd name="connsiteX0" fmla="*/ 39610 w 39610"/>
                <a:gd name="connsiteY0" fmla="*/ 0 h 40386"/>
                <a:gd name="connsiteX1" fmla="*/ 0 w 39610"/>
                <a:gd name="connsiteY1" fmla="*/ 0 h 40386"/>
                <a:gd name="connsiteX2" fmla="*/ 0 w 39610"/>
                <a:gd name="connsiteY2" fmla="*/ 40387 h 40386"/>
                <a:gd name="connsiteX3" fmla="*/ 39610 w 39610"/>
                <a:gd name="connsiteY3" fmla="*/ 40387 h 40386"/>
                <a:gd name="connsiteX4" fmla="*/ 39610 w 39610"/>
                <a:gd name="connsiteY4" fmla="*/ 0 h 4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10" h="40386">
                  <a:moveTo>
                    <a:pt x="39610" y="0"/>
                  </a:moveTo>
                  <a:lnTo>
                    <a:pt x="0" y="0"/>
                  </a:lnTo>
                  <a:lnTo>
                    <a:pt x="0" y="40387"/>
                  </a:lnTo>
                  <a:lnTo>
                    <a:pt x="39610" y="40387"/>
                  </a:lnTo>
                  <a:lnTo>
                    <a:pt x="39610" y="0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71" name="Forma Livre: Forma 370">
              <a:extLst>
                <a:ext uri="{FF2B5EF4-FFF2-40B4-BE49-F238E27FC236}">
                  <a16:creationId xmlns:a16="http://schemas.microsoft.com/office/drawing/2014/main" id="{856AF58A-B1C6-464F-B9C2-5F81F2C18926}"/>
                </a:ext>
              </a:extLst>
            </p:cNvPr>
            <p:cNvSpPr/>
            <p:nvPr/>
          </p:nvSpPr>
          <p:spPr>
            <a:xfrm>
              <a:off x="9132004" y="5386985"/>
              <a:ext cx="39610" cy="40386"/>
            </a:xfrm>
            <a:custGeom>
              <a:avLst/>
              <a:gdLst>
                <a:gd name="connsiteX0" fmla="*/ 39610 w 39610"/>
                <a:gd name="connsiteY0" fmla="*/ 0 h 40386"/>
                <a:gd name="connsiteX1" fmla="*/ 0 w 39610"/>
                <a:gd name="connsiteY1" fmla="*/ 0 h 40386"/>
                <a:gd name="connsiteX2" fmla="*/ 0 w 39610"/>
                <a:gd name="connsiteY2" fmla="*/ 40387 h 40386"/>
                <a:gd name="connsiteX3" fmla="*/ 39610 w 39610"/>
                <a:gd name="connsiteY3" fmla="*/ 40387 h 40386"/>
                <a:gd name="connsiteX4" fmla="*/ 39610 w 39610"/>
                <a:gd name="connsiteY4" fmla="*/ 0 h 4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10" h="40386">
                  <a:moveTo>
                    <a:pt x="39610" y="0"/>
                  </a:moveTo>
                  <a:lnTo>
                    <a:pt x="0" y="0"/>
                  </a:lnTo>
                  <a:lnTo>
                    <a:pt x="0" y="40387"/>
                  </a:lnTo>
                  <a:lnTo>
                    <a:pt x="39610" y="40387"/>
                  </a:lnTo>
                  <a:lnTo>
                    <a:pt x="39610" y="0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72" name="Forma Livre: Forma 371">
              <a:extLst>
                <a:ext uri="{FF2B5EF4-FFF2-40B4-BE49-F238E27FC236}">
                  <a16:creationId xmlns:a16="http://schemas.microsoft.com/office/drawing/2014/main" id="{76B6B2B3-9121-443B-B405-4FB25737F685}"/>
                </a:ext>
              </a:extLst>
            </p:cNvPr>
            <p:cNvSpPr/>
            <p:nvPr/>
          </p:nvSpPr>
          <p:spPr>
            <a:xfrm>
              <a:off x="9201128" y="5386985"/>
              <a:ext cx="39610" cy="40386"/>
            </a:xfrm>
            <a:custGeom>
              <a:avLst/>
              <a:gdLst>
                <a:gd name="connsiteX0" fmla="*/ 39610 w 39610"/>
                <a:gd name="connsiteY0" fmla="*/ 0 h 40386"/>
                <a:gd name="connsiteX1" fmla="*/ 0 w 39610"/>
                <a:gd name="connsiteY1" fmla="*/ 0 h 40386"/>
                <a:gd name="connsiteX2" fmla="*/ 0 w 39610"/>
                <a:gd name="connsiteY2" fmla="*/ 40387 h 40386"/>
                <a:gd name="connsiteX3" fmla="*/ 39610 w 39610"/>
                <a:gd name="connsiteY3" fmla="*/ 40387 h 40386"/>
                <a:gd name="connsiteX4" fmla="*/ 39610 w 39610"/>
                <a:gd name="connsiteY4" fmla="*/ 0 h 4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10" h="40386">
                  <a:moveTo>
                    <a:pt x="39610" y="0"/>
                  </a:moveTo>
                  <a:lnTo>
                    <a:pt x="0" y="0"/>
                  </a:lnTo>
                  <a:lnTo>
                    <a:pt x="0" y="40387"/>
                  </a:lnTo>
                  <a:lnTo>
                    <a:pt x="39610" y="40387"/>
                  </a:lnTo>
                  <a:lnTo>
                    <a:pt x="39610" y="0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73" name="Forma Livre: Forma 372">
              <a:extLst>
                <a:ext uri="{FF2B5EF4-FFF2-40B4-BE49-F238E27FC236}">
                  <a16:creationId xmlns:a16="http://schemas.microsoft.com/office/drawing/2014/main" id="{7F066B8B-45AC-4F18-B390-622CEE577818}"/>
                </a:ext>
              </a:extLst>
            </p:cNvPr>
            <p:cNvSpPr/>
            <p:nvPr/>
          </p:nvSpPr>
          <p:spPr>
            <a:xfrm>
              <a:off x="9255495" y="5317085"/>
              <a:ext cx="254755" cy="254748"/>
            </a:xfrm>
            <a:custGeom>
              <a:avLst/>
              <a:gdLst>
                <a:gd name="connsiteX0" fmla="*/ 127373 w 254755"/>
                <a:gd name="connsiteY0" fmla="*/ 254748 h 254748"/>
                <a:gd name="connsiteX1" fmla="*/ 0 w 254755"/>
                <a:gd name="connsiteY1" fmla="*/ 127374 h 254748"/>
                <a:gd name="connsiteX2" fmla="*/ 127373 w 254755"/>
                <a:gd name="connsiteY2" fmla="*/ 0 h 254748"/>
                <a:gd name="connsiteX3" fmla="*/ 254747 w 254755"/>
                <a:gd name="connsiteY3" fmla="*/ 127374 h 254748"/>
                <a:gd name="connsiteX4" fmla="*/ 127373 w 254755"/>
                <a:gd name="connsiteY4" fmla="*/ 254748 h 254748"/>
                <a:gd name="connsiteX5" fmla="*/ 127373 w 254755"/>
                <a:gd name="connsiteY5" fmla="*/ 254748 h 254748"/>
                <a:gd name="connsiteX6" fmla="*/ 127373 w 254755"/>
                <a:gd name="connsiteY6" fmla="*/ 19417 h 254748"/>
                <a:gd name="connsiteX7" fmla="*/ 20193 w 254755"/>
                <a:gd name="connsiteY7" fmla="*/ 126598 h 254748"/>
                <a:gd name="connsiteX8" fmla="*/ 127373 w 254755"/>
                <a:gd name="connsiteY8" fmla="*/ 233778 h 254748"/>
                <a:gd name="connsiteX9" fmla="*/ 234554 w 254755"/>
                <a:gd name="connsiteY9" fmla="*/ 126598 h 254748"/>
                <a:gd name="connsiteX10" fmla="*/ 127373 w 254755"/>
                <a:gd name="connsiteY10" fmla="*/ 19417 h 254748"/>
                <a:gd name="connsiteX11" fmla="*/ 127373 w 254755"/>
                <a:gd name="connsiteY11" fmla="*/ 19417 h 254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4755" h="254748">
                  <a:moveTo>
                    <a:pt x="127373" y="254748"/>
                  </a:moveTo>
                  <a:cubicBezTo>
                    <a:pt x="56696" y="254748"/>
                    <a:pt x="0" y="197274"/>
                    <a:pt x="0" y="127374"/>
                  </a:cubicBezTo>
                  <a:cubicBezTo>
                    <a:pt x="0" y="56697"/>
                    <a:pt x="57473" y="0"/>
                    <a:pt x="127373" y="0"/>
                  </a:cubicBezTo>
                  <a:cubicBezTo>
                    <a:pt x="198051" y="0"/>
                    <a:pt x="254747" y="57474"/>
                    <a:pt x="254747" y="127374"/>
                  </a:cubicBezTo>
                  <a:cubicBezTo>
                    <a:pt x="255524" y="197274"/>
                    <a:pt x="198051" y="254748"/>
                    <a:pt x="127373" y="254748"/>
                  </a:cubicBezTo>
                  <a:lnTo>
                    <a:pt x="127373" y="254748"/>
                  </a:lnTo>
                  <a:close/>
                  <a:moveTo>
                    <a:pt x="127373" y="19417"/>
                  </a:moveTo>
                  <a:cubicBezTo>
                    <a:pt x="68346" y="19417"/>
                    <a:pt x="20193" y="67570"/>
                    <a:pt x="20193" y="126598"/>
                  </a:cubicBezTo>
                  <a:cubicBezTo>
                    <a:pt x="20193" y="185624"/>
                    <a:pt x="68346" y="233778"/>
                    <a:pt x="127373" y="233778"/>
                  </a:cubicBezTo>
                  <a:cubicBezTo>
                    <a:pt x="186401" y="233778"/>
                    <a:pt x="234554" y="185624"/>
                    <a:pt x="234554" y="126598"/>
                  </a:cubicBezTo>
                  <a:cubicBezTo>
                    <a:pt x="234554" y="67570"/>
                    <a:pt x="186401" y="19417"/>
                    <a:pt x="127373" y="19417"/>
                  </a:cubicBezTo>
                  <a:lnTo>
                    <a:pt x="127373" y="19417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74" name="Forma Livre: Forma 373">
              <a:extLst>
                <a:ext uri="{FF2B5EF4-FFF2-40B4-BE49-F238E27FC236}">
                  <a16:creationId xmlns:a16="http://schemas.microsoft.com/office/drawing/2014/main" id="{2EC3490F-8779-4BD7-93D2-B4A2F6873878}"/>
                </a:ext>
              </a:extLst>
            </p:cNvPr>
            <p:cNvSpPr/>
            <p:nvPr/>
          </p:nvSpPr>
          <p:spPr>
            <a:xfrm>
              <a:off x="9305979" y="5424266"/>
              <a:ext cx="153825" cy="40386"/>
            </a:xfrm>
            <a:custGeom>
              <a:avLst/>
              <a:gdLst>
                <a:gd name="connsiteX0" fmla="*/ 133587 w 153825"/>
                <a:gd name="connsiteY0" fmla="*/ 40386 h 40386"/>
                <a:gd name="connsiteX1" fmla="*/ 20193 w 153825"/>
                <a:gd name="connsiteY1" fmla="*/ 40386 h 40386"/>
                <a:gd name="connsiteX2" fmla="*/ 0 w 153825"/>
                <a:gd name="connsiteY2" fmla="*/ 20193 h 40386"/>
                <a:gd name="connsiteX3" fmla="*/ 20193 w 153825"/>
                <a:gd name="connsiteY3" fmla="*/ 0 h 40386"/>
                <a:gd name="connsiteX4" fmla="*/ 133587 w 153825"/>
                <a:gd name="connsiteY4" fmla="*/ 0 h 40386"/>
                <a:gd name="connsiteX5" fmla="*/ 153780 w 153825"/>
                <a:gd name="connsiteY5" fmla="*/ 20193 h 40386"/>
                <a:gd name="connsiteX6" fmla="*/ 133587 w 153825"/>
                <a:gd name="connsiteY6" fmla="*/ 40386 h 40386"/>
                <a:gd name="connsiteX7" fmla="*/ 133587 w 153825"/>
                <a:gd name="connsiteY7" fmla="*/ 40386 h 4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3825" h="40386">
                  <a:moveTo>
                    <a:pt x="133587" y="40386"/>
                  </a:moveTo>
                  <a:lnTo>
                    <a:pt x="20193" y="40386"/>
                  </a:lnTo>
                  <a:cubicBezTo>
                    <a:pt x="8543" y="40386"/>
                    <a:pt x="0" y="31067"/>
                    <a:pt x="0" y="20193"/>
                  </a:cubicBezTo>
                  <a:cubicBezTo>
                    <a:pt x="0" y="8543"/>
                    <a:pt x="9320" y="0"/>
                    <a:pt x="20193" y="0"/>
                  </a:cubicBezTo>
                  <a:lnTo>
                    <a:pt x="133587" y="0"/>
                  </a:lnTo>
                  <a:cubicBezTo>
                    <a:pt x="145237" y="0"/>
                    <a:pt x="153780" y="9320"/>
                    <a:pt x="153780" y="20193"/>
                  </a:cubicBezTo>
                  <a:cubicBezTo>
                    <a:pt x="154557" y="31067"/>
                    <a:pt x="145237" y="40386"/>
                    <a:pt x="133587" y="40386"/>
                  </a:cubicBezTo>
                  <a:lnTo>
                    <a:pt x="133587" y="40386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75" name="Forma Livre: Forma 374">
              <a:extLst>
                <a:ext uri="{FF2B5EF4-FFF2-40B4-BE49-F238E27FC236}">
                  <a16:creationId xmlns:a16="http://schemas.microsoft.com/office/drawing/2014/main" id="{C1FFC673-3F92-4114-A18D-215375667CD2}"/>
                </a:ext>
              </a:extLst>
            </p:cNvPr>
            <p:cNvSpPr/>
            <p:nvPr/>
          </p:nvSpPr>
          <p:spPr>
            <a:xfrm>
              <a:off x="8986767" y="5140004"/>
              <a:ext cx="462896" cy="376685"/>
            </a:xfrm>
            <a:custGeom>
              <a:avLst/>
              <a:gdLst>
                <a:gd name="connsiteX0" fmla="*/ 291251 w 462896"/>
                <a:gd name="connsiteY0" fmla="*/ 376685 h 376685"/>
                <a:gd name="connsiteX1" fmla="*/ 20194 w 462896"/>
                <a:gd name="connsiteY1" fmla="*/ 376685 h 376685"/>
                <a:gd name="connsiteX2" fmla="*/ 0 w 462896"/>
                <a:gd name="connsiteY2" fmla="*/ 356492 h 376685"/>
                <a:gd name="connsiteX3" fmla="*/ 0 w 462896"/>
                <a:gd name="connsiteY3" fmla="*/ 20194 h 376685"/>
                <a:gd name="connsiteX4" fmla="*/ 20194 w 462896"/>
                <a:gd name="connsiteY4" fmla="*/ 0 h 376685"/>
                <a:gd name="connsiteX5" fmla="*/ 442702 w 462896"/>
                <a:gd name="connsiteY5" fmla="*/ 0 h 376685"/>
                <a:gd name="connsiteX6" fmla="*/ 462896 w 462896"/>
                <a:gd name="connsiteY6" fmla="*/ 20194 h 376685"/>
                <a:gd name="connsiteX7" fmla="*/ 462896 w 462896"/>
                <a:gd name="connsiteY7" fmla="*/ 195721 h 376685"/>
                <a:gd name="connsiteX8" fmla="*/ 421732 w 462896"/>
                <a:gd name="connsiteY8" fmla="*/ 195721 h 376685"/>
                <a:gd name="connsiteX9" fmla="*/ 421732 w 462896"/>
                <a:gd name="connsiteY9" fmla="*/ 40387 h 376685"/>
                <a:gd name="connsiteX10" fmla="*/ 40387 w 462896"/>
                <a:gd name="connsiteY10" fmla="*/ 40387 h 376685"/>
                <a:gd name="connsiteX11" fmla="*/ 40387 w 462896"/>
                <a:gd name="connsiteY11" fmla="*/ 335522 h 376685"/>
                <a:gd name="connsiteX12" fmla="*/ 291251 w 462896"/>
                <a:gd name="connsiteY12" fmla="*/ 335522 h 376685"/>
                <a:gd name="connsiteX13" fmla="*/ 291251 w 462896"/>
                <a:gd name="connsiteY13" fmla="*/ 376685 h 376685"/>
                <a:gd name="connsiteX14" fmla="*/ 291251 w 462896"/>
                <a:gd name="connsiteY14" fmla="*/ 376685 h 376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62896" h="376685">
                  <a:moveTo>
                    <a:pt x="291251" y="376685"/>
                  </a:moveTo>
                  <a:lnTo>
                    <a:pt x="20194" y="376685"/>
                  </a:lnTo>
                  <a:cubicBezTo>
                    <a:pt x="8544" y="376685"/>
                    <a:pt x="0" y="367365"/>
                    <a:pt x="0" y="356492"/>
                  </a:cubicBezTo>
                  <a:lnTo>
                    <a:pt x="0" y="20194"/>
                  </a:lnTo>
                  <a:cubicBezTo>
                    <a:pt x="0" y="8544"/>
                    <a:pt x="9321" y="0"/>
                    <a:pt x="20194" y="0"/>
                  </a:cubicBezTo>
                  <a:lnTo>
                    <a:pt x="442702" y="0"/>
                  </a:lnTo>
                  <a:cubicBezTo>
                    <a:pt x="454352" y="0"/>
                    <a:pt x="462896" y="9320"/>
                    <a:pt x="462896" y="20194"/>
                  </a:cubicBezTo>
                  <a:lnTo>
                    <a:pt x="462896" y="195721"/>
                  </a:lnTo>
                  <a:lnTo>
                    <a:pt x="421732" y="195721"/>
                  </a:lnTo>
                  <a:lnTo>
                    <a:pt x="421732" y="40387"/>
                  </a:lnTo>
                  <a:lnTo>
                    <a:pt x="40387" y="40387"/>
                  </a:lnTo>
                  <a:lnTo>
                    <a:pt x="40387" y="335522"/>
                  </a:lnTo>
                  <a:lnTo>
                    <a:pt x="291251" y="335522"/>
                  </a:lnTo>
                  <a:lnTo>
                    <a:pt x="291251" y="376685"/>
                  </a:lnTo>
                  <a:lnTo>
                    <a:pt x="291251" y="376685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76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9468814" y="4665279"/>
            <a:ext cx="427006" cy="378994"/>
            <a:chOff x="10242643" y="5105831"/>
            <a:chExt cx="525036" cy="466002"/>
          </a:xfrm>
          <a:solidFill>
            <a:srgbClr val="B1B1A1"/>
          </a:solidFill>
        </p:grpSpPr>
        <p:sp>
          <p:nvSpPr>
            <p:cNvPr id="377" name="Forma Livre: Forma 376">
              <a:extLst>
                <a:ext uri="{FF2B5EF4-FFF2-40B4-BE49-F238E27FC236}">
                  <a16:creationId xmlns:a16="http://schemas.microsoft.com/office/drawing/2014/main" id="{7190B19C-2CC6-4C60-A23B-7EE26A672CF2}"/>
                </a:ext>
              </a:extLst>
            </p:cNvPr>
            <p:cNvSpPr/>
            <p:nvPr/>
          </p:nvSpPr>
          <p:spPr>
            <a:xfrm>
              <a:off x="10512924" y="5317085"/>
              <a:ext cx="254756" cy="254748"/>
            </a:xfrm>
            <a:custGeom>
              <a:avLst/>
              <a:gdLst>
                <a:gd name="connsiteX0" fmla="*/ 127374 w 254756"/>
                <a:gd name="connsiteY0" fmla="*/ 254748 h 254748"/>
                <a:gd name="connsiteX1" fmla="*/ 0 w 254756"/>
                <a:gd name="connsiteY1" fmla="*/ 127374 h 254748"/>
                <a:gd name="connsiteX2" fmla="*/ 127374 w 254756"/>
                <a:gd name="connsiteY2" fmla="*/ 0 h 254748"/>
                <a:gd name="connsiteX3" fmla="*/ 254748 w 254756"/>
                <a:gd name="connsiteY3" fmla="*/ 127374 h 254748"/>
                <a:gd name="connsiteX4" fmla="*/ 127374 w 254756"/>
                <a:gd name="connsiteY4" fmla="*/ 254748 h 254748"/>
                <a:gd name="connsiteX5" fmla="*/ 127374 w 254756"/>
                <a:gd name="connsiteY5" fmla="*/ 254748 h 254748"/>
                <a:gd name="connsiteX6" fmla="*/ 127374 w 254756"/>
                <a:gd name="connsiteY6" fmla="*/ 20194 h 254748"/>
                <a:gd name="connsiteX7" fmla="*/ 20194 w 254756"/>
                <a:gd name="connsiteY7" fmla="*/ 127374 h 254748"/>
                <a:gd name="connsiteX8" fmla="*/ 127374 w 254756"/>
                <a:gd name="connsiteY8" fmla="*/ 234555 h 254748"/>
                <a:gd name="connsiteX9" fmla="*/ 234555 w 254756"/>
                <a:gd name="connsiteY9" fmla="*/ 127374 h 254748"/>
                <a:gd name="connsiteX10" fmla="*/ 127374 w 254756"/>
                <a:gd name="connsiteY10" fmla="*/ 20194 h 254748"/>
                <a:gd name="connsiteX11" fmla="*/ 127374 w 254756"/>
                <a:gd name="connsiteY11" fmla="*/ 20194 h 254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4756" h="254748">
                  <a:moveTo>
                    <a:pt x="127374" y="254748"/>
                  </a:moveTo>
                  <a:cubicBezTo>
                    <a:pt x="56697" y="254748"/>
                    <a:pt x="0" y="197274"/>
                    <a:pt x="0" y="127374"/>
                  </a:cubicBezTo>
                  <a:cubicBezTo>
                    <a:pt x="0" y="56697"/>
                    <a:pt x="57474" y="0"/>
                    <a:pt x="127374" y="0"/>
                  </a:cubicBezTo>
                  <a:cubicBezTo>
                    <a:pt x="198051" y="0"/>
                    <a:pt x="254748" y="57474"/>
                    <a:pt x="254748" y="127374"/>
                  </a:cubicBezTo>
                  <a:cubicBezTo>
                    <a:pt x="255525" y="197274"/>
                    <a:pt x="198051" y="254748"/>
                    <a:pt x="127374" y="254748"/>
                  </a:cubicBezTo>
                  <a:lnTo>
                    <a:pt x="127374" y="254748"/>
                  </a:lnTo>
                  <a:close/>
                  <a:moveTo>
                    <a:pt x="127374" y="20194"/>
                  </a:moveTo>
                  <a:cubicBezTo>
                    <a:pt x="68347" y="20194"/>
                    <a:pt x="20194" y="68347"/>
                    <a:pt x="20194" y="127374"/>
                  </a:cubicBezTo>
                  <a:cubicBezTo>
                    <a:pt x="20194" y="186401"/>
                    <a:pt x="68347" y="234555"/>
                    <a:pt x="127374" y="234555"/>
                  </a:cubicBezTo>
                  <a:cubicBezTo>
                    <a:pt x="186401" y="234555"/>
                    <a:pt x="234555" y="186401"/>
                    <a:pt x="234555" y="127374"/>
                  </a:cubicBezTo>
                  <a:cubicBezTo>
                    <a:pt x="234555" y="68347"/>
                    <a:pt x="186401" y="20194"/>
                    <a:pt x="127374" y="20194"/>
                  </a:cubicBezTo>
                  <a:lnTo>
                    <a:pt x="127374" y="20194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78" name="Forma Livre: Forma 377">
              <a:extLst>
                <a:ext uri="{FF2B5EF4-FFF2-40B4-BE49-F238E27FC236}">
                  <a16:creationId xmlns:a16="http://schemas.microsoft.com/office/drawing/2014/main" id="{B088A90B-D417-4D1D-BD6B-2044AE49B353}"/>
                </a:ext>
              </a:extLst>
            </p:cNvPr>
            <p:cNvSpPr/>
            <p:nvPr/>
          </p:nvSpPr>
          <p:spPr>
            <a:xfrm>
              <a:off x="10565443" y="5386467"/>
              <a:ext cx="149157" cy="131775"/>
            </a:xfrm>
            <a:custGeom>
              <a:avLst/>
              <a:gdLst>
                <a:gd name="connsiteX0" fmla="*/ 53885 w 149157"/>
                <a:gd name="connsiteY0" fmla="*/ 131776 h 131775"/>
                <a:gd name="connsiteX1" fmla="*/ 39129 w 149157"/>
                <a:gd name="connsiteY1" fmla="*/ 125563 h 131775"/>
                <a:gd name="connsiteX2" fmla="*/ 5731 w 149157"/>
                <a:gd name="connsiteY2" fmla="*/ 89836 h 131775"/>
                <a:gd name="connsiteX3" fmla="*/ 6509 w 149157"/>
                <a:gd name="connsiteY3" fmla="*/ 61099 h 131775"/>
                <a:gd name="connsiteX4" fmla="*/ 35245 w 149157"/>
                <a:gd name="connsiteY4" fmla="*/ 61876 h 131775"/>
                <a:gd name="connsiteX5" fmla="*/ 53109 w 149157"/>
                <a:gd name="connsiteY5" fmla="*/ 80516 h 131775"/>
                <a:gd name="connsiteX6" fmla="*/ 112912 w 149157"/>
                <a:gd name="connsiteY6" fmla="*/ 7509 h 131775"/>
                <a:gd name="connsiteX7" fmla="*/ 141649 w 149157"/>
                <a:gd name="connsiteY7" fmla="*/ 4402 h 131775"/>
                <a:gd name="connsiteX8" fmla="*/ 144756 w 149157"/>
                <a:gd name="connsiteY8" fmla="*/ 33139 h 131775"/>
                <a:gd name="connsiteX9" fmla="*/ 70195 w 149157"/>
                <a:gd name="connsiteY9" fmla="*/ 124009 h 131775"/>
                <a:gd name="connsiteX10" fmla="*/ 53885 w 149157"/>
                <a:gd name="connsiteY10" fmla="*/ 131776 h 131775"/>
                <a:gd name="connsiteX11" fmla="*/ 53885 w 149157"/>
                <a:gd name="connsiteY11" fmla="*/ 131776 h 131775"/>
                <a:gd name="connsiteX12" fmla="*/ 53885 w 149157"/>
                <a:gd name="connsiteY12" fmla="*/ 131776 h 131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9157" h="131775">
                  <a:moveTo>
                    <a:pt x="53885" y="131776"/>
                  </a:moveTo>
                  <a:cubicBezTo>
                    <a:pt x="48448" y="131776"/>
                    <a:pt x="43012" y="129446"/>
                    <a:pt x="39129" y="125563"/>
                  </a:cubicBezTo>
                  <a:lnTo>
                    <a:pt x="5731" y="89836"/>
                  </a:lnTo>
                  <a:cubicBezTo>
                    <a:pt x="-2035" y="81292"/>
                    <a:pt x="-2035" y="68866"/>
                    <a:pt x="6509" y="61099"/>
                  </a:cubicBezTo>
                  <a:cubicBezTo>
                    <a:pt x="15052" y="53332"/>
                    <a:pt x="27478" y="53332"/>
                    <a:pt x="35245" y="61876"/>
                  </a:cubicBezTo>
                  <a:lnTo>
                    <a:pt x="53109" y="80516"/>
                  </a:lnTo>
                  <a:lnTo>
                    <a:pt x="112912" y="7509"/>
                  </a:lnTo>
                  <a:cubicBezTo>
                    <a:pt x="119902" y="-1034"/>
                    <a:pt x="133105" y="-2588"/>
                    <a:pt x="141649" y="4402"/>
                  </a:cubicBezTo>
                  <a:cubicBezTo>
                    <a:pt x="150193" y="11392"/>
                    <a:pt x="151746" y="24596"/>
                    <a:pt x="144756" y="33139"/>
                  </a:cubicBezTo>
                  <a:lnTo>
                    <a:pt x="70195" y="124009"/>
                  </a:lnTo>
                  <a:cubicBezTo>
                    <a:pt x="66312" y="128669"/>
                    <a:pt x="60876" y="131776"/>
                    <a:pt x="53885" y="131776"/>
                  </a:cubicBezTo>
                  <a:cubicBezTo>
                    <a:pt x="54662" y="131776"/>
                    <a:pt x="54662" y="131776"/>
                    <a:pt x="53885" y="131776"/>
                  </a:cubicBezTo>
                  <a:lnTo>
                    <a:pt x="53885" y="131776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79" name="Forma Livre: Forma 378">
              <a:extLst>
                <a:ext uri="{FF2B5EF4-FFF2-40B4-BE49-F238E27FC236}">
                  <a16:creationId xmlns:a16="http://schemas.microsoft.com/office/drawing/2014/main" id="{7A306EFA-0F14-4569-89EA-58E56DBDDBF3}"/>
                </a:ext>
              </a:extLst>
            </p:cNvPr>
            <p:cNvSpPr/>
            <p:nvPr/>
          </p:nvSpPr>
          <p:spPr>
            <a:xfrm>
              <a:off x="10585931" y="5105831"/>
              <a:ext cx="40387" cy="108733"/>
            </a:xfrm>
            <a:custGeom>
              <a:avLst/>
              <a:gdLst>
                <a:gd name="connsiteX0" fmla="*/ 20193 w 40387"/>
                <a:gd name="connsiteY0" fmla="*/ 108734 h 108733"/>
                <a:gd name="connsiteX1" fmla="*/ 0 w 40387"/>
                <a:gd name="connsiteY1" fmla="*/ 88540 h 108733"/>
                <a:gd name="connsiteX2" fmla="*/ 0 w 40387"/>
                <a:gd name="connsiteY2" fmla="*/ 20193 h 108733"/>
                <a:gd name="connsiteX3" fmla="*/ 20193 w 40387"/>
                <a:gd name="connsiteY3" fmla="*/ 0 h 108733"/>
                <a:gd name="connsiteX4" fmla="*/ 40387 w 40387"/>
                <a:gd name="connsiteY4" fmla="*/ 20193 h 108733"/>
                <a:gd name="connsiteX5" fmla="*/ 40387 w 40387"/>
                <a:gd name="connsiteY5" fmla="*/ 88540 h 108733"/>
                <a:gd name="connsiteX6" fmla="*/ 20193 w 40387"/>
                <a:gd name="connsiteY6" fmla="*/ 108734 h 108733"/>
                <a:gd name="connsiteX7" fmla="*/ 20193 w 40387"/>
                <a:gd name="connsiteY7" fmla="*/ 108734 h 108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87" h="108733">
                  <a:moveTo>
                    <a:pt x="20193" y="108734"/>
                  </a:moveTo>
                  <a:cubicBezTo>
                    <a:pt x="8543" y="108734"/>
                    <a:pt x="0" y="99414"/>
                    <a:pt x="0" y="88540"/>
                  </a:cubicBezTo>
                  <a:lnTo>
                    <a:pt x="0" y="20193"/>
                  </a:lnTo>
                  <a:cubicBezTo>
                    <a:pt x="0" y="8543"/>
                    <a:pt x="9321" y="0"/>
                    <a:pt x="20193" y="0"/>
                  </a:cubicBezTo>
                  <a:cubicBezTo>
                    <a:pt x="31843" y="0"/>
                    <a:pt x="40387" y="9320"/>
                    <a:pt x="40387" y="20193"/>
                  </a:cubicBezTo>
                  <a:lnTo>
                    <a:pt x="40387" y="88540"/>
                  </a:lnTo>
                  <a:cubicBezTo>
                    <a:pt x="40387" y="99414"/>
                    <a:pt x="31067" y="108734"/>
                    <a:pt x="20193" y="108734"/>
                  </a:cubicBezTo>
                  <a:lnTo>
                    <a:pt x="20193" y="108734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80" name="Forma Livre: Forma 379">
              <a:extLst>
                <a:ext uri="{FF2B5EF4-FFF2-40B4-BE49-F238E27FC236}">
                  <a16:creationId xmlns:a16="http://schemas.microsoft.com/office/drawing/2014/main" id="{A90297EF-4EA6-4D26-B823-2E2C25AD2894}"/>
                </a:ext>
              </a:extLst>
            </p:cNvPr>
            <p:cNvSpPr/>
            <p:nvPr/>
          </p:nvSpPr>
          <p:spPr>
            <a:xfrm>
              <a:off x="10323417" y="5105831"/>
              <a:ext cx="40386" cy="108733"/>
            </a:xfrm>
            <a:custGeom>
              <a:avLst/>
              <a:gdLst>
                <a:gd name="connsiteX0" fmla="*/ 20193 w 40386"/>
                <a:gd name="connsiteY0" fmla="*/ 108734 h 108733"/>
                <a:gd name="connsiteX1" fmla="*/ 0 w 40386"/>
                <a:gd name="connsiteY1" fmla="*/ 88540 h 108733"/>
                <a:gd name="connsiteX2" fmla="*/ 0 w 40386"/>
                <a:gd name="connsiteY2" fmla="*/ 20193 h 108733"/>
                <a:gd name="connsiteX3" fmla="*/ 20193 w 40386"/>
                <a:gd name="connsiteY3" fmla="*/ 0 h 108733"/>
                <a:gd name="connsiteX4" fmla="*/ 40386 w 40386"/>
                <a:gd name="connsiteY4" fmla="*/ 20193 h 108733"/>
                <a:gd name="connsiteX5" fmla="*/ 40386 w 40386"/>
                <a:gd name="connsiteY5" fmla="*/ 88540 h 108733"/>
                <a:gd name="connsiteX6" fmla="*/ 20193 w 40386"/>
                <a:gd name="connsiteY6" fmla="*/ 108734 h 108733"/>
                <a:gd name="connsiteX7" fmla="*/ 20193 w 40386"/>
                <a:gd name="connsiteY7" fmla="*/ 108734 h 108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86" h="108733">
                  <a:moveTo>
                    <a:pt x="20193" y="108734"/>
                  </a:moveTo>
                  <a:cubicBezTo>
                    <a:pt x="8543" y="108734"/>
                    <a:pt x="0" y="99414"/>
                    <a:pt x="0" y="88540"/>
                  </a:cubicBezTo>
                  <a:lnTo>
                    <a:pt x="0" y="20193"/>
                  </a:lnTo>
                  <a:cubicBezTo>
                    <a:pt x="0" y="8543"/>
                    <a:pt x="9320" y="0"/>
                    <a:pt x="20193" y="0"/>
                  </a:cubicBezTo>
                  <a:cubicBezTo>
                    <a:pt x="31843" y="0"/>
                    <a:pt x="40386" y="9320"/>
                    <a:pt x="40386" y="20193"/>
                  </a:cubicBezTo>
                  <a:lnTo>
                    <a:pt x="40386" y="88540"/>
                  </a:lnTo>
                  <a:cubicBezTo>
                    <a:pt x="40386" y="99414"/>
                    <a:pt x="31067" y="108734"/>
                    <a:pt x="20193" y="108734"/>
                  </a:cubicBezTo>
                  <a:lnTo>
                    <a:pt x="20193" y="108734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81" name="Forma Livre: Forma 380">
              <a:extLst>
                <a:ext uri="{FF2B5EF4-FFF2-40B4-BE49-F238E27FC236}">
                  <a16:creationId xmlns:a16="http://schemas.microsoft.com/office/drawing/2014/main" id="{268E11CF-0916-434F-A41F-5521ED974874}"/>
                </a:ext>
              </a:extLst>
            </p:cNvPr>
            <p:cNvSpPr/>
            <p:nvPr/>
          </p:nvSpPr>
          <p:spPr>
            <a:xfrm>
              <a:off x="10255070" y="5261165"/>
              <a:ext cx="438818" cy="20193"/>
            </a:xfrm>
            <a:custGeom>
              <a:avLst/>
              <a:gdLst>
                <a:gd name="connsiteX0" fmla="*/ 428722 w 438818"/>
                <a:gd name="connsiteY0" fmla="*/ 20193 h 20193"/>
                <a:gd name="connsiteX1" fmla="*/ 10097 w 438818"/>
                <a:gd name="connsiteY1" fmla="*/ 20193 h 20193"/>
                <a:gd name="connsiteX2" fmla="*/ 0 w 438818"/>
                <a:gd name="connsiteY2" fmla="*/ 10097 h 20193"/>
                <a:gd name="connsiteX3" fmla="*/ 10097 w 438818"/>
                <a:gd name="connsiteY3" fmla="*/ 0 h 20193"/>
                <a:gd name="connsiteX4" fmla="*/ 428722 w 438818"/>
                <a:gd name="connsiteY4" fmla="*/ 0 h 20193"/>
                <a:gd name="connsiteX5" fmla="*/ 438819 w 438818"/>
                <a:gd name="connsiteY5" fmla="*/ 10097 h 20193"/>
                <a:gd name="connsiteX6" fmla="*/ 428722 w 438818"/>
                <a:gd name="connsiteY6" fmla="*/ 20193 h 20193"/>
                <a:gd name="connsiteX7" fmla="*/ 428722 w 438818"/>
                <a:gd name="connsiteY7" fmla="*/ 20193 h 20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38818" h="20193">
                  <a:moveTo>
                    <a:pt x="428722" y="20193"/>
                  </a:moveTo>
                  <a:lnTo>
                    <a:pt x="10097" y="20193"/>
                  </a:lnTo>
                  <a:cubicBezTo>
                    <a:pt x="4660" y="20193"/>
                    <a:pt x="0" y="15533"/>
                    <a:pt x="0" y="10097"/>
                  </a:cubicBezTo>
                  <a:cubicBezTo>
                    <a:pt x="0" y="4660"/>
                    <a:pt x="4660" y="0"/>
                    <a:pt x="10097" y="0"/>
                  </a:cubicBezTo>
                  <a:lnTo>
                    <a:pt x="428722" y="0"/>
                  </a:lnTo>
                  <a:cubicBezTo>
                    <a:pt x="434159" y="0"/>
                    <a:pt x="438819" y="4660"/>
                    <a:pt x="438819" y="10097"/>
                  </a:cubicBezTo>
                  <a:cubicBezTo>
                    <a:pt x="438819" y="15533"/>
                    <a:pt x="434159" y="20193"/>
                    <a:pt x="428722" y="20193"/>
                  </a:cubicBezTo>
                  <a:lnTo>
                    <a:pt x="428722" y="20193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82" name="Forma Livre: Forma 381">
              <a:extLst>
                <a:ext uri="{FF2B5EF4-FFF2-40B4-BE49-F238E27FC236}">
                  <a16:creationId xmlns:a16="http://schemas.microsoft.com/office/drawing/2014/main" id="{521BCF46-2493-4BDC-BDC1-0CE04A70E822}"/>
                </a:ext>
              </a:extLst>
            </p:cNvPr>
            <p:cNvSpPr/>
            <p:nvPr/>
          </p:nvSpPr>
          <p:spPr>
            <a:xfrm>
              <a:off x="10318756" y="5322522"/>
              <a:ext cx="39610" cy="40386"/>
            </a:xfrm>
            <a:custGeom>
              <a:avLst/>
              <a:gdLst>
                <a:gd name="connsiteX0" fmla="*/ 39611 w 39610"/>
                <a:gd name="connsiteY0" fmla="*/ 0 h 40386"/>
                <a:gd name="connsiteX1" fmla="*/ 0 w 39610"/>
                <a:gd name="connsiteY1" fmla="*/ 0 h 40386"/>
                <a:gd name="connsiteX2" fmla="*/ 0 w 39610"/>
                <a:gd name="connsiteY2" fmla="*/ 40387 h 40386"/>
                <a:gd name="connsiteX3" fmla="*/ 39611 w 39610"/>
                <a:gd name="connsiteY3" fmla="*/ 40387 h 40386"/>
                <a:gd name="connsiteX4" fmla="*/ 39611 w 39610"/>
                <a:gd name="connsiteY4" fmla="*/ 0 h 4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10" h="40386">
                  <a:moveTo>
                    <a:pt x="39611" y="0"/>
                  </a:moveTo>
                  <a:lnTo>
                    <a:pt x="0" y="0"/>
                  </a:lnTo>
                  <a:lnTo>
                    <a:pt x="0" y="40387"/>
                  </a:lnTo>
                  <a:lnTo>
                    <a:pt x="39611" y="40387"/>
                  </a:lnTo>
                  <a:lnTo>
                    <a:pt x="39611" y="0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83" name="Forma Livre: Forma 382">
              <a:extLst>
                <a:ext uri="{FF2B5EF4-FFF2-40B4-BE49-F238E27FC236}">
                  <a16:creationId xmlns:a16="http://schemas.microsoft.com/office/drawing/2014/main" id="{CB88B18A-9994-4F9F-A298-9BA783CAC257}"/>
                </a:ext>
              </a:extLst>
            </p:cNvPr>
            <p:cNvSpPr/>
            <p:nvPr/>
          </p:nvSpPr>
          <p:spPr>
            <a:xfrm>
              <a:off x="10387880" y="5322522"/>
              <a:ext cx="39610" cy="40386"/>
            </a:xfrm>
            <a:custGeom>
              <a:avLst/>
              <a:gdLst>
                <a:gd name="connsiteX0" fmla="*/ 39610 w 39610"/>
                <a:gd name="connsiteY0" fmla="*/ 0 h 40386"/>
                <a:gd name="connsiteX1" fmla="*/ 0 w 39610"/>
                <a:gd name="connsiteY1" fmla="*/ 0 h 40386"/>
                <a:gd name="connsiteX2" fmla="*/ 0 w 39610"/>
                <a:gd name="connsiteY2" fmla="*/ 40387 h 40386"/>
                <a:gd name="connsiteX3" fmla="*/ 39610 w 39610"/>
                <a:gd name="connsiteY3" fmla="*/ 40387 h 40386"/>
                <a:gd name="connsiteX4" fmla="*/ 39610 w 39610"/>
                <a:gd name="connsiteY4" fmla="*/ 0 h 4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10" h="40386">
                  <a:moveTo>
                    <a:pt x="39610" y="0"/>
                  </a:moveTo>
                  <a:lnTo>
                    <a:pt x="0" y="0"/>
                  </a:lnTo>
                  <a:lnTo>
                    <a:pt x="0" y="40387"/>
                  </a:lnTo>
                  <a:lnTo>
                    <a:pt x="39610" y="40387"/>
                  </a:lnTo>
                  <a:lnTo>
                    <a:pt x="39610" y="0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84" name="Forma Livre: Forma 383">
              <a:extLst>
                <a:ext uri="{FF2B5EF4-FFF2-40B4-BE49-F238E27FC236}">
                  <a16:creationId xmlns:a16="http://schemas.microsoft.com/office/drawing/2014/main" id="{0BFF34FF-BC74-4EC3-A0F6-9E2D8D1B78DF}"/>
                </a:ext>
              </a:extLst>
            </p:cNvPr>
            <p:cNvSpPr/>
            <p:nvPr/>
          </p:nvSpPr>
          <p:spPr>
            <a:xfrm>
              <a:off x="10457004" y="5322522"/>
              <a:ext cx="39610" cy="40386"/>
            </a:xfrm>
            <a:custGeom>
              <a:avLst/>
              <a:gdLst>
                <a:gd name="connsiteX0" fmla="*/ 39610 w 39610"/>
                <a:gd name="connsiteY0" fmla="*/ 0 h 40386"/>
                <a:gd name="connsiteX1" fmla="*/ 0 w 39610"/>
                <a:gd name="connsiteY1" fmla="*/ 0 h 40386"/>
                <a:gd name="connsiteX2" fmla="*/ 0 w 39610"/>
                <a:gd name="connsiteY2" fmla="*/ 40387 h 40386"/>
                <a:gd name="connsiteX3" fmla="*/ 39610 w 39610"/>
                <a:gd name="connsiteY3" fmla="*/ 40387 h 40386"/>
                <a:gd name="connsiteX4" fmla="*/ 39610 w 39610"/>
                <a:gd name="connsiteY4" fmla="*/ 0 h 4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10" h="40386">
                  <a:moveTo>
                    <a:pt x="39610" y="0"/>
                  </a:moveTo>
                  <a:lnTo>
                    <a:pt x="0" y="0"/>
                  </a:lnTo>
                  <a:lnTo>
                    <a:pt x="0" y="40387"/>
                  </a:lnTo>
                  <a:lnTo>
                    <a:pt x="39610" y="40387"/>
                  </a:lnTo>
                  <a:lnTo>
                    <a:pt x="39610" y="0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85" name="Forma Livre: Forma 384">
              <a:extLst>
                <a:ext uri="{FF2B5EF4-FFF2-40B4-BE49-F238E27FC236}">
                  <a16:creationId xmlns:a16="http://schemas.microsoft.com/office/drawing/2014/main" id="{CD03A1F9-E999-4E79-B8BE-8B5775D98139}"/>
                </a:ext>
              </a:extLst>
            </p:cNvPr>
            <p:cNvSpPr/>
            <p:nvPr/>
          </p:nvSpPr>
          <p:spPr>
            <a:xfrm>
              <a:off x="10526128" y="5322522"/>
              <a:ext cx="39610" cy="40386"/>
            </a:xfrm>
            <a:custGeom>
              <a:avLst/>
              <a:gdLst>
                <a:gd name="connsiteX0" fmla="*/ 39610 w 39610"/>
                <a:gd name="connsiteY0" fmla="*/ 0 h 40386"/>
                <a:gd name="connsiteX1" fmla="*/ 0 w 39610"/>
                <a:gd name="connsiteY1" fmla="*/ 0 h 40386"/>
                <a:gd name="connsiteX2" fmla="*/ 0 w 39610"/>
                <a:gd name="connsiteY2" fmla="*/ 40387 h 40386"/>
                <a:gd name="connsiteX3" fmla="*/ 39610 w 39610"/>
                <a:gd name="connsiteY3" fmla="*/ 40387 h 40386"/>
                <a:gd name="connsiteX4" fmla="*/ 39610 w 39610"/>
                <a:gd name="connsiteY4" fmla="*/ 0 h 4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10" h="40386">
                  <a:moveTo>
                    <a:pt x="39610" y="0"/>
                  </a:moveTo>
                  <a:lnTo>
                    <a:pt x="0" y="0"/>
                  </a:lnTo>
                  <a:lnTo>
                    <a:pt x="0" y="40387"/>
                  </a:lnTo>
                  <a:lnTo>
                    <a:pt x="39610" y="40387"/>
                  </a:lnTo>
                  <a:lnTo>
                    <a:pt x="39610" y="0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86" name="Forma Livre: Forma 385">
              <a:extLst>
                <a:ext uri="{FF2B5EF4-FFF2-40B4-BE49-F238E27FC236}">
                  <a16:creationId xmlns:a16="http://schemas.microsoft.com/office/drawing/2014/main" id="{AF8C74DB-AF15-4E01-BEB3-8296B4C4A232}"/>
                </a:ext>
              </a:extLst>
            </p:cNvPr>
            <p:cNvSpPr/>
            <p:nvPr/>
          </p:nvSpPr>
          <p:spPr>
            <a:xfrm>
              <a:off x="10318756" y="5386985"/>
              <a:ext cx="39610" cy="39610"/>
            </a:xfrm>
            <a:custGeom>
              <a:avLst/>
              <a:gdLst>
                <a:gd name="connsiteX0" fmla="*/ 39611 w 39610"/>
                <a:gd name="connsiteY0" fmla="*/ 0 h 39610"/>
                <a:gd name="connsiteX1" fmla="*/ 0 w 39610"/>
                <a:gd name="connsiteY1" fmla="*/ 0 h 39610"/>
                <a:gd name="connsiteX2" fmla="*/ 0 w 39610"/>
                <a:gd name="connsiteY2" fmla="*/ 39610 h 39610"/>
                <a:gd name="connsiteX3" fmla="*/ 39611 w 39610"/>
                <a:gd name="connsiteY3" fmla="*/ 39610 h 39610"/>
                <a:gd name="connsiteX4" fmla="*/ 39611 w 39610"/>
                <a:gd name="connsiteY4" fmla="*/ 0 h 39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10" h="39610">
                  <a:moveTo>
                    <a:pt x="39611" y="0"/>
                  </a:moveTo>
                  <a:lnTo>
                    <a:pt x="0" y="0"/>
                  </a:lnTo>
                  <a:lnTo>
                    <a:pt x="0" y="39610"/>
                  </a:lnTo>
                  <a:lnTo>
                    <a:pt x="39611" y="39610"/>
                  </a:lnTo>
                  <a:lnTo>
                    <a:pt x="39611" y="0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87" name="Forma Livre: Forma 386">
              <a:extLst>
                <a:ext uri="{FF2B5EF4-FFF2-40B4-BE49-F238E27FC236}">
                  <a16:creationId xmlns:a16="http://schemas.microsoft.com/office/drawing/2014/main" id="{7BA21D8E-1B68-4291-A23F-6EFAC10F0B6D}"/>
                </a:ext>
              </a:extLst>
            </p:cNvPr>
            <p:cNvSpPr/>
            <p:nvPr/>
          </p:nvSpPr>
          <p:spPr>
            <a:xfrm>
              <a:off x="10387880" y="5386985"/>
              <a:ext cx="39610" cy="39610"/>
            </a:xfrm>
            <a:custGeom>
              <a:avLst/>
              <a:gdLst>
                <a:gd name="connsiteX0" fmla="*/ 39610 w 39610"/>
                <a:gd name="connsiteY0" fmla="*/ 0 h 39610"/>
                <a:gd name="connsiteX1" fmla="*/ 0 w 39610"/>
                <a:gd name="connsiteY1" fmla="*/ 0 h 39610"/>
                <a:gd name="connsiteX2" fmla="*/ 0 w 39610"/>
                <a:gd name="connsiteY2" fmla="*/ 39610 h 39610"/>
                <a:gd name="connsiteX3" fmla="*/ 39610 w 39610"/>
                <a:gd name="connsiteY3" fmla="*/ 39610 h 39610"/>
                <a:gd name="connsiteX4" fmla="*/ 39610 w 39610"/>
                <a:gd name="connsiteY4" fmla="*/ 0 h 39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10" h="39610">
                  <a:moveTo>
                    <a:pt x="39610" y="0"/>
                  </a:moveTo>
                  <a:lnTo>
                    <a:pt x="0" y="0"/>
                  </a:lnTo>
                  <a:lnTo>
                    <a:pt x="0" y="39610"/>
                  </a:lnTo>
                  <a:lnTo>
                    <a:pt x="39610" y="39610"/>
                  </a:lnTo>
                  <a:lnTo>
                    <a:pt x="39610" y="0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88" name="Forma Livre: Forma 387">
              <a:extLst>
                <a:ext uri="{FF2B5EF4-FFF2-40B4-BE49-F238E27FC236}">
                  <a16:creationId xmlns:a16="http://schemas.microsoft.com/office/drawing/2014/main" id="{D5397D7C-D826-43B6-9C8A-80FB17F2EC15}"/>
                </a:ext>
              </a:extLst>
            </p:cNvPr>
            <p:cNvSpPr/>
            <p:nvPr/>
          </p:nvSpPr>
          <p:spPr>
            <a:xfrm>
              <a:off x="10457004" y="5386985"/>
              <a:ext cx="39610" cy="39610"/>
            </a:xfrm>
            <a:custGeom>
              <a:avLst/>
              <a:gdLst>
                <a:gd name="connsiteX0" fmla="*/ 39610 w 39610"/>
                <a:gd name="connsiteY0" fmla="*/ 0 h 39610"/>
                <a:gd name="connsiteX1" fmla="*/ 0 w 39610"/>
                <a:gd name="connsiteY1" fmla="*/ 0 h 39610"/>
                <a:gd name="connsiteX2" fmla="*/ 0 w 39610"/>
                <a:gd name="connsiteY2" fmla="*/ 39610 h 39610"/>
                <a:gd name="connsiteX3" fmla="*/ 39610 w 39610"/>
                <a:gd name="connsiteY3" fmla="*/ 39610 h 39610"/>
                <a:gd name="connsiteX4" fmla="*/ 39610 w 39610"/>
                <a:gd name="connsiteY4" fmla="*/ 0 h 39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10" h="39610">
                  <a:moveTo>
                    <a:pt x="39610" y="0"/>
                  </a:moveTo>
                  <a:lnTo>
                    <a:pt x="0" y="0"/>
                  </a:lnTo>
                  <a:lnTo>
                    <a:pt x="0" y="39610"/>
                  </a:lnTo>
                  <a:lnTo>
                    <a:pt x="39610" y="39610"/>
                  </a:lnTo>
                  <a:lnTo>
                    <a:pt x="39610" y="0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89" name="Forma Livre: Forma 388">
              <a:extLst>
                <a:ext uri="{FF2B5EF4-FFF2-40B4-BE49-F238E27FC236}">
                  <a16:creationId xmlns:a16="http://schemas.microsoft.com/office/drawing/2014/main" id="{DD0E21F5-038A-4862-9ED8-93AD0D868FB9}"/>
                </a:ext>
              </a:extLst>
            </p:cNvPr>
            <p:cNvSpPr/>
            <p:nvPr/>
          </p:nvSpPr>
          <p:spPr>
            <a:xfrm>
              <a:off x="10242643" y="5139228"/>
              <a:ext cx="462895" cy="376685"/>
            </a:xfrm>
            <a:custGeom>
              <a:avLst/>
              <a:gdLst>
                <a:gd name="connsiteX0" fmla="*/ 291251 w 462895"/>
                <a:gd name="connsiteY0" fmla="*/ 376685 h 376685"/>
                <a:gd name="connsiteX1" fmla="*/ 20193 w 462895"/>
                <a:gd name="connsiteY1" fmla="*/ 376685 h 376685"/>
                <a:gd name="connsiteX2" fmla="*/ 0 w 462895"/>
                <a:gd name="connsiteY2" fmla="*/ 356491 h 376685"/>
                <a:gd name="connsiteX3" fmla="*/ 0 w 462895"/>
                <a:gd name="connsiteY3" fmla="*/ 20193 h 376685"/>
                <a:gd name="connsiteX4" fmla="*/ 20193 w 462895"/>
                <a:gd name="connsiteY4" fmla="*/ 0 h 376685"/>
                <a:gd name="connsiteX5" fmla="*/ 442702 w 462895"/>
                <a:gd name="connsiteY5" fmla="*/ 0 h 376685"/>
                <a:gd name="connsiteX6" fmla="*/ 462895 w 462895"/>
                <a:gd name="connsiteY6" fmla="*/ 20193 h 376685"/>
                <a:gd name="connsiteX7" fmla="*/ 462895 w 462895"/>
                <a:gd name="connsiteY7" fmla="*/ 196498 h 376685"/>
                <a:gd name="connsiteX8" fmla="*/ 421732 w 462895"/>
                <a:gd name="connsiteY8" fmla="*/ 196498 h 376685"/>
                <a:gd name="connsiteX9" fmla="*/ 421732 w 462895"/>
                <a:gd name="connsiteY9" fmla="*/ 41163 h 376685"/>
                <a:gd name="connsiteX10" fmla="*/ 40386 w 462895"/>
                <a:gd name="connsiteY10" fmla="*/ 41163 h 376685"/>
                <a:gd name="connsiteX11" fmla="*/ 40386 w 462895"/>
                <a:gd name="connsiteY11" fmla="*/ 336298 h 376685"/>
                <a:gd name="connsiteX12" fmla="*/ 291251 w 462895"/>
                <a:gd name="connsiteY12" fmla="*/ 336298 h 376685"/>
                <a:gd name="connsiteX13" fmla="*/ 291251 w 462895"/>
                <a:gd name="connsiteY13" fmla="*/ 376685 h 376685"/>
                <a:gd name="connsiteX14" fmla="*/ 291251 w 462895"/>
                <a:gd name="connsiteY14" fmla="*/ 376685 h 376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62895" h="376685">
                  <a:moveTo>
                    <a:pt x="291251" y="376685"/>
                  </a:moveTo>
                  <a:lnTo>
                    <a:pt x="20193" y="376685"/>
                  </a:lnTo>
                  <a:cubicBezTo>
                    <a:pt x="8543" y="376685"/>
                    <a:pt x="0" y="367365"/>
                    <a:pt x="0" y="356491"/>
                  </a:cubicBezTo>
                  <a:lnTo>
                    <a:pt x="0" y="20193"/>
                  </a:lnTo>
                  <a:cubicBezTo>
                    <a:pt x="0" y="8543"/>
                    <a:pt x="9320" y="0"/>
                    <a:pt x="20193" y="0"/>
                  </a:cubicBezTo>
                  <a:lnTo>
                    <a:pt x="442702" y="0"/>
                  </a:lnTo>
                  <a:cubicBezTo>
                    <a:pt x="454352" y="0"/>
                    <a:pt x="462895" y="9320"/>
                    <a:pt x="462895" y="20193"/>
                  </a:cubicBezTo>
                  <a:lnTo>
                    <a:pt x="462895" y="196498"/>
                  </a:lnTo>
                  <a:lnTo>
                    <a:pt x="421732" y="196498"/>
                  </a:lnTo>
                  <a:lnTo>
                    <a:pt x="421732" y="41163"/>
                  </a:lnTo>
                  <a:lnTo>
                    <a:pt x="40386" y="41163"/>
                  </a:lnTo>
                  <a:lnTo>
                    <a:pt x="40386" y="336298"/>
                  </a:lnTo>
                  <a:lnTo>
                    <a:pt x="291251" y="336298"/>
                  </a:lnTo>
                  <a:lnTo>
                    <a:pt x="291251" y="376685"/>
                  </a:lnTo>
                  <a:lnTo>
                    <a:pt x="291251" y="376685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90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4370074" y="1575842"/>
            <a:ext cx="383554" cy="354991"/>
            <a:chOff x="3973359" y="1307136"/>
            <a:chExt cx="471608" cy="436488"/>
          </a:xfrm>
          <a:solidFill>
            <a:srgbClr val="B1B1A1"/>
          </a:solidFill>
        </p:grpSpPr>
        <p:sp>
          <p:nvSpPr>
            <p:cNvPr id="391" name="Forma Livre: Forma 390">
              <a:extLst>
                <a:ext uri="{FF2B5EF4-FFF2-40B4-BE49-F238E27FC236}">
                  <a16:creationId xmlns:a16="http://schemas.microsoft.com/office/drawing/2014/main" id="{258380C4-D7A9-4096-AB4C-1E0906D5F348}"/>
                </a:ext>
              </a:extLst>
            </p:cNvPr>
            <p:cNvSpPr/>
            <p:nvPr/>
          </p:nvSpPr>
          <p:spPr>
            <a:xfrm>
              <a:off x="3973359" y="1557224"/>
              <a:ext cx="471608" cy="186400"/>
            </a:xfrm>
            <a:custGeom>
              <a:avLst/>
              <a:gdLst>
                <a:gd name="connsiteX0" fmla="*/ 452022 w 471608"/>
                <a:gd name="connsiteY0" fmla="*/ 186401 h 186400"/>
                <a:gd name="connsiteX1" fmla="*/ 20193 w 471608"/>
                <a:gd name="connsiteY1" fmla="*/ 186401 h 186400"/>
                <a:gd name="connsiteX2" fmla="*/ 0 w 471608"/>
                <a:gd name="connsiteY2" fmla="*/ 166207 h 186400"/>
                <a:gd name="connsiteX3" fmla="*/ 0 w 471608"/>
                <a:gd name="connsiteY3" fmla="*/ 20193 h 186400"/>
                <a:gd name="connsiteX4" fmla="*/ 20193 w 471608"/>
                <a:gd name="connsiteY4" fmla="*/ 0 h 186400"/>
                <a:gd name="connsiteX5" fmla="*/ 153781 w 471608"/>
                <a:gd name="connsiteY5" fmla="*/ 0 h 186400"/>
                <a:gd name="connsiteX6" fmla="*/ 173974 w 471608"/>
                <a:gd name="connsiteY6" fmla="*/ 20193 h 186400"/>
                <a:gd name="connsiteX7" fmla="*/ 173974 w 471608"/>
                <a:gd name="connsiteY7" fmla="*/ 48930 h 186400"/>
                <a:gd name="connsiteX8" fmla="*/ 297465 w 471608"/>
                <a:gd name="connsiteY8" fmla="*/ 48930 h 186400"/>
                <a:gd name="connsiteX9" fmla="*/ 297465 w 471608"/>
                <a:gd name="connsiteY9" fmla="*/ 20193 h 186400"/>
                <a:gd name="connsiteX10" fmla="*/ 317658 w 471608"/>
                <a:gd name="connsiteY10" fmla="*/ 0 h 186400"/>
                <a:gd name="connsiteX11" fmla="*/ 451245 w 471608"/>
                <a:gd name="connsiteY11" fmla="*/ 0 h 186400"/>
                <a:gd name="connsiteX12" fmla="*/ 471439 w 471608"/>
                <a:gd name="connsiteY12" fmla="*/ 20193 h 186400"/>
                <a:gd name="connsiteX13" fmla="*/ 471439 w 471608"/>
                <a:gd name="connsiteY13" fmla="*/ 166207 h 186400"/>
                <a:gd name="connsiteX14" fmla="*/ 452022 w 471608"/>
                <a:gd name="connsiteY14" fmla="*/ 186401 h 186400"/>
                <a:gd name="connsiteX15" fmla="*/ 452022 w 471608"/>
                <a:gd name="connsiteY15" fmla="*/ 186401 h 186400"/>
                <a:gd name="connsiteX16" fmla="*/ 40387 w 471608"/>
                <a:gd name="connsiteY16" fmla="*/ 145237 h 186400"/>
                <a:gd name="connsiteX17" fmla="*/ 431052 w 471608"/>
                <a:gd name="connsiteY17" fmla="*/ 145237 h 186400"/>
                <a:gd name="connsiteX18" fmla="*/ 431052 w 471608"/>
                <a:gd name="connsiteY18" fmla="*/ 40387 h 186400"/>
                <a:gd name="connsiteX19" fmla="*/ 338628 w 471608"/>
                <a:gd name="connsiteY19" fmla="*/ 40387 h 186400"/>
                <a:gd name="connsiteX20" fmla="*/ 338628 w 471608"/>
                <a:gd name="connsiteY20" fmla="*/ 48930 h 186400"/>
                <a:gd name="connsiteX21" fmla="*/ 297465 w 471608"/>
                <a:gd name="connsiteY21" fmla="*/ 90094 h 186400"/>
                <a:gd name="connsiteX22" fmla="*/ 173974 w 471608"/>
                <a:gd name="connsiteY22" fmla="*/ 90094 h 186400"/>
                <a:gd name="connsiteX23" fmla="*/ 132810 w 471608"/>
                <a:gd name="connsiteY23" fmla="*/ 48930 h 186400"/>
                <a:gd name="connsiteX24" fmla="*/ 132810 w 471608"/>
                <a:gd name="connsiteY24" fmla="*/ 40387 h 186400"/>
                <a:gd name="connsiteX25" fmla="*/ 40387 w 471608"/>
                <a:gd name="connsiteY25" fmla="*/ 40387 h 186400"/>
                <a:gd name="connsiteX26" fmla="*/ 40387 w 471608"/>
                <a:gd name="connsiteY26" fmla="*/ 145237 h 186400"/>
                <a:gd name="connsiteX27" fmla="*/ 40387 w 471608"/>
                <a:gd name="connsiteY27" fmla="*/ 145237 h 186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71608" h="186400">
                  <a:moveTo>
                    <a:pt x="452022" y="186401"/>
                  </a:moveTo>
                  <a:lnTo>
                    <a:pt x="20193" y="186401"/>
                  </a:lnTo>
                  <a:cubicBezTo>
                    <a:pt x="8543" y="186401"/>
                    <a:pt x="0" y="177081"/>
                    <a:pt x="0" y="166207"/>
                  </a:cubicBezTo>
                  <a:lnTo>
                    <a:pt x="0" y="20193"/>
                  </a:lnTo>
                  <a:cubicBezTo>
                    <a:pt x="0" y="8543"/>
                    <a:pt x="9320" y="0"/>
                    <a:pt x="20193" y="0"/>
                  </a:cubicBezTo>
                  <a:lnTo>
                    <a:pt x="153781" y="0"/>
                  </a:lnTo>
                  <a:cubicBezTo>
                    <a:pt x="165431" y="0"/>
                    <a:pt x="173974" y="9320"/>
                    <a:pt x="173974" y="20193"/>
                  </a:cubicBezTo>
                  <a:lnTo>
                    <a:pt x="173974" y="48930"/>
                  </a:lnTo>
                  <a:lnTo>
                    <a:pt x="297465" y="48930"/>
                  </a:lnTo>
                  <a:lnTo>
                    <a:pt x="297465" y="20193"/>
                  </a:lnTo>
                  <a:cubicBezTo>
                    <a:pt x="297465" y="8543"/>
                    <a:pt x="306785" y="0"/>
                    <a:pt x="317658" y="0"/>
                  </a:cubicBezTo>
                  <a:lnTo>
                    <a:pt x="451245" y="0"/>
                  </a:lnTo>
                  <a:cubicBezTo>
                    <a:pt x="462895" y="0"/>
                    <a:pt x="471439" y="9320"/>
                    <a:pt x="471439" y="20193"/>
                  </a:cubicBezTo>
                  <a:lnTo>
                    <a:pt x="471439" y="166207"/>
                  </a:lnTo>
                  <a:cubicBezTo>
                    <a:pt x="472992" y="177857"/>
                    <a:pt x="463672" y="186401"/>
                    <a:pt x="452022" y="186401"/>
                  </a:cubicBezTo>
                  <a:lnTo>
                    <a:pt x="452022" y="186401"/>
                  </a:lnTo>
                  <a:close/>
                  <a:moveTo>
                    <a:pt x="40387" y="145237"/>
                  </a:moveTo>
                  <a:lnTo>
                    <a:pt x="431052" y="145237"/>
                  </a:lnTo>
                  <a:lnTo>
                    <a:pt x="431052" y="40387"/>
                  </a:lnTo>
                  <a:lnTo>
                    <a:pt x="338628" y="40387"/>
                  </a:lnTo>
                  <a:lnTo>
                    <a:pt x="338628" y="48930"/>
                  </a:lnTo>
                  <a:cubicBezTo>
                    <a:pt x="338628" y="71454"/>
                    <a:pt x="319988" y="90094"/>
                    <a:pt x="297465" y="90094"/>
                  </a:cubicBezTo>
                  <a:lnTo>
                    <a:pt x="173974" y="90094"/>
                  </a:lnTo>
                  <a:cubicBezTo>
                    <a:pt x="151451" y="90094"/>
                    <a:pt x="132810" y="71454"/>
                    <a:pt x="132810" y="48930"/>
                  </a:cubicBezTo>
                  <a:lnTo>
                    <a:pt x="132810" y="40387"/>
                  </a:lnTo>
                  <a:lnTo>
                    <a:pt x="40387" y="40387"/>
                  </a:lnTo>
                  <a:lnTo>
                    <a:pt x="40387" y="145237"/>
                  </a:lnTo>
                  <a:lnTo>
                    <a:pt x="40387" y="145237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92" name="Forma Livre: Forma 391">
              <a:extLst>
                <a:ext uri="{FF2B5EF4-FFF2-40B4-BE49-F238E27FC236}">
                  <a16:creationId xmlns:a16="http://schemas.microsoft.com/office/drawing/2014/main" id="{284DF093-397E-442B-AFC7-AD0627765596}"/>
                </a:ext>
              </a:extLst>
            </p:cNvPr>
            <p:cNvSpPr/>
            <p:nvPr/>
          </p:nvSpPr>
          <p:spPr>
            <a:xfrm>
              <a:off x="4002096" y="1390240"/>
              <a:ext cx="420955" cy="205040"/>
            </a:xfrm>
            <a:custGeom>
              <a:avLst/>
              <a:gdLst>
                <a:gd name="connsiteX0" fmla="*/ 399986 w 420955"/>
                <a:gd name="connsiteY0" fmla="*/ 205041 h 205040"/>
                <a:gd name="connsiteX1" fmla="*/ 379792 w 420955"/>
                <a:gd name="connsiteY1" fmla="*/ 184848 h 205040"/>
                <a:gd name="connsiteX2" fmla="*/ 379792 w 420955"/>
                <a:gd name="connsiteY2" fmla="*/ 41164 h 205040"/>
                <a:gd name="connsiteX3" fmla="*/ 40387 w 420955"/>
                <a:gd name="connsiteY3" fmla="*/ 41164 h 205040"/>
                <a:gd name="connsiteX4" fmla="*/ 40387 w 420955"/>
                <a:gd name="connsiteY4" fmla="*/ 184848 h 205040"/>
                <a:gd name="connsiteX5" fmla="*/ 20193 w 420955"/>
                <a:gd name="connsiteY5" fmla="*/ 205041 h 205040"/>
                <a:gd name="connsiteX6" fmla="*/ 0 w 420955"/>
                <a:gd name="connsiteY6" fmla="*/ 184848 h 205040"/>
                <a:gd name="connsiteX7" fmla="*/ 0 w 420955"/>
                <a:gd name="connsiteY7" fmla="*/ 20193 h 205040"/>
                <a:gd name="connsiteX8" fmla="*/ 20193 w 420955"/>
                <a:gd name="connsiteY8" fmla="*/ 0 h 205040"/>
                <a:gd name="connsiteX9" fmla="*/ 400762 w 420955"/>
                <a:gd name="connsiteY9" fmla="*/ 0 h 205040"/>
                <a:gd name="connsiteX10" fmla="*/ 420955 w 420955"/>
                <a:gd name="connsiteY10" fmla="*/ 20193 h 205040"/>
                <a:gd name="connsiteX11" fmla="*/ 420955 w 420955"/>
                <a:gd name="connsiteY11" fmla="*/ 184848 h 205040"/>
                <a:gd name="connsiteX12" fmla="*/ 399986 w 420955"/>
                <a:gd name="connsiteY12" fmla="*/ 205041 h 205040"/>
                <a:gd name="connsiteX13" fmla="*/ 399986 w 420955"/>
                <a:gd name="connsiteY13" fmla="*/ 205041 h 205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20955" h="205040">
                  <a:moveTo>
                    <a:pt x="399986" y="205041"/>
                  </a:moveTo>
                  <a:cubicBezTo>
                    <a:pt x="388335" y="205041"/>
                    <a:pt x="379792" y="195721"/>
                    <a:pt x="379792" y="184848"/>
                  </a:cubicBezTo>
                  <a:lnTo>
                    <a:pt x="379792" y="41164"/>
                  </a:lnTo>
                  <a:lnTo>
                    <a:pt x="40387" y="41164"/>
                  </a:lnTo>
                  <a:lnTo>
                    <a:pt x="40387" y="184848"/>
                  </a:lnTo>
                  <a:cubicBezTo>
                    <a:pt x="40387" y="196498"/>
                    <a:pt x="31067" y="205041"/>
                    <a:pt x="20193" y="205041"/>
                  </a:cubicBezTo>
                  <a:cubicBezTo>
                    <a:pt x="8543" y="205041"/>
                    <a:pt x="0" y="195721"/>
                    <a:pt x="0" y="184848"/>
                  </a:cubicBezTo>
                  <a:lnTo>
                    <a:pt x="0" y="20193"/>
                  </a:lnTo>
                  <a:cubicBezTo>
                    <a:pt x="0" y="8543"/>
                    <a:pt x="9320" y="0"/>
                    <a:pt x="20193" y="0"/>
                  </a:cubicBezTo>
                  <a:lnTo>
                    <a:pt x="400762" y="0"/>
                  </a:lnTo>
                  <a:cubicBezTo>
                    <a:pt x="412412" y="0"/>
                    <a:pt x="420955" y="9320"/>
                    <a:pt x="420955" y="20193"/>
                  </a:cubicBezTo>
                  <a:lnTo>
                    <a:pt x="420955" y="184848"/>
                  </a:lnTo>
                  <a:cubicBezTo>
                    <a:pt x="420955" y="195721"/>
                    <a:pt x="411636" y="205041"/>
                    <a:pt x="399986" y="205041"/>
                  </a:cubicBezTo>
                  <a:lnTo>
                    <a:pt x="399986" y="205041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93" name="Forma Livre: Forma 392">
              <a:extLst>
                <a:ext uri="{FF2B5EF4-FFF2-40B4-BE49-F238E27FC236}">
                  <a16:creationId xmlns:a16="http://schemas.microsoft.com/office/drawing/2014/main" id="{D5B12022-6727-4205-9B76-E666F4CD7E0B}"/>
                </a:ext>
              </a:extLst>
            </p:cNvPr>
            <p:cNvSpPr/>
            <p:nvPr/>
          </p:nvSpPr>
          <p:spPr>
            <a:xfrm>
              <a:off x="4035493" y="1348299"/>
              <a:ext cx="352692" cy="20193"/>
            </a:xfrm>
            <a:custGeom>
              <a:avLst/>
              <a:gdLst>
                <a:gd name="connsiteX0" fmla="*/ 342511 w 352692"/>
                <a:gd name="connsiteY0" fmla="*/ 20193 h 20193"/>
                <a:gd name="connsiteX1" fmla="*/ 10097 w 352692"/>
                <a:gd name="connsiteY1" fmla="*/ 20193 h 20193"/>
                <a:gd name="connsiteX2" fmla="*/ 0 w 352692"/>
                <a:gd name="connsiteY2" fmla="*/ 10097 h 20193"/>
                <a:gd name="connsiteX3" fmla="*/ 10097 w 352692"/>
                <a:gd name="connsiteY3" fmla="*/ 0 h 20193"/>
                <a:gd name="connsiteX4" fmla="*/ 342511 w 352692"/>
                <a:gd name="connsiteY4" fmla="*/ 0 h 20193"/>
                <a:gd name="connsiteX5" fmla="*/ 352608 w 352692"/>
                <a:gd name="connsiteY5" fmla="*/ 10097 h 20193"/>
                <a:gd name="connsiteX6" fmla="*/ 342511 w 352692"/>
                <a:gd name="connsiteY6" fmla="*/ 20193 h 20193"/>
                <a:gd name="connsiteX7" fmla="*/ 342511 w 352692"/>
                <a:gd name="connsiteY7" fmla="*/ 20193 h 20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2692" h="20193">
                  <a:moveTo>
                    <a:pt x="342511" y="20193"/>
                  </a:moveTo>
                  <a:lnTo>
                    <a:pt x="10097" y="20193"/>
                  </a:lnTo>
                  <a:cubicBezTo>
                    <a:pt x="4660" y="20193"/>
                    <a:pt x="0" y="15533"/>
                    <a:pt x="0" y="10097"/>
                  </a:cubicBezTo>
                  <a:cubicBezTo>
                    <a:pt x="0" y="4660"/>
                    <a:pt x="4660" y="0"/>
                    <a:pt x="10097" y="0"/>
                  </a:cubicBezTo>
                  <a:lnTo>
                    <a:pt x="342511" y="0"/>
                  </a:lnTo>
                  <a:cubicBezTo>
                    <a:pt x="347948" y="0"/>
                    <a:pt x="352608" y="4660"/>
                    <a:pt x="352608" y="10097"/>
                  </a:cubicBezTo>
                  <a:cubicBezTo>
                    <a:pt x="353385" y="15533"/>
                    <a:pt x="348725" y="20193"/>
                    <a:pt x="342511" y="20193"/>
                  </a:cubicBezTo>
                  <a:lnTo>
                    <a:pt x="342511" y="20193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94" name="Forma Livre: Forma 393">
              <a:extLst>
                <a:ext uri="{FF2B5EF4-FFF2-40B4-BE49-F238E27FC236}">
                  <a16:creationId xmlns:a16="http://schemas.microsoft.com/office/drawing/2014/main" id="{3C202965-5CEA-4AC8-B900-B2096E264060}"/>
                </a:ext>
              </a:extLst>
            </p:cNvPr>
            <p:cNvSpPr/>
            <p:nvPr/>
          </p:nvSpPr>
          <p:spPr>
            <a:xfrm>
              <a:off x="4054910" y="1307136"/>
              <a:ext cx="313774" cy="20193"/>
            </a:xfrm>
            <a:custGeom>
              <a:avLst/>
              <a:gdLst>
                <a:gd name="connsiteX0" fmla="*/ 303678 w 313774"/>
                <a:gd name="connsiteY0" fmla="*/ 20193 h 20193"/>
                <a:gd name="connsiteX1" fmla="*/ 10097 w 313774"/>
                <a:gd name="connsiteY1" fmla="*/ 20193 h 20193"/>
                <a:gd name="connsiteX2" fmla="*/ 0 w 313774"/>
                <a:gd name="connsiteY2" fmla="*/ 10097 h 20193"/>
                <a:gd name="connsiteX3" fmla="*/ 10097 w 313774"/>
                <a:gd name="connsiteY3" fmla="*/ 0 h 20193"/>
                <a:gd name="connsiteX4" fmla="*/ 303678 w 313774"/>
                <a:gd name="connsiteY4" fmla="*/ 0 h 20193"/>
                <a:gd name="connsiteX5" fmla="*/ 313775 w 313774"/>
                <a:gd name="connsiteY5" fmla="*/ 10097 h 20193"/>
                <a:gd name="connsiteX6" fmla="*/ 303678 w 313774"/>
                <a:gd name="connsiteY6" fmla="*/ 20193 h 20193"/>
                <a:gd name="connsiteX7" fmla="*/ 303678 w 313774"/>
                <a:gd name="connsiteY7" fmla="*/ 20193 h 20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3774" h="20193">
                  <a:moveTo>
                    <a:pt x="303678" y="20193"/>
                  </a:moveTo>
                  <a:lnTo>
                    <a:pt x="10097" y="20193"/>
                  </a:lnTo>
                  <a:cubicBezTo>
                    <a:pt x="4660" y="20193"/>
                    <a:pt x="0" y="15533"/>
                    <a:pt x="0" y="10097"/>
                  </a:cubicBezTo>
                  <a:cubicBezTo>
                    <a:pt x="0" y="4660"/>
                    <a:pt x="4660" y="0"/>
                    <a:pt x="10097" y="0"/>
                  </a:cubicBezTo>
                  <a:lnTo>
                    <a:pt x="303678" y="0"/>
                  </a:lnTo>
                  <a:cubicBezTo>
                    <a:pt x="309115" y="0"/>
                    <a:pt x="313775" y="4660"/>
                    <a:pt x="313775" y="10097"/>
                  </a:cubicBezTo>
                  <a:cubicBezTo>
                    <a:pt x="313775" y="15533"/>
                    <a:pt x="309115" y="20193"/>
                    <a:pt x="303678" y="20193"/>
                  </a:cubicBezTo>
                  <a:lnTo>
                    <a:pt x="303678" y="20193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95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1277974" y="3618623"/>
            <a:ext cx="416398" cy="416262"/>
            <a:chOff x="171389" y="3818888"/>
            <a:chExt cx="511993" cy="511825"/>
          </a:xfrm>
          <a:solidFill>
            <a:srgbClr val="B1B1A1"/>
          </a:solidFill>
        </p:grpSpPr>
        <p:sp>
          <p:nvSpPr>
            <p:cNvPr id="396" name="Forma Livre: Forma 395">
              <a:extLst>
                <a:ext uri="{FF2B5EF4-FFF2-40B4-BE49-F238E27FC236}">
                  <a16:creationId xmlns:a16="http://schemas.microsoft.com/office/drawing/2014/main" id="{689941CD-7A8B-4DCD-B3F4-68DF459519C6}"/>
                </a:ext>
              </a:extLst>
            </p:cNvPr>
            <p:cNvSpPr/>
            <p:nvPr/>
          </p:nvSpPr>
          <p:spPr>
            <a:xfrm>
              <a:off x="579503" y="3866459"/>
              <a:ext cx="55531" cy="55726"/>
            </a:xfrm>
            <a:custGeom>
              <a:avLst/>
              <a:gdLst>
                <a:gd name="connsiteX0" fmla="*/ 9903 w 55531"/>
                <a:gd name="connsiteY0" fmla="*/ 55726 h 55726"/>
                <a:gd name="connsiteX1" fmla="*/ 2913 w 55531"/>
                <a:gd name="connsiteY1" fmla="*/ 52619 h 55726"/>
                <a:gd name="connsiteX2" fmla="*/ 2913 w 55531"/>
                <a:gd name="connsiteY2" fmla="*/ 37863 h 55726"/>
                <a:gd name="connsiteX3" fmla="*/ 37863 w 55531"/>
                <a:gd name="connsiteY3" fmla="*/ 2913 h 55726"/>
                <a:gd name="connsiteX4" fmla="*/ 52619 w 55531"/>
                <a:gd name="connsiteY4" fmla="*/ 2913 h 55726"/>
                <a:gd name="connsiteX5" fmla="*/ 52619 w 55531"/>
                <a:gd name="connsiteY5" fmla="*/ 17669 h 55726"/>
                <a:gd name="connsiteX6" fmla="*/ 17669 w 55531"/>
                <a:gd name="connsiteY6" fmla="*/ 52619 h 55726"/>
                <a:gd name="connsiteX7" fmla="*/ 9903 w 55531"/>
                <a:gd name="connsiteY7" fmla="*/ 55726 h 55726"/>
                <a:gd name="connsiteX8" fmla="*/ 9903 w 55531"/>
                <a:gd name="connsiteY8" fmla="*/ 55726 h 55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5531" h="55726">
                  <a:moveTo>
                    <a:pt x="9903" y="55726"/>
                  </a:moveTo>
                  <a:cubicBezTo>
                    <a:pt x="7573" y="55726"/>
                    <a:pt x="4466" y="54949"/>
                    <a:pt x="2913" y="52619"/>
                  </a:cubicBezTo>
                  <a:cubicBezTo>
                    <a:pt x="-971" y="48736"/>
                    <a:pt x="-971" y="41746"/>
                    <a:pt x="2913" y="37863"/>
                  </a:cubicBezTo>
                  <a:lnTo>
                    <a:pt x="37863" y="2913"/>
                  </a:lnTo>
                  <a:cubicBezTo>
                    <a:pt x="41746" y="-971"/>
                    <a:pt x="48736" y="-971"/>
                    <a:pt x="52619" y="2913"/>
                  </a:cubicBezTo>
                  <a:cubicBezTo>
                    <a:pt x="56503" y="6796"/>
                    <a:pt x="56503" y="13786"/>
                    <a:pt x="52619" y="17669"/>
                  </a:cubicBezTo>
                  <a:lnTo>
                    <a:pt x="17669" y="52619"/>
                  </a:lnTo>
                  <a:cubicBezTo>
                    <a:pt x="15339" y="54949"/>
                    <a:pt x="13009" y="55726"/>
                    <a:pt x="9903" y="55726"/>
                  </a:cubicBezTo>
                  <a:lnTo>
                    <a:pt x="9903" y="55726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97" name="Forma Livre: Forma 396">
              <a:extLst>
                <a:ext uri="{FF2B5EF4-FFF2-40B4-BE49-F238E27FC236}">
                  <a16:creationId xmlns:a16="http://schemas.microsoft.com/office/drawing/2014/main" id="{6B9D2888-6079-4A7A-B008-691B853BEE3A}"/>
                </a:ext>
              </a:extLst>
            </p:cNvPr>
            <p:cNvSpPr/>
            <p:nvPr/>
          </p:nvSpPr>
          <p:spPr>
            <a:xfrm>
              <a:off x="438344" y="3997911"/>
              <a:ext cx="65240" cy="65628"/>
            </a:xfrm>
            <a:custGeom>
              <a:avLst/>
              <a:gdLst>
                <a:gd name="connsiteX0" fmla="*/ 45435 w 65240"/>
                <a:gd name="connsiteY0" fmla="*/ 65629 h 65628"/>
                <a:gd name="connsiteX1" fmla="*/ 30678 w 65240"/>
                <a:gd name="connsiteY1" fmla="*/ 59415 h 65628"/>
                <a:gd name="connsiteX2" fmla="*/ 5825 w 65240"/>
                <a:gd name="connsiteY2" fmla="*/ 34562 h 65628"/>
                <a:gd name="connsiteX3" fmla="*/ 5825 w 65240"/>
                <a:gd name="connsiteY3" fmla="*/ 5825 h 65628"/>
                <a:gd name="connsiteX4" fmla="*/ 34562 w 65240"/>
                <a:gd name="connsiteY4" fmla="*/ 5825 h 65628"/>
                <a:gd name="connsiteX5" fmla="*/ 59415 w 65240"/>
                <a:gd name="connsiteY5" fmla="*/ 30679 h 65628"/>
                <a:gd name="connsiteX6" fmla="*/ 59415 w 65240"/>
                <a:gd name="connsiteY6" fmla="*/ 59415 h 65628"/>
                <a:gd name="connsiteX7" fmla="*/ 45435 w 65240"/>
                <a:gd name="connsiteY7" fmla="*/ 65629 h 65628"/>
                <a:gd name="connsiteX8" fmla="*/ 45435 w 65240"/>
                <a:gd name="connsiteY8" fmla="*/ 65629 h 65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5240" h="65628">
                  <a:moveTo>
                    <a:pt x="45435" y="65629"/>
                  </a:moveTo>
                  <a:cubicBezTo>
                    <a:pt x="39999" y="65629"/>
                    <a:pt x="34562" y="63299"/>
                    <a:pt x="30678" y="59415"/>
                  </a:cubicBezTo>
                  <a:lnTo>
                    <a:pt x="5825" y="34562"/>
                  </a:lnTo>
                  <a:cubicBezTo>
                    <a:pt x="-1942" y="26795"/>
                    <a:pt x="-1942" y="13592"/>
                    <a:pt x="5825" y="5825"/>
                  </a:cubicBezTo>
                  <a:cubicBezTo>
                    <a:pt x="13592" y="-1942"/>
                    <a:pt x="26795" y="-1942"/>
                    <a:pt x="34562" y="5825"/>
                  </a:cubicBezTo>
                  <a:lnTo>
                    <a:pt x="59415" y="30679"/>
                  </a:lnTo>
                  <a:cubicBezTo>
                    <a:pt x="67182" y="38445"/>
                    <a:pt x="67182" y="51649"/>
                    <a:pt x="59415" y="59415"/>
                  </a:cubicBezTo>
                  <a:cubicBezTo>
                    <a:pt x="56309" y="64075"/>
                    <a:pt x="50872" y="65629"/>
                    <a:pt x="45435" y="65629"/>
                  </a:cubicBezTo>
                  <a:lnTo>
                    <a:pt x="45435" y="65629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98" name="Forma Livre: Forma 397">
              <a:extLst>
                <a:ext uri="{FF2B5EF4-FFF2-40B4-BE49-F238E27FC236}">
                  <a16:creationId xmlns:a16="http://schemas.microsoft.com/office/drawing/2014/main" id="{6D0DDBF2-2C43-40A1-B7B9-E7A193223110}"/>
                </a:ext>
              </a:extLst>
            </p:cNvPr>
            <p:cNvSpPr/>
            <p:nvPr/>
          </p:nvSpPr>
          <p:spPr>
            <a:xfrm>
              <a:off x="579503" y="4066064"/>
              <a:ext cx="55531" cy="55726"/>
            </a:xfrm>
            <a:custGeom>
              <a:avLst/>
              <a:gdLst>
                <a:gd name="connsiteX0" fmla="*/ 44853 w 55531"/>
                <a:gd name="connsiteY0" fmla="*/ 55726 h 55726"/>
                <a:gd name="connsiteX1" fmla="*/ 37863 w 55531"/>
                <a:gd name="connsiteY1" fmla="*/ 52619 h 55726"/>
                <a:gd name="connsiteX2" fmla="*/ 2913 w 55531"/>
                <a:gd name="connsiteY2" fmla="*/ 17669 h 55726"/>
                <a:gd name="connsiteX3" fmla="*/ 2913 w 55531"/>
                <a:gd name="connsiteY3" fmla="*/ 2913 h 55726"/>
                <a:gd name="connsiteX4" fmla="*/ 17669 w 55531"/>
                <a:gd name="connsiteY4" fmla="*/ 2913 h 55726"/>
                <a:gd name="connsiteX5" fmla="*/ 52619 w 55531"/>
                <a:gd name="connsiteY5" fmla="*/ 37863 h 55726"/>
                <a:gd name="connsiteX6" fmla="*/ 52619 w 55531"/>
                <a:gd name="connsiteY6" fmla="*/ 52619 h 55726"/>
                <a:gd name="connsiteX7" fmla="*/ 44853 w 55531"/>
                <a:gd name="connsiteY7" fmla="*/ 55726 h 55726"/>
                <a:gd name="connsiteX8" fmla="*/ 44853 w 55531"/>
                <a:gd name="connsiteY8" fmla="*/ 55726 h 55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5531" h="55726">
                  <a:moveTo>
                    <a:pt x="44853" y="55726"/>
                  </a:moveTo>
                  <a:cubicBezTo>
                    <a:pt x="42523" y="55726"/>
                    <a:pt x="39416" y="54949"/>
                    <a:pt x="37863" y="52619"/>
                  </a:cubicBezTo>
                  <a:lnTo>
                    <a:pt x="2913" y="17669"/>
                  </a:lnTo>
                  <a:cubicBezTo>
                    <a:pt x="-971" y="13786"/>
                    <a:pt x="-971" y="6796"/>
                    <a:pt x="2913" y="2913"/>
                  </a:cubicBezTo>
                  <a:cubicBezTo>
                    <a:pt x="6796" y="-971"/>
                    <a:pt x="13786" y="-971"/>
                    <a:pt x="17669" y="2913"/>
                  </a:cubicBezTo>
                  <a:lnTo>
                    <a:pt x="52619" y="37863"/>
                  </a:lnTo>
                  <a:cubicBezTo>
                    <a:pt x="56503" y="41746"/>
                    <a:pt x="56503" y="48736"/>
                    <a:pt x="52619" y="52619"/>
                  </a:cubicBezTo>
                  <a:cubicBezTo>
                    <a:pt x="50289" y="54949"/>
                    <a:pt x="47959" y="55726"/>
                    <a:pt x="44853" y="55726"/>
                  </a:cubicBezTo>
                  <a:lnTo>
                    <a:pt x="44853" y="55726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99" name="Forma Livre: Forma 398">
              <a:extLst>
                <a:ext uri="{FF2B5EF4-FFF2-40B4-BE49-F238E27FC236}">
                  <a16:creationId xmlns:a16="http://schemas.microsoft.com/office/drawing/2014/main" id="{7D0EC537-194D-4172-B284-C880CAEEA95D}"/>
                </a:ext>
              </a:extLst>
            </p:cNvPr>
            <p:cNvSpPr/>
            <p:nvPr/>
          </p:nvSpPr>
          <p:spPr>
            <a:xfrm>
              <a:off x="380676" y="3866459"/>
              <a:ext cx="55531" cy="55726"/>
            </a:xfrm>
            <a:custGeom>
              <a:avLst/>
              <a:gdLst>
                <a:gd name="connsiteX0" fmla="*/ 44853 w 55531"/>
                <a:gd name="connsiteY0" fmla="*/ 55726 h 55726"/>
                <a:gd name="connsiteX1" fmla="*/ 37863 w 55531"/>
                <a:gd name="connsiteY1" fmla="*/ 52619 h 55726"/>
                <a:gd name="connsiteX2" fmla="*/ 2913 w 55531"/>
                <a:gd name="connsiteY2" fmla="*/ 17669 h 55726"/>
                <a:gd name="connsiteX3" fmla="*/ 2913 w 55531"/>
                <a:gd name="connsiteY3" fmla="*/ 2913 h 55726"/>
                <a:gd name="connsiteX4" fmla="*/ 17669 w 55531"/>
                <a:gd name="connsiteY4" fmla="*/ 2913 h 55726"/>
                <a:gd name="connsiteX5" fmla="*/ 52619 w 55531"/>
                <a:gd name="connsiteY5" fmla="*/ 37863 h 55726"/>
                <a:gd name="connsiteX6" fmla="*/ 52619 w 55531"/>
                <a:gd name="connsiteY6" fmla="*/ 52619 h 55726"/>
                <a:gd name="connsiteX7" fmla="*/ 44853 w 55531"/>
                <a:gd name="connsiteY7" fmla="*/ 55726 h 55726"/>
                <a:gd name="connsiteX8" fmla="*/ 44853 w 55531"/>
                <a:gd name="connsiteY8" fmla="*/ 55726 h 55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5531" h="55726">
                  <a:moveTo>
                    <a:pt x="44853" y="55726"/>
                  </a:moveTo>
                  <a:cubicBezTo>
                    <a:pt x="42523" y="55726"/>
                    <a:pt x="39416" y="54949"/>
                    <a:pt x="37863" y="52619"/>
                  </a:cubicBezTo>
                  <a:lnTo>
                    <a:pt x="2913" y="17669"/>
                  </a:lnTo>
                  <a:cubicBezTo>
                    <a:pt x="-971" y="13786"/>
                    <a:pt x="-971" y="6796"/>
                    <a:pt x="2913" y="2913"/>
                  </a:cubicBezTo>
                  <a:cubicBezTo>
                    <a:pt x="6796" y="-971"/>
                    <a:pt x="13786" y="-971"/>
                    <a:pt x="17669" y="2913"/>
                  </a:cubicBezTo>
                  <a:lnTo>
                    <a:pt x="52619" y="37863"/>
                  </a:lnTo>
                  <a:cubicBezTo>
                    <a:pt x="56503" y="41746"/>
                    <a:pt x="56503" y="48736"/>
                    <a:pt x="52619" y="52619"/>
                  </a:cubicBezTo>
                  <a:cubicBezTo>
                    <a:pt x="49513" y="54949"/>
                    <a:pt x="47183" y="55726"/>
                    <a:pt x="44853" y="55726"/>
                  </a:cubicBezTo>
                  <a:lnTo>
                    <a:pt x="44853" y="55726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00" name="Forma Livre: Forma 399">
              <a:extLst>
                <a:ext uri="{FF2B5EF4-FFF2-40B4-BE49-F238E27FC236}">
                  <a16:creationId xmlns:a16="http://schemas.microsoft.com/office/drawing/2014/main" id="{755815DD-F255-4167-844F-4118B4EF732B}"/>
                </a:ext>
              </a:extLst>
            </p:cNvPr>
            <p:cNvSpPr/>
            <p:nvPr/>
          </p:nvSpPr>
          <p:spPr>
            <a:xfrm>
              <a:off x="613483" y="3984319"/>
              <a:ext cx="69900" cy="20193"/>
            </a:xfrm>
            <a:custGeom>
              <a:avLst/>
              <a:gdLst>
                <a:gd name="connsiteX0" fmla="*/ 59804 w 69900"/>
                <a:gd name="connsiteY0" fmla="*/ 20193 h 20193"/>
                <a:gd name="connsiteX1" fmla="*/ 10097 w 69900"/>
                <a:gd name="connsiteY1" fmla="*/ 20193 h 20193"/>
                <a:gd name="connsiteX2" fmla="*/ 0 w 69900"/>
                <a:gd name="connsiteY2" fmla="*/ 10097 h 20193"/>
                <a:gd name="connsiteX3" fmla="*/ 10097 w 69900"/>
                <a:gd name="connsiteY3" fmla="*/ 0 h 20193"/>
                <a:gd name="connsiteX4" fmla="*/ 59804 w 69900"/>
                <a:gd name="connsiteY4" fmla="*/ 0 h 20193"/>
                <a:gd name="connsiteX5" fmla="*/ 69900 w 69900"/>
                <a:gd name="connsiteY5" fmla="*/ 10097 h 20193"/>
                <a:gd name="connsiteX6" fmla="*/ 59804 w 69900"/>
                <a:gd name="connsiteY6" fmla="*/ 20193 h 20193"/>
                <a:gd name="connsiteX7" fmla="*/ 59804 w 69900"/>
                <a:gd name="connsiteY7" fmla="*/ 20193 h 20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9900" h="20193">
                  <a:moveTo>
                    <a:pt x="59804" y="20193"/>
                  </a:moveTo>
                  <a:lnTo>
                    <a:pt x="10097" y="20193"/>
                  </a:lnTo>
                  <a:cubicBezTo>
                    <a:pt x="4660" y="20193"/>
                    <a:pt x="0" y="15533"/>
                    <a:pt x="0" y="10097"/>
                  </a:cubicBezTo>
                  <a:cubicBezTo>
                    <a:pt x="0" y="4660"/>
                    <a:pt x="4660" y="0"/>
                    <a:pt x="10097" y="0"/>
                  </a:cubicBezTo>
                  <a:lnTo>
                    <a:pt x="59804" y="0"/>
                  </a:lnTo>
                  <a:cubicBezTo>
                    <a:pt x="65240" y="0"/>
                    <a:pt x="69900" y="4660"/>
                    <a:pt x="69900" y="10097"/>
                  </a:cubicBezTo>
                  <a:cubicBezTo>
                    <a:pt x="69900" y="15533"/>
                    <a:pt x="65240" y="20193"/>
                    <a:pt x="59804" y="20193"/>
                  </a:cubicBezTo>
                  <a:lnTo>
                    <a:pt x="59804" y="20193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01" name="Forma Livre: Forma 400">
              <a:extLst>
                <a:ext uri="{FF2B5EF4-FFF2-40B4-BE49-F238E27FC236}">
                  <a16:creationId xmlns:a16="http://schemas.microsoft.com/office/drawing/2014/main" id="{44029680-FE6B-4BE5-B2F4-746B206AB140}"/>
                </a:ext>
              </a:extLst>
            </p:cNvPr>
            <p:cNvSpPr/>
            <p:nvPr/>
          </p:nvSpPr>
          <p:spPr>
            <a:xfrm>
              <a:off x="331551" y="3984319"/>
              <a:ext cx="69900" cy="20193"/>
            </a:xfrm>
            <a:custGeom>
              <a:avLst/>
              <a:gdLst>
                <a:gd name="connsiteX0" fmla="*/ 59804 w 69900"/>
                <a:gd name="connsiteY0" fmla="*/ 20193 h 20193"/>
                <a:gd name="connsiteX1" fmla="*/ 10097 w 69900"/>
                <a:gd name="connsiteY1" fmla="*/ 20193 h 20193"/>
                <a:gd name="connsiteX2" fmla="*/ 0 w 69900"/>
                <a:gd name="connsiteY2" fmla="*/ 10097 h 20193"/>
                <a:gd name="connsiteX3" fmla="*/ 10097 w 69900"/>
                <a:gd name="connsiteY3" fmla="*/ 0 h 20193"/>
                <a:gd name="connsiteX4" fmla="*/ 59804 w 69900"/>
                <a:gd name="connsiteY4" fmla="*/ 0 h 20193"/>
                <a:gd name="connsiteX5" fmla="*/ 69900 w 69900"/>
                <a:gd name="connsiteY5" fmla="*/ 10097 h 20193"/>
                <a:gd name="connsiteX6" fmla="*/ 59804 w 69900"/>
                <a:gd name="connsiteY6" fmla="*/ 20193 h 20193"/>
                <a:gd name="connsiteX7" fmla="*/ 59804 w 69900"/>
                <a:gd name="connsiteY7" fmla="*/ 20193 h 20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9900" h="20193">
                  <a:moveTo>
                    <a:pt x="59804" y="20193"/>
                  </a:moveTo>
                  <a:lnTo>
                    <a:pt x="10097" y="20193"/>
                  </a:lnTo>
                  <a:cubicBezTo>
                    <a:pt x="4660" y="20193"/>
                    <a:pt x="0" y="15533"/>
                    <a:pt x="0" y="10097"/>
                  </a:cubicBezTo>
                  <a:cubicBezTo>
                    <a:pt x="0" y="4660"/>
                    <a:pt x="4660" y="0"/>
                    <a:pt x="10097" y="0"/>
                  </a:cubicBezTo>
                  <a:lnTo>
                    <a:pt x="59804" y="0"/>
                  </a:lnTo>
                  <a:cubicBezTo>
                    <a:pt x="65240" y="0"/>
                    <a:pt x="69900" y="4660"/>
                    <a:pt x="69900" y="10097"/>
                  </a:cubicBezTo>
                  <a:cubicBezTo>
                    <a:pt x="69900" y="15533"/>
                    <a:pt x="65240" y="20193"/>
                    <a:pt x="59804" y="20193"/>
                  </a:cubicBezTo>
                  <a:lnTo>
                    <a:pt x="59804" y="20193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02" name="Forma Livre: Forma 401">
              <a:extLst>
                <a:ext uri="{FF2B5EF4-FFF2-40B4-BE49-F238E27FC236}">
                  <a16:creationId xmlns:a16="http://schemas.microsoft.com/office/drawing/2014/main" id="{B6451DE0-6266-48E0-B55C-D994D36002C8}"/>
                </a:ext>
              </a:extLst>
            </p:cNvPr>
            <p:cNvSpPr/>
            <p:nvPr/>
          </p:nvSpPr>
          <p:spPr>
            <a:xfrm>
              <a:off x="497759" y="4100819"/>
              <a:ext cx="20193" cy="69900"/>
            </a:xfrm>
            <a:custGeom>
              <a:avLst/>
              <a:gdLst>
                <a:gd name="connsiteX0" fmla="*/ 10097 w 20193"/>
                <a:gd name="connsiteY0" fmla="*/ 69900 h 69900"/>
                <a:gd name="connsiteX1" fmla="*/ 0 w 20193"/>
                <a:gd name="connsiteY1" fmla="*/ 59804 h 69900"/>
                <a:gd name="connsiteX2" fmla="*/ 0 w 20193"/>
                <a:gd name="connsiteY2" fmla="*/ 10097 h 69900"/>
                <a:gd name="connsiteX3" fmla="*/ 10097 w 20193"/>
                <a:gd name="connsiteY3" fmla="*/ 0 h 69900"/>
                <a:gd name="connsiteX4" fmla="*/ 20193 w 20193"/>
                <a:gd name="connsiteY4" fmla="*/ 10097 h 69900"/>
                <a:gd name="connsiteX5" fmla="*/ 20193 w 20193"/>
                <a:gd name="connsiteY5" fmla="*/ 59804 h 69900"/>
                <a:gd name="connsiteX6" fmla="*/ 10097 w 20193"/>
                <a:gd name="connsiteY6" fmla="*/ 69900 h 69900"/>
                <a:gd name="connsiteX7" fmla="*/ 10097 w 20193"/>
                <a:gd name="connsiteY7" fmla="*/ 69900 h 69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93" h="69900">
                  <a:moveTo>
                    <a:pt x="10097" y="69900"/>
                  </a:moveTo>
                  <a:cubicBezTo>
                    <a:pt x="4660" y="69900"/>
                    <a:pt x="0" y="65241"/>
                    <a:pt x="0" y="59804"/>
                  </a:cubicBezTo>
                  <a:lnTo>
                    <a:pt x="0" y="10097"/>
                  </a:lnTo>
                  <a:cubicBezTo>
                    <a:pt x="0" y="4660"/>
                    <a:pt x="4660" y="0"/>
                    <a:pt x="10097" y="0"/>
                  </a:cubicBezTo>
                  <a:cubicBezTo>
                    <a:pt x="15533" y="0"/>
                    <a:pt x="20193" y="4660"/>
                    <a:pt x="20193" y="10097"/>
                  </a:cubicBezTo>
                  <a:lnTo>
                    <a:pt x="20193" y="59804"/>
                  </a:lnTo>
                  <a:cubicBezTo>
                    <a:pt x="20193" y="65241"/>
                    <a:pt x="15533" y="69900"/>
                    <a:pt x="10097" y="69900"/>
                  </a:cubicBezTo>
                  <a:lnTo>
                    <a:pt x="10097" y="69900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03" name="Forma Livre: Forma 402">
              <a:extLst>
                <a:ext uri="{FF2B5EF4-FFF2-40B4-BE49-F238E27FC236}">
                  <a16:creationId xmlns:a16="http://schemas.microsoft.com/office/drawing/2014/main" id="{75DAF26B-024F-4DC9-9BBF-25D8D3486DD4}"/>
                </a:ext>
              </a:extLst>
            </p:cNvPr>
            <p:cNvSpPr/>
            <p:nvPr/>
          </p:nvSpPr>
          <p:spPr>
            <a:xfrm>
              <a:off x="497759" y="3818888"/>
              <a:ext cx="20193" cy="69900"/>
            </a:xfrm>
            <a:custGeom>
              <a:avLst/>
              <a:gdLst>
                <a:gd name="connsiteX0" fmla="*/ 10097 w 20193"/>
                <a:gd name="connsiteY0" fmla="*/ 69900 h 69900"/>
                <a:gd name="connsiteX1" fmla="*/ 0 w 20193"/>
                <a:gd name="connsiteY1" fmla="*/ 59803 h 69900"/>
                <a:gd name="connsiteX2" fmla="*/ 0 w 20193"/>
                <a:gd name="connsiteY2" fmla="*/ 10097 h 69900"/>
                <a:gd name="connsiteX3" fmla="*/ 10097 w 20193"/>
                <a:gd name="connsiteY3" fmla="*/ 0 h 69900"/>
                <a:gd name="connsiteX4" fmla="*/ 20193 w 20193"/>
                <a:gd name="connsiteY4" fmla="*/ 10097 h 69900"/>
                <a:gd name="connsiteX5" fmla="*/ 20193 w 20193"/>
                <a:gd name="connsiteY5" fmla="*/ 59803 h 69900"/>
                <a:gd name="connsiteX6" fmla="*/ 10097 w 20193"/>
                <a:gd name="connsiteY6" fmla="*/ 69900 h 69900"/>
                <a:gd name="connsiteX7" fmla="*/ 10097 w 20193"/>
                <a:gd name="connsiteY7" fmla="*/ 69900 h 69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93" h="69900">
                  <a:moveTo>
                    <a:pt x="10097" y="69900"/>
                  </a:moveTo>
                  <a:cubicBezTo>
                    <a:pt x="4660" y="69900"/>
                    <a:pt x="0" y="65240"/>
                    <a:pt x="0" y="59803"/>
                  </a:cubicBezTo>
                  <a:lnTo>
                    <a:pt x="0" y="10097"/>
                  </a:lnTo>
                  <a:cubicBezTo>
                    <a:pt x="0" y="4660"/>
                    <a:pt x="4660" y="0"/>
                    <a:pt x="10097" y="0"/>
                  </a:cubicBezTo>
                  <a:cubicBezTo>
                    <a:pt x="15533" y="0"/>
                    <a:pt x="20193" y="4660"/>
                    <a:pt x="20193" y="10097"/>
                  </a:cubicBezTo>
                  <a:lnTo>
                    <a:pt x="20193" y="59803"/>
                  </a:lnTo>
                  <a:cubicBezTo>
                    <a:pt x="20193" y="65240"/>
                    <a:pt x="15533" y="69900"/>
                    <a:pt x="10097" y="69900"/>
                  </a:cubicBezTo>
                  <a:lnTo>
                    <a:pt x="10097" y="69900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04" name="Forma Livre: Forma 403">
              <a:extLst>
                <a:ext uri="{FF2B5EF4-FFF2-40B4-BE49-F238E27FC236}">
                  <a16:creationId xmlns:a16="http://schemas.microsoft.com/office/drawing/2014/main" id="{50E5D990-D08F-42BF-B8E4-9D582B743AF1}"/>
                </a:ext>
              </a:extLst>
            </p:cNvPr>
            <p:cNvSpPr/>
            <p:nvPr/>
          </p:nvSpPr>
          <p:spPr>
            <a:xfrm>
              <a:off x="171389" y="3937059"/>
              <a:ext cx="394716" cy="393654"/>
            </a:xfrm>
            <a:custGeom>
              <a:avLst/>
              <a:gdLst>
                <a:gd name="connsiteX0" fmla="*/ 47545 w 394716"/>
                <a:gd name="connsiteY0" fmla="*/ 393655 h 393654"/>
                <a:gd name="connsiteX1" fmla="*/ 13372 w 394716"/>
                <a:gd name="connsiteY1" fmla="*/ 380452 h 393654"/>
                <a:gd name="connsiteX2" fmla="*/ 945 w 394716"/>
                <a:gd name="connsiteY2" fmla="*/ 336958 h 393654"/>
                <a:gd name="connsiteX3" fmla="*/ 22692 w 394716"/>
                <a:gd name="connsiteY3" fmla="*/ 296571 h 393654"/>
                <a:gd name="connsiteX4" fmla="*/ 297633 w 394716"/>
                <a:gd name="connsiteY4" fmla="*/ 21630 h 393654"/>
                <a:gd name="connsiteX5" fmla="*/ 381513 w 394716"/>
                <a:gd name="connsiteY5" fmla="*/ 12310 h 393654"/>
                <a:gd name="connsiteX6" fmla="*/ 394717 w 394716"/>
                <a:gd name="connsiteY6" fmla="*/ 46483 h 393654"/>
                <a:gd name="connsiteX7" fmla="*/ 372193 w 394716"/>
                <a:gd name="connsiteY7" fmla="*/ 96190 h 393654"/>
                <a:gd name="connsiteX8" fmla="*/ 97252 w 394716"/>
                <a:gd name="connsiteY8" fmla="*/ 371131 h 393654"/>
                <a:gd name="connsiteX9" fmla="*/ 47545 w 394716"/>
                <a:gd name="connsiteY9" fmla="*/ 393655 h 393654"/>
                <a:gd name="connsiteX10" fmla="*/ 47545 w 394716"/>
                <a:gd name="connsiteY10" fmla="*/ 393655 h 393654"/>
                <a:gd name="connsiteX11" fmla="*/ 347340 w 394716"/>
                <a:gd name="connsiteY11" fmla="*/ 40269 h 393654"/>
                <a:gd name="connsiteX12" fmla="*/ 326370 w 394716"/>
                <a:gd name="connsiteY12" fmla="*/ 50367 h 393654"/>
                <a:gd name="connsiteX13" fmla="*/ 51428 w 394716"/>
                <a:gd name="connsiteY13" fmla="*/ 325308 h 393654"/>
                <a:gd name="connsiteX14" fmla="*/ 41332 w 394716"/>
                <a:gd name="connsiteY14" fmla="*/ 343171 h 393654"/>
                <a:gd name="connsiteX15" fmla="*/ 42108 w 394716"/>
                <a:gd name="connsiteY15" fmla="*/ 350938 h 393654"/>
                <a:gd name="connsiteX16" fmla="*/ 46768 w 394716"/>
                <a:gd name="connsiteY16" fmla="*/ 352491 h 393654"/>
                <a:gd name="connsiteX17" fmla="*/ 67738 w 394716"/>
                <a:gd name="connsiteY17" fmla="*/ 342394 h 393654"/>
                <a:gd name="connsiteX18" fmla="*/ 342680 w 394716"/>
                <a:gd name="connsiteY18" fmla="*/ 67453 h 393654"/>
                <a:gd name="connsiteX19" fmla="*/ 352777 w 394716"/>
                <a:gd name="connsiteY19" fmla="*/ 46483 h 393654"/>
                <a:gd name="connsiteX20" fmla="*/ 351223 w 394716"/>
                <a:gd name="connsiteY20" fmla="*/ 41823 h 393654"/>
                <a:gd name="connsiteX21" fmla="*/ 347340 w 394716"/>
                <a:gd name="connsiteY21" fmla="*/ 40269 h 393654"/>
                <a:gd name="connsiteX22" fmla="*/ 347340 w 394716"/>
                <a:gd name="connsiteY22" fmla="*/ 40269 h 393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94716" h="393654">
                  <a:moveTo>
                    <a:pt x="47545" y="393655"/>
                  </a:moveTo>
                  <a:cubicBezTo>
                    <a:pt x="34342" y="393655"/>
                    <a:pt x="22692" y="388995"/>
                    <a:pt x="13372" y="380452"/>
                  </a:cubicBezTo>
                  <a:cubicBezTo>
                    <a:pt x="2498" y="369578"/>
                    <a:pt x="-2162" y="354045"/>
                    <a:pt x="945" y="336958"/>
                  </a:cubicBezTo>
                  <a:cubicBezTo>
                    <a:pt x="3275" y="322201"/>
                    <a:pt x="11042" y="308221"/>
                    <a:pt x="22692" y="296571"/>
                  </a:cubicBezTo>
                  <a:lnTo>
                    <a:pt x="297633" y="21630"/>
                  </a:lnTo>
                  <a:cubicBezTo>
                    <a:pt x="322486" y="-3224"/>
                    <a:pt x="361320" y="-7107"/>
                    <a:pt x="381513" y="12310"/>
                  </a:cubicBezTo>
                  <a:cubicBezTo>
                    <a:pt x="390057" y="20853"/>
                    <a:pt x="394717" y="33280"/>
                    <a:pt x="394717" y="46483"/>
                  </a:cubicBezTo>
                  <a:cubicBezTo>
                    <a:pt x="394717" y="64347"/>
                    <a:pt x="386173" y="82210"/>
                    <a:pt x="372193" y="96190"/>
                  </a:cubicBezTo>
                  <a:lnTo>
                    <a:pt x="97252" y="371131"/>
                  </a:lnTo>
                  <a:cubicBezTo>
                    <a:pt x="83272" y="385111"/>
                    <a:pt x="64632" y="393655"/>
                    <a:pt x="47545" y="393655"/>
                  </a:cubicBezTo>
                  <a:lnTo>
                    <a:pt x="47545" y="393655"/>
                  </a:lnTo>
                  <a:close/>
                  <a:moveTo>
                    <a:pt x="347340" y="40269"/>
                  </a:moveTo>
                  <a:cubicBezTo>
                    <a:pt x="341903" y="40269"/>
                    <a:pt x="334136" y="42600"/>
                    <a:pt x="326370" y="50367"/>
                  </a:cubicBezTo>
                  <a:lnTo>
                    <a:pt x="51428" y="325308"/>
                  </a:lnTo>
                  <a:cubicBezTo>
                    <a:pt x="45992" y="330744"/>
                    <a:pt x="42108" y="336958"/>
                    <a:pt x="41332" y="343171"/>
                  </a:cubicBezTo>
                  <a:cubicBezTo>
                    <a:pt x="40555" y="346278"/>
                    <a:pt x="41332" y="349385"/>
                    <a:pt x="42108" y="350938"/>
                  </a:cubicBezTo>
                  <a:cubicBezTo>
                    <a:pt x="43662" y="352491"/>
                    <a:pt x="45992" y="352491"/>
                    <a:pt x="46768" y="352491"/>
                  </a:cubicBezTo>
                  <a:cubicBezTo>
                    <a:pt x="52205" y="352491"/>
                    <a:pt x="59972" y="350161"/>
                    <a:pt x="67738" y="342394"/>
                  </a:cubicBezTo>
                  <a:lnTo>
                    <a:pt x="342680" y="67453"/>
                  </a:lnTo>
                  <a:cubicBezTo>
                    <a:pt x="350447" y="59686"/>
                    <a:pt x="352777" y="51920"/>
                    <a:pt x="352777" y="46483"/>
                  </a:cubicBezTo>
                  <a:cubicBezTo>
                    <a:pt x="352777" y="44930"/>
                    <a:pt x="352777" y="42600"/>
                    <a:pt x="351223" y="41823"/>
                  </a:cubicBezTo>
                  <a:cubicBezTo>
                    <a:pt x="350447" y="40269"/>
                    <a:pt x="348117" y="40269"/>
                    <a:pt x="347340" y="40269"/>
                  </a:cubicBezTo>
                  <a:lnTo>
                    <a:pt x="347340" y="40269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405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9486500" y="2703982"/>
            <a:ext cx="398613" cy="167389"/>
            <a:chOff x="10264389" y="2694269"/>
            <a:chExt cx="490125" cy="205817"/>
          </a:xfrm>
          <a:solidFill>
            <a:srgbClr val="B1B1A1"/>
          </a:solidFill>
        </p:grpSpPr>
        <p:sp>
          <p:nvSpPr>
            <p:cNvPr id="406" name="Forma Livre: Forma 405">
              <a:extLst>
                <a:ext uri="{FF2B5EF4-FFF2-40B4-BE49-F238E27FC236}">
                  <a16:creationId xmlns:a16="http://schemas.microsoft.com/office/drawing/2014/main" id="{420E95F7-E437-42A1-AC07-EE3CD65259E7}"/>
                </a:ext>
              </a:extLst>
            </p:cNvPr>
            <p:cNvSpPr/>
            <p:nvPr/>
          </p:nvSpPr>
          <p:spPr>
            <a:xfrm>
              <a:off x="10264389" y="2694269"/>
              <a:ext cx="206595" cy="205817"/>
            </a:xfrm>
            <a:custGeom>
              <a:avLst/>
              <a:gdLst>
                <a:gd name="connsiteX0" fmla="*/ 103298 w 206595"/>
                <a:gd name="connsiteY0" fmla="*/ 205818 h 205817"/>
                <a:gd name="connsiteX1" fmla="*/ 0 w 206595"/>
                <a:gd name="connsiteY1" fmla="*/ 102521 h 205817"/>
                <a:gd name="connsiteX2" fmla="*/ 103298 w 206595"/>
                <a:gd name="connsiteY2" fmla="*/ 0 h 205817"/>
                <a:gd name="connsiteX3" fmla="*/ 206595 w 206595"/>
                <a:gd name="connsiteY3" fmla="*/ 102521 h 205817"/>
                <a:gd name="connsiteX4" fmla="*/ 103298 w 206595"/>
                <a:gd name="connsiteY4" fmla="*/ 205818 h 205817"/>
                <a:gd name="connsiteX5" fmla="*/ 103298 w 206595"/>
                <a:gd name="connsiteY5" fmla="*/ 205818 h 205817"/>
                <a:gd name="connsiteX6" fmla="*/ 103298 w 206595"/>
                <a:gd name="connsiteY6" fmla="*/ 41164 h 205817"/>
                <a:gd name="connsiteX7" fmla="*/ 41164 w 206595"/>
                <a:gd name="connsiteY7" fmla="*/ 103297 h 205817"/>
                <a:gd name="connsiteX8" fmla="*/ 103298 w 206595"/>
                <a:gd name="connsiteY8" fmla="*/ 165431 h 205817"/>
                <a:gd name="connsiteX9" fmla="*/ 165431 w 206595"/>
                <a:gd name="connsiteY9" fmla="*/ 103297 h 205817"/>
                <a:gd name="connsiteX10" fmla="*/ 103298 w 206595"/>
                <a:gd name="connsiteY10" fmla="*/ 41164 h 205817"/>
                <a:gd name="connsiteX11" fmla="*/ 103298 w 206595"/>
                <a:gd name="connsiteY11" fmla="*/ 41164 h 205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595" h="205817">
                  <a:moveTo>
                    <a:pt x="103298" y="205818"/>
                  </a:moveTo>
                  <a:cubicBezTo>
                    <a:pt x="46600" y="205818"/>
                    <a:pt x="0" y="159994"/>
                    <a:pt x="0" y="102521"/>
                  </a:cubicBezTo>
                  <a:cubicBezTo>
                    <a:pt x="0" y="45824"/>
                    <a:pt x="45824" y="0"/>
                    <a:pt x="103298" y="0"/>
                  </a:cubicBezTo>
                  <a:cubicBezTo>
                    <a:pt x="159995" y="0"/>
                    <a:pt x="206595" y="45824"/>
                    <a:pt x="206595" y="102521"/>
                  </a:cubicBezTo>
                  <a:cubicBezTo>
                    <a:pt x="206595" y="159217"/>
                    <a:pt x="159995" y="205818"/>
                    <a:pt x="103298" y="205818"/>
                  </a:cubicBezTo>
                  <a:lnTo>
                    <a:pt x="103298" y="205818"/>
                  </a:lnTo>
                  <a:close/>
                  <a:moveTo>
                    <a:pt x="103298" y="41164"/>
                  </a:moveTo>
                  <a:cubicBezTo>
                    <a:pt x="69124" y="41164"/>
                    <a:pt x="41164" y="69124"/>
                    <a:pt x="41164" y="103297"/>
                  </a:cubicBezTo>
                  <a:cubicBezTo>
                    <a:pt x="41164" y="137471"/>
                    <a:pt x="69124" y="165431"/>
                    <a:pt x="103298" y="165431"/>
                  </a:cubicBezTo>
                  <a:cubicBezTo>
                    <a:pt x="137471" y="165431"/>
                    <a:pt x="165431" y="137471"/>
                    <a:pt x="165431" y="103297"/>
                  </a:cubicBezTo>
                  <a:cubicBezTo>
                    <a:pt x="165431" y="68347"/>
                    <a:pt x="137471" y="41164"/>
                    <a:pt x="103298" y="41164"/>
                  </a:cubicBezTo>
                  <a:lnTo>
                    <a:pt x="103298" y="41164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07" name="Forma Livre: Forma 406">
              <a:extLst>
                <a:ext uri="{FF2B5EF4-FFF2-40B4-BE49-F238E27FC236}">
                  <a16:creationId xmlns:a16="http://schemas.microsoft.com/office/drawing/2014/main" id="{180236D1-A12C-4245-A34F-D7323B5BCF6F}"/>
                </a:ext>
              </a:extLst>
            </p:cNvPr>
            <p:cNvSpPr/>
            <p:nvPr/>
          </p:nvSpPr>
          <p:spPr>
            <a:xfrm>
              <a:off x="10429821" y="2777373"/>
              <a:ext cx="324693" cy="40386"/>
            </a:xfrm>
            <a:custGeom>
              <a:avLst/>
              <a:gdLst>
                <a:gd name="connsiteX0" fmla="*/ 304454 w 324693"/>
                <a:gd name="connsiteY0" fmla="*/ 40387 h 40386"/>
                <a:gd name="connsiteX1" fmla="*/ 20193 w 324693"/>
                <a:gd name="connsiteY1" fmla="*/ 40387 h 40386"/>
                <a:gd name="connsiteX2" fmla="*/ 0 w 324693"/>
                <a:gd name="connsiteY2" fmla="*/ 20193 h 40386"/>
                <a:gd name="connsiteX3" fmla="*/ 20193 w 324693"/>
                <a:gd name="connsiteY3" fmla="*/ 0 h 40386"/>
                <a:gd name="connsiteX4" fmla="*/ 304454 w 324693"/>
                <a:gd name="connsiteY4" fmla="*/ 0 h 40386"/>
                <a:gd name="connsiteX5" fmla="*/ 324649 w 324693"/>
                <a:gd name="connsiteY5" fmla="*/ 20193 h 40386"/>
                <a:gd name="connsiteX6" fmla="*/ 304454 w 324693"/>
                <a:gd name="connsiteY6" fmla="*/ 40387 h 40386"/>
                <a:gd name="connsiteX7" fmla="*/ 304454 w 324693"/>
                <a:gd name="connsiteY7" fmla="*/ 40387 h 4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4693" h="40386">
                  <a:moveTo>
                    <a:pt x="304454" y="40387"/>
                  </a:moveTo>
                  <a:lnTo>
                    <a:pt x="20193" y="40387"/>
                  </a:lnTo>
                  <a:cubicBezTo>
                    <a:pt x="8543" y="40387"/>
                    <a:pt x="0" y="31067"/>
                    <a:pt x="0" y="20193"/>
                  </a:cubicBezTo>
                  <a:cubicBezTo>
                    <a:pt x="0" y="8543"/>
                    <a:pt x="9320" y="0"/>
                    <a:pt x="20193" y="0"/>
                  </a:cubicBezTo>
                  <a:lnTo>
                    <a:pt x="304454" y="0"/>
                  </a:lnTo>
                  <a:cubicBezTo>
                    <a:pt x="316105" y="0"/>
                    <a:pt x="324649" y="9320"/>
                    <a:pt x="324649" y="20193"/>
                  </a:cubicBezTo>
                  <a:cubicBezTo>
                    <a:pt x="325425" y="31067"/>
                    <a:pt x="316105" y="40387"/>
                    <a:pt x="304454" y="40387"/>
                  </a:cubicBezTo>
                  <a:lnTo>
                    <a:pt x="304454" y="40387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08" name="Forma Livre: Forma 407">
              <a:extLst>
                <a:ext uri="{FF2B5EF4-FFF2-40B4-BE49-F238E27FC236}">
                  <a16:creationId xmlns:a16="http://schemas.microsoft.com/office/drawing/2014/main" id="{2F614008-9B69-4D6A-9B42-AABFB5804DBC}"/>
                </a:ext>
              </a:extLst>
            </p:cNvPr>
            <p:cNvSpPr/>
            <p:nvPr/>
          </p:nvSpPr>
          <p:spPr>
            <a:xfrm>
              <a:off x="10680686" y="2776596"/>
              <a:ext cx="40431" cy="85433"/>
            </a:xfrm>
            <a:custGeom>
              <a:avLst/>
              <a:gdLst>
                <a:gd name="connsiteX0" fmla="*/ 20193 w 40431"/>
                <a:gd name="connsiteY0" fmla="*/ 85434 h 85433"/>
                <a:gd name="connsiteX1" fmla="*/ 0 w 40431"/>
                <a:gd name="connsiteY1" fmla="*/ 65240 h 85433"/>
                <a:gd name="connsiteX2" fmla="*/ 0 w 40431"/>
                <a:gd name="connsiteY2" fmla="*/ 20193 h 85433"/>
                <a:gd name="connsiteX3" fmla="*/ 20193 w 40431"/>
                <a:gd name="connsiteY3" fmla="*/ 0 h 85433"/>
                <a:gd name="connsiteX4" fmla="*/ 40386 w 40431"/>
                <a:gd name="connsiteY4" fmla="*/ 20193 h 85433"/>
                <a:gd name="connsiteX5" fmla="*/ 40386 w 40431"/>
                <a:gd name="connsiteY5" fmla="*/ 65240 h 85433"/>
                <a:gd name="connsiteX6" fmla="*/ 20193 w 40431"/>
                <a:gd name="connsiteY6" fmla="*/ 85434 h 85433"/>
                <a:gd name="connsiteX7" fmla="*/ 20193 w 40431"/>
                <a:gd name="connsiteY7" fmla="*/ 85434 h 85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431" h="85433">
                  <a:moveTo>
                    <a:pt x="20193" y="85434"/>
                  </a:moveTo>
                  <a:cubicBezTo>
                    <a:pt x="8543" y="85434"/>
                    <a:pt x="0" y="76114"/>
                    <a:pt x="0" y="65240"/>
                  </a:cubicBezTo>
                  <a:lnTo>
                    <a:pt x="0" y="20193"/>
                  </a:lnTo>
                  <a:cubicBezTo>
                    <a:pt x="0" y="8543"/>
                    <a:pt x="9320" y="0"/>
                    <a:pt x="20193" y="0"/>
                  </a:cubicBezTo>
                  <a:cubicBezTo>
                    <a:pt x="31843" y="0"/>
                    <a:pt x="40386" y="9320"/>
                    <a:pt x="40386" y="20193"/>
                  </a:cubicBezTo>
                  <a:lnTo>
                    <a:pt x="40386" y="65240"/>
                  </a:lnTo>
                  <a:cubicBezTo>
                    <a:pt x="41163" y="76890"/>
                    <a:pt x="31843" y="85434"/>
                    <a:pt x="20193" y="85434"/>
                  </a:cubicBezTo>
                  <a:lnTo>
                    <a:pt x="20193" y="85434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09" name="Forma Livre: Forma 408">
              <a:extLst>
                <a:ext uri="{FF2B5EF4-FFF2-40B4-BE49-F238E27FC236}">
                  <a16:creationId xmlns:a16="http://schemas.microsoft.com/office/drawing/2014/main" id="{4ECBD199-C993-44CC-87E9-AF9BABACA5E4}"/>
                </a:ext>
              </a:extLst>
            </p:cNvPr>
            <p:cNvSpPr/>
            <p:nvPr/>
          </p:nvSpPr>
          <p:spPr>
            <a:xfrm>
              <a:off x="10619328" y="2776596"/>
              <a:ext cx="40386" cy="85433"/>
            </a:xfrm>
            <a:custGeom>
              <a:avLst/>
              <a:gdLst>
                <a:gd name="connsiteX0" fmla="*/ 20193 w 40386"/>
                <a:gd name="connsiteY0" fmla="*/ 85434 h 85433"/>
                <a:gd name="connsiteX1" fmla="*/ 0 w 40386"/>
                <a:gd name="connsiteY1" fmla="*/ 65240 h 85433"/>
                <a:gd name="connsiteX2" fmla="*/ 0 w 40386"/>
                <a:gd name="connsiteY2" fmla="*/ 20193 h 85433"/>
                <a:gd name="connsiteX3" fmla="*/ 20193 w 40386"/>
                <a:gd name="connsiteY3" fmla="*/ 0 h 85433"/>
                <a:gd name="connsiteX4" fmla="*/ 40386 w 40386"/>
                <a:gd name="connsiteY4" fmla="*/ 20193 h 85433"/>
                <a:gd name="connsiteX5" fmla="*/ 40386 w 40386"/>
                <a:gd name="connsiteY5" fmla="*/ 65240 h 85433"/>
                <a:gd name="connsiteX6" fmla="*/ 20193 w 40386"/>
                <a:gd name="connsiteY6" fmla="*/ 85434 h 85433"/>
                <a:gd name="connsiteX7" fmla="*/ 20193 w 40386"/>
                <a:gd name="connsiteY7" fmla="*/ 85434 h 85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86" h="85433">
                  <a:moveTo>
                    <a:pt x="20193" y="85434"/>
                  </a:moveTo>
                  <a:cubicBezTo>
                    <a:pt x="8543" y="85434"/>
                    <a:pt x="0" y="76114"/>
                    <a:pt x="0" y="65240"/>
                  </a:cubicBezTo>
                  <a:lnTo>
                    <a:pt x="0" y="20193"/>
                  </a:lnTo>
                  <a:cubicBezTo>
                    <a:pt x="0" y="8543"/>
                    <a:pt x="9320" y="0"/>
                    <a:pt x="20193" y="0"/>
                  </a:cubicBezTo>
                  <a:cubicBezTo>
                    <a:pt x="31843" y="0"/>
                    <a:pt x="40386" y="9320"/>
                    <a:pt x="40386" y="20193"/>
                  </a:cubicBezTo>
                  <a:lnTo>
                    <a:pt x="40386" y="65240"/>
                  </a:lnTo>
                  <a:cubicBezTo>
                    <a:pt x="40386" y="76890"/>
                    <a:pt x="31067" y="85434"/>
                    <a:pt x="20193" y="85434"/>
                  </a:cubicBezTo>
                  <a:lnTo>
                    <a:pt x="20193" y="85434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sp>
        <p:nvSpPr>
          <p:cNvPr id="410" name="Forma Livre: Forma 409">
            <a:extLst>
              <a:ext uri="{FF2B5EF4-FFF2-40B4-BE49-F238E27FC236}">
                <a16:creationId xmlns:a16="http://schemas.microsoft.com/office/drawing/2014/main" id="{156A2C9D-61F9-453F-B592-796B8B3DFCAB}"/>
              </a:ext>
            </a:extLst>
          </p:cNvPr>
          <p:cNvSpPr/>
          <p:nvPr/>
        </p:nvSpPr>
        <p:spPr>
          <a:xfrm>
            <a:off x="10507890" y="2585705"/>
            <a:ext cx="416262" cy="405050"/>
          </a:xfrm>
          <a:custGeom>
            <a:avLst/>
            <a:gdLst>
              <a:gd name="connsiteX0" fmla="*/ 199604 w 511826"/>
              <a:gd name="connsiteY0" fmla="*/ 498040 h 498039"/>
              <a:gd name="connsiteX1" fmla="*/ 107180 w 511826"/>
              <a:gd name="connsiteY1" fmla="*/ 459983 h 498039"/>
              <a:gd name="connsiteX2" fmla="*/ 38057 w 511826"/>
              <a:gd name="connsiteY2" fmla="*/ 390859 h 498039"/>
              <a:gd name="connsiteX3" fmla="*/ 0 w 511826"/>
              <a:gd name="connsiteY3" fmla="*/ 298436 h 498039"/>
              <a:gd name="connsiteX4" fmla="*/ 38057 w 511826"/>
              <a:gd name="connsiteY4" fmla="*/ 206012 h 498039"/>
              <a:gd name="connsiteX5" fmla="*/ 130480 w 511826"/>
              <a:gd name="connsiteY5" fmla="*/ 167955 h 498039"/>
              <a:gd name="connsiteX6" fmla="*/ 209701 w 511826"/>
              <a:gd name="connsiteY6" fmla="*/ 194362 h 498039"/>
              <a:gd name="connsiteX7" fmla="*/ 386005 w 511826"/>
              <a:gd name="connsiteY7" fmla="*/ 18058 h 498039"/>
              <a:gd name="connsiteX8" fmla="*/ 476876 w 511826"/>
              <a:gd name="connsiteY8" fmla="*/ 18058 h 498039"/>
              <a:gd name="connsiteX9" fmla="*/ 490079 w 511826"/>
              <a:gd name="connsiteY9" fmla="*/ 89511 h 498039"/>
              <a:gd name="connsiteX10" fmla="*/ 497069 w 511826"/>
              <a:gd name="connsiteY10" fmla="*/ 96501 h 498039"/>
              <a:gd name="connsiteX11" fmla="*/ 511826 w 511826"/>
              <a:gd name="connsiteY11" fmla="*/ 133005 h 498039"/>
              <a:gd name="connsiteX12" fmla="*/ 497069 w 511826"/>
              <a:gd name="connsiteY12" fmla="*/ 169508 h 498039"/>
              <a:gd name="connsiteX13" fmla="*/ 466002 w 511826"/>
              <a:gd name="connsiteY13" fmla="*/ 184265 h 498039"/>
              <a:gd name="connsiteX14" fmla="*/ 450469 w 511826"/>
              <a:gd name="connsiteY14" fmla="*/ 214555 h 498039"/>
              <a:gd name="connsiteX15" fmla="*/ 374355 w 511826"/>
              <a:gd name="connsiteY15" fmla="*/ 214555 h 498039"/>
              <a:gd name="connsiteX16" fmla="*/ 372802 w 511826"/>
              <a:gd name="connsiteY16" fmla="*/ 213002 h 498039"/>
              <a:gd name="connsiteX17" fmla="*/ 300571 w 511826"/>
              <a:gd name="connsiteY17" fmla="*/ 285232 h 498039"/>
              <a:gd name="connsiteX18" fmla="*/ 292028 w 511826"/>
              <a:gd name="connsiteY18" fmla="*/ 461537 h 498039"/>
              <a:gd name="connsiteX19" fmla="*/ 199604 w 511826"/>
              <a:gd name="connsiteY19" fmla="*/ 498040 h 498039"/>
              <a:gd name="connsiteX20" fmla="*/ 199604 w 511826"/>
              <a:gd name="connsiteY20" fmla="*/ 498040 h 498039"/>
              <a:gd name="connsiteX21" fmla="*/ 130480 w 511826"/>
              <a:gd name="connsiteY21" fmla="*/ 207565 h 498039"/>
              <a:gd name="connsiteX22" fmla="*/ 66793 w 511826"/>
              <a:gd name="connsiteY22" fmla="*/ 233972 h 498039"/>
              <a:gd name="connsiteX23" fmla="*/ 40386 w 511826"/>
              <a:gd name="connsiteY23" fmla="*/ 297659 h 498039"/>
              <a:gd name="connsiteX24" fmla="*/ 66793 w 511826"/>
              <a:gd name="connsiteY24" fmla="*/ 361346 h 498039"/>
              <a:gd name="connsiteX25" fmla="*/ 135917 w 511826"/>
              <a:gd name="connsiteY25" fmla="*/ 430470 h 498039"/>
              <a:gd name="connsiteX26" fmla="*/ 199604 w 511826"/>
              <a:gd name="connsiteY26" fmla="*/ 456876 h 498039"/>
              <a:gd name="connsiteX27" fmla="*/ 263291 w 511826"/>
              <a:gd name="connsiteY27" fmla="*/ 430470 h 498039"/>
              <a:gd name="connsiteX28" fmla="*/ 263291 w 511826"/>
              <a:gd name="connsiteY28" fmla="*/ 303096 h 498039"/>
              <a:gd name="connsiteX29" fmla="*/ 257854 w 511826"/>
              <a:gd name="connsiteY29" fmla="*/ 297659 h 498039"/>
              <a:gd name="connsiteX30" fmla="*/ 257854 w 511826"/>
              <a:gd name="connsiteY30" fmla="*/ 268922 h 498039"/>
              <a:gd name="connsiteX31" fmla="*/ 358821 w 511826"/>
              <a:gd name="connsiteY31" fmla="*/ 167955 h 498039"/>
              <a:gd name="connsiteX32" fmla="*/ 387559 w 511826"/>
              <a:gd name="connsiteY32" fmla="*/ 167955 h 498039"/>
              <a:gd name="connsiteX33" fmla="*/ 403092 w 511826"/>
              <a:gd name="connsiteY33" fmla="*/ 183488 h 498039"/>
              <a:gd name="connsiteX34" fmla="*/ 420955 w 511826"/>
              <a:gd name="connsiteY34" fmla="*/ 183488 h 498039"/>
              <a:gd name="connsiteX35" fmla="*/ 420955 w 511826"/>
              <a:gd name="connsiteY35" fmla="*/ 165625 h 498039"/>
              <a:gd name="connsiteX36" fmla="*/ 405422 w 511826"/>
              <a:gd name="connsiteY36" fmla="*/ 150092 h 498039"/>
              <a:gd name="connsiteX37" fmla="*/ 399209 w 511826"/>
              <a:gd name="connsiteY37" fmla="*/ 135335 h 498039"/>
              <a:gd name="connsiteX38" fmla="*/ 405422 w 511826"/>
              <a:gd name="connsiteY38" fmla="*/ 120578 h 498039"/>
              <a:gd name="connsiteX39" fmla="*/ 434935 w 511826"/>
              <a:gd name="connsiteY39" fmla="*/ 120578 h 498039"/>
              <a:gd name="connsiteX40" fmla="*/ 452798 w 511826"/>
              <a:gd name="connsiteY40" fmla="*/ 138442 h 498039"/>
              <a:gd name="connsiteX41" fmla="*/ 459789 w 511826"/>
              <a:gd name="connsiteY41" fmla="*/ 141548 h 498039"/>
              <a:gd name="connsiteX42" fmla="*/ 466779 w 511826"/>
              <a:gd name="connsiteY42" fmla="*/ 138442 h 498039"/>
              <a:gd name="connsiteX43" fmla="*/ 469886 w 511826"/>
              <a:gd name="connsiteY43" fmla="*/ 131452 h 498039"/>
              <a:gd name="connsiteX44" fmla="*/ 466779 w 511826"/>
              <a:gd name="connsiteY44" fmla="*/ 124462 h 498039"/>
              <a:gd name="connsiteX45" fmla="*/ 448138 w 511826"/>
              <a:gd name="connsiteY45" fmla="*/ 105821 h 498039"/>
              <a:gd name="connsiteX46" fmla="*/ 447362 w 511826"/>
              <a:gd name="connsiteY46" fmla="*/ 77861 h 498039"/>
              <a:gd name="connsiteX47" fmla="*/ 446586 w 511826"/>
              <a:gd name="connsiteY47" fmla="*/ 46018 h 498039"/>
              <a:gd name="connsiteX48" fmla="*/ 413965 w 511826"/>
              <a:gd name="connsiteY48" fmla="*/ 46018 h 498039"/>
              <a:gd name="connsiteX49" fmla="*/ 223681 w 511826"/>
              <a:gd name="connsiteY49" fmla="*/ 236302 h 498039"/>
              <a:gd name="connsiteX50" fmla="*/ 194944 w 511826"/>
              <a:gd name="connsiteY50" fmla="*/ 236302 h 498039"/>
              <a:gd name="connsiteX51" fmla="*/ 193391 w 511826"/>
              <a:gd name="connsiteY51" fmla="*/ 234749 h 498039"/>
              <a:gd name="connsiteX52" fmla="*/ 130480 w 511826"/>
              <a:gd name="connsiteY52" fmla="*/ 207565 h 498039"/>
              <a:gd name="connsiteX53" fmla="*/ 130480 w 511826"/>
              <a:gd name="connsiteY53" fmla="*/ 207565 h 498039"/>
              <a:gd name="connsiteX54" fmla="*/ 199604 w 511826"/>
              <a:gd name="connsiteY54" fmla="*/ 415713 h 498039"/>
              <a:gd name="connsiteX55" fmla="*/ 165430 w 511826"/>
              <a:gd name="connsiteY55" fmla="*/ 401733 h 498039"/>
              <a:gd name="connsiteX56" fmla="*/ 96307 w 511826"/>
              <a:gd name="connsiteY56" fmla="*/ 332609 h 498039"/>
              <a:gd name="connsiteX57" fmla="*/ 96307 w 511826"/>
              <a:gd name="connsiteY57" fmla="*/ 263486 h 498039"/>
              <a:gd name="connsiteX58" fmla="*/ 165430 w 511826"/>
              <a:gd name="connsiteY58" fmla="*/ 263486 h 498039"/>
              <a:gd name="connsiteX59" fmla="*/ 234554 w 511826"/>
              <a:gd name="connsiteY59" fmla="*/ 332609 h 498039"/>
              <a:gd name="connsiteX60" fmla="*/ 234554 w 511826"/>
              <a:gd name="connsiteY60" fmla="*/ 401733 h 498039"/>
              <a:gd name="connsiteX61" fmla="*/ 199604 w 511826"/>
              <a:gd name="connsiteY61" fmla="*/ 415713 h 498039"/>
              <a:gd name="connsiteX62" fmla="*/ 199604 w 511826"/>
              <a:gd name="connsiteY62" fmla="*/ 415713 h 498039"/>
              <a:gd name="connsiteX63" fmla="*/ 130480 w 511826"/>
              <a:gd name="connsiteY63" fmla="*/ 289892 h 498039"/>
              <a:gd name="connsiteX64" fmla="*/ 125044 w 511826"/>
              <a:gd name="connsiteY64" fmla="*/ 292222 h 498039"/>
              <a:gd name="connsiteX65" fmla="*/ 125044 w 511826"/>
              <a:gd name="connsiteY65" fmla="*/ 303096 h 498039"/>
              <a:gd name="connsiteX66" fmla="*/ 194168 w 511826"/>
              <a:gd name="connsiteY66" fmla="*/ 372219 h 498039"/>
              <a:gd name="connsiteX67" fmla="*/ 205041 w 511826"/>
              <a:gd name="connsiteY67" fmla="*/ 372219 h 498039"/>
              <a:gd name="connsiteX68" fmla="*/ 205041 w 511826"/>
              <a:gd name="connsiteY68" fmla="*/ 361346 h 498039"/>
              <a:gd name="connsiteX69" fmla="*/ 135917 w 511826"/>
              <a:gd name="connsiteY69" fmla="*/ 292222 h 498039"/>
              <a:gd name="connsiteX70" fmla="*/ 130480 w 511826"/>
              <a:gd name="connsiteY70" fmla="*/ 289892 h 498039"/>
              <a:gd name="connsiteX71" fmla="*/ 130480 w 511826"/>
              <a:gd name="connsiteY71" fmla="*/ 289892 h 4980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511826" h="498039">
                <a:moveTo>
                  <a:pt x="199604" y="498040"/>
                </a:moveTo>
                <a:cubicBezTo>
                  <a:pt x="164654" y="498040"/>
                  <a:pt x="131258" y="484060"/>
                  <a:pt x="107180" y="459983"/>
                </a:cubicBezTo>
                <a:lnTo>
                  <a:pt x="38057" y="390859"/>
                </a:lnTo>
                <a:cubicBezTo>
                  <a:pt x="13203" y="366006"/>
                  <a:pt x="0" y="333386"/>
                  <a:pt x="0" y="298436"/>
                </a:cubicBezTo>
                <a:cubicBezTo>
                  <a:pt x="0" y="263486"/>
                  <a:pt x="13979" y="230089"/>
                  <a:pt x="38057" y="206012"/>
                </a:cubicBezTo>
                <a:cubicBezTo>
                  <a:pt x="62910" y="181158"/>
                  <a:pt x="95530" y="167955"/>
                  <a:pt x="130480" y="167955"/>
                </a:cubicBezTo>
                <a:cubicBezTo>
                  <a:pt x="159217" y="167955"/>
                  <a:pt x="187177" y="177275"/>
                  <a:pt x="209701" y="194362"/>
                </a:cubicBezTo>
                <a:lnTo>
                  <a:pt x="386005" y="18058"/>
                </a:lnTo>
                <a:cubicBezTo>
                  <a:pt x="410081" y="-6019"/>
                  <a:pt x="452798" y="-6019"/>
                  <a:pt x="476876" y="18058"/>
                </a:cubicBezTo>
                <a:cubicBezTo>
                  <a:pt x="496293" y="37474"/>
                  <a:pt x="500952" y="65435"/>
                  <a:pt x="490079" y="89511"/>
                </a:cubicBezTo>
                <a:lnTo>
                  <a:pt x="497069" y="96501"/>
                </a:lnTo>
                <a:cubicBezTo>
                  <a:pt x="507165" y="106598"/>
                  <a:pt x="511826" y="119025"/>
                  <a:pt x="511826" y="133005"/>
                </a:cubicBezTo>
                <a:cubicBezTo>
                  <a:pt x="511826" y="146985"/>
                  <a:pt x="506389" y="159412"/>
                  <a:pt x="497069" y="169508"/>
                </a:cubicBezTo>
                <a:cubicBezTo>
                  <a:pt x="488526" y="178052"/>
                  <a:pt x="477652" y="183488"/>
                  <a:pt x="466002" y="184265"/>
                </a:cubicBezTo>
                <a:cubicBezTo>
                  <a:pt x="464448" y="195138"/>
                  <a:pt x="459012" y="206012"/>
                  <a:pt x="450469" y="214555"/>
                </a:cubicBezTo>
                <a:cubicBezTo>
                  <a:pt x="430276" y="234749"/>
                  <a:pt x="394548" y="234749"/>
                  <a:pt x="374355" y="214555"/>
                </a:cubicBezTo>
                <a:lnTo>
                  <a:pt x="372802" y="213002"/>
                </a:lnTo>
                <a:lnTo>
                  <a:pt x="300571" y="285232"/>
                </a:lnTo>
                <a:cubicBezTo>
                  <a:pt x="342511" y="336493"/>
                  <a:pt x="340181" y="413383"/>
                  <a:pt x="292028" y="461537"/>
                </a:cubicBezTo>
                <a:cubicBezTo>
                  <a:pt x="267175" y="484060"/>
                  <a:pt x="234554" y="498040"/>
                  <a:pt x="199604" y="498040"/>
                </a:cubicBezTo>
                <a:lnTo>
                  <a:pt x="199604" y="498040"/>
                </a:lnTo>
                <a:close/>
                <a:moveTo>
                  <a:pt x="130480" y="207565"/>
                </a:moveTo>
                <a:cubicBezTo>
                  <a:pt x="106403" y="207565"/>
                  <a:pt x="83880" y="216885"/>
                  <a:pt x="66793" y="233972"/>
                </a:cubicBezTo>
                <a:cubicBezTo>
                  <a:pt x="49707" y="251059"/>
                  <a:pt x="40386" y="273582"/>
                  <a:pt x="40386" y="297659"/>
                </a:cubicBezTo>
                <a:cubicBezTo>
                  <a:pt x="40386" y="321736"/>
                  <a:pt x="49707" y="344259"/>
                  <a:pt x="66793" y="361346"/>
                </a:cubicBezTo>
                <a:lnTo>
                  <a:pt x="135917" y="430470"/>
                </a:lnTo>
                <a:cubicBezTo>
                  <a:pt x="153004" y="447556"/>
                  <a:pt x="175527" y="456876"/>
                  <a:pt x="199604" y="456876"/>
                </a:cubicBezTo>
                <a:cubicBezTo>
                  <a:pt x="223681" y="456876"/>
                  <a:pt x="246204" y="447556"/>
                  <a:pt x="263291" y="430470"/>
                </a:cubicBezTo>
                <a:cubicBezTo>
                  <a:pt x="298242" y="395520"/>
                  <a:pt x="298242" y="338046"/>
                  <a:pt x="263291" y="303096"/>
                </a:cubicBezTo>
                <a:lnTo>
                  <a:pt x="257854" y="297659"/>
                </a:lnTo>
                <a:cubicBezTo>
                  <a:pt x="250088" y="289892"/>
                  <a:pt x="250088" y="276689"/>
                  <a:pt x="257854" y="268922"/>
                </a:cubicBezTo>
                <a:lnTo>
                  <a:pt x="358821" y="167955"/>
                </a:lnTo>
                <a:cubicBezTo>
                  <a:pt x="366588" y="160188"/>
                  <a:pt x="380569" y="160188"/>
                  <a:pt x="387559" y="167955"/>
                </a:cubicBezTo>
                <a:lnTo>
                  <a:pt x="403092" y="183488"/>
                </a:lnTo>
                <a:cubicBezTo>
                  <a:pt x="407752" y="188148"/>
                  <a:pt x="416295" y="188148"/>
                  <a:pt x="420955" y="183488"/>
                </a:cubicBezTo>
                <a:cubicBezTo>
                  <a:pt x="426392" y="178829"/>
                  <a:pt x="426392" y="170285"/>
                  <a:pt x="420955" y="165625"/>
                </a:cubicBezTo>
                <a:lnTo>
                  <a:pt x="405422" y="150092"/>
                </a:lnTo>
                <a:cubicBezTo>
                  <a:pt x="401538" y="146208"/>
                  <a:pt x="399209" y="140771"/>
                  <a:pt x="399209" y="135335"/>
                </a:cubicBezTo>
                <a:cubicBezTo>
                  <a:pt x="399209" y="129898"/>
                  <a:pt x="401538" y="124462"/>
                  <a:pt x="405422" y="120578"/>
                </a:cubicBezTo>
                <a:cubicBezTo>
                  <a:pt x="413188" y="112812"/>
                  <a:pt x="427169" y="112035"/>
                  <a:pt x="434935" y="120578"/>
                </a:cubicBezTo>
                <a:lnTo>
                  <a:pt x="452798" y="138442"/>
                </a:lnTo>
                <a:cubicBezTo>
                  <a:pt x="455129" y="140771"/>
                  <a:pt x="458236" y="141548"/>
                  <a:pt x="459789" y="141548"/>
                </a:cubicBezTo>
                <a:cubicBezTo>
                  <a:pt x="461342" y="141548"/>
                  <a:pt x="464448" y="140771"/>
                  <a:pt x="466779" y="138442"/>
                </a:cubicBezTo>
                <a:cubicBezTo>
                  <a:pt x="469109" y="136112"/>
                  <a:pt x="469886" y="133005"/>
                  <a:pt x="469886" y="131452"/>
                </a:cubicBezTo>
                <a:cubicBezTo>
                  <a:pt x="469886" y="129898"/>
                  <a:pt x="469109" y="126791"/>
                  <a:pt x="466779" y="124462"/>
                </a:cubicBezTo>
                <a:lnTo>
                  <a:pt x="448138" y="105821"/>
                </a:lnTo>
                <a:cubicBezTo>
                  <a:pt x="440372" y="98055"/>
                  <a:pt x="440372" y="85628"/>
                  <a:pt x="447362" y="77861"/>
                </a:cubicBezTo>
                <a:cubicBezTo>
                  <a:pt x="455905" y="68541"/>
                  <a:pt x="455129" y="54561"/>
                  <a:pt x="446586" y="46018"/>
                </a:cubicBezTo>
                <a:cubicBezTo>
                  <a:pt x="438042" y="37474"/>
                  <a:pt x="422509" y="37474"/>
                  <a:pt x="413965" y="46018"/>
                </a:cubicBezTo>
                <a:lnTo>
                  <a:pt x="223681" y="236302"/>
                </a:lnTo>
                <a:cubicBezTo>
                  <a:pt x="215914" y="244069"/>
                  <a:pt x="202711" y="244069"/>
                  <a:pt x="194944" y="236302"/>
                </a:cubicBezTo>
                <a:lnTo>
                  <a:pt x="193391" y="234749"/>
                </a:lnTo>
                <a:cubicBezTo>
                  <a:pt x="177080" y="216885"/>
                  <a:pt x="154558" y="207565"/>
                  <a:pt x="130480" y="207565"/>
                </a:cubicBezTo>
                <a:lnTo>
                  <a:pt x="130480" y="207565"/>
                </a:lnTo>
                <a:close/>
                <a:moveTo>
                  <a:pt x="199604" y="415713"/>
                </a:moveTo>
                <a:cubicBezTo>
                  <a:pt x="186401" y="415713"/>
                  <a:pt x="173974" y="410276"/>
                  <a:pt x="165430" y="401733"/>
                </a:cubicBezTo>
                <a:lnTo>
                  <a:pt x="96307" y="332609"/>
                </a:lnTo>
                <a:cubicBezTo>
                  <a:pt x="77667" y="313192"/>
                  <a:pt x="76891" y="282902"/>
                  <a:pt x="96307" y="263486"/>
                </a:cubicBezTo>
                <a:cubicBezTo>
                  <a:pt x="114947" y="244845"/>
                  <a:pt x="146791" y="244845"/>
                  <a:pt x="165430" y="263486"/>
                </a:cubicBezTo>
                <a:lnTo>
                  <a:pt x="234554" y="332609"/>
                </a:lnTo>
                <a:cubicBezTo>
                  <a:pt x="253971" y="352026"/>
                  <a:pt x="253971" y="382316"/>
                  <a:pt x="234554" y="401733"/>
                </a:cubicBezTo>
                <a:cubicBezTo>
                  <a:pt x="224458" y="411053"/>
                  <a:pt x="212808" y="415713"/>
                  <a:pt x="199604" y="415713"/>
                </a:cubicBezTo>
                <a:lnTo>
                  <a:pt x="199604" y="415713"/>
                </a:lnTo>
                <a:close/>
                <a:moveTo>
                  <a:pt x="130480" y="289892"/>
                </a:moveTo>
                <a:cubicBezTo>
                  <a:pt x="128927" y="289892"/>
                  <a:pt x="126597" y="289892"/>
                  <a:pt x="125044" y="292222"/>
                </a:cubicBezTo>
                <a:cubicBezTo>
                  <a:pt x="121937" y="295329"/>
                  <a:pt x="121937" y="299989"/>
                  <a:pt x="125044" y="303096"/>
                </a:cubicBezTo>
                <a:lnTo>
                  <a:pt x="194168" y="372219"/>
                </a:lnTo>
                <a:cubicBezTo>
                  <a:pt x="198051" y="376103"/>
                  <a:pt x="201158" y="376103"/>
                  <a:pt x="205041" y="372219"/>
                </a:cubicBezTo>
                <a:cubicBezTo>
                  <a:pt x="208147" y="369113"/>
                  <a:pt x="208147" y="364453"/>
                  <a:pt x="205041" y="361346"/>
                </a:cubicBezTo>
                <a:lnTo>
                  <a:pt x="135917" y="292222"/>
                </a:lnTo>
                <a:cubicBezTo>
                  <a:pt x="133587" y="290669"/>
                  <a:pt x="131258" y="289892"/>
                  <a:pt x="130480" y="289892"/>
                </a:cubicBezTo>
                <a:lnTo>
                  <a:pt x="130480" y="289892"/>
                </a:lnTo>
                <a:close/>
              </a:path>
            </a:pathLst>
          </a:custGeom>
          <a:solidFill>
            <a:srgbClr val="B1B1A1"/>
          </a:solidFill>
          <a:ln w="7767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grpSp>
        <p:nvGrpSpPr>
          <p:cNvPr id="411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10516734" y="4660225"/>
            <a:ext cx="397981" cy="397944"/>
            <a:chOff x="11531140" y="5099617"/>
            <a:chExt cx="489347" cy="489302"/>
          </a:xfrm>
          <a:solidFill>
            <a:srgbClr val="B1B1A1"/>
          </a:solidFill>
        </p:grpSpPr>
        <p:sp>
          <p:nvSpPr>
            <p:cNvPr id="412" name="Forma Livre: Forma 411">
              <a:extLst>
                <a:ext uri="{FF2B5EF4-FFF2-40B4-BE49-F238E27FC236}">
                  <a16:creationId xmlns:a16="http://schemas.microsoft.com/office/drawing/2014/main" id="{D6EFD345-2600-4517-ABDE-5DC5E88C3D8A}"/>
                </a:ext>
              </a:extLst>
            </p:cNvPr>
            <p:cNvSpPr/>
            <p:nvPr/>
          </p:nvSpPr>
          <p:spPr>
            <a:xfrm>
              <a:off x="11531140" y="5099617"/>
              <a:ext cx="489347" cy="489302"/>
            </a:xfrm>
            <a:custGeom>
              <a:avLst/>
              <a:gdLst>
                <a:gd name="connsiteX0" fmla="*/ 469108 w 489347"/>
                <a:gd name="connsiteY0" fmla="*/ 489302 h 489302"/>
                <a:gd name="connsiteX1" fmla="*/ 20193 w 489347"/>
                <a:gd name="connsiteY1" fmla="*/ 489302 h 489302"/>
                <a:gd name="connsiteX2" fmla="*/ 0 w 489347"/>
                <a:gd name="connsiteY2" fmla="*/ 469109 h 489302"/>
                <a:gd name="connsiteX3" fmla="*/ 0 w 489347"/>
                <a:gd name="connsiteY3" fmla="*/ 20194 h 489302"/>
                <a:gd name="connsiteX4" fmla="*/ 20193 w 489347"/>
                <a:gd name="connsiteY4" fmla="*/ 0 h 489302"/>
                <a:gd name="connsiteX5" fmla="*/ 469108 w 489347"/>
                <a:gd name="connsiteY5" fmla="*/ 0 h 489302"/>
                <a:gd name="connsiteX6" fmla="*/ 489302 w 489347"/>
                <a:gd name="connsiteY6" fmla="*/ 20194 h 489302"/>
                <a:gd name="connsiteX7" fmla="*/ 489302 w 489347"/>
                <a:gd name="connsiteY7" fmla="*/ 469109 h 489302"/>
                <a:gd name="connsiteX8" fmla="*/ 469108 w 489347"/>
                <a:gd name="connsiteY8" fmla="*/ 489302 h 489302"/>
                <a:gd name="connsiteX9" fmla="*/ 469108 w 489347"/>
                <a:gd name="connsiteY9" fmla="*/ 489302 h 489302"/>
                <a:gd name="connsiteX10" fmla="*/ 40386 w 489347"/>
                <a:gd name="connsiteY10" fmla="*/ 448139 h 489302"/>
                <a:gd name="connsiteX11" fmla="*/ 448138 w 489347"/>
                <a:gd name="connsiteY11" fmla="*/ 448139 h 489302"/>
                <a:gd name="connsiteX12" fmla="*/ 448138 w 489347"/>
                <a:gd name="connsiteY12" fmla="*/ 40387 h 489302"/>
                <a:gd name="connsiteX13" fmla="*/ 40386 w 489347"/>
                <a:gd name="connsiteY13" fmla="*/ 40387 h 489302"/>
                <a:gd name="connsiteX14" fmla="*/ 40386 w 489347"/>
                <a:gd name="connsiteY14" fmla="*/ 448139 h 489302"/>
                <a:gd name="connsiteX15" fmla="*/ 40386 w 489347"/>
                <a:gd name="connsiteY15" fmla="*/ 448139 h 489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89347" h="489302">
                  <a:moveTo>
                    <a:pt x="469108" y="489302"/>
                  </a:moveTo>
                  <a:lnTo>
                    <a:pt x="20193" y="489302"/>
                  </a:lnTo>
                  <a:cubicBezTo>
                    <a:pt x="8543" y="489302"/>
                    <a:pt x="0" y="479983"/>
                    <a:pt x="0" y="469109"/>
                  </a:cubicBezTo>
                  <a:lnTo>
                    <a:pt x="0" y="20194"/>
                  </a:lnTo>
                  <a:cubicBezTo>
                    <a:pt x="0" y="8544"/>
                    <a:pt x="9320" y="0"/>
                    <a:pt x="20193" y="0"/>
                  </a:cubicBezTo>
                  <a:lnTo>
                    <a:pt x="469108" y="0"/>
                  </a:lnTo>
                  <a:cubicBezTo>
                    <a:pt x="480758" y="0"/>
                    <a:pt x="489302" y="9320"/>
                    <a:pt x="489302" y="20194"/>
                  </a:cubicBezTo>
                  <a:lnTo>
                    <a:pt x="489302" y="469109"/>
                  </a:lnTo>
                  <a:cubicBezTo>
                    <a:pt x="490079" y="479983"/>
                    <a:pt x="480758" y="489302"/>
                    <a:pt x="469108" y="489302"/>
                  </a:cubicBezTo>
                  <a:lnTo>
                    <a:pt x="469108" y="489302"/>
                  </a:lnTo>
                  <a:close/>
                  <a:moveTo>
                    <a:pt x="40386" y="448139"/>
                  </a:moveTo>
                  <a:lnTo>
                    <a:pt x="448138" y="448139"/>
                  </a:lnTo>
                  <a:lnTo>
                    <a:pt x="448138" y="40387"/>
                  </a:lnTo>
                  <a:lnTo>
                    <a:pt x="40386" y="40387"/>
                  </a:lnTo>
                  <a:lnTo>
                    <a:pt x="40386" y="448139"/>
                  </a:lnTo>
                  <a:lnTo>
                    <a:pt x="40386" y="448139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13" name="Forma Livre: Forma 412">
              <a:extLst>
                <a:ext uri="{FF2B5EF4-FFF2-40B4-BE49-F238E27FC236}">
                  <a16:creationId xmlns:a16="http://schemas.microsoft.com/office/drawing/2014/main" id="{389A8494-4EB3-4168-A09C-6BEC3D4A4ECA}"/>
                </a:ext>
              </a:extLst>
            </p:cNvPr>
            <p:cNvSpPr/>
            <p:nvPr/>
          </p:nvSpPr>
          <p:spPr>
            <a:xfrm>
              <a:off x="11819284" y="5258835"/>
              <a:ext cx="120383" cy="40386"/>
            </a:xfrm>
            <a:custGeom>
              <a:avLst/>
              <a:gdLst>
                <a:gd name="connsiteX0" fmla="*/ 100191 w 120383"/>
                <a:gd name="connsiteY0" fmla="*/ 40387 h 40386"/>
                <a:gd name="connsiteX1" fmla="*/ 20193 w 120383"/>
                <a:gd name="connsiteY1" fmla="*/ 40387 h 40386"/>
                <a:gd name="connsiteX2" fmla="*/ 0 w 120383"/>
                <a:gd name="connsiteY2" fmla="*/ 20194 h 40386"/>
                <a:gd name="connsiteX3" fmla="*/ 20193 w 120383"/>
                <a:gd name="connsiteY3" fmla="*/ 0 h 40386"/>
                <a:gd name="connsiteX4" fmla="*/ 100191 w 120383"/>
                <a:gd name="connsiteY4" fmla="*/ 0 h 40386"/>
                <a:gd name="connsiteX5" fmla="*/ 120384 w 120383"/>
                <a:gd name="connsiteY5" fmla="*/ 20194 h 40386"/>
                <a:gd name="connsiteX6" fmla="*/ 100191 w 120383"/>
                <a:gd name="connsiteY6" fmla="*/ 40387 h 40386"/>
                <a:gd name="connsiteX7" fmla="*/ 100191 w 120383"/>
                <a:gd name="connsiteY7" fmla="*/ 40387 h 4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0383" h="40386">
                  <a:moveTo>
                    <a:pt x="100191" y="40387"/>
                  </a:moveTo>
                  <a:lnTo>
                    <a:pt x="20193" y="40387"/>
                  </a:lnTo>
                  <a:cubicBezTo>
                    <a:pt x="8543" y="40387"/>
                    <a:pt x="0" y="31067"/>
                    <a:pt x="0" y="20194"/>
                  </a:cubicBezTo>
                  <a:cubicBezTo>
                    <a:pt x="0" y="8544"/>
                    <a:pt x="9320" y="0"/>
                    <a:pt x="20193" y="0"/>
                  </a:cubicBezTo>
                  <a:lnTo>
                    <a:pt x="100191" y="0"/>
                  </a:lnTo>
                  <a:cubicBezTo>
                    <a:pt x="111841" y="0"/>
                    <a:pt x="120384" y="9320"/>
                    <a:pt x="120384" y="20194"/>
                  </a:cubicBezTo>
                  <a:cubicBezTo>
                    <a:pt x="120384" y="31067"/>
                    <a:pt x="111063" y="40387"/>
                    <a:pt x="100191" y="40387"/>
                  </a:cubicBezTo>
                  <a:lnTo>
                    <a:pt x="100191" y="40387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14" name="Forma Livre: Forma 413">
              <a:extLst>
                <a:ext uri="{FF2B5EF4-FFF2-40B4-BE49-F238E27FC236}">
                  <a16:creationId xmlns:a16="http://schemas.microsoft.com/office/drawing/2014/main" id="{2933A408-3CD1-4DB8-9303-0473EC83A6F5}"/>
                </a:ext>
              </a:extLst>
            </p:cNvPr>
            <p:cNvSpPr/>
            <p:nvPr/>
          </p:nvSpPr>
          <p:spPr>
            <a:xfrm>
              <a:off x="11616573" y="5258835"/>
              <a:ext cx="106448" cy="40386"/>
            </a:xfrm>
            <a:custGeom>
              <a:avLst/>
              <a:gdLst>
                <a:gd name="connsiteX0" fmla="*/ 86210 w 106448"/>
                <a:gd name="connsiteY0" fmla="*/ 40387 h 40386"/>
                <a:gd name="connsiteX1" fmla="*/ 20193 w 106448"/>
                <a:gd name="connsiteY1" fmla="*/ 40387 h 40386"/>
                <a:gd name="connsiteX2" fmla="*/ 0 w 106448"/>
                <a:gd name="connsiteY2" fmla="*/ 20194 h 40386"/>
                <a:gd name="connsiteX3" fmla="*/ 20193 w 106448"/>
                <a:gd name="connsiteY3" fmla="*/ 0 h 40386"/>
                <a:gd name="connsiteX4" fmla="*/ 86210 w 106448"/>
                <a:gd name="connsiteY4" fmla="*/ 0 h 40386"/>
                <a:gd name="connsiteX5" fmla="*/ 106403 w 106448"/>
                <a:gd name="connsiteY5" fmla="*/ 20194 h 40386"/>
                <a:gd name="connsiteX6" fmla="*/ 86210 w 106448"/>
                <a:gd name="connsiteY6" fmla="*/ 40387 h 40386"/>
                <a:gd name="connsiteX7" fmla="*/ 86210 w 106448"/>
                <a:gd name="connsiteY7" fmla="*/ 40387 h 4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448" h="40386">
                  <a:moveTo>
                    <a:pt x="86210" y="40387"/>
                  </a:moveTo>
                  <a:lnTo>
                    <a:pt x="20193" y="40387"/>
                  </a:lnTo>
                  <a:cubicBezTo>
                    <a:pt x="8543" y="40387"/>
                    <a:pt x="0" y="31067"/>
                    <a:pt x="0" y="20194"/>
                  </a:cubicBezTo>
                  <a:cubicBezTo>
                    <a:pt x="0" y="8544"/>
                    <a:pt x="9320" y="0"/>
                    <a:pt x="20193" y="0"/>
                  </a:cubicBezTo>
                  <a:lnTo>
                    <a:pt x="86210" y="0"/>
                  </a:lnTo>
                  <a:cubicBezTo>
                    <a:pt x="97860" y="0"/>
                    <a:pt x="106403" y="9320"/>
                    <a:pt x="106403" y="20194"/>
                  </a:cubicBezTo>
                  <a:cubicBezTo>
                    <a:pt x="107180" y="31067"/>
                    <a:pt x="97860" y="40387"/>
                    <a:pt x="86210" y="40387"/>
                  </a:cubicBezTo>
                  <a:lnTo>
                    <a:pt x="86210" y="40387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15" name="Forma Livre: Forma 414">
              <a:extLst>
                <a:ext uri="{FF2B5EF4-FFF2-40B4-BE49-F238E27FC236}">
                  <a16:creationId xmlns:a16="http://schemas.microsoft.com/office/drawing/2014/main" id="{683CA686-49DE-4C68-8563-1681961C493C}"/>
                </a:ext>
              </a:extLst>
            </p:cNvPr>
            <p:cNvSpPr/>
            <p:nvPr/>
          </p:nvSpPr>
          <p:spPr>
            <a:xfrm>
              <a:off x="11616573" y="5409509"/>
              <a:ext cx="106448" cy="40386"/>
            </a:xfrm>
            <a:custGeom>
              <a:avLst/>
              <a:gdLst>
                <a:gd name="connsiteX0" fmla="*/ 86210 w 106448"/>
                <a:gd name="connsiteY0" fmla="*/ 40387 h 40386"/>
                <a:gd name="connsiteX1" fmla="*/ 20193 w 106448"/>
                <a:gd name="connsiteY1" fmla="*/ 40387 h 40386"/>
                <a:gd name="connsiteX2" fmla="*/ 0 w 106448"/>
                <a:gd name="connsiteY2" fmla="*/ 20193 h 40386"/>
                <a:gd name="connsiteX3" fmla="*/ 20193 w 106448"/>
                <a:gd name="connsiteY3" fmla="*/ 0 h 40386"/>
                <a:gd name="connsiteX4" fmla="*/ 86210 w 106448"/>
                <a:gd name="connsiteY4" fmla="*/ 0 h 40386"/>
                <a:gd name="connsiteX5" fmla="*/ 106403 w 106448"/>
                <a:gd name="connsiteY5" fmla="*/ 20193 h 40386"/>
                <a:gd name="connsiteX6" fmla="*/ 86210 w 106448"/>
                <a:gd name="connsiteY6" fmla="*/ 40387 h 40386"/>
                <a:gd name="connsiteX7" fmla="*/ 86210 w 106448"/>
                <a:gd name="connsiteY7" fmla="*/ 40387 h 4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448" h="40386">
                  <a:moveTo>
                    <a:pt x="86210" y="40387"/>
                  </a:moveTo>
                  <a:lnTo>
                    <a:pt x="20193" y="40387"/>
                  </a:lnTo>
                  <a:cubicBezTo>
                    <a:pt x="8543" y="40387"/>
                    <a:pt x="0" y="31067"/>
                    <a:pt x="0" y="20193"/>
                  </a:cubicBezTo>
                  <a:cubicBezTo>
                    <a:pt x="0" y="8543"/>
                    <a:pt x="9320" y="0"/>
                    <a:pt x="20193" y="0"/>
                  </a:cubicBezTo>
                  <a:lnTo>
                    <a:pt x="86210" y="0"/>
                  </a:lnTo>
                  <a:cubicBezTo>
                    <a:pt x="97860" y="0"/>
                    <a:pt x="106403" y="9320"/>
                    <a:pt x="106403" y="20193"/>
                  </a:cubicBezTo>
                  <a:cubicBezTo>
                    <a:pt x="107180" y="31067"/>
                    <a:pt x="97860" y="40387"/>
                    <a:pt x="86210" y="40387"/>
                  </a:cubicBezTo>
                  <a:lnTo>
                    <a:pt x="86210" y="40387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16" name="Forma Livre: Forma 415">
              <a:extLst>
                <a:ext uri="{FF2B5EF4-FFF2-40B4-BE49-F238E27FC236}">
                  <a16:creationId xmlns:a16="http://schemas.microsoft.com/office/drawing/2014/main" id="{766EFAF8-F25F-4AF0-8D91-CE339AC2E477}"/>
                </a:ext>
              </a:extLst>
            </p:cNvPr>
            <p:cNvSpPr/>
            <p:nvPr/>
          </p:nvSpPr>
          <p:spPr>
            <a:xfrm>
              <a:off x="11688803" y="5224662"/>
              <a:ext cx="108779" cy="108733"/>
            </a:xfrm>
            <a:custGeom>
              <a:avLst/>
              <a:gdLst>
                <a:gd name="connsiteX0" fmla="*/ 88541 w 108779"/>
                <a:gd name="connsiteY0" fmla="*/ 108734 h 108733"/>
                <a:gd name="connsiteX1" fmla="*/ 20193 w 108779"/>
                <a:gd name="connsiteY1" fmla="*/ 108734 h 108733"/>
                <a:gd name="connsiteX2" fmla="*/ 0 w 108779"/>
                <a:gd name="connsiteY2" fmla="*/ 88540 h 108733"/>
                <a:gd name="connsiteX3" fmla="*/ 0 w 108779"/>
                <a:gd name="connsiteY3" fmla="*/ 20193 h 108733"/>
                <a:gd name="connsiteX4" fmla="*/ 20193 w 108779"/>
                <a:gd name="connsiteY4" fmla="*/ 0 h 108733"/>
                <a:gd name="connsiteX5" fmla="*/ 88541 w 108779"/>
                <a:gd name="connsiteY5" fmla="*/ 0 h 108733"/>
                <a:gd name="connsiteX6" fmla="*/ 108734 w 108779"/>
                <a:gd name="connsiteY6" fmla="*/ 20193 h 108733"/>
                <a:gd name="connsiteX7" fmla="*/ 108734 w 108779"/>
                <a:gd name="connsiteY7" fmla="*/ 88540 h 108733"/>
                <a:gd name="connsiteX8" fmla="*/ 88541 w 108779"/>
                <a:gd name="connsiteY8" fmla="*/ 108734 h 108733"/>
                <a:gd name="connsiteX9" fmla="*/ 88541 w 108779"/>
                <a:gd name="connsiteY9" fmla="*/ 108734 h 108733"/>
                <a:gd name="connsiteX10" fmla="*/ 40387 w 108779"/>
                <a:gd name="connsiteY10" fmla="*/ 67570 h 108733"/>
                <a:gd name="connsiteX11" fmla="*/ 67571 w 108779"/>
                <a:gd name="connsiteY11" fmla="*/ 67570 h 108733"/>
                <a:gd name="connsiteX12" fmla="*/ 67571 w 108779"/>
                <a:gd name="connsiteY12" fmla="*/ 40387 h 108733"/>
                <a:gd name="connsiteX13" fmla="*/ 40387 w 108779"/>
                <a:gd name="connsiteY13" fmla="*/ 40387 h 108733"/>
                <a:gd name="connsiteX14" fmla="*/ 40387 w 108779"/>
                <a:gd name="connsiteY14" fmla="*/ 67570 h 108733"/>
                <a:gd name="connsiteX15" fmla="*/ 40387 w 108779"/>
                <a:gd name="connsiteY15" fmla="*/ 67570 h 108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8779" h="108733">
                  <a:moveTo>
                    <a:pt x="88541" y="108734"/>
                  </a:moveTo>
                  <a:lnTo>
                    <a:pt x="20193" y="108734"/>
                  </a:lnTo>
                  <a:cubicBezTo>
                    <a:pt x="8543" y="108734"/>
                    <a:pt x="0" y="99414"/>
                    <a:pt x="0" y="88540"/>
                  </a:cubicBezTo>
                  <a:lnTo>
                    <a:pt x="0" y="20193"/>
                  </a:lnTo>
                  <a:cubicBezTo>
                    <a:pt x="0" y="8543"/>
                    <a:pt x="9321" y="0"/>
                    <a:pt x="20193" y="0"/>
                  </a:cubicBezTo>
                  <a:lnTo>
                    <a:pt x="88541" y="0"/>
                  </a:lnTo>
                  <a:cubicBezTo>
                    <a:pt x="100191" y="0"/>
                    <a:pt x="108734" y="9320"/>
                    <a:pt x="108734" y="20193"/>
                  </a:cubicBezTo>
                  <a:lnTo>
                    <a:pt x="108734" y="88540"/>
                  </a:lnTo>
                  <a:cubicBezTo>
                    <a:pt x="109510" y="99414"/>
                    <a:pt x="100191" y="108734"/>
                    <a:pt x="88541" y="108734"/>
                  </a:cubicBezTo>
                  <a:lnTo>
                    <a:pt x="88541" y="108734"/>
                  </a:lnTo>
                  <a:close/>
                  <a:moveTo>
                    <a:pt x="40387" y="67570"/>
                  </a:moveTo>
                  <a:lnTo>
                    <a:pt x="67571" y="67570"/>
                  </a:lnTo>
                  <a:lnTo>
                    <a:pt x="67571" y="40387"/>
                  </a:lnTo>
                  <a:lnTo>
                    <a:pt x="40387" y="40387"/>
                  </a:lnTo>
                  <a:lnTo>
                    <a:pt x="40387" y="67570"/>
                  </a:lnTo>
                  <a:lnTo>
                    <a:pt x="40387" y="67570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17" name="Forma Livre: Forma 416">
              <a:extLst>
                <a:ext uri="{FF2B5EF4-FFF2-40B4-BE49-F238E27FC236}">
                  <a16:creationId xmlns:a16="http://schemas.microsoft.com/office/drawing/2014/main" id="{DC081672-0BA0-4E39-A7B8-251CBDC903FD}"/>
                </a:ext>
              </a:extLst>
            </p:cNvPr>
            <p:cNvSpPr/>
            <p:nvPr/>
          </p:nvSpPr>
          <p:spPr>
            <a:xfrm>
              <a:off x="11819284" y="5409509"/>
              <a:ext cx="120383" cy="40386"/>
            </a:xfrm>
            <a:custGeom>
              <a:avLst/>
              <a:gdLst>
                <a:gd name="connsiteX0" fmla="*/ 100191 w 120383"/>
                <a:gd name="connsiteY0" fmla="*/ 40387 h 40386"/>
                <a:gd name="connsiteX1" fmla="*/ 20193 w 120383"/>
                <a:gd name="connsiteY1" fmla="*/ 40387 h 40386"/>
                <a:gd name="connsiteX2" fmla="*/ 0 w 120383"/>
                <a:gd name="connsiteY2" fmla="*/ 20193 h 40386"/>
                <a:gd name="connsiteX3" fmla="*/ 20193 w 120383"/>
                <a:gd name="connsiteY3" fmla="*/ 0 h 40386"/>
                <a:gd name="connsiteX4" fmla="*/ 100191 w 120383"/>
                <a:gd name="connsiteY4" fmla="*/ 0 h 40386"/>
                <a:gd name="connsiteX5" fmla="*/ 120384 w 120383"/>
                <a:gd name="connsiteY5" fmla="*/ 20193 h 40386"/>
                <a:gd name="connsiteX6" fmla="*/ 100191 w 120383"/>
                <a:gd name="connsiteY6" fmla="*/ 40387 h 40386"/>
                <a:gd name="connsiteX7" fmla="*/ 100191 w 120383"/>
                <a:gd name="connsiteY7" fmla="*/ 40387 h 40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0383" h="40386">
                  <a:moveTo>
                    <a:pt x="100191" y="40387"/>
                  </a:moveTo>
                  <a:lnTo>
                    <a:pt x="20193" y="40387"/>
                  </a:lnTo>
                  <a:cubicBezTo>
                    <a:pt x="8543" y="40387"/>
                    <a:pt x="0" y="31067"/>
                    <a:pt x="0" y="20193"/>
                  </a:cubicBezTo>
                  <a:cubicBezTo>
                    <a:pt x="0" y="8543"/>
                    <a:pt x="9320" y="0"/>
                    <a:pt x="20193" y="0"/>
                  </a:cubicBezTo>
                  <a:lnTo>
                    <a:pt x="100191" y="0"/>
                  </a:lnTo>
                  <a:cubicBezTo>
                    <a:pt x="111841" y="0"/>
                    <a:pt x="120384" y="9320"/>
                    <a:pt x="120384" y="20193"/>
                  </a:cubicBezTo>
                  <a:cubicBezTo>
                    <a:pt x="120384" y="31067"/>
                    <a:pt x="111063" y="40387"/>
                    <a:pt x="100191" y="40387"/>
                  </a:cubicBezTo>
                  <a:lnTo>
                    <a:pt x="100191" y="40387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18" name="Forma Livre: Forma 417">
              <a:extLst>
                <a:ext uri="{FF2B5EF4-FFF2-40B4-BE49-F238E27FC236}">
                  <a16:creationId xmlns:a16="http://schemas.microsoft.com/office/drawing/2014/main" id="{0BC3319C-C6F0-4DDE-B752-9670CA99269F}"/>
                </a:ext>
              </a:extLst>
            </p:cNvPr>
            <p:cNvSpPr/>
            <p:nvPr/>
          </p:nvSpPr>
          <p:spPr>
            <a:xfrm>
              <a:off x="11688803" y="5375335"/>
              <a:ext cx="108779" cy="108733"/>
            </a:xfrm>
            <a:custGeom>
              <a:avLst/>
              <a:gdLst>
                <a:gd name="connsiteX0" fmla="*/ 88541 w 108779"/>
                <a:gd name="connsiteY0" fmla="*/ 108734 h 108733"/>
                <a:gd name="connsiteX1" fmla="*/ 20193 w 108779"/>
                <a:gd name="connsiteY1" fmla="*/ 108734 h 108733"/>
                <a:gd name="connsiteX2" fmla="*/ 0 w 108779"/>
                <a:gd name="connsiteY2" fmla="*/ 88541 h 108733"/>
                <a:gd name="connsiteX3" fmla="*/ 0 w 108779"/>
                <a:gd name="connsiteY3" fmla="*/ 20194 h 108733"/>
                <a:gd name="connsiteX4" fmla="*/ 20193 w 108779"/>
                <a:gd name="connsiteY4" fmla="*/ 0 h 108733"/>
                <a:gd name="connsiteX5" fmla="*/ 88541 w 108779"/>
                <a:gd name="connsiteY5" fmla="*/ 0 h 108733"/>
                <a:gd name="connsiteX6" fmla="*/ 108734 w 108779"/>
                <a:gd name="connsiteY6" fmla="*/ 20194 h 108733"/>
                <a:gd name="connsiteX7" fmla="*/ 108734 w 108779"/>
                <a:gd name="connsiteY7" fmla="*/ 88541 h 108733"/>
                <a:gd name="connsiteX8" fmla="*/ 88541 w 108779"/>
                <a:gd name="connsiteY8" fmla="*/ 108734 h 108733"/>
                <a:gd name="connsiteX9" fmla="*/ 88541 w 108779"/>
                <a:gd name="connsiteY9" fmla="*/ 108734 h 108733"/>
                <a:gd name="connsiteX10" fmla="*/ 40387 w 108779"/>
                <a:gd name="connsiteY10" fmla="*/ 67570 h 108733"/>
                <a:gd name="connsiteX11" fmla="*/ 67571 w 108779"/>
                <a:gd name="connsiteY11" fmla="*/ 67570 h 108733"/>
                <a:gd name="connsiteX12" fmla="*/ 67571 w 108779"/>
                <a:gd name="connsiteY12" fmla="*/ 40387 h 108733"/>
                <a:gd name="connsiteX13" fmla="*/ 40387 w 108779"/>
                <a:gd name="connsiteY13" fmla="*/ 40387 h 108733"/>
                <a:gd name="connsiteX14" fmla="*/ 40387 w 108779"/>
                <a:gd name="connsiteY14" fmla="*/ 67570 h 108733"/>
                <a:gd name="connsiteX15" fmla="*/ 40387 w 108779"/>
                <a:gd name="connsiteY15" fmla="*/ 67570 h 108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8779" h="108733">
                  <a:moveTo>
                    <a:pt x="88541" y="108734"/>
                  </a:moveTo>
                  <a:lnTo>
                    <a:pt x="20193" y="108734"/>
                  </a:lnTo>
                  <a:cubicBezTo>
                    <a:pt x="8543" y="108734"/>
                    <a:pt x="0" y="99414"/>
                    <a:pt x="0" y="88541"/>
                  </a:cubicBezTo>
                  <a:lnTo>
                    <a:pt x="0" y="20194"/>
                  </a:lnTo>
                  <a:cubicBezTo>
                    <a:pt x="0" y="8544"/>
                    <a:pt x="9321" y="0"/>
                    <a:pt x="20193" y="0"/>
                  </a:cubicBezTo>
                  <a:lnTo>
                    <a:pt x="88541" y="0"/>
                  </a:lnTo>
                  <a:cubicBezTo>
                    <a:pt x="100191" y="0"/>
                    <a:pt x="108734" y="9320"/>
                    <a:pt x="108734" y="20194"/>
                  </a:cubicBezTo>
                  <a:lnTo>
                    <a:pt x="108734" y="88541"/>
                  </a:lnTo>
                  <a:cubicBezTo>
                    <a:pt x="109510" y="99414"/>
                    <a:pt x="100191" y="108734"/>
                    <a:pt x="88541" y="108734"/>
                  </a:cubicBezTo>
                  <a:lnTo>
                    <a:pt x="88541" y="108734"/>
                  </a:lnTo>
                  <a:close/>
                  <a:moveTo>
                    <a:pt x="40387" y="67570"/>
                  </a:moveTo>
                  <a:lnTo>
                    <a:pt x="67571" y="67570"/>
                  </a:lnTo>
                  <a:lnTo>
                    <a:pt x="67571" y="40387"/>
                  </a:lnTo>
                  <a:lnTo>
                    <a:pt x="40387" y="40387"/>
                  </a:lnTo>
                  <a:lnTo>
                    <a:pt x="40387" y="67570"/>
                  </a:lnTo>
                  <a:lnTo>
                    <a:pt x="40387" y="67570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19" name="Forma Livre: Forma 418">
              <a:extLst>
                <a:ext uri="{FF2B5EF4-FFF2-40B4-BE49-F238E27FC236}">
                  <a16:creationId xmlns:a16="http://schemas.microsoft.com/office/drawing/2014/main" id="{CD2D2513-30C1-4259-99A8-3C747EE25538}"/>
                </a:ext>
              </a:extLst>
            </p:cNvPr>
            <p:cNvSpPr/>
            <p:nvPr/>
          </p:nvSpPr>
          <p:spPr>
            <a:xfrm>
              <a:off x="11606476" y="5171848"/>
              <a:ext cx="40386" cy="278047"/>
            </a:xfrm>
            <a:custGeom>
              <a:avLst/>
              <a:gdLst>
                <a:gd name="connsiteX0" fmla="*/ 20193 w 40386"/>
                <a:gd name="connsiteY0" fmla="*/ 278048 h 278047"/>
                <a:gd name="connsiteX1" fmla="*/ 0 w 40386"/>
                <a:gd name="connsiteY1" fmla="*/ 257854 h 278047"/>
                <a:gd name="connsiteX2" fmla="*/ 0 w 40386"/>
                <a:gd name="connsiteY2" fmla="*/ 20193 h 278047"/>
                <a:gd name="connsiteX3" fmla="*/ 20193 w 40386"/>
                <a:gd name="connsiteY3" fmla="*/ 0 h 278047"/>
                <a:gd name="connsiteX4" fmla="*/ 40386 w 40386"/>
                <a:gd name="connsiteY4" fmla="*/ 20193 h 278047"/>
                <a:gd name="connsiteX5" fmla="*/ 40386 w 40386"/>
                <a:gd name="connsiteY5" fmla="*/ 257078 h 278047"/>
                <a:gd name="connsiteX6" fmla="*/ 20193 w 40386"/>
                <a:gd name="connsiteY6" fmla="*/ 278048 h 278047"/>
                <a:gd name="connsiteX7" fmla="*/ 20193 w 40386"/>
                <a:gd name="connsiteY7" fmla="*/ 278048 h 278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86" h="278047">
                  <a:moveTo>
                    <a:pt x="20193" y="278048"/>
                  </a:moveTo>
                  <a:cubicBezTo>
                    <a:pt x="8543" y="278048"/>
                    <a:pt x="0" y="268728"/>
                    <a:pt x="0" y="257854"/>
                  </a:cubicBezTo>
                  <a:lnTo>
                    <a:pt x="0" y="20193"/>
                  </a:lnTo>
                  <a:cubicBezTo>
                    <a:pt x="0" y="8543"/>
                    <a:pt x="9320" y="0"/>
                    <a:pt x="20193" y="0"/>
                  </a:cubicBezTo>
                  <a:cubicBezTo>
                    <a:pt x="31843" y="0"/>
                    <a:pt x="40386" y="9320"/>
                    <a:pt x="40386" y="20193"/>
                  </a:cubicBezTo>
                  <a:lnTo>
                    <a:pt x="40386" y="257078"/>
                  </a:lnTo>
                  <a:cubicBezTo>
                    <a:pt x="40386" y="268728"/>
                    <a:pt x="31843" y="278048"/>
                    <a:pt x="20193" y="278048"/>
                  </a:cubicBezTo>
                  <a:lnTo>
                    <a:pt x="20193" y="278048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420" name="Gráfico 2">
            <a:extLst>
              <a:ext uri="{FF2B5EF4-FFF2-40B4-BE49-F238E27FC236}">
                <a16:creationId xmlns:a16="http://schemas.microsoft.com/office/drawing/2014/main" id="{777488D5-C9B0-42ED-94FB-5C76F4BD1A17}"/>
              </a:ext>
            </a:extLst>
          </p:cNvPr>
          <p:cNvGrpSpPr/>
          <p:nvPr/>
        </p:nvGrpSpPr>
        <p:grpSpPr>
          <a:xfrm>
            <a:off x="5399676" y="4691809"/>
            <a:ext cx="376504" cy="334146"/>
            <a:chOff x="5239332" y="5138451"/>
            <a:chExt cx="462940" cy="410858"/>
          </a:xfrm>
          <a:solidFill>
            <a:srgbClr val="B1B1A1"/>
          </a:solidFill>
        </p:grpSpPr>
        <p:sp>
          <p:nvSpPr>
            <p:cNvPr id="421" name="Forma Livre: Forma 420">
              <a:extLst>
                <a:ext uri="{FF2B5EF4-FFF2-40B4-BE49-F238E27FC236}">
                  <a16:creationId xmlns:a16="http://schemas.microsoft.com/office/drawing/2014/main" id="{53E4DF88-B644-4685-9FBD-0D7D863ED5AC}"/>
                </a:ext>
              </a:extLst>
            </p:cNvPr>
            <p:cNvSpPr/>
            <p:nvPr/>
          </p:nvSpPr>
          <p:spPr>
            <a:xfrm>
              <a:off x="5239332" y="5172625"/>
              <a:ext cx="462940" cy="376685"/>
            </a:xfrm>
            <a:custGeom>
              <a:avLst/>
              <a:gdLst>
                <a:gd name="connsiteX0" fmla="*/ 442702 w 462940"/>
                <a:gd name="connsiteY0" fmla="*/ 376685 h 376685"/>
                <a:gd name="connsiteX1" fmla="*/ 20193 w 462940"/>
                <a:gd name="connsiteY1" fmla="*/ 376685 h 376685"/>
                <a:gd name="connsiteX2" fmla="*/ 0 w 462940"/>
                <a:gd name="connsiteY2" fmla="*/ 356492 h 376685"/>
                <a:gd name="connsiteX3" fmla="*/ 0 w 462940"/>
                <a:gd name="connsiteY3" fmla="*/ 20193 h 376685"/>
                <a:gd name="connsiteX4" fmla="*/ 20193 w 462940"/>
                <a:gd name="connsiteY4" fmla="*/ 0 h 376685"/>
                <a:gd name="connsiteX5" fmla="*/ 442702 w 462940"/>
                <a:gd name="connsiteY5" fmla="*/ 0 h 376685"/>
                <a:gd name="connsiteX6" fmla="*/ 462895 w 462940"/>
                <a:gd name="connsiteY6" fmla="*/ 20193 h 376685"/>
                <a:gd name="connsiteX7" fmla="*/ 462895 w 462940"/>
                <a:gd name="connsiteY7" fmla="*/ 356492 h 376685"/>
                <a:gd name="connsiteX8" fmla="*/ 442702 w 462940"/>
                <a:gd name="connsiteY8" fmla="*/ 376685 h 376685"/>
                <a:gd name="connsiteX9" fmla="*/ 442702 w 462940"/>
                <a:gd name="connsiteY9" fmla="*/ 376685 h 376685"/>
                <a:gd name="connsiteX10" fmla="*/ 41163 w 462940"/>
                <a:gd name="connsiteY10" fmla="*/ 335522 h 376685"/>
                <a:gd name="connsiteX11" fmla="*/ 422508 w 462940"/>
                <a:gd name="connsiteY11" fmla="*/ 335522 h 376685"/>
                <a:gd name="connsiteX12" fmla="*/ 422508 w 462940"/>
                <a:gd name="connsiteY12" fmla="*/ 40387 h 376685"/>
                <a:gd name="connsiteX13" fmla="*/ 41163 w 462940"/>
                <a:gd name="connsiteY13" fmla="*/ 40387 h 376685"/>
                <a:gd name="connsiteX14" fmla="*/ 41163 w 462940"/>
                <a:gd name="connsiteY14" fmla="*/ 335522 h 376685"/>
                <a:gd name="connsiteX15" fmla="*/ 41163 w 462940"/>
                <a:gd name="connsiteY15" fmla="*/ 335522 h 376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62940" h="376685">
                  <a:moveTo>
                    <a:pt x="442702" y="376685"/>
                  </a:moveTo>
                  <a:lnTo>
                    <a:pt x="20193" y="376685"/>
                  </a:lnTo>
                  <a:cubicBezTo>
                    <a:pt x="8543" y="376685"/>
                    <a:pt x="0" y="367365"/>
                    <a:pt x="0" y="356492"/>
                  </a:cubicBezTo>
                  <a:lnTo>
                    <a:pt x="0" y="20193"/>
                  </a:lnTo>
                  <a:cubicBezTo>
                    <a:pt x="0" y="8543"/>
                    <a:pt x="9320" y="0"/>
                    <a:pt x="20193" y="0"/>
                  </a:cubicBezTo>
                  <a:lnTo>
                    <a:pt x="442702" y="0"/>
                  </a:lnTo>
                  <a:cubicBezTo>
                    <a:pt x="454352" y="0"/>
                    <a:pt x="462895" y="9320"/>
                    <a:pt x="462895" y="20193"/>
                  </a:cubicBezTo>
                  <a:lnTo>
                    <a:pt x="462895" y="356492"/>
                  </a:lnTo>
                  <a:cubicBezTo>
                    <a:pt x="463672" y="367365"/>
                    <a:pt x="454352" y="376685"/>
                    <a:pt x="442702" y="376685"/>
                  </a:cubicBezTo>
                  <a:lnTo>
                    <a:pt x="442702" y="376685"/>
                  </a:lnTo>
                  <a:close/>
                  <a:moveTo>
                    <a:pt x="41163" y="335522"/>
                  </a:moveTo>
                  <a:lnTo>
                    <a:pt x="422508" y="335522"/>
                  </a:lnTo>
                  <a:lnTo>
                    <a:pt x="422508" y="40387"/>
                  </a:lnTo>
                  <a:lnTo>
                    <a:pt x="41163" y="40387"/>
                  </a:lnTo>
                  <a:lnTo>
                    <a:pt x="41163" y="335522"/>
                  </a:lnTo>
                  <a:lnTo>
                    <a:pt x="41163" y="335522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422" name="Gráfico 2">
              <a:extLst>
                <a:ext uri="{FF2B5EF4-FFF2-40B4-BE49-F238E27FC236}">
                  <a16:creationId xmlns:a16="http://schemas.microsoft.com/office/drawing/2014/main" id="{777488D5-C9B0-42ED-94FB-5C76F4BD1A17}"/>
                </a:ext>
              </a:extLst>
            </p:cNvPr>
            <p:cNvGrpSpPr/>
            <p:nvPr/>
          </p:nvGrpSpPr>
          <p:grpSpPr>
            <a:xfrm>
              <a:off x="5319329" y="5138451"/>
              <a:ext cx="302946" cy="108733"/>
              <a:chOff x="5319329" y="5138451"/>
              <a:chExt cx="302946" cy="108733"/>
            </a:xfrm>
            <a:grpFill/>
          </p:grpSpPr>
          <p:sp>
            <p:nvSpPr>
              <p:cNvPr id="423" name="Forma Livre: Forma 422">
                <a:extLst>
                  <a:ext uri="{FF2B5EF4-FFF2-40B4-BE49-F238E27FC236}">
                    <a16:creationId xmlns:a16="http://schemas.microsoft.com/office/drawing/2014/main" id="{0C79C05E-0397-4043-AB4D-0C23ECC4AD89}"/>
                  </a:ext>
                </a:extLst>
              </p:cNvPr>
              <p:cNvSpPr/>
              <p:nvPr/>
            </p:nvSpPr>
            <p:spPr>
              <a:xfrm>
                <a:off x="5581844" y="5138451"/>
                <a:ext cx="40432" cy="108733"/>
              </a:xfrm>
              <a:custGeom>
                <a:avLst/>
                <a:gdLst>
                  <a:gd name="connsiteX0" fmla="*/ 20194 w 40432"/>
                  <a:gd name="connsiteY0" fmla="*/ 108734 h 108733"/>
                  <a:gd name="connsiteX1" fmla="*/ 0 w 40432"/>
                  <a:gd name="connsiteY1" fmla="*/ 88541 h 108733"/>
                  <a:gd name="connsiteX2" fmla="*/ 0 w 40432"/>
                  <a:gd name="connsiteY2" fmla="*/ 20194 h 108733"/>
                  <a:gd name="connsiteX3" fmla="*/ 20194 w 40432"/>
                  <a:gd name="connsiteY3" fmla="*/ 0 h 108733"/>
                  <a:gd name="connsiteX4" fmla="*/ 40387 w 40432"/>
                  <a:gd name="connsiteY4" fmla="*/ 20194 h 108733"/>
                  <a:gd name="connsiteX5" fmla="*/ 40387 w 40432"/>
                  <a:gd name="connsiteY5" fmla="*/ 88541 h 108733"/>
                  <a:gd name="connsiteX6" fmla="*/ 20194 w 40432"/>
                  <a:gd name="connsiteY6" fmla="*/ 108734 h 108733"/>
                  <a:gd name="connsiteX7" fmla="*/ 20194 w 40432"/>
                  <a:gd name="connsiteY7" fmla="*/ 108734 h 1087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432" h="108733">
                    <a:moveTo>
                      <a:pt x="20194" y="108734"/>
                    </a:moveTo>
                    <a:cubicBezTo>
                      <a:pt x="8544" y="108734"/>
                      <a:pt x="0" y="99414"/>
                      <a:pt x="0" y="88541"/>
                    </a:cubicBezTo>
                    <a:lnTo>
                      <a:pt x="0" y="20194"/>
                    </a:lnTo>
                    <a:cubicBezTo>
                      <a:pt x="0" y="8544"/>
                      <a:pt x="9320" y="0"/>
                      <a:pt x="20194" y="0"/>
                    </a:cubicBezTo>
                    <a:cubicBezTo>
                      <a:pt x="31844" y="0"/>
                      <a:pt x="40387" y="9320"/>
                      <a:pt x="40387" y="20194"/>
                    </a:cubicBezTo>
                    <a:lnTo>
                      <a:pt x="40387" y="88541"/>
                    </a:lnTo>
                    <a:cubicBezTo>
                      <a:pt x="41163" y="100191"/>
                      <a:pt x="31844" y="108734"/>
                      <a:pt x="20194" y="108734"/>
                    </a:cubicBezTo>
                    <a:lnTo>
                      <a:pt x="20194" y="108734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24" name="Forma Livre: Forma 423">
                <a:extLst>
                  <a:ext uri="{FF2B5EF4-FFF2-40B4-BE49-F238E27FC236}">
                    <a16:creationId xmlns:a16="http://schemas.microsoft.com/office/drawing/2014/main" id="{06B7163C-8F5D-490C-BA03-64AF57D06940}"/>
                  </a:ext>
                </a:extLst>
              </p:cNvPr>
              <p:cNvSpPr/>
              <p:nvPr/>
            </p:nvSpPr>
            <p:spPr>
              <a:xfrm>
                <a:off x="5319329" y="5138451"/>
                <a:ext cx="40432" cy="108733"/>
              </a:xfrm>
              <a:custGeom>
                <a:avLst/>
                <a:gdLst>
                  <a:gd name="connsiteX0" fmla="*/ 20193 w 40432"/>
                  <a:gd name="connsiteY0" fmla="*/ 108734 h 108733"/>
                  <a:gd name="connsiteX1" fmla="*/ 0 w 40432"/>
                  <a:gd name="connsiteY1" fmla="*/ 88541 h 108733"/>
                  <a:gd name="connsiteX2" fmla="*/ 0 w 40432"/>
                  <a:gd name="connsiteY2" fmla="*/ 20194 h 108733"/>
                  <a:gd name="connsiteX3" fmla="*/ 20193 w 40432"/>
                  <a:gd name="connsiteY3" fmla="*/ 0 h 108733"/>
                  <a:gd name="connsiteX4" fmla="*/ 40387 w 40432"/>
                  <a:gd name="connsiteY4" fmla="*/ 20194 h 108733"/>
                  <a:gd name="connsiteX5" fmla="*/ 40387 w 40432"/>
                  <a:gd name="connsiteY5" fmla="*/ 88541 h 108733"/>
                  <a:gd name="connsiteX6" fmla="*/ 20193 w 40432"/>
                  <a:gd name="connsiteY6" fmla="*/ 108734 h 108733"/>
                  <a:gd name="connsiteX7" fmla="*/ 20193 w 40432"/>
                  <a:gd name="connsiteY7" fmla="*/ 108734 h 1087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432" h="108733">
                    <a:moveTo>
                      <a:pt x="20193" y="108734"/>
                    </a:moveTo>
                    <a:cubicBezTo>
                      <a:pt x="8543" y="108734"/>
                      <a:pt x="0" y="99414"/>
                      <a:pt x="0" y="88541"/>
                    </a:cubicBezTo>
                    <a:lnTo>
                      <a:pt x="0" y="20194"/>
                    </a:lnTo>
                    <a:cubicBezTo>
                      <a:pt x="0" y="8544"/>
                      <a:pt x="9320" y="0"/>
                      <a:pt x="20193" y="0"/>
                    </a:cubicBezTo>
                    <a:cubicBezTo>
                      <a:pt x="31843" y="0"/>
                      <a:pt x="40387" y="9320"/>
                      <a:pt x="40387" y="20194"/>
                    </a:cubicBezTo>
                    <a:lnTo>
                      <a:pt x="40387" y="88541"/>
                    </a:lnTo>
                    <a:cubicBezTo>
                      <a:pt x="41163" y="100191"/>
                      <a:pt x="31843" y="108734"/>
                      <a:pt x="20193" y="108734"/>
                    </a:cubicBezTo>
                    <a:lnTo>
                      <a:pt x="20193" y="108734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425" name="Forma Livre: Forma 424">
              <a:extLst>
                <a:ext uri="{FF2B5EF4-FFF2-40B4-BE49-F238E27FC236}">
                  <a16:creationId xmlns:a16="http://schemas.microsoft.com/office/drawing/2014/main" id="{C40854CA-2D3B-4B24-9779-BA9F3A615D85}"/>
                </a:ext>
              </a:extLst>
            </p:cNvPr>
            <p:cNvSpPr/>
            <p:nvPr/>
          </p:nvSpPr>
          <p:spPr>
            <a:xfrm>
              <a:off x="5251759" y="5293785"/>
              <a:ext cx="438818" cy="20193"/>
            </a:xfrm>
            <a:custGeom>
              <a:avLst/>
              <a:gdLst>
                <a:gd name="connsiteX0" fmla="*/ 428722 w 438818"/>
                <a:gd name="connsiteY0" fmla="*/ 20194 h 20193"/>
                <a:gd name="connsiteX1" fmla="*/ 10097 w 438818"/>
                <a:gd name="connsiteY1" fmla="*/ 20194 h 20193"/>
                <a:gd name="connsiteX2" fmla="*/ 0 w 438818"/>
                <a:gd name="connsiteY2" fmla="*/ 10097 h 20193"/>
                <a:gd name="connsiteX3" fmla="*/ 10097 w 438818"/>
                <a:gd name="connsiteY3" fmla="*/ 0 h 20193"/>
                <a:gd name="connsiteX4" fmla="*/ 428722 w 438818"/>
                <a:gd name="connsiteY4" fmla="*/ 0 h 20193"/>
                <a:gd name="connsiteX5" fmla="*/ 438819 w 438818"/>
                <a:gd name="connsiteY5" fmla="*/ 10097 h 20193"/>
                <a:gd name="connsiteX6" fmla="*/ 428722 w 438818"/>
                <a:gd name="connsiteY6" fmla="*/ 20194 h 20193"/>
                <a:gd name="connsiteX7" fmla="*/ 428722 w 438818"/>
                <a:gd name="connsiteY7" fmla="*/ 20194 h 20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38818" h="20193">
                  <a:moveTo>
                    <a:pt x="428722" y="20194"/>
                  </a:moveTo>
                  <a:lnTo>
                    <a:pt x="10097" y="20194"/>
                  </a:lnTo>
                  <a:cubicBezTo>
                    <a:pt x="4660" y="20194"/>
                    <a:pt x="0" y="15533"/>
                    <a:pt x="0" y="10097"/>
                  </a:cubicBezTo>
                  <a:cubicBezTo>
                    <a:pt x="0" y="4660"/>
                    <a:pt x="4660" y="0"/>
                    <a:pt x="10097" y="0"/>
                  </a:cubicBezTo>
                  <a:lnTo>
                    <a:pt x="428722" y="0"/>
                  </a:lnTo>
                  <a:cubicBezTo>
                    <a:pt x="434159" y="0"/>
                    <a:pt x="438819" y="4660"/>
                    <a:pt x="438819" y="10097"/>
                  </a:cubicBezTo>
                  <a:cubicBezTo>
                    <a:pt x="438819" y="15533"/>
                    <a:pt x="434159" y="20194"/>
                    <a:pt x="428722" y="20194"/>
                  </a:cubicBezTo>
                  <a:lnTo>
                    <a:pt x="428722" y="20194"/>
                  </a:lnTo>
                  <a:close/>
                </a:path>
              </a:pathLst>
            </a:custGeom>
            <a:grpFill/>
            <a:ln w="77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426" name="Gráfico 2">
              <a:extLst>
                <a:ext uri="{FF2B5EF4-FFF2-40B4-BE49-F238E27FC236}">
                  <a16:creationId xmlns:a16="http://schemas.microsoft.com/office/drawing/2014/main" id="{777488D5-C9B0-42ED-94FB-5C76F4BD1A17}"/>
                </a:ext>
              </a:extLst>
            </p:cNvPr>
            <p:cNvGrpSpPr/>
            <p:nvPr/>
          </p:nvGrpSpPr>
          <p:grpSpPr>
            <a:xfrm>
              <a:off x="5368259" y="5332619"/>
              <a:ext cx="217467" cy="150674"/>
              <a:chOff x="5368259" y="5332619"/>
              <a:chExt cx="217467" cy="150674"/>
            </a:xfrm>
            <a:grpFill/>
          </p:grpSpPr>
          <p:sp>
            <p:nvSpPr>
              <p:cNvPr id="427" name="Forma Livre: Forma 426">
                <a:extLst>
                  <a:ext uri="{FF2B5EF4-FFF2-40B4-BE49-F238E27FC236}">
                    <a16:creationId xmlns:a16="http://schemas.microsoft.com/office/drawing/2014/main" id="{19C9B801-78A9-4137-A051-24759A9EEDDF}"/>
                  </a:ext>
                </a:extLst>
              </p:cNvPr>
              <p:cNvSpPr/>
              <p:nvPr/>
            </p:nvSpPr>
            <p:spPr>
              <a:xfrm>
                <a:off x="5368259" y="5333396"/>
                <a:ext cx="101744" cy="145237"/>
              </a:xfrm>
              <a:custGeom>
                <a:avLst/>
                <a:gdLst>
                  <a:gd name="connsiteX0" fmla="*/ 34174 w 101744"/>
                  <a:gd name="connsiteY0" fmla="*/ 121937 h 145237"/>
                  <a:gd name="connsiteX1" fmla="*/ 86211 w 101744"/>
                  <a:gd name="connsiteY1" fmla="*/ 121937 h 145237"/>
                  <a:gd name="connsiteX2" fmla="*/ 97861 w 101744"/>
                  <a:gd name="connsiteY2" fmla="*/ 125044 h 145237"/>
                  <a:gd name="connsiteX3" fmla="*/ 101744 w 101744"/>
                  <a:gd name="connsiteY3" fmla="*/ 133587 h 145237"/>
                  <a:gd name="connsiteX4" fmla="*/ 98637 w 101744"/>
                  <a:gd name="connsiteY4" fmla="*/ 142131 h 145237"/>
                  <a:gd name="connsiteX5" fmla="*/ 88541 w 101744"/>
                  <a:gd name="connsiteY5" fmla="*/ 145237 h 145237"/>
                  <a:gd name="connsiteX6" fmla="*/ 15533 w 101744"/>
                  <a:gd name="connsiteY6" fmla="*/ 145237 h 145237"/>
                  <a:gd name="connsiteX7" fmla="*/ 3883 w 101744"/>
                  <a:gd name="connsiteY7" fmla="*/ 141354 h 145237"/>
                  <a:gd name="connsiteX8" fmla="*/ 0 w 101744"/>
                  <a:gd name="connsiteY8" fmla="*/ 132034 h 145237"/>
                  <a:gd name="connsiteX9" fmla="*/ 2330 w 101744"/>
                  <a:gd name="connsiteY9" fmla="*/ 122714 h 145237"/>
                  <a:gd name="connsiteX10" fmla="*/ 8544 w 101744"/>
                  <a:gd name="connsiteY10" fmla="*/ 113394 h 145237"/>
                  <a:gd name="connsiteX11" fmla="*/ 32620 w 101744"/>
                  <a:gd name="connsiteY11" fmla="*/ 90094 h 145237"/>
                  <a:gd name="connsiteX12" fmla="*/ 48154 w 101744"/>
                  <a:gd name="connsiteY12" fmla="*/ 76890 h 145237"/>
                  <a:gd name="connsiteX13" fmla="*/ 61357 w 101744"/>
                  <a:gd name="connsiteY13" fmla="*/ 65240 h 145237"/>
                  <a:gd name="connsiteX14" fmla="*/ 69900 w 101744"/>
                  <a:gd name="connsiteY14" fmla="*/ 53590 h 145237"/>
                  <a:gd name="connsiteX15" fmla="*/ 73007 w 101744"/>
                  <a:gd name="connsiteY15" fmla="*/ 41940 h 145237"/>
                  <a:gd name="connsiteX16" fmla="*/ 69900 w 101744"/>
                  <a:gd name="connsiteY16" fmla="*/ 30290 h 145237"/>
                  <a:gd name="connsiteX17" fmla="*/ 61357 w 101744"/>
                  <a:gd name="connsiteY17" fmla="*/ 22523 h 145237"/>
                  <a:gd name="connsiteX18" fmla="*/ 49707 w 101744"/>
                  <a:gd name="connsiteY18" fmla="*/ 19417 h 145237"/>
                  <a:gd name="connsiteX19" fmla="*/ 29513 w 101744"/>
                  <a:gd name="connsiteY19" fmla="*/ 31067 h 145237"/>
                  <a:gd name="connsiteX20" fmla="*/ 26407 w 101744"/>
                  <a:gd name="connsiteY20" fmla="*/ 38834 h 145237"/>
                  <a:gd name="connsiteX21" fmla="*/ 20970 w 101744"/>
                  <a:gd name="connsiteY21" fmla="*/ 48930 h 145237"/>
                  <a:gd name="connsiteX22" fmla="*/ 12427 w 101744"/>
                  <a:gd name="connsiteY22" fmla="*/ 52813 h 145237"/>
                  <a:gd name="connsiteX23" fmla="*/ 3883 w 101744"/>
                  <a:gd name="connsiteY23" fmla="*/ 49707 h 145237"/>
                  <a:gd name="connsiteX24" fmla="*/ 777 w 101744"/>
                  <a:gd name="connsiteY24" fmla="*/ 41163 h 145237"/>
                  <a:gd name="connsiteX25" fmla="*/ 3883 w 101744"/>
                  <a:gd name="connsiteY25" fmla="*/ 27183 h 145237"/>
                  <a:gd name="connsiteX26" fmla="*/ 13203 w 101744"/>
                  <a:gd name="connsiteY26" fmla="*/ 13980 h 145237"/>
                  <a:gd name="connsiteX27" fmla="*/ 28737 w 101744"/>
                  <a:gd name="connsiteY27" fmla="*/ 3883 h 145237"/>
                  <a:gd name="connsiteX28" fmla="*/ 50484 w 101744"/>
                  <a:gd name="connsiteY28" fmla="*/ 0 h 145237"/>
                  <a:gd name="connsiteX29" fmla="*/ 76114 w 101744"/>
                  <a:gd name="connsiteY29" fmla="*/ 4660 h 145237"/>
                  <a:gd name="connsiteX30" fmla="*/ 88541 w 101744"/>
                  <a:gd name="connsiteY30" fmla="*/ 13203 h 145237"/>
                  <a:gd name="connsiteX31" fmla="*/ 97084 w 101744"/>
                  <a:gd name="connsiteY31" fmla="*/ 26407 h 145237"/>
                  <a:gd name="connsiteX32" fmla="*/ 100191 w 101744"/>
                  <a:gd name="connsiteY32" fmla="*/ 41163 h 145237"/>
                  <a:gd name="connsiteX33" fmla="*/ 93977 w 101744"/>
                  <a:gd name="connsiteY33" fmla="*/ 63687 h 145237"/>
                  <a:gd name="connsiteX34" fmla="*/ 81550 w 101744"/>
                  <a:gd name="connsiteY34" fmla="*/ 79220 h 145237"/>
                  <a:gd name="connsiteX35" fmla="*/ 60580 w 101744"/>
                  <a:gd name="connsiteY35" fmla="*/ 97084 h 145237"/>
                  <a:gd name="connsiteX36" fmla="*/ 40387 w 101744"/>
                  <a:gd name="connsiteY36" fmla="*/ 115724 h 145237"/>
                  <a:gd name="connsiteX37" fmla="*/ 34174 w 101744"/>
                  <a:gd name="connsiteY37" fmla="*/ 121937 h 145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101744" h="145237">
                    <a:moveTo>
                      <a:pt x="34174" y="121937"/>
                    </a:moveTo>
                    <a:lnTo>
                      <a:pt x="86211" y="121937"/>
                    </a:lnTo>
                    <a:cubicBezTo>
                      <a:pt x="91647" y="121937"/>
                      <a:pt x="95530" y="122714"/>
                      <a:pt x="97861" y="125044"/>
                    </a:cubicBezTo>
                    <a:cubicBezTo>
                      <a:pt x="100191" y="127374"/>
                      <a:pt x="101744" y="129704"/>
                      <a:pt x="101744" y="133587"/>
                    </a:cubicBezTo>
                    <a:cubicBezTo>
                      <a:pt x="101744" y="136694"/>
                      <a:pt x="100967" y="139801"/>
                      <a:pt x="98637" y="142131"/>
                    </a:cubicBezTo>
                    <a:cubicBezTo>
                      <a:pt x="96307" y="144461"/>
                      <a:pt x="93200" y="145237"/>
                      <a:pt x="88541" y="145237"/>
                    </a:cubicBezTo>
                    <a:lnTo>
                      <a:pt x="15533" y="145237"/>
                    </a:lnTo>
                    <a:cubicBezTo>
                      <a:pt x="10874" y="145237"/>
                      <a:pt x="6990" y="143684"/>
                      <a:pt x="3883" y="141354"/>
                    </a:cubicBezTo>
                    <a:cubicBezTo>
                      <a:pt x="777" y="138247"/>
                      <a:pt x="0" y="135140"/>
                      <a:pt x="0" y="132034"/>
                    </a:cubicBezTo>
                    <a:cubicBezTo>
                      <a:pt x="0" y="129704"/>
                      <a:pt x="777" y="126597"/>
                      <a:pt x="2330" y="122714"/>
                    </a:cubicBezTo>
                    <a:cubicBezTo>
                      <a:pt x="3883" y="118830"/>
                      <a:pt x="6213" y="115724"/>
                      <a:pt x="8544" y="113394"/>
                    </a:cubicBezTo>
                    <a:cubicBezTo>
                      <a:pt x="17087" y="104074"/>
                      <a:pt x="24854" y="96307"/>
                      <a:pt x="32620" y="90094"/>
                    </a:cubicBezTo>
                    <a:cubicBezTo>
                      <a:pt x="39610" y="83880"/>
                      <a:pt x="45047" y="79220"/>
                      <a:pt x="48154" y="76890"/>
                    </a:cubicBezTo>
                    <a:cubicBezTo>
                      <a:pt x="53590" y="73007"/>
                      <a:pt x="58250" y="69123"/>
                      <a:pt x="61357" y="65240"/>
                    </a:cubicBezTo>
                    <a:cubicBezTo>
                      <a:pt x="65241" y="61357"/>
                      <a:pt x="67570" y="57473"/>
                      <a:pt x="69900" y="53590"/>
                    </a:cubicBezTo>
                    <a:cubicBezTo>
                      <a:pt x="71454" y="49707"/>
                      <a:pt x="73007" y="45823"/>
                      <a:pt x="73007" y="41940"/>
                    </a:cubicBezTo>
                    <a:cubicBezTo>
                      <a:pt x="73007" y="38057"/>
                      <a:pt x="72230" y="34173"/>
                      <a:pt x="69900" y="30290"/>
                    </a:cubicBezTo>
                    <a:cubicBezTo>
                      <a:pt x="67570" y="27183"/>
                      <a:pt x="65241" y="24077"/>
                      <a:pt x="61357" y="22523"/>
                    </a:cubicBezTo>
                    <a:cubicBezTo>
                      <a:pt x="58250" y="20970"/>
                      <a:pt x="54367" y="19417"/>
                      <a:pt x="49707" y="19417"/>
                    </a:cubicBezTo>
                    <a:cubicBezTo>
                      <a:pt x="41163" y="19417"/>
                      <a:pt x="34174" y="23300"/>
                      <a:pt x="29513" y="31067"/>
                    </a:cubicBezTo>
                    <a:cubicBezTo>
                      <a:pt x="28737" y="31843"/>
                      <a:pt x="27960" y="34950"/>
                      <a:pt x="26407" y="38834"/>
                    </a:cubicBezTo>
                    <a:cubicBezTo>
                      <a:pt x="24854" y="43493"/>
                      <a:pt x="23300" y="46600"/>
                      <a:pt x="20970" y="48930"/>
                    </a:cubicBezTo>
                    <a:cubicBezTo>
                      <a:pt x="18640" y="51260"/>
                      <a:pt x="16310" y="52813"/>
                      <a:pt x="12427" y="52813"/>
                    </a:cubicBezTo>
                    <a:cubicBezTo>
                      <a:pt x="9320" y="52813"/>
                      <a:pt x="6213" y="52037"/>
                      <a:pt x="3883" y="49707"/>
                    </a:cubicBezTo>
                    <a:cubicBezTo>
                      <a:pt x="1553" y="47377"/>
                      <a:pt x="777" y="44270"/>
                      <a:pt x="777" y="41163"/>
                    </a:cubicBezTo>
                    <a:cubicBezTo>
                      <a:pt x="777" y="36504"/>
                      <a:pt x="1553" y="31843"/>
                      <a:pt x="3883" y="27183"/>
                    </a:cubicBezTo>
                    <a:cubicBezTo>
                      <a:pt x="6213" y="22523"/>
                      <a:pt x="9320" y="17863"/>
                      <a:pt x="13203" y="13980"/>
                    </a:cubicBezTo>
                    <a:cubicBezTo>
                      <a:pt x="17087" y="10097"/>
                      <a:pt x="22524" y="6990"/>
                      <a:pt x="28737" y="3883"/>
                    </a:cubicBezTo>
                    <a:cubicBezTo>
                      <a:pt x="34950" y="1553"/>
                      <a:pt x="41940" y="0"/>
                      <a:pt x="50484" y="0"/>
                    </a:cubicBezTo>
                    <a:cubicBezTo>
                      <a:pt x="60580" y="0"/>
                      <a:pt x="69124" y="1553"/>
                      <a:pt x="76114" y="4660"/>
                    </a:cubicBezTo>
                    <a:cubicBezTo>
                      <a:pt x="80774" y="6990"/>
                      <a:pt x="84657" y="9320"/>
                      <a:pt x="88541" y="13203"/>
                    </a:cubicBezTo>
                    <a:cubicBezTo>
                      <a:pt x="92424" y="17087"/>
                      <a:pt x="94754" y="20970"/>
                      <a:pt x="97084" y="26407"/>
                    </a:cubicBezTo>
                    <a:cubicBezTo>
                      <a:pt x="98637" y="31067"/>
                      <a:pt x="100191" y="36504"/>
                      <a:pt x="100191" y="41163"/>
                    </a:cubicBezTo>
                    <a:cubicBezTo>
                      <a:pt x="100191" y="49707"/>
                      <a:pt x="97861" y="56697"/>
                      <a:pt x="93977" y="63687"/>
                    </a:cubicBezTo>
                    <a:cubicBezTo>
                      <a:pt x="90094" y="70677"/>
                      <a:pt x="85434" y="75337"/>
                      <a:pt x="81550" y="79220"/>
                    </a:cubicBezTo>
                    <a:cubicBezTo>
                      <a:pt x="77667" y="83104"/>
                      <a:pt x="69900" y="89317"/>
                      <a:pt x="60580" y="97084"/>
                    </a:cubicBezTo>
                    <a:cubicBezTo>
                      <a:pt x="50484" y="104851"/>
                      <a:pt x="43494" y="111840"/>
                      <a:pt x="40387" y="115724"/>
                    </a:cubicBezTo>
                    <a:cubicBezTo>
                      <a:pt x="38057" y="117277"/>
                      <a:pt x="36504" y="119607"/>
                      <a:pt x="34174" y="121937"/>
                    </a:cubicBez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28" name="Forma Livre: Forma 427">
                <a:extLst>
                  <a:ext uri="{FF2B5EF4-FFF2-40B4-BE49-F238E27FC236}">
                    <a16:creationId xmlns:a16="http://schemas.microsoft.com/office/drawing/2014/main" id="{A5BD97BC-CEB9-41D8-BF2E-98F7A0C94DA8}"/>
                  </a:ext>
                </a:extLst>
              </p:cNvPr>
              <p:cNvSpPr/>
              <p:nvPr/>
            </p:nvSpPr>
            <p:spPr>
              <a:xfrm>
                <a:off x="5470780" y="5332619"/>
                <a:ext cx="114947" cy="150674"/>
              </a:xfrm>
              <a:custGeom>
                <a:avLst/>
                <a:gdLst>
                  <a:gd name="connsiteX0" fmla="*/ 68347 w 114947"/>
                  <a:gd name="connsiteY0" fmla="*/ 133587 h 150674"/>
                  <a:gd name="connsiteX1" fmla="*/ 68347 w 114947"/>
                  <a:gd name="connsiteY1" fmla="*/ 114948 h 150674"/>
                  <a:gd name="connsiteX2" fmla="*/ 18640 w 114947"/>
                  <a:gd name="connsiteY2" fmla="*/ 114948 h 150674"/>
                  <a:gd name="connsiteX3" fmla="*/ 4660 w 114947"/>
                  <a:gd name="connsiteY3" fmla="*/ 111064 h 150674"/>
                  <a:gd name="connsiteX4" fmla="*/ 0 w 114947"/>
                  <a:gd name="connsiteY4" fmla="*/ 99414 h 150674"/>
                  <a:gd name="connsiteX5" fmla="*/ 776 w 114947"/>
                  <a:gd name="connsiteY5" fmla="*/ 95531 h 150674"/>
                  <a:gd name="connsiteX6" fmla="*/ 3107 w 114947"/>
                  <a:gd name="connsiteY6" fmla="*/ 91647 h 150674"/>
                  <a:gd name="connsiteX7" fmla="*/ 6213 w 114947"/>
                  <a:gd name="connsiteY7" fmla="*/ 87764 h 150674"/>
                  <a:gd name="connsiteX8" fmla="*/ 10097 w 114947"/>
                  <a:gd name="connsiteY8" fmla="*/ 83104 h 150674"/>
                  <a:gd name="connsiteX9" fmla="*/ 62910 w 114947"/>
                  <a:gd name="connsiteY9" fmla="*/ 13203 h 150674"/>
                  <a:gd name="connsiteX10" fmla="*/ 71454 w 114947"/>
                  <a:gd name="connsiteY10" fmla="*/ 3107 h 150674"/>
                  <a:gd name="connsiteX11" fmla="*/ 79220 w 114947"/>
                  <a:gd name="connsiteY11" fmla="*/ 0 h 150674"/>
                  <a:gd name="connsiteX12" fmla="*/ 93977 w 114947"/>
                  <a:gd name="connsiteY12" fmla="*/ 17087 h 150674"/>
                  <a:gd name="connsiteX13" fmla="*/ 93977 w 114947"/>
                  <a:gd name="connsiteY13" fmla="*/ 93977 h 150674"/>
                  <a:gd name="connsiteX14" fmla="*/ 97860 w 114947"/>
                  <a:gd name="connsiteY14" fmla="*/ 93977 h 150674"/>
                  <a:gd name="connsiteX15" fmla="*/ 110287 w 114947"/>
                  <a:gd name="connsiteY15" fmla="*/ 96307 h 150674"/>
                  <a:gd name="connsiteX16" fmla="*/ 114947 w 114947"/>
                  <a:gd name="connsiteY16" fmla="*/ 105627 h 150674"/>
                  <a:gd name="connsiteX17" fmla="*/ 111064 w 114947"/>
                  <a:gd name="connsiteY17" fmla="*/ 114171 h 150674"/>
                  <a:gd name="connsiteX18" fmla="*/ 99414 w 114947"/>
                  <a:gd name="connsiteY18" fmla="*/ 116501 h 150674"/>
                  <a:gd name="connsiteX19" fmla="*/ 93200 w 114947"/>
                  <a:gd name="connsiteY19" fmla="*/ 116501 h 150674"/>
                  <a:gd name="connsiteX20" fmla="*/ 93200 w 114947"/>
                  <a:gd name="connsiteY20" fmla="*/ 135141 h 150674"/>
                  <a:gd name="connsiteX21" fmla="*/ 90094 w 114947"/>
                  <a:gd name="connsiteY21" fmla="*/ 146791 h 150674"/>
                  <a:gd name="connsiteX22" fmla="*/ 80774 w 114947"/>
                  <a:gd name="connsiteY22" fmla="*/ 150674 h 150674"/>
                  <a:gd name="connsiteX23" fmla="*/ 71454 w 114947"/>
                  <a:gd name="connsiteY23" fmla="*/ 146791 h 150674"/>
                  <a:gd name="connsiteX24" fmla="*/ 68347 w 114947"/>
                  <a:gd name="connsiteY24" fmla="*/ 133587 h 150674"/>
                  <a:gd name="connsiteX25" fmla="*/ 25630 w 114947"/>
                  <a:gd name="connsiteY25" fmla="*/ 93200 h 150674"/>
                  <a:gd name="connsiteX26" fmla="*/ 68347 w 114947"/>
                  <a:gd name="connsiteY26" fmla="*/ 93200 h 150674"/>
                  <a:gd name="connsiteX27" fmla="*/ 68347 w 114947"/>
                  <a:gd name="connsiteY27" fmla="*/ 35727 h 150674"/>
                  <a:gd name="connsiteX28" fmla="*/ 25630 w 114947"/>
                  <a:gd name="connsiteY28" fmla="*/ 93200 h 150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14947" h="150674">
                    <a:moveTo>
                      <a:pt x="68347" y="133587"/>
                    </a:moveTo>
                    <a:lnTo>
                      <a:pt x="68347" y="114948"/>
                    </a:lnTo>
                    <a:lnTo>
                      <a:pt x="18640" y="114948"/>
                    </a:lnTo>
                    <a:cubicBezTo>
                      <a:pt x="12427" y="114948"/>
                      <a:pt x="7767" y="113394"/>
                      <a:pt x="4660" y="111064"/>
                    </a:cubicBezTo>
                    <a:cubicBezTo>
                      <a:pt x="1553" y="107957"/>
                      <a:pt x="0" y="104074"/>
                      <a:pt x="0" y="99414"/>
                    </a:cubicBezTo>
                    <a:cubicBezTo>
                      <a:pt x="0" y="97861"/>
                      <a:pt x="0" y="97084"/>
                      <a:pt x="776" y="95531"/>
                    </a:cubicBezTo>
                    <a:cubicBezTo>
                      <a:pt x="1553" y="93977"/>
                      <a:pt x="1553" y="93200"/>
                      <a:pt x="3107" y="91647"/>
                    </a:cubicBezTo>
                    <a:cubicBezTo>
                      <a:pt x="3883" y="90094"/>
                      <a:pt x="4660" y="88541"/>
                      <a:pt x="6213" y="87764"/>
                    </a:cubicBezTo>
                    <a:cubicBezTo>
                      <a:pt x="6990" y="86211"/>
                      <a:pt x="8543" y="84657"/>
                      <a:pt x="10097" y="83104"/>
                    </a:cubicBezTo>
                    <a:lnTo>
                      <a:pt x="62910" y="13203"/>
                    </a:lnTo>
                    <a:cubicBezTo>
                      <a:pt x="66017" y="8544"/>
                      <a:pt x="69124" y="5437"/>
                      <a:pt x="71454" y="3107"/>
                    </a:cubicBezTo>
                    <a:cubicBezTo>
                      <a:pt x="73784" y="777"/>
                      <a:pt x="76114" y="0"/>
                      <a:pt x="79220" y="0"/>
                    </a:cubicBezTo>
                    <a:cubicBezTo>
                      <a:pt x="89317" y="0"/>
                      <a:pt x="93977" y="5437"/>
                      <a:pt x="93977" y="17087"/>
                    </a:cubicBezTo>
                    <a:lnTo>
                      <a:pt x="93977" y="93977"/>
                    </a:lnTo>
                    <a:lnTo>
                      <a:pt x="97860" y="93977"/>
                    </a:lnTo>
                    <a:cubicBezTo>
                      <a:pt x="103297" y="93977"/>
                      <a:pt x="107180" y="94754"/>
                      <a:pt x="110287" y="96307"/>
                    </a:cubicBezTo>
                    <a:cubicBezTo>
                      <a:pt x="113394" y="97861"/>
                      <a:pt x="114947" y="100967"/>
                      <a:pt x="114947" y="105627"/>
                    </a:cubicBezTo>
                    <a:cubicBezTo>
                      <a:pt x="114947" y="109511"/>
                      <a:pt x="113394" y="112617"/>
                      <a:pt x="111064" y="114171"/>
                    </a:cubicBezTo>
                    <a:cubicBezTo>
                      <a:pt x="108734" y="115724"/>
                      <a:pt x="104851" y="116501"/>
                      <a:pt x="99414" y="116501"/>
                    </a:cubicBezTo>
                    <a:lnTo>
                      <a:pt x="93200" y="116501"/>
                    </a:lnTo>
                    <a:lnTo>
                      <a:pt x="93200" y="135141"/>
                    </a:lnTo>
                    <a:cubicBezTo>
                      <a:pt x="93200" y="140578"/>
                      <a:pt x="92424" y="143684"/>
                      <a:pt x="90094" y="146791"/>
                    </a:cubicBezTo>
                    <a:cubicBezTo>
                      <a:pt x="87764" y="149121"/>
                      <a:pt x="84657" y="150674"/>
                      <a:pt x="80774" y="150674"/>
                    </a:cubicBezTo>
                    <a:cubicBezTo>
                      <a:pt x="76891" y="150674"/>
                      <a:pt x="73784" y="149121"/>
                      <a:pt x="71454" y="146791"/>
                    </a:cubicBezTo>
                    <a:cubicBezTo>
                      <a:pt x="69124" y="142131"/>
                      <a:pt x="68347" y="139024"/>
                      <a:pt x="68347" y="133587"/>
                    </a:cubicBezTo>
                    <a:close/>
                    <a:moveTo>
                      <a:pt x="25630" y="93200"/>
                    </a:moveTo>
                    <a:lnTo>
                      <a:pt x="68347" y="93200"/>
                    </a:lnTo>
                    <a:lnTo>
                      <a:pt x="68347" y="35727"/>
                    </a:lnTo>
                    <a:lnTo>
                      <a:pt x="25630" y="93200"/>
                    </a:lnTo>
                    <a:close/>
                  </a:path>
                </a:pathLst>
              </a:custGeom>
              <a:grpFill/>
              <a:ln w="776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583285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Espaço Reservado para Imagem 17" descr="Homem em pé em frente a praia&#10;&#10;Descrição gerada automaticamente">
            <a:extLst>
              <a:ext uri="{FF2B5EF4-FFF2-40B4-BE49-F238E27FC236}">
                <a16:creationId xmlns:a16="http://schemas.microsoft.com/office/drawing/2014/main" id="{6400361F-89F4-4746-896D-DE16B46BACBE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207853"/>
          </a:xfrm>
        </p:spPr>
      </p:pic>
      <p:sp>
        <p:nvSpPr>
          <p:cNvPr id="5" name="Retângulo 4">
            <a:extLst>
              <a:ext uri="{FF2B5EF4-FFF2-40B4-BE49-F238E27FC236}">
                <a16:creationId xmlns:a16="http://schemas.microsoft.com/office/drawing/2014/main" id="{BEE49430-A490-4E00-BD15-1824E813825C}"/>
              </a:ext>
            </a:extLst>
          </p:cNvPr>
          <p:cNvSpPr/>
          <p:nvPr/>
        </p:nvSpPr>
        <p:spPr>
          <a:xfrm>
            <a:off x="1066800" y="0"/>
            <a:ext cx="4127500" cy="5842000"/>
          </a:xfrm>
          <a:prstGeom prst="rect">
            <a:avLst/>
          </a:prstGeom>
          <a:solidFill>
            <a:srgbClr val="263143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6" name="Gráfico 5">
            <a:extLst>
              <a:ext uri="{FF2B5EF4-FFF2-40B4-BE49-F238E27FC236}">
                <a16:creationId xmlns:a16="http://schemas.microsoft.com/office/drawing/2014/main" id="{CBD04F7A-BC5C-46B8-BC77-C26C30F0F36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412274" y="4516336"/>
            <a:ext cx="2782026" cy="1325663"/>
          </a:xfrm>
          <a:prstGeom prst="rect">
            <a:avLst/>
          </a:prstGeom>
        </p:spPr>
      </p:pic>
      <p:sp>
        <p:nvSpPr>
          <p:cNvPr id="7" name="CaixaDeTexto 6">
            <a:extLst>
              <a:ext uri="{FF2B5EF4-FFF2-40B4-BE49-F238E27FC236}">
                <a16:creationId xmlns:a16="http://schemas.microsoft.com/office/drawing/2014/main" id="{7F99B456-EB88-43FB-BB89-D6D799EA2B07}"/>
              </a:ext>
            </a:extLst>
          </p:cNvPr>
          <p:cNvSpPr txBox="1"/>
          <p:nvPr/>
        </p:nvSpPr>
        <p:spPr>
          <a:xfrm>
            <a:off x="1676400" y="1735889"/>
            <a:ext cx="2895600" cy="95410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pt-BR" sz="2800" b="1" dirty="0">
                <a:solidFill>
                  <a:srgbClr val="D6D6C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aqui o Título do slide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33BA2CA5-793F-42C9-A8AE-0AF985D64AA4}"/>
              </a:ext>
            </a:extLst>
          </p:cNvPr>
          <p:cNvSpPr txBox="1"/>
          <p:nvPr/>
        </p:nvSpPr>
        <p:spPr>
          <a:xfrm>
            <a:off x="1676400" y="3404224"/>
            <a:ext cx="2895600" cy="76944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pt-BR" sz="2200" dirty="0">
                <a:solidFill>
                  <a:srgbClr val="D6D6C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aqui o texto </a:t>
            </a:r>
            <a:br>
              <a:rPr lang="pt-BR" sz="2200" dirty="0">
                <a:solidFill>
                  <a:srgbClr val="D6D6C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pt-BR" sz="2200" dirty="0">
                <a:solidFill>
                  <a:srgbClr val="D6D6C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 destaque</a:t>
            </a:r>
          </a:p>
        </p:txBody>
      </p:sp>
      <p:cxnSp>
        <p:nvCxnSpPr>
          <p:cNvPr id="9" name="Conector reto 8">
            <a:extLst>
              <a:ext uri="{FF2B5EF4-FFF2-40B4-BE49-F238E27FC236}">
                <a16:creationId xmlns:a16="http://schemas.microsoft.com/office/drawing/2014/main" id="{90A1B7F0-5CA9-4A8B-81C4-05A80E815113}"/>
              </a:ext>
            </a:extLst>
          </p:cNvPr>
          <p:cNvCxnSpPr/>
          <p:nvPr/>
        </p:nvCxnSpPr>
        <p:spPr>
          <a:xfrm flipH="1">
            <a:off x="444500" y="3086100"/>
            <a:ext cx="4127500" cy="0"/>
          </a:xfrm>
          <a:prstGeom prst="line">
            <a:avLst/>
          </a:prstGeom>
          <a:ln w="38100">
            <a:solidFill>
              <a:srgbClr val="D6D6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360481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5367152" y="5701104"/>
            <a:ext cx="425174" cy="385039"/>
            <a:chOff x="5359113" y="5759357"/>
            <a:chExt cx="429956" cy="389370"/>
          </a:xfrm>
          <a:solidFill>
            <a:srgbClr val="B1B1A1"/>
          </a:solidFill>
        </p:grpSpPr>
        <p:sp>
          <p:nvSpPr>
            <p:cNvPr id="6" name="Forma Livre: Forma 5">
              <a:extLst>
                <a:ext uri="{FF2B5EF4-FFF2-40B4-BE49-F238E27FC236}">
                  <a16:creationId xmlns:a16="http://schemas.microsoft.com/office/drawing/2014/main" id="{53072544-EF82-4F69-B36F-72783DE51BE6}"/>
                </a:ext>
              </a:extLst>
            </p:cNvPr>
            <p:cNvSpPr/>
            <p:nvPr/>
          </p:nvSpPr>
          <p:spPr>
            <a:xfrm>
              <a:off x="5359113" y="5759357"/>
              <a:ext cx="429956" cy="215612"/>
            </a:xfrm>
            <a:custGeom>
              <a:avLst/>
              <a:gdLst>
                <a:gd name="connsiteX0" fmla="*/ 378590 w 429956"/>
                <a:gd name="connsiteY0" fmla="*/ 215612 h 215612"/>
                <a:gd name="connsiteX1" fmla="*/ 369712 w 429956"/>
                <a:gd name="connsiteY1" fmla="*/ 213709 h 215612"/>
                <a:gd name="connsiteX2" fmla="*/ 290442 w 429956"/>
                <a:gd name="connsiteY2" fmla="*/ 173124 h 215612"/>
                <a:gd name="connsiteX3" fmla="*/ 272686 w 429956"/>
                <a:gd name="connsiteY3" fmla="*/ 138245 h 215612"/>
                <a:gd name="connsiteX4" fmla="*/ 279662 w 429956"/>
                <a:gd name="connsiteY4" fmla="*/ 107172 h 215612"/>
                <a:gd name="connsiteX5" fmla="*/ 271418 w 429956"/>
                <a:gd name="connsiteY5" fmla="*/ 103367 h 215612"/>
                <a:gd name="connsiteX6" fmla="*/ 214344 w 429956"/>
                <a:gd name="connsiteY6" fmla="*/ 98928 h 215612"/>
                <a:gd name="connsiteX7" fmla="*/ 157904 w 429956"/>
                <a:gd name="connsiteY7" fmla="*/ 103367 h 215612"/>
                <a:gd name="connsiteX8" fmla="*/ 149661 w 429956"/>
                <a:gd name="connsiteY8" fmla="*/ 107172 h 215612"/>
                <a:gd name="connsiteX9" fmla="*/ 156636 w 429956"/>
                <a:gd name="connsiteY9" fmla="*/ 138245 h 215612"/>
                <a:gd name="connsiteX10" fmla="*/ 139514 w 429956"/>
                <a:gd name="connsiteY10" fmla="*/ 172490 h 215612"/>
                <a:gd name="connsiteX11" fmla="*/ 58342 w 429956"/>
                <a:gd name="connsiteY11" fmla="*/ 214344 h 215612"/>
                <a:gd name="connsiteX12" fmla="*/ 50732 w 429956"/>
                <a:gd name="connsiteY12" fmla="*/ 215612 h 215612"/>
                <a:gd name="connsiteX13" fmla="*/ 16488 w 429956"/>
                <a:gd name="connsiteY13" fmla="*/ 194051 h 215612"/>
                <a:gd name="connsiteX14" fmla="*/ 0 w 429956"/>
                <a:gd name="connsiteY14" fmla="*/ 115416 h 215612"/>
                <a:gd name="connsiteX15" fmla="*/ 1268 w 429956"/>
                <a:gd name="connsiteY15" fmla="*/ 91952 h 215612"/>
                <a:gd name="connsiteX16" fmla="*/ 1902 w 429956"/>
                <a:gd name="connsiteY16" fmla="*/ 86245 h 215612"/>
                <a:gd name="connsiteX17" fmla="*/ 5708 w 429956"/>
                <a:gd name="connsiteY17" fmla="*/ 82440 h 215612"/>
                <a:gd name="connsiteX18" fmla="*/ 214344 w 429956"/>
                <a:gd name="connsiteY18" fmla="*/ 0 h 215612"/>
                <a:gd name="connsiteX19" fmla="*/ 424249 w 429956"/>
                <a:gd name="connsiteY19" fmla="*/ 82440 h 215612"/>
                <a:gd name="connsiteX20" fmla="*/ 428054 w 429956"/>
                <a:gd name="connsiteY20" fmla="*/ 86879 h 215612"/>
                <a:gd name="connsiteX21" fmla="*/ 428688 w 429956"/>
                <a:gd name="connsiteY21" fmla="*/ 92586 h 215612"/>
                <a:gd name="connsiteX22" fmla="*/ 429956 w 429956"/>
                <a:gd name="connsiteY22" fmla="*/ 115416 h 215612"/>
                <a:gd name="connsiteX23" fmla="*/ 413468 w 429956"/>
                <a:gd name="connsiteY23" fmla="*/ 194051 h 215612"/>
                <a:gd name="connsiteX24" fmla="*/ 378590 w 429956"/>
                <a:gd name="connsiteY24" fmla="*/ 215612 h 215612"/>
                <a:gd name="connsiteX25" fmla="*/ 378590 w 429956"/>
                <a:gd name="connsiteY25" fmla="*/ 215612 h 215612"/>
                <a:gd name="connsiteX26" fmla="*/ 45659 w 429956"/>
                <a:gd name="connsiteY26" fmla="*/ 178831 h 215612"/>
                <a:gd name="connsiteX27" fmla="*/ 48830 w 429956"/>
                <a:gd name="connsiteY27" fmla="*/ 180734 h 215612"/>
                <a:gd name="connsiteX28" fmla="*/ 120489 w 429956"/>
                <a:gd name="connsiteY28" fmla="*/ 143319 h 215612"/>
                <a:gd name="connsiteX29" fmla="*/ 121758 w 429956"/>
                <a:gd name="connsiteY29" fmla="*/ 140782 h 215612"/>
                <a:gd name="connsiteX30" fmla="*/ 115416 w 429956"/>
                <a:gd name="connsiteY30" fmla="*/ 112245 h 215612"/>
                <a:gd name="connsiteX31" fmla="*/ 120489 w 429956"/>
                <a:gd name="connsiteY31" fmla="*/ 87513 h 215612"/>
                <a:gd name="connsiteX32" fmla="*/ 151563 w 429956"/>
                <a:gd name="connsiteY32" fmla="*/ 68489 h 215612"/>
                <a:gd name="connsiteX33" fmla="*/ 213076 w 429956"/>
                <a:gd name="connsiteY33" fmla="*/ 63415 h 215612"/>
                <a:gd name="connsiteX34" fmla="*/ 275223 w 429956"/>
                <a:gd name="connsiteY34" fmla="*/ 68489 h 215612"/>
                <a:gd name="connsiteX35" fmla="*/ 306296 w 429956"/>
                <a:gd name="connsiteY35" fmla="*/ 87513 h 215612"/>
                <a:gd name="connsiteX36" fmla="*/ 311370 w 429956"/>
                <a:gd name="connsiteY36" fmla="*/ 112245 h 215612"/>
                <a:gd name="connsiteX37" fmla="*/ 305028 w 429956"/>
                <a:gd name="connsiteY37" fmla="*/ 140782 h 215612"/>
                <a:gd name="connsiteX38" fmla="*/ 306931 w 429956"/>
                <a:gd name="connsiteY38" fmla="*/ 143953 h 215612"/>
                <a:gd name="connsiteX39" fmla="*/ 378590 w 429956"/>
                <a:gd name="connsiteY39" fmla="*/ 180734 h 215612"/>
                <a:gd name="connsiteX40" fmla="*/ 381761 w 429956"/>
                <a:gd name="connsiteY40" fmla="*/ 178831 h 215612"/>
                <a:gd name="connsiteX41" fmla="*/ 394444 w 429956"/>
                <a:gd name="connsiteY41" fmla="*/ 115416 h 215612"/>
                <a:gd name="connsiteX42" fmla="*/ 393810 w 429956"/>
                <a:gd name="connsiteY42" fmla="*/ 102099 h 215612"/>
                <a:gd name="connsiteX43" fmla="*/ 213710 w 429956"/>
                <a:gd name="connsiteY43" fmla="*/ 34244 h 215612"/>
                <a:gd name="connsiteX44" fmla="*/ 211807 w 429956"/>
                <a:gd name="connsiteY44" fmla="*/ 34244 h 215612"/>
                <a:gd name="connsiteX45" fmla="*/ 32342 w 429956"/>
                <a:gd name="connsiteY45" fmla="*/ 102099 h 215612"/>
                <a:gd name="connsiteX46" fmla="*/ 31708 w 429956"/>
                <a:gd name="connsiteY46" fmla="*/ 115416 h 215612"/>
                <a:gd name="connsiteX47" fmla="*/ 45659 w 429956"/>
                <a:gd name="connsiteY47" fmla="*/ 178831 h 215612"/>
                <a:gd name="connsiteX48" fmla="*/ 45659 w 429956"/>
                <a:gd name="connsiteY48" fmla="*/ 178831 h 215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29956" h="215612">
                  <a:moveTo>
                    <a:pt x="378590" y="215612"/>
                  </a:moveTo>
                  <a:cubicBezTo>
                    <a:pt x="375419" y="215612"/>
                    <a:pt x="372248" y="214978"/>
                    <a:pt x="369712" y="213709"/>
                  </a:cubicBezTo>
                  <a:cubicBezTo>
                    <a:pt x="346882" y="202929"/>
                    <a:pt x="317077" y="188343"/>
                    <a:pt x="290442" y="173124"/>
                  </a:cubicBezTo>
                  <a:cubicBezTo>
                    <a:pt x="282833" y="168685"/>
                    <a:pt x="269515" y="152197"/>
                    <a:pt x="272686" y="138245"/>
                  </a:cubicBezTo>
                  <a:lnTo>
                    <a:pt x="279662" y="107172"/>
                  </a:lnTo>
                  <a:cubicBezTo>
                    <a:pt x="278394" y="105903"/>
                    <a:pt x="275857" y="104001"/>
                    <a:pt x="271418" y="103367"/>
                  </a:cubicBezTo>
                  <a:cubicBezTo>
                    <a:pt x="253027" y="100196"/>
                    <a:pt x="234637" y="98928"/>
                    <a:pt x="214344" y="98928"/>
                  </a:cubicBezTo>
                  <a:cubicBezTo>
                    <a:pt x="194685" y="98928"/>
                    <a:pt x="175661" y="100830"/>
                    <a:pt x="157904" y="103367"/>
                  </a:cubicBezTo>
                  <a:cubicBezTo>
                    <a:pt x="153465" y="104001"/>
                    <a:pt x="150295" y="105903"/>
                    <a:pt x="149661" y="107172"/>
                  </a:cubicBezTo>
                  <a:lnTo>
                    <a:pt x="156636" y="138245"/>
                  </a:lnTo>
                  <a:cubicBezTo>
                    <a:pt x="159807" y="152831"/>
                    <a:pt x="145855" y="168685"/>
                    <a:pt x="139514" y="172490"/>
                  </a:cubicBezTo>
                  <a:cubicBezTo>
                    <a:pt x="107806" y="192783"/>
                    <a:pt x="86879" y="202929"/>
                    <a:pt x="58342" y="214344"/>
                  </a:cubicBezTo>
                  <a:cubicBezTo>
                    <a:pt x="55805" y="214978"/>
                    <a:pt x="53269" y="215612"/>
                    <a:pt x="50732" y="215612"/>
                  </a:cubicBezTo>
                  <a:cubicBezTo>
                    <a:pt x="38684" y="215612"/>
                    <a:pt x="22195" y="206734"/>
                    <a:pt x="16488" y="194051"/>
                  </a:cubicBezTo>
                  <a:cubicBezTo>
                    <a:pt x="5708" y="169319"/>
                    <a:pt x="0" y="142685"/>
                    <a:pt x="0" y="115416"/>
                  </a:cubicBezTo>
                  <a:cubicBezTo>
                    <a:pt x="0" y="107806"/>
                    <a:pt x="634" y="100196"/>
                    <a:pt x="1268" y="91952"/>
                  </a:cubicBezTo>
                  <a:lnTo>
                    <a:pt x="1902" y="86245"/>
                  </a:lnTo>
                  <a:lnTo>
                    <a:pt x="5708" y="82440"/>
                  </a:lnTo>
                  <a:cubicBezTo>
                    <a:pt x="55805" y="29805"/>
                    <a:pt x="131270" y="0"/>
                    <a:pt x="214344" y="0"/>
                  </a:cubicBezTo>
                  <a:cubicBezTo>
                    <a:pt x="298687" y="0"/>
                    <a:pt x="374151" y="29805"/>
                    <a:pt x="424249" y="82440"/>
                  </a:cubicBezTo>
                  <a:lnTo>
                    <a:pt x="428054" y="86879"/>
                  </a:lnTo>
                  <a:lnTo>
                    <a:pt x="428688" y="92586"/>
                  </a:lnTo>
                  <a:cubicBezTo>
                    <a:pt x="429956" y="100830"/>
                    <a:pt x="429956" y="108440"/>
                    <a:pt x="429956" y="115416"/>
                  </a:cubicBezTo>
                  <a:cubicBezTo>
                    <a:pt x="429956" y="142685"/>
                    <a:pt x="424249" y="169319"/>
                    <a:pt x="413468" y="194051"/>
                  </a:cubicBezTo>
                  <a:cubicBezTo>
                    <a:pt x="407127" y="206100"/>
                    <a:pt x="390005" y="215612"/>
                    <a:pt x="378590" y="215612"/>
                  </a:cubicBezTo>
                  <a:lnTo>
                    <a:pt x="378590" y="215612"/>
                  </a:lnTo>
                  <a:close/>
                  <a:moveTo>
                    <a:pt x="45659" y="178831"/>
                  </a:moveTo>
                  <a:cubicBezTo>
                    <a:pt x="46293" y="179465"/>
                    <a:pt x="47562" y="180099"/>
                    <a:pt x="48830" y="180734"/>
                  </a:cubicBezTo>
                  <a:cubicBezTo>
                    <a:pt x="73562" y="171222"/>
                    <a:pt x="91952" y="161709"/>
                    <a:pt x="120489" y="143319"/>
                  </a:cubicBezTo>
                  <a:cubicBezTo>
                    <a:pt x="120489" y="143319"/>
                    <a:pt x="121124" y="142050"/>
                    <a:pt x="121758" y="140782"/>
                  </a:cubicBezTo>
                  <a:lnTo>
                    <a:pt x="115416" y="112245"/>
                  </a:lnTo>
                  <a:cubicBezTo>
                    <a:pt x="113514" y="104001"/>
                    <a:pt x="115416" y="95123"/>
                    <a:pt x="120489" y="87513"/>
                  </a:cubicBezTo>
                  <a:cubicBezTo>
                    <a:pt x="126831" y="77366"/>
                    <a:pt x="138880" y="71025"/>
                    <a:pt x="151563" y="68489"/>
                  </a:cubicBezTo>
                  <a:cubicBezTo>
                    <a:pt x="171222" y="65318"/>
                    <a:pt x="192148" y="64049"/>
                    <a:pt x="213076" y="63415"/>
                  </a:cubicBezTo>
                  <a:cubicBezTo>
                    <a:pt x="234637" y="63415"/>
                    <a:pt x="255564" y="65318"/>
                    <a:pt x="275223" y="68489"/>
                  </a:cubicBezTo>
                  <a:cubicBezTo>
                    <a:pt x="288540" y="70391"/>
                    <a:pt x="299955" y="77366"/>
                    <a:pt x="306296" y="87513"/>
                  </a:cubicBezTo>
                  <a:cubicBezTo>
                    <a:pt x="311370" y="95123"/>
                    <a:pt x="313272" y="104001"/>
                    <a:pt x="311370" y="112245"/>
                  </a:cubicBezTo>
                  <a:lnTo>
                    <a:pt x="305028" y="140782"/>
                  </a:lnTo>
                  <a:cubicBezTo>
                    <a:pt x="305662" y="142050"/>
                    <a:pt x="306931" y="143319"/>
                    <a:pt x="306931" y="143953"/>
                  </a:cubicBezTo>
                  <a:cubicBezTo>
                    <a:pt x="329760" y="157270"/>
                    <a:pt x="356394" y="169953"/>
                    <a:pt x="378590" y="180734"/>
                  </a:cubicBezTo>
                  <a:cubicBezTo>
                    <a:pt x="379858" y="180099"/>
                    <a:pt x="381127" y="179465"/>
                    <a:pt x="381761" y="178831"/>
                  </a:cubicBezTo>
                  <a:cubicBezTo>
                    <a:pt x="390005" y="159806"/>
                    <a:pt x="394444" y="137611"/>
                    <a:pt x="394444" y="115416"/>
                  </a:cubicBezTo>
                  <a:cubicBezTo>
                    <a:pt x="394444" y="110977"/>
                    <a:pt x="394444" y="106538"/>
                    <a:pt x="393810" y="102099"/>
                  </a:cubicBezTo>
                  <a:cubicBezTo>
                    <a:pt x="350687" y="59610"/>
                    <a:pt x="284101" y="34244"/>
                    <a:pt x="213710" y="34244"/>
                  </a:cubicBezTo>
                  <a:lnTo>
                    <a:pt x="211807" y="34244"/>
                  </a:lnTo>
                  <a:cubicBezTo>
                    <a:pt x="142051" y="34244"/>
                    <a:pt x="75464" y="59610"/>
                    <a:pt x="32342" y="102099"/>
                  </a:cubicBezTo>
                  <a:cubicBezTo>
                    <a:pt x="31708" y="106538"/>
                    <a:pt x="31708" y="110977"/>
                    <a:pt x="31708" y="115416"/>
                  </a:cubicBezTo>
                  <a:cubicBezTo>
                    <a:pt x="32342" y="136977"/>
                    <a:pt x="36781" y="158538"/>
                    <a:pt x="45659" y="178831"/>
                  </a:cubicBezTo>
                  <a:lnTo>
                    <a:pt x="45659" y="178831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7" name="Forma Livre: Forma 6">
              <a:extLst>
                <a:ext uri="{FF2B5EF4-FFF2-40B4-BE49-F238E27FC236}">
                  <a16:creationId xmlns:a16="http://schemas.microsoft.com/office/drawing/2014/main" id="{2AF854F2-56E7-47BF-AA29-872C485263CF}"/>
                </a:ext>
              </a:extLst>
            </p:cNvPr>
            <p:cNvSpPr/>
            <p:nvPr/>
          </p:nvSpPr>
          <p:spPr>
            <a:xfrm>
              <a:off x="5478968" y="5963554"/>
              <a:ext cx="50756" cy="50732"/>
            </a:xfrm>
            <a:custGeom>
              <a:avLst/>
              <a:gdLst>
                <a:gd name="connsiteX0" fmla="*/ 25366 w 50756"/>
                <a:gd name="connsiteY0" fmla="*/ 0 h 50732"/>
                <a:gd name="connsiteX1" fmla="*/ 0 w 50756"/>
                <a:gd name="connsiteY1" fmla="*/ 25366 h 50732"/>
                <a:gd name="connsiteX2" fmla="*/ 25366 w 50756"/>
                <a:gd name="connsiteY2" fmla="*/ 50732 h 50732"/>
                <a:gd name="connsiteX3" fmla="*/ 50732 w 50756"/>
                <a:gd name="connsiteY3" fmla="*/ 25366 h 50732"/>
                <a:gd name="connsiteX4" fmla="*/ 25366 w 50756"/>
                <a:gd name="connsiteY4" fmla="*/ 0 h 50732"/>
                <a:gd name="connsiteX5" fmla="*/ 25366 w 50756"/>
                <a:gd name="connsiteY5" fmla="*/ 0 h 50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756" h="50732">
                  <a:moveTo>
                    <a:pt x="25366" y="0"/>
                  </a:moveTo>
                  <a:cubicBezTo>
                    <a:pt x="11415" y="0"/>
                    <a:pt x="0" y="11415"/>
                    <a:pt x="0" y="25366"/>
                  </a:cubicBezTo>
                  <a:cubicBezTo>
                    <a:pt x="0" y="39318"/>
                    <a:pt x="11415" y="50732"/>
                    <a:pt x="25366" y="50732"/>
                  </a:cubicBezTo>
                  <a:cubicBezTo>
                    <a:pt x="39318" y="50732"/>
                    <a:pt x="50732" y="39318"/>
                    <a:pt x="50732" y="25366"/>
                  </a:cubicBezTo>
                  <a:cubicBezTo>
                    <a:pt x="51366" y="12049"/>
                    <a:pt x="39318" y="0"/>
                    <a:pt x="25366" y="0"/>
                  </a:cubicBezTo>
                  <a:lnTo>
                    <a:pt x="25366" y="0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8" name="Forma Livre: Forma 7">
              <a:extLst>
                <a:ext uri="{FF2B5EF4-FFF2-40B4-BE49-F238E27FC236}">
                  <a16:creationId xmlns:a16="http://schemas.microsoft.com/office/drawing/2014/main" id="{00D784CE-790F-4C7E-A60D-5950354A02E5}"/>
                </a:ext>
              </a:extLst>
            </p:cNvPr>
            <p:cNvSpPr/>
            <p:nvPr/>
          </p:nvSpPr>
          <p:spPr>
            <a:xfrm>
              <a:off x="5546188" y="5963554"/>
              <a:ext cx="50732" cy="50732"/>
            </a:xfrm>
            <a:custGeom>
              <a:avLst/>
              <a:gdLst>
                <a:gd name="connsiteX0" fmla="*/ 25366 w 50732"/>
                <a:gd name="connsiteY0" fmla="*/ 0 h 50732"/>
                <a:gd name="connsiteX1" fmla="*/ 0 w 50732"/>
                <a:gd name="connsiteY1" fmla="*/ 25366 h 50732"/>
                <a:gd name="connsiteX2" fmla="*/ 25366 w 50732"/>
                <a:gd name="connsiteY2" fmla="*/ 50732 h 50732"/>
                <a:gd name="connsiteX3" fmla="*/ 50732 w 50732"/>
                <a:gd name="connsiteY3" fmla="*/ 25366 h 50732"/>
                <a:gd name="connsiteX4" fmla="*/ 25366 w 50732"/>
                <a:gd name="connsiteY4" fmla="*/ 0 h 50732"/>
                <a:gd name="connsiteX5" fmla="*/ 25366 w 50732"/>
                <a:gd name="connsiteY5" fmla="*/ 0 h 50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732" h="50732">
                  <a:moveTo>
                    <a:pt x="25366" y="0"/>
                  </a:moveTo>
                  <a:cubicBezTo>
                    <a:pt x="11415" y="0"/>
                    <a:pt x="0" y="11415"/>
                    <a:pt x="0" y="25366"/>
                  </a:cubicBezTo>
                  <a:cubicBezTo>
                    <a:pt x="0" y="39318"/>
                    <a:pt x="11415" y="50732"/>
                    <a:pt x="25366" y="50732"/>
                  </a:cubicBezTo>
                  <a:cubicBezTo>
                    <a:pt x="39318" y="50732"/>
                    <a:pt x="50732" y="39318"/>
                    <a:pt x="50732" y="25366"/>
                  </a:cubicBezTo>
                  <a:cubicBezTo>
                    <a:pt x="50732" y="12049"/>
                    <a:pt x="39318" y="0"/>
                    <a:pt x="25366" y="0"/>
                  </a:cubicBezTo>
                  <a:lnTo>
                    <a:pt x="25366" y="0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9" name="Forma Livre: Forma 8">
              <a:extLst>
                <a:ext uri="{FF2B5EF4-FFF2-40B4-BE49-F238E27FC236}">
                  <a16:creationId xmlns:a16="http://schemas.microsoft.com/office/drawing/2014/main" id="{74E214ED-062E-44C5-873D-4706DF3561FE}"/>
                </a:ext>
              </a:extLst>
            </p:cNvPr>
            <p:cNvSpPr/>
            <p:nvPr/>
          </p:nvSpPr>
          <p:spPr>
            <a:xfrm>
              <a:off x="5613409" y="5963554"/>
              <a:ext cx="50732" cy="50732"/>
            </a:xfrm>
            <a:custGeom>
              <a:avLst/>
              <a:gdLst>
                <a:gd name="connsiteX0" fmla="*/ 25366 w 50732"/>
                <a:gd name="connsiteY0" fmla="*/ 0 h 50732"/>
                <a:gd name="connsiteX1" fmla="*/ 0 w 50732"/>
                <a:gd name="connsiteY1" fmla="*/ 25366 h 50732"/>
                <a:gd name="connsiteX2" fmla="*/ 25366 w 50732"/>
                <a:gd name="connsiteY2" fmla="*/ 50732 h 50732"/>
                <a:gd name="connsiteX3" fmla="*/ 50732 w 50732"/>
                <a:gd name="connsiteY3" fmla="*/ 25366 h 50732"/>
                <a:gd name="connsiteX4" fmla="*/ 25366 w 50732"/>
                <a:gd name="connsiteY4" fmla="*/ 0 h 50732"/>
                <a:gd name="connsiteX5" fmla="*/ 25366 w 50732"/>
                <a:gd name="connsiteY5" fmla="*/ 0 h 50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732" h="50732">
                  <a:moveTo>
                    <a:pt x="25366" y="0"/>
                  </a:moveTo>
                  <a:cubicBezTo>
                    <a:pt x="11415" y="0"/>
                    <a:pt x="0" y="11415"/>
                    <a:pt x="0" y="25366"/>
                  </a:cubicBezTo>
                  <a:cubicBezTo>
                    <a:pt x="0" y="39318"/>
                    <a:pt x="11415" y="50732"/>
                    <a:pt x="25366" y="50732"/>
                  </a:cubicBezTo>
                  <a:cubicBezTo>
                    <a:pt x="39317" y="50732"/>
                    <a:pt x="50732" y="39318"/>
                    <a:pt x="50732" y="25366"/>
                  </a:cubicBezTo>
                  <a:cubicBezTo>
                    <a:pt x="50732" y="12049"/>
                    <a:pt x="39317" y="0"/>
                    <a:pt x="25366" y="0"/>
                  </a:cubicBezTo>
                  <a:lnTo>
                    <a:pt x="25366" y="0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0" name="Forma Livre: Forma 9">
              <a:extLst>
                <a:ext uri="{FF2B5EF4-FFF2-40B4-BE49-F238E27FC236}">
                  <a16:creationId xmlns:a16="http://schemas.microsoft.com/office/drawing/2014/main" id="{B5E55A05-BA3A-4B8E-8F39-DD1B0EB4961B}"/>
                </a:ext>
              </a:extLst>
            </p:cNvPr>
            <p:cNvSpPr/>
            <p:nvPr/>
          </p:nvSpPr>
          <p:spPr>
            <a:xfrm>
              <a:off x="5478968" y="6030775"/>
              <a:ext cx="50756" cy="50732"/>
            </a:xfrm>
            <a:custGeom>
              <a:avLst/>
              <a:gdLst>
                <a:gd name="connsiteX0" fmla="*/ 25366 w 50756"/>
                <a:gd name="connsiteY0" fmla="*/ 0 h 50732"/>
                <a:gd name="connsiteX1" fmla="*/ 0 w 50756"/>
                <a:gd name="connsiteY1" fmla="*/ 25366 h 50732"/>
                <a:gd name="connsiteX2" fmla="*/ 25366 w 50756"/>
                <a:gd name="connsiteY2" fmla="*/ 50732 h 50732"/>
                <a:gd name="connsiteX3" fmla="*/ 50732 w 50756"/>
                <a:gd name="connsiteY3" fmla="*/ 25366 h 50732"/>
                <a:gd name="connsiteX4" fmla="*/ 25366 w 50756"/>
                <a:gd name="connsiteY4" fmla="*/ 0 h 50732"/>
                <a:gd name="connsiteX5" fmla="*/ 25366 w 50756"/>
                <a:gd name="connsiteY5" fmla="*/ 0 h 50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756" h="50732">
                  <a:moveTo>
                    <a:pt x="25366" y="0"/>
                  </a:moveTo>
                  <a:cubicBezTo>
                    <a:pt x="11415" y="0"/>
                    <a:pt x="0" y="11415"/>
                    <a:pt x="0" y="25366"/>
                  </a:cubicBezTo>
                  <a:cubicBezTo>
                    <a:pt x="0" y="39318"/>
                    <a:pt x="11415" y="50732"/>
                    <a:pt x="25366" y="50732"/>
                  </a:cubicBezTo>
                  <a:cubicBezTo>
                    <a:pt x="39318" y="50732"/>
                    <a:pt x="50732" y="39318"/>
                    <a:pt x="50732" y="25366"/>
                  </a:cubicBezTo>
                  <a:cubicBezTo>
                    <a:pt x="51366" y="11415"/>
                    <a:pt x="39318" y="0"/>
                    <a:pt x="25366" y="0"/>
                  </a:cubicBezTo>
                  <a:lnTo>
                    <a:pt x="25366" y="0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1" name="Forma Livre: Forma 10">
              <a:extLst>
                <a:ext uri="{FF2B5EF4-FFF2-40B4-BE49-F238E27FC236}">
                  <a16:creationId xmlns:a16="http://schemas.microsoft.com/office/drawing/2014/main" id="{F5253C6E-BFA9-4E4C-89EC-A4CE1D2C9D7F}"/>
                </a:ext>
              </a:extLst>
            </p:cNvPr>
            <p:cNvSpPr/>
            <p:nvPr/>
          </p:nvSpPr>
          <p:spPr>
            <a:xfrm>
              <a:off x="5546188" y="6030775"/>
              <a:ext cx="50732" cy="50732"/>
            </a:xfrm>
            <a:custGeom>
              <a:avLst/>
              <a:gdLst>
                <a:gd name="connsiteX0" fmla="*/ 25366 w 50732"/>
                <a:gd name="connsiteY0" fmla="*/ 0 h 50732"/>
                <a:gd name="connsiteX1" fmla="*/ 0 w 50732"/>
                <a:gd name="connsiteY1" fmla="*/ 25366 h 50732"/>
                <a:gd name="connsiteX2" fmla="*/ 25366 w 50732"/>
                <a:gd name="connsiteY2" fmla="*/ 50732 h 50732"/>
                <a:gd name="connsiteX3" fmla="*/ 50732 w 50732"/>
                <a:gd name="connsiteY3" fmla="*/ 25366 h 50732"/>
                <a:gd name="connsiteX4" fmla="*/ 25366 w 50732"/>
                <a:gd name="connsiteY4" fmla="*/ 0 h 50732"/>
                <a:gd name="connsiteX5" fmla="*/ 25366 w 50732"/>
                <a:gd name="connsiteY5" fmla="*/ 0 h 50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732" h="50732">
                  <a:moveTo>
                    <a:pt x="25366" y="0"/>
                  </a:moveTo>
                  <a:cubicBezTo>
                    <a:pt x="11415" y="0"/>
                    <a:pt x="0" y="11415"/>
                    <a:pt x="0" y="25366"/>
                  </a:cubicBezTo>
                  <a:cubicBezTo>
                    <a:pt x="0" y="39318"/>
                    <a:pt x="11415" y="50732"/>
                    <a:pt x="25366" y="50732"/>
                  </a:cubicBezTo>
                  <a:cubicBezTo>
                    <a:pt x="39318" y="50732"/>
                    <a:pt x="50732" y="39318"/>
                    <a:pt x="50732" y="25366"/>
                  </a:cubicBezTo>
                  <a:cubicBezTo>
                    <a:pt x="50732" y="11415"/>
                    <a:pt x="39318" y="0"/>
                    <a:pt x="25366" y="0"/>
                  </a:cubicBezTo>
                  <a:lnTo>
                    <a:pt x="25366" y="0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2" name="Forma Livre: Forma 11">
              <a:extLst>
                <a:ext uri="{FF2B5EF4-FFF2-40B4-BE49-F238E27FC236}">
                  <a16:creationId xmlns:a16="http://schemas.microsoft.com/office/drawing/2014/main" id="{92F34850-57E0-4CB2-88AC-E44C2527BAE8}"/>
                </a:ext>
              </a:extLst>
            </p:cNvPr>
            <p:cNvSpPr/>
            <p:nvPr/>
          </p:nvSpPr>
          <p:spPr>
            <a:xfrm>
              <a:off x="5613409" y="6030775"/>
              <a:ext cx="50732" cy="50732"/>
            </a:xfrm>
            <a:custGeom>
              <a:avLst/>
              <a:gdLst>
                <a:gd name="connsiteX0" fmla="*/ 25366 w 50732"/>
                <a:gd name="connsiteY0" fmla="*/ 0 h 50732"/>
                <a:gd name="connsiteX1" fmla="*/ 0 w 50732"/>
                <a:gd name="connsiteY1" fmla="*/ 25366 h 50732"/>
                <a:gd name="connsiteX2" fmla="*/ 25366 w 50732"/>
                <a:gd name="connsiteY2" fmla="*/ 50732 h 50732"/>
                <a:gd name="connsiteX3" fmla="*/ 50732 w 50732"/>
                <a:gd name="connsiteY3" fmla="*/ 25366 h 50732"/>
                <a:gd name="connsiteX4" fmla="*/ 25366 w 50732"/>
                <a:gd name="connsiteY4" fmla="*/ 0 h 50732"/>
                <a:gd name="connsiteX5" fmla="*/ 25366 w 50732"/>
                <a:gd name="connsiteY5" fmla="*/ 0 h 50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732" h="50732">
                  <a:moveTo>
                    <a:pt x="25366" y="0"/>
                  </a:moveTo>
                  <a:cubicBezTo>
                    <a:pt x="11415" y="0"/>
                    <a:pt x="0" y="11415"/>
                    <a:pt x="0" y="25366"/>
                  </a:cubicBezTo>
                  <a:cubicBezTo>
                    <a:pt x="0" y="39318"/>
                    <a:pt x="11415" y="50732"/>
                    <a:pt x="25366" y="50732"/>
                  </a:cubicBezTo>
                  <a:cubicBezTo>
                    <a:pt x="39317" y="50732"/>
                    <a:pt x="50732" y="39318"/>
                    <a:pt x="50732" y="25366"/>
                  </a:cubicBezTo>
                  <a:cubicBezTo>
                    <a:pt x="50732" y="11415"/>
                    <a:pt x="39317" y="0"/>
                    <a:pt x="25366" y="0"/>
                  </a:cubicBezTo>
                  <a:lnTo>
                    <a:pt x="25366" y="0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3" name="Forma Livre: Forma 12">
              <a:extLst>
                <a:ext uri="{FF2B5EF4-FFF2-40B4-BE49-F238E27FC236}">
                  <a16:creationId xmlns:a16="http://schemas.microsoft.com/office/drawing/2014/main" id="{1961200E-EAD5-42EE-B5C0-88A81058BEFA}"/>
                </a:ext>
              </a:extLst>
            </p:cNvPr>
            <p:cNvSpPr/>
            <p:nvPr/>
          </p:nvSpPr>
          <p:spPr>
            <a:xfrm>
              <a:off x="5478968" y="6097995"/>
              <a:ext cx="50756" cy="50732"/>
            </a:xfrm>
            <a:custGeom>
              <a:avLst/>
              <a:gdLst>
                <a:gd name="connsiteX0" fmla="*/ 25366 w 50756"/>
                <a:gd name="connsiteY0" fmla="*/ 0 h 50732"/>
                <a:gd name="connsiteX1" fmla="*/ 0 w 50756"/>
                <a:gd name="connsiteY1" fmla="*/ 25366 h 50732"/>
                <a:gd name="connsiteX2" fmla="*/ 25366 w 50756"/>
                <a:gd name="connsiteY2" fmla="*/ 50732 h 50732"/>
                <a:gd name="connsiteX3" fmla="*/ 50732 w 50756"/>
                <a:gd name="connsiteY3" fmla="*/ 25366 h 50732"/>
                <a:gd name="connsiteX4" fmla="*/ 25366 w 50756"/>
                <a:gd name="connsiteY4" fmla="*/ 0 h 50732"/>
                <a:gd name="connsiteX5" fmla="*/ 25366 w 50756"/>
                <a:gd name="connsiteY5" fmla="*/ 0 h 50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756" h="50732">
                  <a:moveTo>
                    <a:pt x="25366" y="0"/>
                  </a:moveTo>
                  <a:cubicBezTo>
                    <a:pt x="11415" y="0"/>
                    <a:pt x="0" y="11415"/>
                    <a:pt x="0" y="25366"/>
                  </a:cubicBezTo>
                  <a:cubicBezTo>
                    <a:pt x="0" y="39318"/>
                    <a:pt x="11415" y="50732"/>
                    <a:pt x="25366" y="50732"/>
                  </a:cubicBezTo>
                  <a:cubicBezTo>
                    <a:pt x="39318" y="50732"/>
                    <a:pt x="50732" y="39318"/>
                    <a:pt x="50732" y="25366"/>
                  </a:cubicBezTo>
                  <a:cubicBezTo>
                    <a:pt x="51366" y="11415"/>
                    <a:pt x="39318" y="0"/>
                    <a:pt x="25366" y="0"/>
                  </a:cubicBezTo>
                  <a:lnTo>
                    <a:pt x="25366" y="0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4" name="Forma Livre: Forma 13">
              <a:extLst>
                <a:ext uri="{FF2B5EF4-FFF2-40B4-BE49-F238E27FC236}">
                  <a16:creationId xmlns:a16="http://schemas.microsoft.com/office/drawing/2014/main" id="{A645D133-6029-47F3-90F4-70C86DB62A30}"/>
                </a:ext>
              </a:extLst>
            </p:cNvPr>
            <p:cNvSpPr/>
            <p:nvPr/>
          </p:nvSpPr>
          <p:spPr>
            <a:xfrm>
              <a:off x="5546188" y="6097995"/>
              <a:ext cx="50732" cy="50732"/>
            </a:xfrm>
            <a:custGeom>
              <a:avLst/>
              <a:gdLst>
                <a:gd name="connsiteX0" fmla="*/ 25366 w 50732"/>
                <a:gd name="connsiteY0" fmla="*/ 0 h 50732"/>
                <a:gd name="connsiteX1" fmla="*/ 0 w 50732"/>
                <a:gd name="connsiteY1" fmla="*/ 25366 h 50732"/>
                <a:gd name="connsiteX2" fmla="*/ 25366 w 50732"/>
                <a:gd name="connsiteY2" fmla="*/ 50732 h 50732"/>
                <a:gd name="connsiteX3" fmla="*/ 50732 w 50732"/>
                <a:gd name="connsiteY3" fmla="*/ 25366 h 50732"/>
                <a:gd name="connsiteX4" fmla="*/ 25366 w 50732"/>
                <a:gd name="connsiteY4" fmla="*/ 0 h 50732"/>
                <a:gd name="connsiteX5" fmla="*/ 25366 w 50732"/>
                <a:gd name="connsiteY5" fmla="*/ 0 h 50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732" h="50732">
                  <a:moveTo>
                    <a:pt x="25366" y="0"/>
                  </a:moveTo>
                  <a:cubicBezTo>
                    <a:pt x="11415" y="0"/>
                    <a:pt x="0" y="11415"/>
                    <a:pt x="0" y="25366"/>
                  </a:cubicBezTo>
                  <a:cubicBezTo>
                    <a:pt x="0" y="39318"/>
                    <a:pt x="11415" y="50732"/>
                    <a:pt x="25366" y="50732"/>
                  </a:cubicBezTo>
                  <a:cubicBezTo>
                    <a:pt x="39318" y="50732"/>
                    <a:pt x="50732" y="39318"/>
                    <a:pt x="50732" y="25366"/>
                  </a:cubicBezTo>
                  <a:cubicBezTo>
                    <a:pt x="50732" y="11415"/>
                    <a:pt x="39318" y="0"/>
                    <a:pt x="25366" y="0"/>
                  </a:cubicBezTo>
                  <a:lnTo>
                    <a:pt x="25366" y="0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5" name="Forma Livre: Forma 14">
              <a:extLst>
                <a:ext uri="{FF2B5EF4-FFF2-40B4-BE49-F238E27FC236}">
                  <a16:creationId xmlns:a16="http://schemas.microsoft.com/office/drawing/2014/main" id="{7109CD23-2080-4758-A550-CEB8618BFED3}"/>
                </a:ext>
              </a:extLst>
            </p:cNvPr>
            <p:cNvSpPr/>
            <p:nvPr/>
          </p:nvSpPr>
          <p:spPr>
            <a:xfrm>
              <a:off x="5613409" y="6097995"/>
              <a:ext cx="50732" cy="50732"/>
            </a:xfrm>
            <a:custGeom>
              <a:avLst/>
              <a:gdLst>
                <a:gd name="connsiteX0" fmla="*/ 25366 w 50732"/>
                <a:gd name="connsiteY0" fmla="*/ 0 h 50732"/>
                <a:gd name="connsiteX1" fmla="*/ 0 w 50732"/>
                <a:gd name="connsiteY1" fmla="*/ 25366 h 50732"/>
                <a:gd name="connsiteX2" fmla="*/ 25366 w 50732"/>
                <a:gd name="connsiteY2" fmla="*/ 50732 h 50732"/>
                <a:gd name="connsiteX3" fmla="*/ 50732 w 50732"/>
                <a:gd name="connsiteY3" fmla="*/ 25366 h 50732"/>
                <a:gd name="connsiteX4" fmla="*/ 25366 w 50732"/>
                <a:gd name="connsiteY4" fmla="*/ 0 h 50732"/>
                <a:gd name="connsiteX5" fmla="*/ 25366 w 50732"/>
                <a:gd name="connsiteY5" fmla="*/ 0 h 50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732" h="50732">
                  <a:moveTo>
                    <a:pt x="25366" y="0"/>
                  </a:moveTo>
                  <a:cubicBezTo>
                    <a:pt x="11415" y="0"/>
                    <a:pt x="0" y="11415"/>
                    <a:pt x="0" y="25366"/>
                  </a:cubicBezTo>
                  <a:cubicBezTo>
                    <a:pt x="0" y="39318"/>
                    <a:pt x="11415" y="50732"/>
                    <a:pt x="25366" y="50732"/>
                  </a:cubicBezTo>
                  <a:cubicBezTo>
                    <a:pt x="39317" y="50732"/>
                    <a:pt x="50732" y="39318"/>
                    <a:pt x="50732" y="25366"/>
                  </a:cubicBezTo>
                  <a:cubicBezTo>
                    <a:pt x="50732" y="11415"/>
                    <a:pt x="39317" y="0"/>
                    <a:pt x="25366" y="0"/>
                  </a:cubicBezTo>
                  <a:lnTo>
                    <a:pt x="25366" y="0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6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6399359" y="5705225"/>
            <a:ext cx="399462" cy="392834"/>
            <a:chOff x="6402930" y="5763524"/>
            <a:chExt cx="403955" cy="397252"/>
          </a:xfrm>
          <a:solidFill>
            <a:srgbClr val="B1B1A1"/>
          </a:solidFill>
        </p:grpSpPr>
        <p:sp>
          <p:nvSpPr>
            <p:cNvPr id="17" name="Forma Livre: Forma 16">
              <a:extLst>
                <a:ext uri="{FF2B5EF4-FFF2-40B4-BE49-F238E27FC236}">
                  <a16:creationId xmlns:a16="http://schemas.microsoft.com/office/drawing/2014/main" id="{7A46A2BB-6ED2-4542-8522-FF5F0BF77E3D}"/>
                </a:ext>
              </a:extLst>
            </p:cNvPr>
            <p:cNvSpPr/>
            <p:nvPr/>
          </p:nvSpPr>
          <p:spPr>
            <a:xfrm>
              <a:off x="6557663" y="5907115"/>
              <a:ext cx="54537" cy="54537"/>
            </a:xfrm>
            <a:custGeom>
              <a:avLst/>
              <a:gdLst>
                <a:gd name="connsiteX0" fmla="*/ 27269 w 54537"/>
                <a:gd name="connsiteY0" fmla="*/ 0 h 54537"/>
                <a:gd name="connsiteX1" fmla="*/ 0 w 54537"/>
                <a:gd name="connsiteY1" fmla="*/ 27269 h 54537"/>
                <a:gd name="connsiteX2" fmla="*/ 27269 w 54537"/>
                <a:gd name="connsiteY2" fmla="*/ 54537 h 54537"/>
                <a:gd name="connsiteX3" fmla="*/ 54537 w 54537"/>
                <a:gd name="connsiteY3" fmla="*/ 27269 h 54537"/>
                <a:gd name="connsiteX4" fmla="*/ 27269 w 54537"/>
                <a:gd name="connsiteY4" fmla="*/ 0 h 54537"/>
                <a:gd name="connsiteX5" fmla="*/ 27269 w 54537"/>
                <a:gd name="connsiteY5" fmla="*/ 0 h 54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537" h="54537">
                  <a:moveTo>
                    <a:pt x="27269" y="0"/>
                  </a:moveTo>
                  <a:cubicBezTo>
                    <a:pt x="12049" y="0"/>
                    <a:pt x="0" y="12049"/>
                    <a:pt x="0" y="27269"/>
                  </a:cubicBezTo>
                  <a:cubicBezTo>
                    <a:pt x="0" y="42488"/>
                    <a:pt x="12049" y="54537"/>
                    <a:pt x="27269" y="54537"/>
                  </a:cubicBezTo>
                  <a:cubicBezTo>
                    <a:pt x="42488" y="54537"/>
                    <a:pt x="54537" y="42488"/>
                    <a:pt x="54537" y="27269"/>
                  </a:cubicBezTo>
                  <a:cubicBezTo>
                    <a:pt x="54537" y="12049"/>
                    <a:pt x="42488" y="0"/>
                    <a:pt x="27269" y="0"/>
                  </a:cubicBezTo>
                  <a:lnTo>
                    <a:pt x="27269" y="0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8" name="Forma Livre: Forma 17">
              <a:extLst>
                <a:ext uri="{FF2B5EF4-FFF2-40B4-BE49-F238E27FC236}">
                  <a16:creationId xmlns:a16="http://schemas.microsoft.com/office/drawing/2014/main" id="{66E80B91-C3EB-4B9F-9788-2B29D8DBC721}"/>
                </a:ext>
              </a:extLst>
            </p:cNvPr>
            <p:cNvSpPr/>
            <p:nvPr/>
          </p:nvSpPr>
          <p:spPr>
            <a:xfrm>
              <a:off x="6629323" y="5907115"/>
              <a:ext cx="54537" cy="54537"/>
            </a:xfrm>
            <a:custGeom>
              <a:avLst/>
              <a:gdLst>
                <a:gd name="connsiteX0" fmla="*/ 27269 w 54537"/>
                <a:gd name="connsiteY0" fmla="*/ 0 h 54537"/>
                <a:gd name="connsiteX1" fmla="*/ 0 w 54537"/>
                <a:gd name="connsiteY1" fmla="*/ 27269 h 54537"/>
                <a:gd name="connsiteX2" fmla="*/ 27269 w 54537"/>
                <a:gd name="connsiteY2" fmla="*/ 54537 h 54537"/>
                <a:gd name="connsiteX3" fmla="*/ 54537 w 54537"/>
                <a:gd name="connsiteY3" fmla="*/ 27269 h 54537"/>
                <a:gd name="connsiteX4" fmla="*/ 27269 w 54537"/>
                <a:gd name="connsiteY4" fmla="*/ 0 h 54537"/>
                <a:gd name="connsiteX5" fmla="*/ 27269 w 54537"/>
                <a:gd name="connsiteY5" fmla="*/ 0 h 54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537" h="54537">
                  <a:moveTo>
                    <a:pt x="27269" y="0"/>
                  </a:moveTo>
                  <a:cubicBezTo>
                    <a:pt x="12049" y="0"/>
                    <a:pt x="0" y="12049"/>
                    <a:pt x="0" y="27269"/>
                  </a:cubicBezTo>
                  <a:cubicBezTo>
                    <a:pt x="0" y="42488"/>
                    <a:pt x="12049" y="54537"/>
                    <a:pt x="27269" y="54537"/>
                  </a:cubicBezTo>
                  <a:cubicBezTo>
                    <a:pt x="42488" y="54537"/>
                    <a:pt x="54537" y="42488"/>
                    <a:pt x="54537" y="27269"/>
                  </a:cubicBezTo>
                  <a:cubicBezTo>
                    <a:pt x="54537" y="12049"/>
                    <a:pt x="42488" y="0"/>
                    <a:pt x="27269" y="0"/>
                  </a:cubicBezTo>
                  <a:lnTo>
                    <a:pt x="27269" y="0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9" name="Forma Livre: Forma 18">
              <a:extLst>
                <a:ext uri="{FF2B5EF4-FFF2-40B4-BE49-F238E27FC236}">
                  <a16:creationId xmlns:a16="http://schemas.microsoft.com/office/drawing/2014/main" id="{E27A72ED-6D3E-46B1-952D-40D3101D2BE9}"/>
                </a:ext>
              </a:extLst>
            </p:cNvPr>
            <p:cNvSpPr/>
            <p:nvPr/>
          </p:nvSpPr>
          <p:spPr>
            <a:xfrm>
              <a:off x="6701616" y="5907115"/>
              <a:ext cx="54537" cy="54537"/>
            </a:xfrm>
            <a:custGeom>
              <a:avLst/>
              <a:gdLst>
                <a:gd name="connsiteX0" fmla="*/ 27269 w 54537"/>
                <a:gd name="connsiteY0" fmla="*/ 0 h 54537"/>
                <a:gd name="connsiteX1" fmla="*/ 0 w 54537"/>
                <a:gd name="connsiteY1" fmla="*/ 27269 h 54537"/>
                <a:gd name="connsiteX2" fmla="*/ 27269 w 54537"/>
                <a:gd name="connsiteY2" fmla="*/ 54537 h 54537"/>
                <a:gd name="connsiteX3" fmla="*/ 54537 w 54537"/>
                <a:gd name="connsiteY3" fmla="*/ 27269 h 54537"/>
                <a:gd name="connsiteX4" fmla="*/ 27269 w 54537"/>
                <a:gd name="connsiteY4" fmla="*/ 0 h 54537"/>
                <a:gd name="connsiteX5" fmla="*/ 27269 w 54537"/>
                <a:gd name="connsiteY5" fmla="*/ 0 h 54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537" h="54537">
                  <a:moveTo>
                    <a:pt x="27269" y="0"/>
                  </a:moveTo>
                  <a:cubicBezTo>
                    <a:pt x="12049" y="0"/>
                    <a:pt x="0" y="12049"/>
                    <a:pt x="0" y="27269"/>
                  </a:cubicBezTo>
                  <a:cubicBezTo>
                    <a:pt x="0" y="42488"/>
                    <a:pt x="12049" y="54537"/>
                    <a:pt x="27269" y="54537"/>
                  </a:cubicBezTo>
                  <a:cubicBezTo>
                    <a:pt x="42488" y="54537"/>
                    <a:pt x="54537" y="42488"/>
                    <a:pt x="54537" y="27269"/>
                  </a:cubicBezTo>
                  <a:cubicBezTo>
                    <a:pt x="54537" y="12049"/>
                    <a:pt x="42488" y="0"/>
                    <a:pt x="27269" y="0"/>
                  </a:cubicBezTo>
                  <a:lnTo>
                    <a:pt x="27269" y="0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0" name="Forma Livre: Forma 19">
              <a:extLst>
                <a:ext uri="{FF2B5EF4-FFF2-40B4-BE49-F238E27FC236}">
                  <a16:creationId xmlns:a16="http://schemas.microsoft.com/office/drawing/2014/main" id="{C4509645-F870-4BD6-855F-B560A903A40D}"/>
                </a:ext>
              </a:extLst>
            </p:cNvPr>
            <p:cNvSpPr/>
            <p:nvPr/>
          </p:nvSpPr>
          <p:spPr>
            <a:xfrm>
              <a:off x="6557663" y="5978774"/>
              <a:ext cx="54537" cy="54537"/>
            </a:xfrm>
            <a:custGeom>
              <a:avLst/>
              <a:gdLst>
                <a:gd name="connsiteX0" fmla="*/ 27269 w 54537"/>
                <a:gd name="connsiteY0" fmla="*/ 0 h 54537"/>
                <a:gd name="connsiteX1" fmla="*/ 0 w 54537"/>
                <a:gd name="connsiteY1" fmla="*/ 27269 h 54537"/>
                <a:gd name="connsiteX2" fmla="*/ 27269 w 54537"/>
                <a:gd name="connsiteY2" fmla="*/ 54537 h 54537"/>
                <a:gd name="connsiteX3" fmla="*/ 54537 w 54537"/>
                <a:gd name="connsiteY3" fmla="*/ 27269 h 54537"/>
                <a:gd name="connsiteX4" fmla="*/ 27269 w 54537"/>
                <a:gd name="connsiteY4" fmla="*/ 0 h 54537"/>
                <a:gd name="connsiteX5" fmla="*/ 27269 w 54537"/>
                <a:gd name="connsiteY5" fmla="*/ 0 h 54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537" h="54537">
                  <a:moveTo>
                    <a:pt x="27269" y="0"/>
                  </a:moveTo>
                  <a:cubicBezTo>
                    <a:pt x="12049" y="0"/>
                    <a:pt x="0" y="12049"/>
                    <a:pt x="0" y="27269"/>
                  </a:cubicBezTo>
                  <a:cubicBezTo>
                    <a:pt x="0" y="42488"/>
                    <a:pt x="12049" y="54537"/>
                    <a:pt x="27269" y="54537"/>
                  </a:cubicBezTo>
                  <a:cubicBezTo>
                    <a:pt x="42488" y="54537"/>
                    <a:pt x="54537" y="42488"/>
                    <a:pt x="54537" y="27269"/>
                  </a:cubicBezTo>
                  <a:cubicBezTo>
                    <a:pt x="54537" y="12049"/>
                    <a:pt x="42488" y="0"/>
                    <a:pt x="27269" y="0"/>
                  </a:cubicBezTo>
                  <a:lnTo>
                    <a:pt x="27269" y="0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1" name="Forma Livre: Forma 20">
              <a:extLst>
                <a:ext uri="{FF2B5EF4-FFF2-40B4-BE49-F238E27FC236}">
                  <a16:creationId xmlns:a16="http://schemas.microsoft.com/office/drawing/2014/main" id="{810D5BD9-9D0E-407F-8250-0D2ED6C7C53D}"/>
                </a:ext>
              </a:extLst>
            </p:cNvPr>
            <p:cNvSpPr/>
            <p:nvPr/>
          </p:nvSpPr>
          <p:spPr>
            <a:xfrm>
              <a:off x="6629323" y="5978774"/>
              <a:ext cx="54537" cy="54537"/>
            </a:xfrm>
            <a:custGeom>
              <a:avLst/>
              <a:gdLst>
                <a:gd name="connsiteX0" fmla="*/ 27269 w 54537"/>
                <a:gd name="connsiteY0" fmla="*/ 0 h 54537"/>
                <a:gd name="connsiteX1" fmla="*/ 0 w 54537"/>
                <a:gd name="connsiteY1" fmla="*/ 27269 h 54537"/>
                <a:gd name="connsiteX2" fmla="*/ 27269 w 54537"/>
                <a:gd name="connsiteY2" fmla="*/ 54537 h 54537"/>
                <a:gd name="connsiteX3" fmla="*/ 54537 w 54537"/>
                <a:gd name="connsiteY3" fmla="*/ 27269 h 54537"/>
                <a:gd name="connsiteX4" fmla="*/ 27269 w 54537"/>
                <a:gd name="connsiteY4" fmla="*/ 0 h 54537"/>
                <a:gd name="connsiteX5" fmla="*/ 27269 w 54537"/>
                <a:gd name="connsiteY5" fmla="*/ 0 h 54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537" h="54537">
                  <a:moveTo>
                    <a:pt x="27269" y="0"/>
                  </a:moveTo>
                  <a:cubicBezTo>
                    <a:pt x="12049" y="0"/>
                    <a:pt x="0" y="12049"/>
                    <a:pt x="0" y="27269"/>
                  </a:cubicBezTo>
                  <a:cubicBezTo>
                    <a:pt x="0" y="42488"/>
                    <a:pt x="12049" y="54537"/>
                    <a:pt x="27269" y="54537"/>
                  </a:cubicBezTo>
                  <a:cubicBezTo>
                    <a:pt x="42488" y="54537"/>
                    <a:pt x="54537" y="42488"/>
                    <a:pt x="54537" y="27269"/>
                  </a:cubicBezTo>
                  <a:cubicBezTo>
                    <a:pt x="54537" y="12049"/>
                    <a:pt x="42488" y="0"/>
                    <a:pt x="27269" y="0"/>
                  </a:cubicBezTo>
                  <a:lnTo>
                    <a:pt x="27269" y="0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2" name="Forma Livre: Forma 21">
              <a:extLst>
                <a:ext uri="{FF2B5EF4-FFF2-40B4-BE49-F238E27FC236}">
                  <a16:creationId xmlns:a16="http://schemas.microsoft.com/office/drawing/2014/main" id="{CCB30209-6909-4E90-AB1E-E737BF58612F}"/>
                </a:ext>
              </a:extLst>
            </p:cNvPr>
            <p:cNvSpPr/>
            <p:nvPr/>
          </p:nvSpPr>
          <p:spPr>
            <a:xfrm>
              <a:off x="6701616" y="5978774"/>
              <a:ext cx="54537" cy="54537"/>
            </a:xfrm>
            <a:custGeom>
              <a:avLst/>
              <a:gdLst>
                <a:gd name="connsiteX0" fmla="*/ 27269 w 54537"/>
                <a:gd name="connsiteY0" fmla="*/ 0 h 54537"/>
                <a:gd name="connsiteX1" fmla="*/ 0 w 54537"/>
                <a:gd name="connsiteY1" fmla="*/ 27269 h 54537"/>
                <a:gd name="connsiteX2" fmla="*/ 27269 w 54537"/>
                <a:gd name="connsiteY2" fmla="*/ 54537 h 54537"/>
                <a:gd name="connsiteX3" fmla="*/ 54537 w 54537"/>
                <a:gd name="connsiteY3" fmla="*/ 27269 h 54537"/>
                <a:gd name="connsiteX4" fmla="*/ 27269 w 54537"/>
                <a:gd name="connsiteY4" fmla="*/ 0 h 54537"/>
                <a:gd name="connsiteX5" fmla="*/ 27269 w 54537"/>
                <a:gd name="connsiteY5" fmla="*/ 0 h 54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537" h="54537">
                  <a:moveTo>
                    <a:pt x="27269" y="0"/>
                  </a:moveTo>
                  <a:cubicBezTo>
                    <a:pt x="12049" y="0"/>
                    <a:pt x="0" y="12049"/>
                    <a:pt x="0" y="27269"/>
                  </a:cubicBezTo>
                  <a:cubicBezTo>
                    <a:pt x="0" y="42488"/>
                    <a:pt x="12049" y="54537"/>
                    <a:pt x="27269" y="54537"/>
                  </a:cubicBezTo>
                  <a:cubicBezTo>
                    <a:pt x="42488" y="54537"/>
                    <a:pt x="54537" y="42488"/>
                    <a:pt x="54537" y="27269"/>
                  </a:cubicBezTo>
                  <a:cubicBezTo>
                    <a:pt x="54537" y="12049"/>
                    <a:pt x="42488" y="0"/>
                    <a:pt x="27269" y="0"/>
                  </a:cubicBezTo>
                  <a:lnTo>
                    <a:pt x="27269" y="0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3" name="Forma Livre: Forma 22">
              <a:extLst>
                <a:ext uri="{FF2B5EF4-FFF2-40B4-BE49-F238E27FC236}">
                  <a16:creationId xmlns:a16="http://schemas.microsoft.com/office/drawing/2014/main" id="{90C57D10-34D2-4910-81B5-400A72418523}"/>
                </a:ext>
              </a:extLst>
            </p:cNvPr>
            <p:cNvSpPr/>
            <p:nvPr/>
          </p:nvSpPr>
          <p:spPr>
            <a:xfrm>
              <a:off x="6557663" y="6050433"/>
              <a:ext cx="54560" cy="54537"/>
            </a:xfrm>
            <a:custGeom>
              <a:avLst/>
              <a:gdLst>
                <a:gd name="connsiteX0" fmla="*/ 27269 w 54560"/>
                <a:gd name="connsiteY0" fmla="*/ 0 h 54537"/>
                <a:gd name="connsiteX1" fmla="*/ 0 w 54560"/>
                <a:gd name="connsiteY1" fmla="*/ 27269 h 54537"/>
                <a:gd name="connsiteX2" fmla="*/ 27269 w 54560"/>
                <a:gd name="connsiteY2" fmla="*/ 54537 h 54537"/>
                <a:gd name="connsiteX3" fmla="*/ 54537 w 54560"/>
                <a:gd name="connsiteY3" fmla="*/ 27269 h 54537"/>
                <a:gd name="connsiteX4" fmla="*/ 27269 w 54560"/>
                <a:gd name="connsiteY4" fmla="*/ 0 h 54537"/>
                <a:gd name="connsiteX5" fmla="*/ 27269 w 54560"/>
                <a:gd name="connsiteY5" fmla="*/ 0 h 54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560" h="54537">
                  <a:moveTo>
                    <a:pt x="27269" y="0"/>
                  </a:moveTo>
                  <a:cubicBezTo>
                    <a:pt x="12049" y="0"/>
                    <a:pt x="0" y="12049"/>
                    <a:pt x="0" y="27269"/>
                  </a:cubicBezTo>
                  <a:cubicBezTo>
                    <a:pt x="0" y="42488"/>
                    <a:pt x="12049" y="54537"/>
                    <a:pt x="27269" y="54537"/>
                  </a:cubicBezTo>
                  <a:cubicBezTo>
                    <a:pt x="42488" y="54537"/>
                    <a:pt x="54537" y="42488"/>
                    <a:pt x="54537" y="27269"/>
                  </a:cubicBezTo>
                  <a:cubicBezTo>
                    <a:pt x="55171" y="12683"/>
                    <a:pt x="42488" y="0"/>
                    <a:pt x="27269" y="0"/>
                  </a:cubicBezTo>
                  <a:lnTo>
                    <a:pt x="27269" y="0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4" name="Forma Livre: Forma 23">
              <a:extLst>
                <a:ext uri="{FF2B5EF4-FFF2-40B4-BE49-F238E27FC236}">
                  <a16:creationId xmlns:a16="http://schemas.microsoft.com/office/drawing/2014/main" id="{0A7548E9-0A6A-43C9-8463-023F040728D9}"/>
                </a:ext>
              </a:extLst>
            </p:cNvPr>
            <p:cNvSpPr/>
            <p:nvPr/>
          </p:nvSpPr>
          <p:spPr>
            <a:xfrm>
              <a:off x="6629323" y="6050433"/>
              <a:ext cx="54560" cy="54537"/>
            </a:xfrm>
            <a:custGeom>
              <a:avLst/>
              <a:gdLst>
                <a:gd name="connsiteX0" fmla="*/ 27269 w 54560"/>
                <a:gd name="connsiteY0" fmla="*/ 0 h 54537"/>
                <a:gd name="connsiteX1" fmla="*/ 0 w 54560"/>
                <a:gd name="connsiteY1" fmla="*/ 27269 h 54537"/>
                <a:gd name="connsiteX2" fmla="*/ 27269 w 54560"/>
                <a:gd name="connsiteY2" fmla="*/ 54537 h 54537"/>
                <a:gd name="connsiteX3" fmla="*/ 54537 w 54560"/>
                <a:gd name="connsiteY3" fmla="*/ 27269 h 54537"/>
                <a:gd name="connsiteX4" fmla="*/ 27269 w 54560"/>
                <a:gd name="connsiteY4" fmla="*/ 0 h 54537"/>
                <a:gd name="connsiteX5" fmla="*/ 27269 w 54560"/>
                <a:gd name="connsiteY5" fmla="*/ 0 h 54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560" h="54537">
                  <a:moveTo>
                    <a:pt x="27269" y="0"/>
                  </a:moveTo>
                  <a:cubicBezTo>
                    <a:pt x="12049" y="0"/>
                    <a:pt x="0" y="12049"/>
                    <a:pt x="0" y="27269"/>
                  </a:cubicBezTo>
                  <a:cubicBezTo>
                    <a:pt x="0" y="42488"/>
                    <a:pt x="12049" y="54537"/>
                    <a:pt x="27269" y="54537"/>
                  </a:cubicBezTo>
                  <a:cubicBezTo>
                    <a:pt x="42488" y="54537"/>
                    <a:pt x="54537" y="42488"/>
                    <a:pt x="54537" y="27269"/>
                  </a:cubicBezTo>
                  <a:cubicBezTo>
                    <a:pt x="55171" y="12683"/>
                    <a:pt x="42488" y="0"/>
                    <a:pt x="27269" y="0"/>
                  </a:cubicBezTo>
                  <a:lnTo>
                    <a:pt x="27269" y="0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5" name="Forma Livre: Forma 24">
              <a:extLst>
                <a:ext uri="{FF2B5EF4-FFF2-40B4-BE49-F238E27FC236}">
                  <a16:creationId xmlns:a16="http://schemas.microsoft.com/office/drawing/2014/main" id="{251149EB-D097-425E-AB58-8CD1F1A1F336}"/>
                </a:ext>
              </a:extLst>
            </p:cNvPr>
            <p:cNvSpPr/>
            <p:nvPr/>
          </p:nvSpPr>
          <p:spPr>
            <a:xfrm>
              <a:off x="6701616" y="6050433"/>
              <a:ext cx="54537" cy="54537"/>
            </a:xfrm>
            <a:custGeom>
              <a:avLst/>
              <a:gdLst>
                <a:gd name="connsiteX0" fmla="*/ 27269 w 54537"/>
                <a:gd name="connsiteY0" fmla="*/ 0 h 54537"/>
                <a:gd name="connsiteX1" fmla="*/ 0 w 54537"/>
                <a:gd name="connsiteY1" fmla="*/ 27269 h 54537"/>
                <a:gd name="connsiteX2" fmla="*/ 27269 w 54537"/>
                <a:gd name="connsiteY2" fmla="*/ 54537 h 54537"/>
                <a:gd name="connsiteX3" fmla="*/ 54537 w 54537"/>
                <a:gd name="connsiteY3" fmla="*/ 27269 h 54537"/>
                <a:gd name="connsiteX4" fmla="*/ 27269 w 54537"/>
                <a:gd name="connsiteY4" fmla="*/ 0 h 54537"/>
                <a:gd name="connsiteX5" fmla="*/ 27269 w 54537"/>
                <a:gd name="connsiteY5" fmla="*/ 0 h 54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537" h="54537">
                  <a:moveTo>
                    <a:pt x="27269" y="0"/>
                  </a:moveTo>
                  <a:cubicBezTo>
                    <a:pt x="12049" y="0"/>
                    <a:pt x="0" y="12049"/>
                    <a:pt x="0" y="27269"/>
                  </a:cubicBezTo>
                  <a:cubicBezTo>
                    <a:pt x="0" y="42488"/>
                    <a:pt x="12049" y="54537"/>
                    <a:pt x="27269" y="54537"/>
                  </a:cubicBezTo>
                  <a:cubicBezTo>
                    <a:pt x="42488" y="54537"/>
                    <a:pt x="54537" y="42488"/>
                    <a:pt x="54537" y="27269"/>
                  </a:cubicBezTo>
                  <a:cubicBezTo>
                    <a:pt x="54537" y="12683"/>
                    <a:pt x="42488" y="0"/>
                    <a:pt x="27269" y="0"/>
                  </a:cubicBezTo>
                  <a:lnTo>
                    <a:pt x="27269" y="0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6" name="Forma Livre: Forma 25">
              <a:extLst>
                <a:ext uri="{FF2B5EF4-FFF2-40B4-BE49-F238E27FC236}">
                  <a16:creationId xmlns:a16="http://schemas.microsoft.com/office/drawing/2014/main" id="{F5B87DAB-5EBD-47C3-87D6-A5FC852ADB90}"/>
                </a:ext>
              </a:extLst>
            </p:cNvPr>
            <p:cNvSpPr/>
            <p:nvPr/>
          </p:nvSpPr>
          <p:spPr>
            <a:xfrm>
              <a:off x="6560200" y="5766333"/>
              <a:ext cx="246685" cy="393175"/>
            </a:xfrm>
            <a:custGeom>
              <a:avLst/>
              <a:gdLst>
                <a:gd name="connsiteX0" fmla="*/ 178831 w 246685"/>
                <a:gd name="connsiteY0" fmla="*/ 393175 h 393175"/>
                <a:gd name="connsiteX1" fmla="*/ 0 w 246685"/>
                <a:gd name="connsiteY1" fmla="*/ 393175 h 393175"/>
                <a:gd name="connsiteX2" fmla="*/ 0 w 246685"/>
                <a:gd name="connsiteY2" fmla="*/ 359565 h 393175"/>
                <a:gd name="connsiteX3" fmla="*/ 178831 w 246685"/>
                <a:gd name="connsiteY3" fmla="*/ 359565 h 393175"/>
                <a:gd name="connsiteX4" fmla="*/ 212441 w 246685"/>
                <a:gd name="connsiteY4" fmla="*/ 325955 h 393175"/>
                <a:gd name="connsiteX5" fmla="*/ 212441 w 246685"/>
                <a:gd name="connsiteY5" fmla="*/ 67220 h 393175"/>
                <a:gd name="connsiteX6" fmla="*/ 178831 w 246685"/>
                <a:gd name="connsiteY6" fmla="*/ 33610 h 393175"/>
                <a:gd name="connsiteX7" fmla="*/ 0 w 246685"/>
                <a:gd name="connsiteY7" fmla="*/ 33610 h 393175"/>
                <a:gd name="connsiteX8" fmla="*/ 0 w 246685"/>
                <a:gd name="connsiteY8" fmla="*/ 0 h 393175"/>
                <a:gd name="connsiteX9" fmla="*/ 178831 w 246685"/>
                <a:gd name="connsiteY9" fmla="*/ 0 h 393175"/>
                <a:gd name="connsiteX10" fmla="*/ 246686 w 246685"/>
                <a:gd name="connsiteY10" fmla="*/ 67855 h 393175"/>
                <a:gd name="connsiteX11" fmla="*/ 246686 w 246685"/>
                <a:gd name="connsiteY11" fmla="*/ 326589 h 393175"/>
                <a:gd name="connsiteX12" fmla="*/ 178831 w 246685"/>
                <a:gd name="connsiteY12" fmla="*/ 393175 h 393175"/>
                <a:gd name="connsiteX13" fmla="*/ 178831 w 246685"/>
                <a:gd name="connsiteY13" fmla="*/ 393175 h 393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6685" h="393175">
                  <a:moveTo>
                    <a:pt x="178831" y="393175"/>
                  </a:moveTo>
                  <a:lnTo>
                    <a:pt x="0" y="393175"/>
                  </a:lnTo>
                  <a:lnTo>
                    <a:pt x="0" y="359565"/>
                  </a:lnTo>
                  <a:lnTo>
                    <a:pt x="178831" y="359565"/>
                  </a:lnTo>
                  <a:cubicBezTo>
                    <a:pt x="197222" y="359565"/>
                    <a:pt x="212441" y="344345"/>
                    <a:pt x="212441" y="325955"/>
                  </a:cubicBezTo>
                  <a:lnTo>
                    <a:pt x="212441" y="67220"/>
                  </a:lnTo>
                  <a:cubicBezTo>
                    <a:pt x="212441" y="48830"/>
                    <a:pt x="197222" y="33610"/>
                    <a:pt x="178831" y="33610"/>
                  </a:cubicBezTo>
                  <a:lnTo>
                    <a:pt x="0" y="33610"/>
                  </a:lnTo>
                  <a:lnTo>
                    <a:pt x="0" y="0"/>
                  </a:lnTo>
                  <a:lnTo>
                    <a:pt x="178831" y="0"/>
                  </a:lnTo>
                  <a:cubicBezTo>
                    <a:pt x="216246" y="0"/>
                    <a:pt x="246686" y="30439"/>
                    <a:pt x="246686" y="67855"/>
                  </a:cubicBezTo>
                  <a:lnTo>
                    <a:pt x="246686" y="326589"/>
                  </a:lnTo>
                  <a:cubicBezTo>
                    <a:pt x="246052" y="363370"/>
                    <a:pt x="215612" y="393175"/>
                    <a:pt x="178831" y="393175"/>
                  </a:cubicBezTo>
                  <a:lnTo>
                    <a:pt x="178831" y="393175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7" name="Forma Livre: Forma 26">
              <a:extLst>
                <a:ext uri="{FF2B5EF4-FFF2-40B4-BE49-F238E27FC236}">
                  <a16:creationId xmlns:a16="http://schemas.microsoft.com/office/drawing/2014/main" id="{92090B85-BE09-4A51-A313-D4AB8049D3DC}"/>
                </a:ext>
              </a:extLst>
            </p:cNvPr>
            <p:cNvSpPr/>
            <p:nvPr/>
          </p:nvSpPr>
          <p:spPr>
            <a:xfrm>
              <a:off x="6402930" y="5763524"/>
              <a:ext cx="140781" cy="397252"/>
            </a:xfrm>
            <a:custGeom>
              <a:avLst/>
              <a:gdLst>
                <a:gd name="connsiteX0" fmla="*/ 102733 w 140781"/>
                <a:gd name="connsiteY0" fmla="*/ 397253 h 397252"/>
                <a:gd name="connsiteX1" fmla="*/ 64683 w 140781"/>
                <a:gd name="connsiteY1" fmla="*/ 391545 h 397252"/>
                <a:gd name="connsiteX2" fmla="*/ 46293 w 140781"/>
                <a:gd name="connsiteY2" fmla="*/ 384570 h 397252"/>
                <a:gd name="connsiteX3" fmla="*/ 40586 w 140781"/>
                <a:gd name="connsiteY3" fmla="*/ 382033 h 397252"/>
                <a:gd name="connsiteX4" fmla="*/ 38049 w 140781"/>
                <a:gd name="connsiteY4" fmla="*/ 376326 h 397252"/>
                <a:gd name="connsiteX5" fmla="*/ 0 w 140781"/>
                <a:gd name="connsiteY5" fmla="*/ 199397 h 397252"/>
                <a:gd name="connsiteX6" fmla="*/ 0 w 140781"/>
                <a:gd name="connsiteY6" fmla="*/ 197494 h 397252"/>
                <a:gd name="connsiteX7" fmla="*/ 38049 w 140781"/>
                <a:gd name="connsiteY7" fmla="*/ 20565 h 397252"/>
                <a:gd name="connsiteX8" fmla="*/ 40586 w 140781"/>
                <a:gd name="connsiteY8" fmla="*/ 14858 h 397252"/>
                <a:gd name="connsiteX9" fmla="*/ 46293 w 140781"/>
                <a:gd name="connsiteY9" fmla="*/ 12321 h 397252"/>
                <a:gd name="connsiteX10" fmla="*/ 64683 w 140781"/>
                <a:gd name="connsiteY10" fmla="*/ 5346 h 397252"/>
                <a:gd name="connsiteX11" fmla="*/ 126831 w 140781"/>
                <a:gd name="connsiteY11" fmla="*/ 2175 h 397252"/>
                <a:gd name="connsiteX12" fmla="*/ 140782 w 140781"/>
                <a:gd name="connsiteY12" fmla="*/ 4711 h 397252"/>
                <a:gd name="connsiteX13" fmla="*/ 140782 w 140781"/>
                <a:gd name="connsiteY13" fmla="*/ 135981 h 397252"/>
                <a:gd name="connsiteX14" fmla="*/ 103367 w 140781"/>
                <a:gd name="connsiteY14" fmla="*/ 135981 h 397252"/>
                <a:gd name="connsiteX15" fmla="*/ 103367 w 140781"/>
                <a:gd name="connsiteY15" fmla="*/ 260275 h 397252"/>
                <a:gd name="connsiteX16" fmla="*/ 140782 w 140781"/>
                <a:gd name="connsiteY16" fmla="*/ 260275 h 397252"/>
                <a:gd name="connsiteX17" fmla="*/ 140782 w 140781"/>
                <a:gd name="connsiteY17" fmla="*/ 391545 h 397252"/>
                <a:gd name="connsiteX18" fmla="*/ 126831 w 140781"/>
                <a:gd name="connsiteY18" fmla="*/ 394082 h 397252"/>
                <a:gd name="connsiteX19" fmla="*/ 102733 w 140781"/>
                <a:gd name="connsiteY19" fmla="*/ 397253 h 397252"/>
                <a:gd name="connsiteX20" fmla="*/ 102733 w 140781"/>
                <a:gd name="connsiteY20" fmla="*/ 397253 h 397252"/>
                <a:gd name="connsiteX21" fmla="*/ 65318 w 140781"/>
                <a:gd name="connsiteY21" fmla="*/ 356667 h 397252"/>
                <a:gd name="connsiteX22" fmla="*/ 74196 w 140781"/>
                <a:gd name="connsiteY22" fmla="*/ 359838 h 397252"/>
                <a:gd name="connsiteX23" fmla="*/ 107172 w 140781"/>
                <a:gd name="connsiteY23" fmla="*/ 363643 h 397252"/>
                <a:gd name="connsiteX24" fmla="*/ 107172 w 140781"/>
                <a:gd name="connsiteY24" fmla="*/ 295788 h 397252"/>
                <a:gd name="connsiteX25" fmla="*/ 103367 w 140781"/>
                <a:gd name="connsiteY25" fmla="*/ 295788 h 397252"/>
                <a:gd name="connsiteX26" fmla="*/ 69757 w 140781"/>
                <a:gd name="connsiteY26" fmla="*/ 262178 h 397252"/>
                <a:gd name="connsiteX27" fmla="*/ 69757 w 140781"/>
                <a:gd name="connsiteY27" fmla="*/ 137884 h 397252"/>
                <a:gd name="connsiteX28" fmla="*/ 103367 w 140781"/>
                <a:gd name="connsiteY28" fmla="*/ 104274 h 397252"/>
                <a:gd name="connsiteX29" fmla="*/ 107172 w 140781"/>
                <a:gd name="connsiteY29" fmla="*/ 104274 h 397252"/>
                <a:gd name="connsiteX30" fmla="*/ 107172 w 140781"/>
                <a:gd name="connsiteY30" fmla="*/ 36419 h 397252"/>
                <a:gd name="connsiteX31" fmla="*/ 74196 w 140781"/>
                <a:gd name="connsiteY31" fmla="*/ 40224 h 397252"/>
                <a:gd name="connsiteX32" fmla="*/ 65318 w 140781"/>
                <a:gd name="connsiteY32" fmla="*/ 43395 h 397252"/>
                <a:gd name="connsiteX33" fmla="*/ 33610 w 140781"/>
                <a:gd name="connsiteY33" fmla="*/ 198128 h 397252"/>
                <a:gd name="connsiteX34" fmla="*/ 33610 w 140781"/>
                <a:gd name="connsiteY34" fmla="*/ 199397 h 397252"/>
                <a:gd name="connsiteX35" fmla="*/ 33610 w 140781"/>
                <a:gd name="connsiteY35" fmla="*/ 201299 h 397252"/>
                <a:gd name="connsiteX36" fmla="*/ 65318 w 140781"/>
                <a:gd name="connsiteY36" fmla="*/ 356667 h 397252"/>
                <a:gd name="connsiteX37" fmla="*/ 65318 w 140781"/>
                <a:gd name="connsiteY37" fmla="*/ 356667 h 397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40781" h="397252">
                  <a:moveTo>
                    <a:pt x="102733" y="397253"/>
                  </a:moveTo>
                  <a:cubicBezTo>
                    <a:pt x="90050" y="397253"/>
                    <a:pt x="76732" y="395350"/>
                    <a:pt x="64683" y="391545"/>
                  </a:cubicBezTo>
                  <a:cubicBezTo>
                    <a:pt x="58342" y="389643"/>
                    <a:pt x="52635" y="387740"/>
                    <a:pt x="46293" y="384570"/>
                  </a:cubicBezTo>
                  <a:lnTo>
                    <a:pt x="40586" y="382033"/>
                  </a:lnTo>
                  <a:lnTo>
                    <a:pt x="38049" y="376326"/>
                  </a:lnTo>
                  <a:cubicBezTo>
                    <a:pt x="13317" y="326227"/>
                    <a:pt x="0" y="265349"/>
                    <a:pt x="0" y="199397"/>
                  </a:cubicBezTo>
                  <a:lnTo>
                    <a:pt x="0" y="197494"/>
                  </a:lnTo>
                  <a:cubicBezTo>
                    <a:pt x="0" y="131542"/>
                    <a:pt x="13317" y="70664"/>
                    <a:pt x="38049" y="20565"/>
                  </a:cubicBezTo>
                  <a:lnTo>
                    <a:pt x="40586" y="14858"/>
                  </a:lnTo>
                  <a:lnTo>
                    <a:pt x="46293" y="12321"/>
                  </a:lnTo>
                  <a:cubicBezTo>
                    <a:pt x="52635" y="9151"/>
                    <a:pt x="58976" y="7248"/>
                    <a:pt x="64683" y="5346"/>
                  </a:cubicBezTo>
                  <a:cubicBezTo>
                    <a:pt x="84976" y="-362"/>
                    <a:pt x="105903" y="-1630"/>
                    <a:pt x="126831" y="2175"/>
                  </a:cubicBezTo>
                  <a:lnTo>
                    <a:pt x="140782" y="4711"/>
                  </a:lnTo>
                  <a:lnTo>
                    <a:pt x="140782" y="135981"/>
                  </a:lnTo>
                  <a:lnTo>
                    <a:pt x="103367" y="135981"/>
                  </a:lnTo>
                  <a:lnTo>
                    <a:pt x="103367" y="260275"/>
                  </a:lnTo>
                  <a:lnTo>
                    <a:pt x="140782" y="260275"/>
                  </a:lnTo>
                  <a:lnTo>
                    <a:pt x="140782" y="391545"/>
                  </a:lnTo>
                  <a:lnTo>
                    <a:pt x="126831" y="394082"/>
                  </a:lnTo>
                  <a:cubicBezTo>
                    <a:pt x="119221" y="396618"/>
                    <a:pt x="110977" y="397253"/>
                    <a:pt x="102733" y="397253"/>
                  </a:cubicBezTo>
                  <a:lnTo>
                    <a:pt x="102733" y="397253"/>
                  </a:lnTo>
                  <a:close/>
                  <a:moveTo>
                    <a:pt x="65318" y="356667"/>
                  </a:moveTo>
                  <a:cubicBezTo>
                    <a:pt x="68489" y="357935"/>
                    <a:pt x="71025" y="358569"/>
                    <a:pt x="74196" y="359838"/>
                  </a:cubicBezTo>
                  <a:cubicBezTo>
                    <a:pt x="84976" y="363008"/>
                    <a:pt x="96391" y="364277"/>
                    <a:pt x="107172" y="363643"/>
                  </a:cubicBezTo>
                  <a:lnTo>
                    <a:pt x="107172" y="295788"/>
                  </a:lnTo>
                  <a:lnTo>
                    <a:pt x="103367" y="295788"/>
                  </a:lnTo>
                  <a:cubicBezTo>
                    <a:pt x="84976" y="295788"/>
                    <a:pt x="69757" y="280568"/>
                    <a:pt x="69757" y="262178"/>
                  </a:cubicBezTo>
                  <a:lnTo>
                    <a:pt x="69757" y="137884"/>
                  </a:lnTo>
                  <a:cubicBezTo>
                    <a:pt x="69757" y="119494"/>
                    <a:pt x="84976" y="104274"/>
                    <a:pt x="103367" y="104274"/>
                  </a:cubicBezTo>
                  <a:lnTo>
                    <a:pt x="107172" y="104274"/>
                  </a:lnTo>
                  <a:lnTo>
                    <a:pt x="107172" y="36419"/>
                  </a:lnTo>
                  <a:cubicBezTo>
                    <a:pt x="95757" y="35785"/>
                    <a:pt x="84976" y="37054"/>
                    <a:pt x="74196" y="40224"/>
                  </a:cubicBezTo>
                  <a:cubicBezTo>
                    <a:pt x="71659" y="40858"/>
                    <a:pt x="68489" y="42127"/>
                    <a:pt x="65318" y="43395"/>
                  </a:cubicBezTo>
                  <a:cubicBezTo>
                    <a:pt x="45025" y="87151"/>
                    <a:pt x="33610" y="140421"/>
                    <a:pt x="33610" y="198128"/>
                  </a:cubicBezTo>
                  <a:lnTo>
                    <a:pt x="33610" y="199397"/>
                  </a:lnTo>
                  <a:lnTo>
                    <a:pt x="33610" y="201299"/>
                  </a:lnTo>
                  <a:cubicBezTo>
                    <a:pt x="33610" y="259007"/>
                    <a:pt x="45025" y="312276"/>
                    <a:pt x="65318" y="356667"/>
                  </a:cubicBezTo>
                  <a:lnTo>
                    <a:pt x="65318" y="356667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8" name="Forma Livre: Forma 27">
              <a:extLst>
                <a:ext uri="{FF2B5EF4-FFF2-40B4-BE49-F238E27FC236}">
                  <a16:creationId xmlns:a16="http://schemas.microsoft.com/office/drawing/2014/main" id="{7ED1BF64-A937-4799-B3B9-17B672165717}"/>
                </a:ext>
              </a:extLst>
            </p:cNvPr>
            <p:cNvSpPr/>
            <p:nvPr/>
          </p:nvSpPr>
          <p:spPr>
            <a:xfrm>
              <a:off x="6560834" y="5821504"/>
              <a:ext cx="194051" cy="64683"/>
            </a:xfrm>
            <a:custGeom>
              <a:avLst/>
              <a:gdLst>
                <a:gd name="connsiteX0" fmla="*/ 194051 w 194051"/>
                <a:gd name="connsiteY0" fmla="*/ 64684 h 64683"/>
                <a:gd name="connsiteX1" fmla="*/ 0 w 194051"/>
                <a:gd name="connsiteY1" fmla="*/ 64684 h 64683"/>
                <a:gd name="connsiteX2" fmla="*/ 0 w 194051"/>
                <a:gd name="connsiteY2" fmla="*/ 0 h 64683"/>
                <a:gd name="connsiteX3" fmla="*/ 194051 w 194051"/>
                <a:gd name="connsiteY3" fmla="*/ 0 h 64683"/>
                <a:gd name="connsiteX4" fmla="*/ 194051 w 194051"/>
                <a:gd name="connsiteY4" fmla="*/ 64684 h 64683"/>
                <a:gd name="connsiteX5" fmla="*/ 194051 w 194051"/>
                <a:gd name="connsiteY5" fmla="*/ 64684 h 64683"/>
                <a:gd name="connsiteX6" fmla="*/ 17122 w 194051"/>
                <a:gd name="connsiteY6" fmla="*/ 47562 h 64683"/>
                <a:gd name="connsiteX7" fmla="*/ 177563 w 194051"/>
                <a:gd name="connsiteY7" fmla="*/ 47562 h 64683"/>
                <a:gd name="connsiteX8" fmla="*/ 177563 w 194051"/>
                <a:gd name="connsiteY8" fmla="*/ 17122 h 64683"/>
                <a:gd name="connsiteX9" fmla="*/ 17122 w 194051"/>
                <a:gd name="connsiteY9" fmla="*/ 17122 h 64683"/>
                <a:gd name="connsiteX10" fmla="*/ 17122 w 194051"/>
                <a:gd name="connsiteY10" fmla="*/ 47562 h 64683"/>
                <a:gd name="connsiteX11" fmla="*/ 17122 w 194051"/>
                <a:gd name="connsiteY11" fmla="*/ 47562 h 64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4051" h="64683">
                  <a:moveTo>
                    <a:pt x="194051" y="64684"/>
                  </a:moveTo>
                  <a:lnTo>
                    <a:pt x="0" y="64684"/>
                  </a:lnTo>
                  <a:lnTo>
                    <a:pt x="0" y="0"/>
                  </a:lnTo>
                  <a:lnTo>
                    <a:pt x="194051" y="0"/>
                  </a:lnTo>
                  <a:lnTo>
                    <a:pt x="194051" y="64684"/>
                  </a:lnTo>
                  <a:lnTo>
                    <a:pt x="194051" y="64684"/>
                  </a:lnTo>
                  <a:close/>
                  <a:moveTo>
                    <a:pt x="17122" y="47562"/>
                  </a:moveTo>
                  <a:lnTo>
                    <a:pt x="177563" y="47562"/>
                  </a:lnTo>
                  <a:lnTo>
                    <a:pt x="177563" y="17122"/>
                  </a:lnTo>
                  <a:lnTo>
                    <a:pt x="17122" y="17122"/>
                  </a:lnTo>
                  <a:lnTo>
                    <a:pt x="17122" y="47562"/>
                  </a:lnTo>
                  <a:lnTo>
                    <a:pt x="17122" y="47562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9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7428431" y="5735595"/>
            <a:ext cx="393192" cy="324837"/>
            <a:chOff x="7443576" y="5794236"/>
            <a:chExt cx="397614" cy="328491"/>
          </a:xfrm>
          <a:solidFill>
            <a:srgbClr val="B1B1A1"/>
          </a:solidFill>
        </p:grpSpPr>
        <p:sp>
          <p:nvSpPr>
            <p:cNvPr id="30" name="Forma Livre: Forma 29">
              <a:extLst>
                <a:ext uri="{FF2B5EF4-FFF2-40B4-BE49-F238E27FC236}">
                  <a16:creationId xmlns:a16="http://schemas.microsoft.com/office/drawing/2014/main" id="{5DA63723-235C-4EA4-BC5E-D23B916215F0}"/>
                </a:ext>
              </a:extLst>
            </p:cNvPr>
            <p:cNvSpPr/>
            <p:nvPr/>
          </p:nvSpPr>
          <p:spPr>
            <a:xfrm>
              <a:off x="7510162" y="5913456"/>
              <a:ext cx="263807" cy="209270"/>
            </a:xfrm>
            <a:custGeom>
              <a:avLst/>
              <a:gdLst>
                <a:gd name="connsiteX0" fmla="*/ 255564 w 263807"/>
                <a:gd name="connsiteY0" fmla="*/ 209271 h 209270"/>
                <a:gd name="connsiteX1" fmla="*/ 8244 w 263807"/>
                <a:gd name="connsiteY1" fmla="*/ 209271 h 209270"/>
                <a:gd name="connsiteX2" fmla="*/ 0 w 263807"/>
                <a:gd name="connsiteY2" fmla="*/ 201027 h 209270"/>
                <a:gd name="connsiteX3" fmla="*/ 0 w 263807"/>
                <a:gd name="connsiteY3" fmla="*/ 8244 h 209270"/>
                <a:gd name="connsiteX4" fmla="*/ 8244 w 263807"/>
                <a:gd name="connsiteY4" fmla="*/ 0 h 209270"/>
                <a:gd name="connsiteX5" fmla="*/ 255564 w 263807"/>
                <a:gd name="connsiteY5" fmla="*/ 0 h 209270"/>
                <a:gd name="connsiteX6" fmla="*/ 263808 w 263807"/>
                <a:gd name="connsiteY6" fmla="*/ 8244 h 209270"/>
                <a:gd name="connsiteX7" fmla="*/ 263808 w 263807"/>
                <a:gd name="connsiteY7" fmla="*/ 201027 h 209270"/>
                <a:gd name="connsiteX8" fmla="*/ 255564 w 263807"/>
                <a:gd name="connsiteY8" fmla="*/ 209271 h 209270"/>
                <a:gd name="connsiteX9" fmla="*/ 255564 w 263807"/>
                <a:gd name="connsiteY9" fmla="*/ 209271 h 209270"/>
                <a:gd name="connsiteX10" fmla="*/ 17122 w 263807"/>
                <a:gd name="connsiteY10" fmla="*/ 192783 h 209270"/>
                <a:gd name="connsiteX11" fmla="*/ 247320 w 263807"/>
                <a:gd name="connsiteY11" fmla="*/ 192783 h 209270"/>
                <a:gd name="connsiteX12" fmla="*/ 247320 w 263807"/>
                <a:gd name="connsiteY12" fmla="*/ 17122 h 209270"/>
                <a:gd name="connsiteX13" fmla="*/ 17122 w 263807"/>
                <a:gd name="connsiteY13" fmla="*/ 17122 h 209270"/>
                <a:gd name="connsiteX14" fmla="*/ 17122 w 263807"/>
                <a:gd name="connsiteY14" fmla="*/ 192783 h 209270"/>
                <a:gd name="connsiteX15" fmla="*/ 17122 w 263807"/>
                <a:gd name="connsiteY15" fmla="*/ 192783 h 209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3807" h="209270">
                  <a:moveTo>
                    <a:pt x="255564" y="209271"/>
                  </a:moveTo>
                  <a:lnTo>
                    <a:pt x="8244" y="209271"/>
                  </a:lnTo>
                  <a:cubicBezTo>
                    <a:pt x="3805" y="209271"/>
                    <a:pt x="0" y="205466"/>
                    <a:pt x="0" y="201027"/>
                  </a:cubicBezTo>
                  <a:lnTo>
                    <a:pt x="0" y="8244"/>
                  </a:lnTo>
                  <a:cubicBezTo>
                    <a:pt x="0" y="3805"/>
                    <a:pt x="3805" y="0"/>
                    <a:pt x="8244" y="0"/>
                  </a:cubicBezTo>
                  <a:lnTo>
                    <a:pt x="255564" y="0"/>
                  </a:lnTo>
                  <a:cubicBezTo>
                    <a:pt x="260003" y="0"/>
                    <a:pt x="263808" y="3805"/>
                    <a:pt x="263808" y="8244"/>
                  </a:cubicBezTo>
                  <a:lnTo>
                    <a:pt x="263808" y="201027"/>
                  </a:lnTo>
                  <a:cubicBezTo>
                    <a:pt x="263808" y="205466"/>
                    <a:pt x="260003" y="209271"/>
                    <a:pt x="255564" y="209271"/>
                  </a:cubicBezTo>
                  <a:lnTo>
                    <a:pt x="255564" y="209271"/>
                  </a:lnTo>
                  <a:close/>
                  <a:moveTo>
                    <a:pt x="17122" y="192783"/>
                  </a:moveTo>
                  <a:lnTo>
                    <a:pt x="247320" y="192783"/>
                  </a:lnTo>
                  <a:lnTo>
                    <a:pt x="247320" y="17122"/>
                  </a:lnTo>
                  <a:lnTo>
                    <a:pt x="17122" y="17122"/>
                  </a:lnTo>
                  <a:lnTo>
                    <a:pt x="17122" y="192783"/>
                  </a:lnTo>
                  <a:lnTo>
                    <a:pt x="17122" y="192783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1" name="Forma Livre: Forma 30">
              <a:extLst>
                <a:ext uri="{FF2B5EF4-FFF2-40B4-BE49-F238E27FC236}">
                  <a16:creationId xmlns:a16="http://schemas.microsoft.com/office/drawing/2014/main" id="{2F759E8F-D8E5-4529-B136-B968A46665D4}"/>
                </a:ext>
              </a:extLst>
            </p:cNvPr>
            <p:cNvSpPr/>
            <p:nvPr/>
          </p:nvSpPr>
          <p:spPr>
            <a:xfrm>
              <a:off x="7443576" y="5794236"/>
              <a:ext cx="397614" cy="190246"/>
            </a:xfrm>
            <a:custGeom>
              <a:avLst/>
              <a:gdLst>
                <a:gd name="connsiteX0" fmla="*/ 397614 w 397614"/>
                <a:gd name="connsiteY0" fmla="*/ 190246 h 190246"/>
                <a:gd name="connsiteX1" fmla="*/ 344346 w 397614"/>
                <a:gd name="connsiteY1" fmla="*/ 190246 h 190246"/>
                <a:gd name="connsiteX2" fmla="*/ 344346 w 397614"/>
                <a:gd name="connsiteY2" fmla="*/ 156636 h 190246"/>
                <a:gd name="connsiteX3" fmla="*/ 363370 w 397614"/>
                <a:gd name="connsiteY3" fmla="*/ 156636 h 190246"/>
                <a:gd name="connsiteX4" fmla="*/ 363370 w 397614"/>
                <a:gd name="connsiteY4" fmla="*/ 33610 h 190246"/>
                <a:gd name="connsiteX5" fmla="*/ 33610 w 397614"/>
                <a:gd name="connsiteY5" fmla="*/ 33610 h 190246"/>
                <a:gd name="connsiteX6" fmla="*/ 33610 w 397614"/>
                <a:gd name="connsiteY6" fmla="*/ 156636 h 190246"/>
                <a:gd name="connsiteX7" fmla="*/ 52635 w 397614"/>
                <a:gd name="connsiteY7" fmla="*/ 156636 h 190246"/>
                <a:gd name="connsiteX8" fmla="*/ 52635 w 397614"/>
                <a:gd name="connsiteY8" fmla="*/ 190246 h 190246"/>
                <a:gd name="connsiteX9" fmla="*/ 0 w 397614"/>
                <a:gd name="connsiteY9" fmla="*/ 190246 h 190246"/>
                <a:gd name="connsiteX10" fmla="*/ 0 w 397614"/>
                <a:gd name="connsiteY10" fmla="*/ 0 h 190246"/>
                <a:gd name="connsiteX11" fmla="*/ 397614 w 397614"/>
                <a:gd name="connsiteY11" fmla="*/ 0 h 190246"/>
                <a:gd name="connsiteX12" fmla="*/ 397614 w 397614"/>
                <a:gd name="connsiteY12" fmla="*/ 190246 h 190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97614" h="190246">
                  <a:moveTo>
                    <a:pt x="397614" y="190246"/>
                  </a:moveTo>
                  <a:lnTo>
                    <a:pt x="344346" y="190246"/>
                  </a:lnTo>
                  <a:lnTo>
                    <a:pt x="344346" y="156636"/>
                  </a:lnTo>
                  <a:lnTo>
                    <a:pt x="363370" y="156636"/>
                  </a:lnTo>
                  <a:lnTo>
                    <a:pt x="363370" y="33610"/>
                  </a:lnTo>
                  <a:lnTo>
                    <a:pt x="33610" y="33610"/>
                  </a:lnTo>
                  <a:lnTo>
                    <a:pt x="33610" y="156636"/>
                  </a:lnTo>
                  <a:lnTo>
                    <a:pt x="52635" y="156636"/>
                  </a:lnTo>
                  <a:lnTo>
                    <a:pt x="52635" y="190246"/>
                  </a:lnTo>
                  <a:lnTo>
                    <a:pt x="0" y="190246"/>
                  </a:lnTo>
                  <a:lnTo>
                    <a:pt x="0" y="0"/>
                  </a:lnTo>
                  <a:lnTo>
                    <a:pt x="397614" y="0"/>
                  </a:lnTo>
                  <a:lnTo>
                    <a:pt x="397614" y="190246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2" name="Forma Livre: Forma 31">
              <a:extLst>
                <a:ext uri="{FF2B5EF4-FFF2-40B4-BE49-F238E27FC236}">
                  <a16:creationId xmlns:a16="http://schemas.microsoft.com/office/drawing/2014/main" id="{ECC76344-D0C8-41DB-A3BD-6B214749CEBB}"/>
                </a:ext>
              </a:extLst>
            </p:cNvPr>
            <p:cNvSpPr/>
            <p:nvPr/>
          </p:nvSpPr>
          <p:spPr>
            <a:xfrm>
              <a:off x="7721970" y="5853212"/>
              <a:ext cx="39317" cy="39317"/>
            </a:xfrm>
            <a:custGeom>
              <a:avLst/>
              <a:gdLst>
                <a:gd name="connsiteX0" fmla="*/ 19659 w 39317"/>
                <a:gd name="connsiteY0" fmla="*/ 0 h 39317"/>
                <a:gd name="connsiteX1" fmla="*/ 0 w 39317"/>
                <a:gd name="connsiteY1" fmla="*/ 19659 h 39317"/>
                <a:gd name="connsiteX2" fmla="*/ 19659 w 39317"/>
                <a:gd name="connsiteY2" fmla="*/ 39318 h 39317"/>
                <a:gd name="connsiteX3" fmla="*/ 39317 w 39317"/>
                <a:gd name="connsiteY3" fmla="*/ 19659 h 39317"/>
                <a:gd name="connsiteX4" fmla="*/ 19659 w 39317"/>
                <a:gd name="connsiteY4" fmla="*/ 0 h 39317"/>
                <a:gd name="connsiteX5" fmla="*/ 19659 w 39317"/>
                <a:gd name="connsiteY5" fmla="*/ 0 h 39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317" h="39317">
                  <a:moveTo>
                    <a:pt x="19659" y="0"/>
                  </a:moveTo>
                  <a:cubicBezTo>
                    <a:pt x="8878" y="0"/>
                    <a:pt x="0" y="8878"/>
                    <a:pt x="0" y="19659"/>
                  </a:cubicBezTo>
                  <a:cubicBezTo>
                    <a:pt x="0" y="30439"/>
                    <a:pt x="8878" y="39318"/>
                    <a:pt x="19659" y="39318"/>
                  </a:cubicBezTo>
                  <a:cubicBezTo>
                    <a:pt x="30439" y="39318"/>
                    <a:pt x="39317" y="30439"/>
                    <a:pt x="39317" y="19659"/>
                  </a:cubicBezTo>
                  <a:cubicBezTo>
                    <a:pt x="39317" y="8878"/>
                    <a:pt x="30439" y="0"/>
                    <a:pt x="19659" y="0"/>
                  </a:cubicBezTo>
                  <a:lnTo>
                    <a:pt x="19659" y="0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3" name="Forma Livre: Forma 32">
              <a:extLst>
                <a:ext uri="{FF2B5EF4-FFF2-40B4-BE49-F238E27FC236}">
                  <a16:creationId xmlns:a16="http://schemas.microsoft.com/office/drawing/2014/main" id="{6FE464E8-FE7F-4002-A7E6-14CC1B448BA0}"/>
                </a:ext>
              </a:extLst>
            </p:cNvPr>
            <p:cNvSpPr/>
            <p:nvPr/>
          </p:nvSpPr>
          <p:spPr>
            <a:xfrm>
              <a:off x="7580553" y="5860822"/>
              <a:ext cx="120489" cy="16487"/>
            </a:xfrm>
            <a:custGeom>
              <a:avLst/>
              <a:gdLst>
                <a:gd name="connsiteX0" fmla="*/ 112245 w 120489"/>
                <a:gd name="connsiteY0" fmla="*/ 16488 h 16487"/>
                <a:gd name="connsiteX1" fmla="*/ 8244 w 120489"/>
                <a:gd name="connsiteY1" fmla="*/ 16488 h 16487"/>
                <a:gd name="connsiteX2" fmla="*/ 0 w 120489"/>
                <a:gd name="connsiteY2" fmla="*/ 8244 h 16487"/>
                <a:gd name="connsiteX3" fmla="*/ 8244 w 120489"/>
                <a:gd name="connsiteY3" fmla="*/ 0 h 16487"/>
                <a:gd name="connsiteX4" fmla="*/ 112245 w 120489"/>
                <a:gd name="connsiteY4" fmla="*/ 0 h 16487"/>
                <a:gd name="connsiteX5" fmla="*/ 120489 w 120489"/>
                <a:gd name="connsiteY5" fmla="*/ 8244 h 16487"/>
                <a:gd name="connsiteX6" fmla="*/ 112245 w 120489"/>
                <a:gd name="connsiteY6" fmla="*/ 16488 h 16487"/>
                <a:gd name="connsiteX7" fmla="*/ 112245 w 120489"/>
                <a:gd name="connsiteY7" fmla="*/ 16488 h 16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0489" h="16487">
                  <a:moveTo>
                    <a:pt x="112245" y="16488"/>
                  </a:moveTo>
                  <a:lnTo>
                    <a:pt x="8244" y="16488"/>
                  </a:lnTo>
                  <a:cubicBezTo>
                    <a:pt x="3805" y="16488"/>
                    <a:pt x="0" y="12683"/>
                    <a:pt x="0" y="8244"/>
                  </a:cubicBezTo>
                  <a:cubicBezTo>
                    <a:pt x="0" y="3805"/>
                    <a:pt x="3805" y="0"/>
                    <a:pt x="8244" y="0"/>
                  </a:cubicBezTo>
                  <a:lnTo>
                    <a:pt x="112245" y="0"/>
                  </a:lnTo>
                  <a:cubicBezTo>
                    <a:pt x="116684" y="0"/>
                    <a:pt x="120489" y="3805"/>
                    <a:pt x="120489" y="8244"/>
                  </a:cubicBezTo>
                  <a:cubicBezTo>
                    <a:pt x="120489" y="12683"/>
                    <a:pt x="116684" y="16488"/>
                    <a:pt x="112245" y="16488"/>
                  </a:cubicBezTo>
                  <a:lnTo>
                    <a:pt x="112245" y="16488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4" name="Forma Livre: Forma 33">
              <a:extLst>
                <a:ext uri="{FF2B5EF4-FFF2-40B4-BE49-F238E27FC236}">
                  <a16:creationId xmlns:a16="http://schemas.microsoft.com/office/drawing/2014/main" id="{CEFAE34E-D797-4720-86B8-C09F499A0B66}"/>
                </a:ext>
              </a:extLst>
            </p:cNvPr>
            <p:cNvSpPr/>
            <p:nvPr/>
          </p:nvSpPr>
          <p:spPr>
            <a:xfrm>
              <a:off x="7586261" y="5957213"/>
              <a:ext cx="119855" cy="119855"/>
            </a:xfrm>
            <a:custGeom>
              <a:avLst/>
              <a:gdLst>
                <a:gd name="connsiteX0" fmla="*/ 17756 w 119855"/>
                <a:gd name="connsiteY0" fmla="*/ 0 h 119855"/>
                <a:gd name="connsiteX1" fmla="*/ 3171 w 119855"/>
                <a:gd name="connsiteY1" fmla="*/ 16488 h 119855"/>
                <a:gd name="connsiteX2" fmla="*/ 0 w 119855"/>
                <a:gd name="connsiteY2" fmla="*/ 22830 h 119855"/>
                <a:gd name="connsiteX3" fmla="*/ 38049 w 119855"/>
                <a:gd name="connsiteY3" fmla="*/ 81806 h 119855"/>
                <a:gd name="connsiteX4" fmla="*/ 38049 w 119855"/>
                <a:gd name="connsiteY4" fmla="*/ 81806 h 119855"/>
                <a:gd name="connsiteX5" fmla="*/ 38049 w 119855"/>
                <a:gd name="connsiteY5" fmla="*/ 81806 h 119855"/>
                <a:gd name="connsiteX6" fmla="*/ 97025 w 119855"/>
                <a:gd name="connsiteY6" fmla="*/ 119855 h 119855"/>
                <a:gd name="connsiteX7" fmla="*/ 103367 w 119855"/>
                <a:gd name="connsiteY7" fmla="*/ 116684 h 119855"/>
                <a:gd name="connsiteX8" fmla="*/ 119855 w 119855"/>
                <a:gd name="connsiteY8" fmla="*/ 102099 h 119855"/>
                <a:gd name="connsiteX9" fmla="*/ 91318 w 119855"/>
                <a:gd name="connsiteY9" fmla="*/ 73562 h 119855"/>
                <a:gd name="connsiteX10" fmla="*/ 85611 w 119855"/>
                <a:gd name="connsiteY10" fmla="*/ 79269 h 119855"/>
                <a:gd name="connsiteX11" fmla="*/ 80538 w 119855"/>
                <a:gd name="connsiteY11" fmla="*/ 81172 h 119855"/>
                <a:gd name="connsiteX12" fmla="*/ 75464 w 119855"/>
                <a:gd name="connsiteY12" fmla="*/ 79269 h 119855"/>
                <a:gd name="connsiteX13" fmla="*/ 39952 w 119855"/>
                <a:gd name="connsiteY13" fmla="*/ 43757 h 119855"/>
                <a:gd name="connsiteX14" fmla="*/ 39952 w 119855"/>
                <a:gd name="connsiteY14" fmla="*/ 34244 h 119855"/>
                <a:gd name="connsiteX15" fmla="*/ 45659 w 119855"/>
                <a:gd name="connsiteY15" fmla="*/ 28537 h 119855"/>
                <a:gd name="connsiteX16" fmla="*/ 17756 w 119855"/>
                <a:gd name="connsiteY16" fmla="*/ 0 h 119855"/>
                <a:gd name="connsiteX17" fmla="*/ 17756 w 119855"/>
                <a:gd name="connsiteY17" fmla="*/ 0 h 119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9855" h="119855">
                  <a:moveTo>
                    <a:pt x="17756" y="0"/>
                  </a:moveTo>
                  <a:cubicBezTo>
                    <a:pt x="11415" y="4439"/>
                    <a:pt x="6342" y="10147"/>
                    <a:pt x="3171" y="16488"/>
                  </a:cubicBezTo>
                  <a:cubicBezTo>
                    <a:pt x="1902" y="18391"/>
                    <a:pt x="1268" y="20927"/>
                    <a:pt x="0" y="22830"/>
                  </a:cubicBezTo>
                  <a:cubicBezTo>
                    <a:pt x="6976" y="43757"/>
                    <a:pt x="20293" y="64050"/>
                    <a:pt x="38049" y="81806"/>
                  </a:cubicBezTo>
                  <a:cubicBezTo>
                    <a:pt x="38049" y="81806"/>
                    <a:pt x="38049" y="81806"/>
                    <a:pt x="38049" y="81806"/>
                  </a:cubicBezTo>
                  <a:cubicBezTo>
                    <a:pt x="38049" y="81806"/>
                    <a:pt x="38049" y="81806"/>
                    <a:pt x="38049" y="81806"/>
                  </a:cubicBezTo>
                  <a:cubicBezTo>
                    <a:pt x="55805" y="99562"/>
                    <a:pt x="76098" y="112880"/>
                    <a:pt x="97025" y="119855"/>
                  </a:cubicBezTo>
                  <a:cubicBezTo>
                    <a:pt x="98928" y="119221"/>
                    <a:pt x="101465" y="117953"/>
                    <a:pt x="103367" y="116684"/>
                  </a:cubicBezTo>
                  <a:cubicBezTo>
                    <a:pt x="110343" y="112880"/>
                    <a:pt x="115416" y="107806"/>
                    <a:pt x="119855" y="102099"/>
                  </a:cubicBezTo>
                  <a:lnTo>
                    <a:pt x="91318" y="73562"/>
                  </a:lnTo>
                  <a:lnTo>
                    <a:pt x="85611" y="79269"/>
                  </a:lnTo>
                  <a:cubicBezTo>
                    <a:pt x="84342" y="80538"/>
                    <a:pt x="82440" y="81172"/>
                    <a:pt x="80538" y="81172"/>
                  </a:cubicBezTo>
                  <a:cubicBezTo>
                    <a:pt x="78635" y="81172"/>
                    <a:pt x="76732" y="80538"/>
                    <a:pt x="75464" y="79269"/>
                  </a:cubicBezTo>
                  <a:lnTo>
                    <a:pt x="39952" y="43757"/>
                  </a:lnTo>
                  <a:cubicBezTo>
                    <a:pt x="37415" y="41220"/>
                    <a:pt x="37415" y="36781"/>
                    <a:pt x="39952" y="34244"/>
                  </a:cubicBezTo>
                  <a:lnTo>
                    <a:pt x="45659" y="28537"/>
                  </a:lnTo>
                  <a:lnTo>
                    <a:pt x="17756" y="0"/>
                  </a:lnTo>
                  <a:lnTo>
                    <a:pt x="17756" y="0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5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1289118" y="5704867"/>
            <a:ext cx="395072" cy="395072"/>
            <a:chOff x="1235212" y="5763162"/>
            <a:chExt cx="399516" cy="399516"/>
          </a:xfrm>
          <a:solidFill>
            <a:srgbClr val="B1B1A1"/>
          </a:solidFill>
        </p:grpSpPr>
        <p:sp>
          <p:nvSpPr>
            <p:cNvPr id="36" name="Forma Livre: Forma 35">
              <a:extLst>
                <a:ext uri="{FF2B5EF4-FFF2-40B4-BE49-F238E27FC236}">
                  <a16:creationId xmlns:a16="http://schemas.microsoft.com/office/drawing/2014/main" id="{74F9325C-E5EE-4109-A130-F170484966F2}"/>
                </a:ext>
              </a:extLst>
            </p:cNvPr>
            <p:cNvSpPr/>
            <p:nvPr/>
          </p:nvSpPr>
          <p:spPr>
            <a:xfrm>
              <a:off x="1516776" y="5820870"/>
              <a:ext cx="50732" cy="72293"/>
            </a:xfrm>
            <a:custGeom>
              <a:avLst/>
              <a:gdLst>
                <a:gd name="connsiteX0" fmla="*/ 17122 w 50732"/>
                <a:gd name="connsiteY0" fmla="*/ 60879 h 72293"/>
                <a:gd name="connsiteX1" fmla="*/ 43122 w 50732"/>
                <a:gd name="connsiteY1" fmla="*/ 60879 h 72293"/>
                <a:gd name="connsiteX2" fmla="*/ 48830 w 50732"/>
                <a:gd name="connsiteY2" fmla="*/ 62147 h 72293"/>
                <a:gd name="connsiteX3" fmla="*/ 50732 w 50732"/>
                <a:gd name="connsiteY3" fmla="*/ 66586 h 72293"/>
                <a:gd name="connsiteX4" fmla="*/ 48830 w 50732"/>
                <a:gd name="connsiteY4" fmla="*/ 70391 h 72293"/>
                <a:gd name="connsiteX5" fmla="*/ 43757 w 50732"/>
                <a:gd name="connsiteY5" fmla="*/ 72294 h 72293"/>
                <a:gd name="connsiteX6" fmla="*/ 7610 w 50732"/>
                <a:gd name="connsiteY6" fmla="*/ 72294 h 72293"/>
                <a:gd name="connsiteX7" fmla="*/ 1902 w 50732"/>
                <a:gd name="connsiteY7" fmla="*/ 70391 h 72293"/>
                <a:gd name="connsiteX8" fmla="*/ 0 w 50732"/>
                <a:gd name="connsiteY8" fmla="*/ 65318 h 72293"/>
                <a:gd name="connsiteX9" fmla="*/ 1268 w 50732"/>
                <a:gd name="connsiteY9" fmla="*/ 60879 h 72293"/>
                <a:gd name="connsiteX10" fmla="*/ 4439 w 50732"/>
                <a:gd name="connsiteY10" fmla="*/ 56440 h 72293"/>
                <a:gd name="connsiteX11" fmla="*/ 16488 w 50732"/>
                <a:gd name="connsiteY11" fmla="*/ 45025 h 72293"/>
                <a:gd name="connsiteX12" fmla="*/ 24098 w 50732"/>
                <a:gd name="connsiteY12" fmla="*/ 38684 h 72293"/>
                <a:gd name="connsiteX13" fmla="*/ 31074 w 50732"/>
                <a:gd name="connsiteY13" fmla="*/ 32976 h 72293"/>
                <a:gd name="connsiteX14" fmla="*/ 34878 w 50732"/>
                <a:gd name="connsiteY14" fmla="*/ 27269 h 72293"/>
                <a:gd name="connsiteX15" fmla="*/ 36147 w 50732"/>
                <a:gd name="connsiteY15" fmla="*/ 21561 h 72293"/>
                <a:gd name="connsiteX16" fmla="*/ 34878 w 50732"/>
                <a:gd name="connsiteY16" fmla="*/ 15854 h 72293"/>
                <a:gd name="connsiteX17" fmla="*/ 31074 w 50732"/>
                <a:gd name="connsiteY17" fmla="*/ 12049 h 72293"/>
                <a:gd name="connsiteX18" fmla="*/ 25366 w 50732"/>
                <a:gd name="connsiteY18" fmla="*/ 10781 h 72293"/>
                <a:gd name="connsiteX19" fmla="*/ 15220 w 50732"/>
                <a:gd name="connsiteY19" fmla="*/ 16488 h 72293"/>
                <a:gd name="connsiteX20" fmla="*/ 13317 w 50732"/>
                <a:gd name="connsiteY20" fmla="*/ 20293 h 72293"/>
                <a:gd name="connsiteX21" fmla="*/ 10781 w 50732"/>
                <a:gd name="connsiteY21" fmla="*/ 25366 h 72293"/>
                <a:gd name="connsiteX22" fmla="*/ 6342 w 50732"/>
                <a:gd name="connsiteY22" fmla="*/ 27269 h 72293"/>
                <a:gd name="connsiteX23" fmla="*/ 2537 w 50732"/>
                <a:gd name="connsiteY23" fmla="*/ 25366 h 72293"/>
                <a:gd name="connsiteX24" fmla="*/ 634 w 50732"/>
                <a:gd name="connsiteY24" fmla="*/ 20927 h 72293"/>
                <a:gd name="connsiteX25" fmla="*/ 1902 w 50732"/>
                <a:gd name="connsiteY25" fmla="*/ 13951 h 72293"/>
                <a:gd name="connsiteX26" fmla="*/ 6342 w 50732"/>
                <a:gd name="connsiteY26" fmla="*/ 6976 h 72293"/>
                <a:gd name="connsiteX27" fmla="*/ 13951 w 50732"/>
                <a:gd name="connsiteY27" fmla="*/ 1903 h 72293"/>
                <a:gd name="connsiteX28" fmla="*/ 24732 w 50732"/>
                <a:gd name="connsiteY28" fmla="*/ 0 h 72293"/>
                <a:gd name="connsiteX29" fmla="*/ 37415 w 50732"/>
                <a:gd name="connsiteY29" fmla="*/ 2537 h 72293"/>
                <a:gd name="connsiteX30" fmla="*/ 43757 w 50732"/>
                <a:gd name="connsiteY30" fmla="*/ 6976 h 72293"/>
                <a:gd name="connsiteX31" fmla="*/ 47562 w 50732"/>
                <a:gd name="connsiteY31" fmla="*/ 13317 h 72293"/>
                <a:gd name="connsiteX32" fmla="*/ 48830 w 50732"/>
                <a:gd name="connsiteY32" fmla="*/ 20927 h 72293"/>
                <a:gd name="connsiteX33" fmla="*/ 45659 w 50732"/>
                <a:gd name="connsiteY33" fmla="*/ 32342 h 72293"/>
                <a:gd name="connsiteX34" fmla="*/ 39318 w 50732"/>
                <a:gd name="connsiteY34" fmla="*/ 39952 h 72293"/>
                <a:gd name="connsiteX35" fmla="*/ 28537 w 50732"/>
                <a:gd name="connsiteY35" fmla="*/ 48830 h 72293"/>
                <a:gd name="connsiteX36" fmla="*/ 18390 w 50732"/>
                <a:gd name="connsiteY36" fmla="*/ 58342 h 72293"/>
                <a:gd name="connsiteX37" fmla="*/ 17122 w 50732"/>
                <a:gd name="connsiteY37" fmla="*/ 60879 h 72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50732" h="72293">
                  <a:moveTo>
                    <a:pt x="17122" y="60879"/>
                  </a:moveTo>
                  <a:lnTo>
                    <a:pt x="43122" y="60879"/>
                  </a:lnTo>
                  <a:cubicBezTo>
                    <a:pt x="45659" y="60879"/>
                    <a:pt x="47562" y="61513"/>
                    <a:pt x="48830" y="62147"/>
                  </a:cubicBezTo>
                  <a:cubicBezTo>
                    <a:pt x="50098" y="62781"/>
                    <a:pt x="50732" y="64684"/>
                    <a:pt x="50732" y="66586"/>
                  </a:cubicBezTo>
                  <a:cubicBezTo>
                    <a:pt x="50732" y="68489"/>
                    <a:pt x="50098" y="69757"/>
                    <a:pt x="48830" y="70391"/>
                  </a:cubicBezTo>
                  <a:cubicBezTo>
                    <a:pt x="47562" y="71660"/>
                    <a:pt x="46293" y="72294"/>
                    <a:pt x="43757" y="72294"/>
                  </a:cubicBezTo>
                  <a:lnTo>
                    <a:pt x="7610" y="72294"/>
                  </a:lnTo>
                  <a:cubicBezTo>
                    <a:pt x="5073" y="72294"/>
                    <a:pt x="3171" y="71660"/>
                    <a:pt x="1902" y="70391"/>
                  </a:cubicBezTo>
                  <a:cubicBezTo>
                    <a:pt x="634" y="69123"/>
                    <a:pt x="0" y="67221"/>
                    <a:pt x="0" y="65318"/>
                  </a:cubicBezTo>
                  <a:cubicBezTo>
                    <a:pt x="0" y="64050"/>
                    <a:pt x="634" y="62781"/>
                    <a:pt x="1268" y="60879"/>
                  </a:cubicBezTo>
                  <a:cubicBezTo>
                    <a:pt x="1902" y="58977"/>
                    <a:pt x="3171" y="57074"/>
                    <a:pt x="4439" y="56440"/>
                  </a:cubicBezTo>
                  <a:cubicBezTo>
                    <a:pt x="8878" y="52001"/>
                    <a:pt x="12683" y="48196"/>
                    <a:pt x="16488" y="45025"/>
                  </a:cubicBezTo>
                  <a:cubicBezTo>
                    <a:pt x="20293" y="41854"/>
                    <a:pt x="22830" y="39952"/>
                    <a:pt x="24098" y="38684"/>
                  </a:cubicBezTo>
                  <a:cubicBezTo>
                    <a:pt x="26634" y="36781"/>
                    <a:pt x="29171" y="34878"/>
                    <a:pt x="31074" y="32976"/>
                  </a:cubicBezTo>
                  <a:cubicBezTo>
                    <a:pt x="32976" y="31074"/>
                    <a:pt x="34244" y="29171"/>
                    <a:pt x="34878" y="27269"/>
                  </a:cubicBezTo>
                  <a:cubicBezTo>
                    <a:pt x="36147" y="25366"/>
                    <a:pt x="36147" y="23464"/>
                    <a:pt x="36147" y="21561"/>
                  </a:cubicBezTo>
                  <a:cubicBezTo>
                    <a:pt x="36147" y="19659"/>
                    <a:pt x="35513" y="17757"/>
                    <a:pt x="34878" y="15854"/>
                  </a:cubicBezTo>
                  <a:cubicBezTo>
                    <a:pt x="33610" y="13951"/>
                    <a:pt x="32342" y="12683"/>
                    <a:pt x="31074" y="12049"/>
                  </a:cubicBezTo>
                  <a:cubicBezTo>
                    <a:pt x="29171" y="11415"/>
                    <a:pt x="27269" y="10781"/>
                    <a:pt x="25366" y="10781"/>
                  </a:cubicBezTo>
                  <a:cubicBezTo>
                    <a:pt x="20927" y="10781"/>
                    <a:pt x="17756" y="12683"/>
                    <a:pt x="15220" y="16488"/>
                  </a:cubicBezTo>
                  <a:cubicBezTo>
                    <a:pt x="14586" y="17122"/>
                    <a:pt x="14586" y="18391"/>
                    <a:pt x="13317" y="20293"/>
                  </a:cubicBezTo>
                  <a:cubicBezTo>
                    <a:pt x="12683" y="22195"/>
                    <a:pt x="11415" y="24098"/>
                    <a:pt x="10781" y="25366"/>
                  </a:cubicBezTo>
                  <a:cubicBezTo>
                    <a:pt x="9512" y="26635"/>
                    <a:pt x="8244" y="27269"/>
                    <a:pt x="6342" y="27269"/>
                  </a:cubicBezTo>
                  <a:cubicBezTo>
                    <a:pt x="4439" y="27269"/>
                    <a:pt x="3171" y="26635"/>
                    <a:pt x="2537" y="25366"/>
                  </a:cubicBezTo>
                  <a:cubicBezTo>
                    <a:pt x="1268" y="24098"/>
                    <a:pt x="634" y="22830"/>
                    <a:pt x="634" y="20927"/>
                  </a:cubicBezTo>
                  <a:cubicBezTo>
                    <a:pt x="634" y="18391"/>
                    <a:pt x="1268" y="16488"/>
                    <a:pt x="1902" y="13951"/>
                  </a:cubicBezTo>
                  <a:cubicBezTo>
                    <a:pt x="3171" y="11415"/>
                    <a:pt x="4439" y="9512"/>
                    <a:pt x="6342" y="6976"/>
                  </a:cubicBezTo>
                  <a:cubicBezTo>
                    <a:pt x="8244" y="5074"/>
                    <a:pt x="10781" y="3171"/>
                    <a:pt x="13951" y="1903"/>
                  </a:cubicBezTo>
                  <a:cubicBezTo>
                    <a:pt x="17122" y="634"/>
                    <a:pt x="20927" y="0"/>
                    <a:pt x="24732" y="0"/>
                  </a:cubicBezTo>
                  <a:cubicBezTo>
                    <a:pt x="29805" y="0"/>
                    <a:pt x="34244" y="634"/>
                    <a:pt x="37415" y="2537"/>
                  </a:cubicBezTo>
                  <a:cubicBezTo>
                    <a:pt x="39952" y="3805"/>
                    <a:pt x="41854" y="5074"/>
                    <a:pt x="43757" y="6976"/>
                  </a:cubicBezTo>
                  <a:cubicBezTo>
                    <a:pt x="45659" y="8878"/>
                    <a:pt x="46927" y="10781"/>
                    <a:pt x="47562" y="13317"/>
                  </a:cubicBezTo>
                  <a:cubicBezTo>
                    <a:pt x="48830" y="15854"/>
                    <a:pt x="48830" y="18391"/>
                    <a:pt x="48830" y="20927"/>
                  </a:cubicBezTo>
                  <a:cubicBezTo>
                    <a:pt x="48830" y="24732"/>
                    <a:pt x="47562" y="28537"/>
                    <a:pt x="45659" y="32342"/>
                  </a:cubicBezTo>
                  <a:cubicBezTo>
                    <a:pt x="43757" y="35513"/>
                    <a:pt x="41854" y="38049"/>
                    <a:pt x="39318" y="39952"/>
                  </a:cubicBezTo>
                  <a:cubicBezTo>
                    <a:pt x="37415" y="41854"/>
                    <a:pt x="33610" y="45025"/>
                    <a:pt x="28537" y="48830"/>
                  </a:cubicBezTo>
                  <a:cubicBezTo>
                    <a:pt x="23464" y="52635"/>
                    <a:pt x="20293" y="55806"/>
                    <a:pt x="18390" y="58342"/>
                  </a:cubicBezTo>
                  <a:cubicBezTo>
                    <a:pt x="19025" y="58342"/>
                    <a:pt x="17756" y="59611"/>
                    <a:pt x="17122" y="60879"/>
                  </a:cubicBez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7" name="Forma Livre: Forma 36">
              <a:extLst>
                <a:ext uri="{FF2B5EF4-FFF2-40B4-BE49-F238E27FC236}">
                  <a16:creationId xmlns:a16="http://schemas.microsoft.com/office/drawing/2014/main" id="{3D727709-E8DD-4C6A-ABED-7B4BDC893DDB}"/>
                </a:ext>
              </a:extLst>
            </p:cNvPr>
            <p:cNvSpPr/>
            <p:nvPr/>
          </p:nvSpPr>
          <p:spPr>
            <a:xfrm>
              <a:off x="1306237" y="5820870"/>
              <a:ext cx="35512" cy="74196"/>
            </a:xfrm>
            <a:custGeom>
              <a:avLst/>
              <a:gdLst>
                <a:gd name="connsiteX0" fmla="*/ 22830 w 35512"/>
                <a:gd name="connsiteY0" fmla="*/ 65952 h 74196"/>
                <a:gd name="connsiteX1" fmla="*/ 22830 w 35512"/>
                <a:gd name="connsiteY1" fmla="*/ 20927 h 74196"/>
                <a:gd name="connsiteX2" fmla="*/ 5707 w 35512"/>
                <a:gd name="connsiteY2" fmla="*/ 30440 h 74196"/>
                <a:gd name="connsiteX3" fmla="*/ 1902 w 35512"/>
                <a:gd name="connsiteY3" fmla="*/ 28537 h 74196"/>
                <a:gd name="connsiteX4" fmla="*/ 0 w 35512"/>
                <a:gd name="connsiteY4" fmla="*/ 24732 h 74196"/>
                <a:gd name="connsiteX5" fmla="*/ 1268 w 35512"/>
                <a:gd name="connsiteY5" fmla="*/ 20927 h 74196"/>
                <a:gd name="connsiteX6" fmla="*/ 6976 w 35512"/>
                <a:gd name="connsiteY6" fmla="*/ 17757 h 74196"/>
                <a:gd name="connsiteX7" fmla="*/ 16488 w 35512"/>
                <a:gd name="connsiteY7" fmla="*/ 12049 h 74196"/>
                <a:gd name="connsiteX8" fmla="*/ 22830 w 35512"/>
                <a:gd name="connsiteY8" fmla="*/ 5074 h 74196"/>
                <a:gd name="connsiteX9" fmla="*/ 26634 w 35512"/>
                <a:gd name="connsiteY9" fmla="*/ 634 h 74196"/>
                <a:gd name="connsiteX10" fmla="*/ 29805 w 35512"/>
                <a:gd name="connsiteY10" fmla="*/ 0 h 74196"/>
                <a:gd name="connsiteX11" fmla="*/ 34244 w 35512"/>
                <a:gd name="connsiteY11" fmla="*/ 1903 h 74196"/>
                <a:gd name="connsiteX12" fmla="*/ 35513 w 35512"/>
                <a:gd name="connsiteY12" fmla="*/ 7610 h 74196"/>
                <a:gd name="connsiteX13" fmla="*/ 35513 w 35512"/>
                <a:gd name="connsiteY13" fmla="*/ 64050 h 74196"/>
                <a:gd name="connsiteX14" fmla="*/ 28537 w 35512"/>
                <a:gd name="connsiteY14" fmla="*/ 74196 h 74196"/>
                <a:gd name="connsiteX15" fmla="*/ 23464 w 35512"/>
                <a:gd name="connsiteY15" fmla="*/ 72294 h 74196"/>
                <a:gd name="connsiteX16" fmla="*/ 22830 w 35512"/>
                <a:gd name="connsiteY16" fmla="*/ 65952 h 74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5512" h="74196">
                  <a:moveTo>
                    <a:pt x="22830" y="65952"/>
                  </a:moveTo>
                  <a:lnTo>
                    <a:pt x="22830" y="20927"/>
                  </a:lnTo>
                  <a:cubicBezTo>
                    <a:pt x="14586" y="27269"/>
                    <a:pt x="8878" y="30440"/>
                    <a:pt x="5707" y="30440"/>
                  </a:cubicBezTo>
                  <a:cubicBezTo>
                    <a:pt x="4439" y="30440"/>
                    <a:pt x="3171" y="29805"/>
                    <a:pt x="1902" y="28537"/>
                  </a:cubicBezTo>
                  <a:cubicBezTo>
                    <a:pt x="634" y="27269"/>
                    <a:pt x="0" y="26001"/>
                    <a:pt x="0" y="24732"/>
                  </a:cubicBezTo>
                  <a:cubicBezTo>
                    <a:pt x="0" y="22830"/>
                    <a:pt x="634" y="21561"/>
                    <a:pt x="1268" y="20927"/>
                  </a:cubicBezTo>
                  <a:cubicBezTo>
                    <a:pt x="2537" y="20293"/>
                    <a:pt x="4439" y="19025"/>
                    <a:pt x="6976" y="17757"/>
                  </a:cubicBezTo>
                  <a:cubicBezTo>
                    <a:pt x="10781" y="15854"/>
                    <a:pt x="13951" y="13951"/>
                    <a:pt x="16488" y="12049"/>
                  </a:cubicBezTo>
                  <a:cubicBezTo>
                    <a:pt x="19025" y="10147"/>
                    <a:pt x="20927" y="7610"/>
                    <a:pt x="22830" y="5074"/>
                  </a:cubicBezTo>
                  <a:cubicBezTo>
                    <a:pt x="24732" y="2537"/>
                    <a:pt x="26000" y="634"/>
                    <a:pt x="26634" y="634"/>
                  </a:cubicBezTo>
                  <a:cubicBezTo>
                    <a:pt x="27269" y="634"/>
                    <a:pt x="28537" y="0"/>
                    <a:pt x="29805" y="0"/>
                  </a:cubicBezTo>
                  <a:cubicBezTo>
                    <a:pt x="31708" y="0"/>
                    <a:pt x="32976" y="634"/>
                    <a:pt x="34244" y="1903"/>
                  </a:cubicBezTo>
                  <a:cubicBezTo>
                    <a:pt x="35513" y="3171"/>
                    <a:pt x="35513" y="5074"/>
                    <a:pt x="35513" y="7610"/>
                  </a:cubicBezTo>
                  <a:lnTo>
                    <a:pt x="35513" y="64050"/>
                  </a:lnTo>
                  <a:cubicBezTo>
                    <a:pt x="35513" y="70391"/>
                    <a:pt x="32976" y="74196"/>
                    <a:pt x="28537" y="74196"/>
                  </a:cubicBezTo>
                  <a:cubicBezTo>
                    <a:pt x="26634" y="74196"/>
                    <a:pt x="24732" y="73562"/>
                    <a:pt x="23464" y="72294"/>
                  </a:cubicBezTo>
                  <a:cubicBezTo>
                    <a:pt x="23464" y="70391"/>
                    <a:pt x="22830" y="68489"/>
                    <a:pt x="22830" y="65952"/>
                  </a:cubicBez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8" name="Forma Livre: Forma 37">
              <a:extLst>
                <a:ext uri="{FF2B5EF4-FFF2-40B4-BE49-F238E27FC236}">
                  <a16:creationId xmlns:a16="http://schemas.microsoft.com/office/drawing/2014/main" id="{C0BA20DE-46FE-4673-A589-E2A2831EA4EC}"/>
                </a:ext>
              </a:extLst>
            </p:cNvPr>
            <p:cNvSpPr/>
            <p:nvPr/>
          </p:nvSpPr>
          <p:spPr>
            <a:xfrm>
              <a:off x="1512337" y="6031409"/>
              <a:ext cx="57707" cy="75464"/>
            </a:xfrm>
            <a:custGeom>
              <a:avLst/>
              <a:gdLst>
                <a:gd name="connsiteX0" fmla="*/ 34244 w 57707"/>
                <a:gd name="connsiteY0" fmla="*/ 66586 h 75464"/>
                <a:gd name="connsiteX1" fmla="*/ 34244 w 57707"/>
                <a:gd name="connsiteY1" fmla="*/ 57074 h 75464"/>
                <a:gd name="connsiteX2" fmla="*/ 9512 w 57707"/>
                <a:gd name="connsiteY2" fmla="*/ 57074 h 75464"/>
                <a:gd name="connsiteX3" fmla="*/ 2537 w 57707"/>
                <a:gd name="connsiteY3" fmla="*/ 55171 h 75464"/>
                <a:gd name="connsiteX4" fmla="*/ 0 w 57707"/>
                <a:gd name="connsiteY4" fmla="*/ 49464 h 75464"/>
                <a:gd name="connsiteX5" fmla="*/ 634 w 57707"/>
                <a:gd name="connsiteY5" fmla="*/ 47562 h 75464"/>
                <a:gd name="connsiteX6" fmla="*/ 1902 w 57707"/>
                <a:gd name="connsiteY6" fmla="*/ 45659 h 75464"/>
                <a:gd name="connsiteX7" fmla="*/ 3171 w 57707"/>
                <a:gd name="connsiteY7" fmla="*/ 43757 h 75464"/>
                <a:gd name="connsiteX8" fmla="*/ 5073 w 57707"/>
                <a:gd name="connsiteY8" fmla="*/ 41220 h 75464"/>
                <a:gd name="connsiteX9" fmla="*/ 31074 w 57707"/>
                <a:gd name="connsiteY9" fmla="*/ 6342 h 75464"/>
                <a:gd name="connsiteX10" fmla="*/ 35513 w 57707"/>
                <a:gd name="connsiteY10" fmla="*/ 1268 h 75464"/>
                <a:gd name="connsiteX11" fmla="*/ 39318 w 57707"/>
                <a:gd name="connsiteY11" fmla="*/ 0 h 75464"/>
                <a:gd name="connsiteX12" fmla="*/ 46927 w 57707"/>
                <a:gd name="connsiteY12" fmla="*/ 8878 h 75464"/>
                <a:gd name="connsiteX13" fmla="*/ 46927 w 57707"/>
                <a:gd name="connsiteY13" fmla="*/ 46928 h 75464"/>
                <a:gd name="connsiteX14" fmla="*/ 48830 w 57707"/>
                <a:gd name="connsiteY14" fmla="*/ 46928 h 75464"/>
                <a:gd name="connsiteX15" fmla="*/ 55171 w 57707"/>
                <a:gd name="connsiteY15" fmla="*/ 48196 h 75464"/>
                <a:gd name="connsiteX16" fmla="*/ 57708 w 57707"/>
                <a:gd name="connsiteY16" fmla="*/ 52635 h 75464"/>
                <a:gd name="connsiteX17" fmla="*/ 55806 w 57707"/>
                <a:gd name="connsiteY17" fmla="*/ 57074 h 75464"/>
                <a:gd name="connsiteX18" fmla="*/ 50098 w 57707"/>
                <a:gd name="connsiteY18" fmla="*/ 58342 h 75464"/>
                <a:gd name="connsiteX19" fmla="*/ 46927 w 57707"/>
                <a:gd name="connsiteY19" fmla="*/ 58342 h 75464"/>
                <a:gd name="connsiteX20" fmla="*/ 46927 w 57707"/>
                <a:gd name="connsiteY20" fmla="*/ 67855 h 75464"/>
                <a:gd name="connsiteX21" fmla="*/ 45025 w 57707"/>
                <a:gd name="connsiteY21" fmla="*/ 73562 h 75464"/>
                <a:gd name="connsiteX22" fmla="*/ 40586 w 57707"/>
                <a:gd name="connsiteY22" fmla="*/ 75464 h 75464"/>
                <a:gd name="connsiteX23" fmla="*/ 36147 w 57707"/>
                <a:gd name="connsiteY23" fmla="*/ 73562 h 75464"/>
                <a:gd name="connsiteX24" fmla="*/ 34244 w 57707"/>
                <a:gd name="connsiteY24" fmla="*/ 66586 h 75464"/>
                <a:gd name="connsiteX25" fmla="*/ 13317 w 57707"/>
                <a:gd name="connsiteY25" fmla="*/ 46293 h 75464"/>
                <a:gd name="connsiteX26" fmla="*/ 34878 w 57707"/>
                <a:gd name="connsiteY26" fmla="*/ 46293 h 75464"/>
                <a:gd name="connsiteX27" fmla="*/ 34878 w 57707"/>
                <a:gd name="connsiteY27" fmla="*/ 17756 h 75464"/>
                <a:gd name="connsiteX28" fmla="*/ 13317 w 57707"/>
                <a:gd name="connsiteY28" fmla="*/ 46293 h 75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7707" h="75464">
                  <a:moveTo>
                    <a:pt x="34244" y="66586"/>
                  </a:moveTo>
                  <a:lnTo>
                    <a:pt x="34244" y="57074"/>
                  </a:lnTo>
                  <a:lnTo>
                    <a:pt x="9512" y="57074"/>
                  </a:lnTo>
                  <a:cubicBezTo>
                    <a:pt x="6342" y="57074"/>
                    <a:pt x="3805" y="56440"/>
                    <a:pt x="2537" y="55171"/>
                  </a:cubicBezTo>
                  <a:cubicBezTo>
                    <a:pt x="1268" y="53903"/>
                    <a:pt x="0" y="52001"/>
                    <a:pt x="0" y="49464"/>
                  </a:cubicBezTo>
                  <a:cubicBezTo>
                    <a:pt x="0" y="48830"/>
                    <a:pt x="0" y="48196"/>
                    <a:pt x="634" y="47562"/>
                  </a:cubicBezTo>
                  <a:cubicBezTo>
                    <a:pt x="634" y="46928"/>
                    <a:pt x="1268" y="46293"/>
                    <a:pt x="1902" y="45659"/>
                  </a:cubicBezTo>
                  <a:cubicBezTo>
                    <a:pt x="2537" y="45025"/>
                    <a:pt x="2537" y="44391"/>
                    <a:pt x="3171" y="43757"/>
                  </a:cubicBezTo>
                  <a:cubicBezTo>
                    <a:pt x="3805" y="43122"/>
                    <a:pt x="4439" y="42488"/>
                    <a:pt x="5073" y="41220"/>
                  </a:cubicBezTo>
                  <a:lnTo>
                    <a:pt x="31074" y="6342"/>
                  </a:lnTo>
                  <a:cubicBezTo>
                    <a:pt x="32976" y="3805"/>
                    <a:pt x="34244" y="2537"/>
                    <a:pt x="35513" y="1268"/>
                  </a:cubicBezTo>
                  <a:cubicBezTo>
                    <a:pt x="36781" y="0"/>
                    <a:pt x="38049" y="0"/>
                    <a:pt x="39318" y="0"/>
                  </a:cubicBezTo>
                  <a:cubicBezTo>
                    <a:pt x="44391" y="0"/>
                    <a:pt x="46927" y="3171"/>
                    <a:pt x="46927" y="8878"/>
                  </a:cubicBezTo>
                  <a:lnTo>
                    <a:pt x="46927" y="46928"/>
                  </a:lnTo>
                  <a:lnTo>
                    <a:pt x="48830" y="46928"/>
                  </a:lnTo>
                  <a:cubicBezTo>
                    <a:pt x="51366" y="46928"/>
                    <a:pt x="53269" y="47562"/>
                    <a:pt x="55171" y="48196"/>
                  </a:cubicBezTo>
                  <a:cubicBezTo>
                    <a:pt x="56440" y="48830"/>
                    <a:pt x="57708" y="50098"/>
                    <a:pt x="57708" y="52635"/>
                  </a:cubicBezTo>
                  <a:cubicBezTo>
                    <a:pt x="57708" y="54537"/>
                    <a:pt x="57074" y="55805"/>
                    <a:pt x="55806" y="57074"/>
                  </a:cubicBezTo>
                  <a:cubicBezTo>
                    <a:pt x="54537" y="57708"/>
                    <a:pt x="52635" y="58342"/>
                    <a:pt x="50098" y="58342"/>
                  </a:cubicBezTo>
                  <a:lnTo>
                    <a:pt x="46927" y="58342"/>
                  </a:lnTo>
                  <a:lnTo>
                    <a:pt x="46927" y="67855"/>
                  </a:lnTo>
                  <a:cubicBezTo>
                    <a:pt x="46927" y="70391"/>
                    <a:pt x="46293" y="72294"/>
                    <a:pt x="45025" y="73562"/>
                  </a:cubicBezTo>
                  <a:cubicBezTo>
                    <a:pt x="43757" y="74830"/>
                    <a:pt x="42488" y="75464"/>
                    <a:pt x="40586" y="75464"/>
                  </a:cubicBezTo>
                  <a:cubicBezTo>
                    <a:pt x="38683" y="75464"/>
                    <a:pt x="37415" y="74830"/>
                    <a:pt x="36147" y="73562"/>
                  </a:cubicBezTo>
                  <a:cubicBezTo>
                    <a:pt x="34878" y="71025"/>
                    <a:pt x="34244" y="69123"/>
                    <a:pt x="34244" y="66586"/>
                  </a:cubicBezTo>
                  <a:close/>
                  <a:moveTo>
                    <a:pt x="13317" y="46293"/>
                  </a:moveTo>
                  <a:lnTo>
                    <a:pt x="34878" y="46293"/>
                  </a:lnTo>
                  <a:lnTo>
                    <a:pt x="34878" y="17756"/>
                  </a:lnTo>
                  <a:lnTo>
                    <a:pt x="13317" y="46293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9" name="Forma Livre: Forma 38">
              <a:extLst>
                <a:ext uri="{FF2B5EF4-FFF2-40B4-BE49-F238E27FC236}">
                  <a16:creationId xmlns:a16="http://schemas.microsoft.com/office/drawing/2014/main" id="{B48077C1-6D0C-444E-AA95-B7276AC1C903}"/>
                </a:ext>
              </a:extLst>
            </p:cNvPr>
            <p:cNvSpPr/>
            <p:nvPr/>
          </p:nvSpPr>
          <p:spPr>
            <a:xfrm>
              <a:off x="1304334" y="6031409"/>
              <a:ext cx="50098" cy="73562"/>
            </a:xfrm>
            <a:custGeom>
              <a:avLst/>
              <a:gdLst>
                <a:gd name="connsiteX0" fmla="*/ 23464 w 50098"/>
                <a:gd name="connsiteY0" fmla="*/ 29171 h 73562"/>
                <a:gd name="connsiteX1" fmla="*/ 31074 w 50098"/>
                <a:gd name="connsiteY1" fmla="*/ 26635 h 73562"/>
                <a:gd name="connsiteX2" fmla="*/ 34244 w 50098"/>
                <a:gd name="connsiteY2" fmla="*/ 19025 h 73562"/>
                <a:gd name="connsiteX3" fmla="*/ 31708 w 50098"/>
                <a:gd name="connsiteY3" fmla="*/ 12683 h 73562"/>
                <a:gd name="connsiteX4" fmla="*/ 24732 w 50098"/>
                <a:gd name="connsiteY4" fmla="*/ 10147 h 73562"/>
                <a:gd name="connsiteX5" fmla="*/ 19659 w 50098"/>
                <a:gd name="connsiteY5" fmla="*/ 10781 h 73562"/>
                <a:gd name="connsiteX6" fmla="*/ 16488 w 50098"/>
                <a:gd name="connsiteY6" fmla="*/ 13317 h 73562"/>
                <a:gd name="connsiteX7" fmla="*/ 14586 w 50098"/>
                <a:gd name="connsiteY7" fmla="*/ 17122 h 73562"/>
                <a:gd name="connsiteX8" fmla="*/ 12683 w 50098"/>
                <a:gd name="connsiteY8" fmla="*/ 20927 h 73562"/>
                <a:gd name="connsiteX9" fmla="*/ 10781 w 50098"/>
                <a:gd name="connsiteY9" fmla="*/ 22830 h 73562"/>
                <a:gd name="connsiteX10" fmla="*/ 7610 w 50098"/>
                <a:gd name="connsiteY10" fmla="*/ 23464 h 73562"/>
                <a:gd name="connsiteX11" fmla="*/ 3805 w 50098"/>
                <a:gd name="connsiteY11" fmla="*/ 21561 h 73562"/>
                <a:gd name="connsiteX12" fmla="*/ 1902 w 50098"/>
                <a:gd name="connsiteY12" fmla="*/ 17122 h 73562"/>
                <a:gd name="connsiteX13" fmla="*/ 3171 w 50098"/>
                <a:gd name="connsiteY13" fmla="*/ 11415 h 73562"/>
                <a:gd name="connsiteX14" fmla="*/ 7610 w 50098"/>
                <a:gd name="connsiteY14" fmla="*/ 5708 h 73562"/>
                <a:gd name="connsiteX15" fmla="*/ 15220 w 50098"/>
                <a:gd name="connsiteY15" fmla="*/ 1268 h 73562"/>
                <a:gd name="connsiteX16" fmla="*/ 25366 w 50098"/>
                <a:gd name="connsiteY16" fmla="*/ 0 h 73562"/>
                <a:gd name="connsiteX17" fmla="*/ 34244 w 50098"/>
                <a:gd name="connsiteY17" fmla="*/ 1268 h 73562"/>
                <a:gd name="connsiteX18" fmla="*/ 41220 w 50098"/>
                <a:gd name="connsiteY18" fmla="*/ 5073 h 73562"/>
                <a:gd name="connsiteX19" fmla="*/ 45659 w 50098"/>
                <a:gd name="connsiteY19" fmla="*/ 10781 h 73562"/>
                <a:gd name="connsiteX20" fmla="*/ 46927 w 50098"/>
                <a:gd name="connsiteY20" fmla="*/ 17756 h 73562"/>
                <a:gd name="connsiteX21" fmla="*/ 45025 w 50098"/>
                <a:gd name="connsiteY21" fmla="*/ 26001 h 73562"/>
                <a:gd name="connsiteX22" fmla="*/ 38683 w 50098"/>
                <a:gd name="connsiteY22" fmla="*/ 32976 h 73562"/>
                <a:gd name="connsiteX23" fmla="*/ 45025 w 50098"/>
                <a:gd name="connsiteY23" fmla="*/ 37415 h 73562"/>
                <a:gd name="connsiteX24" fmla="*/ 48830 w 50098"/>
                <a:gd name="connsiteY24" fmla="*/ 43122 h 73562"/>
                <a:gd name="connsiteX25" fmla="*/ 50098 w 50098"/>
                <a:gd name="connsiteY25" fmla="*/ 50098 h 73562"/>
                <a:gd name="connsiteX26" fmla="*/ 48196 w 50098"/>
                <a:gd name="connsiteY26" fmla="*/ 58976 h 73562"/>
                <a:gd name="connsiteX27" fmla="*/ 43122 w 50098"/>
                <a:gd name="connsiteY27" fmla="*/ 66586 h 73562"/>
                <a:gd name="connsiteX28" fmla="*/ 34878 w 50098"/>
                <a:gd name="connsiteY28" fmla="*/ 71659 h 73562"/>
                <a:gd name="connsiteX29" fmla="*/ 24098 w 50098"/>
                <a:gd name="connsiteY29" fmla="*/ 73562 h 73562"/>
                <a:gd name="connsiteX30" fmla="*/ 13317 w 50098"/>
                <a:gd name="connsiteY30" fmla="*/ 71659 h 73562"/>
                <a:gd name="connsiteX31" fmla="*/ 5707 w 50098"/>
                <a:gd name="connsiteY31" fmla="*/ 66586 h 73562"/>
                <a:gd name="connsiteX32" fmla="*/ 1268 w 50098"/>
                <a:gd name="connsiteY32" fmla="*/ 60245 h 73562"/>
                <a:gd name="connsiteX33" fmla="*/ 0 w 50098"/>
                <a:gd name="connsiteY33" fmla="*/ 54537 h 73562"/>
                <a:gd name="connsiteX34" fmla="*/ 1902 w 50098"/>
                <a:gd name="connsiteY34" fmla="*/ 50098 h 73562"/>
                <a:gd name="connsiteX35" fmla="*/ 6342 w 50098"/>
                <a:gd name="connsiteY35" fmla="*/ 48196 h 73562"/>
                <a:gd name="connsiteX36" fmla="*/ 8878 w 50098"/>
                <a:gd name="connsiteY36" fmla="*/ 48830 h 73562"/>
                <a:gd name="connsiteX37" fmla="*/ 10781 w 50098"/>
                <a:gd name="connsiteY37" fmla="*/ 50732 h 73562"/>
                <a:gd name="connsiteX38" fmla="*/ 16488 w 50098"/>
                <a:gd name="connsiteY38" fmla="*/ 60879 h 73562"/>
                <a:gd name="connsiteX39" fmla="*/ 24732 w 50098"/>
                <a:gd name="connsiteY39" fmla="*/ 64050 h 73562"/>
                <a:gd name="connsiteX40" fmla="*/ 30439 w 50098"/>
                <a:gd name="connsiteY40" fmla="*/ 62781 h 73562"/>
                <a:gd name="connsiteX41" fmla="*/ 34878 w 50098"/>
                <a:gd name="connsiteY41" fmla="*/ 58342 h 73562"/>
                <a:gd name="connsiteX42" fmla="*/ 36781 w 50098"/>
                <a:gd name="connsiteY42" fmla="*/ 51367 h 73562"/>
                <a:gd name="connsiteX43" fmla="*/ 33610 w 50098"/>
                <a:gd name="connsiteY43" fmla="*/ 42488 h 73562"/>
                <a:gd name="connsiteX44" fmla="*/ 26000 w 50098"/>
                <a:gd name="connsiteY44" fmla="*/ 39318 h 73562"/>
                <a:gd name="connsiteX45" fmla="*/ 22830 w 50098"/>
                <a:gd name="connsiteY45" fmla="*/ 39318 h 73562"/>
                <a:gd name="connsiteX46" fmla="*/ 20293 w 50098"/>
                <a:gd name="connsiteY46" fmla="*/ 39318 h 73562"/>
                <a:gd name="connsiteX47" fmla="*/ 15854 w 50098"/>
                <a:gd name="connsiteY47" fmla="*/ 38049 h 73562"/>
                <a:gd name="connsiteX48" fmla="*/ 14586 w 50098"/>
                <a:gd name="connsiteY48" fmla="*/ 34244 h 73562"/>
                <a:gd name="connsiteX49" fmla="*/ 16488 w 50098"/>
                <a:gd name="connsiteY49" fmla="*/ 30439 h 73562"/>
                <a:gd name="connsiteX50" fmla="*/ 21561 w 50098"/>
                <a:gd name="connsiteY50" fmla="*/ 29171 h 73562"/>
                <a:gd name="connsiteX51" fmla="*/ 23464 w 50098"/>
                <a:gd name="connsiteY51" fmla="*/ 29171 h 73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50098" h="73562">
                  <a:moveTo>
                    <a:pt x="23464" y="29171"/>
                  </a:moveTo>
                  <a:cubicBezTo>
                    <a:pt x="26634" y="29171"/>
                    <a:pt x="29171" y="28537"/>
                    <a:pt x="31074" y="26635"/>
                  </a:cubicBezTo>
                  <a:cubicBezTo>
                    <a:pt x="32976" y="24732"/>
                    <a:pt x="34244" y="22195"/>
                    <a:pt x="34244" y="19025"/>
                  </a:cubicBezTo>
                  <a:cubicBezTo>
                    <a:pt x="34244" y="16488"/>
                    <a:pt x="33610" y="14585"/>
                    <a:pt x="31708" y="12683"/>
                  </a:cubicBezTo>
                  <a:cubicBezTo>
                    <a:pt x="29805" y="10781"/>
                    <a:pt x="27903" y="10147"/>
                    <a:pt x="24732" y="10147"/>
                  </a:cubicBezTo>
                  <a:cubicBezTo>
                    <a:pt x="22830" y="10147"/>
                    <a:pt x="20927" y="10147"/>
                    <a:pt x="19659" y="10781"/>
                  </a:cubicBezTo>
                  <a:cubicBezTo>
                    <a:pt x="18390" y="11415"/>
                    <a:pt x="17122" y="12049"/>
                    <a:pt x="16488" y="13317"/>
                  </a:cubicBezTo>
                  <a:cubicBezTo>
                    <a:pt x="15854" y="13951"/>
                    <a:pt x="15220" y="15220"/>
                    <a:pt x="14586" y="17122"/>
                  </a:cubicBezTo>
                  <a:cubicBezTo>
                    <a:pt x="13951" y="18391"/>
                    <a:pt x="13317" y="19659"/>
                    <a:pt x="12683" y="20927"/>
                  </a:cubicBezTo>
                  <a:cubicBezTo>
                    <a:pt x="12049" y="21561"/>
                    <a:pt x="12049" y="22195"/>
                    <a:pt x="10781" y="22830"/>
                  </a:cubicBezTo>
                  <a:cubicBezTo>
                    <a:pt x="10146" y="23464"/>
                    <a:pt x="8878" y="23464"/>
                    <a:pt x="7610" y="23464"/>
                  </a:cubicBezTo>
                  <a:cubicBezTo>
                    <a:pt x="6342" y="23464"/>
                    <a:pt x="5073" y="22830"/>
                    <a:pt x="3805" y="21561"/>
                  </a:cubicBezTo>
                  <a:cubicBezTo>
                    <a:pt x="2537" y="20293"/>
                    <a:pt x="1902" y="19025"/>
                    <a:pt x="1902" y="17122"/>
                  </a:cubicBezTo>
                  <a:cubicBezTo>
                    <a:pt x="1902" y="15220"/>
                    <a:pt x="2537" y="13317"/>
                    <a:pt x="3171" y="11415"/>
                  </a:cubicBezTo>
                  <a:cubicBezTo>
                    <a:pt x="4439" y="9512"/>
                    <a:pt x="5707" y="7610"/>
                    <a:pt x="7610" y="5708"/>
                  </a:cubicBezTo>
                  <a:cubicBezTo>
                    <a:pt x="9512" y="3805"/>
                    <a:pt x="12049" y="2537"/>
                    <a:pt x="15220" y="1268"/>
                  </a:cubicBezTo>
                  <a:cubicBezTo>
                    <a:pt x="18390" y="0"/>
                    <a:pt x="21561" y="0"/>
                    <a:pt x="25366" y="0"/>
                  </a:cubicBezTo>
                  <a:cubicBezTo>
                    <a:pt x="28537" y="0"/>
                    <a:pt x="31708" y="634"/>
                    <a:pt x="34244" y="1268"/>
                  </a:cubicBezTo>
                  <a:cubicBezTo>
                    <a:pt x="36781" y="1902"/>
                    <a:pt x="39318" y="3171"/>
                    <a:pt x="41220" y="5073"/>
                  </a:cubicBezTo>
                  <a:cubicBezTo>
                    <a:pt x="43122" y="6976"/>
                    <a:pt x="44391" y="8878"/>
                    <a:pt x="45659" y="10781"/>
                  </a:cubicBezTo>
                  <a:cubicBezTo>
                    <a:pt x="46927" y="12683"/>
                    <a:pt x="46927" y="15220"/>
                    <a:pt x="46927" y="17756"/>
                  </a:cubicBezTo>
                  <a:cubicBezTo>
                    <a:pt x="46927" y="20927"/>
                    <a:pt x="46293" y="24098"/>
                    <a:pt x="45025" y="26001"/>
                  </a:cubicBezTo>
                  <a:cubicBezTo>
                    <a:pt x="43757" y="28537"/>
                    <a:pt x="41854" y="30439"/>
                    <a:pt x="38683" y="32976"/>
                  </a:cubicBezTo>
                  <a:cubicBezTo>
                    <a:pt x="41220" y="34244"/>
                    <a:pt x="43122" y="36147"/>
                    <a:pt x="45025" y="37415"/>
                  </a:cubicBezTo>
                  <a:cubicBezTo>
                    <a:pt x="46927" y="39318"/>
                    <a:pt x="48196" y="41220"/>
                    <a:pt x="48830" y="43122"/>
                  </a:cubicBezTo>
                  <a:cubicBezTo>
                    <a:pt x="49464" y="45025"/>
                    <a:pt x="50098" y="47562"/>
                    <a:pt x="50098" y="50098"/>
                  </a:cubicBezTo>
                  <a:cubicBezTo>
                    <a:pt x="50098" y="53269"/>
                    <a:pt x="49464" y="55805"/>
                    <a:pt x="48196" y="58976"/>
                  </a:cubicBezTo>
                  <a:cubicBezTo>
                    <a:pt x="46927" y="61513"/>
                    <a:pt x="45025" y="64050"/>
                    <a:pt x="43122" y="66586"/>
                  </a:cubicBezTo>
                  <a:cubicBezTo>
                    <a:pt x="40586" y="68489"/>
                    <a:pt x="38049" y="70391"/>
                    <a:pt x="34878" y="71659"/>
                  </a:cubicBezTo>
                  <a:cubicBezTo>
                    <a:pt x="31708" y="72928"/>
                    <a:pt x="27903" y="73562"/>
                    <a:pt x="24098" y="73562"/>
                  </a:cubicBezTo>
                  <a:cubicBezTo>
                    <a:pt x="20293" y="73562"/>
                    <a:pt x="16488" y="72928"/>
                    <a:pt x="13317" y="71659"/>
                  </a:cubicBezTo>
                  <a:cubicBezTo>
                    <a:pt x="10146" y="70391"/>
                    <a:pt x="7610" y="68489"/>
                    <a:pt x="5707" y="66586"/>
                  </a:cubicBezTo>
                  <a:cubicBezTo>
                    <a:pt x="3805" y="64684"/>
                    <a:pt x="1902" y="62147"/>
                    <a:pt x="1268" y="60245"/>
                  </a:cubicBezTo>
                  <a:cubicBezTo>
                    <a:pt x="0" y="57708"/>
                    <a:pt x="0" y="55805"/>
                    <a:pt x="0" y="54537"/>
                  </a:cubicBezTo>
                  <a:cubicBezTo>
                    <a:pt x="0" y="52635"/>
                    <a:pt x="634" y="51367"/>
                    <a:pt x="1902" y="50098"/>
                  </a:cubicBezTo>
                  <a:cubicBezTo>
                    <a:pt x="3171" y="48830"/>
                    <a:pt x="4439" y="48196"/>
                    <a:pt x="6342" y="48196"/>
                  </a:cubicBezTo>
                  <a:cubicBezTo>
                    <a:pt x="6976" y="48196"/>
                    <a:pt x="8244" y="48196"/>
                    <a:pt x="8878" y="48830"/>
                  </a:cubicBezTo>
                  <a:cubicBezTo>
                    <a:pt x="9512" y="49464"/>
                    <a:pt x="10146" y="50098"/>
                    <a:pt x="10781" y="50732"/>
                  </a:cubicBezTo>
                  <a:cubicBezTo>
                    <a:pt x="12683" y="55171"/>
                    <a:pt x="14586" y="58976"/>
                    <a:pt x="16488" y="60879"/>
                  </a:cubicBezTo>
                  <a:cubicBezTo>
                    <a:pt x="18390" y="62781"/>
                    <a:pt x="20927" y="64050"/>
                    <a:pt x="24732" y="64050"/>
                  </a:cubicBezTo>
                  <a:cubicBezTo>
                    <a:pt x="26634" y="64050"/>
                    <a:pt x="28537" y="63415"/>
                    <a:pt x="30439" y="62781"/>
                  </a:cubicBezTo>
                  <a:cubicBezTo>
                    <a:pt x="32342" y="61513"/>
                    <a:pt x="33610" y="60245"/>
                    <a:pt x="34878" y="58342"/>
                  </a:cubicBezTo>
                  <a:cubicBezTo>
                    <a:pt x="36147" y="56440"/>
                    <a:pt x="36781" y="53903"/>
                    <a:pt x="36781" y="51367"/>
                  </a:cubicBezTo>
                  <a:cubicBezTo>
                    <a:pt x="36781" y="47562"/>
                    <a:pt x="35513" y="44391"/>
                    <a:pt x="33610" y="42488"/>
                  </a:cubicBezTo>
                  <a:cubicBezTo>
                    <a:pt x="31708" y="40586"/>
                    <a:pt x="29805" y="39318"/>
                    <a:pt x="26000" y="39318"/>
                  </a:cubicBezTo>
                  <a:cubicBezTo>
                    <a:pt x="25366" y="39318"/>
                    <a:pt x="24098" y="39318"/>
                    <a:pt x="22830" y="39318"/>
                  </a:cubicBezTo>
                  <a:cubicBezTo>
                    <a:pt x="21561" y="39318"/>
                    <a:pt x="20293" y="39318"/>
                    <a:pt x="20293" y="39318"/>
                  </a:cubicBezTo>
                  <a:cubicBezTo>
                    <a:pt x="18390" y="39318"/>
                    <a:pt x="17122" y="38684"/>
                    <a:pt x="15854" y="38049"/>
                  </a:cubicBezTo>
                  <a:cubicBezTo>
                    <a:pt x="14586" y="37415"/>
                    <a:pt x="14586" y="36147"/>
                    <a:pt x="14586" y="34244"/>
                  </a:cubicBezTo>
                  <a:cubicBezTo>
                    <a:pt x="14586" y="32976"/>
                    <a:pt x="15220" y="31074"/>
                    <a:pt x="16488" y="30439"/>
                  </a:cubicBezTo>
                  <a:cubicBezTo>
                    <a:pt x="17756" y="29171"/>
                    <a:pt x="19659" y="29171"/>
                    <a:pt x="21561" y="29171"/>
                  </a:cubicBezTo>
                  <a:lnTo>
                    <a:pt x="23464" y="29171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0" name="Forma Livre: Forma 39">
              <a:extLst>
                <a:ext uri="{FF2B5EF4-FFF2-40B4-BE49-F238E27FC236}">
                  <a16:creationId xmlns:a16="http://schemas.microsoft.com/office/drawing/2014/main" id="{D83AABF7-ACB3-4D25-A640-A6808A27F2CF}"/>
                </a:ext>
              </a:extLst>
            </p:cNvPr>
            <p:cNvSpPr/>
            <p:nvPr/>
          </p:nvSpPr>
          <p:spPr>
            <a:xfrm>
              <a:off x="1235212" y="5763162"/>
              <a:ext cx="188343" cy="188343"/>
            </a:xfrm>
            <a:custGeom>
              <a:avLst/>
              <a:gdLst>
                <a:gd name="connsiteX0" fmla="*/ 171222 w 188343"/>
                <a:gd name="connsiteY0" fmla="*/ 188344 h 188343"/>
                <a:gd name="connsiteX1" fmla="*/ 17122 w 188343"/>
                <a:gd name="connsiteY1" fmla="*/ 188344 h 188343"/>
                <a:gd name="connsiteX2" fmla="*/ 0 w 188343"/>
                <a:gd name="connsiteY2" fmla="*/ 171222 h 188343"/>
                <a:gd name="connsiteX3" fmla="*/ 0 w 188343"/>
                <a:gd name="connsiteY3" fmla="*/ 17122 h 188343"/>
                <a:gd name="connsiteX4" fmla="*/ 17122 w 188343"/>
                <a:gd name="connsiteY4" fmla="*/ 0 h 188343"/>
                <a:gd name="connsiteX5" fmla="*/ 171222 w 188343"/>
                <a:gd name="connsiteY5" fmla="*/ 0 h 188343"/>
                <a:gd name="connsiteX6" fmla="*/ 188344 w 188343"/>
                <a:gd name="connsiteY6" fmla="*/ 17122 h 188343"/>
                <a:gd name="connsiteX7" fmla="*/ 188344 w 188343"/>
                <a:gd name="connsiteY7" fmla="*/ 171222 h 188343"/>
                <a:gd name="connsiteX8" fmla="*/ 171222 w 188343"/>
                <a:gd name="connsiteY8" fmla="*/ 188344 h 188343"/>
                <a:gd name="connsiteX9" fmla="*/ 171222 w 188343"/>
                <a:gd name="connsiteY9" fmla="*/ 188344 h 188343"/>
                <a:gd name="connsiteX10" fmla="*/ 33610 w 188343"/>
                <a:gd name="connsiteY10" fmla="*/ 154099 h 188343"/>
                <a:gd name="connsiteX11" fmla="*/ 154099 w 188343"/>
                <a:gd name="connsiteY11" fmla="*/ 154099 h 188343"/>
                <a:gd name="connsiteX12" fmla="*/ 154099 w 188343"/>
                <a:gd name="connsiteY12" fmla="*/ 33610 h 188343"/>
                <a:gd name="connsiteX13" fmla="*/ 33610 w 188343"/>
                <a:gd name="connsiteY13" fmla="*/ 33610 h 188343"/>
                <a:gd name="connsiteX14" fmla="*/ 33610 w 188343"/>
                <a:gd name="connsiteY14" fmla="*/ 154099 h 188343"/>
                <a:gd name="connsiteX15" fmla="*/ 33610 w 188343"/>
                <a:gd name="connsiteY15" fmla="*/ 154099 h 188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8343" h="188343">
                  <a:moveTo>
                    <a:pt x="171222" y="188344"/>
                  </a:moveTo>
                  <a:lnTo>
                    <a:pt x="17122" y="188344"/>
                  </a:lnTo>
                  <a:cubicBezTo>
                    <a:pt x="7610" y="188344"/>
                    <a:pt x="0" y="180734"/>
                    <a:pt x="0" y="171222"/>
                  </a:cubicBezTo>
                  <a:lnTo>
                    <a:pt x="0" y="17122"/>
                  </a:lnTo>
                  <a:cubicBezTo>
                    <a:pt x="0" y="7610"/>
                    <a:pt x="7610" y="0"/>
                    <a:pt x="17122" y="0"/>
                  </a:cubicBezTo>
                  <a:lnTo>
                    <a:pt x="171222" y="0"/>
                  </a:lnTo>
                  <a:cubicBezTo>
                    <a:pt x="180734" y="0"/>
                    <a:pt x="188344" y="7610"/>
                    <a:pt x="188344" y="17122"/>
                  </a:cubicBezTo>
                  <a:lnTo>
                    <a:pt x="188344" y="171222"/>
                  </a:lnTo>
                  <a:cubicBezTo>
                    <a:pt x="188344" y="180734"/>
                    <a:pt x="180734" y="188344"/>
                    <a:pt x="171222" y="188344"/>
                  </a:cubicBezTo>
                  <a:lnTo>
                    <a:pt x="171222" y="188344"/>
                  </a:lnTo>
                  <a:close/>
                  <a:moveTo>
                    <a:pt x="33610" y="154099"/>
                  </a:moveTo>
                  <a:lnTo>
                    <a:pt x="154099" y="154099"/>
                  </a:lnTo>
                  <a:lnTo>
                    <a:pt x="154099" y="33610"/>
                  </a:lnTo>
                  <a:lnTo>
                    <a:pt x="33610" y="33610"/>
                  </a:lnTo>
                  <a:lnTo>
                    <a:pt x="33610" y="154099"/>
                  </a:lnTo>
                  <a:lnTo>
                    <a:pt x="33610" y="154099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1" name="Forma Livre: Forma 40">
              <a:extLst>
                <a:ext uri="{FF2B5EF4-FFF2-40B4-BE49-F238E27FC236}">
                  <a16:creationId xmlns:a16="http://schemas.microsoft.com/office/drawing/2014/main" id="{60B5BAF0-9A83-4A16-930E-2FE6BBBC0917}"/>
                </a:ext>
              </a:extLst>
            </p:cNvPr>
            <p:cNvSpPr/>
            <p:nvPr/>
          </p:nvSpPr>
          <p:spPr>
            <a:xfrm>
              <a:off x="1446385" y="5763162"/>
              <a:ext cx="188343" cy="188343"/>
            </a:xfrm>
            <a:custGeom>
              <a:avLst/>
              <a:gdLst>
                <a:gd name="connsiteX0" fmla="*/ 171222 w 188343"/>
                <a:gd name="connsiteY0" fmla="*/ 188344 h 188343"/>
                <a:gd name="connsiteX1" fmla="*/ 17122 w 188343"/>
                <a:gd name="connsiteY1" fmla="*/ 188344 h 188343"/>
                <a:gd name="connsiteX2" fmla="*/ 0 w 188343"/>
                <a:gd name="connsiteY2" fmla="*/ 171222 h 188343"/>
                <a:gd name="connsiteX3" fmla="*/ 0 w 188343"/>
                <a:gd name="connsiteY3" fmla="*/ 17122 h 188343"/>
                <a:gd name="connsiteX4" fmla="*/ 17122 w 188343"/>
                <a:gd name="connsiteY4" fmla="*/ 0 h 188343"/>
                <a:gd name="connsiteX5" fmla="*/ 171222 w 188343"/>
                <a:gd name="connsiteY5" fmla="*/ 0 h 188343"/>
                <a:gd name="connsiteX6" fmla="*/ 188344 w 188343"/>
                <a:gd name="connsiteY6" fmla="*/ 17122 h 188343"/>
                <a:gd name="connsiteX7" fmla="*/ 188344 w 188343"/>
                <a:gd name="connsiteY7" fmla="*/ 171222 h 188343"/>
                <a:gd name="connsiteX8" fmla="*/ 171222 w 188343"/>
                <a:gd name="connsiteY8" fmla="*/ 188344 h 188343"/>
                <a:gd name="connsiteX9" fmla="*/ 171222 w 188343"/>
                <a:gd name="connsiteY9" fmla="*/ 188344 h 188343"/>
                <a:gd name="connsiteX10" fmla="*/ 33610 w 188343"/>
                <a:gd name="connsiteY10" fmla="*/ 154099 h 188343"/>
                <a:gd name="connsiteX11" fmla="*/ 154099 w 188343"/>
                <a:gd name="connsiteY11" fmla="*/ 154099 h 188343"/>
                <a:gd name="connsiteX12" fmla="*/ 154099 w 188343"/>
                <a:gd name="connsiteY12" fmla="*/ 33610 h 188343"/>
                <a:gd name="connsiteX13" fmla="*/ 33610 w 188343"/>
                <a:gd name="connsiteY13" fmla="*/ 33610 h 188343"/>
                <a:gd name="connsiteX14" fmla="*/ 33610 w 188343"/>
                <a:gd name="connsiteY14" fmla="*/ 154099 h 188343"/>
                <a:gd name="connsiteX15" fmla="*/ 33610 w 188343"/>
                <a:gd name="connsiteY15" fmla="*/ 154099 h 188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8343" h="188343">
                  <a:moveTo>
                    <a:pt x="171222" y="188344"/>
                  </a:moveTo>
                  <a:lnTo>
                    <a:pt x="17122" y="188344"/>
                  </a:lnTo>
                  <a:cubicBezTo>
                    <a:pt x="7610" y="188344"/>
                    <a:pt x="0" y="180734"/>
                    <a:pt x="0" y="171222"/>
                  </a:cubicBezTo>
                  <a:lnTo>
                    <a:pt x="0" y="17122"/>
                  </a:lnTo>
                  <a:cubicBezTo>
                    <a:pt x="0" y="7610"/>
                    <a:pt x="7610" y="0"/>
                    <a:pt x="17122" y="0"/>
                  </a:cubicBezTo>
                  <a:lnTo>
                    <a:pt x="171222" y="0"/>
                  </a:lnTo>
                  <a:cubicBezTo>
                    <a:pt x="180734" y="0"/>
                    <a:pt x="188344" y="7610"/>
                    <a:pt x="188344" y="17122"/>
                  </a:cubicBezTo>
                  <a:lnTo>
                    <a:pt x="188344" y="171222"/>
                  </a:lnTo>
                  <a:cubicBezTo>
                    <a:pt x="188344" y="180734"/>
                    <a:pt x="180734" y="188344"/>
                    <a:pt x="171222" y="188344"/>
                  </a:cubicBezTo>
                  <a:lnTo>
                    <a:pt x="171222" y="188344"/>
                  </a:lnTo>
                  <a:close/>
                  <a:moveTo>
                    <a:pt x="33610" y="154099"/>
                  </a:moveTo>
                  <a:lnTo>
                    <a:pt x="154099" y="154099"/>
                  </a:lnTo>
                  <a:lnTo>
                    <a:pt x="154099" y="33610"/>
                  </a:lnTo>
                  <a:lnTo>
                    <a:pt x="33610" y="33610"/>
                  </a:lnTo>
                  <a:lnTo>
                    <a:pt x="33610" y="154099"/>
                  </a:lnTo>
                  <a:lnTo>
                    <a:pt x="33610" y="154099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2" name="Forma Livre: Forma 41">
              <a:extLst>
                <a:ext uri="{FF2B5EF4-FFF2-40B4-BE49-F238E27FC236}">
                  <a16:creationId xmlns:a16="http://schemas.microsoft.com/office/drawing/2014/main" id="{5AAFDEC9-81B6-41FB-A922-DA6167CECA9A}"/>
                </a:ext>
              </a:extLst>
            </p:cNvPr>
            <p:cNvSpPr/>
            <p:nvPr/>
          </p:nvSpPr>
          <p:spPr>
            <a:xfrm>
              <a:off x="1235212" y="5974335"/>
              <a:ext cx="188343" cy="188343"/>
            </a:xfrm>
            <a:custGeom>
              <a:avLst/>
              <a:gdLst>
                <a:gd name="connsiteX0" fmla="*/ 171222 w 188343"/>
                <a:gd name="connsiteY0" fmla="*/ 188344 h 188343"/>
                <a:gd name="connsiteX1" fmla="*/ 17122 w 188343"/>
                <a:gd name="connsiteY1" fmla="*/ 188344 h 188343"/>
                <a:gd name="connsiteX2" fmla="*/ 0 w 188343"/>
                <a:gd name="connsiteY2" fmla="*/ 171222 h 188343"/>
                <a:gd name="connsiteX3" fmla="*/ 0 w 188343"/>
                <a:gd name="connsiteY3" fmla="*/ 17122 h 188343"/>
                <a:gd name="connsiteX4" fmla="*/ 17122 w 188343"/>
                <a:gd name="connsiteY4" fmla="*/ 0 h 188343"/>
                <a:gd name="connsiteX5" fmla="*/ 171222 w 188343"/>
                <a:gd name="connsiteY5" fmla="*/ 0 h 188343"/>
                <a:gd name="connsiteX6" fmla="*/ 188344 w 188343"/>
                <a:gd name="connsiteY6" fmla="*/ 17122 h 188343"/>
                <a:gd name="connsiteX7" fmla="*/ 188344 w 188343"/>
                <a:gd name="connsiteY7" fmla="*/ 171222 h 188343"/>
                <a:gd name="connsiteX8" fmla="*/ 171222 w 188343"/>
                <a:gd name="connsiteY8" fmla="*/ 188344 h 188343"/>
                <a:gd name="connsiteX9" fmla="*/ 171222 w 188343"/>
                <a:gd name="connsiteY9" fmla="*/ 188344 h 188343"/>
                <a:gd name="connsiteX10" fmla="*/ 33610 w 188343"/>
                <a:gd name="connsiteY10" fmla="*/ 154099 h 188343"/>
                <a:gd name="connsiteX11" fmla="*/ 154099 w 188343"/>
                <a:gd name="connsiteY11" fmla="*/ 154099 h 188343"/>
                <a:gd name="connsiteX12" fmla="*/ 154099 w 188343"/>
                <a:gd name="connsiteY12" fmla="*/ 33610 h 188343"/>
                <a:gd name="connsiteX13" fmla="*/ 33610 w 188343"/>
                <a:gd name="connsiteY13" fmla="*/ 33610 h 188343"/>
                <a:gd name="connsiteX14" fmla="*/ 33610 w 188343"/>
                <a:gd name="connsiteY14" fmla="*/ 154099 h 188343"/>
                <a:gd name="connsiteX15" fmla="*/ 33610 w 188343"/>
                <a:gd name="connsiteY15" fmla="*/ 154099 h 188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8343" h="188343">
                  <a:moveTo>
                    <a:pt x="171222" y="188344"/>
                  </a:moveTo>
                  <a:lnTo>
                    <a:pt x="17122" y="188344"/>
                  </a:lnTo>
                  <a:cubicBezTo>
                    <a:pt x="7610" y="188344"/>
                    <a:pt x="0" y="180734"/>
                    <a:pt x="0" y="171222"/>
                  </a:cubicBezTo>
                  <a:lnTo>
                    <a:pt x="0" y="17122"/>
                  </a:lnTo>
                  <a:cubicBezTo>
                    <a:pt x="0" y="7610"/>
                    <a:pt x="7610" y="0"/>
                    <a:pt x="17122" y="0"/>
                  </a:cubicBezTo>
                  <a:lnTo>
                    <a:pt x="171222" y="0"/>
                  </a:lnTo>
                  <a:cubicBezTo>
                    <a:pt x="180734" y="0"/>
                    <a:pt x="188344" y="7610"/>
                    <a:pt x="188344" y="17122"/>
                  </a:cubicBezTo>
                  <a:lnTo>
                    <a:pt x="188344" y="171222"/>
                  </a:lnTo>
                  <a:cubicBezTo>
                    <a:pt x="188344" y="180734"/>
                    <a:pt x="180734" y="188344"/>
                    <a:pt x="171222" y="188344"/>
                  </a:cubicBezTo>
                  <a:lnTo>
                    <a:pt x="171222" y="188344"/>
                  </a:lnTo>
                  <a:close/>
                  <a:moveTo>
                    <a:pt x="33610" y="154099"/>
                  </a:moveTo>
                  <a:lnTo>
                    <a:pt x="154099" y="154099"/>
                  </a:lnTo>
                  <a:lnTo>
                    <a:pt x="154099" y="33610"/>
                  </a:lnTo>
                  <a:lnTo>
                    <a:pt x="33610" y="33610"/>
                  </a:lnTo>
                  <a:lnTo>
                    <a:pt x="33610" y="154099"/>
                  </a:lnTo>
                  <a:lnTo>
                    <a:pt x="33610" y="154099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3" name="Forma Livre: Forma 42">
              <a:extLst>
                <a:ext uri="{FF2B5EF4-FFF2-40B4-BE49-F238E27FC236}">
                  <a16:creationId xmlns:a16="http://schemas.microsoft.com/office/drawing/2014/main" id="{DED738CE-5AFC-4D82-B612-D850F1D6A42E}"/>
                </a:ext>
              </a:extLst>
            </p:cNvPr>
            <p:cNvSpPr/>
            <p:nvPr/>
          </p:nvSpPr>
          <p:spPr>
            <a:xfrm>
              <a:off x="1446385" y="5974335"/>
              <a:ext cx="188343" cy="188343"/>
            </a:xfrm>
            <a:custGeom>
              <a:avLst/>
              <a:gdLst>
                <a:gd name="connsiteX0" fmla="*/ 171222 w 188343"/>
                <a:gd name="connsiteY0" fmla="*/ 188344 h 188343"/>
                <a:gd name="connsiteX1" fmla="*/ 17122 w 188343"/>
                <a:gd name="connsiteY1" fmla="*/ 188344 h 188343"/>
                <a:gd name="connsiteX2" fmla="*/ 0 w 188343"/>
                <a:gd name="connsiteY2" fmla="*/ 171222 h 188343"/>
                <a:gd name="connsiteX3" fmla="*/ 0 w 188343"/>
                <a:gd name="connsiteY3" fmla="*/ 17122 h 188343"/>
                <a:gd name="connsiteX4" fmla="*/ 17122 w 188343"/>
                <a:gd name="connsiteY4" fmla="*/ 0 h 188343"/>
                <a:gd name="connsiteX5" fmla="*/ 171222 w 188343"/>
                <a:gd name="connsiteY5" fmla="*/ 0 h 188343"/>
                <a:gd name="connsiteX6" fmla="*/ 188344 w 188343"/>
                <a:gd name="connsiteY6" fmla="*/ 17122 h 188343"/>
                <a:gd name="connsiteX7" fmla="*/ 188344 w 188343"/>
                <a:gd name="connsiteY7" fmla="*/ 171222 h 188343"/>
                <a:gd name="connsiteX8" fmla="*/ 171222 w 188343"/>
                <a:gd name="connsiteY8" fmla="*/ 188344 h 188343"/>
                <a:gd name="connsiteX9" fmla="*/ 171222 w 188343"/>
                <a:gd name="connsiteY9" fmla="*/ 188344 h 188343"/>
                <a:gd name="connsiteX10" fmla="*/ 33610 w 188343"/>
                <a:gd name="connsiteY10" fmla="*/ 154099 h 188343"/>
                <a:gd name="connsiteX11" fmla="*/ 154099 w 188343"/>
                <a:gd name="connsiteY11" fmla="*/ 154099 h 188343"/>
                <a:gd name="connsiteX12" fmla="*/ 154099 w 188343"/>
                <a:gd name="connsiteY12" fmla="*/ 33610 h 188343"/>
                <a:gd name="connsiteX13" fmla="*/ 33610 w 188343"/>
                <a:gd name="connsiteY13" fmla="*/ 33610 h 188343"/>
                <a:gd name="connsiteX14" fmla="*/ 33610 w 188343"/>
                <a:gd name="connsiteY14" fmla="*/ 154099 h 188343"/>
                <a:gd name="connsiteX15" fmla="*/ 33610 w 188343"/>
                <a:gd name="connsiteY15" fmla="*/ 154099 h 188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8343" h="188343">
                  <a:moveTo>
                    <a:pt x="171222" y="188344"/>
                  </a:moveTo>
                  <a:lnTo>
                    <a:pt x="17122" y="188344"/>
                  </a:lnTo>
                  <a:cubicBezTo>
                    <a:pt x="7610" y="188344"/>
                    <a:pt x="0" y="180734"/>
                    <a:pt x="0" y="171222"/>
                  </a:cubicBezTo>
                  <a:lnTo>
                    <a:pt x="0" y="17122"/>
                  </a:lnTo>
                  <a:cubicBezTo>
                    <a:pt x="0" y="7610"/>
                    <a:pt x="7610" y="0"/>
                    <a:pt x="17122" y="0"/>
                  </a:cubicBezTo>
                  <a:lnTo>
                    <a:pt x="171222" y="0"/>
                  </a:lnTo>
                  <a:cubicBezTo>
                    <a:pt x="180734" y="0"/>
                    <a:pt x="188344" y="7610"/>
                    <a:pt x="188344" y="17122"/>
                  </a:cubicBezTo>
                  <a:lnTo>
                    <a:pt x="188344" y="171222"/>
                  </a:lnTo>
                  <a:cubicBezTo>
                    <a:pt x="188344" y="180734"/>
                    <a:pt x="180734" y="188344"/>
                    <a:pt x="171222" y="188344"/>
                  </a:cubicBezTo>
                  <a:lnTo>
                    <a:pt x="171222" y="188344"/>
                  </a:lnTo>
                  <a:close/>
                  <a:moveTo>
                    <a:pt x="33610" y="154099"/>
                  </a:moveTo>
                  <a:lnTo>
                    <a:pt x="154099" y="154099"/>
                  </a:lnTo>
                  <a:lnTo>
                    <a:pt x="154099" y="33610"/>
                  </a:lnTo>
                  <a:lnTo>
                    <a:pt x="33610" y="33610"/>
                  </a:lnTo>
                  <a:lnTo>
                    <a:pt x="33610" y="154099"/>
                  </a:lnTo>
                  <a:lnTo>
                    <a:pt x="33610" y="154099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44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2328850" y="5703613"/>
            <a:ext cx="351803" cy="396327"/>
            <a:chOff x="2286638" y="5761894"/>
            <a:chExt cx="355760" cy="400785"/>
          </a:xfrm>
          <a:solidFill>
            <a:srgbClr val="B1B1A1"/>
          </a:solidFill>
        </p:grpSpPr>
        <p:sp>
          <p:nvSpPr>
            <p:cNvPr id="45" name="Forma Livre: Forma 44">
              <a:extLst>
                <a:ext uri="{FF2B5EF4-FFF2-40B4-BE49-F238E27FC236}">
                  <a16:creationId xmlns:a16="http://schemas.microsoft.com/office/drawing/2014/main" id="{0838BAED-4B83-4847-98CC-3BD9FC62DF8B}"/>
                </a:ext>
              </a:extLst>
            </p:cNvPr>
            <p:cNvSpPr/>
            <p:nvPr/>
          </p:nvSpPr>
          <p:spPr>
            <a:xfrm>
              <a:off x="2316444" y="5761894"/>
              <a:ext cx="325954" cy="400785"/>
            </a:xfrm>
            <a:custGeom>
              <a:avLst/>
              <a:gdLst>
                <a:gd name="connsiteX0" fmla="*/ 308833 w 325954"/>
                <a:gd name="connsiteY0" fmla="*/ 400785 h 400785"/>
                <a:gd name="connsiteX1" fmla="*/ 17122 w 325954"/>
                <a:gd name="connsiteY1" fmla="*/ 400785 h 400785"/>
                <a:gd name="connsiteX2" fmla="*/ 0 w 325954"/>
                <a:gd name="connsiteY2" fmla="*/ 383663 h 400785"/>
                <a:gd name="connsiteX3" fmla="*/ 0 w 325954"/>
                <a:gd name="connsiteY3" fmla="*/ 17122 h 400785"/>
                <a:gd name="connsiteX4" fmla="*/ 17122 w 325954"/>
                <a:gd name="connsiteY4" fmla="*/ 0 h 400785"/>
                <a:gd name="connsiteX5" fmla="*/ 308833 w 325954"/>
                <a:gd name="connsiteY5" fmla="*/ 0 h 400785"/>
                <a:gd name="connsiteX6" fmla="*/ 325955 w 325954"/>
                <a:gd name="connsiteY6" fmla="*/ 17122 h 400785"/>
                <a:gd name="connsiteX7" fmla="*/ 325955 w 325954"/>
                <a:gd name="connsiteY7" fmla="*/ 383663 h 400785"/>
                <a:gd name="connsiteX8" fmla="*/ 308833 w 325954"/>
                <a:gd name="connsiteY8" fmla="*/ 400785 h 400785"/>
                <a:gd name="connsiteX9" fmla="*/ 308833 w 325954"/>
                <a:gd name="connsiteY9" fmla="*/ 400785 h 400785"/>
                <a:gd name="connsiteX10" fmla="*/ 34244 w 325954"/>
                <a:gd name="connsiteY10" fmla="*/ 367175 h 400785"/>
                <a:gd name="connsiteX11" fmla="*/ 291711 w 325954"/>
                <a:gd name="connsiteY11" fmla="*/ 367175 h 400785"/>
                <a:gd name="connsiteX12" fmla="*/ 291711 w 325954"/>
                <a:gd name="connsiteY12" fmla="*/ 34878 h 400785"/>
                <a:gd name="connsiteX13" fmla="*/ 34244 w 325954"/>
                <a:gd name="connsiteY13" fmla="*/ 34878 h 400785"/>
                <a:gd name="connsiteX14" fmla="*/ 34244 w 325954"/>
                <a:gd name="connsiteY14" fmla="*/ 367175 h 400785"/>
                <a:gd name="connsiteX15" fmla="*/ 34244 w 325954"/>
                <a:gd name="connsiteY15" fmla="*/ 367175 h 40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5954" h="400785">
                  <a:moveTo>
                    <a:pt x="308833" y="400785"/>
                  </a:moveTo>
                  <a:lnTo>
                    <a:pt x="17122" y="400785"/>
                  </a:lnTo>
                  <a:cubicBezTo>
                    <a:pt x="7610" y="400785"/>
                    <a:pt x="0" y="393175"/>
                    <a:pt x="0" y="383663"/>
                  </a:cubicBezTo>
                  <a:lnTo>
                    <a:pt x="0" y="17122"/>
                  </a:lnTo>
                  <a:cubicBezTo>
                    <a:pt x="0" y="7610"/>
                    <a:pt x="7610" y="0"/>
                    <a:pt x="17122" y="0"/>
                  </a:cubicBezTo>
                  <a:lnTo>
                    <a:pt x="308833" y="0"/>
                  </a:lnTo>
                  <a:cubicBezTo>
                    <a:pt x="318345" y="0"/>
                    <a:pt x="325955" y="7610"/>
                    <a:pt x="325955" y="17122"/>
                  </a:cubicBezTo>
                  <a:lnTo>
                    <a:pt x="325955" y="383663"/>
                  </a:lnTo>
                  <a:cubicBezTo>
                    <a:pt x="325321" y="393175"/>
                    <a:pt x="317711" y="400785"/>
                    <a:pt x="308833" y="400785"/>
                  </a:cubicBezTo>
                  <a:lnTo>
                    <a:pt x="308833" y="400785"/>
                  </a:lnTo>
                  <a:close/>
                  <a:moveTo>
                    <a:pt x="34244" y="367175"/>
                  </a:moveTo>
                  <a:lnTo>
                    <a:pt x="291711" y="367175"/>
                  </a:lnTo>
                  <a:lnTo>
                    <a:pt x="291711" y="34878"/>
                  </a:lnTo>
                  <a:lnTo>
                    <a:pt x="34244" y="34878"/>
                  </a:lnTo>
                  <a:lnTo>
                    <a:pt x="34244" y="367175"/>
                  </a:lnTo>
                  <a:lnTo>
                    <a:pt x="34244" y="367175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6" name="Forma Livre: Forma 45">
              <a:extLst>
                <a:ext uri="{FF2B5EF4-FFF2-40B4-BE49-F238E27FC236}">
                  <a16:creationId xmlns:a16="http://schemas.microsoft.com/office/drawing/2014/main" id="{0CBF6E0A-3901-4FB6-A54A-43AE82AC9ED0}"/>
                </a:ext>
              </a:extLst>
            </p:cNvPr>
            <p:cNvSpPr/>
            <p:nvPr/>
          </p:nvSpPr>
          <p:spPr>
            <a:xfrm>
              <a:off x="2286638" y="5831016"/>
              <a:ext cx="93854" cy="34244"/>
            </a:xfrm>
            <a:custGeom>
              <a:avLst/>
              <a:gdLst>
                <a:gd name="connsiteX0" fmla="*/ 76733 w 93854"/>
                <a:gd name="connsiteY0" fmla="*/ 34244 h 34244"/>
                <a:gd name="connsiteX1" fmla="*/ 17122 w 93854"/>
                <a:gd name="connsiteY1" fmla="*/ 34244 h 34244"/>
                <a:gd name="connsiteX2" fmla="*/ 0 w 93854"/>
                <a:gd name="connsiteY2" fmla="*/ 17122 h 34244"/>
                <a:gd name="connsiteX3" fmla="*/ 17122 w 93854"/>
                <a:gd name="connsiteY3" fmla="*/ 0 h 34244"/>
                <a:gd name="connsiteX4" fmla="*/ 76733 w 93854"/>
                <a:gd name="connsiteY4" fmla="*/ 0 h 34244"/>
                <a:gd name="connsiteX5" fmla="*/ 93855 w 93854"/>
                <a:gd name="connsiteY5" fmla="*/ 17122 h 34244"/>
                <a:gd name="connsiteX6" fmla="*/ 76733 w 93854"/>
                <a:gd name="connsiteY6" fmla="*/ 34244 h 34244"/>
                <a:gd name="connsiteX7" fmla="*/ 76733 w 93854"/>
                <a:gd name="connsiteY7" fmla="*/ 34244 h 3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854" h="34244">
                  <a:moveTo>
                    <a:pt x="76733" y="34244"/>
                  </a:moveTo>
                  <a:lnTo>
                    <a:pt x="17122" y="34244"/>
                  </a:lnTo>
                  <a:cubicBezTo>
                    <a:pt x="7610" y="34244"/>
                    <a:pt x="0" y="26635"/>
                    <a:pt x="0" y="17122"/>
                  </a:cubicBezTo>
                  <a:cubicBezTo>
                    <a:pt x="0" y="7610"/>
                    <a:pt x="7610" y="0"/>
                    <a:pt x="17122" y="0"/>
                  </a:cubicBezTo>
                  <a:lnTo>
                    <a:pt x="76733" y="0"/>
                  </a:lnTo>
                  <a:cubicBezTo>
                    <a:pt x="86245" y="0"/>
                    <a:pt x="93855" y="7610"/>
                    <a:pt x="93855" y="17122"/>
                  </a:cubicBezTo>
                  <a:cubicBezTo>
                    <a:pt x="93855" y="26635"/>
                    <a:pt x="86245" y="34244"/>
                    <a:pt x="76733" y="34244"/>
                  </a:cubicBezTo>
                  <a:lnTo>
                    <a:pt x="76733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7" name="Forma Livre: Forma 46">
              <a:extLst>
                <a:ext uri="{FF2B5EF4-FFF2-40B4-BE49-F238E27FC236}">
                  <a16:creationId xmlns:a16="http://schemas.microsoft.com/office/drawing/2014/main" id="{35002EFB-1DD0-46B0-9926-ADF7AC77C3A6}"/>
                </a:ext>
              </a:extLst>
            </p:cNvPr>
            <p:cNvSpPr/>
            <p:nvPr/>
          </p:nvSpPr>
          <p:spPr>
            <a:xfrm>
              <a:off x="2286638" y="5906480"/>
              <a:ext cx="93854" cy="34244"/>
            </a:xfrm>
            <a:custGeom>
              <a:avLst/>
              <a:gdLst>
                <a:gd name="connsiteX0" fmla="*/ 76733 w 93854"/>
                <a:gd name="connsiteY0" fmla="*/ 34244 h 34244"/>
                <a:gd name="connsiteX1" fmla="*/ 17122 w 93854"/>
                <a:gd name="connsiteY1" fmla="*/ 34244 h 34244"/>
                <a:gd name="connsiteX2" fmla="*/ 0 w 93854"/>
                <a:gd name="connsiteY2" fmla="*/ 17122 h 34244"/>
                <a:gd name="connsiteX3" fmla="*/ 17122 w 93854"/>
                <a:gd name="connsiteY3" fmla="*/ 0 h 34244"/>
                <a:gd name="connsiteX4" fmla="*/ 76733 w 93854"/>
                <a:gd name="connsiteY4" fmla="*/ 0 h 34244"/>
                <a:gd name="connsiteX5" fmla="*/ 93855 w 93854"/>
                <a:gd name="connsiteY5" fmla="*/ 17122 h 34244"/>
                <a:gd name="connsiteX6" fmla="*/ 76733 w 93854"/>
                <a:gd name="connsiteY6" fmla="*/ 34244 h 34244"/>
                <a:gd name="connsiteX7" fmla="*/ 76733 w 93854"/>
                <a:gd name="connsiteY7" fmla="*/ 34244 h 3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854" h="34244">
                  <a:moveTo>
                    <a:pt x="76733" y="34244"/>
                  </a:moveTo>
                  <a:lnTo>
                    <a:pt x="17122" y="34244"/>
                  </a:lnTo>
                  <a:cubicBezTo>
                    <a:pt x="7610" y="34244"/>
                    <a:pt x="0" y="26635"/>
                    <a:pt x="0" y="17122"/>
                  </a:cubicBezTo>
                  <a:cubicBezTo>
                    <a:pt x="0" y="7610"/>
                    <a:pt x="7610" y="0"/>
                    <a:pt x="17122" y="0"/>
                  </a:cubicBezTo>
                  <a:lnTo>
                    <a:pt x="76733" y="0"/>
                  </a:lnTo>
                  <a:cubicBezTo>
                    <a:pt x="86245" y="0"/>
                    <a:pt x="93855" y="7610"/>
                    <a:pt x="93855" y="17122"/>
                  </a:cubicBezTo>
                  <a:cubicBezTo>
                    <a:pt x="93855" y="26635"/>
                    <a:pt x="86245" y="34244"/>
                    <a:pt x="76733" y="34244"/>
                  </a:cubicBezTo>
                  <a:lnTo>
                    <a:pt x="76733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8" name="Forma Livre: Forma 47">
              <a:extLst>
                <a:ext uri="{FF2B5EF4-FFF2-40B4-BE49-F238E27FC236}">
                  <a16:creationId xmlns:a16="http://schemas.microsoft.com/office/drawing/2014/main" id="{30C84EF3-CD62-4611-A3EC-E4F79C111659}"/>
                </a:ext>
              </a:extLst>
            </p:cNvPr>
            <p:cNvSpPr/>
            <p:nvPr/>
          </p:nvSpPr>
          <p:spPr>
            <a:xfrm>
              <a:off x="2286638" y="5982579"/>
              <a:ext cx="93854" cy="34244"/>
            </a:xfrm>
            <a:custGeom>
              <a:avLst/>
              <a:gdLst>
                <a:gd name="connsiteX0" fmla="*/ 76733 w 93854"/>
                <a:gd name="connsiteY0" fmla="*/ 34244 h 34244"/>
                <a:gd name="connsiteX1" fmla="*/ 17122 w 93854"/>
                <a:gd name="connsiteY1" fmla="*/ 34244 h 34244"/>
                <a:gd name="connsiteX2" fmla="*/ 0 w 93854"/>
                <a:gd name="connsiteY2" fmla="*/ 17122 h 34244"/>
                <a:gd name="connsiteX3" fmla="*/ 17122 w 93854"/>
                <a:gd name="connsiteY3" fmla="*/ 0 h 34244"/>
                <a:gd name="connsiteX4" fmla="*/ 76733 w 93854"/>
                <a:gd name="connsiteY4" fmla="*/ 0 h 34244"/>
                <a:gd name="connsiteX5" fmla="*/ 93855 w 93854"/>
                <a:gd name="connsiteY5" fmla="*/ 17122 h 34244"/>
                <a:gd name="connsiteX6" fmla="*/ 76733 w 93854"/>
                <a:gd name="connsiteY6" fmla="*/ 34244 h 34244"/>
                <a:gd name="connsiteX7" fmla="*/ 76733 w 93854"/>
                <a:gd name="connsiteY7" fmla="*/ 34244 h 3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854" h="34244">
                  <a:moveTo>
                    <a:pt x="76733" y="34244"/>
                  </a:moveTo>
                  <a:lnTo>
                    <a:pt x="17122" y="34244"/>
                  </a:lnTo>
                  <a:cubicBezTo>
                    <a:pt x="7610" y="34244"/>
                    <a:pt x="0" y="26635"/>
                    <a:pt x="0" y="17122"/>
                  </a:cubicBezTo>
                  <a:cubicBezTo>
                    <a:pt x="0" y="7610"/>
                    <a:pt x="7610" y="0"/>
                    <a:pt x="17122" y="0"/>
                  </a:cubicBezTo>
                  <a:lnTo>
                    <a:pt x="76733" y="0"/>
                  </a:lnTo>
                  <a:cubicBezTo>
                    <a:pt x="86245" y="0"/>
                    <a:pt x="93855" y="7610"/>
                    <a:pt x="93855" y="17122"/>
                  </a:cubicBezTo>
                  <a:cubicBezTo>
                    <a:pt x="93855" y="26635"/>
                    <a:pt x="86245" y="34244"/>
                    <a:pt x="76733" y="34244"/>
                  </a:cubicBezTo>
                  <a:lnTo>
                    <a:pt x="76733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9" name="Forma Livre: Forma 48">
              <a:extLst>
                <a:ext uri="{FF2B5EF4-FFF2-40B4-BE49-F238E27FC236}">
                  <a16:creationId xmlns:a16="http://schemas.microsoft.com/office/drawing/2014/main" id="{86CB513F-3B15-43D9-BFF5-C0B07CA7EAF6}"/>
                </a:ext>
              </a:extLst>
            </p:cNvPr>
            <p:cNvSpPr/>
            <p:nvPr/>
          </p:nvSpPr>
          <p:spPr>
            <a:xfrm>
              <a:off x="2286638" y="6058043"/>
              <a:ext cx="93854" cy="34244"/>
            </a:xfrm>
            <a:custGeom>
              <a:avLst/>
              <a:gdLst>
                <a:gd name="connsiteX0" fmla="*/ 76733 w 93854"/>
                <a:gd name="connsiteY0" fmla="*/ 34244 h 34244"/>
                <a:gd name="connsiteX1" fmla="*/ 17122 w 93854"/>
                <a:gd name="connsiteY1" fmla="*/ 34244 h 34244"/>
                <a:gd name="connsiteX2" fmla="*/ 0 w 93854"/>
                <a:gd name="connsiteY2" fmla="*/ 17122 h 34244"/>
                <a:gd name="connsiteX3" fmla="*/ 17122 w 93854"/>
                <a:gd name="connsiteY3" fmla="*/ 0 h 34244"/>
                <a:gd name="connsiteX4" fmla="*/ 76733 w 93854"/>
                <a:gd name="connsiteY4" fmla="*/ 0 h 34244"/>
                <a:gd name="connsiteX5" fmla="*/ 93855 w 93854"/>
                <a:gd name="connsiteY5" fmla="*/ 17122 h 34244"/>
                <a:gd name="connsiteX6" fmla="*/ 76733 w 93854"/>
                <a:gd name="connsiteY6" fmla="*/ 34244 h 34244"/>
                <a:gd name="connsiteX7" fmla="*/ 76733 w 93854"/>
                <a:gd name="connsiteY7" fmla="*/ 34244 h 3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854" h="34244">
                  <a:moveTo>
                    <a:pt x="76733" y="34244"/>
                  </a:moveTo>
                  <a:lnTo>
                    <a:pt x="17122" y="34244"/>
                  </a:lnTo>
                  <a:cubicBezTo>
                    <a:pt x="7610" y="34244"/>
                    <a:pt x="0" y="26635"/>
                    <a:pt x="0" y="17122"/>
                  </a:cubicBezTo>
                  <a:cubicBezTo>
                    <a:pt x="0" y="7610"/>
                    <a:pt x="7610" y="0"/>
                    <a:pt x="17122" y="0"/>
                  </a:cubicBezTo>
                  <a:lnTo>
                    <a:pt x="76733" y="0"/>
                  </a:lnTo>
                  <a:cubicBezTo>
                    <a:pt x="86245" y="0"/>
                    <a:pt x="93855" y="7610"/>
                    <a:pt x="93855" y="17122"/>
                  </a:cubicBezTo>
                  <a:cubicBezTo>
                    <a:pt x="93855" y="26635"/>
                    <a:pt x="86245" y="34244"/>
                    <a:pt x="76733" y="34244"/>
                  </a:cubicBezTo>
                  <a:lnTo>
                    <a:pt x="76733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50" name="Forma Livre: Forma 49">
              <a:extLst>
                <a:ext uri="{FF2B5EF4-FFF2-40B4-BE49-F238E27FC236}">
                  <a16:creationId xmlns:a16="http://schemas.microsoft.com/office/drawing/2014/main" id="{A177BB96-DEF6-467F-91EF-B7C3B9EAE1FD}"/>
                </a:ext>
              </a:extLst>
            </p:cNvPr>
            <p:cNvSpPr/>
            <p:nvPr/>
          </p:nvSpPr>
          <p:spPr>
            <a:xfrm>
              <a:off x="2434396" y="5843065"/>
              <a:ext cx="111610" cy="123025"/>
            </a:xfrm>
            <a:custGeom>
              <a:avLst/>
              <a:gdLst>
                <a:gd name="connsiteX0" fmla="*/ 55805 w 111610"/>
                <a:gd name="connsiteY0" fmla="*/ 123026 h 123025"/>
                <a:gd name="connsiteX1" fmla="*/ 0 w 111610"/>
                <a:gd name="connsiteY1" fmla="*/ 61513 h 123025"/>
                <a:gd name="connsiteX2" fmla="*/ 55805 w 111610"/>
                <a:gd name="connsiteY2" fmla="*/ 0 h 123025"/>
                <a:gd name="connsiteX3" fmla="*/ 111611 w 111610"/>
                <a:gd name="connsiteY3" fmla="*/ 61513 h 123025"/>
                <a:gd name="connsiteX4" fmla="*/ 55805 w 111610"/>
                <a:gd name="connsiteY4" fmla="*/ 123026 h 123025"/>
                <a:gd name="connsiteX5" fmla="*/ 55805 w 111610"/>
                <a:gd name="connsiteY5" fmla="*/ 123026 h 123025"/>
                <a:gd name="connsiteX6" fmla="*/ 55805 w 111610"/>
                <a:gd name="connsiteY6" fmla="*/ 32976 h 123025"/>
                <a:gd name="connsiteX7" fmla="*/ 33610 w 111610"/>
                <a:gd name="connsiteY7" fmla="*/ 60879 h 123025"/>
                <a:gd name="connsiteX8" fmla="*/ 55805 w 111610"/>
                <a:gd name="connsiteY8" fmla="*/ 88782 h 123025"/>
                <a:gd name="connsiteX9" fmla="*/ 78001 w 111610"/>
                <a:gd name="connsiteY9" fmla="*/ 60879 h 123025"/>
                <a:gd name="connsiteX10" fmla="*/ 55805 w 111610"/>
                <a:gd name="connsiteY10" fmla="*/ 32976 h 123025"/>
                <a:gd name="connsiteX11" fmla="*/ 55805 w 111610"/>
                <a:gd name="connsiteY11" fmla="*/ 32976 h 123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1610" h="123025">
                  <a:moveTo>
                    <a:pt x="55805" y="123026"/>
                  </a:moveTo>
                  <a:cubicBezTo>
                    <a:pt x="24732" y="123026"/>
                    <a:pt x="0" y="95123"/>
                    <a:pt x="0" y="61513"/>
                  </a:cubicBezTo>
                  <a:cubicBezTo>
                    <a:pt x="0" y="27269"/>
                    <a:pt x="25366" y="0"/>
                    <a:pt x="55805" y="0"/>
                  </a:cubicBezTo>
                  <a:cubicBezTo>
                    <a:pt x="86879" y="0"/>
                    <a:pt x="111611" y="27903"/>
                    <a:pt x="111611" y="61513"/>
                  </a:cubicBezTo>
                  <a:cubicBezTo>
                    <a:pt x="111611" y="95123"/>
                    <a:pt x="86879" y="123026"/>
                    <a:pt x="55805" y="123026"/>
                  </a:cubicBezTo>
                  <a:lnTo>
                    <a:pt x="55805" y="123026"/>
                  </a:lnTo>
                  <a:close/>
                  <a:moveTo>
                    <a:pt x="55805" y="32976"/>
                  </a:moveTo>
                  <a:cubicBezTo>
                    <a:pt x="43757" y="32976"/>
                    <a:pt x="33610" y="45659"/>
                    <a:pt x="33610" y="60879"/>
                  </a:cubicBezTo>
                  <a:cubicBezTo>
                    <a:pt x="33610" y="76098"/>
                    <a:pt x="43757" y="88782"/>
                    <a:pt x="55805" y="88782"/>
                  </a:cubicBezTo>
                  <a:cubicBezTo>
                    <a:pt x="67854" y="88782"/>
                    <a:pt x="78001" y="76098"/>
                    <a:pt x="78001" y="60879"/>
                  </a:cubicBezTo>
                  <a:cubicBezTo>
                    <a:pt x="78001" y="45659"/>
                    <a:pt x="67854" y="32976"/>
                    <a:pt x="55805" y="32976"/>
                  </a:cubicBezTo>
                  <a:lnTo>
                    <a:pt x="55805" y="32976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51" name="Forma Livre: Forma 50">
              <a:extLst>
                <a:ext uri="{FF2B5EF4-FFF2-40B4-BE49-F238E27FC236}">
                  <a16:creationId xmlns:a16="http://schemas.microsoft.com/office/drawing/2014/main" id="{5A2F4C46-4502-4F04-B55B-08AFA37FCBCB}"/>
                </a:ext>
              </a:extLst>
            </p:cNvPr>
            <p:cNvSpPr/>
            <p:nvPr/>
          </p:nvSpPr>
          <p:spPr>
            <a:xfrm>
              <a:off x="2394371" y="5972750"/>
              <a:ext cx="190393" cy="125879"/>
            </a:xfrm>
            <a:custGeom>
              <a:avLst/>
              <a:gdLst>
                <a:gd name="connsiteX0" fmla="*/ 170661 w 190393"/>
                <a:gd name="connsiteY0" fmla="*/ 125880 h 125879"/>
                <a:gd name="connsiteX1" fmla="*/ 20367 w 190393"/>
                <a:gd name="connsiteY1" fmla="*/ 125880 h 125879"/>
                <a:gd name="connsiteX2" fmla="*/ 3245 w 190393"/>
                <a:gd name="connsiteY2" fmla="*/ 110026 h 125879"/>
                <a:gd name="connsiteX3" fmla="*/ 74 w 190393"/>
                <a:gd name="connsiteY3" fmla="*/ 61830 h 125879"/>
                <a:gd name="connsiteX4" fmla="*/ 34318 w 190393"/>
                <a:gd name="connsiteY4" fmla="*/ 10464 h 125879"/>
                <a:gd name="connsiteX5" fmla="*/ 155441 w 190393"/>
                <a:gd name="connsiteY5" fmla="*/ 10464 h 125879"/>
                <a:gd name="connsiteX6" fmla="*/ 190320 w 190393"/>
                <a:gd name="connsiteY6" fmla="*/ 61830 h 125879"/>
                <a:gd name="connsiteX7" fmla="*/ 187149 w 190393"/>
                <a:gd name="connsiteY7" fmla="*/ 110026 h 125879"/>
                <a:gd name="connsiteX8" fmla="*/ 170661 w 190393"/>
                <a:gd name="connsiteY8" fmla="*/ 125880 h 125879"/>
                <a:gd name="connsiteX9" fmla="*/ 170661 w 190393"/>
                <a:gd name="connsiteY9" fmla="*/ 125880 h 125879"/>
                <a:gd name="connsiteX10" fmla="*/ 36855 w 190393"/>
                <a:gd name="connsiteY10" fmla="*/ 92269 h 125879"/>
                <a:gd name="connsiteX11" fmla="*/ 155441 w 190393"/>
                <a:gd name="connsiteY11" fmla="*/ 92269 h 125879"/>
                <a:gd name="connsiteX12" fmla="*/ 157344 w 190393"/>
                <a:gd name="connsiteY12" fmla="*/ 59928 h 125879"/>
                <a:gd name="connsiteX13" fmla="*/ 144661 w 190393"/>
                <a:gd name="connsiteY13" fmla="*/ 42171 h 125879"/>
                <a:gd name="connsiteX14" fmla="*/ 46367 w 190393"/>
                <a:gd name="connsiteY14" fmla="*/ 42171 h 125879"/>
                <a:gd name="connsiteX15" fmla="*/ 33684 w 190393"/>
                <a:gd name="connsiteY15" fmla="*/ 59928 h 125879"/>
                <a:gd name="connsiteX16" fmla="*/ 36855 w 190393"/>
                <a:gd name="connsiteY16" fmla="*/ 92269 h 125879"/>
                <a:gd name="connsiteX17" fmla="*/ 36855 w 190393"/>
                <a:gd name="connsiteY17" fmla="*/ 92269 h 125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93" h="125879">
                  <a:moveTo>
                    <a:pt x="170661" y="125880"/>
                  </a:moveTo>
                  <a:lnTo>
                    <a:pt x="20367" y="125880"/>
                  </a:lnTo>
                  <a:cubicBezTo>
                    <a:pt x="11489" y="125880"/>
                    <a:pt x="3879" y="118904"/>
                    <a:pt x="3245" y="110026"/>
                  </a:cubicBezTo>
                  <a:lnTo>
                    <a:pt x="74" y="61830"/>
                  </a:lnTo>
                  <a:cubicBezTo>
                    <a:pt x="-1194" y="40903"/>
                    <a:pt x="14025" y="18074"/>
                    <a:pt x="34318" y="10464"/>
                  </a:cubicBezTo>
                  <a:cubicBezTo>
                    <a:pt x="73636" y="-3488"/>
                    <a:pt x="116758" y="-3488"/>
                    <a:pt x="155441" y="10464"/>
                  </a:cubicBezTo>
                  <a:cubicBezTo>
                    <a:pt x="176369" y="18074"/>
                    <a:pt x="191588" y="40903"/>
                    <a:pt x="190320" y="61830"/>
                  </a:cubicBezTo>
                  <a:lnTo>
                    <a:pt x="187149" y="110026"/>
                  </a:lnTo>
                  <a:cubicBezTo>
                    <a:pt x="187149" y="118904"/>
                    <a:pt x="179539" y="125880"/>
                    <a:pt x="170661" y="125880"/>
                  </a:cubicBezTo>
                  <a:lnTo>
                    <a:pt x="170661" y="125880"/>
                  </a:lnTo>
                  <a:close/>
                  <a:moveTo>
                    <a:pt x="36855" y="92269"/>
                  </a:moveTo>
                  <a:lnTo>
                    <a:pt x="155441" y="92269"/>
                  </a:lnTo>
                  <a:lnTo>
                    <a:pt x="157344" y="59928"/>
                  </a:lnTo>
                  <a:cubicBezTo>
                    <a:pt x="157978" y="54854"/>
                    <a:pt x="152271" y="45342"/>
                    <a:pt x="144661" y="42171"/>
                  </a:cubicBezTo>
                  <a:cubicBezTo>
                    <a:pt x="113587" y="30757"/>
                    <a:pt x="78075" y="30757"/>
                    <a:pt x="46367" y="42171"/>
                  </a:cubicBezTo>
                  <a:cubicBezTo>
                    <a:pt x="39391" y="44708"/>
                    <a:pt x="33684" y="54854"/>
                    <a:pt x="33684" y="59928"/>
                  </a:cubicBezTo>
                  <a:lnTo>
                    <a:pt x="36855" y="92269"/>
                  </a:lnTo>
                  <a:lnTo>
                    <a:pt x="36855" y="92269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52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3351651" y="5703613"/>
            <a:ext cx="351176" cy="396327"/>
            <a:chOff x="3320943" y="5761894"/>
            <a:chExt cx="355126" cy="400785"/>
          </a:xfrm>
          <a:solidFill>
            <a:srgbClr val="B1B1A1"/>
          </a:solidFill>
        </p:grpSpPr>
        <p:sp>
          <p:nvSpPr>
            <p:cNvPr id="53" name="Forma Livre: Forma 52">
              <a:extLst>
                <a:ext uri="{FF2B5EF4-FFF2-40B4-BE49-F238E27FC236}">
                  <a16:creationId xmlns:a16="http://schemas.microsoft.com/office/drawing/2014/main" id="{DBCC0A85-F689-426A-8E32-F959ABE3AA9E}"/>
                </a:ext>
              </a:extLst>
            </p:cNvPr>
            <p:cNvSpPr/>
            <p:nvPr/>
          </p:nvSpPr>
          <p:spPr>
            <a:xfrm>
              <a:off x="3476088" y="5871602"/>
              <a:ext cx="113101" cy="184538"/>
            </a:xfrm>
            <a:custGeom>
              <a:avLst/>
              <a:gdLst>
                <a:gd name="connsiteX0" fmla="*/ 37638 w 113101"/>
                <a:gd name="connsiteY0" fmla="*/ 0 h 184538"/>
                <a:gd name="connsiteX1" fmla="*/ 8467 w 113101"/>
                <a:gd name="connsiteY1" fmla="*/ 14586 h 184538"/>
                <a:gd name="connsiteX2" fmla="*/ 857 w 113101"/>
                <a:gd name="connsiteY2" fmla="*/ 21561 h 184538"/>
                <a:gd name="connsiteX3" fmla="*/ 16711 w 113101"/>
                <a:gd name="connsiteY3" fmla="*/ 111611 h 184538"/>
                <a:gd name="connsiteX4" fmla="*/ 16711 w 113101"/>
                <a:gd name="connsiteY4" fmla="*/ 111611 h 184538"/>
                <a:gd name="connsiteX5" fmla="*/ 16711 w 113101"/>
                <a:gd name="connsiteY5" fmla="*/ 112245 h 184538"/>
                <a:gd name="connsiteX6" fmla="*/ 72516 w 113101"/>
                <a:gd name="connsiteY6" fmla="*/ 184539 h 184538"/>
                <a:gd name="connsiteX7" fmla="*/ 82662 w 113101"/>
                <a:gd name="connsiteY7" fmla="*/ 183271 h 184538"/>
                <a:gd name="connsiteX8" fmla="*/ 113102 w 113101"/>
                <a:gd name="connsiteY8" fmla="*/ 171222 h 184538"/>
                <a:gd name="connsiteX9" fmla="*/ 92175 w 113101"/>
                <a:gd name="connsiteY9" fmla="*/ 123026 h 184538"/>
                <a:gd name="connsiteX10" fmla="*/ 80760 w 113101"/>
                <a:gd name="connsiteY10" fmla="*/ 128099 h 184538"/>
                <a:gd name="connsiteX11" fmla="*/ 76321 w 113101"/>
                <a:gd name="connsiteY11" fmla="*/ 129368 h 184538"/>
                <a:gd name="connsiteX12" fmla="*/ 68077 w 113101"/>
                <a:gd name="connsiteY12" fmla="*/ 124294 h 184538"/>
                <a:gd name="connsiteX13" fmla="*/ 42077 w 113101"/>
                <a:gd name="connsiteY13" fmla="*/ 64684 h 184538"/>
                <a:gd name="connsiteX14" fmla="*/ 47784 w 113101"/>
                <a:gd name="connsiteY14" fmla="*/ 52635 h 184538"/>
                <a:gd name="connsiteX15" fmla="*/ 59199 w 113101"/>
                <a:gd name="connsiteY15" fmla="*/ 47562 h 184538"/>
                <a:gd name="connsiteX16" fmla="*/ 37638 w 113101"/>
                <a:gd name="connsiteY16" fmla="*/ 0 h 184538"/>
                <a:gd name="connsiteX17" fmla="*/ 37638 w 113101"/>
                <a:gd name="connsiteY17" fmla="*/ 0 h 184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3101" h="184538">
                  <a:moveTo>
                    <a:pt x="37638" y="0"/>
                  </a:moveTo>
                  <a:cubicBezTo>
                    <a:pt x="26857" y="2537"/>
                    <a:pt x="16711" y="7610"/>
                    <a:pt x="8467" y="14586"/>
                  </a:cubicBezTo>
                  <a:cubicBezTo>
                    <a:pt x="5930" y="16488"/>
                    <a:pt x="3393" y="19025"/>
                    <a:pt x="857" y="21561"/>
                  </a:cubicBezTo>
                  <a:cubicBezTo>
                    <a:pt x="-2314" y="50732"/>
                    <a:pt x="3393" y="81806"/>
                    <a:pt x="16711" y="111611"/>
                  </a:cubicBezTo>
                  <a:cubicBezTo>
                    <a:pt x="16711" y="111611"/>
                    <a:pt x="16711" y="111611"/>
                    <a:pt x="16711" y="111611"/>
                  </a:cubicBezTo>
                  <a:cubicBezTo>
                    <a:pt x="16711" y="111611"/>
                    <a:pt x="16711" y="111611"/>
                    <a:pt x="16711" y="112245"/>
                  </a:cubicBezTo>
                  <a:cubicBezTo>
                    <a:pt x="30028" y="142051"/>
                    <a:pt x="49052" y="167417"/>
                    <a:pt x="72516" y="184539"/>
                  </a:cubicBezTo>
                  <a:cubicBezTo>
                    <a:pt x="75687" y="184539"/>
                    <a:pt x="79492" y="183905"/>
                    <a:pt x="82662" y="183271"/>
                  </a:cubicBezTo>
                  <a:cubicBezTo>
                    <a:pt x="93443" y="181368"/>
                    <a:pt x="104224" y="177563"/>
                    <a:pt x="113102" y="171222"/>
                  </a:cubicBezTo>
                  <a:lnTo>
                    <a:pt x="92175" y="123026"/>
                  </a:lnTo>
                  <a:lnTo>
                    <a:pt x="80760" y="128099"/>
                  </a:lnTo>
                  <a:cubicBezTo>
                    <a:pt x="79492" y="128734"/>
                    <a:pt x="77589" y="129368"/>
                    <a:pt x="76321" y="129368"/>
                  </a:cubicBezTo>
                  <a:cubicBezTo>
                    <a:pt x="72516" y="129368"/>
                    <a:pt x="69345" y="127465"/>
                    <a:pt x="68077" y="124294"/>
                  </a:cubicBezTo>
                  <a:lnTo>
                    <a:pt x="42077" y="64684"/>
                  </a:lnTo>
                  <a:cubicBezTo>
                    <a:pt x="40174" y="60245"/>
                    <a:pt x="42711" y="54537"/>
                    <a:pt x="47784" y="52635"/>
                  </a:cubicBezTo>
                  <a:lnTo>
                    <a:pt x="59199" y="47562"/>
                  </a:lnTo>
                  <a:lnTo>
                    <a:pt x="37638" y="0"/>
                  </a:lnTo>
                  <a:lnTo>
                    <a:pt x="37638" y="0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54" name="Forma Livre: Forma 53">
              <a:extLst>
                <a:ext uri="{FF2B5EF4-FFF2-40B4-BE49-F238E27FC236}">
                  <a16:creationId xmlns:a16="http://schemas.microsoft.com/office/drawing/2014/main" id="{19018DDA-065C-4590-B2E8-5268DC747EF3}"/>
                </a:ext>
              </a:extLst>
            </p:cNvPr>
            <p:cNvSpPr/>
            <p:nvPr/>
          </p:nvSpPr>
          <p:spPr>
            <a:xfrm>
              <a:off x="3350114" y="5761894"/>
              <a:ext cx="325954" cy="400785"/>
            </a:xfrm>
            <a:custGeom>
              <a:avLst/>
              <a:gdLst>
                <a:gd name="connsiteX0" fmla="*/ 308833 w 325954"/>
                <a:gd name="connsiteY0" fmla="*/ 400785 h 400785"/>
                <a:gd name="connsiteX1" fmla="*/ 17122 w 325954"/>
                <a:gd name="connsiteY1" fmla="*/ 400785 h 400785"/>
                <a:gd name="connsiteX2" fmla="*/ 0 w 325954"/>
                <a:gd name="connsiteY2" fmla="*/ 383663 h 400785"/>
                <a:gd name="connsiteX3" fmla="*/ 0 w 325954"/>
                <a:gd name="connsiteY3" fmla="*/ 17122 h 400785"/>
                <a:gd name="connsiteX4" fmla="*/ 17122 w 325954"/>
                <a:gd name="connsiteY4" fmla="*/ 0 h 400785"/>
                <a:gd name="connsiteX5" fmla="*/ 308833 w 325954"/>
                <a:gd name="connsiteY5" fmla="*/ 0 h 400785"/>
                <a:gd name="connsiteX6" fmla="*/ 325955 w 325954"/>
                <a:gd name="connsiteY6" fmla="*/ 17122 h 400785"/>
                <a:gd name="connsiteX7" fmla="*/ 325955 w 325954"/>
                <a:gd name="connsiteY7" fmla="*/ 383663 h 400785"/>
                <a:gd name="connsiteX8" fmla="*/ 308833 w 325954"/>
                <a:gd name="connsiteY8" fmla="*/ 400785 h 400785"/>
                <a:gd name="connsiteX9" fmla="*/ 308833 w 325954"/>
                <a:gd name="connsiteY9" fmla="*/ 400785 h 400785"/>
                <a:gd name="connsiteX10" fmla="*/ 34244 w 325954"/>
                <a:gd name="connsiteY10" fmla="*/ 367175 h 400785"/>
                <a:gd name="connsiteX11" fmla="*/ 291711 w 325954"/>
                <a:gd name="connsiteY11" fmla="*/ 367175 h 400785"/>
                <a:gd name="connsiteX12" fmla="*/ 291711 w 325954"/>
                <a:gd name="connsiteY12" fmla="*/ 34878 h 400785"/>
                <a:gd name="connsiteX13" fmla="*/ 34244 w 325954"/>
                <a:gd name="connsiteY13" fmla="*/ 34878 h 400785"/>
                <a:gd name="connsiteX14" fmla="*/ 34244 w 325954"/>
                <a:gd name="connsiteY14" fmla="*/ 367175 h 400785"/>
                <a:gd name="connsiteX15" fmla="*/ 34244 w 325954"/>
                <a:gd name="connsiteY15" fmla="*/ 367175 h 40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5954" h="400785">
                  <a:moveTo>
                    <a:pt x="308833" y="400785"/>
                  </a:moveTo>
                  <a:lnTo>
                    <a:pt x="17122" y="400785"/>
                  </a:lnTo>
                  <a:cubicBezTo>
                    <a:pt x="7610" y="400785"/>
                    <a:pt x="0" y="393175"/>
                    <a:pt x="0" y="383663"/>
                  </a:cubicBezTo>
                  <a:lnTo>
                    <a:pt x="0" y="17122"/>
                  </a:lnTo>
                  <a:cubicBezTo>
                    <a:pt x="0" y="7610"/>
                    <a:pt x="7610" y="0"/>
                    <a:pt x="17122" y="0"/>
                  </a:cubicBezTo>
                  <a:lnTo>
                    <a:pt x="308833" y="0"/>
                  </a:lnTo>
                  <a:cubicBezTo>
                    <a:pt x="318345" y="0"/>
                    <a:pt x="325955" y="7610"/>
                    <a:pt x="325955" y="17122"/>
                  </a:cubicBezTo>
                  <a:lnTo>
                    <a:pt x="325955" y="383663"/>
                  </a:lnTo>
                  <a:cubicBezTo>
                    <a:pt x="325955" y="393175"/>
                    <a:pt x="318345" y="400785"/>
                    <a:pt x="308833" y="400785"/>
                  </a:cubicBezTo>
                  <a:lnTo>
                    <a:pt x="308833" y="400785"/>
                  </a:lnTo>
                  <a:close/>
                  <a:moveTo>
                    <a:pt x="34244" y="367175"/>
                  </a:moveTo>
                  <a:lnTo>
                    <a:pt x="291711" y="367175"/>
                  </a:lnTo>
                  <a:lnTo>
                    <a:pt x="291711" y="34878"/>
                  </a:lnTo>
                  <a:lnTo>
                    <a:pt x="34244" y="34878"/>
                  </a:lnTo>
                  <a:lnTo>
                    <a:pt x="34244" y="367175"/>
                  </a:lnTo>
                  <a:lnTo>
                    <a:pt x="34244" y="367175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55" name="Gráfico 2">
              <a:extLst>
                <a:ext uri="{FF2B5EF4-FFF2-40B4-BE49-F238E27FC236}">
                  <a16:creationId xmlns:a16="http://schemas.microsoft.com/office/drawing/2014/main" id="{DC80C217-93B8-4831-A8BE-0817F1F32ECF}"/>
                </a:ext>
              </a:extLst>
            </p:cNvPr>
            <p:cNvGrpSpPr/>
            <p:nvPr/>
          </p:nvGrpSpPr>
          <p:grpSpPr>
            <a:xfrm>
              <a:off x="3320943" y="5831650"/>
              <a:ext cx="93854" cy="261905"/>
              <a:chOff x="3320943" y="5831650"/>
              <a:chExt cx="93854" cy="261905"/>
            </a:xfrm>
            <a:grpFill/>
          </p:grpSpPr>
          <p:sp>
            <p:nvSpPr>
              <p:cNvPr id="56" name="Forma Livre: Forma 55">
                <a:extLst>
                  <a:ext uri="{FF2B5EF4-FFF2-40B4-BE49-F238E27FC236}">
                    <a16:creationId xmlns:a16="http://schemas.microsoft.com/office/drawing/2014/main" id="{9180E5CC-3620-4F8D-8FA4-232675E3878F}"/>
                  </a:ext>
                </a:extLst>
              </p:cNvPr>
              <p:cNvSpPr/>
              <p:nvPr/>
            </p:nvSpPr>
            <p:spPr>
              <a:xfrm>
                <a:off x="3320943" y="5831650"/>
                <a:ext cx="93854" cy="34244"/>
              </a:xfrm>
              <a:custGeom>
                <a:avLst/>
                <a:gdLst>
                  <a:gd name="connsiteX0" fmla="*/ 76733 w 93854"/>
                  <a:gd name="connsiteY0" fmla="*/ 34244 h 34244"/>
                  <a:gd name="connsiteX1" fmla="*/ 17122 w 93854"/>
                  <a:gd name="connsiteY1" fmla="*/ 34244 h 34244"/>
                  <a:gd name="connsiteX2" fmla="*/ 0 w 93854"/>
                  <a:gd name="connsiteY2" fmla="*/ 17122 h 34244"/>
                  <a:gd name="connsiteX3" fmla="*/ 17122 w 93854"/>
                  <a:gd name="connsiteY3" fmla="*/ 0 h 34244"/>
                  <a:gd name="connsiteX4" fmla="*/ 76733 w 93854"/>
                  <a:gd name="connsiteY4" fmla="*/ 0 h 34244"/>
                  <a:gd name="connsiteX5" fmla="*/ 93855 w 93854"/>
                  <a:gd name="connsiteY5" fmla="*/ 17122 h 34244"/>
                  <a:gd name="connsiteX6" fmla="*/ 76733 w 93854"/>
                  <a:gd name="connsiteY6" fmla="*/ 34244 h 34244"/>
                  <a:gd name="connsiteX7" fmla="*/ 76733 w 93854"/>
                  <a:gd name="connsiteY7" fmla="*/ 34244 h 34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3854" h="34244">
                    <a:moveTo>
                      <a:pt x="76733" y="34244"/>
                    </a:moveTo>
                    <a:lnTo>
                      <a:pt x="17122" y="34244"/>
                    </a:lnTo>
                    <a:cubicBezTo>
                      <a:pt x="7610" y="34244"/>
                      <a:pt x="0" y="26635"/>
                      <a:pt x="0" y="17122"/>
                    </a:cubicBezTo>
                    <a:cubicBezTo>
                      <a:pt x="0" y="7610"/>
                      <a:pt x="7610" y="0"/>
                      <a:pt x="17122" y="0"/>
                    </a:cubicBezTo>
                    <a:lnTo>
                      <a:pt x="76733" y="0"/>
                    </a:lnTo>
                    <a:cubicBezTo>
                      <a:pt x="86245" y="0"/>
                      <a:pt x="93855" y="7610"/>
                      <a:pt x="93855" y="17122"/>
                    </a:cubicBezTo>
                    <a:cubicBezTo>
                      <a:pt x="93221" y="26635"/>
                      <a:pt x="85611" y="34244"/>
                      <a:pt x="76733" y="34244"/>
                    </a:cubicBezTo>
                    <a:lnTo>
                      <a:pt x="76733" y="34244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57" name="Forma Livre: Forma 56">
                <a:extLst>
                  <a:ext uri="{FF2B5EF4-FFF2-40B4-BE49-F238E27FC236}">
                    <a16:creationId xmlns:a16="http://schemas.microsoft.com/office/drawing/2014/main" id="{308CB9D7-B9B5-4A85-9CD7-A2B39CFABEED}"/>
                  </a:ext>
                </a:extLst>
              </p:cNvPr>
              <p:cNvSpPr/>
              <p:nvPr/>
            </p:nvSpPr>
            <p:spPr>
              <a:xfrm>
                <a:off x="3320943" y="5907749"/>
                <a:ext cx="93854" cy="34244"/>
              </a:xfrm>
              <a:custGeom>
                <a:avLst/>
                <a:gdLst>
                  <a:gd name="connsiteX0" fmla="*/ 76733 w 93854"/>
                  <a:gd name="connsiteY0" fmla="*/ 34244 h 34244"/>
                  <a:gd name="connsiteX1" fmla="*/ 17122 w 93854"/>
                  <a:gd name="connsiteY1" fmla="*/ 34244 h 34244"/>
                  <a:gd name="connsiteX2" fmla="*/ 0 w 93854"/>
                  <a:gd name="connsiteY2" fmla="*/ 17122 h 34244"/>
                  <a:gd name="connsiteX3" fmla="*/ 17122 w 93854"/>
                  <a:gd name="connsiteY3" fmla="*/ 0 h 34244"/>
                  <a:gd name="connsiteX4" fmla="*/ 76733 w 93854"/>
                  <a:gd name="connsiteY4" fmla="*/ 0 h 34244"/>
                  <a:gd name="connsiteX5" fmla="*/ 93855 w 93854"/>
                  <a:gd name="connsiteY5" fmla="*/ 17122 h 34244"/>
                  <a:gd name="connsiteX6" fmla="*/ 76733 w 93854"/>
                  <a:gd name="connsiteY6" fmla="*/ 34244 h 34244"/>
                  <a:gd name="connsiteX7" fmla="*/ 76733 w 93854"/>
                  <a:gd name="connsiteY7" fmla="*/ 34244 h 34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3854" h="34244">
                    <a:moveTo>
                      <a:pt x="76733" y="34244"/>
                    </a:moveTo>
                    <a:lnTo>
                      <a:pt x="17122" y="34244"/>
                    </a:lnTo>
                    <a:cubicBezTo>
                      <a:pt x="7610" y="34244"/>
                      <a:pt x="0" y="26635"/>
                      <a:pt x="0" y="17122"/>
                    </a:cubicBezTo>
                    <a:cubicBezTo>
                      <a:pt x="0" y="7610"/>
                      <a:pt x="7610" y="0"/>
                      <a:pt x="17122" y="0"/>
                    </a:cubicBezTo>
                    <a:lnTo>
                      <a:pt x="76733" y="0"/>
                    </a:lnTo>
                    <a:cubicBezTo>
                      <a:pt x="86245" y="0"/>
                      <a:pt x="93855" y="7610"/>
                      <a:pt x="93855" y="17122"/>
                    </a:cubicBezTo>
                    <a:cubicBezTo>
                      <a:pt x="93221" y="26635"/>
                      <a:pt x="85611" y="34244"/>
                      <a:pt x="76733" y="34244"/>
                    </a:cubicBezTo>
                    <a:lnTo>
                      <a:pt x="76733" y="34244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58" name="Forma Livre: Forma 57">
                <a:extLst>
                  <a:ext uri="{FF2B5EF4-FFF2-40B4-BE49-F238E27FC236}">
                    <a16:creationId xmlns:a16="http://schemas.microsoft.com/office/drawing/2014/main" id="{8C40ED75-2D25-4053-AA3E-78514594B16F}"/>
                  </a:ext>
                </a:extLst>
              </p:cNvPr>
              <p:cNvSpPr/>
              <p:nvPr/>
            </p:nvSpPr>
            <p:spPr>
              <a:xfrm>
                <a:off x="3320943" y="5983213"/>
                <a:ext cx="93854" cy="34244"/>
              </a:xfrm>
              <a:custGeom>
                <a:avLst/>
                <a:gdLst>
                  <a:gd name="connsiteX0" fmla="*/ 76733 w 93854"/>
                  <a:gd name="connsiteY0" fmla="*/ 34244 h 34244"/>
                  <a:gd name="connsiteX1" fmla="*/ 17122 w 93854"/>
                  <a:gd name="connsiteY1" fmla="*/ 34244 h 34244"/>
                  <a:gd name="connsiteX2" fmla="*/ 0 w 93854"/>
                  <a:gd name="connsiteY2" fmla="*/ 17122 h 34244"/>
                  <a:gd name="connsiteX3" fmla="*/ 17122 w 93854"/>
                  <a:gd name="connsiteY3" fmla="*/ 0 h 34244"/>
                  <a:gd name="connsiteX4" fmla="*/ 76733 w 93854"/>
                  <a:gd name="connsiteY4" fmla="*/ 0 h 34244"/>
                  <a:gd name="connsiteX5" fmla="*/ 93855 w 93854"/>
                  <a:gd name="connsiteY5" fmla="*/ 17122 h 34244"/>
                  <a:gd name="connsiteX6" fmla="*/ 76733 w 93854"/>
                  <a:gd name="connsiteY6" fmla="*/ 34244 h 34244"/>
                  <a:gd name="connsiteX7" fmla="*/ 76733 w 93854"/>
                  <a:gd name="connsiteY7" fmla="*/ 34244 h 34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3854" h="34244">
                    <a:moveTo>
                      <a:pt x="76733" y="34244"/>
                    </a:moveTo>
                    <a:lnTo>
                      <a:pt x="17122" y="34244"/>
                    </a:lnTo>
                    <a:cubicBezTo>
                      <a:pt x="7610" y="34244"/>
                      <a:pt x="0" y="26635"/>
                      <a:pt x="0" y="17122"/>
                    </a:cubicBezTo>
                    <a:cubicBezTo>
                      <a:pt x="0" y="7610"/>
                      <a:pt x="7610" y="0"/>
                      <a:pt x="17122" y="0"/>
                    </a:cubicBezTo>
                    <a:lnTo>
                      <a:pt x="76733" y="0"/>
                    </a:lnTo>
                    <a:cubicBezTo>
                      <a:pt x="86245" y="0"/>
                      <a:pt x="93855" y="7610"/>
                      <a:pt x="93855" y="17122"/>
                    </a:cubicBezTo>
                    <a:cubicBezTo>
                      <a:pt x="93221" y="26635"/>
                      <a:pt x="85611" y="34244"/>
                      <a:pt x="76733" y="34244"/>
                    </a:cubicBezTo>
                    <a:lnTo>
                      <a:pt x="76733" y="34244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59" name="Forma Livre: Forma 58">
                <a:extLst>
                  <a:ext uri="{FF2B5EF4-FFF2-40B4-BE49-F238E27FC236}">
                    <a16:creationId xmlns:a16="http://schemas.microsoft.com/office/drawing/2014/main" id="{7E95865D-99D6-4004-AF74-28BC4E149993}"/>
                  </a:ext>
                </a:extLst>
              </p:cNvPr>
              <p:cNvSpPr/>
              <p:nvPr/>
            </p:nvSpPr>
            <p:spPr>
              <a:xfrm>
                <a:off x="3320943" y="6059312"/>
                <a:ext cx="93854" cy="34244"/>
              </a:xfrm>
              <a:custGeom>
                <a:avLst/>
                <a:gdLst>
                  <a:gd name="connsiteX0" fmla="*/ 76733 w 93854"/>
                  <a:gd name="connsiteY0" fmla="*/ 34244 h 34244"/>
                  <a:gd name="connsiteX1" fmla="*/ 17122 w 93854"/>
                  <a:gd name="connsiteY1" fmla="*/ 34244 h 34244"/>
                  <a:gd name="connsiteX2" fmla="*/ 0 w 93854"/>
                  <a:gd name="connsiteY2" fmla="*/ 17122 h 34244"/>
                  <a:gd name="connsiteX3" fmla="*/ 17122 w 93854"/>
                  <a:gd name="connsiteY3" fmla="*/ 0 h 34244"/>
                  <a:gd name="connsiteX4" fmla="*/ 76733 w 93854"/>
                  <a:gd name="connsiteY4" fmla="*/ 0 h 34244"/>
                  <a:gd name="connsiteX5" fmla="*/ 93855 w 93854"/>
                  <a:gd name="connsiteY5" fmla="*/ 17122 h 34244"/>
                  <a:gd name="connsiteX6" fmla="*/ 76733 w 93854"/>
                  <a:gd name="connsiteY6" fmla="*/ 34244 h 34244"/>
                  <a:gd name="connsiteX7" fmla="*/ 76733 w 93854"/>
                  <a:gd name="connsiteY7" fmla="*/ 34244 h 34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3854" h="34244">
                    <a:moveTo>
                      <a:pt x="76733" y="34244"/>
                    </a:moveTo>
                    <a:lnTo>
                      <a:pt x="17122" y="34244"/>
                    </a:lnTo>
                    <a:cubicBezTo>
                      <a:pt x="7610" y="34244"/>
                      <a:pt x="0" y="26635"/>
                      <a:pt x="0" y="17122"/>
                    </a:cubicBezTo>
                    <a:cubicBezTo>
                      <a:pt x="0" y="7610"/>
                      <a:pt x="7610" y="0"/>
                      <a:pt x="17122" y="0"/>
                    </a:cubicBezTo>
                    <a:lnTo>
                      <a:pt x="76733" y="0"/>
                    </a:lnTo>
                    <a:cubicBezTo>
                      <a:pt x="86245" y="0"/>
                      <a:pt x="93855" y="7610"/>
                      <a:pt x="93855" y="17122"/>
                    </a:cubicBezTo>
                    <a:cubicBezTo>
                      <a:pt x="93855" y="26635"/>
                      <a:pt x="85611" y="34244"/>
                      <a:pt x="76733" y="34244"/>
                    </a:cubicBezTo>
                    <a:lnTo>
                      <a:pt x="76733" y="34244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60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4364418" y="5701731"/>
            <a:ext cx="381277" cy="400717"/>
            <a:chOff x="4345101" y="5759991"/>
            <a:chExt cx="385565" cy="405224"/>
          </a:xfrm>
          <a:solidFill>
            <a:srgbClr val="B1B1A1"/>
          </a:solidFill>
        </p:grpSpPr>
        <p:sp>
          <p:nvSpPr>
            <p:cNvPr id="61" name="Forma Livre: Forma 60">
              <a:extLst>
                <a:ext uri="{FF2B5EF4-FFF2-40B4-BE49-F238E27FC236}">
                  <a16:creationId xmlns:a16="http://schemas.microsoft.com/office/drawing/2014/main" id="{A7D9CDEA-4D58-492F-AB66-9D818046891C}"/>
                </a:ext>
              </a:extLst>
            </p:cNvPr>
            <p:cNvSpPr/>
            <p:nvPr/>
          </p:nvSpPr>
          <p:spPr>
            <a:xfrm>
              <a:off x="4345101" y="5957213"/>
              <a:ext cx="384931" cy="208002"/>
            </a:xfrm>
            <a:custGeom>
              <a:avLst/>
              <a:gdLst>
                <a:gd name="connsiteX0" fmla="*/ 129367 w 384931"/>
                <a:gd name="connsiteY0" fmla="*/ 33610 h 208002"/>
                <a:gd name="connsiteX1" fmla="*/ 129367 w 384931"/>
                <a:gd name="connsiteY1" fmla="*/ 70391 h 208002"/>
                <a:gd name="connsiteX2" fmla="*/ 351321 w 384931"/>
                <a:gd name="connsiteY2" fmla="*/ 70391 h 208002"/>
                <a:gd name="connsiteX3" fmla="*/ 351321 w 384931"/>
                <a:gd name="connsiteY3" fmla="*/ 137611 h 208002"/>
                <a:gd name="connsiteX4" fmla="*/ 129367 w 384931"/>
                <a:gd name="connsiteY4" fmla="*/ 137611 h 208002"/>
                <a:gd name="connsiteX5" fmla="*/ 129367 w 384931"/>
                <a:gd name="connsiteY5" fmla="*/ 174392 h 208002"/>
                <a:gd name="connsiteX6" fmla="*/ 34244 w 384931"/>
                <a:gd name="connsiteY6" fmla="*/ 104001 h 208002"/>
                <a:gd name="connsiteX7" fmla="*/ 129367 w 384931"/>
                <a:gd name="connsiteY7" fmla="*/ 33610 h 208002"/>
                <a:gd name="connsiteX8" fmla="*/ 129367 w 384931"/>
                <a:gd name="connsiteY8" fmla="*/ 0 h 208002"/>
                <a:gd name="connsiteX9" fmla="*/ 109075 w 384931"/>
                <a:gd name="connsiteY9" fmla="*/ 6342 h 208002"/>
                <a:gd name="connsiteX10" fmla="*/ 13951 w 384931"/>
                <a:gd name="connsiteY10" fmla="*/ 76733 h 208002"/>
                <a:gd name="connsiteX11" fmla="*/ 0 w 384931"/>
                <a:gd name="connsiteY11" fmla="*/ 104001 h 208002"/>
                <a:gd name="connsiteX12" fmla="*/ 13951 w 384931"/>
                <a:gd name="connsiteY12" fmla="*/ 131270 h 208002"/>
                <a:gd name="connsiteX13" fmla="*/ 109075 w 384931"/>
                <a:gd name="connsiteY13" fmla="*/ 201661 h 208002"/>
                <a:gd name="connsiteX14" fmla="*/ 129367 w 384931"/>
                <a:gd name="connsiteY14" fmla="*/ 208003 h 208002"/>
                <a:gd name="connsiteX15" fmla="*/ 144587 w 384931"/>
                <a:gd name="connsiteY15" fmla="*/ 204198 h 208002"/>
                <a:gd name="connsiteX16" fmla="*/ 162977 w 384931"/>
                <a:gd name="connsiteY16" fmla="*/ 173758 h 208002"/>
                <a:gd name="connsiteX17" fmla="*/ 162977 w 384931"/>
                <a:gd name="connsiteY17" fmla="*/ 170588 h 208002"/>
                <a:gd name="connsiteX18" fmla="*/ 351321 w 384931"/>
                <a:gd name="connsiteY18" fmla="*/ 170588 h 208002"/>
                <a:gd name="connsiteX19" fmla="*/ 384931 w 384931"/>
                <a:gd name="connsiteY19" fmla="*/ 136977 h 208002"/>
                <a:gd name="connsiteX20" fmla="*/ 384931 w 384931"/>
                <a:gd name="connsiteY20" fmla="*/ 69757 h 208002"/>
                <a:gd name="connsiteX21" fmla="*/ 351321 w 384931"/>
                <a:gd name="connsiteY21" fmla="*/ 36147 h 208002"/>
                <a:gd name="connsiteX22" fmla="*/ 162977 w 384931"/>
                <a:gd name="connsiteY22" fmla="*/ 36147 h 208002"/>
                <a:gd name="connsiteX23" fmla="*/ 162977 w 384931"/>
                <a:gd name="connsiteY23" fmla="*/ 32976 h 208002"/>
                <a:gd name="connsiteX24" fmla="*/ 144587 w 384931"/>
                <a:gd name="connsiteY24" fmla="*/ 2537 h 208002"/>
                <a:gd name="connsiteX25" fmla="*/ 129367 w 384931"/>
                <a:gd name="connsiteY25" fmla="*/ 0 h 208002"/>
                <a:gd name="connsiteX26" fmla="*/ 129367 w 384931"/>
                <a:gd name="connsiteY26" fmla="*/ 0 h 208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84931" h="208002">
                  <a:moveTo>
                    <a:pt x="129367" y="33610"/>
                  </a:moveTo>
                  <a:lnTo>
                    <a:pt x="129367" y="70391"/>
                  </a:lnTo>
                  <a:lnTo>
                    <a:pt x="351321" y="70391"/>
                  </a:lnTo>
                  <a:lnTo>
                    <a:pt x="351321" y="137611"/>
                  </a:lnTo>
                  <a:lnTo>
                    <a:pt x="129367" y="137611"/>
                  </a:lnTo>
                  <a:lnTo>
                    <a:pt x="129367" y="174392"/>
                  </a:lnTo>
                  <a:lnTo>
                    <a:pt x="34244" y="104001"/>
                  </a:lnTo>
                  <a:lnTo>
                    <a:pt x="129367" y="33610"/>
                  </a:lnTo>
                  <a:moveTo>
                    <a:pt x="129367" y="0"/>
                  </a:moveTo>
                  <a:cubicBezTo>
                    <a:pt x="122392" y="0"/>
                    <a:pt x="115416" y="2537"/>
                    <a:pt x="109075" y="6342"/>
                  </a:cubicBezTo>
                  <a:lnTo>
                    <a:pt x="13951" y="76733"/>
                  </a:lnTo>
                  <a:cubicBezTo>
                    <a:pt x="5073" y="83074"/>
                    <a:pt x="0" y="93221"/>
                    <a:pt x="0" y="104001"/>
                  </a:cubicBezTo>
                  <a:cubicBezTo>
                    <a:pt x="0" y="114782"/>
                    <a:pt x="5073" y="124928"/>
                    <a:pt x="13951" y="131270"/>
                  </a:cubicBezTo>
                  <a:lnTo>
                    <a:pt x="109075" y="201661"/>
                  </a:lnTo>
                  <a:cubicBezTo>
                    <a:pt x="114782" y="206100"/>
                    <a:pt x="121758" y="208003"/>
                    <a:pt x="129367" y="208003"/>
                  </a:cubicBezTo>
                  <a:cubicBezTo>
                    <a:pt x="134441" y="208003"/>
                    <a:pt x="139514" y="206734"/>
                    <a:pt x="144587" y="204198"/>
                  </a:cubicBezTo>
                  <a:cubicBezTo>
                    <a:pt x="156002" y="198490"/>
                    <a:pt x="162977" y="187075"/>
                    <a:pt x="162977" y="173758"/>
                  </a:cubicBezTo>
                  <a:lnTo>
                    <a:pt x="162977" y="170588"/>
                  </a:lnTo>
                  <a:lnTo>
                    <a:pt x="351321" y="170588"/>
                  </a:lnTo>
                  <a:cubicBezTo>
                    <a:pt x="369712" y="170588"/>
                    <a:pt x="384931" y="155368"/>
                    <a:pt x="384931" y="136977"/>
                  </a:cubicBezTo>
                  <a:lnTo>
                    <a:pt x="384931" y="69757"/>
                  </a:lnTo>
                  <a:cubicBezTo>
                    <a:pt x="384931" y="51367"/>
                    <a:pt x="369712" y="36147"/>
                    <a:pt x="351321" y="36147"/>
                  </a:cubicBezTo>
                  <a:lnTo>
                    <a:pt x="162977" y="36147"/>
                  </a:lnTo>
                  <a:lnTo>
                    <a:pt x="162977" y="32976"/>
                  </a:lnTo>
                  <a:cubicBezTo>
                    <a:pt x="162977" y="20293"/>
                    <a:pt x="156002" y="8244"/>
                    <a:pt x="144587" y="2537"/>
                  </a:cubicBezTo>
                  <a:cubicBezTo>
                    <a:pt x="140148" y="1268"/>
                    <a:pt x="135075" y="0"/>
                    <a:pt x="129367" y="0"/>
                  </a:cubicBezTo>
                  <a:lnTo>
                    <a:pt x="129367" y="0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62" name="Forma Livre: Forma 61">
              <a:extLst>
                <a:ext uri="{FF2B5EF4-FFF2-40B4-BE49-F238E27FC236}">
                  <a16:creationId xmlns:a16="http://schemas.microsoft.com/office/drawing/2014/main" id="{3888774A-21C0-4D6A-A9A8-B7E501D3BF40}"/>
                </a:ext>
              </a:extLst>
            </p:cNvPr>
            <p:cNvSpPr/>
            <p:nvPr/>
          </p:nvSpPr>
          <p:spPr>
            <a:xfrm>
              <a:off x="4345735" y="5759991"/>
              <a:ext cx="384931" cy="209270"/>
            </a:xfrm>
            <a:custGeom>
              <a:avLst/>
              <a:gdLst>
                <a:gd name="connsiteX0" fmla="*/ 255564 w 384931"/>
                <a:gd name="connsiteY0" fmla="*/ 33610 h 209270"/>
                <a:gd name="connsiteX1" fmla="*/ 350687 w 384931"/>
                <a:gd name="connsiteY1" fmla="*/ 104001 h 209270"/>
                <a:gd name="connsiteX2" fmla="*/ 255564 w 384931"/>
                <a:gd name="connsiteY2" fmla="*/ 174392 h 209270"/>
                <a:gd name="connsiteX3" fmla="*/ 255564 w 384931"/>
                <a:gd name="connsiteY3" fmla="*/ 137611 h 209270"/>
                <a:gd name="connsiteX4" fmla="*/ 33610 w 384931"/>
                <a:gd name="connsiteY4" fmla="*/ 137611 h 209270"/>
                <a:gd name="connsiteX5" fmla="*/ 33610 w 384931"/>
                <a:gd name="connsiteY5" fmla="*/ 70391 h 209270"/>
                <a:gd name="connsiteX6" fmla="*/ 255564 w 384931"/>
                <a:gd name="connsiteY6" fmla="*/ 70391 h 209270"/>
                <a:gd name="connsiteX7" fmla="*/ 255564 w 384931"/>
                <a:gd name="connsiteY7" fmla="*/ 33610 h 209270"/>
                <a:gd name="connsiteX8" fmla="*/ 255564 w 384931"/>
                <a:gd name="connsiteY8" fmla="*/ 0 h 209270"/>
                <a:gd name="connsiteX9" fmla="*/ 240344 w 384931"/>
                <a:gd name="connsiteY9" fmla="*/ 3805 h 209270"/>
                <a:gd name="connsiteX10" fmla="*/ 221954 w 384931"/>
                <a:gd name="connsiteY10" fmla="*/ 34244 h 209270"/>
                <a:gd name="connsiteX11" fmla="*/ 221954 w 384931"/>
                <a:gd name="connsiteY11" fmla="*/ 37415 h 209270"/>
                <a:gd name="connsiteX12" fmla="*/ 33610 w 384931"/>
                <a:gd name="connsiteY12" fmla="*/ 37415 h 209270"/>
                <a:gd name="connsiteX13" fmla="*/ 0 w 384931"/>
                <a:gd name="connsiteY13" fmla="*/ 71025 h 209270"/>
                <a:gd name="connsiteX14" fmla="*/ 0 w 384931"/>
                <a:gd name="connsiteY14" fmla="*/ 138245 h 209270"/>
                <a:gd name="connsiteX15" fmla="*/ 33610 w 384931"/>
                <a:gd name="connsiteY15" fmla="*/ 171856 h 209270"/>
                <a:gd name="connsiteX16" fmla="*/ 221954 w 384931"/>
                <a:gd name="connsiteY16" fmla="*/ 171856 h 209270"/>
                <a:gd name="connsiteX17" fmla="*/ 221954 w 384931"/>
                <a:gd name="connsiteY17" fmla="*/ 175026 h 209270"/>
                <a:gd name="connsiteX18" fmla="*/ 240344 w 384931"/>
                <a:gd name="connsiteY18" fmla="*/ 205466 h 209270"/>
                <a:gd name="connsiteX19" fmla="*/ 255564 w 384931"/>
                <a:gd name="connsiteY19" fmla="*/ 209271 h 209270"/>
                <a:gd name="connsiteX20" fmla="*/ 275857 w 384931"/>
                <a:gd name="connsiteY20" fmla="*/ 202929 h 209270"/>
                <a:gd name="connsiteX21" fmla="*/ 370980 w 384931"/>
                <a:gd name="connsiteY21" fmla="*/ 132538 h 209270"/>
                <a:gd name="connsiteX22" fmla="*/ 384931 w 384931"/>
                <a:gd name="connsiteY22" fmla="*/ 105269 h 209270"/>
                <a:gd name="connsiteX23" fmla="*/ 370980 w 384931"/>
                <a:gd name="connsiteY23" fmla="*/ 78001 h 209270"/>
                <a:gd name="connsiteX24" fmla="*/ 275857 w 384931"/>
                <a:gd name="connsiteY24" fmla="*/ 6342 h 209270"/>
                <a:gd name="connsiteX25" fmla="*/ 255564 w 384931"/>
                <a:gd name="connsiteY25" fmla="*/ 0 h 209270"/>
                <a:gd name="connsiteX26" fmla="*/ 255564 w 384931"/>
                <a:gd name="connsiteY26" fmla="*/ 0 h 209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84931" h="209270">
                  <a:moveTo>
                    <a:pt x="255564" y="33610"/>
                  </a:moveTo>
                  <a:lnTo>
                    <a:pt x="350687" y="104001"/>
                  </a:lnTo>
                  <a:lnTo>
                    <a:pt x="255564" y="174392"/>
                  </a:lnTo>
                  <a:lnTo>
                    <a:pt x="255564" y="137611"/>
                  </a:lnTo>
                  <a:lnTo>
                    <a:pt x="33610" y="137611"/>
                  </a:lnTo>
                  <a:lnTo>
                    <a:pt x="33610" y="70391"/>
                  </a:lnTo>
                  <a:lnTo>
                    <a:pt x="255564" y="70391"/>
                  </a:lnTo>
                  <a:lnTo>
                    <a:pt x="255564" y="33610"/>
                  </a:lnTo>
                  <a:moveTo>
                    <a:pt x="255564" y="0"/>
                  </a:moveTo>
                  <a:cubicBezTo>
                    <a:pt x="250491" y="0"/>
                    <a:pt x="245418" y="1268"/>
                    <a:pt x="240344" y="3805"/>
                  </a:cubicBezTo>
                  <a:cubicBezTo>
                    <a:pt x="228929" y="9512"/>
                    <a:pt x="221954" y="20927"/>
                    <a:pt x="221954" y="34244"/>
                  </a:cubicBezTo>
                  <a:lnTo>
                    <a:pt x="221954" y="37415"/>
                  </a:lnTo>
                  <a:lnTo>
                    <a:pt x="33610" y="37415"/>
                  </a:lnTo>
                  <a:cubicBezTo>
                    <a:pt x="15220" y="37415"/>
                    <a:pt x="0" y="52635"/>
                    <a:pt x="0" y="71025"/>
                  </a:cubicBezTo>
                  <a:lnTo>
                    <a:pt x="0" y="138245"/>
                  </a:lnTo>
                  <a:cubicBezTo>
                    <a:pt x="0" y="156636"/>
                    <a:pt x="15220" y="171856"/>
                    <a:pt x="33610" y="171856"/>
                  </a:cubicBezTo>
                  <a:lnTo>
                    <a:pt x="221954" y="171856"/>
                  </a:lnTo>
                  <a:lnTo>
                    <a:pt x="221954" y="175026"/>
                  </a:lnTo>
                  <a:cubicBezTo>
                    <a:pt x="221954" y="187709"/>
                    <a:pt x="228929" y="199758"/>
                    <a:pt x="240344" y="205466"/>
                  </a:cubicBezTo>
                  <a:cubicBezTo>
                    <a:pt x="245418" y="208002"/>
                    <a:pt x="250491" y="209271"/>
                    <a:pt x="255564" y="209271"/>
                  </a:cubicBezTo>
                  <a:cubicBezTo>
                    <a:pt x="262540" y="209271"/>
                    <a:pt x="269515" y="206734"/>
                    <a:pt x="275857" y="202929"/>
                  </a:cubicBezTo>
                  <a:lnTo>
                    <a:pt x="370980" y="132538"/>
                  </a:lnTo>
                  <a:cubicBezTo>
                    <a:pt x="379858" y="126197"/>
                    <a:pt x="384931" y="116050"/>
                    <a:pt x="384931" y="105269"/>
                  </a:cubicBezTo>
                  <a:cubicBezTo>
                    <a:pt x="384931" y="94489"/>
                    <a:pt x="379858" y="84342"/>
                    <a:pt x="370980" y="78001"/>
                  </a:cubicBezTo>
                  <a:lnTo>
                    <a:pt x="275857" y="6342"/>
                  </a:lnTo>
                  <a:cubicBezTo>
                    <a:pt x="270149" y="1902"/>
                    <a:pt x="263174" y="0"/>
                    <a:pt x="255564" y="0"/>
                  </a:cubicBezTo>
                  <a:lnTo>
                    <a:pt x="255564" y="0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63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4363791" y="4656743"/>
            <a:ext cx="381920" cy="426667"/>
            <a:chOff x="4344467" y="4703250"/>
            <a:chExt cx="386216" cy="431466"/>
          </a:xfrm>
          <a:solidFill>
            <a:srgbClr val="B1B1A1"/>
          </a:solidFill>
        </p:grpSpPr>
        <p:sp>
          <p:nvSpPr>
            <p:cNvPr id="64" name="Forma Livre: Forma 63">
              <a:extLst>
                <a:ext uri="{FF2B5EF4-FFF2-40B4-BE49-F238E27FC236}">
                  <a16:creationId xmlns:a16="http://schemas.microsoft.com/office/drawing/2014/main" id="{C3488CFC-DC60-416E-91E9-416BC41B852F}"/>
                </a:ext>
              </a:extLst>
            </p:cNvPr>
            <p:cNvSpPr/>
            <p:nvPr/>
          </p:nvSpPr>
          <p:spPr>
            <a:xfrm>
              <a:off x="4344467" y="4703250"/>
              <a:ext cx="386216" cy="431466"/>
            </a:xfrm>
            <a:custGeom>
              <a:avLst/>
              <a:gdLst>
                <a:gd name="connsiteX0" fmla="*/ 346882 w 386216"/>
                <a:gd name="connsiteY0" fmla="*/ 431466 h 431466"/>
                <a:gd name="connsiteX1" fmla="*/ 39952 w 386216"/>
                <a:gd name="connsiteY1" fmla="*/ 431466 h 431466"/>
                <a:gd name="connsiteX2" fmla="*/ 0 w 386216"/>
                <a:gd name="connsiteY2" fmla="*/ 391514 h 431466"/>
                <a:gd name="connsiteX3" fmla="*/ 0 w 386216"/>
                <a:gd name="connsiteY3" fmla="*/ 167658 h 431466"/>
                <a:gd name="connsiteX4" fmla="*/ 5708 w 386216"/>
                <a:gd name="connsiteY4" fmla="*/ 154975 h 431466"/>
                <a:gd name="connsiteX5" fmla="*/ 182636 w 386216"/>
                <a:gd name="connsiteY5" fmla="*/ 4046 h 431466"/>
                <a:gd name="connsiteX6" fmla="*/ 204832 w 386216"/>
                <a:gd name="connsiteY6" fmla="*/ 4046 h 431466"/>
                <a:gd name="connsiteX7" fmla="*/ 380492 w 386216"/>
                <a:gd name="connsiteY7" fmla="*/ 154975 h 431466"/>
                <a:gd name="connsiteX8" fmla="*/ 386200 w 386216"/>
                <a:gd name="connsiteY8" fmla="*/ 167658 h 431466"/>
                <a:gd name="connsiteX9" fmla="*/ 386200 w 386216"/>
                <a:gd name="connsiteY9" fmla="*/ 391514 h 431466"/>
                <a:gd name="connsiteX10" fmla="*/ 346882 w 386216"/>
                <a:gd name="connsiteY10" fmla="*/ 431466 h 431466"/>
                <a:gd name="connsiteX11" fmla="*/ 346882 w 386216"/>
                <a:gd name="connsiteY11" fmla="*/ 431466 h 431466"/>
                <a:gd name="connsiteX12" fmla="*/ 34244 w 386216"/>
                <a:gd name="connsiteY12" fmla="*/ 175902 h 431466"/>
                <a:gd name="connsiteX13" fmla="*/ 34244 w 386216"/>
                <a:gd name="connsiteY13" fmla="*/ 391514 h 431466"/>
                <a:gd name="connsiteX14" fmla="*/ 40586 w 386216"/>
                <a:gd name="connsiteY14" fmla="*/ 397856 h 431466"/>
                <a:gd name="connsiteX15" fmla="*/ 346882 w 386216"/>
                <a:gd name="connsiteY15" fmla="*/ 397856 h 431466"/>
                <a:gd name="connsiteX16" fmla="*/ 353224 w 386216"/>
                <a:gd name="connsiteY16" fmla="*/ 391514 h 431466"/>
                <a:gd name="connsiteX17" fmla="*/ 353224 w 386216"/>
                <a:gd name="connsiteY17" fmla="*/ 175902 h 431466"/>
                <a:gd name="connsiteX18" fmla="*/ 194685 w 386216"/>
                <a:gd name="connsiteY18" fmla="*/ 39559 h 431466"/>
                <a:gd name="connsiteX19" fmla="*/ 34244 w 386216"/>
                <a:gd name="connsiteY19" fmla="*/ 175902 h 431466"/>
                <a:gd name="connsiteX20" fmla="*/ 34244 w 386216"/>
                <a:gd name="connsiteY20" fmla="*/ 175902 h 431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86216" h="431466">
                  <a:moveTo>
                    <a:pt x="346882" y="431466"/>
                  </a:moveTo>
                  <a:lnTo>
                    <a:pt x="39952" y="431466"/>
                  </a:lnTo>
                  <a:cubicBezTo>
                    <a:pt x="17756" y="431466"/>
                    <a:pt x="0" y="413709"/>
                    <a:pt x="0" y="391514"/>
                  </a:cubicBezTo>
                  <a:lnTo>
                    <a:pt x="0" y="167658"/>
                  </a:lnTo>
                  <a:cubicBezTo>
                    <a:pt x="0" y="162585"/>
                    <a:pt x="1903" y="158146"/>
                    <a:pt x="5708" y="154975"/>
                  </a:cubicBezTo>
                  <a:lnTo>
                    <a:pt x="182636" y="4046"/>
                  </a:lnTo>
                  <a:cubicBezTo>
                    <a:pt x="188978" y="-1027"/>
                    <a:pt x="198490" y="-1661"/>
                    <a:pt x="204832" y="4046"/>
                  </a:cubicBezTo>
                  <a:lnTo>
                    <a:pt x="380492" y="154975"/>
                  </a:lnTo>
                  <a:cubicBezTo>
                    <a:pt x="384297" y="158146"/>
                    <a:pt x="386200" y="162585"/>
                    <a:pt x="386200" y="167658"/>
                  </a:cubicBezTo>
                  <a:lnTo>
                    <a:pt x="386200" y="391514"/>
                  </a:lnTo>
                  <a:cubicBezTo>
                    <a:pt x="386834" y="413075"/>
                    <a:pt x="369078" y="431466"/>
                    <a:pt x="346882" y="431466"/>
                  </a:cubicBezTo>
                  <a:lnTo>
                    <a:pt x="346882" y="431466"/>
                  </a:lnTo>
                  <a:close/>
                  <a:moveTo>
                    <a:pt x="34244" y="175902"/>
                  </a:moveTo>
                  <a:lnTo>
                    <a:pt x="34244" y="391514"/>
                  </a:lnTo>
                  <a:cubicBezTo>
                    <a:pt x="34244" y="394685"/>
                    <a:pt x="36781" y="397856"/>
                    <a:pt x="40586" y="397856"/>
                  </a:cubicBezTo>
                  <a:lnTo>
                    <a:pt x="346882" y="397856"/>
                  </a:lnTo>
                  <a:cubicBezTo>
                    <a:pt x="350053" y="397856"/>
                    <a:pt x="353224" y="395319"/>
                    <a:pt x="353224" y="391514"/>
                  </a:cubicBezTo>
                  <a:lnTo>
                    <a:pt x="353224" y="175902"/>
                  </a:lnTo>
                  <a:lnTo>
                    <a:pt x="194685" y="39559"/>
                  </a:lnTo>
                  <a:lnTo>
                    <a:pt x="34244" y="175902"/>
                  </a:lnTo>
                  <a:lnTo>
                    <a:pt x="34244" y="175902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65" name="Forma Livre: Forma 64">
              <a:extLst>
                <a:ext uri="{FF2B5EF4-FFF2-40B4-BE49-F238E27FC236}">
                  <a16:creationId xmlns:a16="http://schemas.microsoft.com/office/drawing/2014/main" id="{96F3A8EC-5C5C-4260-92B5-C4E368753FF0}"/>
                </a:ext>
              </a:extLst>
            </p:cNvPr>
            <p:cNvSpPr/>
            <p:nvPr/>
          </p:nvSpPr>
          <p:spPr>
            <a:xfrm>
              <a:off x="4354635" y="4937652"/>
              <a:ext cx="367650" cy="188185"/>
            </a:xfrm>
            <a:custGeom>
              <a:avLst/>
              <a:gdLst>
                <a:gd name="connsiteX0" fmla="*/ 336714 w 367650"/>
                <a:gd name="connsiteY0" fmla="*/ 188185 h 188185"/>
                <a:gd name="connsiteX1" fmla="*/ 29784 w 367650"/>
                <a:gd name="connsiteY1" fmla="*/ 188185 h 188185"/>
                <a:gd name="connsiteX2" fmla="*/ 612 w 367650"/>
                <a:gd name="connsiteY2" fmla="*/ 167892 h 188185"/>
                <a:gd name="connsiteX3" fmla="*/ 3149 w 367650"/>
                <a:gd name="connsiteY3" fmla="*/ 158380 h 188185"/>
                <a:gd name="connsiteX4" fmla="*/ 178176 w 367650"/>
                <a:gd name="connsiteY4" fmla="*/ 2378 h 188185"/>
                <a:gd name="connsiteX5" fmla="*/ 189590 w 367650"/>
                <a:gd name="connsiteY5" fmla="*/ 2378 h 188185"/>
                <a:gd name="connsiteX6" fmla="*/ 364617 w 367650"/>
                <a:gd name="connsiteY6" fmla="*/ 158380 h 188185"/>
                <a:gd name="connsiteX7" fmla="*/ 367153 w 367650"/>
                <a:gd name="connsiteY7" fmla="*/ 167892 h 188185"/>
                <a:gd name="connsiteX8" fmla="*/ 336714 w 367650"/>
                <a:gd name="connsiteY8" fmla="*/ 188185 h 188185"/>
                <a:gd name="connsiteX9" fmla="*/ 336714 w 367650"/>
                <a:gd name="connsiteY9" fmla="*/ 188185 h 188185"/>
                <a:gd name="connsiteX10" fmla="*/ 19637 w 367650"/>
                <a:gd name="connsiteY10" fmla="*/ 166624 h 188185"/>
                <a:gd name="connsiteX11" fmla="*/ 30418 w 367650"/>
                <a:gd name="connsiteY11" fmla="*/ 171063 h 188185"/>
                <a:gd name="connsiteX12" fmla="*/ 336714 w 367650"/>
                <a:gd name="connsiteY12" fmla="*/ 171063 h 188185"/>
                <a:gd name="connsiteX13" fmla="*/ 347495 w 367650"/>
                <a:gd name="connsiteY13" fmla="*/ 166624 h 188185"/>
                <a:gd name="connsiteX14" fmla="*/ 183249 w 367650"/>
                <a:gd name="connsiteY14" fmla="*/ 20134 h 188185"/>
                <a:gd name="connsiteX15" fmla="*/ 19637 w 367650"/>
                <a:gd name="connsiteY15" fmla="*/ 166624 h 188185"/>
                <a:gd name="connsiteX16" fmla="*/ 19637 w 367650"/>
                <a:gd name="connsiteY16" fmla="*/ 166624 h 188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67650" h="188185">
                  <a:moveTo>
                    <a:pt x="336714" y="188185"/>
                  </a:moveTo>
                  <a:lnTo>
                    <a:pt x="29784" y="188185"/>
                  </a:lnTo>
                  <a:cubicBezTo>
                    <a:pt x="17101" y="188185"/>
                    <a:pt x="5052" y="179941"/>
                    <a:pt x="612" y="167892"/>
                  </a:cubicBezTo>
                  <a:cubicBezTo>
                    <a:pt x="-656" y="164721"/>
                    <a:pt x="-22" y="160917"/>
                    <a:pt x="3149" y="158380"/>
                  </a:cubicBezTo>
                  <a:lnTo>
                    <a:pt x="178176" y="2378"/>
                  </a:lnTo>
                  <a:cubicBezTo>
                    <a:pt x="181346" y="-793"/>
                    <a:pt x="186419" y="-793"/>
                    <a:pt x="189590" y="2378"/>
                  </a:cubicBezTo>
                  <a:lnTo>
                    <a:pt x="364617" y="158380"/>
                  </a:lnTo>
                  <a:cubicBezTo>
                    <a:pt x="367153" y="160917"/>
                    <a:pt x="368422" y="164087"/>
                    <a:pt x="367153" y="167892"/>
                  </a:cubicBezTo>
                  <a:cubicBezTo>
                    <a:pt x="361446" y="179941"/>
                    <a:pt x="350031" y="188185"/>
                    <a:pt x="336714" y="188185"/>
                  </a:cubicBezTo>
                  <a:lnTo>
                    <a:pt x="336714" y="188185"/>
                  </a:lnTo>
                  <a:close/>
                  <a:moveTo>
                    <a:pt x="19637" y="166624"/>
                  </a:moveTo>
                  <a:cubicBezTo>
                    <a:pt x="22174" y="169794"/>
                    <a:pt x="25979" y="171063"/>
                    <a:pt x="30418" y="171063"/>
                  </a:cubicBezTo>
                  <a:lnTo>
                    <a:pt x="336714" y="171063"/>
                  </a:lnTo>
                  <a:cubicBezTo>
                    <a:pt x="341153" y="171063"/>
                    <a:pt x="344958" y="169160"/>
                    <a:pt x="347495" y="166624"/>
                  </a:cubicBezTo>
                  <a:lnTo>
                    <a:pt x="183249" y="20134"/>
                  </a:lnTo>
                  <a:lnTo>
                    <a:pt x="19637" y="166624"/>
                  </a:lnTo>
                  <a:lnTo>
                    <a:pt x="19637" y="16662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66" name="Forma Livre: Forma 65">
              <a:extLst>
                <a:ext uri="{FF2B5EF4-FFF2-40B4-BE49-F238E27FC236}">
                  <a16:creationId xmlns:a16="http://schemas.microsoft.com/office/drawing/2014/main" id="{1A6889EA-80AD-4BF6-919A-3608565B56B9}"/>
                </a:ext>
              </a:extLst>
            </p:cNvPr>
            <p:cNvSpPr/>
            <p:nvPr/>
          </p:nvSpPr>
          <p:spPr>
            <a:xfrm>
              <a:off x="4583361" y="4877701"/>
              <a:ext cx="137975" cy="124476"/>
            </a:xfrm>
            <a:custGeom>
              <a:avLst/>
              <a:gdLst>
                <a:gd name="connsiteX0" fmla="*/ 8426 w 137975"/>
                <a:gd name="connsiteY0" fmla="*/ 124476 h 124476"/>
                <a:gd name="connsiteX1" fmla="*/ 2085 w 137975"/>
                <a:gd name="connsiteY1" fmla="*/ 121940 h 124476"/>
                <a:gd name="connsiteX2" fmla="*/ 2719 w 137975"/>
                <a:gd name="connsiteY2" fmla="*/ 109891 h 124476"/>
                <a:gd name="connsiteX3" fmla="*/ 123842 w 137975"/>
                <a:gd name="connsiteY3" fmla="*/ 2085 h 124476"/>
                <a:gd name="connsiteX4" fmla="*/ 135891 w 137975"/>
                <a:gd name="connsiteY4" fmla="*/ 2719 h 124476"/>
                <a:gd name="connsiteX5" fmla="*/ 135257 w 137975"/>
                <a:gd name="connsiteY5" fmla="*/ 14768 h 124476"/>
                <a:gd name="connsiteX6" fmla="*/ 14134 w 137975"/>
                <a:gd name="connsiteY6" fmla="*/ 122574 h 124476"/>
                <a:gd name="connsiteX7" fmla="*/ 8426 w 137975"/>
                <a:gd name="connsiteY7" fmla="*/ 124476 h 124476"/>
                <a:gd name="connsiteX8" fmla="*/ 8426 w 137975"/>
                <a:gd name="connsiteY8" fmla="*/ 124476 h 12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7975" h="124476">
                  <a:moveTo>
                    <a:pt x="8426" y="124476"/>
                  </a:moveTo>
                  <a:cubicBezTo>
                    <a:pt x="5890" y="124476"/>
                    <a:pt x="3987" y="123208"/>
                    <a:pt x="2085" y="121940"/>
                  </a:cubicBezTo>
                  <a:cubicBezTo>
                    <a:pt x="-1086" y="118769"/>
                    <a:pt x="-452" y="113062"/>
                    <a:pt x="2719" y="109891"/>
                  </a:cubicBezTo>
                  <a:lnTo>
                    <a:pt x="123842" y="2085"/>
                  </a:lnTo>
                  <a:cubicBezTo>
                    <a:pt x="127013" y="-1086"/>
                    <a:pt x="132720" y="-452"/>
                    <a:pt x="135891" y="2719"/>
                  </a:cubicBezTo>
                  <a:cubicBezTo>
                    <a:pt x="139062" y="5889"/>
                    <a:pt x="138428" y="11597"/>
                    <a:pt x="135257" y="14768"/>
                  </a:cubicBezTo>
                  <a:lnTo>
                    <a:pt x="14134" y="122574"/>
                  </a:lnTo>
                  <a:cubicBezTo>
                    <a:pt x="12865" y="123842"/>
                    <a:pt x="10328" y="124476"/>
                    <a:pt x="8426" y="124476"/>
                  </a:cubicBezTo>
                  <a:lnTo>
                    <a:pt x="8426" y="124476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67" name="Forma Livre: Forma 66">
              <a:extLst>
                <a:ext uri="{FF2B5EF4-FFF2-40B4-BE49-F238E27FC236}">
                  <a16:creationId xmlns:a16="http://schemas.microsoft.com/office/drawing/2014/main" id="{3F2101D2-628B-4CB7-806B-E497CB07E61C}"/>
                </a:ext>
              </a:extLst>
            </p:cNvPr>
            <p:cNvSpPr/>
            <p:nvPr/>
          </p:nvSpPr>
          <p:spPr>
            <a:xfrm>
              <a:off x="4355065" y="4877701"/>
              <a:ext cx="138609" cy="125110"/>
            </a:xfrm>
            <a:custGeom>
              <a:avLst/>
              <a:gdLst>
                <a:gd name="connsiteX0" fmla="*/ 130184 w 138609"/>
                <a:gd name="connsiteY0" fmla="*/ 125110 h 125110"/>
                <a:gd name="connsiteX1" fmla="*/ 124476 w 138609"/>
                <a:gd name="connsiteY1" fmla="*/ 123208 h 125110"/>
                <a:gd name="connsiteX2" fmla="*/ 2719 w 138609"/>
                <a:gd name="connsiteY2" fmla="*/ 14768 h 125110"/>
                <a:gd name="connsiteX3" fmla="*/ 2085 w 138609"/>
                <a:gd name="connsiteY3" fmla="*/ 2719 h 125110"/>
                <a:gd name="connsiteX4" fmla="*/ 14134 w 138609"/>
                <a:gd name="connsiteY4" fmla="*/ 2085 h 125110"/>
                <a:gd name="connsiteX5" fmla="*/ 135891 w 138609"/>
                <a:gd name="connsiteY5" fmla="*/ 110525 h 125110"/>
                <a:gd name="connsiteX6" fmla="*/ 136525 w 138609"/>
                <a:gd name="connsiteY6" fmla="*/ 122574 h 125110"/>
                <a:gd name="connsiteX7" fmla="*/ 130184 w 138609"/>
                <a:gd name="connsiteY7" fmla="*/ 125110 h 125110"/>
                <a:gd name="connsiteX8" fmla="*/ 130184 w 138609"/>
                <a:gd name="connsiteY8" fmla="*/ 125110 h 125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8609" h="125110">
                  <a:moveTo>
                    <a:pt x="130184" y="125110"/>
                  </a:moveTo>
                  <a:cubicBezTo>
                    <a:pt x="128281" y="125110"/>
                    <a:pt x="126379" y="124476"/>
                    <a:pt x="124476" y="123208"/>
                  </a:cubicBezTo>
                  <a:lnTo>
                    <a:pt x="2719" y="14768"/>
                  </a:lnTo>
                  <a:cubicBezTo>
                    <a:pt x="-452" y="11597"/>
                    <a:pt x="-1086" y="6524"/>
                    <a:pt x="2085" y="2719"/>
                  </a:cubicBezTo>
                  <a:cubicBezTo>
                    <a:pt x="5255" y="-452"/>
                    <a:pt x="10329" y="-1086"/>
                    <a:pt x="14134" y="2085"/>
                  </a:cubicBezTo>
                  <a:lnTo>
                    <a:pt x="135891" y="110525"/>
                  </a:lnTo>
                  <a:cubicBezTo>
                    <a:pt x="139062" y="113696"/>
                    <a:pt x="139696" y="118769"/>
                    <a:pt x="136525" y="122574"/>
                  </a:cubicBezTo>
                  <a:cubicBezTo>
                    <a:pt x="134623" y="124476"/>
                    <a:pt x="132721" y="125110"/>
                    <a:pt x="130184" y="125110"/>
                  </a:cubicBezTo>
                  <a:lnTo>
                    <a:pt x="130184" y="125110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68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1295388" y="4731606"/>
            <a:ext cx="382531" cy="277178"/>
            <a:chOff x="1241553" y="4778955"/>
            <a:chExt cx="386833" cy="280296"/>
          </a:xfrm>
          <a:solidFill>
            <a:srgbClr val="B1B1A1"/>
          </a:solidFill>
        </p:grpSpPr>
        <p:sp>
          <p:nvSpPr>
            <p:cNvPr id="69" name="Forma Livre: Forma 68">
              <a:extLst>
                <a:ext uri="{FF2B5EF4-FFF2-40B4-BE49-F238E27FC236}">
                  <a16:creationId xmlns:a16="http://schemas.microsoft.com/office/drawing/2014/main" id="{F54AAA1F-1228-496D-8744-8453F2DDCBCD}"/>
                </a:ext>
              </a:extLst>
            </p:cNvPr>
            <p:cNvSpPr/>
            <p:nvPr/>
          </p:nvSpPr>
          <p:spPr>
            <a:xfrm>
              <a:off x="1241553" y="4778955"/>
              <a:ext cx="386833" cy="280296"/>
            </a:xfrm>
            <a:custGeom>
              <a:avLst/>
              <a:gdLst>
                <a:gd name="connsiteX0" fmla="*/ 346882 w 386833"/>
                <a:gd name="connsiteY0" fmla="*/ 280296 h 280296"/>
                <a:gd name="connsiteX1" fmla="*/ 39952 w 386833"/>
                <a:gd name="connsiteY1" fmla="*/ 280296 h 280296"/>
                <a:gd name="connsiteX2" fmla="*/ 0 w 386833"/>
                <a:gd name="connsiteY2" fmla="*/ 240344 h 280296"/>
                <a:gd name="connsiteX3" fmla="*/ 0 w 386833"/>
                <a:gd name="connsiteY3" fmla="*/ 39952 h 280296"/>
                <a:gd name="connsiteX4" fmla="*/ 39952 w 386833"/>
                <a:gd name="connsiteY4" fmla="*/ 0 h 280296"/>
                <a:gd name="connsiteX5" fmla="*/ 346882 w 386833"/>
                <a:gd name="connsiteY5" fmla="*/ 0 h 280296"/>
                <a:gd name="connsiteX6" fmla="*/ 386834 w 386833"/>
                <a:gd name="connsiteY6" fmla="*/ 39952 h 280296"/>
                <a:gd name="connsiteX7" fmla="*/ 386834 w 386833"/>
                <a:gd name="connsiteY7" fmla="*/ 240344 h 280296"/>
                <a:gd name="connsiteX8" fmla="*/ 346882 w 386833"/>
                <a:gd name="connsiteY8" fmla="*/ 280296 h 280296"/>
                <a:gd name="connsiteX9" fmla="*/ 346882 w 386833"/>
                <a:gd name="connsiteY9" fmla="*/ 280296 h 280296"/>
                <a:gd name="connsiteX10" fmla="*/ 39952 w 386833"/>
                <a:gd name="connsiteY10" fmla="*/ 33610 h 280296"/>
                <a:gd name="connsiteX11" fmla="*/ 33610 w 386833"/>
                <a:gd name="connsiteY11" fmla="*/ 39952 h 280296"/>
                <a:gd name="connsiteX12" fmla="*/ 33610 w 386833"/>
                <a:gd name="connsiteY12" fmla="*/ 240344 h 280296"/>
                <a:gd name="connsiteX13" fmla="*/ 39952 w 386833"/>
                <a:gd name="connsiteY13" fmla="*/ 246686 h 280296"/>
                <a:gd name="connsiteX14" fmla="*/ 346882 w 386833"/>
                <a:gd name="connsiteY14" fmla="*/ 246686 h 280296"/>
                <a:gd name="connsiteX15" fmla="*/ 353224 w 386833"/>
                <a:gd name="connsiteY15" fmla="*/ 240344 h 280296"/>
                <a:gd name="connsiteX16" fmla="*/ 353224 w 386833"/>
                <a:gd name="connsiteY16" fmla="*/ 39952 h 280296"/>
                <a:gd name="connsiteX17" fmla="*/ 346882 w 386833"/>
                <a:gd name="connsiteY17" fmla="*/ 33610 h 280296"/>
                <a:gd name="connsiteX18" fmla="*/ 39952 w 386833"/>
                <a:gd name="connsiteY18" fmla="*/ 33610 h 280296"/>
                <a:gd name="connsiteX19" fmla="*/ 39952 w 386833"/>
                <a:gd name="connsiteY19" fmla="*/ 33610 h 280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86833" h="280296">
                  <a:moveTo>
                    <a:pt x="346882" y="280296"/>
                  </a:moveTo>
                  <a:lnTo>
                    <a:pt x="39952" y="280296"/>
                  </a:lnTo>
                  <a:cubicBezTo>
                    <a:pt x="17756" y="280296"/>
                    <a:pt x="0" y="262540"/>
                    <a:pt x="0" y="240344"/>
                  </a:cubicBezTo>
                  <a:lnTo>
                    <a:pt x="0" y="39952"/>
                  </a:lnTo>
                  <a:cubicBezTo>
                    <a:pt x="0" y="17756"/>
                    <a:pt x="17756" y="0"/>
                    <a:pt x="39952" y="0"/>
                  </a:cubicBezTo>
                  <a:lnTo>
                    <a:pt x="346882" y="0"/>
                  </a:lnTo>
                  <a:cubicBezTo>
                    <a:pt x="369077" y="0"/>
                    <a:pt x="386834" y="17756"/>
                    <a:pt x="386834" y="39952"/>
                  </a:cubicBezTo>
                  <a:lnTo>
                    <a:pt x="386834" y="240344"/>
                  </a:lnTo>
                  <a:cubicBezTo>
                    <a:pt x="386200" y="262540"/>
                    <a:pt x="368443" y="280296"/>
                    <a:pt x="346882" y="280296"/>
                  </a:cubicBezTo>
                  <a:lnTo>
                    <a:pt x="346882" y="280296"/>
                  </a:lnTo>
                  <a:close/>
                  <a:moveTo>
                    <a:pt x="39952" y="33610"/>
                  </a:moveTo>
                  <a:cubicBezTo>
                    <a:pt x="36781" y="33610"/>
                    <a:pt x="33610" y="36147"/>
                    <a:pt x="33610" y="39952"/>
                  </a:cubicBezTo>
                  <a:lnTo>
                    <a:pt x="33610" y="240344"/>
                  </a:lnTo>
                  <a:cubicBezTo>
                    <a:pt x="33610" y="243515"/>
                    <a:pt x="36147" y="246686"/>
                    <a:pt x="39952" y="246686"/>
                  </a:cubicBezTo>
                  <a:lnTo>
                    <a:pt x="346882" y="246686"/>
                  </a:lnTo>
                  <a:cubicBezTo>
                    <a:pt x="350053" y="246686"/>
                    <a:pt x="353224" y="244149"/>
                    <a:pt x="353224" y="240344"/>
                  </a:cubicBezTo>
                  <a:lnTo>
                    <a:pt x="353224" y="39952"/>
                  </a:lnTo>
                  <a:cubicBezTo>
                    <a:pt x="353224" y="36781"/>
                    <a:pt x="350687" y="33610"/>
                    <a:pt x="346882" y="33610"/>
                  </a:cubicBezTo>
                  <a:lnTo>
                    <a:pt x="39952" y="33610"/>
                  </a:lnTo>
                  <a:lnTo>
                    <a:pt x="39952" y="33610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70" name="Forma Livre: Forma 69">
              <a:extLst>
                <a:ext uri="{FF2B5EF4-FFF2-40B4-BE49-F238E27FC236}">
                  <a16:creationId xmlns:a16="http://schemas.microsoft.com/office/drawing/2014/main" id="{048B4E0C-DF32-4826-A076-1FB30BA81A2A}"/>
                </a:ext>
              </a:extLst>
            </p:cNvPr>
            <p:cNvSpPr/>
            <p:nvPr/>
          </p:nvSpPr>
          <p:spPr>
            <a:xfrm>
              <a:off x="1251721" y="4911311"/>
              <a:ext cx="367016" cy="139696"/>
            </a:xfrm>
            <a:custGeom>
              <a:avLst/>
              <a:gdLst>
                <a:gd name="connsiteX0" fmla="*/ 336714 w 367016"/>
                <a:gd name="connsiteY0" fmla="*/ 139696 h 139696"/>
                <a:gd name="connsiteX1" fmla="*/ 29784 w 367016"/>
                <a:gd name="connsiteY1" fmla="*/ 139696 h 139696"/>
                <a:gd name="connsiteX2" fmla="*/ 612 w 367016"/>
                <a:gd name="connsiteY2" fmla="*/ 119403 h 139696"/>
                <a:gd name="connsiteX3" fmla="*/ 3149 w 367016"/>
                <a:gd name="connsiteY3" fmla="*/ 109891 h 139696"/>
                <a:gd name="connsiteX4" fmla="*/ 123004 w 367016"/>
                <a:gd name="connsiteY4" fmla="*/ 3353 h 139696"/>
                <a:gd name="connsiteX5" fmla="*/ 135053 w 367016"/>
                <a:gd name="connsiteY5" fmla="*/ 3987 h 139696"/>
                <a:gd name="connsiteX6" fmla="*/ 134419 w 367016"/>
                <a:gd name="connsiteY6" fmla="*/ 16036 h 139696"/>
                <a:gd name="connsiteX7" fmla="*/ 19003 w 367016"/>
                <a:gd name="connsiteY7" fmla="*/ 118135 h 139696"/>
                <a:gd name="connsiteX8" fmla="*/ 29784 w 367016"/>
                <a:gd name="connsiteY8" fmla="*/ 122574 h 139696"/>
                <a:gd name="connsiteX9" fmla="*/ 336714 w 367016"/>
                <a:gd name="connsiteY9" fmla="*/ 122574 h 139696"/>
                <a:gd name="connsiteX10" fmla="*/ 347495 w 367016"/>
                <a:gd name="connsiteY10" fmla="*/ 118135 h 139696"/>
                <a:gd name="connsiteX11" fmla="*/ 231444 w 367016"/>
                <a:gd name="connsiteY11" fmla="*/ 14768 h 139696"/>
                <a:gd name="connsiteX12" fmla="*/ 230810 w 367016"/>
                <a:gd name="connsiteY12" fmla="*/ 2719 h 139696"/>
                <a:gd name="connsiteX13" fmla="*/ 242859 w 367016"/>
                <a:gd name="connsiteY13" fmla="*/ 2085 h 139696"/>
                <a:gd name="connsiteX14" fmla="*/ 363983 w 367016"/>
                <a:gd name="connsiteY14" fmla="*/ 109891 h 139696"/>
                <a:gd name="connsiteX15" fmla="*/ 366519 w 367016"/>
                <a:gd name="connsiteY15" fmla="*/ 119403 h 139696"/>
                <a:gd name="connsiteX16" fmla="*/ 336714 w 367016"/>
                <a:gd name="connsiteY16" fmla="*/ 139696 h 139696"/>
                <a:gd name="connsiteX17" fmla="*/ 336714 w 367016"/>
                <a:gd name="connsiteY17" fmla="*/ 139696 h 139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67016" h="139696">
                  <a:moveTo>
                    <a:pt x="336714" y="139696"/>
                  </a:moveTo>
                  <a:lnTo>
                    <a:pt x="29784" y="139696"/>
                  </a:lnTo>
                  <a:cubicBezTo>
                    <a:pt x="17100" y="139696"/>
                    <a:pt x="5052" y="131452"/>
                    <a:pt x="612" y="119403"/>
                  </a:cubicBezTo>
                  <a:cubicBezTo>
                    <a:pt x="-656" y="116232"/>
                    <a:pt x="-22" y="112428"/>
                    <a:pt x="3149" y="109891"/>
                  </a:cubicBezTo>
                  <a:lnTo>
                    <a:pt x="123004" y="3353"/>
                  </a:lnTo>
                  <a:cubicBezTo>
                    <a:pt x="126175" y="182"/>
                    <a:pt x="131882" y="816"/>
                    <a:pt x="135053" y="3987"/>
                  </a:cubicBezTo>
                  <a:cubicBezTo>
                    <a:pt x="138224" y="7158"/>
                    <a:pt x="137590" y="12865"/>
                    <a:pt x="134419" y="16036"/>
                  </a:cubicBezTo>
                  <a:lnTo>
                    <a:pt x="19003" y="118135"/>
                  </a:lnTo>
                  <a:cubicBezTo>
                    <a:pt x="21540" y="121306"/>
                    <a:pt x="25344" y="122574"/>
                    <a:pt x="29784" y="122574"/>
                  </a:cubicBezTo>
                  <a:lnTo>
                    <a:pt x="336714" y="122574"/>
                  </a:lnTo>
                  <a:cubicBezTo>
                    <a:pt x="340519" y="122574"/>
                    <a:pt x="344324" y="120672"/>
                    <a:pt x="347495" y="118135"/>
                  </a:cubicBezTo>
                  <a:lnTo>
                    <a:pt x="231444" y="14768"/>
                  </a:lnTo>
                  <a:cubicBezTo>
                    <a:pt x="228274" y="11597"/>
                    <a:pt x="227639" y="6524"/>
                    <a:pt x="230810" y="2719"/>
                  </a:cubicBezTo>
                  <a:cubicBezTo>
                    <a:pt x="233981" y="-452"/>
                    <a:pt x="239054" y="-1086"/>
                    <a:pt x="242859" y="2085"/>
                  </a:cubicBezTo>
                  <a:lnTo>
                    <a:pt x="363983" y="109891"/>
                  </a:lnTo>
                  <a:cubicBezTo>
                    <a:pt x="366519" y="112428"/>
                    <a:pt x="367787" y="115598"/>
                    <a:pt x="366519" y="119403"/>
                  </a:cubicBezTo>
                  <a:cubicBezTo>
                    <a:pt x="361446" y="131452"/>
                    <a:pt x="349397" y="139696"/>
                    <a:pt x="336714" y="139696"/>
                  </a:cubicBezTo>
                  <a:lnTo>
                    <a:pt x="336714" y="139696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71" name="Forma Livre: Forma 70">
              <a:extLst>
                <a:ext uri="{FF2B5EF4-FFF2-40B4-BE49-F238E27FC236}">
                  <a16:creationId xmlns:a16="http://schemas.microsoft.com/office/drawing/2014/main" id="{DB84DACC-2B86-4CCA-A7A1-6700458BCF25}"/>
                </a:ext>
              </a:extLst>
            </p:cNvPr>
            <p:cNvSpPr/>
            <p:nvPr/>
          </p:nvSpPr>
          <p:spPr>
            <a:xfrm>
              <a:off x="1251202" y="4787199"/>
              <a:ext cx="366382" cy="187709"/>
            </a:xfrm>
            <a:custGeom>
              <a:avLst/>
              <a:gdLst>
                <a:gd name="connsiteX0" fmla="*/ 183768 w 366382"/>
                <a:gd name="connsiteY0" fmla="*/ 187710 h 187709"/>
                <a:gd name="connsiteX1" fmla="*/ 178061 w 366382"/>
                <a:gd name="connsiteY1" fmla="*/ 185807 h 187709"/>
                <a:gd name="connsiteX2" fmla="*/ 3034 w 366382"/>
                <a:gd name="connsiteY2" fmla="*/ 29805 h 187709"/>
                <a:gd name="connsiteX3" fmla="*/ 498 w 366382"/>
                <a:gd name="connsiteY3" fmla="*/ 20293 h 187709"/>
                <a:gd name="connsiteX4" fmla="*/ 29669 w 366382"/>
                <a:gd name="connsiteY4" fmla="*/ 0 h 187709"/>
                <a:gd name="connsiteX5" fmla="*/ 336599 w 366382"/>
                <a:gd name="connsiteY5" fmla="*/ 0 h 187709"/>
                <a:gd name="connsiteX6" fmla="*/ 365770 w 366382"/>
                <a:gd name="connsiteY6" fmla="*/ 20293 h 187709"/>
                <a:gd name="connsiteX7" fmla="*/ 363233 w 366382"/>
                <a:gd name="connsiteY7" fmla="*/ 29805 h 187709"/>
                <a:gd name="connsiteX8" fmla="*/ 188207 w 366382"/>
                <a:gd name="connsiteY8" fmla="*/ 185807 h 187709"/>
                <a:gd name="connsiteX9" fmla="*/ 183768 w 366382"/>
                <a:gd name="connsiteY9" fmla="*/ 187710 h 187709"/>
                <a:gd name="connsiteX10" fmla="*/ 183768 w 366382"/>
                <a:gd name="connsiteY10" fmla="*/ 187710 h 187709"/>
                <a:gd name="connsiteX11" fmla="*/ 19522 w 366382"/>
                <a:gd name="connsiteY11" fmla="*/ 21561 h 187709"/>
                <a:gd name="connsiteX12" fmla="*/ 183768 w 366382"/>
                <a:gd name="connsiteY12" fmla="*/ 168051 h 187709"/>
                <a:gd name="connsiteX13" fmla="*/ 347380 w 366382"/>
                <a:gd name="connsiteY13" fmla="*/ 21561 h 187709"/>
                <a:gd name="connsiteX14" fmla="*/ 336599 w 366382"/>
                <a:gd name="connsiteY14" fmla="*/ 17122 h 187709"/>
                <a:gd name="connsiteX15" fmla="*/ 30303 w 366382"/>
                <a:gd name="connsiteY15" fmla="*/ 17122 h 187709"/>
                <a:gd name="connsiteX16" fmla="*/ 19522 w 366382"/>
                <a:gd name="connsiteY16" fmla="*/ 21561 h 187709"/>
                <a:gd name="connsiteX17" fmla="*/ 19522 w 366382"/>
                <a:gd name="connsiteY17" fmla="*/ 21561 h 187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66382" h="187709">
                  <a:moveTo>
                    <a:pt x="183768" y="187710"/>
                  </a:moveTo>
                  <a:cubicBezTo>
                    <a:pt x="181866" y="187710"/>
                    <a:pt x="179963" y="187075"/>
                    <a:pt x="178061" y="185807"/>
                  </a:cubicBezTo>
                  <a:lnTo>
                    <a:pt x="3034" y="29805"/>
                  </a:lnTo>
                  <a:cubicBezTo>
                    <a:pt x="498" y="27269"/>
                    <a:pt x="-771" y="24098"/>
                    <a:pt x="498" y="20293"/>
                  </a:cubicBezTo>
                  <a:cubicBezTo>
                    <a:pt x="4937" y="8244"/>
                    <a:pt x="16986" y="0"/>
                    <a:pt x="29669" y="0"/>
                  </a:cubicBezTo>
                  <a:lnTo>
                    <a:pt x="336599" y="0"/>
                  </a:lnTo>
                  <a:cubicBezTo>
                    <a:pt x="349282" y="0"/>
                    <a:pt x="361331" y="8244"/>
                    <a:pt x="365770" y="20293"/>
                  </a:cubicBezTo>
                  <a:cubicBezTo>
                    <a:pt x="367038" y="23464"/>
                    <a:pt x="366404" y="27269"/>
                    <a:pt x="363233" y="29805"/>
                  </a:cubicBezTo>
                  <a:lnTo>
                    <a:pt x="188207" y="185807"/>
                  </a:lnTo>
                  <a:cubicBezTo>
                    <a:pt x="187573" y="187075"/>
                    <a:pt x="185670" y="187710"/>
                    <a:pt x="183768" y="187710"/>
                  </a:cubicBezTo>
                  <a:lnTo>
                    <a:pt x="183768" y="187710"/>
                  </a:lnTo>
                  <a:close/>
                  <a:moveTo>
                    <a:pt x="19522" y="21561"/>
                  </a:moveTo>
                  <a:lnTo>
                    <a:pt x="183768" y="168051"/>
                  </a:lnTo>
                  <a:lnTo>
                    <a:pt x="347380" y="21561"/>
                  </a:lnTo>
                  <a:cubicBezTo>
                    <a:pt x="344843" y="18391"/>
                    <a:pt x="341038" y="17122"/>
                    <a:pt x="336599" y="17122"/>
                  </a:cubicBezTo>
                  <a:lnTo>
                    <a:pt x="30303" y="17122"/>
                  </a:lnTo>
                  <a:cubicBezTo>
                    <a:pt x="26498" y="17122"/>
                    <a:pt x="22059" y="19025"/>
                    <a:pt x="19522" y="21561"/>
                  </a:cubicBezTo>
                  <a:lnTo>
                    <a:pt x="19522" y="21561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72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7433447" y="4657369"/>
            <a:ext cx="383158" cy="426040"/>
            <a:chOff x="7448649" y="4703883"/>
            <a:chExt cx="387468" cy="430832"/>
          </a:xfrm>
          <a:solidFill>
            <a:srgbClr val="B1B1A1"/>
          </a:solidFill>
        </p:grpSpPr>
        <p:sp>
          <p:nvSpPr>
            <p:cNvPr id="73" name="Forma Livre: Forma 72">
              <a:extLst>
                <a:ext uri="{FF2B5EF4-FFF2-40B4-BE49-F238E27FC236}">
                  <a16:creationId xmlns:a16="http://schemas.microsoft.com/office/drawing/2014/main" id="{DF156248-ADBE-49BD-BF1B-3BA981F4D34D}"/>
                </a:ext>
              </a:extLst>
            </p:cNvPr>
            <p:cNvSpPr/>
            <p:nvPr/>
          </p:nvSpPr>
          <p:spPr>
            <a:xfrm>
              <a:off x="7556710" y="4703883"/>
              <a:ext cx="175944" cy="68730"/>
            </a:xfrm>
            <a:custGeom>
              <a:avLst/>
              <a:gdLst>
                <a:gd name="connsiteX0" fmla="*/ 33990 w 175944"/>
                <a:gd name="connsiteY0" fmla="*/ 68731 h 68730"/>
                <a:gd name="connsiteX1" fmla="*/ 20039 w 175944"/>
                <a:gd name="connsiteY1" fmla="*/ 61121 h 68730"/>
                <a:gd name="connsiteX2" fmla="*/ 1648 w 175944"/>
                <a:gd name="connsiteY2" fmla="*/ 53511 h 68730"/>
                <a:gd name="connsiteX3" fmla="*/ 76478 w 175944"/>
                <a:gd name="connsiteY3" fmla="*/ 2779 h 68730"/>
                <a:gd name="connsiteX4" fmla="*/ 96137 w 175944"/>
                <a:gd name="connsiteY4" fmla="*/ 3413 h 68730"/>
                <a:gd name="connsiteX5" fmla="*/ 174772 w 175944"/>
                <a:gd name="connsiteY5" fmla="*/ 61755 h 68730"/>
                <a:gd name="connsiteX6" fmla="*/ 144967 w 175944"/>
                <a:gd name="connsiteY6" fmla="*/ 61755 h 68730"/>
                <a:gd name="connsiteX7" fmla="*/ 121503 w 175944"/>
                <a:gd name="connsiteY7" fmla="*/ 64926 h 68730"/>
                <a:gd name="connsiteX8" fmla="*/ 85356 w 175944"/>
                <a:gd name="connsiteY8" fmla="*/ 37658 h 68730"/>
                <a:gd name="connsiteX9" fmla="*/ 43502 w 175944"/>
                <a:gd name="connsiteY9" fmla="*/ 66195 h 68730"/>
                <a:gd name="connsiteX10" fmla="*/ 33990 w 175944"/>
                <a:gd name="connsiteY10" fmla="*/ 68731 h 68730"/>
                <a:gd name="connsiteX11" fmla="*/ 33990 w 175944"/>
                <a:gd name="connsiteY11" fmla="*/ 68731 h 68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75944" h="68730">
                  <a:moveTo>
                    <a:pt x="33990" y="68731"/>
                  </a:moveTo>
                  <a:cubicBezTo>
                    <a:pt x="28283" y="68731"/>
                    <a:pt x="23209" y="66195"/>
                    <a:pt x="20039" y="61121"/>
                  </a:cubicBezTo>
                  <a:cubicBezTo>
                    <a:pt x="14965" y="53511"/>
                    <a:pt x="-5962" y="58585"/>
                    <a:pt x="1648" y="53511"/>
                  </a:cubicBezTo>
                  <a:lnTo>
                    <a:pt x="76478" y="2779"/>
                  </a:lnTo>
                  <a:cubicBezTo>
                    <a:pt x="82186" y="-1026"/>
                    <a:pt x="90429" y="-1026"/>
                    <a:pt x="96137" y="3413"/>
                  </a:cubicBezTo>
                  <a:lnTo>
                    <a:pt x="174772" y="61755"/>
                  </a:lnTo>
                  <a:cubicBezTo>
                    <a:pt x="182382" y="67463"/>
                    <a:pt x="150674" y="54145"/>
                    <a:pt x="144967" y="61755"/>
                  </a:cubicBezTo>
                  <a:cubicBezTo>
                    <a:pt x="139259" y="69365"/>
                    <a:pt x="129113" y="70633"/>
                    <a:pt x="121503" y="64926"/>
                  </a:cubicBezTo>
                  <a:lnTo>
                    <a:pt x="85356" y="37658"/>
                  </a:lnTo>
                  <a:lnTo>
                    <a:pt x="43502" y="66195"/>
                  </a:lnTo>
                  <a:cubicBezTo>
                    <a:pt x="40966" y="67463"/>
                    <a:pt x="37795" y="68731"/>
                    <a:pt x="33990" y="68731"/>
                  </a:cubicBezTo>
                  <a:lnTo>
                    <a:pt x="33990" y="68731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74" name="Forma Livre: Forma 73">
              <a:extLst>
                <a:ext uri="{FF2B5EF4-FFF2-40B4-BE49-F238E27FC236}">
                  <a16:creationId xmlns:a16="http://schemas.microsoft.com/office/drawing/2014/main" id="{BE6729AF-B65D-4353-87F5-9639EDBE5384}"/>
                </a:ext>
              </a:extLst>
            </p:cNvPr>
            <p:cNvSpPr/>
            <p:nvPr/>
          </p:nvSpPr>
          <p:spPr>
            <a:xfrm>
              <a:off x="7448649" y="4813324"/>
              <a:ext cx="387468" cy="321391"/>
            </a:xfrm>
            <a:custGeom>
              <a:avLst/>
              <a:gdLst>
                <a:gd name="connsiteX0" fmla="*/ 346882 w 387468"/>
                <a:gd name="connsiteY0" fmla="*/ 321391 h 321391"/>
                <a:gd name="connsiteX1" fmla="*/ 39952 w 387468"/>
                <a:gd name="connsiteY1" fmla="*/ 321391 h 321391"/>
                <a:gd name="connsiteX2" fmla="*/ 0 w 387468"/>
                <a:gd name="connsiteY2" fmla="*/ 281439 h 321391"/>
                <a:gd name="connsiteX3" fmla="*/ 0 w 387468"/>
                <a:gd name="connsiteY3" fmla="*/ 57583 h 321391"/>
                <a:gd name="connsiteX4" fmla="*/ 5708 w 387468"/>
                <a:gd name="connsiteY4" fmla="*/ 44900 h 321391"/>
                <a:gd name="connsiteX5" fmla="*/ 57708 w 387468"/>
                <a:gd name="connsiteY5" fmla="*/ 1144 h 321391"/>
                <a:gd name="connsiteX6" fmla="*/ 61513 w 387468"/>
                <a:gd name="connsiteY6" fmla="*/ 20168 h 321391"/>
                <a:gd name="connsiteX7" fmla="*/ 59611 w 387468"/>
                <a:gd name="connsiteY7" fmla="*/ 44266 h 321391"/>
                <a:gd name="connsiteX8" fmla="*/ 33610 w 387468"/>
                <a:gd name="connsiteY8" fmla="*/ 66461 h 321391"/>
                <a:gd name="connsiteX9" fmla="*/ 33610 w 387468"/>
                <a:gd name="connsiteY9" fmla="*/ 282074 h 321391"/>
                <a:gd name="connsiteX10" fmla="*/ 39952 w 387468"/>
                <a:gd name="connsiteY10" fmla="*/ 288415 h 321391"/>
                <a:gd name="connsiteX11" fmla="*/ 346882 w 387468"/>
                <a:gd name="connsiteY11" fmla="*/ 288415 h 321391"/>
                <a:gd name="connsiteX12" fmla="*/ 353224 w 387468"/>
                <a:gd name="connsiteY12" fmla="*/ 282074 h 321391"/>
                <a:gd name="connsiteX13" fmla="*/ 353224 w 387468"/>
                <a:gd name="connsiteY13" fmla="*/ 66461 h 321391"/>
                <a:gd name="connsiteX14" fmla="*/ 327224 w 387468"/>
                <a:gd name="connsiteY14" fmla="*/ 44900 h 321391"/>
                <a:gd name="connsiteX15" fmla="*/ 325321 w 387468"/>
                <a:gd name="connsiteY15" fmla="*/ 20802 h 321391"/>
                <a:gd name="connsiteX16" fmla="*/ 333565 w 387468"/>
                <a:gd name="connsiteY16" fmla="*/ 4314 h 321391"/>
                <a:gd name="connsiteX17" fmla="*/ 381127 w 387468"/>
                <a:gd name="connsiteY17" fmla="*/ 44900 h 321391"/>
                <a:gd name="connsiteX18" fmla="*/ 387468 w 387468"/>
                <a:gd name="connsiteY18" fmla="*/ 57583 h 321391"/>
                <a:gd name="connsiteX19" fmla="*/ 387468 w 387468"/>
                <a:gd name="connsiteY19" fmla="*/ 281439 h 321391"/>
                <a:gd name="connsiteX20" fmla="*/ 346882 w 387468"/>
                <a:gd name="connsiteY20" fmla="*/ 321391 h 321391"/>
                <a:gd name="connsiteX21" fmla="*/ 346882 w 387468"/>
                <a:gd name="connsiteY21" fmla="*/ 321391 h 321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7468" h="321391">
                  <a:moveTo>
                    <a:pt x="346882" y="321391"/>
                  </a:moveTo>
                  <a:lnTo>
                    <a:pt x="39952" y="321391"/>
                  </a:lnTo>
                  <a:cubicBezTo>
                    <a:pt x="17756" y="321391"/>
                    <a:pt x="0" y="303635"/>
                    <a:pt x="0" y="281439"/>
                  </a:cubicBezTo>
                  <a:lnTo>
                    <a:pt x="0" y="57583"/>
                  </a:lnTo>
                  <a:cubicBezTo>
                    <a:pt x="0" y="52510"/>
                    <a:pt x="1902" y="48071"/>
                    <a:pt x="5708" y="44900"/>
                  </a:cubicBezTo>
                  <a:lnTo>
                    <a:pt x="57708" y="1144"/>
                  </a:lnTo>
                  <a:cubicBezTo>
                    <a:pt x="64684" y="-4564"/>
                    <a:pt x="55171" y="12558"/>
                    <a:pt x="61513" y="20168"/>
                  </a:cubicBezTo>
                  <a:cubicBezTo>
                    <a:pt x="67855" y="27144"/>
                    <a:pt x="66586" y="37924"/>
                    <a:pt x="59611" y="44266"/>
                  </a:cubicBezTo>
                  <a:lnTo>
                    <a:pt x="33610" y="66461"/>
                  </a:lnTo>
                  <a:lnTo>
                    <a:pt x="33610" y="282074"/>
                  </a:lnTo>
                  <a:cubicBezTo>
                    <a:pt x="33610" y="285244"/>
                    <a:pt x="36147" y="288415"/>
                    <a:pt x="39952" y="288415"/>
                  </a:cubicBezTo>
                  <a:lnTo>
                    <a:pt x="346882" y="288415"/>
                  </a:lnTo>
                  <a:cubicBezTo>
                    <a:pt x="350053" y="288415"/>
                    <a:pt x="353224" y="285878"/>
                    <a:pt x="353224" y="282074"/>
                  </a:cubicBezTo>
                  <a:lnTo>
                    <a:pt x="353224" y="66461"/>
                  </a:lnTo>
                  <a:lnTo>
                    <a:pt x="327224" y="44900"/>
                  </a:lnTo>
                  <a:cubicBezTo>
                    <a:pt x="320248" y="39193"/>
                    <a:pt x="318979" y="28412"/>
                    <a:pt x="325321" y="20802"/>
                  </a:cubicBezTo>
                  <a:cubicBezTo>
                    <a:pt x="331028" y="13827"/>
                    <a:pt x="325955" y="-1393"/>
                    <a:pt x="333565" y="4314"/>
                  </a:cubicBezTo>
                  <a:lnTo>
                    <a:pt x="381127" y="44900"/>
                  </a:lnTo>
                  <a:cubicBezTo>
                    <a:pt x="384931" y="48071"/>
                    <a:pt x="387468" y="53144"/>
                    <a:pt x="387468" y="57583"/>
                  </a:cubicBezTo>
                  <a:lnTo>
                    <a:pt x="387468" y="281439"/>
                  </a:lnTo>
                  <a:cubicBezTo>
                    <a:pt x="386834" y="303001"/>
                    <a:pt x="369078" y="321391"/>
                    <a:pt x="346882" y="321391"/>
                  </a:cubicBezTo>
                  <a:lnTo>
                    <a:pt x="346882" y="321391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75" name="Forma Livre: Forma 74">
              <a:extLst>
                <a:ext uri="{FF2B5EF4-FFF2-40B4-BE49-F238E27FC236}">
                  <a16:creationId xmlns:a16="http://schemas.microsoft.com/office/drawing/2014/main" id="{8225B29C-3FC8-483C-B770-16F147E32538}"/>
                </a:ext>
              </a:extLst>
            </p:cNvPr>
            <p:cNvSpPr/>
            <p:nvPr/>
          </p:nvSpPr>
          <p:spPr>
            <a:xfrm>
              <a:off x="7458817" y="4937652"/>
              <a:ext cx="367650" cy="188185"/>
            </a:xfrm>
            <a:custGeom>
              <a:avLst/>
              <a:gdLst>
                <a:gd name="connsiteX0" fmla="*/ 336714 w 367650"/>
                <a:gd name="connsiteY0" fmla="*/ 188185 h 188185"/>
                <a:gd name="connsiteX1" fmla="*/ 29783 w 367650"/>
                <a:gd name="connsiteY1" fmla="*/ 188185 h 188185"/>
                <a:gd name="connsiteX2" fmla="*/ 612 w 367650"/>
                <a:gd name="connsiteY2" fmla="*/ 167892 h 188185"/>
                <a:gd name="connsiteX3" fmla="*/ 3149 w 367650"/>
                <a:gd name="connsiteY3" fmla="*/ 158380 h 188185"/>
                <a:gd name="connsiteX4" fmla="*/ 178175 w 367650"/>
                <a:gd name="connsiteY4" fmla="*/ 2378 h 188185"/>
                <a:gd name="connsiteX5" fmla="*/ 189590 w 367650"/>
                <a:gd name="connsiteY5" fmla="*/ 2378 h 188185"/>
                <a:gd name="connsiteX6" fmla="*/ 364617 w 367650"/>
                <a:gd name="connsiteY6" fmla="*/ 158380 h 188185"/>
                <a:gd name="connsiteX7" fmla="*/ 367154 w 367650"/>
                <a:gd name="connsiteY7" fmla="*/ 167892 h 188185"/>
                <a:gd name="connsiteX8" fmla="*/ 336714 w 367650"/>
                <a:gd name="connsiteY8" fmla="*/ 188185 h 188185"/>
                <a:gd name="connsiteX9" fmla="*/ 336714 w 367650"/>
                <a:gd name="connsiteY9" fmla="*/ 188185 h 188185"/>
                <a:gd name="connsiteX10" fmla="*/ 19637 w 367650"/>
                <a:gd name="connsiteY10" fmla="*/ 166624 h 188185"/>
                <a:gd name="connsiteX11" fmla="*/ 30418 w 367650"/>
                <a:gd name="connsiteY11" fmla="*/ 171063 h 188185"/>
                <a:gd name="connsiteX12" fmla="*/ 337348 w 367650"/>
                <a:gd name="connsiteY12" fmla="*/ 171063 h 188185"/>
                <a:gd name="connsiteX13" fmla="*/ 348129 w 367650"/>
                <a:gd name="connsiteY13" fmla="*/ 166624 h 188185"/>
                <a:gd name="connsiteX14" fmla="*/ 183883 w 367650"/>
                <a:gd name="connsiteY14" fmla="*/ 20134 h 188185"/>
                <a:gd name="connsiteX15" fmla="*/ 19637 w 367650"/>
                <a:gd name="connsiteY15" fmla="*/ 166624 h 188185"/>
                <a:gd name="connsiteX16" fmla="*/ 19637 w 367650"/>
                <a:gd name="connsiteY16" fmla="*/ 166624 h 188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67650" h="188185">
                  <a:moveTo>
                    <a:pt x="336714" y="188185"/>
                  </a:moveTo>
                  <a:lnTo>
                    <a:pt x="29783" y="188185"/>
                  </a:lnTo>
                  <a:cubicBezTo>
                    <a:pt x="17100" y="188185"/>
                    <a:pt x="5052" y="179941"/>
                    <a:pt x="612" y="167892"/>
                  </a:cubicBezTo>
                  <a:cubicBezTo>
                    <a:pt x="-656" y="164721"/>
                    <a:pt x="-22" y="160917"/>
                    <a:pt x="3149" y="158380"/>
                  </a:cubicBezTo>
                  <a:lnTo>
                    <a:pt x="178175" y="2378"/>
                  </a:lnTo>
                  <a:cubicBezTo>
                    <a:pt x="181346" y="-793"/>
                    <a:pt x="186419" y="-793"/>
                    <a:pt x="189590" y="2378"/>
                  </a:cubicBezTo>
                  <a:lnTo>
                    <a:pt x="364617" y="158380"/>
                  </a:lnTo>
                  <a:cubicBezTo>
                    <a:pt x="367154" y="160917"/>
                    <a:pt x="368422" y="164087"/>
                    <a:pt x="367154" y="167892"/>
                  </a:cubicBezTo>
                  <a:cubicBezTo>
                    <a:pt x="361446" y="179941"/>
                    <a:pt x="349397" y="188185"/>
                    <a:pt x="336714" y="188185"/>
                  </a:cubicBezTo>
                  <a:lnTo>
                    <a:pt x="336714" y="188185"/>
                  </a:lnTo>
                  <a:close/>
                  <a:moveTo>
                    <a:pt x="19637" y="166624"/>
                  </a:moveTo>
                  <a:cubicBezTo>
                    <a:pt x="22174" y="169794"/>
                    <a:pt x="25979" y="171063"/>
                    <a:pt x="30418" y="171063"/>
                  </a:cubicBezTo>
                  <a:lnTo>
                    <a:pt x="337348" y="171063"/>
                  </a:lnTo>
                  <a:cubicBezTo>
                    <a:pt x="341153" y="171063"/>
                    <a:pt x="344958" y="169160"/>
                    <a:pt x="348129" y="166624"/>
                  </a:cubicBezTo>
                  <a:lnTo>
                    <a:pt x="183883" y="20134"/>
                  </a:lnTo>
                  <a:lnTo>
                    <a:pt x="19637" y="166624"/>
                  </a:lnTo>
                  <a:lnTo>
                    <a:pt x="19637" y="16662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76" name="Gráfico 2">
              <a:extLst>
                <a:ext uri="{FF2B5EF4-FFF2-40B4-BE49-F238E27FC236}">
                  <a16:creationId xmlns:a16="http://schemas.microsoft.com/office/drawing/2014/main" id="{DC80C217-93B8-4831-A8BE-0817F1F32ECF}"/>
                </a:ext>
              </a:extLst>
            </p:cNvPr>
            <p:cNvGrpSpPr/>
            <p:nvPr/>
          </p:nvGrpSpPr>
          <p:grpSpPr>
            <a:xfrm>
              <a:off x="7459248" y="4877701"/>
              <a:ext cx="366271" cy="125110"/>
              <a:chOff x="7459248" y="4877701"/>
              <a:chExt cx="366271" cy="125110"/>
            </a:xfrm>
            <a:grpFill/>
          </p:grpSpPr>
          <p:sp>
            <p:nvSpPr>
              <p:cNvPr id="77" name="Forma Livre: Forma 76">
                <a:extLst>
                  <a:ext uri="{FF2B5EF4-FFF2-40B4-BE49-F238E27FC236}">
                    <a16:creationId xmlns:a16="http://schemas.microsoft.com/office/drawing/2014/main" id="{2835A1BE-CBF9-477A-9E52-E27350578436}"/>
                  </a:ext>
                </a:extLst>
              </p:cNvPr>
              <p:cNvSpPr/>
              <p:nvPr/>
            </p:nvSpPr>
            <p:spPr>
              <a:xfrm>
                <a:off x="7687543" y="4877701"/>
                <a:ext cx="137975" cy="124476"/>
              </a:xfrm>
              <a:custGeom>
                <a:avLst/>
                <a:gdLst>
                  <a:gd name="connsiteX0" fmla="*/ 8426 w 137975"/>
                  <a:gd name="connsiteY0" fmla="*/ 124476 h 124476"/>
                  <a:gd name="connsiteX1" fmla="*/ 2085 w 137975"/>
                  <a:gd name="connsiteY1" fmla="*/ 121940 h 124476"/>
                  <a:gd name="connsiteX2" fmla="*/ 2719 w 137975"/>
                  <a:gd name="connsiteY2" fmla="*/ 109891 h 124476"/>
                  <a:gd name="connsiteX3" fmla="*/ 123842 w 137975"/>
                  <a:gd name="connsiteY3" fmla="*/ 2085 h 124476"/>
                  <a:gd name="connsiteX4" fmla="*/ 135891 w 137975"/>
                  <a:gd name="connsiteY4" fmla="*/ 2719 h 124476"/>
                  <a:gd name="connsiteX5" fmla="*/ 135257 w 137975"/>
                  <a:gd name="connsiteY5" fmla="*/ 14768 h 124476"/>
                  <a:gd name="connsiteX6" fmla="*/ 14134 w 137975"/>
                  <a:gd name="connsiteY6" fmla="*/ 122574 h 124476"/>
                  <a:gd name="connsiteX7" fmla="*/ 8426 w 137975"/>
                  <a:gd name="connsiteY7" fmla="*/ 124476 h 124476"/>
                  <a:gd name="connsiteX8" fmla="*/ 8426 w 137975"/>
                  <a:gd name="connsiteY8" fmla="*/ 124476 h 124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7975" h="124476">
                    <a:moveTo>
                      <a:pt x="8426" y="124476"/>
                    </a:moveTo>
                    <a:cubicBezTo>
                      <a:pt x="5890" y="124476"/>
                      <a:pt x="3987" y="123208"/>
                      <a:pt x="2085" y="121940"/>
                    </a:cubicBezTo>
                    <a:cubicBezTo>
                      <a:pt x="-1086" y="118769"/>
                      <a:pt x="-452" y="113062"/>
                      <a:pt x="2719" y="109891"/>
                    </a:cubicBezTo>
                    <a:lnTo>
                      <a:pt x="123842" y="2085"/>
                    </a:lnTo>
                    <a:cubicBezTo>
                      <a:pt x="127647" y="-1086"/>
                      <a:pt x="132720" y="-452"/>
                      <a:pt x="135891" y="2719"/>
                    </a:cubicBezTo>
                    <a:cubicBezTo>
                      <a:pt x="139062" y="5889"/>
                      <a:pt x="138428" y="11597"/>
                      <a:pt x="135257" y="14768"/>
                    </a:cubicBezTo>
                    <a:lnTo>
                      <a:pt x="14134" y="122574"/>
                    </a:lnTo>
                    <a:cubicBezTo>
                      <a:pt x="12231" y="123842"/>
                      <a:pt x="10328" y="124476"/>
                      <a:pt x="8426" y="124476"/>
                    </a:cubicBezTo>
                    <a:lnTo>
                      <a:pt x="8426" y="124476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78" name="Forma Livre: Forma 77">
                <a:extLst>
                  <a:ext uri="{FF2B5EF4-FFF2-40B4-BE49-F238E27FC236}">
                    <a16:creationId xmlns:a16="http://schemas.microsoft.com/office/drawing/2014/main" id="{535FFE58-3B04-489E-BEBE-F52BC436657A}"/>
                  </a:ext>
                </a:extLst>
              </p:cNvPr>
              <p:cNvSpPr/>
              <p:nvPr/>
            </p:nvSpPr>
            <p:spPr>
              <a:xfrm>
                <a:off x="7459248" y="4877701"/>
                <a:ext cx="138609" cy="125110"/>
              </a:xfrm>
              <a:custGeom>
                <a:avLst/>
                <a:gdLst>
                  <a:gd name="connsiteX0" fmla="*/ 130184 w 138609"/>
                  <a:gd name="connsiteY0" fmla="*/ 125110 h 125110"/>
                  <a:gd name="connsiteX1" fmla="*/ 124476 w 138609"/>
                  <a:gd name="connsiteY1" fmla="*/ 123208 h 125110"/>
                  <a:gd name="connsiteX2" fmla="*/ 2719 w 138609"/>
                  <a:gd name="connsiteY2" fmla="*/ 14768 h 125110"/>
                  <a:gd name="connsiteX3" fmla="*/ 2085 w 138609"/>
                  <a:gd name="connsiteY3" fmla="*/ 2719 h 125110"/>
                  <a:gd name="connsiteX4" fmla="*/ 14134 w 138609"/>
                  <a:gd name="connsiteY4" fmla="*/ 2085 h 125110"/>
                  <a:gd name="connsiteX5" fmla="*/ 135891 w 138609"/>
                  <a:gd name="connsiteY5" fmla="*/ 110525 h 125110"/>
                  <a:gd name="connsiteX6" fmla="*/ 136525 w 138609"/>
                  <a:gd name="connsiteY6" fmla="*/ 122574 h 125110"/>
                  <a:gd name="connsiteX7" fmla="*/ 130184 w 138609"/>
                  <a:gd name="connsiteY7" fmla="*/ 125110 h 125110"/>
                  <a:gd name="connsiteX8" fmla="*/ 130184 w 138609"/>
                  <a:gd name="connsiteY8" fmla="*/ 125110 h 1251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8609" h="125110">
                    <a:moveTo>
                      <a:pt x="130184" y="125110"/>
                    </a:moveTo>
                    <a:cubicBezTo>
                      <a:pt x="128281" y="125110"/>
                      <a:pt x="126379" y="124476"/>
                      <a:pt x="124476" y="123208"/>
                    </a:cubicBezTo>
                    <a:lnTo>
                      <a:pt x="2719" y="14768"/>
                    </a:lnTo>
                    <a:cubicBezTo>
                      <a:pt x="-452" y="11597"/>
                      <a:pt x="-1086" y="6524"/>
                      <a:pt x="2085" y="2719"/>
                    </a:cubicBezTo>
                    <a:cubicBezTo>
                      <a:pt x="5255" y="-452"/>
                      <a:pt x="10328" y="-1086"/>
                      <a:pt x="14134" y="2085"/>
                    </a:cubicBezTo>
                    <a:lnTo>
                      <a:pt x="135891" y="110525"/>
                    </a:lnTo>
                    <a:cubicBezTo>
                      <a:pt x="139062" y="113696"/>
                      <a:pt x="139696" y="118769"/>
                      <a:pt x="136525" y="122574"/>
                    </a:cubicBezTo>
                    <a:cubicBezTo>
                      <a:pt x="134623" y="124476"/>
                      <a:pt x="132086" y="125110"/>
                      <a:pt x="130184" y="125110"/>
                    </a:cubicBezTo>
                    <a:lnTo>
                      <a:pt x="130184" y="125110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79" name="Forma Livre: Forma 78">
              <a:extLst>
                <a:ext uri="{FF2B5EF4-FFF2-40B4-BE49-F238E27FC236}">
                  <a16:creationId xmlns:a16="http://schemas.microsoft.com/office/drawing/2014/main" id="{8FA01C49-AB3F-41B0-B3BC-7E612489707F}"/>
                </a:ext>
              </a:extLst>
            </p:cNvPr>
            <p:cNvSpPr/>
            <p:nvPr/>
          </p:nvSpPr>
          <p:spPr>
            <a:xfrm>
              <a:off x="7498113" y="4756760"/>
              <a:ext cx="288539" cy="171221"/>
            </a:xfrm>
            <a:custGeom>
              <a:avLst/>
              <a:gdLst>
                <a:gd name="connsiteX0" fmla="*/ 280296 w 288539"/>
                <a:gd name="connsiteY0" fmla="*/ 171222 h 171221"/>
                <a:gd name="connsiteX1" fmla="*/ 272052 w 288539"/>
                <a:gd name="connsiteY1" fmla="*/ 162978 h 171221"/>
                <a:gd name="connsiteX2" fmla="*/ 272052 w 288539"/>
                <a:gd name="connsiteY2" fmla="*/ 16488 h 171221"/>
                <a:gd name="connsiteX3" fmla="*/ 16488 w 288539"/>
                <a:gd name="connsiteY3" fmla="*/ 16488 h 171221"/>
                <a:gd name="connsiteX4" fmla="*/ 16488 w 288539"/>
                <a:gd name="connsiteY4" fmla="*/ 162978 h 171221"/>
                <a:gd name="connsiteX5" fmla="*/ 8244 w 288539"/>
                <a:gd name="connsiteY5" fmla="*/ 171222 h 171221"/>
                <a:gd name="connsiteX6" fmla="*/ 0 w 288539"/>
                <a:gd name="connsiteY6" fmla="*/ 162978 h 171221"/>
                <a:gd name="connsiteX7" fmla="*/ 0 w 288539"/>
                <a:gd name="connsiteY7" fmla="*/ 8244 h 171221"/>
                <a:gd name="connsiteX8" fmla="*/ 8244 w 288539"/>
                <a:gd name="connsiteY8" fmla="*/ 0 h 171221"/>
                <a:gd name="connsiteX9" fmla="*/ 280296 w 288539"/>
                <a:gd name="connsiteY9" fmla="*/ 0 h 171221"/>
                <a:gd name="connsiteX10" fmla="*/ 288540 w 288539"/>
                <a:gd name="connsiteY10" fmla="*/ 8244 h 171221"/>
                <a:gd name="connsiteX11" fmla="*/ 288540 w 288539"/>
                <a:gd name="connsiteY11" fmla="*/ 162978 h 171221"/>
                <a:gd name="connsiteX12" fmla="*/ 280296 w 288539"/>
                <a:gd name="connsiteY12" fmla="*/ 171222 h 171221"/>
                <a:gd name="connsiteX13" fmla="*/ 280296 w 288539"/>
                <a:gd name="connsiteY13" fmla="*/ 171222 h 171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88539" h="171221">
                  <a:moveTo>
                    <a:pt x="280296" y="171222"/>
                  </a:moveTo>
                  <a:cubicBezTo>
                    <a:pt x="275857" y="171222"/>
                    <a:pt x="272052" y="167417"/>
                    <a:pt x="272052" y="162978"/>
                  </a:cubicBezTo>
                  <a:lnTo>
                    <a:pt x="272052" y="16488"/>
                  </a:lnTo>
                  <a:lnTo>
                    <a:pt x="16488" y="16488"/>
                  </a:lnTo>
                  <a:lnTo>
                    <a:pt x="16488" y="162978"/>
                  </a:lnTo>
                  <a:cubicBezTo>
                    <a:pt x="16488" y="167417"/>
                    <a:pt x="12683" y="171222"/>
                    <a:pt x="8244" y="171222"/>
                  </a:cubicBezTo>
                  <a:cubicBezTo>
                    <a:pt x="3805" y="171222"/>
                    <a:pt x="0" y="167417"/>
                    <a:pt x="0" y="162978"/>
                  </a:cubicBezTo>
                  <a:lnTo>
                    <a:pt x="0" y="8244"/>
                  </a:lnTo>
                  <a:cubicBezTo>
                    <a:pt x="0" y="3805"/>
                    <a:pt x="3805" y="0"/>
                    <a:pt x="8244" y="0"/>
                  </a:cubicBezTo>
                  <a:lnTo>
                    <a:pt x="280296" y="0"/>
                  </a:lnTo>
                  <a:cubicBezTo>
                    <a:pt x="284735" y="0"/>
                    <a:pt x="288540" y="3805"/>
                    <a:pt x="288540" y="8244"/>
                  </a:cubicBezTo>
                  <a:lnTo>
                    <a:pt x="288540" y="162978"/>
                  </a:lnTo>
                  <a:cubicBezTo>
                    <a:pt x="288540" y="167417"/>
                    <a:pt x="284735" y="171222"/>
                    <a:pt x="280296" y="171222"/>
                  </a:cubicBezTo>
                  <a:lnTo>
                    <a:pt x="280296" y="171222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80" name="Forma Livre: Forma 79">
              <a:extLst>
                <a:ext uri="{FF2B5EF4-FFF2-40B4-BE49-F238E27FC236}">
                  <a16:creationId xmlns:a16="http://schemas.microsoft.com/office/drawing/2014/main" id="{BE2B6E8A-2290-4354-871A-C51E92FE8E8F}"/>
                </a:ext>
              </a:extLst>
            </p:cNvPr>
            <p:cNvSpPr/>
            <p:nvPr/>
          </p:nvSpPr>
          <p:spPr>
            <a:xfrm>
              <a:off x="7546943" y="4797980"/>
              <a:ext cx="180733" cy="17122"/>
            </a:xfrm>
            <a:custGeom>
              <a:avLst/>
              <a:gdLst>
                <a:gd name="connsiteX0" fmla="*/ 180734 w 180733"/>
                <a:gd name="connsiteY0" fmla="*/ 17122 h 17122"/>
                <a:gd name="connsiteX1" fmla="*/ 0 w 180733"/>
                <a:gd name="connsiteY1" fmla="*/ 17122 h 17122"/>
                <a:gd name="connsiteX2" fmla="*/ 0 w 180733"/>
                <a:gd name="connsiteY2" fmla="*/ 0 h 17122"/>
                <a:gd name="connsiteX3" fmla="*/ 180734 w 180733"/>
                <a:gd name="connsiteY3" fmla="*/ 0 h 17122"/>
                <a:gd name="connsiteX4" fmla="*/ 180734 w 180733"/>
                <a:gd name="connsiteY4" fmla="*/ 17122 h 1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733" h="17122">
                  <a:moveTo>
                    <a:pt x="180734" y="17122"/>
                  </a:moveTo>
                  <a:lnTo>
                    <a:pt x="0" y="17122"/>
                  </a:lnTo>
                  <a:lnTo>
                    <a:pt x="0" y="0"/>
                  </a:lnTo>
                  <a:lnTo>
                    <a:pt x="180734" y="0"/>
                  </a:lnTo>
                  <a:lnTo>
                    <a:pt x="180734" y="17122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81" name="Forma Livre: Forma 80">
              <a:extLst>
                <a:ext uri="{FF2B5EF4-FFF2-40B4-BE49-F238E27FC236}">
                  <a16:creationId xmlns:a16="http://schemas.microsoft.com/office/drawing/2014/main" id="{E46B0304-BE07-497E-BF3C-90873CDB2576}"/>
                </a:ext>
              </a:extLst>
            </p:cNvPr>
            <p:cNvSpPr/>
            <p:nvPr/>
          </p:nvSpPr>
          <p:spPr>
            <a:xfrm>
              <a:off x="7546943" y="4829054"/>
              <a:ext cx="180733" cy="16487"/>
            </a:xfrm>
            <a:custGeom>
              <a:avLst/>
              <a:gdLst>
                <a:gd name="connsiteX0" fmla="*/ 180734 w 180733"/>
                <a:gd name="connsiteY0" fmla="*/ 16488 h 16487"/>
                <a:gd name="connsiteX1" fmla="*/ 0 w 180733"/>
                <a:gd name="connsiteY1" fmla="*/ 16488 h 16487"/>
                <a:gd name="connsiteX2" fmla="*/ 0 w 180733"/>
                <a:gd name="connsiteY2" fmla="*/ 0 h 16487"/>
                <a:gd name="connsiteX3" fmla="*/ 180734 w 180733"/>
                <a:gd name="connsiteY3" fmla="*/ 0 h 16487"/>
                <a:gd name="connsiteX4" fmla="*/ 180734 w 180733"/>
                <a:gd name="connsiteY4" fmla="*/ 16488 h 16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733" h="16487">
                  <a:moveTo>
                    <a:pt x="180734" y="16488"/>
                  </a:moveTo>
                  <a:lnTo>
                    <a:pt x="0" y="16488"/>
                  </a:lnTo>
                  <a:lnTo>
                    <a:pt x="0" y="0"/>
                  </a:lnTo>
                  <a:lnTo>
                    <a:pt x="180734" y="0"/>
                  </a:lnTo>
                  <a:lnTo>
                    <a:pt x="180734" y="16488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82" name="Forma Livre: Forma 81">
              <a:extLst>
                <a:ext uri="{FF2B5EF4-FFF2-40B4-BE49-F238E27FC236}">
                  <a16:creationId xmlns:a16="http://schemas.microsoft.com/office/drawing/2014/main" id="{6440F115-FCA8-461F-AB2C-4848AE7844AA}"/>
                </a:ext>
              </a:extLst>
            </p:cNvPr>
            <p:cNvSpPr/>
            <p:nvPr/>
          </p:nvSpPr>
          <p:spPr>
            <a:xfrm>
              <a:off x="7546943" y="4859493"/>
              <a:ext cx="180733" cy="17122"/>
            </a:xfrm>
            <a:custGeom>
              <a:avLst/>
              <a:gdLst>
                <a:gd name="connsiteX0" fmla="*/ 180734 w 180733"/>
                <a:gd name="connsiteY0" fmla="*/ 17122 h 17122"/>
                <a:gd name="connsiteX1" fmla="*/ 0 w 180733"/>
                <a:gd name="connsiteY1" fmla="*/ 17122 h 17122"/>
                <a:gd name="connsiteX2" fmla="*/ 0 w 180733"/>
                <a:gd name="connsiteY2" fmla="*/ 0 h 17122"/>
                <a:gd name="connsiteX3" fmla="*/ 180734 w 180733"/>
                <a:gd name="connsiteY3" fmla="*/ 0 h 17122"/>
                <a:gd name="connsiteX4" fmla="*/ 180734 w 180733"/>
                <a:gd name="connsiteY4" fmla="*/ 17122 h 17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733" h="17122">
                  <a:moveTo>
                    <a:pt x="180734" y="17122"/>
                  </a:moveTo>
                  <a:lnTo>
                    <a:pt x="0" y="17122"/>
                  </a:lnTo>
                  <a:lnTo>
                    <a:pt x="0" y="0"/>
                  </a:lnTo>
                  <a:lnTo>
                    <a:pt x="180734" y="0"/>
                  </a:lnTo>
                  <a:lnTo>
                    <a:pt x="180734" y="17122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83" name="Forma Livre: Forma 82">
              <a:extLst>
                <a:ext uri="{FF2B5EF4-FFF2-40B4-BE49-F238E27FC236}">
                  <a16:creationId xmlns:a16="http://schemas.microsoft.com/office/drawing/2014/main" id="{1E05786D-437F-41AE-8A1F-B0ACE9F29121}"/>
                </a:ext>
              </a:extLst>
            </p:cNvPr>
            <p:cNvSpPr/>
            <p:nvPr/>
          </p:nvSpPr>
          <p:spPr>
            <a:xfrm>
              <a:off x="7546943" y="4890567"/>
              <a:ext cx="180733" cy="17121"/>
            </a:xfrm>
            <a:custGeom>
              <a:avLst/>
              <a:gdLst>
                <a:gd name="connsiteX0" fmla="*/ 180734 w 180733"/>
                <a:gd name="connsiteY0" fmla="*/ 17122 h 17121"/>
                <a:gd name="connsiteX1" fmla="*/ 0 w 180733"/>
                <a:gd name="connsiteY1" fmla="*/ 17122 h 17121"/>
                <a:gd name="connsiteX2" fmla="*/ 0 w 180733"/>
                <a:gd name="connsiteY2" fmla="*/ 0 h 17121"/>
                <a:gd name="connsiteX3" fmla="*/ 180734 w 180733"/>
                <a:gd name="connsiteY3" fmla="*/ 0 h 17121"/>
                <a:gd name="connsiteX4" fmla="*/ 180734 w 180733"/>
                <a:gd name="connsiteY4" fmla="*/ 17122 h 17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733" h="17121">
                  <a:moveTo>
                    <a:pt x="180734" y="17122"/>
                  </a:moveTo>
                  <a:lnTo>
                    <a:pt x="0" y="17122"/>
                  </a:lnTo>
                  <a:lnTo>
                    <a:pt x="0" y="0"/>
                  </a:lnTo>
                  <a:lnTo>
                    <a:pt x="180734" y="0"/>
                  </a:lnTo>
                  <a:lnTo>
                    <a:pt x="180734" y="17122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84" name="Forma Livre: Forma 83">
              <a:extLst>
                <a:ext uri="{FF2B5EF4-FFF2-40B4-BE49-F238E27FC236}">
                  <a16:creationId xmlns:a16="http://schemas.microsoft.com/office/drawing/2014/main" id="{C1C5F9ED-25DD-4060-B561-5E69DF3D21EF}"/>
                </a:ext>
              </a:extLst>
            </p:cNvPr>
            <p:cNvSpPr/>
            <p:nvPr/>
          </p:nvSpPr>
          <p:spPr>
            <a:xfrm>
              <a:off x="7546943" y="4921640"/>
              <a:ext cx="180733" cy="16488"/>
            </a:xfrm>
            <a:custGeom>
              <a:avLst/>
              <a:gdLst>
                <a:gd name="connsiteX0" fmla="*/ 180734 w 180733"/>
                <a:gd name="connsiteY0" fmla="*/ 16488 h 16488"/>
                <a:gd name="connsiteX1" fmla="*/ 0 w 180733"/>
                <a:gd name="connsiteY1" fmla="*/ 16488 h 16488"/>
                <a:gd name="connsiteX2" fmla="*/ 0 w 180733"/>
                <a:gd name="connsiteY2" fmla="*/ 0 h 16488"/>
                <a:gd name="connsiteX3" fmla="*/ 180734 w 180733"/>
                <a:gd name="connsiteY3" fmla="*/ 0 h 16488"/>
                <a:gd name="connsiteX4" fmla="*/ 180734 w 180733"/>
                <a:gd name="connsiteY4" fmla="*/ 16488 h 16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733" h="16488">
                  <a:moveTo>
                    <a:pt x="180734" y="16488"/>
                  </a:moveTo>
                  <a:lnTo>
                    <a:pt x="0" y="16488"/>
                  </a:lnTo>
                  <a:lnTo>
                    <a:pt x="0" y="0"/>
                  </a:lnTo>
                  <a:lnTo>
                    <a:pt x="180734" y="0"/>
                  </a:lnTo>
                  <a:lnTo>
                    <a:pt x="180734" y="16488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85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5387219" y="4656743"/>
            <a:ext cx="381920" cy="426667"/>
            <a:chOff x="5379406" y="4703250"/>
            <a:chExt cx="386216" cy="431466"/>
          </a:xfrm>
          <a:solidFill>
            <a:srgbClr val="B1B1A1"/>
          </a:solidFill>
        </p:grpSpPr>
        <p:sp>
          <p:nvSpPr>
            <p:cNvPr id="86" name="Forma Livre: Forma 85">
              <a:extLst>
                <a:ext uri="{FF2B5EF4-FFF2-40B4-BE49-F238E27FC236}">
                  <a16:creationId xmlns:a16="http://schemas.microsoft.com/office/drawing/2014/main" id="{ADF1229B-AFB4-444D-A635-267015D1C681}"/>
                </a:ext>
              </a:extLst>
            </p:cNvPr>
            <p:cNvSpPr/>
            <p:nvPr/>
          </p:nvSpPr>
          <p:spPr>
            <a:xfrm>
              <a:off x="5379406" y="4703250"/>
              <a:ext cx="386216" cy="431466"/>
            </a:xfrm>
            <a:custGeom>
              <a:avLst/>
              <a:gdLst>
                <a:gd name="connsiteX0" fmla="*/ 346882 w 386216"/>
                <a:gd name="connsiteY0" fmla="*/ 431466 h 431466"/>
                <a:gd name="connsiteX1" fmla="*/ 39952 w 386216"/>
                <a:gd name="connsiteY1" fmla="*/ 431466 h 431466"/>
                <a:gd name="connsiteX2" fmla="*/ 0 w 386216"/>
                <a:gd name="connsiteY2" fmla="*/ 391514 h 431466"/>
                <a:gd name="connsiteX3" fmla="*/ 0 w 386216"/>
                <a:gd name="connsiteY3" fmla="*/ 167658 h 431466"/>
                <a:gd name="connsiteX4" fmla="*/ 5708 w 386216"/>
                <a:gd name="connsiteY4" fmla="*/ 154975 h 431466"/>
                <a:gd name="connsiteX5" fmla="*/ 182636 w 386216"/>
                <a:gd name="connsiteY5" fmla="*/ 4046 h 431466"/>
                <a:gd name="connsiteX6" fmla="*/ 204832 w 386216"/>
                <a:gd name="connsiteY6" fmla="*/ 4046 h 431466"/>
                <a:gd name="connsiteX7" fmla="*/ 380492 w 386216"/>
                <a:gd name="connsiteY7" fmla="*/ 154975 h 431466"/>
                <a:gd name="connsiteX8" fmla="*/ 386200 w 386216"/>
                <a:gd name="connsiteY8" fmla="*/ 167658 h 431466"/>
                <a:gd name="connsiteX9" fmla="*/ 386200 w 386216"/>
                <a:gd name="connsiteY9" fmla="*/ 391514 h 431466"/>
                <a:gd name="connsiteX10" fmla="*/ 346882 w 386216"/>
                <a:gd name="connsiteY10" fmla="*/ 431466 h 431466"/>
                <a:gd name="connsiteX11" fmla="*/ 346882 w 386216"/>
                <a:gd name="connsiteY11" fmla="*/ 431466 h 431466"/>
                <a:gd name="connsiteX12" fmla="*/ 34244 w 386216"/>
                <a:gd name="connsiteY12" fmla="*/ 175902 h 431466"/>
                <a:gd name="connsiteX13" fmla="*/ 34244 w 386216"/>
                <a:gd name="connsiteY13" fmla="*/ 391514 h 431466"/>
                <a:gd name="connsiteX14" fmla="*/ 40586 w 386216"/>
                <a:gd name="connsiteY14" fmla="*/ 397856 h 431466"/>
                <a:gd name="connsiteX15" fmla="*/ 347516 w 386216"/>
                <a:gd name="connsiteY15" fmla="*/ 397856 h 431466"/>
                <a:gd name="connsiteX16" fmla="*/ 353858 w 386216"/>
                <a:gd name="connsiteY16" fmla="*/ 391514 h 431466"/>
                <a:gd name="connsiteX17" fmla="*/ 353858 w 386216"/>
                <a:gd name="connsiteY17" fmla="*/ 175902 h 431466"/>
                <a:gd name="connsiteX18" fmla="*/ 195319 w 386216"/>
                <a:gd name="connsiteY18" fmla="*/ 39559 h 431466"/>
                <a:gd name="connsiteX19" fmla="*/ 34244 w 386216"/>
                <a:gd name="connsiteY19" fmla="*/ 175902 h 431466"/>
                <a:gd name="connsiteX20" fmla="*/ 34244 w 386216"/>
                <a:gd name="connsiteY20" fmla="*/ 175902 h 431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86216" h="431466">
                  <a:moveTo>
                    <a:pt x="346882" y="431466"/>
                  </a:moveTo>
                  <a:lnTo>
                    <a:pt x="39952" y="431466"/>
                  </a:lnTo>
                  <a:cubicBezTo>
                    <a:pt x="17756" y="431466"/>
                    <a:pt x="0" y="413709"/>
                    <a:pt x="0" y="391514"/>
                  </a:cubicBezTo>
                  <a:lnTo>
                    <a:pt x="0" y="167658"/>
                  </a:lnTo>
                  <a:cubicBezTo>
                    <a:pt x="0" y="162585"/>
                    <a:pt x="1902" y="158146"/>
                    <a:pt x="5708" y="154975"/>
                  </a:cubicBezTo>
                  <a:lnTo>
                    <a:pt x="182636" y="4046"/>
                  </a:lnTo>
                  <a:cubicBezTo>
                    <a:pt x="188978" y="-1661"/>
                    <a:pt x="198490" y="-1027"/>
                    <a:pt x="204832" y="4046"/>
                  </a:cubicBezTo>
                  <a:lnTo>
                    <a:pt x="380492" y="154975"/>
                  </a:lnTo>
                  <a:cubicBezTo>
                    <a:pt x="384297" y="158146"/>
                    <a:pt x="386200" y="162585"/>
                    <a:pt x="386200" y="167658"/>
                  </a:cubicBezTo>
                  <a:lnTo>
                    <a:pt x="386200" y="391514"/>
                  </a:lnTo>
                  <a:cubicBezTo>
                    <a:pt x="386834" y="413075"/>
                    <a:pt x="369078" y="431466"/>
                    <a:pt x="346882" y="431466"/>
                  </a:cubicBezTo>
                  <a:lnTo>
                    <a:pt x="346882" y="431466"/>
                  </a:lnTo>
                  <a:close/>
                  <a:moveTo>
                    <a:pt x="34244" y="175902"/>
                  </a:moveTo>
                  <a:lnTo>
                    <a:pt x="34244" y="391514"/>
                  </a:lnTo>
                  <a:cubicBezTo>
                    <a:pt x="34244" y="394685"/>
                    <a:pt x="36781" y="397856"/>
                    <a:pt x="40586" y="397856"/>
                  </a:cubicBezTo>
                  <a:lnTo>
                    <a:pt x="347516" y="397856"/>
                  </a:lnTo>
                  <a:cubicBezTo>
                    <a:pt x="350687" y="397856"/>
                    <a:pt x="353858" y="395319"/>
                    <a:pt x="353858" y="391514"/>
                  </a:cubicBezTo>
                  <a:lnTo>
                    <a:pt x="353858" y="175902"/>
                  </a:lnTo>
                  <a:lnTo>
                    <a:pt x="195319" y="39559"/>
                  </a:lnTo>
                  <a:lnTo>
                    <a:pt x="34244" y="175902"/>
                  </a:lnTo>
                  <a:lnTo>
                    <a:pt x="34244" y="175902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87" name="Forma Livre: Forma 86">
              <a:extLst>
                <a:ext uri="{FF2B5EF4-FFF2-40B4-BE49-F238E27FC236}">
                  <a16:creationId xmlns:a16="http://schemas.microsoft.com/office/drawing/2014/main" id="{AA01672A-6B68-4CB0-B38F-8DDAFDA96B48}"/>
                </a:ext>
              </a:extLst>
            </p:cNvPr>
            <p:cNvSpPr/>
            <p:nvPr/>
          </p:nvSpPr>
          <p:spPr>
            <a:xfrm>
              <a:off x="5389574" y="4937652"/>
              <a:ext cx="367650" cy="188185"/>
            </a:xfrm>
            <a:custGeom>
              <a:avLst/>
              <a:gdLst>
                <a:gd name="connsiteX0" fmla="*/ 336714 w 367650"/>
                <a:gd name="connsiteY0" fmla="*/ 188185 h 188185"/>
                <a:gd name="connsiteX1" fmla="*/ 29783 w 367650"/>
                <a:gd name="connsiteY1" fmla="*/ 188185 h 188185"/>
                <a:gd name="connsiteX2" fmla="*/ 613 w 367650"/>
                <a:gd name="connsiteY2" fmla="*/ 167892 h 188185"/>
                <a:gd name="connsiteX3" fmla="*/ 3149 w 367650"/>
                <a:gd name="connsiteY3" fmla="*/ 158380 h 188185"/>
                <a:gd name="connsiteX4" fmla="*/ 178176 w 367650"/>
                <a:gd name="connsiteY4" fmla="*/ 2378 h 188185"/>
                <a:gd name="connsiteX5" fmla="*/ 189590 w 367650"/>
                <a:gd name="connsiteY5" fmla="*/ 2378 h 188185"/>
                <a:gd name="connsiteX6" fmla="*/ 364617 w 367650"/>
                <a:gd name="connsiteY6" fmla="*/ 158380 h 188185"/>
                <a:gd name="connsiteX7" fmla="*/ 367153 w 367650"/>
                <a:gd name="connsiteY7" fmla="*/ 167892 h 188185"/>
                <a:gd name="connsiteX8" fmla="*/ 336714 w 367650"/>
                <a:gd name="connsiteY8" fmla="*/ 188185 h 188185"/>
                <a:gd name="connsiteX9" fmla="*/ 336714 w 367650"/>
                <a:gd name="connsiteY9" fmla="*/ 188185 h 188185"/>
                <a:gd name="connsiteX10" fmla="*/ 19637 w 367650"/>
                <a:gd name="connsiteY10" fmla="*/ 166624 h 188185"/>
                <a:gd name="connsiteX11" fmla="*/ 30418 w 367650"/>
                <a:gd name="connsiteY11" fmla="*/ 171063 h 188185"/>
                <a:gd name="connsiteX12" fmla="*/ 337348 w 367650"/>
                <a:gd name="connsiteY12" fmla="*/ 171063 h 188185"/>
                <a:gd name="connsiteX13" fmla="*/ 348129 w 367650"/>
                <a:gd name="connsiteY13" fmla="*/ 166624 h 188185"/>
                <a:gd name="connsiteX14" fmla="*/ 183249 w 367650"/>
                <a:gd name="connsiteY14" fmla="*/ 20768 h 188185"/>
                <a:gd name="connsiteX15" fmla="*/ 19637 w 367650"/>
                <a:gd name="connsiteY15" fmla="*/ 166624 h 188185"/>
                <a:gd name="connsiteX16" fmla="*/ 19637 w 367650"/>
                <a:gd name="connsiteY16" fmla="*/ 166624 h 188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67650" h="188185">
                  <a:moveTo>
                    <a:pt x="336714" y="188185"/>
                  </a:moveTo>
                  <a:lnTo>
                    <a:pt x="29783" y="188185"/>
                  </a:lnTo>
                  <a:cubicBezTo>
                    <a:pt x="17100" y="188185"/>
                    <a:pt x="5052" y="179941"/>
                    <a:pt x="613" y="167892"/>
                  </a:cubicBezTo>
                  <a:cubicBezTo>
                    <a:pt x="-656" y="164721"/>
                    <a:pt x="-22" y="160917"/>
                    <a:pt x="3149" y="158380"/>
                  </a:cubicBezTo>
                  <a:lnTo>
                    <a:pt x="178176" y="2378"/>
                  </a:lnTo>
                  <a:cubicBezTo>
                    <a:pt x="181346" y="-793"/>
                    <a:pt x="186419" y="-793"/>
                    <a:pt x="189590" y="2378"/>
                  </a:cubicBezTo>
                  <a:lnTo>
                    <a:pt x="364617" y="158380"/>
                  </a:lnTo>
                  <a:cubicBezTo>
                    <a:pt x="367153" y="160917"/>
                    <a:pt x="368422" y="164087"/>
                    <a:pt x="367153" y="167892"/>
                  </a:cubicBezTo>
                  <a:cubicBezTo>
                    <a:pt x="361446" y="179941"/>
                    <a:pt x="350031" y="188185"/>
                    <a:pt x="336714" y="188185"/>
                  </a:cubicBezTo>
                  <a:lnTo>
                    <a:pt x="336714" y="188185"/>
                  </a:lnTo>
                  <a:close/>
                  <a:moveTo>
                    <a:pt x="19637" y="166624"/>
                  </a:moveTo>
                  <a:cubicBezTo>
                    <a:pt x="22174" y="169794"/>
                    <a:pt x="25979" y="171063"/>
                    <a:pt x="30418" y="171063"/>
                  </a:cubicBezTo>
                  <a:lnTo>
                    <a:pt x="337348" y="171063"/>
                  </a:lnTo>
                  <a:cubicBezTo>
                    <a:pt x="341153" y="171063"/>
                    <a:pt x="344958" y="169160"/>
                    <a:pt x="348129" y="166624"/>
                  </a:cubicBezTo>
                  <a:lnTo>
                    <a:pt x="183249" y="20768"/>
                  </a:lnTo>
                  <a:lnTo>
                    <a:pt x="19637" y="166624"/>
                  </a:lnTo>
                  <a:lnTo>
                    <a:pt x="19637" y="16662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88" name="Gráfico 2">
              <a:extLst>
                <a:ext uri="{FF2B5EF4-FFF2-40B4-BE49-F238E27FC236}">
                  <a16:creationId xmlns:a16="http://schemas.microsoft.com/office/drawing/2014/main" id="{DC80C217-93B8-4831-A8BE-0817F1F32ECF}"/>
                </a:ext>
              </a:extLst>
            </p:cNvPr>
            <p:cNvGrpSpPr/>
            <p:nvPr/>
          </p:nvGrpSpPr>
          <p:grpSpPr>
            <a:xfrm>
              <a:off x="5390004" y="4877701"/>
              <a:ext cx="366270" cy="125110"/>
              <a:chOff x="5390004" y="4877701"/>
              <a:chExt cx="366270" cy="125110"/>
            </a:xfrm>
            <a:grpFill/>
          </p:grpSpPr>
          <p:sp>
            <p:nvSpPr>
              <p:cNvPr id="89" name="Forma Livre: Forma 88">
                <a:extLst>
                  <a:ext uri="{FF2B5EF4-FFF2-40B4-BE49-F238E27FC236}">
                    <a16:creationId xmlns:a16="http://schemas.microsoft.com/office/drawing/2014/main" id="{472702D6-6A40-4303-8F50-58D353564FE9}"/>
                  </a:ext>
                </a:extLst>
              </p:cNvPr>
              <p:cNvSpPr/>
              <p:nvPr/>
            </p:nvSpPr>
            <p:spPr>
              <a:xfrm>
                <a:off x="5618300" y="4877701"/>
                <a:ext cx="137975" cy="124476"/>
              </a:xfrm>
              <a:custGeom>
                <a:avLst/>
                <a:gdLst>
                  <a:gd name="connsiteX0" fmla="*/ 8426 w 137975"/>
                  <a:gd name="connsiteY0" fmla="*/ 124476 h 124476"/>
                  <a:gd name="connsiteX1" fmla="*/ 2085 w 137975"/>
                  <a:gd name="connsiteY1" fmla="*/ 121940 h 124476"/>
                  <a:gd name="connsiteX2" fmla="*/ 2719 w 137975"/>
                  <a:gd name="connsiteY2" fmla="*/ 109891 h 124476"/>
                  <a:gd name="connsiteX3" fmla="*/ 123842 w 137975"/>
                  <a:gd name="connsiteY3" fmla="*/ 2085 h 124476"/>
                  <a:gd name="connsiteX4" fmla="*/ 135891 w 137975"/>
                  <a:gd name="connsiteY4" fmla="*/ 2719 h 124476"/>
                  <a:gd name="connsiteX5" fmla="*/ 135257 w 137975"/>
                  <a:gd name="connsiteY5" fmla="*/ 14768 h 124476"/>
                  <a:gd name="connsiteX6" fmla="*/ 14134 w 137975"/>
                  <a:gd name="connsiteY6" fmla="*/ 122574 h 124476"/>
                  <a:gd name="connsiteX7" fmla="*/ 8426 w 137975"/>
                  <a:gd name="connsiteY7" fmla="*/ 124476 h 124476"/>
                  <a:gd name="connsiteX8" fmla="*/ 8426 w 137975"/>
                  <a:gd name="connsiteY8" fmla="*/ 124476 h 124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7975" h="124476">
                    <a:moveTo>
                      <a:pt x="8426" y="124476"/>
                    </a:moveTo>
                    <a:cubicBezTo>
                      <a:pt x="5889" y="124476"/>
                      <a:pt x="3987" y="123208"/>
                      <a:pt x="2085" y="121940"/>
                    </a:cubicBezTo>
                    <a:cubicBezTo>
                      <a:pt x="-1086" y="118769"/>
                      <a:pt x="-452" y="113062"/>
                      <a:pt x="2719" y="109891"/>
                    </a:cubicBezTo>
                    <a:lnTo>
                      <a:pt x="123842" y="2085"/>
                    </a:lnTo>
                    <a:cubicBezTo>
                      <a:pt x="127013" y="-1086"/>
                      <a:pt x="132720" y="-452"/>
                      <a:pt x="135891" y="2719"/>
                    </a:cubicBezTo>
                    <a:cubicBezTo>
                      <a:pt x="139062" y="5889"/>
                      <a:pt x="138428" y="11597"/>
                      <a:pt x="135257" y="14768"/>
                    </a:cubicBezTo>
                    <a:lnTo>
                      <a:pt x="14134" y="122574"/>
                    </a:lnTo>
                    <a:cubicBezTo>
                      <a:pt x="12865" y="123842"/>
                      <a:pt x="10329" y="124476"/>
                      <a:pt x="8426" y="124476"/>
                    </a:cubicBezTo>
                    <a:lnTo>
                      <a:pt x="8426" y="124476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90" name="Forma Livre: Forma 89">
                <a:extLst>
                  <a:ext uri="{FF2B5EF4-FFF2-40B4-BE49-F238E27FC236}">
                    <a16:creationId xmlns:a16="http://schemas.microsoft.com/office/drawing/2014/main" id="{45A2315D-2EAD-4899-B089-BAE7620E7EB6}"/>
                  </a:ext>
                </a:extLst>
              </p:cNvPr>
              <p:cNvSpPr/>
              <p:nvPr/>
            </p:nvSpPr>
            <p:spPr>
              <a:xfrm>
                <a:off x="5390004" y="4877701"/>
                <a:ext cx="138609" cy="125110"/>
              </a:xfrm>
              <a:custGeom>
                <a:avLst/>
                <a:gdLst>
                  <a:gd name="connsiteX0" fmla="*/ 130184 w 138609"/>
                  <a:gd name="connsiteY0" fmla="*/ 125110 h 125110"/>
                  <a:gd name="connsiteX1" fmla="*/ 124476 w 138609"/>
                  <a:gd name="connsiteY1" fmla="*/ 123208 h 125110"/>
                  <a:gd name="connsiteX2" fmla="*/ 2719 w 138609"/>
                  <a:gd name="connsiteY2" fmla="*/ 14768 h 125110"/>
                  <a:gd name="connsiteX3" fmla="*/ 2085 w 138609"/>
                  <a:gd name="connsiteY3" fmla="*/ 2719 h 125110"/>
                  <a:gd name="connsiteX4" fmla="*/ 14134 w 138609"/>
                  <a:gd name="connsiteY4" fmla="*/ 2085 h 125110"/>
                  <a:gd name="connsiteX5" fmla="*/ 135891 w 138609"/>
                  <a:gd name="connsiteY5" fmla="*/ 110525 h 125110"/>
                  <a:gd name="connsiteX6" fmla="*/ 136525 w 138609"/>
                  <a:gd name="connsiteY6" fmla="*/ 122574 h 125110"/>
                  <a:gd name="connsiteX7" fmla="*/ 130184 w 138609"/>
                  <a:gd name="connsiteY7" fmla="*/ 125110 h 125110"/>
                  <a:gd name="connsiteX8" fmla="*/ 130184 w 138609"/>
                  <a:gd name="connsiteY8" fmla="*/ 125110 h 1251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8609" h="125110">
                    <a:moveTo>
                      <a:pt x="130184" y="125110"/>
                    </a:moveTo>
                    <a:cubicBezTo>
                      <a:pt x="128281" y="125110"/>
                      <a:pt x="126379" y="124476"/>
                      <a:pt x="124476" y="123208"/>
                    </a:cubicBezTo>
                    <a:lnTo>
                      <a:pt x="2719" y="14768"/>
                    </a:lnTo>
                    <a:cubicBezTo>
                      <a:pt x="-452" y="11597"/>
                      <a:pt x="-1086" y="6524"/>
                      <a:pt x="2085" y="2719"/>
                    </a:cubicBezTo>
                    <a:cubicBezTo>
                      <a:pt x="5255" y="-452"/>
                      <a:pt x="10329" y="-1086"/>
                      <a:pt x="14134" y="2085"/>
                    </a:cubicBezTo>
                    <a:lnTo>
                      <a:pt x="135891" y="110525"/>
                    </a:lnTo>
                    <a:cubicBezTo>
                      <a:pt x="139062" y="113696"/>
                      <a:pt x="139696" y="118769"/>
                      <a:pt x="136525" y="122574"/>
                    </a:cubicBezTo>
                    <a:cubicBezTo>
                      <a:pt x="134623" y="124476"/>
                      <a:pt x="132720" y="125110"/>
                      <a:pt x="130184" y="125110"/>
                    </a:cubicBezTo>
                    <a:lnTo>
                      <a:pt x="130184" y="125110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91" name="Gráfico 2">
              <a:extLst>
                <a:ext uri="{FF2B5EF4-FFF2-40B4-BE49-F238E27FC236}">
                  <a16:creationId xmlns:a16="http://schemas.microsoft.com/office/drawing/2014/main" id="{DC80C217-93B8-4831-A8BE-0817F1F32ECF}"/>
                </a:ext>
              </a:extLst>
            </p:cNvPr>
            <p:cNvGrpSpPr/>
            <p:nvPr/>
          </p:nvGrpSpPr>
          <p:grpSpPr>
            <a:xfrm>
              <a:off x="5510118" y="4790687"/>
              <a:ext cx="126437" cy="129684"/>
              <a:chOff x="5510118" y="4790687"/>
              <a:chExt cx="126437" cy="129684"/>
            </a:xfrm>
            <a:grpFill/>
          </p:grpSpPr>
          <p:sp>
            <p:nvSpPr>
              <p:cNvPr id="92" name="Forma Livre: Forma 91">
                <a:extLst>
                  <a:ext uri="{FF2B5EF4-FFF2-40B4-BE49-F238E27FC236}">
                    <a16:creationId xmlns:a16="http://schemas.microsoft.com/office/drawing/2014/main" id="{0F849C41-552E-4B87-ABC8-59F30C0E0CAA}"/>
                  </a:ext>
                </a:extLst>
              </p:cNvPr>
              <p:cNvSpPr/>
              <p:nvPr/>
            </p:nvSpPr>
            <p:spPr>
              <a:xfrm>
                <a:off x="5510118" y="4790687"/>
                <a:ext cx="126437" cy="80220"/>
              </a:xfrm>
              <a:custGeom>
                <a:avLst/>
                <a:gdLst>
                  <a:gd name="connsiteX0" fmla="*/ 109632 w 126437"/>
                  <a:gd name="connsiteY0" fmla="*/ 80220 h 80220"/>
                  <a:gd name="connsiteX1" fmla="*/ 97583 w 126437"/>
                  <a:gd name="connsiteY1" fmla="*/ 75147 h 80220"/>
                  <a:gd name="connsiteX2" fmla="*/ 63339 w 126437"/>
                  <a:gd name="connsiteY2" fmla="*/ 40903 h 80220"/>
                  <a:gd name="connsiteX3" fmla="*/ 29095 w 126437"/>
                  <a:gd name="connsiteY3" fmla="*/ 75147 h 80220"/>
                  <a:gd name="connsiteX4" fmla="*/ 4997 w 126437"/>
                  <a:gd name="connsiteY4" fmla="*/ 75147 h 80220"/>
                  <a:gd name="connsiteX5" fmla="*/ 4997 w 126437"/>
                  <a:gd name="connsiteY5" fmla="*/ 51049 h 80220"/>
                  <a:gd name="connsiteX6" fmla="*/ 51290 w 126437"/>
                  <a:gd name="connsiteY6" fmla="*/ 4756 h 80220"/>
                  <a:gd name="connsiteX7" fmla="*/ 75388 w 126437"/>
                  <a:gd name="connsiteY7" fmla="*/ 4756 h 80220"/>
                  <a:gd name="connsiteX8" fmla="*/ 121681 w 126437"/>
                  <a:gd name="connsiteY8" fmla="*/ 51049 h 80220"/>
                  <a:gd name="connsiteX9" fmla="*/ 121681 w 126437"/>
                  <a:gd name="connsiteY9" fmla="*/ 75147 h 80220"/>
                  <a:gd name="connsiteX10" fmla="*/ 109632 w 126437"/>
                  <a:gd name="connsiteY10" fmla="*/ 80220 h 80220"/>
                  <a:gd name="connsiteX11" fmla="*/ 109632 w 126437"/>
                  <a:gd name="connsiteY11" fmla="*/ 80220 h 80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6437" h="80220">
                    <a:moveTo>
                      <a:pt x="109632" y="80220"/>
                    </a:moveTo>
                    <a:cubicBezTo>
                      <a:pt x="105193" y="80220"/>
                      <a:pt x="100754" y="78318"/>
                      <a:pt x="97583" y="75147"/>
                    </a:cubicBezTo>
                    <a:lnTo>
                      <a:pt x="63339" y="40903"/>
                    </a:lnTo>
                    <a:lnTo>
                      <a:pt x="29095" y="75147"/>
                    </a:lnTo>
                    <a:cubicBezTo>
                      <a:pt x="22753" y="81489"/>
                      <a:pt x="11972" y="81489"/>
                      <a:pt x="4997" y="75147"/>
                    </a:cubicBezTo>
                    <a:cubicBezTo>
                      <a:pt x="-1979" y="68806"/>
                      <a:pt x="-1345" y="58025"/>
                      <a:pt x="4997" y="51049"/>
                    </a:cubicBezTo>
                    <a:lnTo>
                      <a:pt x="51290" y="4756"/>
                    </a:lnTo>
                    <a:cubicBezTo>
                      <a:pt x="57632" y="-1585"/>
                      <a:pt x="68412" y="-1585"/>
                      <a:pt x="75388" y="4756"/>
                    </a:cubicBezTo>
                    <a:lnTo>
                      <a:pt x="121681" y="51049"/>
                    </a:lnTo>
                    <a:cubicBezTo>
                      <a:pt x="128022" y="57391"/>
                      <a:pt x="128022" y="68172"/>
                      <a:pt x="121681" y="75147"/>
                    </a:cubicBezTo>
                    <a:cubicBezTo>
                      <a:pt x="117876" y="78318"/>
                      <a:pt x="113437" y="80220"/>
                      <a:pt x="109632" y="80220"/>
                    </a:cubicBezTo>
                    <a:lnTo>
                      <a:pt x="109632" y="80220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93" name="Forma Livre: Forma 92">
                <a:extLst>
                  <a:ext uri="{FF2B5EF4-FFF2-40B4-BE49-F238E27FC236}">
                    <a16:creationId xmlns:a16="http://schemas.microsoft.com/office/drawing/2014/main" id="{9926305B-2F3D-4D2B-8BDC-7BF94242DF6A}"/>
                  </a:ext>
                </a:extLst>
              </p:cNvPr>
              <p:cNvSpPr/>
              <p:nvPr/>
            </p:nvSpPr>
            <p:spPr>
              <a:xfrm>
                <a:off x="5555700" y="4803053"/>
                <a:ext cx="34244" cy="117318"/>
              </a:xfrm>
              <a:custGeom>
                <a:avLst/>
                <a:gdLst>
                  <a:gd name="connsiteX0" fmla="*/ 17122 w 34244"/>
                  <a:gd name="connsiteY0" fmla="*/ 117318 h 117318"/>
                  <a:gd name="connsiteX1" fmla="*/ 0 w 34244"/>
                  <a:gd name="connsiteY1" fmla="*/ 100197 h 117318"/>
                  <a:gd name="connsiteX2" fmla="*/ 0 w 34244"/>
                  <a:gd name="connsiteY2" fmla="*/ 17122 h 117318"/>
                  <a:gd name="connsiteX3" fmla="*/ 17122 w 34244"/>
                  <a:gd name="connsiteY3" fmla="*/ 0 h 117318"/>
                  <a:gd name="connsiteX4" fmla="*/ 34244 w 34244"/>
                  <a:gd name="connsiteY4" fmla="*/ 17122 h 117318"/>
                  <a:gd name="connsiteX5" fmla="*/ 34244 w 34244"/>
                  <a:gd name="connsiteY5" fmla="*/ 100197 h 117318"/>
                  <a:gd name="connsiteX6" fmla="*/ 17122 w 34244"/>
                  <a:gd name="connsiteY6" fmla="*/ 117318 h 117318"/>
                  <a:gd name="connsiteX7" fmla="*/ 17122 w 34244"/>
                  <a:gd name="connsiteY7" fmla="*/ 117318 h 117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244" h="117318">
                    <a:moveTo>
                      <a:pt x="17122" y="117318"/>
                    </a:moveTo>
                    <a:cubicBezTo>
                      <a:pt x="7610" y="117318"/>
                      <a:pt x="0" y="109709"/>
                      <a:pt x="0" y="100197"/>
                    </a:cubicBezTo>
                    <a:lnTo>
                      <a:pt x="0" y="17122"/>
                    </a:lnTo>
                    <a:cubicBezTo>
                      <a:pt x="0" y="7610"/>
                      <a:pt x="7610" y="0"/>
                      <a:pt x="17122" y="0"/>
                    </a:cubicBezTo>
                    <a:cubicBezTo>
                      <a:pt x="26635" y="0"/>
                      <a:pt x="34244" y="7610"/>
                      <a:pt x="34244" y="17122"/>
                    </a:cubicBezTo>
                    <a:lnTo>
                      <a:pt x="34244" y="100197"/>
                    </a:lnTo>
                    <a:cubicBezTo>
                      <a:pt x="34244" y="109709"/>
                      <a:pt x="26635" y="117318"/>
                      <a:pt x="17122" y="117318"/>
                    </a:cubicBezTo>
                    <a:lnTo>
                      <a:pt x="17122" y="117318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94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6407511" y="4656743"/>
            <a:ext cx="381919" cy="426667"/>
            <a:chOff x="6411174" y="4703250"/>
            <a:chExt cx="386215" cy="431466"/>
          </a:xfrm>
          <a:solidFill>
            <a:srgbClr val="B1B1A1"/>
          </a:solidFill>
        </p:grpSpPr>
        <p:sp>
          <p:nvSpPr>
            <p:cNvPr id="95" name="Forma Livre: Forma 94">
              <a:extLst>
                <a:ext uri="{FF2B5EF4-FFF2-40B4-BE49-F238E27FC236}">
                  <a16:creationId xmlns:a16="http://schemas.microsoft.com/office/drawing/2014/main" id="{A8D440A9-6BD7-4045-B38F-A59D7B9F0865}"/>
                </a:ext>
              </a:extLst>
            </p:cNvPr>
            <p:cNvSpPr/>
            <p:nvPr/>
          </p:nvSpPr>
          <p:spPr>
            <a:xfrm>
              <a:off x="6411174" y="4703250"/>
              <a:ext cx="386215" cy="431466"/>
            </a:xfrm>
            <a:custGeom>
              <a:avLst/>
              <a:gdLst>
                <a:gd name="connsiteX0" fmla="*/ 346882 w 386215"/>
                <a:gd name="connsiteY0" fmla="*/ 431466 h 431466"/>
                <a:gd name="connsiteX1" fmla="*/ 39952 w 386215"/>
                <a:gd name="connsiteY1" fmla="*/ 431466 h 431466"/>
                <a:gd name="connsiteX2" fmla="*/ 0 w 386215"/>
                <a:gd name="connsiteY2" fmla="*/ 391514 h 431466"/>
                <a:gd name="connsiteX3" fmla="*/ 0 w 386215"/>
                <a:gd name="connsiteY3" fmla="*/ 167658 h 431466"/>
                <a:gd name="connsiteX4" fmla="*/ 5707 w 386215"/>
                <a:gd name="connsiteY4" fmla="*/ 154975 h 431466"/>
                <a:gd name="connsiteX5" fmla="*/ 182636 w 386215"/>
                <a:gd name="connsiteY5" fmla="*/ 4046 h 431466"/>
                <a:gd name="connsiteX6" fmla="*/ 204832 w 386215"/>
                <a:gd name="connsiteY6" fmla="*/ 4046 h 431466"/>
                <a:gd name="connsiteX7" fmla="*/ 380492 w 386215"/>
                <a:gd name="connsiteY7" fmla="*/ 154975 h 431466"/>
                <a:gd name="connsiteX8" fmla="*/ 386199 w 386215"/>
                <a:gd name="connsiteY8" fmla="*/ 167658 h 431466"/>
                <a:gd name="connsiteX9" fmla="*/ 386199 w 386215"/>
                <a:gd name="connsiteY9" fmla="*/ 391514 h 431466"/>
                <a:gd name="connsiteX10" fmla="*/ 346882 w 386215"/>
                <a:gd name="connsiteY10" fmla="*/ 431466 h 431466"/>
                <a:gd name="connsiteX11" fmla="*/ 346882 w 386215"/>
                <a:gd name="connsiteY11" fmla="*/ 431466 h 431466"/>
                <a:gd name="connsiteX12" fmla="*/ 33610 w 386215"/>
                <a:gd name="connsiteY12" fmla="*/ 175902 h 431466"/>
                <a:gd name="connsiteX13" fmla="*/ 33610 w 386215"/>
                <a:gd name="connsiteY13" fmla="*/ 391514 h 431466"/>
                <a:gd name="connsiteX14" fmla="*/ 39952 w 386215"/>
                <a:gd name="connsiteY14" fmla="*/ 397856 h 431466"/>
                <a:gd name="connsiteX15" fmla="*/ 346882 w 386215"/>
                <a:gd name="connsiteY15" fmla="*/ 397856 h 431466"/>
                <a:gd name="connsiteX16" fmla="*/ 353224 w 386215"/>
                <a:gd name="connsiteY16" fmla="*/ 391514 h 431466"/>
                <a:gd name="connsiteX17" fmla="*/ 353224 w 386215"/>
                <a:gd name="connsiteY17" fmla="*/ 175902 h 431466"/>
                <a:gd name="connsiteX18" fmla="*/ 194685 w 386215"/>
                <a:gd name="connsiteY18" fmla="*/ 39559 h 431466"/>
                <a:gd name="connsiteX19" fmla="*/ 33610 w 386215"/>
                <a:gd name="connsiteY19" fmla="*/ 175902 h 431466"/>
                <a:gd name="connsiteX20" fmla="*/ 33610 w 386215"/>
                <a:gd name="connsiteY20" fmla="*/ 175902 h 431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86215" h="431466">
                  <a:moveTo>
                    <a:pt x="346882" y="431466"/>
                  </a:moveTo>
                  <a:lnTo>
                    <a:pt x="39952" y="431466"/>
                  </a:lnTo>
                  <a:cubicBezTo>
                    <a:pt x="17756" y="431466"/>
                    <a:pt x="0" y="413709"/>
                    <a:pt x="0" y="391514"/>
                  </a:cubicBezTo>
                  <a:lnTo>
                    <a:pt x="0" y="167658"/>
                  </a:lnTo>
                  <a:cubicBezTo>
                    <a:pt x="0" y="162585"/>
                    <a:pt x="1902" y="158146"/>
                    <a:pt x="5707" y="154975"/>
                  </a:cubicBezTo>
                  <a:lnTo>
                    <a:pt x="182636" y="4046"/>
                  </a:lnTo>
                  <a:cubicBezTo>
                    <a:pt x="188978" y="-1027"/>
                    <a:pt x="198490" y="-1661"/>
                    <a:pt x="204832" y="4046"/>
                  </a:cubicBezTo>
                  <a:lnTo>
                    <a:pt x="380492" y="154975"/>
                  </a:lnTo>
                  <a:cubicBezTo>
                    <a:pt x="384297" y="158146"/>
                    <a:pt x="386199" y="162585"/>
                    <a:pt x="386199" y="167658"/>
                  </a:cubicBezTo>
                  <a:lnTo>
                    <a:pt x="386199" y="391514"/>
                  </a:lnTo>
                  <a:cubicBezTo>
                    <a:pt x="386834" y="413075"/>
                    <a:pt x="368443" y="431466"/>
                    <a:pt x="346882" y="431466"/>
                  </a:cubicBezTo>
                  <a:lnTo>
                    <a:pt x="346882" y="431466"/>
                  </a:lnTo>
                  <a:close/>
                  <a:moveTo>
                    <a:pt x="33610" y="175902"/>
                  </a:moveTo>
                  <a:lnTo>
                    <a:pt x="33610" y="391514"/>
                  </a:lnTo>
                  <a:cubicBezTo>
                    <a:pt x="33610" y="394685"/>
                    <a:pt x="36147" y="397856"/>
                    <a:pt x="39952" y="397856"/>
                  </a:cubicBezTo>
                  <a:lnTo>
                    <a:pt x="346882" y="397856"/>
                  </a:lnTo>
                  <a:cubicBezTo>
                    <a:pt x="350053" y="397856"/>
                    <a:pt x="353224" y="395319"/>
                    <a:pt x="353224" y="391514"/>
                  </a:cubicBezTo>
                  <a:lnTo>
                    <a:pt x="353224" y="175902"/>
                  </a:lnTo>
                  <a:lnTo>
                    <a:pt x="194685" y="39559"/>
                  </a:lnTo>
                  <a:lnTo>
                    <a:pt x="33610" y="175902"/>
                  </a:lnTo>
                  <a:lnTo>
                    <a:pt x="33610" y="175902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96" name="Forma Livre: Forma 95">
              <a:extLst>
                <a:ext uri="{FF2B5EF4-FFF2-40B4-BE49-F238E27FC236}">
                  <a16:creationId xmlns:a16="http://schemas.microsoft.com/office/drawing/2014/main" id="{05A1A2B7-10AA-496F-95B1-76656A32E62B}"/>
                </a:ext>
              </a:extLst>
            </p:cNvPr>
            <p:cNvSpPr/>
            <p:nvPr/>
          </p:nvSpPr>
          <p:spPr>
            <a:xfrm>
              <a:off x="6421342" y="4937652"/>
              <a:ext cx="367650" cy="188185"/>
            </a:xfrm>
            <a:custGeom>
              <a:avLst/>
              <a:gdLst>
                <a:gd name="connsiteX0" fmla="*/ 336714 w 367650"/>
                <a:gd name="connsiteY0" fmla="*/ 188185 h 188185"/>
                <a:gd name="connsiteX1" fmla="*/ 29783 w 367650"/>
                <a:gd name="connsiteY1" fmla="*/ 188185 h 188185"/>
                <a:gd name="connsiteX2" fmla="*/ 613 w 367650"/>
                <a:gd name="connsiteY2" fmla="*/ 167892 h 188185"/>
                <a:gd name="connsiteX3" fmla="*/ 3149 w 367650"/>
                <a:gd name="connsiteY3" fmla="*/ 158380 h 188185"/>
                <a:gd name="connsiteX4" fmla="*/ 178176 w 367650"/>
                <a:gd name="connsiteY4" fmla="*/ 2378 h 188185"/>
                <a:gd name="connsiteX5" fmla="*/ 189590 w 367650"/>
                <a:gd name="connsiteY5" fmla="*/ 2378 h 188185"/>
                <a:gd name="connsiteX6" fmla="*/ 364617 w 367650"/>
                <a:gd name="connsiteY6" fmla="*/ 158380 h 188185"/>
                <a:gd name="connsiteX7" fmla="*/ 367153 w 367650"/>
                <a:gd name="connsiteY7" fmla="*/ 167892 h 188185"/>
                <a:gd name="connsiteX8" fmla="*/ 336714 w 367650"/>
                <a:gd name="connsiteY8" fmla="*/ 188185 h 188185"/>
                <a:gd name="connsiteX9" fmla="*/ 336714 w 367650"/>
                <a:gd name="connsiteY9" fmla="*/ 188185 h 188185"/>
                <a:gd name="connsiteX10" fmla="*/ 19003 w 367650"/>
                <a:gd name="connsiteY10" fmla="*/ 166624 h 188185"/>
                <a:gd name="connsiteX11" fmla="*/ 29783 w 367650"/>
                <a:gd name="connsiteY11" fmla="*/ 171063 h 188185"/>
                <a:gd name="connsiteX12" fmla="*/ 336714 w 367650"/>
                <a:gd name="connsiteY12" fmla="*/ 171063 h 188185"/>
                <a:gd name="connsiteX13" fmla="*/ 347494 w 367650"/>
                <a:gd name="connsiteY13" fmla="*/ 166624 h 188185"/>
                <a:gd name="connsiteX14" fmla="*/ 183249 w 367650"/>
                <a:gd name="connsiteY14" fmla="*/ 20134 h 188185"/>
                <a:gd name="connsiteX15" fmla="*/ 19003 w 367650"/>
                <a:gd name="connsiteY15" fmla="*/ 166624 h 188185"/>
                <a:gd name="connsiteX16" fmla="*/ 19003 w 367650"/>
                <a:gd name="connsiteY16" fmla="*/ 166624 h 188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67650" h="188185">
                  <a:moveTo>
                    <a:pt x="336714" y="188185"/>
                  </a:moveTo>
                  <a:lnTo>
                    <a:pt x="29783" y="188185"/>
                  </a:lnTo>
                  <a:cubicBezTo>
                    <a:pt x="17100" y="188185"/>
                    <a:pt x="5051" y="179941"/>
                    <a:pt x="613" y="167892"/>
                  </a:cubicBezTo>
                  <a:cubicBezTo>
                    <a:pt x="-656" y="164721"/>
                    <a:pt x="-22" y="160917"/>
                    <a:pt x="3149" y="158380"/>
                  </a:cubicBezTo>
                  <a:lnTo>
                    <a:pt x="178176" y="2378"/>
                  </a:lnTo>
                  <a:cubicBezTo>
                    <a:pt x="181346" y="-793"/>
                    <a:pt x="186419" y="-793"/>
                    <a:pt x="189590" y="2378"/>
                  </a:cubicBezTo>
                  <a:lnTo>
                    <a:pt x="364617" y="158380"/>
                  </a:lnTo>
                  <a:cubicBezTo>
                    <a:pt x="367153" y="160917"/>
                    <a:pt x="368422" y="164087"/>
                    <a:pt x="367153" y="167892"/>
                  </a:cubicBezTo>
                  <a:cubicBezTo>
                    <a:pt x="361446" y="179941"/>
                    <a:pt x="349397" y="188185"/>
                    <a:pt x="336714" y="188185"/>
                  </a:cubicBezTo>
                  <a:lnTo>
                    <a:pt x="336714" y="188185"/>
                  </a:lnTo>
                  <a:close/>
                  <a:moveTo>
                    <a:pt x="19003" y="166624"/>
                  </a:moveTo>
                  <a:cubicBezTo>
                    <a:pt x="21540" y="169794"/>
                    <a:pt x="25344" y="171063"/>
                    <a:pt x="29783" y="171063"/>
                  </a:cubicBezTo>
                  <a:lnTo>
                    <a:pt x="336714" y="171063"/>
                  </a:lnTo>
                  <a:cubicBezTo>
                    <a:pt x="341153" y="171063"/>
                    <a:pt x="344958" y="169160"/>
                    <a:pt x="347494" y="166624"/>
                  </a:cubicBezTo>
                  <a:lnTo>
                    <a:pt x="183249" y="20134"/>
                  </a:lnTo>
                  <a:lnTo>
                    <a:pt x="19003" y="166624"/>
                  </a:lnTo>
                  <a:lnTo>
                    <a:pt x="19003" y="16662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97" name="Gráfico 2">
              <a:extLst>
                <a:ext uri="{FF2B5EF4-FFF2-40B4-BE49-F238E27FC236}">
                  <a16:creationId xmlns:a16="http://schemas.microsoft.com/office/drawing/2014/main" id="{DC80C217-93B8-4831-A8BE-0817F1F32ECF}"/>
                </a:ext>
              </a:extLst>
            </p:cNvPr>
            <p:cNvGrpSpPr/>
            <p:nvPr/>
          </p:nvGrpSpPr>
          <p:grpSpPr>
            <a:xfrm>
              <a:off x="6421138" y="4877701"/>
              <a:ext cx="366905" cy="125110"/>
              <a:chOff x="6421138" y="4877701"/>
              <a:chExt cx="366905" cy="125110"/>
            </a:xfrm>
            <a:grpFill/>
          </p:grpSpPr>
          <p:sp>
            <p:nvSpPr>
              <p:cNvPr id="98" name="Forma Livre: Forma 97">
                <a:extLst>
                  <a:ext uri="{FF2B5EF4-FFF2-40B4-BE49-F238E27FC236}">
                    <a16:creationId xmlns:a16="http://schemas.microsoft.com/office/drawing/2014/main" id="{A67B1508-FB10-4743-9184-1350C6B84EAD}"/>
                  </a:ext>
                </a:extLst>
              </p:cNvPr>
              <p:cNvSpPr/>
              <p:nvPr/>
            </p:nvSpPr>
            <p:spPr>
              <a:xfrm>
                <a:off x="6650068" y="4877701"/>
                <a:ext cx="137975" cy="124476"/>
              </a:xfrm>
              <a:custGeom>
                <a:avLst/>
                <a:gdLst>
                  <a:gd name="connsiteX0" fmla="*/ 8426 w 137975"/>
                  <a:gd name="connsiteY0" fmla="*/ 124476 h 124476"/>
                  <a:gd name="connsiteX1" fmla="*/ 2085 w 137975"/>
                  <a:gd name="connsiteY1" fmla="*/ 121940 h 124476"/>
                  <a:gd name="connsiteX2" fmla="*/ 2719 w 137975"/>
                  <a:gd name="connsiteY2" fmla="*/ 109891 h 124476"/>
                  <a:gd name="connsiteX3" fmla="*/ 123842 w 137975"/>
                  <a:gd name="connsiteY3" fmla="*/ 2085 h 124476"/>
                  <a:gd name="connsiteX4" fmla="*/ 135891 w 137975"/>
                  <a:gd name="connsiteY4" fmla="*/ 2719 h 124476"/>
                  <a:gd name="connsiteX5" fmla="*/ 135257 w 137975"/>
                  <a:gd name="connsiteY5" fmla="*/ 14768 h 124476"/>
                  <a:gd name="connsiteX6" fmla="*/ 14133 w 137975"/>
                  <a:gd name="connsiteY6" fmla="*/ 122574 h 124476"/>
                  <a:gd name="connsiteX7" fmla="*/ 8426 w 137975"/>
                  <a:gd name="connsiteY7" fmla="*/ 124476 h 124476"/>
                  <a:gd name="connsiteX8" fmla="*/ 8426 w 137975"/>
                  <a:gd name="connsiteY8" fmla="*/ 124476 h 124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7975" h="124476">
                    <a:moveTo>
                      <a:pt x="8426" y="124476"/>
                    </a:moveTo>
                    <a:cubicBezTo>
                      <a:pt x="5889" y="124476"/>
                      <a:pt x="3987" y="123208"/>
                      <a:pt x="2085" y="121940"/>
                    </a:cubicBezTo>
                    <a:cubicBezTo>
                      <a:pt x="-1086" y="118769"/>
                      <a:pt x="-452" y="113062"/>
                      <a:pt x="2719" y="109891"/>
                    </a:cubicBezTo>
                    <a:lnTo>
                      <a:pt x="123842" y="2085"/>
                    </a:lnTo>
                    <a:cubicBezTo>
                      <a:pt x="127647" y="-1086"/>
                      <a:pt x="132720" y="-452"/>
                      <a:pt x="135891" y="2719"/>
                    </a:cubicBezTo>
                    <a:cubicBezTo>
                      <a:pt x="139062" y="5889"/>
                      <a:pt x="138428" y="11597"/>
                      <a:pt x="135257" y="14768"/>
                    </a:cubicBezTo>
                    <a:lnTo>
                      <a:pt x="14133" y="122574"/>
                    </a:lnTo>
                    <a:cubicBezTo>
                      <a:pt x="12231" y="123842"/>
                      <a:pt x="10329" y="124476"/>
                      <a:pt x="8426" y="124476"/>
                    </a:cubicBezTo>
                    <a:lnTo>
                      <a:pt x="8426" y="124476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99" name="Forma Livre: Forma 98">
                <a:extLst>
                  <a:ext uri="{FF2B5EF4-FFF2-40B4-BE49-F238E27FC236}">
                    <a16:creationId xmlns:a16="http://schemas.microsoft.com/office/drawing/2014/main" id="{FD347F66-D1DC-45A9-916C-35D9A88B45B9}"/>
                  </a:ext>
                </a:extLst>
              </p:cNvPr>
              <p:cNvSpPr/>
              <p:nvPr/>
            </p:nvSpPr>
            <p:spPr>
              <a:xfrm>
                <a:off x="6421138" y="4877701"/>
                <a:ext cx="138609" cy="125110"/>
              </a:xfrm>
              <a:custGeom>
                <a:avLst/>
                <a:gdLst>
                  <a:gd name="connsiteX0" fmla="*/ 130184 w 138609"/>
                  <a:gd name="connsiteY0" fmla="*/ 125110 h 125110"/>
                  <a:gd name="connsiteX1" fmla="*/ 124476 w 138609"/>
                  <a:gd name="connsiteY1" fmla="*/ 123208 h 125110"/>
                  <a:gd name="connsiteX2" fmla="*/ 2719 w 138609"/>
                  <a:gd name="connsiteY2" fmla="*/ 14768 h 125110"/>
                  <a:gd name="connsiteX3" fmla="*/ 2085 w 138609"/>
                  <a:gd name="connsiteY3" fmla="*/ 2719 h 125110"/>
                  <a:gd name="connsiteX4" fmla="*/ 14134 w 138609"/>
                  <a:gd name="connsiteY4" fmla="*/ 2085 h 125110"/>
                  <a:gd name="connsiteX5" fmla="*/ 135891 w 138609"/>
                  <a:gd name="connsiteY5" fmla="*/ 110525 h 125110"/>
                  <a:gd name="connsiteX6" fmla="*/ 136525 w 138609"/>
                  <a:gd name="connsiteY6" fmla="*/ 122574 h 125110"/>
                  <a:gd name="connsiteX7" fmla="*/ 130184 w 138609"/>
                  <a:gd name="connsiteY7" fmla="*/ 125110 h 125110"/>
                  <a:gd name="connsiteX8" fmla="*/ 130184 w 138609"/>
                  <a:gd name="connsiteY8" fmla="*/ 125110 h 1251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8609" h="125110">
                    <a:moveTo>
                      <a:pt x="130184" y="125110"/>
                    </a:moveTo>
                    <a:cubicBezTo>
                      <a:pt x="128281" y="125110"/>
                      <a:pt x="126379" y="124476"/>
                      <a:pt x="124476" y="123208"/>
                    </a:cubicBezTo>
                    <a:lnTo>
                      <a:pt x="2719" y="14768"/>
                    </a:lnTo>
                    <a:cubicBezTo>
                      <a:pt x="-452" y="11597"/>
                      <a:pt x="-1086" y="6524"/>
                      <a:pt x="2085" y="2719"/>
                    </a:cubicBezTo>
                    <a:cubicBezTo>
                      <a:pt x="5255" y="-452"/>
                      <a:pt x="10329" y="-1086"/>
                      <a:pt x="14134" y="2085"/>
                    </a:cubicBezTo>
                    <a:lnTo>
                      <a:pt x="135891" y="110525"/>
                    </a:lnTo>
                    <a:cubicBezTo>
                      <a:pt x="139062" y="113696"/>
                      <a:pt x="139696" y="118769"/>
                      <a:pt x="136525" y="122574"/>
                    </a:cubicBezTo>
                    <a:cubicBezTo>
                      <a:pt x="135257" y="124476"/>
                      <a:pt x="132720" y="125110"/>
                      <a:pt x="130184" y="125110"/>
                    </a:cubicBezTo>
                    <a:lnTo>
                      <a:pt x="130184" y="125110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100" name="Gráfico 2">
              <a:extLst>
                <a:ext uri="{FF2B5EF4-FFF2-40B4-BE49-F238E27FC236}">
                  <a16:creationId xmlns:a16="http://schemas.microsoft.com/office/drawing/2014/main" id="{DC80C217-93B8-4831-A8BE-0817F1F32ECF}"/>
                </a:ext>
              </a:extLst>
            </p:cNvPr>
            <p:cNvGrpSpPr/>
            <p:nvPr/>
          </p:nvGrpSpPr>
          <p:grpSpPr>
            <a:xfrm>
              <a:off x="6541492" y="4790370"/>
              <a:ext cx="126196" cy="130001"/>
              <a:chOff x="6541492" y="4790370"/>
              <a:chExt cx="126196" cy="130001"/>
            </a:xfrm>
            <a:grpFill/>
          </p:grpSpPr>
          <p:sp>
            <p:nvSpPr>
              <p:cNvPr id="101" name="Forma Livre: Forma 100">
                <a:extLst>
                  <a:ext uri="{FF2B5EF4-FFF2-40B4-BE49-F238E27FC236}">
                    <a16:creationId xmlns:a16="http://schemas.microsoft.com/office/drawing/2014/main" id="{43B07B54-55B4-4267-9050-4A8AA99AD261}"/>
                  </a:ext>
                </a:extLst>
              </p:cNvPr>
              <p:cNvSpPr/>
              <p:nvPr/>
            </p:nvSpPr>
            <p:spPr>
              <a:xfrm>
                <a:off x="6541492" y="4840151"/>
                <a:ext cx="126196" cy="80220"/>
              </a:xfrm>
              <a:custGeom>
                <a:avLst/>
                <a:gdLst>
                  <a:gd name="connsiteX0" fmla="*/ 63098 w 126196"/>
                  <a:gd name="connsiteY0" fmla="*/ 80220 h 80220"/>
                  <a:gd name="connsiteX1" fmla="*/ 51049 w 126196"/>
                  <a:gd name="connsiteY1" fmla="*/ 75147 h 80220"/>
                  <a:gd name="connsiteX2" fmla="*/ 4756 w 126196"/>
                  <a:gd name="connsiteY2" fmla="*/ 28854 h 80220"/>
                  <a:gd name="connsiteX3" fmla="*/ 4756 w 126196"/>
                  <a:gd name="connsiteY3" fmla="*/ 4756 h 80220"/>
                  <a:gd name="connsiteX4" fmla="*/ 28854 w 126196"/>
                  <a:gd name="connsiteY4" fmla="*/ 4756 h 80220"/>
                  <a:gd name="connsiteX5" fmla="*/ 63098 w 126196"/>
                  <a:gd name="connsiteY5" fmla="*/ 39000 h 80220"/>
                  <a:gd name="connsiteX6" fmla="*/ 97342 w 126196"/>
                  <a:gd name="connsiteY6" fmla="*/ 4756 h 80220"/>
                  <a:gd name="connsiteX7" fmla="*/ 121441 w 126196"/>
                  <a:gd name="connsiteY7" fmla="*/ 4756 h 80220"/>
                  <a:gd name="connsiteX8" fmla="*/ 121441 w 126196"/>
                  <a:gd name="connsiteY8" fmla="*/ 28854 h 80220"/>
                  <a:gd name="connsiteX9" fmla="*/ 75147 w 126196"/>
                  <a:gd name="connsiteY9" fmla="*/ 75147 h 80220"/>
                  <a:gd name="connsiteX10" fmla="*/ 63098 w 126196"/>
                  <a:gd name="connsiteY10" fmla="*/ 80220 h 80220"/>
                  <a:gd name="connsiteX11" fmla="*/ 63098 w 126196"/>
                  <a:gd name="connsiteY11" fmla="*/ 80220 h 80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6196" h="80220">
                    <a:moveTo>
                      <a:pt x="63098" y="80220"/>
                    </a:moveTo>
                    <a:cubicBezTo>
                      <a:pt x="58659" y="80220"/>
                      <a:pt x="54220" y="78318"/>
                      <a:pt x="51049" y="75147"/>
                    </a:cubicBezTo>
                    <a:lnTo>
                      <a:pt x="4756" y="28854"/>
                    </a:lnTo>
                    <a:cubicBezTo>
                      <a:pt x="-1585" y="22512"/>
                      <a:pt x="-1585" y="11732"/>
                      <a:pt x="4756" y="4756"/>
                    </a:cubicBezTo>
                    <a:cubicBezTo>
                      <a:pt x="11098" y="-1585"/>
                      <a:pt x="21878" y="-1585"/>
                      <a:pt x="28854" y="4756"/>
                    </a:cubicBezTo>
                    <a:lnTo>
                      <a:pt x="63098" y="39000"/>
                    </a:lnTo>
                    <a:lnTo>
                      <a:pt x="97342" y="4756"/>
                    </a:lnTo>
                    <a:cubicBezTo>
                      <a:pt x="103684" y="-1585"/>
                      <a:pt x="114465" y="-1585"/>
                      <a:pt x="121441" y="4756"/>
                    </a:cubicBezTo>
                    <a:cubicBezTo>
                      <a:pt x="127782" y="11098"/>
                      <a:pt x="127782" y="21878"/>
                      <a:pt x="121441" y="28854"/>
                    </a:cubicBezTo>
                    <a:lnTo>
                      <a:pt x="75147" y="75147"/>
                    </a:lnTo>
                    <a:cubicBezTo>
                      <a:pt x="71342" y="78318"/>
                      <a:pt x="67538" y="80220"/>
                      <a:pt x="63098" y="80220"/>
                    </a:cubicBezTo>
                    <a:lnTo>
                      <a:pt x="63098" y="80220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02" name="Forma Livre: Forma 101">
                <a:extLst>
                  <a:ext uri="{FF2B5EF4-FFF2-40B4-BE49-F238E27FC236}">
                    <a16:creationId xmlns:a16="http://schemas.microsoft.com/office/drawing/2014/main" id="{493F2146-132F-4BB0-897D-3605C22BF621}"/>
                  </a:ext>
                </a:extLst>
              </p:cNvPr>
              <p:cNvSpPr/>
              <p:nvPr/>
            </p:nvSpPr>
            <p:spPr>
              <a:xfrm>
                <a:off x="6587469" y="4790370"/>
                <a:ext cx="34244" cy="117318"/>
              </a:xfrm>
              <a:custGeom>
                <a:avLst/>
                <a:gdLst>
                  <a:gd name="connsiteX0" fmla="*/ 17122 w 34244"/>
                  <a:gd name="connsiteY0" fmla="*/ 117318 h 117318"/>
                  <a:gd name="connsiteX1" fmla="*/ 0 w 34244"/>
                  <a:gd name="connsiteY1" fmla="*/ 100197 h 117318"/>
                  <a:gd name="connsiteX2" fmla="*/ 0 w 34244"/>
                  <a:gd name="connsiteY2" fmla="*/ 17122 h 117318"/>
                  <a:gd name="connsiteX3" fmla="*/ 17122 w 34244"/>
                  <a:gd name="connsiteY3" fmla="*/ 0 h 117318"/>
                  <a:gd name="connsiteX4" fmla="*/ 34244 w 34244"/>
                  <a:gd name="connsiteY4" fmla="*/ 17122 h 117318"/>
                  <a:gd name="connsiteX5" fmla="*/ 34244 w 34244"/>
                  <a:gd name="connsiteY5" fmla="*/ 100197 h 117318"/>
                  <a:gd name="connsiteX6" fmla="*/ 17122 w 34244"/>
                  <a:gd name="connsiteY6" fmla="*/ 117318 h 117318"/>
                  <a:gd name="connsiteX7" fmla="*/ 17122 w 34244"/>
                  <a:gd name="connsiteY7" fmla="*/ 117318 h 117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244" h="117318">
                    <a:moveTo>
                      <a:pt x="17122" y="117318"/>
                    </a:moveTo>
                    <a:cubicBezTo>
                      <a:pt x="7610" y="117318"/>
                      <a:pt x="0" y="109709"/>
                      <a:pt x="0" y="100197"/>
                    </a:cubicBezTo>
                    <a:lnTo>
                      <a:pt x="0" y="17122"/>
                    </a:lnTo>
                    <a:cubicBezTo>
                      <a:pt x="0" y="7610"/>
                      <a:pt x="7610" y="0"/>
                      <a:pt x="17122" y="0"/>
                    </a:cubicBezTo>
                    <a:cubicBezTo>
                      <a:pt x="26635" y="0"/>
                      <a:pt x="34244" y="7610"/>
                      <a:pt x="34244" y="17122"/>
                    </a:cubicBezTo>
                    <a:lnTo>
                      <a:pt x="34244" y="100197"/>
                    </a:lnTo>
                    <a:cubicBezTo>
                      <a:pt x="33610" y="109709"/>
                      <a:pt x="26635" y="117318"/>
                      <a:pt x="17122" y="117318"/>
                    </a:cubicBezTo>
                    <a:lnTo>
                      <a:pt x="17122" y="117318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103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2313172" y="4699625"/>
            <a:ext cx="382531" cy="344278"/>
            <a:chOff x="2270784" y="4746614"/>
            <a:chExt cx="386833" cy="348150"/>
          </a:xfrm>
          <a:solidFill>
            <a:srgbClr val="B1B1A1"/>
          </a:solidFill>
        </p:grpSpPr>
        <p:sp>
          <p:nvSpPr>
            <p:cNvPr id="104" name="Forma Livre: Forma 103">
              <a:extLst>
                <a:ext uri="{FF2B5EF4-FFF2-40B4-BE49-F238E27FC236}">
                  <a16:creationId xmlns:a16="http://schemas.microsoft.com/office/drawing/2014/main" id="{C190BB88-456D-4A7D-8FA2-C65F2355618A}"/>
                </a:ext>
              </a:extLst>
            </p:cNvPr>
            <p:cNvSpPr/>
            <p:nvPr/>
          </p:nvSpPr>
          <p:spPr>
            <a:xfrm>
              <a:off x="2280953" y="4946190"/>
              <a:ext cx="367016" cy="140330"/>
            </a:xfrm>
            <a:custGeom>
              <a:avLst/>
              <a:gdLst>
                <a:gd name="connsiteX0" fmla="*/ 336714 w 367016"/>
                <a:gd name="connsiteY0" fmla="*/ 140330 h 140330"/>
                <a:gd name="connsiteX1" fmla="*/ 29784 w 367016"/>
                <a:gd name="connsiteY1" fmla="*/ 140330 h 140330"/>
                <a:gd name="connsiteX2" fmla="*/ 612 w 367016"/>
                <a:gd name="connsiteY2" fmla="*/ 120037 h 140330"/>
                <a:gd name="connsiteX3" fmla="*/ 3149 w 367016"/>
                <a:gd name="connsiteY3" fmla="*/ 110525 h 140330"/>
                <a:gd name="connsiteX4" fmla="*/ 123004 w 367016"/>
                <a:gd name="connsiteY4" fmla="*/ 3987 h 140330"/>
                <a:gd name="connsiteX5" fmla="*/ 135053 w 367016"/>
                <a:gd name="connsiteY5" fmla="*/ 4621 h 140330"/>
                <a:gd name="connsiteX6" fmla="*/ 134419 w 367016"/>
                <a:gd name="connsiteY6" fmla="*/ 16670 h 140330"/>
                <a:gd name="connsiteX7" fmla="*/ 19637 w 367016"/>
                <a:gd name="connsiteY7" fmla="*/ 118135 h 140330"/>
                <a:gd name="connsiteX8" fmla="*/ 30418 w 367016"/>
                <a:gd name="connsiteY8" fmla="*/ 122574 h 140330"/>
                <a:gd name="connsiteX9" fmla="*/ 336714 w 367016"/>
                <a:gd name="connsiteY9" fmla="*/ 122574 h 140330"/>
                <a:gd name="connsiteX10" fmla="*/ 347494 w 367016"/>
                <a:gd name="connsiteY10" fmla="*/ 118135 h 140330"/>
                <a:gd name="connsiteX11" fmla="*/ 231444 w 367016"/>
                <a:gd name="connsiteY11" fmla="*/ 14768 h 140330"/>
                <a:gd name="connsiteX12" fmla="*/ 230810 w 367016"/>
                <a:gd name="connsiteY12" fmla="*/ 2719 h 140330"/>
                <a:gd name="connsiteX13" fmla="*/ 242859 w 367016"/>
                <a:gd name="connsiteY13" fmla="*/ 2085 h 140330"/>
                <a:gd name="connsiteX14" fmla="*/ 363983 w 367016"/>
                <a:gd name="connsiteY14" fmla="*/ 109891 h 140330"/>
                <a:gd name="connsiteX15" fmla="*/ 366519 w 367016"/>
                <a:gd name="connsiteY15" fmla="*/ 119403 h 140330"/>
                <a:gd name="connsiteX16" fmla="*/ 336714 w 367016"/>
                <a:gd name="connsiteY16" fmla="*/ 140330 h 140330"/>
                <a:gd name="connsiteX17" fmla="*/ 336714 w 367016"/>
                <a:gd name="connsiteY17" fmla="*/ 140330 h 140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67016" h="140330">
                  <a:moveTo>
                    <a:pt x="336714" y="140330"/>
                  </a:moveTo>
                  <a:lnTo>
                    <a:pt x="29784" y="140330"/>
                  </a:lnTo>
                  <a:cubicBezTo>
                    <a:pt x="17100" y="140330"/>
                    <a:pt x="5051" y="132086"/>
                    <a:pt x="612" y="120037"/>
                  </a:cubicBezTo>
                  <a:cubicBezTo>
                    <a:pt x="-656" y="116866"/>
                    <a:pt x="-22" y="113062"/>
                    <a:pt x="3149" y="110525"/>
                  </a:cubicBezTo>
                  <a:lnTo>
                    <a:pt x="123004" y="3987"/>
                  </a:lnTo>
                  <a:cubicBezTo>
                    <a:pt x="126175" y="816"/>
                    <a:pt x="131882" y="1451"/>
                    <a:pt x="135053" y="4621"/>
                  </a:cubicBezTo>
                  <a:cubicBezTo>
                    <a:pt x="138224" y="7792"/>
                    <a:pt x="137590" y="13499"/>
                    <a:pt x="134419" y="16670"/>
                  </a:cubicBezTo>
                  <a:lnTo>
                    <a:pt x="19637" y="118135"/>
                  </a:lnTo>
                  <a:cubicBezTo>
                    <a:pt x="22174" y="121306"/>
                    <a:pt x="25979" y="122574"/>
                    <a:pt x="30418" y="122574"/>
                  </a:cubicBezTo>
                  <a:lnTo>
                    <a:pt x="336714" y="122574"/>
                  </a:lnTo>
                  <a:cubicBezTo>
                    <a:pt x="340519" y="122574"/>
                    <a:pt x="344324" y="120672"/>
                    <a:pt x="347494" y="118135"/>
                  </a:cubicBezTo>
                  <a:lnTo>
                    <a:pt x="231444" y="14768"/>
                  </a:lnTo>
                  <a:cubicBezTo>
                    <a:pt x="228274" y="11597"/>
                    <a:pt x="227639" y="6524"/>
                    <a:pt x="230810" y="2719"/>
                  </a:cubicBezTo>
                  <a:cubicBezTo>
                    <a:pt x="233981" y="-452"/>
                    <a:pt x="239054" y="-1086"/>
                    <a:pt x="242859" y="2085"/>
                  </a:cubicBezTo>
                  <a:lnTo>
                    <a:pt x="363983" y="109891"/>
                  </a:lnTo>
                  <a:cubicBezTo>
                    <a:pt x="366519" y="112428"/>
                    <a:pt x="367787" y="115598"/>
                    <a:pt x="366519" y="119403"/>
                  </a:cubicBezTo>
                  <a:cubicBezTo>
                    <a:pt x="361446" y="132086"/>
                    <a:pt x="350031" y="140330"/>
                    <a:pt x="336714" y="140330"/>
                  </a:cubicBezTo>
                  <a:lnTo>
                    <a:pt x="336714" y="140330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105" name="Gráfico 2">
              <a:extLst>
                <a:ext uri="{FF2B5EF4-FFF2-40B4-BE49-F238E27FC236}">
                  <a16:creationId xmlns:a16="http://schemas.microsoft.com/office/drawing/2014/main" id="{DC80C217-93B8-4831-A8BE-0817F1F32ECF}"/>
                </a:ext>
              </a:extLst>
            </p:cNvPr>
            <p:cNvGrpSpPr/>
            <p:nvPr/>
          </p:nvGrpSpPr>
          <p:grpSpPr>
            <a:xfrm>
              <a:off x="2400152" y="4746614"/>
              <a:ext cx="126830" cy="202929"/>
              <a:chOff x="2400152" y="4746614"/>
              <a:chExt cx="126830" cy="202929"/>
            </a:xfrm>
            <a:grpFill/>
          </p:grpSpPr>
          <p:sp>
            <p:nvSpPr>
              <p:cNvPr id="106" name="Forma Livre: Forma 105">
                <a:extLst>
                  <a:ext uri="{FF2B5EF4-FFF2-40B4-BE49-F238E27FC236}">
                    <a16:creationId xmlns:a16="http://schemas.microsoft.com/office/drawing/2014/main" id="{8F36AEBA-761A-4C97-9E05-9F78FE8F8B91}"/>
                  </a:ext>
                </a:extLst>
              </p:cNvPr>
              <p:cNvSpPr/>
              <p:nvPr/>
            </p:nvSpPr>
            <p:spPr>
              <a:xfrm>
                <a:off x="2400152" y="4872810"/>
                <a:ext cx="126830" cy="76732"/>
              </a:xfrm>
              <a:custGeom>
                <a:avLst/>
                <a:gdLst>
                  <a:gd name="connsiteX0" fmla="*/ 64050 w 126830"/>
                  <a:gd name="connsiteY0" fmla="*/ 76733 h 76732"/>
                  <a:gd name="connsiteX1" fmla="*/ 54537 w 126830"/>
                  <a:gd name="connsiteY1" fmla="*/ 72927 h 76732"/>
                  <a:gd name="connsiteX2" fmla="*/ 3805 w 126830"/>
                  <a:gd name="connsiteY2" fmla="*/ 22195 h 76732"/>
                  <a:gd name="connsiteX3" fmla="*/ 3805 w 126830"/>
                  <a:gd name="connsiteY3" fmla="*/ 3805 h 76732"/>
                  <a:gd name="connsiteX4" fmla="*/ 22195 w 126830"/>
                  <a:gd name="connsiteY4" fmla="*/ 3805 h 76732"/>
                  <a:gd name="connsiteX5" fmla="*/ 63415 w 126830"/>
                  <a:gd name="connsiteY5" fmla="*/ 45025 h 76732"/>
                  <a:gd name="connsiteX6" fmla="*/ 104635 w 126830"/>
                  <a:gd name="connsiteY6" fmla="*/ 3805 h 76732"/>
                  <a:gd name="connsiteX7" fmla="*/ 123026 w 126830"/>
                  <a:gd name="connsiteY7" fmla="*/ 3805 h 76732"/>
                  <a:gd name="connsiteX8" fmla="*/ 123026 w 126830"/>
                  <a:gd name="connsiteY8" fmla="*/ 22195 h 76732"/>
                  <a:gd name="connsiteX9" fmla="*/ 72294 w 126830"/>
                  <a:gd name="connsiteY9" fmla="*/ 72927 h 76732"/>
                  <a:gd name="connsiteX10" fmla="*/ 64050 w 126830"/>
                  <a:gd name="connsiteY10" fmla="*/ 76733 h 76732"/>
                  <a:gd name="connsiteX11" fmla="*/ 64050 w 126830"/>
                  <a:gd name="connsiteY11" fmla="*/ 76733 h 76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6830" h="76732">
                    <a:moveTo>
                      <a:pt x="64050" y="76733"/>
                    </a:moveTo>
                    <a:cubicBezTo>
                      <a:pt x="60879" y="76733"/>
                      <a:pt x="57074" y="75464"/>
                      <a:pt x="54537" y="72927"/>
                    </a:cubicBezTo>
                    <a:lnTo>
                      <a:pt x="3805" y="22195"/>
                    </a:lnTo>
                    <a:cubicBezTo>
                      <a:pt x="-1268" y="17122"/>
                      <a:pt x="-1268" y="8878"/>
                      <a:pt x="3805" y="3805"/>
                    </a:cubicBezTo>
                    <a:cubicBezTo>
                      <a:pt x="8878" y="-1268"/>
                      <a:pt x="17122" y="-1268"/>
                      <a:pt x="22195" y="3805"/>
                    </a:cubicBezTo>
                    <a:lnTo>
                      <a:pt x="63415" y="45025"/>
                    </a:lnTo>
                    <a:lnTo>
                      <a:pt x="104635" y="3805"/>
                    </a:lnTo>
                    <a:cubicBezTo>
                      <a:pt x="109709" y="-1268"/>
                      <a:pt x="117953" y="-1268"/>
                      <a:pt x="123026" y="3805"/>
                    </a:cubicBezTo>
                    <a:cubicBezTo>
                      <a:pt x="128099" y="8878"/>
                      <a:pt x="128099" y="17122"/>
                      <a:pt x="123026" y="22195"/>
                    </a:cubicBezTo>
                    <a:lnTo>
                      <a:pt x="72294" y="72927"/>
                    </a:lnTo>
                    <a:cubicBezTo>
                      <a:pt x="71025" y="75464"/>
                      <a:pt x="67854" y="76733"/>
                      <a:pt x="64050" y="76733"/>
                    </a:cubicBezTo>
                    <a:lnTo>
                      <a:pt x="64050" y="76733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07" name="Forma Livre: Forma 106">
                <a:extLst>
                  <a:ext uri="{FF2B5EF4-FFF2-40B4-BE49-F238E27FC236}">
                    <a16:creationId xmlns:a16="http://schemas.microsoft.com/office/drawing/2014/main" id="{A31003EC-0CDD-48CA-A210-A21DEA56DDB8}"/>
                  </a:ext>
                </a:extLst>
              </p:cNvPr>
              <p:cNvSpPr/>
              <p:nvPr/>
            </p:nvSpPr>
            <p:spPr>
              <a:xfrm>
                <a:off x="2450884" y="4746614"/>
                <a:ext cx="26634" cy="188977"/>
              </a:xfrm>
              <a:custGeom>
                <a:avLst/>
                <a:gdLst>
                  <a:gd name="connsiteX0" fmla="*/ 13317 w 26634"/>
                  <a:gd name="connsiteY0" fmla="*/ 188978 h 188977"/>
                  <a:gd name="connsiteX1" fmla="*/ 0 w 26634"/>
                  <a:gd name="connsiteY1" fmla="*/ 175661 h 188977"/>
                  <a:gd name="connsiteX2" fmla="*/ 0 w 26634"/>
                  <a:gd name="connsiteY2" fmla="*/ 13317 h 188977"/>
                  <a:gd name="connsiteX3" fmla="*/ 13317 w 26634"/>
                  <a:gd name="connsiteY3" fmla="*/ 0 h 188977"/>
                  <a:gd name="connsiteX4" fmla="*/ 26634 w 26634"/>
                  <a:gd name="connsiteY4" fmla="*/ 13317 h 188977"/>
                  <a:gd name="connsiteX5" fmla="*/ 26634 w 26634"/>
                  <a:gd name="connsiteY5" fmla="*/ 176295 h 188977"/>
                  <a:gd name="connsiteX6" fmla="*/ 13317 w 26634"/>
                  <a:gd name="connsiteY6" fmla="*/ 188978 h 188977"/>
                  <a:gd name="connsiteX7" fmla="*/ 13317 w 26634"/>
                  <a:gd name="connsiteY7" fmla="*/ 188978 h 1889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6634" h="188977">
                    <a:moveTo>
                      <a:pt x="13317" y="188978"/>
                    </a:moveTo>
                    <a:cubicBezTo>
                      <a:pt x="6342" y="188978"/>
                      <a:pt x="0" y="183270"/>
                      <a:pt x="0" y="175661"/>
                    </a:cubicBezTo>
                    <a:lnTo>
                      <a:pt x="0" y="13317"/>
                    </a:lnTo>
                    <a:cubicBezTo>
                      <a:pt x="0" y="6342"/>
                      <a:pt x="5707" y="0"/>
                      <a:pt x="13317" y="0"/>
                    </a:cubicBezTo>
                    <a:cubicBezTo>
                      <a:pt x="20293" y="0"/>
                      <a:pt x="26634" y="5707"/>
                      <a:pt x="26634" y="13317"/>
                    </a:cubicBezTo>
                    <a:lnTo>
                      <a:pt x="26634" y="176295"/>
                    </a:lnTo>
                    <a:cubicBezTo>
                      <a:pt x="26634" y="183270"/>
                      <a:pt x="20927" y="188978"/>
                      <a:pt x="13317" y="188978"/>
                    </a:cubicBezTo>
                    <a:lnTo>
                      <a:pt x="13317" y="188978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108" name="Forma Livre: Forma 107">
              <a:extLst>
                <a:ext uri="{FF2B5EF4-FFF2-40B4-BE49-F238E27FC236}">
                  <a16:creationId xmlns:a16="http://schemas.microsoft.com/office/drawing/2014/main" id="{80DCB6E5-FED6-482A-A891-822A1AC4CF69}"/>
                </a:ext>
              </a:extLst>
            </p:cNvPr>
            <p:cNvSpPr/>
            <p:nvPr/>
          </p:nvSpPr>
          <p:spPr>
            <a:xfrm>
              <a:off x="2270784" y="4814468"/>
              <a:ext cx="386833" cy="280295"/>
            </a:xfrm>
            <a:custGeom>
              <a:avLst/>
              <a:gdLst>
                <a:gd name="connsiteX0" fmla="*/ 346882 w 386833"/>
                <a:gd name="connsiteY0" fmla="*/ 280296 h 280295"/>
                <a:gd name="connsiteX1" fmla="*/ 39952 w 386833"/>
                <a:gd name="connsiteY1" fmla="*/ 280296 h 280295"/>
                <a:gd name="connsiteX2" fmla="*/ 0 w 386833"/>
                <a:gd name="connsiteY2" fmla="*/ 240344 h 280295"/>
                <a:gd name="connsiteX3" fmla="*/ 0 w 386833"/>
                <a:gd name="connsiteY3" fmla="*/ 39952 h 280295"/>
                <a:gd name="connsiteX4" fmla="*/ 39952 w 386833"/>
                <a:gd name="connsiteY4" fmla="*/ 0 h 280295"/>
                <a:gd name="connsiteX5" fmla="*/ 147758 w 386833"/>
                <a:gd name="connsiteY5" fmla="*/ 0 h 280295"/>
                <a:gd name="connsiteX6" fmla="*/ 164880 w 386833"/>
                <a:gd name="connsiteY6" fmla="*/ 17122 h 280295"/>
                <a:gd name="connsiteX7" fmla="*/ 147758 w 386833"/>
                <a:gd name="connsiteY7" fmla="*/ 34244 h 280295"/>
                <a:gd name="connsiteX8" fmla="*/ 39952 w 386833"/>
                <a:gd name="connsiteY8" fmla="*/ 34244 h 280295"/>
                <a:gd name="connsiteX9" fmla="*/ 33610 w 386833"/>
                <a:gd name="connsiteY9" fmla="*/ 40586 h 280295"/>
                <a:gd name="connsiteX10" fmla="*/ 33610 w 386833"/>
                <a:gd name="connsiteY10" fmla="*/ 240978 h 280295"/>
                <a:gd name="connsiteX11" fmla="*/ 39952 w 386833"/>
                <a:gd name="connsiteY11" fmla="*/ 247320 h 280295"/>
                <a:gd name="connsiteX12" fmla="*/ 346882 w 386833"/>
                <a:gd name="connsiteY12" fmla="*/ 247320 h 280295"/>
                <a:gd name="connsiteX13" fmla="*/ 353224 w 386833"/>
                <a:gd name="connsiteY13" fmla="*/ 240978 h 280295"/>
                <a:gd name="connsiteX14" fmla="*/ 353224 w 386833"/>
                <a:gd name="connsiteY14" fmla="*/ 40586 h 280295"/>
                <a:gd name="connsiteX15" fmla="*/ 346882 w 386833"/>
                <a:gd name="connsiteY15" fmla="*/ 34244 h 280295"/>
                <a:gd name="connsiteX16" fmla="*/ 239076 w 386833"/>
                <a:gd name="connsiteY16" fmla="*/ 34244 h 280295"/>
                <a:gd name="connsiteX17" fmla="*/ 221954 w 386833"/>
                <a:gd name="connsiteY17" fmla="*/ 17122 h 280295"/>
                <a:gd name="connsiteX18" fmla="*/ 239076 w 386833"/>
                <a:gd name="connsiteY18" fmla="*/ 0 h 280295"/>
                <a:gd name="connsiteX19" fmla="*/ 346882 w 386833"/>
                <a:gd name="connsiteY19" fmla="*/ 0 h 280295"/>
                <a:gd name="connsiteX20" fmla="*/ 386834 w 386833"/>
                <a:gd name="connsiteY20" fmla="*/ 39952 h 280295"/>
                <a:gd name="connsiteX21" fmla="*/ 386834 w 386833"/>
                <a:gd name="connsiteY21" fmla="*/ 240344 h 280295"/>
                <a:gd name="connsiteX22" fmla="*/ 346882 w 386833"/>
                <a:gd name="connsiteY22" fmla="*/ 280296 h 280295"/>
                <a:gd name="connsiteX23" fmla="*/ 346882 w 386833"/>
                <a:gd name="connsiteY23" fmla="*/ 280296 h 280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86833" h="280295">
                  <a:moveTo>
                    <a:pt x="346882" y="280296"/>
                  </a:moveTo>
                  <a:lnTo>
                    <a:pt x="39952" y="280296"/>
                  </a:lnTo>
                  <a:cubicBezTo>
                    <a:pt x="17756" y="280296"/>
                    <a:pt x="0" y="262539"/>
                    <a:pt x="0" y="240344"/>
                  </a:cubicBezTo>
                  <a:lnTo>
                    <a:pt x="0" y="39952"/>
                  </a:lnTo>
                  <a:cubicBezTo>
                    <a:pt x="0" y="17756"/>
                    <a:pt x="17756" y="0"/>
                    <a:pt x="39952" y="0"/>
                  </a:cubicBezTo>
                  <a:lnTo>
                    <a:pt x="147758" y="0"/>
                  </a:lnTo>
                  <a:cubicBezTo>
                    <a:pt x="157270" y="0"/>
                    <a:pt x="164880" y="7610"/>
                    <a:pt x="164880" y="17122"/>
                  </a:cubicBezTo>
                  <a:cubicBezTo>
                    <a:pt x="164880" y="26634"/>
                    <a:pt x="157270" y="34244"/>
                    <a:pt x="147758" y="34244"/>
                  </a:cubicBezTo>
                  <a:lnTo>
                    <a:pt x="39952" y="34244"/>
                  </a:lnTo>
                  <a:cubicBezTo>
                    <a:pt x="36781" y="34244"/>
                    <a:pt x="33610" y="36781"/>
                    <a:pt x="33610" y="40586"/>
                  </a:cubicBezTo>
                  <a:lnTo>
                    <a:pt x="33610" y="240978"/>
                  </a:lnTo>
                  <a:cubicBezTo>
                    <a:pt x="33610" y="244149"/>
                    <a:pt x="36147" y="247320"/>
                    <a:pt x="39952" y="247320"/>
                  </a:cubicBezTo>
                  <a:lnTo>
                    <a:pt x="346882" y="247320"/>
                  </a:lnTo>
                  <a:cubicBezTo>
                    <a:pt x="350053" y="247320"/>
                    <a:pt x="353224" y="244783"/>
                    <a:pt x="353224" y="240978"/>
                  </a:cubicBezTo>
                  <a:lnTo>
                    <a:pt x="353224" y="40586"/>
                  </a:lnTo>
                  <a:cubicBezTo>
                    <a:pt x="353224" y="37415"/>
                    <a:pt x="350687" y="34244"/>
                    <a:pt x="346882" y="34244"/>
                  </a:cubicBezTo>
                  <a:lnTo>
                    <a:pt x="239076" y="34244"/>
                  </a:lnTo>
                  <a:cubicBezTo>
                    <a:pt x="229564" y="34244"/>
                    <a:pt x="221954" y="26634"/>
                    <a:pt x="221954" y="17122"/>
                  </a:cubicBezTo>
                  <a:cubicBezTo>
                    <a:pt x="221954" y="7610"/>
                    <a:pt x="229564" y="0"/>
                    <a:pt x="239076" y="0"/>
                  </a:cubicBezTo>
                  <a:lnTo>
                    <a:pt x="346882" y="0"/>
                  </a:lnTo>
                  <a:cubicBezTo>
                    <a:pt x="369077" y="0"/>
                    <a:pt x="386834" y="17756"/>
                    <a:pt x="386834" y="39952"/>
                  </a:cubicBezTo>
                  <a:lnTo>
                    <a:pt x="386834" y="240344"/>
                  </a:lnTo>
                  <a:cubicBezTo>
                    <a:pt x="386834" y="262539"/>
                    <a:pt x="369077" y="280296"/>
                    <a:pt x="346882" y="280296"/>
                  </a:cubicBezTo>
                  <a:lnTo>
                    <a:pt x="346882" y="280296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09" name="Forma Livre: Forma 108">
              <a:extLst>
                <a:ext uri="{FF2B5EF4-FFF2-40B4-BE49-F238E27FC236}">
                  <a16:creationId xmlns:a16="http://schemas.microsoft.com/office/drawing/2014/main" id="{E0A5C95F-6A83-4FF6-AEE4-814BE688E19E}"/>
                </a:ext>
              </a:extLst>
            </p:cNvPr>
            <p:cNvSpPr/>
            <p:nvPr/>
          </p:nvSpPr>
          <p:spPr>
            <a:xfrm>
              <a:off x="2280749" y="4837750"/>
              <a:ext cx="366905" cy="172671"/>
            </a:xfrm>
            <a:custGeom>
              <a:avLst/>
              <a:gdLst>
                <a:gd name="connsiteX0" fmla="*/ 183453 w 366905"/>
                <a:gd name="connsiteY0" fmla="*/ 172672 h 172671"/>
                <a:gd name="connsiteX1" fmla="*/ 177745 w 366905"/>
                <a:gd name="connsiteY1" fmla="*/ 170769 h 172671"/>
                <a:gd name="connsiteX2" fmla="*/ 2719 w 366905"/>
                <a:gd name="connsiteY2" fmla="*/ 14768 h 172671"/>
                <a:gd name="connsiteX3" fmla="*/ 2085 w 366905"/>
                <a:gd name="connsiteY3" fmla="*/ 2719 h 172671"/>
                <a:gd name="connsiteX4" fmla="*/ 14134 w 366905"/>
                <a:gd name="connsiteY4" fmla="*/ 2085 h 172671"/>
                <a:gd name="connsiteX5" fmla="*/ 183453 w 366905"/>
                <a:gd name="connsiteY5" fmla="*/ 153013 h 172671"/>
                <a:gd name="connsiteX6" fmla="*/ 352772 w 366905"/>
                <a:gd name="connsiteY6" fmla="*/ 2085 h 172671"/>
                <a:gd name="connsiteX7" fmla="*/ 364821 w 366905"/>
                <a:gd name="connsiteY7" fmla="*/ 2719 h 172671"/>
                <a:gd name="connsiteX8" fmla="*/ 364186 w 366905"/>
                <a:gd name="connsiteY8" fmla="*/ 14768 h 172671"/>
                <a:gd name="connsiteX9" fmla="*/ 189160 w 366905"/>
                <a:gd name="connsiteY9" fmla="*/ 170769 h 172671"/>
                <a:gd name="connsiteX10" fmla="*/ 183453 w 366905"/>
                <a:gd name="connsiteY10" fmla="*/ 172672 h 172671"/>
                <a:gd name="connsiteX11" fmla="*/ 183453 w 366905"/>
                <a:gd name="connsiteY11" fmla="*/ 172672 h 172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6905" h="172671">
                  <a:moveTo>
                    <a:pt x="183453" y="172672"/>
                  </a:moveTo>
                  <a:cubicBezTo>
                    <a:pt x="181550" y="172672"/>
                    <a:pt x="179648" y="172038"/>
                    <a:pt x="177745" y="170769"/>
                  </a:cubicBezTo>
                  <a:lnTo>
                    <a:pt x="2719" y="14768"/>
                  </a:lnTo>
                  <a:cubicBezTo>
                    <a:pt x="-452" y="11597"/>
                    <a:pt x="-1086" y="6523"/>
                    <a:pt x="2085" y="2719"/>
                  </a:cubicBezTo>
                  <a:cubicBezTo>
                    <a:pt x="5255" y="-452"/>
                    <a:pt x="10329" y="-1086"/>
                    <a:pt x="14134" y="2085"/>
                  </a:cubicBezTo>
                  <a:lnTo>
                    <a:pt x="183453" y="153013"/>
                  </a:lnTo>
                  <a:lnTo>
                    <a:pt x="352772" y="2085"/>
                  </a:lnTo>
                  <a:cubicBezTo>
                    <a:pt x="356577" y="-1086"/>
                    <a:pt x="361650" y="-452"/>
                    <a:pt x="364821" y="2719"/>
                  </a:cubicBezTo>
                  <a:cubicBezTo>
                    <a:pt x="367991" y="5889"/>
                    <a:pt x="367357" y="11597"/>
                    <a:pt x="364186" y="14768"/>
                  </a:cubicBezTo>
                  <a:lnTo>
                    <a:pt x="189160" y="170769"/>
                  </a:lnTo>
                  <a:cubicBezTo>
                    <a:pt x="187892" y="172038"/>
                    <a:pt x="185989" y="172672"/>
                    <a:pt x="183453" y="172672"/>
                  </a:cubicBezTo>
                  <a:lnTo>
                    <a:pt x="183453" y="172672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10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3335973" y="4688964"/>
            <a:ext cx="382531" cy="366227"/>
            <a:chOff x="3305089" y="4735833"/>
            <a:chExt cx="386833" cy="370346"/>
          </a:xfrm>
          <a:solidFill>
            <a:srgbClr val="B1B1A1"/>
          </a:solidFill>
        </p:grpSpPr>
        <p:sp>
          <p:nvSpPr>
            <p:cNvPr id="111" name="Forma Livre: Forma 110">
              <a:extLst>
                <a:ext uri="{FF2B5EF4-FFF2-40B4-BE49-F238E27FC236}">
                  <a16:creationId xmlns:a16="http://schemas.microsoft.com/office/drawing/2014/main" id="{CA5F50F3-71CC-4601-A142-8B7BC28B1580}"/>
                </a:ext>
              </a:extLst>
            </p:cNvPr>
            <p:cNvSpPr/>
            <p:nvPr/>
          </p:nvSpPr>
          <p:spPr>
            <a:xfrm>
              <a:off x="3315257" y="4958239"/>
              <a:ext cx="367016" cy="139695"/>
            </a:xfrm>
            <a:custGeom>
              <a:avLst/>
              <a:gdLst>
                <a:gd name="connsiteX0" fmla="*/ 336714 w 367016"/>
                <a:gd name="connsiteY0" fmla="*/ 139696 h 139695"/>
                <a:gd name="connsiteX1" fmla="*/ 29784 w 367016"/>
                <a:gd name="connsiteY1" fmla="*/ 139696 h 139695"/>
                <a:gd name="connsiteX2" fmla="*/ 612 w 367016"/>
                <a:gd name="connsiteY2" fmla="*/ 119403 h 139695"/>
                <a:gd name="connsiteX3" fmla="*/ 3149 w 367016"/>
                <a:gd name="connsiteY3" fmla="*/ 109891 h 139695"/>
                <a:gd name="connsiteX4" fmla="*/ 123004 w 367016"/>
                <a:gd name="connsiteY4" fmla="*/ 3353 h 139695"/>
                <a:gd name="connsiteX5" fmla="*/ 135053 w 367016"/>
                <a:gd name="connsiteY5" fmla="*/ 3987 h 139695"/>
                <a:gd name="connsiteX6" fmla="*/ 134419 w 367016"/>
                <a:gd name="connsiteY6" fmla="*/ 16036 h 139695"/>
                <a:gd name="connsiteX7" fmla="*/ 19003 w 367016"/>
                <a:gd name="connsiteY7" fmla="*/ 118135 h 139695"/>
                <a:gd name="connsiteX8" fmla="*/ 29784 w 367016"/>
                <a:gd name="connsiteY8" fmla="*/ 122574 h 139695"/>
                <a:gd name="connsiteX9" fmla="*/ 336714 w 367016"/>
                <a:gd name="connsiteY9" fmla="*/ 122574 h 139695"/>
                <a:gd name="connsiteX10" fmla="*/ 347494 w 367016"/>
                <a:gd name="connsiteY10" fmla="*/ 118135 h 139695"/>
                <a:gd name="connsiteX11" fmla="*/ 231444 w 367016"/>
                <a:gd name="connsiteY11" fmla="*/ 14768 h 139695"/>
                <a:gd name="connsiteX12" fmla="*/ 230810 w 367016"/>
                <a:gd name="connsiteY12" fmla="*/ 2719 h 139695"/>
                <a:gd name="connsiteX13" fmla="*/ 242859 w 367016"/>
                <a:gd name="connsiteY13" fmla="*/ 2085 h 139695"/>
                <a:gd name="connsiteX14" fmla="*/ 363982 w 367016"/>
                <a:gd name="connsiteY14" fmla="*/ 109891 h 139695"/>
                <a:gd name="connsiteX15" fmla="*/ 366519 w 367016"/>
                <a:gd name="connsiteY15" fmla="*/ 119403 h 139695"/>
                <a:gd name="connsiteX16" fmla="*/ 336714 w 367016"/>
                <a:gd name="connsiteY16" fmla="*/ 139696 h 139695"/>
                <a:gd name="connsiteX17" fmla="*/ 336714 w 367016"/>
                <a:gd name="connsiteY17" fmla="*/ 139696 h 139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67016" h="139695">
                  <a:moveTo>
                    <a:pt x="336714" y="139696"/>
                  </a:moveTo>
                  <a:lnTo>
                    <a:pt x="29784" y="139696"/>
                  </a:lnTo>
                  <a:cubicBezTo>
                    <a:pt x="17101" y="139696"/>
                    <a:pt x="5051" y="131452"/>
                    <a:pt x="612" y="119403"/>
                  </a:cubicBezTo>
                  <a:cubicBezTo>
                    <a:pt x="-656" y="116232"/>
                    <a:pt x="-22" y="112427"/>
                    <a:pt x="3149" y="109891"/>
                  </a:cubicBezTo>
                  <a:lnTo>
                    <a:pt x="123004" y="3353"/>
                  </a:lnTo>
                  <a:cubicBezTo>
                    <a:pt x="126175" y="182"/>
                    <a:pt x="131882" y="816"/>
                    <a:pt x="135053" y="3987"/>
                  </a:cubicBezTo>
                  <a:cubicBezTo>
                    <a:pt x="138224" y="7158"/>
                    <a:pt x="137590" y="12865"/>
                    <a:pt x="134419" y="16036"/>
                  </a:cubicBezTo>
                  <a:lnTo>
                    <a:pt x="19003" y="118135"/>
                  </a:lnTo>
                  <a:cubicBezTo>
                    <a:pt x="21539" y="121306"/>
                    <a:pt x="25344" y="122574"/>
                    <a:pt x="29784" y="122574"/>
                  </a:cubicBezTo>
                  <a:lnTo>
                    <a:pt x="336714" y="122574"/>
                  </a:lnTo>
                  <a:cubicBezTo>
                    <a:pt x="340519" y="122574"/>
                    <a:pt x="344324" y="120671"/>
                    <a:pt x="347494" y="118135"/>
                  </a:cubicBezTo>
                  <a:lnTo>
                    <a:pt x="231444" y="14768"/>
                  </a:lnTo>
                  <a:cubicBezTo>
                    <a:pt x="228274" y="11597"/>
                    <a:pt x="227639" y="6523"/>
                    <a:pt x="230810" y="2719"/>
                  </a:cubicBezTo>
                  <a:cubicBezTo>
                    <a:pt x="233981" y="-452"/>
                    <a:pt x="239054" y="-1086"/>
                    <a:pt x="242859" y="2085"/>
                  </a:cubicBezTo>
                  <a:lnTo>
                    <a:pt x="363982" y="109891"/>
                  </a:lnTo>
                  <a:cubicBezTo>
                    <a:pt x="366519" y="112427"/>
                    <a:pt x="367787" y="115598"/>
                    <a:pt x="366519" y="119403"/>
                  </a:cubicBezTo>
                  <a:cubicBezTo>
                    <a:pt x="361446" y="131452"/>
                    <a:pt x="349397" y="139696"/>
                    <a:pt x="336714" y="139696"/>
                  </a:cubicBezTo>
                  <a:lnTo>
                    <a:pt x="336714" y="139696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112" name="Gráfico 2">
              <a:extLst>
                <a:ext uri="{FF2B5EF4-FFF2-40B4-BE49-F238E27FC236}">
                  <a16:creationId xmlns:a16="http://schemas.microsoft.com/office/drawing/2014/main" id="{DC80C217-93B8-4831-A8BE-0817F1F32ECF}"/>
                </a:ext>
              </a:extLst>
            </p:cNvPr>
            <p:cNvGrpSpPr/>
            <p:nvPr/>
          </p:nvGrpSpPr>
          <p:grpSpPr>
            <a:xfrm>
              <a:off x="3435091" y="4735833"/>
              <a:ext cx="127464" cy="202295"/>
              <a:chOff x="3435091" y="4735833"/>
              <a:chExt cx="127464" cy="202295"/>
            </a:xfrm>
            <a:grpFill/>
          </p:grpSpPr>
          <p:sp>
            <p:nvSpPr>
              <p:cNvPr id="113" name="Forma Livre: Forma 112">
                <a:extLst>
                  <a:ext uri="{FF2B5EF4-FFF2-40B4-BE49-F238E27FC236}">
                    <a16:creationId xmlns:a16="http://schemas.microsoft.com/office/drawing/2014/main" id="{725FE0CD-CEB2-4190-A9EA-4869543B8C87}"/>
                  </a:ext>
                </a:extLst>
              </p:cNvPr>
              <p:cNvSpPr/>
              <p:nvPr/>
            </p:nvSpPr>
            <p:spPr>
              <a:xfrm>
                <a:off x="3435091" y="4735833"/>
                <a:ext cx="127464" cy="76732"/>
              </a:xfrm>
              <a:custGeom>
                <a:avLst/>
                <a:gdLst>
                  <a:gd name="connsiteX0" fmla="*/ 114148 w 127464"/>
                  <a:gd name="connsiteY0" fmla="*/ 76733 h 76732"/>
                  <a:gd name="connsiteX1" fmla="*/ 104635 w 127464"/>
                  <a:gd name="connsiteY1" fmla="*/ 72928 h 76732"/>
                  <a:gd name="connsiteX2" fmla="*/ 63415 w 127464"/>
                  <a:gd name="connsiteY2" fmla="*/ 31708 h 76732"/>
                  <a:gd name="connsiteX3" fmla="*/ 22195 w 127464"/>
                  <a:gd name="connsiteY3" fmla="*/ 72928 h 76732"/>
                  <a:gd name="connsiteX4" fmla="*/ 3805 w 127464"/>
                  <a:gd name="connsiteY4" fmla="*/ 72928 h 76732"/>
                  <a:gd name="connsiteX5" fmla="*/ 3805 w 127464"/>
                  <a:gd name="connsiteY5" fmla="*/ 54537 h 76732"/>
                  <a:gd name="connsiteX6" fmla="*/ 54537 w 127464"/>
                  <a:gd name="connsiteY6" fmla="*/ 3805 h 76732"/>
                  <a:gd name="connsiteX7" fmla="*/ 72928 w 127464"/>
                  <a:gd name="connsiteY7" fmla="*/ 3805 h 76732"/>
                  <a:gd name="connsiteX8" fmla="*/ 123660 w 127464"/>
                  <a:gd name="connsiteY8" fmla="*/ 54537 h 76732"/>
                  <a:gd name="connsiteX9" fmla="*/ 123660 w 127464"/>
                  <a:gd name="connsiteY9" fmla="*/ 72928 h 76732"/>
                  <a:gd name="connsiteX10" fmla="*/ 114148 w 127464"/>
                  <a:gd name="connsiteY10" fmla="*/ 76733 h 76732"/>
                  <a:gd name="connsiteX11" fmla="*/ 114148 w 127464"/>
                  <a:gd name="connsiteY11" fmla="*/ 76733 h 76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7464" h="76732">
                    <a:moveTo>
                      <a:pt x="114148" y="76733"/>
                    </a:moveTo>
                    <a:cubicBezTo>
                      <a:pt x="110977" y="76733"/>
                      <a:pt x="107172" y="75465"/>
                      <a:pt x="104635" y="72928"/>
                    </a:cubicBezTo>
                    <a:lnTo>
                      <a:pt x="63415" y="31708"/>
                    </a:lnTo>
                    <a:lnTo>
                      <a:pt x="22195" y="72928"/>
                    </a:lnTo>
                    <a:cubicBezTo>
                      <a:pt x="17122" y="78001"/>
                      <a:pt x="8878" y="78001"/>
                      <a:pt x="3805" y="72928"/>
                    </a:cubicBezTo>
                    <a:cubicBezTo>
                      <a:pt x="-1268" y="67855"/>
                      <a:pt x="-1268" y="59611"/>
                      <a:pt x="3805" y="54537"/>
                    </a:cubicBezTo>
                    <a:lnTo>
                      <a:pt x="54537" y="3805"/>
                    </a:lnTo>
                    <a:cubicBezTo>
                      <a:pt x="59610" y="-1268"/>
                      <a:pt x="67854" y="-1268"/>
                      <a:pt x="72928" y="3805"/>
                    </a:cubicBezTo>
                    <a:lnTo>
                      <a:pt x="123660" y="54537"/>
                    </a:lnTo>
                    <a:cubicBezTo>
                      <a:pt x="128733" y="59611"/>
                      <a:pt x="128733" y="67855"/>
                      <a:pt x="123660" y="72928"/>
                    </a:cubicBezTo>
                    <a:cubicBezTo>
                      <a:pt x="120489" y="75465"/>
                      <a:pt x="117318" y="76733"/>
                      <a:pt x="114148" y="76733"/>
                    </a:cubicBezTo>
                    <a:lnTo>
                      <a:pt x="114148" y="76733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14" name="Forma Livre: Forma 113">
                <a:extLst>
                  <a:ext uri="{FF2B5EF4-FFF2-40B4-BE49-F238E27FC236}">
                    <a16:creationId xmlns:a16="http://schemas.microsoft.com/office/drawing/2014/main" id="{6E9D6356-FCA2-44FE-98E2-745ED4C51181}"/>
                  </a:ext>
                </a:extLst>
              </p:cNvPr>
              <p:cNvSpPr/>
              <p:nvPr/>
            </p:nvSpPr>
            <p:spPr>
              <a:xfrm>
                <a:off x="3485189" y="4749150"/>
                <a:ext cx="26634" cy="188978"/>
              </a:xfrm>
              <a:custGeom>
                <a:avLst/>
                <a:gdLst>
                  <a:gd name="connsiteX0" fmla="*/ 13317 w 26634"/>
                  <a:gd name="connsiteY0" fmla="*/ 188978 h 188978"/>
                  <a:gd name="connsiteX1" fmla="*/ 0 w 26634"/>
                  <a:gd name="connsiteY1" fmla="*/ 175661 h 188978"/>
                  <a:gd name="connsiteX2" fmla="*/ 0 w 26634"/>
                  <a:gd name="connsiteY2" fmla="*/ 13317 h 188978"/>
                  <a:gd name="connsiteX3" fmla="*/ 13317 w 26634"/>
                  <a:gd name="connsiteY3" fmla="*/ 0 h 188978"/>
                  <a:gd name="connsiteX4" fmla="*/ 26635 w 26634"/>
                  <a:gd name="connsiteY4" fmla="*/ 13317 h 188978"/>
                  <a:gd name="connsiteX5" fmla="*/ 26635 w 26634"/>
                  <a:gd name="connsiteY5" fmla="*/ 175661 h 188978"/>
                  <a:gd name="connsiteX6" fmla="*/ 13317 w 26634"/>
                  <a:gd name="connsiteY6" fmla="*/ 188978 h 188978"/>
                  <a:gd name="connsiteX7" fmla="*/ 13317 w 26634"/>
                  <a:gd name="connsiteY7" fmla="*/ 188978 h 1889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6634" h="188978">
                    <a:moveTo>
                      <a:pt x="13317" y="188978"/>
                    </a:moveTo>
                    <a:cubicBezTo>
                      <a:pt x="6342" y="188978"/>
                      <a:pt x="0" y="183271"/>
                      <a:pt x="0" y="175661"/>
                    </a:cubicBezTo>
                    <a:lnTo>
                      <a:pt x="0" y="13317"/>
                    </a:lnTo>
                    <a:cubicBezTo>
                      <a:pt x="0" y="6342"/>
                      <a:pt x="5708" y="0"/>
                      <a:pt x="13317" y="0"/>
                    </a:cubicBezTo>
                    <a:cubicBezTo>
                      <a:pt x="20293" y="0"/>
                      <a:pt x="26635" y="5708"/>
                      <a:pt x="26635" y="13317"/>
                    </a:cubicBezTo>
                    <a:lnTo>
                      <a:pt x="26635" y="175661"/>
                    </a:lnTo>
                    <a:cubicBezTo>
                      <a:pt x="26635" y="182637"/>
                      <a:pt x="20293" y="188978"/>
                      <a:pt x="13317" y="188978"/>
                    </a:cubicBezTo>
                    <a:lnTo>
                      <a:pt x="13317" y="188978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115" name="Forma Livre: Forma 114">
              <a:extLst>
                <a:ext uri="{FF2B5EF4-FFF2-40B4-BE49-F238E27FC236}">
                  <a16:creationId xmlns:a16="http://schemas.microsoft.com/office/drawing/2014/main" id="{13E95A28-83E9-4F76-8AC8-B857423B933C}"/>
                </a:ext>
              </a:extLst>
            </p:cNvPr>
            <p:cNvSpPr/>
            <p:nvPr/>
          </p:nvSpPr>
          <p:spPr>
            <a:xfrm>
              <a:off x="3305089" y="4825248"/>
              <a:ext cx="386833" cy="280930"/>
            </a:xfrm>
            <a:custGeom>
              <a:avLst/>
              <a:gdLst>
                <a:gd name="connsiteX0" fmla="*/ 346882 w 386833"/>
                <a:gd name="connsiteY0" fmla="*/ 280930 h 280930"/>
                <a:gd name="connsiteX1" fmla="*/ 39952 w 386833"/>
                <a:gd name="connsiteY1" fmla="*/ 280930 h 280930"/>
                <a:gd name="connsiteX2" fmla="*/ 0 w 386833"/>
                <a:gd name="connsiteY2" fmla="*/ 240978 h 280930"/>
                <a:gd name="connsiteX3" fmla="*/ 0 w 386833"/>
                <a:gd name="connsiteY3" fmla="*/ 40586 h 280930"/>
                <a:gd name="connsiteX4" fmla="*/ 39952 w 386833"/>
                <a:gd name="connsiteY4" fmla="*/ 634 h 280930"/>
                <a:gd name="connsiteX5" fmla="*/ 147758 w 386833"/>
                <a:gd name="connsiteY5" fmla="*/ 634 h 280930"/>
                <a:gd name="connsiteX6" fmla="*/ 164880 w 386833"/>
                <a:gd name="connsiteY6" fmla="*/ 17757 h 280930"/>
                <a:gd name="connsiteX7" fmla="*/ 147758 w 386833"/>
                <a:gd name="connsiteY7" fmla="*/ 34878 h 280930"/>
                <a:gd name="connsiteX8" fmla="*/ 39952 w 386833"/>
                <a:gd name="connsiteY8" fmla="*/ 34878 h 280930"/>
                <a:gd name="connsiteX9" fmla="*/ 33610 w 386833"/>
                <a:gd name="connsiteY9" fmla="*/ 41220 h 280930"/>
                <a:gd name="connsiteX10" fmla="*/ 33610 w 386833"/>
                <a:gd name="connsiteY10" fmla="*/ 241613 h 280930"/>
                <a:gd name="connsiteX11" fmla="*/ 39952 w 386833"/>
                <a:gd name="connsiteY11" fmla="*/ 247954 h 280930"/>
                <a:gd name="connsiteX12" fmla="*/ 346882 w 386833"/>
                <a:gd name="connsiteY12" fmla="*/ 247954 h 280930"/>
                <a:gd name="connsiteX13" fmla="*/ 353224 w 386833"/>
                <a:gd name="connsiteY13" fmla="*/ 241613 h 280930"/>
                <a:gd name="connsiteX14" fmla="*/ 353224 w 386833"/>
                <a:gd name="connsiteY14" fmla="*/ 40586 h 280930"/>
                <a:gd name="connsiteX15" fmla="*/ 346882 w 386833"/>
                <a:gd name="connsiteY15" fmla="*/ 34244 h 280930"/>
                <a:gd name="connsiteX16" fmla="*/ 239076 w 386833"/>
                <a:gd name="connsiteY16" fmla="*/ 34244 h 280930"/>
                <a:gd name="connsiteX17" fmla="*/ 221954 w 386833"/>
                <a:gd name="connsiteY17" fmla="*/ 17122 h 280930"/>
                <a:gd name="connsiteX18" fmla="*/ 239076 w 386833"/>
                <a:gd name="connsiteY18" fmla="*/ 0 h 280930"/>
                <a:gd name="connsiteX19" fmla="*/ 346882 w 386833"/>
                <a:gd name="connsiteY19" fmla="*/ 0 h 280930"/>
                <a:gd name="connsiteX20" fmla="*/ 386834 w 386833"/>
                <a:gd name="connsiteY20" fmla="*/ 39952 h 280930"/>
                <a:gd name="connsiteX21" fmla="*/ 386834 w 386833"/>
                <a:gd name="connsiteY21" fmla="*/ 240344 h 280930"/>
                <a:gd name="connsiteX22" fmla="*/ 346882 w 386833"/>
                <a:gd name="connsiteY22" fmla="*/ 280930 h 280930"/>
                <a:gd name="connsiteX23" fmla="*/ 346882 w 386833"/>
                <a:gd name="connsiteY23" fmla="*/ 280930 h 28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86833" h="280930">
                  <a:moveTo>
                    <a:pt x="346882" y="280930"/>
                  </a:moveTo>
                  <a:lnTo>
                    <a:pt x="39952" y="280930"/>
                  </a:lnTo>
                  <a:cubicBezTo>
                    <a:pt x="17756" y="280930"/>
                    <a:pt x="0" y="263174"/>
                    <a:pt x="0" y="240978"/>
                  </a:cubicBezTo>
                  <a:lnTo>
                    <a:pt x="0" y="40586"/>
                  </a:lnTo>
                  <a:cubicBezTo>
                    <a:pt x="0" y="18391"/>
                    <a:pt x="17756" y="634"/>
                    <a:pt x="39952" y="634"/>
                  </a:cubicBezTo>
                  <a:lnTo>
                    <a:pt x="147758" y="634"/>
                  </a:lnTo>
                  <a:cubicBezTo>
                    <a:pt x="157270" y="634"/>
                    <a:pt x="164880" y="8244"/>
                    <a:pt x="164880" y="17757"/>
                  </a:cubicBezTo>
                  <a:cubicBezTo>
                    <a:pt x="164880" y="27269"/>
                    <a:pt x="157270" y="34878"/>
                    <a:pt x="147758" y="34878"/>
                  </a:cubicBezTo>
                  <a:lnTo>
                    <a:pt x="39952" y="34878"/>
                  </a:lnTo>
                  <a:cubicBezTo>
                    <a:pt x="36781" y="34878"/>
                    <a:pt x="33610" y="37415"/>
                    <a:pt x="33610" y="41220"/>
                  </a:cubicBezTo>
                  <a:lnTo>
                    <a:pt x="33610" y="241613"/>
                  </a:lnTo>
                  <a:cubicBezTo>
                    <a:pt x="33610" y="244784"/>
                    <a:pt x="36147" y="247954"/>
                    <a:pt x="39952" y="247954"/>
                  </a:cubicBezTo>
                  <a:lnTo>
                    <a:pt x="346882" y="247954"/>
                  </a:lnTo>
                  <a:cubicBezTo>
                    <a:pt x="350053" y="247954"/>
                    <a:pt x="353224" y="245418"/>
                    <a:pt x="353224" y="241613"/>
                  </a:cubicBezTo>
                  <a:lnTo>
                    <a:pt x="353224" y="40586"/>
                  </a:lnTo>
                  <a:cubicBezTo>
                    <a:pt x="353224" y="37415"/>
                    <a:pt x="350687" y="34244"/>
                    <a:pt x="346882" y="34244"/>
                  </a:cubicBezTo>
                  <a:lnTo>
                    <a:pt x="239076" y="34244"/>
                  </a:lnTo>
                  <a:cubicBezTo>
                    <a:pt x="229564" y="34244"/>
                    <a:pt x="221954" y="26635"/>
                    <a:pt x="221954" y="17122"/>
                  </a:cubicBezTo>
                  <a:cubicBezTo>
                    <a:pt x="221954" y="7610"/>
                    <a:pt x="229564" y="0"/>
                    <a:pt x="239076" y="0"/>
                  </a:cubicBezTo>
                  <a:lnTo>
                    <a:pt x="346882" y="0"/>
                  </a:lnTo>
                  <a:cubicBezTo>
                    <a:pt x="369078" y="0"/>
                    <a:pt x="386834" y="17757"/>
                    <a:pt x="386834" y="39952"/>
                  </a:cubicBezTo>
                  <a:lnTo>
                    <a:pt x="386834" y="240344"/>
                  </a:lnTo>
                  <a:cubicBezTo>
                    <a:pt x="386834" y="263174"/>
                    <a:pt x="369078" y="280930"/>
                    <a:pt x="346882" y="280930"/>
                  </a:cubicBezTo>
                  <a:lnTo>
                    <a:pt x="346882" y="280930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16" name="Forma Livre: Forma 115">
              <a:extLst>
                <a:ext uri="{FF2B5EF4-FFF2-40B4-BE49-F238E27FC236}">
                  <a16:creationId xmlns:a16="http://schemas.microsoft.com/office/drawing/2014/main" id="{9B32947C-CF88-4400-8C13-CA4AF6F0EB50}"/>
                </a:ext>
              </a:extLst>
            </p:cNvPr>
            <p:cNvSpPr/>
            <p:nvPr/>
          </p:nvSpPr>
          <p:spPr>
            <a:xfrm>
              <a:off x="3315053" y="4849164"/>
              <a:ext cx="366905" cy="172671"/>
            </a:xfrm>
            <a:custGeom>
              <a:avLst/>
              <a:gdLst>
                <a:gd name="connsiteX0" fmla="*/ 183453 w 366905"/>
                <a:gd name="connsiteY0" fmla="*/ 172672 h 172671"/>
                <a:gd name="connsiteX1" fmla="*/ 177745 w 366905"/>
                <a:gd name="connsiteY1" fmla="*/ 170769 h 172671"/>
                <a:gd name="connsiteX2" fmla="*/ 2719 w 366905"/>
                <a:gd name="connsiteY2" fmla="*/ 14768 h 172671"/>
                <a:gd name="connsiteX3" fmla="*/ 2085 w 366905"/>
                <a:gd name="connsiteY3" fmla="*/ 2719 h 172671"/>
                <a:gd name="connsiteX4" fmla="*/ 14134 w 366905"/>
                <a:gd name="connsiteY4" fmla="*/ 2085 h 172671"/>
                <a:gd name="connsiteX5" fmla="*/ 183453 w 366905"/>
                <a:gd name="connsiteY5" fmla="*/ 153013 h 172671"/>
                <a:gd name="connsiteX6" fmla="*/ 352772 w 366905"/>
                <a:gd name="connsiteY6" fmla="*/ 2085 h 172671"/>
                <a:gd name="connsiteX7" fmla="*/ 364821 w 366905"/>
                <a:gd name="connsiteY7" fmla="*/ 2719 h 172671"/>
                <a:gd name="connsiteX8" fmla="*/ 364186 w 366905"/>
                <a:gd name="connsiteY8" fmla="*/ 14768 h 172671"/>
                <a:gd name="connsiteX9" fmla="*/ 189160 w 366905"/>
                <a:gd name="connsiteY9" fmla="*/ 170769 h 172671"/>
                <a:gd name="connsiteX10" fmla="*/ 183453 w 366905"/>
                <a:gd name="connsiteY10" fmla="*/ 172672 h 172671"/>
                <a:gd name="connsiteX11" fmla="*/ 183453 w 366905"/>
                <a:gd name="connsiteY11" fmla="*/ 172672 h 172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6905" h="172671">
                  <a:moveTo>
                    <a:pt x="183453" y="172672"/>
                  </a:moveTo>
                  <a:cubicBezTo>
                    <a:pt x="181550" y="172672"/>
                    <a:pt x="179648" y="172038"/>
                    <a:pt x="177745" y="170769"/>
                  </a:cubicBezTo>
                  <a:lnTo>
                    <a:pt x="2719" y="14768"/>
                  </a:lnTo>
                  <a:cubicBezTo>
                    <a:pt x="-452" y="11597"/>
                    <a:pt x="-1086" y="6524"/>
                    <a:pt x="2085" y="2719"/>
                  </a:cubicBezTo>
                  <a:cubicBezTo>
                    <a:pt x="5255" y="-452"/>
                    <a:pt x="10329" y="-1086"/>
                    <a:pt x="14134" y="2085"/>
                  </a:cubicBezTo>
                  <a:lnTo>
                    <a:pt x="183453" y="153013"/>
                  </a:lnTo>
                  <a:lnTo>
                    <a:pt x="352772" y="2085"/>
                  </a:lnTo>
                  <a:cubicBezTo>
                    <a:pt x="356577" y="-1086"/>
                    <a:pt x="361650" y="-452"/>
                    <a:pt x="364821" y="2719"/>
                  </a:cubicBezTo>
                  <a:cubicBezTo>
                    <a:pt x="367991" y="5889"/>
                    <a:pt x="367357" y="11597"/>
                    <a:pt x="364186" y="14768"/>
                  </a:cubicBezTo>
                  <a:lnTo>
                    <a:pt x="189160" y="170769"/>
                  </a:lnTo>
                  <a:cubicBezTo>
                    <a:pt x="187258" y="172038"/>
                    <a:pt x="185355" y="172672"/>
                    <a:pt x="183453" y="172672"/>
                  </a:cubicBezTo>
                  <a:lnTo>
                    <a:pt x="183453" y="172672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17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8459384" y="4657996"/>
            <a:ext cx="383157" cy="426040"/>
            <a:chOff x="8486125" y="4704517"/>
            <a:chExt cx="387467" cy="430832"/>
          </a:xfrm>
          <a:solidFill>
            <a:srgbClr val="B1B1A1"/>
          </a:solidFill>
        </p:grpSpPr>
        <p:sp>
          <p:nvSpPr>
            <p:cNvPr id="118" name="Forma Livre: Forma 117">
              <a:extLst>
                <a:ext uri="{FF2B5EF4-FFF2-40B4-BE49-F238E27FC236}">
                  <a16:creationId xmlns:a16="http://schemas.microsoft.com/office/drawing/2014/main" id="{EE5143A4-EB26-4CF6-8C6F-26DCD035821D}"/>
                </a:ext>
              </a:extLst>
            </p:cNvPr>
            <p:cNvSpPr/>
            <p:nvPr/>
          </p:nvSpPr>
          <p:spPr>
            <a:xfrm>
              <a:off x="8591594" y="4704517"/>
              <a:ext cx="151104" cy="68731"/>
            </a:xfrm>
            <a:custGeom>
              <a:avLst/>
              <a:gdLst>
                <a:gd name="connsiteX0" fmla="*/ 36581 w 151104"/>
                <a:gd name="connsiteY0" fmla="*/ 68731 h 68731"/>
                <a:gd name="connsiteX1" fmla="*/ 22630 w 151104"/>
                <a:gd name="connsiteY1" fmla="*/ 61121 h 68731"/>
                <a:gd name="connsiteX2" fmla="*/ 1703 w 151104"/>
                <a:gd name="connsiteY2" fmla="*/ 55414 h 68731"/>
                <a:gd name="connsiteX3" fmla="*/ 79069 w 151104"/>
                <a:gd name="connsiteY3" fmla="*/ 2779 h 68731"/>
                <a:gd name="connsiteX4" fmla="*/ 98728 w 151104"/>
                <a:gd name="connsiteY4" fmla="*/ 3413 h 68731"/>
                <a:gd name="connsiteX5" fmla="*/ 144388 w 151104"/>
                <a:gd name="connsiteY5" fmla="*/ 37657 h 68731"/>
                <a:gd name="connsiteX6" fmla="*/ 147558 w 151104"/>
                <a:gd name="connsiteY6" fmla="*/ 61121 h 68731"/>
                <a:gd name="connsiteX7" fmla="*/ 124094 w 151104"/>
                <a:gd name="connsiteY7" fmla="*/ 64292 h 68731"/>
                <a:gd name="connsiteX8" fmla="*/ 87948 w 151104"/>
                <a:gd name="connsiteY8" fmla="*/ 37023 h 68731"/>
                <a:gd name="connsiteX9" fmla="*/ 46094 w 151104"/>
                <a:gd name="connsiteY9" fmla="*/ 65560 h 68731"/>
                <a:gd name="connsiteX10" fmla="*/ 36581 w 151104"/>
                <a:gd name="connsiteY10" fmla="*/ 68731 h 68731"/>
                <a:gd name="connsiteX11" fmla="*/ 36581 w 151104"/>
                <a:gd name="connsiteY11" fmla="*/ 68731 h 68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1104" h="68731">
                  <a:moveTo>
                    <a:pt x="36581" y="68731"/>
                  </a:moveTo>
                  <a:cubicBezTo>
                    <a:pt x="30874" y="68731"/>
                    <a:pt x="25800" y="66194"/>
                    <a:pt x="22630" y="61121"/>
                  </a:cubicBezTo>
                  <a:cubicBezTo>
                    <a:pt x="17557" y="53511"/>
                    <a:pt x="-6541" y="60487"/>
                    <a:pt x="1703" y="55414"/>
                  </a:cubicBezTo>
                  <a:lnTo>
                    <a:pt x="79069" y="2779"/>
                  </a:lnTo>
                  <a:cubicBezTo>
                    <a:pt x="84777" y="-1026"/>
                    <a:pt x="93020" y="-1026"/>
                    <a:pt x="98728" y="3413"/>
                  </a:cubicBezTo>
                  <a:lnTo>
                    <a:pt x="144388" y="37657"/>
                  </a:lnTo>
                  <a:cubicBezTo>
                    <a:pt x="151997" y="43365"/>
                    <a:pt x="153265" y="54145"/>
                    <a:pt x="147558" y="61121"/>
                  </a:cubicBezTo>
                  <a:cubicBezTo>
                    <a:pt x="141851" y="68731"/>
                    <a:pt x="131070" y="69999"/>
                    <a:pt x="124094" y="64292"/>
                  </a:cubicBezTo>
                  <a:lnTo>
                    <a:pt x="87948" y="37023"/>
                  </a:lnTo>
                  <a:lnTo>
                    <a:pt x="46094" y="65560"/>
                  </a:lnTo>
                  <a:cubicBezTo>
                    <a:pt x="42923" y="68097"/>
                    <a:pt x="39752" y="68731"/>
                    <a:pt x="36581" y="68731"/>
                  </a:cubicBezTo>
                  <a:lnTo>
                    <a:pt x="36581" y="68731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19" name="Forma Livre: Forma 118">
              <a:extLst>
                <a:ext uri="{FF2B5EF4-FFF2-40B4-BE49-F238E27FC236}">
                  <a16:creationId xmlns:a16="http://schemas.microsoft.com/office/drawing/2014/main" id="{F94A3CDA-6F77-4778-9415-0FE6D521B6D9}"/>
                </a:ext>
              </a:extLst>
            </p:cNvPr>
            <p:cNvSpPr/>
            <p:nvPr/>
          </p:nvSpPr>
          <p:spPr>
            <a:xfrm>
              <a:off x="8486125" y="4818690"/>
              <a:ext cx="387467" cy="316659"/>
            </a:xfrm>
            <a:custGeom>
              <a:avLst/>
              <a:gdLst>
                <a:gd name="connsiteX0" fmla="*/ 346882 w 387467"/>
                <a:gd name="connsiteY0" fmla="*/ 316660 h 316659"/>
                <a:gd name="connsiteX1" fmla="*/ 39951 w 387467"/>
                <a:gd name="connsiteY1" fmla="*/ 316660 h 316659"/>
                <a:gd name="connsiteX2" fmla="*/ 0 w 387467"/>
                <a:gd name="connsiteY2" fmla="*/ 276708 h 316659"/>
                <a:gd name="connsiteX3" fmla="*/ 0 w 387467"/>
                <a:gd name="connsiteY3" fmla="*/ 52852 h 316659"/>
                <a:gd name="connsiteX4" fmla="*/ 5708 w 387467"/>
                <a:gd name="connsiteY4" fmla="*/ 40169 h 316659"/>
                <a:gd name="connsiteX5" fmla="*/ 51366 w 387467"/>
                <a:gd name="connsiteY5" fmla="*/ 1485 h 316659"/>
                <a:gd name="connsiteX6" fmla="*/ 61513 w 387467"/>
                <a:gd name="connsiteY6" fmla="*/ 15437 h 316659"/>
                <a:gd name="connsiteX7" fmla="*/ 59611 w 387467"/>
                <a:gd name="connsiteY7" fmla="*/ 39535 h 316659"/>
                <a:gd name="connsiteX8" fmla="*/ 33610 w 387467"/>
                <a:gd name="connsiteY8" fmla="*/ 61730 h 316659"/>
                <a:gd name="connsiteX9" fmla="*/ 33610 w 387467"/>
                <a:gd name="connsiteY9" fmla="*/ 277342 h 316659"/>
                <a:gd name="connsiteX10" fmla="*/ 39951 w 387467"/>
                <a:gd name="connsiteY10" fmla="*/ 283684 h 316659"/>
                <a:gd name="connsiteX11" fmla="*/ 346882 w 387467"/>
                <a:gd name="connsiteY11" fmla="*/ 283684 h 316659"/>
                <a:gd name="connsiteX12" fmla="*/ 353223 w 387467"/>
                <a:gd name="connsiteY12" fmla="*/ 277342 h 316659"/>
                <a:gd name="connsiteX13" fmla="*/ 353223 w 387467"/>
                <a:gd name="connsiteY13" fmla="*/ 61730 h 316659"/>
                <a:gd name="connsiteX14" fmla="*/ 327223 w 387467"/>
                <a:gd name="connsiteY14" fmla="*/ 40169 h 316659"/>
                <a:gd name="connsiteX15" fmla="*/ 325320 w 387467"/>
                <a:gd name="connsiteY15" fmla="*/ 16071 h 316659"/>
                <a:gd name="connsiteX16" fmla="*/ 349419 w 387467"/>
                <a:gd name="connsiteY16" fmla="*/ 14169 h 316659"/>
                <a:gd name="connsiteX17" fmla="*/ 381126 w 387467"/>
                <a:gd name="connsiteY17" fmla="*/ 40803 h 316659"/>
                <a:gd name="connsiteX18" fmla="*/ 387468 w 387467"/>
                <a:gd name="connsiteY18" fmla="*/ 53486 h 316659"/>
                <a:gd name="connsiteX19" fmla="*/ 387468 w 387467"/>
                <a:gd name="connsiteY19" fmla="*/ 277342 h 316659"/>
                <a:gd name="connsiteX20" fmla="*/ 346882 w 387467"/>
                <a:gd name="connsiteY20" fmla="*/ 316660 h 316659"/>
                <a:gd name="connsiteX21" fmla="*/ 346882 w 387467"/>
                <a:gd name="connsiteY21" fmla="*/ 316660 h 316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87467" h="316659">
                  <a:moveTo>
                    <a:pt x="346882" y="316660"/>
                  </a:moveTo>
                  <a:lnTo>
                    <a:pt x="39951" y="316660"/>
                  </a:lnTo>
                  <a:cubicBezTo>
                    <a:pt x="17756" y="316660"/>
                    <a:pt x="0" y="298904"/>
                    <a:pt x="0" y="276708"/>
                  </a:cubicBezTo>
                  <a:lnTo>
                    <a:pt x="0" y="52852"/>
                  </a:lnTo>
                  <a:cubicBezTo>
                    <a:pt x="0" y="47779"/>
                    <a:pt x="1902" y="43340"/>
                    <a:pt x="5708" y="40169"/>
                  </a:cubicBezTo>
                  <a:lnTo>
                    <a:pt x="51366" y="1485"/>
                  </a:lnTo>
                  <a:cubicBezTo>
                    <a:pt x="58342" y="-4222"/>
                    <a:pt x="55171" y="7827"/>
                    <a:pt x="61513" y="15437"/>
                  </a:cubicBezTo>
                  <a:cubicBezTo>
                    <a:pt x="67854" y="22412"/>
                    <a:pt x="66586" y="33193"/>
                    <a:pt x="59611" y="39535"/>
                  </a:cubicBezTo>
                  <a:lnTo>
                    <a:pt x="33610" y="61730"/>
                  </a:lnTo>
                  <a:lnTo>
                    <a:pt x="33610" y="277342"/>
                  </a:lnTo>
                  <a:cubicBezTo>
                    <a:pt x="33610" y="280513"/>
                    <a:pt x="36146" y="283684"/>
                    <a:pt x="39951" y="283684"/>
                  </a:cubicBezTo>
                  <a:lnTo>
                    <a:pt x="346882" y="283684"/>
                  </a:lnTo>
                  <a:cubicBezTo>
                    <a:pt x="350053" y="283684"/>
                    <a:pt x="353223" y="281148"/>
                    <a:pt x="353223" y="277342"/>
                  </a:cubicBezTo>
                  <a:lnTo>
                    <a:pt x="353223" y="61730"/>
                  </a:lnTo>
                  <a:lnTo>
                    <a:pt x="327223" y="40169"/>
                  </a:lnTo>
                  <a:cubicBezTo>
                    <a:pt x="320248" y="34462"/>
                    <a:pt x="318979" y="23681"/>
                    <a:pt x="325320" y="16071"/>
                  </a:cubicBezTo>
                  <a:cubicBezTo>
                    <a:pt x="331028" y="9095"/>
                    <a:pt x="341809" y="7827"/>
                    <a:pt x="349419" y="14169"/>
                  </a:cubicBezTo>
                  <a:lnTo>
                    <a:pt x="381126" y="40803"/>
                  </a:lnTo>
                  <a:cubicBezTo>
                    <a:pt x="384931" y="43974"/>
                    <a:pt x="387468" y="49047"/>
                    <a:pt x="387468" y="53486"/>
                  </a:cubicBezTo>
                  <a:lnTo>
                    <a:pt x="387468" y="277342"/>
                  </a:lnTo>
                  <a:cubicBezTo>
                    <a:pt x="386200" y="298904"/>
                    <a:pt x="368443" y="316660"/>
                    <a:pt x="346882" y="316660"/>
                  </a:cubicBezTo>
                  <a:lnTo>
                    <a:pt x="346882" y="316660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20" name="Forma Livre: Forma 119">
              <a:extLst>
                <a:ext uri="{FF2B5EF4-FFF2-40B4-BE49-F238E27FC236}">
                  <a16:creationId xmlns:a16="http://schemas.microsoft.com/office/drawing/2014/main" id="{18B6C852-F3F2-440F-A1A1-29E7EF5D937A}"/>
                </a:ext>
              </a:extLst>
            </p:cNvPr>
            <p:cNvSpPr/>
            <p:nvPr/>
          </p:nvSpPr>
          <p:spPr>
            <a:xfrm>
              <a:off x="8496293" y="4938921"/>
              <a:ext cx="367650" cy="188185"/>
            </a:xfrm>
            <a:custGeom>
              <a:avLst/>
              <a:gdLst>
                <a:gd name="connsiteX0" fmla="*/ 336714 w 367650"/>
                <a:gd name="connsiteY0" fmla="*/ 188185 h 188185"/>
                <a:gd name="connsiteX1" fmla="*/ 29783 w 367650"/>
                <a:gd name="connsiteY1" fmla="*/ 188185 h 188185"/>
                <a:gd name="connsiteX2" fmla="*/ 612 w 367650"/>
                <a:gd name="connsiteY2" fmla="*/ 167892 h 188185"/>
                <a:gd name="connsiteX3" fmla="*/ 3149 w 367650"/>
                <a:gd name="connsiteY3" fmla="*/ 158380 h 188185"/>
                <a:gd name="connsiteX4" fmla="*/ 178175 w 367650"/>
                <a:gd name="connsiteY4" fmla="*/ 2378 h 188185"/>
                <a:gd name="connsiteX5" fmla="*/ 189590 w 367650"/>
                <a:gd name="connsiteY5" fmla="*/ 2378 h 188185"/>
                <a:gd name="connsiteX6" fmla="*/ 364617 w 367650"/>
                <a:gd name="connsiteY6" fmla="*/ 158380 h 188185"/>
                <a:gd name="connsiteX7" fmla="*/ 367153 w 367650"/>
                <a:gd name="connsiteY7" fmla="*/ 167892 h 188185"/>
                <a:gd name="connsiteX8" fmla="*/ 336714 w 367650"/>
                <a:gd name="connsiteY8" fmla="*/ 188185 h 188185"/>
                <a:gd name="connsiteX9" fmla="*/ 336714 w 367650"/>
                <a:gd name="connsiteY9" fmla="*/ 188185 h 188185"/>
                <a:gd name="connsiteX10" fmla="*/ 19003 w 367650"/>
                <a:gd name="connsiteY10" fmla="*/ 166624 h 188185"/>
                <a:gd name="connsiteX11" fmla="*/ 29783 w 367650"/>
                <a:gd name="connsiteY11" fmla="*/ 171063 h 188185"/>
                <a:gd name="connsiteX12" fmla="*/ 336714 w 367650"/>
                <a:gd name="connsiteY12" fmla="*/ 171063 h 188185"/>
                <a:gd name="connsiteX13" fmla="*/ 347495 w 367650"/>
                <a:gd name="connsiteY13" fmla="*/ 166624 h 188185"/>
                <a:gd name="connsiteX14" fmla="*/ 183249 w 367650"/>
                <a:gd name="connsiteY14" fmla="*/ 20134 h 188185"/>
                <a:gd name="connsiteX15" fmla="*/ 19003 w 367650"/>
                <a:gd name="connsiteY15" fmla="*/ 166624 h 188185"/>
                <a:gd name="connsiteX16" fmla="*/ 19003 w 367650"/>
                <a:gd name="connsiteY16" fmla="*/ 166624 h 188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67650" h="188185">
                  <a:moveTo>
                    <a:pt x="336714" y="188185"/>
                  </a:moveTo>
                  <a:lnTo>
                    <a:pt x="29783" y="188185"/>
                  </a:lnTo>
                  <a:cubicBezTo>
                    <a:pt x="17100" y="188185"/>
                    <a:pt x="5052" y="179941"/>
                    <a:pt x="612" y="167892"/>
                  </a:cubicBezTo>
                  <a:cubicBezTo>
                    <a:pt x="-656" y="164721"/>
                    <a:pt x="-22" y="160917"/>
                    <a:pt x="3149" y="158380"/>
                  </a:cubicBezTo>
                  <a:lnTo>
                    <a:pt x="178175" y="2378"/>
                  </a:lnTo>
                  <a:cubicBezTo>
                    <a:pt x="181346" y="-793"/>
                    <a:pt x="186420" y="-793"/>
                    <a:pt x="189590" y="2378"/>
                  </a:cubicBezTo>
                  <a:lnTo>
                    <a:pt x="364617" y="158380"/>
                  </a:lnTo>
                  <a:cubicBezTo>
                    <a:pt x="367153" y="160917"/>
                    <a:pt x="368421" y="164721"/>
                    <a:pt x="367153" y="167892"/>
                  </a:cubicBezTo>
                  <a:cubicBezTo>
                    <a:pt x="360812" y="179941"/>
                    <a:pt x="349397" y="188185"/>
                    <a:pt x="336714" y="188185"/>
                  </a:cubicBezTo>
                  <a:lnTo>
                    <a:pt x="336714" y="188185"/>
                  </a:lnTo>
                  <a:close/>
                  <a:moveTo>
                    <a:pt x="19003" y="166624"/>
                  </a:moveTo>
                  <a:cubicBezTo>
                    <a:pt x="21540" y="169794"/>
                    <a:pt x="25344" y="171063"/>
                    <a:pt x="29783" y="171063"/>
                  </a:cubicBezTo>
                  <a:lnTo>
                    <a:pt x="336714" y="171063"/>
                  </a:lnTo>
                  <a:cubicBezTo>
                    <a:pt x="341153" y="171063"/>
                    <a:pt x="344958" y="169160"/>
                    <a:pt x="347495" y="166624"/>
                  </a:cubicBezTo>
                  <a:lnTo>
                    <a:pt x="183249" y="20134"/>
                  </a:lnTo>
                  <a:lnTo>
                    <a:pt x="19003" y="166624"/>
                  </a:lnTo>
                  <a:lnTo>
                    <a:pt x="19003" y="16662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121" name="Gráfico 2">
              <a:extLst>
                <a:ext uri="{FF2B5EF4-FFF2-40B4-BE49-F238E27FC236}">
                  <a16:creationId xmlns:a16="http://schemas.microsoft.com/office/drawing/2014/main" id="{DC80C217-93B8-4831-A8BE-0817F1F32ECF}"/>
                </a:ext>
              </a:extLst>
            </p:cNvPr>
            <p:cNvGrpSpPr/>
            <p:nvPr/>
          </p:nvGrpSpPr>
          <p:grpSpPr>
            <a:xfrm>
              <a:off x="8496089" y="4878335"/>
              <a:ext cx="366904" cy="125744"/>
              <a:chOff x="8496089" y="4878335"/>
              <a:chExt cx="366904" cy="125744"/>
            </a:xfrm>
            <a:grpFill/>
          </p:grpSpPr>
          <p:sp>
            <p:nvSpPr>
              <p:cNvPr id="122" name="Forma Livre: Forma 121">
                <a:extLst>
                  <a:ext uri="{FF2B5EF4-FFF2-40B4-BE49-F238E27FC236}">
                    <a16:creationId xmlns:a16="http://schemas.microsoft.com/office/drawing/2014/main" id="{B7D68165-3AAE-43B0-A1DD-3D3E59C20895}"/>
                  </a:ext>
                </a:extLst>
              </p:cNvPr>
              <p:cNvSpPr/>
              <p:nvPr/>
            </p:nvSpPr>
            <p:spPr>
              <a:xfrm>
                <a:off x="8725019" y="4878335"/>
                <a:ext cx="137975" cy="124476"/>
              </a:xfrm>
              <a:custGeom>
                <a:avLst/>
                <a:gdLst>
                  <a:gd name="connsiteX0" fmla="*/ 8426 w 137975"/>
                  <a:gd name="connsiteY0" fmla="*/ 124476 h 124476"/>
                  <a:gd name="connsiteX1" fmla="*/ 2085 w 137975"/>
                  <a:gd name="connsiteY1" fmla="*/ 121940 h 124476"/>
                  <a:gd name="connsiteX2" fmla="*/ 2719 w 137975"/>
                  <a:gd name="connsiteY2" fmla="*/ 109891 h 124476"/>
                  <a:gd name="connsiteX3" fmla="*/ 123842 w 137975"/>
                  <a:gd name="connsiteY3" fmla="*/ 2085 h 124476"/>
                  <a:gd name="connsiteX4" fmla="*/ 135891 w 137975"/>
                  <a:gd name="connsiteY4" fmla="*/ 2719 h 124476"/>
                  <a:gd name="connsiteX5" fmla="*/ 135257 w 137975"/>
                  <a:gd name="connsiteY5" fmla="*/ 14768 h 124476"/>
                  <a:gd name="connsiteX6" fmla="*/ 14134 w 137975"/>
                  <a:gd name="connsiteY6" fmla="*/ 122574 h 124476"/>
                  <a:gd name="connsiteX7" fmla="*/ 8426 w 137975"/>
                  <a:gd name="connsiteY7" fmla="*/ 124476 h 124476"/>
                  <a:gd name="connsiteX8" fmla="*/ 8426 w 137975"/>
                  <a:gd name="connsiteY8" fmla="*/ 124476 h 124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7975" h="124476">
                    <a:moveTo>
                      <a:pt x="8426" y="124476"/>
                    </a:moveTo>
                    <a:cubicBezTo>
                      <a:pt x="5889" y="124476"/>
                      <a:pt x="3987" y="123208"/>
                      <a:pt x="2085" y="121940"/>
                    </a:cubicBezTo>
                    <a:cubicBezTo>
                      <a:pt x="-1086" y="118769"/>
                      <a:pt x="-452" y="113061"/>
                      <a:pt x="2719" y="109891"/>
                    </a:cubicBezTo>
                    <a:lnTo>
                      <a:pt x="123842" y="2085"/>
                    </a:lnTo>
                    <a:cubicBezTo>
                      <a:pt x="127647" y="-1086"/>
                      <a:pt x="132720" y="-452"/>
                      <a:pt x="135891" y="2719"/>
                    </a:cubicBezTo>
                    <a:cubicBezTo>
                      <a:pt x="139062" y="5890"/>
                      <a:pt x="138428" y="11597"/>
                      <a:pt x="135257" y="14768"/>
                    </a:cubicBezTo>
                    <a:lnTo>
                      <a:pt x="14134" y="122574"/>
                    </a:lnTo>
                    <a:cubicBezTo>
                      <a:pt x="12231" y="123842"/>
                      <a:pt x="10328" y="124476"/>
                      <a:pt x="8426" y="124476"/>
                    </a:cubicBezTo>
                    <a:lnTo>
                      <a:pt x="8426" y="124476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23" name="Forma Livre: Forma 122">
                <a:extLst>
                  <a:ext uri="{FF2B5EF4-FFF2-40B4-BE49-F238E27FC236}">
                    <a16:creationId xmlns:a16="http://schemas.microsoft.com/office/drawing/2014/main" id="{3F7C674D-2134-4599-89F5-91D62EADE9CA}"/>
                  </a:ext>
                </a:extLst>
              </p:cNvPr>
              <p:cNvSpPr/>
              <p:nvPr/>
            </p:nvSpPr>
            <p:spPr>
              <a:xfrm>
                <a:off x="8496089" y="4878970"/>
                <a:ext cx="138609" cy="125110"/>
              </a:xfrm>
              <a:custGeom>
                <a:avLst/>
                <a:gdLst>
                  <a:gd name="connsiteX0" fmla="*/ 130183 w 138609"/>
                  <a:gd name="connsiteY0" fmla="*/ 125110 h 125110"/>
                  <a:gd name="connsiteX1" fmla="*/ 124476 w 138609"/>
                  <a:gd name="connsiteY1" fmla="*/ 123208 h 125110"/>
                  <a:gd name="connsiteX2" fmla="*/ 2719 w 138609"/>
                  <a:gd name="connsiteY2" fmla="*/ 14768 h 125110"/>
                  <a:gd name="connsiteX3" fmla="*/ 2085 w 138609"/>
                  <a:gd name="connsiteY3" fmla="*/ 2719 h 125110"/>
                  <a:gd name="connsiteX4" fmla="*/ 14133 w 138609"/>
                  <a:gd name="connsiteY4" fmla="*/ 2085 h 125110"/>
                  <a:gd name="connsiteX5" fmla="*/ 135891 w 138609"/>
                  <a:gd name="connsiteY5" fmla="*/ 110525 h 125110"/>
                  <a:gd name="connsiteX6" fmla="*/ 136525 w 138609"/>
                  <a:gd name="connsiteY6" fmla="*/ 122574 h 125110"/>
                  <a:gd name="connsiteX7" fmla="*/ 130183 w 138609"/>
                  <a:gd name="connsiteY7" fmla="*/ 125110 h 125110"/>
                  <a:gd name="connsiteX8" fmla="*/ 130183 w 138609"/>
                  <a:gd name="connsiteY8" fmla="*/ 125110 h 1251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8609" h="125110">
                    <a:moveTo>
                      <a:pt x="130183" y="125110"/>
                    </a:moveTo>
                    <a:cubicBezTo>
                      <a:pt x="128281" y="125110"/>
                      <a:pt x="126379" y="124476"/>
                      <a:pt x="124476" y="123208"/>
                    </a:cubicBezTo>
                    <a:lnTo>
                      <a:pt x="2719" y="14768"/>
                    </a:lnTo>
                    <a:cubicBezTo>
                      <a:pt x="-452" y="11597"/>
                      <a:pt x="-1086" y="6523"/>
                      <a:pt x="2085" y="2719"/>
                    </a:cubicBezTo>
                    <a:cubicBezTo>
                      <a:pt x="5255" y="-452"/>
                      <a:pt x="10328" y="-1086"/>
                      <a:pt x="14133" y="2085"/>
                    </a:cubicBezTo>
                    <a:lnTo>
                      <a:pt x="135891" y="110525"/>
                    </a:lnTo>
                    <a:cubicBezTo>
                      <a:pt x="139062" y="113696"/>
                      <a:pt x="139696" y="118769"/>
                      <a:pt x="136525" y="122574"/>
                    </a:cubicBezTo>
                    <a:cubicBezTo>
                      <a:pt x="135257" y="123842"/>
                      <a:pt x="132720" y="125110"/>
                      <a:pt x="130183" y="125110"/>
                    </a:cubicBezTo>
                    <a:lnTo>
                      <a:pt x="130183" y="125110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124" name="Forma Livre: Forma 123">
              <a:extLst>
                <a:ext uri="{FF2B5EF4-FFF2-40B4-BE49-F238E27FC236}">
                  <a16:creationId xmlns:a16="http://schemas.microsoft.com/office/drawing/2014/main" id="{6090C1E3-79FC-41B8-9F89-FD44AF57283B}"/>
                </a:ext>
              </a:extLst>
            </p:cNvPr>
            <p:cNvSpPr/>
            <p:nvPr/>
          </p:nvSpPr>
          <p:spPr>
            <a:xfrm>
              <a:off x="8807007" y="4787834"/>
              <a:ext cx="16556" cy="141416"/>
            </a:xfrm>
            <a:custGeom>
              <a:avLst/>
              <a:gdLst>
                <a:gd name="connsiteX0" fmla="*/ 8244 w 16556"/>
                <a:gd name="connsiteY0" fmla="*/ 141416 h 141416"/>
                <a:gd name="connsiteX1" fmla="*/ 0 w 16556"/>
                <a:gd name="connsiteY1" fmla="*/ 133172 h 141416"/>
                <a:gd name="connsiteX2" fmla="*/ 0 w 16556"/>
                <a:gd name="connsiteY2" fmla="*/ 8244 h 141416"/>
                <a:gd name="connsiteX3" fmla="*/ 8244 w 16556"/>
                <a:gd name="connsiteY3" fmla="*/ 0 h 141416"/>
                <a:gd name="connsiteX4" fmla="*/ 16488 w 16556"/>
                <a:gd name="connsiteY4" fmla="*/ 8244 h 141416"/>
                <a:gd name="connsiteX5" fmla="*/ 16488 w 16556"/>
                <a:gd name="connsiteY5" fmla="*/ 133172 h 141416"/>
                <a:gd name="connsiteX6" fmla="*/ 8244 w 16556"/>
                <a:gd name="connsiteY6" fmla="*/ 141416 h 141416"/>
                <a:gd name="connsiteX7" fmla="*/ 8244 w 16556"/>
                <a:gd name="connsiteY7" fmla="*/ 141416 h 141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556" h="141416">
                  <a:moveTo>
                    <a:pt x="8244" y="141416"/>
                  </a:moveTo>
                  <a:cubicBezTo>
                    <a:pt x="3805" y="141416"/>
                    <a:pt x="0" y="137611"/>
                    <a:pt x="0" y="133172"/>
                  </a:cubicBezTo>
                  <a:lnTo>
                    <a:pt x="0" y="8244"/>
                  </a:lnTo>
                  <a:cubicBezTo>
                    <a:pt x="0" y="3805"/>
                    <a:pt x="3805" y="0"/>
                    <a:pt x="8244" y="0"/>
                  </a:cubicBezTo>
                  <a:cubicBezTo>
                    <a:pt x="12683" y="0"/>
                    <a:pt x="16488" y="3805"/>
                    <a:pt x="16488" y="8244"/>
                  </a:cubicBezTo>
                  <a:lnTo>
                    <a:pt x="16488" y="133172"/>
                  </a:lnTo>
                  <a:cubicBezTo>
                    <a:pt x="17122" y="137611"/>
                    <a:pt x="13317" y="141416"/>
                    <a:pt x="8244" y="141416"/>
                  </a:cubicBezTo>
                  <a:lnTo>
                    <a:pt x="8244" y="141416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25" name="Forma Livre: Forma 124">
              <a:extLst>
                <a:ext uri="{FF2B5EF4-FFF2-40B4-BE49-F238E27FC236}">
                  <a16:creationId xmlns:a16="http://schemas.microsoft.com/office/drawing/2014/main" id="{54854662-5230-4139-8C60-8DD3A654D7D3}"/>
                </a:ext>
              </a:extLst>
            </p:cNvPr>
            <p:cNvSpPr/>
            <p:nvPr/>
          </p:nvSpPr>
          <p:spPr>
            <a:xfrm>
              <a:off x="8534954" y="4758028"/>
              <a:ext cx="197221" cy="171221"/>
            </a:xfrm>
            <a:custGeom>
              <a:avLst/>
              <a:gdLst>
                <a:gd name="connsiteX0" fmla="*/ 8244 w 197221"/>
                <a:gd name="connsiteY0" fmla="*/ 171222 h 171221"/>
                <a:gd name="connsiteX1" fmla="*/ 0 w 197221"/>
                <a:gd name="connsiteY1" fmla="*/ 162978 h 171221"/>
                <a:gd name="connsiteX2" fmla="*/ 0 w 197221"/>
                <a:gd name="connsiteY2" fmla="*/ 8244 h 171221"/>
                <a:gd name="connsiteX3" fmla="*/ 8244 w 197221"/>
                <a:gd name="connsiteY3" fmla="*/ 0 h 171221"/>
                <a:gd name="connsiteX4" fmla="*/ 188978 w 197221"/>
                <a:gd name="connsiteY4" fmla="*/ 0 h 171221"/>
                <a:gd name="connsiteX5" fmla="*/ 197222 w 197221"/>
                <a:gd name="connsiteY5" fmla="*/ 8244 h 171221"/>
                <a:gd name="connsiteX6" fmla="*/ 188978 w 197221"/>
                <a:gd name="connsiteY6" fmla="*/ 16488 h 171221"/>
                <a:gd name="connsiteX7" fmla="*/ 17123 w 197221"/>
                <a:gd name="connsiteY7" fmla="*/ 16488 h 171221"/>
                <a:gd name="connsiteX8" fmla="*/ 17123 w 197221"/>
                <a:gd name="connsiteY8" fmla="*/ 162978 h 171221"/>
                <a:gd name="connsiteX9" fmla="*/ 8244 w 197221"/>
                <a:gd name="connsiteY9" fmla="*/ 171222 h 171221"/>
                <a:gd name="connsiteX10" fmla="*/ 8244 w 197221"/>
                <a:gd name="connsiteY10" fmla="*/ 171222 h 171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7221" h="171221">
                  <a:moveTo>
                    <a:pt x="8244" y="171222"/>
                  </a:moveTo>
                  <a:cubicBezTo>
                    <a:pt x="3805" y="171222"/>
                    <a:pt x="0" y="167417"/>
                    <a:pt x="0" y="162978"/>
                  </a:cubicBezTo>
                  <a:lnTo>
                    <a:pt x="0" y="8244"/>
                  </a:lnTo>
                  <a:cubicBezTo>
                    <a:pt x="0" y="3805"/>
                    <a:pt x="3805" y="0"/>
                    <a:pt x="8244" y="0"/>
                  </a:cubicBezTo>
                  <a:lnTo>
                    <a:pt x="188978" y="0"/>
                  </a:lnTo>
                  <a:cubicBezTo>
                    <a:pt x="193417" y="0"/>
                    <a:pt x="197222" y="3805"/>
                    <a:pt x="197222" y="8244"/>
                  </a:cubicBezTo>
                  <a:cubicBezTo>
                    <a:pt x="197222" y="12683"/>
                    <a:pt x="193417" y="16488"/>
                    <a:pt x="188978" y="16488"/>
                  </a:cubicBezTo>
                  <a:lnTo>
                    <a:pt x="17123" y="16488"/>
                  </a:lnTo>
                  <a:lnTo>
                    <a:pt x="17123" y="162978"/>
                  </a:lnTo>
                  <a:cubicBezTo>
                    <a:pt x="16488" y="167417"/>
                    <a:pt x="12683" y="171222"/>
                    <a:pt x="8244" y="171222"/>
                  </a:cubicBezTo>
                  <a:lnTo>
                    <a:pt x="8244" y="171222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126" name="Gráfico 2">
              <a:extLst>
                <a:ext uri="{FF2B5EF4-FFF2-40B4-BE49-F238E27FC236}">
                  <a16:creationId xmlns:a16="http://schemas.microsoft.com/office/drawing/2014/main" id="{DC80C217-93B8-4831-A8BE-0817F1F32ECF}"/>
                </a:ext>
              </a:extLst>
            </p:cNvPr>
            <p:cNvGrpSpPr/>
            <p:nvPr/>
          </p:nvGrpSpPr>
          <p:grpSpPr>
            <a:xfrm>
              <a:off x="8659883" y="4711894"/>
              <a:ext cx="198965" cy="201502"/>
              <a:chOff x="8659883" y="4711894"/>
              <a:chExt cx="198965" cy="201502"/>
            </a:xfrm>
            <a:grpFill/>
          </p:grpSpPr>
          <p:sp>
            <p:nvSpPr>
              <p:cNvPr id="127" name="Forma Livre: Forma 126">
                <a:extLst>
                  <a:ext uri="{FF2B5EF4-FFF2-40B4-BE49-F238E27FC236}">
                    <a16:creationId xmlns:a16="http://schemas.microsoft.com/office/drawing/2014/main" id="{B8380ECB-B405-43E4-9A68-770B19071110}"/>
                  </a:ext>
                </a:extLst>
              </p:cNvPr>
              <p:cNvSpPr/>
              <p:nvPr/>
            </p:nvSpPr>
            <p:spPr>
              <a:xfrm>
                <a:off x="8659883" y="4751211"/>
                <a:ext cx="198965" cy="162184"/>
              </a:xfrm>
              <a:custGeom>
                <a:avLst/>
                <a:gdLst>
                  <a:gd name="connsiteX0" fmla="*/ 65317 w 198965"/>
                  <a:gd name="connsiteY0" fmla="*/ 162185 h 162184"/>
                  <a:gd name="connsiteX1" fmla="*/ 19025 w 198965"/>
                  <a:gd name="connsiteY1" fmla="*/ 143160 h 162184"/>
                  <a:gd name="connsiteX2" fmla="*/ 19025 w 198965"/>
                  <a:gd name="connsiteY2" fmla="*/ 50574 h 162184"/>
                  <a:gd name="connsiteX3" fmla="*/ 67220 w 198965"/>
                  <a:gd name="connsiteY3" fmla="*/ 2378 h 162184"/>
                  <a:gd name="connsiteX4" fmla="*/ 79269 w 198965"/>
                  <a:gd name="connsiteY4" fmla="*/ 2378 h 162184"/>
                  <a:gd name="connsiteX5" fmla="*/ 79269 w 198965"/>
                  <a:gd name="connsiteY5" fmla="*/ 14427 h 162184"/>
                  <a:gd name="connsiteX6" fmla="*/ 31073 w 198965"/>
                  <a:gd name="connsiteY6" fmla="*/ 62623 h 162184"/>
                  <a:gd name="connsiteX7" fmla="*/ 31073 w 198965"/>
                  <a:gd name="connsiteY7" fmla="*/ 131111 h 162184"/>
                  <a:gd name="connsiteX8" fmla="*/ 99562 w 198965"/>
                  <a:gd name="connsiteY8" fmla="*/ 131111 h 162184"/>
                  <a:gd name="connsiteX9" fmla="*/ 184539 w 198965"/>
                  <a:gd name="connsiteY9" fmla="*/ 46135 h 162184"/>
                  <a:gd name="connsiteX10" fmla="*/ 196588 w 198965"/>
                  <a:gd name="connsiteY10" fmla="*/ 46135 h 162184"/>
                  <a:gd name="connsiteX11" fmla="*/ 196588 w 198965"/>
                  <a:gd name="connsiteY11" fmla="*/ 58184 h 162184"/>
                  <a:gd name="connsiteX12" fmla="*/ 111611 w 198965"/>
                  <a:gd name="connsiteY12" fmla="*/ 143160 h 162184"/>
                  <a:gd name="connsiteX13" fmla="*/ 65317 w 198965"/>
                  <a:gd name="connsiteY13" fmla="*/ 162185 h 162184"/>
                  <a:gd name="connsiteX14" fmla="*/ 65317 w 198965"/>
                  <a:gd name="connsiteY14" fmla="*/ 162185 h 162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98965" h="162184">
                    <a:moveTo>
                      <a:pt x="65317" y="162185"/>
                    </a:moveTo>
                    <a:cubicBezTo>
                      <a:pt x="48830" y="162185"/>
                      <a:pt x="31708" y="155843"/>
                      <a:pt x="19025" y="143160"/>
                    </a:cubicBezTo>
                    <a:cubicBezTo>
                      <a:pt x="-6342" y="117794"/>
                      <a:pt x="-6342" y="75940"/>
                      <a:pt x="19025" y="50574"/>
                    </a:cubicBezTo>
                    <a:lnTo>
                      <a:pt x="67220" y="2378"/>
                    </a:lnTo>
                    <a:cubicBezTo>
                      <a:pt x="70391" y="-793"/>
                      <a:pt x="76098" y="-793"/>
                      <a:pt x="79269" y="2378"/>
                    </a:cubicBezTo>
                    <a:cubicBezTo>
                      <a:pt x="82440" y="5549"/>
                      <a:pt x="82440" y="11256"/>
                      <a:pt x="79269" y="14427"/>
                    </a:cubicBezTo>
                    <a:lnTo>
                      <a:pt x="31073" y="62623"/>
                    </a:lnTo>
                    <a:cubicBezTo>
                      <a:pt x="12048" y="81647"/>
                      <a:pt x="12048" y="112087"/>
                      <a:pt x="31073" y="131111"/>
                    </a:cubicBezTo>
                    <a:cubicBezTo>
                      <a:pt x="50098" y="150136"/>
                      <a:pt x="80537" y="150136"/>
                      <a:pt x="99562" y="131111"/>
                    </a:cubicBezTo>
                    <a:lnTo>
                      <a:pt x="184539" y="46135"/>
                    </a:lnTo>
                    <a:cubicBezTo>
                      <a:pt x="187709" y="42964"/>
                      <a:pt x="193417" y="42964"/>
                      <a:pt x="196588" y="46135"/>
                    </a:cubicBezTo>
                    <a:cubicBezTo>
                      <a:pt x="199758" y="49306"/>
                      <a:pt x="199758" y="55013"/>
                      <a:pt x="196588" y="58184"/>
                    </a:cubicBezTo>
                    <a:lnTo>
                      <a:pt x="111611" y="143160"/>
                    </a:lnTo>
                    <a:cubicBezTo>
                      <a:pt x="98928" y="155843"/>
                      <a:pt x="81805" y="162185"/>
                      <a:pt x="65317" y="162185"/>
                    </a:cubicBezTo>
                    <a:lnTo>
                      <a:pt x="65317" y="162185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28" name="Forma Livre: Forma 127">
                <a:extLst>
                  <a:ext uri="{FF2B5EF4-FFF2-40B4-BE49-F238E27FC236}">
                    <a16:creationId xmlns:a16="http://schemas.microsoft.com/office/drawing/2014/main" id="{A3B0FA3B-C4D1-4291-8BB4-C1DC6C4ADD35}"/>
                  </a:ext>
                </a:extLst>
              </p:cNvPr>
              <p:cNvSpPr/>
              <p:nvPr/>
            </p:nvSpPr>
            <p:spPr>
              <a:xfrm>
                <a:off x="8714579" y="4711894"/>
                <a:ext cx="122708" cy="122867"/>
              </a:xfrm>
              <a:custGeom>
                <a:avLst/>
                <a:gdLst>
                  <a:gd name="connsiteX0" fmla="*/ 63891 w 122708"/>
                  <a:gd name="connsiteY0" fmla="*/ 122867 h 122867"/>
                  <a:gd name="connsiteX1" fmla="*/ 58183 w 122708"/>
                  <a:gd name="connsiteY1" fmla="*/ 120331 h 122867"/>
                  <a:gd name="connsiteX2" fmla="*/ 58183 w 122708"/>
                  <a:gd name="connsiteY2" fmla="*/ 108282 h 122867"/>
                  <a:gd name="connsiteX3" fmla="*/ 96866 w 122708"/>
                  <a:gd name="connsiteY3" fmla="*/ 69598 h 122867"/>
                  <a:gd name="connsiteX4" fmla="*/ 96866 w 122708"/>
                  <a:gd name="connsiteY4" fmla="*/ 25842 h 122867"/>
                  <a:gd name="connsiteX5" fmla="*/ 53110 w 122708"/>
                  <a:gd name="connsiteY5" fmla="*/ 25842 h 122867"/>
                  <a:gd name="connsiteX6" fmla="*/ 14426 w 122708"/>
                  <a:gd name="connsiteY6" fmla="*/ 64525 h 122867"/>
                  <a:gd name="connsiteX7" fmla="*/ 2378 w 122708"/>
                  <a:gd name="connsiteY7" fmla="*/ 64525 h 122867"/>
                  <a:gd name="connsiteX8" fmla="*/ 2378 w 122708"/>
                  <a:gd name="connsiteY8" fmla="*/ 52476 h 122867"/>
                  <a:gd name="connsiteX9" fmla="*/ 41061 w 122708"/>
                  <a:gd name="connsiteY9" fmla="*/ 13793 h 122867"/>
                  <a:gd name="connsiteX10" fmla="*/ 108915 w 122708"/>
                  <a:gd name="connsiteY10" fmla="*/ 13793 h 122867"/>
                  <a:gd name="connsiteX11" fmla="*/ 108915 w 122708"/>
                  <a:gd name="connsiteY11" fmla="*/ 81647 h 122867"/>
                  <a:gd name="connsiteX12" fmla="*/ 70232 w 122708"/>
                  <a:gd name="connsiteY12" fmla="*/ 120331 h 122867"/>
                  <a:gd name="connsiteX13" fmla="*/ 63891 w 122708"/>
                  <a:gd name="connsiteY13" fmla="*/ 122867 h 122867"/>
                  <a:gd name="connsiteX14" fmla="*/ 63891 w 122708"/>
                  <a:gd name="connsiteY14" fmla="*/ 122867 h 122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22708" h="122867">
                    <a:moveTo>
                      <a:pt x="63891" y="122867"/>
                    </a:moveTo>
                    <a:cubicBezTo>
                      <a:pt x="61988" y="122867"/>
                      <a:pt x="59452" y="122233"/>
                      <a:pt x="58183" y="120331"/>
                    </a:cubicBezTo>
                    <a:cubicBezTo>
                      <a:pt x="55012" y="117160"/>
                      <a:pt x="55012" y="111452"/>
                      <a:pt x="58183" y="108282"/>
                    </a:cubicBezTo>
                    <a:lnTo>
                      <a:pt x="96866" y="69598"/>
                    </a:lnTo>
                    <a:cubicBezTo>
                      <a:pt x="108915" y="57549"/>
                      <a:pt x="108915" y="37891"/>
                      <a:pt x="96866" y="25842"/>
                    </a:cubicBezTo>
                    <a:cubicBezTo>
                      <a:pt x="84818" y="14427"/>
                      <a:pt x="64525" y="13793"/>
                      <a:pt x="53110" y="25842"/>
                    </a:cubicBezTo>
                    <a:lnTo>
                      <a:pt x="14426" y="64525"/>
                    </a:lnTo>
                    <a:cubicBezTo>
                      <a:pt x="11256" y="67696"/>
                      <a:pt x="5549" y="67696"/>
                      <a:pt x="2378" y="64525"/>
                    </a:cubicBezTo>
                    <a:cubicBezTo>
                      <a:pt x="-793" y="61354"/>
                      <a:pt x="-793" y="55647"/>
                      <a:pt x="2378" y="52476"/>
                    </a:cubicBezTo>
                    <a:lnTo>
                      <a:pt x="41061" y="13793"/>
                    </a:lnTo>
                    <a:cubicBezTo>
                      <a:pt x="59452" y="-4598"/>
                      <a:pt x="90525" y="-4598"/>
                      <a:pt x="108915" y="13793"/>
                    </a:cubicBezTo>
                    <a:cubicBezTo>
                      <a:pt x="127306" y="32818"/>
                      <a:pt x="127306" y="63257"/>
                      <a:pt x="108915" y="81647"/>
                    </a:cubicBezTo>
                    <a:lnTo>
                      <a:pt x="70232" y="120331"/>
                    </a:lnTo>
                    <a:cubicBezTo>
                      <a:pt x="68329" y="121599"/>
                      <a:pt x="66427" y="122867"/>
                      <a:pt x="63891" y="122867"/>
                    </a:cubicBezTo>
                    <a:lnTo>
                      <a:pt x="63891" y="122867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29" name="Forma Livre: Forma 128">
                <a:extLst>
                  <a:ext uri="{FF2B5EF4-FFF2-40B4-BE49-F238E27FC236}">
                    <a16:creationId xmlns:a16="http://schemas.microsoft.com/office/drawing/2014/main" id="{38D3ECF2-D694-4EF9-BD0C-EA71EA5A5D09}"/>
                  </a:ext>
                </a:extLst>
              </p:cNvPr>
              <p:cNvSpPr/>
              <p:nvPr/>
            </p:nvSpPr>
            <p:spPr>
              <a:xfrm>
                <a:off x="8699834" y="4749309"/>
                <a:ext cx="106379" cy="122233"/>
              </a:xfrm>
              <a:custGeom>
                <a:avLst/>
                <a:gdLst>
                  <a:gd name="connsiteX0" fmla="*/ 32342 w 106379"/>
                  <a:gd name="connsiteY0" fmla="*/ 122233 h 122233"/>
                  <a:gd name="connsiteX1" fmla="*/ 9512 w 106379"/>
                  <a:gd name="connsiteY1" fmla="*/ 112721 h 122233"/>
                  <a:gd name="connsiteX2" fmla="*/ 9512 w 106379"/>
                  <a:gd name="connsiteY2" fmla="*/ 67062 h 122233"/>
                  <a:gd name="connsiteX3" fmla="*/ 74196 w 106379"/>
                  <a:gd name="connsiteY3" fmla="*/ 2378 h 122233"/>
                  <a:gd name="connsiteX4" fmla="*/ 86245 w 106379"/>
                  <a:gd name="connsiteY4" fmla="*/ 2378 h 122233"/>
                  <a:gd name="connsiteX5" fmla="*/ 86245 w 106379"/>
                  <a:gd name="connsiteY5" fmla="*/ 14427 h 122233"/>
                  <a:gd name="connsiteX6" fmla="*/ 21561 w 106379"/>
                  <a:gd name="connsiteY6" fmla="*/ 79111 h 122233"/>
                  <a:gd name="connsiteX7" fmla="*/ 21561 w 106379"/>
                  <a:gd name="connsiteY7" fmla="*/ 100672 h 122233"/>
                  <a:gd name="connsiteX8" fmla="*/ 43123 w 106379"/>
                  <a:gd name="connsiteY8" fmla="*/ 100672 h 122233"/>
                  <a:gd name="connsiteX9" fmla="*/ 91952 w 106379"/>
                  <a:gd name="connsiteY9" fmla="*/ 51842 h 122233"/>
                  <a:gd name="connsiteX10" fmla="*/ 104001 w 106379"/>
                  <a:gd name="connsiteY10" fmla="*/ 51842 h 122233"/>
                  <a:gd name="connsiteX11" fmla="*/ 104001 w 106379"/>
                  <a:gd name="connsiteY11" fmla="*/ 63891 h 122233"/>
                  <a:gd name="connsiteX12" fmla="*/ 55172 w 106379"/>
                  <a:gd name="connsiteY12" fmla="*/ 112721 h 122233"/>
                  <a:gd name="connsiteX13" fmla="*/ 32342 w 106379"/>
                  <a:gd name="connsiteY13" fmla="*/ 122233 h 122233"/>
                  <a:gd name="connsiteX14" fmla="*/ 32342 w 106379"/>
                  <a:gd name="connsiteY14" fmla="*/ 122233 h 122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6379" h="122233">
                    <a:moveTo>
                      <a:pt x="32342" y="122233"/>
                    </a:moveTo>
                    <a:cubicBezTo>
                      <a:pt x="24098" y="122233"/>
                      <a:pt x="15854" y="119063"/>
                      <a:pt x="9512" y="112721"/>
                    </a:cubicBezTo>
                    <a:cubicBezTo>
                      <a:pt x="-3171" y="100038"/>
                      <a:pt x="-3171" y="79745"/>
                      <a:pt x="9512" y="67062"/>
                    </a:cubicBezTo>
                    <a:lnTo>
                      <a:pt x="74196" y="2378"/>
                    </a:lnTo>
                    <a:cubicBezTo>
                      <a:pt x="77367" y="-793"/>
                      <a:pt x="83074" y="-793"/>
                      <a:pt x="86245" y="2378"/>
                    </a:cubicBezTo>
                    <a:cubicBezTo>
                      <a:pt x="89416" y="5549"/>
                      <a:pt x="89416" y="11256"/>
                      <a:pt x="86245" y="14427"/>
                    </a:cubicBezTo>
                    <a:lnTo>
                      <a:pt x="21561" y="79111"/>
                    </a:lnTo>
                    <a:cubicBezTo>
                      <a:pt x="15854" y="84818"/>
                      <a:pt x="15854" y="94964"/>
                      <a:pt x="21561" y="100672"/>
                    </a:cubicBezTo>
                    <a:cubicBezTo>
                      <a:pt x="27269" y="106379"/>
                      <a:pt x="37415" y="106379"/>
                      <a:pt x="43123" y="100672"/>
                    </a:cubicBezTo>
                    <a:lnTo>
                      <a:pt x="91952" y="51842"/>
                    </a:lnTo>
                    <a:cubicBezTo>
                      <a:pt x="95123" y="48671"/>
                      <a:pt x="100831" y="48671"/>
                      <a:pt x="104001" y="51842"/>
                    </a:cubicBezTo>
                    <a:cubicBezTo>
                      <a:pt x="107172" y="55013"/>
                      <a:pt x="107172" y="60720"/>
                      <a:pt x="104001" y="63891"/>
                    </a:cubicBezTo>
                    <a:lnTo>
                      <a:pt x="55172" y="112721"/>
                    </a:lnTo>
                    <a:cubicBezTo>
                      <a:pt x="48830" y="119063"/>
                      <a:pt x="40586" y="122233"/>
                      <a:pt x="32342" y="122233"/>
                    </a:cubicBezTo>
                    <a:lnTo>
                      <a:pt x="32342" y="122233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sp>
        <p:nvSpPr>
          <p:cNvPr id="130" name="Forma Livre: Forma 129">
            <a:extLst>
              <a:ext uri="{FF2B5EF4-FFF2-40B4-BE49-F238E27FC236}">
                <a16:creationId xmlns:a16="http://schemas.microsoft.com/office/drawing/2014/main" id="{3D521BF6-C59B-43CD-A4AC-A416ADC7581D}"/>
              </a:ext>
            </a:extLst>
          </p:cNvPr>
          <p:cNvSpPr/>
          <p:nvPr/>
        </p:nvSpPr>
        <p:spPr>
          <a:xfrm>
            <a:off x="8456248" y="5726188"/>
            <a:ext cx="388802" cy="351803"/>
          </a:xfrm>
          <a:custGeom>
            <a:avLst/>
            <a:gdLst>
              <a:gd name="connsiteX0" fmla="*/ 79269 w 393175"/>
              <a:gd name="connsiteY0" fmla="*/ 355760 h 355760"/>
              <a:gd name="connsiteX1" fmla="*/ 64683 w 393175"/>
              <a:gd name="connsiteY1" fmla="*/ 355126 h 355760"/>
              <a:gd name="connsiteX2" fmla="*/ 49464 w 393175"/>
              <a:gd name="connsiteY2" fmla="*/ 341809 h 355760"/>
              <a:gd name="connsiteX3" fmla="*/ 58342 w 393175"/>
              <a:gd name="connsiteY3" fmla="*/ 323418 h 355760"/>
              <a:gd name="connsiteX4" fmla="*/ 95123 w 393175"/>
              <a:gd name="connsiteY4" fmla="*/ 294247 h 355760"/>
              <a:gd name="connsiteX5" fmla="*/ 0 w 393175"/>
              <a:gd name="connsiteY5" fmla="*/ 158538 h 355760"/>
              <a:gd name="connsiteX6" fmla="*/ 196588 w 393175"/>
              <a:gd name="connsiteY6" fmla="*/ 0 h 355760"/>
              <a:gd name="connsiteX7" fmla="*/ 393175 w 393175"/>
              <a:gd name="connsiteY7" fmla="*/ 158538 h 355760"/>
              <a:gd name="connsiteX8" fmla="*/ 196588 w 393175"/>
              <a:gd name="connsiteY8" fmla="*/ 317077 h 355760"/>
              <a:gd name="connsiteX9" fmla="*/ 188977 w 393175"/>
              <a:gd name="connsiteY9" fmla="*/ 317077 h 355760"/>
              <a:gd name="connsiteX10" fmla="*/ 79269 w 393175"/>
              <a:gd name="connsiteY10" fmla="*/ 355760 h 355760"/>
              <a:gd name="connsiteX11" fmla="*/ 79269 w 393175"/>
              <a:gd name="connsiteY11" fmla="*/ 355760 h 355760"/>
              <a:gd name="connsiteX12" fmla="*/ 196588 w 393175"/>
              <a:gd name="connsiteY12" fmla="*/ 34244 h 355760"/>
              <a:gd name="connsiteX13" fmla="*/ 34244 w 393175"/>
              <a:gd name="connsiteY13" fmla="*/ 158538 h 355760"/>
              <a:gd name="connsiteX14" fmla="*/ 126197 w 393175"/>
              <a:gd name="connsiteY14" fmla="*/ 270149 h 355760"/>
              <a:gd name="connsiteX15" fmla="*/ 135709 w 393175"/>
              <a:gd name="connsiteY15" fmla="*/ 279662 h 355760"/>
              <a:gd name="connsiteX16" fmla="*/ 135074 w 393175"/>
              <a:gd name="connsiteY16" fmla="*/ 293613 h 355760"/>
              <a:gd name="connsiteX17" fmla="*/ 133806 w 393175"/>
              <a:gd name="connsiteY17" fmla="*/ 295515 h 355760"/>
              <a:gd name="connsiteX18" fmla="*/ 130636 w 393175"/>
              <a:gd name="connsiteY18" fmla="*/ 301857 h 355760"/>
              <a:gd name="connsiteX19" fmla="*/ 120489 w 393175"/>
              <a:gd name="connsiteY19" fmla="*/ 316442 h 355760"/>
              <a:gd name="connsiteX20" fmla="*/ 169953 w 393175"/>
              <a:gd name="connsiteY20" fmla="*/ 287272 h 355760"/>
              <a:gd name="connsiteX21" fmla="*/ 183271 w 393175"/>
              <a:gd name="connsiteY21" fmla="*/ 282198 h 355760"/>
              <a:gd name="connsiteX22" fmla="*/ 196588 w 393175"/>
              <a:gd name="connsiteY22" fmla="*/ 282832 h 355760"/>
              <a:gd name="connsiteX23" fmla="*/ 358931 w 393175"/>
              <a:gd name="connsiteY23" fmla="*/ 158538 h 355760"/>
              <a:gd name="connsiteX24" fmla="*/ 196588 w 393175"/>
              <a:gd name="connsiteY24" fmla="*/ 34244 h 355760"/>
              <a:gd name="connsiteX25" fmla="*/ 196588 w 393175"/>
              <a:gd name="connsiteY25" fmla="*/ 34244 h 3557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393175" h="355760">
                <a:moveTo>
                  <a:pt x="79269" y="355760"/>
                </a:moveTo>
                <a:cubicBezTo>
                  <a:pt x="74830" y="355760"/>
                  <a:pt x="69757" y="355760"/>
                  <a:pt x="64683" y="355126"/>
                </a:cubicBezTo>
                <a:cubicBezTo>
                  <a:pt x="57074" y="354492"/>
                  <a:pt x="50732" y="348785"/>
                  <a:pt x="49464" y="341809"/>
                </a:cubicBezTo>
                <a:cubicBezTo>
                  <a:pt x="48196" y="334199"/>
                  <a:pt x="52000" y="326589"/>
                  <a:pt x="58342" y="323418"/>
                </a:cubicBezTo>
                <a:cubicBezTo>
                  <a:pt x="73562" y="315808"/>
                  <a:pt x="85611" y="306296"/>
                  <a:pt x="95123" y="294247"/>
                </a:cubicBezTo>
                <a:cubicBezTo>
                  <a:pt x="36780" y="265710"/>
                  <a:pt x="0" y="214344"/>
                  <a:pt x="0" y="158538"/>
                </a:cubicBezTo>
                <a:cubicBezTo>
                  <a:pt x="0" y="71025"/>
                  <a:pt x="88148" y="0"/>
                  <a:pt x="196588" y="0"/>
                </a:cubicBezTo>
                <a:cubicBezTo>
                  <a:pt x="305028" y="0"/>
                  <a:pt x="393175" y="71025"/>
                  <a:pt x="393175" y="158538"/>
                </a:cubicBezTo>
                <a:cubicBezTo>
                  <a:pt x="393175" y="246052"/>
                  <a:pt x="305028" y="317077"/>
                  <a:pt x="196588" y="317077"/>
                </a:cubicBezTo>
                <a:cubicBezTo>
                  <a:pt x="194051" y="317077"/>
                  <a:pt x="191514" y="317077"/>
                  <a:pt x="188977" y="317077"/>
                </a:cubicBezTo>
                <a:cubicBezTo>
                  <a:pt x="161075" y="341809"/>
                  <a:pt x="122391" y="355760"/>
                  <a:pt x="79269" y="355760"/>
                </a:cubicBezTo>
                <a:lnTo>
                  <a:pt x="79269" y="355760"/>
                </a:lnTo>
                <a:close/>
                <a:moveTo>
                  <a:pt x="196588" y="34244"/>
                </a:moveTo>
                <a:cubicBezTo>
                  <a:pt x="107172" y="34244"/>
                  <a:pt x="34244" y="90050"/>
                  <a:pt x="34244" y="158538"/>
                </a:cubicBezTo>
                <a:cubicBezTo>
                  <a:pt x="34244" y="205466"/>
                  <a:pt x="70391" y="249856"/>
                  <a:pt x="126197" y="270149"/>
                </a:cubicBezTo>
                <a:cubicBezTo>
                  <a:pt x="130636" y="272052"/>
                  <a:pt x="134440" y="275222"/>
                  <a:pt x="135709" y="279662"/>
                </a:cubicBezTo>
                <a:cubicBezTo>
                  <a:pt x="137611" y="284101"/>
                  <a:pt x="136977" y="289174"/>
                  <a:pt x="135074" y="293613"/>
                </a:cubicBezTo>
                <a:lnTo>
                  <a:pt x="133806" y="295515"/>
                </a:lnTo>
                <a:cubicBezTo>
                  <a:pt x="132538" y="297418"/>
                  <a:pt x="131904" y="299955"/>
                  <a:pt x="130636" y="301857"/>
                </a:cubicBezTo>
                <a:cubicBezTo>
                  <a:pt x="127465" y="306930"/>
                  <a:pt x="124294" y="312003"/>
                  <a:pt x="120489" y="316442"/>
                </a:cubicBezTo>
                <a:cubicBezTo>
                  <a:pt x="140148" y="310735"/>
                  <a:pt x="157270" y="301223"/>
                  <a:pt x="169953" y="287272"/>
                </a:cubicBezTo>
                <a:cubicBezTo>
                  <a:pt x="173123" y="283466"/>
                  <a:pt x="178197" y="282198"/>
                  <a:pt x="183271" y="282198"/>
                </a:cubicBezTo>
                <a:cubicBezTo>
                  <a:pt x="187709" y="282198"/>
                  <a:pt x="192148" y="282832"/>
                  <a:pt x="196588" y="282832"/>
                </a:cubicBezTo>
                <a:cubicBezTo>
                  <a:pt x="286003" y="282832"/>
                  <a:pt x="358931" y="227027"/>
                  <a:pt x="358931" y="158538"/>
                </a:cubicBezTo>
                <a:cubicBezTo>
                  <a:pt x="358931" y="90050"/>
                  <a:pt x="286003" y="34244"/>
                  <a:pt x="196588" y="34244"/>
                </a:cubicBezTo>
                <a:lnTo>
                  <a:pt x="196588" y="34244"/>
                </a:lnTo>
                <a:close/>
              </a:path>
            </a:pathLst>
          </a:custGeom>
          <a:solidFill>
            <a:srgbClr val="B1B1A1"/>
          </a:solidFill>
          <a:ln w="6338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grpSp>
        <p:nvGrpSpPr>
          <p:cNvPr id="131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9451457" y="5721171"/>
            <a:ext cx="422632" cy="362464"/>
            <a:chOff x="9489356" y="5779650"/>
            <a:chExt cx="427386" cy="366541"/>
          </a:xfrm>
          <a:solidFill>
            <a:srgbClr val="B1B1A1"/>
          </a:solidFill>
        </p:grpSpPr>
        <p:sp>
          <p:nvSpPr>
            <p:cNvPr id="132" name="Forma Livre: Forma 131">
              <a:extLst>
                <a:ext uri="{FF2B5EF4-FFF2-40B4-BE49-F238E27FC236}">
                  <a16:creationId xmlns:a16="http://schemas.microsoft.com/office/drawing/2014/main" id="{88E9AAEC-11C3-4A8D-8AAC-E74ADD083E17}"/>
                </a:ext>
              </a:extLst>
            </p:cNvPr>
            <p:cNvSpPr/>
            <p:nvPr/>
          </p:nvSpPr>
          <p:spPr>
            <a:xfrm>
              <a:off x="9489356" y="5779650"/>
              <a:ext cx="347516" cy="315174"/>
            </a:xfrm>
            <a:custGeom>
              <a:avLst/>
              <a:gdLst>
                <a:gd name="connsiteX0" fmla="*/ 71026 w 347516"/>
                <a:gd name="connsiteY0" fmla="*/ 315174 h 315174"/>
                <a:gd name="connsiteX1" fmla="*/ 58343 w 347516"/>
                <a:gd name="connsiteY1" fmla="*/ 314540 h 315174"/>
                <a:gd name="connsiteX2" fmla="*/ 43123 w 347516"/>
                <a:gd name="connsiteY2" fmla="*/ 301223 h 315174"/>
                <a:gd name="connsiteX3" fmla="*/ 52001 w 347516"/>
                <a:gd name="connsiteY3" fmla="*/ 282833 h 315174"/>
                <a:gd name="connsiteX4" fmla="*/ 81806 w 347516"/>
                <a:gd name="connsiteY4" fmla="*/ 260003 h 315174"/>
                <a:gd name="connsiteX5" fmla="*/ 0 w 347516"/>
                <a:gd name="connsiteY5" fmla="*/ 140782 h 315174"/>
                <a:gd name="connsiteX6" fmla="*/ 173758 w 347516"/>
                <a:gd name="connsiteY6" fmla="*/ 0 h 315174"/>
                <a:gd name="connsiteX7" fmla="*/ 347517 w 347516"/>
                <a:gd name="connsiteY7" fmla="*/ 140782 h 315174"/>
                <a:gd name="connsiteX8" fmla="*/ 173758 w 347516"/>
                <a:gd name="connsiteY8" fmla="*/ 281564 h 315174"/>
                <a:gd name="connsiteX9" fmla="*/ 168051 w 347516"/>
                <a:gd name="connsiteY9" fmla="*/ 281564 h 315174"/>
                <a:gd name="connsiteX10" fmla="*/ 71026 w 347516"/>
                <a:gd name="connsiteY10" fmla="*/ 315174 h 315174"/>
                <a:gd name="connsiteX11" fmla="*/ 71026 w 347516"/>
                <a:gd name="connsiteY11" fmla="*/ 315174 h 315174"/>
                <a:gd name="connsiteX12" fmla="*/ 173124 w 347516"/>
                <a:gd name="connsiteY12" fmla="*/ 33610 h 315174"/>
                <a:gd name="connsiteX13" fmla="*/ 32976 w 347516"/>
                <a:gd name="connsiteY13" fmla="*/ 140148 h 315174"/>
                <a:gd name="connsiteX14" fmla="*/ 111611 w 347516"/>
                <a:gd name="connsiteY14" fmla="*/ 235905 h 315174"/>
                <a:gd name="connsiteX15" fmla="*/ 121123 w 347516"/>
                <a:gd name="connsiteY15" fmla="*/ 245418 h 315174"/>
                <a:gd name="connsiteX16" fmla="*/ 120489 w 347516"/>
                <a:gd name="connsiteY16" fmla="*/ 259369 h 315174"/>
                <a:gd name="connsiteX17" fmla="*/ 119855 w 347516"/>
                <a:gd name="connsiteY17" fmla="*/ 261271 h 315174"/>
                <a:gd name="connsiteX18" fmla="*/ 116684 w 347516"/>
                <a:gd name="connsiteY18" fmla="*/ 266979 h 315174"/>
                <a:gd name="connsiteX19" fmla="*/ 111611 w 347516"/>
                <a:gd name="connsiteY19" fmla="*/ 274589 h 315174"/>
                <a:gd name="connsiteX20" fmla="*/ 147758 w 347516"/>
                <a:gd name="connsiteY20" fmla="*/ 251759 h 315174"/>
                <a:gd name="connsiteX21" fmla="*/ 161075 w 347516"/>
                <a:gd name="connsiteY21" fmla="*/ 246686 h 315174"/>
                <a:gd name="connsiteX22" fmla="*/ 172490 w 347516"/>
                <a:gd name="connsiteY22" fmla="*/ 247320 h 315174"/>
                <a:gd name="connsiteX23" fmla="*/ 312638 w 347516"/>
                <a:gd name="connsiteY23" fmla="*/ 140782 h 315174"/>
                <a:gd name="connsiteX24" fmla="*/ 173124 w 347516"/>
                <a:gd name="connsiteY24" fmla="*/ 33610 h 315174"/>
                <a:gd name="connsiteX25" fmla="*/ 173124 w 347516"/>
                <a:gd name="connsiteY25" fmla="*/ 33610 h 315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47516" h="315174">
                  <a:moveTo>
                    <a:pt x="71026" y="315174"/>
                  </a:moveTo>
                  <a:cubicBezTo>
                    <a:pt x="66586" y="315174"/>
                    <a:pt x="62781" y="315174"/>
                    <a:pt x="58343" y="314540"/>
                  </a:cubicBezTo>
                  <a:cubicBezTo>
                    <a:pt x="50732" y="313906"/>
                    <a:pt x="44391" y="308199"/>
                    <a:pt x="43123" y="301223"/>
                  </a:cubicBezTo>
                  <a:cubicBezTo>
                    <a:pt x="41854" y="293613"/>
                    <a:pt x="45660" y="286004"/>
                    <a:pt x="52001" y="282833"/>
                  </a:cubicBezTo>
                  <a:cubicBezTo>
                    <a:pt x="64049" y="277125"/>
                    <a:pt x="73562" y="269515"/>
                    <a:pt x="81806" y="260003"/>
                  </a:cubicBezTo>
                  <a:cubicBezTo>
                    <a:pt x="31074" y="234637"/>
                    <a:pt x="0" y="189612"/>
                    <a:pt x="0" y="140782"/>
                  </a:cubicBezTo>
                  <a:cubicBezTo>
                    <a:pt x="0" y="63415"/>
                    <a:pt x="78001" y="0"/>
                    <a:pt x="173758" y="0"/>
                  </a:cubicBezTo>
                  <a:cubicBezTo>
                    <a:pt x="269515" y="0"/>
                    <a:pt x="347517" y="62781"/>
                    <a:pt x="347517" y="140782"/>
                  </a:cubicBezTo>
                  <a:cubicBezTo>
                    <a:pt x="347517" y="218149"/>
                    <a:pt x="269515" y="281564"/>
                    <a:pt x="173758" y="281564"/>
                  </a:cubicBezTo>
                  <a:cubicBezTo>
                    <a:pt x="171856" y="281564"/>
                    <a:pt x="169954" y="281564"/>
                    <a:pt x="168051" y="281564"/>
                  </a:cubicBezTo>
                  <a:cubicBezTo>
                    <a:pt x="142685" y="303126"/>
                    <a:pt x="109075" y="315174"/>
                    <a:pt x="71026" y="315174"/>
                  </a:cubicBezTo>
                  <a:lnTo>
                    <a:pt x="71026" y="315174"/>
                  </a:lnTo>
                  <a:close/>
                  <a:moveTo>
                    <a:pt x="173124" y="33610"/>
                  </a:moveTo>
                  <a:cubicBezTo>
                    <a:pt x="95757" y="33610"/>
                    <a:pt x="32976" y="81806"/>
                    <a:pt x="32976" y="140148"/>
                  </a:cubicBezTo>
                  <a:cubicBezTo>
                    <a:pt x="32976" y="180734"/>
                    <a:pt x="64049" y="218149"/>
                    <a:pt x="111611" y="235905"/>
                  </a:cubicBezTo>
                  <a:cubicBezTo>
                    <a:pt x="116050" y="237808"/>
                    <a:pt x="119855" y="240978"/>
                    <a:pt x="121123" y="245418"/>
                  </a:cubicBezTo>
                  <a:cubicBezTo>
                    <a:pt x="122392" y="249857"/>
                    <a:pt x="122392" y="254930"/>
                    <a:pt x="120489" y="259369"/>
                  </a:cubicBezTo>
                  <a:lnTo>
                    <a:pt x="119855" y="261271"/>
                  </a:lnTo>
                  <a:cubicBezTo>
                    <a:pt x="119221" y="263174"/>
                    <a:pt x="117952" y="265077"/>
                    <a:pt x="116684" y="266979"/>
                  </a:cubicBezTo>
                  <a:cubicBezTo>
                    <a:pt x="115416" y="269515"/>
                    <a:pt x="113514" y="272052"/>
                    <a:pt x="111611" y="274589"/>
                  </a:cubicBezTo>
                  <a:cubicBezTo>
                    <a:pt x="125563" y="269515"/>
                    <a:pt x="138246" y="261906"/>
                    <a:pt x="147758" y="251759"/>
                  </a:cubicBezTo>
                  <a:cubicBezTo>
                    <a:pt x="150929" y="247954"/>
                    <a:pt x="156002" y="246686"/>
                    <a:pt x="161075" y="246686"/>
                  </a:cubicBezTo>
                  <a:cubicBezTo>
                    <a:pt x="164880" y="246686"/>
                    <a:pt x="168685" y="247320"/>
                    <a:pt x="172490" y="247320"/>
                  </a:cubicBezTo>
                  <a:cubicBezTo>
                    <a:pt x="249857" y="247320"/>
                    <a:pt x="312638" y="199124"/>
                    <a:pt x="312638" y="140782"/>
                  </a:cubicBezTo>
                  <a:cubicBezTo>
                    <a:pt x="313272" y="81806"/>
                    <a:pt x="250491" y="33610"/>
                    <a:pt x="173124" y="33610"/>
                  </a:cubicBezTo>
                  <a:lnTo>
                    <a:pt x="173124" y="33610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33" name="Forma Livre: Forma 132">
              <a:extLst>
                <a:ext uri="{FF2B5EF4-FFF2-40B4-BE49-F238E27FC236}">
                  <a16:creationId xmlns:a16="http://schemas.microsoft.com/office/drawing/2014/main" id="{669816AF-01FF-4889-8910-A3BFA0BBF21A}"/>
                </a:ext>
              </a:extLst>
            </p:cNvPr>
            <p:cNvSpPr/>
            <p:nvPr/>
          </p:nvSpPr>
          <p:spPr>
            <a:xfrm>
              <a:off x="9640717" y="5893327"/>
              <a:ext cx="276024" cy="252863"/>
            </a:xfrm>
            <a:custGeom>
              <a:avLst/>
              <a:gdLst>
                <a:gd name="connsiteX0" fmla="*/ 217081 w 276024"/>
                <a:gd name="connsiteY0" fmla="*/ 252864 h 252863"/>
                <a:gd name="connsiteX1" fmla="*/ 157472 w 276024"/>
                <a:gd name="connsiteY1" fmla="*/ 235741 h 252863"/>
                <a:gd name="connsiteX2" fmla="*/ 154301 w 276024"/>
                <a:gd name="connsiteY2" fmla="*/ 236375 h 252863"/>
                <a:gd name="connsiteX3" fmla="*/ 1469 w 276024"/>
                <a:gd name="connsiteY3" fmla="*/ 165350 h 252863"/>
                <a:gd name="connsiteX4" fmla="*/ 10347 w 276024"/>
                <a:gd name="connsiteY4" fmla="*/ 143155 h 252863"/>
                <a:gd name="connsiteX5" fmla="*/ 32543 w 276024"/>
                <a:gd name="connsiteY5" fmla="*/ 152033 h 252863"/>
                <a:gd name="connsiteX6" fmla="*/ 148593 w 276024"/>
                <a:gd name="connsiteY6" fmla="*/ 202765 h 252863"/>
                <a:gd name="connsiteX7" fmla="*/ 156837 w 276024"/>
                <a:gd name="connsiteY7" fmla="*/ 200863 h 252863"/>
                <a:gd name="connsiteX8" fmla="*/ 171423 w 276024"/>
                <a:gd name="connsiteY8" fmla="*/ 204034 h 252863"/>
                <a:gd name="connsiteX9" fmla="*/ 192984 w 276024"/>
                <a:gd name="connsiteY9" fmla="*/ 215448 h 252863"/>
                <a:gd name="connsiteX10" fmla="*/ 192984 w 276024"/>
                <a:gd name="connsiteY10" fmla="*/ 215448 h 252863"/>
                <a:gd name="connsiteX11" fmla="*/ 189813 w 276024"/>
                <a:gd name="connsiteY11" fmla="*/ 210375 h 252863"/>
                <a:gd name="connsiteX12" fmla="*/ 186642 w 276024"/>
                <a:gd name="connsiteY12" fmla="*/ 197058 h 252863"/>
                <a:gd name="connsiteX13" fmla="*/ 193618 w 276024"/>
                <a:gd name="connsiteY13" fmla="*/ 185643 h 252863"/>
                <a:gd name="connsiteX14" fmla="*/ 241814 w 276024"/>
                <a:gd name="connsiteY14" fmla="*/ 94959 h 252863"/>
                <a:gd name="connsiteX15" fmla="*/ 188544 w 276024"/>
                <a:gd name="connsiteY15" fmla="*/ 32812 h 252863"/>
                <a:gd name="connsiteX16" fmla="*/ 179032 w 276024"/>
                <a:gd name="connsiteY16" fmla="*/ 10617 h 252863"/>
                <a:gd name="connsiteX17" fmla="*/ 201228 w 276024"/>
                <a:gd name="connsiteY17" fmla="*/ 1104 h 252863"/>
                <a:gd name="connsiteX18" fmla="*/ 274790 w 276024"/>
                <a:gd name="connsiteY18" fmla="*/ 89252 h 252863"/>
                <a:gd name="connsiteX19" fmla="*/ 226594 w 276024"/>
                <a:gd name="connsiteY19" fmla="*/ 202765 h 252863"/>
                <a:gd name="connsiteX20" fmla="*/ 250058 w 276024"/>
                <a:gd name="connsiteY20" fmla="*/ 216082 h 252863"/>
                <a:gd name="connsiteX21" fmla="*/ 262107 w 276024"/>
                <a:gd name="connsiteY21" fmla="*/ 232571 h 252863"/>
                <a:gd name="connsiteX22" fmla="*/ 249424 w 276024"/>
                <a:gd name="connsiteY22" fmla="*/ 248424 h 252863"/>
                <a:gd name="connsiteX23" fmla="*/ 217081 w 276024"/>
                <a:gd name="connsiteY23" fmla="*/ 252864 h 252863"/>
                <a:gd name="connsiteX24" fmla="*/ 217081 w 276024"/>
                <a:gd name="connsiteY24" fmla="*/ 252864 h 252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76024" h="252863">
                  <a:moveTo>
                    <a:pt x="217081" y="252864"/>
                  </a:moveTo>
                  <a:cubicBezTo>
                    <a:pt x="194886" y="252864"/>
                    <a:pt x="174593" y="247156"/>
                    <a:pt x="157472" y="235741"/>
                  </a:cubicBezTo>
                  <a:cubicBezTo>
                    <a:pt x="156203" y="235741"/>
                    <a:pt x="155569" y="236375"/>
                    <a:pt x="154301" y="236375"/>
                  </a:cubicBezTo>
                  <a:cubicBezTo>
                    <a:pt x="88349" y="248424"/>
                    <a:pt x="24299" y="218619"/>
                    <a:pt x="1469" y="165350"/>
                  </a:cubicBezTo>
                  <a:cubicBezTo>
                    <a:pt x="-2336" y="156472"/>
                    <a:pt x="1469" y="146960"/>
                    <a:pt x="10347" y="143155"/>
                  </a:cubicBezTo>
                  <a:cubicBezTo>
                    <a:pt x="18592" y="139350"/>
                    <a:pt x="28738" y="143155"/>
                    <a:pt x="32543" y="152033"/>
                  </a:cubicBezTo>
                  <a:cubicBezTo>
                    <a:pt x="49031" y="190716"/>
                    <a:pt x="97861" y="212278"/>
                    <a:pt x="148593" y="202765"/>
                  </a:cubicBezTo>
                  <a:cubicBezTo>
                    <a:pt x="151764" y="202131"/>
                    <a:pt x="154301" y="201497"/>
                    <a:pt x="156837" y="200863"/>
                  </a:cubicBezTo>
                  <a:cubicBezTo>
                    <a:pt x="161910" y="199594"/>
                    <a:pt x="167618" y="200863"/>
                    <a:pt x="171423" y="204034"/>
                  </a:cubicBezTo>
                  <a:cubicBezTo>
                    <a:pt x="177764" y="209107"/>
                    <a:pt x="185374" y="212912"/>
                    <a:pt x="192984" y="215448"/>
                  </a:cubicBezTo>
                  <a:cubicBezTo>
                    <a:pt x="192984" y="215448"/>
                    <a:pt x="192984" y="215448"/>
                    <a:pt x="192984" y="215448"/>
                  </a:cubicBezTo>
                  <a:cubicBezTo>
                    <a:pt x="191715" y="213546"/>
                    <a:pt x="190447" y="212278"/>
                    <a:pt x="189813" y="210375"/>
                  </a:cubicBezTo>
                  <a:cubicBezTo>
                    <a:pt x="187276" y="206570"/>
                    <a:pt x="186008" y="201497"/>
                    <a:pt x="186642" y="197058"/>
                  </a:cubicBezTo>
                  <a:cubicBezTo>
                    <a:pt x="187910" y="192619"/>
                    <a:pt x="189813" y="188180"/>
                    <a:pt x="193618" y="185643"/>
                  </a:cubicBezTo>
                  <a:cubicBezTo>
                    <a:pt x="228496" y="164082"/>
                    <a:pt x="247521" y="128569"/>
                    <a:pt x="241814" y="94959"/>
                  </a:cubicBezTo>
                  <a:cubicBezTo>
                    <a:pt x="237375" y="67691"/>
                    <a:pt x="218350" y="44861"/>
                    <a:pt x="188544" y="32812"/>
                  </a:cubicBezTo>
                  <a:cubicBezTo>
                    <a:pt x="179667" y="29007"/>
                    <a:pt x="175861" y="19495"/>
                    <a:pt x="179032" y="10617"/>
                  </a:cubicBezTo>
                  <a:cubicBezTo>
                    <a:pt x="182838" y="1738"/>
                    <a:pt x="192350" y="-2066"/>
                    <a:pt x="201228" y="1104"/>
                  </a:cubicBezTo>
                  <a:cubicBezTo>
                    <a:pt x="241180" y="17592"/>
                    <a:pt x="269082" y="50568"/>
                    <a:pt x="274790" y="89252"/>
                  </a:cubicBezTo>
                  <a:cubicBezTo>
                    <a:pt x="281132" y="130472"/>
                    <a:pt x="262741" y="173594"/>
                    <a:pt x="226594" y="202765"/>
                  </a:cubicBezTo>
                  <a:cubicBezTo>
                    <a:pt x="233570" y="208473"/>
                    <a:pt x="241180" y="212912"/>
                    <a:pt x="250058" y="216082"/>
                  </a:cubicBezTo>
                  <a:cubicBezTo>
                    <a:pt x="257033" y="218619"/>
                    <a:pt x="262107" y="224961"/>
                    <a:pt x="262107" y="232571"/>
                  </a:cubicBezTo>
                  <a:cubicBezTo>
                    <a:pt x="262107" y="240180"/>
                    <a:pt x="257033" y="246522"/>
                    <a:pt x="249424" y="248424"/>
                  </a:cubicBezTo>
                  <a:cubicBezTo>
                    <a:pt x="239277" y="251595"/>
                    <a:pt x="227862" y="252864"/>
                    <a:pt x="217081" y="252864"/>
                  </a:cubicBezTo>
                  <a:lnTo>
                    <a:pt x="217081" y="25286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sp>
        <p:nvSpPr>
          <p:cNvPr id="134" name="Forma Livre: Forma 133">
            <a:extLst>
              <a:ext uri="{FF2B5EF4-FFF2-40B4-BE49-F238E27FC236}">
                <a16:creationId xmlns:a16="http://schemas.microsoft.com/office/drawing/2014/main" id="{6FA4FCD8-0683-4C97-9188-2E7DBC9EAFB1}"/>
              </a:ext>
            </a:extLst>
          </p:cNvPr>
          <p:cNvSpPr/>
          <p:nvPr/>
        </p:nvSpPr>
        <p:spPr>
          <a:xfrm>
            <a:off x="1298328" y="3634808"/>
            <a:ext cx="375396" cy="397581"/>
          </a:xfrm>
          <a:custGeom>
            <a:avLst/>
            <a:gdLst>
              <a:gd name="connsiteX0" fmla="*/ 190444 w 379618"/>
              <a:gd name="connsiteY0" fmla="*/ 402053 h 402053"/>
              <a:gd name="connsiteX1" fmla="*/ 41417 w 379618"/>
              <a:gd name="connsiteY1" fmla="*/ 390005 h 402053"/>
              <a:gd name="connsiteX2" fmla="*/ 4637 w 379618"/>
              <a:gd name="connsiteY2" fmla="*/ 348785 h 402053"/>
              <a:gd name="connsiteX3" fmla="*/ 197 w 379618"/>
              <a:gd name="connsiteY3" fmla="*/ 306930 h 402053"/>
              <a:gd name="connsiteX4" fmla="*/ 27466 w 379618"/>
              <a:gd name="connsiteY4" fmla="*/ 256832 h 402053"/>
              <a:gd name="connsiteX5" fmla="*/ 128297 w 379618"/>
              <a:gd name="connsiteY5" fmla="*/ 225125 h 402053"/>
              <a:gd name="connsiteX6" fmla="*/ 127662 w 379618"/>
              <a:gd name="connsiteY6" fmla="*/ 221320 h 402053"/>
              <a:gd name="connsiteX7" fmla="*/ 111174 w 379618"/>
              <a:gd name="connsiteY7" fmla="*/ 193417 h 402053"/>
              <a:gd name="connsiteX8" fmla="*/ 109906 w 379618"/>
              <a:gd name="connsiteY8" fmla="*/ 183905 h 402053"/>
              <a:gd name="connsiteX9" fmla="*/ 95321 w 379618"/>
              <a:gd name="connsiteY9" fmla="*/ 164246 h 402053"/>
              <a:gd name="connsiteX10" fmla="*/ 91516 w 379618"/>
              <a:gd name="connsiteY10" fmla="*/ 124928 h 402053"/>
              <a:gd name="connsiteX11" fmla="*/ 96589 w 379618"/>
              <a:gd name="connsiteY11" fmla="*/ 107172 h 402053"/>
              <a:gd name="connsiteX12" fmla="*/ 100394 w 379618"/>
              <a:gd name="connsiteY12" fmla="*/ 103367 h 402053"/>
              <a:gd name="connsiteX13" fmla="*/ 99125 w 379618"/>
              <a:gd name="connsiteY13" fmla="*/ 91318 h 402053"/>
              <a:gd name="connsiteX14" fmla="*/ 118784 w 379618"/>
              <a:gd name="connsiteY14" fmla="*/ 25366 h 402053"/>
              <a:gd name="connsiteX15" fmla="*/ 189809 w 379618"/>
              <a:gd name="connsiteY15" fmla="*/ 0 h 402053"/>
              <a:gd name="connsiteX16" fmla="*/ 261469 w 379618"/>
              <a:gd name="connsiteY16" fmla="*/ 26000 h 402053"/>
              <a:gd name="connsiteX17" fmla="*/ 280493 w 379618"/>
              <a:gd name="connsiteY17" fmla="*/ 91318 h 402053"/>
              <a:gd name="connsiteX18" fmla="*/ 280493 w 379618"/>
              <a:gd name="connsiteY18" fmla="*/ 94489 h 402053"/>
              <a:gd name="connsiteX19" fmla="*/ 279225 w 379618"/>
              <a:gd name="connsiteY19" fmla="*/ 103367 h 402053"/>
              <a:gd name="connsiteX20" fmla="*/ 283030 w 379618"/>
              <a:gd name="connsiteY20" fmla="*/ 107172 h 402053"/>
              <a:gd name="connsiteX21" fmla="*/ 288103 w 379618"/>
              <a:gd name="connsiteY21" fmla="*/ 124928 h 402053"/>
              <a:gd name="connsiteX22" fmla="*/ 284298 w 379618"/>
              <a:gd name="connsiteY22" fmla="*/ 164246 h 402053"/>
              <a:gd name="connsiteX23" fmla="*/ 269713 w 379618"/>
              <a:gd name="connsiteY23" fmla="*/ 183905 h 402053"/>
              <a:gd name="connsiteX24" fmla="*/ 268444 w 379618"/>
              <a:gd name="connsiteY24" fmla="*/ 194051 h 402053"/>
              <a:gd name="connsiteX25" fmla="*/ 251957 w 379618"/>
              <a:gd name="connsiteY25" fmla="*/ 221954 h 402053"/>
              <a:gd name="connsiteX26" fmla="*/ 251322 w 379618"/>
              <a:gd name="connsiteY26" fmla="*/ 225759 h 402053"/>
              <a:gd name="connsiteX27" fmla="*/ 351519 w 379618"/>
              <a:gd name="connsiteY27" fmla="*/ 256832 h 402053"/>
              <a:gd name="connsiteX28" fmla="*/ 379421 w 379618"/>
              <a:gd name="connsiteY28" fmla="*/ 307565 h 402053"/>
              <a:gd name="connsiteX29" fmla="*/ 375616 w 379618"/>
              <a:gd name="connsiteY29" fmla="*/ 348785 h 402053"/>
              <a:gd name="connsiteX30" fmla="*/ 338836 w 379618"/>
              <a:gd name="connsiteY30" fmla="*/ 390005 h 402053"/>
              <a:gd name="connsiteX31" fmla="*/ 190444 w 379618"/>
              <a:gd name="connsiteY31" fmla="*/ 402053 h 402053"/>
              <a:gd name="connsiteX32" fmla="*/ 190444 w 379618"/>
              <a:gd name="connsiteY32" fmla="*/ 402053 h 402053"/>
              <a:gd name="connsiteX33" fmla="*/ 127662 w 379618"/>
              <a:gd name="connsiteY33" fmla="*/ 150294 h 402053"/>
              <a:gd name="connsiteX34" fmla="*/ 130199 w 379618"/>
              <a:gd name="connsiteY34" fmla="*/ 150929 h 402053"/>
              <a:gd name="connsiteX35" fmla="*/ 141614 w 379618"/>
              <a:gd name="connsiteY35" fmla="*/ 164880 h 402053"/>
              <a:gd name="connsiteX36" fmla="*/ 144785 w 379618"/>
              <a:gd name="connsiteY36" fmla="*/ 190880 h 402053"/>
              <a:gd name="connsiteX37" fmla="*/ 152394 w 379618"/>
              <a:gd name="connsiteY37" fmla="*/ 198490 h 402053"/>
              <a:gd name="connsiteX38" fmla="*/ 160004 w 379618"/>
              <a:gd name="connsiteY38" fmla="*/ 210539 h 402053"/>
              <a:gd name="connsiteX39" fmla="*/ 163809 w 379618"/>
              <a:gd name="connsiteY39" fmla="*/ 237808 h 402053"/>
              <a:gd name="connsiteX40" fmla="*/ 160638 w 379618"/>
              <a:gd name="connsiteY40" fmla="*/ 250491 h 402053"/>
              <a:gd name="connsiteX41" fmla="*/ 149224 w 379618"/>
              <a:gd name="connsiteY41" fmla="*/ 256832 h 402053"/>
              <a:gd name="connsiteX42" fmla="*/ 42686 w 379618"/>
              <a:gd name="connsiteY42" fmla="*/ 287272 h 402053"/>
              <a:gd name="connsiteX43" fmla="*/ 33808 w 379618"/>
              <a:gd name="connsiteY43" fmla="*/ 303760 h 402053"/>
              <a:gd name="connsiteX44" fmla="*/ 38247 w 379618"/>
              <a:gd name="connsiteY44" fmla="*/ 344980 h 402053"/>
              <a:gd name="connsiteX45" fmla="*/ 47759 w 379618"/>
              <a:gd name="connsiteY45" fmla="*/ 356394 h 402053"/>
              <a:gd name="connsiteX46" fmla="*/ 335031 w 379618"/>
              <a:gd name="connsiteY46" fmla="*/ 356394 h 402053"/>
              <a:gd name="connsiteX47" fmla="*/ 343909 w 379618"/>
              <a:gd name="connsiteY47" fmla="*/ 344980 h 402053"/>
              <a:gd name="connsiteX48" fmla="*/ 347714 w 379618"/>
              <a:gd name="connsiteY48" fmla="*/ 303760 h 402053"/>
              <a:gd name="connsiteX49" fmla="*/ 338201 w 379618"/>
              <a:gd name="connsiteY49" fmla="*/ 286637 h 402053"/>
              <a:gd name="connsiteX50" fmla="*/ 232298 w 379618"/>
              <a:gd name="connsiteY50" fmla="*/ 256198 h 402053"/>
              <a:gd name="connsiteX51" fmla="*/ 220883 w 379618"/>
              <a:gd name="connsiteY51" fmla="*/ 249857 h 402053"/>
              <a:gd name="connsiteX52" fmla="*/ 217712 w 379618"/>
              <a:gd name="connsiteY52" fmla="*/ 237173 h 402053"/>
              <a:gd name="connsiteX53" fmla="*/ 221517 w 379618"/>
              <a:gd name="connsiteY53" fmla="*/ 209905 h 402053"/>
              <a:gd name="connsiteX54" fmla="*/ 229127 w 379618"/>
              <a:gd name="connsiteY54" fmla="*/ 197856 h 402053"/>
              <a:gd name="connsiteX55" fmla="*/ 236737 w 379618"/>
              <a:gd name="connsiteY55" fmla="*/ 190246 h 402053"/>
              <a:gd name="connsiteX56" fmla="*/ 239908 w 379618"/>
              <a:gd name="connsiteY56" fmla="*/ 164246 h 402053"/>
              <a:gd name="connsiteX57" fmla="*/ 251322 w 379618"/>
              <a:gd name="connsiteY57" fmla="*/ 150294 h 402053"/>
              <a:gd name="connsiteX58" fmla="*/ 253859 w 379618"/>
              <a:gd name="connsiteY58" fmla="*/ 149660 h 402053"/>
              <a:gd name="connsiteX59" fmla="*/ 255761 w 379618"/>
              <a:gd name="connsiteY59" fmla="*/ 130636 h 402053"/>
              <a:gd name="connsiteX60" fmla="*/ 253225 w 379618"/>
              <a:gd name="connsiteY60" fmla="*/ 129367 h 402053"/>
              <a:gd name="connsiteX61" fmla="*/ 246249 w 379618"/>
              <a:gd name="connsiteY61" fmla="*/ 113513 h 402053"/>
              <a:gd name="connsiteX62" fmla="*/ 246249 w 379618"/>
              <a:gd name="connsiteY62" fmla="*/ 111611 h 402053"/>
              <a:gd name="connsiteX63" fmla="*/ 248786 w 379618"/>
              <a:gd name="connsiteY63" fmla="*/ 90684 h 402053"/>
              <a:gd name="connsiteX64" fmla="*/ 248786 w 379618"/>
              <a:gd name="connsiteY64" fmla="*/ 87513 h 402053"/>
              <a:gd name="connsiteX65" fmla="*/ 239908 w 379618"/>
              <a:gd name="connsiteY65" fmla="*/ 50098 h 402053"/>
              <a:gd name="connsiteX66" fmla="*/ 191078 w 379618"/>
              <a:gd name="connsiteY66" fmla="*/ 33610 h 402053"/>
              <a:gd name="connsiteX67" fmla="*/ 142882 w 379618"/>
              <a:gd name="connsiteY67" fmla="*/ 49464 h 402053"/>
              <a:gd name="connsiteX68" fmla="*/ 133370 w 379618"/>
              <a:gd name="connsiteY68" fmla="*/ 87513 h 402053"/>
              <a:gd name="connsiteX69" fmla="*/ 136541 w 379618"/>
              <a:gd name="connsiteY69" fmla="*/ 113513 h 402053"/>
              <a:gd name="connsiteX70" fmla="*/ 128931 w 379618"/>
              <a:gd name="connsiteY70" fmla="*/ 129367 h 402053"/>
              <a:gd name="connsiteX71" fmla="*/ 126394 w 379618"/>
              <a:gd name="connsiteY71" fmla="*/ 130636 h 402053"/>
              <a:gd name="connsiteX72" fmla="*/ 127662 w 379618"/>
              <a:gd name="connsiteY72" fmla="*/ 150294 h 402053"/>
              <a:gd name="connsiteX73" fmla="*/ 127662 w 379618"/>
              <a:gd name="connsiteY73" fmla="*/ 150294 h 402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</a:cxnLst>
            <a:rect l="l" t="t" r="r" b="b"/>
            <a:pathLst>
              <a:path w="379618" h="402053">
                <a:moveTo>
                  <a:pt x="190444" y="402053"/>
                </a:moveTo>
                <a:cubicBezTo>
                  <a:pt x="140980" y="402053"/>
                  <a:pt x="90881" y="398249"/>
                  <a:pt x="41417" y="390005"/>
                </a:cubicBezTo>
                <a:cubicBezTo>
                  <a:pt x="22393" y="386200"/>
                  <a:pt x="6539" y="368443"/>
                  <a:pt x="4637" y="348785"/>
                </a:cubicBezTo>
                <a:cubicBezTo>
                  <a:pt x="3368" y="334833"/>
                  <a:pt x="1466" y="320882"/>
                  <a:pt x="197" y="306930"/>
                </a:cubicBezTo>
                <a:cubicBezTo>
                  <a:pt x="-1705" y="287906"/>
                  <a:pt x="10344" y="265710"/>
                  <a:pt x="27466" y="256832"/>
                </a:cubicBezTo>
                <a:cubicBezTo>
                  <a:pt x="59174" y="241613"/>
                  <a:pt x="93418" y="230832"/>
                  <a:pt x="128297" y="225125"/>
                </a:cubicBezTo>
                <a:lnTo>
                  <a:pt x="127662" y="221320"/>
                </a:lnTo>
                <a:cubicBezTo>
                  <a:pt x="118150" y="213076"/>
                  <a:pt x="111809" y="202929"/>
                  <a:pt x="111174" y="193417"/>
                </a:cubicBezTo>
                <a:cubicBezTo>
                  <a:pt x="110540" y="190246"/>
                  <a:pt x="110540" y="187076"/>
                  <a:pt x="109906" y="183905"/>
                </a:cubicBezTo>
                <a:cubicBezTo>
                  <a:pt x="102296" y="180734"/>
                  <a:pt x="96589" y="173124"/>
                  <a:pt x="95321" y="164246"/>
                </a:cubicBezTo>
                <a:lnTo>
                  <a:pt x="91516" y="124928"/>
                </a:lnTo>
                <a:cubicBezTo>
                  <a:pt x="90881" y="118587"/>
                  <a:pt x="92784" y="112245"/>
                  <a:pt x="96589" y="107172"/>
                </a:cubicBezTo>
                <a:cubicBezTo>
                  <a:pt x="97857" y="105904"/>
                  <a:pt x="99125" y="104001"/>
                  <a:pt x="100394" y="103367"/>
                </a:cubicBezTo>
                <a:lnTo>
                  <a:pt x="99125" y="91318"/>
                </a:lnTo>
                <a:cubicBezTo>
                  <a:pt x="97857" y="78001"/>
                  <a:pt x="94686" y="46927"/>
                  <a:pt x="118784" y="25366"/>
                </a:cubicBezTo>
                <a:cubicBezTo>
                  <a:pt x="134638" y="9512"/>
                  <a:pt x="161273" y="0"/>
                  <a:pt x="189809" y="0"/>
                </a:cubicBezTo>
                <a:cubicBezTo>
                  <a:pt x="218981" y="0"/>
                  <a:pt x="244981" y="9512"/>
                  <a:pt x="261469" y="26000"/>
                </a:cubicBezTo>
                <a:cubicBezTo>
                  <a:pt x="284933" y="46927"/>
                  <a:pt x="281762" y="78001"/>
                  <a:pt x="280493" y="91318"/>
                </a:cubicBezTo>
                <a:lnTo>
                  <a:pt x="280493" y="94489"/>
                </a:lnTo>
                <a:cubicBezTo>
                  <a:pt x="279859" y="97660"/>
                  <a:pt x="279859" y="100196"/>
                  <a:pt x="279225" y="103367"/>
                </a:cubicBezTo>
                <a:cubicBezTo>
                  <a:pt x="280493" y="104636"/>
                  <a:pt x="281762" y="105904"/>
                  <a:pt x="283030" y="107172"/>
                </a:cubicBezTo>
                <a:cubicBezTo>
                  <a:pt x="286835" y="112245"/>
                  <a:pt x="288737" y="118587"/>
                  <a:pt x="288103" y="124928"/>
                </a:cubicBezTo>
                <a:lnTo>
                  <a:pt x="284298" y="164246"/>
                </a:lnTo>
                <a:cubicBezTo>
                  <a:pt x="283664" y="173124"/>
                  <a:pt x="277957" y="180734"/>
                  <a:pt x="269713" y="183905"/>
                </a:cubicBezTo>
                <a:lnTo>
                  <a:pt x="268444" y="194051"/>
                </a:lnTo>
                <a:cubicBezTo>
                  <a:pt x="267810" y="203563"/>
                  <a:pt x="261469" y="213710"/>
                  <a:pt x="251957" y="221954"/>
                </a:cubicBezTo>
                <a:lnTo>
                  <a:pt x="251322" y="225759"/>
                </a:lnTo>
                <a:cubicBezTo>
                  <a:pt x="286201" y="231466"/>
                  <a:pt x="319811" y="242247"/>
                  <a:pt x="351519" y="256832"/>
                </a:cubicBezTo>
                <a:cubicBezTo>
                  <a:pt x="369275" y="266345"/>
                  <a:pt x="381324" y="287906"/>
                  <a:pt x="379421" y="307565"/>
                </a:cubicBezTo>
                <a:lnTo>
                  <a:pt x="375616" y="348785"/>
                </a:lnTo>
                <a:cubicBezTo>
                  <a:pt x="373714" y="368443"/>
                  <a:pt x="357226" y="386200"/>
                  <a:pt x="338836" y="390005"/>
                </a:cubicBezTo>
                <a:cubicBezTo>
                  <a:pt x="290006" y="398249"/>
                  <a:pt x="239908" y="402053"/>
                  <a:pt x="190444" y="402053"/>
                </a:cubicBezTo>
                <a:lnTo>
                  <a:pt x="190444" y="402053"/>
                </a:lnTo>
                <a:close/>
                <a:moveTo>
                  <a:pt x="127662" y="150294"/>
                </a:moveTo>
                <a:cubicBezTo>
                  <a:pt x="128297" y="150294"/>
                  <a:pt x="129565" y="150929"/>
                  <a:pt x="130199" y="150929"/>
                </a:cubicBezTo>
                <a:cubicBezTo>
                  <a:pt x="136541" y="152831"/>
                  <a:pt x="140980" y="158539"/>
                  <a:pt x="141614" y="164880"/>
                </a:cubicBezTo>
                <a:cubicBezTo>
                  <a:pt x="142882" y="173758"/>
                  <a:pt x="143516" y="182002"/>
                  <a:pt x="144785" y="190880"/>
                </a:cubicBezTo>
                <a:cubicBezTo>
                  <a:pt x="144785" y="192149"/>
                  <a:pt x="147321" y="195319"/>
                  <a:pt x="152394" y="198490"/>
                </a:cubicBezTo>
                <a:cubicBezTo>
                  <a:pt x="156833" y="201027"/>
                  <a:pt x="159370" y="205466"/>
                  <a:pt x="160004" y="210539"/>
                </a:cubicBezTo>
                <a:lnTo>
                  <a:pt x="163809" y="237808"/>
                </a:lnTo>
                <a:cubicBezTo>
                  <a:pt x="164443" y="242247"/>
                  <a:pt x="163175" y="246686"/>
                  <a:pt x="160638" y="250491"/>
                </a:cubicBezTo>
                <a:cubicBezTo>
                  <a:pt x="158102" y="254296"/>
                  <a:pt x="153663" y="256198"/>
                  <a:pt x="149224" y="256832"/>
                </a:cubicBezTo>
                <a:cubicBezTo>
                  <a:pt x="111809" y="261271"/>
                  <a:pt x="75662" y="271418"/>
                  <a:pt x="42686" y="287272"/>
                </a:cubicBezTo>
                <a:cubicBezTo>
                  <a:pt x="37613" y="289808"/>
                  <a:pt x="33808" y="298686"/>
                  <a:pt x="33808" y="303760"/>
                </a:cubicBezTo>
                <a:cubicBezTo>
                  <a:pt x="35076" y="317711"/>
                  <a:pt x="36344" y="331663"/>
                  <a:pt x="38247" y="344980"/>
                </a:cubicBezTo>
                <a:cubicBezTo>
                  <a:pt x="38881" y="350053"/>
                  <a:pt x="43954" y="355760"/>
                  <a:pt x="47759" y="356394"/>
                </a:cubicBezTo>
                <a:cubicBezTo>
                  <a:pt x="141614" y="371614"/>
                  <a:pt x="239908" y="371614"/>
                  <a:pt x="335031" y="356394"/>
                </a:cubicBezTo>
                <a:cubicBezTo>
                  <a:pt x="338201" y="355760"/>
                  <a:pt x="343275" y="350053"/>
                  <a:pt x="343909" y="344980"/>
                </a:cubicBezTo>
                <a:lnTo>
                  <a:pt x="347714" y="303760"/>
                </a:lnTo>
                <a:cubicBezTo>
                  <a:pt x="348348" y="298686"/>
                  <a:pt x="343909" y="289808"/>
                  <a:pt x="338201" y="286637"/>
                </a:cubicBezTo>
                <a:cubicBezTo>
                  <a:pt x="305860" y="270784"/>
                  <a:pt x="269713" y="260637"/>
                  <a:pt x="232298" y="256198"/>
                </a:cubicBezTo>
                <a:cubicBezTo>
                  <a:pt x="227859" y="255564"/>
                  <a:pt x="223420" y="253027"/>
                  <a:pt x="220883" y="249857"/>
                </a:cubicBezTo>
                <a:cubicBezTo>
                  <a:pt x="218346" y="246052"/>
                  <a:pt x="217078" y="241613"/>
                  <a:pt x="217712" y="237173"/>
                </a:cubicBezTo>
                <a:lnTo>
                  <a:pt x="221517" y="209905"/>
                </a:lnTo>
                <a:cubicBezTo>
                  <a:pt x="222151" y="204832"/>
                  <a:pt x="224688" y="201027"/>
                  <a:pt x="229127" y="197856"/>
                </a:cubicBezTo>
                <a:cubicBezTo>
                  <a:pt x="234200" y="194685"/>
                  <a:pt x="236103" y="190880"/>
                  <a:pt x="236737" y="190246"/>
                </a:cubicBezTo>
                <a:lnTo>
                  <a:pt x="239908" y="164246"/>
                </a:lnTo>
                <a:cubicBezTo>
                  <a:pt x="240542" y="157904"/>
                  <a:pt x="244981" y="152197"/>
                  <a:pt x="251322" y="150294"/>
                </a:cubicBezTo>
                <a:cubicBezTo>
                  <a:pt x="251957" y="150294"/>
                  <a:pt x="252591" y="149660"/>
                  <a:pt x="253859" y="149660"/>
                </a:cubicBezTo>
                <a:lnTo>
                  <a:pt x="255761" y="130636"/>
                </a:lnTo>
                <a:cubicBezTo>
                  <a:pt x="255127" y="130002"/>
                  <a:pt x="253859" y="130002"/>
                  <a:pt x="253225" y="129367"/>
                </a:cubicBezTo>
                <a:cubicBezTo>
                  <a:pt x="248152" y="125563"/>
                  <a:pt x="244981" y="119855"/>
                  <a:pt x="246249" y="113513"/>
                </a:cubicBezTo>
                <a:lnTo>
                  <a:pt x="246249" y="111611"/>
                </a:lnTo>
                <a:cubicBezTo>
                  <a:pt x="246883" y="104636"/>
                  <a:pt x="248152" y="97660"/>
                  <a:pt x="248786" y="90684"/>
                </a:cubicBezTo>
                <a:lnTo>
                  <a:pt x="248786" y="87513"/>
                </a:lnTo>
                <a:cubicBezTo>
                  <a:pt x="250054" y="74196"/>
                  <a:pt x="250688" y="59610"/>
                  <a:pt x="239908" y="50098"/>
                </a:cubicBezTo>
                <a:cubicBezTo>
                  <a:pt x="229127" y="39318"/>
                  <a:pt x="210737" y="33610"/>
                  <a:pt x="191078" y="33610"/>
                </a:cubicBezTo>
                <a:cubicBezTo>
                  <a:pt x="171419" y="33610"/>
                  <a:pt x="153029" y="39952"/>
                  <a:pt x="142882" y="49464"/>
                </a:cubicBezTo>
                <a:cubicBezTo>
                  <a:pt x="132101" y="59610"/>
                  <a:pt x="132101" y="74196"/>
                  <a:pt x="133370" y="87513"/>
                </a:cubicBezTo>
                <a:lnTo>
                  <a:pt x="136541" y="113513"/>
                </a:lnTo>
                <a:cubicBezTo>
                  <a:pt x="137175" y="119855"/>
                  <a:pt x="134638" y="126197"/>
                  <a:pt x="128931" y="129367"/>
                </a:cubicBezTo>
                <a:cubicBezTo>
                  <a:pt x="128297" y="130002"/>
                  <a:pt x="127028" y="130636"/>
                  <a:pt x="126394" y="130636"/>
                </a:cubicBezTo>
                <a:lnTo>
                  <a:pt x="127662" y="150294"/>
                </a:lnTo>
                <a:lnTo>
                  <a:pt x="127662" y="150294"/>
                </a:lnTo>
                <a:close/>
              </a:path>
            </a:pathLst>
          </a:custGeom>
          <a:solidFill>
            <a:srgbClr val="B1B1A1"/>
          </a:solidFill>
          <a:ln w="6338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grpSp>
        <p:nvGrpSpPr>
          <p:cNvPr id="135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2349636" y="3633554"/>
            <a:ext cx="309604" cy="400716"/>
            <a:chOff x="2307658" y="3668552"/>
            <a:chExt cx="313086" cy="405223"/>
          </a:xfrm>
          <a:solidFill>
            <a:srgbClr val="B1B1A1"/>
          </a:solidFill>
        </p:grpSpPr>
        <p:sp>
          <p:nvSpPr>
            <p:cNvPr id="136" name="Forma Livre: Forma 135">
              <a:extLst>
                <a:ext uri="{FF2B5EF4-FFF2-40B4-BE49-F238E27FC236}">
                  <a16:creationId xmlns:a16="http://schemas.microsoft.com/office/drawing/2014/main" id="{34FCE494-039B-4BE6-BCD7-A8E1558C8F75}"/>
                </a:ext>
              </a:extLst>
            </p:cNvPr>
            <p:cNvSpPr/>
            <p:nvPr/>
          </p:nvSpPr>
          <p:spPr>
            <a:xfrm>
              <a:off x="2358594" y="3780798"/>
              <a:ext cx="212058" cy="196587"/>
            </a:xfrm>
            <a:custGeom>
              <a:avLst/>
              <a:gdLst>
                <a:gd name="connsiteX0" fmla="*/ 160145 w 212058"/>
                <a:gd name="connsiteY0" fmla="*/ 196588 h 196587"/>
                <a:gd name="connsiteX1" fmla="*/ 51705 w 212058"/>
                <a:gd name="connsiteY1" fmla="*/ 196588 h 196587"/>
                <a:gd name="connsiteX2" fmla="*/ 5411 w 212058"/>
                <a:gd name="connsiteY2" fmla="*/ 173758 h 196587"/>
                <a:gd name="connsiteX3" fmla="*/ 8582 w 212058"/>
                <a:gd name="connsiteY3" fmla="*/ 122392 h 196587"/>
                <a:gd name="connsiteX4" fmla="*/ 63119 w 212058"/>
                <a:gd name="connsiteY4" fmla="*/ 28537 h 196587"/>
                <a:gd name="connsiteX5" fmla="*/ 106242 w 212058"/>
                <a:gd name="connsiteY5" fmla="*/ 0 h 196587"/>
                <a:gd name="connsiteX6" fmla="*/ 149364 w 212058"/>
                <a:gd name="connsiteY6" fmla="*/ 28537 h 196587"/>
                <a:gd name="connsiteX7" fmla="*/ 203267 w 212058"/>
                <a:gd name="connsiteY7" fmla="*/ 122392 h 196587"/>
                <a:gd name="connsiteX8" fmla="*/ 206438 w 212058"/>
                <a:gd name="connsiteY8" fmla="*/ 173758 h 196587"/>
                <a:gd name="connsiteX9" fmla="*/ 160145 w 212058"/>
                <a:gd name="connsiteY9" fmla="*/ 196588 h 196587"/>
                <a:gd name="connsiteX10" fmla="*/ 160145 w 212058"/>
                <a:gd name="connsiteY10" fmla="*/ 196588 h 196587"/>
                <a:gd name="connsiteX11" fmla="*/ 105608 w 212058"/>
                <a:gd name="connsiteY11" fmla="*/ 36146 h 196587"/>
                <a:gd name="connsiteX12" fmla="*/ 94827 w 212058"/>
                <a:gd name="connsiteY12" fmla="*/ 46293 h 196587"/>
                <a:gd name="connsiteX13" fmla="*/ 40290 w 212058"/>
                <a:gd name="connsiteY13" fmla="*/ 140148 h 196587"/>
                <a:gd name="connsiteX14" fmla="*/ 37119 w 212058"/>
                <a:gd name="connsiteY14" fmla="*/ 154733 h 196587"/>
                <a:gd name="connsiteX15" fmla="*/ 51705 w 212058"/>
                <a:gd name="connsiteY15" fmla="*/ 159172 h 196587"/>
                <a:gd name="connsiteX16" fmla="*/ 160145 w 212058"/>
                <a:gd name="connsiteY16" fmla="*/ 159172 h 196587"/>
                <a:gd name="connsiteX17" fmla="*/ 174730 w 212058"/>
                <a:gd name="connsiteY17" fmla="*/ 154733 h 196587"/>
                <a:gd name="connsiteX18" fmla="*/ 171560 w 212058"/>
                <a:gd name="connsiteY18" fmla="*/ 140148 h 196587"/>
                <a:gd name="connsiteX19" fmla="*/ 117022 w 212058"/>
                <a:gd name="connsiteY19" fmla="*/ 46293 h 196587"/>
                <a:gd name="connsiteX20" fmla="*/ 105608 w 212058"/>
                <a:gd name="connsiteY20" fmla="*/ 36146 h 196587"/>
                <a:gd name="connsiteX21" fmla="*/ 105608 w 212058"/>
                <a:gd name="connsiteY21" fmla="*/ 36146 h 196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12058" h="196587">
                  <a:moveTo>
                    <a:pt x="160145" y="196588"/>
                  </a:moveTo>
                  <a:lnTo>
                    <a:pt x="51705" y="196588"/>
                  </a:lnTo>
                  <a:cubicBezTo>
                    <a:pt x="30778" y="196588"/>
                    <a:pt x="13655" y="188343"/>
                    <a:pt x="5411" y="173758"/>
                  </a:cubicBezTo>
                  <a:cubicBezTo>
                    <a:pt x="-2833" y="159172"/>
                    <a:pt x="-1564" y="140148"/>
                    <a:pt x="8582" y="122392"/>
                  </a:cubicBezTo>
                  <a:lnTo>
                    <a:pt x="63119" y="28537"/>
                  </a:lnTo>
                  <a:cubicBezTo>
                    <a:pt x="73266" y="10146"/>
                    <a:pt x="89120" y="0"/>
                    <a:pt x="106242" y="0"/>
                  </a:cubicBezTo>
                  <a:cubicBezTo>
                    <a:pt x="123364" y="0"/>
                    <a:pt x="138584" y="10146"/>
                    <a:pt x="149364" y="28537"/>
                  </a:cubicBezTo>
                  <a:lnTo>
                    <a:pt x="203267" y="122392"/>
                  </a:lnTo>
                  <a:cubicBezTo>
                    <a:pt x="214048" y="140782"/>
                    <a:pt x="214682" y="159172"/>
                    <a:pt x="206438" y="173758"/>
                  </a:cubicBezTo>
                  <a:cubicBezTo>
                    <a:pt x="198194" y="188343"/>
                    <a:pt x="181072" y="196588"/>
                    <a:pt x="160145" y="196588"/>
                  </a:cubicBezTo>
                  <a:lnTo>
                    <a:pt x="160145" y="196588"/>
                  </a:lnTo>
                  <a:close/>
                  <a:moveTo>
                    <a:pt x="105608" y="36146"/>
                  </a:moveTo>
                  <a:cubicBezTo>
                    <a:pt x="103071" y="36146"/>
                    <a:pt x="98632" y="38683"/>
                    <a:pt x="94827" y="46293"/>
                  </a:cubicBezTo>
                  <a:lnTo>
                    <a:pt x="40290" y="140148"/>
                  </a:lnTo>
                  <a:cubicBezTo>
                    <a:pt x="35851" y="147758"/>
                    <a:pt x="35851" y="152831"/>
                    <a:pt x="37119" y="154733"/>
                  </a:cubicBezTo>
                  <a:cubicBezTo>
                    <a:pt x="38387" y="156636"/>
                    <a:pt x="42826" y="159172"/>
                    <a:pt x="51705" y="159172"/>
                  </a:cubicBezTo>
                  <a:lnTo>
                    <a:pt x="160145" y="159172"/>
                  </a:lnTo>
                  <a:cubicBezTo>
                    <a:pt x="169023" y="159172"/>
                    <a:pt x="173462" y="156636"/>
                    <a:pt x="174730" y="154733"/>
                  </a:cubicBezTo>
                  <a:cubicBezTo>
                    <a:pt x="175999" y="152831"/>
                    <a:pt x="175999" y="147758"/>
                    <a:pt x="171560" y="140148"/>
                  </a:cubicBezTo>
                  <a:lnTo>
                    <a:pt x="117022" y="46293"/>
                  </a:lnTo>
                  <a:cubicBezTo>
                    <a:pt x="112583" y="38683"/>
                    <a:pt x="108144" y="36146"/>
                    <a:pt x="105608" y="36146"/>
                  </a:cubicBezTo>
                  <a:lnTo>
                    <a:pt x="105608" y="36146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37" name="Forma Livre: Forma 136">
              <a:extLst>
                <a:ext uri="{FF2B5EF4-FFF2-40B4-BE49-F238E27FC236}">
                  <a16:creationId xmlns:a16="http://schemas.microsoft.com/office/drawing/2014/main" id="{CADAEFE4-3362-4C57-998F-04AEEFD03B03}"/>
                </a:ext>
              </a:extLst>
            </p:cNvPr>
            <p:cNvSpPr/>
            <p:nvPr/>
          </p:nvSpPr>
          <p:spPr>
            <a:xfrm>
              <a:off x="2307658" y="3780322"/>
              <a:ext cx="313086" cy="110184"/>
            </a:xfrm>
            <a:custGeom>
              <a:avLst/>
              <a:gdLst>
                <a:gd name="connsiteX0" fmla="*/ 295423 w 313086"/>
                <a:gd name="connsiteY0" fmla="*/ 110184 h 110184"/>
                <a:gd name="connsiteX1" fmla="*/ 285277 w 313086"/>
                <a:gd name="connsiteY1" fmla="*/ 107014 h 110184"/>
                <a:gd name="connsiteX2" fmla="*/ 192690 w 313086"/>
                <a:gd name="connsiteY2" fmla="*/ 46135 h 110184"/>
                <a:gd name="connsiteX3" fmla="*/ 121031 w 313086"/>
                <a:gd name="connsiteY3" fmla="*/ 46135 h 110184"/>
                <a:gd name="connsiteX4" fmla="*/ 28444 w 313086"/>
                <a:gd name="connsiteY4" fmla="*/ 107014 h 110184"/>
                <a:gd name="connsiteX5" fmla="*/ 3078 w 313086"/>
                <a:gd name="connsiteY5" fmla="*/ 101940 h 110184"/>
                <a:gd name="connsiteX6" fmla="*/ 8151 w 313086"/>
                <a:gd name="connsiteY6" fmla="*/ 76574 h 110184"/>
                <a:gd name="connsiteX7" fmla="*/ 100738 w 313086"/>
                <a:gd name="connsiteY7" fmla="*/ 15695 h 110184"/>
                <a:gd name="connsiteX8" fmla="*/ 212983 w 313086"/>
                <a:gd name="connsiteY8" fmla="*/ 15695 h 110184"/>
                <a:gd name="connsiteX9" fmla="*/ 304935 w 313086"/>
                <a:gd name="connsiteY9" fmla="*/ 76574 h 110184"/>
                <a:gd name="connsiteX10" fmla="*/ 310008 w 313086"/>
                <a:gd name="connsiteY10" fmla="*/ 101940 h 110184"/>
                <a:gd name="connsiteX11" fmla="*/ 295423 w 313086"/>
                <a:gd name="connsiteY11" fmla="*/ 110184 h 110184"/>
                <a:gd name="connsiteX12" fmla="*/ 295423 w 313086"/>
                <a:gd name="connsiteY12" fmla="*/ 110184 h 110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3086" h="110184">
                  <a:moveTo>
                    <a:pt x="295423" y="110184"/>
                  </a:moveTo>
                  <a:cubicBezTo>
                    <a:pt x="292252" y="110184"/>
                    <a:pt x="288447" y="108916"/>
                    <a:pt x="285277" y="107014"/>
                  </a:cubicBezTo>
                  <a:lnTo>
                    <a:pt x="192690" y="46135"/>
                  </a:lnTo>
                  <a:cubicBezTo>
                    <a:pt x="173665" y="33451"/>
                    <a:pt x="140055" y="33451"/>
                    <a:pt x="121031" y="46135"/>
                  </a:cubicBezTo>
                  <a:lnTo>
                    <a:pt x="28444" y="107014"/>
                  </a:lnTo>
                  <a:cubicBezTo>
                    <a:pt x="20200" y="112721"/>
                    <a:pt x="8785" y="110184"/>
                    <a:pt x="3078" y="101940"/>
                  </a:cubicBezTo>
                  <a:cubicBezTo>
                    <a:pt x="-2629" y="93696"/>
                    <a:pt x="-93" y="82281"/>
                    <a:pt x="8151" y="76574"/>
                  </a:cubicBezTo>
                  <a:lnTo>
                    <a:pt x="100738" y="15695"/>
                  </a:lnTo>
                  <a:cubicBezTo>
                    <a:pt x="132445" y="-5232"/>
                    <a:pt x="181909" y="-5232"/>
                    <a:pt x="212983" y="15695"/>
                  </a:cubicBezTo>
                  <a:lnTo>
                    <a:pt x="304935" y="76574"/>
                  </a:lnTo>
                  <a:cubicBezTo>
                    <a:pt x="313179" y="82281"/>
                    <a:pt x="315716" y="93696"/>
                    <a:pt x="310008" y="101940"/>
                  </a:cubicBezTo>
                  <a:cubicBezTo>
                    <a:pt x="306838" y="107014"/>
                    <a:pt x="301130" y="110184"/>
                    <a:pt x="295423" y="110184"/>
                  </a:cubicBezTo>
                  <a:lnTo>
                    <a:pt x="295423" y="11018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138" name="Gráfico 2">
              <a:extLst>
                <a:ext uri="{FF2B5EF4-FFF2-40B4-BE49-F238E27FC236}">
                  <a16:creationId xmlns:a16="http://schemas.microsoft.com/office/drawing/2014/main" id="{DC80C217-93B8-4831-A8BE-0817F1F32ECF}"/>
                </a:ext>
              </a:extLst>
            </p:cNvPr>
            <p:cNvGrpSpPr/>
            <p:nvPr/>
          </p:nvGrpSpPr>
          <p:grpSpPr>
            <a:xfrm>
              <a:off x="2416640" y="3950116"/>
              <a:ext cx="95757" cy="123659"/>
              <a:chOff x="2416640" y="3950116"/>
              <a:chExt cx="95757" cy="123659"/>
            </a:xfrm>
            <a:grpFill/>
          </p:grpSpPr>
          <p:sp>
            <p:nvSpPr>
              <p:cNvPr id="139" name="Forma Livre: Forma 138">
                <a:extLst>
                  <a:ext uri="{FF2B5EF4-FFF2-40B4-BE49-F238E27FC236}">
                    <a16:creationId xmlns:a16="http://schemas.microsoft.com/office/drawing/2014/main" id="{E71F27A7-44DE-45AB-B8B0-29E8E27A1A7D}"/>
                  </a:ext>
                </a:extLst>
              </p:cNvPr>
              <p:cNvSpPr/>
              <p:nvPr/>
            </p:nvSpPr>
            <p:spPr>
              <a:xfrm>
                <a:off x="2416640" y="3950116"/>
                <a:ext cx="36780" cy="123659"/>
              </a:xfrm>
              <a:custGeom>
                <a:avLst/>
                <a:gdLst>
                  <a:gd name="connsiteX0" fmla="*/ 18390 w 36780"/>
                  <a:gd name="connsiteY0" fmla="*/ 123660 h 123659"/>
                  <a:gd name="connsiteX1" fmla="*/ 0 w 36780"/>
                  <a:gd name="connsiteY1" fmla="*/ 105270 h 123659"/>
                  <a:gd name="connsiteX2" fmla="*/ 0 w 36780"/>
                  <a:gd name="connsiteY2" fmla="*/ 18391 h 123659"/>
                  <a:gd name="connsiteX3" fmla="*/ 18390 w 36780"/>
                  <a:gd name="connsiteY3" fmla="*/ 0 h 123659"/>
                  <a:gd name="connsiteX4" fmla="*/ 36781 w 36780"/>
                  <a:gd name="connsiteY4" fmla="*/ 18391 h 123659"/>
                  <a:gd name="connsiteX5" fmla="*/ 36781 w 36780"/>
                  <a:gd name="connsiteY5" fmla="*/ 105270 h 123659"/>
                  <a:gd name="connsiteX6" fmla="*/ 18390 w 36780"/>
                  <a:gd name="connsiteY6" fmla="*/ 123660 h 123659"/>
                  <a:gd name="connsiteX7" fmla="*/ 18390 w 36780"/>
                  <a:gd name="connsiteY7" fmla="*/ 123660 h 1236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6780" h="123659">
                    <a:moveTo>
                      <a:pt x="18390" y="123660"/>
                    </a:moveTo>
                    <a:cubicBezTo>
                      <a:pt x="8244" y="123660"/>
                      <a:pt x="0" y="115416"/>
                      <a:pt x="0" y="105270"/>
                    </a:cubicBezTo>
                    <a:lnTo>
                      <a:pt x="0" y="18391"/>
                    </a:lnTo>
                    <a:cubicBezTo>
                      <a:pt x="0" y="8244"/>
                      <a:pt x="8244" y="0"/>
                      <a:pt x="18390" y="0"/>
                    </a:cubicBezTo>
                    <a:cubicBezTo>
                      <a:pt x="28537" y="0"/>
                      <a:pt x="36781" y="8244"/>
                      <a:pt x="36781" y="18391"/>
                    </a:cubicBezTo>
                    <a:lnTo>
                      <a:pt x="36781" y="105270"/>
                    </a:lnTo>
                    <a:cubicBezTo>
                      <a:pt x="36781" y="115416"/>
                      <a:pt x="28537" y="123660"/>
                      <a:pt x="18390" y="123660"/>
                    </a:cubicBezTo>
                    <a:lnTo>
                      <a:pt x="18390" y="123660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40" name="Forma Livre: Forma 139">
                <a:extLst>
                  <a:ext uri="{FF2B5EF4-FFF2-40B4-BE49-F238E27FC236}">
                    <a16:creationId xmlns:a16="http://schemas.microsoft.com/office/drawing/2014/main" id="{C32BDC08-032E-4BC0-AB59-FC8D7DE4F887}"/>
                  </a:ext>
                </a:extLst>
              </p:cNvPr>
              <p:cNvSpPr/>
              <p:nvPr/>
            </p:nvSpPr>
            <p:spPr>
              <a:xfrm>
                <a:off x="2475616" y="3950116"/>
                <a:ext cx="36780" cy="123659"/>
              </a:xfrm>
              <a:custGeom>
                <a:avLst/>
                <a:gdLst>
                  <a:gd name="connsiteX0" fmla="*/ 18390 w 36780"/>
                  <a:gd name="connsiteY0" fmla="*/ 123660 h 123659"/>
                  <a:gd name="connsiteX1" fmla="*/ 0 w 36780"/>
                  <a:gd name="connsiteY1" fmla="*/ 105270 h 123659"/>
                  <a:gd name="connsiteX2" fmla="*/ 0 w 36780"/>
                  <a:gd name="connsiteY2" fmla="*/ 18391 h 123659"/>
                  <a:gd name="connsiteX3" fmla="*/ 18390 w 36780"/>
                  <a:gd name="connsiteY3" fmla="*/ 0 h 123659"/>
                  <a:gd name="connsiteX4" fmla="*/ 36781 w 36780"/>
                  <a:gd name="connsiteY4" fmla="*/ 18391 h 123659"/>
                  <a:gd name="connsiteX5" fmla="*/ 36781 w 36780"/>
                  <a:gd name="connsiteY5" fmla="*/ 105270 h 123659"/>
                  <a:gd name="connsiteX6" fmla="*/ 18390 w 36780"/>
                  <a:gd name="connsiteY6" fmla="*/ 123660 h 123659"/>
                  <a:gd name="connsiteX7" fmla="*/ 18390 w 36780"/>
                  <a:gd name="connsiteY7" fmla="*/ 123660 h 1236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6780" h="123659">
                    <a:moveTo>
                      <a:pt x="18390" y="123660"/>
                    </a:moveTo>
                    <a:cubicBezTo>
                      <a:pt x="8244" y="123660"/>
                      <a:pt x="0" y="115416"/>
                      <a:pt x="0" y="105270"/>
                    </a:cubicBezTo>
                    <a:lnTo>
                      <a:pt x="0" y="18391"/>
                    </a:lnTo>
                    <a:cubicBezTo>
                      <a:pt x="0" y="8244"/>
                      <a:pt x="8244" y="0"/>
                      <a:pt x="18390" y="0"/>
                    </a:cubicBezTo>
                    <a:cubicBezTo>
                      <a:pt x="28537" y="0"/>
                      <a:pt x="36781" y="8244"/>
                      <a:pt x="36781" y="18391"/>
                    </a:cubicBezTo>
                    <a:lnTo>
                      <a:pt x="36781" y="105270"/>
                    </a:lnTo>
                    <a:cubicBezTo>
                      <a:pt x="36781" y="115416"/>
                      <a:pt x="28537" y="123660"/>
                      <a:pt x="18390" y="123660"/>
                    </a:cubicBezTo>
                    <a:lnTo>
                      <a:pt x="18390" y="123660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141" name="Forma Livre: Forma 140">
              <a:extLst>
                <a:ext uri="{FF2B5EF4-FFF2-40B4-BE49-F238E27FC236}">
                  <a16:creationId xmlns:a16="http://schemas.microsoft.com/office/drawing/2014/main" id="{264F0573-3F34-44AF-9D50-7BBB2EE824BF}"/>
                </a:ext>
              </a:extLst>
            </p:cNvPr>
            <p:cNvSpPr/>
            <p:nvPr/>
          </p:nvSpPr>
          <p:spPr>
            <a:xfrm>
              <a:off x="2410932" y="3668552"/>
              <a:ext cx="106537" cy="106537"/>
            </a:xfrm>
            <a:custGeom>
              <a:avLst/>
              <a:gdLst>
                <a:gd name="connsiteX0" fmla="*/ 53269 w 106537"/>
                <a:gd name="connsiteY0" fmla="*/ 106538 h 106537"/>
                <a:gd name="connsiteX1" fmla="*/ 0 w 106537"/>
                <a:gd name="connsiteY1" fmla="*/ 53269 h 106537"/>
                <a:gd name="connsiteX2" fmla="*/ 53269 w 106537"/>
                <a:gd name="connsiteY2" fmla="*/ 0 h 106537"/>
                <a:gd name="connsiteX3" fmla="*/ 106538 w 106537"/>
                <a:gd name="connsiteY3" fmla="*/ 53269 h 106537"/>
                <a:gd name="connsiteX4" fmla="*/ 53269 w 106537"/>
                <a:gd name="connsiteY4" fmla="*/ 106538 h 106537"/>
                <a:gd name="connsiteX5" fmla="*/ 53269 w 106537"/>
                <a:gd name="connsiteY5" fmla="*/ 106538 h 106537"/>
                <a:gd name="connsiteX6" fmla="*/ 53269 w 106537"/>
                <a:gd name="connsiteY6" fmla="*/ 36781 h 106537"/>
                <a:gd name="connsiteX7" fmla="*/ 37415 w 106537"/>
                <a:gd name="connsiteY7" fmla="*/ 52635 h 106537"/>
                <a:gd name="connsiteX8" fmla="*/ 53269 w 106537"/>
                <a:gd name="connsiteY8" fmla="*/ 68489 h 106537"/>
                <a:gd name="connsiteX9" fmla="*/ 69123 w 106537"/>
                <a:gd name="connsiteY9" fmla="*/ 52635 h 106537"/>
                <a:gd name="connsiteX10" fmla="*/ 53269 w 106537"/>
                <a:gd name="connsiteY10" fmla="*/ 36781 h 106537"/>
                <a:gd name="connsiteX11" fmla="*/ 53269 w 106537"/>
                <a:gd name="connsiteY11" fmla="*/ 36781 h 106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6537" h="106537">
                  <a:moveTo>
                    <a:pt x="53269" y="106538"/>
                  </a:moveTo>
                  <a:cubicBezTo>
                    <a:pt x="24098" y="106538"/>
                    <a:pt x="0" y="82440"/>
                    <a:pt x="0" y="53269"/>
                  </a:cubicBezTo>
                  <a:cubicBezTo>
                    <a:pt x="0" y="24098"/>
                    <a:pt x="24098" y="0"/>
                    <a:pt x="53269" y="0"/>
                  </a:cubicBezTo>
                  <a:cubicBezTo>
                    <a:pt x="82440" y="0"/>
                    <a:pt x="106538" y="24098"/>
                    <a:pt x="106538" y="53269"/>
                  </a:cubicBezTo>
                  <a:cubicBezTo>
                    <a:pt x="106538" y="82440"/>
                    <a:pt x="82440" y="106538"/>
                    <a:pt x="53269" y="106538"/>
                  </a:cubicBezTo>
                  <a:lnTo>
                    <a:pt x="53269" y="106538"/>
                  </a:lnTo>
                  <a:close/>
                  <a:moveTo>
                    <a:pt x="53269" y="36781"/>
                  </a:moveTo>
                  <a:cubicBezTo>
                    <a:pt x="44391" y="36781"/>
                    <a:pt x="37415" y="43757"/>
                    <a:pt x="37415" y="52635"/>
                  </a:cubicBezTo>
                  <a:cubicBezTo>
                    <a:pt x="37415" y="61513"/>
                    <a:pt x="44391" y="68489"/>
                    <a:pt x="53269" y="68489"/>
                  </a:cubicBezTo>
                  <a:cubicBezTo>
                    <a:pt x="62147" y="68489"/>
                    <a:pt x="69123" y="61513"/>
                    <a:pt x="69123" y="52635"/>
                  </a:cubicBezTo>
                  <a:cubicBezTo>
                    <a:pt x="69757" y="44391"/>
                    <a:pt x="62147" y="36781"/>
                    <a:pt x="53269" y="36781"/>
                  </a:cubicBezTo>
                  <a:lnTo>
                    <a:pt x="53269" y="36781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42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3385938" y="3633554"/>
            <a:ext cx="282601" cy="400716"/>
            <a:chOff x="3355616" y="3668552"/>
            <a:chExt cx="285780" cy="405223"/>
          </a:xfrm>
          <a:solidFill>
            <a:srgbClr val="B1B1A1"/>
          </a:solidFill>
        </p:grpSpPr>
        <p:grpSp>
          <p:nvGrpSpPr>
            <p:cNvPr id="143" name="Gráfico 2">
              <a:extLst>
                <a:ext uri="{FF2B5EF4-FFF2-40B4-BE49-F238E27FC236}">
                  <a16:creationId xmlns:a16="http://schemas.microsoft.com/office/drawing/2014/main" id="{DC80C217-93B8-4831-A8BE-0817F1F32ECF}"/>
                </a:ext>
              </a:extLst>
            </p:cNvPr>
            <p:cNvGrpSpPr/>
            <p:nvPr/>
          </p:nvGrpSpPr>
          <p:grpSpPr>
            <a:xfrm>
              <a:off x="3355616" y="3792006"/>
              <a:ext cx="285780" cy="123231"/>
              <a:chOff x="3355616" y="3792006"/>
              <a:chExt cx="285780" cy="123231"/>
            </a:xfrm>
            <a:grpFill/>
          </p:grpSpPr>
          <p:sp>
            <p:nvSpPr>
              <p:cNvPr id="144" name="Forma Livre: Forma 143">
                <a:extLst>
                  <a:ext uri="{FF2B5EF4-FFF2-40B4-BE49-F238E27FC236}">
                    <a16:creationId xmlns:a16="http://schemas.microsoft.com/office/drawing/2014/main" id="{366D0506-23D8-4E62-B867-468E4E4E9911}"/>
                  </a:ext>
                </a:extLst>
              </p:cNvPr>
              <p:cNvSpPr/>
              <p:nvPr/>
            </p:nvSpPr>
            <p:spPr>
              <a:xfrm>
                <a:off x="3355616" y="3792006"/>
                <a:ext cx="106314" cy="123231"/>
              </a:xfrm>
              <a:custGeom>
                <a:avLst/>
                <a:gdLst>
                  <a:gd name="connsiteX0" fmla="*/ 18596 w 106314"/>
                  <a:gd name="connsiteY0" fmla="*/ 123231 h 123231"/>
                  <a:gd name="connsiteX1" fmla="*/ 7181 w 106314"/>
                  <a:gd name="connsiteY1" fmla="*/ 119427 h 123231"/>
                  <a:gd name="connsiteX2" fmla="*/ 4011 w 106314"/>
                  <a:gd name="connsiteY2" fmla="*/ 93426 h 123231"/>
                  <a:gd name="connsiteX3" fmla="*/ 73133 w 106314"/>
                  <a:gd name="connsiteY3" fmla="*/ 7181 h 123231"/>
                  <a:gd name="connsiteX4" fmla="*/ 99134 w 106314"/>
                  <a:gd name="connsiteY4" fmla="*/ 4011 h 123231"/>
                  <a:gd name="connsiteX5" fmla="*/ 102304 w 106314"/>
                  <a:gd name="connsiteY5" fmla="*/ 30011 h 123231"/>
                  <a:gd name="connsiteX6" fmla="*/ 33182 w 106314"/>
                  <a:gd name="connsiteY6" fmla="*/ 116256 h 123231"/>
                  <a:gd name="connsiteX7" fmla="*/ 18596 w 106314"/>
                  <a:gd name="connsiteY7" fmla="*/ 123231 h 123231"/>
                  <a:gd name="connsiteX8" fmla="*/ 18596 w 106314"/>
                  <a:gd name="connsiteY8" fmla="*/ 123231 h 123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6314" h="123231">
                    <a:moveTo>
                      <a:pt x="18596" y="123231"/>
                    </a:moveTo>
                    <a:cubicBezTo>
                      <a:pt x="14791" y="123231"/>
                      <a:pt x="10352" y="121963"/>
                      <a:pt x="7181" y="119427"/>
                    </a:cubicBezTo>
                    <a:cubicBezTo>
                      <a:pt x="-1063" y="113085"/>
                      <a:pt x="-2331" y="101670"/>
                      <a:pt x="4011" y="93426"/>
                    </a:cubicBezTo>
                    <a:lnTo>
                      <a:pt x="73133" y="7181"/>
                    </a:lnTo>
                    <a:cubicBezTo>
                      <a:pt x="79475" y="-1063"/>
                      <a:pt x="90890" y="-2331"/>
                      <a:pt x="99134" y="4011"/>
                    </a:cubicBezTo>
                    <a:cubicBezTo>
                      <a:pt x="107378" y="10352"/>
                      <a:pt x="108646" y="21767"/>
                      <a:pt x="102304" y="30011"/>
                    </a:cubicBezTo>
                    <a:lnTo>
                      <a:pt x="33182" y="116256"/>
                    </a:lnTo>
                    <a:cubicBezTo>
                      <a:pt x="29377" y="121329"/>
                      <a:pt x="24304" y="123231"/>
                      <a:pt x="18596" y="123231"/>
                    </a:cubicBezTo>
                    <a:lnTo>
                      <a:pt x="18596" y="123231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45" name="Forma Livre: Forma 144">
                <a:extLst>
                  <a:ext uri="{FF2B5EF4-FFF2-40B4-BE49-F238E27FC236}">
                    <a16:creationId xmlns:a16="http://schemas.microsoft.com/office/drawing/2014/main" id="{65C0AFC4-C5CC-4527-868B-E6C4C5351E23}"/>
                  </a:ext>
                </a:extLst>
              </p:cNvPr>
              <p:cNvSpPr/>
              <p:nvPr/>
            </p:nvSpPr>
            <p:spPr>
              <a:xfrm>
                <a:off x="3535081" y="3792006"/>
                <a:ext cx="106314" cy="123231"/>
              </a:xfrm>
              <a:custGeom>
                <a:avLst/>
                <a:gdLst>
                  <a:gd name="connsiteX0" fmla="*/ 87719 w 106314"/>
                  <a:gd name="connsiteY0" fmla="*/ 123231 h 123231"/>
                  <a:gd name="connsiteX1" fmla="*/ 73133 w 106314"/>
                  <a:gd name="connsiteY1" fmla="*/ 116256 h 123231"/>
                  <a:gd name="connsiteX2" fmla="*/ 4011 w 106314"/>
                  <a:gd name="connsiteY2" fmla="*/ 30011 h 123231"/>
                  <a:gd name="connsiteX3" fmla="*/ 7181 w 106314"/>
                  <a:gd name="connsiteY3" fmla="*/ 4011 h 123231"/>
                  <a:gd name="connsiteX4" fmla="*/ 33182 w 106314"/>
                  <a:gd name="connsiteY4" fmla="*/ 7181 h 123231"/>
                  <a:gd name="connsiteX5" fmla="*/ 102304 w 106314"/>
                  <a:gd name="connsiteY5" fmla="*/ 93426 h 123231"/>
                  <a:gd name="connsiteX6" fmla="*/ 99134 w 106314"/>
                  <a:gd name="connsiteY6" fmla="*/ 119427 h 123231"/>
                  <a:gd name="connsiteX7" fmla="*/ 87719 w 106314"/>
                  <a:gd name="connsiteY7" fmla="*/ 123231 h 123231"/>
                  <a:gd name="connsiteX8" fmla="*/ 87719 w 106314"/>
                  <a:gd name="connsiteY8" fmla="*/ 123231 h 123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6314" h="123231">
                    <a:moveTo>
                      <a:pt x="87719" y="123231"/>
                    </a:moveTo>
                    <a:cubicBezTo>
                      <a:pt x="82012" y="123231"/>
                      <a:pt x="76938" y="120695"/>
                      <a:pt x="73133" y="116256"/>
                    </a:cubicBezTo>
                    <a:lnTo>
                      <a:pt x="4011" y="30011"/>
                    </a:lnTo>
                    <a:cubicBezTo>
                      <a:pt x="-2331" y="21767"/>
                      <a:pt x="-1063" y="10352"/>
                      <a:pt x="7181" y="4011"/>
                    </a:cubicBezTo>
                    <a:cubicBezTo>
                      <a:pt x="15425" y="-2331"/>
                      <a:pt x="26840" y="-1063"/>
                      <a:pt x="33182" y="7181"/>
                    </a:cubicBezTo>
                    <a:lnTo>
                      <a:pt x="102304" y="93426"/>
                    </a:lnTo>
                    <a:cubicBezTo>
                      <a:pt x="108646" y="101670"/>
                      <a:pt x="107378" y="113085"/>
                      <a:pt x="99134" y="119427"/>
                    </a:cubicBezTo>
                    <a:cubicBezTo>
                      <a:pt x="95329" y="121963"/>
                      <a:pt x="91524" y="123231"/>
                      <a:pt x="87719" y="123231"/>
                    </a:cubicBezTo>
                    <a:lnTo>
                      <a:pt x="87719" y="123231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146" name="Gráfico 2">
              <a:extLst>
                <a:ext uri="{FF2B5EF4-FFF2-40B4-BE49-F238E27FC236}">
                  <a16:creationId xmlns:a16="http://schemas.microsoft.com/office/drawing/2014/main" id="{DC80C217-93B8-4831-A8BE-0817F1F32ECF}"/>
                </a:ext>
              </a:extLst>
            </p:cNvPr>
            <p:cNvGrpSpPr/>
            <p:nvPr/>
          </p:nvGrpSpPr>
          <p:grpSpPr>
            <a:xfrm>
              <a:off x="3450944" y="3950116"/>
              <a:ext cx="95757" cy="123659"/>
              <a:chOff x="3450944" y="3950116"/>
              <a:chExt cx="95757" cy="123659"/>
            </a:xfrm>
            <a:grpFill/>
          </p:grpSpPr>
          <p:sp>
            <p:nvSpPr>
              <p:cNvPr id="147" name="Forma Livre: Forma 146">
                <a:extLst>
                  <a:ext uri="{FF2B5EF4-FFF2-40B4-BE49-F238E27FC236}">
                    <a16:creationId xmlns:a16="http://schemas.microsoft.com/office/drawing/2014/main" id="{41D28418-9A7E-4902-BCD1-CDECC304996C}"/>
                  </a:ext>
                </a:extLst>
              </p:cNvPr>
              <p:cNvSpPr/>
              <p:nvPr/>
            </p:nvSpPr>
            <p:spPr>
              <a:xfrm>
                <a:off x="3450944" y="3950116"/>
                <a:ext cx="36781" cy="123659"/>
              </a:xfrm>
              <a:custGeom>
                <a:avLst/>
                <a:gdLst>
                  <a:gd name="connsiteX0" fmla="*/ 18390 w 36781"/>
                  <a:gd name="connsiteY0" fmla="*/ 123660 h 123659"/>
                  <a:gd name="connsiteX1" fmla="*/ 0 w 36781"/>
                  <a:gd name="connsiteY1" fmla="*/ 105270 h 123659"/>
                  <a:gd name="connsiteX2" fmla="*/ 0 w 36781"/>
                  <a:gd name="connsiteY2" fmla="*/ 18391 h 123659"/>
                  <a:gd name="connsiteX3" fmla="*/ 18390 w 36781"/>
                  <a:gd name="connsiteY3" fmla="*/ 0 h 123659"/>
                  <a:gd name="connsiteX4" fmla="*/ 36781 w 36781"/>
                  <a:gd name="connsiteY4" fmla="*/ 18391 h 123659"/>
                  <a:gd name="connsiteX5" fmla="*/ 36781 w 36781"/>
                  <a:gd name="connsiteY5" fmla="*/ 105270 h 123659"/>
                  <a:gd name="connsiteX6" fmla="*/ 18390 w 36781"/>
                  <a:gd name="connsiteY6" fmla="*/ 123660 h 123659"/>
                  <a:gd name="connsiteX7" fmla="*/ 18390 w 36781"/>
                  <a:gd name="connsiteY7" fmla="*/ 123660 h 1236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6781" h="123659">
                    <a:moveTo>
                      <a:pt x="18390" y="123660"/>
                    </a:moveTo>
                    <a:cubicBezTo>
                      <a:pt x="8244" y="123660"/>
                      <a:pt x="0" y="115416"/>
                      <a:pt x="0" y="105270"/>
                    </a:cubicBezTo>
                    <a:lnTo>
                      <a:pt x="0" y="18391"/>
                    </a:lnTo>
                    <a:cubicBezTo>
                      <a:pt x="0" y="8244"/>
                      <a:pt x="8244" y="0"/>
                      <a:pt x="18390" y="0"/>
                    </a:cubicBezTo>
                    <a:cubicBezTo>
                      <a:pt x="28537" y="0"/>
                      <a:pt x="36781" y="8244"/>
                      <a:pt x="36781" y="18391"/>
                    </a:cubicBezTo>
                    <a:lnTo>
                      <a:pt x="36781" y="105270"/>
                    </a:lnTo>
                    <a:cubicBezTo>
                      <a:pt x="36781" y="115416"/>
                      <a:pt x="28537" y="123660"/>
                      <a:pt x="18390" y="123660"/>
                    </a:cubicBezTo>
                    <a:lnTo>
                      <a:pt x="18390" y="123660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48" name="Forma Livre: Forma 147">
                <a:extLst>
                  <a:ext uri="{FF2B5EF4-FFF2-40B4-BE49-F238E27FC236}">
                    <a16:creationId xmlns:a16="http://schemas.microsoft.com/office/drawing/2014/main" id="{3D753963-2B27-4716-BF0C-4F4485736649}"/>
                  </a:ext>
                </a:extLst>
              </p:cNvPr>
              <p:cNvSpPr/>
              <p:nvPr/>
            </p:nvSpPr>
            <p:spPr>
              <a:xfrm>
                <a:off x="3509921" y="3950116"/>
                <a:ext cx="36780" cy="123659"/>
              </a:xfrm>
              <a:custGeom>
                <a:avLst/>
                <a:gdLst>
                  <a:gd name="connsiteX0" fmla="*/ 18390 w 36780"/>
                  <a:gd name="connsiteY0" fmla="*/ 123660 h 123659"/>
                  <a:gd name="connsiteX1" fmla="*/ 0 w 36780"/>
                  <a:gd name="connsiteY1" fmla="*/ 105270 h 123659"/>
                  <a:gd name="connsiteX2" fmla="*/ 0 w 36780"/>
                  <a:gd name="connsiteY2" fmla="*/ 18391 h 123659"/>
                  <a:gd name="connsiteX3" fmla="*/ 18390 w 36780"/>
                  <a:gd name="connsiteY3" fmla="*/ 0 h 123659"/>
                  <a:gd name="connsiteX4" fmla="*/ 36781 w 36780"/>
                  <a:gd name="connsiteY4" fmla="*/ 18391 h 123659"/>
                  <a:gd name="connsiteX5" fmla="*/ 36781 w 36780"/>
                  <a:gd name="connsiteY5" fmla="*/ 105270 h 123659"/>
                  <a:gd name="connsiteX6" fmla="*/ 18390 w 36780"/>
                  <a:gd name="connsiteY6" fmla="*/ 123660 h 123659"/>
                  <a:gd name="connsiteX7" fmla="*/ 18390 w 36780"/>
                  <a:gd name="connsiteY7" fmla="*/ 123660 h 1236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6780" h="123659">
                    <a:moveTo>
                      <a:pt x="18390" y="123660"/>
                    </a:moveTo>
                    <a:cubicBezTo>
                      <a:pt x="8244" y="123660"/>
                      <a:pt x="0" y="115416"/>
                      <a:pt x="0" y="105270"/>
                    </a:cubicBezTo>
                    <a:lnTo>
                      <a:pt x="0" y="18391"/>
                    </a:lnTo>
                    <a:cubicBezTo>
                      <a:pt x="0" y="8244"/>
                      <a:pt x="8244" y="0"/>
                      <a:pt x="18390" y="0"/>
                    </a:cubicBezTo>
                    <a:cubicBezTo>
                      <a:pt x="28537" y="0"/>
                      <a:pt x="36781" y="8244"/>
                      <a:pt x="36781" y="18391"/>
                    </a:cubicBezTo>
                    <a:lnTo>
                      <a:pt x="36781" y="105270"/>
                    </a:lnTo>
                    <a:cubicBezTo>
                      <a:pt x="36781" y="115416"/>
                      <a:pt x="28537" y="123660"/>
                      <a:pt x="18390" y="123660"/>
                    </a:cubicBezTo>
                    <a:lnTo>
                      <a:pt x="18390" y="123660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149" name="Forma Livre: Forma 148">
              <a:extLst>
                <a:ext uri="{FF2B5EF4-FFF2-40B4-BE49-F238E27FC236}">
                  <a16:creationId xmlns:a16="http://schemas.microsoft.com/office/drawing/2014/main" id="{2A5B11E8-3459-4C08-B697-0ECE0354B12E}"/>
                </a:ext>
              </a:extLst>
            </p:cNvPr>
            <p:cNvSpPr/>
            <p:nvPr/>
          </p:nvSpPr>
          <p:spPr>
            <a:xfrm>
              <a:off x="3445237" y="3668552"/>
              <a:ext cx="106537" cy="106537"/>
            </a:xfrm>
            <a:custGeom>
              <a:avLst/>
              <a:gdLst>
                <a:gd name="connsiteX0" fmla="*/ 53269 w 106537"/>
                <a:gd name="connsiteY0" fmla="*/ 106538 h 106537"/>
                <a:gd name="connsiteX1" fmla="*/ 0 w 106537"/>
                <a:gd name="connsiteY1" fmla="*/ 53269 h 106537"/>
                <a:gd name="connsiteX2" fmla="*/ 53269 w 106537"/>
                <a:gd name="connsiteY2" fmla="*/ 0 h 106537"/>
                <a:gd name="connsiteX3" fmla="*/ 106538 w 106537"/>
                <a:gd name="connsiteY3" fmla="*/ 53269 h 106537"/>
                <a:gd name="connsiteX4" fmla="*/ 53269 w 106537"/>
                <a:gd name="connsiteY4" fmla="*/ 106538 h 106537"/>
                <a:gd name="connsiteX5" fmla="*/ 53269 w 106537"/>
                <a:gd name="connsiteY5" fmla="*/ 106538 h 106537"/>
                <a:gd name="connsiteX6" fmla="*/ 53269 w 106537"/>
                <a:gd name="connsiteY6" fmla="*/ 36781 h 106537"/>
                <a:gd name="connsiteX7" fmla="*/ 37415 w 106537"/>
                <a:gd name="connsiteY7" fmla="*/ 52635 h 106537"/>
                <a:gd name="connsiteX8" fmla="*/ 53269 w 106537"/>
                <a:gd name="connsiteY8" fmla="*/ 68489 h 106537"/>
                <a:gd name="connsiteX9" fmla="*/ 69123 w 106537"/>
                <a:gd name="connsiteY9" fmla="*/ 52635 h 106537"/>
                <a:gd name="connsiteX10" fmla="*/ 53269 w 106537"/>
                <a:gd name="connsiteY10" fmla="*/ 36781 h 106537"/>
                <a:gd name="connsiteX11" fmla="*/ 53269 w 106537"/>
                <a:gd name="connsiteY11" fmla="*/ 36781 h 106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6537" h="106537">
                  <a:moveTo>
                    <a:pt x="53269" y="106538"/>
                  </a:moveTo>
                  <a:cubicBezTo>
                    <a:pt x="24098" y="106538"/>
                    <a:pt x="0" y="82440"/>
                    <a:pt x="0" y="53269"/>
                  </a:cubicBezTo>
                  <a:cubicBezTo>
                    <a:pt x="0" y="24098"/>
                    <a:pt x="24098" y="0"/>
                    <a:pt x="53269" y="0"/>
                  </a:cubicBezTo>
                  <a:cubicBezTo>
                    <a:pt x="82440" y="0"/>
                    <a:pt x="106538" y="24098"/>
                    <a:pt x="106538" y="53269"/>
                  </a:cubicBezTo>
                  <a:cubicBezTo>
                    <a:pt x="106538" y="82440"/>
                    <a:pt x="82440" y="106538"/>
                    <a:pt x="53269" y="106538"/>
                  </a:cubicBezTo>
                  <a:lnTo>
                    <a:pt x="53269" y="106538"/>
                  </a:lnTo>
                  <a:close/>
                  <a:moveTo>
                    <a:pt x="53269" y="36781"/>
                  </a:moveTo>
                  <a:cubicBezTo>
                    <a:pt x="44391" y="36781"/>
                    <a:pt x="37415" y="43757"/>
                    <a:pt x="37415" y="52635"/>
                  </a:cubicBezTo>
                  <a:cubicBezTo>
                    <a:pt x="37415" y="61513"/>
                    <a:pt x="44391" y="68489"/>
                    <a:pt x="53269" y="68489"/>
                  </a:cubicBezTo>
                  <a:cubicBezTo>
                    <a:pt x="62147" y="68489"/>
                    <a:pt x="69123" y="61513"/>
                    <a:pt x="69123" y="52635"/>
                  </a:cubicBezTo>
                  <a:cubicBezTo>
                    <a:pt x="69123" y="44391"/>
                    <a:pt x="62147" y="36781"/>
                    <a:pt x="53269" y="36781"/>
                  </a:cubicBezTo>
                  <a:lnTo>
                    <a:pt x="53269" y="36781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50" name="Forma Livre: Forma 149">
              <a:extLst>
                <a:ext uri="{FF2B5EF4-FFF2-40B4-BE49-F238E27FC236}">
                  <a16:creationId xmlns:a16="http://schemas.microsoft.com/office/drawing/2014/main" id="{66AF7D70-93B3-4482-81E2-5AEE628A2673}"/>
                </a:ext>
              </a:extLst>
            </p:cNvPr>
            <p:cNvSpPr/>
            <p:nvPr/>
          </p:nvSpPr>
          <p:spPr>
            <a:xfrm>
              <a:off x="3420426" y="3784602"/>
              <a:ext cx="158062" cy="185172"/>
            </a:xfrm>
            <a:custGeom>
              <a:avLst/>
              <a:gdLst>
                <a:gd name="connsiteX0" fmla="*/ 112959 w 158062"/>
                <a:gd name="connsiteY0" fmla="*/ 185173 h 185172"/>
                <a:gd name="connsiteX1" fmla="*/ 43836 w 158062"/>
                <a:gd name="connsiteY1" fmla="*/ 185173 h 185172"/>
                <a:gd name="connsiteX2" fmla="*/ 7689 w 158062"/>
                <a:gd name="connsiteY2" fmla="*/ 149660 h 185172"/>
                <a:gd name="connsiteX3" fmla="*/ 79 w 158062"/>
                <a:gd name="connsiteY3" fmla="*/ 38683 h 185172"/>
                <a:gd name="connsiteX4" fmla="*/ 9592 w 158062"/>
                <a:gd name="connsiteY4" fmla="*/ 12049 h 185172"/>
                <a:gd name="connsiteX5" fmla="*/ 37494 w 158062"/>
                <a:gd name="connsiteY5" fmla="*/ 0 h 185172"/>
                <a:gd name="connsiteX6" fmla="*/ 120568 w 158062"/>
                <a:gd name="connsiteY6" fmla="*/ 0 h 185172"/>
                <a:gd name="connsiteX7" fmla="*/ 148471 w 158062"/>
                <a:gd name="connsiteY7" fmla="*/ 12049 h 185172"/>
                <a:gd name="connsiteX8" fmla="*/ 157984 w 158062"/>
                <a:gd name="connsiteY8" fmla="*/ 38683 h 185172"/>
                <a:gd name="connsiteX9" fmla="*/ 150374 w 158062"/>
                <a:gd name="connsiteY9" fmla="*/ 149026 h 185172"/>
                <a:gd name="connsiteX10" fmla="*/ 112959 w 158062"/>
                <a:gd name="connsiteY10" fmla="*/ 185173 h 185172"/>
                <a:gd name="connsiteX11" fmla="*/ 112959 w 158062"/>
                <a:gd name="connsiteY11" fmla="*/ 185173 h 185172"/>
                <a:gd name="connsiteX12" fmla="*/ 119934 w 158062"/>
                <a:gd name="connsiteY12" fmla="*/ 36781 h 185172"/>
                <a:gd name="connsiteX13" fmla="*/ 36860 w 158062"/>
                <a:gd name="connsiteY13" fmla="*/ 38049 h 185172"/>
                <a:gd name="connsiteX14" fmla="*/ 43836 w 158062"/>
                <a:gd name="connsiteY14" fmla="*/ 147758 h 185172"/>
                <a:gd name="connsiteX15" fmla="*/ 44470 w 158062"/>
                <a:gd name="connsiteY15" fmla="*/ 149026 h 185172"/>
                <a:gd name="connsiteX16" fmla="*/ 111690 w 158062"/>
                <a:gd name="connsiteY16" fmla="*/ 149026 h 185172"/>
                <a:gd name="connsiteX17" fmla="*/ 112324 w 158062"/>
                <a:gd name="connsiteY17" fmla="*/ 147758 h 185172"/>
                <a:gd name="connsiteX18" fmla="*/ 119934 w 158062"/>
                <a:gd name="connsiteY18" fmla="*/ 36781 h 185172"/>
                <a:gd name="connsiteX19" fmla="*/ 119934 w 158062"/>
                <a:gd name="connsiteY19" fmla="*/ 36781 h 185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8062" h="185172">
                  <a:moveTo>
                    <a:pt x="112959" y="185173"/>
                  </a:moveTo>
                  <a:lnTo>
                    <a:pt x="43836" y="185173"/>
                  </a:lnTo>
                  <a:cubicBezTo>
                    <a:pt x="24811" y="185173"/>
                    <a:pt x="8957" y="169319"/>
                    <a:pt x="7689" y="149660"/>
                  </a:cubicBezTo>
                  <a:lnTo>
                    <a:pt x="79" y="38683"/>
                  </a:lnTo>
                  <a:cubicBezTo>
                    <a:pt x="-555" y="29171"/>
                    <a:pt x="2616" y="19659"/>
                    <a:pt x="9592" y="12049"/>
                  </a:cubicBezTo>
                  <a:cubicBezTo>
                    <a:pt x="16567" y="4439"/>
                    <a:pt x="26714" y="0"/>
                    <a:pt x="37494" y="0"/>
                  </a:cubicBezTo>
                  <a:lnTo>
                    <a:pt x="120568" y="0"/>
                  </a:lnTo>
                  <a:cubicBezTo>
                    <a:pt x="131349" y="0"/>
                    <a:pt x="141495" y="4439"/>
                    <a:pt x="148471" y="12049"/>
                  </a:cubicBezTo>
                  <a:cubicBezTo>
                    <a:pt x="155447" y="19025"/>
                    <a:pt x="158618" y="28537"/>
                    <a:pt x="157984" y="38683"/>
                  </a:cubicBezTo>
                  <a:lnTo>
                    <a:pt x="150374" y="149026"/>
                  </a:lnTo>
                  <a:cubicBezTo>
                    <a:pt x="147837" y="169953"/>
                    <a:pt x="131983" y="185173"/>
                    <a:pt x="112959" y="185173"/>
                  </a:cubicBezTo>
                  <a:lnTo>
                    <a:pt x="112959" y="185173"/>
                  </a:lnTo>
                  <a:close/>
                  <a:moveTo>
                    <a:pt x="119934" y="36781"/>
                  </a:moveTo>
                  <a:lnTo>
                    <a:pt x="36860" y="38049"/>
                  </a:lnTo>
                  <a:lnTo>
                    <a:pt x="43836" y="147758"/>
                  </a:lnTo>
                  <a:cubicBezTo>
                    <a:pt x="43836" y="148392"/>
                    <a:pt x="44470" y="149026"/>
                    <a:pt x="44470" y="149026"/>
                  </a:cubicBezTo>
                  <a:lnTo>
                    <a:pt x="111690" y="149026"/>
                  </a:lnTo>
                  <a:cubicBezTo>
                    <a:pt x="111690" y="149026"/>
                    <a:pt x="112324" y="148392"/>
                    <a:pt x="112324" y="147758"/>
                  </a:cubicBezTo>
                  <a:lnTo>
                    <a:pt x="119934" y="36781"/>
                  </a:lnTo>
                  <a:lnTo>
                    <a:pt x="119934" y="36781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51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6453807" y="3641079"/>
            <a:ext cx="288685" cy="386293"/>
            <a:chOff x="6457990" y="3676162"/>
            <a:chExt cx="291932" cy="390638"/>
          </a:xfrm>
          <a:solidFill>
            <a:srgbClr val="B1B1A1"/>
          </a:solidFill>
        </p:grpSpPr>
        <p:sp>
          <p:nvSpPr>
            <p:cNvPr id="152" name="Forma Livre: Forma 151">
              <a:extLst>
                <a:ext uri="{FF2B5EF4-FFF2-40B4-BE49-F238E27FC236}">
                  <a16:creationId xmlns:a16="http://schemas.microsoft.com/office/drawing/2014/main" id="{07E3A30A-0F94-4684-8116-6FF7A43DADA7}"/>
                </a:ext>
              </a:extLst>
            </p:cNvPr>
            <p:cNvSpPr/>
            <p:nvPr/>
          </p:nvSpPr>
          <p:spPr>
            <a:xfrm>
              <a:off x="6524687" y="3676162"/>
              <a:ext cx="162343" cy="181367"/>
            </a:xfrm>
            <a:custGeom>
              <a:avLst/>
              <a:gdLst>
                <a:gd name="connsiteX0" fmla="*/ 81172 w 162343"/>
                <a:gd name="connsiteY0" fmla="*/ 181368 h 181367"/>
                <a:gd name="connsiteX1" fmla="*/ 0 w 162343"/>
                <a:gd name="connsiteY1" fmla="*/ 90684 h 181367"/>
                <a:gd name="connsiteX2" fmla="*/ 81172 w 162343"/>
                <a:gd name="connsiteY2" fmla="*/ 0 h 181367"/>
                <a:gd name="connsiteX3" fmla="*/ 162344 w 162343"/>
                <a:gd name="connsiteY3" fmla="*/ 90684 h 181367"/>
                <a:gd name="connsiteX4" fmla="*/ 81172 w 162343"/>
                <a:gd name="connsiteY4" fmla="*/ 181368 h 181367"/>
                <a:gd name="connsiteX5" fmla="*/ 81172 w 162343"/>
                <a:gd name="connsiteY5" fmla="*/ 181368 h 181367"/>
                <a:gd name="connsiteX6" fmla="*/ 81172 w 162343"/>
                <a:gd name="connsiteY6" fmla="*/ 33610 h 181367"/>
                <a:gd name="connsiteX7" fmla="*/ 33610 w 162343"/>
                <a:gd name="connsiteY7" fmla="*/ 90684 h 181367"/>
                <a:gd name="connsiteX8" fmla="*/ 81172 w 162343"/>
                <a:gd name="connsiteY8" fmla="*/ 147758 h 181367"/>
                <a:gd name="connsiteX9" fmla="*/ 128734 w 162343"/>
                <a:gd name="connsiteY9" fmla="*/ 90684 h 181367"/>
                <a:gd name="connsiteX10" fmla="*/ 81172 w 162343"/>
                <a:gd name="connsiteY10" fmla="*/ 33610 h 181367"/>
                <a:gd name="connsiteX11" fmla="*/ 81172 w 162343"/>
                <a:gd name="connsiteY11" fmla="*/ 33610 h 181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2343" h="181367">
                  <a:moveTo>
                    <a:pt x="81172" y="181368"/>
                  </a:moveTo>
                  <a:cubicBezTo>
                    <a:pt x="36781" y="181368"/>
                    <a:pt x="0" y="140782"/>
                    <a:pt x="0" y="90684"/>
                  </a:cubicBezTo>
                  <a:cubicBezTo>
                    <a:pt x="0" y="40586"/>
                    <a:pt x="36147" y="0"/>
                    <a:pt x="81172" y="0"/>
                  </a:cubicBezTo>
                  <a:cubicBezTo>
                    <a:pt x="125563" y="0"/>
                    <a:pt x="162344" y="40586"/>
                    <a:pt x="162344" y="90684"/>
                  </a:cubicBezTo>
                  <a:cubicBezTo>
                    <a:pt x="162344" y="140782"/>
                    <a:pt x="126197" y="181368"/>
                    <a:pt x="81172" y="181368"/>
                  </a:cubicBezTo>
                  <a:lnTo>
                    <a:pt x="81172" y="181368"/>
                  </a:lnTo>
                  <a:close/>
                  <a:moveTo>
                    <a:pt x="81172" y="33610"/>
                  </a:moveTo>
                  <a:cubicBezTo>
                    <a:pt x="55171" y="33610"/>
                    <a:pt x="33610" y="58976"/>
                    <a:pt x="33610" y="90684"/>
                  </a:cubicBezTo>
                  <a:cubicBezTo>
                    <a:pt x="33610" y="122392"/>
                    <a:pt x="54537" y="147758"/>
                    <a:pt x="81172" y="147758"/>
                  </a:cubicBezTo>
                  <a:cubicBezTo>
                    <a:pt x="107172" y="147758"/>
                    <a:pt x="128734" y="122392"/>
                    <a:pt x="128734" y="90684"/>
                  </a:cubicBezTo>
                  <a:cubicBezTo>
                    <a:pt x="128734" y="58976"/>
                    <a:pt x="107172" y="33610"/>
                    <a:pt x="81172" y="33610"/>
                  </a:cubicBezTo>
                  <a:lnTo>
                    <a:pt x="81172" y="33610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53" name="Forma Livre: Forma 152">
              <a:extLst>
                <a:ext uri="{FF2B5EF4-FFF2-40B4-BE49-F238E27FC236}">
                  <a16:creationId xmlns:a16="http://schemas.microsoft.com/office/drawing/2014/main" id="{F5629292-05E6-46A7-B0B0-AD0634927325}"/>
                </a:ext>
              </a:extLst>
            </p:cNvPr>
            <p:cNvSpPr/>
            <p:nvPr/>
          </p:nvSpPr>
          <p:spPr>
            <a:xfrm>
              <a:off x="6457990" y="3880835"/>
              <a:ext cx="291932" cy="185965"/>
            </a:xfrm>
            <a:custGeom>
              <a:avLst/>
              <a:gdLst>
                <a:gd name="connsiteX0" fmla="*/ 270261 w 291932"/>
                <a:gd name="connsiteY0" fmla="*/ 185966 h 185965"/>
                <a:gd name="connsiteX1" fmla="*/ 22941 w 291932"/>
                <a:gd name="connsiteY1" fmla="*/ 185966 h 185965"/>
                <a:gd name="connsiteX2" fmla="*/ 5818 w 291932"/>
                <a:gd name="connsiteY2" fmla="*/ 170112 h 185965"/>
                <a:gd name="connsiteX3" fmla="*/ 111 w 291932"/>
                <a:gd name="connsiteY3" fmla="*/ 90209 h 185965"/>
                <a:gd name="connsiteX4" fmla="*/ 49575 w 291932"/>
                <a:gd name="connsiteY4" fmla="*/ 16647 h 185965"/>
                <a:gd name="connsiteX5" fmla="*/ 241724 w 291932"/>
                <a:gd name="connsiteY5" fmla="*/ 16647 h 185965"/>
                <a:gd name="connsiteX6" fmla="*/ 291822 w 291932"/>
                <a:gd name="connsiteY6" fmla="*/ 90843 h 185965"/>
                <a:gd name="connsiteX7" fmla="*/ 286114 w 291932"/>
                <a:gd name="connsiteY7" fmla="*/ 170746 h 185965"/>
                <a:gd name="connsiteX8" fmla="*/ 270261 w 291932"/>
                <a:gd name="connsiteY8" fmla="*/ 185966 h 185965"/>
                <a:gd name="connsiteX9" fmla="*/ 270261 w 291932"/>
                <a:gd name="connsiteY9" fmla="*/ 185966 h 185965"/>
                <a:gd name="connsiteX10" fmla="*/ 38794 w 291932"/>
                <a:gd name="connsiteY10" fmla="*/ 151721 h 185965"/>
                <a:gd name="connsiteX11" fmla="*/ 254407 w 291932"/>
                <a:gd name="connsiteY11" fmla="*/ 151721 h 185965"/>
                <a:gd name="connsiteX12" fmla="*/ 258846 w 291932"/>
                <a:gd name="connsiteY12" fmla="*/ 87672 h 185965"/>
                <a:gd name="connsiteX13" fmla="*/ 230943 w 291932"/>
                <a:gd name="connsiteY13" fmla="*/ 47720 h 185965"/>
                <a:gd name="connsiteX14" fmla="*/ 62258 w 291932"/>
                <a:gd name="connsiteY14" fmla="*/ 47720 h 185965"/>
                <a:gd name="connsiteX15" fmla="*/ 34355 w 291932"/>
                <a:gd name="connsiteY15" fmla="*/ 87672 h 185965"/>
                <a:gd name="connsiteX16" fmla="*/ 38794 w 291932"/>
                <a:gd name="connsiteY16" fmla="*/ 151721 h 185965"/>
                <a:gd name="connsiteX17" fmla="*/ 38794 w 291932"/>
                <a:gd name="connsiteY17" fmla="*/ 151721 h 185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91932" h="185965">
                  <a:moveTo>
                    <a:pt x="270261" y="185966"/>
                  </a:moveTo>
                  <a:lnTo>
                    <a:pt x="22941" y="185966"/>
                  </a:lnTo>
                  <a:cubicBezTo>
                    <a:pt x="14062" y="185966"/>
                    <a:pt x="6452" y="178990"/>
                    <a:pt x="5818" y="170112"/>
                  </a:cubicBezTo>
                  <a:lnTo>
                    <a:pt x="111" y="90209"/>
                  </a:lnTo>
                  <a:cubicBezTo>
                    <a:pt x="-1792" y="61037"/>
                    <a:pt x="21038" y="26793"/>
                    <a:pt x="49575" y="16647"/>
                  </a:cubicBezTo>
                  <a:cubicBezTo>
                    <a:pt x="111722" y="-5549"/>
                    <a:pt x="179577" y="-5549"/>
                    <a:pt x="241724" y="16647"/>
                  </a:cubicBezTo>
                  <a:cubicBezTo>
                    <a:pt x="270895" y="27427"/>
                    <a:pt x="293724" y="61037"/>
                    <a:pt x="291822" y="90843"/>
                  </a:cubicBezTo>
                  <a:lnTo>
                    <a:pt x="286114" y="170746"/>
                  </a:lnTo>
                  <a:cubicBezTo>
                    <a:pt x="286114" y="178990"/>
                    <a:pt x="279138" y="185966"/>
                    <a:pt x="270261" y="185966"/>
                  </a:cubicBezTo>
                  <a:lnTo>
                    <a:pt x="270261" y="185966"/>
                  </a:lnTo>
                  <a:close/>
                  <a:moveTo>
                    <a:pt x="38794" y="151721"/>
                  </a:moveTo>
                  <a:lnTo>
                    <a:pt x="254407" y="151721"/>
                  </a:lnTo>
                  <a:lnTo>
                    <a:pt x="258846" y="87672"/>
                  </a:lnTo>
                  <a:cubicBezTo>
                    <a:pt x="259480" y="74355"/>
                    <a:pt x="247431" y="54062"/>
                    <a:pt x="230943" y="47720"/>
                  </a:cubicBezTo>
                  <a:cubicBezTo>
                    <a:pt x="177040" y="28061"/>
                    <a:pt x="116161" y="28061"/>
                    <a:pt x="62258" y="47720"/>
                  </a:cubicBezTo>
                  <a:cubicBezTo>
                    <a:pt x="45770" y="54062"/>
                    <a:pt x="33721" y="74355"/>
                    <a:pt x="34355" y="87672"/>
                  </a:cubicBezTo>
                  <a:lnTo>
                    <a:pt x="38794" y="151721"/>
                  </a:lnTo>
                  <a:lnTo>
                    <a:pt x="38794" y="151721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54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7434592" y="3592792"/>
            <a:ext cx="371980" cy="474088"/>
            <a:chOff x="7449807" y="3627332"/>
            <a:chExt cx="376164" cy="479420"/>
          </a:xfrm>
          <a:solidFill>
            <a:srgbClr val="B1B1A1"/>
          </a:solidFill>
        </p:grpSpPr>
        <p:sp>
          <p:nvSpPr>
            <p:cNvPr id="155" name="Forma Livre: Forma 154">
              <a:extLst>
                <a:ext uri="{FF2B5EF4-FFF2-40B4-BE49-F238E27FC236}">
                  <a16:creationId xmlns:a16="http://schemas.microsoft.com/office/drawing/2014/main" id="{01B71CDD-8173-4716-AE42-42AB288189AD}"/>
                </a:ext>
              </a:extLst>
            </p:cNvPr>
            <p:cNvSpPr/>
            <p:nvPr/>
          </p:nvSpPr>
          <p:spPr>
            <a:xfrm>
              <a:off x="7515870" y="3627332"/>
              <a:ext cx="162343" cy="181367"/>
            </a:xfrm>
            <a:custGeom>
              <a:avLst/>
              <a:gdLst>
                <a:gd name="connsiteX0" fmla="*/ 81172 w 162343"/>
                <a:gd name="connsiteY0" fmla="*/ 181368 h 181367"/>
                <a:gd name="connsiteX1" fmla="*/ 0 w 162343"/>
                <a:gd name="connsiteY1" fmla="*/ 90684 h 181367"/>
                <a:gd name="connsiteX2" fmla="*/ 81172 w 162343"/>
                <a:gd name="connsiteY2" fmla="*/ 0 h 181367"/>
                <a:gd name="connsiteX3" fmla="*/ 162343 w 162343"/>
                <a:gd name="connsiteY3" fmla="*/ 90684 h 181367"/>
                <a:gd name="connsiteX4" fmla="*/ 81172 w 162343"/>
                <a:gd name="connsiteY4" fmla="*/ 181368 h 181367"/>
                <a:gd name="connsiteX5" fmla="*/ 81172 w 162343"/>
                <a:gd name="connsiteY5" fmla="*/ 181368 h 181367"/>
                <a:gd name="connsiteX6" fmla="*/ 81172 w 162343"/>
                <a:gd name="connsiteY6" fmla="*/ 33610 h 181367"/>
                <a:gd name="connsiteX7" fmla="*/ 33610 w 162343"/>
                <a:gd name="connsiteY7" fmla="*/ 90684 h 181367"/>
                <a:gd name="connsiteX8" fmla="*/ 81172 w 162343"/>
                <a:gd name="connsiteY8" fmla="*/ 147758 h 181367"/>
                <a:gd name="connsiteX9" fmla="*/ 128733 w 162343"/>
                <a:gd name="connsiteY9" fmla="*/ 90684 h 181367"/>
                <a:gd name="connsiteX10" fmla="*/ 81172 w 162343"/>
                <a:gd name="connsiteY10" fmla="*/ 33610 h 181367"/>
                <a:gd name="connsiteX11" fmla="*/ 81172 w 162343"/>
                <a:gd name="connsiteY11" fmla="*/ 33610 h 181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2343" h="181367">
                  <a:moveTo>
                    <a:pt x="81172" y="181368"/>
                  </a:moveTo>
                  <a:cubicBezTo>
                    <a:pt x="36781" y="181368"/>
                    <a:pt x="0" y="140782"/>
                    <a:pt x="0" y="90684"/>
                  </a:cubicBezTo>
                  <a:cubicBezTo>
                    <a:pt x="0" y="40586"/>
                    <a:pt x="36146" y="0"/>
                    <a:pt x="81172" y="0"/>
                  </a:cubicBezTo>
                  <a:cubicBezTo>
                    <a:pt x="125562" y="0"/>
                    <a:pt x="162343" y="40586"/>
                    <a:pt x="162343" y="90684"/>
                  </a:cubicBezTo>
                  <a:cubicBezTo>
                    <a:pt x="162343" y="140782"/>
                    <a:pt x="126196" y="181368"/>
                    <a:pt x="81172" y="181368"/>
                  </a:cubicBezTo>
                  <a:lnTo>
                    <a:pt x="81172" y="181368"/>
                  </a:lnTo>
                  <a:close/>
                  <a:moveTo>
                    <a:pt x="81172" y="33610"/>
                  </a:moveTo>
                  <a:cubicBezTo>
                    <a:pt x="55171" y="33610"/>
                    <a:pt x="33610" y="58976"/>
                    <a:pt x="33610" y="90684"/>
                  </a:cubicBezTo>
                  <a:cubicBezTo>
                    <a:pt x="33610" y="122392"/>
                    <a:pt x="54537" y="147758"/>
                    <a:pt x="81172" y="147758"/>
                  </a:cubicBezTo>
                  <a:cubicBezTo>
                    <a:pt x="107172" y="147758"/>
                    <a:pt x="128733" y="122392"/>
                    <a:pt x="128733" y="90684"/>
                  </a:cubicBezTo>
                  <a:cubicBezTo>
                    <a:pt x="128733" y="58976"/>
                    <a:pt x="107806" y="33610"/>
                    <a:pt x="81172" y="33610"/>
                  </a:cubicBezTo>
                  <a:lnTo>
                    <a:pt x="81172" y="33610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56" name="Forma Livre: Forma 155">
              <a:extLst>
                <a:ext uri="{FF2B5EF4-FFF2-40B4-BE49-F238E27FC236}">
                  <a16:creationId xmlns:a16="http://schemas.microsoft.com/office/drawing/2014/main" id="{0BFE236E-4F36-42B6-8C45-188F01C2EADB}"/>
                </a:ext>
              </a:extLst>
            </p:cNvPr>
            <p:cNvSpPr/>
            <p:nvPr/>
          </p:nvSpPr>
          <p:spPr>
            <a:xfrm>
              <a:off x="7616700" y="3897482"/>
              <a:ext cx="209271" cy="209270"/>
            </a:xfrm>
            <a:custGeom>
              <a:avLst/>
              <a:gdLst>
                <a:gd name="connsiteX0" fmla="*/ 104635 w 209271"/>
                <a:gd name="connsiteY0" fmla="*/ 209271 h 209270"/>
                <a:gd name="connsiteX1" fmla="*/ 0 w 209271"/>
                <a:gd name="connsiteY1" fmla="*/ 104635 h 209270"/>
                <a:gd name="connsiteX2" fmla="*/ 104635 w 209271"/>
                <a:gd name="connsiteY2" fmla="*/ 0 h 209270"/>
                <a:gd name="connsiteX3" fmla="*/ 209271 w 209271"/>
                <a:gd name="connsiteY3" fmla="*/ 104635 h 209270"/>
                <a:gd name="connsiteX4" fmla="*/ 104635 w 209271"/>
                <a:gd name="connsiteY4" fmla="*/ 209271 h 209270"/>
                <a:gd name="connsiteX5" fmla="*/ 104635 w 209271"/>
                <a:gd name="connsiteY5" fmla="*/ 209271 h 209270"/>
                <a:gd name="connsiteX6" fmla="*/ 104635 w 209271"/>
                <a:gd name="connsiteY6" fmla="*/ 16488 h 209270"/>
                <a:gd name="connsiteX7" fmla="*/ 16488 w 209271"/>
                <a:gd name="connsiteY7" fmla="*/ 104635 h 209270"/>
                <a:gd name="connsiteX8" fmla="*/ 104635 w 209271"/>
                <a:gd name="connsiteY8" fmla="*/ 192783 h 209270"/>
                <a:gd name="connsiteX9" fmla="*/ 192782 w 209271"/>
                <a:gd name="connsiteY9" fmla="*/ 104635 h 209270"/>
                <a:gd name="connsiteX10" fmla="*/ 104635 w 209271"/>
                <a:gd name="connsiteY10" fmla="*/ 16488 h 209270"/>
                <a:gd name="connsiteX11" fmla="*/ 104635 w 209271"/>
                <a:gd name="connsiteY11" fmla="*/ 16488 h 209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9271" h="209270">
                  <a:moveTo>
                    <a:pt x="104635" y="209271"/>
                  </a:moveTo>
                  <a:cubicBezTo>
                    <a:pt x="46928" y="209271"/>
                    <a:pt x="0" y="162344"/>
                    <a:pt x="0" y="104635"/>
                  </a:cubicBezTo>
                  <a:cubicBezTo>
                    <a:pt x="0" y="46928"/>
                    <a:pt x="46928" y="0"/>
                    <a:pt x="104635" y="0"/>
                  </a:cubicBezTo>
                  <a:cubicBezTo>
                    <a:pt x="162344" y="0"/>
                    <a:pt x="209271" y="46928"/>
                    <a:pt x="209271" y="104635"/>
                  </a:cubicBezTo>
                  <a:cubicBezTo>
                    <a:pt x="209271" y="162344"/>
                    <a:pt x="162344" y="209271"/>
                    <a:pt x="104635" y="209271"/>
                  </a:cubicBezTo>
                  <a:lnTo>
                    <a:pt x="104635" y="209271"/>
                  </a:lnTo>
                  <a:close/>
                  <a:moveTo>
                    <a:pt x="104635" y="16488"/>
                  </a:moveTo>
                  <a:cubicBezTo>
                    <a:pt x="56440" y="16488"/>
                    <a:pt x="16488" y="55805"/>
                    <a:pt x="16488" y="104635"/>
                  </a:cubicBezTo>
                  <a:cubicBezTo>
                    <a:pt x="16488" y="152831"/>
                    <a:pt x="55805" y="192783"/>
                    <a:pt x="104635" y="192783"/>
                  </a:cubicBezTo>
                  <a:cubicBezTo>
                    <a:pt x="152831" y="192783"/>
                    <a:pt x="192782" y="153465"/>
                    <a:pt x="192782" y="104635"/>
                  </a:cubicBezTo>
                  <a:cubicBezTo>
                    <a:pt x="192148" y="55805"/>
                    <a:pt x="152831" y="16488"/>
                    <a:pt x="104635" y="16488"/>
                  </a:cubicBezTo>
                  <a:lnTo>
                    <a:pt x="104635" y="16488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57" name="Forma Livre: Forma 156">
              <a:extLst>
                <a:ext uri="{FF2B5EF4-FFF2-40B4-BE49-F238E27FC236}">
                  <a16:creationId xmlns:a16="http://schemas.microsoft.com/office/drawing/2014/main" id="{483043F0-4898-46EE-9911-42C39303F41E}"/>
                </a:ext>
              </a:extLst>
            </p:cNvPr>
            <p:cNvSpPr/>
            <p:nvPr/>
          </p:nvSpPr>
          <p:spPr>
            <a:xfrm>
              <a:off x="7449807" y="3832005"/>
              <a:ext cx="289284" cy="185965"/>
            </a:xfrm>
            <a:custGeom>
              <a:avLst/>
              <a:gdLst>
                <a:gd name="connsiteX0" fmla="*/ 175137 w 289284"/>
                <a:gd name="connsiteY0" fmla="*/ 185966 h 185965"/>
                <a:gd name="connsiteX1" fmla="*/ 22940 w 289284"/>
                <a:gd name="connsiteY1" fmla="*/ 185966 h 185965"/>
                <a:gd name="connsiteX2" fmla="*/ 5818 w 289284"/>
                <a:gd name="connsiteY2" fmla="*/ 170112 h 185965"/>
                <a:gd name="connsiteX3" fmla="*/ 111 w 289284"/>
                <a:gd name="connsiteY3" fmla="*/ 90209 h 185965"/>
                <a:gd name="connsiteX4" fmla="*/ 49575 w 289284"/>
                <a:gd name="connsiteY4" fmla="*/ 16647 h 185965"/>
                <a:gd name="connsiteX5" fmla="*/ 241723 w 289284"/>
                <a:gd name="connsiteY5" fmla="*/ 16647 h 185965"/>
                <a:gd name="connsiteX6" fmla="*/ 289285 w 289284"/>
                <a:gd name="connsiteY6" fmla="*/ 69282 h 185965"/>
                <a:gd name="connsiteX7" fmla="*/ 256943 w 289284"/>
                <a:gd name="connsiteY7" fmla="*/ 78794 h 185965"/>
                <a:gd name="connsiteX8" fmla="*/ 230309 w 289284"/>
                <a:gd name="connsiteY8" fmla="*/ 48354 h 185965"/>
                <a:gd name="connsiteX9" fmla="*/ 61624 w 289284"/>
                <a:gd name="connsiteY9" fmla="*/ 48354 h 185965"/>
                <a:gd name="connsiteX10" fmla="*/ 33721 w 289284"/>
                <a:gd name="connsiteY10" fmla="*/ 88306 h 185965"/>
                <a:gd name="connsiteX11" fmla="*/ 38160 w 289284"/>
                <a:gd name="connsiteY11" fmla="*/ 152356 h 185965"/>
                <a:gd name="connsiteX12" fmla="*/ 175137 w 289284"/>
                <a:gd name="connsiteY12" fmla="*/ 152356 h 185965"/>
                <a:gd name="connsiteX13" fmla="*/ 175137 w 289284"/>
                <a:gd name="connsiteY13" fmla="*/ 185966 h 185965"/>
                <a:gd name="connsiteX14" fmla="*/ 175137 w 289284"/>
                <a:gd name="connsiteY14" fmla="*/ 185966 h 185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89284" h="185965">
                  <a:moveTo>
                    <a:pt x="175137" y="185966"/>
                  </a:moveTo>
                  <a:lnTo>
                    <a:pt x="22940" y="185966"/>
                  </a:lnTo>
                  <a:cubicBezTo>
                    <a:pt x="14062" y="185966"/>
                    <a:pt x="6452" y="178990"/>
                    <a:pt x="5818" y="170112"/>
                  </a:cubicBezTo>
                  <a:lnTo>
                    <a:pt x="111" y="90209"/>
                  </a:lnTo>
                  <a:cubicBezTo>
                    <a:pt x="-1792" y="61037"/>
                    <a:pt x="21038" y="26793"/>
                    <a:pt x="49575" y="16647"/>
                  </a:cubicBezTo>
                  <a:cubicBezTo>
                    <a:pt x="111722" y="-5549"/>
                    <a:pt x="179576" y="-5549"/>
                    <a:pt x="241723" y="16647"/>
                  </a:cubicBezTo>
                  <a:cubicBezTo>
                    <a:pt x="263919" y="24891"/>
                    <a:pt x="282309" y="45183"/>
                    <a:pt x="289285" y="69282"/>
                  </a:cubicBezTo>
                  <a:lnTo>
                    <a:pt x="256943" y="78794"/>
                  </a:lnTo>
                  <a:cubicBezTo>
                    <a:pt x="253138" y="65476"/>
                    <a:pt x="242358" y="52793"/>
                    <a:pt x="230309" y="48354"/>
                  </a:cubicBezTo>
                  <a:cubicBezTo>
                    <a:pt x="175772" y="28696"/>
                    <a:pt x="116161" y="28696"/>
                    <a:pt x="61624" y="48354"/>
                  </a:cubicBezTo>
                  <a:cubicBezTo>
                    <a:pt x="45136" y="54696"/>
                    <a:pt x="33087" y="74989"/>
                    <a:pt x="33721" y="88306"/>
                  </a:cubicBezTo>
                  <a:lnTo>
                    <a:pt x="38160" y="152356"/>
                  </a:lnTo>
                  <a:lnTo>
                    <a:pt x="175137" y="152356"/>
                  </a:lnTo>
                  <a:lnTo>
                    <a:pt x="175137" y="185966"/>
                  </a:lnTo>
                  <a:lnTo>
                    <a:pt x="175137" y="185966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58" name="Forma Livre: Forma 157">
              <a:extLst>
                <a:ext uri="{FF2B5EF4-FFF2-40B4-BE49-F238E27FC236}">
                  <a16:creationId xmlns:a16="http://schemas.microsoft.com/office/drawing/2014/main" id="{FB675BC9-BC34-4E8A-AE2E-3615C8626378}"/>
                </a:ext>
              </a:extLst>
            </p:cNvPr>
            <p:cNvSpPr/>
            <p:nvPr/>
          </p:nvSpPr>
          <p:spPr>
            <a:xfrm>
              <a:off x="7704213" y="3938068"/>
              <a:ext cx="34244" cy="127464"/>
            </a:xfrm>
            <a:custGeom>
              <a:avLst/>
              <a:gdLst>
                <a:gd name="connsiteX0" fmla="*/ 17122 w 34244"/>
                <a:gd name="connsiteY0" fmla="*/ 127465 h 127464"/>
                <a:gd name="connsiteX1" fmla="*/ 0 w 34244"/>
                <a:gd name="connsiteY1" fmla="*/ 110343 h 127464"/>
                <a:gd name="connsiteX2" fmla="*/ 0 w 34244"/>
                <a:gd name="connsiteY2" fmla="*/ 17122 h 127464"/>
                <a:gd name="connsiteX3" fmla="*/ 17122 w 34244"/>
                <a:gd name="connsiteY3" fmla="*/ 0 h 127464"/>
                <a:gd name="connsiteX4" fmla="*/ 34244 w 34244"/>
                <a:gd name="connsiteY4" fmla="*/ 17122 h 127464"/>
                <a:gd name="connsiteX5" fmla="*/ 34244 w 34244"/>
                <a:gd name="connsiteY5" fmla="*/ 110343 h 127464"/>
                <a:gd name="connsiteX6" fmla="*/ 17122 w 34244"/>
                <a:gd name="connsiteY6" fmla="*/ 127465 h 127464"/>
                <a:gd name="connsiteX7" fmla="*/ 17122 w 34244"/>
                <a:gd name="connsiteY7" fmla="*/ 127465 h 127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244" h="127464">
                  <a:moveTo>
                    <a:pt x="17122" y="127465"/>
                  </a:moveTo>
                  <a:cubicBezTo>
                    <a:pt x="7610" y="127465"/>
                    <a:pt x="0" y="119855"/>
                    <a:pt x="0" y="110343"/>
                  </a:cubicBezTo>
                  <a:lnTo>
                    <a:pt x="0" y="17122"/>
                  </a:lnTo>
                  <a:cubicBezTo>
                    <a:pt x="0" y="7610"/>
                    <a:pt x="7610" y="0"/>
                    <a:pt x="17122" y="0"/>
                  </a:cubicBezTo>
                  <a:cubicBezTo>
                    <a:pt x="26635" y="0"/>
                    <a:pt x="34244" y="7610"/>
                    <a:pt x="34244" y="17122"/>
                  </a:cubicBezTo>
                  <a:lnTo>
                    <a:pt x="34244" y="110343"/>
                  </a:lnTo>
                  <a:cubicBezTo>
                    <a:pt x="33610" y="119855"/>
                    <a:pt x="26000" y="127465"/>
                    <a:pt x="17122" y="127465"/>
                  </a:cubicBezTo>
                  <a:lnTo>
                    <a:pt x="17122" y="127465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59" name="Forma Livre: Forma 158">
              <a:extLst>
                <a:ext uri="{FF2B5EF4-FFF2-40B4-BE49-F238E27FC236}">
                  <a16:creationId xmlns:a16="http://schemas.microsoft.com/office/drawing/2014/main" id="{F9C00D14-94EA-4235-A374-E205D0113A74}"/>
                </a:ext>
              </a:extLst>
            </p:cNvPr>
            <p:cNvSpPr/>
            <p:nvPr/>
          </p:nvSpPr>
          <p:spPr>
            <a:xfrm>
              <a:off x="7657286" y="3984995"/>
              <a:ext cx="127465" cy="34244"/>
            </a:xfrm>
            <a:custGeom>
              <a:avLst/>
              <a:gdLst>
                <a:gd name="connsiteX0" fmla="*/ 110343 w 127465"/>
                <a:gd name="connsiteY0" fmla="*/ 34244 h 34244"/>
                <a:gd name="connsiteX1" fmla="*/ 17122 w 127465"/>
                <a:gd name="connsiteY1" fmla="*/ 34244 h 34244"/>
                <a:gd name="connsiteX2" fmla="*/ 0 w 127465"/>
                <a:gd name="connsiteY2" fmla="*/ 17122 h 34244"/>
                <a:gd name="connsiteX3" fmla="*/ 17122 w 127465"/>
                <a:gd name="connsiteY3" fmla="*/ 0 h 34244"/>
                <a:gd name="connsiteX4" fmla="*/ 110343 w 127465"/>
                <a:gd name="connsiteY4" fmla="*/ 0 h 34244"/>
                <a:gd name="connsiteX5" fmla="*/ 127465 w 127465"/>
                <a:gd name="connsiteY5" fmla="*/ 17122 h 34244"/>
                <a:gd name="connsiteX6" fmla="*/ 110343 w 127465"/>
                <a:gd name="connsiteY6" fmla="*/ 34244 h 34244"/>
                <a:gd name="connsiteX7" fmla="*/ 110343 w 127465"/>
                <a:gd name="connsiteY7" fmla="*/ 34244 h 3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7465" h="34244">
                  <a:moveTo>
                    <a:pt x="110343" y="34244"/>
                  </a:moveTo>
                  <a:lnTo>
                    <a:pt x="17122" y="34244"/>
                  </a:lnTo>
                  <a:cubicBezTo>
                    <a:pt x="7610" y="34244"/>
                    <a:pt x="0" y="26635"/>
                    <a:pt x="0" y="17122"/>
                  </a:cubicBezTo>
                  <a:cubicBezTo>
                    <a:pt x="0" y="7610"/>
                    <a:pt x="7610" y="0"/>
                    <a:pt x="17122" y="0"/>
                  </a:cubicBezTo>
                  <a:lnTo>
                    <a:pt x="110343" y="0"/>
                  </a:lnTo>
                  <a:cubicBezTo>
                    <a:pt x="119855" y="0"/>
                    <a:pt x="127465" y="7610"/>
                    <a:pt x="127465" y="17122"/>
                  </a:cubicBezTo>
                  <a:cubicBezTo>
                    <a:pt x="127465" y="26635"/>
                    <a:pt x="119855" y="34244"/>
                    <a:pt x="110343" y="34244"/>
                  </a:cubicBezTo>
                  <a:lnTo>
                    <a:pt x="110343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60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8459901" y="3592792"/>
            <a:ext cx="371986" cy="474088"/>
            <a:chOff x="8486648" y="3627332"/>
            <a:chExt cx="376170" cy="479420"/>
          </a:xfrm>
          <a:solidFill>
            <a:srgbClr val="B1B1A1"/>
          </a:solidFill>
        </p:grpSpPr>
        <p:sp>
          <p:nvSpPr>
            <p:cNvPr id="161" name="Forma Livre: Forma 160">
              <a:extLst>
                <a:ext uri="{FF2B5EF4-FFF2-40B4-BE49-F238E27FC236}">
                  <a16:creationId xmlns:a16="http://schemas.microsoft.com/office/drawing/2014/main" id="{B7B13A65-F7CB-457D-ACDA-AADE18848BD3}"/>
                </a:ext>
              </a:extLst>
            </p:cNvPr>
            <p:cNvSpPr/>
            <p:nvPr/>
          </p:nvSpPr>
          <p:spPr>
            <a:xfrm>
              <a:off x="8553345" y="3627332"/>
              <a:ext cx="162343" cy="181367"/>
            </a:xfrm>
            <a:custGeom>
              <a:avLst/>
              <a:gdLst>
                <a:gd name="connsiteX0" fmla="*/ 81172 w 162343"/>
                <a:gd name="connsiteY0" fmla="*/ 181368 h 181367"/>
                <a:gd name="connsiteX1" fmla="*/ 0 w 162343"/>
                <a:gd name="connsiteY1" fmla="*/ 90684 h 181367"/>
                <a:gd name="connsiteX2" fmla="*/ 81172 w 162343"/>
                <a:gd name="connsiteY2" fmla="*/ 0 h 181367"/>
                <a:gd name="connsiteX3" fmla="*/ 162343 w 162343"/>
                <a:gd name="connsiteY3" fmla="*/ 90684 h 181367"/>
                <a:gd name="connsiteX4" fmla="*/ 81172 w 162343"/>
                <a:gd name="connsiteY4" fmla="*/ 181368 h 181367"/>
                <a:gd name="connsiteX5" fmla="*/ 81172 w 162343"/>
                <a:gd name="connsiteY5" fmla="*/ 181368 h 181367"/>
                <a:gd name="connsiteX6" fmla="*/ 81172 w 162343"/>
                <a:gd name="connsiteY6" fmla="*/ 33610 h 181367"/>
                <a:gd name="connsiteX7" fmla="*/ 33610 w 162343"/>
                <a:gd name="connsiteY7" fmla="*/ 90684 h 181367"/>
                <a:gd name="connsiteX8" fmla="*/ 81172 w 162343"/>
                <a:gd name="connsiteY8" fmla="*/ 147758 h 181367"/>
                <a:gd name="connsiteX9" fmla="*/ 128734 w 162343"/>
                <a:gd name="connsiteY9" fmla="*/ 90684 h 181367"/>
                <a:gd name="connsiteX10" fmla="*/ 81172 w 162343"/>
                <a:gd name="connsiteY10" fmla="*/ 33610 h 181367"/>
                <a:gd name="connsiteX11" fmla="*/ 81172 w 162343"/>
                <a:gd name="connsiteY11" fmla="*/ 33610 h 181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2343" h="181367">
                  <a:moveTo>
                    <a:pt x="81172" y="181368"/>
                  </a:moveTo>
                  <a:cubicBezTo>
                    <a:pt x="36781" y="181368"/>
                    <a:pt x="0" y="140782"/>
                    <a:pt x="0" y="90684"/>
                  </a:cubicBezTo>
                  <a:cubicBezTo>
                    <a:pt x="0" y="40586"/>
                    <a:pt x="36146" y="0"/>
                    <a:pt x="81172" y="0"/>
                  </a:cubicBezTo>
                  <a:cubicBezTo>
                    <a:pt x="125563" y="0"/>
                    <a:pt x="162343" y="40586"/>
                    <a:pt x="162343" y="90684"/>
                  </a:cubicBezTo>
                  <a:cubicBezTo>
                    <a:pt x="162343" y="140782"/>
                    <a:pt x="125563" y="181368"/>
                    <a:pt x="81172" y="181368"/>
                  </a:cubicBezTo>
                  <a:lnTo>
                    <a:pt x="81172" y="181368"/>
                  </a:lnTo>
                  <a:close/>
                  <a:moveTo>
                    <a:pt x="81172" y="33610"/>
                  </a:moveTo>
                  <a:cubicBezTo>
                    <a:pt x="55171" y="33610"/>
                    <a:pt x="33610" y="58976"/>
                    <a:pt x="33610" y="90684"/>
                  </a:cubicBezTo>
                  <a:cubicBezTo>
                    <a:pt x="33610" y="122392"/>
                    <a:pt x="54537" y="147758"/>
                    <a:pt x="81172" y="147758"/>
                  </a:cubicBezTo>
                  <a:cubicBezTo>
                    <a:pt x="107172" y="147758"/>
                    <a:pt x="128734" y="122392"/>
                    <a:pt x="128734" y="90684"/>
                  </a:cubicBezTo>
                  <a:cubicBezTo>
                    <a:pt x="128099" y="58976"/>
                    <a:pt x="107172" y="33610"/>
                    <a:pt x="81172" y="33610"/>
                  </a:cubicBezTo>
                  <a:lnTo>
                    <a:pt x="81172" y="33610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62" name="Forma Livre: Forma 161">
              <a:extLst>
                <a:ext uri="{FF2B5EF4-FFF2-40B4-BE49-F238E27FC236}">
                  <a16:creationId xmlns:a16="http://schemas.microsoft.com/office/drawing/2014/main" id="{DDB24AA7-0CD5-4839-9EF4-85EC8061A162}"/>
                </a:ext>
              </a:extLst>
            </p:cNvPr>
            <p:cNvSpPr/>
            <p:nvPr/>
          </p:nvSpPr>
          <p:spPr>
            <a:xfrm>
              <a:off x="8653542" y="3897482"/>
              <a:ext cx="209276" cy="209270"/>
            </a:xfrm>
            <a:custGeom>
              <a:avLst/>
              <a:gdLst>
                <a:gd name="connsiteX0" fmla="*/ 104635 w 209276"/>
                <a:gd name="connsiteY0" fmla="*/ 209271 h 209270"/>
                <a:gd name="connsiteX1" fmla="*/ 0 w 209276"/>
                <a:gd name="connsiteY1" fmla="*/ 104635 h 209270"/>
                <a:gd name="connsiteX2" fmla="*/ 104635 w 209276"/>
                <a:gd name="connsiteY2" fmla="*/ 0 h 209270"/>
                <a:gd name="connsiteX3" fmla="*/ 209271 w 209276"/>
                <a:gd name="connsiteY3" fmla="*/ 104635 h 209270"/>
                <a:gd name="connsiteX4" fmla="*/ 104635 w 209276"/>
                <a:gd name="connsiteY4" fmla="*/ 209271 h 209270"/>
                <a:gd name="connsiteX5" fmla="*/ 104635 w 209276"/>
                <a:gd name="connsiteY5" fmla="*/ 209271 h 209270"/>
                <a:gd name="connsiteX6" fmla="*/ 104635 w 209276"/>
                <a:gd name="connsiteY6" fmla="*/ 16488 h 209270"/>
                <a:gd name="connsiteX7" fmla="*/ 16488 w 209276"/>
                <a:gd name="connsiteY7" fmla="*/ 104635 h 209270"/>
                <a:gd name="connsiteX8" fmla="*/ 104635 w 209276"/>
                <a:gd name="connsiteY8" fmla="*/ 192783 h 209270"/>
                <a:gd name="connsiteX9" fmla="*/ 192782 w 209276"/>
                <a:gd name="connsiteY9" fmla="*/ 104635 h 209270"/>
                <a:gd name="connsiteX10" fmla="*/ 104635 w 209276"/>
                <a:gd name="connsiteY10" fmla="*/ 16488 h 209270"/>
                <a:gd name="connsiteX11" fmla="*/ 104635 w 209276"/>
                <a:gd name="connsiteY11" fmla="*/ 16488 h 209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9276" h="209270">
                  <a:moveTo>
                    <a:pt x="104635" y="209271"/>
                  </a:moveTo>
                  <a:cubicBezTo>
                    <a:pt x="46927" y="209271"/>
                    <a:pt x="0" y="162344"/>
                    <a:pt x="0" y="104635"/>
                  </a:cubicBezTo>
                  <a:cubicBezTo>
                    <a:pt x="0" y="46928"/>
                    <a:pt x="46927" y="0"/>
                    <a:pt x="104635" y="0"/>
                  </a:cubicBezTo>
                  <a:cubicBezTo>
                    <a:pt x="162343" y="0"/>
                    <a:pt x="209271" y="46928"/>
                    <a:pt x="209271" y="104635"/>
                  </a:cubicBezTo>
                  <a:cubicBezTo>
                    <a:pt x="209905" y="162344"/>
                    <a:pt x="162343" y="209271"/>
                    <a:pt x="104635" y="209271"/>
                  </a:cubicBezTo>
                  <a:lnTo>
                    <a:pt x="104635" y="209271"/>
                  </a:lnTo>
                  <a:close/>
                  <a:moveTo>
                    <a:pt x="104635" y="16488"/>
                  </a:moveTo>
                  <a:cubicBezTo>
                    <a:pt x="56439" y="16488"/>
                    <a:pt x="16488" y="55805"/>
                    <a:pt x="16488" y="104635"/>
                  </a:cubicBezTo>
                  <a:cubicBezTo>
                    <a:pt x="16488" y="152831"/>
                    <a:pt x="55805" y="192783"/>
                    <a:pt x="104635" y="192783"/>
                  </a:cubicBezTo>
                  <a:cubicBezTo>
                    <a:pt x="152831" y="192783"/>
                    <a:pt x="192782" y="153465"/>
                    <a:pt x="192782" y="104635"/>
                  </a:cubicBezTo>
                  <a:cubicBezTo>
                    <a:pt x="192782" y="55805"/>
                    <a:pt x="153465" y="16488"/>
                    <a:pt x="104635" y="16488"/>
                  </a:cubicBezTo>
                  <a:lnTo>
                    <a:pt x="104635" y="16488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63" name="Forma Livre: Forma 162">
              <a:extLst>
                <a:ext uri="{FF2B5EF4-FFF2-40B4-BE49-F238E27FC236}">
                  <a16:creationId xmlns:a16="http://schemas.microsoft.com/office/drawing/2014/main" id="{EFADE07A-BC79-4B8A-BEF2-D915472DAD05}"/>
                </a:ext>
              </a:extLst>
            </p:cNvPr>
            <p:cNvSpPr/>
            <p:nvPr/>
          </p:nvSpPr>
          <p:spPr>
            <a:xfrm>
              <a:off x="8486648" y="3832005"/>
              <a:ext cx="289284" cy="185965"/>
            </a:xfrm>
            <a:custGeom>
              <a:avLst/>
              <a:gdLst>
                <a:gd name="connsiteX0" fmla="*/ 175137 w 289284"/>
                <a:gd name="connsiteY0" fmla="*/ 185966 h 185965"/>
                <a:gd name="connsiteX1" fmla="*/ 22940 w 289284"/>
                <a:gd name="connsiteY1" fmla="*/ 185966 h 185965"/>
                <a:gd name="connsiteX2" fmla="*/ 5818 w 289284"/>
                <a:gd name="connsiteY2" fmla="*/ 170112 h 185965"/>
                <a:gd name="connsiteX3" fmla="*/ 111 w 289284"/>
                <a:gd name="connsiteY3" fmla="*/ 90209 h 185965"/>
                <a:gd name="connsiteX4" fmla="*/ 49575 w 289284"/>
                <a:gd name="connsiteY4" fmla="*/ 16647 h 185965"/>
                <a:gd name="connsiteX5" fmla="*/ 241723 w 289284"/>
                <a:gd name="connsiteY5" fmla="*/ 16647 h 185965"/>
                <a:gd name="connsiteX6" fmla="*/ 289285 w 289284"/>
                <a:gd name="connsiteY6" fmla="*/ 69282 h 185965"/>
                <a:gd name="connsiteX7" fmla="*/ 256943 w 289284"/>
                <a:gd name="connsiteY7" fmla="*/ 78794 h 185965"/>
                <a:gd name="connsiteX8" fmla="*/ 230309 w 289284"/>
                <a:gd name="connsiteY8" fmla="*/ 48354 h 185965"/>
                <a:gd name="connsiteX9" fmla="*/ 61623 w 289284"/>
                <a:gd name="connsiteY9" fmla="*/ 48354 h 185965"/>
                <a:gd name="connsiteX10" fmla="*/ 33721 w 289284"/>
                <a:gd name="connsiteY10" fmla="*/ 88306 h 185965"/>
                <a:gd name="connsiteX11" fmla="*/ 38160 w 289284"/>
                <a:gd name="connsiteY11" fmla="*/ 152356 h 185965"/>
                <a:gd name="connsiteX12" fmla="*/ 175137 w 289284"/>
                <a:gd name="connsiteY12" fmla="*/ 152356 h 185965"/>
                <a:gd name="connsiteX13" fmla="*/ 175137 w 289284"/>
                <a:gd name="connsiteY13" fmla="*/ 185966 h 185965"/>
                <a:gd name="connsiteX14" fmla="*/ 175137 w 289284"/>
                <a:gd name="connsiteY14" fmla="*/ 185966 h 185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89284" h="185965">
                  <a:moveTo>
                    <a:pt x="175137" y="185966"/>
                  </a:moveTo>
                  <a:lnTo>
                    <a:pt x="22940" y="185966"/>
                  </a:lnTo>
                  <a:cubicBezTo>
                    <a:pt x="14062" y="185966"/>
                    <a:pt x="6452" y="178990"/>
                    <a:pt x="5818" y="170112"/>
                  </a:cubicBezTo>
                  <a:lnTo>
                    <a:pt x="111" y="90209"/>
                  </a:lnTo>
                  <a:cubicBezTo>
                    <a:pt x="-1792" y="61037"/>
                    <a:pt x="21038" y="26793"/>
                    <a:pt x="49575" y="16647"/>
                  </a:cubicBezTo>
                  <a:cubicBezTo>
                    <a:pt x="111722" y="-5549"/>
                    <a:pt x="179577" y="-5549"/>
                    <a:pt x="241723" y="16647"/>
                  </a:cubicBezTo>
                  <a:cubicBezTo>
                    <a:pt x="263919" y="24891"/>
                    <a:pt x="282309" y="45183"/>
                    <a:pt x="289285" y="69282"/>
                  </a:cubicBezTo>
                  <a:lnTo>
                    <a:pt x="256943" y="78794"/>
                  </a:lnTo>
                  <a:cubicBezTo>
                    <a:pt x="253138" y="65476"/>
                    <a:pt x="242357" y="52793"/>
                    <a:pt x="230309" y="48354"/>
                  </a:cubicBezTo>
                  <a:cubicBezTo>
                    <a:pt x="175771" y="28696"/>
                    <a:pt x="115527" y="28696"/>
                    <a:pt x="61623" y="48354"/>
                  </a:cubicBezTo>
                  <a:cubicBezTo>
                    <a:pt x="45136" y="54696"/>
                    <a:pt x="33087" y="74989"/>
                    <a:pt x="33721" y="88306"/>
                  </a:cubicBezTo>
                  <a:lnTo>
                    <a:pt x="38160" y="152356"/>
                  </a:lnTo>
                  <a:lnTo>
                    <a:pt x="175137" y="152356"/>
                  </a:lnTo>
                  <a:lnTo>
                    <a:pt x="175137" y="185966"/>
                  </a:lnTo>
                  <a:lnTo>
                    <a:pt x="175137" y="185966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64" name="Forma Livre: Forma 163">
              <a:extLst>
                <a:ext uri="{FF2B5EF4-FFF2-40B4-BE49-F238E27FC236}">
                  <a16:creationId xmlns:a16="http://schemas.microsoft.com/office/drawing/2014/main" id="{1E9E0C76-AB9B-4B7E-8A3B-FFA6EA556EDA}"/>
                </a:ext>
              </a:extLst>
            </p:cNvPr>
            <p:cNvSpPr/>
            <p:nvPr/>
          </p:nvSpPr>
          <p:spPr>
            <a:xfrm>
              <a:off x="8694762" y="3984995"/>
              <a:ext cx="127464" cy="34244"/>
            </a:xfrm>
            <a:custGeom>
              <a:avLst/>
              <a:gdLst>
                <a:gd name="connsiteX0" fmla="*/ 110342 w 127464"/>
                <a:gd name="connsiteY0" fmla="*/ 34244 h 34244"/>
                <a:gd name="connsiteX1" fmla="*/ 17122 w 127464"/>
                <a:gd name="connsiteY1" fmla="*/ 34244 h 34244"/>
                <a:gd name="connsiteX2" fmla="*/ 0 w 127464"/>
                <a:gd name="connsiteY2" fmla="*/ 17122 h 34244"/>
                <a:gd name="connsiteX3" fmla="*/ 17122 w 127464"/>
                <a:gd name="connsiteY3" fmla="*/ 0 h 34244"/>
                <a:gd name="connsiteX4" fmla="*/ 110342 w 127464"/>
                <a:gd name="connsiteY4" fmla="*/ 0 h 34244"/>
                <a:gd name="connsiteX5" fmla="*/ 127465 w 127464"/>
                <a:gd name="connsiteY5" fmla="*/ 17122 h 34244"/>
                <a:gd name="connsiteX6" fmla="*/ 110342 w 127464"/>
                <a:gd name="connsiteY6" fmla="*/ 34244 h 34244"/>
                <a:gd name="connsiteX7" fmla="*/ 110342 w 127464"/>
                <a:gd name="connsiteY7" fmla="*/ 34244 h 3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7464" h="34244">
                  <a:moveTo>
                    <a:pt x="110342" y="34244"/>
                  </a:moveTo>
                  <a:lnTo>
                    <a:pt x="17122" y="34244"/>
                  </a:lnTo>
                  <a:cubicBezTo>
                    <a:pt x="7610" y="34244"/>
                    <a:pt x="0" y="26635"/>
                    <a:pt x="0" y="17122"/>
                  </a:cubicBezTo>
                  <a:cubicBezTo>
                    <a:pt x="0" y="7610"/>
                    <a:pt x="7610" y="0"/>
                    <a:pt x="17122" y="0"/>
                  </a:cubicBezTo>
                  <a:lnTo>
                    <a:pt x="110342" y="0"/>
                  </a:lnTo>
                  <a:cubicBezTo>
                    <a:pt x="119854" y="0"/>
                    <a:pt x="127465" y="7610"/>
                    <a:pt x="127465" y="17122"/>
                  </a:cubicBezTo>
                  <a:cubicBezTo>
                    <a:pt x="126831" y="26635"/>
                    <a:pt x="119220" y="34244"/>
                    <a:pt x="110342" y="34244"/>
                  </a:cubicBezTo>
                  <a:lnTo>
                    <a:pt x="110342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65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9472668" y="3592792"/>
            <a:ext cx="371980" cy="474088"/>
            <a:chOff x="9510806" y="3627332"/>
            <a:chExt cx="376164" cy="479420"/>
          </a:xfrm>
          <a:solidFill>
            <a:srgbClr val="B1B1A1"/>
          </a:solidFill>
        </p:grpSpPr>
        <p:sp>
          <p:nvSpPr>
            <p:cNvPr id="166" name="Forma Livre: Forma 165">
              <a:extLst>
                <a:ext uri="{FF2B5EF4-FFF2-40B4-BE49-F238E27FC236}">
                  <a16:creationId xmlns:a16="http://schemas.microsoft.com/office/drawing/2014/main" id="{5B696F70-C284-47FB-9D7D-FBB2986E5F64}"/>
                </a:ext>
              </a:extLst>
            </p:cNvPr>
            <p:cNvSpPr/>
            <p:nvPr/>
          </p:nvSpPr>
          <p:spPr>
            <a:xfrm>
              <a:off x="9577503" y="3627332"/>
              <a:ext cx="162343" cy="181367"/>
            </a:xfrm>
            <a:custGeom>
              <a:avLst/>
              <a:gdLst>
                <a:gd name="connsiteX0" fmla="*/ 81172 w 162343"/>
                <a:gd name="connsiteY0" fmla="*/ 181368 h 181367"/>
                <a:gd name="connsiteX1" fmla="*/ 0 w 162343"/>
                <a:gd name="connsiteY1" fmla="*/ 90684 h 181367"/>
                <a:gd name="connsiteX2" fmla="*/ 81172 w 162343"/>
                <a:gd name="connsiteY2" fmla="*/ 0 h 181367"/>
                <a:gd name="connsiteX3" fmla="*/ 162343 w 162343"/>
                <a:gd name="connsiteY3" fmla="*/ 90684 h 181367"/>
                <a:gd name="connsiteX4" fmla="*/ 81172 w 162343"/>
                <a:gd name="connsiteY4" fmla="*/ 181368 h 181367"/>
                <a:gd name="connsiteX5" fmla="*/ 81172 w 162343"/>
                <a:gd name="connsiteY5" fmla="*/ 181368 h 181367"/>
                <a:gd name="connsiteX6" fmla="*/ 81172 w 162343"/>
                <a:gd name="connsiteY6" fmla="*/ 33610 h 181367"/>
                <a:gd name="connsiteX7" fmla="*/ 33610 w 162343"/>
                <a:gd name="connsiteY7" fmla="*/ 90684 h 181367"/>
                <a:gd name="connsiteX8" fmla="*/ 81172 w 162343"/>
                <a:gd name="connsiteY8" fmla="*/ 147758 h 181367"/>
                <a:gd name="connsiteX9" fmla="*/ 128734 w 162343"/>
                <a:gd name="connsiteY9" fmla="*/ 90684 h 181367"/>
                <a:gd name="connsiteX10" fmla="*/ 81172 w 162343"/>
                <a:gd name="connsiteY10" fmla="*/ 33610 h 181367"/>
                <a:gd name="connsiteX11" fmla="*/ 81172 w 162343"/>
                <a:gd name="connsiteY11" fmla="*/ 33610 h 181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2343" h="181367">
                  <a:moveTo>
                    <a:pt x="81172" y="181368"/>
                  </a:moveTo>
                  <a:cubicBezTo>
                    <a:pt x="36781" y="181368"/>
                    <a:pt x="0" y="140782"/>
                    <a:pt x="0" y="90684"/>
                  </a:cubicBezTo>
                  <a:cubicBezTo>
                    <a:pt x="0" y="40586"/>
                    <a:pt x="36146" y="0"/>
                    <a:pt x="81172" y="0"/>
                  </a:cubicBezTo>
                  <a:cubicBezTo>
                    <a:pt x="125563" y="0"/>
                    <a:pt x="162343" y="40586"/>
                    <a:pt x="162343" y="90684"/>
                  </a:cubicBezTo>
                  <a:cubicBezTo>
                    <a:pt x="161709" y="140782"/>
                    <a:pt x="125563" y="181368"/>
                    <a:pt x="81172" y="181368"/>
                  </a:cubicBezTo>
                  <a:lnTo>
                    <a:pt x="81172" y="181368"/>
                  </a:lnTo>
                  <a:close/>
                  <a:moveTo>
                    <a:pt x="81172" y="33610"/>
                  </a:moveTo>
                  <a:cubicBezTo>
                    <a:pt x="55171" y="33610"/>
                    <a:pt x="33610" y="58976"/>
                    <a:pt x="33610" y="90684"/>
                  </a:cubicBezTo>
                  <a:cubicBezTo>
                    <a:pt x="33610" y="122392"/>
                    <a:pt x="54537" y="147758"/>
                    <a:pt x="81172" y="147758"/>
                  </a:cubicBezTo>
                  <a:cubicBezTo>
                    <a:pt x="107172" y="147758"/>
                    <a:pt x="128734" y="122392"/>
                    <a:pt x="128734" y="90684"/>
                  </a:cubicBezTo>
                  <a:cubicBezTo>
                    <a:pt x="128099" y="58976"/>
                    <a:pt x="107172" y="33610"/>
                    <a:pt x="81172" y="33610"/>
                  </a:cubicBezTo>
                  <a:lnTo>
                    <a:pt x="81172" y="33610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67" name="Forma Livre: Forma 166">
              <a:extLst>
                <a:ext uri="{FF2B5EF4-FFF2-40B4-BE49-F238E27FC236}">
                  <a16:creationId xmlns:a16="http://schemas.microsoft.com/office/drawing/2014/main" id="{2678EC83-BD82-4192-B31A-5CB641690BC9}"/>
                </a:ext>
              </a:extLst>
            </p:cNvPr>
            <p:cNvSpPr/>
            <p:nvPr/>
          </p:nvSpPr>
          <p:spPr>
            <a:xfrm>
              <a:off x="9677700" y="3897482"/>
              <a:ext cx="209270" cy="209270"/>
            </a:xfrm>
            <a:custGeom>
              <a:avLst/>
              <a:gdLst>
                <a:gd name="connsiteX0" fmla="*/ 104635 w 209270"/>
                <a:gd name="connsiteY0" fmla="*/ 209271 h 209270"/>
                <a:gd name="connsiteX1" fmla="*/ 0 w 209270"/>
                <a:gd name="connsiteY1" fmla="*/ 104635 h 209270"/>
                <a:gd name="connsiteX2" fmla="*/ 104635 w 209270"/>
                <a:gd name="connsiteY2" fmla="*/ 0 h 209270"/>
                <a:gd name="connsiteX3" fmla="*/ 209271 w 209270"/>
                <a:gd name="connsiteY3" fmla="*/ 104635 h 209270"/>
                <a:gd name="connsiteX4" fmla="*/ 104635 w 209270"/>
                <a:gd name="connsiteY4" fmla="*/ 209271 h 209270"/>
                <a:gd name="connsiteX5" fmla="*/ 104635 w 209270"/>
                <a:gd name="connsiteY5" fmla="*/ 209271 h 209270"/>
                <a:gd name="connsiteX6" fmla="*/ 104635 w 209270"/>
                <a:gd name="connsiteY6" fmla="*/ 16488 h 209270"/>
                <a:gd name="connsiteX7" fmla="*/ 16488 w 209270"/>
                <a:gd name="connsiteY7" fmla="*/ 104635 h 209270"/>
                <a:gd name="connsiteX8" fmla="*/ 104635 w 209270"/>
                <a:gd name="connsiteY8" fmla="*/ 192783 h 209270"/>
                <a:gd name="connsiteX9" fmla="*/ 192782 w 209270"/>
                <a:gd name="connsiteY9" fmla="*/ 104635 h 209270"/>
                <a:gd name="connsiteX10" fmla="*/ 104635 w 209270"/>
                <a:gd name="connsiteY10" fmla="*/ 16488 h 209270"/>
                <a:gd name="connsiteX11" fmla="*/ 104635 w 209270"/>
                <a:gd name="connsiteY11" fmla="*/ 16488 h 209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9270" h="209270">
                  <a:moveTo>
                    <a:pt x="104635" y="209271"/>
                  </a:moveTo>
                  <a:cubicBezTo>
                    <a:pt x="46927" y="209271"/>
                    <a:pt x="0" y="162344"/>
                    <a:pt x="0" y="104635"/>
                  </a:cubicBezTo>
                  <a:cubicBezTo>
                    <a:pt x="0" y="46928"/>
                    <a:pt x="46927" y="0"/>
                    <a:pt x="104635" y="0"/>
                  </a:cubicBezTo>
                  <a:cubicBezTo>
                    <a:pt x="162343" y="0"/>
                    <a:pt x="209271" y="46928"/>
                    <a:pt x="209271" y="104635"/>
                  </a:cubicBezTo>
                  <a:cubicBezTo>
                    <a:pt x="209271" y="162344"/>
                    <a:pt x="162343" y="209271"/>
                    <a:pt x="104635" y="209271"/>
                  </a:cubicBezTo>
                  <a:lnTo>
                    <a:pt x="104635" y="209271"/>
                  </a:lnTo>
                  <a:close/>
                  <a:moveTo>
                    <a:pt x="104635" y="16488"/>
                  </a:moveTo>
                  <a:cubicBezTo>
                    <a:pt x="56439" y="16488"/>
                    <a:pt x="16488" y="55805"/>
                    <a:pt x="16488" y="104635"/>
                  </a:cubicBezTo>
                  <a:cubicBezTo>
                    <a:pt x="16488" y="152831"/>
                    <a:pt x="55805" y="192783"/>
                    <a:pt x="104635" y="192783"/>
                  </a:cubicBezTo>
                  <a:cubicBezTo>
                    <a:pt x="153465" y="192783"/>
                    <a:pt x="192782" y="153465"/>
                    <a:pt x="192782" y="104635"/>
                  </a:cubicBezTo>
                  <a:cubicBezTo>
                    <a:pt x="192782" y="55805"/>
                    <a:pt x="152831" y="16488"/>
                    <a:pt x="104635" y="16488"/>
                  </a:cubicBezTo>
                  <a:lnTo>
                    <a:pt x="104635" y="16488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68" name="Forma Livre: Forma 167">
              <a:extLst>
                <a:ext uri="{FF2B5EF4-FFF2-40B4-BE49-F238E27FC236}">
                  <a16:creationId xmlns:a16="http://schemas.microsoft.com/office/drawing/2014/main" id="{EDB64409-5CAC-466C-B567-C0C58F02E35F}"/>
                </a:ext>
              </a:extLst>
            </p:cNvPr>
            <p:cNvSpPr/>
            <p:nvPr/>
          </p:nvSpPr>
          <p:spPr>
            <a:xfrm>
              <a:off x="9510806" y="3832005"/>
              <a:ext cx="289284" cy="185965"/>
            </a:xfrm>
            <a:custGeom>
              <a:avLst/>
              <a:gdLst>
                <a:gd name="connsiteX0" fmla="*/ 175137 w 289284"/>
                <a:gd name="connsiteY0" fmla="*/ 185966 h 185965"/>
                <a:gd name="connsiteX1" fmla="*/ 22940 w 289284"/>
                <a:gd name="connsiteY1" fmla="*/ 185966 h 185965"/>
                <a:gd name="connsiteX2" fmla="*/ 5818 w 289284"/>
                <a:gd name="connsiteY2" fmla="*/ 170112 h 185965"/>
                <a:gd name="connsiteX3" fmla="*/ 111 w 289284"/>
                <a:gd name="connsiteY3" fmla="*/ 90209 h 185965"/>
                <a:gd name="connsiteX4" fmla="*/ 49575 w 289284"/>
                <a:gd name="connsiteY4" fmla="*/ 16647 h 185965"/>
                <a:gd name="connsiteX5" fmla="*/ 241723 w 289284"/>
                <a:gd name="connsiteY5" fmla="*/ 16647 h 185965"/>
                <a:gd name="connsiteX6" fmla="*/ 289285 w 289284"/>
                <a:gd name="connsiteY6" fmla="*/ 69282 h 185965"/>
                <a:gd name="connsiteX7" fmla="*/ 256943 w 289284"/>
                <a:gd name="connsiteY7" fmla="*/ 78794 h 185965"/>
                <a:gd name="connsiteX8" fmla="*/ 230309 w 289284"/>
                <a:gd name="connsiteY8" fmla="*/ 48354 h 185965"/>
                <a:gd name="connsiteX9" fmla="*/ 61623 w 289284"/>
                <a:gd name="connsiteY9" fmla="*/ 48354 h 185965"/>
                <a:gd name="connsiteX10" fmla="*/ 33721 w 289284"/>
                <a:gd name="connsiteY10" fmla="*/ 88306 h 185965"/>
                <a:gd name="connsiteX11" fmla="*/ 38160 w 289284"/>
                <a:gd name="connsiteY11" fmla="*/ 152356 h 185965"/>
                <a:gd name="connsiteX12" fmla="*/ 175137 w 289284"/>
                <a:gd name="connsiteY12" fmla="*/ 152356 h 185965"/>
                <a:gd name="connsiteX13" fmla="*/ 175137 w 289284"/>
                <a:gd name="connsiteY13" fmla="*/ 185966 h 185965"/>
                <a:gd name="connsiteX14" fmla="*/ 175137 w 289284"/>
                <a:gd name="connsiteY14" fmla="*/ 185966 h 185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89284" h="185965">
                  <a:moveTo>
                    <a:pt x="175137" y="185966"/>
                  </a:moveTo>
                  <a:lnTo>
                    <a:pt x="22940" y="185966"/>
                  </a:lnTo>
                  <a:cubicBezTo>
                    <a:pt x="14062" y="185966"/>
                    <a:pt x="6452" y="178990"/>
                    <a:pt x="5818" y="170112"/>
                  </a:cubicBezTo>
                  <a:lnTo>
                    <a:pt x="111" y="90209"/>
                  </a:lnTo>
                  <a:cubicBezTo>
                    <a:pt x="-1792" y="61037"/>
                    <a:pt x="21038" y="26793"/>
                    <a:pt x="49575" y="16647"/>
                  </a:cubicBezTo>
                  <a:cubicBezTo>
                    <a:pt x="111722" y="-5549"/>
                    <a:pt x="179577" y="-5549"/>
                    <a:pt x="241723" y="16647"/>
                  </a:cubicBezTo>
                  <a:cubicBezTo>
                    <a:pt x="263919" y="24891"/>
                    <a:pt x="282309" y="45183"/>
                    <a:pt x="289285" y="69282"/>
                  </a:cubicBezTo>
                  <a:lnTo>
                    <a:pt x="256943" y="78794"/>
                  </a:lnTo>
                  <a:cubicBezTo>
                    <a:pt x="253138" y="65476"/>
                    <a:pt x="242357" y="52793"/>
                    <a:pt x="230309" y="48354"/>
                  </a:cubicBezTo>
                  <a:cubicBezTo>
                    <a:pt x="175771" y="28696"/>
                    <a:pt x="116161" y="28696"/>
                    <a:pt x="61623" y="48354"/>
                  </a:cubicBezTo>
                  <a:cubicBezTo>
                    <a:pt x="45136" y="54696"/>
                    <a:pt x="33087" y="74989"/>
                    <a:pt x="33721" y="88306"/>
                  </a:cubicBezTo>
                  <a:lnTo>
                    <a:pt x="38160" y="152356"/>
                  </a:lnTo>
                  <a:lnTo>
                    <a:pt x="175137" y="152356"/>
                  </a:lnTo>
                  <a:lnTo>
                    <a:pt x="175137" y="185966"/>
                  </a:lnTo>
                  <a:lnTo>
                    <a:pt x="175137" y="185966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69" name="Forma Livre: Forma 168">
              <a:extLst>
                <a:ext uri="{FF2B5EF4-FFF2-40B4-BE49-F238E27FC236}">
                  <a16:creationId xmlns:a16="http://schemas.microsoft.com/office/drawing/2014/main" id="{DEBA0ABC-D1E1-4100-8A30-BE1F2A59AA01}"/>
                </a:ext>
              </a:extLst>
            </p:cNvPr>
            <p:cNvSpPr/>
            <p:nvPr/>
          </p:nvSpPr>
          <p:spPr>
            <a:xfrm>
              <a:off x="9732554" y="3952336"/>
              <a:ext cx="99562" cy="99879"/>
            </a:xfrm>
            <a:custGeom>
              <a:avLst/>
              <a:gdLst>
                <a:gd name="connsiteX0" fmla="*/ 16805 w 99562"/>
                <a:gd name="connsiteY0" fmla="*/ 99879 h 99879"/>
                <a:gd name="connsiteX1" fmla="*/ 4756 w 99562"/>
                <a:gd name="connsiteY1" fmla="*/ 94806 h 99879"/>
                <a:gd name="connsiteX2" fmla="*/ 4756 w 99562"/>
                <a:gd name="connsiteY2" fmla="*/ 70708 h 99879"/>
                <a:gd name="connsiteX3" fmla="*/ 70708 w 99562"/>
                <a:gd name="connsiteY3" fmla="*/ 4756 h 99879"/>
                <a:gd name="connsiteX4" fmla="*/ 94806 w 99562"/>
                <a:gd name="connsiteY4" fmla="*/ 4756 h 99879"/>
                <a:gd name="connsiteX5" fmla="*/ 94806 w 99562"/>
                <a:gd name="connsiteY5" fmla="*/ 28854 h 99879"/>
                <a:gd name="connsiteX6" fmla="*/ 28854 w 99562"/>
                <a:gd name="connsiteY6" fmla="*/ 94806 h 99879"/>
                <a:gd name="connsiteX7" fmla="*/ 16805 w 99562"/>
                <a:gd name="connsiteY7" fmla="*/ 99879 h 99879"/>
                <a:gd name="connsiteX8" fmla="*/ 16805 w 99562"/>
                <a:gd name="connsiteY8" fmla="*/ 99879 h 9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9562" h="99879">
                  <a:moveTo>
                    <a:pt x="16805" y="99879"/>
                  </a:moveTo>
                  <a:cubicBezTo>
                    <a:pt x="12366" y="99879"/>
                    <a:pt x="7927" y="97977"/>
                    <a:pt x="4756" y="94806"/>
                  </a:cubicBezTo>
                  <a:cubicBezTo>
                    <a:pt x="-1585" y="88465"/>
                    <a:pt x="-1585" y="77684"/>
                    <a:pt x="4756" y="70708"/>
                  </a:cubicBezTo>
                  <a:lnTo>
                    <a:pt x="70708" y="4756"/>
                  </a:lnTo>
                  <a:cubicBezTo>
                    <a:pt x="77050" y="-1585"/>
                    <a:pt x="87831" y="-1585"/>
                    <a:pt x="94806" y="4756"/>
                  </a:cubicBezTo>
                  <a:cubicBezTo>
                    <a:pt x="101148" y="11098"/>
                    <a:pt x="101148" y="21878"/>
                    <a:pt x="94806" y="28854"/>
                  </a:cubicBezTo>
                  <a:lnTo>
                    <a:pt x="28854" y="94806"/>
                  </a:lnTo>
                  <a:cubicBezTo>
                    <a:pt x="25050" y="97977"/>
                    <a:pt x="21245" y="99879"/>
                    <a:pt x="16805" y="99879"/>
                  </a:cubicBezTo>
                  <a:lnTo>
                    <a:pt x="16805" y="99879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70" name="Forma Livre: Forma 169">
              <a:extLst>
                <a:ext uri="{FF2B5EF4-FFF2-40B4-BE49-F238E27FC236}">
                  <a16:creationId xmlns:a16="http://schemas.microsoft.com/office/drawing/2014/main" id="{13517D7D-7250-455E-A59B-67754E6D2283}"/>
                </a:ext>
              </a:extLst>
            </p:cNvPr>
            <p:cNvSpPr/>
            <p:nvPr/>
          </p:nvSpPr>
          <p:spPr>
            <a:xfrm>
              <a:off x="9732554" y="3952095"/>
              <a:ext cx="99562" cy="100119"/>
            </a:xfrm>
            <a:custGeom>
              <a:avLst/>
              <a:gdLst>
                <a:gd name="connsiteX0" fmla="*/ 82757 w 99562"/>
                <a:gd name="connsiteY0" fmla="*/ 100120 h 100119"/>
                <a:gd name="connsiteX1" fmla="*/ 70708 w 99562"/>
                <a:gd name="connsiteY1" fmla="*/ 95047 h 100119"/>
                <a:gd name="connsiteX2" fmla="*/ 4756 w 99562"/>
                <a:gd name="connsiteY2" fmla="*/ 29095 h 100119"/>
                <a:gd name="connsiteX3" fmla="*/ 4756 w 99562"/>
                <a:gd name="connsiteY3" fmla="*/ 4997 h 100119"/>
                <a:gd name="connsiteX4" fmla="*/ 28854 w 99562"/>
                <a:gd name="connsiteY4" fmla="*/ 4997 h 100119"/>
                <a:gd name="connsiteX5" fmla="*/ 94806 w 99562"/>
                <a:gd name="connsiteY5" fmla="*/ 70949 h 100119"/>
                <a:gd name="connsiteX6" fmla="*/ 94806 w 99562"/>
                <a:gd name="connsiteY6" fmla="*/ 95047 h 100119"/>
                <a:gd name="connsiteX7" fmla="*/ 82757 w 99562"/>
                <a:gd name="connsiteY7" fmla="*/ 100120 h 100119"/>
                <a:gd name="connsiteX8" fmla="*/ 82757 w 99562"/>
                <a:gd name="connsiteY8" fmla="*/ 100120 h 100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9562" h="100119">
                  <a:moveTo>
                    <a:pt x="82757" y="100120"/>
                  </a:moveTo>
                  <a:cubicBezTo>
                    <a:pt x="78319" y="100120"/>
                    <a:pt x="73879" y="98218"/>
                    <a:pt x="70708" y="95047"/>
                  </a:cubicBezTo>
                  <a:lnTo>
                    <a:pt x="4756" y="29095"/>
                  </a:lnTo>
                  <a:cubicBezTo>
                    <a:pt x="-1585" y="22753"/>
                    <a:pt x="-1585" y="11972"/>
                    <a:pt x="4756" y="4997"/>
                  </a:cubicBezTo>
                  <a:cubicBezTo>
                    <a:pt x="11098" y="-1979"/>
                    <a:pt x="21879" y="-1345"/>
                    <a:pt x="28854" y="4997"/>
                  </a:cubicBezTo>
                  <a:lnTo>
                    <a:pt x="94806" y="70949"/>
                  </a:lnTo>
                  <a:cubicBezTo>
                    <a:pt x="101148" y="77290"/>
                    <a:pt x="101148" y="88071"/>
                    <a:pt x="94806" y="95047"/>
                  </a:cubicBezTo>
                  <a:cubicBezTo>
                    <a:pt x="91002" y="98218"/>
                    <a:pt x="87196" y="100120"/>
                    <a:pt x="82757" y="100120"/>
                  </a:cubicBezTo>
                  <a:lnTo>
                    <a:pt x="82757" y="100120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71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10500486" y="3592792"/>
            <a:ext cx="371979" cy="474088"/>
            <a:chOff x="10550184" y="3627332"/>
            <a:chExt cx="376163" cy="479420"/>
          </a:xfrm>
          <a:solidFill>
            <a:srgbClr val="B1B1A1"/>
          </a:solidFill>
        </p:grpSpPr>
        <p:sp>
          <p:nvSpPr>
            <p:cNvPr id="172" name="Forma Livre: Forma 171">
              <a:extLst>
                <a:ext uri="{FF2B5EF4-FFF2-40B4-BE49-F238E27FC236}">
                  <a16:creationId xmlns:a16="http://schemas.microsoft.com/office/drawing/2014/main" id="{5BC05478-7BA8-45AF-8035-52C419E7152C}"/>
                </a:ext>
              </a:extLst>
            </p:cNvPr>
            <p:cNvSpPr/>
            <p:nvPr/>
          </p:nvSpPr>
          <p:spPr>
            <a:xfrm>
              <a:off x="10616881" y="3627332"/>
              <a:ext cx="162343" cy="181367"/>
            </a:xfrm>
            <a:custGeom>
              <a:avLst/>
              <a:gdLst>
                <a:gd name="connsiteX0" fmla="*/ 81171 w 162343"/>
                <a:gd name="connsiteY0" fmla="*/ 181368 h 181367"/>
                <a:gd name="connsiteX1" fmla="*/ 0 w 162343"/>
                <a:gd name="connsiteY1" fmla="*/ 90684 h 181367"/>
                <a:gd name="connsiteX2" fmla="*/ 81171 w 162343"/>
                <a:gd name="connsiteY2" fmla="*/ 0 h 181367"/>
                <a:gd name="connsiteX3" fmla="*/ 162343 w 162343"/>
                <a:gd name="connsiteY3" fmla="*/ 90684 h 181367"/>
                <a:gd name="connsiteX4" fmla="*/ 81171 w 162343"/>
                <a:gd name="connsiteY4" fmla="*/ 181368 h 181367"/>
                <a:gd name="connsiteX5" fmla="*/ 81171 w 162343"/>
                <a:gd name="connsiteY5" fmla="*/ 181368 h 181367"/>
                <a:gd name="connsiteX6" fmla="*/ 81171 w 162343"/>
                <a:gd name="connsiteY6" fmla="*/ 33610 h 181367"/>
                <a:gd name="connsiteX7" fmla="*/ 33610 w 162343"/>
                <a:gd name="connsiteY7" fmla="*/ 90684 h 181367"/>
                <a:gd name="connsiteX8" fmla="*/ 81171 w 162343"/>
                <a:gd name="connsiteY8" fmla="*/ 147758 h 181367"/>
                <a:gd name="connsiteX9" fmla="*/ 128733 w 162343"/>
                <a:gd name="connsiteY9" fmla="*/ 90684 h 181367"/>
                <a:gd name="connsiteX10" fmla="*/ 81171 w 162343"/>
                <a:gd name="connsiteY10" fmla="*/ 33610 h 181367"/>
                <a:gd name="connsiteX11" fmla="*/ 81171 w 162343"/>
                <a:gd name="connsiteY11" fmla="*/ 33610 h 181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2343" h="181367">
                  <a:moveTo>
                    <a:pt x="81171" y="181368"/>
                  </a:moveTo>
                  <a:cubicBezTo>
                    <a:pt x="36780" y="181368"/>
                    <a:pt x="0" y="140782"/>
                    <a:pt x="0" y="90684"/>
                  </a:cubicBezTo>
                  <a:cubicBezTo>
                    <a:pt x="0" y="40586"/>
                    <a:pt x="36146" y="0"/>
                    <a:pt x="81171" y="0"/>
                  </a:cubicBezTo>
                  <a:cubicBezTo>
                    <a:pt x="125562" y="0"/>
                    <a:pt x="162343" y="40586"/>
                    <a:pt x="162343" y="90684"/>
                  </a:cubicBezTo>
                  <a:cubicBezTo>
                    <a:pt x="161709" y="140782"/>
                    <a:pt x="125562" y="181368"/>
                    <a:pt x="81171" y="181368"/>
                  </a:cubicBezTo>
                  <a:lnTo>
                    <a:pt x="81171" y="181368"/>
                  </a:lnTo>
                  <a:close/>
                  <a:moveTo>
                    <a:pt x="81171" y="33610"/>
                  </a:moveTo>
                  <a:cubicBezTo>
                    <a:pt x="55171" y="33610"/>
                    <a:pt x="33610" y="58976"/>
                    <a:pt x="33610" y="90684"/>
                  </a:cubicBezTo>
                  <a:cubicBezTo>
                    <a:pt x="33610" y="122392"/>
                    <a:pt x="54537" y="147758"/>
                    <a:pt x="81171" y="147758"/>
                  </a:cubicBezTo>
                  <a:cubicBezTo>
                    <a:pt x="107172" y="147758"/>
                    <a:pt x="128733" y="122392"/>
                    <a:pt x="128733" y="90684"/>
                  </a:cubicBezTo>
                  <a:cubicBezTo>
                    <a:pt x="128099" y="58976"/>
                    <a:pt x="107172" y="33610"/>
                    <a:pt x="81171" y="33610"/>
                  </a:cubicBezTo>
                  <a:lnTo>
                    <a:pt x="81171" y="33610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73" name="Forma Livre: Forma 172">
              <a:extLst>
                <a:ext uri="{FF2B5EF4-FFF2-40B4-BE49-F238E27FC236}">
                  <a16:creationId xmlns:a16="http://schemas.microsoft.com/office/drawing/2014/main" id="{49082204-1F89-4588-9AEA-D78899DF495F}"/>
                </a:ext>
              </a:extLst>
            </p:cNvPr>
            <p:cNvSpPr/>
            <p:nvPr/>
          </p:nvSpPr>
          <p:spPr>
            <a:xfrm>
              <a:off x="10717077" y="3897482"/>
              <a:ext cx="209270" cy="209270"/>
            </a:xfrm>
            <a:custGeom>
              <a:avLst/>
              <a:gdLst>
                <a:gd name="connsiteX0" fmla="*/ 104635 w 209270"/>
                <a:gd name="connsiteY0" fmla="*/ 209271 h 209270"/>
                <a:gd name="connsiteX1" fmla="*/ 0 w 209270"/>
                <a:gd name="connsiteY1" fmla="*/ 104635 h 209270"/>
                <a:gd name="connsiteX2" fmla="*/ 104635 w 209270"/>
                <a:gd name="connsiteY2" fmla="*/ 0 h 209270"/>
                <a:gd name="connsiteX3" fmla="*/ 209271 w 209270"/>
                <a:gd name="connsiteY3" fmla="*/ 104635 h 209270"/>
                <a:gd name="connsiteX4" fmla="*/ 104635 w 209270"/>
                <a:gd name="connsiteY4" fmla="*/ 209271 h 209270"/>
                <a:gd name="connsiteX5" fmla="*/ 104635 w 209270"/>
                <a:gd name="connsiteY5" fmla="*/ 209271 h 209270"/>
                <a:gd name="connsiteX6" fmla="*/ 104635 w 209270"/>
                <a:gd name="connsiteY6" fmla="*/ 16488 h 209270"/>
                <a:gd name="connsiteX7" fmla="*/ 16489 w 209270"/>
                <a:gd name="connsiteY7" fmla="*/ 104635 h 209270"/>
                <a:gd name="connsiteX8" fmla="*/ 104635 w 209270"/>
                <a:gd name="connsiteY8" fmla="*/ 192783 h 209270"/>
                <a:gd name="connsiteX9" fmla="*/ 192783 w 209270"/>
                <a:gd name="connsiteY9" fmla="*/ 104635 h 209270"/>
                <a:gd name="connsiteX10" fmla="*/ 104635 w 209270"/>
                <a:gd name="connsiteY10" fmla="*/ 16488 h 209270"/>
                <a:gd name="connsiteX11" fmla="*/ 104635 w 209270"/>
                <a:gd name="connsiteY11" fmla="*/ 16488 h 209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9270" h="209270">
                  <a:moveTo>
                    <a:pt x="104635" y="209271"/>
                  </a:moveTo>
                  <a:cubicBezTo>
                    <a:pt x="46928" y="209271"/>
                    <a:pt x="0" y="162344"/>
                    <a:pt x="0" y="104635"/>
                  </a:cubicBezTo>
                  <a:cubicBezTo>
                    <a:pt x="0" y="46928"/>
                    <a:pt x="46928" y="0"/>
                    <a:pt x="104635" y="0"/>
                  </a:cubicBezTo>
                  <a:cubicBezTo>
                    <a:pt x="162344" y="0"/>
                    <a:pt x="209271" y="46928"/>
                    <a:pt x="209271" y="104635"/>
                  </a:cubicBezTo>
                  <a:cubicBezTo>
                    <a:pt x="209271" y="162344"/>
                    <a:pt x="162344" y="209271"/>
                    <a:pt x="104635" y="209271"/>
                  </a:cubicBezTo>
                  <a:lnTo>
                    <a:pt x="104635" y="209271"/>
                  </a:lnTo>
                  <a:close/>
                  <a:moveTo>
                    <a:pt x="104635" y="16488"/>
                  </a:moveTo>
                  <a:cubicBezTo>
                    <a:pt x="56440" y="16488"/>
                    <a:pt x="16489" y="55805"/>
                    <a:pt x="16489" y="104635"/>
                  </a:cubicBezTo>
                  <a:cubicBezTo>
                    <a:pt x="16489" y="152831"/>
                    <a:pt x="55806" y="192783"/>
                    <a:pt x="104635" y="192783"/>
                  </a:cubicBezTo>
                  <a:cubicBezTo>
                    <a:pt x="152832" y="192783"/>
                    <a:pt x="192783" y="153465"/>
                    <a:pt x="192783" y="104635"/>
                  </a:cubicBezTo>
                  <a:cubicBezTo>
                    <a:pt x="192783" y="55805"/>
                    <a:pt x="152832" y="16488"/>
                    <a:pt x="104635" y="16488"/>
                  </a:cubicBezTo>
                  <a:lnTo>
                    <a:pt x="104635" y="16488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74" name="Forma Livre: Forma 173">
              <a:extLst>
                <a:ext uri="{FF2B5EF4-FFF2-40B4-BE49-F238E27FC236}">
                  <a16:creationId xmlns:a16="http://schemas.microsoft.com/office/drawing/2014/main" id="{5532CFC2-43AB-4013-8FD0-3F7B83A2E1DE}"/>
                </a:ext>
              </a:extLst>
            </p:cNvPr>
            <p:cNvSpPr/>
            <p:nvPr/>
          </p:nvSpPr>
          <p:spPr>
            <a:xfrm>
              <a:off x="10550184" y="3832005"/>
              <a:ext cx="289284" cy="185965"/>
            </a:xfrm>
            <a:custGeom>
              <a:avLst/>
              <a:gdLst>
                <a:gd name="connsiteX0" fmla="*/ 175137 w 289284"/>
                <a:gd name="connsiteY0" fmla="*/ 185966 h 185965"/>
                <a:gd name="connsiteX1" fmla="*/ 22940 w 289284"/>
                <a:gd name="connsiteY1" fmla="*/ 185966 h 185965"/>
                <a:gd name="connsiteX2" fmla="*/ 5818 w 289284"/>
                <a:gd name="connsiteY2" fmla="*/ 170112 h 185965"/>
                <a:gd name="connsiteX3" fmla="*/ 111 w 289284"/>
                <a:gd name="connsiteY3" fmla="*/ 90209 h 185965"/>
                <a:gd name="connsiteX4" fmla="*/ 49574 w 289284"/>
                <a:gd name="connsiteY4" fmla="*/ 16647 h 185965"/>
                <a:gd name="connsiteX5" fmla="*/ 241723 w 289284"/>
                <a:gd name="connsiteY5" fmla="*/ 16647 h 185965"/>
                <a:gd name="connsiteX6" fmla="*/ 289285 w 289284"/>
                <a:gd name="connsiteY6" fmla="*/ 69282 h 185965"/>
                <a:gd name="connsiteX7" fmla="*/ 256943 w 289284"/>
                <a:gd name="connsiteY7" fmla="*/ 78794 h 185965"/>
                <a:gd name="connsiteX8" fmla="*/ 230308 w 289284"/>
                <a:gd name="connsiteY8" fmla="*/ 48354 h 185965"/>
                <a:gd name="connsiteX9" fmla="*/ 61623 w 289284"/>
                <a:gd name="connsiteY9" fmla="*/ 48354 h 185965"/>
                <a:gd name="connsiteX10" fmla="*/ 33721 w 289284"/>
                <a:gd name="connsiteY10" fmla="*/ 88306 h 185965"/>
                <a:gd name="connsiteX11" fmla="*/ 38160 w 289284"/>
                <a:gd name="connsiteY11" fmla="*/ 152356 h 185965"/>
                <a:gd name="connsiteX12" fmla="*/ 175137 w 289284"/>
                <a:gd name="connsiteY12" fmla="*/ 152356 h 185965"/>
                <a:gd name="connsiteX13" fmla="*/ 175137 w 289284"/>
                <a:gd name="connsiteY13" fmla="*/ 185966 h 185965"/>
                <a:gd name="connsiteX14" fmla="*/ 175137 w 289284"/>
                <a:gd name="connsiteY14" fmla="*/ 185966 h 185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89284" h="185965">
                  <a:moveTo>
                    <a:pt x="175137" y="185966"/>
                  </a:moveTo>
                  <a:lnTo>
                    <a:pt x="22940" y="185966"/>
                  </a:lnTo>
                  <a:cubicBezTo>
                    <a:pt x="14062" y="185966"/>
                    <a:pt x="6452" y="178990"/>
                    <a:pt x="5818" y="170112"/>
                  </a:cubicBezTo>
                  <a:lnTo>
                    <a:pt x="111" y="90209"/>
                  </a:lnTo>
                  <a:cubicBezTo>
                    <a:pt x="-1792" y="61037"/>
                    <a:pt x="21038" y="26793"/>
                    <a:pt x="49574" y="16647"/>
                  </a:cubicBezTo>
                  <a:cubicBezTo>
                    <a:pt x="111722" y="-5549"/>
                    <a:pt x="179576" y="-5549"/>
                    <a:pt x="241723" y="16647"/>
                  </a:cubicBezTo>
                  <a:cubicBezTo>
                    <a:pt x="263919" y="24891"/>
                    <a:pt x="282309" y="45183"/>
                    <a:pt x="289285" y="69282"/>
                  </a:cubicBezTo>
                  <a:lnTo>
                    <a:pt x="256943" y="78794"/>
                  </a:lnTo>
                  <a:cubicBezTo>
                    <a:pt x="253138" y="65476"/>
                    <a:pt x="242357" y="52793"/>
                    <a:pt x="230308" y="48354"/>
                  </a:cubicBezTo>
                  <a:cubicBezTo>
                    <a:pt x="175771" y="28696"/>
                    <a:pt x="116161" y="28696"/>
                    <a:pt x="61623" y="48354"/>
                  </a:cubicBezTo>
                  <a:cubicBezTo>
                    <a:pt x="45136" y="54696"/>
                    <a:pt x="33087" y="74989"/>
                    <a:pt x="33721" y="88306"/>
                  </a:cubicBezTo>
                  <a:lnTo>
                    <a:pt x="38160" y="152356"/>
                  </a:lnTo>
                  <a:lnTo>
                    <a:pt x="175137" y="152356"/>
                  </a:lnTo>
                  <a:lnTo>
                    <a:pt x="175137" y="185966"/>
                  </a:lnTo>
                  <a:lnTo>
                    <a:pt x="175137" y="185966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75" name="Forma Livre: Forma 174">
              <a:extLst>
                <a:ext uri="{FF2B5EF4-FFF2-40B4-BE49-F238E27FC236}">
                  <a16:creationId xmlns:a16="http://schemas.microsoft.com/office/drawing/2014/main" id="{621D4B2D-98EA-4F4B-9916-221782D3FE02}"/>
                </a:ext>
              </a:extLst>
            </p:cNvPr>
            <p:cNvSpPr/>
            <p:nvPr/>
          </p:nvSpPr>
          <p:spPr>
            <a:xfrm>
              <a:off x="10759959" y="3954766"/>
              <a:ext cx="122421" cy="108229"/>
            </a:xfrm>
            <a:custGeom>
              <a:avLst/>
              <a:gdLst>
                <a:gd name="connsiteX0" fmla="*/ 44632 w 122421"/>
                <a:gd name="connsiteY0" fmla="*/ 108230 h 108229"/>
                <a:gd name="connsiteX1" fmla="*/ 32583 w 122421"/>
                <a:gd name="connsiteY1" fmla="*/ 103156 h 108229"/>
                <a:gd name="connsiteX2" fmla="*/ 4680 w 122421"/>
                <a:gd name="connsiteY2" fmla="*/ 73985 h 108229"/>
                <a:gd name="connsiteX3" fmla="*/ 5314 w 122421"/>
                <a:gd name="connsiteY3" fmla="*/ 49888 h 108229"/>
                <a:gd name="connsiteX4" fmla="*/ 29412 w 122421"/>
                <a:gd name="connsiteY4" fmla="*/ 50522 h 108229"/>
                <a:gd name="connsiteX5" fmla="*/ 43998 w 122421"/>
                <a:gd name="connsiteY5" fmla="*/ 65741 h 108229"/>
                <a:gd name="connsiteX6" fmla="*/ 92827 w 122421"/>
                <a:gd name="connsiteY6" fmla="*/ 6131 h 108229"/>
                <a:gd name="connsiteX7" fmla="*/ 116291 w 122421"/>
                <a:gd name="connsiteY7" fmla="*/ 3594 h 108229"/>
                <a:gd name="connsiteX8" fmla="*/ 118827 w 122421"/>
                <a:gd name="connsiteY8" fmla="*/ 27058 h 108229"/>
                <a:gd name="connsiteX9" fmla="*/ 57949 w 122421"/>
                <a:gd name="connsiteY9" fmla="*/ 101888 h 108229"/>
                <a:gd name="connsiteX10" fmla="*/ 44632 w 122421"/>
                <a:gd name="connsiteY10" fmla="*/ 108230 h 108229"/>
                <a:gd name="connsiteX11" fmla="*/ 44632 w 122421"/>
                <a:gd name="connsiteY11" fmla="*/ 108230 h 108229"/>
                <a:gd name="connsiteX12" fmla="*/ 44632 w 122421"/>
                <a:gd name="connsiteY12" fmla="*/ 108230 h 108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2421" h="108229">
                  <a:moveTo>
                    <a:pt x="44632" y="108230"/>
                  </a:moveTo>
                  <a:cubicBezTo>
                    <a:pt x="40193" y="108230"/>
                    <a:pt x="35753" y="106327"/>
                    <a:pt x="32583" y="103156"/>
                  </a:cubicBezTo>
                  <a:lnTo>
                    <a:pt x="4680" y="73985"/>
                  </a:lnTo>
                  <a:cubicBezTo>
                    <a:pt x="-1662" y="67010"/>
                    <a:pt x="-1662" y="56863"/>
                    <a:pt x="5314" y="49888"/>
                  </a:cubicBezTo>
                  <a:cubicBezTo>
                    <a:pt x="12290" y="43546"/>
                    <a:pt x="22436" y="43546"/>
                    <a:pt x="29412" y="50522"/>
                  </a:cubicBezTo>
                  <a:lnTo>
                    <a:pt x="43998" y="65741"/>
                  </a:lnTo>
                  <a:lnTo>
                    <a:pt x="92827" y="6131"/>
                  </a:lnTo>
                  <a:cubicBezTo>
                    <a:pt x="98535" y="-845"/>
                    <a:pt x="109315" y="-2113"/>
                    <a:pt x="116291" y="3594"/>
                  </a:cubicBezTo>
                  <a:cubicBezTo>
                    <a:pt x="123267" y="9302"/>
                    <a:pt x="124535" y="20082"/>
                    <a:pt x="118827" y="27058"/>
                  </a:cubicBezTo>
                  <a:lnTo>
                    <a:pt x="57949" y="101888"/>
                  </a:lnTo>
                  <a:cubicBezTo>
                    <a:pt x="54778" y="105693"/>
                    <a:pt x="50339" y="107595"/>
                    <a:pt x="44632" y="108230"/>
                  </a:cubicBezTo>
                  <a:cubicBezTo>
                    <a:pt x="45266" y="108230"/>
                    <a:pt x="44632" y="108230"/>
                    <a:pt x="44632" y="108230"/>
                  </a:cubicBezTo>
                  <a:lnTo>
                    <a:pt x="44632" y="108230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76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2330105" y="1569139"/>
            <a:ext cx="349294" cy="393819"/>
            <a:chOff x="2287907" y="1580918"/>
            <a:chExt cx="353223" cy="398248"/>
          </a:xfrm>
          <a:solidFill>
            <a:srgbClr val="B1B1A1"/>
          </a:solidFill>
        </p:grpSpPr>
        <p:sp>
          <p:nvSpPr>
            <p:cNvPr id="177" name="Forma Livre: Forma 176">
              <a:extLst>
                <a:ext uri="{FF2B5EF4-FFF2-40B4-BE49-F238E27FC236}">
                  <a16:creationId xmlns:a16="http://schemas.microsoft.com/office/drawing/2014/main" id="{F26695B7-2B0E-4963-A047-EB48611EDE7F}"/>
                </a:ext>
              </a:extLst>
            </p:cNvPr>
            <p:cNvSpPr/>
            <p:nvPr/>
          </p:nvSpPr>
          <p:spPr>
            <a:xfrm>
              <a:off x="2415372" y="1658285"/>
              <a:ext cx="145855" cy="89415"/>
            </a:xfrm>
            <a:custGeom>
              <a:avLst/>
              <a:gdLst>
                <a:gd name="connsiteX0" fmla="*/ 137611 w 145855"/>
                <a:gd name="connsiteY0" fmla="*/ 89416 h 89415"/>
                <a:gd name="connsiteX1" fmla="*/ 8244 w 145855"/>
                <a:gd name="connsiteY1" fmla="*/ 89416 h 89415"/>
                <a:gd name="connsiteX2" fmla="*/ 0 w 145855"/>
                <a:gd name="connsiteY2" fmla="*/ 81172 h 89415"/>
                <a:gd name="connsiteX3" fmla="*/ 0 w 145855"/>
                <a:gd name="connsiteY3" fmla="*/ 8244 h 89415"/>
                <a:gd name="connsiteX4" fmla="*/ 8244 w 145855"/>
                <a:gd name="connsiteY4" fmla="*/ 0 h 89415"/>
                <a:gd name="connsiteX5" fmla="*/ 137611 w 145855"/>
                <a:gd name="connsiteY5" fmla="*/ 0 h 89415"/>
                <a:gd name="connsiteX6" fmla="*/ 145855 w 145855"/>
                <a:gd name="connsiteY6" fmla="*/ 8244 h 89415"/>
                <a:gd name="connsiteX7" fmla="*/ 145855 w 145855"/>
                <a:gd name="connsiteY7" fmla="*/ 81172 h 89415"/>
                <a:gd name="connsiteX8" fmla="*/ 137611 w 145855"/>
                <a:gd name="connsiteY8" fmla="*/ 89416 h 89415"/>
                <a:gd name="connsiteX9" fmla="*/ 137611 w 145855"/>
                <a:gd name="connsiteY9" fmla="*/ 89416 h 89415"/>
                <a:gd name="connsiteX10" fmla="*/ 16488 w 145855"/>
                <a:gd name="connsiteY10" fmla="*/ 72294 h 89415"/>
                <a:gd name="connsiteX11" fmla="*/ 129367 w 145855"/>
                <a:gd name="connsiteY11" fmla="*/ 72294 h 89415"/>
                <a:gd name="connsiteX12" fmla="*/ 129367 w 145855"/>
                <a:gd name="connsiteY12" fmla="*/ 15854 h 89415"/>
                <a:gd name="connsiteX13" fmla="*/ 16488 w 145855"/>
                <a:gd name="connsiteY13" fmla="*/ 15854 h 89415"/>
                <a:gd name="connsiteX14" fmla="*/ 16488 w 145855"/>
                <a:gd name="connsiteY14" fmla="*/ 72294 h 89415"/>
                <a:gd name="connsiteX15" fmla="*/ 16488 w 145855"/>
                <a:gd name="connsiteY15" fmla="*/ 72294 h 89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5855" h="89415">
                  <a:moveTo>
                    <a:pt x="137611" y="89416"/>
                  </a:moveTo>
                  <a:lnTo>
                    <a:pt x="8244" y="89416"/>
                  </a:lnTo>
                  <a:cubicBezTo>
                    <a:pt x="3805" y="89416"/>
                    <a:pt x="0" y="85611"/>
                    <a:pt x="0" y="81172"/>
                  </a:cubicBezTo>
                  <a:lnTo>
                    <a:pt x="0" y="8244"/>
                  </a:lnTo>
                  <a:cubicBezTo>
                    <a:pt x="0" y="3805"/>
                    <a:pt x="3805" y="0"/>
                    <a:pt x="8244" y="0"/>
                  </a:cubicBezTo>
                  <a:lnTo>
                    <a:pt x="137611" y="0"/>
                  </a:lnTo>
                  <a:cubicBezTo>
                    <a:pt x="142050" y="0"/>
                    <a:pt x="145855" y="3805"/>
                    <a:pt x="145855" y="8244"/>
                  </a:cubicBezTo>
                  <a:lnTo>
                    <a:pt x="145855" y="81172"/>
                  </a:lnTo>
                  <a:cubicBezTo>
                    <a:pt x="145855" y="85611"/>
                    <a:pt x="142050" y="89416"/>
                    <a:pt x="137611" y="89416"/>
                  </a:cubicBezTo>
                  <a:lnTo>
                    <a:pt x="137611" y="89416"/>
                  </a:lnTo>
                  <a:close/>
                  <a:moveTo>
                    <a:pt x="16488" y="72294"/>
                  </a:moveTo>
                  <a:lnTo>
                    <a:pt x="129367" y="72294"/>
                  </a:lnTo>
                  <a:lnTo>
                    <a:pt x="129367" y="15854"/>
                  </a:lnTo>
                  <a:lnTo>
                    <a:pt x="16488" y="15854"/>
                  </a:lnTo>
                  <a:lnTo>
                    <a:pt x="16488" y="72294"/>
                  </a:lnTo>
                  <a:lnTo>
                    <a:pt x="16488" y="7229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178" name="Gráfico 2">
              <a:extLst>
                <a:ext uri="{FF2B5EF4-FFF2-40B4-BE49-F238E27FC236}">
                  <a16:creationId xmlns:a16="http://schemas.microsoft.com/office/drawing/2014/main" id="{DC80C217-93B8-4831-A8BE-0817F1F32ECF}"/>
                </a:ext>
              </a:extLst>
            </p:cNvPr>
            <p:cNvGrpSpPr/>
            <p:nvPr/>
          </p:nvGrpSpPr>
          <p:grpSpPr>
            <a:xfrm>
              <a:off x="2287907" y="1580918"/>
              <a:ext cx="353223" cy="398248"/>
              <a:chOff x="2287907" y="1580918"/>
              <a:chExt cx="353223" cy="398248"/>
            </a:xfrm>
            <a:grpFill/>
          </p:grpSpPr>
          <p:sp>
            <p:nvSpPr>
              <p:cNvPr id="179" name="Forma Livre: Forma 178">
                <a:extLst>
                  <a:ext uri="{FF2B5EF4-FFF2-40B4-BE49-F238E27FC236}">
                    <a16:creationId xmlns:a16="http://schemas.microsoft.com/office/drawing/2014/main" id="{53C82ABD-2058-4FCB-8F26-9192AADF6001}"/>
                  </a:ext>
                </a:extLst>
              </p:cNvPr>
              <p:cNvSpPr/>
              <p:nvPr/>
            </p:nvSpPr>
            <p:spPr>
              <a:xfrm>
                <a:off x="2317078" y="1580918"/>
                <a:ext cx="324052" cy="398248"/>
              </a:xfrm>
              <a:custGeom>
                <a:avLst/>
                <a:gdLst>
                  <a:gd name="connsiteX0" fmla="*/ 306930 w 324052"/>
                  <a:gd name="connsiteY0" fmla="*/ 398249 h 398248"/>
                  <a:gd name="connsiteX1" fmla="*/ 17122 w 324052"/>
                  <a:gd name="connsiteY1" fmla="*/ 398249 h 398248"/>
                  <a:gd name="connsiteX2" fmla="*/ 0 w 324052"/>
                  <a:gd name="connsiteY2" fmla="*/ 381126 h 398248"/>
                  <a:gd name="connsiteX3" fmla="*/ 0 w 324052"/>
                  <a:gd name="connsiteY3" fmla="*/ 17122 h 398248"/>
                  <a:gd name="connsiteX4" fmla="*/ 17122 w 324052"/>
                  <a:gd name="connsiteY4" fmla="*/ 0 h 398248"/>
                  <a:gd name="connsiteX5" fmla="*/ 306930 w 324052"/>
                  <a:gd name="connsiteY5" fmla="*/ 0 h 398248"/>
                  <a:gd name="connsiteX6" fmla="*/ 324052 w 324052"/>
                  <a:gd name="connsiteY6" fmla="*/ 17122 h 398248"/>
                  <a:gd name="connsiteX7" fmla="*/ 324052 w 324052"/>
                  <a:gd name="connsiteY7" fmla="*/ 381126 h 398248"/>
                  <a:gd name="connsiteX8" fmla="*/ 306930 w 324052"/>
                  <a:gd name="connsiteY8" fmla="*/ 398249 h 398248"/>
                  <a:gd name="connsiteX9" fmla="*/ 306930 w 324052"/>
                  <a:gd name="connsiteY9" fmla="*/ 398249 h 398248"/>
                  <a:gd name="connsiteX10" fmla="*/ 34244 w 324052"/>
                  <a:gd name="connsiteY10" fmla="*/ 364638 h 398248"/>
                  <a:gd name="connsiteX11" fmla="*/ 290442 w 324052"/>
                  <a:gd name="connsiteY11" fmla="*/ 364638 h 398248"/>
                  <a:gd name="connsiteX12" fmla="*/ 290442 w 324052"/>
                  <a:gd name="connsiteY12" fmla="*/ 34244 h 398248"/>
                  <a:gd name="connsiteX13" fmla="*/ 34244 w 324052"/>
                  <a:gd name="connsiteY13" fmla="*/ 34244 h 398248"/>
                  <a:gd name="connsiteX14" fmla="*/ 34244 w 324052"/>
                  <a:gd name="connsiteY14" fmla="*/ 364638 h 398248"/>
                  <a:gd name="connsiteX15" fmla="*/ 34244 w 324052"/>
                  <a:gd name="connsiteY15" fmla="*/ 364638 h 398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24052" h="398248">
                    <a:moveTo>
                      <a:pt x="306930" y="398249"/>
                    </a:moveTo>
                    <a:lnTo>
                      <a:pt x="17122" y="398249"/>
                    </a:lnTo>
                    <a:cubicBezTo>
                      <a:pt x="7610" y="398249"/>
                      <a:pt x="0" y="390639"/>
                      <a:pt x="0" y="381126"/>
                    </a:cubicBezTo>
                    <a:lnTo>
                      <a:pt x="0" y="17122"/>
                    </a:lnTo>
                    <a:cubicBezTo>
                      <a:pt x="0" y="7610"/>
                      <a:pt x="7610" y="0"/>
                      <a:pt x="17122" y="0"/>
                    </a:cubicBezTo>
                    <a:lnTo>
                      <a:pt x="306930" y="0"/>
                    </a:lnTo>
                    <a:cubicBezTo>
                      <a:pt x="316443" y="0"/>
                      <a:pt x="324052" y="7610"/>
                      <a:pt x="324052" y="17122"/>
                    </a:cubicBezTo>
                    <a:lnTo>
                      <a:pt x="324052" y="381126"/>
                    </a:lnTo>
                    <a:cubicBezTo>
                      <a:pt x="324052" y="390639"/>
                      <a:pt x="316443" y="398249"/>
                      <a:pt x="306930" y="398249"/>
                    </a:cubicBezTo>
                    <a:lnTo>
                      <a:pt x="306930" y="398249"/>
                    </a:lnTo>
                    <a:close/>
                    <a:moveTo>
                      <a:pt x="34244" y="364638"/>
                    </a:moveTo>
                    <a:lnTo>
                      <a:pt x="290442" y="364638"/>
                    </a:lnTo>
                    <a:lnTo>
                      <a:pt x="290442" y="34244"/>
                    </a:lnTo>
                    <a:lnTo>
                      <a:pt x="34244" y="34244"/>
                    </a:lnTo>
                    <a:lnTo>
                      <a:pt x="34244" y="364638"/>
                    </a:lnTo>
                    <a:lnTo>
                      <a:pt x="34244" y="364638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80" name="Forma Livre: Forma 179">
                <a:extLst>
                  <a:ext uri="{FF2B5EF4-FFF2-40B4-BE49-F238E27FC236}">
                    <a16:creationId xmlns:a16="http://schemas.microsoft.com/office/drawing/2014/main" id="{8E7A124D-C101-4E56-9CD3-5CE3230226EA}"/>
                  </a:ext>
                </a:extLst>
              </p:cNvPr>
              <p:cNvSpPr/>
              <p:nvPr/>
            </p:nvSpPr>
            <p:spPr>
              <a:xfrm>
                <a:off x="2287907" y="1648773"/>
                <a:ext cx="93220" cy="34244"/>
              </a:xfrm>
              <a:custGeom>
                <a:avLst/>
                <a:gdLst>
                  <a:gd name="connsiteX0" fmla="*/ 76098 w 93220"/>
                  <a:gd name="connsiteY0" fmla="*/ 34244 h 34244"/>
                  <a:gd name="connsiteX1" fmla="*/ 17122 w 93220"/>
                  <a:gd name="connsiteY1" fmla="*/ 34244 h 34244"/>
                  <a:gd name="connsiteX2" fmla="*/ 0 w 93220"/>
                  <a:gd name="connsiteY2" fmla="*/ 17122 h 34244"/>
                  <a:gd name="connsiteX3" fmla="*/ 17122 w 93220"/>
                  <a:gd name="connsiteY3" fmla="*/ 0 h 34244"/>
                  <a:gd name="connsiteX4" fmla="*/ 76098 w 93220"/>
                  <a:gd name="connsiteY4" fmla="*/ 0 h 34244"/>
                  <a:gd name="connsiteX5" fmla="*/ 93221 w 93220"/>
                  <a:gd name="connsiteY5" fmla="*/ 17122 h 34244"/>
                  <a:gd name="connsiteX6" fmla="*/ 76098 w 93220"/>
                  <a:gd name="connsiteY6" fmla="*/ 34244 h 34244"/>
                  <a:gd name="connsiteX7" fmla="*/ 76098 w 93220"/>
                  <a:gd name="connsiteY7" fmla="*/ 34244 h 34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3220" h="34244">
                    <a:moveTo>
                      <a:pt x="76098" y="34244"/>
                    </a:moveTo>
                    <a:lnTo>
                      <a:pt x="17122" y="34244"/>
                    </a:lnTo>
                    <a:cubicBezTo>
                      <a:pt x="7610" y="34244"/>
                      <a:pt x="0" y="26634"/>
                      <a:pt x="0" y="17122"/>
                    </a:cubicBezTo>
                    <a:cubicBezTo>
                      <a:pt x="0" y="7610"/>
                      <a:pt x="7610" y="0"/>
                      <a:pt x="17122" y="0"/>
                    </a:cubicBezTo>
                    <a:lnTo>
                      <a:pt x="76098" y="0"/>
                    </a:lnTo>
                    <a:cubicBezTo>
                      <a:pt x="85611" y="0"/>
                      <a:pt x="93221" y="7610"/>
                      <a:pt x="93221" y="17122"/>
                    </a:cubicBezTo>
                    <a:cubicBezTo>
                      <a:pt x="92586" y="26634"/>
                      <a:pt x="84977" y="34244"/>
                      <a:pt x="76098" y="34244"/>
                    </a:cubicBezTo>
                    <a:lnTo>
                      <a:pt x="76098" y="34244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81" name="Forma Livre: Forma 180">
                <a:extLst>
                  <a:ext uri="{FF2B5EF4-FFF2-40B4-BE49-F238E27FC236}">
                    <a16:creationId xmlns:a16="http://schemas.microsoft.com/office/drawing/2014/main" id="{B2CA6773-8845-4763-ADAD-CA95049377F0}"/>
                  </a:ext>
                </a:extLst>
              </p:cNvPr>
              <p:cNvSpPr/>
              <p:nvPr/>
            </p:nvSpPr>
            <p:spPr>
              <a:xfrm>
                <a:off x="2287907" y="1724237"/>
                <a:ext cx="93220" cy="34244"/>
              </a:xfrm>
              <a:custGeom>
                <a:avLst/>
                <a:gdLst>
                  <a:gd name="connsiteX0" fmla="*/ 76098 w 93220"/>
                  <a:gd name="connsiteY0" fmla="*/ 34244 h 34244"/>
                  <a:gd name="connsiteX1" fmla="*/ 17122 w 93220"/>
                  <a:gd name="connsiteY1" fmla="*/ 34244 h 34244"/>
                  <a:gd name="connsiteX2" fmla="*/ 0 w 93220"/>
                  <a:gd name="connsiteY2" fmla="*/ 17122 h 34244"/>
                  <a:gd name="connsiteX3" fmla="*/ 17122 w 93220"/>
                  <a:gd name="connsiteY3" fmla="*/ 0 h 34244"/>
                  <a:gd name="connsiteX4" fmla="*/ 76098 w 93220"/>
                  <a:gd name="connsiteY4" fmla="*/ 0 h 34244"/>
                  <a:gd name="connsiteX5" fmla="*/ 93221 w 93220"/>
                  <a:gd name="connsiteY5" fmla="*/ 17122 h 34244"/>
                  <a:gd name="connsiteX6" fmla="*/ 76098 w 93220"/>
                  <a:gd name="connsiteY6" fmla="*/ 34244 h 34244"/>
                  <a:gd name="connsiteX7" fmla="*/ 76098 w 93220"/>
                  <a:gd name="connsiteY7" fmla="*/ 34244 h 34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3220" h="34244">
                    <a:moveTo>
                      <a:pt x="76098" y="34244"/>
                    </a:moveTo>
                    <a:lnTo>
                      <a:pt x="17122" y="34244"/>
                    </a:lnTo>
                    <a:cubicBezTo>
                      <a:pt x="7610" y="34244"/>
                      <a:pt x="0" y="26634"/>
                      <a:pt x="0" y="17122"/>
                    </a:cubicBezTo>
                    <a:cubicBezTo>
                      <a:pt x="0" y="7610"/>
                      <a:pt x="7610" y="0"/>
                      <a:pt x="17122" y="0"/>
                    </a:cubicBezTo>
                    <a:lnTo>
                      <a:pt x="76098" y="0"/>
                    </a:lnTo>
                    <a:cubicBezTo>
                      <a:pt x="85611" y="0"/>
                      <a:pt x="93221" y="7610"/>
                      <a:pt x="93221" y="17122"/>
                    </a:cubicBezTo>
                    <a:cubicBezTo>
                      <a:pt x="92586" y="26634"/>
                      <a:pt x="84977" y="34244"/>
                      <a:pt x="76098" y="34244"/>
                    </a:cubicBezTo>
                    <a:lnTo>
                      <a:pt x="76098" y="34244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82" name="Forma Livre: Forma 181">
                <a:extLst>
                  <a:ext uri="{FF2B5EF4-FFF2-40B4-BE49-F238E27FC236}">
                    <a16:creationId xmlns:a16="http://schemas.microsoft.com/office/drawing/2014/main" id="{84BD4E94-2471-4C98-ACE3-5575DA7D7655}"/>
                  </a:ext>
                </a:extLst>
              </p:cNvPr>
              <p:cNvSpPr/>
              <p:nvPr/>
            </p:nvSpPr>
            <p:spPr>
              <a:xfrm>
                <a:off x="2287907" y="1799701"/>
                <a:ext cx="93220" cy="34244"/>
              </a:xfrm>
              <a:custGeom>
                <a:avLst/>
                <a:gdLst>
                  <a:gd name="connsiteX0" fmla="*/ 76098 w 93220"/>
                  <a:gd name="connsiteY0" fmla="*/ 34244 h 34244"/>
                  <a:gd name="connsiteX1" fmla="*/ 17122 w 93220"/>
                  <a:gd name="connsiteY1" fmla="*/ 34244 h 34244"/>
                  <a:gd name="connsiteX2" fmla="*/ 0 w 93220"/>
                  <a:gd name="connsiteY2" fmla="*/ 17122 h 34244"/>
                  <a:gd name="connsiteX3" fmla="*/ 17122 w 93220"/>
                  <a:gd name="connsiteY3" fmla="*/ 0 h 34244"/>
                  <a:gd name="connsiteX4" fmla="*/ 76098 w 93220"/>
                  <a:gd name="connsiteY4" fmla="*/ 0 h 34244"/>
                  <a:gd name="connsiteX5" fmla="*/ 93221 w 93220"/>
                  <a:gd name="connsiteY5" fmla="*/ 17122 h 34244"/>
                  <a:gd name="connsiteX6" fmla="*/ 76098 w 93220"/>
                  <a:gd name="connsiteY6" fmla="*/ 34244 h 34244"/>
                  <a:gd name="connsiteX7" fmla="*/ 76098 w 93220"/>
                  <a:gd name="connsiteY7" fmla="*/ 34244 h 34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3220" h="34244">
                    <a:moveTo>
                      <a:pt x="76098" y="34244"/>
                    </a:moveTo>
                    <a:lnTo>
                      <a:pt x="17122" y="34244"/>
                    </a:lnTo>
                    <a:cubicBezTo>
                      <a:pt x="7610" y="34244"/>
                      <a:pt x="0" y="26634"/>
                      <a:pt x="0" y="17122"/>
                    </a:cubicBezTo>
                    <a:cubicBezTo>
                      <a:pt x="0" y="7610"/>
                      <a:pt x="7610" y="0"/>
                      <a:pt x="17122" y="0"/>
                    </a:cubicBezTo>
                    <a:lnTo>
                      <a:pt x="76098" y="0"/>
                    </a:lnTo>
                    <a:cubicBezTo>
                      <a:pt x="85611" y="0"/>
                      <a:pt x="93221" y="7610"/>
                      <a:pt x="93221" y="17122"/>
                    </a:cubicBezTo>
                    <a:cubicBezTo>
                      <a:pt x="92586" y="26634"/>
                      <a:pt x="84977" y="34244"/>
                      <a:pt x="76098" y="34244"/>
                    </a:cubicBezTo>
                    <a:lnTo>
                      <a:pt x="76098" y="34244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83" name="Forma Livre: Forma 182">
                <a:extLst>
                  <a:ext uri="{FF2B5EF4-FFF2-40B4-BE49-F238E27FC236}">
                    <a16:creationId xmlns:a16="http://schemas.microsoft.com/office/drawing/2014/main" id="{75C9F9C9-46C1-461C-BA27-5CC9A9D543E7}"/>
                  </a:ext>
                </a:extLst>
              </p:cNvPr>
              <p:cNvSpPr/>
              <p:nvPr/>
            </p:nvSpPr>
            <p:spPr>
              <a:xfrm>
                <a:off x="2287907" y="1875165"/>
                <a:ext cx="93220" cy="34244"/>
              </a:xfrm>
              <a:custGeom>
                <a:avLst/>
                <a:gdLst>
                  <a:gd name="connsiteX0" fmla="*/ 76098 w 93220"/>
                  <a:gd name="connsiteY0" fmla="*/ 34244 h 34244"/>
                  <a:gd name="connsiteX1" fmla="*/ 17122 w 93220"/>
                  <a:gd name="connsiteY1" fmla="*/ 34244 h 34244"/>
                  <a:gd name="connsiteX2" fmla="*/ 0 w 93220"/>
                  <a:gd name="connsiteY2" fmla="*/ 17122 h 34244"/>
                  <a:gd name="connsiteX3" fmla="*/ 17122 w 93220"/>
                  <a:gd name="connsiteY3" fmla="*/ 0 h 34244"/>
                  <a:gd name="connsiteX4" fmla="*/ 76098 w 93220"/>
                  <a:gd name="connsiteY4" fmla="*/ 0 h 34244"/>
                  <a:gd name="connsiteX5" fmla="*/ 93221 w 93220"/>
                  <a:gd name="connsiteY5" fmla="*/ 17122 h 34244"/>
                  <a:gd name="connsiteX6" fmla="*/ 76098 w 93220"/>
                  <a:gd name="connsiteY6" fmla="*/ 34244 h 34244"/>
                  <a:gd name="connsiteX7" fmla="*/ 76098 w 93220"/>
                  <a:gd name="connsiteY7" fmla="*/ 34244 h 34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3220" h="34244">
                    <a:moveTo>
                      <a:pt x="76098" y="34244"/>
                    </a:moveTo>
                    <a:lnTo>
                      <a:pt x="17122" y="34244"/>
                    </a:lnTo>
                    <a:cubicBezTo>
                      <a:pt x="7610" y="34244"/>
                      <a:pt x="0" y="26635"/>
                      <a:pt x="0" y="17122"/>
                    </a:cubicBezTo>
                    <a:cubicBezTo>
                      <a:pt x="0" y="7610"/>
                      <a:pt x="7610" y="0"/>
                      <a:pt x="17122" y="0"/>
                    </a:cubicBezTo>
                    <a:lnTo>
                      <a:pt x="76098" y="0"/>
                    </a:lnTo>
                    <a:cubicBezTo>
                      <a:pt x="85611" y="0"/>
                      <a:pt x="93221" y="7610"/>
                      <a:pt x="93221" y="17122"/>
                    </a:cubicBezTo>
                    <a:cubicBezTo>
                      <a:pt x="92586" y="26635"/>
                      <a:pt x="84977" y="34244"/>
                      <a:pt x="76098" y="34244"/>
                    </a:cubicBezTo>
                    <a:lnTo>
                      <a:pt x="76098" y="34244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184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3351024" y="1567258"/>
            <a:ext cx="351821" cy="396954"/>
            <a:chOff x="3320309" y="1579016"/>
            <a:chExt cx="355778" cy="401419"/>
          </a:xfrm>
          <a:solidFill>
            <a:srgbClr val="B1B1A1"/>
          </a:solidFill>
        </p:grpSpPr>
        <p:sp>
          <p:nvSpPr>
            <p:cNvPr id="185" name="Forma Livre: Forma 184">
              <a:extLst>
                <a:ext uri="{FF2B5EF4-FFF2-40B4-BE49-F238E27FC236}">
                  <a16:creationId xmlns:a16="http://schemas.microsoft.com/office/drawing/2014/main" id="{12BCD9C1-B832-4402-84EC-8AE940E1409F}"/>
                </a:ext>
              </a:extLst>
            </p:cNvPr>
            <p:cNvSpPr/>
            <p:nvPr/>
          </p:nvSpPr>
          <p:spPr>
            <a:xfrm>
              <a:off x="3365968" y="1579016"/>
              <a:ext cx="310119" cy="401419"/>
            </a:xfrm>
            <a:custGeom>
              <a:avLst/>
              <a:gdLst>
                <a:gd name="connsiteX0" fmla="*/ 275223 w 310119"/>
                <a:gd name="connsiteY0" fmla="*/ 401419 h 401419"/>
                <a:gd name="connsiteX1" fmla="*/ 36147 w 310119"/>
                <a:gd name="connsiteY1" fmla="*/ 401419 h 401419"/>
                <a:gd name="connsiteX2" fmla="*/ 19025 w 310119"/>
                <a:gd name="connsiteY2" fmla="*/ 384297 h 401419"/>
                <a:gd name="connsiteX3" fmla="*/ 36147 w 310119"/>
                <a:gd name="connsiteY3" fmla="*/ 367175 h 401419"/>
                <a:gd name="connsiteX4" fmla="*/ 275223 w 310119"/>
                <a:gd name="connsiteY4" fmla="*/ 367175 h 401419"/>
                <a:gd name="connsiteX5" fmla="*/ 277125 w 310119"/>
                <a:gd name="connsiteY5" fmla="*/ 365273 h 401419"/>
                <a:gd name="connsiteX6" fmla="*/ 277125 w 310119"/>
                <a:gd name="connsiteY6" fmla="*/ 35513 h 401419"/>
                <a:gd name="connsiteX7" fmla="*/ 275223 w 310119"/>
                <a:gd name="connsiteY7" fmla="*/ 33610 h 401419"/>
                <a:gd name="connsiteX8" fmla="*/ 36147 w 310119"/>
                <a:gd name="connsiteY8" fmla="*/ 33610 h 401419"/>
                <a:gd name="connsiteX9" fmla="*/ 34244 w 310119"/>
                <a:gd name="connsiteY9" fmla="*/ 35513 h 401419"/>
                <a:gd name="connsiteX10" fmla="*/ 34244 w 310119"/>
                <a:gd name="connsiteY10" fmla="*/ 332297 h 401419"/>
                <a:gd name="connsiteX11" fmla="*/ 17122 w 310119"/>
                <a:gd name="connsiteY11" fmla="*/ 349419 h 401419"/>
                <a:gd name="connsiteX12" fmla="*/ 0 w 310119"/>
                <a:gd name="connsiteY12" fmla="*/ 332297 h 401419"/>
                <a:gd name="connsiteX13" fmla="*/ 0 w 310119"/>
                <a:gd name="connsiteY13" fmla="*/ 35513 h 401419"/>
                <a:gd name="connsiteX14" fmla="*/ 35513 w 310119"/>
                <a:gd name="connsiteY14" fmla="*/ 0 h 401419"/>
                <a:gd name="connsiteX15" fmla="*/ 274588 w 310119"/>
                <a:gd name="connsiteY15" fmla="*/ 0 h 401419"/>
                <a:gd name="connsiteX16" fmla="*/ 310101 w 310119"/>
                <a:gd name="connsiteY16" fmla="*/ 35513 h 401419"/>
                <a:gd name="connsiteX17" fmla="*/ 310101 w 310119"/>
                <a:gd name="connsiteY17" fmla="*/ 365273 h 401419"/>
                <a:gd name="connsiteX18" fmla="*/ 275223 w 310119"/>
                <a:gd name="connsiteY18" fmla="*/ 401419 h 401419"/>
                <a:gd name="connsiteX19" fmla="*/ 275223 w 310119"/>
                <a:gd name="connsiteY19" fmla="*/ 401419 h 401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10119" h="401419">
                  <a:moveTo>
                    <a:pt x="275223" y="401419"/>
                  </a:moveTo>
                  <a:lnTo>
                    <a:pt x="36147" y="401419"/>
                  </a:lnTo>
                  <a:cubicBezTo>
                    <a:pt x="26635" y="401419"/>
                    <a:pt x="19025" y="393810"/>
                    <a:pt x="19025" y="384297"/>
                  </a:cubicBezTo>
                  <a:cubicBezTo>
                    <a:pt x="19025" y="374785"/>
                    <a:pt x="26635" y="367175"/>
                    <a:pt x="36147" y="367175"/>
                  </a:cubicBezTo>
                  <a:lnTo>
                    <a:pt x="275223" y="367175"/>
                  </a:lnTo>
                  <a:cubicBezTo>
                    <a:pt x="275857" y="367175"/>
                    <a:pt x="277125" y="366541"/>
                    <a:pt x="277125" y="365273"/>
                  </a:cubicBezTo>
                  <a:lnTo>
                    <a:pt x="277125" y="35513"/>
                  </a:lnTo>
                  <a:cubicBezTo>
                    <a:pt x="277125" y="34878"/>
                    <a:pt x="276491" y="33610"/>
                    <a:pt x="275223" y="33610"/>
                  </a:cubicBezTo>
                  <a:lnTo>
                    <a:pt x="36147" y="33610"/>
                  </a:lnTo>
                  <a:cubicBezTo>
                    <a:pt x="35513" y="33610"/>
                    <a:pt x="34244" y="34244"/>
                    <a:pt x="34244" y="35513"/>
                  </a:cubicBezTo>
                  <a:lnTo>
                    <a:pt x="34244" y="332297"/>
                  </a:lnTo>
                  <a:cubicBezTo>
                    <a:pt x="34244" y="341809"/>
                    <a:pt x="26635" y="349419"/>
                    <a:pt x="17122" y="349419"/>
                  </a:cubicBezTo>
                  <a:cubicBezTo>
                    <a:pt x="7610" y="349419"/>
                    <a:pt x="0" y="341809"/>
                    <a:pt x="0" y="332297"/>
                  </a:cubicBezTo>
                  <a:lnTo>
                    <a:pt x="0" y="35513"/>
                  </a:lnTo>
                  <a:cubicBezTo>
                    <a:pt x="0" y="15854"/>
                    <a:pt x="15854" y="0"/>
                    <a:pt x="35513" y="0"/>
                  </a:cubicBezTo>
                  <a:lnTo>
                    <a:pt x="274588" y="0"/>
                  </a:lnTo>
                  <a:cubicBezTo>
                    <a:pt x="294247" y="0"/>
                    <a:pt x="310101" y="15854"/>
                    <a:pt x="310101" y="35513"/>
                  </a:cubicBezTo>
                  <a:lnTo>
                    <a:pt x="310101" y="365273"/>
                  </a:lnTo>
                  <a:cubicBezTo>
                    <a:pt x="310735" y="385565"/>
                    <a:pt x="294881" y="401419"/>
                    <a:pt x="275223" y="401419"/>
                  </a:cubicBezTo>
                  <a:lnTo>
                    <a:pt x="275223" y="401419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86" name="Forma Livre: Forma 185">
              <a:extLst>
                <a:ext uri="{FF2B5EF4-FFF2-40B4-BE49-F238E27FC236}">
                  <a16:creationId xmlns:a16="http://schemas.microsoft.com/office/drawing/2014/main" id="{0843545D-4601-453A-A632-F9D99E4B093F}"/>
                </a:ext>
              </a:extLst>
            </p:cNvPr>
            <p:cNvSpPr/>
            <p:nvPr/>
          </p:nvSpPr>
          <p:spPr>
            <a:xfrm>
              <a:off x="3423042" y="1727408"/>
              <a:ext cx="89415" cy="16487"/>
            </a:xfrm>
            <a:custGeom>
              <a:avLst/>
              <a:gdLst>
                <a:gd name="connsiteX0" fmla="*/ 81172 w 89415"/>
                <a:gd name="connsiteY0" fmla="*/ 16488 h 16487"/>
                <a:gd name="connsiteX1" fmla="*/ 8244 w 89415"/>
                <a:gd name="connsiteY1" fmla="*/ 16488 h 16487"/>
                <a:gd name="connsiteX2" fmla="*/ 0 w 89415"/>
                <a:gd name="connsiteY2" fmla="*/ 8244 h 16487"/>
                <a:gd name="connsiteX3" fmla="*/ 8244 w 89415"/>
                <a:gd name="connsiteY3" fmla="*/ 0 h 16487"/>
                <a:gd name="connsiteX4" fmla="*/ 81172 w 89415"/>
                <a:gd name="connsiteY4" fmla="*/ 0 h 16487"/>
                <a:gd name="connsiteX5" fmla="*/ 89416 w 89415"/>
                <a:gd name="connsiteY5" fmla="*/ 8244 h 16487"/>
                <a:gd name="connsiteX6" fmla="*/ 81172 w 89415"/>
                <a:gd name="connsiteY6" fmla="*/ 16488 h 16487"/>
                <a:gd name="connsiteX7" fmla="*/ 81172 w 89415"/>
                <a:gd name="connsiteY7" fmla="*/ 16488 h 16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15" h="16487">
                  <a:moveTo>
                    <a:pt x="81172" y="16488"/>
                  </a:moveTo>
                  <a:lnTo>
                    <a:pt x="8244" y="16488"/>
                  </a:lnTo>
                  <a:cubicBezTo>
                    <a:pt x="3805" y="16488"/>
                    <a:pt x="0" y="12683"/>
                    <a:pt x="0" y="8244"/>
                  </a:cubicBezTo>
                  <a:cubicBezTo>
                    <a:pt x="0" y="3805"/>
                    <a:pt x="3805" y="0"/>
                    <a:pt x="8244" y="0"/>
                  </a:cubicBezTo>
                  <a:lnTo>
                    <a:pt x="81172" y="0"/>
                  </a:lnTo>
                  <a:cubicBezTo>
                    <a:pt x="85611" y="0"/>
                    <a:pt x="89416" y="3805"/>
                    <a:pt x="89416" y="8244"/>
                  </a:cubicBezTo>
                  <a:cubicBezTo>
                    <a:pt x="89416" y="12683"/>
                    <a:pt x="85611" y="16488"/>
                    <a:pt x="81172" y="16488"/>
                  </a:cubicBezTo>
                  <a:lnTo>
                    <a:pt x="81172" y="16488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87" name="Forma Livre: Forma 186">
              <a:extLst>
                <a:ext uri="{FF2B5EF4-FFF2-40B4-BE49-F238E27FC236}">
                  <a16:creationId xmlns:a16="http://schemas.microsoft.com/office/drawing/2014/main" id="{A57C3291-C595-411F-B05B-B4656F9F9EF6}"/>
                </a:ext>
              </a:extLst>
            </p:cNvPr>
            <p:cNvSpPr/>
            <p:nvPr/>
          </p:nvSpPr>
          <p:spPr>
            <a:xfrm>
              <a:off x="3423042" y="1770530"/>
              <a:ext cx="89415" cy="16488"/>
            </a:xfrm>
            <a:custGeom>
              <a:avLst/>
              <a:gdLst>
                <a:gd name="connsiteX0" fmla="*/ 81172 w 89415"/>
                <a:gd name="connsiteY0" fmla="*/ 16488 h 16488"/>
                <a:gd name="connsiteX1" fmla="*/ 8244 w 89415"/>
                <a:gd name="connsiteY1" fmla="*/ 16488 h 16488"/>
                <a:gd name="connsiteX2" fmla="*/ 0 w 89415"/>
                <a:gd name="connsiteY2" fmla="*/ 8244 h 16488"/>
                <a:gd name="connsiteX3" fmla="*/ 8244 w 89415"/>
                <a:gd name="connsiteY3" fmla="*/ 0 h 16488"/>
                <a:gd name="connsiteX4" fmla="*/ 81172 w 89415"/>
                <a:gd name="connsiteY4" fmla="*/ 0 h 16488"/>
                <a:gd name="connsiteX5" fmla="*/ 89416 w 89415"/>
                <a:gd name="connsiteY5" fmla="*/ 8244 h 16488"/>
                <a:gd name="connsiteX6" fmla="*/ 81172 w 89415"/>
                <a:gd name="connsiteY6" fmla="*/ 16488 h 16488"/>
                <a:gd name="connsiteX7" fmla="*/ 81172 w 89415"/>
                <a:gd name="connsiteY7" fmla="*/ 16488 h 16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15" h="16488">
                  <a:moveTo>
                    <a:pt x="81172" y="16488"/>
                  </a:moveTo>
                  <a:lnTo>
                    <a:pt x="8244" y="16488"/>
                  </a:lnTo>
                  <a:cubicBezTo>
                    <a:pt x="3805" y="16488"/>
                    <a:pt x="0" y="12683"/>
                    <a:pt x="0" y="8244"/>
                  </a:cubicBezTo>
                  <a:cubicBezTo>
                    <a:pt x="0" y="3805"/>
                    <a:pt x="3805" y="0"/>
                    <a:pt x="8244" y="0"/>
                  </a:cubicBezTo>
                  <a:lnTo>
                    <a:pt x="81172" y="0"/>
                  </a:lnTo>
                  <a:cubicBezTo>
                    <a:pt x="85611" y="0"/>
                    <a:pt x="89416" y="3805"/>
                    <a:pt x="89416" y="8244"/>
                  </a:cubicBezTo>
                  <a:cubicBezTo>
                    <a:pt x="89416" y="12683"/>
                    <a:pt x="85611" y="16488"/>
                    <a:pt x="81172" y="16488"/>
                  </a:cubicBezTo>
                  <a:lnTo>
                    <a:pt x="81172" y="16488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88" name="Forma Livre: Forma 187">
              <a:extLst>
                <a:ext uri="{FF2B5EF4-FFF2-40B4-BE49-F238E27FC236}">
                  <a16:creationId xmlns:a16="http://schemas.microsoft.com/office/drawing/2014/main" id="{99B08AB3-FD91-43C8-8CF1-DEE062DD0581}"/>
                </a:ext>
              </a:extLst>
            </p:cNvPr>
            <p:cNvSpPr/>
            <p:nvPr/>
          </p:nvSpPr>
          <p:spPr>
            <a:xfrm>
              <a:off x="3423042" y="1814287"/>
              <a:ext cx="89415" cy="16487"/>
            </a:xfrm>
            <a:custGeom>
              <a:avLst/>
              <a:gdLst>
                <a:gd name="connsiteX0" fmla="*/ 81172 w 89415"/>
                <a:gd name="connsiteY0" fmla="*/ 16488 h 16487"/>
                <a:gd name="connsiteX1" fmla="*/ 8244 w 89415"/>
                <a:gd name="connsiteY1" fmla="*/ 16488 h 16487"/>
                <a:gd name="connsiteX2" fmla="*/ 0 w 89415"/>
                <a:gd name="connsiteY2" fmla="*/ 8244 h 16487"/>
                <a:gd name="connsiteX3" fmla="*/ 8244 w 89415"/>
                <a:gd name="connsiteY3" fmla="*/ 0 h 16487"/>
                <a:gd name="connsiteX4" fmla="*/ 81172 w 89415"/>
                <a:gd name="connsiteY4" fmla="*/ 0 h 16487"/>
                <a:gd name="connsiteX5" fmla="*/ 89416 w 89415"/>
                <a:gd name="connsiteY5" fmla="*/ 8244 h 16487"/>
                <a:gd name="connsiteX6" fmla="*/ 81172 w 89415"/>
                <a:gd name="connsiteY6" fmla="*/ 16488 h 16487"/>
                <a:gd name="connsiteX7" fmla="*/ 81172 w 89415"/>
                <a:gd name="connsiteY7" fmla="*/ 16488 h 16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15" h="16487">
                  <a:moveTo>
                    <a:pt x="81172" y="16488"/>
                  </a:moveTo>
                  <a:lnTo>
                    <a:pt x="8244" y="16488"/>
                  </a:lnTo>
                  <a:cubicBezTo>
                    <a:pt x="3805" y="16488"/>
                    <a:pt x="0" y="12683"/>
                    <a:pt x="0" y="8244"/>
                  </a:cubicBezTo>
                  <a:cubicBezTo>
                    <a:pt x="0" y="3805"/>
                    <a:pt x="3805" y="0"/>
                    <a:pt x="8244" y="0"/>
                  </a:cubicBezTo>
                  <a:lnTo>
                    <a:pt x="81172" y="0"/>
                  </a:lnTo>
                  <a:cubicBezTo>
                    <a:pt x="85611" y="0"/>
                    <a:pt x="89416" y="3805"/>
                    <a:pt x="89416" y="8244"/>
                  </a:cubicBezTo>
                  <a:cubicBezTo>
                    <a:pt x="89416" y="12683"/>
                    <a:pt x="85611" y="16488"/>
                    <a:pt x="81172" y="16488"/>
                  </a:cubicBezTo>
                  <a:lnTo>
                    <a:pt x="81172" y="16488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89" name="Forma Livre: Forma 188">
              <a:extLst>
                <a:ext uri="{FF2B5EF4-FFF2-40B4-BE49-F238E27FC236}">
                  <a16:creationId xmlns:a16="http://schemas.microsoft.com/office/drawing/2014/main" id="{58E05031-1DAD-462A-8696-F46B1488DA8B}"/>
                </a:ext>
              </a:extLst>
            </p:cNvPr>
            <p:cNvSpPr/>
            <p:nvPr/>
          </p:nvSpPr>
          <p:spPr>
            <a:xfrm>
              <a:off x="3423042" y="1858043"/>
              <a:ext cx="89415" cy="16488"/>
            </a:xfrm>
            <a:custGeom>
              <a:avLst/>
              <a:gdLst>
                <a:gd name="connsiteX0" fmla="*/ 81172 w 89415"/>
                <a:gd name="connsiteY0" fmla="*/ 16488 h 16488"/>
                <a:gd name="connsiteX1" fmla="*/ 8244 w 89415"/>
                <a:gd name="connsiteY1" fmla="*/ 16488 h 16488"/>
                <a:gd name="connsiteX2" fmla="*/ 0 w 89415"/>
                <a:gd name="connsiteY2" fmla="*/ 8244 h 16488"/>
                <a:gd name="connsiteX3" fmla="*/ 8244 w 89415"/>
                <a:gd name="connsiteY3" fmla="*/ 0 h 16488"/>
                <a:gd name="connsiteX4" fmla="*/ 81172 w 89415"/>
                <a:gd name="connsiteY4" fmla="*/ 0 h 16488"/>
                <a:gd name="connsiteX5" fmla="*/ 89416 w 89415"/>
                <a:gd name="connsiteY5" fmla="*/ 8244 h 16488"/>
                <a:gd name="connsiteX6" fmla="*/ 81172 w 89415"/>
                <a:gd name="connsiteY6" fmla="*/ 16488 h 16488"/>
                <a:gd name="connsiteX7" fmla="*/ 81172 w 89415"/>
                <a:gd name="connsiteY7" fmla="*/ 16488 h 16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15" h="16488">
                  <a:moveTo>
                    <a:pt x="81172" y="16488"/>
                  </a:moveTo>
                  <a:lnTo>
                    <a:pt x="8244" y="16488"/>
                  </a:lnTo>
                  <a:cubicBezTo>
                    <a:pt x="3805" y="16488"/>
                    <a:pt x="0" y="12683"/>
                    <a:pt x="0" y="8244"/>
                  </a:cubicBezTo>
                  <a:cubicBezTo>
                    <a:pt x="0" y="3805"/>
                    <a:pt x="3805" y="0"/>
                    <a:pt x="8244" y="0"/>
                  </a:cubicBezTo>
                  <a:lnTo>
                    <a:pt x="81172" y="0"/>
                  </a:lnTo>
                  <a:cubicBezTo>
                    <a:pt x="85611" y="0"/>
                    <a:pt x="89416" y="3805"/>
                    <a:pt x="89416" y="8244"/>
                  </a:cubicBezTo>
                  <a:cubicBezTo>
                    <a:pt x="89416" y="12683"/>
                    <a:pt x="85611" y="16488"/>
                    <a:pt x="81172" y="16488"/>
                  </a:cubicBezTo>
                  <a:lnTo>
                    <a:pt x="81172" y="16488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90" name="Forma Livre: Forma 189">
              <a:extLst>
                <a:ext uri="{FF2B5EF4-FFF2-40B4-BE49-F238E27FC236}">
                  <a16:creationId xmlns:a16="http://schemas.microsoft.com/office/drawing/2014/main" id="{8D8AE14A-5ACB-4ED3-8F89-D0D6042D90ED}"/>
                </a:ext>
              </a:extLst>
            </p:cNvPr>
            <p:cNvSpPr/>
            <p:nvPr/>
          </p:nvSpPr>
          <p:spPr>
            <a:xfrm>
              <a:off x="3423042" y="1901800"/>
              <a:ext cx="89415" cy="16487"/>
            </a:xfrm>
            <a:custGeom>
              <a:avLst/>
              <a:gdLst>
                <a:gd name="connsiteX0" fmla="*/ 81172 w 89415"/>
                <a:gd name="connsiteY0" fmla="*/ 16488 h 16487"/>
                <a:gd name="connsiteX1" fmla="*/ 8244 w 89415"/>
                <a:gd name="connsiteY1" fmla="*/ 16488 h 16487"/>
                <a:gd name="connsiteX2" fmla="*/ 0 w 89415"/>
                <a:gd name="connsiteY2" fmla="*/ 8244 h 16487"/>
                <a:gd name="connsiteX3" fmla="*/ 8244 w 89415"/>
                <a:gd name="connsiteY3" fmla="*/ 0 h 16487"/>
                <a:gd name="connsiteX4" fmla="*/ 81172 w 89415"/>
                <a:gd name="connsiteY4" fmla="*/ 0 h 16487"/>
                <a:gd name="connsiteX5" fmla="*/ 89416 w 89415"/>
                <a:gd name="connsiteY5" fmla="*/ 8244 h 16487"/>
                <a:gd name="connsiteX6" fmla="*/ 81172 w 89415"/>
                <a:gd name="connsiteY6" fmla="*/ 16488 h 16487"/>
                <a:gd name="connsiteX7" fmla="*/ 81172 w 89415"/>
                <a:gd name="connsiteY7" fmla="*/ 16488 h 16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15" h="16487">
                  <a:moveTo>
                    <a:pt x="81172" y="16488"/>
                  </a:moveTo>
                  <a:lnTo>
                    <a:pt x="8244" y="16488"/>
                  </a:lnTo>
                  <a:cubicBezTo>
                    <a:pt x="3805" y="16488"/>
                    <a:pt x="0" y="12683"/>
                    <a:pt x="0" y="8244"/>
                  </a:cubicBezTo>
                  <a:cubicBezTo>
                    <a:pt x="0" y="3805"/>
                    <a:pt x="3805" y="0"/>
                    <a:pt x="8244" y="0"/>
                  </a:cubicBezTo>
                  <a:lnTo>
                    <a:pt x="81172" y="0"/>
                  </a:lnTo>
                  <a:cubicBezTo>
                    <a:pt x="85611" y="0"/>
                    <a:pt x="89416" y="3805"/>
                    <a:pt x="89416" y="8244"/>
                  </a:cubicBezTo>
                  <a:cubicBezTo>
                    <a:pt x="89416" y="12683"/>
                    <a:pt x="85611" y="16488"/>
                    <a:pt x="81172" y="16488"/>
                  </a:cubicBezTo>
                  <a:lnTo>
                    <a:pt x="81172" y="16488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91" name="Forma Livre: Forma 190">
              <a:extLst>
                <a:ext uri="{FF2B5EF4-FFF2-40B4-BE49-F238E27FC236}">
                  <a16:creationId xmlns:a16="http://schemas.microsoft.com/office/drawing/2014/main" id="{2BC85BBB-68FB-49FA-9E5E-0F9027C3D271}"/>
                </a:ext>
              </a:extLst>
            </p:cNvPr>
            <p:cNvSpPr/>
            <p:nvPr/>
          </p:nvSpPr>
          <p:spPr>
            <a:xfrm>
              <a:off x="3527043" y="1727408"/>
              <a:ext cx="89415" cy="16487"/>
            </a:xfrm>
            <a:custGeom>
              <a:avLst/>
              <a:gdLst>
                <a:gd name="connsiteX0" fmla="*/ 81172 w 89415"/>
                <a:gd name="connsiteY0" fmla="*/ 16488 h 16487"/>
                <a:gd name="connsiteX1" fmla="*/ 8244 w 89415"/>
                <a:gd name="connsiteY1" fmla="*/ 16488 h 16487"/>
                <a:gd name="connsiteX2" fmla="*/ 0 w 89415"/>
                <a:gd name="connsiteY2" fmla="*/ 8244 h 16487"/>
                <a:gd name="connsiteX3" fmla="*/ 8244 w 89415"/>
                <a:gd name="connsiteY3" fmla="*/ 0 h 16487"/>
                <a:gd name="connsiteX4" fmla="*/ 81172 w 89415"/>
                <a:gd name="connsiteY4" fmla="*/ 0 h 16487"/>
                <a:gd name="connsiteX5" fmla="*/ 89416 w 89415"/>
                <a:gd name="connsiteY5" fmla="*/ 8244 h 16487"/>
                <a:gd name="connsiteX6" fmla="*/ 81172 w 89415"/>
                <a:gd name="connsiteY6" fmla="*/ 16488 h 16487"/>
                <a:gd name="connsiteX7" fmla="*/ 81172 w 89415"/>
                <a:gd name="connsiteY7" fmla="*/ 16488 h 16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15" h="16487">
                  <a:moveTo>
                    <a:pt x="81172" y="16488"/>
                  </a:moveTo>
                  <a:lnTo>
                    <a:pt x="8244" y="16488"/>
                  </a:lnTo>
                  <a:cubicBezTo>
                    <a:pt x="3805" y="16488"/>
                    <a:pt x="0" y="12683"/>
                    <a:pt x="0" y="8244"/>
                  </a:cubicBezTo>
                  <a:cubicBezTo>
                    <a:pt x="0" y="3805"/>
                    <a:pt x="3805" y="0"/>
                    <a:pt x="8244" y="0"/>
                  </a:cubicBezTo>
                  <a:lnTo>
                    <a:pt x="81172" y="0"/>
                  </a:lnTo>
                  <a:cubicBezTo>
                    <a:pt x="85611" y="0"/>
                    <a:pt x="89416" y="3805"/>
                    <a:pt x="89416" y="8244"/>
                  </a:cubicBezTo>
                  <a:cubicBezTo>
                    <a:pt x="89416" y="12683"/>
                    <a:pt x="86245" y="16488"/>
                    <a:pt x="81172" y="16488"/>
                  </a:cubicBezTo>
                  <a:lnTo>
                    <a:pt x="81172" y="16488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92" name="Forma Livre: Forma 191">
              <a:extLst>
                <a:ext uri="{FF2B5EF4-FFF2-40B4-BE49-F238E27FC236}">
                  <a16:creationId xmlns:a16="http://schemas.microsoft.com/office/drawing/2014/main" id="{5F153AB7-EF0A-4BCB-A70A-8B7242480C74}"/>
                </a:ext>
              </a:extLst>
            </p:cNvPr>
            <p:cNvSpPr/>
            <p:nvPr/>
          </p:nvSpPr>
          <p:spPr>
            <a:xfrm>
              <a:off x="3527043" y="1770530"/>
              <a:ext cx="89415" cy="16488"/>
            </a:xfrm>
            <a:custGeom>
              <a:avLst/>
              <a:gdLst>
                <a:gd name="connsiteX0" fmla="*/ 81172 w 89415"/>
                <a:gd name="connsiteY0" fmla="*/ 16488 h 16488"/>
                <a:gd name="connsiteX1" fmla="*/ 8244 w 89415"/>
                <a:gd name="connsiteY1" fmla="*/ 16488 h 16488"/>
                <a:gd name="connsiteX2" fmla="*/ 0 w 89415"/>
                <a:gd name="connsiteY2" fmla="*/ 8244 h 16488"/>
                <a:gd name="connsiteX3" fmla="*/ 8244 w 89415"/>
                <a:gd name="connsiteY3" fmla="*/ 0 h 16488"/>
                <a:gd name="connsiteX4" fmla="*/ 81172 w 89415"/>
                <a:gd name="connsiteY4" fmla="*/ 0 h 16488"/>
                <a:gd name="connsiteX5" fmla="*/ 89416 w 89415"/>
                <a:gd name="connsiteY5" fmla="*/ 8244 h 16488"/>
                <a:gd name="connsiteX6" fmla="*/ 81172 w 89415"/>
                <a:gd name="connsiteY6" fmla="*/ 16488 h 16488"/>
                <a:gd name="connsiteX7" fmla="*/ 81172 w 89415"/>
                <a:gd name="connsiteY7" fmla="*/ 16488 h 16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15" h="16488">
                  <a:moveTo>
                    <a:pt x="81172" y="16488"/>
                  </a:moveTo>
                  <a:lnTo>
                    <a:pt x="8244" y="16488"/>
                  </a:lnTo>
                  <a:cubicBezTo>
                    <a:pt x="3805" y="16488"/>
                    <a:pt x="0" y="12683"/>
                    <a:pt x="0" y="8244"/>
                  </a:cubicBezTo>
                  <a:cubicBezTo>
                    <a:pt x="0" y="3805"/>
                    <a:pt x="3805" y="0"/>
                    <a:pt x="8244" y="0"/>
                  </a:cubicBezTo>
                  <a:lnTo>
                    <a:pt x="81172" y="0"/>
                  </a:lnTo>
                  <a:cubicBezTo>
                    <a:pt x="85611" y="0"/>
                    <a:pt x="89416" y="3805"/>
                    <a:pt x="89416" y="8244"/>
                  </a:cubicBezTo>
                  <a:cubicBezTo>
                    <a:pt x="89416" y="12683"/>
                    <a:pt x="86245" y="16488"/>
                    <a:pt x="81172" y="16488"/>
                  </a:cubicBezTo>
                  <a:lnTo>
                    <a:pt x="81172" y="16488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93" name="Forma Livre: Forma 192">
              <a:extLst>
                <a:ext uri="{FF2B5EF4-FFF2-40B4-BE49-F238E27FC236}">
                  <a16:creationId xmlns:a16="http://schemas.microsoft.com/office/drawing/2014/main" id="{485F3B77-43D9-4AD9-AD6B-4B2DA4FFC104}"/>
                </a:ext>
              </a:extLst>
            </p:cNvPr>
            <p:cNvSpPr/>
            <p:nvPr/>
          </p:nvSpPr>
          <p:spPr>
            <a:xfrm>
              <a:off x="3527043" y="1814287"/>
              <a:ext cx="89415" cy="16487"/>
            </a:xfrm>
            <a:custGeom>
              <a:avLst/>
              <a:gdLst>
                <a:gd name="connsiteX0" fmla="*/ 81172 w 89415"/>
                <a:gd name="connsiteY0" fmla="*/ 16488 h 16487"/>
                <a:gd name="connsiteX1" fmla="*/ 8244 w 89415"/>
                <a:gd name="connsiteY1" fmla="*/ 16488 h 16487"/>
                <a:gd name="connsiteX2" fmla="*/ 0 w 89415"/>
                <a:gd name="connsiteY2" fmla="*/ 8244 h 16487"/>
                <a:gd name="connsiteX3" fmla="*/ 8244 w 89415"/>
                <a:gd name="connsiteY3" fmla="*/ 0 h 16487"/>
                <a:gd name="connsiteX4" fmla="*/ 81172 w 89415"/>
                <a:gd name="connsiteY4" fmla="*/ 0 h 16487"/>
                <a:gd name="connsiteX5" fmla="*/ 89416 w 89415"/>
                <a:gd name="connsiteY5" fmla="*/ 8244 h 16487"/>
                <a:gd name="connsiteX6" fmla="*/ 81172 w 89415"/>
                <a:gd name="connsiteY6" fmla="*/ 16488 h 16487"/>
                <a:gd name="connsiteX7" fmla="*/ 81172 w 89415"/>
                <a:gd name="connsiteY7" fmla="*/ 16488 h 16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15" h="16487">
                  <a:moveTo>
                    <a:pt x="81172" y="16488"/>
                  </a:moveTo>
                  <a:lnTo>
                    <a:pt x="8244" y="16488"/>
                  </a:lnTo>
                  <a:cubicBezTo>
                    <a:pt x="3805" y="16488"/>
                    <a:pt x="0" y="12683"/>
                    <a:pt x="0" y="8244"/>
                  </a:cubicBezTo>
                  <a:cubicBezTo>
                    <a:pt x="0" y="3805"/>
                    <a:pt x="3805" y="0"/>
                    <a:pt x="8244" y="0"/>
                  </a:cubicBezTo>
                  <a:lnTo>
                    <a:pt x="81172" y="0"/>
                  </a:lnTo>
                  <a:cubicBezTo>
                    <a:pt x="85611" y="0"/>
                    <a:pt x="89416" y="3805"/>
                    <a:pt x="89416" y="8244"/>
                  </a:cubicBezTo>
                  <a:cubicBezTo>
                    <a:pt x="89416" y="12683"/>
                    <a:pt x="86245" y="16488"/>
                    <a:pt x="81172" y="16488"/>
                  </a:cubicBezTo>
                  <a:lnTo>
                    <a:pt x="81172" y="16488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94" name="Forma Livre: Forma 193">
              <a:extLst>
                <a:ext uri="{FF2B5EF4-FFF2-40B4-BE49-F238E27FC236}">
                  <a16:creationId xmlns:a16="http://schemas.microsoft.com/office/drawing/2014/main" id="{893D0DB5-CEE5-4EAE-B50A-4085967AB051}"/>
                </a:ext>
              </a:extLst>
            </p:cNvPr>
            <p:cNvSpPr/>
            <p:nvPr/>
          </p:nvSpPr>
          <p:spPr>
            <a:xfrm>
              <a:off x="3527043" y="1858043"/>
              <a:ext cx="89415" cy="16488"/>
            </a:xfrm>
            <a:custGeom>
              <a:avLst/>
              <a:gdLst>
                <a:gd name="connsiteX0" fmla="*/ 81172 w 89415"/>
                <a:gd name="connsiteY0" fmla="*/ 16488 h 16488"/>
                <a:gd name="connsiteX1" fmla="*/ 8244 w 89415"/>
                <a:gd name="connsiteY1" fmla="*/ 16488 h 16488"/>
                <a:gd name="connsiteX2" fmla="*/ 0 w 89415"/>
                <a:gd name="connsiteY2" fmla="*/ 8244 h 16488"/>
                <a:gd name="connsiteX3" fmla="*/ 8244 w 89415"/>
                <a:gd name="connsiteY3" fmla="*/ 0 h 16488"/>
                <a:gd name="connsiteX4" fmla="*/ 81172 w 89415"/>
                <a:gd name="connsiteY4" fmla="*/ 0 h 16488"/>
                <a:gd name="connsiteX5" fmla="*/ 89416 w 89415"/>
                <a:gd name="connsiteY5" fmla="*/ 8244 h 16488"/>
                <a:gd name="connsiteX6" fmla="*/ 81172 w 89415"/>
                <a:gd name="connsiteY6" fmla="*/ 16488 h 16488"/>
                <a:gd name="connsiteX7" fmla="*/ 81172 w 89415"/>
                <a:gd name="connsiteY7" fmla="*/ 16488 h 16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15" h="16488">
                  <a:moveTo>
                    <a:pt x="81172" y="16488"/>
                  </a:moveTo>
                  <a:lnTo>
                    <a:pt x="8244" y="16488"/>
                  </a:lnTo>
                  <a:cubicBezTo>
                    <a:pt x="3805" y="16488"/>
                    <a:pt x="0" y="12683"/>
                    <a:pt x="0" y="8244"/>
                  </a:cubicBezTo>
                  <a:cubicBezTo>
                    <a:pt x="0" y="3805"/>
                    <a:pt x="3805" y="0"/>
                    <a:pt x="8244" y="0"/>
                  </a:cubicBezTo>
                  <a:lnTo>
                    <a:pt x="81172" y="0"/>
                  </a:lnTo>
                  <a:cubicBezTo>
                    <a:pt x="85611" y="0"/>
                    <a:pt x="89416" y="3805"/>
                    <a:pt x="89416" y="8244"/>
                  </a:cubicBezTo>
                  <a:cubicBezTo>
                    <a:pt x="89416" y="12683"/>
                    <a:pt x="86245" y="16488"/>
                    <a:pt x="81172" y="16488"/>
                  </a:cubicBezTo>
                  <a:lnTo>
                    <a:pt x="81172" y="16488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95" name="Forma Livre: Forma 194">
              <a:extLst>
                <a:ext uri="{FF2B5EF4-FFF2-40B4-BE49-F238E27FC236}">
                  <a16:creationId xmlns:a16="http://schemas.microsoft.com/office/drawing/2014/main" id="{D113056F-49C1-46FF-9079-AAB5D4B32778}"/>
                </a:ext>
              </a:extLst>
            </p:cNvPr>
            <p:cNvSpPr/>
            <p:nvPr/>
          </p:nvSpPr>
          <p:spPr>
            <a:xfrm>
              <a:off x="3527043" y="1901800"/>
              <a:ext cx="89415" cy="16487"/>
            </a:xfrm>
            <a:custGeom>
              <a:avLst/>
              <a:gdLst>
                <a:gd name="connsiteX0" fmla="*/ 81172 w 89415"/>
                <a:gd name="connsiteY0" fmla="*/ 16488 h 16487"/>
                <a:gd name="connsiteX1" fmla="*/ 8244 w 89415"/>
                <a:gd name="connsiteY1" fmla="*/ 16488 h 16487"/>
                <a:gd name="connsiteX2" fmla="*/ 0 w 89415"/>
                <a:gd name="connsiteY2" fmla="*/ 8244 h 16487"/>
                <a:gd name="connsiteX3" fmla="*/ 8244 w 89415"/>
                <a:gd name="connsiteY3" fmla="*/ 0 h 16487"/>
                <a:gd name="connsiteX4" fmla="*/ 81172 w 89415"/>
                <a:gd name="connsiteY4" fmla="*/ 0 h 16487"/>
                <a:gd name="connsiteX5" fmla="*/ 89416 w 89415"/>
                <a:gd name="connsiteY5" fmla="*/ 8244 h 16487"/>
                <a:gd name="connsiteX6" fmla="*/ 81172 w 89415"/>
                <a:gd name="connsiteY6" fmla="*/ 16488 h 16487"/>
                <a:gd name="connsiteX7" fmla="*/ 81172 w 89415"/>
                <a:gd name="connsiteY7" fmla="*/ 16488 h 16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9415" h="16487">
                  <a:moveTo>
                    <a:pt x="81172" y="16488"/>
                  </a:moveTo>
                  <a:lnTo>
                    <a:pt x="8244" y="16488"/>
                  </a:lnTo>
                  <a:cubicBezTo>
                    <a:pt x="3805" y="16488"/>
                    <a:pt x="0" y="12683"/>
                    <a:pt x="0" y="8244"/>
                  </a:cubicBezTo>
                  <a:cubicBezTo>
                    <a:pt x="0" y="3805"/>
                    <a:pt x="3805" y="0"/>
                    <a:pt x="8244" y="0"/>
                  </a:cubicBezTo>
                  <a:lnTo>
                    <a:pt x="81172" y="0"/>
                  </a:lnTo>
                  <a:cubicBezTo>
                    <a:pt x="85611" y="0"/>
                    <a:pt x="89416" y="3805"/>
                    <a:pt x="89416" y="8244"/>
                  </a:cubicBezTo>
                  <a:cubicBezTo>
                    <a:pt x="89416" y="12683"/>
                    <a:pt x="86245" y="16488"/>
                    <a:pt x="81172" y="16488"/>
                  </a:cubicBezTo>
                  <a:lnTo>
                    <a:pt x="81172" y="16488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96" name="Forma Livre: Forma 195">
              <a:extLst>
                <a:ext uri="{FF2B5EF4-FFF2-40B4-BE49-F238E27FC236}">
                  <a16:creationId xmlns:a16="http://schemas.microsoft.com/office/drawing/2014/main" id="{835B63E3-B329-43FE-B259-9B866190A8DD}"/>
                </a:ext>
              </a:extLst>
            </p:cNvPr>
            <p:cNvSpPr/>
            <p:nvPr/>
          </p:nvSpPr>
          <p:spPr>
            <a:xfrm>
              <a:off x="3320309" y="1631016"/>
              <a:ext cx="194685" cy="349418"/>
            </a:xfrm>
            <a:custGeom>
              <a:avLst/>
              <a:gdLst>
                <a:gd name="connsiteX0" fmla="*/ 177563 w 194685"/>
                <a:gd name="connsiteY0" fmla="*/ 349419 h 349418"/>
                <a:gd name="connsiteX1" fmla="*/ 35513 w 194685"/>
                <a:gd name="connsiteY1" fmla="*/ 349419 h 349418"/>
                <a:gd name="connsiteX2" fmla="*/ 0 w 194685"/>
                <a:gd name="connsiteY2" fmla="*/ 313906 h 349418"/>
                <a:gd name="connsiteX3" fmla="*/ 0 w 194685"/>
                <a:gd name="connsiteY3" fmla="*/ 35513 h 349418"/>
                <a:gd name="connsiteX4" fmla="*/ 8244 w 194685"/>
                <a:gd name="connsiteY4" fmla="*/ 8878 h 349418"/>
                <a:gd name="connsiteX5" fmla="*/ 46928 w 194685"/>
                <a:gd name="connsiteY5" fmla="*/ 0 h 349418"/>
                <a:gd name="connsiteX6" fmla="*/ 56440 w 194685"/>
                <a:gd name="connsiteY6" fmla="*/ 0 h 349418"/>
                <a:gd name="connsiteX7" fmla="*/ 56440 w 194685"/>
                <a:gd name="connsiteY7" fmla="*/ 0 h 349418"/>
                <a:gd name="connsiteX8" fmla="*/ 73562 w 194685"/>
                <a:gd name="connsiteY8" fmla="*/ 16488 h 349418"/>
                <a:gd name="connsiteX9" fmla="*/ 57074 w 194685"/>
                <a:gd name="connsiteY9" fmla="*/ 33610 h 349418"/>
                <a:gd name="connsiteX10" fmla="*/ 46928 w 194685"/>
                <a:gd name="connsiteY10" fmla="*/ 33610 h 349418"/>
                <a:gd name="connsiteX11" fmla="*/ 33610 w 194685"/>
                <a:gd name="connsiteY11" fmla="*/ 33610 h 349418"/>
                <a:gd name="connsiteX12" fmla="*/ 33610 w 194685"/>
                <a:gd name="connsiteY12" fmla="*/ 34878 h 349418"/>
                <a:gd name="connsiteX13" fmla="*/ 33610 w 194685"/>
                <a:gd name="connsiteY13" fmla="*/ 313272 h 349418"/>
                <a:gd name="connsiteX14" fmla="*/ 35513 w 194685"/>
                <a:gd name="connsiteY14" fmla="*/ 315174 h 349418"/>
                <a:gd name="connsiteX15" fmla="*/ 177563 w 194685"/>
                <a:gd name="connsiteY15" fmla="*/ 315174 h 349418"/>
                <a:gd name="connsiteX16" fmla="*/ 194685 w 194685"/>
                <a:gd name="connsiteY16" fmla="*/ 332297 h 349418"/>
                <a:gd name="connsiteX17" fmla="*/ 177563 w 194685"/>
                <a:gd name="connsiteY17" fmla="*/ 349419 h 349418"/>
                <a:gd name="connsiteX18" fmla="*/ 177563 w 194685"/>
                <a:gd name="connsiteY18" fmla="*/ 349419 h 349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4685" h="349418">
                  <a:moveTo>
                    <a:pt x="177563" y="349419"/>
                  </a:moveTo>
                  <a:lnTo>
                    <a:pt x="35513" y="349419"/>
                  </a:lnTo>
                  <a:cubicBezTo>
                    <a:pt x="15854" y="349419"/>
                    <a:pt x="0" y="333565"/>
                    <a:pt x="0" y="313906"/>
                  </a:cubicBezTo>
                  <a:lnTo>
                    <a:pt x="0" y="35513"/>
                  </a:lnTo>
                  <a:cubicBezTo>
                    <a:pt x="0" y="26635"/>
                    <a:pt x="634" y="16488"/>
                    <a:pt x="8244" y="8878"/>
                  </a:cubicBezTo>
                  <a:cubicBezTo>
                    <a:pt x="17122" y="0"/>
                    <a:pt x="27903" y="0"/>
                    <a:pt x="46928" y="0"/>
                  </a:cubicBezTo>
                  <a:lnTo>
                    <a:pt x="56440" y="0"/>
                  </a:lnTo>
                  <a:cubicBezTo>
                    <a:pt x="56440" y="0"/>
                    <a:pt x="56440" y="0"/>
                    <a:pt x="56440" y="0"/>
                  </a:cubicBezTo>
                  <a:cubicBezTo>
                    <a:pt x="65952" y="0"/>
                    <a:pt x="73562" y="7610"/>
                    <a:pt x="73562" y="16488"/>
                  </a:cubicBezTo>
                  <a:cubicBezTo>
                    <a:pt x="73562" y="26000"/>
                    <a:pt x="65952" y="33610"/>
                    <a:pt x="57074" y="33610"/>
                  </a:cubicBezTo>
                  <a:lnTo>
                    <a:pt x="46928" y="33610"/>
                  </a:lnTo>
                  <a:cubicBezTo>
                    <a:pt x="42488" y="33610"/>
                    <a:pt x="37415" y="33610"/>
                    <a:pt x="33610" y="33610"/>
                  </a:cubicBezTo>
                  <a:cubicBezTo>
                    <a:pt x="33610" y="34244"/>
                    <a:pt x="33610" y="34244"/>
                    <a:pt x="33610" y="34878"/>
                  </a:cubicBezTo>
                  <a:lnTo>
                    <a:pt x="33610" y="313272"/>
                  </a:lnTo>
                  <a:cubicBezTo>
                    <a:pt x="33610" y="313906"/>
                    <a:pt x="34244" y="315174"/>
                    <a:pt x="35513" y="315174"/>
                  </a:cubicBezTo>
                  <a:lnTo>
                    <a:pt x="177563" y="315174"/>
                  </a:lnTo>
                  <a:cubicBezTo>
                    <a:pt x="187075" y="315174"/>
                    <a:pt x="194685" y="322784"/>
                    <a:pt x="194685" y="332297"/>
                  </a:cubicBezTo>
                  <a:cubicBezTo>
                    <a:pt x="194685" y="341809"/>
                    <a:pt x="187075" y="349419"/>
                    <a:pt x="177563" y="349419"/>
                  </a:cubicBezTo>
                  <a:lnTo>
                    <a:pt x="177563" y="349419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97" name="Forma Livre: Forma 196">
              <a:extLst>
                <a:ext uri="{FF2B5EF4-FFF2-40B4-BE49-F238E27FC236}">
                  <a16:creationId xmlns:a16="http://schemas.microsoft.com/office/drawing/2014/main" id="{462EABEF-B36A-4ABB-B7BC-E3CC39BFB4CA}"/>
                </a:ext>
              </a:extLst>
            </p:cNvPr>
            <p:cNvSpPr/>
            <p:nvPr/>
          </p:nvSpPr>
          <p:spPr>
            <a:xfrm>
              <a:off x="3423676" y="1634187"/>
              <a:ext cx="192782" cy="62781"/>
            </a:xfrm>
            <a:custGeom>
              <a:avLst/>
              <a:gdLst>
                <a:gd name="connsiteX0" fmla="*/ 184539 w 192782"/>
                <a:gd name="connsiteY0" fmla="*/ 62781 h 62781"/>
                <a:gd name="connsiteX1" fmla="*/ 8244 w 192782"/>
                <a:gd name="connsiteY1" fmla="*/ 62781 h 62781"/>
                <a:gd name="connsiteX2" fmla="*/ 0 w 192782"/>
                <a:gd name="connsiteY2" fmla="*/ 54537 h 62781"/>
                <a:gd name="connsiteX3" fmla="*/ 0 w 192782"/>
                <a:gd name="connsiteY3" fmla="*/ 8244 h 62781"/>
                <a:gd name="connsiteX4" fmla="*/ 8244 w 192782"/>
                <a:gd name="connsiteY4" fmla="*/ 0 h 62781"/>
                <a:gd name="connsiteX5" fmla="*/ 184539 w 192782"/>
                <a:gd name="connsiteY5" fmla="*/ 0 h 62781"/>
                <a:gd name="connsiteX6" fmla="*/ 192783 w 192782"/>
                <a:gd name="connsiteY6" fmla="*/ 8244 h 62781"/>
                <a:gd name="connsiteX7" fmla="*/ 192783 w 192782"/>
                <a:gd name="connsiteY7" fmla="*/ 54537 h 62781"/>
                <a:gd name="connsiteX8" fmla="*/ 184539 w 192782"/>
                <a:gd name="connsiteY8" fmla="*/ 62781 h 62781"/>
                <a:gd name="connsiteX9" fmla="*/ 184539 w 192782"/>
                <a:gd name="connsiteY9" fmla="*/ 62781 h 62781"/>
                <a:gd name="connsiteX10" fmla="*/ 16488 w 192782"/>
                <a:gd name="connsiteY10" fmla="*/ 45659 h 62781"/>
                <a:gd name="connsiteX11" fmla="*/ 176295 w 192782"/>
                <a:gd name="connsiteY11" fmla="*/ 45659 h 62781"/>
                <a:gd name="connsiteX12" fmla="*/ 176295 w 192782"/>
                <a:gd name="connsiteY12" fmla="*/ 16488 h 62781"/>
                <a:gd name="connsiteX13" fmla="*/ 16488 w 192782"/>
                <a:gd name="connsiteY13" fmla="*/ 16488 h 62781"/>
                <a:gd name="connsiteX14" fmla="*/ 16488 w 192782"/>
                <a:gd name="connsiteY14" fmla="*/ 45659 h 62781"/>
                <a:gd name="connsiteX15" fmla="*/ 16488 w 192782"/>
                <a:gd name="connsiteY15" fmla="*/ 45659 h 62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92782" h="62781">
                  <a:moveTo>
                    <a:pt x="184539" y="62781"/>
                  </a:moveTo>
                  <a:lnTo>
                    <a:pt x="8244" y="62781"/>
                  </a:lnTo>
                  <a:cubicBezTo>
                    <a:pt x="3805" y="62781"/>
                    <a:pt x="0" y="58976"/>
                    <a:pt x="0" y="54537"/>
                  </a:cubicBezTo>
                  <a:lnTo>
                    <a:pt x="0" y="8244"/>
                  </a:lnTo>
                  <a:cubicBezTo>
                    <a:pt x="0" y="3805"/>
                    <a:pt x="3805" y="0"/>
                    <a:pt x="8244" y="0"/>
                  </a:cubicBezTo>
                  <a:lnTo>
                    <a:pt x="184539" y="0"/>
                  </a:lnTo>
                  <a:cubicBezTo>
                    <a:pt x="188978" y="0"/>
                    <a:pt x="192783" y="3805"/>
                    <a:pt x="192783" y="8244"/>
                  </a:cubicBezTo>
                  <a:lnTo>
                    <a:pt x="192783" y="54537"/>
                  </a:lnTo>
                  <a:cubicBezTo>
                    <a:pt x="192783" y="58976"/>
                    <a:pt x="189612" y="62781"/>
                    <a:pt x="184539" y="62781"/>
                  </a:cubicBezTo>
                  <a:lnTo>
                    <a:pt x="184539" y="62781"/>
                  </a:lnTo>
                  <a:close/>
                  <a:moveTo>
                    <a:pt x="16488" y="45659"/>
                  </a:moveTo>
                  <a:lnTo>
                    <a:pt x="176295" y="45659"/>
                  </a:lnTo>
                  <a:lnTo>
                    <a:pt x="176295" y="16488"/>
                  </a:lnTo>
                  <a:lnTo>
                    <a:pt x="16488" y="16488"/>
                  </a:lnTo>
                  <a:lnTo>
                    <a:pt x="16488" y="45659"/>
                  </a:lnTo>
                  <a:lnTo>
                    <a:pt x="16488" y="45659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98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1333014" y="546966"/>
            <a:ext cx="306652" cy="376260"/>
            <a:chOff x="1279602" y="547248"/>
            <a:chExt cx="310101" cy="380492"/>
          </a:xfrm>
          <a:solidFill>
            <a:srgbClr val="B1B1A1"/>
          </a:solidFill>
        </p:grpSpPr>
        <p:sp>
          <p:nvSpPr>
            <p:cNvPr id="199" name="Forma Livre: Forma 198">
              <a:extLst>
                <a:ext uri="{FF2B5EF4-FFF2-40B4-BE49-F238E27FC236}">
                  <a16:creationId xmlns:a16="http://schemas.microsoft.com/office/drawing/2014/main" id="{0EA9F02F-F7AB-4DD2-AB6E-898C46BE3916}"/>
                </a:ext>
              </a:extLst>
            </p:cNvPr>
            <p:cNvSpPr/>
            <p:nvPr/>
          </p:nvSpPr>
          <p:spPr>
            <a:xfrm>
              <a:off x="1463507" y="800909"/>
              <a:ext cx="117952" cy="117952"/>
            </a:xfrm>
            <a:custGeom>
              <a:avLst/>
              <a:gdLst>
                <a:gd name="connsiteX0" fmla="*/ 8244 w 117952"/>
                <a:gd name="connsiteY0" fmla="*/ 117953 h 117952"/>
                <a:gd name="connsiteX1" fmla="*/ 0 w 117952"/>
                <a:gd name="connsiteY1" fmla="*/ 109709 h 117952"/>
                <a:gd name="connsiteX2" fmla="*/ 0 w 117952"/>
                <a:gd name="connsiteY2" fmla="*/ 8244 h 117952"/>
                <a:gd name="connsiteX3" fmla="*/ 8244 w 117952"/>
                <a:gd name="connsiteY3" fmla="*/ 0 h 117952"/>
                <a:gd name="connsiteX4" fmla="*/ 109709 w 117952"/>
                <a:gd name="connsiteY4" fmla="*/ 0 h 117952"/>
                <a:gd name="connsiteX5" fmla="*/ 117953 w 117952"/>
                <a:gd name="connsiteY5" fmla="*/ 8244 h 117952"/>
                <a:gd name="connsiteX6" fmla="*/ 109709 w 117952"/>
                <a:gd name="connsiteY6" fmla="*/ 16488 h 117952"/>
                <a:gd name="connsiteX7" fmla="*/ 16488 w 117952"/>
                <a:gd name="connsiteY7" fmla="*/ 16488 h 117952"/>
                <a:gd name="connsiteX8" fmla="*/ 16488 w 117952"/>
                <a:gd name="connsiteY8" fmla="*/ 109074 h 117952"/>
                <a:gd name="connsiteX9" fmla="*/ 8244 w 117952"/>
                <a:gd name="connsiteY9" fmla="*/ 117953 h 117952"/>
                <a:gd name="connsiteX10" fmla="*/ 8244 w 117952"/>
                <a:gd name="connsiteY10" fmla="*/ 117953 h 11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7952" h="117952">
                  <a:moveTo>
                    <a:pt x="8244" y="117953"/>
                  </a:moveTo>
                  <a:cubicBezTo>
                    <a:pt x="3805" y="117953"/>
                    <a:pt x="0" y="114148"/>
                    <a:pt x="0" y="109709"/>
                  </a:cubicBezTo>
                  <a:lnTo>
                    <a:pt x="0" y="8244"/>
                  </a:lnTo>
                  <a:cubicBezTo>
                    <a:pt x="0" y="3805"/>
                    <a:pt x="3805" y="0"/>
                    <a:pt x="8244" y="0"/>
                  </a:cubicBezTo>
                  <a:lnTo>
                    <a:pt x="109709" y="0"/>
                  </a:lnTo>
                  <a:cubicBezTo>
                    <a:pt x="114148" y="0"/>
                    <a:pt x="117953" y="3805"/>
                    <a:pt x="117953" y="8244"/>
                  </a:cubicBezTo>
                  <a:cubicBezTo>
                    <a:pt x="117953" y="12683"/>
                    <a:pt x="114148" y="16488"/>
                    <a:pt x="109709" y="16488"/>
                  </a:cubicBezTo>
                  <a:lnTo>
                    <a:pt x="16488" y="16488"/>
                  </a:lnTo>
                  <a:lnTo>
                    <a:pt x="16488" y="109074"/>
                  </a:lnTo>
                  <a:cubicBezTo>
                    <a:pt x="16488" y="114148"/>
                    <a:pt x="12683" y="117953"/>
                    <a:pt x="8244" y="117953"/>
                  </a:cubicBezTo>
                  <a:lnTo>
                    <a:pt x="8244" y="117953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00" name="Forma Livre: Forma 199">
              <a:extLst>
                <a:ext uri="{FF2B5EF4-FFF2-40B4-BE49-F238E27FC236}">
                  <a16:creationId xmlns:a16="http://schemas.microsoft.com/office/drawing/2014/main" id="{1AC5D618-C4A3-4BDC-A11E-1FEEED1D2988}"/>
                </a:ext>
              </a:extLst>
            </p:cNvPr>
            <p:cNvSpPr/>
            <p:nvPr/>
          </p:nvSpPr>
          <p:spPr>
            <a:xfrm>
              <a:off x="1279602" y="547248"/>
              <a:ext cx="310101" cy="380492"/>
            </a:xfrm>
            <a:custGeom>
              <a:avLst/>
              <a:gdLst>
                <a:gd name="connsiteX0" fmla="*/ 192149 w 310101"/>
                <a:gd name="connsiteY0" fmla="*/ 380492 h 380492"/>
                <a:gd name="connsiteX1" fmla="*/ 17122 w 310101"/>
                <a:gd name="connsiteY1" fmla="*/ 380492 h 380492"/>
                <a:gd name="connsiteX2" fmla="*/ 0 w 310101"/>
                <a:gd name="connsiteY2" fmla="*/ 363370 h 380492"/>
                <a:gd name="connsiteX3" fmla="*/ 0 w 310101"/>
                <a:gd name="connsiteY3" fmla="*/ 16488 h 380492"/>
                <a:gd name="connsiteX4" fmla="*/ 17122 w 310101"/>
                <a:gd name="connsiteY4" fmla="*/ 0 h 380492"/>
                <a:gd name="connsiteX5" fmla="*/ 292979 w 310101"/>
                <a:gd name="connsiteY5" fmla="*/ 0 h 380492"/>
                <a:gd name="connsiteX6" fmla="*/ 310101 w 310101"/>
                <a:gd name="connsiteY6" fmla="*/ 17122 h 380492"/>
                <a:gd name="connsiteX7" fmla="*/ 310101 w 310101"/>
                <a:gd name="connsiteY7" fmla="*/ 262540 h 380492"/>
                <a:gd name="connsiteX8" fmla="*/ 305028 w 310101"/>
                <a:gd name="connsiteY8" fmla="*/ 274589 h 380492"/>
                <a:gd name="connsiteX9" fmla="*/ 203563 w 310101"/>
                <a:gd name="connsiteY9" fmla="*/ 376053 h 380492"/>
                <a:gd name="connsiteX10" fmla="*/ 192149 w 310101"/>
                <a:gd name="connsiteY10" fmla="*/ 380492 h 380492"/>
                <a:gd name="connsiteX11" fmla="*/ 192149 w 310101"/>
                <a:gd name="connsiteY11" fmla="*/ 380492 h 380492"/>
                <a:gd name="connsiteX12" fmla="*/ 34244 w 310101"/>
                <a:gd name="connsiteY12" fmla="*/ 346248 h 380492"/>
                <a:gd name="connsiteX13" fmla="*/ 185173 w 310101"/>
                <a:gd name="connsiteY13" fmla="*/ 346248 h 380492"/>
                <a:gd name="connsiteX14" fmla="*/ 276491 w 310101"/>
                <a:gd name="connsiteY14" fmla="*/ 254930 h 380492"/>
                <a:gd name="connsiteX15" fmla="*/ 276491 w 310101"/>
                <a:gd name="connsiteY15" fmla="*/ 33610 h 380492"/>
                <a:gd name="connsiteX16" fmla="*/ 34244 w 310101"/>
                <a:gd name="connsiteY16" fmla="*/ 33610 h 380492"/>
                <a:gd name="connsiteX17" fmla="*/ 34244 w 310101"/>
                <a:gd name="connsiteY17" fmla="*/ 346248 h 380492"/>
                <a:gd name="connsiteX18" fmla="*/ 34244 w 310101"/>
                <a:gd name="connsiteY18" fmla="*/ 346248 h 380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10101" h="380492">
                  <a:moveTo>
                    <a:pt x="192149" y="380492"/>
                  </a:moveTo>
                  <a:lnTo>
                    <a:pt x="17122" y="380492"/>
                  </a:lnTo>
                  <a:cubicBezTo>
                    <a:pt x="7610" y="380492"/>
                    <a:pt x="0" y="372882"/>
                    <a:pt x="0" y="363370"/>
                  </a:cubicBezTo>
                  <a:lnTo>
                    <a:pt x="0" y="16488"/>
                  </a:lnTo>
                  <a:cubicBezTo>
                    <a:pt x="634" y="6976"/>
                    <a:pt x="8244" y="0"/>
                    <a:pt x="17122" y="0"/>
                  </a:cubicBezTo>
                  <a:lnTo>
                    <a:pt x="292979" y="0"/>
                  </a:lnTo>
                  <a:cubicBezTo>
                    <a:pt x="302491" y="0"/>
                    <a:pt x="310101" y="7610"/>
                    <a:pt x="310101" y="17122"/>
                  </a:cubicBezTo>
                  <a:lnTo>
                    <a:pt x="310101" y="262540"/>
                  </a:lnTo>
                  <a:cubicBezTo>
                    <a:pt x="310101" y="266979"/>
                    <a:pt x="308199" y="271418"/>
                    <a:pt x="305028" y="274589"/>
                  </a:cubicBezTo>
                  <a:lnTo>
                    <a:pt x="203563" y="376053"/>
                  </a:lnTo>
                  <a:cubicBezTo>
                    <a:pt x="200393" y="378590"/>
                    <a:pt x="196588" y="380492"/>
                    <a:pt x="192149" y="380492"/>
                  </a:cubicBezTo>
                  <a:lnTo>
                    <a:pt x="192149" y="380492"/>
                  </a:lnTo>
                  <a:close/>
                  <a:moveTo>
                    <a:pt x="34244" y="346248"/>
                  </a:moveTo>
                  <a:lnTo>
                    <a:pt x="185173" y="346248"/>
                  </a:lnTo>
                  <a:lnTo>
                    <a:pt x="276491" y="254930"/>
                  </a:lnTo>
                  <a:lnTo>
                    <a:pt x="276491" y="33610"/>
                  </a:lnTo>
                  <a:lnTo>
                    <a:pt x="34244" y="33610"/>
                  </a:lnTo>
                  <a:lnTo>
                    <a:pt x="34244" y="346248"/>
                  </a:lnTo>
                  <a:lnTo>
                    <a:pt x="34244" y="346248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01" name="Forma Livre: Forma 200">
              <a:extLst>
                <a:ext uri="{FF2B5EF4-FFF2-40B4-BE49-F238E27FC236}">
                  <a16:creationId xmlns:a16="http://schemas.microsoft.com/office/drawing/2014/main" id="{59CA8D23-580B-463B-9899-0CB62220F012}"/>
                </a:ext>
              </a:extLst>
            </p:cNvPr>
            <p:cNvSpPr/>
            <p:nvPr/>
          </p:nvSpPr>
          <p:spPr>
            <a:xfrm>
              <a:off x="1345554" y="619541"/>
              <a:ext cx="115485" cy="16487"/>
            </a:xfrm>
            <a:custGeom>
              <a:avLst/>
              <a:gdLst>
                <a:gd name="connsiteX0" fmla="*/ 107806 w 115485"/>
                <a:gd name="connsiteY0" fmla="*/ 16488 h 16487"/>
                <a:gd name="connsiteX1" fmla="*/ 8244 w 115485"/>
                <a:gd name="connsiteY1" fmla="*/ 16488 h 16487"/>
                <a:gd name="connsiteX2" fmla="*/ 0 w 115485"/>
                <a:gd name="connsiteY2" fmla="*/ 8244 h 16487"/>
                <a:gd name="connsiteX3" fmla="*/ 8244 w 115485"/>
                <a:gd name="connsiteY3" fmla="*/ 0 h 16487"/>
                <a:gd name="connsiteX4" fmla="*/ 107172 w 115485"/>
                <a:gd name="connsiteY4" fmla="*/ 0 h 16487"/>
                <a:gd name="connsiteX5" fmla="*/ 115416 w 115485"/>
                <a:gd name="connsiteY5" fmla="*/ 8244 h 16487"/>
                <a:gd name="connsiteX6" fmla="*/ 107806 w 115485"/>
                <a:gd name="connsiteY6" fmla="*/ 16488 h 16487"/>
                <a:gd name="connsiteX7" fmla="*/ 107806 w 115485"/>
                <a:gd name="connsiteY7" fmla="*/ 16488 h 16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5485" h="16487">
                  <a:moveTo>
                    <a:pt x="107806" y="16488"/>
                  </a:moveTo>
                  <a:lnTo>
                    <a:pt x="8244" y="16488"/>
                  </a:lnTo>
                  <a:cubicBezTo>
                    <a:pt x="3805" y="16488"/>
                    <a:pt x="0" y="12683"/>
                    <a:pt x="0" y="8244"/>
                  </a:cubicBezTo>
                  <a:cubicBezTo>
                    <a:pt x="0" y="3805"/>
                    <a:pt x="3805" y="0"/>
                    <a:pt x="8244" y="0"/>
                  </a:cubicBezTo>
                  <a:lnTo>
                    <a:pt x="107172" y="0"/>
                  </a:lnTo>
                  <a:cubicBezTo>
                    <a:pt x="111611" y="0"/>
                    <a:pt x="115416" y="3805"/>
                    <a:pt x="115416" y="8244"/>
                  </a:cubicBezTo>
                  <a:cubicBezTo>
                    <a:pt x="116050" y="13317"/>
                    <a:pt x="112245" y="16488"/>
                    <a:pt x="107806" y="16488"/>
                  </a:cubicBezTo>
                  <a:lnTo>
                    <a:pt x="107806" y="16488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02" name="Forma Livre: Forma 201">
              <a:extLst>
                <a:ext uri="{FF2B5EF4-FFF2-40B4-BE49-F238E27FC236}">
                  <a16:creationId xmlns:a16="http://schemas.microsoft.com/office/drawing/2014/main" id="{FA201DFD-FEFC-4B0D-A4B8-3C64E8D89E59}"/>
                </a:ext>
              </a:extLst>
            </p:cNvPr>
            <p:cNvSpPr/>
            <p:nvPr/>
          </p:nvSpPr>
          <p:spPr>
            <a:xfrm>
              <a:off x="1345554" y="660761"/>
              <a:ext cx="181367" cy="16487"/>
            </a:xfrm>
            <a:custGeom>
              <a:avLst/>
              <a:gdLst>
                <a:gd name="connsiteX0" fmla="*/ 173124 w 181367"/>
                <a:gd name="connsiteY0" fmla="*/ 16488 h 16487"/>
                <a:gd name="connsiteX1" fmla="*/ 8244 w 181367"/>
                <a:gd name="connsiteY1" fmla="*/ 16488 h 16487"/>
                <a:gd name="connsiteX2" fmla="*/ 0 w 181367"/>
                <a:gd name="connsiteY2" fmla="*/ 8244 h 16487"/>
                <a:gd name="connsiteX3" fmla="*/ 8244 w 181367"/>
                <a:gd name="connsiteY3" fmla="*/ 0 h 16487"/>
                <a:gd name="connsiteX4" fmla="*/ 173124 w 181367"/>
                <a:gd name="connsiteY4" fmla="*/ 0 h 16487"/>
                <a:gd name="connsiteX5" fmla="*/ 181368 w 181367"/>
                <a:gd name="connsiteY5" fmla="*/ 8244 h 16487"/>
                <a:gd name="connsiteX6" fmla="*/ 173124 w 181367"/>
                <a:gd name="connsiteY6" fmla="*/ 16488 h 16487"/>
                <a:gd name="connsiteX7" fmla="*/ 173124 w 181367"/>
                <a:gd name="connsiteY7" fmla="*/ 16488 h 16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367" h="16487">
                  <a:moveTo>
                    <a:pt x="173124" y="16488"/>
                  </a:moveTo>
                  <a:lnTo>
                    <a:pt x="8244" y="16488"/>
                  </a:lnTo>
                  <a:cubicBezTo>
                    <a:pt x="3805" y="16488"/>
                    <a:pt x="0" y="12683"/>
                    <a:pt x="0" y="8244"/>
                  </a:cubicBezTo>
                  <a:cubicBezTo>
                    <a:pt x="0" y="3805"/>
                    <a:pt x="3805" y="0"/>
                    <a:pt x="8244" y="0"/>
                  </a:cubicBezTo>
                  <a:lnTo>
                    <a:pt x="173124" y="0"/>
                  </a:lnTo>
                  <a:cubicBezTo>
                    <a:pt x="177563" y="0"/>
                    <a:pt x="181368" y="3805"/>
                    <a:pt x="181368" y="8244"/>
                  </a:cubicBezTo>
                  <a:cubicBezTo>
                    <a:pt x="181368" y="12683"/>
                    <a:pt x="177563" y="16488"/>
                    <a:pt x="173124" y="16488"/>
                  </a:cubicBezTo>
                  <a:lnTo>
                    <a:pt x="173124" y="16488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03" name="Forma Livre: Forma 202">
              <a:extLst>
                <a:ext uri="{FF2B5EF4-FFF2-40B4-BE49-F238E27FC236}">
                  <a16:creationId xmlns:a16="http://schemas.microsoft.com/office/drawing/2014/main" id="{346420F6-C1E6-4D3E-9E3C-79301953E754}"/>
                </a:ext>
              </a:extLst>
            </p:cNvPr>
            <p:cNvSpPr/>
            <p:nvPr/>
          </p:nvSpPr>
          <p:spPr>
            <a:xfrm>
              <a:off x="1345554" y="701347"/>
              <a:ext cx="181367" cy="16487"/>
            </a:xfrm>
            <a:custGeom>
              <a:avLst/>
              <a:gdLst>
                <a:gd name="connsiteX0" fmla="*/ 173124 w 181367"/>
                <a:gd name="connsiteY0" fmla="*/ 16488 h 16487"/>
                <a:gd name="connsiteX1" fmla="*/ 8244 w 181367"/>
                <a:gd name="connsiteY1" fmla="*/ 16488 h 16487"/>
                <a:gd name="connsiteX2" fmla="*/ 0 w 181367"/>
                <a:gd name="connsiteY2" fmla="*/ 8244 h 16487"/>
                <a:gd name="connsiteX3" fmla="*/ 8244 w 181367"/>
                <a:gd name="connsiteY3" fmla="*/ 0 h 16487"/>
                <a:gd name="connsiteX4" fmla="*/ 173124 w 181367"/>
                <a:gd name="connsiteY4" fmla="*/ 0 h 16487"/>
                <a:gd name="connsiteX5" fmla="*/ 181368 w 181367"/>
                <a:gd name="connsiteY5" fmla="*/ 8244 h 16487"/>
                <a:gd name="connsiteX6" fmla="*/ 173124 w 181367"/>
                <a:gd name="connsiteY6" fmla="*/ 16488 h 16487"/>
                <a:gd name="connsiteX7" fmla="*/ 173124 w 181367"/>
                <a:gd name="connsiteY7" fmla="*/ 16488 h 16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367" h="16487">
                  <a:moveTo>
                    <a:pt x="173124" y="16488"/>
                  </a:moveTo>
                  <a:lnTo>
                    <a:pt x="8244" y="16488"/>
                  </a:lnTo>
                  <a:cubicBezTo>
                    <a:pt x="3805" y="16488"/>
                    <a:pt x="0" y="12683"/>
                    <a:pt x="0" y="8244"/>
                  </a:cubicBezTo>
                  <a:cubicBezTo>
                    <a:pt x="0" y="3805"/>
                    <a:pt x="3805" y="0"/>
                    <a:pt x="8244" y="0"/>
                  </a:cubicBezTo>
                  <a:lnTo>
                    <a:pt x="173124" y="0"/>
                  </a:lnTo>
                  <a:cubicBezTo>
                    <a:pt x="177563" y="0"/>
                    <a:pt x="181368" y="3805"/>
                    <a:pt x="181368" y="8244"/>
                  </a:cubicBezTo>
                  <a:cubicBezTo>
                    <a:pt x="181368" y="12683"/>
                    <a:pt x="177563" y="16488"/>
                    <a:pt x="173124" y="16488"/>
                  </a:cubicBezTo>
                  <a:lnTo>
                    <a:pt x="173124" y="16488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04" name="Forma Livre: Forma 203">
              <a:extLst>
                <a:ext uri="{FF2B5EF4-FFF2-40B4-BE49-F238E27FC236}">
                  <a16:creationId xmlns:a16="http://schemas.microsoft.com/office/drawing/2014/main" id="{47AC9DF1-A64B-4DB4-9FCE-4C6B4189D634}"/>
                </a:ext>
              </a:extLst>
            </p:cNvPr>
            <p:cNvSpPr/>
            <p:nvPr/>
          </p:nvSpPr>
          <p:spPr>
            <a:xfrm>
              <a:off x="1345554" y="742567"/>
              <a:ext cx="85610" cy="16488"/>
            </a:xfrm>
            <a:custGeom>
              <a:avLst/>
              <a:gdLst>
                <a:gd name="connsiteX0" fmla="*/ 77367 w 85610"/>
                <a:gd name="connsiteY0" fmla="*/ 16488 h 16488"/>
                <a:gd name="connsiteX1" fmla="*/ 8244 w 85610"/>
                <a:gd name="connsiteY1" fmla="*/ 16488 h 16488"/>
                <a:gd name="connsiteX2" fmla="*/ 0 w 85610"/>
                <a:gd name="connsiteY2" fmla="*/ 8244 h 16488"/>
                <a:gd name="connsiteX3" fmla="*/ 8244 w 85610"/>
                <a:gd name="connsiteY3" fmla="*/ 0 h 16488"/>
                <a:gd name="connsiteX4" fmla="*/ 77367 w 85610"/>
                <a:gd name="connsiteY4" fmla="*/ 0 h 16488"/>
                <a:gd name="connsiteX5" fmla="*/ 85611 w 85610"/>
                <a:gd name="connsiteY5" fmla="*/ 8244 h 16488"/>
                <a:gd name="connsiteX6" fmla="*/ 77367 w 85610"/>
                <a:gd name="connsiteY6" fmla="*/ 16488 h 16488"/>
                <a:gd name="connsiteX7" fmla="*/ 77367 w 85610"/>
                <a:gd name="connsiteY7" fmla="*/ 16488 h 16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5610" h="16488">
                  <a:moveTo>
                    <a:pt x="77367" y="16488"/>
                  </a:moveTo>
                  <a:lnTo>
                    <a:pt x="8244" y="16488"/>
                  </a:lnTo>
                  <a:cubicBezTo>
                    <a:pt x="3805" y="16488"/>
                    <a:pt x="0" y="12683"/>
                    <a:pt x="0" y="8244"/>
                  </a:cubicBezTo>
                  <a:cubicBezTo>
                    <a:pt x="0" y="3805"/>
                    <a:pt x="3805" y="0"/>
                    <a:pt x="8244" y="0"/>
                  </a:cubicBezTo>
                  <a:lnTo>
                    <a:pt x="77367" y="0"/>
                  </a:lnTo>
                  <a:cubicBezTo>
                    <a:pt x="81806" y="0"/>
                    <a:pt x="85611" y="3805"/>
                    <a:pt x="85611" y="8244"/>
                  </a:cubicBezTo>
                  <a:cubicBezTo>
                    <a:pt x="85611" y="12683"/>
                    <a:pt x="81806" y="16488"/>
                    <a:pt x="77367" y="16488"/>
                  </a:cubicBezTo>
                  <a:lnTo>
                    <a:pt x="77367" y="16488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05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5375304" y="1548014"/>
            <a:ext cx="406987" cy="435638"/>
            <a:chOff x="5367357" y="1559555"/>
            <a:chExt cx="411565" cy="440538"/>
          </a:xfrm>
          <a:solidFill>
            <a:srgbClr val="B1B1A1"/>
          </a:solidFill>
        </p:grpSpPr>
        <p:grpSp>
          <p:nvGrpSpPr>
            <p:cNvPr id="206" name="Gráfico 2">
              <a:extLst>
                <a:ext uri="{FF2B5EF4-FFF2-40B4-BE49-F238E27FC236}">
                  <a16:creationId xmlns:a16="http://schemas.microsoft.com/office/drawing/2014/main" id="{DC80C217-93B8-4831-A8BE-0817F1F32ECF}"/>
                </a:ext>
              </a:extLst>
            </p:cNvPr>
            <p:cNvGrpSpPr/>
            <p:nvPr/>
          </p:nvGrpSpPr>
          <p:grpSpPr>
            <a:xfrm>
              <a:off x="5367357" y="1559555"/>
              <a:ext cx="222588" cy="440538"/>
              <a:chOff x="5367357" y="1559555"/>
              <a:chExt cx="222588" cy="440538"/>
            </a:xfrm>
            <a:grpFill/>
          </p:grpSpPr>
          <p:sp>
            <p:nvSpPr>
              <p:cNvPr id="207" name="Forma Livre: Forma 206">
                <a:extLst>
                  <a:ext uri="{FF2B5EF4-FFF2-40B4-BE49-F238E27FC236}">
                    <a16:creationId xmlns:a16="http://schemas.microsoft.com/office/drawing/2014/main" id="{EE44F318-C326-4199-8182-14B343830F40}"/>
                  </a:ext>
                </a:extLst>
              </p:cNvPr>
              <p:cNvSpPr/>
              <p:nvPr/>
            </p:nvSpPr>
            <p:spPr>
              <a:xfrm>
                <a:off x="5367357" y="1559555"/>
                <a:ext cx="222588" cy="440538"/>
              </a:xfrm>
              <a:custGeom>
                <a:avLst/>
                <a:gdLst>
                  <a:gd name="connsiteX0" fmla="*/ 16488 w 222588"/>
                  <a:gd name="connsiteY0" fmla="*/ 440539 h 440538"/>
                  <a:gd name="connsiteX1" fmla="*/ 6976 w 222588"/>
                  <a:gd name="connsiteY1" fmla="*/ 437368 h 440538"/>
                  <a:gd name="connsiteX2" fmla="*/ 0 w 222588"/>
                  <a:gd name="connsiteY2" fmla="*/ 423416 h 440538"/>
                  <a:gd name="connsiteX3" fmla="*/ 0 w 222588"/>
                  <a:gd name="connsiteY3" fmla="*/ 88583 h 440538"/>
                  <a:gd name="connsiteX4" fmla="*/ 10781 w 222588"/>
                  <a:gd name="connsiteY4" fmla="*/ 72730 h 440538"/>
                  <a:gd name="connsiteX5" fmla="*/ 199758 w 222588"/>
                  <a:gd name="connsiteY5" fmla="*/ 1070 h 440538"/>
                  <a:gd name="connsiteX6" fmla="*/ 215612 w 222588"/>
                  <a:gd name="connsiteY6" fmla="*/ 2973 h 440538"/>
                  <a:gd name="connsiteX7" fmla="*/ 222588 w 222588"/>
                  <a:gd name="connsiteY7" fmla="*/ 16924 h 440538"/>
                  <a:gd name="connsiteX8" fmla="*/ 222588 w 222588"/>
                  <a:gd name="connsiteY8" fmla="*/ 351757 h 440538"/>
                  <a:gd name="connsiteX9" fmla="*/ 211807 w 222588"/>
                  <a:gd name="connsiteY9" fmla="*/ 367611 h 440538"/>
                  <a:gd name="connsiteX10" fmla="*/ 22830 w 222588"/>
                  <a:gd name="connsiteY10" fmla="*/ 439904 h 440538"/>
                  <a:gd name="connsiteX11" fmla="*/ 16488 w 222588"/>
                  <a:gd name="connsiteY11" fmla="*/ 440539 h 440538"/>
                  <a:gd name="connsiteX12" fmla="*/ 16488 w 222588"/>
                  <a:gd name="connsiteY12" fmla="*/ 440539 h 440538"/>
                  <a:gd name="connsiteX13" fmla="*/ 33610 w 222588"/>
                  <a:gd name="connsiteY13" fmla="*/ 100632 h 440538"/>
                  <a:gd name="connsiteX14" fmla="*/ 33610 w 222588"/>
                  <a:gd name="connsiteY14" fmla="*/ 399319 h 440538"/>
                  <a:gd name="connsiteX15" fmla="*/ 188978 w 222588"/>
                  <a:gd name="connsiteY15" fmla="*/ 340976 h 440538"/>
                  <a:gd name="connsiteX16" fmla="*/ 188978 w 222588"/>
                  <a:gd name="connsiteY16" fmla="*/ 42290 h 440538"/>
                  <a:gd name="connsiteX17" fmla="*/ 33610 w 222588"/>
                  <a:gd name="connsiteY17" fmla="*/ 100632 h 440538"/>
                  <a:gd name="connsiteX18" fmla="*/ 33610 w 222588"/>
                  <a:gd name="connsiteY18" fmla="*/ 100632 h 440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2588" h="440538">
                    <a:moveTo>
                      <a:pt x="16488" y="440539"/>
                    </a:moveTo>
                    <a:cubicBezTo>
                      <a:pt x="13317" y="440539"/>
                      <a:pt x="9512" y="439270"/>
                      <a:pt x="6976" y="437368"/>
                    </a:cubicBezTo>
                    <a:cubicBezTo>
                      <a:pt x="2537" y="434197"/>
                      <a:pt x="0" y="429124"/>
                      <a:pt x="0" y="423416"/>
                    </a:cubicBezTo>
                    <a:lnTo>
                      <a:pt x="0" y="88583"/>
                    </a:lnTo>
                    <a:cubicBezTo>
                      <a:pt x="0" y="81608"/>
                      <a:pt x="4439" y="75266"/>
                      <a:pt x="10781" y="72730"/>
                    </a:cubicBezTo>
                    <a:lnTo>
                      <a:pt x="199758" y="1070"/>
                    </a:lnTo>
                    <a:cubicBezTo>
                      <a:pt x="204832" y="-832"/>
                      <a:pt x="210539" y="-198"/>
                      <a:pt x="215612" y="2973"/>
                    </a:cubicBezTo>
                    <a:cubicBezTo>
                      <a:pt x="220051" y="6143"/>
                      <a:pt x="222588" y="11217"/>
                      <a:pt x="222588" y="16924"/>
                    </a:cubicBezTo>
                    <a:lnTo>
                      <a:pt x="222588" y="351757"/>
                    </a:lnTo>
                    <a:cubicBezTo>
                      <a:pt x="222588" y="358733"/>
                      <a:pt x="218149" y="365074"/>
                      <a:pt x="211807" y="367611"/>
                    </a:cubicBezTo>
                    <a:lnTo>
                      <a:pt x="22830" y="439904"/>
                    </a:lnTo>
                    <a:cubicBezTo>
                      <a:pt x="20927" y="440539"/>
                      <a:pt x="18391" y="440539"/>
                      <a:pt x="16488" y="440539"/>
                    </a:cubicBezTo>
                    <a:lnTo>
                      <a:pt x="16488" y="440539"/>
                    </a:lnTo>
                    <a:close/>
                    <a:moveTo>
                      <a:pt x="33610" y="100632"/>
                    </a:moveTo>
                    <a:lnTo>
                      <a:pt x="33610" y="399319"/>
                    </a:lnTo>
                    <a:lnTo>
                      <a:pt x="188978" y="340976"/>
                    </a:lnTo>
                    <a:lnTo>
                      <a:pt x="188978" y="42290"/>
                    </a:lnTo>
                    <a:lnTo>
                      <a:pt x="33610" y="100632"/>
                    </a:lnTo>
                    <a:lnTo>
                      <a:pt x="33610" y="100632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08" name="Forma Livre: Forma 207">
                <a:extLst>
                  <a:ext uri="{FF2B5EF4-FFF2-40B4-BE49-F238E27FC236}">
                    <a16:creationId xmlns:a16="http://schemas.microsoft.com/office/drawing/2014/main" id="{03C7EF48-EEB5-46E8-B9A1-24D54168F00A}"/>
                  </a:ext>
                </a:extLst>
              </p:cNvPr>
              <p:cNvSpPr/>
              <p:nvPr/>
            </p:nvSpPr>
            <p:spPr>
              <a:xfrm>
                <a:off x="5414914" y="1670329"/>
                <a:ext cx="130011" cy="59615"/>
              </a:xfrm>
              <a:custGeom>
                <a:avLst/>
                <a:gdLst>
                  <a:gd name="connsiteX0" fmla="*/ 8249 w 130011"/>
                  <a:gd name="connsiteY0" fmla="*/ 59615 h 59615"/>
                  <a:gd name="connsiteX1" fmla="*/ 639 w 130011"/>
                  <a:gd name="connsiteY1" fmla="*/ 53908 h 59615"/>
                  <a:gd name="connsiteX2" fmla="*/ 5712 w 130011"/>
                  <a:gd name="connsiteY2" fmla="*/ 43127 h 59615"/>
                  <a:gd name="connsiteX3" fmla="*/ 118592 w 130011"/>
                  <a:gd name="connsiteY3" fmla="*/ 639 h 59615"/>
                  <a:gd name="connsiteX4" fmla="*/ 129372 w 130011"/>
                  <a:gd name="connsiteY4" fmla="*/ 5712 h 59615"/>
                  <a:gd name="connsiteX5" fmla="*/ 124299 w 130011"/>
                  <a:gd name="connsiteY5" fmla="*/ 16493 h 59615"/>
                  <a:gd name="connsiteX6" fmla="*/ 11420 w 130011"/>
                  <a:gd name="connsiteY6" fmla="*/ 58981 h 59615"/>
                  <a:gd name="connsiteX7" fmla="*/ 8249 w 130011"/>
                  <a:gd name="connsiteY7" fmla="*/ 59615 h 59615"/>
                  <a:gd name="connsiteX8" fmla="*/ 8249 w 130011"/>
                  <a:gd name="connsiteY8" fmla="*/ 59615 h 59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0011" h="59615">
                    <a:moveTo>
                      <a:pt x="8249" y="59615"/>
                    </a:moveTo>
                    <a:cubicBezTo>
                      <a:pt x="5078" y="59615"/>
                      <a:pt x="1907" y="57713"/>
                      <a:pt x="639" y="53908"/>
                    </a:cubicBezTo>
                    <a:cubicBezTo>
                      <a:pt x="-1263" y="49469"/>
                      <a:pt x="1273" y="44396"/>
                      <a:pt x="5712" y="43127"/>
                    </a:cubicBezTo>
                    <a:lnTo>
                      <a:pt x="118592" y="639"/>
                    </a:lnTo>
                    <a:cubicBezTo>
                      <a:pt x="123031" y="-1263"/>
                      <a:pt x="128104" y="1273"/>
                      <a:pt x="129372" y="5712"/>
                    </a:cubicBezTo>
                    <a:cubicBezTo>
                      <a:pt x="131275" y="10151"/>
                      <a:pt x="128738" y="15225"/>
                      <a:pt x="124299" y="16493"/>
                    </a:cubicBezTo>
                    <a:lnTo>
                      <a:pt x="11420" y="58981"/>
                    </a:lnTo>
                    <a:cubicBezTo>
                      <a:pt x="10151" y="59615"/>
                      <a:pt x="8883" y="59615"/>
                      <a:pt x="8249" y="59615"/>
                    </a:cubicBezTo>
                    <a:lnTo>
                      <a:pt x="8249" y="59615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09" name="Forma Livre: Forma 208">
                <a:extLst>
                  <a:ext uri="{FF2B5EF4-FFF2-40B4-BE49-F238E27FC236}">
                    <a16:creationId xmlns:a16="http://schemas.microsoft.com/office/drawing/2014/main" id="{A92A347A-BD96-4873-B9F1-0992BE4DCB20}"/>
                  </a:ext>
                </a:extLst>
              </p:cNvPr>
              <p:cNvSpPr/>
              <p:nvPr/>
            </p:nvSpPr>
            <p:spPr>
              <a:xfrm>
                <a:off x="5414914" y="1778769"/>
                <a:ext cx="130011" cy="59615"/>
              </a:xfrm>
              <a:custGeom>
                <a:avLst/>
                <a:gdLst>
                  <a:gd name="connsiteX0" fmla="*/ 8249 w 130011"/>
                  <a:gd name="connsiteY0" fmla="*/ 59615 h 59615"/>
                  <a:gd name="connsiteX1" fmla="*/ 639 w 130011"/>
                  <a:gd name="connsiteY1" fmla="*/ 53908 h 59615"/>
                  <a:gd name="connsiteX2" fmla="*/ 5712 w 130011"/>
                  <a:gd name="connsiteY2" fmla="*/ 43127 h 59615"/>
                  <a:gd name="connsiteX3" fmla="*/ 118592 w 130011"/>
                  <a:gd name="connsiteY3" fmla="*/ 639 h 59615"/>
                  <a:gd name="connsiteX4" fmla="*/ 129372 w 130011"/>
                  <a:gd name="connsiteY4" fmla="*/ 5712 h 59615"/>
                  <a:gd name="connsiteX5" fmla="*/ 124299 w 130011"/>
                  <a:gd name="connsiteY5" fmla="*/ 16493 h 59615"/>
                  <a:gd name="connsiteX6" fmla="*/ 11420 w 130011"/>
                  <a:gd name="connsiteY6" fmla="*/ 58981 h 59615"/>
                  <a:gd name="connsiteX7" fmla="*/ 8249 w 130011"/>
                  <a:gd name="connsiteY7" fmla="*/ 59615 h 59615"/>
                  <a:gd name="connsiteX8" fmla="*/ 8249 w 130011"/>
                  <a:gd name="connsiteY8" fmla="*/ 59615 h 59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0011" h="59615">
                    <a:moveTo>
                      <a:pt x="8249" y="59615"/>
                    </a:moveTo>
                    <a:cubicBezTo>
                      <a:pt x="5078" y="59615"/>
                      <a:pt x="1907" y="57713"/>
                      <a:pt x="639" y="53908"/>
                    </a:cubicBezTo>
                    <a:cubicBezTo>
                      <a:pt x="-1263" y="49469"/>
                      <a:pt x="1273" y="44396"/>
                      <a:pt x="5712" y="43127"/>
                    </a:cubicBezTo>
                    <a:lnTo>
                      <a:pt x="118592" y="639"/>
                    </a:lnTo>
                    <a:cubicBezTo>
                      <a:pt x="123031" y="-1263"/>
                      <a:pt x="128104" y="1273"/>
                      <a:pt x="129372" y="5712"/>
                    </a:cubicBezTo>
                    <a:cubicBezTo>
                      <a:pt x="131275" y="10151"/>
                      <a:pt x="128738" y="15225"/>
                      <a:pt x="124299" y="16493"/>
                    </a:cubicBezTo>
                    <a:lnTo>
                      <a:pt x="11420" y="58981"/>
                    </a:lnTo>
                    <a:cubicBezTo>
                      <a:pt x="10151" y="59615"/>
                      <a:pt x="8883" y="59615"/>
                      <a:pt x="8249" y="59615"/>
                    </a:cubicBezTo>
                    <a:lnTo>
                      <a:pt x="8249" y="59615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10" name="Forma Livre: Forma 209">
                <a:extLst>
                  <a:ext uri="{FF2B5EF4-FFF2-40B4-BE49-F238E27FC236}">
                    <a16:creationId xmlns:a16="http://schemas.microsoft.com/office/drawing/2014/main" id="{4A7A9CA2-FB8C-4CC5-BBA2-C29D845F6F30}"/>
                  </a:ext>
                </a:extLst>
              </p:cNvPr>
              <p:cNvSpPr/>
              <p:nvPr/>
            </p:nvSpPr>
            <p:spPr>
              <a:xfrm>
                <a:off x="5414914" y="1833306"/>
                <a:ext cx="130011" cy="59615"/>
              </a:xfrm>
              <a:custGeom>
                <a:avLst/>
                <a:gdLst>
                  <a:gd name="connsiteX0" fmla="*/ 8249 w 130011"/>
                  <a:gd name="connsiteY0" fmla="*/ 59615 h 59615"/>
                  <a:gd name="connsiteX1" fmla="*/ 639 w 130011"/>
                  <a:gd name="connsiteY1" fmla="*/ 53908 h 59615"/>
                  <a:gd name="connsiteX2" fmla="*/ 5712 w 130011"/>
                  <a:gd name="connsiteY2" fmla="*/ 43127 h 59615"/>
                  <a:gd name="connsiteX3" fmla="*/ 118592 w 130011"/>
                  <a:gd name="connsiteY3" fmla="*/ 639 h 59615"/>
                  <a:gd name="connsiteX4" fmla="*/ 129372 w 130011"/>
                  <a:gd name="connsiteY4" fmla="*/ 5712 h 59615"/>
                  <a:gd name="connsiteX5" fmla="*/ 124299 w 130011"/>
                  <a:gd name="connsiteY5" fmla="*/ 16493 h 59615"/>
                  <a:gd name="connsiteX6" fmla="*/ 11420 w 130011"/>
                  <a:gd name="connsiteY6" fmla="*/ 58981 h 59615"/>
                  <a:gd name="connsiteX7" fmla="*/ 8249 w 130011"/>
                  <a:gd name="connsiteY7" fmla="*/ 59615 h 59615"/>
                  <a:gd name="connsiteX8" fmla="*/ 8249 w 130011"/>
                  <a:gd name="connsiteY8" fmla="*/ 59615 h 59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0011" h="59615">
                    <a:moveTo>
                      <a:pt x="8249" y="59615"/>
                    </a:moveTo>
                    <a:cubicBezTo>
                      <a:pt x="5078" y="59615"/>
                      <a:pt x="1907" y="57713"/>
                      <a:pt x="639" y="53908"/>
                    </a:cubicBezTo>
                    <a:cubicBezTo>
                      <a:pt x="-1263" y="49469"/>
                      <a:pt x="1273" y="44396"/>
                      <a:pt x="5712" y="43127"/>
                    </a:cubicBezTo>
                    <a:lnTo>
                      <a:pt x="118592" y="639"/>
                    </a:lnTo>
                    <a:cubicBezTo>
                      <a:pt x="123031" y="-1263"/>
                      <a:pt x="128104" y="1273"/>
                      <a:pt x="129372" y="5712"/>
                    </a:cubicBezTo>
                    <a:cubicBezTo>
                      <a:pt x="131275" y="10151"/>
                      <a:pt x="128738" y="15225"/>
                      <a:pt x="124299" y="16493"/>
                    </a:cubicBezTo>
                    <a:lnTo>
                      <a:pt x="11420" y="58981"/>
                    </a:lnTo>
                    <a:cubicBezTo>
                      <a:pt x="10151" y="59615"/>
                      <a:pt x="8883" y="59615"/>
                      <a:pt x="8249" y="59615"/>
                    </a:cubicBezTo>
                    <a:lnTo>
                      <a:pt x="8249" y="59615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11" name="Forma Livre: Forma 210">
                <a:extLst>
                  <a:ext uri="{FF2B5EF4-FFF2-40B4-BE49-F238E27FC236}">
                    <a16:creationId xmlns:a16="http://schemas.microsoft.com/office/drawing/2014/main" id="{8457A389-1E00-45BE-81D2-15AA17D97752}"/>
                  </a:ext>
                </a:extLst>
              </p:cNvPr>
              <p:cNvSpPr/>
              <p:nvPr/>
            </p:nvSpPr>
            <p:spPr>
              <a:xfrm>
                <a:off x="5414914" y="1724866"/>
                <a:ext cx="130011" cy="59615"/>
              </a:xfrm>
              <a:custGeom>
                <a:avLst/>
                <a:gdLst>
                  <a:gd name="connsiteX0" fmla="*/ 8249 w 130011"/>
                  <a:gd name="connsiteY0" fmla="*/ 59615 h 59615"/>
                  <a:gd name="connsiteX1" fmla="*/ 639 w 130011"/>
                  <a:gd name="connsiteY1" fmla="*/ 53908 h 59615"/>
                  <a:gd name="connsiteX2" fmla="*/ 5712 w 130011"/>
                  <a:gd name="connsiteY2" fmla="*/ 43127 h 59615"/>
                  <a:gd name="connsiteX3" fmla="*/ 118592 w 130011"/>
                  <a:gd name="connsiteY3" fmla="*/ 639 h 59615"/>
                  <a:gd name="connsiteX4" fmla="*/ 129372 w 130011"/>
                  <a:gd name="connsiteY4" fmla="*/ 5712 h 59615"/>
                  <a:gd name="connsiteX5" fmla="*/ 124299 w 130011"/>
                  <a:gd name="connsiteY5" fmla="*/ 16493 h 59615"/>
                  <a:gd name="connsiteX6" fmla="*/ 11420 w 130011"/>
                  <a:gd name="connsiteY6" fmla="*/ 58981 h 59615"/>
                  <a:gd name="connsiteX7" fmla="*/ 8249 w 130011"/>
                  <a:gd name="connsiteY7" fmla="*/ 59615 h 59615"/>
                  <a:gd name="connsiteX8" fmla="*/ 8249 w 130011"/>
                  <a:gd name="connsiteY8" fmla="*/ 59615 h 59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0011" h="59615">
                    <a:moveTo>
                      <a:pt x="8249" y="59615"/>
                    </a:moveTo>
                    <a:cubicBezTo>
                      <a:pt x="5078" y="59615"/>
                      <a:pt x="1907" y="57713"/>
                      <a:pt x="639" y="53908"/>
                    </a:cubicBezTo>
                    <a:cubicBezTo>
                      <a:pt x="-1263" y="49469"/>
                      <a:pt x="1273" y="44396"/>
                      <a:pt x="5712" y="43127"/>
                    </a:cubicBezTo>
                    <a:lnTo>
                      <a:pt x="118592" y="639"/>
                    </a:lnTo>
                    <a:cubicBezTo>
                      <a:pt x="123031" y="-1263"/>
                      <a:pt x="128104" y="1273"/>
                      <a:pt x="129372" y="5712"/>
                    </a:cubicBezTo>
                    <a:cubicBezTo>
                      <a:pt x="131275" y="10151"/>
                      <a:pt x="128738" y="15225"/>
                      <a:pt x="124299" y="16493"/>
                    </a:cubicBezTo>
                    <a:lnTo>
                      <a:pt x="11420" y="58981"/>
                    </a:lnTo>
                    <a:cubicBezTo>
                      <a:pt x="10151" y="58981"/>
                      <a:pt x="8883" y="59615"/>
                      <a:pt x="8249" y="59615"/>
                    </a:cubicBezTo>
                    <a:lnTo>
                      <a:pt x="8249" y="59615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212" name="Gráfico 2">
              <a:extLst>
                <a:ext uri="{FF2B5EF4-FFF2-40B4-BE49-F238E27FC236}">
                  <a16:creationId xmlns:a16="http://schemas.microsoft.com/office/drawing/2014/main" id="{DC80C217-93B8-4831-A8BE-0817F1F32ECF}"/>
                </a:ext>
              </a:extLst>
            </p:cNvPr>
            <p:cNvGrpSpPr/>
            <p:nvPr/>
          </p:nvGrpSpPr>
          <p:grpSpPr>
            <a:xfrm>
              <a:off x="5556335" y="1560189"/>
              <a:ext cx="222587" cy="413904"/>
              <a:chOff x="5556335" y="1560189"/>
              <a:chExt cx="222587" cy="413904"/>
            </a:xfrm>
            <a:grpFill/>
          </p:grpSpPr>
          <p:sp>
            <p:nvSpPr>
              <p:cNvPr id="213" name="Forma Livre: Forma 212">
                <a:extLst>
                  <a:ext uri="{FF2B5EF4-FFF2-40B4-BE49-F238E27FC236}">
                    <a16:creationId xmlns:a16="http://schemas.microsoft.com/office/drawing/2014/main" id="{A4B01CE3-993A-4971-BB50-141446F3434A}"/>
                  </a:ext>
                </a:extLst>
              </p:cNvPr>
              <p:cNvSpPr/>
              <p:nvPr/>
            </p:nvSpPr>
            <p:spPr>
              <a:xfrm>
                <a:off x="5684434" y="1851453"/>
                <a:ext cx="85996" cy="114396"/>
              </a:xfrm>
              <a:custGeom>
                <a:avLst/>
                <a:gdLst>
                  <a:gd name="connsiteX0" fmla="*/ 8244 w 85996"/>
                  <a:gd name="connsiteY0" fmla="*/ 114396 h 114396"/>
                  <a:gd name="connsiteX1" fmla="*/ 0 w 85996"/>
                  <a:gd name="connsiteY1" fmla="*/ 106152 h 114396"/>
                  <a:gd name="connsiteX2" fmla="*/ 0 w 85996"/>
                  <a:gd name="connsiteY2" fmla="*/ 8493 h 114396"/>
                  <a:gd name="connsiteX3" fmla="*/ 3805 w 85996"/>
                  <a:gd name="connsiteY3" fmla="*/ 1517 h 114396"/>
                  <a:gd name="connsiteX4" fmla="*/ 11415 w 85996"/>
                  <a:gd name="connsiteY4" fmla="*/ 249 h 114396"/>
                  <a:gd name="connsiteX5" fmla="*/ 80538 w 85996"/>
                  <a:gd name="connsiteY5" fmla="*/ 26249 h 114396"/>
                  <a:gd name="connsiteX6" fmla="*/ 85611 w 85996"/>
                  <a:gd name="connsiteY6" fmla="*/ 37030 h 114396"/>
                  <a:gd name="connsiteX7" fmla="*/ 74830 w 85996"/>
                  <a:gd name="connsiteY7" fmla="*/ 42103 h 114396"/>
                  <a:gd name="connsiteX8" fmla="*/ 17122 w 85996"/>
                  <a:gd name="connsiteY8" fmla="*/ 19908 h 114396"/>
                  <a:gd name="connsiteX9" fmla="*/ 17122 w 85996"/>
                  <a:gd name="connsiteY9" fmla="*/ 105518 h 114396"/>
                  <a:gd name="connsiteX10" fmla="*/ 8244 w 85996"/>
                  <a:gd name="connsiteY10" fmla="*/ 114396 h 114396"/>
                  <a:gd name="connsiteX11" fmla="*/ 8244 w 85996"/>
                  <a:gd name="connsiteY11" fmla="*/ 114396 h 114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5996" h="114396">
                    <a:moveTo>
                      <a:pt x="8244" y="114396"/>
                    </a:moveTo>
                    <a:cubicBezTo>
                      <a:pt x="3805" y="114396"/>
                      <a:pt x="0" y="110592"/>
                      <a:pt x="0" y="106152"/>
                    </a:cubicBezTo>
                    <a:lnTo>
                      <a:pt x="0" y="8493"/>
                    </a:lnTo>
                    <a:cubicBezTo>
                      <a:pt x="0" y="5956"/>
                      <a:pt x="1268" y="3420"/>
                      <a:pt x="3805" y="1517"/>
                    </a:cubicBezTo>
                    <a:cubicBezTo>
                      <a:pt x="6342" y="249"/>
                      <a:pt x="8878" y="-385"/>
                      <a:pt x="11415" y="249"/>
                    </a:cubicBezTo>
                    <a:lnTo>
                      <a:pt x="80538" y="26249"/>
                    </a:lnTo>
                    <a:cubicBezTo>
                      <a:pt x="84977" y="28152"/>
                      <a:pt x="86879" y="32591"/>
                      <a:pt x="85611" y="37030"/>
                    </a:cubicBezTo>
                    <a:cubicBezTo>
                      <a:pt x="83708" y="41469"/>
                      <a:pt x="79269" y="43371"/>
                      <a:pt x="74830" y="42103"/>
                    </a:cubicBezTo>
                    <a:lnTo>
                      <a:pt x="17122" y="19908"/>
                    </a:lnTo>
                    <a:lnTo>
                      <a:pt x="17122" y="105518"/>
                    </a:lnTo>
                    <a:cubicBezTo>
                      <a:pt x="16488" y="110592"/>
                      <a:pt x="12683" y="114396"/>
                      <a:pt x="8244" y="114396"/>
                    </a:cubicBezTo>
                    <a:lnTo>
                      <a:pt x="8244" y="114396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14" name="Forma Livre: Forma 213">
                <a:extLst>
                  <a:ext uri="{FF2B5EF4-FFF2-40B4-BE49-F238E27FC236}">
                    <a16:creationId xmlns:a16="http://schemas.microsoft.com/office/drawing/2014/main" id="{B4A36986-F1B9-4DBD-A70A-CC1F1D2A3E4C}"/>
                  </a:ext>
                </a:extLst>
              </p:cNvPr>
              <p:cNvSpPr/>
              <p:nvPr/>
            </p:nvSpPr>
            <p:spPr>
              <a:xfrm>
                <a:off x="5556335" y="1560189"/>
                <a:ext cx="222587" cy="413904"/>
              </a:xfrm>
              <a:custGeom>
                <a:avLst/>
                <a:gdLst>
                  <a:gd name="connsiteX0" fmla="*/ 136343 w 222587"/>
                  <a:gd name="connsiteY0" fmla="*/ 413904 h 413904"/>
                  <a:gd name="connsiteX1" fmla="*/ 130636 w 222587"/>
                  <a:gd name="connsiteY1" fmla="*/ 412636 h 413904"/>
                  <a:gd name="connsiteX2" fmla="*/ 10780 w 222587"/>
                  <a:gd name="connsiteY2" fmla="*/ 367611 h 413904"/>
                  <a:gd name="connsiteX3" fmla="*/ 0 w 222587"/>
                  <a:gd name="connsiteY3" fmla="*/ 351757 h 413904"/>
                  <a:gd name="connsiteX4" fmla="*/ 0 w 222587"/>
                  <a:gd name="connsiteY4" fmla="*/ 16924 h 413904"/>
                  <a:gd name="connsiteX5" fmla="*/ 6976 w 222587"/>
                  <a:gd name="connsiteY5" fmla="*/ 2973 h 413904"/>
                  <a:gd name="connsiteX6" fmla="*/ 22829 w 222587"/>
                  <a:gd name="connsiteY6" fmla="*/ 1070 h 413904"/>
                  <a:gd name="connsiteX7" fmla="*/ 211807 w 222587"/>
                  <a:gd name="connsiteY7" fmla="*/ 72729 h 413904"/>
                  <a:gd name="connsiteX8" fmla="*/ 222588 w 222587"/>
                  <a:gd name="connsiteY8" fmla="*/ 88583 h 413904"/>
                  <a:gd name="connsiteX9" fmla="*/ 222588 w 222587"/>
                  <a:gd name="connsiteY9" fmla="*/ 325757 h 413904"/>
                  <a:gd name="connsiteX10" fmla="*/ 217515 w 222587"/>
                  <a:gd name="connsiteY10" fmla="*/ 337806 h 413904"/>
                  <a:gd name="connsiteX11" fmla="*/ 148392 w 222587"/>
                  <a:gd name="connsiteY11" fmla="*/ 409465 h 413904"/>
                  <a:gd name="connsiteX12" fmla="*/ 136343 w 222587"/>
                  <a:gd name="connsiteY12" fmla="*/ 413904 h 413904"/>
                  <a:gd name="connsiteX13" fmla="*/ 136343 w 222587"/>
                  <a:gd name="connsiteY13" fmla="*/ 413904 h 413904"/>
                  <a:gd name="connsiteX14" fmla="*/ 33610 w 222587"/>
                  <a:gd name="connsiteY14" fmla="*/ 340342 h 413904"/>
                  <a:gd name="connsiteX15" fmla="*/ 131904 w 222587"/>
                  <a:gd name="connsiteY15" fmla="*/ 377757 h 413904"/>
                  <a:gd name="connsiteX16" fmla="*/ 188978 w 222587"/>
                  <a:gd name="connsiteY16" fmla="*/ 318781 h 413904"/>
                  <a:gd name="connsiteX17" fmla="*/ 188978 w 222587"/>
                  <a:gd name="connsiteY17" fmla="*/ 99998 h 413904"/>
                  <a:gd name="connsiteX18" fmla="*/ 33610 w 222587"/>
                  <a:gd name="connsiteY18" fmla="*/ 41656 h 413904"/>
                  <a:gd name="connsiteX19" fmla="*/ 33610 w 222587"/>
                  <a:gd name="connsiteY19" fmla="*/ 340342 h 413904"/>
                  <a:gd name="connsiteX20" fmla="*/ 33610 w 222587"/>
                  <a:gd name="connsiteY20" fmla="*/ 340342 h 4139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22587" h="413904">
                    <a:moveTo>
                      <a:pt x="136343" y="413904"/>
                    </a:moveTo>
                    <a:cubicBezTo>
                      <a:pt x="134440" y="413904"/>
                      <a:pt x="132538" y="413270"/>
                      <a:pt x="130636" y="412636"/>
                    </a:cubicBezTo>
                    <a:lnTo>
                      <a:pt x="10780" y="367611"/>
                    </a:lnTo>
                    <a:cubicBezTo>
                      <a:pt x="4439" y="365074"/>
                      <a:pt x="0" y="358733"/>
                      <a:pt x="0" y="351757"/>
                    </a:cubicBezTo>
                    <a:lnTo>
                      <a:pt x="0" y="16924"/>
                    </a:lnTo>
                    <a:cubicBezTo>
                      <a:pt x="0" y="11217"/>
                      <a:pt x="2536" y="6143"/>
                      <a:pt x="6976" y="2973"/>
                    </a:cubicBezTo>
                    <a:cubicBezTo>
                      <a:pt x="11415" y="-198"/>
                      <a:pt x="17122" y="-832"/>
                      <a:pt x="22829" y="1070"/>
                    </a:cubicBezTo>
                    <a:lnTo>
                      <a:pt x="211807" y="72729"/>
                    </a:lnTo>
                    <a:cubicBezTo>
                      <a:pt x="218149" y="75266"/>
                      <a:pt x="222588" y="81608"/>
                      <a:pt x="222588" y="88583"/>
                    </a:cubicBezTo>
                    <a:lnTo>
                      <a:pt x="222588" y="325757"/>
                    </a:lnTo>
                    <a:cubicBezTo>
                      <a:pt x="222588" y="330196"/>
                      <a:pt x="220685" y="334635"/>
                      <a:pt x="217515" y="337806"/>
                    </a:cubicBezTo>
                    <a:lnTo>
                      <a:pt x="148392" y="409465"/>
                    </a:lnTo>
                    <a:cubicBezTo>
                      <a:pt x="145221" y="412002"/>
                      <a:pt x="140782" y="413904"/>
                      <a:pt x="136343" y="413904"/>
                    </a:cubicBezTo>
                    <a:lnTo>
                      <a:pt x="136343" y="413904"/>
                    </a:lnTo>
                    <a:close/>
                    <a:moveTo>
                      <a:pt x="33610" y="340342"/>
                    </a:moveTo>
                    <a:lnTo>
                      <a:pt x="131904" y="377757"/>
                    </a:lnTo>
                    <a:lnTo>
                      <a:pt x="188978" y="318781"/>
                    </a:lnTo>
                    <a:lnTo>
                      <a:pt x="188978" y="99998"/>
                    </a:lnTo>
                    <a:lnTo>
                      <a:pt x="33610" y="41656"/>
                    </a:lnTo>
                    <a:lnTo>
                      <a:pt x="33610" y="340342"/>
                    </a:lnTo>
                    <a:lnTo>
                      <a:pt x="33610" y="340342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15" name="Forma Livre: Forma 214">
                <a:extLst>
                  <a:ext uri="{FF2B5EF4-FFF2-40B4-BE49-F238E27FC236}">
                    <a16:creationId xmlns:a16="http://schemas.microsoft.com/office/drawing/2014/main" id="{84F74680-BA3A-493A-93A4-176C8C8C92B9}"/>
                  </a:ext>
                </a:extLst>
              </p:cNvPr>
              <p:cNvSpPr/>
              <p:nvPr/>
            </p:nvSpPr>
            <p:spPr>
              <a:xfrm>
                <a:off x="5605413" y="1671851"/>
                <a:ext cx="129504" cy="59362"/>
              </a:xfrm>
              <a:custGeom>
                <a:avLst/>
                <a:gdLst>
                  <a:gd name="connsiteX0" fmla="*/ 121509 w 129504"/>
                  <a:gd name="connsiteY0" fmla="*/ 59362 h 59362"/>
                  <a:gd name="connsiteX1" fmla="*/ 118338 w 129504"/>
                  <a:gd name="connsiteY1" fmla="*/ 58728 h 59362"/>
                  <a:gd name="connsiteX2" fmla="*/ 5459 w 129504"/>
                  <a:gd name="connsiteY2" fmla="*/ 16240 h 59362"/>
                  <a:gd name="connsiteX3" fmla="*/ 386 w 129504"/>
                  <a:gd name="connsiteY3" fmla="*/ 5459 h 59362"/>
                  <a:gd name="connsiteX4" fmla="*/ 11166 w 129504"/>
                  <a:gd name="connsiteY4" fmla="*/ 386 h 59362"/>
                  <a:gd name="connsiteX5" fmla="*/ 124046 w 129504"/>
                  <a:gd name="connsiteY5" fmla="*/ 42874 h 59362"/>
                  <a:gd name="connsiteX6" fmla="*/ 129119 w 129504"/>
                  <a:gd name="connsiteY6" fmla="*/ 53655 h 59362"/>
                  <a:gd name="connsiteX7" fmla="*/ 121509 w 129504"/>
                  <a:gd name="connsiteY7" fmla="*/ 59362 h 59362"/>
                  <a:gd name="connsiteX8" fmla="*/ 121509 w 129504"/>
                  <a:gd name="connsiteY8" fmla="*/ 59362 h 59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9504" h="59362">
                    <a:moveTo>
                      <a:pt x="121509" y="59362"/>
                    </a:moveTo>
                    <a:cubicBezTo>
                      <a:pt x="120241" y="59362"/>
                      <a:pt x="119607" y="59362"/>
                      <a:pt x="118338" y="58728"/>
                    </a:cubicBezTo>
                    <a:lnTo>
                      <a:pt x="5459" y="16240"/>
                    </a:lnTo>
                    <a:cubicBezTo>
                      <a:pt x="1020" y="14337"/>
                      <a:pt x="-883" y="9898"/>
                      <a:pt x="386" y="5459"/>
                    </a:cubicBezTo>
                    <a:cubicBezTo>
                      <a:pt x="2288" y="1020"/>
                      <a:pt x="6727" y="-883"/>
                      <a:pt x="11166" y="386"/>
                    </a:cubicBezTo>
                    <a:lnTo>
                      <a:pt x="124046" y="42874"/>
                    </a:lnTo>
                    <a:cubicBezTo>
                      <a:pt x="128485" y="44776"/>
                      <a:pt x="130387" y="49216"/>
                      <a:pt x="129119" y="53655"/>
                    </a:cubicBezTo>
                    <a:cubicBezTo>
                      <a:pt x="127851" y="57460"/>
                      <a:pt x="124680" y="59362"/>
                      <a:pt x="121509" y="59362"/>
                    </a:cubicBezTo>
                    <a:lnTo>
                      <a:pt x="121509" y="59362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16" name="Forma Livre: Forma 215">
                <a:extLst>
                  <a:ext uri="{FF2B5EF4-FFF2-40B4-BE49-F238E27FC236}">
                    <a16:creationId xmlns:a16="http://schemas.microsoft.com/office/drawing/2014/main" id="{000E6CDD-AA81-406D-BE89-901E0EEDB484}"/>
                  </a:ext>
                </a:extLst>
              </p:cNvPr>
              <p:cNvSpPr/>
              <p:nvPr/>
            </p:nvSpPr>
            <p:spPr>
              <a:xfrm>
                <a:off x="5605413" y="1780925"/>
                <a:ext cx="129504" cy="59361"/>
              </a:xfrm>
              <a:custGeom>
                <a:avLst/>
                <a:gdLst>
                  <a:gd name="connsiteX0" fmla="*/ 121509 w 129504"/>
                  <a:gd name="connsiteY0" fmla="*/ 59362 h 59361"/>
                  <a:gd name="connsiteX1" fmla="*/ 118338 w 129504"/>
                  <a:gd name="connsiteY1" fmla="*/ 58728 h 59361"/>
                  <a:gd name="connsiteX2" fmla="*/ 5459 w 129504"/>
                  <a:gd name="connsiteY2" fmla="*/ 16240 h 59361"/>
                  <a:gd name="connsiteX3" fmla="*/ 386 w 129504"/>
                  <a:gd name="connsiteY3" fmla="*/ 5459 h 59361"/>
                  <a:gd name="connsiteX4" fmla="*/ 11166 w 129504"/>
                  <a:gd name="connsiteY4" fmla="*/ 386 h 59361"/>
                  <a:gd name="connsiteX5" fmla="*/ 124046 w 129504"/>
                  <a:gd name="connsiteY5" fmla="*/ 42874 h 59361"/>
                  <a:gd name="connsiteX6" fmla="*/ 129119 w 129504"/>
                  <a:gd name="connsiteY6" fmla="*/ 53655 h 59361"/>
                  <a:gd name="connsiteX7" fmla="*/ 121509 w 129504"/>
                  <a:gd name="connsiteY7" fmla="*/ 59362 h 59361"/>
                  <a:gd name="connsiteX8" fmla="*/ 121509 w 129504"/>
                  <a:gd name="connsiteY8" fmla="*/ 59362 h 59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9504" h="59361">
                    <a:moveTo>
                      <a:pt x="121509" y="59362"/>
                    </a:moveTo>
                    <a:cubicBezTo>
                      <a:pt x="120241" y="59362"/>
                      <a:pt x="119607" y="59362"/>
                      <a:pt x="118338" y="58728"/>
                    </a:cubicBezTo>
                    <a:lnTo>
                      <a:pt x="5459" y="16240"/>
                    </a:lnTo>
                    <a:cubicBezTo>
                      <a:pt x="1020" y="14337"/>
                      <a:pt x="-883" y="9898"/>
                      <a:pt x="386" y="5459"/>
                    </a:cubicBezTo>
                    <a:cubicBezTo>
                      <a:pt x="2288" y="1020"/>
                      <a:pt x="6727" y="-883"/>
                      <a:pt x="11166" y="386"/>
                    </a:cubicBezTo>
                    <a:lnTo>
                      <a:pt x="124046" y="42874"/>
                    </a:lnTo>
                    <a:cubicBezTo>
                      <a:pt x="128485" y="44777"/>
                      <a:pt x="130387" y="49216"/>
                      <a:pt x="129119" y="53655"/>
                    </a:cubicBezTo>
                    <a:cubicBezTo>
                      <a:pt x="127851" y="56825"/>
                      <a:pt x="124680" y="59362"/>
                      <a:pt x="121509" y="59362"/>
                    </a:cubicBezTo>
                    <a:lnTo>
                      <a:pt x="121509" y="59362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17" name="Forma Livre: Forma 216">
                <a:extLst>
                  <a:ext uri="{FF2B5EF4-FFF2-40B4-BE49-F238E27FC236}">
                    <a16:creationId xmlns:a16="http://schemas.microsoft.com/office/drawing/2014/main" id="{830E8D81-1AD1-46AB-BA7A-0F4F2F9D8E40}"/>
                  </a:ext>
                </a:extLst>
              </p:cNvPr>
              <p:cNvSpPr/>
              <p:nvPr/>
            </p:nvSpPr>
            <p:spPr>
              <a:xfrm>
                <a:off x="5605413" y="1726388"/>
                <a:ext cx="129504" cy="59362"/>
              </a:xfrm>
              <a:custGeom>
                <a:avLst/>
                <a:gdLst>
                  <a:gd name="connsiteX0" fmla="*/ 121509 w 129504"/>
                  <a:gd name="connsiteY0" fmla="*/ 59362 h 59362"/>
                  <a:gd name="connsiteX1" fmla="*/ 118338 w 129504"/>
                  <a:gd name="connsiteY1" fmla="*/ 58728 h 59362"/>
                  <a:gd name="connsiteX2" fmla="*/ 5459 w 129504"/>
                  <a:gd name="connsiteY2" fmla="*/ 16240 h 59362"/>
                  <a:gd name="connsiteX3" fmla="*/ 386 w 129504"/>
                  <a:gd name="connsiteY3" fmla="*/ 5459 h 59362"/>
                  <a:gd name="connsiteX4" fmla="*/ 11166 w 129504"/>
                  <a:gd name="connsiteY4" fmla="*/ 386 h 59362"/>
                  <a:gd name="connsiteX5" fmla="*/ 124046 w 129504"/>
                  <a:gd name="connsiteY5" fmla="*/ 42874 h 59362"/>
                  <a:gd name="connsiteX6" fmla="*/ 129119 w 129504"/>
                  <a:gd name="connsiteY6" fmla="*/ 53655 h 59362"/>
                  <a:gd name="connsiteX7" fmla="*/ 121509 w 129504"/>
                  <a:gd name="connsiteY7" fmla="*/ 59362 h 59362"/>
                  <a:gd name="connsiteX8" fmla="*/ 121509 w 129504"/>
                  <a:gd name="connsiteY8" fmla="*/ 59362 h 59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9504" h="59362">
                    <a:moveTo>
                      <a:pt x="121509" y="59362"/>
                    </a:moveTo>
                    <a:cubicBezTo>
                      <a:pt x="120241" y="59362"/>
                      <a:pt x="119607" y="59362"/>
                      <a:pt x="118338" y="58728"/>
                    </a:cubicBezTo>
                    <a:lnTo>
                      <a:pt x="5459" y="16240"/>
                    </a:lnTo>
                    <a:cubicBezTo>
                      <a:pt x="1020" y="14337"/>
                      <a:pt x="-883" y="9898"/>
                      <a:pt x="386" y="5459"/>
                    </a:cubicBezTo>
                    <a:cubicBezTo>
                      <a:pt x="2288" y="1020"/>
                      <a:pt x="6727" y="-883"/>
                      <a:pt x="11166" y="386"/>
                    </a:cubicBezTo>
                    <a:lnTo>
                      <a:pt x="124046" y="42874"/>
                    </a:lnTo>
                    <a:cubicBezTo>
                      <a:pt x="128485" y="44776"/>
                      <a:pt x="130387" y="49216"/>
                      <a:pt x="129119" y="53655"/>
                    </a:cubicBezTo>
                    <a:cubicBezTo>
                      <a:pt x="127851" y="57460"/>
                      <a:pt x="124680" y="59362"/>
                      <a:pt x="121509" y="59362"/>
                    </a:cubicBezTo>
                    <a:lnTo>
                      <a:pt x="121509" y="59362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218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4350622" y="1548014"/>
            <a:ext cx="409496" cy="435638"/>
            <a:chOff x="4331150" y="1559555"/>
            <a:chExt cx="414102" cy="440538"/>
          </a:xfrm>
          <a:solidFill>
            <a:srgbClr val="B1B1A1"/>
          </a:solidFill>
        </p:grpSpPr>
        <p:sp>
          <p:nvSpPr>
            <p:cNvPr id="219" name="Forma Livre: Forma 218">
              <a:extLst>
                <a:ext uri="{FF2B5EF4-FFF2-40B4-BE49-F238E27FC236}">
                  <a16:creationId xmlns:a16="http://schemas.microsoft.com/office/drawing/2014/main" id="{A43009BF-67A6-455E-817C-32E2D6D154E7}"/>
                </a:ext>
              </a:extLst>
            </p:cNvPr>
            <p:cNvSpPr/>
            <p:nvPr/>
          </p:nvSpPr>
          <p:spPr>
            <a:xfrm>
              <a:off x="4331150" y="1559555"/>
              <a:ext cx="222587" cy="440538"/>
            </a:xfrm>
            <a:custGeom>
              <a:avLst/>
              <a:gdLst>
                <a:gd name="connsiteX0" fmla="*/ 16488 w 222587"/>
                <a:gd name="connsiteY0" fmla="*/ 440539 h 440538"/>
                <a:gd name="connsiteX1" fmla="*/ 6976 w 222587"/>
                <a:gd name="connsiteY1" fmla="*/ 437368 h 440538"/>
                <a:gd name="connsiteX2" fmla="*/ 0 w 222587"/>
                <a:gd name="connsiteY2" fmla="*/ 423416 h 440538"/>
                <a:gd name="connsiteX3" fmla="*/ 0 w 222587"/>
                <a:gd name="connsiteY3" fmla="*/ 88583 h 440538"/>
                <a:gd name="connsiteX4" fmla="*/ 10780 w 222587"/>
                <a:gd name="connsiteY4" fmla="*/ 72730 h 440538"/>
                <a:gd name="connsiteX5" fmla="*/ 199758 w 222587"/>
                <a:gd name="connsiteY5" fmla="*/ 1070 h 440538"/>
                <a:gd name="connsiteX6" fmla="*/ 215612 w 222587"/>
                <a:gd name="connsiteY6" fmla="*/ 2973 h 440538"/>
                <a:gd name="connsiteX7" fmla="*/ 222588 w 222587"/>
                <a:gd name="connsiteY7" fmla="*/ 16924 h 440538"/>
                <a:gd name="connsiteX8" fmla="*/ 222588 w 222587"/>
                <a:gd name="connsiteY8" fmla="*/ 351757 h 440538"/>
                <a:gd name="connsiteX9" fmla="*/ 211807 w 222587"/>
                <a:gd name="connsiteY9" fmla="*/ 367611 h 440538"/>
                <a:gd name="connsiteX10" fmla="*/ 22829 w 222587"/>
                <a:gd name="connsiteY10" fmla="*/ 439904 h 440538"/>
                <a:gd name="connsiteX11" fmla="*/ 16488 w 222587"/>
                <a:gd name="connsiteY11" fmla="*/ 440539 h 440538"/>
                <a:gd name="connsiteX12" fmla="*/ 16488 w 222587"/>
                <a:gd name="connsiteY12" fmla="*/ 440539 h 440538"/>
                <a:gd name="connsiteX13" fmla="*/ 33610 w 222587"/>
                <a:gd name="connsiteY13" fmla="*/ 100632 h 440538"/>
                <a:gd name="connsiteX14" fmla="*/ 33610 w 222587"/>
                <a:gd name="connsiteY14" fmla="*/ 399319 h 440538"/>
                <a:gd name="connsiteX15" fmla="*/ 188978 w 222587"/>
                <a:gd name="connsiteY15" fmla="*/ 340976 h 440538"/>
                <a:gd name="connsiteX16" fmla="*/ 188978 w 222587"/>
                <a:gd name="connsiteY16" fmla="*/ 42290 h 440538"/>
                <a:gd name="connsiteX17" fmla="*/ 33610 w 222587"/>
                <a:gd name="connsiteY17" fmla="*/ 100632 h 440538"/>
                <a:gd name="connsiteX18" fmla="*/ 33610 w 222587"/>
                <a:gd name="connsiteY18" fmla="*/ 100632 h 440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22587" h="440538">
                  <a:moveTo>
                    <a:pt x="16488" y="440539"/>
                  </a:moveTo>
                  <a:cubicBezTo>
                    <a:pt x="13317" y="440539"/>
                    <a:pt x="9512" y="439270"/>
                    <a:pt x="6976" y="437368"/>
                  </a:cubicBezTo>
                  <a:cubicBezTo>
                    <a:pt x="2537" y="434197"/>
                    <a:pt x="0" y="429124"/>
                    <a:pt x="0" y="423416"/>
                  </a:cubicBezTo>
                  <a:lnTo>
                    <a:pt x="0" y="88583"/>
                  </a:lnTo>
                  <a:cubicBezTo>
                    <a:pt x="0" y="81608"/>
                    <a:pt x="4439" y="75266"/>
                    <a:pt x="10780" y="72730"/>
                  </a:cubicBezTo>
                  <a:lnTo>
                    <a:pt x="199758" y="1070"/>
                  </a:lnTo>
                  <a:cubicBezTo>
                    <a:pt x="204832" y="-832"/>
                    <a:pt x="210539" y="-198"/>
                    <a:pt x="215612" y="2973"/>
                  </a:cubicBezTo>
                  <a:cubicBezTo>
                    <a:pt x="220051" y="6143"/>
                    <a:pt x="222588" y="11217"/>
                    <a:pt x="222588" y="16924"/>
                  </a:cubicBezTo>
                  <a:lnTo>
                    <a:pt x="222588" y="351757"/>
                  </a:lnTo>
                  <a:cubicBezTo>
                    <a:pt x="222588" y="358733"/>
                    <a:pt x="218149" y="365074"/>
                    <a:pt x="211807" y="367611"/>
                  </a:cubicBezTo>
                  <a:lnTo>
                    <a:pt x="22829" y="439904"/>
                  </a:lnTo>
                  <a:cubicBezTo>
                    <a:pt x="20927" y="440539"/>
                    <a:pt x="19025" y="440539"/>
                    <a:pt x="16488" y="440539"/>
                  </a:cubicBezTo>
                  <a:lnTo>
                    <a:pt x="16488" y="440539"/>
                  </a:lnTo>
                  <a:close/>
                  <a:moveTo>
                    <a:pt x="33610" y="100632"/>
                  </a:moveTo>
                  <a:lnTo>
                    <a:pt x="33610" y="399319"/>
                  </a:lnTo>
                  <a:lnTo>
                    <a:pt x="188978" y="340976"/>
                  </a:lnTo>
                  <a:lnTo>
                    <a:pt x="188978" y="42290"/>
                  </a:lnTo>
                  <a:lnTo>
                    <a:pt x="33610" y="100632"/>
                  </a:lnTo>
                  <a:lnTo>
                    <a:pt x="33610" y="100632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20" name="Forma Livre: Forma 219">
              <a:extLst>
                <a:ext uri="{FF2B5EF4-FFF2-40B4-BE49-F238E27FC236}">
                  <a16:creationId xmlns:a16="http://schemas.microsoft.com/office/drawing/2014/main" id="{18569358-0867-4242-B0CF-799D9F698757}"/>
                </a:ext>
              </a:extLst>
            </p:cNvPr>
            <p:cNvSpPr/>
            <p:nvPr/>
          </p:nvSpPr>
          <p:spPr>
            <a:xfrm>
              <a:off x="4522664" y="1559555"/>
              <a:ext cx="222587" cy="440538"/>
            </a:xfrm>
            <a:custGeom>
              <a:avLst/>
              <a:gdLst>
                <a:gd name="connsiteX0" fmla="*/ 205466 w 222587"/>
                <a:gd name="connsiteY0" fmla="*/ 440539 h 440538"/>
                <a:gd name="connsiteX1" fmla="*/ 199758 w 222587"/>
                <a:gd name="connsiteY1" fmla="*/ 439270 h 440538"/>
                <a:gd name="connsiteX2" fmla="*/ 10780 w 222587"/>
                <a:gd name="connsiteY2" fmla="*/ 367611 h 440538"/>
                <a:gd name="connsiteX3" fmla="*/ 0 w 222587"/>
                <a:gd name="connsiteY3" fmla="*/ 351757 h 440538"/>
                <a:gd name="connsiteX4" fmla="*/ 0 w 222587"/>
                <a:gd name="connsiteY4" fmla="*/ 16924 h 440538"/>
                <a:gd name="connsiteX5" fmla="*/ 6976 w 222587"/>
                <a:gd name="connsiteY5" fmla="*/ 2973 h 440538"/>
                <a:gd name="connsiteX6" fmla="*/ 22829 w 222587"/>
                <a:gd name="connsiteY6" fmla="*/ 1070 h 440538"/>
                <a:gd name="connsiteX7" fmla="*/ 211807 w 222587"/>
                <a:gd name="connsiteY7" fmla="*/ 72730 h 440538"/>
                <a:gd name="connsiteX8" fmla="*/ 222588 w 222587"/>
                <a:gd name="connsiteY8" fmla="*/ 88583 h 440538"/>
                <a:gd name="connsiteX9" fmla="*/ 222588 w 222587"/>
                <a:gd name="connsiteY9" fmla="*/ 423416 h 440538"/>
                <a:gd name="connsiteX10" fmla="*/ 215612 w 222587"/>
                <a:gd name="connsiteY10" fmla="*/ 437368 h 440538"/>
                <a:gd name="connsiteX11" fmla="*/ 205466 w 222587"/>
                <a:gd name="connsiteY11" fmla="*/ 440539 h 440538"/>
                <a:gd name="connsiteX12" fmla="*/ 205466 w 222587"/>
                <a:gd name="connsiteY12" fmla="*/ 440539 h 440538"/>
                <a:gd name="connsiteX13" fmla="*/ 33610 w 222587"/>
                <a:gd name="connsiteY13" fmla="*/ 340976 h 440538"/>
                <a:gd name="connsiteX14" fmla="*/ 188978 w 222587"/>
                <a:gd name="connsiteY14" fmla="*/ 399319 h 440538"/>
                <a:gd name="connsiteX15" fmla="*/ 188978 w 222587"/>
                <a:gd name="connsiteY15" fmla="*/ 100632 h 440538"/>
                <a:gd name="connsiteX16" fmla="*/ 33610 w 222587"/>
                <a:gd name="connsiteY16" fmla="*/ 42290 h 440538"/>
                <a:gd name="connsiteX17" fmla="*/ 33610 w 222587"/>
                <a:gd name="connsiteY17" fmla="*/ 340976 h 440538"/>
                <a:gd name="connsiteX18" fmla="*/ 33610 w 222587"/>
                <a:gd name="connsiteY18" fmla="*/ 340976 h 440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22587" h="440538">
                  <a:moveTo>
                    <a:pt x="205466" y="440539"/>
                  </a:moveTo>
                  <a:cubicBezTo>
                    <a:pt x="203563" y="440539"/>
                    <a:pt x="201661" y="439904"/>
                    <a:pt x="199758" y="439270"/>
                  </a:cubicBezTo>
                  <a:lnTo>
                    <a:pt x="10780" y="367611"/>
                  </a:lnTo>
                  <a:cubicBezTo>
                    <a:pt x="4439" y="365074"/>
                    <a:pt x="0" y="358733"/>
                    <a:pt x="0" y="351757"/>
                  </a:cubicBezTo>
                  <a:lnTo>
                    <a:pt x="0" y="16924"/>
                  </a:lnTo>
                  <a:cubicBezTo>
                    <a:pt x="0" y="11217"/>
                    <a:pt x="2536" y="6143"/>
                    <a:pt x="6976" y="2973"/>
                  </a:cubicBezTo>
                  <a:cubicBezTo>
                    <a:pt x="11415" y="-198"/>
                    <a:pt x="17122" y="-832"/>
                    <a:pt x="22829" y="1070"/>
                  </a:cubicBezTo>
                  <a:lnTo>
                    <a:pt x="211807" y="72730"/>
                  </a:lnTo>
                  <a:cubicBezTo>
                    <a:pt x="218149" y="75266"/>
                    <a:pt x="222588" y="81608"/>
                    <a:pt x="222588" y="88583"/>
                  </a:cubicBezTo>
                  <a:lnTo>
                    <a:pt x="222588" y="423416"/>
                  </a:lnTo>
                  <a:cubicBezTo>
                    <a:pt x="222588" y="429124"/>
                    <a:pt x="220051" y="434197"/>
                    <a:pt x="215612" y="437368"/>
                  </a:cubicBezTo>
                  <a:cubicBezTo>
                    <a:pt x="212441" y="439904"/>
                    <a:pt x="209271" y="440539"/>
                    <a:pt x="205466" y="440539"/>
                  </a:cubicBezTo>
                  <a:lnTo>
                    <a:pt x="205466" y="440539"/>
                  </a:lnTo>
                  <a:close/>
                  <a:moveTo>
                    <a:pt x="33610" y="340976"/>
                  </a:moveTo>
                  <a:lnTo>
                    <a:pt x="188978" y="399319"/>
                  </a:lnTo>
                  <a:lnTo>
                    <a:pt x="188978" y="100632"/>
                  </a:lnTo>
                  <a:lnTo>
                    <a:pt x="33610" y="42290"/>
                  </a:lnTo>
                  <a:lnTo>
                    <a:pt x="33610" y="340976"/>
                  </a:lnTo>
                  <a:lnTo>
                    <a:pt x="33610" y="340976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21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3374227" y="546338"/>
            <a:ext cx="306652" cy="376887"/>
            <a:chOff x="3343773" y="546613"/>
            <a:chExt cx="310101" cy="381126"/>
          </a:xfrm>
          <a:solidFill>
            <a:srgbClr val="B1B1A1"/>
          </a:solidFill>
        </p:grpSpPr>
        <p:grpSp>
          <p:nvGrpSpPr>
            <p:cNvPr id="222" name="Gráfico 2">
              <a:extLst>
                <a:ext uri="{FF2B5EF4-FFF2-40B4-BE49-F238E27FC236}">
                  <a16:creationId xmlns:a16="http://schemas.microsoft.com/office/drawing/2014/main" id="{DC80C217-93B8-4831-A8BE-0817F1F32ECF}"/>
                </a:ext>
              </a:extLst>
            </p:cNvPr>
            <p:cNvGrpSpPr/>
            <p:nvPr/>
          </p:nvGrpSpPr>
          <p:grpSpPr>
            <a:xfrm>
              <a:off x="3343773" y="546613"/>
              <a:ext cx="310101" cy="381126"/>
              <a:chOff x="3343773" y="546613"/>
              <a:chExt cx="310101" cy="381126"/>
            </a:xfrm>
            <a:grpFill/>
          </p:grpSpPr>
          <p:sp>
            <p:nvSpPr>
              <p:cNvPr id="223" name="Forma Livre: Forma 222">
                <a:extLst>
                  <a:ext uri="{FF2B5EF4-FFF2-40B4-BE49-F238E27FC236}">
                    <a16:creationId xmlns:a16="http://schemas.microsoft.com/office/drawing/2014/main" id="{619C2753-80B2-4036-814A-160E64B3DD9B}"/>
                  </a:ext>
                </a:extLst>
              </p:cNvPr>
              <p:cNvSpPr/>
              <p:nvPr/>
            </p:nvSpPr>
            <p:spPr>
              <a:xfrm>
                <a:off x="3527043" y="800909"/>
                <a:ext cx="117952" cy="117952"/>
              </a:xfrm>
              <a:custGeom>
                <a:avLst/>
                <a:gdLst>
                  <a:gd name="connsiteX0" fmla="*/ 8244 w 117952"/>
                  <a:gd name="connsiteY0" fmla="*/ 117953 h 117952"/>
                  <a:gd name="connsiteX1" fmla="*/ 0 w 117952"/>
                  <a:gd name="connsiteY1" fmla="*/ 109709 h 117952"/>
                  <a:gd name="connsiteX2" fmla="*/ 0 w 117952"/>
                  <a:gd name="connsiteY2" fmla="*/ 8244 h 117952"/>
                  <a:gd name="connsiteX3" fmla="*/ 8244 w 117952"/>
                  <a:gd name="connsiteY3" fmla="*/ 0 h 117952"/>
                  <a:gd name="connsiteX4" fmla="*/ 109709 w 117952"/>
                  <a:gd name="connsiteY4" fmla="*/ 0 h 117952"/>
                  <a:gd name="connsiteX5" fmla="*/ 117953 w 117952"/>
                  <a:gd name="connsiteY5" fmla="*/ 8244 h 117952"/>
                  <a:gd name="connsiteX6" fmla="*/ 109709 w 117952"/>
                  <a:gd name="connsiteY6" fmla="*/ 16488 h 117952"/>
                  <a:gd name="connsiteX7" fmla="*/ 16488 w 117952"/>
                  <a:gd name="connsiteY7" fmla="*/ 16488 h 117952"/>
                  <a:gd name="connsiteX8" fmla="*/ 16488 w 117952"/>
                  <a:gd name="connsiteY8" fmla="*/ 109074 h 117952"/>
                  <a:gd name="connsiteX9" fmla="*/ 8244 w 117952"/>
                  <a:gd name="connsiteY9" fmla="*/ 117953 h 117952"/>
                  <a:gd name="connsiteX10" fmla="*/ 8244 w 117952"/>
                  <a:gd name="connsiteY10" fmla="*/ 117953 h 117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7952" h="117952">
                    <a:moveTo>
                      <a:pt x="8244" y="117953"/>
                    </a:moveTo>
                    <a:cubicBezTo>
                      <a:pt x="3805" y="117953"/>
                      <a:pt x="0" y="114148"/>
                      <a:pt x="0" y="109709"/>
                    </a:cubicBezTo>
                    <a:lnTo>
                      <a:pt x="0" y="8244"/>
                    </a:lnTo>
                    <a:cubicBezTo>
                      <a:pt x="0" y="3805"/>
                      <a:pt x="3805" y="0"/>
                      <a:pt x="8244" y="0"/>
                    </a:cubicBezTo>
                    <a:lnTo>
                      <a:pt x="109709" y="0"/>
                    </a:lnTo>
                    <a:cubicBezTo>
                      <a:pt x="114148" y="0"/>
                      <a:pt x="117953" y="3805"/>
                      <a:pt x="117953" y="8244"/>
                    </a:cubicBezTo>
                    <a:cubicBezTo>
                      <a:pt x="117953" y="12683"/>
                      <a:pt x="114148" y="16488"/>
                      <a:pt x="109709" y="16488"/>
                    </a:cubicBezTo>
                    <a:lnTo>
                      <a:pt x="16488" y="16488"/>
                    </a:lnTo>
                    <a:lnTo>
                      <a:pt x="16488" y="109074"/>
                    </a:lnTo>
                    <a:cubicBezTo>
                      <a:pt x="16488" y="114148"/>
                      <a:pt x="12683" y="117953"/>
                      <a:pt x="8244" y="117953"/>
                    </a:cubicBezTo>
                    <a:lnTo>
                      <a:pt x="8244" y="117953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24" name="Forma Livre: Forma 223">
                <a:extLst>
                  <a:ext uri="{FF2B5EF4-FFF2-40B4-BE49-F238E27FC236}">
                    <a16:creationId xmlns:a16="http://schemas.microsoft.com/office/drawing/2014/main" id="{BFEBC29B-9C88-497B-B27A-A59B3D77C438}"/>
                  </a:ext>
                </a:extLst>
              </p:cNvPr>
              <p:cNvSpPr/>
              <p:nvPr/>
            </p:nvSpPr>
            <p:spPr>
              <a:xfrm>
                <a:off x="3343773" y="546613"/>
                <a:ext cx="310101" cy="381126"/>
              </a:xfrm>
              <a:custGeom>
                <a:avLst/>
                <a:gdLst>
                  <a:gd name="connsiteX0" fmla="*/ 191514 w 310101"/>
                  <a:gd name="connsiteY0" fmla="*/ 381126 h 381126"/>
                  <a:gd name="connsiteX1" fmla="*/ 17122 w 310101"/>
                  <a:gd name="connsiteY1" fmla="*/ 381126 h 381126"/>
                  <a:gd name="connsiteX2" fmla="*/ 0 w 310101"/>
                  <a:gd name="connsiteY2" fmla="*/ 364004 h 381126"/>
                  <a:gd name="connsiteX3" fmla="*/ 0 w 310101"/>
                  <a:gd name="connsiteY3" fmla="*/ 17122 h 381126"/>
                  <a:gd name="connsiteX4" fmla="*/ 17122 w 310101"/>
                  <a:gd name="connsiteY4" fmla="*/ 0 h 381126"/>
                  <a:gd name="connsiteX5" fmla="*/ 292979 w 310101"/>
                  <a:gd name="connsiteY5" fmla="*/ 0 h 381126"/>
                  <a:gd name="connsiteX6" fmla="*/ 310101 w 310101"/>
                  <a:gd name="connsiteY6" fmla="*/ 17122 h 381126"/>
                  <a:gd name="connsiteX7" fmla="*/ 310101 w 310101"/>
                  <a:gd name="connsiteY7" fmla="*/ 262540 h 381126"/>
                  <a:gd name="connsiteX8" fmla="*/ 305028 w 310101"/>
                  <a:gd name="connsiteY8" fmla="*/ 274589 h 381126"/>
                  <a:gd name="connsiteX9" fmla="*/ 203563 w 310101"/>
                  <a:gd name="connsiteY9" fmla="*/ 376053 h 381126"/>
                  <a:gd name="connsiteX10" fmla="*/ 191514 w 310101"/>
                  <a:gd name="connsiteY10" fmla="*/ 381126 h 381126"/>
                  <a:gd name="connsiteX11" fmla="*/ 191514 w 310101"/>
                  <a:gd name="connsiteY11" fmla="*/ 381126 h 381126"/>
                  <a:gd name="connsiteX12" fmla="*/ 33610 w 310101"/>
                  <a:gd name="connsiteY12" fmla="*/ 346882 h 381126"/>
                  <a:gd name="connsiteX13" fmla="*/ 184539 w 310101"/>
                  <a:gd name="connsiteY13" fmla="*/ 346882 h 381126"/>
                  <a:gd name="connsiteX14" fmla="*/ 275857 w 310101"/>
                  <a:gd name="connsiteY14" fmla="*/ 255564 h 381126"/>
                  <a:gd name="connsiteX15" fmla="*/ 275857 w 310101"/>
                  <a:gd name="connsiteY15" fmla="*/ 34244 h 381126"/>
                  <a:gd name="connsiteX16" fmla="*/ 33610 w 310101"/>
                  <a:gd name="connsiteY16" fmla="*/ 34244 h 381126"/>
                  <a:gd name="connsiteX17" fmla="*/ 33610 w 310101"/>
                  <a:gd name="connsiteY17" fmla="*/ 346882 h 381126"/>
                  <a:gd name="connsiteX18" fmla="*/ 33610 w 310101"/>
                  <a:gd name="connsiteY18" fmla="*/ 346882 h 381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10101" h="381126">
                    <a:moveTo>
                      <a:pt x="191514" y="381126"/>
                    </a:moveTo>
                    <a:lnTo>
                      <a:pt x="17122" y="381126"/>
                    </a:lnTo>
                    <a:cubicBezTo>
                      <a:pt x="7610" y="381126"/>
                      <a:pt x="0" y="373517"/>
                      <a:pt x="0" y="364004"/>
                    </a:cubicBezTo>
                    <a:lnTo>
                      <a:pt x="0" y="17122"/>
                    </a:lnTo>
                    <a:cubicBezTo>
                      <a:pt x="0" y="7610"/>
                      <a:pt x="7610" y="0"/>
                      <a:pt x="17122" y="0"/>
                    </a:cubicBezTo>
                    <a:lnTo>
                      <a:pt x="292979" y="0"/>
                    </a:lnTo>
                    <a:cubicBezTo>
                      <a:pt x="302491" y="0"/>
                      <a:pt x="310101" y="7610"/>
                      <a:pt x="310101" y="17122"/>
                    </a:cubicBezTo>
                    <a:lnTo>
                      <a:pt x="310101" y="262540"/>
                    </a:lnTo>
                    <a:cubicBezTo>
                      <a:pt x="310101" y="266979"/>
                      <a:pt x="308199" y="271418"/>
                      <a:pt x="305028" y="274589"/>
                    </a:cubicBezTo>
                    <a:lnTo>
                      <a:pt x="203563" y="376053"/>
                    </a:lnTo>
                    <a:cubicBezTo>
                      <a:pt x="200393" y="379224"/>
                      <a:pt x="195953" y="381126"/>
                      <a:pt x="191514" y="381126"/>
                    </a:cubicBezTo>
                    <a:lnTo>
                      <a:pt x="191514" y="381126"/>
                    </a:lnTo>
                    <a:close/>
                    <a:moveTo>
                      <a:pt x="33610" y="346882"/>
                    </a:moveTo>
                    <a:lnTo>
                      <a:pt x="184539" y="346882"/>
                    </a:lnTo>
                    <a:lnTo>
                      <a:pt x="275857" y="255564"/>
                    </a:lnTo>
                    <a:lnTo>
                      <a:pt x="275857" y="34244"/>
                    </a:lnTo>
                    <a:lnTo>
                      <a:pt x="33610" y="34244"/>
                    </a:lnTo>
                    <a:lnTo>
                      <a:pt x="33610" y="346882"/>
                    </a:lnTo>
                    <a:lnTo>
                      <a:pt x="33610" y="346882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225" name="Forma Livre: Forma 224">
              <a:extLst>
                <a:ext uri="{FF2B5EF4-FFF2-40B4-BE49-F238E27FC236}">
                  <a16:creationId xmlns:a16="http://schemas.microsoft.com/office/drawing/2014/main" id="{A520EC3D-DB85-4327-B449-C7260A444296}"/>
                </a:ext>
              </a:extLst>
            </p:cNvPr>
            <p:cNvSpPr/>
            <p:nvPr/>
          </p:nvSpPr>
          <p:spPr>
            <a:xfrm>
              <a:off x="3427481" y="679786"/>
              <a:ext cx="142050" cy="34244"/>
            </a:xfrm>
            <a:custGeom>
              <a:avLst/>
              <a:gdLst>
                <a:gd name="connsiteX0" fmla="*/ 124928 w 142050"/>
                <a:gd name="connsiteY0" fmla="*/ 34244 h 34244"/>
                <a:gd name="connsiteX1" fmla="*/ 17122 w 142050"/>
                <a:gd name="connsiteY1" fmla="*/ 34244 h 34244"/>
                <a:gd name="connsiteX2" fmla="*/ 0 w 142050"/>
                <a:gd name="connsiteY2" fmla="*/ 17122 h 34244"/>
                <a:gd name="connsiteX3" fmla="*/ 17122 w 142050"/>
                <a:gd name="connsiteY3" fmla="*/ 0 h 34244"/>
                <a:gd name="connsiteX4" fmla="*/ 124928 w 142050"/>
                <a:gd name="connsiteY4" fmla="*/ 0 h 34244"/>
                <a:gd name="connsiteX5" fmla="*/ 142050 w 142050"/>
                <a:gd name="connsiteY5" fmla="*/ 17122 h 34244"/>
                <a:gd name="connsiteX6" fmla="*/ 124928 w 142050"/>
                <a:gd name="connsiteY6" fmla="*/ 34244 h 34244"/>
                <a:gd name="connsiteX7" fmla="*/ 124928 w 142050"/>
                <a:gd name="connsiteY7" fmla="*/ 34244 h 3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2050" h="34244">
                  <a:moveTo>
                    <a:pt x="124928" y="34244"/>
                  </a:moveTo>
                  <a:lnTo>
                    <a:pt x="17122" y="34244"/>
                  </a:lnTo>
                  <a:cubicBezTo>
                    <a:pt x="7610" y="34244"/>
                    <a:pt x="0" y="26634"/>
                    <a:pt x="0" y="17122"/>
                  </a:cubicBezTo>
                  <a:cubicBezTo>
                    <a:pt x="0" y="7610"/>
                    <a:pt x="7610" y="0"/>
                    <a:pt x="17122" y="0"/>
                  </a:cubicBezTo>
                  <a:lnTo>
                    <a:pt x="124928" y="0"/>
                  </a:lnTo>
                  <a:cubicBezTo>
                    <a:pt x="134440" y="0"/>
                    <a:pt x="142050" y="7610"/>
                    <a:pt x="142050" y="17122"/>
                  </a:cubicBezTo>
                  <a:cubicBezTo>
                    <a:pt x="142050" y="26634"/>
                    <a:pt x="134440" y="34244"/>
                    <a:pt x="124928" y="34244"/>
                  </a:cubicBezTo>
                  <a:lnTo>
                    <a:pt x="124928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26" name="Forma Livre: Forma 225">
              <a:extLst>
                <a:ext uri="{FF2B5EF4-FFF2-40B4-BE49-F238E27FC236}">
                  <a16:creationId xmlns:a16="http://schemas.microsoft.com/office/drawing/2014/main" id="{6DA17A31-7DF3-44BB-8695-1CE2A99689AC}"/>
                </a:ext>
              </a:extLst>
            </p:cNvPr>
            <p:cNvSpPr/>
            <p:nvPr/>
          </p:nvSpPr>
          <p:spPr>
            <a:xfrm>
              <a:off x="3481384" y="625249"/>
              <a:ext cx="34244" cy="142050"/>
            </a:xfrm>
            <a:custGeom>
              <a:avLst/>
              <a:gdLst>
                <a:gd name="connsiteX0" fmla="*/ 17122 w 34244"/>
                <a:gd name="connsiteY0" fmla="*/ 142050 h 142050"/>
                <a:gd name="connsiteX1" fmla="*/ 0 w 34244"/>
                <a:gd name="connsiteY1" fmla="*/ 124928 h 142050"/>
                <a:gd name="connsiteX2" fmla="*/ 0 w 34244"/>
                <a:gd name="connsiteY2" fmla="*/ 17122 h 142050"/>
                <a:gd name="connsiteX3" fmla="*/ 17122 w 34244"/>
                <a:gd name="connsiteY3" fmla="*/ 0 h 142050"/>
                <a:gd name="connsiteX4" fmla="*/ 34244 w 34244"/>
                <a:gd name="connsiteY4" fmla="*/ 17122 h 142050"/>
                <a:gd name="connsiteX5" fmla="*/ 34244 w 34244"/>
                <a:gd name="connsiteY5" fmla="*/ 124928 h 142050"/>
                <a:gd name="connsiteX6" fmla="*/ 17122 w 34244"/>
                <a:gd name="connsiteY6" fmla="*/ 142050 h 142050"/>
                <a:gd name="connsiteX7" fmla="*/ 17122 w 34244"/>
                <a:gd name="connsiteY7" fmla="*/ 142050 h 142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244" h="142050">
                  <a:moveTo>
                    <a:pt x="17122" y="142050"/>
                  </a:moveTo>
                  <a:cubicBezTo>
                    <a:pt x="7610" y="142050"/>
                    <a:pt x="0" y="134441"/>
                    <a:pt x="0" y="124928"/>
                  </a:cubicBezTo>
                  <a:lnTo>
                    <a:pt x="0" y="17122"/>
                  </a:lnTo>
                  <a:cubicBezTo>
                    <a:pt x="0" y="7610"/>
                    <a:pt x="7610" y="0"/>
                    <a:pt x="17122" y="0"/>
                  </a:cubicBezTo>
                  <a:cubicBezTo>
                    <a:pt x="26634" y="0"/>
                    <a:pt x="34244" y="7610"/>
                    <a:pt x="34244" y="17122"/>
                  </a:cubicBezTo>
                  <a:lnTo>
                    <a:pt x="34244" y="124928"/>
                  </a:lnTo>
                  <a:cubicBezTo>
                    <a:pt x="34244" y="135075"/>
                    <a:pt x="26634" y="142050"/>
                    <a:pt x="17122" y="142050"/>
                  </a:cubicBezTo>
                  <a:lnTo>
                    <a:pt x="17122" y="142050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27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6445764" y="546338"/>
            <a:ext cx="306652" cy="376887"/>
            <a:chOff x="6449857" y="546613"/>
            <a:chExt cx="310101" cy="381126"/>
          </a:xfrm>
          <a:solidFill>
            <a:srgbClr val="B1B1A1"/>
          </a:solidFill>
        </p:grpSpPr>
        <p:grpSp>
          <p:nvGrpSpPr>
            <p:cNvPr id="228" name="Gráfico 2">
              <a:extLst>
                <a:ext uri="{FF2B5EF4-FFF2-40B4-BE49-F238E27FC236}">
                  <a16:creationId xmlns:a16="http://schemas.microsoft.com/office/drawing/2014/main" id="{DC80C217-93B8-4831-A8BE-0817F1F32ECF}"/>
                </a:ext>
              </a:extLst>
            </p:cNvPr>
            <p:cNvGrpSpPr/>
            <p:nvPr/>
          </p:nvGrpSpPr>
          <p:grpSpPr>
            <a:xfrm>
              <a:off x="6449857" y="546613"/>
              <a:ext cx="310101" cy="381126"/>
              <a:chOff x="6449857" y="546613"/>
              <a:chExt cx="310101" cy="381126"/>
            </a:xfrm>
            <a:grpFill/>
          </p:grpSpPr>
          <p:sp>
            <p:nvSpPr>
              <p:cNvPr id="229" name="Forma Livre: Forma 228">
                <a:extLst>
                  <a:ext uri="{FF2B5EF4-FFF2-40B4-BE49-F238E27FC236}">
                    <a16:creationId xmlns:a16="http://schemas.microsoft.com/office/drawing/2014/main" id="{85831D0C-D683-48D1-AE07-8C9D0D3294CF}"/>
                  </a:ext>
                </a:extLst>
              </p:cNvPr>
              <p:cNvSpPr/>
              <p:nvPr/>
            </p:nvSpPr>
            <p:spPr>
              <a:xfrm>
                <a:off x="6633128" y="800909"/>
                <a:ext cx="117952" cy="117952"/>
              </a:xfrm>
              <a:custGeom>
                <a:avLst/>
                <a:gdLst>
                  <a:gd name="connsiteX0" fmla="*/ 8244 w 117952"/>
                  <a:gd name="connsiteY0" fmla="*/ 117953 h 117952"/>
                  <a:gd name="connsiteX1" fmla="*/ 0 w 117952"/>
                  <a:gd name="connsiteY1" fmla="*/ 109709 h 117952"/>
                  <a:gd name="connsiteX2" fmla="*/ 0 w 117952"/>
                  <a:gd name="connsiteY2" fmla="*/ 8244 h 117952"/>
                  <a:gd name="connsiteX3" fmla="*/ 8244 w 117952"/>
                  <a:gd name="connsiteY3" fmla="*/ 0 h 117952"/>
                  <a:gd name="connsiteX4" fmla="*/ 109709 w 117952"/>
                  <a:gd name="connsiteY4" fmla="*/ 0 h 117952"/>
                  <a:gd name="connsiteX5" fmla="*/ 117952 w 117952"/>
                  <a:gd name="connsiteY5" fmla="*/ 8244 h 117952"/>
                  <a:gd name="connsiteX6" fmla="*/ 109709 w 117952"/>
                  <a:gd name="connsiteY6" fmla="*/ 16488 h 117952"/>
                  <a:gd name="connsiteX7" fmla="*/ 17122 w 117952"/>
                  <a:gd name="connsiteY7" fmla="*/ 16488 h 117952"/>
                  <a:gd name="connsiteX8" fmla="*/ 17122 w 117952"/>
                  <a:gd name="connsiteY8" fmla="*/ 109074 h 117952"/>
                  <a:gd name="connsiteX9" fmla="*/ 8244 w 117952"/>
                  <a:gd name="connsiteY9" fmla="*/ 117953 h 117952"/>
                  <a:gd name="connsiteX10" fmla="*/ 8244 w 117952"/>
                  <a:gd name="connsiteY10" fmla="*/ 117953 h 117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7952" h="117952">
                    <a:moveTo>
                      <a:pt x="8244" y="117953"/>
                    </a:moveTo>
                    <a:cubicBezTo>
                      <a:pt x="3805" y="117953"/>
                      <a:pt x="0" y="114148"/>
                      <a:pt x="0" y="109709"/>
                    </a:cubicBezTo>
                    <a:lnTo>
                      <a:pt x="0" y="8244"/>
                    </a:lnTo>
                    <a:cubicBezTo>
                      <a:pt x="0" y="3805"/>
                      <a:pt x="3805" y="0"/>
                      <a:pt x="8244" y="0"/>
                    </a:cubicBezTo>
                    <a:lnTo>
                      <a:pt x="109709" y="0"/>
                    </a:lnTo>
                    <a:cubicBezTo>
                      <a:pt x="114148" y="0"/>
                      <a:pt x="117952" y="3805"/>
                      <a:pt x="117952" y="8244"/>
                    </a:cubicBezTo>
                    <a:cubicBezTo>
                      <a:pt x="117952" y="12683"/>
                      <a:pt x="114148" y="16488"/>
                      <a:pt x="109709" y="16488"/>
                    </a:cubicBezTo>
                    <a:lnTo>
                      <a:pt x="17122" y="16488"/>
                    </a:lnTo>
                    <a:lnTo>
                      <a:pt x="17122" y="109074"/>
                    </a:lnTo>
                    <a:cubicBezTo>
                      <a:pt x="16488" y="114148"/>
                      <a:pt x="12683" y="117953"/>
                      <a:pt x="8244" y="117953"/>
                    </a:cubicBezTo>
                    <a:lnTo>
                      <a:pt x="8244" y="117953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30" name="Forma Livre: Forma 229">
                <a:extLst>
                  <a:ext uri="{FF2B5EF4-FFF2-40B4-BE49-F238E27FC236}">
                    <a16:creationId xmlns:a16="http://schemas.microsoft.com/office/drawing/2014/main" id="{5A3CA4F2-D266-4768-96BD-6B17612825D8}"/>
                  </a:ext>
                </a:extLst>
              </p:cNvPr>
              <p:cNvSpPr/>
              <p:nvPr/>
            </p:nvSpPr>
            <p:spPr>
              <a:xfrm>
                <a:off x="6449857" y="546613"/>
                <a:ext cx="310101" cy="381126"/>
              </a:xfrm>
              <a:custGeom>
                <a:avLst/>
                <a:gdLst>
                  <a:gd name="connsiteX0" fmla="*/ 191514 w 310101"/>
                  <a:gd name="connsiteY0" fmla="*/ 381126 h 381126"/>
                  <a:gd name="connsiteX1" fmla="*/ 17122 w 310101"/>
                  <a:gd name="connsiteY1" fmla="*/ 381126 h 381126"/>
                  <a:gd name="connsiteX2" fmla="*/ 0 w 310101"/>
                  <a:gd name="connsiteY2" fmla="*/ 364004 h 381126"/>
                  <a:gd name="connsiteX3" fmla="*/ 0 w 310101"/>
                  <a:gd name="connsiteY3" fmla="*/ 17122 h 381126"/>
                  <a:gd name="connsiteX4" fmla="*/ 17122 w 310101"/>
                  <a:gd name="connsiteY4" fmla="*/ 0 h 381126"/>
                  <a:gd name="connsiteX5" fmla="*/ 292979 w 310101"/>
                  <a:gd name="connsiteY5" fmla="*/ 0 h 381126"/>
                  <a:gd name="connsiteX6" fmla="*/ 310101 w 310101"/>
                  <a:gd name="connsiteY6" fmla="*/ 17122 h 381126"/>
                  <a:gd name="connsiteX7" fmla="*/ 310101 w 310101"/>
                  <a:gd name="connsiteY7" fmla="*/ 262540 h 381126"/>
                  <a:gd name="connsiteX8" fmla="*/ 305028 w 310101"/>
                  <a:gd name="connsiteY8" fmla="*/ 274589 h 381126"/>
                  <a:gd name="connsiteX9" fmla="*/ 203564 w 310101"/>
                  <a:gd name="connsiteY9" fmla="*/ 376053 h 381126"/>
                  <a:gd name="connsiteX10" fmla="*/ 191514 w 310101"/>
                  <a:gd name="connsiteY10" fmla="*/ 381126 h 381126"/>
                  <a:gd name="connsiteX11" fmla="*/ 191514 w 310101"/>
                  <a:gd name="connsiteY11" fmla="*/ 381126 h 381126"/>
                  <a:gd name="connsiteX12" fmla="*/ 33610 w 310101"/>
                  <a:gd name="connsiteY12" fmla="*/ 346882 h 381126"/>
                  <a:gd name="connsiteX13" fmla="*/ 184539 w 310101"/>
                  <a:gd name="connsiteY13" fmla="*/ 346882 h 381126"/>
                  <a:gd name="connsiteX14" fmla="*/ 275857 w 310101"/>
                  <a:gd name="connsiteY14" fmla="*/ 255564 h 381126"/>
                  <a:gd name="connsiteX15" fmla="*/ 275857 w 310101"/>
                  <a:gd name="connsiteY15" fmla="*/ 34244 h 381126"/>
                  <a:gd name="connsiteX16" fmla="*/ 33610 w 310101"/>
                  <a:gd name="connsiteY16" fmla="*/ 34244 h 381126"/>
                  <a:gd name="connsiteX17" fmla="*/ 33610 w 310101"/>
                  <a:gd name="connsiteY17" fmla="*/ 346882 h 381126"/>
                  <a:gd name="connsiteX18" fmla="*/ 33610 w 310101"/>
                  <a:gd name="connsiteY18" fmla="*/ 346882 h 381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10101" h="381126">
                    <a:moveTo>
                      <a:pt x="191514" y="381126"/>
                    </a:moveTo>
                    <a:lnTo>
                      <a:pt x="17122" y="381126"/>
                    </a:lnTo>
                    <a:cubicBezTo>
                      <a:pt x="7610" y="381126"/>
                      <a:pt x="0" y="373517"/>
                      <a:pt x="0" y="364004"/>
                    </a:cubicBezTo>
                    <a:lnTo>
                      <a:pt x="0" y="17122"/>
                    </a:lnTo>
                    <a:cubicBezTo>
                      <a:pt x="0" y="7610"/>
                      <a:pt x="7610" y="0"/>
                      <a:pt x="17122" y="0"/>
                    </a:cubicBezTo>
                    <a:lnTo>
                      <a:pt x="292979" y="0"/>
                    </a:lnTo>
                    <a:cubicBezTo>
                      <a:pt x="302491" y="0"/>
                      <a:pt x="310101" y="7610"/>
                      <a:pt x="310101" y="17122"/>
                    </a:cubicBezTo>
                    <a:lnTo>
                      <a:pt x="310101" y="262540"/>
                    </a:lnTo>
                    <a:cubicBezTo>
                      <a:pt x="310101" y="266979"/>
                      <a:pt x="308199" y="271418"/>
                      <a:pt x="305028" y="274589"/>
                    </a:cubicBezTo>
                    <a:lnTo>
                      <a:pt x="203564" y="376053"/>
                    </a:lnTo>
                    <a:cubicBezTo>
                      <a:pt x="199758" y="379224"/>
                      <a:pt x="195954" y="381126"/>
                      <a:pt x="191514" y="381126"/>
                    </a:cubicBezTo>
                    <a:lnTo>
                      <a:pt x="191514" y="381126"/>
                    </a:lnTo>
                    <a:close/>
                    <a:moveTo>
                      <a:pt x="33610" y="346882"/>
                    </a:moveTo>
                    <a:lnTo>
                      <a:pt x="184539" y="346882"/>
                    </a:lnTo>
                    <a:lnTo>
                      <a:pt x="275857" y="255564"/>
                    </a:lnTo>
                    <a:lnTo>
                      <a:pt x="275857" y="34244"/>
                    </a:lnTo>
                    <a:lnTo>
                      <a:pt x="33610" y="34244"/>
                    </a:lnTo>
                    <a:lnTo>
                      <a:pt x="33610" y="346882"/>
                    </a:lnTo>
                    <a:lnTo>
                      <a:pt x="33610" y="346882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231" name="Forma Livre: Forma 230">
              <a:extLst>
                <a:ext uri="{FF2B5EF4-FFF2-40B4-BE49-F238E27FC236}">
                  <a16:creationId xmlns:a16="http://schemas.microsoft.com/office/drawing/2014/main" id="{4414BC2E-BC6C-45C7-B8F7-E1344F2573A7}"/>
                </a:ext>
              </a:extLst>
            </p:cNvPr>
            <p:cNvSpPr/>
            <p:nvPr/>
          </p:nvSpPr>
          <p:spPr>
            <a:xfrm>
              <a:off x="6549736" y="642054"/>
              <a:ext cx="109708" cy="110025"/>
            </a:xfrm>
            <a:custGeom>
              <a:avLst/>
              <a:gdLst>
                <a:gd name="connsiteX0" fmla="*/ 92904 w 109708"/>
                <a:gd name="connsiteY0" fmla="*/ 110026 h 110025"/>
                <a:gd name="connsiteX1" fmla="*/ 80855 w 109708"/>
                <a:gd name="connsiteY1" fmla="*/ 104952 h 110025"/>
                <a:gd name="connsiteX2" fmla="*/ 4756 w 109708"/>
                <a:gd name="connsiteY2" fmla="*/ 28854 h 110025"/>
                <a:gd name="connsiteX3" fmla="*/ 4756 w 109708"/>
                <a:gd name="connsiteY3" fmla="*/ 4756 h 110025"/>
                <a:gd name="connsiteX4" fmla="*/ 28854 w 109708"/>
                <a:gd name="connsiteY4" fmla="*/ 4756 h 110025"/>
                <a:gd name="connsiteX5" fmla="*/ 104952 w 109708"/>
                <a:gd name="connsiteY5" fmla="*/ 80855 h 110025"/>
                <a:gd name="connsiteX6" fmla="*/ 104952 w 109708"/>
                <a:gd name="connsiteY6" fmla="*/ 104952 h 110025"/>
                <a:gd name="connsiteX7" fmla="*/ 92904 w 109708"/>
                <a:gd name="connsiteY7" fmla="*/ 110026 h 110025"/>
                <a:gd name="connsiteX8" fmla="*/ 92904 w 109708"/>
                <a:gd name="connsiteY8" fmla="*/ 110026 h 11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708" h="110025">
                  <a:moveTo>
                    <a:pt x="92904" y="110026"/>
                  </a:moveTo>
                  <a:cubicBezTo>
                    <a:pt x="88465" y="110026"/>
                    <a:pt x="84025" y="108123"/>
                    <a:pt x="80855" y="104952"/>
                  </a:cubicBezTo>
                  <a:lnTo>
                    <a:pt x="4756" y="28854"/>
                  </a:lnTo>
                  <a:cubicBezTo>
                    <a:pt x="-1585" y="22512"/>
                    <a:pt x="-1585" y="11732"/>
                    <a:pt x="4756" y="4756"/>
                  </a:cubicBezTo>
                  <a:cubicBezTo>
                    <a:pt x="11098" y="-1585"/>
                    <a:pt x="21878" y="-1585"/>
                    <a:pt x="28854" y="4756"/>
                  </a:cubicBezTo>
                  <a:lnTo>
                    <a:pt x="104952" y="80855"/>
                  </a:lnTo>
                  <a:cubicBezTo>
                    <a:pt x="111294" y="87196"/>
                    <a:pt x="111294" y="97977"/>
                    <a:pt x="104952" y="104952"/>
                  </a:cubicBezTo>
                  <a:cubicBezTo>
                    <a:pt x="101782" y="108123"/>
                    <a:pt x="97343" y="110026"/>
                    <a:pt x="92904" y="110026"/>
                  </a:cubicBezTo>
                  <a:lnTo>
                    <a:pt x="92904" y="110026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32" name="Forma Livre: Forma 231">
              <a:extLst>
                <a:ext uri="{FF2B5EF4-FFF2-40B4-BE49-F238E27FC236}">
                  <a16:creationId xmlns:a16="http://schemas.microsoft.com/office/drawing/2014/main" id="{15227CFF-EAA2-43CE-9BD7-104C4B56C703}"/>
                </a:ext>
              </a:extLst>
            </p:cNvPr>
            <p:cNvSpPr/>
            <p:nvPr/>
          </p:nvSpPr>
          <p:spPr>
            <a:xfrm>
              <a:off x="6549736" y="642054"/>
              <a:ext cx="109708" cy="110025"/>
            </a:xfrm>
            <a:custGeom>
              <a:avLst/>
              <a:gdLst>
                <a:gd name="connsiteX0" fmla="*/ 16805 w 109708"/>
                <a:gd name="connsiteY0" fmla="*/ 110026 h 110025"/>
                <a:gd name="connsiteX1" fmla="*/ 4756 w 109708"/>
                <a:gd name="connsiteY1" fmla="*/ 104952 h 110025"/>
                <a:gd name="connsiteX2" fmla="*/ 4756 w 109708"/>
                <a:gd name="connsiteY2" fmla="*/ 80855 h 110025"/>
                <a:gd name="connsiteX3" fmla="*/ 80855 w 109708"/>
                <a:gd name="connsiteY3" fmla="*/ 4756 h 110025"/>
                <a:gd name="connsiteX4" fmla="*/ 104952 w 109708"/>
                <a:gd name="connsiteY4" fmla="*/ 4756 h 110025"/>
                <a:gd name="connsiteX5" fmla="*/ 104952 w 109708"/>
                <a:gd name="connsiteY5" fmla="*/ 28854 h 110025"/>
                <a:gd name="connsiteX6" fmla="*/ 28854 w 109708"/>
                <a:gd name="connsiteY6" fmla="*/ 104952 h 110025"/>
                <a:gd name="connsiteX7" fmla="*/ 16805 w 109708"/>
                <a:gd name="connsiteY7" fmla="*/ 110026 h 110025"/>
                <a:gd name="connsiteX8" fmla="*/ 16805 w 109708"/>
                <a:gd name="connsiteY8" fmla="*/ 110026 h 11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708" h="110025">
                  <a:moveTo>
                    <a:pt x="16805" y="110026"/>
                  </a:moveTo>
                  <a:cubicBezTo>
                    <a:pt x="12366" y="110026"/>
                    <a:pt x="7927" y="108123"/>
                    <a:pt x="4756" y="104952"/>
                  </a:cubicBezTo>
                  <a:cubicBezTo>
                    <a:pt x="-1585" y="98611"/>
                    <a:pt x="-1585" y="87830"/>
                    <a:pt x="4756" y="80855"/>
                  </a:cubicBezTo>
                  <a:lnTo>
                    <a:pt x="80855" y="4756"/>
                  </a:lnTo>
                  <a:cubicBezTo>
                    <a:pt x="87196" y="-1585"/>
                    <a:pt x="97977" y="-1585"/>
                    <a:pt x="104952" y="4756"/>
                  </a:cubicBezTo>
                  <a:cubicBezTo>
                    <a:pt x="111294" y="11098"/>
                    <a:pt x="111294" y="21878"/>
                    <a:pt x="104952" y="28854"/>
                  </a:cubicBezTo>
                  <a:lnTo>
                    <a:pt x="28854" y="104952"/>
                  </a:lnTo>
                  <a:cubicBezTo>
                    <a:pt x="25049" y="108123"/>
                    <a:pt x="21244" y="110026"/>
                    <a:pt x="16805" y="110026"/>
                  </a:cubicBezTo>
                  <a:lnTo>
                    <a:pt x="16805" y="110026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33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4402044" y="546338"/>
            <a:ext cx="306652" cy="376887"/>
            <a:chOff x="4383150" y="546613"/>
            <a:chExt cx="310101" cy="381126"/>
          </a:xfrm>
          <a:solidFill>
            <a:srgbClr val="B1B1A1"/>
          </a:solidFill>
        </p:grpSpPr>
        <p:grpSp>
          <p:nvGrpSpPr>
            <p:cNvPr id="234" name="Gráfico 2">
              <a:extLst>
                <a:ext uri="{FF2B5EF4-FFF2-40B4-BE49-F238E27FC236}">
                  <a16:creationId xmlns:a16="http://schemas.microsoft.com/office/drawing/2014/main" id="{DC80C217-93B8-4831-A8BE-0817F1F32ECF}"/>
                </a:ext>
              </a:extLst>
            </p:cNvPr>
            <p:cNvGrpSpPr/>
            <p:nvPr/>
          </p:nvGrpSpPr>
          <p:grpSpPr>
            <a:xfrm>
              <a:off x="4383150" y="546613"/>
              <a:ext cx="310101" cy="381126"/>
              <a:chOff x="4383150" y="546613"/>
              <a:chExt cx="310101" cy="381126"/>
            </a:xfrm>
            <a:grpFill/>
          </p:grpSpPr>
          <p:sp>
            <p:nvSpPr>
              <p:cNvPr id="235" name="Forma Livre: Forma 234">
                <a:extLst>
                  <a:ext uri="{FF2B5EF4-FFF2-40B4-BE49-F238E27FC236}">
                    <a16:creationId xmlns:a16="http://schemas.microsoft.com/office/drawing/2014/main" id="{B31E6FE8-AEFB-4320-9563-A77CD777DCC3}"/>
                  </a:ext>
                </a:extLst>
              </p:cNvPr>
              <p:cNvSpPr/>
              <p:nvPr/>
            </p:nvSpPr>
            <p:spPr>
              <a:xfrm>
                <a:off x="4566421" y="800909"/>
                <a:ext cx="117952" cy="117952"/>
              </a:xfrm>
              <a:custGeom>
                <a:avLst/>
                <a:gdLst>
                  <a:gd name="connsiteX0" fmla="*/ 8244 w 117952"/>
                  <a:gd name="connsiteY0" fmla="*/ 117953 h 117952"/>
                  <a:gd name="connsiteX1" fmla="*/ 0 w 117952"/>
                  <a:gd name="connsiteY1" fmla="*/ 109709 h 117952"/>
                  <a:gd name="connsiteX2" fmla="*/ 0 w 117952"/>
                  <a:gd name="connsiteY2" fmla="*/ 8244 h 117952"/>
                  <a:gd name="connsiteX3" fmla="*/ 8244 w 117952"/>
                  <a:gd name="connsiteY3" fmla="*/ 0 h 117952"/>
                  <a:gd name="connsiteX4" fmla="*/ 109709 w 117952"/>
                  <a:gd name="connsiteY4" fmla="*/ 0 h 117952"/>
                  <a:gd name="connsiteX5" fmla="*/ 117953 w 117952"/>
                  <a:gd name="connsiteY5" fmla="*/ 8244 h 117952"/>
                  <a:gd name="connsiteX6" fmla="*/ 109709 w 117952"/>
                  <a:gd name="connsiteY6" fmla="*/ 16488 h 117952"/>
                  <a:gd name="connsiteX7" fmla="*/ 17122 w 117952"/>
                  <a:gd name="connsiteY7" fmla="*/ 16488 h 117952"/>
                  <a:gd name="connsiteX8" fmla="*/ 17122 w 117952"/>
                  <a:gd name="connsiteY8" fmla="*/ 109074 h 117952"/>
                  <a:gd name="connsiteX9" fmla="*/ 8244 w 117952"/>
                  <a:gd name="connsiteY9" fmla="*/ 117953 h 117952"/>
                  <a:gd name="connsiteX10" fmla="*/ 8244 w 117952"/>
                  <a:gd name="connsiteY10" fmla="*/ 117953 h 117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7952" h="117952">
                    <a:moveTo>
                      <a:pt x="8244" y="117953"/>
                    </a:moveTo>
                    <a:cubicBezTo>
                      <a:pt x="3805" y="117953"/>
                      <a:pt x="0" y="114148"/>
                      <a:pt x="0" y="109709"/>
                    </a:cubicBezTo>
                    <a:lnTo>
                      <a:pt x="0" y="8244"/>
                    </a:lnTo>
                    <a:cubicBezTo>
                      <a:pt x="0" y="3805"/>
                      <a:pt x="3805" y="0"/>
                      <a:pt x="8244" y="0"/>
                    </a:cubicBezTo>
                    <a:lnTo>
                      <a:pt x="109709" y="0"/>
                    </a:lnTo>
                    <a:cubicBezTo>
                      <a:pt x="114148" y="0"/>
                      <a:pt x="117953" y="3805"/>
                      <a:pt x="117953" y="8244"/>
                    </a:cubicBezTo>
                    <a:cubicBezTo>
                      <a:pt x="117953" y="12683"/>
                      <a:pt x="114148" y="16488"/>
                      <a:pt x="109709" y="16488"/>
                    </a:cubicBezTo>
                    <a:lnTo>
                      <a:pt x="17122" y="16488"/>
                    </a:lnTo>
                    <a:lnTo>
                      <a:pt x="17122" y="109074"/>
                    </a:lnTo>
                    <a:cubicBezTo>
                      <a:pt x="16488" y="114148"/>
                      <a:pt x="12683" y="117953"/>
                      <a:pt x="8244" y="117953"/>
                    </a:cubicBezTo>
                    <a:lnTo>
                      <a:pt x="8244" y="117953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36" name="Forma Livre: Forma 235">
                <a:extLst>
                  <a:ext uri="{FF2B5EF4-FFF2-40B4-BE49-F238E27FC236}">
                    <a16:creationId xmlns:a16="http://schemas.microsoft.com/office/drawing/2014/main" id="{5CC5F2ED-2470-4EA3-A309-73B976544C3E}"/>
                  </a:ext>
                </a:extLst>
              </p:cNvPr>
              <p:cNvSpPr/>
              <p:nvPr/>
            </p:nvSpPr>
            <p:spPr>
              <a:xfrm>
                <a:off x="4383150" y="546613"/>
                <a:ext cx="310101" cy="381126"/>
              </a:xfrm>
              <a:custGeom>
                <a:avLst/>
                <a:gdLst>
                  <a:gd name="connsiteX0" fmla="*/ 191514 w 310101"/>
                  <a:gd name="connsiteY0" fmla="*/ 381126 h 381126"/>
                  <a:gd name="connsiteX1" fmla="*/ 17122 w 310101"/>
                  <a:gd name="connsiteY1" fmla="*/ 381126 h 381126"/>
                  <a:gd name="connsiteX2" fmla="*/ 0 w 310101"/>
                  <a:gd name="connsiteY2" fmla="*/ 364004 h 381126"/>
                  <a:gd name="connsiteX3" fmla="*/ 0 w 310101"/>
                  <a:gd name="connsiteY3" fmla="*/ 17122 h 381126"/>
                  <a:gd name="connsiteX4" fmla="*/ 17122 w 310101"/>
                  <a:gd name="connsiteY4" fmla="*/ 0 h 381126"/>
                  <a:gd name="connsiteX5" fmla="*/ 292979 w 310101"/>
                  <a:gd name="connsiteY5" fmla="*/ 0 h 381126"/>
                  <a:gd name="connsiteX6" fmla="*/ 310101 w 310101"/>
                  <a:gd name="connsiteY6" fmla="*/ 17122 h 381126"/>
                  <a:gd name="connsiteX7" fmla="*/ 310101 w 310101"/>
                  <a:gd name="connsiteY7" fmla="*/ 262540 h 381126"/>
                  <a:gd name="connsiteX8" fmla="*/ 305028 w 310101"/>
                  <a:gd name="connsiteY8" fmla="*/ 274589 h 381126"/>
                  <a:gd name="connsiteX9" fmla="*/ 203563 w 310101"/>
                  <a:gd name="connsiteY9" fmla="*/ 376053 h 381126"/>
                  <a:gd name="connsiteX10" fmla="*/ 191514 w 310101"/>
                  <a:gd name="connsiteY10" fmla="*/ 381126 h 381126"/>
                  <a:gd name="connsiteX11" fmla="*/ 191514 w 310101"/>
                  <a:gd name="connsiteY11" fmla="*/ 381126 h 381126"/>
                  <a:gd name="connsiteX12" fmla="*/ 34244 w 310101"/>
                  <a:gd name="connsiteY12" fmla="*/ 346882 h 381126"/>
                  <a:gd name="connsiteX13" fmla="*/ 185173 w 310101"/>
                  <a:gd name="connsiteY13" fmla="*/ 346882 h 381126"/>
                  <a:gd name="connsiteX14" fmla="*/ 276491 w 310101"/>
                  <a:gd name="connsiteY14" fmla="*/ 255564 h 381126"/>
                  <a:gd name="connsiteX15" fmla="*/ 276491 w 310101"/>
                  <a:gd name="connsiteY15" fmla="*/ 34244 h 381126"/>
                  <a:gd name="connsiteX16" fmla="*/ 34244 w 310101"/>
                  <a:gd name="connsiteY16" fmla="*/ 34244 h 381126"/>
                  <a:gd name="connsiteX17" fmla="*/ 34244 w 310101"/>
                  <a:gd name="connsiteY17" fmla="*/ 346882 h 381126"/>
                  <a:gd name="connsiteX18" fmla="*/ 34244 w 310101"/>
                  <a:gd name="connsiteY18" fmla="*/ 346882 h 381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10101" h="381126">
                    <a:moveTo>
                      <a:pt x="191514" y="381126"/>
                    </a:moveTo>
                    <a:lnTo>
                      <a:pt x="17122" y="381126"/>
                    </a:lnTo>
                    <a:cubicBezTo>
                      <a:pt x="7610" y="381126"/>
                      <a:pt x="0" y="373517"/>
                      <a:pt x="0" y="364004"/>
                    </a:cubicBezTo>
                    <a:lnTo>
                      <a:pt x="0" y="17122"/>
                    </a:lnTo>
                    <a:cubicBezTo>
                      <a:pt x="0" y="7610"/>
                      <a:pt x="7610" y="0"/>
                      <a:pt x="17122" y="0"/>
                    </a:cubicBezTo>
                    <a:lnTo>
                      <a:pt x="292979" y="0"/>
                    </a:lnTo>
                    <a:cubicBezTo>
                      <a:pt x="302491" y="0"/>
                      <a:pt x="310101" y="7610"/>
                      <a:pt x="310101" y="17122"/>
                    </a:cubicBezTo>
                    <a:lnTo>
                      <a:pt x="310101" y="262540"/>
                    </a:lnTo>
                    <a:cubicBezTo>
                      <a:pt x="310101" y="266979"/>
                      <a:pt x="308199" y="271418"/>
                      <a:pt x="305028" y="274589"/>
                    </a:cubicBezTo>
                    <a:lnTo>
                      <a:pt x="203563" y="376053"/>
                    </a:lnTo>
                    <a:cubicBezTo>
                      <a:pt x="200393" y="379224"/>
                      <a:pt x="195953" y="381126"/>
                      <a:pt x="191514" y="381126"/>
                    </a:cubicBezTo>
                    <a:lnTo>
                      <a:pt x="191514" y="381126"/>
                    </a:lnTo>
                    <a:close/>
                    <a:moveTo>
                      <a:pt x="34244" y="346882"/>
                    </a:moveTo>
                    <a:lnTo>
                      <a:pt x="185173" y="346882"/>
                    </a:lnTo>
                    <a:lnTo>
                      <a:pt x="276491" y="255564"/>
                    </a:lnTo>
                    <a:lnTo>
                      <a:pt x="276491" y="34244"/>
                    </a:lnTo>
                    <a:lnTo>
                      <a:pt x="34244" y="34244"/>
                    </a:lnTo>
                    <a:lnTo>
                      <a:pt x="34244" y="346882"/>
                    </a:lnTo>
                    <a:lnTo>
                      <a:pt x="34244" y="346882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237" name="Forma Livre: Forma 236">
              <a:extLst>
                <a:ext uri="{FF2B5EF4-FFF2-40B4-BE49-F238E27FC236}">
                  <a16:creationId xmlns:a16="http://schemas.microsoft.com/office/drawing/2014/main" id="{1D28519C-D85D-4252-9FEF-EDE5731BBFAC}"/>
                </a:ext>
              </a:extLst>
            </p:cNvPr>
            <p:cNvSpPr/>
            <p:nvPr/>
          </p:nvSpPr>
          <p:spPr>
            <a:xfrm>
              <a:off x="4466859" y="679786"/>
              <a:ext cx="142050" cy="34244"/>
            </a:xfrm>
            <a:custGeom>
              <a:avLst/>
              <a:gdLst>
                <a:gd name="connsiteX0" fmla="*/ 124928 w 142050"/>
                <a:gd name="connsiteY0" fmla="*/ 34244 h 34244"/>
                <a:gd name="connsiteX1" fmla="*/ 17122 w 142050"/>
                <a:gd name="connsiteY1" fmla="*/ 34244 h 34244"/>
                <a:gd name="connsiteX2" fmla="*/ 0 w 142050"/>
                <a:gd name="connsiteY2" fmla="*/ 17122 h 34244"/>
                <a:gd name="connsiteX3" fmla="*/ 17122 w 142050"/>
                <a:gd name="connsiteY3" fmla="*/ 0 h 34244"/>
                <a:gd name="connsiteX4" fmla="*/ 124928 w 142050"/>
                <a:gd name="connsiteY4" fmla="*/ 0 h 34244"/>
                <a:gd name="connsiteX5" fmla="*/ 142050 w 142050"/>
                <a:gd name="connsiteY5" fmla="*/ 17122 h 34244"/>
                <a:gd name="connsiteX6" fmla="*/ 124928 w 142050"/>
                <a:gd name="connsiteY6" fmla="*/ 34244 h 34244"/>
                <a:gd name="connsiteX7" fmla="*/ 124928 w 142050"/>
                <a:gd name="connsiteY7" fmla="*/ 34244 h 3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2050" h="34244">
                  <a:moveTo>
                    <a:pt x="124928" y="34244"/>
                  </a:moveTo>
                  <a:lnTo>
                    <a:pt x="17122" y="34244"/>
                  </a:lnTo>
                  <a:cubicBezTo>
                    <a:pt x="7610" y="34244"/>
                    <a:pt x="0" y="26634"/>
                    <a:pt x="0" y="17122"/>
                  </a:cubicBezTo>
                  <a:cubicBezTo>
                    <a:pt x="0" y="7610"/>
                    <a:pt x="7610" y="0"/>
                    <a:pt x="17122" y="0"/>
                  </a:cubicBezTo>
                  <a:lnTo>
                    <a:pt x="124928" y="0"/>
                  </a:lnTo>
                  <a:cubicBezTo>
                    <a:pt x="134440" y="0"/>
                    <a:pt x="142050" y="7610"/>
                    <a:pt x="142050" y="17122"/>
                  </a:cubicBezTo>
                  <a:cubicBezTo>
                    <a:pt x="142050" y="26634"/>
                    <a:pt x="134440" y="34244"/>
                    <a:pt x="124928" y="34244"/>
                  </a:cubicBezTo>
                  <a:lnTo>
                    <a:pt x="124928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38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5425472" y="546338"/>
            <a:ext cx="306652" cy="376887"/>
            <a:chOff x="5418089" y="546613"/>
            <a:chExt cx="310101" cy="381126"/>
          </a:xfrm>
          <a:solidFill>
            <a:srgbClr val="B1B1A1"/>
          </a:solidFill>
        </p:grpSpPr>
        <p:grpSp>
          <p:nvGrpSpPr>
            <p:cNvPr id="239" name="Gráfico 2">
              <a:extLst>
                <a:ext uri="{FF2B5EF4-FFF2-40B4-BE49-F238E27FC236}">
                  <a16:creationId xmlns:a16="http://schemas.microsoft.com/office/drawing/2014/main" id="{DC80C217-93B8-4831-A8BE-0817F1F32ECF}"/>
                </a:ext>
              </a:extLst>
            </p:cNvPr>
            <p:cNvGrpSpPr/>
            <p:nvPr/>
          </p:nvGrpSpPr>
          <p:grpSpPr>
            <a:xfrm>
              <a:off x="5418089" y="546613"/>
              <a:ext cx="310101" cy="381126"/>
              <a:chOff x="5418089" y="546613"/>
              <a:chExt cx="310101" cy="381126"/>
            </a:xfrm>
            <a:grpFill/>
          </p:grpSpPr>
          <p:sp>
            <p:nvSpPr>
              <p:cNvPr id="240" name="Forma Livre: Forma 239">
                <a:extLst>
                  <a:ext uri="{FF2B5EF4-FFF2-40B4-BE49-F238E27FC236}">
                    <a16:creationId xmlns:a16="http://schemas.microsoft.com/office/drawing/2014/main" id="{CA65C7CD-8987-4BDB-8F7A-BB96E02D3DB5}"/>
                  </a:ext>
                </a:extLst>
              </p:cNvPr>
              <p:cNvSpPr/>
              <p:nvPr/>
            </p:nvSpPr>
            <p:spPr>
              <a:xfrm>
                <a:off x="5601360" y="800909"/>
                <a:ext cx="117952" cy="117952"/>
              </a:xfrm>
              <a:custGeom>
                <a:avLst/>
                <a:gdLst>
                  <a:gd name="connsiteX0" fmla="*/ 8244 w 117952"/>
                  <a:gd name="connsiteY0" fmla="*/ 117953 h 117952"/>
                  <a:gd name="connsiteX1" fmla="*/ 0 w 117952"/>
                  <a:gd name="connsiteY1" fmla="*/ 109709 h 117952"/>
                  <a:gd name="connsiteX2" fmla="*/ 0 w 117952"/>
                  <a:gd name="connsiteY2" fmla="*/ 8244 h 117952"/>
                  <a:gd name="connsiteX3" fmla="*/ 8244 w 117952"/>
                  <a:gd name="connsiteY3" fmla="*/ 0 h 117952"/>
                  <a:gd name="connsiteX4" fmla="*/ 109709 w 117952"/>
                  <a:gd name="connsiteY4" fmla="*/ 0 h 117952"/>
                  <a:gd name="connsiteX5" fmla="*/ 117952 w 117952"/>
                  <a:gd name="connsiteY5" fmla="*/ 8244 h 117952"/>
                  <a:gd name="connsiteX6" fmla="*/ 109709 w 117952"/>
                  <a:gd name="connsiteY6" fmla="*/ 16488 h 117952"/>
                  <a:gd name="connsiteX7" fmla="*/ 17122 w 117952"/>
                  <a:gd name="connsiteY7" fmla="*/ 16488 h 117952"/>
                  <a:gd name="connsiteX8" fmla="*/ 17122 w 117952"/>
                  <a:gd name="connsiteY8" fmla="*/ 109074 h 117952"/>
                  <a:gd name="connsiteX9" fmla="*/ 8244 w 117952"/>
                  <a:gd name="connsiteY9" fmla="*/ 117953 h 117952"/>
                  <a:gd name="connsiteX10" fmla="*/ 8244 w 117952"/>
                  <a:gd name="connsiteY10" fmla="*/ 117953 h 117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7952" h="117952">
                    <a:moveTo>
                      <a:pt x="8244" y="117953"/>
                    </a:moveTo>
                    <a:cubicBezTo>
                      <a:pt x="3805" y="117953"/>
                      <a:pt x="0" y="114148"/>
                      <a:pt x="0" y="109709"/>
                    </a:cubicBezTo>
                    <a:lnTo>
                      <a:pt x="0" y="8244"/>
                    </a:lnTo>
                    <a:cubicBezTo>
                      <a:pt x="0" y="3805"/>
                      <a:pt x="3805" y="0"/>
                      <a:pt x="8244" y="0"/>
                    </a:cubicBezTo>
                    <a:lnTo>
                      <a:pt x="109709" y="0"/>
                    </a:lnTo>
                    <a:cubicBezTo>
                      <a:pt x="114148" y="0"/>
                      <a:pt x="117952" y="3805"/>
                      <a:pt x="117952" y="8244"/>
                    </a:cubicBezTo>
                    <a:cubicBezTo>
                      <a:pt x="117952" y="12683"/>
                      <a:pt x="114148" y="16488"/>
                      <a:pt x="109709" y="16488"/>
                    </a:cubicBezTo>
                    <a:lnTo>
                      <a:pt x="17122" y="16488"/>
                    </a:lnTo>
                    <a:lnTo>
                      <a:pt x="17122" y="109074"/>
                    </a:lnTo>
                    <a:cubicBezTo>
                      <a:pt x="16488" y="114148"/>
                      <a:pt x="12683" y="117953"/>
                      <a:pt x="8244" y="117953"/>
                    </a:cubicBezTo>
                    <a:lnTo>
                      <a:pt x="8244" y="117953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41" name="Forma Livre: Forma 240">
                <a:extLst>
                  <a:ext uri="{FF2B5EF4-FFF2-40B4-BE49-F238E27FC236}">
                    <a16:creationId xmlns:a16="http://schemas.microsoft.com/office/drawing/2014/main" id="{7DA6DD78-D5B9-48CD-BB89-75CEA5E729F8}"/>
                  </a:ext>
                </a:extLst>
              </p:cNvPr>
              <p:cNvSpPr/>
              <p:nvPr/>
            </p:nvSpPr>
            <p:spPr>
              <a:xfrm>
                <a:off x="5418089" y="546613"/>
                <a:ext cx="310101" cy="381126"/>
              </a:xfrm>
              <a:custGeom>
                <a:avLst/>
                <a:gdLst>
                  <a:gd name="connsiteX0" fmla="*/ 191514 w 310101"/>
                  <a:gd name="connsiteY0" fmla="*/ 381126 h 381126"/>
                  <a:gd name="connsiteX1" fmla="*/ 17122 w 310101"/>
                  <a:gd name="connsiteY1" fmla="*/ 381126 h 381126"/>
                  <a:gd name="connsiteX2" fmla="*/ 0 w 310101"/>
                  <a:gd name="connsiteY2" fmla="*/ 364004 h 381126"/>
                  <a:gd name="connsiteX3" fmla="*/ 0 w 310101"/>
                  <a:gd name="connsiteY3" fmla="*/ 17122 h 381126"/>
                  <a:gd name="connsiteX4" fmla="*/ 17122 w 310101"/>
                  <a:gd name="connsiteY4" fmla="*/ 0 h 381126"/>
                  <a:gd name="connsiteX5" fmla="*/ 292979 w 310101"/>
                  <a:gd name="connsiteY5" fmla="*/ 0 h 381126"/>
                  <a:gd name="connsiteX6" fmla="*/ 310101 w 310101"/>
                  <a:gd name="connsiteY6" fmla="*/ 17122 h 381126"/>
                  <a:gd name="connsiteX7" fmla="*/ 310101 w 310101"/>
                  <a:gd name="connsiteY7" fmla="*/ 262540 h 381126"/>
                  <a:gd name="connsiteX8" fmla="*/ 305028 w 310101"/>
                  <a:gd name="connsiteY8" fmla="*/ 274589 h 381126"/>
                  <a:gd name="connsiteX9" fmla="*/ 203564 w 310101"/>
                  <a:gd name="connsiteY9" fmla="*/ 376053 h 381126"/>
                  <a:gd name="connsiteX10" fmla="*/ 191514 w 310101"/>
                  <a:gd name="connsiteY10" fmla="*/ 381126 h 381126"/>
                  <a:gd name="connsiteX11" fmla="*/ 191514 w 310101"/>
                  <a:gd name="connsiteY11" fmla="*/ 381126 h 381126"/>
                  <a:gd name="connsiteX12" fmla="*/ 33610 w 310101"/>
                  <a:gd name="connsiteY12" fmla="*/ 346882 h 381126"/>
                  <a:gd name="connsiteX13" fmla="*/ 184539 w 310101"/>
                  <a:gd name="connsiteY13" fmla="*/ 346882 h 381126"/>
                  <a:gd name="connsiteX14" fmla="*/ 275857 w 310101"/>
                  <a:gd name="connsiteY14" fmla="*/ 255564 h 381126"/>
                  <a:gd name="connsiteX15" fmla="*/ 275857 w 310101"/>
                  <a:gd name="connsiteY15" fmla="*/ 34244 h 381126"/>
                  <a:gd name="connsiteX16" fmla="*/ 33610 w 310101"/>
                  <a:gd name="connsiteY16" fmla="*/ 34244 h 381126"/>
                  <a:gd name="connsiteX17" fmla="*/ 33610 w 310101"/>
                  <a:gd name="connsiteY17" fmla="*/ 346882 h 381126"/>
                  <a:gd name="connsiteX18" fmla="*/ 33610 w 310101"/>
                  <a:gd name="connsiteY18" fmla="*/ 346882 h 381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10101" h="381126">
                    <a:moveTo>
                      <a:pt x="191514" y="381126"/>
                    </a:moveTo>
                    <a:lnTo>
                      <a:pt x="17122" y="381126"/>
                    </a:lnTo>
                    <a:cubicBezTo>
                      <a:pt x="7610" y="381126"/>
                      <a:pt x="0" y="373517"/>
                      <a:pt x="0" y="364004"/>
                    </a:cubicBezTo>
                    <a:lnTo>
                      <a:pt x="0" y="17122"/>
                    </a:lnTo>
                    <a:cubicBezTo>
                      <a:pt x="0" y="7610"/>
                      <a:pt x="7610" y="0"/>
                      <a:pt x="17122" y="0"/>
                    </a:cubicBezTo>
                    <a:lnTo>
                      <a:pt x="292979" y="0"/>
                    </a:lnTo>
                    <a:cubicBezTo>
                      <a:pt x="302491" y="0"/>
                      <a:pt x="310101" y="7610"/>
                      <a:pt x="310101" y="17122"/>
                    </a:cubicBezTo>
                    <a:lnTo>
                      <a:pt x="310101" y="262540"/>
                    </a:lnTo>
                    <a:cubicBezTo>
                      <a:pt x="310101" y="266979"/>
                      <a:pt x="308199" y="271418"/>
                      <a:pt x="305028" y="274589"/>
                    </a:cubicBezTo>
                    <a:lnTo>
                      <a:pt x="203564" y="376053"/>
                    </a:lnTo>
                    <a:cubicBezTo>
                      <a:pt x="200393" y="379224"/>
                      <a:pt x="195954" y="381126"/>
                      <a:pt x="191514" y="381126"/>
                    </a:cubicBezTo>
                    <a:lnTo>
                      <a:pt x="191514" y="381126"/>
                    </a:lnTo>
                    <a:close/>
                    <a:moveTo>
                      <a:pt x="33610" y="346882"/>
                    </a:moveTo>
                    <a:lnTo>
                      <a:pt x="184539" y="346882"/>
                    </a:lnTo>
                    <a:lnTo>
                      <a:pt x="275857" y="255564"/>
                    </a:lnTo>
                    <a:lnTo>
                      <a:pt x="275857" y="34244"/>
                    </a:lnTo>
                    <a:lnTo>
                      <a:pt x="33610" y="34244"/>
                    </a:lnTo>
                    <a:lnTo>
                      <a:pt x="33610" y="346882"/>
                    </a:lnTo>
                    <a:lnTo>
                      <a:pt x="33610" y="346882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242" name="Forma Livre: Forma 241">
              <a:extLst>
                <a:ext uri="{FF2B5EF4-FFF2-40B4-BE49-F238E27FC236}">
                  <a16:creationId xmlns:a16="http://schemas.microsoft.com/office/drawing/2014/main" id="{87455FD2-3D2E-4E42-A159-024441BA8391}"/>
                </a:ext>
              </a:extLst>
            </p:cNvPr>
            <p:cNvSpPr/>
            <p:nvPr/>
          </p:nvSpPr>
          <p:spPr>
            <a:xfrm>
              <a:off x="5502008" y="619752"/>
              <a:ext cx="152409" cy="129156"/>
            </a:xfrm>
            <a:custGeom>
              <a:avLst/>
              <a:gdLst>
                <a:gd name="connsiteX0" fmla="*/ 59400 w 152409"/>
                <a:gd name="connsiteY0" fmla="*/ 128523 h 129156"/>
                <a:gd name="connsiteX1" fmla="*/ 48619 w 152409"/>
                <a:gd name="connsiteY1" fmla="*/ 124718 h 129156"/>
                <a:gd name="connsiteX2" fmla="*/ 6131 w 152409"/>
                <a:gd name="connsiteY2" fmla="*/ 90473 h 129156"/>
                <a:gd name="connsiteX3" fmla="*/ 3594 w 152409"/>
                <a:gd name="connsiteY3" fmla="*/ 67010 h 129156"/>
                <a:gd name="connsiteX4" fmla="*/ 27058 w 152409"/>
                <a:gd name="connsiteY4" fmla="*/ 64473 h 129156"/>
                <a:gd name="connsiteX5" fmla="*/ 56229 w 152409"/>
                <a:gd name="connsiteY5" fmla="*/ 88571 h 129156"/>
                <a:gd name="connsiteX6" fmla="*/ 122815 w 152409"/>
                <a:gd name="connsiteY6" fmla="*/ 6131 h 129156"/>
                <a:gd name="connsiteX7" fmla="*/ 146279 w 152409"/>
                <a:gd name="connsiteY7" fmla="*/ 3594 h 129156"/>
                <a:gd name="connsiteX8" fmla="*/ 148815 w 152409"/>
                <a:gd name="connsiteY8" fmla="*/ 27058 h 129156"/>
                <a:gd name="connsiteX9" fmla="*/ 71449 w 152409"/>
                <a:gd name="connsiteY9" fmla="*/ 122815 h 129156"/>
                <a:gd name="connsiteX10" fmla="*/ 60034 w 152409"/>
                <a:gd name="connsiteY10" fmla="*/ 129157 h 129156"/>
                <a:gd name="connsiteX11" fmla="*/ 59400 w 152409"/>
                <a:gd name="connsiteY11" fmla="*/ 128523 h 129156"/>
                <a:gd name="connsiteX12" fmla="*/ 59400 w 152409"/>
                <a:gd name="connsiteY12" fmla="*/ 128523 h 129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2409" h="129156">
                  <a:moveTo>
                    <a:pt x="59400" y="128523"/>
                  </a:moveTo>
                  <a:cubicBezTo>
                    <a:pt x="55595" y="128523"/>
                    <a:pt x="51790" y="127254"/>
                    <a:pt x="48619" y="124718"/>
                  </a:cubicBezTo>
                  <a:lnTo>
                    <a:pt x="6131" y="90473"/>
                  </a:lnTo>
                  <a:cubicBezTo>
                    <a:pt x="-845" y="84766"/>
                    <a:pt x="-2113" y="73985"/>
                    <a:pt x="3594" y="67010"/>
                  </a:cubicBezTo>
                  <a:cubicBezTo>
                    <a:pt x="9302" y="60034"/>
                    <a:pt x="20082" y="58766"/>
                    <a:pt x="27058" y="64473"/>
                  </a:cubicBezTo>
                  <a:lnTo>
                    <a:pt x="56229" y="88571"/>
                  </a:lnTo>
                  <a:lnTo>
                    <a:pt x="122815" y="6131"/>
                  </a:lnTo>
                  <a:cubicBezTo>
                    <a:pt x="128522" y="-845"/>
                    <a:pt x="139303" y="-2113"/>
                    <a:pt x="146279" y="3594"/>
                  </a:cubicBezTo>
                  <a:cubicBezTo>
                    <a:pt x="153255" y="9302"/>
                    <a:pt x="154523" y="20082"/>
                    <a:pt x="148815" y="27058"/>
                  </a:cubicBezTo>
                  <a:lnTo>
                    <a:pt x="71449" y="122815"/>
                  </a:lnTo>
                  <a:cubicBezTo>
                    <a:pt x="68912" y="125986"/>
                    <a:pt x="64473" y="128523"/>
                    <a:pt x="60034" y="129157"/>
                  </a:cubicBezTo>
                  <a:cubicBezTo>
                    <a:pt x="60668" y="128523"/>
                    <a:pt x="60034" y="128523"/>
                    <a:pt x="59400" y="128523"/>
                  </a:cubicBezTo>
                  <a:lnTo>
                    <a:pt x="59400" y="128523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43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2327596" y="521882"/>
            <a:ext cx="353684" cy="425801"/>
            <a:chOff x="2285370" y="521882"/>
            <a:chExt cx="357662" cy="430590"/>
          </a:xfrm>
          <a:solidFill>
            <a:srgbClr val="B1B1A1"/>
          </a:solidFill>
        </p:grpSpPr>
        <p:sp>
          <p:nvSpPr>
            <p:cNvPr id="244" name="Forma Livre: Forma 243">
              <a:extLst>
                <a:ext uri="{FF2B5EF4-FFF2-40B4-BE49-F238E27FC236}">
                  <a16:creationId xmlns:a16="http://schemas.microsoft.com/office/drawing/2014/main" id="{96B2BE61-E77E-41F6-A40F-1A6A65859555}"/>
                </a:ext>
              </a:extLst>
            </p:cNvPr>
            <p:cNvSpPr/>
            <p:nvPr/>
          </p:nvSpPr>
          <p:spPr>
            <a:xfrm>
              <a:off x="2516202" y="826275"/>
              <a:ext cx="117952" cy="117952"/>
            </a:xfrm>
            <a:custGeom>
              <a:avLst/>
              <a:gdLst>
                <a:gd name="connsiteX0" fmla="*/ 8244 w 117952"/>
                <a:gd name="connsiteY0" fmla="*/ 117953 h 117952"/>
                <a:gd name="connsiteX1" fmla="*/ 0 w 117952"/>
                <a:gd name="connsiteY1" fmla="*/ 109709 h 117952"/>
                <a:gd name="connsiteX2" fmla="*/ 0 w 117952"/>
                <a:gd name="connsiteY2" fmla="*/ 8244 h 117952"/>
                <a:gd name="connsiteX3" fmla="*/ 8244 w 117952"/>
                <a:gd name="connsiteY3" fmla="*/ 0 h 117952"/>
                <a:gd name="connsiteX4" fmla="*/ 109709 w 117952"/>
                <a:gd name="connsiteY4" fmla="*/ 0 h 117952"/>
                <a:gd name="connsiteX5" fmla="*/ 117953 w 117952"/>
                <a:gd name="connsiteY5" fmla="*/ 8244 h 117952"/>
                <a:gd name="connsiteX6" fmla="*/ 109709 w 117952"/>
                <a:gd name="connsiteY6" fmla="*/ 16488 h 117952"/>
                <a:gd name="connsiteX7" fmla="*/ 17122 w 117952"/>
                <a:gd name="connsiteY7" fmla="*/ 16488 h 117952"/>
                <a:gd name="connsiteX8" fmla="*/ 17122 w 117952"/>
                <a:gd name="connsiteY8" fmla="*/ 109074 h 117952"/>
                <a:gd name="connsiteX9" fmla="*/ 8244 w 117952"/>
                <a:gd name="connsiteY9" fmla="*/ 117953 h 117952"/>
                <a:gd name="connsiteX10" fmla="*/ 8244 w 117952"/>
                <a:gd name="connsiteY10" fmla="*/ 117953 h 11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7952" h="117952">
                  <a:moveTo>
                    <a:pt x="8244" y="117953"/>
                  </a:moveTo>
                  <a:cubicBezTo>
                    <a:pt x="3805" y="117953"/>
                    <a:pt x="0" y="114148"/>
                    <a:pt x="0" y="109709"/>
                  </a:cubicBezTo>
                  <a:lnTo>
                    <a:pt x="0" y="8244"/>
                  </a:lnTo>
                  <a:cubicBezTo>
                    <a:pt x="0" y="3805"/>
                    <a:pt x="3805" y="0"/>
                    <a:pt x="8244" y="0"/>
                  </a:cubicBezTo>
                  <a:lnTo>
                    <a:pt x="109709" y="0"/>
                  </a:lnTo>
                  <a:cubicBezTo>
                    <a:pt x="114148" y="0"/>
                    <a:pt x="117953" y="3805"/>
                    <a:pt x="117953" y="8244"/>
                  </a:cubicBezTo>
                  <a:cubicBezTo>
                    <a:pt x="117953" y="12683"/>
                    <a:pt x="114148" y="16488"/>
                    <a:pt x="109709" y="16488"/>
                  </a:cubicBezTo>
                  <a:lnTo>
                    <a:pt x="17122" y="16488"/>
                  </a:lnTo>
                  <a:lnTo>
                    <a:pt x="17122" y="109074"/>
                  </a:lnTo>
                  <a:cubicBezTo>
                    <a:pt x="17122" y="114148"/>
                    <a:pt x="13317" y="117953"/>
                    <a:pt x="8244" y="117953"/>
                  </a:cubicBezTo>
                  <a:lnTo>
                    <a:pt x="8244" y="117953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45" name="Forma Livre: Forma 244">
              <a:extLst>
                <a:ext uri="{FF2B5EF4-FFF2-40B4-BE49-F238E27FC236}">
                  <a16:creationId xmlns:a16="http://schemas.microsoft.com/office/drawing/2014/main" id="{0055CED3-1E90-4759-89CB-11326F67EA99}"/>
                </a:ext>
              </a:extLst>
            </p:cNvPr>
            <p:cNvSpPr/>
            <p:nvPr/>
          </p:nvSpPr>
          <p:spPr>
            <a:xfrm>
              <a:off x="2332932" y="571980"/>
              <a:ext cx="310101" cy="380492"/>
            </a:xfrm>
            <a:custGeom>
              <a:avLst/>
              <a:gdLst>
                <a:gd name="connsiteX0" fmla="*/ 191514 w 310101"/>
                <a:gd name="connsiteY0" fmla="*/ 380492 h 380492"/>
                <a:gd name="connsiteX1" fmla="*/ 17122 w 310101"/>
                <a:gd name="connsiteY1" fmla="*/ 380492 h 380492"/>
                <a:gd name="connsiteX2" fmla="*/ 0 w 310101"/>
                <a:gd name="connsiteY2" fmla="*/ 363370 h 380492"/>
                <a:gd name="connsiteX3" fmla="*/ 0 w 310101"/>
                <a:gd name="connsiteY3" fmla="*/ 17122 h 380492"/>
                <a:gd name="connsiteX4" fmla="*/ 17122 w 310101"/>
                <a:gd name="connsiteY4" fmla="*/ 0 h 380492"/>
                <a:gd name="connsiteX5" fmla="*/ 292979 w 310101"/>
                <a:gd name="connsiteY5" fmla="*/ 0 h 380492"/>
                <a:gd name="connsiteX6" fmla="*/ 310101 w 310101"/>
                <a:gd name="connsiteY6" fmla="*/ 17122 h 380492"/>
                <a:gd name="connsiteX7" fmla="*/ 310101 w 310101"/>
                <a:gd name="connsiteY7" fmla="*/ 262540 h 380492"/>
                <a:gd name="connsiteX8" fmla="*/ 305028 w 310101"/>
                <a:gd name="connsiteY8" fmla="*/ 274589 h 380492"/>
                <a:gd name="connsiteX9" fmla="*/ 203563 w 310101"/>
                <a:gd name="connsiteY9" fmla="*/ 376053 h 380492"/>
                <a:gd name="connsiteX10" fmla="*/ 191514 w 310101"/>
                <a:gd name="connsiteY10" fmla="*/ 380492 h 380492"/>
                <a:gd name="connsiteX11" fmla="*/ 191514 w 310101"/>
                <a:gd name="connsiteY11" fmla="*/ 380492 h 380492"/>
                <a:gd name="connsiteX12" fmla="*/ 34244 w 310101"/>
                <a:gd name="connsiteY12" fmla="*/ 346882 h 380492"/>
                <a:gd name="connsiteX13" fmla="*/ 185173 w 310101"/>
                <a:gd name="connsiteY13" fmla="*/ 346882 h 380492"/>
                <a:gd name="connsiteX14" fmla="*/ 276491 w 310101"/>
                <a:gd name="connsiteY14" fmla="*/ 255564 h 380492"/>
                <a:gd name="connsiteX15" fmla="*/ 276491 w 310101"/>
                <a:gd name="connsiteY15" fmla="*/ 33610 h 380492"/>
                <a:gd name="connsiteX16" fmla="*/ 34244 w 310101"/>
                <a:gd name="connsiteY16" fmla="*/ 33610 h 380492"/>
                <a:gd name="connsiteX17" fmla="*/ 34244 w 310101"/>
                <a:gd name="connsiteY17" fmla="*/ 346882 h 380492"/>
                <a:gd name="connsiteX18" fmla="*/ 34244 w 310101"/>
                <a:gd name="connsiteY18" fmla="*/ 346882 h 380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10101" h="380492">
                  <a:moveTo>
                    <a:pt x="191514" y="380492"/>
                  </a:moveTo>
                  <a:lnTo>
                    <a:pt x="17122" y="380492"/>
                  </a:lnTo>
                  <a:cubicBezTo>
                    <a:pt x="7610" y="380492"/>
                    <a:pt x="0" y="372882"/>
                    <a:pt x="0" y="363370"/>
                  </a:cubicBezTo>
                  <a:lnTo>
                    <a:pt x="0" y="17122"/>
                  </a:lnTo>
                  <a:cubicBezTo>
                    <a:pt x="0" y="7610"/>
                    <a:pt x="7610" y="0"/>
                    <a:pt x="17122" y="0"/>
                  </a:cubicBezTo>
                  <a:lnTo>
                    <a:pt x="292979" y="0"/>
                  </a:lnTo>
                  <a:cubicBezTo>
                    <a:pt x="302491" y="0"/>
                    <a:pt x="310101" y="7610"/>
                    <a:pt x="310101" y="17122"/>
                  </a:cubicBezTo>
                  <a:lnTo>
                    <a:pt x="310101" y="262540"/>
                  </a:lnTo>
                  <a:cubicBezTo>
                    <a:pt x="310101" y="266979"/>
                    <a:pt x="308199" y="271418"/>
                    <a:pt x="305028" y="274589"/>
                  </a:cubicBezTo>
                  <a:lnTo>
                    <a:pt x="203563" y="376053"/>
                  </a:lnTo>
                  <a:cubicBezTo>
                    <a:pt x="200393" y="378590"/>
                    <a:pt x="196588" y="380492"/>
                    <a:pt x="191514" y="380492"/>
                  </a:cubicBezTo>
                  <a:lnTo>
                    <a:pt x="191514" y="380492"/>
                  </a:lnTo>
                  <a:close/>
                  <a:moveTo>
                    <a:pt x="34244" y="346882"/>
                  </a:moveTo>
                  <a:lnTo>
                    <a:pt x="185173" y="346882"/>
                  </a:lnTo>
                  <a:lnTo>
                    <a:pt x="276491" y="255564"/>
                  </a:lnTo>
                  <a:lnTo>
                    <a:pt x="276491" y="33610"/>
                  </a:lnTo>
                  <a:lnTo>
                    <a:pt x="34244" y="33610"/>
                  </a:lnTo>
                  <a:lnTo>
                    <a:pt x="34244" y="346882"/>
                  </a:lnTo>
                  <a:lnTo>
                    <a:pt x="34244" y="346882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46" name="Forma Livre: Forma 245">
              <a:extLst>
                <a:ext uri="{FF2B5EF4-FFF2-40B4-BE49-F238E27FC236}">
                  <a16:creationId xmlns:a16="http://schemas.microsoft.com/office/drawing/2014/main" id="{EF78D841-5ADE-4BF2-AF43-81466D6C096A}"/>
                </a:ext>
              </a:extLst>
            </p:cNvPr>
            <p:cNvSpPr/>
            <p:nvPr/>
          </p:nvSpPr>
          <p:spPr>
            <a:xfrm>
              <a:off x="2399518" y="644907"/>
              <a:ext cx="115415" cy="16487"/>
            </a:xfrm>
            <a:custGeom>
              <a:avLst/>
              <a:gdLst>
                <a:gd name="connsiteX0" fmla="*/ 107172 w 115415"/>
                <a:gd name="connsiteY0" fmla="*/ 16488 h 16487"/>
                <a:gd name="connsiteX1" fmla="*/ 8244 w 115415"/>
                <a:gd name="connsiteY1" fmla="*/ 16488 h 16487"/>
                <a:gd name="connsiteX2" fmla="*/ 0 w 115415"/>
                <a:gd name="connsiteY2" fmla="*/ 8244 h 16487"/>
                <a:gd name="connsiteX3" fmla="*/ 8244 w 115415"/>
                <a:gd name="connsiteY3" fmla="*/ 0 h 16487"/>
                <a:gd name="connsiteX4" fmla="*/ 107172 w 115415"/>
                <a:gd name="connsiteY4" fmla="*/ 0 h 16487"/>
                <a:gd name="connsiteX5" fmla="*/ 115416 w 115415"/>
                <a:gd name="connsiteY5" fmla="*/ 8244 h 16487"/>
                <a:gd name="connsiteX6" fmla="*/ 107172 w 115415"/>
                <a:gd name="connsiteY6" fmla="*/ 16488 h 16487"/>
                <a:gd name="connsiteX7" fmla="*/ 107172 w 115415"/>
                <a:gd name="connsiteY7" fmla="*/ 16488 h 16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5415" h="16487">
                  <a:moveTo>
                    <a:pt x="107172" y="16488"/>
                  </a:moveTo>
                  <a:lnTo>
                    <a:pt x="8244" y="16488"/>
                  </a:lnTo>
                  <a:cubicBezTo>
                    <a:pt x="3805" y="16488"/>
                    <a:pt x="0" y="12683"/>
                    <a:pt x="0" y="8244"/>
                  </a:cubicBezTo>
                  <a:cubicBezTo>
                    <a:pt x="0" y="3805"/>
                    <a:pt x="3805" y="0"/>
                    <a:pt x="8244" y="0"/>
                  </a:cubicBezTo>
                  <a:lnTo>
                    <a:pt x="107172" y="0"/>
                  </a:lnTo>
                  <a:cubicBezTo>
                    <a:pt x="111611" y="0"/>
                    <a:pt x="115416" y="3805"/>
                    <a:pt x="115416" y="8244"/>
                  </a:cubicBezTo>
                  <a:cubicBezTo>
                    <a:pt x="115416" y="12683"/>
                    <a:pt x="111611" y="16488"/>
                    <a:pt x="107172" y="16488"/>
                  </a:cubicBezTo>
                  <a:lnTo>
                    <a:pt x="107172" y="16488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47" name="Forma Livre: Forma 246">
              <a:extLst>
                <a:ext uri="{FF2B5EF4-FFF2-40B4-BE49-F238E27FC236}">
                  <a16:creationId xmlns:a16="http://schemas.microsoft.com/office/drawing/2014/main" id="{D9F394B5-7BA7-466F-9526-903ACEA4FCA9}"/>
                </a:ext>
              </a:extLst>
            </p:cNvPr>
            <p:cNvSpPr/>
            <p:nvPr/>
          </p:nvSpPr>
          <p:spPr>
            <a:xfrm>
              <a:off x="2398884" y="685493"/>
              <a:ext cx="181367" cy="16487"/>
            </a:xfrm>
            <a:custGeom>
              <a:avLst/>
              <a:gdLst>
                <a:gd name="connsiteX0" fmla="*/ 173124 w 181367"/>
                <a:gd name="connsiteY0" fmla="*/ 16488 h 16487"/>
                <a:gd name="connsiteX1" fmla="*/ 8244 w 181367"/>
                <a:gd name="connsiteY1" fmla="*/ 16488 h 16487"/>
                <a:gd name="connsiteX2" fmla="*/ 0 w 181367"/>
                <a:gd name="connsiteY2" fmla="*/ 8244 h 16487"/>
                <a:gd name="connsiteX3" fmla="*/ 8244 w 181367"/>
                <a:gd name="connsiteY3" fmla="*/ 0 h 16487"/>
                <a:gd name="connsiteX4" fmla="*/ 173124 w 181367"/>
                <a:gd name="connsiteY4" fmla="*/ 0 h 16487"/>
                <a:gd name="connsiteX5" fmla="*/ 181368 w 181367"/>
                <a:gd name="connsiteY5" fmla="*/ 8244 h 16487"/>
                <a:gd name="connsiteX6" fmla="*/ 173124 w 181367"/>
                <a:gd name="connsiteY6" fmla="*/ 16488 h 16487"/>
                <a:gd name="connsiteX7" fmla="*/ 173124 w 181367"/>
                <a:gd name="connsiteY7" fmla="*/ 16488 h 16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367" h="16487">
                  <a:moveTo>
                    <a:pt x="173124" y="16488"/>
                  </a:moveTo>
                  <a:lnTo>
                    <a:pt x="8244" y="16488"/>
                  </a:lnTo>
                  <a:cubicBezTo>
                    <a:pt x="3805" y="16488"/>
                    <a:pt x="0" y="12683"/>
                    <a:pt x="0" y="8244"/>
                  </a:cubicBezTo>
                  <a:cubicBezTo>
                    <a:pt x="0" y="3805"/>
                    <a:pt x="3805" y="0"/>
                    <a:pt x="8244" y="0"/>
                  </a:cubicBezTo>
                  <a:lnTo>
                    <a:pt x="173124" y="0"/>
                  </a:lnTo>
                  <a:cubicBezTo>
                    <a:pt x="177563" y="0"/>
                    <a:pt x="181368" y="3805"/>
                    <a:pt x="181368" y="8244"/>
                  </a:cubicBezTo>
                  <a:cubicBezTo>
                    <a:pt x="181368" y="12683"/>
                    <a:pt x="177563" y="16488"/>
                    <a:pt x="173124" y="16488"/>
                  </a:cubicBezTo>
                  <a:lnTo>
                    <a:pt x="173124" y="16488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48" name="Forma Livre: Forma 247">
              <a:extLst>
                <a:ext uri="{FF2B5EF4-FFF2-40B4-BE49-F238E27FC236}">
                  <a16:creationId xmlns:a16="http://schemas.microsoft.com/office/drawing/2014/main" id="{69B76216-EB9F-4082-A4C9-2986CD7CFB2D}"/>
                </a:ext>
              </a:extLst>
            </p:cNvPr>
            <p:cNvSpPr/>
            <p:nvPr/>
          </p:nvSpPr>
          <p:spPr>
            <a:xfrm>
              <a:off x="2398884" y="726713"/>
              <a:ext cx="181367" cy="16488"/>
            </a:xfrm>
            <a:custGeom>
              <a:avLst/>
              <a:gdLst>
                <a:gd name="connsiteX0" fmla="*/ 173124 w 181367"/>
                <a:gd name="connsiteY0" fmla="*/ 16488 h 16488"/>
                <a:gd name="connsiteX1" fmla="*/ 8244 w 181367"/>
                <a:gd name="connsiteY1" fmla="*/ 16488 h 16488"/>
                <a:gd name="connsiteX2" fmla="*/ 0 w 181367"/>
                <a:gd name="connsiteY2" fmla="*/ 8244 h 16488"/>
                <a:gd name="connsiteX3" fmla="*/ 8244 w 181367"/>
                <a:gd name="connsiteY3" fmla="*/ 0 h 16488"/>
                <a:gd name="connsiteX4" fmla="*/ 173124 w 181367"/>
                <a:gd name="connsiteY4" fmla="*/ 0 h 16488"/>
                <a:gd name="connsiteX5" fmla="*/ 181368 w 181367"/>
                <a:gd name="connsiteY5" fmla="*/ 8244 h 16488"/>
                <a:gd name="connsiteX6" fmla="*/ 173124 w 181367"/>
                <a:gd name="connsiteY6" fmla="*/ 16488 h 16488"/>
                <a:gd name="connsiteX7" fmla="*/ 173124 w 181367"/>
                <a:gd name="connsiteY7" fmla="*/ 16488 h 16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367" h="16488">
                  <a:moveTo>
                    <a:pt x="173124" y="16488"/>
                  </a:moveTo>
                  <a:lnTo>
                    <a:pt x="8244" y="16488"/>
                  </a:lnTo>
                  <a:cubicBezTo>
                    <a:pt x="3805" y="16488"/>
                    <a:pt x="0" y="12683"/>
                    <a:pt x="0" y="8244"/>
                  </a:cubicBezTo>
                  <a:cubicBezTo>
                    <a:pt x="0" y="3805"/>
                    <a:pt x="3805" y="0"/>
                    <a:pt x="8244" y="0"/>
                  </a:cubicBezTo>
                  <a:lnTo>
                    <a:pt x="173124" y="0"/>
                  </a:lnTo>
                  <a:cubicBezTo>
                    <a:pt x="177563" y="0"/>
                    <a:pt x="181368" y="3805"/>
                    <a:pt x="181368" y="8244"/>
                  </a:cubicBezTo>
                  <a:cubicBezTo>
                    <a:pt x="181368" y="12683"/>
                    <a:pt x="177563" y="16488"/>
                    <a:pt x="173124" y="16488"/>
                  </a:cubicBezTo>
                  <a:lnTo>
                    <a:pt x="173124" y="16488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49" name="Forma Livre: Forma 248">
              <a:extLst>
                <a:ext uri="{FF2B5EF4-FFF2-40B4-BE49-F238E27FC236}">
                  <a16:creationId xmlns:a16="http://schemas.microsoft.com/office/drawing/2014/main" id="{D4FB18D1-F431-41C7-B241-4174C67B481D}"/>
                </a:ext>
              </a:extLst>
            </p:cNvPr>
            <p:cNvSpPr/>
            <p:nvPr/>
          </p:nvSpPr>
          <p:spPr>
            <a:xfrm>
              <a:off x="2398884" y="767299"/>
              <a:ext cx="85610" cy="16487"/>
            </a:xfrm>
            <a:custGeom>
              <a:avLst/>
              <a:gdLst>
                <a:gd name="connsiteX0" fmla="*/ 77367 w 85610"/>
                <a:gd name="connsiteY0" fmla="*/ 16488 h 16487"/>
                <a:gd name="connsiteX1" fmla="*/ 8244 w 85610"/>
                <a:gd name="connsiteY1" fmla="*/ 16488 h 16487"/>
                <a:gd name="connsiteX2" fmla="*/ 0 w 85610"/>
                <a:gd name="connsiteY2" fmla="*/ 8244 h 16487"/>
                <a:gd name="connsiteX3" fmla="*/ 8244 w 85610"/>
                <a:gd name="connsiteY3" fmla="*/ 0 h 16487"/>
                <a:gd name="connsiteX4" fmla="*/ 77367 w 85610"/>
                <a:gd name="connsiteY4" fmla="*/ 0 h 16487"/>
                <a:gd name="connsiteX5" fmla="*/ 85611 w 85610"/>
                <a:gd name="connsiteY5" fmla="*/ 8244 h 16487"/>
                <a:gd name="connsiteX6" fmla="*/ 77367 w 85610"/>
                <a:gd name="connsiteY6" fmla="*/ 16488 h 16487"/>
                <a:gd name="connsiteX7" fmla="*/ 77367 w 85610"/>
                <a:gd name="connsiteY7" fmla="*/ 16488 h 16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5610" h="16487">
                  <a:moveTo>
                    <a:pt x="77367" y="16488"/>
                  </a:moveTo>
                  <a:lnTo>
                    <a:pt x="8244" y="16488"/>
                  </a:lnTo>
                  <a:cubicBezTo>
                    <a:pt x="3805" y="16488"/>
                    <a:pt x="0" y="12683"/>
                    <a:pt x="0" y="8244"/>
                  </a:cubicBezTo>
                  <a:cubicBezTo>
                    <a:pt x="0" y="3805"/>
                    <a:pt x="3805" y="0"/>
                    <a:pt x="8244" y="0"/>
                  </a:cubicBezTo>
                  <a:lnTo>
                    <a:pt x="77367" y="0"/>
                  </a:lnTo>
                  <a:cubicBezTo>
                    <a:pt x="81806" y="0"/>
                    <a:pt x="85611" y="3805"/>
                    <a:pt x="85611" y="8244"/>
                  </a:cubicBezTo>
                  <a:cubicBezTo>
                    <a:pt x="85611" y="12683"/>
                    <a:pt x="81806" y="16488"/>
                    <a:pt x="77367" y="16488"/>
                  </a:cubicBezTo>
                  <a:lnTo>
                    <a:pt x="77367" y="16488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50" name="Forma Livre: Forma 249">
              <a:extLst>
                <a:ext uri="{FF2B5EF4-FFF2-40B4-BE49-F238E27FC236}">
                  <a16:creationId xmlns:a16="http://schemas.microsoft.com/office/drawing/2014/main" id="{189A93E6-EC55-49F9-9349-1E3BF2693CC9}"/>
                </a:ext>
              </a:extLst>
            </p:cNvPr>
            <p:cNvSpPr/>
            <p:nvPr/>
          </p:nvSpPr>
          <p:spPr>
            <a:xfrm>
              <a:off x="2348785" y="585931"/>
              <a:ext cx="115415" cy="16487"/>
            </a:xfrm>
            <a:custGeom>
              <a:avLst/>
              <a:gdLst>
                <a:gd name="connsiteX0" fmla="*/ 107172 w 115415"/>
                <a:gd name="connsiteY0" fmla="*/ 16488 h 16487"/>
                <a:gd name="connsiteX1" fmla="*/ 8244 w 115415"/>
                <a:gd name="connsiteY1" fmla="*/ 16488 h 16487"/>
                <a:gd name="connsiteX2" fmla="*/ 0 w 115415"/>
                <a:gd name="connsiteY2" fmla="*/ 8244 h 16487"/>
                <a:gd name="connsiteX3" fmla="*/ 8244 w 115415"/>
                <a:gd name="connsiteY3" fmla="*/ 0 h 16487"/>
                <a:gd name="connsiteX4" fmla="*/ 107172 w 115415"/>
                <a:gd name="connsiteY4" fmla="*/ 0 h 16487"/>
                <a:gd name="connsiteX5" fmla="*/ 115416 w 115415"/>
                <a:gd name="connsiteY5" fmla="*/ 8244 h 16487"/>
                <a:gd name="connsiteX6" fmla="*/ 107172 w 115415"/>
                <a:gd name="connsiteY6" fmla="*/ 16488 h 16487"/>
                <a:gd name="connsiteX7" fmla="*/ 107172 w 115415"/>
                <a:gd name="connsiteY7" fmla="*/ 16488 h 16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5415" h="16487">
                  <a:moveTo>
                    <a:pt x="107172" y="16488"/>
                  </a:moveTo>
                  <a:lnTo>
                    <a:pt x="8244" y="16488"/>
                  </a:lnTo>
                  <a:cubicBezTo>
                    <a:pt x="3805" y="16488"/>
                    <a:pt x="0" y="12683"/>
                    <a:pt x="0" y="8244"/>
                  </a:cubicBezTo>
                  <a:cubicBezTo>
                    <a:pt x="0" y="3805"/>
                    <a:pt x="3805" y="0"/>
                    <a:pt x="8244" y="0"/>
                  </a:cubicBezTo>
                  <a:lnTo>
                    <a:pt x="107172" y="0"/>
                  </a:lnTo>
                  <a:cubicBezTo>
                    <a:pt x="111611" y="0"/>
                    <a:pt x="115416" y="3805"/>
                    <a:pt x="115416" y="8244"/>
                  </a:cubicBezTo>
                  <a:cubicBezTo>
                    <a:pt x="115416" y="12683"/>
                    <a:pt x="111611" y="16488"/>
                    <a:pt x="107172" y="16488"/>
                  </a:cubicBezTo>
                  <a:lnTo>
                    <a:pt x="107172" y="16488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51" name="Forma Livre: Forma 250">
              <a:extLst>
                <a:ext uri="{FF2B5EF4-FFF2-40B4-BE49-F238E27FC236}">
                  <a16:creationId xmlns:a16="http://schemas.microsoft.com/office/drawing/2014/main" id="{5996C1AE-259C-4242-8DBA-1AA5A9D9812A}"/>
                </a:ext>
              </a:extLst>
            </p:cNvPr>
            <p:cNvSpPr/>
            <p:nvPr/>
          </p:nvSpPr>
          <p:spPr>
            <a:xfrm>
              <a:off x="2285370" y="521882"/>
              <a:ext cx="309466" cy="390638"/>
            </a:xfrm>
            <a:custGeom>
              <a:avLst/>
              <a:gdLst>
                <a:gd name="connsiteX0" fmla="*/ 17122 w 309466"/>
                <a:gd name="connsiteY0" fmla="*/ 390639 h 390638"/>
                <a:gd name="connsiteX1" fmla="*/ 0 w 309466"/>
                <a:gd name="connsiteY1" fmla="*/ 373517 h 390638"/>
                <a:gd name="connsiteX2" fmla="*/ 0 w 309466"/>
                <a:gd name="connsiteY2" fmla="*/ 33610 h 390638"/>
                <a:gd name="connsiteX3" fmla="*/ 33610 w 309466"/>
                <a:gd name="connsiteY3" fmla="*/ 0 h 390638"/>
                <a:gd name="connsiteX4" fmla="*/ 292345 w 309466"/>
                <a:gd name="connsiteY4" fmla="*/ 0 h 390638"/>
                <a:gd name="connsiteX5" fmla="*/ 309467 w 309466"/>
                <a:gd name="connsiteY5" fmla="*/ 17122 h 390638"/>
                <a:gd name="connsiteX6" fmla="*/ 292345 w 309466"/>
                <a:gd name="connsiteY6" fmla="*/ 34244 h 390638"/>
                <a:gd name="connsiteX7" fmla="*/ 34244 w 309466"/>
                <a:gd name="connsiteY7" fmla="*/ 34244 h 390638"/>
                <a:gd name="connsiteX8" fmla="*/ 34244 w 309466"/>
                <a:gd name="connsiteY8" fmla="*/ 374151 h 390638"/>
                <a:gd name="connsiteX9" fmla="*/ 17122 w 309466"/>
                <a:gd name="connsiteY9" fmla="*/ 390639 h 390638"/>
                <a:gd name="connsiteX10" fmla="*/ 17122 w 309466"/>
                <a:gd name="connsiteY10" fmla="*/ 390639 h 390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9466" h="390638">
                  <a:moveTo>
                    <a:pt x="17122" y="390639"/>
                  </a:moveTo>
                  <a:cubicBezTo>
                    <a:pt x="7610" y="390639"/>
                    <a:pt x="0" y="383029"/>
                    <a:pt x="0" y="373517"/>
                  </a:cubicBezTo>
                  <a:lnTo>
                    <a:pt x="0" y="33610"/>
                  </a:lnTo>
                  <a:cubicBezTo>
                    <a:pt x="0" y="15220"/>
                    <a:pt x="15220" y="0"/>
                    <a:pt x="33610" y="0"/>
                  </a:cubicBezTo>
                  <a:lnTo>
                    <a:pt x="292345" y="0"/>
                  </a:lnTo>
                  <a:cubicBezTo>
                    <a:pt x="301857" y="0"/>
                    <a:pt x="309467" y="7610"/>
                    <a:pt x="309467" y="17122"/>
                  </a:cubicBezTo>
                  <a:cubicBezTo>
                    <a:pt x="309467" y="26634"/>
                    <a:pt x="301857" y="34244"/>
                    <a:pt x="292345" y="34244"/>
                  </a:cubicBezTo>
                  <a:lnTo>
                    <a:pt x="34244" y="34244"/>
                  </a:lnTo>
                  <a:lnTo>
                    <a:pt x="34244" y="374151"/>
                  </a:lnTo>
                  <a:cubicBezTo>
                    <a:pt x="34244" y="383029"/>
                    <a:pt x="26634" y="390639"/>
                    <a:pt x="17122" y="390639"/>
                  </a:cubicBezTo>
                  <a:lnTo>
                    <a:pt x="17122" y="390639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52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3338168" y="2615142"/>
            <a:ext cx="378454" cy="368108"/>
            <a:chOff x="3307309" y="2638686"/>
            <a:chExt cx="382711" cy="372248"/>
          </a:xfrm>
          <a:solidFill>
            <a:srgbClr val="B1B1A1"/>
          </a:solidFill>
        </p:grpSpPr>
        <p:grpSp>
          <p:nvGrpSpPr>
            <p:cNvPr id="253" name="Gráfico 2">
              <a:extLst>
                <a:ext uri="{FF2B5EF4-FFF2-40B4-BE49-F238E27FC236}">
                  <a16:creationId xmlns:a16="http://schemas.microsoft.com/office/drawing/2014/main" id="{DC80C217-93B8-4831-A8BE-0817F1F32ECF}"/>
                </a:ext>
              </a:extLst>
            </p:cNvPr>
            <p:cNvGrpSpPr/>
            <p:nvPr/>
          </p:nvGrpSpPr>
          <p:grpSpPr>
            <a:xfrm>
              <a:off x="3307309" y="2639004"/>
              <a:ext cx="110976" cy="156318"/>
              <a:chOff x="3307309" y="2639004"/>
              <a:chExt cx="110976" cy="156318"/>
            </a:xfrm>
            <a:grpFill/>
          </p:grpSpPr>
          <p:sp>
            <p:nvSpPr>
              <p:cNvPr id="254" name="Forma Livre: Forma 253">
                <a:extLst>
                  <a:ext uri="{FF2B5EF4-FFF2-40B4-BE49-F238E27FC236}">
                    <a16:creationId xmlns:a16="http://schemas.microsoft.com/office/drawing/2014/main" id="{418A091A-F5A9-4D21-BD03-E81A5C6667F5}"/>
                  </a:ext>
                </a:extLst>
              </p:cNvPr>
              <p:cNvSpPr/>
              <p:nvPr/>
            </p:nvSpPr>
            <p:spPr>
              <a:xfrm>
                <a:off x="3307309" y="2639004"/>
                <a:ext cx="110976" cy="72610"/>
              </a:xfrm>
              <a:custGeom>
                <a:avLst/>
                <a:gdLst>
                  <a:gd name="connsiteX0" fmla="*/ 94172 w 110976"/>
                  <a:gd name="connsiteY0" fmla="*/ 72610 h 72610"/>
                  <a:gd name="connsiteX1" fmla="*/ 82123 w 110976"/>
                  <a:gd name="connsiteY1" fmla="*/ 67537 h 72610"/>
                  <a:gd name="connsiteX2" fmla="*/ 55488 w 110976"/>
                  <a:gd name="connsiteY2" fmla="*/ 40903 h 72610"/>
                  <a:gd name="connsiteX3" fmla="*/ 28854 w 110976"/>
                  <a:gd name="connsiteY3" fmla="*/ 67537 h 72610"/>
                  <a:gd name="connsiteX4" fmla="*/ 4756 w 110976"/>
                  <a:gd name="connsiteY4" fmla="*/ 67537 h 72610"/>
                  <a:gd name="connsiteX5" fmla="*/ 4756 w 110976"/>
                  <a:gd name="connsiteY5" fmla="*/ 43440 h 72610"/>
                  <a:gd name="connsiteX6" fmla="*/ 43440 w 110976"/>
                  <a:gd name="connsiteY6" fmla="*/ 4756 h 72610"/>
                  <a:gd name="connsiteX7" fmla="*/ 67537 w 110976"/>
                  <a:gd name="connsiteY7" fmla="*/ 4756 h 72610"/>
                  <a:gd name="connsiteX8" fmla="*/ 106221 w 110976"/>
                  <a:gd name="connsiteY8" fmla="*/ 43440 h 72610"/>
                  <a:gd name="connsiteX9" fmla="*/ 106221 w 110976"/>
                  <a:gd name="connsiteY9" fmla="*/ 67537 h 72610"/>
                  <a:gd name="connsiteX10" fmla="*/ 94172 w 110976"/>
                  <a:gd name="connsiteY10" fmla="*/ 72610 h 72610"/>
                  <a:gd name="connsiteX11" fmla="*/ 94172 w 110976"/>
                  <a:gd name="connsiteY11" fmla="*/ 72610 h 72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0976" h="72610">
                    <a:moveTo>
                      <a:pt x="94172" y="72610"/>
                    </a:moveTo>
                    <a:cubicBezTo>
                      <a:pt x="89733" y="72610"/>
                      <a:pt x="85294" y="70708"/>
                      <a:pt x="82123" y="67537"/>
                    </a:cubicBezTo>
                    <a:lnTo>
                      <a:pt x="55488" y="40903"/>
                    </a:lnTo>
                    <a:lnTo>
                      <a:pt x="28854" y="67537"/>
                    </a:lnTo>
                    <a:cubicBezTo>
                      <a:pt x="22512" y="73879"/>
                      <a:pt x="11732" y="73879"/>
                      <a:pt x="4756" y="67537"/>
                    </a:cubicBezTo>
                    <a:cubicBezTo>
                      <a:pt x="-1585" y="61196"/>
                      <a:pt x="-1585" y="50415"/>
                      <a:pt x="4756" y="43440"/>
                    </a:cubicBezTo>
                    <a:lnTo>
                      <a:pt x="43440" y="4756"/>
                    </a:lnTo>
                    <a:cubicBezTo>
                      <a:pt x="49781" y="-1585"/>
                      <a:pt x="60562" y="-1585"/>
                      <a:pt x="67537" y="4756"/>
                    </a:cubicBezTo>
                    <a:lnTo>
                      <a:pt x="106221" y="43440"/>
                    </a:lnTo>
                    <a:cubicBezTo>
                      <a:pt x="112562" y="49781"/>
                      <a:pt x="112562" y="60562"/>
                      <a:pt x="106221" y="67537"/>
                    </a:cubicBezTo>
                    <a:cubicBezTo>
                      <a:pt x="102416" y="70708"/>
                      <a:pt x="97977" y="72610"/>
                      <a:pt x="94172" y="72610"/>
                    </a:cubicBezTo>
                    <a:lnTo>
                      <a:pt x="94172" y="72610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55" name="Forma Livre: Forma 254">
                <a:extLst>
                  <a:ext uri="{FF2B5EF4-FFF2-40B4-BE49-F238E27FC236}">
                    <a16:creationId xmlns:a16="http://schemas.microsoft.com/office/drawing/2014/main" id="{1E933D41-BF62-44A2-815F-C75EF7AC0687}"/>
                  </a:ext>
                </a:extLst>
              </p:cNvPr>
              <p:cNvSpPr/>
              <p:nvPr/>
            </p:nvSpPr>
            <p:spPr>
              <a:xfrm>
                <a:off x="3345675" y="2649467"/>
                <a:ext cx="34244" cy="145855"/>
              </a:xfrm>
              <a:custGeom>
                <a:avLst/>
                <a:gdLst>
                  <a:gd name="connsiteX0" fmla="*/ 17122 w 34244"/>
                  <a:gd name="connsiteY0" fmla="*/ 145855 h 145855"/>
                  <a:gd name="connsiteX1" fmla="*/ 0 w 34244"/>
                  <a:gd name="connsiteY1" fmla="*/ 128733 h 145855"/>
                  <a:gd name="connsiteX2" fmla="*/ 0 w 34244"/>
                  <a:gd name="connsiteY2" fmla="*/ 17122 h 145855"/>
                  <a:gd name="connsiteX3" fmla="*/ 17122 w 34244"/>
                  <a:gd name="connsiteY3" fmla="*/ 0 h 145855"/>
                  <a:gd name="connsiteX4" fmla="*/ 17122 w 34244"/>
                  <a:gd name="connsiteY4" fmla="*/ 0 h 145855"/>
                  <a:gd name="connsiteX5" fmla="*/ 34244 w 34244"/>
                  <a:gd name="connsiteY5" fmla="*/ 17122 h 145855"/>
                  <a:gd name="connsiteX6" fmla="*/ 34244 w 34244"/>
                  <a:gd name="connsiteY6" fmla="*/ 128733 h 145855"/>
                  <a:gd name="connsiteX7" fmla="*/ 17122 w 34244"/>
                  <a:gd name="connsiteY7" fmla="*/ 145855 h 145855"/>
                  <a:gd name="connsiteX8" fmla="*/ 17122 w 34244"/>
                  <a:gd name="connsiteY8" fmla="*/ 145855 h 145855"/>
                  <a:gd name="connsiteX9" fmla="*/ 17122 w 34244"/>
                  <a:gd name="connsiteY9" fmla="*/ 145855 h 1458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244" h="145855">
                    <a:moveTo>
                      <a:pt x="17122" y="145855"/>
                    </a:moveTo>
                    <a:cubicBezTo>
                      <a:pt x="7610" y="145855"/>
                      <a:pt x="0" y="138245"/>
                      <a:pt x="0" y="128733"/>
                    </a:cubicBezTo>
                    <a:lnTo>
                      <a:pt x="0" y="17122"/>
                    </a:lnTo>
                    <a:cubicBezTo>
                      <a:pt x="0" y="7610"/>
                      <a:pt x="7610" y="0"/>
                      <a:pt x="17122" y="0"/>
                    </a:cubicBezTo>
                    <a:lnTo>
                      <a:pt x="17122" y="0"/>
                    </a:lnTo>
                    <a:cubicBezTo>
                      <a:pt x="26635" y="0"/>
                      <a:pt x="34244" y="7610"/>
                      <a:pt x="34244" y="17122"/>
                    </a:cubicBezTo>
                    <a:lnTo>
                      <a:pt x="34244" y="128733"/>
                    </a:lnTo>
                    <a:cubicBezTo>
                      <a:pt x="33610" y="138245"/>
                      <a:pt x="26000" y="145855"/>
                      <a:pt x="17122" y="145855"/>
                    </a:cubicBezTo>
                    <a:lnTo>
                      <a:pt x="17122" y="145855"/>
                    </a:lnTo>
                    <a:lnTo>
                      <a:pt x="17122" y="145855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256" name="Gráfico 2">
              <a:extLst>
                <a:ext uri="{FF2B5EF4-FFF2-40B4-BE49-F238E27FC236}">
                  <a16:creationId xmlns:a16="http://schemas.microsoft.com/office/drawing/2014/main" id="{DC80C217-93B8-4831-A8BE-0817F1F32ECF}"/>
                </a:ext>
              </a:extLst>
            </p:cNvPr>
            <p:cNvGrpSpPr/>
            <p:nvPr/>
          </p:nvGrpSpPr>
          <p:grpSpPr>
            <a:xfrm>
              <a:off x="3307309" y="2854299"/>
              <a:ext cx="110976" cy="156636"/>
              <a:chOff x="3307309" y="2854299"/>
              <a:chExt cx="110976" cy="156636"/>
            </a:xfrm>
            <a:grpFill/>
          </p:grpSpPr>
          <p:sp>
            <p:nvSpPr>
              <p:cNvPr id="257" name="Forma Livre: Forma 256">
                <a:extLst>
                  <a:ext uri="{FF2B5EF4-FFF2-40B4-BE49-F238E27FC236}">
                    <a16:creationId xmlns:a16="http://schemas.microsoft.com/office/drawing/2014/main" id="{465232E9-0B7F-41F0-91DB-586810AC7C2A}"/>
                  </a:ext>
                </a:extLst>
              </p:cNvPr>
              <p:cNvSpPr/>
              <p:nvPr/>
            </p:nvSpPr>
            <p:spPr>
              <a:xfrm>
                <a:off x="3307309" y="2938324"/>
                <a:ext cx="110976" cy="72610"/>
              </a:xfrm>
              <a:custGeom>
                <a:avLst/>
                <a:gdLst>
                  <a:gd name="connsiteX0" fmla="*/ 55488 w 110976"/>
                  <a:gd name="connsiteY0" fmla="*/ 72611 h 72610"/>
                  <a:gd name="connsiteX1" fmla="*/ 43440 w 110976"/>
                  <a:gd name="connsiteY1" fmla="*/ 67538 h 72610"/>
                  <a:gd name="connsiteX2" fmla="*/ 4756 w 110976"/>
                  <a:gd name="connsiteY2" fmla="*/ 28854 h 72610"/>
                  <a:gd name="connsiteX3" fmla="*/ 4756 w 110976"/>
                  <a:gd name="connsiteY3" fmla="*/ 4756 h 72610"/>
                  <a:gd name="connsiteX4" fmla="*/ 28854 w 110976"/>
                  <a:gd name="connsiteY4" fmla="*/ 4756 h 72610"/>
                  <a:gd name="connsiteX5" fmla="*/ 55488 w 110976"/>
                  <a:gd name="connsiteY5" fmla="*/ 31391 h 72610"/>
                  <a:gd name="connsiteX6" fmla="*/ 82123 w 110976"/>
                  <a:gd name="connsiteY6" fmla="*/ 4756 h 72610"/>
                  <a:gd name="connsiteX7" fmla="*/ 106221 w 110976"/>
                  <a:gd name="connsiteY7" fmla="*/ 4756 h 72610"/>
                  <a:gd name="connsiteX8" fmla="*/ 106221 w 110976"/>
                  <a:gd name="connsiteY8" fmla="*/ 28854 h 72610"/>
                  <a:gd name="connsiteX9" fmla="*/ 67537 w 110976"/>
                  <a:gd name="connsiteY9" fmla="*/ 67538 h 72610"/>
                  <a:gd name="connsiteX10" fmla="*/ 55488 w 110976"/>
                  <a:gd name="connsiteY10" fmla="*/ 72611 h 72610"/>
                  <a:gd name="connsiteX11" fmla="*/ 55488 w 110976"/>
                  <a:gd name="connsiteY11" fmla="*/ 72611 h 72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0976" h="72610">
                    <a:moveTo>
                      <a:pt x="55488" y="72611"/>
                    </a:moveTo>
                    <a:cubicBezTo>
                      <a:pt x="51049" y="72611"/>
                      <a:pt x="46610" y="70708"/>
                      <a:pt x="43440" y="67538"/>
                    </a:cubicBezTo>
                    <a:lnTo>
                      <a:pt x="4756" y="28854"/>
                    </a:lnTo>
                    <a:cubicBezTo>
                      <a:pt x="-1585" y="22513"/>
                      <a:pt x="-1585" y="11732"/>
                      <a:pt x="4756" y="4756"/>
                    </a:cubicBezTo>
                    <a:cubicBezTo>
                      <a:pt x="11098" y="-1585"/>
                      <a:pt x="21878" y="-1585"/>
                      <a:pt x="28854" y="4756"/>
                    </a:cubicBezTo>
                    <a:lnTo>
                      <a:pt x="55488" y="31391"/>
                    </a:lnTo>
                    <a:lnTo>
                      <a:pt x="82123" y="4756"/>
                    </a:lnTo>
                    <a:cubicBezTo>
                      <a:pt x="88465" y="-1585"/>
                      <a:pt x="99245" y="-1585"/>
                      <a:pt x="106221" y="4756"/>
                    </a:cubicBezTo>
                    <a:cubicBezTo>
                      <a:pt x="112562" y="11098"/>
                      <a:pt x="112562" y="21878"/>
                      <a:pt x="106221" y="28854"/>
                    </a:cubicBezTo>
                    <a:lnTo>
                      <a:pt x="67537" y="67538"/>
                    </a:lnTo>
                    <a:cubicBezTo>
                      <a:pt x="63732" y="70708"/>
                      <a:pt x="59293" y="72611"/>
                      <a:pt x="55488" y="72611"/>
                    </a:cubicBezTo>
                    <a:lnTo>
                      <a:pt x="55488" y="72611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58" name="Forma Livre: Forma 257">
                <a:extLst>
                  <a:ext uri="{FF2B5EF4-FFF2-40B4-BE49-F238E27FC236}">
                    <a16:creationId xmlns:a16="http://schemas.microsoft.com/office/drawing/2014/main" id="{8FD58E75-7834-492F-A240-5C62C41F35B2}"/>
                  </a:ext>
                </a:extLst>
              </p:cNvPr>
              <p:cNvSpPr/>
              <p:nvPr/>
            </p:nvSpPr>
            <p:spPr>
              <a:xfrm>
                <a:off x="3345675" y="2854299"/>
                <a:ext cx="34244" cy="145855"/>
              </a:xfrm>
              <a:custGeom>
                <a:avLst/>
                <a:gdLst>
                  <a:gd name="connsiteX0" fmla="*/ 17122 w 34244"/>
                  <a:gd name="connsiteY0" fmla="*/ 145855 h 145855"/>
                  <a:gd name="connsiteX1" fmla="*/ 0 w 34244"/>
                  <a:gd name="connsiteY1" fmla="*/ 128733 h 145855"/>
                  <a:gd name="connsiteX2" fmla="*/ 0 w 34244"/>
                  <a:gd name="connsiteY2" fmla="*/ 17122 h 145855"/>
                  <a:gd name="connsiteX3" fmla="*/ 17122 w 34244"/>
                  <a:gd name="connsiteY3" fmla="*/ 0 h 145855"/>
                  <a:gd name="connsiteX4" fmla="*/ 17122 w 34244"/>
                  <a:gd name="connsiteY4" fmla="*/ 0 h 145855"/>
                  <a:gd name="connsiteX5" fmla="*/ 34244 w 34244"/>
                  <a:gd name="connsiteY5" fmla="*/ 17122 h 145855"/>
                  <a:gd name="connsiteX6" fmla="*/ 34244 w 34244"/>
                  <a:gd name="connsiteY6" fmla="*/ 128733 h 145855"/>
                  <a:gd name="connsiteX7" fmla="*/ 17122 w 34244"/>
                  <a:gd name="connsiteY7" fmla="*/ 145855 h 145855"/>
                  <a:gd name="connsiteX8" fmla="*/ 17122 w 34244"/>
                  <a:gd name="connsiteY8" fmla="*/ 145855 h 145855"/>
                  <a:gd name="connsiteX9" fmla="*/ 17122 w 34244"/>
                  <a:gd name="connsiteY9" fmla="*/ 145855 h 1458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244" h="145855">
                    <a:moveTo>
                      <a:pt x="17122" y="145855"/>
                    </a:moveTo>
                    <a:cubicBezTo>
                      <a:pt x="7610" y="145855"/>
                      <a:pt x="0" y="138246"/>
                      <a:pt x="0" y="128733"/>
                    </a:cubicBezTo>
                    <a:lnTo>
                      <a:pt x="0" y="17122"/>
                    </a:lnTo>
                    <a:cubicBezTo>
                      <a:pt x="0" y="7610"/>
                      <a:pt x="7610" y="0"/>
                      <a:pt x="17122" y="0"/>
                    </a:cubicBezTo>
                    <a:lnTo>
                      <a:pt x="17122" y="0"/>
                    </a:lnTo>
                    <a:cubicBezTo>
                      <a:pt x="26635" y="0"/>
                      <a:pt x="34244" y="7610"/>
                      <a:pt x="34244" y="17122"/>
                    </a:cubicBezTo>
                    <a:lnTo>
                      <a:pt x="34244" y="128733"/>
                    </a:lnTo>
                    <a:cubicBezTo>
                      <a:pt x="33610" y="138246"/>
                      <a:pt x="26000" y="145855"/>
                      <a:pt x="17122" y="145855"/>
                    </a:cubicBezTo>
                    <a:lnTo>
                      <a:pt x="17122" y="145855"/>
                    </a:lnTo>
                    <a:lnTo>
                      <a:pt x="17122" y="145855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259" name="Forma Livre: Forma 258">
              <a:extLst>
                <a:ext uri="{FF2B5EF4-FFF2-40B4-BE49-F238E27FC236}">
                  <a16:creationId xmlns:a16="http://schemas.microsoft.com/office/drawing/2014/main" id="{BCBDBD20-A8CE-4833-B779-E1E0954D029F}"/>
                </a:ext>
              </a:extLst>
            </p:cNvPr>
            <p:cNvSpPr/>
            <p:nvPr/>
          </p:nvSpPr>
          <p:spPr>
            <a:xfrm>
              <a:off x="3427481" y="2638686"/>
              <a:ext cx="262539" cy="34244"/>
            </a:xfrm>
            <a:custGeom>
              <a:avLst/>
              <a:gdLst>
                <a:gd name="connsiteX0" fmla="*/ 245417 w 262539"/>
                <a:gd name="connsiteY0" fmla="*/ 34244 h 34244"/>
                <a:gd name="connsiteX1" fmla="*/ 17122 w 262539"/>
                <a:gd name="connsiteY1" fmla="*/ 34244 h 34244"/>
                <a:gd name="connsiteX2" fmla="*/ 0 w 262539"/>
                <a:gd name="connsiteY2" fmla="*/ 17122 h 34244"/>
                <a:gd name="connsiteX3" fmla="*/ 17122 w 262539"/>
                <a:gd name="connsiteY3" fmla="*/ 0 h 34244"/>
                <a:gd name="connsiteX4" fmla="*/ 245417 w 262539"/>
                <a:gd name="connsiteY4" fmla="*/ 0 h 34244"/>
                <a:gd name="connsiteX5" fmla="*/ 262540 w 262539"/>
                <a:gd name="connsiteY5" fmla="*/ 17122 h 34244"/>
                <a:gd name="connsiteX6" fmla="*/ 245417 w 262539"/>
                <a:gd name="connsiteY6" fmla="*/ 34244 h 34244"/>
                <a:gd name="connsiteX7" fmla="*/ 245417 w 262539"/>
                <a:gd name="connsiteY7" fmla="*/ 34244 h 3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2539" h="34244">
                  <a:moveTo>
                    <a:pt x="245417" y="34244"/>
                  </a:moveTo>
                  <a:lnTo>
                    <a:pt x="17122" y="34244"/>
                  </a:lnTo>
                  <a:cubicBezTo>
                    <a:pt x="7610" y="34244"/>
                    <a:pt x="0" y="26635"/>
                    <a:pt x="0" y="17122"/>
                  </a:cubicBezTo>
                  <a:cubicBezTo>
                    <a:pt x="0" y="7610"/>
                    <a:pt x="7610" y="0"/>
                    <a:pt x="17122" y="0"/>
                  </a:cubicBezTo>
                  <a:lnTo>
                    <a:pt x="245417" y="0"/>
                  </a:lnTo>
                  <a:cubicBezTo>
                    <a:pt x="254930" y="0"/>
                    <a:pt x="262540" y="7610"/>
                    <a:pt x="262540" y="17122"/>
                  </a:cubicBezTo>
                  <a:cubicBezTo>
                    <a:pt x="262540" y="26635"/>
                    <a:pt x="254930" y="34244"/>
                    <a:pt x="245417" y="34244"/>
                  </a:cubicBezTo>
                  <a:lnTo>
                    <a:pt x="245417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60" name="Forma Livre: Forma 259">
              <a:extLst>
                <a:ext uri="{FF2B5EF4-FFF2-40B4-BE49-F238E27FC236}">
                  <a16:creationId xmlns:a16="http://schemas.microsoft.com/office/drawing/2014/main" id="{149778D9-60FC-486C-A1AC-0147B25E2685}"/>
                </a:ext>
              </a:extLst>
            </p:cNvPr>
            <p:cNvSpPr/>
            <p:nvPr/>
          </p:nvSpPr>
          <p:spPr>
            <a:xfrm>
              <a:off x="3427481" y="2976691"/>
              <a:ext cx="262539" cy="34244"/>
            </a:xfrm>
            <a:custGeom>
              <a:avLst/>
              <a:gdLst>
                <a:gd name="connsiteX0" fmla="*/ 245417 w 262539"/>
                <a:gd name="connsiteY0" fmla="*/ 34244 h 34244"/>
                <a:gd name="connsiteX1" fmla="*/ 17122 w 262539"/>
                <a:gd name="connsiteY1" fmla="*/ 34244 h 34244"/>
                <a:gd name="connsiteX2" fmla="*/ 0 w 262539"/>
                <a:gd name="connsiteY2" fmla="*/ 17122 h 34244"/>
                <a:gd name="connsiteX3" fmla="*/ 17122 w 262539"/>
                <a:gd name="connsiteY3" fmla="*/ 0 h 34244"/>
                <a:gd name="connsiteX4" fmla="*/ 245417 w 262539"/>
                <a:gd name="connsiteY4" fmla="*/ 0 h 34244"/>
                <a:gd name="connsiteX5" fmla="*/ 262540 w 262539"/>
                <a:gd name="connsiteY5" fmla="*/ 17122 h 34244"/>
                <a:gd name="connsiteX6" fmla="*/ 245417 w 262539"/>
                <a:gd name="connsiteY6" fmla="*/ 34244 h 34244"/>
                <a:gd name="connsiteX7" fmla="*/ 245417 w 262539"/>
                <a:gd name="connsiteY7" fmla="*/ 34244 h 3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2539" h="34244">
                  <a:moveTo>
                    <a:pt x="245417" y="34244"/>
                  </a:moveTo>
                  <a:lnTo>
                    <a:pt x="17122" y="34244"/>
                  </a:lnTo>
                  <a:cubicBezTo>
                    <a:pt x="7610" y="34244"/>
                    <a:pt x="0" y="26634"/>
                    <a:pt x="0" y="17122"/>
                  </a:cubicBezTo>
                  <a:cubicBezTo>
                    <a:pt x="0" y="7610"/>
                    <a:pt x="7610" y="0"/>
                    <a:pt x="17122" y="0"/>
                  </a:cubicBezTo>
                  <a:lnTo>
                    <a:pt x="245417" y="0"/>
                  </a:lnTo>
                  <a:cubicBezTo>
                    <a:pt x="254930" y="0"/>
                    <a:pt x="262540" y="7610"/>
                    <a:pt x="262540" y="17122"/>
                  </a:cubicBezTo>
                  <a:cubicBezTo>
                    <a:pt x="262540" y="26634"/>
                    <a:pt x="254930" y="34244"/>
                    <a:pt x="245417" y="34244"/>
                  </a:cubicBezTo>
                  <a:lnTo>
                    <a:pt x="245417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61" name="Forma Livre: Forma 260">
              <a:extLst>
                <a:ext uri="{FF2B5EF4-FFF2-40B4-BE49-F238E27FC236}">
                  <a16:creationId xmlns:a16="http://schemas.microsoft.com/office/drawing/2014/main" id="{460AF798-211B-4F41-BA9A-A6189853E817}"/>
                </a:ext>
              </a:extLst>
            </p:cNvPr>
            <p:cNvSpPr/>
            <p:nvPr/>
          </p:nvSpPr>
          <p:spPr>
            <a:xfrm>
              <a:off x="3427481" y="2863811"/>
              <a:ext cx="262539" cy="34244"/>
            </a:xfrm>
            <a:custGeom>
              <a:avLst/>
              <a:gdLst>
                <a:gd name="connsiteX0" fmla="*/ 245417 w 262539"/>
                <a:gd name="connsiteY0" fmla="*/ 34244 h 34244"/>
                <a:gd name="connsiteX1" fmla="*/ 17122 w 262539"/>
                <a:gd name="connsiteY1" fmla="*/ 34244 h 34244"/>
                <a:gd name="connsiteX2" fmla="*/ 0 w 262539"/>
                <a:gd name="connsiteY2" fmla="*/ 17122 h 34244"/>
                <a:gd name="connsiteX3" fmla="*/ 17122 w 262539"/>
                <a:gd name="connsiteY3" fmla="*/ 0 h 34244"/>
                <a:gd name="connsiteX4" fmla="*/ 245417 w 262539"/>
                <a:gd name="connsiteY4" fmla="*/ 0 h 34244"/>
                <a:gd name="connsiteX5" fmla="*/ 262540 w 262539"/>
                <a:gd name="connsiteY5" fmla="*/ 17122 h 34244"/>
                <a:gd name="connsiteX6" fmla="*/ 245417 w 262539"/>
                <a:gd name="connsiteY6" fmla="*/ 34244 h 34244"/>
                <a:gd name="connsiteX7" fmla="*/ 245417 w 262539"/>
                <a:gd name="connsiteY7" fmla="*/ 34244 h 3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2539" h="34244">
                  <a:moveTo>
                    <a:pt x="245417" y="34244"/>
                  </a:moveTo>
                  <a:lnTo>
                    <a:pt x="17122" y="34244"/>
                  </a:lnTo>
                  <a:cubicBezTo>
                    <a:pt x="7610" y="34244"/>
                    <a:pt x="0" y="26635"/>
                    <a:pt x="0" y="17122"/>
                  </a:cubicBezTo>
                  <a:cubicBezTo>
                    <a:pt x="0" y="7610"/>
                    <a:pt x="7610" y="0"/>
                    <a:pt x="17122" y="0"/>
                  </a:cubicBezTo>
                  <a:lnTo>
                    <a:pt x="245417" y="0"/>
                  </a:lnTo>
                  <a:cubicBezTo>
                    <a:pt x="254930" y="0"/>
                    <a:pt x="262540" y="7610"/>
                    <a:pt x="262540" y="17122"/>
                  </a:cubicBezTo>
                  <a:cubicBezTo>
                    <a:pt x="262540" y="26635"/>
                    <a:pt x="254930" y="34244"/>
                    <a:pt x="245417" y="34244"/>
                  </a:cubicBezTo>
                  <a:lnTo>
                    <a:pt x="245417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62" name="Forma Livre: Forma 261">
              <a:extLst>
                <a:ext uri="{FF2B5EF4-FFF2-40B4-BE49-F238E27FC236}">
                  <a16:creationId xmlns:a16="http://schemas.microsoft.com/office/drawing/2014/main" id="{F6BFDFBF-0B84-4C3F-8A8E-824B2A7E705D}"/>
                </a:ext>
              </a:extLst>
            </p:cNvPr>
            <p:cNvSpPr/>
            <p:nvPr/>
          </p:nvSpPr>
          <p:spPr>
            <a:xfrm>
              <a:off x="3427481" y="2751566"/>
              <a:ext cx="262539" cy="34244"/>
            </a:xfrm>
            <a:custGeom>
              <a:avLst/>
              <a:gdLst>
                <a:gd name="connsiteX0" fmla="*/ 245417 w 262539"/>
                <a:gd name="connsiteY0" fmla="*/ 34244 h 34244"/>
                <a:gd name="connsiteX1" fmla="*/ 17122 w 262539"/>
                <a:gd name="connsiteY1" fmla="*/ 34244 h 34244"/>
                <a:gd name="connsiteX2" fmla="*/ 0 w 262539"/>
                <a:gd name="connsiteY2" fmla="*/ 17122 h 34244"/>
                <a:gd name="connsiteX3" fmla="*/ 17122 w 262539"/>
                <a:gd name="connsiteY3" fmla="*/ 0 h 34244"/>
                <a:gd name="connsiteX4" fmla="*/ 245417 w 262539"/>
                <a:gd name="connsiteY4" fmla="*/ 0 h 34244"/>
                <a:gd name="connsiteX5" fmla="*/ 262540 w 262539"/>
                <a:gd name="connsiteY5" fmla="*/ 17122 h 34244"/>
                <a:gd name="connsiteX6" fmla="*/ 245417 w 262539"/>
                <a:gd name="connsiteY6" fmla="*/ 34244 h 34244"/>
                <a:gd name="connsiteX7" fmla="*/ 245417 w 262539"/>
                <a:gd name="connsiteY7" fmla="*/ 34244 h 3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2539" h="34244">
                  <a:moveTo>
                    <a:pt x="245417" y="34244"/>
                  </a:moveTo>
                  <a:lnTo>
                    <a:pt x="17122" y="34244"/>
                  </a:lnTo>
                  <a:cubicBezTo>
                    <a:pt x="7610" y="34244"/>
                    <a:pt x="0" y="26634"/>
                    <a:pt x="0" y="17122"/>
                  </a:cubicBezTo>
                  <a:cubicBezTo>
                    <a:pt x="0" y="7610"/>
                    <a:pt x="7610" y="0"/>
                    <a:pt x="17122" y="0"/>
                  </a:cubicBezTo>
                  <a:lnTo>
                    <a:pt x="245417" y="0"/>
                  </a:lnTo>
                  <a:cubicBezTo>
                    <a:pt x="254930" y="0"/>
                    <a:pt x="262540" y="7610"/>
                    <a:pt x="262540" y="17122"/>
                  </a:cubicBezTo>
                  <a:cubicBezTo>
                    <a:pt x="262540" y="26634"/>
                    <a:pt x="254930" y="34244"/>
                    <a:pt x="245417" y="34244"/>
                  </a:cubicBezTo>
                  <a:lnTo>
                    <a:pt x="245417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sp>
        <p:nvSpPr>
          <p:cNvPr id="263" name="Forma Livre: Forma 262">
            <a:extLst>
              <a:ext uri="{FF2B5EF4-FFF2-40B4-BE49-F238E27FC236}">
                <a16:creationId xmlns:a16="http://schemas.microsoft.com/office/drawing/2014/main" id="{647209BF-34F0-4FF5-AFB0-385C7BBEEBF0}"/>
              </a:ext>
            </a:extLst>
          </p:cNvPr>
          <p:cNvSpPr/>
          <p:nvPr/>
        </p:nvSpPr>
        <p:spPr>
          <a:xfrm>
            <a:off x="6403749" y="1548445"/>
            <a:ext cx="390056" cy="435442"/>
          </a:xfrm>
          <a:custGeom>
            <a:avLst/>
            <a:gdLst>
              <a:gd name="connsiteX0" fmla="*/ 16488 w 394443"/>
              <a:gd name="connsiteY0" fmla="*/ 440103 h 440340"/>
              <a:gd name="connsiteX1" fmla="*/ 8244 w 394443"/>
              <a:gd name="connsiteY1" fmla="*/ 438200 h 440340"/>
              <a:gd name="connsiteX2" fmla="*/ 0 w 394443"/>
              <a:gd name="connsiteY2" fmla="*/ 423615 h 440340"/>
              <a:gd name="connsiteX3" fmla="*/ 0 w 394443"/>
              <a:gd name="connsiteY3" fmla="*/ 88782 h 440340"/>
              <a:gd name="connsiteX4" fmla="*/ 8244 w 394443"/>
              <a:gd name="connsiteY4" fmla="*/ 74196 h 440340"/>
              <a:gd name="connsiteX5" fmla="*/ 128099 w 394443"/>
              <a:gd name="connsiteY5" fmla="*/ 2537 h 440340"/>
              <a:gd name="connsiteX6" fmla="*/ 137611 w 394443"/>
              <a:gd name="connsiteY6" fmla="*/ 0 h 440340"/>
              <a:gd name="connsiteX7" fmla="*/ 147124 w 394443"/>
              <a:gd name="connsiteY7" fmla="*/ 2537 h 440340"/>
              <a:gd name="connsiteX8" fmla="*/ 258101 w 394443"/>
              <a:gd name="connsiteY8" fmla="*/ 68489 h 440340"/>
              <a:gd name="connsiteX9" fmla="*/ 369078 w 394443"/>
              <a:gd name="connsiteY9" fmla="*/ 2537 h 440340"/>
              <a:gd name="connsiteX10" fmla="*/ 386200 w 394443"/>
              <a:gd name="connsiteY10" fmla="*/ 2537 h 440340"/>
              <a:gd name="connsiteX11" fmla="*/ 394444 w 394443"/>
              <a:gd name="connsiteY11" fmla="*/ 17122 h 440340"/>
              <a:gd name="connsiteX12" fmla="*/ 394444 w 394443"/>
              <a:gd name="connsiteY12" fmla="*/ 351955 h 440340"/>
              <a:gd name="connsiteX13" fmla="*/ 386200 w 394443"/>
              <a:gd name="connsiteY13" fmla="*/ 366541 h 440340"/>
              <a:gd name="connsiteX14" fmla="*/ 268881 w 394443"/>
              <a:gd name="connsiteY14" fmla="*/ 436298 h 440340"/>
              <a:gd name="connsiteX15" fmla="*/ 266345 w 394443"/>
              <a:gd name="connsiteY15" fmla="*/ 438200 h 440340"/>
              <a:gd name="connsiteX16" fmla="*/ 254930 w 394443"/>
              <a:gd name="connsiteY16" fmla="*/ 440103 h 440340"/>
              <a:gd name="connsiteX17" fmla="*/ 249223 w 394443"/>
              <a:gd name="connsiteY17" fmla="*/ 438200 h 440340"/>
              <a:gd name="connsiteX18" fmla="*/ 246686 w 394443"/>
              <a:gd name="connsiteY18" fmla="*/ 436298 h 440340"/>
              <a:gd name="connsiteX19" fmla="*/ 136977 w 394443"/>
              <a:gd name="connsiteY19" fmla="*/ 370980 h 440340"/>
              <a:gd name="connsiteX20" fmla="*/ 24732 w 394443"/>
              <a:gd name="connsiteY20" fmla="*/ 437566 h 440340"/>
              <a:gd name="connsiteX21" fmla="*/ 16488 w 394443"/>
              <a:gd name="connsiteY21" fmla="*/ 440103 h 440340"/>
              <a:gd name="connsiteX22" fmla="*/ 16488 w 394443"/>
              <a:gd name="connsiteY22" fmla="*/ 440103 h 440340"/>
              <a:gd name="connsiteX23" fmla="*/ 33610 w 394443"/>
              <a:gd name="connsiteY23" fmla="*/ 98294 h 440340"/>
              <a:gd name="connsiteX24" fmla="*/ 33610 w 394443"/>
              <a:gd name="connsiteY24" fmla="*/ 393810 h 440340"/>
              <a:gd name="connsiteX25" fmla="*/ 119855 w 394443"/>
              <a:gd name="connsiteY25" fmla="*/ 342443 h 440340"/>
              <a:gd name="connsiteX26" fmla="*/ 119855 w 394443"/>
              <a:gd name="connsiteY26" fmla="*/ 46927 h 440340"/>
              <a:gd name="connsiteX27" fmla="*/ 33610 w 394443"/>
              <a:gd name="connsiteY27" fmla="*/ 98294 h 440340"/>
              <a:gd name="connsiteX28" fmla="*/ 33610 w 394443"/>
              <a:gd name="connsiteY28" fmla="*/ 98294 h 440340"/>
              <a:gd name="connsiteX29" fmla="*/ 275223 w 394443"/>
              <a:gd name="connsiteY29" fmla="*/ 97660 h 440340"/>
              <a:gd name="connsiteX30" fmla="*/ 275223 w 394443"/>
              <a:gd name="connsiteY30" fmla="*/ 393175 h 440340"/>
              <a:gd name="connsiteX31" fmla="*/ 360834 w 394443"/>
              <a:gd name="connsiteY31" fmla="*/ 342443 h 440340"/>
              <a:gd name="connsiteX32" fmla="*/ 360834 w 394443"/>
              <a:gd name="connsiteY32" fmla="*/ 46927 h 440340"/>
              <a:gd name="connsiteX33" fmla="*/ 275223 w 394443"/>
              <a:gd name="connsiteY33" fmla="*/ 97660 h 440340"/>
              <a:gd name="connsiteX34" fmla="*/ 275223 w 394443"/>
              <a:gd name="connsiteY34" fmla="*/ 97660 h 440340"/>
              <a:gd name="connsiteX35" fmla="*/ 155368 w 394443"/>
              <a:gd name="connsiteY35" fmla="*/ 342443 h 440340"/>
              <a:gd name="connsiteX36" fmla="*/ 240978 w 394443"/>
              <a:gd name="connsiteY36" fmla="*/ 393175 h 440340"/>
              <a:gd name="connsiteX37" fmla="*/ 240978 w 394443"/>
              <a:gd name="connsiteY37" fmla="*/ 97660 h 440340"/>
              <a:gd name="connsiteX38" fmla="*/ 155368 w 394443"/>
              <a:gd name="connsiteY38" fmla="*/ 46927 h 440340"/>
              <a:gd name="connsiteX39" fmla="*/ 155368 w 394443"/>
              <a:gd name="connsiteY39" fmla="*/ 342443 h 440340"/>
              <a:gd name="connsiteX40" fmla="*/ 155368 w 394443"/>
              <a:gd name="connsiteY40" fmla="*/ 342443 h 440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94443" h="440340">
                <a:moveTo>
                  <a:pt x="16488" y="440103"/>
                </a:moveTo>
                <a:cubicBezTo>
                  <a:pt x="13317" y="440103"/>
                  <a:pt x="10781" y="439469"/>
                  <a:pt x="8244" y="438200"/>
                </a:cubicBezTo>
                <a:cubicBezTo>
                  <a:pt x="3171" y="435029"/>
                  <a:pt x="0" y="429322"/>
                  <a:pt x="0" y="423615"/>
                </a:cubicBezTo>
                <a:lnTo>
                  <a:pt x="0" y="88782"/>
                </a:lnTo>
                <a:cubicBezTo>
                  <a:pt x="0" y="83074"/>
                  <a:pt x="3171" y="77367"/>
                  <a:pt x="8244" y="74196"/>
                </a:cubicBezTo>
                <a:lnTo>
                  <a:pt x="128099" y="2537"/>
                </a:lnTo>
                <a:cubicBezTo>
                  <a:pt x="131270" y="634"/>
                  <a:pt x="134441" y="0"/>
                  <a:pt x="137611" y="0"/>
                </a:cubicBezTo>
                <a:cubicBezTo>
                  <a:pt x="140782" y="0"/>
                  <a:pt x="143953" y="634"/>
                  <a:pt x="147124" y="2537"/>
                </a:cubicBezTo>
                <a:lnTo>
                  <a:pt x="258101" y="68489"/>
                </a:lnTo>
                <a:lnTo>
                  <a:pt x="369078" y="2537"/>
                </a:lnTo>
                <a:cubicBezTo>
                  <a:pt x="374151" y="-634"/>
                  <a:pt x="380492" y="-634"/>
                  <a:pt x="386200" y="2537"/>
                </a:cubicBezTo>
                <a:cubicBezTo>
                  <a:pt x="391273" y="5707"/>
                  <a:pt x="394444" y="11415"/>
                  <a:pt x="394444" y="17122"/>
                </a:cubicBezTo>
                <a:lnTo>
                  <a:pt x="394444" y="351955"/>
                </a:lnTo>
                <a:cubicBezTo>
                  <a:pt x="394444" y="357663"/>
                  <a:pt x="391273" y="363370"/>
                  <a:pt x="386200" y="366541"/>
                </a:cubicBezTo>
                <a:lnTo>
                  <a:pt x="268881" y="436298"/>
                </a:lnTo>
                <a:cubicBezTo>
                  <a:pt x="268247" y="436932"/>
                  <a:pt x="267613" y="437566"/>
                  <a:pt x="266345" y="438200"/>
                </a:cubicBezTo>
                <a:cubicBezTo>
                  <a:pt x="262540" y="440103"/>
                  <a:pt x="258735" y="440737"/>
                  <a:pt x="254930" y="440103"/>
                </a:cubicBezTo>
                <a:cubicBezTo>
                  <a:pt x="253027" y="440103"/>
                  <a:pt x="251125" y="439469"/>
                  <a:pt x="249223" y="438200"/>
                </a:cubicBezTo>
                <a:cubicBezTo>
                  <a:pt x="248588" y="437566"/>
                  <a:pt x="247320" y="436932"/>
                  <a:pt x="246686" y="436298"/>
                </a:cubicBezTo>
                <a:lnTo>
                  <a:pt x="136977" y="370980"/>
                </a:lnTo>
                <a:lnTo>
                  <a:pt x="24732" y="437566"/>
                </a:lnTo>
                <a:cubicBezTo>
                  <a:pt x="22830" y="439469"/>
                  <a:pt x="19659" y="440103"/>
                  <a:pt x="16488" y="440103"/>
                </a:cubicBezTo>
                <a:lnTo>
                  <a:pt x="16488" y="440103"/>
                </a:lnTo>
                <a:close/>
                <a:moveTo>
                  <a:pt x="33610" y="98294"/>
                </a:moveTo>
                <a:lnTo>
                  <a:pt x="33610" y="393810"/>
                </a:lnTo>
                <a:lnTo>
                  <a:pt x="119855" y="342443"/>
                </a:lnTo>
                <a:lnTo>
                  <a:pt x="119855" y="46927"/>
                </a:lnTo>
                <a:lnTo>
                  <a:pt x="33610" y="98294"/>
                </a:lnTo>
                <a:lnTo>
                  <a:pt x="33610" y="98294"/>
                </a:lnTo>
                <a:close/>
                <a:moveTo>
                  <a:pt x="275223" y="97660"/>
                </a:moveTo>
                <a:lnTo>
                  <a:pt x="275223" y="393175"/>
                </a:lnTo>
                <a:lnTo>
                  <a:pt x="360834" y="342443"/>
                </a:lnTo>
                <a:lnTo>
                  <a:pt x="360834" y="46927"/>
                </a:lnTo>
                <a:lnTo>
                  <a:pt x="275223" y="97660"/>
                </a:lnTo>
                <a:lnTo>
                  <a:pt x="275223" y="97660"/>
                </a:lnTo>
                <a:close/>
                <a:moveTo>
                  <a:pt x="155368" y="342443"/>
                </a:moveTo>
                <a:lnTo>
                  <a:pt x="240978" y="393175"/>
                </a:lnTo>
                <a:lnTo>
                  <a:pt x="240978" y="97660"/>
                </a:lnTo>
                <a:lnTo>
                  <a:pt x="155368" y="46927"/>
                </a:lnTo>
                <a:lnTo>
                  <a:pt x="155368" y="342443"/>
                </a:lnTo>
                <a:lnTo>
                  <a:pt x="155368" y="342443"/>
                </a:lnTo>
                <a:close/>
              </a:path>
            </a:pathLst>
          </a:custGeom>
          <a:solidFill>
            <a:srgbClr val="B1B1A1"/>
          </a:solidFill>
          <a:ln w="6338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grpSp>
        <p:nvGrpSpPr>
          <p:cNvPr id="264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7435329" y="2606991"/>
            <a:ext cx="378768" cy="384412"/>
            <a:chOff x="7450552" y="2630443"/>
            <a:chExt cx="383028" cy="388736"/>
          </a:xfrm>
          <a:solidFill>
            <a:srgbClr val="B1B1A1"/>
          </a:solidFill>
        </p:grpSpPr>
        <p:sp>
          <p:nvSpPr>
            <p:cNvPr id="265" name="Forma Livre: Forma 264">
              <a:extLst>
                <a:ext uri="{FF2B5EF4-FFF2-40B4-BE49-F238E27FC236}">
                  <a16:creationId xmlns:a16="http://schemas.microsoft.com/office/drawing/2014/main" id="{6DAC9EDA-6F96-45E9-AF42-B5FF55FA12E0}"/>
                </a:ext>
              </a:extLst>
            </p:cNvPr>
            <p:cNvSpPr/>
            <p:nvPr/>
          </p:nvSpPr>
          <p:spPr>
            <a:xfrm>
              <a:off x="7450552" y="2630443"/>
              <a:ext cx="383028" cy="34244"/>
            </a:xfrm>
            <a:custGeom>
              <a:avLst/>
              <a:gdLst>
                <a:gd name="connsiteX0" fmla="*/ 365907 w 383028"/>
                <a:gd name="connsiteY0" fmla="*/ 34244 h 34244"/>
                <a:gd name="connsiteX1" fmla="*/ 17122 w 383028"/>
                <a:gd name="connsiteY1" fmla="*/ 34244 h 34244"/>
                <a:gd name="connsiteX2" fmla="*/ 0 w 383028"/>
                <a:gd name="connsiteY2" fmla="*/ 17122 h 34244"/>
                <a:gd name="connsiteX3" fmla="*/ 17122 w 383028"/>
                <a:gd name="connsiteY3" fmla="*/ 0 h 34244"/>
                <a:gd name="connsiteX4" fmla="*/ 365907 w 383028"/>
                <a:gd name="connsiteY4" fmla="*/ 0 h 34244"/>
                <a:gd name="connsiteX5" fmla="*/ 383029 w 383028"/>
                <a:gd name="connsiteY5" fmla="*/ 17122 h 34244"/>
                <a:gd name="connsiteX6" fmla="*/ 365907 w 383028"/>
                <a:gd name="connsiteY6" fmla="*/ 34244 h 34244"/>
                <a:gd name="connsiteX7" fmla="*/ 365907 w 383028"/>
                <a:gd name="connsiteY7" fmla="*/ 34244 h 3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3028" h="34244">
                  <a:moveTo>
                    <a:pt x="365907" y="34244"/>
                  </a:moveTo>
                  <a:lnTo>
                    <a:pt x="17122" y="34244"/>
                  </a:lnTo>
                  <a:cubicBezTo>
                    <a:pt x="7610" y="34244"/>
                    <a:pt x="0" y="26635"/>
                    <a:pt x="0" y="17122"/>
                  </a:cubicBezTo>
                  <a:cubicBezTo>
                    <a:pt x="0" y="7610"/>
                    <a:pt x="7610" y="0"/>
                    <a:pt x="17122" y="0"/>
                  </a:cubicBezTo>
                  <a:lnTo>
                    <a:pt x="365907" y="0"/>
                  </a:lnTo>
                  <a:cubicBezTo>
                    <a:pt x="375419" y="0"/>
                    <a:pt x="383029" y="7610"/>
                    <a:pt x="383029" y="17122"/>
                  </a:cubicBezTo>
                  <a:cubicBezTo>
                    <a:pt x="383029" y="26635"/>
                    <a:pt x="375419" y="34244"/>
                    <a:pt x="365907" y="34244"/>
                  </a:cubicBezTo>
                  <a:lnTo>
                    <a:pt x="365907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66" name="Forma Livre: Forma 265">
              <a:extLst>
                <a:ext uri="{FF2B5EF4-FFF2-40B4-BE49-F238E27FC236}">
                  <a16:creationId xmlns:a16="http://schemas.microsoft.com/office/drawing/2014/main" id="{C7D8CA5C-783B-42B2-AE70-1A5158A95107}"/>
                </a:ext>
              </a:extLst>
            </p:cNvPr>
            <p:cNvSpPr/>
            <p:nvPr/>
          </p:nvSpPr>
          <p:spPr>
            <a:xfrm>
              <a:off x="7450552" y="2719224"/>
              <a:ext cx="383028" cy="34244"/>
            </a:xfrm>
            <a:custGeom>
              <a:avLst/>
              <a:gdLst>
                <a:gd name="connsiteX0" fmla="*/ 365907 w 383028"/>
                <a:gd name="connsiteY0" fmla="*/ 34244 h 34244"/>
                <a:gd name="connsiteX1" fmla="*/ 17122 w 383028"/>
                <a:gd name="connsiteY1" fmla="*/ 34244 h 34244"/>
                <a:gd name="connsiteX2" fmla="*/ 0 w 383028"/>
                <a:gd name="connsiteY2" fmla="*/ 17122 h 34244"/>
                <a:gd name="connsiteX3" fmla="*/ 17122 w 383028"/>
                <a:gd name="connsiteY3" fmla="*/ 0 h 34244"/>
                <a:gd name="connsiteX4" fmla="*/ 365907 w 383028"/>
                <a:gd name="connsiteY4" fmla="*/ 0 h 34244"/>
                <a:gd name="connsiteX5" fmla="*/ 383029 w 383028"/>
                <a:gd name="connsiteY5" fmla="*/ 17122 h 34244"/>
                <a:gd name="connsiteX6" fmla="*/ 365907 w 383028"/>
                <a:gd name="connsiteY6" fmla="*/ 34244 h 34244"/>
                <a:gd name="connsiteX7" fmla="*/ 365907 w 383028"/>
                <a:gd name="connsiteY7" fmla="*/ 34244 h 3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3028" h="34244">
                  <a:moveTo>
                    <a:pt x="365907" y="34244"/>
                  </a:moveTo>
                  <a:lnTo>
                    <a:pt x="17122" y="34244"/>
                  </a:lnTo>
                  <a:cubicBezTo>
                    <a:pt x="7610" y="34244"/>
                    <a:pt x="0" y="26635"/>
                    <a:pt x="0" y="17122"/>
                  </a:cubicBezTo>
                  <a:cubicBezTo>
                    <a:pt x="0" y="7610"/>
                    <a:pt x="7610" y="0"/>
                    <a:pt x="17122" y="0"/>
                  </a:cubicBezTo>
                  <a:lnTo>
                    <a:pt x="365907" y="0"/>
                  </a:lnTo>
                  <a:cubicBezTo>
                    <a:pt x="375419" y="0"/>
                    <a:pt x="383029" y="7610"/>
                    <a:pt x="383029" y="17122"/>
                  </a:cubicBezTo>
                  <a:cubicBezTo>
                    <a:pt x="383029" y="26635"/>
                    <a:pt x="375419" y="34244"/>
                    <a:pt x="365907" y="34244"/>
                  </a:cubicBezTo>
                  <a:lnTo>
                    <a:pt x="365907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67" name="Forma Livre: Forma 266">
              <a:extLst>
                <a:ext uri="{FF2B5EF4-FFF2-40B4-BE49-F238E27FC236}">
                  <a16:creationId xmlns:a16="http://schemas.microsoft.com/office/drawing/2014/main" id="{6E027738-BA29-47EA-95E0-C5629AFBDB7C}"/>
                </a:ext>
              </a:extLst>
            </p:cNvPr>
            <p:cNvSpPr/>
            <p:nvPr/>
          </p:nvSpPr>
          <p:spPr>
            <a:xfrm>
              <a:off x="7450552" y="2808006"/>
              <a:ext cx="383028" cy="34244"/>
            </a:xfrm>
            <a:custGeom>
              <a:avLst/>
              <a:gdLst>
                <a:gd name="connsiteX0" fmla="*/ 365907 w 383028"/>
                <a:gd name="connsiteY0" fmla="*/ 34244 h 34244"/>
                <a:gd name="connsiteX1" fmla="*/ 17122 w 383028"/>
                <a:gd name="connsiteY1" fmla="*/ 34244 h 34244"/>
                <a:gd name="connsiteX2" fmla="*/ 0 w 383028"/>
                <a:gd name="connsiteY2" fmla="*/ 17122 h 34244"/>
                <a:gd name="connsiteX3" fmla="*/ 17122 w 383028"/>
                <a:gd name="connsiteY3" fmla="*/ 0 h 34244"/>
                <a:gd name="connsiteX4" fmla="*/ 365907 w 383028"/>
                <a:gd name="connsiteY4" fmla="*/ 0 h 34244"/>
                <a:gd name="connsiteX5" fmla="*/ 383029 w 383028"/>
                <a:gd name="connsiteY5" fmla="*/ 17122 h 34244"/>
                <a:gd name="connsiteX6" fmla="*/ 365907 w 383028"/>
                <a:gd name="connsiteY6" fmla="*/ 34244 h 34244"/>
                <a:gd name="connsiteX7" fmla="*/ 365907 w 383028"/>
                <a:gd name="connsiteY7" fmla="*/ 34244 h 3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3028" h="34244">
                  <a:moveTo>
                    <a:pt x="365907" y="34244"/>
                  </a:moveTo>
                  <a:lnTo>
                    <a:pt x="17122" y="34244"/>
                  </a:lnTo>
                  <a:cubicBezTo>
                    <a:pt x="7610" y="34244"/>
                    <a:pt x="0" y="26635"/>
                    <a:pt x="0" y="17122"/>
                  </a:cubicBezTo>
                  <a:cubicBezTo>
                    <a:pt x="0" y="7610"/>
                    <a:pt x="7610" y="0"/>
                    <a:pt x="17122" y="0"/>
                  </a:cubicBezTo>
                  <a:lnTo>
                    <a:pt x="365907" y="0"/>
                  </a:lnTo>
                  <a:cubicBezTo>
                    <a:pt x="375419" y="0"/>
                    <a:pt x="383029" y="7610"/>
                    <a:pt x="383029" y="17122"/>
                  </a:cubicBezTo>
                  <a:cubicBezTo>
                    <a:pt x="383029" y="26635"/>
                    <a:pt x="375419" y="34244"/>
                    <a:pt x="365907" y="34244"/>
                  </a:cubicBezTo>
                  <a:lnTo>
                    <a:pt x="365907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68" name="Forma Livre: Forma 267">
              <a:extLst>
                <a:ext uri="{FF2B5EF4-FFF2-40B4-BE49-F238E27FC236}">
                  <a16:creationId xmlns:a16="http://schemas.microsoft.com/office/drawing/2014/main" id="{0C0D317F-BD2C-45DA-B0EF-1CF8CD9E8748}"/>
                </a:ext>
              </a:extLst>
            </p:cNvPr>
            <p:cNvSpPr/>
            <p:nvPr/>
          </p:nvSpPr>
          <p:spPr>
            <a:xfrm>
              <a:off x="7450552" y="2896153"/>
              <a:ext cx="383028" cy="34244"/>
            </a:xfrm>
            <a:custGeom>
              <a:avLst/>
              <a:gdLst>
                <a:gd name="connsiteX0" fmla="*/ 365907 w 383028"/>
                <a:gd name="connsiteY0" fmla="*/ 34244 h 34244"/>
                <a:gd name="connsiteX1" fmla="*/ 17122 w 383028"/>
                <a:gd name="connsiteY1" fmla="*/ 34244 h 34244"/>
                <a:gd name="connsiteX2" fmla="*/ 0 w 383028"/>
                <a:gd name="connsiteY2" fmla="*/ 17122 h 34244"/>
                <a:gd name="connsiteX3" fmla="*/ 17122 w 383028"/>
                <a:gd name="connsiteY3" fmla="*/ 0 h 34244"/>
                <a:gd name="connsiteX4" fmla="*/ 365907 w 383028"/>
                <a:gd name="connsiteY4" fmla="*/ 0 h 34244"/>
                <a:gd name="connsiteX5" fmla="*/ 383029 w 383028"/>
                <a:gd name="connsiteY5" fmla="*/ 17122 h 34244"/>
                <a:gd name="connsiteX6" fmla="*/ 365907 w 383028"/>
                <a:gd name="connsiteY6" fmla="*/ 34244 h 34244"/>
                <a:gd name="connsiteX7" fmla="*/ 365907 w 383028"/>
                <a:gd name="connsiteY7" fmla="*/ 34244 h 3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3028" h="34244">
                  <a:moveTo>
                    <a:pt x="365907" y="34244"/>
                  </a:moveTo>
                  <a:lnTo>
                    <a:pt x="17122" y="34244"/>
                  </a:lnTo>
                  <a:cubicBezTo>
                    <a:pt x="7610" y="34244"/>
                    <a:pt x="0" y="26635"/>
                    <a:pt x="0" y="17122"/>
                  </a:cubicBezTo>
                  <a:cubicBezTo>
                    <a:pt x="0" y="7610"/>
                    <a:pt x="7610" y="0"/>
                    <a:pt x="17122" y="0"/>
                  </a:cubicBezTo>
                  <a:lnTo>
                    <a:pt x="365907" y="0"/>
                  </a:lnTo>
                  <a:cubicBezTo>
                    <a:pt x="375419" y="0"/>
                    <a:pt x="383029" y="7610"/>
                    <a:pt x="383029" y="17122"/>
                  </a:cubicBezTo>
                  <a:cubicBezTo>
                    <a:pt x="383029" y="26635"/>
                    <a:pt x="375419" y="34244"/>
                    <a:pt x="365907" y="34244"/>
                  </a:cubicBezTo>
                  <a:lnTo>
                    <a:pt x="365907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69" name="Forma Livre: Forma 268">
              <a:extLst>
                <a:ext uri="{FF2B5EF4-FFF2-40B4-BE49-F238E27FC236}">
                  <a16:creationId xmlns:a16="http://schemas.microsoft.com/office/drawing/2014/main" id="{53B3CD25-119A-464C-90BF-2EA10A18F4F4}"/>
                </a:ext>
              </a:extLst>
            </p:cNvPr>
            <p:cNvSpPr/>
            <p:nvPr/>
          </p:nvSpPr>
          <p:spPr>
            <a:xfrm>
              <a:off x="7450552" y="2984934"/>
              <a:ext cx="383028" cy="34244"/>
            </a:xfrm>
            <a:custGeom>
              <a:avLst/>
              <a:gdLst>
                <a:gd name="connsiteX0" fmla="*/ 365907 w 383028"/>
                <a:gd name="connsiteY0" fmla="*/ 34244 h 34244"/>
                <a:gd name="connsiteX1" fmla="*/ 17122 w 383028"/>
                <a:gd name="connsiteY1" fmla="*/ 34244 h 34244"/>
                <a:gd name="connsiteX2" fmla="*/ 0 w 383028"/>
                <a:gd name="connsiteY2" fmla="*/ 17122 h 34244"/>
                <a:gd name="connsiteX3" fmla="*/ 17122 w 383028"/>
                <a:gd name="connsiteY3" fmla="*/ 0 h 34244"/>
                <a:gd name="connsiteX4" fmla="*/ 365907 w 383028"/>
                <a:gd name="connsiteY4" fmla="*/ 0 h 34244"/>
                <a:gd name="connsiteX5" fmla="*/ 383029 w 383028"/>
                <a:gd name="connsiteY5" fmla="*/ 17122 h 34244"/>
                <a:gd name="connsiteX6" fmla="*/ 365907 w 383028"/>
                <a:gd name="connsiteY6" fmla="*/ 34244 h 34244"/>
                <a:gd name="connsiteX7" fmla="*/ 365907 w 383028"/>
                <a:gd name="connsiteY7" fmla="*/ 34244 h 3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3028" h="34244">
                  <a:moveTo>
                    <a:pt x="365907" y="34244"/>
                  </a:moveTo>
                  <a:lnTo>
                    <a:pt x="17122" y="34244"/>
                  </a:lnTo>
                  <a:cubicBezTo>
                    <a:pt x="7610" y="34244"/>
                    <a:pt x="0" y="26635"/>
                    <a:pt x="0" y="17122"/>
                  </a:cubicBezTo>
                  <a:cubicBezTo>
                    <a:pt x="0" y="7610"/>
                    <a:pt x="7610" y="0"/>
                    <a:pt x="17122" y="0"/>
                  </a:cubicBezTo>
                  <a:lnTo>
                    <a:pt x="365907" y="0"/>
                  </a:lnTo>
                  <a:cubicBezTo>
                    <a:pt x="375419" y="0"/>
                    <a:pt x="383029" y="7610"/>
                    <a:pt x="383029" y="17122"/>
                  </a:cubicBezTo>
                  <a:cubicBezTo>
                    <a:pt x="383029" y="26635"/>
                    <a:pt x="375419" y="34244"/>
                    <a:pt x="365907" y="34244"/>
                  </a:cubicBezTo>
                  <a:lnTo>
                    <a:pt x="365907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70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4356266" y="2603228"/>
            <a:ext cx="398208" cy="393192"/>
            <a:chOff x="4336857" y="2626638"/>
            <a:chExt cx="402687" cy="397614"/>
          </a:xfrm>
          <a:solidFill>
            <a:srgbClr val="B1B1A1"/>
          </a:solidFill>
        </p:grpSpPr>
        <p:grpSp>
          <p:nvGrpSpPr>
            <p:cNvPr id="271" name="Gráfico 2">
              <a:extLst>
                <a:ext uri="{FF2B5EF4-FFF2-40B4-BE49-F238E27FC236}">
                  <a16:creationId xmlns:a16="http://schemas.microsoft.com/office/drawing/2014/main" id="{DC80C217-93B8-4831-A8BE-0817F1F32ECF}"/>
                </a:ext>
              </a:extLst>
            </p:cNvPr>
            <p:cNvGrpSpPr/>
            <p:nvPr/>
          </p:nvGrpSpPr>
          <p:grpSpPr>
            <a:xfrm>
              <a:off x="4336857" y="2721444"/>
              <a:ext cx="131586" cy="125245"/>
              <a:chOff x="4336857" y="2721444"/>
              <a:chExt cx="131586" cy="125245"/>
            </a:xfrm>
            <a:grpFill/>
          </p:grpSpPr>
          <p:sp>
            <p:nvSpPr>
              <p:cNvPr id="272" name="Forma Livre: Forma 271">
                <a:extLst>
                  <a:ext uri="{FF2B5EF4-FFF2-40B4-BE49-F238E27FC236}">
                    <a16:creationId xmlns:a16="http://schemas.microsoft.com/office/drawing/2014/main" id="{35D378B2-644F-4803-B639-BEC0CEC208CE}"/>
                  </a:ext>
                </a:extLst>
              </p:cNvPr>
              <p:cNvSpPr/>
              <p:nvPr/>
            </p:nvSpPr>
            <p:spPr>
              <a:xfrm>
                <a:off x="4389809" y="2721444"/>
                <a:ext cx="78635" cy="125245"/>
              </a:xfrm>
              <a:custGeom>
                <a:avLst/>
                <a:gdLst>
                  <a:gd name="connsiteX0" fmla="*/ 16805 w 78635"/>
                  <a:gd name="connsiteY0" fmla="*/ 125245 h 125245"/>
                  <a:gd name="connsiteX1" fmla="*/ 4756 w 78635"/>
                  <a:gd name="connsiteY1" fmla="*/ 120172 h 125245"/>
                  <a:gd name="connsiteX2" fmla="*/ 4756 w 78635"/>
                  <a:gd name="connsiteY2" fmla="*/ 96074 h 125245"/>
                  <a:gd name="connsiteX3" fmla="*/ 38366 w 78635"/>
                  <a:gd name="connsiteY3" fmla="*/ 62464 h 125245"/>
                  <a:gd name="connsiteX4" fmla="*/ 4756 w 78635"/>
                  <a:gd name="connsiteY4" fmla="*/ 28854 h 125245"/>
                  <a:gd name="connsiteX5" fmla="*/ 4756 w 78635"/>
                  <a:gd name="connsiteY5" fmla="*/ 4756 h 125245"/>
                  <a:gd name="connsiteX6" fmla="*/ 28854 w 78635"/>
                  <a:gd name="connsiteY6" fmla="*/ 4756 h 125245"/>
                  <a:gd name="connsiteX7" fmla="*/ 73879 w 78635"/>
                  <a:gd name="connsiteY7" fmla="*/ 49781 h 125245"/>
                  <a:gd name="connsiteX8" fmla="*/ 73879 w 78635"/>
                  <a:gd name="connsiteY8" fmla="*/ 73879 h 125245"/>
                  <a:gd name="connsiteX9" fmla="*/ 28854 w 78635"/>
                  <a:gd name="connsiteY9" fmla="*/ 119538 h 125245"/>
                  <a:gd name="connsiteX10" fmla="*/ 16805 w 78635"/>
                  <a:gd name="connsiteY10" fmla="*/ 125245 h 125245"/>
                  <a:gd name="connsiteX11" fmla="*/ 16805 w 78635"/>
                  <a:gd name="connsiteY11" fmla="*/ 125245 h 125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8635" h="125245">
                    <a:moveTo>
                      <a:pt x="16805" y="125245"/>
                    </a:moveTo>
                    <a:cubicBezTo>
                      <a:pt x="12366" y="125245"/>
                      <a:pt x="7927" y="123343"/>
                      <a:pt x="4756" y="120172"/>
                    </a:cubicBezTo>
                    <a:cubicBezTo>
                      <a:pt x="-1585" y="113830"/>
                      <a:pt x="-1585" y="103050"/>
                      <a:pt x="4756" y="96074"/>
                    </a:cubicBezTo>
                    <a:lnTo>
                      <a:pt x="38366" y="62464"/>
                    </a:lnTo>
                    <a:lnTo>
                      <a:pt x="4756" y="28854"/>
                    </a:lnTo>
                    <a:cubicBezTo>
                      <a:pt x="-1585" y="22512"/>
                      <a:pt x="-1585" y="11732"/>
                      <a:pt x="4756" y="4756"/>
                    </a:cubicBezTo>
                    <a:cubicBezTo>
                      <a:pt x="11098" y="-1585"/>
                      <a:pt x="21878" y="-1585"/>
                      <a:pt x="28854" y="4756"/>
                    </a:cubicBezTo>
                    <a:lnTo>
                      <a:pt x="73879" y="49781"/>
                    </a:lnTo>
                    <a:cubicBezTo>
                      <a:pt x="80220" y="56123"/>
                      <a:pt x="80220" y="66903"/>
                      <a:pt x="73879" y="73879"/>
                    </a:cubicBezTo>
                    <a:lnTo>
                      <a:pt x="28854" y="119538"/>
                    </a:lnTo>
                    <a:cubicBezTo>
                      <a:pt x="25683" y="123977"/>
                      <a:pt x="21244" y="125245"/>
                      <a:pt x="16805" y="125245"/>
                    </a:cubicBezTo>
                    <a:lnTo>
                      <a:pt x="16805" y="125245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73" name="Forma Livre: Forma 272">
                <a:extLst>
                  <a:ext uri="{FF2B5EF4-FFF2-40B4-BE49-F238E27FC236}">
                    <a16:creationId xmlns:a16="http://schemas.microsoft.com/office/drawing/2014/main" id="{7825B59E-EFA7-45F1-9CEA-79F9AC76966C}"/>
                  </a:ext>
                </a:extLst>
              </p:cNvPr>
              <p:cNvSpPr/>
              <p:nvPr/>
            </p:nvSpPr>
            <p:spPr>
              <a:xfrm>
                <a:off x="4336857" y="2767420"/>
                <a:ext cx="116684" cy="34244"/>
              </a:xfrm>
              <a:custGeom>
                <a:avLst/>
                <a:gdLst>
                  <a:gd name="connsiteX0" fmla="*/ 17122 w 116684"/>
                  <a:gd name="connsiteY0" fmla="*/ 34244 h 34244"/>
                  <a:gd name="connsiteX1" fmla="*/ 0 w 116684"/>
                  <a:gd name="connsiteY1" fmla="*/ 17122 h 34244"/>
                  <a:gd name="connsiteX2" fmla="*/ 17122 w 116684"/>
                  <a:gd name="connsiteY2" fmla="*/ 0 h 34244"/>
                  <a:gd name="connsiteX3" fmla="*/ 99562 w 116684"/>
                  <a:gd name="connsiteY3" fmla="*/ 0 h 34244"/>
                  <a:gd name="connsiteX4" fmla="*/ 99562 w 116684"/>
                  <a:gd name="connsiteY4" fmla="*/ 0 h 34244"/>
                  <a:gd name="connsiteX5" fmla="*/ 116684 w 116684"/>
                  <a:gd name="connsiteY5" fmla="*/ 17122 h 34244"/>
                  <a:gd name="connsiteX6" fmla="*/ 99562 w 116684"/>
                  <a:gd name="connsiteY6" fmla="*/ 34244 h 34244"/>
                  <a:gd name="connsiteX7" fmla="*/ 17122 w 116684"/>
                  <a:gd name="connsiteY7" fmla="*/ 34244 h 34244"/>
                  <a:gd name="connsiteX8" fmla="*/ 17122 w 116684"/>
                  <a:gd name="connsiteY8" fmla="*/ 34244 h 34244"/>
                  <a:gd name="connsiteX9" fmla="*/ 17122 w 116684"/>
                  <a:gd name="connsiteY9" fmla="*/ 34244 h 34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6684" h="34244">
                    <a:moveTo>
                      <a:pt x="17122" y="34244"/>
                    </a:moveTo>
                    <a:cubicBezTo>
                      <a:pt x="7610" y="34244"/>
                      <a:pt x="0" y="26634"/>
                      <a:pt x="0" y="17122"/>
                    </a:cubicBezTo>
                    <a:cubicBezTo>
                      <a:pt x="0" y="7610"/>
                      <a:pt x="7610" y="0"/>
                      <a:pt x="17122" y="0"/>
                    </a:cubicBezTo>
                    <a:lnTo>
                      <a:pt x="99562" y="0"/>
                    </a:lnTo>
                    <a:lnTo>
                      <a:pt x="99562" y="0"/>
                    </a:lnTo>
                    <a:cubicBezTo>
                      <a:pt x="109074" y="0"/>
                      <a:pt x="116684" y="7610"/>
                      <a:pt x="116684" y="17122"/>
                    </a:cubicBezTo>
                    <a:cubicBezTo>
                      <a:pt x="116684" y="26634"/>
                      <a:pt x="109074" y="34244"/>
                      <a:pt x="99562" y="34244"/>
                    </a:cubicBezTo>
                    <a:lnTo>
                      <a:pt x="17122" y="34244"/>
                    </a:lnTo>
                    <a:lnTo>
                      <a:pt x="17122" y="34244"/>
                    </a:lnTo>
                    <a:lnTo>
                      <a:pt x="17122" y="34244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274" name="Forma Livre: Forma 273">
              <a:extLst>
                <a:ext uri="{FF2B5EF4-FFF2-40B4-BE49-F238E27FC236}">
                  <a16:creationId xmlns:a16="http://schemas.microsoft.com/office/drawing/2014/main" id="{5611F269-458B-4729-A0D0-29C504226E77}"/>
                </a:ext>
              </a:extLst>
            </p:cNvPr>
            <p:cNvSpPr/>
            <p:nvPr/>
          </p:nvSpPr>
          <p:spPr>
            <a:xfrm>
              <a:off x="4345735" y="2663419"/>
              <a:ext cx="384931" cy="16487"/>
            </a:xfrm>
            <a:custGeom>
              <a:avLst/>
              <a:gdLst>
                <a:gd name="connsiteX0" fmla="*/ 376687 w 384931"/>
                <a:gd name="connsiteY0" fmla="*/ 16488 h 16487"/>
                <a:gd name="connsiteX1" fmla="*/ 8244 w 384931"/>
                <a:gd name="connsiteY1" fmla="*/ 16488 h 16487"/>
                <a:gd name="connsiteX2" fmla="*/ 0 w 384931"/>
                <a:gd name="connsiteY2" fmla="*/ 8244 h 16487"/>
                <a:gd name="connsiteX3" fmla="*/ 8244 w 384931"/>
                <a:gd name="connsiteY3" fmla="*/ 0 h 16487"/>
                <a:gd name="connsiteX4" fmla="*/ 376687 w 384931"/>
                <a:gd name="connsiteY4" fmla="*/ 0 h 16487"/>
                <a:gd name="connsiteX5" fmla="*/ 384931 w 384931"/>
                <a:gd name="connsiteY5" fmla="*/ 8244 h 16487"/>
                <a:gd name="connsiteX6" fmla="*/ 376687 w 384931"/>
                <a:gd name="connsiteY6" fmla="*/ 16488 h 16487"/>
                <a:gd name="connsiteX7" fmla="*/ 376687 w 384931"/>
                <a:gd name="connsiteY7" fmla="*/ 16488 h 16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4931" h="16487">
                  <a:moveTo>
                    <a:pt x="376687" y="16488"/>
                  </a:moveTo>
                  <a:lnTo>
                    <a:pt x="8244" y="16488"/>
                  </a:lnTo>
                  <a:cubicBezTo>
                    <a:pt x="3805" y="16488"/>
                    <a:pt x="0" y="12683"/>
                    <a:pt x="0" y="8244"/>
                  </a:cubicBezTo>
                  <a:cubicBezTo>
                    <a:pt x="0" y="3805"/>
                    <a:pt x="3805" y="0"/>
                    <a:pt x="8244" y="0"/>
                  </a:cubicBezTo>
                  <a:lnTo>
                    <a:pt x="376687" y="0"/>
                  </a:lnTo>
                  <a:cubicBezTo>
                    <a:pt x="381126" y="0"/>
                    <a:pt x="384931" y="3805"/>
                    <a:pt x="384931" y="8244"/>
                  </a:cubicBezTo>
                  <a:cubicBezTo>
                    <a:pt x="384931" y="12683"/>
                    <a:pt x="381126" y="16488"/>
                    <a:pt x="376687" y="16488"/>
                  </a:cubicBezTo>
                  <a:lnTo>
                    <a:pt x="376687" y="16488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75" name="Forma Livre: Forma 274">
              <a:extLst>
                <a:ext uri="{FF2B5EF4-FFF2-40B4-BE49-F238E27FC236}">
                  <a16:creationId xmlns:a16="http://schemas.microsoft.com/office/drawing/2014/main" id="{097FDC62-3047-4A9A-BB31-AF5F24B82A0C}"/>
                </a:ext>
              </a:extLst>
            </p:cNvPr>
            <p:cNvSpPr/>
            <p:nvPr/>
          </p:nvSpPr>
          <p:spPr>
            <a:xfrm>
              <a:off x="4471298" y="2626638"/>
              <a:ext cx="16488" cy="44390"/>
            </a:xfrm>
            <a:custGeom>
              <a:avLst/>
              <a:gdLst>
                <a:gd name="connsiteX0" fmla="*/ 8244 w 16488"/>
                <a:gd name="connsiteY0" fmla="*/ 44391 h 44390"/>
                <a:gd name="connsiteX1" fmla="*/ 0 w 16488"/>
                <a:gd name="connsiteY1" fmla="*/ 36147 h 44390"/>
                <a:gd name="connsiteX2" fmla="*/ 0 w 16488"/>
                <a:gd name="connsiteY2" fmla="*/ 8244 h 44390"/>
                <a:gd name="connsiteX3" fmla="*/ 8244 w 16488"/>
                <a:gd name="connsiteY3" fmla="*/ 0 h 44390"/>
                <a:gd name="connsiteX4" fmla="*/ 16488 w 16488"/>
                <a:gd name="connsiteY4" fmla="*/ 8244 h 44390"/>
                <a:gd name="connsiteX5" fmla="*/ 16488 w 16488"/>
                <a:gd name="connsiteY5" fmla="*/ 36147 h 44390"/>
                <a:gd name="connsiteX6" fmla="*/ 8244 w 16488"/>
                <a:gd name="connsiteY6" fmla="*/ 44391 h 44390"/>
                <a:gd name="connsiteX7" fmla="*/ 8244 w 16488"/>
                <a:gd name="connsiteY7" fmla="*/ 44391 h 44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488" h="44390">
                  <a:moveTo>
                    <a:pt x="8244" y="44391"/>
                  </a:moveTo>
                  <a:cubicBezTo>
                    <a:pt x="3805" y="44391"/>
                    <a:pt x="0" y="40586"/>
                    <a:pt x="0" y="36147"/>
                  </a:cubicBezTo>
                  <a:lnTo>
                    <a:pt x="0" y="8244"/>
                  </a:lnTo>
                  <a:cubicBezTo>
                    <a:pt x="0" y="3805"/>
                    <a:pt x="3805" y="0"/>
                    <a:pt x="8244" y="0"/>
                  </a:cubicBezTo>
                  <a:cubicBezTo>
                    <a:pt x="12683" y="0"/>
                    <a:pt x="16488" y="3805"/>
                    <a:pt x="16488" y="8244"/>
                  </a:cubicBezTo>
                  <a:lnTo>
                    <a:pt x="16488" y="36147"/>
                  </a:lnTo>
                  <a:cubicBezTo>
                    <a:pt x="16488" y="40586"/>
                    <a:pt x="12683" y="44391"/>
                    <a:pt x="8244" y="44391"/>
                  </a:cubicBezTo>
                  <a:lnTo>
                    <a:pt x="8244" y="44391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76" name="Forma Livre: Forma 275">
              <a:extLst>
                <a:ext uri="{FF2B5EF4-FFF2-40B4-BE49-F238E27FC236}">
                  <a16:creationId xmlns:a16="http://schemas.microsoft.com/office/drawing/2014/main" id="{FC84BD52-52B9-4459-9C0C-07E0E1529FB1}"/>
                </a:ext>
              </a:extLst>
            </p:cNvPr>
            <p:cNvSpPr/>
            <p:nvPr/>
          </p:nvSpPr>
          <p:spPr>
            <a:xfrm>
              <a:off x="4345735" y="2970349"/>
              <a:ext cx="384931" cy="16488"/>
            </a:xfrm>
            <a:custGeom>
              <a:avLst/>
              <a:gdLst>
                <a:gd name="connsiteX0" fmla="*/ 376687 w 384931"/>
                <a:gd name="connsiteY0" fmla="*/ 16488 h 16488"/>
                <a:gd name="connsiteX1" fmla="*/ 8244 w 384931"/>
                <a:gd name="connsiteY1" fmla="*/ 16488 h 16488"/>
                <a:gd name="connsiteX2" fmla="*/ 0 w 384931"/>
                <a:gd name="connsiteY2" fmla="*/ 8244 h 16488"/>
                <a:gd name="connsiteX3" fmla="*/ 8244 w 384931"/>
                <a:gd name="connsiteY3" fmla="*/ 0 h 16488"/>
                <a:gd name="connsiteX4" fmla="*/ 376687 w 384931"/>
                <a:gd name="connsiteY4" fmla="*/ 0 h 16488"/>
                <a:gd name="connsiteX5" fmla="*/ 384931 w 384931"/>
                <a:gd name="connsiteY5" fmla="*/ 8244 h 16488"/>
                <a:gd name="connsiteX6" fmla="*/ 376687 w 384931"/>
                <a:gd name="connsiteY6" fmla="*/ 16488 h 16488"/>
                <a:gd name="connsiteX7" fmla="*/ 376687 w 384931"/>
                <a:gd name="connsiteY7" fmla="*/ 16488 h 16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4931" h="16488">
                  <a:moveTo>
                    <a:pt x="376687" y="16488"/>
                  </a:moveTo>
                  <a:lnTo>
                    <a:pt x="8244" y="16488"/>
                  </a:lnTo>
                  <a:cubicBezTo>
                    <a:pt x="3805" y="16488"/>
                    <a:pt x="0" y="12683"/>
                    <a:pt x="0" y="8244"/>
                  </a:cubicBezTo>
                  <a:cubicBezTo>
                    <a:pt x="0" y="3805"/>
                    <a:pt x="3805" y="0"/>
                    <a:pt x="8244" y="0"/>
                  </a:cubicBezTo>
                  <a:lnTo>
                    <a:pt x="376687" y="0"/>
                  </a:lnTo>
                  <a:cubicBezTo>
                    <a:pt x="381126" y="0"/>
                    <a:pt x="384931" y="3805"/>
                    <a:pt x="384931" y="8244"/>
                  </a:cubicBezTo>
                  <a:cubicBezTo>
                    <a:pt x="384931" y="12683"/>
                    <a:pt x="381126" y="16488"/>
                    <a:pt x="376687" y="16488"/>
                  </a:cubicBezTo>
                  <a:lnTo>
                    <a:pt x="376687" y="16488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77" name="Forma Livre: Forma 276">
              <a:extLst>
                <a:ext uri="{FF2B5EF4-FFF2-40B4-BE49-F238E27FC236}">
                  <a16:creationId xmlns:a16="http://schemas.microsoft.com/office/drawing/2014/main" id="{5EAC3BFA-668D-46A2-A0DE-02DD85C1297A}"/>
                </a:ext>
              </a:extLst>
            </p:cNvPr>
            <p:cNvSpPr/>
            <p:nvPr/>
          </p:nvSpPr>
          <p:spPr>
            <a:xfrm>
              <a:off x="4471298" y="2979861"/>
              <a:ext cx="16488" cy="44390"/>
            </a:xfrm>
            <a:custGeom>
              <a:avLst/>
              <a:gdLst>
                <a:gd name="connsiteX0" fmla="*/ 8244 w 16488"/>
                <a:gd name="connsiteY0" fmla="*/ 44391 h 44390"/>
                <a:gd name="connsiteX1" fmla="*/ 0 w 16488"/>
                <a:gd name="connsiteY1" fmla="*/ 36147 h 44390"/>
                <a:gd name="connsiteX2" fmla="*/ 0 w 16488"/>
                <a:gd name="connsiteY2" fmla="*/ 8244 h 44390"/>
                <a:gd name="connsiteX3" fmla="*/ 8244 w 16488"/>
                <a:gd name="connsiteY3" fmla="*/ 0 h 44390"/>
                <a:gd name="connsiteX4" fmla="*/ 16488 w 16488"/>
                <a:gd name="connsiteY4" fmla="*/ 8244 h 44390"/>
                <a:gd name="connsiteX5" fmla="*/ 16488 w 16488"/>
                <a:gd name="connsiteY5" fmla="*/ 36147 h 44390"/>
                <a:gd name="connsiteX6" fmla="*/ 8244 w 16488"/>
                <a:gd name="connsiteY6" fmla="*/ 44391 h 44390"/>
                <a:gd name="connsiteX7" fmla="*/ 8244 w 16488"/>
                <a:gd name="connsiteY7" fmla="*/ 44391 h 44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488" h="44390">
                  <a:moveTo>
                    <a:pt x="8244" y="44391"/>
                  </a:moveTo>
                  <a:cubicBezTo>
                    <a:pt x="3805" y="44391"/>
                    <a:pt x="0" y="40586"/>
                    <a:pt x="0" y="36147"/>
                  </a:cubicBezTo>
                  <a:lnTo>
                    <a:pt x="0" y="8244"/>
                  </a:lnTo>
                  <a:cubicBezTo>
                    <a:pt x="0" y="3805"/>
                    <a:pt x="3805" y="0"/>
                    <a:pt x="8244" y="0"/>
                  </a:cubicBezTo>
                  <a:cubicBezTo>
                    <a:pt x="12683" y="0"/>
                    <a:pt x="16488" y="3805"/>
                    <a:pt x="16488" y="8244"/>
                  </a:cubicBezTo>
                  <a:lnTo>
                    <a:pt x="16488" y="36147"/>
                  </a:lnTo>
                  <a:cubicBezTo>
                    <a:pt x="16488" y="40586"/>
                    <a:pt x="12683" y="44391"/>
                    <a:pt x="8244" y="44391"/>
                  </a:cubicBezTo>
                  <a:lnTo>
                    <a:pt x="8244" y="44391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78" name="Forma Livre: Forma 277">
              <a:extLst>
                <a:ext uri="{FF2B5EF4-FFF2-40B4-BE49-F238E27FC236}">
                  <a16:creationId xmlns:a16="http://schemas.microsoft.com/office/drawing/2014/main" id="{C505D901-A659-4998-9403-F734E4266389}"/>
                </a:ext>
              </a:extLst>
            </p:cNvPr>
            <p:cNvSpPr/>
            <p:nvPr/>
          </p:nvSpPr>
          <p:spPr>
            <a:xfrm>
              <a:off x="4480176" y="2731273"/>
              <a:ext cx="259368" cy="34244"/>
            </a:xfrm>
            <a:custGeom>
              <a:avLst/>
              <a:gdLst>
                <a:gd name="connsiteX0" fmla="*/ 242247 w 259368"/>
                <a:gd name="connsiteY0" fmla="*/ 34244 h 34244"/>
                <a:gd name="connsiteX1" fmla="*/ 17122 w 259368"/>
                <a:gd name="connsiteY1" fmla="*/ 34244 h 34244"/>
                <a:gd name="connsiteX2" fmla="*/ 0 w 259368"/>
                <a:gd name="connsiteY2" fmla="*/ 17122 h 34244"/>
                <a:gd name="connsiteX3" fmla="*/ 17122 w 259368"/>
                <a:gd name="connsiteY3" fmla="*/ 0 h 34244"/>
                <a:gd name="connsiteX4" fmla="*/ 242247 w 259368"/>
                <a:gd name="connsiteY4" fmla="*/ 0 h 34244"/>
                <a:gd name="connsiteX5" fmla="*/ 259369 w 259368"/>
                <a:gd name="connsiteY5" fmla="*/ 17122 h 34244"/>
                <a:gd name="connsiteX6" fmla="*/ 242247 w 259368"/>
                <a:gd name="connsiteY6" fmla="*/ 34244 h 34244"/>
                <a:gd name="connsiteX7" fmla="*/ 242247 w 259368"/>
                <a:gd name="connsiteY7" fmla="*/ 34244 h 3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9368" h="34244">
                  <a:moveTo>
                    <a:pt x="242247" y="34244"/>
                  </a:moveTo>
                  <a:lnTo>
                    <a:pt x="17122" y="34244"/>
                  </a:lnTo>
                  <a:cubicBezTo>
                    <a:pt x="7610" y="34244"/>
                    <a:pt x="0" y="26635"/>
                    <a:pt x="0" y="17122"/>
                  </a:cubicBezTo>
                  <a:cubicBezTo>
                    <a:pt x="0" y="7610"/>
                    <a:pt x="7610" y="0"/>
                    <a:pt x="17122" y="0"/>
                  </a:cubicBezTo>
                  <a:lnTo>
                    <a:pt x="242247" y="0"/>
                  </a:lnTo>
                  <a:cubicBezTo>
                    <a:pt x="251759" y="0"/>
                    <a:pt x="259369" y="7610"/>
                    <a:pt x="259369" y="17122"/>
                  </a:cubicBezTo>
                  <a:cubicBezTo>
                    <a:pt x="259369" y="26635"/>
                    <a:pt x="251759" y="34244"/>
                    <a:pt x="242247" y="34244"/>
                  </a:cubicBezTo>
                  <a:lnTo>
                    <a:pt x="242247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79" name="Forma Livre: Forma 278">
              <a:extLst>
                <a:ext uri="{FF2B5EF4-FFF2-40B4-BE49-F238E27FC236}">
                  <a16:creationId xmlns:a16="http://schemas.microsoft.com/office/drawing/2014/main" id="{174926A3-AA4B-430B-9D1D-35CF23D6AD5E}"/>
                </a:ext>
              </a:extLst>
            </p:cNvPr>
            <p:cNvSpPr/>
            <p:nvPr/>
          </p:nvSpPr>
          <p:spPr>
            <a:xfrm>
              <a:off x="4480176" y="2808006"/>
              <a:ext cx="259368" cy="34244"/>
            </a:xfrm>
            <a:custGeom>
              <a:avLst/>
              <a:gdLst>
                <a:gd name="connsiteX0" fmla="*/ 242247 w 259368"/>
                <a:gd name="connsiteY0" fmla="*/ 34244 h 34244"/>
                <a:gd name="connsiteX1" fmla="*/ 17122 w 259368"/>
                <a:gd name="connsiteY1" fmla="*/ 34244 h 34244"/>
                <a:gd name="connsiteX2" fmla="*/ 0 w 259368"/>
                <a:gd name="connsiteY2" fmla="*/ 17122 h 34244"/>
                <a:gd name="connsiteX3" fmla="*/ 17122 w 259368"/>
                <a:gd name="connsiteY3" fmla="*/ 0 h 34244"/>
                <a:gd name="connsiteX4" fmla="*/ 242247 w 259368"/>
                <a:gd name="connsiteY4" fmla="*/ 0 h 34244"/>
                <a:gd name="connsiteX5" fmla="*/ 259369 w 259368"/>
                <a:gd name="connsiteY5" fmla="*/ 17122 h 34244"/>
                <a:gd name="connsiteX6" fmla="*/ 242247 w 259368"/>
                <a:gd name="connsiteY6" fmla="*/ 34244 h 34244"/>
                <a:gd name="connsiteX7" fmla="*/ 242247 w 259368"/>
                <a:gd name="connsiteY7" fmla="*/ 34244 h 3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9368" h="34244">
                  <a:moveTo>
                    <a:pt x="242247" y="34244"/>
                  </a:moveTo>
                  <a:lnTo>
                    <a:pt x="17122" y="34244"/>
                  </a:lnTo>
                  <a:cubicBezTo>
                    <a:pt x="7610" y="34244"/>
                    <a:pt x="0" y="26635"/>
                    <a:pt x="0" y="17122"/>
                  </a:cubicBezTo>
                  <a:cubicBezTo>
                    <a:pt x="0" y="7610"/>
                    <a:pt x="7610" y="0"/>
                    <a:pt x="17122" y="0"/>
                  </a:cubicBezTo>
                  <a:lnTo>
                    <a:pt x="242247" y="0"/>
                  </a:lnTo>
                  <a:cubicBezTo>
                    <a:pt x="251759" y="0"/>
                    <a:pt x="259369" y="7610"/>
                    <a:pt x="259369" y="17122"/>
                  </a:cubicBezTo>
                  <a:cubicBezTo>
                    <a:pt x="259369" y="26635"/>
                    <a:pt x="251759" y="34244"/>
                    <a:pt x="242247" y="34244"/>
                  </a:cubicBezTo>
                  <a:lnTo>
                    <a:pt x="242247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80" name="Forma Livre: Forma 279">
              <a:extLst>
                <a:ext uri="{FF2B5EF4-FFF2-40B4-BE49-F238E27FC236}">
                  <a16:creationId xmlns:a16="http://schemas.microsoft.com/office/drawing/2014/main" id="{1CC3169E-734D-45F7-8B0C-29838037694A}"/>
                </a:ext>
              </a:extLst>
            </p:cNvPr>
            <p:cNvSpPr/>
            <p:nvPr/>
          </p:nvSpPr>
          <p:spPr>
            <a:xfrm>
              <a:off x="4480176" y="2884738"/>
              <a:ext cx="259368" cy="34244"/>
            </a:xfrm>
            <a:custGeom>
              <a:avLst/>
              <a:gdLst>
                <a:gd name="connsiteX0" fmla="*/ 242247 w 259368"/>
                <a:gd name="connsiteY0" fmla="*/ 34244 h 34244"/>
                <a:gd name="connsiteX1" fmla="*/ 17122 w 259368"/>
                <a:gd name="connsiteY1" fmla="*/ 34244 h 34244"/>
                <a:gd name="connsiteX2" fmla="*/ 0 w 259368"/>
                <a:gd name="connsiteY2" fmla="*/ 17122 h 34244"/>
                <a:gd name="connsiteX3" fmla="*/ 17122 w 259368"/>
                <a:gd name="connsiteY3" fmla="*/ 0 h 34244"/>
                <a:gd name="connsiteX4" fmla="*/ 242247 w 259368"/>
                <a:gd name="connsiteY4" fmla="*/ 0 h 34244"/>
                <a:gd name="connsiteX5" fmla="*/ 259369 w 259368"/>
                <a:gd name="connsiteY5" fmla="*/ 17122 h 34244"/>
                <a:gd name="connsiteX6" fmla="*/ 242247 w 259368"/>
                <a:gd name="connsiteY6" fmla="*/ 34244 h 34244"/>
                <a:gd name="connsiteX7" fmla="*/ 242247 w 259368"/>
                <a:gd name="connsiteY7" fmla="*/ 34244 h 3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9368" h="34244">
                  <a:moveTo>
                    <a:pt x="242247" y="34244"/>
                  </a:moveTo>
                  <a:lnTo>
                    <a:pt x="17122" y="34244"/>
                  </a:lnTo>
                  <a:cubicBezTo>
                    <a:pt x="7610" y="34244"/>
                    <a:pt x="0" y="26634"/>
                    <a:pt x="0" y="17122"/>
                  </a:cubicBezTo>
                  <a:cubicBezTo>
                    <a:pt x="0" y="7610"/>
                    <a:pt x="7610" y="0"/>
                    <a:pt x="17122" y="0"/>
                  </a:cubicBezTo>
                  <a:lnTo>
                    <a:pt x="242247" y="0"/>
                  </a:lnTo>
                  <a:cubicBezTo>
                    <a:pt x="251759" y="0"/>
                    <a:pt x="259369" y="7610"/>
                    <a:pt x="259369" y="17122"/>
                  </a:cubicBezTo>
                  <a:cubicBezTo>
                    <a:pt x="259369" y="26634"/>
                    <a:pt x="251759" y="34244"/>
                    <a:pt x="242247" y="34244"/>
                  </a:cubicBezTo>
                  <a:lnTo>
                    <a:pt x="242247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81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5380007" y="2603228"/>
            <a:ext cx="397895" cy="393192"/>
            <a:chOff x="5372113" y="2626638"/>
            <a:chExt cx="402370" cy="397614"/>
          </a:xfrm>
          <a:solidFill>
            <a:srgbClr val="B1B1A1"/>
          </a:solidFill>
        </p:grpSpPr>
        <p:grpSp>
          <p:nvGrpSpPr>
            <p:cNvPr id="282" name="Gráfico 2">
              <a:extLst>
                <a:ext uri="{FF2B5EF4-FFF2-40B4-BE49-F238E27FC236}">
                  <a16:creationId xmlns:a16="http://schemas.microsoft.com/office/drawing/2014/main" id="{DC80C217-93B8-4831-A8BE-0817F1F32ECF}"/>
                </a:ext>
              </a:extLst>
            </p:cNvPr>
            <p:cNvGrpSpPr/>
            <p:nvPr/>
          </p:nvGrpSpPr>
          <p:grpSpPr>
            <a:xfrm>
              <a:off x="5372113" y="2722078"/>
              <a:ext cx="131586" cy="124611"/>
              <a:chOff x="5372113" y="2722078"/>
              <a:chExt cx="131586" cy="124611"/>
            </a:xfrm>
            <a:grpFill/>
          </p:grpSpPr>
          <p:sp>
            <p:nvSpPr>
              <p:cNvPr id="283" name="Forma Livre: Forma 282">
                <a:extLst>
                  <a:ext uri="{FF2B5EF4-FFF2-40B4-BE49-F238E27FC236}">
                    <a16:creationId xmlns:a16="http://schemas.microsoft.com/office/drawing/2014/main" id="{07CAD64C-1F23-4881-9375-956B69E3D189}"/>
                  </a:ext>
                </a:extLst>
              </p:cNvPr>
              <p:cNvSpPr/>
              <p:nvPr/>
            </p:nvSpPr>
            <p:spPr>
              <a:xfrm>
                <a:off x="5372113" y="2722078"/>
                <a:ext cx="78635" cy="124611"/>
              </a:xfrm>
              <a:custGeom>
                <a:avLst/>
                <a:gdLst>
                  <a:gd name="connsiteX0" fmla="*/ 61830 w 78635"/>
                  <a:gd name="connsiteY0" fmla="*/ 124611 h 124611"/>
                  <a:gd name="connsiteX1" fmla="*/ 49781 w 78635"/>
                  <a:gd name="connsiteY1" fmla="*/ 119538 h 124611"/>
                  <a:gd name="connsiteX2" fmla="*/ 4756 w 78635"/>
                  <a:gd name="connsiteY2" fmla="*/ 73879 h 124611"/>
                  <a:gd name="connsiteX3" fmla="*/ 4756 w 78635"/>
                  <a:gd name="connsiteY3" fmla="*/ 49781 h 124611"/>
                  <a:gd name="connsiteX4" fmla="*/ 49781 w 78635"/>
                  <a:gd name="connsiteY4" fmla="*/ 4756 h 124611"/>
                  <a:gd name="connsiteX5" fmla="*/ 73879 w 78635"/>
                  <a:gd name="connsiteY5" fmla="*/ 4756 h 124611"/>
                  <a:gd name="connsiteX6" fmla="*/ 73879 w 78635"/>
                  <a:gd name="connsiteY6" fmla="*/ 28854 h 124611"/>
                  <a:gd name="connsiteX7" fmla="*/ 40269 w 78635"/>
                  <a:gd name="connsiteY7" fmla="*/ 62464 h 124611"/>
                  <a:gd name="connsiteX8" fmla="*/ 73879 w 78635"/>
                  <a:gd name="connsiteY8" fmla="*/ 96074 h 124611"/>
                  <a:gd name="connsiteX9" fmla="*/ 73879 w 78635"/>
                  <a:gd name="connsiteY9" fmla="*/ 120172 h 124611"/>
                  <a:gd name="connsiteX10" fmla="*/ 61830 w 78635"/>
                  <a:gd name="connsiteY10" fmla="*/ 124611 h 124611"/>
                  <a:gd name="connsiteX11" fmla="*/ 61830 w 78635"/>
                  <a:gd name="connsiteY11" fmla="*/ 124611 h 124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8635" h="124611">
                    <a:moveTo>
                      <a:pt x="61830" y="124611"/>
                    </a:moveTo>
                    <a:cubicBezTo>
                      <a:pt x="57391" y="124611"/>
                      <a:pt x="52952" y="122709"/>
                      <a:pt x="49781" y="119538"/>
                    </a:cubicBezTo>
                    <a:lnTo>
                      <a:pt x="4756" y="73879"/>
                    </a:lnTo>
                    <a:cubicBezTo>
                      <a:pt x="-1585" y="67537"/>
                      <a:pt x="-1585" y="56757"/>
                      <a:pt x="4756" y="49781"/>
                    </a:cubicBezTo>
                    <a:lnTo>
                      <a:pt x="49781" y="4756"/>
                    </a:lnTo>
                    <a:cubicBezTo>
                      <a:pt x="56123" y="-1585"/>
                      <a:pt x="66904" y="-1585"/>
                      <a:pt x="73879" y="4756"/>
                    </a:cubicBezTo>
                    <a:cubicBezTo>
                      <a:pt x="80221" y="11098"/>
                      <a:pt x="80221" y="21878"/>
                      <a:pt x="73879" y="28854"/>
                    </a:cubicBezTo>
                    <a:lnTo>
                      <a:pt x="40269" y="62464"/>
                    </a:lnTo>
                    <a:lnTo>
                      <a:pt x="73879" y="96074"/>
                    </a:lnTo>
                    <a:cubicBezTo>
                      <a:pt x="80221" y="102416"/>
                      <a:pt x="80221" y="113196"/>
                      <a:pt x="73879" y="120172"/>
                    </a:cubicBezTo>
                    <a:cubicBezTo>
                      <a:pt x="70708" y="123343"/>
                      <a:pt x="66269" y="124611"/>
                      <a:pt x="61830" y="124611"/>
                    </a:cubicBezTo>
                    <a:lnTo>
                      <a:pt x="61830" y="124611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84" name="Forma Livre: Forma 283">
                <a:extLst>
                  <a:ext uri="{FF2B5EF4-FFF2-40B4-BE49-F238E27FC236}">
                    <a16:creationId xmlns:a16="http://schemas.microsoft.com/office/drawing/2014/main" id="{39156BB0-C0A3-4E3C-8597-D9AED85E7246}"/>
                  </a:ext>
                </a:extLst>
              </p:cNvPr>
              <p:cNvSpPr/>
              <p:nvPr/>
            </p:nvSpPr>
            <p:spPr>
              <a:xfrm>
                <a:off x="5387016" y="2767420"/>
                <a:ext cx="116684" cy="34244"/>
              </a:xfrm>
              <a:custGeom>
                <a:avLst/>
                <a:gdLst>
                  <a:gd name="connsiteX0" fmla="*/ 99562 w 116684"/>
                  <a:gd name="connsiteY0" fmla="*/ 34244 h 34244"/>
                  <a:gd name="connsiteX1" fmla="*/ 99562 w 116684"/>
                  <a:gd name="connsiteY1" fmla="*/ 34244 h 34244"/>
                  <a:gd name="connsiteX2" fmla="*/ 17122 w 116684"/>
                  <a:gd name="connsiteY2" fmla="*/ 34244 h 34244"/>
                  <a:gd name="connsiteX3" fmla="*/ 0 w 116684"/>
                  <a:gd name="connsiteY3" fmla="*/ 17122 h 34244"/>
                  <a:gd name="connsiteX4" fmla="*/ 17122 w 116684"/>
                  <a:gd name="connsiteY4" fmla="*/ 0 h 34244"/>
                  <a:gd name="connsiteX5" fmla="*/ 17122 w 116684"/>
                  <a:gd name="connsiteY5" fmla="*/ 0 h 34244"/>
                  <a:gd name="connsiteX6" fmla="*/ 99562 w 116684"/>
                  <a:gd name="connsiteY6" fmla="*/ 0 h 34244"/>
                  <a:gd name="connsiteX7" fmla="*/ 116684 w 116684"/>
                  <a:gd name="connsiteY7" fmla="*/ 17122 h 34244"/>
                  <a:gd name="connsiteX8" fmla="*/ 99562 w 116684"/>
                  <a:gd name="connsiteY8" fmla="*/ 34244 h 34244"/>
                  <a:gd name="connsiteX9" fmla="*/ 99562 w 116684"/>
                  <a:gd name="connsiteY9" fmla="*/ 34244 h 34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6684" h="34244">
                    <a:moveTo>
                      <a:pt x="99562" y="34244"/>
                    </a:moveTo>
                    <a:lnTo>
                      <a:pt x="99562" y="34244"/>
                    </a:lnTo>
                    <a:lnTo>
                      <a:pt x="17122" y="34244"/>
                    </a:lnTo>
                    <a:cubicBezTo>
                      <a:pt x="7610" y="34244"/>
                      <a:pt x="0" y="26634"/>
                      <a:pt x="0" y="17122"/>
                    </a:cubicBezTo>
                    <a:cubicBezTo>
                      <a:pt x="0" y="7610"/>
                      <a:pt x="7610" y="0"/>
                      <a:pt x="17122" y="0"/>
                    </a:cubicBezTo>
                    <a:lnTo>
                      <a:pt x="17122" y="0"/>
                    </a:lnTo>
                    <a:lnTo>
                      <a:pt x="99562" y="0"/>
                    </a:lnTo>
                    <a:cubicBezTo>
                      <a:pt x="109075" y="0"/>
                      <a:pt x="116684" y="7610"/>
                      <a:pt x="116684" y="17122"/>
                    </a:cubicBezTo>
                    <a:cubicBezTo>
                      <a:pt x="116684" y="26634"/>
                      <a:pt x="109075" y="34244"/>
                      <a:pt x="99562" y="34244"/>
                    </a:cubicBezTo>
                    <a:lnTo>
                      <a:pt x="99562" y="34244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285" name="Forma Livre: Forma 284">
              <a:extLst>
                <a:ext uri="{FF2B5EF4-FFF2-40B4-BE49-F238E27FC236}">
                  <a16:creationId xmlns:a16="http://schemas.microsoft.com/office/drawing/2014/main" id="{9E71936D-0261-4B99-8D6F-EE0F2D2E51B8}"/>
                </a:ext>
              </a:extLst>
            </p:cNvPr>
            <p:cNvSpPr/>
            <p:nvPr/>
          </p:nvSpPr>
          <p:spPr>
            <a:xfrm>
              <a:off x="5380674" y="2663419"/>
              <a:ext cx="384931" cy="16487"/>
            </a:xfrm>
            <a:custGeom>
              <a:avLst/>
              <a:gdLst>
                <a:gd name="connsiteX0" fmla="*/ 376687 w 384931"/>
                <a:gd name="connsiteY0" fmla="*/ 16488 h 16487"/>
                <a:gd name="connsiteX1" fmla="*/ 8244 w 384931"/>
                <a:gd name="connsiteY1" fmla="*/ 16488 h 16487"/>
                <a:gd name="connsiteX2" fmla="*/ 0 w 384931"/>
                <a:gd name="connsiteY2" fmla="*/ 8244 h 16487"/>
                <a:gd name="connsiteX3" fmla="*/ 8244 w 384931"/>
                <a:gd name="connsiteY3" fmla="*/ 0 h 16487"/>
                <a:gd name="connsiteX4" fmla="*/ 376687 w 384931"/>
                <a:gd name="connsiteY4" fmla="*/ 0 h 16487"/>
                <a:gd name="connsiteX5" fmla="*/ 384931 w 384931"/>
                <a:gd name="connsiteY5" fmla="*/ 8244 h 16487"/>
                <a:gd name="connsiteX6" fmla="*/ 376687 w 384931"/>
                <a:gd name="connsiteY6" fmla="*/ 16488 h 16487"/>
                <a:gd name="connsiteX7" fmla="*/ 376687 w 384931"/>
                <a:gd name="connsiteY7" fmla="*/ 16488 h 16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4931" h="16487">
                  <a:moveTo>
                    <a:pt x="376687" y="16488"/>
                  </a:moveTo>
                  <a:lnTo>
                    <a:pt x="8244" y="16488"/>
                  </a:lnTo>
                  <a:cubicBezTo>
                    <a:pt x="3805" y="16488"/>
                    <a:pt x="0" y="12683"/>
                    <a:pt x="0" y="8244"/>
                  </a:cubicBezTo>
                  <a:cubicBezTo>
                    <a:pt x="0" y="3805"/>
                    <a:pt x="3805" y="0"/>
                    <a:pt x="8244" y="0"/>
                  </a:cubicBezTo>
                  <a:lnTo>
                    <a:pt x="376687" y="0"/>
                  </a:lnTo>
                  <a:cubicBezTo>
                    <a:pt x="381126" y="0"/>
                    <a:pt x="384931" y="3805"/>
                    <a:pt x="384931" y="8244"/>
                  </a:cubicBezTo>
                  <a:cubicBezTo>
                    <a:pt x="384931" y="12683"/>
                    <a:pt x="381126" y="16488"/>
                    <a:pt x="376687" y="16488"/>
                  </a:cubicBezTo>
                  <a:lnTo>
                    <a:pt x="376687" y="16488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86" name="Forma Livre: Forma 285">
              <a:extLst>
                <a:ext uri="{FF2B5EF4-FFF2-40B4-BE49-F238E27FC236}">
                  <a16:creationId xmlns:a16="http://schemas.microsoft.com/office/drawing/2014/main" id="{E63C91D6-1E8B-4D06-8802-97CC8B8CB7E6}"/>
                </a:ext>
              </a:extLst>
            </p:cNvPr>
            <p:cNvSpPr/>
            <p:nvPr/>
          </p:nvSpPr>
          <p:spPr>
            <a:xfrm>
              <a:off x="5506237" y="2626638"/>
              <a:ext cx="16487" cy="44390"/>
            </a:xfrm>
            <a:custGeom>
              <a:avLst/>
              <a:gdLst>
                <a:gd name="connsiteX0" fmla="*/ 8244 w 16487"/>
                <a:gd name="connsiteY0" fmla="*/ 44391 h 44390"/>
                <a:gd name="connsiteX1" fmla="*/ 0 w 16487"/>
                <a:gd name="connsiteY1" fmla="*/ 36147 h 44390"/>
                <a:gd name="connsiteX2" fmla="*/ 0 w 16487"/>
                <a:gd name="connsiteY2" fmla="*/ 8244 h 44390"/>
                <a:gd name="connsiteX3" fmla="*/ 8244 w 16487"/>
                <a:gd name="connsiteY3" fmla="*/ 0 h 44390"/>
                <a:gd name="connsiteX4" fmla="*/ 16488 w 16487"/>
                <a:gd name="connsiteY4" fmla="*/ 8244 h 44390"/>
                <a:gd name="connsiteX5" fmla="*/ 16488 w 16487"/>
                <a:gd name="connsiteY5" fmla="*/ 36147 h 44390"/>
                <a:gd name="connsiteX6" fmla="*/ 8244 w 16487"/>
                <a:gd name="connsiteY6" fmla="*/ 44391 h 44390"/>
                <a:gd name="connsiteX7" fmla="*/ 8244 w 16487"/>
                <a:gd name="connsiteY7" fmla="*/ 44391 h 44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487" h="44390">
                  <a:moveTo>
                    <a:pt x="8244" y="44391"/>
                  </a:moveTo>
                  <a:cubicBezTo>
                    <a:pt x="3805" y="44391"/>
                    <a:pt x="0" y="40586"/>
                    <a:pt x="0" y="36147"/>
                  </a:cubicBezTo>
                  <a:lnTo>
                    <a:pt x="0" y="8244"/>
                  </a:lnTo>
                  <a:cubicBezTo>
                    <a:pt x="0" y="3805"/>
                    <a:pt x="3805" y="0"/>
                    <a:pt x="8244" y="0"/>
                  </a:cubicBezTo>
                  <a:cubicBezTo>
                    <a:pt x="12683" y="0"/>
                    <a:pt x="16488" y="3805"/>
                    <a:pt x="16488" y="8244"/>
                  </a:cubicBezTo>
                  <a:lnTo>
                    <a:pt x="16488" y="36147"/>
                  </a:lnTo>
                  <a:cubicBezTo>
                    <a:pt x="16488" y="40586"/>
                    <a:pt x="12683" y="44391"/>
                    <a:pt x="8244" y="44391"/>
                  </a:cubicBezTo>
                  <a:lnTo>
                    <a:pt x="8244" y="44391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87" name="Forma Livre: Forma 286">
              <a:extLst>
                <a:ext uri="{FF2B5EF4-FFF2-40B4-BE49-F238E27FC236}">
                  <a16:creationId xmlns:a16="http://schemas.microsoft.com/office/drawing/2014/main" id="{02504AF6-B3A1-46E6-98FC-168D6C556E38}"/>
                </a:ext>
              </a:extLst>
            </p:cNvPr>
            <p:cNvSpPr/>
            <p:nvPr/>
          </p:nvSpPr>
          <p:spPr>
            <a:xfrm>
              <a:off x="5380674" y="2970349"/>
              <a:ext cx="384931" cy="16488"/>
            </a:xfrm>
            <a:custGeom>
              <a:avLst/>
              <a:gdLst>
                <a:gd name="connsiteX0" fmla="*/ 376687 w 384931"/>
                <a:gd name="connsiteY0" fmla="*/ 16488 h 16488"/>
                <a:gd name="connsiteX1" fmla="*/ 8244 w 384931"/>
                <a:gd name="connsiteY1" fmla="*/ 16488 h 16488"/>
                <a:gd name="connsiteX2" fmla="*/ 0 w 384931"/>
                <a:gd name="connsiteY2" fmla="*/ 8244 h 16488"/>
                <a:gd name="connsiteX3" fmla="*/ 8244 w 384931"/>
                <a:gd name="connsiteY3" fmla="*/ 0 h 16488"/>
                <a:gd name="connsiteX4" fmla="*/ 376687 w 384931"/>
                <a:gd name="connsiteY4" fmla="*/ 0 h 16488"/>
                <a:gd name="connsiteX5" fmla="*/ 384931 w 384931"/>
                <a:gd name="connsiteY5" fmla="*/ 8244 h 16488"/>
                <a:gd name="connsiteX6" fmla="*/ 376687 w 384931"/>
                <a:gd name="connsiteY6" fmla="*/ 16488 h 16488"/>
                <a:gd name="connsiteX7" fmla="*/ 376687 w 384931"/>
                <a:gd name="connsiteY7" fmla="*/ 16488 h 16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4931" h="16488">
                  <a:moveTo>
                    <a:pt x="376687" y="16488"/>
                  </a:moveTo>
                  <a:lnTo>
                    <a:pt x="8244" y="16488"/>
                  </a:lnTo>
                  <a:cubicBezTo>
                    <a:pt x="3805" y="16488"/>
                    <a:pt x="0" y="12683"/>
                    <a:pt x="0" y="8244"/>
                  </a:cubicBezTo>
                  <a:cubicBezTo>
                    <a:pt x="0" y="3805"/>
                    <a:pt x="3805" y="0"/>
                    <a:pt x="8244" y="0"/>
                  </a:cubicBezTo>
                  <a:lnTo>
                    <a:pt x="376687" y="0"/>
                  </a:lnTo>
                  <a:cubicBezTo>
                    <a:pt x="381126" y="0"/>
                    <a:pt x="384931" y="3805"/>
                    <a:pt x="384931" y="8244"/>
                  </a:cubicBezTo>
                  <a:cubicBezTo>
                    <a:pt x="384931" y="12683"/>
                    <a:pt x="381126" y="16488"/>
                    <a:pt x="376687" y="16488"/>
                  </a:cubicBezTo>
                  <a:lnTo>
                    <a:pt x="376687" y="16488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88" name="Forma Livre: Forma 287">
              <a:extLst>
                <a:ext uri="{FF2B5EF4-FFF2-40B4-BE49-F238E27FC236}">
                  <a16:creationId xmlns:a16="http://schemas.microsoft.com/office/drawing/2014/main" id="{43426E27-7C4C-43DF-8612-876CE8954559}"/>
                </a:ext>
              </a:extLst>
            </p:cNvPr>
            <p:cNvSpPr/>
            <p:nvPr/>
          </p:nvSpPr>
          <p:spPr>
            <a:xfrm>
              <a:off x="5506237" y="2979861"/>
              <a:ext cx="16487" cy="44390"/>
            </a:xfrm>
            <a:custGeom>
              <a:avLst/>
              <a:gdLst>
                <a:gd name="connsiteX0" fmla="*/ 8244 w 16487"/>
                <a:gd name="connsiteY0" fmla="*/ 44391 h 44390"/>
                <a:gd name="connsiteX1" fmla="*/ 0 w 16487"/>
                <a:gd name="connsiteY1" fmla="*/ 36147 h 44390"/>
                <a:gd name="connsiteX2" fmla="*/ 0 w 16487"/>
                <a:gd name="connsiteY2" fmla="*/ 8244 h 44390"/>
                <a:gd name="connsiteX3" fmla="*/ 8244 w 16487"/>
                <a:gd name="connsiteY3" fmla="*/ 0 h 44390"/>
                <a:gd name="connsiteX4" fmla="*/ 16488 w 16487"/>
                <a:gd name="connsiteY4" fmla="*/ 8244 h 44390"/>
                <a:gd name="connsiteX5" fmla="*/ 16488 w 16487"/>
                <a:gd name="connsiteY5" fmla="*/ 36147 h 44390"/>
                <a:gd name="connsiteX6" fmla="*/ 8244 w 16487"/>
                <a:gd name="connsiteY6" fmla="*/ 44391 h 44390"/>
                <a:gd name="connsiteX7" fmla="*/ 8244 w 16487"/>
                <a:gd name="connsiteY7" fmla="*/ 44391 h 44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487" h="44390">
                  <a:moveTo>
                    <a:pt x="8244" y="44391"/>
                  </a:moveTo>
                  <a:cubicBezTo>
                    <a:pt x="3805" y="44391"/>
                    <a:pt x="0" y="40586"/>
                    <a:pt x="0" y="36147"/>
                  </a:cubicBezTo>
                  <a:lnTo>
                    <a:pt x="0" y="8244"/>
                  </a:lnTo>
                  <a:cubicBezTo>
                    <a:pt x="0" y="3805"/>
                    <a:pt x="3805" y="0"/>
                    <a:pt x="8244" y="0"/>
                  </a:cubicBezTo>
                  <a:cubicBezTo>
                    <a:pt x="12683" y="0"/>
                    <a:pt x="16488" y="3805"/>
                    <a:pt x="16488" y="8244"/>
                  </a:cubicBezTo>
                  <a:lnTo>
                    <a:pt x="16488" y="36147"/>
                  </a:lnTo>
                  <a:cubicBezTo>
                    <a:pt x="16488" y="40586"/>
                    <a:pt x="12683" y="44391"/>
                    <a:pt x="8244" y="44391"/>
                  </a:cubicBezTo>
                  <a:lnTo>
                    <a:pt x="8244" y="44391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89" name="Forma Livre: Forma 288">
              <a:extLst>
                <a:ext uri="{FF2B5EF4-FFF2-40B4-BE49-F238E27FC236}">
                  <a16:creationId xmlns:a16="http://schemas.microsoft.com/office/drawing/2014/main" id="{21F9F34C-7901-4A85-A96D-A9A762198C1E}"/>
                </a:ext>
              </a:extLst>
            </p:cNvPr>
            <p:cNvSpPr/>
            <p:nvPr/>
          </p:nvSpPr>
          <p:spPr>
            <a:xfrm>
              <a:off x="5515115" y="2731273"/>
              <a:ext cx="259368" cy="34244"/>
            </a:xfrm>
            <a:custGeom>
              <a:avLst/>
              <a:gdLst>
                <a:gd name="connsiteX0" fmla="*/ 242246 w 259368"/>
                <a:gd name="connsiteY0" fmla="*/ 34244 h 34244"/>
                <a:gd name="connsiteX1" fmla="*/ 17122 w 259368"/>
                <a:gd name="connsiteY1" fmla="*/ 34244 h 34244"/>
                <a:gd name="connsiteX2" fmla="*/ 0 w 259368"/>
                <a:gd name="connsiteY2" fmla="*/ 17122 h 34244"/>
                <a:gd name="connsiteX3" fmla="*/ 17122 w 259368"/>
                <a:gd name="connsiteY3" fmla="*/ 0 h 34244"/>
                <a:gd name="connsiteX4" fmla="*/ 242246 w 259368"/>
                <a:gd name="connsiteY4" fmla="*/ 0 h 34244"/>
                <a:gd name="connsiteX5" fmla="*/ 259369 w 259368"/>
                <a:gd name="connsiteY5" fmla="*/ 17122 h 34244"/>
                <a:gd name="connsiteX6" fmla="*/ 242246 w 259368"/>
                <a:gd name="connsiteY6" fmla="*/ 34244 h 34244"/>
                <a:gd name="connsiteX7" fmla="*/ 242246 w 259368"/>
                <a:gd name="connsiteY7" fmla="*/ 34244 h 3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9368" h="34244">
                  <a:moveTo>
                    <a:pt x="242246" y="34244"/>
                  </a:moveTo>
                  <a:lnTo>
                    <a:pt x="17122" y="34244"/>
                  </a:lnTo>
                  <a:cubicBezTo>
                    <a:pt x="7610" y="34244"/>
                    <a:pt x="0" y="26635"/>
                    <a:pt x="0" y="17122"/>
                  </a:cubicBezTo>
                  <a:cubicBezTo>
                    <a:pt x="0" y="7610"/>
                    <a:pt x="7610" y="0"/>
                    <a:pt x="17122" y="0"/>
                  </a:cubicBezTo>
                  <a:lnTo>
                    <a:pt x="242246" y="0"/>
                  </a:lnTo>
                  <a:cubicBezTo>
                    <a:pt x="251759" y="0"/>
                    <a:pt x="259369" y="7610"/>
                    <a:pt x="259369" y="17122"/>
                  </a:cubicBezTo>
                  <a:cubicBezTo>
                    <a:pt x="259369" y="26635"/>
                    <a:pt x="251759" y="34244"/>
                    <a:pt x="242246" y="34244"/>
                  </a:cubicBezTo>
                  <a:lnTo>
                    <a:pt x="242246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90" name="Forma Livre: Forma 289">
              <a:extLst>
                <a:ext uri="{FF2B5EF4-FFF2-40B4-BE49-F238E27FC236}">
                  <a16:creationId xmlns:a16="http://schemas.microsoft.com/office/drawing/2014/main" id="{2E5EABBE-0E52-4DE9-928F-F3864A659077}"/>
                </a:ext>
              </a:extLst>
            </p:cNvPr>
            <p:cNvSpPr/>
            <p:nvPr/>
          </p:nvSpPr>
          <p:spPr>
            <a:xfrm>
              <a:off x="5515115" y="2808006"/>
              <a:ext cx="259368" cy="34244"/>
            </a:xfrm>
            <a:custGeom>
              <a:avLst/>
              <a:gdLst>
                <a:gd name="connsiteX0" fmla="*/ 242246 w 259368"/>
                <a:gd name="connsiteY0" fmla="*/ 34244 h 34244"/>
                <a:gd name="connsiteX1" fmla="*/ 17122 w 259368"/>
                <a:gd name="connsiteY1" fmla="*/ 34244 h 34244"/>
                <a:gd name="connsiteX2" fmla="*/ 0 w 259368"/>
                <a:gd name="connsiteY2" fmla="*/ 17122 h 34244"/>
                <a:gd name="connsiteX3" fmla="*/ 17122 w 259368"/>
                <a:gd name="connsiteY3" fmla="*/ 0 h 34244"/>
                <a:gd name="connsiteX4" fmla="*/ 242246 w 259368"/>
                <a:gd name="connsiteY4" fmla="*/ 0 h 34244"/>
                <a:gd name="connsiteX5" fmla="*/ 259369 w 259368"/>
                <a:gd name="connsiteY5" fmla="*/ 17122 h 34244"/>
                <a:gd name="connsiteX6" fmla="*/ 242246 w 259368"/>
                <a:gd name="connsiteY6" fmla="*/ 34244 h 34244"/>
                <a:gd name="connsiteX7" fmla="*/ 242246 w 259368"/>
                <a:gd name="connsiteY7" fmla="*/ 34244 h 3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9368" h="34244">
                  <a:moveTo>
                    <a:pt x="242246" y="34244"/>
                  </a:moveTo>
                  <a:lnTo>
                    <a:pt x="17122" y="34244"/>
                  </a:lnTo>
                  <a:cubicBezTo>
                    <a:pt x="7610" y="34244"/>
                    <a:pt x="0" y="26635"/>
                    <a:pt x="0" y="17122"/>
                  </a:cubicBezTo>
                  <a:cubicBezTo>
                    <a:pt x="0" y="7610"/>
                    <a:pt x="7610" y="0"/>
                    <a:pt x="17122" y="0"/>
                  </a:cubicBezTo>
                  <a:lnTo>
                    <a:pt x="242246" y="0"/>
                  </a:lnTo>
                  <a:cubicBezTo>
                    <a:pt x="251759" y="0"/>
                    <a:pt x="259369" y="7610"/>
                    <a:pt x="259369" y="17122"/>
                  </a:cubicBezTo>
                  <a:cubicBezTo>
                    <a:pt x="259369" y="26635"/>
                    <a:pt x="251759" y="34244"/>
                    <a:pt x="242246" y="34244"/>
                  </a:cubicBezTo>
                  <a:lnTo>
                    <a:pt x="242246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91" name="Forma Livre: Forma 290">
              <a:extLst>
                <a:ext uri="{FF2B5EF4-FFF2-40B4-BE49-F238E27FC236}">
                  <a16:creationId xmlns:a16="http://schemas.microsoft.com/office/drawing/2014/main" id="{4A10469E-F4B9-43E6-8EC2-646FBC48347D}"/>
                </a:ext>
              </a:extLst>
            </p:cNvPr>
            <p:cNvSpPr/>
            <p:nvPr/>
          </p:nvSpPr>
          <p:spPr>
            <a:xfrm>
              <a:off x="5515115" y="2884738"/>
              <a:ext cx="259368" cy="34244"/>
            </a:xfrm>
            <a:custGeom>
              <a:avLst/>
              <a:gdLst>
                <a:gd name="connsiteX0" fmla="*/ 242246 w 259368"/>
                <a:gd name="connsiteY0" fmla="*/ 34244 h 34244"/>
                <a:gd name="connsiteX1" fmla="*/ 17122 w 259368"/>
                <a:gd name="connsiteY1" fmla="*/ 34244 h 34244"/>
                <a:gd name="connsiteX2" fmla="*/ 0 w 259368"/>
                <a:gd name="connsiteY2" fmla="*/ 17122 h 34244"/>
                <a:gd name="connsiteX3" fmla="*/ 17122 w 259368"/>
                <a:gd name="connsiteY3" fmla="*/ 0 h 34244"/>
                <a:gd name="connsiteX4" fmla="*/ 242246 w 259368"/>
                <a:gd name="connsiteY4" fmla="*/ 0 h 34244"/>
                <a:gd name="connsiteX5" fmla="*/ 259369 w 259368"/>
                <a:gd name="connsiteY5" fmla="*/ 17122 h 34244"/>
                <a:gd name="connsiteX6" fmla="*/ 242246 w 259368"/>
                <a:gd name="connsiteY6" fmla="*/ 34244 h 34244"/>
                <a:gd name="connsiteX7" fmla="*/ 242246 w 259368"/>
                <a:gd name="connsiteY7" fmla="*/ 34244 h 3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9368" h="34244">
                  <a:moveTo>
                    <a:pt x="242246" y="34244"/>
                  </a:moveTo>
                  <a:lnTo>
                    <a:pt x="17122" y="34244"/>
                  </a:lnTo>
                  <a:cubicBezTo>
                    <a:pt x="7610" y="34244"/>
                    <a:pt x="0" y="26634"/>
                    <a:pt x="0" y="17122"/>
                  </a:cubicBezTo>
                  <a:cubicBezTo>
                    <a:pt x="0" y="7610"/>
                    <a:pt x="7610" y="0"/>
                    <a:pt x="17122" y="0"/>
                  </a:cubicBezTo>
                  <a:lnTo>
                    <a:pt x="242246" y="0"/>
                  </a:lnTo>
                  <a:cubicBezTo>
                    <a:pt x="251759" y="0"/>
                    <a:pt x="259369" y="7610"/>
                    <a:pt x="259369" y="17122"/>
                  </a:cubicBezTo>
                  <a:cubicBezTo>
                    <a:pt x="259369" y="26634"/>
                    <a:pt x="251759" y="34244"/>
                    <a:pt x="242246" y="34244"/>
                  </a:cubicBezTo>
                  <a:lnTo>
                    <a:pt x="242246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92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8460638" y="2606991"/>
            <a:ext cx="379395" cy="384412"/>
            <a:chOff x="8487393" y="2630443"/>
            <a:chExt cx="383662" cy="388736"/>
          </a:xfrm>
          <a:solidFill>
            <a:srgbClr val="B1B1A1"/>
          </a:solidFill>
        </p:grpSpPr>
        <p:sp>
          <p:nvSpPr>
            <p:cNvPr id="293" name="Forma Livre: Forma 292">
              <a:extLst>
                <a:ext uri="{FF2B5EF4-FFF2-40B4-BE49-F238E27FC236}">
                  <a16:creationId xmlns:a16="http://schemas.microsoft.com/office/drawing/2014/main" id="{13682E7A-5635-4E3F-ACB0-2CBE5F25C84E}"/>
                </a:ext>
              </a:extLst>
            </p:cNvPr>
            <p:cNvSpPr/>
            <p:nvPr/>
          </p:nvSpPr>
          <p:spPr>
            <a:xfrm>
              <a:off x="8488027" y="2630443"/>
              <a:ext cx="383028" cy="34244"/>
            </a:xfrm>
            <a:custGeom>
              <a:avLst/>
              <a:gdLst>
                <a:gd name="connsiteX0" fmla="*/ 365907 w 383028"/>
                <a:gd name="connsiteY0" fmla="*/ 34244 h 34244"/>
                <a:gd name="connsiteX1" fmla="*/ 17123 w 383028"/>
                <a:gd name="connsiteY1" fmla="*/ 34244 h 34244"/>
                <a:gd name="connsiteX2" fmla="*/ 0 w 383028"/>
                <a:gd name="connsiteY2" fmla="*/ 17122 h 34244"/>
                <a:gd name="connsiteX3" fmla="*/ 17123 w 383028"/>
                <a:gd name="connsiteY3" fmla="*/ 0 h 34244"/>
                <a:gd name="connsiteX4" fmla="*/ 365907 w 383028"/>
                <a:gd name="connsiteY4" fmla="*/ 0 h 34244"/>
                <a:gd name="connsiteX5" fmla="*/ 383029 w 383028"/>
                <a:gd name="connsiteY5" fmla="*/ 17122 h 34244"/>
                <a:gd name="connsiteX6" fmla="*/ 365907 w 383028"/>
                <a:gd name="connsiteY6" fmla="*/ 34244 h 34244"/>
                <a:gd name="connsiteX7" fmla="*/ 365907 w 383028"/>
                <a:gd name="connsiteY7" fmla="*/ 34244 h 3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3028" h="34244">
                  <a:moveTo>
                    <a:pt x="365907" y="34244"/>
                  </a:moveTo>
                  <a:lnTo>
                    <a:pt x="17123" y="34244"/>
                  </a:lnTo>
                  <a:cubicBezTo>
                    <a:pt x="7610" y="34244"/>
                    <a:pt x="0" y="26635"/>
                    <a:pt x="0" y="17122"/>
                  </a:cubicBezTo>
                  <a:cubicBezTo>
                    <a:pt x="0" y="7610"/>
                    <a:pt x="7610" y="0"/>
                    <a:pt x="17123" y="0"/>
                  </a:cubicBezTo>
                  <a:lnTo>
                    <a:pt x="365907" y="0"/>
                  </a:lnTo>
                  <a:cubicBezTo>
                    <a:pt x="375419" y="0"/>
                    <a:pt x="383029" y="7610"/>
                    <a:pt x="383029" y="17122"/>
                  </a:cubicBezTo>
                  <a:cubicBezTo>
                    <a:pt x="382395" y="26635"/>
                    <a:pt x="375419" y="34244"/>
                    <a:pt x="365907" y="34244"/>
                  </a:cubicBezTo>
                  <a:lnTo>
                    <a:pt x="365907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94" name="Forma Livre: Forma 293">
              <a:extLst>
                <a:ext uri="{FF2B5EF4-FFF2-40B4-BE49-F238E27FC236}">
                  <a16:creationId xmlns:a16="http://schemas.microsoft.com/office/drawing/2014/main" id="{EB187636-4167-4BFD-8F07-E2B839EE137B}"/>
                </a:ext>
              </a:extLst>
            </p:cNvPr>
            <p:cNvSpPr/>
            <p:nvPr/>
          </p:nvSpPr>
          <p:spPr>
            <a:xfrm>
              <a:off x="8488027" y="2719224"/>
              <a:ext cx="305662" cy="34244"/>
            </a:xfrm>
            <a:custGeom>
              <a:avLst/>
              <a:gdLst>
                <a:gd name="connsiteX0" fmla="*/ 288540 w 305662"/>
                <a:gd name="connsiteY0" fmla="*/ 34244 h 34244"/>
                <a:gd name="connsiteX1" fmla="*/ 17123 w 305662"/>
                <a:gd name="connsiteY1" fmla="*/ 34244 h 34244"/>
                <a:gd name="connsiteX2" fmla="*/ 0 w 305662"/>
                <a:gd name="connsiteY2" fmla="*/ 17122 h 34244"/>
                <a:gd name="connsiteX3" fmla="*/ 17123 w 305662"/>
                <a:gd name="connsiteY3" fmla="*/ 0 h 34244"/>
                <a:gd name="connsiteX4" fmla="*/ 288540 w 305662"/>
                <a:gd name="connsiteY4" fmla="*/ 0 h 34244"/>
                <a:gd name="connsiteX5" fmla="*/ 305663 w 305662"/>
                <a:gd name="connsiteY5" fmla="*/ 17122 h 34244"/>
                <a:gd name="connsiteX6" fmla="*/ 288540 w 305662"/>
                <a:gd name="connsiteY6" fmla="*/ 34244 h 34244"/>
                <a:gd name="connsiteX7" fmla="*/ 288540 w 305662"/>
                <a:gd name="connsiteY7" fmla="*/ 34244 h 3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5662" h="34244">
                  <a:moveTo>
                    <a:pt x="288540" y="34244"/>
                  </a:moveTo>
                  <a:lnTo>
                    <a:pt x="17123" y="34244"/>
                  </a:lnTo>
                  <a:cubicBezTo>
                    <a:pt x="7610" y="34244"/>
                    <a:pt x="0" y="26635"/>
                    <a:pt x="0" y="17122"/>
                  </a:cubicBezTo>
                  <a:cubicBezTo>
                    <a:pt x="0" y="7610"/>
                    <a:pt x="7610" y="0"/>
                    <a:pt x="17123" y="0"/>
                  </a:cubicBezTo>
                  <a:lnTo>
                    <a:pt x="288540" y="0"/>
                  </a:lnTo>
                  <a:cubicBezTo>
                    <a:pt x="298052" y="0"/>
                    <a:pt x="305663" y="7610"/>
                    <a:pt x="305663" y="17122"/>
                  </a:cubicBezTo>
                  <a:cubicBezTo>
                    <a:pt x="305029" y="26635"/>
                    <a:pt x="297418" y="34244"/>
                    <a:pt x="288540" y="34244"/>
                  </a:cubicBezTo>
                  <a:lnTo>
                    <a:pt x="288540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95" name="Forma Livre: Forma 294">
              <a:extLst>
                <a:ext uri="{FF2B5EF4-FFF2-40B4-BE49-F238E27FC236}">
                  <a16:creationId xmlns:a16="http://schemas.microsoft.com/office/drawing/2014/main" id="{6439F217-D9E9-470C-B5C0-5313B6C03FA1}"/>
                </a:ext>
              </a:extLst>
            </p:cNvPr>
            <p:cNvSpPr/>
            <p:nvPr/>
          </p:nvSpPr>
          <p:spPr>
            <a:xfrm>
              <a:off x="8488027" y="2808006"/>
              <a:ext cx="383028" cy="34244"/>
            </a:xfrm>
            <a:custGeom>
              <a:avLst/>
              <a:gdLst>
                <a:gd name="connsiteX0" fmla="*/ 365907 w 383028"/>
                <a:gd name="connsiteY0" fmla="*/ 34244 h 34244"/>
                <a:gd name="connsiteX1" fmla="*/ 17123 w 383028"/>
                <a:gd name="connsiteY1" fmla="*/ 34244 h 34244"/>
                <a:gd name="connsiteX2" fmla="*/ 0 w 383028"/>
                <a:gd name="connsiteY2" fmla="*/ 17122 h 34244"/>
                <a:gd name="connsiteX3" fmla="*/ 17123 w 383028"/>
                <a:gd name="connsiteY3" fmla="*/ 0 h 34244"/>
                <a:gd name="connsiteX4" fmla="*/ 365907 w 383028"/>
                <a:gd name="connsiteY4" fmla="*/ 0 h 34244"/>
                <a:gd name="connsiteX5" fmla="*/ 383029 w 383028"/>
                <a:gd name="connsiteY5" fmla="*/ 17122 h 34244"/>
                <a:gd name="connsiteX6" fmla="*/ 365907 w 383028"/>
                <a:gd name="connsiteY6" fmla="*/ 34244 h 34244"/>
                <a:gd name="connsiteX7" fmla="*/ 365907 w 383028"/>
                <a:gd name="connsiteY7" fmla="*/ 34244 h 3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3028" h="34244">
                  <a:moveTo>
                    <a:pt x="365907" y="34244"/>
                  </a:moveTo>
                  <a:lnTo>
                    <a:pt x="17123" y="34244"/>
                  </a:lnTo>
                  <a:cubicBezTo>
                    <a:pt x="7610" y="34244"/>
                    <a:pt x="0" y="26635"/>
                    <a:pt x="0" y="17122"/>
                  </a:cubicBezTo>
                  <a:cubicBezTo>
                    <a:pt x="0" y="7610"/>
                    <a:pt x="7610" y="0"/>
                    <a:pt x="17123" y="0"/>
                  </a:cubicBezTo>
                  <a:lnTo>
                    <a:pt x="365907" y="0"/>
                  </a:lnTo>
                  <a:cubicBezTo>
                    <a:pt x="375419" y="0"/>
                    <a:pt x="383029" y="7610"/>
                    <a:pt x="383029" y="17122"/>
                  </a:cubicBezTo>
                  <a:cubicBezTo>
                    <a:pt x="382395" y="26635"/>
                    <a:pt x="375419" y="34244"/>
                    <a:pt x="365907" y="34244"/>
                  </a:cubicBezTo>
                  <a:lnTo>
                    <a:pt x="365907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96" name="Forma Livre: Forma 295">
              <a:extLst>
                <a:ext uri="{FF2B5EF4-FFF2-40B4-BE49-F238E27FC236}">
                  <a16:creationId xmlns:a16="http://schemas.microsoft.com/office/drawing/2014/main" id="{4B91A7EC-8C3B-4C49-B859-7692CBA97EC9}"/>
                </a:ext>
              </a:extLst>
            </p:cNvPr>
            <p:cNvSpPr/>
            <p:nvPr/>
          </p:nvSpPr>
          <p:spPr>
            <a:xfrm>
              <a:off x="8488027" y="2896153"/>
              <a:ext cx="331028" cy="34244"/>
            </a:xfrm>
            <a:custGeom>
              <a:avLst/>
              <a:gdLst>
                <a:gd name="connsiteX0" fmla="*/ 313906 w 331028"/>
                <a:gd name="connsiteY0" fmla="*/ 34244 h 34244"/>
                <a:gd name="connsiteX1" fmla="*/ 17123 w 331028"/>
                <a:gd name="connsiteY1" fmla="*/ 34244 h 34244"/>
                <a:gd name="connsiteX2" fmla="*/ 0 w 331028"/>
                <a:gd name="connsiteY2" fmla="*/ 17122 h 34244"/>
                <a:gd name="connsiteX3" fmla="*/ 17123 w 331028"/>
                <a:gd name="connsiteY3" fmla="*/ 0 h 34244"/>
                <a:gd name="connsiteX4" fmla="*/ 313906 w 331028"/>
                <a:gd name="connsiteY4" fmla="*/ 0 h 34244"/>
                <a:gd name="connsiteX5" fmla="*/ 331029 w 331028"/>
                <a:gd name="connsiteY5" fmla="*/ 17122 h 34244"/>
                <a:gd name="connsiteX6" fmla="*/ 313906 w 331028"/>
                <a:gd name="connsiteY6" fmla="*/ 34244 h 34244"/>
                <a:gd name="connsiteX7" fmla="*/ 313906 w 331028"/>
                <a:gd name="connsiteY7" fmla="*/ 34244 h 3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1028" h="34244">
                  <a:moveTo>
                    <a:pt x="313906" y="34244"/>
                  </a:moveTo>
                  <a:lnTo>
                    <a:pt x="17123" y="34244"/>
                  </a:lnTo>
                  <a:cubicBezTo>
                    <a:pt x="7610" y="34244"/>
                    <a:pt x="0" y="26635"/>
                    <a:pt x="0" y="17122"/>
                  </a:cubicBezTo>
                  <a:cubicBezTo>
                    <a:pt x="0" y="7610"/>
                    <a:pt x="7610" y="0"/>
                    <a:pt x="17123" y="0"/>
                  </a:cubicBezTo>
                  <a:lnTo>
                    <a:pt x="313906" y="0"/>
                  </a:lnTo>
                  <a:cubicBezTo>
                    <a:pt x="323418" y="0"/>
                    <a:pt x="331029" y="7610"/>
                    <a:pt x="331029" y="17122"/>
                  </a:cubicBezTo>
                  <a:cubicBezTo>
                    <a:pt x="330395" y="26635"/>
                    <a:pt x="322784" y="34244"/>
                    <a:pt x="313906" y="34244"/>
                  </a:cubicBezTo>
                  <a:lnTo>
                    <a:pt x="313906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97" name="Forma Livre: Forma 296">
              <a:extLst>
                <a:ext uri="{FF2B5EF4-FFF2-40B4-BE49-F238E27FC236}">
                  <a16:creationId xmlns:a16="http://schemas.microsoft.com/office/drawing/2014/main" id="{189B0A57-BCE8-42BC-B0C8-46F7368CEACE}"/>
                </a:ext>
              </a:extLst>
            </p:cNvPr>
            <p:cNvSpPr/>
            <p:nvPr/>
          </p:nvSpPr>
          <p:spPr>
            <a:xfrm>
              <a:off x="8487393" y="2984934"/>
              <a:ext cx="179465" cy="34244"/>
            </a:xfrm>
            <a:custGeom>
              <a:avLst/>
              <a:gdLst>
                <a:gd name="connsiteX0" fmla="*/ 162343 w 179465"/>
                <a:gd name="connsiteY0" fmla="*/ 34244 h 34244"/>
                <a:gd name="connsiteX1" fmla="*/ 17123 w 179465"/>
                <a:gd name="connsiteY1" fmla="*/ 34244 h 34244"/>
                <a:gd name="connsiteX2" fmla="*/ 0 w 179465"/>
                <a:gd name="connsiteY2" fmla="*/ 17122 h 34244"/>
                <a:gd name="connsiteX3" fmla="*/ 17123 w 179465"/>
                <a:gd name="connsiteY3" fmla="*/ 0 h 34244"/>
                <a:gd name="connsiteX4" fmla="*/ 162343 w 179465"/>
                <a:gd name="connsiteY4" fmla="*/ 0 h 34244"/>
                <a:gd name="connsiteX5" fmla="*/ 179466 w 179465"/>
                <a:gd name="connsiteY5" fmla="*/ 17122 h 34244"/>
                <a:gd name="connsiteX6" fmla="*/ 162343 w 179465"/>
                <a:gd name="connsiteY6" fmla="*/ 34244 h 34244"/>
                <a:gd name="connsiteX7" fmla="*/ 162343 w 179465"/>
                <a:gd name="connsiteY7" fmla="*/ 34244 h 3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9465" h="34244">
                  <a:moveTo>
                    <a:pt x="162343" y="34244"/>
                  </a:moveTo>
                  <a:lnTo>
                    <a:pt x="17123" y="34244"/>
                  </a:lnTo>
                  <a:cubicBezTo>
                    <a:pt x="7610" y="34244"/>
                    <a:pt x="0" y="26635"/>
                    <a:pt x="0" y="17122"/>
                  </a:cubicBezTo>
                  <a:cubicBezTo>
                    <a:pt x="0" y="7610"/>
                    <a:pt x="7610" y="0"/>
                    <a:pt x="17123" y="0"/>
                  </a:cubicBezTo>
                  <a:lnTo>
                    <a:pt x="162343" y="0"/>
                  </a:lnTo>
                  <a:cubicBezTo>
                    <a:pt x="171856" y="0"/>
                    <a:pt x="179466" y="7610"/>
                    <a:pt x="179466" y="17122"/>
                  </a:cubicBezTo>
                  <a:cubicBezTo>
                    <a:pt x="179466" y="26635"/>
                    <a:pt x="171856" y="34244"/>
                    <a:pt x="162343" y="34244"/>
                  </a:cubicBezTo>
                  <a:lnTo>
                    <a:pt x="162343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98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9474032" y="2606991"/>
            <a:ext cx="378768" cy="384412"/>
            <a:chOff x="9512185" y="2630443"/>
            <a:chExt cx="383028" cy="388736"/>
          </a:xfrm>
          <a:solidFill>
            <a:srgbClr val="B1B1A1"/>
          </a:solidFill>
        </p:grpSpPr>
        <p:sp>
          <p:nvSpPr>
            <p:cNvPr id="299" name="Forma Livre: Forma 298">
              <a:extLst>
                <a:ext uri="{FF2B5EF4-FFF2-40B4-BE49-F238E27FC236}">
                  <a16:creationId xmlns:a16="http://schemas.microsoft.com/office/drawing/2014/main" id="{D9E5E0B4-686B-46DC-A4AE-6137C4A8DF05}"/>
                </a:ext>
              </a:extLst>
            </p:cNvPr>
            <p:cNvSpPr/>
            <p:nvPr/>
          </p:nvSpPr>
          <p:spPr>
            <a:xfrm>
              <a:off x="9512185" y="2630443"/>
              <a:ext cx="383028" cy="34244"/>
            </a:xfrm>
            <a:custGeom>
              <a:avLst/>
              <a:gdLst>
                <a:gd name="connsiteX0" fmla="*/ 365907 w 383028"/>
                <a:gd name="connsiteY0" fmla="*/ 34244 h 34244"/>
                <a:gd name="connsiteX1" fmla="*/ 17123 w 383028"/>
                <a:gd name="connsiteY1" fmla="*/ 34244 h 34244"/>
                <a:gd name="connsiteX2" fmla="*/ 0 w 383028"/>
                <a:gd name="connsiteY2" fmla="*/ 17122 h 34244"/>
                <a:gd name="connsiteX3" fmla="*/ 17123 w 383028"/>
                <a:gd name="connsiteY3" fmla="*/ 0 h 34244"/>
                <a:gd name="connsiteX4" fmla="*/ 365907 w 383028"/>
                <a:gd name="connsiteY4" fmla="*/ 0 h 34244"/>
                <a:gd name="connsiteX5" fmla="*/ 383029 w 383028"/>
                <a:gd name="connsiteY5" fmla="*/ 17122 h 34244"/>
                <a:gd name="connsiteX6" fmla="*/ 365907 w 383028"/>
                <a:gd name="connsiteY6" fmla="*/ 34244 h 34244"/>
                <a:gd name="connsiteX7" fmla="*/ 365907 w 383028"/>
                <a:gd name="connsiteY7" fmla="*/ 34244 h 3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3028" h="34244">
                  <a:moveTo>
                    <a:pt x="365907" y="34244"/>
                  </a:moveTo>
                  <a:lnTo>
                    <a:pt x="17123" y="34244"/>
                  </a:lnTo>
                  <a:cubicBezTo>
                    <a:pt x="7610" y="34244"/>
                    <a:pt x="0" y="26635"/>
                    <a:pt x="0" y="17122"/>
                  </a:cubicBezTo>
                  <a:cubicBezTo>
                    <a:pt x="0" y="7610"/>
                    <a:pt x="7610" y="0"/>
                    <a:pt x="17123" y="0"/>
                  </a:cubicBezTo>
                  <a:lnTo>
                    <a:pt x="365907" y="0"/>
                  </a:lnTo>
                  <a:cubicBezTo>
                    <a:pt x="375419" y="0"/>
                    <a:pt x="383029" y="7610"/>
                    <a:pt x="383029" y="17122"/>
                  </a:cubicBezTo>
                  <a:cubicBezTo>
                    <a:pt x="382395" y="26635"/>
                    <a:pt x="374785" y="34244"/>
                    <a:pt x="365907" y="34244"/>
                  </a:cubicBezTo>
                  <a:lnTo>
                    <a:pt x="365907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00" name="Forma Livre: Forma 299">
              <a:extLst>
                <a:ext uri="{FF2B5EF4-FFF2-40B4-BE49-F238E27FC236}">
                  <a16:creationId xmlns:a16="http://schemas.microsoft.com/office/drawing/2014/main" id="{399D219E-3832-430B-943C-DEF8A16354DC}"/>
                </a:ext>
              </a:extLst>
            </p:cNvPr>
            <p:cNvSpPr/>
            <p:nvPr/>
          </p:nvSpPr>
          <p:spPr>
            <a:xfrm>
              <a:off x="9550234" y="2719224"/>
              <a:ext cx="305662" cy="34244"/>
            </a:xfrm>
            <a:custGeom>
              <a:avLst/>
              <a:gdLst>
                <a:gd name="connsiteX0" fmla="*/ 288540 w 305662"/>
                <a:gd name="connsiteY0" fmla="*/ 34244 h 34244"/>
                <a:gd name="connsiteX1" fmla="*/ 17123 w 305662"/>
                <a:gd name="connsiteY1" fmla="*/ 34244 h 34244"/>
                <a:gd name="connsiteX2" fmla="*/ 0 w 305662"/>
                <a:gd name="connsiteY2" fmla="*/ 17122 h 34244"/>
                <a:gd name="connsiteX3" fmla="*/ 17123 w 305662"/>
                <a:gd name="connsiteY3" fmla="*/ 0 h 34244"/>
                <a:gd name="connsiteX4" fmla="*/ 288540 w 305662"/>
                <a:gd name="connsiteY4" fmla="*/ 0 h 34244"/>
                <a:gd name="connsiteX5" fmla="*/ 305663 w 305662"/>
                <a:gd name="connsiteY5" fmla="*/ 17122 h 34244"/>
                <a:gd name="connsiteX6" fmla="*/ 288540 w 305662"/>
                <a:gd name="connsiteY6" fmla="*/ 34244 h 34244"/>
                <a:gd name="connsiteX7" fmla="*/ 288540 w 305662"/>
                <a:gd name="connsiteY7" fmla="*/ 34244 h 3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5662" h="34244">
                  <a:moveTo>
                    <a:pt x="288540" y="34244"/>
                  </a:moveTo>
                  <a:lnTo>
                    <a:pt x="17123" y="34244"/>
                  </a:lnTo>
                  <a:cubicBezTo>
                    <a:pt x="7610" y="34244"/>
                    <a:pt x="0" y="26635"/>
                    <a:pt x="0" y="17122"/>
                  </a:cubicBezTo>
                  <a:cubicBezTo>
                    <a:pt x="0" y="7610"/>
                    <a:pt x="7610" y="0"/>
                    <a:pt x="17123" y="0"/>
                  </a:cubicBezTo>
                  <a:lnTo>
                    <a:pt x="288540" y="0"/>
                  </a:lnTo>
                  <a:cubicBezTo>
                    <a:pt x="298052" y="0"/>
                    <a:pt x="305663" y="7610"/>
                    <a:pt x="305663" y="17122"/>
                  </a:cubicBezTo>
                  <a:cubicBezTo>
                    <a:pt x="305663" y="26635"/>
                    <a:pt x="298052" y="34244"/>
                    <a:pt x="288540" y="34244"/>
                  </a:cubicBezTo>
                  <a:lnTo>
                    <a:pt x="288540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01" name="Forma Livre: Forma 300">
              <a:extLst>
                <a:ext uri="{FF2B5EF4-FFF2-40B4-BE49-F238E27FC236}">
                  <a16:creationId xmlns:a16="http://schemas.microsoft.com/office/drawing/2014/main" id="{64381101-E7AE-481E-8DB0-19CC4B466418}"/>
                </a:ext>
              </a:extLst>
            </p:cNvPr>
            <p:cNvSpPr/>
            <p:nvPr/>
          </p:nvSpPr>
          <p:spPr>
            <a:xfrm>
              <a:off x="9512185" y="2808006"/>
              <a:ext cx="383028" cy="34244"/>
            </a:xfrm>
            <a:custGeom>
              <a:avLst/>
              <a:gdLst>
                <a:gd name="connsiteX0" fmla="*/ 365907 w 383028"/>
                <a:gd name="connsiteY0" fmla="*/ 34244 h 34244"/>
                <a:gd name="connsiteX1" fmla="*/ 17123 w 383028"/>
                <a:gd name="connsiteY1" fmla="*/ 34244 h 34244"/>
                <a:gd name="connsiteX2" fmla="*/ 0 w 383028"/>
                <a:gd name="connsiteY2" fmla="*/ 17122 h 34244"/>
                <a:gd name="connsiteX3" fmla="*/ 17123 w 383028"/>
                <a:gd name="connsiteY3" fmla="*/ 0 h 34244"/>
                <a:gd name="connsiteX4" fmla="*/ 365907 w 383028"/>
                <a:gd name="connsiteY4" fmla="*/ 0 h 34244"/>
                <a:gd name="connsiteX5" fmla="*/ 383029 w 383028"/>
                <a:gd name="connsiteY5" fmla="*/ 17122 h 34244"/>
                <a:gd name="connsiteX6" fmla="*/ 365907 w 383028"/>
                <a:gd name="connsiteY6" fmla="*/ 34244 h 34244"/>
                <a:gd name="connsiteX7" fmla="*/ 365907 w 383028"/>
                <a:gd name="connsiteY7" fmla="*/ 34244 h 3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3028" h="34244">
                  <a:moveTo>
                    <a:pt x="365907" y="34244"/>
                  </a:moveTo>
                  <a:lnTo>
                    <a:pt x="17123" y="34244"/>
                  </a:lnTo>
                  <a:cubicBezTo>
                    <a:pt x="7610" y="34244"/>
                    <a:pt x="0" y="26635"/>
                    <a:pt x="0" y="17122"/>
                  </a:cubicBezTo>
                  <a:cubicBezTo>
                    <a:pt x="0" y="7610"/>
                    <a:pt x="7610" y="0"/>
                    <a:pt x="17123" y="0"/>
                  </a:cubicBezTo>
                  <a:lnTo>
                    <a:pt x="365907" y="0"/>
                  </a:lnTo>
                  <a:cubicBezTo>
                    <a:pt x="375419" y="0"/>
                    <a:pt x="383029" y="7610"/>
                    <a:pt x="383029" y="17122"/>
                  </a:cubicBezTo>
                  <a:cubicBezTo>
                    <a:pt x="382395" y="26635"/>
                    <a:pt x="374785" y="34244"/>
                    <a:pt x="365907" y="34244"/>
                  </a:cubicBezTo>
                  <a:lnTo>
                    <a:pt x="365907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02" name="Forma Livre: Forma 301">
              <a:extLst>
                <a:ext uri="{FF2B5EF4-FFF2-40B4-BE49-F238E27FC236}">
                  <a16:creationId xmlns:a16="http://schemas.microsoft.com/office/drawing/2014/main" id="{54B060E8-F52C-4D4D-8629-D41ED273DA86}"/>
                </a:ext>
              </a:extLst>
            </p:cNvPr>
            <p:cNvSpPr/>
            <p:nvPr/>
          </p:nvSpPr>
          <p:spPr>
            <a:xfrm>
              <a:off x="9537551" y="2896153"/>
              <a:ext cx="331028" cy="34244"/>
            </a:xfrm>
            <a:custGeom>
              <a:avLst/>
              <a:gdLst>
                <a:gd name="connsiteX0" fmla="*/ 313906 w 331028"/>
                <a:gd name="connsiteY0" fmla="*/ 34244 h 34244"/>
                <a:gd name="connsiteX1" fmla="*/ 17123 w 331028"/>
                <a:gd name="connsiteY1" fmla="*/ 34244 h 34244"/>
                <a:gd name="connsiteX2" fmla="*/ 0 w 331028"/>
                <a:gd name="connsiteY2" fmla="*/ 17122 h 34244"/>
                <a:gd name="connsiteX3" fmla="*/ 17123 w 331028"/>
                <a:gd name="connsiteY3" fmla="*/ 0 h 34244"/>
                <a:gd name="connsiteX4" fmla="*/ 313906 w 331028"/>
                <a:gd name="connsiteY4" fmla="*/ 0 h 34244"/>
                <a:gd name="connsiteX5" fmla="*/ 331029 w 331028"/>
                <a:gd name="connsiteY5" fmla="*/ 17122 h 34244"/>
                <a:gd name="connsiteX6" fmla="*/ 313906 w 331028"/>
                <a:gd name="connsiteY6" fmla="*/ 34244 h 34244"/>
                <a:gd name="connsiteX7" fmla="*/ 313906 w 331028"/>
                <a:gd name="connsiteY7" fmla="*/ 34244 h 3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1028" h="34244">
                  <a:moveTo>
                    <a:pt x="313906" y="34244"/>
                  </a:moveTo>
                  <a:lnTo>
                    <a:pt x="17123" y="34244"/>
                  </a:lnTo>
                  <a:cubicBezTo>
                    <a:pt x="7610" y="34244"/>
                    <a:pt x="0" y="26635"/>
                    <a:pt x="0" y="17122"/>
                  </a:cubicBezTo>
                  <a:cubicBezTo>
                    <a:pt x="0" y="7610"/>
                    <a:pt x="7610" y="0"/>
                    <a:pt x="17123" y="0"/>
                  </a:cubicBezTo>
                  <a:lnTo>
                    <a:pt x="313906" y="0"/>
                  </a:lnTo>
                  <a:cubicBezTo>
                    <a:pt x="323418" y="0"/>
                    <a:pt x="331029" y="7610"/>
                    <a:pt x="331029" y="17122"/>
                  </a:cubicBezTo>
                  <a:cubicBezTo>
                    <a:pt x="331029" y="26635"/>
                    <a:pt x="323418" y="34244"/>
                    <a:pt x="313906" y="34244"/>
                  </a:cubicBezTo>
                  <a:lnTo>
                    <a:pt x="313906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03" name="Forma Livre: Forma 302">
              <a:extLst>
                <a:ext uri="{FF2B5EF4-FFF2-40B4-BE49-F238E27FC236}">
                  <a16:creationId xmlns:a16="http://schemas.microsoft.com/office/drawing/2014/main" id="{3E1DF9AB-9D16-41CF-83E1-3C39C2DEEC7F}"/>
                </a:ext>
              </a:extLst>
            </p:cNvPr>
            <p:cNvSpPr/>
            <p:nvPr/>
          </p:nvSpPr>
          <p:spPr>
            <a:xfrm>
              <a:off x="9613650" y="2984934"/>
              <a:ext cx="179465" cy="34244"/>
            </a:xfrm>
            <a:custGeom>
              <a:avLst/>
              <a:gdLst>
                <a:gd name="connsiteX0" fmla="*/ 162344 w 179465"/>
                <a:gd name="connsiteY0" fmla="*/ 34244 h 34244"/>
                <a:gd name="connsiteX1" fmla="*/ 17123 w 179465"/>
                <a:gd name="connsiteY1" fmla="*/ 34244 h 34244"/>
                <a:gd name="connsiteX2" fmla="*/ 0 w 179465"/>
                <a:gd name="connsiteY2" fmla="*/ 17122 h 34244"/>
                <a:gd name="connsiteX3" fmla="*/ 17123 w 179465"/>
                <a:gd name="connsiteY3" fmla="*/ 0 h 34244"/>
                <a:gd name="connsiteX4" fmla="*/ 162344 w 179465"/>
                <a:gd name="connsiteY4" fmla="*/ 0 h 34244"/>
                <a:gd name="connsiteX5" fmla="*/ 179466 w 179465"/>
                <a:gd name="connsiteY5" fmla="*/ 17122 h 34244"/>
                <a:gd name="connsiteX6" fmla="*/ 162344 w 179465"/>
                <a:gd name="connsiteY6" fmla="*/ 34244 h 34244"/>
                <a:gd name="connsiteX7" fmla="*/ 162344 w 179465"/>
                <a:gd name="connsiteY7" fmla="*/ 34244 h 3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9465" h="34244">
                  <a:moveTo>
                    <a:pt x="162344" y="34244"/>
                  </a:moveTo>
                  <a:lnTo>
                    <a:pt x="17123" y="34244"/>
                  </a:lnTo>
                  <a:cubicBezTo>
                    <a:pt x="7610" y="34244"/>
                    <a:pt x="0" y="26635"/>
                    <a:pt x="0" y="17122"/>
                  </a:cubicBezTo>
                  <a:cubicBezTo>
                    <a:pt x="0" y="7610"/>
                    <a:pt x="7610" y="0"/>
                    <a:pt x="17123" y="0"/>
                  </a:cubicBezTo>
                  <a:lnTo>
                    <a:pt x="162344" y="0"/>
                  </a:lnTo>
                  <a:cubicBezTo>
                    <a:pt x="171856" y="0"/>
                    <a:pt x="179466" y="7610"/>
                    <a:pt x="179466" y="17122"/>
                  </a:cubicBezTo>
                  <a:cubicBezTo>
                    <a:pt x="179466" y="26635"/>
                    <a:pt x="171222" y="34244"/>
                    <a:pt x="162344" y="34244"/>
                  </a:cubicBezTo>
                  <a:lnTo>
                    <a:pt x="162344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04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10501850" y="2606991"/>
            <a:ext cx="378768" cy="384412"/>
            <a:chOff x="10551563" y="2630443"/>
            <a:chExt cx="383028" cy="388736"/>
          </a:xfrm>
          <a:solidFill>
            <a:srgbClr val="B1B1A1"/>
          </a:solidFill>
        </p:grpSpPr>
        <p:sp>
          <p:nvSpPr>
            <p:cNvPr id="305" name="Forma Livre: Forma 304">
              <a:extLst>
                <a:ext uri="{FF2B5EF4-FFF2-40B4-BE49-F238E27FC236}">
                  <a16:creationId xmlns:a16="http://schemas.microsoft.com/office/drawing/2014/main" id="{6257ED62-17D0-4AE7-B2CC-E3C1112B9AC6}"/>
                </a:ext>
              </a:extLst>
            </p:cNvPr>
            <p:cNvSpPr/>
            <p:nvPr/>
          </p:nvSpPr>
          <p:spPr>
            <a:xfrm>
              <a:off x="10551563" y="2630443"/>
              <a:ext cx="383028" cy="34244"/>
            </a:xfrm>
            <a:custGeom>
              <a:avLst/>
              <a:gdLst>
                <a:gd name="connsiteX0" fmla="*/ 365907 w 383028"/>
                <a:gd name="connsiteY0" fmla="*/ 34244 h 34244"/>
                <a:gd name="connsiteX1" fmla="*/ 17123 w 383028"/>
                <a:gd name="connsiteY1" fmla="*/ 34244 h 34244"/>
                <a:gd name="connsiteX2" fmla="*/ 0 w 383028"/>
                <a:gd name="connsiteY2" fmla="*/ 17122 h 34244"/>
                <a:gd name="connsiteX3" fmla="*/ 17123 w 383028"/>
                <a:gd name="connsiteY3" fmla="*/ 0 h 34244"/>
                <a:gd name="connsiteX4" fmla="*/ 365907 w 383028"/>
                <a:gd name="connsiteY4" fmla="*/ 0 h 34244"/>
                <a:gd name="connsiteX5" fmla="*/ 383029 w 383028"/>
                <a:gd name="connsiteY5" fmla="*/ 17122 h 34244"/>
                <a:gd name="connsiteX6" fmla="*/ 365907 w 383028"/>
                <a:gd name="connsiteY6" fmla="*/ 34244 h 34244"/>
                <a:gd name="connsiteX7" fmla="*/ 365907 w 383028"/>
                <a:gd name="connsiteY7" fmla="*/ 34244 h 3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3028" h="34244">
                  <a:moveTo>
                    <a:pt x="365907" y="34244"/>
                  </a:moveTo>
                  <a:lnTo>
                    <a:pt x="17123" y="34244"/>
                  </a:lnTo>
                  <a:cubicBezTo>
                    <a:pt x="7610" y="34244"/>
                    <a:pt x="0" y="26635"/>
                    <a:pt x="0" y="17122"/>
                  </a:cubicBezTo>
                  <a:cubicBezTo>
                    <a:pt x="0" y="7610"/>
                    <a:pt x="7610" y="0"/>
                    <a:pt x="17123" y="0"/>
                  </a:cubicBezTo>
                  <a:lnTo>
                    <a:pt x="365907" y="0"/>
                  </a:lnTo>
                  <a:cubicBezTo>
                    <a:pt x="375419" y="0"/>
                    <a:pt x="383029" y="7610"/>
                    <a:pt x="383029" y="17122"/>
                  </a:cubicBezTo>
                  <a:cubicBezTo>
                    <a:pt x="382395" y="26635"/>
                    <a:pt x="374785" y="34244"/>
                    <a:pt x="365907" y="34244"/>
                  </a:cubicBezTo>
                  <a:lnTo>
                    <a:pt x="365907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06" name="Forma Livre: Forma 305">
              <a:extLst>
                <a:ext uri="{FF2B5EF4-FFF2-40B4-BE49-F238E27FC236}">
                  <a16:creationId xmlns:a16="http://schemas.microsoft.com/office/drawing/2014/main" id="{1C71A816-0E7D-4589-9454-63F8010B67E7}"/>
                </a:ext>
              </a:extLst>
            </p:cNvPr>
            <p:cNvSpPr/>
            <p:nvPr/>
          </p:nvSpPr>
          <p:spPr>
            <a:xfrm>
              <a:off x="10628930" y="2719224"/>
              <a:ext cx="305661" cy="34244"/>
            </a:xfrm>
            <a:custGeom>
              <a:avLst/>
              <a:gdLst>
                <a:gd name="connsiteX0" fmla="*/ 288540 w 305661"/>
                <a:gd name="connsiteY0" fmla="*/ 34244 h 34244"/>
                <a:gd name="connsiteX1" fmla="*/ 17122 w 305661"/>
                <a:gd name="connsiteY1" fmla="*/ 34244 h 34244"/>
                <a:gd name="connsiteX2" fmla="*/ 0 w 305661"/>
                <a:gd name="connsiteY2" fmla="*/ 17122 h 34244"/>
                <a:gd name="connsiteX3" fmla="*/ 17122 w 305661"/>
                <a:gd name="connsiteY3" fmla="*/ 0 h 34244"/>
                <a:gd name="connsiteX4" fmla="*/ 288540 w 305661"/>
                <a:gd name="connsiteY4" fmla="*/ 0 h 34244"/>
                <a:gd name="connsiteX5" fmla="*/ 305662 w 305661"/>
                <a:gd name="connsiteY5" fmla="*/ 17122 h 34244"/>
                <a:gd name="connsiteX6" fmla="*/ 288540 w 305661"/>
                <a:gd name="connsiteY6" fmla="*/ 34244 h 34244"/>
                <a:gd name="connsiteX7" fmla="*/ 288540 w 305661"/>
                <a:gd name="connsiteY7" fmla="*/ 34244 h 3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5661" h="34244">
                  <a:moveTo>
                    <a:pt x="288540" y="34244"/>
                  </a:moveTo>
                  <a:lnTo>
                    <a:pt x="17122" y="34244"/>
                  </a:lnTo>
                  <a:cubicBezTo>
                    <a:pt x="7610" y="34244"/>
                    <a:pt x="0" y="26635"/>
                    <a:pt x="0" y="17122"/>
                  </a:cubicBezTo>
                  <a:cubicBezTo>
                    <a:pt x="0" y="7610"/>
                    <a:pt x="7610" y="0"/>
                    <a:pt x="17122" y="0"/>
                  </a:cubicBezTo>
                  <a:lnTo>
                    <a:pt x="288540" y="0"/>
                  </a:lnTo>
                  <a:cubicBezTo>
                    <a:pt x="298052" y="0"/>
                    <a:pt x="305662" y="7610"/>
                    <a:pt x="305662" y="17122"/>
                  </a:cubicBezTo>
                  <a:cubicBezTo>
                    <a:pt x="305028" y="26635"/>
                    <a:pt x="297417" y="34244"/>
                    <a:pt x="288540" y="34244"/>
                  </a:cubicBezTo>
                  <a:lnTo>
                    <a:pt x="288540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07" name="Forma Livre: Forma 306">
              <a:extLst>
                <a:ext uri="{FF2B5EF4-FFF2-40B4-BE49-F238E27FC236}">
                  <a16:creationId xmlns:a16="http://schemas.microsoft.com/office/drawing/2014/main" id="{CEFE572D-FCF5-4018-844D-3D22BF0D5F3E}"/>
                </a:ext>
              </a:extLst>
            </p:cNvPr>
            <p:cNvSpPr/>
            <p:nvPr/>
          </p:nvSpPr>
          <p:spPr>
            <a:xfrm>
              <a:off x="10551563" y="2808006"/>
              <a:ext cx="383028" cy="34244"/>
            </a:xfrm>
            <a:custGeom>
              <a:avLst/>
              <a:gdLst>
                <a:gd name="connsiteX0" fmla="*/ 365907 w 383028"/>
                <a:gd name="connsiteY0" fmla="*/ 34244 h 34244"/>
                <a:gd name="connsiteX1" fmla="*/ 17123 w 383028"/>
                <a:gd name="connsiteY1" fmla="*/ 34244 h 34244"/>
                <a:gd name="connsiteX2" fmla="*/ 0 w 383028"/>
                <a:gd name="connsiteY2" fmla="*/ 17122 h 34244"/>
                <a:gd name="connsiteX3" fmla="*/ 17123 w 383028"/>
                <a:gd name="connsiteY3" fmla="*/ 0 h 34244"/>
                <a:gd name="connsiteX4" fmla="*/ 365907 w 383028"/>
                <a:gd name="connsiteY4" fmla="*/ 0 h 34244"/>
                <a:gd name="connsiteX5" fmla="*/ 383029 w 383028"/>
                <a:gd name="connsiteY5" fmla="*/ 17122 h 34244"/>
                <a:gd name="connsiteX6" fmla="*/ 365907 w 383028"/>
                <a:gd name="connsiteY6" fmla="*/ 34244 h 34244"/>
                <a:gd name="connsiteX7" fmla="*/ 365907 w 383028"/>
                <a:gd name="connsiteY7" fmla="*/ 34244 h 3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3028" h="34244">
                  <a:moveTo>
                    <a:pt x="365907" y="34244"/>
                  </a:moveTo>
                  <a:lnTo>
                    <a:pt x="17123" y="34244"/>
                  </a:lnTo>
                  <a:cubicBezTo>
                    <a:pt x="7610" y="34244"/>
                    <a:pt x="0" y="26635"/>
                    <a:pt x="0" y="17122"/>
                  </a:cubicBezTo>
                  <a:cubicBezTo>
                    <a:pt x="0" y="7610"/>
                    <a:pt x="7610" y="0"/>
                    <a:pt x="17123" y="0"/>
                  </a:cubicBezTo>
                  <a:lnTo>
                    <a:pt x="365907" y="0"/>
                  </a:lnTo>
                  <a:cubicBezTo>
                    <a:pt x="375419" y="0"/>
                    <a:pt x="383029" y="7610"/>
                    <a:pt x="383029" y="17122"/>
                  </a:cubicBezTo>
                  <a:cubicBezTo>
                    <a:pt x="382395" y="26635"/>
                    <a:pt x="374785" y="34244"/>
                    <a:pt x="365907" y="34244"/>
                  </a:cubicBezTo>
                  <a:lnTo>
                    <a:pt x="365907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08" name="Forma Livre: Forma 307">
              <a:extLst>
                <a:ext uri="{FF2B5EF4-FFF2-40B4-BE49-F238E27FC236}">
                  <a16:creationId xmlns:a16="http://schemas.microsoft.com/office/drawing/2014/main" id="{37F8C96B-9BF9-49F7-BB4D-ADCCF33EFE97}"/>
                </a:ext>
              </a:extLst>
            </p:cNvPr>
            <p:cNvSpPr/>
            <p:nvPr/>
          </p:nvSpPr>
          <p:spPr>
            <a:xfrm>
              <a:off x="10603564" y="2896153"/>
              <a:ext cx="331027" cy="34244"/>
            </a:xfrm>
            <a:custGeom>
              <a:avLst/>
              <a:gdLst>
                <a:gd name="connsiteX0" fmla="*/ 313906 w 331027"/>
                <a:gd name="connsiteY0" fmla="*/ 34244 h 34244"/>
                <a:gd name="connsiteX1" fmla="*/ 17122 w 331027"/>
                <a:gd name="connsiteY1" fmla="*/ 34244 h 34244"/>
                <a:gd name="connsiteX2" fmla="*/ 0 w 331027"/>
                <a:gd name="connsiteY2" fmla="*/ 17122 h 34244"/>
                <a:gd name="connsiteX3" fmla="*/ 17122 w 331027"/>
                <a:gd name="connsiteY3" fmla="*/ 0 h 34244"/>
                <a:gd name="connsiteX4" fmla="*/ 313906 w 331027"/>
                <a:gd name="connsiteY4" fmla="*/ 0 h 34244"/>
                <a:gd name="connsiteX5" fmla="*/ 331028 w 331027"/>
                <a:gd name="connsiteY5" fmla="*/ 17122 h 34244"/>
                <a:gd name="connsiteX6" fmla="*/ 313906 w 331027"/>
                <a:gd name="connsiteY6" fmla="*/ 34244 h 34244"/>
                <a:gd name="connsiteX7" fmla="*/ 313906 w 331027"/>
                <a:gd name="connsiteY7" fmla="*/ 34244 h 3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1027" h="34244">
                  <a:moveTo>
                    <a:pt x="313906" y="34244"/>
                  </a:moveTo>
                  <a:lnTo>
                    <a:pt x="17122" y="34244"/>
                  </a:lnTo>
                  <a:cubicBezTo>
                    <a:pt x="7610" y="34244"/>
                    <a:pt x="0" y="26635"/>
                    <a:pt x="0" y="17122"/>
                  </a:cubicBezTo>
                  <a:cubicBezTo>
                    <a:pt x="0" y="7610"/>
                    <a:pt x="7610" y="0"/>
                    <a:pt x="17122" y="0"/>
                  </a:cubicBezTo>
                  <a:lnTo>
                    <a:pt x="313906" y="0"/>
                  </a:lnTo>
                  <a:cubicBezTo>
                    <a:pt x="323418" y="0"/>
                    <a:pt x="331028" y="7610"/>
                    <a:pt x="331028" y="17122"/>
                  </a:cubicBezTo>
                  <a:cubicBezTo>
                    <a:pt x="330394" y="26635"/>
                    <a:pt x="322784" y="34244"/>
                    <a:pt x="313906" y="34244"/>
                  </a:cubicBezTo>
                  <a:lnTo>
                    <a:pt x="313906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09" name="Forma Livre: Forma 308">
              <a:extLst>
                <a:ext uri="{FF2B5EF4-FFF2-40B4-BE49-F238E27FC236}">
                  <a16:creationId xmlns:a16="http://schemas.microsoft.com/office/drawing/2014/main" id="{1BECA224-9492-4695-AFF4-D2328893E9A3}"/>
                </a:ext>
              </a:extLst>
            </p:cNvPr>
            <p:cNvSpPr/>
            <p:nvPr/>
          </p:nvSpPr>
          <p:spPr>
            <a:xfrm>
              <a:off x="10755126" y="2984934"/>
              <a:ext cx="179465" cy="34244"/>
            </a:xfrm>
            <a:custGeom>
              <a:avLst/>
              <a:gdLst>
                <a:gd name="connsiteX0" fmla="*/ 162344 w 179465"/>
                <a:gd name="connsiteY0" fmla="*/ 34244 h 34244"/>
                <a:gd name="connsiteX1" fmla="*/ 17123 w 179465"/>
                <a:gd name="connsiteY1" fmla="*/ 34244 h 34244"/>
                <a:gd name="connsiteX2" fmla="*/ 0 w 179465"/>
                <a:gd name="connsiteY2" fmla="*/ 17122 h 34244"/>
                <a:gd name="connsiteX3" fmla="*/ 17123 w 179465"/>
                <a:gd name="connsiteY3" fmla="*/ 0 h 34244"/>
                <a:gd name="connsiteX4" fmla="*/ 162344 w 179465"/>
                <a:gd name="connsiteY4" fmla="*/ 0 h 34244"/>
                <a:gd name="connsiteX5" fmla="*/ 179466 w 179465"/>
                <a:gd name="connsiteY5" fmla="*/ 17122 h 34244"/>
                <a:gd name="connsiteX6" fmla="*/ 162344 w 179465"/>
                <a:gd name="connsiteY6" fmla="*/ 34244 h 34244"/>
                <a:gd name="connsiteX7" fmla="*/ 162344 w 179465"/>
                <a:gd name="connsiteY7" fmla="*/ 34244 h 3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9465" h="34244">
                  <a:moveTo>
                    <a:pt x="162344" y="34244"/>
                  </a:moveTo>
                  <a:lnTo>
                    <a:pt x="17123" y="34244"/>
                  </a:lnTo>
                  <a:cubicBezTo>
                    <a:pt x="7610" y="34244"/>
                    <a:pt x="0" y="26635"/>
                    <a:pt x="0" y="17122"/>
                  </a:cubicBezTo>
                  <a:cubicBezTo>
                    <a:pt x="0" y="7610"/>
                    <a:pt x="7610" y="0"/>
                    <a:pt x="17123" y="0"/>
                  </a:cubicBezTo>
                  <a:lnTo>
                    <a:pt x="162344" y="0"/>
                  </a:lnTo>
                  <a:cubicBezTo>
                    <a:pt x="171856" y="0"/>
                    <a:pt x="179466" y="7610"/>
                    <a:pt x="179466" y="17122"/>
                  </a:cubicBezTo>
                  <a:cubicBezTo>
                    <a:pt x="179466" y="26635"/>
                    <a:pt x="171222" y="34244"/>
                    <a:pt x="162344" y="34244"/>
                  </a:cubicBezTo>
                  <a:lnTo>
                    <a:pt x="162344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10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6409392" y="2606991"/>
            <a:ext cx="378768" cy="384412"/>
            <a:chOff x="6413076" y="2630443"/>
            <a:chExt cx="383028" cy="388736"/>
          </a:xfrm>
          <a:solidFill>
            <a:srgbClr val="B1B1A1"/>
          </a:solidFill>
        </p:grpSpPr>
        <p:sp>
          <p:nvSpPr>
            <p:cNvPr id="311" name="Forma Livre: Forma 310">
              <a:extLst>
                <a:ext uri="{FF2B5EF4-FFF2-40B4-BE49-F238E27FC236}">
                  <a16:creationId xmlns:a16="http://schemas.microsoft.com/office/drawing/2014/main" id="{17AEF8B3-DB32-4A91-AA44-68373ACE354A}"/>
                </a:ext>
              </a:extLst>
            </p:cNvPr>
            <p:cNvSpPr/>
            <p:nvPr/>
          </p:nvSpPr>
          <p:spPr>
            <a:xfrm>
              <a:off x="6554493" y="2630443"/>
              <a:ext cx="241612" cy="34244"/>
            </a:xfrm>
            <a:custGeom>
              <a:avLst/>
              <a:gdLst>
                <a:gd name="connsiteX0" fmla="*/ 224491 w 241612"/>
                <a:gd name="connsiteY0" fmla="*/ 34244 h 34244"/>
                <a:gd name="connsiteX1" fmla="*/ 17122 w 241612"/>
                <a:gd name="connsiteY1" fmla="*/ 34244 h 34244"/>
                <a:gd name="connsiteX2" fmla="*/ 0 w 241612"/>
                <a:gd name="connsiteY2" fmla="*/ 17122 h 34244"/>
                <a:gd name="connsiteX3" fmla="*/ 17122 w 241612"/>
                <a:gd name="connsiteY3" fmla="*/ 0 h 34244"/>
                <a:gd name="connsiteX4" fmla="*/ 224491 w 241612"/>
                <a:gd name="connsiteY4" fmla="*/ 0 h 34244"/>
                <a:gd name="connsiteX5" fmla="*/ 241613 w 241612"/>
                <a:gd name="connsiteY5" fmla="*/ 17122 h 34244"/>
                <a:gd name="connsiteX6" fmla="*/ 224491 w 241612"/>
                <a:gd name="connsiteY6" fmla="*/ 34244 h 34244"/>
                <a:gd name="connsiteX7" fmla="*/ 224491 w 241612"/>
                <a:gd name="connsiteY7" fmla="*/ 34244 h 3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1612" h="34244">
                  <a:moveTo>
                    <a:pt x="224491" y="34244"/>
                  </a:moveTo>
                  <a:lnTo>
                    <a:pt x="17122" y="34244"/>
                  </a:lnTo>
                  <a:cubicBezTo>
                    <a:pt x="7610" y="34244"/>
                    <a:pt x="0" y="26635"/>
                    <a:pt x="0" y="17122"/>
                  </a:cubicBezTo>
                  <a:cubicBezTo>
                    <a:pt x="0" y="7610"/>
                    <a:pt x="7610" y="0"/>
                    <a:pt x="17122" y="0"/>
                  </a:cubicBezTo>
                  <a:lnTo>
                    <a:pt x="224491" y="0"/>
                  </a:lnTo>
                  <a:cubicBezTo>
                    <a:pt x="234003" y="0"/>
                    <a:pt x="241613" y="7610"/>
                    <a:pt x="241613" y="17122"/>
                  </a:cubicBezTo>
                  <a:cubicBezTo>
                    <a:pt x="241613" y="26635"/>
                    <a:pt x="234003" y="34244"/>
                    <a:pt x="224491" y="34244"/>
                  </a:cubicBezTo>
                  <a:lnTo>
                    <a:pt x="224491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12" name="Forma Livre: Forma 311">
              <a:extLst>
                <a:ext uri="{FF2B5EF4-FFF2-40B4-BE49-F238E27FC236}">
                  <a16:creationId xmlns:a16="http://schemas.microsoft.com/office/drawing/2014/main" id="{A3254A77-25E8-4569-9347-4095B2D99346}"/>
                </a:ext>
              </a:extLst>
            </p:cNvPr>
            <p:cNvSpPr/>
            <p:nvPr/>
          </p:nvSpPr>
          <p:spPr>
            <a:xfrm>
              <a:off x="6554493" y="2719224"/>
              <a:ext cx="241612" cy="34244"/>
            </a:xfrm>
            <a:custGeom>
              <a:avLst/>
              <a:gdLst>
                <a:gd name="connsiteX0" fmla="*/ 224491 w 241612"/>
                <a:gd name="connsiteY0" fmla="*/ 34244 h 34244"/>
                <a:gd name="connsiteX1" fmla="*/ 17122 w 241612"/>
                <a:gd name="connsiteY1" fmla="*/ 34244 h 34244"/>
                <a:gd name="connsiteX2" fmla="*/ 0 w 241612"/>
                <a:gd name="connsiteY2" fmla="*/ 17122 h 34244"/>
                <a:gd name="connsiteX3" fmla="*/ 17122 w 241612"/>
                <a:gd name="connsiteY3" fmla="*/ 0 h 34244"/>
                <a:gd name="connsiteX4" fmla="*/ 224491 w 241612"/>
                <a:gd name="connsiteY4" fmla="*/ 0 h 34244"/>
                <a:gd name="connsiteX5" fmla="*/ 241613 w 241612"/>
                <a:gd name="connsiteY5" fmla="*/ 17122 h 34244"/>
                <a:gd name="connsiteX6" fmla="*/ 224491 w 241612"/>
                <a:gd name="connsiteY6" fmla="*/ 34244 h 34244"/>
                <a:gd name="connsiteX7" fmla="*/ 224491 w 241612"/>
                <a:gd name="connsiteY7" fmla="*/ 34244 h 3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1612" h="34244">
                  <a:moveTo>
                    <a:pt x="224491" y="34244"/>
                  </a:moveTo>
                  <a:lnTo>
                    <a:pt x="17122" y="34244"/>
                  </a:lnTo>
                  <a:cubicBezTo>
                    <a:pt x="7610" y="34244"/>
                    <a:pt x="0" y="26635"/>
                    <a:pt x="0" y="17122"/>
                  </a:cubicBezTo>
                  <a:cubicBezTo>
                    <a:pt x="0" y="7610"/>
                    <a:pt x="7610" y="0"/>
                    <a:pt x="17122" y="0"/>
                  </a:cubicBezTo>
                  <a:lnTo>
                    <a:pt x="224491" y="0"/>
                  </a:lnTo>
                  <a:cubicBezTo>
                    <a:pt x="234003" y="0"/>
                    <a:pt x="241613" y="7610"/>
                    <a:pt x="241613" y="17122"/>
                  </a:cubicBezTo>
                  <a:cubicBezTo>
                    <a:pt x="241613" y="26635"/>
                    <a:pt x="234003" y="34244"/>
                    <a:pt x="224491" y="34244"/>
                  </a:cubicBezTo>
                  <a:lnTo>
                    <a:pt x="224491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13" name="Forma Livre: Forma 312">
              <a:extLst>
                <a:ext uri="{FF2B5EF4-FFF2-40B4-BE49-F238E27FC236}">
                  <a16:creationId xmlns:a16="http://schemas.microsoft.com/office/drawing/2014/main" id="{D90384E0-A853-445E-B83D-D64E6A460C44}"/>
                </a:ext>
              </a:extLst>
            </p:cNvPr>
            <p:cNvSpPr/>
            <p:nvPr/>
          </p:nvSpPr>
          <p:spPr>
            <a:xfrm>
              <a:off x="6413076" y="2808006"/>
              <a:ext cx="383028" cy="34244"/>
            </a:xfrm>
            <a:custGeom>
              <a:avLst/>
              <a:gdLst>
                <a:gd name="connsiteX0" fmla="*/ 365907 w 383028"/>
                <a:gd name="connsiteY0" fmla="*/ 34244 h 34244"/>
                <a:gd name="connsiteX1" fmla="*/ 17122 w 383028"/>
                <a:gd name="connsiteY1" fmla="*/ 34244 h 34244"/>
                <a:gd name="connsiteX2" fmla="*/ 0 w 383028"/>
                <a:gd name="connsiteY2" fmla="*/ 17122 h 34244"/>
                <a:gd name="connsiteX3" fmla="*/ 17122 w 383028"/>
                <a:gd name="connsiteY3" fmla="*/ 0 h 34244"/>
                <a:gd name="connsiteX4" fmla="*/ 365907 w 383028"/>
                <a:gd name="connsiteY4" fmla="*/ 0 h 34244"/>
                <a:gd name="connsiteX5" fmla="*/ 383029 w 383028"/>
                <a:gd name="connsiteY5" fmla="*/ 17122 h 34244"/>
                <a:gd name="connsiteX6" fmla="*/ 365907 w 383028"/>
                <a:gd name="connsiteY6" fmla="*/ 34244 h 34244"/>
                <a:gd name="connsiteX7" fmla="*/ 365907 w 383028"/>
                <a:gd name="connsiteY7" fmla="*/ 34244 h 3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3028" h="34244">
                  <a:moveTo>
                    <a:pt x="365907" y="34244"/>
                  </a:moveTo>
                  <a:lnTo>
                    <a:pt x="17122" y="34244"/>
                  </a:lnTo>
                  <a:cubicBezTo>
                    <a:pt x="7610" y="34244"/>
                    <a:pt x="0" y="26635"/>
                    <a:pt x="0" y="17122"/>
                  </a:cubicBezTo>
                  <a:cubicBezTo>
                    <a:pt x="0" y="7610"/>
                    <a:pt x="7610" y="0"/>
                    <a:pt x="17122" y="0"/>
                  </a:cubicBezTo>
                  <a:lnTo>
                    <a:pt x="365907" y="0"/>
                  </a:lnTo>
                  <a:cubicBezTo>
                    <a:pt x="375419" y="0"/>
                    <a:pt x="383029" y="7610"/>
                    <a:pt x="383029" y="17122"/>
                  </a:cubicBezTo>
                  <a:cubicBezTo>
                    <a:pt x="383029" y="26635"/>
                    <a:pt x="375419" y="34244"/>
                    <a:pt x="365907" y="34244"/>
                  </a:cubicBezTo>
                  <a:lnTo>
                    <a:pt x="365907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14" name="Forma Livre: Forma 313">
              <a:extLst>
                <a:ext uri="{FF2B5EF4-FFF2-40B4-BE49-F238E27FC236}">
                  <a16:creationId xmlns:a16="http://schemas.microsoft.com/office/drawing/2014/main" id="{3105CA58-BDEB-4B52-8127-A70B991FCB61}"/>
                </a:ext>
              </a:extLst>
            </p:cNvPr>
            <p:cNvSpPr/>
            <p:nvPr/>
          </p:nvSpPr>
          <p:spPr>
            <a:xfrm>
              <a:off x="6413076" y="2896153"/>
              <a:ext cx="383028" cy="34244"/>
            </a:xfrm>
            <a:custGeom>
              <a:avLst/>
              <a:gdLst>
                <a:gd name="connsiteX0" fmla="*/ 365907 w 383028"/>
                <a:gd name="connsiteY0" fmla="*/ 34244 h 34244"/>
                <a:gd name="connsiteX1" fmla="*/ 17122 w 383028"/>
                <a:gd name="connsiteY1" fmla="*/ 34244 h 34244"/>
                <a:gd name="connsiteX2" fmla="*/ 0 w 383028"/>
                <a:gd name="connsiteY2" fmla="*/ 17122 h 34244"/>
                <a:gd name="connsiteX3" fmla="*/ 17122 w 383028"/>
                <a:gd name="connsiteY3" fmla="*/ 0 h 34244"/>
                <a:gd name="connsiteX4" fmla="*/ 365907 w 383028"/>
                <a:gd name="connsiteY4" fmla="*/ 0 h 34244"/>
                <a:gd name="connsiteX5" fmla="*/ 383029 w 383028"/>
                <a:gd name="connsiteY5" fmla="*/ 17122 h 34244"/>
                <a:gd name="connsiteX6" fmla="*/ 365907 w 383028"/>
                <a:gd name="connsiteY6" fmla="*/ 34244 h 34244"/>
                <a:gd name="connsiteX7" fmla="*/ 365907 w 383028"/>
                <a:gd name="connsiteY7" fmla="*/ 34244 h 3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3028" h="34244">
                  <a:moveTo>
                    <a:pt x="365907" y="34244"/>
                  </a:moveTo>
                  <a:lnTo>
                    <a:pt x="17122" y="34244"/>
                  </a:lnTo>
                  <a:cubicBezTo>
                    <a:pt x="7610" y="34244"/>
                    <a:pt x="0" y="26635"/>
                    <a:pt x="0" y="17122"/>
                  </a:cubicBezTo>
                  <a:cubicBezTo>
                    <a:pt x="0" y="7610"/>
                    <a:pt x="7610" y="0"/>
                    <a:pt x="17122" y="0"/>
                  </a:cubicBezTo>
                  <a:lnTo>
                    <a:pt x="365907" y="0"/>
                  </a:lnTo>
                  <a:cubicBezTo>
                    <a:pt x="375419" y="0"/>
                    <a:pt x="383029" y="7610"/>
                    <a:pt x="383029" y="17122"/>
                  </a:cubicBezTo>
                  <a:cubicBezTo>
                    <a:pt x="383029" y="26635"/>
                    <a:pt x="375419" y="34244"/>
                    <a:pt x="365907" y="34244"/>
                  </a:cubicBezTo>
                  <a:lnTo>
                    <a:pt x="365907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15" name="Forma Livre: Forma 314">
              <a:extLst>
                <a:ext uri="{FF2B5EF4-FFF2-40B4-BE49-F238E27FC236}">
                  <a16:creationId xmlns:a16="http://schemas.microsoft.com/office/drawing/2014/main" id="{BB656E41-B55E-4ECA-B490-57A232CE7000}"/>
                </a:ext>
              </a:extLst>
            </p:cNvPr>
            <p:cNvSpPr/>
            <p:nvPr/>
          </p:nvSpPr>
          <p:spPr>
            <a:xfrm>
              <a:off x="6413076" y="2984934"/>
              <a:ext cx="383028" cy="34244"/>
            </a:xfrm>
            <a:custGeom>
              <a:avLst/>
              <a:gdLst>
                <a:gd name="connsiteX0" fmla="*/ 365907 w 383028"/>
                <a:gd name="connsiteY0" fmla="*/ 34244 h 34244"/>
                <a:gd name="connsiteX1" fmla="*/ 17122 w 383028"/>
                <a:gd name="connsiteY1" fmla="*/ 34244 h 34244"/>
                <a:gd name="connsiteX2" fmla="*/ 0 w 383028"/>
                <a:gd name="connsiteY2" fmla="*/ 17122 h 34244"/>
                <a:gd name="connsiteX3" fmla="*/ 17122 w 383028"/>
                <a:gd name="connsiteY3" fmla="*/ 0 h 34244"/>
                <a:gd name="connsiteX4" fmla="*/ 365907 w 383028"/>
                <a:gd name="connsiteY4" fmla="*/ 0 h 34244"/>
                <a:gd name="connsiteX5" fmla="*/ 383029 w 383028"/>
                <a:gd name="connsiteY5" fmla="*/ 17122 h 34244"/>
                <a:gd name="connsiteX6" fmla="*/ 365907 w 383028"/>
                <a:gd name="connsiteY6" fmla="*/ 34244 h 34244"/>
                <a:gd name="connsiteX7" fmla="*/ 365907 w 383028"/>
                <a:gd name="connsiteY7" fmla="*/ 34244 h 3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3028" h="34244">
                  <a:moveTo>
                    <a:pt x="365907" y="34244"/>
                  </a:moveTo>
                  <a:lnTo>
                    <a:pt x="17122" y="34244"/>
                  </a:lnTo>
                  <a:cubicBezTo>
                    <a:pt x="7610" y="34244"/>
                    <a:pt x="0" y="26635"/>
                    <a:pt x="0" y="17122"/>
                  </a:cubicBezTo>
                  <a:cubicBezTo>
                    <a:pt x="0" y="7610"/>
                    <a:pt x="7610" y="0"/>
                    <a:pt x="17122" y="0"/>
                  </a:cubicBezTo>
                  <a:lnTo>
                    <a:pt x="365907" y="0"/>
                  </a:lnTo>
                  <a:cubicBezTo>
                    <a:pt x="375419" y="0"/>
                    <a:pt x="383029" y="7610"/>
                    <a:pt x="383029" y="17122"/>
                  </a:cubicBezTo>
                  <a:cubicBezTo>
                    <a:pt x="383029" y="26635"/>
                    <a:pt x="375419" y="34244"/>
                    <a:pt x="365907" y="34244"/>
                  </a:cubicBezTo>
                  <a:lnTo>
                    <a:pt x="365907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316" name="Gráfico 2">
              <a:extLst>
                <a:ext uri="{FF2B5EF4-FFF2-40B4-BE49-F238E27FC236}">
                  <a16:creationId xmlns:a16="http://schemas.microsoft.com/office/drawing/2014/main" id="{DC80C217-93B8-4831-A8BE-0817F1F32ECF}"/>
                </a:ext>
              </a:extLst>
            </p:cNvPr>
            <p:cNvGrpSpPr/>
            <p:nvPr/>
          </p:nvGrpSpPr>
          <p:grpSpPr>
            <a:xfrm>
              <a:off x="6413240" y="2630443"/>
              <a:ext cx="124229" cy="144586"/>
              <a:chOff x="6413240" y="2630443"/>
              <a:chExt cx="124229" cy="144586"/>
            </a:xfrm>
            <a:grpFill/>
          </p:grpSpPr>
          <p:sp>
            <p:nvSpPr>
              <p:cNvPr id="317" name="Forma Livre: Forma 316">
                <a:extLst>
                  <a:ext uri="{FF2B5EF4-FFF2-40B4-BE49-F238E27FC236}">
                    <a16:creationId xmlns:a16="http://schemas.microsoft.com/office/drawing/2014/main" id="{795C0D52-385B-4727-BD4B-97C477EF46BE}"/>
                  </a:ext>
                </a:extLst>
              </p:cNvPr>
              <p:cNvSpPr/>
              <p:nvPr/>
            </p:nvSpPr>
            <p:spPr>
              <a:xfrm>
                <a:off x="6413240" y="2630443"/>
                <a:ext cx="124229" cy="144586"/>
              </a:xfrm>
              <a:custGeom>
                <a:avLst/>
                <a:gdLst>
                  <a:gd name="connsiteX0" fmla="*/ 107008 w 124229"/>
                  <a:gd name="connsiteY0" fmla="*/ 144587 h 144586"/>
                  <a:gd name="connsiteX1" fmla="*/ 91154 w 124229"/>
                  <a:gd name="connsiteY1" fmla="*/ 133806 h 144586"/>
                  <a:gd name="connsiteX2" fmla="*/ 61983 w 124229"/>
                  <a:gd name="connsiteY2" fmla="*/ 61513 h 144586"/>
                  <a:gd name="connsiteX3" fmla="*/ 32812 w 124229"/>
                  <a:gd name="connsiteY3" fmla="*/ 133806 h 144586"/>
                  <a:gd name="connsiteX4" fmla="*/ 10617 w 124229"/>
                  <a:gd name="connsiteY4" fmla="*/ 143319 h 144586"/>
                  <a:gd name="connsiteX5" fmla="*/ 1104 w 124229"/>
                  <a:gd name="connsiteY5" fmla="*/ 121123 h 144586"/>
                  <a:gd name="connsiteX6" fmla="*/ 46129 w 124229"/>
                  <a:gd name="connsiteY6" fmla="*/ 10781 h 144586"/>
                  <a:gd name="connsiteX7" fmla="*/ 61983 w 124229"/>
                  <a:gd name="connsiteY7" fmla="*/ 0 h 144586"/>
                  <a:gd name="connsiteX8" fmla="*/ 77837 w 124229"/>
                  <a:gd name="connsiteY8" fmla="*/ 10781 h 144586"/>
                  <a:gd name="connsiteX9" fmla="*/ 122862 w 124229"/>
                  <a:gd name="connsiteY9" fmla="*/ 121123 h 144586"/>
                  <a:gd name="connsiteX10" fmla="*/ 113350 w 124229"/>
                  <a:gd name="connsiteY10" fmla="*/ 143319 h 144586"/>
                  <a:gd name="connsiteX11" fmla="*/ 107008 w 124229"/>
                  <a:gd name="connsiteY11" fmla="*/ 144587 h 144586"/>
                  <a:gd name="connsiteX12" fmla="*/ 107008 w 124229"/>
                  <a:gd name="connsiteY12" fmla="*/ 144587 h 1445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24229" h="144586">
                    <a:moveTo>
                      <a:pt x="107008" y="144587"/>
                    </a:moveTo>
                    <a:cubicBezTo>
                      <a:pt x="100032" y="144587"/>
                      <a:pt x="94325" y="140782"/>
                      <a:pt x="91154" y="133806"/>
                    </a:cubicBezTo>
                    <a:lnTo>
                      <a:pt x="61983" y="61513"/>
                    </a:lnTo>
                    <a:lnTo>
                      <a:pt x="32812" y="133806"/>
                    </a:lnTo>
                    <a:cubicBezTo>
                      <a:pt x="29007" y="142685"/>
                      <a:pt x="19495" y="146490"/>
                      <a:pt x="10617" y="143319"/>
                    </a:cubicBezTo>
                    <a:cubicBezTo>
                      <a:pt x="1738" y="139514"/>
                      <a:pt x="-2066" y="130002"/>
                      <a:pt x="1104" y="121123"/>
                    </a:cubicBezTo>
                    <a:lnTo>
                      <a:pt x="46129" y="10781"/>
                    </a:lnTo>
                    <a:cubicBezTo>
                      <a:pt x="48666" y="4439"/>
                      <a:pt x="55007" y="0"/>
                      <a:pt x="61983" y="0"/>
                    </a:cubicBezTo>
                    <a:cubicBezTo>
                      <a:pt x="68959" y="0"/>
                      <a:pt x="75300" y="4439"/>
                      <a:pt x="77837" y="10781"/>
                    </a:cubicBezTo>
                    <a:lnTo>
                      <a:pt x="122862" y="121123"/>
                    </a:lnTo>
                    <a:cubicBezTo>
                      <a:pt x="126667" y="130002"/>
                      <a:pt x="122228" y="139514"/>
                      <a:pt x="113350" y="143319"/>
                    </a:cubicBezTo>
                    <a:cubicBezTo>
                      <a:pt x="110813" y="144587"/>
                      <a:pt x="108911" y="144587"/>
                      <a:pt x="107008" y="144587"/>
                    </a:cubicBezTo>
                    <a:lnTo>
                      <a:pt x="107008" y="144587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18" name="Forma Livre: Forma 317">
                <a:extLst>
                  <a:ext uri="{FF2B5EF4-FFF2-40B4-BE49-F238E27FC236}">
                    <a16:creationId xmlns:a16="http://schemas.microsoft.com/office/drawing/2014/main" id="{C1752B77-4292-4A7C-88BC-B478F0A8913F}"/>
                  </a:ext>
                </a:extLst>
              </p:cNvPr>
              <p:cNvSpPr/>
              <p:nvPr/>
            </p:nvSpPr>
            <p:spPr>
              <a:xfrm>
                <a:off x="6425125" y="2718590"/>
                <a:ext cx="93854" cy="34244"/>
              </a:xfrm>
              <a:custGeom>
                <a:avLst/>
                <a:gdLst>
                  <a:gd name="connsiteX0" fmla="*/ 76732 w 93854"/>
                  <a:gd name="connsiteY0" fmla="*/ 34244 h 34244"/>
                  <a:gd name="connsiteX1" fmla="*/ 17122 w 93854"/>
                  <a:gd name="connsiteY1" fmla="*/ 34244 h 34244"/>
                  <a:gd name="connsiteX2" fmla="*/ 0 w 93854"/>
                  <a:gd name="connsiteY2" fmla="*/ 17122 h 34244"/>
                  <a:gd name="connsiteX3" fmla="*/ 17122 w 93854"/>
                  <a:gd name="connsiteY3" fmla="*/ 0 h 34244"/>
                  <a:gd name="connsiteX4" fmla="*/ 76732 w 93854"/>
                  <a:gd name="connsiteY4" fmla="*/ 0 h 34244"/>
                  <a:gd name="connsiteX5" fmla="*/ 93855 w 93854"/>
                  <a:gd name="connsiteY5" fmla="*/ 17122 h 34244"/>
                  <a:gd name="connsiteX6" fmla="*/ 76732 w 93854"/>
                  <a:gd name="connsiteY6" fmla="*/ 34244 h 34244"/>
                  <a:gd name="connsiteX7" fmla="*/ 76732 w 93854"/>
                  <a:gd name="connsiteY7" fmla="*/ 34244 h 34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3854" h="34244">
                    <a:moveTo>
                      <a:pt x="76732" y="34244"/>
                    </a:moveTo>
                    <a:lnTo>
                      <a:pt x="17122" y="34244"/>
                    </a:lnTo>
                    <a:cubicBezTo>
                      <a:pt x="7610" y="34244"/>
                      <a:pt x="0" y="26635"/>
                      <a:pt x="0" y="17122"/>
                    </a:cubicBezTo>
                    <a:cubicBezTo>
                      <a:pt x="0" y="7610"/>
                      <a:pt x="7610" y="0"/>
                      <a:pt x="17122" y="0"/>
                    </a:cubicBezTo>
                    <a:lnTo>
                      <a:pt x="76732" y="0"/>
                    </a:lnTo>
                    <a:cubicBezTo>
                      <a:pt x="86245" y="0"/>
                      <a:pt x="93855" y="7610"/>
                      <a:pt x="93855" y="17122"/>
                    </a:cubicBezTo>
                    <a:cubicBezTo>
                      <a:pt x="93220" y="27269"/>
                      <a:pt x="86245" y="34244"/>
                      <a:pt x="76732" y="34244"/>
                    </a:cubicBezTo>
                    <a:lnTo>
                      <a:pt x="76732" y="34244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319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7419651" y="1582308"/>
            <a:ext cx="410750" cy="367481"/>
            <a:chOff x="7434698" y="1594235"/>
            <a:chExt cx="415370" cy="371614"/>
          </a:xfrm>
          <a:solidFill>
            <a:srgbClr val="B1B1A1"/>
          </a:solidFill>
        </p:grpSpPr>
        <p:sp>
          <p:nvSpPr>
            <p:cNvPr id="320" name="Forma Livre: Forma 319">
              <a:extLst>
                <a:ext uri="{FF2B5EF4-FFF2-40B4-BE49-F238E27FC236}">
                  <a16:creationId xmlns:a16="http://schemas.microsoft.com/office/drawing/2014/main" id="{2831A4C2-94F4-4438-A34B-07C003B87214}"/>
                </a:ext>
              </a:extLst>
            </p:cNvPr>
            <p:cNvSpPr/>
            <p:nvPr/>
          </p:nvSpPr>
          <p:spPr>
            <a:xfrm>
              <a:off x="7434698" y="1810482"/>
              <a:ext cx="324052" cy="155367"/>
            </a:xfrm>
            <a:custGeom>
              <a:avLst/>
              <a:gdLst>
                <a:gd name="connsiteX0" fmla="*/ 306931 w 324052"/>
                <a:gd name="connsiteY0" fmla="*/ 155368 h 155367"/>
                <a:gd name="connsiteX1" fmla="*/ 67855 w 324052"/>
                <a:gd name="connsiteY1" fmla="*/ 155368 h 155367"/>
                <a:gd name="connsiteX2" fmla="*/ 0 w 324052"/>
                <a:gd name="connsiteY2" fmla="*/ 87513 h 155367"/>
                <a:gd name="connsiteX3" fmla="*/ 0 w 324052"/>
                <a:gd name="connsiteY3" fmla="*/ 67854 h 155367"/>
                <a:gd name="connsiteX4" fmla="*/ 67855 w 324052"/>
                <a:gd name="connsiteY4" fmla="*/ 0 h 155367"/>
                <a:gd name="connsiteX5" fmla="*/ 306931 w 324052"/>
                <a:gd name="connsiteY5" fmla="*/ 0 h 155367"/>
                <a:gd name="connsiteX6" fmla="*/ 324052 w 324052"/>
                <a:gd name="connsiteY6" fmla="*/ 17122 h 155367"/>
                <a:gd name="connsiteX7" fmla="*/ 306931 w 324052"/>
                <a:gd name="connsiteY7" fmla="*/ 34244 h 155367"/>
                <a:gd name="connsiteX8" fmla="*/ 67855 w 324052"/>
                <a:gd name="connsiteY8" fmla="*/ 34244 h 155367"/>
                <a:gd name="connsiteX9" fmla="*/ 34244 w 324052"/>
                <a:gd name="connsiteY9" fmla="*/ 67854 h 155367"/>
                <a:gd name="connsiteX10" fmla="*/ 34244 w 324052"/>
                <a:gd name="connsiteY10" fmla="*/ 87513 h 155367"/>
                <a:gd name="connsiteX11" fmla="*/ 67855 w 324052"/>
                <a:gd name="connsiteY11" fmla="*/ 121123 h 155367"/>
                <a:gd name="connsiteX12" fmla="*/ 306931 w 324052"/>
                <a:gd name="connsiteY12" fmla="*/ 121123 h 155367"/>
                <a:gd name="connsiteX13" fmla="*/ 324052 w 324052"/>
                <a:gd name="connsiteY13" fmla="*/ 138246 h 155367"/>
                <a:gd name="connsiteX14" fmla="*/ 306931 w 324052"/>
                <a:gd name="connsiteY14" fmla="*/ 155368 h 155367"/>
                <a:gd name="connsiteX15" fmla="*/ 306931 w 324052"/>
                <a:gd name="connsiteY15" fmla="*/ 155368 h 155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4052" h="155367">
                  <a:moveTo>
                    <a:pt x="306931" y="155368"/>
                  </a:moveTo>
                  <a:lnTo>
                    <a:pt x="67855" y="155368"/>
                  </a:lnTo>
                  <a:cubicBezTo>
                    <a:pt x="30440" y="155368"/>
                    <a:pt x="0" y="124928"/>
                    <a:pt x="0" y="87513"/>
                  </a:cubicBezTo>
                  <a:lnTo>
                    <a:pt x="0" y="67854"/>
                  </a:lnTo>
                  <a:cubicBezTo>
                    <a:pt x="0" y="30439"/>
                    <a:pt x="30440" y="0"/>
                    <a:pt x="67855" y="0"/>
                  </a:cubicBezTo>
                  <a:lnTo>
                    <a:pt x="306931" y="0"/>
                  </a:lnTo>
                  <a:cubicBezTo>
                    <a:pt x="316443" y="0"/>
                    <a:pt x="324052" y="7610"/>
                    <a:pt x="324052" y="17122"/>
                  </a:cubicBezTo>
                  <a:cubicBezTo>
                    <a:pt x="324052" y="26634"/>
                    <a:pt x="316443" y="34244"/>
                    <a:pt x="306931" y="34244"/>
                  </a:cubicBezTo>
                  <a:lnTo>
                    <a:pt x="67855" y="34244"/>
                  </a:lnTo>
                  <a:cubicBezTo>
                    <a:pt x="49464" y="34244"/>
                    <a:pt x="34244" y="49464"/>
                    <a:pt x="34244" y="67854"/>
                  </a:cubicBezTo>
                  <a:lnTo>
                    <a:pt x="34244" y="87513"/>
                  </a:lnTo>
                  <a:cubicBezTo>
                    <a:pt x="34244" y="105904"/>
                    <a:pt x="49464" y="121123"/>
                    <a:pt x="67855" y="121123"/>
                  </a:cubicBezTo>
                  <a:lnTo>
                    <a:pt x="306931" y="121123"/>
                  </a:lnTo>
                  <a:cubicBezTo>
                    <a:pt x="316443" y="121123"/>
                    <a:pt x="324052" y="128733"/>
                    <a:pt x="324052" y="138246"/>
                  </a:cubicBezTo>
                  <a:cubicBezTo>
                    <a:pt x="324052" y="147758"/>
                    <a:pt x="316443" y="155368"/>
                    <a:pt x="306931" y="155368"/>
                  </a:cubicBezTo>
                  <a:lnTo>
                    <a:pt x="306931" y="155368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21" name="Forma Livre: Forma 320">
              <a:extLst>
                <a:ext uri="{FF2B5EF4-FFF2-40B4-BE49-F238E27FC236}">
                  <a16:creationId xmlns:a16="http://schemas.microsoft.com/office/drawing/2014/main" id="{C7DE214D-A488-4B2F-B684-DFA9B0D87B98}"/>
                </a:ext>
              </a:extLst>
            </p:cNvPr>
            <p:cNvSpPr/>
            <p:nvPr/>
          </p:nvSpPr>
          <p:spPr>
            <a:xfrm>
              <a:off x="7526678" y="1594235"/>
              <a:ext cx="323390" cy="62781"/>
            </a:xfrm>
            <a:custGeom>
              <a:avLst/>
              <a:gdLst>
                <a:gd name="connsiteX0" fmla="*/ 17094 w 323390"/>
                <a:gd name="connsiteY0" fmla="*/ 62781 h 62781"/>
                <a:gd name="connsiteX1" fmla="*/ 9485 w 323390"/>
                <a:gd name="connsiteY1" fmla="*/ 60879 h 62781"/>
                <a:gd name="connsiteX2" fmla="*/ 1875 w 323390"/>
                <a:gd name="connsiteY2" fmla="*/ 38049 h 62781"/>
                <a:gd name="connsiteX3" fmla="*/ 62754 w 323390"/>
                <a:gd name="connsiteY3" fmla="*/ 0 h 62781"/>
                <a:gd name="connsiteX4" fmla="*/ 306269 w 323390"/>
                <a:gd name="connsiteY4" fmla="*/ 0 h 62781"/>
                <a:gd name="connsiteX5" fmla="*/ 323391 w 323390"/>
                <a:gd name="connsiteY5" fmla="*/ 17122 h 62781"/>
                <a:gd name="connsiteX6" fmla="*/ 306269 w 323390"/>
                <a:gd name="connsiteY6" fmla="*/ 34244 h 62781"/>
                <a:gd name="connsiteX7" fmla="*/ 62754 w 323390"/>
                <a:gd name="connsiteY7" fmla="*/ 34244 h 62781"/>
                <a:gd name="connsiteX8" fmla="*/ 32314 w 323390"/>
                <a:gd name="connsiteY8" fmla="*/ 53269 h 62781"/>
                <a:gd name="connsiteX9" fmla="*/ 17094 w 323390"/>
                <a:gd name="connsiteY9" fmla="*/ 62781 h 62781"/>
                <a:gd name="connsiteX10" fmla="*/ 17094 w 323390"/>
                <a:gd name="connsiteY10" fmla="*/ 62781 h 62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23390" h="62781">
                  <a:moveTo>
                    <a:pt x="17094" y="62781"/>
                  </a:moveTo>
                  <a:cubicBezTo>
                    <a:pt x="14558" y="62781"/>
                    <a:pt x="12021" y="62147"/>
                    <a:pt x="9485" y="60879"/>
                  </a:cubicBezTo>
                  <a:cubicBezTo>
                    <a:pt x="1241" y="57074"/>
                    <a:pt x="-2564" y="46927"/>
                    <a:pt x="1875" y="38049"/>
                  </a:cubicBezTo>
                  <a:cubicBezTo>
                    <a:pt x="13290" y="14585"/>
                    <a:pt x="36753" y="0"/>
                    <a:pt x="62754" y="0"/>
                  </a:cubicBezTo>
                  <a:lnTo>
                    <a:pt x="306269" y="0"/>
                  </a:lnTo>
                  <a:cubicBezTo>
                    <a:pt x="315781" y="0"/>
                    <a:pt x="323391" y="7610"/>
                    <a:pt x="323391" y="17122"/>
                  </a:cubicBezTo>
                  <a:cubicBezTo>
                    <a:pt x="323391" y="26634"/>
                    <a:pt x="315781" y="34244"/>
                    <a:pt x="306269" y="34244"/>
                  </a:cubicBezTo>
                  <a:lnTo>
                    <a:pt x="62754" y="34244"/>
                  </a:lnTo>
                  <a:cubicBezTo>
                    <a:pt x="49436" y="34244"/>
                    <a:pt x="38021" y="41220"/>
                    <a:pt x="32314" y="53269"/>
                  </a:cubicBezTo>
                  <a:cubicBezTo>
                    <a:pt x="29144" y="58976"/>
                    <a:pt x="22802" y="62781"/>
                    <a:pt x="17094" y="62781"/>
                  </a:cubicBezTo>
                  <a:lnTo>
                    <a:pt x="17094" y="62781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22" name="Forma Livre: Forma 321">
              <a:extLst>
                <a:ext uri="{FF2B5EF4-FFF2-40B4-BE49-F238E27FC236}">
                  <a16:creationId xmlns:a16="http://schemas.microsoft.com/office/drawing/2014/main" id="{974027AC-F19F-4601-93F2-919174890B00}"/>
                </a:ext>
              </a:extLst>
            </p:cNvPr>
            <p:cNvSpPr/>
            <p:nvPr/>
          </p:nvSpPr>
          <p:spPr>
            <a:xfrm>
              <a:off x="7440569" y="1621034"/>
              <a:ext cx="120161" cy="249692"/>
            </a:xfrm>
            <a:custGeom>
              <a:avLst/>
              <a:gdLst>
                <a:gd name="connsiteX0" fmla="*/ 16958 w 120161"/>
                <a:gd name="connsiteY0" fmla="*/ 249693 h 249692"/>
                <a:gd name="connsiteX1" fmla="*/ 10617 w 120161"/>
                <a:gd name="connsiteY1" fmla="*/ 248424 h 249692"/>
                <a:gd name="connsiteX2" fmla="*/ 1104 w 120161"/>
                <a:gd name="connsiteY2" fmla="*/ 226229 h 249692"/>
                <a:gd name="connsiteX3" fmla="*/ 87349 w 120161"/>
                <a:gd name="connsiteY3" fmla="*/ 10617 h 249692"/>
                <a:gd name="connsiteX4" fmla="*/ 109545 w 120161"/>
                <a:gd name="connsiteY4" fmla="*/ 1104 h 249692"/>
                <a:gd name="connsiteX5" fmla="*/ 119057 w 120161"/>
                <a:gd name="connsiteY5" fmla="*/ 23300 h 249692"/>
                <a:gd name="connsiteX6" fmla="*/ 32812 w 120161"/>
                <a:gd name="connsiteY6" fmla="*/ 238912 h 249692"/>
                <a:gd name="connsiteX7" fmla="*/ 16958 w 120161"/>
                <a:gd name="connsiteY7" fmla="*/ 249693 h 249692"/>
                <a:gd name="connsiteX8" fmla="*/ 16958 w 120161"/>
                <a:gd name="connsiteY8" fmla="*/ 249693 h 249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0161" h="249692">
                  <a:moveTo>
                    <a:pt x="16958" y="249693"/>
                  </a:moveTo>
                  <a:cubicBezTo>
                    <a:pt x="15056" y="249693"/>
                    <a:pt x="12519" y="249059"/>
                    <a:pt x="10617" y="248424"/>
                  </a:cubicBezTo>
                  <a:cubicBezTo>
                    <a:pt x="1738" y="245254"/>
                    <a:pt x="-2066" y="235107"/>
                    <a:pt x="1104" y="226229"/>
                  </a:cubicBezTo>
                  <a:lnTo>
                    <a:pt x="87349" y="10617"/>
                  </a:lnTo>
                  <a:cubicBezTo>
                    <a:pt x="90520" y="1739"/>
                    <a:pt x="100667" y="-2066"/>
                    <a:pt x="109545" y="1104"/>
                  </a:cubicBezTo>
                  <a:cubicBezTo>
                    <a:pt x="118423" y="4275"/>
                    <a:pt x="122228" y="14422"/>
                    <a:pt x="119057" y="23300"/>
                  </a:cubicBezTo>
                  <a:lnTo>
                    <a:pt x="32812" y="238912"/>
                  </a:lnTo>
                  <a:cubicBezTo>
                    <a:pt x="30275" y="245888"/>
                    <a:pt x="23934" y="249693"/>
                    <a:pt x="16958" y="249693"/>
                  </a:cubicBezTo>
                  <a:lnTo>
                    <a:pt x="16958" y="249693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23" name="Forma Livre: Forma 322">
              <a:extLst>
                <a:ext uri="{FF2B5EF4-FFF2-40B4-BE49-F238E27FC236}">
                  <a16:creationId xmlns:a16="http://schemas.microsoft.com/office/drawing/2014/main" id="{FF86351A-5865-470B-B5DB-314F4AB79A3C}"/>
                </a:ext>
              </a:extLst>
            </p:cNvPr>
            <p:cNvSpPr/>
            <p:nvPr/>
          </p:nvSpPr>
          <p:spPr>
            <a:xfrm>
              <a:off x="7729109" y="1716157"/>
              <a:ext cx="120161" cy="249692"/>
            </a:xfrm>
            <a:custGeom>
              <a:avLst/>
              <a:gdLst>
                <a:gd name="connsiteX0" fmla="*/ 16958 w 120161"/>
                <a:gd name="connsiteY0" fmla="*/ 249693 h 249692"/>
                <a:gd name="connsiteX1" fmla="*/ 10616 w 120161"/>
                <a:gd name="connsiteY1" fmla="*/ 248424 h 249692"/>
                <a:gd name="connsiteX2" fmla="*/ 1104 w 120161"/>
                <a:gd name="connsiteY2" fmla="*/ 226229 h 249692"/>
                <a:gd name="connsiteX3" fmla="*/ 87350 w 120161"/>
                <a:gd name="connsiteY3" fmla="*/ 10617 h 249692"/>
                <a:gd name="connsiteX4" fmla="*/ 109545 w 120161"/>
                <a:gd name="connsiteY4" fmla="*/ 1104 h 249692"/>
                <a:gd name="connsiteX5" fmla="*/ 119057 w 120161"/>
                <a:gd name="connsiteY5" fmla="*/ 23300 h 249692"/>
                <a:gd name="connsiteX6" fmla="*/ 32812 w 120161"/>
                <a:gd name="connsiteY6" fmla="*/ 238912 h 249692"/>
                <a:gd name="connsiteX7" fmla="*/ 16958 w 120161"/>
                <a:gd name="connsiteY7" fmla="*/ 249693 h 249692"/>
                <a:gd name="connsiteX8" fmla="*/ 16958 w 120161"/>
                <a:gd name="connsiteY8" fmla="*/ 249693 h 249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0161" h="249692">
                  <a:moveTo>
                    <a:pt x="16958" y="249693"/>
                  </a:moveTo>
                  <a:cubicBezTo>
                    <a:pt x="15056" y="249693"/>
                    <a:pt x="12519" y="249059"/>
                    <a:pt x="10616" y="248424"/>
                  </a:cubicBezTo>
                  <a:cubicBezTo>
                    <a:pt x="1739" y="245254"/>
                    <a:pt x="-2066" y="235107"/>
                    <a:pt x="1104" y="226229"/>
                  </a:cubicBezTo>
                  <a:lnTo>
                    <a:pt x="87350" y="10617"/>
                  </a:lnTo>
                  <a:cubicBezTo>
                    <a:pt x="90520" y="1739"/>
                    <a:pt x="100667" y="-2066"/>
                    <a:pt x="109545" y="1104"/>
                  </a:cubicBezTo>
                  <a:cubicBezTo>
                    <a:pt x="118423" y="4275"/>
                    <a:pt x="122228" y="14422"/>
                    <a:pt x="119057" y="23300"/>
                  </a:cubicBezTo>
                  <a:lnTo>
                    <a:pt x="32812" y="238912"/>
                  </a:lnTo>
                  <a:cubicBezTo>
                    <a:pt x="29641" y="245888"/>
                    <a:pt x="23300" y="249693"/>
                    <a:pt x="16958" y="249693"/>
                  </a:cubicBezTo>
                  <a:lnTo>
                    <a:pt x="16958" y="249693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24" name="Forma Livre: Forma 323">
              <a:extLst>
                <a:ext uri="{FF2B5EF4-FFF2-40B4-BE49-F238E27FC236}">
                  <a16:creationId xmlns:a16="http://schemas.microsoft.com/office/drawing/2014/main" id="{991944AA-F62A-48E3-BAA3-E8D44D0D16CF}"/>
                </a:ext>
              </a:extLst>
            </p:cNvPr>
            <p:cNvSpPr/>
            <p:nvPr/>
          </p:nvSpPr>
          <p:spPr>
            <a:xfrm>
              <a:off x="7724939" y="1594669"/>
              <a:ext cx="124696" cy="250057"/>
            </a:xfrm>
            <a:custGeom>
              <a:avLst/>
              <a:gdLst>
                <a:gd name="connsiteX0" fmla="*/ 16689 w 124696"/>
                <a:gd name="connsiteY0" fmla="*/ 250057 h 250057"/>
                <a:gd name="connsiteX1" fmla="*/ 10347 w 124696"/>
                <a:gd name="connsiteY1" fmla="*/ 248789 h 250057"/>
                <a:gd name="connsiteX2" fmla="*/ 1469 w 124696"/>
                <a:gd name="connsiteY2" fmla="*/ 226594 h 250057"/>
                <a:gd name="connsiteX3" fmla="*/ 92153 w 124696"/>
                <a:gd name="connsiteY3" fmla="*/ 10347 h 250057"/>
                <a:gd name="connsiteX4" fmla="*/ 114349 w 124696"/>
                <a:gd name="connsiteY4" fmla="*/ 1469 h 250057"/>
                <a:gd name="connsiteX5" fmla="*/ 123227 w 124696"/>
                <a:gd name="connsiteY5" fmla="*/ 23665 h 250057"/>
                <a:gd name="connsiteX6" fmla="*/ 32543 w 124696"/>
                <a:gd name="connsiteY6" fmla="*/ 239911 h 250057"/>
                <a:gd name="connsiteX7" fmla="*/ 16689 w 124696"/>
                <a:gd name="connsiteY7" fmla="*/ 250057 h 250057"/>
                <a:gd name="connsiteX8" fmla="*/ 16689 w 124696"/>
                <a:gd name="connsiteY8" fmla="*/ 250057 h 250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696" h="250057">
                  <a:moveTo>
                    <a:pt x="16689" y="250057"/>
                  </a:moveTo>
                  <a:cubicBezTo>
                    <a:pt x="14786" y="250057"/>
                    <a:pt x="12250" y="249423"/>
                    <a:pt x="10347" y="248789"/>
                  </a:cubicBezTo>
                  <a:cubicBezTo>
                    <a:pt x="1469" y="244984"/>
                    <a:pt x="-2336" y="235472"/>
                    <a:pt x="1469" y="226594"/>
                  </a:cubicBezTo>
                  <a:lnTo>
                    <a:pt x="92153" y="10347"/>
                  </a:lnTo>
                  <a:cubicBezTo>
                    <a:pt x="95958" y="1469"/>
                    <a:pt x="105470" y="-2336"/>
                    <a:pt x="114349" y="1469"/>
                  </a:cubicBezTo>
                  <a:cubicBezTo>
                    <a:pt x="123227" y="5274"/>
                    <a:pt x="127032" y="14786"/>
                    <a:pt x="123227" y="23665"/>
                  </a:cubicBezTo>
                  <a:lnTo>
                    <a:pt x="32543" y="239911"/>
                  </a:lnTo>
                  <a:cubicBezTo>
                    <a:pt x="30006" y="246253"/>
                    <a:pt x="23664" y="250057"/>
                    <a:pt x="16689" y="250057"/>
                  </a:cubicBezTo>
                  <a:lnTo>
                    <a:pt x="16689" y="250057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25" name="Forma Livre: Forma 324">
              <a:extLst>
                <a:ext uri="{FF2B5EF4-FFF2-40B4-BE49-F238E27FC236}">
                  <a16:creationId xmlns:a16="http://schemas.microsoft.com/office/drawing/2014/main" id="{688102E7-71AA-4A54-A7C6-F199C3D3692D}"/>
                </a:ext>
              </a:extLst>
            </p:cNvPr>
            <p:cNvSpPr/>
            <p:nvPr/>
          </p:nvSpPr>
          <p:spPr>
            <a:xfrm>
              <a:off x="7491772" y="1864385"/>
              <a:ext cx="246685" cy="16488"/>
            </a:xfrm>
            <a:custGeom>
              <a:avLst/>
              <a:gdLst>
                <a:gd name="connsiteX0" fmla="*/ 238442 w 246685"/>
                <a:gd name="connsiteY0" fmla="*/ 16488 h 16488"/>
                <a:gd name="connsiteX1" fmla="*/ 8244 w 246685"/>
                <a:gd name="connsiteY1" fmla="*/ 16488 h 16488"/>
                <a:gd name="connsiteX2" fmla="*/ 0 w 246685"/>
                <a:gd name="connsiteY2" fmla="*/ 8244 h 16488"/>
                <a:gd name="connsiteX3" fmla="*/ 8244 w 246685"/>
                <a:gd name="connsiteY3" fmla="*/ 0 h 16488"/>
                <a:gd name="connsiteX4" fmla="*/ 238442 w 246685"/>
                <a:gd name="connsiteY4" fmla="*/ 0 h 16488"/>
                <a:gd name="connsiteX5" fmla="*/ 246686 w 246685"/>
                <a:gd name="connsiteY5" fmla="*/ 8244 h 16488"/>
                <a:gd name="connsiteX6" fmla="*/ 238442 w 246685"/>
                <a:gd name="connsiteY6" fmla="*/ 16488 h 16488"/>
                <a:gd name="connsiteX7" fmla="*/ 238442 w 246685"/>
                <a:gd name="connsiteY7" fmla="*/ 16488 h 16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6685" h="16488">
                  <a:moveTo>
                    <a:pt x="238442" y="16488"/>
                  </a:moveTo>
                  <a:lnTo>
                    <a:pt x="8244" y="16488"/>
                  </a:lnTo>
                  <a:cubicBezTo>
                    <a:pt x="3805" y="16488"/>
                    <a:pt x="0" y="12683"/>
                    <a:pt x="0" y="8244"/>
                  </a:cubicBezTo>
                  <a:cubicBezTo>
                    <a:pt x="0" y="3805"/>
                    <a:pt x="3805" y="0"/>
                    <a:pt x="8244" y="0"/>
                  </a:cubicBezTo>
                  <a:lnTo>
                    <a:pt x="238442" y="0"/>
                  </a:lnTo>
                  <a:cubicBezTo>
                    <a:pt x="242881" y="0"/>
                    <a:pt x="246686" y="3805"/>
                    <a:pt x="246686" y="8244"/>
                  </a:cubicBezTo>
                  <a:cubicBezTo>
                    <a:pt x="246686" y="12683"/>
                    <a:pt x="242881" y="16488"/>
                    <a:pt x="238442" y="16488"/>
                  </a:cubicBezTo>
                  <a:lnTo>
                    <a:pt x="238442" y="16488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26" name="Forma Livre: Forma 325">
              <a:extLst>
                <a:ext uri="{FF2B5EF4-FFF2-40B4-BE49-F238E27FC236}">
                  <a16:creationId xmlns:a16="http://schemas.microsoft.com/office/drawing/2014/main" id="{CFB459BB-9D25-4628-895D-F3669CE4766B}"/>
                </a:ext>
              </a:extLst>
            </p:cNvPr>
            <p:cNvSpPr/>
            <p:nvPr/>
          </p:nvSpPr>
          <p:spPr>
            <a:xfrm>
              <a:off x="7491772" y="1895458"/>
              <a:ext cx="246685" cy="16487"/>
            </a:xfrm>
            <a:custGeom>
              <a:avLst/>
              <a:gdLst>
                <a:gd name="connsiteX0" fmla="*/ 238442 w 246685"/>
                <a:gd name="connsiteY0" fmla="*/ 16488 h 16487"/>
                <a:gd name="connsiteX1" fmla="*/ 8244 w 246685"/>
                <a:gd name="connsiteY1" fmla="*/ 16488 h 16487"/>
                <a:gd name="connsiteX2" fmla="*/ 0 w 246685"/>
                <a:gd name="connsiteY2" fmla="*/ 8244 h 16487"/>
                <a:gd name="connsiteX3" fmla="*/ 8244 w 246685"/>
                <a:gd name="connsiteY3" fmla="*/ 0 h 16487"/>
                <a:gd name="connsiteX4" fmla="*/ 238442 w 246685"/>
                <a:gd name="connsiteY4" fmla="*/ 0 h 16487"/>
                <a:gd name="connsiteX5" fmla="*/ 246686 w 246685"/>
                <a:gd name="connsiteY5" fmla="*/ 8244 h 16487"/>
                <a:gd name="connsiteX6" fmla="*/ 238442 w 246685"/>
                <a:gd name="connsiteY6" fmla="*/ 16488 h 16487"/>
                <a:gd name="connsiteX7" fmla="*/ 238442 w 246685"/>
                <a:gd name="connsiteY7" fmla="*/ 16488 h 16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6685" h="16487">
                  <a:moveTo>
                    <a:pt x="238442" y="16488"/>
                  </a:moveTo>
                  <a:lnTo>
                    <a:pt x="8244" y="16488"/>
                  </a:lnTo>
                  <a:cubicBezTo>
                    <a:pt x="3805" y="16488"/>
                    <a:pt x="0" y="12683"/>
                    <a:pt x="0" y="8244"/>
                  </a:cubicBezTo>
                  <a:cubicBezTo>
                    <a:pt x="0" y="3805"/>
                    <a:pt x="3805" y="0"/>
                    <a:pt x="8244" y="0"/>
                  </a:cubicBezTo>
                  <a:lnTo>
                    <a:pt x="238442" y="0"/>
                  </a:lnTo>
                  <a:cubicBezTo>
                    <a:pt x="242881" y="0"/>
                    <a:pt x="246686" y="3805"/>
                    <a:pt x="246686" y="8244"/>
                  </a:cubicBezTo>
                  <a:cubicBezTo>
                    <a:pt x="246686" y="12683"/>
                    <a:pt x="242881" y="16488"/>
                    <a:pt x="238442" y="16488"/>
                  </a:cubicBezTo>
                  <a:lnTo>
                    <a:pt x="238442" y="16488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27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7471701" y="546338"/>
            <a:ext cx="306652" cy="376887"/>
            <a:chOff x="7487333" y="546613"/>
            <a:chExt cx="310101" cy="381126"/>
          </a:xfrm>
          <a:solidFill>
            <a:srgbClr val="B1B1A1"/>
          </a:solidFill>
        </p:grpSpPr>
        <p:grpSp>
          <p:nvGrpSpPr>
            <p:cNvPr id="328" name="Gráfico 2">
              <a:extLst>
                <a:ext uri="{FF2B5EF4-FFF2-40B4-BE49-F238E27FC236}">
                  <a16:creationId xmlns:a16="http://schemas.microsoft.com/office/drawing/2014/main" id="{DC80C217-93B8-4831-A8BE-0817F1F32ECF}"/>
                </a:ext>
              </a:extLst>
            </p:cNvPr>
            <p:cNvGrpSpPr/>
            <p:nvPr/>
          </p:nvGrpSpPr>
          <p:grpSpPr>
            <a:xfrm>
              <a:off x="7487333" y="546613"/>
              <a:ext cx="310101" cy="381126"/>
              <a:chOff x="7487333" y="546613"/>
              <a:chExt cx="310101" cy="381126"/>
            </a:xfrm>
            <a:grpFill/>
          </p:grpSpPr>
          <p:sp>
            <p:nvSpPr>
              <p:cNvPr id="329" name="Forma Livre: Forma 328">
                <a:extLst>
                  <a:ext uri="{FF2B5EF4-FFF2-40B4-BE49-F238E27FC236}">
                    <a16:creationId xmlns:a16="http://schemas.microsoft.com/office/drawing/2014/main" id="{D898C129-116F-4788-AE16-F786032A1FCB}"/>
                  </a:ext>
                </a:extLst>
              </p:cNvPr>
              <p:cNvSpPr/>
              <p:nvPr/>
            </p:nvSpPr>
            <p:spPr>
              <a:xfrm>
                <a:off x="7670603" y="800909"/>
                <a:ext cx="117952" cy="117952"/>
              </a:xfrm>
              <a:custGeom>
                <a:avLst/>
                <a:gdLst>
                  <a:gd name="connsiteX0" fmla="*/ 8244 w 117952"/>
                  <a:gd name="connsiteY0" fmla="*/ 117953 h 117952"/>
                  <a:gd name="connsiteX1" fmla="*/ 0 w 117952"/>
                  <a:gd name="connsiteY1" fmla="*/ 109709 h 117952"/>
                  <a:gd name="connsiteX2" fmla="*/ 0 w 117952"/>
                  <a:gd name="connsiteY2" fmla="*/ 8244 h 117952"/>
                  <a:gd name="connsiteX3" fmla="*/ 8244 w 117952"/>
                  <a:gd name="connsiteY3" fmla="*/ 0 h 117952"/>
                  <a:gd name="connsiteX4" fmla="*/ 109709 w 117952"/>
                  <a:gd name="connsiteY4" fmla="*/ 0 h 117952"/>
                  <a:gd name="connsiteX5" fmla="*/ 117953 w 117952"/>
                  <a:gd name="connsiteY5" fmla="*/ 8244 h 117952"/>
                  <a:gd name="connsiteX6" fmla="*/ 109709 w 117952"/>
                  <a:gd name="connsiteY6" fmla="*/ 16488 h 117952"/>
                  <a:gd name="connsiteX7" fmla="*/ 17122 w 117952"/>
                  <a:gd name="connsiteY7" fmla="*/ 16488 h 117952"/>
                  <a:gd name="connsiteX8" fmla="*/ 17122 w 117952"/>
                  <a:gd name="connsiteY8" fmla="*/ 109074 h 117952"/>
                  <a:gd name="connsiteX9" fmla="*/ 8244 w 117952"/>
                  <a:gd name="connsiteY9" fmla="*/ 117953 h 117952"/>
                  <a:gd name="connsiteX10" fmla="*/ 8244 w 117952"/>
                  <a:gd name="connsiteY10" fmla="*/ 117953 h 117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7952" h="117952">
                    <a:moveTo>
                      <a:pt x="8244" y="117953"/>
                    </a:moveTo>
                    <a:cubicBezTo>
                      <a:pt x="3805" y="117953"/>
                      <a:pt x="0" y="114148"/>
                      <a:pt x="0" y="109709"/>
                    </a:cubicBezTo>
                    <a:lnTo>
                      <a:pt x="0" y="8244"/>
                    </a:lnTo>
                    <a:cubicBezTo>
                      <a:pt x="0" y="3805"/>
                      <a:pt x="3805" y="0"/>
                      <a:pt x="8244" y="0"/>
                    </a:cubicBezTo>
                    <a:lnTo>
                      <a:pt x="109709" y="0"/>
                    </a:lnTo>
                    <a:cubicBezTo>
                      <a:pt x="114148" y="0"/>
                      <a:pt x="117953" y="3805"/>
                      <a:pt x="117953" y="8244"/>
                    </a:cubicBezTo>
                    <a:cubicBezTo>
                      <a:pt x="117953" y="12683"/>
                      <a:pt x="114148" y="16488"/>
                      <a:pt x="109709" y="16488"/>
                    </a:cubicBezTo>
                    <a:lnTo>
                      <a:pt x="17122" y="16488"/>
                    </a:lnTo>
                    <a:lnTo>
                      <a:pt x="17122" y="109074"/>
                    </a:lnTo>
                    <a:cubicBezTo>
                      <a:pt x="16488" y="114148"/>
                      <a:pt x="12683" y="117953"/>
                      <a:pt x="8244" y="117953"/>
                    </a:cubicBezTo>
                    <a:lnTo>
                      <a:pt x="8244" y="117953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30" name="Forma Livre: Forma 329">
                <a:extLst>
                  <a:ext uri="{FF2B5EF4-FFF2-40B4-BE49-F238E27FC236}">
                    <a16:creationId xmlns:a16="http://schemas.microsoft.com/office/drawing/2014/main" id="{4A848EDA-6B51-430F-B985-4D68D70451D1}"/>
                  </a:ext>
                </a:extLst>
              </p:cNvPr>
              <p:cNvSpPr/>
              <p:nvPr/>
            </p:nvSpPr>
            <p:spPr>
              <a:xfrm>
                <a:off x="7487333" y="546613"/>
                <a:ext cx="310101" cy="381126"/>
              </a:xfrm>
              <a:custGeom>
                <a:avLst/>
                <a:gdLst>
                  <a:gd name="connsiteX0" fmla="*/ 191514 w 310101"/>
                  <a:gd name="connsiteY0" fmla="*/ 381126 h 381126"/>
                  <a:gd name="connsiteX1" fmla="*/ 17122 w 310101"/>
                  <a:gd name="connsiteY1" fmla="*/ 381126 h 381126"/>
                  <a:gd name="connsiteX2" fmla="*/ 0 w 310101"/>
                  <a:gd name="connsiteY2" fmla="*/ 364004 h 381126"/>
                  <a:gd name="connsiteX3" fmla="*/ 0 w 310101"/>
                  <a:gd name="connsiteY3" fmla="*/ 17122 h 381126"/>
                  <a:gd name="connsiteX4" fmla="*/ 17122 w 310101"/>
                  <a:gd name="connsiteY4" fmla="*/ 0 h 381126"/>
                  <a:gd name="connsiteX5" fmla="*/ 292979 w 310101"/>
                  <a:gd name="connsiteY5" fmla="*/ 0 h 381126"/>
                  <a:gd name="connsiteX6" fmla="*/ 310101 w 310101"/>
                  <a:gd name="connsiteY6" fmla="*/ 17122 h 381126"/>
                  <a:gd name="connsiteX7" fmla="*/ 310101 w 310101"/>
                  <a:gd name="connsiteY7" fmla="*/ 262540 h 381126"/>
                  <a:gd name="connsiteX8" fmla="*/ 305028 w 310101"/>
                  <a:gd name="connsiteY8" fmla="*/ 274589 h 381126"/>
                  <a:gd name="connsiteX9" fmla="*/ 203563 w 310101"/>
                  <a:gd name="connsiteY9" fmla="*/ 376053 h 381126"/>
                  <a:gd name="connsiteX10" fmla="*/ 191514 w 310101"/>
                  <a:gd name="connsiteY10" fmla="*/ 381126 h 381126"/>
                  <a:gd name="connsiteX11" fmla="*/ 191514 w 310101"/>
                  <a:gd name="connsiteY11" fmla="*/ 381126 h 381126"/>
                  <a:gd name="connsiteX12" fmla="*/ 33610 w 310101"/>
                  <a:gd name="connsiteY12" fmla="*/ 346882 h 381126"/>
                  <a:gd name="connsiteX13" fmla="*/ 184539 w 310101"/>
                  <a:gd name="connsiteY13" fmla="*/ 346882 h 381126"/>
                  <a:gd name="connsiteX14" fmla="*/ 275857 w 310101"/>
                  <a:gd name="connsiteY14" fmla="*/ 255564 h 381126"/>
                  <a:gd name="connsiteX15" fmla="*/ 275857 w 310101"/>
                  <a:gd name="connsiteY15" fmla="*/ 34244 h 381126"/>
                  <a:gd name="connsiteX16" fmla="*/ 33610 w 310101"/>
                  <a:gd name="connsiteY16" fmla="*/ 34244 h 381126"/>
                  <a:gd name="connsiteX17" fmla="*/ 33610 w 310101"/>
                  <a:gd name="connsiteY17" fmla="*/ 346882 h 381126"/>
                  <a:gd name="connsiteX18" fmla="*/ 33610 w 310101"/>
                  <a:gd name="connsiteY18" fmla="*/ 346882 h 381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10101" h="381126">
                    <a:moveTo>
                      <a:pt x="191514" y="381126"/>
                    </a:moveTo>
                    <a:lnTo>
                      <a:pt x="17122" y="381126"/>
                    </a:lnTo>
                    <a:cubicBezTo>
                      <a:pt x="7610" y="381126"/>
                      <a:pt x="0" y="373517"/>
                      <a:pt x="0" y="364004"/>
                    </a:cubicBezTo>
                    <a:lnTo>
                      <a:pt x="0" y="17122"/>
                    </a:lnTo>
                    <a:cubicBezTo>
                      <a:pt x="0" y="7610"/>
                      <a:pt x="7610" y="0"/>
                      <a:pt x="17122" y="0"/>
                    </a:cubicBezTo>
                    <a:lnTo>
                      <a:pt x="292979" y="0"/>
                    </a:lnTo>
                    <a:cubicBezTo>
                      <a:pt x="302491" y="0"/>
                      <a:pt x="310101" y="7610"/>
                      <a:pt x="310101" y="17122"/>
                    </a:cubicBezTo>
                    <a:lnTo>
                      <a:pt x="310101" y="262540"/>
                    </a:lnTo>
                    <a:cubicBezTo>
                      <a:pt x="310101" y="266979"/>
                      <a:pt x="308199" y="271418"/>
                      <a:pt x="305028" y="274589"/>
                    </a:cubicBezTo>
                    <a:lnTo>
                      <a:pt x="203563" y="376053"/>
                    </a:lnTo>
                    <a:cubicBezTo>
                      <a:pt x="200392" y="379224"/>
                      <a:pt x="195953" y="381126"/>
                      <a:pt x="191514" y="381126"/>
                    </a:cubicBezTo>
                    <a:lnTo>
                      <a:pt x="191514" y="381126"/>
                    </a:lnTo>
                    <a:close/>
                    <a:moveTo>
                      <a:pt x="33610" y="346882"/>
                    </a:moveTo>
                    <a:lnTo>
                      <a:pt x="184539" y="346882"/>
                    </a:lnTo>
                    <a:lnTo>
                      <a:pt x="275857" y="255564"/>
                    </a:lnTo>
                    <a:lnTo>
                      <a:pt x="275857" y="34244"/>
                    </a:lnTo>
                    <a:lnTo>
                      <a:pt x="33610" y="34244"/>
                    </a:lnTo>
                    <a:lnTo>
                      <a:pt x="33610" y="346882"/>
                    </a:lnTo>
                    <a:lnTo>
                      <a:pt x="33610" y="346882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331" name="Gráfico 2">
              <a:extLst>
                <a:ext uri="{FF2B5EF4-FFF2-40B4-BE49-F238E27FC236}">
                  <a16:creationId xmlns:a16="http://schemas.microsoft.com/office/drawing/2014/main" id="{DC80C217-93B8-4831-A8BE-0817F1F32ECF}"/>
                </a:ext>
              </a:extLst>
            </p:cNvPr>
            <p:cNvGrpSpPr/>
            <p:nvPr/>
          </p:nvGrpSpPr>
          <p:grpSpPr>
            <a:xfrm>
              <a:off x="7575163" y="612248"/>
              <a:ext cx="132538" cy="162660"/>
              <a:chOff x="7575163" y="612248"/>
              <a:chExt cx="132538" cy="162660"/>
            </a:xfrm>
            <a:grpFill/>
          </p:grpSpPr>
          <p:sp>
            <p:nvSpPr>
              <p:cNvPr id="332" name="Forma Livre: Forma 331">
                <a:extLst>
                  <a:ext uri="{FF2B5EF4-FFF2-40B4-BE49-F238E27FC236}">
                    <a16:creationId xmlns:a16="http://schemas.microsoft.com/office/drawing/2014/main" id="{F4B8070F-B6F9-4589-8EEF-941716BE446A}"/>
                  </a:ext>
                </a:extLst>
              </p:cNvPr>
              <p:cNvSpPr/>
              <p:nvPr/>
            </p:nvSpPr>
            <p:spPr>
              <a:xfrm>
                <a:off x="7575163" y="612248"/>
                <a:ext cx="132538" cy="83391"/>
              </a:xfrm>
              <a:custGeom>
                <a:avLst/>
                <a:gdLst>
                  <a:gd name="connsiteX0" fmla="*/ 117001 w 132538"/>
                  <a:gd name="connsiteY0" fmla="*/ 83391 h 83391"/>
                  <a:gd name="connsiteX1" fmla="*/ 104952 w 132538"/>
                  <a:gd name="connsiteY1" fmla="*/ 78318 h 83391"/>
                  <a:gd name="connsiteX2" fmla="*/ 66903 w 132538"/>
                  <a:gd name="connsiteY2" fmla="*/ 40903 h 83391"/>
                  <a:gd name="connsiteX3" fmla="*/ 28854 w 132538"/>
                  <a:gd name="connsiteY3" fmla="*/ 78318 h 83391"/>
                  <a:gd name="connsiteX4" fmla="*/ 4756 w 132538"/>
                  <a:gd name="connsiteY4" fmla="*/ 78318 h 83391"/>
                  <a:gd name="connsiteX5" fmla="*/ 4756 w 132538"/>
                  <a:gd name="connsiteY5" fmla="*/ 54220 h 83391"/>
                  <a:gd name="connsiteX6" fmla="*/ 54220 w 132538"/>
                  <a:gd name="connsiteY6" fmla="*/ 4756 h 83391"/>
                  <a:gd name="connsiteX7" fmla="*/ 78318 w 132538"/>
                  <a:gd name="connsiteY7" fmla="*/ 4756 h 83391"/>
                  <a:gd name="connsiteX8" fmla="*/ 127782 w 132538"/>
                  <a:gd name="connsiteY8" fmla="*/ 54220 h 83391"/>
                  <a:gd name="connsiteX9" fmla="*/ 127782 w 132538"/>
                  <a:gd name="connsiteY9" fmla="*/ 78318 h 83391"/>
                  <a:gd name="connsiteX10" fmla="*/ 117001 w 132538"/>
                  <a:gd name="connsiteY10" fmla="*/ 83391 h 83391"/>
                  <a:gd name="connsiteX11" fmla="*/ 117001 w 132538"/>
                  <a:gd name="connsiteY11" fmla="*/ 83391 h 83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32538" h="83391">
                    <a:moveTo>
                      <a:pt x="117001" y="83391"/>
                    </a:moveTo>
                    <a:cubicBezTo>
                      <a:pt x="112562" y="83391"/>
                      <a:pt x="108123" y="81489"/>
                      <a:pt x="104952" y="78318"/>
                    </a:cubicBezTo>
                    <a:lnTo>
                      <a:pt x="66903" y="40903"/>
                    </a:lnTo>
                    <a:lnTo>
                      <a:pt x="28854" y="78318"/>
                    </a:lnTo>
                    <a:cubicBezTo>
                      <a:pt x="22512" y="84660"/>
                      <a:pt x="11732" y="84660"/>
                      <a:pt x="4756" y="78318"/>
                    </a:cubicBezTo>
                    <a:cubicBezTo>
                      <a:pt x="-1585" y="71976"/>
                      <a:pt x="-1585" y="61196"/>
                      <a:pt x="4756" y="54220"/>
                    </a:cubicBezTo>
                    <a:lnTo>
                      <a:pt x="54220" y="4756"/>
                    </a:lnTo>
                    <a:cubicBezTo>
                      <a:pt x="60562" y="-1585"/>
                      <a:pt x="71342" y="-1585"/>
                      <a:pt x="78318" y="4756"/>
                    </a:cubicBezTo>
                    <a:lnTo>
                      <a:pt x="127782" y="54220"/>
                    </a:lnTo>
                    <a:cubicBezTo>
                      <a:pt x="134124" y="60562"/>
                      <a:pt x="134124" y="71342"/>
                      <a:pt x="127782" y="78318"/>
                    </a:cubicBezTo>
                    <a:cubicBezTo>
                      <a:pt x="125245" y="82123"/>
                      <a:pt x="120806" y="83391"/>
                      <a:pt x="117001" y="83391"/>
                    </a:cubicBezTo>
                    <a:lnTo>
                      <a:pt x="117001" y="83391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33" name="Forma Livre: Forma 332">
                <a:extLst>
                  <a:ext uri="{FF2B5EF4-FFF2-40B4-BE49-F238E27FC236}">
                    <a16:creationId xmlns:a16="http://schemas.microsoft.com/office/drawing/2014/main" id="{83EC6E8B-A4C9-4A14-9EB2-BD7F6EA3EEC8}"/>
                  </a:ext>
                </a:extLst>
              </p:cNvPr>
              <p:cNvSpPr/>
              <p:nvPr/>
            </p:nvSpPr>
            <p:spPr>
              <a:xfrm>
                <a:off x="7624944" y="625883"/>
                <a:ext cx="34244" cy="149026"/>
              </a:xfrm>
              <a:custGeom>
                <a:avLst/>
                <a:gdLst>
                  <a:gd name="connsiteX0" fmla="*/ 17122 w 34244"/>
                  <a:gd name="connsiteY0" fmla="*/ 149026 h 149026"/>
                  <a:gd name="connsiteX1" fmla="*/ 0 w 34244"/>
                  <a:gd name="connsiteY1" fmla="*/ 131904 h 149026"/>
                  <a:gd name="connsiteX2" fmla="*/ 0 w 34244"/>
                  <a:gd name="connsiteY2" fmla="*/ 17122 h 149026"/>
                  <a:gd name="connsiteX3" fmla="*/ 17122 w 34244"/>
                  <a:gd name="connsiteY3" fmla="*/ 0 h 149026"/>
                  <a:gd name="connsiteX4" fmla="*/ 34244 w 34244"/>
                  <a:gd name="connsiteY4" fmla="*/ 17122 h 149026"/>
                  <a:gd name="connsiteX5" fmla="*/ 34244 w 34244"/>
                  <a:gd name="connsiteY5" fmla="*/ 131904 h 149026"/>
                  <a:gd name="connsiteX6" fmla="*/ 17122 w 34244"/>
                  <a:gd name="connsiteY6" fmla="*/ 149026 h 149026"/>
                  <a:gd name="connsiteX7" fmla="*/ 17122 w 34244"/>
                  <a:gd name="connsiteY7" fmla="*/ 149026 h 1490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244" h="149026">
                    <a:moveTo>
                      <a:pt x="17122" y="149026"/>
                    </a:moveTo>
                    <a:cubicBezTo>
                      <a:pt x="7610" y="149026"/>
                      <a:pt x="0" y="141416"/>
                      <a:pt x="0" y="131904"/>
                    </a:cubicBezTo>
                    <a:lnTo>
                      <a:pt x="0" y="17122"/>
                    </a:lnTo>
                    <a:cubicBezTo>
                      <a:pt x="0" y="7610"/>
                      <a:pt x="7610" y="0"/>
                      <a:pt x="17122" y="0"/>
                    </a:cubicBezTo>
                    <a:cubicBezTo>
                      <a:pt x="26635" y="0"/>
                      <a:pt x="34244" y="7610"/>
                      <a:pt x="34244" y="17122"/>
                    </a:cubicBezTo>
                    <a:lnTo>
                      <a:pt x="34244" y="131904"/>
                    </a:lnTo>
                    <a:cubicBezTo>
                      <a:pt x="34244" y="141416"/>
                      <a:pt x="26635" y="149026"/>
                      <a:pt x="17122" y="149026"/>
                    </a:cubicBezTo>
                    <a:lnTo>
                      <a:pt x="17122" y="149026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334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10479274" y="546338"/>
            <a:ext cx="423607" cy="376887"/>
            <a:chOff x="10528734" y="546613"/>
            <a:chExt cx="428371" cy="381126"/>
          </a:xfrm>
          <a:solidFill>
            <a:srgbClr val="B1B1A1"/>
          </a:solidFill>
        </p:grpSpPr>
        <p:grpSp>
          <p:nvGrpSpPr>
            <p:cNvPr id="335" name="Gráfico 2">
              <a:extLst>
                <a:ext uri="{FF2B5EF4-FFF2-40B4-BE49-F238E27FC236}">
                  <a16:creationId xmlns:a16="http://schemas.microsoft.com/office/drawing/2014/main" id="{DC80C217-93B8-4831-A8BE-0817F1F32ECF}"/>
                </a:ext>
              </a:extLst>
            </p:cNvPr>
            <p:cNvGrpSpPr/>
            <p:nvPr/>
          </p:nvGrpSpPr>
          <p:grpSpPr>
            <a:xfrm>
              <a:off x="10528734" y="546613"/>
              <a:ext cx="310101" cy="381126"/>
              <a:chOff x="10528734" y="546613"/>
              <a:chExt cx="310101" cy="381126"/>
            </a:xfrm>
            <a:grpFill/>
          </p:grpSpPr>
          <p:sp>
            <p:nvSpPr>
              <p:cNvPr id="336" name="Forma Livre: Forma 335">
                <a:extLst>
                  <a:ext uri="{FF2B5EF4-FFF2-40B4-BE49-F238E27FC236}">
                    <a16:creationId xmlns:a16="http://schemas.microsoft.com/office/drawing/2014/main" id="{D482A1B7-4BE1-4262-B26C-2D95243203CB}"/>
                  </a:ext>
                </a:extLst>
              </p:cNvPr>
              <p:cNvSpPr/>
              <p:nvPr/>
            </p:nvSpPr>
            <p:spPr>
              <a:xfrm>
                <a:off x="10712004" y="800909"/>
                <a:ext cx="117952" cy="117952"/>
              </a:xfrm>
              <a:custGeom>
                <a:avLst/>
                <a:gdLst>
                  <a:gd name="connsiteX0" fmla="*/ 8244 w 117952"/>
                  <a:gd name="connsiteY0" fmla="*/ 117953 h 117952"/>
                  <a:gd name="connsiteX1" fmla="*/ 0 w 117952"/>
                  <a:gd name="connsiteY1" fmla="*/ 109709 h 117952"/>
                  <a:gd name="connsiteX2" fmla="*/ 0 w 117952"/>
                  <a:gd name="connsiteY2" fmla="*/ 8244 h 117952"/>
                  <a:gd name="connsiteX3" fmla="*/ 8244 w 117952"/>
                  <a:gd name="connsiteY3" fmla="*/ 0 h 117952"/>
                  <a:gd name="connsiteX4" fmla="*/ 109708 w 117952"/>
                  <a:gd name="connsiteY4" fmla="*/ 0 h 117952"/>
                  <a:gd name="connsiteX5" fmla="*/ 117952 w 117952"/>
                  <a:gd name="connsiteY5" fmla="*/ 8244 h 117952"/>
                  <a:gd name="connsiteX6" fmla="*/ 109708 w 117952"/>
                  <a:gd name="connsiteY6" fmla="*/ 16488 h 117952"/>
                  <a:gd name="connsiteX7" fmla="*/ 16488 w 117952"/>
                  <a:gd name="connsiteY7" fmla="*/ 16488 h 117952"/>
                  <a:gd name="connsiteX8" fmla="*/ 16488 w 117952"/>
                  <a:gd name="connsiteY8" fmla="*/ 109074 h 117952"/>
                  <a:gd name="connsiteX9" fmla="*/ 8244 w 117952"/>
                  <a:gd name="connsiteY9" fmla="*/ 117953 h 117952"/>
                  <a:gd name="connsiteX10" fmla="*/ 8244 w 117952"/>
                  <a:gd name="connsiteY10" fmla="*/ 117953 h 117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7952" h="117952">
                    <a:moveTo>
                      <a:pt x="8244" y="117953"/>
                    </a:moveTo>
                    <a:cubicBezTo>
                      <a:pt x="3805" y="117953"/>
                      <a:pt x="0" y="114148"/>
                      <a:pt x="0" y="109709"/>
                    </a:cubicBezTo>
                    <a:lnTo>
                      <a:pt x="0" y="8244"/>
                    </a:lnTo>
                    <a:cubicBezTo>
                      <a:pt x="0" y="3805"/>
                      <a:pt x="3805" y="0"/>
                      <a:pt x="8244" y="0"/>
                    </a:cubicBezTo>
                    <a:lnTo>
                      <a:pt x="109708" y="0"/>
                    </a:lnTo>
                    <a:cubicBezTo>
                      <a:pt x="114148" y="0"/>
                      <a:pt x="117952" y="3805"/>
                      <a:pt x="117952" y="8244"/>
                    </a:cubicBezTo>
                    <a:cubicBezTo>
                      <a:pt x="117952" y="12683"/>
                      <a:pt x="114148" y="16488"/>
                      <a:pt x="109708" y="16488"/>
                    </a:cubicBezTo>
                    <a:lnTo>
                      <a:pt x="16488" y="16488"/>
                    </a:lnTo>
                    <a:lnTo>
                      <a:pt x="16488" y="109074"/>
                    </a:lnTo>
                    <a:cubicBezTo>
                      <a:pt x="16488" y="114148"/>
                      <a:pt x="12683" y="117953"/>
                      <a:pt x="8244" y="117953"/>
                    </a:cubicBezTo>
                    <a:lnTo>
                      <a:pt x="8244" y="117953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37" name="Forma Livre: Forma 336">
                <a:extLst>
                  <a:ext uri="{FF2B5EF4-FFF2-40B4-BE49-F238E27FC236}">
                    <a16:creationId xmlns:a16="http://schemas.microsoft.com/office/drawing/2014/main" id="{FDF13944-726F-4C78-B388-1C716A8954F3}"/>
                  </a:ext>
                </a:extLst>
              </p:cNvPr>
              <p:cNvSpPr/>
              <p:nvPr/>
            </p:nvSpPr>
            <p:spPr>
              <a:xfrm>
                <a:off x="10528734" y="546613"/>
                <a:ext cx="310101" cy="381126"/>
              </a:xfrm>
              <a:custGeom>
                <a:avLst/>
                <a:gdLst>
                  <a:gd name="connsiteX0" fmla="*/ 191514 w 310101"/>
                  <a:gd name="connsiteY0" fmla="*/ 381126 h 381126"/>
                  <a:gd name="connsiteX1" fmla="*/ 17122 w 310101"/>
                  <a:gd name="connsiteY1" fmla="*/ 381126 h 381126"/>
                  <a:gd name="connsiteX2" fmla="*/ 0 w 310101"/>
                  <a:gd name="connsiteY2" fmla="*/ 364004 h 381126"/>
                  <a:gd name="connsiteX3" fmla="*/ 0 w 310101"/>
                  <a:gd name="connsiteY3" fmla="*/ 17122 h 381126"/>
                  <a:gd name="connsiteX4" fmla="*/ 17122 w 310101"/>
                  <a:gd name="connsiteY4" fmla="*/ 0 h 381126"/>
                  <a:gd name="connsiteX5" fmla="*/ 292979 w 310101"/>
                  <a:gd name="connsiteY5" fmla="*/ 0 h 381126"/>
                  <a:gd name="connsiteX6" fmla="*/ 310101 w 310101"/>
                  <a:gd name="connsiteY6" fmla="*/ 17122 h 381126"/>
                  <a:gd name="connsiteX7" fmla="*/ 310101 w 310101"/>
                  <a:gd name="connsiteY7" fmla="*/ 85611 h 381126"/>
                  <a:gd name="connsiteX8" fmla="*/ 292979 w 310101"/>
                  <a:gd name="connsiteY8" fmla="*/ 102733 h 381126"/>
                  <a:gd name="connsiteX9" fmla="*/ 275857 w 310101"/>
                  <a:gd name="connsiteY9" fmla="*/ 85611 h 381126"/>
                  <a:gd name="connsiteX10" fmla="*/ 275857 w 310101"/>
                  <a:gd name="connsiteY10" fmla="*/ 34244 h 381126"/>
                  <a:gd name="connsiteX11" fmla="*/ 33610 w 310101"/>
                  <a:gd name="connsiteY11" fmla="*/ 34244 h 381126"/>
                  <a:gd name="connsiteX12" fmla="*/ 33610 w 310101"/>
                  <a:gd name="connsiteY12" fmla="*/ 346882 h 381126"/>
                  <a:gd name="connsiteX13" fmla="*/ 184539 w 310101"/>
                  <a:gd name="connsiteY13" fmla="*/ 346882 h 381126"/>
                  <a:gd name="connsiteX14" fmla="*/ 275857 w 310101"/>
                  <a:gd name="connsiteY14" fmla="*/ 255564 h 381126"/>
                  <a:gd name="connsiteX15" fmla="*/ 275857 w 310101"/>
                  <a:gd name="connsiteY15" fmla="*/ 183270 h 381126"/>
                  <a:gd name="connsiteX16" fmla="*/ 292979 w 310101"/>
                  <a:gd name="connsiteY16" fmla="*/ 166148 h 381126"/>
                  <a:gd name="connsiteX17" fmla="*/ 310101 w 310101"/>
                  <a:gd name="connsiteY17" fmla="*/ 183270 h 381126"/>
                  <a:gd name="connsiteX18" fmla="*/ 310101 w 310101"/>
                  <a:gd name="connsiteY18" fmla="*/ 262540 h 381126"/>
                  <a:gd name="connsiteX19" fmla="*/ 305028 w 310101"/>
                  <a:gd name="connsiteY19" fmla="*/ 274589 h 381126"/>
                  <a:gd name="connsiteX20" fmla="*/ 203563 w 310101"/>
                  <a:gd name="connsiteY20" fmla="*/ 376053 h 381126"/>
                  <a:gd name="connsiteX21" fmla="*/ 191514 w 310101"/>
                  <a:gd name="connsiteY21" fmla="*/ 381126 h 381126"/>
                  <a:gd name="connsiteX22" fmla="*/ 191514 w 310101"/>
                  <a:gd name="connsiteY22" fmla="*/ 381126 h 381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310101" h="381126">
                    <a:moveTo>
                      <a:pt x="191514" y="381126"/>
                    </a:moveTo>
                    <a:lnTo>
                      <a:pt x="17122" y="381126"/>
                    </a:lnTo>
                    <a:cubicBezTo>
                      <a:pt x="7610" y="381126"/>
                      <a:pt x="0" y="373517"/>
                      <a:pt x="0" y="364004"/>
                    </a:cubicBezTo>
                    <a:lnTo>
                      <a:pt x="0" y="17122"/>
                    </a:lnTo>
                    <a:cubicBezTo>
                      <a:pt x="0" y="7610"/>
                      <a:pt x="7610" y="0"/>
                      <a:pt x="17122" y="0"/>
                    </a:cubicBezTo>
                    <a:lnTo>
                      <a:pt x="292979" y="0"/>
                    </a:lnTo>
                    <a:cubicBezTo>
                      <a:pt x="302491" y="0"/>
                      <a:pt x="310101" y="7610"/>
                      <a:pt x="310101" y="17122"/>
                    </a:cubicBezTo>
                    <a:lnTo>
                      <a:pt x="310101" y="85611"/>
                    </a:lnTo>
                    <a:cubicBezTo>
                      <a:pt x="310101" y="95123"/>
                      <a:pt x="302491" y="102733"/>
                      <a:pt x="292979" y="102733"/>
                    </a:cubicBezTo>
                    <a:cubicBezTo>
                      <a:pt x="283466" y="102733"/>
                      <a:pt x="275857" y="95123"/>
                      <a:pt x="275857" y="85611"/>
                    </a:cubicBezTo>
                    <a:lnTo>
                      <a:pt x="275857" y="34244"/>
                    </a:lnTo>
                    <a:lnTo>
                      <a:pt x="33610" y="34244"/>
                    </a:lnTo>
                    <a:lnTo>
                      <a:pt x="33610" y="346882"/>
                    </a:lnTo>
                    <a:lnTo>
                      <a:pt x="184539" y="346882"/>
                    </a:lnTo>
                    <a:lnTo>
                      <a:pt x="275857" y="255564"/>
                    </a:lnTo>
                    <a:lnTo>
                      <a:pt x="275857" y="183270"/>
                    </a:lnTo>
                    <a:cubicBezTo>
                      <a:pt x="275857" y="173758"/>
                      <a:pt x="283466" y="166148"/>
                      <a:pt x="292979" y="166148"/>
                    </a:cubicBezTo>
                    <a:cubicBezTo>
                      <a:pt x="302491" y="166148"/>
                      <a:pt x="310101" y="173758"/>
                      <a:pt x="310101" y="183270"/>
                    </a:cubicBezTo>
                    <a:lnTo>
                      <a:pt x="310101" y="262540"/>
                    </a:lnTo>
                    <a:cubicBezTo>
                      <a:pt x="310101" y="266979"/>
                      <a:pt x="308199" y="271418"/>
                      <a:pt x="305028" y="274589"/>
                    </a:cubicBezTo>
                    <a:lnTo>
                      <a:pt x="203563" y="376053"/>
                    </a:lnTo>
                    <a:cubicBezTo>
                      <a:pt x="199758" y="379224"/>
                      <a:pt x="195954" y="381126"/>
                      <a:pt x="191514" y="381126"/>
                    </a:cubicBezTo>
                    <a:lnTo>
                      <a:pt x="191514" y="381126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338" name="Gráfico 2">
              <a:extLst>
                <a:ext uri="{FF2B5EF4-FFF2-40B4-BE49-F238E27FC236}">
                  <a16:creationId xmlns:a16="http://schemas.microsoft.com/office/drawing/2014/main" id="{DC80C217-93B8-4831-A8BE-0817F1F32ECF}"/>
                </a:ext>
              </a:extLst>
            </p:cNvPr>
            <p:cNvGrpSpPr/>
            <p:nvPr/>
          </p:nvGrpSpPr>
          <p:grpSpPr>
            <a:xfrm>
              <a:off x="10703126" y="591955"/>
              <a:ext cx="253978" cy="175977"/>
              <a:chOff x="10703126" y="591955"/>
              <a:chExt cx="253978" cy="175977"/>
            </a:xfrm>
            <a:grpFill/>
          </p:grpSpPr>
          <p:sp>
            <p:nvSpPr>
              <p:cNvPr id="339" name="Forma Livre: Forma 338">
                <a:extLst>
                  <a:ext uri="{FF2B5EF4-FFF2-40B4-BE49-F238E27FC236}">
                    <a16:creationId xmlns:a16="http://schemas.microsoft.com/office/drawing/2014/main" id="{8BCD20A1-7F9A-4AD7-BA89-BD43676BE62B}"/>
                  </a:ext>
                </a:extLst>
              </p:cNvPr>
              <p:cNvSpPr/>
              <p:nvPr/>
            </p:nvSpPr>
            <p:spPr>
              <a:xfrm>
                <a:off x="10852470" y="591955"/>
                <a:ext cx="104635" cy="175977"/>
              </a:xfrm>
              <a:custGeom>
                <a:avLst/>
                <a:gdLst>
                  <a:gd name="connsiteX0" fmla="*/ 16804 w 104635"/>
                  <a:gd name="connsiteY0" fmla="*/ 175978 h 175977"/>
                  <a:gd name="connsiteX1" fmla="*/ 4756 w 104635"/>
                  <a:gd name="connsiteY1" fmla="*/ 170904 h 175977"/>
                  <a:gd name="connsiteX2" fmla="*/ 4756 w 104635"/>
                  <a:gd name="connsiteY2" fmla="*/ 146807 h 175977"/>
                  <a:gd name="connsiteX3" fmla="*/ 63732 w 104635"/>
                  <a:gd name="connsiteY3" fmla="*/ 87830 h 175977"/>
                  <a:gd name="connsiteX4" fmla="*/ 4756 w 104635"/>
                  <a:gd name="connsiteY4" fmla="*/ 28854 h 175977"/>
                  <a:gd name="connsiteX5" fmla="*/ 4756 w 104635"/>
                  <a:gd name="connsiteY5" fmla="*/ 4756 h 175977"/>
                  <a:gd name="connsiteX6" fmla="*/ 28854 w 104635"/>
                  <a:gd name="connsiteY6" fmla="*/ 4756 h 175977"/>
                  <a:gd name="connsiteX7" fmla="*/ 99879 w 104635"/>
                  <a:gd name="connsiteY7" fmla="*/ 75781 h 175977"/>
                  <a:gd name="connsiteX8" fmla="*/ 99879 w 104635"/>
                  <a:gd name="connsiteY8" fmla="*/ 99879 h 175977"/>
                  <a:gd name="connsiteX9" fmla="*/ 28220 w 104635"/>
                  <a:gd name="connsiteY9" fmla="*/ 170904 h 175977"/>
                  <a:gd name="connsiteX10" fmla="*/ 16804 w 104635"/>
                  <a:gd name="connsiteY10" fmla="*/ 175978 h 175977"/>
                  <a:gd name="connsiteX11" fmla="*/ 16804 w 104635"/>
                  <a:gd name="connsiteY11" fmla="*/ 175978 h 1759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4635" h="175977">
                    <a:moveTo>
                      <a:pt x="16804" y="175978"/>
                    </a:moveTo>
                    <a:cubicBezTo>
                      <a:pt x="12366" y="175978"/>
                      <a:pt x="7927" y="174075"/>
                      <a:pt x="4756" y="170904"/>
                    </a:cubicBezTo>
                    <a:cubicBezTo>
                      <a:pt x="-1585" y="164563"/>
                      <a:pt x="-1585" y="153782"/>
                      <a:pt x="4756" y="146807"/>
                    </a:cubicBezTo>
                    <a:lnTo>
                      <a:pt x="63732" y="87830"/>
                    </a:lnTo>
                    <a:lnTo>
                      <a:pt x="4756" y="28854"/>
                    </a:lnTo>
                    <a:cubicBezTo>
                      <a:pt x="-1585" y="22512"/>
                      <a:pt x="-1585" y="11732"/>
                      <a:pt x="4756" y="4756"/>
                    </a:cubicBezTo>
                    <a:cubicBezTo>
                      <a:pt x="11098" y="-1585"/>
                      <a:pt x="21878" y="-1585"/>
                      <a:pt x="28854" y="4756"/>
                    </a:cubicBezTo>
                    <a:lnTo>
                      <a:pt x="99879" y="75781"/>
                    </a:lnTo>
                    <a:cubicBezTo>
                      <a:pt x="106221" y="82123"/>
                      <a:pt x="106221" y="92904"/>
                      <a:pt x="99879" y="99879"/>
                    </a:cubicBezTo>
                    <a:lnTo>
                      <a:pt x="28220" y="170904"/>
                    </a:lnTo>
                    <a:cubicBezTo>
                      <a:pt x="25049" y="174075"/>
                      <a:pt x="20610" y="175978"/>
                      <a:pt x="16804" y="175978"/>
                    </a:cubicBezTo>
                    <a:lnTo>
                      <a:pt x="16804" y="175978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40" name="Forma Livre: Forma 339">
                <a:extLst>
                  <a:ext uri="{FF2B5EF4-FFF2-40B4-BE49-F238E27FC236}">
                    <a16:creationId xmlns:a16="http://schemas.microsoft.com/office/drawing/2014/main" id="{EAD676FB-2251-4456-8C00-2CD5E366FFAB}"/>
                  </a:ext>
                </a:extLst>
              </p:cNvPr>
              <p:cNvSpPr/>
              <p:nvPr/>
            </p:nvSpPr>
            <p:spPr>
              <a:xfrm>
                <a:off x="10703126" y="662664"/>
                <a:ext cx="234636" cy="34244"/>
              </a:xfrm>
              <a:custGeom>
                <a:avLst/>
                <a:gdLst>
                  <a:gd name="connsiteX0" fmla="*/ 17122 w 234636"/>
                  <a:gd name="connsiteY0" fmla="*/ 34244 h 34244"/>
                  <a:gd name="connsiteX1" fmla="*/ 0 w 234636"/>
                  <a:gd name="connsiteY1" fmla="*/ 17122 h 34244"/>
                  <a:gd name="connsiteX2" fmla="*/ 17122 w 234636"/>
                  <a:gd name="connsiteY2" fmla="*/ 0 h 34244"/>
                  <a:gd name="connsiteX3" fmla="*/ 217515 w 234636"/>
                  <a:gd name="connsiteY3" fmla="*/ 0 h 34244"/>
                  <a:gd name="connsiteX4" fmla="*/ 234637 w 234636"/>
                  <a:gd name="connsiteY4" fmla="*/ 17122 h 34244"/>
                  <a:gd name="connsiteX5" fmla="*/ 217515 w 234636"/>
                  <a:gd name="connsiteY5" fmla="*/ 34244 h 34244"/>
                  <a:gd name="connsiteX6" fmla="*/ 17122 w 234636"/>
                  <a:gd name="connsiteY6" fmla="*/ 34244 h 34244"/>
                  <a:gd name="connsiteX7" fmla="*/ 17122 w 234636"/>
                  <a:gd name="connsiteY7" fmla="*/ 34244 h 34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4636" h="34244">
                    <a:moveTo>
                      <a:pt x="17122" y="34244"/>
                    </a:moveTo>
                    <a:cubicBezTo>
                      <a:pt x="7610" y="34244"/>
                      <a:pt x="0" y="26634"/>
                      <a:pt x="0" y="17122"/>
                    </a:cubicBezTo>
                    <a:cubicBezTo>
                      <a:pt x="0" y="7610"/>
                      <a:pt x="7610" y="0"/>
                      <a:pt x="17122" y="0"/>
                    </a:cubicBezTo>
                    <a:lnTo>
                      <a:pt x="217515" y="0"/>
                    </a:lnTo>
                    <a:cubicBezTo>
                      <a:pt x="227027" y="0"/>
                      <a:pt x="234637" y="7610"/>
                      <a:pt x="234637" y="17122"/>
                    </a:cubicBezTo>
                    <a:cubicBezTo>
                      <a:pt x="234637" y="26634"/>
                      <a:pt x="227027" y="34244"/>
                      <a:pt x="217515" y="34244"/>
                    </a:cubicBezTo>
                    <a:lnTo>
                      <a:pt x="17122" y="34244"/>
                    </a:lnTo>
                    <a:lnTo>
                      <a:pt x="17122" y="34244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341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9485947" y="546338"/>
            <a:ext cx="354311" cy="376887"/>
            <a:chOff x="9524234" y="546613"/>
            <a:chExt cx="358296" cy="381126"/>
          </a:xfrm>
          <a:solidFill>
            <a:srgbClr val="B1B1A1"/>
          </a:solidFill>
        </p:grpSpPr>
        <p:grpSp>
          <p:nvGrpSpPr>
            <p:cNvPr id="342" name="Gráfico 2">
              <a:extLst>
                <a:ext uri="{FF2B5EF4-FFF2-40B4-BE49-F238E27FC236}">
                  <a16:creationId xmlns:a16="http://schemas.microsoft.com/office/drawing/2014/main" id="{DC80C217-93B8-4831-A8BE-0817F1F32ECF}"/>
                </a:ext>
              </a:extLst>
            </p:cNvPr>
            <p:cNvGrpSpPr/>
            <p:nvPr/>
          </p:nvGrpSpPr>
          <p:grpSpPr>
            <a:xfrm>
              <a:off x="9524234" y="546613"/>
              <a:ext cx="310101" cy="381126"/>
              <a:chOff x="9524234" y="546613"/>
              <a:chExt cx="310101" cy="381126"/>
            </a:xfrm>
            <a:grpFill/>
          </p:grpSpPr>
          <p:sp>
            <p:nvSpPr>
              <p:cNvPr id="343" name="Forma Livre: Forma 342">
                <a:extLst>
                  <a:ext uri="{FF2B5EF4-FFF2-40B4-BE49-F238E27FC236}">
                    <a16:creationId xmlns:a16="http://schemas.microsoft.com/office/drawing/2014/main" id="{7E0089EC-24E5-424B-BAE1-928F8692FD09}"/>
                  </a:ext>
                </a:extLst>
              </p:cNvPr>
              <p:cNvSpPr/>
              <p:nvPr/>
            </p:nvSpPr>
            <p:spPr>
              <a:xfrm>
                <a:off x="9707505" y="800909"/>
                <a:ext cx="117952" cy="117952"/>
              </a:xfrm>
              <a:custGeom>
                <a:avLst/>
                <a:gdLst>
                  <a:gd name="connsiteX0" fmla="*/ 8244 w 117952"/>
                  <a:gd name="connsiteY0" fmla="*/ 117953 h 117952"/>
                  <a:gd name="connsiteX1" fmla="*/ 0 w 117952"/>
                  <a:gd name="connsiteY1" fmla="*/ 109709 h 117952"/>
                  <a:gd name="connsiteX2" fmla="*/ 0 w 117952"/>
                  <a:gd name="connsiteY2" fmla="*/ 8244 h 117952"/>
                  <a:gd name="connsiteX3" fmla="*/ 8244 w 117952"/>
                  <a:gd name="connsiteY3" fmla="*/ 0 h 117952"/>
                  <a:gd name="connsiteX4" fmla="*/ 109709 w 117952"/>
                  <a:gd name="connsiteY4" fmla="*/ 0 h 117952"/>
                  <a:gd name="connsiteX5" fmla="*/ 117952 w 117952"/>
                  <a:gd name="connsiteY5" fmla="*/ 8244 h 117952"/>
                  <a:gd name="connsiteX6" fmla="*/ 109709 w 117952"/>
                  <a:gd name="connsiteY6" fmla="*/ 16488 h 117952"/>
                  <a:gd name="connsiteX7" fmla="*/ 17122 w 117952"/>
                  <a:gd name="connsiteY7" fmla="*/ 16488 h 117952"/>
                  <a:gd name="connsiteX8" fmla="*/ 17122 w 117952"/>
                  <a:gd name="connsiteY8" fmla="*/ 109074 h 117952"/>
                  <a:gd name="connsiteX9" fmla="*/ 8244 w 117952"/>
                  <a:gd name="connsiteY9" fmla="*/ 117953 h 117952"/>
                  <a:gd name="connsiteX10" fmla="*/ 8244 w 117952"/>
                  <a:gd name="connsiteY10" fmla="*/ 117953 h 117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7952" h="117952">
                    <a:moveTo>
                      <a:pt x="8244" y="117953"/>
                    </a:moveTo>
                    <a:cubicBezTo>
                      <a:pt x="3805" y="117953"/>
                      <a:pt x="0" y="114148"/>
                      <a:pt x="0" y="109709"/>
                    </a:cubicBezTo>
                    <a:lnTo>
                      <a:pt x="0" y="8244"/>
                    </a:lnTo>
                    <a:cubicBezTo>
                      <a:pt x="0" y="3805"/>
                      <a:pt x="3805" y="0"/>
                      <a:pt x="8244" y="0"/>
                    </a:cubicBezTo>
                    <a:lnTo>
                      <a:pt x="109709" y="0"/>
                    </a:lnTo>
                    <a:cubicBezTo>
                      <a:pt x="114148" y="0"/>
                      <a:pt x="117952" y="3805"/>
                      <a:pt x="117952" y="8244"/>
                    </a:cubicBezTo>
                    <a:cubicBezTo>
                      <a:pt x="117952" y="12683"/>
                      <a:pt x="114148" y="16488"/>
                      <a:pt x="109709" y="16488"/>
                    </a:cubicBezTo>
                    <a:lnTo>
                      <a:pt x="17122" y="16488"/>
                    </a:lnTo>
                    <a:lnTo>
                      <a:pt x="17122" y="109074"/>
                    </a:lnTo>
                    <a:cubicBezTo>
                      <a:pt x="16488" y="114148"/>
                      <a:pt x="12683" y="117953"/>
                      <a:pt x="8244" y="117953"/>
                    </a:cubicBezTo>
                    <a:lnTo>
                      <a:pt x="8244" y="117953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44" name="Forma Livre: Forma 343">
                <a:extLst>
                  <a:ext uri="{FF2B5EF4-FFF2-40B4-BE49-F238E27FC236}">
                    <a16:creationId xmlns:a16="http://schemas.microsoft.com/office/drawing/2014/main" id="{B315C7BF-1DEB-40DB-BC34-656CFA3DD04C}"/>
                  </a:ext>
                </a:extLst>
              </p:cNvPr>
              <p:cNvSpPr/>
              <p:nvPr/>
            </p:nvSpPr>
            <p:spPr>
              <a:xfrm>
                <a:off x="9524234" y="546613"/>
                <a:ext cx="310101" cy="381126"/>
              </a:xfrm>
              <a:custGeom>
                <a:avLst/>
                <a:gdLst>
                  <a:gd name="connsiteX0" fmla="*/ 191515 w 310101"/>
                  <a:gd name="connsiteY0" fmla="*/ 381126 h 381126"/>
                  <a:gd name="connsiteX1" fmla="*/ 17123 w 310101"/>
                  <a:gd name="connsiteY1" fmla="*/ 381126 h 381126"/>
                  <a:gd name="connsiteX2" fmla="*/ 0 w 310101"/>
                  <a:gd name="connsiteY2" fmla="*/ 364004 h 381126"/>
                  <a:gd name="connsiteX3" fmla="*/ 0 w 310101"/>
                  <a:gd name="connsiteY3" fmla="*/ 17122 h 381126"/>
                  <a:gd name="connsiteX4" fmla="*/ 17123 w 310101"/>
                  <a:gd name="connsiteY4" fmla="*/ 0 h 381126"/>
                  <a:gd name="connsiteX5" fmla="*/ 292979 w 310101"/>
                  <a:gd name="connsiteY5" fmla="*/ 0 h 381126"/>
                  <a:gd name="connsiteX6" fmla="*/ 310101 w 310101"/>
                  <a:gd name="connsiteY6" fmla="*/ 17122 h 381126"/>
                  <a:gd name="connsiteX7" fmla="*/ 310101 w 310101"/>
                  <a:gd name="connsiteY7" fmla="*/ 85611 h 381126"/>
                  <a:gd name="connsiteX8" fmla="*/ 292979 w 310101"/>
                  <a:gd name="connsiteY8" fmla="*/ 102733 h 381126"/>
                  <a:gd name="connsiteX9" fmla="*/ 275857 w 310101"/>
                  <a:gd name="connsiteY9" fmla="*/ 85611 h 381126"/>
                  <a:gd name="connsiteX10" fmla="*/ 275857 w 310101"/>
                  <a:gd name="connsiteY10" fmla="*/ 34244 h 381126"/>
                  <a:gd name="connsiteX11" fmla="*/ 33610 w 310101"/>
                  <a:gd name="connsiteY11" fmla="*/ 34244 h 381126"/>
                  <a:gd name="connsiteX12" fmla="*/ 33610 w 310101"/>
                  <a:gd name="connsiteY12" fmla="*/ 346882 h 381126"/>
                  <a:gd name="connsiteX13" fmla="*/ 184539 w 310101"/>
                  <a:gd name="connsiteY13" fmla="*/ 346882 h 381126"/>
                  <a:gd name="connsiteX14" fmla="*/ 275857 w 310101"/>
                  <a:gd name="connsiteY14" fmla="*/ 255564 h 381126"/>
                  <a:gd name="connsiteX15" fmla="*/ 275857 w 310101"/>
                  <a:gd name="connsiteY15" fmla="*/ 183270 h 381126"/>
                  <a:gd name="connsiteX16" fmla="*/ 292979 w 310101"/>
                  <a:gd name="connsiteY16" fmla="*/ 166148 h 381126"/>
                  <a:gd name="connsiteX17" fmla="*/ 310101 w 310101"/>
                  <a:gd name="connsiteY17" fmla="*/ 183270 h 381126"/>
                  <a:gd name="connsiteX18" fmla="*/ 310101 w 310101"/>
                  <a:gd name="connsiteY18" fmla="*/ 262540 h 381126"/>
                  <a:gd name="connsiteX19" fmla="*/ 305028 w 310101"/>
                  <a:gd name="connsiteY19" fmla="*/ 274589 h 381126"/>
                  <a:gd name="connsiteX20" fmla="*/ 203563 w 310101"/>
                  <a:gd name="connsiteY20" fmla="*/ 376053 h 381126"/>
                  <a:gd name="connsiteX21" fmla="*/ 191515 w 310101"/>
                  <a:gd name="connsiteY21" fmla="*/ 381126 h 381126"/>
                  <a:gd name="connsiteX22" fmla="*/ 191515 w 310101"/>
                  <a:gd name="connsiteY22" fmla="*/ 381126 h 381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310101" h="381126">
                    <a:moveTo>
                      <a:pt x="191515" y="381126"/>
                    </a:moveTo>
                    <a:lnTo>
                      <a:pt x="17123" y="381126"/>
                    </a:lnTo>
                    <a:cubicBezTo>
                      <a:pt x="7610" y="381126"/>
                      <a:pt x="0" y="373517"/>
                      <a:pt x="0" y="364004"/>
                    </a:cubicBezTo>
                    <a:lnTo>
                      <a:pt x="0" y="17122"/>
                    </a:lnTo>
                    <a:cubicBezTo>
                      <a:pt x="0" y="7610"/>
                      <a:pt x="7610" y="0"/>
                      <a:pt x="17123" y="0"/>
                    </a:cubicBezTo>
                    <a:lnTo>
                      <a:pt x="292979" y="0"/>
                    </a:lnTo>
                    <a:cubicBezTo>
                      <a:pt x="302492" y="0"/>
                      <a:pt x="310101" y="7610"/>
                      <a:pt x="310101" y="17122"/>
                    </a:cubicBezTo>
                    <a:lnTo>
                      <a:pt x="310101" y="85611"/>
                    </a:lnTo>
                    <a:cubicBezTo>
                      <a:pt x="310101" y="95123"/>
                      <a:pt x="302492" y="102733"/>
                      <a:pt x="292979" y="102733"/>
                    </a:cubicBezTo>
                    <a:cubicBezTo>
                      <a:pt x="283467" y="102733"/>
                      <a:pt x="275857" y="95123"/>
                      <a:pt x="275857" y="85611"/>
                    </a:cubicBezTo>
                    <a:lnTo>
                      <a:pt x="275857" y="34244"/>
                    </a:lnTo>
                    <a:lnTo>
                      <a:pt x="33610" y="34244"/>
                    </a:lnTo>
                    <a:lnTo>
                      <a:pt x="33610" y="346882"/>
                    </a:lnTo>
                    <a:lnTo>
                      <a:pt x="184539" y="346882"/>
                    </a:lnTo>
                    <a:lnTo>
                      <a:pt x="275857" y="255564"/>
                    </a:lnTo>
                    <a:lnTo>
                      <a:pt x="275857" y="183270"/>
                    </a:lnTo>
                    <a:cubicBezTo>
                      <a:pt x="275857" y="173758"/>
                      <a:pt x="283467" y="166148"/>
                      <a:pt x="292979" y="166148"/>
                    </a:cubicBezTo>
                    <a:cubicBezTo>
                      <a:pt x="302492" y="166148"/>
                      <a:pt x="310101" y="173758"/>
                      <a:pt x="310101" y="183270"/>
                    </a:cubicBezTo>
                    <a:lnTo>
                      <a:pt x="310101" y="262540"/>
                    </a:lnTo>
                    <a:cubicBezTo>
                      <a:pt x="310101" y="266979"/>
                      <a:pt x="308199" y="271418"/>
                      <a:pt x="305028" y="274589"/>
                    </a:cubicBezTo>
                    <a:lnTo>
                      <a:pt x="203563" y="376053"/>
                    </a:lnTo>
                    <a:cubicBezTo>
                      <a:pt x="199758" y="379224"/>
                      <a:pt x="195954" y="381126"/>
                      <a:pt x="191515" y="381126"/>
                    </a:cubicBezTo>
                    <a:lnTo>
                      <a:pt x="191515" y="381126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345" name="Gráfico 2">
              <a:extLst>
                <a:ext uri="{FF2B5EF4-FFF2-40B4-BE49-F238E27FC236}">
                  <a16:creationId xmlns:a16="http://schemas.microsoft.com/office/drawing/2014/main" id="{DC80C217-93B8-4831-A8BE-0817F1F32ECF}"/>
                </a:ext>
              </a:extLst>
            </p:cNvPr>
            <p:cNvGrpSpPr/>
            <p:nvPr/>
          </p:nvGrpSpPr>
          <p:grpSpPr>
            <a:xfrm>
              <a:off x="9628553" y="591955"/>
              <a:ext cx="253978" cy="175977"/>
              <a:chOff x="9628553" y="591955"/>
              <a:chExt cx="253978" cy="175977"/>
            </a:xfrm>
            <a:grpFill/>
          </p:grpSpPr>
          <p:sp>
            <p:nvSpPr>
              <p:cNvPr id="346" name="Forma Livre: Forma 345">
                <a:extLst>
                  <a:ext uri="{FF2B5EF4-FFF2-40B4-BE49-F238E27FC236}">
                    <a16:creationId xmlns:a16="http://schemas.microsoft.com/office/drawing/2014/main" id="{00D3F5B9-0B17-4A34-9EF6-FB611191FF51}"/>
                  </a:ext>
                </a:extLst>
              </p:cNvPr>
              <p:cNvSpPr/>
              <p:nvPr/>
            </p:nvSpPr>
            <p:spPr>
              <a:xfrm>
                <a:off x="9628553" y="591955"/>
                <a:ext cx="104635" cy="175977"/>
              </a:xfrm>
              <a:custGeom>
                <a:avLst/>
                <a:gdLst>
                  <a:gd name="connsiteX0" fmla="*/ 87830 w 104635"/>
                  <a:gd name="connsiteY0" fmla="*/ 175978 h 175977"/>
                  <a:gd name="connsiteX1" fmla="*/ 75781 w 104635"/>
                  <a:gd name="connsiteY1" fmla="*/ 170904 h 175977"/>
                  <a:gd name="connsiteX2" fmla="*/ 4756 w 104635"/>
                  <a:gd name="connsiteY2" fmla="*/ 99879 h 175977"/>
                  <a:gd name="connsiteX3" fmla="*/ 4756 w 104635"/>
                  <a:gd name="connsiteY3" fmla="*/ 75781 h 175977"/>
                  <a:gd name="connsiteX4" fmla="*/ 75781 w 104635"/>
                  <a:gd name="connsiteY4" fmla="*/ 4756 h 175977"/>
                  <a:gd name="connsiteX5" fmla="*/ 99879 w 104635"/>
                  <a:gd name="connsiteY5" fmla="*/ 4756 h 175977"/>
                  <a:gd name="connsiteX6" fmla="*/ 99879 w 104635"/>
                  <a:gd name="connsiteY6" fmla="*/ 28854 h 175977"/>
                  <a:gd name="connsiteX7" fmla="*/ 40903 w 104635"/>
                  <a:gd name="connsiteY7" fmla="*/ 88464 h 175977"/>
                  <a:gd name="connsiteX8" fmla="*/ 99879 w 104635"/>
                  <a:gd name="connsiteY8" fmla="*/ 147441 h 175977"/>
                  <a:gd name="connsiteX9" fmla="*/ 99879 w 104635"/>
                  <a:gd name="connsiteY9" fmla="*/ 171539 h 175977"/>
                  <a:gd name="connsiteX10" fmla="*/ 87830 w 104635"/>
                  <a:gd name="connsiteY10" fmla="*/ 175978 h 175977"/>
                  <a:gd name="connsiteX11" fmla="*/ 87830 w 104635"/>
                  <a:gd name="connsiteY11" fmla="*/ 175978 h 1759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4635" h="175977">
                    <a:moveTo>
                      <a:pt x="87830" y="175978"/>
                    </a:moveTo>
                    <a:cubicBezTo>
                      <a:pt x="83391" y="175978"/>
                      <a:pt x="78952" y="174075"/>
                      <a:pt x="75781" y="170904"/>
                    </a:cubicBezTo>
                    <a:lnTo>
                      <a:pt x="4756" y="99879"/>
                    </a:lnTo>
                    <a:cubicBezTo>
                      <a:pt x="-1585" y="93538"/>
                      <a:pt x="-1585" y="82757"/>
                      <a:pt x="4756" y="75781"/>
                    </a:cubicBezTo>
                    <a:lnTo>
                      <a:pt x="75781" y="4756"/>
                    </a:lnTo>
                    <a:cubicBezTo>
                      <a:pt x="82123" y="-1585"/>
                      <a:pt x="92903" y="-1585"/>
                      <a:pt x="99879" y="4756"/>
                    </a:cubicBezTo>
                    <a:cubicBezTo>
                      <a:pt x="106221" y="11098"/>
                      <a:pt x="106221" y="21878"/>
                      <a:pt x="99879" y="28854"/>
                    </a:cubicBezTo>
                    <a:lnTo>
                      <a:pt x="40903" y="88464"/>
                    </a:lnTo>
                    <a:lnTo>
                      <a:pt x="99879" y="147441"/>
                    </a:lnTo>
                    <a:cubicBezTo>
                      <a:pt x="106221" y="153782"/>
                      <a:pt x="106221" y="164563"/>
                      <a:pt x="99879" y="171539"/>
                    </a:cubicBezTo>
                    <a:cubicBezTo>
                      <a:pt x="96708" y="174075"/>
                      <a:pt x="92269" y="175978"/>
                      <a:pt x="87830" y="175978"/>
                    </a:cubicBezTo>
                    <a:lnTo>
                      <a:pt x="87830" y="175978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47" name="Forma Livre: Forma 346">
                <a:extLst>
                  <a:ext uri="{FF2B5EF4-FFF2-40B4-BE49-F238E27FC236}">
                    <a16:creationId xmlns:a16="http://schemas.microsoft.com/office/drawing/2014/main" id="{31C0AA53-0C8E-48C9-8A9A-17D25C8FC163}"/>
                  </a:ext>
                </a:extLst>
              </p:cNvPr>
              <p:cNvSpPr/>
              <p:nvPr/>
            </p:nvSpPr>
            <p:spPr>
              <a:xfrm>
                <a:off x="9647894" y="662664"/>
                <a:ext cx="234636" cy="34244"/>
              </a:xfrm>
              <a:custGeom>
                <a:avLst/>
                <a:gdLst>
                  <a:gd name="connsiteX0" fmla="*/ 17123 w 234636"/>
                  <a:gd name="connsiteY0" fmla="*/ 34244 h 34244"/>
                  <a:gd name="connsiteX1" fmla="*/ 0 w 234636"/>
                  <a:gd name="connsiteY1" fmla="*/ 17122 h 34244"/>
                  <a:gd name="connsiteX2" fmla="*/ 17123 w 234636"/>
                  <a:gd name="connsiteY2" fmla="*/ 0 h 34244"/>
                  <a:gd name="connsiteX3" fmla="*/ 217515 w 234636"/>
                  <a:gd name="connsiteY3" fmla="*/ 0 h 34244"/>
                  <a:gd name="connsiteX4" fmla="*/ 234637 w 234636"/>
                  <a:gd name="connsiteY4" fmla="*/ 17122 h 34244"/>
                  <a:gd name="connsiteX5" fmla="*/ 217515 w 234636"/>
                  <a:gd name="connsiteY5" fmla="*/ 34244 h 34244"/>
                  <a:gd name="connsiteX6" fmla="*/ 17123 w 234636"/>
                  <a:gd name="connsiteY6" fmla="*/ 34244 h 34244"/>
                  <a:gd name="connsiteX7" fmla="*/ 17123 w 234636"/>
                  <a:gd name="connsiteY7" fmla="*/ 34244 h 34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4636" h="34244">
                    <a:moveTo>
                      <a:pt x="17123" y="34244"/>
                    </a:moveTo>
                    <a:cubicBezTo>
                      <a:pt x="7610" y="34244"/>
                      <a:pt x="0" y="26634"/>
                      <a:pt x="0" y="17122"/>
                    </a:cubicBezTo>
                    <a:cubicBezTo>
                      <a:pt x="0" y="7610"/>
                      <a:pt x="7610" y="0"/>
                      <a:pt x="17123" y="0"/>
                    </a:cubicBezTo>
                    <a:lnTo>
                      <a:pt x="217515" y="0"/>
                    </a:lnTo>
                    <a:cubicBezTo>
                      <a:pt x="227027" y="0"/>
                      <a:pt x="234637" y="7610"/>
                      <a:pt x="234637" y="17122"/>
                    </a:cubicBezTo>
                    <a:cubicBezTo>
                      <a:pt x="234637" y="26634"/>
                      <a:pt x="227027" y="34244"/>
                      <a:pt x="217515" y="34244"/>
                    </a:cubicBezTo>
                    <a:lnTo>
                      <a:pt x="17123" y="34244"/>
                    </a:lnTo>
                    <a:lnTo>
                      <a:pt x="17123" y="34244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348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8497010" y="546338"/>
            <a:ext cx="306652" cy="376887"/>
            <a:chOff x="8524174" y="546613"/>
            <a:chExt cx="310101" cy="381126"/>
          </a:xfrm>
          <a:solidFill>
            <a:srgbClr val="B1B1A1"/>
          </a:solidFill>
        </p:grpSpPr>
        <p:grpSp>
          <p:nvGrpSpPr>
            <p:cNvPr id="349" name="Gráfico 2">
              <a:extLst>
                <a:ext uri="{FF2B5EF4-FFF2-40B4-BE49-F238E27FC236}">
                  <a16:creationId xmlns:a16="http://schemas.microsoft.com/office/drawing/2014/main" id="{DC80C217-93B8-4831-A8BE-0817F1F32ECF}"/>
                </a:ext>
              </a:extLst>
            </p:cNvPr>
            <p:cNvGrpSpPr/>
            <p:nvPr/>
          </p:nvGrpSpPr>
          <p:grpSpPr>
            <a:xfrm>
              <a:off x="8524174" y="546613"/>
              <a:ext cx="310101" cy="381126"/>
              <a:chOff x="8524174" y="546613"/>
              <a:chExt cx="310101" cy="381126"/>
            </a:xfrm>
            <a:grpFill/>
          </p:grpSpPr>
          <p:sp>
            <p:nvSpPr>
              <p:cNvPr id="350" name="Forma Livre: Forma 349">
                <a:extLst>
                  <a:ext uri="{FF2B5EF4-FFF2-40B4-BE49-F238E27FC236}">
                    <a16:creationId xmlns:a16="http://schemas.microsoft.com/office/drawing/2014/main" id="{BD62553D-1760-4F5D-8A2B-1B852678E4CD}"/>
                  </a:ext>
                </a:extLst>
              </p:cNvPr>
              <p:cNvSpPr/>
              <p:nvPr/>
            </p:nvSpPr>
            <p:spPr>
              <a:xfrm>
                <a:off x="8707445" y="800909"/>
                <a:ext cx="117952" cy="117952"/>
              </a:xfrm>
              <a:custGeom>
                <a:avLst/>
                <a:gdLst>
                  <a:gd name="connsiteX0" fmla="*/ 8244 w 117952"/>
                  <a:gd name="connsiteY0" fmla="*/ 117953 h 117952"/>
                  <a:gd name="connsiteX1" fmla="*/ 0 w 117952"/>
                  <a:gd name="connsiteY1" fmla="*/ 109709 h 117952"/>
                  <a:gd name="connsiteX2" fmla="*/ 0 w 117952"/>
                  <a:gd name="connsiteY2" fmla="*/ 8244 h 117952"/>
                  <a:gd name="connsiteX3" fmla="*/ 8244 w 117952"/>
                  <a:gd name="connsiteY3" fmla="*/ 0 h 117952"/>
                  <a:gd name="connsiteX4" fmla="*/ 109708 w 117952"/>
                  <a:gd name="connsiteY4" fmla="*/ 0 h 117952"/>
                  <a:gd name="connsiteX5" fmla="*/ 117952 w 117952"/>
                  <a:gd name="connsiteY5" fmla="*/ 8244 h 117952"/>
                  <a:gd name="connsiteX6" fmla="*/ 109708 w 117952"/>
                  <a:gd name="connsiteY6" fmla="*/ 16488 h 117952"/>
                  <a:gd name="connsiteX7" fmla="*/ 17122 w 117952"/>
                  <a:gd name="connsiteY7" fmla="*/ 16488 h 117952"/>
                  <a:gd name="connsiteX8" fmla="*/ 17122 w 117952"/>
                  <a:gd name="connsiteY8" fmla="*/ 109074 h 117952"/>
                  <a:gd name="connsiteX9" fmla="*/ 8244 w 117952"/>
                  <a:gd name="connsiteY9" fmla="*/ 117953 h 117952"/>
                  <a:gd name="connsiteX10" fmla="*/ 8244 w 117952"/>
                  <a:gd name="connsiteY10" fmla="*/ 117953 h 117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7952" h="117952">
                    <a:moveTo>
                      <a:pt x="8244" y="117953"/>
                    </a:moveTo>
                    <a:cubicBezTo>
                      <a:pt x="3805" y="117953"/>
                      <a:pt x="0" y="114148"/>
                      <a:pt x="0" y="109709"/>
                    </a:cubicBezTo>
                    <a:lnTo>
                      <a:pt x="0" y="8244"/>
                    </a:lnTo>
                    <a:cubicBezTo>
                      <a:pt x="0" y="3805"/>
                      <a:pt x="3805" y="0"/>
                      <a:pt x="8244" y="0"/>
                    </a:cubicBezTo>
                    <a:lnTo>
                      <a:pt x="109708" y="0"/>
                    </a:lnTo>
                    <a:cubicBezTo>
                      <a:pt x="114148" y="0"/>
                      <a:pt x="117952" y="3805"/>
                      <a:pt x="117952" y="8244"/>
                    </a:cubicBezTo>
                    <a:cubicBezTo>
                      <a:pt x="117952" y="12683"/>
                      <a:pt x="114148" y="16488"/>
                      <a:pt x="109708" y="16488"/>
                    </a:cubicBezTo>
                    <a:lnTo>
                      <a:pt x="17122" y="16488"/>
                    </a:lnTo>
                    <a:lnTo>
                      <a:pt x="17122" y="109074"/>
                    </a:lnTo>
                    <a:cubicBezTo>
                      <a:pt x="17122" y="114148"/>
                      <a:pt x="13317" y="117953"/>
                      <a:pt x="8244" y="117953"/>
                    </a:cubicBezTo>
                    <a:lnTo>
                      <a:pt x="8244" y="117953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51" name="Forma Livre: Forma 350">
                <a:extLst>
                  <a:ext uri="{FF2B5EF4-FFF2-40B4-BE49-F238E27FC236}">
                    <a16:creationId xmlns:a16="http://schemas.microsoft.com/office/drawing/2014/main" id="{52797771-4AD7-4E21-8473-1C237D991E33}"/>
                  </a:ext>
                </a:extLst>
              </p:cNvPr>
              <p:cNvSpPr/>
              <p:nvPr/>
            </p:nvSpPr>
            <p:spPr>
              <a:xfrm>
                <a:off x="8524174" y="546613"/>
                <a:ext cx="310101" cy="381126"/>
              </a:xfrm>
              <a:custGeom>
                <a:avLst/>
                <a:gdLst>
                  <a:gd name="connsiteX0" fmla="*/ 191514 w 310101"/>
                  <a:gd name="connsiteY0" fmla="*/ 381126 h 381126"/>
                  <a:gd name="connsiteX1" fmla="*/ 17122 w 310101"/>
                  <a:gd name="connsiteY1" fmla="*/ 381126 h 381126"/>
                  <a:gd name="connsiteX2" fmla="*/ 0 w 310101"/>
                  <a:gd name="connsiteY2" fmla="*/ 364004 h 381126"/>
                  <a:gd name="connsiteX3" fmla="*/ 0 w 310101"/>
                  <a:gd name="connsiteY3" fmla="*/ 17122 h 381126"/>
                  <a:gd name="connsiteX4" fmla="*/ 17122 w 310101"/>
                  <a:gd name="connsiteY4" fmla="*/ 0 h 381126"/>
                  <a:gd name="connsiteX5" fmla="*/ 292979 w 310101"/>
                  <a:gd name="connsiteY5" fmla="*/ 0 h 381126"/>
                  <a:gd name="connsiteX6" fmla="*/ 310101 w 310101"/>
                  <a:gd name="connsiteY6" fmla="*/ 17122 h 381126"/>
                  <a:gd name="connsiteX7" fmla="*/ 310101 w 310101"/>
                  <a:gd name="connsiteY7" fmla="*/ 262540 h 381126"/>
                  <a:gd name="connsiteX8" fmla="*/ 305028 w 310101"/>
                  <a:gd name="connsiteY8" fmla="*/ 274589 h 381126"/>
                  <a:gd name="connsiteX9" fmla="*/ 203563 w 310101"/>
                  <a:gd name="connsiteY9" fmla="*/ 376053 h 381126"/>
                  <a:gd name="connsiteX10" fmla="*/ 191514 w 310101"/>
                  <a:gd name="connsiteY10" fmla="*/ 381126 h 381126"/>
                  <a:gd name="connsiteX11" fmla="*/ 191514 w 310101"/>
                  <a:gd name="connsiteY11" fmla="*/ 381126 h 381126"/>
                  <a:gd name="connsiteX12" fmla="*/ 34244 w 310101"/>
                  <a:gd name="connsiteY12" fmla="*/ 346882 h 381126"/>
                  <a:gd name="connsiteX13" fmla="*/ 185173 w 310101"/>
                  <a:gd name="connsiteY13" fmla="*/ 346882 h 381126"/>
                  <a:gd name="connsiteX14" fmla="*/ 276491 w 310101"/>
                  <a:gd name="connsiteY14" fmla="*/ 255564 h 381126"/>
                  <a:gd name="connsiteX15" fmla="*/ 276491 w 310101"/>
                  <a:gd name="connsiteY15" fmla="*/ 34244 h 381126"/>
                  <a:gd name="connsiteX16" fmla="*/ 34244 w 310101"/>
                  <a:gd name="connsiteY16" fmla="*/ 34244 h 381126"/>
                  <a:gd name="connsiteX17" fmla="*/ 34244 w 310101"/>
                  <a:gd name="connsiteY17" fmla="*/ 346882 h 381126"/>
                  <a:gd name="connsiteX18" fmla="*/ 34244 w 310101"/>
                  <a:gd name="connsiteY18" fmla="*/ 346882 h 381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10101" h="381126">
                    <a:moveTo>
                      <a:pt x="191514" y="381126"/>
                    </a:moveTo>
                    <a:lnTo>
                      <a:pt x="17122" y="381126"/>
                    </a:lnTo>
                    <a:cubicBezTo>
                      <a:pt x="7610" y="381126"/>
                      <a:pt x="0" y="373517"/>
                      <a:pt x="0" y="364004"/>
                    </a:cubicBezTo>
                    <a:lnTo>
                      <a:pt x="0" y="17122"/>
                    </a:lnTo>
                    <a:cubicBezTo>
                      <a:pt x="0" y="7610"/>
                      <a:pt x="7610" y="0"/>
                      <a:pt x="17122" y="0"/>
                    </a:cubicBezTo>
                    <a:lnTo>
                      <a:pt x="292979" y="0"/>
                    </a:lnTo>
                    <a:cubicBezTo>
                      <a:pt x="302491" y="0"/>
                      <a:pt x="310101" y="7610"/>
                      <a:pt x="310101" y="17122"/>
                    </a:cubicBezTo>
                    <a:lnTo>
                      <a:pt x="310101" y="262540"/>
                    </a:lnTo>
                    <a:cubicBezTo>
                      <a:pt x="310101" y="266979"/>
                      <a:pt x="308199" y="271418"/>
                      <a:pt x="305028" y="274589"/>
                    </a:cubicBezTo>
                    <a:lnTo>
                      <a:pt x="203563" y="376053"/>
                    </a:lnTo>
                    <a:cubicBezTo>
                      <a:pt x="200392" y="379224"/>
                      <a:pt x="195954" y="381126"/>
                      <a:pt x="191514" y="381126"/>
                    </a:cubicBezTo>
                    <a:lnTo>
                      <a:pt x="191514" y="381126"/>
                    </a:lnTo>
                    <a:close/>
                    <a:moveTo>
                      <a:pt x="34244" y="346882"/>
                    </a:moveTo>
                    <a:lnTo>
                      <a:pt x="185173" y="346882"/>
                    </a:lnTo>
                    <a:lnTo>
                      <a:pt x="276491" y="255564"/>
                    </a:lnTo>
                    <a:lnTo>
                      <a:pt x="276491" y="34244"/>
                    </a:lnTo>
                    <a:lnTo>
                      <a:pt x="34244" y="34244"/>
                    </a:lnTo>
                    <a:lnTo>
                      <a:pt x="34244" y="346882"/>
                    </a:lnTo>
                    <a:lnTo>
                      <a:pt x="34244" y="346882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352" name="Gráfico 2">
              <a:extLst>
                <a:ext uri="{FF2B5EF4-FFF2-40B4-BE49-F238E27FC236}">
                  <a16:creationId xmlns:a16="http://schemas.microsoft.com/office/drawing/2014/main" id="{DC80C217-93B8-4831-A8BE-0817F1F32ECF}"/>
                </a:ext>
              </a:extLst>
            </p:cNvPr>
            <p:cNvGrpSpPr/>
            <p:nvPr/>
          </p:nvGrpSpPr>
          <p:grpSpPr>
            <a:xfrm>
              <a:off x="8613272" y="611931"/>
              <a:ext cx="133172" cy="162977"/>
              <a:chOff x="8613272" y="611931"/>
              <a:chExt cx="133172" cy="162977"/>
            </a:xfrm>
            <a:grpFill/>
          </p:grpSpPr>
          <p:sp>
            <p:nvSpPr>
              <p:cNvPr id="353" name="Forma Livre: Forma 352">
                <a:extLst>
                  <a:ext uri="{FF2B5EF4-FFF2-40B4-BE49-F238E27FC236}">
                    <a16:creationId xmlns:a16="http://schemas.microsoft.com/office/drawing/2014/main" id="{4A7EAD03-9354-4C26-A86C-6493A33C7375}"/>
                  </a:ext>
                </a:extLst>
              </p:cNvPr>
              <p:cNvSpPr/>
              <p:nvPr/>
            </p:nvSpPr>
            <p:spPr>
              <a:xfrm>
                <a:off x="8613272" y="691518"/>
                <a:ext cx="133172" cy="83391"/>
              </a:xfrm>
              <a:custGeom>
                <a:avLst/>
                <a:gdLst>
                  <a:gd name="connsiteX0" fmla="*/ 66270 w 133172"/>
                  <a:gd name="connsiteY0" fmla="*/ 83391 h 83391"/>
                  <a:gd name="connsiteX1" fmla="*/ 54220 w 133172"/>
                  <a:gd name="connsiteY1" fmla="*/ 78318 h 83391"/>
                  <a:gd name="connsiteX2" fmla="*/ 4756 w 133172"/>
                  <a:gd name="connsiteY2" fmla="*/ 28854 h 83391"/>
                  <a:gd name="connsiteX3" fmla="*/ 4756 w 133172"/>
                  <a:gd name="connsiteY3" fmla="*/ 4756 h 83391"/>
                  <a:gd name="connsiteX4" fmla="*/ 28854 w 133172"/>
                  <a:gd name="connsiteY4" fmla="*/ 4756 h 83391"/>
                  <a:gd name="connsiteX5" fmla="*/ 66904 w 133172"/>
                  <a:gd name="connsiteY5" fmla="*/ 42171 h 83391"/>
                  <a:gd name="connsiteX6" fmla="*/ 104319 w 133172"/>
                  <a:gd name="connsiteY6" fmla="*/ 4756 h 83391"/>
                  <a:gd name="connsiteX7" fmla="*/ 128416 w 133172"/>
                  <a:gd name="connsiteY7" fmla="*/ 4756 h 83391"/>
                  <a:gd name="connsiteX8" fmla="*/ 128416 w 133172"/>
                  <a:gd name="connsiteY8" fmla="*/ 28854 h 83391"/>
                  <a:gd name="connsiteX9" fmla="*/ 78953 w 133172"/>
                  <a:gd name="connsiteY9" fmla="*/ 78318 h 83391"/>
                  <a:gd name="connsiteX10" fmla="*/ 66270 w 133172"/>
                  <a:gd name="connsiteY10" fmla="*/ 83391 h 83391"/>
                  <a:gd name="connsiteX11" fmla="*/ 66270 w 133172"/>
                  <a:gd name="connsiteY11" fmla="*/ 83391 h 83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33172" h="83391">
                    <a:moveTo>
                      <a:pt x="66270" y="83391"/>
                    </a:moveTo>
                    <a:cubicBezTo>
                      <a:pt x="61830" y="83391"/>
                      <a:pt x="57391" y="81489"/>
                      <a:pt x="54220" y="78318"/>
                    </a:cubicBezTo>
                    <a:lnTo>
                      <a:pt x="4756" y="28854"/>
                    </a:lnTo>
                    <a:cubicBezTo>
                      <a:pt x="-1585" y="22512"/>
                      <a:pt x="-1585" y="11732"/>
                      <a:pt x="4756" y="4756"/>
                    </a:cubicBezTo>
                    <a:cubicBezTo>
                      <a:pt x="11098" y="-1585"/>
                      <a:pt x="21879" y="-1585"/>
                      <a:pt x="28854" y="4756"/>
                    </a:cubicBezTo>
                    <a:lnTo>
                      <a:pt x="66904" y="42171"/>
                    </a:lnTo>
                    <a:lnTo>
                      <a:pt x="104319" y="4756"/>
                    </a:lnTo>
                    <a:cubicBezTo>
                      <a:pt x="110660" y="-1585"/>
                      <a:pt x="121441" y="-1585"/>
                      <a:pt x="128416" y="4756"/>
                    </a:cubicBezTo>
                    <a:cubicBezTo>
                      <a:pt x="134758" y="11098"/>
                      <a:pt x="134758" y="21878"/>
                      <a:pt x="128416" y="28854"/>
                    </a:cubicBezTo>
                    <a:lnTo>
                      <a:pt x="78953" y="78318"/>
                    </a:lnTo>
                    <a:cubicBezTo>
                      <a:pt x="74513" y="81489"/>
                      <a:pt x="70074" y="83391"/>
                      <a:pt x="66270" y="83391"/>
                    </a:cubicBezTo>
                    <a:lnTo>
                      <a:pt x="66270" y="83391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54" name="Forma Livre: Forma 353">
                <a:extLst>
                  <a:ext uri="{FF2B5EF4-FFF2-40B4-BE49-F238E27FC236}">
                    <a16:creationId xmlns:a16="http://schemas.microsoft.com/office/drawing/2014/main" id="{593B1157-2038-48D3-BC4E-4AFAC1505C1B}"/>
                  </a:ext>
                </a:extLst>
              </p:cNvPr>
              <p:cNvSpPr/>
              <p:nvPr/>
            </p:nvSpPr>
            <p:spPr>
              <a:xfrm>
                <a:off x="8662419" y="611931"/>
                <a:ext cx="34244" cy="149026"/>
              </a:xfrm>
              <a:custGeom>
                <a:avLst/>
                <a:gdLst>
                  <a:gd name="connsiteX0" fmla="*/ 17123 w 34244"/>
                  <a:gd name="connsiteY0" fmla="*/ 149026 h 149026"/>
                  <a:gd name="connsiteX1" fmla="*/ 0 w 34244"/>
                  <a:gd name="connsiteY1" fmla="*/ 131904 h 149026"/>
                  <a:gd name="connsiteX2" fmla="*/ 0 w 34244"/>
                  <a:gd name="connsiteY2" fmla="*/ 17122 h 149026"/>
                  <a:gd name="connsiteX3" fmla="*/ 17123 w 34244"/>
                  <a:gd name="connsiteY3" fmla="*/ 0 h 149026"/>
                  <a:gd name="connsiteX4" fmla="*/ 34244 w 34244"/>
                  <a:gd name="connsiteY4" fmla="*/ 17122 h 149026"/>
                  <a:gd name="connsiteX5" fmla="*/ 34244 w 34244"/>
                  <a:gd name="connsiteY5" fmla="*/ 131904 h 149026"/>
                  <a:gd name="connsiteX6" fmla="*/ 17123 w 34244"/>
                  <a:gd name="connsiteY6" fmla="*/ 149026 h 149026"/>
                  <a:gd name="connsiteX7" fmla="*/ 17123 w 34244"/>
                  <a:gd name="connsiteY7" fmla="*/ 149026 h 1490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244" h="149026">
                    <a:moveTo>
                      <a:pt x="17123" y="149026"/>
                    </a:moveTo>
                    <a:cubicBezTo>
                      <a:pt x="7610" y="149026"/>
                      <a:pt x="0" y="141416"/>
                      <a:pt x="0" y="131904"/>
                    </a:cubicBezTo>
                    <a:lnTo>
                      <a:pt x="0" y="17122"/>
                    </a:lnTo>
                    <a:cubicBezTo>
                      <a:pt x="0" y="7610"/>
                      <a:pt x="7610" y="0"/>
                      <a:pt x="17123" y="0"/>
                    </a:cubicBezTo>
                    <a:cubicBezTo>
                      <a:pt x="26635" y="0"/>
                      <a:pt x="34244" y="7610"/>
                      <a:pt x="34244" y="17122"/>
                    </a:cubicBezTo>
                    <a:lnTo>
                      <a:pt x="34244" y="131904"/>
                    </a:lnTo>
                    <a:cubicBezTo>
                      <a:pt x="33610" y="141416"/>
                      <a:pt x="26001" y="149026"/>
                      <a:pt x="17123" y="149026"/>
                    </a:cubicBezTo>
                    <a:lnTo>
                      <a:pt x="17123" y="149026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355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10496833" y="5726188"/>
            <a:ext cx="388802" cy="351803"/>
            <a:chOff x="10546490" y="5784723"/>
            <a:chExt cx="393175" cy="355760"/>
          </a:xfrm>
          <a:solidFill>
            <a:srgbClr val="B1B1A1"/>
          </a:solidFill>
        </p:grpSpPr>
        <p:sp>
          <p:nvSpPr>
            <p:cNvPr id="356" name="Forma Livre: Forma 355">
              <a:extLst>
                <a:ext uri="{FF2B5EF4-FFF2-40B4-BE49-F238E27FC236}">
                  <a16:creationId xmlns:a16="http://schemas.microsoft.com/office/drawing/2014/main" id="{A311F19E-291F-4EA5-9116-C9035EC14D8F}"/>
                </a:ext>
              </a:extLst>
            </p:cNvPr>
            <p:cNvSpPr/>
            <p:nvPr/>
          </p:nvSpPr>
          <p:spPr>
            <a:xfrm>
              <a:off x="10546490" y="5784723"/>
              <a:ext cx="393175" cy="355760"/>
            </a:xfrm>
            <a:custGeom>
              <a:avLst/>
              <a:gdLst>
                <a:gd name="connsiteX0" fmla="*/ 79269 w 393175"/>
                <a:gd name="connsiteY0" fmla="*/ 355760 h 355760"/>
                <a:gd name="connsiteX1" fmla="*/ 64683 w 393175"/>
                <a:gd name="connsiteY1" fmla="*/ 355126 h 355760"/>
                <a:gd name="connsiteX2" fmla="*/ 49464 w 393175"/>
                <a:gd name="connsiteY2" fmla="*/ 341809 h 355760"/>
                <a:gd name="connsiteX3" fmla="*/ 58342 w 393175"/>
                <a:gd name="connsiteY3" fmla="*/ 323418 h 355760"/>
                <a:gd name="connsiteX4" fmla="*/ 95123 w 393175"/>
                <a:gd name="connsiteY4" fmla="*/ 294247 h 355760"/>
                <a:gd name="connsiteX5" fmla="*/ 0 w 393175"/>
                <a:gd name="connsiteY5" fmla="*/ 158538 h 355760"/>
                <a:gd name="connsiteX6" fmla="*/ 196588 w 393175"/>
                <a:gd name="connsiteY6" fmla="*/ 0 h 355760"/>
                <a:gd name="connsiteX7" fmla="*/ 393175 w 393175"/>
                <a:gd name="connsiteY7" fmla="*/ 158538 h 355760"/>
                <a:gd name="connsiteX8" fmla="*/ 196588 w 393175"/>
                <a:gd name="connsiteY8" fmla="*/ 317077 h 355760"/>
                <a:gd name="connsiteX9" fmla="*/ 188977 w 393175"/>
                <a:gd name="connsiteY9" fmla="*/ 317077 h 355760"/>
                <a:gd name="connsiteX10" fmla="*/ 79269 w 393175"/>
                <a:gd name="connsiteY10" fmla="*/ 355760 h 355760"/>
                <a:gd name="connsiteX11" fmla="*/ 79269 w 393175"/>
                <a:gd name="connsiteY11" fmla="*/ 355760 h 355760"/>
                <a:gd name="connsiteX12" fmla="*/ 195953 w 393175"/>
                <a:gd name="connsiteY12" fmla="*/ 34244 h 355760"/>
                <a:gd name="connsiteX13" fmla="*/ 33610 w 393175"/>
                <a:gd name="connsiteY13" fmla="*/ 158538 h 355760"/>
                <a:gd name="connsiteX14" fmla="*/ 125562 w 393175"/>
                <a:gd name="connsiteY14" fmla="*/ 270149 h 355760"/>
                <a:gd name="connsiteX15" fmla="*/ 135074 w 393175"/>
                <a:gd name="connsiteY15" fmla="*/ 279662 h 355760"/>
                <a:gd name="connsiteX16" fmla="*/ 134440 w 393175"/>
                <a:gd name="connsiteY16" fmla="*/ 293613 h 355760"/>
                <a:gd name="connsiteX17" fmla="*/ 133172 w 393175"/>
                <a:gd name="connsiteY17" fmla="*/ 295515 h 355760"/>
                <a:gd name="connsiteX18" fmla="*/ 130002 w 393175"/>
                <a:gd name="connsiteY18" fmla="*/ 301857 h 355760"/>
                <a:gd name="connsiteX19" fmla="*/ 119854 w 393175"/>
                <a:gd name="connsiteY19" fmla="*/ 316442 h 355760"/>
                <a:gd name="connsiteX20" fmla="*/ 169319 w 393175"/>
                <a:gd name="connsiteY20" fmla="*/ 287272 h 355760"/>
                <a:gd name="connsiteX21" fmla="*/ 182636 w 393175"/>
                <a:gd name="connsiteY21" fmla="*/ 282198 h 355760"/>
                <a:gd name="connsiteX22" fmla="*/ 195953 w 393175"/>
                <a:gd name="connsiteY22" fmla="*/ 282832 h 355760"/>
                <a:gd name="connsiteX23" fmla="*/ 358297 w 393175"/>
                <a:gd name="connsiteY23" fmla="*/ 158538 h 355760"/>
                <a:gd name="connsiteX24" fmla="*/ 195953 w 393175"/>
                <a:gd name="connsiteY24" fmla="*/ 34244 h 355760"/>
                <a:gd name="connsiteX25" fmla="*/ 195953 w 393175"/>
                <a:gd name="connsiteY25" fmla="*/ 34244 h 355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93175" h="355760">
                  <a:moveTo>
                    <a:pt x="79269" y="355760"/>
                  </a:moveTo>
                  <a:cubicBezTo>
                    <a:pt x="74830" y="355760"/>
                    <a:pt x="69757" y="355760"/>
                    <a:pt x="64683" y="355126"/>
                  </a:cubicBezTo>
                  <a:cubicBezTo>
                    <a:pt x="57074" y="354492"/>
                    <a:pt x="50732" y="348785"/>
                    <a:pt x="49464" y="341809"/>
                  </a:cubicBezTo>
                  <a:cubicBezTo>
                    <a:pt x="48196" y="334199"/>
                    <a:pt x="52000" y="326589"/>
                    <a:pt x="58342" y="323418"/>
                  </a:cubicBezTo>
                  <a:cubicBezTo>
                    <a:pt x="73562" y="315808"/>
                    <a:pt x="85611" y="306296"/>
                    <a:pt x="95123" y="294247"/>
                  </a:cubicBezTo>
                  <a:cubicBezTo>
                    <a:pt x="36780" y="265710"/>
                    <a:pt x="0" y="214344"/>
                    <a:pt x="0" y="158538"/>
                  </a:cubicBezTo>
                  <a:cubicBezTo>
                    <a:pt x="0" y="71025"/>
                    <a:pt x="88147" y="0"/>
                    <a:pt x="196588" y="0"/>
                  </a:cubicBezTo>
                  <a:cubicBezTo>
                    <a:pt x="305028" y="0"/>
                    <a:pt x="393175" y="71025"/>
                    <a:pt x="393175" y="158538"/>
                  </a:cubicBezTo>
                  <a:cubicBezTo>
                    <a:pt x="393175" y="246052"/>
                    <a:pt x="305028" y="317077"/>
                    <a:pt x="196588" y="317077"/>
                  </a:cubicBezTo>
                  <a:cubicBezTo>
                    <a:pt x="194051" y="317077"/>
                    <a:pt x="191514" y="317077"/>
                    <a:pt x="188977" y="317077"/>
                  </a:cubicBezTo>
                  <a:cubicBezTo>
                    <a:pt x="161074" y="341809"/>
                    <a:pt x="122391" y="355760"/>
                    <a:pt x="79269" y="355760"/>
                  </a:cubicBezTo>
                  <a:lnTo>
                    <a:pt x="79269" y="355760"/>
                  </a:lnTo>
                  <a:close/>
                  <a:moveTo>
                    <a:pt x="195953" y="34244"/>
                  </a:moveTo>
                  <a:cubicBezTo>
                    <a:pt x="106537" y="34244"/>
                    <a:pt x="33610" y="90050"/>
                    <a:pt x="33610" y="158538"/>
                  </a:cubicBezTo>
                  <a:cubicBezTo>
                    <a:pt x="33610" y="205466"/>
                    <a:pt x="69757" y="249856"/>
                    <a:pt x="125562" y="270149"/>
                  </a:cubicBezTo>
                  <a:cubicBezTo>
                    <a:pt x="130002" y="272052"/>
                    <a:pt x="133806" y="275222"/>
                    <a:pt x="135074" y="279662"/>
                  </a:cubicBezTo>
                  <a:cubicBezTo>
                    <a:pt x="136977" y="284101"/>
                    <a:pt x="136343" y="289174"/>
                    <a:pt x="134440" y="293613"/>
                  </a:cubicBezTo>
                  <a:lnTo>
                    <a:pt x="133172" y="295515"/>
                  </a:lnTo>
                  <a:cubicBezTo>
                    <a:pt x="131904" y="297418"/>
                    <a:pt x="131270" y="299955"/>
                    <a:pt x="130002" y="301857"/>
                  </a:cubicBezTo>
                  <a:cubicBezTo>
                    <a:pt x="126831" y="306930"/>
                    <a:pt x="123660" y="312003"/>
                    <a:pt x="119854" y="316442"/>
                  </a:cubicBezTo>
                  <a:cubicBezTo>
                    <a:pt x="139514" y="310735"/>
                    <a:pt x="156636" y="301223"/>
                    <a:pt x="169319" y="287272"/>
                  </a:cubicBezTo>
                  <a:cubicBezTo>
                    <a:pt x="172490" y="283466"/>
                    <a:pt x="177563" y="282198"/>
                    <a:pt x="182636" y="282198"/>
                  </a:cubicBezTo>
                  <a:cubicBezTo>
                    <a:pt x="187075" y="282198"/>
                    <a:pt x="191514" y="282832"/>
                    <a:pt x="195953" y="282832"/>
                  </a:cubicBezTo>
                  <a:cubicBezTo>
                    <a:pt x="285369" y="282832"/>
                    <a:pt x="358297" y="227027"/>
                    <a:pt x="358297" y="158538"/>
                  </a:cubicBezTo>
                  <a:cubicBezTo>
                    <a:pt x="358931" y="90050"/>
                    <a:pt x="286003" y="34244"/>
                    <a:pt x="195953" y="34244"/>
                  </a:cubicBezTo>
                  <a:lnTo>
                    <a:pt x="195953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357" name="Gráfico 2">
              <a:extLst>
                <a:ext uri="{FF2B5EF4-FFF2-40B4-BE49-F238E27FC236}">
                  <a16:creationId xmlns:a16="http://schemas.microsoft.com/office/drawing/2014/main" id="{DC80C217-93B8-4831-A8BE-0817F1F32ECF}"/>
                </a:ext>
              </a:extLst>
            </p:cNvPr>
            <p:cNvGrpSpPr/>
            <p:nvPr/>
          </p:nvGrpSpPr>
          <p:grpSpPr>
            <a:xfrm>
              <a:off x="10642247" y="5924871"/>
              <a:ext cx="200392" cy="49463"/>
              <a:chOff x="10642247" y="5924871"/>
              <a:chExt cx="200392" cy="49463"/>
            </a:xfrm>
            <a:grpFill/>
          </p:grpSpPr>
          <p:sp>
            <p:nvSpPr>
              <p:cNvPr id="358" name="Forma Livre: Forma 357">
                <a:extLst>
                  <a:ext uri="{FF2B5EF4-FFF2-40B4-BE49-F238E27FC236}">
                    <a16:creationId xmlns:a16="http://schemas.microsoft.com/office/drawing/2014/main" id="{F4634F70-B536-4A3A-B8A4-4C8F2F891D7A}"/>
                  </a:ext>
                </a:extLst>
              </p:cNvPr>
              <p:cNvSpPr/>
              <p:nvPr/>
            </p:nvSpPr>
            <p:spPr>
              <a:xfrm>
                <a:off x="10642247" y="5924871"/>
                <a:ext cx="49463" cy="49463"/>
              </a:xfrm>
              <a:custGeom>
                <a:avLst/>
                <a:gdLst>
                  <a:gd name="connsiteX0" fmla="*/ 24732 w 49463"/>
                  <a:gd name="connsiteY0" fmla="*/ 0 h 49463"/>
                  <a:gd name="connsiteX1" fmla="*/ 0 w 49463"/>
                  <a:gd name="connsiteY1" fmla="*/ 24732 h 49463"/>
                  <a:gd name="connsiteX2" fmla="*/ 24732 w 49463"/>
                  <a:gd name="connsiteY2" fmla="*/ 49464 h 49463"/>
                  <a:gd name="connsiteX3" fmla="*/ 49464 w 49463"/>
                  <a:gd name="connsiteY3" fmla="*/ 24732 h 49463"/>
                  <a:gd name="connsiteX4" fmla="*/ 24732 w 49463"/>
                  <a:gd name="connsiteY4" fmla="*/ 0 h 49463"/>
                  <a:gd name="connsiteX5" fmla="*/ 24732 w 49463"/>
                  <a:gd name="connsiteY5" fmla="*/ 0 h 4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463" h="49463">
                    <a:moveTo>
                      <a:pt x="24732" y="0"/>
                    </a:moveTo>
                    <a:cubicBezTo>
                      <a:pt x="11414" y="0"/>
                      <a:pt x="0" y="10781"/>
                      <a:pt x="0" y="24732"/>
                    </a:cubicBezTo>
                    <a:cubicBezTo>
                      <a:pt x="0" y="38049"/>
                      <a:pt x="10780" y="49464"/>
                      <a:pt x="24732" y="49464"/>
                    </a:cubicBezTo>
                    <a:cubicBezTo>
                      <a:pt x="38049" y="49464"/>
                      <a:pt x="49464" y="38683"/>
                      <a:pt x="49464" y="24732"/>
                    </a:cubicBezTo>
                    <a:cubicBezTo>
                      <a:pt x="49464" y="10781"/>
                      <a:pt x="38683" y="0"/>
                      <a:pt x="24732" y="0"/>
                    </a:cubicBezTo>
                    <a:lnTo>
                      <a:pt x="24732" y="0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59" name="Forma Livre: Forma 358">
                <a:extLst>
                  <a:ext uri="{FF2B5EF4-FFF2-40B4-BE49-F238E27FC236}">
                    <a16:creationId xmlns:a16="http://schemas.microsoft.com/office/drawing/2014/main" id="{F96E5382-C682-4AD3-833E-0BB45CAA2B0E}"/>
                  </a:ext>
                </a:extLst>
              </p:cNvPr>
              <p:cNvSpPr/>
              <p:nvPr/>
            </p:nvSpPr>
            <p:spPr>
              <a:xfrm>
                <a:off x="10717712" y="5924871"/>
                <a:ext cx="49463" cy="49463"/>
              </a:xfrm>
              <a:custGeom>
                <a:avLst/>
                <a:gdLst>
                  <a:gd name="connsiteX0" fmla="*/ 24731 w 49463"/>
                  <a:gd name="connsiteY0" fmla="*/ 0 h 49463"/>
                  <a:gd name="connsiteX1" fmla="*/ 0 w 49463"/>
                  <a:gd name="connsiteY1" fmla="*/ 24732 h 49463"/>
                  <a:gd name="connsiteX2" fmla="*/ 24731 w 49463"/>
                  <a:gd name="connsiteY2" fmla="*/ 49464 h 49463"/>
                  <a:gd name="connsiteX3" fmla="*/ 49464 w 49463"/>
                  <a:gd name="connsiteY3" fmla="*/ 24732 h 49463"/>
                  <a:gd name="connsiteX4" fmla="*/ 24731 w 49463"/>
                  <a:gd name="connsiteY4" fmla="*/ 0 h 49463"/>
                  <a:gd name="connsiteX5" fmla="*/ 24731 w 49463"/>
                  <a:gd name="connsiteY5" fmla="*/ 0 h 4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463" h="49463">
                    <a:moveTo>
                      <a:pt x="24731" y="0"/>
                    </a:moveTo>
                    <a:cubicBezTo>
                      <a:pt x="11414" y="0"/>
                      <a:pt x="0" y="10781"/>
                      <a:pt x="0" y="24732"/>
                    </a:cubicBezTo>
                    <a:cubicBezTo>
                      <a:pt x="0" y="38049"/>
                      <a:pt x="10780" y="49464"/>
                      <a:pt x="24731" y="49464"/>
                    </a:cubicBezTo>
                    <a:cubicBezTo>
                      <a:pt x="38049" y="49464"/>
                      <a:pt x="49464" y="38683"/>
                      <a:pt x="49464" y="24732"/>
                    </a:cubicBezTo>
                    <a:cubicBezTo>
                      <a:pt x="49464" y="10781"/>
                      <a:pt x="38683" y="0"/>
                      <a:pt x="24731" y="0"/>
                    </a:cubicBezTo>
                    <a:lnTo>
                      <a:pt x="24731" y="0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60" name="Forma Livre: Forma 359">
                <a:extLst>
                  <a:ext uri="{FF2B5EF4-FFF2-40B4-BE49-F238E27FC236}">
                    <a16:creationId xmlns:a16="http://schemas.microsoft.com/office/drawing/2014/main" id="{7718CC55-612B-49A8-9DCB-84E88CE378B0}"/>
                  </a:ext>
                </a:extLst>
              </p:cNvPr>
              <p:cNvSpPr/>
              <p:nvPr/>
            </p:nvSpPr>
            <p:spPr>
              <a:xfrm>
                <a:off x="10793176" y="5924871"/>
                <a:ext cx="49464" cy="49463"/>
              </a:xfrm>
              <a:custGeom>
                <a:avLst/>
                <a:gdLst>
                  <a:gd name="connsiteX0" fmla="*/ 24732 w 49464"/>
                  <a:gd name="connsiteY0" fmla="*/ 0 h 49463"/>
                  <a:gd name="connsiteX1" fmla="*/ 0 w 49464"/>
                  <a:gd name="connsiteY1" fmla="*/ 24732 h 49463"/>
                  <a:gd name="connsiteX2" fmla="*/ 24732 w 49464"/>
                  <a:gd name="connsiteY2" fmla="*/ 49464 h 49463"/>
                  <a:gd name="connsiteX3" fmla="*/ 49464 w 49464"/>
                  <a:gd name="connsiteY3" fmla="*/ 24732 h 49463"/>
                  <a:gd name="connsiteX4" fmla="*/ 24732 w 49464"/>
                  <a:gd name="connsiteY4" fmla="*/ 0 h 49463"/>
                  <a:gd name="connsiteX5" fmla="*/ 24732 w 49464"/>
                  <a:gd name="connsiteY5" fmla="*/ 0 h 4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464" h="49463">
                    <a:moveTo>
                      <a:pt x="24732" y="0"/>
                    </a:moveTo>
                    <a:cubicBezTo>
                      <a:pt x="11415" y="0"/>
                      <a:pt x="0" y="10781"/>
                      <a:pt x="0" y="24732"/>
                    </a:cubicBezTo>
                    <a:cubicBezTo>
                      <a:pt x="0" y="38049"/>
                      <a:pt x="10781" y="49464"/>
                      <a:pt x="24732" y="49464"/>
                    </a:cubicBezTo>
                    <a:cubicBezTo>
                      <a:pt x="38049" y="49464"/>
                      <a:pt x="49464" y="38683"/>
                      <a:pt x="49464" y="24732"/>
                    </a:cubicBezTo>
                    <a:cubicBezTo>
                      <a:pt x="49464" y="10781"/>
                      <a:pt x="38684" y="0"/>
                      <a:pt x="24732" y="0"/>
                    </a:cubicBezTo>
                    <a:lnTo>
                      <a:pt x="24732" y="0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361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8495755" y="1560987"/>
            <a:ext cx="309161" cy="410123"/>
            <a:chOff x="8522905" y="1572674"/>
            <a:chExt cx="312638" cy="414736"/>
          </a:xfrm>
          <a:solidFill>
            <a:srgbClr val="B1B1A1"/>
          </a:solidFill>
        </p:grpSpPr>
        <p:sp>
          <p:nvSpPr>
            <p:cNvPr id="362" name="Forma Livre: Forma 361">
              <a:extLst>
                <a:ext uri="{FF2B5EF4-FFF2-40B4-BE49-F238E27FC236}">
                  <a16:creationId xmlns:a16="http://schemas.microsoft.com/office/drawing/2014/main" id="{73B4A46E-C072-4341-924C-801BF1995483}"/>
                </a:ext>
              </a:extLst>
            </p:cNvPr>
            <p:cNvSpPr/>
            <p:nvPr/>
          </p:nvSpPr>
          <p:spPr>
            <a:xfrm>
              <a:off x="8522905" y="1572674"/>
              <a:ext cx="312638" cy="371614"/>
            </a:xfrm>
            <a:custGeom>
              <a:avLst/>
              <a:gdLst>
                <a:gd name="connsiteX0" fmla="*/ 17123 w 312638"/>
                <a:gd name="connsiteY0" fmla="*/ 371614 h 371614"/>
                <a:gd name="connsiteX1" fmla="*/ 0 w 312638"/>
                <a:gd name="connsiteY1" fmla="*/ 354492 h 371614"/>
                <a:gd name="connsiteX2" fmla="*/ 0 w 312638"/>
                <a:gd name="connsiteY2" fmla="*/ 38683 h 371614"/>
                <a:gd name="connsiteX3" fmla="*/ 38684 w 312638"/>
                <a:gd name="connsiteY3" fmla="*/ 0 h 371614"/>
                <a:gd name="connsiteX4" fmla="*/ 273955 w 312638"/>
                <a:gd name="connsiteY4" fmla="*/ 0 h 371614"/>
                <a:gd name="connsiteX5" fmla="*/ 312638 w 312638"/>
                <a:gd name="connsiteY5" fmla="*/ 38683 h 371614"/>
                <a:gd name="connsiteX6" fmla="*/ 312638 w 312638"/>
                <a:gd name="connsiteY6" fmla="*/ 305662 h 371614"/>
                <a:gd name="connsiteX7" fmla="*/ 273955 w 312638"/>
                <a:gd name="connsiteY7" fmla="*/ 344345 h 371614"/>
                <a:gd name="connsiteX8" fmla="*/ 256832 w 312638"/>
                <a:gd name="connsiteY8" fmla="*/ 327223 h 371614"/>
                <a:gd name="connsiteX9" fmla="*/ 273955 w 312638"/>
                <a:gd name="connsiteY9" fmla="*/ 310101 h 371614"/>
                <a:gd name="connsiteX10" fmla="*/ 278394 w 312638"/>
                <a:gd name="connsiteY10" fmla="*/ 305662 h 371614"/>
                <a:gd name="connsiteX11" fmla="*/ 278394 w 312638"/>
                <a:gd name="connsiteY11" fmla="*/ 38683 h 371614"/>
                <a:gd name="connsiteX12" fmla="*/ 273955 w 312638"/>
                <a:gd name="connsiteY12" fmla="*/ 34244 h 371614"/>
                <a:gd name="connsiteX13" fmla="*/ 38684 w 312638"/>
                <a:gd name="connsiteY13" fmla="*/ 34244 h 371614"/>
                <a:gd name="connsiteX14" fmla="*/ 34244 w 312638"/>
                <a:gd name="connsiteY14" fmla="*/ 38683 h 371614"/>
                <a:gd name="connsiteX15" fmla="*/ 34244 w 312638"/>
                <a:gd name="connsiteY15" fmla="*/ 354492 h 371614"/>
                <a:gd name="connsiteX16" fmla="*/ 17123 w 312638"/>
                <a:gd name="connsiteY16" fmla="*/ 371614 h 371614"/>
                <a:gd name="connsiteX17" fmla="*/ 17123 w 312638"/>
                <a:gd name="connsiteY17" fmla="*/ 371614 h 371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12638" h="371614">
                  <a:moveTo>
                    <a:pt x="17123" y="371614"/>
                  </a:moveTo>
                  <a:cubicBezTo>
                    <a:pt x="7610" y="371614"/>
                    <a:pt x="0" y="364004"/>
                    <a:pt x="0" y="354492"/>
                  </a:cubicBezTo>
                  <a:lnTo>
                    <a:pt x="0" y="38683"/>
                  </a:lnTo>
                  <a:cubicBezTo>
                    <a:pt x="0" y="17756"/>
                    <a:pt x="17123" y="0"/>
                    <a:pt x="38684" y="0"/>
                  </a:cubicBezTo>
                  <a:lnTo>
                    <a:pt x="273955" y="0"/>
                  </a:lnTo>
                  <a:cubicBezTo>
                    <a:pt x="294881" y="0"/>
                    <a:pt x="312638" y="17122"/>
                    <a:pt x="312638" y="38683"/>
                  </a:cubicBezTo>
                  <a:lnTo>
                    <a:pt x="312638" y="305662"/>
                  </a:lnTo>
                  <a:cubicBezTo>
                    <a:pt x="312638" y="326589"/>
                    <a:pt x="295516" y="344345"/>
                    <a:pt x="273955" y="344345"/>
                  </a:cubicBezTo>
                  <a:cubicBezTo>
                    <a:pt x="264443" y="344345"/>
                    <a:pt x="256832" y="336736"/>
                    <a:pt x="256832" y="327223"/>
                  </a:cubicBezTo>
                  <a:cubicBezTo>
                    <a:pt x="256832" y="317711"/>
                    <a:pt x="264443" y="310101"/>
                    <a:pt x="273955" y="310101"/>
                  </a:cubicBezTo>
                  <a:cubicBezTo>
                    <a:pt x="276492" y="310101"/>
                    <a:pt x="278394" y="308199"/>
                    <a:pt x="278394" y="305662"/>
                  </a:cubicBezTo>
                  <a:lnTo>
                    <a:pt x="278394" y="38683"/>
                  </a:lnTo>
                  <a:cubicBezTo>
                    <a:pt x="278394" y="36147"/>
                    <a:pt x="276492" y="34244"/>
                    <a:pt x="273955" y="34244"/>
                  </a:cubicBezTo>
                  <a:lnTo>
                    <a:pt x="38684" y="34244"/>
                  </a:lnTo>
                  <a:cubicBezTo>
                    <a:pt x="36147" y="34244"/>
                    <a:pt x="34244" y="36147"/>
                    <a:pt x="34244" y="38683"/>
                  </a:cubicBezTo>
                  <a:lnTo>
                    <a:pt x="34244" y="354492"/>
                  </a:lnTo>
                  <a:cubicBezTo>
                    <a:pt x="34244" y="364004"/>
                    <a:pt x="26635" y="371614"/>
                    <a:pt x="17123" y="371614"/>
                  </a:cubicBezTo>
                  <a:lnTo>
                    <a:pt x="17123" y="37161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63" name="Forma Livre: Forma 362">
              <a:extLst>
                <a:ext uri="{FF2B5EF4-FFF2-40B4-BE49-F238E27FC236}">
                  <a16:creationId xmlns:a16="http://schemas.microsoft.com/office/drawing/2014/main" id="{308A7815-CF80-40A3-ABBE-5D8BD585BE5E}"/>
                </a:ext>
              </a:extLst>
            </p:cNvPr>
            <p:cNvSpPr/>
            <p:nvPr/>
          </p:nvSpPr>
          <p:spPr>
            <a:xfrm>
              <a:off x="8522905" y="1883409"/>
              <a:ext cx="312638" cy="104001"/>
            </a:xfrm>
            <a:custGeom>
              <a:avLst/>
              <a:gdLst>
                <a:gd name="connsiteX0" fmla="*/ 295516 w 312638"/>
                <a:gd name="connsiteY0" fmla="*/ 104001 h 104001"/>
                <a:gd name="connsiteX1" fmla="*/ 52001 w 312638"/>
                <a:gd name="connsiteY1" fmla="*/ 104001 h 104001"/>
                <a:gd name="connsiteX2" fmla="*/ 0 w 312638"/>
                <a:gd name="connsiteY2" fmla="*/ 52001 h 104001"/>
                <a:gd name="connsiteX3" fmla="*/ 52001 w 312638"/>
                <a:gd name="connsiteY3" fmla="*/ 0 h 104001"/>
                <a:gd name="connsiteX4" fmla="*/ 270784 w 312638"/>
                <a:gd name="connsiteY4" fmla="*/ 0 h 104001"/>
                <a:gd name="connsiteX5" fmla="*/ 287906 w 312638"/>
                <a:gd name="connsiteY5" fmla="*/ 17122 h 104001"/>
                <a:gd name="connsiteX6" fmla="*/ 270784 w 312638"/>
                <a:gd name="connsiteY6" fmla="*/ 34244 h 104001"/>
                <a:gd name="connsiteX7" fmla="*/ 52001 w 312638"/>
                <a:gd name="connsiteY7" fmla="*/ 34244 h 104001"/>
                <a:gd name="connsiteX8" fmla="*/ 33610 w 312638"/>
                <a:gd name="connsiteY8" fmla="*/ 52635 h 104001"/>
                <a:gd name="connsiteX9" fmla="*/ 52001 w 312638"/>
                <a:gd name="connsiteY9" fmla="*/ 71025 h 104001"/>
                <a:gd name="connsiteX10" fmla="*/ 295516 w 312638"/>
                <a:gd name="connsiteY10" fmla="*/ 71025 h 104001"/>
                <a:gd name="connsiteX11" fmla="*/ 312638 w 312638"/>
                <a:gd name="connsiteY11" fmla="*/ 88147 h 104001"/>
                <a:gd name="connsiteX12" fmla="*/ 295516 w 312638"/>
                <a:gd name="connsiteY12" fmla="*/ 104001 h 104001"/>
                <a:gd name="connsiteX13" fmla="*/ 295516 w 312638"/>
                <a:gd name="connsiteY13" fmla="*/ 104001 h 104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12638" h="104001">
                  <a:moveTo>
                    <a:pt x="295516" y="104001"/>
                  </a:moveTo>
                  <a:lnTo>
                    <a:pt x="52001" y="104001"/>
                  </a:lnTo>
                  <a:cubicBezTo>
                    <a:pt x="23464" y="104001"/>
                    <a:pt x="0" y="80538"/>
                    <a:pt x="0" y="52001"/>
                  </a:cubicBezTo>
                  <a:cubicBezTo>
                    <a:pt x="0" y="23464"/>
                    <a:pt x="23464" y="0"/>
                    <a:pt x="52001" y="0"/>
                  </a:cubicBezTo>
                  <a:lnTo>
                    <a:pt x="270784" y="0"/>
                  </a:lnTo>
                  <a:cubicBezTo>
                    <a:pt x="280296" y="0"/>
                    <a:pt x="287906" y="7610"/>
                    <a:pt x="287906" y="17122"/>
                  </a:cubicBezTo>
                  <a:cubicBezTo>
                    <a:pt x="287906" y="26634"/>
                    <a:pt x="280296" y="34244"/>
                    <a:pt x="270784" y="34244"/>
                  </a:cubicBezTo>
                  <a:lnTo>
                    <a:pt x="52001" y="34244"/>
                  </a:lnTo>
                  <a:cubicBezTo>
                    <a:pt x="41855" y="34244"/>
                    <a:pt x="33610" y="42488"/>
                    <a:pt x="33610" y="52635"/>
                  </a:cubicBezTo>
                  <a:cubicBezTo>
                    <a:pt x="33610" y="62781"/>
                    <a:pt x="41855" y="71025"/>
                    <a:pt x="52001" y="71025"/>
                  </a:cubicBezTo>
                  <a:lnTo>
                    <a:pt x="295516" y="71025"/>
                  </a:lnTo>
                  <a:cubicBezTo>
                    <a:pt x="305029" y="71025"/>
                    <a:pt x="312638" y="78635"/>
                    <a:pt x="312638" y="88147"/>
                  </a:cubicBezTo>
                  <a:cubicBezTo>
                    <a:pt x="312638" y="96391"/>
                    <a:pt x="305029" y="104001"/>
                    <a:pt x="295516" y="104001"/>
                  </a:cubicBezTo>
                  <a:lnTo>
                    <a:pt x="295516" y="104001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64" name="Forma Livre: Forma 363">
              <a:extLst>
                <a:ext uri="{FF2B5EF4-FFF2-40B4-BE49-F238E27FC236}">
                  <a16:creationId xmlns:a16="http://schemas.microsoft.com/office/drawing/2014/main" id="{48AF1A95-D5CF-40E9-8A55-D95DA610F497}"/>
                </a:ext>
              </a:extLst>
            </p:cNvPr>
            <p:cNvSpPr/>
            <p:nvPr/>
          </p:nvSpPr>
          <p:spPr>
            <a:xfrm>
              <a:off x="8589491" y="1591065"/>
              <a:ext cx="16488" cy="312003"/>
            </a:xfrm>
            <a:custGeom>
              <a:avLst/>
              <a:gdLst>
                <a:gd name="connsiteX0" fmla="*/ 8244 w 16488"/>
                <a:gd name="connsiteY0" fmla="*/ 312004 h 312003"/>
                <a:gd name="connsiteX1" fmla="*/ 0 w 16488"/>
                <a:gd name="connsiteY1" fmla="*/ 303760 h 312003"/>
                <a:gd name="connsiteX2" fmla="*/ 0 w 16488"/>
                <a:gd name="connsiteY2" fmla="*/ 8244 h 312003"/>
                <a:gd name="connsiteX3" fmla="*/ 8244 w 16488"/>
                <a:gd name="connsiteY3" fmla="*/ 0 h 312003"/>
                <a:gd name="connsiteX4" fmla="*/ 16489 w 16488"/>
                <a:gd name="connsiteY4" fmla="*/ 8244 h 312003"/>
                <a:gd name="connsiteX5" fmla="*/ 16489 w 16488"/>
                <a:gd name="connsiteY5" fmla="*/ 303760 h 312003"/>
                <a:gd name="connsiteX6" fmla="*/ 8244 w 16488"/>
                <a:gd name="connsiteY6" fmla="*/ 312004 h 312003"/>
                <a:gd name="connsiteX7" fmla="*/ 8244 w 16488"/>
                <a:gd name="connsiteY7" fmla="*/ 312004 h 312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488" h="312003">
                  <a:moveTo>
                    <a:pt x="8244" y="312004"/>
                  </a:moveTo>
                  <a:cubicBezTo>
                    <a:pt x="3806" y="312004"/>
                    <a:pt x="0" y="308199"/>
                    <a:pt x="0" y="303760"/>
                  </a:cubicBezTo>
                  <a:lnTo>
                    <a:pt x="0" y="8244"/>
                  </a:lnTo>
                  <a:cubicBezTo>
                    <a:pt x="0" y="3805"/>
                    <a:pt x="3806" y="0"/>
                    <a:pt x="8244" y="0"/>
                  </a:cubicBezTo>
                  <a:cubicBezTo>
                    <a:pt x="12683" y="0"/>
                    <a:pt x="16489" y="3805"/>
                    <a:pt x="16489" y="8244"/>
                  </a:cubicBezTo>
                  <a:lnTo>
                    <a:pt x="16489" y="303760"/>
                  </a:lnTo>
                  <a:cubicBezTo>
                    <a:pt x="16489" y="308199"/>
                    <a:pt x="12683" y="312004"/>
                    <a:pt x="8244" y="312004"/>
                  </a:cubicBezTo>
                  <a:lnTo>
                    <a:pt x="8244" y="31200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65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1289745" y="2603855"/>
            <a:ext cx="393819" cy="390683"/>
            <a:chOff x="1235846" y="2627272"/>
            <a:chExt cx="398248" cy="395077"/>
          </a:xfrm>
          <a:solidFill>
            <a:srgbClr val="B1B1A1"/>
          </a:solidFill>
        </p:grpSpPr>
        <p:sp>
          <p:nvSpPr>
            <p:cNvPr id="366" name="Forma Livre: Forma 365">
              <a:extLst>
                <a:ext uri="{FF2B5EF4-FFF2-40B4-BE49-F238E27FC236}">
                  <a16:creationId xmlns:a16="http://schemas.microsoft.com/office/drawing/2014/main" id="{486FF7A4-9DC0-499D-BC7B-5E2801AB997F}"/>
                </a:ext>
              </a:extLst>
            </p:cNvPr>
            <p:cNvSpPr/>
            <p:nvPr/>
          </p:nvSpPr>
          <p:spPr>
            <a:xfrm>
              <a:off x="1371555" y="2655809"/>
              <a:ext cx="262539" cy="34244"/>
            </a:xfrm>
            <a:custGeom>
              <a:avLst/>
              <a:gdLst>
                <a:gd name="connsiteX0" fmla="*/ 245417 w 262539"/>
                <a:gd name="connsiteY0" fmla="*/ 34244 h 34244"/>
                <a:gd name="connsiteX1" fmla="*/ 17122 w 262539"/>
                <a:gd name="connsiteY1" fmla="*/ 34244 h 34244"/>
                <a:gd name="connsiteX2" fmla="*/ 0 w 262539"/>
                <a:gd name="connsiteY2" fmla="*/ 17122 h 34244"/>
                <a:gd name="connsiteX3" fmla="*/ 17122 w 262539"/>
                <a:gd name="connsiteY3" fmla="*/ 0 h 34244"/>
                <a:gd name="connsiteX4" fmla="*/ 245417 w 262539"/>
                <a:gd name="connsiteY4" fmla="*/ 0 h 34244"/>
                <a:gd name="connsiteX5" fmla="*/ 262540 w 262539"/>
                <a:gd name="connsiteY5" fmla="*/ 17122 h 34244"/>
                <a:gd name="connsiteX6" fmla="*/ 245417 w 262539"/>
                <a:gd name="connsiteY6" fmla="*/ 34244 h 34244"/>
                <a:gd name="connsiteX7" fmla="*/ 245417 w 262539"/>
                <a:gd name="connsiteY7" fmla="*/ 34244 h 3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2539" h="34244">
                  <a:moveTo>
                    <a:pt x="245417" y="34244"/>
                  </a:moveTo>
                  <a:lnTo>
                    <a:pt x="17122" y="34244"/>
                  </a:lnTo>
                  <a:cubicBezTo>
                    <a:pt x="7610" y="34244"/>
                    <a:pt x="0" y="26635"/>
                    <a:pt x="0" y="17122"/>
                  </a:cubicBezTo>
                  <a:cubicBezTo>
                    <a:pt x="0" y="7610"/>
                    <a:pt x="7610" y="0"/>
                    <a:pt x="17122" y="0"/>
                  </a:cubicBezTo>
                  <a:lnTo>
                    <a:pt x="245417" y="0"/>
                  </a:lnTo>
                  <a:cubicBezTo>
                    <a:pt x="254930" y="0"/>
                    <a:pt x="262540" y="7610"/>
                    <a:pt x="262540" y="17122"/>
                  </a:cubicBezTo>
                  <a:cubicBezTo>
                    <a:pt x="261905" y="26635"/>
                    <a:pt x="254296" y="34244"/>
                    <a:pt x="245417" y="34244"/>
                  </a:cubicBezTo>
                  <a:lnTo>
                    <a:pt x="245417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67" name="Forma Livre: Forma 366">
              <a:extLst>
                <a:ext uri="{FF2B5EF4-FFF2-40B4-BE49-F238E27FC236}">
                  <a16:creationId xmlns:a16="http://schemas.microsoft.com/office/drawing/2014/main" id="{1E1A5F6A-31C3-4C9D-AD81-11055FF816A8}"/>
                </a:ext>
              </a:extLst>
            </p:cNvPr>
            <p:cNvSpPr/>
            <p:nvPr/>
          </p:nvSpPr>
          <p:spPr>
            <a:xfrm>
              <a:off x="1235846" y="2627272"/>
              <a:ext cx="90683" cy="90683"/>
            </a:xfrm>
            <a:custGeom>
              <a:avLst/>
              <a:gdLst>
                <a:gd name="connsiteX0" fmla="*/ 73562 w 90683"/>
                <a:gd name="connsiteY0" fmla="*/ 90684 h 90683"/>
                <a:gd name="connsiteX1" fmla="*/ 17122 w 90683"/>
                <a:gd name="connsiteY1" fmla="*/ 90684 h 90683"/>
                <a:gd name="connsiteX2" fmla="*/ 0 w 90683"/>
                <a:gd name="connsiteY2" fmla="*/ 73562 h 90683"/>
                <a:gd name="connsiteX3" fmla="*/ 0 w 90683"/>
                <a:gd name="connsiteY3" fmla="*/ 17122 h 90683"/>
                <a:gd name="connsiteX4" fmla="*/ 17122 w 90683"/>
                <a:gd name="connsiteY4" fmla="*/ 0 h 90683"/>
                <a:gd name="connsiteX5" fmla="*/ 73562 w 90683"/>
                <a:gd name="connsiteY5" fmla="*/ 0 h 90683"/>
                <a:gd name="connsiteX6" fmla="*/ 90684 w 90683"/>
                <a:gd name="connsiteY6" fmla="*/ 17122 h 90683"/>
                <a:gd name="connsiteX7" fmla="*/ 90684 w 90683"/>
                <a:gd name="connsiteY7" fmla="*/ 73562 h 90683"/>
                <a:gd name="connsiteX8" fmla="*/ 73562 w 90683"/>
                <a:gd name="connsiteY8" fmla="*/ 90684 h 90683"/>
                <a:gd name="connsiteX9" fmla="*/ 73562 w 90683"/>
                <a:gd name="connsiteY9" fmla="*/ 90684 h 90683"/>
                <a:gd name="connsiteX10" fmla="*/ 34244 w 90683"/>
                <a:gd name="connsiteY10" fmla="*/ 57074 h 90683"/>
                <a:gd name="connsiteX11" fmla="*/ 56440 w 90683"/>
                <a:gd name="connsiteY11" fmla="*/ 57074 h 90683"/>
                <a:gd name="connsiteX12" fmla="*/ 56440 w 90683"/>
                <a:gd name="connsiteY12" fmla="*/ 34244 h 90683"/>
                <a:gd name="connsiteX13" fmla="*/ 34244 w 90683"/>
                <a:gd name="connsiteY13" fmla="*/ 34244 h 90683"/>
                <a:gd name="connsiteX14" fmla="*/ 34244 w 90683"/>
                <a:gd name="connsiteY14" fmla="*/ 57074 h 90683"/>
                <a:gd name="connsiteX15" fmla="*/ 34244 w 90683"/>
                <a:gd name="connsiteY15" fmla="*/ 57074 h 90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0683" h="90683">
                  <a:moveTo>
                    <a:pt x="73562" y="90684"/>
                  </a:moveTo>
                  <a:lnTo>
                    <a:pt x="17122" y="90684"/>
                  </a:lnTo>
                  <a:cubicBezTo>
                    <a:pt x="7610" y="90684"/>
                    <a:pt x="0" y="83074"/>
                    <a:pt x="0" y="73562"/>
                  </a:cubicBezTo>
                  <a:lnTo>
                    <a:pt x="0" y="17122"/>
                  </a:lnTo>
                  <a:cubicBezTo>
                    <a:pt x="0" y="7610"/>
                    <a:pt x="7610" y="0"/>
                    <a:pt x="17122" y="0"/>
                  </a:cubicBezTo>
                  <a:lnTo>
                    <a:pt x="73562" y="0"/>
                  </a:lnTo>
                  <a:cubicBezTo>
                    <a:pt x="83074" y="0"/>
                    <a:pt x="90684" y="7610"/>
                    <a:pt x="90684" y="17122"/>
                  </a:cubicBezTo>
                  <a:lnTo>
                    <a:pt x="90684" y="73562"/>
                  </a:lnTo>
                  <a:cubicBezTo>
                    <a:pt x="90050" y="83074"/>
                    <a:pt x="82440" y="90684"/>
                    <a:pt x="73562" y="90684"/>
                  </a:cubicBezTo>
                  <a:lnTo>
                    <a:pt x="73562" y="90684"/>
                  </a:lnTo>
                  <a:close/>
                  <a:moveTo>
                    <a:pt x="34244" y="57074"/>
                  </a:moveTo>
                  <a:lnTo>
                    <a:pt x="56440" y="57074"/>
                  </a:lnTo>
                  <a:lnTo>
                    <a:pt x="56440" y="34244"/>
                  </a:lnTo>
                  <a:lnTo>
                    <a:pt x="34244" y="34244"/>
                  </a:lnTo>
                  <a:lnTo>
                    <a:pt x="34244" y="57074"/>
                  </a:lnTo>
                  <a:lnTo>
                    <a:pt x="34244" y="5707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68" name="Forma Livre: Forma 367">
              <a:extLst>
                <a:ext uri="{FF2B5EF4-FFF2-40B4-BE49-F238E27FC236}">
                  <a16:creationId xmlns:a16="http://schemas.microsoft.com/office/drawing/2014/main" id="{BB212A27-E35D-46FE-8D12-D4979AE95634}"/>
                </a:ext>
              </a:extLst>
            </p:cNvPr>
            <p:cNvSpPr/>
            <p:nvPr/>
          </p:nvSpPr>
          <p:spPr>
            <a:xfrm>
              <a:off x="1371555" y="2808006"/>
              <a:ext cx="262539" cy="34244"/>
            </a:xfrm>
            <a:custGeom>
              <a:avLst/>
              <a:gdLst>
                <a:gd name="connsiteX0" fmla="*/ 245417 w 262539"/>
                <a:gd name="connsiteY0" fmla="*/ 34244 h 34244"/>
                <a:gd name="connsiteX1" fmla="*/ 17122 w 262539"/>
                <a:gd name="connsiteY1" fmla="*/ 34244 h 34244"/>
                <a:gd name="connsiteX2" fmla="*/ 0 w 262539"/>
                <a:gd name="connsiteY2" fmla="*/ 17122 h 34244"/>
                <a:gd name="connsiteX3" fmla="*/ 17122 w 262539"/>
                <a:gd name="connsiteY3" fmla="*/ 0 h 34244"/>
                <a:gd name="connsiteX4" fmla="*/ 245417 w 262539"/>
                <a:gd name="connsiteY4" fmla="*/ 0 h 34244"/>
                <a:gd name="connsiteX5" fmla="*/ 262540 w 262539"/>
                <a:gd name="connsiteY5" fmla="*/ 17122 h 34244"/>
                <a:gd name="connsiteX6" fmla="*/ 245417 w 262539"/>
                <a:gd name="connsiteY6" fmla="*/ 34244 h 34244"/>
                <a:gd name="connsiteX7" fmla="*/ 245417 w 262539"/>
                <a:gd name="connsiteY7" fmla="*/ 34244 h 3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2539" h="34244">
                  <a:moveTo>
                    <a:pt x="245417" y="34244"/>
                  </a:moveTo>
                  <a:lnTo>
                    <a:pt x="17122" y="34244"/>
                  </a:lnTo>
                  <a:cubicBezTo>
                    <a:pt x="7610" y="34244"/>
                    <a:pt x="0" y="26635"/>
                    <a:pt x="0" y="17122"/>
                  </a:cubicBezTo>
                  <a:cubicBezTo>
                    <a:pt x="0" y="7610"/>
                    <a:pt x="7610" y="0"/>
                    <a:pt x="17122" y="0"/>
                  </a:cubicBezTo>
                  <a:lnTo>
                    <a:pt x="245417" y="0"/>
                  </a:lnTo>
                  <a:cubicBezTo>
                    <a:pt x="254930" y="0"/>
                    <a:pt x="262540" y="7610"/>
                    <a:pt x="262540" y="17122"/>
                  </a:cubicBezTo>
                  <a:cubicBezTo>
                    <a:pt x="261905" y="26635"/>
                    <a:pt x="254296" y="34244"/>
                    <a:pt x="245417" y="34244"/>
                  </a:cubicBezTo>
                  <a:lnTo>
                    <a:pt x="245417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69" name="Forma Livre: Forma 368">
              <a:extLst>
                <a:ext uri="{FF2B5EF4-FFF2-40B4-BE49-F238E27FC236}">
                  <a16:creationId xmlns:a16="http://schemas.microsoft.com/office/drawing/2014/main" id="{F8FC7032-10E4-4097-8D4A-91BE9008CBC9}"/>
                </a:ext>
              </a:extLst>
            </p:cNvPr>
            <p:cNvSpPr/>
            <p:nvPr/>
          </p:nvSpPr>
          <p:spPr>
            <a:xfrm>
              <a:off x="1235846" y="2779469"/>
              <a:ext cx="90683" cy="90683"/>
            </a:xfrm>
            <a:custGeom>
              <a:avLst/>
              <a:gdLst>
                <a:gd name="connsiteX0" fmla="*/ 73562 w 90683"/>
                <a:gd name="connsiteY0" fmla="*/ 90684 h 90683"/>
                <a:gd name="connsiteX1" fmla="*/ 17122 w 90683"/>
                <a:gd name="connsiteY1" fmla="*/ 90684 h 90683"/>
                <a:gd name="connsiteX2" fmla="*/ 0 w 90683"/>
                <a:gd name="connsiteY2" fmla="*/ 73562 h 90683"/>
                <a:gd name="connsiteX3" fmla="*/ 0 w 90683"/>
                <a:gd name="connsiteY3" fmla="*/ 17122 h 90683"/>
                <a:gd name="connsiteX4" fmla="*/ 17122 w 90683"/>
                <a:gd name="connsiteY4" fmla="*/ 0 h 90683"/>
                <a:gd name="connsiteX5" fmla="*/ 73562 w 90683"/>
                <a:gd name="connsiteY5" fmla="*/ 0 h 90683"/>
                <a:gd name="connsiteX6" fmla="*/ 90684 w 90683"/>
                <a:gd name="connsiteY6" fmla="*/ 17122 h 90683"/>
                <a:gd name="connsiteX7" fmla="*/ 90684 w 90683"/>
                <a:gd name="connsiteY7" fmla="*/ 73562 h 90683"/>
                <a:gd name="connsiteX8" fmla="*/ 73562 w 90683"/>
                <a:gd name="connsiteY8" fmla="*/ 90684 h 90683"/>
                <a:gd name="connsiteX9" fmla="*/ 73562 w 90683"/>
                <a:gd name="connsiteY9" fmla="*/ 90684 h 90683"/>
                <a:gd name="connsiteX10" fmla="*/ 34244 w 90683"/>
                <a:gd name="connsiteY10" fmla="*/ 57074 h 90683"/>
                <a:gd name="connsiteX11" fmla="*/ 56440 w 90683"/>
                <a:gd name="connsiteY11" fmla="*/ 57074 h 90683"/>
                <a:gd name="connsiteX12" fmla="*/ 56440 w 90683"/>
                <a:gd name="connsiteY12" fmla="*/ 34244 h 90683"/>
                <a:gd name="connsiteX13" fmla="*/ 34244 w 90683"/>
                <a:gd name="connsiteY13" fmla="*/ 34244 h 90683"/>
                <a:gd name="connsiteX14" fmla="*/ 34244 w 90683"/>
                <a:gd name="connsiteY14" fmla="*/ 57074 h 90683"/>
                <a:gd name="connsiteX15" fmla="*/ 34244 w 90683"/>
                <a:gd name="connsiteY15" fmla="*/ 57074 h 90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0683" h="90683">
                  <a:moveTo>
                    <a:pt x="73562" y="90684"/>
                  </a:moveTo>
                  <a:lnTo>
                    <a:pt x="17122" y="90684"/>
                  </a:lnTo>
                  <a:cubicBezTo>
                    <a:pt x="7610" y="90684"/>
                    <a:pt x="0" y="83074"/>
                    <a:pt x="0" y="73562"/>
                  </a:cubicBezTo>
                  <a:lnTo>
                    <a:pt x="0" y="17122"/>
                  </a:lnTo>
                  <a:cubicBezTo>
                    <a:pt x="0" y="7610"/>
                    <a:pt x="7610" y="0"/>
                    <a:pt x="17122" y="0"/>
                  </a:cubicBezTo>
                  <a:lnTo>
                    <a:pt x="73562" y="0"/>
                  </a:lnTo>
                  <a:cubicBezTo>
                    <a:pt x="83074" y="0"/>
                    <a:pt x="90684" y="7610"/>
                    <a:pt x="90684" y="17122"/>
                  </a:cubicBezTo>
                  <a:lnTo>
                    <a:pt x="90684" y="73562"/>
                  </a:lnTo>
                  <a:cubicBezTo>
                    <a:pt x="90050" y="83074"/>
                    <a:pt x="82440" y="90684"/>
                    <a:pt x="73562" y="90684"/>
                  </a:cubicBezTo>
                  <a:lnTo>
                    <a:pt x="73562" y="90684"/>
                  </a:lnTo>
                  <a:close/>
                  <a:moveTo>
                    <a:pt x="34244" y="57074"/>
                  </a:moveTo>
                  <a:lnTo>
                    <a:pt x="56440" y="57074"/>
                  </a:lnTo>
                  <a:lnTo>
                    <a:pt x="56440" y="34244"/>
                  </a:lnTo>
                  <a:lnTo>
                    <a:pt x="34244" y="34244"/>
                  </a:lnTo>
                  <a:lnTo>
                    <a:pt x="34244" y="57074"/>
                  </a:lnTo>
                  <a:lnTo>
                    <a:pt x="34244" y="5707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70" name="Forma Livre: Forma 369">
              <a:extLst>
                <a:ext uri="{FF2B5EF4-FFF2-40B4-BE49-F238E27FC236}">
                  <a16:creationId xmlns:a16="http://schemas.microsoft.com/office/drawing/2014/main" id="{0EF47DBD-6368-4B69-A11F-AB8441509252}"/>
                </a:ext>
              </a:extLst>
            </p:cNvPr>
            <p:cNvSpPr/>
            <p:nvPr/>
          </p:nvSpPr>
          <p:spPr>
            <a:xfrm>
              <a:off x="1371555" y="2959568"/>
              <a:ext cx="262539" cy="34244"/>
            </a:xfrm>
            <a:custGeom>
              <a:avLst/>
              <a:gdLst>
                <a:gd name="connsiteX0" fmla="*/ 245417 w 262539"/>
                <a:gd name="connsiteY0" fmla="*/ 34244 h 34244"/>
                <a:gd name="connsiteX1" fmla="*/ 17122 w 262539"/>
                <a:gd name="connsiteY1" fmla="*/ 34244 h 34244"/>
                <a:gd name="connsiteX2" fmla="*/ 0 w 262539"/>
                <a:gd name="connsiteY2" fmla="*/ 17122 h 34244"/>
                <a:gd name="connsiteX3" fmla="*/ 17122 w 262539"/>
                <a:gd name="connsiteY3" fmla="*/ 0 h 34244"/>
                <a:gd name="connsiteX4" fmla="*/ 245417 w 262539"/>
                <a:gd name="connsiteY4" fmla="*/ 0 h 34244"/>
                <a:gd name="connsiteX5" fmla="*/ 262540 w 262539"/>
                <a:gd name="connsiteY5" fmla="*/ 17122 h 34244"/>
                <a:gd name="connsiteX6" fmla="*/ 245417 w 262539"/>
                <a:gd name="connsiteY6" fmla="*/ 34244 h 34244"/>
                <a:gd name="connsiteX7" fmla="*/ 245417 w 262539"/>
                <a:gd name="connsiteY7" fmla="*/ 34244 h 3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2539" h="34244">
                  <a:moveTo>
                    <a:pt x="245417" y="34244"/>
                  </a:moveTo>
                  <a:lnTo>
                    <a:pt x="17122" y="34244"/>
                  </a:lnTo>
                  <a:cubicBezTo>
                    <a:pt x="7610" y="34244"/>
                    <a:pt x="0" y="26635"/>
                    <a:pt x="0" y="17122"/>
                  </a:cubicBezTo>
                  <a:cubicBezTo>
                    <a:pt x="0" y="7610"/>
                    <a:pt x="7610" y="0"/>
                    <a:pt x="17122" y="0"/>
                  </a:cubicBezTo>
                  <a:lnTo>
                    <a:pt x="245417" y="0"/>
                  </a:lnTo>
                  <a:cubicBezTo>
                    <a:pt x="254930" y="0"/>
                    <a:pt x="262540" y="7610"/>
                    <a:pt x="262540" y="17122"/>
                  </a:cubicBezTo>
                  <a:cubicBezTo>
                    <a:pt x="261905" y="26635"/>
                    <a:pt x="254296" y="34244"/>
                    <a:pt x="245417" y="34244"/>
                  </a:cubicBezTo>
                  <a:lnTo>
                    <a:pt x="245417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71" name="Forma Livre: Forma 370">
              <a:extLst>
                <a:ext uri="{FF2B5EF4-FFF2-40B4-BE49-F238E27FC236}">
                  <a16:creationId xmlns:a16="http://schemas.microsoft.com/office/drawing/2014/main" id="{CF74D64E-3785-4909-89B7-1CC9FB64B89F}"/>
                </a:ext>
              </a:extLst>
            </p:cNvPr>
            <p:cNvSpPr/>
            <p:nvPr/>
          </p:nvSpPr>
          <p:spPr>
            <a:xfrm>
              <a:off x="1235846" y="2931666"/>
              <a:ext cx="90683" cy="90683"/>
            </a:xfrm>
            <a:custGeom>
              <a:avLst/>
              <a:gdLst>
                <a:gd name="connsiteX0" fmla="*/ 73562 w 90683"/>
                <a:gd name="connsiteY0" fmla="*/ 90684 h 90683"/>
                <a:gd name="connsiteX1" fmla="*/ 17122 w 90683"/>
                <a:gd name="connsiteY1" fmla="*/ 90684 h 90683"/>
                <a:gd name="connsiteX2" fmla="*/ 0 w 90683"/>
                <a:gd name="connsiteY2" fmla="*/ 73562 h 90683"/>
                <a:gd name="connsiteX3" fmla="*/ 0 w 90683"/>
                <a:gd name="connsiteY3" fmla="*/ 17122 h 90683"/>
                <a:gd name="connsiteX4" fmla="*/ 17122 w 90683"/>
                <a:gd name="connsiteY4" fmla="*/ 0 h 90683"/>
                <a:gd name="connsiteX5" fmla="*/ 73562 w 90683"/>
                <a:gd name="connsiteY5" fmla="*/ 0 h 90683"/>
                <a:gd name="connsiteX6" fmla="*/ 90684 w 90683"/>
                <a:gd name="connsiteY6" fmla="*/ 17122 h 90683"/>
                <a:gd name="connsiteX7" fmla="*/ 90684 w 90683"/>
                <a:gd name="connsiteY7" fmla="*/ 73562 h 90683"/>
                <a:gd name="connsiteX8" fmla="*/ 73562 w 90683"/>
                <a:gd name="connsiteY8" fmla="*/ 90684 h 90683"/>
                <a:gd name="connsiteX9" fmla="*/ 73562 w 90683"/>
                <a:gd name="connsiteY9" fmla="*/ 90684 h 90683"/>
                <a:gd name="connsiteX10" fmla="*/ 34244 w 90683"/>
                <a:gd name="connsiteY10" fmla="*/ 56440 h 90683"/>
                <a:gd name="connsiteX11" fmla="*/ 56440 w 90683"/>
                <a:gd name="connsiteY11" fmla="*/ 56440 h 90683"/>
                <a:gd name="connsiteX12" fmla="*/ 56440 w 90683"/>
                <a:gd name="connsiteY12" fmla="*/ 33610 h 90683"/>
                <a:gd name="connsiteX13" fmla="*/ 34244 w 90683"/>
                <a:gd name="connsiteY13" fmla="*/ 33610 h 90683"/>
                <a:gd name="connsiteX14" fmla="*/ 34244 w 90683"/>
                <a:gd name="connsiteY14" fmla="*/ 56440 h 90683"/>
                <a:gd name="connsiteX15" fmla="*/ 34244 w 90683"/>
                <a:gd name="connsiteY15" fmla="*/ 56440 h 90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0683" h="90683">
                  <a:moveTo>
                    <a:pt x="73562" y="90684"/>
                  </a:moveTo>
                  <a:lnTo>
                    <a:pt x="17122" y="90684"/>
                  </a:lnTo>
                  <a:cubicBezTo>
                    <a:pt x="7610" y="90684"/>
                    <a:pt x="0" y="83074"/>
                    <a:pt x="0" y="73562"/>
                  </a:cubicBezTo>
                  <a:lnTo>
                    <a:pt x="0" y="17122"/>
                  </a:lnTo>
                  <a:cubicBezTo>
                    <a:pt x="0" y="7610"/>
                    <a:pt x="7610" y="0"/>
                    <a:pt x="17122" y="0"/>
                  </a:cubicBezTo>
                  <a:lnTo>
                    <a:pt x="73562" y="0"/>
                  </a:lnTo>
                  <a:cubicBezTo>
                    <a:pt x="83074" y="0"/>
                    <a:pt x="90684" y="7610"/>
                    <a:pt x="90684" y="17122"/>
                  </a:cubicBezTo>
                  <a:lnTo>
                    <a:pt x="90684" y="73562"/>
                  </a:lnTo>
                  <a:cubicBezTo>
                    <a:pt x="90050" y="83074"/>
                    <a:pt x="82440" y="90684"/>
                    <a:pt x="73562" y="90684"/>
                  </a:cubicBezTo>
                  <a:lnTo>
                    <a:pt x="73562" y="90684"/>
                  </a:lnTo>
                  <a:close/>
                  <a:moveTo>
                    <a:pt x="34244" y="56440"/>
                  </a:moveTo>
                  <a:lnTo>
                    <a:pt x="56440" y="56440"/>
                  </a:lnTo>
                  <a:lnTo>
                    <a:pt x="56440" y="33610"/>
                  </a:lnTo>
                  <a:lnTo>
                    <a:pt x="34244" y="33610"/>
                  </a:lnTo>
                  <a:lnTo>
                    <a:pt x="34244" y="56440"/>
                  </a:lnTo>
                  <a:lnTo>
                    <a:pt x="34244" y="56440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72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2326342" y="2603228"/>
            <a:ext cx="380023" cy="385666"/>
            <a:chOff x="2284102" y="2626638"/>
            <a:chExt cx="384297" cy="390004"/>
          </a:xfrm>
          <a:solidFill>
            <a:srgbClr val="B1B1A1"/>
          </a:solidFill>
        </p:grpSpPr>
        <p:sp>
          <p:nvSpPr>
            <p:cNvPr id="373" name="Forma Livre: Forma 372">
              <a:extLst>
                <a:ext uri="{FF2B5EF4-FFF2-40B4-BE49-F238E27FC236}">
                  <a16:creationId xmlns:a16="http://schemas.microsoft.com/office/drawing/2014/main" id="{1505EC25-2E9F-4C0A-AE7E-7E191C77E13C}"/>
                </a:ext>
              </a:extLst>
            </p:cNvPr>
            <p:cNvSpPr/>
            <p:nvPr/>
          </p:nvSpPr>
          <p:spPr>
            <a:xfrm>
              <a:off x="2405859" y="2652004"/>
              <a:ext cx="262539" cy="34244"/>
            </a:xfrm>
            <a:custGeom>
              <a:avLst/>
              <a:gdLst>
                <a:gd name="connsiteX0" fmla="*/ 245417 w 262539"/>
                <a:gd name="connsiteY0" fmla="*/ 34244 h 34244"/>
                <a:gd name="connsiteX1" fmla="*/ 17122 w 262539"/>
                <a:gd name="connsiteY1" fmla="*/ 34244 h 34244"/>
                <a:gd name="connsiteX2" fmla="*/ 0 w 262539"/>
                <a:gd name="connsiteY2" fmla="*/ 17122 h 34244"/>
                <a:gd name="connsiteX3" fmla="*/ 17122 w 262539"/>
                <a:gd name="connsiteY3" fmla="*/ 0 h 34244"/>
                <a:gd name="connsiteX4" fmla="*/ 245417 w 262539"/>
                <a:gd name="connsiteY4" fmla="*/ 0 h 34244"/>
                <a:gd name="connsiteX5" fmla="*/ 262540 w 262539"/>
                <a:gd name="connsiteY5" fmla="*/ 17122 h 34244"/>
                <a:gd name="connsiteX6" fmla="*/ 245417 w 262539"/>
                <a:gd name="connsiteY6" fmla="*/ 34244 h 34244"/>
                <a:gd name="connsiteX7" fmla="*/ 245417 w 262539"/>
                <a:gd name="connsiteY7" fmla="*/ 34244 h 3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2539" h="34244">
                  <a:moveTo>
                    <a:pt x="245417" y="34244"/>
                  </a:moveTo>
                  <a:lnTo>
                    <a:pt x="17122" y="34244"/>
                  </a:lnTo>
                  <a:cubicBezTo>
                    <a:pt x="7610" y="34244"/>
                    <a:pt x="0" y="26635"/>
                    <a:pt x="0" y="17122"/>
                  </a:cubicBezTo>
                  <a:cubicBezTo>
                    <a:pt x="0" y="7610"/>
                    <a:pt x="7610" y="0"/>
                    <a:pt x="17122" y="0"/>
                  </a:cubicBezTo>
                  <a:lnTo>
                    <a:pt x="245417" y="0"/>
                  </a:lnTo>
                  <a:cubicBezTo>
                    <a:pt x="254930" y="0"/>
                    <a:pt x="262540" y="7610"/>
                    <a:pt x="262540" y="17122"/>
                  </a:cubicBezTo>
                  <a:cubicBezTo>
                    <a:pt x="262540" y="26635"/>
                    <a:pt x="254930" y="34244"/>
                    <a:pt x="245417" y="34244"/>
                  </a:cubicBezTo>
                  <a:lnTo>
                    <a:pt x="245417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74" name="Forma Livre: Forma 373">
              <a:extLst>
                <a:ext uri="{FF2B5EF4-FFF2-40B4-BE49-F238E27FC236}">
                  <a16:creationId xmlns:a16="http://schemas.microsoft.com/office/drawing/2014/main" id="{BEEE5E22-574F-4309-823B-AA061B336A5C}"/>
                </a:ext>
              </a:extLst>
            </p:cNvPr>
            <p:cNvSpPr/>
            <p:nvPr/>
          </p:nvSpPr>
          <p:spPr>
            <a:xfrm>
              <a:off x="2405859" y="2803566"/>
              <a:ext cx="262539" cy="34244"/>
            </a:xfrm>
            <a:custGeom>
              <a:avLst/>
              <a:gdLst>
                <a:gd name="connsiteX0" fmla="*/ 245417 w 262539"/>
                <a:gd name="connsiteY0" fmla="*/ 34244 h 34244"/>
                <a:gd name="connsiteX1" fmla="*/ 17122 w 262539"/>
                <a:gd name="connsiteY1" fmla="*/ 34244 h 34244"/>
                <a:gd name="connsiteX2" fmla="*/ 0 w 262539"/>
                <a:gd name="connsiteY2" fmla="*/ 17122 h 34244"/>
                <a:gd name="connsiteX3" fmla="*/ 17122 w 262539"/>
                <a:gd name="connsiteY3" fmla="*/ 0 h 34244"/>
                <a:gd name="connsiteX4" fmla="*/ 245417 w 262539"/>
                <a:gd name="connsiteY4" fmla="*/ 0 h 34244"/>
                <a:gd name="connsiteX5" fmla="*/ 262540 w 262539"/>
                <a:gd name="connsiteY5" fmla="*/ 17122 h 34244"/>
                <a:gd name="connsiteX6" fmla="*/ 245417 w 262539"/>
                <a:gd name="connsiteY6" fmla="*/ 34244 h 34244"/>
                <a:gd name="connsiteX7" fmla="*/ 245417 w 262539"/>
                <a:gd name="connsiteY7" fmla="*/ 34244 h 3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2539" h="34244">
                  <a:moveTo>
                    <a:pt x="245417" y="34244"/>
                  </a:moveTo>
                  <a:lnTo>
                    <a:pt x="17122" y="34244"/>
                  </a:lnTo>
                  <a:cubicBezTo>
                    <a:pt x="7610" y="34244"/>
                    <a:pt x="0" y="26635"/>
                    <a:pt x="0" y="17122"/>
                  </a:cubicBezTo>
                  <a:cubicBezTo>
                    <a:pt x="0" y="7610"/>
                    <a:pt x="7610" y="0"/>
                    <a:pt x="17122" y="0"/>
                  </a:cubicBezTo>
                  <a:lnTo>
                    <a:pt x="245417" y="0"/>
                  </a:lnTo>
                  <a:cubicBezTo>
                    <a:pt x="254930" y="0"/>
                    <a:pt x="262540" y="7610"/>
                    <a:pt x="262540" y="17122"/>
                  </a:cubicBezTo>
                  <a:cubicBezTo>
                    <a:pt x="262540" y="26635"/>
                    <a:pt x="254930" y="34244"/>
                    <a:pt x="245417" y="34244"/>
                  </a:cubicBezTo>
                  <a:lnTo>
                    <a:pt x="245417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75" name="Forma Livre: Forma 374">
              <a:extLst>
                <a:ext uri="{FF2B5EF4-FFF2-40B4-BE49-F238E27FC236}">
                  <a16:creationId xmlns:a16="http://schemas.microsoft.com/office/drawing/2014/main" id="{14243026-0A1B-4D5C-9245-1DADF1A05713}"/>
                </a:ext>
              </a:extLst>
            </p:cNvPr>
            <p:cNvSpPr/>
            <p:nvPr/>
          </p:nvSpPr>
          <p:spPr>
            <a:xfrm>
              <a:off x="2405859" y="2955763"/>
              <a:ext cx="262539" cy="34244"/>
            </a:xfrm>
            <a:custGeom>
              <a:avLst/>
              <a:gdLst>
                <a:gd name="connsiteX0" fmla="*/ 245417 w 262539"/>
                <a:gd name="connsiteY0" fmla="*/ 34244 h 34244"/>
                <a:gd name="connsiteX1" fmla="*/ 17122 w 262539"/>
                <a:gd name="connsiteY1" fmla="*/ 34244 h 34244"/>
                <a:gd name="connsiteX2" fmla="*/ 0 w 262539"/>
                <a:gd name="connsiteY2" fmla="*/ 17122 h 34244"/>
                <a:gd name="connsiteX3" fmla="*/ 17122 w 262539"/>
                <a:gd name="connsiteY3" fmla="*/ 0 h 34244"/>
                <a:gd name="connsiteX4" fmla="*/ 245417 w 262539"/>
                <a:gd name="connsiteY4" fmla="*/ 0 h 34244"/>
                <a:gd name="connsiteX5" fmla="*/ 262540 w 262539"/>
                <a:gd name="connsiteY5" fmla="*/ 17122 h 34244"/>
                <a:gd name="connsiteX6" fmla="*/ 245417 w 262539"/>
                <a:gd name="connsiteY6" fmla="*/ 34244 h 34244"/>
                <a:gd name="connsiteX7" fmla="*/ 245417 w 262539"/>
                <a:gd name="connsiteY7" fmla="*/ 34244 h 3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2539" h="34244">
                  <a:moveTo>
                    <a:pt x="245417" y="34244"/>
                  </a:moveTo>
                  <a:lnTo>
                    <a:pt x="17122" y="34244"/>
                  </a:lnTo>
                  <a:cubicBezTo>
                    <a:pt x="7610" y="34244"/>
                    <a:pt x="0" y="26635"/>
                    <a:pt x="0" y="17122"/>
                  </a:cubicBezTo>
                  <a:cubicBezTo>
                    <a:pt x="0" y="7610"/>
                    <a:pt x="7610" y="0"/>
                    <a:pt x="17122" y="0"/>
                  </a:cubicBezTo>
                  <a:lnTo>
                    <a:pt x="245417" y="0"/>
                  </a:lnTo>
                  <a:cubicBezTo>
                    <a:pt x="254930" y="0"/>
                    <a:pt x="262540" y="7610"/>
                    <a:pt x="262540" y="17122"/>
                  </a:cubicBezTo>
                  <a:cubicBezTo>
                    <a:pt x="262540" y="26635"/>
                    <a:pt x="254930" y="34244"/>
                    <a:pt x="245417" y="34244"/>
                  </a:cubicBezTo>
                  <a:lnTo>
                    <a:pt x="245417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376" name="Gráfico 2">
              <a:extLst>
                <a:ext uri="{FF2B5EF4-FFF2-40B4-BE49-F238E27FC236}">
                  <a16:creationId xmlns:a16="http://schemas.microsoft.com/office/drawing/2014/main" id="{DC80C217-93B8-4831-A8BE-0817F1F32ECF}"/>
                </a:ext>
              </a:extLst>
            </p:cNvPr>
            <p:cNvGrpSpPr/>
            <p:nvPr/>
          </p:nvGrpSpPr>
          <p:grpSpPr>
            <a:xfrm>
              <a:off x="2284102" y="2626638"/>
              <a:ext cx="62781" cy="390004"/>
              <a:chOff x="2284102" y="2626638"/>
              <a:chExt cx="62781" cy="390004"/>
            </a:xfrm>
            <a:grpFill/>
          </p:grpSpPr>
          <p:sp>
            <p:nvSpPr>
              <p:cNvPr id="377" name="Forma Livre: Forma 376">
                <a:extLst>
                  <a:ext uri="{FF2B5EF4-FFF2-40B4-BE49-F238E27FC236}">
                    <a16:creationId xmlns:a16="http://schemas.microsoft.com/office/drawing/2014/main" id="{0397C57B-E76C-4CAB-8178-EDE5451AAE47}"/>
                  </a:ext>
                </a:extLst>
              </p:cNvPr>
              <p:cNvSpPr/>
              <p:nvPr/>
            </p:nvSpPr>
            <p:spPr>
              <a:xfrm>
                <a:off x="2285370" y="2626638"/>
                <a:ext cx="43756" cy="91318"/>
              </a:xfrm>
              <a:custGeom>
                <a:avLst/>
                <a:gdLst>
                  <a:gd name="connsiteX0" fmla="*/ 27269 w 43756"/>
                  <a:gd name="connsiteY0" fmla="*/ 81172 h 91318"/>
                  <a:gd name="connsiteX1" fmla="*/ 27269 w 43756"/>
                  <a:gd name="connsiteY1" fmla="*/ 26000 h 91318"/>
                  <a:gd name="connsiteX2" fmla="*/ 6342 w 43756"/>
                  <a:gd name="connsiteY2" fmla="*/ 38049 h 91318"/>
                  <a:gd name="connsiteX3" fmla="*/ 1902 w 43756"/>
                  <a:gd name="connsiteY3" fmla="*/ 36147 h 91318"/>
                  <a:gd name="connsiteX4" fmla="*/ 0 w 43756"/>
                  <a:gd name="connsiteY4" fmla="*/ 31708 h 91318"/>
                  <a:gd name="connsiteX5" fmla="*/ 1902 w 43756"/>
                  <a:gd name="connsiteY5" fmla="*/ 27269 h 91318"/>
                  <a:gd name="connsiteX6" fmla="*/ 8878 w 43756"/>
                  <a:gd name="connsiteY6" fmla="*/ 23464 h 91318"/>
                  <a:gd name="connsiteX7" fmla="*/ 20927 w 43756"/>
                  <a:gd name="connsiteY7" fmla="*/ 15854 h 91318"/>
                  <a:gd name="connsiteX8" fmla="*/ 28537 w 43756"/>
                  <a:gd name="connsiteY8" fmla="*/ 6976 h 91318"/>
                  <a:gd name="connsiteX9" fmla="*/ 32976 w 43756"/>
                  <a:gd name="connsiteY9" fmla="*/ 1268 h 91318"/>
                  <a:gd name="connsiteX10" fmla="*/ 36781 w 43756"/>
                  <a:gd name="connsiteY10" fmla="*/ 0 h 91318"/>
                  <a:gd name="connsiteX11" fmla="*/ 41854 w 43756"/>
                  <a:gd name="connsiteY11" fmla="*/ 2537 h 91318"/>
                  <a:gd name="connsiteX12" fmla="*/ 43757 w 43756"/>
                  <a:gd name="connsiteY12" fmla="*/ 9512 h 91318"/>
                  <a:gd name="connsiteX13" fmla="*/ 43757 w 43756"/>
                  <a:gd name="connsiteY13" fmla="*/ 79269 h 91318"/>
                  <a:gd name="connsiteX14" fmla="*/ 35513 w 43756"/>
                  <a:gd name="connsiteY14" fmla="*/ 91318 h 91318"/>
                  <a:gd name="connsiteX15" fmla="*/ 29805 w 43756"/>
                  <a:gd name="connsiteY15" fmla="*/ 88782 h 91318"/>
                  <a:gd name="connsiteX16" fmla="*/ 27269 w 43756"/>
                  <a:gd name="connsiteY16" fmla="*/ 81172 h 91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3756" h="91318">
                    <a:moveTo>
                      <a:pt x="27269" y="81172"/>
                    </a:moveTo>
                    <a:lnTo>
                      <a:pt x="27269" y="26000"/>
                    </a:lnTo>
                    <a:cubicBezTo>
                      <a:pt x="17122" y="33610"/>
                      <a:pt x="10146" y="38049"/>
                      <a:pt x="6342" y="38049"/>
                    </a:cubicBezTo>
                    <a:cubicBezTo>
                      <a:pt x="4439" y="38049"/>
                      <a:pt x="3171" y="37415"/>
                      <a:pt x="1902" y="36147"/>
                    </a:cubicBezTo>
                    <a:cubicBezTo>
                      <a:pt x="634" y="34878"/>
                      <a:pt x="0" y="32976"/>
                      <a:pt x="0" y="31708"/>
                    </a:cubicBezTo>
                    <a:cubicBezTo>
                      <a:pt x="0" y="29805"/>
                      <a:pt x="634" y="27903"/>
                      <a:pt x="1902" y="27269"/>
                    </a:cubicBezTo>
                    <a:cubicBezTo>
                      <a:pt x="3171" y="26000"/>
                      <a:pt x="5707" y="24732"/>
                      <a:pt x="8878" y="23464"/>
                    </a:cubicBezTo>
                    <a:cubicBezTo>
                      <a:pt x="13951" y="20927"/>
                      <a:pt x="17756" y="19025"/>
                      <a:pt x="20927" y="15854"/>
                    </a:cubicBezTo>
                    <a:cubicBezTo>
                      <a:pt x="24098" y="13317"/>
                      <a:pt x="26634" y="10146"/>
                      <a:pt x="28537" y="6976"/>
                    </a:cubicBezTo>
                    <a:cubicBezTo>
                      <a:pt x="31073" y="3805"/>
                      <a:pt x="32342" y="1903"/>
                      <a:pt x="32976" y="1268"/>
                    </a:cubicBezTo>
                    <a:cubicBezTo>
                      <a:pt x="33610" y="634"/>
                      <a:pt x="34878" y="0"/>
                      <a:pt x="36781" y="0"/>
                    </a:cubicBezTo>
                    <a:cubicBezTo>
                      <a:pt x="38683" y="0"/>
                      <a:pt x="40586" y="634"/>
                      <a:pt x="41854" y="2537"/>
                    </a:cubicBezTo>
                    <a:cubicBezTo>
                      <a:pt x="43122" y="4439"/>
                      <a:pt x="43757" y="6342"/>
                      <a:pt x="43757" y="9512"/>
                    </a:cubicBezTo>
                    <a:lnTo>
                      <a:pt x="43757" y="79269"/>
                    </a:lnTo>
                    <a:cubicBezTo>
                      <a:pt x="43757" y="87513"/>
                      <a:pt x="41220" y="91318"/>
                      <a:pt x="35513" y="91318"/>
                    </a:cubicBezTo>
                    <a:cubicBezTo>
                      <a:pt x="32976" y="91318"/>
                      <a:pt x="31073" y="90684"/>
                      <a:pt x="29805" y="88782"/>
                    </a:cubicBezTo>
                    <a:cubicBezTo>
                      <a:pt x="27903" y="86879"/>
                      <a:pt x="27269" y="84343"/>
                      <a:pt x="27269" y="81172"/>
                    </a:cubicBez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78" name="Forma Livre: Forma 377">
                <a:extLst>
                  <a:ext uri="{FF2B5EF4-FFF2-40B4-BE49-F238E27FC236}">
                    <a16:creationId xmlns:a16="http://schemas.microsoft.com/office/drawing/2014/main" id="{0E07FE2D-D3FC-475A-8BFC-ACC44030291D}"/>
                  </a:ext>
                </a:extLst>
              </p:cNvPr>
              <p:cNvSpPr/>
              <p:nvPr/>
            </p:nvSpPr>
            <p:spPr>
              <a:xfrm>
                <a:off x="2284736" y="2774396"/>
                <a:ext cx="62147" cy="90683"/>
              </a:xfrm>
              <a:custGeom>
                <a:avLst/>
                <a:gdLst>
                  <a:gd name="connsiteX0" fmla="*/ 20927 w 62147"/>
                  <a:gd name="connsiteY0" fmla="*/ 76732 h 90683"/>
                  <a:gd name="connsiteX1" fmla="*/ 52635 w 62147"/>
                  <a:gd name="connsiteY1" fmla="*/ 76732 h 90683"/>
                  <a:gd name="connsiteX2" fmla="*/ 59610 w 62147"/>
                  <a:gd name="connsiteY2" fmla="*/ 78635 h 90683"/>
                  <a:gd name="connsiteX3" fmla="*/ 62147 w 62147"/>
                  <a:gd name="connsiteY3" fmla="*/ 83708 h 90683"/>
                  <a:gd name="connsiteX4" fmla="*/ 60245 w 62147"/>
                  <a:gd name="connsiteY4" fmla="*/ 88782 h 90683"/>
                  <a:gd name="connsiteX5" fmla="*/ 54537 w 62147"/>
                  <a:gd name="connsiteY5" fmla="*/ 90684 h 90683"/>
                  <a:gd name="connsiteX6" fmla="*/ 9512 w 62147"/>
                  <a:gd name="connsiteY6" fmla="*/ 90684 h 90683"/>
                  <a:gd name="connsiteX7" fmla="*/ 2537 w 62147"/>
                  <a:gd name="connsiteY7" fmla="*/ 88147 h 90683"/>
                  <a:gd name="connsiteX8" fmla="*/ 0 w 62147"/>
                  <a:gd name="connsiteY8" fmla="*/ 82440 h 90683"/>
                  <a:gd name="connsiteX9" fmla="*/ 1902 w 62147"/>
                  <a:gd name="connsiteY9" fmla="*/ 76732 h 90683"/>
                  <a:gd name="connsiteX10" fmla="*/ 5707 w 62147"/>
                  <a:gd name="connsiteY10" fmla="*/ 71025 h 90683"/>
                  <a:gd name="connsiteX11" fmla="*/ 20293 w 62147"/>
                  <a:gd name="connsiteY11" fmla="*/ 56440 h 90683"/>
                  <a:gd name="connsiteX12" fmla="*/ 29805 w 62147"/>
                  <a:gd name="connsiteY12" fmla="*/ 48830 h 90683"/>
                  <a:gd name="connsiteX13" fmla="*/ 38049 w 62147"/>
                  <a:gd name="connsiteY13" fmla="*/ 41854 h 90683"/>
                  <a:gd name="connsiteX14" fmla="*/ 43122 w 62147"/>
                  <a:gd name="connsiteY14" fmla="*/ 34244 h 90683"/>
                  <a:gd name="connsiteX15" fmla="*/ 45025 w 62147"/>
                  <a:gd name="connsiteY15" fmla="*/ 26634 h 90683"/>
                  <a:gd name="connsiteX16" fmla="*/ 43122 w 62147"/>
                  <a:gd name="connsiteY16" fmla="*/ 19659 h 90683"/>
                  <a:gd name="connsiteX17" fmla="*/ 38049 w 62147"/>
                  <a:gd name="connsiteY17" fmla="*/ 14585 h 90683"/>
                  <a:gd name="connsiteX18" fmla="*/ 31073 w 62147"/>
                  <a:gd name="connsiteY18" fmla="*/ 12683 h 90683"/>
                  <a:gd name="connsiteX19" fmla="*/ 18390 w 62147"/>
                  <a:gd name="connsiteY19" fmla="*/ 19659 h 90683"/>
                  <a:gd name="connsiteX20" fmla="*/ 16488 w 62147"/>
                  <a:gd name="connsiteY20" fmla="*/ 24732 h 90683"/>
                  <a:gd name="connsiteX21" fmla="*/ 13317 w 62147"/>
                  <a:gd name="connsiteY21" fmla="*/ 31073 h 90683"/>
                  <a:gd name="connsiteX22" fmla="*/ 8244 w 62147"/>
                  <a:gd name="connsiteY22" fmla="*/ 32976 h 90683"/>
                  <a:gd name="connsiteX23" fmla="*/ 3171 w 62147"/>
                  <a:gd name="connsiteY23" fmla="*/ 31073 h 90683"/>
                  <a:gd name="connsiteX24" fmla="*/ 1268 w 62147"/>
                  <a:gd name="connsiteY24" fmla="*/ 25366 h 90683"/>
                  <a:gd name="connsiteX25" fmla="*/ 3171 w 62147"/>
                  <a:gd name="connsiteY25" fmla="*/ 16488 h 90683"/>
                  <a:gd name="connsiteX26" fmla="*/ 8878 w 62147"/>
                  <a:gd name="connsiteY26" fmla="*/ 8244 h 90683"/>
                  <a:gd name="connsiteX27" fmla="*/ 18390 w 62147"/>
                  <a:gd name="connsiteY27" fmla="*/ 2537 h 90683"/>
                  <a:gd name="connsiteX28" fmla="*/ 31708 w 62147"/>
                  <a:gd name="connsiteY28" fmla="*/ 0 h 90683"/>
                  <a:gd name="connsiteX29" fmla="*/ 47562 w 62147"/>
                  <a:gd name="connsiteY29" fmla="*/ 3171 h 90683"/>
                  <a:gd name="connsiteX30" fmla="*/ 55171 w 62147"/>
                  <a:gd name="connsiteY30" fmla="*/ 8244 h 90683"/>
                  <a:gd name="connsiteX31" fmla="*/ 60245 w 62147"/>
                  <a:gd name="connsiteY31" fmla="*/ 15854 h 90683"/>
                  <a:gd name="connsiteX32" fmla="*/ 62147 w 62147"/>
                  <a:gd name="connsiteY32" fmla="*/ 25366 h 90683"/>
                  <a:gd name="connsiteX33" fmla="*/ 58342 w 62147"/>
                  <a:gd name="connsiteY33" fmla="*/ 39317 h 90683"/>
                  <a:gd name="connsiteX34" fmla="*/ 50732 w 62147"/>
                  <a:gd name="connsiteY34" fmla="*/ 48830 h 90683"/>
                  <a:gd name="connsiteX35" fmla="*/ 37415 w 62147"/>
                  <a:gd name="connsiteY35" fmla="*/ 59610 h 90683"/>
                  <a:gd name="connsiteX36" fmla="*/ 24732 w 62147"/>
                  <a:gd name="connsiteY36" fmla="*/ 71025 h 90683"/>
                  <a:gd name="connsiteX37" fmla="*/ 20927 w 62147"/>
                  <a:gd name="connsiteY37" fmla="*/ 76732 h 90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62147" h="90683">
                    <a:moveTo>
                      <a:pt x="20927" y="76732"/>
                    </a:moveTo>
                    <a:lnTo>
                      <a:pt x="52635" y="76732"/>
                    </a:lnTo>
                    <a:cubicBezTo>
                      <a:pt x="55806" y="76732"/>
                      <a:pt x="58342" y="77367"/>
                      <a:pt x="59610" y="78635"/>
                    </a:cubicBezTo>
                    <a:cubicBezTo>
                      <a:pt x="61513" y="79903"/>
                      <a:pt x="62147" y="81806"/>
                      <a:pt x="62147" y="83708"/>
                    </a:cubicBezTo>
                    <a:cubicBezTo>
                      <a:pt x="62147" y="85611"/>
                      <a:pt x="61513" y="87513"/>
                      <a:pt x="60245" y="88782"/>
                    </a:cubicBezTo>
                    <a:cubicBezTo>
                      <a:pt x="58976" y="90050"/>
                      <a:pt x="57074" y="90684"/>
                      <a:pt x="54537" y="90684"/>
                    </a:cubicBezTo>
                    <a:lnTo>
                      <a:pt x="9512" y="90684"/>
                    </a:lnTo>
                    <a:cubicBezTo>
                      <a:pt x="6342" y="90684"/>
                      <a:pt x="3805" y="90050"/>
                      <a:pt x="2537" y="88147"/>
                    </a:cubicBezTo>
                    <a:cubicBezTo>
                      <a:pt x="634" y="86245"/>
                      <a:pt x="0" y="84342"/>
                      <a:pt x="0" y="82440"/>
                    </a:cubicBezTo>
                    <a:cubicBezTo>
                      <a:pt x="0" y="81172"/>
                      <a:pt x="634" y="79269"/>
                      <a:pt x="1902" y="76732"/>
                    </a:cubicBezTo>
                    <a:cubicBezTo>
                      <a:pt x="3171" y="74196"/>
                      <a:pt x="4439" y="72293"/>
                      <a:pt x="5707" y="71025"/>
                    </a:cubicBezTo>
                    <a:cubicBezTo>
                      <a:pt x="11415" y="65318"/>
                      <a:pt x="15854" y="60879"/>
                      <a:pt x="20293" y="56440"/>
                    </a:cubicBezTo>
                    <a:cubicBezTo>
                      <a:pt x="24732" y="52635"/>
                      <a:pt x="27903" y="50098"/>
                      <a:pt x="29805" y="48830"/>
                    </a:cubicBezTo>
                    <a:cubicBezTo>
                      <a:pt x="32976" y="46293"/>
                      <a:pt x="36147" y="44391"/>
                      <a:pt x="38049" y="41854"/>
                    </a:cubicBezTo>
                    <a:cubicBezTo>
                      <a:pt x="39952" y="39317"/>
                      <a:pt x="41854" y="36781"/>
                      <a:pt x="43122" y="34244"/>
                    </a:cubicBezTo>
                    <a:cubicBezTo>
                      <a:pt x="44391" y="31708"/>
                      <a:pt x="45025" y="29171"/>
                      <a:pt x="45025" y="26634"/>
                    </a:cubicBezTo>
                    <a:cubicBezTo>
                      <a:pt x="45025" y="24098"/>
                      <a:pt x="44391" y="21561"/>
                      <a:pt x="43122" y="19659"/>
                    </a:cubicBezTo>
                    <a:cubicBezTo>
                      <a:pt x="41854" y="17756"/>
                      <a:pt x="39952" y="15854"/>
                      <a:pt x="38049" y="14585"/>
                    </a:cubicBezTo>
                    <a:cubicBezTo>
                      <a:pt x="36147" y="13317"/>
                      <a:pt x="33610" y="12683"/>
                      <a:pt x="31073" y="12683"/>
                    </a:cubicBezTo>
                    <a:cubicBezTo>
                      <a:pt x="26000" y="12683"/>
                      <a:pt x="21561" y="15220"/>
                      <a:pt x="18390" y="19659"/>
                    </a:cubicBezTo>
                    <a:cubicBezTo>
                      <a:pt x="17756" y="20293"/>
                      <a:pt x="17122" y="22195"/>
                      <a:pt x="16488" y="24732"/>
                    </a:cubicBezTo>
                    <a:cubicBezTo>
                      <a:pt x="15220" y="27269"/>
                      <a:pt x="14586" y="29805"/>
                      <a:pt x="13317" y="31073"/>
                    </a:cubicBezTo>
                    <a:cubicBezTo>
                      <a:pt x="12049" y="32342"/>
                      <a:pt x="10146" y="32976"/>
                      <a:pt x="8244" y="32976"/>
                    </a:cubicBezTo>
                    <a:cubicBezTo>
                      <a:pt x="6342" y="32976"/>
                      <a:pt x="4439" y="32342"/>
                      <a:pt x="3171" y="31073"/>
                    </a:cubicBezTo>
                    <a:cubicBezTo>
                      <a:pt x="1902" y="29805"/>
                      <a:pt x="1268" y="27903"/>
                      <a:pt x="1268" y="25366"/>
                    </a:cubicBezTo>
                    <a:cubicBezTo>
                      <a:pt x="1268" y="22829"/>
                      <a:pt x="1902" y="19659"/>
                      <a:pt x="3171" y="16488"/>
                    </a:cubicBezTo>
                    <a:cubicBezTo>
                      <a:pt x="4439" y="13317"/>
                      <a:pt x="6342" y="10780"/>
                      <a:pt x="8878" y="8244"/>
                    </a:cubicBezTo>
                    <a:cubicBezTo>
                      <a:pt x="11415" y="5707"/>
                      <a:pt x="14586" y="3805"/>
                      <a:pt x="18390" y="2537"/>
                    </a:cubicBezTo>
                    <a:cubicBezTo>
                      <a:pt x="22195" y="1268"/>
                      <a:pt x="26634" y="0"/>
                      <a:pt x="31708" y="0"/>
                    </a:cubicBezTo>
                    <a:cubicBezTo>
                      <a:pt x="38049" y="0"/>
                      <a:pt x="43122" y="1268"/>
                      <a:pt x="47562" y="3171"/>
                    </a:cubicBezTo>
                    <a:cubicBezTo>
                      <a:pt x="50098" y="4439"/>
                      <a:pt x="52635" y="6342"/>
                      <a:pt x="55171" y="8244"/>
                    </a:cubicBezTo>
                    <a:cubicBezTo>
                      <a:pt x="57074" y="10780"/>
                      <a:pt x="58976" y="13317"/>
                      <a:pt x="60245" y="15854"/>
                    </a:cubicBezTo>
                    <a:cubicBezTo>
                      <a:pt x="61513" y="19025"/>
                      <a:pt x="62147" y="22195"/>
                      <a:pt x="62147" y="25366"/>
                    </a:cubicBezTo>
                    <a:cubicBezTo>
                      <a:pt x="62147" y="30439"/>
                      <a:pt x="60879" y="34878"/>
                      <a:pt x="58342" y="39317"/>
                    </a:cubicBezTo>
                    <a:cubicBezTo>
                      <a:pt x="55806" y="43757"/>
                      <a:pt x="53269" y="46927"/>
                      <a:pt x="50732" y="48830"/>
                    </a:cubicBezTo>
                    <a:cubicBezTo>
                      <a:pt x="48196" y="51366"/>
                      <a:pt x="43757" y="54537"/>
                      <a:pt x="37415" y="59610"/>
                    </a:cubicBezTo>
                    <a:cubicBezTo>
                      <a:pt x="31073" y="64684"/>
                      <a:pt x="27269" y="68489"/>
                      <a:pt x="24732" y="71025"/>
                    </a:cubicBezTo>
                    <a:cubicBezTo>
                      <a:pt x="22830" y="74196"/>
                      <a:pt x="21561" y="75464"/>
                      <a:pt x="20927" y="76732"/>
                    </a:cubicBez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79" name="Forma Livre: Forma 378">
                <a:extLst>
                  <a:ext uri="{FF2B5EF4-FFF2-40B4-BE49-F238E27FC236}">
                    <a16:creationId xmlns:a16="http://schemas.microsoft.com/office/drawing/2014/main" id="{45651D2C-3DE4-48E7-8C1B-515A3639CE02}"/>
                  </a:ext>
                </a:extLst>
              </p:cNvPr>
              <p:cNvSpPr/>
              <p:nvPr/>
            </p:nvSpPr>
            <p:spPr>
              <a:xfrm>
                <a:off x="2284102" y="2925324"/>
                <a:ext cx="62147" cy="91318"/>
              </a:xfrm>
              <a:custGeom>
                <a:avLst/>
                <a:gdLst>
                  <a:gd name="connsiteX0" fmla="*/ 27903 w 62147"/>
                  <a:gd name="connsiteY0" fmla="*/ 36147 h 91318"/>
                  <a:gd name="connsiteX1" fmla="*/ 37415 w 62147"/>
                  <a:gd name="connsiteY1" fmla="*/ 32976 h 91318"/>
                  <a:gd name="connsiteX2" fmla="*/ 41220 w 62147"/>
                  <a:gd name="connsiteY2" fmla="*/ 23464 h 91318"/>
                  <a:gd name="connsiteX3" fmla="*/ 38049 w 62147"/>
                  <a:gd name="connsiteY3" fmla="*/ 15220 h 91318"/>
                  <a:gd name="connsiteX4" fmla="*/ 29171 w 62147"/>
                  <a:gd name="connsiteY4" fmla="*/ 12049 h 91318"/>
                  <a:gd name="connsiteX5" fmla="*/ 22830 w 62147"/>
                  <a:gd name="connsiteY5" fmla="*/ 13317 h 91318"/>
                  <a:gd name="connsiteX6" fmla="*/ 19025 w 62147"/>
                  <a:gd name="connsiteY6" fmla="*/ 15854 h 91318"/>
                  <a:gd name="connsiteX7" fmla="*/ 16488 w 62147"/>
                  <a:gd name="connsiteY7" fmla="*/ 20293 h 91318"/>
                  <a:gd name="connsiteX8" fmla="*/ 13951 w 62147"/>
                  <a:gd name="connsiteY8" fmla="*/ 25366 h 91318"/>
                  <a:gd name="connsiteX9" fmla="*/ 12049 w 62147"/>
                  <a:gd name="connsiteY9" fmla="*/ 27269 h 91318"/>
                  <a:gd name="connsiteX10" fmla="*/ 8244 w 62147"/>
                  <a:gd name="connsiteY10" fmla="*/ 27903 h 91318"/>
                  <a:gd name="connsiteX11" fmla="*/ 3805 w 62147"/>
                  <a:gd name="connsiteY11" fmla="*/ 26000 h 91318"/>
                  <a:gd name="connsiteX12" fmla="*/ 1902 w 62147"/>
                  <a:gd name="connsiteY12" fmla="*/ 20927 h 91318"/>
                  <a:gd name="connsiteX13" fmla="*/ 3805 w 62147"/>
                  <a:gd name="connsiteY13" fmla="*/ 13951 h 91318"/>
                  <a:gd name="connsiteX14" fmla="*/ 9512 w 62147"/>
                  <a:gd name="connsiteY14" fmla="*/ 6976 h 91318"/>
                  <a:gd name="connsiteX15" fmla="*/ 18391 w 62147"/>
                  <a:gd name="connsiteY15" fmla="*/ 1902 h 91318"/>
                  <a:gd name="connsiteX16" fmla="*/ 30439 w 62147"/>
                  <a:gd name="connsiteY16" fmla="*/ 0 h 91318"/>
                  <a:gd name="connsiteX17" fmla="*/ 41220 w 62147"/>
                  <a:gd name="connsiteY17" fmla="*/ 1902 h 91318"/>
                  <a:gd name="connsiteX18" fmla="*/ 49464 w 62147"/>
                  <a:gd name="connsiteY18" fmla="*/ 6342 h 91318"/>
                  <a:gd name="connsiteX19" fmla="*/ 55171 w 62147"/>
                  <a:gd name="connsiteY19" fmla="*/ 13317 h 91318"/>
                  <a:gd name="connsiteX20" fmla="*/ 57074 w 62147"/>
                  <a:gd name="connsiteY20" fmla="*/ 22195 h 91318"/>
                  <a:gd name="connsiteX21" fmla="*/ 54537 w 62147"/>
                  <a:gd name="connsiteY21" fmla="*/ 32342 h 91318"/>
                  <a:gd name="connsiteX22" fmla="*/ 46927 w 62147"/>
                  <a:gd name="connsiteY22" fmla="*/ 40586 h 91318"/>
                  <a:gd name="connsiteX23" fmla="*/ 55171 w 62147"/>
                  <a:gd name="connsiteY23" fmla="*/ 46293 h 91318"/>
                  <a:gd name="connsiteX24" fmla="*/ 60245 w 62147"/>
                  <a:gd name="connsiteY24" fmla="*/ 53269 h 91318"/>
                  <a:gd name="connsiteX25" fmla="*/ 62147 w 62147"/>
                  <a:gd name="connsiteY25" fmla="*/ 62147 h 91318"/>
                  <a:gd name="connsiteX26" fmla="*/ 60245 w 62147"/>
                  <a:gd name="connsiteY26" fmla="*/ 72928 h 91318"/>
                  <a:gd name="connsiteX27" fmla="*/ 53903 w 62147"/>
                  <a:gd name="connsiteY27" fmla="*/ 82440 h 91318"/>
                  <a:gd name="connsiteX28" fmla="*/ 43757 w 62147"/>
                  <a:gd name="connsiteY28" fmla="*/ 88782 h 91318"/>
                  <a:gd name="connsiteX29" fmla="*/ 30439 w 62147"/>
                  <a:gd name="connsiteY29" fmla="*/ 91318 h 91318"/>
                  <a:gd name="connsiteX30" fmla="*/ 17122 w 62147"/>
                  <a:gd name="connsiteY30" fmla="*/ 88782 h 91318"/>
                  <a:gd name="connsiteX31" fmla="*/ 7610 w 62147"/>
                  <a:gd name="connsiteY31" fmla="*/ 82440 h 91318"/>
                  <a:gd name="connsiteX32" fmla="*/ 1902 w 62147"/>
                  <a:gd name="connsiteY32" fmla="*/ 74196 h 91318"/>
                  <a:gd name="connsiteX33" fmla="*/ 0 w 62147"/>
                  <a:gd name="connsiteY33" fmla="*/ 67220 h 91318"/>
                  <a:gd name="connsiteX34" fmla="*/ 2537 w 62147"/>
                  <a:gd name="connsiteY34" fmla="*/ 61513 h 91318"/>
                  <a:gd name="connsiteX35" fmla="*/ 8244 w 62147"/>
                  <a:gd name="connsiteY35" fmla="*/ 59610 h 91318"/>
                  <a:gd name="connsiteX36" fmla="*/ 11415 w 62147"/>
                  <a:gd name="connsiteY36" fmla="*/ 60879 h 91318"/>
                  <a:gd name="connsiteX37" fmla="*/ 13317 w 62147"/>
                  <a:gd name="connsiteY37" fmla="*/ 63415 h 91318"/>
                  <a:gd name="connsiteX38" fmla="*/ 20293 w 62147"/>
                  <a:gd name="connsiteY38" fmla="*/ 76098 h 91318"/>
                  <a:gd name="connsiteX39" fmla="*/ 30439 w 62147"/>
                  <a:gd name="connsiteY39" fmla="*/ 80538 h 91318"/>
                  <a:gd name="connsiteX40" fmla="*/ 37415 w 62147"/>
                  <a:gd name="connsiteY40" fmla="*/ 78635 h 91318"/>
                  <a:gd name="connsiteX41" fmla="*/ 43122 w 62147"/>
                  <a:gd name="connsiteY41" fmla="*/ 72928 h 91318"/>
                  <a:gd name="connsiteX42" fmla="*/ 45659 w 62147"/>
                  <a:gd name="connsiteY42" fmla="*/ 64684 h 91318"/>
                  <a:gd name="connsiteX43" fmla="*/ 41854 w 62147"/>
                  <a:gd name="connsiteY43" fmla="*/ 53269 h 91318"/>
                  <a:gd name="connsiteX44" fmla="*/ 31074 w 62147"/>
                  <a:gd name="connsiteY44" fmla="*/ 49464 h 91318"/>
                  <a:gd name="connsiteX45" fmla="*/ 27269 w 62147"/>
                  <a:gd name="connsiteY45" fmla="*/ 49464 h 91318"/>
                  <a:gd name="connsiteX46" fmla="*/ 24098 w 62147"/>
                  <a:gd name="connsiteY46" fmla="*/ 49464 h 91318"/>
                  <a:gd name="connsiteX47" fmla="*/ 19025 w 62147"/>
                  <a:gd name="connsiteY47" fmla="*/ 47562 h 91318"/>
                  <a:gd name="connsiteX48" fmla="*/ 17122 w 62147"/>
                  <a:gd name="connsiteY48" fmla="*/ 43122 h 91318"/>
                  <a:gd name="connsiteX49" fmla="*/ 19025 w 62147"/>
                  <a:gd name="connsiteY49" fmla="*/ 38683 h 91318"/>
                  <a:gd name="connsiteX50" fmla="*/ 25366 w 62147"/>
                  <a:gd name="connsiteY50" fmla="*/ 36781 h 91318"/>
                  <a:gd name="connsiteX51" fmla="*/ 27903 w 62147"/>
                  <a:gd name="connsiteY51" fmla="*/ 36781 h 91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62147" h="91318">
                    <a:moveTo>
                      <a:pt x="27903" y="36147"/>
                    </a:moveTo>
                    <a:cubicBezTo>
                      <a:pt x="31708" y="36147"/>
                      <a:pt x="34878" y="34878"/>
                      <a:pt x="37415" y="32976"/>
                    </a:cubicBezTo>
                    <a:cubicBezTo>
                      <a:pt x="39952" y="31073"/>
                      <a:pt x="41220" y="27903"/>
                      <a:pt x="41220" y="23464"/>
                    </a:cubicBezTo>
                    <a:cubicBezTo>
                      <a:pt x="41220" y="20293"/>
                      <a:pt x="39952" y="17756"/>
                      <a:pt x="38049" y="15220"/>
                    </a:cubicBezTo>
                    <a:cubicBezTo>
                      <a:pt x="36147" y="12683"/>
                      <a:pt x="32976" y="12049"/>
                      <a:pt x="29171" y="12049"/>
                    </a:cubicBezTo>
                    <a:cubicBezTo>
                      <a:pt x="26635" y="12049"/>
                      <a:pt x="24732" y="12683"/>
                      <a:pt x="22830" y="13317"/>
                    </a:cubicBezTo>
                    <a:cubicBezTo>
                      <a:pt x="20927" y="13951"/>
                      <a:pt x="19659" y="15220"/>
                      <a:pt x="19025" y="15854"/>
                    </a:cubicBezTo>
                    <a:cubicBezTo>
                      <a:pt x="18391" y="17122"/>
                      <a:pt x="17122" y="18390"/>
                      <a:pt x="16488" y="20293"/>
                    </a:cubicBezTo>
                    <a:cubicBezTo>
                      <a:pt x="15854" y="22195"/>
                      <a:pt x="14586" y="23464"/>
                      <a:pt x="13951" y="25366"/>
                    </a:cubicBezTo>
                    <a:cubicBezTo>
                      <a:pt x="13317" y="26000"/>
                      <a:pt x="12683" y="26635"/>
                      <a:pt x="12049" y="27269"/>
                    </a:cubicBezTo>
                    <a:cubicBezTo>
                      <a:pt x="10781" y="27903"/>
                      <a:pt x="9512" y="27903"/>
                      <a:pt x="8244" y="27903"/>
                    </a:cubicBezTo>
                    <a:cubicBezTo>
                      <a:pt x="6342" y="27903"/>
                      <a:pt x="5073" y="27269"/>
                      <a:pt x="3805" y="26000"/>
                    </a:cubicBezTo>
                    <a:cubicBezTo>
                      <a:pt x="2537" y="24732"/>
                      <a:pt x="1902" y="22830"/>
                      <a:pt x="1902" y="20927"/>
                    </a:cubicBezTo>
                    <a:cubicBezTo>
                      <a:pt x="1902" y="19025"/>
                      <a:pt x="2537" y="16488"/>
                      <a:pt x="3805" y="13951"/>
                    </a:cubicBezTo>
                    <a:cubicBezTo>
                      <a:pt x="5073" y="11415"/>
                      <a:pt x="6976" y="9512"/>
                      <a:pt x="9512" y="6976"/>
                    </a:cubicBezTo>
                    <a:cubicBezTo>
                      <a:pt x="12049" y="5073"/>
                      <a:pt x="15220" y="3171"/>
                      <a:pt x="18391" y="1902"/>
                    </a:cubicBezTo>
                    <a:cubicBezTo>
                      <a:pt x="22195" y="634"/>
                      <a:pt x="26000" y="0"/>
                      <a:pt x="30439" y="0"/>
                    </a:cubicBezTo>
                    <a:cubicBezTo>
                      <a:pt x="34244" y="0"/>
                      <a:pt x="38049" y="634"/>
                      <a:pt x="41220" y="1902"/>
                    </a:cubicBezTo>
                    <a:cubicBezTo>
                      <a:pt x="44391" y="3171"/>
                      <a:pt x="47562" y="4439"/>
                      <a:pt x="49464" y="6342"/>
                    </a:cubicBezTo>
                    <a:cubicBezTo>
                      <a:pt x="52001" y="8244"/>
                      <a:pt x="53903" y="10781"/>
                      <a:pt x="55171" y="13317"/>
                    </a:cubicBezTo>
                    <a:cubicBezTo>
                      <a:pt x="56440" y="15854"/>
                      <a:pt x="57074" y="19025"/>
                      <a:pt x="57074" y="22195"/>
                    </a:cubicBezTo>
                    <a:cubicBezTo>
                      <a:pt x="57074" y="26000"/>
                      <a:pt x="56440" y="29805"/>
                      <a:pt x="54537" y="32342"/>
                    </a:cubicBezTo>
                    <a:cubicBezTo>
                      <a:pt x="52635" y="35513"/>
                      <a:pt x="50098" y="38049"/>
                      <a:pt x="46927" y="40586"/>
                    </a:cubicBezTo>
                    <a:cubicBezTo>
                      <a:pt x="50098" y="42488"/>
                      <a:pt x="52635" y="44391"/>
                      <a:pt x="55171" y="46293"/>
                    </a:cubicBezTo>
                    <a:cubicBezTo>
                      <a:pt x="57074" y="48196"/>
                      <a:pt x="58976" y="50732"/>
                      <a:pt x="60245" y="53269"/>
                    </a:cubicBezTo>
                    <a:cubicBezTo>
                      <a:pt x="61513" y="55805"/>
                      <a:pt x="62147" y="58976"/>
                      <a:pt x="62147" y="62147"/>
                    </a:cubicBezTo>
                    <a:cubicBezTo>
                      <a:pt x="62147" y="65952"/>
                      <a:pt x="61513" y="69123"/>
                      <a:pt x="60245" y="72928"/>
                    </a:cubicBezTo>
                    <a:cubicBezTo>
                      <a:pt x="58976" y="76098"/>
                      <a:pt x="56440" y="79269"/>
                      <a:pt x="53903" y="82440"/>
                    </a:cubicBezTo>
                    <a:cubicBezTo>
                      <a:pt x="50732" y="84977"/>
                      <a:pt x="47562" y="87513"/>
                      <a:pt x="43757" y="88782"/>
                    </a:cubicBezTo>
                    <a:cubicBezTo>
                      <a:pt x="39952" y="90050"/>
                      <a:pt x="35513" y="91318"/>
                      <a:pt x="30439" y="91318"/>
                    </a:cubicBezTo>
                    <a:cubicBezTo>
                      <a:pt x="25366" y="91318"/>
                      <a:pt x="20927" y="90684"/>
                      <a:pt x="17122" y="88782"/>
                    </a:cubicBezTo>
                    <a:cubicBezTo>
                      <a:pt x="13317" y="86879"/>
                      <a:pt x="10146" y="84977"/>
                      <a:pt x="7610" y="82440"/>
                    </a:cubicBezTo>
                    <a:cubicBezTo>
                      <a:pt x="5073" y="79903"/>
                      <a:pt x="3171" y="77367"/>
                      <a:pt x="1902" y="74196"/>
                    </a:cubicBezTo>
                    <a:cubicBezTo>
                      <a:pt x="634" y="71659"/>
                      <a:pt x="0" y="69123"/>
                      <a:pt x="0" y="67220"/>
                    </a:cubicBezTo>
                    <a:cubicBezTo>
                      <a:pt x="0" y="64684"/>
                      <a:pt x="634" y="62781"/>
                      <a:pt x="2537" y="61513"/>
                    </a:cubicBezTo>
                    <a:cubicBezTo>
                      <a:pt x="3805" y="60245"/>
                      <a:pt x="5707" y="59610"/>
                      <a:pt x="8244" y="59610"/>
                    </a:cubicBezTo>
                    <a:cubicBezTo>
                      <a:pt x="9512" y="59610"/>
                      <a:pt x="10781" y="60245"/>
                      <a:pt x="11415" y="60879"/>
                    </a:cubicBezTo>
                    <a:cubicBezTo>
                      <a:pt x="12683" y="61513"/>
                      <a:pt x="13317" y="62147"/>
                      <a:pt x="13317" y="63415"/>
                    </a:cubicBezTo>
                    <a:cubicBezTo>
                      <a:pt x="15220" y="69123"/>
                      <a:pt x="17756" y="73562"/>
                      <a:pt x="20293" y="76098"/>
                    </a:cubicBezTo>
                    <a:cubicBezTo>
                      <a:pt x="22830" y="78635"/>
                      <a:pt x="26000" y="80538"/>
                      <a:pt x="30439" y="80538"/>
                    </a:cubicBezTo>
                    <a:cubicBezTo>
                      <a:pt x="32976" y="80538"/>
                      <a:pt x="35513" y="79903"/>
                      <a:pt x="37415" y="78635"/>
                    </a:cubicBezTo>
                    <a:cubicBezTo>
                      <a:pt x="39952" y="77367"/>
                      <a:pt x="41854" y="75464"/>
                      <a:pt x="43122" y="72928"/>
                    </a:cubicBezTo>
                    <a:cubicBezTo>
                      <a:pt x="44391" y="70391"/>
                      <a:pt x="45659" y="67855"/>
                      <a:pt x="45659" y="64684"/>
                    </a:cubicBezTo>
                    <a:cubicBezTo>
                      <a:pt x="45659" y="60245"/>
                      <a:pt x="44391" y="56440"/>
                      <a:pt x="41854" y="53269"/>
                    </a:cubicBezTo>
                    <a:cubicBezTo>
                      <a:pt x="39318" y="50732"/>
                      <a:pt x="35513" y="49464"/>
                      <a:pt x="31074" y="49464"/>
                    </a:cubicBezTo>
                    <a:cubicBezTo>
                      <a:pt x="30439" y="49464"/>
                      <a:pt x="29171" y="49464"/>
                      <a:pt x="27269" y="49464"/>
                    </a:cubicBezTo>
                    <a:cubicBezTo>
                      <a:pt x="25366" y="49464"/>
                      <a:pt x="24732" y="49464"/>
                      <a:pt x="24098" y="49464"/>
                    </a:cubicBezTo>
                    <a:cubicBezTo>
                      <a:pt x="21561" y="49464"/>
                      <a:pt x="20293" y="48830"/>
                      <a:pt x="19025" y="47562"/>
                    </a:cubicBezTo>
                    <a:cubicBezTo>
                      <a:pt x="17756" y="46293"/>
                      <a:pt x="17122" y="45025"/>
                      <a:pt x="17122" y="43122"/>
                    </a:cubicBezTo>
                    <a:cubicBezTo>
                      <a:pt x="17122" y="41220"/>
                      <a:pt x="17756" y="39318"/>
                      <a:pt x="19025" y="38683"/>
                    </a:cubicBezTo>
                    <a:cubicBezTo>
                      <a:pt x="20293" y="37415"/>
                      <a:pt x="22830" y="36781"/>
                      <a:pt x="25366" y="36781"/>
                    </a:cubicBezTo>
                    <a:lnTo>
                      <a:pt x="27903" y="36781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sp>
        <p:nvSpPr>
          <p:cNvPr id="380" name="Forma Livre: Forma 379">
            <a:extLst>
              <a:ext uri="{FF2B5EF4-FFF2-40B4-BE49-F238E27FC236}">
                <a16:creationId xmlns:a16="http://schemas.microsoft.com/office/drawing/2014/main" id="{BF0D956A-5AC3-43DC-887B-C1891CC01307}"/>
              </a:ext>
            </a:extLst>
          </p:cNvPr>
          <p:cNvSpPr/>
          <p:nvPr/>
        </p:nvSpPr>
        <p:spPr>
          <a:xfrm>
            <a:off x="1354963" y="1569139"/>
            <a:ext cx="261501" cy="394739"/>
          </a:xfrm>
          <a:custGeom>
            <a:avLst/>
            <a:gdLst>
              <a:gd name="connsiteX0" fmla="*/ 248588 w 264442"/>
              <a:gd name="connsiteY0" fmla="*/ 398883 h 399179"/>
              <a:gd name="connsiteX1" fmla="*/ 241613 w 264442"/>
              <a:gd name="connsiteY1" fmla="*/ 397614 h 399179"/>
              <a:gd name="connsiteX2" fmla="*/ 132538 w 264442"/>
              <a:gd name="connsiteY2" fmla="*/ 350053 h 399179"/>
              <a:gd name="connsiteX3" fmla="*/ 23464 w 264442"/>
              <a:gd name="connsiteY3" fmla="*/ 397614 h 399179"/>
              <a:gd name="connsiteX4" fmla="*/ 7610 w 264442"/>
              <a:gd name="connsiteY4" fmla="*/ 396346 h 399179"/>
              <a:gd name="connsiteX5" fmla="*/ 0 w 264442"/>
              <a:gd name="connsiteY5" fmla="*/ 382395 h 399179"/>
              <a:gd name="connsiteX6" fmla="*/ 0 w 264442"/>
              <a:gd name="connsiteY6" fmla="*/ 51366 h 399179"/>
              <a:gd name="connsiteX7" fmla="*/ 51366 w 264442"/>
              <a:gd name="connsiteY7" fmla="*/ 0 h 399179"/>
              <a:gd name="connsiteX8" fmla="*/ 213076 w 264442"/>
              <a:gd name="connsiteY8" fmla="*/ 0 h 399179"/>
              <a:gd name="connsiteX9" fmla="*/ 264442 w 264442"/>
              <a:gd name="connsiteY9" fmla="*/ 51366 h 399179"/>
              <a:gd name="connsiteX10" fmla="*/ 264442 w 264442"/>
              <a:gd name="connsiteY10" fmla="*/ 382395 h 399179"/>
              <a:gd name="connsiteX11" fmla="*/ 256832 w 264442"/>
              <a:gd name="connsiteY11" fmla="*/ 396346 h 399179"/>
              <a:gd name="connsiteX12" fmla="*/ 248588 w 264442"/>
              <a:gd name="connsiteY12" fmla="*/ 398883 h 399179"/>
              <a:gd name="connsiteX13" fmla="*/ 248588 w 264442"/>
              <a:gd name="connsiteY13" fmla="*/ 398883 h 399179"/>
              <a:gd name="connsiteX14" fmla="*/ 133172 w 264442"/>
              <a:gd name="connsiteY14" fmla="*/ 314540 h 399179"/>
              <a:gd name="connsiteX15" fmla="*/ 140148 w 264442"/>
              <a:gd name="connsiteY15" fmla="*/ 315809 h 399179"/>
              <a:gd name="connsiteX16" fmla="*/ 232100 w 264442"/>
              <a:gd name="connsiteY16" fmla="*/ 356394 h 399179"/>
              <a:gd name="connsiteX17" fmla="*/ 232100 w 264442"/>
              <a:gd name="connsiteY17" fmla="*/ 51366 h 399179"/>
              <a:gd name="connsiteX18" fmla="*/ 214344 w 264442"/>
              <a:gd name="connsiteY18" fmla="*/ 33610 h 399179"/>
              <a:gd name="connsiteX19" fmla="*/ 52001 w 264442"/>
              <a:gd name="connsiteY19" fmla="*/ 33610 h 399179"/>
              <a:gd name="connsiteX20" fmla="*/ 34244 w 264442"/>
              <a:gd name="connsiteY20" fmla="*/ 51366 h 399179"/>
              <a:gd name="connsiteX21" fmla="*/ 34244 w 264442"/>
              <a:gd name="connsiteY21" fmla="*/ 356394 h 399179"/>
              <a:gd name="connsiteX22" fmla="*/ 126197 w 264442"/>
              <a:gd name="connsiteY22" fmla="*/ 315809 h 399179"/>
              <a:gd name="connsiteX23" fmla="*/ 133172 w 264442"/>
              <a:gd name="connsiteY23" fmla="*/ 314540 h 399179"/>
              <a:gd name="connsiteX24" fmla="*/ 133172 w 264442"/>
              <a:gd name="connsiteY24" fmla="*/ 314540 h 399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264442" h="399179">
                <a:moveTo>
                  <a:pt x="248588" y="398883"/>
                </a:moveTo>
                <a:cubicBezTo>
                  <a:pt x="246052" y="398883"/>
                  <a:pt x="244149" y="398249"/>
                  <a:pt x="241613" y="397614"/>
                </a:cubicBezTo>
                <a:lnTo>
                  <a:pt x="132538" y="350053"/>
                </a:lnTo>
                <a:lnTo>
                  <a:pt x="23464" y="397614"/>
                </a:lnTo>
                <a:cubicBezTo>
                  <a:pt x="18390" y="400151"/>
                  <a:pt x="12049" y="399517"/>
                  <a:pt x="7610" y="396346"/>
                </a:cubicBezTo>
                <a:cubicBezTo>
                  <a:pt x="2537" y="393175"/>
                  <a:pt x="0" y="388102"/>
                  <a:pt x="0" y="382395"/>
                </a:cubicBezTo>
                <a:lnTo>
                  <a:pt x="0" y="51366"/>
                </a:lnTo>
                <a:cubicBezTo>
                  <a:pt x="0" y="22830"/>
                  <a:pt x="22830" y="0"/>
                  <a:pt x="51366" y="0"/>
                </a:cubicBezTo>
                <a:lnTo>
                  <a:pt x="213076" y="0"/>
                </a:lnTo>
                <a:cubicBezTo>
                  <a:pt x="241613" y="0"/>
                  <a:pt x="264442" y="22830"/>
                  <a:pt x="264442" y="51366"/>
                </a:cubicBezTo>
                <a:lnTo>
                  <a:pt x="264442" y="382395"/>
                </a:lnTo>
                <a:cubicBezTo>
                  <a:pt x="264442" y="388102"/>
                  <a:pt x="261271" y="393175"/>
                  <a:pt x="256832" y="396346"/>
                </a:cubicBezTo>
                <a:cubicBezTo>
                  <a:pt x="254930" y="398249"/>
                  <a:pt x="251759" y="398883"/>
                  <a:pt x="248588" y="398883"/>
                </a:cubicBezTo>
                <a:lnTo>
                  <a:pt x="248588" y="398883"/>
                </a:lnTo>
                <a:close/>
                <a:moveTo>
                  <a:pt x="133172" y="314540"/>
                </a:moveTo>
                <a:cubicBezTo>
                  <a:pt x="135709" y="314540"/>
                  <a:pt x="137611" y="315174"/>
                  <a:pt x="140148" y="315809"/>
                </a:cubicBezTo>
                <a:lnTo>
                  <a:pt x="232100" y="356394"/>
                </a:lnTo>
                <a:lnTo>
                  <a:pt x="232100" y="51366"/>
                </a:lnTo>
                <a:cubicBezTo>
                  <a:pt x="232100" y="41854"/>
                  <a:pt x="223856" y="33610"/>
                  <a:pt x="214344" y="33610"/>
                </a:cubicBezTo>
                <a:lnTo>
                  <a:pt x="52001" y="33610"/>
                </a:lnTo>
                <a:cubicBezTo>
                  <a:pt x="42488" y="33610"/>
                  <a:pt x="34244" y="41854"/>
                  <a:pt x="34244" y="51366"/>
                </a:cubicBezTo>
                <a:lnTo>
                  <a:pt x="34244" y="356394"/>
                </a:lnTo>
                <a:lnTo>
                  <a:pt x="126197" y="315809"/>
                </a:lnTo>
                <a:cubicBezTo>
                  <a:pt x="128733" y="315174"/>
                  <a:pt x="130636" y="314540"/>
                  <a:pt x="133172" y="314540"/>
                </a:cubicBezTo>
                <a:lnTo>
                  <a:pt x="133172" y="314540"/>
                </a:lnTo>
                <a:close/>
              </a:path>
            </a:pathLst>
          </a:custGeom>
          <a:solidFill>
            <a:srgbClr val="B1B1A1"/>
          </a:solidFill>
          <a:ln w="6338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grpSp>
        <p:nvGrpSpPr>
          <p:cNvPr id="381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1289118" y="521882"/>
            <a:ext cx="8578733" cy="1437941"/>
            <a:chOff x="1235212" y="521882"/>
            <a:chExt cx="8675222" cy="1454114"/>
          </a:xfrm>
          <a:solidFill>
            <a:srgbClr val="B1B1A1"/>
          </a:solidFill>
        </p:grpSpPr>
        <p:grpSp>
          <p:nvGrpSpPr>
            <p:cNvPr id="382" name="Gráfico 2">
              <a:extLst>
                <a:ext uri="{FF2B5EF4-FFF2-40B4-BE49-F238E27FC236}">
                  <a16:creationId xmlns:a16="http://schemas.microsoft.com/office/drawing/2014/main" id="{DC80C217-93B8-4831-A8BE-0817F1F32ECF}"/>
                </a:ext>
              </a:extLst>
            </p:cNvPr>
            <p:cNvGrpSpPr/>
            <p:nvPr/>
          </p:nvGrpSpPr>
          <p:grpSpPr>
            <a:xfrm>
              <a:off x="1235212" y="521882"/>
              <a:ext cx="8628294" cy="1438260"/>
              <a:chOff x="1235212" y="521882"/>
              <a:chExt cx="8628294" cy="1438260"/>
            </a:xfrm>
            <a:grpFill/>
          </p:grpSpPr>
          <p:grpSp>
            <p:nvGrpSpPr>
              <p:cNvPr id="383" name="Gráfico 2">
                <a:extLst>
                  <a:ext uri="{FF2B5EF4-FFF2-40B4-BE49-F238E27FC236}">
                    <a16:creationId xmlns:a16="http://schemas.microsoft.com/office/drawing/2014/main" id="{DC80C217-93B8-4831-A8BE-0817F1F32ECF}"/>
                  </a:ext>
                </a:extLst>
              </p:cNvPr>
              <p:cNvGrpSpPr/>
              <p:nvPr/>
            </p:nvGrpSpPr>
            <p:grpSpPr>
              <a:xfrm>
                <a:off x="1235212" y="521882"/>
                <a:ext cx="8628294" cy="1126891"/>
                <a:chOff x="1235212" y="521882"/>
                <a:chExt cx="8628294" cy="1126891"/>
              </a:xfrm>
              <a:grpFill/>
            </p:grpSpPr>
            <p:sp>
              <p:nvSpPr>
                <p:cNvPr id="384" name="Forma Livre: Forma 383">
                  <a:extLst>
                    <a:ext uri="{FF2B5EF4-FFF2-40B4-BE49-F238E27FC236}">
                      <a16:creationId xmlns:a16="http://schemas.microsoft.com/office/drawing/2014/main" id="{84395B52-863B-4910-8B4C-A31E473DFBB1}"/>
                    </a:ext>
                  </a:extLst>
                </p:cNvPr>
                <p:cNvSpPr/>
                <p:nvPr/>
              </p:nvSpPr>
              <p:spPr>
                <a:xfrm>
                  <a:off x="1235212" y="521882"/>
                  <a:ext cx="6341" cy="63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41" h="6341"/>
                  </a:pathLst>
                </a:custGeom>
                <a:grpFill/>
                <a:ln w="633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385" name="Forma Livre: Forma 384">
                  <a:extLst>
                    <a:ext uri="{FF2B5EF4-FFF2-40B4-BE49-F238E27FC236}">
                      <a16:creationId xmlns:a16="http://schemas.microsoft.com/office/drawing/2014/main" id="{B28F0D15-4B42-4C72-BB1A-2BD25FEAA326}"/>
                    </a:ext>
                  </a:extLst>
                </p:cNvPr>
                <p:cNvSpPr/>
                <p:nvPr/>
              </p:nvSpPr>
              <p:spPr>
                <a:xfrm>
                  <a:off x="9686577" y="1584089"/>
                  <a:ext cx="176929" cy="64683"/>
                </a:xfrm>
                <a:custGeom>
                  <a:avLst/>
                  <a:gdLst>
                    <a:gd name="connsiteX0" fmla="*/ 17123 w 176929"/>
                    <a:gd name="connsiteY0" fmla="*/ 64684 h 64683"/>
                    <a:gd name="connsiteX1" fmla="*/ 0 w 176929"/>
                    <a:gd name="connsiteY1" fmla="*/ 47562 h 64683"/>
                    <a:gd name="connsiteX2" fmla="*/ 47562 w 176929"/>
                    <a:gd name="connsiteY2" fmla="*/ 0 h 64683"/>
                    <a:gd name="connsiteX3" fmla="*/ 159807 w 176929"/>
                    <a:gd name="connsiteY3" fmla="*/ 0 h 64683"/>
                    <a:gd name="connsiteX4" fmla="*/ 176929 w 176929"/>
                    <a:gd name="connsiteY4" fmla="*/ 17122 h 64683"/>
                    <a:gd name="connsiteX5" fmla="*/ 159807 w 176929"/>
                    <a:gd name="connsiteY5" fmla="*/ 34244 h 64683"/>
                    <a:gd name="connsiteX6" fmla="*/ 47562 w 176929"/>
                    <a:gd name="connsiteY6" fmla="*/ 34244 h 64683"/>
                    <a:gd name="connsiteX7" fmla="*/ 34244 w 176929"/>
                    <a:gd name="connsiteY7" fmla="*/ 47562 h 64683"/>
                    <a:gd name="connsiteX8" fmla="*/ 17123 w 176929"/>
                    <a:gd name="connsiteY8" fmla="*/ 64684 h 64683"/>
                    <a:gd name="connsiteX9" fmla="*/ 17123 w 176929"/>
                    <a:gd name="connsiteY9" fmla="*/ 64684 h 646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76929" h="64683">
                      <a:moveTo>
                        <a:pt x="17123" y="64684"/>
                      </a:moveTo>
                      <a:cubicBezTo>
                        <a:pt x="7610" y="64684"/>
                        <a:pt x="0" y="57074"/>
                        <a:pt x="0" y="47562"/>
                      </a:cubicBezTo>
                      <a:cubicBezTo>
                        <a:pt x="0" y="21561"/>
                        <a:pt x="20927" y="0"/>
                        <a:pt x="47562" y="0"/>
                      </a:cubicBezTo>
                      <a:lnTo>
                        <a:pt x="159807" y="0"/>
                      </a:lnTo>
                      <a:cubicBezTo>
                        <a:pt x="169320" y="0"/>
                        <a:pt x="176929" y="7610"/>
                        <a:pt x="176929" y="17122"/>
                      </a:cubicBezTo>
                      <a:cubicBezTo>
                        <a:pt x="176929" y="26634"/>
                        <a:pt x="169320" y="34244"/>
                        <a:pt x="159807" y="34244"/>
                      </a:cubicBezTo>
                      <a:lnTo>
                        <a:pt x="47562" y="34244"/>
                      </a:lnTo>
                      <a:cubicBezTo>
                        <a:pt x="39952" y="34244"/>
                        <a:pt x="34244" y="40586"/>
                        <a:pt x="34244" y="47562"/>
                      </a:cubicBezTo>
                      <a:cubicBezTo>
                        <a:pt x="34244" y="57074"/>
                        <a:pt x="26635" y="64684"/>
                        <a:pt x="17123" y="64684"/>
                      </a:cubicBezTo>
                      <a:lnTo>
                        <a:pt x="17123" y="64684"/>
                      </a:lnTo>
                      <a:close/>
                    </a:path>
                  </a:pathLst>
                </a:custGeom>
                <a:grpFill/>
                <a:ln w="633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grpSp>
            <p:nvGrpSpPr>
              <p:cNvPr id="386" name="Gráfico 2">
                <a:extLst>
                  <a:ext uri="{FF2B5EF4-FFF2-40B4-BE49-F238E27FC236}">
                    <a16:creationId xmlns:a16="http://schemas.microsoft.com/office/drawing/2014/main" id="{DC80C217-93B8-4831-A8BE-0817F1F32ECF}"/>
                  </a:ext>
                </a:extLst>
              </p:cNvPr>
              <p:cNvGrpSpPr/>
              <p:nvPr/>
            </p:nvGrpSpPr>
            <p:grpSpPr>
              <a:xfrm>
                <a:off x="1235212" y="521882"/>
                <a:ext cx="8628294" cy="1438260"/>
                <a:chOff x="1235212" y="521882"/>
                <a:chExt cx="8628294" cy="1438260"/>
              </a:xfrm>
              <a:grpFill/>
            </p:grpSpPr>
            <p:sp>
              <p:nvSpPr>
                <p:cNvPr id="387" name="Forma Livre: Forma 386">
                  <a:extLst>
                    <a:ext uri="{FF2B5EF4-FFF2-40B4-BE49-F238E27FC236}">
                      <a16:creationId xmlns:a16="http://schemas.microsoft.com/office/drawing/2014/main" id="{41B513CC-03D3-4C4C-8A30-825140629E85}"/>
                    </a:ext>
                  </a:extLst>
                </p:cNvPr>
                <p:cNvSpPr/>
                <p:nvPr/>
              </p:nvSpPr>
              <p:spPr>
                <a:xfrm>
                  <a:off x="1235212" y="521882"/>
                  <a:ext cx="6341" cy="63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41" h="6341"/>
                  </a:pathLst>
                </a:custGeom>
                <a:grpFill/>
                <a:ln w="633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388" name="Forma Livre: Forma 387">
                  <a:extLst>
                    <a:ext uri="{FF2B5EF4-FFF2-40B4-BE49-F238E27FC236}">
                      <a16:creationId xmlns:a16="http://schemas.microsoft.com/office/drawing/2014/main" id="{178D5758-D152-4CE5-AE84-BA24D8D9D598}"/>
                    </a:ext>
                  </a:extLst>
                </p:cNvPr>
                <p:cNvSpPr/>
                <p:nvPr/>
              </p:nvSpPr>
              <p:spPr>
                <a:xfrm>
                  <a:off x="9686577" y="1895458"/>
                  <a:ext cx="176929" cy="64683"/>
                </a:xfrm>
                <a:custGeom>
                  <a:avLst/>
                  <a:gdLst>
                    <a:gd name="connsiteX0" fmla="*/ 17123 w 176929"/>
                    <a:gd name="connsiteY0" fmla="*/ 64684 h 64683"/>
                    <a:gd name="connsiteX1" fmla="*/ 0 w 176929"/>
                    <a:gd name="connsiteY1" fmla="*/ 47562 h 64683"/>
                    <a:gd name="connsiteX2" fmla="*/ 47562 w 176929"/>
                    <a:gd name="connsiteY2" fmla="*/ 0 h 64683"/>
                    <a:gd name="connsiteX3" fmla="*/ 159807 w 176929"/>
                    <a:gd name="connsiteY3" fmla="*/ 0 h 64683"/>
                    <a:gd name="connsiteX4" fmla="*/ 176929 w 176929"/>
                    <a:gd name="connsiteY4" fmla="*/ 17122 h 64683"/>
                    <a:gd name="connsiteX5" fmla="*/ 159807 w 176929"/>
                    <a:gd name="connsiteY5" fmla="*/ 34244 h 64683"/>
                    <a:gd name="connsiteX6" fmla="*/ 47562 w 176929"/>
                    <a:gd name="connsiteY6" fmla="*/ 34244 h 64683"/>
                    <a:gd name="connsiteX7" fmla="*/ 34244 w 176929"/>
                    <a:gd name="connsiteY7" fmla="*/ 47562 h 64683"/>
                    <a:gd name="connsiteX8" fmla="*/ 17123 w 176929"/>
                    <a:gd name="connsiteY8" fmla="*/ 64684 h 64683"/>
                    <a:gd name="connsiteX9" fmla="*/ 17123 w 176929"/>
                    <a:gd name="connsiteY9" fmla="*/ 64684 h 646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76929" h="64683">
                      <a:moveTo>
                        <a:pt x="17123" y="64684"/>
                      </a:moveTo>
                      <a:cubicBezTo>
                        <a:pt x="7610" y="64684"/>
                        <a:pt x="0" y="57074"/>
                        <a:pt x="0" y="47562"/>
                      </a:cubicBezTo>
                      <a:cubicBezTo>
                        <a:pt x="0" y="21561"/>
                        <a:pt x="20927" y="0"/>
                        <a:pt x="47562" y="0"/>
                      </a:cubicBezTo>
                      <a:lnTo>
                        <a:pt x="159807" y="0"/>
                      </a:lnTo>
                      <a:cubicBezTo>
                        <a:pt x="169320" y="0"/>
                        <a:pt x="176929" y="7610"/>
                        <a:pt x="176929" y="17122"/>
                      </a:cubicBezTo>
                      <a:cubicBezTo>
                        <a:pt x="176929" y="26634"/>
                        <a:pt x="169320" y="34244"/>
                        <a:pt x="159807" y="34244"/>
                      </a:cubicBezTo>
                      <a:lnTo>
                        <a:pt x="47562" y="34244"/>
                      </a:lnTo>
                      <a:cubicBezTo>
                        <a:pt x="39952" y="34244"/>
                        <a:pt x="34244" y="40586"/>
                        <a:pt x="34244" y="47562"/>
                      </a:cubicBezTo>
                      <a:cubicBezTo>
                        <a:pt x="34244" y="57074"/>
                        <a:pt x="26635" y="64684"/>
                        <a:pt x="17123" y="64684"/>
                      </a:cubicBezTo>
                      <a:lnTo>
                        <a:pt x="17123" y="64684"/>
                      </a:lnTo>
                      <a:close/>
                    </a:path>
                  </a:pathLst>
                </a:custGeom>
                <a:grpFill/>
                <a:ln w="633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grpSp>
            <p:nvGrpSpPr>
              <p:cNvPr id="389" name="Gráfico 2">
                <a:extLst>
                  <a:ext uri="{FF2B5EF4-FFF2-40B4-BE49-F238E27FC236}">
                    <a16:creationId xmlns:a16="http://schemas.microsoft.com/office/drawing/2014/main" id="{DC80C217-93B8-4831-A8BE-0817F1F32ECF}"/>
                  </a:ext>
                </a:extLst>
              </p:cNvPr>
              <p:cNvGrpSpPr/>
              <p:nvPr/>
            </p:nvGrpSpPr>
            <p:grpSpPr>
              <a:xfrm>
                <a:off x="1235212" y="521882"/>
                <a:ext cx="8486244" cy="1438260"/>
                <a:chOff x="1235212" y="521882"/>
                <a:chExt cx="8486244" cy="1438260"/>
              </a:xfrm>
              <a:grpFill/>
            </p:grpSpPr>
            <p:grpSp>
              <p:nvGrpSpPr>
                <p:cNvPr id="390" name="Gráfico 2">
                  <a:extLst>
                    <a:ext uri="{FF2B5EF4-FFF2-40B4-BE49-F238E27FC236}">
                      <a16:creationId xmlns:a16="http://schemas.microsoft.com/office/drawing/2014/main" id="{DC80C217-93B8-4831-A8BE-0817F1F32ECF}"/>
                    </a:ext>
                  </a:extLst>
                </p:cNvPr>
                <p:cNvGrpSpPr/>
                <p:nvPr/>
              </p:nvGrpSpPr>
              <p:grpSpPr>
                <a:xfrm>
                  <a:off x="1235212" y="521882"/>
                  <a:ext cx="8486244" cy="1126891"/>
                  <a:chOff x="1235212" y="521882"/>
                  <a:chExt cx="8486244" cy="1126891"/>
                </a:xfrm>
                <a:grpFill/>
              </p:grpSpPr>
              <p:sp>
                <p:nvSpPr>
                  <p:cNvPr id="391" name="Forma Livre: Forma 390">
                    <a:extLst>
                      <a:ext uri="{FF2B5EF4-FFF2-40B4-BE49-F238E27FC236}">
                        <a16:creationId xmlns:a16="http://schemas.microsoft.com/office/drawing/2014/main" id="{C05E58EF-67BC-496D-9F7D-05BF7ADDA8AE}"/>
                      </a:ext>
                    </a:extLst>
                  </p:cNvPr>
                  <p:cNvSpPr/>
                  <p:nvPr/>
                </p:nvSpPr>
                <p:spPr>
                  <a:xfrm>
                    <a:off x="1235212" y="521882"/>
                    <a:ext cx="6341" cy="634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341" h="6341"/>
                    </a:pathLst>
                  </a:custGeom>
                  <a:grpFill/>
                  <a:ln w="633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BR"/>
                  </a:p>
                </p:txBody>
              </p:sp>
              <p:sp>
                <p:nvSpPr>
                  <p:cNvPr id="392" name="Forma Livre: Forma 391">
                    <a:extLst>
                      <a:ext uri="{FF2B5EF4-FFF2-40B4-BE49-F238E27FC236}">
                        <a16:creationId xmlns:a16="http://schemas.microsoft.com/office/drawing/2014/main" id="{8083DCA9-AF3B-4FA7-A133-8321250536FB}"/>
                      </a:ext>
                    </a:extLst>
                  </p:cNvPr>
                  <p:cNvSpPr/>
                  <p:nvPr/>
                </p:nvSpPr>
                <p:spPr>
                  <a:xfrm>
                    <a:off x="9544528" y="1584089"/>
                    <a:ext cx="176928" cy="64683"/>
                  </a:xfrm>
                  <a:custGeom>
                    <a:avLst/>
                    <a:gdLst>
                      <a:gd name="connsiteX0" fmla="*/ 159806 w 176928"/>
                      <a:gd name="connsiteY0" fmla="*/ 64684 h 64683"/>
                      <a:gd name="connsiteX1" fmla="*/ 142685 w 176928"/>
                      <a:gd name="connsiteY1" fmla="*/ 47562 h 64683"/>
                      <a:gd name="connsiteX2" fmla="*/ 129367 w 176928"/>
                      <a:gd name="connsiteY2" fmla="*/ 34244 h 64683"/>
                      <a:gd name="connsiteX3" fmla="*/ 17122 w 176928"/>
                      <a:gd name="connsiteY3" fmla="*/ 34244 h 64683"/>
                      <a:gd name="connsiteX4" fmla="*/ 0 w 176928"/>
                      <a:gd name="connsiteY4" fmla="*/ 17122 h 64683"/>
                      <a:gd name="connsiteX5" fmla="*/ 17122 w 176928"/>
                      <a:gd name="connsiteY5" fmla="*/ 0 h 64683"/>
                      <a:gd name="connsiteX6" fmla="*/ 129367 w 176928"/>
                      <a:gd name="connsiteY6" fmla="*/ 0 h 64683"/>
                      <a:gd name="connsiteX7" fmla="*/ 176928 w 176928"/>
                      <a:gd name="connsiteY7" fmla="*/ 47562 h 64683"/>
                      <a:gd name="connsiteX8" fmla="*/ 159806 w 176928"/>
                      <a:gd name="connsiteY8" fmla="*/ 64684 h 64683"/>
                      <a:gd name="connsiteX9" fmla="*/ 159806 w 176928"/>
                      <a:gd name="connsiteY9" fmla="*/ 64684 h 646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76928" h="64683">
                        <a:moveTo>
                          <a:pt x="159806" y="64684"/>
                        </a:moveTo>
                        <a:cubicBezTo>
                          <a:pt x="150294" y="64684"/>
                          <a:pt x="142685" y="57074"/>
                          <a:pt x="142685" y="47562"/>
                        </a:cubicBezTo>
                        <a:cubicBezTo>
                          <a:pt x="142685" y="39952"/>
                          <a:pt x="136343" y="34244"/>
                          <a:pt x="129367" y="34244"/>
                        </a:cubicBezTo>
                        <a:lnTo>
                          <a:pt x="17122" y="34244"/>
                        </a:lnTo>
                        <a:cubicBezTo>
                          <a:pt x="7610" y="34244"/>
                          <a:pt x="0" y="26634"/>
                          <a:pt x="0" y="17122"/>
                        </a:cubicBezTo>
                        <a:cubicBezTo>
                          <a:pt x="0" y="7610"/>
                          <a:pt x="7610" y="0"/>
                          <a:pt x="17122" y="0"/>
                        </a:cubicBezTo>
                        <a:lnTo>
                          <a:pt x="129367" y="0"/>
                        </a:lnTo>
                        <a:cubicBezTo>
                          <a:pt x="155368" y="0"/>
                          <a:pt x="176928" y="20927"/>
                          <a:pt x="176928" y="47562"/>
                        </a:cubicBezTo>
                        <a:cubicBezTo>
                          <a:pt x="176294" y="57074"/>
                          <a:pt x="169319" y="64684"/>
                          <a:pt x="159806" y="64684"/>
                        </a:cubicBezTo>
                        <a:lnTo>
                          <a:pt x="159806" y="64684"/>
                        </a:lnTo>
                        <a:close/>
                      </a:path>
                    </a:pathLst>
                  </a:custGeom>
                  <a:grpFill/>
                  <a:ln w="633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BR"/>
                  </a:p>
                </p:txBody>
              </p:sp>
            </p:grpSp>
            <p:grpSp>
              <p:nvGrpSpPr>
                <p:cNvPr id="393" name="Gráfico 2">
                  <a:extLst>
                    <a:ext uri="{FF2B5EF4-FFF2-40B4-BE49-F238E27FC236}">
                      <a16:creationId xmlns:a16="http://schemas.microsoft.com/office/drawing/2014/main" id="{DC80C217-93B8-4831-A8BE-0817F1F32ECF}"/>
                    </a:ext>
                  </a:extLst>
                </p:cNvPr>
                <p:cNvGrpSpPr/>
                <p:nvPr/>
              </p:nvGrpSpPr>
              <p:grpSpPr>
                <a:xfrm>
                  <a:off x="1235212" y="521882"/>
                  <a:ext cx="8486244" cy="1438260"/>
                  <a:chOff x="1235212" y="521882"/>
                  <a:chExt cx="8486244" cy="1438260"/>
                </a:xfrm>
                <a:grpFill/>
              </p:grpSpPr>
              <p:sp>
                <p:nvSpPr>
                  <p:cNvPr id="394" name="Forma Livre: Forma 393">
                    <a:extLst>
                      <a:ext uri="{FF2B5EF4-FFF2-40B4-BE49-F238E27FC236}">
                        <a16:creationId xmlns:a16="http://schemas.microsoft.com/office/drawing/2014/main" id="{E844BD4D-E6BF-4175-B46C-2EBD071A32A9}"/>
                      </a:ext>
                    </a:extLst>
                  </p:cNvPr>
                  <p:cNvSpPr/>
                  <p:nvPr/>
                </p:nvSpPr>
                <p:spPr>
                  <a:xfrm>
                    <a:off x="1235212" y="521882"/>
                    <a:ext cx="6341" cy="634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341" h="6341"/>
                    </a:pathLst>
                  </a:custGeom>
                  <a:grpFill/>
                  <a:ln w="633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BR"/>
                  </a:p>
                </p:txBody>
              </p:sp>
              <p:sp>
                <p:nvSpPr>
                  <p:cNvPr id="395" name="Forma Livre: Forma 394">
                    <a:extLst>
                      <a:ext uri="{FF2B5EF4-FFF2-40B4-BE49-F238E27FC236}">
                        <a16:creationId xmlns:a16="http://schemas.microsoft.com/office/drawing/2014/main" id="{227EAED9-D9E8-4930-AE6B-2D832FFC8748}"/>
                      </a:ext>
                    </a:extLst>
                  </p:cNvPr>
                  <p:cNvSpPr/>
                  <p:nvPr/>
                </p:nvSpPr>
                <p:spPr>
                  <a:xfrm>
                    <a:off x="9544528" y="1895458"/>
                    <a:ext cx="176928" cy="64683"/>
                  </a:xfrm>
                  <a:custGeom>
                    <a:avLst/>
                    <a:gdLst>
                      <a:gd name="connsiteX0" fmla="*/ 159806 w 176928"/>
                      <a:gd name="connsiteY0" fmla="*/ 64684 h 64683"/>
                      <a:gd name="connsiteX1" fmla="*/ 142685 w 176928"/>
                      <a:gd name="connsiteY1" fmla="*/ 47562 h 64683"/>
                      <a:gd name="connsiteX2" fmla="*/ 129367 w 176928"/>
                      <a:gd name="connsiteY2" fmla="*/ 34244 h 64683"/>
                      <a:gd name="connsiteX3" fmla="*/ 17122 w 176928"/>
                      <a:gd name="connsiteY3" fmla="*/ 34244 h 64683"/>
                      <a:gd name="connsiteX4" fmla="*/ 0 w 176928"/>
                      <a:gd name="connsiteY4" fmla="*/ 17122 h 64683"/>
                      <a:gd name="connsiteX5" fmla="*/ 17122 w 176928"/>
                      <a:gd name="connsiteY5" fmla="*/ 0 h 64683"/>
                      <a:gd name="connsiteX6" fmla="*/ 129367 w 176928"/>
                      <a:gd name="connsiteY6" fmla="*/ 0 h 64683"/>
                      <a:gd name="connsiteX7" fmla="*/ 176928 w 176928"/>
                      <a:gd name="connsiteY7" fmla="*/ 47562 h 64683"/>
                      <a:gd name="connsiteX8" fmla="*/ 159806 w 176928"/>
                      <a:gd name="connsiteY8" fmla="*/ 64684 h 64683"/>
                      <a:gd name="connsiteX9" fmla="*/ 159806 w 176928"/>
                      <a:gd name="connsiteY9" fmla="*/ 64684 h 646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76928" h="64683">
                        <a:moveTo>
                          <a:pt x="159806" y="64684"/>
                        </a:moveTo>
                        <a:cubicBezTo>
                          <a:pt x="150294" y="64684"/>
                          <a:pt x="142685" y="57074"/>
                          <a:pt x="142685" y="47562"/>
                        </a:cubicBezTo>
                        <a:cubicBezTo>
                          <a:pt x="142685" y="39952"/>
                          <a:pt x="136343" y="34244"/>
                          <a:pt x="129367" y="34244"/>
                        </a:cubicBezTo>
                        <a:lnTo>
                          <a:pt x="17122" y="34244"/>
                        </a:lnTo>
                        <a:cubicBezTo>
                          <a:pt x="7610" y="34244"/>
                          <a:pt x="0" y="26634"/>
                          <a:pt x="0" y="17122"/>
                        </a:cubicBezTo>
                        <a:cubicBezTo>
                          <a:pt x="0" y="7610"/>
                          <a:pt x="7610" y="0"/>
                          <a:pt x="17122" y="0"/>
                        </a:cubicBezTo>
                        <a:lnTo>
                          <a:pt x="129367" y="0"/>
                        </a:lnTo>
                        <a:cubicBezTo>
                          <a:pt x="155368" y="0"/>
                          <a:pt x="176928" y="20927"/>
                          <a:pt x="176928" y="47562"/>
                        </a:cubicBezTo>
                        <a:cubicBezTo>
                          <a:pt x="176294" y="57074"/>
                          <a:pt x="169319" y="64684"/>
                          <a:pt x="159806" y="64684"/>
                        </a:cubicBezTo>
                        <a:lnTo>
                          <a:pt x="159806" y="64684"/>
                        </a:lnTo>
                        <a:close/>
                      </a:path>
                    </a:pathLst>
                  </a:custGeom>
                  <a:grpFill/>
                  <a:ln w="633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BR"/>
                  </a:p>
                </p:txBody>
              </p:sp>
            </p:grpSp>
            <p:sp>
              <p:nvSpPr>
                <p:cNvPr id="396" name="Forma Livre: Forma 395">
                  <a:extLst>
                    <a:ext uri="{FF2B5EF4-FFF2-40B4-BE49-F238E27FC236}">
                      <a16:creationId xmlns:a16="http://schemas.microsoft.com/office/drawing/2014/main" id="{05A4B69B-583D-4DB7-B5BE-9AA40912953E}"/>
                    </a:ext>
                  </a:extLst>
                </p:cNvPr>
                <p:cNvSpPr/>
                <p:nvPr/>
              </p:nvSpPr>
              <p:spPr>
                <a:xfrm>
                  <a:off x="9542625" y="1584089"/>
                  <a:ext cx="34244" cy="345613"/>
                </a:xfrm>
                <a:custGeom>
                  <a:avLst/>
                  <a:gdLst>
                    <a:gd name="connsiteX0" fmla="*/ 17122 w 34244"/>
                    <a:gd name="connsiteY0" fmla="*/ 345614 h 345613"/>
                    <a:gd name="connsiteX1" fmla="*/ 0 w 34244"/>
                    <a:gd name="connsiteY1" fmla="*/ 328492 h 345613"/>
                    <a:gd name="connsiteX2" fmla="*/ 0 w 34244"/>
                    <a:gd name="connsiteY2" fmla="*/ 17122 h 345613"/>
                    <a:gd name="connsiteX3" fmla="*/ 17122 w 34244"/>
                    <a:gd name="connsiteY3" fmla="*/ 0 h 345613"/>
                    <a:gd name="connsiteX4" fmla="*/ 34244 w 34244"/>
                    <a:gd name="connsiteY4" fmla="*/ 17122 h 345613"/>
                    <a:gd name="connsiteX5" fmla="*/ 34244 w 34244"/>
                    <a:gd name="connsiteY5" fmla="*/ 328492 h 345613"/>
                    <a:gd name="connsiteX6" fmla="*/ 17122 w 34244"/>
                    <a:gd name="connsiteY6" fmla="*/ 345614 h 345613"/>
                    <a:gd name="connsiteX7" fmla="*/ 17122 w 34244"/>
                    <a:gd name="connsiteY7" fmla="*/ 345614 h 3456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4244" h="345613">
                      <a:moveTo>
                        <a:pt x="17122" y="345614"/>
                      </a:moveTo>
                      <a:cubicBezTo>
                        <a:pt x="7610" y="345614"/>
                        <a:pt x="0" y="338004"/>
                        <a:pt x="0" y="328492"/>
                      </a:cubicBezTo>
                      <a:lnTo>
                        <a:pt x="0" y="17122"/>
                      </a:lnTo>
                      <a:cubicBezTo>
                        <a:pt x="0" y="7610"/>
                        <a:pt x="7610" y="0"/>
                        <a:pt x="17122" y="0"/>
                      </a:cubicBezTo>
                      <a:cubicBezTo>
                        <a:pt x="26634" y="0"/>
                        <a:pt x="34244" y="7610"/>
                        <a:pt x="34244" y="17122"/>
                      </a:cubicBezTo>
                      <a:lnTo>
                        <a:pt x="34244" y="328492"/>
                      </a:lnTo>
                      <a:cubicBezTo>
                        <a:pt x="34244" y="338004"/>
                        <a:pt x="26634" y="345614"/>
                        <a:pt x="17122" y="345614"/>
                      </a:cubicBezTo>
                      <a:lnTo>
                        <a:pt x="17122" y="345614"/>
                      </a:lnTo>
                      <a:close/>
                    </a:path>
                  </a:pathLst>
                </a:custGeom>
                <a:grpFill/>
                <a:ln w="633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sp>
            <p:nvSpPr>
              <p:cNvPr id="397" name="Forma Livre: Forma 396">
                <a:extLst>
                  <a:ext uri="{FF2B5EF4-FFF2-40B4-BE49-F238E27FC236}">
                    <a16:creationId xmlns:a16="http://schemas.microsoft.com/office/drawing/2014/main" id="{A3D3AE26-8E24-44C4-8EC6-74FC7B71ECFB}"/>
                  </a:ext>
                </a:extLst>
              </p:cNvPr>
              <p:cNvSpPr/>
              <p:nvPr/>
            </p:nvSpPr>
            <p:spPr>
              <a:xfrm>
                <a:off x="9829262" y="1584089"/>
                <a:ext cx="34244" cy="345613"/>
              </a:xfrm>
              <a:custGeom>
                <a:avLst/>
                <a:gdLst>
                  <a:gd name="connsiteX0" fmla="*/ 17123 w 34244"/>
                  <a:gd name="connsiteY0" fmla="*/ 345614 h 345613"/>
                  <a:gd name="connsiteX1" fmla="*/ 0 w 34244"/>
                  <a:gd name="connsiteY1" fmla="*/ 328492 h 345613"/>
                  <a:gd name="connsiteX2" fmla="*/ 0 w 34244"/>
                  <a:gd name="connsiteY2" fmla="*/ 17122 h 345613"/>
                  <a:gd name="connsiteX3" fmla="*/ 17123 w 34244"/>
                  <a:gd name="connsiteY3" fmla="*/ 0 h 345613"/>
                  <a:gd name="connsiteX4" fmla="*/ 34244 w 34244"/>
                  <a:gd name="connsiteY4" fmla="*/ 17122 h 345613"/>
                  <a:gd name="connsiteX5" fmla="*/ 34244 w 34244"/>
                  <a:gd name="connsiteY5" fmla="*/ 328492 h 345613"/>
                  <a:gd name="connsiteX6" fmla="*/ 17123 w 34244"/>
                  <a:gd name="connsiteY6" fmla="*/ 345614 h 345613"/>
                  <a:gd name="connsiteX7" fmla="*/ 17123 w 34244"/>
                  <a:gd name="connsiteY7" fmla="*/ 345614 h 345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244" h="345613">
                    <a:moveTo>
                      <a:pt x="17123" y="345614"/>
                    </a:moveTo>
                    <a:cubicBezTo>
                      <a:pt x="7610" y="345614"/>
                      <a:pt x="0" y="338004"/>
                      <a:pt x="0" y="328492"/>
                    </a:cubicBezTo>
                    <a:lnTo>
                      <a:pt x="0" y="17122"/>
                    </a:lnTo>
                    <a:cubicBezTo>
                      <a:pt x="0" y="7610"/>
                      <a:pt x="7610" y="0"/>
                      <a:pt x="17123" y="0"/>
                    </a:cubicBezTo>
                    <a:cubicBezTo>
                      <a:pt x="26635" y="0"/>
                      <a:pt x="34244" y="7610"/>
                      <a:pt x="34244" y="17122"/>
                    </a:cubicBezTo>
                    <a:lnTo>
                      <a:pt x="34244" y="328492"/>
                    </a:lnTo>
                    <a:cubicBezTo>
                      <a:pt x="34244" y="338004"/>
                      <a:pt x="26635" y="345614"/>
                      <a:pt x="17123" y="345614"/>
                    </a:cubicBezTo>
                    <a:lnTo>
                      <a:pt x="17123" y="345614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98" name="Forma Livre: Forma 397">
                <a:extLst>
                  <a:ext uri="{FF2B5EF4-FFF2-40B4-BE49-F238E27FC236}">
                    <a16:creationId xmlns:a16="http://schemas.microsoft.com/office/drawing/2014/main" id="{4FF3185D-F782-4C52-AE8F-5A11308B209A}"/>
                  </a:ext>
                </a:extLst>
              </p:cNvPr>
              <p:cNvSpPr/>
              <p:nvPr/>
            </p:nvSpPr>
            <p:spPr>
              <a:xfrm>
                <a:off x="9686577" y="1608821"/>
                <a:ext cx="34244" cy="345613"/>
              </a:xfrm>
              <a:custGeom>
                <a:avLst/>
                <a:gdLst>
                  <a:gd name="connsiteX0" fmla="*/ 17123 w 34244"/>
                  <a:gd name="connsiteY0" fmla="*/ 345614 h 345613"/>
                  <a:gd name="connsiteX1" fmla="*/ 0 w 34244"/>
                  <a:gd name="connsiteY1" fmla="*/ 328492 h 345613"/>
                  <a:gd name="connsiteX2" fmla="*/ 0 w 34244"/>
                  <a:gd name="connsiteY2" fmla="*/ 17122 h 345613"/>
                  <a:gd name="connsiteX3" fmla="*/ 17123 w 34244"/>
                  <a:gd name="connsiteY3" fmla="*/ 0 h 345613"/>
                  <a:gd name="connsiteX4" fmla="*/ 34244 w 34244"/>
                  <a:gd name="connsiteY4" fmla="*/ 17122 h 345613"/>
                  <a:gd name="connsiteX5" fmla="*/ 34244 w 34244"/>
                  <a:gd name="connsiteY5" fmla="*/ 328492 h 345613"/>
                  <a:gd name="connsiteX6" fmla="*/ 17123 w 34244"/>
                  <a:gd name="connsiteY6" fmla="*/ 345614 h 345613"/>
                  <a:gd name="connsiteX7" fmla="*/ 17123 w 34244"/>
                  <a:gd name="connsiteY7" fmla="*/ 345614 h 345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244" h="345613">
                    <a:moveTo>
                      <a:pt x="17123" y="345614"/>
                    </a:moveTo>
                    <a:cubicBezTo>
                      <a:pt x="7610" y="345614"/>
                      <a:pt x="0" y="338004"/>
                      <a:pt x="0" y="328492"/>
                    </a:cubicBezTo>
                    <a:lnTo>
                      <a:pt x="0" y="17122"/>
                    </a:lnTo>
                    <a:cubicBezTo>
                      <a:pt x="0" y="7610"/>
                      <a:pt x="7610" y="0"/>
                      <a:pt x="17123" y="0"/>
                    </a:cubicBezTo>
                    <a:cubicBezTo>
                      <a:pt x="26635" y="0"/>
                      <a:pt x="34244" y="7610"/>
                      <a:pt x="34244" y="17122"/>
                    </a:cubicBezTo>
                    <a:lnTo>
                      <a:pt x="34244" y="328492"/>
                    </a:lnTo>
                    <a:cubicBezTo>
                      <a:pt x="34244" y="338004"/>
                      <a:pt x="26635" y="345614"/>
                      <a:pt x="17123" y="345614"/>
                    </a:cubicBezTo>
                    <a:lnTo>
                      <a:pt x="17123" y="345614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399" name="Gráfico 2">
              <a:extLst>
                <a:ext uri="{FF2B5EF4-FFF2-40B4-BE49-F238E27FC236}">
                  <a16:creationId xmlns:a16="http://schemas.microsoft.com/office/drawing/2014/main" id="{DC80C217-93B8-4831-A8BE-0817F1F32ECF}"/>
                </a:ext>
              </a:extLst>
            </p:cNvPr>
            <p:cNvGrpSpPr/>
            <p:nvPr/>
          </p:nvGrpSpPr>
          <p:grpSpPr>
            <a:xfrm>
              <a:off x="9496966" y="1600577"/>
              <a:ext cx="413467" cy="375418"/>
              <a:chOff x="9496966" y="1600577"/>
              <a:chExt cx="413467" cy="375418"/>
            </a:xfrm>
            <a:grpFill/>
          </p:grpSpPr>
          <p:sp>
            <p:nvSpPr>
              <p:cNvPr id="400" name="Forma Livre: Forma 399">
                <a:extLst>
                  <a:ext uri="{FF2B5EF4-FFF2-40B4-BE49-F238E27FC236}">
                    <a16:creationId xmlns:a16="http://schemas.microsoft.com/office/drawing/2014/main" id="{561BA22B-5D78-40D0-AD45-C15DF44A769B}"/>
                  </a:ext>
                </a:extLst>
              </p:cNvPr>
              <p:cNvSpPr/>
              <p:nvPr/>
            </p:nvSpPr>
            <p:spPr>
              <a:xfrm>
                <a:off x="9548332" y="1600577"/>
                <a:ext cx="362101" cy="375418"/>
              </a:xfrm>
              <a:custGeom>
                <a:avLst/>
                <a:gdLst>
                  <a:gd name="connsiteX0" fmla="*/ 340540 w 362101"/>
                  <a:gd name="connsiteY0" fmla="*/ 375419 h 375418"/>
                  <a:gd name="connsiteX1" fmla="*/ 17122 w 362101"/>
                  <a:gd name="connsiteY1" fmla="*/ 375419 h 375418"/>
                  <a:gd name="connsiteX2" fmla="*/ 0 w 362101"/>
                  <a:gd name="connsiteY2" fmla="*/ 358297 h 375418"/>
                  <a:gd name="connsiteX3" fmla="*/ 17122 w 362101"/>
                  <a:gd name="connsiteY3" fmla="*/ 341175 h 375418"/>
                  <a:gd name="connsiteX4" fmla="*/ 327857 w 362101"/>
                  <a:gd name="connsiteY4" fmla="*/ 341175 h 375418"/>
                  <a:gd name="connsiteX5" fmla="*/ 327857 w 362101"/>
                  <a:gd name="connsiteY5" fmla="*/ 17122 h 375418"/>
                  <a:gd name="connsiteX6" fmla="*/ 344980 w 362101"/>
                  <a:gd name="connsiteY6" fmla="*/ 0 h 375418"/>
                  <a:gd name="connsiteX7" fmla="*/ 362102 w 362101"/>
                  <a:gd name="connsiteY7" fmla="*/ 17122 h 375418"/>
                  <a:gd name="connsiteX8" fmla="*/ 362102 w 362101"/>
                  <a:gd name="connsiteY8" fmla="*/ 354492 h 375418"/>
                  <a:gd name="connsiteX9" fmla="*/ 340540 w 362101"/>
                  <a:gd name="connsiteY9" fmla="*/ 375419 h 375418"/>
                  <a:gd name="connsiteX10" fmla="*/ 340540 w 362101"/>
                  <a:gd name="connsiteY10" fmla="*/ 375419 h 375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62101" h="375418">
                    <a:moveTo>
                      <a:pt x="340540" y="375419"/>
                    </a:moveTo>
                    <a:lnTo>
                      <a:pt x="17122" y="375419"/>
                    </a:lnTo>
                    <a:cubicBezTo>
                      <a:pt x="7610" y="375419"/>
                      <a:pt x="0" y="367809"/>
                      <a:pt x="0" y="358297"/>
                    </a:cubicBezTo>
                    <a:cubicBezTo>
                      <a:pt x="0" y="348785"/>
                      <a:pt x="7610" y="341175"/>
                      <a:pt x="17122" y="341175"/>
                    </a:cubicBezTo>
                    <a:lnTo>
                      <a:pt x="327857" y="341175"/>
                    </a:lnTo>
                    <a:lnTo>
                      <a:pt x="327857" y="17122"/>
                    </a:lnTo>
                    <a:cubicBezTo>
                      <a:pt x="327857" y="7610"/>
                      <a:pt x="335467" y="0"/>
                      <a:pt x="344980" y="0"/>
                    </a:cubicBezTo>
                    <a:cubicBezTo>
                      <a:pt x="354492" y="0"/>
                      <a:pt x="362102" y="7610"/>
                      <a:pt x="362102" y="17122"/>
                    </a:cubicBezTo>
                    <a:lnTo>
                      <a:pt x="362102" y="354492"/>
                    </a:lnTo>
                    <a:cubicBezTo>
                      <a:pt x="361468" y="365907"/>
                      <a:pt x="351955" y="375419"/>
                      <a:pt x="340540" y="375419"/>
                    </a:cubicBezTo>
                    <a:lnTo>
                      <a:pt x="340540" y="375419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01" name="Forma Livre: Forma 400">
                <a:extLst>
                  <a:ext uri="{FF2B5EF4-FFF2-40B4-BE49-F238E27FC236}">
                    <a16:creationId xmlns:a16="http://schemas.microsoft.com/office/drawing/2014/main" id="{22988D74-E348-4BE2-887B-094A647B991F}"/>
                  </a:ext>
                </a:extLst>
              </p:cNvPr>
              <p:cNvSpPr/>
              <p:nvPr/>
            </p:nvSpPr>
            <p:spPr>
              <a:xfrm>
                <a:off x="9496966" y="1601211"/>
                <a:ext cx="362101" cy="374784"/>
              </a:xfrm>
              <a:custGeom>
                <a:avLst/>
                <a:gdLst>
                  <a:gd name="connsiteX0" fmla="*/ 344345 w 362101"/>
                  <a:gd name="connsiteY0" fmla="*/ 374785 h 374784"/>
                  <a:gd name="connsiteX1" fmla="*/ 20927 w 362101"/>
                  <a:gd name="connsiteY1" fmla="*/ 374785 h 374784"/>
                  <a:gd name="connsiteX2" fmla="*/ 0 w 362101"/>
                  <a:gd name="connsiteY2" fmla="*/ 353858 h 374784"/>
                  <a:gd name="connsiteX3" fmla="*/ 0 w 362101"/>
                  <a:gd name="connsiteY3" fmla="*/ 17122 h 374784"/>
                  <a:gd name="connsiteX4" fmla="*/ 17122 w 362101"/>
                  <a:gd name="connsiteY4" fmla="*/ 0 h 374784"/>
                  <a:gd name="connsiteX5" fmla="*/ 34244 w 362101"/>
                  <a:gd name="connsiteY5" fmla="*/ 17122 h 374784"/>
                  <a:gd name="connsiteX6" fmla="*/ 34244 w 362101"/>
                  <a:gd name="connsiteY6" fmla="*/ 341175 h 374784"/>
                  <a:gd name="connsiteX7" fmla="*/ 344979 w 362101"/>
                  <a:gd name="connsiteY7" fmla="*/ 341175 h 374784"/>
                  <a:gd name="connsiteX8" fmla="*/ 362102 w 362101"/>
                  <a:gd name="connsiteY8" fmla="*/ 358297 h 374784"/>
                  <a:gd name="connsiteX9" fmla="*/ 344345 w 362101"/>
                  <a:gd name="connsiteY9" fmla="*/ 374785 h 374784"/>
                  <a:gd name="connsiteX10" fmla="*/ 344345 w 362101"/>
                  <a:gd name="connsiteY10" fmla="*/ 374785 h 374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62101" h="374784">
                    <a:moveTo>
                      <a:pt x="344345" y="374785"/>
                    </a:moveTo>
                    <a:lnTo>
                      <a:pt x="20927" y="374785"/>
                    </a:lnTo>
                    <a:cubicBezTo>
                      <a:pt x="9512" y="374785"/>
                      <a:pt x="0" y="365273"/>
                      <a:pt x="0" y="353858"/>
                    </a:cubicBezTo>
                    <a:lnTo>
                      <a:pt x="0" y="17122"/>
                    </a:lnTo>
                    <a:cubicBezTo>
                      <a:pt x="0" y="7610"/>
                      <a:pt x="7610" y="0"/>
                      <a:pt x="17122" y="0"/>
                    </a:cubicBezTo>
                    <a:cubicBezTo>
                      <a:pt x="26634" y="0"/>
                      <a:pt x="34244" y="7610"/>
                      <a:pt x="34244" y="17122"/>
                    </a:cubicBezTo>
                    <a:lnTo>
                      <a:pt x="34244" y="341175"/>
                    </a:lnTo>
                    <a:lnTo>
                      <a:pt x="344979" y="341175"/>
                    </a:lnTo>
                    <a:cubicBezTo>
                      <a:pt x="354491" y="341175"/>
                      <a:pt x="362102" y="348785"/>
                      <a:pt x="362102" y="358297"/>
                    </a:cubicBezTo>
                    <a:cubicBezTo>
                      <a:pt x="361468" y="367175"/>
                      <a:pt x="353857" y="374785"/>
                      <a:pt x="344345" y="374785"/>
                    </a:cubicBezTo>
                    <a:lnTo>
                      <a:pt x="344345" y="374785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402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10536341" y="1561614"/>
            <a:ext cx="309161" cy="409496"/>
            <a:chOff x="10586442" y="1573308"/>
            <a:chExt cx="312638" cy="414102"/>
          </a:xfrm>
          <a:solidFill>
            <a:srgbClr val="B1B1A1"/>
          </a:solidFill>
        </p:grpSpPr>
        <p:sp>
          <p:nvSpPr>
            <p:cNvPr id="403" name="Forma Livre: Forma 402">
              <a:extLst>
                <a:ext uri="{FF2B5EF4-FFF2-40B4-BE49-F238E27FC236}">
                  <a16:creationId xmlns:a16="http://schemas.microsoft.com/office/drawing/2014/main" id="{D17BCA9E-6B29-465B-9C4D-29B0617CA08E}"/>
                </a:ext>
              </a:extLst>
            </p:cNvPr>
            <p:cNvSpPr/>
            <p:nvPr/>
          </p:nvSpPr>
          <p:spPr>
            <a:xfrm>
              <a:off x="10586442" y="1615797"/>
              <a:ext cx="312638" cy="371614"/>
            </a:xfrm>
            <a:custGeom>
              <a:avLst/>
              <a:gdLst>
                <a:gd name="connsiteX0" fmla="*/ 273955 w 312638"/>
                <a:gd name="connsiteY0" fmla="*/ 371614 h 371614"/>
                <a:gd name="connsiteX1" fmla="*/ 38683 w 312638"/>
                <a:gd name="connsiteY1" fmla="*/ 371614 h 371614"/>
                <a:gd name="connsiteX2" fmla="*/ 0 w 312638"/>
                <a:gd name="connsiteY2" fmla="*/ 332931 h 371614"/>
                <a:gd name="connsiteX3" fmla="*/ 0 w 312638"/>
                <a:gd name="connsiteY3" fmla="*/ 17122 h 371614"/>
                <a:gd name="connsiteX4" fmla="*/ 17123 w 312638"/>
                <a:gd name="connsiteY4" fmla="*/ 0 h 371614"/>
                <a:gd name="connsiteX5" fmla="*/ 34244 w 312638"/>
                <a:gd name="connsiteY5" fmla="*/ 17122 h 371614"/>
                <a:gd name="connsiteX6" fmla="*/ 34244 w 312638"/>
                <a:gd name="connsiteY6" fmla="*/ 332931 h 371614"/>
                <a:gd name="connsiteX7" fmla="*/ 38683 w 312638"/>
                <a:gd name="connsiteY7" fmla="*/ 337370 h 371614"/>
                <a:gd name="connsiteX8" fmla="*/ 273955 w 312638"/>
                <a:gd name="connsiteY8" fmla="*/ 337370 h 371614"/>
                <a:gd name="connsiteX9" fmla="*/ 278394 w 312638"/>
                <a:gd name="connsiteY9" fmla="*/ 332931 h 371614"/>
                <a:gd name="connsiteX10" fmla="*/ 278394 w 312638"/>
                <a:gd name="connsiteY10" fmla="*/ 66586 h 371614"/>
                <a:gd name="connsiteX11" fmla="*/ 273955 w 312638"/>
                <a:gd name="connsiteY11" fmla="*/ 62147 h 371614"/>
                <a:gd name="connsiteX12" fmla="*/ 256832 w 312638"/>
                <a:gd name="connsiteY12" fmla="*/ 45025 h 371614"/>
                <a:gd name="connsiteX13" fmla="*/ 273955 w 312638"/>
                <a:gd name="connsiteY13" fmla="*/ 27903 h 371614"/>
                <a:gd name="connsiteX14" fmla="*/ 312638 w 312638"/>
                <a:gd name="connsiteY14" fmla="*/ 66586 h 371614"/>
                <a:gd name="connsiteX15" fmla="*/ 312638 w 312638"/>
                <a:gd name="connsiteY15" fmla="*/ 332931 h 371614"/>
                <a:gd name="connsiteX16" fmla="*/ 273955 w 312638"/>
                <a:gd name="connsiteY16" fmla="*/ 371614 h 371614"/>
                <a:gd name="connsiteX17" fmla="*/ 273955 w 312638"/>
                <a:gd name="connsiteY17" fmla="*/ 371614 h 371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12638" h="371614">
                  <a:moveTo>
                    <a:pt x="273955" y="371614"/>
                  </a:moveTo>
                  <a:lnTo>
                    <a:pt x="38683" y="371614"/>
                  </a:lnTo>
                  <a:cubicBezTo>
                    <a:pt x="17757" y="371614"/>
                    <a:pt x="0" y="354492"/>
                    <a:pt x="0" y="332931"/>
                  </a:cubicBezTo>
                  <a:lnTo>
                    <a:pt x="0" y="17122"/>
                  </a:lnTo>
                  <a:cubicBezTo>
                    <a:pt x="0" y="7610"/>
                    <a:pt x="7610" y="0"/>
                    <a:pt x="17123" y="0"/>
                  </a:cubicBezTo>
                  <a:cubicBezTo>
                    <a:pt x="26635" y="0"/>
                    <a:pt x="34244" y="7610"/>
                    <a:pt x="34244" y="17122"/>
                  </a:cubicBezTo>
                  <a:lnTo>
                    <a:pt x="34244" y="332931"/>
                  </a:lnTo>
                  <a:cubicBezTo>
                    <a:pt x="34244" y="335467"/>
                    <a:pt x="36147" y="337370"/>
                    <a:pt x="38683" y="337370"/>
                  </a:cubicBezTo>
                  <a:lnTo>
                    <a:pt x="273955" y="337370"/>
                  </a:lnTo>
                  <a:cubicBezTo>
                    <a:pt x="276491" y="337370"/>
                    <a:pt x="278394" y="335467"/>
                    <a:pt x="278394" y="332931"/>
                  </a:cubicBezTo>
                  <a:lnTo>
                    <a:pt x="278394" y="66586"/>
                  </a:lnTo>
                  <a:cubicBezTo>
                    <a:pt x="278394" y="64050"/>
                    <a:pt x="276491" y="62147"/>
                    <a:pt x="273955" y="62147"/>
                  </a:cubicBezTo>
                  <a:cubicBezTo>
                    <a:pt x="264443" y="62147"/>
                    <a:pt x="256832" y="54537"/>
                    <a:pt x="256832" y="45025"/>
                  </a:cubicBezTo>
                  <a:cubicBezTo>
                    <a:pt x="256832" y="35513"/>
                    <a:pt x="264443" y="27903"/>
                    <a:pt x="273955" y="27903"/>
                  </a:cubicBezTo>
                  <a:cubicBezTo>
                    <a:pt x="294881" y="27903"/>
                    <a:pt x="312638" y="45025"/>
                    <a:pt x="312638" y="66586"/>
                  </a:cubicBezTo>
                  <a:lnTo>
                    <a:pt x="312638" y="332931"/>
                  </a:lnTo>
                  <a:cubicBezTo>
                    <a:pt x="312638" y="354492"/>
                    <a:pt x="294881" y="371614"/>
                    <a:pt x="273955" y="371614"/>
                  </a:cubicBezTo>
                  <a:lnTo>
                    <a:pt x="273955" y="37161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04" name="Forma Livre: Forma 403">
              <a:extLst>
                <a:ext uri="{FF2B5EF4-FFF2-40B4-BE49-F238E27FC236}">
                  <a16:creationId xmlns:a16="http://schemas.microsoft.com/office/drawing/2014/main" id="{5D502492-A416-452C-8A43-5E62000BDC3D}"/>
                </a:ext>
              </a:extLst>
            </p:cNvPr>
            <p:cNvSpPr/>
            <p:nvPr/>
          </p:nvSpPr>
          <p:spPr>
            <a:xfrm>
              <a:off x="10586442" y="1573308"/>
              <a:ext cx="312638" cy="104001"/>
            </a:xfrm>
            <a:custGeom>
              <a:avLst/>
              <a:gdLst>
                <a:gd name="connsiteX0" fmla="*/ 270784 w 312638"/>
                <a:gd name="connsiteY0" fmla="*/ 104001 h 104001"/>
                <a:gd name="connsiteX1" fmla="*/ 52001 w 312638"/>
                <a:gd name="connsiteY1" fmla="*/ 104001 h 104001"/>
                <a:gd name="connsiteX2" fmla="*/ 0 w 312638"/>
                <a:gd name="connsiteY2" fmla="*/ 52001 h 104001"/>
                <a:gd name="connsiteX3" fmla="*/ 52001 w 312638"/>
                <a:gd name="connsiteY3" fmla="*/ 0 h 104001"/>
                <a:gd name="connsiteX4" fmla="*/ 295515 w 312638"/>
                <a:gd name="connsiteY4" fmla="*/ 0 h 104001"/>
                <a:gd name="connsiteX5" fmla="*/ 312638 w 312638"/>
                <a:gd name="connsiteY5" fmla="*/ 17122 h 104001"/>
                <a:gd name="connsiteX6" fmla="*/ 295515 w 312638"/>
                <a:gd name="connsiteY6" fmla="*/ 34244 h 104001"/>
                <a:gd name="connsiteX7" fmla="*/ 52001 w 312638"/>
                <a:gd name="connsiteY7" fmla="*/ 34244 h 104001"/>
                <a:gd name="connsiteX8" fmla="*/ 33610 w 312638"/>
                <a:gd name="connsiteY8" fmla="*/ 52635 h 104001"/>
                <a:gd name="connsiteX9" fmla="*/ 52001 w 312638"/>
                <a:gd name="connsiteY9" fmla="*/ 71025 h 104001"/>
                <a:gd name="connsiteX10" fmla="*/ 270784 w 312638"/>
                <a:gd name="connsiteY10" fmla="*/ 71025 h 104001"/>
                <a:gd name="connsiteX11" fmla="*/ 287906 w 312638"/>
                <a:gd name="connsiteY11" fmla="*/ 88147 h 104001"/>
                <a:gd name="connsiteX12" fmla="*/ 270784 w 312638"/>
                <a:gd name="connsiteY12" fmla="*/ 104001 h 104001"/>
                <a:gd name="connsiteX13" fmla="*/ 270784 w 312638"/>
                <a:gd name="connsiteY13" fmla="*/ 104001 h 104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12638" h="104001">
                  <a:moveTo>
                    <a:pt x="270784" y="104001"/>
                  </a:moveTo>
                  <a:lnTo>
                    <a:pt x="52001" y="104001"/>
                  </a:lnTo>
                  <a:cubicBezTo>
                    <a:pt x="23464" y="104001"/>
                    <a:pt x="0" y="80538"/>
                    <a:pt x="0" y="52001"/>
                  </a:cubicBezTo>
                  <a:cubicBezTo>
                    <a:pt x="0" y="23464"/>
                    <a:pt x="23464" y="0"/>
                    <a:pt x="52001" y="0"/>
                  </a:cubicBezTo>
                  <a:lnTo>
                    <a:pt x="295515" y="0"/>
                  </a:lnTo>
                  <a:cubicBezTo>
                    <a:pt x="305028" y="0"/>
                    <a:pt x="312638" y="7610"/>
                    <a:pt x="312638" y="17122"/>
                  </a:cubicBezTo>
                  <a:cubicBezTo>
                    <a:pt x="312638" y="26634"/>
                    <a:pt x="305028" y="34244"/>
                    <a:pt x="295515" y="34244"/>
                  </a:cubicBezTo>
                  <a:lnTo>
                    <a:pt x="52001" y="34244"/>
                  </a:lnTo>
                  <a:cubicBezTo>
                    <a:pt x="41854" y="34244"/>
                    <a:pt x="33610" y="42488"/>
                    <a:pt x="33610" y="52635"/>
                  </a:cubicBezTo>
                  <a:cubicBezTo>
                    <a:pt x="33610" y="62781"/>
                    <a:pt x="41854" y="71025"/>
                    <a:pt x="52001" y="71025"/>
                  </a:cubicBezTo>
                  <a:lnTo>
                    <a:pt x="270784" y="71025"/>
                  </a:lnTo>
                  <a:cubicBezTo>
                    <a:pt x="280296" y="71025"/>
                    <a:pt x="287906" y="78635"/>
                    <a:pt x="287906" y="88147"/>
                  </a:cubicBezTo>
                  <a:cubicBezTo>
                    <a:pt x="287272" y="96391"/>
                    <a:pt x="280296" y="104001"/>
                    <a:pt x="270784" y="104001"/>
                  </a:cubicBezTo>
                  <a:lnTo>
                    <a:pt x="270784" y="104001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05" name="Forma Livre: Forma 404">
              <a:extLst>
                <a:ext uri="{FF2B5EF4-FFF2-40B4-BE49-F238E27FC236}">
                  <a16:creationId xmlns:a16="http://schemas.microsoft.com/office/drawing/2014/main" id="{3B3F11CA-EA2B-49EB-B954-887B1D4C4684}"/>
                </a:ext>
              </a:extLst>
            </p:cNvPr>
            <p:cNvSpPr/>
            <p:nvPr/>
          </p:nvSpPr>
          <p:spPr>
            <a:xfrm>
              <a:off x="10650491" y="1660187"/>
              <a:ext cx="108440" cy="200055"/>
            </a:xfrm>
            <a:custGeom>
              <a:avLst/>
              <a:gdLst>
                <a:gd name="connsiteX0" fmla="*/ 91318 w 108440"/>
                <a:gd name="connsiteY0" fmla="*/ 199758 h 200055"/>
                <a:gd name="connsiteX1" fmla="*/ 84343 w 108440"/>
                <a:gd name="connsiteY1" fmla="*/ 198490 h 200055"/>
                <a:gd name="connsiteX2" fmla="*/ 53903 w 108440"/>
                <a:gd name="connsiteY2" fmla="*/ 185173 h 200055"/>
                <a:gd name="connsiteX3" fmla="*/ 23464 w 108440"/>
                <a:gd name="connsiteY3" fmla="*/ 198490 h 200055"/>
                <a:gd name="connsiteX4" fmla="*/ 7610 w 108440"/>
                <a:gd name="connsiteY4" fmla="*/ 197222 h 200055"/>
                <a:gd name="connsiteX5" fmla="*/ 0 w 108440"/>
                <a:gd name="connsiteY5" fmla="*/ 183270 h 200055"/>
                <a:gd name="connsiteX6" fmla="*/ 0 w 108440"/>
                <a:gd name="connsiteY6" fmla="*/ 17122 h 200055"/>
                <a:gd name="connsiteX7" fmla="*/ 17123 w 108440"/>
                <a:gd name="connsiteY7" fmla="*/ 0 h 200055"/>
                <a:gd name="connsiteX8" fmla="*/ 34244 w 108440"/>
                <a:gd name="connsiteY8" fmla="*/ 17122 h 200055"/>
                <a:gd name="connsiteX9" fmla="*/ 34244 w 108440"/>
                <a:gd name="connsiteY9" fmla="*/ 157270 h 200055"/>
                <a:gd name="connsiteX10" fmla="*/ 47562 w 108440"/>
                <a:gd name="connsiteY10" fmla="*/ 151563 h 200055"/>
                <a:gd name="connsiteX11" fmla="*/ 60879 w 108440"/>
                <a:gd name="connsiteY11" fmla="*/ 151563 h 200055"/>
                <a:gd name="connsiteX12" fmla="*/ 74196 w 108440"/>
                <a:gd name="connsiteY12" fmla="*/ 157270 h 200055"/>
                <a:gd name="connsiteX13" fmla="*/ 74196 w 108440"/>
                <a:gd name="connsiteY13" fmla="*/ 17122 h 200055"/>
                <a:gd name="connsiteX14" fmla="*/ 91318 w 108440"/>
                <a:gd name="connsiteY14" fmla="*/ 0 h 200055"/>
                <a:gd name="connsiteX15" fmla="*/ 108441 w 108440"/>
                <a:gd name="connsiteY15" fmla="*/ 17122 h 200055"/>
                <a:gd name="connsiteX16" fmla="*/ 108441 w 108440"/>
                <a:gd name="connsiteY16" fmla="*/ 183270 h 200055"/>
                <a:gd name="connsiteX17" fmla="*/ 100831 w 108440"/>
                <a:gd name="connsiteY17" fmla="*/ 197222 h 200055"/>
                <a:gd name="connsiteX18" fmla="*/ 91318 w 108440"/>
                <a:gd name="connsiteY18" fmla="*/ 199758 h 200055"/>
                <a:gd name="connsiteX19" fmla="*/ 91318 w 108440"/>
                <a:gd name="connsiteY19" fmla="*/ 199758 h 200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8440" h="200055">
                  <a:moveTo>
                    <a:pt x="91318" y="199758"/>
                  </a:moveTo>
                  <a:cubicBezTo>
                    <a:pt x="88782" y="199758"/>
                    <a:pt x="86880" y="199124"/>
                    <a:pt x="84343" y="198490"/>
                  </a:cubicBezTo>
                  <a:lnTo>
                    <a:pt x="53903" y="185173"/>
                  </a:lnTo>
                  <a:lnTo>
                    <a:pt x="23464" y="198490"/>
                  </a:lnTo>
                  <a:cubicBezTo>
                    <a:pt x="18391" y="201027"/>
                    <a:pt x="12049" y="200393"/>
                    <a:pt x="7610" y="197222"/>
                  </a:cubicBezTo>
                  <a:cubicBezTo>
                    <a:pt x="2537" y="194051"/>
                    <a:pt x="0" y="188978"/>
                    <a:pt x="0" y="183270"/>
                  </a:cubicBezTo>
                  <a:lnTo>
                    <a:pt x="0" y="17122"/>
                  </a:lnTo>
                  <a:cubicBezTo>
                    <a:pt x="0" y="7610"/>
                    <a:pt x="7610" y="0"/>
                    <a:pt x="17123" y="0"/>
                  </a:cubicBezTo>
                  <a:cubicBezTo>
                    <a:pt x="26635" y="0"/>
                    <a:pt x="34244" y="7610"/>
                    <a:pt x="34244" y="17122"/>
                  </a:cubicBezTo>
                  <a:lnTo>
                    <a:pt x="34244" y="157270"/>
                  </a:lnTo>
                  <a:lnTo>
                    <a:pt x="47562" y="151563"/>
                  </a:lnTo>
                  <a:cubicBezTo>
                    <a:pt x="52001" y="149660"/>
                    <a:pt x="57074" y="149660"/>
                    <a:pt x="60879" y="151563"/>
                  </a:cubicBezTo>
                  <a:lnTo>
                    <a:pt x="74196" y="157270"/>
                  </a:lnTo>
                  <a:lnTo>
                    <a:pt x="74196" y="17122"/>
                  </a:lnTo>
                  <a:cubicBezTo>
                    <a:pt x="74196" y="7610"/>
                    <a:pt x="81806" y="0"/>
                    <a:pt x="91318" y="0"/>
                  </a:cubicBezTo>
                  <a:cubicBezTo>
                    <a:pt x="100831" y="0"/>
                    <a:pt x="108441" y="7610"/>
                    <a:pt x="108441" y="17122"/>
                  </a:cubicBezTo>
                  <a:lnTo>
                    <a:pt x="108441" y="183270"/>
                  </a:lnTo>
                  <a:cubicBezTo>
                    <a:pt x="108441" y="188978"/>
                    <a:pt x="105270" y="194051"/>
                    <a:pt x="100831" y="197222"/>
                  </a:cubicBezTo>
                  <a:cubicBezTo>
                    <a:pt x="97660" y="199124"/>
                    <a:pt x="94489" y="199758"/>
                    <a:pt x="91318" y="199758"/>
                  </a:cubicBezTo>
                  <a:lnTo>
                    <a:pt x="91318" y="199758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406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4412705" y="3646096"/>
            <a:ext cx="284959" cy="375005"/>
            <a:chOff x="4393931" y="3681235"/>
            <a:chExt cx="288164" cy="379223"/>
          </a:xfrm>
          <a:solidFill>
            <a:srgbClr val="B1B1A1"/>
          </a:solidFill>
        </p:grpSpPr>
        <p:sp>
          <p:nvSpPr>
            <p:cNvPr id="407" name="Forma Livre: Forma 406">
              <a:extLst>
                <a:ext uri="{FF2B5EF4-FFF2-40B4-BE49-F238E27FC236}">
                  <a16:creationId xmlns:a16="http://schemas.microsoft.com/office/drawing/2014/main" id="{B0AD6CEC-5746-4D6F-8882-1D6682A85EB6}"/>
                </a:ext>
              </a:extLst>
            </p:cNvPr>
            <p:cNvSpPr/>
            <p:nvPr/>
          </p:nvSpPr>
          <p:spPr>
            <a:xfrm>
              <a:off x="4461785" y="3681235"/>
              <a:ext cx="97659" cy="97659"/>
            </a:xfrm>
            <a:custGeom>
              <a:avLst/>
              <a:gdLst>
                <a:gd name="connsiteX0" fmla="*/ 48830 w 97659"/>
                <a:gd name="connsiteY0" fmla="*/ 97659 h 97659"/>
                <a:gd name="connsiteX1" fmla="*/ 0 w 97659"/>
                <a:gd name="connsiteY1" fmla="*/ 48830 h 97659"/>
                <a:gd name="connsiteX2" fmla="*/ 48830 w 97659"/>
                <a:gd name="connsiteY2" fmla="*/ 0 h 97659"/>
                <a:gd name="connsiteX3" fmla="*/ 97660 w 97659"/>
                <a:gd name="connsiteY3" fmla="*/ 48830 h 97659"/>
                <a:gd name="connsiteX4" fmla="*/ 48830 w 97659"/>
                <a:gd name="connsiteY4" fmla="*/ 97659 h 97659"/>
                <a:gd name="connsiteX5" fmla="*/ 48830 w 97659"/>
                <a:gd name="connsiteY5" fmla="*/ 97659 h 97659"/>
                <a:gd name="connsiteX6" fmla="*/ 48830 w 97659"/>
                <a:gd name="connsiteY6" fmla="*/ 34244 h 97659"/>
                <a:gd name="connsiteX7" fmla="*/ 34244 w 97659"/>
                <a:gd name="connsiteY7" fmla="*/ 48830 h 97659"/>
                <a:gd name="connsiteX8" fmla="*/ 48830 w 97659"/>
                <a:gd name="connsiteY8" fmla="*/ 63415 h 97659"/>
                <a:gd name="connsiteX9" fmla="*/ 63415 w 97659"/>
                <a:gd name="connsiteY9" fmla="*/ 48830 h 97659"/>
                <a:gd name="connsiteX10" fmla="*/ 48830 w 97659"/>
                <a:gd name="connsiteY10" fmla="*/ 34244 h 97659"/>
                <a:gd name="connsiteX11" fmla="*/ 48830 w 97659"/>
                <a:gd name="connsiteY11" fmla="*/ 34244 h 97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7659" h="97659">
                  <a:moveTo>
                    <a:pt x="48830" y="97659"/>
                  </a:moveTo>
                  <a:cubicBezTo>
                    <a:pt x="22195" y="97659"/>
                    <a:pt x="0" y="76098"/>
                    <a:pt x="0" y="48830"/>
                  </a:cubicBezTo>
                  <a:cubicBezTo>
                    <a:pt x="0" y="22195"/>
                    <a:pt x="21561" y="0"/>
                    <a:pt x="48830" y="0"/>
                  </a:cubicBezTo>
                  <a:cubicBezTo>
                    <a:pt x="75464" y="0"/>
                    <a:pt x="97660" y="21561"/>
                    <a:pt x="97660" y="48830"/>
                  </a:cubicBezTo>
                  <a:cubicBezTo>
                    <a:pt x="97025" y="75464"/>
                    <a:pt x="75464" y="97659"/>
                    <a:pt x="48830" y="97659"/>
                  </a:cubicBezTo>
                  <a:lnTo>
                    <a:pt x="48830" y="97659"/>
                  </a:lnTo>
                  <a:close/>
                  <a:moveTo>
                    <a:pt x="48830" y="34244"/>
                  </a:moveTo>
                  <a:cubicBezTo>
                    <a:pt x="40586" y="34244"/>
                    <a:pt x="34244" y="40586"/>
                    <a:pt x="34244" y="48830"/>
                  </a:cubicBezTo>
                  <a:cubicBezTo>
                    <a:pt x="34244" y="57074"/>
                    <a:pt x="40586" y="63415"/>
                    <a:pt x="48830" y="63415"/>
                  </a:cubicBezTo>
                  <a:cubicBezTo>
                    <a:pt x="57074" y="63415"/>
                    <a:pt x="63415" y="57074"/>
                    <a:pt x="63415" y="48830"/>
                  </a:cubicBezTo>
                  <a:cubicBezTo>
                    <a:pt x="63415" y="40586"/>
                    <a:pt x="56440" y="34244"/>
                    <a:pt x="48830" y="34244"/>
                  </a:cubicBezTo>
                  <a:lnTo>
                    <a:pt x="48830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08" name="Forma Livre: Forma 407">
              <a:extLst>
                <a:ext uri="{FF2B5EF4-FFF2-40B4-BE49-F238E27FC236}">
                  <a16:creationId xmlns:a16="http://schemas.microsoft.com/office/drawing/2014/main" id="{65E4BF93-F581-41D8-8CB1-501D0D3FEBF9}"/>
                </a:ext>
              </a:extLst>
            </p:cNvPr>
            <p:cNvSpPr/>
            <p:nvPr/>
          </p:nvSpPr>
          <p:spPr>
            <a:xfrm>
              <a:off x="4393931" y="3866032"/>
              <a:ext cx="234002" cy="194427"/>
            </a:xfrm>
            <a:custGeom>
              <a:avLst/>
              <a:gdLst>
                <a:gd name="connsiteX0" fmla="*/ 116684 w 234002"/>
                <a:gd name="connsiteY0" fmla="*/ 194427 h 194427"/>
                <a:gd name="connsiteX1" fmla="*/ 0 w 234002"/>
                <a:gd name="connsiteY1" fmla="*/ 77743 h 194427"/>
                <a:gd name="connsiteX2" fmla="*/ 24098 w 234002"/>
                <a:gd name="connsiteY2" fmla="*/ 6718 h 194427"/>
                <a:gd name="connsiteX3" fmla="*/ 47562 w 234002"/>
                <a:gd name="connsiteY3" fmla="*/ 3547 h 194427"/>
                <a:gd name="connsiteX4" fmla="*/ 50732 w 234002"/>
                <a:gd name="connsiteY4" fmla="*/ 27010 h 194427"/>
                <a:gd name="connsiteX5" fmla="*/ 33610 w 234002"/>
                <a:gd name="connsiteY5" fmla="*/ 77743 h 194427"/>
                <a:gd name="connsiteX6" fmla="*/ 116684 w 234002"/>
                <a:gd name="connsiteY6" fmla="*/ 160817 h 194427"/>
                <a:gd name="connsiteX7" fmla="*/ 197222 w 234002"/>
                <a:gd name="connsiteY7" fmla="*/ 99304 h 194427"/>
                <a:gd name="connsiteX8" fmla="*/ 199758 w 234002"/>
                <a:gd name="connsiteY8" fmla="*/ 77743 h 194427"/>
                <a:gd name="connsiteX9" fmla="*/ 216880 w 234002"/>
                <a:gd name="connsiteY9" fmla="*/ 60621 h 194427"/>
                <a:gd name="connsiteX10" fmla="*/ 234003 w 234002"/>
                <a:gd name="connsiteY10" fmla="*/ 77743 h 194427"/>
                <a:gd name="connsiteX11" fmla="*/ 230198 w 234002"/>
                <a:gd name="connsiteY11" fmla="*/ 107548 h 194427"/>
                <a:gd name="connsiteX12" fmla="*/ 116684 w 234002"/>
                <a:gd name="connsiteY12" fmla="*/ 194427 h 194427"/>
                <a:gd name="connsiteX13" fmla="*/ 116684 w 234002"/>
                <a:gd name="connsiteY13" fmla="*/ 194427 h 194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34002" h="194427">
                  <a:moveTo>
                    <a:pt x="116684" y="194427"/>
                  </a:moveTo>
                  <a:cubicBezTo>
                    <a:pt x="52000" y="194427"/>
                    <a:pt x="0" y="141792"/>
                    <a:pt x="0" y="77743"/>
                  </a:cubicBezTo>
                  <a:cubicBezTo>
                    <a:pt x="0" y="51743"/>
                    <a:pt x="8244" y="27010"/>
                    <a:pt x="24098" y="6718"/>
                  </a:cubicBezTo>
                  <a:cubicBezTo>
                    <a:pt x="29805" y="-892"/>
                    <a:pt x="40586" y="-2161"/>
                    <a:pt x="47562" y="3547"/>
                  </a:cubicBezTo>
                  <a:cubicBezTo>
                    <a:pt x="55171" y="9254"/>
                    <a:pt x="56440" y="20035"/>
                    <a:pt x="50732" y="27010"/>
                  </a:cubicBezTo>
                  <a:cubicBezTo>
                    <a:pt x="39317" y="41596"/>
                    <a:pt x="33610" y="59352"/>
                    <a:pt x="33610" y="77743"/>
                  </a:cubicBezTo>
                  <a:cubicBezTo>
                    <a:pt x="33610" y="123402"/>
                    <a:pt x="71025" y="160817"/>
                    <a:pt x="116684" y="160817"/>
                  </a:cubicBezTo>
                  <a:cubicBezTo>
                    <a:pt x="154099" y="160817"/>
                    <a:pt x="187075" y="135451"/>
                    <a:pt x="197222" y="99304"/>
                  </a:cubicBezTo>
                  <a:cubicBezTo>
                    <a:pt x="199124" y="92329"/>
                    <a:pt x="199758" y="85353"/>
                    <a:pt x="199758" y="77743"/>
                  </a:cubicBezTo>
                  <a:cubicBezTo>
                    <a:pt x="199758" y="68230"/>
                    <a:pt x="207368" y="60621"/>
                    <a:pt x="216880" y="60621"/>
                  </a:cubicBezTo>
                  <a:cubicBezTo>
                    <a:pt x="226393" y="60621"/>
                    <a:pt x="234003" y="68230"/>
                    <a:pt x="234003" y="77743"/>
                  </a:cubicBezTo>
                  <a:cubicBezTo>
                    <a:pt x="234003" y="87889"/>
                    <a:pt x="232734" y="98036"/>
                    <a:pt x="230198" y="107548"/>
                  </a:cubicBezTo>
                  <a:cubicBezTo>
                    <a:pt x="215612" y="158915"/>
                    <a:pt x="169319" y="194427"/>
                    <a:pt x="116684" y="194427"/>
                  </a:cubicBezTo>
                  <a:lnTo>
                    <a:pt x="116684" y="194427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09" name="Forma Livre: Forma 408">
              <a:extLst>
                <a:ext uri="{FF2B5EF4-FFF2-40B4-BE49-F238E27FC236}">
                  <a16:creationId xmlns:a16="http://schemas.microsoft.com/office/drawing/2014/main" id="{000B1103-691F-4943-862D-98CDB7C07AD4}"/>
                </a:ext>
              </a:extLst>
            </p:cNvPr>
            <p:cNvSpPr/>
            <p:nvPr/>
          </p:nvSpPr>
          <p:spPr>
            <a:xfrm>
              <a:off x="4457346" y="3789041"/>
              <a:ext cx="91952" cy="149660"/>
            </a:xfrm>
            <a:custGeom>
              <a:avLst/>
              <a:gdLst>
                <a:gd name="connsiteX0" fmla="*/ 49464 w 91952"/>
                <a:gd name="connsiteY0" fmla="*/ 149660 h 149660"/>
                <a:gd name="connsiteX1" fmla="*/ 42488 w 91952"/>
                <a:gd name="connsiteY1" fmla="*/ 149660 h 149660"/>
                <a:gd name="connsiteX2" fmla="*/ 0 w 91952"/>
                <a:gd name="connsiteY2" fmla="*/ 100830 h 149660"/>
                <a:gd name="connsiteX3" fmla="*/ 0 w 91952"/>
                <a:gd name="connsiteY3" fmla="*/ 48830 h 149660"/>
                <a:gd name="connsiteX4" fmla="*/ 42488 w 91952"/>
                <a:gd name="connsiteY4" fmla="*/ 0 h 149660"/>
                <a:gd name="connsiteX5" fmla="*/ 49464 w 91952"/>
                <a:gd name="connsiteY5" fmla="*/ 0 h 149660"/>
                <a:gd name="connsiteX6" fmla="*/ 91952 w 91952"/>
                <a:gd name="connsiteY6" fmla="*/ 48830 h 149660"/>
                <a:gd name="connsiteX7" fmla="*/ 91952 w 91952"/>
                <a:gd name="connsiteY7" fmla="*/ 100830 h 149660"/>
                <a:gd name="connsiteX8" fmla="*/ 49464 w 91952"/>
                <a:gd name="connsiteY8" fmla="*/ 149660 h 149660"/>
                <a:gd name="connsiteX9" fmla="*/ 49464 w 91952"/>
                <a:gd name="connsiteY9" fmla="*/ 149660 h 149660"/>
                <a:gd name="connsiteX10" fmla="*/ 42488 w 91952"/>
                <a:gd name="connsiteY10" fmla="*/ 30439 h 149660"/>
                <a:gd name="connsiteX11" fmla="*/ 30439 w 91952"/>
                <a:gd name="connsiteY11" fmla="*/ 48830 h 149660"/>
                <a:gd name="connsiteX12" fmla="*/ 30439 w 91952"/>
                <a:gd name="connsiteY12" fmla="*/ 100830 h 149660"/>
                <a:gd name="connsiteX13" fmla="*/ 42488 w 91952"/>
                <a:gd name="connsiteY13" fmla="*/ 119221 h 149660"/>
                <a:gd name="connsiteX14" fmla="*/ 49464 w 91952"/>
                <a:gd name="connsiteY14" fmla="*/ 119221 h 149660"/>
                <a:gd name="connsiteX15" fmla="*/ 61513 w 91952"/>
                <a:gd name="connsiteY15" fmla="*/ 100830 h 149660"/>
                <a:gd name="connsiteX16" fmla="*/ 61513 w 91952"/>
                <a:gd name="connsiteY16" fmla="*/ 48830 h 149660"/>
                <a:gd name="connsiteX17" fmla="*/ 49464 w 91952"/>
                <a:gd name="connsiteY17" fmla="*/ 30439 h 149660"/>
                <a:gd name="connsiteX18" fmla="*/ 42488 w 91952"/>
                <a:gd name="connsiteY18" fmla="*/ 30439 h 149660"/>
                <a:gd name="connsiteX19" fmla="*/ 42488 w 91952"/>
                <a:gd name="connsiteY19" fmla="*/ 30439 h 149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1952" h="149660">
                  <a:moveTo>
                    <a:pt x="49464" y="149660"/>
                  </a:moveTo>
                  <a:lnTo>
                    <a:pt x="42488" y="149660"/>
                  </a:lnTo>
                  <a:cubicBezTo>
                    <a:pt x="19025" y="149660"/>
                    <a:pt x="0" y="127465"/>
                    <a:pt x="0" y="100830"/>
                  </a:cubicBezTo>
                  <a:lnTo>
                    <a:pt x="0" y="48830"/>
                  </a:lnTo>
                  <a:cubicBezTo>
                    <a:pt x="0" y="21561"/>
                    <a:pt x="19025" y="0"/>
                    <a:pt x="42488" y="0"/>
                  </a:cubicBezTo>
                  <a:lnTo>
                    <a:pt x="49464" y="0"/>
                  </a:lnTo>
                  <a:cubicBezTo>
                    <a:pt x="72927" y="0"/>
                    <a:pt x="91952" y="22195"/>
                    <a:pt x="91952" y="48830"/>
                  </a:cubicBezTo>
                  <a:lnTo>
                    <a:pt x="91952" y="100830"/>
                  </a:lnTo>
                  <a:cubicBezTo>
                    <a:pt x="91952" y="128099"/>
                    <a:pt x="72927" y="149660"/>
                    <a:pt x="49464" y="149660"/>
                  </a:cubicBezTo>
                  <a:lnTo>
                    <a:pt x="49464" y="149660"/>
                  </a:lnTo>
                  <a:close/>
                  <a:moveTo>
                    <a:pt x="42488" y="30439"/>
                  </a:moveTo>
                  <a:cubicBezTo>
                    <a:pt x="36781" y="30439"/>
                    <a:pt x="30439" y="38049"/>
                    <a:pt x="30439" y="48830"/>
                  </a:cubicBezTo>
                  <a:lnTo>
                    <a:pt x="30439" y="100830"/>
                  </a:lnTo>
                  <a:cubicBezTo>
                    <a:pt x="30439" y="111611"/>
                    <a:pt x="36781" y="119221"/>
                    <a:pt x="42488" y="119221"/>
                  </a:cubicBezTo>
                  <a:lnTo>
                    <a:pt x="49464" y="119221"/>
                  </a:lnTo>
                  <a:cubicBezTo>
                    <a:pt x="55171" y="119221"/>
                    <a:pt x="61513" y="111611"/>
                    <a:pt x="61513" y="100830"/>
                  </a:cubicBezTo>
                  <a:lnTo>
                    <a:pt x="61513" y="48830"/>
                  </a:lnTo>
                  <a:cubicBezTo>
                    <a:pt x="61513" y="38049"/>
                    <a:pt x="55171" y="30439"/>
                    <a:pt x="49464" y="30439"/>
                  </a:cubicBezTo>
                  <a:lnTo>
                    <a:pt x="42488" y="30439"/>
                  </a:lnTo>
                  <a:lnTo>
                    <a:pt x="42488" y="30439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10" name="Forma Livre: Forma 409">
              <a:extLst>
                <a:ext uri="{FF2B5EF4-FFF2-40B4-BE49-F238E27FC236}">
                  <a16:creationId xmlns:a16="http://schemas.microsoft.com/office/drawing/2014/main" id="{94EE84FC-A162-4AAC-AB64-1AB588CE2F08}"/>
                </a:ext>
              </a:extLst>
            </p:cNvPr>
            <p:cNvSpPr/>
            <p:nvPr/>
          </p:nvSpPr>
          <p:spPr>
            <a:xfrm>
              <a:off x="4493493" y="3906360"/>
              <a:ext cx="188602" cy="136343"/>
            </a:xfrm>
            <a:custGeom>
              <a:avLst/>
              <a:gdLst>
                <a:gd name="connsiteX0" fmla="*/ 172490 w 188602"/>
                <a:gd name="connsiteY0" fmla="*/ 136343 h 136343"/>
                <a:gd name="connsiteX1" fmla="*/ 157904 w 188602"/>
                <a:gd name="connsiteY1" fmla="*/ 128099 h 136343"/>
                <a:gd name="connsiteX2" fmla="*/ 103367 w 188602"/>
                <a:gd name="connsiteY2" fmla="*/ 34244 h 136343"/>
                <a:gd name="connsiteX3" fmla="*/ 17122 w 188602"/>
                <a:gd name="connsiteY3" fmla="*/ 34244 h 136343"/>
                <a:gd name="connsiteX4" fmla="*/ 0 w 188602"/>
                <a:gd name="connsiteY4" fmla="*/ 17122 h 136343"/>
                <a:gd name="connsiteX5" fmla="*/ 17122 w 188602"/>
                <a:gd name="connsiteY5" fmla="*/ 0 h 136343"/>
                <a:gd name="connsiteX6" fmla="*/ 112879 w 188602"/>
                <a:gd name="connsiteY6" fmla="*/ 0 h 136343"/>
                <a:gd name="connsiteX7" fmla="*/ 127465 w 188602"/>
                <a:gd name="connsiteY7" fmla="*/ 8244 h 136343"/>
                <a:gd name="connsiteX8" fmla="*/ 186441 w 188602"/>
                <a:gd name="connsiteY8" fmla="*/ 110343 h 136343"/>
                <a:gd name="connsiteX9" fmla="*/ 180100 w 188602"/>
                <a:gd name="connsiteY9" fmla="*/ 133172 h 136343"/>
                <a:gd name="connsiteX10" fmla="*/ 172490 w 188602"/>
                <a:gd name="connsiteY10" fmla="*/ 136343 h 136343"/>
                <a:gd name="connsiteX11" fmla="*/ 172490 w 188602"/>
                <a:gd name="connsiteY11" fmla="*/ 136343 h 136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8602" h="136343">
                  <a:moveTo>
                    <a:pt x="172490" y="136343"/>
                  </a:moveTo>
                  <a:cubicBezTo>
                    <a:pt x="166782" y="136343"/>
                    <a:pt x="161075" y="133172"/>
                    <a:pt x="157904" y="128099"/>
                  </a:cubicBezTo>
                  <a:lnTo>
                    <a:pt x="103367" y="34244"/>
                  </a:lnTo>
                  <a:lnTo>
                    <a:pt x="17122" y="34244"/>
                  </a:lnTo>
                  <a:cubicBezTo>
                    <a:pt x="7610" y="34244"/>
                    <a:pt x="0" y="26635"/>
                    <a:pt x="0" y="17122"/>
                  </a:cubicBezTo>
                  <a:cubicBezTo>
                    <a:pt x="0" y="7610"/>
                    <a:pt x="7610" y="0"/>
                    <a:pt x="17122" y="0"/>
                  </a:cubicBezTo>
                  <a:lnTo>
                    <a:pt x="112879" y="0"/>
                  </a:lnTo>
                  <a:cubicBezTo>
                    <a:pt x="118587" y="0"/>
                    <a:pt x="124294" y="3171"/>
                    <a:pt x="127465" y="8244"/>
                  </a:cubicBezTo>
                  <a:lnTo>
                    <a:pt x="186441" y="110343"/>
                  </a:lnTo>
                  <a:cubicBezTo>
                    <a:pt x="190880" y="118587"/>
                    <a:pt x="188344" y="128733"/>
                    <a:pt x="180100" y="133172"/>
                  </a:cubicBezTo>
                  <a:cubicBezTo>
                    <a:pt x="178197" y="135709"/>
                    <a:pt x="175027" y="136343"/>
                    <a:pt x="172490" y="136343"/>
                  </a:cubicBezTo>
                  <a:lnTo>
                    <a:pt x="172490" y="136343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11" name="Forma Livre: Forma 410">
              <a:extLst>
                <a:ext uri="{FF2B5EF4-FFF2-40B4-BE49-F238E27FC236}">
                  <a16:creationId xmlns:a16="http://schemas.microsoft.com/office/drawing/2014/main" id="{803CD89D-5EFC-419B-945F-23D401021615}"/>
                </a:ext>
              </a:extLst>
            </p:cNvPr>
            <p:cNvSpPr/>
            <p:nvPr/>
          </p:nvSpPr>
          <p:spPr>
            <a:xfrm>
              <a:off x="4494127" y="3858164"/>
              <a:ext cx="118586" cy="34244"/>
            </a:xfrm>
            <a:custGeom>
              <a:avLst/>
              <a:gdLst>
                <a:gd name="connsiteX0" fmla="*/ 101465 w 118586"/>
                <a:gd name="connsiteY0" fmla="*/ 34244 h 34244"/>
                <a:gd name="connsiteX1" fmla="*/ 17122 w 118586"/>
                <a:gd name="connsiteY1" fmla="*/ 34244 h 34244"/>
                <a:gd name="connsiteX2" fmla="*/ 0 w 118586"/>
                <a:gd name="connsiteY2" fmla="*/ 17122 h 34244"/>
                <a:gd name="connsiteX3" fmla="*/ 17122 w 118586"/>
                <a:gd name="connsiteY3" fmla="*/ 0 h 34244"/>
                <a:gd name="connsiteX4" fmla="*/ 101465 w 118586"/>
                <a:gd name="connsiteY4" fmla="*/ 0 h 34244"/>
                <a:gd name="connsiteX5" fmla="*/ 118586 w 118586"/>
                <a:gd name="connsiteY5" fmla="*/ 17122 h 34244"/>
                <a:gd name="connsiteX6" fmla="*/ 101465 w 118586"/>
                <a:gd name="connsiteY6" fmla="*/ 34244 h 34244"/>
                <a:gd name="connsiteX7" fmla="*/ 101465 w 118586"/>
                <a:gd name="connsiteY7" fmla="*/ 34244 h 34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586" h="34244">
                  <a:moveTo>
                    <a:pt x="101465" y="34244"/>
                  </a:moveTo>
                  <a:lnTo>
                    <a:pt x="17122" y="34244"/>
                  </a:lnTo>
                  <a:cubicBezTo>
                    <a:pt x="7610" y="34244"/>
                    <a:pt x="0" y="26635"/>
                    <a:pt x="0" y="17122"/>
                  </a:cubicBezTo>
                  <a:cubicBezTo>
                    <a:pt x="0" y="7610"/>
                    <a:pt x="7610" y="0"/>
                    <a:pt x="17122" y="0"/>
                  </a:cubicBezTo>
                  <a:lnTo>
                    <a:pt x="101465" y="0"/>
                  </a:lnTo>
                  <a:cubicBezTo>
                    <a:pt x="110977" y="0"/>
                    <a:pt x="118586" y="7610"/>
                    <a:pt x="118586" y="17122"/>
                  </a:cubicBezTo>
                  <a:cubicBezTo>
                    <a:pt x="118586" y="26635"/>
                    <a:pt x="110977" y="34244"/>
                    <a:pt x="101465" y="34244"/>
                  </a:cubicBezTo>
                  <a:lnTo>
                    <a:pt x="101465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412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5405509" y="3637316"/>
            <a:ext cx="342726" cy="393865"/>
            <a:chOff x="5397902" y="3672357"/>
            <a:chExt cx="346581" cy="398295"/>
          </a:xfrm>
          <a:solidFill>
            <a:srgbClr val="B1B1A1"/>
          </a:solidFill>
        </p:grpSpPr>
        <p:sp>
          <p:nvSpPr>
            <p:cNvPr id="413" name="Forma Livre: Forma 412">
              <a:extLst>
                <a:ext uri="{FF2B5EF4-FFF2-40B4-BE49-F238E27FC236}">
                  <a16:creationId xmlns:a16="http://schemas.microsoft.com/office/drawing/2014/main" id="{FDBCAAD9-BF9F-4DF2-8927-A8FA611CF0BA}"/>
                </a:ext>
              </a:extLst>
            </p:cNvPr>
            <p:cNvSpPr/>
            <p:nvPr/>
          </p:nvSpPr>
          <p:spPr>
            <a:xfrm>
              <a:off x="5505603" y="3672357"/>
              <a:ext cx="134440" cy="134440"/>
            </a:xfrm>
            <a:custGeom>
              <a:avLst/>
              <a:gdLst>
                <a:gd name="connsiteX0" fmla="*/ 67220 w 134440"/>
                <a:gd name="connsiteY0" fmla="*/ 134441 h 134440"/>
                <a:gd name="connsiteX1" fmla="*/ 0 w 134440"/>
                <a:gd name="connsiteY1" fmla="*/ 67220 h 134440"/>
                <a:gd name="connsiteX2" fmla="*/ 67220 w 134440"/>
                <a:gd name="connsiteY2" fmla="*/ 0 h 134440"/>
                <a:gd name="connsiteX3" fmla="*/ 134440 w 134440"/>
                <a:gd name="connsiteY3" fmla="*/ 67220 h 134440"/>
                <a:gd name="connsiteX4" fmla="*/ 67220 w 134440"/>
                <a:gd name="connsiteY4" fmla="*/ 134441 h 134440"/>
                <a:gd name="connsiteX5" fmla="*/ 67220 w 134440"/>
                <a:gd name="connsiteY5" fmla="*/ 134441 h 134440"/>
                <a:gd name="connsiteX6" fmla="*/ 67220 w 134440"/>
                <a:gd name="connsiteY6" fmla="*/ 33610 h 134440"/>
                <a:gd name="connsiteX7" fmla="*/ 33610 w 134440"/>
                <a:gd name="connsiteY7" fmla="*/ 67220 h 134440"/>
                <a:gd name="connsiteX8" fmla="*/ 67220 w 134440"/>
                <a:gd name="connsiteY8" fmla="*/ 100831 h 134440"/>
                <a:gd name="connsiteX9" fmla="*/ 100830 w 134440"/>
                <a:gd name="connsiteY9" fmla="*/ 67220 h 134440"/>
                <a:gd name="connsiteX10" fmla="*/ 67220 w 134440"/>
                <a:gd name="connsiteY10" fmla="*/ 33610 h 134440"/>
                <a:gd name="connsiteX11" fmla="*/ 67220 w 134440"/>
                <a:gd name="connsiteY11" fmla="*/ 33610 h 134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4440" h="134440">
                  <a:moveTo>
                    <a:pt x="67220" y="134441"/>
                  </a:moveTo>
                  <a:cubicBezTo>
                    <a:pt x="29805" y="134441"/>
                    <a:pt x="0" y="104001"/>
                    <a:pt x="0" y="67220"/>
                  </a:cubicBezTo>
                  <a:cubicBezTo>
                    <a:pt x="0" y="29805"/>
                    <a:pt x="30439" y="0"/>
                    <a:pt x="67220" y="0"/>
                  </a:cubicBezTo>
                  <a:cubicBezTo>
                    <a:pt x="104635" y="0"/>
                    <a:pt x="134440" y="30439"/>
                    <a:pt x="134440" y="67220"/>
                  </a:cubicBezTo>
                  <a:cubicBezTo>
                    <a:pt x="134440" y="104635"/>
                    <a:pt x="104635" y="134441"/>
                    <a:pt x="67220" y="134441"/>
                  </a:cubicBezTo>
                  <a:lnTo>
                    <a:pt x="67220" y="134441"/>
                  </a:lnTo>
                  <a:close/>
                  <a:moveTo>
                    <a:pt x="67220" y="33610"/>
                  </a:moveTo>
                  <a:cubicBezTo>
                    <a:pt x="48830" y="33610"/>
                    <a:pt x="33610" y="48830"/>
                    <a:pt x="33610" y="67220"/>
                  </a:cubicBezTo>
                  <a:cubicBezTo>
                    <a:pt x="33610" y="85611"/>
                    <a:pt x="48830" y="100831"/>
                    <a:pt x="67220" y="100831"/>
                  </a:cubicBezTo>
                  <a:cubicBezTo>
                    <a:pt x="85611" y="100831"/>
                    <a:pt x="100830" y="85611"/>
                    <a:pt x="100830" y="67220"/>
                  </a:cubicBezTo>
                  <a:cubicBezTo>
                    <a:pt x="100830" y="48830"/>
                    <a:pt x="86245" y="33610"/>
                    <a:pt x="67220" y="33610"/>
                  </a:cubicBezTo>
                  <a:lnTo>
                    <a:pt x="67220" y="33610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14" name="Forma Livre: Forma 413">
              <a:extLst>
                <a:ext uri="{FF2B5EF4-FFF2-40B4-BE49-F238E27FC236}">
                  <a16:creationId xmlns:a16="http://schemas.microsoft.com/office/drawing/2014/main" id="{FC4D1A0B-DFE1-454C-B731-7EEC749CD5E2}"/>
                </a:ext>
              </a:extLst>
            </p:cNvPr>
            <p:cNvSpPr/>
            <p:nvPr/>
          </p:nvSpPr>
          <p:spPr>
            <a:xfrm>
              <a:off x="5397902" y="3719480"/>
              <a:ext cx="346581" cy="351172"/>
            </a:xfrm>
            <a:custGeom>
              <a:avLst/>
              <a:gdLst>
                <a:gd name="connsiteX0" fmla="*/ 266873 w 346581"/>
                <a:gd name="connsiteY0" fmla="*/ 350492 h 351172"/>
                <a:gd name="connsiteX1" fmla="*/ 220580 w 346581"/>
                <a:gd name="connsiteY1" fmla="*/ 311174 h 351172"/>
                <a:gd name="connsiteX2" fmla="*/ 207897 w 346581"/>
                <a:gd name="connsiteY2" fmla="*/ 275027 h 351172"/>
                <a:gd name="connsiteX3" fmla="*/ 213604 w 346581"/>
                <a:gd name="connsiteY3" fmla="*/ 252198 h 351172"/>
                <a:gd name="connsiteX4" fmla="*/ 236434 w 346581"/>
                <a:gd name="connsiteY4" fmla="*/ 257905 h 351172"/>
                <a:gd name="connsiteX5" fmla="*/ 253556 w 346581"/>
                <a:gd name="connsiteY5" fmla="*/ 306101 h 351172"/>
                <a:gd name="connsiteX6" fmla="*/ 269410 w 346581"/>
                <a:gd name="connsiteY6" fmla="*/ 317515 h 351172"/>
                <a:gd name="connsiteX7" fmla="*/ 280190 w 346581"/>
                <a:gd name="connsiteY7" fmla="*/ 302296 h 351172"/>
                <a:gd name="connsiteX8" fmla="*/ 223751 w 346581"/>
                <a:gd name="connsiteY8" fmla="*/ 205905 h 351172"/>
                <a:gd name="connsiteX9" fmla="*/ 216141 w 346581"/>
                <a:gd name="connsiteY9" fmla="*/ 191953 h 351172"/>
                <a:gd name="connsiteX10" fmla="*/ 216141 w 346581"/>
                <a:gd name="connsiteY10" fmla="*/ 168489 h 351172"/>
                <a:gd name="connsiteX11" fmla="*/ 226922 w 346581"/>
                <a:gd name="connsiteY11" fmla="*/ 152635 h 351172"/>
                <a:gd name="connsiteX12" fmla="*/ 313801 w 346581"/>
                <a:gd name="connsiteY12" fmla="*/ 51171 h 351172"/>
                <a:gd name="connsiteX13" fmla="*/ 311898 w 346581"/>
                <a:gd name="connsiteY13" fmla="*/ 41025 h 351172"/>
                <a:gd name="connsiteX14" fmla="*/ 303654 w 346581"/>
                <a:gd name="connsiteY14" fmla="*/ 35317 h 351172"/>
                <a:gd name="connsiteX15" fmla="*/ 293508 w 346581"/>
                <a:gd name="connsiteY15" fmla="*/ 37220 h 351172"/>
                <a:gd name="connsiteX16" fmla="*/ 287800 w 346581"/>
                <a:gd name="connsiteY16" fmla="*/ 45464 h 351172"/>
                <a:gd name="connsiteX17" fmla="*/ 174921 w 346581"/>
                <a:gd name="connsiteY17" fmla="*/ 135513 h 351172"/>
                <a:gd name="connsiteX18" fmla="*/ 62042 w 346581"/>
                <a:gd name="connsiteY18" fmla="*/ 45464 h 351172"/>
                <a:gd name="connsiteX19" fmla="*/ 55700 w 346581"/>
                <a:gd name="connsiteY19" fmla="*/ 37220 h 351172"/>
                <a:gd name="connsiteX20" fmla="*/ 45553 w 346581"/>
                <a:gd name="connsiteY20" fmla="*/ 35317 h 351172"/>
                <a:gd name="connsiteX21" fmla="*/ 35407 w 346581"/>
                <a:gd name="connsiteY21" fmla="*/ 51171 h 351172"/>
                <a:gd name="connsiteX22" fmla="*/ 122286 w 346581"/>
                <a:gd name="connsiteY22" fmla="*/ 152635 h 351172"/>
                <a:gd name="connsiteX23" fmla="*/ 133067 w 346581"/>
                <a:gd name="connsiteY23" fmla="*/ 168489 h 351172"/>
                <a:gd name="connsiteX24" fmla="*/ 133067 w 346581"/>
                <a:gd name="connsiteY24" fmla="*/ 191953 h 351172"/>
                <a:gd name="connsiteX25" fmla="*/ 125457 w 346581"/>
                <a:gd name="connsiteY25" fmla="*/ 205905 h 351172"/>
                <a:gd name="connsiteX26" fmla="*/ 69017 w 346581"/>
                <a:gd name="connsiteY26" fmla="*/ 302296 h 351172"/>
                <a:gd name="connsiteX27" fmla="*/ 80432 w 346581"/>
                <a:gd name="connsiteY27" fmla="*/ 317515 h 351172"/>
                <a:gd name="connsiteX28" fmla="*/ 95652 w 346581"/>
                <a:gd name="connsiteY28" fmla="*/ 306101 h 351172"/>
                <a:gd name="connsiteX29" fmla="*/ 111506 w 346581"/>
                <a:gd name="connsiteY29" fmla="*/ 260442 h 351172"/>
                <a:gd name="connsiteX30" fmla="*/ 134335 w 346581"/>
                <a:gd name="connsiteY30" fmla="*/ 254100 h 351172"/>
                <a:gd name="connsiteX31" fmla="*/ 140676 w 346581"/>
                <a:gd name="connsiteY31" fmla="*/ 276930 h 351172"/>
                <a:gd name="connsiteX32" fmla="*/ 128628 w 346581"/>
                <a:gd name="connsiteY32" fmla="*/ 311808 h 351172"/>
                <a:gd name="connsiteX33" fmla="*/ 74090 w 346581"/>
                <a:gd name="connsiteY33" fmla="*/ 350492 h 351172"/>
                <a:gd name="connsiteX34" fmla="*/ 34773 w 346581"/>
                <a:gd name="connsiteY34" fmla="*/ 295954 h 351172"/>
                <a:gd name="connsiteX35" fmla="*/ 98188 w 346581"/>
                <a:gd name="connsiteY35" fmla="*/ 182441 h 351172"/>
                <a:gd name="connsiteX36" fmla="*/ 98188 w 346581"/>
                <a:gd name="connsiteY36" fmla="*/ 178636 h 351172"/>
                <a:gd name="connsiteX37" fmla="*/ 1163 w 346581"/>
                <a:gd name="connsiteY37" fmla="*/ 57512 h 351172"/>
                <a:gd name="connsiteX38" fmla="*/ 36675 w 346581"/>
                <a:gd name="connsiteY38" fmla="*/ 1073 h 351172"/>
                <a:gd name="connsiteX39" fmla="*/ 72188 w 346581"/>
                <a:gd name="connsiteY39" fmla="*/ 7414 h 351172"/>
                <a:gd name="connsiteX40" fmla="*/ 93115 w 346581"/>
                <a:gd name="connsiteY40" fmla="*/ 37220 h 351172"/>
                <a:gd name="connsiteX41" fmla="*/ 173018 w 346581"/>
                <a:gd name="connsiteY41" fmla="*/ 100635 h 351172"/>
                <a:gd name="connsiteX42" fmla="*/ 252922 w 346581"/>
                <a:gd name="connsiteY42" fmla="*/ 37220 h 351172"/>
                <a:gd name="connsiteX43" fmla="*/ 273849 w 346581"/>
                <a:gd name="connsiteY43" fmla="*/ 7414 h 351172"/>
                <a:gd name="connsiteX44" fmla="*/ 309362 w 346581"/>
                <a:gd name="connsiteY44" fmla="*/ 1073 h 351172"/>
                <a:gd name="connsiteX45" fmla="*/ 339167 w 346581"/>
                <a:gd name="connsiteY45" fmla="*/ 22000 h 351172"/>
                <a:gd name="connsiteX46" fmla="*/ 345508 w 346581"/>
                <a:gd name="connsiteY46" fmla="*/ 57512 h 351172"/>
                <a:gd name="connsiteX47" fmla="*/ 248483 w 346581"/>
                <a:gd name="connsiteY47" fmla="*/ 178002 h 351172"/>
                <a:gd name="connsiteX48" fmla="*/ 248483 w 346581"/>
                <a:gd name="connsiteY48" fmla="*/ 181807 h 351172"/>
                <a:gd name="connsiteX49" fmla="*/ 311898 w 346581"/>
                <a:gd name="connsiteY49" fmla="*/ 295320 h 351172"/>
                <a:gd name="connsiteX50" fmla="*/ 273215 w 346581"/>
                <a:gd name="connsiteY50" fmla="*/ 349858 h 351172"/>
                <a:gd name="connsiteX51" fmla="*/ 266873 w 346581"/>
                <a:gd name="connsiteY51" fmla="*/ 350492 h 351172"/>
                <a:gd name="connsiteX52" fmla="*/ 266873 w 346581"/>
                <a:gd name="connsiteY52" fmla="*/ 350492 h 351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346581" h="351172">
                  <a:moveTo>
                    <a:pt x="266873" y="350492"/>
                  </a:moveTo>
                  <a:cubicBezTo>
                    <a:pt x="243409" y="350492"/>
                    <a:pt x="223751" y="334004"/>
                    <a:pt x="220580" y="311174"/>
                  </a:cubicBezTo>
                  <a:cubicBezTo>
                    <a:pt x="218678" y="297857"/>
                    <a:pt x="214238" y="285174"/>
                    <a:pt x="207897" y="275027"/>
                  </a:cubicBezTo>
                  <a:cubicBezTo>
                    <a:pt x="203458" y="266783"/>
                    <a:pt x="205995" y="256637"/>
                    <a:pt x="213604" y="252198"/>
                  </a:cubicBezTo>
                  <a:cubicBezTo>
                    <a:pt x="221848" y="247759"/>
                    <a:pt x="231995" y="250295"/>
                    <a:pt x="236434" y="257905"/>
                  </a:cubicBezTo>
                  <a:cubicBezTo>
                    <a:pt x="244678" y="271856"/>
                    <a:pt x="250385" y="288345"/>
                    <a:pt x="253556" y="306101"/>
                  </a:cubicBezTo>
                  <a:cubicBezTo>
                    <a:pt x="254824" y="313711"/>
                    <a:pt x="261800" y="318150"/>
                    <a:pt x="269410" y="317515"/>
                  </a:cubicBezTo>
                  <a:cubicBezTo>
                    <a:pt x="276385" y="316247"/>
                    <a:pt x="281459" y="309272"/>
                    <a:pt x="280190" y="302296"/>
                  </a:cubicBezTo>
                  <a:cubicBezTo>
                    <a:pt x="273215" y="260442"/>
                    <a:pt x="252922" y="224929"/>
                    <a:pt x="223751" y="205905"/>
                  </a:cubicBezTo>
                  <a:cubicBezTo>
                    <a:pt x="219312" y="202734"/>
                    <a:pt x="216141" y="197661"/>
                    <a:pt x="216141" y="191953"/>
                  </a:cubicBezTo>
                  <a:lnTo>
                    <a:pt x="216141" y="168489"/>
                  </a:lnTo>
                  <a:cubicBezTo>
                    <a:pt x="216141" y="161514"/>
                    <a:pt x="220580" y="155172"/>
                    <a:pt x="226922" y="152635"/>
                  </a:cubicBezTo>
                  <a:cubicBezTo>
                    <a:pt x="271312" y="135513"/>
                    <a:pt x="303654" y="97464"/>
                    <a:pt x="313801" y="51171"/>
                  </a:cubicBezTo>
                  <a:cubicBezTo>
                    <a:pt x="314435" y="47366"/>
                    <a:pt x="313801" y="44195"/>
                    <a:pt x="311898" y="41025"/>
                  </a:cubicBezTo>
                  <a:cubicBezTo>
                    <a:pt x="309996" y="37854"/>
                    <a:pt x="306825" y="35951"/>
                    <a:pt x="303654" y="35317"/>
                  </a:cubicBezTo>
                  <a:cubicBezTo>
                    <a:pt x="299849" y="34683"/>
                    <a:pt x="296678" y="35317"/>
                    <a:pt x="293508" y="37220"/>
                  </a:cubicBezTo>
                  <a:cubicBezTo>
                    <a:pt x="290337" y="39122"/>
                    <a:pt x="288435" y="42293"/>
                    <a:pt x="287800" y="45464"/>
                  </a:cubicBezTo>
                  <a:cubicBezTo>
                    <a:pt x="275751" y="98732"/>
                    <a:pt x="229458" y="135513"/>
                    <a:pt x="174921" y="135513"/>
                  </a:cubicBezTo>
                  <a:cubicBezTo>
                    <a:pt x="120384" y="135513"/>
                    <a:pt x="74090" y="98732"/>
                    <a:pt x="62042" y="45464"/>
                  </a:cubicBezTo>
                  <a:cubicBezTo>
                    <a:pt x="61407" y="41659"/>
                    <a:pt x="58871" y="39122"/>
                    <a:pt x="55700" y="37220"/>
                  </a:cubicBezTo>
                  <a:cubicBezTo>
                    <a:pt x="52529" y="35317"/>
                    <a:pt x="49359" y="34683"/>
                    <a:pt x="45553" y="35317"/>
                  </a:cubicBezTo>
                  <a:cubicBezTo>
                    <a:pt x="37944" y="37220"/>
                    <a:pt x="33505" y="44195"/>
                    <a:pt x="35407" y="51171"/>
                  </a:cubicBezTo>
                  <a:cubicBezTo>
                    <a:pt x="46188" y="97464"/>
                    <a:pt x="78529" y="135513"/>
                    <a:pt x="122286" y="152635"/>
                  </a:cubicBezTo>
                  <a:cubicBezTo>
                    <a:pt x="128628" y="155172"/>
                    <a:pt x="133067" y="161514"/>
                    <a:pt x="133067" y="168489"/>
                  </a:cubicBezTo>
                  <a:lnTo>
                    <a:pt x="133067" y="191953"/>
                  </a:lnTo>
                  <a:cubicBezTo>
                    <a:pt x="133067" y="197661"/>
                    <a:pt x="130530" y="202734"/>
                    <a:pt x="125457" y="205905"/>
                  </a:cubicBezTo>
                  <a:cubicBezTo>
                    <a:pt x="96286" y="224929"/>
                    <a:pt x="75993" y="260442"/>
                    <a:pt x="69017" y="302296"/>
                  </a:cubicBezTo>
                  <a:cubicBezTo>
                    <a:pt x="67749" y="309906"/>
                    <a:pt x="72822" y="316881"/>
                    <a:pt x="80432" y="317515"/>
                  </a:cubicBezTo>
                  <a:cubicBezTo>
                    <a:pt x="88042" y="318784"/>
                    <a:pt x="95018" y="313711"/>
                    <a:pt x="95652" y="306101"/>
                  </a:cubicBezTo>
                  <a:cubicBezTo>
                    <a:pt x="98188" y="289613"/>
                    <a:pt x="103896" y="273759"/>
                    <a:pt x="111506" y="260442"/>
                  </a:cubicBezTo>
                  <a:cubicBezTo>
                    <a:pt x="115945" y="252198"/>
                    <a:pt x="126091" y="249661"/>
                    <a:pt x="134335" y="254100"/>
                  </a:cubicBezTo>
                  <a:cubicBezTo>
                    <a:pt x="142579" y="258539"/>
                    <a:pt x="145116" y="268686"/>
                    <a:pt x="140676" y="276930"/>
                  </a:cubicBezTo>
                  <a:cubicBezTo>
                    <a:pt x="134969" y="287076"/>
                    <a:pt x="131164" y="299125"/>
                    <a:pt x="128628" y="311808"/>
                  </a:cubicBezTo>
                  <a:cubicBezTo>
                    <a:pt x="124189" y="337174"/>
                    <a:pt x="100091" y="354931"/>
                    <a:pt x="74090" y="350492"/>
                  </a:cubicBezTo>
                  <a:cubicBezTo>
                    <a:pt x="48090" y="346052"/>
                    <a:pt x="30968" y="321955"/>
                    <a:pt x="34773" y="295954"/>
                  </a:cubicBezTo>
                  <a:cubicBezTo>
                    <a:pt x="42383" y="248393"/>
                    <a:pt x="65846" y="207173"/>
                    <a:pt x="98188" y="182441"/>
                  </a:cubicBezTo>
                  <a:lnTo>
                    <a:pt x="98188" y="178636"/>
                  </a:lnTo>
                  <a:cubicBezTo>
                    <a:pt x="49359" y="155806"/>
                    <a:pt x="13212" y="111415"/>
                    <a:pt x="1163" y="57512"/>
                  </a:cubicBezTo>
                  <a:cubicBezTo>
                    <a:pt x="-4545" y="32146"/>
                    <a:pt x="11309" y="6780"/>
                    <a:pt x="36675" y="1073"/>
                  </a:cubicBezTo>
                  <a:cubicBezTo>
                    <a:pt x="48724" y="-1464"/>
                    <a:pt x="61407" y="439"/>
                    <a:pt x="72188" y="7414"/>
                  </a:cubicBezTo>
                  <a:cubicBezTo>
                    <a:pt x="82969" y="14390"/>
                    <a:pt x="90579" y="24537"/>
                    <a:pt x="93115" y="37220"/>
                  </a:cubicBezTo>
                  <a:cubicBezTo>
                    <a:pt x="101359" y="74635"/>
                    <a:pt x="134335" y="100635"/>
                    <a:pt x="173018" y="100635"/>
                  </a:cubicBezTo>
                  <a:cubicBezTo>
                    <a:pt x="211702" y="100635"/>
                    <a:pt x="244044" y="74635"/>
                    <a:pt x="252922" y="37220"/>
                  </a:cubicBezTo>
                  <a:cubicBezTo>
                    <a:pt x="255458" y="25171"/>
                    <a:pt x="263068" y="14390"/>
                    <a:pt x="273849" y="7414"/>
                  </a:cubicBezTo>
                  <a:cubicBezTo>
                    <a:pt x="284629" y="439"/>
                    <a:pt x="297312" y="-1464"/>
                    <a:pt x="309362" y="1073"/>
                  </a:cubicBezTo>
                  <a:cubicBezTo>
                    <a:pt x="321410" y="3609"/>
                    <a:pt x="332191" y="11219"/>
                    <a:pt x="339167" y="22000"/>
                  </a:cubicBezTo>
                  <a:cubicBezTo>
                    <a:pt x="346142" y="32780"/>
                    <a:pt x="348045" y="45464"/>
                    <a:pt x="345508" y="57512"/>
                  </a:cubicBezTo>
                  <a:cubicBezTo>
                    <a:pt x="333459" y="110781"/>
                    <a:pt x="297312" y="155172"/>
                    <a:pt x="248483" y="178002"/>
                  </a:cubicBezTo>
                  <a:lnTo>
                    <a:pt x="248483" y="181807"/>
                  </a:lnTo>
                  <a:cubicBezTo>
                    <a:pt x="281459" y="207173"/>
                    <a:pt x="304288" y="247759"/>
                    <a:pt x="311898" y="295320"/>
                  </a:cubicBezTo>
                  <a:cubicBezTo>
                    <a:pt x="316337" y="321321"/>
                    <a:pt x="298581" y="345418"/>
                    <a:pt x="273215" y="349858"/>
                  </a:cubicBezTo>
                  <a:cubicBezTo>
                    <a:pt x="271946" y="350492"/>
                    <a:pt x="269410" y="350492"/>
                    <a:pt x="266873" y="350492"/>
                  </a:cubicBezTo>
                  <a:lnTo>
                    <a:pt x="266873" y="350492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15" name="Forma Livre: Forma 414">
              <a:extLst>
                <a:ext uri="{FF2B5EF4-FFF2-40B4-BE49-F238E27FC236}">
                  <a16:creationId xmlns:a16="http://schemas.microsoft.com/office/drawing/2014/main" id="{5684FE61-AEDD-4171-A39A-E996979C76DF}"/>
                </a:ext>
              </a:extLst>
            </p:cNvPr>
            <p:cNvSpPr/>
            <p:nvPr/>
          </p:nvSpPr>
          <p:spPr>
            <a:xfrm>
              <a:off x="5497993" y="3891140"/>
              <a:ext cx="150294" cy="114147"/>
            </a:xfrm>
            <a:custGeom>
              <a:avLst/>
              <a:gdLst>
                <a:gd name="connsiteX0" fmla="*/ 102733 w 150294"/>
                <a:gd name="connsiteY0" fmla="*/ 114148 h 114147"/>
                <a:gd name="connsiteX1" fmla="*/ 47562 w 150294"/>
                <a:gd name="connsiteY1" fmla="*/ 114148 h 114147"/>
                <a:gd name="connsiteX2" fmla="*/ 0 w 150294"/>
                <a:gd name="connsiteY2" fmla="*/ 66586 h 114147"/>
                <a:gd name="connsiteX3" fmla="*/ 0 w 150294"/>
                <a:gd name="connsiteY3" fmla="*/ 17122 h 114147"/>
                <a:gd name="connsiteX4" fmla="*/ 17122 w 150294"/>
                <a:gd name="connsiteY4" fmla="*/ 0 h 114147"/>
                <a:gd name="connsiteX5" fmla="*/ 133172 w 150294"/>
                <a:gd name="connsiteY5" fmla="*/ 0 h 114147"/>
                <a:gd name="connsiteX6" fmla="*/ 150295 w 150294"/>
                <a:gd name="connsiteY6" fmla="*/ 17122 h 114147"/>
                <a:gd name="connsiteX7" fmla="*/ 150295 w 150294"/>
                <a:gd name="connsiteY7" fmla="*/ 66586 h 114147"/>
                <a:gd name="connsiteX8" fmla="*/ 102733 w 150294"/>
                <a:gd name="connsiteY8" fmla="*/ 114148 h 114147"/>
                <a:gd name="connsiteX9" fmla="*/ 102733 w 150294"/>
                <a:gd name="connsiteY9" fmla="*/ 114148 h 114147"/>
                <a:gd name="connsiteX10" fmla="*/ 34244 w 150294"/>
                <a:gd name="connsiteY10" fmla="*/ 34244 h 114147"/>
                <a:gd name="connsiteX11" fmla="*/ 34244 w 150294"/>
                <a:gd name="connsiteY11" fmla="*/ 66586 h 114147"/>
                <a:gd name="connsiteX12" fmla="*/ 47562 w 150294"/>
                <a:gd name="connsiteY12" fmla="*/ 79904 h 114147"/>
                <a:gd name="connsiteX13" fmla="*/ 102733 w 150294"/>
                <a:gd name="connsiteY13" fmla="*/ 79904 h 114147"/>
                <a:gd name="connsiteX14" fmla="*/ 116050 w 150294"/>
                <a:gd name="connsiteY14" fmla="*/ 66586 h 114147"/>
                <a:gd name="connsiteX15" fmla="*/ 116050 w 150294"/>
                <a:gd name="connsiteY15" fmla="*/ 34244 h 114147"/>
                <a:gd name="connsiteX16" fmla="*/ 34244 w 150294"/>
                <a:gd name="connsiteY16" fmla="*/ 34244 h 114147"/>
                <a:gd name="connsiteX17" fmla="*/ 34244 w 150294"/>
                <a:gd name="connsiteY17" fmla="*/ 34244 h 114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50294" h="114147">
                  <a:moveTo>
                    <a:pt x="102733" y="114148"/>
                  </a:moveTo>
                  <a:lnTo>
                    <a:pt x="47562" y="114148"/>
                  </a:lnTo>
                  <a:cubicBezTo>
                    <a:pt x="21561" y="114148"/>
                    <a:pt x="0" y="93221"/>
                    <a:pt x="0" y="66586"/>
                  </a:cubicBezTo>
                  <a:lnTo>
                    <a:pt x="0" y="17122"/>
                  </a:lnTo>
                  <a:cubicBezTo>
                    <a:pt x="0" y="7610"/>
                    <a:pt x="7610" y="0"/>
                    <a:pt x="17122" y="0"/>
                  </a:cubicBezTo>
                  <a:lnTo>
                    <a:pt x="133172" y="0"/>
                  </a:lnTo>
                  <a:cubicBezTo>
                    <a:pt x="142685" y="0"/>
                    <a:pt x="150295" y="7610"/>
                    <a:pt x="150295" y="17122"/>
                  </a:cubicBezTo>
                  <a:lnTo>
                    <a:pt x="150295" y="66586"/>
                  </a:lnTo>
                  <a:cubicBezTo>
                    <a:pt x="149660" y="93221"/>
                    <a:pt x="128733" y="114148"/>
                    <a:pt x="102733" y="114148"/>
                  </a:cubicBezTo>
                  <a:lnTo>
                    <a:pt x="102733" y="114148"/>
                  </a:lnTo>
                  <a:close/>
                  <a:moveTo>
                    <a:pt x="34244" y="34244"/>
                  </a:moveTo>
                  <a:lnTo>
                    <a:pt x="34244" y="66586"/>
                  </a:lnTo>
                  <a:cubicBezTo>
                    <a:pt x="34244" y="74196"/>
                    <a:pt x="40586" y="79904"/>
                    <a:pt x="47562" y="79904"/>
                  </a:cubicBezTo>
                  <a:lnTo>
                    <a:pt x="102733" y="79904"/>
                  </a:lnTo>
                  <a:cubicBezTo>
                    <a:pt x="110343" y="79904"/>
                    <a:pt x="116050" y="73562"/>
                    <a:pt x="116050" y="66586"/>
                  </a:cubicBezTo>
                  <a:lnTo>
                    <a:pt x="116050" y="34244"/>
                  </a:lnTo>
                  <a:lnTo>
                    <a:pt x="34244" y="34244"/>
                  </a:lnTo>
                  <a:lnTo>
                    <a:pt x="34244" y="34244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416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9470896" y="4660440"/>
            <a:ext cx="383158" cy="426732"/>
            <a:chOff x="9509014" y="4706988"/>
            <a:chExt cx="387468" cy="431532"/>
          </a:xfrm>
          <a:solidFill>
            <a:srgbClr val="B1B1A1"/>
          </a:solidFill>
        </p:grpSpPr>
        <p:grpSp>
          <p:nvGrpSpPr>
            <p:cNvPr id="417" name="Gráfico 2">
              <a:extLst>
                <a:ext uri="{FF2B5EF4-FFF2-40B4-BE49-F238E27FC236}">
                  <a16:creationId xmlns:a16="http://schemas.microsoft.com/office/drawing/2014/main" id="{DC80C217-93B8-4831-A8BE-0817F1F32ECF}"/>
                </a:ext>
              </a:extLst>
            </p:cNvPr>
            <p:cNvGrpSpPr/>
            <p:nvPr/>
          </p:nvGrpSpPr>
          <p:grpSpPr>
            <a:xfrm>
              <a:off x="9509014" y="4706988"/>
              <a:ext cx="387468" cy="431532"/>
              <a:chOff x="9509014" y="4706988"/>
              <a:chExt cx="387468" cy="431532"/>
            </a:xfrm>
            <a:grpFill/>
          </p:grpSpPr>
          <p:sp>
            <p:nvSpPr>
              <p:cNvPr id="418" name="Forma Livre: Forma 417">
                <a:extLst>
                  <a:ext uri="{FF2B5EF4-FFF2-40B4-BE49-F238E27FC236}">
                    <a16:creationId xmlns:a16="http://schemas.microsoft.com/office/drawing/2014/main" id="{6C4A5D66-E8BC-433B-ACCD-6D372D28038B}"/>
                  </a:ext>
                </a:extLst>
              </p:cNvPr>
              <p:cNvSpPr/>
              <p:nvPr/>
            </p:nvSpPr>
            <p:spPr>
              <a:xfrm>
                <a:off x="9509014" y="4706988"/>
                <a:ext cx="387468" cy="431532"/>
              </a:xfrm>
              <a:custGeom>
                <a:avLst/>
                <a:gdLst>
                  <a:gd name="connsiteX0" fmla="*/ 346883 w 387468"/>
                  <a:gd name="connsiteY0" fmla="*/ 431533 h 431532"/>
                  <a:gd name="connsiteX1" fmla="*/ 39952 w 387468"/>
                  <a:gd name="connsiteY1" fmla="*/ 431533 h 431532"/>
                  <a:gd name="connsiteX2" fmla="*/ 0 w 387468"/>
                  <a:gd name="connsiteY2" fmla="*/ 391581 h 431532"/>
                  <a:gd name="connsiteX3" fmla="*/ 0 w 387468"/>
                  <a:gd name="connsiteY3" fmla="*/ 167725 h 431532"/>
                  <a:gd name="connsiteX4" fmla="*/ 5708 w 387468"/>
                  <a:gd name="connsiteY4" fmla="*/ 155042 h 431532"/>
                  <a:gd name="connsiteX5" fmla="*/ 182637 w 387468"/>
                  <a:gd name="connsiteY5" fmla="*/ 4113 h 431532"/>
                  <a:gd name="connsiteX6" fmla="*/ 206735 w 387468"/>
                  <a:gd name="connsiteY6" fmla="*/ 6016 h 431532"/>
                  <a:gd name="connsiteX7" fmla="*/ 204832 w 387468"/>
                  <a:gd name="connsiteY7" fmla="*/ 30114 h 431532"/>
                  <a:gd name="connsiteX8" fmla="*/ 33610 w 387468"/>
                  <a:gd name="connsiteY8" fmla="*/ 175969 h 431532"/>
                  <a:gd name="connsiteX9" fmla="*/ 33610 w 387468"/>
                  <a:gd name="connsiteY9" fmla="*/ 391581 h 431532"/>
                  <a:gd name="connsiteX10" fmla="*/ 39952 w 387468"/>
                  <a:gd name="connsiteY10" fmla="*/ 397923 h 431532"/>
                  <a:gd name="connsiteX11" fmla="*/ 346883 w 387468"/>
                  <a:gd name="connsiteY11" fmla="*/ 397923 h 431532"/>
                  <a:gd name="connsiteX12" fmla="*/ 353224 w 387468"/>
                  <a:gd name="connsiteY12" fmla="*/ 391581 h 431532"/>
                  <a:gd name="connsiteX13" fmla="*/ 353224 w 387468"/>
                  <a:gd name="connsiteY13" fmla="*/ 167725 h 431532"/>
                  <a:gd name="connsiteX14" fmla="*/ 370346 w 387468"/>
                  <a:gd name="connsiteY14" fmla="*/ 150603 h 431532"/>
                  <a:gd name="connsiteX15" fmla="*/ 387469 w 387468"/>
                  <a:gd name="connsiteY15" fmla="*/ 167725 h 431532"/>
                  <a:gd name="connsiteX16" fmla="*/ 387469 w 387468"/>
                  <a:gd name="connsiteY16" fmla="*/ 391581 h 431532"/>
                  <a:gd name="connsiteX17" fmla="*/ 346883 w 387468"/>
                  <a:gd name="connsiteY17" fmla="*/ 431533 h 431532"/>
                  <a:gd name="connsiteX18" fmla="*/ 346883 w 387468"/>
                  <a:gd name="connsiteY18" fmla="*/ 431533 h 4315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87468" h="431532">
                    <a:moveTo>
                      <a:pt x="346883" y="431533"/>
                    </a:moveTo>
                    <a:lnTo>
                      <a:pt x="39952" y="431533"/>
                    </a:lnTo>
                    <a:cubicBezTo>
                      <a:pt x="17757" y="431533"/>
                      <a:pt x="0" y="413777"/>
                      <a:pt x="0" y="391581"/>
                    </a:cubicBezTo>
                    <a:lnTo>
                      <a:pt x="0" y="167725"/>
                    </a:lnTo>
                    <a:cubicBezTo>
                      <a:pt x="0" y="162651"/>
                      <a:pt x="1903" y="158213"/>
                      <a:pt x="5708" y="155042"/>
                    </a:cubicBezTo>
                    <a:lnTo>
                      <a:pt x="182637" y="4113"/>
                    </a:lnTo>
                    <a:cubicBezTo>
                      <a:pt x="189612" y="-2228"/>
                      <a:pt x="200393" y="-960"/>
                      <a:pt x="206735" y="6016"/>
                    </a:cubicBezTo>
                    <a:cubicBezTo>
                      <a:pt x="213076" y="12991"/>
                      <a:pt x="211807" y="23772"/>
                      <a:pt x="204832" y="30114"/>
                    </a:cubicBezTo>
                    <a:lnTo>
                      <a:pt x="33610" y="175969"/>
                    </a:lnTo>
                    <a:lnTo>
                      <a:pt x="33610" y="391581"/>
                    </a:lnTo>
                    <a:cubicBezTo>
                      <a:pt x="33610" y="394752"/>
                      <a:pt x="36147" y="397923"/>
                      <a:pt x="39952" y="397923"/>
                    </a:cubicBezTo>
                    <a:lnTo>
                      <a:pt x="346883" y="397923"/>
                    </a:lnTo>
                    <a:cubicBezTo>
                      <a:pt x="350053" y="397923"/>
                      <a:pt x="353224" y="395386"/>
                      <a:pt x="353224" y="391581"/>
                    </a:cubicBezTo>
                    <a:lnTo>
                      <a:pt x="353224" y="167725"/>
                    </a:lnTo>
                    <a:cubicBezTo>
                      <a:pt x="353224" y="158213"/>
                      <a:pt x="360834" y="150603"/>
                      <a:pt x="370346" y="150603"/>
                    </a:cubicBezTo>
                    <a:cubicBezTo>
                      <a:pt x="379858" y="150603"/>
                      <a:pt x="387469" y="158213"/>
                      <a:pt x="387469" y="167725"/>
                    </a:cubicBezTo>
                    <a:lnTo>
                      <a:pt x="387469" y="391581"/>
                    </a:lnTo>
                    <a:cubicBezTo>
                      <a:pt x="386834" y="413777"/>
                      <a:pt x="369078" y="431533"/>
                      <a:pt x="346883" y="431533"/>
                    </a:cubicBezTo>
                    <a:lnTo>
                      <a:pt x="346883" y="431533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19" name="Forma Livre: Forma 418">
                <a:extLst>
                  <a:ext uri="{FF2B5EF4-FFF2-40B4-BE49-F238E27FC236}">
                    <a16:creationId xmlns:a16="http://schemas.microsoft.com/office/drawing/2014/main" id="{A56C6F9A-B6B7-475C-AF33-E798045FB4E8}"/>
                  </a:ext>
                </a:extLst>
              </p:cNvPr>
              <p:cNvSpPr/>
              <p:nvPr/>
            </p:nvSpPr>
            <p:spPr>
              <a:xfrm>
                <a:off x="9519183" y="4942092"/>
                <a:ext cx="367650" cy="188185"/>
              </a:xfrm>
              <a:custGeom>
                <a:avLst/>
                <a:gdLst>
                  <a:gd name="connsiteX0" fmla="*/ 336714 w 367650"/>
                  <a:gd name="connsiteY0" fmla="*/ 188185 h 188185"/>
                  <a:gd name="connsiteX1" fmla="*/ 29784 w 367650"/>
                  <a:gd name="connsiteY1" fmla="*/ 188185 h 188185"/>
                  <a:gd name="connsiteX2" fmla="*/ 613 w 367650"/>
                  <a:gd name="connsiteY2" fmla="*/ 167892 h 188185"/>
                  <a:gd name="connsiteX3" fmla="*/ 3149 w 367650"/>
                  <a:gd name="connsiteY3" fmla="*/ 158380 h 188185"/>
                  <a:gd name="connsiteX4" fmla="*/ 178176 w 367650"/>
                  <a:gd name="connsiteY4" fmla="*/ 2378 h 188185"/>
                  <a:gd name="connsiteX5" fmla="*/ 189590 w 367650"/>
                  <a:gd name="connsiteY5" fmla="*/ 2378 h 188185"/>
                  <a:gd name="connsiteX6" fmla="*/ 364617 w 367650"/>
                  <a:gd name="connsiteY6" fmla="*/ 158380 h 188185"/>
                  <a:gd name="connsiteX7" fmla="*/ 367153 w 367650"/>
                  <a:gd name="connsiteY7" fmla="*/ 167892 h 188185"/>
                  <a:gd name="connsiteX8" fmla="*/ 336714 w 367650"/>
                  <a:gd name="connsiteY8" fmla="*/ 188185 h 188185"/>
                  <a:gd name="connsiteX9" fmla="*/ 336714 w 367650"/>
                  <a:gd name="connsiteY9" fmla="*/ 188185 h 188185"/>
                  <a:gd name="connsiteX10" fmla="*/ 19637 w 367650"/>
                  <a:gd name="connsiteY10" fmla="*/ 166624 h 188185"/>
                  <a:gd name="connsiteX11" fmla="*/ 30418 w 367650"/>
                  <a:gd name="connsiteY11" fmla="*/ 171063 h 188185"/>
                  <a:gd name="connsiteX12" fmla="*/ 337348 w 367650"/>
                  <a:gd name="connsiteY12" fmla="*/ 171063 h 188185"/>
                  <a:gd name="connsiteX13" fmla="*/ 348128 w 367650"/>
                  <a:gd name="connsiteY13" fmla="*/ 166624 h 188185"/>
                  <a:gd name="connsiteX14" fmla="*/ 183883 w 367650"/>
                  <a:gd name="connsiteY14" fmla="*/ 20134 h 188185"/>
                  <a:gd name="connsiteX15" fmla="*/ 19637 w 367650"/>
                  <a:gd name="connsiteY15" fmla="*/ 166624 h 188185"/>
                  <a:gd name="connsiteX16" fmla="*/ 19637 w 367650"/>
                  <a:gd name="connsiteY16" fmla="*/ 166624 h 1881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67650" h="188185">
                    <a:moveTo>
                      <a:pt x="336714" y="188185"/>
                    </a:moveTo>
                    <a:lnTo>
                      <a:pt x="29784" y="188185"/>
                    </a:lnTo>
                    <a:cubicBezTo>
                      <a:pt x="17100" y="188185"/>
                      <a:pt x="5051" y="179941"/>
                      <a:pt x="613" y="167892"/>
                    </a:cubicBezTo>
                    <a:cubicBezTo>
                      <a:pt x="-656" y="164721"/>
                      <a:pt x="-21" y="160917"/>
                      <a:pt x="3149" y="158380"/>
                    </a:cubicBezTo>
                    <a:lnTo>
                      <a:pt x="178176" y="2378"/>
                    </a:lnTo>
                    <a:cubicBezTo>
                      <a:pt x="181346" y="-793"/>
                      <a:pt x="186419" y="-793"/>
                      <a:pt x="189590" y="2378"/>
                    </a:cubicBezTo>
                    <a:lnTo>
                      <a:pt x="364617" y="158380"/>
                    </a:lnTo>
                    <a:cubicBezTo>
                      <a:pt x="367153" y="160917"/>
                      <a:pt x="368422" y="164087"/>
                      <a:pt x="367153" y="167892"/>
                    </a:cubicBezTo>
                    <a:cubicBezTo>
                      <a:pt x="361446" y="179941"/>
                      <a:pt x="350031" y="188185"/>
                      <a:pt x="336714" y="188185"/>
                    </a:cubicBezTo>
                    <a:lnTo>
                      <a:pt x="336714" y="188185"/>
                    </a:lnTo>
                    <a:close/>
                    <a:moveTo>
                      <a:pt x="19637" y="166624"/>
                    </a:moveTo>
                    <a:cubicBezTo>
                      <a:pt x="22174" y="169794"/>
                      <a:pt x="25979" y="171063"/>
                      <a:pt x="30418" y="171063"/>
                    </a:cubicBezTo>
                    <a:lnTo>
                      <a:pt x="337348" y="171063"/>
                    </a:lnTo>
                    <a:cubicBezTo>
                      <a:pt x="341787" y="171063"/>
                      <a:pt x="345592" y="169160"/>
                      <a:pt x="348128" y="166624"/>
                    </a:cubicBezTo>
                    <a:lnTo>
                      <a:pt x="183883" y="20134"/>
                    </a:lnTo>
                    <a:lnTo>
                      <a:pt x="19637" y="166624"/>
                    </a:lnTo>
                    <a:lnTo>
                      <a:pt x="19637" y="166624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20" name="Forma Livre: Forma 419">
                <a:extLst>
                  <a:ext uri="{FF2B5EF4-FFF2-40B4-BE49-F238E27FC236}">
                    <a16:creationId xmlns:a16="http://schemas.microsoft.com/office/drawing/2014/main" id="{0AD7C3AB-3BB7-4780-9F82-8DEE0E7D2C01}"/>
                  </a:ext>
                </a:extLst>
              </p:cNvPr>
              <p:cNvSpPr/>
              <p:nvPr/>
            </p:nvSpPr>
            <p:spPr>
              <a:xfrm>
                <a:off x="9747908" y="4881506"/>
                <a:ext cx="137975" cy="124476"/>
              </a:xfrm>
              <a:custGeom>
                <a:avLst/>
                <a:gdLst>
                  <a:gd name="connsiteX0" fmla="*/ 8426 w 137975"/>
                  <a:gd name="connsiteY0" fmla="*/ 124476 h 124476"/>
                  <a:gd name="connsiteX1" fmla="*/ 2084 w 137975"/>
                  <a:gd name="connsiteY1" fmla="*/ 121940 h 124476"/>
                  <a:gd name="connsiteX2" fmla="*/ 2719 w 137975"/>
                  <a:gd name="connsiteY2" fmla="*/ 109891 h 124476"/>
                  <a:gd name="connsiteX3" fmla="*/ 123842 w 137975"/>
                  <a:gd name="connsiteY3" fmla="*/ 2085 h 124476"/>
                  <a:gd name="connsiteX4" fmla="*/ 135891 w 137975"/>
                  <a:gd name="connsiteY4" fmla="*/ 2719 h 124476"/>
                  <a:gd name="connsiteX5" fmla="*/ 135257 w 137975"/>
                  <a:gd name="connsiteY5" fmla="*/ 14768 h 124476"/>
                  <a:gd name="connsiteX6" fmla="*/ 14133 w 137975"/>
                  <a:gd name="connsiteY6" fmla="*/ 122574 h 124476"/>
                  <a:gd name="connsiteX7" fmla="*/ 8426 w 137975"/>
                  <a:gd name="connsiteY7" fmla="*/ 124476 h 124476"/>
                  <a:gd name="connsiteX8" fmla="*/ 8426 w 137975"/>
                  <a:gd name="connsiteY8" fmla="*/ 124476 h 124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7975" h="124476">
                    <a:moveTo>
                      <a:pt x="8426" y="124476"/>
                    </a:moveTo>
                    <a:cubicBezTo>
                      <a:pt x="5890" y="124476"/>
                      <a:pt x="3987" y="123208"/>
                      <a:pt x="2084" y="121940"/>
                    </a:cubicBezTo>
                    <a:cubicBezTo>
                      <a:pt x="-1086" y="118769"/>
                      <a:pt x="-452" y="113061"/>
                      <a:pt x="2719" y="109891"/>
                    </a:cubicBezTo>
                    <a:lnTo>
                      <a:pt x="123842" y="2085"/>
                    </a:lnTo>
                    <a:cubicBezTo>
                      <a:pt x="127013" y="-1086"/>
                      <a:pt x="132721" y="-452"/>
                      <a:pt x="135891" y="2719"/>
                    </a:cubicBezTo>
                    <a:cubicBezTo>
                      <a:pt x="139062" y="5890"/>
                      <a:pt x="138427" y="11597"/>
                      <a:pt x="135257" y="14768"/>
                    </a:cubicBezTo>
                    <a:lnTo>
                      <a:pt x="14133" y="122574"/>
                    </a:lnTo>
                    <a:cubicBezTo>
                      <a:pt x="12865" y="123842"/>
                      <a:pt x="10329" y="124476"/>
                      <a:pt x="8426" y="124476"/>
                    </a:cubicBezTo>
                    <a:lnTo>
                      <a:pt x="8426" y="124476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21" name="Forma Livre: Forma 420">
                <a:extLst>
                  <a:ext uri="{FF2B5EF4-FFF2-40B4-BE49-F238E27FC236}">
                    <a16:creationId xmlns:a16="http://schemas.microsoft.com/office/drawing/2014/main" id="{F1B64C46-2732-4207-B693-7C7156DAD68E}"/>
                  </a:ext>
                </a:extLst>
              </p:cNvPr>
              <p:cNvSpPr/>
              <p:nvPr/>
            </p:nvSpPr>
            <p:spPr>
              <a:xfrm>
                <a:off x="9519613" y="4882140"/>
                <a:ext cx="138610" cy="125110"/>
              </a:xfrm>
              <a:custGeom>
                <a:avLst/>
                <a:gdLst>
                  <a:gd name="connsiteX0" fmla="*/ 130184 w 138610"/>
                  <a:gd name="connsiteY0" fmla="*/ 125110 h 125110"/>
                  <a:gd name="connsiteX1" fmla="*/ 124476 w 138610"/>
                  <a:gd name="connsiteY1" fmla="*/ 123208 h 125110"/>
                  <a:gd name="connsiteX2" fmla="*/ 2719 w 138610"/>
                  <a:gd name="connsiteY2" fmla="*/ 14768 h 125110"/>
                  <a:gd name="connsiteX3" fmla="*/ 2084 w 138610"/>
                  <a:gd name="connsiteY3" fmla="*/ 2719 h 125110"/>
                  <a:gd name="connsiteX4" fmla="*/ 14133 w 138610"/>
                  <a:gd name="connsiteY4" fmla="*/ 2085 h 125110"/>
                  <a:gd name="connsiteX5" fmla="*/ 135891 w 138610"/>
                  <a:gd name="connsiteY5" fmla="*/ 110525 h 125110"/>
                  <a:gd name="connsiteX6" fmla="*/ 136525 w 138610"/>
                  <a:gd name="connsiteY6" fmla="*/ 122574 h 125110"/>
                  <a:gd name="connsiteX7" fmla="*/ 130184 w 138610"/>
                  <a:gd name="connsiteY7" fmla="*/ 125110 h 125110"/>
                  <a:gd name="connsiteX8" fmla="*/ 130184 w 138610"/>
                  <a:gd name="connsiteY8" fmla="*/ 125110 h 1251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8610" h="125110">
                    <a:moveTo>
                      <a:pt x="130184" y="125110"/>
                    </a:moveTo>
                    <a:cubicBezTo>
                      <a:pt x="128281" y="125110"/>
                      <a:pt x="126379" y="124476"/>
                      <a:pt x="124476" y="123208"/>
                    </a:cubicBezTo>
                    <a:lnTo>
                      <a:pt x="2719" y="14768"/>
                    </a:lnTo>
                    <a:cubicBezTo>
                      <a:pt x="-452" y="11597"/>
                      <a:pt x="-1086" y="6523"/>
                      <a:pt x="2084" y="2719"/>
                    </a:cubicBezTo>
                    <a:cubicBezTo>
                      <a:pt x="5255" y="-452"/>
                      <a:pt x="10329" y="-1086"/>
                      <a:pt x="14133" y="2085"/>
                    </a:cubicBezTo>
                    <a:lnTo>
                      <a:pt x="135891" y="110525"/>
                    </a:lnTo>
                    <a:cubicBezTo>
                      <a:pt x="139062" y="113696"/>
                      <a:pt x="139696" y="118769"/>
                      <a:pt x="136525" y="122574"/>
                    </a:cubicBezTo>
                    <a:cubicBezTo>
                      <a:pt x="134623" y="123842"/>
                      <a:pt x="132721" y="125110"/>
                      <a:pt x="130184" y="125110"/>
                    </a:cubicBezTo>
                    <a:lnTo>
                      <a:pt x="130184" y="125110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grpSp>
            <p:nvGrpSpPr>
              <p:cNvPr id="422" name="Gráfico 2">
                <a:extLst>
                  <a:ext uri="{FF2B5EF4-FFF2-40B4-BE49-F238E27FC236}">
                    <a16:creationId xmlns:a16="http://schemas.microsoft.com/office/drawing/2014/main" id="{DC80C217-93B8-4831-A8BE-0817F1F32ECF}"/>
                  </a:ext>
                </a:extLst>
              </p:cNvPr>
              <p:cNvGrpSpPr/>
              <p:nvPr/>
            </p:nvGrpSpPr>
            <p:grpSpPr>
              <a:xfrm>
                <a:off x="9678968" y="4708564"/>
                <a:ext cx="209276" cy="209270"/>
                <a:chOff x="9678968" y="4708564"/>
                <a:chExt cx="209276" cy="209270"/>
              </a:xfrm>
              <a:grpFill/>
            </p:grpSpPr>
            <p:sp>
              <p:nvSpPr>
                <p:cNvPr id="423" name="Forma Livre: Forma 422">
                  <a:extLst>
                    <a:ext uri="{FF2B5EF4-FFF2-40B4-BE49-F238E27FC236}">
                      <a16:creationId xmlns:a16="http://schemas.microsoft.com/office/drawing/2014/main" id="{BDC146C4-57DD-459B-9724-E5B16B1DBECD}"/>
                    </a:ext>
                  </a:extLst>
                </p:cNvPr>
                <p:cNvSpPr/>
                <p:nvPr/>
              </p:nvSpPr>
              <p:spPr>
                <a:xfrm>
                  <a:off x="9678968" y="4708564"/>
                  <a:ext cx="209276" cy="209270"/>
                </a:xfrm>
                <a:custGeom>
                  <a:avLst/>
                  <a:gdLst>
                    <a:gd name="connsiteX0" fmla="*/ 104635 w 209276"/>
                    <a:gd name="connsiteY0" fmla="*/ 209271 h 209270"/>
                    <a:gd name="connsiteX1" fmla="*/ 0 w 209276"/>
                    <a:gd name="connsiteY1" fmla="*/ 104635 h 209270"/>
                    <a:gd name="connsiteX2" fmla="*/ 104635 w 209276"/>
                    <a:gd name="connsiteY2" fmla="*/ 0 h 209270"/>
                    <a:gd name="connsiteX3" fmla="*/ 209271 w 209276"/>
                    <a:gd name="connsiteY3" fmla="*/ 104635 h 209270"/>
                    <a:gd name="connsiteX4" fmla="*/ 104635 w 209276"/>
                    <a:gd name="connsiteY4" fmla="*/ 209271 h 209270"/>
                    <a:gd name="connsiteX5" fmla="*/ 104635 w 209276"/>
                    <a:gd name="connsiteY5" fmla="*/ 209271 h 209270"/>
                    <a:gd name="connsiteX6" fmla="*/ 104635 w 209276"/>
                    <a:gd name="connsiteY6" fmla="*/ 16488 h 209270"/>
                    <a:gd name="connsiteX7" fmla="*/ 16488 w 209276"/>
                    <a:gd name="connsiteY7" fmla="*/ 104635 h 209270"/>
                    <a:gd name="connsiteX8" fmla="*/ 104635 w 209276"/>
                    <a:gd name="connsiteY8" fmla="*/ 192783 h 209270"/>
                    <a:gd name="connsiteX9" fmla="*/ 192783 w 209276"/>
                    <a:gd name="connsiteY9" fmla="*/ 104635 h 209270"/>
                    <a:gd name="connsiteX10" fmla="*/ 104635 w 209276"/>
                    <a:gd name="connsiteY10" fmla="*/ 16488 h 209270"/>
                    <a:gd name="connsiteX11" fmla="*/ 104635 w 209276"/>
                    <a:gd name="connsiteY11" fmla="*/ 16488 h 2092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09276" h="209270">
                      <a:moveTo>
                        <a:pt x="104635" y="209271"/>
                      </a:moveTo>
                      <a:cubicBezTo>
                        <a:pt x="46928" y="209271"/>
                        <a:pt x="0" y="162343"/>
                        <a:pt x="0" y="104635"/>
                      </a:cubicBezTo>
                      <a:cubicBezTo>
                        <a:pt x="0" y="46927"/>
                        <a:pt x="46928" y="0"/>
                        <a:pt x="104635" y="0"/>
                      </a:cubicBezTo>
                      <a:cubicBezTo>
                        <a:pt x="162343" y="0"/>
                        <a:pt x="209271" y="46927"/>
                        <a:pt x="209271" y="104635"/>
                      </a:cubicBezTo>
                      <a:cubicBezTo>
                        <a:pt x="209905" y="162343"/>
                        <a:pt x="162343" y="209271"/>
                        <a:pt x="104635" y="209271"/>
                      </a:cubicBezTo>
                      <a:lnTo>
                        <a:pt x="104635" y="209271"/>
                      </a:lnTo>
                      <a:close/>
                      <a:moveTo>
                        <a:pt x="104635" y="16488"/>
                      </a:moveTo>
                      <a:cubicBezTo>
                        <a:pt x="56440" y="16488"/>
                        <a:pt x="16488" y="55805"/>
                        <a:pt x="16488" y="104635"/>
                      </a:cubicBezTo>
                      <a:cubicBezTo>
                        <a:pt x="16488" y="152831"/>
                        <a:pt x="55806" y="192783"/>
                        <a:pt x="104635" y="192783"/>
                      </a:cubicBezTo>
                      <a:cubicBezTo>
                        <a:pt x="153465" y="192783"/>
                        <a:pt x="192783" y="153465"/>
                        <a:pt x="192783" y="104635"/>
                      </a:cubicBezTo>
                      <a:cubicBezTo>
                        <a:pt x="192783" y="55805"/>
                        <a:pt x="153465" y="16488"/>
                        <a:pt x="104635" y="16488"/>
                      </a:cubicBezTo>
                      <a:lnTo>
                        <a:pt x="104635" y="16488"/>
                      </a:lnTo>
                      <a:close/>
                    </a:path>
                  </a:pathLst>
                </a:custGeom>
                <a:grpFill/>
                <a:ln w="633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424" name="Forma Livre: Forma 423">
                  <a:extLst>
                    <a:ext uri="{FF2B5EF4-FFF2-40B4-BE49-F238E27FC236}">
                      <a16:creationId xmlns:a16="http://schemas.microsoft.com/office/drawing/2014/main" id="{25CAEC9F-E3CB-465D-AEBB-C80BD911C8D0}"/>
                    </a:ext>
                  </a:extLst>
                </p:cNvPr>
                <p:cNvSpPr/>
                <p:nvPr/>
              </p:nvSpPr>
              <p:spPr>
                <a:xfrm>
                  <a:off x="9766481" y="4749150"/>
                  <a:ext cx="34243" cy="127465"/>
                </a:xfrm>
                <a:custGeom>
                  <a:avLst/>
                  <a:gdLst>
                    <a:gd name="connsiteX0" fmla="*/ 17122 w 34243"/>
                    <a:gd name="connsiteY0" fmla="*/ 127465 h 127465"/>
                    <a:gd name="connsiteX1" fmla="*/ 0 w 34243"/>
                    <a:gd name="connsiteY1" fmla="*/ 110343 h 127465"/>
                    <a:gd name="connsiteX2" fmla="*/ 0 w 34243"/>
                    <a:gd name="connsiteY2" fmla="*/ 17122 h 127465"/>
                    <a:gd name="connsiteX3" fmla="*/ 17122 w 34243"/>
                    <a:gd name="connsiteY3" fmla="*/ 0 h 127465"/>
                    <a:gd name="connsiteX4" fmla="*/ 34244 w 34243"/>
                    <a:gd name="connsiteY4" fmla="*/ 17122 h 127465"/>
                    <a:gd name="connsiteX5" fmla="*/ 34244 w 34243"/>
                    <a:gd name="connsiteY5" fmla="*/ 110343 h 127465"/>
                    <a:gd name="connsiteX6" fmla="*/ 17122 w 34243"/>
                    <a:gd name="connsiteY6" fmla="*/ 127465 h 127465"/>
                    <a:gd name="connsiteX7" fmla="*/ 17122 w 34243"/>
                    <a:gd name="connsiteY7" fmla="*/ 127465 h 1274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4243" h="127465">
                      <a:moveTo>
                        <a:pt x="17122" y="127465"/>
                      </a:moveTo>
                      <a:cubicBezTo>
                        <a:pt x="7610" y="127465"/>
                        <a:pt x="0" y="119855"/>
                        <a:pt x="0" y="110343"/>
                      </a:cubicBezTo>
                      <a:lnTo>
                        <a:pt x="0" y="17122"/>
                      </a:lnTo>
                      <a:cubicBezTo>
                        <a:pt x="0" y="7610"/>
                        <a:pt x="7610" y="0"/>
                        <a:pt x="17122" y="0"/>
                      </a:cubicBezTo>
                      <a:cubicBezTo>
                        <a:pt x="26634" y="0"/>
                        <a:pt x="34244" y="7610"/>
                        <a:pt x="34244" y="17122"/>
                      </a:cubicBezTo>
                      <a:lnTo>
                        <a:pt x="34244" y="110343"/>
                      </a:lnTo>
                      <a:cubicBezTo>
                        <a:pt x="34244" y="119855"/>
                        <a:pt x="26634" y="127465"/>
                        <a:pt x="17122" y="127465"/>
                      </a:cubicBezTo>
                      <a:lnTo>
                        <a:pt x="17122" y="127465"/>
                      </a:lnTo>
                      <a:close/>
                    </a:path>
                  </a:pathLst>
                </a:custGeom>
                <a:grpFill/>
                <a:ln w="633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425" name="Forma Livre: Forma 424">
                  <a:extLst>
                    <a:ext uri="{FF2B5EF4-FFF2-40B4-BE49-F238E27FC236}">
                      <a16:creationId xmlns:a16="http://schemas.microsoft.com/office/drawing/2014/main" id="{91E73686-AD8C-4CC8-8AD8-C7C6FB8A1EB8}"/>
                    </a:ext>
                  </a:extLst>
                </p:cNvPr>
                <p:cNvSpPr/>
                <p:nvPr/>
              </p:nvSpPr>
              <p:spPr>
                <a:xfrm>
                  <a:off x="9720188" y="4795443"/>
                  <a:ext cx="127464" cy="34244"/>
                </a:xfrm>
                <a:custGeom>
                  <a:avLst/>
                  <a:gdLst>
                    <a:gd name="connsiteX0" fmla="*/ 110343 w 127464"/>
                    <a:gd name="connsiteY0" fmla="*/ 34244 h 34244"/>
                    <a:gd name="connsiteX1" fmla="*/ 17122 w 127464"/>
                    <a:gd name="connsiteY1" fmla="*/ 34244 h 34244"/>
                    <a:gd name="connsiteX2" fmla="*/ 0 w 127464"/>
                    <a:gd name="connsiteY2" fmla="*/ 17122 h 34244"/>
                    <a:gd name="connsiteX3" fmla="*/ 17122 w 127464"/>
                    <a:gd name="connsiteY3" fmla="*/ 0 h 34244"/>
                    <a:gd name="connsiteX4" fmla="*/ 110343 w 127464"/>
                    <a:gd name="connsiteY4" fmla="*/ 0 h 34244"/>
                    <a:gd name="connsiteX5" fmla="*/ 127465 w 127464"/>
                    <a:gd name="connsiteY5" fmla="*/ 17122 h 34244"/>
                    <a:gd name="connsiteX6" fmla="*/ 110343 w 127464"/>
                    <a:gd name="connsiteY6" fmla="*/ 34244 h 34244"/>
                    <a:gd name="connsiteX7" fmla="*/ 110343 w 127464"/>
                    <a:gd name="connsiteY7" fmla="*/ 34244 h 342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27464" h="34244">
                      <a:moveTo>
                        <a:pt x="110343" y="34244"/>
                      </a:moveTo>
                      <a:lnTo>
                        <a:pt x="17122" y="34244"/>
                      </a:lnTo>
                      <a:cubicBezTo>
                        <a:pt x="7610" y="34244"/>
                        <a:pt x="0" y="26634"/>
                        <a:pt x="0" y="17122"/>
                      </a:cubicBezTo>
                      <a:cubicBezTo>
                        <a:pt x="0" y="7610"/>
                        <a:pt x="7610" y="0"/>
                        <a:pt x="17122" y="0"/>
                      </a:cubicBezTo>
                      <a:lnTo>
                        <a:pt x="110343" y="0"/>
                      </a:lnTo>
                      <a:cubicBezTo>
                        <a:pt x="119855" y="0"/>
                        <a:pt x="127465" y="7610"/>
                        <a:pt x="127465" y="17122"/>
                      </a:cubicBezTo>
                      <a:cubicBezTo>
                        <a:pt x="126831" y="26634"/>
                        <a:pt x="119855" y="34244"/>
                        <a:pt x="110343" y="34244"/>
                      </a:cubicBezTo>
                      <a:lnTo>
                        <a:pt x="110343" y="34244"/>
                      </a:lnTo>
                      <a:close/>
                    </a:path>
                  </a:pathLst>
                </a:custGeom>
                <a:grpFill/>
                <a:ln w="633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</p:grpSp>
        <p:sp>
          <p:nvSpPr>
            <p:cNvPr id="426" name="Forma Livre: Forma 425">
              <a:extLst>
                <a:ext uri="{FF2B5EF4-FFF2-40B4-BE49-F238E27FC236}">
                  <a16:creationId xmlns:a16="http://schemas.microsoft.com/office/drawing/2014/main" id="{DD3DBEDB-24D9-43CD-9DC0-E4CBF264B8BB}"/>
                </a:ext>
              </a:extLst>
            </p:cNvPr>
            <p:cNvSpPr/>
            <p:nvPr/>
          </p:nvSpPr>
          <p:spPr>
            <a:xfrm>
              <a:off x="9692919" y="4713638"/>
              <a:ext cx="41854" cy="45024"/>
            </a:xfrm>
            <a:custGeom>
              <a:avLst/>
              <a:gdLst>
                <a:gd name="connsiteX0" fmla="*/ 41855 w 41854"/>
                <a:gd name="connsiteY0" fmla="*/ 20927 h 45024"/>
                <a:gd name="connsiteX1" fmla="*/ 23464 w 41854"/>
                <a:gd name="connsiteY1" fmla="*/ 0 h 45024"/>
                <a:gd name="connsiteX2" fmla="*/ 0 w 41854"/>
                <a:gd name="connsiteY2" fmla="*/ 24098 h 45024"/>
                <a:gd name="connsiteX3" fmla="*/ 18391 w 41854"/>
                <a:gd name="connsiteY3" fmla="*/ 45025 h 45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854" h="45024">
                  <a:moveTo>
                    <a:pt x="41855" y="20927"/>
                  </a:moveTo>
                  <a:lnTo>
                    <a:pt x="23464" y="0"/>
                  </a:lnTo>
                  <a:lnTo>
                    <a:pt x="0" y="24098"/>
                  </a:lnTo>
                  <a:lnTo>
                    <a:pt x="18391" y="45025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27" name="Forma Livre: Forma 426">
              <a:extLst>
                <a:ext uri="{FF2B5EF4-FFF2-40B4-BE49-F238E27FC236}">
                  <a16:creationId xmlns:a16="http://schemas.microsoft.com/office/drawing/2014/main" id="{B07DD469-2E23-4D80-B458-4DF450D37D68}"/>
                </a:ext>
              </a:extLst>
            </p:cNvPr>
            <p:cNvSpPr/>
            <p:nvPr/>
          </p:nvSpPr>
          <p:spPr>
            <a:xfrm>
              <a:off x="9855897" y="4843005"/>
              <a:ext cx="36780" cy="45658"/>
            </a:xfrm>
            <a:custGeom>
              <a:avLst/>
              <a:gdLst>
                <a:gd name="connsiteX0" fmla="*/ 36780 w 36780"/>
                <a:gd name="connsiteY0" fmla="*/ 20927 h 45658"/>
                <a:gd name="connsiteX1" fmla="*/ 18391 w 36780"/>
                <a:gd name="connsiteY1" fmla="*/ 0 h 45658"/>
                <a:gd name="connsiteX2" fmla="*/ 0 w 36780"/>
                <a:gd name="connsiteY2" fmla="*/ 29171 h 45658"/>
                <a:gd name="connsiteX3" fmla="*/ 12683 w 36780"/>
                <a:gd name="connsiteY3" fmla="*/ 45659 h 45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780" h="45658">
                  <a:moveTo>
                    <a:pt x="36780" y="20927"/>
                  </a:moveTo>
                  <a:lnTo>
                    <a:pt x="18391" y="0"/>
                  </a:lnTo>
                  <a:lnTo>
                    <a:pt x="0" y="29171"/>
                  </a:lnTo>
                  <a:lnTo>
                    <a:pt x="12683" y="45659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428" name="Gráfico 2">
            <a:extLst>
              <a:ext uri="{FF2B5EF4-FFF2-40B4-BE49-F238E27FC236}">
                <a16:creationId xmlns:a16="http://schemas.microsoft.com/office/drawing/2014/main" id="{DC80C217-93B8-4831-A8BE-0817F1F32ECF}"/>
              </a:ext>
            </a:extLst>
          </p:cNvPr>
          <p:cNvGrpSpPr/>
          <p:nvPr/>
        </p:nvGrpSpPr>
        <p:grpSpPr>
          <a:xfrm>
            <a:off x="10499341" y="4660440"/>
            <a:ext cx="383158" cy="426732"/>
            <a:chOff x="10549026" y="4706988"/>
            <a:chExt cx="387468" cy="431532"/>
          </a:xfrm>
          <a:solidFill>
            <a:srgbClr val="B1B1A1"/>
          </a:solidFill>
        </p:grpSpPr>
        <p:grpSp>
          <p:nvGrpSpPr>
            <p:cNvPr id="429" name="Gráfico 2">
              <a:extLst>
                <a:ext uri="{FF2B5EF4-FFF2-40B4-BE49-F238E27FC236}">
                  <a16:creationId xmlns:a16="http://schemas.microsoft.com/office/drawing/2014/main" id="{DC80C217-93B8-4831-A8BE-0817F1F32ECF}"/>
                </a:ext>
              </a:extLst>
            </p:cNvPr>
            <p:cNvGrpSpPr/>
            <p:nvPr/>
          </p:nvGrpSpPr>
          <p:grpSpPr>
            <a:xfrm>
              <a:off x="10549026" y="4706988"/>
              <a:ext cx="387468" cy="431532"/>
              <a:chOff x="10549026" y="4706988"/>
              <a:chExt cx="387468" cy="431532"/>
            </a:xfrm>
            <a:grpFill/>
          </p:grpSpPr>
          <p:sp>
            <p:nvSpPr>
              <p:cNvPr id="430" name="Forma Livre: Forma 429">
                <a:extLst>
                  <a:ext uri="{FF2B5EF4-FFF2-40B4-BE49-F238E27FC236}">
                    <a16:creationId xmlns:a16="http://schemas.microsoft.com/office/drawing/2014/main" id="{89831C25-1F9D-4024-9A09-C177EF9F76BA}"/>
                  </a:ext>
                </a:extLst>
              </p:cNvPr>
              <p:cNvSpPr/>
              <p:nvPr/>
            </p:nvSpPr>
            <p:spPr>
              <a:xfrm>
                <a:off x="10549026" y="4706988"/>
                <a:ext cx="387468" cy="431532"/>
              </a:xfrm>
              <a:custGeom>
                <a:avLst/>
                <a:gdLst>
                  <a:gd name="connsiteX0" fmla="*/ 346249 w 387468"/>
                  <a:gd name="connsiteY0" fmla="*/ 431533 h 431532"/>
                  <a:gd name="connsiteX1" fmla="*/ 39952 w 387468"/>
                  <a:gd name="connsiteY1" fmla="*/ 431533 h 431532"/>
                  <a:gd name="connsiteX2" fmla="*/ 0 w 387468"/>
                  <a:gd name="connsiteY2" fmla="*/ 391581 h 431532"/>
                  <a:gd name="connsiteX3" fmla="*/ 0 w 387468"/>
                  <a:gd name="connsiteY3" fmla="*/ 167725 h 431532"/>
                  <a:gd name="connsiteX4" fmla="*/ 5708 w 387468"/>
                  <a:gd name="connsiteY4" fmla="*/ 155042 h 431532"/>
                  <a:gd name="connsiteX5" fmla="*/ 182637 w 387468"/>
                  <a:gd name="connsiteY5" fmla="*/ 4113 h 431532"/>
                  <a:gd name="connsiteX6" fmla="*/ 206735 w 387468"/>
                  <a:gd name="connsiteY6" fmla="*/ 6016 h 431532"/>
                  <a:gd name="connsiteX7" fmla="*/ 204832 w 387468"/>
                  <a:gd name="connsiteY7" fmla="*/ 30114 h 431532"/>
                  <a:gd name="connsiteX8" fmla="*/ 33610 w 387468"/>
                  <a:gd name="connsiteY8" fmla="*/ 175969 h 431532"/>
                  <a:gd name="connsiteX9" fmla="*/ 33610 w 387468"/>
                  <a:gd name="connsiteY9" fmla="*/ 391581 h 431532"/>
                  <a:gd name="connsiteX10" fmla="*/ 39952 w 387468"/>
                  <a:gd name="connsiteY10" fmla="*/ 397923 h 431532"/>
                  <a:gd name="connsiteX11" fmla="*/ 346883 w 387468"/>
                  <a:gd name="connsiteY11" fmla="*/ 397923 h 431532"/>
                  <a:gd name="connsiteX12" fmla="*/ 353224 w 387468"/>
                  <a:gd name="connsiteY12" fmla="*/ 391581 h 431532"/>
                  <a:gd name="connsiteX13" fmla="*/ 353224 w 387468"/>
                  <a:gd name="connsiteY13" fmla="*/ 167725 h 431532"/>
                  <a:gd name="connsiteX14" fmla="*/ 370346 w 387468"/>
                  <a:gd name="connsiteY14" fmla="*/ 150603 h 431532"/>
                  <a:gd name="connsiteX15" fmla="*/ 387469 w 387468"/>
                  <a:gd name="connsiteY15" fmla="*/ 167725 h 431532"/>
                  <a:gd name="connsiteX16" fmla="*/ 387469 w 387468"/>
                  <a:gd name="connsiteY16" fmla="*/ 391581 h 431532"/>
                  <a:gd name="connsiteX17" fmla="*/ 346249 w 387468"/>
                  <a:gd name="connsiteY17" fmla="*/ 431533 h 431532"/>
                  <a:gd name="connsiteX18" fmla="*/ 346249 w 387468"/>
                  <a:gd name="connsiteY18" fmla="*/ 431533 h 4315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87468" h="431532">
                    <a:moveTo>
                      <a:pt x="346249" y="431533"/>
                    </a:moveTo>
                    <a:lnTo>
                      <a:pt x="39952" y="431533"/>
                    </a:lnTo>
                    <a:cubicBezTo>
                      <a:pt x="17757" y="431533"/>
                      <a:pt x="0" y="413777"/>
                      <a:pt x="0" y="391581"/>
                    </a:cubicBezTo>
                    <a:lnTo>
                      <a:pt x="0" y="167725"/>
                    </a:lnTo>
                    <a:cubicBezTo>
                      <a:pt x="0" y="162651"/>
                      <a:pt x="1903" y="158213"/>
                      <a:pt x="5708" y="155042"/>
                    </a:cubicBezTo>
                    <a:lnTo>
                      <a:pt x="182637" y="4113"/>
                    </a:lnTo>
                    <a:cubicBezTo>
                      <a:pt x="189612" y="-2228"/>
                      <a:pt x="200393" y="-960"/>
                      <a:pt x="206735" y="6016"/>
                    </a:cubicBezTo>
                    <a:cubicBezTo>
                      <a:pt x="213076" y="12991"/>
                      <a:pt x="211807" y="23772"/>
                      <a:pt x="204832" y="30114"/>
                    </a:cubicBezTo>
                    <a:lnTo>
                      <a:pt x="33610" y="175969"/>
                    </a:lnTo>
                    <a:lnTo>
                      <a:pt x="33610" y="391581"/>
                    </a:lnTo>
                    <a:cubicBezTo>
                      <a:pt x="33610" y="394752"/>
                      <a:pt x="36147" y="397923"/>
                      <a:pt x="39952" y="397923"/>
                    </a:cubicBezTo>
                    <a:lnTo>
                      <a:pt x="346883" y="397923"/>
                    </a:lnTo>
                    <a:cubicBezTo>
                      <a:pt x="350053" y="397923"/>
                      <a:pt x="353224" y="395386"/>
                      <a:pt x="353224" y="391581"/>
                    </a:cubicBezTo>
                    <a:lnTo>
                      <a:pt x="353224" y="167725"/>
                    </a:lnTo>
                    <a:cubicBezTo>
                      <a:pt x="353224" y="158213"/>
                      <a:pt x="360834" y="150603"/>
                      <a:pt x="370346" y="150603"/>
                    </a:cubicBezTo>
                    <a:cubicBezTo>
                      <a:pt x="379858" y="150603"/>
                      <a:pt x="387469" y="158213"/>
                      <a:pt x="387469" y="167725"/>
                    </a:cubicBezTo>
                    <a:lnTo>
                      <a:pt x="387469" y="391581"/>
                    </a:lnTo>
                    <a:cubicBezTo>
                      <a:pt x="386200" y="413777"/>
                      <a:pt x="368444" y="431533"/>
                      <a:pt x="346249" y="431533"/>
                    </a:cubicBezTo>
                    <a:lnTo>
                      <a:pt x="346249" y="431533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31" name="Forma Livre: Forma 430">
                <a:extLst>
                  <a:ext uri="{FF2B5EF4-FFF2-40B4-BE49-F238E27FC236}">
                    <a16:creationId xmlns:a16="http://schemas.microsoft.com/office/drawing/2014/main" id="{929F5FEE-6BC4-4FC7-A4CD-9B2B0E1ABEE8}"/>
                  </a:ext>
                </a:extLst>
              </p:cNvPr>
              <p:cNvSpPr/>
              <p:nvPr/>
            </p:nvSpPr>
            <p:spPr>
              <a:xfrm>
                <a:off x="10559195" y="4942092"/>
                <a:ext cx="367650" cy="188185"/>
              </a:xfrm>
              <a:custGeom>
                <a:avLst/>
                <a:gdLst>
                  <a:gd name="connsiteX0" fmla="*/ 336080 w 367650"/>
                  <a:gd name="connsiteY0" fmla="*/ 188185 h 188185"/>
                  <a:gd name="connsiteX1" fmla="*/ 29784 w 367650"/>
                  <a:gd name="connsiteY1" fmla="*/ 188185 h 188185"/>
                  <a:gd name="connsiteX2" fmla="*/ 613 w 367650"/>
                  <a:gd name="connsiteY2" fmla="*/ 167892 h 188185"/>
                  <a:gd name="connsiteX3" fmla="*/ 3149 w 367650"/>
                  <a:gd name="connsiteY3" fmla="*/ 158380 h 188185"/>
                  <a:gd name="connsiteX4" fmla="*/ 178176 w 367650"/>
                  <a:gd name="connsiteY4" fmla="*/ 2378 h 188185"/>
                  <a:gd name="connsiteX5" fmla="*/ 189590 w 367650"/>
                  <a:gd name="connsiteY5" fmla="*/ 2378 h 188185"/>
                  <a:gd name="connsiteX6" fmla="*/ 364617 w 367650"/>
                  <a:gd name="connsiteY6" fmla="*/ 158380 h 188185"/>
                  <a:gd name="connsiteX7" fmla="*/ 367153 w 367650"/>
                  <a:gd name="connsiteY7" fmla="*/ 167892 h 188185"/>
                  <a:gd name="connsiteX8" fmla="*/ 336080 w 367650"/>
                  <a:gd name="connsiteY8" fmla="*/ 188185 h 188185"/>
                  <a:gd name="connsiteX9" fmla="*/ 336080 w 367650"/>
                  <a:gd name="connsiteY9" fmla="*/ 188185 h 188185"/>
                  <a:gd name="connsiteX10" fmla="*/ 19003 w 367650"/>
                  <a:gd name="connsiteY10" fmla="*/ 166624 h 188185"/>
                  <a:gd name="connsiteX11" fmla="*/ 29784 w 367650"/>
                  <a:gd name="connsiteY11" fmla="*/ 171063 h 188185"/>
                  <a:gd name="connsiteX12" fmla="*/ 336714 w 367650"/>
                  <a:gd name="connsiteY12" fmla="*/ 171063 h 188185"/>
                  <a:gd name="connsiteX13" fmla="*/ 347494 w 367650"/>
                  <a:gd name="connsiteY13" fmla="*/ 166624 h 188185"/>
                  <a:gd name="connsiteX14" fmla="*/ 183248 w 367650"/>
                  <a:gd name="connsiteY14" fmla="*/ 20134 h 188185"/>
                  <a:gd name="connsiteX15" fmla="*/ 19003 w 367650"/>
                  <a:gd name="connsiteY15" fmla="*/ 166624 h 188185"/>
                  <a:gd name="connsiteX16" fmla="*/ 19003 w 367650"/>
                  <a:gd name="connsiteY16" fmla="*/ 166624 h 1881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67650" h="188185">
                    <a:moveTo>
                      <a:pt x="336080" y="188185"/>
                    </a:moveTo>
                    <a:lnTo>
                      <a:pt x="29784" y="188185"/>
                    </a:lnTo>
                    <a:cubicBezTo>
                      <a:pt x="17100" y="188185"/>
                      <a:pt x="5051" y="179941"/>
                      <a:pt x="613" y="167892"/>
                    </a:cubicBezTo>
                    <a:cubicBezTo>
                      <a:pt x="-656" y="164721"/>
                      <a:pt x="-21" y="160917"/>
                      <a:pt x="3149" y="158380"/>
                    </a:cubicBezTo>
                    <a:lnTo>
                      <a:pt x="178176" y="2378"/>
                    </a:lnTo>
                    <a:cubicBezTo>
                      <a:pt x="181346" y="-793"/>
                      <a:pt x="186419" y="-793"/>
                      <a:pt x="189590" y="2378"/>
                    </a:cubicBezTo>
                    <a:lnTo>
                      <a:pt x="364617" y="158380"/>
                    </a:lnTo>
                    <a:cubicBezTo>
                      <a:pt x="367153" y="160917"/>
                      <a:pt x="368422" y="164087"/>
                      <a:pt x="367153" y="167892"/>
                    </a:cubicBezTo>
                    <a:cubicBezTo>
                      <a:pt x="360811" y="179941"/>
                      <a:pt x="349397" y="188185"/>
                      <a:pt x="336080" y="188185"/>
                    </a:cubicBezTo>
                    <a:lnTo>
                      <a:pt x="336080" y="188185"/>
                    </a:lnTo>
                    <a:close/>
                    <a:moveTo>
                      <a:pt x="19003" y="166624"/>
                    </a:moveTo>
                    <a:cubicBezTo>
                      <a:pt x="21539" y="169794"/>
                      <a:pt x="25345" y="171063"/>
                      <a:pt x="29784" y="171063"/>
                    </a:cubicBezTo>
                    <a:lnTo>
                      <a:pt x="336714" y="171063"/>
                    </a:lnTo>
                    <a:cubicBezTo>
                      <a:pt x="341153" y="171063"/>
                      <a:pt x="344958" y="169160"/>
                      <a:pt x="347494" y="166624"/>
                    </a:cubicBezTo>
                    <a:lnTo>
                      <a:pt x="183248" y="20134"/>
                    </a:lnTo>
                    <a:lnTo>
                      <a:pt x="19003" y="166624"/>
                    </a:lnTo>
                    <a:lnTo>
                      <a:pt x="19003" y="166624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32" name="Forma Livre: Forma 431">
                <a:extLst>
                  <a:ext uri="{FF2B5EF4-FFF2-40B4-BE49-F238E27FC236}">
                    <a16:creationId xmlns:a16="http://schemas.microsoft.com/office/drawing/2014/main" id="{98A2317C-D283-42C1-85F7-F0BF1D9D9B5D}"/>
                  </a:ext>
                </a:extLst>
              </p:cNvPr>
              <p:cNvSpPr/>
              <p:nvPr/>
            </p:nvSpPr>
            <p:spPr>
              <a:xfrm>
                <a:off x="10787286" y="4881506"/>
                <a:ext cx="137975" cy="124476"/>
              </a:xfrm>
              <a:custGeom>
                <a:avLst/>
                <a:gdLst>
                  <a:gd name="connsiteX0" fmla="*/ 8426 w 137975"/>
                  <a:gd name="connsiteY0" fmla="*/ 124476 h 124476"/>
                  <a:gd name="connsiteX1" fmla="*/ 2085 w 137975"/>
                  <a:gd name="connsiteY1" fmla="*/ 121940 h 124476"/>
                  <a:gd name="connsiteX2" fmla="*/ 2719 w 137975"/>
                  <a:gd name="connsiteY2" fmla="*/ 109891 h 124476"/>
                  <a:gd name="connsiteX3" fmla="*/ 123843 w 137975"/>
                  <a:gd name="connsiteY3" fmla="*/ 2085 h 124476"/>
                  <a:gd name="connsiteX4" fmla="*/ 135891 w 137975"/>
                  <a:gd name="connsiteY4" fmla="*/ 2719 h 124476"/>
                  <a:gd name="connsiteX5" fmla="*/ 135257 w 137975"/>
                  <a:gd name="connsiteY5" fmla="*/ 14768 h 124476"/>
                  <a:gd name="connsiteX6" fmla="*/ 14134 w 137975"/>
                  <a:gd name="connsiteY6" fmla="*/ 122574 h 124476"/>
                  <a:gd name="connsiteX7" fmla="*/ 8426 w 137975"/>
                  <a:gd name="connsiteY7" fmla="*/ 124476 h 124476"/>
                  <a:gd name="connsiteX8" fmla="*/ 8426 w 137975"/>
                  <a:gd name="connsiteY8" fmla="*/ 124476 h 124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7975" h="124476">
                    <a:moveTo>
                      <a:pt x="8426" y="124476"/>
                    </a:moveTo>
                    <a:cubicBezTo>
                      <a:pt x="5889" y="124476"/>
                      <a:pt x="3987" y="123208"/>
                      <a:pt x="2085" y="121940"/>
                    </a:cubicBezTo>
                    <a:cubicBezTo>
                      <a:pt x="-1086" y="118769"/>
                      <a:pt x="-452" y="113061"/>
                      <a:pt x="2719" y="109891"/>
                    </a:cubicBezTo>
                    <a:lnTo>
                      <a:pt x="123843" y="2085"/>
                    </a:lnTo>
                    <a:cubicBezTo>
                      <a:pt x="127013" y="-1086"/>
                      <a:pt x="132720" y="-452"/>
                      <a:pt x="135891" y="2719"/>
                    </a:cubicBezTo>
                    <a:cubicBezTo>
                      <a:pt x="139062" y="5890"/>
                      <a:pt x="138428" y="11597"/>
                      <a:pt x="135257" y="14768"/>
                    </a:cubicBezTo>
                    <a:lnTo>
                      <a:pt x="14134" y="122574"/>
                    </a:lnTo>
                    <a:cubicBezTo>
                      <a:pt x="12866" y="123842"/>
                      <a:pt x="10329" y="124476"/>
                      <a:pt x="8426" y="124476"/>
                    </a:cubicBezTo>
                    <a:lnTo>
                      <a:pt x="8426" y="124476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33" name="Forma Livre: Forma 432">
                <a:extLst>
                  <a:ext uri="{FF2B5EF4-FFF2-40B4-BE49-F238E27FC236}">
                    <a16:creationId xmlns:a16="http://schemas.microsoft.com/office/drawing/2014/main" id="{39B3D136-7239-4C0E-9ECB-C131FFCDA8F4}"/>
                  </a:ext>
                </a:extLst>
              </p:cNvPr>
              <p:cNvSpPr/>
              <p:nvPr/>
            </p:nvSpPr>
            <p:spPr>
              <a:xfrm>
                <a:off x="10558991" y="4882140"/>
                <a:ext cx="138610" cy="125110"/>
              </a:xfrm>
              <a:custGeom>
                <a:avLst/>
                <a:gdLst>
                  <a:gd name="connsiteX0" fmla="*/ 130184 w 138610"/>
                  <a:gd name="connsiteY0" fmla="*/ 125110 h 125110"/>
                  <a:gd name="connsiteX1" fmla="*/ 124477 w 138610"/>
                  <a:gd name="connsiteY1" fmla="*/ 123208 h 125110"/>
                  <a:gd name="connsiteX2" fmla="*/ 2719 w 138610"/>
                  <a:gd name="connsiteY2" fmla="*/ 14768 h 125110"/>
                  <a:gd name="connsiteX3" fmla="*/ 2085 w 138610"/>
                  <a:gd name="connsiteY3" fmla="*/ 2719 h 125110"/>
                  <a:gd name="connsiteX4" fmla="*/ 14134 w 138610"/>
                  <a:gd name="connsiteY4" fmla="*/ 2085 h 125110"/>
                  <a:gd name="connsiteX5" fmla="*/ 135891 w 138610"/>
                  <a:gd name="connsiteY5" fmla="*/ 110525 h 125110"/>
                  <a:gd name="connsiteX6" fmla="*/ 136526 w 138610"/>
                  <a:gd name="connsiteY6" fmla="*/ 122574 h 125110"/>
                  <a:gd name="connsiteX7" fmla="*/ 130184 w 138610"/>
                  <a:gd name="connsiteY7" fmla="*/ 125110 h 125110"/>
                  <a:gd name="connsiteX8" fmla="*/ 130184 w 138610"/>
                  <a:gd name="connsiteY8" fmla="*/ 125110 h 1251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8610" h="125110">
                    <a:moveTo>
                      <a:pt x="130184" y="125110"/>
                    </a:moveTo>
                    <a:cubicBezTo>
                      <a:pt x="128281" y="125110"/>
                      <a:pt x="126379" y="124476"/>
                      <a:pt x="124477" y="123208"/>
                    </a:cubicBezTo>
                    <a:lnTo>
                      <a:pt x="2719" y="14768"/>
                    </a:lnTo>
                    <a:cubicBezTo>
                      <a:pt x="-452" y="11597"/>
                      <a:pt x="-1086" y="6523"/>
                      <a:pt x="2085" y="2719"/>
                    </a:cubicBezTo>
                    <a:cubicBezTo>
                      <a:pt x="5255" y="-452"/>
                      <a:pt x="10329" y="-1086"/>
                      <a:pt x="14134" y="2085"/>
                    </a:cubicBezTo>
                    <a:lnTo>
                      <a:pt x="135891" y="110525"/>
                    </a:lnTo>
                    <a:cubicBezTo>
                      <a:pt x="139062" y="113696"/>
                      <a:pt x="139697" y="118769"/>
                      <a:pt x="136526" y="122574"/>
                    </a:cubicBezTo>
                    <a:cubicBezTo>
                      <a:pt x="134623" y="123842"/>
                      <a:pt x="132720" y="125110"/>
                      <a:pt x="130184" y="125110"/>
                    </a:cubicBezTo>
                    <a:lnTo>
                      <a:pt x="130184" y="125110"/>
                    </a:lnTo>
                    <a:close/>
                  </a:path>
                </a:pathLst>
              </a:custGeom>
              <a:grpFill/>
              <a:ln w="63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grpSp>
            <p:nvGrpSpPr>
              <p:cNvPr id="434" name="Gráfico 2">
                <a:extLst>
                  <a:ext uri="{FF2B5EF4-FFF2-40B4-BE49-F238E27FC236}">
                    <a16:creationId xmlns:a16="http://schemas.microsoft.com/office/drawing/2014/main" id="{DC80C217-93B8-4831-A8BE-0817F1F32ECF}"/>
                  </a:ext>
                </a:extLst>
              </p:cNvPr>
              <p:cNvGrpSpPr/>
              <p:nvPr/>
            </p:nvGrpSpPr>
            <p:grpSpPr>
              <a:xfrm>
                <a:off x="10718346" y="4708564"/>
                <a:ext cx="209276" cy="209270"/>
                <a:chOff x="10718346" y="4708564"/>
                <a:chExt cx="209276" cy="209270"/>
              </a:xfrm>
              <a:grpFill/>
            </p:grpSpPr>
            <p:sp>
              <p:nvSpPr>
                <p:cNvPr id="435" name="Forma Livre: Forma 434">
                  <a:extLst>
                    <a:ext uri="{FF2B5EF4-FFF2-40B4-BE49-F238E27FC236}">
                      <a16:creationId xmlns:a16="http://schemas.microsoft.com/office/drawing/2014/main" id="{008BA6FC-72D7-49F3-B4F4-D145401597C9}"/>
                    </a:ext>
                  </a:extLst>
                </p:cNvPr>
                <p:cNvSpPr/>
                <p:nvPr/>
              </p:nvSpPr>
              <p:spPr>
                <a:xfrm>
                  <a:off x="10718346" y="4708564"/>
                  <a:ext cx="209276" cy="209270"/>
                </a:xfrm>
                <a:custGeom>
                  <a:avLst/>
                  <a:gdLst>
                    <a:gd name="connsiteX0" fmla="*/ 104635 w 209276"/>
                    <a:gd name="connsiteY0" fmla="*/ 209271 h 209270"/>
                    <a:gd name="connsiteX1" fmla="*/ 0 w 209276"/>
                    <a:gd name="connsiteY1" fmla="*/ 104635 h 209270"/>
                    <a:gd name="connsiteX2" fmla="*/ 104635 w 209276"/>
                    <a:gd name="connsiteY2" fmla="*/ 0 h 209270"/>
                    <a:gd name="connsiteX3" fmla="*/ 209271 w 209276"/>
                    <a:gd name="connsiteY3" fmla="*/ 104635 h 209270"/>
                    <a:gd name="connsiteX4" fmla="*/ 104635 w 209276"/>
                    <a:gd name="connsiteY4" fmla="*/ 209271 h 209270"/>
                    <a:gd name="connsiteX5" fmla="*/ 104635 w 209276"/>
                    <a:gd name="connsiteY5" fmla="*/ 209271 h 209270"/>
                    <a:gd name="connsiteX6" fmla="*/ 104635 w 209276"/>
                    <a:gd name="connsiteY6" fmla="*/ 16488 h 209270"/>
                    <a:gd name="connsiteX7" fmla="*/ 16488 w 209276"/>
                    <a:gd name="connsiteY7" fmla="*/ 104635 h 209270"/>
                    <a:gd name="connsiteX8" fmla="*/ 104635 w 209276"/>
                    <a:gd name="connsiteY8" fmla="*/ 192783 h 209270"/>
                    <a:gd name="connsiteX9" fmla="*/ 192783 w 209276"/>
                    <a:gd name="connsiteY9" fmla="*/ 104635 h 209270"/>
                    <a:gd name="connsiteX10" fmla="*/ 104635 w 209276"/>
                    <a:gd name="connsiteY10" fmla="*/ 16488 h 209270"/>
                    <a:gd name="connsiteX11" fmla="*/ 104635 w 209276"/>
                    <a:gd name="connsiteY11" fmla="*/ 16488 h 2092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09276" h="209270">
                      <a:moveTo>
                        <a:pt x="104635" y="209271"/>
                      </a:moveTo>
                      <a:cubicBezTo>
                        <a:pt x="46928" y="209271"/>
                        <a:pt x="0" y="162343"/>
                        <a:pt x="0" y="104635"/>
                      </a:cubicBezTo>
                      <a:cubicBezTo>
                        <a:pt x="0" y="46927"/>
                        <a:pt x="46928" y="0"/>
                        <a:pt x="104635" y="0"/>
                      </a:cubicBezTo>
                      <a:cubicBezTo>
                        <a:pt x="162343" y="0"/>
                        <a:pt x="209271" y="46927"/>
                        <a:pt x="209271" y="104635"/>
                      </a:cubicBezTo>
                      <a:cubicBezTo>
                        <a:pt x="209905" y="162343"/>
                        <a:pt x="162343" y="209271"/>
                        <a:pt x="104635" y="209271"/>
                      </a:cubicBezTo>
                      <a:lnTo>
                        <a:pt x="104635" y="209271"/>
                      </a:lnTo>
                      <a:close/>
                      <a:moveTo>
                        <a:pt x="104635" y="16488"/>
                      </a:moveTo>
                      <a:cubicBezTo>
                        <a:pt x="56440" y="16488"/>
                        <a:pt x="16488" y="55805"/>
                        <a:pt x="16488" y="104635"/>
                      </a:cubicBezTo>
                      <a:cubicBezTo>
                        <a:pt x="16488" y="152831"/>
                        <a:pt x="55805" y="192783"/>
                        <a:pt x="104635" y="192783"/>
                      </a:cubicBezTo>
                      <a:cubicBezTo>
                        <a:pt x="152831" y="192783"/>
                        <a:pt x="192783" y="153465"/>
                        <a:pt x="192783" y="104635"/>
                      </a:cubicBezTo>
                      <a:cubicBezTo>
                        <a:pt x="192783" y="55805"/>
                        <a:pt x="153465" y="16488"/>
                        <a:pt x="104635" y="16488"/>
                      </a:cubicBezTo>
                      <a:lnTo>
                        <a:pt x="104635" y="16488"/>
                      </a:lnTo>
                      <a:close/>
                    </a:path>
                  </a:pathLst>
                </a:custGeom>
                <a:grpFill/>
                <a:ln w="633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436" name="Forma Livre: Forma 435">
                  <a:extLst>
                    <a:ext uri="{FF2B5EF4-FFF2-40B4-BE49-F238E27FC236}">
                      <a16:creationId xmlns:a16="http://schemas.microsoft.com/office/drawing/2014/main" id="{0F842C44-9C82-40D6-9A18-323878E36042}"/>
                    </a:ext>
                  </a:extLst>
                </p:cNvPr>
                <p:cNvSpPr/>
                <p:nvPr/>
              </p:nvSpPr>
              <p:spPr>
                <a:xfrm>
                  <a:off x="10759566" y="4795443"/>
                  <a:ext cx="127464" cy="34244"/>
                </a:xfrm>
                <a:custGeom>
                  <a:avLst/>
                  <a:gdLst>
                    <a:gd name="connsiteX0" fmla="*/ 110343 w 127464"/>
                    <a:gd name="connsiteY0" fmla="*/ 34244 h 34244"/>
                    <a:gd name="connsiteX1" fmla="*/ 17122 w 127464"/>
                    <a:gd name="connsiteY1" fmla="*/ 34244 h 34244"/>
                    <a:gd name="connsiteX2" fmla="*/ 0 w 127464"/>
                    <a:gd name="connsiteY2" fmla="*/ 17122 h 34244"/>
                    <a:gd name="connsiteX3" fmla="*/ 17122 w 127464"/>
                    <a:gd name="connsiteY3" fmla="*/ 0 h 34244"/>
                    <a:gd name="connsiteX4" fmla="*/ 110343 w 127464"/>
                    <a:gd name="connsiteY4" fmla="*/ 0 h 34244"/>
                    <a:gd name="connsiteX5" fmla="*/ 127465 w 127464"/>
                    <a:gd name="connsiteY5" fmla="*/ 17122 h 34244"/>
                    <a:gd name="connsiteX6" fmla="*/ 110343 w 127464"/>
                    <a:gd name="connsiteY6" fmla="*/ 34244 h 34244"/>
                    <a:gd name="connsiteX7" fmla="*/ 110343 w 127464"/>
                    <a:gd name="connsiteY7" fmla="*/ 34244 h 342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27464" h="34244">
                      <a:moveTo>
                        <a:pt x="110343" y="34244"/>
                      </a:moveTo>
                      <a:lnTo>
                        <a:pt x="17122" y="34244"/>
                      </a:lnTo>
                      <a:cubicBezTo>
                        <a:pt x="7610" y="34244"/>
                        <a:pt x="0" y="26634"/>
                        <a:pt x="0" y="17122"/>
                      </a:cubicBezTo>
                      <a:cubicBezTo>
                        <a:pt x="0" y="7610"/>
                        <a:pt x="7610" y="0"/>
                        <a:pt x="17122" y="0"/>
                      </a:cubicBezTo>
                      <a:lnTo>
                        <a:pt x="110343" y="0"/>
                      </a:lnTo>
                      <a:cubicBezTo>
                        <a:pt x="119855" y="0"/>
                        <a:pt x="127465" y="7610"/>
                        <a:pt x="127465" y="17122"/>
                      </a:cubicBezTo>
                      <a:cubicBezTo>
                        <a:pt x="126831" y="26634"/>
                        <a:pt x="119855" y="34244"/>
                        <a:pt x="110343" y="34244"/>
                      </a:cubicBezTo>
                      <a:lnTo>
                        <a:pt x="110343" y="34244"/>
                      </a:lnTo>
                      <a:close/>
                    </a:path>
                  </a:pathLst>
                </a:custGeom>
                <a:grpFill/>
                <a:ln w="633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</p:grpSp>
        <p:sp>
          <p:nvSpPr>
            <p:cNvPr id="437" name="Forma Livre: Forma 436">
              <a:extLst>
                <a:ext uri="{FF2B5EF4-FFF2-40B4-BE49-F238E27FC236}">
                  <a16:creationId xmlns:a16="http://schemas.microsoft.com/office/drawing/2014/main" id="{0EA7A89D-27E1-48C7-BB24-8E332C059073}"/>
                </a:ext>
              </a:extLst>
            </p:cNvPr>
            <p:cNvSpPr/>
            <p:nvPr/>
          </p:nvSpPr>
          <p:spPr>
            <a:xfrm>
              <a:off x="10732297" y="4713638"/>
              <a:ext cx="41853" cy="45024"/>
            </a:xfrm>
            <a:custGeom>
              <a:avLst/>
              <a:gdLst>
                <a:gd name="connsiteX0" fmla="*/ 41854 w 41853"/>
                <a:gd name="connsiteY0" fmla="*/ 20927 h 45024"/>
                <a:gd name="connsiteX1" fmla="*/ 24098 w 41853"/>
                <a:gd name="connsiteY1" fmla="*/ 0 h 45024"/>
                <a:gd name="connsiteX2" fmla="*/ 0 w 41853"/>
                <a:gd name="connsiteY2" fmla="*/ 24098 h 45024"/>
                <a:gd name="connsiteX3" fmla="*/ 18391 w 41853"/>
                <a:gd name="connsiteY3" fmla="*/ 45025 h 45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853" h="45024">
                  <a:moveTo>
                    <a:pt x="41854" y="20927"/>
                  </a:moveTo>
                  <a:lnTo>
                    <a:pt x="24098" y="0"/>
                  </a:lnTo>
                  <a:lnTo>
                    <a:pt x="0" y="24098"/>
                  </a:lnTo>
                  <a:lnTo>
                    <a:pt x="18391" y="45025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38" name="Forma Livre: Forma 437">
              <a:extLst>
                <a:ext uri="{FF2B5EF4-FFF2-40B4-BE49-F238E27FC236}">
                  <a16:creationId xmlns:a16="http://schemas.microsoft.com/office/drawing/2014/main" id="{BBA3AE51-F4DE-4821-86A4-69959FC72201}"/>
                </a:ext>
              </a:extLst>
            </p:cNvPr>
            <p:cNvSpPr/>
            <p:nvPr/>
          </p:nvSpPr>
          <p:spPr>
            <a:xfrm>
              <a:off x="10895275" y="4843005"/>
              <a:ext cx="36780" cy="45658"/>
            </a:xfrm>
            <a:custGeom>
              <a:avLst/>
              <a:gdLst>
                <a:gd name="connsiteX0" fmla="*/ 36780 w 36780"/>
                <a:gd name="connsiteY0" fmla="*/ 20927 h 45658"/>
                <a:gd name="connsiteX1" fmla="*/ 18390 w 36780"/>
                <a:gd name="connsiteY1" fmla="*/ 0 h 45658"/>
                <a:gd name="connsiteX2" fmla="*/ 0 w 36780"/>
                <a:gd name="connsiteY2" fmla="*/ 29171 h 45658"/>
                <a:gd name="connsiteX3" fmla="*/ 12683 w 36780"/>
                <a:gd name="connsiteY3" fmla="*/ 45659 h 45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780" h="45658">
                  <a:moveTo>
                    <a:pt x="36780" y="20927"/>
                  </a:moveTo>
                  <a:lnTo>
                    <a:pt x="18390" y="0"/>
                  </a:lnTo>
                  <a:lnTo>
                    <a:pt x="0" y="29171"/>
                  </a:lnTo>
                  <a:lnTo>
                    <a:pt x="12683" y="45659"/>
                  </a:lnTo>
                  <a:close/>
                </a:path>
              </a:pathLst>
            </a:custGeom>
            <a:grpFill/>
            <a:ln w="63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</p:spTree>
    <p:extLst>
      <p:ext uri="{BB962C8B-B14F-4D97-AF65-F5344CB8AC3E}">
        <p14:creationId xmlns:p14="http://schemas.microsoft.com/office/powerpoint/2010/main" val="3199248812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6479111" y="3606413"/>
            <a:ext cx="235241" cy="415110"/>
            <a:chOff x="6484323" y="3658939"/>
            <a:chExt cx="238563" cy="420973"/>
          </a:xfrm>
          <a:solidFill>
            <a:srgbClr val="B1B1A1"/>
          </a:solidFill>
        </p:grpSpPr>
        <p:sp>
          <p:nvSpPr>
            <p:cNvPr id="6" name="Forma Livre: Forma 5">
              <a:extLst>
                <a:ext uri="{FF2B5EF4-FFF2-40B4-BE49-F238E27FC236}">
                  <a16:creationId xmlns:a16="http://schemas.microsoft.com/office/drawing/2014/main" id="{15735A0E-07E5-4730-94BC-B485303CC7B3}"/>
                </a:ext>
              </a:extLst>
            </p:cNvPr>
            <p:cNvSpPr/>
            <p:nvPr/>
          </p:nvSpPr>
          <p:spPr>
            <a:xfrm>
              <a:off x="6484323" y="3955178"/>
              <a:ext cx="151145" cy="124734"/>
            </a:xfrm>
            <a:custGeom>
              <a:avLst/>
              <a:gdLst>
                <a:gd name="connsiteX0" fmla="*/ 45675 w 151145"/>
                <a:gd name="connsiteY0" fmla="*/ 124734 h 124734"/>
                <a:gd name="connsiteX1" fmla="*/ 668 w 151145"/>
                <a:gd name="connsiteY1" fmla="*/ 93229 h 124734"/>
                <a:gd name="connsiteX2" fmla="*/ 61749 w 151145"/>
                <a:gd name="connsiteY2" fmla="*/ 10930 h 124734"/>
                <a:gd name="connsiteX3" fmla="*/ 105470 w 151145"/>
                <a:gd name="connsiteY3" fmla="*/ 0 h 124734"/>
                <a:gd name="connsiteX4" fmla="*/ 150478 w 151145"/>
                <a:gd name="connsiteY4" fmla="*/ 31505 h 124734"/>
                <a:gd name="connsiteX5" fmla="*/ 89396 w 151145"/>
                <a:gd name="connsiteY5" fmla="*/ 113804 h 124734"/>
                <a:gd name="connsiteX6" fmla="*/ 45675 w 151145"/>
                <a:gd name="connsiteY6" fmla="*/ 124734 h 124734"/>
                <a:gd name="connsiteX7" fmla="*/ 45675 w 151145"/>
                <a:gd name="connsiteY7" fmla="*/ 124734 h 124734"/>
                <a:gd name="connsiteX8" fmla="*/ 106114 w 151145"/>
                <a:gd name="connsiteY8" fmla="*/ 34077 h 124734"/>
                <a:gd name="connsiteX9" fmla="*/ 76537 w 151145"/>
                <a:gd name="connsiteY9" fmla="*/ 41792 h 124734"/>
                <a:gd name="connsiteX10" fmla="*/ 34102 w 151145"/>
                <a:gd name="connsiteY10" fmla="*/ 86800 h 124734"/>
                <a:gd name="connsiteX11" fmla="*/ 45675 w 151145"/>
                <a:gd name="connsiteY11" fmla="*/ 90657 h 124734"/>
                <a:gd name="connsiteX12" fmla="*/ 75251 w 151145"/>
                <a:gd name="connsiteY12" fmla="*/ 82942 h 124734"/>
                <a:gd name="connsiteX13" fmla="*/ 117687 w 151145"/>
                <a:gd name="connsiteY13" fmla="*/ 37934 h 124734"/>
                <a:gd name="connsiteX14" fmla="*/ 106114 w 151145"/>
                <a:gd name="connsiteY14" fmla="*/ 34077 h 124734"/>
                <a:gd name="connsiteX15" fmla="*/ 106114 w 151145"/>
                <a:gd name="connsiteY15" fmla="*/ 34077 h 12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1145" h="124734">
                  <a:moveTo>
                    <a:pt x="45675" y="124734"/>
                  </a:moveTo>
                  <a:cubicBezTo>
                    <a:pt x="21243" y="124734"/>
                    <a:pt x="4525" y="112518"/>
                    <a:pt x="668" y="93229"/>
                  </a:cubicBezTo>
                  <a:cubicBezTo>
                    <a:pt x="-5119" y="61724"/>
                    <a:pt x="27672" y="27004"/>
                    <a:pt x="61749" y="10930"/>
                  </a:cubicBezTo>
                  <a:cubicBezTo>
                    <a:pt x="77180" y="3858"/>
                    <a:pt x="91968" y="0"/>
                    <a:pt x="105470" y="0"/>
                  </a:cubicBezTo>
                  <a:cubicBezTo>
                    <a:pt x="129903" y="0"/>
                    <a:pt x="146620" y="12216"/>
                    <a:pt x="150478" y="31505"/>
                  </a:cubicBezTo>
                  <a:cubicBezTo>
                    <a:pt x="156264" y="63653"/>
                    <a:pt x="123473" y="97730"/>
                    <a:pt x="89396" y="113804"/>
                  </a:cubicBezTo>
                  <a:cubicBezTo>
                    <a:pt x="74608" y="120877"/>
                    <a:pt x="59820" y="124734"/>
                    <a:pt x="45675" y="124734"/>
                  </a:cubicBezTo>
                  <a:lnTo>
                    <a:pt x="45675" y="124734"/>
                  </a:lnTo>
                  <a:close/>
                  <a:moveTo>
                    <a:pt x="106114" y="34077"/>
                  </a:moveTo>
                  <a:cubicBezTo>
                    <a:pt x="97755" y="34077"/>
                    <a:pt x="86825" y="36648"/>
                    <a:pt x="76537" y="41792"/>
                  </a:cubicBezTo>
                  <a:cubicBezTo>
                    <a:pt x="48890" y="55295"/>
                    <a:pt x="32816" y="77798"/>
                    <a:pt x="34102" y="86800"/>
                  </a:cubicBezTo>
                  <a:cubicBezTo>
                    <a:pt x="34745" y="90015"/>
                    <a:pt x="41817" y="90657"/>
                    <a:pt x="45675" y="90657"/>
                  </a:cubicBezTo>
                  <a:cubicBezTo>
                    <a:pt x="54033" y="90657"/>
                    <a:pt x="64964" y="88085"/>
                    <a:pt x="75251" y="82942"/>
                  </a:cubicBezTo>
                  <a:cubicBezTo>
                    <a:pt x="103542" y="69440"/>
                    <a:pt x="118973" y="46936"/>
                    <a:pt x="117687" y="37934"/>
                  </a:cubicBezTo>
                  <a:cubicBezTo>
                    <a:pt x="117044" y="34720"/>
                    <a:pt x="109971" y="34077"/>
                    <a:pt x="106114" y="34077"/>
                  </a:cubicBezTo>
                  <a:lnTo>
                    <a:pt x="106114" y="34077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7" name="Forma Livre: Forma 6">
              <a:extLst>
                <a:ext uri="{FF2B5EF4-FFF2-40B4-BE49-F238E27FC236}">
                  <a16:creationId xmlns:a16="http://schemas.microsoft.com/office/drawing/2014/main" id="{B6513A2F-8260-4B61-873C-FDF80173128B}"/>
                </a:ext>
              </a:extLst>
            </p:cNvPr>
            <p:cNvSpPr/>
            <p:nvPr/>
          </p:nvSpPr>
          <p:spPr>
            <a:xfrm>
              <a:off x="6602010" y="3659416"/>
              <a:ext cx="33471" cy="347199"/>
            </a:xfrm>
            <a:custGeom>
              <a:avLst/>
              <a:gdLst>
                <a:gd name="connsiteX0" fmla="*/ 16717 w 33471"/>
                <a:gd name="connsiteY0" fmla="*/ 347199 h 347199"/>
                <a:gd name="connsiteX1" fmla="*/ 16717 w 33471"/>
                <a:gd name="connsiteY1" fmla="*/ 347199 h 347199"/>
                <a:gd name="connsiteX2" fmla="*/ 0 w 33471"/>
                <a:gd name="connsiteY2" fmla="*/ 330482 h 347199"/>
                <a:gd name="connsiteX3" fmla="*/ 0 w 33471"/>
                <a:gd name="connsiteY3" fmla="*/ 16717 h 347199"/>
                <a:gd name="connsiteX4" fmla="*/ 16717 w 33471"/>
                <a:gd name="connsiteY4" fmla="*/ 0 h 347199"/>
                <a:gd name="connsiteX5" fmla="*/ 16717 w 33471"/>
                <a:gd name="connsiteY5" fmla="*/ 0 h 347199"/>
                <a:gd name="connsiteX6" fmla="*/ 33434 w 33471"/>
                <a:gd name="connsiteY6" fmla="*/ 16717 h 347199"/>
                <a:gd name="connsiteX7" fmla="*/ 33434 w 33471"/>
                <a:gd name="connsiteY7" fmla="*/ 330482 h 347199"/>
                <a:gd name="connsiteX8" fmla="*/ 16717 w 33471"/>
                <a:gd name="connsiteY8" fmla="*/ 347199 h 347199"/>
                <a:gd name="connsiteX9" fmla="*/ 16717 w 33471"/>
                <a:gd name="connsiteY9" fmla="*/ 347199 h 347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471" h="347199">
                  <a:moveTo>
                    <a:pt x="16717" y="347199"/>
                  </a:moveTo>
                  <a:lnTo>
                    <a:pt x="16717" y="347199"/>
                  </a:lnTo>
                  <a:cubicBezTo>
                    <a:pt x="7072" y="347199"/>
                    <a:pt x="0" y="339484"/>
                    <a:pt x="0" y="330482"/>
                  </a:cubicBezTo>
                  <a:lnTo>
                    <a:pt x="0" y="16717"/>
                  </a:lnTo>
                  <a:cubicBezTo>
                    <a:pt x="0" y="7073"/>
                    <a:pt x="7716" y="0"/>
                    <a:pt x="16717" y="0"/>
                  </a:cubicBezTo>
                  <a:lnTo>
                    <a:pt x="16717" y="0"/>
                  </a:lnTo>
                  <a:cubicBezTo>
                    <a:pt x="26361" y="0"/>
                    <a:pt x="33434" y="7716"/>
                    <a:pt x="33434" y="16717"/>
                  </a:cubicBezTo>
                  <a:lnTo>
                    <a:pt x="33434" y="330482"/>
                  </a:lnTo>
                  <a:cubicBezTo>
                    <a:pt x="34077" y="340127"/>
                    <a:pt x="26361" y="347199"/>
                    <a:pt x="16717" y="347199"/>
                  </a:cubicBezTo>
                  <a:lnTo>
                    <a:pt x="16717" y="347199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8" name="Forma Livre: Forma 7">
              <a:extLst>
                <a:ext uri="{FF2B5EF4-FFF2-40B4-BE49-F238E27FC236}">
                  <a16:creationId xmlns:a16="http://schemas.microsoft.com/office/drawing/2014/main" id="{4588C85F-80F2-4223-8A83-8D92698F7D65}"/>
                </a:ext>
              </a:extLst>
            </p:cNvPr>
            <p:cNvSpPr/>
            <p:nvPr/>
          </p:nvSpPr>
          <p:spPr>
            <a:xfrm>
              <a:off x="6602819" y="3658939"/>
              <a:ext cx="120067" cy="146428"/>
            </a:xfrm>
            <a:custGeom>
              <a:avLst/>
              <a:gdLst>
                <a:gd name="connsiteX0" fmla="*/ 102708 w 120067"/>
                <a:gd name="connsiteY0" fmla="*/ 146429 h 146428"/>
                <a:gd name="connsiteX1" fmla="*/ 85991 w 120067"/>
                <a:gd name="connsiteY1" fmla="*/ 129712 h 146428"/>
                <a:gd name="connsiteX2" fmla="*/ 85991 w 120067"/>
                <a:gd name="connsiteY2" fmla="*/ 62201 h 146428"/>
                <a:gd name="connsiteX3" fmla="*/ 10764 w 120067"/>
                <a:gd name="connsiteY3" fmla="*/ 32625 h 146428"/>
                <a:gd name="connsiteX4" fmla="*/ 1120 w 120067"/>
                <a:gd name="connsiteY4" fmla="*/ 10764 h 146428"/>
                <a:gd name="connsiteX5" fmla="*/ 22981 w 120067"/>
                <a:gd name="connsiteY5" fmla="*/ 1120 h 146428"/>
                <a:gd name="connsiteX6" fmla="*/ 109137 w 120067"/>
                <a:gd name="connsiteY6" fmla="*/ 35197 h 146428"/>
                <a:gd name="connsiteX7" fmla="*/ 120068 w 120067"/>
                <a:gd name="connsiteY7" fmla="*/ 51271 h 146428"/>
                <a:gd name="connsiteX8" fmla="*/ 120068 w 120067"/>
                <a:gd name="connsiteY8" fmla="*/ 129712 h 146428"/>
                <a:gd name="connsiteX9" fmla="*/ 102708 w 120067"/>
                <a:gd name="connsiteY9" fmla="*/ 146429 h 146428"/>
                <a:gd name="connsiteX10" fmla="*/ 102708 w 120067"/>
                <a:gd name="connsiteY10" fmla="*/ 146429 h 146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0067" h="146428">
                  <a:moveTo>
                    <a:pt x="102708" y="146429"/>
                  </a:moveTo>
                  <a:cubicBezTo>
                    <a:pt x="93063" y="146429"/>
                    <a:pt x="85991" y="138713"/>
                    <a:pt x="85991" y="129712"/>
                  </a:cubicBezTo>
                  <a:lnTo>
                    <a:pt x="85991" y="62201"/>
                  </a:lnTo>
                  <a:lnTo>
                    <a:pt x="10764" y="32625"/>
                  </a:lnTo>
                  <a:cubicBezTo>
                    <a:pt x="1763" y="29410"/>
                    <a:pt x="-2095" y="19123"/>
                    <a:pt x="1120" y="10764"/>
                  </a:cubicBezTo>
                  <a:cubicBezTo>
                    <a:pt x="4335" y="1763"/>
                    <a:pt x="14622" y="-2095"/>
                    <a:pt x="22981" y="1120"/>
                  </a:cubicBezTo>
                  <a:lnTo>
                    <a:pt x="109137" y="35197"/>
                  </a:lnTo>
                  <a:cubicBezTo>
                    <a:pt x="115567" y="37769"/>
                    <a:pt x="120068" y="44198"/>
                    <a:pt x="120068" y="51271"/>
                  </a:cubicBezTo>
                  <a:lnTo>
                    <a:pt x="120068" y="129712"/>
                  </a:lnTo>
                  <a:cubicBezTo>
                    <a:pt x="119425" y="138713"/>
                    <a:pt x="111709" y="146429"/>
                    <a:pt x="102708" y="146429"/>
                  </a:cubicBezTo>
                  <a:lnTo>
                    <a:pt x="102708" y="146429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9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2358725" y="3657710"/>
            <a:ext cx="265648" cy="311826"/>
            <a:chOff x="2305742" y="3710960"/>
            <a:chExt cx="269400" cy="316230"/>
          </a:xfrm>
          <a:solidFill>
            <a:srgbClr val="B1B1A1"/>
          </a:solidFill>
        </p:grpSpPr>
        <p:sp>
          <p:nvSpPr>
            <p:cNvPr id="10" name="Forma Livre: Forma 9">
              <a:extLst>
                <a:ext uri="{FF2B5EF4-FFF2-40B4-BE49-F238E27FC236}">
                  <a16:creationId xmlns:a16="http://schemas.microsoft.com/office/drawing/2014/main" id="{8638DAC2-B157-46E9-9455-1D9070597969}"/>
                </a:ext>
              </a:extLst>
            </p:cNvPr>
            <p:cNvSpPr/>
            <p:nvPr/>
          </p:nvSpPr>
          <p:spPr>
            <a:xfrm>
              <a:off x="2504739" y="3763254"/>
              <a:ext cx="70404" cy="211855"/>
            </a:xfrm>
            <a:custGeom>
              <a:avLst/>
              <a:gdLst>
                <a:gd name="connsiteX0" fmla="*/ 17039 w 70404"/>
                <a:gd name="connsiteY0" fmla="*/ 211856 h 211855"/>
                <a:gd name="connsiteX1" fmla="*/ 4822 w 70404"/>
                <a:gd name="connsiteY1" fmla="*/ 206712 h 211855"/>
                <a:gd name="connsiteX2" fmla="*/ 4822 w 70404"/>
                <a:gd name="connsiteY2" fmla="*/ 182923 h 211855"/>
                <a:gd name="connsiteX3" fmla="*/ 36970 w 70404"/>
                <a:gd name="connsiteY3" fmla="*/ 105767 h 211855"/>
                <a:gd name="connsiteX4" fmla="*/ 4822 w 70404"/>
                <a:gd name="connsiteY4" fmla="*/ 28612 h 211855"/>
                <a:gd name="connsiteX5" fmla="*/ 4822 w 70404"/>
                <a:gd name="connsiteY5" fmla="*/ 4822 h 211855"/>
                <a:gd name="connsiteX6" fmla="*/ 28612 w 70404"/>
                <a:gd name="connsiteY6" fmla="*/ 4822 h 211855"/>
                <a:gd name="connsiteX7" fmla="*/ 70404 w 70404"/>
                <a:gd name="connsiteY7" fmla="*/ 105767 h 211855"/>
                <a:gd name="connsiteX8" fmla="*/ 28612 w 70404"/>
                <a:gd name="connsiteY8" fmla="*/ 206712 h 211855"/>
                <a:gd name="connsiteX9" fmla="*/ 17039 w 70404"/>
                <a:gd name="connsiteY9" fmla="*/ 211856 h 211855"/>
                <a:gd name="connsiteX10" fmla="*/ 17039 w 70404"/>
                <a:gd name="connsiteY10" fmla="*/ 211856 h 211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0404" h="211855">
                  <a:moveTo>
                    <a:pt x="17039" y="211856"/>
                  </a:moveTo>
                  <a:cubicBezTo>
                    <a:pt x="12538" y="211856"/>
                    <a:pt x="8037" y="209927"/>
                    <a:pt x="4822" y="206712"/>
                  </a:cubicBezTo>
                  <a:cubicBezTo>
                    <a:pt x="-1607" y="200283"/>
                    <a:pt x="-1607" y="189352"/>
                    <a:pt x="4822" y="182923"/>
                  </a:cubicBezTo>
                  <a:cubicBezTo>
                    <a:pt x="25397" y="162348"/>
                    <a:pt x="36970" y="135343"/>
                    <a:pt x="36970" y="105767"/>
                  </a:cubicBezTo>
                  <a:cubicBezTo>
                    <a:pt x="36970" y="76834"/>
                    <a:pt x="25397" y="49187"/>
                    <a:pt x="4822" y="28612"/>
                  </a:cubicBezTo>
                  <a:cubicBezTo>
                    <a:pt x="-1607" y="22182"/>
                    <a:pt x="-1607" y="11252"/>
                    <a:pt x="4822" y="4822"/>
                  </a:cubicBezTo>
                  <a:cubicBezTo>
                    <a:pt x="11252" y="-1607"/>
                    <a:pt x="22182" y="-1607"/>
                    <a:pt x="28612" y="4822"/>
                  </a:cubicBezTo>
                  <a:cubicBezTo>
                    <a:pt x="55616" y="31827"/>
                    <a:pt x="70404" y="67832"/>
                    <a:pt x="70404" y="105767"/>
                  </a:cubicBezTo>
                  <a:cubicBezTo>
                    <a:pt x="70404" y="143702"/>
                    <a:pt x="55616" y="179708"/>
                    <a:pt x="28612" y="206712"/>
                  </a:cubicBezTo>
                  <a:cubicBezTo>
                    <a:pt x="25397" y="210570"/>
                    <a:pt x="21539" y="211856"/>
                    <a:pt x="17039" y="211856"/>
                  </a:cubicBezTo>
                  <a:lnTo>
                    <a:pt x="17039" y="211856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1" name="Forma Livre: Forma 10">
              <a:extLst>
                <a:ext uri="{FF2B5EF4-FFF2-40B4-BE49-F238E27FC236}">
                  <a16:creationId xmlns:a16="http://schemas.microsoft.com/office/drawing/2014/main" id="{9EB89913-37B2-4B55-AE24-363462E0AF5A}"/>
                </a:ext>
              </a:extLst>
            </p:cNvPr>
            <p:cNvSpPr/>
            <p:nvPr/>
          </p:nvSpPr>
          <p:spPr>
            <a:xfrm>
              <a:off x="2305742" y="3710960"/>
              <a:ext cx="169741" cy="316230"/>
            </a:xfrm>
            <a:custGeom>
              <a:avLst/>
              <a:gdLst>
                <a:gd name="connsiteX0" fmla="*/ 153668 w 169741"/>
                <a:gd name="connsiteY0" fmla="*/ 316230 h 316230"/>
                <a:gd name="connsiteX1" fmla="*/ 142737 w 169741"/>
                <a:gd name="connsiteY1" fmla="*/ 312372 h 316230"/>
                <a:gd name="connsiteX2" fmla="*/ 64939 w 169741"/>
                <a:gd name="connsiteY2" fmla="*/ 250005 h 316230"/>
                <a:gd name="connsiteX3" fmla="*/ 16717 w 169741"/>
                <a:gd name="connsiteY3" fmla="*/ 250005 h 316230"/>
                <a:gd name="connsiteX4" fmla="*/ 0 w 169741"/>
                <a:gd name="connsiteY4" fmla="*/ 233288 h 316230"/>
                <a:gd name="connsiteX5" fmla="*/ 0 w 169741"/>
                <a:gd name="connsiteY5" fmla="*/ 82835 h 316230"/>
                <a:gd name="connsiteX6" fmla="*/ 16717 w 169741"/>
                <a:gd name="connsiteY6" fmla="*/ 66118 h 316230"/>
                <a:gd name="connsiteX7" fmla="*/ 64296 w 169741"/>
                <a:gd name="connsiteY7" fmla="*/ 66118 h 316230"/>
                <a:gd name="connsiteX8" fmla="*/ 142095 w 169741"/>
                <a:gd name="connsiteY8" fmla="*/ 3751 h 316230"/>
                <a:gd name="connsiteX9" fmla="*/ 160097 w 169741"/>
                <a:gd name="connsiteY9" fmla="*/ 1822 h 316230"/>
                <a:gd name="connsiteX10" fmla="*/ 169742 w 169741"/>
                <a:gd name="connsiteY10" fmla="*/ 17253 h 316230"/>
                <a:gd name="connsiteX11" fmla="*/ 169742 w 169741"/>
                <a:gd name="connsiteY11" fmla="*/ 299513 h 316230"/>
                <a:gd name="connsiteX12" fmla="*/ 160097 w 169741"/>
                <a:gd name="connsiteY12" fmla="*/ 314944 h 316230"/>
                <a:gd name="connsiteX13" fmla="*/ 153668 w 169741"/>
                <a:gd name="connsiteY13" fmla="*/ 316230 h 316230"/>
                <a:gd name="connsiteX14" fmla="*/ 153668 w 169741"/>
                <a:gd name="connsiteY14" fmla="*/ 316230 h 316230"/>
                <a:gd name="connsiteX15" fmla="*/ 34720 w 169741"/>
                <a:gd name="connsiteY15" fmla="*/ 216571 h 316230"/>
                <a:gd name="connsiteX16" fmla="*/ 71369 w 169741"/>
                <a:gd name="connsiteY16" fmla="*/ 216571 h 316230"/>
                <a:gd name="connsiteX17" fmla="*/ 82299 w 169741"/>
                <a:gd name="connsiteY17" fmla="*/ 220429 h 316230"/>
                <a:gd name="connsiteX18" fmla="*/ 136951 w 169741"/>
                <a:gd name="connsiteY18" fmla="*/ 264150 h 316230"/>
                <a:gd name="connsiteX19" fmla="*/ 136951 w 169741"/>
                <a:gd name="connsiteY19" fmla="*/ 52616 h 316230"/>
                <a:gd name="connsiteX20" fmla="*/ 82299 w 169741"/>
                <a:gd name="connsiteY20" fmla="*/ 96338 h 316230"/>
                <a:gd name="connsiteX21" fmla="*/ 71369 w 169741"/>
                <a:gd name="connsiteY21" fmla="*/ 100195 h 316230"/>
                <a:gd name="connsiteX22" fmla="*/ 34720 w 169741"/>
                <a:gd name="connsiteY22" fmla="*/ 100195 h 316230"/>
                <a:gd name="connsiteX23" fmla="*/ 34720 w 169741"/>
                <a:gd name="connsiteY23" fmla="*/ 216571 h 316230"/>
                <a:gd name="connsiteX24" fmla="*/ 34720 w 169741"/>
                <a:gd name="connsiteY24" fmla="*/ 216571 h 316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69741" h="316230">
                  <a:moveTo>
                    <a:pt x="153668" y="316230"/>
                  </a:moveTo>
                  <a:cubicBezTo>
                    <a:pt x="149810" y="316230"/>
                    <a:pt x="145952" y="314944"/>
                    <a:pt x="142737" y="312372"/>
                  </a:cubicBezTo>
                  <a:lnTo>
                    <a:pt x="64939" y="250005"/>
                  </a:lnTo>
                  <a:lnTo>
                    <a:pt x="16717" y="250005"/>
                  </a:lnTo>
                  <a:cubicBezTo>
                    <a:pt x="7073" y="250005"/>
                    <a:pt x="0" y="242289"/>
                    <a:pt x="0" y="233288"/>
                  </a:cubicBezTo>
                  <a:lnTo>
                    <a:pt x="0" y="82835"/>
                  </a:lnTo>
                  <a:cubicBezTo>
                    <a:pt x="0" y="73191"/>
                    <a:pt x="7716" y="66118"/>
                    <a:pt x="16717" y="66118"/>
                  </a:cubicBezTo>
                  <a:lnTo>
                    <a:pt x="64296" y="66118"/>
                  </a:lnTo>
                  <a:lnTo>
                    <a:pt x="142095" y="3751"/>
                  </a:lnTo>
                  <a:cubicBezTo>
                    <a:pt x="147238" y="-107"/>
                    <a:pt x="154311" y="-1393"/>
                    <a:pt x="160097" y="1822"/>
                  </a:cubicBezTo>
                  <a:cubicBezTo>
                    <a:pt x="165884" y="4394"/>
                    <a:pt x="169742" y="10824"/>
                    <a:pt x="169742" y="17253"/>
                  </a:cubicBezTo>
                  <a:lnTo>
                    <a:pt x="169742" y="299513"/>
                  </a:lnTo>
                  <a:cubicBezTo>
                    <a:pt x="169742" y="305943"/>
                    <a:pt x="165884" y="311730"/>
                    <a:pt x="160097" y="314944"/>
                  </a:cubicBezTo>
                  <a:cubicBezTo>
                    <a:pt x="158811" y="316230"/>
                    <a:pt x="156240" y="316230"/>
                    <a:pt x="153668" y="316230"/>
                  </a:cubicBezTo>
                  <a:lnTo>
                    <a:pt x="153668" y="316230"/>
                  </a:lnTo>
                  <a:close/>
                  <a:moveTo>
                    <a:pt x="34720" y="216571"/>
                  </a:moveTo>
                  <a:lnTo>
                    <a:pt x="71369" y="216571"/>
                  </a:lnTo>
                  <a:cubicBezTo>
                    <a:pt x="75226" y="216571"/>
                    <a:pt x="79084" y="217857"/>
                    <a:pt x="82299" y="220429"/>
                  </a:cubicBezTo>
                  <a:lnTo>
                    <a:pt x="136951" y="264150"/>
                  </a:lnTo>
                  <a:lnTo>
                    <a:pt x="136951" y="52616"/>
                  </a:lnTo>
                  <a:lnTo>
                    <a:pt x="82299" y="96338"/>
                  </a:lnTo>
                  <a:cubicBezTo>
                    <a:pt x="79084" y="98909"/>
                    <a:pt x="75869" y="100195"/>
                    <a:pt x="71369" y="100195"/>
                  </a:cubicBezTo>
                  <a:lnTo>
                    <a:pt x="34720" y="100195"/>
                  </a:lnTo>
                  <a:lnTo>
                    <a:pt x="34720" y="216571"/>
                  </a:lnTo>
                  <a:lnTo>
                    <a:pt x="34720" y="216571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2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3350312" y="3657710"/>
            <a:ext cx="333329" cy="311826"/>
            <a:chOff x="3311334" y="3710960"/>
            <a:chExt cx="338037" cy="316230"/>
          </a:xfrm>
          <a:solidFill>
            <a:srgbClr val="B1B1A1"/>
          </a:solidFill>
        </p:grpSpPr>
        <p:sp>
          <p:nvSpPr>
            <p:cNvPr id="13" name="Forma Livre: Forma 12">
              <a:extLst>
                <a:ext uri="{FF2B5EF4-FFF2-40B4-BE49-F238E27FC236}">
                  <a16:creationId xmlns:a16="http://schemas.microsoft.com/office/drawing/2014/main" id="{B07D8C54-D7DC-452E-B7B8-5459F8D88E82}"/>
                </a:ext>
              </a:extLst>
            </p:cNvPr>
            <p:cNvSpPr/>
            <p:nvPr/>
          </p:nvSpPr>
          <p:spPr>
            <a:xfrm>
              <a:off x="3558552" y="3715032"/>
              <a:ext cx="90818" cy="309586"/>
            </a:xfrm>
            <a:custGeom>
              <a:avLst/>
              <a:gdLst>
                <a:gd name="connsiteX0" fmla="*/ 17038 w 90818"/>
                <a:gd name="connsiteY0" fmla="*/ 309586 h 309586"/>
                <a:gd name="connsiteX1" fmla="*/ 4822 w 90818"/>
                <a:gd name="connsiteY1" fmla="*/ 304442 h 309586"/>
                <a:gd name="connsiteX2" fmla="*/ 4822 w 90818"/>
                <a:gd name="connsiteY2" fmla="*/ 280653 h 309586"/>
                <a:gd name="connsiteX3" fmla="*/ 4822 w 90818"/>
                <a:gd name="connsiteY3" fmla="*/ 28612 h 309586"/>
                <a:gd name="connsiteX4" fmla="*/ 4822 w 90818"/>
                <a:gd name="connsiteY4" fmla="*/ 4822 h 309586"/>
                <a:gd name="connsiteX5" fmla="*/ 28612 w 90818"/>
                <a:gd name="connsiteY5" fmla="*/ 4822 h 309586"/>
                <a:gd name="connsiteX6" fmla="*/ 28612 w 90818"/>
                <a:gd name="connsiteY6" fmla="*/ 305085 h 309586"/>
                <a:gd name="connsiteX7" fmla="*/ 17038 w 90818"/>
                <a:gd name="connsiteY7" fmla="*/ 309586 h 309586"/>
                <a:gd name="connsiteX8" fmla="*/ 17038 w 90818"/>
                <a:gd name="connsiteY8" fmla="*/ 309586 h 309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0818" h="309586">
                  <a:moveTo>
                    <a:pt x="17038" y="309586"/>
                  </a:moveTo>
                  <a:cubicBezTo>
                    <a:pt x="12538" y="309586"/>
                    <a:pt x="8037" y="307657"/>
                    <a:pt x="4822" y="304442"/>
                  </a:cubicBezTo>
                  <a:cubicBezTo>
                    <a:pt x="-1607" y="298013"/>
                    <a:pt x="-1607" y="287082"/>
                    <a:pt x="4822" y="280653"/>
                  </a:cubicBezTo>
                  <a:cubicBezTo>
                    <a:pt x="74262" y="211213"/>
                    <a:pt x="74262" y="98052"/>
                    <a:pt x="4822" y="28612"/>
                  </a:cubicBezTo>
                  <a:cubicBezTo>
                    <a:pt x="-1607" y="22182"/>
                    <a:pt x="-1607" y="11252"/>
                    <a:pt x="4822" y="4822"/>
                  </a:cubicBezTo>
                  <a:cubicBezTo>
                    <a:pt x="11252" y="-1607"/>
                    <a:pt x="22182" y="-1607"/>
                    <a:pt x="28612" y="4822"/>
                  </a:cubicBezTo>
                  <a:cubicBezTo>
                    <a:pt x="111554" y="87764"/>
                    <a:pt x="111554" y="222143"/>
                    <a:pt x="28612" y="305085"/>
                  </a:cubicBezTo>
                  <a:cubicBezTo>
                    <a:pt x="26040" y="307657"/>
                    <a:pt x="21539" y="309586"/>
                    <a:pt x="17038" y="309586"/>
                  </a:cubicBezTo>
                  <a:lnTo>
                    <a:pt x="17038" y="309586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4" name="Forma Livre: Forma 13">
              <a:extLst>
                <a:ext uri="{FF2B5EF4-FFF2-40B4-BE49-F238E27FC236}">
                  <a16:creationId xmlns:a16="http://schemas.microsoft.com/office/drawing/2014/main" id="{F13FF4DB-CCCF-498A-94BA-3CA836E62D43}"/>
                </a:ext>
              </a:extLst>
            </p:cNvPr>
            <p:cNvSpPr/>
            <p:nvPr/>
          </p:nvSpPr>
          <p:spPr>
            <a:xfrm>
              <a:off x="3509687" y="3763254"/>
              <a:ext cx="70404" cy="211855"/>
            </a:xfrm>
            <a:custGeom>
              <a:avLst/>
              <a:gdLst>
                <a:gd name="connsiteX0" fmla="*/ 17038 w 70404"/>
                <a:gd name="connsiteY0" fmla="*/ 211856 h 211855"/>
                <a:gd name="connsiteX1" fmla="*/ 4822 w 70404"/>
                <a:gd name="connsiteY1" fmla="*/ 206712 h 211855"/>
                <a:gd name="connsiteX2" fmla="*/ 4822 w 70404"/>
                <a:gd name="connsiteY2" fmla="*/ 182923 h 211855"/>
                <a:gd name="connsiteX3" fmla="*/ 36970 w 70404"/>
                <a:gd name="connsiteY3" fmla="*/ 105767 h 211855"/>
                <a:gd name="connsiteX4" fmla="*/ 4822 w 70404"/>
                <a:gd name="connsiteY4" fmla="*/ 28612 h 211855"/>
                <a:gd name="connsiteX5" fmla="*/ 4822 w 70404"/>
                <a:gd name="connsiteY5" fmla="*/ 4822 h 211855"/>
                <a:gd name="connsiteX6" fmla="*/ 28612 w 70404"/>
                <a:gd name="connsiteY6" fmla="*/ 4822 h 211855"/>
                <a:gd name="connsiteX7" fmla="*/ 70404 w 70404"/>
                <a:gd name="connsiteY7" fmla="*/ 105767 h 211855"/>
                <a:gd name="connsiteX8" fmla="*/ 28612 w 70404"/>
                <a:gd name="connsiteY8" fmla="*/ 206712 h 211855"/>
                <a:gd name="connsiteX9" fmla="*/ 17038 w 70404"/>
                <a:gd name="connsiteY9" fmla="*/ 211856 h 211855"/>
                <a:gd name="connsiteX10" fmla="*/ 17038 w 70404"/>
                <a:gd name="connsiteY10" fmla="*/ 211856 h 211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0404" h="211855">
                  <a:moveTo>
                    <a:pt x="17038" y="211856"/>
                  </a:moveTo>
                  <a:cubicBezTo>
                    <a:pt x="12538" y="211856"/>
                    <a:pt x="8037" y="209927"/>
                    <a:pt x="4822" y="206712"/>
                  </a:cubicBezTo>
                  <a:cubicBezTo>
                    <a:pt x="-1607" y="200283"/>
                    <a:pt x="-1607" y="189352"/>
                    <a:pt x="4822" y="182923"/>
                  </a:cubicBezTo>
                  <a:cubicBezTo>
                    <a:pt x="25397" y="162348"/>
                    <a:pt x="36970" y="135343"/>
                    <a:pt x="36970" y="105767"/>
                  </a:cubicBezTo>
                  <a:cubicBezTo>
                    <a:pt x="36970" y="76834"/>
                    <a:pt x="25397" y="49187"/>
                    <a:pt x="4822" y="28612"/>
                  </a:cubicBezTo>
                  <a:cubicBezTo>
                    <a:pt x="-1607" y="22182"/>
                    <a:pt x="-1607" y="11252"/>
                    <a:pt x="4822" y="4822"/>
                  </a:cubicBezTo>
                  <a:cubicBezTo>
                    <a:pt x="11252" y="-1607"/>
                    <a:pt x="22182" y="-1607"/>
                    <a:pt x="28612" y="4822"/>
                  </a:cubicBezTo>
                  <a:cubicBezTo>
                    <a:pt x="55616" y="31827"/>
                    <a:pt x="70404" y="67832"/>
                    <a:pt x="70404" y="105767"/>
                  </a:cubicBezTo>
                  <a:cubicBezTo>
                    <a:pt x="70404" y="143702"/>
                    <a:pt x="55616" y="179708"/>
                    <a:pt x="28612" y="206712"/>
                  </a:cubicBezTo>
                  <a:cubicBezTo>
                    <a:pt x="25397" y="210570"/>
                    <a:pt x="21539" y="211856"/>
                    <a:pt x="17038" y="211856"/>
                  </a:cubicBezTo>
                  <a:lnTo>
                    <a:pt x="17038" y="211856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5" name="Forma Livre: Forma 14">
              <a:extLst>
                <a:ext uri="{FF2B5EF4-FFF2-40B4-BE49-F238E27FC236}">
                  <a16:creationId xmlns:a16="http://schemas.microsoft.com/office/drawing/2014/main" id="{F549DE0B-DBF5-43A3-B42E-121C4E0BDC8D}"/>
                </a:ext>
              </a:extLst>
            </p:cNvPr>
            <p:cNvSpPr/>
            <p:nvPr/>
          </p:nvSpPr>
          <p:spPr>
            <a:xfrm>
              <a:off x="3311334" y="3710960"/>
              <a:ext cx="169741" cy="316230"/>
            </a:xfrm>
            <a:custGeom>
              <a:avLst/>
              <a:gdLst>
                <a:gd name="connsiteX0" fmla="*/ 153025 w 169741"/>
                <a:gd name="connsiteY0" fmla="*/ 316230 h 316230"/>
                <a:gd name="connsiteX1" fmla="*/ 142095 w 169741"/>
                <a:gd name="connsiteY1" fmla="*/ 312372 h 316230"/>
                <a:gd name="connsiteX2" fmla="*/ 64296 w 169741"/>
                <a:gd name="connsiteY2" fmla="*/ 250005 h 316230"/>
                <a:gd name="connsiteX3" fmla="*/ 16717 w 169741"/>
                <a:gd name="connsiteY3" fmla="*/ 250005 h 316230"/>
                <a:gd name="connsiteX4" fmla="*/ 0 w 169741"/>
                <a:gd name="connsiteY4" fmla="*/ 233288 h 316230"/>
                <a:gd name="connsiteX5" fmla="*/ 0 w 169741"/>
                <a:gd name="connsiteY5" fmla="*/ 82835 h 316230"/>
                <a:gd name="connsiteX6" fmla="*/ 16717 w 169741"/>
                <a:gd name="connsiteY6" fmla="*/ 66118 h 316230"/>
                <a:gd name="connsiteX7" fmla="*/ 64296 w 169741"/>
                <a:gd name="connsiteY7" fmla="*/ 66118 h 316230"/>
                <a:gd name="connsiteX8" fmla="*/ 142095 w 169741"/>
                <a:gd name="connsiteY8" fmla="*/ 3751 h 316230"/>
                <a:gd name="connsiteX9" fmla="*/ 160097 w 169741"/>
                <a:gd name="connsiteY9" fmla="*/ 1822 h 316230"/>
                <a:gd name="connsiteX10" fmla="*/ 169742 w 169741"/>
                <a:gd name="connsiteY10" fmla="*/ 17253 h 316230"/>
                <a:gd name="connsiteX11" fmla="*/ 169742 w 169741"/>
                <a:gd name="connsiteY11" fmla="*/ 299513 h 316230"/>
                <a:gd name="connsiteX12" fmla="*/ 160097 w 169741"/>
                <a:gd name="connsiteY12" fmla="*/ 314944 h 316230"/>
                <a:gd name="connsiteX13" fmla="*/ 153025 w 169741"/>
                <a:gd name="connsiteY13" fmla="*/ 316230 h 316230"/>
                <a:gd name="connsiteX14" fmla="*/ 153025 w 169741"/>
                <a:gd name="connsiteY14" fmla="*/ 316230 h 316230"/>
                <a:gd name="connsiteX15" fmla="*/ 34077 w 169741"/>
                <a:gd name="connsiteY15" fmla="*/ 216571 h 316230"/>
                <a:gd name="connsiteX16" fmla="*/ 70726 w 169741"/>
                <a:gd name="connsiteY16" fmla="*/ 216571 h 316230"/>
                <a:gd name="connsiteX17" fmla="*/ 81656 w 169741"/>
                <a:gd name="connsiteY17" fmla="*/ 220429 h 316230"/>
                <a:gd name="connsiteX18" fmla="*/ 136308 w 169741"/>
                <a:gd name="connsiteY18" fmla="*/ 264150 h 316230"/>
                <a:gd name="connsiteX19" fmla="*/ 136308 w 169741"/>
                <a:gd name="connsiteY19" fmla="*/ 52616 h 316230"/>
                <a:gd name="connsiteX20" fmla="*/ 81656 w 169741"/>
                <a:gd name="connsiteY20" fmla="*/ 96338 h 316230"/>
                <a:gd name="connsiteX21" fmla="*/ 70726 w 169741"/>
                <a:gd name="connsiteY21" fmla="*/ 100195 h 316230"/>
                <a:gd name="connsiteX22" fmla="*/ 34077 w 169741"/>
                <a:gd name="connsiteY22" fmla="*/ 100195 h 316230"/>
                <a:gd name="connsiteX23" fmla="*/ 34077 w 169741"/>
                <a:gd name="connsiteY23" fmla="*/ 216571 h 316230"/>
                <a:gd name="connsiteX24" fmla="*/ 34077 w 169741"/>
                <a:gd name="connsiteY24" fmla="*/ 216571 h 316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69741" h="316230">
                  <a:moveTo>
                    <a:pt x="153025" y="316230"/>
                  </a:moveTo>
                  <a:cubicBezTo>
                    <a:pt x="149167" y="316230"/>
                    <a:pt x="145309" y="314944"/>
                    <a:pt x="142095" y="312372"/>
                  </a:cubicBezTo>
                  <a:lnTo>
                    <a:pt x="64296" y="250005"/>
                  </a:lnTo>
                  <a:lnTo>
                    <a:pt x="16717" y="250005"/>
                  </a:lnTo>
                  <a:cubicBezTo>
                    <a:pt x="7073" y="250005"/>
                    <a:pt x="0" y="242289"/>
                    <a:pt x="0" y="233288"/>
                  </a:cubicBezTo>
                  <a:lnTo>
                    <a:pt x="0" y="82835"/>
                  </a:lnTo>
                  <a:cubicBezTo>
                    <a:pt x="0" y="73191"/>
                    <a:pt x="7716" y="66118"/>
                    <a:pt x="16717" y="66118"/>
                  </a:cubicBezTo>
                  <a:lnTo>
                    <a:pt x="64296" y="66118"/>
                  </a:lnTo>
                  <a:lnTo>
                    <a:pt x="142095" y="3751"/>
                  </a:lnTo>
                  <a:cubicBezTo>
                    <a:pt x="147238" y="-107"/>
                    <a:pt x="154311" y="-1393"/>
                    <a:pt x="160097" y="1822"/>
                  </a:cubicBezTo>
                  <a:cubicBezTo>
                    <a:pt x="165884" y="4394"/>
                    <a:pt x="169742" y="10824"/>
                    <a:pt x="169742" y="17253"/>
                  </a:cubicBezTo>
                  <a:lnTo>
                    <a:pt x="169742" y="299513"/>
                  </a:lnTo>
                  <a:cubicBezTo>
                    <a:pt x="169742" y="305943"/>
                    <a:pt x="165884" y="311730"/>
                    <a:pt x="160097" y="314944"/>
                  </a:cubicBezTo>
                  <a:cubicBezTo>
                    <a:pt x="158169" y="316230"/>
                    <a:pt x="155597" y="316230"/>
                    <a:pt x="153025" y="316230"/>
                  </a:cubicBezTo>
                  <a:lnTo>
                    <a:pt x="153025" y="316230"/>
                  </a:lnTo>
                  <a:close/>
                  <a:moveTo>
                    <a:pt x="34077" y="216571"/>
                  </a:moveTo>
                  <a:lnTo>
                    <a:pt x="70726" y="216571"/>
                  </a:lnTo>
                  <a:cubicBezTo>
                    <a:pt x="74584" y="216571"/>
                    <a:pt x="78441" y="217857"/>
                    <a:pt x="81656" y="220429"/>
                  </a:cubicBezTo>
                  <a:lnTo>
                    <a:pt x="136308" y="264150"/>
                  </a:lnTo>
                  <a:lnTo>
                    <a:pt x="136308" y="52616"/>
                  </a:lnTo>
                  <a:lnTo>
                    <a:pt x="81656" y="96338"/>
                  </a:lnTo>
                  <a:cubicBezTo>
                    <a:pt x="78441" y="98909"/>
                    <a:pt x="75227" y="100195"/>
                    <a:pt x="70726" y="100195"/>
                  </a:cubicBezTo>
                  <a:lnTo>
                    <a:pt x="34077" y="100195"/>
                  </a:lnTo>
                  <a:lnTo>
                    <a:pt x="34077" y="216571"/>
                  </a:lnTo>
                  <a:lnTo>
                    <a:pt x="34077" y="216571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6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4348873" y="3616711"/>
            <a:ext cx="397522" cy="394669"/>
            <a:chOff x="4323998" y="3669382"/>
            <a:chExt cx="403136" cy="400243"/>
          </a:xfrm>
          <a:solidFill>
            <a:srgbClr val="B1B1A1"/>
          </a:solidFill>
        </p:grpSpPr>
        <p:sp>
          <p:nvSpPr>
            <p:cNvPr id="17" name="Forma Livre: Forma 16">
              <a:extLst>
                <a:ext uri="{FF2B5EF4-FFF2-40B4-BE49-F238E27FC236}">
                  <a16:creationId xmlns:a16="http://schemas.microsoft.com/office/drawing/2014/main" id="{F53FEF5F-680A-468E-AA04-B74805D5FDA1}"/>
                </a:ext>
              </a:extLst>
            </p:cNvPr>
            <p:cNvSpPr/>
            <p:nvPr/>
          </p:nvSpPr>
          <p:spPr>
            <a:xfrm>
              <a:off x="4617510" y="3669382"/>
              <a:ext cx="109624" cy="400243"/>
            </a:xfrm>
            <a:custGeom>
              <a:avLst/>
              <a:gdLst>
                <a:gd name="connsiteX0" fmla="*/ 17039 w 109624"/>
                <a:gd name="connsiteY0" fmla="*/ 400244 h 400243"/>
                <a:gd name="connsiteX1" fmla="*/ 4822 w 109624"/>
                <a:gd name="connsiteY1" fmla="*/ 395100 h 400243"/>
                <a:gd name="connsiteX2" fmla="*/ 4822 w 109624"/>
                <a:gd name="connsiteY2" fmla="*/ 371310 h 400243"/>
                <a:gd name="connsiteX3" fmla="*/ 4822 w 109624"/>
                <a:gd name="connsiteY3" fmla="*/ 28612 h 400243"/>
                <a:gd name="connsiteX4" fmla="*/ 4822 w 109624"/>
                <a:gd name="connsiteY4" fmla="*/ 4822 h 400243"/>
                <a:gd name="connsiteX5" fmla="*/ 28612 w 109624"/>
                <a:gd name="connsiteY5" fmla="*/ 4822 h 400243"/>
                <a:gd name="connsiteX6" fmla="*/ 28612 w 109624"/>
                <a:gd name="connsiteY6" fmla="*/ 395743 h 400243"/>
                <a:gd name="connsiteX7" fmla="*/ 17039 w 109624"/>
                <a:gd name="connsiteY7" fmla="*/ 400244 h 400243"/>
                <a:gd name="connsiteX8" fmla="*/ 17039 w 109624"/>
                <a:gd name="connsiteY8" fmla="*/ 400244 h 400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624" h="400243">
                  <a:moveTo>
                    <a:pt x="17039" y="400244"/>
                  </a:moveTo>
                  <a:cubicBezTo>
                    <a:pt x="12538" y="400244"/>
                    <a:pt x="8037" y="398315"/>
                    <a:pt x="4822" y="395100"/>
                  </a:cubicBezTo>
                  <a:cubicBezTo>
                    <a:pt x="-1607" y="388670"/>
                    <a:pt x="-1607" y="377740"/>
                    <a:pt x="4822" y="371310"/>
                  </a:cubicBezTo>
                  <a:cubicBezTo>
                    <a:pt x="99338" y="276795"/>
                    <a:pt x="99338" y="123127"/>
                    <a:pt x="4822" y="28612"/>
                  </a:cubicBezTo>
                  <a:cubicBezTo>
                    <a:pt x="-1607" y="22182"/>
                    <a:pt x="-1607" y="11252"/>
                    <a:pt x="4822" y="4822"/>
                  </a:cubicBezTo>
                  <a:cubicBezTo>
                    <a:pt x="11252" y="-1607"/>
                    <a:pt x="22182" y="-1607"/>
                    <a:pt x="28612" y="4822"/>
                  </a:cubicBezTo>
                  <a:cubicBezTo>
                    <a:pt x="136629" y="112840"/>
                    <a:pt x="136629" y="287725"/>
                    <a:pt x="28612" y="395743"/>
                  </a:cubicBezTo>
                  <a:cubicBezTo>
                    <a:pt x="25397" y="398958"/>
                    <a:pt x="20896" y="400244"/>
                    <a:pt x="17039" y="400244"/>
                  </a:cubicBezTo>
                  <a:lnTo>
                    <a:pt x="17039" y="400244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8" name="Forma Livre: Forma 17">
              <a:extLst>
                <a:ext uri="{FF2B5EF4-FFF2-40B4-BE49-F238E27FC236}">
                  <a16:creationId xmlns:a16="http://schemas.microsoft.com/office/drawing/2014/main" id="{506F2C15-96B5-4B44-8DC0-DC20BE7C7671}"/>
                </a:ext>
              </a:extLst>
            </p:cNvPr>
            <p:cNvSpPr/>
            <p:nvPr/>
          </p:nvSpPr>
          <p:spPr>
            <a:xfrm>
              <a:off x="4571860" y="3715032"/>
              <a:ext cx="90818" cy="309586"/>
            </a:xfrm>
            <a:custGeom>
              <a:avLst/>
              <a:gdLst>
                <a:gd name="connsiteX0" fmla="*/ 17038 w 90818"/>
                <a:gd name="connsiteY0" fmla="*/ 309586 h 309586"/>
                <a:gd name="connsiteX1" fmla="*/ 4822 w 90818"/>
                <a:gd name="connsiteY1" fmla="*/ 304442 h 309586"/>
                <a:gd name="connsiteX2" fmla="*/ 4822 w 90818"/>
                <a:gd name="connsiteY2" fmla="*/ 280653 h 309586"/>
                <a:gd name="connsiteX3" fmla="*/ 4822 w 90818"/>
                <a:gd name="connsiteY3" fmla="*/ 28612 h 309586"/>
                <a:gd name="connsiteX4" fmla="*/ 4822 w 90818"/>
                <a:gd name="connsiteY4" fmla="*/ 4822 h 309586"/>
                <a:gd name="connsiteX5" fmla="*/ 28612 w 90818"/>
                <a:gd name="connsiteY5" fmla="*/ 4822 h 309586"/>
                <a:gd name="connsiteX6" fmla="*/ 28612 w 90818"/>
                <a:gd name="connsiteY6" fmla="*/ 305085 h 309586"/>
                <a:gd name="connsiteX7" fmla="*/ 17038 w 90818"/>
                <a:gd name="connsiteY7" fmla="*/ 309586 h 309586"/>
                <a:gd name="connsiteX8" fmla="*/ 17038 w 90818"/>
                <a:gd name="connsiteY8" fmla="*/ 309586 h 309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0818" h="309586">
                  <a:moveTo>
                    <a:pt x="17038" y="309586"/>
                  </a:moveTo>
                  <a:cubicBezTo>
                    <a:pt x="12538" y="309586"/>
                    <a:pt x="8037" y="307657"/>
                    <a:pt x="4822" y="304442"/>
                  </a:cubicBezTo>
                  <a:cubicBezTo>
                    <a:pt x="-1607" y="298013"/>
                    <a:pt x="-1607" y="287082"/>
                    <a:pt x="4822" y="280653"/>
                  </a:cubicBezTo>
                  <a:cubicBezTo>
                    <a:pt x="74262" y="211213"/>
                    <a:pt x="74262" y="98052"/>
                    <a:pt x="4822" y="28612"/>
                  </a:cubicBezTo>
                  <a:cubicBezTo>
                    <a:pt x="-1607" y="22182"/>
                    <a:pt x="-1607" y="11252"/>
                    <a:pt x="4822" y="4822"/>
                  </a:cubicBezTo>
                  <a:cubicBezTo>
                    <a:pt x="11252" y="-1607"/>
                    <a:pt x="22182" y="-1607"/>
                    <a:pt x="28612" y="4822"/>
                  </a:cubicBezTo>
                  <a:cubicBezTo>
                    <a:pt x="111554" y="87764"/>
                    <a:pt x="111554" y="222143"/>
                    <a:pt x="28612" y="305085"/>
                  </a:cubicBezTo>
                  <a:cubicBezTo>
                    <a:pt x="26040" y="307657"/>
                    <a:pt x="21539" y="309586"/>
                    <a:pt x="17038" y="309586"/>
                  </a:cubicBezTo>
                  <a:lnTo>
                    <a:pt x="17038" y="309586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9" name="Forma Livre: Forma 18">
              <a:extLst>
                <a:ext uri="{FF2B5EF4-FFF2-40B4-BE49-F238E27FC236}">
                  <a16:creationId xmlns:a16="http://schemas.microsoft.com/office/drawing/2014/main" id="{87E4F926-0B2C-4FDB-BDCF-F0065B4951AD}"/>
                </a:ext>
              </a:extLst>
            </p:cNvPr>
            <p:cNvSpPr/>
            <p:nvPr/>
          </p:nvSpPr>
          <p:spPr>
            <a:xfrm>
              <a:off x="4522994" y="3763254"/>
              <a:ext cx="70404" cy="211855"/>
            </a:xfrm>
            <a:custGeom>
              <a:avLst/>
              <a:gdLst>
                <a:gd name="connsiteX0" fmla="*/ 17039 w 70404"/>
                <a:gd name="connsiteY0" fmla="*/ 211856 h 211855"/>
                <a:gd name="connsiteX1" fmla="*/ 4822 w 70404"/>
                <a:gd name="connsiteY1" fmla="*/ 206712 h 211855"/>
                <a:gd name="connsiteX2" fmla="*/ 4822 w 70404"/>
                <a:gd name="connsiteY2" fmla="*/ 182923 h 211855"/>
                <a:gd name="connsiteX3" fmla="*/ 36970 w 70404"/>
                <a:gd name="connsiteY3" fmla="*/ 105767 h 211855"/>
                <a:gd name="connsiteX4" fmla="*/ 4822 w 70404"/>
                <a:gd name="connsiteY4" fmla="*/ 28612 h 211855"/>
                <a:gd name="connsiteX5" fmla="*/ 4822 w 70404"/>
                <a:gd name="connsiteY5" fmla="*/ 4822 h 211855"/>
                <a:gd name="connsiteX6" fmla="*/ 28612 w 70404"/>
                <a:gd name="connsiteY6" fmla="*/ 4822 h 211855"/>
                <a:gd name="connsiteX7" fmla="*/ 70404 w 70404"/>
                <a:gd name="connsiteY7" fmla="*/ 105767 h 211855"/>
                <a:gd name="connsiteX8" fmla="*/ 28612 w 70404"/>
                <a:gd name="connsiteY8" fmla="*/ 206712 h 211855"/>
                <a:gd name="connsiteX9" fmla="*/ 17039 w 70404"/>
                <a:gd name="connsiteY9" fmla="*/ 211856 h 211855"/>
                <a:gd name="connsiteX10" fmla="*/ 17039 w 70404"/>
                <a:gd name="connsiteY10" fmla="*/ 211856 h 211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0404" h="211855">
                  <a:moveTo>
                    <a:pt x="17039" y="211856"/>
                  </a:moveTo>
                  <a:cubicBezTo>
                    <a:pt x="12538" y="211856"/>
                    <a:pt x="8037" y="209927"/>
                    <a:pt x="4822" y="206712"/>
                  </a:cubicBezTo>
                  <a:cubicBezTo>
                    <a:pt x="-1607" y="200283"/>
                    <a:pt x="-1607" y="189352"/>
                    <a:pt x="4822" y="182923"/>
                  </a:cubicBezTo>
                  <a:cubicBezTo>
                    <a:pt x="25397" y="162348"/>
                    <a:pt x="36970" y="135343"/>
                    <a:pt x="36970" y="105767"/>
                  </a:cubicBezTo>
                  <a:cubicBezTo>
                    <a:pt x="36970" y="76834"/>
                    <a:pt x="25397" y="49187"/>
                    <a:pt x="4822" y="28612"/>
                  </a:cubicBezTo>
                  <a:cubicBezTo>
                    <a:pt x="-1607" y="22182"/>
                    <a:pt x="-1607" y="11252"/>
                    <a:pt x="4822" y="4822"/>
                  </a:cubicBezTo>
                  <a:cubicBezTo>
                    <a:pt x="11252" y="-1607"/>
                    <a:pt x="22182" y="-1607"/>
                    <a:pt x="28612" y="4822"/>
                  </a:cubicBezTo>
                  <a:cubicBezTo>
                    <a:pt x="55616" y="31827"/>
                    <a:pt x="70404" y="67832"/>
                    <a:pt x="70404" y="105767"/>
                  </a:cubicBezTo>
                  <a:cubicBezTo>
                    <a:pt x="70404" y="143702"/>
                    <a:pt x="55616" y="179708"/>
                    <a:pt x="28612" y="206712"/>
                  </a:cubicBezTo>
                  <a:cubicBezTo>
                    <a:pt x="25397" y="210570"/>
                    <a:pt x="20896" y="211856"/>
                    <a:pt x="17039" y="211856"/>
                  </a:cubicBezTo>
                  <a:lnTo>
                    <a:pt x="17039" y="211856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0" name="Forma Livre: Forma 19">
              <a:extLst>
                <a:ext uri="{FF2B5EF4-FFF2-40B4-BE49-F238E27FC236}">
                  <a16:creationId xmlns:a16="http://schemas.microsoft.com/office/drawing/2014/main" id="{7C9D2736-9158-4F86-9A95-F6EC9FEA2F81}"/>
                </a:ext>
              </a:extLst>
            </p:cNvPr>
            <p:cNvSpPr/>
            <p:nvPr/>
          </p:nvSpPr>
          <p:spPr>
            <a:xfrm>
              <a:off x="4323998" y="3710960"/>
              <a:ext cx="169741" cy="316230"/>
            </a:xfrm>
            <a:custGeom>
              <a:avLst/>
              <a:gdLst>
                <a:gd name="connsiteX0" fmla="*/ 153668 w 169741"/>
                <a:gd name="connsiteY0" fmla="*/ 316230 h 316230"/>
                <a:gd name="connsiteX1" fmla="*/ 142737 w 169741"/>
                <a:gd name="connsiteY1" fmla="*/ 312372 h 316230"/>
                <a:gd name="connsiteX2" fmla="*/ 64939 w 169741"/>
                <a:gd name="connsiteY2" fmla="*/ 250005 h 316230"/>
                <a:gd name="connsiteX3" fmla="*/ 16717 w 169741"/>
                <a:gd name="connsiteY3" fmla="*/ 250005 h 316230"/>
                <a:gd name="connsiteX4" fmla="*/ 0 w 169741"/>
                <a:gd name="connsiteY4" fmla="*/ 233288 h 316230"/>
                <a:gd name="connsiteX5" fmla="*/ 0 w 169741"/>
                <a:gd name="connsiteY5" fmla="*/ 82835 h 316230"/>
                <a:gd name="connsiteX6" fmla="*/ 16717 w 169741"/>
                <a:gd name="connsiteY6" fmla="*/ 66118 h 316230"/>
                <a:gd name="connsiteX7" fmla="*/ 64296 w 169741"/>
                <a:gd name="connsiteY7" fmla="*/ 66118 h 316230"/>
                <a:gd name="connsiteX8" fmla="*/ 142095 w 169741"/>
                <a:gd name="connsiteY8" fmla="*/ 3751 h 316230"/>
                <a:gd name="connsiteX9" fmla="*/ 160097 w 169741"/>
                <a:gd name="connsiteY9" fmla="*/ 1822 h 316230"/>
                <a:gd name="connsiteX10" fmla="*/ 169742 w 169741"/>
                <a:gd name="connsiteY10" fmla="*/ 17253 h 316230"/>
                <a:gd name="connsiteX11" fmla="*/ 169742 w 169741"/>
                <a:gd name="connsiteY11" fmla="*/ 299513 h 316230"/>
                <a:gd name="connsiteX12" fmla="*/ 160097 w 169741"/>
                <a:gd name="connsiteY12" fmla="*/ 314944 h 316230"/>
                <a:gd name="connsiteX13" fmla="*/ 153668 w 169741"/>
                <a:gd name="connsiteY13" fmla="*/ 316230 h 316230"/>
                <a:gd name="connsiteX14" fmla="*/ 153668 w 169741"/>
                <a:gd name="connsiteY14" fmla="*/ 316230 h 316230"/>
                <a:gd name="connsiteX15" fmla="*/ 34720 w 169741"/>
                <a:gd name="connsiteY15" fmla="*/ 216571 h 316230"/>
                <a:gd name="connsiteX16" fmla="*/ 71369 w 169741"/>
                <a:gd name="connsiteY16" fmla="*/ 216571 h 316230"/>
                <a:gd name="connsiteX17" fmla="*/ 82299 w 169741"/>
                <a:gd name="connsiteY17" fmla="*/ 220429 h 316230"/>
                <a:gd name="connsiteX18" fmla="*/ 136951 w 169741"/>
                <a:gd name="connsiteY18" fmla="*/ 264150 h 316230"/>
                <a:gd name="connsiteX19" fmla="*/ 136951 w 169741"/>
                <a:gd name="connsiteY19" fmla="*/ 52616 h 316230"/>
                <a:gd name="connsiteX20" fmla="*/ 82299 w 169741"/>
                <a:gd name="connsiteY20" fmla="*/ 96338 h 316230"/>
                <a:gd name="connsiteX21" fmla="*/ 71369 w 169741"/>
                <a:gd name="connsiteY21" fmla="*/ 100195 h 316230"/>
                <a:gd name="connsiteX22" fmla="*/ 34720 w 169741"/>
                <a:gd name="connsiteY22" fmla="*/ 100195 h 316230"/>
                <a:gd name="connsiteX23" fmla="*/ 34720 w 169741"/>
                <a:gd name="connsiteY23" fmla="*/ 216571 h 316230"/>
                <a:gd name="connsiteX24" fmla="*/ 34720 w 169741"/>
                <a:gd name="connsiteY24" fmla="*/ 216571 h 316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69741" h="316230">
                  <a:moveTo>
                    <a:pt x="153668" y="316230"/>
                  </a:moveTo>
                  <a:cubicBezTo>
                    <a:pt x="149810" y="316230"/>
                    <a:pt x="145952" y="314944"/>
                    <a:pt x="142737" y="312372"/>
                  </a:cubicBezTo>
                  <a:lnTo>
                    <a:pt x="64939" y="250005"/>
                  </a:lnTo>
                  <a:lnTo>
                    <a:pt x="16717" y="250005"/>
                  </a:lnTo>
                  <a:cubicBezTo>
                    <a:pt x="7073" y="250005"/>
                    <a:pt x="0" y="242289"/>
                    <a:pt x="0" y="233288"/>
                  </a:cubicBezTo>
                  <a:lnTo>
                    <a:pt x="0" y="82835"/>
                  </a:lnTo>
                  <a:cubicBezTo>
                    <a:pt x="0" y="73191"/>
                    <a:pt x="7716" y="66118"/>
                    <a:pt x="16717" y="66118"/>
                  </a:cubicBezTo>
                  <a:lnTo>
                    <a:pt x="64296" y="66118"/>
                  </a:lnTo>
                  <a:lnTo>
                    <a:pt x="142095" y="3751"/>
                  </a:lnTo>
                  <a:cubicBezTo>
                    <a:pt x="147238" y="-107"/>
                    <a:pt x="154311" y="-1393"/>
                    <a:pt x="160097" y="1822"/>
                  </a:cubicBezTo>
                  <a:cubicBezTo>
                    <a:pt x="165884" y="4394"/>
                    <a:pt x="169742" y="10824"/>
                    <a:pt x="169742" y="17253"/>
                  </a:cubicBezTo>
                  <a:lnTo>
                    <a:pt x="169742" y="299513"/>
                  </a:lnTo>
                  <a:cubicBezTo>
                    <a:pt x="169742" y="305943"/>
                    <a:pt x="165884" y="311730"/>
                    <a:pt x="160097" y="314944"/>
                  </a:cubicBezTo>
                  <a:cubicBezTo>
                    <a:pt x="158811" y="316230"/>
                    <a:pt x="156240" y="316230"/>
                    <a:pt x="153668" y="316230"/>
                  </a:cubicBezTo>
                  <a:lnTo>
                    <a:pt x="153668" y="316230"/>
                  </a:lnTo>
                  <a:close/>
                  <a:moveTo>
                    <a:pt x="34720" y="216571"/>
                  </a:moveTo>
                  <a:lnTo>
                    <a:pt x="71369" y="216571"/>
                  </a:lnTo>
                  <a:cubicBezTo>
                    <a:pt x="75227" y="216571"/>
                    <a:pt x="79084" y="217857"/>
                    <a:pt x="82299" y="220429"/>
                  </a:cubicBezTo>
                  <a:lnTo>
                    <a:pt x="136951" y="264150"/>
                  </a:lnTo>
                  <a:lnTo>
                    <a:pt x="136951" y="52616"/>
                  </a:lnTo>
                  <a:lnTo>
                    <a:pt x="82299" y="96338"/>
                  </a:lnTo>
                  <a:cubicBezTo>
                    <a:pt x="79084" y="98909"/>
                    <a:pt x="75870" y="100195"/>
                    <a:pt x="71369" y="100195"/>
                  </a:cubicBezTo>
                  <a:lnTo>
                    <a:pt x="34720" y="100195"/>
                  </a:lnTo>
                  <a:lnTo>
                    <a:pt x="34720" y="216571"/>
                  </a:lnTo>
                  <a:lnTo>
                    <a:pt x="34720" y="216571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1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1285352" y="3657710"/>
            <a:ext cx="371210" cy="311826"/>
            <a:chOff x="1217209" y="3710960"/>
            <a:chExt cx="376453" cy="316230"/>
          </a:xfrm>
          <a:solidFill>
            <a:srgbClr val="B1B1A1"/>
          </a:solidFill>
        </p:grpSpPr>
        <p:sp>
          <p:nvSpPr>
            <p:cNvPr id="22" name="Forma Livre: Forma 21">
              <a:extLst>
                <a:ext uri="{FF2B5EF4-FFF2-40B4-BE49-F238E27FC236}">
                  <a16:creationId xmlns:a16="http://schemas.microsoft.com/office/drawing/2014/main" id="{12FC23F2-F145-4492-A032-11EAAC7E44E5}"/>
                </a:ext>
              </a:extLst>
            </p:cNvPr>
            <p:cNvSpPr/>
            <p:nvPr/>
          </p:nvSpPr>
          <p:spPr>
            <a:xfrm>
              <a:off x="1217209" y="3710960"/>
              <a:ext cx="169741" cy="316230"/>
            </a:xfrm>
            <a:custGeom>
              <a:avLst/>
              <a:gdLst>
                <a:gd name="connsiteX0" fmla="*/ 153668 w 169741"/>
                <a:gd name="connsiteY0" fmla="*/ 316230 h 316230"/>
                <a:gd name="connsiteX1" fmla="*/ 142737 w 169741"/>
                <a:gd name="connsiteY1" fmla="*/ 312372 h 316230"/>
                <a:gd name="connsiteX2" fmla="*/ 64939 w 169741"/>
                <a:gd name="connsiteY2" fmla="*/ 250005 h 316230"/>
                <a:gd name="connsiteX3" fmla="*/ 16717 w 169741"/>
                <a:gd name="connsiteY3" fmla="*/ 250005 h 316230"/>
                <a:gd name="connsiteX4" fmla="*/ 0 w 169741"/>
                <a:gd name="connsiteY4" fmla="*/ 233288 h 316230"/>
                <a:gd name="connsiteX5" fmla="*/ 0 w 169741"/>
                <a:gd name="connsiteY5" fmla="*/ 82835 h 316230"/>
                <a:gd name="connsiteX6" fmla="*/ 16717 w 169741"/>
                <a:gd name="connsiteY6" fmla="*/ 66118 h 316230"/>
                <a:gd name="connsiteX7" fmla="*/ 64296 w 169741"/>
                <a:gd name="connsiteY7" fmla="*/ 66118 h 316230"/>
                <a:gd name="connsiteX8" fmla="*/ 142094 w 169741"/>
                <a:gd name="connsiteY8" fmla="*/ 3751 h 316230"/>
                <a:gd name="connsiteX9" fmla="*/ 160097 w 169741"/>
                <a:gd name="connsiteY9" fmla="*/ 1822 h 316230"/>
                <a:gd name="connsiteX10" fmla="*/ 169742 w 169741"/>
                <a:gd name="connsiteY10" fmla="*/ 17253 h 316230"/>
                <a:gd name="connsiteX11" fmla="*/ 169742 w 169741"/>
                <a:gd name="connsiteY11" fmla="*/ 299513 h 316230"/>
                <a:gd name="connsiteX12" fmla="*/ 160097 w 169741"/>
                <a:gd name="connsiteY12" fmla="*/ 314944 h 316230"/>
                <a:gd name="connsiteX13" fmla="*/ 153668 w 169741"/>
                <a:gd name="connsiteY13" fmla="*/ 316230 h 316230"/>
                <a:gd name="connsiteX14" fmla="*/ 153668 w 169741"/>
                <a:gd name="connsiteY14" fmla="*/ 316230 h 316230"/>
                <a:gd name="connsiteX15" fmla="*/ 34077 w 169741"/>
                <a:gd name="connsiteY15" fmla="*/ 216571 h 316230"/>
                <a:gd name="connsiteX16" fmla="*/ 70726 w 169741"/>
                <a:gd name="connsiteY16" fmla="*/ 216571 h 316230"/>
                <a:gd name="connsiteX17" fmla="*/ 81656 w 169741"/>
                <a:gd name="connsiteY17" fmla="*/ 220429 h 316230"/>
                <a:gd name="connsiteX18" fmla="*/ 136308 w 169741"/>
                <a:gd name="connsiteY18" fmla="*/ 264150 h 316230"/>
                <a:gd name="connsiteX19" fmla="*/ 136308 w 169741"/>
                <a:gd name="connsiteY19" fmla="*/ 52616 h 316230"/>
                <a:gd name="connsiteX20" fmla="*/ 81656 w 169741"/>
                <a:gd name="connsiteY20" fmla="*/ 96338 h 316230"/>
                <a:gd name="connsiteX21" fmla="*/ 70726 w 169741"/>
                <a:gd name="connsiteY21" fmla="*/ 100195 h 316230"/>
                <a:gd name="connsiteX22" fmla="*/ 34077 w 169741"/>
                <a:gd name="connsiteY22" fmla="*/ 100195 h 316230"/>
                <a:gd name="connsiteX23" fmla="*/ 34077 w 169741"/>
                <a:gd name="connsiteY23" fmla="*/ 216571 h 316230"/>
                <a:gd name="connsiteX24" fmla="*/ 34077 w 169741"/>
                <a:gd name="connsiteY24" fmla="*/ 216571 h 316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69741" h="316230">
                  <a:moveTo>
                    <a:pt x="153668" y="316230"/>
                  </a:moveTo>
                  <a:cubicBezTo>
                    <a:pt x="149810" y="316230"/>
                    <a:pt x="145952" y="314944"/>
                    <a:pt x="142737" y="312372"/>
                  </a:cubicBezTo>
                  <a:lnTo>
                    <a:pt x="64939" y="250005"/>
                  </a:lnTo>
                  <a:lnTo>
                    <a:pt x="16717" y="250005"/>
                  </a:lnTo>
                  <a:cubicBezTo>
                    <a:pt x="7073" y="250005"/>
                    <a:pt x="0" y="242289"/>
                    <a:pt x="0" y="233288"/>
                  </a:cubicBezTo>
                  <a:lnTo>
                    <a:pt x="0" y="82835"/>
                  </a:lnTo>
                  <a:cubicBezTo>
                    <a:pt x="0" y="73191"/>
                    <a:pt x="7716" y="66118"/>
                    <a:pt x="16717" y="66118"/>
                  </a:cubicBezTo>
                  <a:lnTo>
                    <a:pt x="64296" y="66118"/>
                  </a:lnTo>
                  <a:lnTo>
                    <a:pt x="142094" y="3751"/>
                  </a:lnTo>
                  <a:cubicBezTo>
                    <a:pt x="147238" y="-107"/>
                    <a:pt x="154311" y="-1393"/>
                    <a:pt x="160097" y="1822"/>
                  </a:cubicBezTo>
                  <a:cubicBezTo>
                    <a:pt x="165884" y="4394"/>
                    <a:pt x="169742" y="10824"/>
                    <a:pt x="169742" y="17253"/>
                  </a:cubicBezTo>
                  <a:lnTo>
                    <a:pt x="169742" y="299513"/>
                  </a:lnTo>
                  <a:cubicBezTo>
                    <a:pt x="169742" y="305943"/>
                    <a:pt x="165884" y="311730"/>
                    <a:pt x="160097" y="314944"/>
                  </a:cubicBezTo>
                  <a:cubicBezTo>
                    <a:pt x="158811" y="316230"/>
                    <a:pt x="156240" y="316230"/>
                    <a:pt x="153668" y="316230"/>
                  </a:cubicBezTo>
                  <a:lnTo>
                    <a:pt x="153668" y="316230"/>
                  </a:lnTo>
                  <a:close/>
                  <a:moveTo>
                    <a:pt x="34077" y="216571"/>
                  </a:moveTo>
                  <a:lnTo>
                    <a:pt x="70726" y="216571"/>
                  </a:lnTo>
                  <a:cubicBezTo>
                    <a:pt x="74584" y="216571"/>
                    <a:pt x="78441" y="217857"/>
                    <a:pt x="81656" y="220429"/>
                  </a:cubicBezTo>
                  <a:lnTo>
                    <a:pt x="136308" y="264150"/>
                  </a:lnTo>
                  <a:lnTo>
                    <a:pt x="136308" y="52616"/>
                  </a:lnTo>
                  <a:lnTo>
                    <a:pt x="81656" y="96338"/>
                  </a:lnTo>
                  <a:cubicBezTo>
                    <a:pt x="78441" y="98909"/>
                    <a:pt x="75226" y="100195"/>
                    <a:pt x="70726" y="100195"/>
                  </a:cubicBezTo>
                  <a:lnTo>
                    <a:pt x="34077" y="100195"/>
                  </a:lnTo>
                  <a:lnTo>
                    <a:pt x="34077" y="216571"/>
                  </a:lnTo>
                  <a:lnTo>
                    <a:pt x="34077" y="216571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23" name="Gráfico 2">
              <a:extLst>
                <a:ext uri="{FF2B5EF4-FFF2-40B4-BE49-F238E27FC236}">
                  <a16:creationId xmlns:a16="http://schemas.microsoft.com/office/drawing/2014/main" id="{40F8E44F-B406-439F-8B63-82F15B4E8194}"/>
                </a:ext>
              </a:extLst>
            </p:cNvPr>
            <p:cNvGrpSpPr/>
            <p:nvPr/>
          </p:nvGrpSpPr>
          <p:grpSpPr>
            <a:xfrm>
              <a:off x="1416205" y="3780281"/>
              <a:ext cx="177457" cy="179398"/>
              <a:chOff x="1416205" y="3780281"/>
              <a:chExt cx="177457" cy="179398"/>
            </a:xfrm>
            <a:grpFill/>
          </p:grpSpPr>
          <p:sp>
            <p:nvSpPr>
              <p:cNvPr id="24" name="Forma Livre: Forma 23">
                <a:extLst>
                  <a:ext uri="{FF2B5EF4-FFF2-40B4-BE49-F238E27FC236}">
                    <a16:creationId xmlns:a16="http://schemas.microsoft.com/office/drawing/2014/main" id="{7CD4BD62-2659-474B-9F64-1B87A9883776}"/>
                  </a:ext>
                </a:extLst>
              </p:cNvPr>
              <p:cNvSpPr/>
              <p:nvPr/>
            </p:nvSpPr>
            <p:spPr>
              <a:xfrm>
                <a:off x="1416205" y="3780614"/>
                <a:ext cx="177457" cy="177778"/>
              </a:xfrm>
              <a:custGeom>
                <a:avLst/>
                <a:gdLst>
                  <a:gd name="connsiteX0" fmla="*/ 161062 w 177457"/>
                  <a:gd name="connsiteY0" fmla="*/ 177779 h 177778"/>
                  <a:gd name="connsiteX1" fmla="*/ 148846 w 177457"/>
                  <a:gd name="connsiteY1" fmla="*/ 172635 h 177778"/>
                  <a:gd name="connsiteX2" fmla="*/ 4822 w 177457"/>
                  <a:gd name="connsiteY2" fmla="*/ 28612 h 177778"/>
                  <a:gd name="connsiteX3" fmla="*/ 4822 w 177457"/>
                  <a:gd name="connsiteY3" fmla="*/ 4822 h 177778"/>
                  <a:gd name="connsiteX4" fmla="*/ 28612 w 177457"/>
                  <a:gd name="connsiteY4" fmla="*/ 4822 h 177778"/>
                  <a:gd name="connsiteX5" fmla="*/ 172635 w 177457"/>
                  <a:gd name="connsiteY5" fmla="*/ 148846 h 177778"/>
                  <a:gd name="connsiteX6" fmla="*/ 172635 w 177457"/>
                  <a:gd name="connsiteY6" fmla="*/ 172635 h 177778"/>
                  <a:gd name="connsiteX7" fmla="*/ 161062 w 177457"/>
                  <a:gd name="connsiteY7" fmla="*/ 177779 h 177778"/>
                  <a:gd name="connsiteX8" fmla="*/ 161062 w 177457"/>
                  <a:gd name="connsiteY8" fmla="*/ 177779 h 177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7457" h="177778">
                    <a:moveTo>
                      <a:pt x="161062" y="177779"/>
                    </a:moveTo>
                    <a:cubicBezTo>
                      <a:pt x="156561" y="177779"/>
                      <a:pt x="152060" y="175850"/>
                      <a:pt x="148846" y="172635"/>
                    </a:cubicBezTo>
                    <a:lnTo>
                      <a:pt x="4822" y="28612"/>
                    </a:lnTo>
                    <a:cubicBezTo>
                      <a:pt x="-1607" y="22182"/>
                      <a:pt x="-1607" y="11252"/>
                      <a:pt x="4822" y="4822"/>
                    </a:cubicBezTo>
                    <a:cubicBezTo>
                      <a:pt x="11252" y="-1607"/>
                      <a:pt x="22182" y="-1607"/>
                      <a:pt x="28612" y="4822"/>
                    </a:cubicBezTo>
                    <a:lnTo>
                      <a:pt x="172635" y="148846"/>
                    </a:lnTo>
                    <a:cubicBezTo>
                      <a:pt x="179065" y="155275"/>
                      <a:pt x="179065" y="166205"/>
                      <a:pt x="172635" y="172635"/>
                    </a:cubicBezTo>
                    <a:cubicBezTo>
                      <a:pt x="169420" y="175850"/>
                      <a:pt x="164920" y="177779"/>
                      <a:pt x="161062" y="177779"/>
                    </a:cubicBezTo>
                    <a:lnTo>
                      <a:pt x="161062" y="177779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5" name="Forma Livre: Forma 24">
                <a:extLst>
                  <a:ext uri="{FF2B5EF4-FFF2-40B4-BE49-F238E27FC236}">
                    <a16:creationId xmlns:a16="http://schemas.microsoft.com/office/drawing/2014/main" id="{F2D8A120-7EE0-4914-B0E5-70D9D43ADBCA}"/>
                  </a:ext>
                </a:extLst>
              </p:cNvPr>
              <p:cNvSpPr/>
              <p:nvPr/>
            </p:nvSpPr>
            <p:spPr>
              <a:xfrm>
                <a:off x="1417157" y="3780281"/>
                <a:ext cx="175552" cy="179398"/>
              </a:xfrm>
              <a:custGeom>
                <a:avLst/>
                <a:gdLst>
                  <a:gd name="connsiteX0" fmla="*/ 16729 w 175552"/>
                  <a:gd name="connsiteY0" fmla="*/ 179398 h 179398"/>
                  <a:gd name="connsiteX1" fmla="*/ 5156 w 175552"/>
                  <a:gd name="connsiteY1" fmla="*/ 174898 h 179398"/>
                  <a:gd name="connsiteX2" fmla="*/ 4513 w 175552"/>
                  <a:gd name="connsiteY2" fmla="*/ 151108 h 179398"/>
                  <a:gd name="connsiteX3" fmla="*/ 146607 w 175552"/>
                  <a:gd name="connsiteY3" fmla="*/ 5156 h 179398"/>
                  <a:gd name="connsiteX4" fmla="*/ 170397 w 175552"/>
                  <a:gd name="connsiteY4" fmla="*/ 4513 h 179398"/>
                  <a:gd name="connsiteX5" fmla="*/ 171040 w 175552"/>
                  <a:gd name="connsiteY5" fmla="*/ 28302 h 179398"/>
                  <a:gd name="connsiteX6" fmla="*/ 28945 w 175552"/>
                  <a:gd name="connsiteY6" fmla="*/ 174255 h 179398"/>
                  <a:gd name="connsiteX7" fmla="*/ 16729 w 175552"/>
                  <a:gd name="connsiteY7" fmla="*/ 179398 h 179398"/>
                  <a:gd name="connsiteX8" fmla="*/ 16729 w 175552"/>
                  <a:gd name="connsiteY8" fmla="*/ 179398 h 179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5552" h="179398">
                    <a:moveTo>
                      <a:pt x="16729" y="179398"/>
                    </a:moveTo>
                    <a:cubicBezTo>
                      <a:pt x="12228" y="179398"/>
                      <a:pt x="8371" y="178113"/>
                      <a:pt x="5156" y="174898"/>
                    </a:cubicBezTo>
                    <a:cubicBezTo>
                      <a:pt x="-1274" y="168468"/>
                      <a:pt x="-1917" y="157538"/>
                      <a:pt x="4513" y="151108"/>
                    </a:cubicBezTo>
                    <a:lnTo>
                      <a:pt x="146607" y="5156"/>
                    </a:lnTo>
                    <a:cubicBezTo>
                      <a:pt x="153037" y="-1274"/>
                      <a:pt x="163967" y="-1917"/>
                      <a:pt x="170397" y="4513"/>
                    </a:cubicBezTo>
                    <a:cubicBezTo>
                      <a:pt x="176826" y="10942"/>
                      <a:pt x="177469" y="21873"/>
                      <a:pt x="171040" y="28302"/>
                    </a:cubicBezTo>
                    <a:lnTo>
                      <a:pt x="28945" y="174255"/>
                    </a:lnTo>
                    <a:cubicBezTo>
                      <a:pt x="25730" y="177469"/>
                      <a:pt x="21230" y="179398"/>
                      <a:pt x="16729" y="179398"/>
                    </a:cubicBezTo>
                    <a:lnTo>
                      <a:pt x="16729" y="179398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26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7420636" y="3606413"/>
            <a:ext cx="409567" cy="415110"/>
            <a:chOff x="7439146" y="3658939"/>
            <a:chExt cx="415352" cy="420973"/>
          </a:xfrm>
          <a:solidFill>
            <a:srgbClr val="B1B1A1"/>
          </a:solidFill>
        </p:grpSpPr>
        <p:sp>
          <p:nvSpPr>
            <p:cNvPr id="27" name="Forma Livre: Forma 26">
              <a:extLst>
                <a:ext uri="{FF2B5EF4-FFF2-40B4-BE49-F238E27FC236}">
                  <a16:creationId xmlns:a16="http://schemas.microsoft.com/office/drawing/2014/main" id="{FA97F8A0-AD9A-45C9-B25A-557680DAE23D}"/>
                </a:ext>
              </a:extLst>
            </p:cNvPr>
            <p:cNvSpPr/>
            <p:nvPr/>
          </p:nvSpPr>
          <p:spPr>
            <a:xfrm>
              <a:off x="7615935" y="3955178"/>
              <a:ext cx="151145" cy="124734"/>
            </a:xfrm>
            <a:custGeom>
              <a:avLst/>
              <a:gdLst>
                <a:gd name="connsiteX0" fmla="*/ 45675 w 151145"/>
                <a:gd name="connsiteY0" fmla="*/ 124734 h 124734"/>
                <a:gd name="connsiteX1" fmla="*/ 668 w 151145"/>
                <a:gd name="connsiteY1" fmla="*/ 93229 h 124734"/>
                <a:gd name="connsiteX2" fmla="*/ 61749 w 151145"/>
                <a:gd name="connsiteY2" fmla="*/ 10930 h 124734"/>
                <a:gd name="connsiteX3" fmla="*/ 105470 w 151145"/>
                <a:gd name="connsiteY3" fmla="*/ 0 h 124734"/>
                <a:gd name="connsiteX4" fmla="*/ 150478 w 151145"/>
                <a:gd name="connsiteY4" fmla="*/ 31505 h 124734"/>
                <a:gd name="connsiteX5" fmla="*/ 89396 w 151145"/>
                <a:gd name="connsiteY5" fmla="*/ 113804 h 124734"/>
                <a:gd name="connsiteX6" fmla="*/ 45675 w 151145"/>
                <a:gd name="connsiteY6" fmla="*/ 124734 h 124734"/>
                <a:gd name="connsiteX7" fmla="*/ 45675 w 151145"/>
                <a:gd name="connsiteY7" fmla="*/ 124734 h 124734"/>
                <a:gd name="connsiteX8" fmla="*/ 106114 w 151145"/>
                <a:gd name="connsiteY8" fmla="*/ 34077 h 124734"/>
                <a:gd name="connsiteX9" fmla="*/ 76537 w 151145"/>
                <a:gd name="connsiteY9" fmla="*/ 41792 h 124734"/>
                <a:gd name="connsiteX10" fmla="*/ 34102 w 151145"/>
                <a:gd name="connsiteY10" fmla="*/ 86800 h 124734"/>
                <a:gd name="connsiteX11" fmla="*/ 45675 w 151145"/>
                <a:gd name="connsiteY11" fmla="*/ 90657 h 124734"/>
                <a:gd name="connsiteX12" fmla="*/ 75251 w 151145"/>
                <a:gd name="connsiteY12" fmla="*/ 82942 h 124734"/>
                <a:gd name="connsiteX13" fmla="*/ 117687 w 151145"/>
                <a:gd name="connsiteY13" fmla="*/ 37934 h 124734"/>
                <a:gd name="connsiteX14" fmla="*/ 106114 w 151145"/>
                <a:gd name="connsiteY14" fmla="*/ 34077 h 124734"/>
                <a:gd name="connsiteX15" fmla="*/ 106114 w 151145"/>
                <a:gd name="connsiteY15" fmla="*/ 34077 h 124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1145" h="124734">
                  <a:moveTo>
                    <a:pt x="45675" y="124734"/>
                  </a:moveTo>
                  <a:cubicBezTo>
                    <a:pt x="21243" y="124734"/>
                    <a:pt x="4525" y="112518"/>
                    <a:pt x="668" y="93229"/>
                  </a:cubicBezTo>
                  <a:cubicBezTo>
                    <a:pt x="-5119" y="61724"/>
                    <a:pt x="27672" y="27004"/>
                    <a:pt x="61749" y="10930"/>
                  </a:cubicBezTo>
                  <a:cubicBezTo>
                    <a:pt x="77180" y="3858"/>
                    <a:pt x="91968" y="0"/>
                    <a:pt x="105470" y="0"/>
                  </a:cubicBezTo>
                  <a:cubicBezTo>
                    <a:pt x="129903" y="0"/>
                    <a:pt x="146620" y="12216"/>
                    <a:pt x="150478" y="31505"/>
                  </a:cubicBezTo>
                  <a:cubicBezTo>
                    <a:pt x="156264" y="63010"/>
                    <a:pt x="123473" y="97730"/>
                    <a:pt x="89396" y="113804"/>
                  </a:cubicBezTo>
                  <a:cubicBezTo>
                    <a:pt x="74608" y="120877"/>
                    <a:pt x="59820" y="124734"/>
                    <a:pt x="45675" y="124734"/>
                  </a:cubicBezTo>
                  <a:lnTo>
                    <a:pt x="45675" y="124734"/>
                  </a:lnTo>
                  <a:close/>
                  <a:moveTo>
                    <a:pt x="106114" y="34077"/>
                  </a:moveTo>
                  <a:cubicBezTo>
                    <a:pt x="97755" y="34077"/>
                    <a:pt x="86825" y="36648"/>
                    <a:pt x="76537" y="41792"/>
                  </a:cubicBezTo>
                  <a:cubicBezTo>
                    <a:pt x="48890" y="55295"/>
                    <a:pt x="32816" y="77798"/>
                    <a:pt x="34102" y="86800"/>
                  </a:cubicBezTo>
                  <a:cubicBezTo>
                    <a:pt x="34745" y="90015"/>
                    <a:pt x="41817" y="90657"/>
                    <a:pt x="45675" y="90657"/>
                  </a:cubicBezTo>
                  <a:cubicBezTo>
                    <a:pt x="54033" y="90657"/>
                    <a:pt x="64964" y="88085"/>
                    <a:pt x="75251" y="82942"/>
                  </a:cubicBezTo>
                  <a:cubicBezTo>
                    <a:pt x="103542" y="69440"/>
                    <a:pt x="118973" y="46936"/>
                    <a:pt x="117687" y="37934"/>
                  </a:cubicBezTo>
                  <a:cubicBezTo>
                    <a:pt x="117044" y="34720"/>
                    <a:pt x="109971" y="34077"/>
                    <a:pt x="106114" y="34077"/>
                  </a:cubicBezTo>
                  <a:lnTo>
                    <a:pt x="106114" y="34077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8" name="Forma Livre: Forma 27">
              <a:extLst>
                <a:ext uri="{FF2B5EF4-FFF2-40B4-BE49-F238E27FC236}">
                  <a16:creationId xmlns:a16="http://schemas.microsoft.com/office/drawing/2014/main" id="{C88047E8-386B-4D04-A8D5-8D37E2D83665}"/>
                </a:ext>
              </a:extLst>
            </p:cNvPr>
            <p:cNvSpPr/>
            <p:nvPr/>
          </p:nvSpPr>
          <p:spPr>
            <a:xfrm>
              <a:off x="7734265" y="3659416"/>
              <a:ext cx="33434" cy="347199"/>
            </a:xfrm>
            <a:custGeom>
              <a:avLst/>
              <a:gdLst>
                <a:gd name="connsiteX0" fmla="*/ 16717 w 33434"/>
                <a:gd name="connsiteY0" fmla="*/ 347199 h 347199"/>
                <a:gd name="connsiteX1" fmla="*/ 0 w 33434"/>
                <a:gd name="connsiteY1" fmla="*/ 330482 h 347199"/>
                <a:gd name="connsiteX2" fmla="*/ 0 w 33434"/>
                <a:gd name="connsiteY2" fmla="*/ 16717 h 347199"/>
                <a:gd name="connsiteX3" fmla="*/ 16717 w 33434"/>
                <a:gd name="connsiteY3" fmla="*/ 0 h 347199"/>
                <a:gd name="connsiteX4" fmla="*/ 33434 w 33434"/>
                <a:gd name="connsiteY4" fmla="*/ 16717 h 347199"/>
                <a:gd name="connsiteX5" fmla="*/ 33434 w 33434"/>
                <a:gd name="connsiteY5" fmla="*/ 330482 h 347199"/>
                <a:gd name="connsiteX6" fmla="*/ 16717 w 33434"/>
                <a:gd name="connsiteY6" fmla="*/ 347199 h 347199"/>
                <a:gd name="connsiteX7" fmla="*/ 16717 w 33434"/>
                <a:gd name="connsiteY7" fmla="*/ 347199 h 347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434" h="347199">
                  <a:moveTo>
                    <a:pt x="16717" y="347199"/>
                  </a:moveTo>
                  <a:cubicBezTo>
                    <a:pt x="7073" y="347199"/>
                    <a:pt x="0" y="339484"/>
                    <a:pt x="0" y="330482"/>
                  </a:cubicBezTo>
                  <a:lnTo>
                    <a:pt x="0" y="16717"/>
                  </a:lnTo>
                  <a:cubicBezTo>
                    <a:pt x="0" y="7073"/>
                    <a:pt x="7716" y="0"/>
                    <a:pt x="16717" y="0"/>
                  </a:cubicBezTo>
                  <a:cubicBezTo>
                    <a:pt x="26362" y="0"/>
                    <a:pt x="33434" y="7716"/>
                    <a:pt x="33434" y="16717"/>
                  </a:cubicBezTo>
                  <a:lnTo>
                    <a:pt x="33434" y="330482"/>
                  </a:lnTo>
                  <a:cubicBezTo>
                    <a:pt x="33434" y="340127"/>
                    <a:pt x="25719" y="347199"/>
                    <a:pt x="16717" y="347199"/>
                  </a:cubicBezTo>
                  <a:lnTo>
                    <a:pt x="16717" y="347199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9" name="Forma Livre: Forma 28">
              <a:extLst>
                <a:ext uri="{FF2B5EF4-FFF2-40B4-BE49-F238E27FC236}">
                  <a16:creationId xmlns:a16="http://schemas.microsoft.com/office/drawing/2014/main" id="{0D990962-3911-4E7F-9A02-81733B2D66A1}"/>
                </a:ext>
              </a:extLst>
            </p:cNvPr>
            <p:cNvSpPr/>
            <p:nvPr/>
          </p:nvSpPr>
          <p:spPr>
            <a:xfrm>
              <a:off x="7734431" y="3658939"/>
              <a:ext cx="120067" cy="146428"/>
            </a:xfrm>
            <a:custGeom>
              <a:avLst/>
              <a:gdLst>
                <a:gd name="connsiteX0" fmla="*/ 102708 w 120067"/>
                <a:gd name="connsiteY0" fmla="*/ 146429 h 146428"/>
                <a:gd name="connsiteX1" fmla="*/ 85990 w 120067"/>
                <a:gd name="connsiteY1" fmla="*/ 129712 h 146428"/>
                <a:gd name="connsiteX2" fmla="*/ 85990 w 120067"/>
                <a:gd name="connsiteY2" fmla="*/ 62201 h 146428"/>
                <a:gd name="connsiteX3" fmla="*/ 10764 w 120067"/>
                <a:gd name="connsiteY3" fmla="*/ 32625 h 146428"/>
                <a:gd name="connsiteX4" fmla="*/ 1120 w 120067"/>
                <a:gd name="connsiteY4" fmla="*/ 10764 h 146428"/>
                <a:gd name="connsiteX5" fmla="*/ 22981 w 120067"/>
                <a:gd name="connsiteY5" fmla="*/ 1120 h 146428"/>
                <a:gd name="connsiteX6" fmla="*/ 109138 w 120067"/>
                <a:gd name="connsiteY6" fmla="*/ 35197 h 146428"/>
                <a:gd name="connsiteX7" fmla="*/ 120068 w 120067"/>
                <a:gd name="connsiteY7" fmla="*/ 51271 h 146428"/>
                <a:gd name="connsiteX8" fmla="*/ 120068 w 120067"/>
                <a:gd name="connsiteY8" fmla="*/ 129712 h 146428"/>
                <a:gd name="connsiteX9" fmla="*/ 102708 w 120067"/>
                <a:gd name="connsiteY9" fmla="*/ 146429 h 146428"/>
                <a:gd name="connsiteX10" fmla="*/ 102708 w 120067"/>
                <a:gd name="connsiteY10" fmla="*/ 146429 h 146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0067" h="146428">
                  <a:moveTo>
                    <a:pt x="102708" y="146429"/>
                  </a:moveTo>
                  <a:cubicBezTo>
                    <a:pt x="93064" y="146429"/>
                    <a:pt x="85990" y="138713"/>
                    <a:pt x="85990" y="129712"/>
                  </a:cubicBezTo>
                  <a:lnTo>
                    <a:pt x="85990" y="62201"/>
                  </a:lnTo>
                  <a:lnTo>
                    <a:pt x="10764" y="32625"/>
                  </a:lnTo>
                  <a:cubicBezTo>
                    <a:pt x="1763" y="29410"/>
                    <a:pt x="-2095" y="19123"/>
                    <a:pt x="1120" y="10764"/>
                  </a:cubicBezTo>
                  <a:cubicBezTo>
                    <a:pt x="4335" y="1763"/>
                    <a:pt x="14622" y="-2095"/>
                    <a:pt x="22981" y="1120"/>
                  </a:cubicBezTo>
                  <a:lnTo>
                    <a:pt x="109138" y="35197"/>
                  </a:lnTo>
                  <a:cubicBezTo>
                    <a:pt x="115567" y="37769"/>
                    <a:pt x="120068" y="44198"/>
                    <a:pt x="120068" y="51271"/>
                  </a:cubicBezTo>
                  <a:lnTo>
                    <a:pt x="120068" y="129712"/>
                  </a:lnTo>
                  <a:cubicBezTo>
                    <a:pt x="119425" y="138713"/>
                    <a:pt x="111709" y="146429"/>
                    <a:pt x="102708" y="146429"/>
                  </a:cubicBezTo>
                  <a:lnTo>
                    <a:pt x="102708" y="146429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0" name="Forma Livre: Forma 29">
              <a:extLst>
                <a:ext uri="{FF2B5EF4-FFF2-40B4-BE49-F238E27FC236}">
                  <a16:creationId xmlns:a16="http://schemas.microsoft.com/office/drawing/2014/main" id="{05555AD8-9857-495E-8DFD-470E15842CB7}"/>
                </a:ext>
              </a:extLst>
            </p:cNvPr>
            <p:cNvSpPr/>
            <p:nvPr/>
          </p:nvSpPr>
          <p:spPr>
            <a:xfrm>
              <a:off x="7439146" y="3698636"/>
              <a:ext cx="256578" cy="33434"/>
            </a:xfrm>
            <a:custGeom>
              <a:avLst/>
              <a:gdLst>
                <a:gd name="connsiteX0" fmla="*/ 239825 w 256578"/>
                <a:gd name="connsiteY0" fmla="*/ 33434 h 33434"/>
                <a:gd name="connsiteX1" fmla="*/ 16717 w 256578"/>
                <a:gd name="connsiteY1" fmla="*/ 33434 h 33434"/>
                <a:gd name="connsiteX2" fmla="*/ 0 w 256578"/>
                <a:gd name="connsiteY2" fmla="*/ 16717 h 33434"/>
                <a:gd name="connsiteX3" fmla="*/ 16717 w 256578"/>
                <a:gd name="connsiteY3" fmla="*/ 0 h 33434"/>
                <a:gd name="connsiteX4" fmla="*/ 239825 w 256578"/>
                <a:gd name="connsiteY4" fmla="*/ 0 h 33434"/>
                <a:gd name="connsiteX5" fmla="*/ 256541 w 256578"/>
                <a:gd name="connsiteY5" fmla="*/ 16717 h 33434"/>
                <a:gd name="connsiteX6" fmla="*/ 239825 w 256578"/>
                <a:gd name="connsiteY6" fmla="*/ 33434 h 33434"/>
                <a:gd name="connsiteX7" fmla="*/ 239825 w 256578"/>
                <a:gd name="connsiteY7" fmla="*/ 33434 h 33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6578" h="33434">
                  <a:moveTo>
                    <a:pt x="239825" y="33434"/>
                  </a:moveTo>
                  <a:lnTo>
                    <a:pt x="16717" y="33434"/>
                  </a:lnTo>
                  <a:cubicBezTo>
                    <a:pt x="7072" y="33434"/>
                    <a:pt x="0" y="25718"/>
                    <a:pt x="0" y="16717"/>
                  </a:cubicBezTo>
                  <a:cubicBezTo>
                    <a:pt x="0" y="7073"/>
                    <a:pt x="7715" y="0"/>
                    <a:pt x="16717" y="0"/>
                  </a:cubicBezTo>
                  <a:lnTo>
                    <a:pt x="239825" y="0"/>
                  </a:lnTo>
                  <a:cubicBezTo>
                    <a:pt x="249469" y="0"/>
                    <a:pt x="256541" y="7716"/>
                    <a:pt x="256541" y="16717"/>
                  </a:cubicBezTo>
                  <a:cubicBezTo>
                    <a:pt x="257185" y="25718"/>
                    <a:pt x="249469" y="33434"/>
                    <a:pt x="239825" y="33434"/>
                  </a:cubicBezTo>
                  <a:lnTo>
                    <a:pt x="239825" y="33434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1" name="Forma Livre: Forma 30">
              <a:extLst>
                <a:ext uri="{FF2B5EF4-FFF2-40B4-BE49-F238E27FC236}">
                  <a16:creationId xmlns:a16="http://schemas.microsoft.com/office/drawing/2014/main" id="{C0F3FB65-1A71-4C6E-8416-2C9C47F7003A}"/>
                </a:ext>
              </a:extLst>
            </p:cNvPr>
            <p:cNvSpPr/>
            <p:nvPr/>
          </p:nvSpPr>
          <p:spPr>
            <a:xfrm>
              <a:off x="7439789" y="3909528"/>
              <a:ext cx="239181" cy="33434"/>
            </a:xfrm>
            <a:custGeom>
              <a:avLst/>
              <a:gdLst>
                <a:gd name="connsiteX0" fmla="*/ 222464 w 239181"/>
                <a:gd name="connsiteY0" fmla="*/ 33434 h 33434"/>
                <a:gd name="connsiteX1" fmla="*/ 16717 w 239181"/>
                <a:gd name="connsiteY1" fmla="*/ 33434 h 33434"/>
                <a:gd name="connsiteX2" fmla="*/ 0 w 239181"/>
                <a:gd name="connsiteY2" fmla="*/ 16717 h 33434"/>
                <a:gd name="connsiteX3" fmla="*/ 16717 w 239181"/>
                <a:gd name="connsiteY3" fmla="*/ 0 h 33434"/>
                <a:gd name="connsiteX4" fmla="*/ 222464 w 239181"/>
                <a:gd name="connsiteY4" fmla="*/ 0 h 33434"/>
                <a:gd name="connsiteX5" fmla="*/ 239182 w 239181"/>
                <a:gd name="connsiteY5" fmla="*/ 16717 h 33434"/>
                <a:gd name="connsiteX6" fmla="*/ 222464 w 239181"/>
                <a:gd name="connsiteY6" fmla="*/ 33434 h 33434"/>
                <a:gd name="connsiteX7" fmla="*/ 222464 w 239181"/>
                <a:gd name="connsiteY7" fmla="*/ 33434 h 33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9181" h="33434">
                  <a:moveTo>
                    <a:pt x="222464" y="33434"/>
                  </a:moveTo>
                  <a:lnTo>
                    <a:pt x="16717" y="33434"/>
                  </a:lnTo>
                  <a:cubicBezTo>
                    <a:pt x="7072" y="33434"/>
                    <a:pt x="0" y="25718"/>
                    <a:pt x="0" y="16717"/>
                  </a:cubicBezTo>
                  <a:cubicBezTo>
                    <a:pt x="0" y="7073"/>
                    <a:pt x="7716" y="0"/>
                    <a:pt x="16717" y="0"/>
                  </a:cubicBezTo>
                  <a:lnTo>
                    <a:pt x="222464" y="0"/>
                  </a:lnTo>
                  <a:cubicBezTo>
                    <a:pt x="232109" y="0"/>
                    <a:pt x="239182" y="7716"/>
                    <a:pt x="239182" y="16717"/>
                  </a:cubicBezTo>
                  <a:cubicBezTo>
                    <a:pt x="239182" y="25718"/>
                    <a:pt x="232109" y="33434"/>
                    <a:pt x="222464" y="33434"/>
                  </a:cubicBezTo>
                  <a:lnTo>
                    <a:pt x="222464" y="33434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2" name="Forma Livre: Forma 31">
              <a:extLst>
                <a:ext uri="{FF2B5EF4-FFF2-40B4-BE49-F238E27FC236}">
                  <a16:creationId xmlns:a16="http://schemas.microsoft.com/office/drawing/2014/main" id="{347F80A4-4CF1-49C6-9359-B1589F3BAC0D}"/>
                </a:ext>
              </a:extLst>
            </p:cNvPr>
            <p:cNvSpPr/>
            <p:nvPr/>
          </p:nvSpPr>
          <p:spPr>
            <a:xfrm>
              <a:off x="7439789" y="4014974"/>
              <a:ext cx="142774" cy="33434"/>
            </a:xfrm>
            <a:custGeom>
              <a:avLst/>
              <a:gdLst>
                <a:gd name="connsiteX0" fmla="*/ 126020 w 142774"/>
                <a:gd name="connsiteY0" fmla="*/ 33434 h 33434"/>
                <a:gd name="connsiteX1" fmla="*/ 16717 w 142774"/>
                <a:gd name="connsiteY1" fmla="*/ 33434 h 33434"/>
                <a:gd name="connsiteX2" fmla="*/ 0 w 142774"/>
                <a:gd name="connsiteY2" fmla="*/ 16717 h 33434"/>
                <a:gd name="connsiteX3" fmla="*/ 16717 w 142774"/>
                <a:gd name="connsiteY3" fmla="*/ 0 h 33434"/>
                <a:gd name="connsiteX4" fmla="*/ 126020 w 142774"/>
                <a:gd name="connsiteY4" fmla="*/ 0 h 33434"/>
                <a:gd name="connsiteX5" fmla="*/ 142738 w 142774"/>
                <a:gd name="connsiteY5" fmla="*/ 16717 h 33434"/>
                <a:gd name="connsiteX6" fmla="*/ 126020 w 142774"/>
                <a:gd name="connsiteY6" fmla="*/ 33434 h 33434"/>
                <a:gd name="connsiteX7" fmla="*/ 126020 w 142774"/>
                <a:gd name="connsiteY7" fmla="*/ 33434 h 33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2774" h="33434">
                  <a:moveTo>
                    <a:pt x="126020" y="33434"/>
                  </a:moveTo>
                  <a:lnTo>
                    <a:pt x="16717" y="33434"/>
                  </a:lnTo>
                  <a:cubicBezTo>
                    <a:pt x="7072" y="33434"/>
                    <a:pt x="0" y="25718"/>
                    <a:pt x="0" y="16717"/>
                  </a:cubicBezTo>
                  <a:cubicBezTo>
                    <a:pt x="0" y="7072"/>
                    <a:pt x="7716" y="0"/>
                    <a:pt x="16717" y="0"/>
                  </a:cubicBezTo>
                  <a:lnTo>
                    <a:pt x="126020" y="0"/>
                  </a:lnTo>
                  <a:cubicBezTo>
                    <a:pt x="135665" y="0"/>
                    <a:pt x="142738" y="7716"/>
                    <a:pt x="142738" y="16717"/>
                  </a:cubicBezTo>
                  <a:cubicBezTo>
                    <a:pt x="143380" y="25718"/>
                    <a:pt x="135665" y="33434"/>
                    <a:pt x="126020" y="33434"/>
                  </a:cubicBezTo>
                  <a:lnTo>
                    <a:pt x="126020" y="33434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3" name="Forma Livre: Forma 32">
              <a:extLst>
                <a:ext uri="{FF2B5EF4-FFF2-40B4-BE49-F238E27FC236}">
                  <a16:creationId xmlns:a16="http://schemas.microsoft.com/office/drawing/2014/main" id="{452F7175-5F8E-4871-8829-B17B5B9156D2}"/>
                </a:ext>
              </a:extLst>
            </p:cNvPr>
            <p:cNvSpPr/>
            <p:nvPr/>
          </p:nvSpPr>
          <p:spPr>
            <a:xfrm>
              <a:off x="7439146" y="3804082"/>
              <a:ext cx="256578" cy="33433"/>
            </a:xfrm>
            <a:custGeom>
              <a:avLst/>
              <a:gdLst>
                <a:gd name="connsiteX0" fmla="*/ 239825 w 256578"/>
                <a:gd name="connsiteY0" fmla="*/ 33434 h 33433"/>
                <a:gd name="connsiteX1" fmla="*/ 16717 w 256578"/>
                <a:gd name="connsiteY1" fmla="*/ 33434 h 33433"/>
                <a:gd name="connsiteX2" fmla="*/ 0 w 256578"/>
                <a:gd name="connsiteY2" fmla="*/ 16717 h 33433"/>
                <a:gd name="connsiteX3" fmla="*/ 16717 w 256578"/>
                <a:gd name="connsiteY3" fmla="*/ 0 h 33433"/>
                <a:gd name="connsiteX4" fmla="*/ 239825 w 256578"/>
                <a:gd name="connsiteY4" fmla="*/ 0 h 33433"/>
                <a:gd name="connsiteX5" fmla="*/ 256541 w 256578"/>
                <a:gd name="connsiteY5" fmla="*/ 16717 h 33433"/>
                <a:gd name="connsiteX6" fmla="*/ 239825 w 256578"/>
                <a:gd name="connsiteY6" fmla="*/ 33434 h 33433"/>
                <a:gd name="connsiteX7" fmla="*/ 239825 w 256578"/>
                <a:gd name="connsiteY7" fmla="*/ 33434 h 33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6578" h="33433">
                  <a:moveTo>
                    <a:pt x="239825" y="33434"/>
                  </a:moveTo>
                  <a:lnTo>
                    <a:pt x="16717" y="33434"/>
                  </a:lnTo>
                  <a:cubicBezTo>
                    <a:pt x="7072" y="33434"/>
                    <a:pt x="0" y="25719"/>
                    <a:pt x="0" y="16717"/>
                  </a:cubicBezTo>
                  <a:cubicBezTo>
                    <a:pt x="0" y="7073"/>
                    <a:pt x="7715" y="0"/>
                    <a:pt x="16717" y="0"/>
                  </a:cubicBezTo>
                  <a:lnTo>
                    <a:pt x="239825" y="0"/>
                  </a:lnTo>
                  <a:cubicBezTo>
                    <a:pt x="249469" y="0"/>
                    <a:pt x="256541" y="7715"/>
                    <a:pt x="256541" y="16717"/>
                  </a:cubicBezTo>
                  <a:cubicBezTo>
                    <a:pt x="257185" y="25719"/>
                    <a:pt x="249469" y="33434"/>
                    <a:pt x="239825" y="33434"/>
                  </a:cubicBezTo>
                  <a:lnTo>
                    <a:pt x="239825" y="33434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4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9471014" y="3638900"/>
            <a:ext cx="394669" cy="350289"/>
            <a:chOff x="9518483" y="3691885"/>
            <a:chExt cx="400243" cy="355236"/>
          </a:xfrm>
          <a:solidFill>
            <a:srgbClr val="B1B1A1"/>
          </a:solidFill>
        </p:grpSpPr>
        <p:sp>
          <p:nvSpPr>
            <p:cNvPr id="35" name="Forma Livre: Forma 34">
              <a:extLst>
                <a:ext uri="{FF2B5EF4-FFF2-40B4-BE49-F238E27FC236}">
                  <a16:creationId xmlns:a16="http://schemas.microsoft.com/office/drawing/2014/main" id="{CFB73910-2329-41FB-AD42-57105B80D58F}"/>
                </a:ext>
              </a:extLst>
            </p:cNvPr>
            <p:cNvSpPr/>
            <p:nvPr/>
          </p:nvSpPr>
          <p:spPr>
            <a:xfrm>
              <a:off x="9720107" y="3897046"/>
              <a:ext cx="193797" cy="84493"/>
            </a:xfrm>
            <a:custGeom>
              <a:avLst/>
              <a:gdLst>
                <a:gd name="connsiteX0" fmla="*/ 177080 w 193797"/>
                <a:gd name="connsiteY0" fmla="*/ 84494 h 84493"/>
                <a:gd name="connsiteX1" fmla="*/ 50416 w 193797"/>
                <a:gd name="connsiteY1" fmla="*/ 84494 h 84493"/>
                <a:gd name="connsiteX2" fmla="*/ 36272 w 193797"/>
                <a:gd name="connsiteY2" fmla="*/ 76778 h 84493"/>
                <a:gd name="connsiteX3" fmla="*/ 2837 w 193797"/>
                <a:gd name="connsiteY3" fmla="*/ 26627 h 84493"/>
                <a:gd name="connsiteX4" fmla="*/ 7981 w 193797"/>
                <a:gd name="connsiteY4" fmla="*/ 2837 h 84493"/>
                <a:gd name="connsiteX5" fmla="*/ 31770 w 193797"/>
                <a:gd name="connsiteY5" fmla="*/ 7981 h 84493"/>
                <a:gd name="connsiteX6" fmla="*/ 60061 w 193797"/>
                <a:gd name="connsiteY6" fmla="*/ 51059 h 84493"/>
                <a:gd name="connsiteX7" fmla="*/ 177080 w 193797"/>
                <a:gd name="connsiteY7" fmla="*/ 51059 h 84493"/>
                <a:gd name="connsiteX8" fmla="*/ 193797 w 193797"/>
                <a:gd name="connsiteY8" fmla="*/ 67777 h 84493"/>
                <a:gd name="connsiteX9" fmla="*/ 177080 w 193797"/>
                <a:gd name="connsiteY9" fmla="*/ 84494 h 84493"/>
                <a:gd name="connsiteX10" fmla="*/ 177080 w 193797"/>
                <a:gd name="connsiteY10" fmla="*/ 84494 h 84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3797" h="84493">
                  <a:moveTo>
                    <a:pt x="177080" y="84494"/>
                  </a:moveTo>
                  <a:lnTo>
                    <a:pt x="50416" y="84494"/>
                  </a:lnTo>
                  <a:cubicBezTo>
                    <a:pt x="44630" y="84494"/>
                    <a:pt x="39486" y="81922"/>
                    <a:pt x="36272" y="76778"/>
                  </a:cubicBezTo>
                  <a:lnTo>
                    <a:pt x="2837" y="26627"/>
                  </a:lnTo>
                  <a:cubicBezTo>
                    <a:pt x="-2306" y="18911"/>
                    <a:pt x="-378" y="7981"/>
                    <a:pt x="7981" y="2837"/>
                  </a:cubicBezTo>
                  <a:cubicBezTo>
                    <a:pt x="15696" y="-2306"/>
                    <a:pt x="26627" y="-377"/>
                    <a:pt x="31770" y="7981"/>
                  </a:cubicBezTo>
                  <a:lnTo>
                    <a:pt x="60061" y="51059"/>
                  </a:lnTo>
                  <a:lnTo>
                    <a:pt x="177080" y="51059"/>
                  </a:lnTo>
                  <a:cubicBezTo>
                    <a:pt x="186724" y="51059"/>
                    <a:pt x="193797" y="58775"/>
                    <a:pt x="193797" y="67777"/>
                  </a:cubicBezTo>
                  <a:cubicBezTo>
                    <a:pt x="193797" y="76778"/>
                    <a:pt x="186081" y="84494"/>
                    <a:pt x="177080" y="84494"/>
                  </a:cubicBezTo>
                  <a:lnTo>
                    <a:pt x="177080" y="84494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6" name="Forma Livre: Forma 35">
              <a:extLst>
                <a:ext uri="{FF2B5EF4-FFF2-40B4-BE49-F238E27FC236}">
                  <a16:creationId xmlns:a16="http://schemas.microsoft.com/office/drawing/2014/main" id="{60C8F795-202E-45E7-86B1-BD72A403ABFF}"/>
                </a:ext>
              </a:extLst>
            </p:cNvPr>
            <p:cNvSpPr/>
            <p:nvPr/>
          </p:nvSpPr>
          <p:spPr>
            <a:xfrm>
              <a:off x="9518483" y="3757146"/>
              <a:ext cx="186534" cy="86156"/>
            </a:xfrm>
            <a:custGeom>
              <a:avLst/>
              <a:gdLst>
                <a:gd name="connsiteX0" fmla="*/ 169741 w 186534"/>
                <a:gd name="connsiteY0" fmla="*/ 86157 h 86156"/>
                <a:gd name="connsiteX1" fmla="*/ 154954 w 186534"/>
                <a:gd name="connsiteY1" fmla="*/ 77798 h 86156"/>
                <a:gd name="connsiteX2" fmla="*/ 127949 w 186534"/>
                <a:gd name="connsiteY2" fmla="*/ 33434 h 86156"/>
                <a:gd name="connsiteX3" fmla="*/ 16717 w 186534"/>
                <a:gd name="connsiteY3" fmla="*/ 33434 h 86156"/>
                <a:gd name="connsiteX4" fmla="*/ 0 w 186534"/>
                <a:gd name="connsiteY4" fmla="*/ 16717 h 86156"/>
                <a:gd name="connsiteX5" fmla="*/ 16717 w 186534"/>
                <a:gd name="connsiteY5" fmla="*/ 0 h 86156"/>
                <a:gd name="connsiteX6" fmla="*/ 137593 w 186534"/>
                <a:gd name="connsiteY6" fmla="*/ 0 h 86156"/>
                <a:gd name="connsiteX7" fmla="*/ 152382 w 186534"/>
                <a:gd name="connsiteY7" fmla="*/ 8358 h 86156"/>
                <a:gd name="connsiteX8" fmla="*/ 183887 w 186534"/>
                <a:gd name="connsiteY8" fmla="*/ 60438 h 86156"/>
                <a:gd name="connsiteX9" fmla="*/ 178100 w 186534"/>
                <a:gd name="connsiteY9" fmla="*/ 83585 h 86156"/>
                <a:gd name="connsiteX10" fmla="*/ 169741 w 186534"/>
                <a:gd name="connsiteY10" fmla="*/ 86157 h 86156"/>
                <a:gd name="connsiteX11" fmla="*/ 169741 w 186534"/>
                <a:gd name="connsiteY11" fmla="*/ 86157 h 86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6534" h="86156">
                  <a:moveTo>
                    <a:pt x="169741" y="86157"/>
                  </a:moveTo>
                  <a:cubicBezTo>
                    <a:pt x="163955" y="86157"/>
                    <a:pt x="158168" y="82942"/>
                    <a:pt x="154954" y="77798"/>
                  </a:cubicBezTo>
                  <a:lnTo>
                    <a:pt x="127949" y="33434"/>
                  </a:lnTo>
                  <a:lnTo>
                    <a:pt x="16717" y="33434"/>
                  </a:lnTo>
                  <a:cubicBezTo>
                    <a:pt x="7072" y="33434"/>
                    <a:pt x="0" y="25718"/>
                    <a:pt x="0" y="16717"/>
                  </a:cubicBezTo>
                  <a:cubicBezTo>
                    <a:pt x="0" y="7073"/>
                    <a:pt x="7715" y="0"/>
                    <a:pt x="16717" y="0"/>
                  </a:cubicBezTo>
                  <a:lnTo>
                    <a:pt x="137593" y="0"/>
                  </a:lnTo>
                  <a:cubicBezTo>
                    <a:pt x="143380" y="0"/>
                    <a:pt x="149167" y="3215"/>
                    <a:pt x="152382" y="8358"/>
                  </a:cubicBezTo>
                  <a:lnTo>
                    <a:pt x="183887" y="60438"/>
                  </a:lnTo>
                  <a:cubicBezTo>
                    <a:pt x="189030" y="68154"/>
                    <a:pt x="186459" y="79084"/>
                    <a:pt x="178100" y="83585"/>
                  </a:cubicBezTo>
                  <a:cubicBezTo>
                    <a:pt x="175528" y="85514"/>
                    <a:pt x="172956" y="86157"/>
                    <a:pt x="169741" y="86157"/>
                  </a:cubicBezTo>
                  <a:lnTo>
                    <a:pt x="169741" y="86157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7" name="Forma Livre: Forma 36">
              <a:extLst>
                <a:ext uri="{FF2B5EF4-FFF2-40B4-BE49-F238E27FC236}">
                  <a16:creationId xmlns:a16="http://schemas.microsoft.com/office/drawing/2014/main" id="{13899CE3-FD58-4096-A9DE-38FABC7549E6}"/>
                </a:ext>
              </a:extLst>
            </p:cNvPr>
            <p:cNvSpPr/>
            <p:nvPr/>
          </p:nvSpPr>
          <p:spPr>
            <a:xfrm>
              <a:off x="9519126" y="3757146"/>
              <a:ext cx="394778" cy="224393"/>
            </a:xfrm>
            <a:custGeom>
              <a:avLst/>
              <a:gdLst>
                <a:gd name="connsiteX0" fmla="*/ 137594 w 394778"/>
                <a:gd name="connsiteY0" fmla="*/ 224394 h 224393"/>
                <a:gd name="connsiteX1" fmla="*/ 16717 w 394778"/>
                <a:gd name="connsiteY1" fmla="*/ 224394 h 224393"/>
                <a:gd name="connsiteX2" fmla="*/ 0 w 394778"/>
                <a:gd name="connsiteY2" fmla="*/ 207677 h 224393"/>
                <a:gd name="connsiteX3" fmla="*/ 16717 w 394778"/>
                <a:gd name="connsiteY3" fmla="*/ 190959 h 224393"/>
                <a:gd name="connsiteX4" fmla="*/ 127949 w 394778"/>
                <a:gd name="connsiteY4" fmla="*/ 190959 h 224393"/>
                <a:gd name="connsiteX5" fmla="*/ 237253 w 394778"/>
                <a:gd name="connsiteY5" fmla="*/ 8358 h 224393"/>
                <a:gd name="connsiteX6" fmla="*/ 252041 w 394778"/>
                <a:gd name="connsiteY6" fmla="*/ 0 h 224393"/>
                <a:gd name="connsiteX7" fmla="*/ 378061 w 394778"/>
                <a:gd name="connsiteY7" fmla="*/ 0 h 224393"/>
                <a:gd name="connsiteX8" fmla="*/ 394778 w 394778"/>
                <a:gd name="connsiteY8" fmla="*/ 16717 h 224393"/>
                <a:gd name="connsiteX9" fmla="*/ 378061 w 394778"/>
                <a:gd name="connsiteY9" fmla="*/ 33434 h 224393"/>
                <a:gd name="connsiteX10" fmla="*/ 261685 w 394778"/>
                <a:gd name="connsiteY10" fmla="*/ 33434 h 224393"/>
                <a:gd name="connsiteX11" fmla="*/ 152382 w 394778"/>
                <a:gd name="connsiteY11" fmla="*/ 216035 h 224393"/>
                <a:gd name="connsiteX12" fmla="*/ 137594 w 394778"/>
                <a:gd name="connsiteY12" fmla="*/ 224394 h 224393"/>
                <a:gd name="connsiteX13" fmla="*/ 137594 w 394778"/>
                <a:gd name="connsiteY13" fmla="*/ 224394 h 224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94778" h="224393">
                  <a:moveTo>
                    <a:pt x="137594" y="224394"/>
                  </a:moveTo>
                  <a:lnTo>
                    <a:pt x="16717" y="224394"/>
                  </a:lnTo>
                  <a:cubicBezTo>
                    <a:pt x="7072" y="224394"/>
                    <a:pt x="0" y="216678"/>
                    <a:pt x="0" y="207677"/>
                  </a:cubicBezTo>
                  <a:cubicBezTo>
                    <a:pt x="0" y="198032"/>
                    <a:pt x="7715" y="190959"/>
                    <a:pt x="16717" y="190959"/>
                  </a:cubicBezTo>
                  <a:lnTo>
                    <a:pt x="127949" y="190959"/>
                  </a:lnTo>
                  <a:lnTo>
                    <a:pt x="237253" y="8358"/>
                  </a:lnTo>
                  <a:cubicBezTo>
                    <a:pt x="240468" y="3215"/>
                    <a:pt x="245611" y="0"/>
                    <a:pt x="252041" y="0"/>
                  </a:cubicBezTo>
                  <a:lnTo>
                    <a:pt x="378061" y="0"/>
                  </a:lnTo>
                  <a:cubicBezTo>
                    <a:pt x="387705" y="0"/>
                    <a:pt x="394778" y="7715"/>
                    <a:pt x="394778" y="16717"/>
                  </a:cubicBezTo>
                  <a:cubicBezTo>
                    <a:pt x="394778" y="26361"/>
                    <a:pt x="387062" y="33434"/>
                    <a:pt x="378061" y="33434"/>
                  </a:cubicBezTo>
                  <a:lnTo>
                    <a:pt x="261685" y="33434"/>
                  </a:lnTo>
                  <a:lnTo>
                    <a:pt x="152382" y="216035"/>
                  </a:lnTo>
                  <a:cubicBezTo>
                    <a:pt x="148524" y="221179"/>
                    <a:pt x="143380" y="224394"/>
                    <a:pt x="137594" y="224394"/>
                  </a:cubicBezTo>
                  <a:lnTo>
                    <a:pt x="137594" y="224394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8" name="Forma Livre: Forma 37">
              <a:extLst>
                <a:ext uri="{FF2B5EF4-FFF2-40B4-BE49-F238E27FC236}">
                  <a16:creationId xmlns:a16="http://schemas.microsoft.com/office/drawing/2014/main" id="{D4E5BD4C-9E15-4A0B-8073-DC3F5C6E7827}"/>
                </a:ext>
              </a:extLst>
            </p:cNvPr>
            <p:cNvSpPr/>
            <p:nvPr/>
          </p:nvSpPr>
          <p:spPr>
            <a:xfrm>
              <a:off x="9819711" y="3691885"/>
              <a:ext cx="99016" cy="165562"/>
            </a:xfrm>
            <a:custGeom>
              <a:avLst/>
              <a:gdLst>
                <a:gd name="connsiteX0" fmla="*/ 17039 w 99016"/>
                <a:gd name="connsiteY0" fmla="*/ 165563 h 165562"/>
                <a:gd name="connsiteX1" fmla="*/ 4822 w 99016"/>
                <a:gd name="connsiteY1" fmla="*/ 160419 h 165562"/>
                <a:gd name="connsiteX2" fmla="*/ 4822 w 99016"/>
                <a:gd name="connsiteY2" fmla="*/ 136629 h 165562"/>
                <a:gd name="connsiteX3" fmla="*/ 58188 w 99016"/>
                <a:gd name="connsiteY3" fmla="*/ 82620 h 165562"/>
                <a:gd name="connsiteX4" fmla="*/ 4822 w 99016"/>
                <a:gd name="connsiteY4" fmla="*/ 28612 h 165562"/>
                <a:gd name="connsiteX5" fmla="*/ 4822 w 99016"/>
                <a:gd name="connsiteY5" fmla="*/ 4822 h 165562"/>
                <a:gd name="connsiteX6" fmla="*/ 28611 w 99016"/>
                <a:gd name="connsiteY6" fmla="*/ 4822 h 165562"/>
                <a:gd name="connsiteX7" fmla="*/ 94194 w 99016"/>
                <a:gd name="connsiteY7" fmla="*/ 70404 h 165562"/>
                <a:gd name="connsiteX8" fmla="*/ 94194 w 99016"/>
                <a:gd name="connsiteY8" fmla="*/ 94194 h 165562"/>
                <a:gd name="connsiteX9" fmla="*/ 28611 w 99016"/>
                <a:gd name="connsiteY9" fmla="*/ 159776 h 165562"/>
                <a:gd name="connsiteX10" fmla="*/ 17039 w 99016"/>
                <a:gd name="connsiteY10" fmla="*/ 165563 h 165562"/>
                <a:gd name="connsiteX11" fmla="*/ 17039 w 99016"/>
                <a:gd name="connsiteY11" fmla="*/ 165563 h 165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9016" h="165562">
                  <a:moveTo>
                    <a:pt x="17039" y="165563"/>
                  </a:moveTo>
                  <a:cubicBezTo>
                    <a:pt x="12537" y="165563"/>
                    <a:pt x="8037" y="163634"/>
                    <a:pt x="4822" y="160419"/>
                  </a:cubicBezTo>
                  <a:cubicBezTo>
                    <a:pt x="-1607" y="153989"/>
                    <a:pt x="-1607" y="143059"/>
                    <a:pt x="4822" y="136629"/>
                  </a:cubicBezTo>
                  <a:lnTo>
                    <a:pt x="58188" y="82620"/>
                  </a:lnTo>
                  <a:lnTo>
                    <a:pt x="4822" y="28612"/>
                  </a:lnTo>
                  <a:cubicBezTo>
                    <a:pt x="-1607" y="22182"/>
                    <a:pt x="-1607" y="11252"/>
                    <a:pt x="4822" y="4822"/>
                  </a:cubicBezTo>
                  <a:cubicBezTo>
                    <a:pt x="11252" y="-1607"/>
                    <a:pt x="22182" y="-1607"/>
                    <a:pt x="28611" y="4822"/>
                  </a:cubicBezTo>
                  <a:lnTo>
                    <a:pt x="94194" y="70404"/>
                  </a:lnTo>
                  <a:cubicBezTo>
                    <a:pt x="100624" y="76834"/>
                    <a:pt x="100624" y="87764"/>
                    <a:pt x="94194" y="94194"/>
                  </a:cubicBezTo>
                  <a:lnTo>
                    <a:pt x="28611" y="159776"/>
                  </a:lnTo>
                  <a:cubicBezTo>
                    <a:pt x="25397" y="163634"/>
                    <a:pt x="21539" y="165563"/>
                    <a:pt x="17039" y="165563"/>
                  </a:cubicBezTo>
                  <a:lnTo>
                    <a:pt x="17039" y="165563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9" name="Forma Livre: Forma 38">
              <a:extLst>
                <a:ext uri="{FF2B5EF4-FFF2-40B4-BE49-F238E27FC236}">
                  <a16:creationId xmlns:a16="http://schemas.microsoft.com/office/drawing/2014/main" id="{05698676-0BC7-4F76-8E7F-97ADDE09E4A7}"/>
                </a:ext>
              </a:extLst>
            </p:cNvPr>
            <p:cNvSpPr/>
            <p:nvPr/>
          </p:nvSpPr>
          <p:spPr>
            <a:xfrm>
              <a:off x="9819711" y="3881559"/>
              <a:ext cx="99016" cy="165562"/>
            </a:xfrm>
            <a:custGeom>
              <a:avLst/>
              <a:gdLst>
                <a:gd name="connsiteX0" fmla="*/ 17039 w 99016"/>
                <a:gd name="connsiteY0" fmla="*/ 165563 h 165562"/>
                <a:gd name="connsiteX1" fmla="*/ 4822 w 99016"/>
                <a:gd name="connsiteY1" fmla="*/ 160419 h 165562"/>
                <a:gd name="connsiteX2" fmla="*/ 4822 w 99016"/>
                <a:gd name="connsiteY2" fmla="*/ 136629 h 165562"/>
                <a:gd name="connsiteX3" fmla="*/ 58188 w 99016"/>
                <a:gd name="connsiteY3" fmla="*/ 82620 h 165562"/>
                <a:gd name="connsiteX4" fmla="*/ 4822 w 99016"/>
                <a:gd name="connsiteY4" fmla="*/ 28612 h 165562"/>
                <a:gd name="connsiteX5" fmla="*/ 4822 w 99016"/>
                <a:gd name="connsiteY5" fmla="*/ 4822 h 165562"/>
                <a:gd name="connsiteX6" fmla="*/ 28611 w 99016"/>
                <a:gd name="connsiteY6" fmla="*/ 4822 h 165562"/>
                <a:gd name="connsiteX7" fmla="*/ 94194 w 99016"/>
                <a:gd name="connsiteY7" fmla="*/ 70404 h 165562"/>
                <a:gd name="connsiteX8" fmla="*/ 94194 w 99016"/>
                <a:gd name="connsiteY8" fmla="*/ 94194 h 165562"/>
                <a:gd name="connsiteX9" fmla="*/ 28611 w 99016"/>
                <a:gd name="connsiteY9" fmla="*/ 159776 h 165562"/>
                <a:gd name="connsiteX10" fmla="*/ 17039 w 99016"/>
                <a:gd name="connsiteY10" fmla="*/ 165563 h 165562"/>
                <a:gd name="connsiteX11" fmla="*/ 17039 w 99016"/>
                <a:gd name="connsiteY11" fmla="*/ 165563 h 165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9016" h="165562">
                  <a:moveTo>
                    <a:pt x="17039" y="165563"/>
                  </a:moveTo>
                  <a:cubicBezTo>
                    <a:pt x="12537" y="165563"/>
                    <a:pt x="8037" y="163634"/>
                    <a:pt x="4822" y="160419"/>
                  </a:cubicBezTo>
                  <a:cubicBezTo>
                    <a:pt x="-1607" y="153989"/>
                    <a:pt x="-1607" y="143059"/>
                    <a:pt x="4822" y="136629"/>
                  </a:cubicBezTo>
                  <a:lnTo>
                    <a:pt x="58188" y="82620"/>
                  </a:lnTo>
                  <a:lnTo>
                    <a:pt x="4822" y="28612"/>
                  </a:lnTo>
                  <a:cubicBezTo>
                    <a:pt x="-1607" y="22182"/>
                    <a:pt x="-1607" y="11252"/>
                    <a:pt x="4822" y="4822"/>
                  </a:cubicBezTo>
                  <a:cubicBezTo>
                    <a:pt x="11252" y="-1607"/>
                    <a:pt x="22182" y="-1607"/>
                    <a:pt x="28611" y="4822"/>
                  </a:cubicBezTo>
                  <a:lnTo>
                    <a:pt x="94194" y="70404"/>
                  </a:lnTo>
                  <a:cubicBezTo>
                    <a:pt x="100624" y="76834"/>
                    <a:pt x="100624" y="87764"/>
                    <a:pt x="94194" y="94194"/>
                  </a:cubicBezTo>
                  <a:lnTo>
                    <a:pt x="28611" y="159776"/>
                  </a:lnTo>
                  <a:cubicBezTo>
                    <a:pt x="25397" y="163634"/>
                    <a:pt x="21539" y="165563"/>
                    <a:pt x="17039" y="165563"/>
                  </a:cubicBezTo>
                  <a:lnTo>
                    <a:pt x="17039" y="165563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40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10484157" y="3633464"/>
            <a:ext cx="429223" cy="362065"/>
            <a:chOff x="10545935" y="3686372"/>
            <a:chExt cx="435285" cy="367179"/>
          </a:xfrm>
          <a:solidFill>
            <a:srgbClr val="B1B1A1"/>
          </a:solidFill>
        </p:grpSpPr>
        <p:sp>
          <p:nvSpPr>
            <p:cNvPr id="41" name="Forma Livre: Forma 40">
              <a:extLst>
                <a:ext uri="{FF2B5EF4-FFF2-40B4-BE49-F238E27FC236}">
                  <a16:creationId xmlns:a16="http://schemas.microsoft.com/office/drawing/2014/main" id="{3026B9D3-48C5-4A5F-91C6-B902CE764DC8}"/>
                </a:ext>
              </a:extLst>
            </p:cNvPr>
            <p:cNvSpPr/>
            <p:nvPr/>
          </p:nvSpPr>
          <p:spPr>
            <a:xfrm>
              <a:off x="10768088" y="3686372"/>
              <a:ext cx="120546" cy="182649"/>
            </a:xfrm>
            <a:custGeom>
              <a:avLst/>
              <a:gdLst>
                <a:gd name="connsiteX0" fmla="*/ 17030 w 120546"/>
                <a:gd name="connsiteY0" fmla="*/ 182649 h 182649"/>
                <a:gd name="connsiteX1" fmla="*/ 4170 w 120546"/>
                <a:gd name="connsiteY1" fmla="*/ 176863 h 182649"/>
                <a:gd name="connsiteX2" fmla="*/ 6099 w 120546"/>
                <a:gd name="connsiteY2" fmla="*/ 153073 h 182649"/>
                <a:gd name="connsiteX3" fmla="*/ 78111 w 120546"/>
                <a:gd name="connsiteY3" fmla="*/ 91349 h 182649"/>
                <a:gd name="connsiteX4" fmla="*/ 6099 w 120546"/>
                <a:gd name="connsiteY4" fmla="*/ 29625 h 182649"/>
                <a:gd name="connsiteX5" fmla="*/ 4170 w 120546"/>
                <a:gd name="connsiteY5" fmla="*/ 5835 h 182649"/>
                <a:gd name="connsiteX6" fmla="*/ 27960 w 120546"/>
                <a:gd name="connsiteY6" fmla="*/ 3906 h 182649"/>
                <a:gd name="connsiteX7" fmla="*/ 114759 w 120546"/>
                <a:gd name="connsiteY7" fmla="*/ 78489 h 182649"/>
                <a:gd name="connsiteX8" fmla="*/ 120546 w 120546"/>
                <a:gd name="connsiteY8" fmla="*/ 91349 h 182649"/>
                <a:gd name="connsiteX9" fmla="*/ 114759 w 120546"/>
                <a:gd name="connsiteY9" fmla="*/ 104208 h 182649"/>
                <a:gd name="connsiteX10" fmla="*/ 27960 w 120546"/>
                <a:gd name="connsiteY10" fmla="*/ 178792 h 182649"/>
                <a:gd name="connsiteX11" fmla="*/ 17030 w 120546"/>
                <a:gd name="connsiteY11" fmla="*/ 182649 h 182649"/>
                <a:gd name="connsiteX12" fmla="*/ 17030 w 120546"/>
                <a:gd name="connsiteY12" fmla="*/ 182649 h 182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0546" h="182649">
                  <a:moveTo>
                    <a:pt x="17030" y="182649"/>
                  </a:moveTo>
                  <a:cubicBezTo>
                    <a:pt x="12528" y="182649"/>
                    <a:pt x="7385" y="180721"/>
                    <a:pt x="4170" y="176863"/>
                  </a:cubicBezTo>
                  <a:cubicBezTo>
                    <a:pt x="-2259" y="169790"/>
                    <a:pt x="-974" y="158860"/>
                    <a:pt x="6099" y="153073"/>
                  </a:cubicBezTo>
                  <a:lnTo>
                    <a:pt x="78111" y="91349"/>
                  </a:lnTo>
                  <a:lnTo>
                    <a:pt x="6099" y="29625"/>
                  </a:lnTo>
                  <a:cubicBezTo>
                    <a:pt x="-974" y="23195"/>
                    <a:pt x="-1616" y="12908"/>
                    <a:pt x="4170" y="5835"/>
                  </a:cubicBezTo>
                  <a:cubicBezTo>
                    <a:pt x="10600" y="-1238"/>
                    <a:pt x="20887" y="-1881"/>
                    <a:pt x="27960" y="3906"/>
                  </a:cubicBezTo>
                  <a:lnTo>
                    <a:pt x="114759" y="78489"/>
                  </a:lnTo>
                  <a:cubicBezTo>
                    <a:pt x="118617" y="81704"/>
                    <a:pt x="120546" y="86205"/>
                    <a:pt x="120546" y="91349"/>
                  </a:cubicBezTo>
                  <a:cubicBezTo>
                    <a:pt x="120546" y="96493"/>
                    <a:pt x="118617" y="100993"/>
                    <a:pt x="114759" y="104208"/>
                  </a:cubicBezTo>
                  <a:lnTo>
                    <a:pt x="27960" y="178792"/>
                  </a:lnTo>
                  <a:cubicBezTo>
                    <a:pt x="25388" y="181363"/>
                    <a:pt x="20887" y="182649"/>
                    <a:pt x="17030" y="182649"/>
                  </a:cubicBezTo>
                  <a:lnTo>
                    <a:pt x="17030" y="182649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2" name="Forma Livre: Forma 41">
              <a:extLst>
                <a:ext uri="{FF2B5EF4-FFF2-40B4-BE49-F238E27FC236}">
                  <a16:creationId xmlns:a16="http://schemas.microsoft.com/office/drawing/2014/main" id="{91F1AB59-75FF-440E-A366-535B9B22DE07}"/>
                </a:ext>
              </a:extLst>
            </p:cNvPr>
            <p:cNvSpPr/>
            <p:nvPr/>
          </p:nvSpPr>
          <p:spPr>
            <a:xfrm>
              <a:off x="10545935" y="3762290"/>
              <a:ext cx="327910" cy="206390"/>
            </a:xfrm>
            <a:custGeom>
              <a:avLst/>
              <a:gdLst>
                <a:gd name="connsiteX0" fmla="*/ 54652 w 327910"/>
                <a:gd name="connsiteY0" fmla="*/ 206391 h 206390"/>
                <a:gd name="connsiteX1" fmla="*/ 44364 w 327910"/>
                <a:gd name="connsiteY1" fmla="*/ 203176 h 206390"/>
                <a:gd name="connsiteX2" fmla="*/ 0 w 327910"/>
                <a:gd name="connsiteY2" fmla="*/ 113161 h 206390"/>
                <a:gd name="connsiteX3" fmla="*/ 113161 w 327910"/>
                <a:gd name="connsiteY3" fmla="*/ 0 h 206390"/>
                <a:gd name="connsiteX4" fmla="*/ 311193 w 327910"/>
                <a:gd name="connsiteY4" fmla="*/ 0 h 206390"/>
                <a:gd name="connsiteX5" fmla="*/ 327910 w 327910"/>
                <a:gd name="connsiteY5" fmla="*/ 16717 h 206390"/>
                <a:gd name="connsiteX6" fmla="*/ 311193 w 327910"/>
                <a:gd name="connsiteY6" fmla="*/ 33434 h 206390"/>
                <a:gd name="connsiteX7" fmla="*/ 113161 w 327910"/>
                <a:gd name="connsiteY7" fmla="*/ 33434 h 206390"/>
                <a:gd name="connsiteX8" fmla="*/ 34077 w 327910"/>
                <a:gd name="connsiteY8" fmla="*/ 112518 h 206390"/>
                <a:gd name="connsiteX9" fmla="*/ 64939 w 327910"/>
                <a:gd name="connsiteY9" fmla="*/ 175529 h 206390"/>
                <a:gd name="connsiteX10" fmla="*/ 68154 w 327910"/>
                <a:gd name="connsiteY10" fmla="*/ 199318 h 206390"/>
                <a:gd name="connsiteX11" fmla="*/ 54652 w 327910"/>
                <a:gd name="connsiteY11" fmla="*/ 206391 h 206390"/>
                <a:gd name="connsiteX12" fmla="*/ 54652 w 327910"/>
                <a:gd name="connsiteY12" fmla="*/ 206391 h 206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7910" h="206390">
                  <a:moveTo>
                    <a:pt x="54652" y="206391"/>
                  </a:moveTo>
                  <a:cubicBezTo>
                    <a:pt x="50794" y="206391"/>
                    <a:pt x="47579" y="205105"/>
                    <a:pt x="44364" y="203176"/>
                  </a:cubicBezTo>
                  <a:cubicBezTo>
                    <a:pt x="16074" y="181315"/>
                    <a:pt x="0" y="148524"/>
                    <a:pt x="0" y="113161"/>
                  </a:cubicBezTo>
                  <a:cubicBezTo>
                    <a:pt x="0" y="50794"/>
                    <a:pt x="50794" y="0"/>
                    <a:pt x="113161" y="0"/>
                  </a:cubicBezTo>
                  <a:lnTo>
                    <a:pt x="311193" y="0"/>
                  </a:lnTo>
                  <a:cubicBezTo>
                    <a:pt x="320838" y="0"/>
                    <a:pt x="327910" y="7716"/>
                    <a:pt x="327910" y="16717"/>
                  </a:cubicBezTo>
                  <a:cubicBezTo>
                    <a:pt x="327910" y="26361"/>
                    <a:pt x="320195" y="33434"/>
                    <a:pt x="311193" y="33434"/>
                  </a:cubicBezTo>
                  <a:lnTo>
                    <a:pt x="113161" y="33434"/>
                  </a:lnTo>
                  <a:cubicBezTo>
                    <a:pt x="69440" y="33434"/>
                    <a:pt x="34077" y="68797"/>
                    <a:pt x="34077" y="112518"/>
                  </a:cubicBezTo>
                  <a:cubicBezTo>
                    <a:pt x="34077" y="137594"/>
                    <a:pt x="45650" y="160097"/>
                    <a:pt x="64939" y="175529"/>
                  </a:cubicBezTo>
                  <a:cubicBezTo>
                    <a:pt x="72655" y="181315"/>
                    <a:pt x="73941" y="191603"/>
                    <a:pt x="68154" y="199318"/>
                  </a:cubicBezTo>
                  <a:cubicBezTo>
                    <a:pt x="64939" y="204462"/>
                    <a:pt x="59796" y="206391"/>
                    <a:pt x="54652" y="206391"/>
                  </a:cubicBezTo>
                  <a:lnTo>
                    <a:pt x="54652" y="206391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3" name="Forma Livre: Forma 42">
              <a:extLst>
                <a:ext uri="{FF2B5EF4-FFF2-40B4-BE49-F238E27FC236}">
                  <a16:creationId xmlns:a16="http://schemas.microsoft.com/office/drawing/2014/main" id="{1E764000-6419-49E6-B0D5-EB46C0EA7617}"/>
                </a:ext>
              </a:extLst>
            </p:cNvPr>
            <p:cNvSpPr/>
            <p:nvPr/>
          </p:nvSpPr>
          <p:spPr>
            <a:xfrm>
              <a:off x="10639164" y="3870902"/>
              <a:ext cx="120546" cy="182649"/>
            </a:xfrm>
            <a:custGeom>
              <a:avLst/>
              <a:gdLst>
                <a:gd name="connsiteX0" fmla="*/ 103517 w 120546"/>
                <a:gd name="connsiteY0" fmla="*/ 182649 h 182649"/>
                <a:gd name="connsiteX1" fmla="*/ 92587 w 120546"/>
                <a:gd name="connsiteY1" fmla="*/ 178791 h 182649"/>
                <a:gd name="connsiteX2" fmla="*/ 5787 w 120546"/>
                <a:gd name="connsiteY2" fmla="*/ 104208 h 182649"/>
                <a:gd name="connsiteX3" fmla="*/ 0 w 120546"/>
                <a:gd name="connsiteY3" fmla="*/ 91349 h 182649"/>
                <a:gd name="connsiteX4" fmla="*/ 5787 w 120546"/>
                <a:gd name="connsiteY4" fmla="*/ 78490 h 182649"/>
                <a:gd name="connsiteX5" fmla="*/ 92587 w 120546"/>
                <a:gd name="connsiteY5" fmla="*/ 3906 h 182649"/>
                <a:gd name="connsiteX6" fmla="*/ 116376 w 120546"/>
                <a:gd name="connsiteY6" fmla="*/ 5835 h 182649"/>
                <a:gd name="connsiteX7" fmla="*/ 114447 w 120546"/>
                <a:gd name="connsiteY7" fmla="*/ 29625 h 182649"/>
                <a:gd name="connsiteX8" fmla="*/ 42435 w 120546"/>
                <a:gd name="connsiteY8" fmla="*/ 91349 h 182649"/>
                <a:gd name="connsiteX9" fmla="*/ 114447 w 120546"/>
                <a:gd name="connsiteY9" fmla="*/ 153073 h 182649"/>
                <a:gd name="connsiteX10" fmla="*/ 116376 w 120546"/>
                <a:gd name="connsiteY10" fmla="*/ 176863 h 182649"/>
                <a:gd name="connsiteX11" fmla="*/ 103517 w 120546"/>
                <a:gd name="connsiteY11" fmla="*/ 182649 h 182649"/>
                <a:gd name="connsiteX12" fmla="*/ 103517 w 120546"/>
                <a:gd name="connsiteY12" fmla="*/ 182649 h 182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0546" h="182649">
                  <a:moveTo>
                    <a:pt x="103517" y="182649"/>
                  </a:moveTo>
                  <a:cubicBezTo>
                    <a:pt x="99659" y="182649"/>
                    <a:pt x="95801" y="181363"/>
                    <a:pt x="92587" y="178791"/>
                  </a:cubicBezTo>
                  <a:lnTo>
                    <a:pt x="5787" y="104208"/>
                  </a:lnTo>
                  <a:cubicBezTo>
                    <a:pt x="1929" y="100993"/>
                    <a:pt x="0" y="96492"/>
                    <a:pt x="0" y="91349"/>
                  </a:cubicBezTo>
                  <a:cubicBezTo>
                    <a:pt x="0" y="86205"/>
                    <a:pt x="1929" y="81704"/>
                    <a:pt x="5787" y="78490"/>
                  </a:cubicBezTo>
                  <a:lnTo>
                    <a:pt x="92587" y="3906"/>
                  </a:lnTo>
                  <a:cubicBezTo>
                    <a:pt x="99659" y="-1881"/>
                    <a:pt x="110590" y="-1238"/>
                    <a:pt x="116376" y="5835"/>
                  </a:cubicBezTo>
                  <a:cubicBezTo>
                    <a:pt x="122805" y="12907"/>
                    <a:pt x="121520" y="23838"/>
                    <a:pt x="114447" y="29625"/>
                  </a:cubicBezTo>
                  <a:lnTo>
                    <a:pt x="42435" y="91349"/>
                  </a:lnTo>
                  <a:lnTo>
                    <a:pt x="114447" y="153073"/>
                  </a:lnTo>
                  <a:cubicBezTo>
                    <a:pt x="121520" y="159503"/>
                    <a:pt x="122163" y="169790"/>
                    <a:pt x="116376" y="176863"/>
                  </a:cubicBezTo>
                  <a:cubicBezTo>
                    <a:pt x="112518" y="180721"/>
                    <a:pt x="108018" y="182649"/>
                    <a:pt x="103517" y="182649"/>
                  </a:cubicBezTo>
                  <a:lnTo>
                    <a:pt x="103517" y="182649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4" name="Forma Livre: Forma 43">
              <a:extLst>
                <a:ext uri="{FF2B5EF4-FFF2-40B4-BE49-F238E27FC236}">
                  <a16:creationId xmlns:a16="http://schemas.microsoft.com/office/drawing/2014/main" id="{7E2D2BB4-1800-4DD8-BF09-7919D92675C0}"/>
                </a:ext>
              </a:extLst>
            </p:cNvPr>
            <p:cNvSpPr/>
            <p:nvPr/>
          </p:nvSpPr>
          <p:spPr>
            <a:xfrm>
              <a:off x="10653310" y="3770267"/>
              <a:ext cx="327910" cy="206129"/>
            </a:xfrm>
            <a:custGeom>
              <a:avLst/>
              <a:gdLst>
                <a:gd name="connsiteX0" fmla="*/ 214748 w 327910"/>
                <a:gd name="connsiteY0" fmla="*/ 206129 h 206129"/>
                <a:gd name="connsiteX1" fmla="*/ 16717 w 327910"/>
                <a:gd name="connsiteY1" fmla="*/ 206129 h 206129"/>
                <a:gd name="connsiteX2" fmla="*/ 0 w 327910"/>
                <a:gd name="connsiteY2" fmla="*/ 189412 h 206129"/>
                <a:gd name="connsiteX3" fmla="*/ 16717 w 327910"/>
                <a:gd name="connsiteY3" fmla="*/ 172695 h 206129"/>
                <a:gd name="connsiteX4" fmla="*/ 214748 w 327910"/>
                <a:gd name="connsiteY4" fmla="*/ 172695 h 206129"/>
                <a:gd name="connsiteX5" fmla="*/ 293833 w 327910"/>
                <a:gd name="connsiteY5" fmla="*/ 93611 h 206129"/>
                <a:gd name="connsiteX6" fmla="*/ 262971 w 327910"/>
                <a:gd name="connsiteY6" fmla="*/ 30601 h 206129"/>
                <a:gd name="connsiteX7" fmla="*/ 259756 w 327910"/>
                <a:gd name="connsiteY7" fmla="*/ 6811 h 206129"/>
                <a:gd name="connsiteX8" fmla="*/ 283546 w 327910"/>
                <a:gd name="connsiteY8" fmla="*/ 3596 h 206129"/>
                <a:gd name="connsiteX9" fmla="*/ 327910 w 327910"/>
                <a:gd name="connsiteY9" fmla="*/ 93611 h 206129"/>
                <a:gd name="connsiteX10" fmla="*/ 214748 w 327910"/>
                <a:gd name="connsiteY10" fmla="*/ 206129 h 206129"/>
                <a:gd name="connsiteX11" fmla="*/ 214748 w 327910"/>
                <a:gd name="connsiteY11" fmla="*/ 206129 h 206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7910" h="206129">
                  <a:moveTo>
                    <a:pt x="214748" y="206129"/>
                  </a:moveTo>
                  <a:lnTo>
                    <a:pt x="16717" y="206129"/>
                  </a:lnTo>
                  <a:cubicBezTo>
                    <a:pt x="7072" y="206129"/>
                    <a:pt x="0" y="198414"/>
                    <a:pt x="0" y="189412"/>
                  </a:cubicBezTo>
                  <a:cubicBezTo>
                    <a:pt x="0" y="179767"/>
                    <a:pt x="7715" y="172695"/>
                    <a:pt x="16717" y="172695"/>
                  </a:cubicBezTo>
                  <a:lnTo>
                    <a:pt x="214748" y="172695"/>
                  </a:lnTo>
                  <a:cubicBezTo>
                    <a:pt x="258470" y="172695"/>
                    <a:pt x="293833" y="137332"/>
                    <a:pt x="293833" y="93611"/>
                  </a:cubicBezTo>
                  <a:cubicBezTo>
                    <a:pt x="293833" y="68535"/>
                    <a:pt x="282259" y="46032"/>
                    <a:pt x="262971" y="30601"/>
                  </a:cubicBezTo>
                  <a:cubicBezTo>
                    <a:pt x="255255" y="24814"/>
                    <a:pt x="253970" y="14527"/>
                    <a:pt x="259756" y="6811"/>
                  </a:cubicBezTo>
                  <a:cubicBezTo>
                    <a:pt x="265543" y="-905"/>
                    <a:pt x="275830" y="-2191"/>
                    <a:pt x="283546" y="3596"/>
                  </a:cubicBezTo>
                  <a:cubicBezTo>
                    <a:pt x="311836" y="25457"/>
                    <a:pt x="327910" y="58248"/>
                    <a:pt x="327910" y="93611"/>
                  </a:cubicBezTo>
                  <a:cubicBezTo>
                    <a:pt x="327910" y="155335"/>
                    <a:pt x="277116" y="206129"/>
                    <a:pt x="214748" y="206129"/>
                  </a:cubicBezTo>
                  <a:lnTo>
                    <a:pt x="214748" y="206129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45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2350483" y="5690230"/>
            <a:ext cx="282766" cy="393084"/>
            <a:chOff x="2297384" y="5772187"/>
            <a:chExt cx="286760" cy="398636"/>
          </a:xfrm>
          <a:solidFill>
            <a:srgbClr val="B1B1A1"/>
          </a:solidFill>
        </p:grpSpPr>
        <p:sp>
          <p:nvSpPr>
            <p:cNvPr id="46" name="Forma Livre: Forma 45">
              <a:extLst>
                <a:ext uri="{FF2B5EF4-FFF2-40B4-BE49-F238E27FC236}">
                  <a16:creationId xmlns:a16="http://schemas.microsoft.com/office/drawing/2014/main" id="{7F34FF09-5375-4713-A738-0FE8EE189435}"/>
                </a:ext>
              </a:extLst>
            </p:cNvPr>
            <p:cNvSpPr/>
            <p:nvPr/>
          </p:nvSpPr>
          <p:spPr>
            <a:xfrm>
              <a:off x="2297384" y="5772187"/>
              <a:ext cx="286760" cy="398636"/>
            </a:xfrm>
            <a:custGeom>
              <a:avLst/>
              <a:gdLst>
                <a:gd name="connsiteX0" fmla="*/ 143380 w 286760"/>
                <a:gd name="connsiteY0" fmla="*/ 54009 h 398636"/>
                <a:gd name="connsiteX1" fmla="*/ 252684 w 286760"/>
                <a:gd name="connsiteY1" fmla="*/ 237896 h 398636"/>
                <a:gd name="connsiteX2" fmla="*/ 144023 w 286760"/>
                <a:gd name="connsiteY2" fmla="*/ 364559 h 398636"/>
                <a:gd name="connsiteX3" fmla="*/ 34720 w 286760"/>
                <a:gd name="connsiteY3" fmla="*/ 237896 h 398636"/>
                <a:gd name="connsiteX4" fmla="*/ 143380 w 286760"/>
                <a:gd name="connsiteY4" fmla="*/ 54009 h 398636"/>
                <a:gd name="connsiteX5" fmla="*/ 143380 w 286760"/>
                <a:gd name="connsiteY5" fmla="*/ 0 h 398636"/>
                <a:gd name="connsiteX6" fmla="*/ 143380 w 286760"/>
                <a:gd name="connsiteY6" fmla="*/ 1929 h 398636"/>
                <a:gd name="connsiteX7" fmla="*/ 143380 w 286760"/>
                <a:gd name="connsiteY7" fmla="*/ 0 h 398636"/>
                <a:gd name="connsiteX8" fmla="*/ 143380 w 286760"/>
                <a:gd name="connsiteY8" fmla="*/ 0 h 398636"/>
                <a:gd name="connsiteX9" fmla="*/ 143380 w 286760"/>
                <a:gd name="connsiteY9" fmla="*/ 1929 h 398636"/>
                <a:gd name="connsiteX10" fmla="*/ 0 w 286760"/>
                <a:gd name="connsiteY10" fmla="*/ 237896 h 398636"/>
                <a:gd name="connsiteX11" fmla="*/ 143380 w 286760"/>
                <a:gd name="connsiteY11" fmla="*/ 398636 h 398636"/>
                <a:gd name="connsiteX12" fmla="*/ 286761 w 286760"/>
                <a:gd name="connsiteY12" fmla="*/ 237896 h 398636"/>
                <a:gd name="connsiteX13" fmla="*/ 143380 w 286760"/>
                <a:gd name="connsiteY13" fmla="*/ 1929 h 398636"/>
                <a:gd name="connsiteX14" fmla="*/ 143380 w 286760"/>
                <a:gd name="connsiteY14" fmla="*/ 1929 h 398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86760" h="398636">
                  <a:moveTo>
                    <a:pt x="143380" y="54009"/>
                  </a:moveTo>
                  <a:cubicBezTo>
                    <a:pt x="180029" y="94515"/>
                    <a:pt x="252684" y="177457"/>
                    <a:pt x="252684" y="237896"/>
                  </a:cubicBezTo>
                  <a:cubicBezTo>
                    <a:pt x="252684" y="286761"/>
                    <a:pt x="223108" y="363916"/>
                    <a:pt x="144023" y="364559"/>
                  </a:cubicBezTo>
                  <a:cubicBezTo>
                    <a:pt x="64296" y="363916"/>
                    <a:pt x="34720" y="286761"/>
                    <a:pt x="34720" y="237896"/>
                  </a:cubicBezTo>
                  <a:cubicBezTo>
                    <a:pt x="34720" y="177457"/>
                    <a:pt x="106732" y="94515"/>
                    <a:pt x="143380" y="54009"/>
                  </a:cubicBezTo>
                  <a:moveTo>
                    <a:pt x="143380" y="0"/>
                  </a:moveTo>
                  <a:cubicBezTo>
                    <a:pt x="142737" y="0"/>
                    <a:pt x="142737" y="643"/>
                    <a:pt x="143380" y="1929"/>
                  </a:cubicBezTo>
                  <a:cubicBezTo>
                    <a:pt x="144023" y="643"/>
                    <a:pt x="144023" y="0"/>
                    <a:pt x="143380" y="0"/>
                  </a:cubicBezTo>
                  <a:lnTo>
                    <a:pt x="143380" y="0"/>
                  </a:lnTo>
                  <a:close/>
                  <a:moveTo>
                    <a:pt x="143380" y="1929"/>
                  </a:moveTo>
                  <a:cubicBezTo>
                    <a:pt x="135665" y="17360"/>
                    <a:pt x="0" y="140166"/>
                    <a:pt x="0" y="237896"/>
                  </a:cubicBezTo>
                  <a:cubicBezTo>
                    <a:pt x="0" y="311194"/>
                    <a:pt x="46936" y="397350"/>
                    <a:pt x="143380" y="398636"/>
                  </a:cubicBezTo>
                  <a:cubicBezTo>
                    <a:pt x="239182" y="397993"/>
                    <a:pt x="286761" y="311194"/>
                    <a:pt x="286761" y="237896"/>
                  </a:cubicBezTo>
                  <a:cubicBezTo>
                    <a:pt x="286761" y="140166"/>
                    <a:pt x="151096" y="17360"/>
                    <a:pt x="143380" y="1929"/>
                  </a:cubicBezTo>
                  <a:lnTo>
                    <a:pt x="143380" y="1929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7" name="Forma Livre: Forma 46">
              <a:extLst>
                <a:ext uri="{FF2B5EF4-FFF2-40B4-BE49-F238E27FC236}">
                  <a16:creationId xmlns:a16="http://schemas.microsoft.com/office/drawing/2014/main" id="{CF0DC5A1-5220-4B49-A987-678E1212EDCD}"/>
                </a:ext>
              </a:extLst>
            </p:cNvPr>
            <p:cNvSpPr/>
            <p:nvPr/>
          </p:nvSpPr>
          <p:spPr>
            <a:xfrm>
              <a:off x="2356536" y="5996581"/>
              <a:ext cx="91300" cy="106088"/>
            </a:xfrm>
            <a:custGeom>
              <a:avLst/>
              <a:gdLst>
                <a:gd name="connsiteX0" fmla="*/ 84228 w 91300"/>
                <a:gd name="connsiteY0" fmla="*/ 106089 h 106088"/>
                <a:gd name="connsiteX1" fmla="*/ 84228 w 91300"/>
                <a:gd name="connsiteY1" fmla="*/ 106089 h 106088"/>
                <a:gd name="connsiteX2" fmla="*/ 0 w 91300"/>
                <a:gd name="connsiteY2" fmla="*/ 7072 h 106088"/>
                <a:gd name="connsiteX3" fmla="*/ 7073 w 91300"/>
                <a:gd name="connsiteY3" fmla="*/ 0 h 106088"/>
                <a:gd name="connsiteX4" fmla="*/ 7073 w 91300"/>
                <a:gd name="connsiteY4" fmla="*/ 0 h 106088"/>
                <a:gd name="connsiteX5" fmla="*/ 14145 w 91300"/>
                <a:gd name="connsiteY5" fmla="*/ 7072 h 106088"/>
                <a:gd name="connsiteX6" fmla="*/ 84228 w 91300"/>
                <a:gd name="connsiteY6" fmla="*/ 91943 h 106088"/>
                <a:gd name="connsiteX7" fmla="*/ 91301 w 91300"/>
                <a:gd name="connsiteY7" fmla="*/ 99016 h 106088"/>
                <a:gd name="connsiteX8" fmla="*/ 84228 w 91300"/>
                <a:gd name="connsiteY8" fmla="*/ 106089 h 106088"/>
                <a:gd name="connsiteX9" fmla="*/ 84228 w 91300"/>
                <a:gd name="connsiteY9" fmla="*/ 106089 h 106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1300" h="106088">
                  <a:moveTo>
                    <a:pt x="84228" y="106089"/>
                  </a:moveTo>
                  <a:cubicBezTo>
                    <a:pt x="84228" y="106089"/>
                    <a:pt x="84228" y="106089"/>
                    <a:pt x="84228" y="106089"/>
                  </a:cubicBezTo>
                  <a:cubicBezTo>
                    <a:pt x="22504" y="105445"/>
                    <a:pt x="0" y="46293"/>
                    <a:pt x="0" y="7072"/>
                  </a:cubicBezTo>
                  <a:cubicBezTo>
                    <a:pt x="0" y="3215"/>
                    <a:pt x="3215" y="0"/>
                    <a:pt x="7073" y="0"/>
                  </a:cubicBezTo>
                  <a:lnTo>
                    <a:pt x="7073" y="0"/>
                  </a:lnTo>
                  <a:cubicBezTo>
                    <a:pt x="10930" y="0"/>
                    <a:pt x="14145" y="3215"/>
                    <a:pt x="14145" y="7072"/>
                  </a:cubicBezTo>
                  <a:cubicBezTo>
                    <a:pt x="14145" y="40506"/>
                    <a:pt x="32791" y="91300"/>
                    <a:pt x="84228" y="91943"/>
                  </a:cubicBezTo>
                  <a:cubicBezTo>
                    <a:pt x="88086" y="91943"/>
                    <a:pt x="91301" y="95158"/>
                    <a:pt x="91301" y="99016"/>
                  </a:cubicBezTo>
                  <a:cubicBezTo>
                    <a:pt x="91301" y="102874"/>
                    <a:pt x="88086" y="106089"/>
                    <a:pt x="84228" y="106089"/>
                  </a:cubicBezTo>
                  <a:lnTo>
                    <a:pt x="84228" y="106089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48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1278646" y="5690230"/>
            <a:ext cx="385573" cy="393084"/>
            <a:chOff x="1210408" y="5772187"/>
            <a:chExt cx="391019" cy="398636"/>
          </a:xfrm>
          <a:solidFill>
            <a:srgbClr val="B1B1A1"/>
          </a:solidFill>
        </p:grpSpPr>
        <p:grpSp>
          <p:nvGrpSpPr>
            <p:cNvPr id="49" name="Gráfico 2">
              <a:extLst>
                <a:ext uri="{FF2B5EF4-FFF2-40B4-BE49-F238E27FC236}">
                  <a16:creationId xmlns:a16="http://schemas.microsoft.com/office/drawing/2014/main" id="{40F8E44F-B406-439F-8B63-82F15B4E8194}"/>
                </a:ext>
              </a:extLst>
            </p:cNvPr>
            <p:cNvGrpSpPr/>
            <p:nvPr/>
          </p:nvGrpSpPr>
          <p:grpSpPr>
            <a:xfrm>
              <a:off x="1329781" y="5772187"/>
              <a:ext cx="151374" cy="216034"/>
              <a:chOff x="1329781" y="5772187"/>
              <a:chExt cx="151374" cy="216034"/>
            </a:xfrm>
            <a:grpFill/>
          </p:grpSpPr>
          <p:sp>
            <p:nvSpPr>
              <p:cNvPr id="50" name="Forma Livre: Forma 49">
                <a:extLst>
                  <a:ext uri="{FF2B5EF4-FFF2-40B4-BE49-F238E27FC236}">
                    <a16:creationId xmlns:a16="http://schemas.microsoft.com/office/drawing/2014/main" id="{64E47342-781A-493D-9580-8E64ACBF44B9}"/>
                  </a:ext>
                </a:extLst>
              </p:cNvPr>
              <p:cNvSpPr/>
              <p:nvPr/>
            </p:nvSpPr>
            <p:spPr>
              <a:xfrm>
                <a:off x="1388879" y="5772187"/>
                <a:ext cx="33471" cy="216034"/>
              </a:xfrm>
              <a:custGeom>
                <a:avLst/>
                <a:gdLst>
                  <a:gd name="connsiteX0" fmla="*/ 16717 w 33471"/>
                  <a:gd name="connsiteY0" fmla="*/ 216035 h 216034"/>
                  <a:gd name="connsiteX1" fmla="*/ 0 w 33471"/>
                  <a:gd name="connsiteY1" fmla="*/ 199318 h 216034"/>
                  <a:gd name="connsiteX2" fmla="*/ 0 w 33471"/>
                  <a:gd name="connsiteY2" fmla="*/ 16717 h 216034"/>
                  <a:gd name="connsiteX3" fmla="*/ 16717 w 33471"/>
                  <a:gd name="connsiteY3" fmla="*/ 0 h 216034"/>
                  <a:gd name="connsiteX4" fmla="*/ 33434 w 33471"/>
                  <a:gd name="connsiteY4" fmla="*/ 16717 h 216034"/>
                  <a:gd name="connsiteX5" fmla="*/ 33434 w 33471"/>
                  <a:gd name="connsiteY5" fmla="*/ 199318 h 216034"/>
                  <a:gd name="connsiteX6" fmla="*/ 16717 w 33471"/>
                  <a:gd name="connsiteY6" fmla="*/ 216035 h 216034"/>
                  <a:gd name="connsiteX7" fmla="*/ 16717 w 33471"/>
                  <a:gd name="connsiteY7" fmla="*/ 216035 h 2160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471" h="216034">
                    <a:moveTo>
                      <a:pt x="16717" y="216035"/>
                    </a:moveTo>
                    <a:cubicBezTo>
                      <a:pt x="7073" y="216035"/>
                      <a:pt x="0" y="208320"/>
                      <a:pt x="0" y="199318"/>
                    </a:cubicBezTo>
                    <a:lnTo>
                      <a:pt x="0" y="16717"/>
                    </a:lnTo>
                    <a:cubicBezTo>
                      <a:pt x="0" y="7072"/>
                      <a:pt x="7716" y="0"/>
                      <a:pt x="16717" y="0"/>
                    </a:cubicBezTo>
                    <a:cubicBezTo>
                      <a:pt x="26361" y="0"/>
                      <a:pt x="33434" y="7716"/>
                      <a:pt x="33434" y="16717"/>
                    </a:cubicBezTo>
                    <a:lnTo>
                      <a:pt x="33434" y="199318"/>
                    </a:lnTo>
                    <a:cubicBezTo>
                      <a:pt x="34077" y="208320"/>
                      <a:pt x="26361" y="216035"/>
                      <a:pt x="16717" y="216035"/>
                    </a:cubicBezTo>
                    <a:lnTo>
                      <a:pt x="16717" y="216035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grpSp>
            <p:nvGrpSpPr>
              <p:cNvPr id="51" name="Gráfico 2">
                <a:extLst>
                  <a:ext uri="{FF2B5EF4-FFF2-40B4-BE49-F238E27FC236}">
                    <a16:creationId xmlns:a16="http://schemas.microsoft.com/office/drawing/2014/main" id="{40F8E44F-B406-439F-8B63-82F15B4E8194}"/>
                  </a:ext>
                </a:extLst>
              </p:cNvPr>
              <p:cNvGrpSpPr/>
              <p:nvPr/>
            </p:nvGrpSpPr>
            <p:grpSpPr>
              <a:xfrm>
                <a:off x="1329781" y="5782529"/>
                <a:ext cx="151374" cy="98961"/>
                <a:chOff x="1329781" y="5782529"/>
                <a:chExt cx="151374" cy="98961"/>
              </a:xfrm>
              <a:grpFill/>
            </p:grpSpPr>
            <p:sp>
              <p:nvSpPr>
                <p:cNvPr id="52" name="Forma Livre: Forma 51">
                  <a:extLst>
                    <a:ext uri="{FF2B5EF4-FFF2-40B4-BE49-F238E27FC236}">
                      <a16:creationId xmlns:a16="http://schemas.microsoft.com/office/drawing/2014/main" id="{44E05A0A-9015-4169-85D6-B368CF169BF8}"/>
                    </a:ext>
                  </a:extLst>
                </p:cNvPr>
                <p:cNvSpPr/>
                <p:nvPr/>
              </p:nvSpPr>
              <p:spPr>
                <a:xfrm>
                  <a:off x="1329781" y="5782529"/>
                  <a:ext cx="93120" cy="98961"/>
                </a:xfrm>
                <a:custGeom>
                  <a:avLst/>
                  <a:gdLst>
                    <a:gd name="connsiteX0" fmla="*/ 75815 w 93120"/>
                    <a:gd name="connsiteY0" fmla="*/ 98961 h 98961"/>
                    <a:gd name="connsiteX1" fmla="*/ 63599 w 93120"/>
                    <a:gd name="connsiteY1" fmla="*/ 93175 h 98961"/>
                    <a:gd name="connsiteX2" fmla="*/ 4446 w 93120"/>
                    <a:gd name="connsiteY2" fmla="*/ 28236 h 98961"/>
                    <a:gd name="connsiteX3" fmla="*/ 5732 w 93120"/>
                    <a:gd name="connsiteY3" fmla="*/ 4446 h 98961"/>
                    <a:gd name="connsiteX4" fmla="*/ 29522 w 93120"/>
                    <a:gd name="connsiteY4" fmla="*/ 5732 h 98961"/>
                    <a:gd name="connsiteX5" fmla="*/ 88674 w 93120"/>
                    <a:gd name="connsiteY5" fmla="*/ 70671 h 98961"/>
                    <a:gd name="connsiteX6" fmla="*/ 87388 w 93120"/>
                    <a:gd name="connsiteY6" fmla="*/ 94461 h 98961"/>
                    <a:gd name="connsiteX7" fmla="*/ 75815 w 93120"/>
                    <a:gd name="connsiteY7" fmla="*/ 98961 h 98961"/>
                    <a:gd name="connsiteX8" fmla="*/ 75815 w 93120"/>
                    <a:gd name="connsiteY8" fmla="*/ 98961 h 989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3120" h="98961">
                      <a:moveTo>
                        <a:pt x="75815" y="98961"/>
                      </a:moveTo>
                      <a:cubicBezTo>
                        <a:pt x="71314" y="98961"/>
                        <a:pt x="66813" y="97033"/>
                        <a:pt x="63599" y="93175"/>
                      </a:cubicBezTo>
                      <a:lnTo>
                        <a:pt x="4446" y="28236"/>
                      </a:lnTo>
                      <a:cubicBezTo>
                        <a:pt x="-1983" y="21163"/>
                        <a:pt x="-1340" y="10876"/>
                        <a:pt x="5732" y="4446"/>
                      </a:cubicBezTo>
                      <a:cubicBezTo>
                        <a:pt x="12805" y="-1984"/>
                        <a:pt x="23092" y="-1340"/>
                        <a:pt x="29522" y="5732"/>
                      </a:cubicBezTo>
                      <a:lnTo>
                        <a:pt x="88674" y="70671"/>
                      </a:lnTo>
                      <a:cubicBezTo>
                        <a:pt x="95104" y="77744"/>
                        <a:pt x="94461" y="88031"/>
                        <a:pt x="87388" y="94461"/>
                      </a:cubicBezTo>
                      <a:cubicBezTo>
                        <a:pt x="84173" y="97033"/>
                        <a:pt x="80316" y="98961"/>
                        <a:pt x="75815" y="98961"/>
                      </a:cubicBezTo>
                      <a:lnTo>
                        <a:pt x="75815" y="98961"/>
                      </a:lnTo>
                      <a:close/>
                    </a:path>
                  </a:pathLst>
                </a:custGeom>
                <a:grpFill/>
                <a:ln w="64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53" name="Forma Livre: Forma 52">
                  <a:extLst>
                    <a:ext uri="{FF2B5EF4-FFF2-40B4-BE49-F238E27FC236}">
                      <a16:creationId xmlns:a16="http://schemas.microsoft.com/office/drawing/2014/main" id="{3C2FC2E4-599D-4A97-92DB-ABC657247C58}"/>
                    </a:ext>
                  </a:extLst>
                </p:cNvPr>
                <p:cNvSpPr/>
                <p:nvPr/>
              </p:nvSpPr>
              <p:spPr>
                <a:xfrm>
                  <a:off x="1388546" y="5782784"/>
                  <a:ext cx="92610" cy="98706"/>
                </a:xfrm>
                <a:custGeom>
                  <a:avLst/>
                  <a:gdLst>
                    <a:gd name="connsiteX0" fmla="*/ 17051 w 92610"/>
                    <a:gd name="connsiteY0" fmla="*/ 98707 h 98706"/>
                    <a:gd name="connsiteX1" fmla="*/ 5477 w 92610"/>
                    <a:gd name="connsiteY1" fmla="*/ 94206 h 98706"/>
                    <a:gd name="connsiteX2" fmla="*/ 4191 w 92610"/>
                    <a:gd name="connsiteY2" fmla="*/ 70416 h 98706"/>
                    <a:gd name="connsiteX3" fmla="*/ 63344 w 92610"/>
                    <a:gd name="connsiteY3" fmla="*/ 5477 h 98706"/>
                    <a:gd name="connsiteX4" fmla="*/ 87133 w 92610"/>
                    <a:gd name="connsiteY4" fmla="*/ 4191 h 98706"/>
                    <a:gd name="connsiteX5" fmla="*/ 88419 w 92610"/>
                    <a:gd name="connsiteY5" fmla="*/ 27981 h 98706"/>
                    <a:gd name="connsiteX6" fmla="*/ 29910 w 92610"/>
                    <a:gd name="connsiteY6" fmla="*/ 92920 h 98706"/>
                    <a:gd name="connsiteX7" fmla="*/ 17051 w 92610"/>
                    <a:gd name="connsiteY7" fmla="*/ 98707 h 98706"/>
                    <a:gd name="connsiteX8" fmla="*/ 17051 w 92610"/>
                    <a:gd name="connsiteY8" fmla="*/ 98707 h 987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2610" h="98706">
                      <a:moveTo>
                        <a:pt x="17051" y="98707"/>
                      </a:moveTo>
                      <a:cubicBezTo>
                        <a:pt x="13193" y="98707"/>
                        <a:pt x="8692" y="97421"/>
                        <a:pt x="5477" y="94206"/>
                      </a:cubicBezTo>
                      <a:cubicBezTo>
                        <a:pt x="-1595" y="87776"/>
                        <a:pt x="-1595" y="76846"/>
                        <a:pt x="4191" y="70416"/>
                      </a:cubicBezTo>
                      <a:lnTo>
                        <a:pt x="63344" y="5477"/>
                      </a:lnTo>
                      <a:cubicBezTo>
                        <a:pt x="69773" y="-1595"/>
                        <a:pt x="80704" y="-1595"/>
                        <a:pt x="87133" y="4191"/>
                      </a:cubicBezTo>
                      <a:cubicBezTo>
                        <a:pt x="94206" y="10621"/>
                        <a:pt x="94206" y="21551"/>
                        <a:pt x="88419" y="27981"/>
                      </a:cubicBezTo>
                      <a:lnTo>
                        <a:pt x="29910" y="92920"/>
                      </a:lnTo>
                      <a:cubicBezTo>
                        <a:pt x="26695" y="96778"/>
                        <a:pt x="22194" y="98707"/>
                        <a:pt x="17051" y="98707"/>
                      </a:cubicBezTo>
                      <a:lnTo>
                        <a:pt x="17051" y="98707"/>
                      </a:lnTo>
                      <a:close/>
                    </a:path>
                  </a:pathLst>
                </a:custGeom>
                <a:grpFill/>
                <a:ln w="64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</p:grpSp>
        <p:grpSp>
          <p:nvGrpSpPr>
            <p:cNvPr id="54" name="Gráfico 2">
              <a:extLst>
                <a:ext uri="{FF2B5EF4-FFF2-40B4-BE49-F238E27FC236}">
                  <a16:creationId xmlns:a16="http://schemas.microsoft.com/office/drawing/2014/main" id="{40F8E44F-B406-439F-8B63-82F15B4E8194}"/>
                </a:ext>
              </a:extLst>
            </p:cNvPr>
            <p:cNvGrpSpPr/>
            <p:nvPr/>
          </p:nvGrpSpPr>
          <p:grpSpPr>
            <a:xfrm>
              <a:off x="1210408" y="5817763"/>
              <a:ext cx="212167" cy="170459"/>
              <a:chOff x="1210408" y="5817763"/>
              <a:chExt cx="212167" cy="170459"/>
            </a:xfrm>
            <a:grpFill/>
          </p:grpSpPr>
          <p:sp>
            <p:nvSpPr>
              <p:cNvPr id="55" name="Forma Livre: Forma 54">
                <a:extLst>
                  <a:ext uri="{FF2B5EF4-FFF2-40B4-BE49-F238E27FC236}">
                    <a16:creationId xmlns:a16="http://schemas.microsoft.com/office/drawing/2014/main" id="{4B0A6848-541F-45F3-9652-C2C5CDA00A85}"/>
                  </a:ext>
                </a:extLst>
              </p:cNvPr>
              <p:cNvSpPr/>
              <p:nvPr/>
            </p:nvSpPr>
            <p:spPr>
              <a:xfrm>
                <a:off x="1230448" y="5862582"/>
                <a:ext cx="192127" cy="125639"/>
              </a:xfrm>
              <a:custGeom>
                <a:avLst/>
                <a:gdLst>
                  <a:gd name="connsiteX0" fmla="*/ 175148 w 192127"/>
                  <a:gd name="connsiteY0" fmla="*/ 125640 h 125639"/>
                  <a:gd name="connsiteX1" fmla="*/ 166790 w 192127"/>
                  <a:gd name="connsiteY1" fmla="*/ 123068 h 125639"/>
                  <a:gd name="connsiteX2" fmla="*/ 8621 w 192127"/>
                  <a:gd name="connsiteY2" fmla="*/ 31768 h 125639"/>
                  <a:gd name="connsiteX3" fmla="*/ 2191 w 192127"/>
                  <a:gd name="connsiteY3" fmla="*/ 8621 h 125639"/>
                  <a:gd name="connsiteX4" fmla="*/ 25338 w 192127"/>
                  <a:gd name="connsiteY4" fmla="*/ 2192 h 125639"/>
                  <a:gd name="connsiteX5" fmla="*/ 183507 w 192127"/>
                  <a:gd name="connsiteY5" fmla="*/ 93492 h 125639"/>
                  <a:gd name="connsiteX6" fmla="*/ 189936 w 192127"/>
                  <a:gd name="connsiteY6" fmla="*/ 116639 h 125639"/>
                  <a:gd name="connsiteX7" fmla="*/ 175148 w 192127"/>
                  <a:gd name="connsiteY7" fmla="*/ 125640 h 125639"/>
                  <a:gd name="connsiteX8" fmla="*/ 175148 w 192127"/>
                  <a:gd name="connsiteY8" fmla="*/ 125640 h 125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2127" h="125639">
                    <a:moveTo>
                      <a:pt x="175148" y="125640"/>
                    </a:moveTo>
                    <a:cubicBezTo>
                      <a:pt x="172576" y="125640"/>
                      <a:pt x="169361" y="124997"/>
                      <a:pt x="166790" y="123068"/>
                    </a:cubicBezTo>
                    <a:lnTo>
                      <a:pt x="8621" y="31768"/>
                    </a:lnTo>
                    <a:cubicBezTo>
                      <a:pt x="263" y="27267"/>
                      <a:pt x="-2309" y="16980"/>
                      <a:pt x="2191" y="8621"/>
                    </a:cubicBezTo>
                    <a:cubicBezTo>
                      <a:pt x="6692" y="262"/>
                      <a:pt x="16980" y="-2309"/>
                      <a:pt x="25338" y="2192"/>
                    </a:cubicBezTo>
                    <a:lnTo>
                      <a:pt x="183507" y="93492"/>
                    </a:lnTo>
                    <a:cubicBezTo>
                      <a:pt x="191865" y="97993"/>
                      <a:pt x="194437" y="108280"/>
                      <a:pt x="189936" y="116639"/>
                    </a:cubicBezTo>
                    <a:cubicBezTo>
                      <a:pt x="186721" y="122425"/>
                      <a:pt x="181578" y="125640"/>
                      <a:pt x="175148" y="125640"/>
                    </a:cubicBezTo>
                    <a:lnTo>
                      <a:pt x="175148" y="125640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grpSp>
            <p:nvGrpSpPr>
              <p:cNvPr id="56" name="Gráfico 2">
                <a:extLst>
                  <a:ext uri="{FF2B5EF4-FFF2-40B4-BE49-F238E27FC236}">
                    <a16:creationId xmlns:a16="http://schemas.microsoft.com/office/drawing/2014/main" id="{40F8E44F-B406-439F-8B63-82F15B4E8194}"/>
                  </a:ext>
                </a:extLst>
              </p:cNvPr>
              <p:cNvGrpSpPr/>
              <p:nvPr/>
            </p:nvGrpSpPr>
            <p:grpSpPr>
              <a:xfrm>
                <a:off x="1210408" y="5817763"/>
                <a:ext cx="119393" cy="135739"/>
                <a:chOff x="1210408" y="5817763"/>
                <a:chExt cx="119393" cy="135739"/>
              </a:xfrm>
              <a:grpFill/>
            </p:grpSpPr>
            <p:sp>
              <p:nvSpPr>
                <p:cNvPr id="57" name="Forma Livre: Forma 56">
                  <a:extLst>
                    <a:ext uri="{FF2B5EF4-FFF2-40B4-BE49-F238E27FC236}">
                      <a16:creationId xmlns:a16="http://schemas.microsoft.com/office/drawing/2014/main" id="{269DCFC5-5D1F-49EE-B378-2DF7F44E7964}"/>
                    </a:ext>
                  </a:extLst>
                </p:cNvPr>
                <p:cNvSpPr/>
                <p:nvPr/>
              </p:nvSpPr>
              <p:spPr>
                <a:xfrm>
                  <a:off x="1210408" y="5901051"/>
                  <a:ext cx="119046" cy="52451"/>
                </a:xfrm>
                <a:custGeom>
                  <a:avLst/>
                  <a:gdLst>
                    <a:gd name="connsiteX0" fmla="*/ 17088 w 119046"/>
                    <a:gd name="connsiteY0" fmla="*/ 52451 h 52451"/>
                    <a:gd name="connsiteX1" fmla="*/ 371 w 119046"/>
                    <a:gd name="connsiteY1" fmla="*/ 38949 h 52451"/>
                    <a:gd name="connsiteX2" fmla="*/ 13230 w 119046"/>
                    <a:gd name="connsiteY2" fmla="*/ 19017 h 52451"/>
                    <a:gd name="connsiteX3" fmla="*/ 98744 w 119046"/>
                    <a:gd name="connsiteY3" fmla="*/ 371 h 52451"/>
                    <a:gd name="connsiteX4" fmla="*/ 118676 w 119046"/>
                    <a:gd name="connsiteY4" fmla="*/ 13230 h 52451"/>
                    <a:gd name="connsiteX5" fmla="*/ 105817 w 119046"/>
                    <a:gd name="connsiteY5" fmla="*/ 33162 h 52451"/>
                    <a:gd name="connsiteX6" fmla="*/ 20303 w 119046"/>
                    <a:gd name="connsiteY6" fmla="*/ 51808 h 52451"/>
                    <a:gd name="connsiteX7" fmla="*/ 17088 w 119046"/>
                    <a:gd name="connsiteY7" fmla="*/ 52451 h 52451"/>
                    <a:gd name="connsiteX8" fmla="*/ 17088 w 119046"/>
                    <a:gd name="connsiteY8" fmla="*/ 52451 h 524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19046" h="52451">
                      <a:moveTo>
                        <a:pt x="17088" y="52451"/>
                      </a:moveTo>
                      <a:cubicBezTo>
                        <a:pt x="9372" y="52451"/>
                        <a:pt x="2300" y="47307"/>
                        <a:pt x="371" y="38949"/>
                      </a:cubicBezTo>
                      <a:cubicBezTo>
                        <a:pt x="-1558" y="29947"/>
                        <a:pt x="4229" y="20946"/>
                        <a:pt x="13230" y="19017"/>
                      </a:cubicBezTo>
                      <a:lnTo>
                        <a:pt x="98744" y="371"/>
                      </a:lnTo>
                      <a:cubicBezTo>
                        <a:pt x="107746" y="-1558"/>
                        <a:pt x="116747" y="4229"/>
                        <a:pt x="118676" y="13230"/>
                      </a:cubicBezTo>
                      <a:cubicBezTo>
                        <a:pt x="120605" y="22232"/>
                        <a:pt x="114818" y="31233"/>
                        <a:pt x="105817" y="33162"/>
                      </a:cubicBezTo>
                      <a:lnTo>
                        <a:pt x="20303" y="51808"/>
                      </a:lnTo>
                      <a:cubicBezTo>
                        <a:pt x="19660" y="52451"/>
                        <a:pt x="18374" y="52451"/>
                        <a:pt x="17088" y="52451"/>
                      </a:cubicBezTo>
                      <a:lnTo>
                        <a:pt x="17088" y="52451"/>
                      </a:lnTo>
                      <a:close/>
                    </a:path>
                  </a:pathLst>
                </a:custGeom>
                <a:grpFill/>
                <a:ln w="64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58" name="Forma Livre: Forma 57">
                  <a:extLst>
                    <a:ext uri="{FF2B5EF4-FFF2-40B4-BE49-F238E27FC236}">
                      <a16:creationId xmlns:a16="http://schemas.microsoft.com/office/drawing/2014/main" id="{1A50BAC8-3FF6-4D2D-AC4A-2A4392D4DE44}"/>
                    </a:ext>
                  </a:extLst>
                </p:cNvPr>
                <p:cNvSpPr/>
                <p:nvPr/>
              </p:nvSpPr>
              <p:spPr>
                <a:xfrm>
                  <a:off x="1269857" y="5817763"/>
                  <a:ext cx="59944" cy="117093"/>
                </a:xfrm>
                <a:custGeom>
                  <a:avLst/>
                  <a:gdLst>
                    <a:gd name="connsiteX0" fmla="*/ 43153 w 59944"/>
                    <a:gd name="connsiteY0" fmla="*/ 117094 h 117093"/>
                    <a:gd name="connsiteX1" fmla="*/ 27079 w 59944"/>
                    <a:gd name="connsiteY1" fmla="*/ 105520 h 117093"/>
                    <a:gd name="connsiteX2" fmla="*/ 718 w 59944"/>
                    <a:gd name="connsiteY2" fmla="*/ 21935 h 117093"/>
                    <a:gd name="connsiteX3" fmla="*/ 11648 w 59944"/>
                    <a:gd name="connsiteY3" fmla="*/ 718 h 117093"/>
                    <a:gd name="connsiteX4" fmla="*/ 32866 w 59944"/>
                    <a:gd name="connsiteY4" fmla="*/ 11648 h 117093"/>
                    <a:gd name="connsiteX5" fmla="*/ 59227 w 59944"/>
                    <a:gd name="connsiteY5" fmla="*/ 95233 h 117093"/>
                    <a:gd name="connsiteX6" fmla="*/ 48297 w 59944"/>
                    <a:gd name="connsiteY6" fmla="*/ 116451 h 117093"/>
                    <a:gd name="connsiteX7" fmla="*/ 43153 w 59944"/>
                    <a:gd name="connsiteY7" fmla="*/ 117094 h 117093"/>
                    <a:gd name="connsiteX8" fmla="*/ 43153 w 59944"/>
                    <a:gd name="connsiteY8" fmla="*/ 117094 h 1170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59944" h="117093">
                      <a:moveTo>
                        <a:pt x="43153" y="117094"/>
                      </a:moveTo>
                      <a:cubicBezTo>
                        <a:pt x="36081" y="117094"/>
                        <a:pt x="29008" y="112593"/>
                        <a:pt x="27079" y="105520"/>
                      </a:cubicBezTo>
                      <a:lnTo>
                        <a:pt x="718" y="21935"/>
                      </a:lnTo>
                      <a:cubicBezTo>
                        <a:pt x="-1854" y="12934"/>
                        <a:pt x="2647" y="3289"/>
                        <a:pt x="11648" y="718"/>
                      </a:cubicBezTo>
                      <a:cubicBezTo>
                        <a:pt x="20649" y="-1854"/>
                        <a:pt x="30294" y="2647"/>
                        <a:pt x="32866" y="11648"/>
                      </a:cubicBezTo>
                      <a:lnTo>
                        <a:pt x="59227" y="95233"/>
                      </a:lnTo>
                      <a:cubicBezTo>
                        <a:pt x="61799" y="104234"/>
                        <a:pt x="57298" y="113879"/>
                        <a:pt x="48297" y="116451"/>
                      </a:cubicBezTo>
                      <a:cubicBezTo>
                        <a:pt x="47011" y="117094"/>
                        <a:pt x="45082" y="117094"/>
                        <a:pt x="43153" y="117094"/>
                      </a:cubicBezTo>
                      <a:lnTo>
                        <a:pt x="43153" y="117094"/>
                      </a:lnTo>
                      <a:close/>
                    </a:path>
                  </a:pathLst>
                </a:custGeom>
                <a:grpFill/>
                <a:ln w="64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</p:grpSp>
        <p:grpSp>
          <p:nvGrpSpPr>
            <p:cNvPr id="59" name="Gráfico 2">
              <a:extLst>
                <a:ext uri="{FF2B5EF4-FFF2-40B4-BE49-F238E27FC236}">
                  <a16:creationId xmlns:a16="http://schemas.microsoft.com/office/drawing/2014/main" id="{40F8E44F-B406-439F-8B63-82F15B4E8194}"/>
                </a:ext>
              </a:extLst>
            </p:cNvPr>
            <p:cNvGrpSpPr/>
            <p:nvPr/>
          </p:nvGrpSpPr>
          <p:grpSpPr>
            <a:xfrm>
              <a:off x="1210408" y="5954526"/>
              <a:ext cx="212810" cy="170647"/>
              <a:chOff x="1210408" y="5954526"/>
              <a:chExt cx="212810" cy="170647"/>
            </a:xfrm>
            <a:grpFill/>
          </p:grpSpPr>
          <p:sp>
            <p:nvSpPr>
              <p:cNvPr id="60" name="Forma Livre: Forma 59">
                <a:extLst>
                  <a:ext uri="{FF2B5EF4-FFF2-40B4-BE49-F238E27FC236}">
                    <a16:creationId xmlns:a16="http://schemas.microsoft.com/office/drawing/2014/main" id="{10241927-24C1-4469-AFEE-532BC86CCA96}"/>
                  </a:ext>
                </a:extLst>
              </p:cNvPr>
              <p:cNvSpPr/>
              <p:nvPr/>
            </p:nvSpPr>
            <p:spPr>
              <a:xfrm>
                <a:off x="1231091" y="5954526"/>
                <a:ext cx="192127" cy="124996"/>
              </a:xfrm>
              <a:custGeom>
                <a:avLst/>
                <a:gdLst>
                  <a:gd name="connsiteX0" fmla="*/ 16980 w 192127"/>
                  <a:gd name="connsiteY0" fmla="*/ 124997 h 124996"/>
                  <a:gd name="connsiteX1" fmla="*/ 2191 w 192127"/>
                  <a:gd name="connsiteY1" fmla="*/ 116638 h 124996"/>
                  <a:gd name="connsiteX2" fmla="*/ 8621 w 192127"/>
                  <a:gd name="connsiteY2" fmla="*/ 93492 h 124996"/>
                  <a:gd name="connsiteX3" fmla="*/ 166790 w 192127"/>
                  <a:gd name="connsiteY3" fmla="*/ 2191 h 124996"/>
                  <a:gd name="connsiteX4" fmla="*/ 189936 w 192127"/>
                  <a:gd name="connsiteY4" fmla="*/ 8621 h 124996"/>
                  <a:gd name="connsiteX5" fmla="*/ 183507 w 192127"/>
                  <a:gd name="connsiteY5" fmla="*/ 31767 h 124996"/>
                  <a:gd name="connsiteX6" fmla="*/ 25338 w 192127"/>
                  <a:gd name="connsiteY6" fmla="*/ 123068 h 124996"/>
                  <a:gd name="connsiteX7" fmla="*/ 16980 w 192127"/>
                  <a:gd name="connsiteY7" fmla="*/ 124997 h 124996"/>
                  <a:gd name="connsiteX8" fmla="*/ 16980 w 192127"/>
                  <a:gd name="connsiteY8" fmla="*/ 124997 h 124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2127" h="124996">
                    <a:moveTo>
                      <a:pt x="16980" y="124997"/>
                    </a:moveTo>
                    <a:cubicBezTo>
                      <a:pt x="11193" y="124997"/>
                      <a:pt x="5406" y="121782"/>
                      <a:pt x="2191" y="116638"/>
                    </a:cubicBezTo>
                    <a:cubicBezTo>
                      <a:pt x="-2309" y="108280"/>
                      <a:pt x="263" y="97992"/>
                      <a:pt x="8621" y="93492"/>
                    </a:cubicBezTo>
                    <a:lnTo>
                      <a:pt x="166790" y="2191"/>
                    </a:lnTo>
                    <a:cubicBezTo>
                      <a:pt x="175148" y="-2309"/>
                      <a:pt x="185435" y="263"/>
                      <a:pt x="189936" y="8621"/>
                    </a:cubicBezTo>
                    <a:cubicBezTo>
                      <a:pt x="194437" y="16979"/>
                      <a:pt x="191865" y="27267"/>
                      <a:pt x="183507" y="31767"/>
                    </a:cubicBezTo>
                    <a:lnTo>
                      <a:pt x="25338" y="123068"/>
                    </a:lnTo>
                    <a:cubicBezTo>
                      <a:pt x="22766" y="124354"/>
                      <a:pt x="19551" y="124997"/>
                      <a:pt x="16980" y="124997"/>
                    </a:cubicBezTo>
                    <a:lnTo>
                      <a:pt x="16980" y="124997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grpSp>
            <p:nvGrpSpPr>
              <p:cNvPr id="61" name="Gráfico 2">
                <a:extLst>
                  <a:ext uri="{FF2B5EF4-FFF2-40B4-BE49-F238E27FC236}">
                    <a16:creationId xmlns:a16="http://schemas.microsoft.com/office/drawing/2014/main" id="{40F8E44F-B406-439F-8B63-82F15B4E8194}"/>
                  </a:ext>
                </a:extLst>
              </p:cNvPr>
              <p:cNvGrpSpPr/>
              <p:nvPr/>
            </p:nvGrpSpPr>
            <p:grpSpPr>
              <a:xfrm>
                <a:off x="1210408" y="5987851"/>
                <a:ext cx="119689" cy="137322"/>
                <a:chOff x="1210408" y="5987851"/>
                <a:chExt cx="119689" cy="137322"/>
              </a:xfrm>
              <a:grpFill/>
            </p:grpSpPr>
            <p:sp>
              <p:nvSpPr>
                <p:cNvPr id="62" name="Forma Livre: Forma 61">
                  <a:extLst>
                    <a:ext uri="{FF2B5EF4-FFF2-40B4-BE49-F238E27FC236}">
                      <a16:creationId xmlns:a16="http://schemas.microsoft.com/office/drawing/2014/main" id="{7B2F1382-1BFA-40A2-8950-A97E171979B3}"/>
                    </a:ext>
                  </a:extLst>
                </p:cNvPr>
                <p:cNvSpPr/>
                <p:nvPr/>
              </p:nvSpPr>
              <p:spPr>
                <a:xfrm>
                  <a:off x="1269612" y="6007835"/>
                  <a:ext cx="60433" cy="117338"/>
                </a:xfrm>
                <a:custGeom>
                  <a:avLst/>
                  <a:gdLst>
                    <a:gd name="connsiteX0" fmla="*/ 17036 w 60433"/>
                    <a:gd name="connsiteY0" fmla="*/ 117338 h 117338"/>
                    <a:gd name="connsiteX1" fmla="*/ 11892 w 60433"/>
                    <a:gd name="connsiteY1" fmla="*/ 116695 h 117338"/>
                    <a:gd name="connsiteX2" fmla="*/ 962 w 60433"/>
                    <a:gd name="connsiteY2" fmla="*/ 95478 h 117338"/>
                    <a:gd name="connsiteX3" fmla="*/ 27324 w 60433"/>
                    <a:gd name="connsiteY3" fmla="*/ 11893 h 117338"/>
                    <a:gd name="connsiteX4" fmla="*/ 48541 w 60433"/>
                    <a:gd name="connsiteY4" fmla="*/ 962 h 117338"/>
                    <a:gd name="connsiteX5" fmla="*/ 59472 w 60433"/>
                    <a:gd name="connsiteY5" fmla="*/ 22180 h 117338"/>
                    <a:gd name="connsiteX6" fmla="*/ 33110 w 60433"/>
                    <a:gd name="connsiteY6" fmla="*/ 105765 h 117338"/>
                    <a:gd name="connsiteX7" fmla="*/ 17036 w 60433"/>
                    <a:gd name="connsiteY7" fmla="*/ 117338 h 117338"/>
                    <a:gd name="connsiteX8" fmla="*/ 17036 w 60433"/>
                    <a:gd name="connsiteY8" fmla="*/ 117338 h 1173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60433" h="117338">
                      <a:moveTo>
                        <a:pt x="17036" y="117338"/>
                      </a:moveTo>
                      <a:cubicBezTo>
                        <a:pt x="15107" y="117338"/>
                        <a:pt x="13821" y="117338"/>
                        <a:pt x="11892" y="116695"/>
                      </a:cubicBezTo>
                      <a:cubicBezTo>
                        <a:pt x="2891" y="114124"/>
                        <a:pt x="-2253" y="104479"/>
                        <a:pt x="962" y="95478"/>
                      </a:cubicBezTo>
                      <a:lnTo>
                        <a:pt x="27324" y="11893"/>
                      </a:lnTo>
                      <a:cubicBezTo>
                        <a:pt x="29895" y="2891"/>
                        <a:pt x="39540" y="-2253"/>
                        <a:pt x="48541" y="962"/>
                      </a:cubicBezTo>
                      <a:cubicBezTo>
                        <a:pt x="57543" y="3534"/>
                        <a:pt x="62686" y="13179"/>
                        <a:pt x="59472" y="22180"/>
                      </a:cubicBezTo>
                      <a:lnTo>
                        <a:pt x="33110" y="105765"/>
                      </a:lnTo>
                      <a:cubicBezTo>
                        <a:pt x="31181" y="112838"/>
                        <a:pt x="24109" y="117338"/>
                        <a:pt x="17036" y="117338"/>
                      </a:cubicBezTo>
                      <a:lnTo>
                        <a:pt x="17036" y="117338"/>
                      </a:lnTo>
                      <a:close/>
                    </a:path>
                  </a:pathLst>
                </a:custGeom>
                <a:grpFill/>
                <a:ln w="64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63" name="Forma Livre: Forma 62">
                  <a:extLst>
                    <a:ext uri="{FF2B5EF4-FFF2-40B4-BE49-F238E27FC236}">
                      <a16:creationId xmlns:a16="http://schemas.microsoft.com/office/drawing/2014/main" id="{F11FBD71-2799-4007-AD0F-FB06FAA7A49D}"/>
                    </a:ext>
                  </a:extLst>
                </p:cNvPr>
                <p:cNvSpPr/>
                <p:nvPr/>
              </p:nvSpPr>
              <p:spPr>
                <a:xfrm>
                  <a:off x="1210408" y="5987851"/>
                  <a:ext cx="119689" cy="53737"/>
                </a:xfrm>
                <a:custGeom>
                  <a:avLst/>
                  <a:gdLst>
                    <a:gd name="connsiteX0" fmla="*/ 102602 w 119689"/>
                    <a:gd name="connsiteY0" fmla="*/ 53737 h 53737"/>
                    <a:gd name="connsiteX1" fmla="*/ 98744 w 119689"/>
                    <a:gd name="connsiteY1" fmla="*/ 53094 h 53737"/>
                    <a:gd name="connsiteX2" fmla="*/ 13230 w 119689"/>
                    <a:gd name="connsiteY2" fmla="*/ 33805 h 53737"/>
                    <a:gd name="connsiteX3" fmla="*/ 371 w 119689"/>
                    <a:gd name="connsiteY3" fmla="*/ 13230 h 53737"/>
                    <a:gd name="connsiteX4" fmla="*/ 20946 w 119689"/>
                    <a:gd name="connsiteY4" fmla="*/ 371 h 53737"/>
                    <a:gd name="connsiteX5" fmla="*/ 106460 w 119689"/>
                    <a:gd name="connsiteY5" fmla="*/ 19660 h 53737"/>
                    <a:gd name="connsiteX6" fmla="*/ 119319 w 119689"/>
                    <a:gd name="connsiteY6" fmla="*/ 40235 h 53737"/>
                    <a:gd name="connsiteX7" fmla="*/ 102602 w 119689"/>
                    <a:gd name="connsiteY7" fmla="*/ 53737 h 53737"/>
                    <a:gd name="connsiteX8" fmla="*/ 102602 w 119689"/>
                    <a:gd name="connsiteY8" fmla="*/ 53737 h 537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19689" h="53737">
                      <a:moveTo>
                        <a:pt x="102602" y="53737"/>
                      </a:moveTo>
                      <a:cubicBezTo>
                        <a:pt x="101316" y="53737"/>
                        <a:pt x="100030" y="53737"/>
                        <a:pt x="98744" y="53094"/>
                      </a:cubicBezTo>
                      <a:lnTo>
                        <a:pt x="13230" y="33805"/>
                      </a:lnTo>
                      <a:cubicBezTo>
                        <a:pt x="4229" y="31876"/>
                        <a:pt x="-1558" y="22875"/>
                        <a:pt x="371" y="13230"/>
                      </a:cubicBezTo>
                      <a:cubicBezTo>
                        <a:pt x="2300" y="4229"/>
                        <a:pt x="11301" y="-1558"/>
                        <a:pt x="20946" y="371"/>
                      </a:cubicBezTo>
                      <a:lnTo>
                        <a:pt x="106460" y="19660"/>
                      </a:lnTo>
                      <a:cubicBezTo>
                        <a:pt x="115461" y="21589"/>
                        <a:pt x="121248" y="30590"/>
                        <a:pt x="119319" y="40235"/>
                      </a:cubicBezTo>
                      <a:cubicBezTo>
                        <a:pt x="117390" y="48593"/>
                        <a:pt x="110317" y="53737"/>
                        <a:pt x="102602" y="53737"/>
                      </a:cubicBezTo>
                      <a:lnTo>
                        <a:pt x="102602" y="53737"/>
                      </a:lnTo>
                      <a:close/>
                    </a:path>
                  </a:pathLst>
                </a:custGeom>
                <a:grpFill/>
                <a:ln w="64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</p:grpSp>
        <p:grpSp>
          <p:nvGrpSpPr>
            <p:cNvPr id="64" name="Gráfico 2">
              <a:extLst>
                <a:ext uri="{FF2B5EF4-FFF2-40B4-BE49-F238E27FC236}">
                  <a16:creationId xmlns:a16="http://schemas.microsoft.com/office/drawing/2014/main" id="{40F8E44F-B406-439F-8B63-82F15B4E8194}"/>
                </a:ext>
              </a:extLst>
            </p:cNvPr>
            <p:cNvGrpSpPr/>
            <p:nvPr/>
          </p:nvGrpSpPr>
          <p:grpSpPr>
            <a:xfrm>
              <a:off x="1329393" y="5954788"/>
              <a:ext cx="153303" cy="216034"/>
              <a:chOff x="1329393" y="5954788"/>
              <a:chExt cx="153303" cy="216034"/>
            </a:xfrm>
            <a:grpFill/>
          </p:grpSpPr>
          <p:sp>
            <p:nvSpPr>
              <p:cNvPr id="65" name="Forma Livre: Forma 64">
                <a:extLst>
                  <a:ext uri="{FF2B5EF4-FFF2-40B4-BE49-F238E27FC236}">
                    <a16:creationId xmlns:a16="http://schemas.microsoft.com/office/drawing/2014/main" id="{1FB01B37-7849-4B09-920D-F170E4ECD303}"/>
                  </a:ext>
                </a:extLst>
              </p:cNvPr>
              <p:cNvSpPr/>
              <p:nvPr/>
            </p:nvSpPr>
            <p:spPr>
              <a:xfrm>
                <a:off x="1388879" y="5954788"/>
                <a:ext cx="33471" cy="216034"/>
              </a:xfrm>
              <a:custGeom>
                <a:avLst/>
                <a:gdLst>
                  <a:gd name="connsiteX0" fmla="*/ 16717 w 33471"/>
                  <a:gd name="connsiteY0" fmla="*/ 216035 h 216034"/>
                  <a:gd name="connsiteX1" fmla="*/ 0 w 33471"/>
                  <a:gd name="connsiteY1" fmla="*/ 199318 h 216034"/>
                  <a:gd name="connsiteX2" fmla="*/ 0 w 33471"/>
                  <a:gd name="connsiteY2" fmla="*/ 16717 h 216034"/>
                  <a:gd name="connsiteX3" fmla="*/ 16717 w 33471"/>
                  <a:gd name="connsiteY3" fmla="*/ 0 h 216034"/>
                  <a:gd name="connsiteX4" fmla="*/ 33434 w 33471"/>
                  <a:gd name="connsiteY4" fmla="*/ 16717 h 216034"/>
                  <a:gd name="connsiteX5" fmla="*/ 33434 w 33471"/>
                  <a:gd name="connsiteY5" fmla="*/ 199318 h 216034"/>
                  <a:gd name="connsiteX6" fmla="*/ 16717 w 33471"/>
                  <a:gd name="connsiteY6" fmla="*/ 216035 h 216034"/>
                  <a:gd name="connsiteX7" fmla="*/ 16717 w 33471"/>
                  <a:gd name="connsiteY7" fmla="*/ 216035 h 2160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471" h="216034">
                    <a:moveTo>
                      <a:pt x="16717" y="216035"/>
                    </a:moveTo>
                    <a:cubicBezTo>
                      <a:pt x="7073" y="216035"/>
                      <a:pt x="0" y="208319"/>
                      <a:pt x="0" y="199318"/>
                    </a:cubicBezTo>
                    <a:lnTo>
                      <a:pt x="0" y="16717"/>
                    </a:lnTo>
                    <a:cubicBezTo>
                      <a:pt x="0" y="7072"/>
                      <a:pt x="7716" y="0"/>
                      <a:pt x="16717" y="0"/>
                    </a:cubicBezTo>
                    <a:cubicBezTo>
                      <a:pt x="26361" y="0"/>
                      <a:pt x="33434" y="7715"/>
                      <a:pt x="33434" y="16717"/>
                    </a:cubicBezTo>
                    <a:lnTo>
                      <a:pt x="33434" y="199318"/>
                    </a:lnTo>
                    <a:cubicBezTo>
                      <a:pt x="34077" y="208319"/>
                      <a:pt x="26361" y="216035"/>
                      <a:pt x="16717" y="216035"/>
                    </a:cubicBezTo>
                    <a:lnTo>
                      <a:pt x="16717" y="216035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grpSp>
            <p:nvGrpSpPr>
              <p:cNvPr id="66" name="Gráfico 2">
                <a:extLst>
                  <a:ext uri="{FF2B5EF4-FFF2-40B4-BE49-F238E27FC236}">
                    <a16:creationId xmlns:a16="http://schemas.microsoft.com/office/drawing/2014/main" id="{40F8E44F-B406-439F-8B63-82F15B4E8194}"/>
                  </a:ext>
                </a:extLst>
              </p:cNvPr>
              <p:cNvGrpSpPr/>
              <p:nvPr/>
            </p:nvGrpSpPr>
            <p:grpSpPr>
              <a:xfrm>
                <a:off x="1329393" y="6060931"/>
                <a:ext cx="153303" cy="98961"/>
                <a:chOff x="1329393" y="6060931"/>
                <a:chExt cx="153303" cy="98961"/>
              </a:xfrm>
              <a:grpFill/>
            </p:grpSpPr>
            <p:sp>
              <p:nvSpPr>
                <p:cNvPr id="67" name="Forma Livre: Forma 66">
                  <a:extLst>
                    <a:ext uri="{FF2B5EF4-FFF2-40B4-BE49-F238E27FC236}">
                      <a16:creationId xmlns:a16="http://schemas.microsoft.com/office/drawing/2014/main" id="{269F3C73-84C9-43CB-A55D-F5A4D13D343B}"/>
                    </a:ext>
                  </a:extLst>
                </p:cNvPr>
                <p:cNvSpPr/>
                <p:nvPr/>
              </p:nvSpPr>
              <p:spPr>
                <a:xfrm>
                  <a:off x="1389577" y="6060931"/>
                  <a:ext cx="93120" cy="98961"/>
                </a:xfrm>
                <a:custGeom>
                  <a:avLst/>
                  <a:gdLst>
                    <a:gd name="connsiteX0" fmla="*/ 75815 w 93120"/>
                    <a:gd name="connsiteY0" fmla="*/ 98961 h 98961"/>
                    <a:gd name="connsiteX1" fmla="*/ 63599 w 93120"/>
                    <a:gd name="connsiteY1" fmla="*/ 93175 h 98961"/>
                    <a:gd name="connsiteX2" fmla="*/ 4446 w 93120"/>
                    <a:gd name="connsiteY2" fmla="*/ 28236 h 98961"/>
                    <a:gd name="connsiteX3" fmla="*/ 5732 w 93120"/>
                    <a:gd name="connsiteY3" fmla="*/ 4446 h 98961"/>
                    <a:gd name="connsiteX4" fmla="*/ 29522 w 93120"/>
                    <a:gd name="connsiteY4" fmla="*/ 5732 h 98961"/>
                    <a:gd name="connsiteX5" fmla="*/ 88674 w 93120"/>
                    <a:gd name="connsiteY5" fmla="*/ 70671 h 98961"/>
                    <a:gd name="connsiteX6" fmla="*/ 87388 w 93120"/>
                    <a:gd name="connsiteY6" fmla="*/ 94461 h 98961"/>
                    <a:gd name="connsiteX7" fmla="*/ 75815 w 93120"/>
                    <a:gd name="connsiteY7" fmla="*/ 98961 h 98961"/>
                    <a:gd name="connsiteX8" fmla="*/ 75815 w 93120"/>
                    <a:gd name="connsiteY8" fmla="*/ 98961 h 989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3120" h="98961">
                      <a:moveTo>
                        <a:pt x="75815" y="98961"/>
                      </a:moveTo>
                      <a:cubicBezTo>
                        <a:pt x="71314" y="98961"/>
                        <a:pt x="66813" y="97033"/>
                        <a:pt x="63599" y="93175"/>
                      </a:cubicBezTo>
                      <a:lnTo>
                        <a:pt x="4446" y="28236"/>
                      </a:lnTo>
                      <a:cubicBezTo>
                        <a:pt x="-1983" y="21163"/>
                        <a:pt x="-1340" y="10876"/>
                        <a:pt x="5732" y="4446"/>
                      </a:cubicBezTo>
                      <a:cubicBezTo>
                        <a:pt x="12805" y="-1984"/>
                        <a:pt x="23092" y="-1340"/>
                        <a:pt x="29522" y="5732"/>
                      </a:cubicBezTo>
                      <a:lnTo>
                        <a:pt x="88674" y="70671"/>
                      </a:lnTo>
                      <a:cubicBezTo>
                        <a:pt x="95104" y="77744"/>
                        <a:pt x="94461" y="88031"/>
                        <a:pt x="87388" y="94461"/>
                      </a:cubicBezTo>
                      <a:cubicBezTo>
                        <a:pt x="83530" y="97675"/>
                        <a:pt x="79673" y="98961"/>
                        <a:pt x="75815" y="98961"/>
                      </a:cubicBezTo>
                      <a:lnTo>
                        <a:pt x="75815" y="98961"/>
                      </a:lnTo>
                      <a:close/>
                    </a:path>
                  </a:pathLst>
                </a:custGeom>
                <a:grpFill/>
                <a:ln w="64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68" name="Forma Livre: Forma 67">
                  <a:extLst>
                    <a:ext uri="{FF2B5EF4-FFF2-40B4-BE49-F238E27FC236}">
                      <a16:creationId xmlns:a16="http://schemas.microsoft.com/office/drawing/2014/main" id="{343C8A1D-2578-4BFF-8076-0FBA2D18C8FB}"/>
                    </a:ext>
                  </a:extLst>
                </p:cNvPr>
                <p:cNvSpPr/>
                <p:nvPr/>
              </p:nvSpPr>
              <p:spPr>
                <a:xfrm>
                  <a:off x="1329393" y="6061186"/>
                  <a:ext cx="92610" cy="98706"/>
                </a:xfrm>
                <a:custGeom>
                  <a:avLst/>
                  <a:gdLst>
                    <a:gd name="connsiteX0" fmla="*/ 17051 w 92610"/>
                    <a:gd name="connsiteY0" fmla="*/ 98707 h 98706"/>
                    <a:gd name="connsiteX1" fmla="*/ 5477 w 92610"/>
                    <a:gd name="connsiteY1" fmla="*/ 94206 h 98706"/>
                    <a:gd name="connsiteX2" fmla="*/ 4191 w 92610"/>
                    <a:gd name="connsiteY2" fmla="*/ 70416 h 98706"/>
                    <a:gd name="connsiteX3" fmla="*/ 63344 w 92610"/>
                    <a:gd name="connsiteY3" fmla="*/ 5477 h 98706"/>
                    <a:gd name="connsiteX4" fmla="*/ 87133 w 92610"/>
                    <a:gd name="connsiteY4" fmla="*/ 4191 h 98706"/>
                    <a:gd name="connsiteX5" fmla="*/ 88419 w 92610"/>
                    <a:gd name="connsiteY5" fmla="*/ 27981 h 98706"/>
                    <a:gd name="connsiteX6" fmla="*/ 29267 w 92610"/>
                    <a:gd name="connsiteY6" fmla="*/ 92920 h 98706"/>
                    <a:gd name="connsiteX7" fmla="*/ 17051 w 92610"/>
                    <a:gd name="connsiteY7" fmla="*/ 98707 h 98706"/>
                    <a:gd name="connsiteX8" fmla="*/ 17051 w 92610"/>
                    <a:gd name="connsiteY8" fmla="*/ 98707 h 987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2610" h="98706">
                      <a:moveTo>
                        <a:pt x="17051" y="98707"/>
                      </a:moveTo>
                      <a:cubicBezTo>
                        <a:pt x="13193" y="98707"/>
                        <a:pt x="8692" y="97421"/>
                        <a:pt x="5477" y="94206"/>
                      </a:cubicBezTo>
                      <a:cubicBezTo>
                        <a:pt x="-1595" y="87776"/>
                        <a:pt x="-1595" y="76846"/>
                        <a:pt x="4191" y="70416"/>
                      </a:cubicBezTo>
                      <a:lnTo>
                        <a:pt x="63344" y="5477"/>
                      </a:lnTo>
                      <a:cubicBezTo>
                        <a:pt x="69773" y="-1595"/>
                        <a:pt x="80704" y="-1595"/>
                        <a:pt x="87133" y="4191"/>
                      </a:cubicBezTo>
                      <a:cubicBezTo>
                        <a:pt x="94206" y="10621"/>
                        <a:pt x="94206" y="21551"/>
                        <a:pt x="88419" y="27981"/>
                      </a:cubicBezTo>
                      <a:lnTo>
                        <a:pt x="29267" y="92920"/>
                      </a:lnTo>
                      <a:cubicBezTo>
                        <a:pt x="26695" y="96778"/>
                        <a:pt x="21551" y="98707"/>
                        <a:pt x="17051" y="98707"/>
                      </a:cubicBezTo>
                      <a:lnTo>
                        <a:pt x="17051" y="98707"/>
                      </a:lnTo>
                      <a:close/>
                    </a:path>
                  </a:pathLst>
                </a:custGeom>
                <a:grpFill/>
                <a:ln w="64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</p:grpSp>
        <p:grpSp>
          <p:nvGrpSpPr>
            <p:cNvPr id="69" name="Gráfico 2">
              <a:extLst>
                <a:ext uri="{FF2B5EF4-FFF2-40B4-BE49-F238E27FC236}">
                  <a16:creationId xmlns:a16="http://schemas.microsoft.com/office/drawing/2014/main" id="{40F8E44F-B406-439F-8B63-82F15B4E8194}"/>
                </a:ext>
              </a:extLst>
            </p:cNvPr>
            <p:cNvGrpSpPr/>
            <p:nvPr/>
          </p:nvGrpSpPr>
          <p:grpSpPr>
            <a:xfrm>
              <a:off x="1388617" y="5953883"/>
              <a:ext cx="212810" cy="171290"/>
              <a:chOff x="1388617" y="5953883"/>
              <a:chExt cx="212810" cy="171290"/>
            </a:xfrm>
            <a:grpFill/>
          </p:grpSpPr>
          <p:sp>
            <p:nvSpPr>
              <p:cNvPr id="70" name="Forma Livre: Forma 69">
                <a:extLst>
                  <a:ext uri="{FF2B5EF4-FFF2-40B4-BE49-F238E27FC236}">
                    <a16:creationId xmlns:a16="http://schemas.microsoft.com/office/drawing/2014/main" id="{E4E5C631-8797-4CB0-AC36-932105B1D58D}"/>
                  </a:ext>
                </a:extLst>
              </p:cNvPr>
              <p:cNvSpPr/>
              <p:nvPr/>
            </p:nvSpPr>
            <p:spPr>
              <a:xfrm>
                <a:off x="1388617" y="5953883"/>
                <a:ext cx="192127" cy="125639"/>
              </a:xfrm>
              <a:custGeom>
                <a:avLst/>
                <a:gdLst>
                  <a:gd name="connsiteX0" fmla="*/ 175148 w 192127"/>
                  <a:gd name="connsiteY0" fmla="*/ 125640 h 125639"/>
                  <a:gd name="connsiteX1" fmla="*/ 166790 w 192127"/>
                  <a:gd name="connsiteY1" fmla="*/ 123068 h 125639"/>
                  <a:gd name="connsiteX2" fmla="*/ 8621 w 192127"/>
                  <a:gd name="connsiteY2" fmla="*/ 31768 h 125639"/>
                  <a:gd name="connsiteX3" fmla="*/ 2191 w 192127"/>
                  <a:gd name="connsiteY3" fmla="*/ 8621 h 125639"/>
                  <a:gd name="connsiteX4" fmla="*/ 25338 w 192127"/>
                  <a:gd name="connsiteY4" fmla="*/ 2191 h 125639"/>
                  <a:gd name="connsiteX5" fmla="*/ 183507 w 192127"/>
                  <a:gd name="connsiteY5" fmla="*/ 93492 h 125639"/>
                  <a:gd name="connsiteX6" fmla="*/ 189936 w 192127"/>
                  <a:gd name="connsiteY6" fmla="*/ 116639 h 125639"/>
                  <a:gd name="connsiteX7" fmla="*/ 175148 w 192127"/>
                  <a:gd name="connsiteY7" fmla="*/ 125640 h 125639"/>
                  <a:gd name="connsiteX8" fmla="*/ 175148 w 192127"/>
                  <a:gd name="connsiteY8" fmla="*/ 125640 h 125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2127" h="125639">
                    <a:moveTo>
                      <a:pt x="175148" y="125640"/>
                    </a:moveTo>
                    <a:cubicBezTo>
                      <a:pt x="172576" y="125640"/>
                      <a:pt x="169361" y="124997"/>
                      <a:pt x="166790" y="123068"/>
                    </a:cubicBezTo>
                    <a:lnTo>
                      <a:pt x="8621" y="31768"/>
                    </a:lnTo>
                    <a:cubicBezTo>
                      <a:pt x="263" y="27267"/>
                      <a:pt x="-2309" y="16980"/>
                      <a:pt x="2191" y="8621"/>
                    </a:cubicBezTo>
                    <a:cubicBezTo>
                      <a:pt x="6692" y="262"/>
                      <a:pt x="16980" y="-2309"/>
                      <a:pt x="25338" y="2191"/>
                    </a:cubicBezTo>
                    <a:lnTo>
                      <a:pt x="183507" y="93492"/>
                    </a:lnTo>
                    <a:cubicBezTo>
                      <a:pt x="191865" y="97993"/>
                      <a:pt x="194437" y="108280"/>
                      <a:pt x="189936" y="116639"/>
                    </a:cubicBezTo>
                    <a:cubicBezTo>
                      <a:pt x="186721" y="122425"/>
                      <a:pt x="180935" y="125640"/>
                      <a:pt x="175148" y="125640"/>
                    </a:cubicBezTo>
                    <a:lnTo>
                      <a:pt x="175148" y="125640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grpSp>
            <p:nvGrpSpPr>
              <p:cNvPr id="71" name="Gráfico 2">
                <a:extLst>
                  <a:ext uri="{FF2B5EF4-FFF2-40B4-BE49-F238E27FC236}">
                    <a16:creationId xmlns:a16="http://schemas.microsoft.com/office/drawing/2014/main" id="{40F8E44F-B406-439F-8B63-82F15B4E8194}"/>
                  </a:ext>
                </a:extLst>
              </p:cNvPr>
              <p:cNvGrpSpPr/>
              <p:nvPr/>
            </p:nvGrpSpPr>
            <p:grpSpPr>
              <a:xfrm>
                <a:off x="1481738" y="5987851"/>
                <a:ext cx="119689" cy="137322"/>
                <a:chOff x="1481738" y="5987851"/>
                <a:chExt cx="119689" cy="137322"/>
              </a:xfrm>
              <a:grpFill/>
            </p:grpSpPr>
            <p:sp>
              <p:nvSpPr>
                <p:cNvPr id="72" name="Forma Livre: Forma 71">
                  <a:extLst>
                    <a:ext uri="{FF2B5EF4-FFF2-40B4-BE49-F238E27FC236}">
                      <a16:creationId xmlns:a16="http://schemas.microsoft.com/office/drawing/2014/main" id="{462FE6EB-B5D3-4172-AA9D-1F5639D8AF13}"/>
                    </a:ext>
                  </a:extLst>
                </p:cNvPr>
                <p:cNvSpPr/>
                <p:nvPr/>
              </p:nvSpPr>
              <p:spPr>
                <a:xfrm>
                  <a:off x="1481738" y="5987851"/>
                  <a:ext cx="119689" cy="53737"/>
                </a:xfrm>
                <a:custGeom>
                  <a:avLst/>
                  <a:gdLst>
                    <a:gd name="connsiteX0" fmla="*/ 17088 w 119689"/>
                    <a:gd name="connsiteY0" fmla="*/ 53737 h 53737"/>
                    <a:gd name="connsiteX1" fmla="*/ 371 w 119689"/>
                    <a:gd name="connsiteY1" fmla="*/ 40235 h 53737"/>
                    <a:gd name="connsiteX2" fmla="*/ 13230 w 119689"/>
                    <a:gd name="connsiteY2" fmla="*/ 19660 h 53737"/>
                    <a:gd name="connsiteX3" fmla="*/ 98744 w 119689"/>
                    <a:gd name="connsiteY3" fmla="*/ 371 h 53737"/>
                    <a:gd name="connsiteX4" fmla="*/ 119319 w 119689"/>
                    <a:gd name="connsiteY4" fmla="*/ 13230 h 53737"/>
                    <a:gd name="connsiteX5" fmla="*/ 106460 w 119689"/>
                    <a:gd name="connsiteY5" fmla="*/ 33805 h 53737"/>
                    <a:gd name="connsiteX6" fmla="*/ 20946 w 119689"/>
                    <a:gd name="connsiteY6" fmla="*/ 53094 h 53737"/>
                    <a:gd name="connsiteX7" fmla="*/ 17088 w 119689"/>
                    <a:gd name="connsiteY7" fmla="*/ 53737 h 53737"/>
                    <a:gd name="connsiteX8" fmla="*/ 17088 w 119689"/>
                    <a:gd name="connsiteY8" fmla="*/ 53737 h 537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19689" h="53737">
                      <a:moveTo>
                        <a:pt x="17088" y="53737"/>
                      </a:moveTo>
                      <a:cubicBezTo>
                        <a:pt x="9372" y="53737"/>
                        <a:pt x="2300" y="48593"/>
                        <a:pt x="371" y="40235"/>
                      </a:cubicBezTo>
                      <a:cubicBezTo>
                        <a:pt x="-1558" y="31233"/>
                        <a:pt x="4229" y="22232"/>
                        <a:pt x="13230" y="19660"/>
                      </a:cubicBezTo>
                      <a:lnTo>
                        <a:pt x="98744" y="371"/>
                      </a:lnTo>
                      <a:cubicBezTo>
                        <a:pt x="107746" y="-1558"/>
                        <a:pt x="116747" y="4229"/>
                        <a:pt x="119319" y="13230"/>
                      </a:cubicBezTo>
                      <a:cubicBezTo>
                        <a:pt x="121248" y="22232"/>
                        <a:pt x="115461" y="31233"/>
                        <a:pt x="106460" y="33805"/>
                      </a:cubicBezTo>
                      <a:lnTo>
                        <a:pt x="20946" y="53094"/>
                      </a:lnTo>
                      <a:cubicBezTo>
                        <a:pt x="19017" y="53737"/>
                        <a:pt x="17731" y="53737"/>
                        <a:pt x="17088" y="53737"/>
                      </a:cubicBezTo>
                      <a:lnTo>
                        <a:pt x="17088" y="53737"/>
                      </a:lnTo>
                      <a:close/>
                    </a:path>
                  </a:pathLst>
                </a:custGeom>
                <a:grpFill/>
                <a:ln w="64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73" name="Forma Livre: Forma 72">
                  <a:extLst>
                    <a:ext uri="{FF2B5EF4-FFF2-40B4-BE49-F238E27FC236}">
                      <a16:creationId xmlns:a16="http://schemas.microsoft.com/office/drawing/2014/main" id="{8BC7CEFC-7160-4C9E-9103-E8283AAA2E84}"/>
                    </a:ext>
                  </a:extLst>
                </p:cNvPr>
                <p:cNvSpPr/>
                <p:nvPr/>
              </p:nvSpPr>
              <p:spPr>
                <a:xfrm>
                  <a:off x="1482034" y="6008079"/>
                  <a:ext cx="59944" cy="117093"/>
                </a:xfrm>
                <a:custGeom>
                  <a:avLst/>
                  <a:gdLst>
                    <a:gd name="connsiteX0" fmla="*/ 43153 w 59944"/>
                    <a:gd name="connsiteY0" fmla="*/ 117094 h 117093"/>
                    <a:gd name="connsiteX1" fmla="*/ 27079 w 59944"/>
                    <a:gd name="connsiteY1" fmla="*/ 105520 h 117093"/>
                    <a:gd name="connsiteX2" fmla="*/ 718 w 59944"/>
                    <a:gd name="connsiteY2" fmla="*/ 21935 h 117093"/>
                    <a:gd name="connsiteX3" fmla="*/ 11648 w 59944"/>
                    <a:gd name="connsiteY3" fmla="*/ 718 h 117093"/>
                    <a:gd name="connsiteX4" fmla="*/ 32866 w 59944"/>
                    <a:gd name="connsiteY4" fmla="*/ 11648 h 117093"/>
                    <a:gd name="connsiteX5" fmla="*/ 59227 w 59944"/>
                    <a:gd name="connsiteY5" fmla="*/ 95233 h 117093"/>
                    <a:gd name="connsiteX6" fmla="*/ 48297 w 59944"/>
                    <a:gd name="connsiteY6" fmla="*/ 116451 h 117093"/>
                    <a:gd name="connsiteX7" fmla="*/ 43153 w 59944"/>
                    <a:gd name="connsiteY7" fmla="*/ 117094 h 117093"/>
                    <a:gd name="connsiteX8" fmla="*/ 43153 w 59944"/>
                    <a:gd name="connsiteY8" fmla="*/ 117094 h 1170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59944" h="117093">
                      <a:moveTo>
                        <a:pt x="43153" y="117094"/>
                      </a:moveTo>
                      <a:cubicBezTo>
                        <a:pt x="36081" y="117094"/>
                        <a:pt x="29008" y="112593"/>
                        <a:pt x="27079" y="105520"/>
                      </a:cubicBezTo>
                      <a:lnTo>
                        <a:pt x="718" y="21935"/>
                      </a:lnTo>
                      <a:cubicBezTo>
                        <a:pt x="-1854" y="12934"/>
                        <a:pt x="2647" y="3290"/>
                        <a:pt x="11648" y="718"/>
                      </a:cubicBezTo>
                      <a:cubicBezTo>
                        <a:pt x="20649" y="-1854"/>
                        <a:pt x="30294" y="2646"/>
                        <a:pt x="32866" y="11648"/>
                      </a:cubicBezTo>
                      <a:lnTo>
                        <a:pt x="59227" y="95233"/>
                      </a:lnTo>
                      <a:cubicBezTo>
                        <a:pt x="61799" y="104235"/>
                        <a:pt x="57298" y="113879"/>
                        <a:pt x="48297" y="116451"/>
                      </a:cubicBezTo>
                      <a:cubicBezTo>
                        <a:pt x="46368" y="117094"/>
                        <a:pt x="44439" y="117094"/>
                        <a:pt x="43153" y="117094"/>
                      </a:cubicBezTo>
                      <a:lnTo>
                        <a:pt x="43153" y="117094"/>
                      </a:lnTo>
                      <a:close/>
                    </a:path>
                  </a:pathLst>
                </a:custGeom>
                <a:grpFill/>
                <a:ln w="64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</p:grpSp>
        <p:grpSp>
          <p:nvGrpSpPr>
            <p:cNvPr id="74" name="Gráfico 2">
              <a:extLst>
                <a:ext uri="{FF2B5EF4-FFF2-40B4-BE49-F238E27FC236}">
                  <a16:creationId xmlns:a16="http://schemas.microsoft.com/office/drawing/2014/main" id="{40F8E44F-B406-439F-8B63-82F15B4E8194}"/>
                </a:ext>
              </a:extLst>
            </p:cNvPr>
            <p:cNvGrpSpPr/>
            <p:nvPr/>
          </p:nvGrpSpPr>
          <p:grpSpPr>
            <a:xfrm>
              <a:off x="1388617" y="5817518"/>
              <a:ext cx="212167" cy="170703"/>
              <a:chOff x="1388617" y="5817518"/>
              <a:chExt cx="212167" cy="170703"/>
            </a:xfrm>
            <a:grpFill/>
          </p:grpSpPr>
          <p:sp>
            <p:nvSpPr>
              <p:cNvPr id="75" name="Forma Livre: Forma 74">
                <a:extLst>
                  <a:ext uri="{FF2B5EF4-FFF2-40B4-BE49-F238E27FC236}">
                    <a16:creationId xmlns:a16="http://schemas.microsoft.com/office/drawing/2014/main" id="{D21B3E79-3E6E-41B8-81DA-7383D8B89BD8}"/>
                  </a:ext>
                </a:extLst>
              </p:cNvPr>
              <p:cNvSpPr/>
              <p:nvPr/>
            </p:nvSpPr>
            <p:spPr>
              <a:xfrm>
                <a:off x="1388617" y="5863225"/>
                <a:ext cx="192127" cy="124996"/>
              </a:xfrm>
              <a:custGeom>
                <a:avLst/>
                <a:gdLst>
                  <a:gd name="connsiteX0" fmla="*/ 16980 w 192127"/>
                  <a:gd name="connsiteY0" fmla="*/ 124997 h 124996"/>
                  <a:gd name="connsiteX1" fmla="*/ 2191 w 192127"/>
                  <a:gd name="connsiteY1" fmla="*/ 116638 h 124996"/>
                  <a:gd name="connsiteX2" fmla="*/ 8621 w 192127"/>
                  <a:gd name="connsiteY2" fmla="*/ 93492 h 124996"/>
                  <a:gd name="connsiteX3" fmla="*/ 166790 w 192127"/>
                  <a:gd name="connsiteY3" fmla="*/ 2191 h 124996"/>
                  <a:gd name="connsiteX4" fmla="*/ 189936 w 192127"/>
                  <a:gd name="connsiteY4" fmla="*/ 8621 h 124996"/>
                  <a:gd name="connsiteX5" fmla="*/ 183507 w 192127"/>
                  <a:gd name="connsiteY5" fmla="*/ 31767 h 124996"/>
                  <a:gd name="connsiteX6" fmla="*/ 25338 w 192127"/>
                  <a:gd name="connsiteY6" fmla="*/ 123068 h 124996"/>
                  <a:gd name="connsiteX7" fmla="*/ 16980 w 192127"/>
                  <a:gd name="connsiteY7" fmla="*/ 124997 h 124996"/>
                  <a:gd name="connsiteX8" fmla="*/ 16980 w 192127"/>
                  <a:gd name="connsiteY8" fmla="*/ 124997 h 124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2127" h="124996">
                    <a:moveTo>
                      <a:pt x="16980" y="124997"/>
                    </a:moveTo>
                    <a:cubicBezTo>
                      <a:pt x="11193" y="124997"/>
                      <a:pt x="5406" y="121782"/>
                      <a:pt x="2191" y="116638"/>
                    </a:cubicBezTo>
                    <a:cubicBezTo>
                      <a:pt x="-2309" y="108280"/>
                      <a:pt x="263" y="97993"/>
                      <a:pt x="8621" y="93492"/>
                    </a:cubicBezTo>
                    <a:lnTo>
                      <a:pt x="166790" y="2191"/>
                    </a:lnTo>
                    <a:cubicBezTo>
                      <a:pt x="175148" y="-2309"/>
                      <a:pt x="185435" y="263"/>
                      <a:pt x="189936" y="8621"/>
                    </a:cubicBezTo>
                    <a:cubicBezTo>
                      <a:pt x="194437" y="16979"/>
                      <a:pt x="191865" y="27267"/>
                      <a:pt x="183507" y="31767"/>
                    </a:cubicBezTo>
                    <a:lnTo>
                      <a:pt x="25338" y="123068"/>
                    </a:lnTo>
                    <a:cubicBezTo>
                      <a:pt x="22766" y="124354"/>
                      <a:pt x="20194" y="124997"/>
                      <a:pt x="16980" y="124997"/>
                    </a:cubicBezTo>
                    <a:lnTo>
                      <a:pt x="16980" y="124997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grpSp>
            <p:nvGrpSpPr>
              <p:cNvPr id="76" name="Gráfico 2">
                <a:extLst>
                  <a:ext uri="{FF2B5EF4-FFF2-40B4-BE49-F238E27FC236}">
                    <a16:creationId xmlns:a16="http://schemas.microsoft.com/office/drawing/2014/main" id="{40F8E44F-B406-439F-8B63-82F15B4E8194}"/>
                  </a:ext>
                </a:extLst>
              </p:cNvPr>
              <p:cNvGrpSpPr/>
              <p:nvPr/>
            </p:nvGrpSpPr>
            <p:grpSpPr>
              <a:xfrm>
                <a:off x="1481738" y="5817518"/>
                <a:ext cx="119046" cy="135984"/>
                <a:chOff x="1481738" y="5817518"/>
                <a:chExt cx="119046" cy="135984"/>
              </a:xfrm>
              <a:grpFill/>
            </p:grpSpPr>
            <p:sp>
              <p:nvSpPr>
                <p:cNvPr id="77" name="Forma Livre: Forma 76">
                  <a:extLst>
                    <a:ext uri="{FF2B5EF4-FFF2-40B4-BE49-F238E27FC236}">
                      <a16:creationId xmlns:a16="http://schemas.microsoft.com/office/drawing/2014/main" id="{96485063-CB9D-4084-9EDE-DAAD5D6C13F8}"/>
                    </a:ext>
                  </a:extLst>
                </p:cNvPr>
                <p:cNvSpPr/>
                <p:nvPr/>
              </p:nvSpPr>
              <p:spPr>
                <a:xfrm>
                  <a:off x="1481789" y="5817518"/>
                  <a:ext cx="60433" cy="117338"/>
                </a:xfrm>
                <a:custGeom>
                  <a:avLst/>
                  <a:gdLst>
                    <a:gd name="connsiteX0" fmla="*/ 17036 w 60433"/>
                    <a:gd name="connsiteY0" fmla="*/ 117338 h 117338"/>
                    <a:gd name="connsiteX1" fmla="*/ 11892 w 60433"/>
                    <a:gd name="connsiteY1" fmla="*/ 116695 h 117338"/>
                    <a:gd name="connsiteX2" fmla="*/ 962 w 60433"/>
                    <a:gd name="connsiteY2" fmla="*/ 95478 h 117338"/>
                    <a:gd name="connsiteX3" fmla="*/ 27324 w 60433"/>
                    <a:gd name="connsiteY3" fmla="*/ 11893 h 117338"/>
                    <a:gd name="connsiteX4" fmla="*/ 48541 w 60433"/>
                    <a:gd name="connsiteY4" fmla="*/ 962 h 117338"/>
                    <a:gd name="connsiteX5" fmla="*/ 59472 w 60433"/>
                    <a:gd name="connsiteY5" fmla="*/ 22180 h 117338"/>
                    <a:gd name="connsiteX6" fmla="*/ 33110 w 60433"/>
                    <a:gd name="connsiteY6" fmla="*/ 105765 h 117338"/>
                    <a:gd name="connsiteX7" fmla="*/ 17036 w 60433"/>
                    <a:gd name="connsiteY7" fmla="*/ 117338 h 117338"/>
                    <a:gd name="connsiteX8" fmla="*/ 17036 w 60433"/>
                    <a:gd name="connsiteY8" fmla="*/ 117338 h 1173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60433" h="117338">
                      <a:moveTo>
                        <a:pt x="17036" y="117338"/>
                      </a:moveTo>
                      <a:cubicBezTo>
                        <a:pt x="15107" y="117338"/>
                        <a:pt x="13821" y="117338"/>
                        <a:pt x="11892" y="116695"/>
                      </a:cubicBezTo>
                      <a:cubicBezTo>
                        <a:pt x="2891" y="114123"/>
                        <a:pt x="-2253" y="104479"/>
                        <a:pt x="962" y="95478"/>
                      </a:cubicBezTo>
                      <a:lnTo>
                        <a:pt x="27324" y="11893"/>
                      </a:lnTo>
                      <a:cubicBezTo>
                        <a:pt x="29895" y="2891"/>
                        <a:pt x="39540" y="-2253"/>
                        <a:pt x="48541" y="962"/>
                      </a:cubicBezTo>
                      <a:cubicBezTo>
                        <a:pt x="57543" y="3534"/>
                        <a:pt x="62686" y="13178"/>
                        <a:pt x="59472" y="22180"/>
                      </a:cubicBezTo>
                      <a:lnTo>
                        <a:pt x="33110" y="105765"/>
                      </a:lnTo>
                      <a:cubicBezTo>
                        <a:pt x="30538" y="112837"/>
                        <a:pt x="24109" y="117338"/>
                        <a:pt x="17036" y="117338"/>
                      </a:cubicBezTo>
                      <a:lnTo>
                        <a:pt x="17036" y="117338"/>
                      </a:lnTo>
                      <a:close/>
                    </a:path>
                  </a:pathLst>
                </a:custGeom>
                <a:grpFill/>
                <a:ln w="64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78" name="Forma Livre: Forma 77">
                  <a:extLst>
                    <a:ext uri="{FF2B5EF4-FFF2-40B4-BE49-F238E27FC236}">
                      <a16:creationId xmlns:a16="http://schemas.microsoft.com/office/drawing/2014/main" id="{F973BCAC-8D03-449F-B753-6BAC9785DCFF}"/>
                    </a:ext>
                  </a:extLst>
                </p:cNvPr>
                <p:cNvSpPr/>
                <p:nvPr/>
              </p:nvSpPr>
              <p:spPr>
                <a:xfrm>
                  <a:off x="1481738" y="5901051"/>
                  <a:ext cx="119046" cy="52451"/>
                </a:xfrm>
                <a:custGeom>
                  <a:avLst/>
                  <a:gdLst>
                    <a:gd name="connsiteX0" fmla="*/ 102602 w 119046"/>
                    <a:gd name="connsiteY0" fmla="*/ 52451 h 52451"/>
                    <a:gd name="connsiteX1" fmla="*/ 98744 w 119046"/>
                    <a:gd name="connsiteY1" fmla="*/ 51808 h 52451"/>
                    <a:gd name="connsiteX2" fmla="*/ 13230 w 119046"/>
                    <a:gd name="connsiteY2" fmla="*/ 33162 h 52451"/>
                    <a:gd name="connsiteX3" fmla="*/ 371 w 119046"/>
                    <a:gd name="connsiteY3" fmla="*/ 13230 h 52451"/>
                    <a:gd name="connsiteX4" fmla="*/ 20303 w 119046"/>
                    <a:gd name="connsiteY4" fmla="*/ 371 h 52451"/>
                    <a:gd name="connsiteX5" fmla="*/ 105817 w 119046"/>
                    <a:gd name="connsiteY5" fmla="*/ 19017 h 52451"/>
                    <a:gd name="connsiteX6" fmla="*/ 118676 w 119046"/>
                    <a:gd name="connsiteY6" fmla="*/ 38949 h 52451"/>
                    <a:gd name="connsiteX7" fmla="*/ 102602 w 119046"/>
                    <a:gd name="connsiteY7" fmla="*/ 52451 h 52451"/>
                    <a:gd name="connsiteX8" fmla="*/ 102602 w 119046"/>
                    <a:gd name="connsiteY8" fmla="*/ 52451 h 524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19046" h="52451">
                      <a:moveTo>
                        <a:pt x="102602" y="52451"/>
                      </a:moveTo>
                      <a:cubicBezTo>
                        <a:pt x="101316" y="52451"/>
                        <a:pt x="100030" y="52451"/>
                        <a:pt x="98744" y="51808"/>
                      </a:cubicBezTo>
                      <a:lnTo>
                        <a:pt x="13230" y="33162"/>
                      </a:lnTo>
                      <a:cubicBezTo>
                        <a:pt x="4229" y="31233"/>
                        <a:pt x="-1558" y="22232"/>
                        <a:pt x="371" y="13230"/>
                      </a:cubicBezTo>
                      <a:cubicBezTo>
                        <a:pt x="2300" y="4229"/>
                        <a:pt x="11301" y="-1558"/>
                        <a:pt x="20303" y="371"/>
                      </a:cubicBezTo>
                      <a:lnTo>
                        <a:pt x="105817" y="19017"/>
                      </a:lnTo>
                      <a:cubicBezTo>
                        <a:pt x="114818" y="20946"/>
                        <a:pt x="120605" y="29947"/>
                        <a:pt x="118676" y="38949"/>
                      </a:cubicBezTo>
                      <a:cubicBezTo>
                        <a:pt x="117390" y="47307"/>
                        <a:pt x="110317" y="52451"/>
                        <a:pt x="102602" y="52451"/>
                      </a:cubicBezTo>
                      <a:lnTo>
                        <a:pt x="102602" y="52451"/>
                      </a:lnTo>
                      <a:close/>
                    </a:path>
                  </a:pathLst>
                </a:custGeom>
                <a:grpFill/>
                <a:ln w="64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</p:grpSp>
      </p:grpSp>
      <p:grpSp>
        <p:nvGrpSpPr>
          <p:cNvPr id="79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4318715" y="5790403"/>
            <a:ext cx="458471" cy="192104"/>
            <a:chOff x="4293414" y="5873775"/>
            <a:chExt cx="464946" cy="194817"/>
          </a:xfrm>
          <a:solidFill>
            <a:srgbClr val="B1B1A1"/>
          </a:solidFill>
        </p:grpSpPr>
        <p:sp>
          <p:nvSpPr>
            <p:cNvPr id="80" name="Forma Livre: Forma 79">
              <a:extLst>
                <a:ext uri="{FF2B5EF4-FFF2-40B4-BE49-F238E27FC236}">
                  <a16:creationId xmlns:a16="http://schemas.microsoft.com/office/drawing/2014/main" id="{AEC97324-7501-4798-9D20-F29C7580FACA}"/>
                </a:ext>
              </a:extLst>
            </p:cNvPr>
            <p:cNvSpPr/>
            <p:nvPr/>
          </p:nvSpPr>
          <p:spPr>
            <a:xfrm>
              <a:off x="4295708" y="5873775"/>
              <a:ext cx="459074" cy="194817"/>
            </a:xfrm>
            <a:custGeom>
              <a:avLst/>
              <a:gdLst>
                <a:gd name="connsiteX0" fmla="*/ 366488 w 459074"/>
                <a:gd name="connsiteY0" fmla="*/ 34077 h 194817"/>
                <a:gd name="connsiteX1" fmla="*/ 403137 w 459074"/>
                <a:gd name="connsiteY1" fmla="*/ 45651 h 194817"/>
                <a:gd name="connsiteX2" fmla="*/ 415996 w 459074"/>
                <a:gd name="connsiteY2" fmla="*/ 55938 h 194817"/>
                <a:gd name="connsiteX3" fmla="*/ 425641 w 459074"/>
                <a:gd name="connsiteY3" fmla="*/ 53366 h 194817"/>
                <a:gd name="connsiteX4" fmla="*/ 425641 w 459074"/>
                <a:gd name="connsiteY4" fmla="*/ 71369 h 194817"/>
                <a:gd name="connsiteX5" fmla="*/ 421783 w 459074"/>
                <a:gd name="connsiteY5" fmla="*/ 75869 h 194817"/>
                <a:gd name="connsiteX6" fmla="*/ 419854 w 459074"/>
                <a:gd name="connsiteY6" fmla="*/ 83585 h 194817"/>
                <a:gd name="connsiteX7" fmla="*/ 418568 w 459074"/>
                <a:gd name="connsiteY7" fmla="*/ 88086 h 194817"/>
                <a:gd name="connsiteX8" fmla="*/ 418568 w 459074"/>
                <a:gd name="connsiteY8" fmla="*/ 91301 h 194817"/>
                <a:gd name="connsiteX9" fmla="*/ 358130 w 459074"/>
                <a:gd name="connsiteY9" fmla="*/ 160740 h 194817"/>
                <a:gd name="connsiteX10" fmla="*/ 351700 w 459074"/>
                <a:gd name="connsiteY10" fmla="*/ 160098 h 194817"/>
                <a:gd name="connsiteX11" fmla="*/ 280331 w 459074"/>
                <a:gd name="connsiteY11" fmla="*/ 97730 h 194817"/>
                <a:gd name="connsiteX12" fmla="*/ 275831 w 459074"/>
                <a:gd name="connsiteY12" fmla="*/ 83585 h 194817"/>
                <a:gd name="connsiteX13" fmla="*/ 282903 w 459074"/>
                <a:gd name="connsiteY13" fmla="*/ 71369 h 194817"/>
                <a:gd name="connsiteX14" fmla="*/ 283546 w 459074"/>
                <a:gd name="connsiteY14" fmla="*/ 70083 h 194817"/>
                <a:gd name="connsiteX15" fmla="*/ 284189 w 459074"/>
                <a:gd name="connsiteY15" fmla="*/ 69440 h 194817"/>
                <a:gd name="connsiteX16" fmla="*/ 351057 w 459074"/>
                <a:gd name="connsiteY16" fmla="*/ 34720 h 194817"/>
                <a:gd name="connsiteX17" fmla="*/ 366488 w 459074"/>
                <a:gd name="connsiteY17" fmla="*/ 34077 h 194817"/>
                <a:gd name="connsiteX18" fmla="*/ 93872 w 459074"/>
                <a:gd name="connsiteY18" fmla="*/ 34077 h 194817"/>
                <a:gd name="connsiteX19" fmla="*/ 109946 w 459074"/>
                <a:gd name="connsiteY19" fmla="*/ 35363 h 194817"/>
                <a:gd name="connsiteX20" fmla="*/ 176814 w 459074"/>
                <a:gd name="connsiteY20" fmla="*/ 70083 h 194817"/>
                <a:gd name="connsiteX21" fmla="*/ 177457 w 459074"/>
                <a:gd name="connsiteY21" fmla="*/ 71369 h 194817"/>
                <a:gd name="connsiteX22" fmla="*/ 185173 w 459074"/>
                <a:gd name="connsiteY22" fmla="*/ 84228 h 194817"/>
                <a:gd name="connsiteX23" fmla="*/ 181315 w 459074"/>
                <a:gd name="connsiteY23" fmla="*/ 98373 h 194817"/>
                <a:gd name="connsiteX24" fmla="*/ 109946 w 459074"/>
                <a:gd name="connsiteY24" fmla="*/ 160740 h 194817"/>
                <a:gd name="connsiteX25" fmla="*/ 103517 w 459074"/>
                <a:gd name="connsiteY25" fmla="*/ 161384 h 194817"/>
                <a:gd name="connsiteX26" fmla="*/ 42435 w 459074"/>
                <a:gd name="connsiteY26" fmla="*/ 90658 h 194817"/>
                <a:gd name="connsiteX27" fmla="*/ 42435 w 459074"/>
                <a:gd name="connsiteY27" fmla="*/ 89372 h 194817"/>
                <a:gd name="connsiteX28" fmla="*/ 42435 w 459074"/>
                <a:gd name="connsiteY28" fmla="*/ 88086 h 194817"/>
                <a:gd name="connsiteX29" fmla="*/ 41149 w 459074"/>
                <a:gd name="connsiteY29" fmla="*/ 77799 h 194817"/>
                <a:gd name="connsiteX30" fmla="*/ 35363 w 459074"/>
                <a:gd name="connsiteY30" fmla="*/ 71369 h 194817"/>
                <a:gd name="connsiteX31" fmla="*/ 35363 w 459074"/>
                <a:gd name="connsiteY31" fmla="*/ 53366 h 194817"/>
                <a:gd name="connsiteX32" fmla="*/ 45007 w 459074"/>
                <a:gd name="connsiteY32" fmla="*/ 55938 h 194817"/>
                <a:gd name="connsiteX33" fmla="*/ 57867 w 459074"/>
                <a:gd name="connsiteY33" fmla="*/ 45651 h 194817"/>
                <a:gd name="connsiteX34" fmla="*/ 93872 w 459074"/>
                <a:gd name="connsiteY34" fmla="*/ 34077 h 194817"/>
                <a:gd name="connsiteX35" fmla="*/ 366488 w 459074"/>
                <a:gd name="connsiteY35" fmla="*/ 0 h 194817"/>
                <a:gd name="connsiteX36" fmla="*/ 344627 w 459074"/>
                <a:gd name="connsiteY36" fmla="*/ 1929 h 194817"/>
                <a:gd name="connsiteX37" fmla="*/ 255256 w 459074"/>
                <a:gd name="connsiteY37" fmla="*/ 50794 h 194817"/>
                <a:gd name="connsiteX38" fmla="*/ 253327 w 459074"/>
                <a:gd name="connsiteY38" fmla="*/ 54009 h 194817"/>
                <a:gd name="connsiteX39" fmla="*/ 250112 w 459074"/>
                <a:gd name="connsiteY39" fmla="*/ 53366 h 194817"/>
                <a:gd name="connsiteX40" fmla="*/ 209605 w 459074"/>
                <a:gd name="connsiteY40" fmla="*/ 53366 h 194817"/>
                <a:gd name="connsiteX41" fmla="*/ 206390 w 459074"/>
                <a:gd name="connsiteY41" fmla="*/ 54009 h 194817"/>
                <a:gd name="connsiteX42" fmla="*/ 204462 w 459074"/>
                <a:gd name="connsiteY42" fmla="*/ 50794 h 194817"/>
                <a:gd name="connsiteX43" fmla="*/ 115090 w 459074"/>
                <a:gd name="connsiteY43" fmla="*/ 1929 h 194817"/>
                <a:gd name="connsiteX44" fmla="*/ 93229 w 459074"/>
                <a:gd name="connsiteY44" fmla="*/ 0 h 194817"/>
                <a:gd name="connsiteX45" fmla="*/ 35363 w 459074"/>
                <a:gd name="connsiteY45" fmla="*/ 18646 h 194817"/>
                <a:gd name="connsiteX46" fmla="*/ 28933 w 459074"/>
                <a:gd name="connsiteY46" fmla="*/ 18003 h 194817"/>
                <a:gd name="connsiteX47" fmla="*/ 0 w 459074"/>
                <a:gd name="connsiteY47" fmla="*/ 46936 h 194817"/>
                <a:gd name="connsiteX48" fmla="*/ 0 w 459074"/>
                <a:gd name="connsiteY48" fmla="*/ 73941 h 194817"/>
                <a:gd name="connsiteX49" fmla="*/ 7716 w 459074"/>
                <a:gd name="connsiteY49" fmla="*/ 93229 h 194817"/>
                <a:gd name="connsiteX50" fmla="*/ 7716 w 459074"/>
                <a:gd name="connsiteY50" fmla="*/ 93873 h 194817"/>
                <a:gd name="connsiteX51" fmla="*/ 102231 w 459074"/>
                <a:gd name="connsiteY51" fmla="*/ 194817 h 194817"/>
                <a:gd name="connsiteX52" fmla="*/ 113804 w 459074"/>
                <a:gd name="connsiteY52" fmla="*/ 194174 h 194817"/>
                <a:gd name="connsiteX53" fmla="*/ 212820 w 459074"/>
                <a:gd name="connsiteY53" fmla="*/ 107375 h 194817"/>
                <a:gd name="connsiteX54" fmla="*/ 246254 w 459074"/>
                <a:gd name="connsiteY54" fmla="*/ 107375 h 194817"/>
                <a:gd name="connsiteX55" fmla="*/ 345270 w 459074"/>
                <a:gd name="connsiteY55" fmla="*/ 194174 h 194817"/>
                <a:gd name="connsiteX56" fmla="*/ 356844 w 459074"/>
                <a:gd name="connsiteY56" fmla="*/ 194817 h 194817"/>
                <a:gd name="connsiteX57" fmla="*/ 451359 w 459074"/>
                <a:gd name="connsiteY57" fmla="*/ 93873 h 194817"/>
                <a:gd name="connsiteX58" fmla="*/ 451359 w 459074"/>
                <a:gd name="connsiteY58" fmla="*/ 93229 h 194817"/>
                <a:gd name="connsiteX59" fmla="*/ 459075 w 459074"/>
                <a:gd name="connsiteY59" fmla="*/ 73941 h 194817"/>
                <a:gd name="connsiteX60" fmla="*/ 459075 w 459074"/>
                <a:gd name="connsiteY60" fmla="*/ 46936 h 194817"/>
                <a:gd name="connsiteX61" fmla="*/ 430141 w 459074"/>
                <a:gd name="connsiteY61" fmla="*/ 18003 h 194817"/>
                <a:gd name="connsiteX62" fmla="*/ 423712 w 459074"/>
                <a:gd name="connsiteY62" fmla="*/ 18646 h 194817"/>
                <a:gd name="connsiteX63" fmla="*/ 366488 w 459074"/>
                <a:gd name="connsiteY63" fmla="*/ 0 h 194817"/>
                <a:gd name="connsiteX64" fmla="*/ 366488 w 459074"/>
                <a:gd name="connsiteY64" fmla="*/ 0 h 194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459074" h="194817">
                  <a:moveTo>
                    <a:pt x="366488" y="34077"/>
                  </a:moveTo>
                  <a:cubicBezTo>
                    <a:pt x="381276" y="34077"/>
                    <a:pt x="394135" y="37935"/>
                    <a:pt x="403137" y="45651"/>
                  </a:cubicBezTo>
                  <a:lnTo>
                    <a:pt x="415996" y="55938"/>
                  </a:lnTo>
                  <a:lnTo>
                    <a:pt x="425641" y="53366"/>
                  </a:lnTo>
                  <a:lnTo>
                    <a:pt x="425641" y="71369"/>
                  </a:lnTo>
                  <a:lnTo>
                    <a:pt x="421783" y="75869"/>
                  </a:lnTo>
                  <a:lnTo>
                    <a:pt x="419854" y="83585"/>
                  </a:lnTo>
                  <a:lnTo>
                    <a:pt x="418568" y="88086"/>
                  </a:lnTo>
                  <a:lnTo>
                    <a:pt x="418568" y="91301"/>
                  </a:lnTo>
                  <a:cubicBezTo>
                    <a:pt x="413424" y="129878"/>
                    <a:pt x="386420" y="160740"/>
                    <a:pt x="358130" y="160740"/>
                  </a:cubicBezTo>
                  <a:cubicBezTo>
                    <a:pt x="356201" y="160740"/>
                    <a:pt x="353629" y="160740"/>
                    <a:pt x="351700" y="160098"/>
                  </a:cubicBezTo>
                  <a:cubicBezTo>
                    <a:pt x="320838" y="155597"/>
                    <a:pt x="288690" y="127306"/>
                    <a:pt x="280331" y="97730"/>
                  </a:cubicBezTo>
                  <a:lnTo>
                    <a:pt x="275831" y="83585"/>
                  </a:lnTo>
                  <a:lnTo>
                    <a:pt x="282903" y="71369"/>
                  </a:lnTo>
                  <a:lnTo>
                    <a:pt x="283546" y="70083"/>
                  </a:lnTo>
                  <a:lnTo>
                    <a:pt x="284189" y="69440"/>
                  </a:lnTo>
                  <a:cubicBezTo>
                    <a:pt x="295762" y="52723"/>
                    <a:pt x="320195" y="39864"/>
                    <a:pt x="351057" y="34720"/>
                  </a:cubicBezTo>
                  <a:cubicBezTo>
                    <a:pt x="356201" y="34720"/>
                    <a:pt x="361344" y="34077"/>
                    <a:pt x="366488" y="34077"/>
                  </a:cubicBezTo>
                  <a:moveTo>
                    <a:pt x="93872" y="34077"/>
                  </a:moveTo>
                  <a:cubicBezTo>
                    <a:pt x="99016" y="34077"/>
                    <a:pt x="104160" y="34720"/>
                    <a:pt x="109946" y="35363"/>
                  </a:cubicBezTo>
                  <a:cubicBezTo>
                    <a:pt x="140166" y="40506"/>
                    <a:pt x="165241" y="53366"/>
                    <a:pt x="176814" y="70083"/>
                  </a:cubicBezTo>
                  <a:lnTo>
                    <a:pt x="177457" y="71369"/>
                  </a:lnTo>
                  <a:lnTo>
                    <a:pt x="185173" y="84228"/>
                  </a:lnTo>
                  <a:lnTo>
                    <a:pt x="181315" y="98373"/>
                  </a:lnTo>
                  <a:cubicBezTo>
                    <a:pt x="172314" y="127949"/>
                    <a:pt x="140166" y="156240"/>
                    <a:pt x="109946" y="160740"/>
                  </a:cubicBezTo>
                  <a:cubicBezTo>
                    <a:pt x="108017" y="161384"/>
                    <a:pt x="105446" y="161384"/>
                    <a:pt x="103517" y="161384"/>
                  </a:cubicBezTo>
                  <a:cubicBezTo>
                    <a:pt x="74584" y="161384"/>
                    <a:pt x="47579" y="129878"/>
                    <a:pt x="42435" y="90658"/>
                  </a:cubicBezTo>
                  <a:lnTo>
                    <a:pt x="42435" y="89372"/>
                  </a:lnTo>
                  <a:lnTo>
                    <a:pt x="42435" y="88086"/>
                  </a:lnTo>
                  <a:lnTo>
                    <a:pt x="41149" y="77799"/>
                  </a:lnTo>
                  <a:lnTo>
                    <a:pt x="35363" y="71369"/>
                  </a:lnTo>
                  <a:lnTo>
                    <a:pt x="35363" y="53366"/>
                  </a:lnTo>
                  <a:lnTo>
                    <a:pt x="45007" y="55938"/>
                  </a:lnTo>
                  <a:lnTo>
                    <a:pt x="57867" y="45651"/>
                  </a:lnTo>
                  <a:cubicBezTo>
                    <a:pt x="66225" y="37935"/>
                    <a:pt x="79084" y="34077"/>
                    <a:pt x="93872" y="34077"/>
                  </a:cubicBezTo>
                  <a:moveTo>
                    <a:pt x="366488" y="0"/>
                  </a:moveTo>
                  <a:cubicBezTo>
                    <a:pt x="359416" y="0"/>
                    <a:pt x="352343" y="643"/>
                    <a:pt x="344627" y="1929"/>
                  </a:cubicBezTo>
                  <a:cubicBezTo>
                    <a:pt x="304764" y="8358"/>
                    <a:pt x="271973" y="26362"/>
                    <a:pt x="255256" y="50794"/>
                  </a:cubicBezTo>
                  <a:cubicBezTo>
                    <a:pt x="254613" y="52080"/>
                    <a:pt x="253970" y="53366"/>
                    <a:pt x="253327" y="54009"/>
                  </a:cubicBezTo>
                  <a:cubicBezTo>
                    <a:pt x="252041" y="53366"/>
                    <a:pt x="251398" y="53366"/>
                    <a:pt x="250112" y="53366"/>
                  </a:cubicBezTo>
                  <a:lnTo>
                    <a:pt x="209605" y="53366"/>
                  </a:lnTo>
                  <a:cubicBezTo>
                    <a:pt x="208320" y="53366"/>
                    <a:pt x="207034" y="53366"/>
                    <a:pt x="206390" y="54009"/>
                  </a:cubicBezTo>
                  <a:cubicBezTo>
                    <a:pt x="205748" y="52723"/>
                    <a:pt x="205105" y="51437"/>
                    <a:pt x="204462" y="50794"/>
                  </a:cubicBezTo>
                  <a:cubicBezTo>
                    <a:pt x="187745" y="26362"/>
                    <a:pt x="154954" y="8358"/>
                    <a:pt x="115090" y="1929"/>
                  </a:cubicBezTo>
                  <a:cubicBezTo>
                    <a:pt x="108017" y="643"/>
                    <a:pt x="100302" y="0"/>
                    <a:pt x="93229" y="0"/>
                  </a:cubicBezTo>
                  <a:cubicBezTo>
                    <a:pt x="70726" y="0"/>
                    <a:pt x="50151" y="6430"/>
                    <a:pt x="35363" y="18646"/>
                  </a:cubicBezTo>
                  <a:cubicBezTo>
                    <a:pt x="33434" y="18003"/>
                    <a:pt x="30862" y="18003"/>
                    <a:pt x="28933" y="18003"/>
                  </a:cubicBezTo>
                  <a:cubicBezTo>
                    <a:pt x="12859" y="18003"/>
                    <a:pt x="0" y="30862"/>
                    <a:pt x="0" y="46936"/>
                  </a:cubicBezTo>
                  <a:lnTo>
                    <a:pt x="0" y="73941"/>
                  </a:lnTo>
                  <a:cubicBezTo>
                    <a:pt x="0" y="81656"/>
                    <a:pt x="3215" y="88086"/>
                    <a:pt x="7716" y="93229"/>
                  </a:cubicBezTo>
                  <a:cubicBezTo>
                    <a:pt x="7716" y="93229"/>
                    <a:pt x="7716" y="93873"/>
                    <a:pt x="7716" y="93873"/>
                  </a:cubicBezTo>
                  <a:cubicBezTo>
                    <a:pt x="14145" y="150453"/>
                    <a:pt x="55938" y="194817"/>
                    <a:pt x="102231" y="194817"/>
                  </a:cubicBezTo>
                  <a:cubicBezTo>
                    <a:pt x="106089" y="194817"/>
                    <a:pt x="109946" y="194174"/>
                    <a:pt x="113804" y="194174"/>
                  </a:cubicBezTo>
                  <a:cubicBezTo>
                    <a:pt x="157526" y="187102"/>
                    <a:pt x="200604" y="149167"/>
                    <a:pt x="212820" y="107375"/>
                  </a:cubicBezTo>
                  <a:lnTo>
                    <a:pt x="246254" y="107375"/>
                  </a:lnTo>
                  <a:cubicBezTo>
                    <a:pt x="258471" y="149167"/>
                    <a:pt x="301549" y="187102"/>
                    <a:pt x="345270" y="194174"/>
                  </a:cubicBezTo>
                  <a:cubicBezTo>
                    <a:pt x="349128" y="194817"/>
                    <a:pt x="352986" y="194817"/>
                    <a:pt x="356844" y="194817"/>
                  </a:cubicBezTo>
                  <a:cubicBezTo>
                    <a:pt x="403780" y="194817"/>
                    <a:pt x="444929" y="150453"/>
                    <a:pt x="451359" y="93873"/>
                  </a:cubicBezTo>
                  <a:cubicBezTo>
                    <a:pt x="451359" y="93873"/>
                    <a:pt x="451359" y="93229"/>
                    <a:pt x="451359" y="93229"/>
                  </a:cubicBezTo>
                  <a:cubicBezTo>
                    <a:pt x="455860" y="88086"/>
                    <a:pt x="459075" y="81656"/>
                    <a:pt x="459075" y="73941"/>
                  </a:cubicBezTo>
                  <a:lnTo>
                    <a:pt x="459075" y="46936"/>
                  </a:lnTo>
                  <a:cubicBezTo>
                    <a:pt x="459075" y="30862"/>
                    <a:pt x="446215" y="18003"/>
                    <a:pt x="430141" y="18003"/>
                  </a:cubicBezTo>
                  <a:cubicBezTo>
                    <a:pt x="427569" y="18003"/>
                    <a:pt x="425641" y="18646"/>
                    <a:pt x="423712" y="18646"/>
                  </a:cubicBezTo>
                  <a:cubicBezTo>
                    <a:pt x="409566" y="6430"/>
                    <a:pt x="389634" y="0"/>
                    <a:pt x="366488" y="0"/>
                  </a:cubicBezTo>
                  <a:lnTo>
                    <a:pt x="366488" y="0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81" name="Forma Livre: Forma 80">
              <a:extLst>
                <a:ext uri="{FF2B5EF4-FFF2-40B4-BE49-F238E27FC236}">
                  <a16:creationId xmlns:a16="http://schemas.microsoft.com/office/drawing/2014/main" id="{2E3C15EF-C403-4108-8AE2-7F973DB32F29}"/>
                </a:ext>
              </a:extLst>
            </p:cNvPr>
            <p:cNvSpPr/>
            <p:nvPr/>
          </p:nvSpPr>
          <p:spPr>
            <a:xfrm>
              <a:off x="4293414" y="6023585"/>
              <a:ext cx="36370" cy="33434"/>
            </a:xfrm>
            <a:custGeom>
              <a:avLst/>
              <a:gdLst>
                <a:gd name="connsiteX0" fmla="*/ 18367 w 36370"/>
                <a:gd name="connsiteY0" fmla="*/ 0 h 33434"/>
                <a:gd name="connsiteX1" fmla="*/ 8080 w 36370"/>
                <a:gd name="connsiteY1" fmla="*/ 5144 h 33434"/>
                <a:gd name="connsiteX2" fmla="*/ 1650 w 36370"/>
                <a:gd name="connsiteY2" fmla="*/ 25076 h 33434"/>
                <a:gd name="connsiteX3" fmla="*/ 14510 w 36370"/>
                <a:gd name="connsiteY3" fmla="*/ 33434 h 33434"/>
                <a:gd name="connsiteX4" fmla="*/ 20939 w 36370"/>
                <a:gd name="connsiteY4" fmla="*/ 32148 h 33434"/>
                <a:gd name="connsiteX5" fmla="*/ 36370 w 36370"/>
                <a:gd name="connsiteY5" fmla="*/ 24433 h 33434"/>
                <a:gd name="connsiteX6" fmla="*/ 18367 w 36370"/>
                <a:gd name="connsiteY6" fmla="*/ 0 h 33434"/>
                <a:gd name="connsiteX7" fmla="*/ 18367 w 36370"/>
                <a:gd name="connsiteY7" fmla="*/ 0 h 33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370" h="33434">
                  <a:moveTo>
                    <a:pt x="18367" y="0"/>
                  </a:moveTo>
                  <a:lnTo>
                    <a:pt x="8080" y="5144"/>
                  </a:lnTo>
                  <a:cubicBezTo>
                    <a:pt x="1007" y="9002"/>
                    <a:pt x="-2207" y="17360"/>
                    <a:pt x="1650" y="25076"/>
                  </a:cubicBezTo>
                  <a:cubicBezTo>
                    <a:pt x="4222" y="30219"/>
                    <a:pt x="9366" y="33434"/>
                    <a:pt x="14510" y="33434"/>
                  </a:cubicBezTo>
                  <a:cubicBezTo>
                    <a:pt x="16439" y="33434"/>
                    <a:pt x="19010" y="32791"/>
                    <a:pt x="20939" y="32148"/>
                  </a:cubicBezTo>
                  <a:lnTo>
                    <a:pt x="36370" y="24433"/>
                  </a:lnTo>
                  <a:cubicBezTo>
                    <a:pt x="29941" y="16717"/>
                    <a:pt x="23511" y="9002"/>
                    <a:pt x="18367" y="0"/>
                  </a:cubicBezTo>
                  <a:lnTo>
                    <a:pt x="18367" y="0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82" name="Forma Livre: Forma 81">
              <a:extLst>
                <a:ext uri="{FF2B5EF4-FFF2-40B4-BE49-F238E27FC236}">
                  <a16:creationId xmlns:a16="http://schemas.microsoft.com/office/drawing/2014/main" id="{63E33F51-7CF9-49EF-8065-47112F474E34}"/>
                </a:ext>
              </a:extLst>
            </p:cNvPr>
            <p:cNvSpPr/>
            <p:nvPr/>
          </p:nvSpPr>
          <p:spPr>
            <a:xfrm>
              <a:off x="4721991" y="6023585"/>
              <a:ext cx="36370" cy="32791"/>
            </a:xfrm>
            <a:custGeom>
              <a:avLst/>
              <a:gdLst>
                <a:gd name="connsiteX0" fmla="*/ 18003 w 36370"/>
                <a:gd name="connsiteY0" fmla="*/ 0 h 32791"/>
                <a:gd name="connsiteX1" fmla="*/ 0 w 36370"/>
                <a:gd name="connsiteY1" fmla="*/ 23790 h 32791"/>
                <a:gd name="connsiteX2" fmla="*/ 15431 w 36370"/>
                <a:gd name="connsiteY2" fmla="*/ 31505 h 32791"/>
                <a:gd name="connsiteX3" fmla="*/ 21861 w 36370"/>
                <a:gd name="connsiteY3" fmla="*/ 32791 h 32791"/>
                <a:gd name="connsiteX4" fmla="*/ 34720 w 36370"/>
                <a:gd name="connsiteY4" fmla="*/ 24433 h 32791"/>
                <a:gd name="connsiteX5" fmla="*/ 28290 w 36370"/>
                <a:gd name="connsiteY5" fmla="*/ 4501 h 32791"/>
                <a:gd name="connsiteX6" fmla="*/ 18003 w 36370"/>
                <a:gd name="connsiteY6" fmla="*/ 0 h 32791"/>
                <a:gd name="connsiteX7" fmla="*/ 18003 w 36370"/>
                <a:gd name="connsiteY7" fmla="*/ 0 h 32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370" h="32791">
                  <a:moveTo>
                    <a:pt x="18003" y="0"/>
                  </a:moveTo>
                  <a:cubicBezTo>
                    <a:pt x="12859" y="9002"/>
                    <a:pt x="6430" y="16717"/>
                    <a:pt x="0" y="23790"/>
                  </a:cubicBezTo>
                  <a:lnTo>
                    <a:pt x="15431" y="31505"/>
                  </a:lnTo>
                  <a:cubicBezTo>
                    <a:pt x="17360" y="32791"/>
                    <a:pt x="19932" y="32791"/>
                    <a:pt x="21861" y="32791"/>
                  </a:cubicBezTo>
                  <a:cubicBezTo>
                    <a:pt x="27004" y="32791"/>
                    <a:pt x="32148" y="29576"/>
                    <a:pt x="34720" y="24433"/>
                  </a:cubicBezTo>
                  <a:cubicBezTo>
                    <a:pt x="38578" y="17360"/>
                    <a:pt x="35363" y="8359"/>
                    <a:pt x="28290" y="4501"/>
                  </a:cubicBezTo>
                  <a:lnTo>
                    <a:pt x="18003" y="0"/>
                  </a:lnTo>
                  <a:lnTo>
                    <a:pt x="18003" y="0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sp>
        <p:nvSpPr>
          <p:cNvPr id="83" name="Forma Livre: Forma 82">
            <a:extLst>
              <a:ext uri="{FF2B5EF4-FFF2-40B4-BE49-F238E27FC236}">
                <a16:creationId xmlns:a16="http://schemas.microsoft.com/office/drawing/2014/main" id="{0E4583F5-C70F-4676-8B27-EFDBB23B3797}"/>
              </a:ext>
            </a:extLst>
          </p:cNvPr>
          <p:cNvSpPr/>
          <p:nvPr/>
        </p:nvSpPr>
        <p:spPr>
          <a:xfrm>
            <a:off x="4340630" y="4716396"/>
            <a:ext cx="415274" cy="265648"/>
          </a:xfrm>
          <a:custGeom>
            <a:avLst/>
            <a:gdLst>
              <a:gd name="connsiteX0" fmla="*/ 325339 w 421139"/>
              <a:gd name="connsiteY0" fmla="*/ 269401 h 269400"/>
              <a:gd name="connsiteX1" fmla="*/ 86157 w 421139"/>
              <a:gd name="connsiteY1" fmla="*/ 269401 h 269400"/>
              <a:gd name="connsiteX2" fmla="*/ 62367 w 421139"/>
              <a:gd name="connsiteY2" fmla="*/ 265543 h 269400"/>
              <a:gd name="connsiteX3" fmla="*/ 0 w 421139"/>
              <a:gd name="connsiteY3" fmla="*/ 181315 h 269400"/>
              <a:gd name="connsiteX4" fmla="*/ 87443 w 421139"/>
              <a:gd name="connsiteY4" fmla="*/ 93229 h 269400"/>
              <a:gd name="connsiteX5" fmla="*/ 199318 w 421139"/>
              <a:gd name="connsiteY5" fmla="*/ 0 h 269400"/>
              <a:gd name="connsiteX6" fmla="*/ 304764 w 421139"/>
              <a:gd name="connsiteY6" fmla="*/ 71369 h 269400"/>
              <a:gd name="connsiteX7" fmla="*/ 321481 w 421139"/>
              <a:gd name="connsiteY7" fmla="*/ 70083 h 269400"/>
              <a:gd name="connsiteX8" fmla="*/ 421140 w 421139"/>
              <a:gd name="connsiteY8" fmla="*/ 169742 h 269400"/>
              <a:gd name="connsiteX9" fmla="*/ 351057 w 421139"/>
              <a:gd name="connsiteY9" fmla="*/ 264900 h 269400"/>
              <a:gd name="connsiteX10" fmla="*/ 325339 w 421139"/>
              <a:gd name="connsiteY10" fmla="*/ 269401 h 269400"/>
              <a:gd name="connsiteX11" fmla="*/ 325339 w 421139"/>
              <a:gd name="connsiteY11" fmla="*/ 269401 h 269400"/>
              <a:gd name="connsiteX12" fmla="*/ 87443 w 421139"/>
              <a:gd name="connsiteY12" fmla="*/ 127306 h 269400"/>
              <a:gd name="connsiteX13" fmla="*/ 33434 w 421139"/>
              <a:gd name="connsiteY13" fmla="*/ 181315 h 269400"/>
              <a:gd name="connsiteX14" fmla="*/ 72012 w 421139"/>
              <a:gd name="connsiteY14" fmla="*/ 233395 h 269400"/>
              <a:gd name="connsiteX15" fmla="*/ 85514 w 421139"/>
              <a:gd name="connsiteY15" fmla="*/ 235967 h 269400"/>
              <a:gd name="connsiteX16" fmla="*/ 324695 w 421139"/>
              <a:gd name="connsiteY16" fmla="*/ 235967 h 269400"/>
              <a:gd name="connsiteX17" fmla="*/ 339484 w 421139"/>
              <a:gd name="connsiteY17" fmla="*/ 233395 h 269400"/>
              <a:gd name="connsiteX18" fmla="*/ 386420 w 421139"/>
              <a:gd name="connsiteY18" fmla="*/ 170385 h 269400"/>
              <a:gd name="connsiteX19" fmla="*/ 320195 w 421139"/>
              <a:gd name="connsiteY19" fmla="*/ 104159 h 269400"/>
              <a:gd name="connsiteX20" fmla="*/ 298334 w 421139"/>
              <a:gd name="connsiteY20" fmla="*/ 108017 h 269400"/>
              <a:gd name="connsiteX21" fmla="*/ 280331 w 421139"/>
              <a:gd name="connsiteY21" fmla="*/ 114447 h 269400"/>
              <a:gd name="connsiteX22" fmla="*/ 275830 w 421139"/>
              <a:gd name="connsiteY22" fmla="*/ 95801 h 269400"/>
              <a:gd name="connsiteX23" fmla="*/ 198032 w 421139"/>
              <a:gd name="connsiteY23" fmla="*/ 34077 h 269400"/>
              <a:gd name="connsiteX24" fmla="*/ 118305 w 421139"/>
              <a:gd name="connsiteY24" fmla="*/ 112518 h 269400"/>
              <a:gd name="connsiteX25" fmla="*/ 117662 w 421139"/>
              <a:gd name="connsiteY25" fmla="*/ 133093 h 269400"/>
              <a:gd name="connsiteX26" fmla="*/ 97730 w 421139"/>
              <a:gd name="connsiteY26" fmla="*/ 129235 h 269400"/>
              <a:gd name="connsiteX27" fmla="*/ 87443 w 421139"/>
              <a:gd name="connsiteY27" fmla="*/ 127306 h 269400"/>
              <a:gd name="connsiteX28" fmla="*/ 87443 w 421139"/>
              <a:gd name="connsiteY28" fmla="*/ 127306 h 26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421139" h="269400">
                <a:moveTo>
                  <a:pt x="325339" y="269401"/>
                </a:moveTo>
                <a:lnTo>
                  <a:pt x="86157" y="269401"/>
                </a:lnTo>
                <a:cubicBezTo>
                  <a:pt x="77798" y="269401"/>
                  <a:pt x="70083" y="268115"/>
                  <a:pt x="62367" y="265543"/>
                </a:cubicBezTo>
                <a:cubicBezTo>
                  <a:pt x="25718" y="254613"/>
                  <a:pt x="0" y="219893"/>
                  <a:pt x="0" y="181315"/>
                </a:cubicBezTo>
                <a:cubicBezTo>
                  <a:pt x="0" y="133093"/>
                  <a:pt x="39221" y="93872"/>
                  <a:pt x="87443" y="93229"/>
                </a:cubicBezTo>
                <a:cubicBezTo>
                  <a:pt x="97087" y="40506"/>
                  <a:pt x="144023" y="0"/>
                  <a:pt x="199318" y="0"/>
                </a:cubicBezTo>
                <a:cubicBezTo>
                  <a:pt x="246254" y="0"/>
                  <a:pt x="287404" y="28290"/>
                  <a:pt x="304764" y="71369"/>
                </a:cubicBezTo>
                <a:cubicBezTo>
                  <a:pt x="310550" y="70726"/>
                  <a:pt x="315694" y="70083"/>
                  <a:pt x="321481" y="70083"/>
                </a:cubicBezTo>
                <a:cubicBezTo>
                  <a:pt x="376775" y="70083"/>
                  <a:pt x="421140" y="115090"/>
                  <a:pt x="421140" y="169742"/>
                </a:cubicBezTo>
                <a:cubicBezTo>
                  <a:pt x="421140" y="213463"/>
                  <a:pt x="392849" y="252041"/>
                  <a:pt x="351057" y="264900"/>
                </a:cubicBezTo>
                <a:cubicBezTo>
                  <a:pt x="343341" y="268115"/>
                  <a:pt x="334340" y="269401"/>
                  <a:pt x="325339" y="269401"/>
                </a:cubicBezTo>
                <a:lnTo>
                  <a:pt x="325339" y="269401"/>
                </a:lnTo>
                <a:close/>
                <a:moveTo>
                  <a:pt x="87443" y="127306"/>
                </a:moveTo>
                <a:cubicBezTo>
                  <a:pt x="57867" y="127306"/>
                  <a:pt x="33434" y="151739"/>
                  <a:pt x="33434" y="181315"/>
                </a:cubicBezTo>
                <a:cubicBezTo>
                  <a:pt x="33434" y="205104"/>
                  <a:pt x="49508" y="226322"/>
                  <a:pt x="72012" y="233395"/>
                </a:cubicBezTo>
                <a:cubicBezTo>
                  <a:pt x="76512" y="234681"/>
                  <a:pt x="81013" y="235967"/>
                  <a:pt x="85514" y="235967"/>
                </a:cubicBezTo>
                <a:lnTo>
                  <a:pt x="324695" y="235967"/>
                </a:lnTo>
                <a:cubicBezTo>
                  <a:pt x="329839" y="235967"/>
                  <a:pt x="334340" y="235324"/>
                  <a:pt x="339484" y="233395"/>
                </a:cubicBezTo>
                <a:cubicBezTo>
                  <a:pt x="367774" y="224393"/>
                  <a:pt x="386420" y="199318"/>
                  <a:pt x="386420" y="170385"/>
                </a:cubicBezTo>
                <a:cubicBezTo>
                  <a:pt x="386420" y="133736"/>
                  <a:pt x="356843" y="104159"/>
                  <a:pt x="320195" y="104159"/>
                </a:cubicBezTo>
                <a:cubicBezTo>
                  <a:pt x="312479" y="104159"/>
                  <a:pt x="305406" y="105445"/>
                  <a:pt x="298334" y="108017"/>
                </a:cubicBezTo>
                <a:lnTo>
                  <a:pt x="280331" y="114447"/>
                </a:lnTo>
                <a:lnTo>
                  <a:pt x="275830" y="95801"/>
                </a:lnTo>
                <a:cubicBezTo>
                  <a:pt x="267472" y="59795"/>
                  <a:pt x="235324" y="34077"/>
                  <a:pt x="198032" y="34077"/>
                </a:cubicBezTo>
                <a:cubicBezTo>
                  <a:pt x="154954" y="34077"/>
                  <a:pt x="118948" y="69440"/>
                  <a:pt x="118305" y="112518"/>
                </a:cubicBezTo>
                <a:lnTo>
                  <a:pt x="117662" y="133093"/>
                </a:lnTo>
                <a:lnTo>
                  <a:pt x="97730" y="129235"/>
                </a:lnTo>
                <a:cubicBezTo>
                  <a:pt x="95158" y="127949"/>
                  <a:pt x="91300" y="127306"/>
                  <a:pt x="87443" y="127306"/>
                </a:cubicBezTo>
                <a:lnTo>
                  <a:pt x="87443" y="127306"/>
                </a:lnTo>
                <a:close/>
              </a:path>
            </a:pathLst>
          </a:custGeom>
          <a:solidFill>
            <a:srgbClr val="B1B1A1"/>
          </a:solidFill>
          <a:ln w="64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grpSp>
        <p:nvGrpSpPr>
          <p:cNvPr id="84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7417466" y="4672649"/>
            <a:ext cx="415274" cy="353775"/>
            <a:chOff x="7435931" y="4740234"/>
            <a:chExt cx="421139" cy="358772"/>
          </a:xfrm>
          <a:solidFill>
            <a:srgbClr val="B1B1A1"/>
          </a:solidFill>
        </p:grpSpPr>
        <p:sp>
          <p:nvSpPr>
            <p:cNvPr id="85" name="Forma Livre: Forma 84">
              <a:extLst>
                <a:ext uri="{FF2B5EF4-FFF2-40B4-BE49-F238E27FC236}">
                  <a16:creationId xmlns:a16="http://schemas.microsoft.com/office/drawing/2014/main" id="{12FD6D9E-B073-478E-95E6-6083E496B3C3}"/>
                </a:ext>
              </a:extLst>
            </p:cNvPr>
            <p:cNvSpPr/>
            <p:nvPr/>
          </p:nvSpPr>
          <p:spPr>
            <a:xfrm>
              <a:off x="7435931" y="4740234"/>
              <a:ext cx="421139" cy="269401"/>
            </a:xfrm>
            <a:custGeom>
              <a:avLst/>
              <a:gdLst>
                <a:gd name="connsiteX0" fmla="*/ 325338 w 421139"/>
                <a:gd name="connsiteY0" fmla="*/ 269401 h 269401"/>
                <a:gd name="connsiteX1" fmla="*/ 86157 w 421139"/>
                <a:gd name="connsiteY1" fmla="*/ 269401 h 269401"/>
                <a:gd name="connsiteX2" fmla="*/ 62367 w 421139"/>
                <a:gd name="connsiteY2" fmla="*/ 265543 h 269401"/>
                <a:gd name="connsiteX3" fmla="*/ 0 w 421139"/>
                <a:gd name="connsiteY3" fmla="*/ 181315 h 269401"/>
                <a:gd name="connsiteX4" fmla="*/ 87443 w 421139"/>
                <a:gd name="connsiteY4" fmla="*/ 93229 h 269401"/>
                <a:gd name="connsiteX5" fmla="*/ 199318 w 421139"/>
                <a:gd name="connsiteY5" fmla="*/ 0 h 269401"/>
                <a:gd name="connsiteX6" fmla="*/ 304763 w 421139"/>
                <a:gd name="connsiteY6" fmla="*/ 71369 h 269401"/>
                <a:gd name="connsiteX7" fmla="*/ 321481 w 421139"/>
                <a:gd name="connsiteY7" fmla="*/ 70083 h 269401"/>
                <a:gd name="connsiteX8" fmla="*/ 421140 w 421139"/>
                <a:gd name="connsiteY8" fmla="*/ 169742 h 269401"/>
                <a:gd name="connsiteX9" fmla="*/ 351057 w 421139"/>
                <a:gd name="connsiteY9" fmla="*/ 264900 h 269401"/>
                <a:gd name="connsiteX10" fmla="*/ 325338 w 421139"/>
                <a:gd name="connsiteY10" fmla="*/ 269401 h 269401"/>
                <a:gd name="connsiteX11" fmla="*/ 325338 w 421139"/>
                <a:gd name="connsiteY11" fmla="*/ 269401 h 269401"/>
                <a:gd name="connsiteX12" fmla="*/ 88085 w 421139"/>
                <a:gd name="connsiteY12" fmla="*/ 127306 h 269401"/>
                <a:gd name="connsiteX13" fmla="*/ 34077 w 421139"/>
                <a:gd name="connsiteY13" fmla="*/ 181315 h 269401"/>
                <a:gd name="connsiteX14" fmla="*/ 72655 w 421139"/>
                <a:gd name="connsiteY14" fmla="*/ 233395 h 269401"/>
                <a:gd name="connsiteX15" fmla="*/ 86800 w 421139"/>
                <a:gd name="connsiteY15" fmla="*/ 235967 h 269401"/>
                <a:gd name="connsiteX16" fmla="*/ 325981 w 421139"/>
                <a:gd name="connsiteY16" fmla="*/ 235967 h 269401"/>
                <a:gd name="connsiteX17" fmla="*/ 340770 w 421139"/>
                <a:gd name="connsiteY17" fmla="*/ 233395 h 269401"/>
                <a:gd name="connsiteX18" fmla="*/ 387705 w 421139"/>
                <a:gd name="connsiteY18" fmla="*/ 170385 h 269401"/>
                <a:gd name="connsiteX19" fmla="*/ 321481 w 421139"/>
                <a:gd name="connsiteY19" fmla="*/ 104160 h 269401"/>
                <a:gd name="connsiteX20" fmla="*/ 298977 w 421139"/>
                <a:gd name="connsiteY20" fmla="*/ 108017 h 269401"/>
                <a:gd name="connsiteX21" fmla="*/ 280974 w 421139"/>
                <a:gd name="connsiteY21" fmla="*/ 114447 h 269401"/>
                <a:gd name="connsiteX22" fmla="*/ 276473 w 421139"/>
                <a:gd name="connsiteY22" fmla="*/ 95801 h 269401"/>
                <a:gd name="connsiteX23" fmla="*/ 198675 w 421139"/>
                <a:gd name="connsiteY23" fmla="*/ 34077 h 269401"/>
                <a:gd name="connsiteX24" fmla="*/ 118948 w 421139"/>
                <a:gd name="connsiteY24" fmla="*/ 112518 h 269401"/>
                <a:gd name="connsiteX25" fmla="*/ 118305 w 421139"/>
                <a:gd name="connsiteY25" fmla="*/ 133093 h 269401"/>
                <a:gd name="connsiteX26" fmla="*/ 98373 w 421139"/>
                <a:gd name="connsiteY26" fmla="*/ 129235 h 269401"/>
                <a:gd name="connsiteX27" fmla="*/ 88085 w 421139"/>
                <a:gd name="connsiteY27" fmla="*/ 127306 h 269401"/>
                <a:gd name="connsiteX28" fmla="*/ 88085 w 421139"/>
                <a:gd name="connsiteY28" fmla="*/ 127306 h 269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21139" h="269401">
                  <a:moveTo>
                    <a:pt x="325338" y="269401"/>
                  </a:moveTo>
                  <a:lnTo>
                    <a:pt x="86157" y="269401"/>
                  </a:lnTo>
                  <a:cubicBezTo>
                    <a:pt x="77798" y="269401"/>
                    <a:pt x="70083" y="268115"/>
                    <a:pt x="62367" y="265543"/>
                  </a:cubicBezTo>
                  <a:cubicBezTo>
                    <a:pt x="25718" y="254613"/>
                    <a:pt x="0" y="219893"/>
                    <a:pt x="0" y="181315"/>
                  </a:cubicBezTo>
                  <a:cubicBezTo>
                    <a:pt x="0" y="133093"/>
                    <a:pt x="39220" y="93872"/>
                    <a:pt x="87443" y="93229"/>
                  </a:cubicBezTo>
                  <a:cubicBezTo>
                    <a:pt x="97087" y="40506"/>
                    <a:pt x="144023" y="0"/>
                    <a:pt x="199318" y="0"/>
                  </a:cubicBezTo>
                  <a:cubicBezTo>
                    <a:pt x="246254" y="0"/>
                    <a:pt x="287403" y="28290"/>
                    <a:pt x="304763" y="71369"/>
                  </a:cubicBezTo>
                  <a:cubicBezTo>
                    <a:pt x="310550" y="70726"/>
                    <a:pt x="315694" y="70083"/>
                    <a:pt x="321481" y="70083"/>
                  </a:cubicBezTo>
                  <a:cubicBezTo>
                    <a:pt x="376775" y="70083"/>
                    <a:pt x="421140" y="115090"/>
                    <a:pt x="421140" y="169742"/>
                  </a:cubicBezTo>
                  <a:cubicBezTo>
                    <a:pt x="421140" y="213463"/>
                    <a:pt x="392849" y="252041"/>
                    <a:pt x="351057" y="264900"/>
                  </a:cubicBezTo>
                  <a:cubicBezTo>
                    <a:pt x="343984" y="268115"/>
                    <a:pt x="334983" y="269401"/>
                    <a:pt x="325338" y="269401"/>
                  </a:cubicBezTo>
                  <a:lnTo>
                    <a:pt x="325338" y="269401"/>
                  </a:lnTo>
                  <a:close/>
                  <a:moveTo>
                    <a:pt x="88085" y="127306"/>
                  </a:moveTo>
                  <a:cubicBezTo>
                    <a:pt x="58509" y="127306"/>
                    <a:pt x="34077" y="151739"/>
                    <a:pt x="34077" y="181315"/>
                  </a:cubicBezTo>
                  <a:cubicBezTo>
                    <a:pt x="34077" y="205105"/>
                    <a:pt x="50151" y="226323"/>
                    <a:pt x="72655" y="233395"/>
                  </a:cubicBezTo>
                  <a:cubicBezTo>
                    <a:pt x="77155" y="234681"/>
                    <a:pt x="81656" y="235967"/>
                    <a:pt x="86800" y="235967"/>
                  </a:cubicBezTo>
                  <a:lnTo>
                    <a:pt x="325981" y="235967"/>
                  </a:lnTo>
                  <a:cubicBezTo>
                    <a:pt x="331125" y="235967"/>
                    <a:pt x="336268" y="235324"/>
                    <a:pt x="340770" y="233395"/>
                  </a:cubicBezTo>
                  <a:cubicBezTo>
                    <a:pt x="369060" y="224394"/>
                    <a:pt x="387705" y="199318"/>
                    <a:pt x="387705" y="170385"/>
                  </a:cubicBezTo>
                  <a:cubicBezTo>
                    <a:pt x="387705" y="133736"/>
                    <a:pt x="358129" y="104160"/>
                    <a:pt x="321481" y="104160"/>
                  </a:cubicBezTo>
                  <a:cubicBezTo>
                    <a:pt x="313765" y="104160"/>
                    <a:pt x="306692" y="105446"/>
                    <a:pt x="298977" y="108017"/>
                  </a:cubicBezTo>
                  <a:lnTo>
                    <a:pt x="280974" y="114447"/>
                  </a:lnTo>
                  <a:lnTo>
                    <a:pt x="276473" y="95801"/>
                  </a:lnTo>
                  <a:cubicBezTo>
                    <a:pt x="268115" y="59795"/>
                    <a:pt x="235967" y="34077"/>
                    <a:pt x="198675" y="34077"/>
                  </a:cubicBezTo>
                  <a:cubicBezTo>
                    <a:pt x="155596" y="34077"/>
                    <a:pt x="119591" y="69440"/>
                    <a:pt x="118948" y="112518"/>
                  </a:cubicBezTo>
                  <a:lnTo>
                    <a:pt x="118305" y="133093"/>
                  </a:lnTo>
                  <a:lnTo>
                    <a:pt x="98373" y="129235"/>
                  </a:lnTo>
                  <a:cubicBezTo>
                    <a:pt x="95801" y="127949"/>
                    <a:pt x="91943" y="127306"/>
                    <a:pt x="88085" y="127306"/>
                  </a:cubicBezTo>
                  <a:lnTo>
                    <a:pt x="88085" y="127306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86" name="Forma Livre: Forma 85">
              <a:extLst>
                <a:ext uri="{FF2B5EF4-FFF2-40B4-BE49-F238E27FC236}">
                  <a16:creationId xmlns:a16="http://schemas.microsoft.com/office/drawing/2014/main" id="{E2EC3CF2-C3F0-4740-92AB-D4AEC565EACC}"/>
                </a:ext>
              </a:extLst>
            </p:cNvPr>
            <p:cNvSpPr/>
            <p:nvPr/>
          </p:nvSpPr>
          <p:spPr>
            <a:xfrm>
              <a:off x="7518611" y="5031876"/>
              <a:ext cx="52604" cy="67130"/>
            </a:xfrm>
            <a:custGeom>
              <a:avLst/>
              <a:gdLst>
                <a:gd name="connsiteX0" fmla="*/ 16980 w 52604"/>
                <a:gd name="connsiteY0" fmla="*/ 67130 h 67130"/>
                <a:gd name="connsiteX1" fmla="*/ 8621 w 52604"/>
                <a:gd name="connsiteY1" fmla="*/ 64559 h 67130"/>
                <a:gd name="connsiteX2" fmla="*/ 2191 w 52604"/>
                <a:gd name="connsiteY2" fmla="*/ 41412 h 67130"/>
                <a:gd name="connsiteX3" fmla="*/ 20837 w 52604"/>
                <a:gd name="connsiteY3" fmla="*/ 8621 h 67130"/>
                <a:gd name="connsiteX4" fmla="*/ 43984 w 52604"/>
                <a:gd name="connsiteY4" fmla="*/ 2191 h 67130"/>
                <a:gd name="connsiteX5" fmla="*/ 50413 w 52604"/>
                <a:gd name="connsiteY5" fmla="*/ 25338 h 67130"/>
                <a:gd name="connsiteX6" fmla="*/ 31768 w 52604"/>
                <a:gd name="connsiteY6" fmla="*/ 58129 h 67130"/>
                <a:gd name="connsiteX7" fmla="*/ 16980 w 52604"/>
                <a:gd name="connsiteY7" fmla="*/ 67130 h 67130"/>
                <a:gd name="connsiteX8" fmla="*/ 16980 w 52604"/>
                <a:gd name="connsiteY8" fmla="*/ 67130 h 67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604" h="67130">
                  <a:moveTo>
                    <a:pt x="16980" y="67130"/>
                  </a:moveTo>
                  <a:cubicBezTo>
                    <a:pt x="14408" y="67130"/>
                    <a:pt x="11193" y="66488"/>
                    <a:pt x="8621" y="64559"/>
                  </a:cubicBezTo>
                  <a:cubicBezTo>
                    <a:pt x="262" y="60058"/>
                    <a:pt x="-2309" y="49770"/>
                    <a:pt x="2191" y="41412"/>
                  </a:cubicBezTo>
                  <a:lnTo>
                    <a:pt x="20837" y="8621"/>
                  </a:lnTo>
                  <a:cubicBezTo>
                    <a:pt x="25338" y="263"/>
                    <a:pt x="35625" y="-2309"/>
                    <a:pt x="43984" y="2191"/>
                  </a:cubicBezTo>
                  <a:cubicBezTo>
                    <a:pt x="52343" y="6692"/>
                    <a:pt x="54914" y="16979"/>
                    <a:pt x="50413" y="25338"/>
                  </a:cubicBezTo>
                  <a:lnTo>
                    <a:pt x="31768" y="58129"/>
                  </a:lnTo>
                  <a:cubicBezTo>
                    <a:pt x="28553" y="63916"/>
                    <a:pt x="22766" y="67130"/>
                    <a:pt x="16980" y="67130"/>
                  </a:cubicBezTo>
                  <a:lnTo>
                    <a:pt x="16980" y="67130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87" name="Forma Livre: Forma 86">
              <a:extLst>
                <a:ext uri="{FF2B5EF4-FFF2-40B4-BE49-F238E27FC236}">
                  <a16:creationId xmlns:a16="http://schemas.microsoft.com/office/drawing/2014/main" id="{D7DC9138-BE6D-4BDC-AC4F-CE459C181CA6}"/>
                </a:ext>
              </a:extLst>
            </p:cNvPr>
            <p:cNvSpPr/>
            <p:nvPr/>
          </p:nvSpPr>
          <p:spPr>
            <a:xfrm>
              <a:off x="7608625" y="5031876"/>
              <a:ext cx="53247" cy="67130"/>
            </a:xfrm>
            <a:custGeom>
              <a:avLst/>
              <a:gdLst>
                <a:gd name="connsiteX0" fmla="*/ 16980 w 53247"/>
                <a:gd name="connsiteY0" fmla="*/ 67130 h 67130"/>
                <a:gd name="connsiteX1" fmla="*/ 8621 w 53247"/>
                <a:gd name="connsiteY1" fmla="*/ 64559 h 67130"/>
                <a:gd name="connsiteX2" fmla="*/ 2191 w 53247"/>
                <a:gd name="connsiteY2" fmla="*/ 41412 h 67130"/>
                <a:gd name="connsiteX3" fmla="*/ 21480 w 53247"/>
                <a:gd name="connsiteY3" fmla="*/ 8621 h 67130"/>
                <a:gd name="connsiteX4" fmla="*/ 44627 w 53247"/>
                <a:gd name="connsiteY4" fmla="*/ 2191 h 67130"/>
                <a:gd name="connsiteX5" fmla="*/ 51057 w 53247"/>
                <a:gd name="connsiteY5" fmla="*/ 25338 h 67130"/>
                <a:gd name="connsiteX6" fmla="*/ 31768 w 53247"/>
                <a:gd name="connsiteY6" fmla="*/ 58129 h 67130"/>
                <a:gd name="connsiteX7" fmla="*/ 16980 w 53247"/>
                <a:gd name="connsiteY7" fmla="*/ 67130 h 67130"/>
                <a:gd name="connsiteX8" fmla="*/ 16980 w 53247"/>
                <a:gd name="connsiteY8" fmla="*/ 67130 h 67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247" h="67130">
                  <a:moveTo>
                    <a:pt x="16980" y="67130"/>
                  </a:moveTo>
                  <a:cubicBezTo>
                    <a:pt x="14408" y="67130"/>
                    <a:pt x="11193" y="66488"/>
                    <a:pt x="8621" y="64559"/>
                  </a:cubicBezTo>
                  <a:cubicBezTo>
                    <a:pt x="262" y="60058"/>
                    <a:pt x="-2309" y="49770"/>
                    <a:pt x="2191" y="41412"/>
                  </a:cubicBezTo>
                  <a:lnTo>
                    <a:pt x="21480" y="8621"/>
                  </a:lnTo>
                  <a:cubicBezTo>
                    <a:pt x="25981" y="263"/>
                    <a:pt x="36269" y="-2309"/>
                    <a:pt x="44627" y="2191"/>
                  </a:cubicBezTo>
                  <a:cubicBezTo>
                    <a:pt x="52985" y="6692"/>
                    <a:pt x="55557" y="16979"/>
                    <a:pt x="51057" y="25338"/>
                  </a:cubicBezTo>
                  <a:lnTo>
                    <a:pt x="31768" y="58129"/>
                  </a:lnTo>
                  <a:cubicBezTo>
                    <a:pt x="28553" y="63916"/>
                    <a:pt x="22766" y="67130"/>
                    <a:pt x="16980" y="67130"/>
                  </a:cubicBezTo>
                  <a:lnTo>
                    <a:pt x="16980" y="67130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88" name="Forma Livre: Forma 87">
              <a:extLst>
                <a:ext uri="{FF2B5EF4-FFF2-40B4-BE49-F238E27FC236}">
                  <a16:creationId xmlns:a16="http://schemas.microsoft.com/office/drawing/2014/main" id="{267792E4-9FB5-42DF-A868-27FBDD6D4FDF}"/>
                </a:ext>
              </a:extLst>
            </p:cNvPr>
            <p:cNvSpPr/>
            <p:nvPr/>
          </p:nvSpPr>
          <p:spPr>
            <a:xfrm>
              <a:off x="7698640" y="5031876"/>
              <a:ext cx="52605" cy="67130"/>
            </a:xfrm>
            <a:custGeom>
              <a:avLst/>
              <a:gdLst>
                <a:gd name="connsiteX0" fmla="*/ 16980 w 52605"/>
                <a:gd name="connsiteY0" fmla="*/ 67130 h 67130"/>
                <a:gd name="connsiteX1" fmla="*/ 8621 w 52605"/>
                <a:gd name="connsiteY1" fmla="*/ 64559 h 67130"/>
                <a:gd name="connsiteX2" fmla="*/ 2191 w 52605"/>
                <a:gd name="connsiteY2" fmla="*/ 41412 h 67130"/>
                <a:gd name="connsiteX3" fmla="*/ 20837 w 52605"/>
                <a:gd name="connsiteY3" fmla="*/ 8621 h 67130"/>
                <a:gd name="connsiteX4" fmla="*/ 43984 w 52605"/>
                <a:gd name="connsiteY4" fmla="*/ 2191 h 67130"/>
                <a:gd name="connsiteX5" fmla="*/ 50413 w 52605"/>
                <a:gd name="connsiteY5" fmla="*/ 25338 h 67130"/>
                <a:gd name="connsiteX6" fmla="*/ 31768 w 52605"/>
                <a:gd name="connsiteY6" fmla="*/ 58129 h 67130"/>
                <a:gd name="connsiteX7" fmla="*/ 16980 w 52605"/>
                <a:gd name="connsiteY7" fmla="*/ 67130 h 67130"/>
                <a:gd name="connsiteX8" fmla="*/ 16980 w 52605"/>
                <a:gd name="connsiteY8" fmla="*/ 67130 h 67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605" h="67130">
                  <a:moveTo>
                    <a:pt x="16980" y="67130"/>
                  </a:moveTo>
                  <a:cubicBezTo>
                    <a:pt x="14408" y="67130"/>
                    <a:pt x="11193" y="66488"/>
                    <a:pt x="8621" y="64559"/>
                  </a:cubicBezTo>
                  <a:cubicBezTo>
                    <a:pt x="262" y="60058"/>
                    <a:pt x="-2309" y="49770"/>
                    <a:pt x="2191" y="41412"/>
                  </a:cubicBezTo>
                  <a:lnTo>
                    <a:pt x="20837" y="8621"/>
                  </a:lnTo>
                  <a:cubicBezTo>
                    <a:pt x="25338" y="263"/>
                    <a:pt x="35625" y="-2309"/>
                    <a:pt x="43984" y="2191"/>
                  </a:cubicBezTo>
                  <a:cubicBezTo>
                    <a:pt x="52343" y="6692"/>
                    <a:pt x="54915" y="16979"/>
                    <a:pt x="50413" y="25338"/>
                  </a:cubicBezTo>
                  <a:lnTo>
                    <a:pt x="31768" y="58129"/>
                  </a:lnTo>
                  <a:cubicBezTo>
                    <a:pt x="28553" y="63916"/>
                    <a:pt x="22766" y="67130"/>
                    <a:pt x="16980" y="67130"/>
                  </a:cubicBezTo>
                  <a:lnTo>
                    <a:pt x="16980" y="67130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89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8445825" y="4642217"/>
            <a:ext cx="415274" cy="414006"/>
            <a:chOff x="8478814" y="4709372"/>
            <a:chExt cx="421139" cy="419853"/>
          </a:xfrm>
          <a:solidFill>
            <a:srgbClr val="B1B1A1"/>
          </a:solidFill>
        </p:grpSpPr>
        <p:sp>
          <p:nvSpPr>
            <p:cNvPr id="90" name="Forma Livre: Forma 89">
              <a:extLst>
                <a:ext uri="{FF2B5EF4-FFF2-40B4-BE49-F238E27FC236}">
                  <a16:creationId xmlns:a16="http://schemas.microsoft.com/office/drawing/2014/main" id="{436657AA-FE9D-40A7-87A0-D161D7138781}"/>
                </a:ext>
              </a:extLst>
            </p:cNvPr>
            <p:cNvSpPr/>
            <p:nvPr/>
          </p:nvSpPr>
          <p:spPr>
            <a:xfrm>
              <a:off x="8478814" y="4709372"/>
              <a:ext cx="421139" cy="269400"/>
            </a:xfrm>
            <a:custGeom>
              <a:avLst/>
              <a:gdLst>
                <a:gd name="connsiteX0" fmla="*/ 325338 w 421139"/>
                <a:gd name="connsiteY0" fmla="*/ 269401 h 269400"/>
                <a:gd name="connsiteX1" fmla="*/ 86157 w 421139"/>
                <a:gd name="connsiteY1" fmla="*/ 269401 h 269400"/>
                <a:gd name="connsiteX2" fmla="*/ 62368 w 421139"/>
                <a:gd name="connsiteY2" fmla="*/ 265543 h 269400"/>
                <a:gd name="connsiteX3" fmla="*/ 0 w 421139"/>
                <a:gd name="connsiteY3" fmla="*/ 181315 h 269400"/>
                <a:gd name="connsiteX4" fmla="*/ 87443 w 421139"/>
                <a:gd name="connsiteY4" fmla="*/ 93229 h 269400"/>
                <a:gd name="connsiteX5" fmla="*/ 199318 w 421139"/>
                <a:gd name="connsiteY5" fmla="*/ 0 h 269400"/>
                <a:gd name="connsiteX6" fmla="*/ 304764 w 421139"/>
                <a:gd name="connsiteY6" fmla="*/ 71369 h 269400"/>
                <a:gd name="connsiteX7" fmla="*/ 321481 w 421139"/>
                <a:gd name="connsiteY7" fmla="*/ 70083 h 269400"/>
                <a:gd name="connsiteX8" fmla="*/ 421140 w 421139"/>
                <a:gd name="connsiteY8" fmla="*/ 169742 h 269400"/>
                <a:gd name="connsiteX9" fmla="*/ 351057 w 421139"/>
                <a:gd name="connsiteY9" fmla="*/ 264900 h 269400"/>
                <a:gd name="connsiteX10" fmla="*/ 325338 w 421139"/>
                <a:gd name="connsiteY10" fmla="*/ 269401 h 269400"/>
                <a:gd name="connsiteX11" fmla="*/ 325338 w 421139"/>
                <a:gd name="connsiteY11" fmla="*/ 269401 h 269400"/>
                <a:gd name="connsiteX12" fmla="*/ 88086 w 421139"/>
                <a:gd name="connsiteY12" fmla="*/ 127306 h 269400"/>
                <a:gd name="connsiteX13" fmla="*/ 34077 w 421139"/>
                <a:gd name="connsiteY13" fmla="*/ 181315 h 269400"/>
                <a:gd name="connsiteX14" fmla="*/ 72655 w 421139"/>
                <a:gd name="connsiteY14" fmla="*/ 233395 h 269400"/>
                <a:gd name="connsiteX15" fmla="*/ 86800 w 421139"/>
                <a:gd name="connsiteY15" fmla="*/ 235967 h 269400"/>
                <a:gd name="connsiteX16" fmla="*/ 325982 w 421139"/>
                <a:gd name="connsiteY16" fmla="*/ 235967 h 269400"/>
                <a:gd name="connsiteX17" fmla="*/ 340770 w 421139"/>
                <a:gd name="connsiteY17" fmla="*/ 233395 h 269400"/>
                <a:gd name="connsiteX18" fmla="*/ 387706 w 421139"/>
                <a:gd name="connsiteY18" fmla="*/ 170385 h 269400"/>
                <a:gd name="connsiteX19" fmla="*/ 321481 w 421139"/>
                <a:gd name="connsiteY19" fmla="*/ 104160 h 269400"/>
                <a:gd name="connsiteX20" fmla="*/ 298977 w 421139"/>
                <a:gd name="connsiteY20" fmla="*/ 108017 h 269400"/>
                <a:gd name="connsiteX21" fmla="*/ 280975 w 421139"/>
                <a:gd name="connsiteY21" fmla="*/ 114447 h 269400"/>
                <a:gd name="connsiteX22" fmla="*/ 276473 w 421139"/>
                <a:gd name="connsiteY22" fmla="*/ 95801 h 269400"/>
                <a:gd name="connsiteX23" fmla="*/ 198675 w 421139"/>
                <a:gd name="connsiteY23" fmla="*/ 34077 h 269400"/>
                <a:gd name="connsiteX24" fmla="*/ 118948 w 421139"/>
                <a:gd name="connsiteY24" fmla="*/ 112518 h 269400"/>
                <a:gd name="connsiteX25" fmla="*/ 118305 w 421139"/>
                <a:gd name="connsiteY25" fmla="*/ 133093 h 269400"/>
                <a:gd name="connsiteX26" fmla="*/ 98373 w 421139"/>
                <a:gd name="connsiteY26" fmla="*/ 129235 h 269400"/>
                <a:gd name="connsiteX27" fmla="*/ 88086 w 421139"/>
                <a:gd name="connsiteY27" fmla="*/ 127306 h 269400"/>
                <a:gd name="connsiteX28" fmla="*/ 88086 w 421139"/>
                <a:gd name="connsiteY28" fmla="*/ 127306 h 26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21139" h="269400">
                  <a:moveTo>
                    <a:pt x="325338" y="269401"/>
                  </a:moveTo>
                  <a:lnTo>
                    <a:pt x="86157" y="269401"/>
                  </a:lnTo>
                  <a:cubicBezTo>
                    <a:pt x="77798" y="269401"/>
                    <a:pt x="70083" y="268115"/>
                    <a:pt x="62368" y="265543"/>
                  </a:cubicBezTo>
                  <a:cubicBezTo>
                    <a:pt x="25718" y="254613"/>
                    <a:pt x="0" y="219893"/>
                    <a:pt x="0" y="181315"/>
                  </a:cubicBezTo>
                  <a:cubicBezTo>
                    <a:pt x="0" y="133093"/>
                    <a:pt x="39220" y="93872"/>
                    <a:pt x="87443" y="93229"/>
                  </a:cubicBezTo>
                  <a:cubicBezTo>
                    <a:pt x="97087" y="40506"/>
                    <a:pt x="144024" y="0"/>
                    <a:pt x="199318" y="0"/>
                  </a:cubicBezTo>
                  <a:cubicBezTo>
                    <a:pt x="246255" y="0"/>
                    <a:pt x="287404" y="28290"/>
                    <a:pt x="304764" y="71369"/>
                  </a:cubicBezTo>
                  <a:cubicBezTo>
                    <a:pt x="310551" y="70726"/>
                    <a:pt x="315694" y="70083"/>
                    <a:pt x="321481" y="70083"/>
                  </a:cubicBezTo>
                  <a:cubicBezTo>
                    <a:pt x="376775" y="70083"/>
                    <a:pt x="421140" y="115090"/>
                    <a:pt x="421140" y="169742"/>
                  </a:cubicBezTo>
                  <a:cubicBezTo>
                    <a:pt x="421140" y="213463"/>
                    <a:pt x="392849" y="252041"/>
                    <a:pt x="351057" y="264900"/>
                  </a:cubicBezTo>
                  <a:cubicBezTo>
                    <a:pt x="343984" y="268115"/>
                    <a:pt x="334983" y="269401"/>
                    <a:pt x="325338" y="269401"/>
                  </a:cubicBezTo>
                  <a:lnTo>
                    <a:pt x="325338" y="269401"/>
                  </a:lnTo>
                  <a:close/>
                  <a:moveTo>
                    <a:pt x="88086" y="127306"/>
                  </a:moveTo>
                  <a:cubicBezTo>
                    <a:pt x="58509" y="127306"/>
                    <a:pt x="34077" y="151739"/>
                    <a:pt x="34077" y="181315"/>
                  </a:cubicBezTo>
                  <a:cubicBezTo>
                    <a:pt x="34077" y="205104"/>
                    <a:pt x="50151" y="226323"/>
                    <a:pt x="72655" y="233395"/>
                  </a:cubicBezTo>
                  <a:cubicBezTo>
                    <a:pt x="77798" y="235324"/>
                    <a:pt x="81657" y="235967"/>
                    <a:pt x="86800" y="235967"/>
                  </a:cubicBezTo>
                  <a:lnTo>
                    <a:pt x="325982" y="235967"/>
                  </a:lnTo>
                  <a:cubicBezTo>
                    <a:pt x="331125" y="235967"/>
                    <a:pt x="336269" y="235324"/>
                    <a:pt x="340770" y="233395"/>
                  </a:cubicBezTo>
                  <a:cubicBezTo>
                    <a:pt x="369060" y="224393"/>
                    <a:pt x="387706" y="199318"/>
                    <a:pt x="387706" y="170385"/>
                  </a:cubicBezTo>
                  <a:cubicBezTo>
                    <a:pt x="387706" y="133736"/>
                    <a:pt x="358130" y="104160"/>
                    <a:pt x="321481" y="104160"/>
                  </a:cubicBezTo>
                  <a:cubicBezTo>
                    <a:pt x="313765" y="104160"/>
                    <a:pt x="306693" y="105445"/>
                    <a:pt x="298977" y="108017"/>
                  </a:cubicBezTo>
                  <a:lnTo>
                    <a:pt x="280975" y="114447"/>
                  </a:lnTo>
                  <a:lnTo>
                    <a:pt x="276473" y="95801"/>
                  </a:lnTo>
                  <a:cubicBezTo>
                    <a:pt x="268115" y="59795"/>
                    <a:pt x="235967" y="34077"/>
                    <a:pt x="198675" y="34077"/>
                  </a:cubicBezTo>
                  <a:cubicBezTo>
                    <a:pt x="155597" y="34077"/>
                    <a:pt x="119591" y="69440"/>
                    <a:pt x="118948" y="112518"/>
                  </a:cubicBezTo>
                  <a:lnTo>
                    <a:pt x="118305" y="133093"/>
                  </a:lnTo>
                  <a:lnTo>
                    <a:pt x="98373" y="129235"/>
                  </a:lnTo>
                  <a:cubicBezTo>
                    <a:pt x="95159" y="127949"/>
                    <a:pt x="91944" y="127306"/>
                    <a:pt x="88086" y="127306"/>
                  </a:cubicBezTo>
                  <a:lnTo>
                    <a:pt x="88086" y="127306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91" name="Forma Livre: Forma 90">
              <a:extLst>
                <a:ext uri="{FF2B5EF4-FFF2-40B4-BE49-F238E27FC236}">
                  <a16:creationId xmlns:a16="http://schemas.microsoft.com/office/drawing/2014/main" id="{CD935C7B-3002-4B59-8B4B-4CEB2D7D5F0F}"/>
                </a:ext>
              </a:extLst>
            </p:cNvPr>
            <p:cNvSpPr/>
            <p:nvPr/>
          </p:nvSpPr>
          <p:spPr>
            <a:xfrm>
              <a:off x="8561494" y="5001014"/>
              <a:ext cx="52604" cy="67130"/>
            </a:xfrm>
            <a:custGeom>
              <a:avLst/>
              <a:gdLst>
                <a:gd name="connsiteX0" fmla="*/ 16979 w 52604"/>
                <a:gd name="connsiteY0" fmla="*/ 67130 h 67130"/>
                <a:gd name="connsiteX1" fmla="*/ 8621 w 52604"/>
                <a:gd name="connsiteY1" fmla="*/ 64558 h 67130"/>
                <a:gd name="connsiteX2" fmla="*/ 2192 w 52604"/>
                <a:gd name="connsiteY2" fmla="*/ 41412 h 67130"/>
                <a:gd name="connsiteX3" fmla="*/ 20837 w 52604"/>
                <a:gd name="connsiteY3" fmla="*/ 8621 h 67130"/>
                <a:gd name="connsiteX4" fmla="*/ 43984 w 52604"/>
                <a:gd name="connsiteY4" fmla="*/ 2192 h 67130"/>
                <a:gd name="connsiteX5" fmla="*/ 50414 w 52604"/>
                <a:gd name="connsiteY5" fmla="*/ 25338 h 67130"/>
                <a:gd name="connsiteX6" fmla="*/ 31768 w 52604"/>
                <a:gd name="connsiteY6" fmla="*/ 58129 h 67130"/>
                <a:gd name="connsiteX7" fmla="*/ 16979 w 52604"/>
                <a:gd name="connsiteY7" fmla="*/ 67130 h 67130"/>
                <a:gd name="connsiteX8" fmla="*/ 16979 w 52604"/>
                <a:gd name="connsiteY8" fmla="*/ 67130 h 67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604" h="67130">
                  <a:moveTo>
                    <a:pt x="16979" y="67130"/>
                  </a:moveTo>
                  <a:cubicBezTo>
                    <a:pt x="14407" y="67130"/>
                    <a:pt x="11193" y="66488"/>
                    <a:pt x="8621" y="64558"/>
                  </a:cubicBezTo>
                  <a:cubicBezTo>
                    <a:pt x="262" y="60058"/>
                    <a:pt x="-2310" y="49770"/>
                    <a:pt x="2192" y="41412"/>
                  </a:cubicBezTo>
                  <a:lnTo>
                    <a:pt x="20837" y="8621"/>
                  </a:lnTo>
                  <a:cubicBezTo>
                    <a:pt x="25338" y="262"/>
                    <a:pt x="35625" y="-2309"/>
                    <a:pt x="43984" y="2192"/>
                  </a:cubicBezTo>
                  <a:cubicBezTo>
                    <a:pt x="52342" y="6692"/>
                    <a:pt x="54914" y="16980"/>
                    <a:pt x="50414" y="25338"/>
                  </a:cubicBezTo>
                  <a:lnTo>
                    <a:pt x="31768" y="58129"/>
                  </a:lnTo>
                  <a:cubicBezTo>
                    <a:pt x="28553" y="63916"/>
                    <a:pt x="22766" y="67130"/>
                    <a:pt x="16979" y="67130"/>
                  </a:cubicBezTo>
                  <a:lnTo>
                    <a:pt x="16979" y="67130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92" name="Forma Livre: Forma 91">
              <a:extLst>
                <a:ext uri="{FF2B5EF4-FFF2-40B4-BE49-F238E27FC236}">
                  <a16:creationId xmlns:a16="http://schemas.microsoft.com/office/drawing/2014/main" id="{FF9C460E-DC48-43BC-B18C-522AB7551635}"/>
                </a:ext>
              </a:extLst>
            </p:cNvPr>
            <p:cNvSpPr/>
            <p:nvPr/>
          </p:nvSpPr>
          <p:spPr>
            <a:xfrm>
              <a:off x="8651509" y="5001014"/>
              <a:ext cx="52604" cy="67130"/>
            </a:xfrm>
            <a:custGeom>
              <a:avLst/>
              <a:gdLst>
                <a:gd name="connsiteX0" fmla="*/ 16979 w 52604"/>
                <a:gd name="connsiteY0" fmla="*/ 67130 h 67130"/>
                <a:gd name="connsiteX1" fmla="*/ 8621 w 52604"/>
                <a:gd name="connsiteY1" fmla="*/ 64558 h 67130"/>
                <a:gd name="connsiteX2" fmla="*/ 2192 w 52604"/>
                <a:gd name="connsiteY2" fmla="*/ 41412 h 67130"/>
                <a:gd name="connsiteX3" fmla="*/ 20837 w 52604"/>
                <a:gd name="connsiteY3" fmla="*/ 8621 h 67130"/>
                <a:gd name="connsiteX4" fmla="*/ 43984 w 52604"/>
                <a:gd name="connsiteY4" fmla="*/ 2192 h 67130"/>
                <a:gd name="connsiteX5" fmla="*/ 50414 w 52604"/>
                <a:gd name="connsiteY5" fmla="*/ 25338 h 67130"/>
                <a:gd name="connsiteX6" fmla="*/ 31768 w 52604"/>
                <a:gd name="connsiteY6" fmla="*/ 58129 h 67130"/>
                <a:gd name="connsiteX7" fmla="*/ 16979 w 52604"/>
                <a:gd name="connsiteY7" fmla="*/ 67130 h 67130"/>
                <a:gd name="connsiteX8" fmla="*/ 16979 w 52604"/>
                <a:gd name="connsiteY8" fmla="*/ 67130 h 67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604" h="67130">
                  <a:moveTo>
                    <a:pt x="16979" y="67130"/>
                  </a:moveTo>
                  <a:cubicBezTo>
                    <a:pt x="14407" y="67130"/>
                    <a:pt x="11193" y="66488"/>
                    <a:pt x="8621" y="64558"/>
                  </a:cubicBezTo>
                  <a:cubicBezTo>
                    <a:pt x="262" y="60058"/>
                    <a:pt x="-2310" y="49770"/>
                    <a:pt x="2192" y="41412"/>
                  </a:cubicBezTo>
                  <a:lnTo>
                    <a:pt x="20837" y="8621"/>
                  </a:lnTo>
                  <a:cubicBezTo>
                    <a:pt x="25338" y="262"/>
                    <a:pt x="35625" y="-2309"/>
                    <a:pt x="43984" y="2192"/>
                  </a:cubicBezTo>
                  <a:cubicBezTo>
                    <a:pt x="52342" y="6692"/>
                    <a:pt x="54914" y="16980"/>
                    <a:pt x="50414" y="25338"/>
                  </a:cubicBezTo>
                  <a:lnTo>
                    <a:pt x="31768" y="58129"/>
                  </a:lnTo>
                  <a:cubicBezTo>
                    <a:pt x="28553" y="63916"/>
                    <a:pt x="22766" y="67130"/>
                    <a:pt x="16979" y="67130"/>
                  </a:cubicBezTo>
                  <a:lnTo>
                    <a:pt x="16979" y="67130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93" name="Forma Livre: Forma 92">
              <a:extLst>
                <a:ext uri="{FF2B5EF4-FFF2-40B4-BE49-F238E27FC236}">
                  <a16:creationId xmlns:a16="http://schemas.microsoft.com/office/drawing/2014/main" id="{784C97EC-09CE-492C-8741-CEF2E1279052}"/>
                </a:ext>
              </a:extLst>
            </p:cNvPr>
            <p:cNvSpPr/>
            <p:nvPr/>
          </p:nvSpPr>
          <p:spPr>
            <a:xfrm>
              <a:off x="8741523" y="5001014"/>
              <a:ext cx="52604" cy="67130"/>
            </a:xfrm>
            <a:custGeom>
              <a:avLst/>
              <a:gdLst>
                <a:gd name="connsiteX0" fmla="*/ 16979 w 52604"/>
                <a:gd name="connsiteY0" fmla="*/ 67130 h 67130"/>
                <a:gd name="connsiteX1" fmla="*/ 8621 w 52604"/>
                <a:gd name="connsiteY1" fmla="*/ 64558 h 67130"/>
                <a:gd name="connsiteX2" fmla="*/ 2192 w 52604"/>
                <a:gd name="connsiteY2" fmla="*/ 41412 h 67130"/>
                <a:gd name="connsiteX3" fmla="*/ 20837 w 52604"/>
                <a:gd name="connsiteY3" fmla="*/ 8621 h 67130"/>
                <a:gd name="connsiteX4" fmla="*/ 43984 w 52604"/>
                <a:gd name="connsiteY4" fmla="*/ 2192 h 67130"/>
                <a:gd name="connsiteX5" fmla="*/ 50414 w 52604"/>
                <a:gd name="connsiteY5" fmla="*/ 25338 h 67130"/>
                <a:gd name="connsiteX6" fmla="*/ 31768 w 52604"/>
                <a:gd name="connsiteY6" fmla="*/ 58129 h 67130"/>
                <a:gd name="connsiteX7" fmla="*/ 16979 w 52604"/>
                <a:gd name="connsiteY7" fmla="*/ 67130 h 67130"/>
                <a:gd name="connsiteX8" fmla="*/ 16979 w 52604"/>
                <a:gd name="connsiteY8" fmla="*/ 67130 h 67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604" h="67130">
                  <a:moveTo>
                    <a:pt x="16979" y="67130"/>
                  </a:moveTo>
                  <a:cubicBezTo>
                    <a:pt x="14407" y="67130"/>
                    <a:pt x="11193" y="66488"/>
                    <a:pt x="8621" y="64558"/>
                  </a:cubicBezTo>
                  <a:cubicBezTo>
                    <a:pt x="262" y="60058"/>
                    <a:pt x="-2310" y="49770"/>
                    <a:pt x="2192" y="41412"/>
                  </a:cubicBezTo>
                  <a:lnTo>
                    <a:pt x="20837" y="8621"/>
                  </a:lnTo>
                  <a:cubicBezTo>
                    <a:pt x="25338" y="262"/>
                    <a:pt x="35625" y="-2309"/>
                    <a:pt x="43984" y="2192"/>
                  </a:cubicBezTo>
                  <a:cubicBezTo>
                    <a:pt x="52342" y="6692"/>
                    <a:pt x="54914" y="16980"/>
                    <a:pt x="50414" y="25338"/>
                  </a:cubicBezTo>
                  <a:lnTo>
                    <a:pt x="31768" y="58129"/>
                  </a:lnTo>
                  <a:cubicBezTo>
                    <a:pt x="28553" y="63916"/>
                    <a:pt x="22766" y="67130"/>
                    <a:pt x="16979" y="67130"/>
                  </a:cubicBezTo>
                  <a:lnTo>
                    <a:pt x="16979" y="67130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94" name="Forma Livre: Forma 93">
              <a:extLst>
                <a:ext uri="{FF2B5EF4-FFF2-40B4-BE49-F238E27FC236}">
                  <a16:creationId xmlns:a16="http://schemas.microsoft.com/office/drawing/2014/main" id="{E20E5E41-84D6-4D01-9488-1A8C10FFA9D7}"/>
                </a:ext>
              </a:extLst>
            </p:cNvPr>
            <p:cNvSpPr/>
            <p:nvPr/>
          </p:nvSpPr>
          <p:spPr>
            <a:xfrm>
              <a:off x="8587855" y="5062095"/>
              <a:ext cx="53247" cy="67130"/>
            </a:xfrm>
            <a:custGeom>
              <a:avLst/>
              <a:gdLst>
                <a:gd name="connsiteX0" fmla="*/ 16979 w 53247"/>
                <a:gd name="connsiteY0" fmla="*/ 67130 h 67130"/>
                <a:gd name="connsiteX1" fmla="*/ 8621 w 53247"/>
                <a:gd name="connsiteY1" fmla="*/ 64558 h 67130"/>
                <a:gd name="connsiteX2" fmla="*/ 2192 w 53247"/>
                <a:gd name="connsiteY2" fmla="*/ 41412 h 67130"/>
                <a:gd name="connsiteX3" fmla="*/ 21481 w 53247"/>
                <a:gd name="connsiteY3" fmla="*/ 8621 h 67130"/>
                <a:gd name="connsiteX4" fmla="*/ 44627 w 53247"/>
                <a:gd name="connsiteY4" fmla="*/ 2192 h 67130"/>
                <a:gd name="connsiteX5" fmla="*/ 51057 w 53247"/>
                <a:gd name="connsiteY5" fmla="*/ 25338 h 67130"/>
                <a:gd name="connsiteX6" fmla="*/ 31768 w 53247"/>
                <a:gd name="connsiteY6" fmla="*/ 58129 h 67130"/>
                <a:gd name="connsiteX7" fmla="*/ 16979 w 53247"/>
                <a:gd name="connsiteY7" fmla="*/ 67130 h 67130"/>
                <a:gd name="connsiteX8" fmla="*/ 16979 w 53247"/>
                <a:gd name="connsiteY8" fmla="*/ 67130 h 67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247" h="67130">
                  <a:moveTo>
                    <a:pt x="16979" y="67130"/>
                  </a:moveTo>
                  <a:cubicBezTo>
                    <a:pt x="14408" y="67130"/>
                    <a:pt x="11193" y="66488"/>
                    <a:pt x="8621" y="64558"/>
                  </a:cubicBezTo>
                  <a:cubicBezTo>
                    <a:pt x="262" y="60058"/>
                    <a:pt x="-2310" y="49770"/>
                    <a:pt x="2192" y="41412"/>
                  </a:cubicBezTo>
                  <a:lnTo>
                    <a:pt x="21481" y="8621"/>
                  </a:lnTo>
                  <a:cubicBezTo>
                    <a:pt x="25981" y="262"/>
                    <a:pt x="36268" y="-2309"/>
                    <a:pt x="44627" y="2192"/>
                  </a:cubicBezTo>
                  <a:cubicBezTo>
                    <a:pt x="52986" y="6692"/>
                    <a:pt x="55557" y="16980"/>
                    <a:pt x="51057" y="25338"/>
                  </a:cubicBezTo>
                  <a:lnTo>
                    <a:pt x="31768" y="58129"/>
                  </a:lnTo>
                  <a:cubicBezTo>
                    <a:pt x="28553" y="64558"/>
                    <a:pt x="22766" y="67130"/>
                    <a:pt x="16979" y="67130"/>
                  </a:cubicBezTo>
                  <a:lnTo>
                    <a:pt x="16979" y="67130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95" name="Forma Livre: Forma 94">
              <a:extLst>
                <a:ext uri="{FF2B5EF4-FFF2-40B4-BE49-F238E27FC236}">
                  <a16:creationId xmlns:a16="http://schemas.microsoft.com/office/drawing/2014/main" id="{17DAEAD7-B8DD-4AB4-AC61-C2ACAAD90B12}"/>
                </a:ext>
              </a:extLst>
            </p:cNvPr>
            <p:cNvSpPr/>
            <p:nvPr/>
          </p:nvSpPr>
          <p:spPr>
            <a:xfrm>
              <a:off x="8677870" y="5062095"/>
              <a:ext cx="52604" cy="67130"/>
            </a:xfrm>
            <a:custGeom>
              <a:avLst/>
              <a:gdLst>
                <a:gd name="connsiteX0" fmla="*/ 16979 w 52604"/>
                <a:gd name="connsiteY0" fmla="*/ 67130 h 67130"/>
                <a:gd name="connsiteX1" fmla="*/ 8621 w 52604"/>
                <a:gd name="connsiteY1" fmla="*/ 64558 h 67130"/>
                <a:gd name="connsiteX2" fmla="*/ 2192 w 52604"/>
                <a:gd name="connsiteY2" fmla="*/ 41412 h 67130"/>
                <a:gd name="connsiteX3" fmla="*/ 20838 w 52604"/>
                <a:gd name="connsiteY3" fmla="*/ 8621 h 67130"/>
                <a:gd name="connsiteX4" fmla="*/ 43984 w 52604"/>
                <a:gd name="connsiteY4" fmla="*/ 2192 h 67130"/>
                <a:gd name="connsiteX5" fmla="*/ 50414 w 52604"/>
                <a:gd name="connsiteY5" fmla="*/ 25338 h 67130"/>
                <a:gd name="connsiteX6" fmla="*/ 31768 w 52604"/>
                <a:gd name="connsiteY6" fmla="*/ 58129 h 67130"/>
                <a:gd name="connsiteX7" fmla="*/ 16979 w 52604"/>
                <a:gd name="connsiteY7" fmla="*/ 67130 h 67130"/>
                <a:gd name="connsiteX8" fmla="*/ 16979 w 52604"/>
                <a:gd name="connsiteY8" fmla="*/ 67130 h 67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604" h="67130">
                  <a:moveTo>
                    <a:pt x="16979" y="67130"/>
                  </a:moveTo>
                  <a:cubicBezTo>
                    <a:pt x="14408" y="67130"/>
                    <a:pt x="11193" y="66488"/>
                    <a:pt x="8621" y="64558"/>
                  </a:cubicBezTo>
                  <a:cubicBezTo>
                    <a:pt x="262" y="60058"/>
                    <a:pt x="-2310" y="49770"/>
                    <a:pt x="2192" y="41412"/>
                  </a:cubicBezTo>
                  <a:lnTo>
                    <a:pt x="20838" y="8621"/>
                  </a:lnTo>
                  <a:cubicBezTo>
                    <a:pt x="25338" y="262"/>
                    <a:pt x="35625" y="-2309"/>
                    <a:pt x="43984" y="2192"/>
                  </a:cubicBezTo>
                  <a:cubicBezTo>
                    <a:pt x="52342" y="6692"/>
                    <a:pt x="54914" y="16980"/>
                    <a:pt x="50414" y="25338"/>
                  </a:cubicBezTo>
                  <a:lnTo>
                    <a:pt x="31768" y="58129"/>
                  </a:lnTo>
                  <a:cubicBezTo>
                    <a:pt x="28553" y="64558"/>
                    <a:pt x="22766" y="67130"/>
                    <a:pt x="16979" y="67130"/>
                  </a:cubicBezTo>
                  <a:lnTo>
                    <a:pt x="16979" y="67130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96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9460870" y="4640949"/>
            <a:ext cx="415274" cy="417176"/>
            <a:chOff x="9508195" y="4708086"/>
            <a:chExt cx="421139" cy="423068"/>
          </a:xfrm>
          <a:solidFill>
            <a:srgbClr val="B1B1A1"/>
          </a:solidFill>
        </p:grpSpPr>
        <p:sp>
          <p:nvSpPr>
            <p:cNvPr id="97" name="Forma Livre: Forma 96">
              <a:extLst>
                <a:ext uri="{FF2B5EF4-FFF2-40B4-BE49-F238E27FC236}">
                  <a16:creationId xmlns:a16="http://schemas.microsoft.com/office/drawing/2014/main" id="{BDDA1122-1FB2-4E9B-90F4-06A74BF6BCF1}"/>
                </a:ext>
              </a:extLst>
            </p:cNvPr>
            <p:cNvSpPr/>
            <p:nvPr/>
          </p:nvSpPr>
          <p:spPr>
            <a:xfrm>
              <a:off x="9508195" y="4708086"/>
              <a:ext cx="421139" cy="269401"/>
            </a:xfrm>
            <a:custGeom>
              <a:avLst/>
              <a:gdLst>
                <a:gd name="connsiteX0" fmla="*/ 325339 w 421139"/>
                <a:gd name="connsiteY0" fmla="*/ 269401 h 269401"/>
                <a:gd name="connsiteX1" fmla="*/ 86157 w 421139"/>
                <a:gd name="connsiteY1" fmla="*/ 269401 h 269401"/>
                <a:gd name="connsiteX2" fmla="*/ 62368 w 421139"/>
                <a:gd name="connsiteY2" fmla="*/ 265543 h 269401"/>
                <a:gd name="connsiteX3" fmla="*/ 0 w 421139"/>
                <a:gd name="connsiteY3" fmla="*/ 181315 h 269401"/>
                <a:gd name="connsiteX4" fmla="*/ 87443 w 421139"/>
                <a:gd name="connsiteY4" fmla="*/ 93229 h 269401"/>
                <a:gd name="connsiteX5" fmla="*/ 199318 w 421139"/>
                <a:gd name="connsiteY5" fmla="*/ 0 h 269401"/>
                <a:gd name="connsiteX6" fmla="*/ 304764 w 421139"/>
                <a:gd name="connsiteY6" fmla="*/ 71369 h 269401"/>
                <a:gd name="connsiteX7" fmla="*/ 321481 w 421139"/>
                <a:gd name="connsiteY7" fmla="*/ 70083 h 269401"/>
                <a:gd name="connsiteX8" fmla="*/ 421140 w 421139"/>
                <a:gd name="connsiteY8" fmla="*/ 169742 h 269401"/>
                <a:gd name="connsiteX9" fmla="*/ 351058 w 421139"/>
                <a:gd name="connsiteY9" fmla="*/ 264900 h 269401"/>
                <a:gd name="connsiteX10" fmla="*/ 325339 w 421139"/>
                <a:gd name="connsiteY10" fmla="*/ 269401 h 269401"/>
                <a:gd name="connsiteX11" fmla="*/ 325339 w 421139"/>
                <a:gd name="connsiteY11" fmla="*/ 269401 h 269401"/>
                <a:gd name="connsiteX12" fmla="*/ 88086 w 421139"/>
                <a:gd name="connsiteY12" fmla="*/ 127306 h 269401"/>
                <a:gd name="connsiteX13" fmla="*/ 34077 w 421139"/>
                <a:gd name="connsiteY13" fmla="*/ 181315 h 269401"/>
                <a:gd name="connsiteX14" fmla="*/ 72655 w 421139"/>
                <a:gd name="connsiteY14" fmla="*/ 233395 h 269401"/>
                <a:gd name="connsiteX15" fmla="*/ 86157 w 421139"/>
                <a:gd name="connsiteY15" fmla="*/ 235967 h 269401"/>
                <a:gd name="connsiteX16" fmla="*/ 325339 w 421139"/>
                <a:gd name="connsiteY16" fmla="*/ 235967 h 269401"/>
                <a:gd name="connsiteX17" fmla="*/ 340127 w 421139"/>
                <a:gd name="connsiteY17" fmla="*/ 233395 h 269401"/>
                <a:gd name="connsiteX18" fmla="*/ 387063 w 421139"/>
                <a:gd name="connsiteY18" fmla="*/ 170385 h 269401"/>
                <a:gd name="connsiteX19" fmla="*/ 320838 w 421139"/>
                <a:gd name="connsiteY19" fmla="*/ 104160 h 269401"/>
                <a:gd name="connsiteX20" fmla="*/ 298334 w 421139"/>
                <a:gd name="connsiteY20" fmla="*/ 108017 h 269401"/>
                <a:gd name="connsiteX21" fmla="*/ 280332 w 421139"/>
                <a:gd name="connsiteY21" fmla="*/ 114447 h 269401"/>
                <a:gd name="connsiteX22" fmla="*/ 275831 w 421139"/>
                <a:gd name="connsiteY22" fmla="*/ 95801 h 269401"/>
                <a:gd name="connsiteX23" fmla="*/ 198032 w 421139"/>
                <a:gd name="connsiteY23" fmla="*/ 34077 h 269401"/>
                <a:gd name="connsiteX24" fmla="*/ 118305 w 421139"/>
                <a:gd name="connsiteY24" fmla="*/ 112518 h 269401"/>
                <a:gd name="connsiteX25" fmla="*/ 117662 w 421139"/>
                <a:gd name="connsiteY25" fmla="*/ 133093 h 269401"/>
                <a:gd name="connsiteX26" fmla="*/ 97731 w 421139"/>
                <a:gd name="connsiteY26" fmla="*/ 129235 h 269401"/>
                <a:gd name="connsiteX27" fmla="*/ 88086 w 421139"/>
                <a:gd name="connsiteY27" fmla="*/ 127306 h 269401"/>
                <a:gd name="connsiteX28" fmla="*/ 88086 w 421139"/>
                <a:gd name="connsiteY28" fmla="*/ 127306 h 269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21139" h="269401">
                  <a:moveTo>
                    <a:pt x="325339" y="269401"/>
                  </a:moveTo>
                  <a:lnTo>
                    <a:pt x="86157" y="269401"/>
                  </a:lnTo>
                  <a:cubicBezTo>
                    <a:pt x="77799" y="269401"/>
                    <a:pt x="70083" y="268115"/>
                    <a:pt x="62368" y="265543"/>
                  </a:cubicBezTo>
                  <a:cubicBezTo>
                    <a:pt x="25718" y="254613"/>
                    <a:pt x="0" y="219893"/>
                    <a:pt x="0" y="181315"/>
                  </a:cubicBezTo>
                  <a:cubicBezTo>
                    <a:pt x="0" y="133093"/>
                    <a:pt x="39221" y="93872"/>
                    <a:pt x="87443" y="93229"/>
                  </a:cubicBezTo>
                  <a:cubicBezTo>
                    <a:pt x="97088" y="40506"/>
                    <a:pt x="144024" y="0"/>
                    <a:pt x="199318" y="0"/>
                  </a:cubicBezTo>
                  <a:cubicBezTo>
                    <a:pt x="246255" y="0"/>
                    <a:pt x="287404" y="28290"/>
                    <a:pt x="304764" y="71369"/>
                  </a:cubicBezTo>
                  <a:cubicBezTo>
                    <a:pt x="310551" y="70726"/>
                    <a:pt x="315695" y="70083"/>
                    <a:pt x="321481" y="70083"/>
                  </a:cubicBezTo>
                  <a:cubicBezTo>
                    <a:pt x="376776" y="70083"/>
                    <a:pt x="421140" y="115090"/>
                    <a:pt x="421140" y="169742"/>
                  </a:cubicBezTo>
                  <a:cubicBezTo>
                    <a:pt x="421140" y="213463"/>
                    <a:pt x="392850" y="252041"/>
                    <a:pt x="351058" y="264900"/>
                  </a:cubicBezTo>
                  <a:cubicBezTo>
                    <a:pt x="343984" y="267472"/>
                    <a:pt x="334984" y="269401"/>
                    <a:pt x="325339" y="269401"/>
                  </a:cubicBezTo>
                  <a:lnTo>
                    <a:pt x="325339" y="269401"/>
                  </a:lnTo>
                  <a:close/>
                  <a:moveTo>
                    <a:pt x="88086" y="127306"/>
                  </a:moveTo>
                  <a:cubicBezTo>
                    <a:pt x="58510" y="127306"/>
                    <a:pt x="34077" y="151739"/>
                    <a:pt x="34077" y="181315"/>
                  </a:cubicBezTo>
                  <a:cubicBezTo>
                    <a:pt x="34077" y="205105"/>
                    <a:pt x="50151" y="226323"/>
                    <a:pt x="72655" y="233395"/>
                  </a:cubicBezTo>
                  <a:cubicBezTo>
                    <a:pt x="77155" y="234681"/>
                    <a:pt x="81657" y="235967"/>
                    <a:pt x="86157" y="235967"/>
                  </a:cubicBezTo>
                  <a:lnTo>
                    <a:pt x="325339" y="235967"/>
                  </a:lnTo>
                  <a:cubicBezTo>
                    <a:pt x="330482" y="235967"/>
                    <a:pt x="335626" y="235324"/>
                    <a:pt x="340127" y="233395"/>
                  </a:cubicBezTo>
                  <a:cubicBezTo>
                    <a:pt x="368417" y="224394"/>
                    <a:pt x="387063" y="199318"/>
                    <a:pt x="387063" y="170385"/>
                  </a:cubicBezTo>
                  <a:cubicBezTo>
                    <a:pt x="387063" y="133736"/>
                    <a:pt x="357487" y="104160"/>
                    <a:pt x="320838" y="104160"/>
                  </a:cubicBezTo>
                  <a:cubicBezTo>
                    <a:pt x="313123" y="104160"/>
                    <a:pt x="306050" y="105446"/>
                    <a:pt x="298334" y="108017"/>
                  </a:cubicBezTo>
                  <a:lnTo>
                    <a:pt x="280332" y="114447"/>
                  </a:lnTo>
                  <a:lnTo>
                    <a:pt x="275831" y="95801"/>
                  </a:lnTo>
                  <a:cubicBezTo>
                    <a:pt x="267473" y="59795"/>
                    <a:pt x="235325" y="34077"/>
                    <a:pt x="198032" y="34077"/>
                  </a:cubicBezTo>
                  <a:cubicBezTo>
                    <a:pt x="154954" y="34077"/>
                    <a:pt x="118948" y="69440"/>
                    <a:pt x="118305" y="112518"/>
                  </a:cubicBezTo>
                  <a:lnTo>
                    <a:pt x="117662" y="133093"/>
                  </a:lnTo>
                  <a:lnTo>
                    <a:pt x="97731" y="129235"/>
                  </a:lnTo>
                  <a:cubicBezTo>
                    <a:pt x="95159" y="127306"/>
                    <a:pt x="91944" y="127306"/>
                    <a:pt x="88086" y="127306"/>
                  </a:cubicBezTo>
                  <a:lnTo>
                    <a:pt x="88086" y="127306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98" name="Forma Livre: Forma 97">
              <a:extLst>
                <a:ext uri="{FF2B5EF4-FFF2-40B4-BE49-F238E27FC236}">
                  <a16:creationId xmlns:a16="http://schemas.microsoft.com/office/drawing/2014/main" id="{AFEBEFAC-0829-40B0-A8F6-482475A0BC7B}"/>
                </a:ext>
              </a:extLst>
            </p:cNvPr>
            <p:cNvSpPr/>
            <p:nvPr/>
          </p:nvSpPr>
          <p:spPr>
            <a:xfrm>
              <a:off x="9590875" y="4999085"/>
              <a:ext cx="52604" cy="67130"/>
            </a:xfrm>
            <a:custGeom>
              <a:avLst/>
              <a:gdLst>
                <a:gd name="connsiteX0" fmla="*/ 16979 w 52604"/>
                <a:gd name="connsiteY0" fmla="*/ 67131 h 67130"/>
                <a:gd name="connsiteX1" fmla="*/ 8621 w 52604"/>
                <a:gd name="connsiteY1" fmla="*/ 64559 h 67130"/>
                <a:gd name="connsiteX2" fmla="*/ 2192 w 52604"/>
                <a:gd name="connsiteY2" fmla="*/ 41412 h 67130"/>
                <a:gd name="connsiteX3" fmla="*/ 20838 w 52604"/>
                <a:gd name="connsiteY3" fmla="*/ 8621 h 67130"/>
                <a:gd name="connsiteX4" fmla="*/ 43984 w 52604"/>
                <a:gd name="connsiteY4" fmla="*/ 2191 h 67130"/>
                <a:gd name="connsiteX5" fmla="*/ 50414 w 52604"/>
                <a:gd name="connsiteY5" fmla="*/ 25338 h 67130"/>
                <a:gd name="connsiteX6" fmla="*/ 31768 w 52604"/>
                <a:gd name="connsiteY6" fmla="*/ 58129 h 67130"/>
                <a:gd name="connsiteX7" fmla="*/ 16979 w 52604"/>
                <a:gd name="connsiteY7" fmla="*/ 67131 h 67130"/>
                <a:gd name="connsiteX8" fmla="*/ 16979 w 52604"/>
                <a:gd name="connsiteY8" fmla="*/ 67131 h 67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604" h="67130">
                  <a:moveTo>
                    <a:pt x="16979" y="67131"/>
                  </a:moveTo>
                  <a:cubicBezTo>
                    <a:pt x="14408" y="67131"/>
                    <a:pt x="11193" y="66487"/>
                    <a:pt x="8621" y="64559"/>
                  </a:cubicBezTo>
                  <a:cubicBezTo>
                    <a:pt x="262" y="60058"/>
                    <a:pt x="-2310" y="49771"/>
                    <a:pt x="2192" y="41412"/>
                  </a:cubicBezTo>
                  <a:lnTo>
                    <a:pt x="20838" y="8621"/>
                  </a:lnTo>
                  <a:cubicBezTo>
                    <a:pt x="25338" y="262"/>
                    <a:pt x="35625" y="-2309"/>
                    <a:pt x="43984" y="2191"/>
                  </a:cubicBezTo>
                  <a:cubicBezTo>
                    <a:pt x="52342" y="6692"/>
                    <a:pt x="54914" y="16980"/>
                    <a:pt x="50414" y="25338"/>
                  </a:cubicBezTo>
                  <a:lnTo>
                    <a:pt x="31768" y="58129"/>
                  </a:lnTo>
                  <a:cubicBezTo>
                    <a:pt x="28553" y="63916"/>
                    <a:pt x="22766" y="67131"/>
                    <a:pt x="16979" y="67131"/>
                  </a:cubicBezTo>
                  <a:lnTo>
                    <a:pt x="16979" y="67131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99" name="Forma Livre: Forma 98">
              <a:extLst>
                <a:ext uri="{FF2B5EF4-FFF2-40B4-BE49-F238E27FC236}">
                  <a16:creationId xmlns:a16="http://schemas.microsoft.com/office/drawing/2014/main" id="{1CDEF715-016C-43B8-9A7D-52A3D8838D1D}"/>
                </a:ext>
              </a:extLst>
            </p:cNvPr>
            <p:cNvSpPr/>
            <p:nvPr/>
          </p:nvSpPr>
          <p:spPr>
            <a:xfrm>
              <a:off x="9680968" y="4999062"/>
              <a:ext cx="81680" cy="132092"/>
            </a:xfrm>
            <a:custGeom>
              <a:avLst/>
              <a:gdLst>
                <a:gd name="connsiteX0" fmla="*/ 26546 w 81680"/>
                <a:gd name="connsiteY0" fmla="*/ 132093 h 132092"/>
                <a:gd name="connsiteX1" fmla="*/ 18188 w 81680"/>
                <a:gd name="connsiteY1" fmla="*/ 130164 h 132092"/>
                <a:gd name="connsiteX2" fmla="*/ 11758 w 81680"/>
                <a:gd name="connsiteY2" fmla="*/ 107018 h 132092"/>
                <a:gd name="connsiteX3" fmla="*/ 35547 w 81680"/>
                <a:gd name="connsiteY3" fmla="*/ 64582 h 132092"/>
                <a:gd name="connsiteX4" fmla="*/ 16901 w 81680"/>
                <a:gd name="connsiteY4" fmla="*/ 64582 h 132092"/>
                <a:gd name="connsiteX5" fmla="*/ 2114 w 81680"/>
                <a:gd name="connsiteY5" fmla="*/ 55581 h 132092"/>
                <a:gd name="connsiteX6" fmla="*/ 2756 w 81680"/>
                <a:gd name="connsiteY6" fmla="*/ 38221 h 132092"/>
                <a:gd name="connsiteX7" fmla="*/ 21402 w 81680"/>
                <a:gd name="connsiteY7" fmla="*/ 8001 h 132092"/>
                <a:gd name="connsiteX8" fmla="*/ 44549 w 81680"/>
                <a:gd name="connsiteY8" fmla="*/ 2214 h 132092"/>
                <a:gd name="connsiteX9" fmla="*/ 50336 w 81680"/>
                <a:gd name="connsiteY9" fmla="*/ 25361 h 132092"/>
                <a:gd name="connsiteX10" fmla="*/ 47764 w 81680"/>
                <a:gd name="connsiteY10" fmla="*/ 29862 h 132092"/>
                <a:gd name="connsiteX11" fmla="*/ 64481 w 81680"/>
                <a:gd name="connsiteY11" fmla="*/ 29862 h 132092"/>
                <a:gd name="connsiteX12" fmla="*/ 79269 w 81680"/>
                <a:gd name="connsiteY12" fmla="*/ 38221 h 132092"/>
                <a:gd name="connsiteX13" fmla="*/ 79269 w 81680"/>
                <a:gd name="connsiteY13" fmla="*/ 54937 h 132092"/>
                <a:gd name="connsiteX14" fmla="*/ 41334 w 81680"/>
                <a:gd name="connsiteY14" fmla="*/ 122448 h 132092"/>
                <a:gd name="connsiteX15" fmla="*/ 26546 w 81680"/>
                <a:gd name="connsiteY15" fmla="*/ 132093 h 132092"/>
                <a:gd name="connsiteX16" fmla="*/ 26546 w 81680"/>
                <a:gd name="connsiteY16" fmla="*/ 132093 h 132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1680" h="132092">
                  <a:moveTo>
                    <a:pt x="26546" y="132093"/>
                  </a:moveTo>
                  <a:cubicBezTo>
                    <a:pt x="23974" y="132093"/>
                    <a:pt x="20760" y="131450"/>
                    <a:pt x="18188" y="130164"/>
                  </a:cubicBezTo>
                  <a:cubicBezTo>
                    <a:pt x="9829" y="125663"/>
                    <a:pt x="7257" y="115376"/>
                    <a:pt x="11758" y="107018"/>
                  </a:cubicBezTo>
                  <a:lnTo>
                    <a:pt x="35547" y="64582"/>
                  </a:lnTo>
                  <a:lnTo>
                    <a:pt x="16901" y="64582"/>
                  </a:lnTo>
                  <a:cubicBezTo>
                    <a:pt x="10472" y="64582"/>
                    <a:pt x="5328" y="61367"/>
                    <a:pt x="2114" y="55581"/>
                  </a:cubicBezTo>
                  <a:cubicBezTo>
                    <a:pt x="-1101" y="50437"/>
                    <a:pt x="-458" y="43364"/>
                    <a:pt x="2756" y="38221"/>
                  </a:cubicBezTo>
                  <a:lnTo>
                    <a:pt x="21402" y="8001"/>
                  </a:lnTo>
                  <a:cubicBezTo>
                    <a:pt x="26546" y="286"/>
                    <a:pt x="36834" y="-2286"/>
                    <a:pt x="44549" y="2214"/>
                  </a:cubicBezTo>
                  <a:cubicBezTo>
                    <a:pt x="52264" y="7358"/>
                    <a:pt x="54836" y="17646"/>
                    <a:pt x="50336" y="25361"/>
                  </a:cubicBezTo>
                  <a:lnTo>
                    <a:pt x="47764" y="29862"/>
                  </a:lnTo>
                  <a:lnTo>
                    <a:pt x="64481" y="29862"/>
                  </a:lnTo>
                  <a:cubicBezTo>
                    <a:pt x="70267" y="29862"/>
                    <a:pt x="76054" y="33077"/>
                    <a:pt x="79269" y="38221"/>
                  </a:cubicBezTo>
                  <a:cubicBezTo>
                    <a:pt x="82484" y="43364"/>
                    <a:pt x="82484" y="49794"/>
                    <a:pt x="79269" y="54937"/>
                  </a:cubicBezTo>
                  <a:lnTo>
                    <a:pt x="41334" y="122448"/>
                  </a:lnTo>
                  <a:cubicBezTo>
                    <a:pt x="38119" y="128878"/>
                    <a:pt x="32333" y="132093"/>
                    <a:pt x="26546" y="132093"/>
                  </a:cubicBezTo>
                  <a:lnTo>
                    <a:pt x="26546" y="132093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00" name="Forma Livre: Forma 99">
              <a:extLst>
                <a:ext uri="{FF2B5EF4-FFF2-40B4-BE49-F238E27FC236}">
                  <a16:creationId xmlns:a16="http://schemas.microsoft.com/office/drawing/2014/main" id="{39DE5333-AA96-4836-B4E6-64090080E8F3}"/>
                </a:ext>
              </a:extLst>
            </p:cNvPr>
            <p:cNvSpPr/>
            <p:nvPr/>
          </p:nvSpPr>
          <p:spPr>
            <a:xfrm>
              <a:off x="9770904" y="4999085"/>
              <a:ext cx="52604" cy="67130"/>
            </a:xfrm>
            <a:custGeom>
              <a:avLst/>
              <a:gdLst>
                <a:gd name="connsiteX0" fmla="*/ 16979 w 52604"/>
                <a:gd name="connsiteY0" fmla="*/ 67131 h 67130"/>
                <a:gd name="connsiteX1" fmla="*/ 8621 w 52604"/>
                <a:gd name="connsiteY1" fmla="*/ 64559 h 67130"/>
                <a:gd name="connsiteX2" fmla="*/ 2192 w 52604"/>
                <a:gd name="connsiteY2" fmla="*/ 41412 h 67130"/>
                <a:gd name="connsiteX3" fmla="*/ 20838 w 52604"/>
                <a:gd name="connsiteY3" fmla="*/ 8621 h 67130"/>
                <a:gd name="connsiteX4" fmla="*/ 43984 w 52604"/>
                <a:gd name="connsiteY4" fmla="*/ 2191 h 67130"/>
                <a:gd name="connsiteX5" fmla="*/ 50414 w 52604"/>
                <a:gd name="connsiteY5" fmla="*/ 25338 h 67130"/>
                <a:gd name="connsiteX6" fmla="*/ 31768 w 52604"/>
                <a:gd name="connsiteY6" fmla="*/ 58129 h 67130"/>
                <a:gd name="connsiteX7" fmla="*/ 16979 w 52604"/>
                <a:gd name="connsiteY7" fmla="*/ 67131 h 67130"/>
                <a:gd name="connsiteX8" fmla="*/ 16979 w 52604"/>
                <a:gd name="connsiteY8" fmla="*/ 67131 h 67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604" h="67130">
                  <a:moveTo>
                    <a:pt x="16979" y="67131"/>
                  </a:moveTo>
                  <a:cubicBezTo>
                    <a:pt x="14408" y="67131"/>
                    <a:pt x="11193" y="66487"/>
                    <a:pt x="8621" y="64559"/>
                  </a:cubicBezTo>
                  <a:cubicBezTo>
                    <a:pt x="262" y="60058"/>
                    <a:pt x="-2310" y="49771"/>
                    <a:pt x="2192" y="41412"/>
                  </a:cubicBezTo>
                  <a:lnTo>
                    <a:pt x="20838" y="8621"/>
                  </a:lnTo>
                  <a:cubicBezTo>
                    <a:pt x="25338" y="262"/>
                    <a:pt x="35625" y="-2309"/>
                    <a:pt x="43984" y="2191"/>
                  </a:cubicBezTo>
                  <a:cubicBezTo>
                    <a:pt x="52342" y="6692"/>
                    <a:pt x="54914" y="16980"/>
                    <a:pt x="50414" y="25338"/>
                  </a:cubicBezTo>
                  <a:lnTo>
                    <a:pt x="31768" y="58129"/>
                  </a:lnTo>
                  <a:cubicBezTo>
                    <a:pt x="28553" y="63916"/>
                    <a:pt x="22766" y="67131"/>
                    <a:pt x="16979" y="67131"/>
                  </a:cubicBezTo>
                  <a:lnTo>
                    <a:pt x="16979" y="67131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01" name="Forma Livre: Forma 100">
              <a:extLst>
                <a:ext uri="{FF2B5EF4-FFF2-40B4-BE49-F238E27FC236}">
                  <a16:creationId xmlns:a16="http://schemas.microsoft.com/office/drawing/2014/main" id="{BD0C1C9F-EEDB-4AFA-9AD7-831DC1AB890E}"/>
                </a:ext>
              </a:extLst>
            </p:cNvPr>
            <p:cNvSpPr/>
            <p:nvPr/>
          </p:nvSpPr>
          <p:spPr>
            <a:xfrm>
              <a:off x="9617237" y="5060809"/>
              <a:ext cx="52604" cy="67130"/>
            </a:xfrm>
            <a:custGeom>
              <a:avLst/>
              <a:gdLst>
                <a:gd name="connsiteX0" fmla="*/ 16980 w 52604"/>
                <a:gd name="connsiteY0" fmla="*/ 67130 h 67130"/>
                <a:gd name="connsiteX1" fmla="*/ 8621 w 52604"/>
                <a:gd name="connsiteY1" fmla="*/ 64559 h 67130"/>
                <a:gd name="connsiteX2" fmla="*/ 2191 w 52604"/>
                <a:gd name="connsiteY2" fmla="*/ 41412 h 67130"/>
                <a:gd name="connsiteX3" fmla="*/ 20837 w 52604"/>
                <a:gd name="connsiteY3" fmla="*/ 8621 h 67130"/>
                <a:gd name="connsiteX4" fmla="*/ 43984 w 52604"/>
                <a:gd name="connsiteY4" fmla="*/ 2191 h 67130"/>
                <a:gd name="connsiteX5" fmla="*/ 50413 w 52604"/>
                <a:gd name="connsiteY5" fmla="*/ 25338 h 67130"/>
                <a:gd name="connsiteX6" fmla="*/ 31767 w 52604"/>
                <a:gd name="connsiteY6" fmla="*/ 58129 h 67130"/>
                <a:gd name="connsiteX7" fmla="*/ 16980 w 52604"/>
                <a:gd name="connsiteY7" fmla="*/ 67130 h 67130"/>
                <a:gd name="connsiteX8" fmla="*/ 16980 w 52604"/>
                <a:gd name="connsiteY8" fmla="*/ 67130 h 67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604" h="67130">
                  <a:moveTo>
                    <a:pt x="16980" y="67130"/>
                  </a:moveTo>
                  <a:cubicBezTo>
                    <a:pt x="14408" y="67130"/>
                    <a:pt x="11193" y="66488"/>
                    <a:pt x="8621" y="64559"/>
                  </a:cubicBezTo>
                  <a:cubicBezTo>
                    <a:pt x="262" y="60058"/>
                    <a:pt x="-2309" y="49770"/>
                    <a:pt x="2191" y="41412"/>
                  </a:cubicBezTo>
                  <a:lnTo>
                    <a:pt x="20837" y="8621"/>
                  </a:lnTo>
                  <a:cubicBezTo>
                    <a:pt x="25338" y="263"/>
                    <a:pt x="35625" y="-2309"/>
                    <a:pt x="43984" y="2191"/>
                  </a:cubicBezTo>
                  <a:cubicBezTo>
                    <a:pt x="52343" y="6692"/>
                    <a:pt x="54914" y="16979"/>
                    <a:pt x="50413" y="25338"/>
                  </a:cubicBezTo>
                  <a:lnTo>
                    <a:pt x="31767" y="58129"/>
                  </a:lnTo>
                  <a:cubicBezTo>
                    <a:pt x="28553" y="63916"/>
                    <a:pt x="22766" y="67130"/>
                    <a:pt x="16980" y="67130"/>
                  </a:cubicBezTo>
                  <a:lnTo>
                    <a:pt x="16980" y="67130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02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10491766" y="4640949"/>
            <a:ext cx="415274" cy="417176"/>
            <a:chOff x="10553651" y="4708086"/>
            <a:chExt cx="421139" cy="423068"/>
          </a:xfrm>
          <a:solidFill>
            <a:srgbClr val="B1B1A1"/>
          </a:solidFill>
        </p:grpSpPr>
        <p:sp>
          <p:nvSpPr>
            <p:cNvPr id="103" name="Forma Livre: Forma 102">
              <a:extLst>
                <a:ext uri="{FF2B5EF4-FFF2-40B4-BE49-F238E27FC236}">
                  <a16:creationId xmlns:a16="http://schemas.microsoft.com/office/drawing/2014/main" id="{A0CB9258-89D7-4A10-9ADC-E5ADEE98AF68}"/>
                </a:ext>
              </a:extLst>
            </p:cNvPr>
            <p:cNvSpPr/>
            <p:nvPr/>
          </p:nvSpPr>
          <p:spPr>
            <a:xfrm>
              <a:off x="10553651" y="4708086"/>
              <a:ext cx="421139" cy="269401"/>
            </a:xfrm>
            <a:custGeom>
              <a:avLst/>
              <a:gdLst>
                <a:gd name="connsiteX0" fmla="*/ 325338 w 421139"/>
                <a:gd name="connsiteY0" fmla="*/ 269401 h 269401"/>
                <a:gd name="connsiteX1" fmla="*/ 86156 w 421139"/>
                <a:gd name="connsiteY1" fmla="*/ 269401 h 269401"/>
                <a:gd name="connsiteX2" fmla="*/ 62367 w 421139"/>
                <a:gd name="connsiteY2" fmla="*/ 265543 h 269401"/>
                <a:gd name="connsiteX3" fmla="*/ 0 w 421139"/>
                <a:gd name="connsiteY3" fmla="*/ 181315 h 269401"/>
                <a:gd name="connsiteX4" fmla="*/ 87443 w 421139"/>
                <a:gd name="connsiteY4" fmla="*/ 93229 h 269401"/>
                <a:gd name="connsiteX5" fmla="*/ 199318 w 421139"/>
                <a:gd name="connsiteY5" fmla="*/ 0 h 269401"/>
                <a:gd name="connsiteX6" fmla="*/ 304763 w 421139"/>
                <a:gd name="connsiteY6" fmla="*/ 71369 h 269401"/>
                <a:gd name="connsiteX7" fmla="*/ 321481 w 421139"/>
                <a:gd name="connsiteY7" fmla="*/ 70083 h 269401"/>
                <a:gd name="connsiteX8" fmla="*/ 421140 w 421139"/>
                <a:gd name="connsiteY8" fmla="*/ 169742 h 269401"/>
                <a:gd name="connsiteX9" fmla="*/ 351057 w 421139"/>
                <a:gd name="connsiteY9" fmla="*/ 264900 h 269401"/>
                <a:gd name="connsiteX10" fmla="*/ 325338 w 421139"/>
                <a:gd name="connsiteY10" fmla="*/ 269401 h 269401"/>
                <a:gd name="connsiteX11" fmla="*/ 325338 w 421139"/>
                <a:gd name="connsiteY11" fmla="*/ 269401 h 269401"/>
                <a:gd name="connsiteX12" fmla="*/ 87443 w 421139"/>
                <a:gd name="connsiteY12" fmla="*/ 127306 h 269401"/>
                <a:gd name="connsiteX13" fmla="*/ 33434 w 421139"/>
                <a:gd name="connsiteY13" fmla="*/ 181315 h 269401"/>
                <a:gd name="connsiteX14" fmla="*/ 72011 w 421139"/>
                <a:gd name="connsiteY14" fmla="*/ 233395 h 269401"/>
                <a:gd name="connsiteX15" fmla="*/ 86156 w 421139"/>
                <a:gd name="connsiteY15" fmla="*/ 235967 h 269401"/>
                <a:gd name="connsiteX16" fmla="*/ 325338 w 421139"/>
                <a:gd name="connsiteY16" fmla="*/ 235967 h 269401"/>
                <a:gd name="connsiteX17" fmla="*/ 340126 w 421139"/>
                <a:gd name="connsiteY17" fmla="*/ 233395 h 269401"/>
                <a:gd name="connsiteX18" fmla="*/ 387062 w 421139"/>
                <a:gd name="connsiteY18" fmla="*/ 170385 h 269401"/>
                <a:gd name="connsiteX19" fmla="*/ 320837 w 421139"/>
                <a:gd name="connsiteY19" fmla="*/ 104160 h 269401"/>
                <a:gd name="connsiteX20" fmla="*/ 298333 w 421139"/>
                <a:gd name="connsiteY20" fmla="*/ 108017 h 269401"/>
                <a:gd name="connsiteX21" fmla="*/ 280331 w 421139"/>
                <a:gd name="connsiteY21" fmla="*/ 114447 h 269401"/>
                <a:gd name="connsiteX22" fmla="*/ 275830 w 421139"/>
                <a:gd name="connsiteY22" fmla="*/ 95801 h 269401"/>
                <a:gd name="connsiteX23" fmla="*/ 198032 w 421139"/>
                <a:gd name="connsiteY23" fmla="*/ 34077 h 269401"/>
                <a:gd name="connsiteX24" fmla="*/ 118304 w 421139"/>
                <a:gd name="connsiteY24" fmla="*/ 112518 h 269401"/>
                <a:gd name="connsiteX25" fmla="*/ 117661 w 421139"/>
                <a:gd name="connsiteY25" fmla="*/ 133093 h 269401"/>
                <a:gd name="connsiteX26" fmla="*/ 97730 w 421139"/>
                <a:gd name="connsiteY26" fmla="*/ 128592 h 269401"/>
                <a:gd name="connsiteX27" fmla="*/ 87443 w 421139"/>
                <a:gd name="connsiteY27" fmla="*/ 127306 h 269401"/>
                <a:gd name="connsiteX28" fmla="*/ 87443 w 421139"/>
                <a:gd name="connsiteY28" fmla="*/ 127306 h 269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21139" h="269401">
                  <a:moveTo>
                    <a:pt x="325338" y="269401"/>
                  </a:moveTo>
                  <a:lnTo>
                    <a:pt x="86156" y="269401"/>
                  </a:lnTo>
                  <a:cubicBezTo>
                    <a:pt x="77798" y="269401"/>
                    <a:pt x="70082" y="268115"/>
                    <a:pt x="62367" y="265543"/>
                  </a:cubicBezTo>
                  <a:cubicBezTo>
                    <a:pt x="25718" y="254613"/>
                    <a:pt x="0" y="219893"/>
                    <a:pt x="0" y="181315"/>
                  </a:cubicBezTo>
                  <a:cubicBezTo>
                    <a:pt x="0" y="133093"/>
                    <a:pt x="39220" y="93872"/>
                    <a:pt x="87443" y="93229"/>
                  </a:cubicBezTo>
                  <a:cubicBezTo>
                    <a:pt x="97087" y="40506"/>
                    <a:pt x="144023" y="0"/>
                    <a:pt x="199318" y="0"/>
                  </a:cubicBezTo>
                  <a:cubicBezTo>
                    <a:pt x="246254" y="0"/>
                    <a:pt x="287403" y="28290"/>
                    <a:pt x="304763" y="71369"/>
                  </a:cubicBezTo>
                  <a:cubicBezTo>
                    <a:pt x="310550" y="70726"/>
                    <a:pt x="315694" y="70083"/>
                    <a:pt x="321481" y="70083"/>
                  </a:cubicBezTo>
                  <a:cubicBezTo>
                    <a:pt x="376775" y="70083"/>
                    <a:pt x="421140" y="115090"/>
                    <a:pt x="421140" y="169742"/>
                  </a:cubicBezTo>
                  <a:cubicBezTo>
                    <a:pt x="421140" y="213463"/>
                    <a:pt x="392849" y="252041"/>
                    <a:pt x="351057" y="264900"/>
                  </a:cubicBezTo>
                  <a:cubicBezTo>
                    <a:pt x="343341" y="267472"/>
                    <a:pt x="334340" y="269401"/>
                    <a:pt x="325338" y="269401"/>
                  </a:cubicBezTo>
                  <a:lnTo>
                    <a:pt x="325338" y="269401"/>
                  </a:lnTo>
                  <a:close/>
                  <a:moveTo>
                    <a:pt x="87443" y="127306"/>
                  </a:moveTo>
                  <a:cubicBezTo>
                    <a:pt x="57867" y="127306"/>
                    <a:pt x="33434" y="151739"/>
                    <a:pt x="33434" y="181315"/>
                  </a:cubicBezTo>
                  <a:cubicBezTo>
                    <a:pt x="33434" y="205105"/>
                    <a:pt x="49508" y="226323"/>
                    <a:pt x="72011" y="233395"/>
                  </a:cubicBezTo>
                  <a:cubicBezTo>
                    <a:pt x="76512" y="234681"/>
                    <a:pt x="81013" y="235967"/>
                    <a:pt x="86156" y="235967"/>
                  </a:cubicBezTo>
                  <a:lnTo>
                    <a:pt x="325338" y="235967"/>
                  </a:lnTo>
                  <a:cubicBezTo>
                    <a:pt x="330482" y="235967"/>
                    <a:pt x="335626" y="235324"/>
                    <a:pt x="340126" y="233395"/>
                  </a:cubicBezTo>
                  <a:cubicBezTo>
                    <a:pt x="368416" y="224394"/>
                    <a:pt x="387062" y="199318"/>
                    <a:pt x="387062" y="170385"/>
                  </a:cubicBezTo>
                  <a:cubicBezTo>
                    <a:pt x="387062" y="133736"/>
                    <a:pt x="357486" y="104160"/>
                    <a:pt x="320837" y="104160"/>
                  </a:cubicBezTo>
                  <a:cubicBezTo>
                    <a:pt x="313122" y="104160"/>
                    <a:pt x="306049" y="105446"/>
                    <a:pt x="298333" y="108017"/>
                  </a:cubicBezTo>
                  <a:lnTo>
                    <a:pt x="280331" y="114447"/>
                  </a:lnTo>
                  <a:lnTo>
                    <a:pt x="275830" y="95801"/>
                  </a:lnTo>
                  <a:cubicBezTo>
                    <a:pt x="267472" y="59795"/>
                    <a:pt x="235324" y="34077"/>
                    <a:pt x="198032" y="34077"/>
                  </a:cubicBezTo>
                  <a:cubicBezTo>
                    <a:pt x="154954" y="34077"/>
                    <a:pt x="118948" y="69440"/>
                    <a:pt x="118304" y="112518"/>
                  </a:cubicBezTo>
                  <a:lnTo>
                    <a:pt x="117661" y="133093"/>
                  </a:lnTo>
                  <a:lnTo>
                    <a:pt x="97730" y="128592"/>
                  </a:lnTo>
                  <a:cubicBezTo>
                    <a:pt x="95158" y="127306"/>
                    <a:pt x="91300" y="127306"/>
                    <a:pt x="87443" y="127306"/>
                  </a:cubicBezTo>
                  <a:lnTo>
                    <a:pt x="87443" y="127306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04" name="Forma Livre: Forma 103">
              <a:extLst>
                <a:ext uri="{FF2B5EF4-FFF2-40B4-BE49-F238E27FC236}">
                  <a16:creationId xmlns:a16="http://schemas.microsoft.com/office/drawing/2014/main" id="{7C772513-D416-43E7-A7F2-144941586CF9}"/>
                </a:ext>
              </a:extLst>
            </p:cNvPr>
            <p:cNvSpPr/>
            <p:nvPr/>
          </p:nvSpPr>
          <p:spPr>
            <a:xfrm>
              <a:off x="10723208" y="4999062"/>
              <a:ext cx="81680" cy="132092"/>
            </a:xfrm>
            <a:custGeom>
              <a:avLst/>
              <a:gdLst>
                <a:gd name="connsiteX0" fmla="*/ 26546 w 81680"/>
                <a:gd name="connsiteY0" fmla="*/ 132093 h 132092"/>
                <a:gd name="connsiteX1" fmla="*/ 18188 w 81680"/>
                <a:gd name="connsiteY1" fmla="*/ 130164 h 132092"/>
                <a:gd name="connsiteX2" fmla="*/ 11758 w 81680"/>
                <a:gd name="connsiteY2" fmla="*/ 107018 h 132092"/>
                <a:gd name="connsiteX3" fmla="*/ 35547 w 81680"/>
                <a:gd name="connsiteY3" fmla="*/ 64582 h 132092"/>
                <a:gd name="connsiteX4" fmla="*/ 16902 w 81680"/>
                <a:gd name="connsiteY4" fmla="*/ 64582 h 132092"/>
                <a:gd name="connsiteX5" fmla="*/ 2114 w 81680"/>
                <a:gd name="connsiteY5" fmla="*/ 55581 h 132092"/>
                <a:gd name="connsiteX6" fmla="*/ 2756 w 81680"/>
                <a:gd name="connsiteY6" fmla="*/ 38221 h 132092"/>
                <a:gd name="connsiteX7" fmla="*/ 21402 w 81680"/>
                <a:gd name="connsiteY7" fmla="*/ 8001 h 132092"/>
                <a:gd name="connsiteX8" fmla="*/ 44549 w 81680"/>
                <a:gd name="connsiteY8" fmla="*/ 2214 h 132092"/>
                <a:gd name="connsiteX9" fmla="*/ 50336 w 81680"/>
                <a:gd name="connsiteY9" fmla="*/ 25361 h 132092"/>
                <a:gd name="connsiteX10" fmla="*/ 47764 w 81680"/>
                <a:gd name="connsiteY10" fmla="*/ 29862 h 132092"/>
                <a:gd name="connsiteX11" fmla="*/ 64481 w 81680"/>
                <a:gd name="connsiteY11" fmla="*/ 29862 h 132092"/>
                <a:gd name="connsiteX12" fmla="*/ 79269 w 81680"/>
                <a:gd name="connsiteY12" fmla="*/ 38221 h 132092"/>
                <a:gd name="connsiteX13" fmla="*/ 79269 w 81680"/>
                <a:gd name="connsiteY13" fmla="*/ 54937 h 132092"/>
                <a:gd name="connsiteX14" fmla="*/ 41334 w 81680"/>
                <a:gd name="connsiteY14" fmla="*/ 122448 h 132092"/>
                <a:gd name="connsiteX15" fmla="*/ 26546 w 81680"/>
                <a:gd name="connsiteY15" fmla="*/ 132093 h 132092"/>
                <a:gd name="connsiteX16" fmla="*/ 26546 w 81680"/>
                <a:gd name="connsiteY16" fmla="*/ 132093 h 1320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1680" h="132092">
                  <a:moveTo>
                    <a:pt x="26546" y="132093"/>
                  </a:moveTo>
                  <a:cubicBezTo>
                    <a:pt x="23974" y="132093"/>
                    <a:pt x="20760" y="131450"/>
                    <a:pt x="18188" y="130164"/>
                  </a:cubicBezTo>
                  <a:cubicBezTo>
                    <a:pt x="9829" y="125663"/>
                    <a:pt x="7258" y="115376"/>
                    <a:pt x="11758" y="107018"/>
                  </a:cubicBezTo>
                  <a:lnTo>
                    <a:pt x="35547" y="64582"/>
                  </a:lnTo>
                  <a:lnTo>
                    <a:pt x="16902" y="64582"/>
                  </a:lnTo>
                  <a:cubicBezTo>
                    <a:pt x="10472" y="64582"/>
                    <a:pt x="5328" y="61367"/>
                    <a:pt x="2114" y="55581"/>
                  </a:cubicBezTo>
                  <a:cubicBezTo>
                    <a:pt x="-1101" y="50437"/>
                    <a:pt x="-458" y="43364"/>
                    <a:pt x="2756" y="38221"/>
                  </a:cubicBezTo>
                  <a:lnTo>
                    <a:pt x="21402" y="8001"/>
                  </a:lnTo>
                  <a:cubicBezTo>
                    <a:pt x="26546" y="286"/>
                    <a:pt x="36834" y="-2286"/>
                    <a:pt x="44549" y="2214"/>
                  </a:cubicBezTo>
                  <a:cubicBezTo>
                    <a:pt x="52265" y="7358"/>
                    <a:pt x="54836" y="17646"/>
                    <a:pt x="50336" y="25361"/>
                  </a:cubicBezTo>
                  <a:lnTo>
                    <a:pt x="47764" y="29862"/>
                  </a:lnTo>
                  <a:lnTo>
                    <a:pt x="64481" y="29862"/>
                  </a:lnTo>
                  <a:cubicBezTo>
                    <a:pt x="70267" y="29862"/>
                    <a:pt x="76054" y="33077"/>
                    <a:pt x="79269" y="38221"/>
                  </a:cubicBezTo>
                  <a:cubicBezTo>
                    <a:pt x="82484" y="43364"/>
                    <a:pt x="82484" y="49794"/>
                    <a:pt x="79269" y="54937"/>
                  </a:cubicBezTo>
                  <a:lnTo>
                    <a:pt x="41334" y="122448"/>
                  </a:lnTo>
                  <a:cubicBezTo>
                    <a:pt x="38119" y="128878"/>
                    <a:pt x="32333" y="132093"/>
                    <a:pt x="26546" y="132093"/>
                  </a:cubicBezTo>
                  <a:lnTo>
                    <a:pt x="26546" y="132093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05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1256187" y="4634608"/>
            <a:ext cx="430490" cy="430490"/>
            <a:chOff x="1187632" y="4701656"/>
            <a:chExt cx="436570" cy="436570"/>
          </a:xfrm>
          <a:solidFill>
            <a:srgbClr val="B1B1A1"/>
          </a:solidFill>
        </p:grpSpPr>
        <p:sp>
          <p:nvSpPr>
            <p:cNvPr id="106" name="Forma Livre: Forma 105">
              <a:extLst>
                <a:ext uri="{FF2B5EF4-FFF2-40B4-BE49-F238E27FC236}">
                  <a16:creationId xmlns:a16="http://schemas.microsoft.com/office/drawing/2014/main" id="{1D1E4843-33D4-419F-AC1F-A24D4DBFECF8}"/>
                </a:ext>
              </a:extLst>
            </p:cNvPr>
            <p:cNvSpPr/>
            <p:nvPr/>
          </p:nvSpPr>
          <p:spPr>
            <a:xfrm>
              <a:off x="1291792" y="4805173"/>
              <a:ext cx="227614" cy="228251"/>
            </a:xfrm>
            <a:custGeom>
              <a:avLst/>
              <a:gdLst>
                <a:gd name="connsiteX0" fmla="*/ 113804 w 227614"/>
                <a:gd name="connsiteY0" fmla="*/ 228251 h 228251"/>
                <a:gd name="connsiteX1" fmla="*/ 0 w 227614"/>
                <a:gd name="connsiteY1" fmla="*/ 114447 h 228251"/>
                <a:gd name="connsiteX2" fmla="*/ 113804 w 227614"/>
                <a:gd name="connsiteY2" fmla="*/ 0 h 228251"/>
                <a:gd name="connsiteX3" fmla="*/ 227608 w 227614"/>
                <a:gd name="connsiteY3" fmla="*/ 114447 h 228251"/>
                <a:gd name="connsiteX4" fmla="*/ 113804 w 227614"/>
                <a:gd name="connsiteY4" fmla="*/ 228251 h 228251"/>
                <a:gd name="connsiteX5" fmla="*/ 113804 w 227614"/>
                <a:gd name="connsiteY5" fmla="*/ 228251 h 228251"/>
                <a:gd name="connsiteX6" fmla="*/ 113804 w 227614"/>
                <a:gd name="connsiteY6" fmla="*/ 34077 h 228251"/>
                <a:gd name="connsiteX7" fmla="*/ 33434 w 227614"/>
                <a:gd name="connsiteY7" fmla="*/ 114447 h 228251"/>
                <a:gd name="connsiteX8" fmla="*/ 113804 w 227614"/>
                <a:gd name="connsiteY8" fmla="*/ 194818 h 228251"/>
                <a:gd name="connsiteX9" fmla="*/ 194174 w 227614"/>
                <a:gd name="connsiteY9" fmla="*/ 114447 h 228251"/>
                <a:gd name="connsiteX10" fmla="*/ 113804 w 227614"/>
                <a:gd name="connsiteY10" fmla="*/ 34077 h 228251"/>
                <a:gd name="connsiteX11" fmla="*/ 113804 w 227614"/>
                <a:gd name="connsiteY11" fmla="*/ 34077 h 22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7614" h="228251">
                  <a:moveTo>
                    <a:pt x="113804" y="228251"/>
                  </a:moveTo>
                  <a:cubicBezTo>
                    <a:pt x="50794" y="228251"/>
                    <a:pt x="0" y="176814"/>
                    <a:pt x="0" y="114447"/>
                  </a:cubicBezTo>
                  <a:cubicBezTo>
                    <a:pt x="0" y="51437"/>
                    <a:pt x="51437" y="0"/>
                    <a:pt x="113804" y="0"/>
                  </a:cubicBezTo>
                  <a:cubicBezTo>
                    <a:pt x="176814" y="0"/>
                    <a:pt x="227608" y="51437"/>
                    <a:pt x="227608" y="114447"/>
                  </a:cubicBezTo>
                  <a:cubicBezTo>
                    <a:pt x="228251" y="177458"/>
                    <a:pt x="176814" y="228251"/>
                    <a:pt x="113804" y="228251"/>
                  </a:cubicBezTo>
                  <a:lnTo>
                    <a:pt x="113804" y="228251"/>
                  </a:lnTo>
                  <a:close/>
                  <a:moveTo>
                    <a:pt x="113804" y="34077"/>
                  </a:moveTo>
                  <a:cubicBezTo>
                    <a:pt x="69440" y="34077"/>
                    <a:pt x="33434" y="70083"/>
                    <a:pt x="33434" y="114447"/>
                  </a:cubicBezTo>
                  <a:cubicBezTo>
                    <a:pt x="33434" y="158812"/>
                    <a:pt x="69440" y="194818"/>
                    <a:pt x="113804" y="194818"/>
                  </a:cubicBezTo>
                  <a:cubicBezTo>
                    <a:pt x="158169" y="194818"/>
                    <a:pt x="194174" y="158812"/>
                    <a:pt x="194174" y="114447"/>
                  </a:cubicBezTo>
                  <a:cubicBezTo>
                    <a:pt x="194174" y="70083"/>
                    <a:pt x="158169" y="34077"/>
                    <a:pt x="113804" y="34077"/>
                  </a:cubicBezTo>
                  <a:lnTo>
                    <a:pt x="113804" y="34077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07" name="Forma Livre: Forma 106">
              <a:extLst>
                <a:ext uri="{FF2B5EF4-FFF2-40B4-BE49-F238E27FC236}">
                  <a16:creationId xmlns:a16="http://schemas.microsoft.com/office/drawing/2014/main" id="{A9B071D1-493A-41A5-BDD3-AFB8DBDF7E75}"/>
                </a:ext>
              </a:extLst>
            </p:cNvPr>
            <p:cNvSpPr/>
            <p:nvPr/>
          </p:nvSpPr>
          <p:spPr>
            <a:xfrm>
              <a:off x="1391451" y="4701656"/>
              <a:ext cx="33433" cy="71368"/>
            </a:xfrm>
            <a:custGeom>
              <a:avLst/>
              <a:gdLst>
                <a:gd name="connsiteX0" fmla="*/ 16717 w 33433"/>
                <a:gd name="connsiteY0" fmla="*/ 71369 h 71368"/>
                <a:gd name="connsiteX1" fmla="*/ 0 w 33433"/>
                <a:gd name="connsiteY1" fmla="*/ 54652 h 71368"/>
                <a:gd name="connsiteX2" fmla="*/ 0 w 33433"/>
                <a:gd name="connsiteY2" fmla="*/ 16717 h 71368"/>
                <a:gd name="connsiteX3" fmla="*/ 16717 w 33433"/>
                <a:gd name="connsiteY3" fmla="*/ 0 h 71368"/>
                <a:gd name="connsiteX4" fmla="*/ 33434 w 33433"/>
                <a:gd name="connsiteY4" fmla="*/ 16717 h 71368"/>
                <a:gd name="connsiteX5" fmla="*/ 33434 w 33433"/>
                <a:gd name="connsiteY5" fmla="*/ 54652 h 71368"/>
                <a:gd name="connsiteX6" fmla="*/ 16717 w 33433"/>
                <a:gd name="connsiteY6" fmla="*/ 71369 h 71368"/>
                <a:gd name="connsiteX7" fmla="*/ 16717 w 33433"/>
                <a:gd name="connsiteY7" fmla="*/ 71369 h 71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433" h="71368">
                  <a:moveTo>
                    <a:pt x="16717" y="71369"/>
                  </a:moveTo>
                  <a:cubicBezTo>
                    <a:pt x="7073" y="71369"/>
                    <a:pt x="0" y="63653"/>
                    <a:pt x="0" y="54652"/>
                  </a:cubicBezTo>
                  <a:lnTo>
                    <a:pt x="0" y="16717"/>
                  </a:lnTo>
                  <a:cubicBezTo>
                    <a:pt x="0" y="7072"/>
                    <a:pt x="7716" y="0"/>
                    <a:pt x="16717" y="0"/>
                  </a:cubicBezTo>
                  <a:cubicBezTo>
                    <a:pt x="26361" y="0"/>
                    <a:pt x="33434" y="7716"/>
                    <a:pt x="33434" y="16717"/>
                  </a:cubicBezTo>
                  <a:lnTo>
                    <a:pt x="33434" y="54652"/>
                  </a:lnTo>
                  <a:cubicBezTo>
                    <a:pt x="33434" y="63653"/>
                    <a:pt x="26361" y="71369"/>
                    <a:pt x="16717" y="71369"/>
                  </a:cubicBezTo>
                  <a:lnTo>
                    <a:pt x="16717" y="71369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08" name="Forma Livre: Forma 107">
              <a:extLst>
                <a:ext uri="{FF2B5EF4-FFF2-40B4-BE49-F238E27FC236}">
                  <a16:creationId xmlns:a16="http://schemas.microsoft.com/office/drawing/2014/main" id="{62FBB236-90F9-4544-940D-96A0BEA0633D}"/>
                </a:ext>
              </a:extLst>
            </p:cNvPr>
            <p:cNvSpPr/>
            <p:nvPr/>
          </p:nvSpPr>
          <p:spPr>
            <a:xfrm>
              <a:off x="1290244" y="4727112"/>
              <a:ext cx="52604" cy="66487"/>
            </a:xfrm>
            <a:custGeom>
              <a:avLst/>
              <a:gdLst>
                <a:gd name="connsiteX0" fmla="*/ 35625 w 52604"/>
                <a:gd name="connsiteY0" fmla="*/ 66488 h 66487"/>
                <a:gd name="connsiteX1" fmla="*/ 20837 w 52604"/>
                <a:gd name="connsiteY1" fmla="*/ 58129 h 66487"/>
                <a:gd name="connsiteX2" fmla="*/ 2191 w 52604"/>
                <a:gd name="connsiteY2" fmla="*/ 25338 h 66487"/>
                <a:gd name="connsiteX3" fmla="*/ 8621 w 52604"/>
                <a:gd name="connsiteY3" fmla="*/ 2191 h 66487"/>
                <a:gd name="connsiteX4" fmla="*/ 31768 w 52604"/>
                <a:gd name="connsiteY4" fmla="*/ 8621 h 66487"/>
                <a:gd name="connsiteX5" fmla="*/ 50414 w 52604"/>
                <a:gd name="connsiteY5" fmla="*/ 41412 h 66487"/>
                <a:gd name="connsiteX6" fmla="*/ 43984 w 52604"/>
                <a:gd name="connsiteY6" fmla="*/ 64559 h 66487"/>
                <a:gd name="connsiteX7" fmla="*/ 35625 w 52604"/>
                <a:gd name="connsiteY7" fmla="*/ 66488 h 66487"/>
                <a:gd name="connsiteX8" fmla="*/ 35625 w 52604"/>
                <a:gd name="connsiteY8" fmla="*/ 66488 h 66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604" h="66487">
                  <a:moveTo>
                    <a:pt x="35625" y="66488"/>
                  </a:moveTo>
                  <a:cubicBezTo>
                    <a:pt x="29839" y="66488"/>
                    <a:pt x="24052" y="63273"/>
                    <a:pt x="20837" y="58129"/>
                  </a:cubicBezTo>
                  <a:lnTo>
                    <a:pt x="2191" y="25338"/>
                  </a:lnTo>
                  <a:cubicBezTo>
                    <a:pt x="-2309" y="16979"/>
                    <a:pt x="263" y="6692"/>
                    <a:pt x="8621" y="2191"/>
                  </a:cubicBezTo>
                  <a:cubicBezTo>
                    <a:pt x="16980" y="-2309"/>
                    <a:pt x="27267" y="263"/>
                    <a:pt x="31768" y="8621"/>
                  </a:cubicBezTo>
                  <a:lnTo>
                    <a:pt x="50414" y="41412"/>
                  </a:lnTo>
                  <a:cubicBezTo>
                    <a:pt x="54914" y="49771"/>
                    <a:pt x="52342" y="60058"/>
                    <a:pt x="43984" y="64559"/>
                  </a:cubicBezTo>
                  <a:cubicBezTo>
                    <a:pt x="42055" y="65845"/>
                    <a:pt x="38840" y="66488"/>
                    <a:pt x="35625" y="66488"/>
                  </a:cubicBezTo>
                  <a:lnTo>
                    <a:pt x="35625" y="66488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09" name="Forma Livre: Forma 108">
              <a:extLst>
                <a:ext uri="{FF2B5EF4-FFF2-40B4-BE49-F238E27FC236}">
                  <a16:creationId xmlns:a16="http://schemas.microsoft.com/office/drawing/2014/main" id="{FD496749-40EF-410C-99BA-4D95F1848A97}"/>
                </a:ext>
              </a:extLst>
            </p:cNvPr>
            <p:cNvSpPr/>
            <p:nvPr/>
          </p:nvSpPr>
          <p:spPr>
            <a:xfrm>
              <a:off x="1215660" y="4799124"/>
              <a:ext cx="66750" cy="53628"/>
            </a:xfrm>
            <a:custGeom>
              <a:avLst/>
              <a:gdLst>
                <a:gd name="connsiteX0" fmla="*/ 49771 w 66750"/>
                <a:gd name="connsiteY0" fmla="*/ 53628 h 53628"/>
                <a:gd name="connsiteX1" fmla="*/ 41412 w 66750"/>
                <a:gd name="connsiteY1" fmla="*/ 51056 h 53628"/>
                <a:gd name="connsiteX2" fmla="*/ 8621 w 66750"/>
                <a:gd name="connsiteY2" fmla="*/ 31767 h 53628"/>
                <a:gd name="connsiteX3" fmla="*/ 2191 w 66750"/>
                <a:gd name="connsiteY3" fmla="*/ 8621 h 53628"/>
                <a:gd name="connsiteX4" fmla="*/ 25338 w 66750"/>
                <a:gd name="connsiteY4" fmla="*/ 2191 h 53628"/>
                <a:gd name="connsiteX5" fmla="*/ 58129 w 66750"/>
                <a:gd name="connsiteY5" fmla="*/ 21480 h 53628"/>
                <a:gd name="connsiteX6" fmla="*/ 64559 w 66750"/>
                <a:gd name="connsiteY6" fmla="*/ 44627 h 53628"/>
                <a:gd name="connsiteX7" fmla="*/ 49771 w 66750"/>
                <a:gd name="connsiteY7" fmla="*/ 53628 h 53628"/>
                <a:gd name="connsiteX8" fmla="*/ 49771 w 66750"/>
                <a:gd name="connsiteY8" fmla="*/ 53628 h 53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6750" h="53628">
                  <a:moveTo>
                    <a:pt x="49771" y="53628"/>
                  </a:moveTo>
                  <a:cubicBezTo>
                    <a:pt x="47199" y="53628"/>
                    <a:pt x="43984" y="52986"/>
                    <a:pt x="41412" y="51056"/>
                  </a:cubicBezTo>
                  <a:lnTo>
                    <a:pt x="8621" y="31767"/>
                  </a:lnTo>
                  <a:cubicBezTo>
                    <a:pt x="263" y="27267"/>
                    <a:pt x="-2309" y="16979"/>
                    <a:pt x="2191" y="8621"/>
                  </a:cubicBezTo>
                  <a:cubicBezTo>
                    <a:pt x="6692" y="263"/>
                    <a:pt x="16980" y="-2309"/>
                    <a:pt x="25338" y="2191"/>
                  </a:cubicBezTo>
                  <a:lnTo>
                    <a:pt x="58129" y="21480"/>
                  </a:lnTo>
                  <a:cubicBezTo>
                    <a:pt x="66488" y="25981"/>
                    <a:pt x="69059" y="36268"/>
                    <a:pt x="64559" y="44627"/>
                  </a:cubicBezTo>
                  <a:cubicBezTo>
                    <a:pt x="61344" y="50414"/>
                    <a:pt x="55557" y="53628"/>
                    <a:pt x="49771" y="53628"/>
                  </a:cubicBezTo>
                  <a:lnTo>
                    <a:pt x="49771" y="53628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10" name="Forma Livre: Forma 109">
              <a:extLst>
                <a:ext uri="{FF2B5EF4-FFF2-40B4-BE49-F238E27FC236}">
                  <a16:creationId xmlns:a16="http://schemas.microsoft.com/office/drawing/2014/main" id="{233CD587-FBD8-493E-AEF7-0BF4A23FE382}"/>
                </a:ext>
              </a:extLst>
            </p:cNvPr>
            <p:cNvSpPr/>
            <p:nvPr/>
          </p:nvSpPr>
          <p:spPr>
            <a:xfrm>
              <a:off x="1187632" y="4900974"/>
              <a:ext cx="71406" cy="33434"/>
            </a:xfrm>
            <a:custGeom>
              <a:avLst/>
              <a:gdLst>
                <a:gd name="connsiteX0" fmla="*/ 54652 w 71406"/>
                <a:gd name="connsiteY0" fmla="*/ 33434 h 33434"/>
                <a:gd name="connsiteX1" fmla="*/ 16717 w 71406"/>
                <a:gd name="connsiteY1" fmla="*/ 33434 h 33434"/>
                <a:gd name="connsiteX2" fmla="*/ 0 w 71406"/>
                <a:gd name="connsiteY2" fmla="*/ 16717 h 33434"/>
                <a:gd name="connsiteX3" fmla="*/ 16717 w 71406"/>
                <a:gd name="connsiteY3" fmla="*/ 0 h 33434"/>
                <a:gd name="connsiteX4" fmla="*/ 54652 w 71406"/>
                <a:gd name="connsiteY4" fmla="*/ 0 h 33434"/>
                <a:gd name="connsiteX5" fmla="*/ 71369 w 71406"/>
                <a:gd name="connsiteY5" fmla="*/ 16717 h 33434"/>
                <a:gd name="connsiteX6" fmla="*/ 54652 w 71406"/>
                <a:gd name="connsiteY6" fmla="*/ 33434 h 33434"/>
                <a:gd name="connsiteX7" fmla="*/ 54652 w 71406"/>
                <a:gd name="connsiteY7" fmla="*/ 33434 h 33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1406" h="33434">
                  <a:moveTo>
                    <a:pt x="54652" y="33434"/>
                  </a:moveTo>
                  <a:lnTo>
                    <a:pt x="16717" y="33434"/>
                  </a:lnTo>
                  <a:cubicBezTo>
                    <a:pt x="7073" y="33434"/>
                    <a:pt x="0" y="25718"/>
                    <a:pt x="0" y="16717"/>
                  </a:cubicBezTo>
                  <a:cubicBezTo>
                    <a:pt x="0" y="7072"/>
                    <a:pt x="7716" y="0"/>
                    <a:pt x="16717" y="0"/>
                  </a:cubicBezTo>
                  <a:lnTo>
                    <a:pt x="54652" y="0"/>
                  </a:lnTo>
                  <a:cubicBezTo>
                    <a:pt x="64296" y="0"/>
                    <a:pt x="71369" y="7716"/>
                    <a:pt x="71369" y="16717"/>
                  </a:cubicBezTo>
                  <a:cubicBezTo>
                    <a:pt x="72012" y="25718"/>
                    <a:pt x="64296" y="33434"/>
                    <a:pt x="54652" y="33434"/>
                  </a:cubicBezTo>
                  <a:lnTo>
                    <a:pt x="54652" y="33434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11" name="Forma Livre: Forma 110">
              <a:extLst>
                <a:ext uri="{FF2B5EF4-FFF2-40B4-BE49-F238E27FC236}">
                  <a16:creationId xmlns:a16="http://schemas.microsoft.com/office/drawing/2014/main" id="{6D1C3D15-7745-47E0-98F6-1CC2A29191D6}"/>
                </a:ext>
              </a:extLst>
            </p:cNvPr>
            <p:cNvSpPr/>
            <p:nvPr/>
          </p:nvSpPr>
          <p:spPr>
            <a:xfrm>
              <a:off x="1213088" y="4983011"/>
              <a:ext cx="66750" cy="52342"/>
            </a:xfrm>
            <a:custGeom>
              <a:avLst/>
              <a:gdLst>
                <a:gd name="connsiteX0" fmla="*/ 16980 w 66750"/>
                <a:gd name="connsiteY0" fmla="*/ 52343 h 52342"/>
                <a:gd name="connsiteX1" fmla="*/ 2191 w 66750"/>
                <a:gd name="connsiteY1" fmla="*/ 43984 h 52342"/>
                <a:gd name="connsiteX2" fmla="*/ 8621 w 66750"/>
                <a:gd name="connsiteY2" fmla="*/ 20837 h 52342"/>
                <a:gd name="connsiteX3" fmla="*/ 41412 w 66750"/>
                <a:gd name="connsiteY3" fmla="*/ 2191 h 52342"/>
                <a:gd name="connsiteX4" fmla="*/ 64559 w 66750"/>
                <a:gd name="connsiteY4" fmla="*/ 8621 h 52342"/>
                <a:gd name="connsiteX5" fmla="*/ 58129 w 66750"/>
                <a:gd name="connsiteY5" fmla="*/ 31768 h 52342"/>
                <a:gd name="connsiteX6" fmla="*/ 25338 w 66750"/>
                <a:gd name="connsiteY6" fmla="*/ 50413 h 52342"/>
                <a:gd name="connsiteX7" fmla="*/ 16980 w 66750"/>
                <a:gd name="connsiteY7" fmla="*/ 52343 h 52342"/>
                <a:gd name="connsiteX8" fmla="*/ 16980 w 66750"/>
                <a:gd name="connsiteY8" fmla="*/ 52343 h 52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6750" h="52342">
                  <a:moveTo>
                    <a:pt x="16980" y="52343"/>
                  </a:moveTo>
                  <a:cubicBezTo>
                    <a:pt x="11193" y="52343"/>
                    <a:pt x="5406" y="49128"/>
                    <a:pt x="2191" y="43984"/>
                  </a:cubicBezTo>
                  <a:cubicBezTo>
                    <a:pt x="-2309" y="35625"/>
                    <a:pt x="263" y="25338"/>
                    <a:pt x="8621" y="20837"/>
                  </a:cubicBezTo>
                  <a:lnTo>
                    <a:pt x="41412" y="2191"/>
                  </a:lnTo>
                  <a:cubicBezTo>
                    <a:pt x="49771" y="-2309"/>
                    <a:pt x="60058" y="262"/>
                    <a:pt x="64559" y="8621"/>
                  </a:cubicBezTo>
                  <a:cubicBezTo>
                    <a:pt x="69059" y="16980"/>
                    <a:pt x="66488" y="27267"/>
                    <a:pt x="58129" y="31768"/>
                  </a:cubicBezTo>
                  <a:lnTo>
                    <a:pt x="25338" y="50413"/>
                  </a:lnTo>
                  <a:cubicBezTo>
                    <a:pt x="22766" y="51699"/>
                    <a:pt x="20194" y="52343"/>
                    <a:pt x="16980" y="52343"/>
                  </a:cubicBezTo>
                  <a:lnTo>
                    <a:pt x="16980" y="52343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12" name="Forma Livre: Forma 111">
              <a:extLst>
                <a:ext uri="{FF2B5EF4-FFF2-40B4-BE49-F238E27FC236}">
                  <a16:creationId xmlns:a16="http://schemas.microsoft.com/office/drawing/2014/main" id="{C9F2DAE4-EB5F-4307-ACFC-3029D7D00B2C}"/>
                </a:ext>
              </a:extLst>
            </p:cNvPr>
            <p:cNvSpPr/>
            <p:nvPr/>
          </p:nvSpPr>
          <p:spPr>
            <a:xfrm>
              <a:off x="1286386" y="5042806"/>
              <a:ext cx="52604" cy="67130"/>
            </a:xfrm>
            <a:custGeom>
              <a:avLst/>
              <a:gdLst>
                <a:gd name="connsiteX0" fmla="*/ 16980 w 52604"/>
                <a:gd name="connsiteY0" fmla="*/ 67130 h 67130"/>
                <a:gd name="connsiteX1" fmla="*/ 8621 w 52604"/>
                <a:gd name="connsiteY1" fmla="*/ 64558 h 67130"/>
                <a:gd name="connsiteX2" fmla="*/ 2191 w 52604"/>
                <a:gd name="connsiteY2" fmla="*/ 41412 h 67130"/>
                <a:gd name="connsiteX3" fmla="*/ 20837 w 52604"/>
                <a:gd name="connsiteY3" fmla="*/ 8621 h 67130"/>
                <a:gd name="connsiteX4" fmla="*/ 43984 w 52604"/>
                <a:gd name="connsiteY4" fmla="*/ 2192 h 67130"/>
                <a:gd name="connsiteX5" fmla="*/ 50414 w 52604"/>
                <a:gd name="connsiteY5" fmla="*/ 25338 h 67130"/>
                <a:gd name="connsiteX6" fmla="*/ 31768 w 52604"/>
                <a:gd name="connsiteY6" fmla="*/ 58129 h 67130"/>
                <a:gd name="connsiteX7" fmla="*/ 16980 w 52604"/>
                <a:gd name="connsiteY7" fmla="*/ 67130 h 67130"/>
                <a:gd name="connsiteX8" fmla="*/ 16980 w 52604"/>
                <a:gd name="connsiteY8" fmla="*/ 67130 h 67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604" h="67130">
                  <a:moveTo>
                    <a:pt x="16980" y="67130"/>
                  </a:moveTo>
                  <a:cubicBezTo>
                    <a:pt x="14408" y="67130"/>
                    <a:pt x="11193" y="66488"/>
                    <a:pt x="8621" y="64558"/>
                  </a:cubicBezTo>
                  <a:cubicBezTo>
                    <a:pt x="263" y="60058"/>
                    <a:pt x="-2309" y="49770"/>
                    <a:pt x="2191" y="41412"/>
                  </a:cubicBezTo>
                  <a:lnTo>
                    <a:pt x="20837" y="8621"/>
                  </a:lnTo>
                  <a:cubicBezTo>
                    <a:pt x="25338" y="262"/>
                    <a:pt x="35625" y="-2309"/>
                    <a:pt x="43984" y="2192"/>
                  </a:cubicBezTo>
                  <a:cubicBezTo>
                    <a:pt x="52342" y="6692"/>
                    <a:pt x="54914" y="16980"/>
                    <a:pt x="50414" y="25338"/>
                  </a:cubicBezTo>
                  <a:lnTo>
                    <a:pt x="31768" y="58129"/>
                  </a:lnTo>
                  <a:cubicBezTo>
                    <a:pt x="28553" y="63916"/>
                    <a:pt x="22766" y="67130"/>
                    <a:pt x="16980" y="67130"/>
                  </a:cubicBezTo>
                  <a:lnTo>
                    <a:pt x="16980" y="67130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13" name="Forma Livre: Forma 112">
              <a:extLst>
                <a:ext uri="{FF2B5EF4-FFF2-40B4-BE49-F238E27FC236}">
                  <a16:creationId xmlns:a16="http://schemas.microsoft.com/office/drawing/2014/main" id="{40A869DB-EDBE-416C-A856-8A7A48AC1FE2}"/>
                </a:ext>
              </a:extLst>
            </p:cNvPr>
            <p:cNvSpPr/>
            <p:nvPr/>
          </p:nvSpPr>
          <p:spPr>
            <a:xfrm>
              <a:off x="1386950" y="5066858"/>
              <a:ext cx="33433" cy="71368"/>
            </a:xfrm>
            <a:custGeom>
              <a:avLst/>
              <a:gdLst>
                <a:gd name="connsiteX0" fmla="*/ 16717 w 33433"/>
                <a:gd name="connsiteY0" fmla="*/ 71369 h 71368"/>
                <a:gd name="connsiteX1" fmla="*/ 0 w 33433"/>
                <a:gd name="connsiteY1" fmla="*/ 54652 h 71368"/>
                <a:gd name="connsiteX2" fmla="*/ 0 w 33433"/>
                <a:gd name="connsiteY2" fmla="*/ 16717 h 71368"/>
                <a:gd name="connsiteX3" fmla="*/ 16717 w 33433"/>
                <a:gd name="connsiteY3" fmla="*/ 0 h 71368"/>
                <a:gd name="connsiteX4" fmla="*/ 33434 w 33433"/>
                <a:gd name="connsiteY4" fmla="*/ 16717 h 71368"/>
                <a:gd name="connsiteX5" fmla="*/ 33434 w 33433"/>
                <a:gd name="connsiteY5" fmla="*/ 54652 h 71368"/>
                <a:gd name="connsiteX6" fmla="*/ 16717 w 33433"/>
                <a:gd name="connsiteY6" fmla="*/ 71369 h 71368"/>
                <a:gd name="connsiteX7" fmla="*/ 16717 w 33433"/>
                <a:gd name="connsiteY7" fmla="*/ 71369 h 71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433" h="71368">
                  <a:moveTo>
                    <a:pt x="16717" y="71369"/>
                  </a:moveTo>
                  <a:cubicBezTo>
                    <a:pt x="7073" y="71369"/>
                    <a:pt x="0" y="63653"/>
                    <a:pt x="0" y="54652"/>
                  </a:cubicBezTo>
                  <a:lnTo>
                    <a:pt x="0" y="16717"/>
                  </a:lnTo>
                  <a:cubicBezTo>
                    <a:pt x="0" y="7073"/>
                    <a:pt x="7716" y="0"/>
                    <a:pt x="16717" y="0"/>
                  </a:cubicBezTo>
                  <a:cubicBezTo>
                    <a:pt x="26361" y="0"/>
                    <a:pt x="33434" y="7716"/>
                    <a:pt x="33434" y="16717"/>
                  </a:cubicBezTo>
                  <a:lnTo>
                    <a:pt x="33434" y="54652"/>
                  </a:lnTo>
                  <a:cubicBezTo>
                    <a:pt x="33434" y="63653"/>
                    <a:pt x="25718" y="71369"/>
                    <a:pt x="16717" y="71369"/>
                  </a:cubicBezTo>
                  <a:lnTo>
                    <a:pt x="16717" y="71369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14" name="Forma Livre: Forma 113">
              <a:extLst>
                <a:ext uri="{FF2B5EF4-FFF2-40B4-BE49-F238E27FC236}">
                  <a16:creationId xmlns:a16="http://schemas.microsoft.com/office/drawing/2014/main" id="{51E23694-67E3-4D1F-B250-F5F354332465}"/>
                </a:ext>
              </a:extLst>
            </p:cNvPr>
            <p:cNvSpPr/>
            <p:nvPr/>
          </p:nvSpPr>
          <p:spPr>
            <a:xfrm>
              <a:off x="1468344" y="5045378"/>
              <a:ext cx="53247" cy="66487"/>
            </a:xfrm>
            <a:custGeom>
              <a:avLst/>
              <a:gdLst>
                <a:gd name="connsiteX0" fmla="*/ 36268 w 53247"/>
                <a:gd name="connsiteY0" fmla="*/ 66488 h 66487"/>
                <a:gd name="connsiteX1" fmla="*/ 21480 w 53247"/>
                <a:gd name="connsiteY1" fmla="*/ 58129 h 66487"/>
                <a:gd name="connsiteX2" fmla="*/ 2191 w 53247"/>
                <a:gd name="connsiteY2" fmla="*/ 25338 h 66487"/>
                <a:gd name="connsiteX3" fmla="*/ 8621 w 53247"/>
                <a:gd name="connsiteY3" fmla="*/ 2191 h 66487"/>
                <a:gd name="connsiteX4" fmla="*/ 31768 w 53247"/>
                <a:gd name="connsiteY4" fmla="*/ 8621 h 66487"/>
                <a:gd name="connsiteX5" fmla="*/ 51056 w 53247"/>
                <a:gd name="connsiteY5" fmla="*/ 41412 h 66487"/>
                <a:gd name="connsiteX6" fmla="*/ 44627 w 53247"/>
                <a:gd name="connsiteY6" fmla="*/ 64559 h 66487"/>
                <a:gd name="connsiteX7" fmla="*/ 36268 w 53247"/>
                <a:gd name="connsiteY7" fmla="*/ 66488 h 66487"/>
                <a:gd name="connsiteX8" fmla="*/ 36268 w 53247"/>
                <a:gd name="connsiteY8" fmla="*/ 66488 h 66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247" h="66487">
                  <a:moveTo>
                    <a:pt x="36268" y="66488"/>
                  </a:moveTo>
                  <a:cubicBezTo>
                    <a:pt x="30482" y="66488"/>
                    <a:pt x="24695" y="63273"/>
                    <a:pt x="21480" y="58129"/>
                  </a:cubicBezTo>
                  <a:lnTo>
                    <a:pt x="2191" y="25338"/>
                  </a:lnTo>
                  <a:cubicBezTo>
                    <a:pt x="-2309" y="16979"/>
                    <a:pt x="263" y="6692"/>
                    <a:pt x="8621" y="2191"/>
                  </a:cubicBezTo>
                  <a:cubicBezTo>
                    <a:pt x="16980" y="-2309"/>
                    <a:pt x="27267" y="263"/>
                    <a:pt x="31768" y="8621"/>
                  </a:cubicBezTo>
                  <a:lnTo>
                    <a:pt x="51056" y="41412"/>
                  </a:lnTo>
                  <a:cubicBezTo>
                    <a:pt x="55557" y="49771"/>
                    <a:pt x="52985" y="60058"/>
                    <a:pt x="44627" y="64559"/>
                  </a:cubicBezTo>
                  <a:cubicBezTo>
                    <a:pt x="42055" y="65845"/>
                    <a:pt x="38840" y="66488"/>
                    <a:pt x="36268" y="66488"/>
                  </a:cubicBezTo>
                  <a:lnTo>
                    <a:pt x="36268" y="66488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15" name="Forma Livre: Forma 114">
              <a:extLst>
                <a:ext uri="{FF2B5EF4-FFF2-40B4-BE49-F238E27FC236}">
                  <a16:creationId xmlns:a16="http://schemas.microsoft.com/office/drawing/2014/main" id="{0847EB51-8678-484C-B824-31FE215051D2}"/>
                </a:ext>
              </a:extLst>
            </p:cNvPr>
            <p:cNvSpPr/>
            <p:nvPr/>
          </p:nvSpPr>
          <p:spPr>
            <a:xfrm>
              <a:off x="1529425" y="4986226"/>
              <a:ext cx="66750" cy="52985"/>
            </a:xfrm>
            <a:custGeom>
              <a:avLst/>
              <a:gdLst>
                <a:gd name="connsiteX0" fmla="*/ 49771 w 66750"/>
                <a:gd name="connsiteY0" fmla="*/ 52985 h 52985"/>
                <a:gd name="connsiteX1" fmla="*/ 41412 w 66750"/>
                <a:gd name="connsiteY1" fmla="*/ 50413 h 52985"/>
                <a:gd name="connsiteX2" fmla="*/ 8621 w 66750"/>
                <a:gd name="connsiteY2" fmla="*/ 31768 h 52985"/>
                <a:gd name="connsiteX3" fmla="*/ 2191 w 66750"/>
                <a:gd name="connsiteY3" fmla="*/ 8621 h 52985"/>
                <a:gd name="connsiteX4" fmla="*/ 25338 w 66750"/>
                <a:gd name="connsiteY4" fmla="*/ 2191 h 52985"/>
                <a:gd name="connsiteX5" fmla="*/ 58129 w 66750"/>
                <a:gd name="connsiteY5" fmla="*/ 20837 h 52985"/>
                <a:gd name="connsiteX6" fmla="*/ 64559 w 66750"/>
                <a:gd name="connsiteY6" fmla="*/ 43984 h 52985"/>
                <a:gd name="connsiteX7" fmla="*/ 49771 w 66750"/>
                <a:gd name="connsiteY7" fmla="*/ 52985 h 52985"/>
                <a:gd name="connsiteX8" fmla="*/ 49771 w 66750"/>
                <a:gd name="connsiteY8" fmla="*/ 52985 h 5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6750" h="52985">
                  <a:moveTo>
                    <a:pt x="49771" y="52985"/>
                  </a:moveTo>
                  <a:cubicBezTo>
                    <a:pt x="47199" y="52985"/>
                    <a:pt x="43984" y="52343"/>
                    <a:pt x="41412" y="50413"/>
                  </a:cubicBezTo>
                  <a:lnTo>
                    <a:pt x="8621" y="31768"/>
                  </a:lnTo>
                  <a:cubicBezTo>
                    <a:pt x="263" y="27267"/>
                    <a:pt x="-2309" y="16980"/>
                    <a:pt x="2191" y="8621"/>
                  </a:cubicBezTo>
                  <a:cubicBezTo>
                    <a:pt x="6692" y="262"/>
                    <a:pt x="16980" y="-2309"/>
                    <a:pt x="25338" y="2191"/>
                  </a:cubicBezTo>
                  <a:lnTo>
                    <a:pt x="58129" y="20837"/>
                  </a:lnTo>
                  <a:cubicBezTo>
                    <a:pt x="66488" y="25338"/>
                    <a:pt x="69059" y="35625"/>
                    <a:pt x="64559" y="43984"/>
                  </a:cubicBezTo>
                  <a:cubicBezTo>
                    <a:pt x="61344" y="49771"/>
                    <a:pt x="55557" y="52985"/>
                    <a:pt x="49771" y="52985"/>
                  </a:cubicBezTo>
                  <a:lnTo>
                    <a:pt x="49771" y="52985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16" name="Forma Livre: Forma 115">
              <a:extLst>
                <a:ext uri="{FF2B5EF4-FFF2-40B4-BE49-F238E27FC236}">
                  <a16:creationId xmlns:a16="http://schemas.microsoft.com/office/drawing/2014/main" id="{6B6C6F73-7168-46C8-90F5-D463DC35DCAC}"/>
                </a:ext>
              </a:extLst>
            </p:cNvPr>
            <p:cNvSpPr/>
            <p:nvPr/>
          </p:nvSpPr>
          <p:spPr>
            <a:xfrm>
              <a:off x="1552834" y="4905475"/>
              <a:ext cx="71368" cy="33434"/>
            </a:xfrm>
            <a:custGeom>
              <a:avLst/>
              <a:gdLst>
                <a:gd name="connsiteX0" fmla="*/ 54652 w 71368"/>
                <a:gd name="connsiteY0" fmla="*/ 33434 h 33434"/>
                <a:gd name="connsiteX1" fmla="*/ 16717 w 71368"/>
                <a:gd name="connsiteY1" fmla="*/ 33434 h 33434"/>
                <a:gd name="connsiteX2" fmla="*/ 0 w 71368"/>
                <a:gd name="connsiteY2" fmla="*/ 16717 h 33434"/>
                <a:gd name="connsiteX3" fmla="*/ 16717 w 71368"/>
                <a:gd name="connsiteY3" fmla="*/ 0 h 33434"/>
                <a:gd name="connsiteX4" fmla="*/ 54652 w 71368"/>
                <a:gd name="connsiteY4" fmla="*/ 0 h 33434"/>
                <a:gd name="connsiteX5" fmla="*/ 71369 w 71368"/>
                <a:gd name="connsiteY5" fmla="*/ 16717 h 33434"/>
                <a:gd name="connsiteX6" fmla="*/ 54652 w 71368"/>
                <a:gd name="connsiteY6" fmla="*/ 33434 h 33434"/>
                <a:gd name="connsiteX7" fmla="*/ 54652 w 71368"/>
                <a:gd name="connsiteY7" fmla="*/ 33434 h 33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1368" h="33434">
                  <a:moveTo>
                    <a:pt x="54652" y="33434"/>
                  </a:moveTo>
                  <a:lnTo>
                    <a:pt x="16717" y="33434"/>
                  </a:lnTo>
                  <a:cubicBezTo>
                    <a:pt x="7073" y="33434"/>
                    <a:pt x="0" y="25718"/>
                    <a:pt x="0" y="16717"/>
                  </a:cubicBezTo>
                  <a:cubicBezTo>
                    <a:pt x="0" y="7716"/>
                    <a:pt x="7716" y="0"/>
                    <a:pt x="16717" y="0"/>
                  </a:cubicBezTo>
                  <a:lnTo>
                    <a:pt x="54652" y="0"/>
                  </a:lnTo>
                  <a:cubicBezTo>
                    <a:pt x="64296" y="0"/>
                    <a:pt x="71369" y="7716"/>
                    <a:pt x="71369" y="16717"/>
                  </a:cubicBezTo>
                  <a:cubicBezTo>
                    <a:pt x="71369" y="25718"/>
                    <a:pt x="63653" y="33434"/>
                    <a:pt x="54652" y="33434"/>
                  </a:cubicBezTo>
                  <a:lnTo>
                    <a:pt x="54652" y="33434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17" name="Forma Livre: Forma 116">
              <a:extLst>
                <a:ext uri="{FF2B5EF4-FFF2-40B4-BE49-F238E27FC236}">
                  <a16:creationId xmlns:a16="http://schemas.microsoft.com/office/drawing/2014/main" id="{A753C3A2-24CA-45ED-8016-D526456150B0}"/>
                </a:ext>
              </a:extLst>
            </p:cNvPr>
            <p:cNvSpPr/>
            <p:nvPr/>
          </p:nvSpPr>
          <p:spPr>
            <a:xfrm>
              <a:off x="1531354" y="4804268"/>
              <a:ext cx="66750" cy="52342"/>
            </a:xfrm>
            <a:custGeom>
              <a:avLst/>
              <a:gdLst>
                <a:gd name="connsiteX0" fmla="*/ 16980 w 66750"/>
                <a:gd name="connsiteY0" fmla="*/ 52342 h 52342"/>
                <a:gd name="connsiteX1" fmla="*/ 2191 w 66750"/>
                <a:gd name="connsiteY1" fmla="*/ 43984 h 52342"/>
                <a:gd name="connsiteX2" fmla="*/ 8621 w 66750"/>
                <a:gd name="connsiteY2" fmla="*/ 20837 h 52342"/>
                <a:gd name="connsiteX3" fmla="*/ 41412 w 66750"/>
                <a:gd name="connsiteY3" fmla="*/ 2191 h 52342"/>
                <a:gd name="connsiteX4" fmla="*/ 64559 w 66750"/>
                <a:gd name="connsiteY4" fmla="*/ 8621 h 52342"/>
                <a:gd name="connsiteX5" fmla="*/ 58129 w 66750"/>
                <a:gd name="connsiteY5" fmla="*/ 31768 h 52342"/>
                <a:gd name="connsiteX6" fmla="*/ 25338 w 66750"/>
                <a:gd name="connsiteY6" fmla="*/ 50414 h 52342"/>
                <a:gd name="connsiteX7" fmla="*/ 16980 w 66750"/>
                <a:gd name="connsiteY7" fmla="*/ 52342 h 52342"/>
                <a:gd name="connsiteX8" fmla="*/ 16980 w 66750"/>
                <a:gd name="connsiteY8" fmla="*/ 52342 h 52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6750" h="52342">
                  <a:moveTo>
                    <a:pt x="16980" y="52342"/>
                  </a:moveTo>
                  <a:cubicBezTo>
                    <a:pt x="11193" y="52342"/>
                    <a:pt x="5406" y="49128"/>
                    <a:pt x="2191" y="43984"/>
                  </a:cubicBezTo>
                  <a:cubicBezTo>
                    <a:pt x="-2309" y="35626"/>
                    <a:pt x="263" y="25338"/>
                    <a:pt x="8621" y="20837"/>
                  </a:cubicBezTo>
                  <a:lnTo>
                    <a:pt x="41412" y="2191"/>
                  </a:lnTo>
                  <a:cubicBezTo>
                    <a:pt x="49771" y="-2309"/>
                    <a:pt x="60058" y="263"/>
                    <a:pt x="64559" y="8621"/>
                  </a:cubicBezTo>
                  <a:cubicBezTo>
                    <a:pt x="69059" y="16979"/>
                    <a:pt x="66488" y="27267"/>
                    <a:pt x="58129" y="31768"/>
                  </a:cubicBezTo>
                  <a:lnTo>
                    <a:pt x="25338" y="50414"/>
                  </a:lnTo>
                  <a:cubicBezTo>
                    <a:pt x="22766" y="51700"/>
                    <a:pt x="20194" y="52342"/>
                    <a:pt x="16980" y="52342"/>
                  </a:cubicBezTo>
                  <a:lnTo>
                    <a:pt x="16980" y="52342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18" name="Forma Livre: Forma 117">
              <a:extLst>
                <a:ext uri="{FF2B5EF4-FFF2-40B4-BE49-F238E27FC236}">
                  <a16:creationId xmlns:a16="http://schemas.microsoft.com/office/drawing/2014/main" id="{14166D67-35B0-4A0F-BC9D-304701B7734A}"/>
                </a:ext>
              </a:extLst>
            </p:cNvPr>
            <p:cNvSpPr/>
            <p:nvPr/>
          </p:nvSpPr>
          <p:spPr>
            <a:xfrm>
              <a:off x="1472845" y="4729041"/>
              <a:ext cx="53247" cy="67130"/>
            </a:xfrm>
            <a:custGeom>
              <a:avLst/>
              <a:gdLst>
                <a:gd name="connsiteX0" fmla="*/ 16980 w 53247"/>
                <a:gd name="connsiteY0" fmla="*/ 67131 h 67130"/>
                <a:gd name="connsiteX1" fmla="*/ 8621 w 53247"/>
                <a:gd name="connsiteY1" fmla="*/ 64559 h 67130"/>
                <a:gd name="connsiteX2" fmla="*/ 2191 w 53247"/>
                <a:gd name="connsiteY2" fmla="*/ 41412 h 67130"/>
                <a:gd name="connsiteX3" fmla="*/ 21480 w 53247"/>
                <a:gd name="connsiteY3" fmla="*/ 8621 h 67130"/>
                <a:gd name="connsiteX4" fmla="*/ 44627 w 53247"/>
                <a:gd name="connsiteY4" fmla="*/ 2191 h 67130"/>
                <a:gd name="connsiteX5" fmla="*/ 51056 w 53247"/>
                <a:gd name="connsiteY5" fmla="*/ 25338 h 67130"/>
                <a:gd name="connsiteX6" fmla="*/ 31768 w 53247"/>
                <a:gd name="connsiteY6" fmla="*/ 58129 h 67130"/>
                <a:gd name="connsiteX7" fmla="*/ 16980 w 53247"/>
                <a:gd name="connsiteY7" fmla="*/ 67131 h 67130"/>
                <a:gd name="connsiteX8" fmla="*/ 16980 w 53247"/>
                <a:gd name="connsiteY8" fmla="*/ 67131 h 67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247" h="67130">
                  <a:moveTo>
                    <a:pt x="16980" y="67131"/>
                  </a:moveTo>
                  <a:cubicBezTo>
                    <a:pt x="14408" y="67131"/>
                    <a:pt x="11193" y="66487"/>
                    <a:pt x="8621" y="64559"/>
                  </a:cubicBezTo>
                  <a:cubicBezTo>
                    <a:pt x="263" y="60058"/>
                    <a:pt x="-2309" y="49771"/>
                    <a:pt x="2191" y="41412"/>
                  </a:cubicBezTo>
                  <a:lnTo>
                    <a:pt x="21480" y="8621"/>
                  </a:lnTo>
                  <a:cubicBezTo>
                    <a:pt x="25981" y="262"/>
                    <a:pt x="36268" y="-2309"/>
                    <a:pt x="44627" y="2191"/>
                  </a:cubicBezTo>
                  <a:cubicBezTo>
                    <a:pt x="52985" y="6692"/>
                    <a:pt x="55557" y="16980"/>
                    <a:pt x="51056" y="25338"/>
                  </a:cubicBezTo>
                  <a:lnTo>
                    <a:pt x="31768" y="58129"/>
                  </a:lnTo>
                  <a:cubicBezTo>
                    <a:pt x="28553" y="63916"/>
                    <a:pt x="22766" y="67131"/>
                    <a:pt x="16980" y="67131"/>
                  </a:cubicBezTo>
                  <a:lnTo>
                    <a:pt x="16980" y="67131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19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5332217" y="4669951"/>
            <a:ext cx="483274" cy="359009"/>
            <a:chOff x="5321231" y="4737498"/>
            <a:chExt cx="490100" cy="364080"/>
          </a:xfrm>
          <a:solidFill>
            <a:srgbClr val="B1B1A1"/>
          </a:solidFill>
        </p:grpSpPr>
        <p:sp>
          <p:nvSpPr>
            <p:cNvPr id="120" name="Forma Livre: Forma 119">
              <a:extLst>
                <a:ext uri="{FF2B5EF4-FFF2-40B4-BE49-F238E27FC236}">
                  <a16:creationId xmlns:a16="http://schemas.microsoft.com/office/drawing/2014/main" id="{CE8D1413-AEBF-4501-9838-D54FB3C771CC}"/>
                </a:ext>
              </a:extLst>
            </p:cNvPr>
            <p:cNvSpPr/>
            <p:nvPr/>
          </p:nvSpPr>
          <p:spPr>
            <a:xfrm>
              <a:off x="5321231" y="4857896"/>
              <a:ext cx="378061" cy="243682"/>
            </a:xfrm>
            <a:custGeom>
              <a:avLst/>
              <a:gdLst>
                <a:gd name="connsiteX0" fmla="*/ 291261 w 378061"/>
                <a:gd name="connsiteY0" fmla="*/ 243683 h 243682"/>
                <a:gd name="connsiteX1" fmla="*/ 78441 w 378061"/>
                <a:gd name="connsiteY1" fmla="*/ 243683 h 243682"/>
                <a:gd name="connsiteX2" fmla="*/ 56581 w 378061"/>
                <a:gd name="connsiteY2" fmla="*/ 239825 h 243682"/>
                <a:gd name="connsiteX3" fmla="*/ 0 w 378061"/>
                <a:gd name="connsiteY3" fmla="*/ 163312 h 243682"/>
                <a:gd name="connsiteX4" fmla="*/ 77798 w 378061"/>
                <a:gd name="connsiteY4" fmla="*/ 82942 h 243682"/>
                <a:gd name="connsiteX5" fmla="*/ 178743 w 378061"/>
                <a:gd name="connsiteY5" fmla="*/ 0 h 243682"/>
                <a:gd name="connsiteX6" fmla="*/ 273901 w 378061"/>
                <a:gd name="connsiteY6" fmla="*/ 63010 h 243682"/>
                <a:gd name="connsiteX7" fmla="*/ 287404 w 378061"/>
                <a:gd name="connsiteY7" fmla="*/ 61725 h 243682"/>
                <a:gd name="connsiteX8" fmla="*/ 378061 w 378061"/>
                <a:gd name="connsiteY8" fmla="*/ 152382 h 243682"/>
                <a:gd name="connsiteX9" fmla="*/ 314408 w 378061"/>
                <a:gd name="connsiteY9" fmla="*/ 239182 h 243682"/>
                <a:gd name="connsiteX10" fmla="*/ 291261 w 378061"/>
                <a:gd name="connsiteY10" fmla="*/ 243683 h 243682"/>
                <a:gd name="connsiteX11" fmla="*/ 291261 w 378061"/>
                <a:gd name="connsiteY11" fmla="*/ 243683 h 243682"/>
                <a:gd name="connsiteX12" fmla="*/ 80370 w 378061"/>
                <a:gd name="connsiteY12" fmla="*/ 117662 h 243682"/>
                <a:gd name="connsiteX13" fmla="*/ 34077 w 378061"/>
                <a:gd name="connsiteY13" fmla="*/ 163955 h 243682"/>
                <a:gd name="connsiteX14" fmla="*/ 66868 w 378061"/>
                <a:gd name="connsiteY14" fmla="*/ 208320 h 243682"/>
                <a:gd name="connsiteX15" fmla="*/ 78441 w 378061"/>
                <a:gd name="connsiteY15" fmla="*/ 210248 h 243682"/>
                <a:gd name="connsiteX16" fmla="*/ 291261 w 378061"/>
                <a:gd name="connsiteY16" fmla="*/ 210248 h 243682"/>
                <a:gd name="connsiteX17" fmla="*/ 303478 w 378061"/>
                <a:gd name="connsiteY17" fmla="*/ 207676 h 243682"/>
                <a:gd name="connsiteX18" fmla="*/ 343984 w 378061"/>
                <a:gd name="connsiteY18" fmla="*/ 153025 h 243682"/>
                <a:gd name="connsiteX19" fmla="*/ 287404 w 378061"/>
                <a:gd name="connsiteY19" fmla="*/ 96444 h 243682"/>
                <a:gd name="connsiteX20" fmla="*/ 268115 w 378061"/>
                <a:gd name="connsiteY20" fmla="*/ 99659 h 243682"/>
                <a:gd name="connsiteX21" fmla="*/ 250112 w 378061"/>
                <a:gd name="connsiteY21" fmla="*/ 106089 h 243682"/>
                <a:gd name="connsiteX22" fmla="*/ 245611 w 378061"/>
                <a:gd name="connsiteY22" fmla="*/ 87443 h 243682"/>
                <a:gd name="connsiteX23" fmla="*/ 178100 w 378061"/>
                <a:gd name="connsiteY23" fmla="*/ 34077 h 243682"/>
                <a:gd name="connsiteX24" fmla="*/ 109303 w 378061"/>
                <a:gd name="connsiteY24" fmla="*/ 101588 h 243682"/>
                <a:gd name="connsiteX25" fmla="*/ 108661 w 378061"/>
                <a:gd name="connsiteY25" fmla="*/ 122163 h 243682"/>
                <a:gd name="connsiteX26" fmla="*/ 88729 w 378061"/>
                <a:gd name="connsiteY26" fmla="*/ 118305 h 243682"/>
                <a:gd name="connsiteX27" fmla="*/ 80370 w 378061"/>
                <a:gd name="connsiteY27" fmla="*/ 117662 h 243682"/>
                <a:gd name="connsiteX28" fmla="*/ 80370 w 378061"/>
                <a:gd name="connsiteY28" fmla="*/ 117662 h 243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78061" h="243682">
                  <a:moveTo>
                    <a:pt x="291261" y="243683"/>
                  </a:moveTo>
                  <a:lnTo>
                    <a:pt x="78441" y="243683"/>
                  </a:lnTo>
                  <a:cubicBezTo>
                    <a:pt x="70726" y="243683"/>
                    <a:pt x="63653" y="242397"/>
                    <a:pt x="56581" y="239825"/>
                  </a:cubicBezTo>
                  <a:cubicBezTo>
                    <a:pt x="23146" y="229537"/>
                    <a:pt x="0" y="198032"/>
                    <a:pt x="0" y="163312"/>
                  </a:cubicBezTo>
                  <a:cubicBezTo>
                    <a:pt x="0" y="119591"/>
                    <a:pt x="34720" y="84228"/>
                    <a:pt x="77798" y="82942"/>
                  </a:cubicBezTo>
                  <a:cubicBezTo>
                    <a:pt x="87443" y="36006"/>
                    <a:pt x="129235" y="0"/>
                    <a:pt x="178743" y="0"/>
                  </a:cubicBezTo>
                  <a:cubicBezTo>
                    <a:pt x="221179" y="0"/>
                    <a:pt x="257827" y="25076"/>
                    <a:pt x="273901" y="63010"/>
                  </a:cubicBezTo>
                  <a:cubicBezTo>
                    <a:pt x="278402" y="62367"/>
                    <a:pt x="282903" y="61725"/>
                    <a:pt x="287404" y="61725"/>
                  </a:cubicBezTo>
                  <a:cubicBezTo>
                    <a:pt x="337555" y="61725"/>
                    <a:pt x="378061" y="102231"/>
                    <a:pt x="378061" y="152382"/>
                  </a:cubicBezTo>
                  <a:cubicBezTo>
                    <a:pt x="378061" y="192246"/>
                    <a:pt x="352343" y="226965"/>
                    <a:pt x="314408" y="239182"/>
                  </a:cubicBezTo>
                  <a:cubicBezTo>
                    <a:pt x="307979" y="242397"/>
                    <a:pt x="299620" y="243683"/>
                    <a:pt x="291261" y="243683"/>
                  </a:cubicBezTo>
                  <a:lnTo>
                    <a:pt x="291261" y="243683"/>
                  </a:lnTo>
                  <a:close/>
                  <a:moveTo>
                    <a:pt x="80370" y="117662"/>
                  </a:moveTo>
                  <a:cubicBezTo>
                    <a:pt x="54652" y="117662"/>
                    <a:pt x="34077" y="138237"/>
                    <a:pt x="34077" y="163955"/>
                  </a:cubicBezTo>
                  <a:cubicBezTo>
                    <a:pt x="34077" y="183887"/>
                    <a:pt x="47579" y="202533"/>
                    <a:pt x="66868" y="208320"/>
                  </a:cubicBezTo>
                  <a:cubicBezTo>
                    <a:pt x="70726" y="209606"/>
                    <a:pt x="74583" y="210248"/>
                    <a:pt x="78441" y="210248"/>
                  </a:cubicBezTo>
                  <a:lnTo>
                    <a:pt x="291261" y="210248"/>
                  </a:lnTo>
                  <a:cubicBezTo>
                    <a:pt x="295119" y="210248"/>
                    <a:pt x="299620" y="209606"/>
                    <a:pt x="303478" y="207676"/>
                  </a:cubicBezTo>
                  <a:cubicBezTo>
                    <a:pt x="327910" y="199961"/>
                    <a:pt x="343984" y="178100"/>
                    <a:pt x="343984" y="153025"/>
                  </a:cubicBezTo>
                  <a:cubicBezTo>
                    <a:pt x="343984" y="121520"/>
                    <a:pt x="318266" y="96444"/>
                    <a:pt x="287404" y="96444"/>
                  </a:cubicBezTo>
                  <a:cubicBezTo>
                    <a:pt x="280974" y="96444"/>
                    <a:pt x="274545" y="97730"/>
                    <a:pt x="268115" y="99659"/>
                  </a:cubicBezTo>
                  <a:lnTo>
                    <a:pt x="250112" y="106089"/>
                  </a:lnTo>
                  <a:lnTo>
                    <a:pt x="245611" y="87443"/>
                  </a:lnTo>
                  <a:cubicBezTo>
                    <a:pt x="237896" y="55938"/>
                    <a:pt x="210248" y="34077"/>
                    <a:pt x="178100" y="34077"/>
                  </a:cubicBezTo>
                  <a:cubicBezTo>
                    <a:pt x="140809" y="34077"/>
                    <a:pt x="109946" y="64296"/>
                    <a:pt x="109303" y="101588"/>
                  </a:cubicBezTo>
                  <a:lnTo>
                    <a:pt x="108661" y="122163"/>
                  </a:lnTo>
                  <a:lnTo>
                    <a:pt x="88729" y="118305"/>
                  </a:lnTo>
                  <a:cubicBezTo>
                    <a:pt x="86157" y="117662"/>
                    <a:pt x="82942" y="117662"/>
                    <a:pt x="80370" y="117662"/>
                  </a:cubicBezTo>
                  <a:lnTo>
                    <a:pt x="80370" y="117662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121" name="Gráfico 2">
              <a:extLst>
                <a:ext uri="{FF2B5EF4-FFF2-40B4-BE49-F238E27FC236}">
                  <a16:creationId xmlns:a16="http://schemas.microsoft.com/office/drawing/2014/main" id="{40F8E44F-B406-439F-8B63-82F15B4E8194}"/>
                </a:ext>
              </a:extLst>
            </p:cNvPr>
            <p:cNvGrpSpPr/>
            <p:nvPr/>
          </p:nvGrpSpPr>
          <p:grpSpPr>
            <a:xfrm>
              <a:off x="5465585" y="4737498"/>
              <a:ext cx="345746" cy="326145"/>
              <a:chOff x="5465585" y="4737498"/>
              <a:chExt cx="345746" cy="326145"/>
            </a:xfrm>
            <a:grpFill/>
          </p:grpSpPr>
          <p:sp>
            <p:nvSpPr>
              <p:cNvPr id="122" name="Forma Livre: Forma 121">
                <a:extLst>
                  <a:ext uri="{FF2B5EF4-FFF2-40B4-BE49-F238E27FC236}">
                    <a16:creationId xmlns:a16="http://schemas.microsoft.com/office/drawing/2014/main" id="{B26A3A57-781D-4852-9FBA-967D1A161630}"/>
                  </a:ext>
                </a:extLst>
              </p:cNvPr>
              <p:cNvSpPr/>
              <p:nvPr/>
            </p:nvSpPr>
            <p:spPr>
              <a:xfrm>
                <a:off x="5535668" y="4827221"/>
                <a:ext cx="187227" cy="175341"/>
              </a:xfrm>
              <a:custGeom>
                <a:avLst/>
                <a:gdLst>
                  <a:gd name="connsiteX0" fmla="*/ 149479 w 187227"/>
                  <a:gd name="connsiteY0" fmla="*/ 175342 h 175341"/>
                  <a:gd name="connsiteX1" fmla="*/ 138549 w 187227"/>
                  <a:gd name="connsiteY1" fmla="*/ 171484 h 175341"/>
                  <a:gd name="connsiteX2" fmla="*/ 136620 w 187227"/>
                  <a:gd name="connsiteY2" fmla="*/ 147694 h 175341"/>
                  <a:gd name="connsiteX3" fmla="*/ 127619 w 187227"/>
                  <a:gd name="connsiteY3" fmla="*/ 49964 h 175341"/>
                  <a:gd name="connsiteX4" fmla="*/ 76825 w 187227"/>
                  <a:gd name="connsiteY4" fmla="*/ 33890 h 175341"/>
                  <a:gd name="connsiteX5" fmla="*/ 29889 w 187227"/>
                  <a:gd name="connsiteY5" fmla="*/ 58966 h 175341"/>
                  <a:gd name="connsiteX6" fmla="*/ 6099 w 187227"/>
                  <a:gd name="connsiteY6" fmla="*/ 60894 h 175341"/>
                  <a:gd name="connsiteX7" fmla="*/ 4170 w 187227"/>
                  <a:gd name="connsiteY7" fmla="*/ 37105 h 175341"/>
                  <a:gd name="connsiteX8" fmla="*/ 74253 w 187227"/>
                  <a:gd name="connsiteY8" fmla="*/ 456 h 175341"/>
                  <a:gd name="connsiteX9" fmla="*/ 150123 w 187227"/>
                  <a:gd name="connsiteY9" fmla="*/ 24246 h 175341"/>
                  <a:gd name="connsiteX10" fmla="*/ 186771 w 187227"/>
                  <a:gd name="connsiteY10" fmla="*/ 94329 h 175341"/>
                  <a:gd name="connsiteX11" fmla="*/ 162982 w 187227"/>
                  <a:gd name="connsiteY11" fmla="*/ 170198 h 175341"/>
                  <a:gd name="connsiteX12" fmla="*/ 149479 w 187227"/>
                  <a:gd name="connsiteY12" fmla="*/ 175342 h 175341"/>
                  <a:gd name="connsiteX13" fmla="*/ 149479 w 187227"/>
                  <a:gd name="connsiteY13" fmla="*/ 175342 h 1753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87227" h="175341">
                    <a:moveTo>
                      <a:pt x="149479" y="175342"/>
                    </a:moveTo>
                    <a:cubicBezTo>
                      <a:pt x="145622" y="175342"/>
                      <a:pt x="141764" y="174055"/>
                      <a:pt x="138549" y="171484"/>
                    </a:cubicBezTo>
                    <a:cubicBezTo>
                      <a:pt x="131477" y="165697"/>
                      <a:pt x="130190" y="154767"/>
                      <a:pt x="136620" y="147694"/>
                    </a:cubicBezTo>
                    <a:cubicBezTo>
                      <a:pt x="161053" y="118118"/>
                      <a:pt x="157195" y="74396"/>
                      <a:pt x="127619" y="49964"/>
                    </a:cubicBezTo>
                    <a:cubicBezTo>
                      <a:pt x="113474" y="38391"/>
                      <a:pt x="94828" y="32604"/>
                      <a:pt x="76825" y="33890"/>
                    </a:cubicBezTo>
                    <a:cubicBezTo>
                      <a:pt x="58179" y="35819"/>
                      <a:pt x="41462" y="44178"/>
                      <a:pt x="29889" y="58966"/>
                    </a:cubicBezTo>
                    <a:cubicBezTo>
                      <a:pt x="24102" y="66038"/>
                      <a:pt x="13172" y="67324"/>
                      <a:pt x="6099" y="60894"/>
                    </a:cubicBezTo>
                    <a:cubicBezTo>
                      <a:pt x="-973" y="55108"/>
                      <a:pt x="-2259" y="44178"/>
                      <a:pt x="4170" y="37105"/>
                    </a:cubicBezTo>
                    <a:cubicBezTo>
                      <a:pt x="21530" y="15887"/>
                      <a:pt x="46606" y="3028"/>
                      <a:pt x="74253" y="456"/>
                    </a:cubicBezTo>
                    <a:cubicBezTo>
                      <a:pt x="101900" y="-2116"/>
                      <a:pt x="128905" y="6243"/>
                      <a:pt x="150123" y="24246"/>
                    </a:cubicBezTo>
                    <a:cubicBezTo>
                      <a:pt x="171340" y="41606"/>
                      <a:pt x="184199" y="66681"/>
                      <a:pt x="186771" y="94329"/>
                    </a:cubicBezTo>
                    <a:cubicBezTo>
                      <a:pt x="189343" y="121976"/>
                      <a:pt x="180985" y="148980"/>
                      <a:pt x="162982" y="170198"/>
                    </a:cubicBezTo>
                    <a:cubicBezTo>
                      <a:pt x="159124" y="173413"/>
                      <a:pt x="153980" y="175342"/>
                      <a:pt x="149479" y="175342"/>
                    </a:cubicBezTo>
                    <a:lnTo>
                      <a:pt x="149479" y="175342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23" name="Forma Livre: Forma 122">
                <a:extLst>
                  <a:ext uri="{FF2B5EF4-FFF2-40B4-BE49-F238E27FC236}">
                    <a16:creationId xmlns:a16="http://schemas.microsoft.com/office/drawing/2014/main" id="{54AFDD70-402A-417D-81E0-C53E8D4ABFBE}"/>
                  </a:ext>
                </a:extLst>
              </p:cNvPr>
              <p:cNvSpPr/>
              <p:nvPr/>
            </p:nvSpPr>
            <p:spPr>
              <a:xfrm>
                <a:off x="5695765" y="4777213"/>
                <a:ext cx="55919" cy="59464"/>
              </a:xfrm>
              <a:custGeom>
                <a:avLst/>
                <a:gdLst>
                  <a:gd name="connsiteX0" fmla="*/ 17030 w 55919"/>
                  <a:gd name="connsiteY0" fmla="*/ 59465 h 59464"/>
                  <a:gd name="connsiteX1" fmla="*/ 6099 w 55919"/>
                  <a:gd name="connsiteY1" fmla="*/ 55607 h 59464"/>
                  <a:gd name="connsiteX2" fmla="*/ 4170 w 55919"/>
                  <a:gd name="connsiteY2" fmla="*/ 31818 h 59464"/>
                  <a:gd name="connsiteX3" fmla="*/ 26031 w 55919"/>
                  <a:gd name="connsiteY3" fmla="*/ 6099 h 59464"/>
                  <a:gd name="connsiteX4" fmla="*/ 49820 w 55919"/>
                  <a:gd name="connsiteY4" fmla="*/ 4170 h 59464"/>
                  <a:gd name="connsiteX5" fmla="*/ 51749 w 55919"/>
                  <a:gd name="connsiteY5" fmla="*/ 27960 h 59464"/>
                  <a:gd name="connsiteX6" fmla="*/ 29889 w 55919"/>
                  <a:gd name="connsiteY6" fmla="*/ 53678 h 59464"/>
                  <a:gd name="connsiteX7" fmla="*/ 17030 w 55919"/>
                  <a:gd name="connsiteY7" fmla="*/ 59465 h 59464"/>
                  <a:gd name="connsiteX8" fmla="*/ 17030 w 55919"/>
                  <a:gd name="connsiteY8" fmla="*/ 59465 h 59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5919" h="59464">
                    <a:moveTo>
                      <a:pt x="17030" y="59465"/>
                    </a:moveTo>
                    <a:cubicBezTo>
                      <a:pt x="13172" y="59465"/>
                      <a:pt x="9314" y="58179"/>
                      <a:pt x="6099" y="55607"/>
                    </a:cubicBezTo>
                    <a:cubicBezTo>
                      <a:pt x="-974" y="49820"/>
                      <a:pt x="-2259" y="38890"/>
                      <a:pt x="4170" y="31818"/>
                    </a:cubicBezTo>
                    <a:lnTo>
                      <a:pt x="26031" y="6099"/>
                    </a:lnTo>
                    <a:cubicBezTo>
                      <a:pt x="31818" y="-974"/>
                      <a:pt x="42748" y="-2259"/>
                      <a:pt x="49820" y="4170"/>
                    </a:cubicBezTo>
                    <a:cubicBezTo>
                      <a:pt x="56893" y="9957"/>
                      <a:pt x="58179" y="20887"/>
                      <a:pt x="51749" y="27960"/>
                    </a:cubicBezTo>
                    <a:lnTo>
                      <a:pt x="29889" y="53678"/>
                    </a:lnTo>
                    <a:cubicBezTo>
                      <a:pt x="27317" y="57536"/>
                      <a:pt x="22173" y="59465"/>
                      <a:pt x="17030" y="59465"/>
                    </a:cubicBezTo>
                    <a:lnTo>
                      <a:pt x="17030" y="59465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24" name="Forma Livre: Forma 123">
                <a:extLst>
                  <a:ext uri="{FF2B5EF4-FFF2-40B4-BE49-F238E27FC236}">
                    <a16:creationId xmlns:a16="http://schemas.microsoft.com/office/drawing/2014/main" id="{4C5B8DDF-976E-4B50-826B-3A151E010E7F}"/>
                  </a:ext>
                </a:extLst>
              </p:cNvPr>
              <p:cNvSpPr/>
              <p:nvPr/>
            </p:nvSpPr>
            <p:spPr>
              <a:xfrm>
                <a:off x="5628403" y="4737498"/>
                <a:ext cx="39548" cy="67031"/>
              </a:xfrm>
              <a:custGeom>
                <a:avLst/>
                <a:gdLst>
                  <a:gd name="connsiteX0" fmla="*/ 16881 w 39548"/>
                  <a:gd name="connsiteY0" fmla="*/ 67032 h 67031"/>
                  <a:gd name="connsiteX1" fmla="*/ 14309 w 39548"/>
                  <a:gd name="connsiteY1" fmla="*/ 67032 h 67031"/>
                  <a:gd name="connsiteX2" fmla="*/ 164 w 39548"/>
                  <a:gd name="connsiteY2" fmla="*/ 47743 h 67031"/>
                  <a:gd name="connsiteX3" fmla="*/ 5951 w 39548"/>
                  <a:gd name="connsiteY3" fmla="*/ 14309 h 67031"/>
                  <a:gd name="connsiteX4" fmla="*/ 25240 w 39548"/>
                  <a:gd name="connsiteY4" fmla="*/ 164 h 67031"/>
                  <a:gd name="connsiteX5" fmla="*/ 39385 w 39548"/>
                  <a:gd name="connsiteY5" fmla="*/ 19453 h 67031"/>
                  <a:gd name="connsiteX6" fmla="*/ 33598 w 39548"/>
                  <a:gd name="connsiteY6" fmla="*/ 52887 h 67031"/>
                  <a:gd name="connsiteX7" fmla="*/ 16881 w 39548"/>
                  <a:gd name="connsiteY7" fmla="*/ 67032 h 67031"/>
                  <a:gd name="connsiteX8" fmla="*/ 16881 w 39548"/>
                  <a:gd name="connsiteY8" fmla="*/ 67032 h 67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9548" h="67031">
                    <a:moveTo>
                      <a:pt x="16881" y="67032"/>
                    </a:moveTo>
                    <a:cubicBezTo>
                      <a:pt x="16238" y="67032"/>
                      <a:pt x="14952" y="67032"/>
                      <a:pt x="14309" y="67032"/>
                    </a:cubicBezTo>
                    <a:cubicBezTo>
                      <a:pt x="5307" y="65746"/>
                      <a:pt x="-1122" y="56745"/>
                      <a:pt x="164" y="47743"/>
                    </a:cubicBezTo>
                    <a:lnTo>
                      <a:pt x="5951" y="14309"/>
                    </a:lnTo>
                    <a:cubicBezTo>
                      <a:pt x="7237" y="5308"/>
                      <a:pt x="16238" y="-1122"/>
                      <a:pt x="25240" y="164"/>
                    </a:cubicBezTo>
                    <a:cubicBezTo>
                      <a:pt x="34241" y="1450"/>
                      <a:pt x="40670" y="10451"/>
                      <a:pt x="39385" y="19453"/>
                    </a:cubicBezTo>
                    <a:lnTo>
                      <a:pt x="33598" y="52887"/>
                    </a:lnTo>
                    <a:cubicBezTo>
                      <a:pt x="32312" y="61245"/>
                      <a:pt x="25240" y="67032"/>
                      <a:pt x="16881" y="67032"/>
                    </a:cubicBezTo>
                    <a:lnTo>
                      <a:pt x="16881" y="67032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25" name="Forma Livre: Forma 124">
                <a:extLst>
                  <a:ext uri="{FF2B5EF4-FFF2-40B4-BE49-F238E27FC236}">
                    <a16:creationId xmlns:a16="http://schemas.microsoft.com/office/drawing/2014/main" id="{FB76588A-FF6D-4A36-BD90-28536D6F53A4}"/>
                  </a:ext>
                </a:extLst>
              </p:cNvPr>
              <p:cNvSpPr/>
              <p:nvPr/>
            </p:nvSpPr>
            <p:spPr>
              <a:xfrm>
                <a:off x="5541374" y="4744985"/>
                <a:ext cx="45792" cy="65331"/>
              </a:xfrm>
              <a:custGeom>
                <a:avLst/>
                <a:gdLst>
                  <a:gd name="connsiteX0" fmla="*/ 28683 w 45792"/>
                  <a:gd name="connsiteY0" fmla="*/ 65332 h 65331"/>
                  <a:gd name="connsiteX1" fmla="*/ 12609 w 45792"/>
                  <a:gd name="connsiteY1" fmla="*/ 54402 h 65331"/>
                  <a:gd name="connsiteX2" fmla="*/ 1036 w 45792"/>
                  <a:gd name="connsiteY2" fmla="*/ 22896 h 65331"/>
                  <a:gd name="connsiteX3" fmla="*/ 11323 w 45792"/>
                  <a:gd name="connsiteY3" fmla="*/ 1036 h 65331"/>
                  <a:gd name="connsiteX4" fmla="*/ 33184 w 45792"/>
                  <a:gd name="connsiteY4" fmla="*/ 11323 h 65331"/>
                  <a:gd name="connsiteX5" fmla="*/ 44757 w 45792"/>
                  <a:gd name="connsiteY5" fmla="*/ 42828 h 65331"/>
                  <a:gd name="connsiteX6" fmla="*/ 34469 w 45792"/>
                  <a:gd name="connsiteY6" fmla="*/ 64689 h 65331"/>
                  <a:gd name="connsiteX7" fmla="*/ 28683 w 45792"/>
                  <a:gd name="connsiteY7" fmla="*/ 65332 h 65331"/>
                  <a:gd name="connsiteX8" fmla="*/ 28683 w 45792"/>
                  <a:gd name="connsiteY8" fmla="*/ 65332 h 65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792" h="65331">
                    <a:moveTo>
                      <a:pt x="28683" y="65332"/>
                    </a:moveTo>
                    <a:cubicBezTo>
                      <a:pt x="21610" y="65332"/>
                      <a:pt x="15181" y="60831"/>
                      <a:pt x="12609" y="54402"/>
                    </a:cubicBezTo>
                    <a:lnTo>
                      <a:pt x="1036" y="22896"/>
                    </a:lnTo>
                    <a:cubicBezTo>
                      <a:pt x="-2179" y="13895"/>
                      <a:pt x="2321" y="4251"/>
                      <a:pt x="11323" y="1036"/>
                    </a:cubicBezTo>
                    <a:cubicBezTo>
                      <a:pt x="20325" y="-2179"/>
                      <a:pt x="29969" y="2321"/>
                      <a:pt x="33184" y="11323"/>
                    </a:cubicBezTo>
                    <a:lnTo>
                      <a:pt x="44757" y="42828"/>
                    </a:lnTo>
                    <a:cubicBezTo>
                      <a:pt x="47972" y="51830"/>
                      <a:pt x="43471" y="61474"/>
                      <a:pt x="34469" y="64689"/>
                    </a:cubicBezTo>
                    <a:cubicBezTo>
                      <a:pt x="32541" y="64689"/>
                      <a:pt x="30612" y="65332"/>
                      <a:pt x="28683" y="65332"/>
                    </a:cubicBezTo>
                    <a:lnTo>
                      <a:pt x="28683" y="65332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26" name="Forma Livre: Forma 125">
                <a:extLst>
                  <a:ext uri="{FF2B5EF4-FFF2-40B4-BE49-F238E27FC236}">
                    <a16:creationId xmlns:a16="http://schemas.microsoft.com/office/drawing/2014/main" id="{C558A32F-0727-407B-8F47-C3F3843E40B0}"/>
                  </a:ext>
                </a:extLst>
              </p:cNvPr>
              <p:cNvSpPr/>
              <p:nvPr/>
            </p:nvSpPr>
            <p:spPr>
              <a:xfrm>
                <a:off x="5465585" y="4797145"/>
                <a:ext cx="59777" cy="55607"/>
              </a:xfrm>
              <a:custGeom>
                <a:avLst/>
                <a:gdLst>
                  <a:gd name="connsiteX0" fmla="*/ 42748 w 59777"/>
                  <a:gd name="connsiteY0" fmla="*/ 55607 h 55607"/>
                  <a:gd name="connsiteX1" fmla="*/ 31818 w 59777"/>
                  <a:gd name="connsiteY1" fmla="*/ 51750 h 55607"/>
                  <a:gd name="connsiteX2" fmla="*/ 6099 w 59777"/>
                  <a:gd name="connsiteY2" fmla="*/ 29889 h 55607"/>
                  <a:gd name="connsiteX3" fmla="*/ 4170 w 59777"/>
                  <a:gd name="connsiteY3" fmla="*/ 6099 h 55607"/>
                  <a:gd name="connsiteX4" fmla="*/ 27960 w 59777"/>
                  <a:gd name="connsiteY4" fmla="*/ 4170 h 55607"/>
                  <a:gd name="connsiteX5" fmla="*/ 53678 w 59777"/>
                  <a:gd name="connsiteY5" fmla="*/ 26031 h 55607"/>
                  <a:gd name="connsiteX6" fmla="*/ 55607 w 59777"/>
                  <a:gd name="connsiteY6" fmla="*/ 49820 h 55607"/>
                  <a:gd name="connsiteX7" fmla="*/ 42748 w 59777"/>
                  <a:gd name="connsiteY7" fmla="*/ 55607 h 55607"/>
                  <a:gd name="connsiteX8" fmla="*/ 42748 w 59777"/>
                  <a:gd name="connsiteY8" fmla="*/ 55607 h 55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9777" h="55607">
                    <a:moveTo>
                      <a:pt x="42748" y="55607"/>
                    </a:moveTo>
                    <a:cubicBezTo>
                      <a:pt x="38890" y="55607"/>
                      <a:pt x="35033" y="54321"/>
                      <a:pt x="31818" y="51750"/>
                    </a:cubicBezTo>
                    <a:lnTo>
                      <a:pt x="6099" y="29889"/>
                    </a:lnTo>
                    <a:cubicBezTo>
                      <a:pt x="-973" y="24102"/>
                      <a:pt x="-2259" y="13172"/>
                      <a:pt x="4170" y="6099"/>
                    </a:cubicBezTo>
                    <a:cubicBezTo>
                      <a:pt x="9957" y="-973"/>
                      <a:pt x="20887" y="-2259"/>
                      <a:pt x="27960" y="4170"/>
                    </a:cubicBezTo>
                    <a:lnTo>
                      <a:pt x="53678" y="26031"/>
                    </a:lnTo>
                    <a:cubicBezTo>
                      <a:pt x="60751" y="31817"/>
                      <a:pt x="62037" y="42748"/>
                      <a:pt x="55607" y="49820"/>
                    </a:cubicBezTo>
                    <a:cubicBezTo>
                      <a:pt x="52392" y="53678"/>
                      <a:pt x="47249" y="55607"/>
                      <a:pt x="42748" y="55607"/>
                    </a:cubicBezTo>
                    <a:lnTo>
                      <a:pt x="42748" y="55607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27" name="Forma Livre: Forma 126">
                <a:extLst>
                  <a:ext uri="{FF2B5EF4-FFF2-40B4-BE49-F238E27FC236}">
                    <a16:creationId xmlns:a16="http://schemas.microsoft.com/office/drawing/2014/main" id="{ED4DC563-E9CA-42B5-91E8-C39E44021DE1}"/>
                  </a:ext>
                </a:extLst>
              </p:cNvPr>
              <p:cNvSpPr/>
              <p:nvPr/>
            </p:nvSpPr>
            <p:spPr>
              <a:xfrm>
                <a:off x="5711839" y="5008036"/>
                <a:ext cx="59777" cy="55607"/>
              </a:xfrm>
              <a:custGeom>
                <a:avLst/>
                <a:gdLst>
                  <a:gd name="connsiteX0" fmla="*/ 42748 w 59777"/>
                  <a:gd name="connsiteY0" fmla="*/ 55607 h 55607"/>
                  <a:gd name="connsiteX1" fmla="*/ 31818 w 59777"/>
                  <a:gd name="connsiteY1" fmla="*/ 51750 h 55607"/>
                  <a:gd name="connsiteX2" fmla="*/ 6099 w 59777"/>
                  <a:gd name="connsiteY2" fmla="*/ 29889 h 55607"/>
                  <a:gd name="connsiteX3" fmla="*/ 4170 w 59777"/>
                  <a:gd name="connsiteY3" fmla="*/ 6099 h 55607"/>
                  <a:gd name="connsiteX4" fmla="*/ 27960 w 59777"/>
                  <a:gd name="connsiteY4" fmla="*/ 4170 h 55607"/>
                  <a:gd name="connsiteX5" fmla="*/ 53678 w 59777"/>
                  <a:gd name="connsiteY5" fmla="*/ 26031 h 55607"/>
                  <a:gd name="connsiteX6" fmla="*/ 55607 w 59777"/>
                  <a:gd name="connsiteY6" fmla="*/ 49821 h 55607"/>
                  <a:gd name="connsiteX7" fmla="*/ 42748 w 59777"/>
                  <a:gd name="connsiteY7" fmla="*/ 55607 h 55607"/>
                  <a:gd name="connsiteX8" fmla="*/ 42748 w 59777"/>
                  <a:gd name="connsiteY8" fmla="*/ 55607 h 55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9777" h="55607">
                    <a:moveTo>
                      <a:pt x="42748" y="55607"/>
                    </a:moveTo>
                    <a:cubicBezTo>
                      <a:pt x="38890" y="55607"/>
                      <a:pt x="35032" y="54321"/>
                      <a:pt x="31818" y="51750"/>
                    </a:cubicBezTo>
                    <a:lnTo>
                      <a:pt x="6099" y="29889"/>
                    </a:lnTo>
                    <a:cubicBezTo>
                      <a:pt x="-974" y="24102"/>
                      <a:pt x="-2259" y="13172"/>
                      <a:pt x="4170" y="6099"/>
                    </a:cubicBezTo>
                    <a:cubicBezTo>
                      <a:pt x="9957" y="-973"/>
                      <a:pt x="20887" y="-2259"/>
                      <a:pt x="27960" y="4170"/>
                    </a:cubicBezTo>
                    <a:lnTo>
                      <a:pt x="53678" y="26031"/>
                    </a:lnTo>
                    <a:cubicBezTo>
                      <a:pt x="60751" y="31817"/>
                      <a:pt x="62037" y="42748"/>
                      <a:pt x="55607" y="49821"/>
                    </a:cubicBezTo>
                    <a:cubicBezTo>
                      <a:pt x="52392" y="53678"/>
                      <a:pt x="47892" y="55607"/>
                      <a:pt x="42748" y="55607"/>
                    </a:cubicBezTo>
                    <a:lnTo>
                      <a:pt x="42748" y="55607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28" name="Forma Livre: Forma 127">
                <a:extLst>
                  <a:ext uri="{FF2B5EF4-FFF2-40B4-BE49-F238E27FC236}">
                    <a16:creationId xmlns:a16="http://schemas.microsoft.com/office/drawing/2014/main" id="{6CD9D6BF-16DE-436C-82FC-2513B3A9E3EC}"/>
                  </a:ext>
                </a:extLst>
              </p:cNvPr>
              <p:cNvSpPr/>
              <p:nvPr/>
            </p:nvSpPr>
            <p:spPr>
              <a:xfrm>
                <a:off x="5743493" y="4940031"/>
                <a:ext cx="67838" cy="40027"/>
              </a:xfrm>
              <a:custGeom>
                <a:avLst/>
                <a:gdLst>
                  <a:gd name="connsiteX0" fmla="*/ 50958 w 67838"/>
                  <a:gd name="connsiteY0" fmla="*/ 40027 h 40027"/>
                  <a:gd name="connsiteX1" fmla="*/ 47743 w 67838"/>
                  <a:gd name="connsiteY1" fmla="*/ 40027 h 40027"/>
                  <a:gd name="connsiteX2" fmla="*/ 14309 w 67838"/>
                  <a:gd name="connsiteY2" fmla="*/ 34241 h 40027"/>
                  <a:gd name="connsiteX3" fmla="*/ 164 w 67838"/>
                  <a:gd name="connsiteY3" fmla="*/ 14309 h 40027"/>
                  <a:gd name="connsiteX4" fmla="*/ 20096 w 67838"/>
                  <a:gd name="connsiteY4" fmla="*/ 164 h 40027"/>
                  <a:gd name="connsiteX5" fmla="*/ 53530 w 67838"/>
                  <a:gd name="connsiteY5" fmla="*/ 5951 h 40027"/>
                  <a:gd name="connsiteX6" fmla="*/ 67675 w 67838"/>
                  <a:gd name="connsiteY6" fmla="*/ 25882 h 40027"/>
                  <a:gd name="connsiteX7" fmla="*/ 50958 w 67838"/>
                  <a:gd name="connsiteY7" fmla="*/ 40027 h 40027"/>
                  <a:gd name="connsiteX8" fmla="*/ 50958 w 67838"/>
                  <a:gd name="connsiteY8" fmla="*/ 40027 h 400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7838" h="40027">
                    <a:moveTo>
                      <a:pt x="50958" y="40027"/>
                    </a:moveTo>
                    <a:cubicBezTo>
                      <a:pt x="50315" y="40027"/>
                      <a:pt x="49029" y="40027"/>
                      <a:pt x="47743" y="40027"/>
                    </a:cubicBezTo>
                    <a:lnTo>
                      <a:pt x="14309" y="34241"/>
                    </a:lnTo>
                    <a:cubicBezTo>
                      <a:pt x="5307" y="32312"/>
                      <a:pt x="-1122" y="23953"/>
                      <a:pt x="164" y="14309"/>
                    </a:cubicBezTo>
                    <a:cubicBezTo>
                      <a:pt x="1450" y="5308"/>
                      <a:pt x="10451" y="-1122"/>
                      <a:pt x="20096" y="164"/>
                    </a:cubicBezTo>
                    <a:lnTo>
                      <a:pt x="53530" y="5951"/>
                    </a:lnTo>
                    <a:cubicBezTo>
                      <a:pt x="62531" y="7879"/>
                      <a:pt x="68961" y="16238"/>
                      <a:pt x="67675" y="25882"/>
                    </a:cubicBezTo>
                    <a:cubicBezTo>
                      <a:pt x="66389" y="34241"/>
                      <a:pt x="59316" y="40027"/>
                      <a:pt x="50958" y="40027"/>
                    </a:cubicBezTo>
                    <a:lnTo>
                      <a:pt x="50958" y="40027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29" name="Forma Livre: Forma 128">
                <a:extLst>
                  <a:ext uri="{FF2B5EF4-FFF2-40B4-BE49-F238E27FC236}">
                    <a16:creationId xmlns:a16="http://schemas.microsoft.com/office/drawing/2014/main" id="{FA0DDA21-FF6C-4638-B220-6E5825FDC173}"/>
                  </a:ext>
                </a:extLst>
              </p:cNvPr>
              <p:cNvSpPr/>
              <p:nvPr/>
            </p:nvSpPr>
            <p:spPr>
              <a:xfrm>
                <a:off x="5738763" y="4853645"/>
                <a:ext cx="65724" cy="45400"/>
              </a:xfrm>
              <a:custGeom>
                <a:avLst/>
                <a:gdLst>
                  <a:gd name="connsiteX0" fmla="*/ 17110 w 65724"/>
                  <a:gd name="connsiteY0" fmla="*/ 45400 h 45400"/>
                  <a:gd name="connsiteX1" fmla="*/ 1036 w 65724"/>
                  <a:gd name="connsiteY1" fmla="*/ 34470 h 45400"/>
                  <a:gd name="connsiteX2" fmla="*/ 11323 w 65724"/>
                  <a:gd name="connsiteY2" fmla="*/ 12609 h 45400"/>
                  <a:gd name="connsiteX3" fmla="*/ 42828 w 65724"/>
                  <a:gd name="connsiteY3" fmla="*/ 1036 h 45400"/>
                  <a:gd name="connsiteX4" fmla="*/ 64689 w 65724"/>
                  <a:gd name="connsiteY4" fmla="*/ 11323 h 45400"/>
                  <a:gd name="connsiteX5" fmla="*/ 54402 w 65724"/>
                  <a:gd name="connsiteY5" fmla="*/ 33184 h 45400"/>
                  <a:gd name="connsiteX6" fmla="*/ 22897 w 65724"/>
                  <a:gd name="connsiteY6" fmla="*/ 44757 h 45400"/>
                  <a:gd name="connsiteX7" fmla="*/ 17110 w 65724"/>
                  <a:gd name="connsiteY7" fmla="*/ 45400 h 45400"/>
                  <a:gd name="connsiteX8" fmla="*/ 17110 w 65724"/>
                  <a:gd name="connsiteY8" fmla="*/ 45400 h 45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5724" h="45400">
                    <a:moveTo>
                      <a:pt x="17110" y="45400"/>
                    </a:moveTo>
                    <a:cubicBezTo>
                      <a:pt x="10037" y="45400"/>
                      <a:pt x="3608" y="40899"/>
                      <a:pt x="1036" y="34470"/>
                    </a:cubicBezTo>
                    <a:cubicBezTo>
                      <a:pt x="-2179" y="25468"/>
                      <a:pt x="2322" y="15824"/>
                      <a:pt x="11323" y="12609"/>
                    </a:cubicBezTo>
                    <a:lnTo>
                      <a:pt x="42828" y="1036"/>
                    </a:lnTo>
                    <a:cubicBezTo>
                      <a:pt x="51830" y="-2179"/>
                      <a:pt x="61474" y="2322"/>
                      <a:pt x="64689" y="11323"/>
                    </a:cubicBezTo>
                    <a:cubicBezTo>
                      <a:pt x="67904" y="20325"/>
                      <a:pt x="63403" y="29969"/>
                      <a:pt x="54402" y="33184"/>
                    </a:cubicBezTo>
                    <a:lnTo>
                      <a:pt x="22897" y="44757"/>
                    </a:lnTo>
                    <a:cubicBezTo>
                      <a:pt x="20968" y="45400"/>
                      <a:pt x="19039" y="45400"/>
                      <a:pt x="17110" y="45400"/>
                    </a:cubicBezTo>
                    <a:lnTo>
                      <a:pt x="17110" y="45400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130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3302128" y="4661237"/>
            <a:ext cx="430490" cy="377234"/>
            <a:chOff x="3262469" y="4728661"/>
            <a:chExt cx="436570" cy="382562"/>
          </a:xfrm>
          <a:solidFill>
            <a:srgbClr val="B1B1A1"/>
          </a:solidFill>
        </p:grpSpPr>
        <p:grpSp>
          <p:nvGrpSpPr>
            <p:cNvPr id="131" name="Gráfico 2">
              <a:extLst>
                <a:ext uri="{FF2B5EF4-FFF2-40B4-BE49-F238E27FC236}">
                  <a16:creationId xmlns:a16="http://schemas.microsoft.com/office/drawing/2014/main" id="{40F8E44F-B406-439F-8B63-82F15B4E8194}"/>
                </a:ext>
              </a:extLst>
            </p:cNvPr>
            <p:cNvGrpSpPr/>
            <p:nvPr/>
          </p:nvGrpSpPr>
          <p:grpSpPr>
            <a:xfrm>
              <a:off x="3393483" y="4936820"/>
              <a:ext cx="174263" cy="174403"/>
              <a:chOff x="3393483" y="4936820"/>
              <a:chExt cx="174263" cy="174403"/>
            </a:xfrm>
            <a:grpFill/>
          </p:grpSpPr>
          <p:sp>
            <p:nvSpPr>
              <p:cNvPr id="132" name="Forma Livre: Forma 131">
                <a:extLst>
                  <a:ext uri="{FF2B5EF4-FFF2-40B4-BE49-F238E27FC236}">
                    <a16:creationId xmlns:a16="http://schemas.microsoft.com/office/drawing/2014/main" id="{28647C83-314F-423B-9A8E-102A49EC1A52}"/>
                  </a:ext>
                </a:extLst>
              </p:cNvPr>
              <p:cNvSpPr/>
              <p:nvPr/>
            </p:nvSpPr>
            <p:spPr>
              <a:xfrm>
                <a:off x="3393483" y="4936820"/>
                <a:ext cx="174263" cy="85181"/>
              </a:xfrm>
              <a:custGeom>
                <a:avLst/>
                <a:gdLst>
                  <a:gd name="connsiteX0" fmla="*/ 157032 w 174263"/>
                  <a:gd name="connsiteY0" fmla="*/ 85031 h 85181"/>
                  <a:gd name="connsiteX1" fmla="*/ 146745 w 174263"/>
                  <a:gd name="connsiteY1" fmla="*/ 81817 h 85181"/>
                  <a:gd name="connsiteX2" fmla="*/ 86950 w 174263"/>
                  <a:gd name="connsiteY2" fmla="*/ 38095 h 85181"/>
                  <a:gd name="connsiteX3" fmla="*/ 27154 w 174263"/>
                  <a:gd name="connsiteY3" fmla="*/ 81817 h 85181"/>
                  <a:gd name="connsiteX4" fmla="*/ 3365 w 174263"/>
                  <a:gd name="connsiteY4" fmla="*/ 77959 h 85181"/>
                  <a:gd name="connsiteX5" fmla="*/ 7222 w 174263"/>
                  <a:gd name="connsiteY5" fmla="*/ 54169 h 85181"/>
                  <a:gd name="connsiteX6" fmla="*/ 77305 w 174263"/>
                  <a:gd name="connsiteY6" fmla="*/ 3375 h 85181"/>
                  <a:gd name="connsiteX7" fmla="*/ 97237 w 174263"/>
                  <a:gd name="connsiteY7" fmla="*/ 3375 h 85181"/>
                  <a:gd name="connsiteX8" fmla="*/ 167320 w 174263"/>
                  <a:gd name="connsiteY8" fmla="*/ 54169 h 85181"/>
                  <a:gd name="connsiteX9" fmla="*/ 171177 w 174263"/>
                  <a:gd name="connsiteY9" fmla="*/ 77959 h 85181"/>
                  <a:gd name="connsiteX10" fmla="*/ 157032 w 174263"/>
                  <a:gd name="connsiteY10" fmla="*/ 85031 h 85181"/>
                  <a:gd name="connsiteX11" fmla="*/ 157032 w 174263"/>
                  <a:gd name="connsiteY11" fmla="*/ 85031 h 85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74263" h="85181">
                    <a:moveTo>
                      <a:pt x="157032" y="85031"/>
                    </a:moveTo>
                    <a:cubicBezTo>
                      <a:pt x="153818" y="85031"/>
                      <a:pt x="149960" y="83745"/>
                      <a:pt x="146745" y="81817"/>
                    </a:cubicBezTo>
                    <a:lnTo>
                      <a:pt x="86950" y="38095"/>
                    </a:lnTo>
                    <a:lnTo>
                      <a:pt x="27154" y="81817"/>
                    </a:lnTo>
                    <a:cubicBezTo>
                      <a:pt x="19439" y="87604"/>
                      <a:pt x="9151" y="85675"/>
                      <a:pt x="3365" y="77959"/>
                    </a:cubicBezTo>
                    <a:cubicBezTo>
                      <a:pt x="-2422" y="70243"/>
                      <a:pt x="-493" y="59956"/>
                      <a:pt x="7222" y="54169"/>
                    </a:cubicBezTo>
                    <a:lnTo>
                      <a:pt x="77305" y="3375"/>
                    </a:lnTo>
                    <a:cubicBezTo>
                      <a:pt x="83092" y="-1125"/>
                      <a:pt x="91450" y="-1125"/>
                      <a:pt x="97237" y="3375"/>
                    </a:cubicBezTo>
                    <a:lnTo>
                      <a:pt x="167320" y="54169"/>
                    </a:lnTo>
                    <a:cubicBezTo>
                      <a:pt x="175035" y="59956"/>
                      <a:pt x="176321" y="70243"/>
                      <a:pt x="171177" y="77959"/>
                    </a:cubicBezTo>
                    <a:cubicBezTo>
                      <a:pt x="167320" y="82460"/>
                      <a:pt x="162176" y="85031"/>
                      <a:pt x="157032" y="85031"/>
                    </a:cubicBezTo>
                    <a:lnTo>
                      <a:pt x="157032" y="85031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33" name="Forma Livre: Forma 132">
                <a:extLst>
                  <a:ext uri="{FF2B5EF4-FFF2-40B4-BE49-F238E27FC236}">
                    <a16:creationId xmlns:a16="http://schemas.microsoft.com/office/drawing/2014/main" id="{EDD541E2-C9E5-4B1B-9C31-E73F1D9248A3}"/>
                  </a:ext>
                </a:extLst>
              </p:cNvPr>
              <p:cNvSpPr/>
              <p:nvPr/>
            </p:nvSpPr>
            <p:spPr>
              <a:xfrm>
                <a:off x="3463716" y="4937623"/>
                <a:ext cx="33471" cy="173599"/>
              </a:xfrm>
              <a:custGeom>
                <a:avLst/>
                <a:gdLst>
                  <a:gd name="connsiteX0" fmla="*/ 16717 w 33471"/>
                  <a:gd name="connsiteY0" fmla="*/ 173600 h 173599"/>
                  <a:gd name="connsiteX1" fmla="*/ 0 w 33471"/>
                  <a:gd name="connsiteY1" fmla="*/ 156882 h 173599"/>
                  <a:gd name="connsiteX2" fmla="*/ 0 w 33471"/>
                  <a:gd name="connsiteY2" fmla="*/ 16717 h 173599"/>
                  <a:gd name="connsiteX3" fmla="*/ 16717 w 33471"/>
                  <a:gd name="connsiteY3" fmla="*/ 0 h 173599"/>
                  <a:gd name="connsiteX4" fmla="*/ 33434 w 33471"/>
                  <a:gd name="connsiteY4" fmla="*/ 16717 h 173599"/>
                  <a:gd name="connsiteX5" fmla="*/ 33434 w 33471"/>
                  <a:gd name="connsiteY5" fmla="*/ 156882 h 173599"/>
                  <a:gd name="connsiteX6" fmla="*/ 16717 w 33471"/>
                  <a:gd name="connsiteY6" fmla="*/ 173600 h 173599"/>
                  <a:gd name="connsiteX7" fmla="*/ 16717 w 33471"/>
                  <a:gd name="connsiteY7" fmla="*/ 173600 h 173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471" h="173599">
                    <a:moveTo>
                      <a:pt x="16717" y="173600"/>
                    </a:moveTo>
                    <a:cubicBezTo>
                      <a:pt x="7073" y="173600"/>
                      <a:pt x="0" y="165884"/>
                      <a:pt x="0" y="156882"/>
                    </a:cubicBezTo>
                    <a:lnTo>
                      <a:pt x="0" y="16717"/>
                    </a:lnTo>
                    <a:cubicBezTo>
                      <a:pt x="0" y="7072"/>
                      <a:pt x="7715" y="0"/>
                      <a:pt x="16717" y="0"/>
                    </a:cubicBezTo>
                    <a:cubicBezTo>
                      <a:pt x="26361" y="0"/>
                      <a:pt x="33434" y="7716"/>
                      <a:pt x="33434" y="16717"/>
                    </a:cubicBezTo>
                    <a:lnTo>
                      <a:pt x="33434" y="156882"/>
                    </a:lnTo>
                    <a:cubicBezTo>
                      <a:pt x="34077" y="165884"/>
                      <a:pt x="26361" y="173600"/>
                      <a:pt x="16717" y="173600"/>
                    </a:cubicBezTo>
                    <a:lnTo>
                      <a:pt x="16717" y="173600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134" name="Gráfico 2">
              <a:extLst>
                <a:ext uri="{FF2B5EF4-FFF2-40B4-BE49-F238E27FC236}">
                  <a16:creationId xmlns:a16="http://schemas.microsoft.com/office/drawing/2014/main" id="{40F8E44F-B406-439F-8B63-82F15B4E8194}"/>
                </a:ext>
              </a:extLst>
            </p:cNvPr>
            <p:cNvGrpSpPr/>
            <p:nvPr/>
          </p:nvGrpSpPr>
          <p:grpSpPr>
            <a:xfrm>
              <a:off x="3262469" y="4728661"/>
              <a:ext cx="436570" cy="237252"/>
              <a:chOff x="3262469" y="4728661"/>
              <a:chExt cx="436570" cy="237252"/>
            </a:xfrm>
            <a:grpFill/>
          </p:grpSpPr>
          <p:sp>
            <p:nvSpPr>
              <p:cNvPr id="135" name="Forma Livre: Forma 134">
                <a:extLst>
                  <a:ext uri="{FF2B5EF4-FFF2-40B4-BE49-F238E27FC236}">
                    <a16:creationId xmlns:a16="http://schemas.microsoft.com/office/drawing/2014/main" id="{922E4B57-483D-4F3F-ABFB-0A2FDE5BABE8}"/>
                  </a:ext>
                </a:extLst>
              </p:cNvPr>
              <p:cNvSpPr/>
              <p:nvPr/>
            </p:nvSpPr>
            <p:spPr>
              <a:xfrm>
                <a:off x="3366628" y="4832177"/>
                <a:ext cx="227645" cy="131164"/>
              </a:xfrm>
              <a:custGeom>
                <a:avLst/>
                <a:gdLst>
                  <a:gd name="connsiteX0" fmla="*/ 210891 w 227645"/>
                  <a:gd name="connsiteY0" fmla="*/ 131164 h 131164"/>
                  <a:gd name="connsiteX1" fmla="*/ 194174 w 227645"/>
                  <a:gd name="connsiteY1" fmla="*/ 114447 h 131164"/>
                  <a:gd name="connsiteX2" fmla="*/ 113804 w 227645"/>
                  <a:gd name="connsiteY2" fmla="*/ 34077 h 131164"/>
                  <a:gd name="connsiteX3" fmla="*/ 33434 w 227645"/>
                  <a:gd name="connsiteY3" fmla="*/ 114447 h 131164"/>
                  <a:gd name="connsiteX4" fmla="*/ 16717 w 227645"/>
                  <a:gd name="connsiteY4" fmla="*/ 131164 h 131164"/>
                  <a:gd name="connsiteX5" fmla="*/ 0 w 227645"/>
                  <a:gd name="connsiteY5" fmla="*/ 114447 h 131164"/>
                  <a:gd name="connsiteX6" fmla="*/ 113804 w 227645"/>
                  <a:gd name="connsiteY6" fmla="*/ 0 h 131164"/>
                  <a:gd name="connsiteX7" fmla="*/ 227608 w 227645"/>
                  <a:gd name="connsiteY7" fmla="*/ 114447 h 131164"/>
                  <a:gd name="connsiteX8" fmla="*/ 210891 w 227645"/>
                  <a:gd name="connsiteY8" fmla="*/ 131164 h 131164"/>
                  <a:gd name="connsiteX9" fmla="*/ 210891 w 227645"/>
                  <a:gd name="connsiteY9" fmla="*/ 131164 h 1311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7645" h="131164">
                    <a:moveTo>
                      <a:pt x="210891" y="131164"/>
                    </a:moveTo>
                    <a:cubicBezTo>
                      <a:pt x="201247" y="131164"/>
                      <a:pt x="194174" y="123449"/>
                      <a:pt x="194174" y="114447"/>
                    </a:cubicBezTo>
                    <a:cubicBezTo>
                      <a:pt x="194174" y="70083"/>
                      <a:pt x="158169" y="34077"/>
                      <a:pt x="113804" y="34077"/>
                    </a:cubicBezTo>
                    <a:cubicBezTo>
                      <a:pt x="69440" y="34077"/>
                      <a:pt x="33434" y="70083"/>
                      <a:pt x="33434" y="114447"/>
                    </a:cubicBezTo>
                    <a:cubicBezTo>
                      <a:pt x="33434" y="124091"/>
                      <a:pt x="25718" y="131164"/>
                      <a:pt x="16717" y="131164"/>
                    </a:cubicBezTo>
                    <a:cubicBezTo>
                      <a:pt x="7073" y="131164"/>
                      <a:pt x="0" y="123449"/>
                      <a:pt x="0" y="114447"/>
                    </a:cubicBezTo>
                    <a:cubicBezTo>
                      <a:pt x="0" y="51437"/>
                      <a:pt x="51437" y="0"/>
                      <a:pt x="113804" y="0"/>
                    </a:cubicBezTo>
                    <a:cubicBezTo>
                      <a:pt x="176814" y="0"/>
                      <a:pt x="227608" y="51437"/>
                      <a:pt x="227608" y="114447"/>
                    </a:cubicBezTo>
                    <a:cubicBezTo>
                      <a:pt x="228251" y="123449"/>
                      <a:pt x="220536" y="131164"/>
                      <a:pt x="210891" y="131164"/>
                    </a:cubicBezTo>
                    <a:lnTo>
                      <a:pt x="210891" y="131164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36" name="Forma Livre: Forma 135">
                <a:extLst>
                  <a:ext uri="{FF2B5EF4-FFF2-40B4-BE49-F238E27FC236}">
                    <a16:creationId xmlns:a16="http://schemas.microsoft.com/office/drawing/2014/main" id="{63F22346-B6E5-4E63-9538-A8B2689F6B3B}"/>
                  </a:ext>
                </a:extLst>
              </p:cNvPr>
              <p:cNvSpPr/>
              <p:nvPr/>
            </p:nvSpPr>
            <p:spPr>
              <a:xfrm>
                <a:off x="3466287" y="4728661"/>
                <a:ext cx="33434" cy="71368"/>
              </a:xfrm>
              <a:custGeom>
                <a:avLst/>
                <a:gdLst>
                  <a:gd name="connsiteX0" fmla="*/ 16717 w 33434"/>
                  <a:gd name="connsiteY0" fmla="*/ 71369 h 71368"/>
                  <a:gd name="connsiteX1" fmla="*/ 0 w 33434"/>
                  <a:gd name="connsiteY1" fmla="*/ 54652 h 71368"/>
                  <a:gd name="connsiteX2" fmla="*/ 0 w 33434"/>
                  <a:gd name="connsiteY2" fmla="*/ 16717 h 71368"/>
                  <a:gd name="connsiteX3" fmla="*/ 16717 w 33434"/>
                  <a:gd name="connsiteY3" fmla="*/ 0 h 71368"/>
                  <a:gd name="connsiteX4" fmla="*/ 33434 w 33434"/>
                  <a:gd name="connsiteY4" fmla="*/ 16717 h 71368"/>
                  <a:gd name="connsiteX5" fmla="*/ 33434 w 33434"/>
                  <a:gd name="connsiteY5" fmla="*/ 54652 h 71368"/>
                  <a:gd name="connsiteX6" fmla="*/ 16717 w 33434"/>
                  <a:gd name="connsiteY6" fmla="*/ 71369 h 71368"/>
                  <a:gd name="connsiteX7" fmla="*/ 16717 w 33434"/>
                  <a:gd name="connsiteY7" fmla="*/ 71369 h 713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434" h="71368">
                    <a:moveTo>
                      <a:pt x="16717" y="71369"/>
                    </a:moveTo>
                    <a:cubicBezTo>
                      <a:pt x="7073" y="71369"/>
                      <a:pt x="0" y="63653"/>
                      <a:pt x="0" y="54652"/>
                    </a:cubicBezTo>
                    <a:lnTo>
                      <a:pt x="0" y="16717"/>
                    </a:lnTo>
                    <a:cubicBezTo>
                      <a:pt x="0" y="7072"/>
                      <a:pt x="7716" y="0"/>
                      <a:pt x="16717" y="0"/>
                    </a:cubicBezTo>
                    <a:cubicBezTo>
                      <a:pt x="26361" y="0"/>
                      <a:pt x="33434" y="7716"/>
                      <a:pt x="33434" y="16717"/>
                    </a:cubicBezTo>
                    <a:lnTo>
                      <a:pt x="33434" y="54652"/>
                    </a:lnTo>
                    <a:cubicBezTo>
                      <a:pt x="33434" y="63653"/>
                      <a:pt x="26361" y="71369"/>
                      <a:pt x="16717" y="71369"/>
                    </a:cubicBezTo>
                    <a:lnTo>
                      <a:pt x="16717" y="71369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37" name="Forma Livre: Forma 136">
                <a:extLst>
                  <a:ext uri="{FF2B5EF4-FFF2-40B4-BE49-F238E27FC236}">
                    <a16:creationId xmlns:a16="http://schemas.microsoft.com/office/drawing/2014/main" id="{D00EFB5B-5943-4995-A96C-01CD07EC04DC}"/>
                  </a:ext>
                </a:extLst>
              </p:cNvPr>
              <p:cNvSpPr/>
              <p:nvPr/>
            </p:nvSpPr>
            <p:spPr>
              <a:xfrm>
                <a:off x="3365080" y="4754117"/>
                <a:ext cx="52604" cy="66487"/>
              </a:xfrm>
              <a:custGeom>
                <a:avLst/>
                <a:gdLst>
                  <a:gd name="connsiteX0" fmla="*/ 35625 w 52604"/>
                  <a:gd name="connsiteY0" fmla="*/ 66488 h 66487"/>
                  <a:gd name="connsiteX1" fmla="*/ 20837 w 52604"/>
                  <a:gd name="connsiteY1" fmla="*/ 58129 h 66487"/>
                  <a:gd name="connsiteX2" fmla="*/ 2191 w 52604"/>
                  <a:gd name="connsiteY2" fmla="*/ 25338 h 66487"/>
                  <a:gd name="connsiteX3" fmla="*/ 8621 w 52604"/>
                  <a:gd name="connsiteY3" fmla="*/ 2191 h 66487"/>
                  <a:gd name="connsiteX4" fmla="*/ 31768 w 52604"/>
                  <a:gd name="connsiteY4" fmla="*/ 8621 h 66487"/>
                  <a:gd name="connsiteX5" fmla="*/ 50414 w 52604"/>
                  <a:gd name="connsiteY5" fmla="*/ 41412 h 66487"/>
                  <a:gd name="connsiteX6" fmla="*/ 43984 w 52604"/>
                  <a:gd name="connsiteY6" fmla="*/ 64559 h 66487"/>
                  <a:gd name="connsiteX7" fmla="*/ 35625 w 52604"/>
                  <a:gd name="connsiteY7" fmla="*/ 66488 h 66487"/>
                  <a:gd name="connsiteX8" fmla="*/ 35625 w 52604"/>
                  <a:gd name="connsiteY8" fmla="*/ 66488 h 66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2604" h="66487">
                    <a:moveTo>
                      <a:pt x="35625" y="66488"/>
                    </a:moveTo>
                    <a:cubicBezTo>
                      <a:pt x="29839" y="66488"/>
                      <a:pt x="24052" y="63273"/>
                      <a:pt x="20837" y="58129"/>
                    </a:cubicBezTo>
                    <a:lnTo>
                      <a:pt x="2191" y="25338"/>
                    </a:lnTo>
                    <a:cubicBezTo>
                      <a:pt x="-2309" y="16979"/>
                      <a:pt x="262" y="6692"/>
                      <a:pt x="8621" y="2191"/>
                    </a:cubicBezTo>
                    <a:cubicBezTo>
                      <a:pt x="16980" y="-2309"/>
                      <a:pt x="27267" y="263"/>
                      <a:pt x="31768" y="8621"/>
                    </a:cubicBezTo>
                    <a:lnTo>
                      <a:pt x="50414" y="41412"/>
                    </a:lnTo>
                    <a:cubicBezTo>
                      <a:pt x="54914" y="49771"/>
                      <a:pt x="52342" y="60058"/>
                      <a:pt x="43984" y="64559"/>
                    </a:cubicBezTo>
                    <a:cubicBezTo>
                      <a:pt x="41412" y="65845"/>
                      <a:pt x="38840" y="66488"/>
                      <a:pt x="35625" y="66488"/>
                    </a:cubicBezTo>
                    <a:lnTo>
                      <a:pt x="35625" y="66488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38" name="Forma Livre: Forma 137">
                <a:extLst>
                  <a:ext uri="{FF2B5EF4-FFF2-40B4-BE49-F238E27FC236}">
                    <a16:creationId xmlns:a16="http://schemas.microsoft.com/office/drawing/2014/main" id="{54AD841E-A374-400E-9EEC-17EEDBB3EED6}"/>
                  </a:ext>
                </a:extLst>
              </p:cNvPr>
              <p:cNvSpPr/>
              <p:nvPr/>
            </p:nvSpPr>
            <p:spPr>
              <a:xfrm>
                <a:off x="3290496" y="4826128"/>
                <a:ext cx="66750" cy="53628"/>
              </a:xfrm>
              <a:custGeom>
                <a:avLst/>
                <a:gdLst>
                  <a:gd name="connsiteX0" fmla="*/ 49771 w 66750"/>
                  <a:gd name="connsiteY0" fmla="*/ 53628 h 53628"/>
                  <a:gd name="connsiteX1" fmla="*/ 41412 w 66750"/>
                  <a:gd name="connsiteY1" fmla="*/ 51056 h 53628"/>
                  <a:gd name="connsiteX2" fmla="*/ 8621 w 66750"/>
                  <a:gd name="connsiteY2" fmla="*/ 31767 h 53628"/>
                  <a:gd name="connsiteX3" fmla="*/ 2191 w 66750"/>
                  <a:gd name="connsiteY3" fmla="*/ 8621 h 53628"/>
                  <a:gd name="connsiteX4" fmla="*/ 25338 w 66750"/>
                  <a:gd name="connsiteY4" fmla="*/ 2191 h 53628"/>
                  <a:gd name="connsiteX5" fmla="*/ 58129 w 66750"/>
                  <a:gd name="connsiteY5" fmla="*/ 21480 h 53628"/>
                  <a:gd name="connsiteX6" fmla="*/ 64559 w 66750"/>
                  <a:gd name="connsiteY6" fmla="*/ 44627 h 53628"/>
                  <a:gd name="connsiteX7" fmla="*/ 49771 w 66750"/>
                  <a:gd name="connsiteY7" fmla="*/ 53628 h 53628"/>
                  <a:gd name="connsiteX8" fmla="*/ 49771 w 66750"/>
                  <a:gd name="connsiteY8" fmla="*/ 53628 h 53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6750" h="53628">
                    <a:moveTo>
                      <a:pt x="49771" y="53628"/>
                    </a:moveTo>
                    <a:cubicBezTo>
                      <a:pt x="47199" y="53628"/>
                      <a:pt x="43984" y="52985"/>
                      <a:pt x="41412" y="51056"/>
                    </a:cubicBezTo>
                    <a:lnTo>
                      <a:pt x="8621" y="31767"/>
                    </a:lnTo>
                    <a:cubicBezTo>
                      <a:pt x="263" y="27267"/>
                      <a:pt x="-2309" y="16979"/>
                      <a:pt x="2191" y="8621"/>
                    </a:cubicBezTo>
                    <a:cubicBezTo>
                      <a:pt x="6692" y="263"/>
                      <a:pt x="16979" y="-2309"/>
                      <a:pt x="25338" y="2191"/>
                    </a:cubicBezTo>
                    <a:lnTo>
                      <a:pt x="58129" y="21480"/>
                    </a:lnTo>
                    <a:cubicBezTo>
                      <a:pt x="66488" y="25981"/>
                      <a:pt x="69059" y="36268"/>
                      <a:pt x="64559" y="44627"/>
                    </a:cubicBezTo>
                    <a:cubicBezTo>
                      <a:pt x="61344" y="50414"/>
                      <a:pt x="55557" y="53628"/>
                      <a:pt x="49771" y="53628"/>
                    </a:cubicBezTo>
                    <a:lnTo>
                      <a:pt x="49771" y="53628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39" name="Forma Livre: Forma 138">
                <a:extLst>
                  <a:ext uri="{FF2B5EF4-FFF2-40B4-BE49-F238E27FC236}">
                    <a16:creationId xmlns:a16="http://schemas.microsoft.com/office/drawing/2014/main" id="{28E10647-66F4-4B6B-ABA4-C5C8FFC873C0}"/>
                  </a:ext>
                </a:extLst>
              </p:cNvPr>
              <p:cNvSpPr/>
              <p:nvPr/>
            </p:nvSpPr>
            <p:spPr>
              <a:xfrm>
                <a:off x="3262469" y="4927336"/>
                <a:ext cx="71406" cy="33434"/>
              </a:xfrm>
              <a:custGeom>
                <a:avLst/>
                <a:gdLst>
                  <a:gd name="connsiteX0" fmla="*/ 54652 w 71406"/>
                  <a:gd name="connsiteY0" fmla="*/ 33434 h 33434"/>
                  <a:gd name="connsiteX1" fmla="*/ 16717 w 71406"/>
                  <a:gd name="connsiteY1" fmla="*/ 33434 h 33434"/>
                  <a:gd name="connsiteX2" fmla="*/ 0 w 71406"/>
                  <a:gd name="connsiteY2" fmla="*/ 16717 h 33434"/>
                  <a:gd name="connsiteX3" fmla="*/ 16717 w 71406"/>
                  <a:gd name="connsiteY3" fmla="*/ 0 h 33434"/>
                  <a:gd name="connsiteX4" fmla="*/ 54652 w 71406"/>
                  <a:gd name="connsiteY4" fmla="*/ 0 h 33434"/>
                  <a:gd name="connsiteX5" fmla="*/ 71369 w 71406"/>
                  <a:gd name="connsiteY5" fmla="*/ 16717 h 33434"/>
                  <a:gd name="connsiteX6" fmla="*/ 54652 w 71406"/>
                  <a:gd name="connsiteY6" fmla="*/ 33434 h 33434"/>
                  <a:gd name="connsiteX7" fmla="*/ 54652 w 71406"/>
                  <a:gd name="connsiteY7" fmla="*/ 33434 h 33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1406" h="33434">
                    <a:moveTo>
                      <a:pt x="54652" y="33434"/>
                    </a:moveTo>
                    <a:lnTo>
                      <a:pt x="16717" y="33434"/>
                    </a:lnTo>
                    <a:cubicBezTo>
                      <a:pt x="7073" y="33434"/>
                      <a:pt x="0" y="25718"/>
                      <a:pt x="0" y="16717"/>
                    </a:cubicBezTo>
                    <a:cubicBezTo>
                      <a:pt x="0" y="7073"/>
                      <a:pt x="7716" y="0"/>
                      <a:pt x="16717" y="0"/>
                    </a:cubicBezTo>
                    <a:lnTo>
                      <a:pt x="54652" y="0"/>
                    </a:lnTo>
                    <a:cubicBezTo>
                      <a:pt x="64296" y="0"/>
                      <a:pt x="71369" y="7716"/>
                      <a:pt x="71369" y="16717"/>
                    </a:cubicBezTo>
                    <a:cubicBezTo>
                      <a:pt x="72012" y="25718"/>
                      <a:pt x="64296" y="33434"/>
                      <a:pt x="54652" y="33434"/>
                    </a:cubicBezTo>
                    <a:lnTo>
                      <a:pt x="54652" y="33434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40" name="Forma Livre: Forma 139">
                <a:extLst>
                  <a:ext uri="{FF2B5EF4-FFF2-40B4-BE49-F238E27FC236}">
                    <a16:creationId xmlns:a16="http://schemas.microsoft.com/office/drawing/2014/main" id="{6B884118-679D-43C1-8FD3-18BAD7E14FFC}"/>
                  </a:ext>
                </a:extLst>
              </p:cNvPr>
              <p:cNvSpPr/>
              <p:nvPr/>
            </p:nvSpPr>
            <p:spPr>
              <a:xfrm>
                <a:off x="3627671" y="4932480"/>
                <a:ext cx="71368" cy="33433"/>
              </a:xfrm>
              <a:custGeom>
                <a:avLst/>
                <a:gdLst>
                  <a:gd name="connsiteX0" fmla="*/ 54652 w 71368"/>
                  <a:gd name="connsiteY0" fmla="*/ 33434 h 33433"/>
                  <a:gd name="connsiteX1" fmla="*/ 16717 w 71368"/>
                  <a:gd name="connsiteY1" fmla="*/ 33434 h 33433"/>
                  <a:gd name="connsiteX2" fmla="*/ 0 w 71368"/>
                  <a:gd name="connsiteY2" fmla="*/ 16717 h 33433"/>
                  <a:gd name="connsiteX3" fmla="*/ 16717 w 71368"/>
                  <a:gd name="connsiteY3" fmla="*/ 0 h 33433"/>
                  <a:gd name="connsiteX4" fmla="*/ 54652 w 71368"/>
                  <a:gd name="connsiteY4" fmla="*/ 0 h 33433"/>
                  <a:gd name="connsiteX5" fmla="*/ 71369 w 71368"/>
                  <a:gd name="connsiteY5" fmla="*/ 16717 h 33433"/>
                  <a:gd name="connsiteX6" fmla="*/ 54652 w 71368"/>
                  <a:gd name="connsiteY6" fmla="*/ 33434 h 33433"/>
                  <a:gd name="connsiteX7" fmla="*/ 54652 w 71368"/>
                  <a:gd name="connsiteY7" fmla="*/ 33434 h 33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1368" h="33433">
                    <a:moveTo>
                      <a:pt x="54652" y="33434"/>
                    </a:moveTo>
                    <a:lnTo>
                      <a:pt x="16717" y="33434"/>
                    </a:lnTo>
                    <a:cubicBezTo>
                      <a:pt x="7073" y="33434"/>
                      <a:pt x="0" y="25718"/>
                      <a:pt x="0" y="16717"/>
                    </a:cubicBezTo>
                    <a:cubicBezTo>
                      <a:pt x="0" y="7072"/>
                      <a:pt x="7715" y="0"/>
                      <a:pt x="16717" y="0"/>
                    </a:cubicBezTo>
                    <a:lnTo>
                      <a:pt x="54652" y="0"/>
                    </a:lnTo>
                    <a:cubicBezTo>
                      <a:pt x="64296" y="0"/>
                      <a:pt x="71369" y="7715"/>
                      <a:pt x="71369" y="16717"/>
                    </a:cubicBezTo>
                    <a:cubicBezTo>
                      <a:pt x="71369" y="25718"/>
                      <a:pt x="63653" y="33434"/>
                      <a:pt x="54652" y="33434"/>
                    </a:cubicBezTo>
                    <a:lnTo>
                      <a:pt x="54652" y="33434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41" name="Forma Livre: Forma 140">
                <a:extLst>
                  <a:ext uri="{FF2B5EF4-FFF2-40B4-BE49-F238E27FC236}">
                    <a16:creationId xmlns:a16="http://schemas.microsoft.com/office/drawing/2014/main" id="{CFBE37B3-D1F7-4FB4-9E78-598BDAF1FDC7}"/>
                  </a:ext>
                </a:extLst>
              </p:cNvPr>
              <p:cNvSpPr/>
              <p:nvPr/>
            </p:nvSpPr>
            <p:spPr>
              <a:xfrm>
                <a:off x="3606190" y="4831272"/>
                <a:ext cx="66750" cy="52342"/>
              </a:xfrm>
              <a:custGeom>
                <a:avLst/>
                <a:gdLst>
                  <a:gd name="connsiteX0" fmla="*/ 16980 w 66750"/>
                  <a:gd name="connsiteY0" fmla="*/ 52342 h 52342"/>
                  <a:gd name="connsiteX1" fmla="*/ 2191 w 66750"/>
                  <a:gd name="connsiteY1" fmla="*/ 43984 h 52342"/>
                  <a:gd name="connsiteX2" fmla="*/ 8621 w 66750"/>
                  <a:gd name="connsiteY2" fmla="*/ 20837 h 52342"/>
                  <a:gd name="connsiteX3" fmla="*/ 41412 w 66750"/>
                  <a:gd name="connsiteY3" fmla="*/ 2191 h 52342"/>
                  <a:gd name="connsiteX4" fmla="*/ 64559 w 66750"/>
                  <a:gd name="connsiteY4" fmla="*/ 8621 h 52342"/>
                  <a:gd name="connsiteX5" fmla="*/ 58129 w 66750"/>
                  <a:gd name="connsiteY5" fmla="*/ 31767 h 52342"/>
                  <a:gd name="connsiteX6" fmla="*/ 25338 w 66750"/>
                  <a:gd name="connsiteY6" fmla="*/ 50414 h 52342"/>
                  <a:gd name="connsiteX7" fmla="*/ 16980 w 66750"/>
                  <a:gd name="connsiteY7" fmla="*/ 52342 h 52342"/>
                  <a:gd name="connsiteX8" fmla="*/ 16980 w 66750"/>
                  <a:gd name="connsiteY8" fmla="*/ 52342 h 52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6750" h="52342">
                    <a:moveTo>
                      <a:pt x="16980" y="52342"/>
                    </a:moveTo>
                    <a:cubicBezTo>
                      <a:pt x="11193" y="52342"/>
                      <a:pt x="5406" y="49128"/>
                      <a:pt x="2191" y="43984"/>
                    </a:cubicBezTo>
                    <a:cubicBezTo>
                      <a:pt x="-2309" y="35626"/>
                      <a:pt x="262" y="25338"/>
                      <a:pt x="8621" y="20837"/>
                    </a:cubicBezTo>
                    <a:lnTo>
                      <a:pt x="41412" y="2191"/>
                    </a:lnTo>
                    <a:cubicBezTo>
                      <a:pt x="49771" y="-2309"/>
                      <a:pt x="60058" y="263"/>
                      <a:pt x="64559" y="8621"/>
                    </a:cubicBezTo>
                    <a:cubicBezTo>
                      <a:pt x="69059" y="16979"/>
                      <a:pt x="66488" y="27267"/>
                      <a:pt x="58129" y="31767"/>
                    </a:cubicBezTo>
                    <a:lnTo>
                      <a:pt x="25338" y="50414"/>
                    </a:lnTo>
                    <a:cubicBezTo>
                      <a:pt x="22766" y="51700"/>
                      <a:pt x="20194" y="52342"/>
                      <a:pt x="16980" y="52342"/>
                    </a:cubicBezTo>
                    <a:lnTo>
                      <a:pt x="16980" y="52342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42" name="Forma Livre: Forma 141">
                <a:extLst>
                  <a:ext uri="{FF2B5EF4-FFF2-40B4-BE49-F238E27FC236}">
                    <a16:creationId xmlns:a16="http://schemas.microsoft.com/office/drawing/2014/main" id="{D1329FAB-7522-4DD0-BC78-37F80FA3898A}"/>
                  </a:ext>
                </a:extLst>
              </p:cNvPr>
              <p:cNvSpPr/>
              <p:nvPr/>
            </p:nvSpPr>
            <p:spPr>
              <a:xfrm>
                <a:off x="3547681" y="4756045"/>
                <a:ext cx="53247" cy="67130"/>
              </a:xfrm>
              <a:custGeom>
                <a:avLst/>
                <a:gdLst>
                  <a:gd name="connsiteX0" fmla="*/ 16979 w 53247"/>
                  <a:gd name="connsiteY0" fmla="*/ 67131 h 67130"/>
                  <a:gd name="connsiteX1" fmla="*/ 8621 w 53247"/>
                  <a:gd name="connsiteY1" fmla="*/ 64559 h 67130"/>
                  <a:gd name="connsiteX2" fmla="*/ 2191 w 53247"/>
                  <a:gd name="connsiteY2" fmla="*/ 41412 h 67130"/>
                  <a:gd name="connsiteX3" fmla="*/ 21480 w 53247"/>
                  <a:gd name="connsiteY3" fmla="*/ 8621 h 67130"/>
                  <a:gd name="connsiteX4" fmla="*/ 44627 w 53247"/>
                  <a:gd name="connsiteY4" fmla="*/ 2191 h 67130"/>
                  <a:gd name="connsiteX5" fmla="*/ 51057 w 53247"/>
                  <a:gd name="connsiteY5" fmla="*/ 25338 h 67130"/>
                  <a:gd name="connsiteX6" fmla="*/ 31768 w 53247"/>
                  <a:gd name="connsiteY6" fmla="*/ 58129 h 67130"/>
                  <a:gd name="connsiteX7" fmla="*/ 16979 w 53247"/>
                  <a:gd name="connsiteY7" fmla="*/ 67131 h 67130"/>
                  <a:gd name="connsiteX8" fmla="*/ 16979 w 53247"/>
                  <a:gd name="connsiteY8" fmla="*/ 67131 h 67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3247" h="67130">
                    <a:moveTo>
                      <a:pt x="16979" y="67131"/>
                    </a:moveTo>
                    <a:cubicBezTo>
                      <a:pt x="14408" y="67131"/>
                      <a:pt x="11193" y="66488"/>
                      <a:pt x="8621" y="64559"/>
                    </a:cubicBezTo>
                    <a:cubicBezTo>
                      <a:pt x="263" y="60058"/>
                      <a:pt x="-2309" y="49771"/>
                      <a:pt x="2191" y="41412"/>
                    </a:cubicBezTo>
                    <a:lnTo>
                      <a:pt x="21480" y="8621"/>
                    </a:lnTo>
                    <a:cubicBezTo>
                      <a:pt x="25981" y="263"/>
                      <a:pt x="36268" y="-2309"/>
                      <a:pt x="44627" y="2191"/>
                    </a:cubicBezTo>
                    <a:cubicBezTo>
                      <a:pt x="52985" y="6692"/>
                      <a:pt x="55557" y="16979"/>
                      <a:pt x="51057" y="25338"/>
                    </a:cubicBezTo>
                    <a:lnTo>
                      <a:pt x="31768" y="58129"/>
                    </a:lnTo>
                    <a:cubicBezTo>
                      <a:pt x="28553" y="63916"/>
                      <a:pt x="22766" y="67131"/>
                      <a:pt x="16979" y="67131"/>
                    </a:cubicBezTo>
                    <a:lnTo>
                      <a:pt x="16979" y="67131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143" name="Gráfico 2">
              <a:extLst>
                <a:ext uri="{FF2B5EF4-FFF2-40B4-BE49-F238E27FC236}">
                  <a16:creationId xmlns:a16="http://schemas.microsoft.com/office/drawing/2014/main" id="{40F8E44F-B406-439F-8B63-82F15B4E8194}"/>
                </a:ext>
              </a:extLst>
            </p:cNvPr>
            <p:cNvGrpSpPr/>
            <p:nvPr/>
          </p:nvGrpSpPr>
          <p:grpSpPr>
            <a:xfrm>
              <a:off x="3270827" y="4999991"/>
              <a:ext cx="419853" cy="16716"/>
              <a:chOff x="3270827" y="4999991"/>
              <a:chExt cx="419853" cy="16716"/>
            </a:xfrm>
            <a:grpFill/>
          </p:grpSpPr>
          <p:sp>
            <p:nvSpPr>
              <p:cNvPr id="144" name="Forma Livre: Forma 143">
                <a:extLst>
                  <a:ext uri="{FF2B5EF4-FFF2-40B4-BE49-F238E27FC236}">
                    <a16:creationId xmlns:a16="http://schemas.microsoft.com/office/drawing/2014/main" id="{4FD0D7DF-90C1-4F53-8CC4-9B671A6A7BCD}"/>
                  </a:ext>
                </a:extLst>
              </p:cNvPr>
              <p:cNvSpPr/>
              <p:nvPr/>
            </p:nvSpPr>
            <p:spPr>
              <a:xfrm>
                <a:off x="3270827" y="4999991"/>
                <a:ext cx="105445" cy="16716"/>
              </a:xfrm>
              <a:custGeom>
                <a:avLst/>
                <a:gdLst>
                  <a:gd name="connsiteX0" fmla="*/ 97087 w 105445"/>
                  <a:gd name="connsiteY0" fmla="*/ 16717 h 16716"/>
                  <a:gd name="connsiteX1" fmla="*/ 8358 w 105445"/>
                  <a:gd name="connsiteY1" fmla="*/ 16717 h 16716"/>
                  <a:gd name="connsiteX2" fmla="*/ 0 w 105445"/>
                  <a:gd name="connsiteY2" fmla="*/ 8358 h 16716"/>
                  <a:gd name="connsiteX3" fmla="*/ 8358 w 105445"/>
                  <a:gd name="connsiteY3" fmla="*/ 0 h 16716"/>
                  <a:gd name="connsiteX4" fmla="*/ 97087 w 105445"/>
                  <a:gd name="connsiteY4" fmla="*/ 0 h 16716"/>
                  <a:gd name="connsiteX5" fmla="*/ 105446 w 105445"/>
                  <a:gd name="connsiteY5" fmla="*/ 8358 h 16716"/>
                  <a:gd name="connsiteX6" fmla="*/ 97087 w 105445"/>
                  <a:gd name="connsiteY6" fmla="*/ 16717 h 16716"/>
                  <a:gd name="connsiteX7" fmla="*/ 97087 w 105445"/>
                  <a:gd name="connsiteY7" fmla="*/ 16717 h 16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5445" h="16716">
                    <a:moveTo>
                      <a:pt x="97087" y="16717"/>
                    </a:moveTo>
                    <a:lnTo>
                      <a:pt x="8358" y="16717"/>
                    </a:lnTo>
                    <a:cubicBezTo>
                      <a:pt x="3858" y="16717"/>
                      <a:pt x="0" y="12859"/>
                      <a:pt x="0" y="8358"/>
                    </a:cubicBezTo>
                    <a:cubicBezTo>
                      <a:pt x="0" y="3858"/>
                      <a:pt x="3858" y="0"/>
                      <a:pt x="8358" y="0"/>
                    </a:cubicBezTo>
                    <a:lnTo>
                      <a:pt x="97087" y="0"/>
                    </a:lnTo>
                    <a:cubicBezTo>
                      <a:pt x="101588" y="0"/>
                      <a:pt x="105446" y="3858"/>
                      <a:pt x="105446" y="8358"/>
                    </a:cubicBezTo>
                    <a:cubicBezTo>
                      <a:pt x="105446" y="12859"/>
                      <a:pt x="101588" y="16717"/>
                      <a:pt x="97087" y="16717"/>
                    </a:cubicBezTo>
                    <a:lnTo>
                      <a:pt x="97087" y="16717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45" name="Forma Livre: Forma 144">
                <a:extLst>
                  <a:ext uri="{FF2B5EF4-FFF2-40B4-BE49-F238E27FC236}">
                    <a16:creationId xmlns:a16="http://schemas.microsoft.com/office/drawing/2014/main" id="{2E915E00-3503-4E30-8F8C-0FD5B1664F44}"/>
                  </a:ext>
                </a:extLst>
              </p:cNvPr>
              <p:cNvSpPr/>
              <p:nvPr/>
            </p:nvSpPr>
            <p:spPr>
              <a:xfrm>
                <a:off x="3585235" y="4999991"/>
                <a:ext cx="105445" cy="16716"/>
              </a:xfrm>
              <a:custGeom>
                <a:avLst/>
                <a:gdLst>
                  <a:gd name="connsiteX0" fmla="*/ 97087 w 105445"/>
                  <a:gd name="connsiteY0" fmla="*/ 16717 h 16716"/>
                  <a:gd name="connsiteX1" fmla="*/ 8358 w 105445"/>
                  <a:gd name="connsiteY1" fmla="*/ 16717 h 16716"/>
                  <a:gd name="connsiteX2" fmla="*/ 0 w 105445"/>
                  <a:gd name="connsiteY2" fmla="*/ 8358 h 16716"/>
                  <a:gd name="connsiteX3" fmla="*/ 8358 w 105445"/>
                  <a:gd name="connsiteY3" fmla="*/ 0 h 16716"/>
                  <a:gd name="connsiteX4" fmla="*/ 97087 w 105445"/>
                  <a:gd name="connsiteY4" fmla="*/ 0 h 16716"/>
                  <a:gd name="connsiteX5" fmla="*/ 105446 w 105445"/>
                  <a:gd name="connsiteY5" fmla="*/ 8358 h 16716"/>
                  <a:gd name="connsiteX6" fmla="*/ 97087 w 105445"/>
                  <a:gd name="connsiteY6" fmla="*/ 16717 h 16716"/>
                  <a:gd name="connsiteX7" fmla="*/ 97087 w 105445"/>
                  <a:gd name="connsiteY7" fmla="*/ 16717 h 16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5445" h="16716">
                    <a:moveTo>
                      <a:pt x="97087" y="16717"/>
                    </a:moveTo>
                    <a:lnTo>
                      <a:pt x="8358" y="16717"/>
                    </a:lnTo>
                    <a:cubicBezTo>
                      <a:pt x="3858" y="16717"/>
                      <a:pt x="0" y="12859"/>
                      <a:pt x="0" y="8358"/>
                    </a:cubicBezTo>
                    <a:cubicBezTo>
                      <a:pt x="0" y="3858"/>
                      <a:pt x="3858" y="0"/>
                      <a:pt x="8358" y="0"/>
                    </a:cubicBezTo>
                    <a:lnTo>
                      <a:pt x="97087" y="0"/>
                    </a:lnTo>
                    <a:cubicBezTo>
                      <a:pt x="101588" y="0"/>
                      <a:pt x="105446" y="3858"/>
                      <a:pt x="105446" y="8358"/>
                    </a:cubicBezTo>
                    <a:cubicBezTo>
                      <a:pt x="105446" y="12859"/>
                      <a:pt x="101588" y="16717"/>
                      <a:pt x="97087" y="16717"/>
                    </a:cubicBezTo>
                    <a:lnTo>
                      <a:pt x="97087" y="16717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146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2276938" y="4656799"/>
            <a:ext cx="429893" cy="385476"/>
            <a:chOff x="2222800" y="4724160"/>
            <a:chExt cx="435965" cy="390920"/>
          </a:xfrm>
          <a:solidFill>
            <a:srgbClr val="B1B1A1"/>
          </a:solidFill>
        </p:grpSpPr>
        <p:grpSp>
          <p:nvGrpSpPr>
            <p:cNvPr id="147" name="Gráfico 2">
              <a:extLst>
                <a:ext uri="{FF2B5EF4-FFF2-40B4-BE49-F238E27FC236}">
                  <a16:creationId xmlns:a16="http://schemas.microsoft.com/office/drawing/2014/main" id="{40F8E44F-B406-439F-8B63-82F15B4E8194}"/>
                </a:ext>
              </a:extLst>
            </p:cNvPr>
            <p:cNvGrpSpPr/>
            <p:nvPr/>
          </p:nvGrpSpPr>
          <p:grpSpPr>
            <a:xfrm>
              <a:off x="2353450" y="4941481"/>
              <a:ext cx="173620" cy="173599"/>
              <a:chOff x="2353450" y="4941481"/>
              <a:chExt cx="173620" cy="173599"/>
            </a:xfrm>
            <a:grpFill/>
          </p:grpSpPr>
          <p:sp>
            <p:nvSpPr>
              <p:cNvPr id="148" name="Forma Livre: Forma 147">
                <a:extLst>
                  <a:ext uri="{FF2B5EF4-FFF2-40B4-BE49-F238E27FC236}">
                    <a16:creationId xmlns:a16="http://schemas.microsoft.com/office/drawing/2014/main" id="{1A09BCEB-65AD-4491-B018-F54669EF0570}"/>
                  </a:ext>
                </a:extLst>
              </p:cNvPr>
              <p:cNvSpPr/>
              <p:nvPr/>
            </p:nvSpPr>
            <p:spPr>
              <a:xfrm>
                <a:off x="2353450" y="5030060"/>
                <a:ext cx="173620" cy="85020"/>
              </a:xfrm>
              <a:custGeom>
                <a:avLst/>
                <a:gdLst>
                  <a:gd name="connsiteX0" fmla="*/ 87314 w 173620"/>
                  <a:gd name="connsiteY0" fmla="*/ 85021 h 85020"/>
                  <a:gd name="connsiteX1" fmla="*/ 77027 w 173620"/>
                  <a:gd name="connsiteY1" fmla="*/ 81806 h 85020"/>
                  <a:gd name="connsiteX2" fmla="*/ 6944 w 173620"/>
                  <a:gd name="connsiteY2" fmla="*/ 31012 h 85020"/>
                  <a:gd name="connsiteX3" fmla="*/ 3086 w 173620"/>
                  <a:gd name="connsiteY3" fmla="*/ 7222 h 85020"/>
                  <a:gd name="connsiteX4" fmla="*/ 26876 w 173620"/>
                  <a:gd name="connsiteY4" fmla="*/ 3364 h 85020"/>
                  <a:gd name="connsiteX5" fmla="*/ 86671 w 173620"/>
                  <a:gd name="connsiteY5" fmla="*/ 47086 h 85020"/>
                  <a:gd name="connsiteX6" fmla="*/ 146467 w 173620"/>
                  <a:gd name="connsiteY6" fmla="*/ 3364 h 85020"/>
                  <a:gd name="connsiteX7" fmla="*/ 170256 w 173620"/>
                  <a:gd name="connsiteY7" fmla="*/ 7222 h 85020"/>
                  <a:gd name="connsiteX8" fmla="*/ 166398 w 173620"/>
                  <a:gd name="connsiteY8" fmla="*/ 31012 h 85020"/>
                  <a:gd name="connsiteX9" fmla="*/ 96316 w 173620"/>
                  <a:gd name="connsiteY9" fmla="*/ 81806 h 85020"/>
                  <a:gd name="connsiteX10" fmla="*/ 87314 w 173620"/>
                  <a:gd name="connsiteY10" fmla="*/ 85021 h 85020"/>
                  <a:gd name="connsiteX11" fmla="*/ 87314 w 173620"/>
                  <a:gd name="connsiteY11" fmla="*/ 85021 h 850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73620" h="85020">
                    <a:moveTo>
                      <a:pt x="87314" y="85021"/>
                    </a:moveTo>
                    <a:cubicBezTo>
                      <a:pt x="84099" y="85021"/>
                      <a:pt x="80242" y="83735"/>
                      <a:pt x="77027" y="81806"/>
                    </a:cubicBezTo>
                    <a:lnTo>
                      <a:pt x="6944" y="31012"/>
                    </a:lnTo>
                    <a:cubicBezTo>
                      <a:pt x="-772" y="25225"/>
                      <a:pt x="-2057" y="14938"/>
                      <a:pt x="3086" y="7222"/>
                    </a:cubicBezTo>
                    <a:cubicBezTo>
                      <a:pt x="8873" y="-493"/>
                      <a:pt x="19160" y="-1779"/>
                      <a:pt x="26876" y="3364"/>
                    </a:cubicBezTo>
                    <a:lnTo>
                      <a:pt x="86671" y="47086"/>
                    </a:lnTo>
                    <a:lnTo>
                      <a:pt x="146467" y="3364"/>
                    </a:lnTo>
                    <a:cubicBezTo>
                      <a:pt x="154182" y="-2422"/>
                      <a:pt x="164470" y="-493"/>
                      <a:pt x="170256" y="7222"/>
                    </a:cubicBezTo>
                    <a:cubicBezTo>
                      <a:pt x="176043" y="14938"/>
                      <a:pt x="174114" y="25225"/>
                      <a:pt x="166398" y="31012"/>
                    </a:cubicBezTo>
                    <a:lnTo>
                      <a:pt x="96316" y="81806"/>
                    </a:lnTo>
                    <a:cubicBezTo>
                      <a:pt x="94387" y="84378"/>
                      <a:pt x="91172" y="85021"/>
                      <a:pt x="87314" y="85021"/>
                    </a:cubicBezTo>
                    <a:lnTo>
                      <a:pt x="87314" y="85021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49" name="Forma Livre: Forma 148">
                <a:extLst>
                  <a:ext uri="{FF2B5EF4-FFF2-40B4-BE49-F238E27FC236}">
                    <a16:creationId xmlns:a16="http://schemas.microsoft.com/office/drawing/2014/main" id="{8622AE84-F767-4269-9B84-E5DBA74A799C}"/>
                  </a:ext>
                </a:extLst>
              </p:cNvPr>
              <p:cNvSpPr/>
              <p:nvPr/>
            </p:nvSpPr>
            <p:spPr>
              <a:xfrm>
                <a:off x="2424047" y="4941481"/>
                <a:ext cx="33471" cy="173599"/>
              </a:xfrm>
              <a:custGeom>
                <a:avLst/>
                <a:gdLst>
                  <a:gd name="connsiteX0" fmla="*/ 16717 w 33471"/>
                  <a:gd name="connsiteY0" fmla="*/ 173600 h 173599"/>
                  <a:gd name="connsiteX1" fmla="*/ 0 w 33471"/>
                  <a:gd name="connsiteY1" fmla="*/ 156883 h 173599"/>
                  <a:gd name="connsiteX2" fmla="*/ 0 w 33471"/>
                  <a:gd name="connsiteY2" fmla="*/ 16717 h 173599"/>
                  <a:gd name="connsiteX3" fmla="*/ 16717 w 33471"/>
                  <a:gd name="connsiteY3" fmla="*/ 0 h 173599"/>
                  <a:gd name="connsiteX4" fmla="*/ 33434 w 33471"/>
                  <a:gd name="connsiteY4" fmla="*/ 16717 h 173599"/>
                  <a:gd name="connsiteX5" fmla="*/ 33434 w 33471"/>
                  <a:gd name="connsiteY5" fmla="*/ 156883 h 173599"/>
                  <a:gd name="connsiteX6" fmla="*/ 16717 w 33471"/>
                  <a:gd name="connsiteY6" fmla="*/ 173600 h 173599"/>
                  <a:gd name="connsiteX7" fmla="*/ 16717 w 33471"/>
                  <a:gd name="connsiteY7" fmla="*/ 173600 h 173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471" h="173599">
                    <a:moveTo>
                      <a:pt x="16717" y="173600"/>
                    </a:moveTo>
                    <a:cubicBezTo>
                      <a:pt x="7073" y="173600"/>
                      <a:pt x="0" y="165884"/>
                      <a:pt x="0" y="156883"/>
                    </a:cubicBezTo>
                    <a:lnTo>
                      <a:pt x="0" y="16717"/>
                    </a:lnTo>
                    <a:cubicBezTo>
                      <a:pt x="0" y="7073"/>
                      <a:pt x="7716" y="0"/>
                      <a:pt x="16717" y="0"/>
                    </a:cubicBezTo>
                    <a:cubicBezTo>
                      <a:pt x="26361" y="0"/>
                      <a:pt x="33434" y="7716"/>
                      <a:pt x="33434" y="16717"/>
                    </a:cubicBezTo>
                    <a:lnTo>
                      <a:pt x="33434" y="156883"/>
                    </a:lnTo>
                    <a:cubicBezTo>
                      <a:pt x="34077" y="166527"/>
                      <a:pt x="26361" y="173600"/>
                      <a:pt x="16717" y="173600"/>
                    </a:cubicBezTo>
                    <a:lnTo>
                      <a:pt x="16717" y="173600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150" name="Gráfico 2">
              <a:extLst>
                <a:ext uri="{FF2B5EF4-FFF2-40B4-BE49-F238E27FC236}">
                  <a16:creationId xmlns:a16="http://schemas.microsoft.com/office/drawing/2014/main" id="{40F8E44F-B406-439F-8B63-82F15B4E8194}"/>
                </a:ext>
              </a:extLst>
            </p:cNvPr>
            <p:cNvGrpSpPr/>
            <p:nvPr/>
          </p:nvGrpSpPr>
          <p:grpSpPr>
            <a:xfrm>
              <a:off x="2222800" y="4724160"/>
              <a:ext cx="435965" cy="237252"/>
              <a:chOff x="2222800" y="4724160"/>
              <a:chExt cx="435965" cy="237252"/>
            </a:xfrm>
            <a:grpFill/>
          </p:grpSpPr>
          <p:sp>
            <p:nvSpPr>
              <p:cNvPr id="151" name="Forma Livre: Forma 150">
                <a:extLst>
                  <a:ext uri="{FF2B5EF4-FFF2-40B4-BE49-F238E27FC236}">
                    <a16:creationId xmlns:a16="http://schemas.microsoft.com/office/drawing/2014/main" id="{8A2ADD13-DA13-4B57-B2A8-2DB5FC132847}"/>
                  </a:ext>
                </a:extLst>
              </p:cNvPr>
              <p:cNvSpPr/>
              <p:nvPr/>
            </p:nvSpPr>
            <p:spPr>
              <a:xfrm>
                <a:off x="2326960" y="4827677"/>
                <a:ext cx="227645" cy="131164"/>
              </a:xfrm>
              <a:custGeom>
                <a:avLst/>
                <a:gdLst>
                  <a:gd name="connsiteX0" fmla="*/ 210891 w 227645"/>
                  <a:gd name="connsiteY0" fmla="*/ 131164 h 131164"/>
                  <a:gd name="connsiteX1" fmla="*/ 194174 w 227645"/>
                  <a:gd name="connsiteY1" fmla="*/ 114447 h 131164"/>
                  <a:gd name="connsiteX2" fmla="*/ 113804 w 227645"/>
                  <a:gd name="connsiteY2" fmla="*/ 34077 h 131164"/>
                  <a:gd name="connsiteX3" fmla="*/ 33434 w 227645"/>
                  <a:gd name="connsiteY3" fmla="*/ 114447 h 131164"/>
                  <a:gd name="connsiteX4" fmla="*/ 16717 w 227645"/>
                  <a:gd name="connsiteY4" fmla="*/ 131164 h 131164"/>
                  <a:gd name="connsiteX5" fmla="*/ 0 w 227645"/>
                  <a:gd name="connsiteY5" fmla="*/ 114447 h 131164"/>
                  <a:gd name="connsiteX6" fmla="*/ 113804 w 227645"/>
                  <a:gd name="connsiteY6" fmla="*/ 0 h 131164"/>
                  <a:gd name="connsiteX7" fmla="*/ 227608 w 227645"/>
                  <a:gd name="connsiteY7" fmla="*/ 114447 h 131164"/>
                  <a:gd name="connsiteX8" fmla="*/ 210891 w 227645"/>
                  <a:gd name="connsiteY8" fmla="*/ 131164 h 131164"/>
                  <a:gd name="connsiteX9" fmla="*/ 210891 w 227645"/>
                  <a:gd name="connsiteY9" fmla="*/ 131164 h 1311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7645" h="131164">
                    <a:moveTo>
                      <a:pt x="210891" y="131164"/>
                    </a:moveTo>
                    <a:cubicBezTo>
                      <a:pt x="201247" y="131164"/>
                      <a:pt x="194174" y="123449"/>
                      <a:pt x="194174" y="114447"/>
                    </a:cubicBezTo>
                    <a:cubicBezTo>
                      <a:pt x="194174" y="70083"/>
                      <a:pt x="158168" y="34077"/>
                      <a:pt x="113804" y="34077"/>
                    </a:cubicBezTo>
                    <a:cubicBezTo>
                      <a:pt x="69440" y="34077"/>
                      <a:pt x="33434" y="70083"/>
                      <a:pt x="33434" y="114447"/>
                    </a:cubicBezTo>
                    <a:cubicBezTo>
                      <a:pt x="33434" y="124092"/>
                      <a:pt x="25718" y="131164"/>
                      <a:pt x="16717" y="131164"/>
                    </a:cubicBezTo>
                    <a:cubicBezTo>
                      <a:pt x="7716" y="131164"/>
                      <a:pt x="0" y="123449"/>
                      <a:pt x="0" y="114447"/>
                    </a:cubicBezTo>
                    <a:cubicBezTo>
                      <a:pt x="0" y="51437"/>
                      <a:pt x="51437" y="0"/>
                      <a:pt x="113804" y="0"/>
                    </a:cubicBezTo>
                    <a:cubicBezTo>
                      <a:pt x="176814" y="0"/>
                      <a:pt x="227608" y="51437"/>
                      <a:pt x="227608" y="114447"/>
                    </a:cubicBezTo>
                    <a:cubicBezTo>
                      <a:pt x="228251" y="124092"/>
                      <a:pt x="220536" y="131164"/>
                      <a:pt x="210891" y="131164"/>
                    </a:cubicBezTo>
                    <a:lnTo>
                      <a:pt x="210891" y="131164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52" name="Forma Livre: Forma 151">
                <a:extLst>
                  <a:ext uri="{FF2B5EF4-FFF2-40B4-BE49-F238E27FC236}">
                    <a16:creationId xmlns:a16="http://schemas.microsoft.com/office/drawing/2014/main" id="{680CB090-CB4B-4D78-AE2B-456FAF77546E}"/>
                  </a:ext>
                </a:extLst>
              </p:cNvPr>
              <p:cNvSpPr/>
              <p:nvPr/>
            </p:nvSpPr>
            <p:spPr>
              <a:xfrm>
                <a:off x="2426619" y="4724160"/>
                <a:ext cx="33433" cy="71368"/>
              </a:xfrm>
              <a:custGeom>
                <a:avLst/>
                <a:gdLst>
                  <a:gd name="connsiteX0" fmla="*/ 16717 w 33433"/>
                  <a:gd name="connsiteY0" fmla="*/ 71369 h 71368"/>
                  <a:gd name="connsiteX1" fmla="*/ 0 w 33433"/>
                  <a:gd name="connsiteY1" fmla="*/ 54652 h 71368"/>
                  <a:gd name="connsiteX2" fmla="*/ 0 w 33433"/>
                  <a:gd name="connsiteY2" fmla="*/ 16717 h 71368"/>
                  <a:gd name="connsiteX3" fmla="*/ 16717 w 33433"/>
                  <a:gd name="connsiteY3" fmla="*/ 0 h 71368"/>
                  <a:gd name="connsiteX4" fmla="*/ 33434 w 33433"/>
                  <a:gd name="connsiteY4" fmla="*/ 16717 h 71368"/>
                  <a:gd name="connsiteX5" fmla="*/ 33434 w 33433"/>
                  <a:gd name="connsiteY5" fmla="*/ 54652 h 71368"/>
                  <a:gd name="connsiteX6" fmla="*/ 16717 w 33433"/>
                  <a:gd name="connsiteY6" fmla="*/ 71369 h 71368"/>
                  <a:gd name="connsiteX7" fmla="*/ 16717 w 33433"/>
                  <a:gd name="connsiteY7" fmla="*/ 71369 h 713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433" h="71368">
                    <a:moveTo>
                      <a:pt x="16717" y="71369"/>
                    </a:moveTo>
                    <a:cubicBezTo>
                      <a:pt x="7073" y="71369"/>
                      <a:pt x="0" y="63653"/>
                      <a:pt x="0" y="54652"/>
                    </a:cubicBezTo>
                    <a:lnTo>
                      <a:pt x="0" y="16717"/>
                    </a:lnTo>
                    <a:cubicBezTo>
                      <a:pt x="0" y="7072"/>
                      <a:pt x="7716" y="0"/>
                      <a:pt x="16717" y="0"/>
                    </a:cubicBezTo>
                    <a:cubicBezTo>
                      <a:pt x="26361" y="0"/>
                      <a:pt x="33434" y="7716"/>
                      <a:pt x="33434" y="16717"/>
                    </a:cubicBezTo>
                    <a:lnTo>
                      <a:pt x="33434" y="54652"/>
                    </a:lnTo>
                    <a:cubicBezTo>
                      <a:pt x="33434" y="63653"/>
                      <a:pt x="26361" y="71369"/>
                      <a:pt x="16717" y="71369"/>
                    </a:cubicBezTo>
                    <a:lnTo>
                      <a:pt x="16717" y="71369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53" name="Forma Livre: Forma 152">
                <a:extLst>
                  <a:ext uri="{FF2B5EF4-FFF2-40B4-BE49-F238E27FC236}">
                    <a16:creationId xmlns:a16="http://schemas.microsoft.com/office/drawing/2014/main" id="{0EDA5A90-5E4C-48D7-9BDC-989117D75D68}"/>
                  </a:ext>
                </a:extLst>
              </p:cNvPr>
              <p:cNvSpPr/>
              <p:nvPr/>
            </p:nvSpPr>
            <p:spPr>
              <a:xfrm>
                <a:off x="2325411" y="4749616"/>
                <a:ext cx="52604" cy="66487"/>
              </a:xfrm>
              <a:custGeom>
                <a:avLst/>
                <a:gdLst>
                  <a:gd name="connsiteX0" fmla="*/ 35625 w 52604"/>
                  <a:gd name="connsiteY0" fmla="*/ 66488 h 66487"/>
                  <a:gd name="connsiteX1" fmla="*/ 20837 w 52604"/>
                  <a:gd name="connsiteY1" fmla="*/ 58129 h 66487"/>
                  <a:gd name="connsiteX2" fmla="*/ 2191 w 52604"/>
                  <a:gd name="connsiteY2" fmla="*/ 25338 h 66487"/>
                  <a:gd name="connsiteX3" fmla="*/ 8621 w 52604"/>
                  <a:gd name="connsiteY3" fmla="*/ 2191 h 66487"/>
                  <a:gd name="connsiteX4" fmla="*/ 31768 w 52604"/>
                  <a:gd name="connsiteY4" fmla="*/ 8621 h 66487"/>
                  <a:gd name="connsiteX5" fmla="*/ 50413 w 52604"/>
                  <a:gd name="connsiteY5" fmla="*/ 41412 h 66487"/>
                  <a:gd name="connsiteX6" fmla="*/ 43984 w 52604"/>
                  <a:gd name="connsiteY6" fmla="*/ 64559 h 66487"/>
                  <a:gd name="connsiteX7" fmla="*/ 35625 w 52604"/>
                  <a:gd name="connsiteY7" fmla="*/ 66488 h 66487"/>
                  <a:gd name="connsiteX8" fmla="*/ 35625 w 52604"/>
                  <a:gd name="connsiteY8" fmla="*/ 66488 h 66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2604" h="66487">
                    <a:moveTo>
                      <a:pt x="35625" y="66488"/>
                    </a:moveTo>
                    <a:cubicBezTo>
                      <a:pt x="29839" y="66488"/>
                      <a:pt x="24052" y="63273"/>
                      <a:pt x="20837" y="58129"/>
                    </a:cubicBezTo>
                    <a:lnTo>
                      <a:pt x="2191" y="25338"/>
                    </a:lnTo>
                    <a:cubicBezTo>
                      <a:pt x="-2309" y="16979"/>
                      <a:pt x="263" y="6692"/>
                      <a:pt x="8621" y="2191"/>
                    </a:cubicBezTo>
                    <a:cubicBezTo>
                      <a:pt x="16980" y="-2309"/>
                      <a:pt x="27267" y="263"/>
                      <a:pt x="31768" y="8621"/>
                    </a:cubicBezTo>
                    <a:lnTo>
                      <a:pt x="50413" y="41412"/>
                    </a:lnTo>
                    <a:cubicBezTo>
                      <a:pt x="54914" y="49771"/>
                      <a:pt x="52342" y="60058"/>
                      <a:pt x="43984" y="64559"/>
                    </a:cubicBezTo>
                    <a:cubicBezTo>
                      <a:pt x="41412" y="65845"/>
                      <a:pt x="38840" y="66488"/>
                      <a:pt x="35625" y="66488"/>
                    </a:cubicBezTo>
                    <a:lnTo>
                      <a:pt x="35625" y="66488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54" name="Forma Livre: Forma 153">
                <a:extLst>
                  <a:ext uri="{FF2B5EF4-FFF2-40B4-BE49-F238E27FC236}">
                    <a16:creationId xmlns:a16="http://schemas.microsoft.com/office/drawing/2014/main" id="{E2291BB2-15BA-47A3-A11B-57F7A171EEA9}"/>
                  </a:ext>
                </a:extLst>
              </p:cNvPr>
              <p:cNvSpPr/>
              <p:nvPr/>
            </p:nvSpPr>
            <p:spPr>
              <a:xfrm>
                <a:off x="2250828" y="4821628"/>
                <a:ext cx="66750" cy="53628"/>
              </a:xfrm>
              <a:custGeom>
                <a:avLst/>
                <a:gdLst>
                  <a:gd name="connsiteX0" fmla="*/ 49771 w 66750"/>
                  <a:gd name="connsiteY0" fmla="*/ 53628 h 53628"/>
                  <a:gd name="connsiteX1" fmla="*/ 41412 w 66750"/>
                  <a:gd name="connsiteY1" fmla="*/ 51056 h 53628"/>
                  <a:gd name="connsiteX2" fmla="*/ 8621 w 66750"/>
                  <a:gd name="connsiteY2" fmla="*/ 31767 h 53628"/>
                  <a:gd name="connsiteX3" fmla="*/ 2191 w 66750"/>
                  <a:gd name="connsiteY3" fmla="*/ 8621 h 53628"/>
                  <a:gd name="connsiteX4" fmla="*/ 25338 w 66750"/>
                  <a:gd name="connsiteY4" fmla="*/ 2191 h 53628"/>
                  <a:gd name="connsiteX5" fmla="*/ 58129 w 66750"/>
                  <a:gd name="connsiteY5" fmla="*/ 21480 h 53628"/>
                  <a:gd name="connsiteX6" fmla="*/ 64559 w 66750"/>
                  <a:gd name="connsiteY6" fmla="*/ 44627 h 53628"/>
                  <a:gd name="connsiteX7" fmla="*/ 49771 w 66750"/>
                  <a:gd name="connsiteY7" fmla="*/ 53628 h 53628"/>
                  <a:gd name="connsiteX8" fmla="*/ 49771 w 66750"/>
                  <a:gd name="connsiteY8" fmla="*/ 53628 h 53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6750" h="53628">
                    <a:moveTo>
                      <a:pt x="49771" y="53628"/>
                    </a:moveTo>
                    <a:cubicBezTo>
                      <a:pt x="47199" y="53628"/>
                      <a:pt x="43984" y="52986"/>
                      <a:pt x="41412" y="51056"/>
                    </a:cubicBezTo>
                    <a:lnTo>
                      <a:pt x="8621" y="31767"/>
                    </a:lnTo>
                    <a:cubicBezTo>
                      <a:pt x="262" y="27267"/>
                      <a:pt x="-2309" y="16979"/>
                      <a:pt x="2191" y="8621"/>
                    </a:cubicBezTo>
                    <a:cubicBezTo>
                      <a:pt x="6692" y="263"/>
                      <a:pt x="16980" y="-2309"/>
                      <a:pt x="25338" y="2191"/>
                    </a:cubicBezTo>
                    <a:lnTo>
                      <a:pt x="58129" y="21480"/>
                    </a:lnTo>
                    <a:cubicBezTo>
                      <a:pt x="66488" y="25981"/>
                      <a:pt x="69059" y="36268"/>
                      <a:pt x="64559" y="44627"/>
                    </a:cubicBezTo>
                    <a:cubicBezTo>
                      <a:pt x="61344" y="50414"/>
                      <a:pt x="55557" y="53628"/>
                      <a:pt x="49771" y="53628"/>
                    </a:cubicBezTo>
                    <a:lnTo>
                      <a:pt x="49771" y="53628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55" name="Forma Livre: Forma 154">
                <a:extLst>
                  <a:ext uri="{FF2B5EF4-FFF2-40B4-BE49-F238E27FC236}">
                    <a16:creationId xmlns:a16="http://schemas.microsoft.com/office/drawing/2014/main" id="{8FC4C039-F39E-46C1-BC3E-09C2ACA993E3}"/>
                  </a:ext>
                </a:extLst>
              </p:cNvPr>
              <p:cNvSpPr/>
              <p:nvPr/>
            </p:nvSpPr>
            <p:spPr>
              <a:xfrm>
                <a:off x="2222800" y="4923478"/>
                <a:ext cx="71368" cy="33434"/>
              </a:xfrm>
              <a:custGeom>
                <a:avLst/>
                <a:gdLst>
                  <a:gd name="connsiteX0" fmla="*/ 54652 w 71368"/>
                  <a:gd name="connsiteY0" fmla="*/ 33434 h 33434"/>
                  <a:gd name="connsiteX1" fmla="*/ 16717 w 71368"/>
                  <a:gd name="connsiteY1" fmla="*/ 33434 h 33434"/>
                  <a:gd name="connsiteX2" fmla="*/ 0 w 71368"/>
                  <a:gd name="connsiteY2" fmla="*/ 16717 h 33434"/>
                  <a:gd name="connsiteX3" fmla="*/ 16717 w 71368"/>
                  <a:gd name="connsiteY3" fmla="*/ 0 h 33434"/>
                  <a:gd name="connsiteX4" fmla="*/ 54652 w 71368"/>
                  <a:gd name="connsiteY4" fmla="*/ 0 h 33434"/>
                  <a:gd name="connsiteX5" fmla="*/ 71369 w 71368"/>
                  <a:gd name="connsiteY5" fmla="*/ 16717 h 33434"/>
                  <a:gd name="connsiteX6" fmla="*/ 54652 w 71368"/>
                  <a:gd name="connsiteY6" fmla="*/ 33434 h 33434"/>
                  <a:gd name="connsiteX7" fmla="*/ 54652 w 71368"/>
                  <a:gd name="connsiteY7" fmla="*/ 33434 h 33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1368" h="33434">
                    <a:moveTo>
                      <a:pt x="54652" y="33434"/>
                    </a:moveTo>
                    <a:lnTo>
                      <a:pt x="16717" y="33434"/>
                    </a:lnTo>
                    <a:cubicBezTo>
                      <a:pt x="7073" y="33434"/>
                      <a:pt x="0" y="25718"/>
                      <a:pt x="0" y="16717"/>
                    </a:cubicBezTo>
                    <a:cubicBezTo>
                      <a:pt x="0" y="7072"/>
                      <a:pt x="7716" y="0"/>
                      <a:pt x="16717" y="0"/>
                    </a:cubicBezTo>
                    <a:lnTo>
                      <a:pt x="54652" y="0"/>
                    </a:lnTo>
                    <a:cubicBezTo>
                      <a:pt x="64296" y="0"/>
                      <a:pt x="71369" y="7716"/>
                      <a:pt x="71369" y="16717"/>
                    </a:cubicBezTo>
                    <a:cubicBezTo>
                      <a:pt x="71369" y="25718"/>
                      <a:pt x="64296" y="33434"/>
                      <a:pt x="54652" y="33434"/>
                    </a:cubicBezTo>
                    <a:lnTo>
                      <a:pt x="54652" y="33434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56" name="Forma Livre: Forma 155">
                <a:extLst>
                  <a:ext uri="{FF2B5EF4-FFF2-40B4-BE49-F238E27FC236}">
                    <a16:creationId xmlns:a16="http://schemas.microsoft.com/office/drawing/2014/main" id="{B3B9546B-4983-491D-BC17-D966F561A612}"/>
                  </a:ext>
                </a:extLst>
              </p:cNvPr>
              <p:cNvSpPr/>
              <p:nvPr/>
            </p:nvSpPr>
            <p:spPr>
              <a:xfrm>
                <a:off x="2587359" y="4927979"/>
                <a:ext cx="71406" cy="33434"/>
              </a:xfrm>
              <a:custGeom>
                <a:avLst/>
                <a:gdLst>
                  <a:gd name="connsiteX0" fmla="*/ 54652 w 71406"/>
                  <a:gd name="connsiteY0" fmla="*/ 33434 h 33434"/>
                  <a:gd name="connsiteX1" fmla="*/ 16717 w 71406"/>
                  <a:gd name="connsiteY1" fmla="*/ 33434 h 33434"/>
                  <a:gd name="connsiteX2" fmla="*/ 0 w 71406"/>
                  <a:gd name="connsiteY2" fmla="*/ 16717 h 33434"/>
                  <a:gd name="connsiteX3" fmla="*/ 16717 w 71406"/>
                  <a:gd name="connsiteY3" fmla="*/ 0 h 33434"/>
                  <a:gd name="connsiteX4" fmla="*/ 54652 w 71406"/>
                  <a:gd name="connsiteY4" fmla="*/ 0 h 33434"/>
                  <a:gd name="connsiteX5" fmla="*/ 71369 w 71406"/>
                  <a:gd name="connsiteY5" fmla="*/ 16717 h 33434"/>
                  <a:gd name="connsiteX6" fmla="*/ 54652 w 71406"/>
                  <a:gd name="connsiteY6" fmla="*/ 33434 h 33434"/>
                  <a:gd name="connsiteX7" fmla="*/ 54652 w 71406"/>
                  <a:gd name="connsiteY7" fmla="*/ 33434 h 33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1406" h="33434">
                    <a:moveTo>
                      <a:pt x="54652" y="33434"/>
                    </a:moveTo>
                    <a:lnTo>
                      <a:pt x="16717" y="33434"/>
                    </a:lnTo>
                    <a:cubicBezTo>
                      <a:pt x="7073" y="33434"/>
                      <a:pt x="0" y="25718"/>
                      <a:pt x="0" y="16717"/>
                    </a:cubicBezTo>
                    <a:cubicBezTo>
                      <a:pt x="0" y="7072"/>
                      <a:pt x="7716" y="0"/>
                      <a:pt x="16717" y="0"/>
                    </a:cubicBezTo>
                    <a:lnTo>
                      <a:pt x="54652" y="0"/>
                    </a:lnTo>
                    <a:cubicBezTo>
                      <a:pt x="64296" y="0"/>
                      <a:pt x="71369" y="7716"/>
                      <a:pt x="71369" y="16717"/>
                    </a:cubicBezTo>
                    <a:cubicBezTo>
                      <a:pt x="72012" y="25718"/>
                      <a:pt x="64296" y="33434"/>
                      <a:pt x="54652" y="33434"/>
                    </a:cubicBezTo>
                    <a:lnTo>
                      <a:pt x="54652" y="33434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57" name="Forma Livre: Forma 156">
                <a:extLst>
                  <a:ext uri="{FF2B5EF4-FFF2-40B4-BE49-F238E27FC236}">
                    <a16:creationId xmlns:a16="http://schemas.microsoft.com/office/drawing/2014/main" id="{502C44EF-6206-4DA9-A6C6-72B174E05B89}"/>
                  </a:ext>
                </a:extLst>
              </p:cNvPr>
              <p:cNvSpPr/>
              <p:nvPr/>
            </p:nvSpPr>
            <p:spPr>
              <a:xfrm>
                <a:off x="2566522" y="4826771"/>
                <a:ext cx="66750" cy="52342"/>
              </a:xfrm>
              <a:custGeom>
                <a:avLst/>
                <a:gdLst>
                  <a:gd name="connsiteX0" fmla="*/ 16980 w 66750"/>
                  <a:gd name="connsiteY0" fmla="*/ 52342 h 52342"/>
                  <a:gd name="connsiteX1" fmla="*/ 2191 w 66750"/>
                  <a:gd name="connsiteY1" fmla="*/ 43984 h 52342"/>
                  <a:gd name="connsiteX2" fmla="*/ 8621 w 66750"/>
                  <a:gd name="connsiteY2" fmla="*/ 20837 h 52342"/>
                  <a:gd name="connsiteX3" fmla="*/ 41412 w 66750"/>
                  <a:gd name="connsiteY3" fmla="*/ 2191 h 52342"/>
                  <a:gd name="connsiteX4" fmla="*/ 64559 w 66750"/>
                  <a:gd name="connsiteY4" fmla="*/ 8621 h 52342"/>
                  <a:gd name="connsiteX5" fmla="*/ 58129 w 66750"/>
                  <a:gd name="connsiteY5" fmla="*/ 31768 h 52342"/>
                  <a:gd name="connsiteX6" fmla="*/ 25338 w 66750"/>
                  <a:gd name="connsiteY6" fmla="*/ 50414 h 52342"/>
                  <a:gd name="connsiteX7" fmla="*/ 16980 w 66750"/>
                  <a:gd name="connsiteY7" fmla="*/ 52342 h 52342"/>
                  <a:gd name="connsiteX8" fmla="*/ 16980 w 66750"/>
                  <a:gd name="connsiteY8" fmla="*/ 52342 h 52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6750" h="52342">
                    <a:moveTo>
                      <a:pt x="16980" y="52342"/>
                    </a:moveTo>
                    <a:cubicBezTo>
                      <a:pt x="11193" y="52342"/>
                      <a:pt x="5406" y="49128"/>
                      <a:pt x="2191" y="43984"/>
                    </a:cubicBezTo>
                    <a:cubicBezTo>
                      <a:pt x="-2309" y="35626"/>
                      <a:pt x="263" y="25338"/>
                      <a:pt x="8621" y="20837"/>
                    </a:cubicBezTo>
                    <a:lnTo>
                      <a:pt x="41412" y="2191"/>
                    </a:lnTo>
                    <a:cubicBezTo>
                      <a:pt x="49771" y="-2309"/>
                      <a:pt x="60058" y="263"/>
                      <a:pt x="64559" y="8621"/>
                    </a:cubicBezTo>
                    <a:cubicBezTo>
                      <a:pt x="69059" y="16979"/>
                      <a:pt x="66488" y="27267"/>
                      <a:pt x="58129" y="31768"/>
                    </a:cubicBezTo>
                    <a:lnTo>
                      <a:pt x="25338" y="50414"/>
                    </a:lnTo>
                    <a:cubicBezTo>
                      <a:pt x="22766" y="51700"/>
                      <a:pt x="20194" y="52342"/>
                      <a:pt x="16980" y="52342"/>
                    </a:cubicBezTo>
                    <a:lnTo>
                      <a:pt x="16980" y="52342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58" name="Forma Livre: Forma 157">
                <a:extLst>
                  <a:ext uri="{FF2B5EF4-FFF2-40B4-BE49-F238E27FC236}">
                    <a16:creationId xmlns:a16="http://schemas.microsoft.com/office/drawing/2014/main" id="{AB0591BA-63DF-4DE8-84B1-3A7F97A43364}"/>
                  </a:ext>
                </a:extLst>
              </p:cNvPr>
              <p:cNvSpPr/>
              <p:nvPr/>
            </p:nvSpPr>
            <p:spPr>
              <a:xfrm>
                <a:off x="2508012" y="4751545"/>
                <a:ext cx="53247" cy="67130"/>
              </a:xfrm>
              <a:custGeom>
                <a:avLst/>
                <a:gdLst>
                  <a:gd name="connsiteX0" fmla="*/ 16980 w 53247"/>
                  <a:gd name="connsiteY0" fmla="*/ 67131 h 67130"/>
                  <a:gd name="connsiteX1" fmla="*/ 8621 w 53247"/>
                  <a:gd name="connsiteY1" fmla="*/ 64559 h 67130"/>
                  <a:gd name="connsiteX2" fmla="*/ 2191 w 53247"/>
                  <a:gd name="connsiteY2" fmla="*/ 41412 h 67130"/>
                  <a:gd name="connsiteX3" fmla="*/ 21480 w 53247"/>
                  <a:gd name="connsiteY3" fmla="*/ 8621 h 67130"/>
                  <a:gd name="connsiteX4" fmla="*/ 44627 w 53247"/>
                  <a:gd name="connsiteY4" fmla="*/ 2191 h 67130"/>
                  <a:gd name="connsiteX5" fmla="*/ 51056 w 53247"/>
                  <a:gd name="connsiteY5" fmla="*/ 25338 h 67130"/>
                  <a:gd name="connsiteX6" fmla="*/ 31768 w 53247"/>
                  <a:gd name="connsiteY6" fmla="*/ 58129 h 67130"/>
                  <a:gd name="connsiteX7" fmla="*/ 16980 w 53247"/>
                  <a:gd name="connsiteY7" fmla="*/ 67131 h 67130"/>
                  <a:gd name="connsiteX8" fmla="*/ 16980 w 53247"/>
                  <a:gd name="connsiteY8" fmla="*/ 67131 h 67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3247" h="67130">
                    <a:moveTo>
                      <a:pt x="16980" y="67131"/>
                    </a:moveTo>
                    <a:cubicBezTo>
                      <a:pt x="14408" y="67131"/>
                      <a:pt x="11193" y="66487"/>
                      <a:pt x="8621" y="64559"/>
                    </a:cubicBezTo>
                    <a:cubicBezTo>
                      <a:pt x="262" y="60058"/>
                      <a:pt x="-2309" y="49771"/>
                      <a:pt x="2191" y="41412"/>
                    </a:cubicBezTo>
                    <a:lnTo>
                      <a:pt x="21480" y="8621"/>
                    </a:lnTo>
                    <a:cubicBezTo>
                      <a:pt x="25981" y="262"/>
                      <a:pt x="36268" y="-2309"/>
                      <a:pt x="44627" y="2191"/>
                    </a:cubicBezTo>
                    <a:cubicBezTo>
                      <a:pt x="52985" y="6692"/>
                      <a:pt x="55557" y="16980"/>
                      <a:pt x="51056" y="25338"/>
                    </a:cubicBezTo>
                    <a:lnTo>
                      <a:pt x="31768" y="58129"/>
                    </a:lnTo>
                    <a:cubicBezTo>
                      <a:pt x="28553" y="63916"/>
                      <a:pt x="22766" y="67131"/>
                      <a:pt x="16980" y="67131"/>
                    </a:cubicBezTo>
                    <a:lnTo>
                      <a:pt x="16980" y="67131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159" name="Forma Livre: Forma 158">
              <a:extLst>
                <a:ext uri="{FF2B5EF4-FFF2-40B4-BE49-F238E27FC236}">
                  <a16:creationId xmlns:a16="http://schemas.microsoft.com/office/drawing/2014/main" id="{8652BFAD-1CA8-4A48-8AA2-00950757E792}"/>
                </a:ext>
              </a:extLst>
            </p:cNvPr>
            <p:cNvSpPr/>
            <p:nvPr/>
          </p:nvSpPr>
          <p:spPr>
            <a:xfrm>
              <a:off x="2231159" y="4995490"/>
              <a:ext cx="174242" cy="16716"/>
            </a:xfrm>
            <a:custGeom>
              <a:avLst/>
              <a:gdLst>
                <a:gd name="connsiteX0" fmla="*/ 165884 w 174242"/>
                <a:gd name="connsiteY0" fmla="*/ 16717 h 16716"/>
                <a:gd name="connsiteX1" fmla="*/ 8359 w 174242"/>
                <a:gd name="connsiteY1" fmla="*/ 16717 h 16716"/>
                <a:gd name="connsiteX2" fmla="*/ 0 w 174242"/>
                <a:gd name="connsiteY2" fmla="*/ 8358 h 16716"/>
                <a:gd name="connsiteX3" fmla="*/ 8359 w 174242"/>
                <a:gd name="connsiteY3" fmla="*/ 0 h 16716"/>
                <a:gd name="connsiteX4" fmla="*/ 165884 w 174242"/>
                <a:gd name="connsiteY4" fmla="*/ 0 h 16716"/>
                <a:gd name="connsiteX5" fmla="*/ 174243 w 174242"/>
                <a:gd name="connsiteY5" fmla="*/ 8358 h 16716"/>
                <a:gd name="connsiteX6" fmla="*/ 165884 w 174242"/>
                <a:gd name="connsiteY6" fmla="*/ 16717 h 16716"/>
                <a:gd name="connsiteX7" fmla="*/ 165884 w 174242"/>
                <a:gd name="connsiteY7" fmla="*/ 16717 h 16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4242" h="16716">
                  <a:moveTo>
                    <a:pt x="165884" y="16717"/>
                  </a:moveTo>
                  <a:lnTo>
                    <a:pt x="8359" y="16717"/>
                  </a:lnTo>
                  <a:cubicBezTo>
                    <a:pt x="3858" y="16717"/>
                    <a:pt x="0" y="12859"/>
                    <a:pt x="0" y="8358"/>
                  </a:cubicBezTo>
                  <a:cubicBezTo>
                    <a:pt x="0" y="3858"/>
                    <a:pt x="3858" y="0"/>
                    <a:pt x="8359" y="0"/>
                  </a:cubicBezTo>
                  <a:lnTo>
                    <a:pt x="165884" y="0"/>
                  </a:lnTo>
                  <a:cubicBezTo>
                    <a:pt x="170385" y="0"/>
                    <a:pt x="174243" y="3858"/>
                    <a:pt x="174243" y="8358"/>
                  </a:cubicBezTo>
                  <a:cubicBezTo>
                    <a:pt x="174243" y="12859"/>
                    <a:pt x="170385" y="16717"/>
                    <a:pt x="165884" y="16717"/>
                  </a:cubicBezTo>
                  <a:lnTo>
                    <a:pt x="165884" y="16717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60" name="Forma Livre: Forma 159">
              <a:extLst>
                <a:ext uri="{FF2B5EF4-FFF2-40B4-BE49-F238E27FC236}">
                  <a16:creationId xmlns:a16="http://schemas.microsoft.com/office/drawing/2014/main" id="{F6482CB3-EF91-41E1-B8F6-4D4365E17CF3}"/>
                </a:ext>
              </a:extLst>
            </p:cNvPr>
            <p:cNvSpPr/>
            <p:nvPr/>
          </p:nvSpPr>
          <p:spPr>
            <a:xfrm>
              <a:off x="2476127" y="4995490"/>
              <a:ext cx="174312" cy="16716"/>
            </a:xfrm>
            <a:custGeom>
              <a:avLst/>
              <a:gdLst>
                <a:gd name="connsiteX0" fmla="*/ 165884 w 174312"/>
                <a:gd name="connsiteY0" fmla="*/ 16717 h 16716"/>
                <a:gd name="connsiteX1" fmla="*/ 8359 w 174312"/>
                <a:gd name="connsiteY1" fmla="*/ 16717 h 16716"/>
                <a:gd name="connsiteX2" fmla="*/ 0 w 174312"/>
                <a:gd name="connsiteY2" fmla="*/ 8358 h 16716"/>
                <a:gd name="connsiteX3" fmla="*/ 8359 w 174312"/>
                <a:gd name="connsiteY3" fmla="*/ 0 h 16716"/>
                <a:gd name="connsiteX4" fmla="*/ 165884 w 174312"/>
                <a:gd name="connsiteY4" fmla="*/ 0 h 16716"/>
                <a:gd name="connsiteX5" fmla="*/ 174243 w 174312"/>
                <a:gd name="connsiteY5" fmla="*/ 8358 h 16716"/>
                <a:gd name="connsiteX6" fmla="*/ 165884 w 174312"/>
                <a:gd name="connsiteY6" fmla="*/ 16717 h 16716"/>
                <a:gd name="connsiteX7" fmla="*/ 165884 w 174312"/>
                <a:gd name="connsiteY7" fmla="*/ 16717 h 16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4312" h="16716">
                  <a:moveTo>
                    <a:pt x="165884" y="16717"/>
                  </a:moveTo>
                  <a:lnTo>
                    <a:pt x="8359" y="16717"/>
                  </a:lnTo>
                  <a:cubicBezTo>
                    <a:pt x="3858" y="16717"/>
                    <a:pt x="0" y="12859"/>
                    <a:pt x="0" y="8358"/>
                  </a:cubicBezTo>
                  <a:cubicBezTo>
                    <a:pt x="0" y="3858"/>
                    <a:pt x="3858" y="0"/>
                    <a:pt x="8359" y="0"/>
                  </a:cubicBezTo>
                  <a:lnTo>
                    <a:pt x="165884" y="0"/>
                  </a:lnTo>
                  <a:cubicBezTo>
                    <a:pt x="170385" y="0"/>
                    <a:pt x="174243" y="3858"/>
                    <a:pt x="174243" y="8358"/>
                  </a:cubicBezTo>
                  <a:cubicBezTo>
                    <a:pt x="174885" y="12859"/>
                    <a:pt x="171028" y="16717"/>
                    <a:pt x="165884" y="16717"/>
                  </a:cubicBezTo>
                  <a:lnTo>
                    <a:pt x="165884" y="16717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61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6354871" y="4630009"/>
            <a:ext cx="483274" cy="438894"/>
            <a:chOff x="6358328" y="4696992"/>
            <a:chExt cx="490100" cy="445093"/>
          </a:xfrm>
          <a:solidFill>
            <a:srgbClr val="B1B1A1"/>
          </a:solidFill>
        </p:grpSpPr>
        <p:sp>
          <p:nvSpPr>
            <p:cNvPr id="162" name="Forma Livre: Forma 161">
              <a:extLst>
                <a:ext uri="{FF2B5EF4-FFF2-40B4-BE49-F238E27FC236}">
                  <a16:creationId xmlns:a16="http://schemas.microsoft.com/office/drawing/2014/main" id="{50EF5E53-F55B-4F6D-BD1C-F53411FAA159}"/>
                </a:ext>
              </a:extLst>
            </p:cNvPr>
            <p:cNvSpPr/>
            <p:nvPr/>
          </p:nvSpPr>
          <p:spPr>
            <a:xfrm>
              <a:off x="6358328" y="4818032"/>
              <a:ext cx="378061" cy="243682"/>
            </a:xfrm>
            <a:custGeom>
              <a:avLst/>
              <a:gdLst>
                <a:gd name="connsiteX0" fmla="*/ 291261 w 378061"/>
                <a:gd name="connsiteY0" fmla="*/ 243683 h 243682"/>
                <a:gd name="connsiteX1" fmla="*/ 78441 w 378061"/>
                <a:gd name="connsiteY1" fmla="*/ 243683 h 243682"/>
                <a:gd name="connsiteX2" fmla="*/ 56581 w 378061"/>
                <a:gd name="connsiteY2" fmla="*/ 239825 h 243682"/>
                <a:gd name="connsiteX3" fmla="*/ 0 w 378061"/>
                <a:gd name="connsiteY3" fmla="*/ 163312 h 243682"/>
                <a:gd name="connsiteX4" fmla="*/ 77799 w 378061"/>
                <a:gd name="connsiteY4" fmla="*/ 82942 h 243682"/>
                <a:gd name="connsiteX5" fmla="*/ 178743 w 378061"/>
                <a:gd name="connsiteY5" fmla="*/ 0 h 243682"/>
                <a:gd name="connsiteX6" fmla="*/ 273902 w 378061"/>
                <a:gd name="connsiteY6" fmla="*/ 63011 h 243682"/>
                <a:gd name="connsiteX7" fmla="*/ 287404 w 378061"/>
                <a:gd name="connsiteY7" fmla="*/ 61725 h 243682"/>
                <a:gd name="connsiteX8" fmla="*/ 378061 w 378061"/>
                <a:gd name="connsiteY8" fmla="*/ 152382 h 243682"/>
                <a:gd name="connsiteX9" fmla="*/ 314408 w 378061"/>
                <a:gd name="connsiteY9" fmla="*/ 239182 h 243682"/>
                <a:gd name="connsiteX10" fmla="*/ 291261 w 378061"/>
                <a:gd name="connsiteY10" fmla="*/ 243683 h 243682"/>
                <a:gd name="connsiteX11" fmla="*/ 291261 w 378061"/>
                <a:gd name="connsiteY11" fmla="*/ 243683 h 243682"/>
                <a:gd name="connsiteX12" fmla="*/ 79727 w 378061"/>
                <a:gd name="connsiteY12" fmla="*/ 117019 h 243682"/>
                <a:gd name="connsiteX13" fmla="*/ 33434 w 378061"/>
                <a:gd name="connsiteY13" fmla="*/ 163312 h 243682"/>
                <a:gd name="connsiteX14" fmla="*/ 66225 w 378061"/>
                <a:gd name="connsiteY14" fmla="*/ 207677 h 243682"/>
                <a:gd name="connsiteX15" fmla="*/ 77799 w 378061"/>
                <a:gd name="connsiteY15" fmla="*/ 209606 h 243682"/>
                <a:gd name="connsiteX16" fmla="*/ 290619 w 378061"/>
                <a:gd name="connsiteY16" fmla="*/ 209606 h 243682"/>
                <a:gd name="connsiteX17" fmla="*/ 302835 w 378061"/>
                <a:gd name="connsiteY17" fmla="*/ 207034 h 243682"/>
                <a:gd name="connsiteX18" fmla="*/ 343342 w 378061"/>
                <a:gd name="connsiteY18" fmla="*/ 152382 h 243682"/>
                <a:gd name="connsiteX19" fmla="*/ 286761 w 378061"/>
                <a:gd name="connsiteY19" fmla="*/ 95801 h 243682"/>
                <a:gd name="connsiteX20" fmla="*/ 267472 w 378061"/>
                <a:gd name="connsiteY20" fmla="*/ 99016 h 243682"/>
                <a:gd name="connsiteX21" fmla="*/ 249469 w 378061"/>
                <a:gd name="connsiteY21" fmla="*/ 105446 h 243682"/>
                <a:gd name="connsiteX22" fmla="*/ 244969 w 378061"/>
                <a:gd name="connsiteY22" fmla="*/ 86800 h 243682"/>
                <a:gd name="connsiteX23" fmla="*/ 177458 w 378061"/>
                <a:gd name="connsiteY23" fmla="*/ 33434 h 243682"/>
                <a:gd name="connsiteX24" fmla="*/ 108661 w 378061"/>
                <a:gd name="connsiteY24" fmla="*/ 100945 h 243682"/>
                <a:gd name="connsiteX25" fmla="*/ 108017 w 378061"/>
                <a:gd name="connsiteY25" fmla="*/ 121520 h 243682"/>
                <a:gd name="connsiteX26" fmla="*/ 88086 w 378061"/>
                <a:gd name="connsiteY26" fmla="*/ 117662 h 243682"/>
                <a:gd name="connsiteX27" fmla="*/ 79727 w 378061"/>
                <a:gd name="connsiteY27" fmla="*/ 117019 h 243682"/>
                <a:gd name="connsiteX28" fmla="*/ 79727 w 378061"/>
                <a:gd name="connsiteY28" fmla="*/ 117019 h 243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78061" h="243682">
                  <a:moveTo>
                    <a:pt x="291261" y="243683"/>
                  </a:moveTo>
                  <a:lnTo>
                    <a:pt x="78441" y="243683"/>
                  </a:lnTo>
                  <a:cubicBezTo>
                    <a:pt x="70726" y="243683"/>
                    <a:pt x="63653" y="242397"/>
                    <a:pt x="56581" y="239825"/>
                  </a:cubicBezTo>
                  <a:cubicBezTo>
                    <a:pt x="23147" y="229537"/>
                    <a:pt x="0" y="198032"/>
                    <a:pt x="0" y="163312"/>
                  </a:cubicBezTo>
                  <a:cubicBezTo>
                    <a:pt x="0" y="119591"/>
                    <a:pt x="34720" y="84228"/>
                    <a:pt x="77799" y="82942"/>
                  </a:cubicBezTo>
                  <a:cubicBezTo>
                    <a:pt x="87443" y="36006"/>
                    <a:pt x="129235" y="0"/>
                    <a:pt x="178743" y="0"/>
                  </a:cubicBezTo>
                  <a:cubicBezTo>
                    <a:pt x="221179" y="0"/>
                    <a:pt x="257828" y="25076"/>
                    <a:pt x="273902" y="63011"/>
                  </a:cubicBezTo>
                  <a:cubicBezTo>
                    <a:pt x="278402" y="62367"/>
                    <a:pt x="282903" y="61725"/>
                    <a:pt x="287404" y="61725"/>
                  </a:cubicBezTo>
                  <a:cubicBezTo>
                    <a:pt x="337555" y="61725"/>
                    <a:pt x="378061" y="102231"/>
                    <a:pt x="378061" y="152382"/>
                  </a:cubicBezTo>
                  <a:cubicBezTo>
                    <a:pt x="378061" y="192246"/>
                    <a:pt x="352343" y="226966"/>
                    <a:pt x="314408" y="239182"/>
                  </a:cubicBezTo>
                  <a:cubicBezTo>
                    <a:pt x="307979" y="241754"/>
                    <a:pt x="299620" y="243683"/>
                    <a:pt x="291261" y="243683"/>
                  </a:cubicBezTo>
                  <a:lnTo>
                    <a:pt x="291261" y="243683"/>
                  </a:lnTo>
                  <a:close/>
                  <a:moveTo>
                    <a:pt x="79727" y="117019"/>
                  </a:moveTo>
                  <a:cubicBezTo>
                    <a:pt x="54009" y="117019"/>
                    <a:pt x="33434" y="137594"/>
                    <a:pt x="33434" y="163312"/>
                  </a:cubicBezTo>
                  <a:cubicBezTo>
                    <a:pt x="33434" y="183244"/>
                    <a:pt x="46936" y="201890"/>
                    <a:pt x="66225" y="207677"/>
                  </a:cubicBezTo>
                  <a:cubicBezTo>
                    <a:pt x="70083" y="208962"/>
                    <a:pt x="73941" y="209606"/>
                    <a:pt x="77799" y="209606"/>
                  </a:cubicBezTo>
                  <a:lnTo>
                    <a:pt x="290619" y="209606"/>
                  </a:lnTo>
                  <a:cubicBezTo>
                    <a:pt x="294476" y="209606"/>
                    <a:pt x="298977" y="208962"/>
                    <a:pt x="302835" y="207034"/>
                  </a:cubicBezTo>
                  <a:cubicBezTo>
                    <a:pt x="327268" y="199318"/>
                    <a:pt x="343342" y="177458"/>
                    <a:pt x="343342" y="152382"/>
                  </a:cubicBezTo>
                  <a:cubicBezTo>
                    <a:pt x="343342" y="120877"/>
                    <a:pt x="317623" y="95801"/>
                    <a:pt x="286761" y="95801"/>
                  </a:cubicBezTo>
                  <a:cubicBezTo>
                    <a:pt x="280331" y="95801"/>
                    <a:pt x="273902" y="97087"/>
                    <a:pt x="267472" y="99016"/>
                  </a:cubicBezTo>
                  <a:lnTo>
                    <a:pt x="249469" y="105446"/>
                  </a:lnTo>
                  <a:lnTo>
                    <a:pt x="244969" y="86800"/>
                  </a:lnTo>
                  <a:cubicBezTo>
                    <a:pt x="237253" y="55295"/>
                    <a:pt x="209606" y="33434"/>
                    <a:pt x="177458" y="33434"/>
                  </a:cubicBezTo>
                  <a:cubicBezTo>
                    <a:pt x="140166" y="33434"/>
                    <a:pt x="109303" y="63653"/>
                    <a:pt x="108661" y="100945"/>
                  </a:cubicBezTo>
                  <a:lnTo>
                    <a:pt x="108017" y="121520"/>
                  </a:lnTo>
                  <a:lnTo>
                    <a:pt x="88086" y="117662"/>
                  </a:lnTo>
                  <a:cubicBezTo>
                    <a:pt x="86157" y="117662"/>
                    <a:pt x="82942" y="117019"/>
                    <a:pt x="79727" y="117019"/>
                  </a:cubicBezTo>
                  <a:lnTo>
                    <a:pt x="79727" y="117019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163" name="Gráfico 2">
              <a:extLst>
                <a:ext uri="{FF2B5EF4-FFF2-40B4-BE49-F238E27FC236}">
                  <a16:creationId xmlns:a16="http://schemas.microsoft.com/office/drawing/2014/main" id="{40F8E44F-B406-439F-8B63-82F15B4E8194}"/>
                </a:ext>
              </a:extLst>
            </p:cNvPr>
            <p:cNvGrpSpPr/>
            <p:nvPr/>
          </p:nvGrpSpPr>
          <p:grpSpPr>
            <a:xfrm>
              <a:off x="6502039" y="4696992"/>
              <a:ext cx="346389" cy="326145"/>
              <a:chOff x="6502039" y="4696992"/>
              <a:chExt cx="346389" cy="326145"/>
            </a:xfrm>
            <a:grpFill/>
          </p:grpSpPr>
          <p:sp>
            <p:nvSpPr>
              <p:cNvPr id="164" name="Forma Livre: Forma 163">
                <a:extLst>
                  <a:ext uri="{FF2B5EF4-FFF2-40B4-BE49-F238E27FC236}">
                    <a16:creationId xmlns:a16="http://schemas.microsoft.com/office/drawing/2014/main" id="{1FC6FBF4-4C13-4D30-B83E-DDC138A6EBAB}"/>
                  </a:ext>
                </a:extLst>
              </p:cNvPr>
              <p:cNvSpPr/>
              <p:nvPr/>
            </p:nvSpPr>
            <p:spPr>
              <a:xfrm>
                <a:off x="6572764" y="4787357"/>
                <a:ext cx="187227" cy="175341"/>
              </a:xfrm>
              <a:custGeom>
                <a:avLst/>
                <a:gdLst>
                  <a:gd name="connsiteX0" fmla="*/ 148837 w 187227"/>
                  <a:gd name="connsiteY0" fmla="*/ 175341 h 175341"/>
                  <a:gd name="connsiteX1" fmla="*/ 137906 w 187227"/>
                  <a:gd name="connsiteY1" fmla="*/ 171484 h 175341"/>
                  <a:gd name="connsiteX2" fmla="*/ 135977 w 187227"/>
                  <a:gd name="connsiteY2" fmla="*/ 147694 h 175341"/>
                  <a:gd name="connsiteX3" fmla="*/ 152051 w 187227"/>
                  <a:gd name="connsiteY3" fmla="*/ 96900 h 175341"/>
                  <a:gd name="connsiteX4" fmla="*/ 127619 w 187227"/>
                  <a:gd name="connsiteY4" fmla="*/ 49964 h 175341"/>
                  <a:gd name="connsiteX5" fmla="*/ 76825 w 187227"/>
                  <a:gd name="connsiteY5" fmla="*/ 33890 h 175341"/>
                  <a:gd name="connsiteX6" fmla="*/ 29889 w 187227"/>
                  <a:gd name="connsiteY6" fmla="*/ 58965 h 175341"/>
                  <a:gd name="connsiteX7" fmla="*/ 6099 w 187227"/>
                  <a:gd name="connsiteY7" fmla="*/ 60894 h 175341"/>
                  <a:gd name="connsiteX8" fmla="*/ 4170 w 187227"/>
                  <a:gd name="connsiteY8" fmla="*/ 37105 h 175341"/>
                  <a:gd name="connsiteX9" fmla="*/ 74253 w 187227"/>
                  <a:gd name="connsiteY9" fmla="*/ 456 h 175341"/>
                  <a:gd name="connsiteX10" fmla="*/ 150123 w 187227"/>
                  <a:gd name="connsiteY10" fmla="*/ 24245 h 175341"/>
                  <a:gd name="connsiteX11" fmla="*/ 186771 w 187227"/>
                  <a:gd name="connsiteY11" fmla="*/ 94328 h 175341"/>
                  <a:gd name="connsiteX12" fmla="*/ 162982 w 187227"/>
                  <a:gd name="connsiteY12" fmla="*/ 170198 h 175341"/>
                  <a:gd name="connsiteX13" fmla="*/ 148837 w 187227"/>
                  <a:gd name="connsiteY13" fmla="*/ 175341 h 175341"/>
                  <a:gd name="connsiteX14" fmla="*/ 148837 w 187227"/>
                  <a:gd name="connsiteY14" fmla="*/ 175341 h 1753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87227" h="175341">
                    <a:moveTo>
                      <a:pt x="148837" y="175341"/>
                    </a:moveTo>
                    <a:cubicBezTo>
                      <a:pt x="144979" y="175341"/>
                      <a:pt x="141121" y="174056"/>
                      <a:pt x="137906" y="171484"/>
                    </a:cubicBezTo>
                    <a:cubicBezTo>
                      <a:pt x="130834" y="165697"/>
                      <a:pt x="129548" y="154767"/>
                      <a:pt x="135977" y="147694"/>
                    </a:cubicBezTo>
                    <a:cubicBezTo>
                      <a:pt x="147551" y="133549"/>
                      <a:pt x="153337" y="115546"/>
                      <a:pt x="152051" y="96900"/>
                    </a:cubicBezTo>
                    <a:cubicBezTo>
                      <a:pt x="150123" y="78254"/>
                      <a:pt x="141764" y="61537"/>
                      <a:pt x="127619" y="49964"/>
                    </a:cubicBezTo>
                    <a:cubicBezTo>
                      <a:pt x="113474" y="38391"/>
                      <a:pt x="95471" y="32604"/>
                      <a:pt x="76825" y="33890"/>
                    </a:cubicBezTo>
                    <a:cubicBezTo>
                      <a:pt x="58179" y="35819"/>
                      <a:pt x="41462" y="44177"/>
                      <a:pt x="29889" y="58965"/>
                    </a:cubicBezTo>
                    <a:cubicBezTo>
                      <a:pt x="24102" y="66038"/>
                      <a:pt x="13172" y="67324"/>
                      <a:pt x="6099" y="60894"/>
                    </a:cubicBezTo>
                    <a:cubicBezTo>
                      <a:pt x="-973" y="55108"/>
                      <a:pt x="-2259" y="44177"/>
                      <a:pt x="4170" y="37105"/>
                    </a:cubicBezTo>
                    <a:cubicBezTo>
                      <a:pt x="21530" y="15887"/>
                      <a:pt x="46606" y="3028"/>
                      <a:pt x="74253" y="456"/>
                    </a:cubicBezTo>
                    <a:cubicBezTo>
                      <a:pt x="101900" y="-2116"/>
                      <a:pt x="128262" y="6242"/>
                      <a:pt x="150123" y="24245"/>
                    </a:cubicBezTo>
                    <a:cubicBezTo>
                      <a:pt x="171340" y="41605"/>
                      <a:pt x="184199" y="66681"/>
                      <a:pt x="186771" y="94328"/>
                    </a:cubicBezTo>
                    <a:cubicBezTo>
                      <a:pt x="189343" y="121976"/>
                      <a:pt x="180985" y="148980"/>
                      <a:pt x="162982" y="170198"/>
                    </a:cubicBezTo>
                    <a:cubicBezTo>
                      <a:pt x="159124" y="172770"/>
                      <a:pt x="153980" y="175341"/>
                      <a:pt x="148837" y="175341"/>
                    </a:cubicBezTo>
                    <a:lnTo>
                      <a:pt x="148837" y="175341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65" name="Forma Livre: Forma 164">
                <a:extLst>
                  <a:ext uri="{FF2B5EF4-FFF2-40B4-BE49-F238E27FC236}">
                    <a16:creationId xmlns:a16="http://schemas.microsoft.com/office/drawing/2014/main" id="{B3AAB431-85E6-4C66-84B2-1ABDAE47F675}"/>
                  </a:ext>
                </a:extLst>
              </p:cNvPr>
              <p:cNvSpPr/>
              <p:nvPr/>
            </p:nvSpPr>
            <p:spPr>
              <a:xfrm>
                <a:off x="6732862" y="4737350"/>
                <a:ext cx="55919" cy="59464"/>
              </a:xfrm>
              <a:custGeom>
                <a:avLst/>
                <a:gdLst>
                  <a:gd name="connsiteX0" fmla="*/ 17029 w 55919"/>
                  <a:gd name="connsiteY0" fmla="*/ 59465 h 59464"/>
                  <a:gd name="connsiteX1" fmla="*/ 6099 w 55919"/>
                  <a:gd name="connsiteY1" fmla="*/ 55607 h 59464"/>
                  <a:gd name="connsiteX2" fmla="*/ 4170 w 55919"/>
                  <a:gd name="connsiteY2" fmla="*/ 31817 h 59464"/>
                  <a:gd name="connsiteX3" fmla="*/ 26031 w 55919"/>
                  <a:gd name="connsiteY3" fmla="*/ 6099 h 59464"/>
                  <a:gd name="connsiteX4" fmla="*/ 49820 w 55919"/>
                  <a:gd name="connsiteY4" fmla="*/ 4170 h 59464"/>
                  <a:gd name="connsiteX5" fmla="*/ 51749 w 55919"/>
                  <a:gd name="connsiteY5" fmla="*/ 27960 h 59464"/>
                  <a:gd name="connsiteX6" fmla="*/ 29889 w 55919"/>
                  <a:gd name="connsiteY6" fmla="*/ 53678 h 59464"/>
                  <a:gd name="connsiteX7" fmla="*/ 17029 w 55919"/>
                  <a:gd name="connsiteY7" fmla="*/ 59465 h 59464"/>
                  <a:gd name="connsiteX8" fmla="*/ 17029 w 55919"/>
                  <a:gd name="connsiteY8" fmla="*/ 59465 h 59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5919" h="59464">
                    <a:moveTo>
                      <a:pt x="17029" y="59465"/>
                    </a:moveTo>
                    <a:cubicBezTo>
                      <a:pt x="13171" y="59465"/>
                      <a:pt x="9314" y="58179"/>
                      <a:pt x="6099" y="55607"/>
                    </a:cubicBezTo>
                    <a:cubicBezTo>
                      <a:pt x="-973" y="49820"/>
                      <a:pt x="-2259" y="38890"/>
                      <a:pt x="4170" y="31817"/>
                    </a:cubicBezTo>
                    <a:lnTo>
                      <a:pt x="26031" y="6099"/>
                    </a:lnTo>
                    <a:cubicBezTo>
                      <a:pt x="31817" y="-973"/>
                      <a:pt x="42748" y="-2259"/>
                      <a:pt x="49820" y="4170"/>
                    </a:cubicBezTo>
                    <a:cubicBezTo>
                      <a:pt x="56893" y="9957"/>
                      <a:pt x="58179" y="20887"/>
                      <a:pt x="51749" y="27960"/>
                    </a:cubicBezTo>
                    <a:lnTo>
                      <a:pt x="29889" y="53678"/>
                    </a:lnTo>
                    <a:cubicBezTo>
                      <a:pt x="26674" y="57536"/>
                      <a:pt x="22173" y="59465"/>
                      <a:pt x="17029" y="59465"/>
                    </a:cubicBezTo>
                    <a:lnTo>
                      <a:pt x="17029" y="59465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66" name="Forma Livre: Forma 165">
                <a:extLst>
                  <a:ext uri="{FF2B5EF4-FFF2-40B4-BE49-F238E27FC236}">
                    <a16:creationId xmlns:a16="http://schemas.microsoft.com/office/drawing/2014/main" id="{A1D3276A-8CAA-438A-A415-68764A3E8279}"/>
                  </a:ext>
                </a:extLst>
              </p:cNvPr>
              <p:cNvSpPr/>
              <p:nvPr/>
            </p:nvSpPr>
            <p:spPr>
              <a:xfrm>
                <a:off x="6665499" y="4696992"/>
                <a:ext cx="39548" cy="67032"/>
              </a:xfrm>
              <a:custGeom>
                <a:avLst/>
                <a:gdLst>
                  <a:gd name="connsiteX0" fmla="*/ 16881 w 39548"/>
                  <a:gd name="connsiteY0" fmla="*/ 67032 h 67032"/>
                  <a:gd name="connsiteX1" fmla="*/ 14309 w 39548"/>
                  <a:gd name="connsiteY1" fmla="*/ 67032 h 67032"/>
                  <a:gd name="connsiteX2" fmla="*/ 164 w 39548"/>
                  <a:gd name="connsiteY2" fmla="*/ 47743 h 67032"/>
                  <a:gd name="connsiteX3" fmla="*/ 5951 w 39548"/>
                  <a:gd name="connsiteY3" fmla="*/ 14309 h 67032"/>
                  <a:gd name="connsiteX4" fmla="*/ 25239 w 39548"/>
                  <a:gd name="connsiteY4" fmla="*/ 164 h 67032"/>
                  <a:gd name="connsiteX5" fmla="*/ 39385 w 39548"/>
                  <a:gd name="connsiteY5" fmla="*/ 19453 h 67032"/>
                  <a:gd name="connsiteX6" fmla="*/ 33598 w 39548"/>
                  <a:gd name="connsiteY6" fmla="*/ 52887 h 67032"/>
                  <a:gd name="connsiteX7" fmla="*/ 16881 w 39548"/>
                  <a:gd name="connsiteY7" fmla="*/ 67032 h 67032"/>
                  <a:gd name="connsiteX8" fmla="*/ 16881 w 39548"/>
                  <a:gd name="connsiteY8" fmla="*/ 67032 h 670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9548" h="67032">
                    <a:moveTo>
                      <a:pt x="16881" y="67032"/>
                    </a:moveTo>
                    <a:cubicBezTo>
                      <a:pt x="16238" y="67032"/>
                      <a:pt x="14952" y="67032"/>
                      <a:pt x="14309" y="67032"/>
                    </a:cubicBezTo>
                    <a:cubicBezTo>
                      <a:pt x="5308" y="65746"/>
                      <a:pt x="-1122" y="56744"/>
                      <a:pt x="164" y="47743"/>
                    </a:cubicBezTo>
                    <a:lnTo>
                      <a:pt x="5951" y="14309"/>
                    </a:lnTo>
                    <a:cubicBezTo>
                      <a:pt x="7237" y="5307"/>
                      <a:pt x="16238" y="-1122"/>
                      <a:pt x="25239" y="164"/>
                    </a:cubicBezTo>
                    <a:cubicBezTo>
                      <a:pt x="34241" y="1450"/>
                      <a:pt x="40671" y="10451"/>
                      <a:pt x="39385" y="19453"/>
                    </a:cubicBezTo>
                    <a:lnTo>
                      <a:pt x="33598" y="52887"/>
                    </a:lnTo>
                    <a:cubicBezTo>
                      <a:pt x="32312" y="61245"/>
                      <a:pt x="25239" y="67032"/>
                      <a:pt x="16881" y="67032"/>
                    </a:cubicBezTo>
                    <a:lnTo>
                      <a:pt x="16881" y="67032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67" name="Forma Livre: Forma 166">
                <a:extLst>
                  <a:ext uri="{FF2B5EF4-FFF2-40B4-BE49-F238E27FC236}">
                    <a16:creationId xmlns:a16="http://schemas.microsoft.com/office/drawing/2014/main" id="{FBF8FEBB-CDBC-4429-A43A-6D61C90000D6}"/>
                  </a:ext>
                </a:extLst>
              </p:cNvPr>
              <p:cNvSpPr/>
              <p:nvPr/>
            </p:nvSpPr>
            <p:spPr>
              <a:xfrm>
                <a:off x="6578471" y="4704478"/>
                <a:ext cx="45792" cy="65331"/>
              </a:xfrm>
              <a:custGeom>
                <a:avLst/>
                <a:gdLst>
                  <a:gd name="connsiteX0" fmla="*/ 28683 w 45792"/>
                  <a:gd name="connsiteY0" fmla="*/ 65332 h 65331"/>
                  <a:gd name="connsiteX1" fmla="*/ 12609 w 45792"/>
                  <a:gd name="connsiteY1" fmla="*/ 54402 h 65331"/>
                  <a:gd name="connsiteX2" fmla="*/ 1036 w 45792"/>
                  <a:gd name="connsiteY2" fmla="*/ 22897 h 65331"/>
                  <a:gd name="connsiteX3" fmla="*/ 11323 w 45792"/>
                  <a:gd name="connsiteY3" fmla="*/ 1036 h 65331"/>
                  <a:gd name="connsiteX4" fmla="*/ 33184 w 45792"/>
                  <a:gd name="connsiteY4" fmla="*/ 11323 h 65331"/>
                  <a:gd name="connsiteX5" fmla="*/ 44757 w 45792"/>
                  <a:gd name="connsiteY5" fmla="*/ 42828 h 65331"/>
                  <a:gd name="connsiteX6" fmla="*/ 34470 w 45792"/>
                  <a:gd name="connsiteY6" fmla="*/ 64689 h 65331"/>
                  <a:gd name="connsiteX7" fmla="*/ 28683 w 45792"/>
                  <a:gd name="connsiteY7" fmla="*/ 65332 h 65331"/>
                  <a:gd name="connsiteX8" fmla="*/ 28683 w 45792"/>
                  <a:gd name="connsiteY8" fmla="*/ 65332 h 65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792" h="65331">
                    <a:moveTo>
                      <a:pt x="28683" y="65332"/>
                    </a:moveTo>
                    <a:cubicBezTo>
                      <a:pt x="21611" y="65332"/>
                      <a:pt x="15181" y="60831"/>
                      <a:pt x="12609" y="54402"/>
                    </a:cubicBezTo>
                    <a:lnTo>
                      <a:pt x="1036" y="22897"/>
                    </a:lnTo>
                    <a:cubicBezTo>
                      <a:pt x="-2179" y="13895"/>
                      <a:pt x="2322" y="4251"/>
                      <a:pt x="11323" y="1036"/>
                    </a:cubicBezTo>
                    <a:cubicBezTo>
                      <a:pt x="20325" y="-2179"/>
                      <a:pt x="29969" y="2322"/>
                      <a:pt x="33184" y="11323"/>
                    </a:cubicBezTo>
                    <a:lnTo>
                      <a:pt x="44757" y="42828"/>
                    </a:lnTo>
                    <a:cubicBezTo>
                      <a:pt x="47972" y="51830"/>
                      <a:pt x="43471" y="61474"/>
                      <a:pt x="34470" y="64689"/>
                    </a:cubicBezTo>
                    <a:cubicBezTo>
                      <a:pt x="32541" y="65332"/>
                      <a:pt x="30612" y="65332"/>
                      <a:pt x="28683" y="65332"/>
                    </a:cubicBezTo>
                    <a:lnTo>
                      <a:pt x="28683" y="65332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68" name="Forma Livre: Forma 167">
                <a:extLst>
                  <a:ext uri="{FF2B5EF4-FFF2-40B4-BE49-F238E27FC236}">
                    <a16:creationId xmlns:a16="http://schemas.microsoft.com/office/drawing/2014/main" id="{A4691243-67D8-4BE6-9077-BC86D961E012}"/>
                  </a:ext>
                </a:extLst>
              </p:cNvPr>
              <p:cNvSpPr/>
              <p:nvPr/>
            </p:nvSpPr>
            <p:spPr>
              <a:xfrm>
                <a:off x="6502039" y="4756639"/>
                <a:ext cx="59777" cy="55607"/>
              </a:xfrm>
              <a:custGeom>
                <a:avLst/>
                <a:gdLst>
                  <a:gd name="connsiteX0" fmla="*/ 42748 w 59777"/>
                  <a:gd name="connsiteY0" fmla="*/ 55607 h 55607"/>
                  <a:gd name="connsiteX1" fmla="*/ 31817 w 59777"/>
                  <a:gd name="connsiteY1" fmla="*/ 51749 h 55607"/>
                  <a:gd name="connsiteX2" fmla="*/ 6099 w 59777"/>
                  <a:gd name="connsiteY2" fmla="*/ 29889 h 55607"/>
                  <a:gd name="connsiteX3" fmla="*/ 4170 w 59777"/>
                  <a:gd name="connsiteY3" fmla="*/ 6099 h 55607"/>
                  <a:gd name="connsiteX4" fmla="*/ 27960 w 59777"/>
                  <a:gd name="connsiteY4" fmla="*/ 4170 h 55607"/>
                  <a:gd name="connsiteX5" fmla="*/ 53678 w 59777"/>
                  <a:gd name="connsiteY5" fmla="*/ 26031 h 55607"/>
                  <a:gd name="connsiteX6" fmla="*/ 55607 w 59777"/>
                  <a:gd name="connsiteY6" fmla="*/ 49820 h 55607"/>
                  <a:gd name="connsiteX7" fmla="*/ 42748 w 59777"/>
                  <a:gd name="connsiteY7" fmla="*/ 55607 h 55607"/>
                  <a:gd name="connsiteX8" fmla="*/ 42748 w 59777"/>
                  <a:gd name="connsiteY8" fmla="*/ 55607 h 55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9777" h="55607">
                    <a:moveTo>
                      <a:pt x="42748" y="55607"/>
                    </a:moveTo>
                    <a:cubicBezTo>
                      <a:pt x="38890" y="55607"/>
                      <a:pt x="35032" y="54321"/>
                      <a:pt x="31817" y="51749"/>
                    </a:cubicBezTo>
                    <a:lnTo>
                      <a:pt x="6099" y="29889"/>
                    </a:lnTo>
                    <a:cubicBezTo>
                      <a:pt x="-973" y="24102"/>
                      <a:pt x="-2259" y="13171"/>
                      <a:pt x="4170" y="6099"/>
                    </a:cubicBezTo>
                    <a:cubicBezTo>
                      <a:pt x="9957" y="-973"/>
                      <a:pt x="20887" y="-2259"/>
                      <a:pt x="27960" y="4170"/>
                    </a:cubicBezTo>
                    <a:lnTo>
                      <a:pt x="53678" y="26031"/>
                    </a:lnTo>
                    <a:cubicBezTo>
                      <a:pt x="60751" y="31817"/>
                      <a:pt x="62037" y="42748"/>
                      <a:pt x="55607" y="49820"/>
                    </a:cubicBezTo>
                    <a:cubicBezTo>
                      <a:pt x="53036" y="53678"/>
                      <a:pt x="47892" y="55607"/>
                      <a:pt x="42748" y="55607"/>
                    </a:cubicBezTo>
                    <a:lnTo>
                      <a:pt x="42748" y="55607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69" name="Forma Livre: Forma 168">
                <a:extLst>
                  <a:ext uri="{FF2B5EF4-FFF2-40B4-BE49-F238E27FC236}">
                    <a16:creationId xmlns:a16="http://schemas.microsoft.com/office/drawing/2014/main" id="{8A1116B3-89F1-4697-BFB5-8DE74C13686F}"/>
                  </a:ext>
                </a:extLst>
              </p:cNvPr>
              <p:cNvSpPr/>
              <p:nvPr/>
            </p:nvSpPr>
            <p:spPr>
              <a:xfrm>
                <a:off x="6748936" y="4967530"/>
                <a:ext cx="59777" cy="55607"/>
              </a:xfrm>
              <a:custGeom>
                <a:avLst/>
                <a:gdLst>
                  <a:gd name="connsiteX0" fmla="*/ 42748 w 59777"/>
                  <a:gd name="connsiteY0" fmla="*/ 55607 h 55607"/>
                  <a:gd name="connsiteX1" fmla="*/ 31817 w 59777"/>
                  <a:gd name="connsiteY1" fmla="*/ 51750 h 55607"/>
                  <a:gd name="connsiteX2" fmla="*/ 6099 w 59777"/>
                  <a:gd name="connsiteY2" fmla="*/ 29889 h 55607"/>
                  <a:gd name="connsiteX3" fmla="*/ 4170 w 59777"/>
                  <a:gd name="connsiteY3" fmla="*/ 6099 h 55607"/>
                  <a:gd name="connsiteX4" fmla="*/ 27960 w 59777"/>
                  <a:gd name="connsiteY4" fmla="*/ 4170 h 55607"/>
                  <a:gd name="connsiteX5" fmla="*/ 53678 w 59777"/>
                  <a:gd name="connsiteY5" fmla="*/ 26031 h 55607"/>
                  <a:gd name="connsiteX6" fmla="*/ 55607 w 59777"/>
                  <a:gd name="connsiteY6" fmla="*/ 49820 h 55607"/>
                  <a:gd name="connsiteX7" fmla="*/ 42748 w 59777"/>
                  <a:gd name="connsiteY7" fmla="*/ 55607 h 55607"/>
                  <a:gd name="connsiteX8" fmla="*/ 42748 w 59777"/>
                  <a:gd name="connsiteY8" fmla="*/ 55607 h 55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9777" h="55607">
                    <a:moveTo>
                      <a:pt x="42748" y="55607"/>
                    </a:moveTo>
                    <a:cubicBezTo>
                      <a:pt x="38890" y="55607"/>
                      <a:pt x="35032" y="54321"/>
                      <a:pt x="31817" y="51750"/>
                    </a:cubicBezTo>
                    <a:lnTo>
                      <a:pt x="6099" y="29889"/>
                    </a:lnTo>
                    <a:cubicBezTo>
                      <a:pt x="-973" y="24102"/>
                      <a:pt x="-2259" y="13172"/>
                      <a:pt x="4170" y="6099"/>
                    </a:cubicBezTo>
                    <a:cubicBezTo>
                      <a:pt x="9957" y="-973"/>
                      <a:pt x="20887" y="-2259"/>
                      <a:pt x="27960" y="4170"/>
                    </a:cubicBezTo>
                    <a:lnTo>
                      <a:pt x="53678" y="26031"/>
                    </a:lnTo>
                    <a:cubicBezTo>
                      <a:pt x="60751" y="31817"/>
                      <a:pt x="62037" y="42748"/>
                      <a:pt x="55607" y="49820"/>
                    </a:cubicBezTo>
                    <a:cubicBezTo>
                      <a:pt x="52392" y="53678"/>
                      <a:pt x="47892" y="55607"/>
                      <a:pt x="42748" y="55607"/>
                    </a:cubicBezTo>
                    <a:lnTo>
                      <a:pt x="42748" y="55607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70" name="Forma Livre: Forma 169">
                <a:extLst>
                  <a:ext uri="{FF2B5EF4-FFF2-40B4-BE49-F238E27FC236}">
                    <a16:creationId xmlns:a16="http://schemas.microsoft.com/office/drawing/2014/main" id="{7238F1F0-A0D6-4818-AEF8-B554B7738815}"/>
                  </a:ext>
                </a:extLst>
              </p:cNvPr>
              <p:cNvSpPr/>
              <p:nvPr/>
            </p:nvSpPr>
            <p:spPr>
              <a:xfrm>
                <a:off x="6780590" y="4899525"/>
                <a:ext cx="67838" cy="40027"/>
              </a:xfrm>
              <a:custGeom>
                <a:avLst/>
                <a:gdLst>
                  <a:gd name="connsiteX0" fmla="*/ 50958 w 67838"/>
                  <a:gd name="connsiteY0" fmla="*/ 40028 h 40027"/>
                  <a:gd name="connsiteX1" fmla="*/ 47743 w 67838"/>
                  <a:gd name="connsiteY1" fmla="*/ 40028 h 40027"/>
                  <a:gd name="connsiteX2" fmla="*/ 14309 w 67838"/>
                  <a:gd name="connsiteY2" fmla="*/ 34241 h 40027"/>
                  <a:gd name="connsiteX3" fmla="*/ 164 w 67838"/>
                  <a:gd name="connsiteY3" fmla="*/ 14309 h 40027"/>
                  <a:gd name="connsiteX4" fmla="*/ 20096 w 67838"/>
                  <a:gd name="connsiteY4" fmla="*/ 164 h 40027"/>
                  <a:gd name="connsiteX5" fmla="*/ 53530 w 67838"/>
                  <a:gd name="connsiteY5" fmla="*/ 5951 h 40027"/>
                  <a:gd name="connsiteX6" fmla="*/ 67675 w 67838"/>
                  <a:gd name="connsiteY6" fmla="*/ 25882 h 40027"/>
                  <a:gd name="connsiteX7" fmla="*/ 50958 w 67838"/>
                  <a:gd name="connsiteY7" fmla="*/ 40028 h 40027"/>
                  <a:gd name="connsiteX8" fmla="*/ 50958 w 67838"/>
                  <a:gd name="connsiteY8" fmla="*/ 40028 h 400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7838" h="40027">
                    <a:moveTo>
                      <a:pt x="50958" y="40028"/>
                    </a:moveTo>
                    <a:cubicBezTo>
                      <a:pt x="50315" y="40028"/>
                      <a:pt x="49029" y="40028"/>
                      <a:pt x="47743" y="40028"/>
                    </a:cubicBezTo>
                    <a:lnTo>
                      <a:pt x="14309" y="34241"/>
                    </a:lnTo>
                    <a:cubicBezTo>
                      <a:pt x="5307" y="32312"/>
                      <a:pt x="-1122" y="23954"/>
                      <a:pt x="164" y="14309"/>
                    </a:cubicBezTo>
                    <a:cubicBezTo>
                      <a:pt x="1450" y="5307"/>
                      <a:pt x="10451" y="-1122"/>
                      <a:pt x="20096" y="164"/>
                    </a:cubicBezTo>
                    <a:lnTo>
                      <a:pt x="53530" y="5951"/>
                    </a:lnTo>
                    <a:cubicBezTo>
                      <a:pt x="62531" y="7879"/>
                      <a:pt x="68961" y="16238"/>
                      <a:pt x="67675" y="25882"/>
                    </a:cubicBezTo>
                    <a:cubicBezTo>
                      <a:pt x="66389" y="34241"/>
                      <a:pt x="59316" y="40028"/>
                      <a:pt x="50958" y="40028"/>
                    </a:cubicBezTo>
                    <a:lnTo>
                      <a:pt x="50958" y="40028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71" name="Forma Livre: Forma 170">
                <a:extLst>
                  <a:ext uri="{FF2B5EF4-FFF2-40B4-BE49-F238E27FC236}">
                    <a16:creationId xmlns:a16="http://schemas.microsoft.com/office/drawing/2014/main" id="{3CD49884-B923-4179-BFD8-2FE4B168DE27}"/>
                  </a:ext>
                </a:extLst>
              </p:cNvPr>
              <p:cNvSpPr/>
              <p:nvPr/>
            </p:nvSpPr>
            <p:spPr>
              <a:xfrm>
                <a:off x="6775860" y="4813139"/>
                <a:ext cx="65724" cy="45400"/>
              </a:xfrm>
              <a:custGeom>
                <a:avLst/>
                <a:gdLst>
                  <a:gd name="connsiteX0" fmla="*/ 17110 w 65724"/>
                  <a:gd name="connsiteY0" fmla="*/ 45400 h 45400"/>
                  <a:gd name="connsiteX1" fmla="*/ 1036 w 65724"/>
                  <a:gd name="connsiteY1" fmla="*/ 34470 h 45400"/>
                  <a:gd name="connsiteX2" fmla="*/ 11323 w 65724"/>
                  <a:gd name="connsiteY2" fmla="*/ 12609 h 45400"/>
                  <a:gd name="connsiteX3" fmla="*/ 42828 w 65724"/>
                  <a:gd name="connsiteY3" fmla="*/ 1036 h 45400"/>
                  <a:gd name="connsiteX4" fmla="*/ 64689 w 65724"/>
                  <a:gd name="connsiteY4" fmla="*/ 11323 h 45400"/>
                  <a:gd name="connsiteX5" fmla="*/ 54402 w 65724"/>
                  <a:gd name="connsiteY5" fmla="*/ 33184 h 45400"/>
                  <a:gd name="connsiteX6" fmla="*/ 22896 w 65724"/>
                  <a:gd name="connsiteY6" fmla="*/ 44757 h 45400"/>
                  <a:gd name="connsiteX7" fmla="*/ 17110 w 65724"/>
                  <a:gd name="connsiteY7" fmla="*/ 45400 h 45400"/>
                  <a:gd name="connsiteX8" fmla="*/ 17110 w 65724"/>
                  <a:gd name="connsiteY8" fmla="*/ 45400 h 45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5724" h="45400">
                    <a:moveTo>
                      <a:pt x="17110" y="45400"/>
                    </a:moveTo>
                    <a:cubicBezTo>
                      <a:pt x="10037" y="45400"/>
                      <a:pt x="3607" y="40899"/>
                      <a:pt x="1036" y="34470"/>
                    </a:cubicBezTo>
                    <a:cubicBezTo>
                      <a:pt x="-2179" y="25468"/>
                      <a:pt x="2321" y="15824"/>
                      <a:pt x="11323" y="12609"/>
                    </a:cubicBezTo>
                    <a:lnTo>
                      <a:pt x="42828" y="1036"/>
                    </a:lnTo>
                    <a:cubicBezTo>
                      <a:pt x="51830" y="-2179"/>
                      <a:pt x="61474" y="2322"/>
                      <a:pt x="64689" y="11323"/>
                    </a:cubicBezTo>
                    <a:cubicBezTo>
                      <a:pt x="67904" y="20325"/>
                      <a:pt x="63403" y="29969"/>
                      <a:pt x="54402" y="33184"/>
                    </a:cubicBezTo>
                    <a:lnTo>
                      <a:pt x="22896" y="44757"/>
                    </a:lnTo>
                    <a:cubicBezTo>
                      <a:pt x="20967" y="45400"/>
                      <a:pt x="19039" y="45400"/>
                      <a:pt x="17110" y="45400"/>
                    </a:cubicBezTo>
                    <a:lnTo>
                      <a:pt x="17110" y="45400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172" name="Forma Livre: Forma 171">
              <a:extLst>
                <a:ext uri="{FF2B5EF4-FFF2-40B4-BE49-F238E27FC236}">
                  <a16:creationId xmlns:a16="http://schemas.microsoft.com/office/drawing/2014/main" id="{A90E238A-595A-4E54-9329-3C20DDB01452}"/>
                </a:ext>
              </a:extLst>
            </p:cNvPr>
            <p:cNvSpPr/>
            <p:nvPr/>
          </p:nvSpPr>
          <p:spPr>
            <a:xfrm>
              <a:off x="6430027" y="5082620"/>
              <a:ext cx="55919" cy="59464"/>
            </a:xfrm>
            <a:custGeom>
              <a:avLst/>
              <a:gdLst>
                <a:gd name="connsiteX0" fmla="*/ 17029 w 55919"/>
                <a:gd name="connsiteY0" fmla="*/ 59465 h 59464"/>
                <a:gd name="connsiteX1" fmla="*/ 6099 w 55919"/>
                <a:gd name="connsiteY1" fmla="*/ 55607 h 59464"/>
                <a:gd name="connsiteX2" fmla="*/ 4170 w 55919"/>
                <a:gd name="connsiteY2" fmla="*/ 31818 h 59464"/>
                <a:gd name="connsiteX3" fmla="*/ 26031 w 55919"/>
                <a:gd name="connsiteY3" fmla="*/ 6099 h 59464"/>
                <a:gd name="connsiteX4" fmla="*/ 49821 w 55919"/>
                <a:gd name="connsiteY4" fmla="*/ 4170 h 59464"/>
                <a:gd name="connsiteX5" fmla="*/ 51749 w 55919"/>
                <a:gd name="connsiteY5" fmla="*/ 27960 h 59464"/>
                <a:gd name="connsiteX6" fmla="*/ 29889 w 55919"/>
                <a:gd name="connsiteY6" fmla="*/ 53678 h 59464"/>
                <a:gd name="connsiteX7" fmla="*/ 17029 w 55919"/>
                <a:gd name="connsiteY7" fmla="*/ 59465 h 59464"/>
                <a:gd name="connsiteX8" fmla="*/ 17029 w 55919"/>
                <a:gd name="connsiteY8" fmla="*/ 59465 h 59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5919" h="59464">
                  <a:moveTo>
                    <a:pt x="17029" y="59465"/>
                  </a:moveTo>
                  <a:cubicBezTo>
                    <a:pt x="13172" y="59465"/>
                    <a:pt x="9314" y="58179"/>
                    <a:pt x="6099" y="55607"/>
                  </a:cubicBezTo>
                  <a:cubicBezTo>
                    <a:pt x="-973" y="49820"/>
                    <a:pt x="-2259" y="38890"/>
                    <a:pt x="4170" y="31818"/>
                  </a:cubicBezTo>
                  <a:lnTo>
                    <a:pt x="26031" y="6099"/>
                  </a:lnTo>
                  <a:cubicBezTo>
                    <a:pt x="31818" y="-974"/>
                    <a:pt x="42748" y="-2259"/>
                    <a:pt x="49821" y="4170"/>
                  </a:cubicBezTo>
                  <a:cubicBezTo>
                    <a:pt x="56893" y="9957"/>
                    <a:pt x="58179" y="20887"/>
                    <a:pt x="51749" y="27960"/>
                  </a:cubicBezTo>
                  <a:lnTo>
                    <a:pt x="29889" y="53678"/>
                  </a:lnTo>
                  <a:cubicBezTo>
                    <a:pt x="27317" y="57536"/>
                    <a:pt x="22173" y="59465"/>
                    <a:pt x="17029" y="59465"/>
                  </a:cubicBezTo>
                  <a:lnTo>
                    <a:pt x="17029" y="59465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73" name="Forma Livre: Forma 172">
              <a:extLst>
                <a:ext uri="{FF2B5EF4-FFF2-40B4-BE49-F238E27FC236}">
                  <a16:creationId xmlns:a16="http://schemas.microsoft.com/office/drawing/2014/main" id="{AA77F9BC-D2FB-4794-AD41-0827F011191D}"/>
                </a:ext>
              </a:extLst>
            </p:cNvPr>
            <p:cNvSpPr/>
            <p:nvPr/>
          </p:nvSpPr>
          <p:spPr>
            <a:xfrm>
              <a:off x="6520685" y="5082620"/>
              <a:ext cx="55919" cy="59464"/>
            </a:xfrm>
            <a:custGeom>
              <a:avLst/>
              <a:gdLst>
                <a:gd name="connsiteX0" fmla="*/ 17029 w 55919"/>
                <a:gd name="connsiteY0" fmla="*/ 59465 h 59464"/>
                <a:gd name="connsiteX1" fmla="*/ 6099 w 55919"/>
                <a:gd name="connsiteY1" fmla="*/ 55607 h 59464"/>
                <a:gd name="connsiteX2" fmla="*/ 4170 w 55919"/>
                <a:gd name="connsiteY2" fmla="*/ 31818 h 59464"/>
                <a:gd name="connsiteX3" fmla="*/ 26031 w 55919"/>
                <a:gd name="connsiteY3" fmla="*/ 6099 h 59464"/>
                <a:gd name="connsiteX4" fmla="*/ 49820 w 55919"/>
                <a:gd name="connsiteY4" fmla="*/ 4170 h 59464"/>
                <a:gd name="connsiteX5" fmla="*/ 51749 w 55919"/>
                <a:gd name="connsiteY5" fmla="*/ 27960 h 59464"/>
                <a:gd name="connsiteX6" fmla="*/ 29889 w 55919"/>
                <a:gd name="connsiteY6" fmla="*/ 53678 h 59464"/>
                <a:gd name="connsiteX7" fmla="*/ 17029 w 55919"/>
                <a:gd name="connsiteY7" fmla="*/ 59465 h 59464"/>
                <a:gd name="connsiteX8" fmla="*/ 17029 w 55919"/>
                <a:gd name="connsiteY8" fmla="*/ 59465 h 59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5919" h="59464">
                  <a:moveTo>
                    <a:pt x="17029" y="59465"/>
                  </a:moveTo>
                  <a:cubicBezTo>
                    <a:pt x="13171" y="59465"/>
                    <a:pt x="9314" y="58179"/>
                    <a:pt x="6099" y="55607"/>
                  </a:cubicBezTo>
                  <a:cubicBezTo>
                    <a:pt x="-973" y="49820"/>
                    <a:pt x="-2259" y="38890"/>
                    <a:pt x="4170" y="31818"/>
                  </a:cubicBezTo>
                  <a:lnTo>
                    <a:pt x="26031" y="6099"/>
                  </a:lnTo>
                  <a:cubicBezTo>
                    <a:pt x="31817" y="-974"/>
                    <a:pt x="42748" y="-2259"/>
                    <a:pt x="49820" y="4170"/>
                  </a:cubicBezTo>
                  <a:cubicBezTo>
                    <a:pt x="56893" y="9957"/>
                    <a:pt x="58179" y="20887"/>
                    <a:pt x="51749" y="27960"/>
                  </a:cubicBezTo>
                  <a:lnTo>
                    <a:pt x="29889" y="53678"/>
                  </a:lnTo>
                  <a:cubicBezTo>
                    <a:pt x="26674" y="57536"/>
                    <a:pt x="22173" y="59465"/>
                    <a:pt x="17029" y="59465"/>
                  </a:cubicBezTo>
                  <a:lnTo>
                    <a:pt x="17029" y="59465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74" name="Forma Livre: Forma 173">
              <a:extLst>
                <a:ext uri="{FF2B5EF4-FFF2-40B4-BE49-F238E27FC236}">
                  <a16:creationId xmlns:a16="http://schemas.microsoft.com/office/drawing/2014/main" id="{5F5A90D1-D072-4027-BE62-2F007CBAE7CA}"/>
                </a:ext>
              </a:extLst>
            </p:cNvPr>
            <p:cNvSpPr/>
            <p:nvPr/>
          </p:nvSpPr>
          <p:spPr>
            <a:xfrm>
              <a:off x="6611342" y="5082620"/>
              <a:ext cx="55919" cy="59464"/>
            </a:xfrm>
            <a:custGeom>
              <a:avLst/>
              <a:gdLst>
                <a:gd name="connsiteX0" fmla="*/ 17029 w 55919"/>
                <a:gd name="connsiteY0" fmla="*/ 59465 h 59464"/>
                <a:gd name="connsiteX1" fmla="*/ 6099 w 55919"/>
                <a:gd name="connsiteY1" fmla="*/ 55607 h 59464"/>
                <a:gd name="connsiteX2" fmla="*/ 4170 w 55919"/>
                <a:gd name="connsiteY2" fmla="*/ 31818 h 59464"/>
                <a:gd name="connsiteX3" fmla="*/ 26031 w 55919"/>
                <a:gd name="connsiteY3" fmla="*/ 6099 h 59464"/>
                <a:gd name="connsiteX4" fmla="*/ 49821 w 55919"/>
                <a:gd name="connsiteY4" fmla="*/ 4170 h 59464"/>
                <a:gd name="connsiteX5" fmla="*/ 51750 w 55919"/>
                <a:gd name="connsiteY5" fmla="*/ 27960 h 59464"/>
                <a:gd name="connsiteX6" fmla="*/ 29889 w 55919"/>
                <a:gd name="connsiteY6" fmla="*/ 53678 h 59464"/>
                <a:gd name="connsiteX7" fmla="*/ 17029 w 55919"/>
                <a:gd name="connsiteY7" fmla="*/ 59465 h 59464"/>
                <a:gd name="connsiteX8" fmla="*/ 17029 w 55919"/>
                <a:gd name="connsiteY8" fmla="*/ 59465 h 59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5919" h="59464">
                  <a:moveTo>
                    <a:pt x="17029" y="59465"/>
                  </a:moveTo>
                  <a:cubicBezTo>
                    <a:pt x="13172" y="59465"/>
                    <a:pt x="9314" y="58179"/>
                    <a:pt x="6099" y="55607"/>
                  </a:cubicBezTo>
                  <a:cubicBezTo>
                    <a:pt x="-973" y="49820"/>
                    <a:pt x="-2259" y="38890"/>
                    <a:pt x="4170" y="31818"/>
                  </a:cubicBezTo>
                  <a:lnTo>
                    <a:pt x="26031" y="6099"/>
                  </a:lnTo>
                  <a:cubicBezTo>
                    <a:pt x="31817" y="-974"/>
                    <a:pt x="42748" y="-2259"/>
                    <a:pt x="49821" y="4170"/>
                  </a:cubicBezTo>
                  <a:cubicBezTo>
                    <a:pt x="56893" y="9957"/>
                    <a:pt x="58179" y="20887"/>
                    <a:pt x="51750" y="27960"/>
                  </a:cubicBezTo>
                  <a:lnTo>
                    <a:pt x="29889" y="53678"/>
                  </a:lnTo>
                  <a:cubicBezTo>
                    <a:pt x="26674" y="57536"/>
                    <a:pt x="22173" y="59465"/>
                    <a:pt x="17029" y="59465"/>
                  </a:cubicBezTo>
                  <a:lnTo>
                    <a:pt x="17029" y="59465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75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1236533" y="504054"/>
            <a:ext cx="2474067" cy="5576090"/>
            <a:chOff x="1167701" y="512763"/>
            <a:chExt cx="2509010" cy="5654845"/>
          </a:xfrm>
          <a:solidFill>
            <a:srgbClr val="B1B1A1"/>
          </a:solidFill>
        </p:grpSpPr>
        <p:sp>
          <p:nvSpPr>
            <p:cNvPr id="176" name="Forma Livre: Forma 175">
              <a:extLst>
                <a:ext uri="{FF2B5EF4-FFF2-40B4-BE49-F238E27FC236}">
                  <a16:creationId xmlns:a16="http://schemas.microsoft.com/office/drawing/2014/main" id="{207AA14D-207D-40D4-84D5-81DEB7611DDD}"/>
                </a:ext>
              </a:extLst>
            </p:cNvPr>
            <p:cNvSpPr/>
            <p:nvPr/>
          </p:nvSpPr>
          <p:spPr>
            <a:xfrm>
              <a:off x="3285615" y="5776045"/>
              <a:ext cx="391095" cy="391563"/>
            </a:xfrm>
            <a:custGeom>
              <a:avLst/>
              <a:gdLst>
                <a:gd name="connsiteX0" fmla="*/ 151739 w 391095"/>
                <a:gd name="connsiteY0" fmla="*/ 33434 h 391563"/>
                <a:gd name="connsiteX1" fmla="*/ 297048 w 391095"/>
                <a:gd name="connsiteY1" fmla="*/ 93873 h 391563"/>
                <a:gd name="connsiteX2" fmla="*/ 334983 w 391095"/>
                <a:gd name="connsiteY2" fmla="*/ 332411 h 391563"/>
                <a:gd name="connsiteX3" fmla="*/ 279045 w 391095"/>
                <a:gd name="connsiteY3" fmla="*/ 305407 h 391563"/>
                <a:gd name="connsiteX4" fmla="*/ 244968 w 391095"/>
                <a:gd name="connsiteY4" fmla="*/ 242397 h 391563"/>
                <a:gd name="connsiteX5" fmla="*/ 181958 w 391095"/>
                <a:gd name="connsiteY5" fmla="*/ 208320 h 391563"/>
                <a:gd name="connsiteX6" fmla="*/ 147881 w 391095"/>
                <a:gd name="connsiteY6" fmla="*/ 145310 h 391563"/>
                <a:gd name="connsiteX7" fmla="*/ 84871 w 391095"/>
                <a:gd name="connsiteY7" fmla="*/ 111875 h 391563"/>
                <a:gd name="connsiteX8" fmla="*/ 57867 w 391095"/>
                <a:gd name="connsiteY8" fmla="*/ 55938 h 391563"/>
                <a:gd name="connsiteX9" fmla="*/ 151739 w 391095"/>
                <a:gd name="connsiteY9" fmla="*/ 33434 h 391563"/>
                <a:gd name="connsiteX10" fmla="*/ 151739 w 391095"/>
                <a:gd name="connsiteY10" fmla="*/ 0 h 391563"/>
                <a:gd name="connsiteX11" fmla="*/ 0 w 391095"/>
                <a:gd name="connsiteY11" fmla="*/ 54009 h 391563"/>
                <a:gd name="connsiteX12" fmla="*/ 27647 w 391095"/>
                <a:gd name="connsiteY12" fmla="*/ 72655 h 391563"/>
                <a:gd name="connsiteX13" fmla="*/ 53366 w 391095"/>
                <a:gd name="connsiteY13" fmla="*/ 143381 h 391563"/>
                <a:gd name="connsiteX14" fmla="*/ 61081 w 391095"/>
                <a:gd name="connsiteY14" fmla="*/ 143381 h 391563"/>
                <a:gd name="connsiteX15" fmla="*/ 124734 w 391095"/>
                <a:gd name="connsiteY15" fmla="*/ 169742 h 391563"/>
                <a:gd name="connsiteX16" fmla="*/ 150453 w 391095"/>
                <a:gd name="connsiteY16" fmla="*/ 240468 h 391563"/>
                <a:gd name="connsiteX17" fmla="*/ 158169 w 391095"/>
                <a:gd name="connsiteY17" fmla="*/ 240468 h 391563"/>
                <a:gd name="connsiteX18" fmla="*/ 221822 w 391095"/>
                <a:gd name="connsiteY18" fmla="*/ 266829 h 391563"/>
                <a:gd name="connsiteX19" fmla="*/ 247540 w 391095"/>
                <a:gd name="connsiteY19" fmla="*/ 337555 h 391563"/>
                <a:gd name="connsiteX20" fmla="*/ 254613 w 391095"/>
                <a:gd name="connsiteY20" fmla="*/ 337555 h 391563"/>
                <a:gd name="connsiteX21" fmla="*/ 318266 w 391095"/>
                <a:gd name="connsiteY21" fmla="*/ 363916 h 391563"/>
                <a:gd name="connsiteX22" fmla="*/ 336912 w 391095"/>
                <a:gd name="connsiteY22" fmla="*/ 391564 h 391563"/>
                <a:gd name="connsiteX23" fmla="*/ 320838 w 391095"/>
                <a:gd name="connsiteY23" fmla="*/ 70726 h 391563"/>
                <a:gd name="connsiteX24" fmla="*/ 151739 w 391095"/>
                <a:gd name="connsiteY24" fmla="*/ 0 h 391563"/>
                <a:gd name="connsiteX25" fmla="*/ 151739 w 391095"/>
                <a:gd name="connsiteY25" fmla="*/ 0 h 391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91095" h="391563">
                  <a:moveTo>
                    <a:pt x="151739" y="33434"/>
                  </a:moveTo>
                  <a:cubicBezTo>
                    <a:pt x="206391" y="33434"/>
                    <a:pt x="258471" y="54652"/>
                    <a:pt x="297048" y="93873"/>
                  </a:cubicBezTo>
                  <a:cubicBezTo>
                    <a:pt x="361344" y="158169"/>
                    <a:pt x="374847" y="254613"/>
                    <a:pt x="334983" y="332411"/>
                  </a:cubicBezTo>
                  <a:cubicBezTo>
                    <a:pt x="318909" y="318909"/>
                    <a:pt x="299620" y="309265"/>
                    <a:pt x="279045" y="305407"/>
                  </a:cubicBezTo>
                  <a:cubicBezTo>
                    <a:pt x="274545" y="281617"/>
                    <a:pt x="262971" y="259757"/>
                    <a:pt x="244968" y="242397"/>
                  </a:cubicBezTo>
                  <a:cubicBezTo>
                    <a:pt x="227608" y="225037"/>
                    <a:pt x="205748" y="213463"/>
                    <a:pt x="181958" y="208320"/>
                  </a:cubicBezTo>
                  <a:cubicBezTo>
                    <a:pt x="177457" y="184530"/>
                    <a:pt x="165884" y="162670"/>
                    <a:pt x="147881" y="145310"/>
                  </a:cubicBezTo>
                  <a:cubicBezTo>
                    <a:pt x="130521" y="127949"/>
                    <a:pt x="108660" y="116376"/>
                    <a:pt x="84871" y="111875"/>
                  </a:cubicBezTo>
                  <a:cubicBezTo>
                    <a:pt x="81013" y="91301"/>
                    <a:pt x="71369" y="72012"/>
                    <a:pt x="57867" y="55938"/>
                  </a:cubicBezTo>
                  <a:cubicBezTo>
                    <a:pt x="86800" y="41792"/>
                    <a:pt x="118948" y="33434"/>
                    <a:pt x="151739" y="33434"/>
                  </a:cubicBezTo>
                  <a:moveTo>
                    <a:pt x="151739" y="0"/>
                  </a:moveTo>
                  <a:cubicBezTo>
                    <a:pt x="97730" y="0"/>
                    <a:pt x="43721" y="18003"/>
                    <a:pt x="0" y="54009"/>
                  </a:cubicBezTo>
                  <a:cubicBezTo>
                    <a:pt x="10287" y="58510"/>
                    <a:pt x="19289" y="64939"/>
                    <a:pt x="27647" y="72655"/>
                  </a:cubicBezTo>
                  <a:cubicBezTo>
                    <a:pt x="46936" y="91944"/>
                    <a:pt x="55938" y="118305"/>
                    <a:pt x="53366" y="143381"/>
                  </a:cubicBezTo>
                  <a:cubicBezTo>
                    <a:pt x="55938" y="143381"/>
                    <a:pt x="58510" y="143381"/>
                    <a:pt x="61081" y="143381"/>
                  </a:cubicBezTo>
                  <a:cubicBezTo>
                    <a:pt x="84228" y="143381"/>
                    <a:pt x="106732" y="152382"/>
                    <a:pt x="124734" y="169742"/>
                  </a:cubicBezTo>
                  <a:cubicBezTo>
                    <a:pt x="144023" y="189031"/>
                    <a:pt x="153025" y="215392"/>
                    <a:pt x="150453" y="240468"/>
                  </a:cubicBezTo>
                  <a:cubicBezTo>
                    <a:pt x="153025" y="240468"/>
                    <a:pt x="155597" y="240468"/>
                    <a:pt x="158169" y="240468"/>
                  </a:cubicBezTo>
                  <a:cubicBezTo>
                    <a:pt x="181315" y="240468"/>
                    <a:pt x="203819" y="249469"/>
                    <a:pt x="221822" y="266829"/>
                  </a:cubicBezTo>
                  <a:cubicBezTo>
                    <a:pt x="241111" y="286118"/>
                    <a:pt x="250112" y="312480"/>
                    <a:pt x="247540" y="337555"/>
                  </a:cubicBezTo>
                  <a:cubicBezTo>
                    <a:pt x="250112" y="337555"/>
                    <a:pt x="252041" y="337555"/>
                    <a:pt x="254613" y="337555"/>
                  </a:cubicBezTo>
                  <a:cubicBezTo>
                    <a:pt x="277759" y="337555"/>
                    <a:pt x="300263" y="346556"/>
                    <a:pt x="318266" y="363916"/>
                  </a:cubicBezTo>
                  <a:cubicBezTo>
                    <a:pt x="326625" y="372275"/>
                    <a:pt x="333054" y="381919"/>
                    <a:pt x="336912" y="391564"/>
                  </a:cubicBezTo>
                  <a:cubicBezTo>
                    <a:pt x="414067" y="297691"/>
                    <a:pt x="408923" y="158169"/>
                    <a:pt x="320838" y="70726"/>
                  </a:cubicBezTo>
                  <a:cubicBezTo>
                    <a:pt x="273902" y="23147"/>
                    <a:pt x="212820" y="0"/>
                    <a:pt x="151739" y="0"/>
                  </a:cubicBezTo>
                  <a:lnTo>
                    <a:pt x="151739" y="0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77" name="Forma Livre: Forma 176">
              <a:extLst>
                <a:ext uri="{FF2B5EF4-FFF2-40B4-BE49-F238E27FC236}">
                  <a16:creationId xmlns:a16="http://schemas.microsoft.com/office/drawing/2014/main" id="{53C1AD8F-106E-49F7-89B3-768C1A120403}"/>
                </a:ext>
              </a:extLst>
            </p:cNvPr>
            <p:cNvSpPr/>
            <p:nvPr/>
          </p:nvSpPr>
          <p:spPr>
            <a:xfrm>
              <a:off x="3267773" y="5990473"/>
              <a:ext cx="191120" cy="137915"/>
            </a:xfrm>
            <a:custGeom>
              <a:avLst/>
              <a:gdLst>
                <a:gd name="connsiteX0" fmla="*/ 55134 w 191120"/>
                <a:gd name="connsiteY0" fmla="*/ 137915 h 137915"/>
                <a:gd name="connsiteX1" fmla="*/ 15913 w 191120"/>
                <a:gd name="connsiteY1" fmla="*/ 121841 h 137915"/>
                <a:gd name="connsiteX2" fmla="*/ 15913 w 191120"/>
                <a:gd name="connsiteY2" fmla="*/ 44043 h 137915"/>
                <a:gd name="connsiteX3" fmla="*/ 39703 w 191120"/>
                <a:gd name="connsiteY3" fmla="*/ 44043 h 137915"/>
                <a:gd name="connsiteX4" fmla="*/ 39703 w 191120"/>
                <a:gd name="connsiteY4" fmla="*/ 67832 h 137915"/>
                <a:gd name="connsiteX5" fmla="*/ 39703 w 191120"/>
                <a:gd name="connsiteY5" fmla="*/ 98052 h 137915"/>
                <a:gd name="connsiteX6" fmla="*/ 54491 w 191120"/>
                <a:gd name="connsiteY6" fmla="*/ 104481 h 137915"/>
                <a:gd name="connsiteX7" fmla="*/ 54491 w 191120"/>
                <a:gd name="connsiteY7" fmla="*/ 104481 h 137915"/>
                <a:gd name="connsiteX8" fmla="*/ 69279 w 191120"/>
                <a:gd name="connsiteY8" fmla="*/ 98052 h 137915"/>
                <a:gd name="connsiteX9" fmla="*/ 162509 w 191120"/>
                <a:gd name="connsiteY9" fmla="*/ 4822 h 137915"/>
                <a:gd name="connsiteX10" fmla="*/ 186298 w 191120"/>
                <a:gd name="connsiteY10" fmla="*/ 4822 h 137915"/>
                <a:gd name="connsiteX11" fmla="*/ 186298 w 191120"/>
                <a:gd name="connsiteY11" fmla="*/ 28612 h 137915"/>
                <a:gd name="connsiteX12" fmla="*/ 93069 w 191120"/>
                <a:gd name="connsiteY12" fmla="*/ 121841 h 137915"/>
                <a:gd name="connsiteX13" fmla="*/ 55134 w 191120"/>
                <a:gd name="connsiteY13" fmla="*/ 137915 h 137915"/>
                <a:gd name="connsiteX14" fmla="*/ 55134 w 191120"/>
                <a:gd name="connsiteY14" fmla="*/ 137915 h 137915"/>
                <a:gd name="connsiteX15" fmla="*/ 55134 w 191120"/>
                <a:gd name="connsiteY15" fmla="*/ 137915 h 137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91120" h="137915">
                  <a:moveTo>
                    <a:pt x="55134" y="137915"/>
                  </a:moveTo>
                  <a:cubicBezTo>
                    <a:pt x="40346" y="137915"/>
                    <a:pt x="26844" y="132129"/>
                    <a:pt x="15913" y="121841"/>
                  </a:cubicBezTo>
                  <a:cubicBezTo>
                    <a:pt x="-5304" y="100623"/>
                    <a:pt x="-5304" y="65260"/>
                    <a:pt x="15913" y="44043"/>
                  </a:cubicBezTo>
                  <a:cubicBezTo>
                    <a:pt x="22343" y="37613"/>
                    <a:pt x="33273" y="37613"/>
                    <a:pt x="39703" y="44043"/>
                  </a:cubicBezTo>
                  <a:cubicBezTo>
                    <a:pt x="46132" y="50472"/>
                    <a:pt x="46132" y="61403"/>
                    <a:pt x="39703" y="67832"/>
                  </a:cubicBezTo>
                  <a:cubicBezTo>
                    <a:pt x="31344" y="76191"/>
                    <a:pt x="31344" y="89693"/>
                    <a:pt x="39703" y="98052"/>
                  </a:cubicBezTo>
                  <a:cubicBezTo>
                    <a:pt x="43561" y="101909"/>
                    <a:pt x="49347" y="104481"/>
                    <a:pt x="54491" y="104481"/>
                  </a:cubicBezTo>
                  <a:lnTo>
                    <a:pt x="54491" y="104481"/>
                  </a:lnTo>
                  <a:cubicBezTo>
                    <a:pt x="60278" y="104481"/>
                    <a:pt x="65421" y="102552"/>
                    <a:pt x="69279" y="98052"/>
                  </a:cubicBezTo>
                  <a:lnTo>
                    <a:pt x="162509" y="4822"/>
                  </a:lnTo>
                  <a:cubicBezTo>
                    <a:pt x="168938" y="-1607"/>
                    <a:pt x="179869" y="-1607"/>
                    <a:pt x="186298" y="4822"/>
                  </a:cubicBezTo>
                  <a:cubicBezTo>
                    <a:pt x="192728" y="11252"/>
                    <a:pt x="192728" y="22182"/>
                    <a:pt x="186298" y="28612"/>
                  </a:cubicBezTo>
                  <a:lnTo>
                    <a:pt x="93069" y="121841"/>
                  </a:lnTo>
                  <a:cubicBezTo>
                    <a:pt x="84067" y="132129"/>
                    <a:pt x="69922" y="137915"/>
                    <a:pt x="55134" y="137915"/>
                  </a:cubicBezTo>
                  <a:lnTo>
                    <a:pt x="55134" y="137915"/>
                  </a:lnTo>
                  <a:lnTo>
                    <a:pt x="55134" y="137915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78" name="Forma Livre: Forma 177">
              <a:extLst>
                <a:ext uri="{FF2B5EF4-FFF2-40B4-BE49-F238E27FC236}">
                  <a16:creationId xmlns:a16="http://schemas.microsoft.com/office/drawing/2014/main" id="{0997B98B-8371-4043-B05F-27710C2341C7}"/>
                </a:ext>
              </a:extLst>
            </p:cNvPr>
            <p:cNvSpPr/>
            <p:nvPr/>
          </p:nvSpPr>
          <p:spPr>
            <a:xfrm>
              <a:off x="1167701" y="512763"/>
              <a:ext cx="6429" cy="6429"/>
            </a:xfrm>
            <a:custGeom>
              <a:avLst/>
              <a:gdLst/>
              <a:ahLst/>
              <a:cxnLst/>
              <a:rect l="l" t="t" r="r" b="b"/>
              <a:pathLst>
                <a:path w="6429" h="6429"/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79" name="Forma Livre: Forma 178">
              <a:extLst>
                <a:ext uri="{FF2B5EF4-FFF2-40B4-BE49-F238E27FC236}">
                  <a16:creationId xmlns:a16="http://schemas.microsoft.com/office/drawing/2014/main" id="{5C4ED87C-94AE-4AB3-809A-B742CCF241A5}"/>
                </a:ext>
              </a:extLst>
            </p:cNvPr>
            <p:cNvSpPr/>
            <p:nvPr/>
          </p:nvSpPr>
          <p:spPr>
            <a:xfrm>
              <a:off x="3582342" y="5816873"/>
              <a:ext cx="51436" cy="51758"/>
            </a:xfrm>
            <a:custGeom>
              <a:avLst/>
              <a:gdLst>
                <a:gd name="connsiteX0" fmla="*/ 17039 w 51436"/>
                <a:gd name="connsiteY0" fmla="*/ 51758 h 51758"/>
                <a:gd name="connsiteX1" fmla="*/ 4822 w 51436"/>
                <a:gd name="connsiteY1" fmla="*/ 46615 h 51758"/>
                <a:gd name="connsiteX2" fmla="*/ 4822 w 51436"/>
                <a:gd name="connsiteY2" fmla="*/ 22825 h 51758"/>
                <a:gd name="connsiteX3" fmla="*/ 22825 w 51436"/>
                <a:gd name="connsiteY3" fmla="*/ 4822 h 51758"/>
                <a:gd name="connsiteX4" fmla="*/ 46615 w 51436"/>
                <a:gd name="connsiteY4" fmla="*/ 4822 h 51758"/>
                <a:gd name="connsiteX5" fmla="*/ 46615 w 51436"/>
                <a:gd name="connsiteY5" fmla="*/ 28612 h 51758"/>
                <a:gd name="connsiteX6" fmla="*/ 28612 w 51436"/>
                <a:gd name="connsiteY6" fmla="*/ 46615 h 51758"/>
                <a:gd name="connsiteX7" fmla="*/ 17039 w 51436"/>
                <a:gd name="connsiteY7" fmla="*/ 51758 h 51758"/>
                <a:gd name="connsiteX8" fmla="*/ 17039 w 51436"/>
                <a:gd name="connsiteY8" fmla="*/ 51758 h 51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436" h="51758">
                  <a:moveTo>
                    <a:pt x="17039" y="51758"/>
                  </a:moveTo>
                  <a:cubicBezTo>
                    <a:pt x="12538" y="51758"/>
                    <a:pt x="8037" y="49830"/>
                    <a:pt x="4822" y="46615"/>
                  </a:cubicBezTo>
                  <a:cubicBezTo>
                    <a:pt x="-1607" y="40185"/>
                    <a:pt x="-1607" y="29255"/>
                    <a:pt x="4822" y="22825"/>
                  </a:cubicBezTo>
                  <a:lnTo>
                    <a:pt x="22825" y="4822"/>
                  </a:lnTo>
                  <a:cubicBezTo>
                    <a:pt x="29255" y="-1607"/>
                    <a:pt x="40185" y="-1607"/>
                    <a:pt x="46615" y="4822"/>
                  </a:cubicBezTo>
                  <a:cubicBezTo>
                    <a:pt x="53044" y="11252"/>
                    <a:pt x="53044" y="22182"/>
                    <a:pt x="46615" y="28612"/>
                  </a:cubicBezTo>
                  <a:lnTo>
                    <a:pt x="28612" y="46615"/>
                  </a:lnTo>
                  <a:cubicBezTo>
                    <a:pt x="25397" y="49830"/>
                    <a:pt x="21539" y="51758"/>
                    <a:pt x="17039" y="51758"/>
                  </a:cubicBezTo>
                  <a:lnTo>
                    <a:pt x="17039" y="51758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80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5370258" y="5696571"/>
            <a:ext cx="407179" cy="380403"/>
            <a:chOff x="5359809" y="5778617"/>
            <a:chExt cx="412930" cy="385776"/>
          </a:xfrm>
          <a:solidFill>
            <a:srgbClr val="B1B1A1"/>
          </a:solidFill>
        </p:grpSpPr>
        <p:sp>
          <p:nvSpPr>
            <p:cNvPr id="181" name="Forma Livre: Forma 180">
              <a:extLst>
                <a:ext uri="{FF2B5EF4-FFF2-40B4-BE49-F238E27FC236}">
                  <a16:creationId xmlns:a16="http://schemas.microsoft.com/office/drawing/2014/main" id="{314ACA43-9C75-48E0-BA41-A3D5DC4A963A}"/>
                </a:ext>
              </a:extLst>
            </p:cNvPr>
            <p:cNvSpPr/>
            <p:nvPr/>
          </p:nvSpPr>
          <p:spPr>
            <a:xfrm>
              <a:off x="5462040" y="5778617"/>
              <a:ext cx="310699" cy="385776"/>
            </a:xfrm>
            <a:custGeom>
              <a:avLst/>
              <a:gdLst>
                <a:gd name="connsiteX0" fmla="*/ 192888 w 310699"/>
                <a:gd name="connsiteY0" fmla="*/ 385777 h 385776"/>
                <a:gd name="connsiteX1" fmla="*/ 0 w 310699"/>
                <a:gd name="connsiteY1" fmla="*/ 192888 h 385776"/>
                <a:gd name="connsiteX2" fmla="*/ 192888 w 310699"/>
                <a:gd name="connsiteY2" fmla="*/ 0 h 385776"/>
                <a:gd name="connsiteX3" fmla="*/ 303477 w 310699"/>
                <a:gd name="connsiteY3" fmla="*/ 34720 h 385776"/>
                <a:gd name="connsiteX4" fmla="*/ 307335 w 310699"/>
                <a:gd name="connsiteY4" fmla="*/ 58509 h 385776"/>
                <a:gd name="connsiteX5" fmla="*/ 283546 w 310699"/>
                <a:gd name="connsiteY5" fmla="*/ 62367 h 385776"/>
                <a:gd name="connsiteX6" fmla="*/ 192245 w 310699"/>
                <a:gd name="connsiteY6" fmla="*/ 33434 h 385776"/>
                <a:gd name="connsiteX7" fmla="*/ 32791 w 310699"/>
                <a:gd name="connsiteY7" fmla="*/ 192888 h 385776"/>
                <a:gd name="connsiteX8" fmla="*/ 192245 w 310699"/>
                <a:gd name="connsiteY8" fmla="*/ 352343 h 385776"/>
                <a:gd name="connsiteX9" fmla="*/ 283546 w 310699"/>
                <a:gd name="connsiteY9" fmla="*/ 323410 h 385776"/>
                <a:gd name="connsiteX10" fmla="*/ 307335 w 310699"/>
                <a:gd name="connsiteY10" fmla="*/ 327268 h 385776"/>
                <a:gd name="connsiteX11" fmla="*/ 303477 w 310699"/>
                <a:gd name="connsiteY11" fmla="*/ 351057 h 385776"/>
                <a:gd name="connsiteX12" fmla="*/ 192888 w 310699"/>
                <a:gd name="connsiteY12" fmla="*/ 385777 h 385776"/>
                <a:gd name="connsiteX13" fmla="*/ 192888 w 310699"/>
                <a:gd name="connsiteY13" fmla="*/ 385777 h 385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10699" h="385776">
                  <a:moveTo>
                    <a:pt x="192888" y="385777"/>
                  </a:moveTo>
                  <a:cubicBezTo>
                    <a:pt x="86157" y="385777"/>
                    <a:pt x="0" y="298977"/>
                    <a:pt x="0" y="192888"/>
                  </a:cubicBezTo>
                  <a:cubicBezTo>
                    <a:pt x="0" y="86157"/>
                    <a:pt x="86800" y="0"/>
                    <a:pt x="192888" y="0"/>
                  </a:cubicBezTo>
                  <a:cubicBezTo>
                    <a:pt x="232752" y="0"/>
                    <a:pt x="270687" y="12216"/>
                    <a:pt x="303477" y="34720"/>
                  </a:cubicBezTo>
                  <a:cubicBezTo>
                    <a:pt x="311193" y="39864"/>
                    <a:pt x="313122" y="50794"/>
                    <a:pt x="307335" y="58509"/>
                  </a:cubicBezTo>
                  <a:cubicBezTo>
                    <a:pt x="302192" y="66225"/>
                    <a:pt x="291261" y="68154"/>
                    <a:pt x="283546" y="62367"/>
                  </a:cubicBezTo>
                  <a:cubicBezTo>
                    <a:pt x="256541" y="43721"/>
                    <a:pt x="225036" y="33434"/>
                    <a:pt x="192245" y="33434"/>
                  </a:cubicBezTo>
                  <a:cubicBezTo>
                    <a:pt x="104159" y="33434"/>
                    <a:pt x="32791" y="104803"/>
                    <a:pt x="32791" y="192888"/>
                  </a:cubicBezTo>
                  <a:cubicBezTo>
                    <a:pt x="32791" y="280974"/>
                    <a:pt x="104159" y="352343"/>
                    <a:pt x="192245" y="352343"/>
                  </a:cubicBezTo>
                  <a:cubicBezTo>
                    <a:pt x="225036" y="352343"/>
                    <a:pt x="256541" y="342698"/>
                    <a:pt x="283546" y="323410"/>
                  </a:cubicBezTo>
                  <a:cubicBezTo>
                    <a:pt x="291261" y="318266"/>
                    <a:pt x="301549" y="320195"/>
                    <a:pt x="307335" y="327268"/>
                  </a:cubicBezTo>
                  <a:cubicBezTo>
                    <a:pt x="312479" y="334983"/>
                    <a:pt x="310550" y="345270"/>
                    <a:pt x="303477" y="351057"/>
                  </a:cubicBezTo>
                  <a:cubicBezTo>
                    <a:pt x="270687" y="373560"/>
                    <a:pt x="232752" y="385777"/>
                    <a:pt x="192888" y="385777"/>
                  </a:cubicBezTo>
                  <a:lnTo>
                    <a:pt x="192888" y="385777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82" name="Forma Livre: Forma 181">
              <a:extLst>
                <a:ext uri="{FF2B5EF4-FFF2-40B4-BE49-F238E27FC236}">
                  <a16:creationId xmlns:a16="http://schemas.microsoft.com/office/drawing/2014/main" id="{788E0A6E-BBA6-45B0-A3FF-22609884FF4B}"/>
                </a:ext>
              </a:extLst>
            </p:cNvPr>
            <p:cNvSpPr/>
            <p:nvPr/>
          </p:nvSpPr>
          <p:spPr>
            <a:xfrm>
              <a:off x="5359809" y="5778617"/>
              <a:ext cx="114447" cy="114447"/>
            </a:xfrm>
            <a:custGeom>
              <a:avLst/>
              <a:gdLst>
                <a:gd name="connsiteX0" fmla="*/ 57224 w 114447"/>
                <a:gd name="connsiteY0" fmla="*/ 114447 h 114447"/>
                <a:gd name="connsiteX1" fmla="*/ 0 w 114447"/>
                <a:gd name="connsiteY1" fmla="*/ 57224 h 114447"/>
                <a:gd name="connsiteX2" fmla="*/ 57224 w 114447"/>
                <a:gd name="connsiteY2" fmla="*/ 0 h 114447"/>
                <a:gd name="connsiteX3" fmla="*/ 114447 w 114447"/>
                <a:gd name="connsiteY3" fmla="*/ 57224 h 114447"/>
                <a:gd name="connsiteX4" fmla="*/ 57224 w 114447"/>
                <a:gd name="connsiteY4" fmla="*/ 114447 h 114447"/>
                <a:gd name="connsiteX5" fmla="*/ 57224 w 114447"/>
                <a:gd name="connsiteY5" fmla="*/ 114447 h 114447"/>
                <a:gd name="connsiteX6" fmla="*/ 57224 w 114447"/>
                <a:gd name="connsiteY6" fmla="*/ 33434 h 114447"/>
                <a:gd name="connsiteX7" fmla="*/ 34077 w 114447"/>
                <a:gd name="connsiteY7" fmla="*/ 56581 h 114447"/>
                <a:gd name="connsiteX8" fmla="*/ 57224 w 114447"/>
                <a:gd name="connsiteY8" fmla="*/ 79727 h 114447"/>
                <a:gd name="connsiteX9" fmla="*/ 80370 w 114447"/>
                <a:gd name="connsiteY9" fmla="*/ 56581 h 114447"/>
                <a:gd name="connsiteX10" fmla="*/ 57224 w 114447"/>
                <a:gd name="connsiteY10" fmla="*/ 33434 h 114447"/>
                <a:gd name="connsiteX11" fmla="*/ 57224 w 114447"/>
                <a:gd name="connsiteY11" fmla="*/ 33434 h 114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447" h="114447">
                  <a:moveTo>
                    <a:pt x="57224" y="114447"/>
                  </a:moveTo>
                  <a:cubicBezTo>
                    <a:pt x="25718" y="114447"/>
                    <a:pt x="0" y="88729"/>
                    <a:pt x="0" y="57224"/>
                  </a:cubicBezTo>
                  <a:cubicBezTo>
                    <a:pt x="0" y="25718"/>
                    <a:pt x="25718" y="0"/>
                    <a:pt x="57224" y="0"/>
                  </a:cubicBezTo>
                  <a:cubicBezTo>
                    <a:pt x="88729" y="0"/>
                    <a:pt x="114447" y="25718"/>
                    <a:pt x="114447" y="57224"/>
                  </a:cubicBezTo>
                  <a:cubicBezTo>
                    <a:pt x="114447" y="88729"/>
                    <a:pt x="88729" y="114447"/>
                    <a:pt x="57224" y="114447"/>
                  </a:cubicBezTo>
                  <a:lnTo>
                    <a:pt x="57224" y="114447"/>
                  </a:lnTo>
                  <a:close/>
                  <a:moveTo>
                    <a:pt x="57224" y="33434"/>
                  </a:moveTo>
                  <a:cubicBezTo>
                    <a:pt x="44364" y="33434"/>
                    <a:pt x="34077" y="43721"/>
                    <a:pt x="34077" y="56581"/>
                  </a:cubicBezTo>
                  <a:cubicBezTo>
                    <a:pt x="34077" y="69440"/>
                    <a:pt x="44364" y="79727"/>
                    <a:pt x="57224" y="79727"/>
                  </a:cubicBezTo>
                  <a:cubicBezTo>
                    <a:pt x="70083" y="79727"/>
                    <a:pt x="80370" y="69440"/>
                    <a:pt x="80370" y="56581"/>
                  </a:cubicBezTo>
                  <a:cubicBezTo>
                    <a:pt x="81013" y="43721"/>
                    <a:pt x="70083" y="33434"/>
                    <a:pt x="57224" y="33434"/>
                  </a:cubicBezTo>
                  <a:lnTo>
                    <a:pt x="57224" y="33434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83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6406225" y="5696571"/>
            <a:ext cx="380441" cy="380403"/>
            <a:chOff x="6410408" y="5778617"/>
            <a:chExt cx="385814" cy="385776"/>
          </a:xfrm>
          <a:solidFill>
            <a:srgbClr val="B1B1A1"/>
          </a:solidFill>
        </p:grpSpPr>
        <p:sp>
          <p:nvSpPr>
            <p:cNvPr id="184" name="Forma Livre: Forma 183">
              <a:extLst>
                <a:ext uri="{FF2B5EF4-FFF2-40B4-BE49-F238E27FC236}">
                  <a16:creationId xmlns:a16="http://schemas.microsoft.com/office/drawing/2014/main" id="{4A6E8462-710C-4736-AC92-3A2E90EEA4F6}"/>
                </a:ext>
              </a:extLst>
            </p:cNvPr>
            <p:cNvSpPr/>
            <p:nvPr/>
          </p:nvSpPr>
          <p:spPr>
            <a:xfrm>
              <a:off x="6410408" y="5778617"/>
              <a:ext cx="114447" cy="114447"/>
            </a:xfrm>
            <a:custGeom>
              <a:avLst/>
              <a:gdLst>
                <a:gd name="connsiteX0" fmla="*/ 57223 w 114447"/>
                <a:gd name="connsiteY0" fmla="*/ 114447 h 114447"/>
                <a:gd name="connsiteX1" fmla="*/ 0 w 114447"/>
                <a:gd name="connsiteY1" fmla="*/ 57224 h 114447"/>
                <a:gd name="connsiteX2" fmla="*/ 57223 w 114447"/>
                <a:gd name="connsiteY2" fmla="*/ 0 h 114447"/>
                <a:gd name="connsiteX3" fmla="*/ 114447 w 114447"/>
                <a:gd name="connsiteY3" fmla="*/ 57224 h 114447"/>
                <a:gd name="connsiteX4" fmla="*/ 57223 w 114447"/>
                <a:gd name="connsiteY4" fmla="*/ 114447 h 114447"/>
                <a:gd name="connsiteX5" fmla="*/ 57223 w 114447"/>
                <a:gd name="connsiteY5" fmla="*/ 114447 h 114447"/>
                <a:gd name="connsiteX6" fmla="*/ 57223 w 114447"/>
                <a:gd name="connsiteY6" fmla="*/ 33434 h 114447"/>
                <a:gd name="connsiteX7" fmla="*/ 34077 w 114447"/>
                <a:gd name="connsiteY7" fmla="*/ 56581 h 114447"/>
                <a:gd name="connsiteX8" fmla="*/ 57223 w 114447"/>
                <a:gd name="connsiteY8" fmla="*/ 79727 h 114447"/>
                <a:gd name="connsiteX9" fmla="*/ 80370 w 114447"/>
                <a:gd name="connsiteY9" fmla="*/ 56581 h 114447"/>
                <a:gd name="connsiteX10" fmla="*/ 57223 w 114447"/>
                <a:gd name="connsiteY10" fmla="*/ 33434 h 114447"/>
                <a:gd name="connsiteX11" fmla="*/ 57223 w 114447"/>
                <a:gd name="connsiteY11" fmla="*/ 33434 h 114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447" h="114447">
                  <a:moveTo>
                    <a:pt x="57223" y="114447"/>
                  </a:moveTo>
                  <a:cubicBezTo>
                    <a:pt x="25718" y="114447"/>
                    <a:pt x="0" y="88729"/>
                    <a:pt x="0" y="57224"/>
                  </a:cubicBezTo>
                  <a:cubicBezTo>
                    <a:pt x="0" y="25718"/>
                    <a:pt x="25718" y="0"/>
                    <a:pt x="57223" y="0"/>
                  </a:cubicBezTo>
                  <a:cubicBezTo>
                    <a:pt x="88729" y="0"/>
                    <a:pt x="114447" y="25718"/>
                    <a:pt x="114447" y="57224"/>
                  </a:cubicBezTo>
                  <a:cubicBezTo>
                    <a:pt x="114447" y="88729"/>
                    <a:pt x="88729" y="114447"/>
                    <a:pt x="57223" y="114447"/>
                  </a:cubicBezTo>
                  <a:lnTo>
                    <a:pt x="57223" y="114447"/>
                  </a:lnTo>
                  <a:close/>
                  <a:moveTo>
                    <a:pt x="57223" y="33434"/>
                  </a:moveTo>
                  <a:cubicBezTo>
                    <a:pt x="44364" y="33434"/>
                    <a:pt x="34077" y="43721"/>
                    <a:pt x="34077" y="56581"/>
                  </a:cubicBezTo>
                  <a:cubicBezTo>
                    <a:pt x="34077" y="69440"/>
                    <a:pt x="44364" y="79727"/>
                    <a:pt x="57223" y="79727"/>
                  </a:cubicBezTo>
                  <a:cubicBezTo>
                    <a:pt x="70083" y="79727"/>
                    <a:pt x="80370" y="69440"/>
                    <a:pt x="80370" y="56581"/>
                  </a:cubicBezTo>
                  <a:cubicBezTo>
                    <a:pt x="80370" y="43721"/>
                    <a:pt x="70083" y="33434"/>
                    <a:pt x="57223" y="33434"/>
                  </a:cubicBezTo>
                  <a:lnTo>
                    <a:pt x="57223" y="33434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85" name="Forma Livre: Forma 184">
              <a:extLst>
                <a:ext uri="{FF2B5EF4-FFF2-40B4-BE49-F238E27FC236}">
                  <a16:creationId xmlns:a16="http://schemas.microsoft.com/office/drawing/2014/main" id="{A15BA213-3CE7-499F-AEC4-706F2064607D}"/>
                </a:ext>
              </a:extLst>
            </p:cNvPr>
            <p:cNvSpPr/>
            <p:nvPr/>
          </p:nvSpPr>
          <p:spPr>
            <a:xfrm>
              <a:off x="6563433" y="5778617"/>
              <a:ext cx="33434" cy="385776"/>
            </a:xfrm>
            <a:custGeom>
              <a:avLst/>
              <a:gdLst>
                <a:gd name="connsiteX0" fmla="*/ 16717 w 33434"/>
                <a:gd name="connsiteY0" fmla="*/ 385777 h 385776"/>
                <a:gd name="connsiteX1" fmla="*/ 0 w 33434"/>
                <a:gd name="connsiteY1" fmla="*/ 369060 h 385776"/>
                <a:gd name="connsiteX2" fmla="*/ 0 w 33434"/>
                <a:gd name="connsiteY2" fmla="*/ 16717 h 385776"/>
                <a:gd name="connsiteX3" fmla="*/ 16717 w 33434"/>
                <a:gd name="connsiteY3" fmla="*/ 0 h 385776"/>
                <a:gd name="connsiteX4" fmla="*/ 33434 w 33434"/>
                <a:gd name="connsiteY4" fmla="*/ 16717 h 385776"/>
                <a:gd name="connsiteX5" fmla="*/ 33434 w 33434"/>
                <a:gd name="connsiteY5" fmla="*/ 369060 h 385776"/>
                <a:gd name="connsiteX6" fmla="*/ 16717 w 33434"/>
                <a:gd name="connsiteY6" fmla="*/ 385777 h 385776"/>
                <a:gd name="connsiteX7" fmla="*/ 16717 w 33434"/>
                <a:gd name="connsiteY7" fmla="*/ 385777 h 385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434" h="385776">
                  <a:moveTo>
                    <a:pt x="16717" y="385777"/>
                  </a:moveTo>
                  <a:cubicBezTo>
                    <a:pt x="7072" y="385777"/>
                    <a:pt x="0" y="378061"/>
                    <a:pt x="0" y="369060"/>
                  </a:cubicBezTo>
                  <a:lnTo>
                    <a:pt x="0" y="16717"/>
                  </a:lnTo>
                  <a:cubicBezTo>
                    <a:pt x="0" y="7072"/>
                    <a:pt x="7716" y="0"/>
                    <a:pt x="16717" y="0"/>
                  </a:cubicBezTo>
                  <a:cubicBezTo>
                    <a:pt x="26361" y="0"/>
                    <a:pt x="33434" y="7716"/>
                    <a:pt x="33434" y="16717"/>
                  </a:cubicBezTo>
                  <a:lnTo>
                    <a:pt x="33434" y="369060"/>
                  </a:lnTo>
                  <a:cubicBezTo>
                    <a:pt x="33434" y="378061"/>
                    <a:pt x="25718" y="385777"/>
                    <a:pt x="16717" y="385777"/>
                  </a:cubicBezTo>
                  <a:lnTo>
                    <a:pt x="16717" y="385777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86" name="Forma Livre: Forma 185">
              <a:extLst>
                <a:ext uri="{FF2B5EF4-FFF2-40B4-BE49-F238E27FC236}">
                  <a16:creationId xmlns:a16="http://schemas.microsoft.com/office/drawing/2014/main" id="{2DA7904D-8717-4C96-B344-B5F255C6E407}"/>
                </a:ext>
              </a:extLst>
            </p:cNvPr>
            <p:cNvSpPr/>
            <p:nvPr/>
          </p:nvSpPr>
          <p:spPr>
            <a:xfrm>
              <a:off x="6563433" y="5778617"/>
              <a:ext cx="232789" cy="33434"/>
            </a:xfrm>
            <a:custGeom>
              <a:avLst/>
              <a:gdLst>
                <a:gd name="connsiteX0" fmla="*/ 216035 w 232789"/>
                <a:gd name="connsiteY0" fmla="*/ 33434 h 33434"/>
                <a:gd name="connsiteX1" fmla="*/ 16717 w 232789"/>
                <a:gd name="connsiteY1" fmla="*/ 33434 h 33434"/>
                <a:gd name="connsiteX2" fmla="*/ 0 w 232789"/>
                <a:gd name="connsiteY2" fmla="*/ 16717 h 33434"/>
                <a:gd name="connsiteX3" fmla="*/ 16717 w 232789"/>
                <a:gd name="connsiteY3" fmla="*/ 0 h 33434"/>
                <a:gd name="connsiteX4" fmla="*/ 216035 w 232789"/>
                <a:gd name="connsiteY4" fmla="*/ 0 h 33434"/>
                <a:gd name="connsiteX5" fmla="*/ 232752 w 232789"/>
                <a:gd name="connsiteY5" fmla="*/ 16717 h 33434"/>
                <a:gd name="connsiteX6" fmla="*/ 216035 w 232789"/>
                <a:gd name="connsiteY6" fmla="*/ 33434 h 33434"/>
                <a:gd name="connsiteX7" fmla="*/ 216035 w 232789"/>
                <a:gd name="connsiteY7" fmla="*/ 33434 h 33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2789" h="33434">
                  <a:moveTo>
                    <a:pt x="216035" y="33434"/>
                  </a:moveTo>
                  <a:lnTo>
                    <a:pt x="16717" y="33434"/>
                  </a:lnTo>
                  <a:cubicBezTo>
                    <a:pt x="7072" y="33434"/>
                    <a:pt x="0" y="25718"/>
                    <a:pt x="0" y="16717"/>
                  </a:cubicBezTo>
                  <a:cubicBezTo>
                    <a:pt x="0" y="7072"/>
                    <a:pt x="7716" y="0"/>
                    <a:pt x="16717" y="0"/>
                  </a:cubicBezTo>
                  <a:lnTo>
                    <a:pt x="216035" y="0"/>
                  </a:lnTo>
                  <a:cubicBezTo>
                    <a:pt x="225679" y="0"/>
                    <a:pt x="232752" y="7716"/>
                    <a:pt x="232752" y="16717"/>
                  </a:cubicBezTo>
                  <a:cubicBezTo>
                    <a:pt x="233395" y="25718"/>
                    <a:pt x="225679" y="33434"/>
                    <a:pt x="216035" y="33434"/>
                  </a:cubicBezTo>
                  <a:lnTo>
                    <a:pt x="216035" y="33434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87" name="Forma Livre: Forma 186">
              <a:extLst>
                <a:ext uri="{FF2B5EF4-FFF2-40B4-BE49-F238E27FC236}">
                  <a16:creationId xmlns:a16="http://schemas.microsoft.com/office/drawing/2014/main" id="{83170C51-7981-4D58-95C3-F90F78EC2558}"/>
                </a:ext>
              </a:extLst>
            </p:cNvPr>
            <p:cNvSpPr/>
            <p:nvPr/>
          </p:nvSpPr>
          <p:spPr>
            <a:xfrm>
              <a:off x="6563433" y="5944501"/>
              <a:ext cx="232789" cy="33434"/>
            </a:xfrm>
            <a:custGeom>
              <a:avLst/>
              <a:gdLst>
                <a:gd name="connsiteX0" fmla="*/ 216035 w 232789"/>
                <a:gd name="connsiteY0" fmla="*/ 33434 h 33434"/>
                <a:gd name="connsiteX1" fmla="*/ 16717 w 232789"/>
                <a:gd name="connsiteY1" fmla="*/ 33434 h 33434"/>
                <a:gd name="connsiteX2" fmla="*/ 0 w 232789"/>
                <a:gd name="connsiteY2" fmla="*/ 16717 h 33434"/>
                <a:gd name="connsiteX3" fmla="*/ 16717 w 232789"/>
                <a:gd name="connsiteY3" fmla="*/ 0 h 33434"/>
                <a:gd name="connsiteX4" fmla="*/ 216035 w 232789"/>
                <a:gd name="connsiteY4" fmla="*/ 0 h 33434"/>
                <a:gd name="connsiteX5" fmla="*/ 232752 w 232789"/>
                <a:gd name="connsiteY5" fmla="*/ 16717 h 33434"/>
                <a:gd name="connsiteX6" fmla="*/ 216035 w 232789"/>
                <a:gd name="connsiteY6" fmla="*/ 33434 h 33434"/>
                <a:gd name="connsiteX7" fmla="*/ 216035 w 232789"/>
                <a:gd name="connsiteY7" fmla="*/ 33434 h 33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2789" h="33434">
                  <a:moveTo>
                    <a:pt x="216035" y="33434"/>
                  </a:moveTo>
                  <a:lnTo>
                    <a:pt x="16717" y="33434"/>
                  </a:lnTo>
                  <a:cubicBezTo>
                    <a:pt x="7072" y="33434"/>
                    <a:pt x="0" y="25718"/>
                    <a:pt x="0" y="16717"/>
                  </a:cubicBezTo>
                  <a:cubicBezTo>
                    <a:pt x="0" y="7073"/>
                    <a:pt x="7716" y="0"/>
                    <a:pt x="16717" y="0"/>
                  </a:cubicBezTo>
                  <a:lnTo>
                    <a:pt x="216035" y="0"/>
                  </a:lnTo>
                  <a:cubicBezTo>
                    <a:pt x="225679" y="0"/>
                    <a:pt x="232752" y="7716"/>
                    <a:pt x="232752" y="16717"/>
                  </a:cubicBezTo>
                  <a:cubicBezTo>
                    <a:pt x="233395" y="25718"/>
                    <a:pt x="225679" y="33434"/>
                    <a:pt x="216035" y="33434"/>
                  </a:cubicBezTo>
                  <a:lnTo>
                    <a:pt x="216035" y="33434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88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1320856" y="518636"/>
            <a:ext cx="300525" cy="374064"/>
            <a:chOff x="1253214" y="527551"/>
            <a:chExt cx="304770" cy="379347"/>
          </a:xfrm>
          <a:solidFill>
            <a:srgbClr val="B1B1A1"/>
          </a:solidFill>
        </p:grpSpPr>
        <p:sp>
          <p:nvSpPr>
            <p:cNvPr id="189" name="Forma Livre: Forma 188">
              <a:extLst>
                <a:ext uri="{FF2B5EF4-FFF2-40B4-BE49-F238E27FC236}">
                  <a16:creationId xmlns:a16="http://schemas.microsoft.com/office/drawing/2014/main" id="{3AFCA7B3-4CAD-4BED-B7D1-9C1EA901649B}"/>
                </a:ext>
              </a:extLst>
            </p:cNvPr>
            <p:cNvSpPr/>
            <p:nvPr/>
          </p:nvSpPr>
          <p:spPr>
            <a:xfrm>
              <a:off x="1253214" y="527551"/>
              <a:ext cx="304770" cy="379347"/>
            </a:xfrm>
            <a:custGeom>
              <a:avLst/>
              <a:gdLst>
                <a:gd name="connsiteX0" fmla="*/ 152382 w 304770"/>
                <a:gd name="connsiteY0" fmla="*/ 379347 h 379347"/>
                <a:gd name="connsiteX1" fmla="*/ 82942 w 304770"/>
                <a:gd name="connsiteY1" fmla="*/ 365845 h 379347"/>
                <a:gd name="connsiteX2" fmla="*/ 0 w 304770"/>
                <a:gd name="connsiteY2" fmla="*/ 214106 h 379347"/>
                <a:gd name="connsiteX3" fmla="*/ 0 w 304770"/>
                <a:gd name="connsiteY3" fmla="*/ 95801 h 379347"/>
                <a:gd name="connsiteX4" fmla="*/ 95158 w 304770"/>
                <a:gd name="connsiteY4" fmla="*/ 0 h 379347"/>
                <a:gd name="connsiteX5" fmla="*/ 208962 w 304770"/>
                <a:gd name="connsiteY5" fmla="*/ 0 h 379347"/>
                <a:gd name="connsiteX6" fmla="*/ 304764 w 304770"/>
                <a:gd name="connsiteY6" fmla="*/ 95801 h 379347"/>
                <a:gd name="connsiteX7" fmla="*/ 304764 w 304770"/>
                <a:gd name="connsiteY7" fmla="*/ 213463 h 379347"/>
                <a:gd name="connsiteX8" fmla="*/ 222465 w 304770"/>
                <a:gd name="connsiteY8" fmla="*/ 365202 h 379347"/>
                <a:gd name="connsiteX9" fmla="*/ 152382 w 304770"/>
                <a:gd name="connsiteY9" fmla="*/ 379347 h 379347"/>
                <a:gd name="connsiteX10" fmla="*/ 152382 w 304770"/>
                <a:gd name="connsiteY10" fmla="*/ 379347 h 379347"/>
                <a:gd name="connsiteX11" fmla="*/ 208319 w 304770"/>
                <a:gd name="connsiteY11" fmla="*/ 34077 h 379347"/>
                <a:gd name="connsiteX12" fmla="*/ 95801 w 304770"/>
                <a:gd name="connsiteY12" fmla="*/ 34077 h 379347"/>
                <a:gd name="connsiteX13" fmla="*/ 34077 w 304770"/>
                <a:gd name="connsiteY13" fmla="*/ 95158 h 379347"/>
                <a:gd name="connsiteX14" fmla="*/ 34077 w 304770"/>
                <a:gd name="connsiteY14" fmla="*/ 213463 h 379347"/>
                <a:gd name="connsiteX15" fmla="*/ 95801 w 304770"/>
                <a:gd name="connsiteY15" fmla="*/ 334340 h 379347"/>
                <a:gd name="connsiteX16" fmla="*/ 208319 w 304770"/>
                <a:gd name="connsiteY16" fmla="*/ 334340 h 379347"/>
                <a:gd name="connsiteX17" fmla="*/ 270044 w 304770"/>
                <a:gd name="connsiteY17" fmla="*/ 213463 h 379347"/>
                <a:gd name="connsiteX18" fmla="*/ 270044 w 304770"/>
                <a:gd name="connsiteY18" fmla="*/ 95801 h 379347"/>
                <a:gd name="connsiteX19" fmla="*/ 208319 w 304770"/>
                <a:gd name="connsiteY19" fmla="*/ 34077 h 379347"/>
                <a:gd name="connsiteX20" fmla="*/ 208319 w 304770"/>
                <a:gd name="connsiteY20" fmla="*/ 34077 h 379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04770" h="379347">
                  <a:moveTo>
                    <a:pt x="152382" y="379347"/>
                  </a:moveTo>
                  <a:cubicBezTo>
                    <a:pt x="128592" y="379347"/>
                    <a:pt x="105446" y="374847"/>
                    <a:pt x="82942" y="365845"/>
                  </a:cubicBezTo>
                  <a:cubicBezTo>
                    <a:pt x="25075" y="340770"/>
                    <a:pt x="643" y="254613"/>
                    <a:pt x="0" y="214106"/>
                  </a:cubicBezTo>
                  <a:lnTo>
                    <a:pt x="0" y="95801"/>
                  </a:lnTo>
                  <a:cubicBezTo>
                    <a:pt x="0" y="45650"/>
                    <a:pt x="42435" y="2572"/>
                    <a:pt x="95158" y="0"/>
                  </a:cubicBezTo>
                  <a:lnTo>
                    <a:pt x="208962" y="0"/>
                  </a:lnTo>
                  <a:cubicBezTo>
                    <a:pt x="262971" y="2572"/>
                    <a:pt x="305407" y="45007"/>
                    <a:pt x="304764" y="95801"/>
                  </a:cubicBezTo>
                  <a:lnTo>
                    <a:pt x="304764" y="213463"/>
                  </a:lnTo>
                  <a:cubicBezTo>
                    <a:pt x="304121" y="253970"/>
                    <a:pt x="279688" y="340770"/>
                    <a:pt x="222465" y="365202"/>
                  </a:cubicBezTo>
                  <a:cubicBezTo>
                    <a:pt x="199961" y="374204"/>
                    <a:pt x="176814" y="379347"/>
                    <a:pt x="152382" y="379347"/>
                  </a:cubicBezTo>
                  <a:lnTo>
                    <a:pt x="152382" y="379347"/>
                  </a:lnTo>
                  <a:close/>
                  <a:moveTo>
                    <a:pt x="208319" y="34077"/>
                  </a:moveTo>
                  <a:lnTo>
                    <a:pt x="95801" y="34077"/>
                  </a:lnTo>
                  <a:cubicBezTo>
                    <a:pt x="62367" y="35363"/>
                    <a:pt x="33434" y="63653"/>
                    <a:pt x="34077" y="95158"/>
                  </a:cubicBezTo>
                  <a:lnTo>
                    <a:pt x="34077" y="213463"/>
                  </a:lnTo>
                  <a:cubicBezTo>
                    <a:pt x="34720" y="252041"/>
                    <a:pt x="59152" y="318266"/>
                    <a:pt x="95801" y="334340"/>
                  </a:cubicBezTo>
                  <a:cubicBezTo>
                    <a:pt x="131164" y="348485"/>
                    <a:pt x="172314" y="348485"/>
                    <a:pt x="208319" y="334340"/>
                  </a:cubicBezTo>
                  <a:cubicBezTo>
                    <a:pt x="244968" y="318266"/>
                    <a:pt x="269401" y="252041"/>
                    <a:pt x="270044" y="213463"/>
                  </a:cubicBezTo>
                  <a:lnTo>
                    <a:pt x="270044" y="95801"/>
                  </a:lnTo>
                  <a:cubicBezTo>
                    <a:pt x="271330" y="63653"/>
                    <a:pt x="242396" y="35363"/>
                    <a:pt x="208319" y="34077"/>
                  </a:cubicBezTo>
                  <a:lnTo>
                    <a:pt x="208319" y="34077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90" name="Forma Livre: Forma 189">
              <a:extLst>
                <a:ext uri="{FF2B5EF4-FFF2-40B4-BE49-F238E27FC236}">
                  <a16:creationId xmlns:a16="http://schemas.microsoft.com/office/drawing/2014/main" id="{8D6A4DDD-6577-41B7-B014-F441C484DDAE}"/>
                </a:ext>
              </a:extLst>
            </p:cNvPr>
            <p:cNvSpPr/>
            <p:nvPr/>
          </p:nvSpPr>
          <p:spPr>
            <a:xfrm>
              <a:off x="1386950" y="527551"/>
              <a:ext cx="33433" cy="122162"/>
            </a:xfrm>
            <a:custGeom>
              <a:avLst/>
              <a:gdLst>
                <a:gd name="connsiteX0" fmla="*/ 16717 w 33433"/>
                <a:gd name="connsiteY0" fmla="*/ 122163 h 122162"/>
                <a:gd name="connsiteX1" fmla="*/ 0 w 33433"/>
                <a:gd name="connsiteY1" fmla="*/ 105446 h 122162"/>
                <a:gd name="connsiteX2" fmla="*/ 0 w 33433"/>
                <a:gd name="connsiteY2" fmla="*/ 16717 h 122162"/>
                <a:gd name="connsiteX3" fmla="*/ 16717 w 33433"/>
                <a:gd name="connsiteY3" fmla="*/ 0 h 122162"/>
                <a:gd name="connsiteX4" fmla="*/ 33434 w 33433"/>
                <a:gd name="connsiteY4" fmla="*/ 16717 h 122162"/>
                <a:gd name="connsiteX5" fmla="*/ 33434 w 33433"/>
                <a:gd name="connsiteY5" fmla="*/ 104803 h 122162"/>
                <a:gd name="connsiteX6" fmla="*/ 16717 w 33433"/>
                <a:gd name="connsiteY6" fmla="*/ 122163 h 122162"/>
                <a:gd name="connsiteX7" fmla="*/ 16717 w 33433"/>
                <a:gd name="connsiteY7" fmla="*/ 122163 h 122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433" h="122162">
                  <a:moveTo>
                    <a:pt x="16717" y="122163"/>
                  </a:moveTo>
                  <a:cubicBezTo>
                    <a:pt x="7073" y="122163"/>
                    <a:pt x="0" y="114447"/>
                    <a:pt x="0" y="105446"/>
                  </a:cubicBezTo>
                  <a:lnTo>
                    <a:pt x="0" y="16717"/>
                  </a:lnTo>
                  <a:cubicBezTo>
                    <a:pt x="0" y="7073"/>
                    <a:pt x="7716" y="0"/>
                    <a:pt x="16717" y="0"/>
                  </a:cubicBezTo>
                  <a:cubicBezTo>
                    <a:pt x="26361" y="0"/>
                    <a:pt x="33434" y="7716"/>
                    <a:pt x="33434" y="16717"/>
                  </a:cubicBezTo>
                  <a:lnTo>
                    <a:pt x="33434" y="104803"/>
                  </a:lnTo>
                  <a:cubicBezTo>
                    <a:pt x="33434" y="114447"/>
                    <a:pt x="25718" y="122163"/>
                    <a:pt x="16717" y="122163"/>
                  </a:cubicBezTo>
                  <a:lnTo>
                    <a:pt x="16717" y="122163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91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2262356" y="572526"/>
            <a:ext cx="459655" cy="266282"/>
            <a:chOff x="2208012" y="582202"/>
            <a:chExt cx="466147" cy="270043"/>
          </a:xfrm>
          <a:solidFill>
            <a:srgbClr val="B1B1A1"/>
          </a:solidFill>
        </p:grpSpPr>
        <p:sp>
          <p:nvSpPr>
            <p:cNvPr id="192" name="Forma Livre: Forma 191">
              <a:extLst>
                <a:ext uri="{FF2B5EF4-FFF2-40B4-BE49-F238E27FC236}">
                  <a16:creationId xmlns:a16="http://schemas.microsoft.com/office/drawing/2014/main" id="{07ADE957-CCB0-4808-9E14-A73E7B58FC9F}"/>
                </a:ext>
              </a:extLst>
            </p:cNvPr>
            <p:cNvSpPr/>
            <p:nvPr/>
          </p:nvSpPr>
          <p:spPr>
            <a:xfrm>
              <a:off x="2208012" y="582202"/>
              <a:ext cx="466147" cy="270043"/>
            </a:xfrm>
            <a:custGeom>
              <a:avLst/>
              <a:gdLst>
                <a:gd name="connsiteX0" fmla="*/ 449430 w 466147"/>
                <a:gd name="connsiteY0" fmla="*/ 270044 h 270043"/>
                <a:gd name="connsiteX1" fmla="*/ 16717 w 466147"/>
                <a:gd name="connsiteY1" fmla="*/ 270044 h 270043"/>
                <a:gd name="connsiteX2" fmla="*/ 0 w 466147"/>
                <a:gd name="connsiteY2" fmla="*/ 253327 h 270043"/>
                <a:gd name="connsiteX3" fmla="*/ 0 w 466147"/>
                <a:gd name="connsiteY3" fmla="*/ 16717 h 270043"/>
                <a:gd name="connsiteX4" fmla="*/ 16717 w 466147"/>
                <a:gd name="connsiteY4" fmla="*/ 0 h 270043"/>
                <a:gd name="connsiteX5" fmla="*/ 449430 w 466147"/>
                <a:gd name="connsiteY5" fmla="*/ 0 h 270043"/>
                <a:gd name="connsiteX6" fmla="*/ 466147 w 466147"/>
                <a:gd name="connsiteY6" fmla="*/ 16717 h 270043"/>
                <a:gd name="connsiteX7" fmla="*/ 466147 w 466147"/>
                <a:gd name="connsiteY7" fmla="*/ 253327 h 270043"/>
                <a:gd name="connsiteX8" fmla="*/ 449430 w 466147"/>
                <a:gd name="connsiteY8" fmla="*/ 270044 h 270043"/>
                <a:gd name="connsiteX9" fmla="*/ 449430 w 466147"/>
                <a:gd name="connsiteY9" fmla="*/ 270044 h 270043"/>
                <a:gd name="connsiteX10" fmla="*/ 33434 w 466147"/>
                <a:gd name="connsiteY10" fmla="*/ 235967 h 270043"/>
                <a:gd name="connsiteX11" fmla="*/ 432713 w 466147"/>
                <a:gd name="connsiteY11" fmla="*/ 235967 h 270043"/>
                <a:gd name="connsiteX12" fmla="*/ 432713 w 466147"/>
                <a:gd name="connsiteY12" fmla="*/ 33434 h 270043"/>
                <a:gd name="connsiteX13" fmla="*/ 33434 w 466147"/>
                <a:gd name="connsiteY13" fmla="*/ 33434 h 270043"/>
                <a:gd name="connsiteX14" fmla="*/ 33434 w 466147"/>
                <a:gd name="connsiteY14" fmla="*/ 235967 h 270043"/>
                <a:gd name="connsiteX15" fmla="*/ 33434 w 466147"/>
                <a:gd name="connsiteY15" fmla="*/ 235967 h 270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66147" h="270043">
                  <a:moveTo>
                    <a:pt x="449430" y="270044"/>
                  </a:moveTo>
                  <a:lnTo>
                    <a:pt x="16717" y="270044"/>
                  </a:lnTo>
                  <a:cubicBezTo>
                    <a:pt x="7073" y="270044"/>
                    <a:pt x="0" y="262328"/>
                    <a:pt x="0" y="253327"/>
                  </a:cubicBezTo>
                  <a:lnTo>
                    <a:pt x="0" y="16717"/>
                  </a:lnTo>
                  <a:cubicBezTo>
                    <a:pt x="0" y="7073"/>
                    <a:pt x="7716" y="0"/>
                    <a:pt x="16717" y="0"/>
                  </a:cubicBezTo>
                  <a:lnTo>
                    <a:pt x="449430" y="0"/>
                  </a:lnTo>
                  <a:cubicBezTo>
                    <a:pt x="459074" y="0"/>
                    <a:pt x="466147" y="7716"/>
                    <a:pt x="466147" y="16717"/>
                  </a:cubicBezTo>
                  <a:lnTo>
                    <a:pt x="466147" y="253327"/>
                  </a:lnTo>
                  <a:cubicBezTo>
                    <a:pt x="466147" y="262328"/>
                    <a:pt x="459074" y="270044"/>
                    <a:pt x="449430" y="270044"/>
                  </a:cubicBezTo>
                  <a:lnTo>
                    <a:pt x="449430" y="270044"/>
                  </a:lnTo>
                  <a:close/>
                  <a:moveTo>
                    <a:pt x="33434" y="235967"/>
                  </a:moveTo>
                  <a:lnTo>
                    <a:pt x="432713" y="235967"/>
                  </a:lnTo>
                  <a:lnTo>
                    <a:pt x="432713" y="33434"/>
                  </a:lnTo>
                  <a:lnTo>
                    <a:pt x="33434" y="33434"/>
                  </a:lnTo>
                  <a:lnTo>
                    <a:pt x="33434" y="235967"/>
                  </a:lnTo>
                  <a:lnTo>
                    <a:pt x="33434" y="235967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193" name="Gráfico 2">
              <a:extLst>
                <a:ext uri="{FF2B5EF4-FFF2-40B4-BE49-F238E27FC236}">
                  <a16:creationId xmlns:a16="http://schemas.microsoft.com/office/drawing/2014/main" id="{40F8E44F-B406-439F-8B63-82F15B4E8194}"/>
                </a:ext>
              </a:extLst>
            </p:cNvPr>
            <p:cNvGrpSpPr/>
            <p:nvPr/>
          </p:nvGrpSpPr>
          <p:grpSpPr>
            <a:xfrm>
              <a:off x="2263950" y="638783"/>
              <a:ext cx="352342" cy="37934"/>
              <a:chOff x="2263950" y="638783"/>
              <a:chExt cx="352342" cy="37934"/>
            </a:xfrm>
            <a:grpFill/>
          </p:grpSpPr>
          <p:sp>
            <p:nvSpPr>
              <p:cNvPr id="194" name="Forma Livre: Forma 193">
                <a:extLst>
                  <a:ext uri="{FF2B5EF4-FFF2-40B4-BE49-F238E27FC236}">
                    <a16:creationId xmlns:a16="http://schemas.microsoft.com/office/drawing/2014/main" id="{72F8D0FD-423D-421F-87DB-FE3B455C2DA8}"/>
                  </a:ext>
                </a:extLst>
              </p:cNvPr>
              <p:cNvSpPr/>
              <p:nvPr/>
            </p:nvSpPr>
            <p:spPr>
              <a:xfrm>
                <a:off x="2263950" y="638783"/>
                <a:ext cx="37934" cy="37934"/>
              </a:xfrm>
              <a:custGeom>
                <a:avLst/>
                <a:gdLst>
                  <a:gd name="connsiteX0" fmla="*/ 37935 w 37934"/>
                  <a:gd name="connsiteY0" fmla="*/ 0 h 37934"/>
                  <a:gd name="connsiteX1" fmla="*/ 0 w 37934"/>
                  <a:gd name="connsiteY1" fmla="*/ 0 h 37934"/>
                  <a:gd name="connsiteX2" fmla="*/ 0 w 37934"/>
                  <a:gd name="connsiteY2" fmla="*/ 37935 h 37934"/>
                  <a:gd name="connsiteX3" fmla="*/ 37935 w 37934"/>
                  <a:gd name="connsiteY3" fmla="*/ 37935 h 37934"/>
                  <a:gd name="connsiteX4" fmla="*/ 37935 w 37934"/>
                  <a:gd name="connsiteY4" fmla="*/ 0 h 37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934" h="37934">
                    <a:moveTo>
                      <a:pt x="37935" y="0"/>
                    </a:moveTo>
                    <a:lnTo>
                      <a:pt x="0" y="0"/>
                    </a:lnTo>
                    <a:lnTo>
                      <a:pt x="0" y="37935"/>
                    </a:lnTo>
                    <a:lnTo>
                      <a:pt x="37935" y="37935"/>
                    </a:lnTo>
                    <a:lnTo>
                      <a:pt x="37935" y="0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95" name="Forma Livre: Forma 194">
                <a:extLst>
                  <a:ext uri="{FF2B5EF4-FFF2-40B4-BE49-F238E27FC236}">
                    <a16:creationId xmlns:a16="http://schemas.microsoft.com/office/drawing/2014/main" id="{63C4081E-DFF8-4F4D-8D63-1C9ACD3CBAC9}"/>
                  </a:ext>
                </a:extLst>
              </p:cNvPr>
              <p:cNvSpPr/>
              <p:nvPr/>
            </p:nvSpPr>
            <p:spPr>
              <a:xfrm>
                <a:off x="2316672" y="638783"/>
                <a:ext cx="37934" cy="37934"/>
              </a:xfrm>
              <a:custGeom>
                <a:avLst/>
                <a:gdLst>
                  <a:gd name="connsiteX0" fmla="*/ 37935 w 37934"/>
                  <a:gd name="connsiteY0" fmla="*/ 0 h 37934"/>
                  <a:gd name="connsiteX1" fmla="*/ 0 w 37934"/>
                  <a:gd name="connsiteY1" fmla="*/ 0 h 37934"/>
                  <a:gd name="connsiteX2" fmla="*/ 0 w 37934"/>
                  <a:gd name="connsiteY2" fmla="*/ 37935 h 37934"/>
                  <a:gd name="connsiteX3" fmla="*/ 37935 w 37934"/>
                  <a:gd name="connsiteY3" fmla="*/ 37935 h 37934"/>
                  <a:gd name="connsiteX4" fmla="*/ 37935 w 37934"/>
                  <a:gd name="connsiteY4" fmla="*/ 0 h 37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934" h="37934">
                    <a:moveTo>
                      <a:pt x="37935" y="0"/>
                    </a:moveTo>
                    <a:lnTo>
                      <a:pt x="0" y="0"/>
                    </a:lnTo>
                    <a:lnTo>
                      <a:pt x="0" y="37935"/>
                    </a:lnTo>
                    <a:lnTo>
                      <a:pt x="37935" y="37935"/>
                    </a:lnTo>
                    <a:lnTo>
                      <a:pt x="37935" y="0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96" name="Forma Livre: Forma 195">
                <a:extLst>
                  <a:ext uri="{FF2B5EF4-FFF2-40B4-BE49-F238E27FC236}">
                    <a16:creationId xmlns:a16="http://schemas.microsoft.com/office/drawing/2014/main" id="{41E44275-4171-4175-BE14-7932FAC3E4C3}"/>
                  </a:ext>
                </a:extLst>
              </p:cNvPr>
              <p:cNvSpPr/>
              <p:nvPr/>
            </p:nvSpPr>
            <p:spPr>
              <a:xfrm>
                <a:off x="2368752" y="638783"/>
                <a:ext cx="37934" cy="37934"/>
              </a:xfrm>
              <a:custGeom>
                <a:avLst/>
                <a:gdLst>
                  <a:gd name="connsiteX0" fmla="*/ 37935 w 37934"/>
                  <a:gd name="connsiteY0" fmla="*/ 0 h 37934"/>
                  <a:gd name="connsiteX1" fmla="*/ 0 w 37934"/>
                  <a:gd name="connsiteY1" fmla="*/ 0 h 37934"/>
                  <a:gd name="connsiteX2" fmla="*/ 0 w 37934"/>
                  <a:gd name="connsiteY2" fmla="*/ 37935 h 37934"/>
                  <a:gd name="connsiteX3" fmla="*/ 37935 w 37934"/>
                  <a:gd name="connsiteY3" fmla="*/ 37935 h 37934"/>
                  <a:gd name="connsiteX4" fmla="*/ 37935 w 37934"/>
                  <a:gd name="connsiteY4" fmla="*/ 0 h 37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934" h="37934">
                    <a:moveTo>
                      <a:pt x="37935" y="0"/>
                    </a:moveTo>
                    <a:lnTo>
                      <a:pt x="0" y="0"/>
                    </a:lnTo>
                    <a:lnTo>
                      <a:pt x="0" y="37935"/>
                    </a:lnTo>
                    <a:lnTo>
                      <a:pt x="37935" y="37935"/>
                    </a:lnTo>
                    <a:lnTo>
                      <a:pt x="37935" y="0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97" name="Forma Livre: Forma 196">
                <a:extLst>
                  <a:ext uri="{FF2B5EF4-FFF2-40B4-BE49-F238E27FC236}">
                    <a16:creationId xmlns:a16="http://schemas.microsoft.com/office/drawing/2014/main" id="{A115E754-A2D8-4909-BAC4-E392FA1EB55F}"/>
                  </a:ext>
                </a:extLst>
              </p:cNvPr>
              <p:cNvSpPr/>
              <p:nvPr/>
            </p:nvSpPr>
            <p:spPr>
              <a:xfrm>
                <a:off x="2421475" y="638783"/>
                <a:ext cx="37934" cy="37934"/>
              </a:xfrm>
              <a:custGeom>
                <a:avLst/>
                <a:gdLst>
                  <a:gd name="connsiteX0" fmla="*/ 37935 w 37934"/>
                  <a:gd name="connsiteY0" fmla="*/ 0 h 37934"/>
                  <a:gd name="connsiteX1" fmla="*/ 0 w 37934"/>
                  <a:gd name="connsiteY1" fmla="*/ 0 h 37934"/>
                  <a:gd name="connsiteX2" fmla="*/ 0 w 37934"/>
                  <a:gd name="connsiteY2" fmla="*/ 37935 h 37934"/>
                  <a:gd name="connsiteX3" fmla="*/ 37935 w 37934"/>
                  <a:gd name="connsiteY3" fmla="*/ 37935 h 37934"/>
                  <a:gd name="connsiteX4" fmla="*/ 37935 w 37934"/>
                  <a:gd name="connsiteY4" fmla="*/ 0 h 37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934" h="37934">
                    <a:moveTo>
                      <a:pt x="37935" y="0"/>
                    </a:moveTo>
                    <a:lnTo>
                      <a:pt x="0" y="0"/>
                    </a:lnTo>
                    <a:lnTo>
                      <a:pt x="0" y="37935"/>
                    </a:lnTo>
                    <a:lnTo>
                      <a:pt x="37935" y="37935"/>
                    </a:lnTo>
                    <a:lnTo>
                      <a:pt x="37935" y="0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98" name="Forma Livre: Forma 197">
                <a:extLst>
                  <a:ext uri="{FF2B5EF4-FFF2-40B4-BE49-F238E27FC236}">
                    <a16:creationId xmlns:a16="http://schemas.microsoft.com/office/drawing/2014/main" id="{17F1D343-A6CA-4F42-952D-26AB62C3E3B5}"/>
                  </a:ext>
                </a:extLst>
              </p:cNvPr>
              <p:cNvSpPr/>
              <p:nvPr/>
            </p:nvSpPr>
            <p:spPr>
              <a:xfrm>
                <a:off x="2473555" y="638783"/>
                <a:ext cx="37934" cy="37934"/>
              </a:xfrm>
              <a:custGeom>
                <a:avLst/>
                <a:gdLst>
                  <a:gd name="connsiteX0" fmla="*/ 37935 w 37934"/>
                  <a:gd name="connsiteY0" fmla="*/ 0 h 37934"/>
                  <a:gd name="connsiteX1" fmla="*/ 0 w 37934"/>
                  <a:gd name="connsiteY1" fmla="*/ 0 h 37934"/>
                  <a:gd name="connsiteX2" fmla="*/ 0 w 37934"/>
                  <a:gd name="connsiteY2" fmla="*/ 37935 h 37934"/>
                  <a:gd name="connsiteX3" fmla="*/ 37935 w 37934"/>
                  <a:gd name="connsiteY3" fmla="*/ 37935 h 37934"/>
                  <a:gd name="connsiteX4" fmla="*/ 37935 w 37934"/>
                  <a:gd name="connsiteY4" fmla="*/ 0 h 37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934" h="37934">
                    <a:moveTo>
                      <a:pt x="37935" y="0"/>
                    </a:moveTo>
                    <a:lnTo>
                      <a:pt x="0" y="0"/>
                    </a:lnTo>
                    <a:lnTo>
                      <a:pt x="0" y="37935"/>
                    </a:lnTo>
                    <a:lnTo>
                      <a:pt x="37935" y="37935"/>
                    </a:lnTo>
                    <a:lnTo>
                      <a:pt x="37935" y="0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99" name="Forma Livre: Forma 198">
                <a:extLst>
                  <a:ext uri="{FF2B5EF4-FFF2-40B4-BE49-F238E27FC236}">
                    <a16:creationId xmlns:a16="http://schemas.microsoft.com/office/drawing/2014/main" id="{624C9DA7-E552-4A3A-8C6A-3A31A974E112}"/>
                  </a:ext>
                </a:extLst>
              </p:cNvPr>
              <p:cNvSpPr/>
              <p:nvPr/>
            </p:nvSpPr>
            <p:spPr>
              <a:xfrm>
                <a:off x="2526278" y="638783"/>
                <a:ext cx="37291" cy="37934"/>
              </a:xfrm>
              <a:custGeom>
                <a:avLst/>
                <a:gdLst>
                  <a:gd name="connsiteX0" fmla="*/ 37292 w 37291"/>
                  <a:gd name="connsiteY0" fmla="*/ 0 h 37934"/>
                  <a:gd name="connsiteX1" fmla="*/ 0 w 37291"/>
                  <a:gd name="connsiteY1" fmla="*/ 0 h 37934"/>
                  <a:gd name="connsiteX2" fmla="*/ 0 w 37291"/>
                  <a:gd name="connsiteY2" fmla="*/ 37935 h 37934"/>
                  <a:gd name="connsiteX3" fmla="*/ 37292 w 37291"/>
                  <a:gd name="connsiteY3" fmla="*/ 37935 h 37934"/>
                  <a:gd name="connsiteX4" fmla="*/ 37292 w 37291"/>
                  <a:gd name="connsiteY4" fmla="*/ 0 h 37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291" h="37934">
                    <a:moveTo>
                      <a:pt x="37292" y="0"/>
                    </a:moveTo>
                    <a:lnTo>
                      <a:pt x="0" y="0"/>
                    </a:lnTo>
                    <a:lnTo>
                      <a:pt x="0" y="37935"/>
                    </a:lnTo>
                    <a:lnTo>
                      <a:pt x="37292" y="37935"/>
                    </a:lnTo>
                    <a:lnTo>
                      <a:pt x="37292" y="0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00" name="Forma Livre: Forma 199">
                <a:extLst>
                  <a:ext uri="{FF2B5EF4-FFF2-40B4-BE49-F238E27FC236}">
                    <a16:creationId xmlns:a16="http://schemas.microsoft.com/office/drawing/2014/main" id="{FE962865-B3D4-4DC1-8A26-E916C7BAC068}"/>
                  </a:ext>
                </a:extLst>
              </p:cNvPr>
              <p:cNvSpPr/>
              <p:nvPr/>
            </p:nvSpPr>
            <p:spPr>
              <a:xfrm>
                <a:off x="2578358" y="638783"/>
                <a:ext cx="37934" cy="37934"/>
              </a:xfrm>
              <a:custGeom>
                <a:avLst/>
                <a:gdLst>
                  <a:gd name="connsiteX0" fmla="*/ 37935 w 37934"/>
                  <a:gd name="connsiteY0" fmla="*/ 0 h 37934"/>
                  <a:gd name="connsiteX1" fmla="*/ 0 w 37934"/>
                  <a:gd name="connsiteY1" fmla="*/ 0 h 37934"/>
                  <a:gd name="connsiteX2" fmla="*/ 0 w 37934"/>
                  <a:gd name="connsiteY2" fmla="*/ 37935 h 37934"/>
                  <a:gd name="connsiteX3" fmla="*/ 37935 w 37934"/>
                  <a:gd name="connsiteY3" fmla="*/ 37935 h 37934"/>
                  <a:gd name="connsiteX4" fmla="*/ 37935 w 37934"/>
                  <a:gd name="connsiteY4" fmla="*/ 0 h 37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934" h="37934">
                    <a:moveTo>
                      <a:pt x="37935" y="0"/>
                    </a:moveTo>
                    <a:lnTo>
                      <a:pt x="0" y="0"/>
                    </a:lnTo>
                    <a:lnTo>
                      <a:pt x="0" y="37935"/>
                    </a:lnTo>
                    <a:lnTo>
                      <a:pt x="37935" y="37935"/>
                    </a:lnTo>
                    <a:lnTo>
                      <a:pt x="37935" y="0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201" name="Gráfico 2">
              <a:extLst>
                <a:ext uri="{FF2B5EF4-FFF2-40B4-BE49-F238E27FC236}">
                  <a16:creationId xmlns:a16="http://schemas.microsoft.com/office/drawing/2014/main" id="{40F8E44F-B406-439F-8B63-82F15B4E8194}"/>
                </a:ext>
              </a:extLst>
            </p:cNvPr>
            <p:cNvGrpSpPr/>
            <p:nvPr/>
          </p:nvGrpSpPr>
          <p:grpSpPr>
            <a:xfrm>
              <a:off x="2263950" y="690863"/>
              <a:ext cx="352342" cy="37934"/>
              <a:chOff x="2263950" y="690863"/>
              <a:chExt cx="352342" cy="37934"/>
            </a:xfrm>
            <a:grpFill/>
          </p:grpSpPr>
          <p:sp>
            <p:nvSpPr>
              <p:cNvPr id="202" name="Forma Livre: Forma 201">
                <a:extLst>
                  <a:ext uri="{FF2B5EF4-FFF2-40B4-BE49-F238E27FC236}">
                    <a16:creationId xmlns:a16="http://schemas.microsoft.com/office/drawing/2014/main" id="{BD6E758A-84A2-4462-ACEE-2C79033E17CB}"/>
                  </a:ext>
                </a:extLst>
              </p:cNvPr>
              <p:cNvSpPr/>
              <p:nvPr/>
            </p:nvSpPr>
            <p:spPr>
              <a:xfrm>
                <a:off x="2263950" y="690863"/>
                <a:ext cx="37934" cy="37934"/>
              </a:xfrm>
              <a:custGeom>
                <a:avLst/>
                <a:gdLst>
                  <a:gd name="connsiteX0" fmla="*/ 37935 w 37934"/>
                  <a:gd name="connsiteY0" fmla="*/ 0 h 37934"/>
                  <a:gd name="connsiteX1" fmla="*/ 0 w 37934"/>
                  <a:gd name="connsiteY1" fmla="*/ 0 h 37934"/>
                  <a:gd name="connsiteX2" fmla="*/ 0 w 37934"/>
                  <a:gd name="connsiteY2" fmla="*/ 37935 h 37934"/>
                  <a:gd name="connsiteX3" fmla="*/ 37935 w 37934"/>
                  <a:gd name="connsiteY3" fmla="*/ 37935 h 37934"/>
                  <a:gd name="connsiteX4" fmla="*/ 37935 w 37934"/>
                  <a:gd name="connsiteY4" fmla="*/ 0 h 37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934" h="37934">
                    <a:moveTo>
                      <a:pt x="37935" y="0"/>
                    </a:moveTo>
                    <a:lnTo>
                      <a:pt x="0" y="0"/>
                    </a:lnTo>
                    <a:lnTo>
                      <a:pt x="0" y="37935"/>
                    </a:lnTo>
                    <a:lnTo>
                      <a:pt x="37935" y="37935"/>
                    </a:lnTo>
                    <a:lnTo>
                      <a:pt x="37935" y="0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03" name="Forma Livre: Forma 202">
                <a:extLst>
                  <a:ext uri="{FF2B5EF4-FFF2-40B4-BE49-F238E27FC236}">
                    <a16:creationId xmlns:a16="http://schemas.microsoft.com/office/drawing/2014/main" id="{553DB707-BA59-4794-86FB-32F0D04C15E8}"/>
                  </a:ext>
                </a:extLst>
              </p:cNvPr>
              <p:cNvSpPr/>
              <p:nvPr/>
            </p:nvSpPr>
            <p:spPr>
              <a:xfrm>
                <a:off x="2316672" y="690863"/>
                <a:ext cx="37934" cy="37934"/>
              </a:xfrm>
              <a:custGeom>
                <a:avLst/>
                <a:gdLst>
                  <a:gd name="connsiteX0" fmla="*/ 37935 w 37934"/>
                  <a:gd name="connsiteY0" fmla="*/ 0 h 37934"/>
                  <a:gd name="connsiteX1" fmla="*/ 0 w 37934"/>
                  <a:gd name="connsiteY1" fmla="*/ 0 h 37934"/>
                  <a:gd name="connsiteX2" fmla="*/ 0 w 37934"/>
                  <a:gd name="connsiteY2" fmla="*/ 37935 h 37934"/>
                  <a:gd name="connsiteX3" fmla="*/ 37935 w 37934"/>
                  <a:gd name="connsiteY3" fmla="*/ 37935 h 37934"/>
                  <a:gd name="connsiteX4" fmla="*/ 37935 w 37934"/>
                  <a:gd name="connsiteY4" fmla="*/ 0 h 37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934" h="37934">
                    <a:moveTo>
                      <a:pt x="37935" y="0"/>
                    </a:moveTo>
                    <a:lnTo>
                      <a:pt x="0" y="0"/>
                    </a:lnTo>
                    <a:lnTo>
                      <a:pt x="0" y="37935"/>
                    </a:lnTo>
                    <a:lnTo>
                      <a:pt x="37935" y="37935"/>
                    </a:lnTo>
                    <a:lnTo>
                      <a:pt x="37935" y="0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04" name="Forma Livre: Forma 203">
                <a:extLst>
                  <a:ext uri="{FF2B5EF4-FFF2-40B4-BE49-F238E27FC236}">
                    <a16:creationId xmlns:a16="http://schemas.microsoft.com/office/drawing/2014/main" id="{79DCF78F-08E1-4D74-9112-BB7169F902A9}"/>
                  </a:ext>
                </a:extLst>
              </p:cNvPr>
              <p:cNvSpPr/>
              <p:nvPr/>
            </p:nvSpPr>
            <p:spPr>
              <a:xfrm>
                <a:off x="2368752" y="690863"/>
                <a:ext cx="37934" cy="37934"/>
              </a:xfrm>
              <a:custGeom>
                <a:avLst/>
                <a:gdLst>
                  <a:gd name="connsiteX0" fmla="*/ 37935 w 37934"/>
                  <a:gd name="connsiteY0" fmla="*/ 0 h 37934"/>
                  <a:gd name="connsiteX1" fmla="*/ 0 w 37934"/>
                  <a:gd name="connsiteY1" fmla="*/ 0 h 37934"/>
                  <a:gd name="connsiteX2" fmla="*/ 0 w 37934"/>
                  <a:gd name="connsiteY2" fmla="*/ 37935 h 37934"/>
                  <a:gd name="connsiteX3" fmla="*/ 37935 w 37934"/>
                  <a:gd name="connsiteY3" fmla="*/ 37935 h 37934"/>
                  <a:gd name="connsiteX4" fmla="*/ 37935 w 37934"/>
                  <a:gd name="connsiteY4" fmla="*/ 0 h 37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934" h="37934">
                    <a:moveTo>
                      <a:pt x="37935" y="0"/>
                    </a:moveTo>
                    <a:lnTo>
                      <a:pt x="0" y="0"/>
                    </a:lnTo>
                    <a:lnTo>
                      <a:pt x="0" y="37935"/>
                    </a:lnTo>
                    <a:lnTo>
                      <a:pt x="37935" y="37935"/>
                    </a:lnTo>
                    <a:lnTo>
                      <a:pt x="37935" y="0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05" name="Forma Livre: Forma 204">
                <a:extLst>
                  <a:ext uri="{FF2B5EF4-FFF2-40B4-BE49-F238E27FC236}">
                    <a16:creationId xmlns:a16="http://schemas.microsoft.com/office/drawing/2014/main" id="{6D0EE833-038D-4C27-8327-413A14C1D191}"/>
                  </a:ext>
                </a:extLst>
              </p:cNvPr>
              <p:cNvSpPr/>
              <p:nvPr/>
            </p:nvSpPr>
            <p:spPr>
              <a:xfrm>
                <a:off x="2421475" y="690863"/>
                <a:ext cx="37934" cy="37934"/>
              </a:xfrm>
              <a:custGeom>
                <a:avLst/>
                <a:gdLst>
                  <a:gd name="connsiteX0" fmla="*/ 37935 w 37934"/>
                  <a:gd name="connsiteY0" fmla="*/ 0 h 37934"/>
                  <a:gd name="connsiteX1" fmla="*/ 0 w 37934"/>
                  <a:gd name="connsiteY1" fmla="*/ 0 h 37934"/>
                  <a:gd name="connsiteX2" fmla="*/ 0 w 37934"/>
                  <a:gd name="connsiteY2" fmla="*/ 37935 h 37934"/>
                  <a:gd name="connsiteX3" fmla="*/ 37935 w 37934"/>
                  <a:gd name="connsiteY3" fmla="*/ 37935 h 37934"/>
                  <a:gd name="connsiteX4" fmla="*/ 37935 w 37934"/>
                  <a:gd name="connsiteY4" fmla="*/ 0 h 37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934" h="37934">
                    <a:moveTo>
                      <a:pt x="37935" y="0"/>
                    </a:moveTo>
                    <a:lnTo>
                      <a:pt x="0" y="0"/>
                    </a:lnTo>
                    <a:lnTo>
                      <a:pt x="0" y="37935"/>
                    </a:lnTo>
                    <a:lnTo>
                      <a:pt x="37935" y="37935"/>
                    </a:lnTo>
                    <a:lnTo>
                      <a:pt x="37935" y="0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06" name="Forma Livre: Forma 205">
                <a:extLst>
                  <a:ext uri="{FF2B5EF4-FFF2-40B4-BE49-F238E27FC236}">
                    <a16:creationId xmlns:a16="http://schemas.microsoft.com/office/drawing/2014/main" id="{E9A58ACA-D0C3-4F89-A495-91173E9B9F3C}"/>
                  </a:ext>
                </a:extLst>
              </p:cNvPr>
              <p:cNvSpPr/>
              <p:nvPr/>
            </p:nvSpPr>
            <p:spPr>
              <a:xfrm>
                <a:off x="2473555" y="690863"/>
                <a:ext cx="37934" cy="37934"/>
              </a:xfrm>
              <a:custGeom>
                <a:avLst/>
                <a:gdLst>
                  <a:gd name="connsiteX0" fmla="*/ 37935 w 37934"/>
                  <a:gd name="connsiteY0" fmla="*/ 0 h 37934"/>
                  <a:gd name="connsiteX1" fmla="*/ 0 w 37934"/>
                  <a:gd name="connsiteY1" fmla="*/ 0 h 37934"/>
                  <a:gd name="connsiteX2" fmla="*/ 0 w 37934"/>
                  <a:gd name="connsiteY2" fmla="*/ 37935 h 37934"/>
                  <a:gd name="connsiteX3" fmla="*/ 37935 w 37934"/>
                  <a:gd name="connsiteY3" fmla="*/ 37935 h 37934"/>
                  <a:gd name="connsiteX4" fmla="*/ 37935 w 37934"/>
                  <a:gd name="connsiteY4" fmla="*/ 0 h 37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934" h="37934">
                    <a:moveTo>
                      <a:pt x="37935" y="0"/>
                    </a:moveTo>
                    <a:lnTo>
                      <a:pt x="0" y="0"/>
                    </a:lnTo>
                    <a:lnTo>
                      <a:pt x="0" y="37935"/>
                    </a:lnTo>
                    <a:lnTo>
                      <a:pt x="37935" y="37935"/>
                    </a:lnTo>
                    <a:lnTo>
                      <a:pt x="37935" y="0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07" name="Forma Livre: Forma 206">
                <a:extLst>
                  <a:ext uri="{FF2B5EF4-FFF2-40B4-BE49-F238E27FC236}">
                    <a16:creationId xmlns:a16="http://schemas.microsoft.com/office/drawing/2014/main" id="{C565CF68-7367-4DF6-87CF-A41E44915154}"/>
                  </a:ext>
                </a:extLst>
              </p:cNvPr>
              <p:cNvSpPr/>
              <p:nvPr/>
            </p:nvSpPr>
            <p:spPr>
              <a:xfrm>
                <a:off x="2526278" y="690863"/>
                <a:ext cx="37291" cy="37934"/>
              </a:xfrm>
              <a:custGeom>
                <a:avLst/>
                <a:gdLst>
                  <a:gd name="connsiteX0" fmla="*/ 37292 w 37291"/>
                  <a:gd name="connsiteY0" fmla="*/ 0 h 37934"/>
                  <a:gd name="connsiteX1" fmla="*/ 0 w 37291"/>
                  <a:gd name="connsiteY1" fmla="*/ 0 h 37934"/>
                  <a:gd name="connsiteX2" fmla="*/ 0 w 37291"/>
                  <a:gd name="connsiteY2" fmla="*/ 37935 h 37934"/>
                  <a:gd name="connsiteX3" fmla="*/ 37292 w 37291"/>
                  <a:gd name="connsiteY3" fmla="*/ 37935 h 37934"/>
                  <a:gd name="connsiteX4" fmla="*/ 37292 w 37291"/>
                  <a:gd name="connsiteY4" fmla="*/ 0 h 37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291" h="37934">
                    <a:moveTo>
                      <a:pt x="37292" y="0"/>
                    </a:moveTo>
                    <a:lnTo>
                      <a:pt x="0" y="0"/>
                    </a:lnTo>
                    <a:lnTo>
                      <a:pt x="0" y="37935"/>
                    </a:lnTo>
                    <a:lnTo>
                      <a:pt x="37292" y="37935"/>
                    </a:lnTo>
                    <a:lnTo>
                      <a:pt x="37292" y="0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08" name="Forma Livre: Forma 207">
                <a:extLst>
                  <a:ext uri="{FF2B5EF4-FFF2-40B4-BE49-F238E27FC236}">
                    <a16:creationId xmlns:a16="http://schemas.microsoft.com/office/drawing/2014/main" id="{9CB3FB95-38DE-4B56-AB38-D58036F96D51}"/>
                  </a:ext>
                </a:extLst>
              </p:cNvPr>
              <p:cNvSpPr/>
              <p:nvPr/>
            </p:nvSpPr>
            <p:spPr>
              <a:xfrm>
                <a:off x="2578358" y="690863"/>
                <a:ext cx="37934" cy="37934"/>
              </a:xfrm>
              <a:custGeom>
                <a:avLst/>
                <a:gdLst>
                  <a:gd name="connsiteX0" fmla="*/ 37935 w 37934"/>
                  <a:gd name="connsiteY0" fmla="*/ 0 h 37934"/>
                  <a:gd name="connsiteX1" fmla="*/ 0 w 37934"/>
                  <a:gd name="connsiteY1" fmla="*/ 0 h 37934"/>
                  <a:gd name="connsiteX2" fmla="*/ 0 w 37934"/>
                  <a:gd name="connsiteY2" fmla="*/ 37935 h 37934"/>
                  <a:gd name="connsiteX3" fmla="*/ 37935 w 37934"/>
                  <a:gd name="connsiteY3" fmla="*/ 37935 h 37934"/>
                  <a:gd name="connsiteX4" fmla="*/ 37935 w 37934"/>
                  <a:gd name="connsiteY4" fmla="*/ 0 h 37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934" h="37934">
                    <a:moveTo>
                      <a:pt x="37935" y="0"/>
                    </a:moveTo>
                    <a:lnTo>
                      <a:pt x="0" y="0"/>
                    </a:lnTo>
                    <a:lnTo>
                      <a:pt x="0" y="37935"/>
                    </a:lnTo>
                    <a:lnTo>
                      <a:pt x="37935" y="37935"/>
                    </a:lnTo>
                    <a:lnTo>
                      <a:pt x="37935" y="0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209" name="Gráfico 2">
              <a:extLst>
                <a:ext uri="{FF2B5EF4-FFF2-40B4-BE49-F238E27FC236}">
                  <a16:creationId xmlns:a16="http://schemas.microsoft.com/office/drawing/2014/main" id="{40F8E44F-B406-439F-8B63-82F15B4E8194}"/>
                </a:ext>
              </a:extLst>
            </p:cNvPr>
            <p:cNvGrpSpPr/>
            <p:nvPr/>
          </p:nvGrpSpPr>
          <p:grpSpPr>
            <a:xfrm>
              <a:off x="2263950" y="742943"/>
              <a:ext cx="352342" cy="37934"/>
              <a:chOff x="2263950" y="742943"/>
              <a:chExt cx="352342" cy="37934"/>
            </a:xfrm>
            <a:grpFill/>
          </p:grpSpPr>
          <p:sp>
            <p:nvSpPr>
              <p:cNvPr id="210" name="Forma Livre: Forma 209">
                <a:extLst>
                  <a:ext uri="{FF2B5EF4-FFF2-40B4-BE49-F238E27FC236}">
                    <a16:creationId xmlns:a16="http://schemas.microsoft.com/office/drawing/2014/main" id="{64E8E868-AA0E-472E-AA64-9459C40D051F}"/>
                  </a:ext>
                </a:extLst>
              </p:cNvPr>
              <p:cNvSpPr/>
              <p:nvPr/>
            </p:nvSpPr>
            <p:spPr>
              <a:xfrm>
                <a:off x="2263950" y="742943"/>
                <a:ext cx="37934" cy="37934"/>
              </a:xfrm>
              <a:custGeom>
                <a:avLst/>
                <a:gdLst>
                  <a:gd name="connsiteX0" fmla="*/ 37935 w 37934"/>
                  <a:gd name="connsiteY0" fmla="*/ 0 h 37934"/>
                  <a:gd name="connsiteX1" fmla="*/ 0 w 37934"/>
                  <a:gd name="connsiteY1" fmla="*/ 0 h 37934"/>
                  <a:gd name="connsiteX2" fmla="*/ 0 w 37934"/>
                  <a:gd name="connsiteY2" fmla="*/ 37935 h 37934"/>
                  <a:gd name="connsiteX3" fmla="*/ 37935 w 37934"/>
                  <a:gd name="connsiteY3" fmla="*/ 37935 h 37934"/>
                  <a:gd name="connsiteX4" fmla="*/ 37935 w 37934"/>
                  <a:gd name="connsiteY4" fmla="*/ 0 h 37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934" h="37934">
                    <a:moveTo>
                      <a:pt x="37935" y="0"/>
                    </a:moveTo>
                    <a:lnTo>
                      <a:pt x="0" y="0"/>
                    </a:lnTo>
                    <a:lnTo>
                      <a:pt x="0" y="37935"/>
                    </a:lnTo>
                    <a:lnTo>
                      <a:pt x="37935" y="37935"/>
                    </a:lnTo>
                    <a:lnTo>
                      <a:pt x="37935" y="0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11" name="Forma Livre: Forma 210">
                <a:extLst>
                  <a:ext uri="{FF2B5EF4-FFF2-40B4-BE49-F238E27FC236}">
                    <a16:creationId xmlns:a16="http://schemas.microsoft.com/office/drawing/2014/main" id="{AA9B3161-C6E4-4771-B8EF-124A6EE41B3C}"/>
                  </a:ext>
                </a:extLst>
              </p:cNvPr>
              <p:cNvSpPr/>
              <p:nvPr/>
            </p:nvSpPr>
            <p:spPr>
              <a:xfrm>
                <a:off x="2316672" y="742943"/>
                <a:ext cx="246897" cy="37934"/>
              </a:xfrm>
              <a:custGeom>
                <a:avLst/>
                <a:gdLst>
                  <a:gd name="connsiteX0" fmla="*/ 246897 w 246897"/>
                  <a:gd name="connsiteY0" fmla="*/ 0 h 37934"/>
                  <a:gd name="connsiteX1" fmla="*/ 231466 w 246897"/>
                  <a:gd name="connsiteY1" fmla="*/ 0 h 37934"/>
                  <a:gd name="connsiteX2" fmla="*/ 209605 w 246897"/>
                  <a:gd name="connsiteY2" fmla="*/ 0 h 37934"/>
                  <a:gd name="connsiteX3" fmla="*/ 0 w 246897"/>
                  <a:gd name="connsiteY3" fmla="*/ 0 h 37934"/>
                  <a:gd name="connsiteX4" fmla="*/ 0 w 246897"/>
                  <a:gd name="connsiteY4" fmla="*/ 37935 h 37934"/>
                  <a:gd name="connsiteX5" fmla="*/ 209605 w 246897"/>
                  <a:gd name="connsiteY5" fmla="*/ 37935 h 37934"/>
                  <a:gd name="connsiteX6" fmla="*/ 231466 w 246897"/>
                  <a:gd name="connsiteY6" fmla="*/ 37935 h 37934"/>
                  <a:gd name="connsiteX7" fmla="*/ 246897 w 246897"/>
                  <a:gd name="connsiteY7" fmla="*/ 37935 h 37934"/>
                  <a:gd name="connsiteX8" fmla="*/ 246897 w 246897"/>
                  <a:gd name="connsiteY8" fmla="*/ 0 h 37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46897" h="37934">
                    <a:moveTo>
                      <a:pt x="246897" y="0"/>
                    </a:moveTo>
                    <a:lnTo>
                      <a:pt x="231466" y="0"/>
                    </a:lnTo>
                    <a:lnTo>
                      <a:pt x="209605" y="0"/>
                    </a:lnTo>
                    <a:lnTo>
                      <a:pt x="0" y="0"/>
                    </a:lnTo>
                    <a:lnTo>
                      <a:pt x="0" y="37935"/>
                    </a:lnTo>
                    <a:lnTo>
                      <a:pt x="209605" y="37935"/>
                    </a:lnTo>
                    <a:lnTo>
                      <a:pt x="231466" y="37935"/>
                    </a:lnTo>
                    <a:lnTo>
                      <a:pt x="246897" y="37935"/>
                    </a:lnTo>
                    <a:lnTo>
                      <a:pt x="246897" y="0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12" name="Forma Livre: Forma 211">
                <a:extLst>
                  <a:ext uri="{FF2B5EF4-FFF2-40B4-BE49-F238E27FC236}">
                    <a16:creationId xmlns:a16="http://schemas.microsoft.com/office/drawing/2014/main" id="{ED1E6130-D096-48D5-BE6F-4A57B650FC30}"/>
                  </a:ext>
                </a:extLst>
              </p:cNvPr>
              <p:cNvSpPr/>
              <p:nvPr/>
            </p:nvSpPr>
            <p:spPr>
              <a:xfrm>
                <a:off x="2578358" y="742943"/>
                <a:ext cx="37934" cy="37934"/>
              </a:xfrm>
              <a:custGeom>
                <a:avLst/>
                <a:gdLst>
                  <a:gd name="connsiteX0" fmla="*/ 37935 w 37934"/>
                  <a:gd name="connsiteY0" fmla="*/ 0 h 37934"/>
                  <a:gd name="connsiteX1" fmla="*/ 0 w 37934"/>
                  <a:gd name="connsiteY1" fmla="*/ 0 h 37934"/>
                  <a:gd name="connsiteX2" fmla="*/ 0 w 37934"/>
                  <a:gd name="connsiteY2" fmla="*/ 37935 h 37934"/>
                  <a:gd name="connsiteX3" fmla="*/ 37935 w 37934"/>
                  <a:gd name="connsiteY3" fmla="*/ 37935 h 37934"/>
                  <a:gd name="connsiteX4" fmla="*/ 37935 w 37934"/>
                  <a:gd name="connsiteY4" fmla="*/ 0 h 37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934" h="37934">
                    <a:moveTo>
                      <a:pt x="37935" y="0"/>
                    </a:moveTo>
                    <a:lnTo>
                      <a:pt x="0" y="0"/>
                    </a:lnTo>
                    <a:lnTo>
                      <a:pt x="0" y="37935"/>
                    </a:lnTo>
                    <a:lnTo>
                      <a:pt x="37935" y="37935"/>
                    </a:lnTo>
                    <a:lnTo>
                      <a:pt x="37935" y="0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213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3267891" y="547800"/>
            <a:ext cx="498963" cy="316369"/>
            <a:chOff x="3227749" y="557127"/>
            <a:chExt cx="506010" cy="320837"/>
          </a:xfrm>
          <a:solidFill>
            <a:srgbClr val="B1B1A1"/>
          </a:solidFill>
        </p:grpSpPr>
        <p:sp>
          <p:nvSpPr>
            <p:cNvPr id="214" name="Forma Livre: Forma 213">
              <a:extLst>
                <a:ext uri="{FF2B5EF4-FFF2-40B4-BE49-F238E27FC236}">
                  <a16:creationId xmlns:a16="http://schemas.microsoft.com/office/drawing/2014/main" id="{C0ABBC15-D7EA-4C6A-B031-1D664BA13AC9}"/>
                </a:ext>
              </a:extLst>
            </p:cNvPr>
            <p:cNvSpPr/>
            <p:nvPr/>
          </p:nvSpPr>
          <p:spPr>
            <a:xfrm>
              <a:off x="3274042" y="557127"/>
              <a:ext cx="407031" cy="271329"/>
            </a:xfrm>
            <a:custGeom>
              <a:avLst/>
              <a:gdLst>
                <a:gd name="connsiteX0" fmla="*/ 390277 w 407031"/>
                <a:gd name="connsiteY0" fmla="*/ 271330 h 271329"/>
                <a:gd name="connsiteX1" fmla="*/ 16717 w 407031"/>
                <a:gd name="connsiteY1" fmla="*/ 271330 h 271329"/>
                <a:gd name="connsiteX2" fmla="*/ 0 w 407031"/>
                <a:gd name="connsiteY2" fmla="*/ 254613 h 271329"/>
                <a:gd name="connsiteX3" fmla="*/ 0 w 407031"/>
                <a:gd name="connsiteY3" fmla="*/ 16717 h 271329"/>
                <a:gd name="connsiteX4" fmla="*/ 16717 w 407031"/>
                <a:gd name="connsiteY4" fmla="*/ 0 h 271329"/>
                <a:gd name="connsiteX5" fmla="*/ 390277 w 407031"/>
                <a:gd name="connsiteY5" fmla="*/ 0 h 271329"/>
                <a:gd name="connsiteX6" fmla="*/ 406994 w 407031"/>
                <a:gd name="connsiteY6" fmla="*/ 16717 h 271329"/>
                <a:gd name="connsiteX7" fmla="*/ 406994 w 407031"/>
                <a:gd name="connsiteY7" fmla="*/ 254613 h 271329"/>
                <a:gd name="connsiteX8" fmla="*/ 390277 w 407031"/>
                <a:gd name="connsiteY8" fmla="*/ 271330 h 271329"/>
                <a:gd name="connsiteX9" fmla="*/ 390277 w 407031"/>
                <a:gd name="connsiteY9" fmla="*/ 271330 h 271329"/>
                <a:gd name="connsiteX10" fmla="*/ 34077 w 407031"/>
                <a:gd name="connsiteY10" fmla="*/ 237253 h 271329"/>
                <a:gd name="connsiteX11" fmla="*/ 373561 w 407031"/>
                <a:gd name="connsiteY11" fmla="*/ 237253 h 271329"/>
                <a:gd name="connsiteX12" fmla="*/ 373561 w 407031"/>
                <a:gd name="connsiteY12" fmla="*/ 33434 h 271329"/>
                <a:gd name="connsiteX13" fmla="*/ 34077 w 407031"/>
                <a:gd name="connsiteY13" fmla="*/ 33434 h 271329"/>
                <a:gd name="connsiteX14" fmla="*/ 34077 w 407031"/>
                <a:gd name="connsiteY14" fmla="*/ 237253 h 271329"/>
                <a:gd name="connsiteX15" fmla="*/ 34077 w 407031"/>
                <a:gd name="connsiteY15" fmla="*/ 237253 h 271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7031" h="271329">
                  <a:moveTo>
                    <a:pt x="390277" y="271330"/>
                  </a:moveTo>
                  <a:lnTo>
                    <a:pt x="16717" y="271330"/>
                  </a:lnTo>
                  <a:cubicBezTo>
                    <a:pt x="7073" y="271330"/>
                    <a:pt x="0" y="263614"/>
                    <a:pt x="0" y="254613"/>
                  </a:cubicBezTo>
                  <a:lnTo>
                    <a:pt x="0" y="16717"/>
                  </a:lnTo>
                  <a:cubicBezTo>
                    <a:pt x="0" y="7073"/>
                    <a:pt x="7715" y="0"/>
                    <a:pt x="16717" y="0"/>
                  </a:cubicBezTo>
                  <a:lnTo>
                    <a:pt x="390277" y="0"/>
                  </a:lnTo>
                  <a:cubicBezTo>
                    <a:pt x="399922" y="0"/>
                    <a:pt x="406994" y="7716"/>
                    <a:pt x="406994" y="16717"/>
                  </a:cubicBezTo>
                  <a:lnTo>
                    <a:pt x="406994" y="254613"/>
                  </a:lnTo>
                  <a:cubicBezTo>
                    <a:pt x="407637" y="263614"/>
                    <a:pt x="399922" y="271330"/>
                    <a:pt x="390277" y="271330"/>
                  </a:cubicBezTo>
                  <a:lnTo>
                    <a:pt x="390277" y="271330"/>
                  </a:lnTo>
                  <a:close/>
                  <a:moveTo>
                    <a:pt x="34077" y="237253"/>
                  </a:moveTo>
                  <a:lnTo>
                    <a:pt x="373561" y="237253"/>
                  </a:lnTo>
                  <a:lnTo>
                    <a:pt x="373561" y="33434"/>
                  </a:lnTo>
                  <a:lnTo>
                    <a:pt x="34077" y="33434"/>
                  </a:lnTo>
                  <a:lnTo>
                    <a:pt x="34077" y="237253"/>
                  </a:lnTo>
                  <a:lnTo>
                    <a:pt x="34077" y="237253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15" name="Forma Livre: Forma 214">
              <a:extLst>
                <a:ext uri="{FF2B5EF4-FFF2-40B4-BE49-F238E27FC236}">
                  <a16:creationId xmlns:a16="http://schemas.microsoft.com/office/drawing/2014/main" id="{64735534-BABA-4288-90EE-771C5561E74E}"/>
                </a:ext>
              </a:extLst>
            </p:cNvPr>
            <p:cNvSpPr/>
            <p:nvPr/>
          </p:nvSpPr>
          <p:spPr>
            <a:xfrm>
              <a:off x="3317120" y="598919"/>
              <a:ext cx="322123" cy="186458"/>
            </a:xfrm>
            <a:custGeom>
              <a:avLst/>
              <a:gdLst>
                <a:gd name="connsiteX0" fmla="*/ 313765 w 322123"/>
                <a:gd name="connsiteY0" fmla="*/ 186459 h 186458"/>
                <a:gd name="connsiteX1" fmla="*/ 8359 w 322123"/>
                <a:gd name="connsiteY1" fmla="*/ 186459 h 186458"/>
                <a:gd name="connsiteX2" fmla="*/ 0 w 322123"/>
                <a:gd name="connsiteY2" fmla="*/ 178100 h 186458"/>
                <a:gd name="connsiteX3" fmla="*/ 0 w 322123"/>
                <a:gd name="connsiteY3" fmla="*/ 8359 h 186458"/>
                <a:gd name="connsiteX4" fmla="*/ 8359 w 322123"/>
                <a:gd name="connsiteY4" fmla="*/ 0 h 186458"/>
                <a:gd name="connsiteX5" fmla="*/ 313765 w 322123"/>
                <a:gd name="connsiteY5" fmla="*/ 0 h 186458"/>
                <a:gd name="connsiteX6" fmla="*/ 322124 w 322123"/>
                <a:gd name="connsiteY6" fmla="*/ 8359 h 186458"/>
                <a:gd name="connsiteX7" fmla="*/ 322124 w 322123"/>
                <a:gd name="connsiteY7" fmla="*/ 178100 h 186458"/>
                <a:gd name="connsiteX8" fmla="*/ 313765 w 322123"/>
                <a:gd name="connsiteY8" fmla="*/ 186459 h 186458"/>
                <a:gd name="connsiteX9" fmla="*/ 313765 w 322123"/>
                <a:gd name="connsiteY9" fmla="*/ 186459 h 186458"/>
                <a:gd name="connsiteX10" fmla="*/ 16074 w 322123"/>
                <a:gd name="connsiteY10" fmla="*/ 169742 h 186458"/>
                <a:gd name="connsiteX11" fmla="*/ 304764 w 322123"/>
                <a:gd name="connsiteY11" fmla="*/ 169742 h 186458"/>
                <a:gd name="connsiteX12" fmla="*/ 304764 w 322123"/>
                <a:gd name="connsiteY12" fmla="*/ 16717 h 186458"/>
                <a:gd name="connsiteX13" fmla="*/ 16074 w 322123"/>
                <a:gd name="connsiteY13" fmla="*/ 16717 h 186458"/>
                <a:gd name="connsiteX14" fmla="*/ 16074 w 322123"/>
                <a:gd name="connsiteY14" fmla="*/ 169742 h 186458"/>
                <a:gd name="connsiteX15" fmla="*/ 16074 w 322123"/>
                <a:gd name="connsiteY15" fmla="*/ 169742 h 186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2123" h="186458">
                  <a:moveTo>
                    <a:pt x="313765" y="186459"/>
                  </a:moveTo>
                  <a:lnTo>
                    <a:pt x="8359" y="186459"/>
                  </a:lnTo>
                  <a:cubicBezTo>
                    <a:pt x="3858" y="186459"/>
                    <a:pt x="0" y="182601"/>
                    <a:pt x="0" y="178100"/>
                  </a:cubicBezTo>
                  <a:lnTo>
                    <a:pt x="0" y="8359"/>
                  </a:lnTo>
                  <a:cubicBezTo>
                    <a:pt x="0" y="3858"/>
                    <a:pt x="3858" y="0"/>
                    <a:pt x="8359" y="0"/>
                  </a:cubicBezTo>
                  <a:lnTo>
                    <a:pt x="313765" y="0"/>
                  </a:lnTo>
                  <a:cubicBezTo>
                    <a:pt x="318266" y="0"/>
                    <a:pt x="322124" y="3858"/>
                    <a:pt x="322124" y="8359"/>
                  </a:cubicBezTo>
                  <a:lnTo>
                    <a:pt x="322124" y="178100"/>
                  </a:lnTo>
                  <a:cubicBezTo>
                    <a:pt x="322124" y="183244"/>
                    <a:pt x="318266" y="186459"/>
                    <a:pt x="313765" y="186459"/>
                  </a:cubicBezTo>
                  <a:lnTo>
                    <a:pt x="313765" y="186459"/>
                  </a:lnTo>
                  <a:close/>
                  <a:moveTo>
                    <a:pt x="16074" y="169742"/>
                  </a:moveTo>
                  <a:lnTo>
                    <a:pt x="304764" y="169742"/>
                  </a:lnTo>
                  <a:lnTo>
                    <a:pt x="304764" y="16717"/>
                  </a:lnTo>
                  <a:lnTo>
                    <a:pt x="16074" y="16717"/>
                  </a:lnTo>
                  <a:lnTo>
                    <a:pt x="16074" y="169742"/>
                  </a:lnTo>
                  <a:lnTo>
                    <a:pt x="16074" y="169742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16" name="Forma Livre: Forma 215">
              <a:extLst>
                <a:ext uri="{FF2B5EF4-FFF2-40B4-BE49-F238E27FC236}">
                  <a16:creationId xmlns:a16="http://schemas.microsoft.com/office/drawing/2014/main" id="{426C50EF-CE7F-4BF4-BDB3-215273763ADB}"/>
                </a:ext>
              </a:extLst>
            </p:cNvPr>
            <p:cNvSpPr/>
            <p:nvPr/>
          </p:nvSpPr>
          <p:spPr>
            <a:xfrm>
              <a:off x="3227749" y="844531"/>
              <a:ext cx="506010" cy="33434"/>
            </a:xfrm>
            <a:custGeom>
              <a:avLst/>
              <a:gdLst>
                <a:gd name="connsiteX0" fmla="*/ 489294 w 506010"/>
                <a:gd name="connsiteY0" fmla="*/ 33434 h 33434"/>
                <a:gd name="connsiteX1" fmla="*/ 16717 w 506010"/>
                <a:gd name="connsiteY1" fmla="*/ 33434 h 33434"/>
                <a:gd name="connsiteX2" fmla="*/ 0 w 506010"/>
                <a:gd name="connsiteY2" fmla="*/ 16717 h 33434"/>
                <a:gd name="connsiteX3" fmla="*/ 16717 w 506010"/>
                <a:gd name="connsiteY3" fmla="*/ 0 h 33434"/>
                <a:gd name="connsiteX4" fmla="*/ 489294 w 506010"/>
                <a:gd name="connsiteY4" fmla="*/ 0 h 33434"/>
                <a:gd name="connsiteX5" fmla="*/ 506011 w 506010"/>
                <a:gd name="connsiteY5" fmla="*/ 16717 h 33434"/>
                <a:gd name="connsiteX6" fmla="*/ 489294 w 506010"/>
                <a:gd name="connsiteY6" fmla="*/ 33434 h 33434"/>
                <a:gd name="connsiteX7" fmla="*/ 489294 w 506010"/>
                <a:gd name="connsiteY7" fmla="*/ 33434 h 33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6010" h="33434">
                  <a:moveTo>
                    <a:pt x="489294" y="33434"/>
                  </a:moveTo>
                  <a:lnTo>
                    <a:pt x="16717" y="33434"/>
                  </a:lnTo>
                  <a:cubicBezTo>
                    <a:pt x="7073" y="33434"/>
                    <a:pt x="0" y="25718"/>
                    <a:pt x="0" y="16717"/>
                  </a:cubicBezTo>
                  <a:cubicBezTo>
                    <a:pt x="0" y="7073"/>
                    <a:pt x="7716" y="0"/>
                    <a:pt x="16717" y="0"/>
                  </a:cubicBezTo>
                  <a:lnTo>
                    <a:pt x="489294" y="0"/>
                  </a:lnTo>
                  <a:cubicBezTo>
                    <a:pt x="498938" y="0"/>
                    <a:pt x="506011" y="7716"/>
                    <a:pt x="506011" y="16717"/>
                  </a:cubicBezTo>
                  <a:cubicBezTo>
                    <a:pt x="506011" y="25718"/>
                    <a:pt x="498295" y="33434"/>
                    <a:pt x="489294" y="33434"/>
                  </a:cubicBezTo>
                  <a:lnTo>
                    <a:pt x="489294" y="33434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17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4347605" y="533852"/>
            <a:ext cx="401326" cy="343632"/>
            <a:chOff x="4322712" y="542982"/>
            <a:chExt cx="406994" cy="348485"/>
          </a:xfrm>
          <a:solidFill>
            <a:srgbClr val="B1B1A1"/>
          </a:solidFill>
        </p:grpSpPr>
        <p:sp>
          <p:nvSpPr>
            <p:cNvPr id="218" name="Forma Livre: Forma 217">
              <a:extLst>
                <a:ext uri="{FF2B5EF4-FFF2-40B4-BE49-F238E27FC236}">
                  <a16:creationId xmlns:a16="http://schemas.microsoft.com/office/drawing/2014/main" id="{18A65F80-5518-40E8-8047-E5E4E9898B22}"/>
                </a:ext>
              </a:extLst>
            </p:cNvPr>
            <p:cNvSpPr/>
            <p:nvPr/>
          </p:nvSpPr>
          <p:spPr>
            <a:xfrm>
              <a:off x="4322712" y="542982"/>
              <a:ext cx="406994" cy="271329"/>
            </a:xfrm>
            <a:custGeom>
              <a:avLst/>
              <a:gdLst>
                <a:gd name="connsiteX0" fmla="*/ 390278 w 406994"/>
                <a:gd name="connsiteY0" fmla="*/ 271330 h 271329"/>
                <a:gd name="connsiteX1" fmla="*/ 16717 w 406994"/>
                <a:gd name="connsiteY1" fmla="*/ 271330 h 271329"/>
                <a:gd name="connsiteX2" fmla="*/ 0 w 406994"/>
                <a:gd name="connsiteY2" fmla="*/ 254613 h 271329"/>
                <a:gd name="connsiteX3" fmla="*/ 0 w 406994"/>
                <a:gd name="connsiteY3" fmla="*/ 16717 h 271329"/>
                <a:gd name="connsiteX4" fmla="*/ 16717 w 406994"/>
                <a:gd name="connsiteY4" fmla="*/ 0 h 271329"/>
                <a:gd name="connsiteX5" fmla="*/ 390278 w 406994"/>
                <a:gd name="connsiteY5" fmla="*/ 0 h 271329"/>
                <a:gd name="connsiteX6" fmla="*/ 406994 w 406994"/>
                <a:gd name="connsiteY6" fmla="*/ 16717 h 271329"/>
                <a:gd name="connsiteX7" fmla="*/ 406994 w 406994"/>
                <a:gd name="connsiteY7" fmla="*/ 254613 h 271329"/>
                <a:gd name="connsiteX8" fmla="*/ 390278 w 406994"/>
                <a:gd name="connsiteY8" fmla="*/ 271330 h 271329"/>
                <a:gd name="connsiteX9" fmla="*/ 390278 w 406994"/>
                <a:gd name="connsiteY9" fmla="*/ 271330 h 271329"/>
                <a:gd name="connsiteX10" fmla="*/ 33434 w 406994"/>
                <a:gd name="connsiteY10" fmla="*/ 237253 h 271329"/>
                <a:gd name="connsiteX11" fmla="*/ 372918 w 406994"/>
                <a:gd name="connsiteY11" fmla="*/ 237253 h 271329"/>
                <a:gd name="connsiteX12" fmla="*/ 372918 w 406994"/>
                <a:gd name="connsiteY12" fmla="*/ 33434 h 271329"/>
                <a:gd name="connsiteX13" fmla="*/ 33434 w 406994"/>
                <a:gd name="connsiteY13" fmla="*/ 33434 h 271329"/>
                <a:gd name="connsiteX14" fmla="*/ 33434 w 406994"/>
                <a:gd name="connsiteY14" fmla="*/ 237253 h 271329"/>
                <a:gd name="connsiteX15" fmla="*/ 33434 w 406994"/>
                <a:gd name="connsiteY15" fmla="*/ 237253 h 271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6994" h="271329">
                  <a:moveTo>
                    <a:pt x="390278" y="271330"/>
                  </a:moveTo>
                  <a:lnTo>
                    <a:pt x="16717" y="271330"/>
                  </a:lnTo>
                  <a:cubicBezTo>
                    <a:pt x="7072" y="271330"/>
                    <a:pt x="0" y="263614"/>
                    <a:pt x="0" y="254613"/>
                  </a:cubicBezTo>
                  <a:lnTo>
                    <a:pt x="0" y="16717"/>
                  </a:lnTo>
                  <a:cubicBezTo>
                    <a:pt x="0" y="7073"/>
                    <a:pt x="7715" y="0"/>
                    <a:pt x="16717" y="0"/>
                  </a:cubicBezTo>
                  <a:lnTo>
                    <a:pt x="390278" y="0"/>
                  </a:lnTo>
                  <a:cubicBezTo>
                    <a:pt x="399922" y="0"/>
                    <a:pt x="406994" y="7716"/>
                    <a:pt x="406994" y="16717"/>
                  </a:cubicBezTo>
                  <a:lnTo>
                    <a:pt x="406994" y="254613"/>
                  </a:lnTo>
                  <a:cubicBezTo>
                    <a:pt x="406994" y="263614"/>
                    <a:pt x="399279" y="271330"/>
                    <a:pt x="390278" y="271330"/>
                  </a:cubicBezTo>
                  <a:lnTo>
                    <a:pt x="390278" y="271330"/>
                  </a:lnTo>
                  <a:close/>
                  <a:moveTo>
                    <a:pt x="33434" y="237253"/>
                  </a:moveTo>
                  <a:lnTo>
                    <a:pt x="372918" y="237253"/>
                  </a:lnTo>
                  <a:lnTo>
                    <a:pt x="372918" y="33434"/>
                  </a:lnTo>
                  <a:lnTo>
                    <a:pt x="33434" y="33434"/>
                  </a:lnTo>
                  <a:lnTo>
                    <a:pt x="33434" y="237253"/>
                  </a:lnTo>
                  <a:lnTo>
                    <a:pt x="33434" y="237253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19" name="Forma Livre: Forma 218">
              <a:extLst>
                <a:ext uri="{FF2B5EF4-FFF2-40B4-BE49-F238E27FC236}">
                  <a16:creationId xmlns:a16="http://schemas.microsoft.com/office/drawing/2014/main" id="{A752B185-B260-463F-8CA6-01BC1C86A577}"/>
                </a:ext>
              </a:extLst>
            </p:cNvPr>
            <p:cNvSpPr/>
            <p:nvPr/>
          </p:nvSpPr>
          <p:spPr>
            <a:xfrm>
              <a:off x="4365147" y="585417"/>
              <a:ext cx="322123" cy="186458"/>
            </a:xfrm>
            <a:custGeom>
              <a:avLst/>
              <a:gdLst>
                <a:gd name="connsiteX0" fmla="*/ 313765 w 322123"/>
                <a:gd name="connsiteY0" fmla="*/ 186459 h 186458"/>
                <a:gd name="connsiteX1" fmla="*/ 8359 w 322123"/>
                <a:gd name="connsiteY1" fmla="*/ 186459 h 186458"/>
                <a:gd name="connsiteX2" fmla="*/ 0 w 322123"/>
                <a:gd name="connsiteY2" fmla="*/ 178100 h 186458"/>
                <a:gd name="connsiteX3" fmla="*/ 0 w 322123"/>
                <a:gd name="connsiteY3" fmla="*/ 8359 h 186458"/>
                <a:gd name="connsiteX4" fmla="*/ 8359 w 322123"/>
                <a:gd name="connsiteY4" fmla="*/ 0 h 186458"/>
                <a:gd name="connsiteX5" fmla="*/ 313765 w 322123"/>
                <a:gd name="connsiteY5" fmla="*/ 0 h 186458"/>
                <a:gd name="connsiteX6" fmla="*/ 322124 w 322123"/>
                <a:gd name="connsiteY6" fmla="*/ 8359 h 186458"/>
                <a:gd name="connsiteX7" fmla="*/ 322124 w 322123"/>
                <a:gd name="connsiteY7" fmla="*/ 178100 h 186458"/>
                <a:gd name="connsiteX8" fmla="*/ 313765 w 322123"/>
                <a:gd name="connsiteY8" fmla="*/ 186459 h 186458"/>
                <a:gd name="connsiteX9" fmla="*/ 313765 w 322123"/>
                <a:gd name="connsiteY9" fmla="*/ 186459 h 186458"/>
                <a:gd name="connsiteX10" fmla="*/ 16717 w 322123"/>
                <a:gd name="connsiteY10" fmla="*/ 169742 h 186458"/>
                <a:gd name="connsiteX11" fmla="*/ 305407 w 322123"/>
                <a:gd name="connsiteY11" fmla="*/ 169742 h 186458"/>
                <a:gd name="connsiteX12" fmla="*/ 305407 w 322123"/>
                <a:gd name="connsiteY12" fmla="*/ 16717 h 186458"/>
                <a:gd name="connsiteX13" fmla="*/ 16717 w 322123"/>
                <a:gd name="connsiteY13" fmla="*/ 16717 h 186458"/>
                <a:gd name="connsiteX14" fmla="*/ 16717 w 322123"/>
                <a:gd name="connsiteY14" fmla="*/ 169742 h 186458"/>
                <a:gd name="connsiteX15" fmla="*/ 16717 w 322123"/>
                <a:gd name="connsiteY15" fmla="*/ 169742 h 186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2123" h="186458">
                  <a:moveTo>
                    <a:pt x="313765" y="186459"/>
                  </a:moveTo>
                  <a:lnTo>
                    <a:pt x="8359" y="186459"/>
                  </a:lnTo>
                  <a:cubicBezTo>
                    <a:pt x="3858" y="186459"/>
                    <a:pt x="0" y="182601"/>
                    <a:pt x="0" y="178100"/>
                  </a:cubicBezTo>
                  <a:lnTo>
                    <a:pt x="0" y="8359"/>
                  </a:lnTo>
                  <a:cubicBezTo>
                    <a:pt x="0" y="3858"/>
                    <a:pt x="3858" y="0"/>
                    <a:pt x="8359" y="0"/>
                  </a:cubicBezTo>
                  <a:lnTo>
                    <a:pt x="313765" y="0"/>
                  </a:lnTo>
                  <a:cubicBezTo>
                    <a:pt x="318266" y="0"/>
                    <a:pt x="322124" y="3858"/>
                    <a:pt x="322124" y="8359"/>
                  </a:cubicBezTo>
                  <a:lnTo>
                    <a:pt x="322124" y="178100"/>
                  </a:lnTo>
                  <a:cubicBezTo>
                    <a:pt x="322124" y="182601"/>
                    <a:pt x="318266" y="186459"/>
                    <a:pt x="313765" y="186459"/>
                  </a:cubicBezTo>
                  <a:lnTo>
                    <a:pt x="313765" y="186459"/>
                  </a:lnTo>
                  <a:close/>
                  <a:moveTo>
                    <a:pt x="16717" y="169742"/>
                  </a:moveTo>
                  <a:lnTo>
                    <a:pt x="305407" y="169742"/>
                  </a:lnTo>
                  <a:lnTo>
                    <a:pt x="305407" y="16717"/>
                  </a:lnTo>
                  <a:lnTo>
                    <a:pt x="16717" y="16717"/>
                  </a:lnTo>
                  <a:lnTo>
                    <a:pt x="16717" y="169742"/>
                  </a:lnTo>
                  <a:lnTo>
                    <a:pt x="16717" y="169742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20" name="Forma Livre: Forma 219">
              <a:extLst>
                <a:ext uri="{FF2B5EF4-FFF2-40B4-BE49-F238E27FC236}">
                  <a16:creationId xmlns:a16="http://schemas.microsoft.com/office/drawing/2014/main" id="{A81A6E4A-D66A-4FCD-A929-FD8997FA21A1}"/>
                </a:ext>
              </a:extLst>
            </p:cNvPr>
            <p:cNvSpPr/>
            <p:nvPr/>
          </p:nvSpPr>
          <p:spPr>
            <a:xfrm>
              <a:off x="4446161" y="858033"/>
              <a:ext cx="158848" cy="33434"/>
            </a:xfrm>
            <a:custGeom>
              <a:avLst/>
              <a:gdLst>
                <a:gd name="connsiteX0" fmla="*/ 142095 w 158848"/>
                <a:gd name="connsiteY0" fmla="*/ 33434 h 33434"/>
                <a:gd name="connsiteX1" fmla="*/ 16717 w 158848"/>
                <a:gd name="connsiteY1" fmla="*/ 33434 h 33434"/>
                <a:gd name="connsiteX2" fmla="*/ 0 w 158848"/>
                <a:gd name="connsiteY2" fmla="*/ 16717 h 33434"/>
                <a:gd name="connsiteX3" fmla="*/ 16717 w 158848"/>
                <a:gd name="connsiteY3" fmla="*/ 0 h 33434"/>
                <a:gd name="connsiteX4" fmla="*/ 142095 w 158848"/>
                <a:gd name="connsiteY4" fmla="*/ 0 h 33434"/>
                <a:gd name="connsiteX5" fmla="*/ 158811 w 158848"/>
                <a:gd name="connsiteY5" fmla="*/ 16717 h 33434"/>
                <a:gd name="connsiteX6" fmla="*/ 142095 w 158848"/>
                <a:gd name="connsiteY6" fmla="*/ 33434 h 33434"/>
                <a:gd name="connsiteX7" fmla="*/ 142095 w 158848"/>
                <a:gd name="connsiteY7" fmla="*/ 33434 h 33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8848" h="33434">
                  <a:moveTo>
                    <a:pt x="142095" y="33434"/>
                  </a:moveTo>
                  <a:lnTo>
                    <a:pt x="16717" y="33434"/>
                  </a:lnTo>
                  <a:cubicBezTo>
                    <a:pt x="7073" y="33434"/>
                    <a:pt x="0" y="25718"/>
                    <a:pt x="0" y="16717"/>
                  </a:cubicBezTo>
                  <a:cubicBezTo>
                    <a:pt x="0" y="7073"/>
                    <a:pt x="7716" y="0"/>
                    <a:pt x="16717" y="0"/>
                  </a:cubicBezTo>
                  <a:lnTo>
                    <a:pt x="142095" y="0"/>
                  </a:lnTo>
                  <a:cubicBezTo>
                    <a:pt x="151739" y="0"/>
                    <a:pt x="158811" y="7716"/>
                    <a:pt x="158811" y="16717"/>
                  </a:cubicBezTo>
                  <a:cubicBezTo>
                    <a:pt x="159455" y="25718"/>
                    <a:pt x="151739" y="33434"/>
                    <a:pt x="142095" y="33434"/>
                  </a:cubicBezTo>
                  <a:lnTo>
                    <a:pt x="142095" y="33434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221" name="Gráfico 2">
              <a:extLst>
                <a:ext uri="{FF2B5EF4-FFF2-40B4-BE49-F238E27FC236}">
                  <a16:creationId xmlns:a16="http://schemas.microsoft.com/office/drawing/2014/main" id="{40F8E44F-B406-439F-8B63-82F15B4E8194}"/>
                </a:ext>
              </a:extLst>
            </p:cNvPr>
            <p:cNvGrpSpPr/>
            <p:nvPr/>
          </p:nvGrpSpPr>
          <p:grpSpPr>
            <a:xfrm>
              <a:off x="4466092" y="784092"/>
              <a:ext cx="119628" cy="102230"/>
              <a:chOff x="4466092" y="784092"/>
              <a:chExt cx="119628" cy="102230"/>
            </a:xfrm>
            <a:grpFill/>
          </p:grpSpPr>
          <p:sp>
            <p:nvSpPr>
              <p:cNvPr id="222" name="Forma Livre: Forma 221">
                <a:extLst>
                  <a:ext uri="{FF2B5EF4-FFF2-40B4-BE49-F238E27FC236}">
                    <a16:creationId xmlns:a16="http://schemas.microsoft.com/office/drawing/2014/main" id="{1F9A0BC1-938D-4DE2-9015-6AD8E95A06D5}"/>
                  </a:ext>
                </a:extLst>
              </p:cNvPr>
              <p:cNvSpPr/>
              <p:nvPr/>
            </p:nvSpPr>
            <p:spPr>
              <a:xfrm>
                <a:off x="4466092" y="784092"/>
                <a:ext cx="33434" cy="102230"/>
              </a:xfrm>
              <a:custGeom>
                <a:avLst/>
                <a:gdLst>
                  <a:gd name="connsiteX0" fmla="*/ 16717 w 33434"/>
                  <a:gd name="connsiteY0" fmla="*/ 102231 h 102230"/>
                  <a:gd name="connsiteX1" fmla="*/ 0 w 33434"/>
                  <a:gd name="connsiteY1" fmla="*/ 85514 h 102230"/>
                  <a:gd name="connsiteX2" fmla="*/ 0 w 33434"/>
                  <a:gd name="connsiteY2" fmla="*/ 16717 h 102230"/>
                  <a:gd name="connsiteX3" fmla="*/ 16717 w 33434"/>
                  <a:gd name="connsiteY3" fmla="*/ 0 h 102230"/>
                  <a:gd name="connsiteX4" fmla="*/ 33434 w 33434"/>
                  <a:gd name="connsiteY4" fmla="*/ 16717 h 102230"/>
                  <a:gd name="connsiteX5" fmla="*/ 33434 w 33434"/>
                  <a:gd name="connsiteY5" fmla="*/ 85514 h 102230"/>
                  <a:gd name="connsiteX6" fmla="*/ 16717 w 33434"/>
                  <a:gd name="connsiteY6" fmla="*/ 102231 h 102230"/>
                  <a:gd name="connsiteX7" fmla="*/ 16717 w 33434"/>
                  <a:gd name="connsiteY7" fmla="*/ 102231 h 102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434" h="102230">
                    <a:moveTo>
                      <a:pt x="16717" y="102231"/>
                    </a:moveTo>
                    <a:cubicBezTo>
                      <a:pt x="7072" y="102231"/>
                      <a:pt x="0" y="94515"/>
                      <a:pt x="0" y="85514"/>
                    </a:cubicBezTo>
                    <a:lnTo>
                      <a:pt x="0" y="16717"/>
                    </a:lnTo>
                    <a:cubicBezTo>
                      <a:pt x="0" y="7073"/>
                      <a:pt x="7716" y="0"/>
                      <a:pt x="16717" y="0"/>
                    </a:cubicBezTo>
                    <a:cubicBezTo>
                      <a:pt x="26361" y="0"/>
                      <a:pt x="33434" y="7716"/>
                      <a:pt x="33434" y="16717"/>
                    </a:cubicBezTo>
                    <a:lnTo>
                      <a:pt x="33434" y="85514"/>
                    </a:lnTo>
                    <a:cubicBezTo>
                      <a:pt x="33434" y="94515"/>
                      <a:pt x="25718" y="102231"/>
                      <a:pt x="16717" y="102231"/>
                    </a:cubicBezTo>
                    <a:lnTo>
                      <a:pt x="16717" y="102231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23" name="Forma Livre: Forma 222">
                <a:extLst>
                  <a:ext uri="{FF2B5EF4-FFF2-40B4-BE49-F238E27FC236}">
                    <a16:creationId xmlns:a16="http://schemas.microsoft.com/office/drawing/2014/main" id="{2E005A79-9BF7-4890-AD68-4058A682676A}"/>
                  </a:ext>
                </a:extLst>
              </p:cNvPr>
              <p:cNvSpPr/>
              <p:nvPr/>
            </p:nvSpPr>
            <p:spPr>
              <a:xfrm>
                <a:off x="4552249" y="784092"/>
                <a:ext cx="33471" cy="102230"/>
              </a:xfrm>
              <a:custGeom>
                <a:avLst/>
                <a:gdLst>
                  <a:gd name="connsiteX0" fmla="*/ 16717 w 33471"/>
                  <a:gd name="connsiteY0" fmla="*/ 102231 h 102230"/>
                  <a:gd name="connsiteX1" fmla="*/ 0 w 33471"/>
                  <a:gd name="connsiteY1" fmla="*/ 85514 h 102230"/>
                  <a:gd name="connsiteX2" fmla="*/ 0 w 33471"/>
                  <a:gd name="connsiteY2" fmla="*/ 16717 h 102230"/>
                  <a:gd name="connsiteX3" fmla="*/ 16717 w 33471"/>
                  <a:gd name="connsiteY3" fmla="*/ 0 h 102230"/>
                  <a:gd name="connsiteX4" fmla="*/ 33434 w 33471"/>
                  <a:gd name="connsiteY4" fmla="*/ 16717 h 102230"/>
                  <a:gd name="connsiteX5" fmla="*/ 33434 w 33471"/>
                  <a:gd name="connsiteY5" fmla="*/ 85514 h 102230"/>
                  <a:gd name="connsiteX6" fmla="*/ 16717 w 33471"/>
                  <a:gd name="connsiteY6" fmla="*/ 102231 h 102230"/>
                  <a:gd name="connsiteX7" fmla="*/ 16717 w 33471"/>
                  <a:gd name="connsiteY7" fmla="*/ 102231 h 102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471" h="102230">
                    <a:moveTo>
                      <a:pt x="16717" y="102231"/>
                    </a:moveTo>
                    <a:cubicBezTo>
                      <a:pt x="7072" y="102231"/>
                      <a:pt x="0" y="94515"/>
                      <a:pt x="0" y="85514"/>
                    </a:cubicBezTo>
                    <a:lnTo>
                      <a:pt x="0" y="16717"/>
                    </a:lnTo>
                    <a:cubicBezTo>
                      <a:pt x="0" y="7073"/>
                      <a:pt x="7715" y="0"/>
                      <a:pt x="16717" y="0"/>
                    </a:cubicBezTo>
                    <a:cubicBezTo>
                      <a:pt x="26361" y="0"/>
                      <a:pt x="33434" y="7716"/>
                      <a:pt x="33434" y="16717"/>
                    </a:cubicBezTo>
                    <a:lnTo>
                      <a:pt x="33434" y="85514"/>
                    </a:lnTo>
                    <a:cubicBezTo>
                      <a:pt x="34077" y="94515"/>
                      <a:pt x="26361" y="102231"/>
                      <a:pt x="16717" y="102231"/>
                    </a:cubicBezTo>
                    <a:lnTo>
                      <a:pt x="16717" y="102231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224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7424441" y="542094"/>
            <a:ext cx="401363" cy="327147"/>
            <a:chOff x="7443004" y="551340"/>
            <a:chExt cx="407032" cy="331768"/>
          </a:xfrm>
          <a:solidFill>
            <a:srgbClr val="B1B1A1"/>
          </a:solidFill>
        </p:grpSpPr>
        <p:sp>
          <p:nvSpPr>
            <p:cNvPr id="225" name="Forma Livre: Forma 224">
              <a:extLst>
                <a:ext uri="{FF2B5EF4-FFF2-40B4-BE49-F238E27FC236}">
                  <a16:creationId xmlns:a16="http://schemas.microsoft.com/office/drawing/2014/main" id="{590C7601-2F60-43C4-AF7C-0D842334AFCC}"/>
                </a:ext>
              </a:extLst>
            </p:cNvPr>
            <p:cNvSpPr/>
            <p:nvPr/>
          </p:nvSpPr>
          <p:spPr>
            <a:xfrm>
              <a:off x="7443004" y="551340"/>
              <a:ext cx="407032" cy="271329"/>
            </a:xfrm>
            <a:custGeom>
              <a:avLst/>
              <a:gdLst>
                <a:gd name="connsiteX0" fmla="*/ 390277 w 407032"/>
                <a:gd name="connsiteY0" fmla="*/ 271330 h 271329"/>
                <a:gd name="connsiteX1" fmla="*/ 16717 w 407032"/>
                <a:gd name="connsiteY1" fmla="*/ 271330 h 271329"/>
                <a:gd name="connsiteX2" fmla="*/ 0 w 407032"/>
                <a:gd name="connsiteY2" fmla="*/ 254613 h 271329"/>
                <a:gd name="connsiteX3" fmla="*/ 0 w 407032"/>
                <a:gd name="connsiteY3" fmla="*/ 16717 h 271329"/>
                <a:gd name="connsiteX4" fmla="*/ 16717 w 407032"/>
                <a:gd name="connsiteY4" fmla="*/ 0 h 271329"/>
                <a:gd name="connsiteX5" fmla="*/ 390277 w 407032"/>
                <a:gd name="connsiteY5" fmla="*/ 0 h 271329"/>
                <a:gd name="connsiteX6" fmla="*/ 406995 w 407032"/>
                <a:gd name="connsiteY6" fmla="*/ 16717 h 271329"/>
                <a:gd name="connsiteX7" fmla="*/ 406995 w 407032"/>
                <a:gd name="connsiteY7" fmla="*/ 254613 h 271329"/>
                <a:gd name="connsiteX8" fmla="*/ 390277 w 407032"/>
                <a:gd name="connsiteY8" fmla="*/ 271330 h 271329"/>
                <a:gd name="connsiteX9" fmla="*/ 390277 w 407032"/>
                <a:gd name="connsiteY9" fmla="*/ 271330 h 271329"/>
                <a:gd name="connsiteX10" fmla="*/ 34077 w 407032"/>
                <a:gd name="connsiteY10" fmla="*/ 237253 h 271329"/>
                <a:gd name="connsiteX11" fmla="*/ 373560 w 407032"/>
                <a:gd name="connsiteY11" fmla="*/ 237253 h 271329"/>
                <a:gd name="connsiteX12" fmla="*/ 373560 w 407032"/>
                <a:gd name="connsiteY12" fmla="*/ 34077 h 271329"/>
                <a:gd name="connsiteX13" fmla="*/ 34077 w 407032"/>
                <a:gd name="connsiteY13" fmla="*/ 34077 h 271329"/>
                <a:gd name="connsiteX14" fmla="*/ 34077 w 407032"/>
                <a:gd name="connsiteY14" fmla="*/ 237253 h 271329"/>
                <a:gd name="connsiteX15" fmla="*/ 34077 w 407032"/>
                <a:gd name="connsiteY15" fmla="*/ 237253 h 271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7032" h="271329">
                  <a:moveTo>
                    <a:pt x="390277" y="271330"/>
                  </a:moveTo>
                  <a:lnTo>
                    <a:pt x="16717" y="271330"/>
                  </a:lnTo>
                  <a:cubicBezTo>
                    <a:pt x="7072" y="271330"/>
                    <a:pt x="0" y="263614"/>
                    <a:pt x="0" y="254613"/>
                  </a:cubicBezTo>
                  <a:lnTo>
                    <a:pt x="0" y="16717"/>
                  </a:lnTo>
                  <a:cubicBezTo>
                    <a:pt x="0" y="7073"/>
                    <a:pt x="7716" y="0"/>
                    <a:pt x="16717" y="0"/>
                  </a:cubicBezTo>
                  <a:lnTo>
                    <a:pt x="390277" y="0"/>
                  </a:lnTo>
                  <a:cubicBezTo>
                    <a:pt x="399922" y="0"/>
                    <a:pt x="406995" y="7716"/>
                    <a:pt x="406995" y="16717"/>
                  </a:cubicBezTo>
                  <a:lnTo>
                    <a:pt x="406995" y="254613"/>
                  </a:lnTo>
                  <a:cubicBezTo>
                    <a:pt x="407638" y="263614"/>
                    <a:pt x="399922" y="271330"/>
                    <a:pt x="390277" y="271330"/>
                  </a:cubicBezTo>
                  <a:lnTo>
                    <a:pt x="390277" y="271330"/>
                  </a:lnTo>
                  <a:close/>
                  <a:moveTo>
                    <a:pt x="34077" y="237253"/>
                  </a:moveTo>
                  <a:lnTo>
                    <a:pt x="373560" y="237253"/>
                  </a:lnTo>
                  <a:lnTo>
                    <a:pt x="373560" y="34077"/>
                  </a:lnTo>
                  <a:lnTo>
                    <a:pt x="34077" y="34077"/>
                  </a:lnTo>
                  <a:lnTo>
                    <a:pt x="34077" y="237253"/>
                  </a:lnTo>
                  <a:lnTo>
                    <a:pt x="34077" y="237253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26" name="Forma Livre: Forma 225">
              <a:extLst>
                <a:ext uri="{FF2B5EF4-FFF2-40B4-BE49-F238E27FC236}">
                  <a16:creationId xmlns:a16="http://schemas.microsoft.com/office/drawing/2014/main" id="{30DAE086-3443-4E6A-B7B8-FDAD39EB5799}"/>
                </a:ext>
              </a:extLst>
            </p:cNvPr>
            <p:cNvSpPr/>
            <p:nvPr/>
          </p:nvSpPr>
          <p:spPr>
            <a:xfrm>
              <a:off x="7485439" y="593776"/>
              <a:ext cx="322193" cy="186458"/>
            </a:xfrm>
            <a:custGeom>
              <a:avLst/>
              <a:gdLst>
                <a:gd name="connsiteX0" fmla="*/ 313765 w 322193"/>
                <a:gd name="connsiteY0" fmla="*/ 186459 h 186458"/>
                <a:gd name="connsiteX1" fmla="*/ 8359 w 322193"/>
                <a:gd name="connsiteY1" fmla="*/ 186459 h 186458"/>
                <a:gd name="connsiteX2" fmla="*/ 0 w 322193"/>
                <a:gd name="connsiteY2" fmla="*/ 178100 h 186458"/>
                <a:gd name="connsiteX3" fmla="*/ 0 w 322193"/>
                <a:gd name="connsiteY3" fmla="*/ 8358 h 186458"/>
                <a:gd name="connsiteX4" fmla="*/ 8359 w 322193"/>
                <a:gd name="connsiteY4" fmla="*/ 0 h 186458"/>
                <a:gd name="connsiteX5" fmla="*/ 313765 w 322193"/>
                <a:gd name="connsiteY5" fmla="*/ 0 h 186458"/>
                <a:gd name="connsiteX6" fmla="*/ 322124 w 322193"/>
                <a:gd name="connsiteY6" fmla="*/ 8358 h 186458"/>
                <a:gd name="connsiteX7" fmla="*/ 322124 w 322193"/>
                <a:gd name="connsiteY7" fmla="*/ 178100 h 186458"/>
                <a:gd name="connsiteX8" fmla="*/ 313765 w 322193"/>
                <a:gd name="connsiteY8" fmla="*/ 186459 h 186458"/>
                <a:gd name="connsiteX9" fmla="*/ 313765 w 322193"/>
                <a:gd name="connsiteY9" fmla="*/ 186459 h 186458"/>
                <a:gd name="connsiteX10" fmla="*/ 16717 w 322193"/>
                <a:gd name="connsiteY10" fmla="*/ 169742 h 186458"/>
                <a:gd name="connsiteX11" fmla="*/ 305407 w 322193"/>
                <a:gd name="connsiteY11" fmla="*/ 169742 h 186458"/>
                <a:gd name="connsiteX12" fmla="*/ 305407 w 322193"/>
                <a:gd name="connsiteY12" fmla="*/ 16717 h 186458"/>
                <a:gd name="connsiteX13" fmla="*/ 16717 w 322193"/>
                <a:gd name="connsiteY13" fmla="*/ 16717 h 186458"/>
                <a:gd name="connsiteX14" fmla="*/ 16717 w 322193"/>
                <a:gd name="connsiteY14" fmla="*/ 169742 h 186458"/>
                <a:gd name="connsiteX15" fmla="*/ 16717 w 322193"/>
                <a:gd name="connsiteY15" fmla="*/ 169742 h 186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2193" h="186458">
                  <a:moveTo>
                    <a:pt x="313765" y="186459"/>
                  </a:moveTo>
                  <a:lnTo>
                    <a:pt x="8359" y="186459"/>
                  </a:lnTo>
                  <a:cubicBezTo>
                    <a:pt x="3858" y="186459"/>
                    <a:pt x="0" y="182601"/>
                    <a:pt x="0" y="178100"/>
                  </a:cubicBezTo>
                  <a:lnTo>
                    <a:pt x="0" y="8358"/>
                  </a:lnTo>
                  <a:cubicBezTo>
                    <a:pt x="0" y="3858"/>
                    <a:pt x="3858" y="0"/>
                    <a:pt x="8359" y="0"/>
                  </a:cubicBezTo>
                  <a:lnTo>
                    <a:pt x="313765" y="0"/>
                  </a:lnTo>
                  <a:cubicBezTo>
                    <a:pt x="318266" y="0"/>
                    <a:pt x="322124" y="3858"/>
                    <a:pt x="322124" y="8358"/>
                  </a:cubicBezTo>
                  <a:lnTo>
                    <a:pt x="322124" y="178100"/>
                  </a:lnTo>
                  <a:cubicBezTo>
                    <a:pt x="322767" y="182601"/>
                    <a:pt x="318909" y="186459"/>
                    <a:pt x="313765" y="186459"/>
                  </a:cubicBezTo>
                  <a:lnTo>
                    <a:pt x="313765" y="186459"/>
                  </a:lnTo>
                  <a:close/>
                  <a:moveTo>
                    <a:pt x="16717" y="169742"/>
                  </a:moveTo>
                  <a:lnTo>
                    <a:pt x="305407" y="169742"/>
                  </a:lnTo>
                  <a:lnTo>
                    <a:pt x="305407" y="16717"/>
                  </a:lnTo>
                  <a:lnTo>
                    <a:pt x="16717" y="16717"/>
                  </a:lnTo>
                  <a:lnTo>
                    <a:pt x="16717" y="169742"/>
                  </a:lnTo>
                  <a:lnTo>
                    <a:pt x="16717" y="169742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27" name="Forma Livre: Forma 226">
              <a:extLst>
                <a:ext uri="{FF2B5EF4-FFF2-40B4-BE49-F238E27FC236}">
                  <a16:creationId xmlns:a16="http://schemas.microsoft.com/office/drawing/2014/main" id="{E03049F4-DC87-4F51-86B1-A632DB23A0B8}"/>
                </a:ext>
              </a:extLst>
            </p:cNvPr>
            <p:cNvSpPr/>
            <p:nvPr/>
          </p:nvSpPr>
          <p:spPr>
            <a:xfrm>
              <a:off x="7567095" y="849674"/>
              <a:ext cx="158848" cy="33433"/>
            </a:xfrm>
            <a:custGeom>
              <a:avLst/>
              <a:gdLst>
                <a:gd name="connsiteX0" fmla="*/ 142095 w 158848"/>
                <a:gd name="connsiteY0" fmla="*/ 33434 h 33433"/>
                <a:gd name="connsiteX1" fmla="*/ 16717 w 158848"/>
                <a:gd name="connsiteY1" fmla="*/ 33434 h 33433"/>
                <a:gd name="connsiteX2" fmla="*/ 0 w 158848"/>
                <a:gd name="connsiteY2" fmla="*/ 16717 h 33433"/>
                <a:gd name="connsiteX3" fmla="*/ 16717 w 158848"/>
                <a:gd name="connsiteY3" fmla="*/ 0 h 33433"/>
                <a:gd name="connsiteX4" fmla="*/ 142095 w 158848"/>
                <a:gd name="connsiteY4" fmla="*/ 0 h 33433"/>
                <a:gd name="connsiteX5" fmla="*/ 158812 w 158848"/>
                <a:gd name="connsiteY5" fmla="*/ 16717 h 33433"/>
                <a:gd name="connsiteX6" fmla="*/ 142095 w 158848"/>
                <a:gd name="connsiteY6" fmla="*/ 33434 h 33433"/>
                <a:gd name="connsiteX7" fmla="*/ 142095 w 158848"/>
                <a:gd name="connsiteY7" fmla="*/ 33434 h 33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8848" h="33433">
                  <a:moveTo>
                    <a:pt x="142095" y="33434"/>
                  </a:moveTo>
                  <a:lnTo>
                    <a:pt x="16717" y="33434"/>
                  </a:lnTo>
                  <a:cubicBezTo>
                    <a:pt x="7073" y="33434"/>
                    <a:pt x="0" y="25718"/>
                    <a:pt x="0" y="16717"/>
                  </a:cubicBezTo>
                  <a:cubicBezTo>
                    <a:pt x="0" y="7073"/>
                    <a:pt x="7716" y="0"/>
                    <a:pt x="16717" y="0"/>
                  </a:cubicBezTo>
                  <a:lnTo>
                    <a:pt x="142095" y="0"/>
                  </a:lnTo>
                  <a:cubicBezTo>
                    <a:pt x="151739" y="0"/>
                    <a:pt x="158812" y="7716"/>
                    <a:pt x="158812" y="16717"/>
                  </a:cubicBezTo>
                  <a:cubicBezTo>
                    <a:pt x="159454" y="25718"/>
                    <a:pt x="151739" y="33434"/>
                    <a:pt x="142095" y="33434"/>
                  </a:cubicBezTo>
                  <a:lnTo>
                    <a:pt x="142095" y="33434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228" name="Gráfico 2">
              <a:extLst>
                <a:ext uri="{FF2B5EF4-FFF2-40B4-BE49-F238E27FC236}">
                  <a16:creationId xmlns:a16="http://schemas.microsoft.com/office/drawing/2014/main" id="{40F8E44F-B406-439F-8B63-82F15B4E8194}"/>
                </a:ext>
              </a:extLst>
            </p:cNvPr>
            <p:cNvGrpSpPr/>
            <p:nvPr/>
          </p:nvGrpSpPr>
          <p:grpSpPr>
            <a:xfrm>
              <a:off x="7547806" y="629781"/>
              <a:ext cx="195460" cy="113161"/>
              <a:chOff x="7547806" y="629781"/>
              <a:chExt cx="195460" cy="113161"/>
            </a:xfrm>
            <a:grpFill/>
          </p:grpSpPr>
          <p:sp>
            <p:nvSpPr>
              <p:cNvPr id="229" name="Forma Livre: Forma 228">
                <a:extLst>
                  <a:ext uri="{FF2B5EF4-FFF2-40B4-BE49-F238E27FC236}">
                    <a16:creationId xmlns:a16="http://schemas.microsoft.com/office/drawing/2014/main" id="{1614A579-4249-40D1-BFE6-10A0AAEDDFD7}"/>
                  </a:ext>
                </a:extLst>
              </p:cNvPr>
              <p:cNvSpPr/>
              <p:nvPr/>
            </p:nvSpPr>
            <p:spPr>
              <a:xfrm>
                <a:off x="7547806" y="631710"/>
                <a:ext cx="92586" cy="111232"/>
              </a:xfrm>
              <a:custGeom>
                <a:avLst/>
                <a:gdLst>
                  <a:gd name="connsiteX0" fmla="*/ 81656 w 92586"/>
                  <a:gd name="connsiteY0" fmla="*/ 18003 h 111232"/>
                  <a:gd name="connsiteX1" fmla="*/ 57224 w 92586"/>
                  <a:gd name="connsiteY1" fmla="*/ 18003 h 111232"/>
                  <a:gd name="connsiteX2" fmla="*/ 57224 w 92586"/>
                  <a:gd name="connsiteY2" fmla="*/ 97730 h 111232"/>
                  <a:gd name="connsiteX3" fmla="*/ 54009 w 92586"/>
                  <a:gd name="connsiteY3" fmla="*/ 108018 h 111232"/>
                  <a:gd name="connsiteX4" fmla="*/ 46293 w 92586"/>
                  <a:gd name="connsiteY4" fmla="*/ 111232 h 111232"/>
                  <a:gd name="connsiteX5" fmla="*/ 38578 w 92586"/>
                  <a:gd name="connsiteY5" fmla="*/ 108018 h 111232"/>
                  <a:gd name="connsiteX6" fmla="*/ 35363 w 92586"/>
                  <a:gd name="connsiteY6" fmla="*/ 97730 h 111232"/>
                  <a:gd name="connsiteX7" fmla="*/ 35363 w 92586"/>
                  <a:gd name="connsiteY7" fmla="*/ 18003 h 111232"/>
                  <a:gd name="connsiteX8" fmla="*/ 10930 w 92586"/>
                  <a:gd name="connsiteY8" fmla="*/ 18003 h 111232"/>
                  <a:gd name="connsiteX9" fmla="*/ 2572 w 92586"/>
                  <a:gd name="connsiteY9" fmla="*/ 15431 h 111232"/>
                  <a:gd name="connsiteX10" fmla="*/ 0 w 92586"/>
                  <a:gd name="connsiteY10" fmla="*/ 9001 h 111232"/>
                  <a:gd name="connsiteX11" fmla="*/ 2572 w 92586"/>
                  <a:gd name="connsiteY11" fmla="*/ 2572 h 111232"/>
                  <a:gd name="connsiteX12" fmla="*/ 10930 w 92586"/>
                  <a:gd name="connsiteY12" fmla="*/ 0 h 111232"/>
                  <a:gd name="connsiteX13" fmla="*/ 81656 w 92586"/>
                  <a:gd name="connsiteY13" fmla="*/ 0 h 111232"/>
                  <a:gd name="connsiteX14" fmla="*/ 90015 w 92586"/>
                  <a:gd name="connsiteY14" fmla="*/ 2572 h 111232"/>
                  <a:gd name="connsiteX15" fmla="*/ 92587 w 92586"/>
                  <a:gd name="connsiteY15" fmla="*/ 9001 h 111232"/>
                  <a:gd name="connsiteX16" fmla="*/ 90015 w 92586"/>
                  <a:gd name="connsiteY16" fmla="*/ 15431 h 111232"/>
                  <a:gd name="connsiteX17" fmla="*/ 81656 w 92586"/>
                  <a:gd name="connsiteY17" fmla="*/ 18003 h 1112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92586" h="111232">
                    <a:moveTo>
                      <a:pt x="81656" y="18003"/>
                    </a:moveTo>
                    <a:lnTo>
                      <a:pt x="57224" y="18003"/>
                    </a:lnTo>
                    <a:lnTo>
                      <a:pt x="57224" y="97730"/>
                    </a:lnTo>
                    <a:cubicBezTo>
                      <a:pt x="57224" y="102231"/>
                      <a:pt x="55938" y="105446"/>
                      <a:pt x="54009" y="108018"/>
                    </a:cubicBezTo>
                    <a:cubicBezTo>
                      <a:pt x="52080" y="109946"/>
                      <a:pt x="49508" y="111232"/>
                      <a:pt x="46293" y="111232"/>
                    </a:cubicBezTo>
                    <a:cubicBezTo>
                      <a:pt x="43078" y="111232"/>
                      <a:pt x="40506" y="109946"/>
                      <a:pt x="38578" y="108018"/>
                    </a:cubicBezTo>
                    <a:cubicBezTo>
                      <a:pt x="36649" y="106089"/>
                      <a:pt x="35363" y="102231"/>
                      <a:pt x="35363" y="97730"/>
                    </a:cubicBezTo>
                    <a:lnTo>
                      <a:pt x="35363" y="18003"/>
                    </a:lnTo>
                    <a:lnTo>
                      <a:pt x="10930" y="18003"/>
                    </a:lnTo>
                    <a:cubicBezTo>
                      <a:pt x="7073" y="18003"/>
                      <a:pt x="4501" y="17360"/>
                      <a:pt x="2572" y="15431"/>
                    </a:cubicBezTo>
                    <a:cubicBezTo>
                      <a:pt x="643" y="13502"/>
                      <a:pt x="0" y="11573"/>
                      <a:pt x="0" y="9001"/>
                    </a:cubicBezTo>
                    <a:cubicBezTo>
                      <a:pt x="0" y="6430"/>
                      <a:pt x="643" y="3858"/>
                      <a:pt x="2572" y="2572"/>
                    </a:cubicBezTo>
                    <a:cubicBezTo>
                      <a:pt x="4501" y="643"/>
                      <a:pt x="7073" y="0"/>
                      <a:pt x="10930" y="0"/>
                    </a:cubicBezTo>
                    <a:lnTo>
                      <a:pt x="81656" y="0"/>
                    </a:lnTo>
                    <a:cubicBezTo>
                      <a:pt x="85514" y="0"/>
                      <a:pt x="88086" y="643"/>
                      <a:pt x="90015" y="2572"/>
                    </a:cubicBezTo>
                    <a:cubicBezTo>
                      <a:pt x="91943" y="4501"/>
                      <a:pt x="92587" y="6430"/>
                      <a:pt x="92587" y="9001"/>
                    </a:cubicBezTo>
                    <a:cubicBezTo>
                      <a:pt x="92587" y="11573"/>
                      <a:pt x="91943" y="14145"/>
                      <a:pt x="90015" y="15431"/>
                    </a:cubicBezTo>
                    <a:cubicBezTo>
                      <a:pt x="88086" y="17360"/>
                      <a:pt x="85514" y="18003"/>
                      <a:pt x="81656" y="18003"/>
                    </a:cubicBez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30" name="Forma Livre: Forma 229">
                <a:extLst>
                  <a:ext uri="{FF2B5EF4-FFF2-40B4-BE49-F238E27FC236}">
                    <a16:creationId xmlns:a16="http://schemas.microsoft.com/office/drawing/2014/main" id="{36E5F9B9-D997-437F-8628-A13160A3B609}"/>
                  </a:ext>
                </a:extLst>
              </p:cNvPr>
              <p:cNvSpPr/>
              <p:nvPr/>
            </p:nvSpPr>
            <p:spPr>
              <a:xfrm>
                <a:off x="7646822" y="629781"/>
                <a:ext cx="96444" cy="113161"/>
              </a:xfrm>
              <a:custGeom>
                <a:avLst/>
                <a:gdLst>
                  <a:gd name="connsiteX0" fmla="*/ 23146 w 96444"/>
                  <a:gd name="connsiteY0" fmla="*/ 14788 h 113161"/>
                  <a:gd name="connsiteX1" fmla="*/ 48222 w 96444"/>
                  <a:gd name="connsiteY1" fmla="*/ 88086 h 113161"/>
                  <a:gd name="connsiteX2" fmla="*/ 73297 w 96444"/>
                  <a:gd name="connsiteY2" fmla="*/ 14145 h 113161"/>
                  <a:gd name="connsiteX3" fmla="*/ 76512 w 96444"/>
                  <a:gd name="connsiteY3" fmla="*/ 5787 h 113161"/>
                  <a:gd name="connsiteX4" fmla="*/ 79727 w 96444"/>
                  <a:gd name="connsiteY4" fmla="*/ 1929 h 113161"/>
                  <a:gd name="connsiteX5" fmla="*/ 86157 w 96444"/>
                  <a:gd name="connsiteY5" fmla="*/ 0 h 113161"/>
                  <a:gd name="connsiteX6" fmla="*/ 91301 w 96444"/>
                  <a:gd name="connsiteY6" fmla="*/ 1286 h 113161"/>
                  <a:gd name="connsiteX7" fmla="*/ 95158 w 96444"/>
                  <a:gd name="connsiteY7" fmla="*/ 5144 h 113161"/>
                  <a:gd name="connsiteX8" fmla="*/ 96444 w 96444"/>
                  <a:gd name="connsiteY8" fmla="*/ 9644 h 113161"/>
                  <a:gd name="connsiteX9" fmla="*/ 95801 w 96444"/>
                  <a:gd name="connsiteY9" fmla="*/ 13502 h 113161"/>
                  <a:gd name="connsiteX10" fmla="*/ 94515 w 96444"/>
                  <a:gd name="connsiteY10" fmla="*/ 17360 h 113161"/>
                  <a:gd name="connsiteX11" fmla="*/ 93229 w 96444"/>
                  <a:gd name="connsiteY11" fmla="*/ 21218 h 113161"/>
                  <a:gd name="connsiteX12" fmla="*/ 66868 w 96444"/>
                  <a:gd name="connsiteY12" fmla="*/ 92586 h 113161"/>
                  <a:gd name="connsiteX13" fmla="*/ 64296 w 96444"/>
                  <a:gd name="connsiteY13" fmla="*/ 100302 h 113161"/>
                  <a:gd name="connsiteX14" fmla="*/ 61081 w 96444"/>
                  <a:gd name="connsiteY14" fmla="*/ 106732 h 113161"/>
                  <a:gd name="connsiteX15" fmla="*/ 55938 w 96444"/>
                  <a:gd name="connsiteY15" fmla="*/ 111232 h 113161"/>
                  <a:gd name="connsiteX16" fmla="*/ 48222 w 96444"/>
                  <a:gd name="connsiteY16" fmla="*/ 113161 h 113161"/>
                  <a:gd name="connsiteX17" fmla="*/ 40506 w 96444"/>
                  <a:gd name="connsiteY17" fmla="*/ 111232 h 113161"/>
                  <a:gd name="connsiteX18" fmla="*/ 35363 w 96444"/>
                  <a:gd name="connsiteY18" fmla="*/ 106732 h 113161"/>
                  <a:gd name="connsiteX19" fmla="*/ 32148 w 96444"/>
                  <a:gd name="connsiteY19" fmla="*/ 100302 h 113161"/>
                  <a:gd name="connsiteX20" fmla="*/ 29576 w 96444"/>
                  <a:gd name="connsiteY20" fmla="*/ 92586 h 113161"/>
                  <a:gd name="connsiteX21" fmla="*/ 3215 w 96444"/>
                  <a:gd name="connsiteY21" fmla="*/ 21861 h 113161"/>
                  <a:gd name="connsiteX22" fmla="*/ 1929 w 96444"/>
                  <a:gd name="connsiteY22" fmla="*/ 18003 h 113161"/>
                  <a:gd name="connsiteX23" fmla="*/ 643 w 96444"/>
                  <a:gd name="connsiteY23" fmla="*/ 14145 h 113161"/>
                  <a:gd name="connsiteX24" fmla="*/ 0 w 96444"/>
                  <a:gd name="connsiteY24" fmla="*/ 10287 h 113161"/>
                  <a:gd name="connsiteX25" fmla="*/ 3215 w 96444"/>
                  <a:gd name="connsiteY25" fmla="*/ 3215 h 113161"/>
                  <a:gd name="connsiteX26" fmla="*/ 10930 w 96444"/>
                  <a:gd name="connsiteY26" fmla="*/ 0 h 113161"/>
                  <a:gd name="connsiteX27" fmla="*/ 18646 w 96444"/>
                  <a:gd name="connsiteY27" fmla="*/ 3215 h 113161"/>
                  <a:gd name="connsiteX28" fmla="*/ 23146 w 96444"/>
                  <a:gd name="connsiteY28" fmla="*/ 14788 h 1131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96444" h="113161">
                    <a:moveTo>
                      <a:pt x="23146" y="14788"/>
                    </a:moveTo>
                    <a:lnTo>
                      <a:pt x="48222" y="88086"/>
                    </a:lnTo>
                    <a:lnTo>
                      <a:pt x="73297" y="14145"/>
                    </a:lnTo>
                    <a:cubicBezTo>
                      <a:pt x="74583" y="10287"/>
                      <a:pt x="75869" y="7716"/>
                      <a:pt x="76512" y="5787"/>
                    </a:cubicBezTo>
                    <a:cubicBezTo>
                      <a:pt x="77155" y="4501"/>
                      <a:pt x="78441" y="3215"/>
                      <a:pt x="79727" y="1929"/>
                    </a:cubicBezTo>
                    <a:cubicBezTo>
                      <a:pt x="81013" y="643"/>
                      <a:pt x="82942" y="0"/>
                      <a:pt x="86157" y="0"/>
                    </a:cubicBezTo>
                    <a:cubicBezTo>
                      <a:pt x="88086" y="0"/>
                      <a:pt x="90015" y="643"/>
                      <a:pt x="91301" y="1286"/>
                    </a:cubicBezTo>
                    <a:cubicBezTo>
                      <a:pt x="93229" y="1929"/>
                      <a:pt x="93872" y="3215"/>
                      <a:pt x="95158" y="5144"/>
                    </a:cubicBezTo>
                    <a:cubicBezTo>
                      <a:pt x="95801" y="6430"/>
                      <a:pt x="96444" y="8358"/>
                      <a:pt x="96444" y="9644"/>
                    </a:cubicBezTo>
                    <a:cubicBezTo>
                      <a:pt x="96444" y="10930"/>
                      <a:pt x="96444" y="12216"/>
                      <a:pt x="95801" y="13502"/>
                    </a:cubicBezTo>
                    <a:cubicBezTo>
                      <a:pt x="95801" y="14788"/>
                      <a:pt x="95158" y="16074"/>
                      <a:pt x="94515" y="17360"/>
                    </a:cubicBezTo>
                    <a:cubicBezTo>
                      <a:pt x="93872" y="18646"/>
                      <a:pt x="93872" y="19932"/>
                      <a:pt x="93229" y="21218"/>
                    </a:cubicBezTo>
                    <a:lnTo>
                      <a:pt x="66868" y="92586"/>
                    </a:lnTo>
                    <a:cubicBezTo>
                      <a:pt x="66225" y="95158"/>
                      <a:pt x="64939" y="97730"/>
                      <a:pt x="64296" y="100302"/>
                    </a:cubicBezTo>
                    <a:cubicBezTo>
                      <a:pt x="63653" y="102874"/>
                      <a:pt x="62367" y="104803"/>
                      <a:pt x="61081" y="106732"/>
                    </a:cubicBezTo>
                    <a:cubicBezTo>
                      <a:pt x="59795" y="108660"/>
                      <a:pt x="57867" y="109946"/>
                      <a:pt x="55938" y="111232"/>
                    </a:cubicBezTo>
                    <a:cubicBezTo>
                      <a:pt x="54009" y="112518"/>
                      <a:pt x="51437" y="113161"/>
                      <a:pt x="48222" y="113161"/>
                    </a:cubicBezTo>
                    <a:cubicBezTo>
                      <a:pt x="45007" y="113161"/>
                      <a:pt x="42435" y="112518"/>
                      <a:pt x="40506" y="111232"/>
                    </a:cubicBezTo>
                    <a:cubicBezTo>
                      <a:pt x="38578" y="109946"/>
                      <a:pt x="36649" y="108660"/>
                      <a:pt x="35363" y="106732"/>
                    </a:cubicBezTo>
                    <a:cubicBezTo>
                      <a:pt x="34077" y="104803"/>
                      <a:pt x="32791" y="102874"/>
                      <a:pt x="32148" y="100302"/>
                    </a:cubicBezTo>
                    <a:cubicBezTo>
                      <a:pt x="31505" y="97730"/>
                      <a:pt x="30219" y="95158"/>
                      <a:pt x="29576" y="92586"/>
                    </a:cubicBezTo>
                    <a:lnTo>
                      <a:pt x="3215" y="21861"/>
                    </a:lnTo>
                    <a:cubicBezTo>
                      <a:pt x="2572" y="20575"/>
                      <a:pt x="2572" y="19289"/>
                      <a:pt x="1929" y="18003"/>
                    </a:cubicBezTo>
                    <a:cubicBezTo>
                      <a:pt x="1286" y="16717"/>
                      <a:pt x="1286" y="15431"/>
                      <a:pt x="643" y="14145"/>
                    </a:cubicBezTo>
                    <a:cubicBezTo>
                      <a:pt x="0" y="12859"/>
                      <a:pt x="0" y="11573"/>
                      <a:pt x="0" y="10287"/>
                    </a:cubicBezTo>
                    <a:cubicBezTo>
                      <a:pt x="0" y="7716"/>
                      <a:pt x="1286" y="5144"/>
                      <a:pt x="3215" y="3215"/>
                    </a:cubicBezTo>
                    <a:cubicBezTo>
                      <a:pt x="5144" y="1286"/>
                      <a:pt x="7716" y="0"/>
                      <a:pt x="10930" y="0"/>
                    </a:cubicBezTo>
                    <a:cubicBezTo>
                      <a:pt x="14788" y="0"/>
                      <a:pt x="17360" y="1286"/>
                      <a:pt x="18646" y="3215"/>
                    </a:cubicBezTo>
                    <a:cubicBezTo>
                      <a:pt x="19932" y="5787"/>
                      <a:pt x="21218" y="9644"/>
                      <a:pt x="23146" y="14788"/>
                    </a:cubicBez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231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8452641" y="558261"/>
            <a:ext cx="402910" cy="295130"/>
            <a:chOff x="8485726" y="567736"/>
            <a:chExt cx="408601" cy="299298"/>
          </a:xfrm>
          <a:solidFill>
            <a:srgbClr val="B1B1A1"/>
          </a:solidFill>
        </p:grpSpPr>
        <p:sp>
          <p:nvSpPr>
            <p:cNvPr id="232" name="Forma Livre: Forma 231">
              <a:extLst>
                <a:ext uri="{FF2B5EF4-FFF2-40B4-BE49-F238E27FC236}">
                  <a16:creationId xmlns:a16="http://schemas.microsoft.com/office/drawing/2014/main" id="{DD72BB0F-C86C-4BEC-871D-AA44A958A1B8}"/>
                </a:ext>
              </a:extLst>
            </p:cNvPr>
            <p:cNvSpPr/>
            <p:nvPr/>
          </p:nvSpPr>
          <p:spPr>
            <a:xfrm>
              <a:off x="8485726" y="567736"/>
              <a:ext cx="408601" cy="299298"/>
            </a:xfrm>
            <a:custGeom>
              <a:avLst/>
              <a:gdLst>
                <a:gd name="connsiteX0" fmla="*/ 203980 w 408601"/>
                <a:gd name="connsiteY0" fmla="*/ 299299 h 299298"/>
                <a:gd name="connsiteX1" fmla="*/ 29737 w 408601"/>
                <a:gd name="connsiteY1" fmla="*/ 289011 h 299298"/>
                <a:gd name="connsiteX2" fmla="*/ 14949 w 408601"/>
                <a:gd name="connsiteY2" fmla="*/ 276152 h 299298"/>
                <a:gd name="connsiteX3" fmla="*/ 14949 w 408601"/>
                <a:gd name="connsiteY3" fmla="*/ 23468 h 299298"/>
                <a:gd name="connsiteX4" fmla="*/ 29737 w 408601"/>
                <a:gd name="connsiteY4" fmla="*/ 10609 h 299298"/>
                <a:gd name="connsiteX5" fmla="*/ 378865 w 408601"/>
                <a:gd name="connsiteY5" fmla="*/ 10609 h 299298"/>
                <a:gd name="connsiteX6" fmla="*/ 393653 w 408601"/>
                <a:gd name="connsiteY6" fmla="*/ 23468 h 299298"/>
                <a:gd name="connsiteX7" fmla="*/ 393653 w 408601"/>
                <a:gd name="connsiteY7" fmla="*/ 276152 h 299298"/>
                <a:gd name="connsiteX8" fmla="*/ 378865 w 408601"/>
                <a:gd name="connsiteY8" fmla="*/ 289011 h 299298"/>
                <a:gd name="connsiteX9" fmla="*/ 203980 w 408601"/>
                <a:gd name="connsiteY9" fmla="*/ 299299 h 299298"/>
                <a:gd name="connsiteX10" fmla="*/ 203980 w 408601"/>
                <a:gd name="connsiteY10" fmla="*/ 299299 h 299298"/>
                <a:gd name="connsiteX11" fmla="*/ 45168 w 408601"/>
                <a:gd name="connsiteY11" fmla="*/ 256220 h 299298"/>
                <a:gd name="connsiteX12" fmla="*/ 362148 w 408601"/>
                <a:gd name="connsiteY12" fmla="*/ 256220 h 299298"/>
                <a:gd name="connsiteX13" fmla="*/ 362148 w 408601"/>
                <a:gd name="connsiteY13" fmla="*/ 42114 h 299298"/>
                <a:gd name="connsiteX14" fmla="*/ 45168 w 408601"/>
                <a:gd name="connsiteY14" fmla="*/ 42114 h 299298"/>
                <a:gd name="connsiteX15" fmla="*/ 45168 w 408601"/>
                <a:gd name="connsiteY15" fmla="*/ 256220 h 299298"/>
                <a:gd name="connsiteX16" fmla="*/ 45168 w 408601"/>
                <a:gd name="connsiteY16" fmla="*/ 256220 h 299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08601" h="299298">
                  <a:moveTo>
                    <a:pt x="203980" y="299299"/>
                  </a:moveTo>
                  <a:cubicBezTo>
                    <a:pt x="146113" y="299299"/>
                    <a:pt x="87604" y="295441"/>
                    <a:pt x="29737" y="289011"/>
                  </a:cubicBezTo>
                  <a:cubicBezTo>
                    <a:pt x="22664" y="288368"/>
                    <a:pt x="16878" y="283225"/>
                    <a:pt x="14949" y="276152"/>
                  </a:cubicBezTo>
                  <a:cubicBezTo>
                    <a:pt x="-4983" y="192567"/>
                    <a:pt x="-4983" y="107053"/>
                    <a:pt x="14949" y="23468"/>
                  </a:cubicBezTo>
                  <a:cubicBezTo>
                    <a:pt x="16878" y="16396"/>
                    <a:pt x="22664" y="11252"/>
                    <a:pt x="29737" y="10609"/>
                  </a:cubicBezTo>
                  <a:cubicBezTo>
                    <a:pt x="145470" y="-3536"/>
                    <a:pt x="263132" y="-3536"/>
                    <a:pt x="378865" y="10609"/>
                  </a:cubicBezTo>
                  <a:cubicBezTo>
                    <a:pt x="385937" y="11252"/>
                    <a:pt x="391724" y="16396"/>
                    <a:pt x="393653" y="23468"/>
                  </a:cubicBezTo>
                  <a:cubicBezTo>
                    <a:pt x="413585" y="107053"/>
                    <a:pt x="413585" y="192567"/>
                    <a:pt x="393653" y="276152"/>
                  </a:cubicBezTo>
                  <a:cubicBezTo>
                    <a:pt x="391724" y="283225"/>
                    <a:pt x="385937" y="288368"/>
                    <a:pt x="378865" y="289011"/>
                  </a:cubicBezTo>
                  <a:cubicBezTo>
                    <a:pt x="320355" y="295441"/>
                    <a:pt x="261846" y="299299"/>
                    <a:pt x="203980" y="299299"/>
                  </a:cubicBezTo>
                  <a:lnTo>
                    <a:pt x="203980" y="299299"/>
                  </a:lnTo>
                  <a:close/>
                  <a:moveTo>
                    <a:pt x="45168" y="256220"/>
                  </a:moveTo>
                  <a:cubicBezTo>
                    <a:pt x="150613" y="267793"/>
                    <a:pt x="256702" y="267793"/>
                    <a:pt x="362148" y="256220"/>
                  </a:cubicBezTo>
                  <a:cubicBezTo>
                    <a:pt x="377579" y="184851"/>
                    <a:pt x="377579" y="113483"/>
                    <a:pt x="362148" y="42114"/>
                  </a:cubicBezTo>
                  <a:cubicBezTo>
                    <a:pt x="256702" y="30541"/>
                    <a:pt x="150613" y="30541"/>
                    <a:pt x="45168" y="42114"/>
                  </a:cubicBezTo>
                  <a:cubicBezTo>
                    <a:pt x="29737" y="113483"/>
                    <a:pt x="29737" y="185494"/>
                    <a:pt x="45168" y="256220"/>
                  </a:cubicBezTo>
                  <a:lnTo>
                    <a:pt x="45168" y="256220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33" name="Forma Livre: Forma 232">
              <a:extLst>
                <a:ext uri="{FF2B5EF4-FFF2-40B4-BE49-F238E27FC236}">
                  <a16:creationId xmlns:a16="http://schemas.microsoft.com/office/drawing/2014/main" id="{2A1E13D3-C661-4842-A6C0-4F4F28ABC2AD}"/>
                </a:ext>
              </a:extLst>
            </p:cNvPr>
            <p:cNvSpPr/>
            <p:nvPr/>
          </p:nvSpPr>
          <p:spPr>
            <a:xfrm>
              <a:off x="8630553" y="633639"/>
              <a:ext cx="151095" cy="166527"/>
            </a:xfrm>
            <a:custGeom>
              <a:avLst/>
              <a:gdLst>
                <a:gd name="connsiteX0" fmla="*/ 23790 w 151095"/>
                <a:gd name="connsiteY0" fmla="*/ 166527 h 166527"/>
                <a:gd name="connsiteX1" fmla="*/ 0 w 151095"/>
                <a:gd name="connsiteY1" fmla="*/ 140809 h 166527"/>
                <a:gd name="connsiteX2" fmla="*/ 0 w 151095"/>
                <a:gd name="connsiteY2" fmla="*/ 25718 h 166527"/>
                <a:gd name="connsiteX3" fmla="*/ 23790 w 151095"/>
                <a:gd name="connsiteY3" fmla="*/ 0 h 166527"/>
                <a:gd name="connsiteX4" fmla="*/ 37935 w 151095"/>
                <a:gd name="connsiteY4" fmla="*/ 3858 h 166527"/>
                <a:gd name="connsiteX5" fmla="*/ 137594 w 151095"/>
                <a:gd name="connsiteY5" fmla="*/ 61724 h 166527"/>
                <a:gd name="connsiteX6" fmla="*/ 151096 w 151095"/>
                <a:gd name="connsiteY6" fmla="*/ 83585 h 166527"/>
                <a:gd name="connsiteX7" fmla="*/ 137594 w 151095"/>
                <a:gd name="connsiteY7" fmla="*/ 105446 h 166527"/>
                <a:gd name="connsiteX8" fmla="*/ 37935 w 151095"/>
                <a:gd name="connsiteY8" fmla="*/ 163312 h 166527"/>
                <a:gd name="connsiteX9" fmla="*/ 23790 w 151095"/>
                <a:gd name="connsiteY9" fmla="*/ 166527 h 166527"/>
                <a:gd name="connsiteX10" fmla="*/ 23790 w 151095"/>
                <a:gd name="connsiteY10" fmla="*/ 166527 h 166527"/>
                <a:gd name="connsiteX11" fmla="*/ 34077 w 151095"/>
                <a:gd name="connsiteY11" fmla="*/ 41150 h 166527"/>
                <a:gd name="connsiteX12" fmla="*/ 34077 w 151095"/>
                <a:gd name="connsiteY12" fmla="*/ 126020 h 166527"/>
                <a:gd name="connsiteX13" fmla="*/ 107375 w 151095"/>
                <a:gd name="connsiteY13" fmla="*/ 83585 h 166527"/>
                <a:gd name="connsiteX14" fmla="*/ 34077 w 151095"/>
                <a:gd name="connsiteY14" fmla="*/ 41150 h 166527"/>
                <a:gd name="connsiteX15" fmla="*/ 34077 w 151095"/>
                <a:gd name="connsiteY15" fmla="*/ 41150 h 166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1095" h="166527">
                  <a:moveTo>
                    <a:pt x="23790" y="166527"/>
                  </a:moveTo>
                  <a:cubicBezTo>
                    <a:pt x="10288" y="166527"/>
                    <a:pt x="0" y="155597"/>
                    <a:pt x="0" y="140809"/>
                  </a:cubicBezTo>
                  <a:lnTo>
                    <a:pt x="0" y="25718"/>
                  </a:lnTo>
                  <a:cubicBezTo>
                    <a:pt x="0" y="10930"/>
                    <a:pt x="10288" y="0"/>
                    <a:pt x="23790" y="0"/>
                  </a:cubicBezTo>
                  <a:cubicBezTo>
                    <a:pt x="28290" y="0"/>
                    <a:pt x="33434" y="1286"/>
                    <a:pt x="37935" y="3858"/>
                  </a:cubicBezTo>
                  <a:lnTo>
                    <a:pt x="137594" y="61724"/>
                  </a:lnTo>
                  <a:cubicBezTo>
                    <a:pt x="145953" y="66868"/>
                    <a:pt x="151096" y="74584"/>
                    <a:pt x="151096" y="83585"/>
                  </a:cubicBezTo>
                  <a:cubicBezTo>
                    <a:pt x="151096" y="92586"/>
                    <a:pt x="145953" y="100302"/>
                    <a:pt x="137594" y="105446"/>
                  </a:cubicBezTo>
                  <a:lnTo>
                    <a:pt x="37935" y="163312"/>
                  </a:lnTo>
                  <a:cubicBezTo>
                    <a:pt x="33434" y="165241"/>
                    <a:pt x="28933" y="166527"/>
                    <a:pt x="23790" y="166527"/>
                  </a:cubicBezTo>
                  <a:lnTo>
                    <a:pt x="23790" y="166527"/>
                  </a:lnTo>
                  <a:close/>
                  <a:moveTo>
                    <a:pt x="34077" y="41150"/>
                  </a:moveTo>
                  <a:lnTo>
                    <a:pt x="34077" y="126020"/>
                  </a:lnTo>
                  <a:lnTo>
                    <a:pt x="107375" y="83585"/>
                  </a:lnTo>
                  <a:lnTo>
                    <a:pt x="34077" y="41150"/>
                  </a:lnTo>
                  <a:lnTo>
                    <a:pt x="34077" y="41150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34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9467685" y="558261"/>
            <a:ext cx="402910" cy="295130"/>
            <a:chOff x="9515107" y="567736"/>
            <a:chExt cx="408601" cy="299298"/>
          </a:xfrm>
          <a:solidFill>
            <a:srgbClr val="B1B1A1"/>
          </a:solidFill>
        </p:grpSpPr>
        <p:grpSp>
          <p:nvGrpSpPr>
            <p:cNvPr id="235" name="Gráfico 2">
              <a:extLst>
                <a:ext uri="{FF2B5EF4-FFF2-40B4-BE49-F238E27FC236}">
                  <a16:creationId xmlns:a16="http://schemas.microsoft.com/office/drawing/2014/main" id="{40F8E44F-B406-439F-8B63-82F15B4E8194}"/>
                </a:ext>
              </a:extLst>
            </p:cNvPr>
            <p:cNvGrpSpPr/>
            <p:nvPr/>
          </p:nvGrpSpPr>
          <p:grpSpPr>
            <a:xfrm>
              <a:off x="9613641" y="655500"/>
              <a:ext cx="210891" cy="113161"/>
              <a:chOff x="9613641" y="655500"/>
              <a:chExt cx="210891" cy="113161"/>
            </a:xfrm>
            <a:grpFill/>
          </p:grpSpPr>
          <p:sp>
            <p:nvSpPr>
              <p:cNvPr id="236" name="Forma Livre: Forma 235">
                <a:extLst>
                  <a:ext uri="{FF2B5EF4-FFF2-40B4-BE49-F238E27FC236}">
                    <a16:creationId xmlns:a16="http://schemas.microsoft.com/office/drawing/2014/main" id="{92BE62F3-A078-4030-B06F-76F8173D4269}"/>
                  </a:ext>
                </a:extLst>
              </p:cNvPr>
              <p:cNvSpPr/>
              <p:nvPr/>
            </p:nvSpPr>
            <p:spPr>
              <a:xfrm>
                <a:off x="9613641" y="655500"/>
                <a:ext cx="92586" cy="113161"/>
              </a:xfrm>
              <a:custGeom>
                <a:avLst/>
                <a:gdLst>
                  <a:gd name="connsiteX0" fmla="*/ 22504 w 92586"/>
                  <a:gd name="connsiteY0" fmla="*/ 13502 h 113161"/>
                  <a:gd name="connsiteX1" fmla="*/ 22504 w 92586"/>
                  <a:gd name="connsiteY1" fmla="*/ 45007 h 113161"/>
                  <a:gd name="connsiteX2" fmla="*/ 70083 w 92586"/>
                  <a:gd name="connsiteY2" fmla="*/ 45007 h 113161"/>
                  <a:gd name="connsiteX3" fmla="*/ 70083 w 92586"/>
                  <a:gd name="connsiteY3" fmla="*/ 13502 h 113161"/>
                  <a:gd name="connsiteX4" fmla="*/ 73298 w 92586"/>
                  <a:gd name="connsiteY4" fmla="*/ 3215 h 113161"/>
                  <a:gd name="connsiteX5" fmla="*/ 81013 w 92586"/>
                  <a:gd name="connsiteY5" fmla="*/ 0 h 113161"/>
                  <a:gd name="connsiteX6" fmla="*/ 89372 w 92586"/>
                  <a:gd name="connsiteY6" fmla="*/ 3215 h 113161"/>
                  <a:gd name="connsiteX7" fmla="*/ 92587 w 92586"/>
                  <a:gd name="connsiteY7" fmla="*/ 13502 h 113161"/>
                  <a:gd name="connsiteX8" fmla="*/ 92587 w 92586"/>
                  <a:gd name="connsiteY8" fmla="*/ 99659 h 113161"/>
                  <a:gd name="connsiteX9" fmla="*/ 89372 w 92586"/>
                  <a:gd name="connsiteY9" fmla="*/ 109946 h 113161"/>
                  <a:gd name="connsiteX10" fmla="*/ 81013 w 92586"/>
                  <a:gd name="connsiteY10" fmla="*/ 113161 h 113161"/>
                  <a:gd name="connsiteX11" fmla="*/ 73298 w 92586"/>
                  <a:gd name="connsiteY11" fmla="*/ 109946 h 113161"/>
                  <a:gd name="connsiteX12" fmla="*/ 70083 w 92586"/>
                  <a:gd name="connsiteY12" fmla="*/ 99659 h 113161"/>
                  <a:gd name="connsiteX13" fmla="*/ 70083 w 92586"/>
                  <a:gd name="connsiteY13" fmla="*/ 63010 h 113161"/>
                  <a:gd name="connsiteX14" fmla="*/ 22504 w 92586"/>
                  <a:gd name="connsiteY14" fmla="*/ 63010 h 113161"/>
                  <a:gd name="connsiteX15" fmla="*/ 22504 w 92586"/>
                  <a:gd name="connsiteY15" fmla="*/ 99659 h 113161"/>
                  <a:gd name="connsiteX16" fmla="*/ 19289 w 92586"/>
                  <a:gd name="connsiteY16" fmla="*/ 109946 h 113161"/>
                  <a:gd name="connsiteX17" fmla="*/ 10931 w 92586"/>
                  <a:gd name="connsiteY17" fmla="*/ 113161 h 113161"/>
                  <a:gd name="connsiteX18" fmla="*/ 3215 w 92586"/>
                  <a:gd name="connsiteY18" fmla="*/ 109946 h 113161"/>
                  <a:gd name="connsiteX19" fmla="*/ 0 w 92586"/>
                  <a:gd name="connsiteY19" fmla="*/ 99659 h 113161"/>
                  <a:gd name="connsiteX20" fmla="*/ 0 w 92586"/>
                  <a:gd name="connsiteY20" fmla="*/ 13502 h 113161"/>
                  <a:gd name="connsiteX21" fmla="*/ 3215 w 92586"/>
                  <a:gd name="connsiteY21" fmla="*/ 3215 h 113161"/>
                  <a:gd name="connsiteX22" fmla="*/ 10931 w 92586"/>
                  <a:gd name="connsiteY22" fmla="*/ 0 h 113161"/>
                  <a:gd name="connsiteX23" fmla="*/ 19289 w 92586"/>
                  <a:gd name="connsiteY23" fmla="*/ 3215 h 113161"/>
                  <a:gd name="connsiteX24" fmla="*/ 22504 w 92586"/>
                  <a:gd name="connsiteY24" fmla="*/ 13502 h 1131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92586" h="113161">
                    <a:moveTo>
                      <a:pt x="22504" y="13502"/>
                    </a:moveTo>
                    <a:lnTo>
                      <a:pt x="22504" y="45007"/>
                    </a:lnTo>
                    <a:lnTo>
                      <a:pt x="70083" y="45007"/>
                    </a:lnTo>
                    <a:lnTo>
                      <a:pt x="70083" y="13502"/>
                    </a:lnTo>
                    <a:cubicBezTo>
                      <a:pt x="70083" y="9001"/>
                      <a:pt x="71369" y="5787"/>
                      <a:pt x="73298" y="3215"/>
                    </a:cubicBezTo>
                    <a:cubicBezTo>
                      <a:pt x="75227" y="1286"/>
                      <a:pt x="77798" y="0"/>
                      <a:pt x="81013" y="0"/>
                    </a:cubicBezTo>
                    <a:cubicBezTo>
                      <a:pt x="84228" y="0"/>
                      <a:pt x="86800" y="1286"/>
                      <a:pt x="89372" y="3215"/>
                    </a:cubicBezTo>
                    <a:cubicBezTo>
                      <a:pt x="91301" y="5144"/>
                      <a:pt x="92587" y="9001"/>
                      <a:pt x="92587" y="13502"/>
                    </a:cubicBezTo>
                    <a:lnTo>
                      <a:pt x="92587" y="99659"/>
                    </a:lnTo>
                    <a:cubicBezTo>
                      <a:pt x="92587" y="104160"/>
                      <a:pt x="91301" y="107375"/>
                      <a:pt x="89372" y="109946"/>
                    </a:cubicBezTo>
                    <a:cubicBezTo>
                      <a:pt x="87443" y="111875"/>
                      <a:pt x="84871" y="113161"/>
                      <a:pt x="81013" y="113161"/>
                    </a:cubicBezTo>
                    <a:cubicBezTo>
                      <a:pt x="77798" y="113161"/>
                      <a:pt x="75227" y="111875"/>
                      <a:pt x="73298" y="109946"/>
                    </a:cubicBezTo>
                    <a:cubicBezTo>
                      <a:pt x="71369" y="107375"/>
                      <a:pt x="70083" y="104160"/>
                      <a:pt x="70083" y="99659"/>
                    </a:cubicBezTo>
                    <a:lnTo>
                      <a:pt x="70083" y="63010"/>
                    </a:lnTo>
                    <a:lnTo>
                      <a:pt x="22504" y="63010"/>
                    </a:lnTo>
                    <a:lnTo>
                      <a:pt x="22504" y="99659"/>
                    </a:lnTo>
                    <a:cubicBezTo>
                      <a:pt x="22504" y="104160"/>
                      <a:pt x="21218" y="107375"/>
                      <a:pt x="19289" y="109946"/>
                    </a:cubicBezTo>
                    <a:cubicBezTo>
                      <a:pt x="17360" y="111875"/>
                      <a:pt x="14788" y="113161"/>
                      <a:pt x="10931" y="113161"/>
                    </a:cubicBezTo>
                    <a:cubicBezTo>
                      <a:pt x="7716" y="113161"/>
                      <a:pt x="5144" y="111875"/>
                      <a:pt x="3215" y="109946"/>
                    </a:cubicBezTo>
                    <a:cubicBezTo>
                      <a:pt x="1286" y="107375"/>
                      <a:pt x="0" y="104160"/>
                      <a:pt x="0" y="99659"/>
                    </a:cubicBezTo>
                    <a:lnTo>
                      <a:pt x="0" y="13502"/>
                    </a:lnTo>
                    <a:cubicBezTo>
                      <a:pt x="0" y="9001"/>
                      <a:pt x="1286" y="5787"/>
                      <a:pt x="3215" y="3215"/>
                    </a:cubicBezTo>
                    <a:cubicBezTo>
                      <a:pt x="5144" y="1286"/>
                      <a:pt x="7716" y="0"/>
                      <a:pt x="10931" y="0"/>
                    </a:cubicBezTo>
                    <a:cubicBezTo>
                      <a:pt x="14146" y="0"/>
                      <a:pt x="16717" y="1286"/>
                      <a:pt x="19289" y="3215"/>
                    </a:cubicBezTo>
                    <a:cubicBezTo>
                      <a:pt x="21861" y="5144"/>
                      <a:pt x="22504" y="9001"/>
                      <a:pt x="22504" y="13502"/>
                    </a:cubicBez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37" name="Forma Livre: Forma 236">
                <a:extLst>
                  <a:ext uri="{FF2B5EF4-FFF2-40B4-BE49-F238E27FC236}">
                    <a16:creationId xmlns:a16="http://schemas.microsoft.com/office/drawing/2014/main" id="{C88AA54A-E4EA-4E3B-96D2-A242FE711A0B}"/>
                  </a:ext>
                </a:extLst>
              </p:cNvPr>
              <p:cNvSpPr/>
              <p:nvPr/>
            </p:nvSpPr>
            <p:spPr>
              <a:xfrm>
                <a:off x="9731946" y="657429"/>
                <a:ext cx="92586" cy="108660"/>
              </a:xfrm>
              <a:custGeom>
                <a:avLst/>
                <a:gdLst>
                  <a:gd name="connsiteX0" fmla="*/ 12216 w 92586"/>
                  <a:gd name="connsiteY0" fmla="*/ 0 h 108660"/>
                  <a:gd name="connsiteX1" fmla="*/ 41150 w 92586"/>
                  <a:gd name="connsiteY1" fmla="*/ 0 h 108660"/>
                  <a:gd name="connsiteX2" fmla="*/ 60439 w 92586"/>
                  <a:gd name="connsiteY2" fmla="*/ 1929 h 108660"/>
                  <a:gd name="connsiteX3" fmla="*/ 75226 w 92586"/>
                  <a:gd name="connsiteY3" fmla="*/ 9644 h 108660"/>
                  <a:gd name="connsiteX4" fmla="*/ 92587 w 92586"/>
                  <a:gd name="connsiteY4" fmla="*/ 54009 h 108660"/>
                  <a:gd name="connsiteX5" fmla="*/ 90657 w 92586"/>
                  <a:gd name="connsiteY5" fmla="*/ 72012 h 108660"/>
                  <a:gd name="connsiteX6" fmla="*/ 85514 w 92586"/>
                  <a:gd name="connsiteY6" fmla="*/ 86800 h 108660"/>
                  <a:gd name="connsiteX7" fmla="*/ 76513 w 92586"/>
                  <a:gd name="connsiteY7" fmla="*/ 98373 h 108660"/>
                  <a:gd name="connsiteX8" fmla="*/ 66868 w 92586"/>
                  <a:gd name="connsiteY8" fmla="*/ 104803 h 108660"/>
                  <a:gd name="connsiteX9" fmla="*/ 55937 w 92586"/>
                  <a:gd name="connsiteY9" fmla="*/ 108018 h 108660"/>
                  <a:gd name="connsiteX10" fmla="*/ 42435 w 92586"/>
                  <a:gd name="connsiteY10" fmla="*/ 108660 h 108660"/>
                  <a:gd name="connsiteX11" fmla="*/ 13502 w 92586"/>
                  <a:gd name="connsiteY11" fmla="*/ 108660 h 108660"/>
                  <a:gd name="connsiteX12" fmla="*/ 4500 w 92586"/>
                  <a:gd name="connsiteY12" fmla="*/ 106732 h 108660"/>
                  <a:gd name="connsiteX13" fmla="*/ 643 w 92586"/>
                  <a:gd name="connsiteY13" fmla="*/ 101588 h 108660"/>
                  <a:gd name="connsiteX14" fmla="*/ 0 w 92586"/>
                  <a:gd name="connsiteY14" fmla="*/ 93229 h 108660"/>
                  <a:gd name="connsiteX15" fmla="*/ 0 w 92586"/>
                  <a:gd name="connsiteY15" fmla="*/ 13502 h 108660"/>
                  <a:gd name="connsiteX16" fmla="*/ 3215 w 92586"/>
                  <a:gd name="connsiteY16" fmla="*/ 3215 h 108660"/>
                  <a:gd name="connsiteX17" fmla="*/ 12216 w 92586"/>
                  <a:gd name="connsiteY17" fmla="*/ 0 h 108660"/>
                  <a:gd name="connsiteX18" fmla="*/ 20574 w 92586"/>
                  <a:gd name="connsiteY18" fmla="*/ 17360 h 108660"/>
                  <a:gd name="connsiteX19" fmla="*/ 20574 w 92586"/>
                  <a:gd name="connsiteY19" fmla="*/ 91301 h 108660"/>
                  <a:gd name="connsiteX20" fmla="*/ 37292 w 92586"/>
                  <a:gd name="connsiteY20" fmla="*/ 91301 h 108660"/>
                  <a:gd name="connsiteX21" fmla="*/ 45650 w 92586"/>
                  <a:gd name="connsiteY21" fmla="*/ 91301 h 108660"/>
                  <a:gd name="connsiteX22" fmla="*/ 52080 w 92586"/>
                  <a:gd name="connsiteY22" fmla="*/ 90015 h 108660"/>
                  <a:gd name="connsiteX23" fmla="*/ 57867 w 92586"/>
                  <a:gd name="connsiteY23" fmla="*/ 86800 h 108660"/>
                  <a:gd name="connsiteX24" fmla="*/ 68797 w 92586"/>
                  <a:gd name="connsiteY24" fmla="*/ 54652 h 108660"/>
                  <a:gd name="connsiteX25" fmla="*/ 63653 w 92586"/>
                  <a:gd name="connsiteY25" fmla="*/ 30219 h 108660"/>
                  <a:gd name="connsiteX26" fmla="*/ 51437 w 92586"/>
                  <a:gd name="connsiteY26" fmla="*/ 19932 h 108660"/>
                  <a:gd name="connsiteX27" fmla="*/ 34077 w 92586"/>
                  <a:gd name="connsiteY27" fmla="*/ 18003 h 108660"/>
                  <a:gd name="connsiteX28" fmla="*/ 20574 w 92586"/>
                  <a:gd name="connsiteY28" fmla="*/ 18003 h 108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92586" h="108660">
                    <a:moveTo>
                      <a:pt x="12216" y="0"/>
                    </a:moveTo>
                    <a:lnTo>
                      <a:pt x="41150" y="0"/>
                    </a:lnTo>
                    <a:cubicBezTo>
                      <a:pt x="48865" y="0"/>
                      <a:pt x="55295" y="643"/>
                      <a:pt x="60439" y="1929"/>
                    </a:cubicBezTo>
                    <a:cubicBezTo>
                      <a:pt x="65582" y="3215"/>
                      <a:pt x="70726" y="5787"/>
                      <a:pt x="75226" y="9644"/>
                    </a:cubicBezTo>
                    <a:cubicBezTo>
                      <a:pt x="86800" y="19289"/>
                      <a:pt x="92587" y="34077"/>
                      <a:pt x="92587" y="54009"/>
                    </a:cubicBezTo>
                    <a:cubicBezTo>
                      <a:pt x="92587" y="60438"/>
                      <a:pt x="91944" y="66868"/>
                      <a:pt x="90657" y="72012"/>
                    </a:cubicBezTo>
                    <a:cubicBezTo>
                      <a:pt x="89372" y="77155"/>
                      <a:pt x="87443" y="82299"/>
                      <a:pt x="85514" y="86800"/>
                    </a:cubicBezTo>
                    <a:cubicBezTo>
                      <a:pt x="82942" y="91301"/>
                      <a:pt x="80370" y="95158"/>
                      <a:pt x="76513" y="98373"/>
                    </a:cubicBezTo>
                    <a:cubicBezTo>
                      <a:pt x="73298" y="100945"/>
                      <a:pt x="70083" y="102874"/>
                      <a:pt x="66868" y="104803"/>
                    </a:cubicBezTo>
                    <a:cubicBezTo>
                      <a:pt x="63653" y="106089"/>
                      <a:pt x="59796" y="107375"/>
                      <a:pt x="55937" y="108018"/>
                    </a:cubicBezTo>
                    <a:cubicBezTo>
                      <a:pt x="52080" y="108660"/>
                      <a:pt x="47579" y="108660"/>
                      <a:pt x="42435" y="108660"/>
                    </a:cubicBezTo>
                    <a:lnTo>
                      <a:pt x="13502" y="108660"/>
                    </a:lnTo>
                    <a:cubicBezTo>
                      <a:pt x="9644" y="108660"/>
                      <a:pt x="6430" y="108018"/>
                      <a:pt x="4500" y="106732"/>
                    </a:cubicBezTo>
                    <a:cubicBezTo>
                      <a:pt x="2572" y="105446"/>
                      <a:pt x="1286" y="103517"/>
                      <a:pt x="643" y="101588"/>
                    </a:cubicBezTo>
                    <a:cubicBezTo>
                      <a:pt x="0" y="99659"/>
                      <a:pt x="0" y="96444"/>
                      <a:pt x="0" y="93229"/>
                    </a:cubicBezTo>
                    <a:lnTo>
                      <a:pt x="0" y="13502"/>
                    </a:lnTo>
                    <a:cubicBezTo>
                      <a:pt x="0" y="9001"/>
                      <a:pt x="1286" y="5144"/>
                      <a:pt x="3215" y="3215"/>
                    </a:cubicBezTo>
                    <a:cubicBezTo>
                      <a:pt x="3858" y="643"/>
                      <a:pt x="7072" y="0"/>
                      <a:pt x="12216" y="0"/>
                    </a:cubicBezTo>
                    <a:close/>
                    <a:moveTo>
                      <a:pt x="20574" y="17360"/>
                    </a:moveTo>
                    <a:lnTo>
                      <a:pt x="20574" y="91301"/>
                    </a:lnTo>
                    <a:lnTo>
                      <a:pt x="37292" y="91301"/>
                    </a:lnTo>
                    <a:cubicBezTo>
                      <a:pt x="41150" y="91301"/>
                      <a:pt x="43722" y="91301"/>
                      <a:pt x="45650" y="91301"/>
                    </a:cubicBezTo>
                    <a:cubicBezTo>
                      <a:pt x="47579" y="91301"/>
                      <a:pt x="50151" y="90658"/>
                      <a:pt x="52080" y="90015"/>
                    </a:cubicBezTo>
                    <a:cubicBezTo>
                      <a:pt x="54009" y="89372"/>
                      <a:pt x="55937" y="88086"/>
                      <a:pt x="57867" y="86800"/>
                    </a:cubicBezTo>
                    <a:cubicBezTo>
                      <a:pt x="65582" y="80370"/>
                      <a:pt x="68797" y="69440"/>
                      <a:pt x="68797" y="54652"/>
                    </a:cubicBezTo>
                    <a:cubicBezTo>
                      <a:pt x="68797" y="43721"/>
                      <a:pt x="66868" y="36006"/>
                      <a:pt x="63653" y="30219"/>
                    </a:cubicBezTo>
                    <a:cubicBezTo>
                      <a:pt x="60439" y="25075"/>
                      <a:pt x="56581" y="21218"/>
                      <a:pt x="51437" y="19932"/>
                    </a:cubicBezTo>
                    <a:cubicBezTo>
                      <a:pt x="46936" y="18646"/>
                      <a:pt x="41150" y="18003"/>
                      <a:pt x="34077" y="18003"/>
                    </a:cubicBezTo>
                    <a:lnTo>
                      <a:pt x="20574" y="18003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238" name="Forma Livre: Forma 237">
              <a:extLst>
                <a:ext uri="{FF2B5EF4-FFF2-40B4-BE49-F238E27FC236}">
                  <a16:creationId xmlns:a16="http://schemas.microsoft.com/office/drawing/2014/main" id="{F85C33B4-0C1A-49E4-AE95-828B132E137C}"/>
                </a:ext>
              </a:extLst>
            </p:cNvPr>
            <p:cNvSpPr/>
            <p:nvPr/>
          </p:nvSpPr>
          <p:spPr>
            <a:xfrm>
              <a:off x="9515107" y="567736"/>
              <a:ext cx="408601" cy="299298"/>
            </a:xfrm>
            <a:custGeom>
              <a:avLst/>
              <a:gdLst>
                <a:gd name="connsiteX0" fmla="*/ 203980 w 408601"/>
                <a:gd name="connsiteY0" fmla="*/ 299299 h 299298"/>
                <a:gd name="connsiteX1" fmla="*/ 29737 w 408601"/>
                <a:gd name="connsiteY1" fmla="*/ 289011 h 299298"/>
                <a:gd name="connsiteX2" fmla="*/ 14949 w 408601"/>
                <a:gd name="connsiteY2" fmla="*/ 276152 h 299298"/>
                <a:gd name="connsiteX3" fmla="*/ 14949 w 408601"/>
                <a:gd name="connsiteY3" fmla="*/ 23468 h 299298"/>
                <a:gd name="connsiteX4" fmla="*/ 29737 w 408601"/>
                <a:gd name="connsiteY4" fmla="*/ 10609 h 299298"/>
                <a:gd name="connsiteX5" fmla="*/ 378865 w 408601"/>
                <a:gd name="connsiteY5" fmla="*/ 10609 h 299298"/>
                <a:gd name="connsiteX6" fmla="*/ 393653 w 408601"/>
                <a:gd name="connsiteY6" fmla="*/ 23468 h 299298"/>
                <a:gd name="connsiteX7" fmla="*/ 393653 w 408601"/>
                <a:gd name="connsiteY7" fmla="*/ 276152 h 299298"/>
                <a:gd name="connsiteX8" fmla="*/ 378865 w 408601"/>
                <a:gd name="connsiteY8" fmla="*/ 289011 h 299298"/>
                <a:gd name="connsiteX9" fmla="*/ 203980 w 408601"/>
                <a:gd name="connsiteY9" fmla="*/ 299299 h 299298"/>
                <a:gd name="connsiteX10" fmla="*/ 203980 w 408601"/>
                <a:gd name="connsiteY10" fmla="*/ 299299 h 299298"/>
                <a:gd name="connsiteX11" fmla="*/ 45168 w 408601"/>
                <a:gd name="connsiteY11" fmla="*/ 256220 h 299298"/>
                <a:gd name="connsiteX12" fmla="*/ 362148 w 408601"/>
                <a:gd name="connsiteY12" fmla="*/ 256220 h 299298"/>
                <a:gd name="connsiteX13" fmla="*/ 362148 w 408601"/>
                <a:gd name="connsiteY13" fmla="*/ 42114 h 299298"/>
                <a:gd name="connsiteX14" fmla="*/ 45168 w 408601"/>
                <a:gd name="connsiteY14" fmla="*/ 42114 h 299298"/>
                <a:gd name="connsiteX15" fmla="*/ 45168 w 408601"/>
                <a:gd name="connsiteY15" fmla="*/ 256220 h 299298"/>
                <a:gd name="connsiteX16" fmla="*/ 45168 w 408601"/>
                <a:gd name="connsiteY16" fmla="*/ 256220 h 299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08601" h="299298">
                  <a:moveTo>
                    <a:pt x="203980" y="299299"/>
                  </a:moveTo>
                  <a:cubicBezTo>
                    <a:pt x="146113" y="299299"/>
                    <a:pt x="87604" y="295441"/>
                    <a:pt x="29737" y="289011"/>
                  </a:cubicBezTo>
                  <a:cubicBezTo>
                    <a:pt x="22665" y="288368"/>
                    <a:pt x="16878" y="283225"/>
                    <a:pt x="14949" y="276152"/>
                  </a:cubicBezTo>
                  <a:cubicBezTo>
                    <a:pt x="-4983" y="192567"/>
                    <a:pt x="-4983" y="107053"/>
                    <a:pt x="14949" y="23468"/>
                  </a:cubicBezTo>
                  <a:cubicBezTo>
                    <a:pt x="16878" y="16396"/>
                    <a:pt x="22665" y="11252"/>
                    <a:pt x="29737" y="10609"/>
                  </a:cubicBezTo>
                  <a:cubicBezTo>
                    <a:pt x="145470" y="-3536"/>
                    <a:pt x="263132" y="-3536"/>
                    <a:pt x="378865" y="10609"/>
                  </a:cubicBezTo>
                  <a:cubicBezTo>
                    <a:pt x="385938" y="11252"/>
                    <a:pt x="391724" y="16396"/>
                    <a:pt x="393653" y="23468"/>
                  </a:cubicBezTo>
                  <a:cubicBezTo>
                    <a:pt x="413585" y="107053"/>
                    <a:pt x="413585" y="192567"/>
                    <a:pt x="393653" y="276152"/>
                  </a:cubicBezTo>
                  <a:cubicBezTo>
                    <a:pt x="391724" y="283225"/>
                    <a:pt x="385938" y="288368"/>
                    <a:pt x="378865" y="289011"/>
                  </a:cubicBezTo>
                  <a:cubicBezTo>
                    <a:pt x="320355" y="295441"/>
                    <a:pt x="261846" y="299299"/>
                    <a:pt x="203980" y="299299"/>
                  </a:cubicBezTo>
                  <a:lnTo>
                    <a:pt x="203980" y="299299"/>
                  </a:lnTo>
                  <a:close/>
                  <a:moveTo>
                    <a:pt x="45168" y="256220"/>
                  </a:moveTo>
                  <a:cubicBezTo>
                    <a:pt x="150613" y="267793"/>
                    <a:pt x="256702" y="267793"/>
                    <a:pt x="362148" y="256220"/>
                  </a:cubicBezTo>
                  <a:cubicBezTo>
                    <a:pt x="377579" y="184851"/>
                    <a:pt x="377579" y="113483"/>
                    <a:pt x="362148" y="42114"/>
                  </a:cubicBezTo>
                  <a:cubicBezTo>
                    <a:pt x="256702" y="30541"/>
                    <a:pt x="150613" y="30541"/>
                    <a:pt x="45168" y="42114"/>
                  </a:cubicBezTo>
                  <a:cubicBezTo>
                    <a:pt x="29737" y="113483"/>
                    <a:pt x="29737" y="185494"/>
                    <a:pt x="45168" y="256220"/>
                  </a:cubicBezTo>
                  <a:lnTo>
                    <a:pt x="45168" y="256220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sp>
        <p:nvSpPr>
          <p:cNvPr id="239" name="Forma Livre: Forma 238">
            <a:extLst>
              <a:ext uri="{FF2B5EF4-FFF2-40B4-BE49-F238E27FC236}">
                <a16:creationId xmlns:a16="http://schemas.microsoft.com/office/drawing/2014/main" id="{F683BECC-0D17-4957-87A2-4BC70F3E920F}"/>
              </a:ext>
            </a:extLst>
          </p:cNvPr>
          <p:cNvSpPr/>
          <p:nvPr/>
        </p:nvSpPr>
        <p:spPr>
          <a:xfrm>
            <a:off x="7423172" y="5687694"/>
            <a:ext cx="404496" cy="398157"/>
          </a:xfrm>
          <a:custGeom>
            <a:avLst/>
            <a:gdLst>
              <a:gd name="connsiteX0" fmla="*/ 221179 w 410209"/>
              <a:gd name="connsiteY0" fmla="*/ 403780 h 403780"/>
              <a:gd name="connsiteX1" fmla="*/ 221179 w 410209"/>
              <a:gd name="connsiteY1" fmla="*/ 403780 h 403780"/>
              <a:gd name="connsiteX2" fmla="*/ 189031 w 410209"/>
              <a:gd name="connsiteY2" fmla="*/ 403780 h 403780"/>
              <a:gd name="connsiteX3" fmla="*/ 185816 w 410209"/>
              <a:gd name="connsiteY3" fmla="*/ 403780 h 403780"/>
              <a:gd name="connsiteX4" fmla="*/ 132450 w 410209"/>
              <a:gd name="connsiteY4" fmla="*/ 367131 h 403780"/>
              <a:gd name="connsiteX5" fmla="*/ 127949 w 410209"/>
              <a:gd name="connsiteY5" fmla="*/ 355558 h 403780"/>
              <a:gd name="connsiteX6" fmla="*/ 104803 w 410209"/>
              <a:gd name="connsiteY6" fmla="*/ 360702 h 403780"/>
              <a:gd name="connsiteX7" fmla="*/ 22504 w 410209"/>
              <a:gd name="connsiteY7" fmla="*/ 280331 h 403780"/>
              <a:gd name="connsiteX8" fmla="*/ 32148 w 410209"/>
              <a:gd name="connsiteY8" fmla="*/ 234681 h 403780"/>
              <a:gd name="connsiteX9" fmla="*/ 14145 w 410209"/>
              <a:gd name="connsiteY9" fmla="*/ 219893 h 403780"/>
              <a:gd name="connsiteX10" fmla="*/ 0 w 410209"/>
              <a:gd name="connsiteY10" fmla="*/ 174886 h 403780"/>
              <a:gd name="connsiteX11" fmla="*/ 66225 w 410209"/>
              <a:gd name="connsiteY11" fmla="*/ 84871 h 403780"/>
              <a:gd name="connsiteX12" fmla="*/ 68154 w 410209"/>
              <a:gd name="connsiteY12" fmla="*/ 59153 h 403780"/>
              <a:gd name="connsiteX13" fmla="*/ 159454 w 410209"/>
              <a:gd name="connsiteY13" fmla="*/ 0 h 403780"/>
              <a:gd name="connsiteX14" fmla="*/ 205105 w 410209"/>
              <a:gd name="connsiteY14" fmla="*/ 18003 h 403780"/>
              <a:gd name="connsiteX15" fmla="*/ 250755 w 410209"/>
              <a:gd name="connsiteY15" fmla="*/ 0 h 403780"/>
              <a:gd name="connsiteX16" fmla="*/ 342056 w 410209"/>
              <a:gd name="connsiteY16" fmla="*/ 59153 h 403780"/>
              <a:gd name="connsiteX17" fmla="*/ 343985 w 410209"/>
              <a:gd name="connsiteY17" fmla="*/ 84871 h 403780"/>
              <a:gd name="connsiteX18" fmla="*/ 410209 w 410209"/>
              <a:gd name="connsiteY18" fmla="*/ 174886 h 403780"/>
              <a:gd name="connsiteX19" fmla="*/ 396064 w 410209"/>
              <a:gd name="connsiteY19" fmla="*/ 219893 h 403780"/>
              <a:gd name="connsiteX20" fmla="*/ 378061 w 410209"/>
              <a:gd name="connsiteY20" fmla="*/ 234681 h 403780"/>
              <a:gd name="connsiteX21" fmla="*/ 387706 w 410209"/>
              <a:gd name="connsiteY21" fmla="*/ 280331 h 403780"/>
              <a:gd name="connsiteX22" fmla="*/ 305407 w 410209"/>
              <a:gd name="connsiteY22" fmla="*/ 360702 h 403780"/>
              <a:gd name="connsiteX23" fmla="*/ 282260 w 410209"/>
              <a:gd name="connsiteY23" fmla="*/ 355558 h 403780"/>
              <a:gd name="connsiteX24" fmla="*/ 277759 w 410209"/>
              <a:gd name="connsiteY24" fmla="*/ 367131 h 403780"/>
              <a:gd name="connsiteX25" fmla="*/ 224394 w 410209"/>
              <a:gd name="connsiteY25" fmla="*/ 403780 h 403780"/>
              <a:gd name="connsiteX26" fmla="*/ 221179 w 410209"/>
              <a:gd name="connsiteY26" fmla="*/ 403780 h 403780"/>
              <a:gd name="connsiteX27" fmla="*/ 221179 w 410209"/>
              <a:gd name="connsiteY27" fmla="*/ 403780 h 403780"/>
              <a:gd name="connsiteX28" fmla="*/ 190317 w 410209"/>
              <a:gd name="connsiteY28" fmla="*/ 369703 h 403780"/>
              <a:gd name="connsiteX29" fmla="*/ 219250 w 410209"/>
              <a:gd name="connsiteY29" fmla="*/ 369703 h 403780"/>
              <a:gd name="connsiteX30" fmla="*/ 247540 w 410209"/>
              <a:gd name="connsiteY30" fmla="*/ 351700 h 403780"/>
              <a:gd name="connsiteX31" fmla="*/ 244325 w 410209"/>
              <a:gd name="connsiteY31" fmla="*/ 314408 h 403780"/>
              <a:gd name="connsiteX32" fmla="*/ 244325 w 410209"/>
              <a:gd name="connsiteY32" fmla="*/ 314408 h 403780"/>
              <a:gd name="connsiteX33" fmla="*/ 244325 w 410209"/>
              <a:gd name="connsiteY33" fmla="*/ 314408 h 403780"/>
              <a:gd name="connsiteX34" fmla="*/ 252684 w 410209"/>
              <a:gd name="connsiteY34" fmla="*/ 291905 h 403780"/>
              <a:gd name="connsiteX35" fmla="*/ 275187 w 410209"/>
              <a:gd name="connsiteY35" fmla="*/ 300263 h 403780"/>
              <a:gd name="connsiteX36" fmla="*/ 305407 w 410209"/>
              <a:gd name="connsiteY36" fmla="*/ 326625 h 403780"/>
              <a:gd name="connsiteX37" fmla="*/ 354272 w 410209"/>
              <a:gd name="connsiteY37" fmla="*/ 275831 h 403780"/>
              <a:gd name="connsiteX38" fmla="*/ 323410 w 410209"/>
              <a:gd name="connsiteY38" fmla="*/ 237896 h 403780"/>
              <a:gd name="connsiteX39" fmla="*/ 311193 w 410209"/>
              <a:gd name="connsiteY39" fmla="*/ 221822 h 403780"/>
              <a:gd name="connsiteX40" fmla="*/ 311837 w 410209"/>
              <a:gd name="connsiteY40" fmla="*/ 217321 h 403780"/>
              <a:gd name="connsiteX41" fmla="*/ 333054 w 410209"/>
              <a:gd name="connsiteY41" fmla="*/ 205748 h 403780"/>
              <a:gd name="connsiteX42" fmla="*/ 369703 w 410209"/>
              <a:gd name="connsiteY42" fmla="*/ 199961 h 403780"/>
              <a:gd name="connsiteX43" fmla="*/ 376776 w 410209"/>
              <a:gd name="connsiteY43" fmla="*/ 175529 h 403780"/>
              <a:gd name="connsiteX44" fmla="*/ 338841 w 410209"/>
              <a:gd name="connsiteY44" fmla="*/ 118948 h 403780"/>
              <a:gd name="connsiteX45" fmla="*/ 314408 w 410209"/>
              <a:gd name="connsiteY45" fmla="*/ 128592 h 403780"/>
              <a:gd name="connsiteX46" fmla="*/ 290619 w 410209"/>
              <a:gd name="connsiteY46" fmla="*/ 124735 h 403780"/>
              <a:gd name="connsiteX47" fmla="*/ 287404 w 410209"/>
              <a:gd name="connsiteY47" fmla="*/ 114447 h 403780"/>
              <a:gd name="connsiteX48" fmla="*/ 294476 w 410209"/>
              <a:gd name="connsiteY48" fmla="*/ 100945 h 403780"/>
              <a:gd name="connsiteX49" fmla="*/ 310550 w 410209"/>
              <a:gd name="connsiteY49" fmla="*/ 69440 h 403780"/>
              <a:gd name="connsiteX50" fmla="*/ 252041 w 410209"/>
              <a:gd name="connsiteY50" fmla="*/ 34077 h 403780"/>
              <a:gd name="connsiteX51" fmla="*/ 223108 w 410209"/>
              <a:gd name="connsiteY51" fmla="*/ 67511 h 403780"/>
              <a:gd name="connsiteX52" fmla="*/ 206391 w 410209"/>
              <a:gd name="connsiteY52" fmla="*/ 84228 h 403780"/>
              <a:gd name="connsiteX53" fmla="*/ 189674 w 410209"/>
              <a:gd name="connsiteY53" fmla="*/ 67511 h 403780"/>
              <a:gd name="connsiteX54" fmla="*/ 160740 w 410209"/>
              <a:gd name="connsiteY54" fmla="*/ 34077 h 403780"/>
              <a:gd name="connsiteX55" fmla="*/ 102231 w 410209"/>
              <a:gd name="connsiteY55" fmla="*/ 69440 h 403780"/>
              <a:gd name="connsiteX56" fmla="*/ 118305 w 410209"/>
              <a:gd name="connsiteY56" fmla="*/ 100945 h 403780"/>
              <a:gd name="connsiteX57" fmla="*/ 125377 w 410209"/>
              <a:gd name="connsiteY57" fmla="*/ 114447 h 403780"/>
              <a:gd name="connsiteX58" fmla="*/ 122163 w 410209"/>
              <a:gd name="connsiteY58" fmla="*/ 124735 h 403780"/>
              <a:gd name="connsiteX59" fmla="*/ 98373 w 410209"/>
              <a:gd name="connsiteY59" fmla="*/ 128592 h 403780"/>
              <a:gd name="connsiteX60" fmla="*/ 73941 w 410209"/>
              <a:gd name="connsiteY60" fmla="*/ 118948 h 403780"/>
              <a:gd name="connsiteX61" fmla="*/ 36006 w 410209"/>
              <a:gd name="connsiteY61" fmla="*/ 175529 h 403780"/>
              <a:gd name="connsiteX62" fmla="*/ 43078 w 410209"/>
              <a:gd name="connsiteY62" fmla="*/ 199961 h 403780"/>
              <a:gd name="connsiteX63" fmla="*/ 79727 w 410209"/>
              <a:gd name="connsiteY63" fmla="*/ 205748 h 403780"/>
              <a:gd name="connsiteX64" fmla="*/ 100945 w 410209"/>
              <a:gd name="connsiteY64" fmla="*/ 217321 h 403780"/>
              <a:gd name="connsiteX65" fmla="*/ 101588 w 410209"/>
              <a:gd name="connsiteY65" fmla="*/ 221822 h 403780"/>
              <a:gd name="connsiteX66" fmla="*/ 89372 w 410209"/>
              <a:gd name="connsiteY66" fmla="*/ 237896 h 403780"/>
              <a:gd name="connsiteX67" fmla="*/ 58510 w 410209"/>
              <a:gd name="connsiteY67" fmla="*/ 275831 h 403780"/>
              <a:gd name="connsiteX68" fmla="*/ 107375 w 410209"/>
              <a:gd name="connsiteY68" fmla="*/ 326625 h 403780"/>
              <a:gd name="connsiteX69" fmla="*/ 137594 w 410209"/>
              <a:gd name="connsiteY69" fmla="*/ 300263 h 403780"/>
              <a:gd name="connsiteX70" fmla="*/ 137594 w 410209"/>
              <a:gd name="connsiteY70" fmla="*/ 300263 h 403780"/>
              <a:gd name="connsiteX71" fmla="*/ 160098 w 410209"/>
              <a:gd name="connsiteY71" fmla="*/ 291905 h 403780"/>
              <a:gd name="connsiteX72" fmla="*/ 168456 w 410209"/>
              <a:gd name="connsiteY72" fmla="*/ 314408 h 403780"/>
              <a:gd name="connsiteX73" fmla="*/ 165241 w 410209"/>
              <a:gd name="connsiteY73" fmla="*/ 351700 h 403780"/>
              <a:gd name="connsiteX74" fmla="*/ 190317 w 410209"/>
              <a:gd name="connsiteY74" fmla="*/ 369703 h 403780"/>
              <a:gd name="connsiteX75" fmla="*/ 190317 w 410209"/>
              <a:gd name="connsiteY75" fmla="*/ 369703 h 403780"/>
              <a:gd name="connsiteX76" fmla="*/ 205105 w 410209"/>
              <a:gd name="connsiteY76" fmla="*/ 286118 h 403780"/>
              <a:gd name="connsiteX77" fmla="*/ 121520 w 410209"/>
              <a:gd name="connsiteY77" fmla="*/ 202533 h 403780"/>
              <a:gd name="connsiteX78" fmla="*/ 205105 w 410209"/>
              <a:gd name="connsiteY78" fmla="*/ 118948 h 403780"/>
              <a:gd name="connsiteX79" fmla="*/ 288690 w 410209"/>
              <a:gd name="connsiteY79" fmla="*/ 202533 h 403780"/>
              <a:gd name="connsiteX80" fmla="*/ 205105 w 410209"/>
              <a:gd name="connsiteY80" fmla="*/ 286118 h 403780"/>
              <a:gd name="connsiteX81" fmla="*/ 205105 w 410209"/>
              <a:gd name="connsiteY81" fmla="*/ 286118 h 403780"/>
              <a:gd name="connsiteX82" fmla="*/ 205105 w 410209"/>
              <a:gd name="connsiteY82" fmla="*/ 152382 h 403780"/>
              <a:gd name="connsiteX83" fmla="*/ 155597 w 410209"/>
              <a:gd name="connsiteY83" fmla="*/ 202533 h 403780"/>
              <a:gd name="connsiteX84" fmla="*/ 205105 w 410209"/>
              <a:gd name="connsiteY84" fmla="*/ 252041 h 403780"/>
              <a:gd name="connsiteX85" fmla="*/ 254613 w 410209"/>
              <a:gd name="connsiteY85" fmla="*/ 202533 h 403780"/>
              <a:gd name="connsiteX86" fmla="*/ 205105 w 410209"/>
              <a:gd name="connsiteY86" fmla="*/ 152382 h 403780"/>
              <a:gd name="connsiteX87" fmla="*/ 205105 w 410209"/>
              <a:gd name="connsiteY87" fmla="*/ 152382 h 403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410209" h="403780">
                <a:moveTo>
                  <a:pt x="221179" y="403780"/>
                </a:moveTo>
                <a:cubicBezTo>
                  <a:pt x="221179" y="403780"/>
                  <a:pt x="221179" y="403780"/>
                  <a:pt x="221179" y="403780"/>
                </a:cubicBezTo>
                <a:lnTo>
                  <a:pt x="189031" y="403780"/>
                </a:lnTo>
                <a:cubicBezTo>
                  <a:pt x="187745" y="403780"/>
                  <a:pt x="187102" y="403780"/>
                  <a:pt x="185816" y="403780"/>
                </a:cubicBezTo>
                <a:cubicBezTo>
                  <a:pt x="161384" y="399279"/>
                  <a:pt x="142095" y="385777"/>
                  <a:pt x="132450" y="367131"/>
                </a:cubicBezTo>
                <a:cubicBezTo>
                  <a:pt x="130521" y="363916"/>
                  <a:pt x="129235" y="360058"/>
                  <a:pt x="127949" y="355558"/>
                </a:cubicBezTo>
                <a:cubicBezTo>
                  <a:pt x="118948" y="359416"/>
                  <a:pt x="110589" y="360702"/>
                  <a:pt x="104803" y="360702"/>
                </a:cubicBezTo>
                <a:cubicBezTo>
                  <a:pt x="63653" y="360702"/>
                  <a:pt x="27647" y="318266"/>
                  <a:pt x="22504" y="280331"/>
                </a:cubicBezTo>
                <a:cubicBezTo>
                  <a:pt x="19932" y="262971"/>
                  <a:pt x="23790" y="247540"/>
                  <a:pt x="32148" y="234681"/>
                </a:cubicBezTo>
                <a:cubicBezTo>
                  <a:pt x="23790" y="230181"/>
                  <a:pt x="18003" y="225037"/>
                  <a:pt x="14145" y="219893"/>
                </a:cubicBezTo>
                <a:cubicBezTo>
                  <a:pt x="5144" y="208320"/>
                  <a:pt x="0" y="192246"/>
                  <a:pt x="0" y="174886"/>
                </a:cubicBezTo>
                <a:cubicBezTo>
                  <a:pt x="0" y="133093"/>
                  <a:pt x="26362" y="88729"/>
                  <a:pt x="66225" y="84871"/>
                </a:cubicBezTo>
                <a:cubicBezTo>
                  <a:pt x="64939" y="76513"/>
                  <a:pt x="65582" y="67511"/>
                  <a:pt x="68154" y="59153"/>
                </a:cubicBezTo>
                <a:cubicBezTo>
                  <a:pt x="79084" y="26362"/>
                  <a:pt x="119591" y="0"/>
                  <a:pt x="159454" y="0"/>
                </a:cubicBezTo>
                <a:cubicBezTo>
                  <a:pt x="176172" y="0"/>
                  <a:pt x="192888" y="5144"/>
                  <a:pt x="205105" y="18003"/>
                </a:cubicBezTo>
                <a:cubicBezTo>
                  <a:pt x="217321" y="5144"/>
                  <a:pt x="234681" y="0"/>
                  <a:pt x="250755" y="0"/>
                </a:cubicBezTo>
                <a:cubicBezTo>
                  <a:pt x="289976" y="0"/>
                  <a:pt x="331126" y="26362"/>
                  <a:pt x="342056" y="59153"/>
                </a:cubicBezTo>
                <a:cubicBezTo>
                  <a:pt x="344628" y="68154"/>
                  <a:pt x="345270" y="76513"/>
                  <a:pt x="343985" y="84871"/>
                </a:cubicBezTo>
                <a:cubicBezTo>
                  <a:pt x="383848" y="88729"/>
                  <a:pt x="410209" y="133093"/>
                  <a:pt x="410209" y="174886"/>
                </a:cubicBezTo>
                <a:cubicBezTo>
                  <a:pt x="410209" y="192888"/>
                  <a:pt x="405709" y="208320"/>
                  <a:pt x="396064" y="219893"/>
                </a:cubicBezTo>
                <a:cubicBezTo>
                  <a:pt x="392207" y="225037"/>
                  <a:pt x="386420" y="230823"/>
                  <a:pt x="378061" y="234681"/>
                </a:cubicBezTo>
                <a:cubicBezTo>
                  <a:pt x="386420" y="247540"/>
                  <a:pt x="390278" y="262971"/>
                  <a:pt x="387706" y="280331"/>
                </a:cubicBezTo>
                <a:cubicBezTo>
                  <a:pt x="382562" y="318266"/>
                  <a:pt x="345913" y="360702"/>
                  <a:pt x="305407" y="360702"/>
                </a:cubicBezTo>
                <a:cubicBezTo>
                  <a:pt x="298977" y="360702"/>
                  <a:pt x="290619" y="359416"/>
                  <a:pt x="282260" y="355558"/>
                </a:cubicBezTo>
                <a:cubicBezTo>
                  <a:pt x="280974" y="360058"/>
                  <a:pt x="279688" y="363916"/>
                  <a:pt x="277759" y="367131"/>
                </a:cubicBezTo>
                <a:cubicBezTo>
                  <a:pt x="268115" y="385777"/>
                  <a:pt x="248826" y="398636"/>
                  <a:pt x="224394" y="403780"/>
                </a:cubicBezTo>
                <a:cubicBezTo>
                  <a:pt x="223108" y="403780"/>
                  <a:pt x="222465" y="403780"/>
                  <a:pt x="221179" y="403780"/>
                </a:cubicBezTo>
                <a:lnTo>
                  <a:pt x="221179" y="403780"/>
                </a:lnTo>
                <a:close/>
                <a:moveTo>
                  <a:pt x="190317" y="369703"/>
                </a:moveTo>
                <a:lnTo>
                  <a:pt x="219250" y="369703"/>
                </a:lnTo>
                <a:cubicBezTo>
                  <a:pt x="232752" y="367131"/>
                  <a:pt x="242397" y="360058"/>
                  <a:pt x="247540" y="351700"/>
                </a:cubicBezTo>
                <a:cubicBezTo>
                  <a:pt x="253327" y="340127"/>
                  <a:pt x="249469" y="325339"/>
                  <a:pt x="244325" y="314408"/>
                </a:cubicBezTo>
                <a:cubicBezTo>
                  <a:pt x="244325" y="314408"/>
                  <a:pt x="244325" y="314408"/>
                  <a:pt x="244325" y="314408"/>
                </a:cubicBezTo>
                <a:lnTo>
                  <a:pt x="244325" y="314408"/>
                </a:lnTo>
                <a:cubicBezTo>
                  <a:pt x="240468" y="306050"/>
                  <a:pt x="244325" y="295762"/>
                  <a:pt x="252684" y="291905"/>
                </a:cubicBezTo>
                <a:cubicBezTo>
                  <a:pt x="261043" y="288047"/>
                  <a:pt x="271330" y="291905"/>
                  <a:pt x="275187" y="300263"/>
                </a:cubicBezTo>
                <a:cubicBezTo>
                  <a:pt x="283546" y="317623"/>
                  <a:pt x="293191" y="326625"/>
                  <a:pt x="305407" y="326625"/>
                </a:cubicBezTo>
                <a:cubicBezTo>
                  <a:pt x="325982" y="326625"/>
                  <a:pt x="351057" y="300906"/>
                  <a:pt x="354272" y="275831"/>
                </a:cubicBezTo>
                <a:cubicBezTo>
                  <a:pt x="356844" y="257185"/>
                  <a:pt x="346556" y="244325"/>
                  <a:pt x="323410" y="237896"/>
                </a:cubicBezTo>
                <a:cubicBezTo>
                  <a:pt x="315694" y="235967"/>
                  <a:pt x="311193" y="228895"/>
                  <a:pt x="311193" y="221822"/>
                </a:cubicBezTo>
                <a:cubicBezTo>
                  <a:pt x="311193" y="220536"/>
                  <a:pt x="311193" y="218607"/>
                  <a:pt x="311837" y="217321"/>
                </a:cubicBezTo>
                <a:cubicBezTo>
                  <a:pt x="314408" y="208320"/>
                  <a:pt x="324052" y="203176"/>
                  <a:pt x="333054" y="205748"/>
                </a:cubicBezTo>
                <a:cubicBezTo>
                  <a:pt x="350414" y="210248"/>
                  <a:pt x="362630" y="208962"/>
                  <a:pt x="369703" y="199961"/>
                </a:cubicBezTo>
                <a:cubicBezTo>
                  <a:pt x="374204" y="194174"/>
                  <a:pt x="376776" y="185816"/>
                  <a:pt x="376776" y="175529"/>
                </a:cubicBezTo>
                <a:cubicBezTo>
                  <a:pt x="376776" y="149167"/>
                  <a:pt x="360702" y="118948"/>
                  <a:pt x="338841" y="118948"/>
                </a:cubicBezTo>
                <a:cubicBezTo>
                  <a:pt x="331126" y="118948"/>
                  <a:pt x="323410" y="122163"/>
                  <a:pt x="314408" y="128592"/>
                </a:cubicBezTo>
                <a:cubicBezTo>
                  <a:pt x="306693" y="134379"/>
                  <a:pt x="296405" y="132450"/>
                  <a:pt x="290619" y="124735"/>
                </a:cubicBezTo>
                <a:cubicBezTo>
                  <a:pt x="288690" y="121520"/>
                  <a:pt x="287404" y="118305"/>
                  <a:pt x="287404" y="114447"/>
                </a:cubicBezTo>
                <a:cubicBezTo>
                  <a:pt x="287404" y="109303"/>
                  <a:pt x="289976" y="104160"/>
                  <a:pt x="294476" y="100945"/>
                </a:cubicBezTo>
                <a:cubicBezTo>
                  <a:pt x="315694" y="85514"/>
                  <a:pt x="311837" y="73298"/>
                  <a:pt x="310550" y="69440"/>
                </a:cubicBezTo>
                <a:cubicBezTo>
                  <a:pt x="304764" y="51437"/>
                  <a:pt x="275831" y="34077"/>
                  <a:pt x="252041" y="34077"/>
                </a:cubicBezTo>
                <a:cubicBezTo>
                  <a:pt x="232109" y="34077"/>
                  <a:pt x="223108" y="44364"/>
                  <a:pt x="223108" y="67511"/>
                </a:cubicBezTo>
                <a:cubicBezTo>
                  <a:pt x="223108" y="77155"/>
                  <a:pt x="215392" y="84228"/>
                  <a:pt x="206391" y="84228"/>
                </a:cubicBezTo>
                <a:cubicBezTo>
                  <a:pt x="196746" y="84228"/>
                  <a:pt x="189674" y="76513"/>
                  <a:pt x="189674" y="67511"/>
                </a:cubicBezTo>
                <a:cubicBezTo>
                  <a:pt x="189674" y="45007"/>
                  <a:pt x="180672" y="34077"/>
                  <a:pt x="160740" y="34077"/>
                </a:cubicBezTo>
                <a:cubicBezTo>
                  <a:pt x="136308" y="34077"/>
                  <a:pt x="108017" y="51437"/>
                  <a:pt x="102231" y="69440"/>
                </a:cubicBezTo>
                <a:cubicBezTo>
                  <a:pt x="100945" y="73298"/>
                  <a:pt x="97087" y="85514"/>
                  <a:pt x="118305" y="100945"/>
                </a:cubicBezTo>
                <a:cubicBezTo>
                  <a:pt x="122806" y="104160"/>
                  <a:pt x="125377" y="109303"/>
                  <a:pt x="125377" y="114447"/>
                </a:cubicBezTo>
                <a:cubicBezTo>
                  <a:pt x="125377" y="117662"/>
                  <a:pt x="124091" y="121520"/>
                  <a:pt x="122163" y="124735"/>
                </a:cubicBezTo>
                <a:cubicBezTo>
                  <a:pt x="116376" y="132450"/>
                  <a:pt x="106089" y="133736"/>
                  <a:pt x="98373" y="128592"/>
                </a:cubicBezTo>
                <a:cubicBezTo>
                  <a:pt x="89372" y="122163"/>
                  <a:pt x="81656" y="118948"/>
                  <a:pt x="73941" y="118948"/>
                </a:cubicBezTo>
                <a:cubicBezTo>
                  <a:pt x="52080" y="118948"/>
                  <a:pt x="36006" y="148524"/>
                  <a:pt x="36006" y="175529"/>
                </a:cubicBezTo>
                <a:cubicBezTo>
                  <a:pt x="36006" y="185816"/>
                  <a:pt x="38578" y="194174"/>
                  <a:pt x="43078" y="199961"/>
                </a:cubicBezTo>
                <a:cubicBezTo>
                  <a:pt x="50151" y="208962"/>
                  <a:pt x="62367" y="210892"/>
                  <a:pt x="79727" y="205748"/>
                </a:cubicBezTo>
                <a:cubicBezTo>
                  <a:pt x="88729" y="203176"/>
                  <a:pt x="98373" y="208320"/>
                  <a:pt x="100945" y="217321"/>
                </a:cubicBezTo>
                <a:cubicBezTo>
                  <a:pt x="101588" y="218607"/>
                  <a:pt x="101588" y="220536"/>
                  <a:pt x="101588" y="221822"/>
                </a:cubicBezTo>
                <a:cubicBezTo>
                  <a:pt x="101588" y="229537"/>
                  <a:pt x="96444" y="235967"/>
                  <a:pt x="89372" y="237896"/>
                </a:cubicBezTo>
                <a:cubicBezTo>
                  <a:pt x="66225" y="244325"/>
                  <a:pt x="55938" y="257185"/>
                  <a:pt x="58510" y="275831"/>
                </a:cubicBezTo>
                <a:cubicBezTo>
                  <a:pt x="61725" y="300906"/>
                  <a:pt x="86800" y="326625"/>
                  <a:pt x="107375" y="326625"/>
                </a:cubicBezTo>
                <a:cubicBezTo>
                  <a:pt x="119591" y="326625"/>
                  <a:pt x="129235" y="317623"/>
                  <a:pt x="137594" y="300263"/>
                </a:cubicBezTo>
                <a:cubicBezTo>
                  <a:pt x="137594" y="300263"/>
                  <a:pt x="137594" y="300263"/>
                  <a:pt x="137594" y="300263"/>
                </a:cubicBezTo>
                <a:cubicBezTo>
                  <a:pt x="141452" y="291905"/>
                  <a:pt x="151739" y="288047"/>
                  <a:pt x="160098" y="291905"/>
                </a:cubicBezTo>
                <a:cubicBezTo>
                  <a:pt x="168456" y="295762"/>
                  <a:pt x="172314" y="306050"/>
                  <a:pt x="168456" y="314408"/>
                </a:cubicBezTo>
                <a:cubicBezTo>
                  <a:pt x="163955" y="324696"/>
                  <a:pt x="159454" y="339484"/>
                  <a:pt x="165241" y="351700"/>
                </a:cubicBezTo>
                <a:cubicBezTo>
                  <a:pt x="167170" y="360058"/>
                  <a:pt x="177458" y="366488"/>
                  <a:pt x="190317" y="369703"/>
                </a:cubicBezTo>
                <a:lnTo>
                  <a:pt x="190317" y="369703"/>
                </a:lnTo>
                <a:close/>
                <a:moveTo>
                  <a:pt x="205105" y="286118"/>
                </a:moveTo>
                <a:cubicBezTo>
                  <a:pt x="158812" y="286118"/>
                  <a:pt x="121520" y="248826"/>
                  <a:pt x="121520" y="202533"/>
                </a:cubicBezTo>
                <a:cubicBezTo>
                  <a:pt x="121520" y="156240"/>
                  <a:pt x="158812" y="118948"/>
                  <a:pt x="205105" y="118948"/>
                </a:cubicBezTo>
                <a:cubicBezTo>
                  <a:pt x="251398" y="118948"/>
                  <a:pt x="288690" y="156240"/>
                  <a:pt x="288690" y="202533"/>
                </a:cubicBezTo>
                <a:cubicBezTo>
                  <a:pt x="288690" y="248826"/>
                  <a:pt x="251398" y="286118"/>
                  <a:pt x="205105" y="286118"/>
                </a:cubicBezTo>
                <a:lnTo>
                  <a:pt x="205105" y="286118"/>
                </a:lnTo>
                <a:close/>
                <a:moveTo>
                  <a:pt x="205105" y="152382"/>
                </a:moveTo>
                <a:cubicBezTo>
                  <a:pt x="177458" y="152382"/>
                  <a:pt x="155597" y="174886"/>
                  <a:pt x="155597" y="202533"/>
                </a:cubicBezTo>
                <a:cubicBezTo>
                  <a:pt x="155597" y="230181"/>
                  <a:pt x="178100" y="252041"/>
                  <a:pt x="205105" y="252041"/>
                </a:cubicBezTo>
                <a:cubicBezTo>
                  <a:pt x="232752" y="252041"/>
                  <a:pt x="254613" y="229537"/>
                  <a:pt x="254613" y="202533"/>
                </a:cubicBezTo>
                <a:cubicBezTo>
                  <a:pt x="254613" y="174886"/>
                  <a:pt x="232109" y="152382"/>
                  <a:pt x="205105" y="152382"/>
                </a:cubicBezTo>
                <a:lnTo>
                  <a:pt x="205105" y="152382"/>
                </a:lnTo>
                <a:close/>
              </a:path>
            </a:pathLst>
          </a:custGeom>
          <a:solidFill>
            <a:srgbClr val="B1B1A1"/>
          </a:solidFill>
          <a:ln w="64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grpSp>
        <p:nvGrpSpPr>
          <p:cNvPr id="240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8452799" y="5686427"/>
            <a:ext cx="401326" cy="401326"/>
            <a:chOff x="8485887" y="5768330"/>
            <a:chExt cx="406994" cy="406994"/>
          </a:xfrm>
          <a:solidFill>
            <a:srgbClr val="B1B1A1"/>
          </a:solidFill>
        </p:grpSpPr>
        <p:grpSp>
          <p:nvGrpSpPr>
            <p:cNvPr id="241" name="Gráfico 2">
              <a:extLst>
                <a:ext uri="{FF2B5EF4-FFF2-40B4-BE49-F238E27FC236}">
                  <a16:creationId xmlns:a16="http://schemas.microsoft.com/office/drawing/2014/main" id="{40F8E44F-B406-439F-8B63-82F15B4E8194}"/>
                </a:ext>
              </a:extLst>
            </p:cNvPr>
            <p:cNvGrpSpPr/>
            <p:nvPr/>
          </p:nvGrpSpPr>
          <p:grpSpPr>
            <a:xfrm>
              <a:off x="8485887" y="5768330"/>
              <a:ext cx="406994" cy="406994"/>
              <a:chOff x="8485887" y="5768330"/>
              <a:chExt cx="406994" cy="406994"/>
            </a:xfrm>
            <a:grpFill/>
          </p:grpSpPr>
          <p:sp>
            <p:nvSpPr>
              <p:cNvPr id="242" name="Forma Livre: Forma 241">
                <a:extLst>
                  <a:ext uri="{FF2B5EF4-FFF2-40B4-BE49-F238E27FC236}">
                    <a16:creationId xmlns:a16="http://schemas.microsoft.com/office/drawing/2014/main" id="{0AB0AFD7-2251-469F-8BD1-36A86F011EBC}"/>
                  </a:ext>
                </a:extLst>
              </p:cNvPr>
              <p:cNvSpPr/>
              <p:nvPr/>
            </p:nvSpPr>
            <p:spPr>
              <a:xfrm>
                <a:off x="8672989" y="5768330"/>
                <a:ext cx="33433" cy="406994"/>
              </a:xfrm>
              <a:custGeom>
                <a:avLst/>
                <a:gdLst>
                  <a:gd name="connsiteX0" fmla="*/ 16717 w 33433"/>
                  <a:gd name="connsiteY0" fmla="*/ 406995 h 406994"/>
                  <a:gd name="connsiteX1" fmla="*/ 0 w 33433"/>
                  <a:gd name="connsiteY1" fmla="*/ 390277 h 406994"/>
                  <a:gd name="connsiteX2" fmla="*/ 0 w 33433"/>
                  <a:gd name="connsiteY2" fmla="*/ 16717 h 406994"/>
                  <a:gd name="connsiteX3" fmla="*/ 16717 w 33433"/>
                  <a:gd name="connsiteY3" fmla="*/ 0 h 406994"/>
                  <a:gd name="connsiteX4" fmla="*/ 33434 w 33433"/>
                  <a:gd name="connsiteY4" fmla="*/ 16717 h 406994"/>
                  <a:gd name="connsiteX5" fmla="*/ 33434 w 33433"/>
                  <a:gd name="connsiteY5" fmla="*/ 389634 h 406994"/>
                  <a:gd name="connsiteX6" fmla="*/ 16717 w 33433"/>
                  <a:gd name="connsiteY6" fmla="*/ 406995 h 406994"/>
                  <a:gd name="connsiteX7" fmla="*/ 16717 w 33433"/>
                  <a:gd name="connsiteY7" fmla="*/ 406995 h 4069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433" h="406994">
                    <a:moveTo>
                      <a:pt x="16717" y="406995"/>
                    </a:moveTo>
                    <a:cubicBezTo>
                      <a:pt x="7072" y="406995"/>
                      <a:pt x="0" y="399279"/>
                      <a:pt x="0" y="390277"/>
                    </a:cubicBezTo>
                    <a:lnTo>
                      <a:pt x="0" y="16717"/>
                    </a:lnTo>
                    <a:cubicBezTo>
                      <a:pt x="0" y="7072"/>
                      <a:pt x="7715" y="0"/>
                      <a:pt x="16717" y="0"/>
                    </a:cubicBezTo>
                    <a:cubicBezTo>
                      <a:pt x="25718" y="0"/>
                      <a:pt x="33434" y="7715"/>
                      <a:pt x="33434" y="16717"/>
                    </a:cubicBezTo>
                    <a:lnTo>
                      <a:pt x="33434" y="389634"/>
                    </a:lnTo>
                    <a:cubicBezTo>
                      <a:pt x="33434" y="399279"/>
                      <a:pt x="25718" y="406995"/>
                      <a:pt x="16717" y="406995"/>
                    </a:cubicBezTo>
                    <a:lnTo>
                      <a:pt x="16717" y="406995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43" name="Forma Livre: Forma 242">
                <a:extLst>
                  <a:ext uri="{FF2B5EF4-FFF2-40B4-BE49-F238E27FC236}">
                    <a16:creationId xmlns:a16="http://schemas.microsoft.com/office/drawing/2014/main" id="{B37ED7EB-A7EE-44B6-85D7-2EC167CAB20F}"/>
                  </a:ext>
                </a:extLst>
              </p:cNvPr>
              <p:cNvSpPr/>
              <p:nvPr/>
            </p:nvSpPr>
            <p:spPr>
              <a:xfrm>
                <a:off x="8485887" y="5954788"/>
                <a:ext cx="406994" cy="33433"/>
              </a:xfrm>
              <a:custGeom>
                <a:avLst/>
                <a:gdLst>
                  <a:gd name="connsiteX0" fmla="*/ 390278 w 406994"/>
                  <a:gd name="connsiteY0" fmla="*/ 33434 h 33433"/>
                  <a:gd name="connsiteX1" fmla="*/ 16718 w 406994"/>
                  <a:gd name="connsiteY1" fmla="*/ 33434 h 33433"/>
                  <a:gd name="connsiteX2" fmla="*/ 0 w 406994"/>
                  <a:gd name="connsiteY2" fmla="*/ 16717 h 33433"/>
                  <a:gd name="connsiteX3" fmla="*/ 16718 w 406994"/>
                  <a:gd name="connsiteY3" fmla="*/ 0 h 33433"/>
                  <a:gd name="connsiteX4" fmla="*/ 390278 w 406994"/>
                  <a:gd name="connsiteY4" fmla="*/ 0 h 33433"/>
                  <a:gd name="connsiteX5" fmla="*/ 406995 w 406994"/>
                  <a:gd name="connsiteY5" fmla="*/ 16717 h 33433"/>
                  <a:gd name="connsiteX6" fmla="*/ 390278 w 406994"/>
                  <a:gd name="connsiteY6" fmla="*/ 33434 h 33433"/>
                  <a:gd name="connsiteX7" fmla="*/ 390278 w 406994"/>
                  <a:gd name="connsiteY7" fmla="*/ 33434 h 33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6994" h="33433">
                    <a:moveTo>
                      <a:pt x="390278" y="33434"/>
                    </a:moveTo>
                    <a:lnTo>
                      <a:pt x="16718" y="33434"/>
                    </a:lnTo>
                    <a:cubicBezTo>
                      <a:pt x="7073" y="33434"/>
                      <a:pt x="0" y="25718"/>
                      <a:pt x="0" y="16717"/>
                    </a:cubicBezTo>
                    <a:cubicBezTo>
                      <a:pt x="0" y="7072"/>
                      <a:pt x="7716" y="0"/>
                      <a:pt x="16718" y="0"/>
                    </a:cubicBezTo>
                    <a:lnTo>
                      <a:pt x="390278" y="0"/>
                    </a:lnTo>
                    <a:cubicBezTo>
                      <a:pt x="399922" y="0"/>
                      <a:pt x="406995" y="7715"/>
                      <a:pt x="406995" y="16717"/>
                    </a:cubicBezTo>
                    <a:cubicBezTo>
                      <a:pt x="406995" y="25718"/>
                      <a:pt x="399922" y="33434"/>
                      <a:pt x="390278" y="33434"/>
                    </a:cubicBezTo>
                    <a:lnTo>
                      <a:pt x="390278" y="33434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44" name="Forma Livre: Forma 243">
                <a:extLst>
                  <a:ext uri="{FF2B5EF4-FFF2-40B4-BE49-F238E27FC236}">
                    <a16:creationId xmlns:a16="http://schemas.microsoft.com/office/drawing/2014/main" id="{375926AD-463B-4886-B58E-9D1814049264}"/>
                  </a:ext>
                </a:extLst>
              </p:cNvPr>
              <p:cNvSpPr/>
              <p:nvPr/>
            </p:nvSpPr>
            <p:spPr>
              <a:xfrm>
                <a:off x="8540217" y="5822659"/>
                <a:ext cx="297690" cy="298012"/>
              </a:xfrm>
              <a:custGeom>
                <a:avLst/>
                <a:gdLst>
                  <a:gd name="connsiteX0" fmla="*/ 17039 w 297690"/>
                  <a:gd name="connsiteY0" fmla="*/ 298013 h 298012"/>
                  <a:gd name="connsiteX1" fmla="*/ 4822 w 297690"/>
                  <a:gd name="connsiteY1" fmla="*/ 292869 h 298012"/>
                  <a:gd name="connsiteX2" fmla="*/ 4822 w 297690"/>
                  <a:gd name="connsiteY2" fmla="*/ 269080 h 298012"/>
                  <a:gd name="connsiteX3" fmla="*/ 269079 w 297690"/>
                  <a:gd name="connsiteY3" fmla="*/ 4822 h 298012"/>
                  <a:gd name="connsiteX4" fmla="*/ 292868 w 297690"/>
                  <a:gd name="connsiteY4" fmla="*/ 4822 h 298012"/>
                  <a:gd name="connsiteX5" fmla="*/ 292868 w 297690"/>
                  <a:gd name="connsiteY5" fmla="*/ 28612 h 298012"/>
                  <a:gd name="connsiteX6" fmla="*/ 28611 w 297690"/>
                  <a:gd name="connsiteY6" fmla="*/ 292869 h 298012"/>
                  <a:gd name="connsiteX7" fmla="*/ 17039 w 297690"/>
                  <a:gd name="connsiteY7" fmla="*/ 298013 h 298012"/>
                  <a:gd name="connsiteX8" fmla="*/ 17039 w 297690"/>
                  <a:gd name="connsiteY8" fmla="*/ 298013 h 298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97690" h="298012">
                    <a:moveTo>
                      <a:pt x="17039" y="298013"/>
                    </a:moveTo>
                    <a:cubicBezTo>
                      <a:pt x="12537" y="298013"/>
                      <a:pt x="8037" y="296084"/>
                      <a:pt x="4822" y="292869"/>
                    </a:cubicBezTo>
                    <a:cubicBezTo>
                      <a:pt x="-1607" y="286440"/>
                      <a:pt x="-1607" y="275509"/>
                      <a:pt x="4822" y="269080"/>
                    </a:cubicBezTo>
                    <a:lnTo>
                      <a:pt x="269079" y="4822"/>
                    </a:lnTo>
                    <a:cubicBezTo>
                      <a:pt x="275509" y="-1607"/>
                      <a:pt x="286439" y="-1607"/>
                      <a:pt x="292868" y="4822"/>
                    </a:cubicBezTo>
                    <a:cubicBezTo>
                      <a:pt x="299298" y="11252"/>
                      <a:pt x="299298" y="22182"/>
                      <a:pt x="292868" y="28612"/>
                    </a:cubicBezTo>
                    <a:lnTo>
                      <a:pt x="28611" y="292869"/>
                    </a:lnTo>
                    <a:cubicBezTo>
                      <a:pt x="26039" y="296084"/>
                      <a:pt x="21539" y="298013"/>
                      <a:pt x="17039" y="298013"/>
                    </a:cubicBezTo>
                    <a:lnTo>
                      <a:pt x="17039" y="298013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45" name="Forma Livre: Forma 244">
                <a:extLst>
                  <a:ext uri="{FF2B5EF4-FFF2-40B4-BE49-F238E27FC236}">
                    <a16:creationId xmlns:a16="http://schemas.microsoft.com/office/drawing/2014/main" id="{7927D67A-2091-4ACC-B693-8B788AD6A0B1}"/>
                  </a:ext>
                </a:extLst>
              </p:cNvPr>
              <p:cNvSpPr/>
              <p:nvPr/>
            </p:nvSpPr>
            <p:spPr>
              <a:xfrm>
                <a:off x="8540217" y="5822659"/>
                <a:ext cx="297690" cy="298012"/>
              </a:xfrm>
              <a:custGeom>
                <a:avLst/>
                <a:gdLst>
                  <a:gd name="connsiteX0" fmla="*/ 281296 w 297690"/>
                  <a:gd name="connsiteY0" fmla="*/ 298013 h 298012"/>
                  <a:gd name="connsiteX1" fmla="*/ 269079 w 297690"/>
                  <a:gd name="connsiteY1" fmla="*/ 292869 h 298012"/>
                  <a:gd name="connsiteX2" fmla="*/ 4822 w 297690"/>
                  <a:gd name="connsiteY2" fmla="*/ 28612 h 298012"/>
                  <a:gd name="connsiteX3" fmla="*/ 4822 w 297690"/>
                  <a:gd name="connsiteY3" fmla="*/ 4822 h 298012"/>
                  <a:gd name="connsiteX4" fmla="*/ 28611 w 297690"/>
                  <a:gd name="connsiteY4" fmla="*/ 4822 h 298012"/>
                  <a:gd name="connsiteX5" fmla="*/ 292868 w 297690"/>
                  <a:gd name="connsiteY5" fmla="*/ 269080 h 298012"/>
                  <a:gd name="connsiteX6" fmla="*/ 292868 w 297690"/>
                  <a:gd name="connsiteY6" fmla="*/ 292869 h 298012"/>
                  <a:gd name="connsiteX7" fmla="*/ 281296 w 297690"/>
                  <a:gd name="connsiteY7" fmla="*/ 298013 h 298012"/>
                  <a:gd name="connsiteX8" fmla="*/ 281296 w 297690"/>
                  <a:gd name="connsiteY8" fmla="*/ 298013 h 298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97690" h="298012">
                    <a:moveTo>
                      <a:pt x="281296" y="298013"/>
                    </a:moveTo>
                    <a:cubicBezTo>
                      <a:pt x="276794" y="298013"/>
                      <a:pt x="272294" y="296084"/>
                      <a:pt x="269079" y="292869"/>
                    </a:cubicBezTo>
                    <a:lnTo>
                      <a:pt x="4822" y="28612"/>
                    </a:lnTo>
                    <a:cubicBezTo>
                      <a:pt x="-1607" y="22182"/>
                      <a:pt x="-1607" y="11252"/>
                      <a:pt x="4822" y="4822"/>
                    </a:cubicBezTo>
                    <a:cubicBezTo>
                      <a:pt x="11252" y="-1607"/>
                      <a:pt x="22182" y="-1607"/>
                      <a:pt x="28611" y="4822"/>
                    </a:cubicBezTo>
                    <a:lnTo>
                      <a:pt x="292868" y="269080"/>
                    </a:lnTo>
                    <a:cubicBezTo>
                      <a:pt x="299298" y="275509"/>
                      <a:pt x="299298" y="286440"/>
                      <a:pt x="292868" y="292869"/>
                    </a:cubicBezTo>
                    <a:cubicBezTo>
                      <a:pt x="289654" y="296084"/>
                      <a:pt x="285796" y="298013"/>
                      <a:pt x="281296" y="298013"/>
                    </a:cubicBezTo>
                    <a:lnTo>
                      <a:pt x="281296" y="298013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246" name="Forma Livre: Forma 245">
              <a:extLst>
                <a:ext uri="{FF2B5EF4-FFF2-40B4-BE49-F238E27FC236}">
                  <a16:creationId xmlns:a16="http://schemas.microsoft.com/office/drawing/2014/main" id="{CCD995A4-1BE4-41CD-B29D-BFE417B7A53A}"/>
                </a:ext>
              </a:extLst>
            </p:cNvPr>
            <p:cNvSpPr/>
            <p:nvPr/>
          </p:nvSpPr>
          <p:spPr>
            <a:xfrm>
              <a:off x="8532823" y="5813980"/>
              <a:ext cx="313765" cy="313765"/>
            </a:xfrm>
            <a:custGeom>
              <a:avLst/>
              <a:gdLst>
                <a:gd name="connsiteX0" fmla="*/ 156883 w 313765"/>
                <a:gd name="connsiteY0" fmla="*/ 313765 h 313765"/>
                <a:gd name="connsiteX1" fmla="*/ 0 w 313765"/>
                <a:gd name="connsiteY1" fmla="*/ 156883 h 313765"/>
                <a:gd name="connsiteX2" fmla="*/ 156883 w 313765"/>
                <a:gd name="connsiteY2" fmla="*/ 0 h 313765"/>
                <a:gd name="connsiteX3" fmla="*/ 313765 w 313765"/>
                <a:gd name="connsiteY3" fmla="*/ 156883 h 313765"/>
                <a:gd name="connsiteX4" fmla="*/ 156883 w 313765"/>
                <a:gd name="connsiteY4" fmla="*/ 313765 h 313765"/>
                <a:gd name="connsiteX5" fmla="*/ 156883 w 313765"/>
                <a:gd name="connsiteY5" fmla="*/ 313765 h 313765"/>
                <a:gd name="connsiteX6" fmla="*/ 156883 w 313765"/>
                <a:gd name="connsiteY6" fmla="*/ 34720 h 313765"/>
                <a:gd name="connsiteX7" fmla="*/ 34077 w 313765"/>
                <a:gd name="connsiteY7" fmla="*/ 157526 h 313765"/>
                <a:gd name="connsiteX8" fmla="*/ 156883 w 313765"/>
                <a:gd name="connsiteY8" fmla="*/ 280331 h 313765"/>
                <a:gd name="connsiteX9" fmla="*/ 279688 w 313765"/>
                <a:gd name="connsiteY9" fmla="*/ 157526 h 313765"/>
                <a:gd name="connsiteX10" fmla="*/ 156883 w 313765"/>
                <a:gd name="connsiteY10" fmla="*/ 34720 h 313765"/>
                <a:gd name="connsiteX11" fmla="*/ 156883 w 313765"/>
                <a:gd name="connsiteY11" fmla="*/ 34720 h 313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3765" h="313765">
                  <a:moveTo>
                    <a:pt x="156883" y="313765"/>
                  </a:moveTo>
                  <a:cubicBezTo>
                    <a:pt x="70726" y="313765"/>
                    <a:pt x="0" y="243683"/>
                    <a:pt x="0" y="156883"/>
                  </a:cubicBezTo>
                  <a:cubicBezTo>
                    <a:pt x="0" y="70726"/>
                    <a:pt x="70083" y="0"/>
                    <a:pt x="156883" y="0"/>
                  </a:cubicBezTo>
                  <a:cubicBezTo>
                    <a:pt x="243040" y="0"/>
                    <a:pt x="313765" y="70083"/>
                    <a:pt x="313765" y="156883"/>
                  </a:cubicBezTo>
                  <a:cubicBezTo>
                    <a:pt x="313122" y="243683"/>
                    <a:pt x="243040" y="313765"/>
                    <a:pt x="156883" y="313765"/>
                  </a:cubicBezTo>
                  <a:lnTo>
                    <a:pt x="156883" y="313765"/>
                  </a:lnTo>
                  <a:close/>
                  <a:moveTo>
                    <a:pt x="156883" y="34720"/>
                  </a:moveTo>
                  <a:cubicBezTo>
                    <a:pt x="89372" y="34720"/>
                    <a:pt x="34077" y="90015"/>
                    <a:pt x="34077" y="157526"/>
                  </a:cubicBezTo>
                  <a:cubicBezTo>
                    <a:pt x="34077" y="225037"/>
                    <a:pt x="89372" y="280331"/>
                    <a:pt x="156883" y="280331"/>
                  </a:cubicBezTo>
                  <a:cubicBezTo>
                    <a:pt x="224394" y="280331"/>
                    <a:pt x="279688" y="225037"/>
                    <a:pt x="279688" y="157526"/>
                  </a:cubicBezTo>
                  <a:cubicBezTo>
                    <a:pt x="279045" y="89372"/>
                    <a:pt x="224394" y="34720"/>
                    <a:pt x="156883" y="34720"/>
                  </a:cubicBezTo>
                  <a:lnTo>
                    <a:pt x="156883" y="34720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47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9456750" y="5680086"/>
            <a:ext cx="422881" cy="412738"/>
            <a:chOff x="9504017" y="5761900"/>
            <a:chExt cx="428854" cy="418567"/>
          </a:xfrm>
          <a:solidFill>
            <a:srgbClr val="B1B1A1"/>
          </a:solidFill>
        </p:grpSpPr>
        <p:grpSp>
          <p:nvGrpSpPr>
            <p:cNvPr id="248" name="Gráfico 2">
              <a:extLst>
                <a:ext uri="{FF2B5EF4-FFF2-40B4-BE49-F238E27FC236}">
                  <a16:creationId xmlns:a16="http://schemas.microsoft.com/office/drawing/2014/main" id="{40F8E44F-B406-439F-8B63-82F15B4E8194}"/>
                </a:ext>
              </a:extLst>
            </p:cNvPr>
            <p:cNvGrpSpPr/>
            <p:nvPr/>
          </p:nvGrpSpPr>
          <p:grpSpPr>
            <a:xfrm>
              <a:off x="9504017" y="5972470"/>
              <a:ext cx="428854" cy="75547"/>
              <a:chOff x="9504017" y="5972470"/>
              <a:chExt cx="428854" cy="75547"/>
            </a:xfrm>
            <a:grpFill/>
          </p:grpSpPr>
          <p:sp>
            <p:nvSpPr>
              <p:cNvPr id="249" name="Forma Livre: Forma 248">
                <a:extLst>
                  <a:ext uri="{FF2B5EF4-FFF2-40B4-BE49-F238E27FC236}">
                    <a16:creationId xmlns:a16="http://schemas.microsoft.com/office/drawing/2014/main" id="{11BC6B48-E008-4ABA-8CDD-B377BC6F82E4}"/>
                  </a:ext>
                </a:extLst>
              </p:cNvPr>
              <p:cNvSpPr/>
              <p:nvPr/>
            </p:nvSpPr>
            <p:spPr>
              <a:xfrm>
                <a:off x="9815853" y="5972470"/>
                <a:ext cx="117018" cy="75547"/>
              </a:xfrm>
              <a:custGeom>
                <a:avLst/>
                <a:gdLst>
                  <a:gd name="connsiteX0" fmla="*/ 17038 w 117018"/>
                  <a:gd name="connsiteY0" fmla="*/ 75548 h 75547"/>
                  <a:gd name="connsiteX1" fmla="*/ 4822 w 117018"/>
                  <a:gd name="connsiteY1" fmla="*/ 70404 h 75547"/>
                  <a:gd name="connsiteX2" fmla="*/ 4822 w 117018"/>
                  <a:gd name="connsiteY2" fmla="*/ 46615 h 75547"/>
                  <a:gd name="connsiteX3" fmla="*/ 46615 w 117018"/>
                  <a:gd name="connsiteY3" fmla="*/ 4822 h 75547"/>
                  <a:gd name="connsiteX4" fmla="*/ 70404 w 117018"/>
                  <a:gd name="connsiteY4" fmla="*/ 4822 h 75547"/>
                  <a:gd name="connsiteX5" fmla="*/ 112196 w 117018"/>
                  <a:gd name="connsiteY5" fmla="*/ 46615 h 75547"/>
                  <a:gd name="connsiteX6" fmla="*/ 112196 w 117018"/>
                  <a:gd name="connsiteY6" fmla="*/ 70404 h 75547"/>
                  <a:gd name="connsiteX7" fmla="*/ 88407 w 117018"/>
                  <a:gd name="connsiteY7" fmla="*/ 70404 h 75547"/>
                  <a:gd name="connsiteX8" fmla="*/ 58188 w 117018"/>
                  <a:gd name="connsiteY8" fmla="*/ 40185 h 75547"/>
                  <a:gd name="connsiteX9" fmla="*/ 27969 w 117018"/>
                  <a:gd name="connsiteY9" fmla="*/ 70404 h 75547"/>
                  <a:gd name="connsiteX10" fmla="*/ 17038 w 117018"/>
                  <a:gd name="connsiteY10" fmla="*/ 75548 h 75547"/>
                  <a:gd name="connsiteX11" fmla="*/ 17038 w 117018"/>
                  <a:gd name="connsiteY11" fmla="*/ 75548 h 75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7018" h="75547">
                    <a:moveTo>
                      <a:pt x="17038" y="75548"/>
                    </a:moveTo>
                    <a:cubicBezTo>
                      <a:pt x="12537" y="75548"/>
                      <a:pt x="8037" y="73619"/>
                      <a:pt x="4822" y="70404"/>
                    </a:cubicBezTo>
                    <a:cubicBezTo>
                      <a:pt x="-1607" y="63974"/>
                      <a:pt x="-1607" y="53044"/>
                      <a:pt x="4822" y="46615"/>
                    </a:cubicBezTo>
                    <a:lnTo>
                      <a:pt x="46615" y="4822"/>
                    </a:lnTo>
                    <a:cubicBezTo>
                      <a:pt x="53044" y="-1607"/>
                      <a:pt x="63974" y="-1607"/>
                      <a:pt x="70404" y="4822"/>
                    </a:cubicBezTo>
                    <a:lnTo>
                      <a:pt x="112196" y="46615"/>
                    </a:lnTo>
                    <a:cubicBezTo>
                      <a:pt x="118626" y="53044"/>
                      <a:pt x="118626" y="63974"/>
                      <a:pt x="112196" y="70404"/>
                    </a:cubicBezTo>
                    <a:cubicBezTo>
                      <a:pt x="105767" y="76834"/>
                      <a:pt x="94837" y="76834"/>
                      <a:pt x="88407" y="70404"/>
                    </a:cubicBezTo>
                    <a:lnTo>
                      <a:pt x="58188" y="40185"/>
                    </a:lnTo>
                    <a:lnTo>
                      <a:pt x="27969" y="70404"/>
                    </a:lnTo>
                    <a:cubicBezTo>
                      <a:pt x="26039" y="74262"/>
                      <a:pt x="21539" y="75548"/>
                      <a:pt x="17038" y="75548"/>
                    </a:cubicBezTo>
                    <a:lnTo>
                      <a:pt x="17038" y="75548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50" name="Forma Livre: Forma 249">
                <a:extLst>
                  <a:ext uri="{FF2B5EF4-FFF2-40B4-BE49-F238E27FC236}">
                    <a16:creationId xmlns:a16="http://schemas.microsoft.com/office/drawing/2014/main" id="{D8C4A2ED-B23C-4C8F-BE27-ADCBF7B7D415}"/>
                  </a:ext>
                </a:extLst>
              </p:cNvPr>
              <p:cNvSpPr/>
              <p:nvPr/>
            </p:nvSpPr>
            <p:spPr>
              <a:xfrm>
                <a:off x="9504017" y="5972470"/>
                <a:ext cx="117018" cy="75547"/>
              </a:xfrm>
              <a:custGeom>
                <a:avLst/>
                <a:gdLst>
                  <a:gd name="connsiteX0" fmla="*/ 17038 w 117018"/>
                  <a:gd name="connsiteY0" fmla="*/ 75548 h 75547"/>
                  <a:gd name="connsiteX1" fmla="*/ 4822 w 117018"/>
                  <a:gd name="connsiteY1" fmla="*/ 70404 h 75547"/>
                  <a:gd name="connsiteX2" fmla="*/ 4822 w 117018"/>
                  <a:gd name="connsiteY2" fmla="*/ 46615 h 75547"/>
                  <a:gd name="connsiteX3" fmla="*/ 46615 w 117018"/>
                  <a:gd name="connsiteY3" fmla="*/ 4822 h 75547"/>
                  <a:gd name="connsiteX4" fmla="*/ 70404 w 117018"/>
                  <a:gd name="connsiteY4" fmla="*/ 4822 h 75547"/>
                  <a:gd name="connsiteX5" fmla="*/ 112196 w 117018"/>
                  <a:gd name="connsiteY5" fmla="*/ 46615 h 75547"/>
                  <a:gd name="connsiteX6" fmla="*/ 112196 w 117018"/>
                  <a:gd name="connsiteY6" fmla="*/ 70404 h 75547"/>
                  <a:gd name="connsiteX7" fmla="*/ 88407 w 117018"/>
                  <a:gd name="connsiteY7" fmla="*/ 70404 h 75547"/>
                  <a:gd name="connsiteX8" fmla="*/ 58188 w 117018"/>
                  <a:gd name="connsiteY8" fmla="*/ 40185 h 75547"/>
                  <a:gd name="connsiteX9" fmla="*/ 27969 w 117018"/>
                  <a:gd name="connsiteY9" fmla="*/ 70404 h 75547"/>
                  <a:gd name="connsiteX10" fmla="*/ 17038 w 117018"/>
                  <a:gd name="connsiteY10" fmla="*/ 75548 h 75547"/>
                  <a:gd name="connsiteX11" fmla="*/ 17038 w 117018"/>
                  <a:gd name="connsiteY11" fmla="*/ 75548 h 75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7018" h="75547">
                    <a:moveTo>
                      <a:pt x="17038" y="75548"/>
                    </a:moveTo>
                    <a:cubicBezTo>
                      <a:pt x="12537" y="75548"/>
                      <a:pt x="8037" y="73619"/>
                      <a:pt x="4822" y="70404"/>
                    </a:cubicBezTo>
                    <a:cubicBezTo>
                      <a:pt x="-1607" y="63974"/>
                      <a:pt x="-1607" y="53044"/>
                      <a:pt x="4822" y="46615"/>
                    </a:cubicBezTo>
                    <a:lnTo>
                      <a:pt x="46615" y="4822"/>
                    </a:lnTo>
                    <a:cubicBezTo>
                      <a:pt x="53044" y="-1607"/>
                      <a:pt x="63974" y="-1607"/>
                      <a:pt x="70404" y="4822"/>
                    </a:cubicBezTo>
                    <a:lnTo>
                      <a:pt x="112196" y="46615"/>
                    </a:lnTo>
                    <a:cubicBezTo>
                      <a:pt x="118626" y="53044"/>
                      <a:pt x="118626" y="63974"/>
                      <a:pt x="112196" y="70404"/>
                    </a:cubicBezTo>
                    <a:cubicBezTo>
                      <a:pt x="105767" y="76834"/>
                      <a:pt x="94837" y="76834"/>
                      <a:pt x="88407" y="70404"/>
                    </a:cubicBezTo>
                    <a:lnTo>
                      <a:pt x="58188" y="40185"/>
                    </a:lnTo>
                    <a:lnTo>
                      <a:pt x="27969" y="70404"/>
                    </a:lnTo>
                    <a:cubicBezTo>
                      <a:pt x="25397" y="74262"/>
                      <a:pt x="21539" y="75548"/>
                      <a:pt x="17038" y="75548"/>
                    </a:cubicBezTo>
                    <a:lnTo>
                      <a:pt x="17038" y="75548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251" name="Forma Livre: Forma 250">
              <a:extLst>
                <a:ext uri="{FF2B5EF4-FFF2-40B4-BE49-F238E27FC236}">
                  <a16:creationId xmlns:a16="http://schemas.microsoft.com/office/drawing/2014/main" id="{6C2B1B5A-5F8B-4DBD-96AC-DA65D56AB8C1}"/>
                </a:ext>
              </a:extLst>
            </p:cNvPr>
            <p:cNvSpPr/>
            <p:nvPr/>
          </p:nvSpPr>
          <p:spPr>
            <a:xfrm>
              <a:off x="9543558" y="5988222"/>
              <a:ext cx="349786" cy="192245"/>
            </a:xfrm>
            <a:custGeom>
              <a:avLst/>
              <a:gdLst>
                <a:gd name="connsiteX0" fmla="*/ 175529 w 349786"/>
                <a:gd name="connsiteY0" fmla="*/ 192246 h 192245"/>
                <a:gd name="connsiteX1" fmla="*/ 0 w 349786"/>
                <a:gd name="connsiteY1" fmla="*/ 16717 h 192245"/>
                <a:gd name="connsiteX2" fmla="*/ 16718 w 349786"/>
                <a:gd name="connsiteY2" fmla="*/ 0 h 192245"/>
                <a:gd name="connsiteX3" fmla="*/ 33434 w 349786"/>
                <a:gd name="connsiteY3" fmla="*/ 16717 h 192245"/>
                <a:gd name="connsiteX4" fmla="*/ 174886 w 349786"/>
                <a:gd name="connsiteY4" fmla="*/ 158169 h 192245"/>
                <a:gd name="connsiteX5" fmla="*/ 316337 w 349786"/>
                <a:gd name="connsiteY5" fmla="*/ 16717 h 192245"/>
                <a:gd name="connsiteX6" fmla="*/ 333054 w 349786"/>
                <a:gd name="connsiteY6" fmla="*/ 0 h 192245"/>
                <a:gd name="connsiteX7" fmla="*/ 349771 w 349786"/>
                <a:gd name="connsiteY7" fmla="*/ 16717 h 192245"/>
                <a:gd name="connsiteX8" fmla="*/ 175529 w 349786"/>
                <a:gd name="connsiteY8" fmla="*/ 192246 h 192245"/>
                <a:gd name="connsiteX9" fmla="*/ 175529 w 349786"/>
                <a:gd name="connsiteY9" fmla="*/ 192246 h 192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49786" h="192245">
                  <a:moveTo>
                    <a:pt x="175529" y="192246"/>
                  </a:moveTo>
                  <a:cubicBezTo>
                    <a:pt x="79085" y="192246"/>
                    <a:pt x="0" y="113804"/>
                    <a:pt x="0" y="16717"/>
                  </a:cubicBezTo>
                  <a:cubicBezTo>
                    <a:pt x="0" y="7073"/>
                    <a:pt x="7716" y="0"/>
                    <a:pt x="16718" y="0"/>
                  </a:cubicBezTo>
                  <a:cubicBezTo>
                    <a:pt x="26362" y="0"/>
                    <a:pt x="33434" y="7716"/>
                    <a:pt x="33434" y="16717"/>
                  </a:cubicBezTo>
                  <a:cubicBezTo>
                    <a:pt x="33434" y="94515"/>
                    <a:pt x="97088" y="158169"/>
                    <a:pt x="174886" y="158169"/>
                  </a:cubicBezTo>
                  <a:cubicBezTo>
                    <a:pt x="252684" y="158169"/>
                    <a:pt x="316337" y="94515"/>
                    <a:pt x="316337" y="16717"/>
                  </a:cubicBezTo>
                  <a:cubicBezTo>
                    <a:pt x="316337" y="7073"/>
                    <a:pt x="324053" y="0"/>
                    <a:pt x="333054" y="0"/>
                  </a:cubicBezTo>
                  <a:cubicBezTo>
                    <a:pt x="342699" y="0"/>
                    <a:pt x="349771" y="7716"/>
                    <a:pt x="349771" y="16717"/>
                  </a:cubicBezTo>
                  <a:cubicBezTo>
                    <a:pt x="351058" y="113804"/>
                    <a:pt x="271973" y="192246"/>
                    <a:pt x="175529" y="192246"/>
                  </a:cubicBezTo>
                  <a:lnTo>
                    <a:pt x="175529" y="192246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52" name="Forma Livre: Forma 251">
              <a:extLst>
                <a:ext uri="{FF2B5EF4-FFF2-40B4-BE49-F238E27FC236}">
                  <a16:creationId xmlns:a16="http://schemas.microsoft.com/office/drawing/2014/main" id="{DBB7666C-D503-4D58-A299-15A4025BFF8F}"/>
                </a:ext>
              </a:extLst>
            </p:cNvPr>
            <p:cNvSpPr/>
            <p:nvPr/>
          </p:nvSpPr>
          <p:spPr>
            <a:xfrm>
              <a:off x="9702370" y="5830697"/>
              <a:ext cx="33433" cy="343341"/>
            </a:xfrm>
            <a:custGeom>
              <a:avLst/>
              <a:gdLst>
                <a:gd name="connsiteX0" fmla="*/ 16717 w 33433"/>
                <a:gd name="connsiteY0" fmla="*/ 343342 h 343341"/>
                <a:gd name="connsiteX1" fmla="*/ 0 w 33433"/>
                <a:gd name="connsiteY1" fmla="*/ 326625 h 343341"/>
                <a:gd name="connsiteX2" fmla="*/ 0 w 33433"/>
                <a:gd name="connsiteY2" fmla="*/ 16717 h 343341"/>
                <a:gd name="connsiteX3" fmla="*/ 16717 w 33433"/>
                <a:gd name="connsiteY3" fmla="*/ 0 h 343341"/>
                <a:gd name="connsiteX4" fmla="*/ 33434 w 33433"/>
                <a:gd name="connsiteY4" fmla="*/ 16717 h 343341"/>
                <a:gd name="connsiteX5" fmla="*/ 33434 w 33433"/>
                <a:gd name="connsiteY5" fmla="*/ 326625 h 343341"/>
                <a:gd name="connsiteX6" fmla="*/ 16717 w 33433"/>
                <a:gd name="connsiteY6" fmla="*/ 343342 h 343341"/>
                <a:gd name="connsiteX7" fmla="*/ 16717 w 33433"/>
                <a:gd name="connsiteY7" fmla="*/ 343342 h 343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433" h="343341">
                  <a:moveTo>
                    <a:pt x="16717" y="343342"/>
                  </a:moveTo>
                  <a:cubicBezTo>
                    <a:pt x="7072" y="343342"/>
                    <a:pt x="0" y="335626"/>
                    <a:pt x="0" y="326625"/>
                  </a:cubicBezTo>
                  <a:lnTo>
                    <a:pt x="0" y="16717"/>
                  </a:lnTo>
                  <a:cubicBezTo>
                    <a:pt x="0" y="7073"/>
                    <a:pt x="7715" y="0"/>
                    <a:pt x="16717" y="0"/>
                  </a:cubicBezTo>
                  <a:cubicBezTo>
                    <a:pt x="25718" y="0"/>
                    <a:pt x="33434" y="7716"/>
                    <a:pt x="33434" y="16717"/>
                  </a:cubicBezTo>
                  <a:lnTo>
                    <a:pt x="33434" y="326625"/>
                  </a:lnTo>
                  <a:cubicBezTo>
                    <a:pt x="33434" y="335626"/>
                    <a:pt x="25718" y="343342"/>
                    <a:pt x="16717" y="343342"/>
                  </a:cubicBezTo>
                  <a:lnTo>
                    <a:pt x="16717" y="343342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53" name="Forma Livre: Forma 252">
              <a:extLst>
                <a:ext uri="{FF2B5EF4-FFF2-40B4-BE49-F238E27FC236}">
                  <a16:creationId xmlns:a16="http://schemas.microsoft.com/office/drawing/2014/main" id="{5B14F923-3C59-4AFB-85C2-EAFA57C2558B}"/>
                </a:ext>
              </a:extLst>
            </p:cNvPr>
            <p:cNvSpPr/>
            <p:nvPr/>
          </p:nvSpPr>
          <p:spPr>
            <a:xfrm>
              <a:off x="9668936" y="5761900"/>
              <a:ext cx="100302" cy="100301"/>
            </a:xfrm>
            <a:custGeom>
              <a:avLst/>
              <a:gdLst>
                <a:gd name="connsiteX0" fmla="*/ 50151 w 100302"/>
                <a:gd name="connsiteY0" fmla="*/ 100302 h 100301"/>
                <a:gd name="connsiteX1" fmla="*/ 0 w 100302"/>
                <a:gd name="connsiteY1" fmla="*/ 50151 h 100301"/>
                <a:gd name="connsiteX2" fmla="*/ 50151 w 100302"/>
                <a:gd name="connsiteY2" fmla="*/ 0 h 100301"/>
                <a:gd name="connsiteX3" fmla="*/ 100303 w 100302"/>
                <a:gd name="connsiteY3" fmla="*/ 50151 h 100301"/>
                <a:gd name="connsiteX4" fmla="*/ 50151 w 100302"/>
                <a:gd name="connsiteY4" fmla="*/ 100302 h 100301"/>
                <a:gd name="connsiteX5" fmla="*/ 50151 w 100302"/>
                <a:gd name="connsiteY5" fmla="*/ 100302 h 100301"/>
                <a:gd name="connsiteX6" fmla="*/ 50151 w 100302"/>
                <a:gd name="connsiteY6" fmla="*/ 34077 h 100301"/>
                <a:gd name="connsiteX7" fmla="*/ 34077 w 100302"/>
                <a:gd name="connsiteY7" fmla="*/ 50151 h 100301"/>
                <a:gd name="connsiteX8" fmla="*/ 50151 w 100302"/>
                <a:gd name="connsiteY8" fmla="*/ 66225 h 100301"/>
                <a:gd name="connsiteX9" fmla="*/ 66225 w 100302"/>
                <a:gd name="connsiteY9" fmla="*/ 50151 h 100301"/>
                <a:gd name="connsiteX10" fmla="*/ 50151 w 100302"/>
                <a:gd name="connsiteY10" fmla="*/ 34077 h 100301"/>
                <a:gd name="connsiteX11" fmla="*/ 50151 w 100302"/>
                <a:gd name="connsiteY11" fmla="*/ 34077 h 100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0302" h="100301">
                  <a:moveTo>
                    <a:pt x="50151" y="100302"/>
                  </a:moveTo>
                  <a:cubicBezTo>
                    <a:pt x="22504" y="100302"/>
                    <a:pt x="0" y="77798"/>
                    <a:pt x="0" y="50151"/>
                  </a:cubicBezTo>
                  <a:cubicBezTo>
                    <a:pt x="0" y="22504"/>
                    <a:pt x="22504" y="0"/>
                    <a:pt x="50151" y="0"/>
                  </a:cubicBezTo>
                  <a:cubicBezTo>
                    <a:pt x="77799" y="0"/>
                    <a:pt x="100303" y="22504"/>
                    <a:pt x="100303" y="50151"/>
                  </a:cubicBezTo>
                  <a:cubicBezTo>
                    <a:pt x="99659" y="77798"/>
                    <a:pt x="77155" y="100302"/>
                    <a:pt x="50151" y="100302"/>
                  </a:cubicBezTo>
                  <a:lnTo>
                    <a:pt x="50151" y="100302"/>
                  </a:lnTo>
                  <a:close/>
                  <a:moveTo>
                    <a:pt x="50151" y="34077"/>
                  </a:moveTo>
                  <a:cubicBezTo>
                    <a:pt x="41150" y="34077"/>
                    <a:pt x="34077" y="41149"/>
                    <a:pt x="34077" y="50151"/>
                  </a:cubicBezTo>
                  <a:cubicBezTo>
                    <a:pt x="34077" y="59152"/>
                    <a:pt x="41150" y="66225"/>
                    <a:pt x="50151" y="66225"/>
                  </a:cubicBezTo>
                  <a:cubicBezTo>
                    <a:pt x="59153" y="66225"/>
                    <a:pt x="66225" y="59152"/>
                    <a:pt x="66225" y="50151"/>
                  </a:cubicBezTo>
                  <a:cubicBezTo>
                    <a:pt x="65583" y="41792"/>
                    <a:pt x="58510" y="34077"/>
                    <a:pt x="50151" y="34077"/>
                  </a:cubicBezTo>
                  <a:lnTo>
                    <a:pt x="50151" y="34077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54" name="Forma Livre: Forma 253">
              <a:extLst>
                <a:ext uri="{FF2B5EF4-FFF2-40B4-BE49-F238E27FC236}">
                  <a16:creationId xmlns:a16="http://schemas.microsoft.com/office/drawing/2014/main" id="{6585A611-968F-43B3-8A5A-EBB8AD9F8C0F}"/>
                </a:ext>
              </a:extLst>
            </p:cNvPr>
            <p:cNvSpPr/>
            <p:nvPr/>
          </p:nvSpPr>
          <p:spPr>
            <a:xfrm>
              <a:off x="9640646" y="5902708"/>
              <a:ext cx="156276" cy="33434"/>
            </a:xfrm>
            <a:custGeom>
              <a:avLst/>
              <a:gdLst>
                <a:gd name="connsiteX0" fmla="*/ 139522 w 156276"/>
                <a:gd name="connsiteY0" fmla="*/ 33434 h 33434"/>
                <a:gd name="connsiteX1" fmla="*/ 16717 w 156276"/>
                <a:gd name="connsiteY1" fmla="*/ 33434 h 33434"/>
                <a:gd name="connsiteX2" fmla="*/ 0 w 156276"/>
                <a:gd name="connsiteY2" fmla="*/ 16717 h 33434"/>
                <a:gd name="connsiteX3" fmla="*/ 16717 w 156276"/>
                <a:gd name="connsiteY3" fmla="*/ 0 h 33434"/>
                <a:gd name="connsiteX4" fmla="*/ 139522 w 156276"/>
                <a:gd name="connsiteY4" fmla="*/ 0 h 33434"/>
                <a:gd name="connsiteX5" fmla="*/ 156239 w 156276"/>
                <a:gd name="connsiteY5" fmla="*/ 16717 h 33434"/>
                <a:gd name="connsiteX6" fmla="*/ 139522 w 156276"/>
                <a:gd name="connsiteY6" fmla="*/ 33434 h 33434"/>
                <a:gd name="connsiteX7" fmla="*/ 139522 w 156276"/>
                <a:gd name="connsiteY7" fmla="*/ 33434 h 33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6276" h="33434">
                  <a:moveTo>
                    <a:pt x="139522" y="33434"/>
                  </a:moveTo>
                  <a:lnTo>
                    <a:pt x="16717" y="33434"/>
                  </a:lnTo>
                  <a:cubicBezTo>
                    <a:pt x="7072" y="33434"/>
                    <a:pt x="0" y="25718"/>
                    <a:pt x="0" y="16717"/>
                  </a:cubicBezTo>
                  <a:cubicBezTo>
                    <a:pt x="0" y="7073"/>
                    <a:pt x="7715" y="0"/>
                    <a:pt x="16717" y="0"/>
                  </a:cubicBezTo>
                  <a:lnTo>
                    <a:pt x="139522" y="0"/>
                  </a:lnTo>
                  <a:cubicBezTo>
                    <a:pt x="149167" y="0"/>
                    <a:pt x="156239" y="7716"/>
                    <a:pt x="156239" y="16717"/>
                  </a:cubicBezTo>
                  <a:cubicBezTo>
                    <a:pt x="156882" y="25718"/>
                    <a:pt x="149167" y="33434"/>
                    <a:pt x="139522" y="33434"/>
                  </a:cubicBezTo>
                  <a:lnTo>
                    <a:pt x="139522" y="33434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55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1236142" y="2587813"/>
            <a:ext cx="469674" cy="383795"/>
            <a:chOff x="1167304" y="2625952"/>
            <a:chExt cx="476308" cy="389216"/>
          </a:xfrm>
          <a:solidFill>
            <a:srgbClr val="B1B1A1"/>
          </a:solidFill>
        </p:grpSpPr>
        <p:sp>
          <p:nvSpPr>
            <p:cNvPr id="256" name="Forma Livre: Forma 255">
              <a:extLst>
                <a:ext uri="{FF2B5EF4-FFF2-40B4-BE49-F238E27FC236}">
                  <a16:creationId xmlns:a16="http://schemas.microsoft.com/office/drawing/2014/main" id="{99BB06FF-AE2B-449A-A690-320857D4C2BF}"/>
                </a:ext>
              </a:extLst>
            </p:cNvPr>
            <p:cNvSpPr/>
            <p:nvPr/>
          </p:nvSpPr>
          <p:spPr>
            <a:xfrm>
              <a:off x="1169509" y="2634510"/>
              <a:ext cx="232993" cy="136975"/>
            </a:xfrm>
            <a:custGeom>
              <a:avLst/>
              <a:gdLst>
                <a:gd name="connsiteX0" fmla="*/ 68917 w 232993"/>
                <a:gd name="connsiteY0" fmla="*/ 136976 h 136975"/>
                <a:gd name="connsiteX1" fmla="*/ 57987 w 232993"/>
                <a:gd name="connsiteY1" fmla="*/ 133118 h 136975"/>
                <a:gd name="connsiteX2" fmla="*/ 5907 w 232993"/>
                <a:gd name="connsiteY2" fmla="*/ 88753 h 136975"/>
                <a:gd name="connsiteX3" fmla="*/ 121 w 232993"/>
                <a:gd name="connsiteY3" fmla="*/ 73322 h 136975"/>
                <a:gd name="connsiteX4" fmla="*/ 10408 w 232993"/>
                <a:gd name="connsiteY4" fmla="*/ 60463 h 136975"/>
                <a:gd name="connsiteX5" fmla="*/ 157646 w 232993"/>
                <a:gd name="connsiteY5" fmla="*/ 1311 h 136975"/>
                <a:gd name="connsiteX6" fmla="*/ 175006 w 232993"/>
                <a:gd name="connsiteY6" fmla="*/ 4526 h 136975"/>
                <a:gd name="connsiteX7" fmla="*/ 227086 w 232993"/>
                <a:gd name="connsiteY7" fmla="*/ 48890 h 136975"/>
                <a:gd name="connsiteX8" fmla="*/ 232873 w 232993"/>
                <a:gd name="connsiteY8" fmla="*/ 64321 h 136975"/>
                <a:gd name="connsiteX9" fmla="*/ 222585 w 232993"/>
                <a:gd name="connsiteY9" fmla="*/ 77180 h 136975"/>
                <a:gd name="connsiteX10" fmla="*/ 75347 w 232993"/>
                <a:gd name="connsiteY10" fmla="*/ 135690 h 136975"/>
                <a:gd name="connsiteX11" fmla="*/ 68917 w 232993"/>
                <a:gd name="connsiteY11" fmla="*/ 136976 h 136975"/>
                <a:gd name="connsiteX12" fmla="*/ 68917 w 232993"/>
                <a:gd name="connsiteY12" fmla="*/ 136976 h 136975"/>
                <a:gd name="connsiteX13" fmla="*/ 49629 w 232993"/>
                <a:gd name="connsiteY13" fmla="*/ 80395 h 136975"/>
                <a:gd name="connsiteX14" fmla="*/ 72132 w 232993"/>
                <a:gd name="connsiteY14" fmla="*/ 100327 h 136975"/>
                <a:gd name="connsiteX15" fmla="*/ 184008 w 232993"/>
                <a:gd name="connsiteY15" fmla="*/ 55320 h 136975"/>
                <a:gd name="connsiteX16" fmla="*/ 161504 w 232993"/>
                <a:gd name="connsiteY16" fmla="*/ 35388 h 136975"/>
                <a:gd name="connsiteX17" fmla="*/ 49629 w 232993"/>
                <a:gd name="connsiteY17" fmla="*/ 80395 h 136975"/>
                <a:gd name="connsiteX18" fmla="*/ 49629 w 232993"/>
                <a:gd name="connsiteY18" fmla="*/ 80395 h 136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32993" h="136975">
                  <a:moveTo>
                    <a:pt x="68917" y="136976"/>
                  </a:moveTo>
                  <a:cubicBezTo>
                    <a:pt x="65060" y="136976"/>
                    <a:pt x="61202" y="135690"/>
                    <a:pt x="57987" y="133118"/>
                  </a:cubicBezTo>
                  <a:lnTo>
                    <a:pt x="5907" y="88753"/>
                  </a:lnTo>
                  <a:cubicBezTo>
                    <a:pt x="1406" y="84896"/>
                    <a:pt x="-522" y="79109"/>
                    <a:pt x="121" y="73322"/>
                  </a:cubicBezTo>
                  <a:cubicBezTo>
                    <a:pt x="1406" y="67536"/>
                    <a:pt x="5264" y="62392"/>
                    <a:pt x="10408" y="60463"/>
                  </a:cubicBezTo>
                  <a:lnTo>
                    <a:pt x="157646" y="1311"/>
                  </a:lnTo>
                  <a:cubicBezTo>
                    <a:pt x="163433" y="-1261"/>
                    <a:pt x="170505" y="25"/>
                    <a:pt x="175006" y="4526"/>
                  </a:cubicBezTo>
                  <a:lnTo>
                    <a:pt x="227086" y="48890"/>
                  </a:lnTo>
                  <a:cubicBezTo>
                    <a:pt x="231587" y="52748"/>
                    <a:pt x="233516" y="58534"/>
                    <a:pt x="232873" y="64321"/>
                  </a:cubicBezTo>
                  <a:cubicBezTo>
                    <a:pt x="231587" y="70108"/>
                    <a:pt x="227729" y="75251"/>
                    <a:pt x="222585" y="77180"/>
                  </a:cubicBezTo>
                  <a:lnTo>
                    <a:pt x="75347" y="135690"/>
                  </a:lnTo>
                  <a:cubicBezTo>
                    <a:pt x="73418" y="136333"/>
                    <a:pt x="71489" y="136976"/>
                    <a:pt x="68917" y="136976"/>
                  </a:cubicBezTo>
                  <a:lnTo>
                    <a:pt x="68917" y="136976"/>
                  </a:lnTo>
                  <a:close/>
                  <a:moveTo>
                    <a:pt x="49629" y="80395"/>
                  </a:moveTo>
                  <a:lnTo>
                    <a:pt x="72132" y="100327"/>
                  </a:lnTo>
                  <a:lnTo>
                    <a:pt x="184008" y="55320"/>
                  </a:lnTo>
                  <a:lnTo>
                    <a:pt x="161504" y="35388"/>
                  </a:lnTo>
                  <a:lnTo>
                    <a:pt x="49629" y="80395"/>
                  </a:lnTo>
                  <a:lnTo>
                    <a:pt x="49629" y="80395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57" name="Forma Livre: Forma 256">
              <a:extLst>
                <a:ext uri="{FF2B5EF4-FFF2-40B4-BE49-F238E27FC236}">
                  <a16:creationId xmlns:a16="http://schemas.microsoft.com/office/drawing/2014/main" id="{9B02F4F4-50D5-42AF-9650-73A4A72279AD}"/>
                </a:ext>
              </a:extLst>
            </p:cNvPr>
            <p:cNvSpPr/>
            <p:nvPr/>
          </p:nvSpPr>
          <p:spPr>
            <a:xfrm>
              <a:off x="1365733" y="2815207"/>
              <a:ext cx="209605" cy="199961"/>
            </a:xfrm>
            <a:custGeom>
              <a:avLst/>
              <a:gdLst>
                <a:gd name="connsiteX0" fmla="*/ 17360 w 209605"/>
                <a:gd name="connsiteY0" fmla="*/ 199961 h 199961"/>
                <a:gd name="connsiteX1" fmla="*/ 7073 w 209605"/>
                <a:gd name="connsiteY1" fmla="*/ 196746 h 199961"/>
                <a:gd name="connsiteX2" fmla="*/ 0 w 209605"/>
                <a:gd name="connsiteY2" fmla="*/ 183244 h 199961"/>
                <a:gd name="connsiteX3" fmla="*/ 0 w 209605"/>
                <a:gd name="connsiteY3" fmla="*/ 16717 h 199961"/>
                <a:gd name="connsiteX4" fmla="*/ 16717 w 209605"/>
                <a:gd name="connsiteY4" fmla="*/ 0 h 199961"/>
                <a:gd name="connsiteX5" fmla="*/ 33434 w 209605"/>
                <a:gd name="connsiteY5" fmla="*/ 16717 h 199961"/>
                <a:gd name="connsiteX6" fmla="*/ 33434 w 209605"/>
                <a:gd name="connsiteY6" fmla="*/ 160097 h 199961"/>
                <a:gd name="connsiteX7" fmla="*/ 176171 w 209605"/>
                <a:gd name="connsiteY7" fmla="*/ 115090 h 199961"/>
                <a:gd name="connsiteX8" fmla="*/ 176171 w 209605"/>
                <a:gd name="connsiteY8" fmla="*/ 39221 h 199961"/>
                <a:gd name="connsiteX9" fmla="*/ 192888 w 209605"/>
                <a:gd name="connsiteY9" fmla="*/ 22504 h 199961"/>
                <a:gd name="connsiteX10" fmla="*/ 209605 w 209605"/>
                <a:gd name="connsiteY10" fmla="*/ 39221 h 199961"/>
                <a:gd name="connsiteX11" fmla="*/ 209605 w 209605"/>
                <a:gd name="connsiteY11" fmla="*/ 127306 h 199961"/>
                <a:gd name="connsiteX12" fmla="*/ 198032 w 209605"/>
                <a:gd name="connsiteY12" fmla="*/ 143380 h 199961"/>
                <a:gd name="connsiteX13" fmla="*/ 21218 w 209605"/>
                <a:gd name="connsiteY13" fmla="*/ 199318 h 199961"/>
                <a:gd name="connsiteX14" fmla="*/ 17360 w 209605"/>
                <a:gd name="connsiteY14" fmla="*/ 199961 h 199961"/>
                <a:gd name="connsiteX15" fmla="*/ 17360 w 209605"/>
                <a:gd name="connsiteY15" fmla="*/ 199961 h 199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9605" h="199961">
                  <a:moveTo>
                    <a:pt x="17360" y="199961"/>
                  </a:moveTo>
                  <a:cubicBezTo>
                    <a:pt x="13502" y="199961"/>
                    <a:pt x="10287" y="198675"/>
                    <a:pt x="7073" y="196746"/>
                  </a:cubicBezTo>
                  <a:cubicBezTo>
                    <a:pt x="2572" y="193531"/>
                    <a:pt x="0" y="188388"/>
                    <a:pt x="0" y="183244"/>
                  </a:cubicBezTo>
                  <a:lnTo>
                    <a:pt x="0" y="16717"/>
                  </a:lnTo>
                  <a:cubicBezTo>
                    <a:pt x="0" y="7073"/>
                    <a:pt x="7716" y="0"/>
                    <a:pt x="16717" y="0"/>
                  </a:cubicBezTo>
                  <a:cubicBezTo>
                    <a:pt x="25718" y="0"/>
                    <a:pt x="33434" y="7715"/>
                    <a:pt x="33434" y="16717"/>
                  </a:cubicBezTo>
                  <a:lnTo>
                    <a:pt x="33434" y="160097"/>
                  </a:lnTo>
                  <a:lnTo>
                    <a:pt x="176171" y="115090"/>
                  </a:lnTo>
                  <a:lnTo>
                    <a:pt x="176171" y="39221"/>
                  </a:lnTo>
                  <a:cubicBezTo>
                    <a:pt x="176171" y="29576"/>
                    <a:pt x="183887" y="22504"/>
                    <a:pt x="192888" y="22504"/>
                  </a:cubicBezTo>
                  <a:cubicBezTo>
                    <a:pt x="202533" y="22504"/>
                    <a:pt x="209605" y="30219"/>
                    <a:pt x="209605" y="39221"/>
                  </a:cubicBezTo>
                  <a:lnTo>
                    <a:pt x="209605" y="127306"/>
                  </a:lnTo>
                  <a:cubicBezTo>
                    <a:pt x="209605" y="135022"/>
                    <a:pt x="205105" y="141452"/>
                    <a:pt x="198032" y="143380"/>
                  </a:cubicBezTo>
                  <a:lnTo>
                    <a:pt x="21218" y="199318"/>
                  </a:lnTo>
                  <a:cubicBezTo>
                    <a:pt x="20575" y="199961"/>
                    <a:pt x="19289" y="199961"/>
                    <a:pt x="17360" y="199961"/>
                  </a:cubicBezTo>
                  <a:lnTo>
                    <a:pt x="17360" y="199961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58" name="Forma Livre: Forma 257">
              <a:extLst>
                <a:ext uri="{FF2B5EF4-FFF2-40B4-BE49-F238E27FC236}">
                  <a16:creationId xmlns:a16="http://schemas.microsoft.com/office/drawing/2014/main" id="{5D373B60-A7AB-436B-A02B-0E303BE79084}"/>
                </a:ext>
              </a:extLst>
            </p:cNvPr>
            <p:cNvSpPr/>
            <p:nvPr/>
          </p:nvSpPr>
          <p:spPr>
            <a:xfrm>
              <a:off x="1410619" y="2751529"/>
              <a:ext cx="232993" cy="136975"/>
            </a:xfrm>
            <a:custGeom>
              <a:avLst/>
              <a:gdLst>
                <a:gd name="connsiteX0" fmla="*/ 68917 w 232993"/>
                <a:gd name="connsiteY0" fmla="*/ 136976 h 136975"/>
                <a:gd name="connsiteX1" fmla="*/ 57987 w 232993"/>
                <a:gd name="connsiteY1" fmla="*/ 133118 h 136975"/>
                <a:gd name="connsiteX2" fmla="*/ 5907 w 232993"/>
                <a:gd name="connsiteY2" fmla="*/ 88754 h 136975"/>
                <a:gd name="connsiteX3" fmla="*/ 121 w 232993"/>
                <a:gd name="connsiteY3" fmla="*/ 73323 h 136975"/>
                <a:gd name="connsiteX4" fmla="*/ 10408 w 232993"/>
                <a:gd name="connsiteY4" fmla="*/ 60463 h 136975"/>
                <a:gd name="connsiteX5" fmla="*/ 157646 w 232993"/>
                <a:gd name="connsiteY5" fmla="*/ 1311 h 136975"/>
                <a:gd name="connsiteX6" fmla="*/ 175006 w 232993"/>
                <a:gd name="connsiteY6" fmla="*/ 4526 h 136975"/>
                <a:gd name="connsiteX7" fmla="*/ 227086 w 232993"/>
                <a:gd name="connsiteY7" fmla="*/ 48890 h 136975"/>
                <a:gd name="connsiteX8" fmla="*/ 232873 w 232993"/>
                <a:gd name="connsiteY8" fmla="*/ 64321 h 136975"/>
                <a:gd name="connsiteX9" fmla="*/ 222585 w 232993"/>
                <a:gd name="connsiteY9" fmla="*/ 77180 h 136975"/>
                <a:gd name="connsiteX10" fmla="*/ 75347 w 232993"/>
                <a:gd name="connsiteY10" fmla="*/ 136333 h 136975"/>
                <a:gd name="connsiteX11" fmla="*/ 68917 w 232993"/>
                <a:gd name="connsiteY11" fmla="*/ 136976 h 136975"/>
                <a:gd name="connsiteX12" fmla="*/ 68917 w 232993"/>
                <a:gd name="connsiteY12" fmla="*/ 136976 h 136975"/>
                <a:gd name="connsiteX13" fmla="*/ 49629 w 232993"/>
                <a:gd name="connsiteY13" fmla="*/ 81038 h 136975"/>
                <a:gd name="connsiteX14" fmla="*/ 72132 w 232993"/>
                <a:gd name="connsiteY14" fmla="*/ 100970 h 136975"/>
                <a:gd name="connsiteX15" fmla="*/ 184008 w 232993"/>
                <a:gd name="connsiteY15" fmla="*/ 55962 h 136975"/>
                <a:gd name="connsiteX16" fmla="*/ 160861 w 232993"/>
                <a:gd name="connsiteY16" fmla="*/ 36031 h 136975"/>
                <a:gd name="connsiteX17" fmla="*/ 49629 w 232993"/>
                <a:gd name="connsiteY17" fmla="*/ 81038 h 136975"/>
                <a:gd name="connsiteX18" fmla="*/ 49629 w 232993"/>
                <a:gd name="connsiteY18" fmla="*/ 81038 h 136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32993" h="136975">
                  <a:moveTo>
                    <a:pt x="68917" y="136976"/>
                  </a:moveTo>
                  <a:cubicBezTo>
                    <a:pt x="65060" y="136976"/>
                    <a:pt x="61202" y="135690"/>
                    <a:pt x="57987" y="133118"/>
                  </a:cubicBezTo>
                  <a:lnTo>
                    <a:pt x="5907" y="88754"/>
                  </a:lnTo>
                  <a:cubicBezTo>
                    <a:pt x="1406" y="84896"/>
                    <a:pt x="-522" y="79109"/>
                    <a:pt x="121" y="73323"/>
                  </a:cubicBezTo>
                  <a:cubicBezTo>
                    <a:pt x="1406" y="67536"/>
                    <a:pt x="5264" y="62392"/>
                    <a:pt x="10408" y="60463"/>
                  </a:cubicBezTo>
                  <a:lnTo>
                    <a:pt x="157646" y="1311"/>
                  </a:lnTo>
                  <a:cubicBezTo>
                    <a:pt x="163433" y="-1261"/>
                    <a:pt x="170505" y="25"/>
                    <a:pt x="175006" y="4526"/>
                  </a:cubicBezTo>
                  <a:lnTo>
                    <a:pt x="227086" y="48890"/>
                  </a:lnTo>
                  <a:cubicBezTo>
                    <a:pt x="231587" y="52748"/>
                    <a:pt x="233516" y="58534"/>
                    <a:pt x="232873" y="64321"/>
                  </a:cubicBezTo>
                  <a:cubicBezTo>
                    <a:pt x="231587" y="70108"/>
                    <a:pt x="227729" y="75251"/>
                    <a:pt x="222585" y="77180"/>
                  </a:cubicBezTo>
                  <a:lnTo>
                    <a:pt x="75347" y="136333"/>
                  </a:lnTo>
                  <a:cubicBezTo>
                    <a:pt x="73418" y="136333"/>
                    <a:pt x="70846" y="136976"/>
                    <a:pt x="68917" y="136976"/>
                  </a:cubicBezTo>
                  <a:lnTo>
                    <a:pt x="68917" y="136976"/>
                  </a:lnTo>
                  <a:close/>
                  <a:moveTo>
                    <a:pt x="49629" y="81038"/>
                  </a:moveTo>
                  <a:lnTo>
                    <a:pt x="72132" y="100970"/>
                  </a:lnTo>
                  <a:lnTo>
                    <a:pt x="184008" y="55962"/>
                  </a:lnTo>
                  <a:lnTo>
                    <a:pt x="160861" y="36031"/>
                  </a:lnTo>
                  <a:lnTo>
                    <a:pt x="49629" y="81038"/>
                  </a:lnTo>
                  <a:lnTo>
                    <a:pt x="49629" y="81038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59" name="Forma Livre: Forma 258">
              <a:extLst>
                <a:ext uri="{FF2B5EF4-FFF2-40B4-BE49-F238E27FC236}">
                  <a16:creationId xmlns:a16="http://schemas.microsoft.com/office/drawing/2014/main" id="{75A09EAC-1EB2-448D-8623-9532AD006480}"/>
                </a:ext>
              </a:extLst>
            </p:cNvPr>
            <p:cNvSpPr/>
            <p:nvPr/>
          </p:nvSpPr>
          <p:spPr>
            <a:xfrm>
              <a:off x="1394912" y="2625952"/>
              <a:ext cx="232253" cy="142319"/>
            </a:xfrm>
            <a:custGeom>
              <a:avLst/>
              <a:gdLst>
                <a:gd name="connsiteX0" fmla="*/ 164995 w 232253"/>
                <a:gd name="connsiteY0" fmla="*/ 142319 h 142319"/>
                <a:gd name="connsiteX1" fmla="*/ 158565 w 232253"/>
                <a:gd name="connsiteY1" fmla="*/ 141034 h 142319"/>
                <a:gd name="connsiteX2" fmla="*/ 10684 w 232253"/>
                <a:gd name="connsiteY2" fmla="*/ 81881 h 142319"/>
                <a:gd name="connsiteX3" fmla="*/ 397 w 232253"/>
                <a:gd name="connsiteY3" fmla="*/ 69665 h 142319"/>
                <a:gd name="connsiteX4" fmla="*/ 4897 w 232253"/>
                <a:gd name="connsiteY4" fmla="*/ 54234 h 142319"/>
                <a:gd name="connsiteX5" fmla="*/ 55691 w 232253"/>
                <a:gd name="connsiteY5" fmla="*/ 4726 h 142319"/>
                <a:gd name="connsiteX6" fmla="*/ 73694 w 232253"/>
                <a:gd name="connsiteY6" fmla="*/ 868 h 142319"/>
                <a:gd name="connsiteX7" fmla="*/ 221575 w 232253"/>
                <a:gd name="connsiteY7" fmla="*/ 60020 h 142319"/>
                <a:gd name="connsiteX8" fmla="*/ 231863 w 232253"/>
                <a:gd name="connsiteY8" fmla="*/ 72237 h 142319"/>
                <a:gd name="connsiteX9" fmla="*/ 226719 w 232253"/>
                <a:gd name="connsiteY9" fmla="*/ 87668 h 142319"/>
                <a:gd name="connsiteX10" fmla="*/ 175925 w 232253"/>
                <a:gd name="connsiteY10" fmla="*/ 137176 h 142319"/>
                <a:gd name="connsiteX11" fmla="*/ 164995 w 232253"/>
                <a:gd name="connsiteY11" fmla="*/ 142319 h 142319"/>
                <a:gd name="connsiteX12" fmla="*/ 164995 w 232253"/>
                <a:gd name="connsiteY12" fmla="*/ 142319 h 142319"/>
                <a:gd name="connsiteX13" fmla="*/ 47976 w 232253"/>
                <a:gd name="connsiteY13" fmla="*/ 60020 h 142319"/>
                <a:gd name="connsiteX14" fmla="*/ 161137 w 232253"/>
                <a:gd name="connsiteY14" fmla="*/ 105028 h 142319"/>
                <a:gd name="connsiteX15" fmla="*/ 184927 w 232253"/>
                <a:gd name="connsiteY15" fmla="*/ 81881 h 142319"/>
                <a:gd name="connsiteX16" fmla="*/ 71765 w 232253"/>
                <a:gd name="connsiteY16" fmla="*/ 36874 h 142319"/>
                <a:gd name="connsiteX17" fmla="*/ 47976 w 232253"/>
                <a:gd name="connsiteY17" fmla="*/ 60020 h 142319"/>
                <a:gd name="connsiteX18" fmla="*/ 47976 w 232253"/>
                <a:gd name="connsiteY18" fmla="*/ 60020 h 142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32253" h="142319">
                  <a:moveTo>
                    <a:pt x="164995" y="142319"/>
                  </a:moveTo>
                  <a:cubicBezTo>
                    <a:pt x="163066" y="142319"/>
                    <a:pt x="160494" y="141677"/>
                    <a:pt x="158565" y="141034"/>
                  </a:cubicBezTo>
                  <a:lnTo>
                    <a:pt x="10684" y="81881"/>
                  </a:lnTo>
                  <a:cubicBezTo>
                    <a:pt x="5540" y="79952"/>
                    <a:pt x="1683" y="74809"/>
                    <a:pt x="397" y="69665"/>
                  </a:cubicBezTo>
                  <a:cubicBezTo>
                    <a:pt x="-889" y="63878"/>
                    <a:pt x="1040" y="58092"/>
                    <a:pt x="4897" y="54234"/>
                  </a:cubicBezTo>
                  <a:lnTo>
                    <a:pt x="55691" y="4726"/>
                  </a:lnTo>
                  <a:cubicBezTo>
                    <a:pt x="60192" y="225"/>
                    <a:pt x="67908" y="-1061"/>
                    <a:pt x="73694" y="868"/>
                  </a:cubicBezTo>
                  <a:lnTo>
                    <a:pt x="221575" y="60020"/>
                  </a:lnTo>
                  <a:cubicBezTo>
                    <a:pt x="226719" y="61949"/>
                    <a:pt x="230577" y="67093"/>
                    <a:pt x="231863" y="72237"/>
                  </a:cubicBezTo>
                  <a:cubicBezTo>
                    <a:pt x="233149" y="78023"/>
                    <a:pt x="231220" y="83810"/>
                    <a:pt x="226719" y="87668"/>
                  </a:cubicBezTo>
                  <a:lnTo>
                    <a:pt x="175925" y="137176"/>
                  </a:lnTo>
                  <a:cubicBezTo>
                    <a:pt x="173996" y="140391"/>
                    <a:pt x="169496" y="142319"/>
                    <a:pt x="164995" y="142319"/>
                  </a:cubicBezTo>
                  <a:lnTo>
                    <a:pt x="164995" y="142319"/>
                  </a:lnTo>
                  <a:close/>
                  <a:moveTo>
                    <a:pt x="47976" y="60020"/>
                  </a:moveTo>
                  <a:lnTo>
                    <a:pt x="161137" y="105028"/>
                  </a:lnTo>
                  <a:lnTo>
                    <a:pt x="184927" y="81881"/>
                  </a:lnTo>
                  <a:lnTo>
                    <a:pt x="71765" y="36874"/>
                  </a:lnTo>
                  <a:lnTo>
                    <a:pt x="47976" y="60020"/>
                  </a:lnTo>
                  <a:lnTo>
                    <a:pt x="47976" y="60020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60" name="Forma Livre: Forma 259">
              <a:extLst>
                <a:ext uri="{FF2B5EF4-FFF2-40B4-BE49-F238E27FC236}">
                  <a16:creationId xmlns:a16="http://schemas.microsoft.com/office/drawing/2014/main" id="{E727315F-3849-4262-9C97-F9F5CFADC0E8}"/>
                </a:ext>
              </a:extLst>
            </p:cNvPr>
            <p:cNvSpPr/>
            <p:nvPr/>
          </p:nvSpPr>
          <p:spPr>
            <a:xfrm>
              <a:off x="1227496" y="2844141"/>
              <a:ext cx="169945" cy="171027"/>
            </a:xfrm>
            <a:custGeom>
              <a:avLst/>
              <a:gdLst>
                <a:gd name="connsiteX0" fmla="*/ 153025 w 169945"/>
                <a:gd name="connsiteY0" fmla="*/ 171028 h 171027"/>
                <a:gd name="connsiteX1" fmla="*/ 146595 w 169945"/>
                <a:gd name="connsiteY1" fmla="*/ 169742 h 171027"/>
                <a:gd name="connsiteX2" fmla="*/ 10287 w 169945"/>
                <a:gd name="connsiteY2" fmla="*/ 113804 h 171027"/>
                <a:gd name="connsiteX3" fmla="*/ 0 w 169945"/>
                <a:gd name="connsiteY3" fmla="*/ 98373 h 171027"/>
                <a:gd name="connsiteX4" fmla="*/ 0 w 169945"/>
                <a:gd name="connsiteY4" fmla="*/ 16717 h 171027"/>
                <a:gd name="connsiteX5" fmla="*/ 16717 w 169945"/>
                <a:gd name="connsiteY5" fmla="*/ 0 h 171027"/>
                <a:gd name="connsiteX6" fmla="*/ 33434 w 169945"/>
                <a:gd name="connsiteY6" fmla="*/ 16717 h 171027"/>
                <a:gd name="connsiteX7" fmla="*/ 33434 w 169945"/>
                <a:gd name="connsiteY7" fmla="*/ 87443 h 171027"/>
                <a:gd name="connsiteX8" fmla="*/ 159454 w 169945"/>
                <a:gd name="connsiteY8" fmla="*/ 138880 h 171027"/>
                <a:gd name="connsiteX9" fmla="*/ 168456 w 169945"/>
                <a:gd name="connsiteY9" fmla="*/ 160740 h 171027"/>
                <a:gd name="connsiteX10" fmla="*/ 153025 w 169945"/>
                <a:gd name="connsiteY10" fmla="*/ 171028 h 171027"/>
                <a:gd name="connsiteX11" fmla="*/ 153025 w 169945"/>
                <a:gd name="connsiteY11" fmla="*/ 171028 h 171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9945" h="171027">
                  <a:moveTo>
                    <a:pt x="153025" y="171028"/>
                  </a:moveTo>
                  <a:cubicBezTo>
                    <a:pt x="151096" y="171028"/>
                    <a:pt x="148524" y="170385"/>
                    <a:pt x="146595" y="169742"/>
                  </a:cubicBezTo>
                  <a:lnTo>
                    <a:pt x="10287" y="113804"/>
                  </a:lnTo>
                  <a:cubicBezTo>
                    <a:pt x="3858" y="111232"/>
                    <a:pt x="0" y="104803"/>
                    <a:pt x="0" y="98373"/>
                  </a:cubicBezTo>
                  <a:lnTo>
                    <a:pt x="0" y="16717"/>
                  </a:lnTo>
                  <a:cubicBezTo>
                    <a:pt x="0" y="7073"/>
                    <a:pt x="7716" y="0"/>
                    <a:pt x="16717" y="0"/>
                  </a:cubicBezTo>
                  <a:cubicBezTo>
                    <a:pt x="26361" y="0"/>
                    <a:pt x="33434" y="7715"/>
                    <a:pt x="33434" y="16717"/>
                  </a:cubicBezTo>
                  <a:lnTo>
                    <a:pt x="33434" y="87443"/>
                  </a:lnTo>
                  <a:lnTo>
                    <a:pt x="159454" y="138880"/>
                  </a:lnTo>
                  <a:cubicBezTo>
                    <a:pt x="168456" y="142737"/>
                    <a:pt x="172314" y="152382"/>
                    <a:pt x="168456" y="160740"/>
                  </a:cubicBezTo>
                  <a:cubicBezTo>
                    <a:pt x="165884" y="167170"/>
                    <a:pt x="159454" y="171028"/>
                    <a:pt x="153025" y="171028"/>
                  </a:cubicBezTo>
                  <a:lnTo>
                    <a:pt x="153025" y="171028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61" name="Forma Livre: Forma 260">
              <a:extLst>
                <a:ext uri="{FF2B5EF4-FFF2-40B4-BE49-F238E27FC236}">
                  <a16:creationId xmlns:a16="http://schemas.microsoft.com/office/drawing/2014/main" id="{E1A47DD5-6DA1-469C-AFD7-16E43220736D}"/>
                </a:ext>
              </a:extLst>
            </p:cNvPr>
            <p:cNvSpPr/>
            <p:nvPr/>
          </p:nvSpPr>
          <p:spPr>
            <a:xfrm>
              <a:off x="1167304" y="2755830"/>
              <a:ext cx="232253" cy="142319"/>
            </a:xfrm>
            <a:custGeom>
              <a:avLst/>
              <a:gdLst>
                <a:gd name="connsiteX0" fmla="*/ 164995 w 232253"/>
                <a:gd name="connsiteY0" fmla="*/ 142319 h 142319"/>
                <a:gd name="connsiteX1" fmla="*/ 158565 w 232253"/>
                <a:gd name="connsiteY1" fmla="*/ 141033 h 142319"/>
                <a:gd name="connsiteX2" fmla="*/ 10684 w 232253"/>
                <a:gd name="connsiteY2" fmla="*/ 81881 h 142319"/>
                <a:gd name="connsiteX3" fmla="*/ 397 w 232253"/>
                <a:gd name="connsiteY3" fmla="*/ 69665 h 142319"/>
                <a:gd name="connsiteX4" fmla="*/ 4897 w 232253"/>
                <a:gd name="connsiteY4" fmla="*/ 54234 h 142319"/>
                <a:gd name="connsiteX5" fmla="*/ 55691 w 232253"/>
                <a:gd name="connsiteY5" fmla="*/ 4726 h 142319"/>
                <a:gd name="connsiteX6" fmla="*/ 73694 w 232253"/>
                <a:gd name="connsiteY6" fmla="*/ 868 h 142319"/>
                <a:gd name="connsiteX7" fmla="*/ 221575 w 232253"/>
                <a:gd name="connsiteY7" fmla="*/ 60021 h 142319"/>
                <a:gd name="connsiteX8" fmla="*/ 231863 w 232253"/>
                <a:gd name="connsiteY8" fmla="*/ 72237 h 142319"/>
                <a:gd name="connsiteX9" fmla="*/ 226719 w 232253"/>
                <a:gd name="connsiteY9" fmla="*/ 87668 h 142319"/>
                <a:gd name="connsiteX10" fmla="*/ 175925 w 232253"/>
                <a:gd name="connsiteY10" fmla="*/ 137176 h 142319"/>
                <a:gd name="connsiteX11" fmla="*/ 164995 w 232253"/>
                <a:gd name="connsiteY11" fmla="*/ 142319 h 142319"/>
                <a:gd name="connsiteX12" fmla="*/ 164995 w 232253"/>
                <a:gd name="connsiteY12" fmla="*/ 142319 h 142319"/>
                <a:gd name="connsiteX13" fmla="*/ 47976 w 232253"/>
                <a:gd name="connsiteY13" fmla="*/ 60663 h 142319"/>
                <a:gd name="connsiteX14" fmla="*/ 161137 w 232253"/>
                <a:gd name="connsiteY14" fmla="*/ 105671 h 142319"/>
                <a:gd name="connsiteX15" fmla="*/ 184927 w 232253"/>
                <a:gd name="connsiteY15" fmla="*/ 82524 h 142319"/>
                <a:gd name="connsiteX16" fmla="*/ 71765 w 232253"/>
                <a:gd name="connsiteY16" fmla="*/ 37517 h 142319"/>
                <a:gd name="connsiteX17" fmla="*/ 47976 w 232253"/>
                <a:gd name="connsiteY17" fmla="*/ 60663 h 142319"/>
                <a:gd name="connsiteX18" fmla="*/ 47976 w 232253"/>
                <a:gd name="connsiteY18" fmla="*/ 60663 h 142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32253" h="142319">
                  <a:moveTo>
                    <a:pt x="164995" y="142319"/>
                  </a:moveTo>
                  <a:cubicBezTo>
                    <a:pt x="163066" y="142319"/>
                    <a:pt x="160494" y="141676"/>
                    <a:pt x="158565" y="141033"/>
                  </a:cubicBezTo>
                  <a:lnTo>
                    <a:pt x="10684" y="81881"/>
                  </a:lnTo>
                  <a:cubicBezTo>
                    <a:pt x="5540" y="79952"/>
                    <a:pt x="1683" y="74809"/>
                    <a:pt x="397" y="69665"/>
                  </a:cubicBezTo>
                  <a:cubicBezTo>
                    <a:pt x="-889" y="63878"/>
                    <a:pt x="1040" y="58092"/>
                    <a:pt x="4897" y="54234"/>
                  </a:cubicBezTo>
                  <a:lnTo>
                    <a:pt x="55691" y="4726"/>
                  </a:lnTo>
                  <a:cubicBezTo>
                    <a:pt x="60192" y="225"/>
                    <a:pt x="67908" y="-1061"/>
                    <a:pt x="73694" y="868"/>
                  </a:cubicBezTo>
                  <a:lnTo>
                    <a:pt x="221575" y="60021"/>
                  </a:lnTo>
                  <a:cubicBezTo>
                    <a:pt x="226719" y="61949"/>
                    <a:pt x="230577" y="67093"/>
                    <a:pt x="231863" y="72237"/>
                  </a:cubicBezTo>
                  <a:cubicBezTo>
                    <a:pt x="233149" y="78023"/>
                    <a:pt x="231220" y="83810"/>
                    <a:pt x="226719" y="87668"/>
                  </a:cubicBezTo>
                  <a:lnTo>
                    <a:pt x="175925" y="137176"/>
                  </a:lnTo>
                  <a:cubicBezTo>
                    <a:pt x="173996" y="141033"/>
                    <a:pt x="169496" y="142319"/>
                    <a:pt x="164995" y="142319"/>
                  </a:cubicBezTo>
                  <a:lnTo>
                    <a:pt x="164995" y="142319"/>
                  </a:lnTo>
                  <a:close/>
                  <a:moveTo>
                    <a:pt x="47976" y="60663"/>
                  </a:moveTo>
                  <a:lnTo>
                    <a:pt x="161137" y="105671"/>
                  </a:lnTo>
                  <a:lnTo>
                    <a:pt x="184927" y="82524"/>
                  </a:lnTo>
                  <a:lnTo>
                    <a:pt x="71765" y="37517"/>
                  </a:lnTo>
                  <a:lnTo>
                    <a:pt x="47976" y="60663"/>
                  </a:lnTo>
                  <a:lnTo>
                    <a:pt x="47976" y="60663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62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2303988" y="2607530"/>
            <a:ext cx="375756" cy="344423"/>
            <a:chOff x="2250232" y="2645948"/>
            <a:chExt cx="381063" cy="349288"/>
          </a:xfrm>
          <a:solidFill>
            <a:srgbClr val="B1B1A1"/>
          </a:solidFill>
        </p:grpSpPr>
        <p:sp>
          <p:nvSpPr>
            <p:cNvPr id="263" name="Forma Livre: Forma 262">
              <a:extLst>
                <a:ext uri="{FF2B5EF4-FFF2-40B4-BE49-F238E27FC236}">
                  <a16:creationId xmlns:a16="http://schemas.microsoft.com/office/drawing/2014/main" id="{5840A043-7CA6-4248-829C-597243C5F0C3}"/>
                </a:ext>
              </a:extLst>
            </p:cNvPr>
            <p:cNvSpPr/>
            <p:nvPr/>
          </p:nvSpPr>
          <p:spPr>
            <a:xfrm>
              <a:off x="2250447" y="2645948"/>
              <a:ext cx="380633" cy="349288"/>
            </a:xfrm>
            <a:custGeom>
              <a:avLst/>
              <a:gdLst>
                <a:gd name="connsiteX0" fmla="*/ 190317 w 380633"/>
                <a:gd name="connsiteY0" fmla="*/ 349289 h 349288"/>
                <a:gd name="connsiteX1" fmla="*/ 183244 w 380633"/>
                <a:gd name="connsiteY1" fmla="*/ 348003 h 349288"/>
                <a:gd name="connsiteX2" fmla="*/ 9644 w 380633"/>
                <a:gd name="connsiteY2" fmla="*/ 268919 h 349288"/>
                <a:gd name="connsiteX3" fmla="*/ 0 w 380633"/>
                <a:gd name="connsiteY3" fmla="*/ 253488 h 349288"/>
                <a:gd name="connsiteX4" fmla="*/ 0 w 380633"/>
                <a:gd name="connsiteY4" fmla="*/ 95962 h 349288"/>
                <a:gd name="connsiteX5" fmla="*/ 9644 w 380633"/>
                <a:gd name="connsiteY5" fmla="*/ 80531 h 349288"/>
                <a:gd name="connsiteX6" fmla="*/ 183244 w 380633"/>
                <a:gd name="connsiteY6" fmla="*/ 1447 h 349288"/>
                <a:gd name="connsiteX7" fmla="*/ 197389 w 380633"/>
                <a:gd name="connsiteY7" fmla="*/ 1447 h 349288"/>
                <a:gd name="connsiteX8" fmla="*/ 370989 w 380633"/>
                <a:gd name="connsiteY8" fmla="*/ 80531 h 349288"/>
                <a:gd name="connsiteX9" fmla="*/ 380633 w 380633"/>
                <a:gd name="connsiteY9" fmla="*/ 95962 h 349288"/>
                <a:gd name="connsiteX10" fmla="*/ 380633 w 380633"/>
                <a:gd name="connsiteY10" fmla="*/ 253488 h 349288"/>
                <a:gd name="connsiteX11" fmla="*/ 370989 w 380633"/>
                <a:gd name="connsiteY11" fmla="*/ 268919 h 349288"/>
                <a:gd name="connsiteX12" fmla="*/ 197389 w 380633"/>
                <a:gd name="connsiteY12" fmla="*/ 348003 h 349288"/>
                <a:gd name="connsiteX13" fmla="*/ 190317 w 380633"/>
                <a:gd name="connsiteY13" fmla="*/ 349289 h 349288"/>
                <a:gd name="connsiteX14" fmla="*/ 190317 w 380633"/>
                <a:gd name="connsiteY14" fmla="*/ 349289 h 349288"/>
                <a:gd name="connsiteX15" fmla="*/ 34077 w 380633"/>
                <a:gd name="connsiteY15" fmla="*/ 242557 h 349288"/>
                <a:gd name="connsiteX16" fmla="*/ 190960 w 380633"/>
                <a:gd name="connsiteY16" fmla="*/ 313926 h 349288"/>
                <a:gd name="connsiteX17" fmla="*/ 347842 w 380633"/>
                <a:gd name="connsiteY17" fmla="*/ 242557 h 349288"/>
                <a:gd name="connsiteX18" fmla="*/ 347842 w 380633"/>
                <a:gd name="connsiteY18" fmla="*/ 106892 h 349288"/>
                <a:gd name="connsiteX19" fmla="*/ 190317 w 380633"/>
                <a:gd name="connsiteY19" fmla="*/ 35523 h 349288"/>
                <a:gd name="connsiteX20" fmla="*/ 33434 w 380633"/>
                <a:gd name="connsiteY20" fmla="*/ 106892 h 349288"/>
                <a:gd name="connsiteX21" fmla="*/ 33434 w 380633"/>
                <a:gd name="connsiteY21" fmla="*/ 242557 h 349288"/>
                <a:gd name="connsiteX22" fmla="*/ 34077 w 380633"/>
                <a:gd name="connsiteY22" fmla="*/ 242557 h 349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80633" h="349288">
                  <a:moveTo>
                    <a:pt x="190317" y="349289"/>
                  </a:moveTo>
                  <a:cubicBezTo>
                    <a:pt x="187745" y="349289"/>
                    <a:pt x="185816" y="348646"/>
                    <a:pt x="183244" y="348003"/>
                  </a:cubicBezTo>
                  <a:lnTo>
                    <a:pt x="9644" y="268919"/>
                  </a:lnTo>
                  <a:cubicBezTo>
                    <a:pt x="3858" y="266347"/>
                    <a:pt x="0" y="259917"/>
                    <a:pt x="0" y="253488"/>
                  </a:cubicBezTo>
                  <a:lnTo>
                    <a:pt x="0" y="95962"/>
                  </a:lnTo>
                  <a:cubicBezTo>
                    <a:pt x="0" y="89532"/>
                    <a:pt x="3858" y="83103"/>
                    <a:pt x="9644" y="80531"/>
                  </a:cubicBezTo>
                  <a:lnTo>
                    <a:pt x="183244" y="1447"/>
                  </a:lnTo>
                  <a:cubicBezTo>
                    <a:pt x="187745" y="-482"/>
                    <a:pt x="192888" y="-482"/>
                    <a:pt x="197389" y="1447"/>
                  </a:cubicBezTo>
                  <a:lnTo>
                    <a:pt x="370989" y="80531"/>
                  </a:lnTo>
                  <a:cubicBezTo>
                    <a:pt x="376775" y="83103"/>
                    <a:pt x="380633" y="89532"/>
                    <a:pt x="380633" y="95962"/>
                  </a:cubicBezTo>
                  <a:lnTo>
                    <a:pt x="380633" y="253488"/>
                  </a:lnTo>
                  <a:cubicBezTo>
                    <a:pt x="380633" y="259917"/>
                    <a:pt x="376775" y="266347"/>
                    <a:pt x="370989" y="268919"/>
                  </a:cubicBezTo>
                  <a:lnTo>
                    <a:pt x="197389" y="348003"/>
                  </a:lnTo>
                  <a:cubicBezTo>
                    <a:pt x="195460" y="348646"/>
                    <a:pt x="192888" y="349289"/>
                    <a:pt x="190317" y="349289"/>
                  </a:cubicBezTo>
                  <a:lnTo>
                    <a:pt x="190317" y="349289"/>
                  </a:lnTo>
                  <a:close/>
                  <a:moveTo>
                    <a:pt x="34077" y="242557"/>
                  </a:moveTo>
                  <a:lnTo>
                    <a:pt x="190960" y="313926"/>
                  </a:lnTo>
                  <a:lnTo>
                    <a:pt x="347842" y="242557"/>
                  </a:lnTo>
                  <a:lnTo>
                    <a:pt x="347842" y="106892"/>
                  </a:lnTo>
                  <a:lnTo>
                    <a:pt x="190317" y="35523"/>
                  </a:lnTo>
                  <a:lnTo>
                    <a:pt x="33434" y="106892"/>
                  </a:lnTo>
                  <a:lnTo>
                    <a:pt x="33434" y="242557"/>
                  </a:lnTo>
                  <a:lnTo>
                    <a:pt x="34077" y="242557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64" name="Forma Livre: Forma 263">
              <a:extLst>
                <a:ext uri="{FF2B5EF4-FFF2-40B4-BE49-F238E27FC236}">
                  <a16:creationId xmlns:a16="http://schemas.microsoft.com/office/drawing/2014/main" id="{BE769274-A5F4-48C9-89DE-0458A4D43C2F}"/>
                </a:ext>
              </a:extLst>
            </p:cNvPr>
            <p:cNvSpPr/>
            <p:nvPr/>
          </p:nvSpPr>
          <p:spPr>
            <a:xfrm>
              <a:off x="2250232" y="2728835"/>
              <a:ext cx="381063" cy="112733"/>
            </a:xfrm>
            <a:custGeom>
              <a:avLst/>
              <a:gdLst>
                <a:gd name="connsiteX0" fmla="*/ 190532 w 381063"/>
                <a:gd name="connsiteY0" fmla="*/ 112734 h 112733"/>
                <a:gd name="connsiteX1" fmla="*/ 183459 w 381063"/>
                <a:gd name="connsiteY1" fmla="*/ 111448 h 112733"/>
                <a:gd name="connsiteX2" fmla="*/ 9860 w 381063"/>
                <a:gd name="connsiteY2" fmla="*/ 32364 h 112733"/>
                <a:gd name="connsiteX3" fmla="*/ 1501 w 381063"/>
                <a:gd name="connsiteY3" fmla="*/ 9860 h 112733"/>
                <a:gd name="connsiteX4" fmla="*/ 24005 w 381063"/>
                <a:gd name="connsiteY4" fmla="*/ 1501 h 112733"/>
                <a:gd name="connsiteX5" fmla="*/ 190532 w 381063"/>
                <a:gd name="connsiteY5" fmla="*/ 77371 h 112733"/>
                <a:gd name="connsiteX6" fmla="*/ 357059 w 381063"/>
                <a:gd name="connsiteY6" fmla="*/ 1501 h 112733"/>
                <a:gd name="connsiteX7" fmla="*/ 379563 w 381063"/>
                <a:gd name="connsiteY7" fmla="*/ 9860 h 112733"/>
                <a:gd name="connsiteX8" fmla="*/ 371204 w 381063"/>
                <a:gd name="connsiteY8" fmla="*/ 32364 h 112733"/>
                <a:gd name="connsiteX9" fmla="*/ 197605 w 381063"/>
                <a:gd name="connsiteY9" fmla="*/ 111448 h 112733"/>
                <a:gd name="connsiteX10" fmla="*/ 190532 w 381063"/>
                <a:gd name="connsiteY10" fmla="*/ 112734 h 112733"/>
                <a:gd name="connsiteX11" fmla="*/ 190532 w 381063"/>
                <a:gd name="connsiteY11" fmla="*/ 112734 h 112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63" h="112733">
                  <a:moveTo>
                    <a:pt x="190532" y="112734"/>
                  </a:moveTo>
                  <a:cubicBezTo>
                    <a:pt x="187960" y="112734"/>
                    <a:pt x="186031" y="112091"/>
                    <a:pt x="183459" y="111448"/>
                  </a:cubicBezTo>
                  <a:lnTo>
                    <a:pt x="9860" y="32364"/>
                  </a:lnTo>
                  <a:cubicBezTo>
                    <a:pt x="1501" y="28506"/>
                    <a:pt x="-2357" y="18218"/>
                    <a:pt x="1501" y="9860"/>
                  </a:cubicBezTo>
                  <a:cubicBezTo>
                    <a:pt x="5359" y="1501"/>
                    <a:pt x="15646" y="-2357"/>
                    <a:pt x="24005" y="1501"/>
                  </a:cubicBezTo>
                  <a:lnTo>
                    <a:pt x="190532" y="77371"/>
                  </a:lnTo>
                  <a:lnTo>
                    <a:pt x="357059" y="1501"/>
                  </a:lnTo>
                  <a:cubicBezTo>
                    <a:pt x="365417" y="-2357"/>
                    <a:pt x="375705" y="1501"/>
                    <a:pt x="379563" y="9860"/>
                  </a:cubicBezTo>
                  <a:cubicBezTo>
                    <a:pt x="383420" y="18218"/>
                    <a:pt x="379563" y="28506"/>
                    <a:pt x="371204" y="32364"/>
                  </a:cubicBezTo>
                  <a:lnTo>
                    <a:pt x="197605" y="111448"/>
                  </a:lnTo>
                  <a:cubicBezTo>
                    <a:pt x="195676" y="112091"/>
                    <a:pt x="193104" y="112734"/>
                    <a:pt x="190532" y="112734"/>
                  </a:cubicBezTo>
                  <a:lnTo>
                    <a:pt x="190532" y="112734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65" name="Forma Livre: Forma 264">
              <a:extLst>
                <a:ext uri="{FF2B5EF4-FFF2-40B4-BE49-F238E27FC236}">
                  <a16:creationId xmlns:a16="http://schemas.microsoft.com/office/drawing/2014/main" id="{CE37F177-3C87-4DE2-BC59-649E072512EB}"/>
                </a:ext>
              </a:extLst>
            </p:cNvPr>
            <p:cNvSpPr/>
            <p:nvPr/>
          </p:nvSpPr>
          <p:spPr>
            <a:xfrm>
              <a:off x="2352576" y="2698730"/>
              <a:ext cx="190520" cy="95903"/>
            </a:xfrm>
            <a:custGeom>
              <a:avLst/>
              <a:gdLst>
                <a:gd name="connsiteX0" fmla="*/ 182060 w 190520"/>
                <a:gd name="connsiteY0" fmla="*/ 95903 h 95903"/>
                <a:gd name="connsiteX1" fmla="*/ 178845 w 190520"/>
                <a:gd name="connsiteY1" fmla="*/ 95260 h 95903"/>
                <a:gd name="connsiteX2" fmla="*/ 5246 w 190520"/>
                <a:gd name="connsiteY2" fmla="*/ 16176 h 95903"/>
                <a:gd name="connsiteX3" fmla="*/ 745 w 190520"/>
                <a:gd name="connsiteY3" fmla="*/ 5245 h 95903"/>
                <a:gd name="connsiteX4" fmla="*/ 11675 w 190520"/>
                <a:gd name="connsiteY4" fmla="*/ 745 h 95903"/>
                <a:gd name="connsiteX5" fmla="*/ 185275 w 190520"/>
                <a:gd name="connsiteY5" fmla="*/ 79829 h 95903"/>
                <a:gd name="connsiteX6" fmla="*/ 189775 w 190520"/>
                <a:gd name="connsiteY6" fmla="*/ 90759 h 95903"/>
                <a:gd name="connsiteX7" fmla="*/ 182060 w 190520"/>
                <a:gd name="connsiteY7" fmla="*/ 95903 h 95903"/>
                <a:gd name="connsiteX8" fmla="*/ 182060 w 190520"/>
                <a:gd name="connsiteY8" fmla="*/ 95903 h 9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0520" h="95903">
                  <a:moveTo>
                    <a:pt x="182060" y="95903"/>
                  </a:moveTo>
                  <a:cubicBezTo>
                    <a:pt x="180774" y="95903"/>
                    <a:pt x="179488" y="95903"/>
                    <a:pt x="178845" y="95260"/>
                  </a:cubicBezTo>
                  <a:lnTo>
                    <a:pt x="5246" y="16176"/>
                  </a:lnTo>
                  <a:cubicBezTo>
                    <a:pt x="745" y="14247"/>
                    <a:pt x="-1184" y="9103"/>
                    <a:pt x="745" y="5245"/>
                  </a:cubicBezTo>
                  <a:cubicBezTo>
                    <a:pt x="2674" y="745"/>
                    <a:pt x="7817" y="-1184"/>
                    <a:pt x="11675" y="745"/>
                  </a:cubicBezTo>
                  <a:lnTo>
                    <a:pt x="185275" y="79829"/>
                  </a:lnTo>
                  <a:cubicBezTo>
                    <a:pt x="189775" y="81758"/>
                    <a:pt x="191704" y="86902"/>
                    <a:pt x="189775" y="90759"/>
                  </a:cubicBezTo>
                  <a:cubicBezTo>
                    <a:pt x="188490" y="93974"/>
                    <a:pt x="185275" y="95903"/>
                    <a:pt x="182060" y="95903"/>
                  </a:cubicBezTo>
                  <a:lnTo>
                    <a:pt x="182060" y="95903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66" name="Forma Livre: Forma 265">
              <a:extLst>
                <a:ext uri="{FF2B5EF4-FFF2-40B4-BE49-F238E27FC236}">
                  <a16:creationId xmlns:a16="http://schemas.microsoft.com/office/drawing/2014/main" id="{9C44F9F3-4707-43BC-BE83-17E7CC66A159}"/>
                </a:ext>
              </a:extLst>
            </p:cNvPr>
            <p:cNvSpPr/>
            <p:nvPr/>
          </p:nvSpPr>
          <p:spPr>
            <a:xfrm>
              <a:off x="2424047" y="2824852"/>
              <a:ext cx="33471" cy="163955"/>
            </a:xfrm>
            <a:custGeom>
              <a:avLst/>
              <a:gdLst>
                <a:gd name="connsiteX0" fmla="*/ 16717 w 33471"/>
                <a:gd name="connsiteY0" fmla="*/ 163955 h 163955"/>
                <a:gd name="connsiteX1" fmla="*/ 0 w 33471"/>
                <a:gd name="connsiteY1" fmla="*/ 147238 h 163955"/>
                <a:gd name="connsiteX2" fmla="*/ 0 w 33471"/>
                <a:gd name="connsiteY2" fmla="*/ 16717 h 163955"/>
                <a:gd name="connsiteX3" fmla="*/ 16717 w 33471"/>
                <a:gd name="connsiteY3" fmla="*/ 0 h 163955"/>
                <a:gd name="connsiteX4" fmla="*/ 33434 w 33471"/>
                <a:gd name="connsiteY4" fmla="*/ 16717 h 163955"/>
                <a:gd name="connsiteX5" fmla="*/ 33434 w 33471"/>
                <a:gd name="connsiteY5" fmla="*/ 147238 h 163955"/>
                <a:gd name="connsiteX6" fmla="*/ 16717 w 33471"/>
                <a:gd name="connsiteY6" fmla="*/ 163955 h 163955"/>
                <a:gd name="connsiteX7" fmla="*/ 16717 w 33471"/>
                <a:gd name="connsiteY7" fmla="*/ 163955 h 163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471" h="163955">
                  <a:moveTo>
                    <a:pt x="16717" y="163955"/>
                  </a:moveTo>
                  <a:cubicBezTo>
                    <a:pt x="7073" y="163955"/>
                    <a:pt x="0" y="156240"/>
                    <a:pt x="0" y="147238"/>
                  </a:cubicBezTo>
                  <a:lnTo>
                    <a:pt x="0" y="16717"/>
                  </a:lnTo>
                  <a:cubicBezTo>
                    <a:pt x="0" y="7073"/>
                    <a:pt x="7716" y="0"/>
                    <a:pt x="16717" y="0"/>
                  </a:cubicBezTo>
                  <a:cubicBezTo>
                    <a:pt x="26361" y="0"/>
                    <a:pt x="33434" y="7715"/>
                    <a:pt x="33434" y="16717"/>
                  </a:cubicBezTo>
                  <a:lnTo>
                    <a:pt x="33434" y="147238"/>
                  </a:lnTo>
                  <a:cubicBezTo>
                    <a:pt x="34077" y="156883"/>
                    <a:pt x="26361" y="163955"/>
                    <a:pt x="16717" y="163955"/>
                  </a:cubicBezTo>
                  <a:lnTo>
                    <a:pt x="16717" y="163955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67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3361090" y="2579792"/>
            <a:ext cx="312564" cy="400058"/>
            <a:chOff x="3322264" y="2617818"/>
            <a:chExt cx="316979" cy="405708"/>
          </a:xfrm>
          <a:solidFill>
            <a:srgbClr val="B1B1A1"/>
          </a:solidFill>
        </p:grpSpPr>
        <p:sp>
          <p:nvSpPr>
            <p:cNvPr id="268" name="Forma Livre: Forma 267">
              <a:extLst>
                <a:ext uri="{FF2B5EF4-FFF2-40B4-BE49-F238E27FC236}">
                  <a16:creationId xmlns:a16="http://schemas.microsoft.com/office/drawing/2014/main" id="{6D948662-8B5B-45DD-96A7-F63562E63723}"/>
                </a:ext>
              </a:extLst>
            </p:cNvPr>
            <p:cNvSpPr/>
            <p:nvPr/>
          </p:nvSpPr>
          <p:spPr>
            <a:xfrm>
              <a:off x="3322264" y="2700760"/>
              <a:ext cx="316979" cy="322766"/>
            </a:xfrm>
            <a:custGeom>
              <a:avLst/>
              <a:gdLst>
                <a:gd name="connsiteX0" fmla="*/ 282903 w 316979"/>
                <a:gd name="connsiteY0" fmla="*/ 322767 h 322766"/>
                <a:gd name="connsiteX1" fmla="*/ 34077 w 316979"/>
                <a:gd name="connsiteY1" fmla="*/ 322767 h 322766"/>
                <a:gd name="connsiteX2" fmla="*/ 0 w 316979"/>
                <a:gd name="connsiteY2" fmla="*/ 288690 h 322766"/>
                <a:gd name="connsiteX3" fmla="*/ 0 w 316979"/>
                <a:gd name="connsiteY3" fmla="*/ 34077 h 322766"/>
                <a:gd name="connsiteX4" fmla="*/ 34077 w 316979"/>
                <a:gd name="connsiteY4" fmla="*/ 0 h 322766"/>
                <a:gd name="connsiteX5" fmla="*/ 282903 w 316979"/>
                <a:gd name="connsiteY5" fmla="*/ 0 h 322766"/>
                <a:gd name="connsiteX6" fmla="*/ 316980 w 316979"/>
                <a:gd name="connsiteY6" fmla="*/ 34077 h 322766"/>
                <a:gd name="connsiteX7" fmla="*/ 316980 w 316979"/>
                <a:gd name="connsiteY7" fmla="*/ 288690 h 322766"/>
                <a:gd name="connsiteX8" fmla="*/ 282903 w 316979"/>
                <a:gd name="connsiteY8" fmla="*/ 322767 h 322766"/>
                <a:gd name="connsiteX9" fmla="*/ 282903 w 316979"/>
                <a:gd name="connsiteY9" fmla="*/ 322767 h 322766"/>
                <a:gd name="connsiteX10" fmla="*/ 282903 w 316979"/>
                <a:gd name="connsiteY10" fmla="*/ 288690 h 322766"/>
                <a:gd name="connsiteX11" fmla="*/ 282903 w 316979"/>
                <a:gd name="connsiteY11" fmla="*/ 305407 h 322766"/>
                <a:gd name="connsiteX12" fmla="*/ 282903 w 316979"/>
                <a:gd name="connsiteY12" fmla="*/ 288690 h 322766"/>
                <a:gd name="connsiteX13" fmla="*/ 282903 w 316979"/>
                <a:gd name="connsiteY13" fmla="*/ 288690 h 322766"/>
                <a:gd name="connsiteX14" fmla="*/ 282903 w 316979"/>
                <a:gd name="connsiteY14" fmla="*/ 288690 h 322766"/>
                <a:gd name="connsiteX15" fmla="*/ 34077 w 316979"/>
                <a:gd name="connsiteY15" fmla="*/ 34077 h 322766"/>
                <a:gd name="connsiteX16" fmla="*/ 34077 w 316979"/>
                <a:gd name="connsiteY16" fmla="*/ 288690 h 322766"/>
                <a:gd name="connsiteX17" fmla="*/ 282903 w 316979"/>
                <a:gd name="connsiteY17" fmla="*/ 288690 h 322766"/>
                <a:gd name="connsiteX18" fmla="*/ 282903 w 316979"/>
                <a:gd name="connsiteY18" fmla="*/ 34077 h 322766"/>
                <a:gd name="connsiteX19" fmla="*/ 34077 w 316979"/>
                <a:gd name="connsiteY19" fmla="*/ 34077 h 322766"/>
                <a:gd name="connsiteX20" fmla="*/ 34077 w 316979"/>
                <a:gd name="connsiteY20" fmla="*/ 34077 h 322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16979" h="322766">
                  <a:moveTo>
                    <a:pt x="282903" y="322767"/>
                  </a:moveTo>
                  <a:lnTo>
                    <a:pt x="34077" y="322767"/>
                  </a:lnTo>
                  <a:cubicBezTo>
                    <a:pt x="15431" y="322767"/>
                    <a:pt x="0" y="307336"/>
                    <a:pt x="0" y="288690"/>
                  </a:cubicBezTo>
                  <a:lnTo>
                    <a:pt x="0" y="34077"/>
                  </a:lnTo>
                  <a:cubicBezTo>
                    <a:pt x="0" y="15431"/>
                    <a:pt x="15431" y="0"/>
                    <a:pt x="34077" y="0"/>
                  </a:cubicBezTo>
                  <a:lnTo>
                    <a:pt x="282903" y="0"/>
                  </a:lnTo>
                  <a:cubicBezTo>
                    <a:pt x="301549" y="0"/>
                    <a:pt x="316980" y="15431"/>
                    <a:pt x="316980" y="34077"/>
                  </a:cubicBezTo>
                  <a:lnTo>
                    <a:pt x="316980" y="288690"/>
                  </a:lnTo>
                  <a:cubicBezTo>
                    <a:pt x="316980" y="307336"/>
                    <a:pt x="301549" y="322767"/>
                    <a:pt x="282903" y="322767"/>
                  </a:cubicBezTo>
                  <a:lnTo>
                    <a:pt x="282903" y="322767"/>
                  </a:lnTo>
                  <a:close/>
                  <a:moveTo>
                    <a:pt x="282903" y="288690"/>
                  </a:moveTo>
                  <a:lnTo>
                    <a:pt x="282903" y="305407"/>
                  </a:lnTo>
                  <a:lnTo>
                    <a:pt x="282903" y="288690"/>
                  </a:lnTo>
                  <a:cubicBezTo>
                    <a:pt x="282903" y="288690"/>
                    <a:pt x="282903" y="288690"/>
                    <a:pt x="282903" y="288690"/>
                  </a:cubicBezTo>
                  <a:lnTo>
                    <a:pt x="282903" y="288690"/>
                  </a:lnTo>
                  <a:close/>
                  <a:moveTo>
                    <a:pt x="34077" y="34077"/>
                  </a:moveTo>
                  <a:lnTo>
                    <a:pt x="34077" y="288690"/>
                  </a:lnTo>
                  <a:lnTo>
                    <a:pt x="282903" y="288690"/>
                  </a:lnTo>
                  <a:lnTo>
                    <a:pt x="282903" y="34077"/>
                  </a:lnTo>
                  <a:lnTo>
                    <a:pt x="34077" y="34077"/>
                  </a:lnTo>
                  <a:lnTo>
                    <a:pt x="34077" y="34077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69" name="Forma Livre: Forma 268">
              <a:extLst>
                <a:ext uri="{FF2B5EF4-FFF2-40B4-BE49-F238E27FC236}">
                  <a16:creationId xmlns:a16="http://schemas.microsoft.com/office/drawing/2014/main" id="{C51A4662-C8FC-40CD-88C7-A1B6CF99BB2E}"/>
                </a:ext>
              </a:extLst>
            </p:cNvPr>
            <p:cNvSpPr/>
            <p:nvPr/>
          </p:nvSpPr>
          <p:spPr>
            <a:xfrm>
              <a:off x="3402634" y="2617818"/>
              <a:ext cx="157525" cy="156882"/>
            </a:xfrm>
            <a:custGeom>
              <a:avLst/>
              <a:gdLst>
                <a:gd name="connsiteX0" fmla="*/ 139523 w 157525"/>
                <a:gd name="connsiteY0" fmla="*/ 156883 h 156882"/>
                <a:gd name="connsiteX1" fmla="*/ 122806 w 157525"/>
                <a:gd name="connsiteY1" fmla="*/ 140166 h 156882"/>
                <a:gd name="connsiteX2" fmla="*/ 122806 w 157525"/>
                <a:gd name="connsiteY2" fmla="*/ 34077 h 156882"/>
                <a:gd name="connsiteX3" fmla="*/ 33434 w 157525"/>
                <a:gd name="connsiteY3" fmla="*/ 34077 h 156882"/>
                <a:gd name="connsiteX4" fmla="*/ 33434 w 157525"/>
                <a:gd name="connsiteY4" fmla="*/ 140166 h 156882"/>
                <a:gd name="connsiteX5" fmla="*/ 16717 w 157525"/>
                <a:gd name="connsiteY5" fmla="*/ 156883 h 156882"/>
                <a:gd name="connsiteX6" fmla="*/ 0 w 157525"/>
                <a:gd name="connsiteY6" fmla="*/ 140166 h 156882"/>
                <a:gd name="connsiteX7" fmla="*/ 0 w 157525"/>
                <a:gd name="connsiteY7" fmla="*/ 34077 h 156882"/>
                <a:gd name="connsiteX8" fmla="*/ 34077 w 157525"/>
                <a:gd name="connsiteY8" fmla="*/ 0 h 156882"/>
                <a:gd name="connsiteX9" fmla="*/ 123448 w 157525"/>
                <a:gd name="connsiteY9" fmla="*/ 0 h 156882"/>
                <a:gd name="connsiteX10" fmla="*/ 157526 w 157525"/>
                <a:gd name="connsiteY10" fmla="*/ 34077 h 156882"/>
                <a:gd name="connsiteX11" fmla="*/ 157526 w 157525"/>
                <a:gd name="connsiteY11" fmla="*/ 140166 h 156882"/>
                <a:gd name="connsiteX12" fmla="*/ 139523 w 157525"/>
                <a:gd name="connsiteY12" fmla="*/ 156883 h 156882"/>
                <a:gd name="connsiteX13" fmla="*/ 139523 w 157525"/>
                <a:gd name="connsiteY13" fmla="*/ 156883 h 156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7525" h="156882">
                  <a:moveTo>
                    <a:pt x="139523" y="156883"/>
                  </a:moveTo>
                  <a:cubicBezTo>
                    <a:pt x="129878" y="156883"/>
                    <a:pt x="122806" y="149167"/>
                    <a:pt x="122806" y="140166"/>
                  </a:cubicBezTo>
                  <a:lnTo>
                    <a:pt x="122806" y="34077"/>
                  </a:lnTo>
                  <a:lnTo>
                    <a:pt x="33434" y="34077"/>
                  </a:lnTo>
                  <a:lnTo>
                    <a:pt x="33434" y="140166"/>
                  </a:lnTo>
                  <a:cubicBezTo>
                    <a:pt x="33434" y="149810"/>
                    <a:pt x="25718" y="156883"/>
                    <a:pt x="16717" y="156883"/>
                  </a:cubicBezTo>
                  <a:cubicBezTo>
                    <a:pt x="7073" y="156883"/>
                    <a:pt x="0" y="149167"/>
                    <a:pt x="0" y="140166"/>
                  </a:cubicBezTo>
                  <a:lnTo>
                    <a:pt x="0" y="34077"/>
                  </a:lnTo>
                  <a:cubicBezTo>
                    <a:pt x="0" y="15431"/>
                    <a:pt x="15431" y="0"/>
                    <a:pt x="34077" y="0"/>
                  </a:cubicBezTo>
                  <a:lnTo>
                    <a:pt x="123448" y="0"/>
                  </a:lnTo>
                  <a:cubicBezTo>
                    <a:pt x="142095" y="0"/>
                    <a:pt x="157526" y="15431"/>
                    <a:pt x="157526" y="34077"/>
                  </a:cubicBezTo>
                  <a:lnTo>
                    <a:pt x="157526" y="140166"/>
                  </a:lnTo>
                  <a:cubicBezTo>
                    <a:pt x="156240" y="149167"/>
                    <a:pt x="149167" y="156883"/>
                    <a:pt x="139523" y="156883"/>
                  </a:cubicBezTo>
                  <a:lnTo>
                    <a:pt x="139523" y="156883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70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7431196" y="2585498"/>
            <a:ext cx="387181" cy="388012"/>
            <a:chOff x="7449855" y="2623605"/>
            <a:chExt cx="392649" cy="393492"/>
          </a:xfrm>
          <a:solidFill>
            <a:srgbClr val="B1B1A1"/>
          </a:solidFill>
        </p:grpSpPr>
        <p:sp>
          <p:nvSpPr>
            <p:cNvPr id="271" name="Forma Livre: Forma 270">
              <a:extLst>
                <a:ext uri="{FF2B5EF4-FFF2-40B4-BE49-F238E27FC236}">
                  <a16:creationId xmlns:a16="http://schemas.microsoft.com/office/drawing/2014/main" id="{06E3B9CE-7937-4D16-803D-24B3C814B3C4}"/>
                </a:ext>
              </a:extLst>
            </p:cNvPr>
            <p:cNvSpPr/>
            <p:nvPr/>
          </p:nvSpPr>
          <p:spPr>
            <a:xfrm>
              <a:off x="7449855" y="2745125"/>
              <a:ext cx="392649" cy="271972"/>
            </a:xfrm>
            <a:custGeom>
              <a:avLst/>
              <a:gdLst>
                <a:gd name="connsiteX0" fmla="*/ 344206 w 392649"/>
                <a:gd name="connsiteY0" fmla="*/ 271973 h 271972"/>
                <a:gd name="connsiteX1" fmla="*/ 49729 w 392649"/>
                <a:gd name="connsiteY1" fmla="*/ 271973 h 271972"/>
                <a:gd name="connsiteX2" fmla="*/ 9866 w 392649"/>
                <a:gd name="connsiteY2" fmla="*/ 254613 h 271972"/>
                <a:gd name="connsiteX3" fmla="*/ 865 w 392649"/>
                <a:gd name="connsiteY3" fmla="*/ 217964 h 271972"/>
                <a:gd name="connsiteX4" fmla="*/ 31084 w 392649"/>
                <a:gd name="connsiteY4" fmla="*/ 48222 h 271972"/>
                <a:gd name="connsiteX5" fmla="*/ 83164 w 392649"/>
                <a:gd name="connsiteY5" fmla="*/ 0 h 271972"/>
                <a:gd name="connsiteX6" fmla="*/ 309486 w 392649"/>
                <a:gd name="connsiteY6" fmla="*/ 0 h 271972"/>
                <a:gd name="connsiteX7" fmla="*/ 361566 w 392649"/>
                <a:gd name="connsiteY7" fmla="*/ 47579 h 271972"/>
                <a:gd name="connsiteX8" fmla="*/ 391785 w 392649"/>
                <a:gd name="connsiteY8" fmla="*/ 217321 h 271972"/>
                <a:gd name="connsiteX9" fmla="*/ 382783 w 392649"/>
                <a:gd name="connsiteY9" fmla="*/ 253970 h 271972"/>
                <a:gd name="connsiteX10" fmla="*/ 344206 w 392649"/>
                <a:gd name="connsiteY10" fmla="*/ 271973 h 271972"/>
                <a:gd name="connsiteX11" fmla="*/ 344206 w 392649"/>
                <a:gd name="connsiteY11" fmla="*/ 271973 h 271972"/>
                <a:gd name="connsiteX12" fmla="*/ 83806 w 392649"/>
                <a:gd name="connsiteY12" fmla="*/ 34077 h 271972"/>
                <a:gd name="connsiteX13" fmla="*/ 65161 w 392649"/>
                <a:gd name="connsiteY13" fmla="*/ 54009 h 271972"/>
                <a:gd name="connsiteX14" fmla="*/ 34941 w 392649"/>
                <a:gd name="connsiteY14" fmla="*/ 223751 h 271972"/>
                <a:gd name="connsiteX15" fmla="*/ 36870 w 392649"/>
                <a:gd name="connsiteY15" fmla="*/ 232752 h 271972"/>
                <a:gd name="connsiteX16" fmla="*/ 50373 w 392649"/>
                <a:gd name="connsiteY16" fmla="*/ 237896 h 271972"/>
                <a:gd name="connsiteX17" fmla="*/ 344849 w 392649"/>
                <a:gd name="connsiteY17" fmla="*/ 237896 h 271972"/>
                <a:gd name="connsiteX18" fmla="*/ 358351 w 392649"/>
                <a:gd name="connsiteY18" fmla="*/ 232752 h 271972"/>
                <a:gd name="connsiteX19" fmla="*/ 360280 w 392649"/>
                <a:gd name="connsiteY19" fmla="*/ 224394 h 271972"/>
                <a:gd name="connsiteX20" fmla="*/ 330061 w 392649"/>
                <a:gd name="connsiteY20" fmla="*/ 54652 h 271972"/>
                <a:gd name="connsiteX21" fmla="*/ 311415 w 392649"/>
                <a:gd name="connsiteY21" fmla="*/ 34720 h 271972"/>
                <a:gd name="connsiteX22" fmla="*/ 83806 w 392649"/>
                <a:gd name="connsiteY22" fmla="*/ 34720 h 271972"/>
                <a:gd name="connsiteX23" fmla="*/ 83806 w 392649"/>
                <a:gd name="connsiteY23" fmla="*/ 34077 h 271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2649" h="271972">
                  <a:moveTo>
                    <a:pt x="344206" y="271973"/>
                  </a:moveTo>
                  <a:lnTo>
                    <a:pt x="49729" y="271973"/>
                  </a:lnTo>
                  <a:cubicBezTo>
                    <a:pt x="33655" y="271973"/>
                    <a:pt x="19510" y="265543"/>
                    <a:pt x="9866" y="254613"/>
                  </a:cubicBezTo>
                  <a:cubicBezTo>
                    <a:pt x="1507" y="244325"/>
                    <a:pt x="-1707" y="231466"/>
                    <a:pt x="865" y="217964"/>
                  </a:cubicBezTo>
                  <a:lnTo>
                    <a:pt x="31084" y="48222"/>
                  </a:lnTo>
                  <a:cubicBezTo>
                    <a:pt x="36227" y="21218"/>
                    <a:pt x="59374" y="0"/>
                    <a:pt x="83164" y="0"/>
                  </a:cubicBezTo>
                  <a:lnTo>
                    <a:pt x="309486" y="0"/>
                  </a:lnTo>
                  <a:cubicBezTo>
                    <a:pt x="333918" y="0"/>
                    <a:pt x="357065" y="21218"/>
                    <a:pt x="361566" y="47579"/>
                  </a:cubicBezTo>
                  <a:lnTo>
                    <a:pt x="391785" y="217321"/>
                  </a:lnTo>
                  <a:cubicBezTo>
                    <a:pt x="394357" y="230823"/>
                    <a:pt x="391142" y="243682"/>
                    <a:pt x="382783" y="253970"/>
                  </a:cubicBezTo>
                  <a:cubicBezTo>
                    <a:pt x="374425" y="265543"/>
                    <a:pt x="359637" y="271973"/>
                    <a:pt x="344206" y="271973"/>
                  </a:cubicBezTo>
                  <a:lnTo>
                    <a:pt x="344206" y="271973"/>
                  </a:lnTo>
                  <a:close/>
                  <a:moveTo>
                    <a:pt x="83806" y="34077"/>
                  </a:moveTo>
                  <a:cubicBezTo>
                    <a:pt x="76734" y="34077"/>
                    <a:pt x="67090" y="42435"/>
                    <a:pt x="65161" y="54009"/>
                  </a:cubicBezTo>
                  <a:lnTo>
                    <a:pt x="34941" y="223751"/>
                  </a:lnTo>
                  <a:cubicBezTo>
                    <a:pt x="34299" y="226965"/>
                    <a:pt x="34941" y="230180"/>
                    <a:pt x="36870" y="232752"/>
                  </a:cubicBezTo>
                  <a:cubicBezTo>
                    <a:pt x="39442" y="235967"/>
                    <a:pt x="44586" y="237896"/>
                    <a:pt x="50373" y="237896"/>
                  </a:cubicBezTo>
                  <a:lnTo>
                    <a:pt x="344849" y="237896"/>
                  </a:lnTo>
                  <a:cubicBezTo>
                    <a:pt x="350635" y="237896"/>
                    <a:pt x="355779" y="235967"/>
                    <a:pt x="358351" y="232752"/>
                  </a:cubicBezTo>
                  <a:cubicBezTo>
                    <a:pt x="360280" y="230180"/>
                    <a:pt x="360923" y="227608"/>
                    <a:pt x="360280" y="224394"/>
                  </a:cubicBezTo>
                  <a:lnTo>
                    <a:pt x="330061" y="54652"/>
                  </a:lnTo>
                  <a:cubicBezTo>
                    <a:pt x="328132" y="43078"/>
                    <a:pt x="318487" y="34720"/>
                    <a:pt x="311415" y="34720"/>
                  </a:cubicBezTo>
                  <a:lnTo>
                    <a:pt x="83806" y="34720"/>
                  </a:lnTo>
                  <a:lnTo>
                    <a:pt x="83806" y="34077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72" name="Forma Livre: Forma 271">
              <a:extLst>
                <a:ext uri="{FF2B5EF4-FFF2-40B4-BE49-F238E27FC236}">
                  <a16:creationId xmlns:a16="http://schemas.microsoft.com/office/drawing/2014/main" id="{64730110-85BD-4A99-A774-FFF3CDC02FBF}"/>
                </a:ext>
              </a:extLst>
            </p:cNvPr>
            <p:cNvSpPr/>
            <p:nvPr/>
          </p:nvSpPr>
          <p:spPr>
            <a:xfrm>
              <a:off x="7565166" y="2623605"/>
              <a:ext cx="160740" cy="208319"/>
            </a:xfrm>
            <a:custGeom>
              <a:avLst/>
              <a:gdLst>
                <a:gd name="connsiteX0" fmla="*/ 144024 w 160740"/>
                <a:gd name="connsiteY0" fmla="*/ 208320 h 208319"/>
                <a:gd name="connsiteX1" fmla="*/ 127306 w 160740"/>
                <a:gd name="connsiteY1" fmla="*/ 191603 h 208319"/>
                <a:gd name="connsiteX2" fmla="*/ 127306 w 160740"/>
                <a:gd name="connsiteY2" fmla="*/ 81013 h 208319"/>
                <a:gd name="connsiteX3" fmla="*/ 80370 w 160740"/>
                <a:gd name="connsiteY3" fmla="*/ 34077 h 208319"/>
                <a:gd name="connsiteX4" fmla="*/ 33434 w 160740"/>
                <a:gd name="connsiteY4" fmla="*/ 81013 h 208319"/>
                <a:gd name="connsiteX5" fmla="*/ 33434 w 160740"/>
                <a:gd name="connsiteY5" fmla="*/ 190960 h 208319"/>
                <a:gd name="connsiteX6" fmla="*/ 16717 w 160740"/>
                <a:gd name="connsiteY6" fmla="*/ 207677 h 208319"/>
                <a:gd name="connsiteX7" fmla="*/ 0 w 160740"/>
                <a:gd name="connsiteY7" fmla="*/ 190960 h 208319"/>
                <a:gd name="connsiteX8" fmla="*/ 0 w 160740"/>
                <a:gd name="connsiteY8" fmla="*/ 80370 h 208319"/>
                <a:gd name="connsiteX9" fmla="*/ 80370 w 160740"/>
                <a:gd name="connsiteY9" fmla="*/ 0 h 208319"/>
                <a:gd name="connsiteX10" fmla="*/ 160740 w 160740"/>
                <a:gd name="connsiteY10" fmla="*/ 80370 h 208319"/>
                <a:gd name="connsiteX11" fmla="*/ 160740 w 160740"/>
                <a:gd name="connsiteY11" fmla="*/ 190960 h 208319"/>
                <a:gd name="connsiteX12" fmla="*/ 144024 w 160740"/>
                <a:gd name="connsiteY12" fmla="*/ 208320 h 208319"/>
                <a:gd name="connsiteX13" fmla="*/ 144024 w 160740"/>
                <a:gd name="connsiteY13" fmla="*/ 208320 h 208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0740" h="208319">
                  <a:moveTo>
                    <a:pt x="144024" y="208320"/>
                  </a:moveTo>
                  <a:cubicBezTo>
                    <a:pt x="134379" y="208320"/>
                    <a:pt x="127306" y="200604"/>
                    <a:pt x="127306" y="191603"/>
                  </a:cubicBezTo>
                  <a:lnTo>
                    <a:pt x="127306" y="81013"/>
                  </a:lnTo>
                  <a:cubicBezTo>
                    <a:pt x="127306" y="55295"/>
                    <a:pt x="106089" y="34077"/>
                    <a:pt x="80370" y="34077"/>
                  </a:cubicBezTo>
                  <a:cubicBezTo>
                    <a:pt x="54652" y="34077"/>
                    <a:pt x="33434" y="55295"/>
                    <a:pt x="33434" y="81013"/>
                  </a:cubicBezTo>
                  <a:lnTo>
                    <a:pt x="33434" y="190960"/>
                  </a:lnTo>
                  <a:cubicBezTo>
                    <a:pt x="33434" y="200604"/>
                    <a:pt x="25718" y="207677"/>
                    <a:pt x="16717" y="207677"/>
                  </a:cubicBezTo>
                  <a:cubicBezTo>
                    <a:pt x="7072" y="207677"/>
                    <a:pt x="0" y="199961"/>
                    <a:pt x="0" y="190960"/>
                  </a:cubicBezTo>
                  <a:lnTo>
                    <a:pt x="0" y="80370"/>
                  </a:lnTo>
                  <a:cubicBezTo>
                    <a:pt x="0" y="36006"/>
                    <a:pt x="36006" y="0"/>
                    <a:pt x="80370" y="0"/>
                  </a:cubicBezTo>
                  <a:cubicBezTo>
                    <a:pt x="124735" y="0"/>
                    <a:pt x="160740" y="36006"/>
                    <a:pt x="160740" y="80370"/>
                  </a:cubicBezTo>
                  <a:lnTo>
                    <a:pt x="160740" y="190960"/>
                  </a:lnTo>
                  <a:cubicBezTo>
                    <a:pt x="160740" y="200604"/>
                    <a:pt x="153025" y="208320"/>
                    <a:pt x="144024" y="208320"/>
                  </a:cubicBezTo>
                  <a:lnTo>
                    <a:pt x="144024" y="208320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73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8441347" y="2603210"/>
            <a:ext cx="423815" cy="351914"/>
            <a:chOff x="8474273" y="2641567"/>
            <a:chExt cx="429801" cy="356884"/>
          </a:xfrm>
          <a:solidFill>
            <a:srgbClr val="B1B1A1"/>
          </a:solidFill>
        </p:grpSpPr>
        <p:sp>
          <p:nvSpPr>
            <p:cNvPr id="274" name="Forma Livre: Forma 273">
              <a:extLst>
                <a:ext uri="{FF2B5EF4-FFF2-40B4-BE49-F238E27FC236}">
                  <a16:creationId xmlns:a16="http://schemas.microsoft.com/office/drawing/2014/main" id="{14B4547A-8028-4E81-840F-873A51C17F87}"/>
                </a:ext>
              </a:extLst>
            </p:cNvPr>
            <p:cNvSpPr/>
            <p:nvPr/>
          </p:nvSpPr>
          <p:spPr>
            <a:xfrm>
              <a:off x="8555349" y="2706547"/>
              <a:ext cx="348726" cy="190959"/>
            </a:xfrm>
            <a:custGeom>
              <a:avLst/>
              <a:gdLst>
                <a:gd name="connsiteX0" fmla="*/ 288668 w 348726"/>
                <a:gd name="connsiteY0" fmla="*/ 190959 h 190959"/>
                <a:gd name="connsiteX1" fmla="*/ 60416 w 348726"/>
                <a:gd name="connsiteY1" fmla="*/ 190959 h 190959"/>
                <a:gd name="connsiteX2" fmla="*/ 44342 w 348726"/>
                <a:gd name="connsiteY2" fmla="*/ 178743 h 190959"/>
                <a:gd name="connsiteX3" fmla="*/ 621 w 348726"/>
                <a:gd name="connsiteY3" fmla="*/ 21218 h 190959"/>
                <a:gd name="connsiteX4" fmla="*/ 3193 w 348726"/>
                <a:gd name="connsiteY4" fmla="*/ 6430 h 190959"/>
                <a:gd name="connsiteX5" fmla="*/ 16695 w 348726"/>
                <a:gd name="connsiteY5" fmla="*/ 0 h 190959"/>
                <a:gd name="connsiteX6" fmla="*/ 331746 w 348726"/>
                <a:gd name="connsiteY6" fmla="*/ 0 h 190959"/>
                <a:gd name="connsiteX7" fmla="*/ 345248 w 348726"/>
                <a:gd name="connsiteY7" fmla="*/ 6430 h 190959"/>
                <a:gd name="connsiteX8" fmla="*/ 347820 w 348726"/>
                <a:gd name="connsiteY8" fmla="*/ 21218 h 190959"/>
                <a:gd name="connsiteX9" fmla="*/ 304099 w 348726"/>
                <a:gd name="connsiteY9" fmla="*/ 178743 h 190959"/>
                <a:gd name="connsiteX10" fmla="*/ 288668 w 348726"/>
                <a:gd name="connsiteY10" fmla="*/ 190959 h 190959"/>
                <a:gd name="connsiteX11" fmla="*/ 288668 w 348726"/>
                <a:gd name="connsiteY11" fmla="*/ 190959 h 190959"/>
                <a:gd name="connsiteX12" fmla="*/ 73919 w 348726"/>
                <a:gd name="connsiteY12" fmla="*/ 156883 h 190959"/>
                <a:gd name="connsiteX13" fmla="*/ 276451 w 348726"/>
                <a:gd name="connsiteY13" fmla="*/ 156883 h 190959"/>
                <a:gd name="connsiteX14" fmla="*/ 310529 w 348726"/>
                <a:gd name="connsiteY14" fmla="*/ 33434 h 190959"/>
                <a:gd name="connsiteX15" fmla="*/ 39841 w 348726"/>
                <a:gd name="connsiteY15" fmla="*/ 33434 h 190959"/>
                <a:gd name="connsiteX16" fmla="*/ 73919 w 348726"/>
                <a:gd name="connsiteY16" fmla="*/ 156883 h 190959"/>
                <a:gd name="connsiteX17" fmla="*/ 73919 w 348726"/>
                <a:gd name="connsiteY17" fmla="*/ 156883 h 190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48726" h="190959">
                  <a:moveTo>
                    <a:pt x="288668" y="190959"/>
                  </a:moveTo>
                  <a:lnTo>
                    <a:pt x="60416" y="190959"/>
                  </a:lnTo>
                  <a:cubicBezTo>
                    <a:pt x="52700" y="190959"/>
                    <a:pt x="46271" y="185816"/>
                    <a:pt x="44342" y="178743"/>
                  </a:cubicBezTo>
                  <a:lnTo>
                    <a:pt x="621" y="21218"/>
                  </a:lnTo>
                  <a:cubicBezTo>
                    <a:pt x="-665" y="16074"/>
                    <a:pt x="-22" y="10930"/>
                    <a:pt x="3193" y="6430"/>
                  </a:cubicBezTo>
                  <a:cubicBezTo>
                    <a:pt x="6408" y="1929"/>
                    <a:pt x="11552" y="0"/>
                    <a:pt x="16695" y="0"/>
                  </a:cubicBezTo>
                  <a:lnTo>
                    <a:pt x="331746" y="0"/>
                  </a:lnTo>
                  <a:cubicBezTo>
                    <a:pt x="336890" y="0"/>
                    <a:pt x="342033" y="2572"/>
                    <a:pt x="345248" y="6430"/>
                  </a:cubicBezTo>
                  <a:cubicBezTo>
                    <a:pt x="348463" y="10930"/>
                    <a:pt x="349749" y="16074"/>
                    <a:pt x="347820" y="21218"/>
                  </a:cubicBezTo>
                  <a:lnTo>
                    <a:pt x="304099" y="178743"/>
                  </a:lnTo>
                  <a:cubicBezTo>
                    <a:pt x="303455" y="185816"/>
                    <a:pt x="296383" y="190959"/>
                    <a:pt x="288668" y="190959"/>
                  </a:cubicBezTo>
                  <a:lnTo>
                    <a:pt x="288668" y="190959"/>
                  </a:lnTo>
                  <a:close/>
                  <a:moveTo>
                    <a:pt x="73919" y="156883"/>
                  </a:moveTo>
                  <a:lnTo>
                    <a:pt x="276451" y="156883"/>
                  </a:lnTo>
                  <a:lnTo>
                    <a:pt x="310529" y="33434"/>
                  </a:lnTo>
                  <a:lnTo>
                    <a:pt x="39841" y="33434"/>
                  </a:lnTo>
                  <a:lnTo>
                    <a:pt x="73919" y="156883"/>
                  </a:lnTo>
                  <a:lnTo>
                    <a:pt x="73919" y="156883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75" name="Forma Livre: Forma 274">
              <a:extLst>
                <a:ext uri="{FF2B5EF4-FFF2-40B4-BE49-F238E27FC236}">
                  <a16:creationId xmlns:a16="http://schemas.microsoft.com/office/drawing/2014/main" id="{340AA1A8-079C-4228-B546-8375D64D5355}"/>
                </a:ext>
              </a:extLst>
            </p:cNvPr>
            <p:cNvSpPr/>
            <p:nvPr/>
          </p:nvSpPr>
          <p:spPr>
            <a:xfrm>
              <a:off x="8474273" y="2641567"/>
              <a:ext cx="158870" cy="255939"/>
            </a:xfrm>
            <a:custGeom>
              <a:avLst/>
              <a:gdLst>
                <a:gd name="connsiteX0" fmla="*/ 141492 w 158870"/>
                <a:gd name="connsiteY0" fmla="*/ 255939 h 255939"/>
                <a:gd name="connsiteX1" fmla="*/ 125418 w 158870"/>
                <a:gd name="connsiteY1" fmla="*/ 243723 h 255939"/>
                <a:gd name="connsiteX2" fmla="*/ 68837 w 158870"/>
                <a:gd name="connsiteY2" fmla="*/ 36689 h 255939"/>
                <a:gd name="connsiteX3" fmla="*/ 16115 w 158870"/>
                <a:gd name="connsiteY3" fmla="*/ 34117 h 255939"/>
                <a:gd name="connsiteX4" fmla="*/ 41 w 158870"/>
                <a:gd name="connsiteY4" fmla="*/ 16115 h 255939"/>
                <a:gd name="connsiteX5" fmla="*/ 18043 w 158870"/>
                <a:gd name="connsiteY5" fmla="*/ 41 h 255939"/>
                <a:gd name="connsiteX6" fmla="*/ 82983 w 158870"/>
                <a:gd name="connsiteY6" fmla="*/ 2612 h 255939"/>
                <a:gd name="connsiteX7" fmla="*/ 98413 w 158870"/>
                <a:gd name="connsiteY7" fmla="*/ 14829 h 255939"/>
                <a:gd name="connsiteX8" fmla="*/ 158209 w 158870"/>
                <a:gd name="connsiteY8" fmla="*/ 233436 h 255939"/>
                <a:gd name="connsiteX9" fmla="*/ 146635 w 158870"/>
                <a:gd name="connsiteY9" fmla="*/ 254010 h 255939"/>
                <a:gd name="connsiteX10" fmla="*/ 141492 w 158870"/>
                <a:gd name="connsiteY10" fmla="*/ 255939 h 255939"/>
                <a:gd name="connsiteX11" fmla="*/ 141492 w 158870"/>
                <a:gd name="connsiteY11" fmla="*/ 255939 h 255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8870" h="255939">
                  <a:moveTo>
                    <a:pt x="141492" y="255939"/>
                  </a:moveTo>
                  <a:cubicBezTo>
                    <a:pt x="133776" y="255939"/>
                    <a:pt x="127346" y="250796"/>
                    <a:pt x="125418" y="243723"/>
                  </a:cubicBezTo>
                  <a:lnTo>
                    <a:pt x="68837" y="36689"/>
                  </a:lnTo>
                  <a:lnTo>
                    <a:pt x="16115" y="34117"/>
                  </a:lnTo>
                  <a:cubicBezTo>
                    <a:pt x="6470" y="33474"/>
                    <a:pt x="-602" y="25759"/>
                    <a:pt x="41" y="16115"/>
                  </a:cubicBezTo>
                  <a:cubicBezTo>
                    <a:pt x="683" y="6470"/>
                    <a:pt x="7756" y="-602"/>
                    <a:pt x="18043" y="41"/>
                  </a:cubicBezTo>
                  <a:lnTo>
                    <a:pt x="82983" y="2612"/>
                  </a:lnTo>
                  <a:cubicBezTo>
                    <a:pt x="90055" y="2612"/>
                    <a:pt x="96485" y="7756"/>
                    <a:pt x="98413" y="14829"/>
                  </a:cubicBezTo>
                  <a:lnTo>
                    <a:pt x="158209" y="233436"/>
                  </a:lnTo>
                  <a:cubicBezTo>
                    <a:pt x="160781" y="242437"/>
                    <a:pt x="155637" y="252081"/>
                    <a:pt x="146635" y="254010"/>
                  </a:cubicBezTo>
                  <a:cubicBezTo>
                    <a:pt x="144707" y="255939"/>
                    <a:pt x="143420" y="255939"/>
                    <a:pt x="141492" y="255939"/>
                  </a:cubicBezTo>
                  <a:lnTo>
                    <a:pt x="141492" y="255939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76" name="Forma Livre: Forma 275">
              <a:extLst>
                <a:ext uri="{FF2B5EF4-FFF2-40B4-BE49-F238E27FC236}">
                  <a16:creationId xmlns:a16="http://schemas.microsoft.com/office/drawing/2014/main" id="{C7E9E20D-5ACB-4267-933C-ADCD1BA64BC0}"/>
                </a:ext>
              </a:extLst>
            </p:cNvPr>
            <p:cNvSpPr/>
            <p:nvPr/>
          </p:nvSpPr>
          <p:spPr>
            <a:xfrm>
              <a:off x="8609979" y="2904579"/>
              <a:ext cx="93872" cy="93872"/>
            </a:xfrm>
            <a:custGeom>
              <a:avLst/>
              <a:gdLst>
                <a:gd name="connsiteX0" fmla="*/ 46936 w 93872"/>
                <a:gd name="connsiteY0" fmla="*/ 93872 h 93872"/>
                <a:gd name="connsiteX1" fmla="*/ 0 w 93872"/>
                <a:gd name="connsiteY1" fmla="*/ 46936 h 93872"/>
                <a:gd name="connsiteX2" fmla="*/ 46936 w 93872"/>
                <a:gd name="connsiteY2" fmla="*/ 0 h 93872"/>
                <a:gd name="connsiteX3" fmla="*/ 93872 w 93872"/>
                <a:gd name="connsiteY3" fmla="*/ 46936 h 93872"/>
                <a:gd name="connsiteX4" fmla="*/ 46936 w 93872"/>
                <a:gd name="connsiteY4" fmla="*/ 93872 h 93872"/>
                <a:gd name="connsiteX5" fmla="*/ 46936 w 93872"/>
                <a:gd name="connsiteY5" fmla="*/ 93872 h 93872"/>
                <a:gd name="connsiteX6" fmla="*/ 46936 w 93872"/>
                <a:gd name="connsiteY6" fmla="*/ 34720 h 93872"/>
                <a:gd name="connsiteX7" fmla="*/ 34077 w 93872"/>
                <a:gd name="connsiteY7" fmla="*/ 47579 h 93872"/>
                <a:gd name="connsiteX8" fmla="*/ 46936 w 93872"/>
                <a:gd name="connsiteY8" fmla="*/ 60438 h 93872"/>
                <a:gd name="connsiteX9" fmla="*/ 59796 w 93872"/>
                <a:gd name="connsiteY9" fmla="*/ 47579 h 93872"/>
                <a:gd name="connsiteX10" fmla="*/ 46936 w 93872"/>
                <a:gd name="connsiteY10" fmla="*/ 34720 h 93872"/>
                <a:gd name="connsiteX11" fmla="*/ 46936 w 93872"/>
                <a:gd name="connsiteY11" fmla="*/ 34720 h 93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3872" h="93872">
                  <a:moveTo>
                    <a:pt x="46936" y="93872"/>
                  </a:moveTo>
                  <a:cubicBezTo>
                    <a:pt x="21218" y="93872"/>
                    <a:pt x="0" y="72655"/>
                    <a:pt x="0" y="46936"/>
                  </a:cubicBezTo>
                  <a:cubicBezTo>
                    <a:pt x="0" y="21218"/>
                    <a:pt x="21218" y="0"/>
                    <a:pt x="46936" y="0"/>
                  </a:cubicBezTo>
                  <a:cubicBezTo>
                    <a:pt x="72655" y="0"/>
                    <a:pt x="93872" y="21218"/>
                    <a:pt x="93872" y="46936"/>
                  </a:cubicBezTo>
                  <a:cubicBezTo>
                    <a:pt x="93229" y="73298"/>
                    <a:pt x="72655" y="93872"/>
                    <a:pt x="46936" y="93872"/>
                  </a:cubicBezTo>
                  <a:lnTo>
                    <a:pt x="46936" y="93872"/>
                  </a:lnTo>
                  <a:close/>
                  <a:moveTo>
                    <a:pt x="46936" y="34720"/>
                  </a:moveTo>
                  <a:cubicBezTo>
                    <a:pt x="39863" y="34720"/>
                    <a:pt x="34077" y="40506"/>
                    <a:pt x="34077" y="47579"/>
                  </a:cubicBezTo>
                  <a:cubicBezTo>
                    <a:pt x="34077" y="54652"/>
                    <a:pt x="39863" y="60438"/>
                    <a:pt x="46936" y="60438"/>
                  </a:cubicBezTo>
                  <a:cubicBezTo>
                    <a:pt x="54009" y="60438"/>
                    <a:pt x="59796" y="54652"/>
                    <a:pt x="59796" y="47579"/>
                  </a:cubicBezTo>
                  <a:cubicBezTo>
                    <a:pt x="59152" y="40506"/>
                    <a:pt x="53366" y="34720"/>
                    <a:pt x="46936" y="34720"/>
                  </a:cubicBezTo>
                  <a:lnTo>
                    <a:pt x="46936" y="34720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77" name="Forma Livre: Forma 276">
              <a:extLst>
                <a:ext uri="{FF2B5EF4-FFF2-40B4-BE49-F238E27FC236}">
                  <a16:creationId xmlns:a16="http://schemas.microsoft.com/office/drawing/2014/main" id="{6A7E5E96-72B7-4DD6-A86C-BCAD5DB7E9E1}"/>
                </a:ext>
              </a:extLst>
            </p:cNvPr>
            <p:cNvSpPr/>
            <p:nvPr/>
          </p:nvSpPr>
          <p:spPr>
            <a:xfrm>
              <a:off x="8751430" y="2904579"/>
              <a:ext cx="93872" cy="93872"/>
            </a:xfrm>
            <a:custGeom>
              <a:avLst/>
              <a:gdLst>
                <a:gd name="connsiteX0" fmla="*/ 46936 w 93872"/>
                <a:gd name="connsiteY0" fmla="*/ 93872 h 93872"/>
                <a:gd name="connsiteX1" fmla="*/ 0 w 93872"/>
                <a:gd name="connsiteY1" fmla="*/ 46936 h 93872"/>
                <a:gd name="connsiteX2" fmla="*/ 46936 w 93872"/>
                <a:gd name="connsiteY2" fmla="*/ 0 h 93872"/>
                <a:gd name="connsiteX3" fmla="*/ 93872 w 93872"/>
                <a:gd name="connsiteY3" fmla="*/ 46936 h 93872"/>
                <a:gd name="connsiteX4" fmla="*/ 46936 w 93872"/>
                <a:gd name="connsiteY4" fmla="*/ 93872 h 93872"/>
                <a:gd name="connsiteX5" fmla="*/ 46936 w 93872"/>
                <a:gd name="connsiteY5" fmla="*/ 93872 h 93872"/>
                <a:gd name="connsiteX6" fmla="*/ 46936 w 93872"/>
                <a:gd name="connsiteY6" fmla="*/ 34720 h 93872"/>
                <a:gd name="connsiteX7" fmla="*/ 34077 w 93872"/>
                <a:gd name="connsiteY7" fmla="*/ 47579 h 93872"/>
                <a:gd name="connsiteX8" fmla="*/ 46936 w 93872"/>
                <a:gd name="connsiteY8" fmla="*/ 60438 h 93872"/>
                <a:gd name="connsiteX9" fmla="*/ 59796 w 93872"/>
                <a:gd name="connsiteY9" fmla="*/ 47579 h 93872"/>
                <a:gd name="connsiteX10" fmla="*/ 46936 w 93872"/>
                <a:gd name="connsiteY10" fmla="*/ 34720 h 93872"/>
                <a:gd name="connsiteX11" fmla="*/ 46936 w 93872"/>
                <a:gd name="connsiteY11" fmla="*/ 34720 h 93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3872" h="93872">
                  <a:moveTo>
                    <a:pt x="46936" y="93872"/>
                  </a:moveTo>
                  <a:cubicBezTo>
                    <a:pt x="21218" y="93872"/>
                    <a:pt x="0" y="72655"/>
                    <a:pt x="0" y="46936"/>
                  </a:cubicBezTo>
                  <a:cubicBezTo>
                    <a:pt x="0" y="21218"/>
                    <a:pt x="21218" y="0"/>
                    <a:pt x="46936" y="0"/>
                  </a:cubicBezTo>
                  <a:cubicBezTo>
                    <a:pt x="72655" y="0"/>
                    <a:pt x="93872" y="21218"/>
                    <a:pt x="93872" y="46936"/>
                  </a:cubicBezTo>
                  <a:cubicBezTo>
                    <a:pt x="93229" y="73298"/>
                    <a:pt x="72655" y="93872"/>
                    <a:pt x="46936" y="93872"/>
                  </a:cubicBezTo>
                  <a:lnTo>
                    <a:pt x="46936" y="93872"/>
                  </a:lnTo>
                  <a:close/>
                  <a:moveTo>
                    <a:pt x="46936" y="34720"/>
                  </a:moveTo>
                  <a:cubicBezTo>
                    <a:pt x="39863" y="34720"/>
                    <a:pt x="34077" y="40506"/>
                    <a:pt x="34077" y="47579"/>
                  </a:cubicBezTo>
                  <a:cubicBezTo>
                    <a:pt x="34077" y="54652"/>
                    <a:pt x="39863" y="60438"/>
                    <a:pt x="46936" y="60438"/>
                  </a:cubicBezTo>
                  <a:cubicBezTo>
                    <a:pt x="54009" y="60438"/>
                    <a:pt x="59796" y="54652"/>
                    <a:pt x="59796" y="47579"/>
                  </a:cubicBezTo>
                  <a:cubicBezTo>
                    <a:pt x="59152" y="40506"/>
                    <a:pt x="54009" y="34720"/>
                    <a:pt x="46936" y="34720"/>
                  </a:cubicBezTo>
                  <a:lnTo>
                    <a:pt x="46936" y="34720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78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6412565" y="2553164"/>
            <a:ext cx="359481" cy="444438"/>
            <a:chOff x="6416837" y="2590814"/>
            <a:chExt cx="364558" cy="450715"/>
          </a:xfrm>
          <a:solidFill>
            <a:srgbClr val="B1B1A1"/>
          </a:solidFill>
        </p:grpSpPr>
        <p:sp>
          <p:nvSpPr>
            <p:cNvPr id="279" name="Forma Livre: Forma 278">
              <a:extLst>
                <a:ext uri="{FF2B5EF4-FFF2-40B4-BE49-F238E27FC236}">
                  <a16:creationId xmlns:a16="http://schemas.microsoft.com/office/drawing/2014/main" id="{2DA1ACDE-AE43-4209-BA8F-CD38A218C5C3}"/>
                </a:ext>
              </a:extLst>
            </p:cNvPr>
            <p:cNvSpPr/>
            <p:nvPr/>
          </p:nvSpPr>
          <p:spPr>
            <a:xfrm>
              <a:off x="6570505" y="2830639"/>
              <a:ext cx="210891" cy="210891"/>
            </a:xfrm>
            <a:custGeom>
              <a:avLst/>
              <a:gdLst>
                <a:gd name="connsiteX0" fmla="*/ 105446 w 210891"/>
                <a:gd name="connsiteY0" fmla="*/ 210891 h 210891"/>
                <a:gd name="connsiteX1" fmla="*/ 0 w 210891"/>
                <a:gd name="connsiteY1" fmla="*/ 105446 h 210891"/>
                <a:gd name="connsiteX2" fmla="*/ 105446 w 210891"/>
                <a:gd name="connsiteY2" fmla="*/ 0 h 210891"/>
                <a:gd name="connsiteX3" fmla="*/ 210891 w 210891"/>
                <a:gd name="connsiteY3" fmla="*/ 105446 h 210891"/>
                <a:gd name="connsiteX4" fmla="*/ 105446 w 210891"/>
                <a:gd name="connsiteY4" fmla="*/ 210891 h 210891"/>
                <a:gd name="connsiteX5" fmla="*/ 105446 w 210891"/>
                <a:gd name="connsiteY5" fmla="*/ 210891 h 210891"/>
                <a:gd name="connsiteX6" fmla="*/ 105446 w 210891"/>
                <a:gd name="connsiteY6" fmla="*/ 17360 h 210891"/>
                <a:gd name="connsiteX7" fmla="*/ 16717 w 210891"/>
                <a:gd name="connsiteY7" fmla="*/ 106089 h 210891"/>
                <a:gd name="connsiteX8" fmla="*/ 105446 w 210891"/>
                <a:gd name="connsiteY8" fmla="*/ 194817 h 210891"/>
                <a:gd name="connsiteX9" fmla="*/ 194174 w 210891"/>
                <a:gd name="connsiteY9" fmla="*/ 106089 h 210891"/>
                <a:gd name="connsiteX10" fmla="*/ 105446 w 210891"/>
                <a:gd name="connsiteY10" fmla="*/ 17360 h 210891"/>
                <a:gd name="connsiteX11" fmla="*/ 105446 w 210891"/>
                <a:gd name="connsiteY11" fmla="*/ 17360 h 210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0891" h="210891">
                  <a:moveTo>
                    <a:pt x="105446" y="210891"/>
                  </a:moveTo>
                  <a:cubicBezTo>
                    <a:pt x="47579" y="210891"/>
                    <a:pt x="0" y="163312"/>
                    <a:pt x="0" y="105446"/>
                  </a:cubicBezTo>
                  <a:cubicBezTo>
                    <a:pt x="0" y="47579"/>
                    <a:pt x="47579" y="0"/>
                    <a:pt x="105446" y="0"/>
                  </a:cubicBezTo>
                  <a:cubicBezTo>
                    <a:pt x="163312" y="0"/>
                    <a:pt x="210891" y="47579"/>
                    <a:pt x="210891" y="105446"/>
                  </a:cubicBezTo>
                  <a:cubicBezTo>
                    <a:pt x="210891" y="163312"/>
                    <a:pt x="163312" y="210891"/>
                    <a:pt x="105446" y="210891"/>
                  </a:cubicBezTo>
                  <a:lnTo>
                    <a:pt x="105446" y="210891"/>
                  </a:lnTo>
                  <a:close/>
                  <a:moveTo>
                    <a:pt x="105446" y="17360"/>
                  </a:moveTo>
                  <a:cubicBezTo>
                    <a:pt x="56581" y="17360"/>
                    <a:pt x="16717" y="57224"/>
                    <a:pt x="16717" y="106089"/>
                  </a:cubicBezTo>
                  <a:cubicBezTo>
                    <a:pt x="16717" y="154954"/>
                    <a:pt x="56581" y="194817"/>
                    <a:pt x="105446" y="194817"/>
                  </a:cubicBezTo>
                  <a:cubicBezTo>
                    <a:pt x="154311" y="194817"/>
                    <a:pt x="194174" y="154954"/>
                    <a:pt x="194174" y="106089"/>
                  </a:cubicBezTo>
                  <a:cubicBezTo>
                    <a:pt x="194174" y="56581"/>
                    <a:pt x="154311" y="17360"/>
                    <a:pt x="105446" y="17360"/>
                  </a:cubicBezTo>
                  <a:lnTo>
                    <a:pt x="105446" y="17360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80" name="Forma Livre: Forma 279">
              <a:extLst>
                <a:ext uri="{FF2B5EF4-FFF2-40B4-BE49-F238E27FC236}">
                  <a16:creationId xmlns:a16="http://schemas.microsoft.com/office/drawing/2014/main" id="{7F3BC185-001E-4279-BFB0-D4ED8CF69207}"/>
                </a:ext>
              </a:extLst>
            </p:cNvPr>
            <p:cNvSpPr/>
            <p:nvPr/>
          </p:nvSpPr>
          <p:spPr>
            <a:xfrm>
              <a:off x="6626121" y="2886255"/>
              <a:ext cx="99659" cy="99980"/>
            </a:xfrm>
            <a:custGeom>
              <a:avLst/>
              <a:gdLst>
                <a:gd name="connsiteX0" fmla="*/ 83264 w 99659"/>
                <a:gd name="connsiteY0" fmla="*/ 99981 h 99980"/>
                <a:gd name="connsiteX1" fmla="*/ 71047 w 99659"/>
                <a:gd name="connsiteY1" fmla="*/ 94837 h 99980"/>
                <a:gd name="connsiteX2" fmla="*/ 4822 w 99659"/>
                <a:gd name="connsiteY2" fmla="*/ 28612 h 99980"/>
                <a:gd name="connsiteX3" fmla="*/ 4822 w 99659"/>
                <a:gd name="connsiteY3" fmla="*/ 4822 h 99980"/>
                <a:gd name="connsiteX4" fmla="*/ 28612 w 99659"/>
                <a:gd name="connsiteY4" fmla="*/ 4822 h 99980"/>
                <a:gd name="connsiteX5" fmla="*/ 94837 w 99659"/>
                <a:gd name="connsiteY5" fmla="*/ 71047 h 99980"/>
                <a:gd name="connsiteX6" fmla="*/ 94837 w 99659"/>
                <a:gd name="connsiteY6" fmla="*/ 94837 h 99980"/>
                <a:gd name="connsiteX7" fmla="*/ 83264 w 99659"/>
                <a:gd name="connsiteY7" fmla="*/ 99981 h 99980"/>
                <a:gd name="connsiteX8" fmla="*/ 83264 w 99659"/>
                <a:gd name="connsiteY8" fmla="*/ 99981 h 99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9659" h="99980">
                  <a:moveTo>
                    <a:pt x="83264" y="99981"/>
                  </a:moveTo>
                  <a:cubicBezTo>
                    <a:pt x="78763" y="99981"/>
                    <a:pt x="74262" y="98052"/>
                    <a:pt x="71047" y="94837"/>
                  </a:cubicBezTo>
                  <a:lnTo>
                    <a:pt x="4822" y="28612"/>
                  </a:lnTo>
                  <a:cubicBezTo>
                    <a:pt x="-1607" y="22182"/>
                    <a:pt x="-1607" y="11252"/>
                    <a:pt x="4822" y="4822"/>
                  </a:cubicBezTo>
                  <a:cubicBezTo>
                    <a:pt x="11252" y="-1607"/>
                    <a:pt x="22182" y="-1607"/>
                    <a:pt x="28612" y="4822"/>
                  </a:cubicBezTo>
                  <a:lnTo>
                    <a:pt x="94837" y="71047"/>
                  </a:lnTo>
                  <a:cubicBezTo>
                    <a:pt x="101266" y="77477"/>
                    <a:pt x="101266" y="88407"/>
                    <a:pt x="94837" y="94837"/>
                  </a:cubicBezTo>
                  <a:cubicBezTo>
                    <a:pt x="91622" y="98695"/>
                    <a:pt x="87121" y="99981"/>
                    <a:pt x="83264" y="99981"/>
                  </a:cubicBezTo>
                  <a:lnTo>
                    <a:pt x="83264" y="99981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81" name="Forma Livre: Forma 280">
              <a:extLst>
                <a:ext uri="{FF2B5EF4-FFF2-40B4-BE49-F238E27FC236}">
                  <a16:creationId xmlns:a16="http://schemas.microsoft.com/office/drawing/2014/main" id="{018B2885-FABA-4665-8768-93124CE0EA8F}"/>
                </a:ext>
              </a:extLst>
            </p:cNvPr>
            <p:cNvSpPr/>
            <p:nvPr/>
          </p:nvSpPr>
          <p:spPr>
            <a:xfrm>
              <a:off x="6625478" y="2886255"/>
              <a:ext cx="99659" cy="99980"/>
            </a:xfrm>
            <a:custGeom>
              <a:avLst/>
              <a:gdLst>
                <a:gd name="connsiteX0" fmla="*/ 17039 w 99659"/>
                <a:gd name="connsiteY0" fmla="*/ 99981 h 99980"/>
                <a:gd name="connsiteX1" fmla="*/ 4822 w 99659"/>
                <a:gd name="connsiteY1" fmla="*/ 94837 h 99980"/>
                <a:gd name="connsiteX2" fmla="*/ 4822 w 99659"/>
                <a:gd name="connsiteY2" fmla="*/ 71047 h 99980"/>
                <a:gd name="connsiteX3" fmla="*/ 71048 w 99659"/>
                <a:gd name="connsiteY3" fmla="*/ 4822 h 99980"/>
                <a:gd name="connsiteX4" fmla="*/ 94837 w 99659"/>
                <a:gd name="connsiteY4" fmla="*/ 4822 h 99980"/>
                <a:gd name="connsiteX5" fmla="*/ 94837 w 99659"/>
                <a:gd name="connsiteY5" fmla="*/ 28612 h 99980"/>
                <a:gd name="connsiteX6" fmla="*/ 28612 w 99659"/>
                <a:gd name="connsiteY6" fmla="*/ 94837 h 99980"/>
                <a:gd name="connsiteX7" fmla="*/ 17039 w 99659"/>
                <a:gd name="connsiteY7" fmla="*/ 99981 h 99980"/>
                <a:gd name="connsiteX8" fmla="*/ 17039 w 99659"/>
                <a:gd name="connsiteY8" fmla="*/ 99981 h 99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9659" h="99980">
                  <a:moveTo>
                    <a:pt x="17039" y="99981"/>
                  </a:moveTo>
                  <a:cubicBezTo>
                    <a:pt x="12538" y="99981"/>
                    <a:pt x="8037" y="98052"/>
                    <a:pt x="4822" y="94837"/>
                  </a:cubicBezTo>
                  <a:cubicBezTo>
                    <a:pt x="-1607" y="88407"/>
                    <a:pt x="-1607" y="77477"/>
                    <a:pt x="4822" y="71047"/>
                  </a:cubicBezTo>
                  <a:lnTo>
                    <a:pt x="71048" y="4822"/>
                  </a:lnTo>
                  <a:cubicBezTo>
                    <a:pt x="77477" y="-1607"/>
                    <a:pt x="88407" y="-1607"/>
                    <a:pt x="94837" y="4822"/>
                  </a:cubicBezTo>
                  <a:cubicBezTo>
                    <a:pt x="101266" y="11252"/>
                    <a:pt x="101266" y="22182"/>
                    <a:pt x="94837" y="28612"/>
                  </a:cubicBezTo>
                  <a:lnTo>
                    <a:pt x="28612" y="94837"/>
                  </a:lnTo>
                  <a:cubicBezTo>
                    <a:pt x="26040" y="98695"/>
                    <a:pt x="21539" y="99981"/>
                    <a:pt x="17039" y="99981"/>
                  </a:cubicBezTo>
                  <a:lnTo>
                    <a:pt x="17039" y="99981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82" name="Forma Livre: Forma 281">
              <a:extLst>
                <a:ext uri="{FF2B5EF4-FFF2-40B4-BE49-F238E27FC236}">
                  <a16:creationId xmlns:a16="http://schemas.microsoft.com/office/drawing/2014/main" id="{A1106A70-4F53-44A4-94A1-57514261A1D7}"/>
                </a:ext>
              </a:extLst>
            </p:cNvPr>
            <p:cNvSpPr/>
            <p:nvPr/>
          </p:nvSpPr>
          <p:spPr>
            <a:xfrm>
              <a:off x="6497208" y="2590814"/>
              <a:ext cx="156882" cy="156882"/>
            </a:xfrm>
            <a:custGeom>
              <a:avLst/>
              <a:gdLst>
                <a:gd name="connsiteX0" fmla="*/ 139522 w 156882"/>
                <a:gd name="connsiteY0" fmla="*/ 156883 h 156882"/>
                <a:gd name="connsiteX1" fmla="*/ 122805 w 156882"/>
                <a:gd name="connsiteY1" fmla="*/ 140166 h 156882"/>
                <a:gd name="connsiteX2" fmla="*/ 122805 w 156882"/>
                <a:gd name="connsiteY2" fmla="*/ 34077 h 156882"/>
                <a:gd name="connsiteX3" fmla="*/ 33434 w 156882"/>
                <a:gd name="connsiteY3" fmla="*/ 34077 h 156882"/>
                <a:gd name="connsiteX4" fmla="*/ 33434 w 156882"/>
                <a:gd name="connsiteY4" fmla="*/ 140166 h 156882"/>
                <a:gd name="connsiteX5" fmla="*/ 16717 w 156882"/>
                <a:gd name="connsiteY5" fmla="*/ 156883 h 156882"/>
                <a:gd name="connsiteX6" fmla="*/ 0 w 156882"/>
                <a:gd name="connsiteY6" fmla="*/ 140166 h 156882"/>
                <a:gd name="connsiteX7" fmla="*/ 0 w 156882"/>
                <a:gd name="connsiteY7" fmla="*/ 34077 h 156882"/>
                <a:gd name="connsiteX8" fmla="*/ 34077 w 156882"/>
                <a:gd name="connsiteY8" fmla="*/ 0 h 156882"/>
                <a:gd name="connsiteX9" fmla="*/ 122805 w 156882"/>
                <a:gd name="connsiteY9" fmla="*/ 0 h 156882"/>
                <a:gd name="connsiteX10" fmla="*/ 156882 w 156882"/>
                <a:gd name="connsiteY10" fmla="*/ 34077 h 156882"/>
                <a:gd name="connsiteX11" fmla="*/ 156882 w 156882"/>
                <a:gd name="connsiteY11" fmla="*/ 140166 h 156882"/>
                <a:gd name="connsiteX12" fmla="*/ 139522 w 156882"/>
                <a:gd name="connsiteY12" fmla="*/ 156883 h 156882"/>
                <a:gd name="connsiteX13" fmla="*/ 139522 w 156882"/>
                <a:gd name="connsiteY13" fmla="*/ 156883 h 156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6882" h="156882">
                  <a:moveTo>
                    <a:pt x="139522" y="156883"/>
                  </a:moveTo>
                  <a:cubicBezTo>
                    <a:pt x="129878" y="156883"/>
                    <a:pt x="122805" y="149167"/>
                    <a:pt x="122805" y="140166"/>
                  </a:cubicBezTo>
                  <a:lnTo>
                    <a:pt x="122805" y="34077"/>
                  </a:lnTo>
                  <a:lnTo>
                    <a:pt x="33434" y="34077"/>
                  </a:lnTo>
                  <a:lnTo>
                    <a:pt x="33434" y="140166"/>
                  </a:lnTo>
                  <a:cubicBezTo>
                    <a:pt x="33434" y="149810"/>
                    <a:pt x="25718" y="156883"/>
                    <a:pt x="16717" y="156883"/>
                  </a:cubicBezTo>
                  <a:cubicBezTo>
                    <a:pt x="7072" y="156883"/>
                    <a:pt x="0" y="149167"/>
                    <a:pt x="0" y="140166"/>
                  </a:cubicBezTo>
                  <a:lnTo>
                    <a:pt x="0" y="34077"/>
                  </a:lnTo>
                  <a:cubicBezTo>
                    <a:pt x="0" y="15431"/>
                    <a:pt x="15431" y="0"/>
                    <a:pt x="34077" y="0"/>
                  </a:cubicBezTo>
                  <a:lnTo>
                    <a:pt x="122805" y="0"/>
                  </a:lnTo>
                  <a:cubicBezTo>
                    <a:pt x="141452" y="0"/>
                    <a:pt x="156882" y="15431"/>
                    <a:pt x="156882" y="34077"/>
                  </a:cubicBezTo>
                  <a:lnTo>
                    <a:pt x="156882" y="140166"/>
                  </a:lnTo>
                  <a:cubicBezTo>
                    <a:pt x="156240" y="149810"/>
                    <a:pt x="149167" y="156883"/>
                    <a:pt x="139522" y="156883"/>
                  </a:cubicBezTo>
                  <a:lnTo>
                    <a:pt x="139522" y="156883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83" name="Forma Livre: Forma 282">
              <a:extLst>
                <a:ext uri="{FF2B5EF4-FFF2-40B4-BE49-F238E27FC236}">
                  <a16:creationId xmlns:a16="http://schemas.microsoft.com/office/drawing/2014/main" id="{00F21A2B-0DC1-47EE-A62D-06FBB887D69C}"/>
                </a:ext>
              </a:extLst>
            </p:cNvPr>
            <p:cNvSpPr/>
            <p:nvPr/>
          </p:nvSpPr>
          <p:spPr>
            <a:xfrm>
              <a:off x="6416837" y="2674399"/>
              <a:ext cx="316979" cy="322766"/>
            </a:xfrm>
            <a:custGeom>
              <a:avLst/>
              <a:gdLst>
                <a:gd name="connsiteX0" fmla="*/ 172956 w 316979"/>
                <a:gd name="connsiteY0" fmla="*/ 322767 h 322766"/>
                <a:gd name="connsiteX1" fmla="*/ 34077 w 316979"/>
                <a:gd name="connsiteY1" fmla="*/ 322767 h 322766"/>
                <a:gd name="connsiteX2" fmla="*/ 0 w 316979"/>
                <a:gd name="connsiteY2" fmla="*/ 288690 h 322766"/>
                <a:gd name="connsiteX3" fmla="*/ 0 w 316979"/>
                <a:gd name="connsiteY3" fmla="*/ 34077 h 322766"/>
                <a:gd name="connsiteX4" fmla="*/ 34077 w 316979"/>
                <a:gd name="connsiteY4" fmla="*/ 0 h 322766"/>
                <a:gd name="connsiteX5" fmla="*/ 282903 w 316979"/>
                <a:gd name="connsiteY5" fmla="*/ 0 h 322766"/>
                <a:gd name="connsiteX6" fmla="*/ 316980 w 316979"/>
                <a:gd name="connsiteY6" fmla="*/ 34077 h 322766"/>
                <a:gd name="connsiteX7" fmla="*/ 316980 w 316979"/>
                <a:gd name="connsiteY7" fmla="*/ 174242 h 322766"/>
                <a:gd name="connsiteX8" fmla="*/ 282903 w 316979"/>
                <a:gd name="connsiteY8" fmla="*/ 174242 h 322766"/>
                <a:gd name="connsiteX9" fmla="*/ 282903 w 316979"/>
                <a:gd name="connsiteY9" fmla="*/ 34077 h 322766"/>
                <a:gd name="connsiteX10" fmla="*/ 34077 w 316979"/>
                <a:gd name="connsiteY10" fmla="*/ 34077 h 322766"/>
                <a:gd name="connsiteX11" fmla="*/ 34077 w 316979"/>
                <a:gd name="connsiteY11" fmla="*/ 288690 h 322766"/>
                <a:gd name="connsiteX12" fmla="*/ 172956 w 316979"/>
                <a:gd name="connsiteY12" fmla="*/ 288690 h 322766"/>
                <a:gd name="connsiteX13" fmla="*/ 172956 w 316979"/>
                <a:gd name="connsiteY13" fmla="*/ 322767 h 322766"/>
                <a:gd name="connsiteX14" fmla="*/ 172956 w 316979"/>
                <a:gd name="connsiteY14" fmla="*/ 322767 h 322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16979" h="322766">
                  <a:moveTo>
                    <a:pt x="172956" y="322767"/>
                  </a:moveTo>
                  <a:lnTo>
                    <a:pt x="34077" y="322767"/>
                  </a:lnTo>
                  <a:cubicBezTo>
                    <a:pt x="15431" y="322767"/>
                    <a:pt x="0" y="307336"/>
                    <a:pt x="0" y="288690"/>
                  </a:cubicBezTo>
                  <a:lnTo>
                    <a:pt x="0" y="34077"/>
                  </a:lnTo>
                  <a:cubicBezTo>
                    <a:pt x="0" y="15431"/>
                    <a:pt x="15431" y="0"/>
                    <a:pt x="34077" y="0"/>
                  </a:cubicBezTo>
                  <a:lnTo>
                    <a:pt x="282903" y="0"/>
                  </a:lnTo>
                  <a:cubicBezTo>
                    <a:pt x="301549" y="0"/>
                    <a:pt x="316980" y="15431"/>
                    <a:pt x="316980" y="34077"/>
                  </a:cubicBezTo>
                  <a:lnTo>
                    <a:pt x="316980" y="174242"/>
                  </a:lnTo>
                  <a:lnTo>
                    <a:pt x="282903" y="174242"/>
                  </a:lnTo>
                  <a:lnTo>
                    <a:pt x="282903" y="34077"/>
                  </a:lnTo>
                  <a:lnTo>
                    <a:pt x="34077" y="34077"/>
                  </a:lnTo>
                  <a:lnTo>
                    <a:pt x="34077" y="288690"/>
                  </a:lnTo>
                  <a:lnTo>
                    <a:pt x="172956" y="288690"/>
                  </a:lnTo>
                  <a:lnTo>
                    <a:pt x="172956" y="322767"/>
                  </a:lnTo>
                  <a:lnTo>
                    <a:pt x="172956" y="322767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84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4364089" y="2553164"/>
            <a:ext cx="359482" cy="444438"/>
            <a:chOff x="4339429" y="2590814"/>
            <a:chExt cx="364559" cy="450715"/>
          </a:xfrm>
          <a:solidFill>
            <a:srgbClr val="B1B1A1"/>
          </a:solidFill>
        </p:grpSpPr>
        <p:sp>
          <p:nvSpPr>
            <p:cNvPr id="285" name="Forma Livre: Forma 284">
              <a:extLst>
                <a:ext uri="{FF2B5EF4-FFF2-40B4-BE49-F238E27FC236}">
                  <a16:creationId xmlns:a16="http://schemas.microsoft.com/office/drawing/2014/main" id="{0716EFC1-8ED2-4C03-8A53-728D5CB7B74B}"/>
                </a:ext>
              </a:extLst>
            </p:cNvPr>
            <p:cNvSpPr/>
            <p:nvPr/>
          </p:nvSpPr>
          <p:spPr>
            <a:xfrm>
              <a:off x="4493097" y="2830639"/>
              <a:ext cx="210891" cy="210891"/>
            </a:xfrm>
            <a:custGeom>
              <a:avLst/>
              <a:gdLst>
                <a:gd name="connsiteX0" fmla="*/ 105445 w 210891"/>
                <a:gd name="connsiteY0" fmla="*/ 210891 h 210891"/>
                <a:gd name="connsiteX1" fmla="*/ 0 w 210891"/>
                <a:gd name="connsiteY1" fmla="*/ 105446 h 210891"/>
                <a:gd name="connsiteX2" fmla="*/ 105445 w 210891"/>
                <a:gd name="connsiteY2" fmla="*/ 0 h 210891"/>
                <a:gd name="connsiteX3" fmla="*/ 210891 w 210891"/>
                <a:gd name="connsiteY3" fmla="*/ 105446 h 210891"/>
                <a:gd name="connsiteX4" fmla="*/ 105445 w 210891"/>
                <a:gd name="connsiteY4" fmla="*/ 210891 h 210891"/>
                <a:gd name="connsiteX5" fmla="*/ 105445 w 210891"/>
                <a:gd name="connsiteY5" fmla="*/ 210891 h 210891"/>
                <a:gd name="connsiteX6" fmla="*/ 105445 w 210891"/>
                <a:gd name="connsiteY6" fmla="*/ 17360 h 210891"/>
                <a:gd name="connsiteX7" fmla="*/ 16717 w 210891"/>
                <a:gd name="connsiteY7" fmla="*/ 106089 h 210891"/>
                <a:gd name="connsiteX8" fmla="*/ 105445 w 210891"/>
                <a:gd name="connsiteY8" fmla="*/ 194817 h 210891"/>
                <a:gd name="connsiteX9" fmla="*/ 194174 w 210891"/>
                <a:gd name="connsiteY9" fmla="*/ 106089 h 210891"/>
                <a:gd name="connsiteX10" fmla="*/ 105445 w 210891"/>
                <a:gd name="connsiteY10" fmla="*/ 17360 h 210891"/>
                <a:gd name="connsiteX11" fmla="*/ 105445 w 210891"/>
                <a:gd name="connsiteY11" fmla="*/ 17360 h 210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0891" h="210891">
                  <a:moveTo>
                    <a:pt x="105445" y="210891"/>
                  </a:moveTo>
                  <a:cubicBezTo>
                    <a:pt x="47579" y="210891"/>
                    <a:pt x="0" y="163312"/>
                    <a:pt x="0" y="105446"/>
                  </a:cubicBezTo>
                  <a:cubicBezTo>
                    <a:pt x="0" y="47579"/>
                    <a:pt x="47579" y="0"/>
                    <a:pt x="105445" y="0"/>
                  </a:cubicBezTo>
                  <a:cubicBezTo>
                    <a:pt x="163312" y="0"/>
                    <a:pt x="210891" y="47579"/>
                    <a:pt x="210891" y="105446"/>
                  </a:cubicBezTo>
                  <a:cubicBezTo>
                    <a:pt x="210891" y="163312"/>
                    <a:pt x="163312" y="210891"/>
                    <a:pt x="105445" y="210891"/>
                  </a:cubicBezTo>
                  <a:lnTo>
                    <a:pt x="105445" y="210891"/>
                  </a:lnTo>
                  <a:close/>
                  <a:moveTo>
                    <a:pt x="105445" y="17360"/>
                  </a:moveTo>
                  <a:cubicBezTo>
                    <a:pt x="56581" y="17360"/>
                    <a:pt x="16717" y="57224"/>
                    <a:pt x="16717" y="106089"/>
                  </a:cubicBezTo>
                  <a:cubicBezTo>
                    <a:pt x="16717" y="154954"/>
                    <a:pt x="56581" y="194817"/>
                    <a:pt x="105445" y="194817"/>
                  </a:cubicBezTo>
                  <a:cubicBezTo>
                    <a:pt x="154311" y="194817"/>
                    <a:pt x="194174" y="154954"/>
                    <a:pt x="194174" y="106089"/>
                  </a:cubicBezTo>
                  <a:cubicBezTo>
                    <a:pt x="193531" y="56581"/>
                    <a:pt x="154311" y="17360"/>
                    <a:pt x="105445" y="17360"/>
                  </a:cubicBezTo>
                  <a:lnTo>
                    <a:pt x="105445" y="17360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86" name="Forma Livre: Forma 285">
              <a:extLst>
                <a:ext uri="{FF2B5EF4-FFF2-40B4-BE49-F238E27FC236}">
                  <a16:creationId xmlns:a16="http://schemas.microsoft.com/office/drawing/2014/main" id="{EED09299-F7C7-40D5-B362-9F0D2F3C37BD}"/>
                </a:ext>
              </a:extLst>
            </p:cNvPr>
            <p:cNvSpPr/>
            <p:nvPr/>
          </p:nvSpPr>
          <p:spPr>
            <a:xfrm>
              <a:off x="4581825" y="2872431"/>
              <a:ext cx="33434" cy="127306"/>
            </a:xfrm>
            <a:custGeom>
              <a:avLst/>
              <a:gdLst>
                <a:gd name="connsiteX0" fmla="*/ 16717 w 33434"/>
                <a:gd name="connsiteY0" fmla="*/ 127306 h 127306"/>
                <a:gd name="connsiteX1" fmla="*/ 16717 w 33434"/>
                <a:gd name="connsiteY1" fmla="*/ 127306 h 127306"/>
                <a:gd name="connsiteX2" fmla="*/ 0 w 33434"/>
                <a:gd name="connsiteY2" fmla="*/ 110589 h 127306"/>
                <a:gd name="connsiteX3" fmla="*/ 0 w 33434"/>
                <a:gd name="connsiteY3" fmla="*/ 16717 h 127306"/>
                <a:gd name="connsiteX4" fmla="*/ 16717 w 33434"/>
                <a:gd name="connsiteY4" fmla="*/ 0 h 127306"/>
                <a:gd name="connsiteX5" fmla="*/ 16717 w 33434"/>
                <a:gd name="connsiteY5" fmla="*/ 0 h 127306"/>
                <a:gd name="connsiteX6" fmla="*/ 33434 w 33434"/>
                <a:gd name="connsiteY6" fmla="*/ 16717 h 127306"/>
                <a:gd name="connsiteX7" fmla="*/ 33434 w 33434"/>
                <a:gd name="connsiteY7" fmla="*/ 110589 h 127306"/>
                <a:gd name="connsiteX8" fmla="*/ 16717 w 33434"/>
                <a:gd name="connsiteY8" fmla="*/ 127306 h 127306"/>
                <a:gd name="connsiteX9" fmla="*/ 16717 w 33434"/>
                <a:gd name="connsiteY9" fmla="*/ 127306 h 127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434" h="127306">
                  <a:moveTo>
                    <a:pt x="16717" y="127306"/>
                  </a:moveTo>
                  <a:lnTo>
                    <a:pt x="16717" y="127306"/>
                  </a:lnTo>
                  <a:cubicBezTo>
                    <a:pt x="7072" y="127306"/>
                    <a:pt x="0" y="119591"/>
                    <a:pt x="0" y="110589"/>
                  </a:cubicBezTo>
                  <a:lnTo>
                    <a:pt x="0" y="16717"/>
                  </a:lnTo>
                  <a:cubicBezTo>
                    <a:pt x="0" y="7073"/>
                    <a:pt x="7716" y="0"/>
                    <a:pt x="16717" y="0"/>
                  </a:cubicBezTo>
                  <a:lnTo>
                    <a:pt x="16717" y="0"/>
                  </a:lnTo>
                  <a:cubicBezTo>
                    <a:pt x="26361" y="0"/>
                    <a:pt x="33434" y="7716"/>
                    <a:pt x="33434" y="16717"/>
                  </a:cubicBezTo>
                  <a:lnTo>
                    <a:pt x="33434" y="110589"/>
                  </a:lnTo>
                  <a:cubicBezTo>
                    <a:pt x="33434" y="120234"/>
                    <a:pt x="25718" y="127306"/>
                    <a:pt x="16717" y="127306"/>
                  </a:cubicBezTo>
                  <a:lnTo>
                    <a:pt x="16717" y="127306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87" name="Forma Livre: Forma 286">
              <a:extLst>
                <a:ext uri="{FF2B5EF4-FFF2-40B4-BE49-F238E27FC236}">
                  <a16:creationId xmlns:a16="http://schemas.microsoft.com/office/drawing/2014/main" id="{1CA58597-4FC7-44D9-BC68-1A070013AE09}"/>
                </a:ext>
              </a:extLst>
            </p:cNvPr>
            <p:cNvSpPr/>
            <p:nvPr/>
          </p:nvSpPr>
          <p:spPr>
            <a:xfrm>
              <a:off x="4534889" y="2920010"/>
              <a:ext cx="127306" cy="33434"/>
            </a:xfrm>
            <a:custGeom>
              <a:avLst/>
              <a:gdLst>
                <a:gd name="connsiteX0" fmla="*/ 16717 w 127306"/>
                <a:gd name="connsiteY0" fmla="*/ 33434 h 33434"/>
                <a:gd name="connsiteX1" fmla="*/ 0 w 127306"/>
                <a:gd name="connsiteY1" fmla="*/ 16717 h 33434"/>
                <a:gd name="connsiteX2" fmla="*/ 16717 w 127306"/>
                <a:gd name="connsiteY2" fmla="*/ 0 h 33434"/>
                <a:gd name="connsiteX3" fmla="*/ 110589 w 127306"/>
                <a:gd name="connsiteY3" fmla="*/ 0 h 33434"/>
                <a:gd name="connsiteX4" fmla="*/ 127306 w 127306"/>
                <a:gd name="connsiteY4" fmla="*/ 16717 h 33434"/>
                <a:gd name="connsiteX5" fmla="*/ 110589 w 127306"/>
                <a:gd name="connsiteY5" fmla="*/ 33434 h 33434"/>
                <a:gd name="connsiteX6" fmla="*/ 16717 w 127306"/>
                <a:gd name="connsiteY6" fmla="*/ 33434 h 33434"/>
                <a:gd name="connsiteX7" fmla="*/ 16717 w 127306"/>
                <a:gd name="connsiteY7" fmla="*/ 33434 h 33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7306" h="33434">
                  <a:moveTo>
                    <a:pt x="16717" y="33434"/>
                  </a:moveTo>
                  <a:cubicBezTo>
                    <a:pt x="7072" y="33434"/>
                    <a:pt x="0" y="25718"/>
                    <a:pt x="0" y="16717"/>
                  </a:cubicBezTo>
                  <a:cubicBezTo>
                    <a:pt x="0" y="7073"/>
                    <a:pt x="7716" y="0"/>
                    <a:pt x="16717" y="0"/>
                  </a:cubicBezTo>
                  <a:lnTo>
                    <a:pt x="110589" y="0"/>
                  </a:lnTo>
                  <a:cubicBezTo>
                    <a:pt x="120234" y="0"/>
                    <a:pt x="127306" y="7716"/>
                    <a:pt x="127306" y="16717"/>
                  </a:cubicBezTo>
                  <a:cubicBezTo>
                    <a:pt x="127306" y="26361"/>
                    <a:pt x="119591" y="33434"/>
                    <a:pt x="110589" y="33434"/>
                  </a:cubicBezTo>
                  <a:lnTo>
                    <a:pt x="16717" y="33434"/>
                  </a:lnTo>
                  <a:lnTo>
                    <a:pt x="16717" y="33434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88" name="Forma Livre: Forma 287">
              <a:extLst>
                <a:ext uri="{FF2B5EF4-FFF2-40B4-BE49-F238E27FC236}">
                  <a16:creationId xmlns:a16="http://schemas.microsoft.com/office/drawing/2014/main" id="{D9D357E4-621A-46DE-81A7-FA956ACC2296}"/>
                </a:ext>
              </a:extLst>
            </p:cNvPr>
            <p:cNvSpPr/>
            <p:nvPr/>
          </p:nvSpPr>
          <p:spPr>
            <a:xfrm>
              <a:off x="4419799" y="2590814"/>
              <a:ext cx="157525" cy="156882"/>
            </a:xfrm>
            <a:custGeom>
              <a:avLst/>
              <a:gdLst>
                <a:gd name="connsiteX0" fmla="*/ 139523 w 157525"/>
                <a:gd name="connsiteY0" fmla="*/ 156883 h 156882"/>
                <a:gd name="connsiteX1" fmla="*/ 122806 w 157525"/>
                <a:gd name="connsiteY1" fmla="*/ 140166 h 156882"/>
                <a:gd name="connsiteX2" fmla="*/ 122806 w 157525"/>
                <a:gd name="connsiteY2" fmla="*/ 34077 h 156882"/>
                <a:gd name="connsiteX3" fmla="*/ 33434 w 157525"/>
                <a:gd name="connsiteY3" fmla="*/ 34077 h 156882"/>
                <a:gd name="connsiteX4" fmla="*/ 33434 w 157525"/>
                <a:gd name="connsiteY4" fmla="*/ 140166 h 156882"/>
                <a:gd name="connsiteX5" fmla="*/ 16717 w 157525"/>
                <a:gd name="connsiteY5" fmla="*/ 156883 h 156882"/>
                <a:gd name="connsiteX6" fmla="*/ 0 w 157525"/>
                <a:gd name="connsiteY6" fmla="*/ 140166 h 156882"/>
                <a:gd name="connsiteX7" fmla="*/ 0 w 157525"/>
                <a:gd name="connsiteY7" fmla="*/ 34077 h 156882"/>
                <a:gd name="connsiteX8" fmla="*/ 34077 w 157525"/>
                <a:gd name="connsiteY8" fmla="*/ 0 h 156882"/>
                <a:gd name="connsiteX9" fmla="*/ 123449 w 157525"/>
                <a:gd name="connsiteY9" fmla="*/ 0 h 156882"/>
                <a:gd name="connsiteX10" fmla="*/ 157526 w 157525"/>
                <a:gd name="connsiteY10" fmla="*/ 34077 h 156882"/>
                <a:gd name="connsiteX11" fmla="*/ 157526 w 157525"/>
                <a:gd name="connsiteY11" fmla="*/ 140166 h 156882"/>
                <a:gd name="connsiteX12" fmla="*/ 139523 w 157525"/>
                <a:gd name="connsiteY12" fmla="*/ 156883 h 156882"/>
                <a:gd name="connsiteX13" fmla="*/ 139523 w 157525"/>
                <a:gd name="connsiteY13" fmla="*/ 156883 h 156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7525" h="156882">
                  <a:moveTo>
                    <a:pt x="139523" y="156883"/>
                  </a:moveTo>
                  <a:cubicBezTo>
                    <a:pt x="129878" y="156883"/>
                    <a:pt x="122806" y="149167"/>
                    <a:pt x="122806" y="140166"/>
                  </a:cubicBezTo>
                  <a:lnTo>
                    <a:pt x="122806" y="34077"/>
                  </a:lnTo>
                  <a:lnTo>
                    <a:pt x="33434" y="34077"/>
                  </a:lnTo>
                  <a:lnTo>
                    <a:pt x="33434" y="140166"/>
                  </a:lnTo>
                  <a:cubicBezTo>
                    <a:pt x="33434" y="149810"/>
                    <a:pt x="25718" y="156883"/>
                    <a:pt x="16717" y="156883"/>
                  </a:cubicBezTo>
                  <a:cubicBezTo>
                    <a:pt x="7073" y="156883"/>
                    <a:pt x="0" y="149167"/>
                    <a:pt x="0" y="140166"/>
                  </a:cubicBezTo>
                  <a:lnTo>
                    <a:pt x="0" y="34077"/>
                  </a:lnTo>
                  <a:cubicBezTo>
                    <a:pt x="0" y="15431"/>
                    <a:pt x="15431" y="0"/>
                    <a:pt x="34077" y="0"/>
                  </a:cubicBezTo>
                  <a:lnTo>
                    <a:pt x="123449" y="0"/>
                  </a:lnTo>
                  <a:cubicBezTo>
                    <a:pt x="142095" y="0"/>
                    <a:pt x="157526" y="15431"/>
                    <a:pt x="157526" y="34077"/>
                  </a:cubicBezTo>
                  <a:lnTo>
                    <a:pt x="157526" y="140166"/>
                  </a:lnTo>
                  <a:cubicBezTo>
                    <a:pt x="156240" y="149810"/>
                    <a:pt x="149167" y="156883"/>
                    <a:pt x="139523" y="156883"/>
                  </a:cubicBezTo>
                  <a:lnTo>
                    <a:pt x="139523" y="156883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89" name="Forma Livre: Forma 288">
              <a:extLst>
                <a:ext uri="{FF2B5EF4-FFF2-40B4-BE49-F238E27FC236}">
                  <a16:creationId xmlns:a16="http://schemas.microsoft.com/office/drawing/2014/main" id="{49B1EEE7-DAC4-4E41-9ABF-A3F8999A83DE}"/>
                </a:ext>
              </a:extLst>
            </p:cNvPr>
            <p:cNvSpPr/>
            <p:nvPr/>
          </p:nvSpPr>
          <p:spPr>
            <a:xfrm>
              <a:off x="4339429" y="2674399"/>
              <a:ext cx="316979" cy="322766"/>
            </a:xfrm>
            <a:custGeom>
              <a:avLst/>
              <a:gdLst>
                <a:gd name="connsiteX0" fmla="*/ 172957 w 316979"/>
                <a:gd name="connsiteY0" fmla="*/ 322767 h 322766"/>
                <a:gd name="connsiteX1" fmla="*/ 34077 w 316979"/>
                <a:gd name="connsiteY1" fmla="*/ 322767 h 322766"/>
                <a:gd name="connsiteX2" fmla="*/ 0 w 316979"/>
                <a:gd name="connsiteY2" fmla="*/ 288690 h 322766"/>
                <a:gd name="connsiteX3" fmla="*/ 0 w 316979"/>
                <a:gd name="connsiteY3" fmla="*/ 34077 h 322766"/>
                <a:gd name="connsiteX4" fmla="*/ 34077 w 316979"/>
                <a:gd name="connsiteY4" fmla="*/ 0 h 322766"/>
                <a:gd name="connsiteX5" fmla="*/ 282903 w 316979"/>
                <a:gd name="connsiteY5" fmla="*/ 0 h 322766"/>
                <a:gd name="connsiteX6" fmla="*/ 316980 w 316979"/>
                <a:gd name="connsiteY6" fmla="*/ 34077 h 322766"/>
                <a:gd name="connsiteX7" fmla="*/ 316980 w 316979"/>
                <a:gd name="connsiteY7" fmla="*/ 174242 h 322766"/>
                <a:gd name="connsiteX8" fmla="*/ 282903 w 316979"/>
                <a:gd name="connsiteY8" fmla="*/ 174242 h 322766"/>
                <a:gd name="connsiteX9" fmla="*/ 282903 w 316979"/>
                <a:gd name="connsiteY9" fmla="*/ 34077 h 322766"/>
                <a:gd name="connsiteX10" fmla="*/ 34077 w 316979"/>
                <a:gd name="connsiteY10" fmla="*/ 34077 h 322766"/>
                <a:gd name="connsiteX11" fmla="*/ 34077 w 316979"/>
                <a:gd name="connsiteY11" fmla="*/ 288690 h 322766"/>
                <a:gd name="connsiteX12" fmla="*/ 172957 w 316979"/>
                <a:gd name="connsiteY12" fmla="*/ 288690 h 322766"/>
                <a:gd name="connsiteX13" fmla="*/ 172957 w 316979"/>
                <a:gd name="connsiteY13" fmla="*/ 322767 h 322766"/>
                <a:gd name="connsiteX14" fmla="*/ 172957 w 316979"/>
                <a:gd name="connsiteY14" fmla="*/ 322767 h 322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16979" h="322766">
                  <a:moveTo>
                    <a:pt x="172957" y="322767"/>
                  </a:moveTo>
                  <a:lnTo>
                    <a:pt x="34077" y="322767"/>
                  </a:lnTo>
                  <a:cubicBezTo>
                    <a:pt x="15431" y="322767"/>
                    <a:pt x="0" y="307336"/>
                    <a:pt x="0" y="288690"/>
                  </a:cubicBezTo>
                  <a:lnTo>
                    <a:pt x="0" y="34077"/>
                  </a:lnTo>
                  <a:cubicBezTo>
                    <a:pt x="0" y="15431"/>
                    <a:pt x="15431" y="0"/>
                    <a:pt x="34077" y="0"/>
                  </a:cubicBezTo>
                  <a:lnTo>
                    <a:pt x="282903" y="0"/>
                  </a:lnTo>
                  <a:cubicBezTo>
                    <a:pt x="301549" y="0"/>
                    <a:pt x="316980" y="15431"/>
                    <a:pt x="316980" y="34077"/>
                  </a:cubicBezTo>
                  <a:lnTo>
                    <a:pt x="316980" y="174242"/>
                  </a:lnTo>
                  <a:lnTo>
                    <a:pt x="282903" y="174242"/>
                  </a:lnTo>
                  <a:lnTo>
                    <a:pt x="282903" y="34077"/>
                  </a:lnTo>
                  <a:lnTo>
                    <a:pt x="34077" y="34077"/>
                  </a:lnTo>
                  <a:lnTo>
                    <a:pt x="34077" y="288690"/>
                  </a:lnTo>
                  <a:lnTo>
                    <a:pt x="172957" y="288690"/>
                  </a:lnTo>
                  <a:lnTo>
                    <a:pt x="172957" y="322767"/>
                  </a:lnTo>
                  <a:lnTo>
                    <a:pt x="172957" y="322767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90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5389912" y="2553164"/>
            <a:ext cx="359482" cy="444438"/>
            <a:chOff x="5379740" y="2590814"/>
            <a:chExt cx="364559" cy="450715"/>
          </a:xfrm>
          <a:solidFill>
            <a:srgbClr val="B1B1A1"/>
          </a:solidFill>
        </p:grpSpPr>
        <p:sp>
          <p:nvSpPr>
            <p:cNvPr id="291" name="Forma Livre: Forma 290">
              <a:extLst>
                <a:ext uri="{FF2B5EF4-FFF2-40B4-BE49-F238E27FC236}">
                  <a16:creationId xmlns:a16="http://schemas.microsoft.com/office/drawing/2014/main" id="{FD799520-0B43-4871-9619-9A151FF81AA1}"/>
                </a:ext>
              </a:extLst>
            </p:cNvPr>
            <p:cNvSpPr/>
            <p:nvPr/>
          </p:nvSpPr>
          <p:spPr>
            <a:xfrm>
              <a:off x="5533408" y="2830639"/>
              <a:ext cx="210891" cy="210891"/>
            </a:xfrm>
            <a:custGeom>
              <a:avLst/>
              <a:gdLst>
                <a:gd name="connsiteX0" fmla="*/ 105446 w 210891"/>
                <a:gd name="connsiteY0" fmla="*/ 210891 h 210891"/>
                <a:gd name="connsiteX1" fmla="*/ 0 w 210891"/>
                <a:gd name="connsiteY1" fmla="*/ 105446 h 210891"/>
                <a:gd name="connsiteX2" fmla="*/ 105446 w 210891"/>
                <a:gd name="connsiteY2" fmla="*/ 0 h 210891"/>
                <a:gd name="connsiteX3" fmla="*/ 210891 w 210891"/>
                <a:gd name="connsiteY3" fmla="*/ 105446 h 210891"/>
                <a:gd name="connsiteX4" fmla="*/ 105446 w 210891"/>
                <a:gd name="connsiteY4" fmla="*/ 210891 h 210891"/>
                <a:gd name="connsiteX5" fmla="*/ 105446 w 210891"/>
                <a:gd name="connsiteY5" fmla="*/ 210891 h 210891"/>
                <a:gd name="connsiteX6" fmla="*/ 105446 w 210891"/>
                <a:gd name="connsiteY6" fmla="*/ 17360 h 210891"/>
                <a:gd name="connsiteX7" fmla="*/ 16717 w 210891"/>
                <a:gd name="connsiteY7" fmla="*/ 106089 h 210891"/>
                <a:gd name="connsiteX8" fmla="*/ 105446 w 210891"/>
                <a:gd name="connsiteY8" fmla="*/ 194817 h 210891"/>
                <a:gd name="connsiteX9" fmla="*/ 194174 w 210891"/>
                <a:gd name="connsiteY9" fmla="*/ 106089 h 210891"/>
                <a:gd name="connsiteX10" fmla="*/ 105446 w 210891"/>
                <a:gd name="connsiteY10" fmla="*/ 17360 h 210891"/>
                <a:gd name="connsiteX11" fmla="*/ 105446 w 210891"/>
                <a:gd name="connsiteY11" fmla="*/ 17360 h 210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0891" h="210891">
                  <a:moveTo>
                    <a:pt x="105446" y="210891"/>
                  </a:moveTo>
                  <a:cubicBezTo>
                    <a:pt x="47579" y="210891"/>
                    <a:pt x="0" y="163312"/>
                    <a:pt x="0" y="105446"/>
                  </a:cubicBezTo>
                  <a:cubicBezTo>
                    <a:pt x="0" y="47579"/>
                    <a:pt x="47579" y="0"/>
                    <a:pt x="105446" y="0"/>
                  </a:cubicBezTo>
                  <a:cubicBezTo>
                    <a:pt x="163312" y="0"/>
                    <a:pt x="210891" y="47579"/>
                    <a:pt x="210891" y="105446"/>
                  </a:cubicBezTo>
                  <a:cubicBezTo>
                    <a:pt x="210891" y="163312"/>
                    <a:pt x="163955" y="210891"/>
                    <a:pt x="105446" y="210891"/>
                  </a:cubicBezTo>
                  <a:lnTo>
                    <a:pt x="105446" y="210891"/>
                  </a:lnTo>
                  <a:close/>
                  <a:moveTo>
                    <a:pt x="105446" y="17360"/>
                  </a:moveTo>
                  <a:cubicBezTo>
                    <a:pt x="56581" y="17360"/>
                    <a:pt x="16717" y="57224"/>
                    <a:pt x="16717" y="106089"/>
                  </a:cubicBezTo>
                  <a:cubicBezTo>
                    <a:pt x="16717" y="154954"/>
                    <a:pt x="56581" y="194817"/>
                    <a:pt x="105446" y="194817"/>
                  </a:cubicBezTo>
                  <a:cubicBezTo>
                    <a:pt x="154311" y="194817"/>
                    <a:pt x="194174" y="154954"/>
                    <a:pt x="194174" y="106089"/>
                  </a:cubicBezTo>
                  <a:cubicBezTo>
                    <a:pt x="194174" y="56581"/>
                    <a:pt x="154311" y="17360"/>
                    <a:pt x="105446" y="17360"/>
                  </a:cubicBezTo>
                  <a:lnTo>
                    <a:pt x="105446" y="17360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92" name="Forma Livre: Forma 291">
              <a:extLst>
                <a:ext uri="{FF2B5EF4-FFF2-40B4-BE49-F238E27FC236}">
                  <a16:creationId xmlns:a16="http://schemas.microsoft.com/office/drawing/2014/main" id="{9F30655E-A01B-436F-A0C1-90C045767757}"/>
                </a:ext>
              </a:extLst>
            </p:cNvPr>
            <p:cNvSpPr/>
            <p:nvPr/>
          </p:nvSpPr>
          <p:spPr>
            <a:xfrm>
              <a:off x="5575201" y="2920010"/>
              <a:ext cx="127306" cy="33434"/>
            </a:xfrm>
            <a:custGeom>
              <a:avLst/>
              <a:gdLst>
                <a:gd name="connsiteX0" fmla="*/ 110589 w 127306"/>
                <a:gd name="connsiteY0" fmla="*/ 33434 h 33434"/>
                <a:gd name="connsiteX1" fmla="*/ 16717 w 127306"/>
                <a:gd name="connsiteY1" fmla="*/ 33434 h 33434"/>
                <a:gd name="connsiteX2" fmla="*/ 0 w 127306"/>
                <a:gd name="connsiteY2" fmla="*/ 16717 h 33434"/>
                <a:gd name="connsiteX3" fmla="*/ 16717 w 127306"/>
                <a:gd name="connsiteY3" fmla="*/ 0 h 33434"/>
                <a:gd name="connsiteX4" fmla="*/ 110589 w 127306"/>
                <a:gd name="connsiteY4" fmla="*/ 0 h 33434"/>
                <a:gd name="connsiteX5" fmla="*/ 127306 w 127306"/>
                <a:gd name="connsiteY5" fmla="*/ 16717 h 33434"/>
                <a:gd name="connsiteX6" fmla="*/ 110589 w 127306"/>
                <a:gd name="connsiteY6" fmla="*/ 33434 h 33434"/>
                <a:gd name="connsiteX7" fmla="*/ 110589 w 127306"/>
                <a:gd name="connsiteY7" fmla="*/ 33434 h 33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7306" h="33434">
                  <a:moveTo>
                    <a:pt x="110589" y="33434"/>
                  </a:moveTo>
                  <a:lnTo>
                    <a:pt x="16717" y="33434"/>
                  </a:lnTo>
                  <a:cubicBezTo>
                    <a:pt x="7072" y="33434"/>
                    <a:pt x="0" y="25718"/>
                    <a:pt x="0" y="16717"/>
                  </a:cubicBezTo>
                  <a:cubicBezTo>
                    <a:pt x="0" y="7073"/>
                    <a:pt x="7716" y="0"/>
                    <a:pt x="16717" y="0"/>
                  </a:cubicBezTo>
                  <a:lnTo>
                    <a:pt x="110589" y="0"/>
                  </a:lnTo>
                  <a:cubicBezTo>
                    <a:pt x="120234" y="0"/>
                    <a:pt x="127306" y="7716"/>
                    <a:pt x="127306" y="16717"/>
                  </a:cubicBezTo>
                  <a:cubicBezTo>
                    <a:pt x="127306" y="25718"/>
                    <a:pt x="120234" y="33434"/>
                    <a:pt x="110589" y="33434"/>
                  </a:cubicBezTo>
                  <a:lnTo>
                    <a:pt x="110589" y="33434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93" name="Forma Livre: Forma 292">
              <a:extLst>
                <a:ext uri="{FF2B5EF4-FFF2-40B4-BE49-F238E27FC236}">
                  <a16:creationId xmlns:a16="http://schemas.microsoft.com/office/drawing/2014/main" id="{2B2BCE55-4DFF-4ADA-ABCB-557FF07AABA4}"/>
                </a:ext>
              </a:extLst>
            </p:cNvPr>
            <p:cNvSpPr/>
            <p:nvPr/>
          </p:nvSpPr>
          <p:spPr>
            <a:xfrm>
              <a:off x="5460111" y="2590814"/>
              <a:ext cx="157525" cy="156882"/>
            </a:xfrm>
            <a:custGeom>
              <a:avLst/>
              <a:gdLst>
                <a:gd name="connsiteX0" fmla="*/ 139523 w 157525"/>
                <a:gd name="connsiteY0" fmla="*/ 156883 h 156882"/>
                <a:gd name="connsiteX1" fmla="*/ 122806 w 157525"/>
                <a:gd name="connsiteY1" fmla="*/ 140166 h 156882"/>
                <a:gd name="connsiteX2" fmla="*/ 122806 w 157525"/>
                <a:gd name="connsiteY2" fmla="*/ 34077 h 156882"/>
                <a:gd name="connsiteX3" fmla="*/ 33434 w 157525"/>
                <a:gd name="connsiteY3" fmla="*/ 34077 h 156882"/>
                <a:gd name="connsiteX4" fmla="*/ 33434 w 157525"/>
                <a:gd name="connsiteY4" fmla="*/ 140166 h 156882"/>
                <a:gd name="connsiteX5" fmla="*/ 16717 w 157525"/>
                <a:gd name="connsiteY5" fmla="*/ 156883 h 156882"/>
                <a:gd name="connsiteX6" fmla="*/ 0 w 157525"/>
                <a:gd name="connsiteY6" fmla="*/ 140166 h 156882"/>
                <a:gd name="connsiteX7" fmla="*/ 0 w 157525"/>
                <a:gd name="connsiteY7" fmla="*/ 34077 h 156882"/>
                <a:gd name="connsiteX8" fmla="*/ 34077 w 157525"/>
                <a:gd name="connsiteY8" fmla="*/ 0 h 156882"/>
                <a:gd name="connsiteX9" fmla="*/ 123449 w 157525"/>
                <a:gd name="connsiteY9" fmla="*/ 0 h 156882"/>
                <a:gd name="connsiteX10" fmla="*/ 157526 w 157525"/>
                <a:gd name="connsiteY10" fmla="*/ 34077 h 156882"/>
                <a:gd name="connsiteX11" fmla="*/ 157526 w 157525"/>
                <a:gd name="connsiteY11" fmla="*/ 140166 h 156882"/>
                <a:gd name="connsiteX12" fmla="*/ 139523 w 157525"/>
                <a:gd name="connsiteY12" fmla="*/ 156883 h 156882"/>
                <a:gd name="connsiteX13" fmla="*/ 139523 w 157525"/>
                <a:gd name="connsiteY13" fmla="*/ 156883 h 156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7525" h="156882">
                  <a:moveTo>
                    <a:pt x="139523" y="156883"/>
                  </a:moveTo>
                  <a:cubicBezTo>
                    <a:pt x="129878" y="156883"/>
                    <a:pt x="122806" y="149167"/>
                    <a:pt x="122806" y="140166"/>
                  </a:cubicBezTo>
                  <a:lnTo>
                    <a:pt x="122806" y="34077"/>
                  </a:lnTo>
                  <a:lnTo>
                    <a:pt x="33434" y="34077"/>
                  </a:lnTo>
                  <a:lnTo>
                    <a:pt x="33434" y="140166"/>
                  </a:lnTo>
                  <a:cubicBezTo>
                    <a:pt x="33434" y="149810"/>
                    <a:pt x="25718" y="156883"/>
                    <a:pt x="16717" y="156883"/>
                  </a:cubicBezTo>
                  <a:cubicBezTo>
                    <a:pt x="7073" y="156883"/>
                    <a:pt x="0" y="149167"/>
                    <a:pt x="0" y="140166"/>
                  </a:cubicBezTo>
                  <a:lnTo>
                    <a:pt x="0" y="34077"/>
                  </a:lnTo>
                  <a:cubicBezTo>
                    <a:pt x="0" y="15431"/>
                    <a:pt x="15431" y="0"/>
                    <a:pt x="34077" y="0"/>
                  </a:cubicBezTo>
                  <a:lnTo>
                    <a:pt x="123449" y="0"/>
                  </a:lnTo>
                  <a:cubicBezTo>
                    <a:pt x="142095" y="0"/>
                    <a:pt x="157526" y="15431"/>
                    <a:pt x="157526" y="34077"/>
                  </a:cubicBezTo>
                  <a:lnTo>
                    <a:pt x="157526" y="140166"/>
                  </a:lnTo>
                  <a:cubicBezTo>
                    <a:pt x="156883" y="149810"/>
                    <a:pt x="149167" y="156883"/>
                    <a:pt x="139523" y="156883"/>
                  </a:cubicBezTo>
                  <a:lnTo>
                    <a:pt x="139523" y="156883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94" name="Forma Livre: Forma 293">
              <a:extLst>
                <a:ext uri="{FF2B5EF4-FFF2-40B4-BE49-F238E27FC236}">
                  <a16:creationId xmlns:a16="http://schemas.microsoft.com/office/drawing/2014/main" id="{8665767E-0194-4792-B93E-52394489C0BC}"/>
                </a:ext>
              </a:extLst>
            </p:cNvPr>
            <p:cNvSpPr/>
            <p:nvPr/>
          </p:nvSpPr>
          <p:spPr>
            <a:xfrm>
              <a:off x="5379740" y="2674399"/>
              <a:ext cx="316980" cy="322766"/>
            </a:xfrm>
            <a:custGeom>
              <a:avLst/>
              <a:gdLst>
                <a:gd name="connsiteX0" fmla="*/ 172957 w 316980"/>
                <a:gd name="connsiteY0" fmla="*/ 322767 h 322766"/>
                <a:gd name="connsiteX1" fmla="*/ 34077 w 316980"/>
                <a:gd name="connsiteY1" fmla="*/ 322767 h 322766"/>
                <a:gd name="connsiteX2" fmla="*/ 0 w 316980"/>
                <a:gd name="connsiteY2" fmla="*/ 288690 h 322766"/>
                <a:gd name="connsiteX3" fmla="*/ 0 w 316980"/>
                <a:gd name="connsiteY3" fmla="*/ 34077 h 322766"/>
                <a:gd name="connsiteX4" fmla="*/ 34077 w 316980"/>
                <a:gd name="connsiteY4" fmla="*/ 0 h 322766"/>
                <a:gd name="connsiteX5" fmla="*/ 282903 w 316980"/>
                <a:gd name="connsiteY5" fmla="*/ 0 h 322766"/>
                <a:gd name="connsiteX6" fmla="*/ 316980 w 316980"/>
                <a:gd name="connsiteY6" fmla="*/ 34077 h 322766"/>
                <a:gd name="connsiteX7" fmla="*/ 316980 w 316980"/>
                <a:gd name="connsiteY7" fmla="*/ 174242 h 322766"/>
                <a:gd name="connsiteX8" fmla="*/ 282903 w 316980"/>
                <a:gd name="connsiteY8" fmla="*/ 174242 h 322766"/>
                <a:gd name="connsiteX9" fmla="*/ 282903 w 316980"/>
                <a:gd name="connsiteY9" fmla="*/ 34077 h 322766"/>
                <a:gd name="connsiteX10" fmla="*/ 34077 w 316980"/>
                <a:gd name="connsiteY10" fmla="*/ 34077 h 322766"/>
                <a:gd name="connsiteX11" fmla="*/ 34077 w 316980"/>
                <a:gd name="connsiteY11" fmla="*/ 288690 h 322766"/>
                <a:gd name="connsiteX12" fmla="*/ 172957 w 316980"/>
                <a:gd name="connsiteY12" fmla="*/ 288690 h 322766"/>
                <a:gd name="connsiteX13" fmla="*/ 172957 w 316980"/>
                <a:gd name="connsiteY13" fmla="*/ 322767 h 322766"/>
                <a:gd name="connsiteX14" fmla="*/ 172957 w 316980"/>
                <a:gd name="connsiteY14" fmla="*/ 322767 h 322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16980" h="322766">
                  <a:moveTo>
                    <a:pt x="172957" y="322767"/>
                  </a:moveTo>
                  <a:lnTo>
                    <a:pt x="34077" y="322767"/>
                  </a:lnTo>
                  <a:cubicBezTo>
                    <a:pt x="15431" y="322767"/>
                    <a:pt x="0" y="307336"/>
                    <a:pt x="0" y="288690"/>
                  </a:cubicBezTo>
                  <a:lnTo>
                    <a:pt x="0" y="34077"/>
                  </a:lnTo>
                  <a:cubicBezTo>
                    <a:pt x="0" y="15431"/>
                    <a:pt x="15431" y="0"/>
                    <a:pt x="34077" y="0"/>
                  </a:cubicBezTo>
                  <a:lnTo>
                    <a:pt x="282903" y="0"/>
                  </a:lnTo>
                  <a:cubicBezTo>
                    <a:pt x="301549" y="0"/>
                    <a:pt x="316980" y="15431"/>
                    <a:pt x="316980" y="34077"/>
                  </a:cubicBezTo>
                  <a:lnTo>
                    <a:pt x="316980" y="174242"/>
                  </a:lnTo>
                  <a:lnTo>
                    <a:pt x="282903" y="174242"/>
                  </a:lnTo>
                  <a:lnTo>
                    <a:pt x="282903" y="34077"/>
                  </a:lnTo>
                  <a:lnTo>
                    <a:pt x="34077" y="34077"/>
                  </a:lnTo>
                  <a:lnTo>
                    <a:pt x="34077" y="288690"/>
                  </a:lnTo>
                  <a:lnTo>
                    <a:pt x="172957" y="288690"/>
                  </a:lnTo>
                  <a:lnTo>
                    <a:pt x="172957" y="322767"/>
                  </a:lnTo>
                  <a:lnTo>
                    <a:pt x="172957" y="322767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95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9457026" y="2595008"/>
            <a:ext cx="423816" cy="377868"/>
            <a:chOff x="9504297" y="2633249"/>
            <a:chExt cx="429802" cy="383205"/>
          </a:xfrm>
          <a:solidFill>
            <a:srgbClr val="B1B1A1"/>
          </a:solidFill>
        </p:grpSpPr>
        <p:sp>
          <p:nvSpPr>
            <p:cNvPr id="296" name="Forma Livre: Forma 295">
              <a:extLst>
                <a:ext uri="{FF2B5EF4-FFF2-40B4-BE49-F238E27FC236}">
                  <a16:creationId xmlns:a16="http://schemas.microsoft.com/office/drawing/2014/main" id="{35722C81-C850-4A40-807B-3C2D4AFFB02A}"/>
                </a:ext>
              </a:extLst>
            </p:cNvPr>
            <p:cNvSpPr/>
            <p:nvPr/>
          </p:nvSpPr>
          <p:spPr>
            <a:xfrm>
              <a:off x="9654791" y="2633249"/>
              <a:ext cx="210891" cy="210891"/>
            </a:xfrm>
            <a:custGeom>
              <a:avLst/>
              <a:gdLst>
                <a:gd name="connsiteX0" fmla="*/ 105446 w 210891"/>
                <a:gd name="connsiteY0" fmla="*/ 210891 h 210891"/>
                <a:gd name="connsiteX1" fmla="*/ 30862 w 210891"/>
                <a:gd name="connsiteY1" fmla="*/ 180029 h 210891"/>
                <a:gd name="connsiteX2" fmla="*/ 30862 w 210891"/>
                <a:gd name="connsiteY2" fmla="*/ 30862 h 210891"/>
                <a:gd name="connsiteX3" fmla="*/ 105446 w 210891"/>
                <a:gd name="connsiteY3" fmla="*/ 0 h 210891"/>
                <a:gd name="connsiteX4" fmla="*/ 180029 w 210891"/>
                <a:gd name="connsiteY4" fmla="*/ 30862 h 210891"/>
                <a:gd name="connsiteX5" fmla="*/ 210891 w 210891"/>
                <a:gd name="connsiteY5" fmla="*/ 105446 h 210891"/>
                <a:gd name="connsiteX6" fmla="*/ 180029 w 210891"/>
                <a:gd name="connsiteY6" fmla="*/ 180029 h 210891"/>
                <a:gd name="connsiteX7" fmla="*/ 105446 w 210891"/>
                <a:gd name="connsiteY7" fmla="*/ 210891 h 210891"/>
                <a:gd name="connsiteX8" fmla="*/ 105446 w 210891"/>
                <a:gd name="connsiteY8" fmla="*/ 210891 h 210891"/>
                <a:gd name="connsiteX9" fmla="*/ 105446 w 210891"/>
                <a:gd name="connsiteY9" fmla="*/ 16717 h 210891"/>
                <a:gd name="connsiteX10" fmla="*/ 43078 w 210891"/>
                <a:gd name="connsiteY10" fmla="*/ 42435 h 210891"/>
                <a:gd name="connsiteX11" fmla="*/ 43078 w 210891"/>
                <a:gd name="connsiteY11" fmla="*/ 167170 h 210891"/>
                <a:gd name="connsiteX12" fmla="*/ 105446 w 210891"/>
                <a:gd name="connsiteY12" fmla="*/ 192888 h 210891"/>
                <a:gd name="connsiteX13" fmla="*/ 167813 w 210891"/>
                <a:gd name="connsiteY13" fmla="*/ 167170 h 210891"/>
                <a:gd name="connsiteX14" fmla="*/ 193531 w 210891"/>
                <a:gd name="connsiteY14" fmla="*/ 104803 h 210891"/>
                <a:gd name="connsiteX15" fmla="*/ 167813 w 210891"/>
                <a:gd name="connsiteY15" fmla="*/ 42435 h 210891"/>
                <a:gd name="connsiteX16" fmla="*/ 105446 w 210891"/>
                <a:gd name="connsiteY16" fmla="*/ 16717 h 210891"/>
                <a:gd name="connsiteX17" fmla="*/ 105446 w 210891"/>
                <a:gd name="connsiteY17" fmla="*/ 16717 h 210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0891" h="210891">
                  <a:moveTo>
                    <a:pt x="105446" y="210891"/>
                  </a:moveTo>
                  <a:cubicBezTo>
                    <a:pt x="77155" y="210891"/>
                    <a:pt x="50794" y="199961"/>
                    <a:pt x="30862" y="180029"/>
                  </a:cubicBezTo>
                  <a:cubicBezTo>
                    <a:pt x="-10287" y="138880"/>
                    <a:pt x="-10287" y="72012"/>
                    <a:pt x="30862" y="30862"/>
                  </a:cubicBezTo>
                  <a:cubicBezTo>
                    <a:pt x="50794" y="10930"/>
                    <a:pt x="77155" y="0"/>
                    <a:pt x="105446" y="0"/>
                  </a:cubicBezTo>
                  <a:cubicBezTo>
                    <a:pt x="133736" y="0"/>
                    <a:pt x="160097" y="10930"/>
                    <a:pt x="180029" y="30862"/>
                  </a:cubicBezTo>
                  <a:cubicBezTo>
                    <a:pt x="199961" y="50794"/>
                    <a:pt x="210891" y="77155"/>
                    <a:pt x="210891" y="105446"/>
                  </a:cubicBezTo>
                  <a:cubicBezTo>
                    <a:pt x="210891" y="133736"/>
                    <a:pt x="199961" y="160098"/>
                    <a:pt x="180029" y="180029"/>
                  </a:cubicBezTo>
                  <a:cubicBezTo>
                    <a:pt x="160097" y="199961"/>
                    <a:pt x="133093" y="210891"/>
                    <a:pt x="105446" y="210891"/>
                  </a:cubicBezTo>
                  <a:lnTo>
                    <a:pt x="105446" y="210891"/>
                  </a:lnTo>
                  <a:close/>
                  <a:moveTo>
                    <a:pt x="105446" y="16717"/>
                  </a:moveTo>
                  <a:cubicBezTo>
                    <a:pt x="81656" y="16717"/>
                    <a:pt x="59796" y="25718"/>
                    <a:pt x="43078" y="42435"/>
                  </a:cubicBezTo>
                  <a:cubicBezTo>
                    <a:pt x="8359" y="77155"/>
                    <a:pt x="8359" y="133093"/>
                    <a:pt x="43078" y="167170"/>
                  </a:cubicBezTo>
                  <a:cubicBezTo>
                    <a:pt x="59796" y="183887"/>
                    <a:pt x="82299" y="192888"/>
                    <a:pt x="105446" y="192888"/>
                  </a:cubicBezTo>
                  <a:cubicBezTo>
                    <a:pt x="129235" y="192888"/>
                    <a:pt x="151096" y="183887"/>
                    <a:pt x="167813" y="167170"/>
                  </a:cubicBezTo>
                  <a:cubicBezTo>
                    <a:pt x="184529" y="150453"/>
                    <a:pt x="193531" y="127949"/>
                    <a:pt x="193531" y="104803"/>
                  </a:cubicBezTo>
                  <a:cubicBezTo>
                    <a:pt x="193531" y="81013"/>
                    <a:pt x="184529" y="59153"/>
                    <a:pt x="167813" y="42435"/>
                  </a:cubicBezTo>
                  <a:cubicBezTo>
                    <a:pt x="151096" y="25718"/>
                    <a:pt x="128592" y="16717"/>
                    <a:pt x="105446" y="16717"/>
                  </a:cubicBezTo>
                  <a:lnTo>
                    <a:pt x="105446" y="16717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97" name="Forma Livre: Forma 296">
              <a:extLst>
                <a:ext uri="{FF2B5EF4-FFF2-40B4-BE49-F238E27FC236}">
                  <a16:creationId xmlns:a16="http://schemas.microsoft.com/office/drawing/2014/main" id="{4044FFB0-424E-4F25-8BA8-97EF00EA5C8C}"/>
                </a:ext>
              </a:extLst>
            </p:cNvPr>
            <p:cNvSpPr/>
            <p:nvPr/>
          </p:nvSpPr>
          <p:spPr>
            <a:xfrm>
              <a:off x="9695940" y="2721978"/>
              <a:ext cx="127343" cy="33433"/>
            </a:xfrm>
            <a:custGeom>
              <a:avLst/>
              <a:gdLst>
                <a:gd name="connsiteX0" fmla="*/ 110589 w 127343"/>
                <a:gd name="connsiteY0" fmla="*/ 33434 h 33433"/>
                <a:gd name="connsiteX1" fmla="*/ 16717 w 127343"/>
                <a:gd name="connsiteY1" fmla="*/ 33434 h 33433"/>
                <a:gd name="connsiteX2" fmla="*/ 0 w 127343"/>
                <a:gd name="connsiteY2" fmla="*/ 16717 h 33433"/>
                <a:gd name="connsiteX3" fmla="*/ 16717 w 127343"/>
                <a:gd name="connsiteY3" fmla="*/ 0 h 33433"/>
                <a:gd name="connsiteX4" fmla="*/ 110589 w 127343"/>
                <a:gd name="connsiteY4" fmla="*/ 0 h 33433"/>
                <a:gd name="connsiteX5" fmla="*/ 127306 w 127343"/>
                <a:gd name="connsiteY5" fmla="*/ 16717 h 33433"/>
                <a:gd name="connsiteX6" fmla="*/ 110589 w 127343"/>
                <a:gd name="connsiteY6" fmla="*/ 33434 h 33433"/>
                <a:gd name="connsiteX7" fmla="*/ 110589 w 127343"/>
                <a:gd name="connsiteY7" fmla="*/ 33434 h 33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7343" h="33433">
                  <a:moveTo>
                    <a:pt x="110589" y="33434"/>
                  </a:moveTo>
                  <a:lnTo>
                    <a:pt x="16717" y="33434"/>
                  </a:lnTo>
                  <a:cubicBezTo>
                    <a:pt x="7072" y="33434"/>
                    <a:pt x="0" y="25718"/>
                    <a:pt x="0" y="16717"/>
                  </a:cubicBezTo>
                  <a:cubicBezTo>
                    <a:pt x="0" y="7073"/>
                    <a:pt x="7715" y="0"/>
                    <a:pt x="16717" y="0"/>
                  </a:cubicBezTo>
                  <a:lnTo>
                    <a:pt x="110589" y="0"/>
                  </a:lnTo>
                  <a:cubicBezTo>
                    <a:pt x="120233" y="0"/>
                    <a:pt x="127306" y="7715"/>
                    <a:pt x="127306" y="16717"/>
                  </a:cubicBezTo>
                  <a:cubicBezTo>
                    <a:pt x="127949" y="25718"/>
                    <a:pt x="120233" y="33434"/>
                    <a:pt x="110589" y="33434"/>
                  </a:cubicBezTo>
                  <a:lnTo>
                    <a:pt x="110589" y="33434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98" name="Forma Livre: Forma 297">
              <a:extLst>
                <a:ext uri="{FF2B5EF4-FFF2-40B4-BE49-F238E27FC236}">
                  <a16:creationId xmlns:a16="http://schemas.microsoft.com/office/drawing/2014/main" id="{E8DAADB4-3B4F-4606-9751-E3F4EE070DC0}"/>
                </a:ext>
              </a:extLst>
            </p:cNvPr>
            <p:cNvSpPr/>
            <p:nvPr/>
          </p:nvSpPr>
          <p:spPr>
            <a:xfrm>
              <a:off x="9743520" y="2675042"/>
              <a:ext cx="33433" cy="127306"/>
            </a:xfrm>
            <a:custGeom>
              <a:avLst/>
              <a:gdLst>
                <a:gd name="connsiteX0" fmla="*/ 16717 w 33433"/>
                <a:gd name="connsiteY0" fmla="*/ 127306 h 127306"/>
                <a:gd name="connsiteX1" fmla="*/ 0 w 33433"/>
                <a:gd name="connsiteY1" fmla="*/ 110589 h 127306"/>
                <a:gd name="connsiteX2" fmla="*/ 0 w 33433"/>
                <a:gd name="connsiteY2" fmla="*/ 16717 h 127306"/>
                <a:gd name="connsiteX3" fmla="*/ 16717 w 33433"/>
                <a:gd name="connsiteY3" fmla="*/ 0 h 127306"/>
                <a:gd name="connsiteX4" fmla="*/ 33434 w 33433"/>
                <a:gd name="connsiteY4" fmla="*/ 16717 h 127306"/>
                <a:gd name="connsiteX5" fmla="*/ 33434 w 33433"/>
                <a:gd name="connsiteY5" fmla="*/ 110589 h 127306"/>
                <a:gd name="connsiteX6" fmla="*/ 16717 w 33433"/>
                <a:gd name="connsiteY6" fmla="*/ 127306 h 127306"/>
                <a:gd name="connsiteX7" fmla="*/ 16717 w 33433"/>
                <a:gd name="connsiteY7" fmla="*/ 127306 h 127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433" h="127306">
                  <a:moveTo>
                    <a:pt x="16717" y="127306"/>
                  </a:moveTo>
                  <a:cubicBezTo>
                    <a:pt x="7072" y="127306"/>
                    <a:pt x="0" y="119591"/>
                    <a:pt x="0" y="110589"/>
                  </a:cubicBezTo>
                  <a:lnTo>
                    <a:pt x="0" y="16717"/>
                  </a:lnTo>
                  <a:cubicBezTo>
                    <a:pt x="0" y="7073"/>
                    <a:pt x="7715" y="0"/>
                    <a:pt x="16717" y="0"/>
                  </a:cubicBezTo>
                  <a:cubicBezTo>
                    <a:pt x="26361" y="0"/>
                    <a:pt x="33434" y="7716"/>
                    <a:pt x="33434" y="16717"/>
                  </a:cubicBezTo>
                  <a:lnTo>
                    <a:pt x="33434" y="110589"/>
                  </a:lnTo>
                  <a:cubicBezTo>
                    <a:pt x="33434" y="119591"/>
                    <a:pt x="25718" y="127306"/>
                    <a:pt x="16717" y="127306"/>
                  </a:cubicBezTo>
                  <a:lnTo>
                    <a:pt x="16717" y="127306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99" name="Forma Livre: Forma 298">
              <a:extLst>
                <a:ext uri="{FF2B5EF4-FFF2-40B4-BE49-F238E27FC236}">
                  <a16:creationId xmlns:a16="http://schemas.microsoft.com/office/drawing/2014/main" id="{5C90E542-33E0-4312-AF8A-943A31D7F92A}"/>
                </a:ext>
              </a:extLst>
            </p:cNvPr>
            <p:cNvSpPr/>
            <p:nvPr/>
          </p:nvSpPr>
          <p:spPr>
            <a:xfrm>
              <a:off x="9504297" y="2659570"/>
              <a:ext cx="158871" cy="255939"/>
            </a:xfrm>
            <a:custGeom>
              <a:avLst/>
              <a:gdLst>
                <a:gd name="connsiteX0" fmla="*/ 141492 w 158871"/>
                <a:gd name="connsiteY0" fmla="*/ 255939 h 255939"/>
                <a:gd name="connsiteX1" fmla="*/ 125418 w 158871"/>
                <a:gd name="connsiteY1" fmla="*/ 243723 h 255939"/>
                <a:gd name="connsiteX2" fmla="*/ 68838 w 158871"/>
                <a:gd name="connsiteY2" fmla="*/ 36689 h 255939"/>
                <a:gd name="connsiteX3" fmla="*/ 16115 w 158871"/>
                <a:gd name="connsiteY3" fmla="*/ 34118 h 255939"/>
                <a:gd name="connsiteX4" fmla="*/ 41 w 158871"/>
                <a:gd name="connsiteY4" fmla="*/ 16115 h 255939"/>
                <a:gd name="connsiteX5" fmla="*/ 18044 w 158871"/>
                <a:gd name="connsiteY5" fmla="*/ 41 h 255939"/>
                <a:gd name="connsiteX6" fmla="*/ 82983 w 158871"/>
                <a:gd name="connsiteY6" fmla="*/ 2612 h 255939"/>
                <a:gd name="connsiteX7" fmla="*/ 98414 w 158871"/>
                <a:gd name="connsiteY7" fmla="*/ 14829 h 255939"/>
                <a:gd name="connsiteX8" fmla="*/ 158209 w 158871"/>
                <a:gd name="connsiteY8" fmla="*/ 233436 h 255939"/>
                <a:gd name="connsiteX9" fmla="*/ 146636 w 158871"/>
                <a:gd name="connsiteY9" fmla="*/ 254010 h 255939"/>
                <a:gd name="connsiteX10" fmla="*/ 141492 w 158871"/>
                <a:gd name="connsiteY10" fmla="*/ 255939 h 255939"/>
                <a:gd name="connsiteX11" fmla="*/ 141492 w 158871"/>
                <a:gd name="connsiteY11" fmla="*/ 255939 h 255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8871" h="255939">
                  <a:moveTo>
                    <a:pt x="141492" y="255939"/>
                  </a:moveTo>
                  <a:cubicBezTo>
                    <a:pt x="133777" y="255939"/>
                    <a:pt x="127347" y="250796"/>
                    <a:pt x="125418" y="243723"/>
                  </a:cubicBezTo>
                  <a:lnTo>
                    <a:pt x="68838" y="36689"/>
                  </a:lnTo>
                  <a:lnTo>
                    <a:pt x="16115" y="34118"/>
                  </a:lnTo>
                  <a:cubicBezTo>
                    <a:pt x="6470" y="33475"/>
                    <a:pt x="-602" y="25759"/>
                    <a:pt x="41" y="16115"/>
                  </a:cubicBezTo>
                  <a:cubicBezTo>
                    <a:pt x="683" y="6470"/>
                    <a:pt x="7757" y="-602"/>
                    <a:pt x="18044" y="41"/>
                  </a:cubicBezTo>
                  <a:lnTo>
                    <a:pt x="82983" y="2612"/>
                  </a:lnTo>
                  <a:cubicBezTo>
                    <a:pt x="90055" y="2612"/>
                    <a:pt x="96485" y="7756"/>
                    <a:pt x="98414" y="14829"/>
                  </a:cubicBezTo>
                  <a:lnTo>
                    <a:pt x="158209" y="233436"/>
                  </a:lnTo>
                  <a:cubicBezTo>
                    <a:pt x="160781" y="242437"/>
                    <a:pt x="155638" y="252082"/>
                    <a:pt x="146636" y="254010"/>
                  </a:cubicBezTo>
                  <a:cubicBezTo>
                    <a:pt x="144064" y="255296"/>
                    <a:pt x="142778" y="255939"/>
                    <a:pt x="141492" y="255939"/>
                  </a:cubicBezTo>
                  <a:lnTo>
                    <a:pt x="141492" y="255939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00" name="Forma Livre: Forma 299">
              <a:extLst>
                <a:ext uri="{FF2B5EF4-FFF2-40B4-BE49-F238E27FC236}">
                  <a16:creationId xmlns:a16="http://schemas.microsoft.com/office/drawing/2014/main" id="{5A7185C1-E28C-441E-8B96-CCCD13DF69ED}"/>
                </a:ext>
              </a:extLst>
            </p:cNvPr>
            <p:cNvSpPr/>
            <p:nvPr/>
          </p:nvSpPr>
          <p:spPr>
            <a:xfrm>
              <a:off x="9639360" y="2922582"/>
              <a:ext cx="93872" cy="93872"/>
            </a:xfrm>
            <a:custGeom>
              <a:avLst/>
              <a:gdLst>
                <a:gd name="connsiteX0" fmla="*/ 46936 w 93872"/>
                <a:gd name="connsiteY0" fmla="*/ 93872 h 93872"/>
                <a:gd name="connsiteX1" fmla="*/ 0 w 93872"/>
                <a:gd name="connsiteY1" fmla="*/ 46936 h 93872"/>
                <a:gd name="connsiteX2" fmla="*/ 46936 w 93872"/>
                <a:gd name="connsiteY2" fmla="*/ 0 h 93872"/>
                <a:gd name="connsiteX3" fmla="*/ 93872 w 93872"/>
                <a:gd name="connsiteY3" fmla="*/ 46936 h 93872"/>
                <a:gd name="connsiteX4" fmla="*/ 46936 w 93872"/>
                <a:gd name="connsiteY4" fmla="*/ 93872 h 93872"/>
                <a:gd name="connsiteX5" fmla="*/ 46936 w 93872"/>
                <a:gd name="connsiteY5" fmla="*/ 93872 h 93872"/>
                <a:gd name="connsiteX6" fmla="*/ 46936 w 93872"/>
                <a:gd name="connsiteY6" fmla="*/ 34077 h 93872"/>
                <a:gd name="connsiteX7" fmla="*/ 34077 w 93872"/>
                <a:gd name="connsiteY7" fmla="*/ 46936 h 93872"/>
                <a:gd name="connsiteX8" fmla="*/ 46936 w 93872"/>
                <a:gd name="connsiteY8" fmla="*/ 59796 h 93872"/>
                <a:gd name="connsiteX9" fmla="*/ 59796 w 93872"/>
                <a:gd name="connsiteY9" fmla="*/ 46936 h 93872"/>
                <a:gd name="connsiteX10" fmla="*/ 46936 w 93872"/>
                <a:gd name="connsiteY10" fmla="*/ 34077 h 93872"/>
                <a:gd name="connsiteX11" fmla="*/ 46936 w 93872"/>
                <a:gd name="connsiteY11" fmla="*/ 34077 h 93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3872" h="93872">
                  <a:moveTo>
                    <a:pt x="46936" y="93872"/>
                  </a:moveTo>
                  <a:cubicBezTo>
                    <a:pt x="21218" y="93872"/>
                    <a:pt x="0" y="72655"/>
                    <a:pt x="0" y="46936"/>
                  </a:cubicBezTo>
                  <a:cubicBezTo>
                    <a:pt x="0" y="21218"/>
                    <a:pt x="21218" y="0"/>
                    <a:pt x="46936" y="0"/>
                  </a:cubicBezTo>
                  <a:cubicBezTo>
                    <a:pt x="72655" y="0"/>
                    <a:pt x="93872" y="21218"/>
                    <a:pt x="93872" y="46936"/>
                  </a:cubicBezTo>
                  <a:cubicBezTo>
                    <a:pt x="93872" y="72655"/>
                    <a:pt x="72655" y="93872"/>
                    <a:pt x="46936" y="93872"/>
                  </a:cubicBezTo>
                  <a:lnTo>
                    <a:pt x="46936" y="93872"/>
                  </a:lnTo>
                  <a:close/>
                  <a:moveTo>
                    <a:pt x="46936" y="34077"/>
                  </a:moveTo>
                  <a:cubicBezTo>
                    <a:pt x="39864" y="34077"/>
                    <a:pt x="34077" y="39864"/>
                    <a:pt x="34077" y="46936"/>
                  </a:cubicBezTo>
                  <a:cubicBezTo>
                    <a:pt x="34077" y="54009"/>
                    <a:pt x="39864" y="59796"/>
                    <a:pt x="46936" y="59796"/>
                  </a:cubicBezTo>
                  <a:cubicBezTo>
                    <a:pt x="54009" y="59796"/>
                    <a:pt x="59796" y="54009"/>
                    <a:pt x="59796" y="46936"/>
                  </a:cubicBezTo>
                  <a:cubicBezTo>
                    <a:pt x="59153" y="39864"/>
                    <a:pt x="54009" y="34077"/>
                    <a:pt x="46936" y="34077"/>
                  </a:cubicBezTo>
                  <a:lnTo>
                    <a:pt x="46936" y="34077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01" name="Forma Livre: Forma 300">
              <a:extLst>
                <a:ext uri="{FF2B5EF4-FFF2-40B4-BE49-F238E27FC236}">
                  <a16:creationId xmlns:a16="http://schemas.microsoft.com/office/drawing/2014/main" id="{70FBD160-1B5F-4CD6-BCAD-71D2BEC48DA9}"/>
                </a:ext>
              </a:extLst>
            </p:cNvPr>
            <p:cNvSpPr/>
            <p:nvPr/>
          </p:nvSpPr>
          <p:spPr>
            <a:xfrm>
              <a:off x="9780811" y="2922582"/>
              <a:ext cx="93872" cy="93872"/>
            </a:xfrm>
            <a:custGeom>
              <a:avLst/>
              <a:gdLst>
                <a:gd name="connsiteX0" fmla="*/ 46936 w 93872"/>
                <a:gd name="connsiteY0" fmla="*/ 93872 h 93872"/>
                <a:gd name="connsiteX1" fmla="*/ 0 w 93872"/>
                <a:gd name="connsiteY1" fmla="*/ 46936 h 93872"/>
                <a:gd name="connsiteX2" fmla="*/ 46936 w 93872"/>
                <a:gd name="connsiteY2" fmla="*/ 0 h 93872"/>
                <a:gd name="connsiteX3" fmla="*/ 93872 w 93872"/>
                <a:gd name="connsiteY3" fmla="*/ 46936 h 93872"/>
                <a:gd name="connsiteX4" fmla="*/ 46936 w 93872"/>
                <a:gd name="connsiteY4" fmla="*/ 93872 h 93872"/>
                <a:gd name="connsiteX5" fmla="*/ 46936 w 93872"/>
                <a:gd name="connsiteY5" fmla="*/ 93872 h 93872"/>
                <a:gd name="connsiteX6" fmla="*/ 46936 w 93872"/>
                <a:gd name="connsiteY6" fmla="*/ 34077 h 93872"/>
                <a:gd name="connsiteX7" fmla="*/ 34077 w 93872"/>
                <a:gd name="connsiteY7" fmla="*/ 46936 h 93872"/>
                <a:gd name="connsiteX8" fmla="*/ 46936 w 93872"/>
                <a:gd name="connsiteY8" fmla="*/ 59796 h 93872"/>
                <a:gd name="connsiteX9" fmla="*/ 59796 w 93872"/>
                <a:gd name="connsiteY9" fmla="*/ 46936 h 93872"/>
                <a:gd name="connsiteX10" fmla="*/ 46936 w 93872"/>
                <a:gd name="connsiteY10" fmla="*/ 34077 h 93872"/>
                <a:gd name="connsiteX11" fmla="*/ 46936 w 93872"/>
                <a:gd name="connsiteY11" fmla="*/ 34077 h 93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3872" h="93872">
                  <a:moveTo>
                    <a:pt x="46936" y="93872"/>
                  </a:moveTo>
                  <a:cubicBezTo>
                    <a:pt x="21218" y="93872"/>
                    <a:pt x="0" y="72655"/>
                    <a:pt x="0" y="46936"/>
                  </a:cubicBezTo>
                  <a:cubicBezTo>
                    <a:pt x="0" y="21218"/>
                    <a:pt x="21218" y="0"/>
                    <a:pt x="46936" y="0"/>
                  </a:cubicBezTo>
                  <a:cubicBezTo>
                    <a:pt x="72655" y="0"/>
                    <a:pt x="93872" y="21218"/>
                    <a:pt x="93872" y="46936"/>
                  </a:cubicBezTo>
                  <a:cubicBezTo>
                    <a:pt x="93872" y="72655"/>
                    <a:pt x="72655" y="93872"/>
                    <a:pt x="46936" y="93872"/>
                  </a:cubicBezTo>
                  <a:lnTo>
                    <a:pt x="46936" y="93872"/>
                  </a:lnTo>
                  <a:close/>
                  <a:moveTo>
                    <a:pt x="46936" y="34077"/>
                  </a:moveTo>
                  <a:cubicBezTo>
                    <a:pt x="39864" y="34077"/>
                    <a:pt x="34077" y="39864"/>
                    <a:pt x="34077" y="46936"/>
                  </a:cubicBezTo>
                  <a:cubicBezTo>
                    <a:pt x="34077" y="54009"/>
                    <a:pt x="39864" y="59796"/>
                    <a:pt x="46936" y="59796"/>
                  </a:cubicBezTo>
                  <a:cubicBezTo>
                    <a:pt x="54009" y="59796"/>
                    <a:pt x="59796" y="54009"/>
                    <a:pt x="59796" y="46936"/>
                  </a:cubicBezTo>
                  <a:cubicBezTo>
                    <a:pt x="59796" y="39864"/>
                    <a:pt x="54009" y="34077"/>
                    <a:pt x="46936" y="34077"/>
                  </a:cubicBezTo>
                  <a:lnTo>
                    <a:pt x="46936" y="34077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02" name="Forma Livre: Forma 301">
              <a:extLst>
                <a:ext uri="{FF2B5EF4-FFF2-40B4-BE49-F238E27FC236}">
                  <a16:creationId xmlns:a16="http://schemas.microsoft.com/office/drawing/2014/main" id="{328DFF9F-C5CE-4C8F-B9BB-4A704E2D8D9A}"/>
                </a:ext>
              </a:extLst>
            </p:cNvPr>
            <p:cNvSpPr/>
            <p:nvPr/>
          </p:nvSpPr>
          <p:spPr>
            <a:xfrm>
              <a:off x="9585373" y="2724550"/>
              <a:ext cx="348726" cy="190959"/>
            </a:xfrm>
            <a:custGeom>
              <a:avLst/>
              <a:gdLst>
                <a:gd name="connsiteX0" fmla="*/ 288668 w 348726"/>
                <a:gd name="connsiteY0" fmla="*/ 190960 h 190959"/>
                <a:gd name="connsiteX1" fmla="*/ 60416 w 348726"/>
                <a:gd name="connsiteY1" fmla="*/ 190960 h 190959"/>
                <a:gd name="connsiteX2" fmla="*/ 44342 w 348726"/>
                <a:gd name="connsiteY2" fmla="*/ 178743 h 190959"/>
                <a:gd name="connsiteX3" fmla="*/ 621 w 348726"/>
                <a:gd name="connsiteY3" fmla="*/ 21218 h 190959"/>
                <a:gd name="connsiteX4" fmla="*/ 3193 w 348726"/>
                <a:gd name="connsiteY4" fmla="*/ 6430 h 190959"/>
                <a:gd name="connsiteX5" fmla="*/ 16695 w 348726"/>
                <a:gd name="connsiteY5" fmla="*/ 0 h 190959"/>
                <a:gd name="connsiteX6" fmla="*/ 77777 w 348726"/>
                <a:gd name="connsiteY6" fmla="*/ 0 h 190959"/>
                <a:gd name="connsiteX7" fmla="*/ 77777 w 348726"/>
                <a:gd name="connsiteY7" fmla="*/ 34077 h 190959"/>
                <a:gd name="connsiteX8" fmla="*/ 39199 w 348726"/>
                <a:gd name="connsiteY8" fmla="*/ 34077 h 190959"/>
                <a:gd name="connsiteX9" fmla="*/ 73275 w 348726"/>
                <a:gd name="connsiteY9" fmla="*/ 157526 h 190959"/>
                <a:gd name="connsiteX10" fmla="*/ 275808 w 348726"/>
                <a:gd name="connsiteY10" fmla="*/ 157526 h 190959"/>
                <a:gd name="connsiteX11" fmla="*/ 309886 w 348726"/>
                <a:gd name="connsiteY11" fmla="*/ 34077 h 190959"/>
                <a:gd name="connsiteX12" fmla="*/ 271308 w 348726"/>
                <a:gd name="connsiteY12" fmla="*/ 34077 h 190959"/>
                <a:gd name="connsiteX13" fmla="*/ 271308 w 348726"/>
                <a:gd name="connsiteY13" fmla="*/ 0 h 190959"/>
                <a:gd name="connsiteX14" fmla="*/ 331746 w 348726"/>
                <a:gd name="connsiteY14" fmla="*/ 0 h 190959"/>
                <a:gd name="connsiteX15" fmla="*/ 345248 w 348726"/>
                <a:gd name="connsiteY15" fmla="*/ 6430 h 190959"/>
                <a:gd name="connsiteX16" fmla="*/ 347820 w 348726"/>
                <a:gd name="connsiteY16" fmla="*/ 21218 h 190959"/>
                <a:gd name="connsiteX17" fmla="*/ 304099 w 348726"/>
                <a:gd name="connsiteY17" fmla="*/ 178743 h 190959"/>
                <a:gd name="connsiteX18" fmla="*/ 288668 w 348726"/>
                <a:gd name="connsiteY18" fmla="*/ 190960 h 190959"/>
                <a:gd name="connsiteX19" fmla="*/ 288668 w 348726"/>
                <a:gd name="connsiteY19" fmla="*/ 190960 h 190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48726" h="190959">
                  <a:moveTo>
                    <a:pt x="288668" y="190960"/>
                  </a:moveTo>
                  <a:lnTo>
                    <a:pt x="60416" y="190960"/>
                  </a:lnTo>
                  <a:cubicBezTo>
                    <a:pt x="52701" y="190960"/>
                    <a:pt x="46271" y="185816"/>
                    <a:pt x="44342" y="178743"/>
                  </a:cubicBezTo>
                  <a:lnTo>
                    <a:pt x="621" y="21218"/>
                  </a:lnTo>
                  <a:cubicBezTo>
                    <a:pt x="-665" y="16074"/>
                    <a:pt x="-22" y="10930"/>
                    <a:pt x="3193" y="6430"/>
                  </a:cubicBezTo>
                  <a:cubicBezTo>
                    <a:pt x="6407" y="1929"/>
                    <a:pt x="11551" y="0"/>
                    <a:pt x="16695" y="0"/>
                  </a:cubicBezTo>
                  <a:lnTo>
                    <a:pt x="77777" y="0"/>
                  </a:lnTo>
                  <a:lnTo>
                    <a:pt x="77777" y="34077"/>
                  </a:lnTo>
                  <a:lnTo>
                    <a:pt x="39199" y="34077"/>
                  </a:lnTo>
                  <a:lnTo>
                    <a:pt x="73275" y="157526"/>
                  </a:lnTo>
                  <a:lnTo>
                    <a:pt x="275808" y="157526"/>
                  </a:lnTo>
                  <a:lnTo>
                    <a:pt x="309886" y="34077"/>
                  </a:lnTo>
                  <a:lnTo>
                    <a:pt x="271308" y="34077"/>
                  </a:lnTo>
                  <a:lnTo>
                    <a:pt x="271308" y="0"/>
                  </a:lnTo>
                  <a:lnTo>
                    <a:pt x="331746" y="0"/>
                  </a:lnTo>
                  <a:cubicBezTo>
                    <a:pt x="336890" y="0"/>
                    <a:pt x="342034" y="2572"/>
                    <a:pt x="345248" y="6430"/>
                  </a:cubicBezTo>
                  <a:cubicBezTo>
                    <a:pt x="348463" y="10930"/>
                    <a:pt x="349749" y="16074"/>
                    <a:pt x="347820" y="21218"/>
                  </a:cubicBezTo>
                  <a:lnTo>
                    <a:pt x="304099" y="178743"/>
                  </a:lnTo>
                  <a:cubicBezTo>
                    <a:pt x="302813" y="185816"/>
                    <a:pt x="295740" y="190960"/>
                    <a:pt x="288668" y="190960"/>
                  </a:cubicBezTo>
                  <a:lnTo>
                    <a:pt x="288668" y="190960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03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10487287" y="2595008"/>
            <a:ext cx="423816" cy="377868"/>
            <a:chOff x="10549109" y="2633249"/>
            <a:chExt cx="429802" cy="383205"/>
          </a:xfrm>
          <a:solidFill>
            <a:srgbClr val="B1B1A1"/>
          </a:solidFill>
        </p:grpSpPr>
        <p:sp>
          <p:nvSpPr>
            <p:cNvPr id="304" name="Forma Livre: Forma 303">
              <a:extLst>
                <a:ext uri="{FF2B5EF4-FFF2-40B4-BE49-F238E27FC236}">
                  <a16:creationId xmlns:a16="http://schemas.microsoft.com/office/drawing/2014/main" id="{232DE10A-FC8C-4245-9787-DDB762097476}"/>
                </a:ext>
              </a:extLst>
            </p:cNvPr>
            <p:cNvSpPr/>
            <p:nvPr/>
          </p:nvSpPr>
          <p:spPr>
            <a:xfrm>
              <a:off x="10699603" y="2633249"/>
              <a:ext cx="210891" cy="210891"/>
            </a:xfrm>
            <a:custGeom>
              <a:avLst/>
              <a:gdLst>
                <a:gd name="connsiteX0" fmla="*/ 105446 w 210891"/>
                <a:gd name="connsiteY0" fmla="*/ 210891 h 210891"/>
                <a:gd name="connsiteX1" fmla="*/ 30862 w 210891"/>
                <a:gd name="connsiteY1" fmla="*/ 180029 h 210891"/>
                <a:gd name="connsiteX2" fmla="*/ 0 w 210891"/>
                <a:gd name="connsiteY2" fmla="*/ 105446 h 210891"/>
                <a:gd name="connsiteX3" fmla="*/ 30862 w 210891"/>
                <a:gd name="connsiteY3" fmla="*/ 30862 h 210891"/>
                <a:gd name="connsiteX4" fmla="*/ 105446 w 210891"/>
                <a:gd name="connsiteY4" fmla="*/ 0 h 210891"/>
                <a:gd name="connsiteX5" fmla="*/ 180029 w 210891"/>
                <a:gd name="connsiteY5" fmla="*/ 30862 h 210891"/>
                <a:gd name="connsiteX6" fmla="*/ 210892 w 210891"/>
                <a:gd name="connsiteY6" fmla="*/ 105446 h 210891"/>
                <a:gd name="connsiteX7" fmla="*/ 180029 w 210891"/>
                <a:gd name="connsiteY7" fmla="*/ 180029 h 210891"/>
                <a:gd name="connsiteX8" fmla="*/ 105446 w 210891"/>
                <a:gd name="connsiteY8" fmla="*/ 210891 h 210891"/>
                <a:gd name="connsiteX9" fmla="*/ 105446 w 210891"/>
                <a:gd name="connsiteY9" fmla="*/ 210891 h 210891"/>
                <a:gd name="connsiteX10" fmla="*/ 105446 w 210891"/>
                <a:gd name="connsiteY10" fmla="*/ 16717 h 210891"/>
                <a:gd name="connsiteX11" fmla="*/ 43078 w 210891"/>
                <a:gd name="connsiteY11" fmla="*/ 42435 h 210891"/>
                <a:gd name="connsiteX12" fmla="*/ 17360 w 210891"/>
                <a:gd name="connsiteY12" fmla="*/ 104803 h 210891"/>
                <a:gd name="connsiteX13" fmla="*/ 43078 w 210891"/>
                <a:gd name="connsiteY13" fmla="*/ 167170 h 210891"/>
                <a:gd name="connsiteX14" fmla="*/ 105446 w 210891"/>
                <a:gd name="connsiteY14" fmla="*/ 192888 h 210891"/>
                <a:gd name="connsiteX15" fmla="*/ 167813 w 210891"/>
                <a:gd name="connsiteY15" fmla="*/ 167170 h 210891"/>
                <a:gd name="connsiteX16" fmla="*/ 193531 w 210891"/>
                <a:gd name="connsiteY16" fmla="*/ 104803 h 210891"/>
                <a:gd name="connsiteX17" fmla="*/ 167813 w 210891"/>
                <a:gd name="connsiteY17" fmla="*/ 42435 h 210891"/>
                <a:gd name="connsiteX18" fmla="*/ 105446 w 210891"/>
                <a:gd name="connsiteY18" fmla="*/ 16717 h 210891"/>
                <a:gd name="connsiteX19" fmla="*/ 105446 w 210891"/>
                <a:gd name="connsiteY19" fmla="*/ 16717 h 210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10891" h="210891">
                  <a:moveTo>
                    <a:pt x="105446" y="210891"/>
                  </a:moveTo>
                  <a:cubicBezTo>
                    <a:pt x="77155" y="210891"/>
                    <a:pt x="50794" y="199961"/>
                    <a:pt x="30862" y="180029"/>
                  </a:cubicBezTo>
                  <a:cubicBezTo>
                    <a:pt x="10930" y="160098"/>
                    <a:pt x="0" y="133736"/>
                    <a:pt x="0" y="105446"/>
                  </a:cubicBezTo>
                  <a:cubicBezTo>
                    <a:pt x="0" y="77155"/>
                    <a:pt x="10930" y="50794"/>
                    <a:pt x="30862" y="30862"/>
                  </a:cubicBezTo>
                  <a:cubicBezTo>
                    <a:pt x="50794" y="10930"/>
                    <a:pt x="77155" y="0"/>
                    <a:pt x="105446" y="0"/>
                  </a:cubicBezTo>
                  <a:cubicBezTo>
                    <a:pt x="133736" y="0"/>
                    <a:pt x="160098" y="10930"/>
                    <a:pt x="180029" y="30862"/>
                  </a:cubicBezTo>
                  <a:cubicBezTo>
                    <a:pt x="199961" y="50794"/>
                    <a:pt x="210892" y="77155"/>
                    <a:pt x="210892" y="105446"/>
                  </a:cubicBezTo>
                  <a:cubicBezTo>
                    <a:pt x="210892" y="133736"/>
                    <a:pt x="199961" y="160098"/>
                    <a:pt x="180029" y="180029"/>
                  </a:cubicBezTo>
                  <a:cubicBezTo>
                    <a:pt x="160098" y="199961"/>
                    <a:pt x="133736" y="210891"/>
                    <a:pt x="105446" y="210891"/>
                  </a:cubicBezTo>
                  <a:lnTo>
                    <a:pt x="105446" y="210891"/>
                  </a:lnTo>
                  <a:close/>
                  <a:moveTo>
                    <a:pt x="105446" y="16717"/>
                  </a:moveTo>
                  <a:cubicBezTo>
                    <a:pt x="81656" y="16717"/>
                    <a:pt x="59796" y="25718"/>
                    <a:pt x="43078" y="42435"/>
                  </a:cubicBezTo>
                  <a:cubicBezTo>
                    <a:pt x="26361" y="59153"/>
                    <a:pt x="17360" y="81656"/>
                    <a:pt x="17360" y="104803"/>
                  </a:cubicBezTo>
                  <a:cubicBezTo>
                    <a:pt x="17360" y="128592"/>
                    <a:pt x="26361" y="150453"/>
                    <a:pt x="43078" y="167170"/>
                  </a:cubicBezTo>
                  <a:cubicBezTo>
                    <a:pt x="59796" y="183887"/>
                    <a:pt x="82299" y="192888"/>
                    <a:pt x="105446" y="192888"/>
                  </a:cubicBezTo>
                  <a:cubicBezTo>
                    <a:pt x="129235" y="192888"/>
                    <a:pt x="151096" y="183887"/>
                    <a:pt x="167813" y="167170"/>
                  </a:cubicBezTo>
                  <a:cubicBezTo>
                    <a:pt x="184530" y="150453"/>
                    <a:pt x="193531" y="127949"/>
                    <a:pt x="193531" y="104803"/>
                  </a:cubicBezTo>
                  <a:cubicBezTo>
                    <a:pt x="193531" y="81013"/>
                    <a:pt x="184530" y="59153"/>
                    <a:pt x="167813" y="42435"/>
                  </a:cubicBezTo>
                  <a:cubicBezTo>
                    <a:pt x="151096" y="25718"/>
                    <a:pt x="129235" y="16717"/>
                    <a:pt x="105446" y="16717"/>
                  </a:cubicBezTo>
                  <a:lnTo>
                    <a:pt x="105446" y="16717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05" name="Forma Livre: Forma 304">
              <a:extLst>
                <a:ext uri="{FF2B5EF4-FFF2-40B4-BE49-F238E27FC236}">
                  <a16:creationId xmlns:a16="http://schemas.microsoft.com/office/drawing/2014/main" id="{87ADD58A-7914-43D4-A249-7B0C217DC7E3}"/>
                </a:ext>
              </a:extLst>
            </p:cNvPr>
            <p:cNvSpPr/>
            <p:nvPr/>
          </p:nvSpPr>
          <p:spPr>
            <a:xfrm>
              <a:off x="10741395" y="2721978"/>
              <a:ext cx="127306" cy="33433"/>
            </a:xfrm>
            <a:custGeom>
              <a:avLst/>
              <a:gdLst>
                <a:gd name="connsiteX0" fmla="*/ 110589 w 127306"/>
                <a:gd name="connsiteY0" fmla="*/ 33434 h 33433"/>
                <a:gd name="connsiteX1" fmla="*/ 16717 w 127306"/>
                <a:gd name="connsiteY1" fmla="*/ 33434 h 33433"/>
                <a:gd name="connsiteX2" fmla="*/ 0 w 127306"/>
                <a:gd name="connsiteY2" fmla="*/ 16717 h 33433"/>
                <a:gd name="connsiteX3" fmla="*/ 16717 w 127306"/>
                <a:gd name="connsiteY3" fmla="*/ 0 h 33433"/>
                <a:gd name="connsiteX4" fmla="*/ 110589 w 127306"/>
                <a:gd name="connsiteY4" fmla="*/ 0 h 33433"/>
                <a:gd name="connsiteX5" fmla="*/ 127307 w 127306"/>
                <a:gd name="connsiteY5" fmla="*/ 16717 h 33433"/>
                <a:gd name="connsiteX6" fmla="*/ 110589 w 127306"/>
                <a:gd name="connsiteY6" fmla="*/ 33434 h 33433"/>
                <a:gd name="connsiteX7" fmla="*/ 110589 w 127306"/>
                <a:gd name="connsiteY7" fmla="*/ 33434 h 33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7306" h="33433">
                  <a:moveTo>
                    <a:pt x="110589" y="33434"/>
                  </a:moveTo>
                  <a:lnTo>
                    <a:pt x="16717" y="33434"/>
                  </a:lnTo>
                  <a:cubicBezTo>
                    <a:pt x="7072" y="33434"/>
                    <a:pt x="0" y="25718"/>
                    <a:pt x="0" y="16717"/>
                  </a:cubicBezTo>
                  <a:cubicBezTo>
                    <a:pt x="0" y="7073"/>
                    <a:pt x="7715" y="0"/>
                    <a:pt x="16717" y="0"/>
                  </a:cubicBezTo>
                  <a:lnTo>
                    <a:pt x="110589" y="0"/>
                  </a:lnTo>
                  <a:cubicBezTo>
                    <a:pt x="120233" y="0"/>
                    <a:pt x="127307" y="7715"/>
                    <a:pt x="127307" y="16717"/>
                  </a:cubicBezTo>
                  <a:cubicBezTo>
                    <a:pt x="127307" y="25718"/>
                    <a:pt x="119591" y="33434"/>
                    <a:pt x="110589" y="33434"/>
                  </a:cubicBezTo>
                  <a:lnTo>
                    <a:pt x="110589" y="33434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06" name="Forma Livre: Forma 305">
              <a:extLst>
                <a:ext uri="{FF2B5EF4-FFF2-40B4-BE49-F238E27FC236}">
                  <a16:creationId xmlns:a16="http://schemas.microsoft.com/office/drawing/2014/main" id="{E7503FE5-8028-4F3F-8E01-CAAAD6DEA26D}"/>
                </a:ext>
              </a:extLst>
            </p:cNvPr>
            <p:cNvSpPr/>
            <p:nvPr/>
          </p:nvSpPr>
          <p:spPr>
            <a:xfrm>
              <a:off x="10549109" y="2659570"/>
              <a:ext cx="158871" cy="255939"/>
            </a:xfrm>
            <a:custGeom>
              <a:avLst/>
              <a:gdLst>
                <a:gd name="connsiteX0" fmla="*/ 141492 w 158871"/>
                <a:gd name="connsiteY0" fmla="*/ 255939 h 255939"/>
                <a:gd name="connsiteX1" fmla="*/ 125418 w 158871"/>
                <a:gd name="connsiteY1" fmla="*/ 243723 h 255939"/>
                <a:gd name="connsiteX2" fmla="*/ 68838 w 158871"/>
                <a:gd name="connsiteY2" fmla="*/ 36689 h 255939"/>
                <a:gd name="connsiteX3" fmla="*/ 16115 w 158871"/>
                <a:gd name="connsiteY3" fmla="*/ 34118 h 255939"/>
                <a:gd name="connsiteX4" fmla="*/ 41 w 158871"/>
                <a:gd name="connsiteY4" fmla="*/ 16115 h 255939"/>
                <a:gd name="connsiteX5" fmla="*/ 18044 w 158871"/>
                <a:gd name="connsiteY5" fmla="*/ 41 h 255939"/>
                <a:gd name="connsiteX6" fmla="*/ 82983 w 158871"/>
                <a:gd name="connsiteY6" fmla="*/ 2612 h 255939"/>
                <a:gd name="connsiteX7" fmla="*/ 98414 w 158871"/>
                <a:gd name="connsiteY7" fmla="*/ 14829 h 255939"/>
                <a:gd name="connsiteX8" fmla="*/ 158209 w 158871"/>
                <a:gd name="connsiteY8" fmla="*/ 233436 h 255939"/>
                <a:gd name="connsiteX9" fmla="*/ 146636 w 158871"/>
                <a:gd name="connsiteY9" fmla="*/ 254010 h 255939"/>
                <a:gd name="connsiteX10" fmla="*/ 141492 w 158871"/>
                <a:gd name="connsiteY10" fmla="*/ 255939 h 255939"/>
                <a:gd name="connsiteX11" fmla="*/ 141492 w 158871"/>
                <a:gd name="connsiteY11" fmla="*/ 255939 h 255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8871" h="255939">
                  <a:moveTo>
                    <a:pt x="141492" y="255939"/>
                  </a:moveTo>
                  <a:cubicBezTo>
                    <a:pt x="133777" y="255939"/>
                    <a:pt x="127347" y="250796"/>
                    <a:pt x="125418" y="243723"/>
                  </a:cubicBezTo>
                  <a:lnTo>
                    <a:pt x="68838" y="36689"/>
                  </a:lnTo>
                  <a:lnTo>
                    <a:pt x="16115" y="34118"/>
                  </a:lnTo>
                  <a:cubicBezTo>
                    <a:pt x="6470" y="33475"/>
                    <a:pt x="-602" y="25759"/>
                    <a:pt x="41" y="16115"/>
                  </a:cubicBezTo>
                  <a:cubicBezTo>
                    <a:pt x="683" y="6470"/>
                    <a:pt x="7757" y="-602"/>
                    <a:pt x="18044" y="41"/>
                  </a:cubicBezTo>
                  <a:lnTo>
                    <a:pt x="82983" y="2612"/>
                  </a:lnTo>
                  <a:cubicBezTo>
                    <a:pt x="90055" y="2612"/>
                    <a:pt x="96485" y="7756"/>
                    <a:pt x="98414" y="14829"/>
                  </a:cubicBezTo>
                  <a:lnTo>
                    <a:pt x="158209" y="233436"/>
                  </a:lnTo>
                  <a:cubicBezTo>
                    <a:pt x="160781" y="242437"/>
                    <a:pt x="155638" y="252082"/>
                    <a:pt x="146636" y="254010"/>
                  </a:cubicBezTo>
                  <a:cubicBezTo>
                    <a:pt x="144707" y="255296"/>
                    <a:pt x="142778" y="255939"/>
                    <a:pt x="141492" y="255939"/>
                  </a:cubicBezTo>
                  <a:lnTo>
                    <a:pt x="141492" y="255939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07" name="Forma Livre: Forma 306">
              <a:extLst>
                <a:ext uri="{FF2B5EF4-FFF2-40B4-BE49-F238E27FC236}">
                  <a16:creationId xmlns:a16="http://schemas.microsoft.com/office/drawing/2014/main" id="{FD86534C-DEC8-4780-B3D5-57D07E01F13A}"/>
                </a:ext>
              </a:extLst>
            </p:cNvPr>
            <p:cNvSpPr/>
            <p:nvPr/>
          </p:nvSpPr>
          <p:spPr>
            <a:xfrm>
              <a:off x="10684172" y="2922582"/>
              <a:ext cx="93872" cy="93872"/>
            </a:xfrm>
            <a:custGeom>
              <a:avLst/>
              <a:gdLst>
                <a:gd name="connsiteX0" fmla="*/ 46936 w 93872"/>
                <a:gd name="connsiteY0" fmla="*/ 93872 h 93872"/>
                <a:gd name="connsiteX1" fmla="*/ 0 w 93872"/>
                <a:gd name="connsiteY1" fmla="*/ 46936 h 93872"/>
                <a:gd name="connsiteX2" fmla="*/ 46936 w 93872"/>
                <a:gd name="connsiteY2" fmla="*/ 0 h 93872"/>
                <a:gd name="connsiteX3" fmla="*/ 93872 w 93872"/>
                <a:gd name="connsiteY3" fmla="*/ 46936 h 93872"/>
                <a:gd name="connsiteX4" fmla="*/ 46936 w 93872"/>
                <a:gd name="connsiteY4" fmla="*/ 93872 h 93872"/>
                <a:gd name="connsiteX5" fmla="*/ 46936 w 93872"/>
                <a:gd name="connsiteY5" fmla="*/ 93872 h 93872"/>
                <a:gd name="connsiteX6" fmla="*/ 46936 w 93872"/>
                <a:gd name="connsiteY6" fmla="*/ 34077 h 93872"/>
                <a:gd name="connsiteX7" fmla="*/ 34077 w 93872"/>
                <a:gd name="connsiteY7" fmla="*/ 46936 h 93872"/>
                <a:gd name="connsiteX8" fmla="*/ 46936 w 93872"/>
                <a:gd name="connsiteY8" fmla="*/ 59796 h 93872"/>
                <a:gd name="connsiteX9" fmla="*/ 59796 w 93872"/>
                <a:gd name="connsiteY9" fmla="*/ 46936 h 93872"/>
                <a:gd name="connsiteX10" fmla="*/ 46936 w 93872"/>
                <a:gd name="connsiteY10" fmla="*/ 34077 h 93872"/>
                <a:gd name="connsiteX11" fmla="*/ 46936 w 93872"/>
                <a:gd name="connsiteY11" fmla="*/ 34077 h 93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3872" h="93872">
                  <a:moveTo>
                    <a:pt x="46936" y="93872"/>
                  </a:moveTo>
                  <a:cubicBezTo>
                    <a:pt x="21218" y="93872"/>
                    <a:pt x="0" y="72655"/>
                    <a:pt x="0" y="46936"/>
                  </a:cubicBezTo>
                  <a:cubicBezTo>
                    <a:pt x="0" y="21218"/>
                    <a:pt x="21218" y="0"/>
                    <a:pt x="46936" y="0"/>
                  </a:cubicBezTo>
                  <a:cubicBezTo>
                    <a:pt x="72655" y="0"/>
                    <a:pt x="93872" y="21218"/>
                    <a:pt x="93872" y="46936"/>
                  </a:cubicBezTo>
                  <a:cubicBezTo>
                    <a:pt x="93872" y="72655"/>
                    <a:pt x="72655" y="93872"/>
                    <a:pt x="46936" y="93872"/>
                  </a:cubicBezTo>
                  <a:lnTo>
                    <a:pt x="46936" y="93872"/>
                  </a:lnTo>
                  <a:close/>
                  <a:moveTo>
                    <a:pt x="46936" y="34077"/>
                  </a:moveTo>
                  <a:cubicBezTo>
                    <a:pt x="39864" y="34077"/>
                    <a:pt x="34077" y="39864"/>
                    <a:pt x="34077" y="46936"/>
                  </a:cubicBezTo>
                  <a:cubicBezTo>
                    <a:pt x="34077" y="54009"/>
                    <a:pt x="39864" y="59796"/>
                    <a:pt x="46936" y="59796"/>
                  </a:cubicBezTo>
                  <a:cubicBezTo>
                    <a:pt x="54009" y="59796"/>
                    <a:pt x="59796" y="54009"/>
                    <a:pt x="59796" y="46936"/>
                  </a:cubicBezTo>
                  <a:cubicBezTo>
                    <a:pt x="59796" y="39864"/>
                    <a:pt x="54009" y="34077"/>
                    <a:pt x="46936" y="34077"/>
                  </a:cubicBezTo>
                  <a:lnTo>
                    <a:pt x="46936" y="34077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08" name="Forma Livre: Forma 307">
              <a:extLst>
                <a:ext uri="{FF2B5EF4-FFF2-40B4-BE49-F238E27FC236}">
                  <a16:creationId xmlns:a16="http://schemas.microsoft.com/office/drawing/2014/main" id="{9A317065-41C6-4613-8D7E-115FE6A87B9A}"/>
                </a:ext>
              </a:extLst>
            </p:cNvPr>
            <p:cNvSpPr/>
            <p:nvPr/>
          </p:nvSpPr>
          <p:spPr>
            <a:xfrm>
              <a:off x="10825623" y="2922582"/>
              <a:ext cx="93872" cy="93872"/>
            </a:xfrm>
            <a:custGeom>
              <a:avLst/>
              <a:gdLst>
                <a:gd name="connsiteX0" fmla="*/ 46936 w 93872"/>
                <a:gd name="connsiteY0" fmla="*/ 93872 h 93872"/>
                <a:gd name="connsiteX1" fmla="*/ 0 w 93872"/>
                <a:gd name="connsiteY1" fmla="*/ 46936 h 93872"/>
                <a:gd name="connsiteX2" fmla="*/ 46936 w 93872"/>
                <a:gd name="connsiteY2" fmla="*/ 0 h 93872"/>
                <a:gd name="connsiteX3" fmla="*/ 93872 w 93872"/>
                <a:gd name="connsiteY3" fmla="*/ 46936 h 93872"/>
                <a:gd name="connsiteX4" fmla="*/ 46936 w 93872"/>
                <a:gd name="connsiteY4" fmla="*/ 93872 h 93872"/>
                <a:gd name="connsiteX5" fmla="*/ 46936 w 93872"/>
                <a:gd name="connsiteY5" fmla="*/ 93872 h 93872"/>
                <a:gd name="connsiteX6" fmla="*/ 46936 w 93872"/>
                <a:gd name="connsiteY6" fmla="*/ 34077 h 93872"/>
                <a:gd name="connsiteX7" fmla="*/ 34077 w 93872"/>
                <a:gd name="connsiteY7" fmla="*/ 46936 h 93872"/>
                <a:gd name="connsiteX8" fmla="*/ 46936 w 93872"/>
                <a:gd name="connsiteY8" fmla="*/ 59796 h 93872"/>
                <a:gd name="connsiteX9" fmla="*/ 59796 w 93872"/>
                <a:gd name="connsiteY9" fmla="*/ 46936 h 93872"/>
                <a:gd name="connsiteX10" fmla="*/ 46936 w 93872"/>
                <a:gd name="connsiteY10" fmla="*/ 34077 h 93872"/>
                <a:gd name="connsiteX11" fmla="*/ 46936 w 93872"/>
                <a:gd name="connsiteY11" fmla="*/ 34077 h 93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3872" h="93872">
                  <a:moveTo>
                    <a:pt x="46936" y="93872"/>
                  </a:moveTo>
                  <a:cubicBezTo>
                    <a:pt x="21218" y="93872"/>
                    <a:pt x="0" y="72655"/>
                    <a:pt x="0" y="46936"/>
                  </a:cubicBezTo>
                  <a:cubicBezTo>
                    <a:pt x="0" y="21218"/>
                    <a:pt x="21218" y="0"/>
                    <a:pt x="46936" y="0"/>
                  </a:cubicBezTo>
                  <a:cubicBezTo>
                    <a:pt x="72655" y="0"/>
                    <a:pt x="93872" y="21218"/>
                    <a:pt x="93872" y="46936"/>
                  </a:cubicBezTo>
                  <a:cubicBezTo>
                    <a:pt x="93872" y="72655"/>
                    <a:pt x="72655" y="93872"/>
                    <a:pt x="46936" y="93872"/>
                  </a:cubicBezTo>
                  <a:lnTo>
                    <a:pt x="46936" y="93872"/>
                  </a:lnTo>
                  <a:close/>
                  <a:moveTo>
                    <a:pt x="46936" y="34077"/>
                  </a:moveTo>
                  <a:cubicBezTo>
                    <a:pt x="39864" y="34077"/>
                    <a:pt x="34077" y="39864"/>
                    <a:pt x="34077" y="46936"/>
                  </a:cubicBezTo>
                  <a:cubicBezTo>
                    <a:pt x="34077" y="54009"/>
                    <a:pt x="39864" y="59796"/>
                    <a:pt x="46936" y="59796"/>
                  </a:cubicBezTo>
                  <a:cubicBezTo>
                    <a:pt x="54009" y="59796"/>
                    <a:pt x="59796" y="54009"/>
                    <a:pt x="59796" y="46936"/>
                  </a:cubicBezTo>
                  <a:cubicBezTo>
                    <a:pt x="59796" y="39864"/>
                    <a:pt x="54009" y="34077"/>
                    <a:pt x="46936" y="34077"/>
                  </a:cubicBezTo>
                  <a:lnTo>
                    <a:pt x="46936" y="34077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09" name="Forma Livre: Forma 308">
              <a:extLst>
                <a:ext uri="{FF2B5EF4-FFF2-40B4-BE49-F238E27FC236}">
                  <a16:creationId xmlns:a16="http://schemas.microsoft.com/office/drawing/2014/main" id="{324461FC-5A0F-4DE0-BB9B-7D82A78D27E1}"/>
                </a:ext>
              </a:extLst>
            </p:cNvPr>
            <p:cNvSpPr/>
            <p:nvPr/>
          </p:nvSpPr>
          <p:spPr>
            <a:xfrm>
              <a:off x="10630185" y="2724550"/>
              <a:ext cx="348726" cy="190959"/>
            </a:xfrm>
            <a:custGeom>
              <a:avLst/>
              <a:gdLst>
                <a:gd name="connsiteX0" fmla="*/ 288668 w 348726"/>
                <a:gd name="connsiteY0" fmla="*/ 190960 h 190959"/>
                <a:gd name="connsiteX1" fmla="*/ 60416 w 348726"/>
                <a:gd name="connsiteY1" fmla="*/ 190960 h 190959"/>
                <a:gd name="connsiteX2" fmla="*/ 44342 w 348726"/>
                <a:gd name="connsiteY2" fmla="*/ 178743 h 190959"/>
                <a:gd name="connsiteX3" fmla="*/ 621 w 348726"/>
                <a:gd name="connsiteY3" fmla="*/ 21218 h 190959"/>
                <a:gd name="connsiteX4" fmla="*/ 3193 w 348726"/>
                <a:gd name="connsiteY4" fmla="*/ 6430 h 190959"/>
                <a:gd name="connsiteX5" fmla="*/ 16695 w 348726"/>
                <a:gd name="connsiteY5" fmla="*/ 0 h 190959"/>
                <a:gd name="connsiteX6" fmla="*/ 77777 w 348726"/>
                <a:gd name="connsiteY6" fmla="*/ 0 h 190959"/>
                <a:gd name="connsiteX7" fmla="*/ 77777 w 348726"/>
                <a:gd name="connsiteY7" fmla="*/ 34077 h 190959"/>
                <a:gd name="connsiteX8" fmla="*/ 39199 w 348726"/>
                <a:gd name="connsiteY8" fmla="*/ 34077 h 190959"/>
                <a:gd name="connsiteX9" fmla="*/ 73275 w 348726"/>
                <a:gd name="connsiteY9" fmla="*/ 157526 h 190959"/>
                <a:gd name="connsiteX10" fmla="*/ 275808 w 348726"/>
                <a:gd name="connsiteY10" fmla="*/ 157526 h 190959"/>
                <a:gd name="connsiteX11" fmla="*/ 309886 w 348726"/>
                <a:gd name="connsiteY11" fmla="*/ 34077 h 190959"/>
                <a:gd name="connsiteX12" fmla="*/ 271308 w 348726"/>
                <a:gd name="connsiteY12" fmla="*/ 34077 h 190959"/>
                <a:gd name="connsiteX13" fmla="*/ 271308 w 348726"/>
                <a:gd name="connsiteY13" fmla="*/ 0 h 190959"/>
                <a:gd name="connsiteX14" fmla="*/ 331746 w 348726"/>
                <a:gd name="connsiteY14" fmla="*/ 0 h 190959"/>
                <a:gd name="connsiteX15" fmla="*/ 345248 w 348726"/>
                <a:gd name="connsiteY15" fmla="*/ 6430 h 190959"/>
                <a:gd name="connsiteX16" fmla="*/ 347820 w 348726"/>
                <a:gd name="connsiteY16" fmla="*/ 21218 h 190959"/>
                <a:gd name="connsiteX17" fmla="*/ 304099 w 348726"/>
                <a:gd name="connsiteY17" fmla="*/ 178743 h 190959"/>
                <a:gd name="connsiteX18" fmla="*/ 288668 w 348726"/>
                <a:gd name="connsiteY18" fmla="*/ 190960 h 190959"/>
                <a:gd name="connsiteX19" fmla="*/ 288668 w 348726"/>
                <a:gd name="connsiteY19" fmla="*/ 190960 h 190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48726" h="190959">
                  <a:moveTo>
                    <a:pt x="288668" y="190960"/>
                  </a:moveTo>
                  <a:lnTo>
                    <a:pt x="60416" y="190960"/>
                  </a:lnTo>
                  <a:cubicBezTo>
                    <a:pt x="52701" y="190960"/>
                    <a:pt x="46271" y="185816"/>
                    <a:pt x="44342" y="178743"/>
                  </a:cubicBezTo>
                  <a:lnTo>
                    <a:pt x="621" y="21218"/>
                  </a:lnTo>
                  <a:cubicBezTo>
                    <a:pt x="-665" y="16074"/>
                    <a:pt x="-22" y="10930"/>
                    <a:pt x="3193" y="6430"/>
                  </a:cubicBezTo>
                  <a:cubicBezTo>
                    <a:pt x="6407" y="1929"/>
                    <a:pt x="11551" y="0"/>
                    <a:pt x="16695" y="0"/>
                  </a:cubicBezTo>
                  <a:lnTo>
                    <a:pt x="77777" y="0"/>
                  </a:lnTo>
                  <a:lnTo>
                    <a:pt x="77777" y="34077"/>
                  </a:lnTo>
                  <a:lnTo>
                    <a:pt x="39199" y="34077"/>
                  </a:lnTo>
                  <a:lnTo>
                    <a:pt x="73275" y="157526"/>
                  </a:lnTo>
                  <a:lnTo>
                    <a:pt x="275808" y="157526"/>
                  </a:lnTo>
                  <a:lnTo>
                    <a:pt x="309886" y="34077"/>
                  </a:lnTo>
                  <a:lnTo>
                    <a:pt x="271308" y="34077"/>
                  </a:lnTo>
                  <a:lnTo>
                    <a:pt x="271308" y="0"/>
                  </a:lnTo>
                  <a:lnTo>
                    <a:pt x="331746" y="0"/>
                  </a:lnTo>
                  <a:cubicBezTo>
                    <a:pt x="336890" y="0"/>
                    <a:pt x="342034" y="2572"/>
                    <a:pt x="345248" y="6430"/>
                  </a:cubicBezTo>
                  <a:cubicBezTo>
                    <a:pt x="348463" y="10930"/>
                    <a:pt x="349749" y="16074"/>
                    <a:pt x="347820" y="21218"/>
                  </a:cubicBezTo>
                  <a:lnTo>
                    <a:pt x="304099" y="178743"/>
                  </a:lnTo>
                  <a:cubicBezTo>
                    <a:pt x="302813" y="185816"/>
                    <a:pt x="296384" y="190960"/>
                    <a:pt x="288668" y="190960"/>
                  </a:cubicBezTo>
                  <a:lnTo>
                    <a:pt x="288668" y="190960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10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5375940" y="3615908"/>
            <a:ext cx="396912" cy="395471"/>
            <a:chOff x="5365571" y="3668568"/>
            <a:chExt cx="402518" cy="401057"/>
          </a:xfrm>
          <a:solidFill>
            <a:srgbClr val="B1B1A1"/>
          </a:solidFill>
        </p:grpSpPr>
        <p:grpSp>
          <p:nvGrpSpPr>
            <p:cNvPr id="311" name="Gráfico 2">
              <a:extLst>
                <a:ext uri="{FF2B5EF4-FFF2-40B4-BE49-F238E27FC236}">
                  <a16:creationId xmlns:a16="http://schemas.microsoft.com/office/drawing/2014/main" id="{40F8E44F-B406-439F-8B63-82F15B4E8194}"/>
                </a:ext>
              </a:extLst>
            </p:cNvPr>
            <p:cNvGrpSpPr/>
            <p:nvPr/>
          </p:nvGrpSpPr>
          <p:grpSpPr>
            <a:xfrm>
              <a:off x="5365571" y="3668568"/>
              <a:ext cx="402518" cy="401057"/>
              <a:chOff x="5365571" y="3668568"/>
              <a:chExt cx="402518" cy="401057"/>
            </a:xfrm>
            <a:grpFill/>
          </p:grpSpPr>
          <p:grpSp>
            <p:nvGrpSpPr>
              <p:cNvPr id="312" name="Gráfico 2">
                <a:extLst>
                  <a:ext uri="{FF2B5EF4-FFF2-40B4-BE49-F238E27FC236}">
                    <a16:creationId xmlns:a16="http://schemas.microsoft.com/office/drawing/2014/main" id="{40F8E44F-B406-439F-8B63-82F15B4E8194}"/>
                  </a:ext>
                </a:extLst>
              </p:cNvPr>
              <p:cNvGrpSpPr/>
              <p:nvPr/>
            </p:nvGrpSpPr>
            <p:grpSpPr>
              <a:xfrm>
                <a:off x="5365571" y="3747502"/>
                <a:ext cx="151145" cy="322123"/>
                <a:chOff x="5365571" y="3747502"/>
                <a:chExt cx="151145" cy="322123"/>
              </a:xfrm>
              <a:grpFill/>
            </p:grpSpPr>
            <p:sp>
              <p:nvSpPr>
                <p:cNvPr id="313" name="Forma Livre: Forma 312">
                  <a:extLst>
                    <a:ext uri="{FF2B5EF4-FFF2-40B4-BE49-F238E27FC236}">
                      <a16:creationId xmlns:a16="http://schemas.microsoft.com/office/drawing/2014/main" id="{126C8AB3-D43F-4B0A-BC1C-7599B09D2B31}"/>
                    </a:ext>
                  </a:extLst>
                </p:cNvPr>
                <p:cNvSpPr/>
                <p:nvPr/>
              </p:nvSpPr>
              <p:spPr>
                <a:xfrm>
                  <a:off x="5365571" y="3944891"/>
                  <a:ext cx="151145" cy="124734"/>
                </a:xfrm>
                <a:custGeom>
                  <a:avLst/>
                  <a:gdLst>
                    <a:gd name="connsiteX0" fmla="*/ 45675 w 151145"/>
                    <a:gd name="connsiteY0" fmla="*/ 124735 h 124734"/>
                    <a:gd name="connsiteX1" fmla="*/ 668 w 151145"/>
                    <a:gd name="connsiteY1" fmla="*/ 93229 h 124734"/>
                    <a:gd name="connsiteX2" fmla="*/ 61749 w 151145"/>
                    <a:gd name="connsiteY2" fmla="*/ 10930 h 124734"/>
                    <a:gd name="connsiteX3" fmla="*/ 105470 w 151145"/>
                    <a:gd name="connsiteY3" fmla="*/ 0 h 124734"/>
                    <a:gd name="connsiteX4" fmla="*/ 150478 w 151145"/>
                    <a:gd name="connsiteY4" fmla="*/ 31505 h 124734"/>
                    <a:gd name="connsiteX5" fmla="*/ 89396 w 151145"/>
                    <a:gd name="connsiteY5" fmla="*/ 113804 h 124734"/>
                    <a:gd name="connsiteX6" fmla="*/ 45675 w 151145"/>
                    <a:gd name="connsiteY6" fmla="*/ 124735 h 124734"/>
                    <a:gd name="connsiteX7" fmla="*/ 45675 w 151145"/>
                    <a:gd name="connsiteY7" fmla="*/ 124735 h 124734"/>
                    <a:gd name="connsiteX8" fmla="*/ 105470 w 151145"/>
                    <a:gd name="connsiteY8" fmla="*/ 33434 h 124734"/>
                    <a:gd name="connsiteX9" fmla="*/ 75894 w 151145"/>
                    <a:gd name="connsiteY9" fmla="*/ 41150 h 124734"/>
                    <a:gd name="connsiteX10" fmla="*/ 33459 w 151145"/>
                    <a:gd name="connsiteY10" fmla="*/ 86157 h 124734"/>
                    <a:gd name="connsiteX11" fmla="*/ 45032 w 151145"/>
                    <a:gd name="connsiteY11" fmla="*/ 90015 h 124734"/>
                    <a:gd name="connsiteX12" fmla="*/ 74608 w 151145"/>
                    <a:gd name="connsiteY12" fmla="*/ 82299 h 124734"/>
                    <a:gd name="connsiteX13" fmla="*/ 117044 w 151145"/>
                    <a:gd name="connsiteY13" fmla="*/ 37292 h 124734"/>
                    <a:gd name="connsiteX14" fmla="*/ 105470 w 151145"/>
                    <a:gd name="connsiteY14" fmla="*/ 33434 h 124734"/>
                    <a:gd name="connsiteX15" fmla="*/ 105470 w 151145"/>
                    <a:gd name="connsiteY15" fmla="*/ 33434 h 124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51145" h="124734">
                      <a:moveTo>
                        <a:pt x="45675" y="124735"/>
                      </a:moveTo>
                      <a:cubicBezTo>
                        <a:pt x="21243" y="124735"/>
                        <a:pt x="4525" y="112518"/>
                        <a:pt x="668" y="93229"/>
                      </a:cubicBezTo>
                      <a:cubicBezTo>
                        <a:pt x="-5119" y="61725"/>
                        <a:pt x="27672" y="27004"/>
                        <a:pt x="61749" y="10930"/>
                      </a:cubicBezTo>
                      <a:cubicBezTo>
                        <a:pt x="77180" y="3858"/>
                        <a:pt x="91968" y="0"/>
                        <a:pt x="105470" y="0"/>
                      </a:cubicBezTo>
                      <a:cubicBezTo>
                        <a:pt x="129903" y="0"/>
                        <a:pt x="146620" y="12216"/>
                        <a:pt x="150478" y="31505"/>
                      </a:cubicBezTo>
                      <a:cubicBezTo>
                        <a:pt x="156264" y="63653"/>
                        <a:pt x="123473" y="97730"/>
                        <a:pt x="89396" y="113804"/>
                      </a:cubicBezTo>
                      <a:cubicBezTo>
                        <a:pt x="74608" y="120877"/>
                        <a:pt x="59177" y="124735"/>
                        <a:pt x="45675" y="124735"/>
                      </a:cubicBezTo>
                      <a:lnTo>
                        <a:pt x="45675" y="124735"/>
                      </a:lnTo>
                      <a:close/>
                      <a:moveTo>
                        <a:pt x="105470" y="33434"/>
                      </a:moveTo>
                      <a:cubicBezTo>
                        <a:pt x="97112" y="33434"/>
                        <a:pt x="86181" y="36006"/>
                        <a:pt x="75894" y="41150"/>
                      </a:cubicBezTo>
                      <a:cubicBezTo>
                        <a:pt x="48247" y="54652"/>
                        <a:pt x="32173" y="77155"/>
                        <a:pt x="33459" y="86157"/>
                      </a:cubicBezTo>
                      <a:cubicBezTo>
                        <a:pt x="34102" y="89372"/>
                        <a:pt x="41174" y="90015"/>
                        <a:pt x="45032" y="90015"/>
                      </a:cubicBezTo>
                      <a:cubicBezTo>
                        <a:pt x="53391" y="90015"/>
                        <a:pt x="64321" y="87443"/>
                        <a:pt x="74608" y="82299"/>
                      </a:cubicBezTo>
                      <a:cubicBezTo>
                        <a:pt x="102899" y="68797"/>
                        <a:pt x="118330" y="46293"/>
                        <a:pt x="117044" y="37292"/>
                      </a:cubicBezTo>
                      <a:cubicBezTo>
                        <a:pt x="116401" y="34720"/>
                        <a:pt x="109328" y="33434"/>
                        <a:pt x="105470" y="33434"/>
                      </a:cubicBezTo>
                      <a:lnTo>
                        <a:pt x="105470" y="33434"/>
                      </a:lnTo>
                      <a:close/>
                    </a:path>
                  </a:pathLst>
                </a:custGeom>
                <a:grpFill/>
                <a:ln w="64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314" name="Forma Livre: Forma 313">
                  <a:extLst>
                    <a:ext uri="{FF2B5EF4-FFF2-40B4-BE49-F238E27FC236}">
                      <a16:creationId xmlns:a16="http://schemas.microsoft.com/office/drawing/2014/main" id="{72FE54EE-E41C-4C90-8F75-FBB1839CC04E}"/>
                    </a:ext>
                  </a:extLst>
                </p:cNvPr>
                <p:cNvSpPr/>
                <p:nvPr/>
              </p:nvSpPr>
              <p:spPr>
                <a:xfrm>
                  <a:off x="5482614" y="3747502"/>
                  <a:ext cx="34077" cy="232109"/>
                </a:xfrm>
                <a:custGeom>
                  <a:avLst/>
                  <a:gdLst>
                    <a:gd name="connsiteX0" fmla="*/ 34077 w 34077"/>
                    <a:gd name="connsiteY0" fmla="*/ 232109 h 232109"/>
                    <a:gd name="connsiteX1" fmla="*/ 0 w 34077"/>
                    <a:gd name="connsiteY1" fmla="*/ 232109 h 232109"/>
                    <a:gd name="connsiteX2" fmla="*/ 0 w 34077"/>
                    <a:gd name="connsiteY2" fmla="*/ 0 h 232109"/>
                    <a:gd name="connsiteX3" fmla="*/ 34077 w 34077"/>
                    <a:gd name="connsiteY3" fmla="*/ 0 h 232109"/>
                    <a:gd name="connsiteX4" fmla="*/ 34077 w 34077"/>
                    <a:gd name="connsiteY4" fmla="*/ 232109 h 2321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077" h="232109">
                      <a:moveTo>
                        <a:pt x="34077" y="232109"/>
                      </a:moveTo>
                      <a:lnTo>
                        <a:pt x="0" y="232109"/>
                      </a:lnTo>
                      <a:lnTo>
                        <a:pt x="0" y="0"/>
                      </a:lnTo>
                      <a:lnTo>
                        <a:pt x="34077" y="0"/>
                      </a:lnTo>
                      <a:lnTo>
                        <a:pt x="34077" y="232109"/>
                      </a:lnTo>
                      <a:close/>
                    </a:path>
                  </a:pathLst>
                </a:custGeom>
                <a:grpFill/>
                <a:ln w="64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grpSp>
            <p:nvGrpSpPr>
              <p:cNvPr id="315" name="Gráfico 2">
                <a:extLst>
                  <a:ext uri="{FF2B5EF4-FFF2-40B4-BE49-F238E27FC236}">
                    <a16:creationId xmlns:a16="http://schemas.microsoft.com/office/drawing/2014/main" id="{40F8E44F-B406-439F-8B63-82F15B4E8194}"/>
                  </a:ext>
                </a:extLst>
              </p:cNvPr>
              <p:cNvGrpSpPr/>
              <p:nvPr/>
            </p:nvGrpSpPr>
            <p:grpSpPr>
              <a:xfrm>
                <a:off x="5615683" y="3686420"/>
                <a:ext cx="151763" cy="322123"/>
                <a:chOff x="5615683" y="3686420"/>
                <a:chExt cx="151763" cy="322123"/>
              </a:xfrm>
              <a:grpFill/>
            </p:grpSpPr>
            <p:sp>
              <p:nvSpPr>
                <p:cNvPr id="316" name="Forma Livre: Forma 315">
                  <a:extLst>
                    <a:ext uri="{FF2B5EF4-FFF2-40B4-BE49-F238E27FC236}">
                      <a16:creationId xmlns:a16="http://schemas.microsoft.com/office/drawing/2014/main" id="{D7072F3D-6987-4EAA-9A18-5967B3034FFF}"/>
                    </a:ext>
                  </a:extLst>
                </p:cNvPr>
                <p:cNvSpPr/>
                <p:nvPr/>
              </p:nvSpPr>
              <p:spPr>
                <a:xfrm>
                  <a:off x="5615683" y="3883809"/>
                  <a:ext cx="151145" cy="124734"/>
                </a:xfrm>
                <a:custGeom>
                  <a:avLst/>
                  <a:gdLst>
                    <a:gd name="connsiteX0" fmla="*/ 45675 w 151145"/>
                    <a:gd name="connsiteY0" fmla="*/ 124735 h 124734"/>
                    <a:gd name="connsiteX1" fmla="*/ 668 w 151145"/>
                    <a:gd name="connsiteY1" fmla="*/ 93229 h 124734"/>
                    <a:gd name="connsiteX2" fmla="*/ 61749 w 151145"/>
                    <a:gd name="connsiteY2" fmla="*/ 10930 h 124734"/>
                    <a:gd name="connsiteX3" fmla="*/ 105470 w 151145"/>
                    <a:gd name="connsiteY3" fmla="*/ 0 h 124734"/>
                    <a:gd name="connsiteX4" fmla="*/ 150478 w 151145"/>
                    <a:gd name="connsiteY4" fmla="*/ 31505 h 124734"/>
                    <a:gd name="connsiteX5" fmla="*/ 89396 w 151145"/>
                    <a:gd name="connsiteY5" fmla="*/ 113804 h 124734"/>
                    <a:gd name="connsiteX6" fmla="*/ 45675 w 151145"/>
                    <a:gd name="connsiteY6" fmla="*/ 124735 h 124734"/>
                    <a:gd name="connsiteX7" fmla="*/ 45675 w 151145"/>
                    <a:gd name="connsiteY7" fmla="*/ 124735 h 124734"/>
                    <a:gd name="connsiteX8" fmla="*/ 106113 w 151145"/>
                    <a:gd name="connsiteY8" fmla="*/ 34077 h 124734"/>
                    <a:gd name="connsiteX9" fmla="*/ 76537 w 151145"/>
                    <a:gd name="connsiteY9" fmla="*/ 41792 h 124734"/>
                    <a:gd name="connsiteX10" fmla="*/ 34101 w 151145"/>
                    <a:gd name="connsiteY10" fmla="*/ 86800 h 124734"/>
                    <a:gd name="connsiteX11" fmla="*/ 45675 w 151145"/>
                    <a:gd name="connsiteY11" fmla="*/ 90658 h 124734"/>
                    <a:gd name="connsiteX12" fmla="*/ 75251 w 151145"/>
                    <a:gd name="connsiteY12" fmla="*/ 82942 h 124734"/>
                    <a:gd name="connsiteX13" fmla="*/ 117686 w 151145"/>
                    <a:gd name="connsiteY13" fmla="*/ 37935 h 124734"/>
                    <a:gd name="connsiteX14" fmla="*/ 106113 w 151145"/>
                    <a:gd name="connsiteY14" fmla="*/ 34077 h 124734"/>
                    <a:gd name="connsiteX15" fmla="*/ 106113 w 151145"/>
                    <a:gd name="connsiteY15" fmla="*/ 34077 h 124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51145" h="124734">
                      <a:moveTo>
                        <a:pt x="45675" y="124735"/>
                      </a:moveTo>
                      <a:cubicBezTo>
                        <a:pt x="21242" y="124735"/>
                        <a:pt x="4525" y="112518"/>
                        <a:pt x="668" y="93229"/>
                      </a:cubicBezTo>
                      <a:cubicBezTo>
                        <a:pt x="-5119" y="61725"/>
                        <a:pt x="27672" y="27004"/>
                        <a:pt x="61749" y="10930"/>
                      </a:cubicBezTo>
                      <a:cubicBezTo>
                        <a:pt x="77180" y="3858"/>
                        <a:pt x="91968" y="0"/>
                        <a:pt x="105470" y="0"/>
                      </a:cubicBezTo>
                      <a:cubicBezTo>
                        <a:pt x="129903" y="0"/>
                        <a:pt x="146620" y="12216"/>
                        <a:pt x="150478" y="31505"/>
                      </a:cubicBezTo>
                      <a:cubicBezTo>
                        <a:pt x="156264" y="63010"/>
                        <a:pt x="123473" y="97730"/>
                        <a:pt x="89396" y="113804"/>
                      </a:cubicBezTo>
                      <a:cubicBezTo>
                        <a:pt x="74608" y="120877"/>
                        <a:pt x="59820" y="124735"/>
                        <a:pt x="45675" y="124735"/>
                      </a:cubicBezTo>
                      <a:lnTo>
                        <a:pt x="45675" y="124735"/>
                      </a:lnTo>
                      <a:close/>
                      <a:moveTo>
                        <a:pt x="106113" y="34077"/>
                      </a:moveTo>
                      <a:cubicBezTo>
                        <a:pt x="97755" y="34077"/>
                        <a:pt x="86824" y="36649"/>
                        <a:pt x="76537" y="41792"/>
                      </a:cubicBezTo>
                      <a:cubicBezTo>
                        <a:pt x="48890" y="54652"/>
                        <a:pt x="32816" y="77799"/>
                        <a:pt x="34101" y="86800"/>
                      </a:cubicBezTo>
                      <a:cubicBezTo>
                        <a:pt x="34745" y="90015"/>
                        <a:pt x="41817" y="90658"/>
                        <a:pt x="45675" y="90658"/>
                      </a:cubicBezTo>
                      <a:cubicBezTo>
                        <a:pt x="54033" y="90658"/>
                        <a:pt x="64964" y="88086"/>
                        <a:pt x="75251" y="82942"/>
                      </a:cubicBezTo>
                      <a:cubicBezTo>
                        <a:pt x="103542" y="69440"/>
                        <a:pt x="118972" y="46936"/>
                        <a:pt x="117686" y="37935"/>
                      </a:cubicBezTo>
                      <a:cubicBezTo>
                        <a:pt x="117044" y="34720"/>
                        <a:pt x="109971" y="34077"/>
                        <a:pt x="106113" y="34077"/>
                      </a:cubicBezTo>
                      <a:lnTo>
                        <a:pt x="106113" y="34077"/>
                      </a:lnTo>
                      <a:close/>
                    </a:path>
                  </a:pathLst>
                </a:custGeom>
                <a:grpFill/>
                <a:ln w="64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317" name="Forma Livre: Forma 316">
                  <a:extLst>
                    <a:ext uri="{FF2B5EF4-FFF2-40B4-BE49-F238E27FC236}">
                      <a16:creationId xmlns:a16="http://schemas.microsoft.com/office/drawing/2014/main" id="{CE9B1C6E-ED9A-444C-91DF-46668AD7DBD5}"/>
                    </a:ext>
                  </a:extLst>
                </p:cNvPr>
                <p:cNvSpPr/>
                <p:nvPr/>
              </p:nvSpPr>
              <p:spPr>
                <a:xfrm>
                  <a:off x="5733369" y="3686420"/>
                  <a:ext cx="34077" cy="232109"/>
                </a:xfrm>
                <a:custGeom>
                  <a:avLst/>
                  <a:gdLst>
                    <a:gd name="connsiteX0" fmla="*/ 34077 w 34077"/>
                    <a:gd name="connsiteY0" fmla="*/ 232109 h 232109"/>
                    <a:gd name="connsiteX1" fmla="*/ 0 w 34077"/>
                    <a:gd name="connsiteY1" fmla="*/ 232109 h 232109"/>
                    <a:gd name="connsiteX2" fmla="*/ 0 w 34077"/>
                    <a:gd name="connsiteY2" fmla="*/ 0 h 232109"/>
                    <a:gd name="connsiteX3" fmla="*/ 34077 w 34077"/>
                    <a:gd name="connsiteY3" fmla="*/ 0 h 232109"/>
                    <a:gd name="connsiteX4" fmla="*/ 34077 w 34077"/>
                    <a:gd name="connsiteY4" fmla="*/ 232109 h 2321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077" h="232109">
                      <a:moveTo>
                        <a:pt x="34077" y="232109"/>
                      </a:moveTo>
                      <a:lnTo>
                        <a:pt x="0" y="232109"/>
                      </a:lnTo>
                      <a:lnTo>
                        <a:pt x="0" y="0"/>
                      </a:lnTo>
                      <a:lnTo>
                        <a:pt x="34077" y="0"/>
                      </a:lnTo>
                      <a:lnTo>
                        <a:pt x="34077" y="232109"/>
                      </a:lnTo>
                      <a:close/>
                    </a:path>
                  </a:pathLst>
                </a:custGeom>
                <a:grpFill/>
                <a:ln w="64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sp>
            <p:nvSpPr>
              <p:cNvPr id="318" name="Forma Livre: Forma 317">
                <a:extLst>
                  <a:ext uri="{FF2B5EF4-FFF2-40B4-BE49-F238E27FC236}">
                    <a16:creationId xmlns:a16="http://schemas.microsoft.com/office/drawing/2014/main" id="{AEF1077D-3BB6-4134-8F5F-64BCA816A24F}"/>
                  </a:ext>
                </a:extLst>
              </p:cNvPr>
              <p:cNvSpPr/>
              <p:nvPr/>
            </p:nvSpPr>
            <p:spPr>
              <a:xfrm>
                <a:off x="5483257" y="3668568"/>
                <a:ext cx="284831" cy="174092"/>
              </a:xfrm>
              <a:custGeom>
                <a:avLst/>
                <a:gdLst>
                  <a:gd name="connsiteX0" fmla="*/ 16717 w 284831"/>
                  <a:gd name="connsiteY0" fmla="*/ 174093 h 174092"/>
                  <a:gd name="connsiteX1" fmla="*/ 6430 w 284831"/>
                  <a:gd name="connsiteY1" fmla="*/ 170235 h 174092"/>
                  <a:gd name="connsiteX2" fmla="*/ 0 w 284831"/>
                  <a:gd name="connsiteY2" fmla="*/ 156732 h 174092"/>
                  <a:gd name="connsiteX3" fmla="*/ 0 w 284831"/>
                  <a:gd name="connsiteY3" fmla="*/ 78291 h 174092"/>
                  <a:gd name="connsiteX4" fmla="*/ 12859 w 284831"/>
                  <a:gd name="connsiteY4" fmla="*/ 61574 h 174092"/>
                  <a:gd name="connsiteX5" fmla="*/ 263614 w 284831"/>
                  <a:gd name="connsiteY5" fmla="*/ 493 h 174092"/>
                  <a:gd name="connsiteX6" fmla="*/ 278402 w 284831"/>
                  <a:gd name="connsiteY6" fmla="*/ 3708 h 174092"/>
                  <a:gd name="connsiteX7" fmla="*/ 284832 w 284831"/>
                  <a:gd name="connsiteY7" fmla="*/ 17210 h 174092"/>
                  <a:gd name="connsiteX8" fmla="*/ 284832 w 284831"/>
                  <a:gd name="connsiteY8" fmla="*/ 95651 h 174092"/>
                  <a:gd name="connsiteX9" fmla="*/ 271973 w 284831"/>
                  <a:gd name="connsiteY9" fmla="*/ 112368 h 174092"/>
                  <a:gd name="connsiteX10" fmla="*/ 21218 w 284831"/>
                  <a:gd name="connsiteY10" fmla="*/ 173449 h 174092"/>
                  <a:gd name="connsiteX11" fmla="*/ 16717 w 284831"/>
                  <a:gd name="connsiteY11" fmla="*/ 174093 h 174092"/>
                  <a:gd name="connsiteX12" fmla="*/ 16717 w 284831"/>
                  <a:gd name="connsiteY12" fmla="*/ 174093 h 174092"/>
                  <a:gd name="connsiteX13" fmla="*/ 33434 w 284831"/>
                  <a:gd name="connsiteY13" fmla="*/ 91793 h 174092"/>
                  <a:gd name="connsiteX14" fmla="*/ 33434 w 284831"/>
                  <a:gd name="connsiteY14" fmla="*/ 135515 h 174092"/>
                  <a:gd name="connsiteX15" fmla="*/ 250112 w 284831"/>
                  <a:gd name="connsiteY15" fmla="*/ 82792 h 174092"/>
                  <a:gd name="connsiteX16" fmla="*/ 250112 w 284831"/>
                  <a:gd name="connsiteY16" fmla="*/ 39713 h 174092"/>
                  <a:gd name="connsiteX17" fmla="*/ 33434 w 284831"/>
                  <a:gd name="connsiteY17" fmla="*/ 91793 h 174092"/>
                  <a:gd name="connsiteX18" fmla="*/ 33434 w 284831"/>
                  <a:gd name="connsiteY18" fmla="*/ 91793 h 1740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84831" h="174092">
                    <a:moveTo>
                      <a:pt x="16717" y="174093"/>
                    </a:moveTo>
                    <a:cubicBezTo>
                      <a:pt x="12859" y="174093"/>
                      <a:pt x="9001" y="172807"/>
                      <a:pt x="6430" y="170235"/>
                    </a:cubicBezTo>
                    <a:cubicBezTo>
                      <a:pt x="2572" y="167020"/>
                      <a:pt x="0" y="161876"/>
                      <a:pt x="0" y="156732"/>
                    </a:cubicBezTo>
                    <a:lnTo>
                      <a:pt x="0" y="78291"/>
                    </a:lnTo>
                    <a:cubicBezTo>
                      <a:pt x="0" y="70575"/>
                      <a:pt x="5144" y="63503"/>
                      <a:pt x="12859" y="61574"/>
                    </a:cubicBezTo>
                    <a:lnTo>
                      <a:pt x="263614" y="493"/>
                    </a:lnTo>
                    <a:cubicBezTo>
                      <a:pt x="268758" y="-793"/>
                      <a:pt x="273901" y="493"/>
                      <a:pt x="278402" y="3708"/>
                    </a:cubicBezTo>
                    <a:cubicBezTo>
                      <a:pt x="282260" y="6922"/>
                      <a:pt x="284832" y="12066"/>
                      <a:pt x="284832" y="17210"/>
                    </a:cubicBezTo>
                    <a:lnTo>
                      <a:pt x="284832" y="95651"/>
                    </a:lnTo>
                    <a:cubicBezTo>
                      <a:pt x="284832" y="103367"/>
                      <a:pt x="279688" y="110439"/>
                      <a:pt x="271973" y="112368"/>
                    </a:cubicBezTo>
                    <a:lnTo>
                      <a:pt x="21218" y="173449"/>
                    </a:lnTo>
                    <a:cubicBezTo>
                      <a:pt x="19289" y="174093"/>
                      <a:pt x="18003" y="174093"/>
                      <a:pt x="16717" y="174093"/>
                    </a:cubicBezTo>
                    <a:lnTo>
                      <a:pt x="16717" y="174093"/>
                    </a:lnTo>
                    <a:close/>
                    <a:moveTo>
                      <a:pt x="33434" y="91793"/>
                    </a:moveTo>
                    <a:lnTo>
                      <a:pt x="33434" y="135515"/>
                    </a:lnTo>
                    <a:lnTo>
                      <a:pt x="250112" y="82792"/>
                    </a:lnTo>
                    <a:lnTo>
                      <a:pt x="250112" y="39713"/>
                    </a:lnTo>
                    <a:lnTo>
                      <a:pt x="33434" y="91793"/>
                    </a:lnTo>
                    <a:lnTo>
                      <a:pt x="33434" y="91793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319" name="Gráfico 2">
              <a:extLst>
                <a:ext uri="{FF2B5EF4-FFF2-40B4-BE49-F238E27FC236}">
                  <a16:creationId xmlns:a16="http://schemas.microsoft.com/office/drawing/2014/main" id="{40F8E44F-B406-439F-8B63-82F15B4E8194}"/>
                </a:ext>
              </a:extLst>
            </p:cNvPr>
            <p:cNvGrpSpPr/>
            <p:nvPr/>
          </p:nvGrpSpPr>
          <p:grpSpPr>
            <a:xfrm>
              <a:off x="5365571" y="3668568"/>
              <a:ext cx="402518" cy="401057"/>
              <a:chOff x="5365571" y="3668568"/>
              <a:chExt cx="402518" cy="401057"/>
            </a:xfrm>
            <a:grpFill/>
          </p:grpSpPr>
          <p:grpSp>
            <p:nvGrpSpPr>
              <p:cNvPr id="320" name="Gráfico 2">
                <a:extLst>
                  <a:ext uri="{FF2B5EF4-FFF2-40B4-BE49-F238E27FC236}">
                    <a16:creationId xmlns:a16="http://schemas.microsoft.com/office/drawing/2014/main" id="{40F8E44F-B406-439F-8B63-82F15B4E8194}"/>
                  </a:ext>
                </a:extLst>
              </p:cNvPr>
              <p:cNvGrpSpPr/>
              <p:nvPr/>
            </p:nvGrpSpPr>
            <p:grpSpPr>
              <a:xfrm>
                <a:off x="5365571" y="3747502"/>
                <a:ext cx="151145" cy="322123"/>
                <a:chOff x="5365571" y="3747502"/>
                <a:chExt cx="151145" cy="322123"/>
              </a:xfrm>
              <a:grpFill/>
            </p:grpSpPr>
            <p:sp>
              <p:nvSpPr>
                <p:cNvPr id="321" name="Forma Livre: Forma 320">
                  <a:extLst>
                    <a:ext uri="{FF2B5EF4-FFF2-40B4-BE49-F238E27FC236}">
                      <a16:creationId xmlns:a16="http://schemas.microsoft.com/office/drawing/2014/main" id="{6D4F5DDC-3CC2-4D7E-ABA5-B00F9BCFDA84}"/>
                    </a:ext>
                  </a:extLst>
                </p:cNvPr>
                <p:cNvSpPr/>
                <p:nvPr/>
              </p:nvSpPr>
              <p:spPr>
                <a:xfrm>
                  <a:off x="5365571" y="3944891"/>
                  <a:ext cx="151145" cy="124734"/>
                </a:xfrm>
                <a:custGeom>
                  <a:avLst/>
                  <a:gdLst>
                    <a:gd name="connsiteX0" fmla="*/ 45675 w 151145"/>
                    <a:gd name="connsiteY0" fmla="*/ 124735 h 124734"/>
                    <a:gd name="connsiteX1" fmla="*/ 668 w 151145"/>
                    <a:gd name="connsiteY1" fmla="*/ 93229 h 124734"/>
                    <a:gd name="connsiteX2" fmla="*/ 61749 w 151145"/>
                    <a:gd name="connsiteY2" fmla="*/ 10930 h 124734"/>
                    <a:gd name="connsiteX3" fmla="*/ 105470 w 151145"/>
                    <a:gd name="connsiteY3" fmla="*/ 0 h 124734"/>
                    <a:gd name="connsiteX4" fmla="*/ 150478 w 151145"/>
                    <a:gd name="connsiteY4" fmla="*/ 31505 h 124734"/>
                    <a:gd name="connsiteX5" fmla="*/ 89396 w 151145"/>
                    <a:gd name="connsiteY5" fmla="*/ 113804 h 124734"/>
                    <a:gd name="connsiteX6" fmla="*/ 45675 w 151145"/>
                    <a:gd name="connsiteY6" fmla="*/ 124735 h 124734"/>
                    <a:gd name="connsiteX7" fmla="*/ 45675 w 151145"/>
                    <a:gd name="connsiteY7" fmla="*/ 124735 h 124734"/>
                    <a:gd name="connsiteX8" fmla="*/ 105470 w 151145"/>
                    <a:gd name="connsiteY8" fmla="*/ 33434 h 124734"/>
                    <a:gd name="connsiteX9" fmla="*/ 75894 w 151145"/>
                    <a:gd name="connsiteY9" fmla="*/ 41150 h 124734"/>
                    <a:gd name="connsiteX10" fmla="*/ 33459 w 151145"/>
                    <a:gd name="connsiteY10" fmla="*/ 86157 h 124734"/>
                    <a:gd name="connsiteX11" fmla="*/ 45032 w 151145"/>
                    <a:gd name="connsiteY11" fmla="*/ 90015 h 124734"/>
                    <a:gd name="connsiteX12" fmla="*/ 74608 w 151145"/>
                    <a:gd name="connsiteY12" fmla="*/ 82299 h 124734"/>
                    <a:gd name="connsiteX13" fmla="*/ 117044 w 151145"/>
                    <a:gd name="connsiteY13" fmla="*/ 37292 h 124734"/>
                    <a:gd name="connsiteX14" fmla="*/ 105470 w 151145"/>
                    <a:gd name="connsiteY14" fmla="*/ 33434 h 124734"/>
                    <a:gd name="connsiteX15" fmla="*/ 105470 w 151145"/>
                    <a:gd name="connsiteY15" fmla="*/ 33434 h 124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51145" h="124734">
                      <a:moveTo>
                        <a:pt x="45675" y="124735"/>
                      </a:moveTo>
                      <a:cubicBezTo>
                        <a:pt x="21243" y="124735"/>
                        <a:pt x="4525" y="112518"/>
                        <a:pt x="668" y="93229"/>
                      </a:cubicBezTo>
                      <a:cubicBezTo>
                        <a:pt x="-5119" y="61725"/>
                        <a:pt x="27672" y="27004"/>
                        <a:pt x="61749" y="10930"/>
                      </a:cubicBezTo>
                      <a:cubicBezTo>
                        <a:pt x="77180" y="3858"/>
                        <a:pt x="91968" y="0"/>
                        <a:pt x="105470" y="0"/>
                      </a:cubicBezTo>
                      <a:cubicBezTo>
                        <a:pt x="129903" y="0"/>
                        <a:pt x="146620" y="12216"/>
                        <a:pt x="150478" y="31505"/>
                      </a:cubicBezTo>
                      <a:cubicBezTo>
                        <a:pt x="156264" y="63653"/>
                        <a:pt x="123473" y="97730"/>
                        <a:pt x="89396" y="113804"/>
                      </a:cubicBezTo>
                      <a:cubicBezTo>
                        <a:pt x="74608" y="120877"/>
                        <a:pt x="59177" y="124735"/>
                        <a:pt x="45675" y="124735"/>
                      </a:cubicBezTo>
                      <a:lnTo>
                        <a:pt x="45675" y="124735"/>
                      </a:lnTo>
                      <a:close/>
                      <a:moveTo>
                        <a:pt x="105470" y="33434"/>
                      </a:moveTo>
                      <a:cubicBezTo>
                        <a:pt x="97112" y="33434"/>
                        <a:pt x="86181" y="36006"/>
                        <a:pt x="75894" y="41150"/>
                      </a:cubicBezTo>
                      <a:cubicBezTo>
                        <a:pt x="48247" y="54652"/>
                        <a:pt x="32173" y="77155"/>
                        <a:pt x="33459" y="86157"/>
                      </a:cubicBezTo>
                      <a:cubicBezTo>
                        <a:pt x="34102" y="89372"/>
                        <a:pt x="41174" y="90015"/>
                        <a:pt x="45032" y="90015"/>
                      </a:cubicBezTo>
                      <a:cubicBezTo>
                        <a:pt x="53391" y="90015"/>
                        <a:pt x="64321" y="87443"/>
                        <a:pt x="74608" y="82299"/>
                      </a:cubicBezTo>
                      <a:cubicBezTo>
                        <a:pt x="102899" y="68797"/>
                        <a:pt x="118330" y="46293"/>
                        <a:pt x="117044" y="37292"/>
                      </a:cubicBezTo>
                      <a:cubicBezTo>
                        <a:pt x="116401" y="34720"/>
                        <a:pt x="109328" y="33434"/>
                        <a:pt x="105470" y="33434"/>
                      </a:cubicBezTo>
                      <a:lnTo>
                        <a:pt x="105470" y="33434"/>
                      </a:lnTo>
                      <a:close/>
                    </a:path>
                  </a:pathLst>
                </a:custGeom>
                <a:grpFill/>
                <a:ln w="64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322" name="Forma Livre: Forma 321">
                  <a:extLst>
                    <a:ext uri="{FF2B5EF4-FFF2-40B4-BE49-F238E27FC236}">
                      <a16:creationId xmlns:a16="http://schemas.microsoft.com/office/drawing/2014/main" id="{F347FF27-4391-4E1C-881E-9955AACE52C1}"/>
                    </a:ext>
                  </a:extLst>
                </p:cNvPr>
                <p:cNvSpPr/>
                <p:nvPr/>
              </p:nvSpPr>
              <p:spPr>
                <a:xfrm>
                  <a:off x="5482614" y="3747502"/>
                  <a:ext cx="34077" cy="232109"/>
                </a:xfrm>
                <a:custGeom>
                  <a:avLst/>
                  <a:gdLst>
                    <a:gd name="connsiteX0" fmla="*/ 34077 w 34077"/>
                    <a:gd name="connsiteY0" fmla="*/ 232109 h 232109"/>
                    <a:gd name="connsiteX1" fmla="*/ 0 w 34077"/>
                    <a:gd name="connsiteY1" fmla="*/ 232109 h 232109"/>
                    <a:gd name="connsiteX2" fmla="*/ 0 w 34077"/>
                    <a:gd name="connsiteY2" fmla="*/ 0 h 232109"/>
                    <a:gd name="connsiteX3" fmla="*/ 34077 w 34077"/>
                    <a:gd name="connsiteY3" fmla="*/ 0 h 232109"/>
                    <a:gd name="connsiteX4" fmla="*/ 34077 w 34077"/>
                    <a:gd name="connsiteY4" fmla="*/ 232109 h 2321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077" h="232109">
                      <a:moveTo>
                        <a:pt x="34077" y="232109"/>
                      </a:moveTo>
                      <a:lnTo>
                        <a:pt x="0" y="232109"/>
                      </a:lnTo>
                      <a:lnTo>
                        <a:pt x="0" y="0"/>
                      </a:lnTo>
                      <a:lnTo>
                        <a:pt x="34077" y="0"/>
                      </a:lnTo>
                      <a:lnTo>
                        <a:pt x="34077" y="232109"/>
                      </a:lnTo>
                      <a:close/>
                    </a:path>
                  </a:pathLst>
                </a:custGeom>
                <a:grpFill/>
                <a:ln w="64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grpSp>
            <p:nvGrpSpPr>
              <p:cNvPr id="323" name="Gráfico 2">
                <a:extLst>
                  <a:ext uri="{FF2B5EF4-FFF2-40B4-BE49-F238E27FC236}">
                    <a16:creationId xmlns:a16="http://schemas.microsoft.com/office/drawing/2014/main" id="{40F8E44F-B406-439F-8B63-82F15B4E8194}"/>
                  </a:ext>
                </a:extLst>
              </p:cNvPr>
              <p:cNvGrpSpPr/>
              <p:nvPr/>
            </p:nvGrpSpPr>
            <p:grpSpPr>
              <a:xfrm>
                <a:off x="5615683" y="3686420"/>
                <a:ext cx="151763" cy="322123"/>
                <a:chOff x="5615683" y="3686420"/>
                <a:chExt cx="151763" cy="322123"/>
              </a:xfrm>
              <a:grpFill/>
            </p:grpSpPr>
            <p:sp>
              <p:nvSpPr>
                <p:cNvPr id="324" name="Forma Livre: Forma 323">
                  <a:extLst>
                    <a:ext uri="{FF2B5EF4-FFF2-40B4-BE49-F238E27FC236}">
                      <a16:creationId xmlns:a16="http://schemas.microsoft.com/office/drawing/2014/main" id="{2733F569-77DF-4C3A-AF0E-16E7F863C3E8}"/>
                    </a:ext>
                  </a:extLst>
                </p:cNvPr>
                <p:cNvSpPr/>
                <p:nvPr/>
              </p:nvSpPr>
              <p:spPr>
                <a:xfrm>
                  <a:off x="5615683" y="3883809"/>
                  <a:ext cx="151145" cy="124734"/>
                </a:xfrm>
                <a:custGeom>
                  <a:avLst/>
                  <a:gdLst>
                    <a:gd name="connsiteX0" fmla="*/ 45675 w 151145"/>
                    <a:gd name="connsiteY0" fmla="*/ 124735 h 124734"/>
                    <a:gd name="connsiteX1" fmla="*/ 668 w 151145"/>
                    <a:gd name="connsiteY1" fmla="*/ 93229 h 124734"/>
                    <a:gd name="connsiteX2" fmla="*/ 61749 w 151145"/>
                    <a:gd name="connsiteY2" fmla="*/ 10930 h 124734"/>
                    <a:gd name="connsiteX3" fmla="*/ 105470 w 151145"/>
                    <a:gd name="connsiteY3" fmla="*/ 0 h 124734"/>
                    <a:gd name="connsiteX4" fmla="*/ 150478 w 151145"/>
                    <a:gd name="connsiteY4" fmla="*/ 31505 h 124734"/>
                    <a:gd name="connsiteX5" fmla="*/ 89396 w 151145"/>
                    <a:gd name="connsiteY5" fmla="*/ 113804 h 124734"/>
                    <a:gd name="connsiteX6" fmla="*/ 45675 w 151145"/>
                    <a:gd name="connsiteY6" fmla="*/ 124735 h 124734"/>
                    <a:gd name="connsiteX7" fmla="*/ 45675 w 151145"/>
                    <a:gd name="connsiteY7" fmla="*/ 124735 h 124734"/>
                    <a:gd name="connsiteX8" fmla="*/ 106113 w 151145"/>
                    <a:gd name="connsiteY8" fmla="*/ 34077 h 124734"/>
                    <a:gd name="connsiteX9" fmla="*/ 76537 w 151145"/>
                    <a:gd name="connsiteY9" fmla="*/ 41792 h 124734"/>
                    <a:gd name="connsiteX10" fmla="*/ 34101 w 151145"/>
                    <a:gd name="connsiteY10" fmla="*/ 86800 h 124734"/>
                    <a:gd name="connsiteX11" fmla="*/ 45675 w 151145"/>
                    <a:gd name="connsiteY11" fmla="*/ 90658 h 124734"/>
                    <a:gd name="connsiteX12" fmla="*/ 75251 w 151145"/>
                    <a:gd name="connsiteY12" fmla="*/ 82942 h 124734"/>
                    <a:gd name="connsiteX13" fmla="*/ 117686 w 151145"/>
                    <a:gd name="connsiteY13" fmla="*/ 37935 h 124734"/>
                    <a:gd name="connsiteX14" fmla="*/ 106113 w 151145"/>
                    <a:gd name="connsiteY14" fmla="*/ 34077 h 124734"/>
                    <a:gd name="connsiteX15" fmla="*/ 106113 w 151145"/>
                    <a:gd name="connsiteY15" fmla="*/ 34077 h 124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51145" h="124734">
                      <a:moveTo>
                        <a:pt x="45675" y="124735"/>
                      </a:moveTo>
                      <a:cubicBezTo>
                        <a:pt x="21242" y="124735"/>
                        <a:pt x="4525" y="112518"/>
                        <a:pt x="668" y="93229"/>
                      </a:cubicBezTo>
                      <a:cubicBezTo>
                        <a:pt x="-5119" y="61725"/>
                        <a:pt x="27672" y="27004"/>
                        <a:pt x="61749" y="10930"/>
                      </a:cubicBezTo>
                      <a:cubicBezTo>
                        <a:pt x="77180" y="3858"/>
                        <a:pt x="91968" y="0"/>
                        <a:pt x="105470" y="0"/>
                      </a:cubicBezTo>
                      <a:cubicBezTo>
                        <a:pt x="129903" y="0"/>
                        <a:pt x="146620" y="12216"/>
                        <a:pt x="150478" y="31505"/>
                      </a:cubicBezTo>
                      <a:cubicBezTo>
                        <a:pt x="156264" y="63010"/>
                        <a:pt x="123473" y="97730"/>
                        <a:pt x="89396" y="113804"/>
                      </a:cubicBezTo>
                      <a:cubicBezTo>
                        <a:pt x="74608" y="120877"/>
                        <a:pt x="59820" y="124735"/>
                        <a:pt x="45675" y="124735"/>
                      </a:cubicBezTo>
                      <a:lnTo>
                        <a:pt x="45675" y="124735"/>
                      </a:lnTo>
                      <a:close/>
                      <a:moveTo>
                        <a:pt x="106113" y="34077"/>
                      </a:moveTo>
                      <a:cubicBezTo>
                        <a:pt x="97755" y="34077"/>
                        <a:pt x="86824" y="36649"/>
                        <a:pt x="76537" y="41792"/>
                      </a:cubicBezTo>
                      <a:cubicBezTo>
                        <a:pt x="48890" y="54652"/>
                        <a:pt x="32816" y="77799"/>
                        <a:pt x="34101" y="86800"/>
                      </a:cubicBezTo>
                      <a:cubicBezTo>
                        <a:pt x="34745" y="90015"/>
                        <a:pt x="41817" y="90658"/>
                        <a:pt x="45675" y="90658"/>
                      </a:cubicBezTo>
                      <a:cubicBezTo>
                        <a:pt x="54033" y="90658"/>
                        <a:pt x="64964" y="88086"/>
                        <a:pt x="75251" y="82942"/>
                      </a:cubicBezTo>
                      <a:cubicBezTo>
                        <a:pt x="103542" y="69440"/>
                        <a:pt x="118972" y="46936"/>
                        <a:pt x="117686" y="37935"/>
                      </a:cubicBezTo>
                      <a:cubicBezTo>
                        <a:pt x="117044" y="34720"/>
                        <a:pt x="109971" y="34077"/>
                        <a:pt x="106113" y="34077"/>
                      </a:cubicBezTo>
                      <a:lnTo>
                        <a:pt x="106113" y="34077"/>
                      </a:lnTo>
                      <a:close/>
                    </a:path>
                  </a:pathLst>
                </a:custGeom>
                <a:grpFill/>
                <a:ln w="64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325" name="Forma Livre: Forma 324">
                  <a:extLst>
                    <a:ext uri="{FF2B5EF4-FFF2-40B4-BE49-F238E27FC236}">
                      <a16:creationId xmlns:a16="http://schemas.microsoft.com/office/drawing/2014/main" id="{628A4B6B-FA30-4C87-A9E2-E2033E291936}"/>
                    </a:ext>
                  </a:extLst>
                </p:cNvPr>
                <p:cNvSpPr/>
                <p:nvPr/>
              </p:nvSpPr>
              <p:spPr>
                <a:xfrm>
                  <a:off x="5733369" y="3686420"/>
                  <a:ext cx="34077" cy="232109"/>
                </a:xfrm>
                <a:custGeom>
                  <a:avLst/>
                  <a:gdLst>
                    <a:gd name="connsiteX0" fmla="*/ 34077 w 34077"/>
                    <a:gd name="connsiteY0" fmla="*/ 232109 h 232109"/>
                    <a:gd name="connsiteX1" fmla="*/ 0 w 34077"/>
                    <a:gd name="connsiteY1" fmla="*/ 232109 h 232109"/>
                    <a:gd name="connsiteX2" fmla="*/ 0 w 34077"/>
                    <a:gd name="connsiteY2" fmla="*/ 0 h 232109"/>
                    <a:gd name="connsiteX3" fmla="*/ 34077 w 34077"/>
                    <a:gd name="connsiteY3" fmla="*/ 0 h 232109"/>
                    <a:gd name="connsiteX4" fmla="*/ 34077 w 34077"/>
                    <a:gd name="connsiteY4" fmla="*/ 232109 h 2321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077" h="232109">
                      <a:moveTo>
                        <a:pt x="34077" y="232109"/>
                      </a:moveTo>
                      <a:lnTo>
                        <a:pt x="0" y="232109"/>
                      </a:lnTo>
                      <a:lnTo>
                        <a:pt x="0" y="0"/>
                      </a:lnTo>
                      <a:lnTo>
                        <a:pt x="34077" y="0"/>
                      </a:lnTo>
                      <a:lnTo>
                        <a:pt x="34077" y="232109"/>
                      </a:lnTo>
                      <a:close/>
                    </a:path>
                  </a:pathLst>
                </a:custGeom>
                <a:grpFill/>
                <a:ln w="64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sp>
            <p:nvSpPr>
              <p:cNvPr id="326" name="Forma Livre: Forma 325">
                <a:extLst>
                  <a:ext uri="{FF2B5EF4-FFF2-40B4-BE49-F238E27FC236}">
                    <a16:creationId xmlns:a16="http://schemas.microsoft.com/office/drawing/2014/main" id="{FA7E0A21-9011-42AF-8FB8-4530A5FFF20F}"/>
                  </a:ext>
                </a:extLst>
              </p:cNvPr>
              <p:cNvSpPr/>
              <p:nvPr/>
            </p:nvSpPr>
            <p:spPr>
              <a:xfrm>
                <a:off x="5483257" y="3668568"/>
                <a:ext cx="284831" cy="174092"/>
              </a:xfrm>
              <a:custGeom>
                <a:avLst/>
                <a:gdLst>
                  <a:gd name="connsiteX0" fmla="*/ 16717 w 284831"/>
                  <a:gd name="connsiteY0" fmla="*/ 174093 h 174092"/>
                  <a:gd name="connsiteX1" fmla="*/ 6430 w 284831"/>
                  <a:gd name="connsiteY1" fmla="*/ 170235 h 174092"/>
                  <a:gd name="connsiteX2" fmla="*/ 0 w 284831"/>
                  <a:gd name="connsiteY2" fmla="*/ 156732 h 174092"/>
                  <a:gd name="connsiteX3" fmla="*/ 0 w 284831"/>
                  <a:gd name="connsiteY3" fmla="*/ 78291 h 174092"/>
                  <a:gd name="connsiteX4" fmla="*/ 12859 w 284831"/>
                  <a:gd name="connsiteY4" fmla="*/ 61574 h 174092"/>
                  <a:gd name="connsiteX5" fmla="*/ 263614 w 284831"/>
                  <a:gd name="connsiteY5" fmla="*/ 493 h 174092"/>
                  <a:gd name="connsiteX6" fmla="*/ 278402 w 284831"/>
                  <a:gd name="connsiteY6" fmla="*/ 3708 h 174092"/>
                  <a:gd name="connsiteX7" fmla="*/ 284832 w 284831"/>
                  <a:gd name="connsiteY7" fmla="*/ 17210 h 174092"/>
                  <a:gd name="connsiteX8" fmla="*/ 284832 w 284831"/>
                  <a:gd name="connsiteY8" fmla="*/ 95651 h 174092"/>
                  <a:gd name="connsiteX9" fmla="*/ 271973 w 284831"/>
                  <a:gd name="connsiteY9" fmla="*/ 112368 h 174092"/>
                  <a:gd name="connsiteX10" fmla="*/ 21218 w 284831"/>
                  <a:gd name="connsiteY10" fmla="*/ 173449 h 174092"/>
                  <a:gd name="connsiteX11" fmla="*/ 16717 w 284831"/>
                  <a:gd name="connsiteY11" fmla="*/ 174093 h 174092"/>
                  <a:gd name="connsiteX12" fmla="*/ 16717 w 284831"/>
                  <a:gd name="connsiteY12" fmla="*/ 174093 h 174092"/>
                  <a:gd name="connsiteX13" fmla="*/ 33434 w 284831"/>
                  <a:gd name="connsiteY13" fmla="*/ 91793 h 174092"/>
                  <a:gd name="connsiteX14" fmla="*/ 33434 w 284831"/>
                  <a:gd name="connsiteY14" fmla="*/ 135515 h 174092"/>
                  <a:gd name="connsiteX15" fmla="*/ 250112 w 284831"/>
                  <a:gd name="connsiteY15" fmla="*/ 82792 h 174092"/>
                  <a:gd name="connsiteX16" fmla="*/ 250112 w 284831"/>
                  <a:gd name="connsiteY16" fmla="*/ 39713 h 174092"/>
                  <a:gd name="connsiteX17" fmla="*/ 33434 w 284831"/>
                  <a:gd name="connsiteY17" fmla="*/ 91793 h 174092"/>
                  <a:gd name="connsiteX18" fmla="*/ 33434 w 284831"/>
                  <a:gd name="connsiteY18" fmla="*/ 91793 h 1740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84831" h="174092">
                    <a:moveTo>
                      <a:pt x="16717" y="174093"/>
                    </a:moveTo>
                    <a:cubicBezTo>
                      <a:pt x="12859" y="174093"/>
                      <a:pt x="9001" y="172807"/>
                      <a:pt x="6430" y="170235"/>
                    </a:cubicBezTo>
                    <a:cubicBezTo>
                      <a:pt x="2572" y="167020"/>
                      <a:pt x="0" y="161876"/>
                      <a:pt x="0" y="156732"/>
                    </a:cubicBezTo>
                    <a:lnTo>
                      <a:pt x="0" y="78291"/>
                    </a:lnTo>
                    <a:cubicBezTo>
                      <a:pt x="0" y="70575"/>
                      <a:pt x="5144" y="63503"/>
                      <a:pt x="12859" y="61574"/>
                    </a:cubicBezTo>
                    <a:lnTo>
                      <a:pt x="263614" y="493"/>
                    </a:lnTo>
                    <a:cubicBezTo>
                      <a:pt x="268758" y="-793"/>
                      <a:pt x="273901" y="493"/>
                      <a:pt x="278402" y="3708"/>
                    </a:cubicBezTo>
                    <a:cubicBezTo>
                      <a:pt x="282260" y="6922"/>
                      <a:pt x="284832" y="12066"/>
                      <a:pt x="284832" y="17210"/>
                    </a:cubicBezTo>
                    <a:lnTo>
                      <a:pt x="284832" y="95651"/>
                    </a:lnTo>
                    <a:cubicBezTo>
                      <a:pt x="284832" y="103367"/>
                      <a:pt x="279688" y="110439"/>
                      <a:pt x="271973" y="112368"/>
                    </a:cubicBezTo>
                    <a:lnTo>
                      <a:pt x="21218" y="173449"/>
                    </a:lnTo>
                    <a:cubicBezTo>
                      <a:pt x="19289" y="174093"/>
                      <a:pt x="18003" y="174093"/>
                      <a:pt x="16717" y="174093"/>
                    </a:cubicBezTo>
                    <a:lnTo>
                      <a:pt x="16717" y="174093"/>
                    </a:lnTo>
                    <a:close/>
                    <a:moveTo>
                      <a:pt x="33434" y="91793"/>
                    </a:moveTo>
                    <a:lnTo>
                      <a:pt x="33434" y="135515"/>
                    </a:lnTo>
                    <a:lnTo>
                      <a:pt x="250112" y="82792"/>
                    </a:lnTo>
                    <a:lnTo>
                      <a:pt x="250112" y="39713"/>
                    </a:lnTo>
                    <a:lnTo>
                      <a:pt x="33434" y="91793"/>
                    </a:lnTo>
                    <a:lnTo>
                      <a:pt x="33434" y="91793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327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10442313" y="5718127"/>
            <a:ext cx="513545" cy="337291"/>
            <a:chOff x="10503500" y="5800478"/>
            <a:chExt cx="520798" cy="342055"/>
          </a:xfrm>
          <a:solidFill>
            <a:srgbClr val="B1B1A1"/>
          </a:solidFill>
        </p:grpSpPr>
        <p:sp>
          <p:nvSpPr>
            <p:cNvPr id="328" name="Forma Livre: Forma 327">
              <a:extLst>
                <a:ext uri="{FF2B5EF4-FFF2-40B4-BE49-F238E27FC236}">
                  <a16:creationId xmlns:a16="http://schemas.microsoft.com/office/drawing/2014/main" id="{95CD276D-9C93-41D3-AA1E-3335B73DBF5F}"/>
                </a:ext>
              </a:extLst>
            </p:cNvPr>
            <p:cNvSpPr/>
            <p:nvPr/>
          </p:nvSpPr>
          <p:spPr>
            <a:xfrm>
              <a:off x="10503500" y="5921354"/>
              <a:ext cx="221178" cy="221178"/>
            </a:xfrm>
            <a:custGeom>
              <a:avLst/>
              <a:gdLst>
                <a:gd name="connsiteX0" fmla="*/ 110589 w 221178"/>
                <a:gd name="connsiteY0" fmla="*/ 221179 h 221178"/>
                <a:gd name="connsiteX1" fmla="*/ 0 w 221178"/>
                <a:gd name="connsiteY1" fmla="*/ 110589 h 221178"/>
                <a:gd name="connsiteX2" fmla="*/ 110589 w 221178"/>
                <a:gd name="connsiteY2" fmla="*/ 0 h 221178"/>
                <a:gd name="connsiteX3" fmla="*/ 221179 w 221178"/>
                <a:gd name="connsiteY3" fmla="*/ 110589 h 221178"/>
                <a:gd name="connsiteX4" fmla="*/ 110589 w 221178"/>
                <a:gd name="connsiteY4" fmla="*/ 221179 h 221178"/>
                <a:gd name="connsiteX5" fmla="*/ 110589 w 221178"/>
                <a:gd name="connsiteY5" fmla="*/ 221179 h 221178"/>
                <a:gd name="connsiteX6" fmla="*/ 110589 w 221178"/>
                <a:gd name="connsiteY6" fmla="*/ 34077 h 221178"/>
                <a:gd name="connsiteX7" fmla="*/ 34077 w 221178"/>
                <a:gd name="connsiteY7" fmla="*/ 110589 h 221178"/>
                <a:gd name="connsiteX8" fmla="*/ 110589 w 221178"/>
                <a:gd name="connsiteY8" fmla="*/ 187102 h 221178"/>
                <a:gd name="connsiteX9" fmla="*/ 187102 w 221178"/>
                <a:gd name="connsiteY9" fmla="*/ 110589 h 221178"/>
                <a:gd name="connsiteX10" fmla="*/ 110589 w 221178"/>
                <a:gd name="connsiteY10" fmla="*/ 34077 h 221178"/>
                <a:gd name="connsiteX11" fmla="*/ 110589 w 221178"/>
                <a:gd name="connsiteY11" fmla="*/ 34077 h 221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1178" h="221178">
                  <a:moveTo>
                    <a:pt x="110589" y="221179"/>
                  </a:moveTo>
                  <a:cubicBezTo>
                    <a:pt x="49508" y="221179"/>
                    <a:pt x="0" y="171671"/>
                    <a:pt x="0" y="110589"/>
                  </a:cubicBezTo>
                  <a:cubicBezTo>
                    <a:pt x="0" y="49508"/>
                    <a:pt x="49508" y="0"/>
                    <a:pt x="110589" y="0"/>
                  </a:cubicBezTo>
                  <a:cubicBezTo>
                    <a:pt x="171670" y="0"/>
                    <a:pt x="221179" y="49508"/>
                    <a:pt x="221179" y="110589"/>
                  </a:cubicBezTo>
                  <a:cubicBezTo>
                    <a:pt x="220536" y="171671"/>
                    <a:pt x="171028" y="221179"/>
                    <a:pt x="110589" y="221179"/>
                  </a:cubicBezTo>
                  <a:lnTo>
                    <a:pt x="110589" y="221179"/>
                  </a:lnTo>
                  <a:close/>
                  <a:moveTo>
                    <a:pt x="110589" y="34077"/>
                  </a:moveTo>
                  <a:cubicBezTo>
                    <a:pt x="68154" y="34077"/>
                    <a:pt x="34077" y="68154"/>
                    <a:pt x="34077" y="110589"/>
                  </a:cubicBezTo>
                  <a:cubicBezTo>
                    <a:pt x="34077" y="153025"/>
                    <a:pt x="68154" y="187102"/>
                    <a:pt x="110589" y="187102"/>
                  </a:cubicBezTo>
                  <a:cubicBezTo>
                    <a:pt x="153025" y="187102"/>
                    <a:pt x="187102" y="153025"/>
                    <a:pt x="187102" y="110589"/>
                  </a:cubicBezTo>
                  <a:cubicBezTo>
                    <a:pt x="187102" y="68797"/>
                    <a:pt x="152382" y="34077"/>
                    <a:pt x="110589" y="34077"/>
                  </a:cubicBezTo>
                  <a:lnTo>
                    <a:pt x="110589" y="34077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29" name="Forma Livre: Forma 328">
              <a:extLst>
                <a:ext uri="{FF2B5EF4-FFF2-40B4-BE49-F238E27FC236}">
                  <a16:creationId xmlns:a16="http://schemas.microsoft.com/office/drawing/2014/main" id="{7BB0124B-7E0D-45EE-BC12-70FF9E1EA08C}"/>
                </a:ext>
              </a:extLst>
            </p:cNvPr>
            <p:cNvSpPr/>
            <p:nvPr/>
          </p:nvSpPr>
          <p:spPr>
            <a:xfrm>
              <a:off x="10803120" y="5921354"/>
              <a:ext cx="221178" cy="221178"/>
            </a:xfrm>
            <a:custGeom>
              <a:avLst/>
              <a:gdLst>
                <a:gd name="connsiteX0" fmla="*/ 110590 w 221178"/>
                <a:gd name="connsiteY0" fmla="*/ 221179 h 221178"/>
                <a:gd name="connsiteX1" fmla="*/ 0 w 221178"/>
                <a:gd name="connsiteY1" fmla="*/ 110589 h 221178"/>
                <a:gd name="connsiteX2" fmla="*/ 110590 w 221178"/>
                <a:gd name="connsiteY2" fmla="*/ 0 h 221178"/>
                <a:gd name="connsiteX3" fmla="*/ 221179 w 221178"/>
                <a:gd name="connsiteY3" fmla="*/ 110589 h 221178"/>
                <a:gd name="connsiteX4" fmla="*/ 110590 w 221178"/>
                <a:gd name="connsiteY4" fmla="*/ 221179 h 221178"/>
                <a:gd name="connsiteX5" fmla="*/ 110590 w 221178"/>
                <a:gd name="connsiteY5" fmla="*/ 221179 h 221178"/>
                <a:gd name="connsiteX6" fmla="*/ 110590 w 221178"/>
                <a:gd name="connsiteY6" fmla="*/ 34077 h 221178"/>
                <a:gd name="connsiteX7" fmla="*/ 34077 w 221178"/>
                <a:gd name="connsiteY7" fmla="*/ 110589 h 221178"/>
                <a:gd name="connsiteX8" fmla="*/ 110590 w 221178"/>
                <a:gd name="connsiteY8" fmla="*/ 187102 h 221178"/>
                <a:gd name="connsiteX9" fmla="*/ 187102 w 221178"/>
                <a:gd name="connsiteY9" fmla="*/ 110589 h 221178"/>
                <a:gd name="connsiteX10" fmla="*/ 110590 w 221178"/>
                <a:gd name="connsiteY10" fmla="*/ 34077 h 221178"/>
                <a:gd name="connsiteX11" fmla="*/ 110590 w 221178"/>
                <a:gd name="connsiteY11" fmla="*/ 34077 h 221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1178" h="221178">
                  <a:moveTo>
                    <a:pt x="110590" y="221179"/>
                  </a:moveTo>
                  <a:cubicBezTo>
                    <a:pt x="49508" y="221179"/>
                    <a:pt x="0" y="171671"/>
                    <a:pt x="0" y="110589"/>
                  </a:cubicBezTo>
                  <a:cubicBezTo>
                    <a:pt x="0" y="49508"/>
                    <a:pt x="49508" y="0"/>
                    <a:pt x="110590" y="0"/>
                  </a:cubicBezTo>
                  <a:cubicBezTo>
                    <a:pt x="171671" y="0"/>
                    <a:pt x="221179" y="49508"/>
                    <a:pt x="221179" y="110589"/>
                  </a:cubicBezTo>
                  <a:cubicBezTo>
                    <a:pt x="221179" y="171671"/>
                    <a:pt x="171671" y="221179"/>
                    <a:pt x="110590" y="221179"/>
                  </a:cubicBezTo>
                  <a:lnTo>
                    <a:pt x="110590" y="221179"/>
                  </a:lnTo>
                  <a:close/>
                  <a:moveTo>
                    <a:pt x="110590" y="34077"/>
                  </a:moveTo>
                  <a:cubicBezTo>
                    <a:pt x="68154" y="34077"/>
                    <a:pt x="34077" y="68154"/>
                    <a:pt x="34077" y="110589"/>
                  </a:cubicBezTo>
                  <a:cubicBezTo>
                    <a:pt x="34077" y="153025"/>
                    <a:pt x="68154" y="187102"/>
                    <a:pt x="110590" y="187102"/>
                  </a:cubicBezTo>
                  <a:cubicBezTo>
                    <a:pt x="153025" y="187102"/>
                    <a:pt x="187102" y="153025"/>
                    <a:pt x="187102" y="110589"/>
                  </a:cubicBezTo>
                  <a:cubicBezTo>
                    <a:pt x="187102" y="68797"/>
                    <a:pt x="153025" y="34077"/>
                    <a:pt x="110590" y="34077"/>
                  </a:cubicBezTo>
                  <a:lnTo>
                    <a:pt x="110590" y="34077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30" name="Forma Livre: Forma 329">
              <a:extLst>
                <a:ext uri="{FF2B5EF4-FFF2-40B4-BE49-F238E27FC236}">
                  <a16:creationId xmlns:a16="http://schemas.microsoft.com/office/drawing/2014/main" id="{97341BD7-77B2-46BF-8FD0-335E45176499}"/>
                </a:ext>
              </a:extLst>
            </p:cNvPr>
            <p:cNvSpPr/>
            <p:nvPr/>
          </p:nvSpPr>
          <p:spPr>
            <a:xfrm>
              <a:off x="10667747" y="5853843"/>
              <a:ext cx="259815" cy="198032"/>
            </a:xfrm>
            <a:custGeom>
              <a:avLst/>
              <a:gdLst>
                <a:gd name="connsiteX0" fmla="*/ 243391 w 259815"/>
                <a:gd name="connsiteY0" fmla="*/ 198032 h 198032"/>
                <a:gd name="connsiteX1" fmla="*/ 96152 w 259815"/>
                <a:gd name="connsiteY1" fmla="*/ 198032 h 198032"/>
                <a:gd name="connsiteX2" fmla="*/ 80721 w 259815"/>
                <a:gd name="connsiteY2" fmla="*/ 188388 h 198032"/>
                <a:gd name="connsiteX3" fmla="*/ 1637 w 259815"/>
                <a:gd name="connsiteY3" fmla="*/ 24432 h 198032"/>
                <a:gd name="connsiteX4" fmla="*/ 2280 w 259815"/>
                <a:gd name="connsiteY4" fmla="*/ 7716 h 198032"/>
                <a:gd name="connsiteX5" fmla="*/ 16425 w 259815"/>
                <a:gd name="connsiteY5" fmla="*/ 0 h 198032"/>
                <a:gd name="connsiteX6" fmla="*/ 163663 w 259815"/>
                <a:gd name="connsiteY6" fmla="*/ 0 h 198032"/>
                <a:gd name="connsiteX7" fmla="*/ 179095 w 259815"/>
                <a:gd name="connsiteY7" fmla="*/ 9644 h 198032"/>
                <a:gd name="connsiteX8" fmla="*/ 258178 w 259815"/>
                <a:gd name="connsiteY8" fmla="*/ 173600 h 198032"/>
                <a:gd name="connsiteX9" fmla="*/ 257536 w 259815"/>
                <a:gd name="connsiteY9" fmla="*/ 190316 h 198032"/>
                <a:gd name="connsiteX10" fmla="*/ 243391 w 259815"/>
                <a:gd name="connsiteY10" fmla="*/ 198032 h 198032"/>
                <a:gd name="connsiteX11" fmla="*/ 243391 w 259815"/>
                <a:gd name="connsiteY11" fmla="*/ 198032 h 198032"/>
                <a:gd name="connsiteX12" fmla="*/ 107082 w 259815"/>
                <a:gd name="connsiteY12" fmla="*/ 164598 h 198032"/>
                <a:gd name="connsiteX13" fmla="*/ 216386 w 259815"/>
                <a:gd name="connsiteY13" fmla="*/ 164598 h 198032"/>
                <a:gd name="connsiteX14" fmla="*/ 153376 w 259815"/>
                <a:gd name="connsiteY14" fmla="*/ 34720 h 198032"/>
                <a:gd name="connsiteX15" fmla="*/ 44073 w 259815"/>
                <a:gd name="connsiteY15" fmla="*/ 34720 h 198032"/>
                <a:gd name="connsiteX16" fmla="*/ 107082 w 259815"/>
                <a:gd name="connsiteY16" fmla="*/ 164598 h 198032"/>
                <a:gd name="connsiteX17" fmla="*/ 107082 w 259815"/>
                <a:gd name="connsiteY17" fmla="*/ 164598 h 198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59815" h="198032">
                  <a:moveTo>
                    <a:pt x="243391" y="198032"/>
                  </a:moveTo>
                  <a:lnTo>
                    <a:pt x="96152" y="198032"/>
                  </a:lnTo>
                  <a:cubicBezTo>
                    <a:pt x="89723" y="198032"/>
                    <a:pt x="83936" y="194174"/>
                    <a:pt x="80721" y="188388"/>
                  </a:cubicBezTo>
                  <a:lnTo>
                    <a:pt x="1637" y="24432"/>
                  </a:lnTo>
                  <a:cubicBezTo>
                    <a:pt x="-935" y="19289"/>
                    <a:pt x="-292" y="12859"/>
                    <a:pt x="2280" y="7716"/>
                  </a:cubicBezTo>
                  <a:cubicBezTo>
                    <a:pt x="5495" y="2572"/>
                    <a:pt x="10638" y="0"/>
                    <a:pt x="16425" y="0"/>
                  </a:cubicBezTo>
                  <a:lnTo>
                    <a:pt x="163663" y="0"/>
                  </a:lnTo>
                  <a:cubicBezTo>
                    <a:pt x="170093" y="0"/>
                    <a:pt x="175880" y="3858"/>
                    <a:pt x="179095" y="9644"/>
                  </a:cubicBezTo>
                  <a:lnTo>
                    <a:pt x="258178" y="173600"/>
                  </a:lnTo>
                  <a:cubicBezTo>
                    <a:pt x="260750" y="178743"/>
                    <a:pt x="260108" y="185173"/>
                    <a:pt x="257536" y="190316"/>
                  </a:cubicBezTo>
                  <a:cubicBezTo>
                    <a:pt x="254321" y="195460"/>
                    <a:pt x="249178" y="198032"/>
                    <a:pt x="243391" y="198032"/>
                  </a:cubicBezTo>
                  <a:lnTo>
                    <a:pt x="243391" y="198032"/>
                  </a:lnTo>
                  <a:close/>
                  <a:moveTo>
                    <a:pt x="107082" y="164598"/>
                  </a:moveTo>
                  <a:lnTo>
                    <a:pt x="216386" y="164598"/>
                  </a:lnTo>
                  <a:lnTo>
                    <a:pt x="153376" y="34720"/>
                  </a:lnTo>
                  <a:lnTo>
                    <a:pt x="44073" y="34720"/>
                  </a:lnTo>
                  <a:lnTo>
                    <a:pt x="107082" y="164598"/>
                  </a:lnTo>
                  <a:lnTo>
                    <a:pt x="107082" y="164598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31" name="Forma Livre: Forma 330">
              <a:extLst>
                <a:ext uri="{FF2B5EF4-FFF2-40B4-BE49-F238E27FC236}">
                  <a16:creationId xmlns:a16="http://schemas.microsoft.com/office/drawing/2014/main" id="{3D38E20A-FCD1-4956-BDEE-B3D8D866535B}"/>
                </a:ext>
              </a:extLst>
            </p:cNvPr>
            <p:cNvSpPr/>
            <p:nvPr/>
          </p:nvSpPr>
          <p:spPr>
            <a:xfrm>
              <a:off x="10588156" y="5800478"/>
              <a:ext cx="172528" cy="251397"/>
            </a:xfrm>
            <a:custGeom>
              <a:avLst/>
              <a:gdLst>
                <a:gd name="connsiteX0" fmla="*/ 16932 w 172528"/>
                <a:gd name="connsiteY0" fmla="*/ 251398 h 251397"/>
                <a:gd name="connsiteX1" fmla="*/ 9859 w 172528"/>
                <a:gd name="connsiteY1" fmla="*/ 250112 h 251397"/>
                <a:gd name="connsiteX2" fmla="*/ 1501 w 172528"/>
                <a:gd name="connsiteY2" fmla="*/ 227608 h 251397"/>
                <a:gd name="connsiteX3" fmla="*/ 100517 w 172528"/>
                <a:gd name="connsiteY3" fmla="*/ 9644 h 251397"/>
                <a:gd name="connsiteX4" fmla="*/ 115948 w 172528"/>
                <a:gd name="connsiteY4" fmla="*/ 0 h 251397"/>
                <a:gd name="connsiteX5" fmla="*/ 155812 w 172528"/>
                <a:gd name="connsiteY5" fmla="*/ 0 h 251397"/>
                <a:gd name="connsiteX6" fmla="*/ 172529 w 172528"/>
                <a:gd name="connsiteY6" fmla="*/ 16717 h 251397"/>
                <a:gd name="connsiteX7" fmla="*/ 155812 w 172528"/>
                <a:gd name="connsiteY7" fmla="*/ 33434 h 251397"/>
                <a:gd name="connsiteX8" fmla="*/ 126879 w 172528"/>
                <a:gd name="connsiteY8" fmla="*/ 33434 h 251397"/>
                <a:gd name="connsiteX9" fmla="*/ 32363 w 172528"/>
                <a:gd name="connsiteY9" fmla="*/ 241111 h 251397"/>
                <a:gd name="connsiteX10" fmla="*/ 16932 w 172528"/>
                <a:gd name="connsiteY10" fmla="*/ 251398 h 251397"/>
                <a:gd name="connsiteX11" fmla="*/ 16932 w 172528"/>
                <a:gd name="connsiteY11" fmla="*/ 251398 h 251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72528" h="251397">
                  <a:moveTo>
                    <a:pt x="16932" y="251398"/>
                  </a:moveTo>
                  <a:cubicBezTo>
                    <a:pt x="14360" y="251398"/>
                    <a:pt x="12431" y="250755"/>
                    <a:pt x="9859" y="250112"/>
                  </a:cubicBezTo>
                  <a:cubicBezTo>
                    <a:pt x="1501" y="246254"/>
                    <a:pt x="-2356" y="235967"/>
                    <a:pt x="1501" y="227608"/>
                  </a:cubicBezTo>
                  <a:lnTo>
                    <a:pt x="100517" y="9644"/>
                  </a:lnTo>
                  <a:cubicBezTo>
                    <a:pt x="103089" y="3858"/>
                    <a:pt x="109518" y="0"/>
                    <a:pt x="115948" y="0"/>
                  </a:cubicBezTo>
                  <a:lnTo>
                    <a:pt x="155812" y="0"/>
                  </a:lnTo>
                  <a:cubicBezTo>
                    <a:pt x="165456" y="0"/>
                    <a:pt x="172529" y="7715"/>
                    <a:pt x="172529" y="16717"/>
                  </a:cubicBezTo>
                  <a:cubicBezTo>
                    <a:pt x="172529" y="26361"/>
                    <a:pt x="164814" y="33434"/>
                    <a:pt x="155812" y="33434"/>
                  </a:cubicBezTo>
                  <a:lnTo>
                    <a:pt x="126879" y="33434"/>
                  </a:lnTo>
                  <a:lnTo>
                    <a:pt x="32363" y="241111"/>
                  </a:lnTo>
                  <a:cubicBezTo>
                    <a:pt x="29792" y="248183"/>
                    <a:pt x="23362" y="251398"/>
                    <a:pt x="16932" y="251398"/>
                  </a:cubicBezTo>
                  <a:lnTo>
                    <a:pt x="16932" y="251398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32" name="Forma Livre: Forma 331">
              <a:extLst>
                <a:ext uri="{FF2B5EF4-FFF2-40B4-BE49-F238E27FC236}">
                  <a16:creationId xmlns:a16="http://schemas.microsoft.com/office/drawing/2014/main" id="{EFB0187A-1464-4C69-ACD1-5584CC279588}"/>
                </a:ext>
              </a:extLst>
            </p:cNvPr>
            <p:cNvSpPr/>
            <p:nvPr/>
          </p:nvSpPr>
          <p:spPr>
            <a:xfrm>
              <a:off x="10793475" y="5800478"/>
              <a:ext cx="81694" cy="33433"/>
            </a:xfrm>
            <a:custGeom>
              <a:avLst/>
              <a:gdLst>
                <a:gd name="connsiteX0" fmla="*/ 64939 w 81694"/>
                <a:gd name="connsiteY0" fmla="*/ 33434 h 33433"/>
                <a:gd name="connsiteX1" fmla="*/ 16717 w 81694"/>
                <a:gd name="connsiteY1" fmla="*/ 33434 h 33433"/>
                <a:gd name="connsiteX2" fmla="*/ 0 w 81694"/>
                <a:gd name="connsiteY2" fmla="*/ 16717 h 33433"/>
                <a:gd name="connsiteX3" fmla="*/ 16717 w 81694"/>
                <a:gd name="connsiteY3" fmla="*/ 0 h 33433"/>
                <a:gd name="connsiteX4" fmla="*/ 64939 w 81694"/>
                <a:gd name="connsiteY4" fmla="*/ 0 h 33433"/>
                <a:gd name="connsiteX5" fmla="*/ 81657 w 81694"/>
                <a:gd name="connsiteY5" fmla="*/ 16717 h 33433"/>
                <a:gd name="connsiteX6" fmla="*/ 64939 w 81694"/>
                <a:gd name="connsiteY6" fmla="*/ 33434 h 33433"/>
                <a:gd name="connsiteX7" fmla="*/ 64939 w 81694"/>
                <a:gd name="connsiteY7" fmla="*/ 33434 h 33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694" h="33433">
                  <a:moveTo>
                    <a:pt x="64939" y="33434"/>
                  </a:moveTo>
                  <a:lnTo>
                    <a:pt x="16717" y="33434"/>
                  </a:lnTo>
                  <a:cubicBezTo>
                    <a:pt x="7072" y="33434"/>
                    <a:pt x="0" y="25718"/>
                    <a:pt x="0" y="16717"/>
                  </a:cubicBezTo>
                  <a:cubicBezTo>
                    <a:pt x="0" y="7072"/>
                    <a:pt x="7716" y="0"/>
                    <a:pt x="16717" y="0"/>
                  </a:cubicBezTo>
                  <a:lnTo>
                    <a:pt x="64939" y="0"/>
                  </a:lnTo>
                  <a:cubicBezTo>
                    <a:pt x="74583" y="0"/>
                    <a:pt x="81657" y="7715"/>
                    <a:pt x="81657" y="16717"/>
                  </a:cubicBezTo>
                  <a:cubicBezTo>
                    <a:pt x="82299" y="26361"/>
                    <a:pt x="74583" y="33434"/>
                    <a:pt x="64939" y="33434"/>
                  </a:cubicBezTo>
                  <a:lnTo>
                    <a:pt x="64939" y="33434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33" name="Forma Livre: Forma 332">
              <a:extLst>
                <a:ext uri="{FF2B5EF4-FFF2-40B4-BE49-F238E27FC236}">
                  <a16:creationId xmlns:a16="http://schemas.microsoft.com/office/drawing/2014/main" id="{22DAB328-8301-454F-B31E-41C2E8BC7554}"/>
                </a:ext>
              </a:extLst>
            </p:cNvPr>
            <p:cNvSpPr/>
            <p:nvPr/>
          </p:nvSpPr>
          <p:spPr>
            <a:xfrm>
              <a:off x="10747621" y="5861355"/>
              <a:ext cx="95565" cy="184090"/>
            </a:xfrm>
            <a:custGeom>
              <a:avLst/>
              <a:gdLst>
                <a:gd name="connsiteX0" fmla="*/ 16921 w 95565"/>
                <a:gd name="connsiteY0" fmla="*/ 184091 h 184090"/>
                <a:gd name="connsiteX1" fmla="*/ 10491 w 95565"/>
                <a:gd name="connsiteY1" fmla="*/ 182805 h 184090"/>
                <a:gd name="connsiteX2" fmla="*/ 1490 w 95565"/>
                <a:gd name="connsiteY2" fmla="*/ 160944 h 184090"/>
                <a:gd name="connsiteX3" fmla="*/ 63214 w 95565"/>
                <a:gd name="connsiteY3" fmla="*/ 10491 h 184090"/>
                <a:gd name="connsiteX4" fmla="*/ 85075 w 95565"/>
                <a:gd name="connsiteY4" fmla="*/ 1490 h 184090"/>
                <a:gd name="connsiteX5" fmla="*/ 94076 w 95565"/>
                <a:gd name="connsiteY5" fmla="*/ 23350 h 184090"/>
                <a:gd name="connsiteX6" fmla="*/ 32352 w 95565"/>
                <a:gd name="connsiteY6" fmla="*/ 173804 h 184090"/>
                <a:gd name="connsiteX7" fmla="*/ 16921 w 95565"/>
                <a:gd name="connsiteY7" fmla="*/ 184091 h 184090"/>
                <a:gd name="connsiteX8" fmla="*/ 16921 w 95565"/>
                <a:gd name="connsiteY8" fmla="*/ 184091 h 184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5565" h="184090">
                  <a:moveTo>
                    <a:pt x="16921" y="184091"/>
                  </a:moveTo>
                  <a:cubicBezTo>
                    <a:pt x="14992" y="184091"/>
                    <a:pt x="12420" y="183448"/>
                    <a:pt x="10491" y="182805"/>
                  </a:cubicBezTo>
                  <a:cubicBezTo>
                    <a:pt x="1490" y="178947"/>
                    <a:pt x="-2368" y="169303"/>
                    <a:pt x="1490" y="160944"/>
                  </a:cubicBezTo>
                  <a:lnTo>
                    <a:pt x="63214" y="10491"/>
                  </a:lnTo>
                  <a:cubicBezTo>
                    <a:pt x="67072" y="1490"/>
                    <a:pt x="76716" y="-2368"/>
                    <a:pt x="85075" y="1490"/>
                  </a:cubicBezTo>
                  <a:cubicBezTo>
                    <a:pt x="94076" y="5348"/>
                    <a:pt x="97934" y="14992"/>
                    <a:pt x="94076" y="23350"/>
                  </a:cubicBezTo>
                  <a:lnTo>
                    <a:pt x="32352" y="173804"/>
                  </a:lnTo>
                  <a:cubicBezTo>
                    <a:pt x="29780" y="180233"/>
                    <a:pt x="23350" y="184091"/>
                    <a:pt x="16921" y="184091"/>
                  </a:cubicBezTo>
                  <a:lnTo>
                    <a:pt x="16921" y="184091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34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10504756" y="504835"/>
            <a:ext cx="389292" cy="401813"/>
            <a:chOff x="10566825" y="513555"/>
            <a:chExt cx="394790" cy="407488"/>
          </a:xfrm>
          <a:solidFill>
            <a:srgbClr val="B1B1A1"/>
          </a:solidFill>
        </p:grpSpPr>
        <p:sp>
          <p:nvSpPr>
            <p:cNvPr id="335" name="Forma Livre: Forma 334">
              <a:extLst>
                <a:ext uri="{FF2B5EF4-FFF2-40B4-BE49-F238E27FC236}">
                  <a16:creationId xmlns:a16="http://schemas.microsoft.com/office/drawing/2014/main" id="{FFFA0327-3F02-46E6-822F-6C7A4A12B648}"/>
                </a:ext>
              </a:extLst>
            </p:cNvPr>
            <p:cNvSpPr/>
            <p:nvPr/>
          </p:nvSpPr>
          <p:spPr>
            <a:xfrm>
              <a:off x="10567153" y="671574"/>
              <a:ext cx="387705" cy="249469"/>
            </a:xfrm>
            <a:custGeom>
              <a:avLst/>
              <a:gdLst>
                <a:gd name="connsiteX0" fmla="*/ 354914 w 387705"/>
                <a:gd name="connsiteY0" fmla="*/ 249469 h 249469"/>
                <a:gd name="connsiteX1" fmla="*/ 32791 w 387705"/>
                <a:gd name="connsiteY1" fmla="*/ 249469 h 249469"/>
                <a:gd name="connsiteX2" fmla="*/ 0 w 387705"/>
                <a:gd name="connsiteY2" fmla="*/ 216678 h 249469"/>
                <a:gd name="connsiteX3" fmla="*/ 0 w 387705"/>
                <a:gd name="connsiteY3" fmla="*/ 32791 h 249469"/>
                <a:gd name="connsiteX4" fmla="*/ 32791 w 387705"/>
                <a:gd name="connsiteY4" fmla="*/ 0 h 249469"/>
                <a:gd name="connsiteX5" fmla="*/ 354914 w 387705"/>
                <a:gd name="connsiteY5" fmla="*/ 0 h 249469"/>
                <a:gd name="connsiteX6" fmla="*/ 387705 w 387705"/>
                <a:gd name="connsiteY6" fmla="*/ 32791 h 249469"/>
                <a:gd name="connsiteX7" fmla="*/ 387705 w 387705"/>
                <a:gd name="connsiteY7" fmla="*/ 216678 h 249469"/>
                <a:gd name="connsiteX8" fmla="*/ 354914 w 387705"/>
                <a:gd name="connsiteY8" fmla="*/ 249469 h 249469"/>
                <a:gd name="connsiteX9" fmla="*/ 354914 w 387705"/>
                <a:gd name="connsiteY9" fmla="*/ 249469 h 249469"/>
                <a:gd name="connsiteX10" fmla="*/ 354272 w 387705"/>
                <a:gd name="connsiteY10" fmla="*/ 32791 h 249469"/>
                <a:gd name="connsiteX11" fmla="*/ 33434 w 387705"/>
                <a:gd name="connsiteY11" fmla="*/ 33434 h 249469"/>
                <a:gd name="connsiteX12" fmla="*/ 34076 w 387705"/>
                <a:gd name="connsiteY12" fmla="*/ 216678 h 249469"/>
                <a:gd name="connsiteX13" fmla="*/ 354272 w 387705"/>
                <a:gd name="connsiteY13" fmla="*/ 216035 h 249469"/>
                <a:gd name="connsiteX14" fmla="*/ 354272 w 387705"/>
                <a:gd name="connsiteY14" fmla="*/ 32791 h 249469"/>
                <a:gd name="connsiteX15" fmla="*/ 354272 w 387705"/>
                <a:gd name="connsiteY15" fmla="*/ 32791 h 249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87705" h="249469">
                  <a:moveTo>
                    <a:pt x="354914" y="249469"/>
                  </a:moveTo>
                  <a:lnTo>
                    <a:pt x="32791" y="249469"/>
                  </a:lnTo>
                  <a:cubicBezTo>
                    <a:pt x="14788" y="249469"/>
                    <a:pt x="0" y="234681"/>
                    <a:pt x="0" y="216678"/>
                  </a:cubicBezTo>
                  <a:lnTo>
                    <a:pt x="0" y="32791"/>
                  </a:lnTo>
                  <a:cubicBezTo>
                    <a:pt x="0" y="14788"/>
                    <a:pt x="14788" y="0"/>
                    <a:pt x="32791" y="0"/>
                  </a:cubicBezTo>
                  <a:lnTo>
                    <a:pt x="354914" y="0"/>
                  </a:lnTo>
                  <a:cubicBezTo>
                    <a:pt x="372918" y="0"/>
                    <a:pt x="387705" y="14788"/>
                    <a:pt x="387705" y="32791"/>
                  </a:cubicBezTo>
                  <a:lnTo>
                    <a:pt x="387705" y="216678"/>
                  </a:lnTo>
                  <a:cubicBezTo>
                    <a:pt x="387705" y="234681"/>
                    <a:pt x="372918" y="249469"/>
                    <a:pt x="354914" y="249469"/>
                  </a:cubicBezTo>
                  <a:lnTo>
                    <a:pt x="354914" y="249469"/>
                  </a:lnTo>
                  <a:close/>
                  <a:moveTo>
                    <a:pt x="354272" y="32791"/>
                  </a:moveTo>
                  <a:lnTo>
                    <a:pt x="33434" y="33434"/>
                  </a:lnTo>
                  <a:lnTo>
                    <a:pt x="34076" y="216678"/>
                  </a:lnTo>
                  <a:lnTo>
                    <a:pt x="354272" y="216035"/>
                  </a:lnTo>
                  <a:lnTo>
                    <a:pt x="354272" y="32791"/>
                  </a:lnTo>
                  <a:lnTo>
                    <a:pt x="354272" y="32791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36" name="Forma Livre: Forma 335">
              <a:extLst>
                <a:ext uri="{FF2B5EF4-FFF2-40B4-BE49-F238E27FC236}">
                  <a16:creationId xmlns:a16="http://schemas.microsoft.com/office/drawing/2014/main" id="{0B910094-F7E8-4E46-A20B-ACD928CAADA6}"/>
                </a:ext>
              </a:extLst>
            </p:cNvPr>
            <p:cNvSpPr/>
            <p:nvPr/>
          </p:nvSpPr>
          <p:spPr>
            <a:xfrm>
              <a:off x="10566825" y="513555"/>
              <a:ext cx="394790" cy="177308"/>
            </a:xfrm>
            <a:custGeom>
              <a:avLst/>
              <a:gdLst>
                <a:gd name="connsiteX0" fmla="*/ 352670 w 394790"/>
                <a:gd name="connsiteY0" fmla="*/ 177308 h 177308"/>
                <a:gd name="connsiteX1" fmla="*/ 347527 w 394790"/>
                <a:gd name="connsiteY1" fmla="*/ 176665 h 177308"/>
                <a:gd name="connsiteX2" fmla="*/ 28618 w 394790"/>
                <a:gd name="connsiteY2" fmla="*/ 130372 h 177308"/>
                <a:gd name="connsiteX3" fmla="*/ 6758 w 394790"/>
                <a:gd name="connsiteY3" fmla="*/ 117513 h 177308"/>
                <a:gd name="connsiteX4" fmla="*/ 328 w 394790"/>
                <a:gd name="connsiteY4" fmla="*/ 93080 h 177308"/>
                <a:gd name="connsiteX5" fmla="*/ 9972 w 394790"/>
                <a:gd name="connsiteY5" fmla="*/ 28141 h 177308"/>
                <a:gd name="connsiteX6" fmla="*/ 47264 w 394790"/>
                <a:gd name="connsiteY6" fmla="*/ 494 h 177308"/>
                <a:gd name="connsiteX7" fmla="*/ 366173 w 394790"/>
                <a:gd name="connsiteY7" fmla="*/ 46787 h 177308"/>
                <a:gd name="connsiteX8" fmla="*/ 388033 w 394790"/>
                <a:gd name="connsiteY8" fmla="*/ 59646 h 177308"/>
                <a:gd name="connsiteX9" fmla="*/ 394463 w 394790"/>
                <a:gd name="connsiteY9" fmla="*/ 84079 h 177308"/>
                <a:gd name="connsiteX10" fmla="*/ 384818 w 394790"/>
                <a:gd name="connsiteY10" fmla="*/ 149018 h 177308"/>
                <a:gd name="connsiteX11" fmla="*/ 352670 w 394790"/>
                <a:gd name="connsiteY11" fmla="*/ 177308 h 177308"/>
                <a:gd name="connsiteX12" fmla="*/ 352670 w 394790"/>
                <a:gd name="connsiteY12" fmla="*/ 177308 h 177308"/>
                <a:gd name="connsiteX13" fmla="*/ 43406 w 394790"/>
                <a:gd name="connsiteY13" fmla="*/ 33285 h 177308"/>
                <a:gd name="connsiteX14" fmla="*/ 35048 w 394790"/>
                <a:gd name="connsiteY14" fmla="*/ 97581 h 177308"/>
                <a:gd name="connsiteX15" fmla="*/ 352027 w 394790"/>
                <a:gd name="connsiteY15" fmla="*/ 143231 h 177308"/>
                <a:gd name="connsiteX16" fmla="*/ 361672 w 394790"/>
                <a:gd name="connsiteY16" fmla="*/ 78935 h 177308"/>
                <a:gd name="connsiteX17" fmla="*/ 43406 w 394790"/>
                <a:gd name="connsiteY17" fmla="*/ 33285 h 177308"/>
                <a:gd name="connsiteX18" fmla="*/ 43406 w 394790"/>
                <a:gd name="connsiteY18" fmla="*/ 33285 h 177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94790" h="177308">
                  <a:moveTo>
                    <a:pt x="352670" y="177308"/>
                  </a:moveTo>
                  <a:cubicBezTo>
                    <a:pt x="351385" y="177308"/>
                    <a:pt x="349455" y="177308"/>
                    <a:pt x="347527" y="176665"/>
                  </a:cubicBezTo>
                  <a:lnTo>
                    <a:pt x="28618" y="130372"/>
                  </a:lnTo>
                  <a:cubicBezTo>
                    <a:pt x="19617" y="129086"/>
                    <a:pt x="11901" y="124585"/>
                    <a:pt x="6758" y="117513"/>
                  </a:cubicBezTo>
                  <a:cubicBezTo>
                    <a:pt x="1613" y="110440"/>
                    <a:pt x="-959" y="101439"/>
                    <a:pt x="328" y="93080"/>
                  </a:cubicBezTo>
                  <a:lnTo>
                    <a:pt x="9972" y="28141"/>
                  </a:lnTo>
                  <a:cubicBezTo>
                    <a:pt x="12544" y="10138"/>
                    <a:pt x="29261" y="-2721"/>
                    <a:pt x="47264" y="494"/>
                  </a:cubicBezTo>
                  <a:lnTo>
                    <a:pt x="366173" y="46787"/>
                  </a:lnTo>
                  <a:cubicBezTo>
                    <a:pt x="375174" y="48073"/>
                    <a:pt x="382890" y="52574"/>
                    <a:pt x="388033" y="59646"/>
                  </a:cubicBezTo>
                  <a:cubicBezTo>
                    <a:pt x="393177" y="66719"/>
                    <a:pt x="395749" y="75720"/>
                    <a:pt x="394463" y="84079"/>
                  </a:cubicBezTo>
                  <a:lnTo>
                    <a:pt x="384818" y="149018"/>
                  </a:lnTo>
                  <a:cubicBezTo>
                    <a:pt x="382890" y="165092"/>
                    <a:pt x="368744" y="177308"/>
                    <a:pt x="352670" y="177308"/>
                  </a:cubicBezTo>
                  <a:lnTo>
                    <a:pt x="352670" y="177308"/>
                  </a:lnTo>
                  <a:close/>
                  <a:moveTo>
                    <a:pt x="43406" y="33285"/>
                  </a:moveTo>
                  <a:lnTo>
                    <a:pt x="35048" y="97581"/>
                  </a:lnTo>
                  <a:lnTo>
                    <a:pt x="352027" y="143231"/>
                  </a:lnTo>
                  <a:lnTo>
                    <a:pt x="361672" y="78935"/>
                  </a:lnTo>
                  <a:lnTo>
                    <a:pt x="43406" y="33285"/>
                  </a:lnTo>
                  <a:lnTo>
                    <a:pt x="43406" y="33285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37" name="Forma Livre: Forma 336">
              <a:extLst>
                <a:ext uri="{FF2B5EF4-FFF2-40B4-BE49-F238E27FC236}">
                  <a16:creationId xmlns:a16="http://schemas.microsoft.com/office/drawing/2014/main" id="{39F5BDA0-71D0-48AC-92DD-F3F6CDC793EF}"/>
                </a:ext>
              </a:extLst>
            </p:cNvPr>
            <p:cNvSpPr/>
            <p:nvPr/>
          </p:nvSpPr>
          <p:spPr>
            <a:xfrm>
              <a:off x="10574226" y="763517"/>
              <a:ext cx="368417" cy="16716"/>
            </a:xfrm>
            <a:custGeom>
              <a:avLst/>
              <a:gdLst>
                <a:gd name="connsiteX0" fmla="*/ 360058 w 368417"/>
                <a:gd name="connsiteY0" fmla="*/ 16717 h 16716"/>
                <a:gd name="connsiteX1" fmla="*/ 8359 w 368417"/>
                <a:gd name="connsiteY1" fmla="*/ 16717 h 16716"/>
                <a:gd name="connsiteX2" fmla="*/ 0 w 368417"/>
                <a:gd name="connsiteY2" fmla="*/ 8358 h 16716"/>
                <a:gd name="connsiteX3" fmla="*/ 8359 w 368417"/>
                <a:gd name="connsiteY3" fmla="*/ 0 h 16716"/>
                <a:gd name="connsiteX4" fmla="*/ 360058 w 368417"/>
                <a:gd name="connsiteY4" fmla="*/ 0 h 16716"/>
                <a:gd name="connsiteX5" fmla="*/ 368417 w 368417"/>
                <a:gd name="connsiteY5" fmla="*/ 8358 h 16716"/>
                <a:gd name="connsiteX6" fmla="*/ 360058 w 368417"/>
                <a:gd name="connsiteY6" fmla="*/ 16717 h 16716"/>
                <a:gd name="connsiteX7" fmla="*/ 360058 w 368417"/>
                <a:gd name="connsiteY7" fmla="*/ 16717 h 16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8417" h="16716">
                  <a:moveTo>
                    <a:pt x="360058" y="16717"/>
                  </a:moveTo>
                  <a:lnTo>
                    <a:pt x="8359" y="16717"/>
                  </a:lnTo>
                  <a:cubicBezTo>
                    <a:pt x="3858" y="16717"/>
                    <a:pt x="0" y="12859"/>
                    <a:pt x="0" y="8358"/>
                  </a:cubicBezTo>
                  <a:cubicBezTo>
                    <a:pt x="0" y="3858"/>
                    <a:pt x="3858" y="0"/>
                    <a:pt x="8359" y="0"/>
                  </a:cubicBezTo>
                  <a:lnTo>
                    <a:pt x="360058" y="0"/>
                  </a:lnTo>
                  <a:cubicBezTo>
                    <a:pt x="364559" y="0"/>
                    <a:pt x="368417" y="3858"/>
                    <a:pt x="368417" y="8358"/>
                  </a:cubicBezTo>
                  <a:cubicBezTo>
                    <a:pt x="368417" y="12859"/>
                    <a:pt x="364559" y="16717"/>
                    <a:pt x="360058" y="16717"/>
                  </a:cubicBezTo>
                  <a:lnTo>
                    <a:pt x="360058" y="16717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38" name="Forma Livre: Forma 337">
              <a:extLst>
                <a:ext uri="{FF2B5EF4-FFF2-40B4-BE49-F238E27FC236}">
                  <a16:creationId xmlns:a16="http://schemas.microsoft.com/office/drawing/2014/main" id="{B29347ED-483A-42A8-B3B8-A31F04B58342}"/>
                </a:ext>
              </a:extLst>
            </p:cNvPr>
            <p:cNvSpPr/>
            <p:nvPr/>
          </p:nvSpPr>
          <p:spPr>
            <a:xfrm>
              <a:off x="10609536" y="686310"/>
              <a:ext cx="61185" cy="87494"/>
            </a:xfrm>
            <a:custGeom>
              <a:avLst/>
              <a:gdLst>
                <a:gd name="connsiteX0" fmla="*/ 8411 w 61185"/>
                <a:gd name="connsiteY0" fmla="*/ 87495 h 87494"/>
                <a:gd name="connsiteX1" fmla="*/ 3910 w 61185"/>
                <a:gd name="connsiteY1" fmla="*/ 86209 h 87494"/>
                <a:gd name="connsiteX2" fmla="*/ 1338 w 61185"/>
                <a:gd name="connsiteY2" fmla="*/ 74636 h 87494"/>
                <a:gd name="connsiteX3" fmla="*/ 45702 w 61185"/>
                <a:gd name="connsiteY3" fmla="*/ 3910 h 87494"/>
                <a:gd name="connsiteX4" fmla="*/ 57276 w 61185"/>
                <a:gd name="connsiteY4" fmla="*/ 1338 h 87494"/>
                <a:gd name="connsiteX5" fmla="*/ 59848 w 61185"/>
                <a:gd name="connsiteY5" fmla="*/ 12911 h 87494"/>
                <a:gd name="connsiteX6" fmla="*/ 15483 w 61185"/>
                <a:gd name="connsiteY6" fmla="*/ 83637 h 87494"/>
                <a:gd name="connsiteX7" fmla="*/ 8411 w 61185"/>
                <a:gd name="connsiteY7" fmla="*/ 87495 h 87494"/>
                <a:gd name="connsiteX8" fmla="*/ 8411 w 61185"/>
                <a:gd name="connsiteY8" fmla="*/ 87495 h 87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1185" h="87494">
                  <a:moveTo>
                    <a:pt x="8411" y="87495"/>
                  </a:moveTo>
                  <a:cubicBezTo>
                    <a:pt x="7124" y="87495"/>
                    <a:pt x="5196" y="86852"/>
                    <a:pt x="3910" y="86209"/>
                  </a:cubicBezTo>
                  <a:cubicBezTo>
                    <a:pt x="52" y="83637"/>
                    <a:pt x="-1234" y="78493"/>
                    <a:pt x="1338" y="74636"/>
                  </a:cubicBezTo>
                  <a:lnTo>
                    <a:pt x="45702" y="3910"/>
                  </a:lnTo>
                  <a:cubicBezTo>
                    <a:pt x="48274" y="52"/>
                    <a:pt x="53418" y="-1234"/>
                    <a:pt x="57276" y="1338"/>
                  </a:cubicBezTo>
                  <a:cubicBezTo>
                    <a:pt x="61133" y="3910"/>
                    <a:pt x="62419" y="9054"/>
                    <a:pt x="59848" y="12911"/>
                  </a:cubicBezTo>
                  <a:lnTo>
                    <a:pt x="15483" y="83637"/>
                  </a:lnTo>
                  <a:cubicBezTo>
                    <a:pt x="14197" y="86209"/>
                    <a:pt x="11626" y="87495"/>
                    <a:pt x="8411" y="87495"/>
                  </a:cubicBezTo>
                  <a:lnTo>
                    <a:pt x="8411" y="87495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39" name="Forma Livre: Forma 338">
              <a:extLst>
                <a:ext uri="{FF2B5EF4-FFF2-40B4-BE49-F238E27FC236}">
                  <a16:creationId xmlns:a16="http://schemas.microsoft.com/office/drawing/2014/main" id="{F012A1A8-10F6-4E27-8028-CB0F67678D36}"/>
                </a:ext>
              </a:extLst>
            </p:cNvPr>
            <p:cNvSpPr/>
            <p:nvPr/>
          </p:nvSpPr>
          <p:spPr>
            <a:xfrm>
              <a:off x="10686692" y="686310"/>
              <a:ext cx="61185" cy="87494"/>
            </a:xfrm>
            <a:custGeom>
              <a:avLst/>
              <a:gdLst>
                <a:gd name="connsiteX0" fmla="*/ 8411 w 61185"/>
                <a:gd name="connsiteY0" fmla="*/ 87495 h 87494"/>
                <a:gd name="connsiteX1" fmla="*/ 3910 w 61185"/>
                <a:gd name="connsiteY1" fmla="*/ 86209 h 87494"/>
                <a:gd name="connsiteX2" fmla="*/ 1338 w 61185"/>
                <a:gd name="connsiteY2" fmla="*/ 74636 h 87494"/>
                <a:gd name="connsiteX3" fmla="*/ 45702 w 61185"/>
                <a:gd name="connsiteY3" fmla="*/ 3910 h 87494"/>
                <a:gd name="connsiteX4" fmla="*/ 57276 w 61185"/>
                <a:gd name="connsiteY4" fmla="*/ 1338 h 87494"/>
                <a:gd name="connsiteX5" fmla="*/ 59848 w 61185"/>
                <a:gd name="connsiteY5" fmla="*/ 12911 h 87494"/>
                <a:gd name="connsiteX6" fmla="*/ 15483 w 61185"/>
                <a:gd name="connsiteY6" fmla="*/ 83637 h 87494"/>
                <a:gd name="connsiteX7" fmla="*/ 8411 w 61185"/>
                <a:gd name="connsiteY7" fmla="*/ 87495 h 87494"/>
                <a:gd name="connsiteX8" fmla="*/ 8411 w 61185"/>
                <a:gd name="connsiteY8" fmla="*/ 87495 h 87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1185" h="87494">
                  <a:moveTo>
                    <a:pt x="8411" y="87495"/>
                  </a:moveTo>
                  <a:cubicBezTo>
                    <a:pt x="7124" y="87495"/>
                    <a:pt x="5196" y="86852"/>
                    <a:pt x="3910" y="86209"/>
                  </a:cubicBezTo>
                  <a:cubicBezTo>
                    <a:pt x="52" y="83637"/>
                    <a:pt x="-1234" y="78493"/>
                    <a:pt x="1338" y="74636"/>
                  </a:cubicBezTo>
                  <a:lnTo>
                    <a:pt x="45702" y="3910"/>
                  </a:lnTo>
                  <a:cubicBezTo>
                    <a:pt x="48274" y="52"/>
                    <a:pt x="53418" y="-1234"/>
                    <a:pt x="57276" y="1338"/>
                  </a:cubicBezTo>
                  <a:cubicBezTo>
                    <a:pt x="61133" y="3910"/>
                    <a:pt x="62419" y="9054"/>
                    <a:pt x="59848" y="12911"/>
                  </a:cubicBezTo>
                  <a:lnTo>
                    <a:pt x="15483" y="83637"/>
                  </a:lnTo>
                  <a:cubicBezTo>
                    <a:pt x="14197" y="86209"/>
                    <a:pt x="11626" y="87495"/>
                    <a:pt x="8411" y="87495"/>
                  </a:cubicBezTo>
                  <a:lnTo>
                    <a:pt x="8411" y="87495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40" name="Forma Livre: Forma 339">
              <a:extLst>
                <a:ext uri="{FF2B5EF4-FFF2-40B4-BE49-F238E27FC236}">
                  <a16:creationId xmlns:a16="http://schemas.microsoft.com/office/drawing/2014/main" id="{A03F0909-A6C3-4E03-AA95-7014C1AD33C9}"/>
                </a:ext>
              </a:extLst>
            </p:cNvPr>
            <p:cNvSpPr/>
            <p:nvPr/>
          </p:nvSpPr>
          <p:spPr>
            <a:xfrm>
              <a:off x="10763847" y="686310"/>
              <a:ext cx="61185" cy="87494"/>
            </a:xfrm>
            <a:custGeom>
              <a:avLst/>
              <a:gdLst>
                <a:gd name="connsiteX0" fmla="*/ 8411 w 61185"/>
                <a:gd name="connsiteY0" fmla="*/ 87495 h 87494"/>
                <a:gd name="connsiteX1" fmla="*/ 3910 w 61185"/>
                <a:gd name="connsiteY1" fmla="*/ 86209 h 87494"/>
                <a:gd name="connsiteX2" fmla="*/ 1338 w 61185"/>
                <a:gd name="connsiteY2" fmla="*/ 74636 h 87494"/>
                <a:gd name="connsiteX3" fmla="*/ 45702 w 61185"/>
                <a:gd name="connsiteY3" fmla="*/ 3910 h 87494"/>
                <a:gd name="connsiteX4" fmla="*/ 57276 w 61185"/>
                <a:gd name="connsiteY4" fmla="*/ 1338 h 87494"/>
                <a:gd name="connsiteX5" fmla="*/ 59848 w 61185"/>
                <a:gd name="connsiteY5" fmla="*/ 12911 h 87494"/>
                <a:gd name="connsiteX6" fmla="*/ 15483 w 61185"/>
                <a:gd name="connsiteY6" fmla="*/ 83637 h 87494"/>
                <a:gd name="connsiteX7" fmla="*/ 8411 w 61185"/>
                <a:gd name="connsiteY7" fmla="*/ 87495 h 87494"/>
                <a:gd name="connsiteX8" fmla="*/ 8411 w 61185"/>
                <a:gd name="connsiteY8" fmla="*/ 87495 h 87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1185" h="87494">
                  <a:moveTo>
                    <a:pt x="8411" y="87495"/>
                  </a:moveTo>
                  <a:cubicBezTo>
                    <a:pt x="7124" y="87495"/>
                    <a:pt x="5196" y="86852"/>
                    <a:pt x="3910" y="86209"/>
                  </a:cubicBezTo>
                  <a:cubicBezTo>
                    <a:pt x="52" y="83637"/>
                    <a:pt x="-1234" y="78493"/>
                    <a:pt x="1338" y="74636"/>
                  </a:cubicBezTo>
                  <a:lnTo>
                    <a:pt x="45702" y="3910"/>
                  </a:lnTo>
                  <a:cubicBezTo>
                    <a:pt x="48274" y="52"/>
                    <a:pt x="53418" y="-1234"/>
                    <a:pt x="57276" y="1338"/>
                  </a:cubicBezTo>
                  <a:cubicBezTo>
                    <a:pt x="61133" y="3910"/>
                    <a:pt x="62419" y="9054"/>
                    <a:pt x="59848" y="12911"/>
                  </a:cubicBezTo>
                  <a:lnTo>
                    <a:pt x="15483" y="83637"/>
                  </a:lnTo>
                  <a:cubicBezTo>
                    <a:pt x="14197" y="86209"/>
                    <a:pt x="11626" y="87495"/>
                    <a:pt x="8411" y="87495"/>
                  </a:cubicBezTo>
                  <a:lnTo>
                    <a:pt x="8411" y="87495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41" name="Forma Livre: Forma 340">
              <a:extLst>
                <a:ext uri="{FF2B5EF4-FFF2-40B4-BE49-F238E27FC236}">
                  <a16:creationId xmlns:a16="http://schemas.microsoft.com/office/drawing/2014/main" id="{5ED5DF4A-50CC-4674-BA6D-2131F4B61066}"/>
                </a:ext>
              </a:extLst>
            </p:cNvPr>
            <p:cNvSpPr/>
            <p:nvPr/>
          </p:nvSpPr>
          <p:spPr>
            <a:xfrm>
              <a:off x="10841002" y="686310"/>
              <a:ext cx="61185" cy="87494"/>
            </a:xfrm>
            <a:custGeom>
              <a:avLst/>
              <a:gdLst>
                <a:gd name="connsiteX0" fmla="*/ 8411 w 61185"/>
                <a:gd name="connsiteY0" fmla="*/ 87495 h 87494"/>
                <a:gd name="connsiteX1" fmla="*/ 3910 w 61185"/>
                <a:gd name="connsiteY1" fmla="*/ 86209 h 87494"/>
                <a:gd name="connsiteX2" fmla="*/ 1338 w 61185"/>
                <a:gd name="connsiteY2" fmla="*/ 74636 h 87494"/>
                <a:gd name="connsiteX3" fmla="*/ 45702 w 61185"/>
                <a:gd name="connsiteY3" fmla="*/ 3910 h 87494"/>
                <a:gd name="connsiteX4" fmla="*/ 57276 w 61185"/>
                <a:gd name="connsiteY4" fmla="*/ 1338 h 87494"/>
                <a:gd name="connsiteX5" fmla="*/ 59848 w 61185"/>
                <a:gd name="connsiteY5" fmla="*/ 12911 h 87494"/>
                <a:gd name="connsiteX6" fmla="*/ 15483 w 61185"/>
                <a:gd name="connsiteY6" fmla="*/ 83637 h 87494"/>
                <a:gd name="connsiteX7" fmla="*/ 8411 w 61185"/>
                <a:gd name="connsiteY7" fmla="*/ 87495 h 87494"/>
                <a:gd name="connsiteX8" fmla="*/ 8411 w 61185"/>
                <a:gd name="connsiteY8" fmla="*/ 87495 h 87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1185" h="87494">
                  <a:moveTo>
                    <a:pt x="8411" y="87495"/>
                  </a:moveTo>
                  <a:cubicBezTo>
                    <a:pt x="7124" y="87495"/>
                    <a:pt x="5196" y="86852"/>
                    <a:pt x="3910" y="86209"/>
                  </a:cubicBezTo>
                  <a:cubicBezTo>
                    <a:pt x="52" y="83637"/>
                    <a:pt x="-1234" y="78493"/>
                    <a:pt x="1338" y="74636"/>
                  </a:cubicBezTo>
                  <a:lnTo>
                    <a:pt x="45702" y="3910"/>
                  </a:lnTo>
                  <a:cubicBezTo>
                    <a:pt x="48274" y="52"/>
                    <a:pt x="53418" y="-1234"/>
                    <a:pt x="57276" y="1338"/>
                  </a:cubicBezTo>
                  <a:cubicBezTo>
                    <a:pt x="61133" y="3910"/>
                    <a:pt x="62419" y="9054"/>
                    <a:pt x="59848" y="12911"/>
                  </a:cubicBezTo>
                  <a:lnTo>
                    <a:pt x="15483" y="83637"/>
                  </a:lnTo>
                  <a:cubicBezTo>
                    <a:pt x="14197" y="86209"/>
                    <a:pt x="11626" y="87495"/>
                    <a:pt x="8411" y="87495"/>
                  </a:cubicBezTo>
                  <a:lnTo>
                    <a:pt x="8411" y="87495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42" name="Forma Livre: Forma 341">
              <a:extLst>
                <a:ext uri="{FF2B5EF4-FFF2-40B4-BE49-F238E27FC236}">
                  <a16:creationId xmlns:a16="http://schemas.microsoft.com/office/drawing/2014/main" id="{D3170F79-3DB1-456C-A71B-13D0011A6F61}"/>
                </a:ext>
              </a:extLst>
            </p:cNvPr>
            <p:cNvSpPr/>
            <p:nvPr/>
          </p:nvSpPr>
          <p:spPr>
            <a:xfrm>
              <a:off x="10621060" y="535807"/>
              <a:ext cx="50354" cy="92688"/>
            </a:xfrm>
            <a:custGeom>
              <a:avLst/>
              <a:gdLst>
                <a:gd name="connsiteX0" fmla="*/ 41895 w 50354"/>
                <a:gd name="connsiteY0" fmla="*/ 92688 h 92688"/>
                <a:gd name="connsiteX1" fmla="*/ 34179 w 50354"/>
                <a:gd name="connsiteY1" fmla="*/ 87545 h 92688"/>
                <a:gd name="connsiteX2" fmla="*/ 745 w 50354"/>
                <a:gd name="connsiteY2" fmla="*/ 11675 h 92688"/>
                <a:gd name="connsiteX3" fmla="*/ 5245 w 50354"/>
                <a:gd name="connsiteY3" fmla="*/ 745 h 92688"/>
                <a:gd name="connsiteX4" fmla="*/ 16176 w 50354"/>
                <a:gd name="connsiteY4" fmla="*/ 5246 h 92688"/>
                <a:gd name="connsiteX5" fmla="*/ 49610 w 50354"/>
                <a:gd name="connsiteY5" fmla="*/ 81115 h 92688"/>
                <a:gd name="connsiteX6" fmla="*/ 45109 w 50354"/>
                <a:gd name="connsiteY6" fmla="*/ 92045 h 92688"/>
                <a:gd name="connsiteX7" fmla="*/ 41895 w 50354"/>
                <a:gd name="connsiteY7" fmla="*/ 92688 h 92688"/>
                <a:gd name="connsiteX8" fmla="*/ 41895 w 50354"/>
                <a:gd name="connsiteY8" fmla="*/ 92688 h 92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354" h="92688">
                  <a:moveTo>
                    <a:pt x="41895" y="92688"/>
                  </a:moveTo>
                  <a:cubicBezTo>
                    <a:pt x="38680" y="92688"/>
                    <a:pt x="35465" y="90759"/>
                    <a:pt x="34179" y="87545"/>
                  </a:cubicBezTo>
                  <a:lnTo>
                    <a:pt x="745" y="11675"/>
                  </a:lnTo>
                  <a:cubicBezTo>
                    <a:pt x="-1184" y="7174"/>
                    <a:pt x="745" y="2674"/>
                    <a:pt x="5245" y="745"/>
                  </a:cubicBezTo>
                  <a:cubicBezTo>
                    <a:pt x="9747" y="-1184"/>
                    <a:pt x="14247" y="745"/>
                    <a:pt x="16176" y="5246"/>
                  </a:cubicBezTo>
                  <a:lnTo>
                    <a:pt x="49610" y="81115"/>
                  </a:lnTo>
                  <a:cubicBezTo>
                    <a:pt x="51539" y="85616"/>
                    <a:pt x="49610" y="90116"/>
                    <a:pt x="45109" y="92045"/>
                  </a:cubicBezTo>
                  <a:cubicBezTo>
                    <a:pt x="43823" y="92688"/>
                    <a:pt x="42537" y="92688"/>
                    <a:pt x="41895" y="92688"/>
                  </a:cubicBezTo>
                  <a:lnTo>
                    <a:pt x="41895" y="92688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43" name="Forma Livre: Forma 342">
              <a:extLst>
                <a:ext uri="{FF2B5EF4-FFF2-40B4-BE49-F238E27FC236}">
                  <a16:creationId xmlns:a16="http://schemas.microsoft.com/office/drawing/2014/main" id="{D9AAE547-C86C-4E82-A81E-EB3D600AF81E}"/>
                </a:ext>
              </a:extLst>
            </p:cNvPr>
            <p:cNvSpPr/>
            <p:nvPr/>
          </p:nvSpPr>
          <p:spPr>
            <a:xfrm>
              <a:off x="10696929" y="546738"/>
              <a:ext cx="50354" cy="92688"/>
            </a:xfrm>
            <a:custGeom>
              <a:avLst/>
              <a:gdLst>
                <a:gd name="connsiteX0" fmla="*/ 41894 w 50354"/>
                <a:gd name="connsiteY0" fmla="*/ 92688 h 92688"/>
                <a:gd name="connsiteX1" fmla="*/ 34179 w 50354"/>
                <a:gd name="connsiteY1" fmla="*/ 87545 h 92688"/>
                <a:gd name="connsiteX2" fmla="*/ 745 w 50354"/>
                <a:gd name="connsiteY2" fmla="*/ 11675 h 92688"/>
                <a:gd name="connsiteX3" fmla="*/ 5246 w 50354"/>
                <a:gd name="connsiteY3" fmla="*/ 745 h 92688"/>
                <a:gd name="connsiteX4" fmla="*/ 16176 w 50354"/>
                <a:gd name="connsiteY4" fmla="*/ 5246 h 92688"/>
                <a:gd name="connsiteX5" fmla="*/ 49610 w 50354"/>
                <a:gd name="connsiteY5" fmla="*/ 81115 h 92688"/>
                <a:gd name="connsiteX6" fmla="*/ 45109 w 50354"/>
                <a:gd name="connsiteY6" fmla="*/ 92045 h 92688"/>
                <a:gd name="connsiteX7" fmla="*/ 41894 w 50354"/>
                <a:gd name="connsiteY7" fmla="*/ 92688 h 92688"/>
                <a:gd name="connsiteX8" fmla="*/ 41894 w 50354"/>
                <a:gd name="connsiteY8" fmla="*/ 92688 h 92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354" h="92688">
                  <a:moveTo>
                    <a:pt x="41894" y="92688"/>
                  </a:moveTo>
                  <a:cubicBezTo>
                    <a:pt x="38679" y="92688"/>
                    <a:pt x="35465" y="90759"/>
                    <a:pt x="34179" y="87545"/>
                  </a:cubicBezTo>
                  <a:lnTo>
                    <a:pt x="745" y="11675"/>
                  </a:lnTo>
                  <a:cubicBezTo>
                    <a:pt x="-1184" y="7174"/>
                    <a:pt x="745" y="2674"/>
                    <a:pt x="5246" y="745"/>
                  </a:cubicBezTo>
                  <a:cubicBezTo>
                    <a:pt x="9746" y="-1184"/>
                    <a:pt x="14247" y="745"/>
                    <a:pt x="16176" y="5246"/>
                  </a:cubicBezTo>
                  <a:lnTo>
                    <a:pt x="49610" y="81115"/>
                  </a:lnTo>
                  <a:cubicBezTo>
                    <a:pt x="51539" y="85616"/>
                    <a:pt x="49610" y="90116"/>
                    <a:pt x="45109" y="92045"/>
                  </a:cubicBezTo>
                  <a:cubicBezTo>
                    <a:pt x="44466" y="92688"/>
                    <a:pt x="43181" y="92688"/>
                    <a:pt x="41894" y="92688"/>
                  </a:cubicBezTo>
                  <a:lnTo>
                    <a:pt x="41894" y="92688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44" name="Forma Livre: Forma 343">
              <a:extLst>
                <a:ext uri="{FF2B5EF4-FFF2-40B4-BE49-F238E27FC236}">
                  <a16:creationId xmlns:a16="http://schemas.microsoft.com/office/drawing/2014/main" id="{728752C3-BE33-4448-A372-BE101138F886}"/>
                </a:ext>
              </a:extLst>
            </p:cNvPr>
            <p:cNvSpPr/>
            <p:nvPr/>
          </p:nvSpPr>
          <p:spPr>
            <a:xfrm>
              <a:off x="10773442" y="558311"/>
              <a:ext cx="50354" cy="92688"/>
            </a:xfrm>
            <a:custGeom>
              <a:avLst/>
              <a:gdLst>
                <a:gd name="connsiteX0" fmla="*/ 41894 w 50354"/>
                <a:gd name="connsiteY0" fmla="*/ 92688 h 92688"/>
                <a:gd name="connsiteX1" fmla="*/ 34179 w 50354"/>
                <a:gd name="connsiteY1" fmla="*/ 87545 h 92688"/>
                <a:gd name="connsiteX2" fmla="*/ 745 w 50354"/>
                <a:gd name="connsiteY2" fmla="*/ 11675 h 92688"/>
                <a:gd name="connsiteX3" fmla="*/ 5246 w 50354"/>
                <a:gd name="connsiteY3" fmla="*/ 745 h 92688"/>
                <a:gd name="connsiteX4" fmla="*/ 16176 w 50354"/>
                <a:gd name="connsiteY4" fmla="*/ 5246 h 92688"/>
                <a:gd name="connsiteX5" fmla="*/ 49609 w 50354"/>
                <a:gd name="connsiteY5" fmla="*/ 81115 h 92688"/>
                <a:gd name="connsiteX6" fmla="*/ 45109 w 50354"/>
                <a:gd name="connsiteY6" fmla="*/ 92045 h 92688"/>
                <a:gd name="connsiteX7" fmla="*/ 41894 w 50354"/>
                <a:gd name="connsiteY7" fmla="*/ 92688 h 92688"/>
                <a:gd name="connsiteX8" fmla="*/ 41894 w 50354"/>
                <a:gd name="connsiteY8" fmla="*/ 92688 h 92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354" h="92688">
                  <a:moveTo>
                    <a:pt x="41894" y="92688"/>
                  </a:moveTo>
                  <a:cubicBezTo>
                    <a:pt x="38679" y="92688"/>
                    <a:pt x="35465" y="90759"/>
                    <a:pt x="34179" y="87545"/>
                  </a:cubicBezTo>
                  <a:lnTo>
                    <a:pt x="745" y="11675"/>
                  </a:lnTo>
                  <a:cubicBezTo>
                    <a:pt x="-1184" y="7174"/>
                    <a:pt x="745" y="2674"/>
                    <a:pt x="5246" y="745"/>
                  </a:cubicBezTo>
                  <a:cubicBezTo>
                    <a:pt x="9746" y="-1184"/>
                    <a:pt x="14247" y="745"/>
                    <a:pt x="16176" y="5246"/>
                  </a:cubicBezTo>
                  <a:lnTo>
                    <a:pt x="49609" y="81115"/>
                  </a:lnTo>
                  <a:cubicBezTo>
                    <a:pt x="51539" y="85616"/>
                    <a:pt x="49609" y="90116"/>
                    <a:pt x="45109" y="92045"/>
                  </a:cubicBezTo>
                  <a:cubicBezTo>
                    <a:pt x="44466" y="92045"/>
                    <a:pt x="43180" y="92688"/>
                    <a:pt x="41894" y="92688"/>
                  </a:cubicBezTo>
                  <a:lnTo>
                    <a:pt x="41894" y="92688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45" name="Forma Livre: Forma 344">
              <a:extLst>
                <a:ext uri="{FF2B5EF4-FFF2-40B4-BE49-F238E27FC236}">
                  <a16:creationId xmlns:a16="http://schemas.microsoft.com/office/drawing/2014/main" id="{B6841CB0-38EB-4E46-8DC6-0D3CE00ED57B}"/>
                </a:ext>
              </a:extLst>
            </p:cNvPr>
            <p:cNvSpPr/>
            <p:nvPr/>
          </p:nvSpPr>
          <p:spPr>
            <a:xfrm>
              <a:off x="10849954" y="569241"/>
              <a:ext cx="50354" cy="92688"/>
            </a:xfrm>
            <a:custGeom>
              <a:avLst/>
              <a:gdLst>
                <a:gd name="connsiteX0" fmla="*/ 41895 w 50354"/>
                <a:gd name="connsiteY0" fmla="*/ 92688 h 92688"/>
                <a:gd name="connsiteX1" fmla="*/ 34179 w 50354"/>
                <a:gd name="connsiteY1" fmla="*/ 87545 h 92688"/>
                <a:gd name="connsiteX2" fmla="*/ 745 w 50354"/>
                <a:gd name="connsiteY2" fmla="*/ 11675 h 92688"/>
                <a:gd name="connsiteX3" fmla="*/ 5245 w 50354"/>
                <a:gd name="connsiteY3" fmla="*/ 745 h 92688"/>
                <a:gd name="connsiteX4" fmla="*/ 16176 w 50354"/>
                <a:gd name="connsiteY4" fmla="*/ 5246 h 92688"/>
                <a:gd name="connsiteX5" fmla="*/ 49610 w 50354"/>
                <a:gd name="connsiteY5" fmla="*/ 81115 h 92688"/>
                <a:gd name="connsiteX6" fmla="*/ 45109 w 50354"/>
                <a:gd name="connsiteY6" fmla="*/ 92045 h 92688"/>
                <a:gd name="connsiteX7" fmla="*/ 41895 w 50354"/>
                <a:gd name="connsiteY7" fmla="*/ 92688 h 92688"/>
                <a:gd name="connsiteX8" fmla="*/ 41895 w 50354"/>
                <a:gd name="connsiteY8" fmla="*/ 92688 h 92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354" h="92688">
                  <a:moveTo>
                    <a:pt x="41895" y="92688"/>
                  </a:moveTo>
                  <a:cubicBezTo>
                    <a:pt x="38680" y="92688"/>
                    <a:pt x="35465" y="90759"/>
                    <a:pt x="34179" y="87545"/>
                  </a:cubicBezTo>
                  <a:lnTo>
                    <a:pt x="745" y="11675"/>
                  </a:lnTo>
                  <a:cubicBezTo>
                    <a:pt x="-1184" y="7174"/>
                    <a:pt x="745" y="2674"/>
                    <a:pt x="5245" y="745"/>
                  </a:cubicBezTo>
                  <a:cubicBezTo>
                    <a:pt x="9747" y="-1184"/>
                    <a:pt x="14247" y="745"/>
                    <a:pt x="16176" y="5246"/>
                  </a:cubicBezTo>
                  <a:lnTo>
                    <a:pt x="49610" y="81115"/>
                  </a:lnTo>
                  <a:cubicBezTo>
                    <a:pt x="51539" y="85616"/>
                    <a:pt x="49610" y="90116"/>
                    <a:pt x="45109" y="92045"/>
                  </a:cubicBezTo>
                  <a:cubicBezTo>
                    <a:pt x="43823" y="92688"/>
                    <a:pt x="43180" y="92688"/>
                    <a:pt x="41895" y="92688"/>
                  </a:cubicBezTo>
                  <a:lnTo>
                    <a:pt x="41895" y="92688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sp>
        <p:nvSpPr>
          <p:cNvPr id="346" name="Forma Livre: Forma 345">
            <a:extLst>
              <a:ext uri="{FF2B5EF4-FFF2-40B4-BE49-F238E27FC236}">
                <a16:creationId xmlns:a16="http://schemas.microsoft.com/office/drawing/2014/main" id="{CC449149-06E6-4BA0-8A69-C757D901FF05}"/>
              </a:ext>
            </a:extLst>
          </p:cNvPr>
          <p:cNvSpPr/>
          <p:nvPr/>
        </p:nvSpPr>
        <p:spPr>
          <a:xfrm>
            <a:off x="8445825" y="1604690"/>
            <a:ext cx="415908" cy="277695"/>
          </a:xfrm>
          <a:custGeom>
            <a:avLst/>
            <a:gdLst>
              <a:gd name="connsiteX0" fmla="*/ 331768 w 421782"/>
              <a:gd name="connsiteY0" fmla="*/ 281617 h 281617"/>
              <a:gd name="connsiteX1" fmla="*/ 79727 w 421782"/>
              <a:gd name="connsiteY1" fmla="*/ 281617 h 281617"/>
              <a:gd name="connsiteX2" fmla="*/ 0 w 421782"/>
              <a:gd name="connsiteY2" fmla="*/ 201890 h 281617"/>
              <a:gd name="connsiteX3" fmla="*/ 79727 w 421782"/>
              <a:gd name="connsiteY3" fmla="*/ 122163 h 281617"/>
              <a:gd name="connsiteX4" fmla="*/ 79727 w 421782"/>
              <a:gd name="connsiteY4" fmla="*/ 122163 h 281617"/>
              <a:gd name="connsiteX5" fmla="*/ 79727 w 421782"/>
              <a:gd name="connsiteY5" fmla="*/ 118948 h 281617"/>
              <a:gd name="connsiteX6" fmla="*/ 198675 w 421782"/>
              <a:gd name="connsiteY6" fmla="*/ 0 h 281617"/>
              <a:gd name="connsiteX7" fmla="*/ 313765 w 421782"/>
              <a:gd name="connsiteY7" fmla="*/ 88729 h 281617"/>
              <a:gd name="connsiteX8" fmla="*/ 324696 w 421782"/>
              <a:gd name="connsiteY8" fmla="*/ 88086 h 281617"/>
              <a:gd name="connsiteX9" fmla="*/ 421783 w 421782"/>
              <a:gd name="connsiteY9" fmla="*/ 185173 h 281617"/>
              <a:gd name="connsiteX10" fmla="*/ 389634 w 421782"/>
              <a:gd name="connsiteY10" fmla="*/ 257185 h 281617"/>
              <a:gd name="connsiteX11" fmla="*/ 331768 w 421782"/>
              <a:gd name="connsiteY11" fmla="*/ 281617 h 281617"/>
              <a:gd name="connsiteX12" fmla="*/ 331768 w 421782"/>
              <a:gd name="connsiteY12" fmla="*/ 281617 h 281617"/>
              <a:gd name="connsiteX13" fmla="*/ 79727 w 421782"/>
              <a:gd name="connsiteY13" fmla="*/ 155597 h 281617"/>
              <a:gd name="connsiteX14" fmla="*/ 33434 w 421782"/>
              <a:gd name="connsiteY14" fmla="*/ 201890 h 281617"/>
              <a:gd name="connsiteX15" fmla="*/ 79727 w 421782"/>
              <a:gd name="connsiteY15" fmla="*/ 248183 h 281617"/>
              <a:gd name="connsiteX16" fmla="*/ 331768 w 421782"/>
              <a:gd name="connsiteY16" fmla="*/ 248183 h 281617"/>
              <a:gd name="connsiteX17" fmla="*/ 365845 w 421782"/>
              <a:gd name="connsiteY17" fmla="*/ 232752 h 281617"/>
              <a:gd name="connsiteX18" fmla="*/ 387706 w 421782"/>
              <a:gd name="connsiteY18" fmla="*/ 185173 h 281617"/>
              <a:gd name="connsiteX19" fmla="*/ 324696 w 421782"/>
              <a:gd name="connsiteY19" fmla="*/ 122163 h 281617"/>
              <a:gd name="connsiteX20" fmla="*/ 305407 w 421782"/>
              <a:gd name="connsiteY20" fmla="*/ 125377 h 281617"/>
              <a:gd name="connsiteX21" fmla="*/ 290619 w 421782"/>
              <a:gd name="connsiteY21" fmla="*/ 123449 h 281617"/>
              <a:gd name="connsiteX22" fmla="*/ 282903 w 421782"/>
              <a:gd name="connsiteY22" fmla="*/ 110589 h 281617"/>
              <a:gd name="connsiteX23" fmla="*/ 198032 w 421782"/>
              <a:gd name="connsiteY23" fmla="*/ 34077 h 281617"/>
              <a:gd name="connsiteX24" fmla="*/ 113161 w 421782"/>
              <a:gd name="connsiteY24" fmla="*/ 118948 h 281617"/>
              <a:gd name="connsiteX25" fmla="*/ 115090 w 421782"/>
              <a:gd name="connsiteY25" fmla="*/ 135665 h 281617"/>
              <a:gd name="connsiteX26" fmla="*/ 111875 w 421782"/>
              <a:gd name="connsiteY26" fmla="*/ 149810 h 281617"/>
              <a:gd name="connsiteX27" fmla="*/ 99016 w 421782"/>
              <a:gd name="connsiteY27" fmla="*/ 156240 h 281617"/>
              <a:gd name="connsiteX28" fmla="*/ 79727 w 421782"/>
              <a:gd name="connsiteY28" fmla="*/ 156240 h 281617"/>
              <a:gd name="connsiteX29" fmla="*/ 79727 w 421782"/>
              <a:gd name="connsiteY29" fmla="*/ 155597 h 281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421782" h="281617">
                <a:moveTo>
                  <a:pt x="331768" y="281617"/>
                </a:moveTo>
                <a:lnTo>
                  <a:pt x="79727" y="281617"/>
                </a:lnTo>
                <a:cubicBezTo>
                  <a:pt x="35363" y="281617"/>
                  <a:pt x="0" y="245611"/>
                  <a:pt x="0" y="201890"/>
                </a:cubicBezTo>
                <a:cubicBezTo>
                  <a:pt x="0" y="157526"/>
                  <a:pt x="36006" y="122163"/>
                  <a:pt x="79727" y="122163"/>
                </a:cubicBezTo>
                <a:lnTo>
                  <a:pt x="79727" y="122163"/>
                </a:lnTo>
                <a:cubicBezTo>
                  <a:pt x="79727" y="120877"/>
                  <a:pt x="79727" y="120234"/>
                  <a:pt x="79727" y="118948"/>
                </a:cubicBezTo>
                <a:cubicBezTo>
                  <a:pt x="79727" y="53366"/>
                  <a:pt x="133093" y="0"/>
                  <a:pt x="198675" y="0"/>
                </a:cubicBezTo>
                <a:cubicBezTo>
                  <a:pt x="253970" y="0"/>
                  <a:pt x="300263" y="37292"/>
                  <a:pt x="313765" y="88729"/>
                </a:cubicBezTo>
                <a:cubicBezTo>
                  <a:pt x="317623" y="88086"/>
                  <a:pt x="320838" y="88086"/>
                  <a:pt x="324696" y="88086"/>
                </a:cubicBezTo>
                <a:cubicBezTo>
                  <a:pt x="378062" y="88086"/>
                  <a:pt x="421783" y="131807"/>
                  <a:pt x="421783" y="185173"/>
                </a:cubicBezTo>
                <a:cubicBezTo>
                  <a:pt x="421783" y="212177"/>
                  <a:pt x="410210" y="238539"/>
                  <a:pt x="389634" y="257185"/>
                </a:cubicBezTo>
                <a:cubicBezTo>
                  <a:pt x="375490" y="271973"/>
                  <a:pt x="354272" y="281617"/>
                  <a:pt x="331768" y="281617"/>
                </a:cubicBezTo>
                <a:lnTo>
                  <a:pt x="331768" y="281617"/>
                </a:lnTo>
                <a:close/>
                <a:moveTo>
                  <a:pt x="79727" y="155597"/>
                </a:moveTo>
                <a:cubicBezTo>
                  <a:pt x="54652" y="155597"/>
                  <a:pt x="33434" y="176171"/>
                  <a:pt x="33434" y="201890"/>
                </a:cubicBezTo>
                <a:cubicBezTo>
                  <a:pt x="33434" y="226965"/>
                  <a:pt x="54009" y="248183"/>
                  <a:pt x="79727" y="248183"/>
                </a:cubicBezTo>
                <a:lnTo>
                  <a:pt x="331768" y="248183"/>
                </a:lnTo>
                <a:cubicBezTo>
                  <a:pt x="344627" y="248183"/>
                  <a:pt x="356844" y="242396"/>
                  <a:pt x="365845" y="232752"/>
                </a:cubicBezTo>
                <a:cubicBezTo>
                  <a:pt x="380634" y="219250"/>
                  <a:pt x="387706" y="202533"/>
                  <a:pt x="387706" y="185173"/>
                </a:cubicBezTo>
                <a:cubicBezTo>
                  <a:pt x="387706" y="150453"/>
                  <a:pt x="359416" y="122163"/>
                  <a:pt x="324696" y="122163"/>
                </a:cubicBezTo>
                <a:cubicBezTo>
                  <a:pt x="318266" y="122163"/>
                  <a:pt x="311836" y="123449"/>
                  <a:pt x="305407" y="125377"/>
                </a:cubicBezTo>
                <a:cubicBezTo>
                  <a:pt x="300263" y="127306"/>
                  <a:pt x="295119" y="126020"/>
                  <a:pt x="290619" y="123449"/>
                </a:cubicBezTo>
                <a:cubicBezTo>
                  <a:pt x="286118" y="120877"/>
                  <a:pt x="283546" y="115733"/>
                  <a:pt x="282903" y="110589"/>
                </a:cubicBezTo>
                <a:cubicBezTo>
                  <a:pt x="278403" y="66868"/>
                  <a:pt x="242397" y="34077"/>
                  <a:pt x="198032" y="34077"/>
                </a:cubicBezTo>
                <a:cubicBezTo>
                  <a:pt x="151096" y="34077"/>
                  <a:pt x="113161" y="72012"/>
                  <a:pt x="113161" y="118948"/>
                </a:cubicBezTo>
                <a:cubicBezTo>
                  <a:pt x="113161" y="124734"/>
                  <a:pt x="113805" y="129878"/>
                  <a:pt x="115090" y="135665"/>
                </a:cubicBezTo>
                <a:cubicBezTo>
                  <a:pt x="116376" y="140809"/>
                  <a:pt x="115090" y="145952"/>
                  <a:pt x="111875" y="149810"/>
                </a:cubicBezTo>
                <a:cubicBezTo>
                  <a:pt x="108661" y="153668"/>
                  <a:pt x="103517" y="156240"/>
                  <a:pt x="99016" y="156240"/>
                </a:cubicBezTo>
                <a:lnTo>
                  <a:pt x="79727" y="156240"/>
                </a:lnTo>
                <a:lnTo>
                  <a:pt x="79727" y="155597"/>
                </a:lnTo>
                <a:close/>
              </a:path>
            </a:pathLst>
          </a:custGeom>
          <a:solidFill>
            <a:srgbClr val="B1B1A1"/>
          </a:solidFill>
          <a:ln w="64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grpSp>
        <p:nvGrpSpPr>
          <p:cNvPr id="347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9460870" y="1534315"/>
            <a:ext cx="415909" cy="419078"/>
            <a:chOff x="9508195" y="1557575"/>
            <a:chExt cx="421783" cy="424997"/>
          </a:xfrm>
          <a:solidFill>
            <a:srgbClr val="B1B1A1"/>
          </a:solidFill>
        </p:grpSpPr>
        <p:sp>
          <p:nvSpPr>
            <p:cNvPr id="348" name="Forma Livre: Forma 347">
              <a:extLst>
                <a:ext uri="{FF2B5EF4-FFF2-40B4-BE49-F238E27FC236}">
                  <a16:creationId xmlns:a16="http://schemas.microsoft.com/office/drawing/2014/main" id="{6C9C149C-9031-4E11-B41B-9659A1AAE0D2}"/>
                </a:ext>
              </a:extLst>
            </p:cNvPr>
            <p:cNvSpPr/>
            <p:nvPr/>
          </p:nvSpPr>
          <p:spPr>
            <a:xfrm>
              <a:off x="9508195" y="1557575"/>
              <a:ext cx="421783" cy="281617"/>
            </a:xfrm>
            <a:custGeom>
              <a:avLst/>
              <a:gdLst>
                <a:gd name="connsiteX0" fmla="*/ 331769 w 421783"/>
                <a:gd name="connsiteY0" fmla="*/ 280974 h 281617"/>
                <a:gd name="connsiteX1" fmla="*/ 315051 w 421783"/>
                <a:gd name="connsiteY1" fmla="*/ 264257 h 281617"/>
                <a:gd name="connsiteX2" fmla="*/ 331769 w 421783"/>
                <a:gd name="connsiteY2" fmla="*/ 247540 h 281617"/>
                <a:gd name="connsiteX3" fmla="*/ 365845 w 421783"/>
                <a:gd name="connsiteY3" fmla="*/ 232109 h 281617"/>
                <a:gd name="connsiteX4" fmla="*/ 387706 w 421783"/>
                <a:gd name="connsiteY4" fmla="*/ 184530 h 281617"/>
                <a:gd name="connsiteX5" fmla="*/ 324696 w 421783"/>
                <a:gd name="connsiteY5" fmla="*/ 121520 h 281617"/>
                <a:gd name="connsiteX6" fmla="*/ 305407 w 421783"/>
                <a:gd name="connsiteY6" fmla="*/ 124734 h 281617"/>
                <a:gd name="connsiteX7" fmla="*/ 290619 w 421783"/>
                <a:gd name="connsiteY7" fmla="*/ 122806 h 281617"/>
                <a:gd name="connsiteX8" fmla="*/ 282903 w 421783"/>
                <a:gd name="connsiteY8" fmla="*/ 109946 h 281617"/>
                <a:gd name="connsiteX9" fmla="*/ 198032 w 421783"/>
                <a:gd name="connsiteY9" fmla="*/ 33434 h 281617"/>
                <a:gd name="connsiteX10" fmla="*/ 113162 w 421783"/>
                <a:gd name="connsiteY10" fmla="*/ 118305 h 281617"/>
                <a:gd name="connsiteX11" fmla="*/ 115090 w 421783"/>
                <a:gd name="connsiteY11" fmla="*/ 135022 h 281617"/>
                <a:gd name="connsiteX12" fmla="*/ 111875 w 421783"/>
                <a:gd name="connsiteY12" fmla="*/ 149167 h 281617"/>
                <a:gd name="connsiteX13" fmla="*/ 99016 w 421783"/>
                <a:gd name="connsiteY13" fmla="*/ 155597 h 281617"/>
                <a:gd name="connsiteX14" fmla="*/ 79727 w 421783"/>
                <a:gd name="connsiteY14" fmla="*/ 155597 h 281617"/>
                <a:gd name="connsiteX15" fmla="*/ 33434 w 421783"/>
                <a:gd name="connsiteY15" fmla="*/ 201890 h 281617"/>
                <a:gd name="connsiteX16" fmla="*/ 79727 w 421783"/>
                <a:gd name="connsiteY16" fmla="*/ 248183 h 281617"/>
                <a:gd name="connsiteX17" fmla="*/ 96444 w 421783"/>
                <a:gd name="connsiteY17" fmla="*/ 264900 h 281617"/>
                <a:gd name="connsiteX18" fmla="*/ 79727 w 421783"/>
                <a:gd name="connsiteY18" fmla="*/ 281617 h 281617"/>
                <a:gd name="connsiteX19" fmla="*/ 0 w 421783"/>
                <a:gd name="connsiteY19" fmla="*/ 201890 h 281617"/>
                <a:gd name="connsiteX20" fmla="*/ 79727 w 421783"/>
                <a:gd name="connsiteY20" fmla="*/ 122163 h 281617"/>
                <a:gd name="connsiteX21" fmla="*/ 79727 w 421783"/>
                <a:gd name="connsiteY21" fmla="*/ 122163 h 281617"/>
                <a:gd name="connsiteX22" fmla="*/ 79727 w 421783"/>
                <a:gd name="connsiteY22" fmla="*/ 118948 h 281617"/>
                <a:gd name="connsiteX23" fmla="*/ 198675 w 421783"/>
                <a:gd name="connsiteY23" fmla="*/ 0 h 281617"/>
                <a:gd name="connsiteX24" fmla="*/ 313765 w 421783"/>
                <a:gd name="connsiteY24" fmla="*/ 88729 h 281617"/>
                <a:gd name="connsiteX25" fmla="*/ 324696 w 421783"/>
                <a:gd name="connsiteY25" fmla="*/ 88086 h 281617"/>
                <a:gd name="connsiteX26" fmla="*/ 421783 w 421783"/>
                <a:gd name="connsiteY26" fmla="*/ 185173 h 281617"/>
                <a:gd name="connsiteX27" fmla="*/ 389635 w 421783"/>
                <a:gd name="connsiteY27" fmla="*/ 257185 h 281617"/>
                <a:gd name="connsiteX28" fmla="*/ 331769 w 421783"/>
                <a:gd name="connsiteY28" fmla="*/ 280974 h 281617"/>
                <a:gd name="connsiteX29" fmla="*/ 331769 w 421783"/>
                <a:gd name="connsiteY29" fmla="*/ 280974 h 281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21783" h="281617">
                  <a:moveTo>
                    <a:pt x="331769" y="280974"/>
                  </a:moveTo>
                  <a:cubicBezTo>
                    <a:pt x="322124" y="280974"/>
                    <a:pt x="315051" y="273259"/>
                    <a:pt x="315051" y="264257"/>
                  </a:cubicBezTo>
                  <a:cubicBezTo>
                    <a:pt x="315051" y="254613"/>
                    <a:pt x="322767" y="247540"/>
                    <a:pt x="331769" y="247540"/>
                  </a:cubicBezTo>
                  <a:cubicBezTo>
                    <a:pt x="344628" y="247540"/>
                    <a:pt x="356844" y="241754"/>
                    <a:pt x="365845" y="232109"/>
                  </a:cubicBezTo>
                  <a:cubicBezTo>
                    <a:pt x="380634" y="218607"/>
                    <a:pt x="387706" y="201890"/>
                    <a:pt x="387706" y="184530"/>
                  </a:cubicBezTo>
                  <a:cubicBezTo>
                    <a:pt x="387706" y="149810"/>
                    <a:pt x="359416" y="121520"/>
                    <a:pt x="324696" y="121520"/>
                  </a:cubicBezTo>
                  <a:cubicBezTo>
                    <a:pt x="318266" y="121520"/>
                    <a:pt x="311836" y="122806"/>
                    <a:pt x="305407" y="124734"/>
                  </a:cubicBezTo>
                  <a:cubicBezTo>
                    <a:pt x="300263" y="126663"/>
                    <a:pt x="295119" y="125377"/>
                    <a:pt x="290619" y="122806"/>
                  </a:cubicBezTo>
                  <a:cubicBezTo>
                    <a:pt x="286118" y="120234"/>
                    <a:pt x="283547" y="115090"/>
                    <a:pt x="282903" y="109946"/>
                  </a:cubicBezTo>
                  <a:cubicBezTo>
                    <a:pt x="278403" y="66225"/>
                    <a:pt x="242397" y="33434"/>
                    <a:pt x="198032" y="33434"/>
                  </a:cubicBezTo>
                  <a:cubicBezTo>
                    <a:pt x="151096" y="33434"/>
                    <a:pt x="113162" y="71369"/>
                    <a:pt x="113162" y="118305"/>
                  </a:cubicBezTo>
                  <a:cubicBezTo>
                    <a:pt x="113162" y="124092"/>
                    <a:pt x="113805" y="129235"/>
                    <a:pt x="115090" y="135022"/>
                  </a:cubicBezTo>
                  <a:cubicBezTo>
                    <a:pt x="116377" y="140166"/>
                    <a:pt x="115090" y="145309"/>
                    <a:pt x="111875" y="149167"/>
                  </a:cubicBezTo>
                  <a:cubicBezTo>
                    <a:pt x="108661" y="153025"/>
                    <a:pt x="103517" y="155597"/>
                    <a:pt x="99016" y="155597"/>
                  </a:cubicBezTo>
                  <a:lnTo>
                    <a:pt x="79727" y="155597"/>
                  </a:lnTo>
                  <a:cubicBezTo>
                    <a:pt x="54652" y="155597"/>
                    <a:pt x="33434" y="176171"/>
                    <a:pt x="33434" y="201890"/>
                  </a:cubicBezTo>
                  <a:cubicBezTo>
                    <a:pt x="33434" y="226965"/>
                    <a:pt x="54009" y="248183"/>
                    <a:pt x="79727" y="248183"/>
                  </a:cubicBezTo>
                  <a:cubicBezTo>
                    <a:pt x="89372" y="248183"/>
                    <a:pt x="96444" y="255899"/>
                    <a:pt x="96444" y="264900"/>
                  </a:cubicBezTo>
                  <a:cubicBezTo>
                    <a:pt x="96444" y="274545"/>
                    <a:pt x="88729" y="281617"/>
                    <a:pt x="79727" y="281617"/>
                  </a:cubicBezTo>
                  <a:cubicBezTo>
                    <a:pt x="35363" y="281617"/>
                    <a:pt x="0" y="245611"/>
                    <a:pt x="0" y="201890"/>
                  </a:cubicBezTo>
                  <a:cubicBezTo>
                    <a:pt x="0" y="157526"/>
                    <a:pt x="36006" y="122163"/>
                    <a:pt x="79727" y="122163"/>
                  </a:cubicBezTo>
                  <a:lnTo>
                    <a:pt x="79727" y="122163"/>
                  </a:lnTo>
                  <a:cubicBezTo>
                    <a:pt x="79727" y="120877"/>
                    <a:pt x="79727" y="120234"/>
                    <a:pt x="79727" y="118948"/>
                  </a:cubicBezTo>
                  <a:cubicBezTo>
                    <a:pt x="79727" y="53366"/>
                    <a:pt x="133093" y="0"/>
                    <a:pt x="198675" y="0"/>
                  </a:cubicBezTo>
                  <a:cubicBezTo>
                    <a:pt x="253970" y="0"/>
                    <a:pt x="300263" y="37292"/>
                    <a:pt x="313765" y="88729"/>
                  </a:cubicBezTo>
                  <a:cubicBezTo>
                    <a:pt x="317623" y="88086"/>
                    <a:pt x="320838" y="88086"/>
                    <a:pt x="324696" y="88086"/>
                  </a:cubicBezTo>
                  <a:cubicBezTo>
                    <a:pt x="378062" y="88086"/>
                    <a:pt x="421783" y="131807"/>
                    <a:pt x="421783" y="185173"/>
                  </a:cubicBezTo>
                  <a:cubicBezTo>
                    <a:pt x="421783" y="212177"/>
                    <a:pt x="410210" y="238539"/>
                    <a:pt x="389635" y="257185"/>
                  </a:cubicBezTo>
                  <a:cubicBezTo>
                    <a:pt x="375490" y="271330"/>
                    <a:pt x="354272" y="280974"/>
                    <a:pt x="331769" y="280974"/>
                  </a:cubicBezTo>
                  <a:lnTo>
                    <a:pt x="331769" y="280974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349" name="Gráfico 2">
              <a:extLst>
                <a:ext uri="{FF2B5EF4-FFF2-40B4-BE49-F238E27FC236}">
                  <a16:creationId xmlns:a16="http://schemas.microsoft.com/office/drawing/2014/main" id="{40F8E44F-B406-439F-8B63-82F15B4E8194}"/>
                </a:ext>
              </a:extLst>
            </p:cNvPr>
            <p:cNvGrpSpPr/>
            <p:nvPr/>
          </p:nvGrpSpPr>
          <p:grpSpPr>
            <a:xfrm>
              <a:off x="9545809" y="1805437"/>
              <a:ext cx="340769" cy="177135"/>
              <a:chOff x="9545809" y="1805437"/>
              <a:chExt cx="340769" cy="177135"/>
            </a:xfrm>
            <a:grpFill/>
          </p:grpSpPr>
          <p:sp>
            <p:nvSpPr>
              <p:cNvPr id="350" name="Forma Livre: Forma 349">
                <a:extLst>
                  <a:ext uri="{FF2B5EF4-FFF2-40B4-BE49-F238E27FC236}">
                    <a16:creationId xmlns:a16="http://schemas.microsoft.com/office/drawing/2014/main" id="{51570729-7D48-4D6B-AE90-78D6104824C5}"/>
                  </a:ext>
                </a:extLst>
              </p:cNvPr>
              <p:cNvSpPr/>
              <p:nvPr/>
            </p:nvSpPr>
            <p:spPr>
              <a:xfrm>
                <a:off x="9545809" y="1885164"/>
                <a:ext cx="340769" cy="97408"/>
              </a:xfrm>
              <a:custGeom>
                <a:avLst/>
                <a:gdLst>
                  <a:gd name="connsiteX0" fmla="*/ 170706 w 340769"/>
                  <a:gd name="connsiteY0" fmla="*/ 97409 h 97408"/>
                  <a:gd name="connsiteX1" fmla="*/ 4822 w 340769"/>
                  <a:gd name="connsiteY1" fmla="*/ 28612 h 97408"/>
                  <a:gd name="connsiteX2" fmla="*/ 4822 w 340769"/>
                  <a:gd name="connsiteY2" fmla="*/ 4822 h 97408"/>
                  <a:gd name="connsiteX3" fmla="*/ 28611 w 340769"/>
                  <a:gd name="connsiteY3" fmla="*/ 4822 h 97408"/>
                  <a:gd name="connsiteX4" fmla="*/ 312157 w 340769"/>
                  <a:gd name="connsiteY4" fmla="*/ 4822 h 97408"/>
                  <a:gd name="connsiteX5" fmla="*/ 335947 w 340769"/>
                  <a:gd name="connsiteY5" fmla="*/ 4822 h 97408"/>
                  <a:gd name="connsiteX6" fmla="*/ 335947 w 340769"/>
                  <a:gd name="connsiteY6" fmla="*/ 28612 h 97408"/>
                  <a:gd name="connsiteX7" fmla="*/ 170706 w 340769"/>
                  <a:gd name="connsiteY7" fmla="*/ 97409 h 97408"/>
                  <a:gd name="connsiteX8" fmla="*/ 170706 w 340769"/>
                  <a:gd name="connsiteY8" fmla="*/ 97409 h 97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0769" h="97408">
                    <a:moveTo>
                      <a:pt x="170706" y="97409"/>
                    </a:moveTo>
                    <a:cubicBezTo>
                      <a:pt x="110911" y="97409"/>
                      <a:pt x="50472" y="74262"/>
                      <a:pt x="4822" y="28612"/>
                    </a:cubicBezTo>
                    <a:cubicBezTo>
                      <a:pt x="-1607" y="22182"/>
                      <a:pt x="-1607" y="11252"/>
                      <a:pt x="4822" y="4822"/>
                    </a:cubicBezTo>
                    <a:cubicBezTo>
                      <a:pt x="11252" y="-1607"/>
                      <a:pt x="22182" y="-1607"/>
                      <a:pt x="28611" y="4822"/>
                    </a:cubicBezTo>
                    <a:cubicBezTo>
                      <a:pt x="107052" y="83263"/>
                      <a:pt x="233716" y="83263"/>
                      <a:pt x="312157" y="4822"/>
                    </a:cubicBezTo>
                    <a:cubicBezTo>
                      <a:pt x="318587" y="-1607"/>
                      <a:pt x="329518" y="-1607"/>
                      <a:pt x="335947" y="4822"/>
                    </a:cubicBezTo>
                    <a:cubicBezTo>
                      <a:pt x="342377" y="11252"/>
                      <a:pt x="342377" y="22182"/>
                      <a:pt x="335947" y="28612"/>
                    </a:cubicBezTo>
                    <a:cubicBezTo>
                      <a:pt x="290940" y="74262"/>
                      <a:pt x="231144" y="97409"/>
                      <a:pt x="170706" y="97409"/>
                    </a:cubicBezTo>
                    <a:lnTo>
                      <a:pt x="170706" y="97409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51" name="Forma Livre: Forma 350">
                <a:extLst>
                  <a:ext uri="{FF2B5EF4-FFF2-40B4-BE49-F238E27FC236}">
                    <a16:creationId xmlns:a16="http://schemas.microsoft.com/office/drawing/2014/main" id="{7FB81D47-2FD1-4ADC-AA7A-777FDBA75A8B}"/>
                  </a:ext>
                </a:extLst>
              </p:cNvPr>
              <p:cNvSpPr/>
              <p:nvPr/>
            </p:nvSpPr>
            <p:spPr>
              <a:xfrm>
                <a:off x="9583743" y="1847229"/>
                <a:ext cx="264900" cy="81334"/>
              </a:xfrm>
              <a:custGeom>
                <a:avLst/>
                <a:gdLst>
                  <a:gd name="connsiteX0" fmla="*/ 132772 w 264900"/>
                  <a:gd name="connsiteY0" fmla="*/ 81335 h 81334"/>
                  <a:gd name="connsiteX1" fmla="*/ 4822 w 264900"/>
                  <a:gd name="connsiteY1" fmla="*/ 28612 h 81334"/>
                  <a:gd name="connsiteX2" fmla="*/ 4822 w 264900"/>
                  <a:gd name="connsiteY2" fmla="*/ 4822 h 81334"/>
                  <a:gd name="connsiteX3" fmla="*/ 28612 w 264900"/>
                  <a:gd name="connsiteY3" fmla="*/ 4822 h 81334"/>
                  <a:gd name="connsiteX4" fmla="*/ 236288 w 264900"/>
                  <a:gd name="connsiteY4" fmla="*/ 4822 h 81334"/>
                  <a:gd name="connsiteX5" fmla="*/ 260078 w 264900"/>
                  <a:gd name="connsiteY5" fmla="*/ 4822 h 81334"/>
                  <a:gd name="connsiteX6" fmla="*/ 260078 w 264900"/>
                  <a:gd name="connsiteY6" fmla="*/ 28612 h 81334"/>
                  <a:gd name="connsiteX7" fmla="*/ 132772 w 264900"/>
                  <a:gd name="connsiteY7" fmla="*/ 81335 h 81334"/>
                  <a:gd name="connsiteX8" fmla="*/ 132772 w 264900"/>
                  <a:gd name="connsiteY8" fmla="*/ 81335 h 813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64900" h="81334">
                    <a:moveTo>
                      <a:pt x="132772" y="81335"/>
                    </a:moveTo>
                    <a:cubicBezTo>
                      <a:pt x="86479" y="81335"/>
                      <a:pt x="40185" y="63975"/>
                      <a:pt x="4822" y="28612"/>
                    </a:cubicBezTo>
                    <a:cubicBezTo>
                      <a:pt x="-1607" y="22182"/>
                      <a:pt x="-1607" y="11252"/>
                      <a:pt x="4822" y="4822"/>
                    </a:cubicBezTo>
                    <a:cubicBezTo>
                      <a:pt x="11252" y="-1607"/>
                      <a:pt x="22183" y="-1607"/>
                      <a:pt x="28612" y="4822"/>
                    </a:cubicBezTo>
                    <a:cubicBezTo>
                      <a:pt x="85836" y="62046"/>
                      <a:pt x="179065" y="62046"/>
                      <a:pt x="236288" y="4822"/>
                    </a:cubicBezTo>
                    <a:cubicBezTo>
                      <a:pt x="242718" y="-1607"/>
                      <a:pt x="253649" y="-1607"/>
                      <a:pt x="260078" y="4822"/>
                    </a:cubicBezTo>
                    <a:cubicBezTo>
                      <a:pt x="266508" y="11252"/>
                      <a:pt x="266508" y="22182"/>
                      <a:pt x="260078" y="28612"/>
                    </a:cubicBezTo>
                    <a:cubicBezTo>
                      <a:pt x="225358" y="63975"/>
                      <a:pt x="179065" y="81335"/>
                      <a:pt x="132772" y="81335"/>
                    </a:cubicBezTo>
                    <a:lnTo>
                      <a:pt x="132772" y="81335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52" name="Forma Livre: Forma 351">
                <a:extLst>
                  <a:ext uri="{FF2B5EF4-FFF2-40B4-BE49-F238E27FC236}">
                    <a16:creationId xmlns:a16="http://schemas.microsoft.com/office/drawing/2014/main" id="{5AF070FC-F3EE-4BDC-9C18-C3FCB0F98B7A}"/>
                  </a:ext>
                </a:extLst>
              </p:cNvPr>
              <p:cNvSpPr/>
              <p:nvPr/>
            </p:nvSpPr>
            <p:spPr>
              <a:xfrm>
                <a:off x="9624893" y="1805437"/>
                <a:ext cx="181958" cy="64617"/>
              </a:xfrm>
              <a:custGeom>
                <a:avLst/>
                <a:gdLst>
                  <a:gd name="connsiteX0" fmla="*/ 91622 w 181958"/>
                  <a:gd name="connsiteY0" fmla="*/ 64618 h 64617"/>
                  <a:gd name="connsiteX1" fmla="*/ 4822 w 181958"/>
                  <a:gd name="connsiteY1" fmla="*/ 28612 h 64617"/>
                  <a:gd name="connsiteX2" fmla="*/ 4822 w 181958"/>
                  <a:gd name="connsiteY2" fmla="*/ 4822 h 64617"/>
                  <a:gd name="connsiteX3" fmla="*/ 28612 w 181958"/>
                  <a:gd name="connsiteY3" fmla="*/ 4822 h 64617"/>
                  <a:gd name="connsiteX4" fmla="*/ 153346 w 181958"/>
                  <a:gd name="connsiteY4" fmla="*/ 4822 h 64617"/>
                  <a:gd name="connsiteX5" fmla="*/ 177136 w 181958"/>
                  <a:gd name="connsiteY5" fmla="*/ 4822 h 64617"/>
                  <a:gd name="connsiteX6" fmla="*/ 177136 w 181958"/>
                  <a:gd name="connsiteY6" fmla="*/ 28612 h 64617"/>
                  <a:gd name="connsiteX7" fmla="*/ 91622 w 181958"/>
                  <a:gd name="connsiteY7" fmla="*/ 64618 h 64617"/>
                  <a:gd name="connsiteX8" fmla="*/ 91622 w 181958"/>
                  <a:gd name="connsiteY8" fmla="*/ 64618 h 64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81958" h="64617">
                    <a:moveTo>
                      <a:pt x="91622" y="64618"/>
                    </a:moveTo>
                    <a:cubicBezTo>
                      <a:pt x="60117" y="64618"/>
                      <a:pt x="29255" y="52401"/>
                      <a:pt x="4822" y="28612"/>
                    </a:cubicBezTo>
                    <a:cubicBezTo>
                      <a:pt x="-1607" y="22182"/>
                      <a:pt x="-1607" y="11252"/>
                      <a:pt x="4822" y="4822"/>
                    </a:cubicBezTo>
                    <a:cubicBezTo>
                      <a:pt x="11252" y="-1607"/>
                      <a:pt x="22183" y="-1607"/>
                      <a:pt x="28612" y="4822"/>
                    </a:cubicBezTo>
                    <a:cubicBezTo>
                      <a:pt x="63332" y="39542"/>
                      <a:pt x="119270" y="39542"/>
                      <a:pt x="153346" y="4822"/>
                    </a:cubicBezTo>
                    <a:cubicBezTo>
                      <a:pt x="159776" y="-1607"/>
                      <a:pt x="170707" y="-1607"/>
                      <a:pt x="177136" y="4822"/>
                    </a:cubicBezTo>
                    <a:cubicBezTo>
                      <a:pt x="183566" y="11252"/>
                      <a:pt x="183566" y="22182"/>
                      <a:pt x="177136" y="28612"/>
                    </a:cubicBezTo>
                    <a:cubicBezTo>
                      <a:pt x="154633" y="53044"/>
                      <a:pt x="123127" y="64618"/>
                      <a:pt x="91622" y="64618"/>
                    </a:cubicBezTo>
                    <a:lnTo>
                      <a:pt x="91622" y="64618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353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10491131" y="1543825"/>
            <a:ext cx="415909" cy="400692"/>
            <a:chOff x="10553007" y="1567219"/>
            <a:chExt cx="421783" cy="406351"/>
          </a:xfrm>
          <a:solidFill>
            <a:srgbClr val="B1B1A1"/>
          </a:solidFill>
        </p:grpSpPr>
        <p:sp>
          <p:nvSpPr>
            <p:cNvPr id="354" name="Forma Livre: Forma 353">
              <a:extLst>
                <a:ext uri="{FF2B5EF4-FFF2-40B4-BE49-F238E27FC236}">
                  <a16:creationId xmlns:a16="http://schemas.microsoft.com/office/drawing/2014/main" id="{2564D459-3B2D-41C0-98A8-DD09BB31327C}"/>
                </a:ext>
              </a:extLst>
            </p:cNvPr>
            <p:cNvSpPr/>
            <p:nvPr/>
          </p:nvSpPr>
          <p:spPr>
            <a:xfrm>
              <a:off x="10553007" y="1567219"/>
              <a:ext cx="421783" cy="281617"/>
            </a:xfrm>
            <a:custGeom>
              <a:avLst/>
              <a:gdLst>
                <a:gd name="connsiteX0" fmla="*/ 331769 w 421783"/>
                <a:gd name="connsiteY0" fmla="*/ 280331 h 281617"/>
                <a:gd name="connsiteX1" fmla="*/ 291262 w 421783"/>
                <a:gd name="connsiteY1" fmla="*/ 280331 h 281617"/>
                <a:gd name="connsiteX2" fmla="*/ 274545 w 421783"/>
                <a:gd name="connsiteY2" fmla="*/ 263614 h 281617"/>
                <a:gd name="connsiteX3" fmla="*/ 291262 w 421783"/>
                <a:gd name="connsiteY3" fmla="*/ 246897 h 281617"/>
                <a:gd name="connsiteX4" fmla="*/ 331769 w 421783"/>
                <a:gd name="connsiteY4" fmla="*/ 246897 h 281617"/>
                <a:gd name="connsiteX5" fmla="*/ 365845 w 421783"/>
                <a:gd name="connsiteY5" fmla="*/ 231466 h 281617"/>
                <a:gd name="connsiteX6" fmla="*/ 387706 w 421783"/>
                <a:gd name="connsiteY6" fmla="*/ 183887 h 281617"/>
                <a:gd name="connsiteX7" fmla="*/ 324696 w 421783"/>
                <a:gd name="connsiteY7" fmla="*/ 120877 h 281617"/>
                <a:gd name="connsiteX8" fmla="*/ 305407 w 421783"/>
                <a:gd name="connsiteY8" fmla="*/ 124092 h 281617"/>
                <a:gd name="connsiteX9" fmla="*/ 290619 w 421783"/>
                <a:gd name="connsiteY9" fmla="*/ 122163 h 281617"/>
                <a:gd name="connsiteX10" fmla="*/ 282903 w 421783"/>
                <a:gd name="connsiteY10" fmla="*/ 109946 h 281617"/>
                <a:gd name="connsiteX11" fmla="*/ 198032 w 421783"/>
                <a:gd name="connsiteY11" fmla="*/ 33434 h 281617"/>
                <a:gd name="connsiteX12" fmla="*/ 113162 w 421783"/>
                <a:gd name="connsiteY12" fmla="*/ 118305 h 281617"/>
                <a:gd name="connsiteX13" fmla="*/ 115090 w 421783"/>
                <a:gd name="connsiteY13" fmla="*/ 135022 h 281617"/>
                <a:gd name="connsiteX14" fmla="*/ 111875 w 421783"/>
                <a:gd name="connsiteY14" fmla="*/ 149167 h 281617"/>
                <a:gd name="connsiteX15" fmla="*/ 99016 w 421783"/>
                <a:gd name="connsiteY15" fmla="*/ 155597 h 281617"/>
                <a:gd name="connsiteX16" fmla="*/ 79727 w 421783"/>
                <a:gd name="connsiteY16" fmla="*/ 155597 h 281617"/>
                <a:gd name="connsiteX17" fmla="*/ 33434 w 421783"/>
                <a:gd name="connsiteY17" fmla="*/ 201890 h 281617"/>
                <a:gd name="connsiteX18" fmla="*/ 79727 w 421783"/>
                <a:gd name="connsiteY18" fmla="*/ 248183 h 281617"/>
                <a:gd name="connsiteX19" fmla="*/ 129879 w 421783"/>
                <a:gd name="connsiteY19" fmla="*/ 248183 h 281617"/>
                <a:gd name="connsiteX20" fmla="*/ 146596 w 421783"/>
                <a:gd name="connsiteY20" fmla="*/ 264900 h 281617"/>
                <a:gd name="connsiteX21" fmla="*/ 129879 w 421783"/>
                <a:gd name="connsiteY21" fmla="*/ 281617 h 281617"/>
                <a:gd name="connsiteX22" fmla="*/ 79727 w 421783"/>
                <a:gd name="connsiteY22" fmla="*/ 281617 h 281617"/>
                <a:gd name="connsiteX23" fmla="*/ 0 w 421783"/>
                <a:gd name="connsiteY23" fmla="*/ 201890 h 281617"/>
                <a:gd name="connsiteX24" fmla="*/ 79727 w 421783"/>
                <a:gd name="connsiteY24" fmla="*/ 122163 h 281617"/>
                <a:gd name="connsiteX25" fmla="*/ 79727 w 421783"/>
                <a:gd name="connsiteY25" fmla="*/ 122163 h 281617"/>
                <a:gd name="connsiteX26" fmla="*/ 79727 w 421783"/>
                <a:gd name="connsiteY26" fmla="*/ 118948 h 281617"/>
                <a:gd name="connsiteX27" fmla="*/ 198675 w 421783"/>
                <a:gd name="connsiteY27" fmla="*/ 0 h 281617"/>
                <a:gd name="connsiteX28" fmla="*/ 313765 w 421783"/>
                <a:gd name="connsiteY28" fmla="*/ 88729 h 281617"/>
                <a:gd name="connsiteX29" fmla="*/ 324696 w 421783"/>
                <a:gd name="connsiteY29" fmla="*/ 88086 h 281617"/>
                <a:gd name="connsiteX30" fmla="*/ 421783 w 421783"/>
                <a:gd name="connsiteY30" fmla="*/ 185173 h 281617"/>
                <a:gd name="connsiteX31" fmla="*/ 389635 w 421783"/>
                <a:gd name="connsiteY31" fmla="*/ 257185 h 281617"/>
                <a:gd name="connsiteX32" fmla="*/ 331769 w 421783"/>
                <a:gd name="connsiteY32" fmla="*/ 280331 h 281617"/>
                <a:gd name="connsiteX33" fmla="*/ 331769 w 421783"/>
                <a:gd name="connsiteY33" fmla="*/ 280331 h 281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421783" h="281617">
                  <a:moveTo>
                    <a:pt x="331769" y="280331"/>
                  </a:moveTo>
                  <a:lnTo>
                    <a:pt x="291262" y="280331"/>
                  </a:lnTo>
                  <a:cubicBezTo>
                    <a:pt x="281617" y="280331"/>
                    <a:pt x="274545" y="272616"/>
                    <a:pt x="274545" y="263614"/>
                  </a:cubicBezTo>
                  <a:cubicBezTo>
                    <a:pt x="274545" y="253970"/>
                    <a:pt x="282260" y="246897"/>
                    <a:pt x="291262" y="246897"/>
                  </a:cubicBezTo>
                  <a:lnTo>
                    <a:pt x="331769" y="246897"/>
                  </a:lnTo>
                  <a:cubicBezTo>
                    <a:pt x="344628" y="246897"/>
                    <a:pt x="356844" y="241754"/>
                    <a:pt x="365845" y="231466"/>
                  </a:cubicBezTo>
                  <a:cubicBezTo>
                    <a:pt x="380634" y="217964"/>
                    <a:pt x="387706" y="201247"/>
                    <a:pt x="387706" y="183887"/>
                  </a:cubicBezTo>
                  <a:cubicBezTo>
                    <a:pt x="387706" y="149167"/>
                    <a:pt x="359416" y="120877"/>
                    <a:pt x="324696" y="120877"/>
                  </a:cubicBezTo>
                  <a:cubicBezTo>
                    <a:pt x="318266" y="120877"/>
                    <a:pt x="311836" y="122163"/>
                    <a:pt x="305407" y="124092"/>
                  </a:cubicBezTo>
                  <a:cubicBezTo>
                    <a:pt x="300263" y="126020"/>
                    <a:pt x="295119" y="124734"/>
                    <a:pt x="290619" y="122163"/>
                  </a:cubicBezTo>
                  <a:cubicBezTo>
                    <a:pt x="286118" y="119591"/>
                    <a:pt x="283547" y="114447"/>
                    <a:pt x="282903" y="109946"/>
                  </a:cubicBezTo>
                  <a:cubicBezTo>
                    <a:pt x="278403" y="66225"/>
                    <a:pt x="242397" y="33434"/>
                    <a:pt x="198032" y="33434"/>
                  </a:cubicBezTo>
                  <a:cubicBezTo>
                    <a:pt x="151096" y="33434"/>
                    <a:pt x="113162" y="71369"/>
                    <a:pt x="113162" y="118305"/>
                  </a:cubicBezTo>
                  <a:cubicBezTo>
                    <a:pt x="113162" y="124092"/>
                    <a:pt x="113805" y="129235"/>
                    <a:pt x="115090" y="135022"/>
                  </a:cubicBezTo>
                  <a:cubicBezTo>
                    <a:pt x="116377" y="140166"/>
                    <a:pt x="115090" y="145309"/>
                    <a:pt x="111875" y="149167"/>
                  </a:cubicBezTo>
                  <a:cubicBezTo>
                    <a:pt x="108661" y="153025"/>
                    <a:pt x="103517" y="155597"/>
                    <a:pt x="99016" y="155597"/>
                  </a:cubicBezTo>
                  <a:lnTo>
                    <a:pt x="79727" y="155597"/>
                  </a:lnTo>
                  <a:cubicBezTo>
                    <a:pt x="54652" y="155597"/>
                    <a:pt x="33434" y="176171"/>
                    <a:pt x="33434" y="201890"/>
                  </a:cubicBezTo>
                  <a:cubicBezTo>
                    <a:pt x="33434" y="226965"/>
                    <a:pt x="54009" y="248183"/>
                    <a:pt x="79727" y="248183"/>
                  </a:cubicBezTo>
                  <a:lnTo>
                    <a:pt x="129879" y="248183"/>
                  </a:lnTo>
                  <a:cubicBezTo>
                    <a:pt x="139523" y="248183"/>
                    <a:pt x="146596" y="255899"/>
                    <a:pt x="146596" y="264900"/>
                  </a:cubicBezTo>
                  <a:cubicBezTo>
                    <a:pt x="146596" y="274545"/>
                    <a:pt x="138880" y="281617"/>
                    <a:pt x="129879" y="281617"/>
                  </a:cubicBezTo>
                  <a:lnTo>
                    <a:pt x="79727" y="281617"/>
                  </a:lnTo>
                  <a:cubicBezTo>
                    <a:pt x="35363" y="281617"/>
                    <a:pt x="0" y="245611"/>
                    <a:pt x="0" y="201890"/>
                  </a:cubicBezTo>
                  <a:cubicBezTo>
                    <a:pt x="0" y="157526"/>
                    <a:pt x="36006" y="122163"/>
                    <a:pt x="79727" y="122163"/>
                  </a:cubicBezTo>
                  <a:lnTo>
                    <a:pt x="79727" y="122163"/>
                  </a:lnTo>
                  <a:cubicBezTo>
                    <a:pt x="79727" y="120877"/>
                    <a:pt x="79727" y="120234"/>
                    <a:pt x="79727" y="118948"/>
                  </a:cubicBezTo>
                  <a:cubicBezTo>
                    <a:pt x="79727" y="53366"/>
                    <a:pt x="133093" y="0"/>
                    <a:pt x="198675" y="0"/>
                  </a:cubicBezTo>
                  <a:cubicBezTo>
                    <a:pt x="253970" y="0"/>
                    <a:pt x="300263" y="37292"/>
                    <a:pt x="313765" y="88729"/>
                  </a:cubicBezTo>
                  <a:cubicBezTo>
                    <a:pt x="317623" y="88086"/>
                    <a:pt x="320838" y="88086"/>
                    <a:pt x="324696" y="88086"/>
                  </a:cubicBezTo>
                  <a:cubicBezTo>
                    <a:pt x="378062" y="88086"/>
                    <a:pt x="421783" y="131807"/>
                    <a:pt x="421783" y="185173"/>
                  </a:cubicBezTo>
                  <a:cubicBezTo>
                    <a:pt x="421783" y="212177"/>
                    <a:pt x="410210" y="238539"/>
                    <a:pt x="389635" y="257185"/>
                  </a:cubicBezTo>
                  <a:cubicBezTo>
                    <a:pt x="376132" y="270687"/>
                    <a:pt x="354272" y="280331"/>
                    <a:pt x="331769" y="280331"/>
                  </a:cubicBezTo>
                  <a:lnTo>
                    <a:pt x="331769" y="280331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355" name="Gráfico 2">
              <a:extLst>
                <a:ext uri="{FF2B5EF4-FFF2-40B4-BE49-F238E27FC236}">
                  <a16:creationId xmlns:a16="http://schemas.microsoft.com/office/drawing/2014/main" id="{40F8E44F-B406-439F-8B63-82F15B4E8194}"/>
                </a:ext>
              </a:extLst>
            </p:cNvPr>
            <p:cNvGrpSpPr/>
            <p:nvPr/>
          </p:nvGrpSpPr>
          <p:grpSpPr>
            <a:xfrm>
              <a:off x="10648295" y="1722816"/>
              <a:ext cx="230201" cy="250754"/>
              <a:chOff x="10648295" y="1722816"/>
              <a:chExt cx="230201" cy="250754"/>
            </a:xfrm>
            <a:grpFill/>
          </p:grpSpPr>
          <p:sp>
            <p:nvSpPr>
              <p:cNvPr id="356" name="Forma Livre: Forma 355">
                <a:extLst>
                  <a:ext uri="{FF2B5EF4-FFF2-40B4-BE49-F238E27FC236}">
                    <a16:creationId xmlns:a16="http://schemas.microsoft.com/office/drawing/2014/main" id="{DE06B030-9CAA-4D5E-BE7A-D7E287EF0151}"/>
                  </a:ext>
                </a:extLst>
              </p:cNvPr>
              <p:cNvSpPr/>
              <p:nvPr/>
            </p:nvSpPr>
            <p:spPr>
              <a:xfrm>
                <a:off x="10648295" y="1867975"/>
                <a:ext cx="230201" cy="105595"/>
              </a:xfrm>
              <a:custGeom>
                <a:avLst/>
                <a:gdLst>
                  <a:gd name="connsiteX0" fmla="*/ 115605 w 230201"/>
                  <a:gd name="connsiteY0" fmla="*/ 105595 h 105595"/>
                  <a:gd name="connsiteX1" fmla="*/ 105317 w 230201"/>
                  <a:gd name="connsiteY1" fmla="*/ 102381 h 105595"/>
                  <a:gd name="connsiteX2" fmla="*/ 6944 w 230201"/>
                  <a:gd name="connsiteY2" fmla="*/ 31012 h 105595"/>
                  <a:gd name="connsiteX3" fmla="*/ 3086 w 230201"/>
                  <a:gd name="connsiteY3" fmla="*/ 7222 h 105595"/>
                  <a:gd name="connsiteX4" fmla="*/ 26876 w 230201"/>
                  <a:gd name="connsiteY4" fmla="*/ 3365 h 105595"/>
                  <a:gd name="connsiteX5" fmla="*/ 114962 w 230201"/>
                  <a:gd name="connsiteY5" fmla="*/ 67661 h 105595"/>
                  <a:gd name="connsiteX6" fmla="*/ 203047 w 230201"/>
                  <a:gd name="connsiteY6" fmla="*/ 3365 h 105595"/>
                  <a:gd name="connsiteX7" fmla="*/ 226837 w 230201"/>
                  <a:gd name="connsiteY7" fmla="*/ 7222 h 105595"/>
                  <a:gd name="connsiteX8" fmla="*/ 222979 w 230201"/>
                  <a:gd name="connsiteY8" fmla="*/ 31012 h 105595"/>
                  <a:gd name="connsiteX9" fmla="*/ 124606 w 230201"/>
                  <a:gd name="connsiteY9" fmla="*/ 102381 h 105595"/>
                  <a:gd name="connsiteX10" fmla="*/ 115605 w 230201"/>
                  <a:gd name="connsiteY10" fmla="*/ 105595 h 105595"/>
                  <a:gd name="connsiteX11" fmla="*/ 115605 w 230201"/>
                  <a:gd name="connsiteY11" fmla="*/ 105595 h 105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30201" h="105595">
                    <a:moveTo>
                      <a:pt x="115605" y="105595"/>
                    </a:moveTo>
                    <a:cubicBezTo>
                      <a:pt x="112390" y="105595"/>
                      <a:pt x="108532" y="104310"/>
                      <a:pt x="105317" y="102381"/>
                    </a:cubicBezTo>
                    <a:lnTo>
                      <a:pt x="6944" y="31012"/>
                    </a:lnTo>
                    <a:cubicBezTo>
                      <a:pt x="-771" y="25225"/>
                      <a:pt x="-2058" y="14938"/>
                      <a:pt x="3086" y="7222"/>
                    </a:cubicBezTo>
                    <a:cubicBezTo>
                      <a:pt x="8873" y="-493"/>
                      <a:pt x="19160" y="-1779"/>
                      <a:pt x="26876" y="3365"/>
                    </a:cubicBezTo>
                    <a:lnTo>
                      <a:pt x="114962" y="67661"/>
                    </a:lnTo>
                    <a:lnTo>
                      <a:pt x="203047" y="3365"/>
                    </a:lnTo>
                    <a:cubicBezTo>
                      <a:pt x="210763" y="-2422"/>
                      <a:pt x="221050" y="-493"/>
                      <a:pt x="226837" y="7222"/>
                    </a:cubicBezTo>
                    <a:cubicBezTo>
                      <a:pt x="232623" y="14938"/>
                      <a:pt x="230695" y="25225"/>
                      <a:pt x="222979" y="31012"/>
                    </a:cubicBezTo>
                    <a:lnTo>
                      <a:pt x="124606" y="102381"/>
                    </a:lnTo>
                    <a:cubicBezTo>
                      <a:pt x="122677" y="104953"/>
                      <a:pt x="118819" y="105595"/>
                      <a:pt x="115605" y="105595"/>
                    </a:cubicBezTo>
                    <a:lnTo>
                      <a:pt x="115605" y="105595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57" name="Forma Livre: Forma 356">
                <a:extLst>
                  <a:ext uri="{FF2B5EF4-FFF2-40B4-BE49-F238E27FC236}">
                    <a16:creationId xmlns:a16="http://schemas.microsoft.com/office/drawing/2014/main" id="{481BD6E0-85B8-432C-9C98-4A583BE0C4E4}"/>
                  </a:ext>
                </a:extLst>
              </p:cNvPr>
              <p:cNvSpPr/>
              <p:nvPr/>
            </p:nvSpPr>
            <p:spPr>
              <a:xfrm>
                <a:off x="10747182" y="1722816"/>
                <a:ext cx="33433" cy="250754"/>
              </a:xfrm>
              <a:custGeom>
                <a:avLst/>
                <a:gdLst>
                  <a:gd name="connsiteX0" fmla="*/ 16717 w 33433"/>
                  <a:gd name="connsiteY0" fmla="*/ 250755 h 250754"/>
                  <a:gd name="connsiteX1" fmla="*/ 0 w 33433"/>
                  <a:gd name="connsiteY1" fmla="*/ 234038 h 250754"/>
                  <a:gd name="connsiteX2" fmla="*/ 0 w 33433"/>
                  <a:gd name="connsiteY2" fmla="*/ 16717 h 250754"/>
                  <a:gd name="connsiteX3" fmla="*/ 16717 w 33433"/>
                  <a:gd name="connsiteY3" fmla="*/ 0 h 250754"/>
                  <a:gd name="connsiteX4" fmla="*/ 33434 w 33433"/>
                  <a:gd name="connsiteY4" fmla="*/ 16717 h 250754"/>
                  <a:gd name="connsiteX5" fmla="*/ 33434 w 33433"/>
                  <a:gd name="connsiteY5" fmla="*/ 234038 h 250754"/>
                  <a:gd name="connsiteX6" fmla="*/ 16717 w 33433"/>
                  <a:gd name="connsiteY6" fmla="*/ 250755 h 250754"/>
                  <a:gd name="connsiteX7" fmla="*/ 16717 w 33433"/>
                  <a:gd name="connsiteY7" fmla="*/ 250755 h 2507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433" h="250754">
                    <a:moveTo>
                      <a:pt x="16717" y="250755"/>
                    </a:moveTo>
                    <a:cubicBezTo>
                      <a:pt x="7072" y="250755"/>
                      <a:pt x="0" y="243039"/>
                      <a:pt x="0" y="234038"/>
                    </a:cubicBezTo>
                    <a:lnTo>
                      <a:pt x="0" y="16717"/>
                    </a:lnTo>
                    <a:cubicBezTo>
                      <a:pt x="0" y="7073"/>
                      <a:pt x="7715" y="0"/>
                      <a:pt x="16717" y="0"/>
                    </a:cubicBezTo>
                    <a:cubicBezTo>
                      <a:pt x="26361" y="0"/>
                      <a:pt x="33434" y="7716"/>
                      <a:pt x="33434" y="16717"/>
                    </a:cubicBezTo>
                    <a:lnTo>
                      <a:pt x="33434" y="234038"/>
                    </a:lnTo>
                    <a:cubicBezTo>
                      <a:pt x="33434" y="243682"/>
                      <a:pt x="26361" y="250755"/>
                      <a:pt x="16717" y="250755"/>
                    </a:cubicBezTo>
                    <a:lnTo>
                      <a:pt x="16717" y="250755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358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3334462" y="1556506"/>
            <a:ext cx="375332" cy="374064"/>
            <a:chOff x="3295260" y="1580079"/>
            <a:chExt cx="380633" cy="379347"/>
          </a:xfrm>
          <a:solidFill>
            <a:srgbClr val="B1B1A1"/>
          </a:solidFill>
        </p:grpSpPr>
        <p:sp>
          <p:nvSpPr>
            <p:cNvPr id="359" name="Forma Livre: Forma 358">
              <a:extLst>
                <a:ext uri="{FF2B5EF4-FFF2-40B4-BE49-F238E27FC236}">
                  <a16:creationId xmlns:a16="http://schemas.microsoft.com/office/drawing/2014/main" id="{E5726FFA-CE52-41AC-AF2C-8380F33668F8}"/>
                </a:ext>
              </a:extLst>
            </p:cNvPr>
            <p:cNvSpPr/>
            <p:nvPr/>
          </p:nvSpPr>
          <p:spPr>
            <a:xfrm>
              <a:off x="3295903" y="1580079"/>
              <a:ext cx="379990" cy="379347"/>
            </a:xfrm>
            <a:custGeom>
              <a:avLst/>
              <a:gdLst>
                <a:gd name="connsiteX0" fmla="*/ 362630 w 379990"/>
                <a:gd name="connsiteY0" fmla="*/ 379347 h 379347"/>
                <a:gd name="connsiteX1" fmla="*/ 345913 w 379990"/>
                <a:gd name="connsiteY1" fmla="*/ 362630 h 379347"/>
                <a:gd name="connsiteX2" fmla="*/ 16717 w 379990"/>
                <a:gd name="connsiteY2" fmla="*/ 33434 h 379347"/>
                <a:gd name="connsiteX3" fmla="*/ 0 w 379990"/>
                <a:gd name="connsiteY3" fmla="*/ 16717 h 379347"/>
                <a:gd name="connsiteX4" fmla="*/ 16717 w 379990"/>
                <a:gd name="connsiteY4" fmla="*/ 0 h 379347"/>
                <a:gd name="connsiteX5" fmla="*/ 379990 w 379990"/>
                <a:gd name="connsiteY5" fmla="*/ 363273 h 379347"/>
                <a:gd name="connsiteX6" fmla="*/ 362630 w 379990"/>
                <a:gd name="connsiteY6" fmla="*/ 379347 h 379347"/>
                <a:gd name="connsiteX7" fmla="*/ 362630 w 379990"/>
                <a:gd name="connsiteY7" fmla="*/ 379347 h 379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9990" h="379347">
                  <a:moveTo>
                    <a:pt x="362630" y="379347"/>
                  </a:moveTo>
                  <a:cubicBezTo>
                    <a:pt x="352986" y="379347"/>
                    <a:pt x="345913" y="371632"/>
                    <a:pt x="345913" y="362630"/>
                  </a:cubicBezTo>
                  <a:cubicBezTo>
                    <a:pt x="345913" y="181315"/>
                    <a:pt x="198032" y="33434"/>
                    <a:pt x="16717" y="33434"/>
                  </a:cubicBezTo>
                  <a:cubicBezTo>
                    <a:pt x="7073" y="33434"/>
                    <a:pt x="0" y="25718"/>
                    <a:pt x="0" y="16717"/>
                  </a:cubicBezTo>
                  <a:cubicBezTo>
                    <a:pt x="0" y="7716"/>
                    <a:pt x="7716" y="0"/>
                    <a:pt x="16717" y="0"/>
                  </a:cubicBezTo>
                  <a:cubicBezTo>
                    <a:pt x="216678" y="0"/>
                    <a:pt x="379990" y="162669"/>
                    <a:pt x="379990" y="363273"/>
                  </a:cubicBezTo>
                  <a:cubicBezTo>
                    <a:pt x="379347" y="371632"/>
                    <a:pt x="371632" y="379347"/>
                    <a:pt x="362630" y="379347"/>
                  </a:cubicBezTo>
                  <a:lnTo>
                    <a:pt x="362630" y="379347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60" name="Forma Livre: Forma 359">
              <a:extLst>
                <a:ext uri="{FF2B5EF4-FFF2-40B4-BE49-F238E27FC236}">
                  <a16:creationId xmlns:a16="http://schemas.microsoft.com/office/drawing/2014/main" id="{C042B3D8-53BC-4719-8AE3-61F39F40450C}"/>
                </a:ext>
              </a:extLst>
            </p:cNvPr>
            <p:cNvSpPr/>
            <p:nvPr/>
          </p:nvSpPr>
          <p:spPr>
            <a:xfrm>
              <a:off x="3295260" y="1681666"/>
              <a:ext cx="278402" cy="277759"/>
            </a:xfrm>
            <a:custGeom>
              <a:avLst/>
              <a:gdLst>
                <a:gd name="connsiteX0" fmla="*/ 261042 w 278402"/>
                <a:gd name="connsiteY0" fmla="*/ 277759 h 277759"/>
                <a:gd name="connsiteX1" fmla="*/ 244325 w 278402"/>
                <a:gd name="connsiteY1" fmla="*/ 261042 h 277759"/>
                <a:gd name="connsiteX2" fmla="*/ 16717 w 278402"/>
                <a:gd name="connsiteY2" fmla="*/ 33434 h 277759"/>
                <a:gd name="connsiteX3" fmla="*/ 0 w 278402"/>
                <a:gd name="connsiteY3" fmla="*/ 16717 h 277759"/>
                <a:gd name="connsiteX4" fmla="*/ 16717 w 278402"/>
                <a:gd name="connsiteY4" fmla="*/ 0 h 277759"/>
                <a:gd name="connsiteX5" fmla="*/ 278402 w 278402"/>
                <a:gd name="connsiteY5" fmla="*/ 261685 h 277759"/>
                <a:gd name="connsiteX6" fmla="*/ 261042 w 278402"/>
                <a:gd name="connsiteY6" fmla="*/ 277759 h 277759"/>
                <a:gd name="connsiteX7" fmla="*/ 261042 w 278402"/>
                <a:gd name="connsiteY7" fmla="*/ 277759 h 277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8402" h="277759">
                  <a:moveTo>
                    <a:pt x="261042" y="277759"/>
                  </a:moveTo>
                  <a:cubicBezTo>
                    <a:pt x="251398" y="277759"/>
                    <a:pt x="244325" y="270044"/>
                    <a:pt x="244325" y="261042"/>
                  </a:cubicBezTo>
                  <a:cubicBezTo>
                    <a:pt x="244325" y="135665"/>
                    <a:pt x="142095" y="33434"/>
                    <a:pt x="16717" y="33434"/>
                  </a:cubicBezTo>
                  <a:cubicBezTo>
                    <a:pt x="7073" y="33434"/>
                    <a:pt x="0" y="25718"/>
                    <a:pt x="0" y="16717"/>
                  </a:cubicBezTo>
                  <a:cubicBezTo>
                    <a:pt x="0" y="7073"/>
                    <a:pt x="7716" y="0"/>
                    <a:pt x="16717" y="0"/>
                  </a:cubicBezTo>
                  <a:cubicBezTo>
                    <a:pt x="160740" y="0"/>
                    <a:pt x="278402" y="117019"/>
                    <a:pt x="278402" y="261685"/>
                  </a:cubicBezTo>
                  <a:cubicBezTo>
                    <a:pt x="278402" y="270044"/>
                    <a:pt x="270687" y="277759"/>
                    <a:pt x="261042" y="277759"/>
                  </a:cubicBezTo>
                  <a:lnTo>
                    <a:pt x="261042" y="277759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61" name="Forma Livre: Forma 360">
              <a:extLst>
                <a:ext uri="{FF2B5EF4-FFF2-40B4-BE49-F238E27FC236}">
                  <a16:creationId xmlns:a16="http://schemas.microsoft.com/office/drawing/2014/main" id="{FF464958-0EB4-4F8B-A2B7-66682FB4C823}"/>
                </a:ext>
              </a:extLst>
            </p:cNvPr>
            <p:cNvSpPr/>
            <p:nvPr/>
          </p:nvSpPr>
          <p:spPr>
            <a:xfrm>
              <a:off x="3295903" y="1789041"/>
              <a:ext cx="171027" cy="170384"/>
            </a:xfrm>
            <a:custGeom>
              <a:avLst/>
              <a:gdLst>
                <a:gd name="connsiteX0" fmla="*/ 153668 w 171027"/>
                <a:gd name="connsiteY0" fmla="*/ 170385 h 170384"/>
                <a:gd name="connsiteX1" fmla="*/ 136951 w 171027"/>
                <a:gd name="connsiteY1" fmla="*/ 153668 h 170384"/>
                <a:gd name="connsiteX2" fmla="*/ 16717 w 171027"/>
                <a:gd name="connsiteY2" fmla="*/ 33434 h 170384"/>
                <a:gd name="connsiteX3" fmla="*/ 0 w 171027"/>
                <a:gd name="connsiteY3" fmla="*/ 16717 h 170384"/>
                <a:gd name="connsiteX4" fmla="*/ 16717 w 171027"/>
                <a:gd name="connsiteY4" fmla="*/ 0 h 170384"/>
                <a:gd name="connsiteX5" fmla="*/ 171028 w 171027"/>
                <a:gd name="connsiteY5" fmla="*/ 154311 h 170384"/>
                <a:gd name="connsiteX6" fmla="*/ 153668 w 171027"/>
                <a:gd name="connsiteY6" fmla="*/ 170385 h 170384"/>
                <a:gd name="connsiteX7" fmla="*/ 153668 w 171027"/>
                <a:gd name="connsiteY7" fmla="*/ 170385 h 170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027" h="170384">
                  <a:moveTo>
                    <a:pt x="153668" y="170385"/>
                  </a:moveTo>
                  <a:cubicBezTo>
                    <a:pt x="144023" y="170385"/>
                    <a:pt x="136951" y="162669"/>
                    <a:pt x="136951" y="153668"/>
                  </a:cubicBezTo>
                  <a:cubicBezTo>
                    <a:pt x="136951" y="87443"/>
                    <a:pt x="82942" y="33434"/>
                    <a:pt x="16717" y="33434"/>
                  </a:cubicBezTo>
                  <a:cubicBezTo>
                    <a:pt x="7073" y="33434"/>
                    <a:pt x="0" y="25718"/>
                    <a:pt x="0" y="16717"/>
                  </a:cubicBezTo>
                  <a:cubicBezTo>
                    <a:pt x="0" y="7716"/>
                    <a:pt x="7716" y="0"/>
                    <a:pt x="16717" y="0"/>
                  </a:cubicBezTo>
                  <a:cubicBezTo>
                    <a:pt x="101588" y="0"/>
                    <a:pt x="171028" y="69440"/>
                    <a:pt x="171028" y="154311"/>
                  </a:cubicBezTo>
                  <a:cubicBezTo>
                    <a:pt x="170385" y="162669"/>
                    <a:pt x="162669" y="170385"/>
                    <a:pt x="153668" y="170385"/>
                  </a:cubicBezTo>
                  <a:lnTo>
                    <a:pt x="153668" y="170385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62" name="Forma Livre: Forma 361">
              <a:extLst>
                <a:ext uri="{FF2B5EF4-FFF2-40B4-BE49-F238E27FC236}">
                  <a16:creationId xmlns:a16="http://schemas.microsoft.com/office/drawing/2014/main" id="{0B99E49C-DCA2-45BE-8385-F3D6391D8214}"/>
                </a:ext>
              </a:extLst>
            </p:cNvPr>
            <p:cNvSpPr/>
            <p:nvPr/>
          </p:nvSpPr>
          <p:spPr>
            <a:xfrm>
              <a:off x="3302975" y="1882270"/>
              <a:ext cx="61724" cy="61724"/>
            </a:xfrm>
            <a:custGeom>
              <a:avLst/>
              <a:gdLst>
                <a:gd name="connsiteX0" fmla="*/ 30862 w 61724"/>
                <a:gd name="connsiteY0" fmla="*/ 0 h 61724"/>
                <a:gd name="connsiteX1" fmla="*/ 0 w 61724"/>
                <a:gd name="connsiteY1" fmla="*/ 30862 h 61724"/>
                <a:gd name="connsiteX2" fmla="*/ 30862 w 61724"/>
                <a:gd name="connsiteY2" fmla="*/ 61724 h 61724"/>
                <a:gd name="connsiteX3" fmla="*/ 61724 w 61724"/>
                <a:gd name="connsiteY3" fmla="*/ 30862 h 61724"/>
                <a:gd name="connsiteX4" fmla="*/ 30862 w 61724"/>
                <a:gd name="connsiteY4" fmla="*/ 0 h 61724"/>
                <a:gd name="connsiteX5" fmla="*/ 30862 w 61724"/>
                <a:gd name="connsiteY5" fmla="*/ 0 h 61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724" h="61724">
                  <a:moveTo>
                    <a:pt x="30862" y="0"/>
                  </a:moveTo>
                  <a:cubicBezTo>
                    <a:pt x="14145" y="0"/>
                    <a:pt x="0" y="13502"/>
                    <a:pt x="0" y="30862"/>
                  </a:cubicBezTo>
                  <a:cubicBezTo>
                    <a:pt x="0" y="47579"/>
                    <a:pt x="13502" y="61724"/>
                    <a:pt x="30862" y="61724"/>
                  </a:cubicBezTo>
                  <a:cubicBezTo>
                    <a:pt x="47579" y="61724"/>
                    <a:pt x="61724" y="48222"/>
                    <a:pt x="61724" y="30862"/>
                  </a:cubicBezTo>
                  <a:cubicBezTo>
                    <a:pt x="61081" y="13502"/>
                    <a:pt x="47579" y="0"/>
                    <a:pt x="30862" y="0"/>
                  </a:cubicBezTo>
                  <a:lnTo>
                    <a:pt x="30862" y="0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63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4339680" y="1572513"/>
            <a:ext cx="415908" cy="325087"/>
            <a:chOff x="4314675" y="1596313"/>
            <a:chExt cx="421782" cy="329678"/>
          </a:xfrm>
          <a:solidFill>
            <a:srgbClr val="B1B1A1"/>
          </a:solidFill>
        </p:grpSpPr>
        <p:sp>
          <p:nvSpPr>
            <p:cNvPr id="364" name="Forma Livre: Forma 363">
              <a:extLst>
                <a:ext uri="{FF2B5EF4-FFF2-40B4-BE49-F238E27FC236}">
                  <a16:creationId xmlns:a16="http://schemas.microsoft.com/office/drawing/2014/main" id="{180EB726-972C-4DA8-AF52-F2E7F9DD24EB}"/>
                </a:ext>
              </a:extLst>
            </p:cNvPr>
            <p:cNvSpPr/>
            <p:nvPr/>
          </p:nvSpPr>
          <p:spPr>
            <a:xfrm>
              <a:off x="4314675" y="1596313"/>
              <a:ext cx="421782" cy="114286"/>
            </a:xfrm>
            <a:custGeom>
              <a:avLst/>
              <a:gdLst>
                <a:gd name="connsiteX0" fmla="*/ 17038 w 421782"/>
                <a:gd name="connsiteY0" fmla="*/ 114286 h 114286"/>
                <a:gd name="connsiteX1" fmla="*/ 4822 w 421782"/>
                <a:gd name="connsiteY1" fmla="*/ 109143 h 114286"/>
                <a:gd name="connsiteX2" fmla="*/ 4822 w 421782"/>
                <a:gd name="connsiteY2" fmla="*/ 85353 h 114286"/>
                <a:gd name="connsiteX3" fmla="*/ 416960 w 421782"/>
                <a:gd name="connsiteY3" fmla="*/ 85353 h 114286"/>
                <a:gd name="connsiteX4" fmla="*/ 416960 w 421782"/>
                <a:gd name="connsiteY4" fmla="*/ 109143 h 114286"/>
                <a:gd name="connsiteX5" fmla="*/ 393171 w 421782"/>
                <a:gd name="connsiteY5" fmla="*/ 109143 h 114286"/>
                <a:gd name="connsiteX6" fmla="*/ 29255 w 421782"/>
                <a:gd name="connsiteY6" fmla="*/ 109143 h 114286"/>
                <a:gd name="connsiteX7" fmla="*/ 17038 w 421782"/>
                <a:gd name="connsiteY7" fmla="*/ 114286 h 114286"/>
                <a:gd name="connsiteX8" fmla="*/ 17038 w 421782"/>
                <a:gd name="connsiteY8" fmla="*/ 114286 h 114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1782" h="114286">
                  <a:moveTo>
                    <a:pt x="17038" y="114286"/>
                  </a:moveTo>
                  <a:cubicBezTo>
                    <a:pt x="12538" y="114286"/>
                    <a:pt x="8037" y="112357"/>
                    <a:pt x="4822" y="109143"/>
                  </a:cubicBezTo>
                  <a:cubicBezTo>
                    <a:pt x="-1607" y="102713"/>
                    <a:pt x="-1607" y="91783"/>
                    <a:pt x="4822" y="85353"/>
                  </a:cubicBezTo>
                  <a:cubicBezTo>
                    <a:pt x="118626" y="-28451"/>
                    <a:pt x="303156" y="-28451"/>
                    <a:pt x="416960" y="85353"/>
                  </a:cubicBezTo>
                  <a:cubicBezTo>
                    <a:pt x="423390" y="91783"/>
                    <a:pt x="423390" y="102713"/>
                    <a:pt x="416960" y="109143"/>
                  </a:cubicBezTo>
                  <a:cubicBezTo>
                    <a:pt x="410531" y="115572"/>
                    <a:pt x="399600" y="115572"/>
                    <a:pt x="393171" y="109143"/>
                  </a:cubicBezTo>
                  <a:cubicBezTo>
                    <a:pt x="292869" y="8841"/>
                    <a:pt x="129557" y="8841"/>
                    <a:pt x="29255" y="109143"/>
                  </a:cubicBezTo>
                  <a:cubicBezTo>
                    <a:pt x="26040" y="112357"/>
                    <a:pt x="21539" y="114286"/>
                    <a:pt x="17038" y="114286"/>
                  </a:cubicBezTo>
                  <a:lnTo>
                    <a:pt x="17038" y="114286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65" name="Forma Livre: Forma 364">
              <a:extLst>
                <a:ext uri="{FF2B5EF4-FFF2-40B4-BE49-F238E27FC236}">
                  <a16:creationId xmlns:a16="http://schemas.microsoft.com/office/drawing/2014/main" id="{FA3F3E7D-E5AF-4DB0-AECC-16E5DE322D4B}"/>
                </a:ext>
              </a:extLst>
            </p:cNvPr>
            <p:cNvSpPr/>
            <p:nvPr/>
          </p:nvSpPr>
          <p:spPr>
            <a:xfrm>
              <a:off x="4371899" y="1676523"/>
              <a:ext cx="307978" cy="90657"/>
            </a:xfrm>
            <a:custGeom>
              <a:avLst/>
              <a:gdLst>
                <a:gd name="connsiteX0" fmla="*/ 17038 w 307978"/>
                <a:gd name="connsiteY0" fmla="*/ 90658 h 90657"/>
                <a:gd name="connsiteX1" fmla="*/ 4822 w 307978"/>
                <a:gd name="connsiteY1" fmla="*/ 85514 h 90657"/>
                <a:gd name="connsiteX2" fmla="*/ 4822 w 307978"/>
                <a:gd name="connsiteY2" fmla="*/ 61724 h 90657"/>
                <a:gd name="connsiteX3" fmla="*/ 153989 w 307978"/>
                <a:gd name="connsiteY3" fmla="*/ 0 h 90657"/>
                <a:gd name="connsiteX4" fmla="*/ 153989 w 307978"/>
                <a:gd name="connsiteY4" fmla="*/ 0 h 90657"/>
                <a:gd name="connsiteX5" fmla="*/ 303156 w 307978"/>
                <a:gd name="connsiteY5" fmla="*/ 61724 h 90657"/>
                <a:gd name="connsiteX6" fmla="*/ 303156 w 307978"/>
                <a:gd name="connsiteY6" fmla="*/ 85514 h 90657"/>
                <a:gd name="connsiteX7" fmla="*/ 279367 w 307978"/>
                <a:gd name="connsiteY7" fmla="*/ 85514 h 90657"/>
                <a:gd name="connsiteX8" fmla="*/ 154632 w 307978"/>
                <a:gd name="connsiteY8" fmla="*/ 34077 h 90657"/>
                <a:gd name="connsiteX9" fmla="*/ 154632 w 307978"/>
                <a:gd name="connsiteY9" fmla="*/ 34077 h 90657"/>
                <a:gd name="connsiteX10" fmla="*/ 29898 w 307978"/>
                <a:gd name="connsiteY10" fmla="*/ 86157 h 90657"/>
                <a:gd name="connsiteX11" fmla="*/ 17038 w 307978"/>
                <a:gd name="connsiteY11" fmla="*/ 90658 h 90657"/>
                <a:gd name="connsiteX12" fmla="*/ 17038 w 307978"/>
                <a:gd name="connsiteY12" fmla="*/ 90658 h 90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7978" h="90657">
                  <a:moveTo>
                    <a:pt x="17038" y="90658"/>
                  </a:moveTo>
                  <a:cubicBezTo>
                    <a:pt x="12538" y="90658"/>
                    <a:pt x="8037" y="88729"/>
                    <a:pt x="4822" y="85514"/>
                  </a:cubicBezTo>
                  <a:cubicBezTo>
                    <a:pt x="-1607" y="79084"/>
                    <a:pt x="-1607" y="68154"/>
                    <a:pt x="4822" y="61724"/>
                  </a:cubicBezTo>
                  <a:cubicBezTo>
                    <a:pt x="44686" y="21861"/>
                    <a:pt x="97409" y="0"/>
                    <a:pt x="153989" y="0"/>
                  </a:cubicBezTo>
                  <a:cubicBezTo>
                    <a:pt x="153989" y="0"/>
                    <a:pt x="153989" y="0"/>
                    <a:pt x="153989" y="0"/>
                  </a:cubicBezTo>
                  <a:cubicBezTo>
                    <a:pt x="210570" y="0"/>
                    <a:pt x="263293" y="21861"/>
                    <a:pt x="303156" y="61724"/>
                  </a:cubicBezTo>
                  <a:cubicBezTo>
                    <a:pt x="309586" y="68154"/>
                    <a:pt x="309586" y="79084"/>
                    <a:pt x="303156" y="85514"/>
                  </a:cubicBezTo>
                  <a:cubicBezTo>
                    <a:pt x="296727" y="91944"/>
                    <a:pt x="285796" y="91944"/>
                    <a:pt x="279367" y="85514"/>
                  </a:cubicBezTo>
                  <a:cubicBezTo>
                    <a:pt x="245933" y="52080"/>
                    <a:pt x="201568" y="34077"/>
                    <a:pt x="154632" y="34077"/>
                  </a:cubicBezTo>
                  <a:cubicBezTo>
                    <a:pt x="154632" y="34077"/>
                    <a:pt x="154632" y="34077"/>
                    <a:pt x="154632" y="34077"/>
                  </a:cubicBezTo>
                  <a:cubicBezTo>
                    <a:pt x="107696" y="34077"/>
                    <a:pt x="63332" y="52723"/>
                    <a:pt x="29898" y="86157"/>
                  </a:cubicBezTo>
                  <a:cubicBezTo>
                    <a:pt x="25397" y="89372"/>
                    <a:pt x="21539" y="90658"/>
                    <a:pt x="17038" y="90658"/>
                  </a:cubicBezTo>
                  <a:lnTo>
                    <a:pt x="17038" y="90658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66" name="Forma Livre: Forma 365">
              <a:extLst>
                <a:ext uri="{FF2B5EF4-FFF2-40B4-BE49-F238E27FC236}">
                  <a16:creationId xmlns:a16="http://schemas.microsoft.com/office/drawing/2014/main" id="{62A12710-433B-4CEE-9B8C-949CCD959CEB}"/>
                </a:ext>
              </a:extLst>
            </p:cNvPr>
            <p:cNvSpPr/>
            <p:nvPr/>
          </p:nvSpPr>
          <p:spPr>
            <a:xfrm>
              <a:off x="4431694" y="1762037"/>
              <a:ext cx="187744" cy="65582"/>
            </a:xfrm>
            <a:custGeom>
              <a:avLst/>
              <a:gdLst>
                <a:gd name="connsiteX0" fmla="*/ 17038 w 187744"/>
                <a:gd name="connsiteY0" fmla="*/ 65582 h 65582"/>
                <a:gd name="connsiteX1" fmla="*/ 4822 w 187744"/>
                <a:gd name="connsiteY1" fmla="*/ 60438 h 65582"/>
                <a:gd name="connsiteX2" fmla="*/ 4822 w 187744"/>
                <a:gd name="connsiteY2" fmla="*/ 36649 h 65582"/>
                <a:gd name="connsiteX3" fmla="*/ 182922 w 187744"/>
                <a:gd name="connsiteY3" fmla="*/ 36649 h 65582"/>
                <a:gd name="connsiteX4" fmla="*/ 182922 w 187744"/>
                <a:gd name="connsiteY4" fmla="*/ 60438 h 65582"/>
                <a:gd name="connsiteX5" fmla="*/ 159133 w 187744"/>
                <a:gd name="connsiteY5" fmla="*/ 60438 h 65582"/>
                <a:gd name="connsiteX6" fmla="*/ 29255 w 187744"/>
                <a:gd name="connsiteY6" fmla="*/ 60438 h 65582"/>
                <a:gd name="connsiteX7" fmla="*/ 17038 w 187744"/>
                <a:gd name="connsiteY7" fmla="*/ 65582 h 65582"/>
                <a:gd name="connsiteX8" fmla="*/ 17038 w 187744"/>
                <a:gd name="connsiteY8" fmla="*/ 65582 h 65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7744" h="65582">
                  <a:moveTo>
                    <a:pt x="17038" y="65582"/>
                  </a:moveTo>
                  <a:cubicBezTo>
                    <a:pt x="12538" y="65582"/>
                    <a:pt x="8037" y="63653"/>
                    <a:pt x="4822" y="60438"/>
                  </a:cubicBezTo>
                  <a:cubicBezTo>
                    <a:pt x="-1607" y="54009"/>
                    <a:pt x="-1607" y="43078"/>
                    <a:pt x="4822" y="36649"/>
                  </a:cubicBezTo>
                  <a:cubicBezTo>
                    <a:pt x="53687" y="-12216"/>
                    <a:pt x="133415" y="-12216"/>
                    <a:pt x="182922" y="36649"/>
                  </a:cubicBezTo>
                  <a:cubicBezTo>
                    <a:pt x="189352" y="43078"/>
                    <a:pt x="189352" y="54009"/>
                    <a:pt x="182922" y="60438"/>
                  </a:cubicBezTo>
                  <a:cubicBezTo>
                    <a:pt x="176493" y="66868"/>
                    <a:pt x="165563" y="66868"/>
                    <a:pt x="159133" y="60438"/>
                  </a:cubicBezTo>
                  <a:cubicBezTo>
                    <a:pt x="123127" y="24433"/>
                    <a:pt x="65261" y="24433"/>
                    <a:pt x="29255" y="60438"/>
                  </a:cubicBezTo>
                  <a:cubicBezTo>
                    <a:pt x="26040" y="63653"/>
                    <a:pt x="21539" y="65582"/>
                    <a:pt x="17038" y="65582"/>
                  </a:cubicBezTo>
                  <a:lnTo>
                    <a:pt x="17038" y="65582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67" name="Forma Livre: Forma 366">
              <a:extLst>
                <a:ext uri="{FF2B5EF4-FFF2-40B4-BE49-F238E27FC236}">
                  <a16:creationId xmlns:a16="http://schemas.microsoft.com/office/drawing/2014/main" id="{24A624A8-5096-469E-B40B-3ADB2123C879}"/>
                </a:ext>
              </a:extLst>
            </p:cNvPr>
            <p:cNvSpPr/>
            <p:nvPr/>
          </p:nvSpPr>
          <p:spPr>
            <a:xfrm>
              <a:off x="4486667" y="1846908"/>
              <a:ext cx="78441" cy="79084"/>
            </a:xfrm>
            <a:custGeom>
              <a:avLst/>
              <a:gdLst>
                <a:gd name="connsiteX0" fmla="*/ 39221 w 78441"/>
                <a:gd name="connsiteY0" fmla="*/ 0 h 79084"/>
                <a:gd name="connsiteX1" fmla="*/ 11573 w 78441"/>
                <a:gd name="connsiteY1" fmla="*/ 11573 h 79084"/>
                <a:gd name="connsiteX2" fmla="*/ 11573 w 78441"/>
                <a:gd name="connsiteY2" fmla="*/ 67511 h 79084"/>
                <a:gd name="connsiteX3" fmla="*/ 39221 w 78441"/>
                <a:gd name="connsiteY3" fmla="*/ 79084 h 79084"/>
                <a:gd name="connsiteX4" fmla="*/ 66868 w 78441"/>
                <a:gd name="connsiteY4" fmla="*/ 67511 h 79084"/>
                <a:gd name="connsiteX5" fmla="*/ 66868 w 78441"/>
                <a:gd name="connsiteY5" fmla="*/ 11573 h 79084"/>
                <a:gd name="connsiteX6" fmla="*/ 39221 w 78441"/>
                <a:gd name="connsiteY6" fmla="*/ 0 h 79084"/>
                <a:gd name="connsiteX7" fmla="*/ 39221 w 78441"/>
                <a:gd name="connsiteY7" fmla="*/ 0 h 79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441" h="79084">
                  <a:moveTo>
                    <a:pt x="39221" y="0"/>
                  </a:moveTo>
                  <a:cubicBezTo>
                    <a:pt x="28933" y="0"/>
                    <a:pt x="19289" y="3858"/>
                    <a:pt x="11573" y="11573"/>
                  </a:cubicBezTo>
                  <a:cubicBezTo>
                    <a:pt x="-3858" y="27004"/>
                    <a:pt x="-3858" y="52080"/>
                    <a:pt x="11573" y="67511"/>
                  </a:cubicBezTo>
                  <a:cubicBezTo>
                    <a:pt x="19289" y="75226"/>
                    <a:pt x="29576" y="79084"/>
                    <a:pt x="39221" y="79084"/>
                  </a:cubicBezTo>
                  <a:cubicBezTo>
                    <a:pt x="49508" y="79084"/>
                    <a:pt x="59153" y="75226"/>
                    <a:pt x="66868" y="67511"/>
                  </a:cubicBezTo>
                  <a:cubicBezTo>
                    <a:pt x="82299" y="52080"/>
                    <a:pt x="82299" y="27004"/>
                    <a:pt x="66868" y="11573"/>
                  </a:cubicBezTo>
                  <a:cubicBezTo>
                    <a:pt x="59153" y="3858"/>
                    <a:pt x="49508" y="0"/>
                    <a:pt x="39221" y="0"/>
                  </a:cubicBezTo>
                  <a:lnTo>
                    <a:pt x="39221" y="0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68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5421929" y="1651606"/>
            <a:ext cx="303055" cy="245995"/>
            <a:chOff x="5412210" y="1676523"/>
            <a:chExt cx="307335" cy="249469"/>
          </a:xfrm>
          <a:solidFill>
            <a:srgbClr val="B1B1A1"/>
          </a:solidFill>
        </p:grpSpPr>
        <p:sp>
          <p:nvSpPr>
            <p:cNvPr id="369" name="Forma Livre: Forma 368">
              <a:extLst>
                <a:ext uri="{FF2B5EF4-FFF2-40B4-BE49-F238E27FC236}">
                  <a16:creationId xmlns:a16="http://schemas.microsoft.com/office/drawing/2014/main" id="{239D133F-C3E7-4F67-9E84-31DD6CC0C243}"/>
                </a:ext>
              </a:extLst>
            </p:cNvPr>
            <p:cNvSpPr/>
            <p:nvPr/>
          </p:nvSpPr>
          <p:spPr>
            <a:xfrm>
              <a:off x="5412210" y="1676523"/>
              <a:ext cx="307335" cy="90657"/>
            </a:xfrm>
            <a:custGeom>
              <a:avLst/>
              <a:gdLst>
                <a:gd name="connsiteX0" fmla="*/ 17038 w 307335"/>
                <a:gd name="connsiteY0" fmla="*/ 90658 h 90657"/>
                <a:gd name="connsiteX1" fmla="*/ 4822 w 307335"/>
                <a:gd name="connsiteY1" fmla="*/ 85514 h 90657"/>
                <a:gd name="connsiteX2" fmla="*/ 4822 w 307335"/>
                <a:gd name="connsiteY2" fmla="*/ 61724 h 90657"/>
                <a:gd name="connsiteX3" fmla="*/ 302513 w 307335"/>
                <a:gd name="connsiteY3" fmla="*/ 61724 h 90657"/>
                <a:gd name="connsiteX4" fmla="*/ 302513 w 307335"/>
                <a:gd name="connsiteY4" fmla="*/ 85514 h 90657"/>
                <a:gd name="connsiteX5" fmla="*/ 278724 w 307335"/>
                <a:gd name="connsiteY5" fmla="*/ 85514 h 90657"/>
                <a:gd name="connsiteX6" fmla="*/ 28611 w 307335"/>
                <a:gd name="connsiteY6" fmla="*/ 85514 h 90657"/>
                <a:gd name="connsiteX7" fmla="*/ 17038 w 307335"/>
                <a:gd name="connsiteY7" fmla="*/ 90658 h 90657"/>
                <a:gd name="connsiteX8" fmla="*/ 17038 w 307335"/>
                <a:gd name="connsiteY8" fmla="*/ 90658 h 90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7335" h="90657">
                  <a:moveTo>
                    <a:pt x="17038" y="90658"/>
                  </a:moveTo>
                  <a:cubicBezTo>
                    <a:pt x="12537" y="90658"/>
                    <a:pt x="8037" y="88729"/>
                    <a:pt x="4822" y="85514"/>
                  </a:cubicBezTo>
                  <a:cubicBezTo>
                    <a:pt x="-1607" y="79084"/>
                    <a:pt x="-1607" y="68154"/>
                    <a:pt x="4822" y="61724"/>
                  </a:cubicBezTo>
                  <a:cubicBezTo>
                    <a:pt x="87121" y="-20575"/>
                    <a:pt x="220857" y="-20575"/>
                    <a:pt x="302513" y="61724"/>
                  </a:cubicBezTo>
                  <a:cubicBezTo>
                    <a:pt x="308943" y="68154"/>
                    <a:pt x="308943" y="79084"/>
                    <a:pt x="302513" y="85514"/>
                  </a:cubicBezTo>
                  <a:cubicBezTo>
                    <a:pt x="296084" y="91943"/>
                    <a:pt x="285153" y="91943"/>
                    <a:pt x="278724" y="85514"/>
                  </a:cubicBezTo>
                  <a:cubicBezTo>
                    <a:pt x="209927" y="16717"/>
                    <a:pt x="97408" y="16717"/>
                    <a:pt x="28611" y="85514"/>
                  </a:cubicBezTo>
                  <a:cubicBezTo>
                    <a:pt x="26040" y="89372"/>
                    <a:pt x="21539" y="90658"/>
                    <a:pt x="17038" y="90658"/>
                  </a:cubicBezTo>
                  <a:lnTo>
                    <a:pt x="17038" y="90658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70" name="Forma Livre: Forma 369">
              <a:extLst>
                <a:ext uri="{FF2B5EF4-FFF2-40B4-BE49-F238E27FC236}">
                  <a16:creationId xmlns:a16="http://schemas.microsoft.com/office/drawing/2014/main" id="{356E1146-7168-4D87-ACCF-F37488D6E361}"/>
                </a:ext>
              </a:extLst>
            </p:cNvPr>
            <p:cNvSpPr/>
            <p:nvPr/>
          </p:nvSpPr>
          <p:spPr>
            <a:xfrm>
              <a:off x="5472648" y="1762037"/>
              <a:ext cx="187744" cy="65582"/>
            </a:xfrm>
            <a:custGeom>
              <a:avLst/>
              <a:gdLst>
                <a:gd name="connsiteX0" fmla="*/ 17039 w 187744"/>
                <a:gd name="connsiteY0" fmla="*/ 65582 h 65582"/>
                <a:gd name="connsiteX1" fmla="*/ 4822 w 187744"/>
                <a:gd name="connsiteY1" fmla="*/ 60438 h 65582"/>
                <a:gd name="connsiteX2" fmla="*/ 4822 w 187744"/>
                <a:gd name="connsiteY2" fmla="*/ 36649 h 65582"/>
                <a:gd name="connsiteX3" fmla="*/ 182923 w 187744"/>
                <a:gd name="connsiteY3" fmla="*/ 36649 h 65582"/>
                <a:gd name="connsiteX4" fmla="*/ 182923 w 187744"/>
                <a:gd name="connsiteY4" fmla="*/ 60438 h 65582"/>
                <a:gd name="connsiteX5" fmla="*/ 159133 w 187744"/>
                <a:gd name="connsiteY5" fmla="*/ 60438 h 65582"/>
                <a:gd name="connsiteX6" fmla="*/ 29255 w 187744"/>
                <a:gd name="connsiteY6" fmla="*/ 60438 h 65582"/>
                <a:gd name="connsiteX7" fmla="*/ 17039 w 187744"/>
                <a:gd name="connsiteY7" fmla="*/ 65582 h 65582"/>
                <a:gd name="connsiteX8" fmla="*/ 17039 w 187744"/>
                <a:gd name="connsiteY8" fmla="*/ 65582 h 65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7744" h="65582">
                  <a:moveTo>
                    <a:pt x="17039" y="65582"/>
                  </a:moveTo>
                  <a:cubicBezTo>
                    <a:pt x="12538" y="65582"/>
                    <a:pt x="8037" y="63653"/>
                    <a:pt x="4822" y="60438"/>
                  </a:cubicBezTo>
                  <a:cubicBezTo>
                    <a:pt x="-1607" y="54009"/>
                    <a:pt x="-1607" y="43078"/>
                    <a:pt x="4822" y="36649"/>
                  </a:cubicBezTo>
                  <a:cubicBezTo>
                    <a:pt x="53688" y="-12216"/>
                    <a:pt x="133414" y="-12216"/>
                    <a:pt x="182923" y="36649"/>
                  </a:cubicBezTo>
                  <a:cubicBezTo>
                    <a:pt x="189352" y="43078"/>
                    <a:pt x="189352" y="54009"/>
                    <a:pt x="182923" y="60438"/>
                  </a:cubicBezTo>
                  <a:cubicBezTo>
                    <a:pt x="176493" y="66868"/>
                    <a:pt x="165563" y="66868"/>
                    <a:pt x="159133" y="60438"/>
                  </a:cubicBezTo>
                  <a:cubicBezTo>
                    <a:pt x="123127" y="24433"/>
                    <a:pt x="65261" y="24433"/>
                    <a:pt x="29255" y="60438"/>
                  </a:cubicBezTo>
                  <a:cubicBezTo>
                    <a:pt x="25397" y="63653"/>
                    <a:pt x="20896" y="65582"/>
                    <a:pt x="17039" y="65582"/>
                  </a:cubicBezTo>
                  <a:lnTo>
                    <a:pt x="17039" y="65582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71" name="Forma Livre: Forma 370">
              <a:extLst>
                <a:ext uri="{FF2B5EF4-FFF2-40B4-BE49-F238E27FC236}">
                  <a16:creationId xmlns:a16="http://schemas.microsoft.com/office/drawing/2014/main" id="{D1EF23A0-13CB-4665-8505-8A2E7B982D68}"/>
                </a:ext>
              </a:extLst>
            </p:cNvPr>
            <p:cNvSpPr/>
            <p:nvPr/>
          </p:nvSpPr>
          <p:spPr>
            <a:xfrm>
              <a:off x="5526979" y="1846908"/>
              <a:ext cx="78441" cy="79084"/>
            </a:xfrm>
            <a:custGeom>
              <a:avLst/>
              <a:gdLst>
                <a:gd name="connsiteX0" fmla="*/ 39220 w 78441"/>
                <a:gd name="connsiteY0" fmla="*/ 0 h 79084"/>
                <a:gd name="connsiteX1" fmla="*/ 11573 w 78441"/>
                <a:gd name="connsiteY1" fmla="*/ 11573 h 79084"/>
                <a:gd name="connsiteX2" fmla="*/ 11573 w 78441"/>
                <a:gd name="connsiteY2" fmla="*/ 67511 h 79084"/>
                <a:gd name="connsiteX3" fmla="*/ 39220 w 78441"/>
                <a:gd name="connsiteY3" fmla="*/ 79084 h 79084"/>
                <a:gd name="connsiteX4" fmla="*/ 66868 w 78441"/>
                <a:gd name="connsiteY4" fmla="*/ 67511 h 79084"/>
                <a:gd name="connsiteX5" fmla="*/ 66868 w 78441"/>
                <a:gd name="connsiteY5" fmla="*/ 11573 h 79084"/>
                <a:gd name="connsiteX6" fmla="*/ 39220 w 78441"/>
                <a:gd name="connsiteY6" fmla="*/ 0 h 79084"/>
                <a:gd name="connsiteX7" fmla="*/ 39220 w 78441"/>
                <a:gd name="connsiteY7" fmla="*/ 0 h 79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441" h="79084">
                  <a:moveTo>
                    <a:pt x="39220" y="0"/>
                  </a:moveTo>
                  <a:cubicBezTo>
                    <a:pt x="28933" y="0"/>
                    <a:pt x="19289" y="3858"/>
                    <a:pt x="11573" y="11573"/>
                  </a:cubicBezTo>
                  <a:cubicBezTo>
                    <a:pt x="-3858" y="27004"/>
                    <a:pt x="-3858" y="52080"/>
                    <a:pt x="11573" y="67511"/>
                  </a:cubicBezTo>
                  <a:cubicBezTo>
                    <a:pt x="19289" y="75226"/>
                    <a:pt x="29576" y="79084"/>
                    <a:pt x="39220" y="79084"/>
                  </a:cubicBezTo>
                  <a:cubicBezTo>
                    <a:pt x="49508" y="79084"/>
                    <a:pt x="59152" y="75226"/>
                    <a:pt x="66868" y="67511"/>
                  </a:cubicBezTo>
                  <a:cubicBezTo>
                    <a:pt x="82299" y="52080"/>
                    <a:pt x="82299" y="27004"/>
                    <a:pt x="66868" y="11573"/>
                  </a:cubicBezTo>
                  <a:cubicBezTo>
                    <a:pt x="59795" y="3858"/>
                    <a:pt x="49508" y="0"/>
                    <a:pt x="39220" y="0"/>
                  </a:cubicBezTo>
                  <a:lnTo>
                    <a:pt x="39220" y="0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72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6503545" y="1735929"/>
            <a:ext cx="185129" cy="161672"/>
            <a:chOff x="6509102" y="1762037"/>
            <a:chExt cx="187744" cy="163955"/>
          </a:xfrm>
          <a:solidFill>
            <a:srgbClr val="B1B1A1"/>
          </a:solidFill>
        </p:grpSpPr>
        <p:sp>
          <p:nvSpPr>
            <p:cNvPr id="373" name="Forma Livre: Forma 372">
              <a:extLst>
                <a:ext uri="{FF2B5EF4-FFF2-40B4-BE49-F238E27FC236}">
                  <a16:creationId xmlns:a16="http://schemas.microsoft.com/office/drawing/2014/main" id="{E06409FF-D0F0-469A-A805-28A9D4C38B51}"/>
                </a:ext>
              </a:extLst>
            </p:cNvPr>
            <p:cNvSpPr/>
            <p:nvPr/>
          </p:nvSpPr>
          <p:spPr>
            <a:xfrm>
              <a:off x="6509102" y="1762037"/>
              <a:ext cx="187744" cy="65582"/>
            </a:xfrm>
            <a:custGeom>
              <a:avLst/>
              <a:gdLst>
                <a:gd name="connsiteX0" fmla="*/ 17039 w 187744"/>
                <a:gd name="connsiteY0" fmla="*/ 65582 h 65582"/>
                <a:gd name="connsiteX1" fmla="*/ 4822 w 187744"/>
                <a:gd name="connsiteY1" fmla="*/ 60438 h 65582"/>
                <a:gd name="connsiteX2" fmla="*/ 4822 w 187744"/>
                <a:gd name="connsiteY2" fmla="*/ 36649 h 65582"/>
                <a:gd name="connsiteX3" fmla="*/ 182923 w 187744"/>
                <a:gd name="connsiteY3" fmla="*/ 36649 h 65582"/>
                <a:gd name="connsiteX4" fmla="*/ 182923 w 187744"/>
                <a:gd name="connsiteY4" fmla="*/ 60438 h 65582"/>
                <a:gd name="connsiteX5" fmla="*/ 159133 w 187744"/>
                <a:gd name="connsiteY5" fmla="*/ 60438 h 65582"/>
                <a:gd name="connsiteX6" fmla="*/ 29255 w 187744"/>
                <a:gd name="connsiteY6" fmla="*/ 60438 h 65582"/>
                <a:gd name="connsiteX7" fmla="*/ 17039 w 187744"/>
                <a:gd name="connsiteY7" fmla="*/ 65582 h 65582"/>
                <a:gd name="connsiteX8" fmla="*/ 17039 w 187744"/>
                <a:gd name="connsiteY8" fmla="*/ 65582 h 65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7744" h="65582">
                  <a:moveTo>
                    <a:pt x="17039" y="65582"/>
                  </a:moveTo>
                  <a:cubicBezTo>
                    <a:pt x="12538" y="65582"/>
                    <a:pt x="8037" y="63653"/>
                    <a:pt x="4822" y="60438"/>
                  </a:cubicBezTo>
                  <a:cubicBezTo>
                    <a:pt x="-1607" y="54009"/>
                    <a:pt x="-1607" y="43078"/>
                    <a:pt x="4822" y="36649"/>
                  </a:cubicBezTo>
                  <a:cubicBezTo>
                    <a:pt x="53687" y="-12216"/>
                    <a:pt x="133414" y="-12216"/>
                    <a:pt x="182923" y="36649"/>
                  </a:cubicBezTo>
                  <a:cubicBezTo>
                    <a:pt x="189352" y="43078"/>
                    <a:pt x="189352" y="54009"/>
                    <a:pt x="182923" y="60438"/>
                  </a:cubicBezTo>
                  <a:cubicBezTo>
                    <a:pt x="176493" y="66868"/>
                    <a:pt x="165563" y="66868"/>
                    <a:pt x="159133" y="60438"/>
                  </a:cubicBezTo>
                  <a:cubicBezTo>
                    <a:pt x="123127" y="24433"/>
                    <a:pt x="65261" y="24433"/>
                    <a:pt x="29255" y="60438"/>
                  </a:cubicBezTo>
                  <a:cubicBezTo>
                    <a:pt x="26040" y="63653"/>
                    <a:pt x="21539" y="65582"/>
                    <a:pt x="17039" y="65582"/>
                  </a:cubicBezTo>
                  <a:lnTo>
                    <a:pt x="17039" y="65582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74" name="Forma Livre: Forma 373">
              <a:extLst>
                <a:ext uri="{FF2B5EF4-FFF2-40B4-BE49-F238E27FC236}">
                  <a16:creationId xmlns:a16="http://schemas.microsoft.com/office/drawing/2014/main" id="{234A96CC-D1AD-4C6B-B6B8-DEA088EFA029}"/>
                </a:ext>
              </a:extLst>
            </p:cNvPr>
            <p:cNvSpPr/>
            <p:nvPr/>
          </p:nvSpPr>
          <p:spPr>
            <a:xfrm>
              <a:off x="6564075" y="1846908"/>
              <a:ext cx="78441" cy="79084"/>
            </a:xfrm>
            <a:custGeom>
              <a:avLst/>
              <a:gdLst>
                <a:gd name="connsiteX0" fmla="*/ 39221 w 78441"/>
                <a:gd name="connsiteY0" fmla="*/ 0 h 79084"/>
                <a:gd name="connsiteX1" fmla="*/ 11573 w 78441"/>
                <a:gd name="connsiteY1" fmla="*/ 11573 h 79084"/>
                <a:gd name="connsiteX2" fmla="*/ 11573 w 78441"/>
                <a:gd name="connsiteY2" fmla="*/ 67511 h 79084"/>
                <a:gd name="connsiteX3" fmla="*/ 39221 w 78441"/>
                <a:gd name="connsiteY3" fmla="*/ 79084 h 79084"/>
                <a:gd name="connsiteX4" fmla="*/ 66868 w 78441"/>
                <a:gd name="connsiteY4" fmla="*/ 67511 h 79084"/>
                <a:gd name="connsiteX5" fmla="*/ 66868 w 78441"/>
                <a:gd name="connsiteY5" fmla="*/ 11573 h 79084"/>
                <a:gd name="connsiteX6" fmla="*/ 39221 w 78441"/>
                <a:gd name="connsiteY6" fmla="*/ 0 h 79084"/>
                <a:gd name="connsiteX7" fmla="*/ 39221 w 78441"/>
                <a:gd name="connsiteY7" fmla="*/ 0 h 79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441" h="79084">
                  <a:moveTo>
                    <a:pt x="39221" y="0"/>
                  </a:moveTo>
                  <a:cubicBezTo>
                    <a:pt x="28933" y="0"/>
                    <a:pt x="19289" y="3858"/>
                    <a:pt x="11573" y="11573"/>
                  </a:cubicBezTo>
                  <a:cubicBezTo>
                    <a:pt x="-3858" y="27004"/>
                    <a:pt x="-3858" y="52080"/>
                    <a:pt x="11573" y="67511"/>
                  </a:cubicBezTo>
                  <a:cubicBezTo>
                    <a:pt x="19289" y="75226"/>
                    <a:pt x="29576" y="79084"/>
                    <a:pt x="39221" y="79084"/>
                  </a:cubicBezTo>
                  <a:cubicBezTo>
                    <a:pt x="49508" y="79084"/>
                    <a:pt x="59152" y="75226"/>
                    <a:pt x="66868" y="67511"/>
                  </a:cubicBezTo>
                  <a:cubicBezTo>
                    <a:pt x="82299" y="52080"/>
                    <a:pt x="82299" y="27004"/>
                    <a:pt x="66868" y="11573"/>
                  </a:cubicBezTo>
                  <a:cubicBezTo>
                    <a:pt x="59795" y="3858"/>
                    <a:pt x="49508" y="0"/>
                    <a:pt x="39221" y="0"/>
                  </a:cubicBezTo>
                  <a:lnTo>
                    <a:pt x="39221" y="0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75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1267600" y="1588259"/>
            <a:ext cx="406398" cy="309341"/>
            <a:chOff x="1199206" y="1612281"/>
            <a:chExt cx="412138" cy="313710"/>
          </a:xfrm>
          <a:solidFill>
            <a:srgbClr val="B1B1A1"/>
          </a:solidFill>
        </p:grpSpPr>
        <p:sp>
          <p:nvSpPr>
            <p:cNvPr id="376" name="Forma Livre: Forma 375">
              <a:extLst>
                <a:ext uri="{FF2B5EF4-FFF2-40B4-BE49-F238E27FC236}">
                  <a16:creationId xmlns:a16="http://schemas.microsoft.com/office/drawing/2014/main" id="{C657AEB2-3D89-46D0-BF7B-ACD313BF6ED1}"/>
                </a:ext>
              </a:extLst>
            </p:cNvPr>
            <p:cNvSpPr/>
            <p:nvPr/>
          </p:nvSpPr>
          <p:spPr>
            <a:xfrm>
              <a:off x="1372805" y="1736318"/>
              <a:ext cx="66867" cy="66867"/>
            </a:xfrm>
            <a:custGeom>
              <a:avLst/>
              <a:gdLst>
                <a:gd name="connsiteX0" fmla="*/ 33434 w 66867"/>
                <a:gd name="connsiteY0" fmla="*/ 0 h 66867"/>
                <a:gd name="connsiteX1" fmla="*/ 9644 w 66867"/>
                <a:gd name="connsiteY1" fmla="*/ 9644 h 66867"/>
                <a:gd name="connsiteX2" fmla="*/ 9644 w 66867"/>
                <a:gd name="connsiteY2" fmla="*/ 57224 h 66867"/>
                <a:gd name="connsiteX3" fmla="*/ 33434 w 66867"/>
                <a:gd name="connsiteY3" fmla="*/ 66868 h 66867"/>
                <a:gd name="connsiteX4" fmla="*/ 57224 w 66867"/>
                <a:gd name="connsiteY4" fmla="*/ 57224 h 66867"/>
                <a:gd name="connsiteX5" fmla="*/ 57224 w 66867"/>
                <a:gd name="connsiteY5" fmla="*/ 9644 h 66867"/>
                <a:gd name="connsiteX6" fmla="*/ 33434 w 66867"/>
                <a:gd name="connsiteY6" fmla="*/ 0 h 66867"/>
                <a:gd name="connsiteX7" fmla="*/ 33434 w 66867"/>
                <a:gd name="connsiteY7" fmla="*/ 0 h 66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6867" h="66867">
                  <a:moveTo>
                    <a:pt x="33434" y="0"/>
                  </a:moveTo>
                  <a:cubicBezTo>
                    <a:pt x="25075" y="0"/>
                    <a:pt x="16074" y="3215"/>
                    <a:pt x="9644" y="9644"/>
                  </a:cubicBezTo>
                  <a:cubicBezTo>
                    <a:pt x="-3215" y="22504"/>
                    <a:pt x="-3215" y="43721"/>
                    <a:pt x="9644" y="57224"/>
                  </a:cubicBezTo>
                  <a:cubicBezTo>
                    <a:pt x="16074" y="63653"/>
                    <a:pt x="24433" y="66868"/>
                    <a:pt x="33434" y="66868"/>
                  </a:cubicBezTo>
                  <a:cubicBezTo>
                    <a:pt x="41793" y="66868"/>
                    <a:pt x="50794" y="63653"/>
                    <a:pt x="57224" y="57224"/>
                  </a:cubicBezTo>
                  <a:cubicBezTo>
                    <a:pt x="70083" y="44364"/>
                    <a:pt x="70083" y="23147"/>
                    <a:pt x="57224" y="9644"/>
                  </a:cubicBezTo>
                  <a:cubicBezTo>
                    <a:pt x="50794" y="3215"/>
                    <a:pt x="41793" y="0"/>
                    <a:pt x="33434" y="0"/>
                  </a:cubicBezTo>
                  <a:lnTo>
                    <a:pt x="33434" y="0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77" name="Forma Livre: Forma 376">
              <a:extLst>
                <a:ext uri="{FF2B5EF4-FFF2-40B4-BE49-F238E27FC236}">
                  <a16:creationId xmlns:a16="http://schemas.microsoft.com/office/drawing/2014/main" id="{11102E06-A190-4DB4-B7D4-3DEC38906A87}"/>
                </a:ext>
              </a:extLst>
            </p:cNvPr>
            <p:cNvSpPr/>
            <p:nvPr/>
          </p:nvSpPr>
          <p:spPr>
            <a:xfrm>
              <a:off x="1512382" y="1613567"/>
              <a:ext cx="98961" cy="312424"/>
            </a:xfrm>
            <a:custGeom>
              <a:avLst/>
              <a:gdLst>
                <a:gd name="connsiteX0" fmla="*/ 17305 w 98961"/>
                <a:gd name="connsiteY0" fmla="*/ 312425 h 312424"/>
                <a:gd name="connsiteX1" fmla="*/ 4446 w 98961"/>
                <a:gd name="connsiteY1" fmla="*/ 306638 h 312424"/>
                <a:gd name="connsiteX2" fmla="*/ 5732 w 98961"/>
                <a:gd name="connsiteY2" fmla="*/ 282848 h 312424"/>
                <a:gd name="connsiteX3" fmla="*/ 64885 w 98961"/>
                <a:gd name="connsiteY3" fmla="*/ 156185 h 312424"/>
                <a:gd name="connsiteX4" fmla="*/ 5732 w 98961"/>
                <a:gd name="connsiteY4" fmla="*/ 29522 h 312424"/>
                <a:gd name="connsiteX5" fmla="*/ 4446 w 98961"/>
                <a:gd name="connsiteY5" fmla="*/ 5732 h 312424"/>
                <a:gd name="connsiteX6" fmla="*/ 28236 w 98961"/>
                <a:gd name="connsiteY6" fmla="*/ 4446 h 312424"/>
                <a:gd name="connsiteX7" fmla="*/ 98961 w 98961"/>
                <a:gd name="connsiteY7" fmla="*/ 156828 h 312424"/>
                <a:gd name="connsiteX8" fmla="*/ 28236 w 98961"/>
                <a:gd name="connsiteY8" fmla="*/ 309210 h 312424"/>
                <a:gd name="connsiteX9" fmla="*/ 17305 w 98961"/>
                <a:gd name="connsiteY9" fmla="*/ 312425 h 312424"/>
                <a:gd name="connsiteX10" fmla="*/ 17305 w 98961"/>
                <a:gd name="connsiteY10" fmla="*/ 312425 h 312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8961" h="312424">
                  <a:moveTo>
                    <a:pt x="17305" y="312425"/>
                  </a:moveTo>
                  <a:cubicBezTo>
                    <a:pt x="12805" y="312425"/>
                    <a:pt x="8304" y="310496"/>
                    <a:pt x="4446" y="306638"/>
                  </a:cubicBezTo>
                  <a:cubicBezTo>
                    <a:pt x="-1983" y="299566"/>
                    <a:pt x="-1340" y="288635"/>
                    <a:pt x="5732" y="282848"/>
                  </a:cubicBezTo>
                  <a:cubicBezTo>
                    <a:pt x="43667" y="248772"/>
                    <a:pt x="64885" y="203764"/>
                    <a:pt x="64885" y="156185"/>
                  </a:cubicBezTo>
                  <a:cubicBezTo>
                    <a:pt x="64885" y="108606"/>
                    <a:pt x="43667" y="63599"/>
                    <a:pt x="5732" y="29522"/>
                  </a:cubicBezTo>
                  <a:cubicBezTo>
                    <a:pt x="-1340" y="23092"/>
                    <a:pt x="-1983" y="12805"/>
                    <a:pt x="4446" y="5732"/>
                  </a:cubicBezTo>
                  <a:cubicBezTo>
                    <a:pt x="10876" y="-1340"/>
                    <a:pt x="21163" y="-1983"/>
                    <a:pt x="28236" y="4446"/>
                  </a:cubicBezTo>
                  <a:cubicBezTo>
                    <a:pt x="73886" y="44953"/>
                    <a:pt x="98961" y="98962"/>
                    <a:pt x="98961" y="156828"/>
                  </a:cubicBezTo>
                  <a:cubicBezTo>
                    <a:pt x="98961" y="214695"/>
                    <a:pt x="73886" y="268703"/>
                    <a:pt x="28236" y="309210"/>
                  </a:cubicBezTo>
                  <a:cubicBezTo>
                    <a:pt x="25664" y="311139"/>
                    <a:pt x="21806" y="312425"/>
                    <a:pt x="17305" y="312425"/>
                  </a:cubicBezTo>
                  <a:lnTo>
                    <a:pt x="17305" y="312425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78" name="Forma Livre: Forma 377">
              <a:extLst>
                <a:ext uri="{FF2B5EF4-FFF2-40B4-BE49-F238E27FC236}">
                  <a16:creationId xmlns:a16="http://schemas.microsoft.com/office/drawing/2014/main" id="{2FA96685-5249-45FA-8AAF-AE2C071AF91A}"/>
                </a:ext>
              </a:extLst>
            </p:cNvPr>
            <p:cNvSpPr/>
            <p:nvPr/>
          </p:nvSpPr>
          <p:spPr>
            <a:xfrm>
              <a:off x="1448086" y="1668862"/>
              <a:ext cx="73243" cy="201835"/>
            </a:xfrm>
            <a:custGeom>
              <a:avLst/>
              <a:gdLst>
                <a:gd name="connsiteX0" fmla="*/ 17305 w 73243"/>
                <a:gd name="connsiteY0" fmla="*/ 201835 h 201835"/>
                <a:gd name="connsiteX1" fmla="*/ 4446 w 73243"/>
                <a:gd name="connsiteY1" fmla="*/ 196049 h 201835"/>
                <a:gd name="connsiteX2" fmla="*/ 5732 w 73243"/>
                <a:gd name="connsiteY2" fmla="*/ 172259 h 201835"/>
                <a:gd name="connsiteX3" fmla="*/ 39166 w 73243"/>
                <a:gd name="connsiteY3" fmla="*/ 100890 h 201835"/>
                <a:gd name="connsiteX4" fmla="*/ 5732 w 73243"/>
                <a:gd name="connsiteY4" fmla="*/ 29522 h 201835"/>
                <a:gd name="connsiteX5" fmla="*/ 4446 w 73243"/>
                <a:gd name="connsiteY5" fmla="*/ 5732 h 201835"/>
                <a:gd name="connsiteX6" fmla="*/ 28236 w 73243"/>
                <a:gd name="connsiteY6" fmla="*/ 4446 h 201835"/>
                <a:gd name="connsiteX7" fmla="*/ 73243 w 73243"/>
                <a:gd name="connsiteY7" fmla="*/ 101533 h 201835"/>
                <a:gd name="connsiteX8" fmla="*/ 28236 w 73243"/>
                <a:gd name="connsiteY8" fmla="*/ 198620 h 201835"/>
                <a:gd name="connsiteX9" fmla="*/ 17305 w 73243"/>
                <a:gd name="connsiteY9" fmla="*/ 201835 h 201835"/>
                <a:gd name="connsiteX10" fmla="*/ 17305 w 73243"/>
                <a:gd name="connsiteY10" fmla="*/ 201835 h 201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243" h="201835">
                  <a:moveTo>
                    <a:pt x="17305" y="201835"/>
                  </a:moveTo>
                  <a:cubicBezTo>
                    <a:pt x="12805" y="201835"/>
                    <a:pt x="8304" y="199906"/>
                    <a:pt x="4446" y="196049"/>
                  </a:cubicBezTo>
                  <a:cubicBezTo>
                    <a:pt x="-1983" y="188976"/>
                    <a:pt x="-1340" y="178046"/>
                    <a:pt x="5732" y="172259"/>
                  </a:cubicBezTo>
                  <a:cubicBezTo>
                    <a:pt x="27593" y="152970"/>
                    <a:pt x="39166" y="127895"/>
                    <a:pt x="39166" y="100890"/>
                  </a:cubicBezTo>
                  <a:cubicBezTo>
                    <a:pt x="39166" y="73886"/>
                    <a:pt x="27593" y="48810"/>
                    <a:pt x="5732" y="29522"/>
                  </a:cubicBezTo>
                  <a:cubicBezTo>
                    <a:pt x="-1340" y="23092"/>
                    <a:pt x="-1983" y="12805"/>
                    <a:pt x="4446" y="5732"/>
                  </a:cubicBezTo>
                  <a:cubicBezTo>
                    <a:pt x="10876" y="-1340"/>
                    <a:pt x="21163" y="-1983"/>
                    <a:pt x="28236" y="4446"/>
                  </a:cubicBezTo>
                  <a:cubicBezTo>
                    <a:pt x="57169" y="30165"/>
                    <a:pt x="73243" y="64884"/>
                    <a:pt x="73243" y="101533"/>
                  </a:cubicBezTo>
                  <a:cubicBezTo>
                    <a:pt x="73243" y="138182"/>
                    <a:pt x="57169" y="172902"/>
                    <a:pt x="28236" y="198620"/>
                  </a:cubicBezTo>
                  <a:cubicBezTo>
                    <a:pt x="25664" y="200549"/>
                    <a:pt x="21163" y="201835"/>
                    <a:pt x="17305" y="201835"/>
                  </a:cubicBezTo>
                  <a:lnTo>
                    <a:pt x="17305" y="201835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79" name="Forma Livre: Forma 378">
              <a:extLst>
                <a:ext uri="{FF2B5EF4-FFF2-40B4-BE49-F238E27FC236}">
                  <a16:creationId xmlns:a16="http://schemas.microsoft.com/office/drawing/2014/main" id="{11107A57-09F1-431C-BD0C-ED48C054F92B}"/>
                </a:ext>
              </a:extLst>
            </p:cNvPr>
            <p:cNvSpPr/>
            <p:nvPr/>
          </p:nvSpPr>
          <p:spPr>
            <a:xfrm>
              <a:off x="1199206" y="1612281"/>
              <a:ext cx="98961" cy="313710"/>
            </a:xfrm>
            <a:custGeom>
              <a:avLst/>
              <a:gdLst>
                <a:gd name="connsiteX0" fmla="*/ 82299 w 98961"/>
                <a:gd name="connsiteY0" fmla="*/ 313711 h 313710"/>
                <a:gd name="connsiteX1" fmla="*/ 70726 w 98961"/>
                <a:gd name="connsiteY1" fmla="*/ 309210 h 313710"/>
                <a:gd name="connsiteX2" fmla="*/ 0 w 98961"/>
                <a:gd name="connsiteY2" fmla="*/ 156828 h 313710"/>
                <a:gd name="connsiteX3" fmla="*/ 70726 w 98961"/>
                <a:gd name="connsiteY3" fmla="*/ 4446 h 313710"/>
                <a:gd name="connsiteX4" fmla="*/ 94515 w 98961"/>
                <a:gd name="connsiteY4" fmla="*/ 5732 h 313710"/>
                <a:gd name="connsiteX5" fmla="*/ 93229 w 98961"/>
                <a:gd name="connsiteY5" fmla="*/ 29522 h 313710"/>
                <a:gd name="connsiteX6" fmla="*/ 34077 w 98961"/>
                <a:gd name="connsiteY6" fmla="*/ 156185 h 313710"/>
                <a:gd name="connsiteX7" fmla="*/ 93229 w 98961"/>
                <a:gd name="connsiteY7" fmla="*/ 282848 h 313710"/>
                <a:gd name="connsiteX8" fmla="*/ 94515 w 98961"/>
                <a:gd name="connsiteY8" fmla="*/ 306638 h 313710"/>
                <a:gd name="connsiteX9" fmla="*/ 82299 w 98961"/>
                <a:gd name="connsiteY9" fmla="*/ 313711 h 313710"/>
                <a:gd name="connsiteX10" fmla="*/ 82299 w 98961"/>
                <a:gd name="connsiteY10" fmla="*/ 313711 h 313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8961" h="313710">
                  <a:moveTo>
                    <a:pt x="82299" y="313711"/>
                  </a:moveTo>
                  <a:cubicBezTo>
                    <a:pt x="78441" y="313711"/>
                    <a:pt x="73941" y="312425"/>
                    <a:pt x="70726" y="309210"/>
                  </a:cubicBezTo>
                  <a:cubicBezTo>
                    <a:pt x="25075" y="268703"/>
                    <a:pt x="0" y="214695"/>
                    <a:pt x="0" y="156828"/>
                  </a:cubicBezTo>
                  <a:cubicBezTo>
                    <a:pt x="0" y="98961"/>
                    <a:pt x="25075" y="44953"/>
                    <a:pt x="70726" y="4446"/>
                  </a:cubicBezTo>
                  <a:cubicBezTo>
                    <a:pt x="77798" y="-1983"/>
                    <a:pt x="88729" y="-1340"/>
                    <a:pt x="94515" y="5732"/>
                  </a:cubicBezTo>
                  <a:cubicBezTo>
                    <a:pt x="100945" y="12805"/>
                    <a:pt x="100302" y="23735"/>
                    <a:pt x="93229" y="29522"/>
                  </a:cubicBezTo>
                  <a:cubicBezTo>
                    <a:pt x="55295" y="63599"/>
                    <a:pt x="34077" y="108606"/>
                    <a:pt x="34077" y="156185"/>
                  </a:cubicBezTo>
                  <a:cubicBezTo>
                    <a:pt x="34077" y="203764"/>
                    <a:pt x="55295" y="248772"/>
                    <a:pt x="93229" y="282848"/>
                  </a:cubicBezTo>
                  <a:cubicBezTo>
                    <a:pt x="100302" y="289278"/>
                    <a:pt x="100945" y="299566"/>
                    <a:pt x="94515" y="306638"/>
                  </a:cubicBezTo>
                  <a:cubicBezTo>
                    <a:pt x="91943" y="311782"/>
                    <a:pt x="87443" y="313711"/>
                    <a:pt x="82299" y="313711"/>
                  </a:cubicBezTo>
                  <a:lnTo>
                    <a:pt x="82299" y="313711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80" name="Forma Livre: Forma 379">
              <a:extLst>
                <a:ext uri="{FF2B5EF4-FFF2-40B4-BE49-F238E27FC236}">
                  <a16:creationId xmlns:a16="http://schemas.microsoft.com/office/drawing/2014/main" id="{B20D3734-7AD1-463A-B7B1-C33119640ACE}"/>
                </a:ext>
              </a:extLst>
            </p:cNvPr>
            <p:cNvSpPr/>
            <p:nvPr/>
          </p:nvSpPr>
          <p:spPr>
            <a:xfrm>
              <a:off x="1289863" y="1667576"/>
              <a:ext cx="73243" cy="203121"/>
            </a:xfrm>
            <a:custGeom>
              <a:avLst/>
              <a:gdLst>
                <a:gd name="connsiteX0" fmla="*/ 56581 w 73243"/>
                <a:gd name="connsiteY0" fmla="*/ 203121 h 203121"/>
                <a:gd name="connsiteX1" fmla="*/ 45007 w 73243"/>
                <a:gd name="connsiteY1" fmla="*/ 198621 h 203121"/>
                <a:gd name="connsiteX2" fmla="*/ 0 w 73243"/>
                <a:gd name="connsiteY2" fmla="*/ 101533 h 203121"/>
                <a:gd name="connsiteX3" fmla="*/ 45007 w 73243"/>
                <a:gd name="connsiteY3" fmla="*/ 4446 h 203121"/>
                <a:gd name="connsiteX4" fmla="*/ 68797 w 73243"/>
                <a:gd name="connsiteY4" fmla="*/ 5732 h 203121"/>
                <a:gd name="connsiteX5" fmla="*/ 67511 w 73243"/>
                <a:gd name="connsiteY5" fmla="*/ 29522 h 203121"/>
                <a:gd name="connsiteX6" fmla="*/ 34077 w 73243"/>
                <a:gd name="connsiteY6" fmla="*/ 100890 h 203121"/>
                <a:gd name="connsiteX7" fmla="*/ 67511 w 73243"/>
                <a:gd name="connsiteY7" fmla="*/ 172259 h 203121"/>
                <a:gd name="connsiteX8" fmla="*/ 68797 w 73243"/>
                <a:gd name="connsiteY8" fmla="*/ 196049 h 203121"/>
                <a:gd name="connsiteX9" fmla="*/ 56581 w 73243"/>
                <a:gd name="connsiteY9" fmla="*/ 203121 h 203121"/>
                <a:gd name="connsiteX10" fmla="*/ 56581 w 73243"/>
                <a:gd name="connsiteY10" fmla="*/ 203121 h 203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3243" h="203121">
                  <a:moveTo>
                    <a:pt x="56581" y="203121"/>
                  </a:moveTo>
                  <a:cubicBezTo>
                    <a:pt x="52723" y="203121"/>
                    <a:pt x="48222" y="201835"/>
                    <a:pt x="45007" y="198621"/>
                  </a:cubicBezTo>
                  <a:cubicBezTo>
                    <a:pt x="16074" y="172902"/>
                    <a:pt x="0" y="138182"/>
                    <a:pt x="0" y="101533"/>
                  </a:cubicBezTo>
                  <a:cubicBezTo>
                    <a:pt x="0" y="64885"/>
                    <a:pt x="16074" y="30165"/>
                    <a:pt x="45007" y="4446"/>
                  </a:cubicBezTo>
                  <a:cubicBezTo>
                    <a:pt x="52080" y="-1983"/>
                    <a:pt x="63010" y="-1341"/>
                    <a:pt x="68797" y="5732"/>
                  </a:cubicBezTo>
                  <a:cubicBezTo>
                    <a:pt x="75226" y="12805"/>
                    <a:pt x="74584" y="23735"/>
                    <a:pt x="67511" y="29522"/>
                  </a:cubicBezTo>
                  <a:cubicBezTo>
                    <a:pt x="45650" y="48810"/>
                    <a:pt x="34077" y="73886"/>
                    <a:pt x="34077" y="100890"/>
                  </a:cubicBezTo>
                  <a:cubicBezTo>
                    <a:pt x="34077" y="127895"/>
                    <a:pt x="45650" y="152970"/>
                    <a:pt x="67511" y="172259"/>
                  </a:cubicBezTo>
                  <a:cubicBezTo>
                    <a:pt x="74584" y="178689"/>
                    <a:pt x="75226" y="188976"/>
                    <a:pt x="68797" y="196049"/>
                  </a:cubicBezTo>
                  <a:cubicBezTo>
                    <a:pt x="65582" y="201192"/>
                    <a:pt x="61081" y="203121"/>
                    <a:pt x="56581" y="203121"/>
                  </a:cubicBezTo>
                  <a:lnTo>
                    <a:pt x="56581" y="203121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81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7430146" y="1546995"/>
            <a:ext cx="390548" cy="394352"/>
            <a:chOff x="7448790" y="1570434"/>
            <a:chExt cx="396064" cy="399922"/>
          </a:xfrm>
          <a:solidFill>
            <a:srgbClr val="B1B1A1"/>
          </a:solidFill>
        </p:grpSpPr>
        <p:sp>
          <p:nvSpPr>
            <p:cNvPr id="382" name="Forma Livre: Forma 381">
              <a:extLst>
                <a:ext uri="{FF2B5EF4-FFF2-40B4-BE49-F238E27FC236}">
                  <a16:creationId xmlns:a16="http://schemas.microsoft.com/office/drawing/2014/main" id="{FFFEBB83-BD3A-4F30-A49B-6A0084909C2A}"/>
                </a:ext>
              </a:extLst>
            </p:cNvPr>
            <p:cNvSpPr/>
            <p:nvPr/>
          </p:nvSpPr>
          <p:spPr>
            <a:xfrm>
              <a:off x="7605673" y="1570434"/>
              <a:ext cx="239181" cy="238538"/>
            </a:xfrm>
            <a:custGeom>
              <a:avLst/>
              <a:gdLst>
                <a:gd name="connsiteX0" fmla="*/ 221822 w 239181"/>
                <a:gd name="connsiteY0" fmla="*/ 238539 h 238538"/>
                <a:gd name="connsiteX1" fmla="*/ 205104 w 239181"/>
                <a:gd name="connsiteY1" fmla="*/ 221822 h 238538"/>
                <a:gd name="connsiteX2" fmla="*/ 16717 w 239181"/>
                <a:gd name="connsiteY2" fmla="*/ 33434 h 238538"/>
                <a:gd name="connsiteX3" fmla="*/ 0 w 239181"/>
                <a:gd name="connsiteY3" fmla="*/ 16717 h 238538"/>
                <a:gd name="connsiteX4" fmla="*/ 16717 w 239181"/>
                <a:gd name="connsiteY4" fmla="*/ 0 h 238538"/>
                <a:gd name="connsiteX5" fmla="*/ 239182 w 239181"/>
                <a:gd name="connsiteY5" fmla="*/ 222465 h 238538"/>
                <a:gd name="connsiteX6" fmla="*/ 221822 w 239181"/>
                <a:gd name="connsiteY6" fmla="*/ 238539 h 238538"/>
                <a:gd name="connsiteX7" fmla="*/ 221822 w 239181"/>
                <a:gd name="connsiteY7" fmla="*/ 238539 h 238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9181" h="238538">
                  <a:moveTo>
                    <a:pt x="221822" y="238539"/>
                  </a:moveTo>
                  <a:cubicBezTo>
                    <a:pt x="212178" y="238539"/>
                    <a:pt x="205104" y="230823"/>
                    <a:pt x="205104" y="221822"/>
                  </a:cubicBezTo>
                  <a:cubicBezTo>
                    <a:pt x="205104" y="117662"/>
                    <a:pt x="120234" y="33434"/>
                    <a:pt x="16717" y="33434"/>
                  </a:cubicBezTo>
                  <a:cubicBezTo>
                    <a:pt x="7073" y="33434"/>
                    <a:pt x="0" y="25718"/>
                    <a:pt x="0" y="16717"/>
                  </a:cubicBezTo>
                  <a:cubicBezTo>
                    <a:pt x="0" y="7073"/>
                    <a:pt x="7716" y="0"/>
                    <a:pt x="16717" y="0"/>
                  </a:cubicBezTo>
                  <a:cubicBezTo>
                    <a:pt x="139523" y="0"/>
                    <a:pt x="239182" y="99659"/>
                    <a:pt x="239182" y="222465"/>
                  </a:cubicBezTo>
                  <a:cubicBezTo>
                    <a:pt x="239182" y="230823"/>
                    <a:pt x="231466" y="238539"/>
                    <a:pt x="221822" y="238539"/>
                  </a:cubicBezTo>
                  <a:lnTo>
                    <a:pt x="221822" y="238539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83" name="Forma Livre: Forma 382">
              <a:extLst>
                <a:ext uri="{FF2B5EF4-FFF2-40B4-BE49-F238E27FC236}">
                  <a16:creationId xmlns:a16="http://schemas.microsoft.com/office/drawing/2014/main" id="{90C47C2D-31E5-4ADE-BF5B-CB64E21A8D1D}"/>
                </a:ext>
              </a:extLst>
            </p:cNvPr>
            <p:cNvSpPr/>
            <p:nvPr/>
          </p:nvSpPr>
          <p:spPr>
            <a:xfrm>
              <a:off x="7605673" y="1639874"/>
              <a:ext cx="169741" cy="169098"/>
            </a:xfrm>
            <a:custGeom>
              <a:avLst/>
              <a:gdLst>
                <a:gd name="connsiteX0" fmla="*/ 152382 w 169741"/>
                <a:gd name="connsiteY0" fmla="*/ 169099 h 169098"/>
                <a:gd name="connsiteX1" fmla="*/ 135665 w 169741"/>
                <a:gd name="connsiteY1" fmla="*/ 152382 h 169098"/>
                <a:gd name="connsiteX2" fmla="*/ 16717 w 169741"/>
                <a:gd name="connsiteY2" fmla="*/ 33434 h 169098"/>
                <a:gd name="connsiteX3" fmla="*/ 0 w 169741"/>
                <a:gd name="connsiteY3" fmla="*/ 16717 h 169098"/>
                <a:gd name="connsiteX4" fmla="*/ 16717 w 169741"/>
                <a:gd name="connsiteY4" fmla="*/ 0 h 169098"/>
                <a:gd name="connsiteX5" fmla="*/ 169742 w 169741"/>
                <a:gd name="connsiteY5" fmla="*/ 153025 h 169098"/>
                <a:gd name="connsiteX6" fmla="*/ 152382 w 169741"/>
                <a:gd name="connsiteY6" fmla="*/ 169099 h 169098"/>
                <a:gd name="connsiteX7" fmla="*/ 152382 w 169741"/>
                <a:gd name="connsiteY7" fmla="*/ 169099 h 169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9741" h="169098">
                  <a:moveTo>
                    <a:pt x="152382" y="169099"/>
                  </a:moveTo>
                  <a:cubicBezTo>
                    <a:pt x="142738" y="169099"/>
                    <a:pt x="135665" y="161383"/>
                    <a:pt x="135665" y="152382"/>
                  </a:cubicBezTo>
                  <a:cubicBezTo>
                    <a:pt x="135665" y="86800"/>
                    <a:pt x="82299" y="33434"/>
                    <a:pt x="16717" y="33434"/>
                  </a:cubicBezTo>
                  <a:cubicBezTo>
                    <a:pt x="7073" y="33434"/>
                    <a:pt x="0" y="25718"/>
                    <a:pt x="0" y="16717"/>
                  </a:cubicBezTo>
                  <a:cubicBezTo>
                    <a:pt x="0" y="7073"/>
                    <a:pt x="7716" y="0"/>
                    <a:pt x="16717" y="0"/>
                  </a:cubicBezTo>
                  <a:cubicBezTo>
                    <a:pt x="100945" y="0"/>
                    <a:pt x="169742" y="68797"/>
                    <a:pt x="169742" y="153025"/>
                  </a:cubicBezTo>
                  <a:cubicBezTo>
                    <a:pt x="169742" y="161383"/>
                    <a:pt x="162026" y="169099"/>
                    <a:pt x="152382" y="169099"/>
                  </a:cubicBezTo>
                  <a:lnTo>
                    <a:pt x="152382" y="169099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84" name="Forma Livre: Forma 383">
              <a:extLst>
                <a:ext uri="{FF2B5EF4-FFF2-40B4-BE49-F238E27FC236}">
                  <a16:creationId xmlns:a16="http://schemas.microsoft.com/office/drawing/2014/main" id="{92E3B6BD-F7CF-4629-83ED-7AB637A79259}"/>
                </a:ext>
              </a:extLst>
            </p:cNvPr>
            <p:cNvSpPr/>
            <p:nvPr/>
          </p:nvSpPr>
          <p:spPr>
            <a:xfrm>
              <a:off x="7448790" y="1650483"/>
              <a:ext cx="320194" cy="319873"/>
            </a:xfrm>
            <a:custGeom>
              <a:avLst/>
              <a:gdLst>
                <a:gd name="connsiteX0" fmla="*/ 184530 w 320194"/>
                <a:gd name="connsiteY0" fmla="*/ 319873 h 319873"/>
                <a:gd name="connsiteX1" fmla="*/ 54009 w 320194"/>
                <a:gd name="connsiteY1" fmla="*/ 265865 h 319873"/>
                <a:gd name="connsiteX2" fmla="*/ 0 w 320194"/>
                <a:gd name="connsiteY2" fmla="*/ 135343 h 319873"/>
                <a:gd name="connsiteX3" fmla="*/ 54009 w 320194"/>
                <a:gd name="connsiteY3" fmla="*/ 4822 h 319873"/>
                <a:gd name="connsiteX4" fmla="*/ 77798 w 320194"/>
                <a:gd name="connsiteY4" fmla="*/ 4822 h 319873"/>
                <a:gd name="connsiteX5" fmla="*/ 315051 w 320194"/>
                <a:gd name="connsiteY5" fmla="*/ 242075 h 319873"/>
                <a:gd name="connsiteX6" fmla="*/ 320194 w 320194"/>
                <a:gd name="connsiteY6" fmla="*/ 254291 h 319873"/>
                <a:gd name="connsiteX7" fmla="*/ 315051 w 320194"/>
                <a:gd name="connsiteY7" fmla="*/ 266508 h 319873"/>
                <a:gd name="connsiteX8" fmla="*/ 184530 w 320194"/>
                <a:gd name="connsiteY8" fmla="*/ 319873 h 319873"/>
                <a:gd name="connsiteX9" fmla="*/ 184530 w 320194"/>
                <a:gd name="connsiteY9" fmla="*/ 319873 h 319873"/>
                <a:gd name="connsiteX10" fmla="*/ 66868 w 320194"/>
                <a:gd name="connsiteY10" fmla="*/ 40828 h 319873"/>
                <a:gd name="connsiteX11" fmla="*/ 34077 w 320194"/>
                <a:gd name="connsiteY11" fmla="*/ 134700 h 319873"/>
                <a:gd name="connsiteX12" fmla="*/ 78441 w 320194"/>
                <a:gd name="connsiteY12" fmla="*/ 241432 h 319873"/>
                <a:gd name="connsiteX13" fmla="*/ 185173 w 320194"/>
                <a:gd name="connsiteY13" fmla="*/ 285796 h 319873"/>
                <a:gd name="connsiteX14" fmla="*/ 279045 w 320194"/>
                <a:gd name="connsiteY14" fmla="*/ 253005 h 319873"/>
                <a:gd name="connsiteX15" fmla="*/ 66868 w 320194"/>
                <a:gd name="connsiteY15" fmla="*/ 40828 h 319873"/>
                <a:gd name="connsiteX16" fmla="*/ 66868 w 320194"/>
                <a:gd name="connsiteY16" fmla="*/ 40828 h 319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20194" h="319873">
                  <a:moveTo>
                    <a:pt x="184530" y="319873"/>
                  </a:moveTo>
                  <a:cubicBezTo>
                    <a:pt x="135022" y="319873"/>
                    <a:pt x="88729" y="300584"/>
                    <a:pt x="54009" y="265865"/>
                  </a:cubicBezTo>
                  <a:cubicBezTo>
                    <a:pt x="19289" y="231145"/>
                    <a:pt x="0" y="184209"/>
                    <a:pt x="0" y="135343"/>
                  </a:cubicBezTo>
                  <a:cubicBezTo>
                    <a:pt x="0" y="85835"/>
                    <a:pt x="19289" y="39542"/>
                    <a:pt x="54009" y="4822"/>
                  </a:cubicBezTo>
                  <a:cubicBezTo>
                    <a:pt x="60438" y="-1607"/>
                    <a:pt x="71369" y="-1607"/>
                    <a:pt x="77798" y="4822"/>
                  </a:cubicBezTo>
                  <a:lnTo>
                    <a:pt x="315051" y="242075"/>
                  </a:lnTo>
                  <a:cubicBezTo>
                    <a:pt x="318266" y="245290"/>
                    <a:pt x="320194" y="249791"/>
                    <a:pt x="320194" y="254291"/>
                  </a:cubicBezTo>
                  <a:cubicBezTo>
                    <a:pt x="320194" y="258792"/>
                    <a:pt x="318266" y="263293"/>
                    <a:pt x="315051" y="266508"/>
                  </a:cubicBezTo>
                  <a:cubicBezTo>
                    <a:pt x="280331" y="300584"/>
                    <a:pt x="234038" y="319873"/>
                    <a:pt x="184530" y="319873"/>
                  </a:cubicBezTo>
                  <a:lnTo>
                    <a:pt x="184530" y="319873"/>
                  </a:lnTo>
                  <a:close/>
                  <a:moveTo>
                    <a:pt x="66868" y="40828"/>
                  </a:moveTo>
                  <a:cubicBezTo>
                    <a:pt x="45650" y="67189"/>
                    <a:pt x="34077" y="100624"/>
                    <a:pt x="34077" y="134700"/>
                  </a:cubicBezTo>
                  <a:cubicBezTo>
                    <a:pt x="34077" y="175207"/>
                    <a:pt x="49508" y="213142"/>
                    <a:pt x="78441" y="241432"/>
                  </a:cubicBezTo>
                  <a:cubicBezTo>
                    <a:pt x="106731" y="269722"/>
                    <a:pt x="144666" y="285796"/>
                    <a:pt x="185173" y="285796"/>
                  </a:cubicBezTo>
                  <a:cubicBezTo>
                    <a:pt x="219892" y="285796"/>
                    <a:pt x="252684" y="274223"/>
                    <a:pt x="279045" y="253005"/>
                  </a:cubicBezTo>
                  <a:lnTo>
                    <a:pt x="66868" y="40828"/>
                  </a:lnTo>
                  <a:lnTo>
                    <a:pt x="66868" y="40828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85" name="Forma Livre: Forma 384">
              <a:extLst>
                <a:ext uri="{FF2B5EF4-FFF2-40B4-BE49-F238E27FC236}">
                  <a16:creationId xmlns:a16="http://schemas.microsoft.com/office/drawing/2014/main" id="{4E7AF8CB-A28A-47F4-B22E-DC3675B58825}"/>
                </a:ext>
              </a:extLst>
            </p:cNvPr>
            <p:cNvSpPr/>
            <p:nvPr/>
          </p:nvSpPr>
          <p:spPr>
            <a:xfrm>
              <a:off x="7623997" y="1737926"/>
              <a:ext cx="56580" cy="56902"/>
            </a:xfrm>
            <a:custGeom>
              <a:avLst/>
              <a:gdLst>
                <a:gd name="connsiteX0" fmla="*/ 17038 w 56580"/>
                <a:gd name="connsiteY0" fmla="*/ 56902 h 56902"/>
                <a:gd name="connsiteX1" fmla="*/ 4822 w 56580"/>
                <a:gd name="connsiteY1" fmla="*/ 51758 h 56902"/>
                <a:gd name="connsiteX2" fmla="*/ 4822 w 56580"/>
                <a:gd name="connsiteY2" fmla="*/ 27969 h 56902"/>
                <a:gd name="connsiteX3" fmla="*/ 27969 w 56580"/>
                <a:gd name="connsiteY3" fmla="*/ 4822 h 56902"/>
                <a:gd name="connsiteX4" fmla="*/ 51758 w 56580"/>
                <a:gd name="connsiteY4" fmla="*/ 4822 h 56902"/>
                <a:gd name="connsiteX5" fmla="*/ 51758 w 56580"/>
                <a:gd name="connsiteY5" fmla="*/ 28612 h 56902"/>
                <a:gd name="connsiteX6" fmla="*/ 28611 w 56580"/>
                <a:gd name="connsiteY6" fmla="*/ 51758 h 56902"/>
                <a:gd name="connsiteX7" fmla="*/ 17038 w 56580"/>
                <a:gd name="connsiteY7" fmla="*/ 56902 h 56902"/>
                <a:gd name="connsiteX8" fmla="*/ 17038 w 56580"/>
                <a:gd name="connsiteY8" fmla="*/ 56902 h 56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580" h="56902">
                  <a:moveTo>
                    <a:pt x="17038" y="56902"/>
                  </a:moveTo>
                  <a:cubicBezTo>
                    <a:pt x="12537" y="56902"/>
                    <a:pt x="8037" y="54973"/>
                    <a:pt x="4822" y="51758"/>
                  </a:cubicBezTo>
                  <a:cubicBezTo>
                    <a:pt x="-1607" y="45329"/>
                    <a:pt x="-1607" y="34398"/>
                    <a:pt x="4822" y="27969"/>
                  </a:cubicBezTo>
                  <a:lnTo>
                    <a:pt x="27969" y="4822"/>
                  </a:lnTo>
                  <a:cubicBezTo>
                    <a:pt x="34398" y="-1607"/>
                    <a:pt x="45329" y="-1607"/>
                    <a:pt x="51758" y="4822"/>
                  </a:cubicBezTo>
                  <a:cubicBezTo>
                    <a:pt x="58188" y="11252"/>
                    <a:pt x="58188" y="22182"/>
                    <a:pt x="51758" y="28612"/>
                  </a:cubicBezTo>
                  <a:lnTo>
                    <a:pt x="28611" y="51758"/>
                  </a:lnTo>
                  <a:cubicBezTo>
                    <a:pt x="26040" y="54973"/>
                    <a:pt x="21539" y="56902"/>
                    <a:pt x="17038" y="56902"/>
                  </a:cubicBezTo>
                  <a:lnTo>
                    <a:pt x="17038" y="56902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86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6404957" y="539558"/>
            <a:ext cx="382939" cy="332219"/>
            <a:chOff x="6409122" y="548768"/>
            <a:chExt cx="388348" cy="336911"/>
          </a:xfrm>
          <a:solidFill>
            <a:srgbClr val="B1B1A1"/>
          </a:solidFill>
        </p:grpSpPr>
        <p:sp>
          <p:nvSpPr>
            <p:cNvPr id="387" name="Forma Livre: Forma 386">
              <a:extLst>
                <a:ext uri="{FF2B5EF4-FFF2-40B4-BE49-F238E27FC236}">
                  <a16:creationId xmlns:a16="http://schemas.microsoft.com/office/drawing/2014/main" id="{84087001-F229-4598-81EB-F57D974B7B9C}"/>
                </a:ext>
              </a:extLst>
            </p:cNvPr>
            <p:cNvSpPr/>
            <p:nvPr/>
          </p:nvSpPr>
          <p:spPr>
            <a:xfrm>
              <a:off x="6409122" y="604063"/>
              <a:ext cx="388348" cy="281617"/>
            </a:xfrm>
            <a:custGeom>
              <a:avLst/>
              <a:gdLst>
                <a:gd name="connsiteX0" fmla="*/ 348485 w 388348"/>
                <a:gd name="connsiteY0" fmla="*/ 281617 h 281617"/>
                <a:gd name="connsiteX1" fmla="*/ 39864 w 388348"/>
                <a:gd name="connsiteY1" fmla="*/ 281617 h 281617"/>
                <a:gd name="connsiteX2" fmla="*/ 0 w 388348"/>
                <a:gd name="connsiteY2" fmla="*/ 241754 h 281617"/>
                <a:gd name="connsiteX3" fmla="*/ 0 w 388348"/>
                <a:gd name="connsiteY3" fmla="*/ 39864 h 281617"/>
                <a:gd name="connsiteX4" fmla="*/ 39864 w 388348"/>
                <a:gd name="connsiteY4" fmla="*/ 0 h 281617"/>
                <a:gd name="connsiteX5" fmla="*/ 348485 w 388348"/>
                <a:gd name="connsiteY5" fmla="*/ 0 h 281617"/>
                <a:gd name="connsiteX6" fmla="*/ 388348 w 388348"/>
                <a:gd name="connsiteY6" fmla="*/ 39864 h 281617"/>
                <a:gd name="connsiteX7" fmla="*/ 388348 w 388348"/>
                <a:gd name="connsiteY7" fmla="*/ 241754 h 281617"/>
                <a:gd name="connsiteX8" fmla="*/ 348485 w 388348"/>
                <a:gd name="connsiteY8" fmla="*/ 281617 h 281617"/>
                <a:gd name="connsiteX9" fmla="*/ 348485 w 388348"/>
                <a:gd name="connsiteY9" fmla="*/ 281617 h 281617"/>
                <a:gd name="connsiteX10" fmla="*/ 39864 w 388348"/>
                <a:gd name="connsiteY10" fmla="*/ 34077 h 281617"/>
                <a:gd name="connsiteX11" fmla="*/ 34077 w 388348"/>
                <a:gd name="connsiteY11" fmla="*/ 39864 h 281617"/>
                <a:gd name="connsiteX12" fmla="*/ 34077 w 388348"/>
                <a:gd name="connsiteY12" fmla="*/ 241754 h 281617"/>
                <a:gd name="connsiteX13" fmla="*/ 39864 w 388348"/>
                <a:gd name="connsiteY13" fmla="*/ 247540 h 281617"/>
                <a:gd name="connsiteX14" fmla="*/ 348485 w 388348"/>
                <a:gd name="connsiteY14" fmla="*/ 247540 h 281617"/>
                <a:gd name="connsiteX15" fmla="*/ 354272 w 388348"/>
                <a:gd name="connsiteY15" fmla="*/ 241754 h 281617"/>
                <a:gd name="connsiteX16" fmla="*/ 354272 w 388348"/>
                <a:gd name="connsiteY16" fmla="*/ 39864 h 281617"/>
                <a:gd name="connsiteX17" fmla="*/ 348485 w 388348"/>
                <a:gd name="connsiteY17" fmla="*/ 34077 h 281617"/>
                <a:gd name="connsiteX18" fmla="*/ 39864 w 388348"/>
                <a:gd name="connsiteY18" fmla="*/ 34077 h 281617"/>
                <a:gd name="connsiteX19" fmla="*/ 39864 w 388348"/>
                <a:gd name="connsiteY19" fmla="*/ 34077 h 281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88348" h="281617">
                  <a:moveTo>
                    <a:pt x="348485" y="281617"/>
                  </a:moveTo>
                  <a:lnTo>
                    <a:pt x="39864" y="281617"/>
                  </a:lnTo>
                  <a:cubicBezTo>
                    <a:pt x="18003" y="281617"/>
                    <a:pt x="0" y="263614"/>
                    <a:pt x="0" y="241754"/>
                  </a:cubicBezTo>
                  <a:lnTo>
                    <a:pt x="0" y="39864"/>
                  </a:lnTo>
                  <a:cubicBezTo>
                    <a:pt x="0" y="18003"/>
                    <a:pt x="18003" y="0"/>
                    <a:pt x="39864" y="0"/>
                  </a:cubicBezTo>
                  <a:lnTo>
                    <a:pt x="348485" y="0"/>
                  </a:lnTo>
                  <a:cubicBezTo>
                    <a:pt x="370346" y="0"/>
                    <a:pt x="388348" y="18003"/>
                    <a:pt x="388348" y="39864"/>
                  </a:cubicBezTo>
                  <a:lnTo>
                    <a:pt x="388348" y="241754"/>
                  </a:lnTo>
                  <a:cubicBezTo>
                    <a:pt x="388348" y="263614"/>
                    <a:pt x="370346" y="281617"/>
                    <a:pt x="348485" y="281617"/>
                  </a:cubicBezTo>
                  <a:lnTo>
                    <a:pt x="348485" y="281617"/>
                  </a:lnTo>
                  <a:close/>
                  <a:moveTo>
                    <a:pt x="39864" y="34077"/>
                  </a:moveTo>
                  <a:cubicBezTo>
                    <a:pt x="36649" y="34077"/>
                    <a:pt x="34077" y="36649"/>
                    <a:pt x="34077" y="39864"/>
                  </a:cubicBezTo>
                  <a:lnTo>
                    <a:pt x="34077" y="241754"/>
                  </a:lnTo>
                  <a:cubicBezTo>
                    <a:pt x="34077" y="244968"/>
                    <a:pt x="36649" y="247540"/>
                    <a:pt x="39864" y="247540"/>
                  </a:cubicBezTo>
                  <a:lnTo>
                    <a:pt x="348485" y="247540"/>
                  </a:lnTo>
                  <a:cubicBezTo>
                    <a:pt x="351700" y="247540"/>
                    <a:pt x="354272" y="244968"/>
                    <a:pt x="354272" y="241754"/>
                  </a:cubicBezTo>
                  <a:lnTo>
                    <a:pt x="354272" y="39864"/>
                  </a:lnTo>
                  <a:cubicBezTo>
                    <a:pt x="354272" y="36649"/>
                    <a:pt x="351700" y="34077"/>
                    <a:pt x="348485" y="34077"/>
                  </a:cubicBezTo>
                  <a:lnTo>
                    <a:pt x="39864" y="34077"/>
                  </a:lnTo>
                  <a:lnTo>
                    <a:pt x="39864" y="34077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88" name="Forma Livre: Forma 387">
              <a:extLst>
                <a:ext uri="{FF2B5EF4-FFF2-40B4-BE49-F238E27FC236}">
                  <a16:creationId xmlns:a16="http://schemas.microsoft.com/office/drawing/2014/main" id="{93398F14-4364-48EB-A801-A2F48520F499}"/>
                </a:ext>
              </a:extLst>
            </p:cNvPr>
            <p:cNvSpPr/>
            <p:nvPr/>
          </p:nvSpPr>
          <p:spPr>
            <a:xfrm>
              <a:off x="6467631" y="660001"/>
              <a:ext cx="169741" cy="169741"/>
            </a:xfrm>
            <a:custGeom>
              <a:avLst/>
              <a:gdLst>
                <a:gd name="connsiteX0" fmla="*/ 84871 w 169741"/>
                <a:gd name="connsiteY0" fmla="*/ 169742 h 169741"/>
                <a:gd name="connsiteX1" fmla="*/ 0 w 169741"/>
                <a:gd name="connsiteY1" fmla="*/ 84871 h 169741"/>
                <a:gd name="connsiteX2" fmla="*/ 84871 w 169741"/>
                <a:gd name="connsiteY2" fmla="*/ 0 h 169741"/>
                <a:gd name="connsiteX3" fmla="*/ 169742 w 169741"/>
                <a:gd name="connsiteY3" fmla="*/ 84871 h 169741"/>
                <a:gd name="connsiteX4" fmla="*/ 84871 w 169741"/>
                <a:gd name="connsiteY4" fmla="*/ 169742 h 169741"/>
                <a:gd name="connsiteX5" fmla="*/ 84871 w 169741"/>
                <a:gd name="connsiteY5" fmla="*/ 169742 h 169741"/>
                <a:gd name="connsiteX6" fmla="*/ 84871 w 169741"/>
                <a:gd name="connsiteY6" fmla="*/ 34077 h 169741"/>
                <a:gd name="connsiteX7" fmla="*/ 34077 w 169741"/>
                <a:gd name="connsiteY7" fmla="*/ 84871 h 169741"/>
                <a:gd name="connsiteX8" fmla="*/ 84871 w 169741"/>
                <a:gd name="connsiteY8" fmla="*/ 135665 h 169741"/>
                <a:gd name="connsiteX9" fmla="*/ 135665 w 169741"/>
                <a:gd name="connsiteY9" fmla="*/ 84871 h 169741"/>
                <a:gd name="connsiteX10" fmla="*/ 84871 w 169741"/>
                <a:gd name="connsiteY10" fmla="*/ 34077 h 169741"/>
                <a:gd name="connsiteX11" fmla="*/ 84871 w 169741"/>
                <a:gd name="connsiteY11" fmla="*/ 34077 h 169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9741" h="169741">
                  <a:moveTo>
                    <a:pt x="84871" y="169742"/>
                  </a:moveTo>
                  <a:cubicBezTo>
                    <a:pt x="37935" y="169742"/>
                    <a:pt x="0" y="131807"/>
                    <a:pt x="0" y="84871"/>
                  </a:cubicBezTo>
                  <a:cubicBezTo>
                    <a:pt x="0" y="37935"/>
                    <a:pt x="37935" y="0"/>
                    <a:pt x="84871" y="0"/>
                  </a:cubicBezTo>
                  <a:cubicBezTo>
                    <a:pt x="131807" y="0"/>
                    <a:pt x="169742" y="37935"/>
                    <a:pt x="169742" y="84871"/>
                  </a:cubicBezTo>
                  <a:cubicBezTo>
                    <a:pt x="169742" y="131807"/>
                    <a:pt x="131807" y="169742"/>
                    <a:pt x="84871" y="169742"/>
                  </a:cubicBezTo>
                  <a:lnTo>
                    <a:pt x="84871" y="169742"/>
                  </a:lnTo>
                  <a:close/>
                  <a:moveTo>
                    <a:pt x="84871" y="34077"/>
                  </a:moveTo>
                  <a:cubicBezTo>
                    <a:pt x="56581" y="34077"/>
                    <a:pt x="34077" y="57224"/>
                    <a:pt x="34077" y="84871"/>
                  </a:cubicBezTo>
                  <a:cubicBezTo>
                    <a:pt x="34077" y="112518"/>
                    <a:pt x="57224" y="135665"/>
                    <a:pt x="84871" y="135665"/>
                  </a:cubicBezTo>
                  <a:cubicBezTo>
                    <a:pt x="113161" y="135665"/>
                    <a:pt x="135665" y="112518"/>
                    <a:pt x="135665" y="84871"/>
                  </a:cubicBezTo>
                  <a:cubicBezTo>
                    <a:pt x="135665" y="57224"/>
                    <a:pt x="112518" y="34077"/>
                    <a:pt x="84871" y="34077"/>
                  </a:cubicBezTo>
                  <a:lnTo>
                    <a:pt x="84871" y="34077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89" name="Forma Livre: Forma 388">
              <a:extLst>
                <a:ext uri="{FF2B5EF4-FFF2-40B4-BE49-F238E27FC236}">
                  <a16:creationId xmlns:a16="http://schemas.microsoft.com/office/drawing/2014/main" id="{D6A59EE4-26EC-4509-9EB8-FF3159D659EE}"/>
                </a:ext>
              </a:extLst>
            </p:cNvPr>
            <p:cNvSpPr/>
            <p:nvPr/>
          </p:nvSpPr>
          <p:spPr>
            <a:xfrm>
              <a:off x="6708099" y="548768"/>
              <a:ext cx="33471" cy="84227"/>
            </a:xfrm>
            <a:custGeom>
              <a:avLst/>
              <a:gdLst>
                <a:gd name="connsiteX0" fmla="*/ 16717 w 33471"/>
                <a:gd name="connsiteY0" fmla="*/ 84228 h 84227"/>
                <a:gd name="connsiteX1" fmla="*/ 0 w 33471"/>
                <a:gd name="connsiteY1" fmla="*/ 67511 h 84227"/>
                <a:gd name="connsiteX2" fmla="*/ 0 w 33471"/>
                <a:gd name="connsiteY2" fmla="*/ 16717 h 84227"/>
                <a:gd name="connsiteX3" fmla="*/ 16717 w 33471"/>
                <a:gd name="connsiteY3" fmla="*/ 0 h 84227"/>
                <a:gd name="connsiteX4" fmla="*/ 33434 w 33471"/>
                <a:gd name="connsiteY4" fmla="*/ 16717 h 84227"/>
                <a:gd name="connsiteX5" fmla="*/ 33434 w 33471"/>
                <a:gd name="connsiteY5" fmla="*/ 67511 h 84227"/>
                <a:gd name="connsiteX6" fmla="*/ 16717 w 33471"/>
                <a:gd name="connsiteY6" fmla="*/ 84228 h 84227"/>
                <a:gd name="connsiteX7" fmla="*/ 16717 w 33471"/>
                <a:gd name="connsiteY7" fmla="*/ 84228 h 8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471" h="84227">
                  <a:moveTo>
                    <a:pt x="16717" y="84228"/>
                  </a:moveTo>
                  <a:cubicBezTo>
                    <a:pt x="7072" y="84228"/>
                    <a:pt x="0" y="76512"/>
                    <a:pt x="0" y="67511"/>
                  </a:cubicBezTo>
                  <a:lnTo>
                    <a:pt x="0" y="16717"/>
                  </a:lnTo>
                  <a:cubicBezTo>
                    <a:pt x="0" y="7073"/>
                    <a:pt x="7716" y="0"/>
                    <a:pt x="16717" y="0"/>
                  </a:cubicBezTo>
                  <a:cubicBezTo>
                    <a:pt x="26361" y="0"/>
                    <a:pt x="33434" y="7716"/>
                    <a:pt x="33434" y="16717"/>
                  </a:cubicBezTo>
                  <a:lnTo>
                    <a:pt x="33434" y="67511"/>
                  </a:lnTo>
                  <a:cubicBezTo>
                    <a:pt x="34077" y="76512"/>
                    <a:pt x="26361" y="84228"/>
                    <a:pt x="16717" y="84228"/>
                  </a:cubicBezTo>
                  <a:lnTo>
                    <a:pt x="16717" y="84228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90" name="Forma Livre: Forma 389">
              <a:extLst>
                <a:ext uri="{FF2B5EF4-FFF2-40B4-BE49-F238E27FC236}">
                  <a16:creationId xmlns:a16="http://schemas.microsoft.com/office/drawing/2014/main" id="{07FEC2D6-0247-4678-BAD2-D8B3DDFD453A}"/>
                </a:ext>
              </a:extLst>
            </p:cNvPr>
            <p:cNvSpPr/>
            <p:nvPr/>
          </p:nvSpPr>
          <p:spPr>
            <a:xfrm>
              <a:off x="6643159" y="696007"/>
              <a:ext cx="98410" cy="33434"/>
            </a:xfrm>
            <a:custGeom>
              <a:avLst/>
              <a:gdLst>
                <a:gd name="connsiteX0" fmla="*/ 81656 w 98410"/>
                <a:gd name="connsiteY0" fmla="*/ 33434 h 33434"/>
                <a:gd name="connsiteX1" fmla="*/ 16717 w 98410"/>
                <a:gd name="connsiteY1" fmla="*/ 33434 h 33434"/>
                <a:gd name="connsiteX2" fmla="*/ 0 w 98410"/>
                <a:gd name="connsiteY2" fmla="*/ 16717 h 33434"/>
                <a:gd name="connsiteX3" fmla="*/ 16717 w 98410"/>
                <a:gd name="connsiteY3" fmla="*/ 0 h 33434"/>
                <a:gd name="connsiteX4" fmla="*/ 81656 w 98410"/>
                <a:gd name="connsiteY4" fmla="*/ 0 h 33434"/>
                <a:gd name="connsiteX5" fmla="*/ 98373 w 98410"/>
                <a:gd name="connsiteY5" fmla="*/ 16717 h 33434"/>
                <a:gd name="connsiteX6" fmla="*/ 81656 w 98410"/>
                <a:gd name="connsiteY6" fmla="*/ 33434 h 33434"/>
                <a:gd name="connsiteX7" fmla="*/ 81656 w 98410"/>
                <a:gd name="connsiteY7" fmla="*/ 33434 h 33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8410" h="33434">
                  <a:moveTo>
                    <a:pt x="81656" y="33434"/>
                  </a:moveTo>
                  <a:lnTo>
                    <a:pt x="16717" y="33434"/>
                  </a:lnTo>
                  <a:cubicBezTo>
                    <a:pt x="7073" y="33434"/>
                    <a:pt x="0" y="25718"/>
                    <a:pt x="0" y="16717"/>
                  </a:cubicBezTo>
                  <a:cubicBezTo>
                    <a:pt x="0" y="7073"/>
                    <a:pt x="7716" y="0"/>
                    <a:pt x="16717" y="0"/>
                  </a:cubicBezTo>
                  <a:lnTo>
                    <a:pt x="81656" y="0"/>
                  </a:lnTo>
                  <a:cubicBezTo>
                    <a:pt x="91301" y="0"/>
                    <a:pt x="98373" y="7716"/>
                    <a:pt x="98373" y="16717"/>
                  </a:cubicBezTo>
                  <a:cubicBezTo>
                    <a:pt x="99016" y="25718"/>
                    <a:pt x="91301" y="33434"/>
                    <a:pt x="81656" y="33434"/>
                  </a:cubicBezTo>
                  <a:lnTo>
                    <a:pt x="81656" y="33434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91" name="Forma Livre: Forma 390">
              <a:extLst>
                <a:ext uri="{FF2B5EF4-FFF2-40B4-BE49-F238E27FC236}">
                  <a16:creationId xmlns:a16="http://schemas.microsoft.com/office/drawing/2014/main" id="{84C04BE7-9FFD-4F66-8910-15A35447E83F}"/>
                </a:ext>
              </a:extLst>
            </p:cNvPr>
            <p:cNvSpPr/>
            <p:nvPr/>
          </p:nvSpPr>
          <p:spPr>
            <a:xfrm>
              <a:off x="6708099" y="741014"/>
              <a:ext cx="33434" cy="33434"/>
            </a:xfrm>
            <a:custGeom>
              <a:avLst/>
              <a:gdLst>
                <a:gd name="connsiteX0" fmla="*/ 16717 w 33434"/>
                <a:gd name="connsiteY0" fmla="*/ 0 h 33434"/>
                <a:gd name="connsiteX1" fmla="*/ 0 w 33434"/>
                <a:gd name="connsiteY1" fmla="*/ 16717 h 33434"/>
                <a:gd name="connsiteX2" fmla="*/ 16717 w 33434"/>
                <a:gd name="connsiteY2" fmla="*/ 33434 h 33434"/>
                <a:gd name="connsiteX3" fmla="*/ 33434 w 33434"/>
                <a:gd name="connsiteY3" fmla="*/ 16717 h 33434"/>
                <a:gd name="connsiteX4" fmla="*/ 16717 w 33434"/>
                <a:gd name="connsiteY4" fmla="*/ 0 h 33434"/>
                <a:gd name="connsiteX5" fmla="*/ 16717 w 33434"/>
                <a:gd name="connsiteY5" fmla="*/ 0 h 33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434" h="33434">
                  <a:moveTo>
                    <a:pt x="16717" y="0"/>
                  </a:moveTo>
                  <a:cubicBezTo>
                    <a:pt x="7072" y="0"/>
                    <a:pt x="0" y="7716"/>
                    <a:pt x="0" y="16717"/>
                  </a:cubicBezTo>
                  <a:cubicBezTo>
                    <a:pt x="0" y="26361"/>
                    <a:pt x="7716" y="33434"/>
                    <a:pt x="16717" y="33434"/>
                  </a:cubicBezTo>
                  <a:cubicBezTo>
                    <a:pt x="26361" y="33434"/>
                    <a:pt x="33434" y="25718"/>
                    <a:pt x="33434" y="16717"/>
                  </a:cubicBezTo>
                  <a:cubicBezTo>
                    <a:pt x="33434" y="7716"/>
                    <a:pt x="25718" y="0"/>
                    <a:pt x="16717" y="0"/>
                  </a:cubicBezTo>
                  <a:lnTo>
                    <a:pt x="16717" y="0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92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5373428" y="592814"/>
            <a:ext cx="401326" cy="225706"/>
            <a:chOff x="5363024" y="602777"/>
            <a:chExt cx="406994" cy="228894"/>
          </a:xfrm>
          <a:solidFill>
            <a:srgbClr val="B1B1A1"/>
          </a:solidFill>
        </p:grpSpPr>
        <p:grpSp>
          <p:nvGrpSpPr>
            <p:cNvPr id="393" name="Gráfico 2">
              <a:extLst>
                <a:ext uri="{FF2B5EF4-FFF2-40B4-BE49-F238E27FC236}">
                  <a16:creationId xmlns:a16="http://schemas.microsoft.com/office/drawing/2014/main" id="{40F8E44F-B406-439F-8B63-82F15B4E8194}"/>
                </a:ext>
              </a:extLst>
            </p:cNvPr>
            <p:cNvGrpSpPr/>
            <p:nvPr/>
          </p:nvGrpSpPr>
          <p:grpSpPr>
            <a:xfrm>
              <a:off x="5429248" y="657429"/>
              <a:ext cx="118947" cy="119590"/>
              <a:chOff x="5429248" y="657429"/>
              <a:chExt cx="118947" cy="119590"/>
            </a:xfrm>
            <a:grpFill/>
          </p:grpSpPr>
          <p:sp>
            <p:nvSpPr>
              <p:cNvPr id="394" name="Forma Livre: Forma 393">
                <a:extLst>
                  <a:ext uri="{FF2B5EF4-FFF2-40B4-BE49-F238E27FC236}">
                    <a16:creationId xmlns:a16="http://schemas.microsoft.com/office/drawing/2014/main" id="{A9EBE644-702D-42B9-91BF-15BAFD685F5E}"/>
                  </a:ext>
                </a:extLst>
              </p:cNvPr>
              <p:cNvSpPr/>
              <p:nvPr/>
            </p:nvSpPr>
            <p:spPr>
              <a:xfrm>
                <a:off x="5429248" y="700507"/>
                <a:ext cx="118947" cy="33434"/>
              </a:xfrm>
              <a:custGeom>
                <a:avLst/>
                <a:gdLst>
                  <a:gd name="connsiteX0" fmla="*/ 102231 w 118947"/>
                  <a:gd name="connsiteY0" fmla="*/ 33434 h 33434"/>
                  <a:gd name="connsiteX1" fmla="*/ 16717 w 118947"/>
                  <a:gd name="connsiteY1" fmla="*/ 33434 h 33434"/>
                  <a:gd name="connsiteX2" fmla="*/ 0 w 118947"/>
                  <a:gd name="connsiteY2" fmla="*/ 16717 h 33434"/>
                  <a:gd name="connsiteX3" fmla="*/ 16717 w 118947"/>
                  <a:gd name="connsiteY3" fmla="*/ 0 h 33434"/>
                  <a:gd name="connsiteX4" fmla="*/ 102231 w 118947"/>
                  <a:gd name="connsiteY4" fmla="*/ 0 h 33434"/>
                  <a:gd name="connsiteX5" fmla="*/ 118948 w 118947"/>
                  <a:gd name="connsiteY5" fmla="*/ 16717 h 33434"/>
                  <a:gd name="connsiteX6" fmla="*/ 102231 w 118947"/>
                  <a:gd name="connsiteY6" fmla="*/ 33434 h 33434"/>
                  <a:gd name="connsiteX7" fmla="*/ 102231 w 118947"/>
                  <a:gd name="connsiteY7" fmla="*/ 33434 h 33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8947" h="33434">
                    <a:moveTo>
                      <a:pt x="102231" y="33434"/>
                    </a:moveTo>
                    <a:lnTo>
                      <a:pt x="16717" y="33434"/>
                    </a:lnTo>
                    <a:cubicBezTo>
                      <a:pt x="7073" y="33434"/>
                      <a:pt x="0" y="25718"/>
                      <a:pt x="0" y="16717"/>
                    </a:cubicBezTo>
                    <a:cubicBezTo>
                      <a:pt x="0" y="7073"/>
                      <a:pt x="7716" y="0"/>
                      <a:pt x="16717" y="0"/>
                    </a:cubicBezTo>
                    <a:lnTo>
                      <a:pt x="102231" y="0"/>
                    </a:lnTo>
                    <a:cubicBezTo>
                      <a:pt x="111875" y="0"/>
                      <a:pt x="118948" y="7716"/>
                      <a:pt x="118948" y="16717"/>
                    </a:cubicBezTo>
                    <a:cubicBezTo>
                      <a:pt x="118948" y="25718"/>
                      <a:pt x="111232" y="33434"/>
                      <a:pt x="102231" y="33434"/>
                    </a:cubicBezTo>
                    <a:lnTo>
                      <a:pt x="102231" y="33434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95" name="Forma Livre: Forma 394">
                <a:extLst>
                  <a:ext uri="{FF2B5EF4-FFF2-40B4-BE49-F238E27FC236}">
                    <a16:creationId xmlns:a16="http://schemas.microsoft.com/office/drawing/2014/main" id="{7547CF09-3A67-400E-B237-047BF619B6C1}"/>
                  </a:ext>
                </a:extLst>
              </p:cNvPr>
              <p:cNvSpPr/>
              <p:nvPr/>
            </p:nvSpPr>
            <p:spPr>
              <a:xfrm>
                <a:off x="5471684" y="657429"/>
                <a:ext cx="33471" cy="119590"/>
              </a:xfrm>
              <a:custGeom>
                <a:avLst/>
                <a:gdLst>
                  <a:gd name="connsiteX0" fmla="*/ 16717 w 33471"/>
                  <a:gd name="connsiteY0" fmla="*/ 119591 h 119590"/>
                  <a:gd name="connsiteX1" fmla="*/ 0 w 33471"/>
                  <a:gd name="connsiteY1" fmla="*/ 102874 h 119590"/>
                  <a:gd name="connsiteX2" fmla="*/ 0 w 33471"/>
                  <a:gd name="connsiteY2" fmla="*/ 16717 h 119590"/>
                  <a:gd name="connsiteX3" fmla="*/ 16717 w 33471"/>
                  <a:gd name="connsiteY3" fmla="*/ 0 h 119590"/>
                  <a:gd name="connsiteX4" fmla="*/ 33434 w 33471"/>
                  <a:gd name="connsiteY4" fmla="*/ 16717 h 119590"/>
                  <a:gd name="connsiteX5" fmla="*/ 33434 w 33471"/>
                  <a:gd name="connsiteY5" fmla="*/ 102231 h 119590"/>
                  <a:gd name="connsiteX6" fmla="*/ 16717 w 33471"/>
                  <a:gd name="connsiteY6" fmla="*/ 119591 h 119590"/>
                  <a:gd name="connsiteX7" fmla="*/ 16717 w 33471"/>
                  <a:gd name="connsiteY7" fmla="*/ 119591 h 119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471" h="119590">
                    <a:moveTo>
                      <a:pt x="16717" y="119591"/>
                    </a:moveTo>
                    <a:cubicBezTo>
                      <a:pt x="7072" y="119591"/>
                      <a:pt x="0" y="111875"/>
                      <a:pt x="0" y="102874"/>
                    </a:cubicBezTo>
                    <a:lnTo>
                      <a:pt x="0" y="16717"/>
                    </a:lnTo>
                    <a:cubicBezTo>
                      <a:pt x="0" y="7073"/>
                      <a:pt x="7715" y="0"/>
                      <a:pt x="16717" y="0"/>
                    </a:cubicBezTo>
                    <a:cubicBezTo>
                      <a:pt x="26361" y="0"/>
                      <a:pt x="33434" y="7716"/>
                      <a:pt x="33434" y="16717"/>
                    </a:cubicBezTo>
                    <a:lnTo>
                      <a:pt x="33434" y="102231"/>
                    </a:lnTo>
                    <a:cubicBezTo>
                      <a:pt x="34077" y="111875"/>
                      <a:pt x="26361" y="119591"/>
                      <a:pt x="16717" y="119591"/>
                    </a:cubicBezTo>
                    <a:lnTo>
                      <a:pt x="16717" y="119591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396" name="Forma Livre: Forma 395">
              <a:extLst>
                <a:ext uri="{FF2B5EF4-FFF2-40B4-BE49-F238E27FC236}">
                  <a16:creationId xmlns:a16="http://schemas.microsoft.com/office/drawing/2014/main" id="{84385FC5-E9B2-4A34-AB69-6FE435CBCA86}"/>
                </a:ext>
              </a:extLst>
            </p:cNvPr>
            <p:cNvSpPr/>
            <p:nvPr/>
          </p:nvSpPr>
          <p:spPr>
            <a:xfrm>
              <a:off x="5363024" y="602777"/>
              <a:ext cx="406994" cy="228894"/>
            </a:xfrm>
            <a:custGeom>
              <a:avLst/>
              <a:gdLst>
                <a:gd name="connsiteX0" fmla="*/ 292547 w 406994"/>
                <a:gd name="connsiteY0" fmla="*/ 228894 h 228894"/>
                <a:gd name="connsiteX1" fmla="*/ 114447 w 406994"/>
                <a:gd name="connsiteY1" fmla="*/ 228894 h 228894"/>
                <a:gd name="connsiteX2" fmla="*/ 0 w 406994"/>
                <a:gd name="connsiteY2" fmla="*/ 114447 h 228894"/>
                <a:gd name="connsiteX3" fmla="*/ 114447 w 406994"/>
                <a:gd name="connsiteY3" fmla="*/ 0 h 228894"/>
                <a:gd name="connsiteX4" fmla="*/ 292547 w 406994"/>
                <a:gd name="connsiteY4" fmla="*/ 0 h 228894"/>
                <a:gd name="connsiteX5" fmla="*/ 406994 w 406994"/>
                <a:gd name="connsiteY5" fmla="*/ 114447 h 228894"/>
                <a:gd name="connsiteX6" fmla="*/ 292547 w 406994"/>
                <a:gd name="connsiteY6" fmla="*/ 228894 h 228894"/>
                <a:gd name="connsiteX7" fmla="*/ 292547 w 406994"/>
                <a:gd name="connsiteY7" fmla="*/ 228894 h 228894"/>
                <a:gd name="connsiteX8" fmla="*/ 114447 w 406994"/>
                <a:gd name="connsiteY8" fmla="*/ 33434 h 228894"/>
                <a:gd name="connsiteX9" fmla="*/ 34077 w 406994"/>
                <a:gd name="connsiteY9" fmla="*/ 113804 h 228894"/>
                <a:gd name="connsiteX10" fmla="*/ 114447 w 406994"/>
                <a:gd name="connsiteY10" fmla="*/ 194174 h 228894"/>
                <a:gd name="connsiteX11" fmla="*/ 292547 w 406994"/>
                <a:gd name="connsiteY11" fmla="*/ 194174 h 228894"/>
                <a:gd name="connsiteX12" fmla="*/ 372918 w 406994"/>
                <a:gd name="connsiteY12" fmla="*/ 113804 h 228894"/>
                <a:gd name="connsiteX13" fmla="*/ 292547 w 406994"/>
                <a:gd name="connsiteY13" fmla="*/ 33434 h 228894"/>
                <a:gd name="connsiteX14" fmla="*/ 114447 w 406994"/>
                <a:gd name="connsiteY14" fmla="*/ 33434 h 228894"/>
                <a:gd name="connsiteX15" fmla="*/ 114447 w 406994"/>
                <a:gd name="connsiteY15" fmla="*/ 33434 h 228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6994" h="228894">
                  <a:moveTo>
                    <a:pt x="292547" y="228894"/>
                  </a:moveTo>
                  <a:lnTo>
                    <a:pt x="114447" y="228894"/>
                  </a:lnTo>
                  <a:cubicBezTo>
                    <a:pt x="51437" y="228894"/>
                    <a:pt x="0" y="177457"/>
                    <a:pt x="0" y="114447"/>
                  </a:cubicBezTo>
                  <a:cubicBezTo>
                    <a:pt x="0" y="51437"/>
                    <a:pt x="51437" y="0"/>
                    <a:pt x="114447" y="0"/>
                  </a:cubicBezTo>
                  <a:lnTo>
                    <a:pt x="292547" y="0"/>
                  </a:lnTo>
                  <a:cubicBezTo>
                    <a:pt x="355558" y="0"/>
                    <a:pt x="406994" y="51437"/>
                    <a:pt x="406994" y="114447"/>
                  </a:cubicBezTo>
                  <a:cubicBezTo>
                    <a:pt x="406994" y="177457"/>
                    <a:pt x="355558" y="228894"/>
                    <a:pt x="292547" y="228894"/>
                  </a:cubicBezTo>
                  <a:lnTo>
                    <a:pt x="292547" y="228894"/>
                  </a:lnTo>
                  <a:close/>
                  <a:moveTo>
                    <a:pt x="114447" y="33434"/>
                  </a:moveTo>
                  <a:cubicBezTo>
                    <a:pt x="70083" y="33434"/>
                    <a:pt x="34077" y="69440"/>
                    <a:pt x="34077" y="113804"/>
                  </a:cubicBezTo>
                  <a:cubicBezTo>
                    <a:pt x="34077" y="158169"/>
                    <a:pt x="70083" y="194174"/>
                    <a:pt x="114447" y="194174"/>
                  </a:cubicBezTo>
                  <a:lnTo>
                    <a:pt x="292547" y="194174"/>
                  </a:lnTo>
                  <a:cubicBezTo>
                    <a:pt x="336912" y="194174"/>
                    <a:pt x="372918" y="158169"/>
                    <a:pt x="372918" y="113804"/>
                  </a:cubicBezTo>
                  <a:cubicBezTo>
                    <a:pt x="372918" y="69440"/>
                    <a:pt x="336912" y="33434"/>
                    <a:pt x="292547" y="33434"/>
                  </a:cubicBezTo>
                  <a:lnTo>
                    <a:pt x="114447" y="33434"/>
                  </a:lnTo>
                  <a:lnTo>
                    <a:pt x="114447" y="33434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397" name="Gráfico 2">
              <a:extLst>
                <a:ext uri="{FF2B5EF4-FFF2-40B4-BE49-F238E27FC236}">
                  <a16:creationId xmlns:a16="http://schemas.microsoft.com/office/drawing/2014/main" id="{40F8E44F-B406-439F-8B63-82F15B4E8194}"/>
                </a:ext>
              </a:extLst>
            </p:cNvPr>
            <p:cNvGrpSpPr/>
            <p:nvPr/>
          </p:nvGrpSpPr>
          <p:grpSpPr>
            <a:xfrm>
              <a:off x="5595132" y="661287"/>
              <a:ext cx="111907" cy="111875"/>
              <a:chOff x="5595132" y="661287"/>
              <a:chExt cx="111907" cy="111875"/>
            </a:xfrm>
            <a:grpFill/>
          </p:grpSpPr>
          <p:sp>
            <p:nvSpPr>
              <p:cNvPr id="398" name="Forma Livre: Forma 397">
                <a:extLst>
                  <a:ext uri="{FF2B5EF4-FFF2-40B4-BE49-F238E27FC236}">
                    <a16:creationId xmlns:a16="http://schemas.microsoft.com/office/drawing/2014/main" id="{C816822D-23F4-4784-8A5A-AC6B5626D720}"/>
                  </a:ext>
                </a:extLst>
              </p:cNvPr>
              <p:cNvSpPr/>
              <p:nvPr/>
            </p:nvSpPr>
            <p:spPr>
              <a:xfrm>
                <a:off x="5631138" y="661287"/>
                <a:ext cx="39863" cy="39863"/>
              </a:xfrm>
              <a:custGeom>
                <a:avLst/>
                <a:gdLst>
                  <a:gd name="connsiteX0" fmla="*/ 19932 w 39863"/>
                  <a:gd name="connsiteY0" fmla="*/ 0 h 39863"/>
                  <a:gd name="connsiteX1" fmla="*/ 0 w 39863"/>
                  <a:gd name="connsiteY1" fmla="*/ 19932 h 39863"/>
                  <a:gd name="connsiteX2" fmla="*/ 19932 w 39863"/>
                  <a:gd name="connsiteY2" fmla="*/ 39864 h 39863"/>
                  <a:gd name="connsiteX3" fmla="*/ 39864 w 39863"/>
                  <a:gd name="connsiteY3" fmla="*/ 19932 h 39863"/>
                  <a:gd name="connsiteX4" fmla="*/ 19932 w 39863"/>
                  <a:gd name="connsiteY4" fmla="*/ 0 h 39863"/>
                  <a:gd name="connsiteX5" fmla="*/ 19932 w 39863"/>
                  <a:gd name="connsiteY5" fmla="*/ 0 h 39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863" h="39863">
                    <a:moveTo>
                      <a:pt x="19932" y="0"/>
                    </a:moveTo>
                    <a:cubicBezTo>
                      <a:pt x="9001" y="0"/>
                      <a:pt x="0" y="9001"/>
                      <a:pt x="0" y="19932"/>
                    </a:cubicBezTo>
                    <a:cubicBezTo>
                      <a:pt x="0" y="30862"/>
                      <a:pt x="9001" y="39864"/>
                      <a:pt x="19932" y="39864"/>
                    </a:cubicBezTo>
                    <a:cubicBezTo>
                      <a:pt x="30862" y="39864"/>
                      <a:pt x="39864" y="30862"/>
                      <a:pt x="39864" y="19932"/>
                    </a:cubicBezTo>
                    <a:cubicBezTo>
                      <a:pt x="39864" y="8358"/>
                      <a:pt x="30862" y="0"/>
                      <a:pt x="19932" y="0"/>
                    </a:cubicBezTo>
                    <a:lnTo>
                      <a:pt x="19932" y="0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99" name="Forma Livre: Forma 398">
                <a:extLst>
                  <a:ext uri="{FF2B5EF4-FFF2-40B4-BE49-F238E27FC236}">
                    <a16:creationId xmlns:a16="http://schemas.microsoft.com/office/drawing/2014/main" id="{10E2A292-1C40-4B41-B4A5-3B365EC346A0}"/>
                  </a:ext>
                </a:extLst>
              </p:cNvPr>
              <p:cNvSpPr/>
              <p:nvPr/>
            </p:nvSpPr>
            <p:spPr>
              <a:xfrm>
                <a:off x="5631138" y="733298"/>
                <a:ext cx="39863" cy="39863"/>
              </a:xfrm>
              <a:custGeom>
                <a:avLst/>
                <a:gdLst>
                  <a:gd name="connsiteX0" fmla="*/ 19932 w 39863"/>
                  <a:gd name="connsiteY0" fmla="*/ 0 h 39863"/>
                  <a:gd name="connsiteX1" fmla="*/ 0 w 39863"/>
                  <a:gd name="connsiteY1" fmla="*/ 19932 h 39863"/>
                  <a:gd name="connsiteX2" fmla="*/ 19932 w 39863"/>
                  <a:gd name="connsiteY2" fmla="*/ 39864 h 39863"/>
                  <a:gd name="connsiteX3" fmla="*/ 39864 w 39863"/>
                  <a:gd name="connsiteY3" fmla="*/ 19932 h 39863"/>
                  <a:gd name="connsiteX4" fmla="*/ 19932 w 39863"/>
                  <a:gd name="connsiteY4" fmla="*/ 0 h 39863"/>
                  <a:gd name="connsiteX5" fmla="*/ 19932 w 39863"/>
                  <a:gd name="connsiteY5" fmla="*/ 0 h 39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863" h="39863">
                    <a:moveTo>
                      <a:pt x="19932" y="0"/>
                    </a:moveTo>
                    <a:cubicBezTo>
                      <a:pt x="9001" y="0"/>
                      <a:pt x="0" y="9001"/>
                      <a:pt x="0" y="19932"/>
                    </a:cubicBezTo>
                    <a:cubicBezTo>
                      <a:pt x="0" y="30862"/>
                      <a:pt x="9001" y="39864"/>
                      <a:pt x="19932" y="39864"/>
                    </a:cubicBezTo>
                    <a:cubicBezTo>
                      <a:pt x="30862" y="39864"/>
                      <a:pt x="39864" y="30862"/>
                      <a:pt x="39864" y="19932"/>
                    </a:cubicBezTo>
                    <a:cubicBezTo>
                      <a:pt x="39864" y="9001"/>
                      <a:pt x="30862" y="0"/>
                      <a:pt x="19932" y="0"/>
                    </a:cubicBezTo>
                    <a:lnTo>
                      <a:pt x="19932" y="0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00" name="Forma Livre: Forma 399">
                <a:extLst>
                  <a:ext uri="{FF2B5EF4-FFF2-40B4-BE49-F238E27FC236}">
                    <a16:creationId xmlns:a16="http://schemas.microsoft.com/office/drawing/2014/main" id="{84D65A68-ED71-4BFB-9B80-0D94013298CA}"/>
                  </a:ext>
                </a:extLst>
              </p:cNvPr>
              <p:cNvSpPr/>
              <p:nvPr/>
            </p:nvSpPr>
            <p:spPr>
              <a:xfrm>
                <a:off x="5667144" y="697292"/>
                <a:ext cx="39896" cy="39863"/>
              </a:xfrm>
              <a:custGeom>
                <a:avLst/>
                <a:gdLst>
                  <a:gd name="connsiteX0" fmla="*/ 19932 w 39896"/>
                  <a:gd name="connsiteY0" fmla="*/ 0 h 39863"/>
                  <a:gd name="connsiteX1" fmla="*/ 0 w 39896"/>
                  <a:gd name="connsiteY1" fmla="*/ 19932 h 39863"/>
                  <a:gd name="connsiteX2" fmla="*/ 19932 w 39896"/>
                  <a:gd name="connsiteY2" fmla="*/ 39864 h 39863"/>
                  <a:gd name="connsiteX3" fmla="*/ 39864 w 39896"/>
                  <a:gd name="connsiteY3" fmla="*/ 19932 h 39863"/>
                  <a:gd name="connsiteX4" fmla="*/ 19932 w 39896"/>
                  <a:gd name="connsiteY4" fmla="*/ 0 h 39863"/>
                  <a:gd name="connsiteX5" fmla="*/ 19932 w 39896"/>
                  <a:gd name="connsiteY5" fmla="*/ 0 h 39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896" h="39863">
                    <a:moveTo>
                      <a:pt x="19932" y="0"/>
                    </a:moveTo>
                    <a:cubicBezTo>
                      <a:pt x="9002" y="0"/>
                      <a:pt x="0" y="9001"/>
                      <a:pt x="0" y="19932"/>
                    </a:cubicBezTo>
                    <a:cubicBezTo>
                      <a:pt x="0" y="30862"/>
                      <a:pt x="9002" y="39864"/>
                      <a:pt x="19932" y="39864"/>
                    </a:cubicBezTo>
                    <a:cubicBezTo>
                      <a:pt x="30862" y="39864"/>
                      <a:pt x="39864" y="30862"/>
                      <a:pt x="39864" y="19932"/>
                    </a:cubicBezTo>
                    <a:cubicBezTo>
                      <a:pt x="40506" y="9001"/>
                      <a:pt x="31505" y="0"/>
                      <a:pt x="19932" y="0"/>
                    </a:cubicBezTo>
                    <a:lnTo>
                      <a:pt x="19932" y="0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01" name="Forma Livre: Forma 400">
                <a:extLst>
                  <a:ext uri="{FF2B5EF4-FFF2-40B4-BE49-F238E27FC236}">
                    <a16:creationId xmlns:a16="http://schemas.microsoft.com/office/drawing/2014/main" id="{D5964BAC-2E7B-43B3-9B9A-024D1F2C128A}"/>
                  </a:ext>
                </a:extLst>
              </p:cNvPr>
              <p:cNvSpPr/>
              <p:nvPr/>
            </p:nvSpPr>
            <p:spPr>
              <a:xfrm>
                <a:off x="5595132" y="697292"/>
                <a:ext cx="39863" cy="39863"/>
              </a:xfrm>
              <a:custGeom>
                <a:avLst/>
                <a:gdLst>
                  <a:gd name="connsiteX0" fmla="*/ 19932 w 39863"/>
                  <a:gd name="connsiteY0" fmla="*/ 0 h 39863"/>
                  <a:gd name="connsiteX1" fmla="*/ 0 w 39863"/>
                  <a:gd name="connsiteY1" fmla="*/ 19932 h 39863"/>
                  <a:gd name="connsiteX2" fmla="*/ 19932 w 39863"/>
                  <a:gd name="connsiteY2" fmla="*/ 39864 h 39863"/>
                  <a:gd name="connsiteX3" fmla="*/ 39864 w 39863"/>
                  <a:gd name="connsiteY3" fmla="*/ 19932 h 39863"/>
                  <a:gd name="connsiteX4" fmla="*/ 19932 w 39863"/>
                  <a:gd name="connsiteY4" fmla="*/ 0 h 39863"/>
                  <a:gd name="connsiteX5" fmla="*/ 19932 w 39863"/>
                  <a:gd name="connsiteY5" fmla="*/ 0 h 39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863" h="39863">
                    <a:moveTo>
                      <a:pt x="19932" y="0"/>
                    </a:moveTo>
                    <a:cubicBezTo>
                      <a:pt x="9002" y="0"/>
                      <a:pt x="0" y="9001"/>
                      <a:pt x="0" y="19932"/>
                    </a:cubicBezTo>
                    <a:cubicBezTo>
                      <a:pt x="0" y="30862"/>
                      <a:pt x="9002" y="39864"/>
                      <a:pt x="19932" y="39864"/>
                    </a:cubicBezTo>
                    <a:cubicBezTo>
                      <a:pt x="30862" y="39864"/>
                      <a:pt x="39864" y="30862"/>
                      <a:pt x="39864" y="19932"/>
                    </a:cubicBezTo>
                    <a:cubicBezTo>
                      <a:pt x="39864" y="9001"/>
                      <a:pt x="30862" y="0"/>
                      <a:pt x="19932" y="0"/>
                    </a:cubicBezTo>
                    <a:lnTo>
                      <a:pt x="19932" y="0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402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2290886" y="1549585"/>
            <a:ext cx="401996" cy="387324"/>
            <a:chOff x="2236945" y="1573061"/>
            <a:chExt cx="407674" cy="392794"/>
          </a:xfrm>
          <a:solidFill>
            <a:srgbClr val="B1B1A1"/>
          </a:solidFill>
        </p:grpSpPr>
        <p:sp>
          <p:nvSpPr>
            <p:cNvPr id="403" name="Forma Livre: Forma 402">
              <a:extLst>
                <a:ext uri="{FF2B5EF4-FFF2-40B4-BE49-F238E27FC236}">
                  <a16:creationId xmlns:a16="http://schemas.microsoft.com/office/drawing/2014/main" id="{C0624711-9C55-42AF-A4B2-A67B7FA7FA5B}"/>
                </a:ext>
              </a:extLst>
            </p:cNvPr>
            <p:cNvSpPr/>
            <p:nvPr/>
          </p:nvSpPr>
          <p:spPr>
            <a:xfrm>
              <a:off x="2236945" y="1799971"/>
              <a:ext cx="407674" cy="165884"/>
            </a:xfrm>
            <a:custGeom>
              <a:avLst/>
              <a:gdLst>
                <a:gd name="connsiteX0" fmla="*/ 390921 w 407674"/>
                <a:gd name="connsiteY0" fmla="*/ 165884 h 165884"/>
                <a:gd name="connsiteX1" fmla="*/ 16717 w 407674"/>
                <a:gd name="connsiteY1" fmla="*/ 165884 h 165884"/>
                <a:gd name="connsiteX2" fmla="*/ 0 w 407674"/>
                <a:gd name="connsiteY2" fmla="*/ 149167 h 165884"/>
                <a:gd name="connsiteX3" fmla="*/ 0 w 407674"/>
                <a:gd name="connsiteY3" fmla="*/ 16717 h 165884"/>
                <a:gd name="connsiteX4" fmla="*/ 16717 w 407674"/>
                <a:gd name="connsiteY4" fmla="*/ 0 h 165884"/>
                <a:gd name="connsiteX5" fmla="*/ 390921 w 407674"/>
                <a:gd name="connsiteY5" fmla="*/ 0 h 165884"/>
                <a:gd name="connsiteX6" fmla="*/ 407637 w 407674"/>
                <a:gd name="connsiteY6" fmla="*/ 16717 h 165884"/>
                <a:gd name="connsiteX7" fmla="*/ 407637 w 407674"/>
                <a:gd name="connsiteY7" fmla="*/ 149167 h 165884"/>
                <a:gd name="connsiteX8" fmla="*/ 390921 w 407674"/>
                <a:gd name="connsiteY8" fmla="*/ 165884 h 165884"/>
                <a:gd name="connsiteX9" fmla="*/ 390921 w 407674"/>
                <a:gd name="connsiteY9" fmla="*/ 165884 h 165884"/>
                <a:gd name="connsiteX10" fmla="*/ 34077 w 407674"/>
                <a:gd name="connsiteY10" fmla="*/ 131807 h 165884"/>
                <a:gd name="connsiteX11" fmla="*/ 374204 w 407674"/>
                <a:gd name="connsiteY11" fmla="*/ 131807 h 165884"/>
                <a:gd name="connsiteX12" fmla="*/ 374204 w 407674"/>
                <a:gd name="connsiteY12" fmla="*/ 33434 h 165884"/>
                <a:gd name="connsiteX13" fmla="*/ 34077 w 407674"/>
                <a:gd name="connsiteY13" fmla="*/ 33434 h 165884"/>
                <a:gd name="connsiteX14" fmla="*/ 34077 w 407674"/>
                <a:gd name="connsiteY14" fmla="*/ 131807 h 165884"/>
                <a:gd name="connsiteX15" fmla="*/ 34077 w 407674"/>
                <a:gd name="connsiteY15" fmla="*/ 131807 h 165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07674" h="165884">
                  <a:moveTo>
                    <a:pt x="390921" y="165884"/>
                  </a:moveTo>
                  <a:lnTo>
                    <a:pt x="16717" y="165884"/>
                  </a:lnTo>
                  <a:cubicBezTo>
                    <a:pt x="7073" y="165884"/>
                    <a:pt x="0" y="158169"/>
                    <a:pt x="0" y="149167"/>
                  </a:cubicBezTo>
                  <a:lnTo>
                    <a:pt x="0" y="16717"/>
                  </a:lnTo>
                  <a:cubicBezTo>
                    <a:pt x="0" y="7073"/>
                    <a:pt x="7716" y="0"/>
                    <a:pt x="16717" y="0"/>
                  </a:cubicBezTo>
                  <a:lnTo>
                    <a:pt x="390921" y="0"/>
                  </a:lnTo>
                  <a:cubicBezTo>
                    <a:pt x="400565" y="0"/>
                    <a:pt x="407637" y="7716"/>
                    <a:pt x="407637" y="16717"/>
                  </a:cubicBezTo>
                  <a:lnTo>
                    <a:pt x="407637" y="149167"/>
                  </a:lnTo>
                  <a:cubicBezTo>
                    <a:pt x="408280" y="158169"/>
                    <a:pt x="400565" y="165884"/>
                    <a:pt x="390921" y="165884"/>
                  </a:cubicBezTo>
                  <a:lnTo>
                    <a:pt x="390921" y="165884"/>
                  </a:lnTo>
                  <a:close/>
                  <a:moveTo>
                    <a:pt x="34077" y="131807"/>
                  </a:moveTo>
                  <a:lnTo>
                    <a:pt x="374204" y="131807"/>
                  </a:lnTo>
                  <a:lnTo>
                    <a:pt x="374204" y="33434"/>
                  </a:lnTo>
                  <a:lnTo>
                    <a:pt x="34077" y="33434"/>
                  </a:lnTo>
                  <a:lnTo>
                    <a:pt x="34077" y="131807"/>
                  </a:lnTo>
                  <a:lnTo>
                    <a:pt x="34077" y="131807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404" name="Gráfico 2">
              <a:extLst>
                <a:ext uri="{FF2B5EF4-FFF2-40B4-BE49-F238E27FC236}">
                  <a16:creationId xmlns:a16="http://schemas.microsoft.com/office/drawing/2014/main" id="{40F8E44F-B406-439F-8B63-82F15B4E8194}"/>
                </a:ext>
              </a:extLst>
            </p:cNvPr>
            <p:cNvGrpSpPr/>
            <p:nvPr/>
          </p:nvGrpSpPr>
          <p:grpSpPr>
            <a:xfrm>
              <a:off x="2364252" y="1573061"/>
              <a:ext cx="276473" cy="200549"/>
              <a:chOff x="2364252" y="1573061"/>
              <a:chExt cx="276473" cy="200549"/>
            </a:xfrm>
            <a:grpFill/>
          </p:grpSpPr>
          <p:sp>
            <p:nvSpPr>
              <p:cNvPr id="405" name="Forma Livre: Forma 404">
                <a:extLst>
                  <a:ext uri="{FF2B5EF4-FFF2-40B4-BE49-F238E27FC236}">
                    <a16:creationId xmlns:a16="http://schemas.microsoft.com/office/drawing/2014/main" id="{1659D780-D176-4D88-ACEF-78CEE1E5620D}"/>
                  </a:ext>
                </a:extLst>
              </p:cNvPr>
              <p:cNvSpPr/>
              <p:nvPr/>
            </p:nvSpPr>
            <p:spPr>
              <a:xfrm>
                <a:off x="2568125" y="1573061"/>
                <a:ext cx="72600" cy="200549"/>
              </a:xfrm>
              <a:custGeom>
                <a:avLst/>
                <a:gdLst>
                  <a:gd name="connsiteX0" fmla="*/ 17305 w 72600"/>
                  <a:gd name="connsiteY0" fmla="*/ 200549 h 200549"/>
                  <a:gd name="connsiteX1" fmla="*/ 4446 w 72600"/>
                  <a:gd name="connsiteY1" fmla="*/ 194763 h 200549"/>
                  <a:gd name="connsiteX2" fmla="*/ 5732 w 72600"/>
                  <a:gd name="connsiteY2" fmla="*/ 170973 h 200549"/>
                  <a:gd name="connsiteX3" fmla="*/ 38523 w 72600"/>
                  <a:gd name="connsiteY3" fmla="*/ 100247 h 200549"/>
                  <a:gd name="connsiteX4" fmla="*/ 5732 w 72600"/>
                  <a:gd name="connsiteY4" fmla="*/ 29522 h 200549"/>
                  <a:gd name="connsiteX5" fmla="*/ 4446 w 72600"/>
                  <a:gd name="connsiteY5" fmla="*/ 5732 h 200549"/>
                  <a:gd name="connsiteX6" fmla="*/ 28236 w 72600"/>
                  <a:gd name="connsiteY6" fmla="*/ 4446 h 200549"/>
                  <a:gd name="connsiteX7" fmla="*/ 72600 w 72600"/>
                  <a:gd name="connsiteY7" fmla="*/ 100247 h 200549"/>
                  <a:gd name="connsiteX8" fmla="*/ 28236 w 72600"/>
                  <a:gd name="connsiteY8" fmla="*/ 196049 h 200549"/>
                  <a:gd name="connsiteX9" fmla="*/ 17305 w 72600"/>
                  <a:gd name="connsiteY9" fmla="*/ 200549 h 200549"/>
                  <a:gd name="connsiteX10" fmla="*/ 17305 w 72600"/>
                  <a:gd name="connsiteY10" fmla="*/ 200549 h 200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2600" h="200549">
                    <a:moveTo>
                      <a:pt x="17305" y="200549"/>
                    </a:moveTo>
                    <a:cubicBezTo>
                      <a:pt x="12805" y="200549"/>
                      <a:pt x="8304" y="198621"/>
                      <a:pt x="4446" y="194763"/>
                    </a:cubicBezTo>
                    <a:cubicBezTo>
                      <a:pt x="-1983" y="187690"/>
                      <a:pt x="-1340" y="176760"/>
                      <a:pt x="5732" y="170973"/>
                    </a:cubicBezTo>
                    <a:cubicBezTo>
                      <a:pt x="26950" y="151684"/>
                      <a:pt x="38523" y="126609"/>
                      <a:pt x="38523" y="100247"/>
                    </a:cubicBezTo>
                    <a:cubicBezTo>
                      <a:pt x="38523" y="73886"/>
                      <a:pt x="26950" y="48810"/>
                      <a:pt x="5732" y="29522"/>
                    </a:cubicBezTo>
                    <a:cubicBezTo>
                      <a:pt x="-1340" y="23092"/>
                      <a:pt x="-1983" y="12805"/>
                      <a:pt x="4446" y="5732"/>
                    </a:cubicBezTo>
                    <a:cubicBezTo>
                      <a:pt x="10876" y="-1341"/>
                      <a:pt x="21163" y="-1983"/>
                      <a:pt x="28236" y="4446"/>
                    </a:cubicBezTo>
                    <a:cubicBezTo>
                      <a:pt x="57169" y="30165"/>
                      <a:pt x="72600" y="64242"/>
                      <a:pt x="72600" y="100247"/>
                    </a:cubicBezTo>
                    <a:cubicBezTo>
                      <a:pt x="72600" y="136896"/>
                      <a:pt x="56526" y="170973"/>
                      <a:pt x="28236" y="196049"/>
                    </a:cubicBezTo>
                    <a:cubicBezTo>
                      <a:pt x="25664" y="199263"/>
                      <a:pt x="21806" y="200549"/>
                      <a:pt x="17305" y="200549"/>
                    </a:cubicBezTo>
                    <a:lnTo>
                      <a:pt x="17305" y="200549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06" name="Forma Livre: Forma 405">
                <a:extLst>
                  <a:ext uri="{FF2B5EF4-FFF2-40B4-BE49-F238E27FC236}">
                    <a16:creationId xmlns:a16="http://schemas.microsoft.com/office/drawing/2014/main" id="{8D3D6D7C-BBD8-4D66-91E8-F44B52CAD41A}"/>
                  </a:ext>
                </a:extLst>
              </p:cNvPr>
              <p:cNvSpPr/>
              <p:nvPr/>
            </p:nvSpPr>
            <p:spPr>
              <a:xfrm>
                <a:off x="2529547" y="1606494"/>
                <a:ext cx="57168" cy="134324"/>
              </a:xfrm>
              <a:custGeom>
                <a:avLst/>
                <a:gdLst>
                  <a:gd name="connsiteX0" fmla="*/ 17948 w 57168"/>
                  <a:gd name="connsiteY0" fmla="*/ 134324 h 134324"/>
                  <a:gd name="connsiteX1" fmla="*/ 5089 w 57168"/>
                  <a:gd name="connsiteY1" fmla="*/ 128538 h 134324"/>
                  <a:gd name="connsiteX2" fmla="*/ 6375 w 57168"/>
                  <a:gd name="connsiteY2" fmla="*/ 104748 h 134324"/>
                  <a:gd name="connsiteX3" fmla="*/ 23735 w 57168"/>
                  <a:gd name="connsiteY3" fmla="*/ 67456 h 134324"/>
                  <a:gd name="connsiteX4" fmla="*/ 5732 w 57168"/>
                  <a:gd name="connsiteY4" fmla="*/ 29522 h 134324"/>
                  <a:gd name="connsiteX5" fmla="*/ 4446 w 57168"/>
                  <a:gd name="connsiteY5" fmla="*/ 5732 h 134324"/>
                  <a:gd name="connsiteX6" fmla="*/ 28236 w 57168"/>
                  <a:gd name="connsiteY6" fmla="*/ 4446 h 134324"/>
                  <a:gd name="connsiteX7" fmla="*/ 57169 w 57168"/>
                  <a:gd name="connsiteY7" fmla="*/ 67456 h 134324"/>
                  <a:gd name="connsiteX8" fmla="*/ 28236 w 57168"/>
                  <a:gd name="connsiteY8" fmla="*/ 130467 h 134324"/>
                  <a:gd name="connsiteX9" fmla="*/ 17948 w 57168"/>
                  <a:gd name="connsiteY9" fmla="*/ 134324 h 134324"/>
                  <a:gd name="connsiteX10" fmla="*/ 17948 w 57168"/>
                  <a:gd name="connsiteY10" fmla="*/ 134324 h 1343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7168" h="134324">
                    <a:moveTo>
                      <a:pt x="17948" y="134324"/>
                    </a:moveTo>
                    <a:cubicBezTo>
                      <a:pt x="13448" y="134324"/>
                      <a:pt x="8947" y="132395"/>
                      <a:pt x="5089" y="128538"/>
                    </a:cubicBezTo>
                    <a:cubicBezTo>
                      <a:pt x="-1340" y="121465"/>
                      <a:pt x="-698" y="110535"/>
                      <a:pt x="6375" y="104748"/>
                    </a:cubicBezTo>
                    <a:cubicBezTo>
                      <a:pt x="17948" y="94461"/>
                      <a:pt x="23735" y="80959"/>
                      <a:pt x="23735" y="67456"/>
                    </a:cubicBezTo>
                    <a:cubicBezTo>
                      <a:pt x="23735" y="53311"/>
                      <a:pt x="17305" y="39809"/>
                      <a:pt x="5732" y="29522"/>
                    </a:cubicBezTo>
                    <a:cubicBezTo>
                      <a:pt x="-1340" y="23092"/>
                      <a:pt x="-1983" y="12805"/>
                      <a:pt x="4446" y="5732"/>
                    </a:cubicBezTo>
                    <a:cubicBezTo>
                      <a:pt x="10876" y="-1341"/>
                      <a:pt x="21163" y="-1983"/>
                      <a:pt x="28236" y="4446"/>
                    </a:cubicBezTo>
                    <a:cubicBezTo>
                      <a:pt x="46882" y="21163"/>
                      <a:pt x="57169" y="43667"/>
                      <a:pt x="57169" y="67456"/>
                    </a:cubicBezTo>
                    <a:cubicBezTo>
                      <a:pt x="57169" y="91246"/>
                      <a:pt x="46882" y="113750"/>
                      <a:pt x="28236" y="130467"/>
                    </a:cubicBezTo>
                    <a:cubicBezTo>
                      <a:pt x="25664" y="133038"/>
                      <a:pt x="21806" y="134324"/>
                      <a:pt x="17948" y="134324"/>
                    </a:cubicBezTo>
                    <a:lnTo>
                      <a:pt x="17948" y="134324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07" name="Forma Livre: Forma 406">
                <a:extLst>
                  <a:ext uri="{FF2B5EF4-FFF2-40B4-BE49-F238E27FC236}">
                    <a16:creationId xmlns:a16="http://schemas.microsoft.com/office/drawing/2014/main" id="{72D91572-C5CF-4365-9991-3F828EC429F1}"/>
                  </a:ext>
                </a:extLst>
              </p:cNvPr>
              <p:cNvSpPr/>
              <p:nvPr/>
            </p:nvSpPr>
            <p:spPr>
              <a:xfrm>
                <a:off x="2364252" y="1573061"/>
                <a:ext cx="72600" cy="200549"/>
              </a:xfrm>
              <a:custGeom>
                <a:avLst/>
                <a:gdLst>
                  <a:gd name="connsiteX0" fmla="*/ 55938 w 72600"/>
                  <a:gd name="connsiteY0" fmla="*/ 200549 h 200549"/>
                  <a:gd name="connsiteX1" fmla="*/ 44364 w 72600"/>
                  <a:gd name="connsiteY1" fmla="*/ 196049 h 200549"/>
                  <a:gd name="connsiteX2" fmla="*/ 0 w 72600"/>
                  <a:gd name="connsiteY2" fmla="*/ 100247 h 200549"/>
                  <a:gd name="connsiteX3" fmla="*/ 44364 w 72600"/>
                  <a:gd name="connsiteY3" fmla="*/ 4446 h 200549"/>
                  <a:gd name="connsiteX4" fmla="*/ 68154 w 72600"/>
                  <a:gd name="connsiteY4" fmla="*/ 5732 h 200549"/>
                  <a:gd name="connsiteX5" fmla="*/ 66868 w 72600"/>
                  <a:gd name="connsiteY5" fmla="*/ 29522 h 200549"/>
                  <a:gd name="connsiteX6" fmla="*/ 34077 w 72600"/>
                  <a:gd name="connsiteY6" fmla="*/ 100247 h 200549"/>
                  <a:gd name="connsiteX7" fmla="*/ 66868 w 72600"/>
                  <a:gd name="connsiteY7" fmla="*/ 170973 h 200549"/>
                  <a:gd name="connsiteX8" fmla="*/ 68154 w 72600"/>
                  <a:gd name="connsiteY8" fmla="*/ 194763 h 200549"/>
                  <a:gd name="connsiteX9" fmla="*/ 55938 w 72600"/>
                  <a:gd name="connsiteY9" fmla="*/ 200549 h 200549"/>
                  <a:gd name="connsiteX10" fmla="*/ 55938 w 72600"/>
                  <a:gd name="connsiteY10" fmla="*/ 200549 h 200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2600" h="200549">
                    <a:moveTo>
                      <a:pt x="55938" y="200549"/>
                    </a:moveTo>
                    <a:cubicBezTo>
                      <a:pt x="52080" y="200549"/>
                      <a:pt x="47579" y="199263"/>
                      <a:pt x="44364" y="196049"/>
                    </a:cubicBezTo>
                    <a:cubicBezTo>
                      <a:pt x="15431" y="170330"/>
                      <a:pt x="0" y="136253"/>
                      <a:pt x="0" y="100247"/>
                    </a:cubicBezTo>
                    <a:cubicBezTo>
                      <a:pt x="0" y="63599"/>
                      <a:pt x="16074" y="29522"/>
                      <a:pt x="44364" y="4446"/>
                    </a:cubicBezTo>
                    <a:cubicBezTo>
                      <a:pt x="51437" y="-1983"/>
                      <a:pt x="62367" y="-1341"/>
                      <a:pt x="68154" y="5732"/>
                    </a:cubicBezTo>
                    <a:cubicBezTo>
                      <a:pt x="74583" y="12805"/>
                      <a:pt x="73941" y="23735"/>
                      <a:pt x="66868" y="29522"/>
                    </a:cubicBezTo>
                    <a:cubicBezTo>
                      <a:pt x="45650" y="48810"/>
                      <a:pt x="34077" y="73886"/>
                      <a:pt x="34077" y="100247"/>
                    </a:cubicBezTo>
                    <a:cubicBezTo>
                      <a:pt x="34077" y="126609"/>
                      <a:pt x="45650" y="151684"/>
                      <a:pt x="66868" y="170973"/>
                    </a:cubicBezTo>
                    <a:cubicBezTo>
                      <a:pt x="73941" y="177403"/>
                      <a:pt x="74583" y="187690"/>
                      <a:pt x="68154" y="194763"/>
                    </a:cubicBezTo>
                    <a:cubicBezTo>
                      <a:pt x="65582" y="198621"/>
                      <a:pt x="60438" y="200549"/>
                      <a:pt x="55938" y="200549"/>
                    </a:cubicBezTo>
                    <a:lnTo>
                      <a:pt x="55938" y="200549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08" name="Forma Livre: Forma 407">
                <a:extLst>
                  <a:ext uri="{FF2B5EF4-FFF2-40B4-BE49-F238E27FC236}">
                    <a16:creationId xmlns:a16="http://schemas.microsoft.com/office/drawing/2014/main" id="{B6949E4F-6CF6-468B-94A3-C317494A9009}"/>
                  </a:ext>
                </a:extLst>
              </p:cNvPr>
              <p:cNvSpPr/>
              <p:nvPr/>
            </p:nvSpPr>
            <p:spPr>
              <a:xfrm>
                <a:off x="2418260" y="1605852"/>
                <a:ext cx="57168" cy="134967"/>
              </a:xfrm>
              <a:custGeom>
                <a:avLst/>
                <a:gdLst>
                  <a:gd name="connsiteX0" fmla="*/ 40507 w 57168"/>
                  <a:gd name="connsiteY0" fmla="*/ 134967 h 134967"/>
                  <a:gd name="connsiteX1" fmla="*/ 28933 w 57168"/>
                  <a:gd name="connsiteY1" fmla="*/ 130467 h 134967"/>
                  <a:gd name="connsiteX2" fmla="*/ 0 w 57168"/>
                  <a:gd name="connsiteY2" fmla="*/ 67456 h 134967"/>
                  <a:gd name="connsiteX3" fmla="*/ 28933 w 57168"/>
                  <a:gd name="connsiteY3" fmla="*/ 4446 h 134967"/>
                  <a:gd name="connsiteX4" fmla="*/ 52723 w 57168"/>
                  <a:gd name="connsiteY4" fmla="*/ 5732 h 134967"/>
                  <a:gd name="connsiteX5" fmla="*/ 51437 w 57168"/>
                  <a:gd name="connsiteY5" fmla="*/ 29522 h 134967"/>
                  <a:gd name="connsiteX6" fmla="*/ 33434 w 57168"/>
                  <a:gd name="connsiteY6" fmla="*/ 67456 h 134967"/>
                  <a:gd name="connsiteX7" fmla="*/ 50794 w 57168"/>
                  <a:gd name="connsiteY7" fmla="*/ 104748 h 134967"/>
                  <a:gd name="connsiteX8" fmla="*/ 52080 w 57168"/>
                  <a:gd name="connsiteY8" fmla="*/ 128538 h 134967"/>
                  <a:gd name="connsiteX9" fmla="*/ 40507 w 57168"/>
                  <a:gd name="connsiteY9" fmla="*/ 134967 h 134967"/>
                  <a:gd name="connsiteX10" fmla="*/ 40507 w 57168"/>
                  <a:gd name="connsiteY10" fmla="*/ 134967 h 1349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7168" h="134967">
                    <a:moveTo>
                      <a:pt x="40507" y="134967"/>
                    </a:moveTo>
                    <a:cubicBezTo>
                      <a:pt x="36649" y="134967"/>
                      <a:pt x="32148" y="133681"/>
                      <a:pt x="28933" y="130467"/>
                    </a:cubicBezTo>
                    <a:cubicBezTo>
                      <a:pt x="10287" y="113750"/>
                      <a:pt x="0" y="91246"/>
                      <a:pt x="0" y="67456"/>
                    </a:cubicBezTo>
                    <a:cubicBezTo>
                      <a:pt x="0" y="43667"/>
                      <a:pt x="10287" y="21163"/>
                      <a:pt x="28933" y="4446"/>
                    </a:cubicBezTo>
                    <a:cubicBezTo>
                      <a:pt x="36006" y="-1983"/>
                      <a:pt x="46936" y="-1340"/>
                      <a:pt x="52723" y="5732"/>
                    </a:cubicBezTo>
                    <a:cubicBezTo>
                      <a:pt x="59152" y="12805"/>
                      <a:pt x="58510" y="23735"/>
                      <a:pt x="51437" y="29522"/>
                    </a:cubicBezTo>
                    <a:cubicBezTo>
                      <a:pt x="39864" y="39809"/>
                      <a:pt x="33434" y="53311"/>
                      <a:pt x="33434" y="67456"/>
                    </a:cubicBezTo>
                    <a:cubicBezTo>
                      <a:pt x="33434" y="81602"/>
                      <a:pt x="39864" y="95104"/>
                      <a:pt x="50794" y="104748"/>
                    </a:cubicBezTo>
                    <a:cubicBezTo>
                      <a:pt x="57867" y="111178"/>
                      <a:pt x="58510" y="121465"/>
                      <a:pt x="52080" y="128538"/>
                    </a:cubicBezTo>
                    <a:cubicBezTo>
                      <a:pt x="50151" y="133038"/>
                      <a:pt x="45007" y="134967"/>
                      <a:pt x="40507" y="134967"/>
                    </a:cubicBezTo>
                    <a:lnTo>
                      <a:pt x="40507" y="134967"/>
                    </a:lnTo>
                    <a:close/>
                  </a:path>
                </a:pathLst>
              </a:custGeom>
              <a:grpFill/>
              <a:ln w="64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409" name="Forma Livre: Forma 408">
              <a:extLst>
                <a:ext uri="{FF2B5EF4-FFF2-40B4-BE49-F238E27FC236}">
                  <a16:creationId xmlns:a16="http://schemas.microsoft.com/office/drawing/2014/main" id="{1228663A-7BFA-4302-9AFB-FD428A9C7F1F}"/>
                </a:ext>
              </a:extLst>
            </p:cNvPr>
            <p:cNvSpPr/>
            <p:nvPr/>
          </p:nvSpPr>
          <p:spPr>
            <a:xfrm>
              <a:off x="2296741" y="1862982"/>
              <a:ext cx="39863" cy="39863"/>
            </a:xfrm>
            <a:custGeom>
              <a:avLst/>
              <a:gdLst>
                <a:gd name="connsiteX0" fmla="*/ 19932 w 39863"/>
                <a:gd name="connsiteY0" fmla="*/ 0 h 39863"/>
                <a:gd name="connsiteX1" fmla="*/ 0 w 39863"/>
                <a:gd name="connsiteY1" fmla="*/ 19932 h 39863"/>
                <a:gd name="connsiteX2" fmla="*/ 19932 w 39863"/>
                <a:gd name="connsiteY2" fmla="*/ 39864 h 39863"/>
                <a:gd name="connsiteX3" fmla="*/ 39864 w 39863"/>
                <a:gd name="connsiteY3" fmla="*/ 19932 h 39863"/>
                <a:gd name="connsiteX4" fmla="*/ 19932 w 39863"/>
                <a:gd name="connsiteY4" fmla="*/ 0 h 39863"/>
                <a:gd name="connsiteX5" fmla="*/ 19932 w 39863"/>
                <a:gd name="connsiteY5" fmla="*/ 0 h 39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863" h="39863">
                  <a:moveTo>
                    <a:pt x="19932" y="0"/>
                  </a:moveTo>
                  <a:cubicBezTo>
                    <a:pt x="9001" y="0"/>
                    <a:pt x="0" y="9001"/>
                    <a:pt x="0" y="19932"/>
                  </a:cubicBezTo>
                  <a:cubicBezTo>
                    <a:pt x="0" y="30862"/>
                    <a:pt x="9001" y="39864"/>
                    <a:pt x="19932" y="39864"/>
                  </a:cubicBezTo>
                  <a:cubicBezTo>
                    <a:pt x="30862" y="39864"/>
                    <a:pt x="39864" y="30862"/>
                    <a:pt x="39864" y="19932"/>
                  </a:cubicBezTo>
                  <a:cubicBezTo>
                    <a:pt x="39864" y="9001"/>
                    <a:pt x="30862" y="0"/>
                    <a:pt x="19932" y="0"/>
                  </a:cubicBezTo>
                  <a:lnTo>
                    <a:pt x="19932" y="0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10" name="Forma Livre: Forma 409">
              <a:extLst>
                <a:ext uri="{FF2B5EF4-FFF2-40B4-BE49-F238E27FC236}">
                  <a16:creationId xmlns:a16="http://schemas.microsoft.com/office/drawing/2014/main" id="{D42B5850-59CA-42C3-B272-1FB876BC2499}"/>
                </a:ext>
              </a:extLst>
            </p:cNvPr>
            <p:cNvSpPr/>
            <p:nvPr/>
          </p:nvSpPr>
          <p:spPr>
            <a:xfrm>
              <a:off x="2361680" y="1862982"/>
              <a:ext cx="39863" cy="39863"/>
            </a:xfrm>
            <a:custGeom>
              <a:avLst/>
              <a:gdLst>
                <a:gd name="connsiteX0" fmla="*/ 19932 w 39863"/>
                <a:gd name="connsiteY0" fmla="*/ 0 h 39863"/>
                <a:gd name="connsiteX1" fmla="*/ 0 w 39863"/>
                <a:gd name="connsiteY1" fmla="*/ 19932 h 39863"/>
                <a:gd name="connsiteX2" fmla="*/ 19932 w 39863"/>
                <a:gd name="connsiteY2" fmla="*/ 39864 h 39863"/>
                <a:gd name="connsiteX3" fmla="*/ 39864 w 39863"/>
                <a:gd name="connsiteY3" fmla="*/ 19932 h 39863"/>
                <a:gd name="connsiteX4" fmla="*/ 19932 w 39863"/>
                <a:gd name="connsiteY4" fmla="*/ 0 h 39863"/>
                <a:gd name="connsiteX5" fmla="*/ 19932 w 39863"/>
                <a:gd name="connsiteY5" fmla="*/ 0 h 39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863" h="39863">
                  <a:moveTo>
                    <a:pt x="19932" y="0"/>
                  </a:moveTo>
                  <a:cubicBezTo>
                    <a:pt x="9002" y="0"/>
                    <a:pt x="0" y="9001"/>
                    <a:pt x="0" y="19932"/>
                  </a:cubicBezTo>
                  <a:cubicBezTo>
                    <a:pt x="0" y="30862"/>
                    <a:pt x="9002" y="39864"/>
                    <a:pt x="19932" y="39864"/>
                  </a:cubicBezTo>
                  <a:cubicBezTo>
                    <a:pt x="30862" y="39864"/>
                    <a:pt x="39864" y="30862"/>
                    <a:pt x="39864" y="19932"/>
                  </a:cubicBezTo>
                  <a:cubicBezTo>
                    <a:pt x="39864" y="9001"/>
                    <a:pt x="30862" y="0"/>
                    <a:pt x="19932" y="0"/>
                  </a:cubicBezTo>
                  <a:lnTo>
                    <a:pt x="19932" y="0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11" name="Forma Livre: Forma 410">
              <a:extLst>
                <a:ext uri="{FF2B5EF4-FFF2-40B4-BE49-F238E27FC236}">
                  <a16:creationId xmlns:a16="http://schemas.microsoft.com/office/drawing/2014/main" id="{3940667C-4F7B-450E-915F-EF07512C49CC}"/>
                </a:ext>
              </a:extLst>
            </p:cNvPr>
            <p:cNvSpPr/>
            <p:nvPr/>
          </p:nvSpPr>
          <p:spPr>
            <a:xfrm>
              <a:off x="2426619" y="1862982"/>
              <a:ext cx="39863" cy="39863"/>
            </a:xfrm>
            <a:custGeom>
              <a:avLst/>
              <a:gdLst>
                <a:gd name="connsiteX0" fmla="*/ 19932 w 39863"/>
                <a:gd name="connsiteY0" fmla="*/ 0 h 39863"/>
                <a:gd name="connsiteX1" fmla="*/ 0 w 39863"/>
                <a:gd name="connsiteY1" fmla="*/ 19932 h 39863"/>
                <a:gd name="connsiteX2" fmla="*/ 19932 w 39863"/>
                <a:gd name="connsiteY2" fmla="*/ 39864 h 39863"/>
                <a:gd name="connsiteX3" fmla="*/ 39864 w 39863"/>
                <a:gd name="connsiteY3" fmla="*/ 19932 h 39863"/>
                <a:gd name="connsiteX4" fmla="*/ 19932 w 39863"/>
                <a:gd name="connsiteY4" fmla="*/ 0 h 39863"/>
                <a:gd name="connsiteX5" fmla="*/ 19932 w 39863"/>
                <a:gd name="connsiteY5" fmla="*/ 0 h 39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863" h="39863">
                  <a:moveTo>
                    <a:pt x="19932" y="0"/>
                  </a:moveTo>
                  <a:cubicBezTo>
                    <a:pt x="9001" y="0"/>
                    <a:pt x="0" y="9001"/>
                    <a:pt x="0" y="19932"/>
                  </a:cubicBezTo>
                  <a:cubicBezTo>
                    <a:pt x="0" y="30862"/>
                    <a:pt x="9001" y="39864"/>
                    <a:pt x="19932" y="39864"/>
                  </a:cubicBezTo>
                  <a:cubicBezTo>
                    <a:pt x="30862" y="39864"/>
                    <a:pt x="39864" y="30862"/>
                    <a:pt x="39864" y="19932"/>
                  </a:cubicBezTo>
                  <a:cubicBezTo>
                    <a:pt x="39864" y="9001"/>
                    <a:pt x="31505" y="0"/>
                    <a:pt x="19932" y="0"/>
                  </a:cubicBezTo>
                  <a:lnTo>
                    <a:pt x="19932" y="0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12" name="Forma Livre: Forma 411">
              <a:extLst>
                <a:ext uri="{FF2B5EF4-FFF2-40B4-BE49-F238E27FC236}">
                  <a16:creationId xmlns:a16="http://schemas.microsoft.com/office/drawing/2014/main" id="{1731A3A2-3E68-40E8-95E8-7D28A3145CD0}"/>
                </a:ext>
              </a:extLst>
            </p:cNvPr>
            <p:cNvSpPr/>
            <p:nvPr/>
          </p:nvSpPr>
          <p:spPr>
            <a:xfrm>
              <a:off x="2486414" y="1664306"/>
              <a:ext cx="33433" cy="163955"/>
            </a:xfrm>
            <a:custGeom>
              <a:avLst/>
              <a:gdLst>
                <a:gd name="connsiteX0" fmla="*/ 16717 w 33433"/>
                <a:gd name="connsiteY0" fmla="*/ 163955 h 163955"/>
                <a:gd name="connsiteX1" fmla="*/ 0 w 33433"/>
                <a:gd name="connsiteY1" fmla="*/ 147238 h 163955"/>
                <a:gd name="connsiteX2" fmla="*/ 0 w 33433"/>
                <a:gd name="connsiteY2" fmla="*/ 16717 h 163955"/>
                <a:gd name="connsiteX3" fmla="*/ 16717 w 33433"/>
                <a:gd name="connsiteY3" fmla="*/ 0 h 163955"/>
                <a:gd name="connsiteX4" fmla="*/ 33434 w 33433"/>
                <a:gd name="connsiteY4" fmla="*/ 16717 h 163955"/>
                <a:gd name="connsiteX5" fmla="*/ 33434 w 33433"/>
                <a:gd name="connsiteY5" fmla="*/ 147238 h 163955"/>
                <a:gd name="connsiteX6" fmla="*/ 16717 w 33433"/>
                <a:gd name="connsiteY6" fmla="*/ 163955 h 163955"/>
                <a:gd name="connsiteX7" fmla="*/ 16717 w 33433"/>
                <a:gd name="connsiteY7" fmla="*/ 163955 h 163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433" h="163955">
                  <a:moveTo>
                    <a:pt x="16717" y="163955"/>
                  </a:moveTo>
                  <a:cubicBezTo>
                    <a:pt x="7073" y="163955"/>
                    <a:pt x="0" y="156240"/>
                    <a:pt x="0" y="147238"/>
                  </a:cubicBezTo>
                  <a:lnTo>
                    <a:pt x="0" y="16717"/>
                  </a:lnTo>
                  <a:cubicBezTo>
                    <a:pt x="0" y="7073"/>
                    <a:pt x="7716" y="0"/>
                    <a:pt x="16717" y="0"/>
                  </a:cubicBezTo>
                  <a:cubicBezTo>
                    <a:pt x="26361" y="0"/>
                    <a:pt x="33434" y="7716"/>
                    <a:pt x="33434" y="16717"/>
                  </a:cubicBezTo>
                  <a:lnTo>
                    <a:pt x="33434" y="147238"/>
                  </a:lnTo>
                  <a:cubicBezTo>
                    <a:pt x="33434" y="156883"/>
                    <a:pt x="25718" y="163955"/>
                    <a:pt x="16717" y="163955"/>
                  </a:cubicBezTo>
                  <a:lnTo>
                    <a:pt x="16717" y="163955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413" name="Gráfico 2">
            <a:extLst>
              <a:ext uri="{FF2B5EF4-FFF2-40B4-BE49-F238E27FC236}">
                <a16:creationId xmlns:a16="http://schemas.microsoft.com/office/drawing/2014/main" id="{40F8E44F-B406-439F-8B63-82F15B4E8194}"/>
              </a:ext>
            </a:extLst>
          </p:cNvPr>
          <p:cNvGrpSpPr/>
          <p:nvPr/>
        </p:nvGrpSpPr>
        <p:grpSpPr>
          <a:xfrm>
            <a:off x="8447727" y="3625904"/>
            <a:ext cx="411471" cy="376600"/>
            <a:chOff x="8480743" y="3678705"/>
            <a:chExt cx="417282" cy="381919"/>
          </a:xfrm>
          <a:solidFill>
            <a:srgbClr val="B1B1A1"/>
          </a:solidFill>
        </p:grpSpPr>
        <p:sp>
          <p:nvSpPr>
            <p:cNvPr id="414" name="Forma Livre: Forma 413">
              <a:extLst>
                <a:ext uri="{FF2B5EF4-FFF2-40B4-BE49-F238E27FC236}">
                  <a16:creationId xmlns:a16="http://schemas.microsoft.com/office/drawing/2014/main" id="{19CDB65E-0B94-4952-AEE7-329005FACAE8}"/>
                </a:ext>
              </a:extLst>
            </p:cNvPr>
            <p:cNvSpPr/>
            <p:nvPr/>
          </p:nvSpPr>
          <p:spPr>
            <a:xfrm>
              <a:off x="8480743" y="3678705"/>
              <a:ext cx="392243" cy="33434"/>
            </a:xfrm>
            <a:custGeom>
              <a:avLst/>
              <a:gdLst>
                <a:gd name="connsiteX0" fmla="*/ 375490 w 392243"/>
                <a:gd name="connsiteY0" fmla="*/ 33434 h 33434"/>
                <a:gd name="connsiteX1" fmla="*/ 16717 w 392243"/>
                <a:gd name="connsiteY1" fmla="*/ 33434 h 33434"/>
                <a:gd name="connsiteX2" fmla="*/ 0 w 392243"/>
                <a:gd name="connsiteY2" fmla="*/ 16717 h 33434"/>
                <a:gd name="connsiteX3" fmla="*/ 16717 w 392243"/>
                <a:gd name="connsiteY3" fmla="*/ 0 h 33434"/>
                <a:gd name="connsiteX4" fmla="*/ 375490 w 392243"/>
                <a:gd name="connsiteY4" fmla="*/ 0 h 33434"/>
                <a:gd name="connsiteX5" fmla="*/ 392206 w 392243"/>
                <a:gd name="connsiteY5" fmla="*/ 16717 h 33434"/>
                <a:gd name="connsiteX6" fmla="*/ 375490 w 392243"/>
                <a:gd name="connsiteY6" fmla="*/ 33434 h 33434"/>
                <a:gd name="connsiteX7" fmla="*/ 375490 w 392243"/>
                <a:gd name="connsiteY7" fmla="*/ 33434 h 33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2243" h="33434">
                  <a:moveTo>
                    <a:pt x="375490" y="33434"/>
                  </a:moveTo>
                  <a:lnTo>
                    <a:pt x="16717" y="33434"/>
                  </a:lnTo>
                  <a:cubicBezTo>
                    <a:pt x="7072" y="33434"/>
                    <a:pt x="0" y="25718"/>
                    <a:pt x="0" y="16717"/>
                  </a:cubicBezTo>
                  <a:cubicBezTo>
                    <a:pt x="0" y="7073"/>
                    <a:pt x="7715" y="0"/>
                    <a:pt x="16717" y="0"/>
                  </a:cubicBezTo>
                  <a:lnTo>
                    <a:pt x="375490" y="0"/>
                  </a:lnTo>
                  <a:cubicBezTo>
                    <a:pt x="385134" y="0"/>
                    <a:pt x="392206" y="7716"/>
                    <a:pt x="392206" y="16717"/>
                  </a:cubicBezTo>
                  <a:cubicBezTo>
                    <a:pt x="392849" y="25718"/>
                    <a:pt x="385134" y="33434"/>
                    <a:pt x="375490" y="33434"/>
                  </a:cubicBezTo>
                  <a:lnTo>
                    <a:pt x="375490" y="33434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15" name="Forma Livre: Forma 414">
              <a:extLst>
                <a:ext uri="{FF2B5EF4-FFF2-40B4-BE49-F238E27FC236}">
                  <a16:creationId xmlns:a16="http://schemas.microsoft.com/office/drawing/2014/main" id="{E73A8E2A-AD69-4795-87A3-E5872F951E8F}"/>
                </a:ext>
              </a:extLst>
            </p:cNvPr>
            <p:cNvSpPr/>
            <p:nvPr/>
          </p:nvSpPr>
          <p:spPr>
            <a:xfrm>
              <a:off x="8480743" y="3889596"/>
              <a:ext cx="95157" cy="33434"/>
            </a:xfrm>
            <a:custGeom>
              <a:avLst/>
              <a:gdLst>
                <a:gd name="connsiteX0" fmla="*/ 78441 w 95157"/>
                <a:gd name="connsiteY0" fmla="*/ 33434 h 33434"/>
                <a:gd name="connsiteX1" fmla="*/ 16717 w 95157"/>
                <a:gd name="connsiteY1" fmla="*/ 33434 h 33434"/>
                <a:gd name="connsiteX2" fmla="*/ 0 w 95157"/>
                <a:gd name="connsiteY2" fmla="*/ 16717 h 33434"/>
                <a:gd name="connsiteX3" fmla="*/ 16717 w 95157"/>
                <a:gd name="connsiteY3" fmla="*/ 0 h 33434"/>
                <a:gd name="connsiteX4" fmla="*/ 78441 w 95157"/>
                <a:gd name="connsiteY4" fmla="*/ 0 h 33434"/>
                <a:gd name="connsiteX5" fmla="*/ 95158 w 95157"/>
                <a:gd name="connsiteY5" fmla="*/ 16717 h 33434"/>
                <a:gd name="connsiteX6" fmla="*/ 78441 w 95157"/>
                <a:gd name="connsiteY6" fmla="*/ 33434 h 33434"/>
                <a:gd name="connsiteX7" fmla="*/ 78441 w 95157"/>
                <a:gd name="connsiteY7" fmla="*/ 33434 h 33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57" h="33434">
                  <a:moveTo>
                    <a:pt x="78441" y="33434"/>
                  </a:moveTo>
                  <a:lnTo>
                    <a:pt x="16717" y="33434"/>
                  </a:lnTo>
                  <a:cubicBezTo>
                    <a:pt x="7072" y="33434"/>
                    <a:pt x="0" y="25718"/>
                    <a:pt x="0" y="16717"/>
                  </a:cubicBezTo>
                  <a:cubicBezTo>
                    <a:pt x="0" y="7716"/>
                    <a:pt x="7715" y="0"/>
                    <a:pt x="16717" y="0"/>
                  </a:cubicBezTo>
                  <a:lnTo>
                    <a:pt x="78441" y="0"/>
                  </a:lnTo>
                  <a:cubicBezTo>
                    <a:pt x="88085" y="0"/>
                    <a:pt x="95158" y="7716"/>
                    <a:pt x="95158" y="16717"/>
                  </a:cubicBezTo>
                  <a:cubicBezTo>
                    <a:pt x="95158" y="25718"/>
                    <a:pt x="88085" y="33434"/>
                    <a:pt x="78441" y="33434"/>
                  </a:cubicBezTo>
                  <a:lnTo>
                    <a:pt x="78441" y="33434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16" name="Forma Livre: Forma 415">
              <a:extLst>
                <a:ext uri="{FF2B5EF4-FFF2-40B4-BE49-F238E27FC236}">
                  <a16:creationId xmlns:a16="http://schemas.microsoft.com/office/drawing/2014/main" id="{8AAD2DB8-A08C-4AA7-A295-75D11A22599B}"/>
                </a:ext>
              </a:extLst>
            </p:cNvPr>
            <p:cNvSpPr/>
            <p:nvPr/>
          </p:nvSpPr>
          <p:spPr>
            <a:xfrm>
              <a:off x="8480743" y="3995042"/>
              <a:ext cx="131844" cy="33434"/>
            </a:xfrm>
            <a:custGeom>
              <a:avLst/>
              <a:gdLst>
                <a:gd name="connsiteX0" fmla="*/ 115090 w 131844"/>
                <a:gd name="connsiteY0" fmla="*/ 33434 h 33434"/>
                <a:gd name="connsiteX1" fmla="*/ 16717 w 131844"/>
                <a:gd name="connsiteY1" fmla="*/ 33434 h 33434"/>
                <a:gd name="connsiteX2" fmla="*/ 0 w 131844"/>
                <a:gd name="connsiteY2" fmla="*/ 16717 h 33434"/>
                <a:gd name="connsiteX3" fmla="*/ 16717 w 131844"/>
                <a:gd name="connsiteY3" fmla="*/ 0 h 33434"/>
                <a:gd name="connsiteX4" fmla="*/ 115090 w 131844"/>
                <a:gd name="connsiteY4" fmla="*/ 0 h 33434"/>
                <a:gd name="connsiteX5" fmla="*/ 131807 w 131844"/>
                <a:gd name="connsiteY5" fmla="*/ 16717 h 33434"/>
                <a:gd name="connsiteX6" fmla="*/ 115090 w 131844"/>
                <a:gd name="connsiteY6" fmla="*/ 33434 h 33434"/>
                <a:gd name="connsiteX7" fmla="*/ 115090 w 131844"/>
                <a:gd name="connsiteY7" fmla="*/ 33434 h 33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1844" h="33434">
                  <a:moveTo>
                    <a:pt x="115090" y="33434"/>
                  </a:moveTo>
                  <a:lnTo>
                    <a:pt x="16717" y="33434"/>
                  </a:lnTo>
                  <a:cubicBezTo>
                    <a:pt x="7072" y="33434"/>
                    <a:pt x="0" y="25718"/>
                    <a:pt x="0" y="16717"/>
                  </a:cubicBezTo>
                  <a:cubicBezTo>
                    <a:pt x="0" y="7073"/>
                    <a:pt x="7715" y="0"/>
                    <a:pt x="16717" y="0"/>
                  </a:cubicBezTo>
                  <a:lnTo>
                    <a:pt x="115090" y="0"/>
                  </a:lnTo>
                  <a:cubicBezTo>
                    <a:pt x="124735" y="0"/>
                    <a:pt x="131807" y="7716"/>
                    <a:pt x="131807" y="16717"/>
                  </a:cubicBezTo>
                  <a:cubicBezTo>
                    <a:pt x="132450" y="25718"/>
                    <a:pt x="124735" y="33434"/>
                    <a:pt x="115090" y="33434"/>
                  </a:cubicBezTo>
                  <a:lnTo>
                    <a:pt x="115090" y="33434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17" name="Forma Livre: Forma 416">
              <a:extLst>
                <a:ext uri="{FF2B5EF4-FFF2-40B4-BE49-F238E27FC236}">
                  <a16:creationId xmlns:a16="http://schemas.microsoft.com/office/drawing/2014/main" id="{E74666F7-BBAC-4862-AF04-0B86BCD8DAF9}"/>
                </a:ext>
              </a:extLst>
            </p:cNvPr>
            <p:cNvSpPr/>
            <p:nvPr/>
          </p:nvSpPr>
          <p:spPr>
            <a:xfrm>
              <a:off x="8480743" y="3784150"/>
              <a:ext cx="131844" cy="33434"/>
            </a:xfrm>
            <a:custGeom>
              <a:avLst/>
              <a:gdLst>
                <a:gd name="connsiteX0" fmla="*/ 115090 w 131844"/>
                <a:gd name="connsiteY0" fmla="*/ 33434 h 33434"/>
                <a:gd name="connsiteX1" fmla="*/ 16717 w 131844"/>
                <a:gd name="connsiteY1" fmla="*/ 33434 h 33434"/>
                <a:gd name="connsiteX2" fmla="*/ 0 w 131844"/>
                <a:gd name="connsiteY2" fmla="*/ 16717 h 33434"/>
                <a:gd name="connsiteX3" fmla="*/ 16717 w 131844"/>
                <a:gd name="connsiteY3" fmla="*/ 0 h 33434"/>
                <a:gd name="connsiteX4" fmla="*/ 115090 w 131844"/>
                <a:gd name="connsiteY4" fmla="*/ 0 h 33434"/>
                <a:gd name="connsiteX5" fmla="*/ 131807 w 131844"/>
                <a:gd name="connsiteY5" fmla="*/ 16717 h 33434"/>
                <a:gd name="connsiteX6" fmla="*/ 115090 w 131844"/>
                <a:gd name="connsiteY6" fmla="*/ 33434 h 33434"/>
                <a:gd name="connsiteX7" fmla="*/ 115090 w 131844"/>
                <a:gd name="connsiteY7" fmla="*/ 33434 h 33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1844" h="33434">
                  <a:moveTo>
                    <a:pt x="115090" y="33434"/>
                  </a:moveTo>
                  <a:lnTo>
                    <a:pt x="16717" y="33434"/>
                  </a:lnTo>
                  <a:cubicBezTo>
                    <a:pt x="7072" y="33434"/>
                    <a:pt x="0" y="25718"/>
                    <a:pt x="0" y="16717"/>
                  </a:cubicBezTo>
                  <a:cubicBezTo>
                    <a:pt x="0" y="7073"/>
                    <a:pt x="7715" y="0"/>
                    <a:pt x="16717" y="0"/>
                  </a:cubicBezTo>
                  <a:lnTo>
                    <a:pt x="115090" y="0"/>
                  </a:lnTo>
                  <a:cubicBezTo>
                    <a:pt x="124735" y="0"/>
                    <a:pt x="131807" y="7716"/>
                    <a:pt x="131807" y="16717"/>
                  </a:cubicBezTo>
                  <a:cubicBezTo>
                    <a:pt x="132450" y="25718"/>
                    <a:pt x="124735" y="33434"/>
                    <a:pt x="115090" y="33434"/>
                  </a:cubicBezTo>
                  <a:lnTo>
                    <a:pt x="115090" y="33434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18" name="Forma Livre: Forma 417">
              <a:extLst>
                <a:ext uri="{FF2B5EF4-FFF2-40B4-BE49-F238E27FC236}">
                  <a16:creationId xmlns:a16="http://schemas.microsoft.com/office/drawing/2014/main" id="{040C5791-93E8-4D4F-B12C-3DA3422CF80A}"/>
                </a:ext>
              </a:extLst>
            </p:cNvPr>
            <p:cNvSpPr/>
            <p:nvPr/>
          </p:nvSpPr>
          <p:spPr>
            <a:xfrm>
              <a:off x="8596476" y="3759718"/>
              <a:ext cx="301549" cy="300905"/>
            </a:xfrm>
            <a:custGeom>
              <a:avLst/>
              <a:gdLst>
                <a:gd name="connsiteX0" fmla="*/ 166527 w 301549"/>
                <a:gd name="connsiteY0" fmla="*/ 300906 h 300905"/>
                <a:gd name="connsiteX1" fmla="*/ 134379 w 301549"/>
                <a:gd name="connsiteY1" fmla="*/ 300906 h 300905"/>
                <a:gd name="connsiteX2" fmla="*/ 108661 w 301549"/>
                <a:gd name="connsiteY2" fmla="*/ 275187 h 300905"/>
                <a:gd name="connsiteX3" fmla="*/ 108661 w 301549"/>
                <a:gd name="connsiteY3" fmla="*/ 257827 h 300905"/>
                <a:gd name="connsiteX4" fmla="*/ 103517 w 301549"/>
                <a:gd name="connsiteY4" fmla="*/ 255899 h 300905"/>
                <a:gd name="connsiteX5" fmla="*/ 91300 w 301549"/>
                <a:gd name="connsiteY5" fmla="*/ 268115 h 300905"/>
                <a:gd name="connsiteX6" fmla="*/ 55295 w 301549"/>
                <a:gd name="connsiteY6" fmla="*/ 268115 h 300905"/>
                <a:gd name="connsiteX7" fmla="*/ 32791 w 301549"/>
                <a:gd name="connsiteY7" fmla="*/ 245611 h 300905"/>
                <a:gd name="connsiteX8" fmla="*/ 25076 w 301549"/>
                <a:gd name="connsiteY8" fmla="*/ 227609 h 300905"/>
                <a:gd name="connsiteX9" fmla="*/ 32791 w 301549"/>
                <a:gd name="connsiteY9" fmla="*/ 209605 h 300905"/>
                <a:gd name="connsiteX10" fmla="*/ 45007 w 301549"/>
                <a:gd name="connsiteY10" fmla="*/ 197389 h 300905"/>
                <a:gd name="connsiteX11" fmla="*/ 43078 w 301549"/>
                <a:gd name="connsiteY11" fmla="*/ 192246 h 300905"/>
                <a:gd name="connsiteX12" fmla="*/ 25718 w 301549"/>
                <a:gd name="connsiteY12" fmla="*/ 192246 h 300905"/>
                <a:gd name="connsiteX13" fmla="*/ 0 w 301549"/>
                <a:gd name="connsiteY13" fmla="*/ 166527 h 300905"/>
                <a:gd name="connsiteX14" fmla="*/ 0 w 301549"/>
                <a:gd name="connsiteY14" fmla="*/ 134379 h 300905"/>
                <a:gd name="connsiteX15" fmla="*/ 25718 w 301549"/>
                <a:gd name="connsiteY15" fmla="*/ 108661 h 300905"/>
                <a:gd name="connsiteX16" fmla="*/ 43078 w 301549"/>
                <a:gd name="connsiteY16" fmla="*/ 108661 h 300905"/>
                <a:gd name="connsiteX17" fmla="*/ 45007 w 301549"/>
                <a:gd name="connsiteY17" fmla="*/ 103517 h 300905"/>
                <a:gd name="connsiteX18" fmla="*/ 32791 w 301549"/>
                <a:gd name="connsiteY18" fmla="*/ 91301 h 300905"/>
                <a:gd name="connsiteX19" fmla="*/ 25076 w 301549"/>
                <a:gd name="connsiteY19" fmla="*/ 73298 h 300905"/>
                <a:gd name="connsiteX20" fmla="*/ 32791 w 301549"/>
                <a:gd name="connsiteY20" fmla="*/ 55295 h 300905"/>
                <a:gd name="connsiteX21" fmla="*/ 55295 w 301549"/>
                <a:gd name="connsiteY21" fmla="*/ 32791 h 300905"/>
                <a:gd name="connsiteX22" fmla="*/ 91943 w 301549"/>
                <a:gd name="connsiteY22" fmla="*/ 32791 h 300905"/>
                <a:gd name="connsiteX23" fmla="*/ 104159 w 301549"/>
                <a:gd name="connsiteY23" fmla="*/ 45007 h 300905"/>
                <a:gd name="connsiteX24" fmla="*/ 109303 w 301549"/>
                <a:gd name="connsiteY24" fmla="*/ 43078 h 300905"/>
                <a:gd name="connsiteX25" fmla="*/ 109303 w 301549"/>
                <a:gd name="connsiteY25" fmla="*/ 25718 h 300905"/>
                <a:gd name="connsiteX26" fmla="*/ 135022 w 301549"/>
                <a:gd name="connsiteY26" fmla="*/ 0 h 300905"/>
                <a:gd name="connsiteX27" fmla="*/ 167170 w 301549"/>
                <a:gd name="connsiteY27" fmla="*/ 0 h 300905"/>
                <a:gd name="connsiteX28" fmla="*/ 192888 w 301549"/>
                <a:gd name="connsiteY28" fmla="*/ 25718 h 300905"/>
                <a:gd name="connsiteX29" fmla="*/ 192888 w 301549"/>
                <a:gd name="connsiteY29" fmla="*/ 43078 h 300905"/>
                <a:gd name="connsiteX30" fmla="*/ 198032 w 301549"/>
                <a:gd name="connsiteY30" fmla="*/ 45007 h 300905"/>
                <a:gd name="connsiteX31" fmla="*/ 210248 w 301549"/>
                <a:gd name="connsiteY31" fmla="*/ 32791 h 300905"/>
                <a:gd name="connsiteX32" fmla="*/ 246254 w 301549"/>
                <a:gd name="connsiteY32" fmla="*/ 32791 h 300905"/>
                <a:gd name="connsiteX33" fmla="*/ 268757 w 301549"/>
                <a:gd name="connsiteY33" fmla="*/ 55295 h 300905"/>
                <a:gd name="connsiteX34" fmla="*/ 276473 w 301549"/>
                <a:gd name="connsiteY34" fmla="*/ 73298 h 300905"/>
                <a:gd name="connsiteX35" fmla="*/ 268757 w 301549"/>
                <a:gd name="connsiteY35" fmla="*/ 91301 h 300905"/>
                <a:gd name="connsiteX36" fmla="*/ 256542 w 301549"/>
                <a:gd name="connsiteY36" fmla="*/ 103517 h 300905"/>
                <a:gd name="connsiteX37" fmla="*/ 258470 w 301549"/>
                <a:gd name="connsiteY37" fmla="*/ 108661 h 300905"/>
                <a:gd name="connsiteX38" fmla="*/ 275831 w 301549"/>
                <a:gd name="connsiteY38" fmla="*/ 108661 h 300905"/>
                <a:gd name="connsiteX39" fmla="*/ 301549 w 301549"/>
                <a:gd name="connsiteY39" fmla="*/ 134379 h 300905"/>
                <a:gd name="connsiteX40" fmla="*/ 301549 w 301549"/>
                <a:gd name="connsiteY40" fmla="*/ 166527 h 300905"/>
                <a:gd name="connsiteX41" fmla="*/ 275831 w 301549"/>
                <a:gd name="connsiteY41" fmla="*/ 192246 h 300905"/>
                <a:gd name="connsiteX42" fmla="*/ 258470 w 301549"/>
                <a:gd name="connsiteY42" fmla="*/ 192246 h 300905"/>
                <a:gd name="connsiteX43" fmla="*/ 256542 w 301549"/>
                <a:gd name="connsiteY43" fmla="*/ 197389 h 300905"/>
                <a:gd name="connsiteX44" fmla="*/ 268757 w 301549"/>
                <a:gd name="connsiteY44" fmla="*/ 209605 h 300905"/>
                <a:gd name="connsiteX45" fmla="*/ 268757 w 301549"/>
                <a:gd name="connsiteY45" fmla="*/ 246254 h 300905"/>
                <a:gd name="connsiteX46" fmla="*/ 246254 w 301549"/>
                <a:gd name="connsiteY46" fmla="*/ 268758 h 300905"/>
                <a:gd name="connsiteX47" fmla="*/ 210248 w 301549"/>
                <a:gd name="connsiteY47" fmla="*/ 268758 h 300905"/>
                <a:gd name="connsiteX48" fmla="*/ 198032 w 301549"/>
                <a:gd name="connsiteY48" fmla="*/ 256542 h 300905"/>
                <a:gd name="connsiteX49" fmla="*/ 192888 w 301549"/>
                <a:gd name="connsiteY49" fmla="*/ 258471 h 300905"/>
                <a:gd name="connsiteX50" fmla="*/ 192888 w 301549"/>
                <a:gd name="connsiteY50" fmla="*/ 275831 h 300905"/>
                <a:gd name="connsiteX51" fmla="*/ 166527 w 301549"/>
                <a:gd name="connsiteY51" fmla="*/ 300906 h 300905"/>
                <a:gd name="connsiteX52" fmla="*/ 166527 w 301549"/>
                <a:gd name="connsiteY52" fmla="*/ 300906 h 300905"/>
                <a:gd name="connsiteX53" fmla="*/ 143380 w 301549"/>
                <a:gd name="connsiteY53" fmla="*/ 266829 h 300905"/>
                <a:gd name="connsiteX54" fmla="*/ 158811 w 301549"/>
                <a:gd name="connsiteY54" fmla="*/ 266829 h 300905"/>
                <a:gd name="connsiteX55" fmla="*/ 158811 w 301549"/>
                <a:gd name="connsiteY55" fmla="*/ 254613 h 300905"/>
                <a:gd name="connsiteX56" fmla="*/ 178743 w 301549"/>
                <a:gd name="connsiteY56" fmla="*/ 226965 h 300905"/>
                <a:gd name="connsiteX57" fmla="*/ 187102 w 301549"/>
                <a:gd name="connsiteY57" fmla="*/ 223751 h 300905"/>
                <a:gd name="connsiteX58" fmla="*/ 198675 w 301549"/>
                <a:gd name="connsiteY58" fmla="*/ 221179 h 300905"/>
                <a:gd name="connsiteX59" fmla="*/ 219250 w 301549"/>
                <a:gd name="connsiteY59" fmla="*/ 229537 h 300905"/>
                <a:gd name="connsiteX60" fmla="*/ 228251 w 301549"/>
                <a:gd name="connsiteY60" fmla="*/ 238539 h 300905"/>
                <a:gd name="connsiteX61" fmla="*/ 239181 w 301549"/>
                <a:gd name="connsiteY61" fmla="*/ 227609 h 300905"/>
                <a:gd name="connsiteX62" fmla="*/ 230180 w 301549"/>
                <a:gd name="connsiteY62" fmla="*/ 218607 h 300905"/>
                <a:gd name="connsiteX63" fmla="*/ 225036 w 301549"/>
                <a:gd name="connsiteY63" fmla="*/ 185173 h 300905"/>
                <a:gd name="connsiteX64" fmla="*/ 228251 w 301549"/>
                <a:gd name="connsiteY64" fmla="*/ 176814 h 300905"/>
                <a:gd name="connsiteX65" fmla="*/ 255255 w 301549"/>
                <a:gd name="connsiteY65" fmla="*/ 158168 h 300905"/>
                <a:gd name="connsiteX66" fmla="*/ 267472 w 301549"/>
                <a:gd name="connsiteY66" fmla="*/ 158168 h 300905"/>
                <a:gd name="connsiteX67" fmla="*/ 267472 w 301549"/>
                <a:gd name="connsiteY67" fmla="*/ 142738 h 300905"/>
                <a:gd name="connsiteX68" fmla="*/ 255255 w 301549"/>
                <a:gd name="connsiteY68" fmla="*/ 142738 h 300905"/>
                <a:gd name="connsiteX69" fmla="*/ 227608 w 301549"/>
                <a:gd name="connsiteY69" fmla="*/ 122805 h 300905"/>
                <a:gd name="connsiteX70" fmla="*/ 224394 w 301549"/>
                <a:gd name="connsiteY70" fmla="*/ 114447 h 300905"/>
                <a:gd name="connsiteX71" fmla="*/ 230180 w 301549"/>
                <a:gd name="connsiteY71" fmla="*/ 82299 h 300905"/>
                <a:gd name="connsiteX72" fmla="*/ 239181 w 301549"/>
                <a:gd name="connsiteY72" fmla="*/ 73298 h 300905"/>
                <a:gd name="connsiteX73" fmla="*/ 228251 w 301549"/>
                <a:gd name="connsiteY73" fmla="*/ 62367 h 300905"/>
                <a:gd name="connsiteX74" fmla="*/ 219250 w 301549"/>
                <a:gd name="connsiteY74" fmla="*/ 71369 h 300905"/>
                <a:gd name="connsiteX75" fmla="*/ 185816 w 301549"/>
                <a:gd name="connsiteY75" fmla="*/ 77155 h 300905"/>
                <a:gd name="connsiteX76" fmla="*/ 177457 w 301549"/>
                <a:gd name="connsiteY76" fmla="*/ 73941 h 300905"/>
                <a:gd name="connsiteX77" fmla="*/ 158811 w 301549"/>
                <a:gd name="connsiteY77" fmla="*/ 46936 h 300905"/>
                <a:gd name="connsiteX78" fmla="*/ 158811 w 301549"/>
                <a:gd name="connsiteY78" fmla="*/ 34720 h 300905"/>
                <a:gd name="connsiteX79" fmla="*/ 143380 w 301549"/>
                <a:gd name="connsiteY79" fmla="*/ 34720 h 300905"/>
                <a:gd name="connsiteX80" fmla="*/ 143380 w 301549"/>
                <a:gd name="connsiteY80" fmla="*/ 46936 h 300905"/>
                <a:gd name="connsiteX81" fmla="*/ 123448 w 301549"/>
                <a:gd name="connsiteY81" fmla="*/ 74583 h 300905"/>
                <a:gd name="connsiteX82" fmla="*/ 115090 w 301549"/>
                <a:gd name="connsiteY82" fmla="*/ 77798 h 300905"/>
                <a:gd name="connsiteX83" fmla="*/ 103517 w 301549"/>
                <a:gd name="connsiteY83" fmla="*/ 80370 h 300905"/>
                <a:gd name="connsiteX84" fmla="*/ 82299 w 301549"/>
                <a:gd name="connsiteY84" fmla="*/ 72012 h 300905"/>
                <a:gd name="connsiteX85" fmla="*/ 73298 w 301549"/>
                <a:gd name="connsiteY85" fmla="*/ 63010 h 300905"/>
                <a:gd name="connsiteX86" fmla="*/ 62367 w 301549"/>
                <a:gd name="connsiteY86" fmla="*/ 73941 h 300905"/>
                <a:gd name="connsiteX87" fmla="*/ 71369 w 301549"/>
                <a:gd name="connsiteY87" fmla="*/ 82942 h 300905"/>
                <a:gd name="connsiteX88" fmla="*/ 76513 w 301549"/>
                <a:gd name="connsiteY88" fmla="*/ 116376 h 300905"/>
                <a:gd name="connsiteX89" fmla="*/ 73298 w 301549"/>
                <a:gd name="connsiteY89" fmla="*/ 124735 h 300905"/>
                <a:gd name="connsiteX90" fmla="*/ 46293 w 301549"/>
                <a:gd name="connsiteY90" fmla="*/ 143380 h 300905"/>
                <a:gd name="connsiteX91" fmla="*/ 34076 w 301549"/>
                <a:gd name="connsiteY91" fmla="*/ 143380 h 300905"/>
                <a:gd name="connsiteX92" fmla="*/ 34076 w 301549"/>
                <a:gd name="connsiteY92" fmla="*/ 158812 h 300905"/>
                <a:gd name="connsiteX93" fmla="*/ 46293 w 301549"/>
                <a:gd name="connsiteY93" fmla="*/ 158812 h 300905"/>
                <a:gd name="connsiteX94" fmla="*/ 73941 w 301549"/>
                <a:gd name="connsiteY94" fmla="*/ 178743 h 300905"/>
                <a:gd name="connsiteX95" fmla="*/ 77155 w 301549"/>
                <a:gd name="connsiteY95" fmla="*/ 187102 h 300905"/>
                <a:gd name="connsiteX96" fmla="*/ 71369 w 301549"/>
                <a:gd name="connsiteY96" fmla="*/ 219250 h 300905"/>
                <a:gd name="connsiteX97" fmla="*/ 62367 w 301549"/>
                <a:gd name="connsiteY97" fmla="*/ 228251 h 300905"/>
                <a:gd name="connsiteX98" fmla="*/ 73298 w 301549"/>
                <a:gd name="connsiteY98" fmla="*/ 239182 h 300905"/>
                <a:gd name="connsiteX99" fmla="*/ 82299 w 301549"/>
                <a:gd name="connsiteY99" fmla="*/ 230180 h 300905"/>
                <a:gd name="connsiteX100" fmla="*/ 115733 w 301549"/>
                <a:gd name="connsiteY100" fmla="*/ 225037 h 300905"/>
                <a:gd name="connsiteX101" fmla="*/ 124091 w 301549"/>
                <a:gd name="connsiteY101" fmla="*/ 228251 h 300905"/>
                <a:gd name="connsiteX102" fmla="*/ 142737 w 301549"/>
                <a:gd name="connsiteY102" fmla="*/ 255256 h 300905"/>
                <a:gd name="connsiteX103" fmla="*/ 142737 w 301549"/>
                <a:gd name="connsiteY103" fmla="*/ 266829 h 300905"/>
                <a:gd name="connsiteX104" fmla="*/ 143380 w 301549"/>
                <a:gd name="connsiteY104" fmla="*/ 266829 h 300905"/>
                <a:gd name="connsiteX105" fmla="*/ 151096 w 301549"/>
                <a:gd name="connsiteY105" fmla="*/ 209605 h 300905"/>
                <a:gd name="connsiteX106" fmla="*/ 91943 w 301549"/>
                <a:gd name="connsiteY106" fmla="*/ 150453 h 300905"/>
                <a:gd name="connsiteX107" fmla="*/ 151096 w 301549"/>
                <a:gd name="connsiteY107" fmla="*/ 91301 h 300905"/>
                <a:gd name="connsiteX108" fmla="*/ 210248 w 301549"/>
                <a:gd name="connsiteY108" fmla="*/ 150453 h 300905"/>
                <a:gd name="connsiteX109" fmla="*/ 151096 w 301549"/>
                <a:gd name="connsiteY109" fmla="*/ 209605 h 300905"/>
                <a:gd name="connsiteX110" fmla="*/ 151096 w 301549"/>
                <a:gd name="connsiteY110" fmla="*/ 209605 h 300905"/>
                <a:gd name="connsiteX111" fmla="*/ 151096 w 301549"/>
                <a:gd name="connsiteY111" fmla="*/ 124735 h 300905"/>
                <a:gd name="connsiteX112" fmla="*/ 126020 w 301549"/>
                <a:gd name="connsiteY112" fmla="*/ 149810 h 300905"/>
                <a:gd name="connsiteX113" fmla="*/ 151096 w 301549"/>
                <a:gd name="connsiteY113" fmla="*/ 174886 h 300905"/>
                <a:gd name="connsiteX114" fmla="*/ 176172 w 301549"/>
                <a:gd name="connsiteY114" fmla="*/ 149810 h 300905"/>
                <a:gd name="connsiteX115" fmla="*/ 151096 w 301549"/>
                <a:gd name="connsiteY115" fmla="*/ 124735 h 300905"/>
                <a:gd name="connsiteX116" fmla="*/ 151096 w 301549"/>
                <a:gd name="connsiteY116" fmla="*/ 124735 h 300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</a:cxnLst>
              <a:rect l="l" t="t" r="r" b="b"/>
              <a:pathLst>
                <a:path w="301549" h="300905">
                  <a:moveTo>
                    <a:pt x="166527" y="300906"/>
                  </a:moveTo>
                  <a:lnTo>
                    <a:pt x="134379" y="300906"/>
                  </a:lnTo>
                  <a:cubicBezTo>
                    <a:pt x="120233" y="300906"/>
                    <a:pt x="108661" y="289333"/>
                    <a:pt x="108661" y="275187"/>
                  </a:cubicBezTo>
                  <a:lnTo>
                    <a:pt x="108661" y="257827"/>
                  </a:lnTo>
                  <a:lnTo>
                    <a:pt x="103517" y="255899"/>
                  </a:lnTo>
                  <a:lnTo>
                    <a:pt x="91300" y="268115"/>
                  </a:lnTo>
                  <a:cubicBezTo>
                    <a:pt x="81656" y="277759"/>
                    <a:pt x="64939" y="277759"/>
                    <a:pt x="55295" y="268115"/>
                  </a:cubicBezTo>
                  <a:lnTo>
                    <a:pt x="32791" y="245611"/>
                  </a:lnTo>
                  <a:cubicBezTo>
                    <a:pt x="27647" y="240468"/>
                    <a:pt x="25076" y="234038"/>
                    <a:pt x="25076" y="227609"/>
                  </a:cubicBezTo>
                  <a:cubicBezTo>
                    <a:pt x="25076" y="220536"/>
                    <a:pt x="27647" y="214106"/>
                    <a:pt x="32791" y="209605"/>
                  </a:cubicBezTo>
                  <a:lnTo>
                    <a:pt x="45007" y="197389"/>
                  </a:lnTo>
                  <a:lnTo>
                    <a:pt x="43078" y="192246"/>
                  </a:lnTo>
                  <a:lnTo>
                    <a:pt x="25718" y="192246"/>
                  </a:lnTo>
                  <a:cubicBezTo>
                    <a:pt x="11573" y="192246"/>
                    <a:pt x="0" y="180672"/>
                    <a:pt x="0" y="166527"/>
                  </a:cubicBezTo>
                  <a:lnTo>
                    <a:pt x="0" y="134379"/>
                  </a:lnTo>
                  <a:cubicBezTo>
                    <a:pt x="0" y="120234"/>
                    <a:pt x="11573" y="108661"/>
                    <a:pt x="25718" y="108661"/>
                  </a:cubicBezTo>
                  <a:lnTo>
                    <a:pt x="43078" y="108661"/>
                  </a:lnTo>
                  <a:lnTo>
                    <a:pt x="45007" y="103517"/>
                  </a:lnTo>
                  <a:lnTo>
                    <a:pt x="32791" y="91301"/>
                  </a:lnTo>
                  <a:cubicBezTo>
                    <a:pt x="27647" y="86800"/>
                    <a:pt x="25076" y="79727"/>
                    <a:pt x="25076" y="73298"/>
                  </a:cubicBezTo>
                  <a:cubicBezTo>
                    <a:pt x="25076" y="66225"/>
                    <a:pt x="27647" y="59795"/>
                    <a:pt x="32791" y="55295"/>
                  </a:cubicBezTo>
                  <a:lnTo>
                    <a:pt x="55295" y="32791"/>
                  </a:lnTo>
                  <a:cubicBezTo>
                    <a:pt x="64939" y="23147"/>
                    <a:pt x="81656" y="23147"/>
                    <a:pt x="91943" y="32791"/>
                  </a:cubicBezTo>
                  <a:lnTo>
                    <a:pt x="104159" y="45007"/>
                  </a:lnTo>
                  <a:lnTo>
                    <a:pt x="109303" y="43078"/>
                  </a:lnTo>
                  <a:lnTo>
                    <a:pt x="109303" y="25718"/>
                  </a:lnTo>
                  <a:cubicBezTo>
                    <a:pt x="109303" y="11573"/>
                    <a:pt x="120876" y="0"/>
                    <a:pt x="135022" y="0"/>
                  </a:cubicBezTo>
                  <a:lnTo>
                    <a:pt x="167170" y="0"/>
                  </a:lnTo>
                  <a:cubicBezTo>
                    <a:pt x="181315" y="0"/>
                    <a:pt x="192888" y="11573"/>
                    <a:pt x="192888" y="25718"/>
                  </a:cubicBezTo>
                  <a:lnTo>
                    <a:pt x="192888" y="43078"/>
                  </a:lnTo>
                  <a:lnTo>
                    <a:pt x="198032" y="45007"/>
                  </a:lnTo>
                  <a:lnTo>
                    <a:pt x="210248" y="32791"/>
                  </a:lnTo>
                  <a:cubicBezTo>
                    <a:pt x="219892" y="23147"/>
                    <a:pt x="236609" y="23147"/>
                    <a:pt x="246254" y="32791"/>
                  </a:cubicBezTo>
                  <a:lnTo>
                    <a:pt x="268757" y="55295"/>
                  </a:lnTo>
                  <a:cubicBezTo>
                    <a:pt x="273901" y="59795"/>
                    <a:pt x="276473" y="66225"/>
                    <a:pt x="276473" y="73298"/>
                  </a:cubicBezTo>
                  <a:cubicBezTo>
                    <a:pt x="276473" y="80370"/>
                    <a:pt x="273901" y="86800"/>
                    <a:pt x="268757" y="91301"/>
                  </a:cubicBezTo>
                  <a:lnTo>
                    <a:pt x="256542" y="103517"/>
                  </a:lnTo>
                  <a:lnTo>
                    <a:pt x="258470" y="108661"/>
                  </a:lnTo>
                  <a:lnTo>
                    <a:pt x="275831" y="108661"/>
                  </a:lnTo>
                  <a:cubicBezTo>
                    <a:pt x="289975" y="108661"/>
                    <a:pt x="301549" y="120234"/>
                    <a:pt x="301549" y="134379"/>
                  </a:cubicBezTo>
                  <a:lnTo>
                    <a:pt x="301549" y="166527"/>
                  </a:lnTo>
                  <a:cubicBezTo>
                    <a:pt x="301549" y="180672"/>
                    <a:pt x="289975" y="192246"/>
                    <a:pt x="275831" y="192246"/>
                  </a:cubicBezTo>
                  <a:lnTo>
                    <a:pt x="258470" y="192246"/>
                  </a:lnTo>
                  <a:lnTo>
                    <a:pt x="256542" y="197389"/>
                  </a:lnTo>
                  <a:lnTo>
                    <a:pt x="268757" y="209605"/>
                  </a:lnTo>
                  <a:cubicBezTo>
                    <a:pt x="279045" y="219893"/>
                    <a:pt x="279045" y="235967"/>
                    <a:pt x="268757" y="246254"/>
                  </a:cubicBezTo>
                  <a:lnTo>
                    <a:pt x="246254" y="268758"/>
                  </a:lnTo>
                  <a:cubicBezTo>
                    <a:pt x="236609" y="278402"/>
                    <a:pt x="219892" y="278402"/>
                    <a:pt x="210248" y="268758"/>
                  </a:cubicBezTo>
                  <a:lnTo>
                    <a:pt x="198032" y="256542"/>
                  </a:lnTo>
                  <a:lnTo>
                    <a:pt x="192888" y="258471"/>
                  </a:lnTo>
                  <a:lnTo>
                    <a:pt x="192888" y="275831"/>
                  </a:lnTo>
                  <a:cubicBezTo>
                    <a:pt x="192246" y="289333"/>
                    <a:pt x="180672" y="300906"/>
                    <a:pt x="166527" y="300906"/>
                  </a:cubicBezTo>
                  <a:lnTo>
                    <a:pt x="166527" y="300906"/>
                  </a:lnTo>
                  <a:close/>
                  <a:moveTo>
                    <a:pt x="143380" y="266829"/>
                  </a:moveTo>
                  <a:lnTo>
                    <a:pt x="158811" y="266829"/>
                  </a:lnTo>
                  <a:lnTo>
                    <a:pt x="158811" y="254613"/>
                  </a:lnTo>
                  <a:cubicBezTo>
                    <a:pt x="158811" y="242397"/>
                    <a:pt x="167170" y="230823"/>
                    <a:pt x="178743" y="226965"/>
                  </a:cubicBezTo>
                  <a:lnTo>
                    <a:pt x="187102" y="223751"/>
                  </a:lnTo>
                  <a:cubicBezTo>
                    <a:pt x="189674" y="222465"/>
                    <a:pt x="194174" y="221179"/>
                    <a:pt x="198675" y="221179"/>
                  </a:cubicBezTo>
                  <a:cubicBezTo>
                    <a:pt x="206390" y="221179"/>
                    <a:pt x="214106" y="224394"/>
                    <a:pt x="219250" y="229537"/>
                  </a:cubicBezTo>
                  <a:lnTo>
                    <a:pt x="228251" y="238539"/>
                  </a:lnTo>
                  <a:lnTo>
                    <a:pt x="239181" y="227609"/>
                  </a:lnTo>
                  <a:lnTo>
                    <a:pt x="230180" y="218607"/>
                  </a:lnTo>
                  <a:cubicBezTo>
                    <a:pt x="221822" y="210248"/>
                    <a:pt x="219250" y="196103"/>
                    <a:pt x="225036" y="185173"/>
                  </a:cubicBezTo>
                  <a:lnTo>
                    <a:pt x="228251" y="176814"/>
                  </a:lnTo>
                  <a:cubicBezTo>
                    <a:pt x="231466" y="166527"/>
                    <a:pt x="243039" y="158168"/>
                    <a:pt x="255255" y="158168"/>
                  </a:cubicBezTo>
                  <a:lnTo>
                    <a:pt x="267472" y="158168"/>
                  </a:lnTo>
                  <a:lnTo>
                    <a:pt x="267472" y="142738"/>
                  </a:lnTo>
                  <a:lnTo>
                    <a:pt x="255255" y="142738"/>
                  </a:lnTo>
                  <a:cubicBezTo>
                    <a:pt x="243039" y="142738"/>
                    <a:pt x="231466" y="134379"/>
                    <a:pt x="227608" y="122805"/>
                  </a:cubicBezTo>
                  <a:lnTo>
                    <a:pt x="224394" y="114447"/>
                  </a:lnTo>
                  <a:cubicBezTo>
                    <a:pt x="219250" y="104803"/>
                    <a:pt x="221822" y="90657"/>
                    <a:pt x="230180" y="82299"/>
                  </a:cubicBezTo>
                  <a:lnTo>
                    <a:pt x="239181" y="73298"/>
                  </a:lnTo>
                  <a:lnTo>
                    <a:pt x="228251" y="62367"/>
                  </a:lnTo>
                  <a:lnTo>
                    <a:pt x="219250" y="71369"/>
                  </a:lnTo>
                  <a:cubicBezTo>
                    <a:pt x="210891" y="79727"/>
                    <a:pt x="196103" y="82299"/>
                    <a:pt x="185816" y="77155"/>
                  </a:cubicBezTo>
                  <a:lnTo>
                    <a:pt x="177457" y="73941"/>
                  </a:lnTo>
                  <a:cubicBezTo>
                    <a:pt x="167170" y="70726"/>
                    <a:pt x="158811" y="59153"/>
                    <a:pt x="158811" y="46936"/>
                  </a:cubicBezTo>
                  <a:lnTo>
                    <a:pt x="158811" y="34720"/>
                  </a:lnTo>
                  <a:lnTo>
                    <a:pt x="143380" y="34720"/>
                  </a:lnTo>
                  <a:lnTo>
                    <a:pt x="143380" y="46936"/>
                  </a:lnTo>
                  <a:cubicBezTo>
                    <a:pt x="143380" y="59153"/>
                    <a:pt x="135022" y="70726"/>
                    <a:pt x="123448" y="74583"/>
                  </a:cubicBezTo>
                  <a:lnTo>
                    <a:pt x="115090" y="77798"/>
                  </a:lnTo>
                  <a:cubicBezTo>
                    <a:pt x="112518" y="79084"/>
                    <a:pt x="108017" y="80370"/>
                    <a:pt x="103517" y="80370"/>
                  </a:cubicBezTo>
                  <a:cubicBezTo>
                    <a:pt x="95801" y="80370"/>
                    <a:pt x="88085" y="77155"/>
                    <a:pt x="82299" y="72012"/>
                  </a:cubicBezTo>
                  <a:lnTo>
                    <a:pt x="73298" y="63010"/>
                  </a:lnTo>
                  <a:lnTo>
                    <a:pt x="62367" y="73941"/>
                  </a:lnTo>
                  <a:lnTo>
                    <a:pt x="71369" y="82942"/>
                  </a:lnTo>
                  <a:cubicBezTo>
                    <a:pt x="79727" y="91301"/>
                    <a:pt x="82299" y="105446"/>
                    <a:pt x="76513" y="116376"/>
                  </a:cubicBezTo>
                  <a:lnTo>
                    <a:pt x="73298" y="124735"/>
                  </a:lnTo>
                  <a:cubicBezTo>
                    <a:pt x="70083" y="135022"/>
                    <a:pt x="57867" y="143380"/>
                    <a:pt x="46293" y="143380"/>
                  </a:cubicBezTo>
                  <a:lnTo>
                    <a:pt x="34076" y="143380"/>
                  </a:lnTo>
                  <a:lnTo>
                    <a:pt x="34076" y="158812"/>
                  </a:lnTo>
                  <a:lnTo>
                    <a:pt x="46293" y="158812"/>
                  </a:lnTo>
                  <a:cubicBezTo>
                    <a:pt x="58509" y="158812"/>
                    <a:pt x="70083" y="167170"/>
                    <a:pt x="73941" y="178743"/>
                  </a:cubicBezTo>
                  <a:lnTo>
                    <a:pt x="77155" y="187102"/>
                  </a:lnTo>
                  <a:cubicBezTo>
                    <a:pt x="82299" y="196746"/>
                    <a:pt x="79727" y="210891"/>
                    <a:pt x="71369" y="219250"/>
                  </a:cubicBezTo>
                  <a:lnTo>
                    <a:pt x="62367" y="228251"/>
                  </a:lnTo>
                  <a:lnTo>
                    <a:pt x="73298" y="239182"/>
                  </a:lnTo>
                  <a:lnTo>
                    <a:pt x="82299" y="230180"/>
                  </a:lnTo>
                  <a:cubicBezTo>
                    <a:pt x="90657" y="221822"/>
                    <a:pt x="105446" y="219250"/>
                    <a:pt x="115733" y="225037"/>
                  </a:cubicBezTo>
                  <a:lnTo>
                    <a:pt x="124091" y="228251"/>
                  </a:lnTo>
                  <a:cubicBezTo>
                    <a:pt x="134379" y="231466"/>
                    <a:pt x="142737" y="243039"/>
                    <a:pt x="142737" y="255256"/>
                  </a:cubicBezTo>
                  <a:lnTo>
                    <a:pt x="142737" y="266829"/>
                  </a:lnTo>
                  <a:lnTo>
                    <a:pt x="143380" y="266829"/>
                  </a:lnTo>
                  <a:close/>
                  <a:moveTo>
                    <a:pt x="151096" y="209605"/>
                  </a:moveTo>
                  <a:cubicBezTo>
                    <a:pt x="118305" y="209605"/>
                    <a:pt x="91943" y="183244"/>
                    <a:pt x="91943" y="150453"/>
                  </a:cubicBezTo>
                  <a:cubicBezTo>
                    <a:pt x="91943" y="117662"/>
                    <a:pt x="118305" y="91301"/>
                    <a:pt x="151096" y="91301"/>
                  </a:cubicBezTo>
                  <a:cubicBezTo>
                    <a:pt x="183887" y="91301"/>
                    <a:pt x="210248" y="117662"/>
                    <a:pt x="210248" y="150453"/>
                  </a:cubicBezTo>
                  <a:cubicBezTo>
                    <a:pt x="210248" y="182601"/>
                    <a:pt x="183244" y="209605"/>
                    <a:pt x="151096" y="209605"/>
                  </a:cubicBezTo>
                  <a:lnTo>
                    <a:pt x="151096" y="209605"/>
                  </a:lnTo>
                  <a:close/>
                  <a:moveTo>
                    <a:pt x="151096" y="124735"/>
                  </a:moveTo>
                  <a:cubicBezTo>
                    <a:pt x="136950" y="124735"/>
                    <a:pt x="126020" y="136308"/>
                    <a:pt x="126020" y="149810"/>
                  </a:cubicBezTo>
                  <a:cubicBezTo>
                    <a:pt x="126020" y="163955"/>
                    <a:pt x="137594" y="174886"/>
                    <a:pt x="151096" y="174886"/>
                  </a:cubicBezTo>
                  <a:cubicBezTo>
                    <a:pt x="165241" y="174886"/>
                    <a:pt x="176172" y="163312"/>
                    <a:pt x="176172" y="149810"/>
                  </a:cubicBezTo>
                  <a:cubicBezTo>
                    <a:pt x="176172" y="136308"/>
                    <a:pt x="164598" y="124735"/>
                    <a:pt x="151096" y="124735"/>
                  </a:cubicBezTo>
                  <a:lnTo>
                    <a:pt x="151096" y="124735"/>
                  </a:lnTo>
                  <a:close/>
                </a:path>
              </a:pathLst>
            </a:custGeom>
            <a:grpFill/>
            <a:ln w="64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</p:spTree>
    <p:extLst>
      <p:ext uri="{BB962C8B-B14F-4D97-AF65-F5344CB8AC3E}">
        <p14:creationId xmlns:p14="http://schemas.microsoft.com/office/powerpoint/2010/main" val="1247392623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áfico 2">
            <a:extLst>
              <a:ext uri="{FF2B5EF4-FFF2-40B4-BE49-F238E27FC236}">
                <a16:creationId xmlns:a16="http://schemas.microsoft.com/office/drawing/2014/main" id="{4A08825F-1C42-4C63-A6FE-BBB3DD9D4FEB}"/>
              </a:ext>
            </a:extLst>
          </p:cNvPr>
          <p:cNvGrpSpPr/>
          <p:nvPr/>
        </p:nvGrpSpPr>
        <p:grpSpPr>
          <a:xfrm>
            <a:off x="1064097" y="512763"/>
            <a:ext cx="10058591" cy="1508586"/>
            <a:chOff x="1064097" y="512763"/>
            <a:chExt cx="10058591" cy="1508586"/>
          </a:xfrm>
          <a:solidFill>
            <a:srgbClr val="B1B1A1"/>
          </a:solidFill>
        </p:grpSpPr>
        <p:grpSp>
          <p:nvGrpSpPr>
            <p:cNvPr id="6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1094294" y="546899"/>
              <a:ext cx="398482" cy="351215"/>
              <a:chOff x="1094294" y="546899"/>
              <a:chExt cx="398482" cy="351215"/>
            </a:xfrm>
            <a:grpFill/>
          </p:grpSpPr>
          <p:grpSp>
            <p:nvGrpSpPr>
              <p:cNvPr id="7" name="Gráfico 2">
                <a:extLst>
                  <a:ext uri="{FF2B5EF4-FFF2-40B4-BE49-F238E27FC236}">
                    <a16:creationId xmlns:a16="http://schemas.microsoft.com/office/drawing/2014/main" id="{4A08825F-1C42-4C63-A6FE-BBB3DD9D4FEB}"/>
                  </a:ext>
                </a:extLst>
              </p:cNvPr>
              <p:cNvGrpSpPr/>
              <p:nvPr/>
            </p:nvGrpSpPr>
            <p:grpSpPr>
              <a:xfrm>
                <a:off x="1175698" y="578257"/>
                <a:ext cx="317078" cy="289003"/>
                <a:chOff x="1175698" y="578257"/>
                <a:chExt cx="317078" cy="289003"/>
              </a:xfrm>
              <a:grpFill/>
            </p:grpSpPr>
            <p:sp>
              <p:nvSpPr>
                <p:cNvPr id="8" name="Forma Livre: Forma 7">
                  <a:extLst>
                    <a:ext uri="{FF2B5EF4-FFF2-40B4-BE49-F238E27FC236}">
                      <a16:creationId xmlns:a16="http://schemas.microsoft.com/office/drawing/2014/main" id="{45AEEE58-74A7-441E-82A4-82A361C7BB54}"/>
                    </a:ext>
                  </a:extLst>
                </p:cNvPr>
                <p:cNvSpPr/>
                <p:nvPr/>
              </p:nvSpPr>
              <p:spPr>
                <a:xfrm>
                  <a:off x="1176190" y="578257"/>
                  <a:ext cx="127673" cy="289003"/>
                </a:xfrm>
                <a:custGeom>
                  <a:avLst/>
                  <a:gdLst>
                    <a:gd name="connsiteX0" fmla="*/ 109796 w 127673"/>
                    <a:gd name="connsiteY0" fmla="*/ 289003 h 289003"/>
                    <a:gd name="connsiteX1" fmla="*/ 95353 w 127673"/>
                    <a:gd name="connsiteY1" fmla="*/ 281782 h 289003"/>
                    <a:gd name="connsiteX2" fmla="*/ 3447 w 127673"/>
                    <a:gd name="connsiteY2" fmla="*/ 155082 h 289003"/>
                    <a:gd name="connsiteX3" fmla="*/ 3447 w 127673"/>
                    <a:gd name="connsiteY3" fmla="*/ 134731 h 289003"/>
                    <a:gd name="connsiteX4" fmla="*/ 96010 w 127673"/>
                    <a:gd name="connsiteY4" fmla="*/ 7374 h 289003"/>
                    <a:gd name="connsiteX5" fmla="*/ 120300 w 127673"/>
                    <a:gd name="connsiteY5" fmla="*/ 3435 h 289003"/>
                    <a:gd name="connsiteX6" fmla="*/ 124238 w 127673"/>
                    <a:gd name="connsiteY6" fmla="*/ 27725 h 289003"/>
                    <a:gd name="connsiteX7" fmla="*/ 38896 w 127673"/>
                    <a:gd name="connsiteY7" fmla="*/ 144578 h 289003"/>
                    <a:gd name="connsiteX8" fmla="*/ 124238 w 127673"/>
                    <a:gd name="connsiteY8" fmla="*/ 261431 h 289003"/>
                    <a:gd name="connsiteX9" fmla="*/ 120300 w 127673"/>
                    <a:gd name="connsiteY9" fmla="*/ 285721 h 289003"/>
                    <a:gd name="connsiteX10" fmla="*/ 109796 w 127673"/>
                    <a:gd name="connsiteY10" fmla="*/ 289003 h 289003"/>
                    <a:gd name="connsiteX11" fmla="*/ 109796 w 127673"/>
                    <a:gd name="connsiteY11" fmla="*/ 289003 h 2890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27673" h="289003">
                      <a:moveTo>
                        <a:pt x="109796" y="289003"/>
                      </a:moveTo>
                      <a:cubicBezTo>
                        <a:pt x="104544" y="289003"/>
                        <a:pt x="99292" y="286377"/>
                        <a:pt x="95353" y="281782"/>
                      </a:cubicBezTo>
                      <a:lnTo>
                        <a:pt x="3447" y="155082"/>
                      </a:lnTo>
                      <a:cubicBezTo>
                        <a:pt x="-1149" y="149173"/>
                        <a:pt x="-1149" y="140639"/>
                        <a:pt x="3447" y="134731"/>
                      </a:cubicBezTo>
                      <a:lnTo>
                        <a:pt x="96010" y="7374"/>
                      </a:lnTo>
                      <a:cubicBezTo>
                        <a:pt x="101918" y="-504"/>
                        <a:pt x="112422" y="-2473"/>
                        <a:pt x="120300" y="3435"/>
                      </a:cubicBezTo>
                      <a:cubicBezTo>
                        <a:pt x="128177" y="9344"/>
                        <a:pt x="130147" y="19847"/>
                        <a:pt x="124238" y="27725"/>
                      </a:cubicBezTo>
                      <a:lnTo>
                        <a:pt x="38896" y="144578"/>
                      </a:lnTo>
                      <a:lnTo>
                        <a:pt x="124238" y="261431"/>
                      </a:lnTo>
                      <a:cubicBezTo>
                        <a:pt x="130147" y="269309"/>
                        <a:pt x="128177" y="280469"/>
                        <a:pt x="120300" y="285721"/>
                      </a:cubicBezTo>
                      <a:cubicBezTo>
                        <a:pt x="117017" y="288347"/>
                        <a:pt x="113735" y="289003"/>
                        <a:pt x="109796" y="289003"/>
                      </a:cubicBezTo>
                      <a:lnTo>
                        <a:pt x="109796" y="289003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9" name="Forma Livre: Forma 8">
                  <a:extLst>
                    <a:ext uri="{FF2B5EF4-FFF2-40B4-BE49-F238E27FC236}">
                      <a16:creationId xmlns:a16="http://schemas.microsoft.com/office/drawing/2014/main" id="{A89356A1-D6DA-4AC9-BF24-F91EBFECA115}"/>
                    </a:ext>
                  </a:extLst>
                </p:cNvPr>
                <p:cNvSpPr/>
                <p:nvPr/>
              </p:nvSpPr>
              <p:spPr>
                <a:xfrm>
                  <a:off x="1175698" y="705111"/>
                  <a:ext cx="317078" cy="35449"/>
                </a:xfrm>
                <a:custGeom>
                  <a:avLst/>
                  <a:gdLst>
                    <a:gd name="connsiteX0" fmla="*/ 300010 w 317078"/>
                    <a:gd name="connsiteY0" fmla="*/ 35450 h 35449"/>
                    <a:gd name="connsiteX1" fmla="*/ 17725 w 317078"/>
                    <a:gd name="connsiteY1" fmla="*/ 35450 h 35449"/>
                    <a:gd name="connsiteX2" fmla="*/ 0 w 317078"/>
                    <a:gd name="connsiteY2" fmla="*/ 17725 h 35449"/>
                    <a:gd name="connsiteX3" fmla="*/ 17725 w 317078"/>
                    <a:gd name="connsiteY3" fmla="*/ 0 h 35449"/>
                    <a:gd name="connsiteX4" fmla="*/ 299354 w 317078"/>
                    <a:gd name="connsiteY4" fmla="*/ 0 h 35449"/>
                    <a:gd name="connsiteX5" fmla="*/ 317079 w 317078"/>
                    <a:gd name="connsiteY5" fmla="*/ 17725 h 35449"/>
                    <a:gd name="connsiteX6" fmla="*/ 300010 w 317078"/>
                    <a:gd name="connsiteY6" fmla="*/ 35450 h 35449"/>
                    <a:gd name="connsiteX7" fmla="*/ 300010 w 317078"/>
                    <a:gd name="connsiteY7" fmla="*/ 35450 h 354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7078" h="35449">
                      <a:moveTo>
                        <a:pt x="300010" y="35450"/>
                      </a:moveTo>
                      <a:lnTo>
                        <a:pt x="17725" y="35450"/>
                      </a:lnTo>
                      <a:cubicBezTo>
                        <a:pt x="7878" y="35450"/>
                        <a:pt x="0" y="27572"/>
                        <a:pt x="0" y="17725"/>
                      </a:cubicBezTo>
                      <a:cubicBezTo>
                        <a:pt x="0" y="7878"/>
                        <a:pt x="7878" y="0"/>
                        <a:pt x="17725" y="0"/>
                      </a:cubicBezTo>
                      <a:lnTo>
                        <a:pt x="299354" y="0"/>
                      </a:lnTo>
                      <a:cubicBezTo>
                        <a:pt x="309201" y="0"/>
                        <a:pt x="317079" y="7878"/>
                        <a:pt x="317079" y="17725"/>
                      </a:cubicBezTo>
                      <a:cubicBezTo>
                        <a:pt x="317079" y="27572"/>
                        <a:pt x="309201" y="35450"/>
                        <a:pt x="300010" y="35450"/>
                      </a:cubicBezTo>
                      <a:lnTo>
                        <a:pt x="300010" y="35450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sp>
            <p:nvSpPr>
              <p:cNvPr id="10" name="Forma Livre: Forma 9">
                <a:extLst>
                  <a:ext uri="{FF2B5EF4-FFF2-40B4-BE49-F238E27FC236}">
                    <a16:creationId xmlns:a16="http://schemas.microsoft.com/office/drawing/2014/main" id="{3E21243B-3066-4CF9-B013-08D598DC513F}"/>
                  </a:ext>
                </a:extLst>
              </p:cNvPr>
              <p:cNvSpPr/>
              <p:nvPr/>
            </p:nvSpPr>
            <p:spPr>
              <a:xfrm>
                <a:off x="1094294" y="546899"/>
                <a:ext cx="35449" cy="351215"/>
              </a:xfrm>
              <a:custGeom>
                <a:avLst/>
                <a:gdLst>
                  <a:gd name="connsiteX0" fmla="*/ 17725 w 35449"/>
                  <a:gd name="connsiteY0" fmla="*/ 351216 h 351215"/>
                  <a:gd name="connsiteX1" fmla="*/ 0 w 35449"/>
                  <a:gd name="connsiteY1" fmla="*/ 333491 h 351215"/>
                  <a:gd name="connsiteX2" fmla="*/ 0 w 35449"/>
                  <a:gd name="connsiteY2" fmla="*/ 17725 h 351215"/>
                  <a:gd name="connsiteX3" fmla="*/ 17725 w 35449"/>
                  <a:gd name="connsiteY3" fmla="*/ 0 h 351215"/>
                  <a:gd name="connsiteX4" fmla="*/ 35450 w 35449"/>
                  <a:gd name="connsiteY4" fmla="*/ 17725 h 351215"/>
                  <a:gd name="connsiteX5" fmla="*/ 35450 w 35449"/>
                  <a:gd name="connsiteY5" fmla="*/ 333491 h 351215"/>
                  <a:gd name="connsiteX6" fmla="*/ 17725 w 35449"/>
                  <a:gd name="connsiteY6" fmla="*/ 351216 h 351215"/>
                  <a:gd name="connsiteX7" fmla="*/ 17725 w 35449"/>
                  <a:gd name="connsiteY7" fmla="*/ 351216 h 3512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449" h="351215">
                    <a:moveTo>
                      <a:pt x="17725" y="351216"/>
                    </a:moveTo>
                    <a:cubicBezTo>
                      <a:pt x="7878" y="351216"/>
                      <a:pt x="0" y="343338"/>
                      <a:pt x="0" y="333491"/>
                    </a:cubicBezTo>
                    <a:lnTo>
                      <a:pt x="0" y="17725"/>
                    </a:lnTo>
                    <a:cubicBezTo>
                      <a:pt x="0" y="7878"/>
                      <a:pt x="7878" y="0"/>
                      <a:pt x="17725" y="0"/>
                    </a:cubicBezTo>
                    <a:cubicBezTo>
                      <a:pt x="27572" y="0"/>
                      <a:pt x="35450" y="7878"/>
                      <a:pt x="35450" y="17725"/>
                    </a:cubicBezTo>
                    <a:lnTo>
                      <a:pt x="35450" y="333491"/>
                    </a:lnTo>
                    <a:cubicBezTo>
                      <a:pt x="34793" y="343338"/>
                      <a:pt x="26916" y="351216"/>
                      <a:pt x="17725" y="351216"/>
                    </a:cubicBezTo>
                    <a:lnTo>
                      <a:pt x="17725" y="351216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11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2159102" y="546899"/>
              <a:ext cx="399138" cy="351215"/>
              <a:chOff x="2159102" y="546899"/>
              <a:chExt cx="399138" cy="351215"/>
            </a:xfrm>
            <a:grpFill/>
          </p:grpSpPr>
          <p:grpSp>
            <p:nvGrpSpPr>
              <p:cNvPr id="12" name="Gráfico 2">
                <a:extLst>
                  <a:ext uri="{FF2B5EF4-FFF2-40B4-BE49-F238E27FC236}">
                    <a16:creationId xmlns:a16="http://schemas.microsoft.com/office/drawing/2014/main" id="{4A08825F-1C42-4C63-A6FE-BBB3DD9D4FEB}"/>
                  </a:ext>
                </a:extLst>
              </p:cNvPr>
              <p:cNvGrpSpPr/>
              <p:nvPr/>
            </p:nvGrpSpPr>
            <p:grpSpPr>
              <a:xfrm>
                <a:off x="2159102" y="578257"/>
                <a:ext cx="317078" cy="289003"/>
                <a:chOff x="2159102" y="578257"/>
                <a:chExt cx="317078" cy="289003"/>
              </a:xfrm>
              <a:grpFill/>
            </p:grpSpPr>
            <p:sp>
              <p:nvSpPr>
                <p:cNvPr id="13" name="Forma Livre: Forma 12">
                  <a:extLst>
                    <a:ext uri="{FF2B5EF4-FFF2-40B4-BE49-F238E27FC236}">
                      <a16:creationId xmlns:a16="http://schemas.microsoft.com/office/drawing/2014/main" id="{730277E6-0B85-4D9A-BF75-4B2EED6A488E}"/>
                    </a:ext>
                  </a:extLst>
                </p:cNvPr>
                <p:cNvSpPr/>
                <p:nvPr/>
              </p:nvSpPr>
              <p:spPr>
                <a:xfrm>
                  <a:off x="2348014" y="578257"/>
                  <a:ext cx="127673" cy="289003"/>
                </a:xfrm>
                <a:custGeom>
                  <a:avLst/>
                  <a:gdLst>
                    <a:gd name="connsiteX0" fmla="*/ 17878 w 127673"/>
                    <a:gd name="connsiteY0" fmla="*/ 289003 h 289003"/>
                    <a:gd name="connsiteX1" fmla="*/ 7374 w 127673"/>
                    <a:gd name="connsiteY1" fmla="*/ 285721 h 289003"/>
                    <a:gd name="connsiteX2" fmla="*/ 3435 w 127673"/>
                    <a:gd name="connsiteY2" fmla="*/ 261431 h 289003"/>
                    <a:gd name="connsiteX3" fmla="*/ 88778 w 127673"/>
                    <a:gd name="connsiteY3" fmla="*/ 144578 h 289003"/>
                    <a:gd name="connsiteX4" fmla="*/ 3435 w 127673"/>
                    <a:gd name="connsiteY4" fmla="*/ 27725 h 289003"/>
                    <a:gd name="connsiteX5" fmla="*/ 7374 w 127673"/>
                    <a:gd name="connsiteY5" fmla="*/ 3435 h 289003"/>
                    <a:gd name="connsiteX6" fmla="*/ 31664 w 127673"/>
                    <a:gd name="connsiteY6" fmla="*/ 7374 h 289003"/>
                    <a:gd name="connsiteX7" fmla="*/ 124227 w 127673"/>
                    <a:gd name="connsiteY7" fmla="*/ 134731 h 289003"/>
                    <a:gd name="connsiteX8" fmla="*/ 124227 w 127673"/>
                    <a:gd name="connsiteY8" fmla="*/ 155082 h 289003"/>
                    <a:gd name="connsiteX9" fmla="*/ 31664 w 127673"/>
                    <a:gd name="connsiteY9" fmla="*/ 282438 h 289003"/>
                    <a:gd name="connsiteX10" fmla="*/ 17878 w 127673"/>
                    <a:gd name="connsiteY10" fmla="*/ 289003 h 289003"/>
                    <a:gd name="connsiteX11" fmla="*/ 17878 w 127673"/>
                    <a:gd name="connsiteY11" fmla="*/ 289003 h 2890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27673" h="289003">
                      <a:moveTo>
                        <a:pt x="17878" y="289003"/>
                      </a:moveTo>
                      <a:cubicBezTo>
                        <a:pt x="14595" y="289003"/>
                        <a:pt x="10657" y="287690"/>
                        <a:pt x="7374" y="285721"/>
                      </a:cubicBezTo>
                      <a:cubicBezTo>
                        <a:pt x="-504" y="279813"/>
                        <a:pt x="-2473" y="269309"/>
                        <a:pt x="3435" y="261431"/>
                      </a:cubicBezTo>
                      <a:lnTo>
                        <a:pt x="88778" y="144578"/>
                      </a:lnTo>
                      <a:lnTo>
                        <a:pt x="3435" y="27725"/>
                      </a:lnTo>
                      <a:cubicBezTo>
                        <a:pt x="-2473" y="19847"/>
                        <a:pt x="-504" y="8687"/>
                        <a:pt x="7374" y="3435"/>
                      </a:cubicBezTo>
                      <a:cubicBezTo>
                        <a:pt x="15252" y="-2473"/>
                        <a:pt x="26412" y="-504"/>
                        <a:pt x="31664" y="7374"/>
                      </a:cubicBezTo>
                      <a:lnTo>
                        <a:pt x="124227" y="134731"/>
                      </a:lnTo>
                      <a:cubicBezTo>
                        <a:pt x="128823" y="140639"/>
                        <a:pt x="128823" y="149173"/>
                        <a:pt x="124227" y="155082"/>
                      </a:cubicBezTo>
                      <a:lnTo>
                        <a:pt x="31664" y="282438"/>
                      </a:lnTo>
                      <a:cubicBezTo>
                        <a:pt x="29038" y="287034"/>
                        <a:pt x="23130" y="289003"/>
                        <a:pt x="17878" y="289003"/>
                      </a:cubicBezTo>
                      <a:lnTo>
                        <a:pt x="17878" y="289003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14" name="Forma Livre: Forma 13">
                  <a:extLst>
                    <a:ext uri="{FF2B5EF4-FFF2-40B4-BE49-F238E27FC236}">
                      <a16:creationId xmlns:a16="http://schemas.microsoft.com/office/drawing/2014/main" id="{C2914523-01DE-41F3-B08E-8E91D6AB7295}"/>
                    </a:ext>
                  </a:extLst>
                </p:cNvPr>
                <p:cNvSpPr/>
                <p:nvPr/>
              </p:nvSpPr>
              <p:spPr>
                <a:xfrm>
                  <a:off x="2159102" y="705111"/>
                  <a:ext cx="317078" cy="35449"/>
                </a:xfrm>
                <a:custGeom>
                  <a:avLst/>
                  <a:gdLst>
                    <a:gd name="connsiteX0" fmla="*/ 299354 w 317078"/>
                    <a:gd name="connsiteY0" fmla="*/ 35450 h 35449"/>
                    <a:gd name="connsiteX1" fmla="*/ 17725 w 317078"/>
                    <a:gd name="connsiteY1" fmla="*/ 35450 h 35449"/>
                    <a:gd name="connsiteX2" fmla="*/ 0 w 317078"/>
                    <a:gd name="connsiteY2" fmla="*/ 17725 h 35449"/>
                    <a:gd name="connsiteX3" fmla="*/ 17725 w 317078"/>
                    <a:gd name="connsiteY3" fmla="*/ 0 h 35449"/>
                    <a:gd name="connsiteX4" fmla="*/ 299354 w 317078"/>
                    <a:gd name="connsiteY4" fmla="*/ 0 h 35449"/>
                    <a:gd name="connsiteX5" fmla="*/ 317079 w 317078"/>
                    <a:gd name="connsiteY5" fmla="*/ 17725 h 35449"/>
                    <a:gd name="connsiteX6" fmla="*/ 299354 w 317078"/>
                    <a:gd name="connsiteY6" fmla="*/ 35450 h 35449"/>
                    <a:gd name="connsiteX7" fmla="*/ 299354 w 317078"/>
                    <a:gd name="connsiteY7" fmla="*/ 35450 h 354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7078" h="35449">
                      <a:moveTo>
                        <a:pt x="299354" y="35450"/>
                      </a:moveTo>
                      <a:lnTo>
                        <a:pt x="17725" y="35450"/>
                      </a:lnTo>
                      <a:cubicBezTo>
                        <a:pt x="7878" y="35450"/>
                        <a:pt x="0" y="27572"/>
                        <a:pt x="0" y="17725"/>
                      </a:cubicBezTo>
                      <a:cubicBezTo>
                        <a:pt x="0" y="7878"/>
                        <a:pt x="7878" y="0"/>
                        <a:pt x="17725" y="0"/>
                      </a:cubicBezTo>
                      <a:lnTo>
                        <a:pt x="299354" y="0"/>
                      </a:lnTo>
                      <a:cubicBezTo>
                        <a:pt x="309201" y="0"/>
                        <a:pt x="317079" y="7878"/>
                        <a:pt x="317079" y="17725"/>
                      </a:cubicBezTo>
                      <a:cubicBezTo>
                        <a:pt x="317079" y="27572"/>
                        <a:pt x="309201" y="35450"/>
                        <a:pt x="299354" y="35450"/>
                      </a:cubicBezTo>
                      <a:lnTo>
                        <a:pt x="299354" y="35450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sp>
            <p:nvSpPr>
              <p:cNvPr id="15" name="Forma Livre: Forma 14">
                <a:extLst>
                  <a:ext uri="{FF2B5EF4-FFF2-40B4-BE49-F238E27FC236}">
                    <a16:creationId xmlns:a16="http://schemas.microsoft.com/office/drawing/2014/main" id="{44D212C9-8CAC-4C9A-960B-2C51D35E0767}"/>
                  </a:ext>
                </a:extLst>
              </p:cNvPr>
              <p:cNvSpPr/>
              <p:nvPr/>
            </p:nvSpPr>
            <p:spPr>
              <a:xfrm>
                <a:off x="2522790" y="546899"/>
                <a:ext cx="35449" cy="351215"/>
              </a:xfrm>
              <a:custGeom>
                <a:avLst/>
                <a:gdLst>
                  <a:gd name="connsiteX0" fmla="*/ 17725 w 35449"/>
                  <a:gd name="connsiteY0" fmla="*/ 351216 h 351215"/>
                  <a:gd name="connsiteX1" fmla="*/ 0 w 35449"/>
                  <a:gd name="connsiteY1" fmla="*/ 333491 h 351215"/>
                  <a:gd name="connsiteX2" fmla="*/ 0 w 35449"/>
                  <a:gd name="connsiteY2" fmla="*/ 17725 h 351215"/>
                  <a:gd name="connsiteX3" fmla="*/ 17725 w 35449"/>
                  <a:gd name="connsiteY3" fmla="*/ 0 h 351215"/>
                  <a:gd name="connsiteX4" fmla="*/ 35450 w 35449"/>
                  <a:gd name="connsiteY4" fmla="*/ 17725 h 351215"/>
                  <a:gd name="connsiteX5" fmla="*/ 35450 w 35449"/>
                  <a:gd name="connsiteY5" fmla="*/ 333491 h 351215"/>
                  <a:gd name="connsiteX6" fmla="*/ 17725 w 35449"/>
                  <a:gd name="connsiteY6" fmla="*/ 351216 h 351215"/>
                  <a:gd name="connsiteX7" fmla="*/ 17725 w 35449"/>
                  <a:gd name="connsiteY7" fmla="*/ 351216 h 3512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449" h="351215">
                    <a:moveTo>
                      <a:pt x="17725" y="351216"/>
                    </a:moveTo>
                    <a:cubicBezTo>
                      <a:pt x="7878" y="351216"/>
                      <a:pt x="0" y="343338"/>
                      <a:pt x="0" y="333491"/>
                    </a:cubicBezTo>
                    <a:lnTo>
                      <a:pt x="0" y="17725"/>
                    </a:lnTo>
                    <a:cubicBezTo>
                      <a:pt x="0" y="7878"/>
                      <a:pt x="7878" y="0"/>
                      <a:pt x="17725" y="0"/>
                    </a:cubicBezTo>
                    <a:cubicBezTo>
                      <a:pt x="27572" y="0"/>
                      <a:pt x="35450" y="7878"/>
                      <a:pt x="35450" y="17725"/>
                    </a:cubicBezTo>
                    <a:lnTo>
                      <a:pt x="35450" y="333491"/>
                    </a:lnTo>
                    <a:cubicBezTo>
                      <a:pt x="35450" y="343338"/>
                      <a:pt x="27572" y="351216"/>
                      <a:pt x="17725" y="351216"/>
                    </a:cubicBezTo>
                    <a:lnTo>
                      <a:pt x="17725" y="351216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16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3258045" y="522610"/>
              <a:ext cx="340711" cy="399795"/>
              <a:chOff x="3258045" y="522610"/>
              <a:chExt cx="340711" cy="399795"/>
            </a:xfrm>
            <a:grpFill/>
          </p:grpSpPr>
          <p:grpSp>
            <p:nvGrpSpPr>
              <p:cNvPr id="17" name="Gráfico 2">
                <a:extLst>
                  <a:ext uri="{FF2B5EF4-FFF2-40B4-BE49-F238E27FC236}">
                    <a16:creationId xmlns:a16="http://schemas.microsoft.com/office/drawing/2014/main" id="{4A08825F-1C42-4C63-A6FE-BBB3DD9D4FEB}"/>
                  </a:ext>
                </a:extLst>
              </p:cNvPr>
              <p:cNvGrpSpPr/>
              <p:nvPr/>
            </p:nvGrpSpPr>
            <p:grpSpPr>
              <a:xfrm>
                <a:off x="3288090" y="522610"/>
                <a:ext cx="281278" cy="307888"/>
                <a:chOff x="3288090" y="522610"/>
                <a:chExt cx="281278" cy="307888"/>
              </a:xfrm>
              <a:grpFill/>
            </p:grpSpPr>
            <p:sp>
              <p:nvSpPr>
                <p:cNvPr id="18" name="Forma Livre: Forma 17">
                  <a:extLst>
                    <a:ext uri="{FF2B5EF4-FFF2-40B4-BE49-F238E27FC236}">
                      <a16:creationId xmlns:a16="http://schemas.microsoft.com/office/drawing/2014/main" id="{DFA912F1-6B99-4CDB-BAFD-41EF14E9C03B}"/>
                    </a:ext>
                  </a:extLst>
                </p:cNvPr>
                <p:cNvSpPr/>
                <p:nvPr/>
              </p:nvSpPr>
              <p:spPr>
                <a:xfrm>
                  <a:off x="3288090" y="706271"/>
                  <a:ext cx="281278" cy="124227"/>
                </a:xfrm>
                <a:custGeom>
                  <a:avLst/>
                  <a:gdLst>
                    <a:gd name="connsiteX0" fmla="*/ 140639 w 281278"/>
                    <a:gd name="connsiteY0" fmla="*/ 124227 h 124227"/>
                    <a:gd name="connsiteX1" fmla="*/ 130136 w 281278"/>
                    <a:gd name="connsiteY1" fmla="*/ 120945 h 124227"/>
                    <a:gd name="connsiteX2" fmla="*/ 7374 w 281278"/>
                    <a:gd name="connsiteY2" fmla="*/ 31664 h 124227"/>
                    <a:gd name="connsiteX3" fmla="*/ 3435 w 281278"/>
                    <a:gd name="connsiteY3" fmla="*/ 7374 h 124227"/>
                    <a:gd name="connsiteX4" fmla="*/ 27725 w 281278"/>
                    <a:gd name="connsiteY4" fmla="*/ 3435 h 124227"/>
                    <a:gd name="connsiteX5" fmla="*/ 140639 w 281278"/>
                    <a:gd name="connsiteY5" fmla="*/ 85495 h 124227"/>
                    <a:gd name="connsiteX6" fmla="*/ 253553 w 281278"/>
                    <a:gd name="connsiteY6" fmla="*/ 3435 h 124227"/>
                    <a:gd name="connsiteX7" fmla="*/ 277843 w 281278"/>
                    <a:gd name="connsiteY7" fmla="*/ 7374 h 124227"/>
                    <a:gd name="connsiteX8" fmla="*/ 273904 w 281278"/>
                    <a:gd name="connsiteY8" fmla="*/ 31664 h 124227"/>
                    <a:gd name="connsiteX9" fmla="*/ 151143 w 281278"/>
                    <a:gd name="connsiteY9" fmla="*/ 120945 h 124227"/>
                    <a:gd name="connsiteX10" fmla="*/ 140639 w 281278"/>
                    <a:gd name="connsiteY10" fmla="*/ 124227 h 124227"/>
                    <a:gd name="connsiteX11" fmla="*/ 140639 w 281278"/>
                    <a:gd name="connsiteY11" fmla="*/ 124227 h 1242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81278" h="124227">
                      <a:moveTo>
                        <a:pt x="140639" y="124227"/>
                      </a:moveTo>
                      <a:cubicBezTo>
                        <a:pt x="137357" y="124227"/>
                        <a:pt x="133418" y="122914"/>
                        <a:pt x="130136" y="120945"/>
                      </a:cubicBezTo>
                      <a:lnTo>
                        <a:pt x="7374" y="31664"/>
                      </a:lnTo>
                      <a:cubicBezTo>
                        <a:pt x="-503" y="25756"/>
                        <a:pt x="-2473" y="15252"/>
                        <a:pt x="3435" y="7374"/>
                      </a:cubicBezTo>
                      <a:cubicBezTo>
                        <a:pt x="9344" y="-504"/>
                        <a:pt x="19847" y="-2473"/>
                        <a:pt x="27725" y="3435"/>
                      </a:cubicBezTo>
                      <a:lnTo>
                        <a:pt x="140639" y="85495"/>
                      </a:lnTo>
                      <a:lnTo>
                        <a:pt x="253553" y="3435"/>
                      </a:lnTo>
                      <a:cubicBezTo>
                        <a:pt x="261431" y="-2473"/>
                        <a:pt x="272591" y="-504"/>
                        <a:pt x="277843" y="7374"/>
                      </a:cubicBezTo>
                      <a:cubicBezTo>
                        <a:pt x="283751" y="15252"/>
                        <a:pt x="281782" y="26412"/>
                        <a:pt x="273904" y="31664"/>
                      </a:cubicBezTo>
                      <a:lnTo>
                        <a:pt x="151143" y="120945"/>
                      </a:lnTo>
                      <a:cubicBezTo>
                        <a:pt x="147860" y="122914"/>
                        <a:pt x="143922" y="124227"/>
                        <a:pt x="140639" y="124227"/>
                      </a:cubicBezTo>
                      <a:lnTo>
                        <a:pt x="140639" y="124227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19" name="Forma Livre: Forma 18">
                  <a:extLst>
                    <a:ext uri="{FF2B5EF4-FFF2-40B4-BE49-F238E27FC236}">
                      <a16:creationId xmlns:a16="http://schemas.microsoft.com/office/drawing/2014/main" id="{653B3AFD-BAED-468B-8FB2-6E854D9E8513}"/>
                    </a:ext>
                  </a:extLst>
                </p:cNvPr>
                <p:cNvSpPr/>
                <p:nvPr/>
              </p:nvSpPr>
              <p:spPr>
                <a:xfrm>
                  <a:off x="3411005" y="522610"/>
                  <a:ext cx="35449" cy="307888"/>
                </a:xfrm>
                <a:custGeom>
                  <a:avLst/>
                  <a:gdLst>
                    <a:gd name="connsiteX0" fmla="*/ 17725 w 35449"/>
                    <a:gd name="connsiteY0" fmla="*/ 307888 h 307888"/>
                    <a:gd name="connsiteX1" fmla="*/ 0 w 35449"/>
                    <a:gd name="connsiteY1" fmla="*/ 290163 h 307888"/>
                    <a:gd name="connsiteX2" fmla="*/ 0 w 35449"/>
                    <a:gd name="connsiteY2" fmla="*/ 17725 h 307888"/>
                    <a:gd name="connsiteX3" fmla="*/ 17725 w 35449"/>
                    <a:gd name="connsiteY3" fmla="*/ 0 h 307888"/>
                    <a:gd name="connsiteX4" fmla="*/ 35450 w 35449"/>
                    <a:gd name="connsiteY4" fmla="*/ 17725 h 307888"/>
                    <a:gd name="connsiteX5" fmla="*/ 35450 w 35449"/>
                    <a:gd name="connsiteY5" fmla="*/ 290163 h 307888"/>
                    <a:gd name="connsiteX6" fmla="*/ 17725 w 35449"/>
                    <a:gd name="connsiteY6" fmla="*/ 307888 h 307888"/>
                    <a:gd name="connsiteX7" fmla="*/ 17725 w 35449"/>
                    <a:gd name="connsiteY7" fmla="*/ 307888 h 3078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5449" h="307888">
                      <a:moveTo>
                        <a:pt x="17725" y="307888"/>
                      </a:moveTo>
                      <a:cubicBezTo>
                        <a:pt x="7878" y="307888"/>
                        <a:pt x="0" y="300010"/>
                        <a:pt x="0" y="290163"/>
                      </a:cubicBezTo>
                      <a:lnTo>
                        <a:pt x="0" y="17725"/>
                      </a:lnTo>
                      <a:cubicBezTo>
                        <a:pt x="0" y="7878"/>
                        <a:pt x="7878" y="0"/>
                        <a:pt x="17725" y="0"/>
                      </a:cubicBezTo>
                      <a:cubicBezTo>
                        <a:pt x="27572" y="0"/>
                        <a:pt x="35450" y="7878"/>
                        <a:pt x="35450" y="17725"/>
                      </a:cubicBezTo>
                      <a:lnTo>
                        <a:pt x="35450" y="290163"/>
                      </a:lnTo>
                      <a:cubicBezTo>
                        <a:pt x="34793" y="300010"/>
                        <a:pt x="26916" y="307888"/>
                        <a:pt x="17725" y="307888"/>
                      </a:cubicBezTo>
                      <a:lnTo>
                        <a:pt x="17725" y="307888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sp>
            <p:nvSpPr>
              <p:cNvPr id="20" name="Forma Livre: Forma 19">
                <a:extLst>
                  <a:ext uri="{FF2B5EF4-FFF2-40B4-BE49-F238E27FC236}">
                    <a16:creationId xmlns:a16="http://schemas.microsoft.com/office/drawing/2014/main" id="{F4280323-A164-433B-A3BD-25957A7C16A8}"/>
                  </a:ext>
                </a:extLst>
              </p:cNvPr>
              <p:cNvSpPr/>
              <p:nvPr/>
            </p:nvSpPr>
            <p:spPr>
              <a:xfrm>
                <a:off x="3258045" y="886955"/>
                <a:ext cx="340711" cy="35449"/>
              </a:xfrm>
              <a:custGeom>
                <a:avLst/>
                <a:gdLst>
                  <a:gd name="connsiteX0" fmla="*/ 322987 w 340711"/>
                  <a:gd name="connsiteY0" fmla="*/ 35450 h 35449"/>
                  <a:gd name="connsiteX1" fmla="*/ 17725 w 340711"/>
                  <a:gd name="connsiteY1" fmla="*/ 35450 h 35449"/>
                  <a:gd name="connsiteX2" fmla="*/ 0 w 340711"/>
                  <a:gd name="connsiteY2" fmla="*/ 17725 h 35449"/>
                  <a:gd name="connsiteX3" fmla="*/ 17725 w 340711"/>
                  <a:gd name="connsiteY3" fmla="*/ 0 h 35449"/>
                  <a:gd name="connsiteX4" fmla="*/ 322987 w 340711"/>
                  <a:gd name="connsiteY4" fmla="*/ 0 h 35449"/>
                  <a:gd name="connsiteX5" fmla="*/ 340712 w 340711"/>
                  <a:gd name="connsiteY5" fmla="*/ 17725 h 35449"/>
                  <a:gd name="connsiteX6" fmla="*/ 322987 w 340711"/>
                  <a:gd name="connsiteY6" fmla="*/ 35450 h 35449"/>
                  <a:gd name="connsiteX7" fmla="*/ 322987 w 340711"/>
                  <a:gd name="connsiteY7" fmla="*/ 35450 h 354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0711" h="35449">
                    <a:moveTo>
                      <a:pt x="322987" y="35450"/>
                    </a:moveTo>
                    <a:lnTo>
                      <a:pt x="17725" y="35450"/>
                    </a:lnTo>
                    <a:cubicBezTo>
                      <a:pt x="7878" y="35450"/>
                      <a:pt x="0" y="27572"/>
                      <a:pt x="0" y="17725"/>
                    </a:cubicBezTo>
                    <a:cubicBezTo>
                      <a:pt x="0" y="7878"/>
                      <a:pt x="7878" y="0"/>
                      <a:pt x="17725" y="0"/>
                    </a:cubicBezTo>
                    <a:lnTo>
                      <a:pt x="322987" y="0"/>
                    </a:lnTo>
                    <a:cubicBezTo>
                      <a:pt x="332834" y="0"/>
                      <a:pt x="340712" y="7878"/>
                      <a:pt x="340712" y="17725"/>
                    </a:cubicBezTo>
                    <a:cubicBezTo>
                      <a:pt x="340712" y="27572"/>
                      <a:pt x="332834" y="35450"/>
                      <a:pt x="322987" y="35450"/>
                    </a:cubicBezTo>
                    <a:lnTo>
                      <a:pt x="322987" y="35450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1" name="Forma Livre: Forma 20">
                <a:extLst>
                  <a:ext uri="{FF2B5EF4-FFF2-40B4-BE49-F238E27FC236}">
                    <a16:creationId xmlns:a16="http://schemas.microsoft.com/office/drawing/2014/main" id="{F3D58C7E-8CDC-4E5E-986D-A3180CFCC0BF}"/>
                  </a:ext>
                </a:extLst>
              </p:cNvPr>
              <p:cNvSpPr/>
              <p:nvPr/>
            </p:nvSpPr>
            <p:spPr>
              <a:xfrm>
                <a:off x="3563308" y="810147"/>
                <a:ext cx="35449" cy="112257"/>
              </a:xfrm>
              <a:custGeom>
                <a:avLst/>
                <a:gdLst>
                  <a:gd name="connsiteX0" fmla="*/ 17725 w 35449"/>
                  <a:gd name="connsiteY0" fmla="*/ 112258 h 112257"/>
                  <a:gd name="connsiteX1" fmla="*/ 0 w 35449"/>
                  <a:gd name="connsiteY1" fmla="*/ 94533 h 112257"/>
                  <a:gd name="connsiteX2" fmla="*/ 0 w 35449"/>
                  <a:gd name="connsiteY2" fmla="*/ 17725 h 112257"/>
                  <a:gd name="connsiteX3" fmla="*/ 17725 w 35449"/>
                  <a:gd name="connsiteY3" fmla="*/ 0 h 112257"/>
                  <a:gd name="connsiteX4" fmla="*/ 35450 w 35449"/>
                  <a:gd name="connsiteY4" fmla="*/ 17725 h 112257"/>
                  <a:gd name="connsiteX5" fmla="*/ 35450 w 35449"/>
                  <a:gd name="connsiteY5" fmla="*/ 95189 h 112257"/>
                  <a:gd name="connsiteX6" fmla="*/ 17725 w 35449"/>
                  <a:gd name="connsiteY6" fmla="*/ 112258 h 112257"/>
                  <a:gd name="connsiteX7" fmla="*/ 17725 w 35449"/>
                  <a:gd name="connsiteY7" fmla="*/ 112258 h 1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449" h="112257">
                    <a:moveTo>
                      <a:pt x="17725" y="112258"/>
                    </a:moveTo>
                    <a:cubicBezTo>
                      <a:pt x="7878" y="112258"/>
                      <a:pt x="0" y="104380"/>
                      <a:pt x="0" y="94533"/>
                    </a:cubicBezTo>
                    <a:lnTo>
                      <a:pt x="0" y="17725"/>
                    </a:lnTo>
                    <a:cubicBezTo>
                      <a:pt x="0" y="7878"/>
                      <a:pt x="7878" y="0"/>
                      <a:pt x="17725" y="0"/>
                    </a:cubicBezTo>
                    <a:cubicBezTo>
                      <a:pt x="27572" y="0"/>
                      <a:pt x="35450" y="7878"/>
                      <a:pt x="35450" y="17725"/>
                    </a:cubicBezTo>
                    <a:lnTo>
                      <a:pt x="35450" y="95189"/>
                    </a:lnTo>
                    <a:cubicBezTo>
                      <a:pt x="35450" y="104380"/>
                      <a:pt x="27572" y="112258"/>
                      <a:pt x="17725" y="112258"/>
                    </a:cubicBezTo>
                    <a:lnTo>
                      <a:pt x="17725" y="112258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2" name="Forma Livre: Forma 21">
                <a:extLst>
                  <a:ext uri="{FF2B5EF4-FFF2-40B4-BE49-F238E27FC236}">
                    <a16:creationId xmlns:a16="http://schemas.microsoft.com/office/drawing/2014/main" id="{7330BCFD-8D8D-4D4B-8422-ED30907A8677}"/>
                  </a:ext>
                </a:extLst>
              </p:cNvPr>
              <p:cNvSpPr/>
              <p:nvPr/>
            </p:nvSpPr>
            <p:spPr>
              <a:xfrm>
                <a:off x="3258045" y="810147"/>
                <a:ext cx="35449" cy="112257"/>
              </a:xfrm>
              <a:custGeom>
                <a:avLst/>
                <a:gdLst>
                  <a:gd name="connsiteX0" fmla="*/ 17725 w 35449"/>
                  <a:gd name="connsiteY0" fmla="*/ 112258 h 112257"/>
                  <a:gd name="connsiteX1" fmla="*/ 0 w 35449"/>
                  <a:gd name="connsiteY1" fmla="*/ 94533 h 112257"/>
                  <a:gd name="connsiteX2" fmla="*/ 0 w 35449"/>
                  <a:gd name="connsiteY2" fmla="*/ 17725 h 112257"/>
                  <a:gd name="connsiteX3" fmla="*/ 17725 w 35449"/>
                  <a:gd name="connsiteY3" fmla="*/ 0 h 112257"/>
                  <a:gd name="connsiteX4" fmla="*/ 35450 w 35449"/>
                  <a:gd name="connsiteY4" fmla="*/ 17725 h 112257"/>
                  <a:gd name="connsiteX5" fmla="*/ 35450 w 35449"/>
                  <a:gd name="connsiteY5" fmla="*/ 95189 h 112257"/>
                  <a:gd name="connsiteX6" fmla="*/ 17725 w 35449"/>
                  <a:gd name="connsiteY6" fmla="*/ 112258 h 112257"/>
                  <a:gd name="connsiteX7" fmla="*/ 17725 w 35449"/>
                  <a:gd name="connsiteY7" fmla="*/ 112258 h 1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449" h="112257">
                    <a:moveTo>
                      <a:pt x="17725" y="112258"/>
                    </a:moveTo>
                    <a:cubicBezTo>
                      <a:pt x="7878" y="112258"/>
                      <a:pt x="0" y="104380"/>
                      <a:pt x="0" y="94533"/>
                    </a:cubicBezTo>
                    <a:lnTo>
                      <a:pt x="0" y="17725"/>
                    </a:lnTo>
                    <a:cubicBezTo>
                      <a:pt x="0" y="7878"/>
                      <a:pt x="7878" y="0"/>
                      <a:pt x="17725" y="0"/>
                    </a:cubicBezTo>
                    <a:cubicBezTo>
                      <a:pt x="27572" y="0"/>
                      <a:pt x="35450" y="7878"/>
                      <a:pt x="35450" y="17725"/>
                    </a:cubicBezTo>
                    <a:lnTo>
                      <a:pt x="35450" y="95189"/>
                    </a:lnTo>
                    <a:cubicBezTo>
                      <a:pt x="35450" y="104380"/>
                      <a:pt x="27572" y="112258"/>
                      <a:pt x="17725" y="112258"/>
                    </a:cubicBezTo>
                    <a:lnTo>
                      <a:pt x="17725" y="112258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23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4333356" y="522610"/>
              <a:ext cx="340712" cy="399795"/>
              <a:chOff x="4333356" y="522610"/>
              <a:chExt cx="340712" cy="399795"/>
            </a:xfrm>
            <a:grpFill/>
          </p:grpSpPr>
          <p:grpSp>
            <p:nvGrpSpPr>
              <p:cNvPr id="24" name="Gráfico 2">
                <a:extLst>
                  <a:ext uri="{FF2B5EF4-FFF2-40B4-BE49-F238E27FC236}">
                    <a16:creationId xmlns:a16="http://schemas.microsoft.com/office/drawing/2014/main" id="{4A08825F-1C42-4C63-A6FE-BBB3DD9D4FEB}"/>
                  </a:ext>
                </a:extLst>
              </p:cNvPr>
              <p:cNvGrpSpPr/>
              <p:nvPr/>
            </p:nvGrpSpPr>
            <p:grpSpPr>
              <a:xfrm>
                <a:off x="4363401" y="522610"/>
                <a:ext cx="280621" cy="307888"/>
                <a:chOff x="4363401" y="522610"/>
                <a:chExt cx="280621" cy="307888"/>
              </a:xfrm>
              <a:grpFill/>
            </p:grpSpPr>
            <p:sp>
              <p:nvSpPr>
                <p:cNvPr id="25" name="Forma Livre: Forma 24">
                  <a:extLst>
                    <a:ext uri="{FF2B5EF4-FFF2-40B4-BE49-F238E27FC236}">
                      <a16:creationId xmlns:a16="http://schemas.microsoft.com/office/drawing/2014/main" id="{B8E3972C-7603-4CC0-A807-B119114F061C}"/>
                    </a:ext>
                  </a:extLst>
                </p:cNvPr>
                <p:cNvSpPr/>
                <p:nvPr/>
              </p:nvSpPr>
              <p:spPr>
                <a:xfrm>
                  <a:off x="4363401" y="523102"/>
                  <a:ext cx="280621" cy="124391"/>
                </a:xfrm>
                <a:custGeom>
                  <a:avLst/>
                  <a:gdLst>
                    <a:gd name="connsiteX0" fmla="*/ 17878 w 280621"/>
                    <a:gd name="connsiteY0" fmla="*/ 124238 h 124391"/>
                    <a:gd name="connsiteX1" fmla="*/ 3435 w 280621"/>
                    <a:gd name="connsiteY1" fmla="*/ 117017 h 124391"/>
                    <a:gd name="connsiteX2" fmla="*/ 7374 w 280621"/>
                    <a:gd name="connsiteY2" fmla="*/ 92728 h 124391"/>
                    <a:gd name="connsiteX3" fmla="*/ 130136 w 280621"/>
                    <a:gd name="connsiteY3" fmla="*/ 3447 h 124391"/>
                    <a:gd name="connsiteX4" fmla="*/ 150486 w 280621"/>
                    <a:gd name="connsiteY4" fmla="*/ 3447 h 124391"/>
                    <a:gd name="connsiteX5" fmla="*/ 273248 w 280621"/>
                    <a:gd name="connsiteY5" fmla="*/ 92728 h 124391"/>
                    <a:gd name="connsiteX6" fmla="*/ 277186 w 280621"/>
                    <a:gd name="connsiteY6" fmla="*/ 117017 h 124391"/>
                    <a:gd name="connsiteX7" fmla="*/ 252897 w 280621"/>
                    <a:gd name="connsiteY7" fmla="*/ 120956 h 124391"/>
                    <a:gd name="connsiteX8" fmla="*/ 140639 w 280621"/>
                    <a:gd name="connsiteY8" fmla="*/ 38896 h 124391"/>
                    <a:gd name="connsiteX9" fmla="*/ 27725 w 280621"/>
                    <a:gd name="connsiteY9" fmla="*/ 120956 h 124391"/>
                    <a:gd name="connsiteX10" fmla="*/ 17878 w 280621"/>
                    <a:gd name="connsiteY10" fmla="*/ 124238 h 124391"/>
                    <a:gd name="connsiteX11" fmla="*/ 17878 w 280621"/>
                    <a:gd name="connsiteY11" fmla="*/ 124238 h 1243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80621" h="124391">
                      <a:moveTo>
                        <a:pt x="17878" y="124238"/>
                      </a:moveTo>
                      <a:cubicBezTo>
                        <a:pt x="12626" y="124238"/>
                        <a:pt x="7374" y="121613"/>
                        <a:pt x="3435" y="117017"/>
                      </a:cubicBezTo>
                      <a:cubicBezTo>
                        <a:pt x="-2473" y="109139"/>
                        <a:pt x="-504" y="97979"/>
                        <a:pt x="7374" y="92728"/>
                      </a:cubicBezTo>
                      <a:lnTo>
                        <a:pt x="130136" y="3447"/>
                      </a:lnTo>
                      <a:cubicBezTo>
                        <a:pt x="136044" y="-1149"/>
                        <a:pt x="144578" y="-1149"/>
                        <a:pt x="150486" y="3447"/>
                      </a:cubicBezTo>
                      <a:lnTo>
                        <a:pt x="273248" y="92728"/>
                      </a:lnTo>
                      <a:cubicBezTo>
                        <a:pt x="281126" y="98636"/>
                        <a:pt x="283095" y="109139"/>
                        <a:pt x="277186" y="117017"/>
                      </a:cubicBezTo>
                      <a:cubicBezTo>
                        <a:pt x="271278" y="124895"/>
                        <a:pt x="260775" y="126864"/>
                        <a:pt x="252897" y="120956"/>
                      </a:cubicBezTo>
                      <a:lnTo>
                        <a:pt x="140639" y="38896"/>
                      </a:lnTo>
                      <a:lnTo>
                        <a:pt x="27725" y="120956"/>
                      </a:lnTo>
                      <a:cubicBezTo>
                        <a:pt x="25099" y="123582"/>
                        <a:pt x="21160" y="124238"/>
                        <a:pt x="17878" y="124238"/>
                      </a:cubicBezTo>
                      <a:lnTo>
                        <a:pt x="17878" y="124238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26" name="Forma Livre: Forma 25">
                  <a:extLst>
                    <a:ext uri="{FF2B5EF4-FFF2-40B4-BE49-F238E27FC236}">
                      <a16:creationId xmlns:a16="http://schemas.microsoft.com/office/drawing/2014/main" id="{494C0826-BE76-4391-AF9E-FEB55701ED5D}"/>
                    </a:ext>
                  </a:extLst>
                </p:cNvPr>
                <p:cNvSpPr/>
                <p:nvPr/>
              </p:nvSpPr>
              <p:spPr>
                <a:xfrm>
                  <a:off x="4486315" y="522610"/>
                  <a:ext cx="35449" cy="307888"/>
                </a:xfrm>
                <a:custGeom>
                  <a:avLst/>
                  <a:gdLst>
                    <a:gd name="connsiteX0" fmla="*/ 17725 w 35449"/>
                    <a:gd name="connsiteY0" fmla="*/ 307888 h 307888"/>
                    <a:gd name="connsiteX1" fmla="*/ 0 w 35449"/>
                    <a:gd name="connsiteY1" fmla="*/ 290163 h 307888"/>
                    <a:gd name="connsiteX2" fmla="*/ 0 w 35449"/>
                    <a:gd name="connsiteY2" fmla="*/ 17725 h 307888"/>
                    <a:gd name="connsiteX3" fmla="*/ 17725 w 35449"/>
                    <a:gd name="connsiteY3" fmla="*/ 0 h 307888"/>
                    <a:gd name="connsiteX4" fmla="*/ 35450 w 35449"/>
                    <a:gd name="connsiteY4" fmla="*/ 17725 h 307888"/>
                    <a:gd name="connsiteX5" fmla="*/ 35450 w 35449"/>
                    <a:gd name="connsiteY5" fmla="*/ 290163 h 307888"/>
                    <a:gd name="connsiteX6" fmla="*/ 17725 w 35449"/>
                    <a:gd name="connsiteY6" fmla="*/ 307888 h 307888"/>
                    <a:gd name="connsiteX7" fmla="*/ 17725 w 35449"/>
                    <a:gd name="connsiteY7" fmla="*/ 307888 h 3078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5449" h="307888">
                      <a:moveTo>
                        <a:pt x="17725" y="307888"/>
                      </a:moveTo>
                      <a:cubicBezTo>
                        <a:pt x="7878" y="307888"/>
                        <a:pt x="0" y="300010"/>
                        <a:pt x="0" y="290163"/>
                      </a:cubicBezTo>
                      <a:lnTo>
                        <a:pt x="0" y="17725"/>
                      </a:lnTo>
                      <a:cubicBezTo>
                        <a:pt x="0" y="7878"/>
                        <a:pt x="7878" y="0"/>
                        <a:pt x="17725" y="0"/>
                      </a:cubicBezTo>
                      <a:cubicBezTo>
                        <a:pt x="27572" y="0"/>
                        <a:pt x="35450" y="7878"/>
                        <a:pt x="35450" y="17725"/>
                      </a:cubicBezTo>
                      <a:lnTo>
                        <a:pt x="35450" y="290163"/>
                      </a:lnTo>
                      <a:cubicBezTo>
                        <a:pt x="35450" y="300010"/>
                        <a:pt x="27572" y="307888"/>
                        <a:pt x="17725" y="307888"/>
                      </a:cubicBezTo>
                      <a:lnTo>
                        <a:pt x="17725" y="307888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sp>
            <p:nvSpPr>
              <p:cNvPr id="27" name="Forma Livre: Forma 26">
                <a:extLst>
                  <a:ext uri="{FF2B5EF4-FFF2-40B4-BE49-F238E27FC236}">
                    <a16:creationId xmlns:a16="http://schemas.microsoft.com/office/drawing/2014/main" id="{7B424BFC-B682-4CFD-A5A9-9D9BD97403BC}"/>
                  </a:ext>
                </a:extLst>
              </p:cNvPr>
              <p:cNvSpPr/>
              <p:nvPr/>
            </p:nvSpPr>
            <p:spPr>
              <a:xfrm>
                <a:off x="4333356" y="886955"/>
                <a:ext cx="340712" cy="35449"/>
              </a:xfrm>
              <a:custGeom>
                <a:avLst/>
                <a:gdLst>
                  <a:gd name="connsiteX0" fmla="*/ 322987 w 340712"/>
                  <a:gd name="connsiteY0" fmla="*/ 35450 h 35449"/>
                  <a:gd name="connsiteX1" fmla="*/ 17725 w 340712"/>
                  <a:gd name="connsiteY1" fmla="*/ 35450 h 35449"/>
                  <a:gd name="connsiteX2" fmla="*/ 0 w 340712"/>
                  <a:gd name="connsiteY2" fmla="*/ 17725 h 35449"/>
                  <a:gd name="connsiteX3" fmla="*/ 17725 w 340712"/>
                  <a:gd name="connsiteY3" fmla="*/ 0 h 35449"/>
                  <a:gd name="connsiteX4" fmla="*/ 322987 w 340712"/>
                  <a:gd name="connsiteY4" fmla="*/ 0 h 35449"/>
                  <a:gd name="connsiteX5" fmla="*/ 340712 w 340712"/>
                  <a:gd name="connsiteY5" fmla="*/ 17725 h 35449"/>
                  <a:gd name="connsiteX6" fmla="*/ 322987 w 340712"/>
                  <a:gd name="connsiteY6" fmla="*/ 35450 h 35449"/>
                  <a:gd name="connsiteX7" fmla="*/ 322987 w 340712"/>
                  <a:gd name="connsiteY7" fmla="*/ 35450 h 354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0712" h="35449">
                    <a:moveTo>
                      <a:pt x="322987" y="35450"/>
                    </a:moveTo>
                    <a:lnTo>
                      <a:pt x="17725" y="35450"/>
                    </a:lnTo>
                    <a:cubicBezTo>
                      <a:pt x="7878" y="35450"/>
                      <a:pt x="0" y="27572"/>
                      <a:pt x="0" y="17725"/>
                    </a:cubicBezTo>
                    <a:cubicBezTo>
                      <a:pt x="0" y="7878"/>
                      <a:pt x="7878" y="0"/>
                      <a:pt x="17725" y="0"/>
                    </a:cubicBezTo>
                    <a:lnTo>
                      <a:pt x="322987" y="0"/>
                    </a:lnTo>
                    <a:cubicBezTo>
                      <a:pt x="332834" y="0"/>
                      <a:pt x="340712" y="7878"/>
                      <a:pt x="340712" y="17725"/>
                    </a:cubicBezTo>
                    <a:cubicBezTo>
                      <a:pt x="340712" y="27572"/>
                      <a:pt x="332834" y="35450"/>
                      <a:pt x="322987" y="35450"/>
                    </a:cubicBezTo>
                    <a:lnTo>
                      <a:pt x="322987" y="35450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8" name="Forma Livre: Forma 27">
                <a:extLst>
                  <a:ext uri="{FF2B5EF4-FFF2-40B4-BE49-F238E27FC236}">
                    <a16:creationId xmlns:a16="http://schemas.microsoft.com/office/drawing/2014/main" id="{341F2B8B-4A06-4549-9680-71C6A8626985}"/>
                  </a:ext>
                </a:extLst>
              </p:cNvPr>
              <p:cNvSpPr/>
              <p:nvPr/>
            </p:nvSpPr>
            <p:spPr>
              <a:xfrm>
                <a:off x="4638618" y="810147"/>
                <a:ext cx="35449" cy="112257"/>
              </a:xfrm>
              <a:custGeom>
                <a:avLst/>
                <a:gdLst>
                  <a:gd name="connsiteX0" fmla="*/ 17725 w 35449"/>
                  <a:gd name="connsiteY0" fmla="*/ 112258 h 112257"/>
                  <a:gd name="connsiteX1" fmla="*/ 0 w 35449"/>
                  <a:gd name="connsiteY1" fmla="*/ 94533 h 112257"/>
                  <a:gd name="connsiteX2" fmla="*/ 0 w 35449"/>
                  <a:gd name="connsiteY2" fmla="*/ 17725 h 112257"/>
                  <a:gd name="connsiteX3" fmla="*/ 17725 w 35449"/>
                  <a:gd name="connsiteY3" fmla="*/ 0 h 112257"/>
                  <a:gd name="connsiteX4" fmla="*/ 35450 w 35449"/>
                  <a:gd name="connsiteY4" fmla="*/ 17725 h 112257"/>
                  <a:gd name="connsiteX5" fmla="*/ 35450 w 35449"/>
                  <a:gd name="connsiteY5" fmla="*/ 95189 h 112257"/>
                  <a:gd name="connsiteX6" fmla="*/ 17725 w 35449"/>
                  <a:gd name="connsiteY6" fmla="*/ 112258 h 112257"/>
                  <a:gd name="connsiteX7" fmla="*/ 17725 w 35449"/>
                  <a:gd name="connsiteY7" fmla="*/ 112258 h 1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449" h="112257">
                    <a:moveTo>
                      <a:pt x="17725" y="112258"/>
                    </a:moveTo>
                    <a:cubicBezTo>
                      <a:pt x="7878" y="112258"/>
                      <a:pt x="0" y="104380"/>
                      <a:pt x="0" y="94533"/>
                    </a:cubicBezTo>
                    <a:lnTo>
                      <a:pt x="0" y="17725"/>
                    </a:lnTo>
                    <a:cubicBezTo>
                      <a:pt x="0" y="7878"/>
                      <a:pt x="7878" y="0"/>
                      <a:pt x="17725" y="0"/>
                    </a:cubicBezTo>
                    <a:cubicBezTo>
                      <a:pt x="27572" y="0"/>
                      <a:pt x="35450" y="7878"/>
                      <a:pt x="35450" y="17725"/>
                    </a:cubicBezTo>
                    <a:lnTo>
                      <a:pt x="35450" y="95189"/>
                    </a:lnTo>
                    <a:cubicBezTo>
                      <a:pt x="35450" y="104380"/>
                      <a:pt x="27572" y="112258"/>
                      <a:pt x="17725" y="112258"/>
                    </a:cubicBezTo>
                    <a:lnTo>
                      <a:pt x="17725" y="112258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9" name="Forma Livre: Forma 28">
                <a:extLst>
                  <a:ext uri="{FF2B5EF4-FFF2-40B4-BE49-F238E27FC236}">
                    <a16:creationId xmlns:a16="http://schemas.microsoft.com/office/drawing/2014/main" id="{7F9ED1B5-576A-4AC0-B840-16C8A21D588A}"/>
                  </a:ext>
                </a:extLst>
              </p:cNvPr>
              <p:cNvSpPr/>
              <p:nvPr/>
            </p:nvSpPr>
            <p:spPr>
              <a:xfrm>
                <a:off x="4333356" y="810147"/>
                <a:ext cx="35449" cy="112257"/>
              </a:xfrm>
              <a:custGeom>
                <a:avLst/>
                <a:gdLst>
                  <a:gd name="connsiteX0" fmla="*/ 17725 w 35449"/>
                  <a:gd name="connsiteY0" fmla="*/ 112258 h 112257"/>
                  <a:gd name="connsiteX1" fmla="*/ 0 w 35449"/>
                  <a:gd name="connsiteY1" fmla="*/ 94533 h 112257"/>
                  <a:gd name="connsiteX2" fmla="*/ 0 w 35449"/>
                  <a:gd name="connsiteY2" fmla="*/ 17725 h 112257"/>
                  <a:gd name="connsiteX3" fmla="*/ 17725 w 35449"/>
                  <a:gd name="connsiteY3" fmla="*/ 0 h 112257"/>
                  <a:gd name="connsiteX4" fmla="*/ 35450 w 35449"/>
                  <a:gd name="connsiteY4" fmla="*/ 17725 h 112257"/>
                  <a:gd name="connsiteX5" fmla="*/ 35450 w 35449"/>
                  <a:gd name="connsiteY5" fmla="*/ 95189 h 112257"/>
                  <a:gd name="connsiteX6" fmla="*/ 17725 w 35449"/>
                  <a:gd name="connsiteY6" fmla="*/ 112258 h 112257"/>
                  <a:gd name="connsiteX7" fmla="*/ 17725 w 35449"/>
                  <a:gd name="connsiteY7" fmla="*/ 112258 h 112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449" h="112257">
                    <a:moveTo>
                      <a:pt x="17725" y="112258"/>
                    </a:moveTo>
                    <a:cubicBezTo>
                      <a:pt x="7878" y="112258"/>
                      <a:pt x="0" y="104380"/>
                      <a:pt x="0" y="94533"/>
                    </a:cubicBezTo>
                    <a:lnTo>
                      <a:pt x="0" y="17725"/>
                    </a:lnTo>
                    <a:cubicBezTo>
                      <a:pt x="0" y="7878"/>
                      <a:pt x="7878" y="0"/>
                      <a:pt x="17725" y="0"/>
                    </a:cubicBezTo>
                    <a:cubicBezTo>
                      <a:pt x="27572" y="0"/>
                      <a:pt x="35450" y="7878"/>
                      <a:pt x="35450" y="17725"/>
                    </a:cubicBezTo>
                    <a:lnTo>
                      <a:pt x="35450" y="95189"/>
                    </a:lnTo>
                    <a:cubicBezTo>
                      <a:pt x="35450" y="104380"/>
                      <a:pt x="27572" y="112258"/>
                      <a:pt x="17725" y="112258"/>
                    </a:cubicBezTo>
                    <a:lnTo>
                      <a:pt x="17725" y="112258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30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5453811" y="582196"/>
              <a:ext cx="241244" cy="281125"/>
              <a:chOff x="5453811" y="582196"/>
              <a:chExt cx="241244" cy="281125"/>
            </a:xfrm>
            <a:grpFill/>
          </p:grpSpPr>
          <p:sp>
            <p:nvSpPr>
              <p:cNvPr id="31" name="Forma Livre: Forma 30">
                <a:extLst>
                  <a:ext uri="{FF2B5EF4-FFF2-40B4-BE49-F238E27FC236}">
                    <a16:creationId xmlns:a16="http://schemas.microsoft.com/office/drawing/2014/main" id="{01339AA9-7FA9-4652-B5D6-AD736A26A449}"/>
                  </a:ext>
                </a:extLst>
              </p:cNvPr>
              <p:cNvSpPr/>
              <p:nvPr/>
            </p:nvSpPr>
            <p:spPr>
              <a:xfrm>
                <a:off x="5570007" y="582196"/>
                <a:ext cx="125047" cy="281125"/>
              </a:xfrm>
              <a:custGeom>
                <a:avLst/>
                <a:gdLst>
                  <a:gd name="connsiteX0" fmla="*/ 17878 w 125047"/>
                  <a:gd name="connsiteY0" fmla="*/ 281126 h 281125"/>
                  <a:gd name="connsiteX1" fmla="*/ 7374 w 125047"/>
                  <a:gd name="connsiteY1" fmla="*/ 277843 h 281125"/>
                  <a:gd name="connsiteX2" fmla="*/ 3435 w 125047"/>
                  <a:gd name="connsiteY2" fmla="*/ 253553 h 281125"/>
                  <a:gd name="connsiteX3" fmla="*/ 86152 w 125047"/>
                  <a:gd name="connsiteY3" fmla="*/ 140639 h 281125"/>
                  <a:gd name="connsiteX4" fmla="*/ 4092 w 125047"/>
                  <a:gd name="connsiteY4" fmla="*/ 27725 h 281125"/>
                  <a:gd name="connsiteX5" fmla="*/ 8031 w 125047"/>
                  <a:gd name="connsiteY5" fmla="*/ 3435 h 281125"/>
                  <a:gd name="connsiteX6" fmla="*/ 32320 w 125047"/>
                  <a:gd name="connsiteY6" fmla="*/ 7374 h 281125"/>
                  <a:gd name="connsiteX7" fmla="*/ 121602 w 125047"/>
                  <a:gd name="connsiteY7" fmla="*/ 130136 h 281125"/>
                  <a:gd name="connsiteX8" fmla="*/ 121602 w 125047"/>
                  <a:gd name="connsiteY8" fmla="*/ 150486 h 281125"/>
                  <a:gd name="connsiteX9" fmla="*/ 32320 w 125047"/>
                  <a:gd name="connsiteY9" fmla="*/ 273248 h 281125"/>
                  <a:gd name="connsiteX10" fmla="*/ 17878 w 125047"/>
                  <a:gd name="connsiteY10" fmla="*/ 281126 h 281125"/>
                  <a:gd name="connsiteX11" fmla="*/ 17878 w 125047"/>
                  <a:gd name="connsiteY11" fmla="*/ 281126 h 281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5047" h="281125">
                    <a:moveTo>
                      <a:pt x="17878" y="281126"/>
                    </a:moveTo>
                    <a:cubicBezTo>
                      <a:pt x="14595" y="281126"/>
                      <a:pt x="10657" y="279813"/>
                      <a:pt x="7374" y="277843"/>
                    </a:cubicBezTo>
                    <a:cubicBezTo>
                      <a:pt x="-504" y="271935"/>
                      <a:pt x="-2473" y="261431"/>
                      <a:pt x="3435" y="253553"/>
                    </a:cubicBezTo>
                    <a:lnTo>
                      <a:pt x="86152" y="140639"/>
                    </a:lnTo>
                    <a:lnTo>
                      <a:pt x="4092" y="27725"/>
                    </a:lnTo>
                    <a:cubicBezTo>
                      <a:pt x="-1817" y="19847"/>
                      <a:pt x="153" y="8687"/>
                      <a:pt x="8031" y="3435"/>
                    </a:cubicBezTo>
                    <a:cubicBezTo>
                      <a:pt x="15908" y="-2473"/>
                      <a:pt x="27069" y="-504"/>
                      <a:pt x="32320" y="7374"/>
                    </a:cubicBezTo>
                    <a:lnTo>
                      <a:pt x="121602" y="130136"/>
                    </a:lnTo>
                    <a:cubicBezTo>
                      <a:pt x="126197" y="136044"/>
                      <a:pt x="126197" y="144578"/>
                      <a:pt x="121602" y="150486"/>
                    </a:cubicBezTo>
                    <a:lnTo>
                      <a:pt x="32320" y="273248"/>
                    </a:lnTo>
                    <a:cubicBezTo>
                      <a:pt x="29038" y="278500"/>
                      <a:pt x="23786" y="281126"/>
                      <a:pt x="17878" y="281126"/>
                    </a:cubicBezTo>
                    <a:lnTo>
                      <a:pt x="17878" y="281126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2" name="Forma Livre: Forma 31">
                <a:extLst>
                  <a:ext uri="{FF2B5EF4-FFF2-40B4-BE49-F238E27FC236}">
                    <a16:creationId xmlns:a16="http://schemas.microsoft.com/office/drawing/2014/main" id="{D59F4472-73F4-45D2-B567-7EA70DCF0F50}"/>
                  </a:ext>
                </a:extLst>
              </p:cNvPr>
              <p:cNvSpPr/>
              <p:nvPr/>
            </p:nvSpPr>
            <p:spPr>
              <a:xfrm>
                <a:off x="5453811" y="582196"/>
                <a:ext cx="124391" cy="281125"/>
              </a:xfrm>
              <a:custGeom>
                <a:avLst/>
                <a:gdLst>
                  <a:gd name="connsiteX0" fmla="*/ 17878 w 124391"/>
                  <a:gd name="connsiteY0" fmla="*/ 281126 h 281125"/>
                  <a:gd name="connsiteX1" fmla="*/ 7374 w 124391"/>
                  <a:gd name="connsiteY1" fmla="*/ 277843 h 281125"/>
                  <a:gd name="connsiteX2" fmla="*/ 3435 w 124391"/>
                  <a:gd name="connsiteY2" fmla="*/ 253553 h 281125"/>
                  <a:gd name="connsiteX3" fmla="*/ 85495 w 124391"/>
                  <a:gd name="connsiteY3" fmla="*/ 140639 h 281125"/>
                  <a:gd name="connsiteX4" fmla="*/ 3435 w 124391"/>
                  <a:gd name="connsiteY4" fmla="*/ 27725 h 281125"/>
                  <a:gd name="connsiteX5" fmla="*/ 7374 w 124391"/>
                  <a:gd name="connsiteY5" fmla="*/ 3435 h 281125"/>
                  <a:gd name="connsiteX6" fmla="*/ 31664 w 124391"/>
                  <a:gd name="connsiteY6" fmla="*/ 7374 h 281125"/>
                  <a:gd name="connsiteX7" fmla="*/ 120945 w 124391"/>
                  <a:gd name="connsiteY7" fmla="*/ 130136 h 281125"/>
                  <a:gd name="connsiteX8" fmla="*/ 120945 w 124391"/>
                  <a:gd name="connsiteY8" fmla="*/ 150486 h 281125"/>
                  <a:gd name="connsiteX9" fmla="*/ 31664 w 124391"/>
                  <a:gd name="connsiteY9" fmla="*/ 273248 h 281125"/>
                  <a:gd name="connsiteX10" fmla="*/ 17878 w 124391"/>
                  <a:gd name="connsiteY10" fmla="*/ 281126 h 281125"/>
                  <a:gd name="connsiteX11" fmla="*/ 17878 w 124391"/>
                  <a:gd name="connsiteY11" fmla="*/ 281126 h 281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4391" h="281125">
                    <a:moveTo>
                      <a:pt x="17878" y="281126"/>
                    </a:moveTo>
                    <a:cubicBezTo>
                      <a:pt x="14596" y="281126"/>
                      <a:pt x="10657" y="279813"/>
                      <a:pt x="7374" y="277843"/>
                    </a:cubicBezTo>
                    <a:cubicBezTo>
                      <a:pt x="-504" y="271935"/>
                      <a:pt x="-2473" y="261431"/>
                      <a:pt x="3435" y="253553"/>
                    </a:cubicBezTo>
                    <a:lnTo>
                      <a:pt x="85495" y="140639"/>
                    </a:lnTo>
                    <a:lnTo>
                      <a:pt x="3435" y="27725"/>
                    </a:lnTo>
                    <a:cubicBezTo>
                      <a:pt x="-2473" y="19847"/>
                      <a:pt x="-504" y="8687"/>
                      <a:pt x="7374" y="3435"/>
                    </a:cubicBezTo>
                    <a:cubicBezTo>
                      <a:pt x="15252" y="-2473"/>
                      <a:pt x="26412" y="-504"/>
                      <a:pt x="31664" y="7374"/>
                    </a:cubicBezTo>
                    <a:lnTo>
                      <a:pt x="120945" y="130136"/>
                    </a:lnTo>
                    <a:cubicBezTo>
                      <a:pt x="125540" y="136044"/>
                      <a:pt x="125540" y="144578"/>
                      <a:pt x="120945" y="150486"/>
                    </a:cubicBezTo>
                    <a:lnTo>
                      <a:pt x="31664" y="273248"/>
                    </a:lnTo>
                    <a:cubicBezTo>
                      <a:pt x="28382" y="278500"/>
                      <a:pt x="23130" y="281126"/>
                      <a:pt x="17878" y="281126"/>
                    </a:cubicBezTo>
                    <a:lnTo>
                      <a:pt x="17878" y="281126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33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6521232" y="582853"/>
              <a:ext cx="241244" cy="280469"/>
              <a:chOff x="6521232" y="582853"/>
              <a:chExt cx="241244" cy="280469"/>
            </a:xfrm>
            <a:grpFill/>
          </p:grpSpPr>
          <p:sp>
            <p:nvSpPr>
              <p:cNvPr id="34" name="Forma Livre: Forma 33">
                <a:extLst>
                  <a:ext uri="{FF2B5EF4-FFF2-40B4-BE49-F238E27FC236}">
                    <a16:creationId xmlns:a16="http://schemas.microsoft.com/office/drawing/2014/main" id="{E0C88EC7-20BE-4F95-B073-EF9A9EFA7980}"/>
                  </a:ext>
                </a:extLst>
              </p:cNvPr>
              <p:cNvSpPr/>
              <p:nvPr/>
            </p:nvSpPr>
            <p:spPr>
              <a:xfrm>
                <a:off x="6521232" y="582853"/>
                <a:ext cx="124391" cy="280469"/>
              </a:xfrm>
              <a:custGeom>
                <a:avLst/>
                <a:gdLst>
                  <a:gd name="connsiteX0" fmla="*/ 107170 w 124391"/>
                  <a:gd name="connsiteY0" fmla="*/ 280469 h 280469"/>
                  <a:gd name="connsiteX1" fmla="*/ 92728 w 124391"/>
                  <a:gd name="connsiteY1" fmla="*/ 273248 h 280469"/>
                  <a:gd name="connsiteX2" fmla="*/ 3447 w 124391"/>
                  <a:gd name="connsiteY2" fmla="*/ 150486 h 280469"/>
                  <a:gd name="connsiteX3" fmla="*/ 3447 w 124391"/>
                  <a:gd name="connsiteY3" fmla="*/ 130136 h 280469"/>
                  <a:gd name="connsiteX4" fmla="*/ 92728 w 124391"/>
                  <a:gd name="connsiteY4" fmla="*/ 7374 h 280469"/>
                  <a:gd name="connsiteX5" fmla="*/ 117017 w 124391"/>
                  <a:gd name="connsiteY5" fmla="*/ 3435 h 280469"/>
                  <a:gd name="connsiteX6" fmla="*/ 120956 w 124391"/>
                  <a:gd name="connsiteY6" fmla="*/ 27725 h 280469"/>
                  <a:gd name="connsiteX7" fmla="*/ 38897 w 124391"/>
                  <a:gd name="connsiteY7" fmla="*/ 139983 h 280469"/>
                  <a:gd name="connsiteX8" fmla="*/ 120956 w 124391"/>
                  <a:gd name="connsiteY8" fmla="*/ 252897 h 280469"/>
                  <a:gd name="connsiteX9" fmla="*/ 117017 w 124391"/>
                  <a:gd name="connsiteY9" fmla="*/ 277187 h 280469"/>
                  <a:gd name="connsiteX10" fmla="*/ 107170 w 124391"/>
                  <a:gd name="connsiteY10" fmla="*/ 280469 h 280469"/>
                  <a:gd name="connsiteX11" fmla="*/ 107170 w 124391"/>
                  <a:gd name="connsiteY11" fmla="*/ 280469 h 2804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4391" h="280469">
                    <a:moveTo>
                      <a:pt x="107170" y="280469"/>
                    </a:moveTo>
                    <a:cubicBezTo>
                      <a:pt x="101918" y="280469"/>
                      <a:pt x="96667" y="277843"/>
                      <a:pt x="92728" y="273248"/>
                    </a:cubicBezTo>
                    <a:lnTo>
                      <a:pt x="3447" y="150486"/>
                    </a:lnTo>
                    <a:cubicBezTo>
                      <a:pt x="-1149" y="144578"/>
                      <a:pt x="-1149" y="136044"/>
                      <a:pt x="3447" y="130136"/>
                    </a:cubicBezTo>
                    <a:lnTo>
                      <a:pt x="92728" y="7374"/>
                    </a:lnTo>
                    <a:cubicBezTo>
                      <a:pt x="98636" y="-504"/>
                      <a:pt x="109140" y="-2473"/>
                      <a:pt x="117017" y="3435"/>
                    </a:cubicBezTo>
                    <a:cubicBezTo>
                      <a:pt x="124895" y="9344"/>
                      <a:pt x="126864" y="19847"/>
                      <a:pt x="120956" y="27725"/>
                    </a:cubicBezTo>
                    <a:lnTo>
                      <a:pt x="38897" y="139983"/>
                    </a:lnTo>
                    <a:lnTo>
                      <a:pt x="120956" y="252897"/>
                    </a:lnTo>
                    <a:cubicBezTo>
                      <a:pt x="126864" y="260775"/>
                      <a:pt x="124895" y="271935"/>
                      <a:pt x="117017" y="277187"/>
                    </a:cubicBezTo>
                    <a:cubicBezTo>
                      <a:pt x="113735" y="279156"/>
                      <a:pt x="110452" y="280469"/>
                      <a:pt x="107170" y="280469"/>
                    </a:cubicBezTo>
                    <a:lnTo>
                      <a:pt x="107170" y="280469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5" name="Forma Livre: Forma 34">
                <a:extLst>
                  <a:ext uri="{FF2B5EF4-FFF2-40B4-BE49-F238E27FC236}">
                    <a16:creationId xmlns:a16="http://schemas.microsoft.com/office/drawing/2014/main" id="{2EA27E1B-AB05-4C35-BA56-A318D93DCA40}"/>
                  </a:ext>
                </a:extLst>
              </p:cNvPr>
              <p:cNvSpPr/>
              <p:nvPr/>
            </p:nvSpPr>
            <p:spPr>
              <a:xfrm>
                <a:off x="6637429" y="582853"/>
                <a:ext cx="125047" cy="280469"/>
              </a:xfrm>
              <a:custGeom>
                <a:avLst/>
                <a:gdLst>
                  <a:gd name="connsiteX0" fmla="*/ 107170 w 125047"/>
                  <a:gd name="connsiteY0" fmla="*/ 280469 h 280469"/>
                  <a:gd name="connsiteX1" fmla="*/ 92727 w 125047"/>
                  <a:gd name="connsiteY1" fmla="*/ 273248 h 280469"/>
                  <a:gd name="connsiteX2" fmla="*/ 3447 w 125047"/>
                  <a:gd name="connsiteY2" fmla="*/ 150486 h 280469"/>
                  <a:gd name="connsiteX3" fmla="*/ 3447 w 125047"/>
                  <a:gd name="connsiteY3" fmla="*/ 130136 h 280469"/>
                  <a:gd name="connsiteX4" fmla="*/ 92727 w 125047"/>
                  <a:gd name="connsiteY4" fmla="*/ 7374 h 280469"/>
                  <a:gd name="connsiteX5" fmla="*/ 117017 w 125047"/>
                  <a:gd name="connsiteY5" fmla="*/ 3435 h 280469"/>
                  <a:gd name="connsiteX6" fmla="*/ 120956 w 125047"/>
                  <a:gd name="connsiteY6" fmla="*/ 27725 h 280469"/>
                  <a:gd name="connsiteX7" fmla="*/ 39553 w 125047"/>
                  <a:gd name="connsiteY7" fmla="*/ 139983 h 280469"/>
                  <a:gd name="connsiteX8" fmla="*/ 121613 w 125047"/>
                  <a:gd name="connsiteY8" fmla="*/ 252897 h 280469"/>
                  <a:gd name="connsiteX9" fmla="*/ 117674 w 125047"/>
                  <a:gd name="connsiteY9" fmla="*/ 277187 h 280469"/>
                  <a:gd name="connsiteX10" fmla="*/ 107170 w 125047"/>
                  <a:gd name="connsiteY10" fmla="*/ 280469 h 280469"/>
                  <a:gd name="connsiteX11" fmla="*/ 107170 w 125047"/>
                  <a:gd name="connsiteY11" fmla="*/ 280469 h 2804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5047" h="280469">
                    <a:moveTo>
                      <a:pt x="107170" y="280469"/>
                    </a:moveTo>
                    <a:cubicBezTo>
                      <a:pt x="101918" y="280469"/>
                      <a:pt x="96667" y="277843"/>
                      <a:pt x="92727" y="273248"/>
                    </a:cubicBezTo>
                    <a:lnTo>
                      <a:pt x="3447" y="150486"/>
                    </a:lnTo>
                    <a:cubicBezTo>
                      <a:pt x="-1149" y="144578"/>
                      <a:pt x="-1149" y="136044"/>
                      <a:pt x="3447" y="130136"/>
                    </a:cubicBezTo>
                    <a:lnTo>
                      <a:pt x="92727" y="7374"/>
                    </a:lnTo>
                    <a:cubicBezTo>
                      <a:pt x="98636" y="-504"/>
                      <a:pt x="109139" y="-2473"/>
                      <a:pt x="117017" y="3435"/>
                    </a:cubicBezTo>
                    <a:cubicBezTo>
                      <a:pt x="124895" y="9344"/>
                      <a:pt x="126864" y="19847"/>
                      <a:pt x="120956" y="27725"/>
                    </a:cubicBezTo>
                    <a:lnTo>
                      <a:pt x="39553" y="139983"/>
                    </a:lnTo>
                    <a:lnTo>
                      <a:pt x="121613" y="252897"/>
                    </a:lnTo>
                    <a:cubicBezTo>
                      <a:pt x="127521" y="260775"/>
                      <a:pt x="125551" y="271935"/>
                      <a:pt x="117674" y="277187"/>
                    </a:cubicBezTo>
                    <a:cubicBezTo>
                      <a:pt x="114391" y="279156"/>
                      <a:pt x="110452" y="280469"/>
                      <a:pt x="107170" y="280469"/>
                    </a:cubicBezTo>
                    <a:lnTo>
                      <a:pt x="107170" y="280469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36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3216087" y="1622210"/>
              <a:ext cx="423387" cy="372879"/>
              <a:chOff x="3216087" y="1622210"/>
              <a:chExt cx="423387" cy="372879"/>
            </a:xfrm>
            <a:grpFill/>
          </p:grpSpPr>
          <p:sp>
            <p:nvSpPr>
              <p:cNvPr id="37" name="Forma Livre: Forma 36">
                <a:extLst>
                  <a:ext uri="{FF2B5EF4-FFF2-40B4-BE49-F238E27FC236}">
                    <a16:creationId xmlns:a16="http://schemas.microsoft.com/office/drawing/2014/main" id="{284A17A7-7274-4C80-AC26-BD06B0FC4B9B}"/>
                  </a:ext>
                </a:extLst>
              </p:cNvPr>
              <p:cNvSpPr/>
              <p:nvPr/>
            </p:nvSpPr>
            <p:spPr>
              <a:xfrm>
                <a:off x="3266580" y="1622210"/>
                <a:ext cx="372894" cy="372879"/>
              </a:xfrm>
              <a:custGeom>
                <a:avLst/>
                <a:gdLst>
                  <a:gd name="connsiteX0" fmla="*/ 187753 w 372894"/>
                  <a:gd name="connsiteY0" fmla="*/ 372879 h 372879"/>
                  <a:gd name="connsiteX1" fmla="*/ 59740 w 372894"/>
                  <a:gd name="connsiteY1" fmla="*/ 321674 h 372879"/>
                  <a:gd name="connsiteX2" fmla="*/ 39389 w 372894"/>
                  <a:gd name="connsiteY2" fmla="*/ 299354 h 372879"/>
                  <a:gd name="connsiteX3" fmla="*/ 42671 w 372894"/>
                  <a:gd name="connsiteY3" fmla="*/ 275064 h 372879"/>
                  <a:gd name="connsiteX4" fmla="*/ 66961 w 372894"/>
                  <a:gd name="connsiteY4" fmla="*/ 278347 h 372879"/>
                  <a:gd name="connsiteX5" fmla="*/ 83373 w 372894"/>
                  <a:gd name="connsiteY5" fmla="*/ 296728 h 372879"/>
                  <a:gd name="connsiteX6" fmla="*/ 187096 w 372894"/>
                  <a:gd name="connsiteY6" fmla="*/ 338086 h 372879"/>
                  <a:gd name="connsiteX7" fmla="*/ 338743 w 372894"/>
                  <a:gd name="connsiteY7" fmla="*/ 186440 h 372879"/>
                  <a:gd name="connsiteX8" fmla="*/ 187096 w 372894"/>
                  <a:gd name="connsiteY8" fmla="*/ 35450 h 372879"/>
                  <a:gd name="connsiteX9" fmla="*/ 35450 w 372894"/>
                  <a:gd name="connsiteY9" fmla="*/ 186440 h 372879"/>
                  <a:gd name="connsiteX10" fmla="*/ 17725 w 372894"/>
                  <a:gd name="connsiteY10" fmla="*/ 204165 h 372879"/>
                  <a:gd name="connsiteX11" fmla="*/ 0 w 372894"/>
                  <a:gd name="connsiteY11" fmla="*/ 186440 h 372879"/>
                  <a:gd name="connsiteX12" fmla="*/ 186440 w 372894"/>
                  <a:gd name="connsiteY12" fmla="*/ 0 h 372879"/>
                  <a:gd name="connsiteX13" fmla="*/ 372879 w 372894"/>
                  <a:gd name="connsiteY13" fmla="*/ 186440 h 372879"/>
                  <a:gd name="connsiteX14" fmla="*/ 187753 w 372894"/>
                  <a:gd name="connsiteY14" fmla="*/ 372879 h 372879"/>
                  <a:gd name="connsiteX15" fmla="*/ 187753 w 372894"/>
                  <a:gd name="connsiteY15" fmla="*/ 372879 h 372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72894" h="372879">
                    <a:moveTo>
                      <a:pt x="187753" y="372879"/>
                    </a:moveTo>
                    <a:cubicBezTo>
                      <a:pt x="139830" y="372879"/>
                      <a:pt x="94533" y="354498"/>
                      <a:pt x="59740" y="321674"/>
                    </a:cubicBezTo>
                    <a:cubicBezTo>
                      <a:pt x="52518" y="314453"/>
                      <a:pt x="45297" y="307232"/>
                      <a:pt x="39389" y="299354"/>
                    </a:cubicBezTo>
                    <a:cubicBezTo>
                      <a:pt x="33480" y="291476"/>
                      <a:pt x="34793" y="280973"/>
                      <a:pt x="42671" y="275064"/>
                    </a:cubicBezTo>
                    <a:cubicBezTo>
                      <a:pt x="50549" y="269156"/>
                      <a:pt x="61052" y="270469"/>
                      <a:pt x="66961" y="278347"/>
                    </a:cubicBezTo>
                    <a:cubicBezTo>
                      <a:pt x="72213" y="284911"/>
                      <a:pt x="77464" y="290820"/>
                      <a:pt x="83373" y="296728"/>
                    </a:cubicBezTo>
                    <a:cubicBezTo>
                      <a:pt x="111601" y="323644"/>
                      <a:pt x="148364" y="338086"/>
                      <a:pt x="187096" y="338086"/>
                    </a:cubicBezTo>
                    <a:cubicBezTo>
                      <a:pt x="270469" y="338086"/>
                      <a:pt x="338743" y="270469"/>
                      <a:pt x="338743" y="186440"/>
                    </a:cubicBezTo>
                    <a:cubicBezTo>
                      <a:pt x="338743" y="103067"/>
                      <a:pt x="271125" y="35450"/>
                      <a:pt x="187096" y="35450"/>
                    </a:cubicBezTo>
                    <a:cubicBezTo>
                      <a:pt x="103723" y="35450"/>
                      <a:pt x="35450" y="103067"/>
                      <a:pt x="35450" y="186440"/>
                    </a:cubicBezTo>
                    <a:cubicBezTo>
                      <a:pt x="35450" y="196287"/>
                      <a:pt x="27572" y="204165"/>
                      <a:pt x="17725" y="204165"/>
                    </a:cubicBezTo>
                    <a:cubicBezTo>
                      <a:pt x="7878" y="204165"/>
                      <a:pt x="0" y="196287"/>
                      <a:pt x="0" y="186440"/>
                    </a:cubicBezTo>
                    <a:cubicBezTo>
                      <a:pt x="0" y="84029"/>
                      <a:pt x="83373" y="0"/>
                      <a:pt x="186440" y="0"/>
                    </a:cubicBezTo>
                    <a:cubicBezTo>
                      <a:pt x="288850" y="0"/>
                      <a:pt x="372879" y="83373"/>
                      <a:pt x="372879" y="186440"/>
                    </a:cubicBezTo>
                    <a:cubicBezTo>
                      <a:pt x="374192" y="289507"/>
                      <a:pt x="290820" y="372879"/>
                      <a:pt x="187753" y="372879"/>
                    </a:cubicBezTo>
                    <a:lnTo>
                      <a:pt x="187753" y="372879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8" name="Forma Livre: Forma 37">
                <a:extLst>
                  <a:ext uri="{FF2B5EF4-FFF2-40B4-BE49-F238E27FC236}">
                    <a16:creationId xmlns:a16="http://schemas.microsoft.com/office/drawing/2014/main" id="{ED12C3F9-031F-417C-BBCF-DE535FD66B36}"/>
                  </a:ext>
                </a:extLst>
              </p:cNvPr>
              <p:cNvSpPr/>
              <p:nvPr/>
            </p:nvSpPr>
            <p:spPr>
              <a:xfrm>
                <a:off x="3216087" y="1766691"/>
                <a:ext cx="141687" cy="83316"/>
              </a:xfrm>
              <a:custGeom>
                <a:avLst/>
                <a:gdLst>
                  <a:gd name="connsiteX0" fmla="*/ 70844 w 141687"/>
                  <a:gd name="connsiteY0" fmla="*/ 83317 h 83316"/>
                  <a:gd name="connsiteX1" fmla="*/ 59027 w 141687"/>
                  <a:gd name="connsiteY1" fmla="*/ 78722 h 83316"/>
                  <a:gd name="connsiteX2" fmla="*/ 5853 w 141687"/>
                  <a:gd name="connsiteY2" fmla="*/ 30799 h 83316"/>
                  <a:gd name="connsiteX3" fmla="*/ 4540 w 141687"/>
                  <a:gd name="connsiteY3" fmla="*/ 5853 h 83316"/>
                  <a:gd name="connsiteX4" fmla="*/ 29486 w 141687"/>
                  <a:gd name="connsiteY4" fmla="*/ 4540 h 83316"/>
                  <a:gd name="connsiteX5" fmla="*/ 70844 w 141687"/>
                  <a:gd name="connsiteY5" fmla="*/ 41959 h 83316"/>
                  <a:gd name="connsiteX6" fmla="*/ 112202 w 141687"/>
                  <a:gd name="connsiteY6" fmla="*/ 4540 h 83316"/>
                  <a:gd name="connsiteX7" fmla="*/ 137148 w 141687"/>
                  <a:gd name="connsiteY7" fmla="*/ 5853 h 83316"/>
                  <a:gd name="connsiteX8" fmla="*/ 135835 w 141687"/>
                  <a:gd name="connsiteY8" fmla="*/ 30799 h 83316"/>
                  <a:gd name="connsiteX9" fmla="*/ 82660 w 141687"/>
                  <a:gd name="connsiteY9" fmla="*/ 78722 h 83316"/>
                  <a:gd name="connsiteX10" fmla="*/ 70844 w 141687"/>
                  <a:gd name="connsiteY10" fmla="*/ 83317 h 83316"/>
                  <a:gd name="connsiteX11" fmla="*/ 70844 w 141687"/>
                  <a:gd name="connsiteY11" fmla="*/ 83317 h 833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41687" h="83316">
                    <a:moveTo>
                      <a:pt x="70844" y="83317"/>
                    </a:moveTo>
                    <a:cubicBezTo>
                      <a:pt x="66905" y="83317"/>
                      <a:pt x="62310" y="82004"/>
                      <a:pt x="59027" y="78722"/>
                    </a:cubicBezTo>
                    <a:lnTo>
                      <a:pt x="5853" y="30799"/>
                    </a:lnTo>
                    <a:cubicBezTo>
                      <a:pt x="-1369" y="24234"/>
                      <a:pt x="-2025" y="13074"/>
                      <a:pt x="4540" y="5853"/>
                    </a:cubicBezTo>
                    <a:cubicBezTo>
                      <a:pt x="11104" y="-1369"/>
                      <a:pt x="22265" y="-2025"/>
                      <a:pt x="29486" y="4540"/>
                    </a:cubicBezTo>
                    <a:lnTo>
                      <a:pt x="70844" y="41959"/>
                    </a:lnTo>
                    <a:lnTo>
                      <a:pt x="112202" y="4540"/>
                    </a:lnTo>
                    <a:cubicBezTo>
                      <a:pt x="119423" y="-2025"/>
                      <a:pt x="130583" y="-1369"/>
                      <a:pt x="137148" y="5853"/>
                    </a:cubicBezTo>
                    <a:cubicBezTo>
                      <a:pt x="143713" y="13074"/>
                      <a:pt x="143056" y="24234"/>
                      <a:pt x="135835" y="30799"/>
                    </a:cubicBezTo>
                    <a:lnTo>
                      <a:pt x="82660" y="78722"/>
                    </a:lnTo>
                    <a:cubicBezTo>
                      <a:pt x="78722" y="82004"/>
                      <a:pt x="74783" y="83317"/>
                      <a:pt x="70844" y="83317"/>
                    </a:cubicBezTo>
                    <a:lnTo>
                      <a:pt x="70844" y="83317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39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4291342" y="1622210"/>
              <a:ext cx="425341" cy="372879"/>
              <a:chOff x="4291342" y="1622210"/>
              <a:chExt cx="425341" cy="372879"/>
            </a:xfrm>
            <a:grpFill/>
          </p:grpSpPr>
          <p:sp>
            <p:nvSpPr>
              <p:cNvPr id="40" name="Forma Livre: Forma 39">
                <a:extLst>
                  <a:ext uri="{FF2B5EF4-FFF2-40B4-BE49-F238E27FC236}">
                    <a16:creationId xmlns:a16="http://schemas.microsoft.com/office/drawing/2014/main" id="{717209C8-C586-4803-8E4E-4B10C56F7A71}"/>
                  </a:ext>
                </a:extLst>
              </p:cNvPr>
              <p:cNvSpPr/>
              <p:nvPr/>
            </p:nvSpPr>
            <p:spPr>
              <a:xfrm>
                <a:off x="4291342" y="1622210"/>
                <a:ext cx="372879" cy="372879"/>
              </a:xfrm>
              <a:custGeom>
                <a:avLst/>
                <a:gdLst>
                  <a:gd name="connsiteX0" fmla="*/ 186440 w 372879"/>
                  <a:gd name="connsiteY0" fmla="*/ 372879 h 372879"/>
                  <a:gd name="connsiteX1" fmla="*/ 0 w 372879"/>
                  <a:gd name="connsiteY1" fmla="*/ 186440 h 372879"/>
                  <a:gd name="connsiteX2" fmla="*/ 186440 w 372879"/>
                  <a:gd name="connsiteY2" fmla="*/ 0 h 372879"/>
                  <a:gd name="connsiteX3" fmla="*/ 372880 w 372879"/>
                  <a:gd name="connsiteY3" fmla="*/ 186440 h 372879"/>
                  <a:gd name="connsiteX4" fmla="*/ 355155 w 372879"/>
                  <a:gd name="connsiteY4" fmla="*/ 204165 h 372879"/>
                  <a:gd name="connsiteX5" fmla="*/ 337430 w 372879"/>
                  <a:gd name="connsiteY5" fmla="*/ 186440 h 372879"/>
                  <a:gd name="connsiteX6" fmla="*/ 185783 w 372879"/>
                  <a:gd name="connsiteY6" fmla="*/ 35450 h 372879"/>
                  <a:gd name="connsiteX7" fmla="*/ 34137 w 372879"/>
                  <a:gd name="connsiteY7" fmla="*/ 186440 h 372879"/>
                  <a:gd name="connsiteX8" fmla="*/ 185783 w 372879"/>
                  <a:gd name="connsiteY8" fmla="*/ 338086 h 372879"/>
                  <a:gd name="connsiteX9" fmla="*/ 289507 w 372879"/>
                  <a:gd name="connsiteY9" fmla="*/ 296728 h 372879"/>
                  <a:gd name="connsiteX10" fmla="*/ 305919 w 372879"/>
                  <a:gd name="connsiteY10" fmla="*/ 278347 h 372879"/>
                  <a:gd name="connsiteX11" fmla="*/ 330208 w 372879"/>
                  <a:gd name="connsiteY11" fmla="*/ 275064 h 372879"/>
                  <a:gd name="connsiteX12" fmla="*/ 333491 w 372879"/>
                  <a:gd name="connsiteY12" fmla="*/ 299354 h 372879"/>
                  <a:gd name="connsiteX13" fmla="*/ 313140 w 372879"/>
                  <a:gd name="connsiteY13" fmla="*/ 321674 h 372879"/>
                  <a:gd name="connsiteX14" fmla="*/ 186440 w 372879"/>
                  <a:gd name="connsiteY14" fmla="*/ 372879 h 372879"/>
                  <a:gd name="connsiteX15" fmla="*/ 186440 w 372879"/>
                  <a:gd name="connsiteY15" fmla="*/ 372879 h 372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72879" h="372879">
                    <a:moveTo>
                      <a:pt x="186440" y="372879"/>
                    </a:moveTo>
                    <a:cubicBezTo>
                      <a:pt x="84029" y="372879"/>
                      <a:pt x="0" y="289507"/>
                      <a:pt x="0" y="186440"/>
                    </a:cubicBezTo>
                    <a:cubicBezTo>
                      <a:pt x="0" y="84029"/>
                      <a:pt x="83373" y="0"/>
                      <a:pt x="186440" y="0"/>
                    </a:cubicBezTo>
                    <a:cubicBezTo>
                      <a:pt x="288850" y="0"/>
                      <a:pt x="372880" y="83373"/>
                      <a:pt x="372880" y="186440"/>
                    </a:cubicBezTo>
                    <a:cubicBezTo>
                      <a:pt x="372880" y="196287"/>
                      <a:pt x="365002" y="204165"/>
                      <a:pt x="355155" y="204165"/>
                    </a:cubicBezTo>
                    <a:cubicBezTo>
                      <a:pt x="345307" y="204165"/>
                      <a:pt x="337430" y="196287"/>
                      <a:pt x="337430" y="186440"/>
                    </a:cubicBezTo>
                    <a:cubicBezTo>
                      <a:pt x="337430" y="103067"/>
                      <a:pt x="269812" y="35450"/>
                      <a:pt x="185783" y="35450"/>
                    </a:cubicBezTo>
                    <a:cubicBezTo>
                      <a:pt x="102411" y="35450"/>
                      <a:pt x="34137" y="103067"/>
                      <a:pt x="34137" y="186440"/>
                    </a:cubicBezTo>
                    <a:cubicBezTo>
                      <a:pt x="34137" y="269812"/>
                      <a:pt x="101754" y="338086"/>
                      <a:pt x="185783" y="338086"/>
                    </a:cubicBezTo>
                    <a:cubicBezTo>
                      <a:pt x="224515" y="338086"/>
                      <a:pt x="261278" y="323644"/>
                      <a:pt x="289507" y="296728"/>
                    </a:cubicBezTo>
                    <a:cubicBezTo>
                      <a:pt x="295415" y="290820"/>
                      <a:pt x="301323" y="284911"/>
                      <a:pt x="305919" y="278347"/>
                    </a:cubicBezTo>
                    <a:cubicBezTo>
                      <a:pt x="311827" y="270469"/>
                      <a:pt x="322987" y="269156"/>
                      <a:pt x="330208" y="275064"/>
                    </a:cubicBezTo>
                    <a:cubicBezTo>
                      <a:pt x="338086" y="280973"/>
                      <a:pt x="339399" y="292133"/>
                      <a:pt x="333491" y="299354"/>
                    </a:cubicBezTo>
                    <a:cubicBezTo>
                      <a:pt x="327582" y="307232"/>
                      <a:pt x="320361" y="315109"/>
                      <a:pt x="313140" y="321674"/>
                    </a:cubicBezTo>
                    <a:cubicBezTo>
                      <a:pt x="279660" y="354498"/>
                      <a:pt x="234362" y="372879"/>
                      <a:pt x="186440" y="372879"/>
                    </a:cubicBezTo>
                    <a:lnTo>
                      <a:pt x="186440" y="372879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1" name="Forma Livre: Forma 40">
                <a:extLst>
                  <a:ext uri="{FF2B5EF4-FFF2-40B4-BE49-F238E27FC236}">
                    <a16:creationId xmlns:a16="http://schemas.microsoft.com/office/drawing/2014/main" id="{CC3958F7-2158-4357-93A8-6C4387E4751F}"/>
                  </a:ext>
                </a:extLst>
              </p:cNvPr>
              <p:cNvSpPr/>
              <p:nvPr/>
            </p:nvSpPr>
            <p:spPr>
              <a:xfrm>
                <a:off x="4574996" y="1766691"/>
                <a:ext cx="141687" cy="83316"/>
              </a:xfrm>
              <a:custGeom>
                <a:avLst/>
                <a:gdLst>
                  <a:gd name="connsiteX0" fmla="*/ 70844 w 141687"/>
                  <a:gd name="connsiteY0" fmla="*/ 83317 h 83316"/>
                  <a:gd name="connsiteX1" fmla="*/ 59027 w 141687"/>
                  <a:gd name="connsiteY1" fmla="*/ 78722 h 83316"/>
                  <a:gd name="connsiteX2" fmla="*/ 5853 w 141687"/>
                  <a:gd name="connsiteY2" fmla="*/ 30799 h 83316"/>
                  <a:gd name="connsiteX3" fmla="*/ 4540 w 141687"/>
                  <a:gd name="connsiteY3" fmla="*/ 5853 h 83316"/>
                  <a:gd name="connsiteX4" fmla="*/ 29486 w 141687"/>
                  <a:gd name="connsiteY4" fmla="*/ 4540 h 83316"/>
                  <a:gd name="connsiteX5" fmla="*/ 70844 w 141687"/>
                  <a:gd name="connsiteY5" fmla="*/ 41959 h 83316"/>
                  <a:gd name="connsiteX6" fmla="*/ 112202 w 141687"/>
                  <a:gd name="connsiteY6" fmla="*/ 4540 h 83316"/>
                  <a:gd name="connsiteX7" fmla="*/ 137148 w 141687"/>
                  <a:gd name="connsiteY7" fmla="*/ 5853 h 83316"/>
                  <a:gd name="connsiteX8" fmla="*/ 135835 w 141687"/>
                  <a:gd name="connsiteY8" fmla="*/ 30799 h 83316"/>
                  <a:gd name="connsiteX9" fmla="*/ 82661 w 141687"/>
                  <a:gd name="connsiteY9" fmla="*/ 78722 h 83316"/>
                  <a:gd name="connsiteX10" fmla="*/ 70844 w 141687"/>
                  <a:gd name="connsiteY10" fmla="*/ 83317 h 83316"/>
                  <a:gd name="connsiteX11" fmla="*/ 70844 w 141687"/>
                  <a:gd name="connsiteY11" fmla="*/ 83317 h 833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41687" h="83316">
                    <a:moveTo>
                      <a:pt x="70844" y="83317"/>
                    </a:moveTo>
                    <a:cubicBezTo>
                      <a:pt x="66905" y="83317"/>
                      <a:pt x="62310" y="82004"/>
                      <a:pt x="59027" y="78722"/>
                    </a:cubicBezTo>
                    <a:lnTo>
                      <a:pt x="5853" y="30799"/>
                    </a:lnTo>
                    <a:cubicBezTo>
                      <a:pt x="-1369" y="24234"/>
                      <a:pt x="-2025" y="13074"/>
                      <a:pt x="4540" y="5853"/>
                    </a:cubicBezTo>
                    <a:cubicBezTo>
                      <a:pt x="11104" y="-1369"/>
                      <a:pt x="22265" y="-2025"/>
                      <a:pt x="29486" y="4540"/>
                    </a:cubicBezTo>
                    <a:lnTo>
                      <a:pt x="70844" y="41959"/>
                    </a:lnTo>
                    <a:lnTo>
                      <a:pt x="112202" y="4540"/>
                    </a:lnTo>
                    <a:cubicBezTo>
                      <a:pt x="119423" y="-2025"/>
                      <a:pt x="130584" y="-1369"/>
                      <a:pt x="137148" y="5853"/>
                    </a:cubicBezTo>
                    <a:cubicBezTo>
                      <a:pt x="143713" y="13074"/>
                      <a:pt x="143056" y="24234"/>
                      <a:pt x="135835" y="30799"/>
                    </a:cubicBezTo>
                    <a:lnTo>
                      <a:pt x="82661" y="78722"/>
                    </a:lnTo>
                    <a:cubicBezTo>
                      <a:pt x="79378" y="82004"/>
                      <a:pt x="74783" y="83317"/>
                      <a:pt x="70844" y="83317"/>
                    </a:cubicBezTo>
                    <a:lnTo>
                      <a:pt x="70844" y="83317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42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5388316" y="1596007"/>
              <a:ext cx="373535" cy="425341"/>
              <a:chOff x="5388316" y="1596007"/>
              <a:chExt cx="373535" cy="425341"/>
            </a:xfrm>
            <a:grpFill/>
          </p:grpSpPr>
          <p:sp>
            <p:nvSpPr>
              <p:cNvPr id="43" name="Forma Livre: Forma 42">
                <a:extLst>
                  <a:ext uri="{FF2B5EF4-FFF2-40B4-BE49-F238E27FC236}">
                    <a16:creationId xmlns:a16="http://schemas.microsoft.com/office/drawing/2014/main" id="{50D7B52B-6B91-4F68-87FE-C435C09F0517}"/>
                  </a:ext>
                </a:extLst>
              </p:cNvPr>
              <p:cNvSpPr/>
              <p:nvPr/>
            </p:nvSpPr>
            <p:spPr>
              <a:xfrm>
                <a:off x="5388316" y="1647813"/>
                <a:ext cx="373535" cy="373535"/>
              </a:xfrm>
              <a:custGeom>
                <a:avLst/>
                <a:gdLst>
                  <a:gd name="connsiteX0" fmla="*/ 186439 w 373535"/>
                  <a:gd name="connsiteY0" fmla="*/ 373536 h 373535"/>
                  <a:gd name="connsiteX1" fmla="*/ 0 w 373535"/>
                  <a:gd name="connsiteY1" fmla="*/ 187096 h 373535"/>
                  <a:gd name="connsiteX2" fmla="*/ 17725 w 373535"/>
                  <a:gd name="connsiteY2" fmla="*/ 169371 h 373535"/>
                  <a:gd name="connsiteX3" fmla="*/ 35450 w 373535"/>
                  <a:gd name="connsiteY3" fmla="*/ 187096 h 373535"/>
                  <a:gd name="connsiteX4" fmla="*/ 187096 w 373535"/>
                  <a:gd name="connsiteY4" fmla="*/ 338743 h 373535"/>
                  <a:gd name="connsiteX5" fmla="*/ 338086 w 373535"/>
                  <a:gd name="connsiteY5" fmla="*/ 187096 h 373535"/>
                  <a:gd name="connsiteX6" fmla="*/ 187096 w 373535"/>
                  <a:gd name="connsiteY6" fmla="*/ 35450 h 373535"/>
                  <a:gd name="connsiteX7" fmla="*/ 169371 w 373535"/>
                  <a:gd name="connsiteY7" fmla="*/ 17725 h 373535"/>
                  <a:gd name="connsiteX8" fmla="*/ 187096 w 373535"/>
                  <a:gd name="connsiteY8" fmla="*/ 0 h 373535"/>
                  <a:gd name="connsiteX9" fmla="*/ 373536 w 373535"/>
                  <a:gd name="connsiteY9" fmla="*/ 186440 h 373535"/>
                  <a:gd name="connsiteX10" fmla="*/ 186439 w 373535"/>
                  <a:gd name="connsiteY10" fmla="*/ 373536 h 373535"/>
                  <a:gd name="connsiteX11" fmla="*/ 186439 w 373535"/>
                  <a:gd name="connsiteY11" fmla="*/ 373536 h 373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73535" h="373535">
                    <a:moveTo>
                      <a:pt x="186439" y="373536"/>
                    </a:moveTo>
                    <a:cubicBezTo>
                      <a:pt x="84029" y="373536"/>
                      <a:pt x="0" y="290163"/>
                      <a:pt x="0" y="187096"/>
                    </a:cubicBezTo>
                    <a:cubicBezTo>
                      <a:pt x="0" y="177249"/>
                      <a:pt x="7878" y="169371"/>
                      <a:pt x="17725" y="169371"/>
                    </a:cubicBezTo>
                    <a:cubicBezTo>
                      <a:pt x="27572" y="169371"/>
                      <a:pt x="35450" y="177249"/>
                      <a:pt x="35450" y="187096"/>
                    </a:cubicBezTo>
                    <a:cubicBezTo>
                      <a:pt x="35450" y="270469"/>
                      <a:pt x="103067" y="338743"/>
                      <a:pt x="187096" y="338743"/>
                    </a:cubicBezTo>
                    <a:cubicBezTo>
                      <a:pt x="270469" y="338743"/>
                      <a:pt x="338086" y="271125"/>
                      <a:pt x="338086" y="187096"/>
                    </a:cubicBezTo>
                    <a:cubicBezTo>
                      <a:pt x="338086" y="103724"/>
                      <a:pt x="270469" y="35450"/>
                      <a:pt x="187096" y="35450"/>
                    </a:cubicBezTo>
                    <a:cubicBezTo>
                      <a:pt x="177249" y="35450"/>
                      <a:pt x="169371" y="27572"/>
                      <a:pt x="169371" y="17725"/>
                    </a:cubicBezTo>
                    <a:cubicBezTo>
                      <a:pt x="169371" y="7878"/>
                      <a:pt x="177249" y="0"/>
                      <a:pt x="187096" y="0"/>
                    </a:cubicBezTo>
                    <a:cubicBezTo>
                      <a:pt x="289507" y="0"/>
                      <a:pt x="373536" y="83373"/>
                      <a:pt x="373536" y="186440"/>
                    </a:cubicBezTo>
                    <a:cubicBezTo>
                      <a:pt x="372223" y="289507"/>
                      <a:pt x="288850" y="373536"/>
                      <a:pt x="186439" y="373536"/>
                    </a:cubicBezTo>
                    <a:lnTo>
                      <a:pt x="186439" y="373536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4" name="Forma Livre: Forma 43">
                <a:extLst>
                  <a:ext uri="{FF2B5EF4-FFF2-40B4-BE49-F238E27FC236}">
                    <a16:creationId xmlns:a16="http://schemas.microsoft.com/office/drawing/2014/main" id="{AC83ABFE-C2A1-4CD3-8623-75059985E261}"/>
                  </a:ext>
                </a:extLst>
              </p:cNvPr>
              <p:cNvSpPr/>
              <p:nvPr/>
            </p:nvSpPr>
            <p:spPr>
              <a:xfrm>
                <a:off x="5532905" y="1596007"/>
                <a:ext cx="83152" cy="141743"/>
              </a:xfrm>
              <a:custGeom>
                <a:avLst/>
                <a:gdLst>
                  <a:gd name="connsiteX0" fmla="*/ 65484 w 83152"/>
                  <a:gd name="connsiteY0" fmla="*/ 141744 h 141743"/>
                  <a:gd name="connsiteX1" fmla="*/ 52354 w 83152"/>
                  <a:gd name="connsiteY1" fmla="*/ 135835 h 141743"/>
                  <a:gd name="connsiteX2" fmla="*/ 4431 w 83152"/>
                  <a:gd name="connsiteY2" fmla="*/ 82661 h 141743"/>
                  <a:gd name="connsiteX3" fmla="*/ 4431 w 83152"/>
                  <a:gd name="connsiteY3" fmla="*/ 59027 h 141743"/>
                  <a:gd name="connsiteX4" fmla="*/ 52354 w 83152"/>
                  <a:gd name="connsiteY4" fmla="*/ 5853 h 141743"/>
                  <a:gd name="connsiteX5" fmla="*/ 77300 w 83152"/>
                  <a:gd name="connsiteY5" fmla="*/ 4540 h 141743"/>
                  <a:gd name="connsiteX6" fmla="*/ 78613 w 83152"/>
                  <a:gd name="connsiteY6" fmla="*/ 29486 h 141743"/>
                  <a:gd name="connsiteX7" fmla="*/ 41194 w 83152"/>
                  <a:gd name="connsiteY7" fmla="*/ 70844 h 141743"/>
                  <a:gd name="connsiteX8" fmla="*/ 78613 w 83152"/>
                  <a:gd name="connsiteY8" fmla="*/ 112202 h 141743"/>
                  <a:gd name="connsiteX9" fmla="*/ 77300 w 83152"/>
                  <a:gd name="connsiteY9" fmla="*/ 137148 h 141743"/>
                  <a:gd name="connsiteX10" fmla="*/ 65484 w 83152"/>
                  <a:gd name="connsiteY10" fmla="*/ 141744 h 141743"/>
                  <a:gd name="connsiteX11" fmla="*/ 65484 w 83152"/>
                  <a:gd name="connsiteY11" fmla="*/ 141744 h 141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3152" h="141743">
                    <a:moveTo>
                      <a:pt x="65484" y="141744"/>
                    </a:moveTo>
                    <a:cubicBezTo>
                      <a:pt x="60888" y="141744"/>
                      <a:pt x="55637" y="139774"/>
                      <a:pt x="52354" y="135835"/>
                    </a:cubicBezTo>
                    <a:lnTo>
                      <a:pt x="4431" y="82661"/>
                    </a:lnTo>
                    <a:cubicBezTo>
                      <a:pt x="-1477" y="76096"/>
                      <a:pt x="-1477" y="66249"/>
                      <a:pt x="4431" y="59027"/>
                    </a:cubicBezTo>
                    <a:lnTo>
                      <a:pt x="52354" y="5853"/>
                    </a:lnTo>
                    <a:cubicBezTo>
                      <a:pt x="58919" y="-1369"/>
                      <a:pt x="70079" y="-2025"/>
                      <a:pt x="77300" y="4540"/>
                    </a:cubicBezTo>
                    <a:cubicBezTo>
                      <a:pt x="84521" y="11104"/>
                      <a:pt x="85178" y="22265"/>
                      <a:pt x="78613" y="29486"/>
                    </a:cubicBezTo>
                    <a:lnTo>
                      <a:pt x="41194" y="70844"/>
                    </a:lnTo>
                    <a:lnTo>
                      <a:pt x="78613" y="112202"/>
                    </a:lnTo>
                    <a:cubicBezTo>
                      <a:pt x="85178" y="119423"/>
                      <a:pt x="84521" y="130583"/>
                      <a:pt x="77300" y="137148"/>
                    </a:cubicBezTo>
                    <a:cubicBezTo>
                      <a:pt x="74018" y="139774"/>
                      <a:pt x="69422" y="141744"/>
                      <a:pt x="65484" y="141744"/>
                    </a:cubicBezTo>
                    <a:lnTo>
                      <a:pt x="65484" y="141744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45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6403943" y="1620241"/>
              <a:ext cx="475178" cy="376161"/>
              <a:chOff x="6403943" y="1620241"/>
              <a:chExt cx="475178" cy="376161"/>
            </a:xfrm>
            <a:grpFill/>
          </p:grpSpPr>
          <p:sp>
            <p:nvSpPr>
              <p:cNvPr id="46" name="Forma Livre: Forma 45">
                <a:extLst>
                  <a:ext uri="{FF2B5EF4-FFF2-40B4-BE49-F238E27FC236}">
                    <a16:creationId xmlns:a16="http://schemas.microsoft.com/office/drawing/2014/main" id="{4A0273B3-978E-4307-9450-B89FC2456495}"/>
                  </a:ext>
                </a:extLst>
              </p:cNvPr>
              <p:cNvSpPr/>
              <p:nvPr/>
            </p:nvSpPr>
            <p:spPr>
              <a:xfrm>
                <a:off x="6737434" y="1764722"/>
                <a:ext cx="141687" cy="83316"/>
              </a:xfrm>
              <a:custGeom>
                <a:avLst/>
                <a:gdLst>
                  <a:gd name="connsiteX0" fmla="*/ 70844 w 141687"/>
                  <a:gd name="connsiteY0" fmla="*/ 83317 h 83316"/>
                  <a:gd name="connsiteX1" fmla="*/ 59027 w 141687"/>
                  <a:gd name="connsiteY1" fmla="*/ 78722 h 83316"/>
                  <a:gd name="connsiteX2" fmla="*/ 5852 w 141687"/>
                  <a:gd name="connsiteY2" fmla="*/ 30799 h 83316"/>
                  <a:gd name="connsiteX3" fmla="*/ 4540 w 141687"/>
                  <a:gd name="connsiteY3" fmla="*/ 5853 h 83316"/>
                  <a:gd name="connsiteX4" fmla="*/ 29486 w 141687"/>
                  <a:gd name="connsiteY4" fmla="*/ 4540 h 83316"/>
                  <a:gd name="connsiteX5" fmla="*/ 70844 w 141687"/>
                  <a:gd name="connsiteY5" fmla="*/ 41959 h 83316"/>
                  <a:gd name="connsiteX6" fmla="*/ 112202 w 141687"/>
                  <a:gd name="connsiteY6" fmla="*/ 4540 h 83316"/>
                  <a:gd name="connsiteX7" fmla="*/ 137148 w 141687"/>
                  <a:gd name="connsiteY7" fmla="*/ 5853 h 83316"/>
                  <a:gd name="connsiteX8" fmla="*/ 135835 w 141687"/>
                  <a:gd name="connsiteY8" fmla="*/ 30799 h 83316"/>
                  <a:gd name="connsiteX9" fmla="*/ 82660 w 141687"/>
                  <a:gd name="connsiteY9" fmla="*/ 78722 h 83316"/>
                  <a:gd name="connsiteX10" fmla="*/ 70844 w 141687"/>
                  <a:gd name="connsiteY10" fmla="*/ 83317 h 83316"/>
                  <a:gd name="connsiteX11" fmla="*/ 70844 w 141687"/>
                  <a:gd name="connsiteY11" fmla="*/ 83317 h 833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41687" h="83316">
                    <a:moveTo>
                      <a:pt x="70844" y="83317"/>
                    </a:moveTo>
                    <a:cubicBezTo>
                      <a:pt x="66905" y="83317"/>
                      <a:pt x="62310" y="82004"/>
                      <a:pt x="59027" y="78722"/>
                    </a:cubicBezTo>
                    <a:lnTo>
                      <a:pt x="5852" y="30799"/>
                    </a:lnTo>
                    <a:cubicBezTo>
                      <a:pt x="-1369" y="24234"/>
                      <a:pt x="-2025" y="13074"/>
                      <a:pt x="4540" y="5853"/>
                    </a:cubicBezTo>
                    <a:cubicBezTo>
                      <a:pt x="11104" y="-1369"/>
                      <a:pt x="22264" y="-2025"/>
                      <a:pt x="29486" y="4540"/>
                    </a:cubicBezTo>
                    <a:lnTo>
                      <a:pt x="70844" y="41959"/>
                    </a:lnTo>
                    <a:lnTo>
                      <a:pt x="112202" y="4540"/>
                    </a:lnTo>
                    <a:cubicBezTo>
                      <a:pt x="119423" y="-2025"/>
                      <a:pt x="130583" y="-1369"/>
                      <a:pt x="137148" y="5853"/>
                    </a:cubicBezTo>
                    <a:cubicBezTo>
                      <a:pt x="143713" y="13074"/>
                      <a:pt x="143056" y="24234"/>
                      <a:pt x="135835" y="30799"/>
                    </a:cubicBezTo>
                    <a:lnTo>
                      <a:pt x="82660" y="78722"/>
                    </a:lnTo>
                    <a:cubicBezTo>
                      <a:pt x="79378" y="82004"/>
                      <a:pt x="74783" y="83317"/>
                      <a:pt x="70844" y="83317"/>
                    </a:cubicBezTo>
                    <a:lnTo>
                      <a:pt x="70844" y="83317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7" name="Forma Livre: Forma 46">
                <a:extLst>
                  <a:ext uri="{FF2B5EF4-FFF2-40B4-BE49-F238E27FC236}">
                    <a16:creationId xmlns:a16="http://schemas.microsoft.com/office/drawing/2014/main" id="{A6024C04-8FD7-4B99-BD6D-F6237C185E2F}"/>
                  </a:ext>
                </a:extLst>
              </p:cNvPr>
              <p:cNvSpPr/>
              <p:nvPr/>
            </p:nvSpPr>
            <p:spPr>
              <a:xfrm>
                <a:off x="6481902" y="1620241"/>
                <a:ext cx="346726" cy="204164"/>
              </a:xfrm>
              <a:custGeom>
                <a:avLst/>
                <a:gdLst>
                  <a:gd name="connsiteX0" fmla="*/ 329002 w 346726"/>
                  <a:gd name="connsiteY0" fmla="*/ 204165 h 204164"/>
                  <a:gd name="connsiteX1" fmla="*/ 311277 w 346726"/>
                  <a:gd name="connsiteY1" fmla="*/ 186440 h 204164"/>
                  <a:gd name="connsiteX2" fmla="*/ 160287 w 346726"/>
                  <a:gd name="connsiteY2" fmla="*/ 35450 h 204164"/>
                  <a:gd name="connsiteX3" fmla="*/ 32274 w 346726"/>
                  <a:gd name="connsiteY3" fmla="*/ 105693 h 204164"/>
                  <a:gd name="connsiteX4" fmla="*/ 7984 w 346726"/>
                  <a:gd name="connsiteY4" fmla="*/ 110945 h 204164"/>
                  <a:gd name="connsiteX5" fmla="*/ 2732 w 346726"/>
                  <a:gd name="connsiteY5" fmla="*/ 86655 h 204164"/>
                  <a:gd name="connsiteX6" fmla="*/ 160287 w 346726"/>
                  <a:gd name="connsiteY6" fmla="*/ 0 h 204164"/>
                  <a:gd name="connsiteX7" fmla="*/ 346726 w 346726"/>
                  <a:gd name="connsiteY7" fmla="*/ 186440 h 204164"/>
                  <a:gd name="connsiteX8" fmla="*/ 329002 w 346726"/>
                  <a:gd name="connsiteY8" fmla="*/ 204165 h 204164"/>
                  <a:gd name="connsiteX9" fmla="*/ 329002 w 346726"/>
                  <a:gd name="connsiteY9" fmla="*/ 204165 h 2041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6726" h="204164">
                    <a:moveTo>
                      <a:pt x="329002" y="204165"/>
                    </a:moveTo>
                    <a:cubicBezTo>
                      <a:pt x="319155" y="204165"/>
                      <a:pt x="311277" y="196287"/>
                      <a:pt x="311277" y="186440"/>
                    </a:cubicBezTo>
                    <a:cubicBezTo>
                      <a:pt x="311277" y="103067"/>
                      <a:pt x="243660" y="35450"/>
                      <a:pt x="160287" y="35450"/>
                    </a:cubicBezTo>
                    <a:cubicBezTo>
                      <a:pt x="108425" y="35450"/>
                      <a:pt x="60502" y="61709"/>
                      <a:pt x="32274" y="105693"/>
                    </a:cubicBezTo>
                    <a:cubicBezTo>
                      <a:pt x="27022" y="113571"/>
                      <a:pt x="16518" y="116197"/>
                      <a:pt x="7984" y="110945"/>
                    </a:cubicBezTo>
                    <a:cubicBezTo>
                      <a:pt x="106" y="105693"/>
                      <a:pt x="-2519" y="95189"/>
                      <a:pt x="2732" y="86655"/>
                    </a:cubicBezTo>
                    <a:cubicBezTo>
                      <a:pt x="36869" y="32824"/>
                      <a:pt x="95952" y="0"/>
                      <a:pt x="160287" y="0"/>
                    </a:cubicBezTo>
                    <a:cubicBezTo>
                      <a:pt x="262697" y="0"/>
                      <a:pt x="346726" y="83373"/>
                      <a:pt x="346726" y="186440"/>
                    </a:cubicBezTo>
                    <a:cubicBezTo>
                      <a:pt x="346070" y="196287"/>
                      <a:pt x="338849" y="204165"/>
                      <a:pt x="329002" y="204165"/>
                    </a:cubicBezTo>
                    <a:lnTo>
                      <a:pt x="329002" y="204165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8" name="Forma Livre: Forma 47">
                <a:extLst>
                  <a:ext uri="{FF2B5EF4-FFF2-40B4-BE49-F238E27FC236}">
                    <a16:creationId xmlns:a16="http://schemas.microsoft.com/office/drawing/2014/main" id="{2E11D657-1CED-473A-BB53-BD01F23A22EC}"/>
                  </a:ext>
                </a:extLst>
              </p:cNvPr>
              <p:cNvSpPr/>
              <p:nvPr/>
            </p:nvSpPr>
            <p:spPr>
              <a:xfrm>
                <a:off x="6456405" y="1792238"/>
                <a:ext cx="346726" cy="204164"/>
              </a:xfrm>
              <a:custGeom>
                <a:avLst/>
                <a:gdLst>
                  <a:gd name="connsiteX0" fmla="*/ 186439 w 346726"/>
                  <a:gd name="connsiteY0" fmla="*/ 204165 h 204164"/>
                  <a:gd name="connsiteX1" fmla="*/ 0 w 346726"/>
                  <a:gd name="connsiteY1" fmla="*/ 17725 h 204164"/>
                  <a:gd name="connsiteX2" fmla="*/ 17725 w 346726"/>
                  <a:gd name="connsiteY2" fmla="*/ 0 h 204164"/>
                  <a:gd name="connsiteX3" fmla="*/ 35450 w 346726"/>
                  <a:gd name="connsiteY3" fmla="*/ 17725 h 204164"/>
                  <a:gd name="connsiteX4" fmla="*/ 186439 w 346726"/>
                  <a:gd name="connsiteY4" fmla="*/ 169371 h 204164"/>
                  <a:gd name="connsiteX5" fmla="*/ 314453 w 346726"/>
                  <a:gd name="connsiteY5" fmla="*/ 99128 h 204164"/>
                  <a:gd name="connsiteX6" fmla="*/ 338742 w 346726"/>
                  <a:gd name="connsiteY6" fmla="*/ 93876 h 204164"/>
                  <a:gd name="connsiteX7" fmla="*/ 343994 w 346726"/>
                  <a:gd name="connsiteY7" fmla="*/ 118166 h 204164"/>
                  <a:gd name="connsiteX8" fmla="*/ 186439 w 346726"/>
                  <a:gd name="connsiteY8" fmla="*/ 204165 h 204164"/>
                  <a:gd name="connsiteX9" fmla="*/ 186439 w 346726"/>
                  <a:gd name="connsiteY9" fmla="*/ 204165 h 2041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6726" h="204164">
                    <a:moveTo>
                      <a:pt x="186439" y="204165"/>
                    </a:moveTo>
                    <a:cubicBezTo>
                      <a:pt x="84029" y="204165"/>
                      <a:pt x="0" y="120792"/>
                      <a:pt x="0" y="17725"/>
                    </a:cubicBezTo>
                    <a:cubicBezTo>
                      <a:pt x="0" y="7878"/>
                      <a:pt x="7877" y="0"/>
                      <a:pt x="17725" y="0"/>
                    </a:cubicBezTo>
                    <a:cubicBezTo>
                      <a:pt x="27572" y="0"/>
                      <a:pt x="35450" y="7878"/>
                      <a:pt x="35450" y="17725"/>
                    </a:cubicBezTo>
                    <a:cubicBezTo>
                      <a:pt x="35450" y="101098"/>
                      <a:pt x="103067" y="169371"/>
                      <a:pt x="186439" y="169371"/>
                    </a:cubicBezTo>
                    <a:cubicBezTo>
                      <a:pt x="238301" y="169371"/>
                      <a:pt x="286224" y="143112"/>
                      <a:pt x="314453" y="99128"/>
                    </a:cubicBezTo>
                    <a:cubicBezTo>
                      <a:pt x="319704" y="91250"/>
                      <a:pt x="330208" y="88625"/>
                      <a:pt x="338742" y="93876"/>
                    </a:cubicBezTo>
                    <a:cubicBezTo>
                      <a:pt x="346620" y="99128"/>
                      <a:pt x="349246" y="109632"/>
                      <a:pt x="343994" y="118166"/>
                    </a:cubicBezTo>
                    <a:cubicBezTo>
                      <a:pt x="309201" y="171997"/>
                      <a:pt x="250774" y="204165"/>
                      <a:pt x="186439" y="204165"/>
                    </a:cubicBezTo>
                    <a:lnTo>
                      <a:pt x="186439" y="204165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9" name="Forma Livre: Forma 48">
                <a:extLst>
                  <a:ext uri="{FF2B5EF4-FFF2-40B4-BE49-F238E27FC236}">
                    <a16:creationId xmlns:a16="http://schemas.microsoft.com/office/drawing/2014/main" id="{B07CA9EF-22C7-4882-B575-15EF7F5CC56B}"/>
                  </a:ext>
                </a:extLst>
              </p:cNvPr>
              <p:cNvSpPr/>
              <p:nvPr/>
            </p:nvSpPr>
            <p:spPr>
              <a:xfrm>
                <a:off x="6403943" y="1768112"/>
                <a:ext cx="141687" cy="83208"/>
              </a:xfrm>
              <a:custGeom>
                <a:avLst/>
                <a:gdLst>
                  <a:gd name="connsiteX0" fmla="*/ 124019 w 141687"/>
                  <a:gd name="connsiteY0" fmla="*/ 83209 h 83208"/>
                  <a:gd name="connsiteX1" fmla="*/ 112202 w 141687"/>
                  <a:gd name="connsiteY1" fmla="*/ 78613 h 83208"/>
                  <a:gd name="connsiteX2" fmla="*/ 70844 w 141687"/>
                  <a:gd name="connsiteY2" fmla="*/ 41194 h 83208"/>
                  <a:gd name="connsiteX3" fmla="*/ 29486 w 141687"/>
                  <a:gd name="connsiteY3" fmla="*/ 78613 h 83208"/>
                  <a:gd name="connsiteX4" fmla="*/ 4540 w 141687"/>
                  <a:gd name="connsiteY4" fmla="*/ 77300 h 83208"/>
                  <a:gd name="connsiteX5" fmla="*/ 5853 w 141687"/>
                  <a:gd name="connsiteY5" fmla="*/ 52354 h 83208"/>
                  <a:gd name="connsiteX6" fmla="*/ 59028 w 141687"/>
                  <a:gd name="connsiteY6" fmla="*/ 4431 h 83208"/>
                  <a:gd name="connsiteX7" fmla="*/ 82661 w 141687"/>
                  <a:gd name="connsiteY7" fmla="*/ 4431 h 83208"/>
                  <a:gd name="connsiteX8" fmla="*/ 135835 w 141687"/>
                  <a:gd name="connsiteY8" fmla="*/ 52354 h 83208"/>
                  <a:gd name="connsiteX9" fmla="*/ 137148 w 141687"/>
                  <a:gd name="connsiteY9" fmla="*/ 77300 h 83208"/>
                  <a:gd name="connsiteX10" fmla="*/ 124019 w 141687"/>
                  <a:gd name="connsiteY10" fmla="*/ 83209 h 83208"/>
                  <a:gd name="connsiteX11" fmla="*/ 124019 w 141687"/>
                  <a:gd name="connsiteY11" fmla="*/ 83209 h 832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41687" h="83208">
                    <a:moveTo>
                      <a:pt x="124019" y="83209"/>
                    </a:moveTo>
                    <a:cubicBezTo>
                      <a:pt x="120080" y="83209"/>
                      <a:pt x="115484" y="81896"/>
                      <a:pt x="112202" y="78613"/>
                    </a:cubicBezTo>
                    <a:lnTo>
                      <a:pt x="70844" y="41194"/>
                    </a:lnTo>
                    <a:lnTo>
                      <a:pt x="29486" y="78613"/>
                    </a:lnTo>
                    <a:cubicBezTo>
                      <a:pt x="22265" y="85178"/>
                      <a:pt x="11104" y="84522"/>
                      <a:pt x="4540" y="77300"/>
                    </a:cubicBezTo>
                    <a:cubicBezTo>
                      <a:pt x="-2025" y="70079"/>
                      <a:pt x="-1369" y="58919"/>
                      <a:pt x="5853" y="52354"/>
                    </a:cubicBezTo>
                    <a:lnTo>
                      <a:pt x="59028" y="4431"/>
                    </a:lnTo>
                    <a:cubicBezTo>
                      <a:pt x="65592" y="-1477"/>
                      <a:pt x="75439" y="-1477"/>
                      <a:pt x="82661" y="4431"/>
                    </a:cubicBezTo>
                    <a:lnTo>
                      <a:pt x="135835" y="52354"/>
                    </a:lnTo>
                    <a:cubicBezTo>
                      <a:pt x="143057" y="58919"/>
                      <a:pt x="143713" y="70079"/>
                      <a:pt x="137148" y="77300"/>
                    </a:cubicBezTo>
                    <a:cubicBezTo>
                      <a:pt x="133866" y="81239"/>
                      <a:pt x="128614" y="83209"/>
                      <a:pt x="124019" y="83209"/>
                    </a:cubicBezTo>
                    <a:lnTo>
                      <a:pt x="124019" y="83209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50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1064097" y="512763"/>
              <a:ext cx="439840" cy="1494143"/>
              <a:chOff x="1064097" y="512763"/>
              <a:chExt cx="439840" cy="1494143"/>
            </a:xfrm>
            <a:grpFill/>
          </p:grpSpPr>
          <p:sp>
            <p:nvSpPr>
              <p:cNvPr id="51" name="Forma Livre: Forma 50">
                <a:extLst>
                  <a:ext uri="{FF2B5EF4-FFF2-40B4-BE49-F238E27FC236}">
                    <a16:creationId xmlns:a16="http://schemas.microsoft.com/office/drawing/2014/main" id="{D332727E-5488-4BD1-8BFC-6DA960AB1B4E}"/>
                  </a:ext>
                </a:extLst>
              </p:cNvPr>
              <p:cNvSpPr/>
              <p:nvPr/>
            </p:nvSpPr>
            <p:spPr>
              <a:xfrm>
                <a:off x="1307322" y="1836550"/>
                <a:ext cx="102410" cy="170356"/>
              </a:xfrm>
              <a:custGeom>
                <a:avLst/>
                <a:gdLst>
                  <a:gd name="connsiteX0" fmla="*/ 85014 w 102410"/>
                  <a:gd name="connsiteY0" fmla="*/ 170356 h 170356"/>
                  <a:gd name="connsiteX1" fmla="*/ 72541 w 102410"/>
                  <a:gd name="connsiteY1" fmla="*/ 165104 h 170356"/>
                  <a:gd name="connsiteX2" fmla="*/ 4924 w 102410"/>
                  <a:gd name="connsiteY2" fmla="*/ 97487 h 170356"/>
                  <a:gd name="connsiteX3" fmla="*/ 4924 w 102410"/>
                  <a:gd name="connsiteY3" fmla="*/ 72541 h 170356"/>
                  <a:gd name="connsiteX4" fmla="*/ 72541 w 102410"/>
                  <a:gd name="connsiteY4" fmla="*/ 4924 h 170356"/>
                  <a:gd name="connsiteX5" fmla="*/ 97487 w 102410"/>
                  <a:gd name="connsiteY5" fmla="*/ 4924 h 170356"/>
                  <a:gd name="connsiteX6" fmla="*/ 97487 w 102410"/>
                  <a:gd name="connsiteY6" fmla="*/ 29870 h 170356"/>
                  <a:gd name="connsiteX7" fmla="*/ 42343 w 102410"/>
                  <a:gd name="connsiteY7" fmla="*/ 85014 h 170356"/>
                  <a:gd name="connsiteX8" fmla="*/ 97487 w 102410"/>
                  <a:gd name="connsiteY8" fmla="*/ 140158 h 170356"/>
                  <a:gd name="connsiteX9" fmla="*/ 97487 w 102410"/>
                  <a:gd name="connsiteY9" fmla="*/ 165104 h 170356"/>
                  <a:gd name="connsiteX10" fmla="*/ 85014 w 102410"/>
                  <a:gd name="connsiteY10" fmla="*/ 170356 h 170356"/>
                  <a:gd name="connsiteX11" fmla="*/ 85014 w 102410"/>
                  <a:gd name="connsiteY11" fmla="*/ 170356 h 1703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2410" h="170356">
                    <a:moveTo>
                      <a:pt x="85014" y="170356"/>
                    </a:moveTo>
                    <a:cubicBezTo>
                      <a:pt x="80419" y="170356"/>
                      <a:pt x="75823" y="168387"/>
                      <a:pt x="72541" y="165104"/>
                    </a:cubicBezTo>
                    <a:lnTo>
                      <a:pt x="4924" y="97487"/>
                    </a:lnTo>
                    <a:cubicBezTo>
                      <a:pt x="-1641" y="90922"/>
                      <a:pt x="-1641" y="79762"/>
                      <a:pt x="4924" y="72541"/>
                    </a:cubicBezTo>
                    <a:lnTo>
                      <a:pt x="72541" y="4924"/>
                    </a:lnTo>
                    <a:cubicBezTo>
                      <a:pt x="79106" y="-1641"/>
                      <a:pt x="90266" y="-1641"/>
                      <a:pt x="97487" y="4924"/>
                    </a:cubicBezTo>
                    <a:cubicBezTo>
                      <a:pt x="104052" y="11488"/>
                      <a:pt x="104052" y="22649"/>
                      <a:pt x="97487" y="29870"/>
                    </a:cubicBezTo>
                    <a:lnTo>
                      <a:pt x="42343" y="85014"/>
                    </a:lnTo>
                    <a:lnTo>
                      <a:pt x="97487" y="140158"/>
                    </a:lnTo>
                    <a:cubicBezTo>
                      <a:pt x="104052" y="146723"/>
                      <a:pt x="104052" y="157883"/>
                      <a:pt x="97487" y="165104"/>
                    </a:cubicBezTo>
                    <a:cubicBezTo>
                      <a:pt x="93548" y="169043"/>
                      <a:pt x="89609" y="170356"/>
                      <a:pt x="85014" y="170356"/>
                    </a:cubicBezTo>
                    <a:lnTo>
                      <a:pt x="85014" y="170356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52" name="Forma Livre: Forma 51">
                <a:extLst>
                  <a:ext uri="{FF2B5EF4-FFF2-40B4-BE49-F238E27FC236}">
                    <a16:creationId xmlns:a16="http://schemas.microsoft.com/office/drawing/2014/main" id="{595E2D05-76E4-4428-9B77-144ED12AEC74}"/>
                  </a:ext>
                </a:extLst>
              </p:cNvPr>
              <p:cNvSpPr/>
              <p:nvPr/>
            </p:nvSpPr>
            <p:spPr>
              <a:xfrm>
                <a:off x="1064097" y="512763"/>
                <a:ext cx="6564" cy="6564"/>
              </a:xfrm>
              <a:custGeom>
                <a:avLst/>
                <a:gdLst/>
                <a:ahLst/>
                <a:cxnLst/>
                <a:rect l="l" t="t" r="r" b="b"/>
                <a:pathLst>
                  <a:path w="6564" h="6564"/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53" name="Forma Livre: Forma 52">
                <a:extLst>
                  <a:ext uri="{FF2B5EF4-FFF2-40B4-BE49-F238E27FC236}">
                    <a16:creationId xmlns:a16="http://schemas.microsoft.com/office/drawing/2014/main" id="{456712CB-29C3-4838-A9BB-50D9F11ABDF2}"/>
                  </a:ext>
                </a:extLst>
              </p:cNvPr>
              <p:cNvSpPr/>
              <p:nvPr/>
            </p:nvSpPr>
            <p:spPr>
              <a:xfrm>
                <a:off x="1083134" y="1611706"/>
                <a:ext cx="420802" cy="329551"/>
              </a:xfrm>
              <a:custGeom>
                <a:avLst/>
                <a:gdLst>
                  <a:gd name="connsiteX0" fmla="*/ 355811 w 420802"/>
                  <a:gd name="connsiteY0" fmla="*/ 329552 h 329551"/>
                  <a:gd name="connsiteX1" fmla="*/ 263904 w 420802"/>
                  <a:gd name="connsiteY1" fmla="*/ 329552 h 329551"/>
                  <a:gd name="connsiteX2" fmla="*/ 247492 w 420802"/>
                  <a:gd name="connsiteY2" fmla="*/ 313140 h 329551"/>
                  <a:gd name="connsiteX3" fmla="*/ 263904 w 420802"/>
                  <a:gd name="connsiteY3" fmla="*/ 296728 h 329551"/>
                  <a:gd name="connsiteX4" fmla="*/ 355811 w 420802"/>
                  <a:gd name="connsiteY4" fmla="*/ 296728 h 329551"/>
                  <a:gd name="connsiteX5" fmla="*/ 388635 w 420802"/>
                  <a:gd name="connsiteY5" fmla="*/ 263904 h 329551"/>
                  <a:gd name="connsiteX6" fmla="*/ 388635 w 420802"/>
                  <a:gd name="connsiteY6" fmla="*/ 64335 h 329551"/>
                  <a:gd name="connsiteX7" fmla="*/ 355811 w 420802"/>
                  <a:gd name="connsiteY7" fmla="*/ 31511 h 329551"/>
                  <a:gd name="connsiteX8" fmla="*/ 64991 w 420802"/>
                  <a:gd name="connsiteY8" fmla="*/ 31511 h 329551"/>
                  <a:gd name="connsiteX9" fmla="*/ 32167 w 420802"/>
                  <a:gd name="connsiteY9" fmla="*/ 64335 h 329551"/>
                  <a:gd name="connsiteX10" fmla="*/ 32167 w 420802"/>
                  <a:gd name="connsiteY10" fmla="*/ 263904 h 329551"/>
                  <a:gd name="connsiteX11" fmla="*/ 64991 w 420802"/>
                  <a:gd name="connsiteY11" fmla="*/ 296728 h 329551"/>
                  <a:gd name="connsiteX12" fmla="*/ 156898 w 420802"/>
                  <a:gd name="connsiteY12" fmla="*/ 296728 h 329551"/>
                  <a:gd name="connsiteX13" fmla="*/ 173310 w 420802"/>
                  <a:gd name="connsiteY13" fmla="*/ 313140 h 329551"/>
                  <a:gd name="connsiteX14" fmla="*/ 156898 w 420802"/>
                  <a:gd name="connsiteY14" fmla="*/ 329552 h 329551"/>
                  <a:gd name="connsiteX15" fmla="*/ 64991 w 420802"/>
                  <a:gd name="connsiteY15" fmla="*/ 329552 h 329551"/>
                  <a:gd name="connsiteX16" fmla="*/ 0 w 420802"/>
                  <a:gd name="connsiteY16" fmla="*/ 264561 h 329551"/>
                  <a:gd name="connsiteX17" fmla="*/ 0 w 420802"/>
                  <a:gd name="connsiteY17" fmla="*/ 64991 h 329551"/>
                  <a:gd name="connsiteX18" fmla="*/ 64991 w 420802"/>
                  <a:gd name="connsiteY18" fmla="*/ 0 h 329551"/>
                  <a:gd name="connsiteX19" fmla="*/ 355811 w 420802"/>
                  <a:gd name="connsiteY19" fmla="*/ 0 h 329551"/>
                  <a:gd name="connsiteX20" fmla="*/ 420802 w 420802"/>
                  <a:gd name="connsiteY20" fmla="*/ 64991 h 329551"/>
                  <a:gd name="connsiteX21" fmla="*/ 420802 w 420802"/>
                  <a:gd name="connsiteY21" fmla="*/ 264561 h 329551"/>
                  <a:gd name="connsiteX22" fmla="*/ 355811 w 420802"/>
                  <a:gd name="connsiteY22" fmla="*/ 329552 h 329551"/>
                  <a:gd name="connsiteX23" fmla="*/ 355811 w 420802"/>
                  <a:gd name="connsiteY23" fmla="*/ 329552 h 3295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420802" h="329551">
                    <a:moveTo>
                      <a:pt x="355811" y="329552"/>
                    </a:moveTo>
                    <a:lnTo>
                      <a:pt x="263904" y="329552"/>
                    </a:lnTo>
                    <a:cubicBezTo>
                      <a:pt x="254713" y="329552"/>
                      <a:pt x="247492" y="322331"/>
                      <a:pt x="247492" y="313140"/>
                    </a:cubicBezTo>
                    <a:cubicBezTo>
                      <a:pt x="247492" y="303949"/>
                      <a:pt x="254713" y="296728"/>
                      <a:pt x="263904" y="296728"/>
                    </a:cubicBezTo>
                    <a:lnTo>
                      <a:pt x="355811" y="296728"/>
                    </a:lnTo>
                    <a:cubicBezTo>
                      <a:pt x="373536" y="296728"/>
                      <a:pt x="388635" y="282286"/>
                      <a:pt x="388635" y="263904"/>
                    </a:cubicBezTo>
                    <a:lnTo>
                      <a:pt x="388635" y="64335"/>
                    </a:lnTo>
                    <a:cubicBezTo>
                      <a:pt x="388635" y="46610"/>
                      <a:pt x="374192" y="31511"/>
                      <a:pt x="355811" y="31511"/>
                    </a:cubicBezTo>
                    <a:lnTo>
                      <a:pt x="64991" y="31511"/>
                    </a:lnTo>
                    <a:cubicBezTo>
                      <a:pt x="47266" y="31511"/>
                      <a:pt x="32167" y="45953"/>
                      <a:pt x="32167" y="64335"/>
                    </a:cubicBezTo>
                    <a:lnTo>
                      <a:pt x="32167" y="263904"/>
                    </a:lnTo>
                    <a:cubicBezTo>
                      <a:pt x="32167" y="281629"/>
                      <a:pt x="46610" y="296728"/>
                      <a:pt x="64991" y="296728"/>
                    </a:cubicBezTo>
                    <a:lnTo>
                      <a:pt x="156898" y="296728"/>
                    </a:lnTo>
                    <a:cubicBezTo>
                      <a:pt x="166089" y="296728"/>
                      <a:pt x="173310" y="303949"/>
                      <a:pt x="173310" y="313140"/>
                    </a:cubicBezTo>
                    <a:cubicBezTo>
                      <a:pt x="173310" y="322331"/>
                      <a:pt x="166089" y="329552"/>
                      <a:pt x="156898" y="329552"/>
                    </a:cubicBezTo>
                    <a:lnTo>
                      <a:pt x="64991" y="329552"/>
                    </a:lnTo>
                    <a:cubicBezTo>
                      <a:pt x="28885" y="329552"/>
                      <a:pt x="0" y="300667"/>
                      <a:pt x="0" y="264561"/>
                    </a:cubicBezTo>
                    <a:lnTo>
                      <a:pt x="0" y="64991"/>
                    </a:lnTo>
                    <a:cubicBezTo>
                      <a:pt x="0" y="28885"/>
                      <a:pt x="28885" y="0"/>
                      <a:pt x="64991" y="0"/>
                    </a:cubicBezTo>
                    <a:lnTo>
                      <a:pt x="355811" y="0"/>
                    </a:lnTo>
                    <a:cubicBezTo>
                      <a:pt x="391917" y="0"/>
                      <a:pt x="420802" y="28885"/>
                      <a:pt x="420802" y="64991"/>
                    </a:cubicBezTo>
                    <a:lnTo>
                      <a:pt x="420802" y="264561"/>
                    </a:lnTo>
                    <a:cubicBezTo>
                      <a:pt x="420802" y="300010"/>
                      <a:pt x="391917" y="329552"/>
                      <a:pt x="355811" y="329552"/>
                    </a:cubicBezTo>
                    <a:lnTo>
                      <a:pt x="355811" y="329552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54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2147941" y="1609409"/>
              <a:ext cx="421458" cy="397497"/>
              <a:chOff x="2147941" y="1609409"/>
              <a:chExt cx="421458" cy="397497"/>
            </a:xfrm>
            <a:grpFill/>
          </p:grpSpPr>
          <p:sp>
            <p:nvSpPr>
              <p:cNvPr id="55" name="Forma Livre: Forma 54">
                <a:extLst>
                  <a:ext uri="{FF2B5EF4-FFF2-40B4-BE49-F238E27FC236}">
                    <a16:creationId xmlns:a16="http://schemas.microsoft.com/office/drawing/2014/main" id="{04F67E8C-A777-44C5-8519-255428721C26}"/>
                  </a:ext>
                </a:extLst>
              </p:cNvPr>
              <p:cNvSpPr/>
              <p:nvPr/>
            </p:nvSpPr>
            <p:spPr>
              <a:xfrm>
                <a:off x="2441059" y="1609409"/>
                <a:ext cx="102410" cy="170355"/>
              </a:xfrm>
              <a:custGeom>
                <a:avLst/>
                <a:gdLst>
                  <a:gd name="connsiteX0" fmla="*/ 17397 w 102410"/>
                  <a:gd name="connsiteY0" fmla="*/ 170356 h 170355"/>
                  <a:gd name="connsiteX1" fmla="*/ 4924 w 102410"/>
                  <a:gd name="connsiteY1" fmla="*/ 165104 h 170355"/>
                  <a:gd name="connsiteX2" fmla="*/ 4924 w 102410"/>
                  <a:gd name="connsiteY2" fmla="*/ 140158 h 170355"/>
                  <a:gd name="connsiteX3" fmla="*/ 60068 w 102410"/>
                  <a:gd name="connsiteY3" fmla="*/ 85014 h 170355"/>
                  <a:gd name="connsiteX4" fmla="*/ 4924 w 102410"/>
                  <a:gd name="connsiteY4" fmla="*/ 29870 h 170355"/>
                  <a:gd name="connsiteX5" fmla="*/ 4924 w 102410"/>
                  <a:gd name="connsiteY5" fmla="*/ 4924 h 170355"/>
                  <a:gd name="connsiteX6" fmla="*/ 29870 w 102410"/>
                  <a:gd name="connsiteY6" fmla="*/ 4924 h 170355"/>
                  <a:gd name="connsiteX7" fmla="*/ 97487 w 102410"/>
                  <a:gd name="connsiteY7" fmla="*/ 72541 h 170355"/>
                  <a:gd name="connsiteX8" fmla="*/ 97487 w 102410"/>
                  <a:gd name="connsiteY8" fmla="*/ 97487 h 170355"/>
                  <a:gd name="connsiteX9" fmla="*/ 29870 w 102410"/>
                  <a:gd name="connsiteY9" fmla="*/ 165104 h 170355"/>
                  <a:gd name="connsiteX10" fmla="*/ 17397 w 102410"/>
                  <a:gd name="connsiteY10" fmla="*/ 170356 h 170355"/>
                  <a:gd name="connsiteX11" fmla="*/ 17397 w 102410"/>
                  <a:gd name="connsiteY11" fmla="*/ 170356 h 170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2410" h="170355">
                    <a:moveTo>
                      <a:pt x="17397" y="170356"/>
                    </a:moveTo>
                    <a:cubicBezTo>
                      <a:pt x="12801" y="170356"/>
                      <a:pt x="8206" y="168387"/>
                      <a:pt x="4924" y="165104"/>
                    </a:cubicBezTo>
                    <a:cubicBezTo>
                      <a:pt x="-1641" y="158539"/>
                      <a:pt x="-1641" y="147379"/>
                      <a:pt x="4924" y="140158"/>
                    </a:cubicBezTo>
                    <a:lnTo>
                      <a:pt x="60068" y="85014"/>
                    </a:lnTo>
                    <a:lnTo>
                      <a:pt x="4924" y="29870"/>
                    </a:lnTo>
                    <a:cubicBezTo>
                      <a:pt x="-1641" y="23305"/>
                      <a:pt x="-1641" y="12145"/>
                      <a:pt x="4924" y="4924"/>
                    </a:cubicBezTo>
                    <a:cubicBezTo>
                      <a:pt x="11488" y="-1641"/>
                      <a:pt x="22648" y="-1641"/>
                      <a:pt x="29870" y="4924"/>
                    </a:cubicBezTo>
                    <a:lnTo>
                      <a:pt x="97487" y="72541"/>
                    </a:lnTo>
                    <a:cubicBezTo>
                      <a:pt x="104052" y="79106"/>
                      <a:pt x="104052" y="90266"/>
                      <a:pt x="97487" y="97487"/>
                    </a:cubicBezTo>
                    <a:lnTo>
                      <a:pt x="29870" y="165104"/>
                    </a:lnTo>
                    <a:cubicBezTo>
                      <a:pt x="26587" y="169043"/>
                      <a:pt x="21992" y="170356"/>
                      <a:pt x="17397" y="170356"/>
                    </a:cubicBezTo>
                    <a:lnTo>
                      <a:pt x="17397" y="170356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56" name="Forma Livre: Forma 55">
                <a:extLst>
                  <a:ext uri="{FF2B5EF4-FFF2-40B4-BE49-F238E27FC236}">
                    <a16:creationId xmlns:a16="http://schemas.microsoft.com/office/drawing/2014/main" id="{BC6A873A-EF44-4850-9EC7-FDE82FCE91C3}"/>
                  </a:ext>
                </a:extLst>
              </p:cNvPr>
              <p:cNvSpPr/>
              <p:nvPr/>
            </p:nvSpPr>
            <p:spPr>
              <a:xfrm>
                <a:off x="2147941" y="1677354"/>
                <a:ext cx="421458" cy="329551"/>
              </a:xfrm>
              <a:custGeom>
                <a:avLst/>
                <a:gdLst>
                  <a:gd name="connsiteX0" fmla="*/ 356467 w 421458"/>
                  <a:gd name="connsiteY0" fmla="*/ 329552 h 329551"/>
                  <a:gd name="connsiteX1" fmla="*/ 64991 w 421458"/>
                  <a:gd name="connsiteY1" fmla="*/ 329552 h 329551"/>
                  <a:gd name="connsiteX2" fmla="*/ 0 w 421458"/>
                  <a:gd name="connsiteY2" fmla="*/ 264561 h 329551"/>
                  <a:gd name="connsiteX3" fmla="*/ 0 w 421458"/>
                  <a:gd name="connsiteY3" fmla="*/ 64991 h 329551"/>
                  <a:gd name="connsiteX4" fmla="*/ 64991 w 421458"/>
                  <a:gd name="connsiteY4" fmla="*/ 0 h 329551"/>
                  <a:gd name="connsiteX5" fmla="*/ 172654 w 421458"/>
                  <a:gd name="connsiteY5" fmla="*/ 0 h 329551"/>
                  <a:gd name="connsiteX6" fmla="*/ 189066 w 421458"/>
                  <a:gd name="connsiteY6" fmla="*/ 16412 h 329551"/>
                  <a:gd name="connsiteX7" fmla="*/ 172654 w 421458"/>
                  <a:gd name="connsiteY7" fmla="*/ 32824 h 329551"/>
                  <a:gd name="connsiteX8" fmla="*/ 64991 w 421458"/>
                  <a:gd name="connsiteY8" fmla="*/ 32824 h 329551"/>
                  <a:gd name="connsiteX9" fmla="*/ 32167 w 421458"/>
                  <a:gd name="connsiteY9" fmla="*/ 65648 h 329551"/>
                  <a:gd name="connsiteX10" fmla="*/ 32167 w 421458"/>
                  <a:gd name="connsiteY10" fmla="*/ 265217 h 329551"/>
                  <a:gd name="connsiteX11" fmla="*/ 64991 w 421458"/>
                  <a:gd name="connsiteY11" fmla="*/ 298041 h 329551"/>
                  <a:gd name="connsiteX12" fmla="*/ 355811 w 421458"/>
                  <a:gd name="connsiteY12" fmla="*/ 298041 h 329551"/>
                  <a:gd name="connsiteX13" fmla="*/ 388635 w 421458"/>
                  <a:gd name="connsiteY13" fmla="*/ 265217 h 329551"/>
                  <a:gd name="connsiteX14" fmla="*/ 388635 w 421458"/>
                  <a:gd name="connsiteY14" fmla="*/ 65648 h 329551"/>
                  <a:gd name="connsiteX15" fmla="*/ 405047 w 421458"/>
                  <a:gd name="connsiteY15" fmla="*/ 49236 h 329551"/>
                  <a:gd name="connsiteX16" fmla="*/ 421459 w 421458"/>
                  <a:gd name="connsiteY16" fmla="*/ 65648 h 329551"/>
                  <a:gd name="connsiteX17" fmla="*/ 421459 w 421458"/>
                  <a:gd name="connsiteY17" fmla="*/ 265217 h 329551"/>
                  <a:gd name="connsiteX18" fmla="*/ 356467 w 421458"/>
                  <a:gd name="connsiteY18" fmla="*/ 329552 h 329551"/>
                  <a:gd name="connsiteX19" fmla="*/ 356467 w 421458"/>
                  <a:gd name="connsiteY19" fmla="*/ 329552 h 3295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421458" h="329551">
                    <a:moveTo>
                      <a:pt x="356467" y="329552"/>
                    </a:moveTo>
                    <a:lnTo>
                      <a:pt x="64991" y="329552"/>
                    </a:lnTo>
                    <a:cubicBezTo>
                      <a:pt x="28885" y="329552"/>
                      <a:pt x="0" y="300667"/>
                      <a:pt x="0" y="264561"/>
                    </a:cubicBezTo>
                    <a:lnTo>
                      <a:pt x="0" y="64991"/>
                    </a:lnTo>
                    <a:cubicBezTo>
                      <a:pt x="0" y="28885"/>
                      <a:pt x="28885" y="0"/>
                      <a:pt x="64991" y="0"/>
                    </a:cubicBezTo>
                    <a:lnTo>
                      <a:pt x="172654" y="0"/>
                    </a:lnTo>
                    <a:cubicBezTo>
                      <a:pt x="181844" y="0"/>
                      <a:pt x="189066" y="7221"/>
                      <a:pt x="189066" y="16412"/>
                    </a:cubicBezTo>
                    <a:cubicBezTo>
                      <a:pt x="189066" y="25603"/>
                      <a:pt x="181844" y="32824"/>
                      <a:pt x="172654" y="32824"/>
                    </a:cubicBezTo>
                    <a:lnTo>
                      <a:pt x="64991" y="32824"/>
                    </a:lnTo>
                    <a:cubicBezTo>
                      <a:pt x="47266" y="32824"/>
                      <a:pt x="32167" y="47266"/>
                      <a:pt x="32167" y="65648"/>
                    </a:cubicBezTo>
                    <a:lnTo>
                      <a:pt x="32167" y="265217"/>
                    </a:lnTo>
                    <a:cubicBezTo>
                      <a:pt x="32167" y="282942"/>
                      <a:pt x="46610" y="298041"/>
                      <a:pt x="64991" y="298041"/>
                    </a:cubicBezTo>
                    <a:lnTo>
                      <a:pt x="355811" y="298041"/>
                    </a:lnTo>
                    <a:cubicBezTo>
                      <a:pt x="373536" y="298041"/>
                      <a:pt x="388635" y="283599"/>
                      <a:pt x="388635" y="265217"/>
                    </a:cubicBezTo>
                    <a:lnTo>
                      <a:pt x="388635" y="65648"/>
                    </a:lnTo>
                    <a:cubicBezTo>
                      <a:pt x="388635" y="56457"/>
                      <a:pt x="395856" y="49236"/>
                      <a:pt x="405047" y="49236"/>
                    </a:cubicBezTo>
                    <a:cubicBezTo>
                      <a:pt x="414237" y="49236"/>
                      <a:pt x="421459" y="56457"/>
                      <a:pt x="421459" y="65648"/>
                    </a:cubicBezTo>
                    <a:lnTo>
                      <a:pt x="421459" y="265217"/>
                    </a:lnTo>
                    <a:cubicBezTo>
                      <a:pt x="421459" y="300010"/>
                      <a:pt x="391917" y="329552"/>
                      <a:pt x="356467" y="329552"/>
                    </a:cubicBezTo>
                    <a:lnTo>
                      <a:pt x="356467" y="329552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57" name="Forma Livre: Forma 56">
                <a:extLst>
                  <a:ext uri="{FF2B5EF4-FFF2-40B4-BE49-F238E27FC236}">
                    <a16:creationId xmlns:a16="http://schemas.microsoft.com/office/drawing/2014/main" id="{D60BD184-64E6-4C7B-B83D-F3D781CB57D2}"/>
                  </a:ext>
                </a:extLst>
              </p:cNvPr>
              <p:cNvSpPr/>
              <p:nvPr/>
            </p:nvSpPr>
            <p:spPr>
              <a:xfrm>
                <a:off x="2211269" y="1677354"/>
                <a:ext cx="308895" cy="261934"/>
              </a:xfrm>
              <a:custGeom>
                <a:avLst/>
                <a:gdLst>
                  <a:gd name="connsiteX0" fmla="*/ 17419 w 308895"/>
                  <a:gd name="connsiteY0" fmla="*/ 261935 h 261934"/>
                  <a:gd name="connsiteX1" fmla="*/ 14137 w 308895"/>
                  <a:gd name="connsiteY1" fmla="*/ 261935 h 261934"/>
                  <a:gd name="connsiteX2" fmla="*/ 351 w 308895"/>
                  <a:gd name="connsiteY2" fmla="*/ 241584 h 261934"/>
                  <a:gd name="connsiteX3" fmla="*/ 291170 w 308895"/>
                  <a:gd name="connsiteY3" fmla="*/ 0 h 261934"/>
                  <a:gd name="connsiteX4" fmla="*/ 308895 w 308895"/>
                  <a:gd name="connsiteY4" fmla="*/ 17725 h 261934"/>
                  <a:gd name="connsiteX5" fmla="*/ 291170 w 308895"/>
                  <a:gd name="connsiteY5" fmla="*/ 35450 h 261934"/>
                  <a:gd name="connsiteX6" fmla="*/ 35144 w 308895"/>
                  <a:gd name="connsiteY6" fmla="*/ 248805 h 261934"/>
                  <a:gd name="connsiteX7" fmla="*/ 17419 w 308895"/>
                  <a:gd name="connsiteY7" fmla="*/ 261935 h 261934"/>
                  <a:gd name="connsiteX8" fmla="*/ 17419 w 308895"/>
                  <a:gd name="connsiteY8" fmla="*/ 261935 h 261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8895" h="261934">
                    <a:moveTo>
                      <a:pt x="17419" y="261935"/>
                    </a:moveTo>
                    <a:cubicBezTo>
                      <a:pt x="16106" y="261935"/>
                      <a:pt x="15450" y="261935"/>
                      <a:pt x="14137" y="261935"/>
                    </a:cubicBezTo>
                    <a:cubicBezTo>
                      <a:pt x="4946" y="259965"/>
                      <a:pt x="-1619" y="250775"/>
                      <a:pt x="351" y="241584"/>
                    </a:cubicBezTo>
                    <a:cubicBezTo>
                      <a:pt x="27266" y="101754"/>
                      <a:pt x="149371" y="0"/>
                      <a:pt x="291170" y="0"/>
                    </a:cubicBezTo>
                    <a:cubicBezTo>
                      <a:pt x="301017" y="0"/>
                      <a:pt x="308895" y="7878"/>
                      <a:pt x="308895" y="17725"/>
                    </a:cubicBezTo>
                    <a:cubicBezTo>
                      <a:pt x="308895" y="27572"/>
                      <a:pt x="301017" y="35450"/>
                      <a:pt x="291170" y="35450"/>
                    </a:cubicBezTo>
                    <a:cubicBezTo>
                      <a:pt x="166439" y="35450"/>
                      <a:pt x="58777" y="125387"/>
                      <a:pt x="35144" y="248805"/>
                    </a:cubicBezTo>
                    <a:cubicBezTo>
                      <a:pt x="33174" y="256683"/>
                      <a:pt x="25953" y="261935"/>
                      <a:pt x="17419" y="261935"/>
                    </a:cubicBezTo>
                    <a:lnTo>
                      <a:pt x="17419" y="261935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58" name="Forma Livre: Forma 57">
              <a:extLst>
                <a:ext uri="{FF2B5EF4-FFF2-40B4-BE49-F238E27FC236}">
                  <a16:creationId xmlns:a16="http://schemas.microsoft.com/office/drawing/2014/main" id="{79A705FF-5337-4EA5-9D18-6CAF20FCE98B}"/>
                </a:ext>
              </a:extLst>
            </p:cNvPr>
            <p:cNvSpPr/>
            <p:nvPr/>
          </p:nvSpPr>
          <p:spPr>
            <a:xfrm>
              <a:off x="7504800" y="544667"/>
              <a:ext cx="420145" cy="356073"/>
            </a:xfrm>
            <a:custGeom>
              <a:avLst/>
              <a:gdLst>
                <a:gd name="connsiteX0" fmla="*/ 202195 w 420145"/>
                <a:gd name="connsiteY0" fmla="*/ 356074 h 356073"/>
                <a:gd name="connsiteX1" fmla="*/ 194318 w 420145"/>
                <a:gd name="connsiteY1" fmla="*/ 354104 h 356073"/>
                <a:gd name="connsiteX2" fmla="*/ 184471 w 420145"/>
                <a:gd name="connsiteY2" fmla="*/ 338349 h 356073"/>
                <a:gd name="connsiteX3" fmla="*/ 184471 w 420145"/>
                <a:gd name="connsiteY3" fmla="*/ 272044 h 356073"/>
                <a:gd name="connsiteX4" fmla="*/ 17725 w 420145"/>
                <a:gd name="connsiteY4" fmla="*/ 272044 h 356073"/>
                <a:gd name="connsiteX5" fmla="*/ 0 w 420145"/>
                <a:gd name="connsiteY5" fmla="*/ 254320 h 356073"/>
                <a:gd name="connsiteX6" fmla="*/ 0 w 420145"/>
                <a:gd name="connsiteY6" fmla="*/ 102017 h 356073"/>
                <a:gd name="connsiteX7" fmla="*/ 17725 w 420145"/>
                <a:gd name="connsiteY7" fmla="*/ 84292 h 356073"/>
                <a:gd name="connsiteX8" fmla="*/ 184471 w 420145"/>
                <a:gd name="connsiteY8" fmla="*/ 84292 h 356073"/>
                <a:gd name="connsiteX9" fmla="*/ 184471 w 420145"/>
                <a:gd name="connsiteY9" fmla="*/ 17331 h 356073"/>
                <a:gd name="connsiteX10" fmla="*/ 194318 w 420145"/>
                <a:gd name="connsiteY10" fmla="*/ 1576 h 356073"/>
                <a:gd name="connsiteX11" fmla="*/ 212699 w 420145"/>
                <a:gd name="connsiteY11" fmla="*/ 3545 h 356073"/>
                <a:gd name="connsiteX12" fmla="*/ 413581 w 420145"/>
                <a:gd name="connsiteY12" fmla="*/ 164382 h 356073"/>
                <a:gd name="connsiteX13" fmla="*/ 420146 w 420145"/>
                <a:gd name="connsiteY13" fmla="*/ 178168 h 356073"/>
                <a:gd name="connsiteX14" fmla="*/ 413581 w 420145"/>
                <a:gd name="connsiteY14" fmla="*/ 191954 h 356073"/>
                <a:gd name="connsiteX15" fmla="*/ 212699 w 420145"/>
                <a:gd name="connsiteY15" fmla="*/ 352791 h 356073"/>
                <a:gd name="connsiteX16" fmla="*/ 202195 w 420145"/>
                <a:gd name="connsiteY16" fmla="*/ 356074 h 356073"/>
                <a:gd name="connsiteX17" fmla="*/ 202195 w 420145"/>
                <a:gd name="connsiteY17" fmla="*/ 356074 h 356073"/>
                <a:gd name="connsiteX18" fmla="*/ 35450 w 420145"/>
                <a:gd name="connsiteY18" fmla="*/ 237251 h 356073"/>
                <a:gd name="connsiteX19" fmla="*/ 202195 w 420145"/>
                <a:gd name="connsiteY19" fmla="*/ 237251 h 356073"/>
                <a:gd name="connsiteX20" fmla="*/ 219920 w 420145"/>
                <a:gd name="connsiteY20" fmla="*/ 254976 h 356073"/>
                <a:gd name="connsiteX21" fmla="*/ 219920 w 420145"/>
                <a:gd name="connsiteY21" fmla="*/ 302899 h 356073"/>
                <a:gd name="connsiteX22" fmla="*/ 375506 w 420145"/>
                <a:gd name="connsiteY22" fmla="*/ 178168 h 356073"/>
                <a:gd name="connsiteX23" fmla="*/ 219920 w 420145"/>
                <a:gd name="connsiteY23" fmla="*/ 53437 h 356073"/>
                <a:gd name="connsiteX24" fmla="*/ 219920 w 420145"/>
                <a:gd name="connsiteY24" fmla="*/ 101360 h 356073"/>
                <a:gd name="connsiteX25" fmla="*/ 202195 w 420145"/>
                <a:gd name="connsiteY25" fmla="*/ 119085 h 356073"/>
                <a:gd name="connsiteX26" fmla="*/ 35450 w 420145"/>
                <a:gd name="connsiteY26" fmla="*/ 119085 h 356073"/>
                <a:gd name="connsiteX27" fmla="*/ 35450 w 420145"/>
                <a:gd name="connsiteY27" fmla="*/ 237251 h 356073"/>
                <a:gd name="connsiteX28" fmla="*/ 35450 w 420145"/>
                <a:gd name="connsiteY28" fmla="*/ 237251 h 356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20145" h="356073">
                  <a:moveTo>
                    <a:pt x="202195" y="356074"/>
                  </a:moveTo>
                  <a:cubicBezTo>
                    <a:pt x="199569" y="356074"/>
                    <a:pt x="196943" y="355417"/>
                    <a:pt x="194318" y="354104"/>
                  </a:cubicBezTo>
                  <a:cubicBezTo>
                    <a:pt x="188409" y="351478"/>
                    <a:pt x="184471" y="344914"/>
                    <a:pt x="184471" y="338349"/>
                  </a:cubicBezTo>
                  <a:lnTo>
                    <a:pt x="184471" y="272044"/>
                  </a:lnTo>
                  <a:lnTo>
                    <a:pt x="17725" y="272044"/>
                  </a:lnTo>
                  <a:cubicBezTo>
                    <a:pt x="7878" y="272044"/>
                    <a:pt x="0" y="264167"/>
                    <a:pt x="0" y="254320"/>
                  </a:cubicBezTo>
                  <a:lnTo>
                    <a:pt x="0" y="102017"/>
                  </a:lnTo>
                  <a:cubicBezTo>
                    <a:pt x="0" y="92169"/>
                    <a:pt x="7878" y="84292"/>
                    <a:pt x="17725" y="84292"/>
                  </a:cubicBezTo>
                  <a:lnTo>
                    <a:pt x="184471" y="84292"/>
                  </a:lnTo>
                  <a:lnTo>
                    <a:pt x="184471" y="17331"/>
                  </a:lnTo>
                  <a:cubicBezTo>
                    <a:pt x="184471" y="10766"/>
                    <a:pt x="188409" y="4201"/>
                    <a:pt x="194318" y="1576"/>
                  </a:cubicBezTo>
                  <a:cubicBezTo>
                    <a:pt x="200226" y="-1050"/>
                    <a:pt x="207447" y="-394"/>
                    <a:pt x="212699" y="3545"/>
                  </a:cubicBezTo>
                  <a:lnTo>
                    <a:pt x="413581" y="164382"/>
                  </a:lnTo>
                  <a:cubicBezTo>
                    <a:pt x="417520" y="167664"/>
                    <a:pt x="420146" y="172916"/>
                    <a:pt x="420146" y="178168"/>
                  </a:cubicBezTo>
                  <a:cubicBezTo>
                    <a:pt x="420146" y="183420"/>
                    <a:pt x="417520" y="188672"/>
                    <a:pt x="413581" y="191954"/>
                  </a:cubicBezTo>
                  <a:lnTo>
                    <a:pt x="212699" y="352791"/>
                  </a:lnTo>
                  <a:cubicBezTo>
                    <a:pt x="210073" y="355417"/>
                    <a:pt x="206134" y="356074"/>
                    <a:pt x="202195" y="356074"/>
                  </a:cubicBezTo>
                  <a:lnTo>
                    <a:pt x="202195" y="356074"/>
                  </a:lnTo>
                  <a:close/>
                  <a:moveTo>
                    <a:pt x="35450" y="237251"/>
                  </a:moveTo>
                  <a:lnTo>
                    <a:pt x="202195" y="237251"/>
                  </a:lnTo>
                  <a:cubicBezTo>
                    <a:pt x="212043" y="237251"/>
                    <a:pt x="219920" y="245129"/>
                    <a:pt x="219920" y="254976"/>
                  </a:cubicBezTo>
                  <a:lnTo>
                    <a:pt x="219920" y="302899"/>
                  </a:lnTo>
                  <a:lnTo>
                    <a:pt x="375506" y="178168"/>
                  </a:lnTo>
                  <a:lnTo>
                    <a:pt x="219920" y="53437"/>
                  </a:lnTo>
                  <a:lnTo>
                    <a:pt x="219920" y="101360"/>
                  </a:lnTo>
                  <a:cubicBezTo>
                    <a:pt x="219920" y="111207"/>
                    <a:pt x="212043" y="119085"/>
                    <a:pt x="202195" y="119085"/>
                  </a:cubicBezTo>
                  <a:lnTo>
                    <a:pt x="35450" y="119085"/>
                  </a:lnTo>
                  <a:lnTo>
                    <a:pt x="35450" y="237251"/>
                  </a:lnTo>
                  <a:lnTo>
                    <a:pt x="35450" y="237251"/>
                  </a:lnTo>
                  <a:close/>
                </a:path>
              </a:pathLst>
            </a:custGeom>
            <a:grpFill/>
            <a:ln w="65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59" name="Forma Livre: Forma 58">
              <a:extLst>
                <a:ext uri="{FF2B5EF4-FFF2-40B4-BE49-F238E27FC236}">
                  <a16:creationId xmlns:a16="http://schemas.microsoft.com/office/drawing/2014/main" id="{5241C1EF-9D4B-4F86-A7A5-2653425B0A3B}"/>
                </a:ext>
              </a:extLst>
            </p:cNvPr>
            <p:cNvSpPr/>
            <p:nvPr/>
          </p:nvSpPr>
          <p:spPr>
            <a:xfrm>
              <a:off x="8577485" y="543726"/>
              <a:ext cx="420145" cy="357014"/>
            </a:xfrm>
            <a:custGeom>
              <a:avLst/>
              <a:gdLst>
                <a:gd name="connsiteX0" fmla="*/ 218607 w 420145"/>
                <a:gd name="connsiteY0" fmla="*/ 357015 h 357014"/>
                <a:gd name="connsiteX1" fmla="*/ 207447 w 420145"/>
                <a:gd name="connsiteY1" fmla="*/ 353076 h 357014"/>
                <a:gd name="connsiteX2" fmla="*/ 6565 w 420145"/>
                <a:gd name="connsiteY2" fmla="*/ 192239 h 357014"/>
                <a:gd name="connsiteX3" fmla="*/ 0 w 420145"/>
                <a:gd name="connsiteY3" fmla="*/ 178453 h 357014"/>
                <a:gd name="connsiteX4" fmla="*/ 6565 w 420145"/>
                <a:gd name="connsiteY4" fmla="*/ 164667 h 357014"/>
                <a:gd name="connsiteX5" fmla="*/ 207447 w 420145"/>
                <a:gd name="connsiteY5" fmla="*/ 3830 h 357014"/>
                <a:gd name="connsiteX6" fmla="*/ 225829 w 420145"/>
                <a:gd name="connsiteY6" fmla="*/ 1860 h 357014"/>
                <a:gd name="connsiteX7" fmla="*/ 235676 w 420145"/>
                <a:gd name="connsiteY7" fmla="*/ 17616 h 357014"/>
                <a:gd name="connsiteX8" fmla="*/ 235676 w 420145"/>
                <a:gd name="connsiteY8" fmla="*/ 84577 h 357014"/>
                <a:gd name="connsiteX9" fmla="*/ 402421 w 420145"/>
                <a:gd name="connsiteY9" fmla="*/ 84577 h 357014"/>
                <a:gd name="connsiteX10" fmla="*/ 420146 w 420145"/>
                <a:gd name="connsiteY10" fmla="*/ 102301 h 357014"/>
                <a:gd name="connsiteX11" fmla="*/ 420146 w 420145"/>
                <a:gd name="connsiteY11" fmla="*/ 254604 h 357014"/>
                <a:gd name="connsiteX12" fmla="*/ 402421 w 420145"/>
                <a:gd name="connsiteY12" fmla="*/ 272329 h 357014"/>
                <a:gd name="connsiteX13" fmla="*/ 235676 w 420145"/>
                <a:gd name="connsiteY13" fmla="*/ 272329 h 357014"/>
                <a:gd name="connsiteX14" fmla="*/ 235676 w 420145"/>
                <a:gd name="connsiteY14" fmla="*/ 339290 h 357014"/>
                <a:gd name="connsiteX15" fmla="*/ 225829 w 420145"/>
                <a:gd name="connsiteY15" fmla="*/ 355045 h 357014"/>
                <a:gd name="connsiteX16" fmla="*/ 218607 w 420145"/>
                <a:gd name="connsiteY16" fmla="*/ 357015 h 357014"/>
                <a:gd name="connsiteX17" fmla="*/ 218607 w 420145"/>
                <a:gd name="connsiteY17" fmla="*/ 357015 h 357014"/>
                <a:gd name="connsiteX18" fmla="*/ 45953 w 420145"/>
                <a:gd name="connsiteY18" fmla="*/ 179109 h 357014"/>
                <a:gd name="connsiteX19" fmla="*/ 201538 w 420145"/>
                <a:gd name="connsiteY19" fmla="*/ 303840 h 357014"/>
                <a:gd name="connsiteX20" fmla="*/ 201538 w 420145"/>
                <a:gd name="connsiteY20" fmla="*/ 255917 h 357014"/>
                <a:gd name="connsiteX21" fmla="*/ 219264 w 420145"/>
                <a:gd name="connsiteY21" fmla="*/ 238192 h 357014"/>
                <a:gd name="connsiteX22" fmla="*/ 386009 w 420145"/>
                <a:gd name="connsiteY22" fmla="*/ 238192 h 357014"/>
                <a:gd name="connsiteX23" fmla="*/ 386009 w 420145"/>
                <a:gd name="connsiteY23" fmla="*/ 120026 h 357014"/>
                <a:gd name="connsiteX24" fmla="*/ 219264 w 420145"/>
                <a:gd name="connsiteY24" fmla="*/ 120026 h 357014"/>
                <a:gd name="connsiteX25" fmla="*/ 201538 w 420145"/>
                <a:gd name="connsiteY25" fmla="*/ 102301 h 357014"/>
                <a:gd name="connsiteX26" fmla="*/ 201538 w 420145"/>
                <a:gd name="connsiteY26" fmla="*/ 54379 h 357014"/>
                <a:gd name="connsiteX27" fmla="*/ 45953 w 420145"/>
                <a:gd name="connsiteY27" fmla="*/ 179109 h 357014"/>
                <a:gd name="connsiteX28" fmla="*/ 45953 w 420145"/>
                <a:gd name="connsiteY28" fmla="*/ 179109 h 357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20145" h="357014">
                  <a:moveTo>
                    <a:pt x="218607" y="357015"/>
                  </a:moveTo>
                  <a:cubicBezTo>
                    <a:pt x="214668" y="357015"/>
                    <a:pt x="210729" y="355702"/>
                    <a:pt x="207447" y="353076"/>
                  </a:cubicBezTo>
                  <a:lnTo>
                    <a:pt x="6565" y="192239"/>
                  </a:lnTo>
                  <a:cubicBezTo>
                    <a:pt x="2626" y="188957"/>
                    <a:pt x="0" y="183705"/>
                    <a:pt x="0" y="178453"/>
                  </a:cubicBezTo>
                  <a:cubicBezTo>
                    <a:pt x="0" y="173201"/>
                    <a:pt x="2626" y="167949"/>
                    <a:pt x="6565" y="164667"/>
                  </a:cubicBezTo>
                  <a:lnTo>
                    <a:pt x="207447" y="3830"/>
                  </a:lnTo>
                  <a:cubicBezTo>
                    <a:pt x="212699" y="-109"/>
                    <a:pt x="219920" y="-1422"/>
                    <a:pt x="225829" y="1860"/>
                  </a:cubicBezTo>
                  <a:cubicBezTo>
                    <a:pt x="231737" y="4486"/>
                    <a:pt x="235676" y="11051"/>
                    <a:pt x="235676" y="17616"/>
                  </a:cubicBezTo>
                  <a:lnTo>
                    <a:pt x="235676" y="84577"/>
                  </a:lnTo>
                  <a:lnTo>
                    <a:pt x="402421" y="84577"/>
                  </a:lnTo>
                  <a:cubicBezTo>
                    <a:pt x="412268" y="84577"/>
                    <a:pt x="420146" y="92454"/>
                    <a:pt x="420146" y="102301"/>
                  </a:cubicBezTo>
                  <a:lnTo>
                    <a:pt x="420146" y="254604"/>
                  </a:lnTo>
                  <a:cubicBezTo>
                    <a:pt x="420146" y="264452"/>
                    <a:pt x="412268" y="272329"/>
                    <a:pt x="402421" y="272329"/>
                  </a:cubicBezTo>
                  <a:lnTo>
                    <a:pt x="235676" y="272329"/>
                  </a:lnTo>
                  <a:lnTo>
                    <a:pt x="235676" y="339290"/>
                  </a:lnTo>
                  <a:cubicBezTo>
                    <a:pt x="235676" y="345855"/>
                    <a:pt x="231737" y="352420"/>
                    <a:pt x="225829" y="355045"/>
                  </a:cubicBezTo>
                  <a:cubicBezTo>
                    <a:pt x="223859" y="357015"/>
                    <a:pt x="221233" y="357015"/>
                    <a:pt x="218607" y="357015"/>
                  </a:cubicBezTo>
                  <a:lnTo>
                    <a:pt x="218607" y="357015"/>
                  </a:lnTo>
                  <a:close/>
                  <a:moveTo>
                    <a:pt x="45953" y="179109"/>
                  </a:moveTo>
                  <a:lnTo>
                    <a:pt x="201538" y="303840"/>
                  </a:lnTo>
                  <a:lnTo>
                    <a:pt x="201538" y="255917"/>
                  </a:lnTo>
                  <a:cubicBezTo>
                    <a:pt x="201538" y="246070"/>
                    <a:pt x="209417" y="238192"/>
                    <a:pt x="219264" y="238192"/>
                  </a:cubicBezTo>
                  <a:lnTo>
                    <a:pt x="386009" y="238192"/>
                  </a:lnTo>
                  <a:lnTo>
                    <a:pt x="386009" y="120026"/>
                  </a:lnTo>
                  <a:lnTo>
                    <a:pt x="219264" y="120026"/>
                  </a:lnTo>
                  <a:cubicBezTo>
                    <a:pt x="209417" y="120026"/>
                    <a:pt x="201538" y="112149"/>
                    <a:pt x="201538" y="102301"/>
                  </a:cubicBezTo>
                  <a:lnTo>
                    <a:pt x="201538" y="54379"/>
                  </a:lnTo>
                  <a:lnTo>
                    <a:pt x="45953" y="179109"/>
                  </a:lnTo>
                  <a:lnTo>
                    <a:pt x="45953" y="179109"/>
                  </a:lnTo>
                  <a:close/>
                </a:path>
              </a:pathLst>
            </a:custGeom>
            <a:grpFill/>
            <a:ln w="65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60" name="Forma Livre: Forma 59">
              <a:extLst>
                <a:ext uri="{FF2B5EF4-FFF2-40B4-BE49-F238E27FC236}">
                  <a16:creationId xmlns:a16="http://schemas.microsoft.com/office/drawing/2014/main" id="{67D314F3-A62D-4B04-B631-062FE02E3C81}"/>
                </a:ext>
              </a:extLst>
            </p:cNvPr>
            <p:cNvSpPr/>
            <p:nvPr/>
          </p:nvSpPr>
          <p:spPr>
            <a:xfrm>
              <a:off x="9669602" y="512927"/>
              <a:ext cx="356621" cy="419981"/>
            </a:xfrm>
            <a:custGeom>
              <a:avLst/>
              <a:gdLst>
                <a:gd name="connsiteX0" fmla="*/ 254319 w 356621"/>
                <a:gd name="connsiteY0" fmla="*/ 419982 h 419981"/>
                <a:gd name="connsiteX1" fmla="*/ 102017 w 356621"/>
                <a:gd name="connsiteY1" fmla="*/ 419982 h 419981"/>
                <a:gd name="connsiteX2" fmla="*/ 84292 w 356621"/>
                <a:gd name="connsiteY2" fmla="*/ 402257 h 419981"/>
                <a:gd name="connsiteX3" fmla="*/ 84292 w 356621"/>
                <a:gd name="connsiteY3" fmla="*/ 235511 h 419981"/>
                <a:gd name="connsiteX4" fmla="*/ 17331 w 356621"/>
                <a:gd name="connsiteY4" fmla="*/ 235511 h 419981"/>
                <a:gd name="connsiteX5" fmla="*/ 1575 w 356621"/>
                <a:gd name="connsiteY5" fmla="*/ 225664 h 419981"/>
                <a:gd name="connsiteX6" fmla="*/ 3545 w 356621"/>
                <a:gd name="connsiteY6" fmla="*/ 207283 h 419981"/>
                <a:gd name="connsiteX7" fmla="*/ 164382 w 356621"/>
                <a:gd name="connsiteY7" fmla="*/ 6401 h 419981"/>
                <a:gd name="connsiteX8" fmla="*/ 191954 w 356621"/>
                <a:gd name="connsiteY8" fmla="*/ 6401 h 419981"/>
                <a:gd name="connsiteX9" fmla="*/ 352791 w 356621"/>
                <a:gd name="connsiteY9" fmla="*/ 207283 h 419981"/>
                <a:gd name="connsiteX10" fmla="*/ 354761 w 356621"/>
                <a:gd name="connsiteY10" fmla="*/ 225664 h 419981"/>
                <a:gd name="connsiteX11" fmla="*/ 339005 w 356621"/>
                <a:gd name="connsiteY11" fmla="*/ 235511 h 419981"/>
                <a:gd name="connsiteX12" fmla="*/ 272045 w 356621"/>
                <a:gd name="connsiteY12" fmla="*/ 235511 h 419981"/>
                <a:gd name="connsiteX13" fmla="*/ 272045 w 356621"/>
                <a:gd name="connsiteY13" fmla="*/ 402257 h 419981"/>
                <a:gd name="connsiteX14" fmla="*/ 254319 w 356621"/>
                <a:gd name="connsiteY14" fmla="*/ 419982 h 419981"/>
                <a:gd name="connsiteX15" fmla="*/ 254319 w 356621"/>
                <a:gd name="connsiteY15" fmla="*/ 419982 h 419981"/>
                <a:gd name="connsiteX16" fmla="*/ 119085 w 356621"/>
                <a:gd name="connsiteY16" fmla="*/ 385188 h 419981"/>
                <a:gd name="connsiteX17" fmla="*/ 236595 w 356621"/>
                <a:gd name="connsiteY17" fmla="*/ 385188 h 419981"/>
                <a:gd name="connsiteX18" fmla="*/ 236595 w 356621"/>
                <a:gd name="connsiteY18" fmla="*/ 218443 h 419981"/>
                <a:gd name="connsiteX19" fmla="*/ 254319 w 356621"/>
                <a:gd name="connsiteY19" fmla="*/ 200718 h 419981"/>
                <a:gd name="connsiteX20" fmla="*/ 302243 w 356621"/>
                <a:gd name="connsiteY20" fmla="*/ 200718 h 419981"/>
                <a:gd name="connsiteX21" fmla="*/ 177512 w 356621"/>
                <a:gd name="connsiteY21" fmla="*/ 45133 h 419981"/>
                <a:gd name="connsiteX22" fmla="*/ 52781 w 356621"/>
                <a:gd name="connsiteY22" fmla="*/ 200718 h 419981"/>
                <a:gd name="connsiteX23" fmla="*/ 100703 w 356621"/>
                <a:gd name="connsiteY23" fmla="*/ 200718 h 419981"/>
                <a:gd name="connsiteX24" fmla="*/ 118429 w 356621"/>
                <a:gd name="connsiteY24" fmla="*/ 218443 h 419981"/>
                <a:gd name="connsiteX25" fmla="*/ 118429 w 356621"/>
                <a:gd name="connsiteY25" fmla="*/ 385188 h 419981"/>
                <a:gd name="connsiteX26" fmla="*/ 119085 w 356621"/>
                <a:gd name="connsiteY26" fmla="*/ 385188 h 419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56621" h="419981">
                  <a:moveTo>
                    <a:pt x="254319" y="419982"/>
                  </a:moveTo>
                  <a:lnTo>
                    <a:pt x="102017" y="419982"/>
                  </a:lnTo>
                  <a:cubicBezTo>
                    <a:pt x="92170" y="419982"/>
                    <a:pt x="84292" y="412104"/>
                    <a:pt x="84292" y="402257"/>
                  </a:cubicBezTo>
                  <a:lnTo>
                    <a:pt x="84292" y="235511"/>
                  </a:lnTo>
                  <a:lnTo>
                    <a:pt x="17331" y="235511"/>
                  </a:lnTo>
                  <a:cubicBezTo>
                    <a:pt x="10766" y="235511"/>
                    <a:pt x="4202" y="231573"/>
                    <a:pt x="1575" y="225664"/>
                  </a:cubicBezTo>
                  <a:cubicBezTo>
                    <a:pt x="-1051" y="219756"/>
                    <a:pt x="-393" y="212535"/>
                    <a:pt x="3545" y="207283"/>
                  </a:cubicBezTo>
                  <a:lnTo>
                    <a:pt x="164382" y="6401"/>
                  </a:lnTo>
                  <a:cubicBezTo>
                    <a:pt x="170947" y="-2134"/>
                    <a:pt x="184733" y="-2134"/>
                    <a:pt x="191954" y="6401"/>
                  </a:cubicBezTo>
                  <a:lnTo>
                    <a:pt x="352791" y="207283"/>
                  </a:lnTo>
                  <a:cubicBezTo>
                    <a:pt x="356730" y="212535"/>
                    <a:pt x="358043" y="219756"/>
                    <a:pt x="354761" y="225664"/>
                  </a:cubicBezTo>
                  <a:cubicBezTo>
                    <a:pt x="352135" y="231573"/>
                    <a:pt x="345570" y="235511"/>
                    <a:pt x="339005" y="235511"/>
                  </a:cubicBezTo>
                  <a:lnTo>
                    <a:pt x="272045" y="235511"/>
                  </a:lnTo>
                  <a:lnTo>
                    <a:pt x="272045" y="402257"/>
                  </a:lnTo>
                  <a:cubicBezTo>
                    <a:pt x="271388" y="412104"/>
                    <a:pt x="263510" y="419982"/>
                    <a:pt x="254319" y="419982"/>
                  </a:cubicBezTo>
                  <a:lnTo>
                    <a:pt x="254319" y="419982"/>
                  </a:lnTo>
                  <a:close/>
                  <a:moveTo>
                    <a:pt x="119085" y="385188"/>
                  </a:moveTo>
                  <a:lnTo>
                    <a:pt x="236595" y="385188"/>
                  </a:lnTo>
                  <a:lnTo>
                    <a:pt x="236595" y="218443"/>
                  </a:lnTo>
                  <a:cubicBezTo>
                    <a:pt x="236595" y="208596"/>
                    <a:pt x="244472" y="200718"/>
                    <a:pt x="254319" y="200718"/>
                  </a:cubicBezTo>
                  <a:lnTo>
                    <a:pt x="302243" y="200718"/>
                  </a:lnTo>
                  <a:lnTo>
                    <a:pt x="177512" y="45133"/>
                  </a:lnTo>
                  <a:lnTo>
                    <a:pt x="52781" y="200718"/>
                  </a:lnTo>
                  <a:lnTo>
                    <a:pt x="100703" y="200718"/>
                  </a:lnTo>
                  <a:cubicBezTo>
                    <a:pt x="110551" y="200718"/>
                    <a:pt x="118429" y="208596"/>
                    <a:pt x="118429" y="218443"/>
                  </a:cubicBezTo>
                  <a:lnTo>
                    <a:pt x="118429" y="385188"/>
                  </a:lnTo>
                  <a:lnTo>
                    <a:pt x="119085" y="385188"/>
                  </a:lnTo>
                  <a:close/>
                </a:path>
              </a:pathLst>
            </a:custGeom>
            <a:grpFill/>
            <a:ln w="65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61" name="Forma Livre: Forma 60">
              <a:extLst>
                <a:ext uri="{FF2B5EF4-FFF2-40B4-BE49-F238E27FC236}">
                  <a16:creationId xmlns:a16="http://schemas.microsoft.com/office/drawing/2014/main" id="{EDD667CD-C496-4DA3-A257-A9AECC5F89C6}"/>
                </a:ext>
              </a:extLst>
            </p:cNvPr>
            <p:cNvSpPr/>
            <p:nvPr/>
          </p:nvSpPr>
          <p:spPr>
            <a:xfrm>
              <a:off x="10743971" y="512763"/>
              <a:ext cx="356620" cy="420145"/>
            </a:xfrm>
            <a:custGeom>
              <a:avLst/>
              <a:gdLst>
                <a:gd name="connsiteX0" fmla="*/ 178452 w 356620"/>
                <a:gd name="connsiteY0" fmla="*/ 420146 h 420145"/>
                <a:gd name="connsiteX1" fmla="*/ 164667 w 356620"/>
                <a:gd name="connsiteY1" fmla="*/ 413581 h 420145"/>
                <a:gd name="connsiteX2" fmla="*/ 3829 w 356620"/>
                <a:gd name="connsiteY2" fmla="*/ 212699 h 420145"/>
                <a:gd name="connsiteX3" fmla="*/ 1860 w 356620"/>
                <a:gd name="connsiteY3" fmla="*/ 194317 h 420145"/>
                <a:gd name="connsiteX4" fmla="*/ 17615 w 356620"/>
                <a:gd name="connsiteY4" fmla="*/ 184470 h 420145"/>
                <a:gd name="connsiteX5" fmla="*/ 84577 w 356620"/>
                <a:gd name="connsiteY5" fmla="*/ 184470 h 420145"/>
                <a:gd name="connsiteX6" fmla="*/ 84577 w 356620"/>
                <a:gd name="connsiteY6" fmla="*/ 17725 h 420145"/>
                <a:gd name="connsiteX7" fmla="*/ 102301 w 356620"/>
                <a:gd name="connsiteY7" fmla="*/ 0 h 420145"/>
                <a:gd name="connsiteX8" fmla="*/ 254604 w 356620"/>
                <a:gd name="connsiteY8" fmla="*/ 0 h 420145"/>
                <a:gd name="connsiteX9" fmla="*/ 272329 w 356620"/>
                <a:gd name="connsiteY9" fmla="*/ 17725 h 420145"/>
                <a:gd name="connsiteX10" fmla="*/ 272329 w 356620"/>
                <a:gd name="connsiteY10" fmla="*/ 184470 h 420145"/>
                <a:gd name="connsiteX11" fmla="*/ 339289 w 356620"/>
                <a:gd name="connsiteY11" fmla="*/ 184470 h 420145"/>
                <a:gd name="connsiteX12" fmla="*/ 355045 w 356620"/>
                <a:gd name="connsiteY12" fmla="*/ 194317 h 420145"/>
                <a:gd name="connsiteX13" fmla="*/ 353076 w 356620"/>
                <a:gd name="connsiteY13" fmla="*/ 212699 h 420145"/>
                <a:gd name="connsiteX14" fmla="*/ 192239 w 356620"/>
                <a:gd name="connsiteY14" fmla="*/ 413581 h 420145"/>
                <a:gd name="connsiteX15" fmla="*/ 178452 w 356620"/>
                <a:gd name="connsiteY15" fmla="*/ 420146 h 420145"/>
                <a:gd name="connsiteX16" fmla="*/ 178452 w 356620"/>
                <a:gd name="connsiteY16" fmla="*/ 420146 h 420145"/>
                <a:gd name="connsiteX17" fmla="*/ 54379 w 356620"/>
                <a:gd name="connsiteY17" fmla="*/ 219264 h 420145"/>
                <a:gd name="connsiteX18" fmla="*/ 179110 w 356620"/>
                <a:gd name="connsiteY18" fmla="*/ 374849 h 420145"/>
                <a:gd name="connsiteX19" fmla="*/ 303840 w 356620"/>
                <a:gd name="connsiteY19" fmla="*/ 219264 h 420145"/>
                <a:gd name="connsiteX20" fmla="*/ 255917 w 356620"/>
                <a:gd name="connsiteY20" fmla="*/ 219264 h 420145"/>
                <a:gd name="connsiteX21" fmla="*/ 238193 w 356620"/>
                <a:gd name="connsiteY21" fmla="*/ 201539 h 420145"/>
                <a:gd name="connsiteX22" fmla="*/ 238193 w 356620"/>
                <a:gd name="connsiteY22" fmla="*/ 34793 h 420145"/>
                <a:gd name="connsiteX23" fmla="*/ 120683 w 356620"/>
                <a:gd name="connsiteY23" fmla="*/ 34793 h 420145"/>
                <a:gd name="connsiteX24" fmla="*/ 120683 w 356620"/>
                <a:gd name="connsiteY24" fmla="*/ 201539 h 420145"/>
                <a:gd name="connsiteX25" fmla="*/ 102957 w 356620"/>
                <a:gd name="connsiteY25" fmla="*/ 219264 h 420145"/>
                <a:gd name="connsiteX26" fmla="*/ 54379 w 356620"/>
                <a:gd name="connsiteY26" fmla="*/ 219264 h 420145"/>
                <a:gd name="connsiteX27" fmla="*/ 54379 w 356620"/>
                <a:gd name="connsiteY27" fmla="*/ 219264 h 420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56620" h="420145">
                  <a:moveTo>
                    <a:pt x="178452" y="420146"/>
                  </a:moveTo>
                  <a:cubicBezTo>
                    <a:pt x="173201" y="420146"/>
                    <a:pt x="167949" y="417520"/>
                    <a:pt x="164667" y="413581"/>
                  </a:cubicBezTo>
                  <a:lnTo>
                    <a:pt x="3829" y="212699"/>
                  </a:lnTo>
                  <a:cubicBezTo>
                    <a:pt x="-109" y="207447"/>
                    <a:pt x="-1422" y="200226"/>
                    <a:pt x="1860" y="194317"/>
                  </a:cubicBezTo>
                  <a:cubicBezTo>
                    <a:pt x="4486" y="188409"/>
                    <a:pt x="11051" y="184470"/>
                    <a:pt x="17615" y="184470"/>
                  </a:cubicBezTo>
                  <a:lnTo>
                    <a:pt x="84577" y="184470"/>
                  </a:lnTo>
                  <a:lnTo>
                    <a:pt x="84577" y="17725"/>
                  </a:lnTo>
                  <a:cubicBezTo>
                    <a:pt x="84577" y="7878"/>
                    <a:pt x="92454" y="0"/>
                    <a:pt x="102301" y="0"/>
                  </a:cubicBezTo>
                  <a:lnTo>
                    <a:pt x="254604" y="0"/>
                  </a:lnTo>
                  <a:cubicBezTo>
                    <a:pt x="264452" y="0"/>
                    <a:pt x="272329" y="7878"/>
                    <a:pt x="272329" y="17725"/>
                  </a:cubicBezTo>
                  <a:lnTo>
                    <a:pt x="272329" y="184470"/>
                  </a:lnTo>
                  <a:lnTo>
                    <a:pt x="339289" y="184470"/>
                  </a:lnTo>
                  <a:cubicBezTo>
                    <a:pt x="345854" y="184470"/>
                    <a:pt x="352419" y="188409"/>
                    <a:pt x="355045" y="194317"/>
                  </a:cubicBezTo>
                  <a:cubicBezTo>
                    <a:pt x="357671" y="200226"/>
                    <a:pt x="357015" y="207447"/>
                    <a:pt x="353076" y="212699"/>
                  </a:cubicBezTo>
                  <a:lnTo>
                    <a:pt x="192239" y="413581"/>
                  </a:lnTo>
                  <a:cubicBezTo>
                    <a:pt x="188957" y="417520"/>
                    <a:pt x="183705" y="420146"/>
                    <a:pt x="178452" y="420146"/>
                  </a:cubicBezTo>
                  <a:lnTo>
                    <a:pt x="178452" y="420146"/>
                  </a:lnTo>
                  <a:close/>
                  <a:moveTo>
                    <a:pt x="54379" y="219264"/>
                  </a:moveTo>
                  <a:lnTo>
                    <a:pt x="179110" y="374849"/>
                  </a:lnTo>
                  <a:lnTo>
                    <a:pt x="303840" y="219264"/>
                  </a:lnTo>
                  <a:lnTo>
                    <a:pt x="255917" y="219264"/>
                  </a:lnTo>
                  <a:cubicBezTo>
                    <a:pt x="246070" y="219264"/>
                    <a:pt x="238193" y="211386"/>
                    <a:pt x="238193" y="201539"/>
                  </a:cubicBezTo>
                  <a:lnTo>
                    <a:pt x="238193" y="34793"/>
                  </a:lnTo>
                  <a:lnTo>
                    <a:pt x="120683" y="34793"/>
                  </a:lnTo>
                  <a:lnTo>
                    <a:pt x="120683" y="201539"/>
                  </a:lnTo>
                  <a:cubicBezTo>
                    <a:pt x="120683" y="211386"/>
                    <a:pt x="112805" y="219264"/>
                    <a:pt x="102957" y="219264"/>
                  </a:cubicBezTo>
                  <a:lnTo>
                    <a:pt x="54379" y="219264"/>
                  </a:lnTo>
                  <a:lnTo>
                    <a:pt x="54379" y="219264"/>
                  </a:lnTo>
                  <a:close/>
                </a:path>
              </a:pathLst>
            </a:custGeom>
            <a:grpFill/>
            <a:ln w="65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62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7482869" y="1601859"/>
              <a:ext cx="400779" cy="412924"/>
              <a:chOff x="7482869" y="1601859"/>
              <a:chExt cx="400779" cy="412924"/>
            </a:xfrm>
            <a:grpFill/>
          </p:grpSpPr>
          <p:sp>
            <p:nvSpPr>
              <p:cNvPr id="63" name="Forma Livre: Forma 62">
                <a:extLst>
                  <a:ext uri="{FF2B5EF4-FFF2-40B4-BE49-F238E27FC236}">
                    <a16:creationId xmlns:a16="http://schemas.microsoft.com/office/drawing/2014/main" id="{E4B24959-1E3C-4FC5-89FF-C2AF9C6E1FA3}"/>
                  </a:ext>
                </a:extLst>
              </p:cNvPr>
              <p:cNvSpPr/>
              <p:nvPr/>
            </p:nvSpPr>
            <p:spPr>
              <a:xfrm>
                <a:off x="7736537" y="1601859"/>
                <a:ext cx="131295" cy="131295"/>
              </a:xfrm>
              <a:custGeom>
                <a:avLst/>
                <a:gdLst>
                  <a:gd name="connsiteX0" fmla="*/ 113570 w 131295"/>
                  <a:gd name="connsiteY0" fmla="*/ 131296 h 131295"/>
                  <a:gd name="connsiteX1" fmla="*/ 113570 w 131295"/>
                  <a:gd name="connsiteY1" fmla="*/ 131296 h 131295"/>
                  <a:gd name="connsiteX2" fmla="*/ 17725 w 131295"/>
                  <a:gd name="connsiteY2" fmla="*/ 131296 h 131295"/>
                  <a:gd name="connsiteX3" fmla="*/ 0 w 131295"/>
                  <a:gd name="connsiteY3" fmla="*/ 113571 h 131295"/>
                  <a:gd name="connsiteX4" fmla="*/ 17725 w 131295"/>
                  <a:gd name="connsiteY4" fmla="*/ 95846 h 131295"/>
                  <a:gd name="connsiteX5" fmla="*/ 17725 w 131295"/>
                  <a:gd name="connsiteY5" fmla="*/ 95846 h 131295"/>
                  <a:gd name="connsiteX6" fmla="*/ 95846 w 131295"/>
                  <a:gd name="connsiteY6" fmla="*/ 95846 h 131295"/>
                  <a:gd name="connsiteX7" fmla="*/ 95846 w 131295"/>
                  <a:gd name="connsiteY7" fmla="*/ 17725 h 131295"/>
                  <a:gd name="connsiteX8" fmla="*/ 113570 w 131295"/>
                  <a:gd name="connsiteY8" fmla="*/ 0 h 131295"/>
                  <a:gd name="connsiteX9" fmla="*/ 113570 w 131295"/>
                  <a:gd name="connsiteY9" fmla="*/ 0 h 131295"/>
                  <a:gd name="connsiteX10" fmla="*/ 131296 w 131295"/>
                  <a:gd name="connsiteY10" fmla="*/ 17725 h 131295"/>
                  <a:gd name="connsiteX11" fmla="*/ 131296 w 131295"/>
                  <a:gd name="connsiteY11" fmla="*/ 113571 h 131295"/>
                  <a:gd name="connsiteX12" fmla="*/ 113570 w 131295"/>
                  <a:gd name="connsiteY12" fmla="*/ 131296 h 131295"/>
                  <a:gd name="connsiteX13" fmla="*/ 113570 w 131295"/>
                  <a:gd name="connsiteY13" fmla="*/ 131296 h 131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1295" h="131295">
                    <a:moveTo>
                      <a:pt x="113570" y="131296"/>
                    </a:moveTo>
                    <a:lnTo>
                      <a:pt x="113570" y="131296"/>
                    </a:lnTo>
                    <a:lnTo>
                      <a:pt x="17725" y="131296"/>
                    </a:lnTo>
                    <a:cubicBezTo>
                      <a:pt x="7877" y="131296"/>
                      <a:pt x="0" y="123418"/>
                      <a:pt x="0" y="113571"/>
                    </a:cubicBezTo>
                    <a:cubicBezTo>
                      <a:pt x="0" y="103724"/>
                      <a:pt x="7877" y="95846"/>
                      <a:pt x="17725" y="95846"/>
                    </a:cubicBezTo>
                    <a:lnTo>
                      <a:pt x="17725" y="95846"/>
                    </a:lnTo>
                    <a:lnTo>
                      <a:pt x="95846" y="95846"/>
                    </a:lnTo>
                    <a:lnTo>
                      <a:pt x="95846" y="17725"/>
                    </a:lnTo>
                    <a:cubicBezTo>
                      <a:pt x="95846" y="7878"/>
                      <a:pt x="103723" y="0"/>
                      <a:pt x="113570" y="0"/>
                    </a:cubicBezTo>
                    <a:cubicBezTo>
                      <a:pt x="113570" y="0"/>
                      <a:pt x="113570" y="0"/>
                      <a:pt x="113570" y="0"/>
                    </a:cubicBezTo>
                    <a:cubicBezTo>
                      <a:pt x="123417" y="0"/>
                      <a:pt x="131296" y="7878"/>
                      <a:pt x="131296" y="17725"/>
                    </a:cubicBezTo>
                    <a:lnTo>
                      <a:pt x="131296" y="113571"/>
                    </a:lnTo>
                    <a:cubicBezTo>
                      <a:pt x="130639" y="123418"/>
                      <a:pt x="122761" y="131296"/>
                      <a:pt x="113570" y="131296"/>
                    </a:cubicBezTo>
                    <a:lnTo>
                      <a:pt x="113570" y="131296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64" name="Forma Livre: Forma 63">
                <a:extLst>
                  <a:ext uri="{FF2B5EF4-FFF2-40B4-BE49-F238E27FC236}">
                    <a16:creationId xmlns:a16="http://schemas.microsoft.com/office/drawing/2014/main" id="{536D722F-6980-49E7-8369-47FE4AE9B44C}"/>
                  </a:ext>
                </a:extLst>
              </p:cNvPr>
              <p:cNvSpPr/>
              <p:nvPr/>
            </p:nvSpPr>
            <p:spPr>
              <a:xfrm>
                <a:off x="7599084" y="1625422"/>
                <a:ext cx="244707" cy="80160"/>
              </a:xfrm>
              <a:custGeom>
                <a:avLst/>
                <a:gdLst>
                  <a:gd name="connsiteX0" fmla="*/ 227390 w 244707"/>
                  <a:gd name="connsiteY0" fmla="*/ 80161 h 80160"/>
                  <a:gd name="connsiteX1" fmla="*/ 214917 w 244707"/>
                  <a:gd name="connsiteY1" fmla="*/ 74909 h 80160"/>
                  <a:gd name="connsiteX2" fmla="*/ 123010 w 244707"/>
                  <a:gd name="connsiteY2" fmla="*/ 35520 h 80160"/>
                  <a:gd name="connsiteX3" fmla="*/ 121041 w 244707"/>
                  <a:gd name="connsiteY3" fmla="*/ 35520 h 80160"/>
                  <a:gd name="connsiteX4" fmla="*/ 29791 w 244707"/>
                  <a:gd name="connsiteY4" fmla="*/ 72283 h 80160"/>
                  <a:gd name="connsiteX5" fmla="*/ 4844 w 244707"/>
                  <a:gd name="connsiteY5" fmla="*/ 71627 h 80160"/>
                  <a:gd name="connsiteX6" fmla="*/ 5501 w 244707"/>
                  <a:gd name="connsiteY6" fmla="*/ 46681 h 80160"/>
                  <a:gd name="connsiteX7" fmla="*/ 123667 w 244707"/>
                  <a:gd name="connsiteY7" fmla="*/ 71 h 80160"/>
                  <a:gd name="connsiteX8" fmla="*/ 239863 w 244707"/>
                  <a:gd name="connsiteY8" fmla="*/ 50619 h 80160"/>
                  <a:gd name="connsiteX9" fmla="*/ 239207 w 244707"/>
                  <a:gd name="connsiteY9" fmla="*/ 75566 h 80160"/>
                  <a:gd name="connsiteX10" fmla="*/ 227390 w 244707"/>
                  <a:gd name="connsiteY10" fmla="*/ 80161 h 80160"/>
                  <a:gd name="connsiteX11" fmla="*/ 227390 w 244707"/>
                  <a:gd name="connsiteY11" fmla="*/ 80161 h 80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4707" h="80160">
                    <a:moveTo>
                      <a:pt x="227390" y="80161"/>
                    </a:moveTo>
                    <a:cubicBezTo>
                      <a:pt x="222795" y="80161"/>
                      <a:pt x="218199" y="78191"/>
                      <a:pt x="214917" y="74909"/>
                    </a:cubicBezTo>
                    <a:cubicBezTo>
                      <a:pt x="190628" y="49963"/>
                      <a:pt x="157804" y="35520"/>
                      <a:pt x="123010" y="35520"/>
                    </a:cubicBezTo>
                    <a:cubicBezTo>
                      <a:pt x="122354" y="35520"/>
                      <a:pt x="121697" y="35520"/>
                      <a:pt x="121041" y="35520"/>
                    </a:cubicBezTo>
                    <a:cubicBezTo>
                      <a:pt x="86904" y="35520"/>
                      <a:pt x="54737" y="48650"/>
                      <a:pt x="29791" y="72283"/>
                    </a:cubicBezTo>
                    <a:cubicBezTo>
                      <a:pt x="22569" y="78848"/>
                      <a:pt x="12066" y="78848"/>
                      <a:pt x="4844" y="71627"/>
                    </a:cubicBezTo>
                    <a:cubicBezTo>
                      <a:pt x="-1720" y="64405"/>
                      <a:pt x="-1720" y="53902"/>
                      <a:pt x="5501" y="46681"/>
                    </a:cubicBezTo>
                    <a:cubicBezTo>
                      <a:pt x="37012" y="15826"/>
                      <a:pt x="79026" y="-1242"/>
                      <a:pt x="123667" y="71"/>
                    </a:cubicBezTo>
                    <a:cubicBezTo>
                      <a:pt x="167651" y="727"/>
                      <a:pt x="209009" y="18452"/>
                      <a:pt x="239863" y="50619"/>
                    </a:cubicBezTo>
                    <a:cubicBezTo>
                      <a:pt x="246428" y="57841"/>
                      <a:pt x="246428" y="68344"/>
                      <a:pt x="239207" y="75566"/>
                    </a:cubicBezTo>
                    <a:cubicBezTo>
                      <a:pt x="235925" y="78848"/>
                      <a:pt x="231986" y="80161"/>
                      <a:pt x="227390" y="80161"/>
                    </a:cubicBezTo>
                    <a:lnTo>
                      <a:pt x="227390" y="80161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65" name="Forma Livre: Forma 64">
                <a:extLst>
                  <a:ext uri="{FF2B5EF4-FFF2-40B4-BE49-F238E27FC236}">
                    <a16:creationId xmlns:a16="http://schemas.microsoft.com/office/drawing/2014/main" id="{D6FD56A9-8B88-4107-835F-E957909A03DF}"/>
                  </a:ext>
                </a:extLst>
              </p:cNvPr>
              <p:cNvSpPr/>
              <p:nvPr/>
            </p:nvSpPr>
            <p:spPr>
              <a:xfrm>
                <a:off x="7482869" y="1702032"/>
                <a:ext cx="165311" cy="117777"/>
              </a:xfrm>
              <a:custGeom>
                <a:avLst/>
                <a:gdLst>
                  <a:gd name="connsiteX0" fmla="*/ 147319 w 165311"/>
                  <a:gd name="connsiteY0" fmla="*/ 117778 h 117777"/>
                  <a:gd name="connsiteX1" fmla="*/ 132220 w 165311"/>
                  <a:gd name="connsiteY1" fmla="*/ 109243 h 117777"/>
                  <a:gd name="connsiteX2" fmla="*/ 93488 w 165311"/>
                  <a:gd name="connsiteY2" fmla="*/ 41626 h 117777"/>
                  <a:gd name="connsiteX3" fmla="*/ 25871 w 165311"/>
                  <a:gd name="connsiteY3" fmla="*/ 80358 h 117777"/>
                  <a:gd name="connsiteX4" fmla="*/ 2237 w 165311"/>
                  <a:gd name="connsiteY4" fmla="*/ 73794 h 117777"/>
                  <a:gd name="connsiteX5" fmla="*/ 8802 w 165311"/>
                  <a:gd name="connsiteY5" fmla="*/ 50160 h 117777"/>
                  <a:gd name="connsiteX6" fmla="*/ 91519 w 165311"/>
                  <a:gd name="connsiteY6" fmla="*/ 2237 h 117777"/>
                  <a:gd name="connsiteX7" fmla="*/ 115152 w 165311"/>
                  <a:gd name="connsiteY7" fmla="*/ 8802 h 117777"/>
                  <a:gd name="connsiteX8" fmla="*/ 163074 w 165311"/>
                  <a:gd name="connsiteY8" fmla="*/ 91519 h 117777"/>
                  <a:gd name="connsiteX9" fmla="*/ 156510 w 165311"/>
                  <a:gd name="connsiteY9" fmla="*/ 115152 h 117777"/>
                  <a:gd name="connsiteX10" fmla="*/ 147319 w 165311"/>
                  <a:gd name="connsiteY10" fmla="*/ 117778 h 117777"/>
                  <a:gd name="connsiteX11" fmla="*/ 147319 w 165311"/>
                  <a:gd name="connsiteY11" fmla="*/ 117778 h 1177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65311" h="117777">
                    <a:moveTo>
                      <a:pt x="147319" y="117778"/>
                    </a:moveTo>
                    <a:cubicBezTo>
                      <a:pt x="141411" y="117778"/>
                      <a:pt x="135503" y="114495"/>
                      <a:pt x="132220" y="109243"/>
                    </a:cubicBezTo>
                    <a:lnTo>
                      <a:pt x="93488" y="41626"/>
                    </a:lnTo>
                    <a:lnTo>
                      <a:pt x="25871" y="80358"/>
                    </a:lnTo>
                    <a:cubicBezTo>
                      <a:pt x="17337" y="84954"/>
                      <a:pt x="6833" y="82328"/>
                      <a:pt x="2237" y="73794"/>
                    </a:cubicBezTo>
                    <a:cubicBezTo>
                      <a:pt x="-2358" y="65259"/>
                      <a:pt x="268" y="54756"/>
                      <a:pt x="8802" y="50160"/>
                    </a:cubicBezTo>
                    <a:lnTo>
                      <a:pt x="91519" y="2237"/>
                    </a:lnTo>
                    <a:cubicBezTo>
                      <a:pt x="100053" y="-2358"/>
                      <a:pt x="110556" y="268"/>
                      <a:pt x="115152" y="8802"/>
                    </a:cubicBezTo>
                    <a:lnTo>
                      <a:pt x="163074" y="91519"/>
                    </a:lnTo>
                    <a:cubicBezTo>
                      <a:pt x="167670" y="100053"/>
                      <a:pt x="165044" y="110556"/>
                      <a:pt x="156510" y="115152"/>
                    </a:cubicBezTo>
                    <a:cubicBezTo>
                      <a:pt x="153227" y="117121"/>
                      <a:pt x="150602" y="117778"/>
                      <a:pt x="147319" y="117778"/>
                    </a:cubicBezTo>
                    <a:lnTo>
                      <a:pt x="147319" y="117778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66" name="Forma Livre: Forma 65">
                <a:extLst>
                  <a:ext uri="{FF2B5EF4-FFF2-40B4-BE49-F238E27FC236}">
                    <a16:creationId xmlns:a16="http://schemas.microsoft.com/office/drawing/2014/main" id="{DA729AFB-5686-4D34-8EE6-6ABD0102226B}"/>
                  </a:ext>
                </a:extLst>
              </p:cNvPr>
              <p:cNvSpPr/>
              <p:nvPr/>
            </p:nvSpPr>
            <p:spPr>
              <a:xfrm>
                <a:off x="7547395" y="1736418"/>
                <a:ext cx="143208" cy="217970"/>
              </a:xfrm>
              <a:custGeom>
                <a:avLst/>
                <a:gdLst>
                  <a:gd name="connsiteX0" fmla="*/ 125464 w 143208"/>
                  <a:gd name="connsiteY0" fmla="*/ 217970 h 217970"/>
                  <a:gd name="connsiteX1" fmla="*/ 120869 w 143208"/>
                  <a:gd name="connsiteY1" fmla="*/ 217314 h 217970"/>
                  <a:gd name="connsiteX2" fmla="*/ 21084 w 143208"/>
                  <a:gd name="connsiteY2" fmla="*/ 138536 h 217970"/>
                  <a:gd name="connsiteX3" fmla="*/ 6641 w 143208"/>
                  <a:gd name="connsiteY3" fmla="*/ 12493 h 217970"/>
                  <a:gd name="connsiteX4" fmla="*/ 28305 w 143208"/>
                  <a:gd name="connsiteY4" fmla="*/ 676 h 217970"/>
                  <a:gd name="connsiteX5" fmla="*/ 40122 w 143208"/>
                  <a:gd name="connsiteY5" fmla="*/ 22340 h 217970"/>
                  <a:gd name="connsiteX6" fmla="*/ 51938 w 143208"/>
                  <a:gd name="connsiteY6" fmla="*/ 121468 h 217970"/>
                  <a:gd name="connsiteX7" fmla="*/ 130716 w 143208"/>
                  <a:gd name="connsiteY7" fmla="*/ 183833 h 217970"/>
                  <a:gd name="connsiteX8" fmla="*/ 142532 w 143208"/>
                  <a:gd name="connsiteY8" fmla="*/ 205497 h 217970"/>
                  <a:gd name="connsiteX9" fmla="*/ 125464 w 143208"/>
                  <a:gd name="connsiteY9" fmla="*/ 217970 h 217970"/>
                  <a:gd name="connsiteX10" fmla="*/ 125464 w 143208"/>
                  <a:gd name="connsiteY10" fmla="*/ 217970 h 2179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43208" h="217970">
                    <a:moveTo>
                      <a:pt x="125464" y="217970"/>
                    </a:moveTo>
                    <a:cubicBezTo>
                      <a:pt x="124151" y="217970"/>
                      <a:pt x="122182" y="217970"/>
                      <a:pt x="120869" y="217314"/>
                    </a:cubicBezTo>
                    <a:cubicBezTo>
                      <a:pt x="78197" y="205497"/>
                      <a:pt x="42747" y="177268"/>
                      <a:pt x="21084" y="138536"/>
                    </a:cubicBezTo>
                    <a:cubicBezTo>
                      <a:pt x="-580" y="99804"/>
                      <a:pt x="-5832" y="55164"/>
                      <a:pt x="6641" y="12493"/>
                    </a:cubicBezTo>
                    <a:cubicBezTo>
                      <a:pt x="9267" y="3302"/>
                      <a:pt x="19114" y="-1950"/>
                      <a:pt x="28305" y="676"/>
                    </a:cubicBezTo>
                    <a:cubicBezTo>
                      <a:pt x="37496" y="3302"/>
                      <a:pt x="42747" y="13149"/>
                      <a:pt x="40122" y="22340"/>
                    </a:cubicBezTo>
                    <a:cubicBezTo>
                      <a:pt x="30275" y="55820"/>
                      <a:pt x="34870" y="91270"/>
                      <a:pt x="51938" y="121468"/>
                    </a:cubicBezTo>
                    <a:cubicBezTo>
                      <a:pt x="69007" y="151666"/>
                      <a:pt x="96579" y="173986"/>
                      <a:pt x="130716" y="183833"/>
                    </a:cubicBezTo>
                    <a:cubicBezTo>
                      <a:pt x="139907" y="186459"/>
                      <a:pt x="145158" y="196306"/>
                      <a:pt x="142532" y="205497"/>
                    </a:cubicBezTo>
                    <a:cubicBezTo>
                      <a:pt x="139907" y="212718"/>
                      <a:pt x="133342" y="217970"/>
                      <a:pt x="125464" y="217970"/>
                    </a:cubicBezTo>
                    <a:lnTo>
                      <a:pt x="125464" y="217970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67" name="Forma Livre: Forma 66">
                <a:extLst>
                  <a:ext uri="{FF2B5EF4-FFF2-40B4-BE49-F238E27FC236}">
                    <a16:creationId xmlns:a16="http://schemas.microsoft.com/office/drawing/2014/main" id="{EF872429-C37B-4178-954A-F3CEE9C42E46}"/>
                  </a:ext>
                </a:extLst>
              </p:cNvPr>
              <p:cNvSpPr/>
              <p:nvPr/>
            </p:nvSpPr>
            <p:spPr>
              <a:xfrm>
                <a:off x="7702132" y="1849083"/>
                <a:ext cx="117389" cy="165700"/>
              </a:xfrm>
              <a:custGeom>
                <a:avLst/>
                <a:gdLst>
                  <a:gd name="connsiteX0" fmla="*/ 100053 w 117389"/>
                  <a:gd name="connsiteY0" fmla="*/ 165701 h 165700"/>
                  <a:gd name="connsiteX1" fmla="*/ 91518 w 117389"/>
                  <a:gd name="connsiteY1" fmla="*/ 163075 h 165700"/>
                  <a:gd name="connsiteX2" fmla="*/ 8802 w 117389"/>
                  <a:gd name="connsiteY2" fmla="*/ 115152 h 165700"/>
                  <a:gd name="connsiteX3" fmla="*/ 2237 w 117389"/>
                  <a:gd name="connsiteY3" fmla="*/ 91518 h 165700"/>
                  <a:gd name="connsiteX4" fmla="*/ 50160 w 117389"/>
                  <a:gd name="connsiteY4" fmla="*/ 8802 h 165700"/>
                  <a:gd name="connsiteX5" fmla="*/ 73794 w 117389"/>
                  <a:gd name="connsiteY5" fmla="*/ 2237 h 165700"/>
                  <a:gd name="connsiteX6" fmla="*/ 80359 w 117389"/>
                  <a:gd name="connsiteY6" fmla="*/ 25871 h 165700"/>
                  <a:gd name="connsiteX7" fmla="*/ 40970 w 117389"/>
                  <a:gd name="connsiteY7" fmla="*/ 93488 h 165700"/>
                  <a:gd name="connsiteX8" fmla="*/ 108587 w 117389"/>
                  <a:gd name="connsiteY8" fmla="*/ 132877 h 165700"/>
                  <a:gd name="connsiteX9" fmla="*/ 115151 w 117389"/>
                  <a:gd name="connsiteY9" fmla="*/ 156510 h 165700"/>
                  <a:gd name="connsiteX10" fmla="*/ 100053 w 117389"/>
                  <a:gd name="connsiteY10" fmla="*/ 165701 h 165700"/>
                  <a:gd name="connsiteX11" fmla="*/ 100053 w 117389"/>
                  <a:gd name="connsiteY11" fmla="*/ 165701 h 165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7389" h="165700">
                    <a:moveTo>
                      <a:pt x="100053" y="165701"/>
                    </a:moveTo>
                    <a:cubicBezTo>
                      <a:pt x="96770" y="165701"/>
                      <a:pt x="94144" y="165044"/>
                      <a:pt x="91518" y="163075"/>
                    </a:cubicBezTo>
                    <a:lnTo>
                      <a:pt x="8802" y="115152"/>
                    </a:lnTo>
                    <a:cubicBezTo>
                      <a:pt x="268" y="110556"/>
                      <a:pt x="-2358" y="99396"/>
                      <a:pt x="2237" y="91518"/>
                    </a:cubicBezTo>
                    <a:lnTo>
                      <a:pt x="50160" y="8802"/>
                    </a:lnTo>
                    <a:cubicBezTo>
                      <a:pt x="54756" y="268"/>
                      <a:pt x="65916" y="-2358"/>
                      <a:pt x="73794" y="2237"/>
                    </a:cubicBezTo>
                    <a:cubicBezTo>
                      <a:pt x="82328" y="6833"/>
                      <a:pt x="84954" y="17993"/>
                      <a:pt x="80359" y="25871"/>
                    </a:cubicBezTo>
                    <a:lnTo>
                      <a:pt x="40970" y="93488"/>
                    </a:lnTo>
                    <a:lnTo>
                      <a:pt x="108587" y="132877"/>
                    </a:lnTo>
                    <a:cubicBezTo>
                      <a:pt x="117121" y="137472"/>
                      <a:pt x="119747" y="148632"/>
                      <a:pt x="115151" y="156510"/>
                    </a:cubicBezTo>
                    <a:cubicBezTo>
                      <a:pt x="111869" y="162418"/>
                      <a:pt x="105961" y="165701"/>
                      <a:pt x="100053" y="165701"/>
                    </a:cubicBezTo>
                    <a:lnTo>
                      <a:pt x="100053" y="165701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68" name="Forma Livre: Forma 67">
                <a:extLst>
                  <a:ext uri="{FF2B5EF4-FFF2-40B4-BE49-F238E27FC236}">
                    <a16:creationId xmlns:a16="http://schemas.microsoft.com/office/drawing/2014/main" id="{B08B0E1A-FD30-4426-92A0-0FCA18F20665}"/>
                  </a:ext>
                </a:extLst>
              </p:cNvPr>
              <p:cNvSpPr/>
              <p:nvPr/>
            </p:nvSpPr>
            <p:spPr>
              <a:xfrm>
                <a:off x="7737223" y="1745658"/>
                <a:ext cx="146424" cy="214638"/>
              </a:xfrm>
              <a:custGeom>
                <a:avLst/>
                <a:gdLst>
                  <a:gd name="connsiteX0" fmla="*/ 17695 w 146424"/>
                  <a:gd name="connsiteY0" fmla="*/ 214638 h 214638"/>
                  <a:gd name="connsiteX1" fmla="*/ 627 w 146424"/>
                  <a:gd name="connsiteY1" fmla="*/ 201509 h 214638"/>
                  <a:gd name="connsiteX2" fmla="*/ 13100 w 146424"/>
                  <a:gd name="connsiteY2" fmla="*/ 180502 h 214638"/>
                  <a:gd name="connsiteX3" fmla="*/ 93190 w 146424"/>
                  <a:gd name="connsiteY3" fmla="*/ 120762 h 214638"/>
                  <a:gd name="connsiteX4" fmla="*/ 107633 w 146424"/>
                  <a:gd name="connsiteY4" fmla="*/ 21634 h 214638"/>
                  <a:gd name="connsiteX5" fmla="*/ 120106 w 146424"/>
                  <a:gd name="connsiteY5" fmla="*/ 627 h 214638"/>
                  <a:gd name="connsiteX6" fmla="*/ 141113 w 146424"/>
                  <a:gd name="connsiteY6" fmla="*/ 13100 h 214638"/>
                  <a:gd name="connsiteX7" fmla="*/ 122731 w 146424"/>
                  <a:gd name="connsiteY7" fmla="*/ 138487 h 214638"/>
                  <a:gd name="connsiteX8" fmla="*/ 20978 w 146424"/>
                  <a:gd name="connsiteY8" fmla="*/ 213982 h 214638"/>
                  <a:gd name="connsiteX9" fmla="*/ 17695 w 146424"/>
                  <a:gd name="connsiteY9" fmla="*/ 214638 h 214638"/>
                  <a:gd name="connsiteX10" fmla="*/ 17695 w 146424"/>
                  <a:gd name="connsiteY10" fmla="*/ 214638 h 2146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46424" h="214638">
                    <a:moveTo>
                      <a:pt x="17695" y="214638"/>
                    </a:moveTo>
                    <a:cubicBezTo>
                      <a:pt x="9817" y="214638"/>
                      <a:pt x="2596" y="209387"/>
                      <a:pt x="627" y="201509"/>
                    </a:cubicBezTo>
                    <a:cubicBezTo>
                      <a:pt x="-1999" y="192318"/>
                      <a:pt x="3909" y="182471"/>
                      <a:pt x="13100" y="180502"/>
                    </a:cubicBezTo>
                    <a:cubicBezTo>
                      <a:pt x="47237" y="171967"/>
                      <a:pt x="75465" y="150960"/>
                      <a:pt x="93190" y="120762"/>
                    </a:cubicBezTo>
                    <a:cubicBezTo>
                      <a:pt x="110915" y="90564"/>
                      <a:pt x="116166" y="55771"/>
                      <a:pt x="107633" y="21634"/>
                    </a:cubicBezTo>
                    <a:cubicBezTo>
                      <a:pt x="105007" y="12443"/>
                      <a:pt x="110915" y="2596"/>
                      <a:pt x="120106" y="627"/>
                    </a:cubicBezTo>
                    <a:cubicBezTo>
                      <a:pt x="129296" y="-1999"/>
                      <a:pt x="139143" y="3909"/>
                      <a:pt x="141113" y="13100"/>
                    </a:cubicBezTo>
                    <a:cubicBezTo>
                      <a:pt x="152273" y="55771"/>
                      <a:pt x="145708" y="100411"/>
                      <a:pt x="122731" y="138487"/>
                    </a:cubicBezTo>
                    <a:cubicBezTo>
                      <a:pt x="99755" y="176563"/>
                      <a:pt x="63648" y="203478"/>
                      <a:pt x="20978" y="213982"/>
                    </a:cubicBezTo>
                    <a:cubicBezTo>
                      <a:pt x="20978" y="213982"/>
                      <a:pt x="19008" y="214638"/>
                      <a:pt x="17695" y="214638"/>
                    </a:cubicBezTo>
                    <a:lnTo>
                      <a:pt x="17695" y="214638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69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8590853" y="1607111"/>
              <a:ext cx="394723" cy="402420"/>
              <a:chOff x="8590853" y="1607111"/>
              <a:chExt cx="394723" cy="402420"/>
            </a:xfrm>
            <a:grpFill/>
          </p:grpSpPr>
          <p:sp>
            <p:nvSpPr>
              <p:cNvPr id="70" name="Forma Livre: Forma 69">
                <a:extLst>
                  <a:ext uri="{FF2B5EF4-FFF2-40B4-BE49-F238E27FC236}">
                    <a16:creationId xmlns:a16="http://schemas.microsoft.com/office/drawing/2014/main" id="{5EF07AD7-E7A1-47E9-926C-B78639315A68}"/>
                  </a:ext>
                </a:extLst>
              </p:cNvPr>
              <p:cNvSpPr/>
              <p:nvPr/>
            </p:nvSpPr>
            <p:spPr>
              <a:xfrm>
                <a:off x="8590853" y="1623447"/>
                <a:ext cx="394723" cy="386085"/>
              </a:xfrm>
              <a:custGeom>
                <a:avLst/>
                <a:gdLst>
                  <a:gd name="connsiteX0" fmla="*/ 197361 w 394723"/>
                  <a:gd name="connsiteY0" fmla="*/ 386085 h 386085"/>
                  <a:gd name="connsiteX1" fmla="*/ 131714 w 394723"/>
                  <a:gd name="connsiteY1" fmla="*/ 374925 h 386085"/>
                  <a:gd name="connsiteX2" fmla="*/ 19456 w 394723"/>
                  <a:gd name="connsiteY2" fmla="*/ 273828 h 386085"/>
                  <a:gd name="connsiteX3" fmla="*/ 11579 w 394723"/>
                  <a:gd name="connsiteY3" fmla="*/ 122838 h 386085"/>
                  <a:gd name="connsiteX4" fmla="*/ 107424 w 394723"/>
                  <a:gd name="connsiteY4" fmla="*/ 13206 h 386085"/>
                  <a:gd name="connsiteX5" fmla="*/ 136966 w 394723"/>
                  <a:gd name="connsiteY5" fmla="*/ 733 h 386085"/>
                  <a:gd name="connsiteX6" fmla="*/ 158629 w 394723"/>
                  <a:gd name="connsiteY6" fmla="*/ 11893 h 386085"/>
                  <a:gd name="connsiteX7" fmla="*/ 147469 w 394723"/>
                  <a:gd name="connsiteY7" fmla="*/ 33557 h 386085"/>
                  <a:gd name="connsiteX8" fmla="*/ 123180 w 394723"/>
                  <a:gd name="connsiteY8" fmla="*/ 43404 h 386085"/>
                  <a:gd name="connsiteX9" fmla="*/ 44403 w 394723"/>
                  <a:gd name="connsiteY9" fmla="*/ 133998 h 386085"/>
                  <a:gd name="connsiteX10" fmla="*/ 50967 w 394723"/>
                  <a:gd name="connsiteY10" fmla="*/ 258072 h 386085"/>
                  <a:gd name="connsiteX11" fmla="*/ 143531 w 394723"/>
                  <a:gd name="connsiteY11" fmla="*/ 341445 h 386085"/>
                  <a:gd name="connsiteX12" fmla="*/ 267605 w 394723"/>
                  <a:gd name="connsiteY12" fmla="*/ 334880 h 386085"/>
                  <a:gd name="connsiteX13" fmla="*/ 350321 w 394723"/>
                  <a:gd name="connsiteY13" fmla="*/ 242317 h 386085"/>
                  <a:gd name="connsiteX14" fmla="*/ 343756 w 394723"/>
                  <a:gd name="connsiteY14" fmla="*/ 118242 h 386085"/>
                  <a:gd name="connsiteX15" fmla="*/ 251193 w 394723"/>
                  <a:gd name="connsiteY15" fmla="*/ 34870 h 386085"/>
                  <a:gd name="connsiteX16" fmla="*/ 240689 w 394723"/>
                  <a:gd name="connsiteY16" fmla="*/ 12549 h 386085"/>
                  <a:gd name="connsiteX17" fmla="*/ 263009 w 394723"/>
                  <a:gd name="connsiteY17" fmla="*/ 2046 h 386085"/>
                  <a:gd name="connsiteX18" fmla="*/ 375267 w 394723"/>
                  <a:gd name="connsiteY18" fmla="*/ 103143 h 386085"/>
                  <a:gd name="connsiteX19" fmla="*/ 383145 w 394723"/>
                  <a:gd name="connsiteY19" fmla="*/ 254133 h 386085"/>
                  <a:gd name="connsiteX20" fmla="*/ 282047 w 394723"/>
                  <a:gd name="connsiteY20" fmla="*/ 366391 h 386085"/>
                  <a:gd name="connsiteX21" fmla="*/ 197361 w 394723"/>
                  <a:gd name="connsiteY21" fmla="*/ 386085 h 386085"/>
                  <a:gd name="connsiteX22" fmla="*/ 197361 w 394723"/>
                  <a:gd name="connsiteY22" fmla="*/ 386085 h 3860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394723" h="386085">
                    <a:moveTo>
                      <a:pt x="197361" y="386085"/>
                    </a:moveTo>
                    <a:cubicBezTo>
                      <a:pt x="175041" y="386085"/>
                      <a:pt x="152721" y="382146"/>
                      <a:pt x="131714" y="374925"/>
                    </a:cubicBezTo>
                    <a:cubicBezTo>
                      <a:pt x="81822" y="357200"/>
                      <a:pt x="42433" y="321750"/>
                      <a:pt x="19456" y="273828"/>
                    </a:cubicBezTo>
                    <a:cubicBezTo>
                      <a:pt x="-3521" y="226561"/>
                      <a:pt x="-6147" y="172730"/>
                      <a:pt x="11579" y="122838"/>
                    </a:cubicBezTo>
                    <a:cubicBezTo>
                      <a:pt x="28647" y="74915"/>
                      <a:pt x="62783" y="36183"/>
                      <a:pt x="107424" y="13206"/>
                    </a:cubicBezTo>
                    <a:cubicBezTo>
                      <a:pt x="116615" y="8611"/>
                      <a:pt x="127119" y="4015"/>
                      <a:pt x="136966" y="733"/>
                    </a:cubicBezTo>
                    <a:cubicBezTo>
                      <a:pt x="146157" y="-1893"/>
                      <a:pt x="156004" y="2702"/>
                      <a:pt x="158629" y="11893"/>
                    </a:cubicBezTo>
                    <a:cubicBezTo>
                      <a:pt x="161255" y="21084"/>
                      <a:pt x="156660" y="30931"/>
                      <a:pt x="147469" y="33557"/>
                    </a:cubicBezTo>
                    <a:cubicBezTo>
                      <a:pt x="138935" y="36183"/>
                      <a:pt x="131057" y="39465"/>
                      <a:pt x="123180" y="43404"/>
                    </a:cubicBezTo>
                    <a:cubicBezTo>
                      <a:pt x="85760" y="62442"/>
                      <a:pt x="58188" y="94609"/>
                      <a:pt x="44403" y="133998"/>
                    </a:cubicBezTo>
                    <a:cubicBezTo>
                      <a:pt x="29960" y="174699"/>
                      <a:pt x="32586" y="218683"/>
                      <a:pt x="50967" y="258072"/>
                    </a:cubicBezTo>
                    <a:cubicBezTo>
                      <a:pt x="69348" y="297461"/>
                      <a:pt x="102172" y="327002"/>
                      <a:pt x="143531" y="341445"/>
                    </a:cubicBezTo>
                    <a:cubicBezTo>
                      <a:pt x="184232" y="355887"/>
                      <a:pt x="228216" y="353261"/>
                      <a:pt x="267605" y="334880"/>
                    </a:cubicBezTo>
                    <a:cubicBezTo>
                      <a:pt x="306994" y="316499"/>
                      <a:pt x="335878" y="283675"/>
                      <a:pt x="350321" y="242317"/>
                    </a:cubicBezTo>
                    <a:cubicBezTo>
                      <a:pt x="364763" y="201615"/>
                      <a:pt x="362137" y="157631"/>
                      <a:pt x="343756" y="118242"/>
                    </a:cubicBezTo>
                    <a:cubicBezTo>
                      <a:pt x="325375" y="78854"/>
                      <a:pt x="292551" y="49312"/>
                      <a:pt x="251193" y="34870"/>
                    </a:cubicBezTo>
                    <a:cubicBezTo>
                      <a:pt x="242002" y="31587"/>
                      <a:pt x="237406" y="21740"/>
                      <a:pt x="240689" y="12549"/>
                    </a:cubicBezTo>
                    <a:cubicBezTo>
                      <a:pt x="243971" y="3359"/>
                      <a:pt x="253818" y="-1237"/>
                      <a:pt x="263009" y="2046"/>
                    </a:cubicBezTo>
                    <a:cubicBezTo>
                      <a:pt x="312901" y="19771"/>
                      <a:pt x="352290" y="55220"/>
                      <a:pt x="375267" y="103143"/>
                    </a:cubicBezTo>
                    <a:cubicBezTo>
                      <a:pt x="398244" y="150410"/>
                      <a:pt x="400870" y="204241"/>
                      <a:pt x="383145" y="254133"/>
                    </a:cubicBezTo>
                    <a:cubicBezTo>
                      <a:pt x="365420" y="304026"/>
                      <a:pt x="329970" y="343414"/>
                      <a:pt x="282047" y="366391"/>
                    </a:cubicBezTo>
                    <a:cubicBezTo>
                      <a:pt x="255132" y="379521"/>
                      <a:pt x="226247" y="386085"/>
                      <a:pt x="197361" y="386085"/>
                    </a:cubicBezTo>
                    <a:lnTo>
                      <a:pt x="197361" y="386085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grpSp>
            <p:nvGrpSpPr>
              <p:cNvPr id="71" name="Gráfico 2">
                <a:extLst>
                  <a:ext uri="{FF2B5EF4-FFF2-40B4-BE49-F238E27FC236}">
                    <a16:creationId xmlns:a16="http://schemas.microsoft.com/office/drawing/2014/main" id="{4A08825F-1C42-4C63-A6FE-BBB3DD9D4FEB}"/>
                  </a:ext>
                </a:extLst>
              </p:cNvPr>
              <p:cNvGrpSpPr/>
              <p:nvPr/>
            </p:nvGrpSpPr>
            <p:grpSpPr>
              <a:xfrm>
                <a:off x="8594553" y="1607111"/>
                <a:ext cx="386009" cy="161493"/>
                <a:chOff x="8594553" y="1607111"/>
                <a:chExt cx="386009" cy="161493"/>
              </a:xfrm>
              <a:grpFill/>
            </p:grpSpPr>
            <p:sp>
              <p:nvSpPr>
                <p:cNvPr id="72" name="Forma Livre: Forma 71">
                  <a:extLst>
                    <a:ext uri="{FF2B5EF4-FFF2-40B4-BE49-F238E27FC236}">
                      <a16:creationId xmlns:a16="http://schemas.microsoft.com/office/drawing/2014/main" id="{FC84B9EA-FC8D-46D3-AFFC-37FF4B27F1EC}"/>
                    </a:ext>
                  </a:extLst>
                </p:cNvPr>
                <p:cNvSpPr/>
                <p:nvPr/>
              </p:nvSpPr>
              <p:spPr>
                <a:xfrm>
                  <a:off x="8819726" y="1607768"/>
                  <a:ext cx="160837" cy="160837"/>
                </a:xfrm>
                <a:custGeom>
                  <a:avLst/>
                  <a:gdLst>
                    <a:gd name="connsiteX0" fmla="*/ 17725 w 160837"/>
                    <a:gd name="connsiteY0" fmla="*/ 160837 h 160837"/>
                    <a:gd name="connsiteX1" fmla="*/ 0 w 160837"/>
                    <a:gd name="connsiteY1" fmla="*/ 143112 h 160837"/>
                    <a:gd name="connsiteX2" fmla="*/ 0 w 160837"/>
                    <a:gd name="connsiteY2" fmla="*/ 17725 h 160837"/>
                    <a:gd name="connsiteX3" fmla="*/ 17725 w 160837"/>
                    <a:gd name="connsiteY3" fmla="*/ 0 h 160837"/>
                    <a:gd name="connsiteX4" fmla="*/ 143112 w 160837"/>
                    <a:gd name="connsiteY4" fmla="*/ 0 h 160837"/>
                    <a:gd name="connsiteX5" fmla="*/ 160837 w 160837"/>
                    <a:gd name="connsiteY5" fmla="*/ 17725 h 160837"/>
                    <a:gd name="connsiteX6" fmla="*/ 143112 w 160837"/>
                    <a:gd name="connsiteY6" fmla="*/ 35450 h 160837"/>
                    <a:gd name="connsiteX7" fmla="*/ 34793 w 160837"/>
                    <a:gd name="connsiteY7" fmla="*/ 35450 h 160837"/>
                    <a:gd name="connsiteX8" fmla="*/ 34793 w 160837"/>
                    <a:gd name="connsiteY8" fmla="*/ 143769 h 160837"/>
                    <a:gd name="connsiteX9" fmla="*/ 17725 w 160837"/>
                    <a:gd name="connsiteY9" fmla="*/ 160837 h 160837"/>
                    <a:gd name="connsiteX10" fmla="*/ 17725 w 160837"/>
                    <a:gd name="connsiteY10" fmla="*/ 160837 h 1608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60837" h="160837">
                      <a:moveTo>
                        <a:pt x="17725" y="160837"/>
                      </a:moveTo>
                      <a:cubicBezTo>
                        <a:pt x="7877" y="160837"/>
                        <a:pt x="0" y="152959"/>
                        <a:pt x="0" y="143112"/>
                      </a:cubicBezTo>
                      <a:lnTo>
                        <a:pt x="0" y="17725"/>
                      </a:lnTo>
                      <a:cubicBezTo>
                        <a:pt x="0" y="7878"/>
                        <a:pt x="7877" y="0"/>
                        <a:pt x="17725" y="0"/>
                      </a:cubicBezTo>
                      <a:lnTo>
                        <a:pt x="143112" y="0"/>
                      </a:lnTo>
                      <a:cubicBezTo>
                        <a:pt x="152959" y="0"/>
                        <a:pt x="160837" y="7878"/>
                        <a:pt x="160837" y="17725"/>
                      </a:cubicBezTo>
                      <a:cubicBezTo>
                        <a:pt x="160837" y="27572"/>
                        <a:pt x="152959" y="35450"/>
                        <a:pt x="143112" y="35450"/>
                      </a:cubicBezTo>
                      <a:lnTo>
                        <a:pt x="34793" y="35450"/>
                      </a:lnTo>
                      <a:lnTo>
                        <a:pt x="34793" y="143769"/>
                      </a:lnTo>
                      <a:cubicBezTo>
                        <a:pt x="35450" y="152959"/>
                        <a:pt x="27572" y="160837"/>
                        <a:pt x="17725" y="160837"/>
                      </a:cubicBezTo>
                      <a:lnTo>
                        <a:pt x="17725" y="160837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73" name="Forma Livre: Forma 72">
                  <a:extLst>
                    <a:ext uri="{FF2B5EF4-FFF2-40B4-BE49-F238E27FC236}">
                      <a16:creationId xmlns:a16="http://schemas.microsoft.com/office/drawing/2014/main" id="{FC178B4E-F49A-41C2-88AE-1D0D76178361}"/>
                    </a:ext>
                  </a:extLst>
                </p:cNvPr>
                <p:cNvSpPr/>
                <p:nvPr/>
              </p:nvSpPr>
              <p:spPr>
                <a:xfrm>
                  <a:off x="8594553" y="1607111"/>
                  <a:ext cx="160875" cy="161493"/>
                </a:xfrm>
                <a:custGeom>
                  <a:avLst/>
                  <a:gdLst>
                    <a:gd name="connsiteX0" fmla="*/ 143769 w 160875"/>
                    <a:gd name="connsiteY0" fmla="*/ 161494 h 161493"/>
                    <a:gd name="connsiteX1" fmla="*/ 126044 w 160875"/>
                    <a:gd name="connsiteY1" fmla="*/ 143769 h 161493"/>
                    <a:gd name="connsiteX2" fmla="*/ 126044 w 160875"/>
                    <a:gd name="connsiteY2" fmla="*/ 35450 h 161493"/>
                    <a:gd name="connsiteX3" fmla="*/ 17725 w 160875"/>
                    <a:gd name="connsiteY3" fmla="*/ 35450 h 161493"/>
                    <a:gd name="connsiteX4" fmla="*/ 0 w 160875"/>
                    <a:gd name="connsiteY4" fmla="*/ 17725 h 161493"/>
                    <a:gd name="connsiteX5" fmla="*/ 17725 w 160875"/>
                    <a:gd name="connsiteY5" fmla="*/ 0 h 161493"/>
                    <a:gd name="connsiteX6" fmla="*/ 143112 w 160875"/>
                    <a:gd name="connsiteY6" fmla="*/ 0 h 161493"/>
                    <a:gd name="connsiteX7" fmla="*/ 160837 w 160875"/>
                    <a:gd name="connsiteY7" fmla="*/ 17725 h 161493"/>
                    <a:gd name="connsiteX8" fmla="*/ 160837 w 160875"/>
                    <a:gd name="connsiteY8" fmla="*/ 143112 h 161493"/>
                    <a:gd name="connsiteX9" fmla="*/ 143769 w 160875"/>
                    <a:gd name="connsiteY9" fmla="*/ 161494 h 161493"/>
                    <a:gd name="connsiteX10" fmla="*/ 143769 w 160875"/>
                    <a:gd name="connsiteY10" fmla="*/ 161494 h 1614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60875" h="161493">
                      <a:moveTo>
                        <a:pt x="143769" y="161494"/>
                      </a:moveTo>
                      <a:cubicBezTo>
                        <a:pt x="133922" y="161494"/>
                        <a:pt x="126044" y="153616"/>
                        <a:pt x="126044" y="143769"/>
                      </a:cubicBezTo>
                      <a:lnTo>
                        <a:pt x="126044" y="35450"/>
                      </a:lnTo>
                      <a:lnTo>
                        <a:pt x="17725" y="35450"/>
                      </a:lnTo>
                      <a:cubicBezTo>
                        <a:pt x="7878" y="35450"/>
                        <a:pt x="0" y="27572"/>
                        <a:pt x="0" y="17725"/>
                      </a:cubicBezTo>
                      <a:cubicBezTo>
                        <a:pt x="0" y="7878"/>
                        <a:pt x="7878" y="0"/>
                        <a:pt x="17725" y="0"/>
                      </a:cubicBezTo>
                      <a:lnTo>
                        <a:pt x="143112" y="0"/>
                      </a:lnTo>
                      <a:cubicBezTo>
                        <a:pt x="152960" y="0"/>
                        <a:pt x="160837" y="7878"/>
                        <a:pt x="160837" y="17725"/>
                      </a:cubicBezTo>
                      <a:lnTo>
                        <a:pt x="160837" y="143112"/>
                      </a:lnTo>
                      <a:cubicBezTo>
                        <a:pt x="161493" y="153616"/>
                        <a:pt x="153616" y="161494"/>
                        <a:pt x="143769" y="161494"/>
                      </a:cubicBezTo>
                      <a:lnTo>
                        <a:pt x="143769" y="161494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</p:grpSp>
        <p:grpSp>
          <p:nvGrpSpPr>
            <p:cNvPr id="74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9650617" y="1607111"/>
              <a:ext cx="393857" cy="402420"/>
              <a:chOff x="9650617" y="1607111"/>
              <a:chExt cx="393857" cy="402420"/>
            </a:xfrm>
            <a:grpFill/>
          </p:grpSpPr>
          <p:grpSp>
            <p:nvGrpSpPr>
              <p:cNvPr id="75" name="Gráfico 2">
                <a:extLst>
                  <a:ext uri="{FF2B5EF4-FFF2-40B4-BE49-F238E27FC236}">
                    <a16:creationId xmlns:a16="http://schemas.microsoft.com/office/drawing/2014/main" id="{4A08825F-1C42-4C63-A6FE-BBB3DD9D4FEB}"/>
                  </a:ext>
                </a:extLst>
              </p:cNvPr>
              <p:cNvGrpSpPr/>
              <p:nvPr/>
            </p:nvGrpSpPr>
            <p:grpSpPr>
              <a:xfrm>
                <a:off x="9650617" y="1607111"/>
                <a:ext cx="165640" cy="402420"/>
                <a:chOff x="9650617" y="1607111"/>
                <a:chExt cx="165640" cy="402420"/>
              </a:xfrm>
              <a:grpFill/>
            </p:grpSpPr>
            <p:sp>
              <p:nvSpPr>
                <p:cNvPr id="76" name="Forma Livre: Forma 75">
                  <a:extLst>
                    <a:ext uri="{FF2B5EF4-FFF2-40B4-BE49-F238E27FC236}">
                      <a16:creationId xmlns:a16="http://schemas.microsoft.com/office/drawing/2014/main" id="{4F490FFE-A9AE-4A14-AD79-23BE46EBCDD5}"/>
                    </a:ext>
                  </a:extLst>
                </p:cNvPr>
                <p:cNvSpPr/>
                <p:nvPr/>
              </p:nvSpPr>
              <p:spPr>
                <a:xfrm>
                  <a:off x="9654109" y="1607111"/>
                  <a:ext cx="160837" cy="161493"/>
                </a:xfrm>
                <a:custGeom>
                  <a:avLst/>
                  <a:gdLst>
                    <a:gd name="connsiteX0" fmla="*/ 143769 w 160837"/>
                    <a:gd name="connsiteY0" fmla="*/ 161494 h 161493"/>
                    <a:gd name="connsiteX1" fmla="*/ 126043 w 160837"/>
                    <a:gd name="connsiteY1" fmla="*/ 143769 h 161493"/>
                    <a:gd name="connsiteX2" fmla="*/ 126043 w 160837"/>
                    <a:gd name="connsiteY2" fmla="*/ 35450 h 161493"/>
                    <a:gd name="connsiteX3" fmla="*/ 17725 w 160837"/>
                    <a:gd name="connsiteY3" fmla="*/ 35450 h 161493"/>
                    <a:gd name="connsiteX4" fmla="*/ 0 w 160837"/>
                    <a:gd name="connsiteY4" fmla="*/ 17725 h 161493"/>
                    <a:gd name="connsiteX5" fmla="*/ 17725 w 160837"/>
                    <a:gd name="connsiteY5" fmla="*/ 0 h 161493"/>
                    <a:gd name="connsiteX6" fmla="*/ 143112 w 160837"/>
                    <a:gd name="connsiteY6" fmla="*/ 0 h 161493"/>
                    <a:gd name="connsiteX7" fmla="*/ 160837 w 160837"/>
                    <a:gd name="connsiteY7" fmla="*/ 17725 h 161493"/>
                    <a:gd name="connsiteX8" fmla="*/ 160837 w 160837"/>
                    <a:gd name="connsiteY8" fmla="*/ 143112 h 161493"/>
                    <a:gd name="connsiteX9" fmla="*/ 143769 w 160837"/>
                    <a:gd name="connsiteY9" fmla="*/ 161494 h 161493"/>
                    <a:gd name="connsiteX10" fmla="*/ 143769 w 160837"/>
                    <a:gd name="connsiteY10" fmla="*/ 161494 h 1614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60837" h="161493">
                      <a:moveTo>
                        <a:pt x="143769" y="161494"/>
                      </a:moveTo>
                      <a:cubicBezTo>
                        <a:pt x="133922" y="161494"/>
                        <a:pt x="126043" y="153616"/>
                        <a:pt x="126043" y="143769"/>
                      </a:cubicBezTo>
                      <a:lnTo>
                        <a:pt x="126043" y="35450"/>
                      </a:lnTo>
                      <a:lnTo>
                        <a:pt x="17725" y="35450"/>
                      </a:lnTo>
                      <a:cubicBezTo>
                        <a:pt x="7877" y="35450"/>
                        <a:pt x="0" y="27572"/>
                        <a:pt x="0" y="17725"/>
                      </a:cubicBezTo>
                      <a:cubicBezTo>
                        <a:pt x="0" y="7878"/>
                        <a:pt x="7877" y="0"/>
                        <a:pt x="17725" y="0"/>
                      </a:cubicBezTo>
                      <a:lnTo>
                        <a:pt x="143112" y="0"/>
                      </a:lnTo>
                      <a:cubicBezTo>
                        <a:pt x="152960" y="0"/>
                        <a:pt x="160837" y="7878"/>
                        <a:pt x="160837" y="17725"/>
                      </a:cubicBezTo>
                      <a:lnTo>
                        <a:pt x="160837" y="143112"/>
                      </a:lnTo>
                      <a:cubicBezTo>
                        <a:pt x="160837" y="153616"/>
                        <a:pt x="152960" y="161494"/>
                        <a:pt x="143769" y="161494"/>
                      </a:cubicBezTo>
                      <a:lnTo>
                        <a:pt x="143769" y="161494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77" name="Forma Livre: Forma 76">
                  <a:extLst>
                    <a:ext uri="{FF2B5EF4-FFF2-40B4-BE49-F238E27FC236}">
                      <a16:creationId xmlns:a16="http://schemas.microsoft.com/office/drawing/2014/main" id="{72B92DE6-298A-418B-AF93-8175BA1C2E35}"/>
                    </a:ext>
                  </a:extLst>
                </p:cNvPr>
                <p:cNvSpPr/>
                <p:nvPr/>
              </p:nvSpPr>
              <p:spPr>
                <a:xfrm>
                  <a:off x="9650617" y="1617870"/>
                  <a:ext cx="159402" cy="375906"/>
                </a:xfrm>
                <a:custGeom>
                  <a:avLst/>
                  <a:gdLst>
                    <a:gd name="connsiteX0" fmla="*/ 142008 w 159402"/>
                    <a:gd name="connsiteY0" fmla="*/ 375906 h 375906"/>
                    <a:gd name="connsiteX1" fmla="*/ 136757 w 159402"/>
                    <a:gd name="connsiteY1" fmla="*/ 375250 h 375906"/>
                    <a:gd name="connsiteX2" fmla="*/ 107215 w 159402"/>
                    <a:gd name="connsiteY2" fmla="*/ 362777 h 375906"/>
                    <a:gd name="connsiteX3" fmla="*/ 11369 w 159402"/>
                    <a:gd name="connsiteY3" fmla="*/ 253145 h 375906"/>
                    <a:gd name="connsiteX4" fmla="*/ 19247 w 159402"/>
                    <a:gd name="connsiteY4" fmla="*/ 102155 h 375906"/>
                    <a:gd name="connsiteX5" fmla="*/ 131504 w 159402"/>
                    <a:gd name="connsiteY5" fmla="*/ 1058 h 375906"/>
                    <a:gd name="connsiteX6" fmla="*/ 153825 w 159402"/>
                    <a:gd name="connsiteY6" fmla="*/ 11561 h 375906"/>
                    <a:gd name="connsiteX7" fmla="*/ 143321 w 159402"/>
                    <a:gd name="connsiteY7" fmla="*/ 33881 h 375906"/>
                    <a:gd name="connsiteX8" fmla="*/ 50757 w 159402"/>
                    <a:gd name="connsiteY8" fmla="*/ 117254 h 375906"/>
                    <a:gd name="connsiteX9" fmla="*/ 44193 w 159402"/>
                    <a:gd name="connsiteY9" fmla="*/ 241329 h 375906"/>
                    <a:gd name="connsiteX10" fmla="*/ 122970 w 159402"/>
                    <a:gd name="connsiteY10" fmla="*/ 331922 h 375906"/>
                    <a:gd name="connsiteX11" fmla="*/ 147260 w 159402"/>
                    <a:gd name="connsiteY11" fmla="*/ 341770 h 375906"/>
                    <a:gd name="connsiteX12" fmla="*/ 158420 w 159402"/>
                    <a:gd name="connsiteY12" fmla="*/ 363433 h 375906"/>
                    <a:gd name="connsiteX13" fmla="*/ 142008 w 159402"/>
                    <a:gd name="connsiteY13" fmla="*/ 375906 h 375906"/>
                    <a:gd name="connsiteX14" fmla="*/ 142008 w 159402"/>
                    <a:gd name="connsiteY14" fmla="*/ 375906 h 3759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59402" h="375906">
                      <a:moveTo>
                        <a:pt x="142008" y="375906"/>
                      </a:moveTo>
                      <a:cubicBezTo>
                        <a:pt x="140039" y="375906"/>
                        <a:pt x="138726" y="375906"/>
                        <a:pt x="136757" y="375250"/>
                      </a:cubicBezTo>
                      <a:cubicBezTo>
                        <a:pt x="126252" y="371968"/>
                        <a:pt x="116405" y="368029"/>
                        <a:pt x="107215" y="362777"/>
                      </a:cubicBezTo>
                      <a:cubicBezTo>
                        <a:pt x="61918" y="339800"/>
                        <a:pt x="27781" y="300412"/>
                        <a:pt x="11369" y="253145"/>
                      </a:cubicBezTo>
                      <a:cubicBezTo>
                        <a:pt x="-6356" y="203253"/>
                        <a:pt x="-3073" y="150078"/>
                        <a:pt x="19247" y="102155"/>
                      </a:cubicBezTo>
                      <a:cubicBezTo>
                        <a:pt x="42224" y="54889"/>
                        <a:pt x="81612" y="18782"/>
                        <a:pt x="131504" y="1058"/>
                      </a:cubicBezTo>
                      <a:cubicBezTo>
                        <a:pt x="140695" y="-2225"/>
                        <a:pt x="150542" y="2370"/>
                        <a:pt x="153825" y="11561"/>
                      </a:cubicBezTo>
                      <a:cubicBezTo>
                        <a:pt x="157107" y="20752"/>
                        <a:pt x="152511" y="30599"/>
                        <a:pt x="143321" y="33881"/>
                      </a:cubicBezTo>
                      <a:cubicBezTo>
                        <a:pt x="102619" y="48324"/>
                        <a:pt x="69795" y="77865"/>
                        <a:pt x="50757" y="117254"/>
                      </a:cubicBezTo>
                      <a:cubicBezTo>
                        <a:pt x="32376" y="156643"/>
                        <a:pt x="29750" y="200627"/>
                        <a:pt x="44193" y="241329"/>
                      </a:cubicBezTo>
                      <a:cubicBezTo>
                        <a:pt x="57979" y="280717"/>
                        <a:pt x="86207" y="312885"/>
                        <a:pt x="122970" y="331922"/>
                      </a:cubicBezTo>
                      <a:cubicBezTo>
                        <a:pt x="130848" y="335861"/>
                        <a:pt x="138726" y="339144"/>
                        <a:pt x="147260" y="341770"/>
                      </a:cubicBezTo>
                      <a:cubicBezTo>
                        <a:pt x="156451" y="344396"/>
                        <a:pt x="161702" y="354243"/>
                        <a:pt x="158420" y="363433"/>
                      </a:cubicBezTo>
                      <a:cubicBezTo>
                        <a:pt x="156451" y="371311"/>
                        <a:pt x="149229" y="375906"/>
                        <a:pt x="142008" y="375906"/>
                      </a:cubicBezTo>
                      <a:lnTo>
                        <a:pt x="142008" y="375906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78" name="Forma Livre: Forma 77">
                  <a:extLst>
                    <a:ext uri="{FF2B5EF4-FFF2-40B4-BE49-F238E27FC236}">
                      <a16:creationId xmlns:a16="http://schemas.microsoft.com/office/drawing/2014/main" id="{9746FD13-5DA6-41A4-8EFF-1721A84B6FD5}"/>
                    </a:ext>
                  </a:extLst>
                </p:cNvPr>
                <p:cNvSpPr/>
                <p:nvPr/>
              </p:nvSpPr>
              <p:spPr>
                <a:xfrm>
                  <a:off x="9654765" y="1848038"/>
                  <a:ext cx="161493" cy="161493"/>
                </a:xfrm>
                <a:custGeom>
                  <a:avLst/>
                  <a:gdLst>
                    <a:gd name="connsiteX0" fmla="*/ 143112 w 161493"/>
                    <a:gd name="connsiteY0" fmla="*/ 161494 h 161493"/>
                    <a:gd name="connsiteX1" fmla="*/ 17725 w 161493"/>
                    <a:gd name="connsiteY1" fmla="*/ 161494 h 161493"/>
                    <a:gd name="connsiteX2" fmla="*/ 0 w 161493"/>
                    <a:gd name="connsiteY2" fmla="*/ 143769 h 161493"/>
                    <a:gd name="connsiteX3" fmla="*/ 17725 w 161493"/>
                    <a:gd name="connsiteY3" fmla="*/ 126044 h 161493"/>
                    <a:gd name="connsiteX4" fmla="*/ 126044 w 161493"/>
                    <a:gd name="connsiteY4" fmla="*/ 126044 h 161493"/>
                    <a:gd name="connsiteX5" fmla="*/ 126044 w 161493"/>
                    <a:gd name="connsiteY5" fmla="*/ 17725 h 161493"/>
                    <a:gd name="connsiteX6" fmla="*/ 143769 w 161493"/>
                    <a:gd name="connsiteY6" fmla="*/ 0 h 161493"/>
                    <a:gd name="connsiteX7" fmla="*/ 161493 w 161493"/>
                    <a:gd name="connsiteY7" fmla="*/ 17725 h 161493"/>
                    <a:gd name="connsiteX8" fmla="*/ 161493 w 161493"/>
                    <a:gd name="connsiteY8" fmla="*/ 143112 h 161493"/>
                    <a:gd name="connsiteX9" fmla="*/ 143112 w 161493"/>
                    <a:gd name="connsiteY9" fmla="*/ 161494 h 161493"/>
                    <a:gd name="connsiteX10" fmla="*/ 143112 w 161493"/>
                    <a:gd name="connsiteY10" fmla="*/ 161494 h 1614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61493" h="161493">
                      <a:moveTo>
                        <a:pt x="143112" y="161494"/>
                      </a:moveTo>
                      <a:lnTo>
                        <a:pt x="17725" y="161494"/>
                      </a:lnTo>
                      <a:cubicBezTo>
                        <a:pt x="7878" y="161494"/>
                        <a:pt x="0" y="153616"/>
                        <a:pt x="0" y="143769"/>
                      </a:cubicBezTo>
                      <a:cubicBezTo>
                        <a:pt x="0" y="133922"/>
                        <a:pt x="7878" y="126044"/>
                        <a:pt x="17725" y="126044"/>
                      </a:cubicBezTo>
                      <a:lnTo>
                        <a:pt x="126044" y="126044"/>
                      </a:lnTo>
                      <a:lnTo>
                        <a:pt x="126044" y="17725"/>
                      </a:lnTo>
                      <a:cubicBezTo>
                        <a:pt x="126044" y="7878"/>
                        <a:pt x="133922" y="0"/>
                        <a:pt x="143769" y="0"/>
                      </a:cubicBezTo>
                      <a:cubicBezTo>
                        <a:pt x="153616" y="0"/>
                        <a:pt x="161493" y="7878"/>
                        <a:pt x="161493" y="17725"/>
                      </a:cubicBezTo>
                      <a:lnTo>
                        <a:pt x="161493" y="143112"/>
                      </a:lnTo>
                      <a:cubicBezTo>
                        <a:pt x="160181" y="153616"/>
                        <a:pt x="152303" y="161494"/>
                        <a:pt x="143112" y="161494"/>
                      </a:cubicBezTo>
                      <a:lnTo>
                        <a:pt x="143112" y="161494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grpSp>
            <p:nvGrpSpPr>
              <p:cNvPr id="79" name="Gráfico 2">
                <a:extLst>
                  <a:ext uri="{FF2B5EF4-FFF2-40B4-BE49-F238E27FC236}">
                    <a16:creationId xmlns:a16="http://schemas.microsoft.com/office/drawing/2014/main" id="{4A08825F-1C42-4C63-A6FE-BBB3DD9D4FEB}"/>
                  </a:ext>
                </a:extLst>
              </p:cNvPr>
              <p:cNvGrpSpPr/>
              <p:nvPr/>
            </p:nvGrpSpPr>
            <p:grpSpPr>
              <a:xfrm>
                <a:off x="9879281" y="1607768"/>
                <a:ext cx="165193" cy="401764"/>
                <a:chOff x="9879281" y="1607768"/>
                <a:chExt cx="165193" cy="401764"/>
              </a:xfrm>
              <a:grpFill/>
            </p:grpSpPr>
            <p:sp>
              <p:nvSpPr>
                <p:cNvPr id="80" name="Forma Livre: Forma 79">
                  <a:extLst>
                    <a:ext uri="{FF2B5EF4-FFF2-40B4-BE49-F238E27FC236}">
                      <a16:creationId xmlns:a16="http://schemas.microsoft.com/office/drawing/2014/main" id="{77DC7C27-9F86-4A47-A20E-44D08B478CC9}"/>
                    </a:ext>
                  </a:extLst>
                </p:cNvPr>
                <p:cNvSpPr/>
                <p:nvPr/>
              </p:nvSpPr>
              <p:spPr>
                <a:xfrm>
                  <a:off x="9879281" y="1607768"/>
                  <a:ext cx="160837" cy="160837"/>
                </a:xfrm>
                <a:custGeom>
                  <a:avLst/>
                  <a:gdLst>
                    <a:gd name="connsiteX0" fmla="*/ 17725 w 160837"/>
                    <a:gd name="connsiteY0" fmla="*/ 160837 h 160837"/>
                    <a:gd name="connsiteX1" fmla="*/ 0 w 160837"/>
                    <a:gd name="connsiteY1" fmla="*/ 143112 h 160837"/>
                    <a:gd name="connsiteX2" fmla="*/ 0 w 160837"/>
                    <a:gd name="connsiteY2" fmla="*/ 17725 h 160837"/>
                    <a:gd name="connsiteX3" fmla="*/ 17725 w 160837"/>
                    <a:gd name="connsiteY3" fmla="*/ 0 h 160837"/>
                    <a:gd name="connsiteX4" fmla="*/ 143112 w 160837"/>
                    <a:gd name="connsiteY4" fmla="*/ 0 h 160837"/>
                    <a:gd name="connsiteX5" fmla="*/ 160837 w 160837"/>
                    <a:gd name="connsiteY5" fmla="*/ 17725 h 160837"/>
                    <a:gd name="connsiteX6" fmla="*/ 143112 w 160837"/>
                    <a:gd name="connsiteY6" fmla="*/ 35450 h 160837"/>
                    <a:gd name="connsiteX7" fmla="*/ 34793 w 160837"/>
                    <a:gd name="connsiteY7" fmla="*/ 35450 h 160837"/>
                    <a:gd name="connsiteX8" fmla="*/ 34793 w 160837"/>
                    <a:gd name="connsiteY8" fmla="*/ 143769 h 160837"/>
                    <a:gd name="connsiteX9" fmla="*/ 17725 w 160837"/>
                    <a:gd name="connsiteY9" fmla="*/ 160837 h 160837"/>
                    <a:gd name="connsiteX10" fmla="*/ 17725 w 160837"/>
                    <a:gd name="connsiteY10" fmla="*/ 160837 h 1608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60837" h="160837">
                      <a:moveTo>
                        <a:pt x="17725" y="160837"/>
                      </a:moveTo>
                      <a:cubicBezTo>
                        <a:pt x="7877" y="160837"/>
                        <a:pt x="0" y="152959"/>
                        <a:pt x="0" y="143112"/>
                      </a:cubicBezTo>
                      <a:lnTo>
                        <a:pt x="0" y="17725"/>
                      </a:lnTo>
                      <a:cubicBezTo>
                        <a:pt x="0" y="7878"/>
                        <a:pt x="7877" y="0"/>
                        <a:pt x="17725" y="0"/>
                      </a:cubicBezTo>
                      <a:lnTo>
                        <a:pt x="143112" y="0"/>
                      </a:lnTo>
                      <a:cubicBezTo>
                        <a:pt x="152959" y="0"/>
                        <a:pt x="160837" y="7878"/>
                        <a:pt x="160837" y="17725"/>
                      </a:cubicBezTo>
                      <a:cubicBezTo>
                        <a:pt x="160837" y="27572"/>
                        <a:pt x="152959" y="35450"/>
                        <a:pt x="143112" y="35450"/>
                      </a:cubicBezTo>
                      <a:lnTo>
                        <a:pt x="34793" y="35450"/>
                      </a:lnTo>
                      <a:lnTo>
                        <a:pt x="34793" y="143769"/>
                      </a:lnTo>
                      <a:cubicBezTo>
                        <a:pt x="35449" y="152959"/>
                        <a:pt x="27572" y="160837"/>
                        <a:pt x="17725" y="160837"/>
                      </a:cubicBezTo>
                      <a:lnTo>
                        <a:pt x="17725" y="160837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81" name="Forma Livre: Forma 80">
                  <a:extLst>
                    <a:ext uri="{FF2B5EF4-FFF2-40B4-BE49-F238E27FC236}">
                      <a16:creationId xmlns:a16="http://schemas.microsoft.com/office/drawing/2014/main" id="{29D53352-AE5B-45A1-9DB2-723792BF7FC4}"/>
                    </a:ext>
                  </a:extLst>
                </p:cNvPr>
                <p:cNvSpPr/>
                <p:nvPr/>
              </p:nvSpPr>
              <p:spPr>
                <a:xfrm>
                  <a:off x="9885113" y="1618527"/>
                  <a:ext cx="159361" cy="375249"/>
                </a:xfrm>
                <a:custGeom>
                  <a:avLst/>
                  <a:gdLst>
                    <a:gd name="connsiteX0" fmla="*/ 17145 w 159361"/>
                    <a:gd name="connsiteY0" fmla="*/ 375250 h 375249"/>
                    <a:gd name="connsiteX1" fmla="*/ 733 w 159361"/>
                    <a:gd name="connsiteY1" fmla="*/ 363433 h 375249"/>
                    <a:gd name="connsiteX2" fmla="*/ 11893 w 159361"/>
                    <a:gd name="connsiteY2" fmla="*/ 341770 h 375249"/>
                    <a:gd name="connsiteX3" fmla="*/ 36182 w 159361"/>
                    <a:gd name="connsiteY3" fmla="*/ 331922 h 375249"/>
                    <a:gd name="connsiteX4" fmla="*/ 114959 w 159361"/>
                    <a:gd name="connsiteY4" fmla="*/ 241328 h 375249"/>
                    <a:gd name="connsiteX5" fmla="*/ 108395 w 159361"/>
                    <a:gd name="connsiteY5" fmla="*/ 117254 h 375249"/>
                    <a:gd name="connsiteX6" fmla="*/ 15831 w 159361"/>
                    <a:gd name="connsiteY6" fmla="*/ 33881 h 375249"/>
                    <a:gd name="connsiteX7" fmla="*/ 5328 w 159361"/>
                    <a:gd name="connsiteY7" fmla="*/ 11561 h 375249"/>
                    <a:gd name="connsiteX8" fmla="*/ 27648 w 159361"/>
                    <a:gd name="connsiteY8" fmla="*/ 1058 h 375249"/>
                    <a:gd name="connsiteX9" fmla="*/ 139906 w 159361"/>
                    <a:gd name="connsiteY9" fmla="*/ 102155 h 375249"/>
                    <a:gd name="connsiteX10" fmla="*/ 147783 w 159361"/>
                    <a:gd name="connsiteY10" fmla="*/ 253145 h 375249"/>
                    <a:gd name="connsiteX11" fmla="*/ 51938 w 159361"/>
                    <a:gd name="connsiteY11" fmla="*/ 362777 h 375249"/>
                    <a:gd name="connsiteX12" fmla="*/ 22396 w 159361"/>
                    <a:gd name="connsiteY12" fmla="*/ 375250 h 375249"/>
                    <a:gd name="connsiteX13" fmla="*/ 17145 w 159361"/>
                    <a:gd name="connsiteY13" fmla="*/ 375250 h 375249"/>
                    <a:gd name="connsiteX14" fmla="*/ 17145 w 159361"/>
                    <a:gd name="connsiteY14" fmla="*/ 375250 h 3752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59361" h="375249">
                      <a:moveTo>
                        <a:pt x="17145" y="375250"/>
                      </a:moveTo>
                      <a:cubicBezTo>
                        <a:pt x="9923" y="375250"/>
                        <a:pt x="2702" y="370655"/>
                        <a:pt x="733" y="363433"/>
                      </a:cubicBezTo>
                      <a:cubicBezTo>
                        <a:pt x="-1893" y="354243"/>
                        <a:pt x="2702" y="344395"/>
                        <a:pt x="11893" y="341770"/>
                      </a:cubicBezTo>
                      <a:cubicBezTo>
                        <a:pt x="20427" y="339144"/>
                        <a:pt x="28305" y="335861"/>
                        <a:pt x="36182" y="331922"/>
                      </a:cubicBezTo>
                      <a:cubicBezTo>
                        <a:pt x="73602" y="312885"/>
                        <a:pt x="101174" y="280717"/>
                        <a:pt x="114959" y="241328"/>
                      </a:cubicBezTo>
                      <a:cubicBezTo>
                        <a:pt x="129402" y="200627"/>
                        <a:pt x="126776" y="156643"/>
                        <a:pt x="108395" y="117254"/>
                      </a:cubicBezTo>
                      <a:cubicBezTo>
                        <a:pt x="90014" y="77865"/>
                        <a:pt x="57190" y="48324"/>
                        <a:pt x="15831" y="33881"/>
                      </a:cubicBezTo>
                      <a:cubicBezTo>
                        <a:pt x="6641" y="30599"/>
                        <a:pt x="2046" y="20752"/>
                        <a:pt x="5328" y="11561"/>
                      </a:cubicBezTo>
                      <a:cubicBezTo>
                        <a:pt x="8610" y="2370"/>
                        <a:pt x="18457" y="-2225"/>
                        <a:pt x="27648" y="1058"/>
                      </a:cubicBezTo>
                      <a:cubicBezTo>
                        <a:pt x="77540" y="18782"/>
                        <a:pt x="116929" y="54232"/>
                        <a:pt x="139906" y="102155"/>
                      </a:cubicBezTo>
                      <a:cubicBezTo>
                        <a:pt x="162883" y="149421"/>
                        <a:pt x="165509" y="203253"/>
                        <a:pt x="147783" y="253145"/>
                      </a:cubicBezTo>
                      <a:cubicBezTo>
                        <a:pt x="130715" y="301068"/>
                        <a:pt x="96578" y="339800"/>
                        <a:pt x="51938" y="362777"/>
                      </a:cubicBezTo>
                      <a:cubicBezTo>
                        <a:pt x="42747" y="367372"/>
                        <a:pt x="32243" y="371968"/>
                        <a:pt x="22396" y="375250"/>
                      </a:cubicBezTo>
                      <a:cubicBezTo>
                        <a:pt x="20427" y="375250"/>
                        <a:pt x="19114" y="375250"/>
                        <a:pt x="17145" y="375250"/>
                      </a:cubicBezTo>
                      <a:lnTo>
                        <a:pt x="17145" y="375250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82" name="Forma Livre: Forma 81">
                  <a:extLst>
                    <a:ext uri="{FF2B5EF4-FFF2-40B4-BE49-F238E27FC236}">
                      <a16:creationId xmlns:a16="http://schemas.microsoft.com/office/drawing/2014/main" id="{08BBAFFE-2EE5-48FF-A8D5-A21EDAFEA385}"/>
                    </a:ext>
                  </a:extLst>
                </p:cNvPr>
                <p:cNvSpPr/>
                <p:nvPr/>
              </p:nvSpPr>
              <p:spPr>
                <a:xfrm>
                  <a:off x="9879281" y="1848695"/>
                  <a:ext cx="161493" cy="160837"/>
                </a:xfrm>
                <a:custGeom>
                  <a:avLst/>
                  <a:gdLst>
                    <a:gd name="connsiteX0" fmla="*/ 143112 w 161493"/>
                    <a:gd name="connsiteY0" fmla="*/ 160837 h 160837"/>
                    <a:gd name="connsiteX1" fmla="*/ 17725 w 161493"/>
                    <a:gd name="connsiteY1" fmla="*/ 160837 h 160837"/>
                    <a:gd name="connsiteX2" fmla="*/ 0 w 161493"/>
                    <a:gd name="connsiteY2" fmla="*/ 143112 h 160837"/>
                    <a:gd name="connsiteX3" fmla="*/ 0 w 161493"/>
                    <a:gd name="connsiteY3" fmla="*/ 17725 h 160837"/>
                    <a:gd name="connsiteX4" fmla="*/ 17725 w 161493"/>
                    <a:gd name="connsiteY4" fmla="*/ 0 h 160837"/>
                    <a:gd name="connsiteX5" fmla="*/ 35449 w 161493"/>
                    <a:gd name="connsiteY5" fmla="*/ 17725 h 160837"/>
                    <a:gd name="connsiteX6" fmla="*/ 35449 w 161493"/>
                    <a:gd name="connsiteY6" fmla="*/ 126044 h 160837"/>
                    <a:gd name="connsiteX7" fmla="*/ 143768 w 161493"/>
                    <a:gd name="connsiteY7" fmla="*/ 126044 h 160837"/>
                    <a:gd name="connsiteX8" fmla="*/ 161493 w 161493"/>
                    <a:gd name="connsiteY8" fmla="*/ 143769 h 160837"/>
                    <a:gd name="connsiteX9" fmla="*/ 143112 w 161493"/>
                    <a:gd name="connsiteY9" fmla="*/ 160837 h 160837"/>
                    <a:gd name="connsiteX10" fmla="*/ 143112 w 161493"/>
                    <a:gd name="connsiteY10" fmla="*/ 160837 h 1608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61493" h="160837">
                      <a:moveTo>
                        <a:pt x="143112" y="160837"/>
                      </a:moveTo>
                      <a:lnTo>
                        <a:pt x="17725" y="160837"/>
                      </a:lnTo>
                      <a:cubicBezTo>
                        <a:pt x="7877" y="160837"/>
                        <a:pt x="0" y="152959"/>
                        <a:pt x="0" y="143112"/>
                      </a:cubicBezTo>
                      <a:lnTo>
                        <a:pt x="0" y="17725"/>
                      </a:lnTo>
                      <a:cubicBezTo>
                        <a:pt x="0" y="7878"/>
                        <a:pt x="7877" y="0"/>
                        <a:pt x="17725" y="0"/>
                      </a:cubicBezTo>
                      <a:cubicBezTo>
                        <a:pt x="27572" y="0"/>
                        <a:pt x="35449" y="7878"/>
                        <a:pt x="35449" y="17725"/>
                      </a:cubicBezTo>
                      <a:lnTo>
                        <a:pt x="35449" y="126044"/>
                      </a:lnTo>
                      <a:lnTo>
                        <a:pt x="143768" y="126044"/>
                      </a:lnTo>
                      <a:cubicBezTo>
                        <a:pt x="153615" y="126044"/>
                        <a:pt x="161493" y="133921"/>
                        <a:pt x="161493" y="143769"/>
                      </a:cubicBezTo>
                      <a:cubicBezTo>
                        <a:pt x="160837" y="152959"/>
                        <a:pt x="152959" y="160837"/>
                        <a:pt x="143112" y="160837"/>
                      </a:cubicBezTo>
                      <a:lnTo>
                        <a:pt x="143112" y="160837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</p:grpSp>
        <p:grpSp>
          <p:nvGrpSpPr>
            <p:cNvPr id="83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10721542" y="1607768"/>
              <a:ext cx="401146" cy="401107"/>
              <a:chOff x="10721542" y="1607768"/>
              <a:chExt cx="401146" cy="401107"/>
            </a:xfrm>
            <a:grpFill/>
          </p:grpSpPr>
          <p:grpSp>
            <p:nvGrpSpPr>
              <p:cNvPr id="84" name="Gráfico 2">
                <a:extLst>
                  <a:ext uri="{FF2B5EF4-FFF2-40B4-BE49-F238E27FC236}">
                    <a16:creationId xmlns:a16="http://schemas.microsoft.com/office/drawing/2014/main" id="{4A08825F-1C42-4C63-A6FE-BBB3DD9D4FEB}"/>
                  </a:ext>
                </a:extLst>
              </p:cNvPr>
              <p:cNvGrpSpPr/>
              <p:nvPr/>
            </p:nvGrpSpPr>
            <p:grpSpPr>
              <a:xfrm>
                <a:off x="10721542" y="1607768"/>
                <a:ext cx="401146" cy="166088"/>
                <a:chOff x="10721542" y="1607768"/>
                <a:chExt cx="401146" cy="166088"/>
              </a:xfrm>
              <a:grpFill/>
            </p:grpSpPr>
            <p:sp>
              <p:nvSpPr>
                <p:cNvPr id="85" name="Forma Livre: Forma 84">
                  <a:extLst>
                    <a:ext uri="{FF2B5EF4-FFF2-40B4-BE49-F238E27FC236}">
                      <a16:creationId xmlns:a16="http://schemas.microsoft.com/office/drawing/2014/main" id="{D3308AF9-2851-49D6-9CE0-69DDB5D8874E}"/>
                    </a:ext>
                  </a:extLst>
                </p:cNvPr>
                <p:cNvSpPr/>
                <p:nvPr/>
              </p:nvSpPr>
              <p:spPr>
                <a:xfrm>
                  <a:off x="10961812" y="1607768"/>
                  <a:ext cx="160875" cy="161493"/>
                </a:xfrm>
                <a:custGeom>
                  <a:avLst/>
                  <a:gdLst>
                    <a:gd name="connsiteX0" fmla="*/ 143769 w 160875"/>
                    <a:gd name="connsiteY0" fmla="*/ 161494 h 161493"/>
                    <a:gd name="connsiteX1" fmla="*/ 126044 w 160875"/>
                    <a:gd name="connsiteY1" fmla="*/ 143769 h 161493"/>
                    <a:gd name="connsiteX2" fmla="*/ 126044 w 160875"/>
                    <a:gd name="connsiteY2" fmla="*/ 35450 h 161493"/>
                    <a:gd name="connsiteX3" fmla="*/ 17725 w 160875"/>
                    <a:gd name="connsiteY3" fmla="*/ 35450 h 161493"/>
                    <a:gd name="connsiteX4" fmla="*/ 0 w 160875"/>
                    <a:gd name="connsiteY4" fmla="*/ 17725 h 161493"/>
                    <a:gd name="connsiteX5" fmla="*/ 17725 w 160875"/>
                    <a:gd name="connsiteY5" fmla="*/ 0 h 161493"/>
                    <a:gd name="connsiteX6" fmla="*/ 143112 w 160875"/>
                    <a:gd name="connsiteY6" fmla="*/ 0 h 161493"/>
                    <a:gd name="connsiteX7" fmla="*/ 160837 w 160875"/>
                    <a:gd name="connsiteY7" fmla="*/ 17725 h 161493"/>
                    <a:gd name="connsiteX8" fmla="*/ 160837 w 160875"/>
                    <a:gd name="connsiteY8" fmla="*/ 143112 h 161493"/>
                    <a:gd name="connsiteX9" fmla="*/ 143769 w 160875"/>
                    <a:gd name="connsiteY9" fmla="*/ 161494 h 161493"/>
                    <a:gd name="connsiteX10" fmla="*/ 143769 w 160875"/>
                    <a:gd name="connsiteY10" fmla="*/ 161494 h 1614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60875" h="161493">
                      <a:moveTo>
                        <a:pt x="143769" y="161494"/>
                      </a:moveTo>
                      <a:cubicBezTo>
                        <a:pt x="133922" y="161494"/>
                        <a:pt x="126044" y="153616"/>
                        <a:pt x="126044" y="143769"/>
                      </a:cubicBezTo>
                      <a:lnTo>
                        <a:pt x="126044" y="35450"/>
                      </a:lnTo>
                      <a:lnTo>
                        <a:pt x="17725" y="35450"/>
                      </a:lnTo>
                      <a:cubicBezTo>
                        <a:pt x="7878" y="35450"/>
                        <a:pt x="0" y="27572"/>
                        <a:pt x="0" y="17725"/>
                      </a:cubicBezTo>
                      <a:cubicBezTo>
                        <a:pt x="0" y="7878"/>
                        <a:pt x="7878" y="0"/>
                        <a:pt x="17725" y="0"/>
                      </a:cubicBezTo>
                      <a:lnTo>
                        <a:pt x="143112" y="0"/>
                      </a:lnTo>
                      <a:cubicBezTo>
                        <a:pt x="152960" y="0"/>
                        <a:pt x="160837" y="7878"/>
                        <a:pt x="160837" y="17725"/>
                      </a:cubicBezTo>
                      <a:lnTo>
                        <a:pt x="160837" y="143112"/>
                      </a:lnTo>
                      <a:cubicBezTo>
                        <a:pt x="161494" y="153616"/>
                        <a:pt x="153616" y="161494"/>
                        <a:pt x="143769" y="161494"/>
                      </a:cubicBezTo>
                      <a:lnTo>
                        <a:pt x="143769" y="161494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86" name="Forma Livre: Forma 85">
                  <a:extLst>
                    <a:ext uri="{FF2B5EF4-FFF2-40B4-BE49-F238E27FC236}">
                      <a16:creationId xmlns:a16="http://schemas.microsoft.com/office/drawing/2014/main" id="{5B9E22A0-77D2-4545-BACA-1112D80876B6}"/>
                    </a:ext>
                  </a:extLst>
                </p:cNvPr>
                <p:cNvSpPr/>
                <p:nvPr/>
              </p:nvSpPr>
              <p:spPr>
                <a:xfrm>
                  <a:off x="10737628" y="1614006"/>
                  <a:ext cx="375575" cy="159850"/>
                </a:xfrm>
                <a:custGeom>
                  <a:avLst/>
                  <a:gdLst>
                    <a:gd name="connsiteX0" fmla="*/ 188736 w 375575"/>
                    <a:gd name="connsiteY0" fmla="*/ 159850 h 159850"/>
                    <a:gd name="connsiteX1" fmla="*/ 123088 w 375575"/>
                    <a:gd name="connsiteY1" fmla="*/ 148690 h 159850"/>
                    <a:gd name="connsiteX2" fmla="*/ 13456 w 375575"/>
                    <a:gd name="connsiteY2" fmla="*/ 52844 h 159850"/>
                    <a:gd name="connsiteX3" fmla="*/ 982 w 375575"/>
                    <a:gd name="connsiteY3" fmla="*/ 23303 h 159850"/>
                    <a:gd name="connsiteX4" fmla="*/ 12143 w 375575"/>
                    <a:gd name="connsiteY4" fmla="*/ 982 h 159850"/>
                    <a:gd name="connsiteX5" fmla="*/ 34463 w 375575"/>
                    <a:gd name="connsiteY5" fmla="*/ 12143 h 159850"/>
                    <a:gd name="connsiteX6" fmla="*/ 44311 w 375575"/>
                    <a:gd name="connsiteY6" fmla="*/ 36432 h 159850"/>
                    <a:gd name="connsiteX7" fmla="*/ 134904 w 375575"/>
                    <a:gd name="connsiteY7" fmla="*/ 115210 h 159850"/>
                    <a:gd name="connsiteX8" fmla="*/ 258978 w 375575"/>
                    <a:gd name="connsiteY8" fmla="*/ 108645 h 159850"/>
                    <a:gd name="connsiteX9" fmla="*/ 341694 w 375575"/>
                    <a:gd name="connsiteY9" fmla="*/ 16081 h 159850"/>
                    <a:gd name="connsiteX10" fmla="*/ 364015 w 375575"/>
                    <a:gd name="connsiteY10" fmla="*/ 5578 h 159850"/>
                    <a:gd name="connsiteX11" fmla="*/ 374518 w 375575"/>
                    <a:gd name="connsiteY11" fmla="*/ 27898 h 159850"/>
                    <a:gd name="connsiteX12" fmla="*/ 273421 w 375575"/>
                    <a:gd name="connsiteY12" fmla="*/ 140156 h 159850"/>
                    <a:gd name="connsiteX13" fmla="*/ 188736 w 375575"/>
                    <a:gd name="connsiteY13" fmla="*/ 159850 h 159850"/>
                    <a:gd name="connsiteX14" fmla="*/ 188736 w 375575"/>
                    <a:gd name="connsiteY14" fmla="*/ 159850 h 1598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375575" h="159850">
                      <a:moveTo>
                        <a:pt x="188736" y="159850"/>
                      </a:moveTo>
                      <a:cubicBezTo>
                        <a:pt x="166415" y="159850"/>
                        <a:pt x="144095" y="155911"/>
                        <a:pt x="123088" y="148690"/>
                      </a:cubicBezTo>
                      <a:cubicBezTo>
                        <a:pt x="75165" y="131622"/>
                        <a:pt x="36432" y="97485"/>
                        <a:pt x="13456" y="52844"/>
                      </a:cubicBezTo>
                      <a:cubicBezTo>
                        <a:pt x="8861" y="43653"/>
                        <a:pt x="4265" y="33150"/>
                        <a:pt x="982" y="23303"/>
                      </a:cubicBezTo>
                      <a:cubicBezTo>
                        <a:pt x="-2300" y="14112"/>
                        <a:pt x="2952" y="4265"/>
                        <a:pt x="12143" y="982"/>
                      </a:cubicBezTo>
                      <a:cubicBezTo>
                        <a:pt x="21334" y="-2300"/>
                        <a:pt x="31181" y="2952"/>
                        <a:pt x="34463" y="12143"/>
                      </a:cubicBezTo>
                      <a:cubicBezTo>
                        <a:pt x="37089" y="20677"/>
                        <a:pt x="40371" y="28555"/>
                        <a:pt x="44311" y="36432"/>
                      </a:cubicBezTo>
                      <a:cubicBezTo>
                        <a:pt x="63348" y="73851"/>
                        <a:pt x="95515" y="101424"/>
                        <a:pt x="134904" y="115210"/>
                      </a:cubicBezTo>
                      <a:cubicBezTo>
                        <a:pt x="175606" y="129652"/>
                        <a:pt x="219590" y="127026"/>
                        <a:pt x="258978" y="108645"/>
                      </a:cubicBezTo>
                      <a:cubicBezTo>
                        <a:pt x="298367" y="90263"/>
                        <a:pt x="327909" y="57439"/>
                        <a:pt x="341694" y="16081"/>
                      </a:cubicBezTo>
                      <a:cubicBezTo>
                        <a:pt x="344977" y="6891"/>
                        <a:pt x="354824" y="2295"/>
                        <a:pt x="364015" y="5578"/>
                      </a:cubicBezTo>
                      <a:cubicBezTo>
                        <a:pt x="373206" y="8860"/>
                        <a:pt x="377801" y="18707"/>
                        <a:pt x="374518" y="27898"/>
                      </a:cubicBezTo>
                      <a:cubicBezTo>
                        <a:pt x="356794" y="77790"/>
                        <a:pt x="321344" y="117179"/>
                        <a:pt x="273421" y="140156"/>
                      </a:cubicBezTo>
                      <a:cubicBezTo>
                        <a:pt x="246505" y="153285"/>
                        <a:pt x="217620" y="159850"/>
                        <a:pt x="188736" y="159850"/>
                      </a:cubicBezTo>
                      <a:lnTo>
                        <a:pt x="188736" y="159850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87" name="Forma Livre: Forma 86">
                  <a:extLst>
                    <a:ext uri="{FF2B5EF4-FFF2-40B4-BE49-F238E27FC236}">
                      <a16:creationId xmlns:a16="http://schemas.microsoft.com/office/drawing/2014/main" id="{06B6365C-B88F-4E20-9B33-65D25CFBC3BA}"/>
                    </a:ext>
                  </a:extLst>
                </p:cNvPr>
                <p:cNvSpPr/>
                <p:nvPr/>
              </p:nvSpPr>
              <p:spPr>
                <a:xfrm>
                  <a:off x="10721542" y="1608424"/>
                  <a:ext cx="160837" cy="160837"/>
                </a:xfrm>
                <a:custGeom>
                  <a:avLst/>
                  <a:gdLst>
                    <a:gd name="connsiteX0" fmla="*/ 17725 w 160837"/>
                    <a:gd name="connsiteY0" fmla="*/ 160837 h 160837"/>
                    <a:gd name="connsiteX1" fmla="*/ 0 w 160837"/>
                    <a:gd name="connsiteY1" fmla="*/ 143112 h 160837"/>
                    <a:gd name="connsiteX2" fmla="*/ 0 w 160837"/>
                    <a:gd name="connsiteY2" fmla="*/ 17725 h 160837"/>
                    <a:gd name="connsiteX3" fmla="*/ 17725 w 160837"/>
                    <a:gd name="connsiteY3" fmla="*/ 0 h 160837"/>
                    <a:gd name="connsiteX4" fmla="*/ 143112 w 160837"/>
                    <a:gd name="connsiteY4" fmla="*/ 0 h 160837"/>
                    <a:gd name="connsiteX5" fmla="*/ 160837 w 160837"/>
                    <a:gd name="connsiteY5" fmla="*/ 17725 h 160837"/>
                    <a:gd name="connsiteX6" fmla="*/ 143112 w 160837"/>
                    <a:gd name="connsiteY6" fmla="*/ 35450 h 160837"/>
                    <a:gd name="connsiteX7" fmla="*/ 34794 w 160837"/>
                    <a:gd name="connsiteY7" fmla="*/ 35450 h 160837"/>
                    <a:gd name="connsiteX8" fmla="*/ 34794 w 160837"/>
                    <a:gd name="connsiteY8" fmla="*/ 143769 h 160837"/>
                    <a:gd name="connsiteX9" fmla="*/ 17725 w 160837"/>
                    <a:gd name="connsiteY9" fmla="*/ 160837 h 160837"/>
                    <a:gd name="connsiteX10" fmla="*/ 17725 w 160837"/>
                    <a:gd name="connsiteY10" fmla="*/ 160837 h 1608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60837" h="160837">
                      <a:moveTo>
                        <a:pt x="17725" y="160837"/>
                      </a:moveTo>
                      <a:cubicBezTo>
                        <a:pt x="7878" y="160837"/>
                        <a:pt x="0" y="152959"/>
                        <a:pt x="0" y="143112"/>
                      </a:cubicBezTo>
                      <a:lnTo>
                        <a:pt x="0" y="17725"/>
                      </a:lnTo>
                      <a:cubicBezTo>
                        <a:pt x="0" y="7878"/>
                        <a:pt x="7878" y="0"/>
                        <a:pt x="17725" y="0"/>
                      </a:cubicBezTo>
                      <a:lnTo>
                        <a:pt x="143112" y="0"/>
                      </a:lnTo>
                      <a:cubicBezTo>
                        <a:pt x="152960" y="0"/>
                        <a:pt x="160837" y="7878"/>
                        <a:pt x="160837" y="17725"/>
                      </a:cubicBezTo>
                      <a:cubicBezTo>
                        <a:pt x="160837" y="27572"/>
                        <a:pt x="152960" y="35450"/>
                        <a:pt x="143112" y="35450"/>
                      </a:cubicBezTo>
                      <a:lnTo>
                        <a:pt x="34794" y="35450"/>
                      </a:lnTo>
                      <a:lnTo>
                        <a:pt x="34794" y="143769"/>
                      </a:lnTo>
                      <a:cubicBezTo>
                        <a:pt x="35450" y="152959"/>
                        <a:pt x="27573" y="160837"/>
                        <a:pt x="17725" y="160837"/>
                      </a:cubicBezTo>
                      <a:lnTo>
                        <a:pt x="17725" y="160837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sp>
            <p:nvSpPr>
              <p:cNvPr id="88" name="Forma Livre: Forma 87">
                <a:extLst>
                  <a:ext uri="{FF2B5EF4-FFF2-40B4-BE49-F238E27FC236}">
                    <a16:creationId xmlns:a16="http://schemas.microsoft.com/office/drawing/2014/main" id="{EDC78B6E-75D8-46FE-8828-F27BD11BB891}"/>
                  </a:ext>
                </a:extLst>
              </p:cNvPr>
              <p:cNvSpPr/>
              <p:nvPr/>
            </p:nvSpPr>
            <p:spPr>
              <a:xfrm>
                <a:off x="10904699" y="1746284"/>
                <a:ext cx="35449" cy="262591"/>
              </a:xfrm>
              <a:custGeom>
                <a:avLst/>
                <a:gdLst>
                  <a:gd name="connsiteX0" fmla="*/ 17725 w 35449"/>
                  <a:gd name="connsiteY0" fmla="*/ 262591 h 262591"/>
                  <a:gd name="connsiteX1" fmla="*/ 0 w 35449"/>
                  <a:gd name="connsiteY1" fmla="*/ 244866 h 262591"/>
                  <a:gd name="connsiteX2" fmla="*/ 0 w 35449"/>
                  <a:gd name="connsiteY2" fmla="*/ 17725 h 262591"/>
                  <a:gd name="connsiteX3" fmla="*/ 17725 w 35449"/>
                  <a:gd name="connsiteY3" fmla="*/ 0 h 262591"/>
                  <a:gd name="connsiteX4" fmla="*/ 35450 w 35449"/>
                  <a:gd name="connsiteY4" fmla="*/ 17725 h 262591"/>
                  <a:gd name="connsiteX5" fmla="*/ 35450 w 35449"/>
                  <a:gd name="connsiteY5" fmla="*/ 244866 h 262591"/>
                  <a:gd name="connsiteX6" fmla="*/ 17725 w 35449"/>
                  <a:gd name="connsiteY6" fmla="*/ 262591 h 262591"/>
                  <a:gd name="connsiteX7" fmla="*/ 17725 w 35449"/>
                  <a:gd name="connsiteY7" fmla="*/ 262591 h 262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449" h="262591">
                    <a:moveTo>
                      <a:pt x="17725" y="262591"/>
                    </a:moveTo>
                    <a:cubicBezTo>
                      <a:pt x="7877" y="262591"/>
                      <a:pt x="0" y="254713"/>
                      <a:pt x="0" y="244866"/>
                    </a:cubicBezTo>
                    <a:lnTo>
                      <a:pt x="0" y="17725"/>
                    </a:lnTo>
                    <a:cubicBezTo>
                      <a:pt x="0" y="7878"/>
                      <a:pt x="7877" y="0"/>
                      <a:pt x="17725" y="0"/>
                    </a:cubicBezTo>
                    <a:cubicBezTo>
                      <a:pt x="27572" y="0"/>
                      <a:pt x="35450" y="7878"/>
                      <a:pt x="35450" y="17725"/>
                    </a:cubicBezTo>
                    <a:lnTo>
                      <a:pt x="35450" y="244866"/>
                    </a:lnTo>
                    <a:cubicBezTo>
                      <a:pt x="35450" y="254713"/>
                      <a:pt x="27572" y="262591"/>
                      <a:pt x="17725" y="262591"/>
                    </a:cubicBezTo>
                    <a:lnTo>
                      <a:pt x="17725" y="262591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89" name="Gráfico 2">
            <a:extLst>
              <a:ext uri="{FF2B5EF4-FFF2-40B4-BE49-F238E27FC236}">
                <a16:creationId xmlns:a16="http://schemas.microsoft.com/office/drawing/2014/main" id="{4A08825F-1C42-4C63-A6FE-BBB3DD9D4FEB}"/>
              </a:ext>
            </a:extLst>
          </p:cNvPr>
          <p:cNvGrpSpPr/>
          <p:nvPr/>
        </p:nvGrpSpPr>
        <p:grpSpPr>
          <a:xfrm>
            <a:off x="1064097" y="512763"/>
            <a:ext cx="10048049" cy="3534477"/>
            <a:chOff x="1064097" y="512763"/>
            <a:chExt cx="10048049" cy="3534477"/>
          </a:xfrm>
          <a:solidFill>
            <a:srgbClr val="B1B1A1"/>
          </a:solidFill>
        </p:grpSpPr>
        <p:grpSp>
          <p:nvGrpSpPr>
            <p:cNvPr id="90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1074600" y="2551783"/>
              <a:ext cx="395199" cy="395199"/>
              <a:chOff x="1074600" y="2551783"/>
              <a:chExt cx="395199" cy="395199"/>
            </a:xfrm>
            <a:grpFill/>
          </p:grpSpPr>
          <p:sp>
            <p:nvSpPr>
              <p:cNvPr id="91" name="Forma Livre: Forma 90">
                <a:extLst>
                  <a:ext uri="{FF2B5EF4-FFF2-40B4-BE49-F238E27FC236}">
                    <a16:creationId xmlns:a16="http://schemas.microsoft.com/office/drawing/2014/main" id="{4DA52D02-C605-409F-8DB4-E64263AD02F1}"/>
                  </a:ext>
                </a:extLst>
              </p:cNvPr>
              <p:cNvSpPr/>
              <p:nvPr/>
            </p:nvSpPr>
            <p:spPr>
              <a:xfrm>
                <a:off x="1074600" y="2551783"/>
                <a:ext cx="395199" cy="395199"/>
              </a:xfrm>
              <a:custGeom>
                <a:avLst/>
                <a:gdLst>
                  <a:gd name="connsiteX0" fmla="*/ 197600 w 395199"/>
                  <a:gd name="connsiteY0" fmla="*/ 395200 h 395199"/>
                  <a:gd name="connsiteX1" fmla="*/ 0 w 395199"/>
                  <a:gd name="connsiteY1" fmla="*/ 197600 h 395199"/>
                  <a:gd name="connsiteX2" fmla="*/ 197600 w 395199"/>
                  <a:gd name="connsiteY2" fmla="*/ 0 h 395199"/>
                  <a:gd name="connsiteX3" fmla="*/ 395200 w 395199"/>
                  <a:gd name="connsiteY3" fmla="*/ 197600 h 395199"/>
                  <a:gd name="connsiteX4" fmla="*/ 197600 w 395199"/>
                  <a:gd name="connsiteY4" fmla="*/ 395200 h 395199"/>
                  <a:gd name="connsiteX5" fmla="*/ 197600 w 395199"/>
                  <a:gd name="connsiteY5" fmla="*/ 395200 h 395199"/>
                  <a:gd name="connsiteX6" fmla="*/ 197600 w 395199"/>
                  <a:gd name="connsiteY6" fmla="*/ 35450 h 395199"/>
                  <a:gd name="connsiteX7" fmla="*/ 34793 w 395199"/>
                  <a:gd name="connsiteY7" fmla="*/ 197600 h 395199"/>
                  <a:gd name="connsiteX8" fmla="*/ 196943 w 395199"/>
                  <a:gd name="connsiteY8" fmla="*/ 359750 h 395199"/>
                  <a:gd name="connsiteX9" fmla="*/ 359093 w 395199"/>
                  <a:gd name="connsiteY9" fmla="*/ 197600 h 395199"/>
                  <a:gd name="connsiteX10" fmla="*/ 197600 w 395199"/>
                  <a:gd name="connsiteY10" fmla="*/ 35450 h 395199"/>
                  <a:gd name="connsiteX11" fmla="*/ 197600 w 395199"/>
                  <a:gd name="connsiteY11" fmla="*/ 35450 h 395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95199" h="395199">
                    <a:moveTo>
                      <a:pt x="197600" y="395200"/>
                    </a:moveTo>
                    <a:cubicBezTo>
                      <a:pt x="88625" y="395200"/>
                      <a:pt x="0" y="306575"/>
                      <a:pt x="0" y="197600"/>
                    </a:cubicBezTo>
                    <a:cubicBezTo>
                      <a:pt x="0" y="88625"/>
                      <a:pt x="88625" y="0"/>
                      <a:pt x="197600" y="0"/>
                    </a:cubicBezTo>
                    <a:cubicBezTo>
                      <a:pt x="306575" y="0"/>
                      <a:pt x="395200" y="88625"/>
                      <a:pt x="395200" y="197600"/>
                    </a:cubicBezTo>
                    <a:cubicBezTo>
                      <a:pt x="395200" y="306575"/>
                      <a:pt x="305919" y="395200"/>
                      <a:pt x="197600" y="395200"/>
                    </a:cubicBezTo>
                    <a:lnTo>
                      <a:pt x="197600" y="395200"/>
                    </a:lnTo>
                    <a:close/>
                    <a:moveTo>
                      <a:pt x="197600" y="35450"/>
                    </a:moveTo>
                    <a:cubicBezTo>
                      <a:pt x="107662" y="35450"/>
                      <a:pt x="34793" y="108319"/>
                      <a:pt x="34793" y="197600"/>
                    </a:cubicBezTo>
                    <a:cubicBezTo>
                      <a:pt x="34793" y="286881"/>
                      <a:pt x="107662" y="359750"/>
                      <a:pt x="196943" y="359750"/>
                    </a:cubicBezTo>
                    <a:cubicBezTo>
                      <a:pt x="286224" y="359750"/>
                      <a:pt x="359093" y="286881"/>
                      <a:pt x="359093" y="197600"/>
                    </a:cubicBezTo>
                    <a:cubicBezTo>
                      <a:pt x="359750" y="108319"/>
                      <a:pt x="286881" y="35450"/>
                      <a:pt x="197600" y="35450"/>
                    </a:cubicBezTo>
                    <a:lnTo>
                      <a:pt x="197600" y="35450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grpSp>
            <p:nvGrpSpPr>
              <p:cNvPr id="92" name="Gráfico 2">
                <a:extLst>
                  <a:ext uri="{FF2B5EF4-FFF2-40B4-BE49-F238E27FC236}">
                    <a16:creationId xmlns:a16="http://schemas.microsoft.com/office/drawing/2014/main" id="{4A08825F-1C42-4C63-A6FE-BBB3DD9D4FEB}"/>
                  </a:ext>
                </a:extLst>
              </p:cNvPr>
              <p:cNvGrpSpPr/>
              <p:nvPr/>
            </p:nvGrpSpPr>
            <p:grpSpPr>
              <a:xfrm>
                <a:off x="1171759" y="2664369"/>
                <a:ext cx="174951" cy="170356"/>
                <a:chOff x="1171759" y="2664369"/>
                <a:chExt cx="174951" cy="170356"/>
              </a:xfrm>
              <a:grpFill/>
            </p:grpSpPr>
            <p:sp>
              <p:nvSpPr>
                <p:cNvPr id="93" name="Forma Livre: Forma 92">
                  <a:extLst>
                    <a:ext uri="{FF2B5EF4-FFF2-40B4-BE49-F238E27FC236}">
                      <a16:creationId xmlns:a16="http://schemas.microsoft.com/office/drawing/2014/main" id="{11CAF51D-764B-4BDC-B9E6-1E55D9C1B881}"/>
                    </a:ext>
                  </a:extLst>
                </p:cNvPr>
                <p:cNvSpPr/>
                <p:nvPr/>
              </p:nvSpPr>
              <p:spPr>
                <a:xfrm>
                  <a:off x="1244300" y="2664369"/>
                  <a:ext cx="102410" cy="170356"/>
                </a:xfrm>
                <a:custGeom>
                  <a:avLst/>
                  <a:gdLst>
                    <a:gd name="connsiteX0" fmla="*/ 17397 w 102410"/>
                    <a:gd name="connsiteY0" fmla="*/ 170356 h 170356"/>
                    <a:gd name="connsiteX1" fmla="*/ 4924 w 102410"/>
                    <a:gd name="connsiteY1" fmla="*/ 165104 h 170356"/>
                    <a:gd name="connsiteX2" fmla="*/ 4924 w 102410"/>
                    <a:gd name="connsiteY2" fmla="*/ 140158 h 170356"/>
                    <a:gd name="connsiteX3" fmla="*/ 60068 w 102410"/>
                    <a:gd name="connsiteY3" fmla="*/ 85014 h 170356"/>
                    <a:gd name="connsiteX4" fmla="*/ 4924 w 102410"/>
                    <a:gd name="connsiteY4" fmla="*/ 29870 h 170356"/>
                    <a:gd name="connsiteX5" fmla="*/ 4924 w 102410"/>
                    <a:gd name="connsiteY5" fmla="*/ 4924 h 170356"/>
                    <a:gd name="connsiteX6" fmla="*/ 29870 w 102410"/>
                    <a:gd name="connsiteY6" fmla="*/ 4924 h 170356"/>
                    <a:gd name="connsiteX7" fmla="*/ 97487 w 102410"/>
                    <a:gd name="connsiteY7" fmla="*/ 72541 h 170356"/>
                    <a:gd name="connsiteX8" fmla="*/ 97487 w 102410"/>
                    <a:gd name="connsiteY8" fmla="*/ 97487 h 170356"/>
                    <a:gd name="connsiteX9" fmla="*/ 29870 w 102410"/>
                    <a:gd name="connsiteY9" fmla="*/ 165104 h 170356"/>
                    <a:gd name="connsiteX10" fmla="*/ 17397 w 102410"/>
                    <a:gd name="connsiteY10" fmla="*/ 170356 h 170356"/>
                    <a:gd name="connsiteX11" fmla="*/ 17397 w 102410"/>
                    <a:gd name="connsiteY11" fmla="*/ 170356 h 1703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02410" h="170356">
                      <a:moveTo>
                        <a:pt x="17397" y="170356"/>
                      </a:moveTo>
                      <a:cubicBezTo>
                        <a:pt x="12801" y="170356"/>
                        <a:pt x="8206" y="168387"/>
                        <a:pt x="4924" y="165104"/>
                      </a:cubicBezTo>
                      <a:cubicBezTo>
                        <a:pt x="-1641" y="158539"/>
                        <a:pt x="-1641" y="147379"/>
                        <a:pt x="4924" y="140158"/>
                      </a:cubicBezTo>
                      <a:lnTo>
                        <a:pt x="60068" y="85014"/>
                      </a:lnTo>
                      <a:lnTo>
                        <a:pt x="4924" y="29870"/>
                      </a:lnTo>
                      <a:cubicBezTo>
                        <a:pt x="-1641" y="23305"/>
                        <a:pt x="-1641" y="12145"/>
                        <a:pt x="4924" y="4924"/>
                      </a:cubicBezTo>
                      <a:cubicBezTo>
                        <a:pt x="11488" y="-1641"/>
                        <a:pt x="22648" y="-1641"/>
                        <a:pt x="29870" y="4924"/>
                      </a:cubicBezTo>
                      <a:lnTo>
                        <a:pt x="97487" y="72541"/>
                      </a:lnTo>
                      <a:cubicBezTo>
                        <a:pt x="104052" y="79106"/>
                        <a:pt x="104052" y="90266"/>
                        <a:pt x="97487" y="97487"/>
                      </a:cubicBezTo>
                      <a:lnTo>
                        <a:pt x="29870" y="165104"/>
                      </a:lnTo>
                      <a:cubicBezTo>
                        <a:pt x="26587" y="168387"/>
                        <a:pt x="21992" y="170356"/>
                        <a:pt x="17397" y="170356"/>
                      </a:cubicBezTo>
                      <a:lnTo>
                        <a:pt x="17397" y="170356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94" name="Forma Livre: Forma 93">
                  <a:extLst>
                    <a:ext uri="{FF2B5EF4-FFF2-40B4-BE49-F238E27FC236}">
                      <a16:creationId xmlns:a16="http://schemas.microsoft.com/office/drawing/2014/main" id="{F441895F-48B6-4D27-AEAE-385A03131CA7}"/>
                    </a:ext>
                  </a:extLst>
                </p:cNvPr>
                <p:cNvSpPr/>
                <p:nvPr/>
              </p:nvSpPr>
              <p:spPr>
                <a:xfrm>
                  <a:off x="1171759" y="2731658"/>
                  <a:ext cx="156898" cy="35449"/>
                </a:xfrm>
                <a:custGeom>
                  <a:avLst/>
                  <a:gdLst>
                    <a:gd name="connsiteX0" fmla="*/ 139173 w 156898"/>
                    <a:gd name="connsiteY0" fmla="*/ 35450 h 35449"/>
                    <a:gd name="connsiteX1" fmla="*/ 17725 w 156898"/>
                    <a:gd name="connsiteY1" fmla="*/ 35450 h 35449"/>
                    <a:gd name="connsiteX2" fmla="*/ 0 w 156898"/>
                    <a:gd name="connsiteY2" fmla="*/ 17725 h 35449"/>
                    <a:gd name="connsiteX3" fmla="*/ 17725 w 156898"/>
                    <a:gd name="connsiteY3" fmla="*/ 0 h 35449"/>
                    <a:gd name="connsiteX4" fmla="*/ 139173 w 156898"/>
                    <a:gd name="connsiteY4" fmla="*/ 0 h 35449"/>
                    <a:gd name="connsiteX5" fmla="*/ 156898 w 156898"/>
                    <a:gd name="connsiteY5" fmla="*/ 17725 h 35449"/>
                    <a:gd name="connsiteX6" fmla="*/ 139173 w 156898"/>
                    <a:gd name="connsiteY6" fmla="*/ 35450 h 35449"/>
                    <a:gd name="connsiteX7" fmla="*/ 139173 w 156898"/>
                    <a:gd name="connsiteY7" fmla="*/ 35450 h 354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56898" h="35449">
                      <a:moveTo>
                        <a:pt x="139173" y="35450"/>
                      </a:moveTo>
                      <a:lnTo>
                        <a:pt x="17725" y="35450"/>
                      </a:lnTo>
                      <a:cubicBezTo>
                        <a:pt x="7878" y="35450"/>
                        <a:pt x="0" y="27572"/>
                        <a:pt x="0" y="17725"/>
                      </a:cubicBezTo>
                      <a:cubicBezTo>
                        <a:pt x="0" y="7878"/>
                        <a:pt x="7878" y="0"/>
                        <a:pt x="17725" y="0"/>
                      </a:cubicBezTo>
                      <a:lnTo>
                        <a:pt x="139173" y="0"/>
                      </a:lnTo>
                      <a:cubicBezTo>
                        <a:pt x="149020" y="0"/>
                        <a:pt x="156898" y="7878"/>
                        <a:pt x="156898" y="17725"/>
                      </a:cubicBezTo>
                      <a:cubicBezTo>
                        <a:pt x="156242" y="27572"/>
                        <a:pt x="149020" y="35450"/>
                        <a:pt x="139173" y="35450"/>
                      </a:cubicBezTo>
                      <a:lnTo>
                        <a:pt x="139173" y="35450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</p:grpSp>
        <p:grpSp>
          <p:nvGrpSpPr>
            <p:cNvPr id="95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2146628" y="2551783"/>
              <a:ext cx="395199" cy="395199"/>
              <a:chOff x="2146628" y="2551783"/>
              <a:chExt cx="395199" cy="395199"/>
            </a:xfrm>
            <a:grpFill/>
          </p:grpSpPr>
          <p:sp>
            <p:nvSpPr>
              <p:cNvPr id="96" name="Forma Livre: Forma 95">
                <a:extLst>
                  <a:ext uri="{FF2B5EF4-FFF2-40B4-BE49-F238E27FC236}">
                    <a16:creationId xmlns:a16="http://schemas.microsoft.com/office/drawing/2014/main" id="{1EBD3A4F-15B9-4E33-9924-C728D06E2EC1}"/>
                  </a:ext>
                </a:extLst>
              </p:cNvPr>
              <p:cNvSpPr/>
              <p:nvPr/>
            </p:nvSpPr>
            <p:spPr>
              <a:xfrm>
                <a:off x="2146628" y="2551783"/>
                <a:ext cx="395199" cy="395199"/>
              </a:xfrm>
              <a:custGeom>
                <a:avLst/>
                <a:gdLst>
                  <a:gd name="connsiteX0" fmla="*/ 197600 w 395199"/>
                  <a:gd name="connsiteY0" fmla="*/ 395200 h 395199"/>
                  <a:gd name="connsiteX1" fmla="*/ 0 w 395199"/>
                  <a:gd name="connsiteY1" fmla="*/ 197600 h 395199"/>
                  <a:gd name="connsiteX2" fmla="*/ 197600 w 395199"/>
                  <a:gd name="connsiteY2" fmla="*/ 0 h 395199"/>
                  <a:gd name="connsiteX3" fmla="*/ 395200 w 395199"/>
                  <a:gd name="connsiteY3" fmla="*/ 197600 h 395199"/>
                  <a:gd name="connsiteX4" fmla="*/ 197600 w 395199"/>
                  <a:gd name="connsiteY4" fmla="*/ 395200 h 395199"/>
                  <a:gd name="connsiteX5" fmla="*/ 197600 w 395199"/>
                  <a:gd name="connsiteY5" fmla="*/ 395200 h 395199"/>
                  <a:gd name="connsiteX6" fmla="*/ 197600 w 395199"/>
                  <a:gd name="connsiteY6" fmla="*/ 35450 h 395199"/>
                  <a:gd name="connsiteX7" fmla="*/ 35450 w 395199"/>
                  <a:gd name="connsiteY7" fmla="*/ 197600 h 395199"/>
                  <a:gd name="connsiteX8" fmla="*/ 197600 w 395199"/>
                  <a:gd name="connsiteY8" fmla="*/ 359750 h 395199"/>
                  <a:gd name="connsiteX9" fmla="*/ 359750 w 395199"/>
                  <a:gd name="connsiteY9" fmla="*/ 197600 h 395199"/>
                  <a:gd name="connsiteX10" fmla="*/ 197600 w 395199"/>
                  <a:gd name="connsiteY10" fmla="*/ 35450 h 395199"/>
                  <a:gd name="connsiteX11" fmla="*/ 197600 w 395199"/>
                  <a:gd name="connsiteY11" fmla="*/ 35450 h 395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95199" h="395199">
                    <a:moveTo>
                      <a:pt x="197600" y="395200"/>
                    </a:moveTo>
                    <a:cubicBezTo>
                      <a:pt x="88625" y="395200"/>
                      <a:pt x="0" y="306575"/>
                      <a:pt x="0" y="197600"/>
                    </a:cubicBezTo>
                    <a:cubicBezTo>
                      <a:pt x="0" y="88625"/>
                      <a:pt x="88625" y="0"/>
                      <a:pt x="197600" y="0"/>
                    </a:cubicBezTo>
                    <a:cubicBezTo>
                      <a:pt x="306575" y="0"/>
                      <a:pt x="395200" y="88625"/>
                      <a:pt x="395200" y="197600"/>
                    </a:cubicBezTo>
                    <a:cubicBezTo>
                      <a:pt x="395200" y="306575"/>
                      <a:pt x="305919" y="395200"/>
                      <a:pt x="197600" y="395200"/>
                    </a:cubicBezTo>
                    <a:lnTo>
                      <a:pt x="197600" y="395200"/>
                    </a:lnTo>
                    <a:close/>
                    <a:moveTo>
                      <a:pt x="197600" y="35450"/>
                    </a:moveTo>
                    <a:cubicBezTo>
                      <a:pt x="108319" y="35450"/>
                      <a:pt x="35450" y="108319"/>
                      <a:pt x="35450" y="197600"/>
                    </a:cubicBezTo>
                    <a:cubicBezTo>
                      <a:pt x="35450" y="286881"/>
                      <a:pt x="108319" y="359750"/>
                      <a:pt x="197600" y="359750"/>
                    </a:cubicBezTo>
                    <a:cubicBezTo>
                      <a:pt x="286881" y="359750"/>
                      <a:pt x="359750" y="286881"/>
                      <a:pt x="359750" y="197600"/>
                    </a:cubicBezTo>
                    <a:cubicBezTo>
                      <a:pt x="359750" y="108319"/>
                      <a:pt x="286881" y="35450"/>
                      <a:pt x="197600" y="35450"/>
                    </a:cubicBezTo>
                    <a:lnTo>
                      <a:pt x="197600" y="35450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grpSp>
            <p:nvGrpSpPr>
              <p:cNvPr id="97" name="Gráfico 2">
                <a:extLst>
                  <a:ext uri="{FF2B5EF4-FFF2-40B4-BE49-F238E27FC236}">
                    <a16:creationId xmlns:a16="http://schemas.microsoft.com/office/drawing/2014/main" id="{4A08825F-1C42-4C63-A6FE-BBB3DD9D4FEB}"/>
                  </a:ext>
                </a:extLst>
              </p:cNvPr>
              <p:cNvGrpSpPr/>
              <p:nvPr/>
            </p:nvGrpSpPr>
            <p:grpSpPr>
              <a:xfrm>
                <a:off x="2269062" y="2664369"/>
                <a:ext cx="174951" cy="170356"/>
                <a:chOff x="2269062" y="2664369"/>
                <a:chExt cx="174951" cy="170356"/>
              </a:xfrm>
              <a:grpFill/>
            </p:grpSpPr>
            <p:sp>
              <p:nvSpPr>
                <p:cNvPr id="98" name="Forma Livre: Forma 97">
                  <a:extLst>
                    <a:ext uri="{FF2B5EF4-FFF2-40B4-BE49-F238E27FC236}">
                      <a16:creationId xmlns:a16="http://schemas.microsoft.com/office/drawing/2014/main" id="{8218531A-9537-4E44-A745-CABBD4150BFF}"/>
                    </a:ext>
                  </a:extLst>
                </p:cNvPr>
                <p:cNvSpPr/>
                <p:nvPr/>
              </p:nvSpPr>
              <p:spPr>
                <a:xfrm>
                  <a:off x="2269062" y="2664369"/>
                  <a:ext cx="102410" cy="170356"/>
                </a:xfrm>
                <a:custGeom>
                  <a:avLst/>
                  <a:gdLst>
                    <a:gd name="connsiteX0" fmla="*/ 85014 w 102410"/>
                    <a:gd name="connsiteY0" fmla="*/ 170356 h 170356"/>
                    <a:gd name="connsiteX1" fmla="*/ 72541 w 102410"/>
                    <a:gd name="connsiteY1" fmla="*/ 165104 h 170356"/>
                    <a:gd name="connsiteX2" fmla="*/ 4924 w 102410"/>
                    <a:gd name="connsiteY2" fmla="*/ 97487 h 170356"/>
                    <a:gd name="connsiteX3" fmla="*/ 4924 w 102410"/>
                    <a:gd name="connsiteY3" fmla="*/ 72541 h 170356"/>
                    <a:gd name="connsiteX4" fmla="*/ 72541 w 102410"/>
                    <a:gd name="connsiteY4" fmla="*/ 4924 h 170356"/>
                    <a:gd name="connsiteX5" fmla="*/ 97487 w 102410"/>
                    <a:gd name="connsiteY5" fmla="*/ 4924 h 170356"/>
                    <a:gd name="connsiteX6" fmla="*/ 97487 w 102410"/>
                    <a:gd name="connsiteY6" fmla="*/ 29870 h 170356"/>
                    <a:gd name="connsiteX7" fmla="*/ 42343 w 102410"/>
                    <a:gd name="connsiteY7" fmla="*/ 85014 h 170356"/>
                    <a:gd name="connsiteX8" fmla="*/ 97487 w 102410"/>
                    <a:gd name="connsiteY8" fmla="*/ 140158 h 170356"/>
                    <a:gd name="connsiteX9" fmla="*/ 97487 w 102410"/>
                    <a:gd name="connsiteY9" fmla="*/ 165104 h 170356"/>
                    <a:gd name="connsiteX10" fmla="*/ 85014 w 102410"/>
                    <a:gd name="connsiteY10" fmla="*/ 170356 h 170356"/>
                    <a:gd name="connsiteX11" fmla="*/ 85014 w 102410"/>
                    <a:gd name="connsiteY11" fmla="*/ 170356 h 1703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02410" h="170356">
                      <a:moveTo>
                        <a:pt x="85014" y="170356"/>
                      </a:moveTo>
                      <a:cubicBezTo>
                        <a:pt x="80419" y="170356"/>
                        <a:pt x="75823" y="168387"/>
                        <a:pt x="72541" y="165104"/>
                      </a:cubicBezTo>
                      <a:lnTo>
                        <a:pt x="4924" y="97487"/>
                      </a:lnTo>
                      <a:cubicBezTo>
                        <a:pt x="-1641" y="90922"/>
                        <a:pt x="-1641" y="79762"/>
                        <a:pt x="4924" y="72541"/>
                      </a:cubicBezTo>
                      <a:lnTo>
                        <a:pt x="72541" y="4924"/>
                      </a:lnTo>
                      <a:cubicBezTo>
                        <a:pt x="79106" y="-1641"/>
                        <a:pt x="90266" y="-1641"/>
                        <a:pt x="97487" y="4924"/>
                      </a:cubicBezTo>
                      <a:cubicBezTo>
                        <a:pt x="104052" y="11488"/>
                        <a:pt x="104052" y="22649"/>
                        <a:pt x="97487" y="29870"/>
                      </a:cubicBezTo>
                      <a:lnTo>
                        <a:pt x="42343" y="85014"/>
                      </a:lnTo>
                      <a:lnTo>
                        <a:pt x="97487" y="140158"/>
                      </a:lnTo>
                      <a:cubicBezTo>
                        <a:pt x="104052" y="146723"/>
                        <a:pt x="104052" y="157883"/>
                        <a:pt x="97487" y="165104"/>
                      </a:cubicBezTo>
                      <a:cubicBezTo>
                        <a:pt x="94205" y="168387"/>
                        <a:pt x="89609" y="170356"/>
                        <a:pt x="85014" y="170356"/>
                      </a:cubicBezTo>
                      <a:lnTo>
                        <a:pt x="85014" y="170356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99" name="Forma Livre: Forma 98">
                  <a:extLst>
                    <a:ext uri="{FF2B5EF4-FFF2-40B4-BE49-F238E27FC236}">
                      <a16:creationId xmlns:a16="http://schemas.microsoft.com/office/drawing/2014/main" id="{C28DA6F5-D4D5-439D-8650-70EC6250FEC3}"/>
                    </a:ext>
                  </a:extLst>
                </p:cNvPr>
                <p:cNvSpPr/>
                <p:nvPr/>
              </p:nvSpPr>
              <p:spPr>
                <a:xfrm>
                  <a:off x="2287115" y="2731658"/>
                  <a:ext cx="156898" cy="35449"/>
                </a:xfrm>
                <a:custGeom>
                  <a:avLst/>
                  <a:gdLst>
                    <a:gd name="connsiteX0" fmla="*/ 139173 w 156898"/>
                    <a:gd name="connsiteY0" fmla="*/ 35450 h 35449"/>
                    <a:gd name="connsiteX1" fmla="*/ 17725 w 156898"/>
                    <a:gd name="connsiteY1" fmla="*/ 35450 h 35449"/>
                    <a:gd name="connsiteX2" fmla="*/ 0 w 156898"/>
                    <a:gd name="connsiteY2" fmla="*/ 17725 h 35449"/>
                    <a:gd name="connsiteX3" fmla="*/ 17725 w 156898"/>
                    <a:gd name="connsiteY3" fmla="*/ 0 h 35449"/>
                    <a:gd name="connsiteX4" fmla="*/ 139173 w 156898"/>
                    <a:gd name="connsiteY4" fmla="*/ 0 h 35449"/>
                    <a:gd name="connsiteX5" fmla="*/ 156898 w 156898"/>
                    <a:gd name="connsiteY5" fmla="*/ 17725 h 35449"/>
                    <a:gd name="connsiteX6" fmla="*/ 139173 w 156898"/>
                    <a:gd name="connsiteY6" fmla="*/ 35450 h 35449"/>
                    <a:gd name="connsiteX7" fmla="*/ 139173 w 156898"/>
                    <a:gd name="connsiteY7" fmla="*/ 35450 h 354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56898" h="35449">
                      <a:moveTo>
                        <a:pt x="139173" y="35450"/>
                      </a:moveTo>
                      <a:lnTo>
                        <a:pt x="17725" y="35450"/>
                      </a:lnTo>
                      <a:cubicBezTo>
                        <a:pt x="7878" y="35450"/>
                        <a:pt x="0" y="27572"/>
                        <a:pt x="0" y="17725"/>
                      </a:cubicBezTo>
                      <a:cubicBezTo>
                        <a:pt x="0" y="7878"/>
                        <a:pt x="7878" y="0"/>
                        <a:pt x="17725" y="0"/>
                      </a:cubicBezTo>
                      <a:lnTo>
                        <a:pt x="139173" y="0"/>
                      </a:lnTo>
                      <a:cubicBezTo>
                        <a:pt x="149020" y="0"/>
                        <a:pt x="156898" y="7878"/>
                        <a:pt x="156898" y="17725"/>
                      </a:cubicBezTo>
                      <a:cubicBezTo>
                        <a:pt x="156898" y="27572"/>
                        <a:pt x="149020" y="35450"/>
                        <a:pt x="139173" y="35450"/>
                      </a:cubicBezTo>
                      <a:lnTo>
                        <a:pt x="139173" y="35450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</p:grpSp>
        <p:grpSp>
          <p:nvGrpSpPr>
            <p:cNvPr id="100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3212092" y="2551783"/>
              <a:ext cx="395199" cy="395199"/>
              <a:chOff x="3212092" y="2551783"/>
              <a:chExt cx="395199" cy="395199"/>
            </a:xfrm>
            <a:grpFill/>
          </p:grpSpPr>
          <p:sp>
            <p:nvSpPr>
              <p:cNvPr id="101" name="Forma Livre: Forma 100">
                <a:extLst>
                  <a:ext uri="{FF2B5EF4-FFF2-40B4-BE49-F238E27FC236}">
                    <a16:creationId xmlns:a16="http://schemas.microsoft.com/office/drawing/2014/main" id="{0E8CABEF-0CED-450F-81B1-EE42B352C0BA}"/>
                  </a:ext>
                </a:extLst>
              </p:cNvPr>
              <p:cNvSpPr/>
              <p:nvPr/>
            </p:nvSpPr>
            <p:spPr>
              <a:xfrm>
                <a:off x="3212092" y="2551783"/>
                <a:ext cx="395199" cy="395199"/>
              </a:xfrm>
              <a:custGeom>
                <a:avLst/>
                <a:gdLst>
                  <a:gd name="connsiteX0" fmla="*/ 197600 w 395199"/>
                  <a:gd name="connsiteY0" fmla="*/ 395200 h 395199"/>
                  <a:gd name="connsiteX1" fmla="*/ 0 w 395199"/>
                  <a:gd name="connsiteY1" fmla="*/ 197600 h 395199"/>
                  <a:gd name="connsiteX2" fmla="*/ 197600 w 395199"/>
                  <a:gd name="connsiteY2" fmla="*/ 0 h 395199"/>
                  <a:gd name="connsiteX3" fmla="*/ 395200 w 395199"/>
                  <a:gd name="connsiteY3" fmla="*/ 197600 h 395199"/>
                  <a:gd name="connsiteX4" fmla="*/ 197600 w 395199"/>
                  <a:gd name="connsiteY4" fmla="*/ 395200 h 395199"/>
                  <a:gd name="connsiteX5" fmla="*/ 197600 w 395199"/>
                  <a:gd name="connsiteY5" fmla="*/ 395200 h 395199"/>
                  <a:gd name="connsiteX6" fmla="*/ 197600 w 395199"/>
                  <a:gd name="connsiteY6" fmla="*/ 35450 h 395199"/>
                  <a:gd name="connsiteX7" fmla="*/ 35450 w 395199"/>
                  <a:gd name="connsiteY7" fmla="*/ 197600 h 395199"/>
                  <a:gd name="connsiteX8" fmla="*/ 197600 w 395199"/>
                  <a:gd name="connsiteY8" fmla="*/ 359750 h 395199"/>
                  <a:gd name="connsiteX9" fmla="*/ 359750 w 395199"/>
                  <a:gd name="connsiteY9" fmla="*/ 197600 h 395199"/>
                  <a:gd name="connsiteX10" fmla="*/ 197600 w 395199"/>
                  <a:gd name="connsiteY10" fmla="*/ 35450 h 395199"/>
                  <a:gd name="connsiteX11" fmla="*/ 197600 w 395199"/>
                  <a:gd name="connsiteY11" fmla="*/ 35450 h 395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95199" h="395199">
                    <a:moveTo>
                      <a:pt x="197600" y="395200"/>
                    </a:moveTo>
                    <a:cubicBezTo>
                      <a:pt x="88625" y="395200"/>
                      <a:pt x="0" y="306575"/>
                      <a:pt x="0" y="197600"/>
                    </a:cubicBezTo>
                    <a:cubicBezTo>
                      <a:pt x="0" y="88625"/>
                      <a:pt x="88625" y="0"/>
                      <a:pt x="197600" y="0"/>
                    </a:cubicBezTo>
                    <a:cubicBezTo>
                      <a:pt x="306575" y="0"/>
                      <a:pt x="395200" y="88625"/>
                      <a:pt x="395200" y="197600"/>
                    </a:cubicBezTo>
                    <a:cubicBezTo>
                      <a:pt x="395200" y="306575"/>
                      <a:pt x="306575" y="395200"/>
                      <a:pt x="197600" y="395200"/>
                    </a:cubicBezTo>
                    <a:lnTo>
                      <a:pt x="197600" y="395200"/>
                    </a:lnTo>
                    <a:close/>
                    <a:moveTo>
                      <a:pt x="197600" y="35450"/>
                    </a:moveTo>
                    <a:cubicBezTo>
                      <a:pt x="108319" y="35450"/>
                      <a:pt x="35450" y="108319"/>
                      <a:pt x="35450" y="197600"/>
                    </a:cubicBezTo>
                    <a:cubicBezTo>
                      <a:pt x="35450" y="286881"/>
                      <a:pt x="108319" y="359750"/>
                      <a:pt x="197600" y="359750"/>
                    </a:cubicBezTo>
                    <a:cubicBezTo>
                      <a:pt x="286881" y="359750"/>
                      <a:pt x="359750" y="286881"/>
                      <a:pt x="359750" y="197600"/>
                    </a:cubicBezTo>
                    <a:cubicBezTo>
                      <a:pt x="359750" y="108319"/>
                      <a:pt x="286881" y="35450"/>
                      <a:pt x="197600" y="35450"/>
                    </a:cubicBezTo>
                    <a:lnTo>
                      <a:pt x="197600" y="35450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grpSp>
            <p:nvGrpSpPr>
              <p:cNvPr id="102" name="Gráfico 2">
                <a:extLst>
                  <a:ext uri="{FF2B5EF4-FFF2-40B4-BE49-F238E27FC236}">
                    <a16:creationId xmlns:a16="http://schemas.microsoft.com/office/drawing/2014/main" id="{4A08825F-1C42-4C63-A6FE-BBB3DD9D4FEB}"/>
                  </a:ext>
                </a:extLst>
              </p:cNvPr>
              <p:cNvGrpSpPr/>
              <p:nvPr/>
            </p:nvGrpSpPr>
            <p:grpSpPr>
              <a:xfrm>
                <a:off x="3324678" y="2674216"/>
                <a:ext cx="170027" cy="174951"/>
                <a:chOff x="3324678" y="2674216"/>
                <a:chExt cx="170027" cy="174951"/>
              </a:xfrm>
              <a:grpFill/>
            </p:grpSpPr>
            <p:sp>
              <p:nvSpPr>
                <p:cNvPr id="103" name="Forma Livre: Forma 102">
                  <a:extLst>
                    <a:ext uri="{FF2B5EF4-FFF2-40B4-BE49-F238E27FC236}">
                      <a16:creationId xmlns:a16="http://schemas.microsoft.com/office/drawing/2014/main" id="{2373E565-78D5-45CF-AE91-1B59CBC2FF4C}"/>
                    </a:ext>
                  </a:extLst>
                </p:cNvPr>
                <p:cNvSpPr/>
                <p:nvPr/>
              </p:nvSpPr>
              <p:spPr>
                <a:xfrm>
                  <a:off x="3324678" y="2674216"/>
                  <a:ext cx="170027" cy="102738"/>
                </a:xfrm>
                <a:custGeom>
                  <a:avLst/>
                  <a:gdLst>
                    <a:gd name="connsiteX0" fmla="*/ 152631 w 170027"/>
                    <a:gd name="connsiteY0" fmla="*/ 102739 h 102738"/>
                    <a:gd name="connsiteX1" fmla="*/ 140158 w 170027"/>
                    <a:gd name="connsiteY1" fmla="*/ 97487 h 102738"/>
                    <a:gd name="connsiteX2" fmla="*/ 85014 w 170027"/>
                    <a:gd name="connsiteY2" fmla="*/ 42343 h 102738"/>
                    <a:gd name="connsiteX3" fmla="*/ 29870 w 170027"/>
                    <a:gd name="connsiteY3" fmla="*/ 97487 h 102738"/>
                    <a:gd name="connsiteX4" fmla="*/ 4924 w 170027"/>
                    <a:gd name="connsiteY4" fmla="*/ 97487 h 102738"/>
                    <a:gd name="connsiteX5" fmla="*/ 4924 w 170027"/>
                    <a:gd name="connsiteY5" fmla="*/ 72541 h 102738"/>
                    <a:gd name="connsiteX6" fmla="*/ 72541 w 170027"/>
                    <a:gd name="connsiteY6" fmla="*/ 4924 h 102738"/>
                    <a:gd name="connsiteX7" fmla="*/ 97487 w 170027"/>
                    <a:gd name="connsiteY7" fmla="*/ 4924 h 102738"/>
                    <a:gd name="connsiteX8" fmla="*/ 165104 w 170027"/>
                    <a:gd name="connsiteY8" fmla="*/ 72541 h 102738"/>
                    <a:gd name="connsiteX9" fmla="*/ 165104 w 170027"/>
                    <a:gd name="connsiteY9" fmla="*/ 97487 h 102738"/>
                    <a:gd name="connsiteX10" fmla="*/ 152631 w 170027"/>
                    <a:gd name="connsiteY10" fmla="*/ 102739 h 102738"/>
                    <a:gd name="connsiteX11" fmla="*/ 152631 w 170027"/>
                    <a:gd name="connsiteY11" fmla="*/ 102739 h 1027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70027" h="102738">
                      <a:moveTo>
                        <a:pt x="152631" y="102739"/>
                      </a:moveTo>
                      <a:cubicBezTo>
                        <a:pt x="148036" y="102739"/>
                        <a:pt x="143440" y="100769"/>
                        <a:pt x="140158" y="97487"/>
                      </a:cubicBezTo>
                      <a:lnTo>
                        <a:pt x="85014" y="42343"/>
                      </a:lnTo>
                      <a:lnTo>
                        <a:pt x="29870" y="97487"/>
                      </a:lnTo>
                      <a:cubicBezTo>
                        <a:pt x="23305" y="104052"/>
                        <a:pt x="12145" y="104052"/>
                        <a:pt x="4924" y="97487"/>
                      </a:cubicBezTo>
                      <a:cubicBezTo>
                        <a:pt x="-1641" y="90922"/>
                        <a:pt x="-1641" y="79762"/>
                        <a:pt x="4924" y="72541"/>
                      </a:cubicBezTo>
                      <a:lnTo>
                        <a:pt x="72541" y="4924"/>
                      </a:lnTo>
                      <a:cubicBezTo>
                        <a:pt x="79106" y="-1641"/>
                        <a:pt x="90266" y="-1641"/>
                        <a:pt x="97487" y="4924"/>
                      </a:cubicBezTo>
                      <a:lnTo>
                        <a:pt x="165104" y="72541"/>
                      </a:lnTo>
                      <a:cubicBezTo>
                        <a:pt x="171669" y="79106"/>
                        <a:pt x="171669" y="90266"/>
                        <a:pt x="165104" y="97487"/>
                      </a:cubicBezTo>
                      <a:cubicBezTo>
                        <a:pt x="161822" y="101426"/>
                        <a:pt x="157226" y="102739"/>
                        <a:pt x="152631" y="102739"/>
                      </a:cubicBezTo>
                      <a:lnTo>
                        <a:pt x="152631" y="102739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104" name="Forma Livre: Forma 103">
                  <a:extLst>
                    <a:ext uri="{FF2B5EF4-FFF2-40B4-BE49-F238E27FC236}">
                      <a16:creationId xmlns:a16="http://schemas.microsoft.com/office/drawing/2014/main" id="{FA0F3E81-A098-452A-8429-FC9D60933586}"/>
                    </a:ext>
                  </a:extLst>
                </p:cNvPr>
                <p:cNvSpPr/>
                <p:nvPr/>
              </p:nvSpPr>
              <p:spPr>
                <a:xfrm>
                  <a:off x="3391967" y="2692269"/>
                  <a:ext cx="35449" cy="156898"/>
                </a:xfrm>
                <a:custGeom>
                  <a:avLst/>
                  <a:gdLst>
                    <a:gd name="connsiteX0" fmla="*/ 17725 w 35449"/>
                    <a:gd name="connsiteY0" fmla="*/ 156898 h 156898"/>
                    <a:gd name="connsiteX1" fmla="*/ 0 w 35449"/>
                    <a:gd name="connsiteY1" fmla="*/ 139173 h 156898"/>
                    <a:gd name="connsiteX2" fmla="*/ 0 w 35449"/>
                    <a:gd name="connsiteY2" fmla="*/ 17725 h 156898"/>
                    <a:gd name="connsiteX3" fmla="*/ 17725 w 35449"/>
                    <a:gd name="connsiteY3" fmla="*/ 0 h 156898"/>
                    <a:gd name="connsiteX4" fmla="*/ 35450 w 35449"/>
                    <a:gd name="connsiteY4" fmla="*/ 17725 h 156898"/>
                    <a:gd name="connsiteX5" fmla="*/ 35450 w 35449"/>
                    <a:gd name="connsiteY5" fmla="*/ 139173 h 156898"/>
                    <a:gd name="connsiteX6" fmla="*/ 17725 w 35449"/>
                    <a:gd name="connsiteY6" fmla="*/ 156898 h 156898"/>
                    <a:gd name="connsiteX7" fmla="*/ 17725 w 35449"/>
                    <a:gd name="connsiteY7" fmla="*/ 156898 h 156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5449" h="156898">
                      <a:moveTo>
                        <a:pt x="17725" y="156898"/>
                      </a:moveTo>
                      <a:cubicBezTo>
                        <a:pt x="7878" y="156898"/>
                        <a:pt x="0" y="149021"/>
                        <a:pt x="0" y="139173"/>
                      </a:cubicBezTo>
                      <a:lnTo>
                        <a:pt x="0" y="17725"/>
                      </a:lnTo>
                      <a:cubicBezTo>
                        <a:pt x="0" y="7878"/>
                        <a:pt x="7878" y="0"/>
                        <a:pt x="17725" y="0"/>
                      </a:cubicBezTo>
                      <a:cubicBezTo>
                        <a:pt x="27572" y="0"/>
                        <a:pt x="35450" y="7878"/>
                        <a:pt x="35450" y="17725"/>
                      </a:cubicBezTo>
                      <a:lnTo>
                        <a:pt x="35450" y="139173"/>
                      </a:lnTo>
                      <a:cubicBezTo>
                        <a:pt x="35450" y="149021"/>
                        <a:pt x="27572" y="156898"/>
                        <a:pt x="17725" y="156898"/>
                      </a:cubicBezTo>
                      <a:lnTo>
                        <a:pt x="17725" y="156898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</p:grpSp>
        <p:grpSp>
          <p:nvGrpSpPr>
            <p:cNvPr id="105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4281494" y="2551783"/>
              <a:ext cx="395199" cy="395199"/>
              <a:chOff x="4281494" y="2551783"/>
              <a:chExt cx="395199" cy="395199"/>
            </a:xfrm>
            <a:grpFill/>
          </p:grpSpPr>
          <p:sp>
            <p:nvSpPr>
              <p:cNvPr id="106" name="Forma Livre: Forma 105">
                <a:extLst>
                  <a:ext uri="{FF2B5EF4-FFF2-40B4-BE49-F238E27FC236}">
                    <a16:creationId xmlns:a16="http://schemas.microsoft.com/office/drawing/2014/main" id="{2C8C8C56-129E-4701-B496-146D9829FD7C}"/>
                  </a:ext>
                </a:extLst>
              </p:cNvPr>
              <p:cNvSpPr/>
              <p:nvPr/>
            </p:nvSpPr>
            <p:spPr>
              <a:xfrm>
                <a:off x="4281494" y="2551783"/>
                <a:ext cx="395199" cy="395199"/>
              </a:xfrm>
              <a:custGeom>
                <a:avLst/>
                <a:gdLst>
                  <a:gd name="connsiteX0" fmla="*/ 197600 w 395199"/>
                  <a:gd name="connsiteY0" fmla="*/ 395200 h 395199"/>
                  <a:gd name="connsiteX1" fmla="*/ 0 w 395199"/>
                  <a:gd name="connsiteY1" fmla="*/ 197600 h 395199"/>
                  <a:gd name="connsiteX2" fmla="*/ 197600 w 395199"/>
                  <a:gd name="connsiteY2" fmla="*/ 0 h 395199"/>
                  <a:gd name="connsiteX3" fmla="*/ 395200 w 395199"/>
                  <a:gd name="connsiteY3" fmla="*/ 197600 h 395199"/>
                  <a:gd name="connsiteX4" fmla="*/ 197600 w 395199"/>
                  <a:gd name="connsiteY4" fmla="*/ 395200 h 395199"/>
                  <a:gd name="connsiteX5" fmla="*/ 197600 w 395199"/>
                  <a:gd name="connsiteY5" fmla="*/ 395200 h 395199"/>
                  <a:gd name="connsiteX6" fmla="*/ 197600 w 395199"/>
                  <a:gd name="connsiteY6" fmla="*/ 35450 h 395199"/>
                  <a:gd name="connsiteX7" fmla="*/ 35450 w 395199"/>
                  <a:gd name="connsiteY7" fmla="*/ 197600 h 395199"/>
                  <a:gd name="connsiteX8" fmla="*/ 197600 w 395199"/>
                  <a:gd name="connsiteY8" fmla="*/ 359750 h 395199"/>
                  <a:gd name="connsiteX9" fmla="*/ 359750 w 395199"/>
                  <a:gd name="connsiteY9" fmla="*/ 197600 h 395199"/>
                  <a:gd name="connsiteX10" fmla="*/ 197600 w 395199"/>
                  <a:gd name="connsiteY10" fmla="*/ 35450 h 395199"/>
                  <a:gd name="connsiteX11" fmla="*/ 197600 w 395199"/>
                  <a:gd name="connsiteY11" fmla="*/ 35450 h 395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95199" h="395199">
                    <a:moveTo>
                      <a:pt x="197600" y="395200"/>
                    </a:moveTo>
                    <a:cubicBezTo>
                      <a:pt x="88625" y="395200"/>
                      <a:pt x="0" y="306575"/>
                      <a:pt x="0" y="197600"/>
                    </a:cubicBezTo>
                    <a:cubicBezTo>
                      <a:pt x="0" y="88625"/>
                      <a:pt x="88625" y="0"/>
                      <a:pt x="197600" y="0"/>
                    </a:cubicBezTo>
                    <a:cubicBezTo>
                      <a:pt x="306575" y="0"/>
                      <a:pt x="395200" y="88625"/>
                      <a:pt x="395200" y="197600"/>
                    </a:cubicBezTo>
                    <a:cubicBezTo>
                      <a:pt x="395200" y="306575"/>
                      <a:pt x="306575" y="395200"/>
                      <a:pt x="197600" y="395200"/>
                    </a:cubicBezTo>
                    <a:lnTo>
                      <a:pt x="197600" y="395200"/>
                    </a:lnTo>
                    <a:close/>
                    <a:moveTo>
                      <a:pt x="197600" y="35450"/>
                    </a:moveTo>
                    <a:cubicBezTo>
                      <a:pt x="108319" y="35450"/>
                      <a:pt x="35450" y="108319"/>
                      <a:pt x="35450" y="197600"/>
                    </a:cubicBezTo>
                    <a:cubicBezTo>
                      <a:pt x="35450" y="286881"/>
                      <a:pt x="108319" y="359750"/>
                      <a:pt x="197600" y="359750"/>
                    </a:cubicBezTo>
                    <a:cubicBezTo>
                      <a:pt x="286881" y="359750"/>
                      <a:pt x="359750" y="286881"/>
                      <a:pt x="359750" y="197600"/>
                    </a:cubicBezTo>
                    <a:cubicBezTo>
                      <a:pt x="359750" y="108319"/>
                      <a:pt x="286881" y="35450"/>
                      <a:pt x="197600" y="35450"/>
                    </a:cubicBezTo>
                    <a:lnTo>
                      <a:pt x="197600" y="35450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grpSp>
            <p:nvGrpSpPr>
              <p:cNvPr id="107" name="Gráfico 2">
                <a:extLst>
                  <a:ext uri="{FF2B5EF4-FFF2-40B4-BE49-F238E27FC236}">
                    <a16:creationId xmlns:a16="http://schemas.microsoft.com/office/drawing/2014/main" id="{4A08825F-1C42-4C63-A6FE-BBB3DD9D4FEB}"/>
                  </a:ext>
                </a:extLst>
              </p:cNvPr>
              <p:cNvGrpSpPr/>
              <p:nvPr/>
            </p:nvGrpSpPr>
            <p:grpSpPr>
              <a:xfrm>
                <a:off x="4394080" y="2648941"/>
                <a:ext cx="170027" cy="175279"/>
                <a:chOff x="4394080" y="2648941"/>
                <a:chExt cx="170027" cy="175279"/>
              </a:xfrm>
              <a:grpFill/>
            </p:grpSpPr>
            <p:sp>
              <p:nvSpPr>
                <p:cNvPr id="108" name="Forma Livre: Forma 107">
                  <a:extLst>
                    <a:ext uri="{FF2B5EF4-FFF2-40B4-BE49-F238E27FC236}">
                      <a16:creationId xmlns:a16="http://schemas.microsoft.com/office/drawing/2014/main" id="{F9313EF2-2059-460F-8FC9-F59CF59854E7}"/>
                    </a:ext>
                  </a:extLst>
                </p:cNvPr>
                <p:cNvSpPr/>
                <p:nvPr/>
              </p:nvSpPr>
              <p:spPr>
                <a:xfrm>
                  <a:off x="4394080" y="2721482"/>
                  <a:ext cx="170027" cy="102738"/>
                </a:xfrm>
                <a:custGeom>
                  <a:avLst/>
                  <a:gdLst>
                    <a:gd name="connsiteX0" fmla="*/ 85014 w 170027"/>
                    <a:gd name="connsiteY0" fmla="*/ 102739 h 102738"/>
                    <a:gd name="connsiteX1" fmla="*/ 72541 w 170027"/>
                    <a:gd name="connsiteY1" fmla="*/ 97487 h 102738"/>
                    <a:gd name="connsiteX2" fmla="*/ 4924 w 170027"/>
                    <a:gd name="connsiteY2" fmla="*/ 29870 h 102738"/>
                    <a:gd name="connsiteX3" fmla="*/ 4924 w 170027"/>
                    <a:gd name="connsiteY3" fmla="*/ 4924 h 102738"/>
                    <a:gd name="connsiteX4" fmla="*/ 29870 w 170027"/>
                    <a:gd name="connsiteY4" fmla="*/ 4924 h 102738"/>
                    <a:gd name="connsiteX5" fmla="*/ 85014 w 170027"/>
                    <a:gd name="connsiteY5" fmla="*/ 60068 h 102738"/>
                    <a:gd name="connsiteX6" fmla="*/ 140158 w 170027"/>
                    <a:gd name="connsiteY6" fmla="*/ 4924 h 102738"/>
                    <a:gd name="connsiteX7" fmla="*/ 165104 w 170027"/>
                    <a:gd name="connsiteY7" fmla="*/ 4924 h 102738"/>
                    <a:gd name="connsiteX8" fmla="*/ 165104 w 170027"/>
                    <a:gd name="connsiteY8" fmla="*/ 29870 h 102738"/>
                    <a:gd name="connsiteX9" fmla="*/ 97487 w 170027"/>
                    <a:gd name="connsiteY9" fmla="*/ 97487 h 102738"/>
                    <a:gd name="connsiteX10" fmla="*/ 85014 w 170027"/>
                    <a:gd name="connsiteY10" fmla="*/ 102739 h 102738"/>
                    <a:gd name="connsiteX11" fmla="*/ 85014 w 170027"/>
                    <a:gd name="connsiteY11" fmla="*/ 102739 h 1027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70027" h="102738">
                      <a:moveTo>
                        <a:pt x="85014" y="102739"/>
                      </a:moveTo>
                      <a:cubicBezTo>
                        <a:pt x="80419" y="102739"/>
                        <a:pt x="75823" y="100769"/>
                        <a:pt x="72541" y="97487"/>
                      </a:cubicBezTo>
                      <a:lnTo>
                        <a:pt x="4924" y="29870"/>
                      </a:lnTo>
                      <a:cubicBezTo>
                        <a:pt x="-1641" y="23305"/>
                        <a:pt x="-1641" y="12145"/>
                        <a:pt x="4924" y="4924"/>
                      </a:cubicBezTo>
                      <a:cubicBezTo>
                        <a:pt x="11488" y="-1641"/>
                        <a:pt x="22649" y="-1641"/>
                        <a:pt x="29870" y="4924"/>
                      </a:cubicBezTo>
                      <a:lnTo>
                        <a:pt x="85014" y="60068"/>
                      </a:lnTo>
                      <a:lnTo>
                        <a:pt x="140158" y="4924"/>
                      </a:lnTo>
                      <a:cubicBezTo>
                        <a:pt x="146723" y="-1641"/>
                        <a:pt x="157883" y="-1641"/>
                        <a:pt x="165104" y="4924"/>
                      </a:cubicBezTo>
                      <a:cubicBezTo>
                        <a:pt x="171669" y="11488"/>
                        <a:pt x="171669" y="22648"/>
                        <a:pt x="165104" y="29870"/>
                      </a:cubicBezTo>
                      <a:lnTo>
                        <a:pt x="97487" y="97487"/>
                      </a:lnTo>
                      <a:cubicBezTo>
                        <a:pt x="94204" y="100769"/>
                        <a:pt x="89609" y="102739"/>
                        <a:pt x="85014" y="102739"/>
                      </a:cubicBezTo>
                      <a:lnTo>
                        <a:pt x="85014" y="102739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109" name="Forma Livre: Forma 108">
                  <a:extLst>
                    <a:ext uri="{FF2B5EF4-FFF2-40B4-BE49-F238E27FC236}">
                      <a16:creationId xmlns:a16="http://schemas.microsoft.com/office/drawing/2014/main" id="{B7003297-5F97-4C6B-B961-6379D84C656A}"/>
                    </a:ext>
                  </a:extLst>
                </p:cNvPr>
                <p:cNvSpPr/>
                <p:nvPr/>
              </p:nvSpPr>
              <p:spPr>
                <a:xfrm>
                  <a:off x="4461369" y="2648941"/>
                  <a:ext cx="35449" cy="156898"/>
                </a:xfrm>
                <a:custGeom>
                  <a:avLst/>
                  <a:gdLst>
                    <a:gd name="connsiteX0" fmla="*/ 17725 w 35449"/>
                    <a:gd name="connsiteY0" fmla="*/ 156898 h 156898"/>
                    <a:gd name="connsiteX1" fmla="*/ 0 w 35449"/>
                    <a:gd name="connsiteY1" fmla="*/ 139173 h 156898"/>
                    <a:gd name="connsiteX2" fmla="*/ 0 w 35449"/>
                    <a:gd name="connsiteY2" fmla="*/ 17725 h 156898"/>
                    <a:gd name="connsiteX3" fmla="*/ 17725 w 35449"/>
                    <a:gd name="connsiteY3" fmla="*/ 0 h 156898"/>
                    <a:gd name="connsiteX4" fmla="*/ 35450 w 35449"/>
                    <a:gd name="connsiteY4" fmla="*/ 17725 h 156898"/>
                    <a:gd name="connsiteX5" fmla="*/ 35450 w 35449"/>
                    <a:gd name="connsiteY5" fmla="*/ 139173 h 156898"/>
                    <a:gd name="connsiteX6" fmla="*/ 17725 w 35449"/>
                    <a:gd name="connsiteY6" fmla="*/ 156898 h 156898"/>
                    <a:gd name="connsiteX7" fmla="*/ 17725 w 35449"/>
                    <a:gd name="connsiteY7" fmla="*/ 156898 h 1568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5449" h="156898">
                      <a:moveTo>
                        <a:pt x="17725" y="156898"/>
                      </a:moveTo>
                      <a:cubicBezTo>
                        <a:pt x="7878" y="156898"/>
                        <a:pt x="0" y="149021"/>
                        <a:pt x="0" y="139173"/>
                      </a:cubicBezTo>
                      <a:lnTo>
                        <a:pt x="0" y="17725"/>
                      </a:lnTo>
                      <a:cubicBezTo>
                        <a:pt x="0" y="7878"/>
                        <a:pt x="7878" y="0"/>
                        <a:pt x="17725" y="0"/>
                      </a:cubicBezTo>
                      <a:cubicBezTo>
                        <a:pt x="27572" y="0"/>
                        <a:pt x="35450" y="7878"/>
                        <a:pt x="35450" y="17725"/>
                      </a:cubicBezTo>
                      <a:lnTo>
                        <a:pt x="35450" y="139173"/>
                      </a:lnTo>
                      <a:cubicBezTo>
                        <a:pt x="35450" y="149021"/>
                        <a:pt x="27572" y="156898"/>
                        <a:pt x="17725" y="156898"/>
                      </a:cubicBezTo>
                      <a:lnTo>
                        <a:pt x="17725" y="156898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</p:grpSp>
        <p:grpSp>
          <p:nvGrpSpPr>
            <p:cNvPr id="110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9628506" y="2541607"/>
              <a:ext cx="401107" cy="415222"/>
              <a:chOff x="9628506" y="2541607"/>
              <a:chExt cx="401107" cy="415222"/>
            </a:xfrm>
            <a:grpFill/>
          </p:grpSpPr>
          <p:grpSp>
            <p:nvGrpSpPr>
              <p:cNvPr id="111" name="Gráfico 2">
                <a:extLst>
                  <a:ext uri="{FF2B5EF4-FFF2-40B4-BE49-F238E27FC236}">
                    <a16:creationId xmlns:a16="http://schemas.microsoft.com/office/drawing/2014/main" id="{4A08825F-1C42-4C63-A6FE-BBB3DD9D4FEB}"/>
                  </a:ext>
                </a:extLst>
              </p:cNvPr>
              <p:cNvGrpSpPr/>
              <p:nvPr/>
            </p:nvGrpSpPr>
            <p:grpSpPr>
              <a:xfrm>
                <a:off x="9628835" y="2733955"/>
                <a:ext cx="400779" cy="222874"/>
                <a:chOff x="9628835" y="2733955"/>
                <a:chExt cx="400779" cy="222874"/>
              </a:xfrm>
              <a:grpFill/>
            </p:grpSpPr>
            <p:sp>
              <p:nvSpPr>
                <p:cNvPr id="112" name="Forma Livre: Forma 111">
                  <a:extLst>
                    <a:ext uri="{FF2B5EF4-FFF2-40B4-BE49-F238E27FC236}">
                      <a16:creationId xmlns:a16="http://schemas.microsoft.com/office/drawing/2014/main" id="{B5C31E99-0075-4D49-A0E0-E861BCD02489}"/>
                    </a:ext>
                  </a:extLst>
                </p:cNvPr>
                <p:cNvSpPr/>
                <p:nvPr/>
              </p:nvSpPr>
              <p:spPr>
                <a:xfrm>
                  <a:off x="9628835" y="2733955"/>
                  <a:ext cx="128669" cy="222874"/>
                </a:xfrm>
                <a:custGeom>
                  <a:avLst/>
                  <a:gdLst>
                    <a:gd name="connsiteX0" fmla="*/ 111273 w 128669"/>
                    <a:gd name="connsiteY0" fmla="*/ 222874 h 222874"/>
                    <a:gd name="connsiteX1" fmla="*/ 98799 w 128669"/>
                    <a:gd name="connsiteY1" fmla="*/ 217622 h 222874"/>
                    <a:gd name="connsiteX2" fmla="*/ 4924 w 128669"/>
                    <a:gd name="connsiteY2" fmla="*/ 123746 h 222874"/>
                    <a:gd name="connsiteX3" fmla="*/ 4924 w 128669"/>
                    <a:gd name="connsiteY3" fmla="*/ 98800 h 222874"/>
                    <a:gd name="connsiteX4" fmla="*/ 98799 w 128669"/>
                    <a:gd name="connsiteY4" fmla="*/ 4924 h 222874"/>
                    <a:gd name="connsiteX5" fmla="*/ 123746 w 128669"/>
                    <a:gd name="connsiteY5" fmla="*/ 4924 h 222874"/>
                    <a:gd name="connsiteX6" fmla="*/ 123746 w 128669"/>
                    <a:gd name="connsiteY6" fmla="*/ 29870 h 222874"/>
                    <a:gd name="connsiteX7" fmla="*/ 42343 w 128669"/>
                    <a:gd name="connsiteY7" fmla="*/ 111273 h 222874"/>
                    <a:gd name="connsiteX8" fmla="*/ 123746 w 128669"/>
                    <a:gd name="connsiteY8" fmla="*/ 192676 h 222874"/>
                    <a:gd name="connsiteX9" fmla="*/ 123746 w 128669"/>
                    <a:gd name="connsiteY9" fmla="*/ 217622 h 222874"/>
                    <a:gd name="connsiteX10" fmla="*/ 111273 w 128669"/>
                    <a:gd name="connsiteY10" fmla="*/ 222874 h 222874"/>
                    <a:gd name="connsiteX11" fmla="*/ 111273 w 128669"/>
                    <a:gd name="connsiteY11" fmla="*/ 222874 h 2228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28669" h="222874">
                      <a:moveTo>
                        <a:pt x="111273" y="222874"/>
                      </a:moveTo>
                      <a:cubicBezTo>
                        <a:pt x="106678" y="222874"/>
                        <a:pt x="102082" y="220905"/>
                        <a:pt x="98799" y="217622"/>
                      </a:cubicBezTo>
                      <a:lnTo>
                        <a:pt x="4924" y="123746"/>
                      </a:lnTo>
                      <a:cubicBezTo>
                        <a:pt x="-1641" y="117181"/>
                        <a:pt x="-1641" y="106021"/>
                        <a:pt x="4924" y="98800"/>
                      </a:cubicBezTo>
                      <a:lnTo>
                        <a:pt x="98799" y="4924"/>
                      </a:lnTo>
                      <a:cubicBezTo>
                        <a:pt x="105364" y="-1641"/>
                        <a:pt x="116525" y="-1641"/>
                        <a:pt x="123746" y="4924"/>
                      </a:cubicBezTo>
                      <a:cubicBezTo>
                        <a:pt x="130311" y="11488"/>
                        <a:pt x="130311" y="22648"/>
                        <a:pt x="123746" y="29870"/>
                      </a:cubicBezTo>
                      <a:lnTo>
                        <a:pt x="42343" y="111273"/>
                      </a:lnTo>
                      <a:lnTo>
                        <a:pt x="123746" y="192676"/>
                      </a:lnTo>
                      <a:cubicBezTo>
                        <a:pt x="130311" y="199241"/>
                        <a:pt x="130311" y="210401"/>
                        <a:pt x="123746" y="217622"/>
                      </a:cubicBezTo>
                      <a:cubicBezTo>
                        <a:pt x="120464" y="220905"/>
                        <a:pt x="115868" y="222874"/>
                        <a:pt x="111273" y="222874"/>
                      </a:cubicBezTo>
                      <a:lnTo>
                        <a:pt x="111273" y="222874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113" name="Forma Livre: Forma 112">
                  <a:extLst>
                    <a:ext uri="{FF2B5EF4-FFF2-40B4-BE49-F238E27FC236}">
                      <a16:creationId xmlns:a16="http://schemas.microsoft.com/office/drawing/2014/main" id="{06C2718E-B08B-4459-B828-ABD9E42F662C}"/>
                    </a:ext>
                  </a:extLst>
                </p:cNvPr>
                <p:cNvSpPr/>
                <p:nvPr/>
              </p:nvSpPr>
              <p:spPr>
                <a:xfrm>
                  <a:off x="9654109" y="2827504"/>
                  <a:ext cx="375504" cy="35449"/>
                </a:xfrm>
                <a:custGeom>
                  <a:avLst/>
                  <a:gdLst>
                    <a:gd name="connsiteX0" fmla="*/ 17725 w 375504"/>
                    <a:gd name="connsiteY0" fmla="*/ 35450 h 35449"/>
                    <a:gd name="connsiteX1" fmla="*/ 0 w 375504"/>
                    <a:gd name="connsiteY1" fmla="*/ 17725 h 35449"/>
                    <a:gd name="connsiteX2" fmla="*/ 17725 w 375504"/>
                    <a:gd name="connsiteY2" fmla="*/ 0 h 35449"/>
                    <a:gd name="connsiteX3" fmla="*/ 357780 w 375504"/>
                    <a:gd name="connsiteY3" fmla="*/ 0 h 35449"/>
                    <a:gd name="connsiteX4" fmla="*/ 375505 w 375504"/>
                    <a:gd name="connsiteY4" fmla="*/ 17725 h 35449"/>
                    <a:gd name="connsiteX5" fmla="*/ 357780 w 375504"/>
                    <a:gd name="connsiteY5" fmla="*/ 35450 h 35449"/>
                    <a:gd name="connsiteX6" fmla="*/ 17725 w 375504"/>
                    <a:gd name="connsiteY6" fmla="*/ 35450 h 35449"/>
                    <a:gd name="connsiteX7" fmla="*/ 17725 w 375504"/>
                    <a:gd name="connsiteY7" fmla="*/ 35450 h 354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5504" h="35449">
                      <a:moveTo>
                        <a:pt x="17725" y="35450"/>
                      </a:moveTo>
                      <a:cubicBezTo>
                        <a:pt x="7877" y="35450"/>
                        <a:pt x="0" y="27572"/>
                        <a:pt x="0" y="17725"/>
                      </a:cubicBezTo>
                      <a:cubicBezTo>
                        <a:pt x="0" y="7878"/>
                        <a:pt x="7877" y="0"/>
                        <a:pt x="17725" y="0"/>
                      </a:cubicBezTo>
                      <a:lnTo>
                        <a:pt x="357780" y="0"/>
                      </a:lnTo>
                      <a:cubicBezTo>
                        <a:pt x="367628" y="0"/>
                        <a:pt x="375505" y="7878"/>
                        <a:pt x="375505" y="17725"/>
                      </a:cubicBezTo>
                      <a:cubicBezTo>
                        <a:pt x="375505" y="27572"/>
                        <a:pt x="367628" y="35450"/>
                        <a:pt x="357780" y="35450"/>
                      </a:cubicBezTo>
                      <a:lnTo>
                        <a:pt x="17725" y="35450"/>
                      </a:lnTo>
                      <a:lnTo>
                        <a:pt x="17725" y="35450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grpSp>
            <p:nvGrpSpPr>
              <p:cNvPr id="114" name="Gráfico 2">
                <a:extLst>
                  <a:ext uri="{FF2B5EF4-FFF2-40B4-BE49-F238E27FC236}">
                    <a16:creationId xmlns:a16="http://schemas.microsoft.com/office/drawing/2014/main" id="{4A08825F-1C42-4C63-A6FE-BBB3DD9D4FEB}"/>
                  </a:ext>
                </a:extLst>
              </p:cNvPr>
              <p:cNvGrpSpPr/>
              <p:nvPr/>
            </p:nvGrpSpPr>
            <p:grpSpPr>
              <a:xfrm>
                <a:off x="9628506" y="2541607"/>
                <a:ext cx="400780" cy="222874"/>
                <a:chOff x="9628506" y="2541607"/>
                <a:chExt cx="400780" cy="222874"/>
              </a:xfrm>
              <a:grpFill/>
            </p:grpSpPr>
            <p:sp>
              <p:nvSpPr>
                <p:cNvPr id="115" name="Forma Livre: Forma 114">
                  <a:extLst>
                    <a:ext uri="{FF2B5EF4-FFF2-40B4-BE49-F238E27FC236}">
                      <a16:creationId xmlns:a16="http://schemas.microsoft.com/office/drawing/2014/main" id="{20FE7A74-2456-40A2-83E6-D270C0A8ED4B}"/>
                    </a:ext>
                  </a:extLst>
                </p:cNvPr>
                <p:cNvSpPr/>
                <p:nvPr/>
              </p:nvSpPr>
              <p:spPr>
                <a:xfrm>
                  <a:off x="9900617" y="2541607"/>
                  <a:ext cx="128669" cy="222874"/>
                </a:xfrm>
                <a:custGeom>
                  <a:avLst/>
                  <a:gdLst>
                    <a:gd name="connsiteX0" fmla="*/ 17396 w 128669"/>
                    <a:gd name="connsiteY0" fmla="*/ 222874 h 222874"/>
                    <a:gd name="connsiteX1" fmla="*/ 4924 w 128669"/>
                    <a:gd name="connsiteY1" fmla="*/ 217623 h 222874"/>
                    <a:gd name="connsiteX2" fmla="*/ 4924 w 128669"/>
                    <a:gd name="connsiteY2" fmla="*/ 192676 h 222874"/>
                    <a:gd name="connsiteX3" fmla="*/ 86326 w 128669"/>
                    <a:gd name="connsiteY3" fmla="*/ 111273 h 222874"/>
                    <a:gd name="connsiteX4" fmla="*/ 4924 w 128669"/>
                    <a:gd name="connsiteY4" fmla="*/ 29870 h 222874"/>
                    <a:gd name="connsiteX5" fmla="*/ 4924 w 128669"/>
                    <a:gd name="connsiteY5" fmla="*/ 4924 h 222874"/>
                    <a:gd name="connsiteX6" fmla="*/ 29869 w 128669"/>
                    <a:gd name="connsiteY6" fmla="*/ 4924 h 222874"/>
                    <a:gd name="connsiteX7" fmla="*/ 123746 w 128669"/>
                    <a:gd name="connsiteY7" fmla="*/ 98800 h 222874"/>
                    <a:gd name="connsiteX8" fmla="*/ 123746 w 128669"/>
                    <a:gd name="connsiteY8" fmla="*/ 123746 h 222874"/>
                    <a:gd name="connsiteX9" fmla="*/ 29869 w 128669"/>
                    <a:gd name="connsiteY9" fmla="*/ 217623 h 222874"/>
                    <a:gd name="connsiteX10" fmla="*/ 17396 w 128669"/>
                    <a:gd name="connsiteY10" fmla="*/ 222874 h 222874"/>
                    <a:gd name="connsiteX11" fmla="*/ 17396 w 128669"/>
                    <a:gd name="connsiteY11" fmla="*/ 222874 h 2228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28669" h="222874">
                      <a:moveTo>
                        <a:pt x="17396" y="222874"/>
                      </a:moveTo>
                      <a:cubicBezTo>
                        <a:pt x="12801" y="222874"/>
                        <a:pt x="8206" y="220905"/>
                        <a:pt x="4924" y="217623"/>
                      </a:cubicBezTo>
                      <a:cubicBezTo>
                        <a:pt x="-1641" y="211058"/>
                        <a:pt x="-1641" y="199898"/>
                        <a:pt x="4924" y="192676"/>
                      </a:cubicBezTo>
                      <a:lnTo>
                        <a:pt x="86326" y="111273"/>
                      </a:lnTo>
                      <a:lnTo>
                        <a:pt x="4924" y="29870"/>
                      </a:lnTo>
                      <a:cubicBezTo>
                        <a:pt x="-1641" y="23305"/>
                        <a:pt x="-1641" y="12145"/>
                        <a:pt x="4924" y="4924"/>
                      </a:cubicBezTo>
                      <a:cubicBezTo>
                        <a:pt x="11488" y="-1641"/>
                        <a:pt x="22648" y="-1641"/>
                        <a:pt x="29869" y="4924"/>
                      </a:cubicBezTo>
                      <a:lnTo>
                        <a:pt x="123746" y="98800"/>
                      </a:lnTo>
                      <a:cubicBezTo>
                        <a:pt x="130311" y="105365"/>
                        <a:pt x="130311" y="116525"/>
                        <a:pt x="123746" y="123746"/>
                      </a:cubicBezTo>
                      <a:lnTo>
                        <a:pt x="29869" y="217623"/>
                      </a:lnTo>
                      <a:cubicBezTo>
                        <a:pt x="26587" y="221561"/>
                        <a:pt x="21992" y="222874"/>
                        <a:pt x="17396" y="222874"/>
                      </a:cubicBezTo>
                      <a:lnTo>
                        <a:pt x="17396" y="222874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116" name="Forma Livre: Forma 115">
                  <a:extLst>
                    <a:ext uri="{FF2B5EF4-FFF2-40B4-BE49-F238E27FC236}">
                      <a16:creationId xmlns:a16="http://schemas.microsoft.com/office/drawing/2014/main" id="{2E1B90A1-8916-4A25-82CC-2CD13FD20D64}"/>
                    </a:ext>
                  </a:extLst>
                </p:cNvPr>
                <p:cNvSpPr/>
                <p:nvPr/>
              </p:nvSpPr>
              <p:spPr>
                <a:xfrm>
                  <a:off x="9628506" y="2635155"/>
                  <a:ext cx="375505" cy="35449"/>
                </a:xfrm>
                <a:custGeom>
                  <a:avLst/>
                  <a:gdLst>
                    <a:gd name="connsiteX0" fmla="*/ 17725 w 375505"/>
                    <a:gd name="connsiteY0" fmla="*/ 35450 h 35449"/>
                    <a:gd name="connsiteX1" fmla="*/ 0 w 375505"/>
                    <a:gd name="connsiteY1" fmla="*/ 17725 h 35449"/>
                    <a:gd name="connsiteX2" fmla="*/ 17725 w 375505"/>
                    <a:gd name="connsiteY2" fmla="*/ 0 h 35449"/>
                    <a:gd name="connsiteX3" fmla="*/ 357780 w 375505"/>
                    <a:gd name="connsiteY3" fmla="*/ 0 h 35449"/>
                    <a:gd name="connsiteX4" fmla="*/ 375506 w 375505"/>
                    <a:gd name="connsiteY4" fmla="*/ 17725 h 35449"/>
                    <a:gd name="connsiteX5" fmla="*/ 357780 w 375505"/>
                    <a:gd name="connsiteY5" fmla="*/ 35450 h 35449"/>
                    <a:gd name="connsiteX6" fmla="*/ 17725 w 375505"/>
                    <a:gd name="connsiteY6" fmla="*/ 35450 h 35449"/>
                    <a:gd name="connsiteX7" fmla="*/ 17725 w 375505"/>
                    <a:gd name="connsiteY7" fmla="*/ 35450 h 354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5505" h="35449">
                      <a:moveTo>
                        <a:pt x="17725" y="35450"/>
                      </a:moveTo>
                      <a:cubicBezTo>
                        <a:pt x="7878" y="35450"/>
                        <a:pt x="0" y="27572"/>
                        <a:pt x="0" y="17725"/>
                      </a:cubicBezTo>
                      <a:cubicBezTo>
                        <a:pt x="0" y="7878"/>
                        <a:pt x="7878" y="0"/>
                        <a:pt x="17725" y="0"/>
                      </a:cubicBezTo>
                      <a:lnTo>
                        <a:pt x="357780" y="0"/>
                      </a:lnTo>
                      <a:cubicBezTo>
                        <a:pt x="367628" y="0"/>
                        <a:pt x="375506" y="7878"/>
                        <a:pt x="375506" y="17725"/>
                      </a:cubicBezTo>
                      <a:cubicBezTo>
                        <a:pt x="375506" y="27572"/>
                        <a:pt x="367628" y="35450"/>
                        <a:pt x="357780" y="35450"/>
                      </a:cubicBezTo>
                      <a:lnTo>
                        <a:pt x="17725" y="35450"/>
                      </a:lnTo>
                      <a:lnTo>
                        <a:pt x="17725" y="35450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</p:grpSp>
        <p:grpSp>
          <p:nvGrpSpPr>
            <p:cNvPr id="117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10696267" y="2548500"/>
              <a:ext cx="414893" cy="401108"/>
              <a:chOff x="10696267" y="2548500"/>
              <a:chExt cx="414893" cy="401108"/>
            </a:xfrm>
            <a:grpFill/>
          </p:grpSpPr>
          <p:grpSp>
            <p:nvGrpSpPr>
              <p:cNvPr id="118" name="Gráfico 2">
                <a:extLst>
                  <a:ext uri="{FF2B5EF4-FFF2-40B4-BE49-F238E27FC236}">
                    <a16:creationId xmlns:a16="http://schemas.microsoft.com/office/drawing/2014/main" id="{4A08825F-1C42-4C63-A6FE-BBB3DD9D4FEB}"/>
                  </a:ext>
                </a:extLst>
              </p:cNvPr>
              <p:cNvGrpSpPr/>
              <p:nvPr/>
            </p:nvGrpSpPr>
            <p:grpSpPr>
              <a:xfrm>
                <a:off x="10696267" y="2548829"/>
                <a:ext cx="222546" cy="400779"/>
                <a:chOff x="10696267" y="2548829"/>
                <a:chExt cx="222546" cy="400779"/>
              </a:xfrm>
              <a:grpFill/>
            </p:grpSpPr>
            <p:sp>
              <p:nvSpPr>
                <p:cNvPr id="119" name="Forma Livre: Forma 118">
                  <a:extLst>
                    <a:ext uri="{FF2B5EF4-FFF2-40B4-BE49-F238E27FC236}">
                      <a16:creationId xmlns:a16="http://schemas.microsoft.com/office/drawing/2014/main" id="{1FBC35B7-E42E-495C-A1A4-2C0C60998376}"/>
                    </a:ext>
                  </a:extLst>
                </p:cNvPr>
                <p:cNvSpPr/>
                <p:nvPr/>
              </p:nvSpPr>
              <p:spPr>
                <a:xfrm>
                  <a:off x="10696267" y="2548829"/>
                  <a:ext cx="222546" cy="128997"/>
                </a:xfrm>
                <a:custGeom>
                  <a:avLst/>
                  <a:gdLst>
                    <a:gd name="connsiteX0" fmla="*/ 205149 w 222546"/>
                    <a:gd name="connsiteY0" fmla="*/ 128998 h 128997"/>
                    <a:gd name="connsiteX1" fmla="*/ 192676 w 222546"/>
                    <a:gd name="connsiteY1" fmla="*/ 123746 h 128997"/>
                    <a:gd name="connsiteX2" fmla="*/ 111273 w 222546"/>
                    <a:gd name="connsiteY2" fmla="*/ 42343 h 128997"/>
                    <a:gd name="connsiteX3" fmla="*/ 29870 w 222546"/>
                    <a:gd name="connsiteY3" fmla="*/ 123746 h 128997"/>
                    <a:gd name="connsiteX4" fmla="*/ 4924 w 222546"/>
                    <a:gd name="connsiteY4" fmla="*/ 123746 h 128997"/>
                    <a:gd name="connsiteX5" fmla="*/ 4924 w 222546"/>
                    <a:gd name="connsiteY5" fmla="*/ 98800 h 128997"/>
                    <a:gd name="connsiteX6" fmla="*/ 98800 w 222546"/>
                    <a:gd name="connsiteY6" fmla="*/ 4924 h 128997"/>
                    <a:gd name="connsiteX7" fmla="*/ 123746 w 222546"/>
                    <a:gd name="connsiteY7" fmla="*/ 4924 h 128997"/>
                    <a:gd name="connsiteX8" fmla="*/ 217623 w 222546"/>
                    <a:gd name="connsiteY8" fmla="*/ 98800 h 128997"/>
                    <a:gd name="connsiteX9" fmla="*/ 217623 w 222546"/>
                    <a:gd name="connsiteY9" fmla="*/ 123746 h 128997"/>
                    <a:gd name="connsiteX10" fmla="*/ 205149 w 222546"/>
                    <a:gd name="connsiteY10" fmla="*/ 128998 h 128997"/>
                    <a:gd name="connsiteX11" fmla="*/ 205149 w 222546"/>
                    <a:gd name="connsiteY11" fmla="*/ 128998 h 1289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22546" h="128997">
                      <a:moveTo>
                        <a:pt x="205149" y="128998"/>
                      </a:moveTo>
                      <a:cubicBezTo>
                        <a:pt x="200554" y="128998"/>
                        <a:pt x="195958" y="127029"/>
                        <a:pt x="192676" y="123746"/>
                      </a:cubicBezTo>
                      <a:lnTo>
                        <a:pt x="111273" y="42343"/>
                      </a:lnTo>
                      <a:lnTo>
                        <a:pt x="29870" y="123746"/>
                      </a:lnTo>
                      <a:cubicBezTo>
                        <a:pt x="23305" y="130311"/>
                        <a:pt x="12145" y="130311"/>
                        <a:pt x="4924" y="123746"/>
                      </a:cubicBezTo>
                      <a:cubicBezTo>
                        <a:pt x="-1641" y="117181"/>
                        <a:pt x="-1641" y="106021"/>
                        <a:pt x="4924" y="98800"/>
                      </a:cubicBezTo>
                      <a:lnTo>
                        <a:pt x="98800" y="4924"/>
                      </a:lnTo>
                      <a:cubicBezTo>
                        <a:pt x="105365" y="-1641"/>
                        <a:pt x="116525" y="-1641"/>
                        <a:pt x="123746" y="4924"/>
                      </a:cubicBezTo>
                      <a:lnTo>
                        <a:pt x="217623" y="98800"/>
                      </a:lnTo>
                      <a:cubicBezTo>
                        <a:pt x="224187" y="105365"/>
                        <a:pt x="224187" y="116525"/>
                        <a:pt x="217623" y="123746"/>
                      </a:cubicBezTo>
                      <a:cubicBezTo>
                        <a:pt x="214340" y="127029"/>
                        <a:pt x="209744" y="128998"/>
                        <a:pt x="205149" y="128998"/>
                      </a:cubicBezTo>
                      <a:lnTo>
                        <a:pt x="205149" y="128998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120" name="Forma Livre: Forma 119">
                  <a:extLst>
                    <a:ext uri="{FF2B5EF4-FFF2-40B4-BE49-F238E27FC236}">
                      <a16:creationId xmlns:a16="http://schemas.microsoft.com/office/drawing/2014/main" id="{D5D35C53-E6D6-4767-8FEC-933916A69719}"/>
                    </a:ext>
                  </a:extLst>
                </p:cNvPr>
                <p:cNvSpPr/>
                <p:nvPr/>
              </p:nvSpPr>
              <p:spPr>
                <a:xfrm>
                  <a:off x="10790472" y="2574103"/>
                  <a:ext cx="35449" cy="375505"/>
                </a:xfrm>
                <a:custGeom>
                  <a:avLst/>
                  <a:gdLst>
                    <a:gd name="connsiteX0" fmla="*/ 17725 w 35449"/>
                    <a:gd name="connsiteY0" fmla="*/ 375505 h 375505"/>
                    <a:gd name="connsiteX1" fmla="*/ 0 w 35449"/>
                    <a:gd name="connsiteY1" fmla="*/ 357780 h 375505"/>
                    <a:gd name="connsiteX2" fmla="*/ 0 w 35449"/>
                    <a:gd name="connsiteY2" fmla="*/ 17725 h 375505"/>
                    <a:gd name="connsiteX3" fmla="*/ 17725 w 35449"/>
                    <a:gd name="connsiteY3" fmla="*/ 0 h 375505"/>
                    <a:gd name="connsiteX4" fmla="*/ 35450 w 35449"/>
                    <a:gd name="connsiteY4" fmla="*/ 17725 h 375505"/>
                    <a:gd name="connsiteX5" fmla="*/ 35450 w 35449"/>
                    <a:gd name="connsiteY5" fmla="*/ 357780 h 375505"/>
                    <a:gd name="connsiteX6" fmla="*/ 17725 w 35449"/>
                    <a:gd name="connsiteY6" fmla="*/ 375505 h 375505"/>
                    <a:gd name="connsiteX7" fmla="*/ 17725 w 35449"/>
                    <a:gd name="connsiteY7" fmla="*/ 375505 h 3755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5449" h="375505">
                      <a:moveTo>
                        <a:pt x="17725" y="375505"/>
                      </a:moveTo>
                      <a:cubicBezTo>
                        <a:pt x="7878" y="375505"/>
                        <a:pt x="0" y="367628"/>
                        <a:pt x="0" y="357780"/>
                      </a:cubicBezTo>
                      <a:lnTo>
                        <a:pt x="0" y="17725"/>
                      </a:lnTo>
                      <a:cubicBezTo>
                        <a:pt x="0" y="7878"/>
                        <a:pt x="7878" y="0"/>
                        <a:pt x="17725" y="0"/>
                      </a:cubicBezTo>
                      <a:cubicBezTo>
                        <a:pt x="27573" y="0"/>
                        <a:pt x="35450" y="7878"/>
                        <a:pt x="35450" y="17725"/>
                      </a:cubicBezTo>
                      <a:lnTo>
                        <a:pt x="35450" y="357780"/>
                      </a:lnTo>
                      <a:cubicBezTo>
                        <a:pt x="34794" y="367628"/>
                        <a:pt x="26915" y="375505"/>
                        <a:pt x="17725" y="375505"/>
                      </a:cubicBezTo>
                      <a:lnTo>
                        <a:pt x="17725" y="375505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grpSp>
            <p:nvGrpSpPr>
              <p:cNvPr id="121" name="Gráfico 2">
                <a:extLst>
                  <a:ext uri="{FF2B5EF4-FFF2-40B4-BE49-F238E27FC236}">
                    <a16:creationId xmlns:a16="http://schemas.microsoft.com/office/drawing/2014/main" id="{4A08825F-1C42-4C63-A6FE-BBB3DD9D4FEB}"/>
                  </a:ext>
                </a:extLst>
              </p:cNvPr>
              <p:cNvGrpSpPr/>
              <p:nvPr/>
            </p:nvGrpSpPr>
            <p:grpSpPr>
              <a:xfrm>
                <a:off x="10888616" y="2548500"/>
                <a:ext cx="222545" cy="401108"/>
                <a:chOff x="10888616" y="2548500"/>
                <a:chExt cx="222545" cy="401108"/>
              </a:xfrm>
              <a:grpFill/>
            </p:grpSpPr>
            <p:sp>
              <p:nvSpPr>
                <p:cNvPr id="122" name="Forma Livre: Forma 121">
                  <a:extLst>
                    <a:ext uri="{FF2B5EF4-FFF2-40B4-BE49-F238E27FC236}">
                      <a16:creationId xmlns:a16="http://schemas.microsoft.com/office/drawing/2014/main" id="{11D77F39-ED1C-4C2F-A087-09241E47CFF5}"/>
                    </a:ext>
                  </a:extLst>
                </p:cNvPr>
                <p:cNvSpPr/>
                <p:nvPr/>
              </p:nvSpPr>
              <p:spPr>
                <a:xfrm>
                  <a:off x="10888616" y="2820610"/>
                  <a:ext cx="222545" cy="128998"/>
                </a:xfrm>
                <a:custGeom>
                  <a:avLst/>
                  <a:gdLst>
                    <a:gd name="connsiteX0" fmla="*/ 111273 w 222545"/>
                    <a:gd name="connsiteY0" fmla="*/ 128998 h 128998"/>
                    <a:gd name="connsiteX1" fmla="*/ 98799 w 222545"/>
                    <a:gd name="connsiteY1" fmla="*/ 123746 h 128998"/>
                    <a:gd name="connsiteX2" fmla="*/ 4924 w 222545"/>
                    <a:gd name="connsiteY2" fmla="*/ 29870 h 128998"/>
                    <a:gd name="connsiteX3" fmla="*/ 4924 w 222545"/>
                    <a:gd name="connsiteY3" fmla="*/ 4924 h 128998"/>
                    <a:gd name="connsiteX4" fmla="*/ 29869 w 222545"/>
                    <a:gd name="connsiteY4" fmla="*/ 4924 h 128998"/>
                    <a:gd name="connsiteX5" fmla="*/ 111273 w 222545"/>
                    <a:gd name="connsiteY5" fmla="*/ 86327 h 128998"/>
                    <a:gd name="connsiteX6" fmla="*/ 192676 w 222545"/>
                    <a:gd name="connsiteY6" fmla="*/ 4924 h 128998"/>
                    <a:gd name="connsiteX7" fmla="*/ 217622 w 222545"/>
                    <a:gd name="connsiteY7" fmla="*/ 4924 h 128998"/>
                    <a:gd name="connsiteX8" fmla="*/ 217622 w 222545"/>
                    <a:gd name="connsiteY8" fmla="*/ 29870 h 128998"/>
                    <a:gd name="connsiteX9" fmla="*/ 123746 w 222545"/>
                    <a:gd name="connsiteY9" fmla="*/ 123746 h 128998"/>
                    <a:gd name="connsiteX10" fmla="*/ 111273 w 222545"/>
                    <a:gd name="connsiteY10" fmla="*/ 128998 h 128998"/>
                    <a:gd name="connsiteX11" fmla="*/ 111273 w 222545"/>
                    <a:gd name="connsiteY11" fmla="*/ 128998 h 1289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22545" h="128998">
                      <a:moveTo>
                        <a:pt x="111273" y="128998"/>
                      </a:moveTo>
                      <a:cubicBezTo>
                        <a:pt x="106678" y="128998"/>
                        <a:pt x="102082" y="127029"/>
                        <a:pt x="98799" y="123746"/>
                      </a:cubicBezTo>
                      <a:lnTo>
                        <a:pt x="4924" y="29870"/>
                      </a:lnTo>
                      <a:cubicBezTo>
                        <a:pt x="-1641" y="23305"/>
                        <a:pt x="-1641" y="12145"/>
                        <a:pt x="4924" y="4924"/>
                      </a:cubicBezTo>
                      <a:cubicBezTo>
                        <a:pt x="11488" y="-1641"/>
                        <a:pt x="22648" y="-1641"/>
                        <a:pt x="29869" y="4924"/>
                      </a:cubicBezTo>
                      <a:lnTo>
                        <a:pt x="111273" y="86327"/>
                      </a:lnTo>
                      <a:lnTo>
                        <a:pt x="192676" y="4924"/>
                      </a:lnTo>
                      <a:cubicBezTo>
                        <a:pt x="199241" y="-1641"/>
                        <a:pt x="210401" y="-1641"/>
                        <a:pt x="217622" y="4924"/>
                      </a:cubicBezTo>
                      <a:cubicBezTo>
                        <a:pt x="224187" y="11488"/>
                        <a:pt x="224187" y="22649"/>
                        <a:pt x="217622" y="29870"/>
                      </a:cubicBezTo>
                      <a:lnTo>
                        <a:pt x="123746" y="123746"/>
                      </a:lnTo>
                      <a:cubicBezTo>
                        <a:pt x="120464" y="127685"/>
                        <a:pt x="115868" y="128998"/>
                        <a:pt x="111273" y="128998"/>
                      </a:cubicBezTo>
                      <a:lnTo>
                        <a:pt x="111273" y="128998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123" name="Forma Livre: Forma 122">
                  <a:extLst>
                    <a:ext uri="{FF2B5EF4-FFF2-40B4-BE49-F238E27FC236}">
                      <a16:creationId xmlns:a16="http://schemas.microsoft.com/office/drawing/2014/main" id="{37A4BE44-817A-4387-857C-0B347479B24E}"/>
                    </a:ext>
                  </a:extLst>
                </p:cNvPr>
                <p:cNvSpPr/>
                <p:nvPr/>
              </p:nvSpPr>
              <p:spPr>
                <a:xfrm>
                  <a:off x="10982164" y="2548500"/>
                  <a:ext cx="35449" cy="375505"/>
                </a:xfrm>
                <a:custGeom>
                  <a:avLst/>
                  <a:gdLst>
                    <a:gd name="connsiteX0" fmla="*/ 17725 w 35449"/>
                    <a:gd name="connsiteY0" fmla="*/ 375505 h 375505"/>
                    <a:gd name="connsiteX1" fmla="*/ 0 w 35449"/>
                    <a:gd name="connsiteY1" fmla="*/ 357780 h 375505"/>
                    <a:gd name="connsiteX2" fmla="*/ 0 w 35449"/>
                    <a:gd name="connsiteY2" fmla="*/ 17725 h 375505"/>
                    <a:gd name="connsiteX3" fmla="*/ 17725 w 35449"/>
                    <a:gd name="connsiteY3" fmla="*/ 0 h 375505"/>
                    <a:gd name="connsiteX4" fmla="*/ 35449 w 35449"/>
                    <a:gd name="connsiteY4" fmla="*/ 17725 h 375505"/>
                    <a:gd name="connsiteX5" fmla="*/ 35449 w 35449"/>
                    <a:gd name="connsiteY5" fmla="*/ 357780 h 375505"/>
                    <a:gd name="connsiteX6" fmla="*/ 17725 w 35449"/>
                    <a:gd name="connsiteY6" fmla="*/ 375505 h 375505"/>
                    <a:gd name="connsiteX7" fmla="*/ 17725 w 35449"/>
                    <a:gd name="connsiteY7" fmla="*/ 375505 h 3755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5449" h="375505">
                      <a:moveTo>
                        <a:pt x="17725" y="375505"/>
                      </a:moveTo>
                      <a:cubicBezTo>
                        <a:pt x="7877" y="375505"/>
                        <a:pt x="0" y="367628"/>
                        <a:pt x="0" y="357780"/>
                      </a:cubicBezTo>
                      <a:lnTo>
                        <a:pt x="0" y="17725"/>
                      </a:lnTo>
                      <a:cubicBezTo>
                        <a:pt x="0" y="7878"/>
                        <a:pt x="7877" y="0"/>
                        <a:pt x="17725" y="0"/>
                      </a:cubicBezTo>
                      <a:cubicBezTo>
                        <a:pt x="27572" y="0"/>
                        <a:pt x="35449" y="7878"/>
                        <a:pt x="35449" y="17725"/>
                      </a:cubicBezTo>
                      <a:lnTo>
                        <a:pt x="35449" y="357780"/>
                      </a:lnTo>
                      <a:cubicBezTo>
                        <a:pt x="35449" y="367628"/>
                        <a:pt x="27572" y="375505"/>
                        <a:pt x="17725" y="375505"/>
                      </a:cubicBezTo>
                      <a:lnTo>
                        <a:pt x="17725" y="375505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</p:grpSp>
        <p:grpSp>
          <p:nvGrpSpPr>
            <p:cNvPr id="124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5347450" y="2564759"/>
              <a:ext cx="405867" cy="369093"/>
              <a:chOff x="5347450" y="2564759"/>
              <a:chExt cx="405867" cy="369093"/>
            </a:xfrm>
            <a:grpFill/>
          </p:grpSpPr>
          <p:sp>
            <p:nvSpPr>
              <p:cNvPr id="125" name="Forma Livre: Forma 124">
                <a:extLst>
                  <a:ext uri="{FF2B5EF4-FFF2-40B4-BE49-F238E27FC236}">
                    <a16:creationId xmlns:a16="http://schemas.microsoft.com/office/drawing/2014/main" id="{46B11452-07C7-41F7-BAAA-C6DFB0C51816}"/>
                  </a:ext>
                </a:extLst>
              </p:cNvPr>
              <p:cNvSpPr/>
              <p:nvPr/>
            </p:nvSpPr>
            <p:spPr>
              <a:xfrm>
                <a:off x="5347450" y="2564759"/>
                <a:ext cx="156558" cy="369093"/>
              </a:xfrm>
              <a:custGeom>
                <a:avLst/>
                <a:gdLst>
                  <a:gd name="connsiteX0" fmla="*/ 139338 w 156558"/>
                  <a:gd name="connsiteY0" fmla="*/ 369093 h 369093"/>
                  <a:gd name="connsiteX1" fmla="*/ 124895 w 156558"/>
                  <a:gd name="connsiteY1" fmla="*/ 361872 h 369093"/>
                  <a:gd name="connsiteX2" fmla="*/ 3447 w 156558"/>
                  <a:gd name="connsiteY2" fmla="*/ 195127 h 369093"/>
                  <a:gd name="connsiteX3" fmla="*/ 3447 w 156558"/>
                  <a:gd name="connsiteY3" fmla="*/ 174776 h 369093"/>
                  <a:gd name="connsiteX4" fmla="*/ 124895 w 156558"/>
                  <a:gd name="connsiteY4" fmla="*/ 7374 h 369093"/>
                  <a:gd name="connsiteX5" fmla="*/ 149185 w 156558"/>
                  <a:gd name="connsiteY5" fmla="*/ 3435 h 369093"/>
                  <a:gd name="connsiteX6" fmla="*/ 153123 w 156558"/>
                  <a:gd name="connsiteY6" fmla="*/ 27725 h 369093"/>
                  <a:gd name="connsiteX7" fmla="*/ 38897 w 156558"/>
                  <a:gd name="connsiteY7" fmla="*/ 184623 h 369093"/>
                  <a:gd name="connsiteX8" fmla="*/ 153123 w 156558"/>
                  <a:gd name="connsiteY8" fmla="*/ 341521 h 369093"/>
                  <a:gd name="connsiteX9" fmla="*/ 149185 w 156558"/>
                  <a:gd name="connsiteY9" fmla="*/ 365811 h 369093"/>
                  <a:gd name="connsiteX10" fmla="*/ 139338 w 156558"/>
                  <a:gd name="connsiteY10" fmla="*/ 369093 h 369093"/>
                  <a:gd name="connsiteX11" fmla="*/ 139338 w 156558"/>
                  <a:gd name="connsiteY11" fmla="*/ 369093 h 369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6558" h="369093">
                    <a:moveTo>
                      <a:pt x="139338" y="369093"/>
                    </a:moveTo>
                    <a:cubicBezTo>
                      <a:pt x="134086" y="369093"/>
                      <a:pt x="128834" y="366468"/>
                      <a:pt x="124895" y="361872"/>
                    </a:cubicBezTo>
                    <a:lnTo>
                      <a:pt x="3447" y="195127"/>
                    </a:lnTo>
                    <a:cubicBezTo>
                      <a:pt x="-1149" y="189219"/>
                      <a:pt x="-1149" y="180684"/>
                      <a:pt x="3447" y="174776"/>
                    </a:cubicBezTo>
                    <a:lnTo>
                      <a:pt x="124895" y="7374"/>
                    </a:lnTo>
                    <a:cubicBezTo>
                      <a:pt x="130803" y="-504"/>
                      <a:pt x="141307" y="-2473"/>
                      <a:pt x="149185" y="3435"/>
                    </a:cubicBezTo>
                    <a:cubicBezTo>
                      <a:pt x="157063" y="9344"/>
                      <a:pt x="159032" y="19847"/>
                      <a:pt x="153123" y="27725"/>
                    </a:cubicBezTo>
                    <a:lnTo>
                      <a:pt x="38897" y="184623"/>
                    </a:lnTo>
                    <a:lnTo>
                      <a:pt x="153123" y="341521"/>
                    </a:lnTo>
                    <a:cubicBezTo>
                      <a:pt x="159032" y="349399"/>
                      <a:pt x="157063" y="360559"/>
                      <a:pt x="149185" y="365811"/>
                    </a:cubicBezTo>
                    <a:cubicBezTo>
                      <a:pt x="146559" y="368437"/>
                      <a:pt x="143276" y="369093"/>
                      <a:pt x="139338" y="369093"/>
                    </a:cubicBezTo>
                    <a:lnTo>
                      <a:pt x="139338" y="369093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26" name="Forma Livre: Forma 125">
                <a:extLst>
                  <a:ext uri="{FF2B5EF4-FFF2-40B4-BE49-F238E27FC236}">
                    <a16:creationId xmlns:a16="http://schemas.microsoft.com/office/drawing/2014/main" id="{43F8A9BA-3A7E-4E6B-9459-202296E29994}"/>
                  </a:ext>
                </a:extLst>
              </p:cNvPr>
              <p:cNvSpPr/>
              <p:nvPr/>
            </p:nvSpPr>
            <p:spPr>
              <a:xfrm>
                <a:off x="5347614" y="2731658"/>
                <a:ext cx="405703" cy="35449"/>
              </a:xfrm>
              <a:custGeom>
                <a:avLst/>
                <a:gdLst>
                  <a:gd name="connsiteX0" fmla="*/ 387978 w 405703"/>
                  <a:gd name="connsiteY0" fmla="*/ 35450 h 35449"/>
                  <a:gd name="connsiteX1" fmla="*/ 17725 w 405703"/>
                  <a:gd name="connsiteY1" fmla="*/ 35450 h 35449"/>
                  <a:gd name="connsiteX2" fmla="*/ 0 w 405703"/>
                  <a:gd name="connsiteY2" fmla="*/ 17725 h 35449"/>
                  <a:gd name="connsiteX3" fmla="*/ 17725 w 405703"/>
                  <a:gd name="connsiteY3" fmla="*/ 0 h 35449"/>
                  <a:gd name="connsiteX4" fmla="*/ 387978 w 405703"/>
                  <a:gd name="connsiteY4" fmla="*/ 0 h 35449"/>
                  <a:gd name="connsiteX5" fmla="*/ 405703 w 405703"/>
                  <a:gd name="connsiteY5" fmla="*/ 17725 h 35449"/>
                  <a:gd name="connsiteX6" fmla="*/ 387978 w 405703"/>
                  <a:gd name="connsiteY6" fmla="*/ 35450 h 35449"/>
                  <a:gd name="connsiteX7" fmla="*/ 387978 w 405703"/>
                  <a:gd name="connsiteY7" fmla="*/ 35450 h 354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5703" h="35449">
                    <a:moveTo>
                      <a:pt x="387978" y="35450"/>
                    </a:moveTo>
                    <a:lnTo>
                      <a:pt x="17725" y="35450"/>
                    </a:lnTo>
                    <a:cubicBezTo>
                      <a:pt x="7878" y="35450"/>
                      <a:pt x="0" y="27572"/>
                      <a:pt x="0" y="17725"/>
                    </a:cubicBezTo>
                    <a:cubicBezTo>
                      <a:pt x="0" y="7878"/>
                      <a:pt x="7878" y="0"/>
                      <a:pt x="17725" y="0"/>
                    </a:cubicBezTo>
                    <a:lnTo>
                      <a:pt x="387978" y="0"/>
                    </a:lnTo>
                    <a:cubicBezTo>
                      <a:pt x="397825" y="0"/>
                      <a:pt x="405703" y="7878"/>
                      <a:pt x="405703" y="17725"/>
                    </a:cubicBezTo>
                    <a:cubicBezTo>
                      <a:pt x="405047" y="27572"/>
                      <a:pt x="397169" y="35450"/>
                      <a:pt x="387978" y="35450"/>
                    </a:cubicBezTo>
                    <a:lnTo>
                      <a:pt x="387978" y="35450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127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6416360" y="2564759"/>
              <a:ext cx="405703" cy="369093"/>
              <a:chOff x="6416360" y="2564759"/>
              <a:chExt cx="405703" cy="369093"/>
            </a:xfrm>
            <a:grpFill/>
          </p:grpSpPr>
          <p:sp>
            <p:nvSpPr>
              <p:cNvPr id="128" name="Forma Livre: Forma 127">
                <a:extLst>
                  <a:ext uri="{FF2B5EF4-FFF2-40B4-BE49-F238E27FC236}">
                    <a16:creationId xmlns:a16="http://schemas.microsoft.com/office/drawing/2014/main" id="{6706A3EC-8624-4D12-9EEE-D28B9446BC24}"/>
                  </a:ext>
                </a:extLst>
              </p:cNvPr>
              <p:cNvSpPr/>
              <p:nvPr/>
            </p:nvSpPr>
            <p:spPr>
              <a:xfrm>
                <a:off x="6664356" y="2564759"/>
                <a:ext cx="156558" cy="369093"/>
              </a:xfrm>
              <a:custGeom>
                <a:avLst/>
                <a:gdLst>
                  <a:gd name="connsiteX0" fmla="*/ 17878 w 156558"/>
                  <a:gd name="connsiteY0" fmla="*/ 369093 h 369093"/>
                  <a:gd name="connsiteX1" fmla="*/ 7374 w 156558"/>
                  <a:gd name="connsiteY1" fmla="*/ 365811 h 369093"/>
                  <a:gd name="connsiteX2" fmla="*/ 3435 w 156558"/>
                  <a:gd name="connsiteY2" fmla="*/ 341521 h 369093"/>
                  <a:gd name="connsiteX3" fmla="*/ 117662 w 156558"/>
                  <a:gd name="connsiteY3" fmla="*/ 184623 h 369093"/>
                  <a:gd name="connsiteX4" fmla="*/ 3435 w 156558"/>
                  <a:gd name="connsiteY4" fmla="*/ 27725 h 369093"/>
                  <a:gd name="connsiteX5" fmla="*/ 7374 w 156558"/>
                  <a:gd name="connsiteY5" fmla="*/ 3435 h 369093"/>
                  <a:gd name="connsiteX6" fmla="*/ 31664 w 156558"/>
                  <a:gd name="connsiteY6" fmla="*/ 7374 h 369093"/>
                  <a:gd name="connsiteX7" fmla="*/ 153112 w 156558"/>
                  <a:gd name="connsiteY7" fmla="*/ 174776 h 369093"/>
                  <a:gd name="connsiteX8" fmla="*/ 153112 w 156558"/>
                  <a:gd name="connsiteY8" fmla="*/ 195127 h 369093"/>
                  <a:gd name="connsiteX9" fmla="*/ 32320 w 156558"/>
                  <a:gd name="connsiteY9" fmla="*/ 361872 h 369093"/>
                  <a:gd name="connsiteX10" fmla="*/ 17878 w 156558"/>
                  <a:gd name="connsiteY10" fmla="*/ 369093 h 369093"/>
                  <a:gd name="connsiteX11" fmla="*/ 17878 w 156558"/>
                  <a:gd name="connsiteY11" fmla="*/ 369093 h 369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6558" h="369093">
                    <a:moveTo>
                      <a:pt x="17878" y="369093"/>
                    </a:moveTo>
                    <a:cubicBezTo>
                      <a:pt x="14595" y="369093"/>
                      <a:pt x="10657" y="367781"/>
                      <a:pt x="7374" y="365811"/>
                    </a:cubicBezTo>
                    <a:cubicBezTo>
                      <a:pt x="-504" y="359903"/>
                      <a:pt x="-2473" y="349399"/>
                      <a:pt x="3435" y="341521"/>
                    </a:cubicBezTo>
                    <a:lnTo>
                      <a:pt x="117662" y="184623"/>
                    </a:lnTo>
                    <a:lnTo>
                      <a:pt x="3435" y="27725"/>
                    </a:lnTo>
                    <a:cubicBezTo>
                      <a:pt x="-2473" y="19847"/>
                      <a:pt x="-504" y="8687"/>
                      <a:pt x="7374" y="3435"/>
                    </a:cubicBezTo>
                    <a:cubicBezTo>
                      <a:pt x="15252" y="-2473"/>
                      <a:pt x="26412" y="-504"/>
                      <a:pt x="31664" y="7374"/>
                    </a:cubicBezTo>
                    <a:lnTo>
                      <a:pt x="153112" y="174776"/>
                    </a:lnTo>
                    <a:cubicBezTo>
                      <a:pt x="157707" y="180684"/>
                      <a:pt x="157707" y="189219"/>
                      <a:pt x="153112" y="195127"/>
                    </a:cubicBezTo>
                    <a:lnTo>
                      <a:pt x="32320" y="361872"/>
                    </a:lnTo>
                    <a:cubicBezTo>
                      <a:pt x="29038" y="366468"/>
                      <a:pt x="23786" y="369093"/>
                      <a:pt x="17878" y="369093"/>
                    </a:cubicBezTo>
                    <a:lnTo>
                      <a:pt x="17878" y="369093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29" name="Forma Livre: Forma 128">
                <a:extLst>
                  <a:ext uri="{FF2B5EF4-FFF2-40B4-BE49-F238E27FC236}">
                    <a16:creationId xmlns:a16="http://schemas.microsoft.com/office/drawing/2014/main" id="{8B6249A5-8B4F-426F-96FA-6750DA89C435}"/>
                  </a:ext>
                </a:extLst>
              </p:cNvPr>
              <p:cNvSpPr/>
              <p:nvPr/>
            </p:nvSpPr>
            <p:spPr>
              <a:xfrm>
                <a:off x="6416360" y="2731658"/>
                <a:ext cx="405703" cy="35449"/>
              </a:xfrm>
              <a:custGeom>
                <a:avLst/>
                <a:gdLst>
                  <a:gd name="connsiteX0" fmla="*/ 387979 w 405703"/>
                  <a:gd name="connsiteY0" fmla="*/ 35450 h 35449"/>
                  <a:gd name="connsiteX1" fmla="*/ 17725 w 405703"/>
                  <a:gd name="connsiteY1" fmla="*/ 35450 h 35449"/>
                  <a:gd name="connsiteX2" fmla="*/ 0 w 405703"/>
                  <a:gd name="connsiteY2" fmla="*/ 17725 h 35449"/>
                  <a:gd name="connsiteX3" fmla="*/ 17725 w 405703"/>
                  <a:gd name="connsiteY3" fmla="*/ 0 h 35449"/>
                  <a:gd name="connsiteX4" fmla="*/ 387979 w 405703"/>
                  <a:gd name="connsiteY4" fmla="*/ 0 h 35449"/>
                  <a:gd name="connsiteX5" fmla="*/ 405703 w 405703"/>
                  <a:gd name="connsiteY5" fmla="*/ 17725 h 35449"/>
                  <a:gd name="connsiteX6" fmla="*/ 387979 w 405703"/>
                  <a:gd name="connsiteY6" fmla="*/ 35450 h 35449"/>
                  <a:gd name="connsiteX7" fmla="*/ 387979 w 405703"/>
                  <a:gd name="connsiteY7" fmla="*/ 35450 h 354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5703" h="35449">
                    <a:moveTo>
                      <a:pt x="387979" y="35450"/>
                    </a:moveTo>
                    <a:lnTo>
                      <a:pt x="17725" y="35450"/>
                    </a:lnTo>
                    <a:cubicBezTo>
                      <a:pt x="7878" y="35450"/>
                      <a:pt x="0" y="27572"/>
                      <a:pt x="0" y="17725"/>
                    </a:cubicBezTo>
                    <a:cubicBezTo>
                      <a:pt x="0" y="7878"/>
                      <a:pt x="7878" y="0"/>
                      <a:pt x="17725" y="0"/>
                    </a:cubicBezTo>
                    <a:lnTo>
                      <a:pt x="387979" y="0"/>
                    </a:lnTo>
                    <a:cubicBezTo>
                      <a:pt x="397826" y="0"/>
                      <a:pt x="405703" y="7878"/>
                      <a:pt x="405703" y="17725"/>
                    </a:cubicBezTo>
                    <a:cubicBezTo>
                      <a:pt x="405047" y="27572"/>
                      <a:pt x="397169" y="35450"/>
                      <a:pt x="387979" y="35450"/>
                    </a:cubicBezTo>
                    <a:lnTo>
                      <a:pt x="387979" y="35450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130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7504647" y="2546531"/>
              <a:ext cx="369246" cy="405703"/>
              <a:chOff x="7504647" y="2546531"/>
              <a:chExt cx="369246" cy="405703"/>
            </a:xfrm>
            <a:grpFill/>
          </p:grpSpPr>
          <p:sp>
            <p:nvSpPr>
              <p:cNvPr id="131" name="Forma Livre: Forma 130">
                <a:extLst>
                  <a:ext uri="{FF2B5EF4-FFF2-40B4-BE49-F238E27FC236}">
                    <a16:creationId xmlns:a16="http://schemas.microsoft.com/office/drawing/2014/main" id="{48D6854B-2C9A-40A2-96FF-9AEDA028AA24}"/>
                  </a:ext>
                </a:extLst>
              </p:cNvPr>
              <p:cNvSpPr/>
              <p:nvPr/>
            </p:nvSpPr>
            <p:spPr>
              <a:xfrm>
                <a:off x="7504647" y="2795840"/>
                <a:ext cx="369246" cy="156394"/>
              </a:xfrm>
              <a:custGeom>
                <a:avLst/>
                <a:gdLst>
                  <a:gd name="connsiteX0" fmla="*/ 185280 w 369246"/>
                  <a:gd name="connsiteY0" fmla="*/ 156395 h 156394"/>
                  <a:gd name="connsiteX1" fmla="*/ 174776 w 369246"/>
                  <a:gd name="connsiteY1" fmla="*/ 153112 h 156394"/>
                  <a:gd name="connsiteX2" fmla="*/ 7374 w 369246"/>
                  <a:gd name="connsiteY2" fmla="*/ 31664 h 156394"/>
                  <a:gd name="connsiteX3" fmla="*/ 3435 w 369246"/>
                  <a:gd name="connsiteY3" fmla="*/ 7374 h 156394"/>
                  <a:gd name="connsiteX4" fmla="*/ 27725 w 369246"/>
                  <a:gd name="connsiteY4" fmla="*/ 3435 h 156394"/>
                  <a:gd name="connsiteX5" fmla="*/ 184623 w 369246"/>
                  <a:gd name="connsiteY5" fmla="*/ 117663 h 156394"/>
                  <a:gd name="connsiteX6" fmla="*/ 341521 w 369246"/>
                  <a:gd name="connsiteY6" fmla="*/ 3435 h 156394"/>
                  <a:gd name="connsiteX7" fmla="*/ 365811 w 369246"/>
                  <a:gd name="connsiteY7" fmla="*/ 7374 h 156394"/>
                  <a:gd name="connsiteX8" fmla="*/ 361872 w 369246"/>
                  <a:gd name="connsiteY8" fmla="*/ 31664 h 156394"/>
                  <a:gd name="connsiteX9" fmla="*/ 194470 w 369246"/>
                  <a:gd name="connsiteY9" fmla="*/ 153112 h 156394"/>
                  <a:gd name="connsiteX10" fmla="*/ 185280 w 369246"/>
                  <a:gd name="connsiteY10" fmla="*/ 156395 h 156394"/>
                  <a:gd name="connsiteX11" fmla="*/ 185280 w 369246"/>
                  <a:gd name="connsiteY11" fmla="*/ 156395 h 1563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69246" h="156394">
                    <a:moveTo>
                      <a:pt x="185280" y="156395"/>
                    </a:moveTo>
                    <a:cubicBezTo>
                      <a:pt x="181997" y="156395"/>
                      <a:pt x="178059" y="155082"/>
                      <a:pt x="174776" y="153112"/>
                    </a:cubicBezTo>
                    <a:lnTo>
                      <a:pt x="7374" y="31664"/>
                    </a:lnTo>
                    <a:cubicBezTo>
                      <a:pt x="-504" y="25756"/>
                      <a:pt x="-2473" y="15252"/>
                      <a:pt x="3435" y="7374"/>
                    </a:cubicBezTo>
                    <a:cubicBezTo>
                      <a:pt x="9344" y="-503"/>
                      <a:pt x="19847" y="-2473"/>
                      <a:pt x="27725" y="3435"/>
                    </a:cubicBezTo>
                    <a:lnTo>
                      <a:pt x="184623" y="117663"/>
                    </a:lnTo>
                    <a:lnTo>
                      <a:pt x="341521" y="3435"/>
                    </a:lnTo>
                    <a:cubicBezTo>
                      <a:pt x="349399" y="-2473"/>
                      <a:pt x="360559" y="-503"/>
                      <a:pt x="365811" y="7374"/>
                    </a:cubicBezTo>
                    <a:cubicBezTo>
                      <a:pt x="371719" y="15252"/>
                      <a:pt x="369750" y="26412"/>
                      <a:pt x="361872" y="31664"/>
                    </a:cubicBezTo>
                    <a:lnTo>
                      <a:pt x="194470" y="153112"/>
                    </a:lnTo>
                    <a:cubicBezTo>
                      <a:pt x="193157" y="155082"/>
                      <a:pt x="189219" y="156395"/>
                      <a:pt x="185280" y="156395"/>
                    </a:cubicBezTo>
                    <a:lnTo>
                      <a:pt x="185280" y="156395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32" name="Forma Livre: Forma 131">
                <a:extLst>
                  <a:ext uri="{FF2B5EF4-FFF2-40B4-BE49-F238E27FC236}">
                    <a16:creationId xmlns:a16="http://schemas.microsoft.com/office/drawing/2014/main" id="{4A9058F1-CB4E-4C73-B7C4-EDF4C7F1279C}"/>
                  </a:ext>
                </a:extLst>
              </p:cNvPr>
              <p:cNvSpPr/>
              <p:nvPr/>
            </p:nvSpPr>
            <p:spPr>
              <a:xfrm>
                <a:off x="7672202" y="2546531"/>
                <a:ext cx="35449" cy="405703"/>
              </a:xfrm>
              <a:custGeom>
                <a:avLst/>
                <a:gdLst>
                  <a:gd name="connsiteX0" fmla="*/ 17725 w 35449"/>
                  <a:gd name="connsiteY0" fmla="*/ 405703 h 405703"/>
                  <a:gd name="connsiteX1" fmla="*/ 0 w 35449"/>
                  <a:gd name="connsiteY1" fmla="*/ 387978 h 405703"/>
                  <a:gd name="connsiteX2" fmla="*/ 0 w 35449"/>
                  <a:gd name="connsiteY2" fmla="*/ 17725 h 405703"/>
                  <a:gd name="connsiteX3" fmla="*/ 17725 w 35449"/>
                  <a:gd name="connsiteY3" fmla="*/ 0 h 405703"/>
                  <a:gd name="connsiteX4" fmla="*/ 35450 w 35449"/>
                  <a:gd name="connsiteY4" fmla="*/ 17725 h 405703"/>
                  <a:gd name="connsiteX5" fmla="*/ 35450 w 35449"/>
                  <a:gd name="connsiteY5" fmla="*/ 387978 h 405703"/>
                  <a:gd name="connsiteX6" fmla="*/ 17725 w 35449"/>
                  <a:gd name="connsiteY6" fmla="*/ 405703 h 405703"/>
                  <a:gd name="connsiteX7" fmla="*/ 17725 w 35449"/>
                  <a:gd name="connsiteY7" fmla="*/ 405703 h 4057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449" h="405703">
                    <a:moveTo>
                      <a:pt x="17725" y="405703"/>
                    </a:moveTo>
                    <a:cubicBezTo>
                      <a:pt x="7878" y="405703"/>
                      <a:pt x="0" y="397826"/>
                      <a:pt x="0" y="387978"/>
                    </a:cubicBezTo>
                    <a:lnTo>
                      <a:pt x="0" y="17725"/>
                    </a:lnTo>
                    <a:cubicBezTo>
                      <a:pt x="0" y="7878"/>
                      <a:pt x="7878" y="0"/>
                      <a:pt x="17725" y="0"/>
                    </a:cubicBezTo>
                    <a:cubicBezTo>
                      <a:pt x="27572" y="0"/>
                      <a:pt x="35450" y="7878"/>
                      <a:pt x="35450" y="17725"/>
                    </a:cubicBezTo>
                    <a:lnTo>
                      <a:pt x="35450" y="387978"/>
                    </a:lnTo>
                    <a:cubicBezTo>
                      <a:pt x="35450" y="397826"/>
                      <a:pt x="27572" y="405703"/>
                      <a:pt x="17725" y="405703"/>
                    </a:cubicBezTo>
                    <a:lnTo>
                      <a:pt x="17725" y="405703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133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8577332" y="2546531"/>
              <a:ext cx="369902" cy="405703"/>
              <a:chOff x="8577332" y="2546531"/>
              <a:chExt cx="369902" cy="405703"/>
            </a:xfrm>
            <a:grpFill/>
          </p:grpSpPr>
          <p:sp>
            <p:nvSpPr>
              <p:cNvPr id="134" name="Forma Livre: Forma 133">
                <a:extLst>
                  <a:ext uri="{FF2B5EF4-FFF2-40B4-BE49-F238E27FC236}">
                    <a16:creationId xmlns:a16="http://schemas.microsoft.com/office/drawing/2014/main" id="{6209112E-F64F-403F-9BD2-8D314EEBB5A9}"/>
                  </a:ext>
                </a:extLst>
              </p:cNvPr>
              <p:cNvSpPr/>
              <p:nvPr/>
            </p:nvSpPr>
            <p:spPr>
              <a:xfrm>
                <a:off x="8577332" y="2547023"/>
                <a:ext cx="369902" cy="156558"/>
              </a:xfrm>
              <a:custGeom>
                <a:avLst/>
                <a:gdLst>
                  <a:gd name="connsiteX0" fmla="*/ 352025 w 369902"/>
                  <a:gd name="connsiteY0" fmla="*/ 156406 h 156558"/>
                  <a:gd name="connsiteX1" fmla="*/ 341521 w 369902"/>
                  <a:gd name="connsiteY1" fmla="*/ 153124 h 156558"/>
                  <a:gd name="connsiteX2" fmla="*/ 184623 w 369902"/>
                  <a:gd name="connsiteY2" fmla="*/ 38896 h 156558"/>
                  <a:gd name="connsiteX3" fmla="*/ 27725 w 369902"/>
                  <a:gd name="connsiteY3" fmla="*/ 153124 h 156558"/>
                  <a:gd name="connsiteX4" fmla="*/ 3435 w 369902"/>
                  <a:gd name="connsiteY4" fmla="*/ 149185 h 156558"/>
                  <a:gd name="connsiteX5" fmla="*/ 7374 w 369902"/>
                  <a:gd name="connsiteY5" fmla="*/ 124895 h 156558"/>
                  <a:gd name="connsiteX6" fmla="*/ 174776 w 369902"/>
                  <a:gd name="connsiteY6" fmla="*/ 3446 h 156558"/>
                  <a:gd name="connsiteX7" fmla="*/ 195127 w 369902"/>
                  <a:gd name="connsiteY7" fmla="*/ 3446 h 156558"/>
                  <a:gd name="connsiteX8" fmla="*/ 362528 w 369902"/>
                  <a:gd name="connsiteY8" fmla="*/ 124895 h 156558"/>
                  <a:gd name="connsiteX9" fmla="*/ 366468 w 369902"/>
                  <a:gd name="connsiteY9" fmla="*/ 149185 h 156558"/>
                  <a:gd name="connsiteX10" fmla="*/ 352025 w 369902"/>
                  <a:gd name="connsiteY10" fmla="*/ 156406 h 156558"/>
                  <a:gd name="connsiteX11" fmla="*/ 352025 w 369902"/>
                  <a:gd name="connsiteY11" fmla="*/ 156406 h 1565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69902" h="156558">
                    <a:moveTo>
                      <a:pt x="352025" y="156406"/>
                    </a:moveTo>
                    <a:cubicBezTo>
                      <a:pt x="348743" y="156406"/>
                      <a:pt x="344804" y="155093"/>
                      <a:pt x="341521" y="153124"/>
                    </a:cubicBezTo>
                    <a:lnTo>
                      <a:pt x="184623" y="38896"/>
                    </a:lnTo>
                    <a:lnTo>
                      <a:pt x="27725" y="153124"/>
                    </a:lnTo>
                    <a:cubicBezTo>
                      <a:pt x="19847" y="159032"/>
                      <a:pt x="8688" y="157062"/>
                      <a:pt x="3435" y="149185"/>
                    </a:cubicBezTo>
                    <a:cubicBezTo>
                      <a:pt x="-2473" y="141307"/>
                      <a:pt x="-503" y="130147"/>
                      <a:pt x="7374" y="124895"/>
                    </a:cubicBezTo>
                    <a:lnTo>
                      <a:pt x="174776" y="3446"/>
                    </a:lnTo>
                    <a:cubicBezTo>
                      <a:pt x="180684" y="-1149"/>
                      <a:pt x="189219" y="-1149"/>
                      <a:pt x="195127" y="3446"/>
                    </a:cubicBezTo>
                    <a:lnTo>
                      <a:pt x="362528" y="124895"/>
                    </a:lnTo>
                    <a:cubicBezTo>
                      <a:pt x="370407" y="130803"/>
                      <a:pt x="372376" y="141307"/>
                      <a:pt x="366468" y="149185"/>
                    </a:cubicBezTo>
                    <a:cubicBezTo>
                      <a:pt x="362528" y="153780"/>
                      <a:pt x="357277" y="156406"/>
                      <a:pt x="352025" y="156406"/>
                    </a:cubicBezTo>
                    <a:lnTo>
                      <a:pt x="352025" y="156406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35" name="Forma Livre: Forma 134">
                <a:extLst>
                  <a:ext uri="{FF2B5EF4-FFF2-40B4-BE49-F238E27FC236}">
                    <a16:creationId xmlns:a16="http://schemas.microsoft.com/office/drawing/2014/main" id="{A9438DEE-4F22-439B-8904-53B897638DB3}"/>
                  </a:ext>
                </a:extLst>
              </p:cNvPr>
              <p:cNvSpPr/>
              <p:nvPr/>
            </p:nvSpPr>
            <p:spPr>
              <a:xfrm>
                <a:off x="8744231" y="2546531"/>
                <a:ext cx="35449" cy="405703"/>
              </a:xfrm>
              <a:custGeom>
                <a:avLst/>
                <a:gdLst>
                  <a:gd name="connsiteX0" fmla="*/ 17725 w 35449"/>
                  <a:gd name="connsiteY0" fmla="*/ 405703 h 405703"/>
                  <a:gd name="connsiteX1" fmla="*/ 0 w 35449"/>
                  <a:gd name="connsiteY1" fmla="*/ 387978 h 405703"/>
                  <a:gd name="connsiteX2" fmla="*/ 0 w 35449"/>
                  <a:gd name="connsiteY2" fmla="*/ 17725 h 405703"/>
                  <a:gd name="connsiteX3" fmla="*/ 17725 w 35449"/>
                  <a:gd name="connsiteY3" fmla="*/ 0 h 405703"/>
                  <a:gd name="connsiteX4" fmla="*/ 35450 w 35449"/>
                  <a:gd name="connsiteY4" fmla="*/ 17725 h 405703"/>
                  <a:gd name="connsiteX5" fmla="*/ 35450 w 35449"/>
                  <a:gd name="connsiteY5" fmla="*/ 387978 h 405703"/>
                  <a:gd name="connsiteX6" fmla="*/ 17725 w 35449"/>
                  <a:gd name="connsiteY6" fmla="*/ 405703 h 405703"/>
                  <a:gd name="connsiteX7" fmla="*/ 17725 w 35449"/>
                  <a:gd name="connsiteY7" fmla="*/ 405703 h 4057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449" h="405703">
                    <a:moveTo>
                      <a:pt x="17725" y="405703"/>
                    </a:moveTo>
                    <a:cubicBezTo>
                      <a:pt x="7877" y="405703"/>
                      <a:pt x="0" y="397826"/>
                      <a:pt x="0" y="387978"/>
                    </a:cubicBezTo>
                    <a:lnTo>
                      <a:pt x="0" y="17725"/>
                    </a:lnTo>
                    <a:cubicBezTo>
                      <a:pt x="0" y="7878"/>
                      <a:pt x="7877" y="0"/>
                      <a:pt x="17725" y="0"/>
                    </a:cubicBezTo>
                    <a:cubicBezTo>
                      <a:pt x="27572" y="0"/>
                      <a:pt x="35450" y="7878"/>
                      <a:pt x="35450" y="17725"/>
                    </a:cubicBezTo>
                    <a:lnTo>
                      <a:pt x="35450" y="387978"/>
                    </a:lnTo>
                    <a:cubicBezTo>
                      <a:pt x="35450" y="397826"/>
                      <a:pt x="27572" y="405703"/>
                      <a:pt x="17725" y="405703"/>
                    </a:cubicBezTo>
                    <a:lnTo>
                      <a:pt x="17725" y="405703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136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1064097" y="3666154"/>
              <a:ext cx="416206" cy="338414"/>
              <a:chOff x="1064097" y="3666154"/>
              <a:chExt cx="416206" cy="338414"/>
            </a:xfrm>
            <a:grpFill/>
          </p:grpSpPr>
          <p:sp>
            <p:nvSpPr>
              <p:cNvPr id="137" name="Forma Livre: Forma 136">
                <a:extLst>
                  <a:ext uri="{FF2B5EF4-FFF2-40B4-BE49-F238E27FC236}">
                    <a16:creationId xmlns:a16="http://schemas.microsoft.com/office/drawing/2014/main" id="{E4347AD8-3069-47A0-82AF-EAAC3773BE10}"/>
                  </a:ext>
                </a:extLst>
              </p:cNvPr>
              <p:cNvSpPr/>
              <p:nvPr/>
            </p:nvSpPr>
            <p:spPr>
              <a:xfrm>
                <a:off x="1064425" y="3666154"/>
                <a:ext cx="114883" cy="195958"/>
              </a:xfrm>
              <a:custGeom>
                <a:avLst/>
                <a:gdLst>
                  <a:gd name="connsiteX0" fmla="*/ 97487 w 114883"/>
                  <a:gd name="connsiteY0" fmla="*/ 195959 h 195958"/>
                  <a:gd name="connsiteX1" fmla="*/ 85014 w 114883"/>
                  <a:gd name="connsiteY1" fmla="*/ 190707 h 195958"/>
                  <a:gd name="connsiteX2" fmla="*/ 4924 w 114883"/>
                  <a:gd name="connsiteY2" fmla="*/ 110617 h 195958"/>
                  <a:gd name="connsiteX3" fmla="*/ 4924 w 114883"/>
                  <a:gd name="connsiteY3" fmla="*/ 85670 h 195958"/>
                  <a:gd name="connsiteX4" fmla="*/ 85014 w 114883"/>
                  <a:gd name="connsiteY4" fmla="*/ 4924 h 195958"/>
                  <a:gd name="connsiteX5" fmla="*/ 109960 w 114883"/>
                  <a:gd name="connsiteY5" fmla="*/ 4924 h 195958"/>
                  <a:gd name="connsiteX6" fmla="*/ 109960 w 114883"/>
                  <a:gd name="connsiteY6" fmla="*/ 29870 h 195958"/>
                  <a:gd name="connsiteX7" fmla="*/ 41686 w 114883"/>
                  <a:gd name="connsiteY7" fmla="*/ 98143 h 195958"/>
                  <a:gd name="connsiteX8" fmla="*/ 109960 w 114883"/>
                  <a:gd name="connsiteY8" fmla="*/ 166417 h 195958"/>
                  <a:gd name="connsiteX9" fmla="*/ 109960 w 114883"/>
                  <a:gd name="connsiteY9" fmla="*/ 191363 h 195958"/>
                  <a:gd name="connsiteX10" fmla="*/ 97487 w 114883"/>
                  <a:gd name="connsiteY10" fmla="*/ 195959 h 195958"/>
                  <a:gd name="connsiteX11" fmla="*/ 97487 w 114883"/>
                  <a:gd name="connsiteY11" fmla="*/ 195959 h 195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4883" h="195958">
                    <a:moveTo>
                      <a:pt x="97487" y="195959"/>
                    </a:moveTo>
                    <a:cubicBezTo>
                      <a:pt x="92892" y="195959"/>
                      <a:pt x="88296" y="193989"/>
                      <a:pt x="85014" y="190707"/>
                    </a:cubicBezTo>
                    <a:lnTo>
                      <a:pt x="4924" y="110617"/>
                    </a:lnTo>
                    <a:cubicBezTo>
                      <a:pt x="-1641" y="104052"/>
                      <a:pt x="-1641" y="92892"/>
                      <a:pt x="4924" y="85670"/>
                    </a:cubicBezTo>
                    <a:lnTo>
                      <a:pt x="85014" y="4924"/>
                    </a:lnTo>
                    <a:cubicBezTo>
                      <a:pt x="91579" y="-1641"/>
                      <a:pt x="102739" y="-1641"/>
                      <a:pt x="109960" y="4924"/>
                    </a:cubicBezTo>
                    <a:cubicBezTo>
                      <a:pt x="116525" y="11488"/>
                      <a:pt x="116525" y="22648"/>
                      <a:pt x="109960" y="29870"/>
                    </a:cubicBezTo>
                    <a:lnTo>
                      <a:pt x="41686" y="98143"/>
                    </a:lnTo>
                    <a:lnTo>
                      <a:pt x="109960" y="166417"/>
                    </a:lnTo>
                    <a:cubicBezTo>
                      <a:pt x="116525" y="172982"/>
                      <a:pt x="116525" y="184142"/>
                      <a:pt x="109960" y="191363"/>
                    </a:cubicBezTo>
                    <a:cubicBezTo>
                      <a:pt x="106678" y="193989"/>
                      <a:pt x="102082" y="195959"/>
                      <a:pt x="97487" y="195959"/>
                    </a:cubicBezTo>
                    <a:lnTo>
                      <a:pt x="97487" y="195959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38" name="Forma Livre: Forma 137">
                <a:extLst>
                  <a:ext uri="{FF2B5EF4-FFF2-40B4-BE49-F238E27FC236}">
                    <a16:creationId xmlns:a16="http://schemas.microsoft.com/office/drawing/2014/main" id="{4D110DB0-816D-4E9C-A3FA-88B9DA9AB658}"/>
                  </a:ext>
                </a:extLst>
              </p:cNvPr>
              <p:cNvSpPr/>
              <p:nvPr/>
            </p:nvSpPr>
            <p:spPr>
              <a:xfrm>
                <a:off x="1064097" y="3745260"/>
                <a:ext cx="416206" cy="259308"/>
              </a:xfrm>
              <a:custGeom>
                <a:avLst/>
                <a:gdLst>
                  <a:gd name="connsiteX0" fmla="*/ 286881 w 416206"/>
                  <a:gd name="connsiteY0" fmla="*/ 259309 h 259308"/>
                  <a:gd name="connsiteX1" fmla="*/ 17725 w 416206"/>
                  <a:gd name="connsiteY1" fmla="*/ 259309 h 259308"/>
                  <a:gd name="connsiteX2" fmla="*/ 0 w 416206"/>
                  <a:gd name="connsiteY2" fmla="*/ 241584 h 259308"/>
                  <a:gd name="connsiteX3" fmla="*/ 17725 w 416206"/>
                  <a:gd name="connsiteY3" fmla="*/ 223859 h 259308"/>
                  <a:gd name="connsiteX4" fmla="*/ 286881 w 416206"/>
                  <a:gd name="connsiteY4" fmla="*/ 223859 h 259308"/>
                  <a:gd name="connsiteX5" fmla="*/ 380757 w 416206"/>
                  <a:gd name="connsiteY5" fmla="*/ 129983 h 259308"/>
                  <a:gd name="connsiteX6" fmla="*/ 286881 w 416206"/>
                  <a:gd name="connsiteY6" fmla="*/ 35450 h 259308"/>
                  <a:gd name="connsiteX7" fmla="*/ 28885 w 416206"/>
                  <a:gd name="connsiteY7" fmla="*/ 35450 h 259308"/>
                  <a:gd name="connsiteX8" fmla="*/ 11160 w 416206"/>
                  <a:gd name="connsiteY8" fmla="*/ 17725 h 259308"/>
                  <a:gd name="connsiteX9" fmla="*/ 28885 w 416206"/>
                  <a:gd name="connsiteY9" fmla="*/ 0 h 259308"/>
                  <a:gd name="connsiteX10" fmla="*/ 286881 w 416206"/>
                  <a:gd name="connsiteY10" fmla="*/ 0 h 259308"/>
                  <a:gd name="connsiteX11" fmla="*/ 416207 w 416206"/>
                  <a:gd name="connsiteY11" fmla="*/ 129326 h 259308"/>
                  <a:gd name="connsiteX12" fmla="*/ 286881 w 416206"/>
                  <a:gd name="connsiteY12" fmla="*/ 259309 h 259308"/>
                  <a:gd name="connsiteX13" fmla="*/ 286881 w 416206"/>
                  <a:gd name="connsiteY13" fmla="*/ 259309 h 259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16206" h="259308">
                    <a:moveTo>
                      <a:pt x="286881" y="259309"/>
                    </a:moveTo>
                    <a:lnTo>
                      <a:pt x="17725" y="259309"/>
                    </a:lnTo>
                    <a:cubicBezTo>
                      <a:pt x="7878" y="259309"/>
                      <a:pt x="0" y="251431"/>
                      <a:pt x="0" y="241584"/>
                    </a:cubicBezTo>
                    <a:cubicBezTo>
                      <a:pt x="0" y="231737"/>
                      <a:pt x="7878" y="223859"/>
                      <a:pt x="17725" y="223859"/>
                    </a:cubicBezTo>
                    <a:lnTo>
                      <a:pt x="286881" y="223859"/>
                    </a:lnTo>
                    <a:cubicBezTo>
                      <a:pt x="338743" y="223859"/>
                      <a:pt x="380757" y="181844"/>
                      <a:pt x="380757" y="129983"/>
                    </a:cubicBezTo>
                    <a:cubicBezTo>
                      <a:pt x="380757" y="78121"/>
                      <a:pt x="338743" y="35450"/>
                      <a:pt x="286881" y="35450"/>
                    </a:cubicBezTo>
                    <a:lnTo>
                      <a:pt x="28885" y="35450"/>
                    </a:lnTo>
                    <a:cubicBezTo>
                      <a:pt x="19038" y="35450"/>
                      <a:pt x="11160" y="27572"/>
                      <a:pt x="11160" y="17725"/>
                    </a:cubicBezTo>
                    <a:cubicBezTo>
                      <a:pt x="11160" y="7878"/>
                      <a:pt x="19038" y="0"/>
                      <a:pt x="28885" y="0"/>
                    </a:cubicBezTo>
                    <a:lnTo>
                      <a:pt x="286881" y="0"/>
                    </a:lnTo>
                    <a:cubicBezTo>
                      <a:pt x="357780" y="0"/>
                      <a:pt x="416207" y="57770"/>
                      <a:pt x="416207" y="129326"/>
                    </a:cubicBezTo>
                    <a:cubicBezTo>
                      <a:pt x="415550" y="200882"/>
                      <a:pt x="357780" y="259309"/>
                      <a:pt x="286881" y="259309"/>
                    </a:cubicBezTo>
                    <a:lnTo>
                      <a:pt x="286881" y="259309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139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2174857" y="3627422"/>
              <a:ext cx="338414" cy="415878"/>
              <a:chOff x="2174857" y="3627422"/>
              <a:chExt cx="338414" cy="415878"/>
            </a:xfrm>
            <a:grpFill/>
          </p:grpSpPr>
          <p:sp>
            <p:nvSpPr>
              <p:cNvPr id="140" name="Forma Livre: Forma 139">
                <a:extLst>
                  <a:ext uri="{FF2B5EF4-FFF2-40B4-BE49-F238E27FC236}">
                    <a16:creationId xmlns:a16="http://schemas.microsoft.com/office/drawing/2014/main" id="{E31DC6C8-9A3E-485E-B323-98E080CD82E9}"/>
                  </a:ext>
                </a:extLst>
              </p:cNvPr>
              <p:cNvSpPr/>
              <p:nvPr/>
            </p:nvSpPr>
            <p:spPr>
              <a:xfrm>
                <a:off x="2316984" y="3627422"/>
                <a:ext cx="196286" cy="115211"/>
              </a:xfrm>
              <a:custGeom>
                <a:avLst/>
                <a:gdLst>
                  <a:gd name="connsiteX0" fmla="*/ 178890 w 196286"/>
                  <a:gd name="connsiteY0" fmla="*/ 115212 h 115211"/>
                  <a:gd name="connsiteX1" fmla="*/ 166417 w 196286"/>
                  <a:gd name="connsiteY1" fmla="*/ 109960 h 115211"/>
                  <a:gd name="connsiteX2" fmla="*/ 98143 w 196286"/>
                  <a:gd name="connsiteY2" fmla="*/ 41686 h 115211"/>
                  <a:gd name="connsiteX3" fmla="*/ 29870 w 196286"/>
                  <a:gd name="connsiteY3" fmla="*/ 109960 h 115211"/>
                  <a:gd name="connsiteX4" fmla="*/ 4924 w 196286"/>
                  <a:gd name="connsiteY4" fmla="*/ 109960 h 115211"/>
                  <a:gd name="connsiteX5" fmla="*/ 4924 w 196286"/>
                  <a:gd name="connsiteY5" fmla="*/ 85014 h 115211"/>
                  <a:gd name="connsiteX6" fmla="*/ 85670 w 196286"/>
                  <a:gd name="connsiteY6" fmla="*/ 4924 h 115211"/>
                  <a:gd name="connsiteX7" fmla="*/ 110616 w 196286"/>
                  <a:gd name="connsiteY7" fmla="*/ 4924 h 115211"/>
                  <a:gd name="connsiteX8" fmla="*/ 191363 w 196286"/>
                  <a:gd name="connsiteY8" fmla="*/ 85014 h 115211"/>
                  <a:gd name="connsiteX9" fmla="*/ 191363 w 196286"/>
                  <a:gd name="connsiteY9" fmla="*/ 109960 h 115211"/>
                  <a:gd name="connsiteX10" fmla="*/ 178890 w 196286"/>
                  <a:gd name="connsiteY10" fmla="*/ 115212 h 115211"/>
                  <a:gd name="connsiteX11" fmla="*/ 178890 w 196286"/>
                  <a:gd name="connsiteY11" fmla="*/ 115212 h 115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96286" h="115211">
                    <a:moveTo>
                      <a:pt x="178890" y="115212"/>
                    </a:moveTo>
                    <a:cubicBezTo>
                      <a:pt x="174295" y="115212"/>
                      <a:pt x="169699" y="113242"/>
                      <a:pt x="166417" y="109960"/>
                    </a:cubicBezTo>
                    <a:lnTo>
                      <a:pt x="98143" y="41686"/>
                    </a:lnTo>
                    <a:lnTo>
                      <a:pt x="29870" y="109960"/>
                    </a:lnTo>
                    <a:cubicBezTo>
                      <a:pt x="23305" y="116525"/>
                      <a:pt x="12145" y="116525"/>
                      <a:pt x="4924" y="109960"/>
                    </a:cubicBezTo>
                    <a:cubicBezTo>
                      <a:pt x="-1641" y="103395"/>
                      <a:pt x="-1641" y="92235"/>
                      <a:pt x="4924" y="85014"/>
                    </a:cubicBezTo>
                    <a:lnTo>
                      <a:pt x="85670" y="4924"/>
                    </a:lnTo>
                    <a:cubicBezTo>
                      <a:pt x="92235" y="-1641"/>
                      <a:pt x="103395" y="-1641"/>
                      <a:pt x="110616" y="4924"/>
                    </a:cubicBezTo>
                    <a:lnTo>
                      <a:pt x="191363" y="85014"/>
                    </a:lnTo>
                    <a:cubicBezTo>
                      <a:pt x="197928" y="91579"/>
                      <a:pt x="197928" y="102739"/>
                      <a:pt x="191363" y="109960"/>
                    </a:cubicBezTo>
                    <a:cubicBezTo>
                      <a:pt x="187424" y="113242"/>
                      <a:pt x="183486" y="115212"/>
                      <a:pt x="178890" y="115212"/>
                    </a:cubicBezTo>
                    <a:lnTo>
                      <a:pt x="178890" y="115212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41" name="Forma Livre: Forma 140">
                <a:extLst>
                  <a:ext uri="{FF2B5EF4-FFF2-40B4-BE49-F238E27FC236}">
                    <a16:creationId xmlns:a16="http://schemas.microsoft.com/office/drawing/2014/main" id="{9B1D4791-980B-4D2F-A2DE-17D091BB3E7B}"/>
                  </a:ext>
                </a:extLst>
              </p:cNvPr>
              <p:cNvSpPr/>
              <p:nvPr/>
            </p:nvSpPr>
            <p:spPr>
              <a:xfrm>
                <a:off x="2174857" y="3638254"/>
                <a:ext cx="259308" cy="405046"/>
              </a:xfrm>
              <a:custGeom>
                <a:avLst/>
                <a:gdLst>
                  <a:gd name="connsiteX0" fmla="*/ 129326 w 259308"/>
                  <a:gd name="connsiteY0" fmla="*/ 405047 h 405046"/>
                  <a:gd name="connsiteX1" fmla="*/ 0 w 259308"/>
                  <a:gd name="connsiteY1" fmla="*/ 275721 h 405046"/>
                  <a:gd name="connsiteX2" fmla="*/ 0 w 259308"/>
                  <a:gd name="connsiteY2" fmla="*/ 86655 h 405046"/>
                  <a:gd name="connsiteX3" fmla="*/ 17725 w 259308"/>
                  <a:gd name="connsiteY3" fmla="*/ 68930 h 405046"/>
                  <a:gd name="connsiteX4" fmla="*/ 35450 w 259308"/>
                  <a:gd name="connsiteY4" fmla="*/ 86655 h 405046"/>
                  <a:gd name="connsiteX5" fmla="*/ 35450 w 259308"/>
                  <a:gd name="connsiteY5" fmla="*/ 275721 h 405046"/>
                  <a:gd name="connsiteX6" fmla="*/ 129326 w 259308"/>
                  <a:gd name="connsiteY6" fmla="*/ 369597 h 405046"/>
                  <a:gd name="connsiteX7" fmla="*/ 223859 w 259308"/>
                  <a:gd name="connsiteY7" fmla="*/ 275721 h 405046"/>
                  <a:gd name="connsiteX8" fmla="*/ 223859 w 259308"/>
                  <a:gd name="connsiteY8" fmla="*/ 17725 h 405046"/>
                  <a:gd name="connsiteX9" fmla="*/ 241584 w 259308"/>
                  <a:gd name="connsiteY9" fmla="*/ 0 h 405046"/>
                  <a:gd name="connsiteX10" fmla="*/ 259309 w 259308"/>
                  <a:gd name="connsiteY10" fmla="*/ 17725 h 405046"/>
                  <a:gd name="connsiteX11" fmla="*/ 259309 w 259308"/>
                  <a:gd name="connsiteY11" fmla="*/ 275721 h 405046"/>
                  <a:gd name="connsiteX12" fmla="*/ 129326 w 259308"/>
                  <a:gd name="connsiteY12" fmla="*/ 405047 h 405046"/>
                  <a:gd name="connsiteX13" fmla="*/ 129326 w 259308"/>
                  <a:gd name="connsiteY13" fmla="*/ 405047 h 4050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9308" h="405046">
                    <a:moveTo>
                      <a:pt x="129326" y="405047"/>
                    </a:moveTo>
                    <a:cubicBezTo>
                      <a:pt x="58427" y="405047"/>
                      <a:pt x="0" y="347277"/>
                      <a:pt x="0" y="275721"/>
                    </a:cubicBezTo>
                    <a:lnTo>
                      <a:pt x="0" y="86655"/>
                    </a:lnTo>
                    <a:cubicBezTo>
                      <a:pt x="0" y="76808"/>
                      <a:pt x="7878" y="68930"/>
                      <a:pt x="17725" y="68930"/>
                    </a:cubicBezTo>
                    <a:cubicBezTo>
                      <a:pt x="27572" y="68930"/>
                      <a:pt x="35450" y="76808"/>
                      <a:pt x="35450" y="86655"/>
                    </a:cubicBezTo>
                    <a:lnTo>
                      <a:pt x="35450" y="275721"/>
                    </a:lnTo>
                    <a:cubicBezTo>
                      <a:pt x="35450" y="327582"/>
                      <a:pt x="77464" y="369597"/>
                      <a:pt x="129326" y="369597"/>
                    </a:cubicBezTo>
                    <a:cubicBezTo>
                      <a:pt x="181188" y="369597"/>
                      <a:pt x="223859" y="327582"/>
                      <a:pt x="223859" y="275721"/>
                    </a:cubicBezTo>
                    <a:lnTo>
                      <a:pt x="223859" y="17725"/>
                    </a:lnTo>
                    <a:cubicBezTo>
                      <a:pt x="223859" y="7878"/>
                      <a:pt x="231737" y="0"/>
                      <a:pt x="241584" y="0"/>
                    </a:cubicBezTo>
                    <a:cubicBezTo>
                      <a:pt x="251431" y="0"/>
                      <a:pt x="259309" y="7878"/>
                      <a:pt x="259309" y="17725"/>
                    </a:cubicBezTo>
                    <a:lnTo>
                      <a:pt x="259309" y="275721"/>
                    </a:lnTo>
                    <a:cubicBezTo>
                      <a:pt x="258652" y="347277"/>
                      <a:pt x="200226" y="405047"/>
                      <a:pt x="129326" y="405047"/>
                    </a:cubicBezTo>
                    <a:lnTo>
                      <a:pt x="129326" y="405047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142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3240649" y="3623155"/>
              <a:ext cx="337796" cy="424084"/>
              <a:chOff x="3240649" y="3623155"/>
              <a:chExt cx="337796" cy="424084"/>
            </a:xfrm>
            <a:grpFill/>
          </p:grpSpPr>
          <p:sp>
            <p:nvSpPr>
              <p:cNvPr id="143" name="Forma Livre: Forma 142">
                <a:extLst>
                  <a:ext uri="{FF2B5EF4-FFF2-40B4-BE49-F238E27FC236}">
                    <a16:creationId xmlns:a16="http://schemas.microsoft.com/office/drawing/2014/main" id="{05347409-04DE-45BF-AA07-56FA1F305BB0}"/>
                  </a:ext>
                </a:extLst>
              </p:cNvPr>
              <p:cNvSpPr/>
              <p:nvPr/>
            </p:nvSpPr>
            <p:spPr>
              <a:xfrm>
                <a:off x="3240649" y="3774473"/>
                <a:ext cx="196287" cy="115211"/>
              </a:xfrm>
              <a:custGeom>
                <a:avLst/>
                <a:gdLst>
                  <a:gd name="connsiteX0" fmla="*/ 98144 w 196287"/>
                  <a:gd name="connsiteY0" fmla="*/ 115212 h 115211"/>
                  <a:gd name="connsiteX1" fmla="*/ 85670 w 196287"/>
                  <a:gd name="connsiteY1" fmla="*/ 109960 h 115211"/>
                  <a:gd name="connsiteX2" fmla="*/ 4924 w 196287"/>
                  <a:gd name="connsiteY2" fmla="*/ 29870 h 115211"/>
                  <a:gd name="connsiteX3" fmla="*/ 4924 w 196287"/>
                  <a:gd name="connsiteY3" fmla="*/ 4924 h 115211"/>
                  <a:gd name="connsiteX4" fmla="*/ 29870 w 196287"/>
                  <a:gd name="connsiteY4" fmla="*/ 4924 h 115211"/>
                  <a:gd name="connsiteX5" fmla="*/ 98144 w 196287"/>
                  <a:gd name="connsiteY5" fmla="*/ 73197 h 115211"/>
                  <a:gd name="connsiteX6" fmla="*/ 166417 w 196287"/>
                  <a:gd name="connsiteY6" fmla="*/ 4924 h 115211"/>
                  <a:gd name="connsiteX7" fmla="*/ 191363 w 196287"/>
                  <a:gd name="connsiteY7" fmla="*/ 4924 h 115211"/>
                  <a:gd name="connsiteX8" fmla="*/ 191363 w 196287"/>
                  <a:gd name="connsiteY8" fmla="*/ 29870 h 115211"/>
                  <a:gd name="connsiteX9" fmla="*/ 110617 w 196287"/>
                  <a:gd name="connsiteY9" fmla="*/ 109960 h 115211"/>
                  <a:gd name="connsiteX10" fmla="*/ 98144 w 196287"/>
                  <a:gd name="connsiteY10" fmla="*/ 115212 h 115211"/>
                  <a:gd name="connsiteX11" fmla="*/ 98144 w 196287"/>
                  <a:gd name="connsiteY11" fmla="*/ 115212 h 115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96287" h="115211">
                    <a:moveTo>
                      <a:pt x="98144" y="115212"/>
                    </a:moveTo>
                    <a:cubicBezTo>
                      <a:pt x="93548" y="115212"/>
                      <a:pt x="88953" y="113242"/>
                      <a:pt x="85670" y="109960"/>
                    </a:cubicBezTo>
                    <a:lnTo>
                      <a:pt x="4924" y="29870"/>
                    </a:lnTo>
                    <a:cubicBezTo>
                      <a:pt x="-1641" y="23305"/>
                      <a:pt x="-1641" y="12145"/>
                      <a:pt x="4924" y="4924"/>
                    </a:cubicBezTo>
                    <a:cubicBezTo>
                      <a:pt x="11488" y="-1641"/>
                      <a:pt x="22649" y="-1641"/>
                      <a:pt x="29870" y="4924"/>
                    </a:cubicBezTo>
                    <a:lnTo>
                      <a:pt x="98144" y="73197"/>
                    </a:lnTo>
                    <a:lnTo>
                      <a:pt x="166417" y="4924"/>
                    </a:lnTo>
                    <a:cubicBezTo>
                      <a:pt x="172982" y="-1641"/>
                      <a:pt x="184142" y="-1641"/>
                      <a:pt x="191363" y="4924"/>
                    </a:cubicBezTo>
                    <a:cubicBezTo>
                      <a:pt x="197928" y="11488"/>
                      <a:pt x="197928" y="22648"/>
                      <a:pt x="191363" y="29870"/>
                    </a:cubicBezTo>
                    <a:lnTo>
                      <a:pt x="110617" y="109960"/>
                    </a:lnTo>
                    <a:cubicBezTo>
                      <a:pt x="106678" y="113899"/>
                      <a:pt x="102082" y="115212"/>
                      <a:pt x="98144" y="115212"/>
                    </a:cubicBezTo>
                    <a:lnTo>
                      <a:pt x="98144" y="115212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44" name="Forma Livre: Forma 143">
                <a:extLst>
                  <a:ext uri="{FF2B5EF4-FFF2-40B4-BE49-F238E27FC236}">
                    <a16:creationId xmlns:a16="http://schemas.microsoft.com/office/drawing/2014/main" id="{406C8706-52EA-4225-97AE-54CE52D687F3}"/>
                  </a:ext>
                </a:extLst>
              </p:cNvPr>
              <p:cNvSpPr/>
              <p:nvPr/>
            </p:nvSpPr>
            <p:spPr>
              <a:xfrm>
                <a:off x="3319754" y="3623155"/>
                <a:ext cx="258690" cy="424084"/>
              </a:xfrm>
              <a:custGeom>
                <a:avLst/>
                <a:gdLst>
                  <a:gd name="connsiteX0" fmla="*/ 241584 w 258690"/>
                  <a:gd name="connsiteY0" fmla="*/ 424085 h 424084"/>
                  <a:gd name="connsiteX1" fmla="*/ 223859 w 258690"/>
                  <a:gd name="connsiteY1" fmla="*/ 406360 h 424084"/>
                  <a:gd name="connsiteX2" fmla="*/ 223859 w 258690"/>
                  <a:gd name="connsiteY2" fmla="*/ 129326 h 424084"/>
                  <a:gd name="connsiteX3" fmla="*/ 129983 w 258690"/>
                  <a:gd name="connsiteY3" fmla="*/ 35450 h 424084"/>
                  <a:gd name="connsiteX4" fmla="*/ 35450 w 258690"/>
                  <a:gd name="connsiteY4" fmla="*/ 129326 h 424084"/>
                  <a:gd name="connsiteX5" fmla="*/ 35450 w 258690"/>
                  <a:gd name="connsiteY5" fmla="*/ 237645 h 424084"/>
                  <a:gd name="connsiteX6" fmla="*/ 17725 w 258690"/>
                  <a:gd name="connsiteY6" fmla="*/ 255370 h 424084"/>
                  <a:gd name="connsiteX7" fmla="*/ 0 w 258690"/>
                  <a:gd name="connsiteY7" fmla="*/ 237645 h 424084"/>
                  <a:gd name="connsiteX8" fmla="*/ 0 w 258690"/>
                  <a:gd name="connsiteY8" fmla="*/ 129326 h 424084"/>
                  <a:gd name="connsiteX9" fmla="*/ 129326 w 258690"/>
                  <a:gd name="connsiteY9" fmla="*/ 0 h 424084"/>
                  <a:gd name="connsiteX10" fmla="*/ 258652 w 258690"/>
                  <a:gd name="connsiteY10" fmla="*/ 129326 h 424084"/>
                  <a:gd name="connsiteX11" fmla="*/ 258652 w 258690"/>
                  <a:gd name="connsiteY11" fmla="*/ 406360 h 424084"/>
                  <a:gd name="connsiteX12" fmla="*/ 241584 w 258690"/>
                  <a:gd name="connsiteY12" fmla="*/ 424085 h 424084"/>
                  <a:gd name="connsiteX13" fmla="*/ 241584 w 258690"/>
                  <a:gd name="connsiteY13" fmla="*/ 424085 h 424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8690" h="424084">
                    <a:moveTo>
                      <a:pt x="241584" y="424085"/>
                    </a:moveTo>
                    <a:cubicBezTo>
                      <a:pt x="231737" y="424085"/>
                      <a:pt x="223859" y="416207"/>
                      <a:pt x="223859" y="406360"/>
                    </a:cubicBezTo>
                    <a:lnTo>
                      <a:pt x="223859" y="129326"/>
                    </a:lnTo>
                    <a:cubicBezTo>
                      <a:pt x="223859" y="77465"/>
                      <a:pt x="181844" y="35450"/>
                      <a:pt x="129983" y="35450"/>
                    </a:cubicBezTo>
                    <a:cubicBezTo>
                      <a:pt x="78121" y="35450"/>
                      <a:pt x="35450" y="77465"/>
                      <a:pt x="35450" y="129326"/>
                    </a:cubicBezTo>
                    <a:lnTo>
                      <a:pt x="35450" y="237645"/>
                    </a:lnTo>
                    <a:cubicBezTo>
                      <a:pt x="35450" y="247492"/>
                      <a:pt x="27572" y="255370"/>
                      <a:pt x="17725" y="255370"/>
                    </a:cubicBezTo>
                    <a:cubicBezTo>
                      <a:pt x="7878" y="255370"/>
                      <a:pt x="0" y="247492"/>
                      <a:pt x="0" y="237645"/>
                    </a:cubicBezTo>
                    <a:lnTo>
                      <a:pt x="0" y="129326"/>
                    </a:lnTo>
                    <a:cubicBezTo>
                      <a:pt x="0" y="58427"/>
                      <a:pt x="57770" y="0"/>
                      <a:pt x="129326" y="0"/>
                    </a:cubicBezTo>
                    <a:cubicBezTo>
                      <a:pt x="200226" y="0"/>
                      <a:pt x="258652" y="57770"/>
                      <a:pt x="258652" y="129326"/>
                    </a:cubicBezTo>
                    <a:lnTo>
                      <a:pt x="258652" y="406360"/>
                    </a:lnTo>
                    <a:cubicBezTo>
                      <a:pt x="259309" y="416207"/>
                      <a:pt x="251431" y="424085"/>
                      <a:pt x="241584" y="424085"/>
                    </a:cubicBezTo>
                    <a:lnTo>
                      <a:pt x="241584" y="424085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145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4272632" y="3633987"/>
              <a:ext cx="412924" cy="402749"/>
              <a:chOff x="4272632" y="3633987"/>
              <a:chExt cx="412924" cy="402749"/>
            </a:xfrm>
            <a:grpFill/>
          </p:grpSpPr>
          <p:sp>
            <p:nvSpPr>
              <p:cNvPr id="146" name="Forma Livre: Forma 145">
                <a:extLst>
                  <a:ext uri="{FF2B5EF4-FFF2-40B4-BE49-F238E27FC236}">
                    <a16:creationId xmlns:a16="http://schemas.microsoft.com/office/drawing/2014/main" id="{140FC0A1-14DA-4218-9943-310A6498F9C0}"/>
                  </a:ext>
                </a:extLst>
              </p:cNvPr>
              <p:cNvSpPr/>
              <p:nvPr/>
            </p:nvSpPr>
            <p:spPr>
              <a:xfrm>
                <a:off x="4272632" y="3633987"/>
                <a:ext cx="108318" cy="182172"/>
              </a:xfrm>
              <a:custGeom>
                <a:avLst/>
                <a:gdLst>
                  <a:gd name="connsiteX0" fmla="*/ 90922 w 108318"/>
                  <a:gd name="connsiteY0" fmla="*/ 182173 h 182172"/>
                  <a:gd name="connsiteX1" fmla="*/ 78449 w 108318"/>
                  <a:gd name="connsiteY1" fmla="*/ 176921 h 182172"/>
                  <a:gd name="connsiteX2" fmla="*/ 4924 w 108318"/>
                  <a:gd name="connsiteY2" fmla="*/ 103395 h 182172"/>
                  <a:gd name="connsiteX3" fmla="*/ 4924 w 108318"/>
                  <a:gd name="connsiteY3" fmla="*/ 78449 h 182172"/>
                  <a:gd name="connsiteX4" fmla="*/ 78449 w 108318"/>
                  <a:gd name="connsiteY4" fmla="*/ 4924 h 182172"/>
                  <a:gd name="connsiteX5" fmla="*/ 103395 w 108318"/>
                  <a:gd name="connsiteY5" fmla="*/ 4924 h 182172"/>
                  <a:gd name="connsiteX6" fmla="*/ 103395 w 108318"/>
                  <a:gd name="connsiteY6" fmla="*/ 29870 h 182172"/>
                  <a:gd name="connsiteX7" fmla="*/ 42343 w 108318"/>
                  <a:gd name="connsiteY7" fmla="*/ 90922 h 182172"/>
                  <a:gd name="connsiteX8" fmla="*/ 103395 w 108318"/>
                  <a:gd name="connsiteY8" fmla="*/ 151975 h 182172"/>
                  <a:gd name="connsiteX9" fmla="*/ 103395 w 108318"/>
                  <a:gd name="connsiteY9" fmla="*/ 176921 h 182172"/>
                  <a:gd name="connsiteX10" fmla="*/ 90922 w 108318"/>
                  <a:gd name="connsiteY10" fmla="*/ 182173 h 182172"/>
                  <a:gd name="connsiteX11" fmla="*/ 90922 w 108318"/>
                  <a:gd name="connsiteY11" fmla="*/ 182173 h 1821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8318" h="182172">
                    <a:moveTo>
                      <a:pt x="90922" y="182173"/>
                    </a:moveTo>
                    <a:cubicBezTo>
                      <a:pt x="86327" y="182173"/>
                      <a:pt x="81732" y="180203"/>
                      <a:pt x="78449" y="176921"/>
                    </a:cubicBezTo>
                    <a:lnTo>
                      <a:pt x="4924" y="103395"/>
                    </a:lnTo>
                    <a:cubicBezTo>
                      <a:pt x="-1641" y="96830"/>
                      <a:pt x="-1641" y="85670"/>
                      <a:pt x="4924" y="78449"/>
                    </a:cubicBezTo>
                    <a:lnTo>
                      <a:pt x="78449" y="4924"/>
                    </a:lnTo>
                    <a:cubicBezTo>
                      <a:pt x="85014" y="-1641"/>
                      <a:pt x="96174" y="-1641"/>
                      <a:pt x="103395" y="4924"/>
                    </a:cubicBezTo>
                    <a:cubicBezTo>
                      <a:pt x="109960" y="11488"/>
                      <a:pt x="109960" y="22648"/>
                      <a:pt x="103395" y="29870"/>
                    </a:cubicBezTo>
                    <a:lnTo>
                      <a:pt x="42343" y="90922"/>
                    </a:lnTo>
                    <a:lnTo>
                      <a:pt x="103395" y="151975"/>
                    </a:lnTo>
                    <a:cubicBezTo>
                      <a:pt x="109960" y="158539"/>
                      <a:pt x="109960" y="169699"/>
                      <a:pt x="103395" y="176921"/>
                    </a:cubicBezTo>
                    <a:cubicBezTo>
                      <a:pt x="99456" y="180203"/>
                      <a:pt x="94861" y="182173"/>
                      <a:pt x="90922" y="182173"/>
                    </a:cubicBezTo>
                    <a:lnTo>
                      <a:pt x="90922" y="182173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47" name="Forma Livre: Forma 146">
                <a:extLst>
                  <a:ext uri="{FF2B5EF4-FFF2-40B4-BE49-F238E27FC236}">
                    <a16:creationId xmlns:a16="http://schemas.microsoft.com/office/drawing/2014/main" id="{22A377FA-9A62-4E13-A30F-3796CE2CE0F9}"/>
                  </a:ext>
                </a:extLst>
              </p:cNvPr>
              <p:cNvSpPr/>
              <p:nvPr/>
            </p:nvSpPr>
            <p:spPr>
              <a:xfrm>
                <a:off x="4295280" y="3705214"/>
                <a:ext cx="200882" cy="331521"/>
              </a:xfrm>
              <a:custGeom>
                <a:avLst/>
                <a:gdLst>
                  <a:gd name="connsiteX0" fmla="*/ 183157 w 200882"/>
                  <a:gd name="connsiteY0" fmla="*/ 331521 h 331521"/>
                  <a:gd name="connsiteX1" fmla="*/ 165432 w 200882"/>
                  <a:gd name="connsiteY1" fmla="*/ 313796 h 331521"/>
                  <a:gd name="connsiteX2" fmla="*/ 165432 w 200882"/>
                  <a:gd name="connsiteY2" fmla="*/ 91907 h 331521"/>
                  <a:gd name="connsiteX3" fmla="*/ 108975 w 200882"/>
                  <a:gd name="connsiteY3" fmla="*/ 35450 h 331521"/>
                  <a:gd name="connsiteX4" fmla="*/ 17725 w 200882"/>
                  <a:gd name="connsiteY4" fmla="*/ 35450 h 331521"/>
                  <a:gd name="connsiteX5" fmla="*/ 0 w 200882"/>
                  <a:gd name="connsiteY5" fmla="*/ 17725 h 331521"/>
                  <a:gd name="connsiteX6" fmla="*/ 17725 w 200882"/>
                  <a:gd name="connsiteY6" fmla="*/ 0 h 331521"/>
                  <a:gd name="connsiteX7" fmla="*/ 108975 w 200882"/>
                  <a:gd name="connsiteY7" fmla="*/ 0 h 331521"/>
                  <a:gd name="connsiteX8" fmla="*/ 200882 w 200882"/>
                  <a:gd name="connsiteY8" fmla="*/ 91907 h 331521"/>
                  <a:gd name="connsiteX9" fmla="*/ 200882 w 200882"/>
                  <a:gd name="connsiteY9" fmla="*/ 313796 h 331521"/>
                  <a:gd name="connsiteX10" fmla="*/ 183157 w 200882"/>
                  <a:gd name="connsiteY10" fmla="*/ 331521 h 331521"/>
                  <a:gd name="connsiteX11" fmla="*/ 183157 w 200882"/>
                  <a:gd name="connsiteY11" fmla="*/ 331521 h 3315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0882" h="331521">
                    <a:moveTo>
                      <a:pt x="183157" y="331521"/>
                    </a:moveTo>
                    <a:cubicBezTo>
                      <a:pt x="173310" y="331521"/>
                      <a:pt x="165432" y="323644"/>
                      <a:pt x="165432" y="313796"/>
                    </a:cubicBezTo>
                    <a:lnTo>
                      <a:pt x="165432" y="91907"/>
                    </a:lnTo>
                    <a:cubicBezTo>
                      <a:pt x="165432" y="60396"/>
                      <a:pt x="139830" y="35450"/>
                      <a:pt x="108975" y="35450"/>
                    </a:cubicBezTo>
                    <a:lnTo>
                      <a:pt x="17725" y="35450"/>
                    </a:lnTo>
                    <a:cubicBezTo>
                      <a:pt x="7878" y="35450"/>
                      <a:pt x="0" y="27572"/>
                      <a:pt x="0" y="17725"/>
                    </a:cubicBezTo>
                    <a:cubicBezTo>
                      <a:pt x="0" y="7878"/>
                      <a:pt x="7878" y="0"/>
                      <a:pt x="17725" y="0"/>
                    </a:cubicBezTo>
                    <a:lnTo>
                      <a:pt x="108975" y="0"/>
                    </a:lnTo>
                    <a:cubicBezTo>
                      <a:pt x="159524" y="0"/>
                      <a:pt x="200882" y="41358"/>
                      <a:pt x="200882" y="91907"/>
                    </a:cubicBezTo>
                    <a:lnTo>
                      <a:pt x="200882" y="313796"/>
                    </a:lnTo>
                    <a:cubicBezTo>
                      <a:pt x="200226" y="323644"/>
                      <a:pt x="192348" y="331521"/>
                      <a:pt x="183157" y="331521"/>
                    </a:cubicBezTo>
                    <a:lnTo>
                      <a:pt x="183157" y="331521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48" name="Forma Livre: Forma 147">
                <a:extLst>
                  <a:ext uri="{FF2B5EF4-FFF2-40B4-BE49-F238E27FC236}">
                    <a16:creationId xmlns:a16="http://schemas.microsoft.com/office/drawing/2014/main" id="{E6A07746-2929-4D9C-A9A1-AF74A6C03829}"/>
                  </a:ext>
                </a:extLst>
              </p:cNvPr>
              <p:cNvSpPr/>
              <p:nvPr/>
            </p:nvSpPr>
            <p:spPr>
              <a:xfrm>
                <a:off x="4577238" y="3633987"/>
                <a:ext cx="108318" cy="182172"/>
              </a:xfrm>
              <a:custGeom>
                <a:avLst/>
                <a:gdLst>
                  <a:gd name="connsiteX0" fmla="*/ 17396 w 108318"/>
                  <a:gd name="connsiteY0" fmla="*/ 182173 h 182172"/>
                  <a:gd name="connsiteX1" fmla="*/ 4924 w 108318"/>
                  <a:gd name="connsiteY1" fmla="*/ 176921 h 182172"/>
                  <a:gd name="connsiteX2" fmla="*/ 4924 w 108318"/>
                  <a:gd name="connsiteY2" fmla="*/ 151975 h 182172"/>
                  <a:gd name="connsiteX3" fmla="*/ 65976 w 108318"/>
                  <a:gd name="connsiteY3" fmla="*/ 90922 h 182172"/>
                  <a:gd name="connsiteX4" fmla="*/ 4924 w 108318"/>
                  <a:gd name="connsiteY4" fmla="*/ 29870 h 182172"/>
                  <a:gd name="connsiteX5" fmla="*/ 4924 w 108318"/>
                  <a:gd name="connsiteY5" fmla="*/ 4924 h 182172"/>
                  <a:gd name="connsiteX6" fmla="*/ 29870 w 108318"/>
                  <a:gd name="connsiteY6" fmla="*/ 4924 h 182172"/>
                  <a:gd name="connsiteX7" fmla="*/ 103395 w 108318"/>
                  <a:gd name="connsiteY7" fmla="*/ 78449 h 182172"/>
                  <a:gd name="connsiteX8" fmla="*/ 103395 w 108318"/>
                  <a:gd name="connsiteY8" fmla="*/ 103395 h 182172"/>
                  <a:gd name="connsiteX9" fmla="*/ 29870 w 108318"/>
                  <a:gd name="connsiteY9" fmla="*/ 176921 h 182172"/>
                  <a:gd name="connsiteX10" fmla="*/ 17396 w 108318"/>
                  <a:gd name="connsiteY10" fmla="*/ 182173 h 182172"/>
                  <a:gd name="connsiteX11" fmla="*/ 17396 w 108318"/>
                  <a:gd name="connsiteY11" fmla="*/ 182173 h 1821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8318" h="182172">
                    <a:moveTo>
                      <a:pt x="17396" y="182173"/>
                    </a:moveTo>
                    <a:cubicBezTo>
                      <a:pt x="12801" y="182173"/>
                      <a:pt x="8206" y="180203"/>
                      <a:pt x="4924" y="176921"/>
                    </a:cubicBezTo>
                    <a:cubicBezTo>
                      <a:pt x="-1641" y="170356"/>
                      <a:pt x="-1641" y="159196"/>
                      <a:pt x="4924" y="151975"/>
                    </a:cubicBezTo>
                    <a:lnTo>
                      <a:pt x="65976" y="90922"/>
                    </a:lnTo>
                    <a:lnTo>
                      <a:pt x="4924" y="29870"/>
                    </a:lnTo>
                    <a:cubicBezTo>
                      <a:pt x="-1641" y="23305"/>
                      <a:pt x="-1641" y="12145"/>
                      <a:pt x="4924" y="4924"/>
                    </a:cubicBezTo>
                    <a:cubicBezTo>
                      <a:pt x="11488" y="-1641"/>
                      <a:pt x="22648" y="-1641"/>
                      <a:pt x="29870" y="4924"/>
                    </a:cubicBezTo>
                    <a:lnTo>
                      <a:pt x="103395" y="78449"/>
                    </a:lnTo>
                    <a:cubicBezTo>
                      <a:pt x="109960" y="85014"/>
                      <a:pt x="109960" y="96174"/>
                      <a:pt x="103395" y="103395"/>
                    </a:cubicBezTo>
                    <a:lnTo>
                      <a:pt x="29870" y="176921"/>
                    </a:lnTo>
                    <a:cubicBezTo>
                      <a:pt x="26587" y="180203"/>
                      <a:pt x="21992" y="182173"/>
                      <a:pt x="17396" y="182173"/>
                    </a:cubicBezTo>
                    <a:lnTo>
                      <a:pt x="17396" y="182173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49" name="Forma Livre: Forma 148">
                <a:extLst>
                  <a:ext uri="{FF2B5EF4-FFF2-40B4-BE49-F238E27FC236}">
                    <a16:creationId xmlns:a16="http://schemas.microsoft.com/office/drawing/2014/main" id="{D38A4BD0-636F-498C-BC15-7828ED98CDFA}"/>
                  </a:ext>
                </a:extLst>
              </p:cNvPr>
              <p:cNvSpPr/>
              <p:nvPr/>
            </p:nvSpPr>
            <p:spPr>
              <a:xfrm>
                <a:off x="4462026" y="3705214"/>
                <a:ext cx="200882" cy="331521"/>
              </a:xfrm>
              <a:custGeom>
                <a:avLst/>
                <a:gdLst>
                  <a:gd name="connsiteX0" fmla="*/ 17725 w 200882"/>
                  <a:gd name="connsiteY0" fmla="*/ 331521 h 331521"/>
                  <a:gd name="connsiteX1" fmla="*/ 0 w 200882"/>
                  <a:gd name="connsiteY1" fmla="*/ 313796 h 331521"/>
                  <a:gd name="connsiteX2" fmla="*/ 0 w 200882"/>
                  <a:gd name="connsiteY2" fmla="*/ 91907 h 331521"/>
                  <a:gd name="connsiteX3" fmla="*/ 91907 w 200882"/>
                  <a:gd name="connsiteY3" fmla="*/ 0 h 331521"/>
                  <a:gd name="connsiteX4" fmla="*/ 183157 w 200882"/>
                  <a:gd name="connsiteY4" fmla="*/ 0 h 331521"/>
                  <a:gd name="connsiteX5" fmla="*/ 200882 w 200882"/>
                  <a:gd name="connsiteY5" fmla="*/ 17725 h 331521"/>
                  <a:gd name="connsiteX6" fmla="*/ 183157 w 200882"/>
                  <a:gd name="connsiteY6" fmla="*/ 35450 h 331521"/>
                  <a:gd name="connsiteX7" fmla="*/ 91907 w 200882"/>
                  <a:gd name="connsiteY7" fmla="*/ 35450 h 331521"/>
                  <a:gd name="connsiteX8" fmla="*/ 35450 w 200882"/>
                  <a:gd name="connsiteY8" fmla="*/ 91907 h 331521"/>
                  <a:gd name="connsiteX9" fmla="*/ 35450 w 200882"/>
                  <a:gd name="connsiteY9" fmla="*/ 313796 h 331521"/>
                  <a:gd name="connsiteX10" fmla="*/ 17725 w 200882"/>
                  <a:gd name="connsiteY10" fmla="*/ 331521 h 331521"/>
                  <a:gd name="connsiteX11" fmla="*/ 17725 w 200882"/>
                  <a:gd name="connsiteY11" fmla="*/ 331521 h 3315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0882" h="331521">
                    <a:moveTo>
                      <a:pt x="17725" y="331521"/>
                    </a:moveTo>
                    <a:cubicBezTo>
                      <a:pt x="7878" y="331521"/>
                      <a:pt x="0" y="323644"/>
                      <a:pt x="0" y="313796"/>
                    </a:cubicBezTo>
                    <a:lnTo>
                      <a:pt x="0" y="91907"/>
                    </a:lnTo>
                    <a:cubicBezTo>
                      <a:pt x="0" y="41358"/>
                      <a:pt x="41358" y="0"/>
                      <a:pt x="91907" y="0"/>
                    </a:cubicBezTo>
                    <a:lnTo>
                      <a:pt x="183157" y="0"/>
                    </a:lnTo>
                    <a:cubicBezTo>
                      <a:pt x="193005" y="0"/>
                      <a:pt x="200882" y="7878"/>
                      <a:pt x="200882" y="17725"/>
                    </a:cubicBezTo>
                    <a:cubicBezTo>
                      <a:pt x="200882" y="27572"/>
                      <a:pt x="193005" y="35450"/>
                      <a:pt x="183157" y="35450"/>
                    </a:cubicBezTo>
                    <a:lnTo>
                      <a:pt x="91907" y="35450"/>
                    </a:lnTo>
                    <a:cubicBezTo>
                      <a:pt x="60396" y="35450"/>
                      <a:pt x="35450" y="61053"/>
                      <a:pt x="35450" y="91907"/>
                    </a:cubicBezTo>
                    <a:lnTo>
                      <a:pt x="35450" y="313796"/>
                    </a:lnTo>
                    <a:cubicBezTo>
                      <a:pt x="35450" y="323644"/>
                      <a:pt x="27572" y="331521"/>
                      <a:pt x="17725" y="331521"/>
                    </a:cubicBezTo>
                    <a:lnTo>
                      <a:pt x="17725" y="331521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150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1064097" y="512763"/>
              <a:ext cx="4698411" cy="3521347"/>
              <a:chOff x="1064097" y="512763"/>
              <a:chExt cx="4698411" cy="3521347"/>
            </a:xfrm>
            <a:grpFill/>
          </p:grpSpPr>
          <p:sp>
            <p:nvSpPr>
              <p:cNvPr id="151" name="Forma Livre: Forma 150">
                <a:extLst>
                  <a:ext uri="{FF2B5EF4-FFF2-40B4-BE49-F238E27FC236}">
                    <a16:creationId xmlns:a16="http://schemas.microsoft.com/office/drawing/2014/main" id="{D36A58EB-A075-4907-A158-31CE629D9247}"/>
                  </a:ext>
                </a:extLst>
              </p:cNvPr>
              <p:cNvSpPr/>
              <p:nvPr/>
            </p:nvSpPr>
            <p:spPr>
              <a:xfrm>
                <a:off x="5559328" y="3636613"/>
                <a:ext cx="102410" cy="170355"/>
              </a:xfrm>
              <a:custGeom>
                <a:avLst/>
                <a:gdLst>
                  <a:gd name="connsiteX0" fmla="*/ 85014 w 102410"/>
                  <a:gd name="connsiteY0" fmla="*/ 170356 h 170355"/>
                  <a:gd name="connsiteX1" fmla="*/ 72541 w 102410"/>
                  <a:gd name="connsiteY1" fmla="*/ 165104 h 170355"/>
                  <a:gd name="connsiteX2" fmla="*/ 4924 w 102410"/>
                  <a:gd name="connsiteY2" fmla="*/ 97487 h 170355"/>
                  <a:gd name="connsiteX3" fmla="*/ 4924 w 102410"/>
                  <a:gd name="connsiteY3" fmla="*/ 72541 h 170355"/>
                  <a:gd name="connsiteX4" fmla="*/ 72541 w 102410"/>
                  <a:gd name="connsiteY4" fmla="*/ 4924 h 170355"/>
                  <a:gd name="connsiteX5" fmla="*/ 97487 w 102410"/>
                  <a:gd name="connsiteY5" fmla="*/ 4924 h 170355"/>
                  <a:gd name="connsiteX6" fmla="*/ 97487 w 102410"/>
                  <a:gd name="connsiteY6" fmla="*/ 29870 h 170355"/>
                  <a:gd name="connsiteX7" fmla="*/ 42343 w 102410"/>
                  <a:gd name="connsiteY7" fmla="*/ 85014 h 170355"/>
                  <a:gd name="connsiteX8" fmla="*/ 97487 w 102410"/>
                  <a:gd name="connsiteY8" fmla="*/ 140158 h 170355"/>
                  <a:gd name="connsiteX9" fmla="*/ 97487 w 102410"/>
                  <a:gd name="connsiteY9" fmla="*/ 165104 h 170355"/>
                  <a:gd name="connsiteX10" fmla="*/ 85014 w 102410"/>
                  <a:gd name="connsiteY10" fmla="*/ 170356 h 170355"/>
                  <a:gd name="connsiteX11" fmla="*/ 85014 w 102410"/>
                  <a:gd name="connsiteY11" fmla="*/ 170356 h 170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2410" h="170355">
                    <a:moveTo>
                      <a:pt x="85014" y="170356"/>
                    </a:moveTo>
                    <a:cubicBezTo>
                      <a:pt x="80419" y="170356"/>
                      <a:pt x="75823" y="168387"/>
                      <a:pt x="72541" y="165104"/>
                    </a:cubicBezTo>
                    <a:lnTo>
                      <a:pt x="4924" y="97487"/>
                    </a:lnTo>
                    <a:cubicBezTo>
                      <a:pt x="-1641" y="90922"/>
                      <a:pt x="-1641" y="79762"/>
                      <a:pt x="4924" y="72541"/>
                    </a:cubicBezTo>
                    <a:lnTo>
                      <a:pt x="72541" y="4924"/>
                    </a:lnTo>
                    <a:cubicBezTo>
                      <a:pt x="79106" y="-1641"/>
                      <a:pt x="90266" y="-1641"/>
                      <a:pt x="97487" y="4924"/>
                    </a:cubicBezTo>
                    <a:cubicBezTo>
                      <a:pt x="104052" y="11488"/>
                      <a:pt x="104052" y="22648"/>
                      <a:pt x="97487" y="29870"/>
                    </a:cubicBezTo>
                    <a:lnTo>
                      <a:pt x="42343" y="85014"/>
                    </a:lnTo>
                    <a:lnTo>
                      <a:pt x="97487" y="140158"/>
                    </a:lnTo>
                    <a:cubicBezTo>
                      <a:pt x="104052" y="146723"/>
                      <a:pt x="104052" y="157883"/>
                      <a:pt x="97487" y="165104"/>
                    </a:cubicBezTo>
                    <a:cubicBezTo>
                      <a:pt x="94204" y="168387"/>
                      <a:pt x="89609" y="170356"/>
                      <a:pt x="85014" y="170356"/>
                    </a:cubicBezTo>
                    <a:lnTo>
                      <a:pt x="85014" y="170356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52" name="Forma Livre: Forma 151">
                <a:extLst>
                  <a:ext uri="{FF2B5EF4-FFF2-40B4-BE49-F238E27FC236}">
                    <a16:creationId xmlns:a16="http://schemas.microsoft.com/office/drawing/2014/main" id="{B7933513-FF3B-4BCC-9E30-3EA70FDF0CDD}"/>
                  </a:ext>
                </a:extLst>
              </p:cNvPr>
              <p:cNvSpPr/>
              <p:nvPr/>
            </p:nvSpPr>
            <p:spPr>
              <a:xfrm>
                <a:off x="5434598" y="3636613"/>
                <a:ext cx="102410" cy="170355"/>
              </a:xfrm>
              <a:custGeom>
                <a:avLst/>
                <a:gdLst>
                  <a:gd name="connsiteX0" fmla="*/ 17397 w 102410"/>
                  <a:gd name="connsiteY0" fmla="*/ 170356 h 170355"/>
                  <a:gd name="connsiteX1" fmla="*/ 4924 w 102410"/>
                  <a:gd name="connsiteY1" fmla="*/ 165104 h 170355"/>
                  <a:gd name="connsiteX2" fmla="*/ 4924 w 102410"/>
                  <a:gd name="connsiteY2" fmla="*/ 140158 h 170355"/>
                  <a:gd name="connsiteX3" fmla="*/ 60068 w 102410"/>
                  <a:gd name="connsiteY3" fmla="*/ 85014 h 170355"/>
                  <a:gd name="connsiteX4" fmla="*/ 4924 w 102410"/>
                  <a:gd name="connsiteY4" fmla="*/ 29870 h 170355"/>
                  <a:gd name="connsiteX5" fmla="*/ 4924 w 102410"/>
                  <a:gd name="connsiteY5" fmla="*/ 4924 h 170355"/>
                  <a:gd name="connsiteX6" fmla="*/ 29870 w 102410"/>
                  <a:gd name="connsiteY6" fmla="*/ 4924 h 170355"/>
                  <a:gd name="connsiteX7" fmla="*/ 97487 w 102410"/>
                  <a:gd name="connsiteY7" fmla="*/ 72541 h 170355"/>
                  <a:gd name="connsiteX8" fmla="*/ 97487 w 102410"/>
                  <a:gd name="connsiteY8" fmla="*/ 97487 h 170355"/>
                  <a:gd name="connsiteX9" fmla="*/ 29213 w 102410"/>
                  <a:gd name="connsiteY9" fmla="*/ 165104 h 170355"/>
                  <a:gd name="connsiteX10" fmla="*/ 17397 w 102410"/>
                  <a:gd name="connsiteY10" fmla="*/ 170356 h 170355"/>
                  <a:gd name="connsiteX11" fmla="*/ 17397 w 102410"/>
                  <a:gd name="connsiteY11" fmla="*/ 170356 h 170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2410" h="170355">
                    <a:moveTo>
                      <a:pt x="17397" y="170356"/>
                    </a:moveTo>
                    <a:cubicBezTo>
                      <a:pt x="12801" y="170356"/>
                      <a:pt x="8206" y="168387"/>
                      <a:pt x="4924" y="165104"/>
                    </a:cubicBezTo>
                    <a:cubicBezTo>
                      <a:pt x="-1641" y="158539"/>
                      <a:pt x="-1641" y="147379"/>
                      <a:pt x="4924" y="140158"/>
                    </a:cubicBezTo>
                    <a:lnTo>
                      <a:pt x="60068" y="85014"/>
                    </a:lnTo>
                    <a:lnTo>
                      <a:pt x="4924" y="29870"/>
                    </a:lnTo>
                    <a:cubicBezTo>
                      <a:pt x="-1641" y="23305"/>
                      <a:pt x="-1641" y="12145"/>
                      <a:pt x="4924" y="4924"/>
                    </a:cubicBezTo>
                    <a:cubicBezTo>
                      <a:pt x="11488" y="-1641"/>
                      <a:pt x="22649" y="-1641"/>
                      <a:pt x="29870" y="4924"/>
                    </a:cubicBezTo>
                    <a:lnTo>
                      <a:pt x="97487" y="72541"/>
                    </a:lnTo>
                    <a:cubicBezTo>
                      <a:pt x="104052" y="79106"/>
                      <a:pt x="104052" y="90266"/>
                      <a:pt x="97487" y="97487"/>
                    </a:cubicBezTo>
                    <a:lnTo>
                      <a:pt x="29213" y="165104"/>
                    </a:lnTo>
                    <a:cubicBezTo>
                      <a:pt x="25931" y="168387"/>
                      <a:pt x="21336" y="170356"/>
                      <a:pt x="17397" y="170356"/>
                    </a:cubicBezTo>
                    <a:lnTo>
                      <a:pt x="17397" y="170356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53" name="Forma Livre: Forma 152">
                <a:extLst>
                  <a:ext uri="{FF2B5EF4-FFF2-40B4-BE49-F238E27FC236}">
                    <a16:creationId xmlns:a16="http://schemas.microsoft.com/office/drawing/2014/main" id="{938A0485-5150-473D-8E3C-C9958B2679CF}"/>
                  </a:ext>
                </a:extLst>
              </p:cNvPr>
              <p:cNvSpPr/>
              <p:nvPr/>
            </p:nvSpPr>
            <p:spPr>
              <a:xfrm>
                <a:off x="1064097" y="512763"/>
                <a:ext cx="6564" cy="6564"/>
              </a:xfrm>
              <a:custGeom>
                <a:avLst/>
                <a:gdLst/>
                <a:ahLst/>
                <a:cxnLst/>
                <a:rect l="l" t="t" r="r" b="b"/>
                <a:pathLst>
                  <a:path w="6564" h="6564"/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54" name="Forma Livre: Forma 153">
                <a:extLst>
                  <a:ext uri="{FF2B5EF4-FFF2-40B4-BE49-F238E27FC236}">
                    <a16:creationId xmlns:a16="http://schemas.microsoft.com/office/drawing/2014/main" id="{0DC873D3-6417-417C-A428-DC24E94ABA36}"/>
                  </a:ext>
                </a:extLst>
              </p:cNvPr>
              <p:cNvSpPr/>
              <p:nvPr/>
            </p:nvSpPr>
            <p:spPr>
              <a:xfrm>
                <a:off x="5339080" y="3701932"/>
                <a:ext cx="423428" cy="332178"/>
              </a:xfrm>
              <a:custGeom>
                <a:avLst/>
                <a:gdLst>
                  <a:gd name="connsiteX0" fmla="*/ 357124 w 423428"/>
                  <a:gd name="connsiteY0" fmla="*/ 332178 h 332178"/>
                  <a:gd name="connsiteX1" fmla="*/ 66304 w 423428"/>
                  <a:gd name="connsiteY1" fmla="*/ 332178 h 332178"/>
                  <a:gd name="connsiteX2" fmla="*/ 0 w 423428"/>
                  <a:gd name="connsiteY2" fmla="*/ 265874 h 332178"/>
                  <a:gd name="connsiteX3" fmla="*/ 0 w 423428"/>
                  <a:gd name="connsiteY3" fmla="*/ 66304 h 332178"/>
                  <a:gd name="connsiteX4" fmla="*/ 66304 w 423428"/>
                  <a:gd name="connsiteY4" fmla="*/ 0 h 332178"/>
                  <a:gd name="connsiteX5" fmla="*/ 158211 w 423428"/>
                  <a:gd name="connsiteY5" fmla="*/ 0 h 332178"/>
                  <a:gd name="connsiteX6" fmla="*/ 175936 w 423428"/>
                  <a:gd name="connsiteY6" fmla="*/ 17725 h 332178"/>
                  <a:gd name="connsiteX7" fmla="*/ 158211 w 423428"/>
                  <a:gd name="connsiteY7" fmla="*/ 35450 h 332178"/>
                  <a:gd name="connsiteX8" fmla="*/ 66304 w 423428"/>
                  <a:gd name="connsiteY8" fmla="*/ 35450 h 332178"/>
                  <a:gd name="connsiteX9" fmla="*/ 34793 w 423428"/>
                  <a:gd name="connsiteY9" fmla="*/ 66961 h 332178"/>
                  <a:gd name="connsiteX10" fmla="*/ 34793 w 423428"/>
                  <a:gd name="connsiteY10" fmla="*/ 266530 h 332178"/>
                  <a:gd name="connsiteX11" fmla="*/ 66304 w 423428"/>
                  <a:gd name="connsiteY11" fmla="*/ 298041 h 332178"/>
                  <a:gd name="connsiteX12" fmla="*/ 357124 w 423428"/>
                  <a:gd name="connsiteY12" fmla="*/ 298041 h 332178"/>
                  <a:gd name="connsiteX13" fmla="*/ 388635 w 423428"/>
                  <a:gd name="connsiteY13" fmla="*/ 266530 h 332178"/>
                  <a:gd name="connsiteX14" fmla="*/ 388635 w 423428"/>
                  <a:gd name="connsiteY14" fmla="*/ 66961 h 332178"/>
                  <a:gd name="connsiteX15" fmla="*/ 357124 w 423428"/>
                  <a:gd name="connsiteY15" fmla="*/ 35450 h 332178"/>
                  <a:gd name="connsiteX16" fmla="*/ 265217 w 423428"/>
                  <a:gd name="connsiteY16" fmla="*/ 35450 h 332178"/>
                  <a:gd name="connsiteX17" fmla="*/ 247492 w 423428"/>
                  <a:gd name="connsiteY17" fmla="*/ 17725 h 332178"/>
                  <a:gd name="connsiteX18" fmla="*/ 265217 w 423428"/>
                  <a:gd name="connsiteY18" fmla="*/ 0 h 332178"/>
                  <a:gd name="connsiteX19" fmla="*/ 357124 w 423428"/>
                  <a:gd name="connsiteY19" fmla="*/ 0 h 332178"/>
                  <a:gd name="connsiteX20" fmla="*/ 423428 w 423428"/>
                  <a:gd name="connsiteY20" fmla="*/ 66304 h 332178"/>
                  <a:gd name="connsiteX21" fmla="*/ 423428 w 423428"/>
                  <a:gd name="connsiteY21" fmla="*/ 265874 h 332178"/>
                  <a:gd name="connsiteX22" fmla="*/ 357124 w 423428"/>
                  <a:gd name="connsiteY22" fmla="*/ 332178 h 332178"/>
                  <a:gd name="connsiteX23" fmla="*/ 357124 w 423428"/>
                  <a:gd name="connsiteY23" fmla="*/ 332178 h 332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423428" h="332178">
                    <a:moveTo>
                      <a:pt x="357124" y="332178"/>
                    </a:moveTo>
                    <a:lnTo>
                      <a:pt x="66304" y="332178"/>
                    </a:lnTo>
                    <a:cubicBezTo>
                      <a:pt x="29542" y="332178"/>
                      <a:pt x="0" y="302637"/>
                      <a:pt x="0" y="265874"/>
                    </a:cubicBezTo>
                    <a:lnTo>
                      <a:pt x="0" y="66304"/>
                    </a:lnTo>
                    <a:cubicBezTo>
                      <a:pt x="0" y="29542"/>
                      <a:pt x="29542" y="0"/>
                      <a:pt x="66304" y="0"/>
                    </a:cubicBezTo>
                    <a:lnTo>
                      <a:pt x="158211" y="0"/>
                    </a:lnTo>
                    <a:cubicBezTo>
                      <a:pt x="168058" y="0"/>
                      <a:pt x="175936" y="7878"/>
                      <a:pt x="175936" y="17725"/>
                    </a:cubicBezTo>
                    <a:cubicBezTo>
                      <a:pt x="175936" y="27572"/>
                      <a:pt x="168058" y="35450"/>
                      <a:pt x="158211" y="35450"/>
                    </a:cubicBezTo>
                    <a:lnTo>
                      <a:pt x="66304" y="35450"/>
                    </a:lnTo>
                    <a:cubicBezTo>
                      <a:pt x="49236" y="35450"/>
                      <a:pt x="34793" y="49236"/>
                      <a:pt x="34793" y="66961"/>
                    </a:cubicBezTo>
                    <a:lnTo>
                      <a:pt x="34793" y="266530"/>
                    </a:lnTo>
                    <a:cubicBezTo>
                      <a:pt x="34793" y="283599"/>
                      <a:pt x="48579" y="298041"/>
                      <a:pt x="66304" y="298041"/>
                    </a:cubicBezTo>
                    <a:lnTo>
                      <a:pt x="357124" y="298041"/>
                    </a:lnTo>
                    <a:cubicBezTo>
                      <a:pt x="374192" y="298041"/>
                      <a:pt x="388635" y="284255"/>
                      <a:pt x="388635" y="266530"/>
                    </a:cubicBezTo>
                    <a:lnTo>
                      <a:pt x="388635" y="66961"/>
                    </a:lnTo>
                    <a:cubicBezTo>
                      <a:pt x="388635" y="49892"/>
                      <a:pt x="374849" y="35450"/>
                      <a:pt x="357124" y="35450"/>
                    </a:cubicBezTo>
                    <a:lnTo>
                      <a:pt x="265217" y="35450"/>
                    </a:lnTo>
                    <a:cubicBezTo>
                      <a:pt x="255370" y="35450"/>
                      <a:pt x="247492" y="27572"/>
                      <a:pt x="247492" y="17725"/>
                    </a:cubicBezTo>
                    <a:cubicBezTo>
                      <a:pt x="247492" y="7878"/>
                      <a:pt x="255370" y="0"/>
                      <a:pt x="265217" y="0"/>
                    </a:cubicBezTo>
                    <a:lnTo>
                      <a:pt x="357124" y="0"/>
                    </a:lnTo>
                    <a:cubicBezTo>
                      <a:pt x="393887" y="0"/>
                      <a:pt x="423428" y="29542"/>
                      <a:pt x="423428" y="66304"/>
                    </a:cubicBezTo>
                    <a:lnTo>
                      <a:pt x="423428" y="265874"/>
                    </a:lnTo>
                    <a:cubicBezTo>
                      <a:pt x="423428" y="301980"/>
                      <a:pt x="393230" y="332178"/>
                      <a:pt x="357124" y="332178"/>
                    </a:cubicBezTo>
                    <a:lnTo>
                      <a:pt x="357124" y="332178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155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6427192" y="3628078"/>
              <a:ext cx="383382" cy="413909"/>
              <a:chOff x="6427192" y="3628078"/>
              <a:chExt cx="383382" cy="413909"/>
            </a:xfrm>
            <a:grpFill/>
          </p:grpSpPr>
          <p:grpSp>
            <p:nvGrpSpPr>
              <p:cNvPr id="156" name="Gráfico 2">
                <a:extLst>
                  <a:ext uri="{FF2B5EF4-FFF2-40B4-BE49-F238E27FC236}">
                    <a16:creationId xmlns:a16="http://schemas.microsoft.com/office/drawing/2014/main" id="{4A08825F-1C42-4C63-A6FE-BBB3DD9D4FEB}"/>
                  </a:ext>
                </a:extLst>
              </p:cNvPr>
              <p:cNvGrpSpPr/>
              <p:nvPr/>
            </p:nvGrpSpPr>
            <p:grpSpPr>
              <a:xfrm>
                <a:off x="6427192" y="3736397"/>
                <a:ext cx="383382" cy="305590"/>
                <a:chOff x="6427192" y="3736397"/>
                <a:chExt cx="383382" cy="305590"/>
              </a:xfrm>
              <a:grpFill/>
            </p:grpSpPr>
            <p:sp>
              <p:nvSpPr>
                <p:cNvPr id="157" name="Forma Livre: Forma 156">
                  <a:extLst>
                    <a:ext uri="{FF2B5EF4-FFF2-40B4-BE49-F238E27FC236}">
                      <a16:creationId xmlns:a16="http://schemas.microsoft.com/office/drawing/2014/main" id="{81E0C1C9-8F81-4DEA-BF1B-7EC7B6CE0C11}"/>
                    </a:ext>
                  </a:extLst>
                </p:cNvPr>
                <p:cNvSpPr/>
                <p:nvPr/>
              </p:nvSpPr>
              <p:spPr>
                <a:xfrm>
                  <a:off x="6427192" y="3736397"/>
                  <a:ext cx="102410" cy="170356"/>
                </a:xfrm>
                <a:custGeom>
                  <a:avLst/>
                  <a:gdLst>
                    <a:gd name="connsiteX0" fmla="*/ 85014 w 102410"/>
                    <a:gd name="connsiteY0" fmla="*/ 170356 h 170356"/>
                    <a:gd name="connsiteX1" fmla="*/ 72541 w 102410"/>
                    <a:gd name="connsiteY1" fmla="*/ 165104 h 170356"/>
                    <a:gd name="connsiteX2" fmla="*/ 4924 w 102410"/>
                    <a:gd name="connsiteY2" fmla="*/ 97487 h 170356"/>
                    <a:gd name="connsiteX3" fmla="*/ 4924 w 102410"/>
                    <a:gd name="connsiteY3" fmla="*/ 72541 h 170356"/>
                    <a:gd name="connsiteX4" fmla="*/ 72541 w 102410"/>
                    <a:gd name="connsiteY4" fmla="*/ 4924 h 170356"/>
                    <a:gd name="connsiteX5" fmla="*/ 97487 w 102410"/>
                    <a:gd name="connsiteY5" fmla="*/ 4924 h 170356"/>
                    <a:gd name="connsiteX6" fmla="*/ 97487 w 102410"/>
                    <a:gd name="connsiteY6" fmla="*/ 29870 h 170356"/>
                    <a:gd name="connsiteX7" fmla="*/ 42343 w 102410"/>
                    <a:gd name="connsiteY7" fmla="*/ 85014 h 170356"/>
                    <a:gd name="connsiteX8" fmla="*/ 97487 w 102410"/>
                    <a:gd name="connsiteY8" fmla="*/ 140158 h 170356"/>
                    <a:gd name="connsiteX9" fmla="*/ 97487 w 102410"/>
                    <a:gd name="connsiteY9" fmla="*/ 165104 h 170356"/>
                    <a:gd name="connsiteX10" fmla="*/ 85014 w 102410"/>
                    <a:gd name="connsiteY10" fmla="*/ 170356 h 170356"/>
                    <a:gd name="connsiteX11" fmla="*/ 85014 w 102410"/>
                    <a:gd name="connsiteY11" fmla="*/ 170356 h 1703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02410" h="170356">
                      <a:moveTo>
                        <a:pt x="85014" y="170356"/>
                      </a:moveTo>
                      <a:cubicBezTo>
                        <a:pt x="80419" y="170356"/>
                        <a:pt x="75823" y="168387"/>
                        <a:pt x="72541" y="165104"/>
                      </a:cubicBezTo>
                      <a:lnTo>
                        <a:pt x="4924" y="97487"/>
                      </a:lnTo>
                      <a:cubicBezTo>
                        <a:pt x="-1641" y="90922"/>
                        <a:pt x="-1641" y="79762"/>
                        <a:pt x="4924" y="72541"/>
                      </a:cubicBezTo>
                      <a:lnTo>
                        <a:pt x="72541" y="4924"/>
                      </a:lnTo>
                      <a:cubicBezTo>
                        <a:pt x="79106" y="-1641"/>
                        <a:pt x="90266" y="-1641"/>
                        <a:pt x="97487" y="4924"/>
                      </a:cubicBezTo>
                      <a:cubicBezTo>
                        <a:pt x="104052" y="11488"/>
                        <a:pt x="104052" y="22649"/>
                        <a:pt x="97487" y="29870"/>
                      </a:cubicBezTo>
                      <a:lnTo>
                        <a:pt x="42343" y="85014"/>
                      </a:lnTo>
                      <a:lnTo>
                        <a:pt x="97487" y="140158"/>
                      </a:lnTo>
                      <a:cubicBezTo>
                        <a:pt x="104052" y="146723"/>
                        <a:pt x="104052" y="157883"/>
                        <a:pt x="97487" y="165104"/>
                      </a:cubicBezTo>
                      <a:cubicBezTo>
                        <a:pt x="94204" y="168387"/>
                        <a:pt x="89609" y="170356"/>
                        <a:pt x="85014" y="170356"/>
                      </a:cubicBezTo>
                      <a:lnTo>
                        <a:pt x="85014" y="170356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158" name="Forma Livre: Forma 157">
                  <a:extLst>
                    <a:ext uri="{FF2B5EF4-FFF2-40B4-BE49-F238E27FC236}">
                      <a16:creationId xmlns:a16="http://schemas.microsoft.com/office/drawing/2014/main" id="{6481AA5B-22D5-4EE2-B228-BA54EDFCCF19}"/>
                    </a:ext>
                  </a:extLst>
                </p:cNvPr>
                <p:cNvSpPr/>
                <p:nvPr/>
              </p:nvSpPr>
              <p:spPr>
                <a:xfrm>
                  <a:off x="6448528" y="3801717"/>
                  <a:ext cx="187096" cy="240270"/>
                </a:xfrm>
                <a:custGeom>
                  <a:avLst/>
                  <a:gdLst>
                    <a:gd name="connsiteX0" fmla="*/ 170028 w 187096"/>
                    <a:gd name="connsiteY0" fmla="*/ 240271 h 240270"/>
                    <a:gd name="connsiteX1" fmla="*/ 152303 w 187096"/>
                    <a:gd name="connsiteY1" fmla="*/ 222546 h 240270"/>
                    <a:gd name="connsiteX2" fmla="*/ 152303 w 187096"/>
                    <a:gd name="connsiteY2" fmla="*/ 85998 h 240270"/>
                    <a:gd name="connsiteX3" fmla="*/ 101754 w 187096"/>
                    <a:gd name="connsiteY3" fmla="*/ 35450 h 240270"/>
                    <a:gd name="connsiteX4" fmla="*/ 17725 w 187096"/>
                    <a:gd name="connsiteY4" fmla="*/ 35450 h 240270"/>
                    <a:gd name="connsiteX5" fmla="*/ 0 w 187096"/>
                    <a:gd name="connsiteY5" fmla="*/ 17725 h 240270"/>
                    <a:gd name="connsiteX6" fmla="*/ 17725 w 187096"/>
                    <a:gd name="connsiteY6" fmla="*/ 0 h 240270"/>
                    <a:gd name="connsiteX7" fmla="*/ 101754 w 187096"/>
                    <a:gd name="connsiteY7" fmla="*/ 0 h 240270"/>
                    <a:gd name="connsiteX8" fmla="*/ 187096 w 187096"/>
                    <a:gd name="connsiteY8" fmla="*/ 85998 h 240270"/>
                    <a:gd name="connsiteX9" fmla="*/ 187096 w 187096"/>
                    <a:gd name="connsiteY9" fmla="*/ 223202 h 240270"/>
                    <a:gd name="connsiteX10" fmla="*/ 170028 w 187096"/>
                    <a:gd name="connsiteY10" fmla="*/ 240271 h 240270"/>
                    <a:gd name="connsiteX11" fmla="*/ 170028 w 187096"/>
                    <a:gd name="connsiteY11" fmla="*/ 240271 h 2402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87096" h="240270">
                      <a:moveTo>
                        <a:pt x="170028" y="240271"/>
                      </a:moveTo>
                      <a:cubicBezTo>
                        <a:pt x="160180" y="240271"/>
                        <a:pt x="152303" y="232393"/>
                        <a:pt x="152303" y="222546"/>
                      </a:cubicBezTo>
                      <a:lnTo>
                        <a:pt x="152303" y="85998"/>
                      </a:lnTo>
                      <a:cubicBezTo>
                        <a:pt x="152303" y="57770"/>
                        <a:pt x="129326" y="35450"/>
                        <a:pt x="101754" y="35450"/>
                      </a:cubicBezTo>
                      <a:lnTo>
                        <a:pt x="17725" y="35450"/>
                      </a:lnTo>
                      <a:cubicBezTo>
                        <a:pt x="7878" y="35450"/>
                        <a:pt x="0" y="27572"/>
                        <a:pt x="0" y="17725"/>
                      </a:cubicBezTo>
                      <a:cubicBezTo>
                        <a:pt x="0" y="7878"/>
                        <a:pt x="7878" y="0"/>
                        <a:pt x="17725" y="0"/>
                      </a:cubicBezTo>
                      <a:lnTo>
                        <a:pt x="101754" y="0"/>
                      </a:lnTo>
                      <a:cubicBezTo>
                        <a:pt x="149021" y="0"/>
                        <a:pt x="187096" y="38732"/>
                        <a:pt x="187096" y="85998"/>
                      </a:cubicBezTo>
                      <a:lnTo>
                        <a:pt x="187096" y="223202"/>
                      </a:lnTo>
                      <a:cubicBezTo>
                        <a:pt x="187096" y="232393"/>
                        <a:pt x="179218" y="240271"/>
                        <a:pt x="170028" y="240271"/>
                      </a:cubicBezTo>
                      <a:lnTo>
                        <a:pt x="170028" y="240271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159" name="Forma Livre: Forma 158">
                  <a:extLst>
                    <a:ext uri="{FF2B5EF4-FFF2-40B4-BE49-F238E27FC236}">
                      <a16:creationId xmlns:a16="http://schemas.microsoft.com/office/drawing/2014/main" id="{EB9E855C-E861-42DC-9AB3-6C5E30DCF461}"/>
                    </a:ext>
                  </a:extLst>
                </p:cNvPr>
                <p:cNvSpPr/>
                <p:nvPr/>
              </p:nvSpPr>
              <p:spPr>
                <a:xfrm>
                  <a:off x="6708165" y="3736397"/>
                  <a:ext cx="102410" cy="170356"/>
                </a:xfrm>
                <a:custGeom>
                  <a:avLst/>
                  <a:gdLst>
                    <a:gd name="connsiteX0" fmla="*/ 17397 w 102410"/>
                    <a:gd name="connsiteY0" fmla="*/ 170356 h 170356"/>
                    <a:gd name="connsiteX1" fmla="*/ 4924 w 102410"/>
                    <a:gd name="connsiteY1" fmla="*/ 165104 h 170356"/>
                    <a:gd name="connsiteX2" fmla="*/ 4924 w 102410"/>
                    <a:gd name="connsiteY2" fmla="*/ 140158 h 170356"/>
                    <a:gd name="connsiteX3" fmla="*/ 60068 w 102410"/>
                    <a:gd name="connsiteY3" fmla="*/ 85014 h 170356"/>
                    <a:gd name="connsiteX4" fmla="*/ 4924 w 102410"/>
                    <a:gd name="connsiteY4" fmla="*/ 29870 h 170356"/>
                    <a:gd name="connsiteX5" fmla="*/ 4924 w 102410"/>
                    <a:gd name="connsiteY5" fmla="*/ 4924 h 170356"/>
                    <a:gd name="connsiteX6" fmla="*/ 29870 w 102410"/>
                    <a:gd name="connsiteY6" fmla="*/ 4924 h 170356"/>
                    <a:gd name="connsiteX7" fmla="*/ 97487 w 102410"/>
                    <a:gd name="connsiteY7" fmla="*/ 72541 h 170356"/>
                    <a:gd name="connsiteX8" fmla="*/ 97487 w 102410"/>
                    <a:gd name="connsiteY8" fmla="*/ 97487 h 170356"/>
                    <a:gd name="connsiteX9" fmla="*/ 29870 w 102410"/>
                    <a:gd name="connsiteY9" fmla="*/ 165104 h 170356"/>
                    <a:gd name="connsiteX10" fmla="*/ 17397 w 102410"/>
                    <a:gd name="connsiteY10" fmla="*/ 170356 h 170356"/>
                    <a:gd name="connsiteX11" fmla="*/ 17397 w 102410"/>
                    <a:gd name="connsiteY11" fmla="*/ 170356 h 1703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02410" h="170356">
                      <a:moveTo>
                        <a:pt x="17397" y="170356"/>
                      </a:moveTo>
                      <a:cubicBezTo>
                        <a:pt x="12801" y="170356"/>
                        <a:pt x="8206" y="168387"/>
                        <a:pt x="4924" y="165104"/>
                      </a:cubicBezTo>
                      <a:cubicBezTo>
                        <a:pt x="-1641" y="158540"/>
                        <a:pt x="-1641" y="147379"/>
                        <a:pt x="4924" y="140158"/>
                      </a:cubicBezTo>
                      <a:lnTo>
                        <a:pt x="60068" y="85014"/>
                      </a:lnTo>
                      <a:lnTo>
                        <a:pt x="4924" y="29870"/>
                      </a:lnTo>
                      <a:cubicBezTo>
                        <a:pt x="-1641" y="23305"/>
                        <a:pt x="-1641" y="12145"/>
                        <a:pt x="4924" y="4924"/>
                      </a:cubicBezTo>
                      <a:cubicBezTo>
                        <a:pt x="11488" y="-1641"/>
                        <a:pt x="22649" y="-1641"/>
                        <a:pt x="29870" y="4924"/>
                      </a:cubicBezTo>
                      <a:lnTo>
                        <a:pt x="97487" y="72541"/>
                      </a:lnTo>
                      <a:cubicBezTo>
                        <a:pt x="104052" y="79106"/>
                        <a:pt x="104052" y="90266"/>
                        <a:pt x="97487" y="97487"/>
                      </a:cubicBezTo>
                      <a:lnTo>
                        <a:pt x="29870" y="165104"/>
                      </a:lnTo>
                      <a:cubicBezTo>
                        <a:pt x="25931" y="168387"/>
                        <a:pt x="21992" y="170356"/>
                        <a:pt x="17397" y="170356"/>
                      </a:cubicBezTo>
                      <a:lnTo>
                        <a:pt x="17397" y="170356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160" name="Forma Livre: Forma 159">
                  <a:extLst>
                    <a:ext uri="{FF2B5EF4-FFF2-40B4-BE49-F238E27FC236}">
                      <a16:creationId xmlns:a16="http://schemas.microsoft.com/office/drawing/2014/main" id="{DE469C9F-1C4E-4C51-A55F-7B37CA75EBDF}"/>
                    </a:ext>
                  </a:extLst>
                </p:cNvPr>
                <p:cNvSpPr/>
                <p:nvPr/>
              </p:nvSpPr>
              <p:spPr>
                <a:xfrm>
                  <a:off x="6602143" y="3801717"/>
                  <a:ext cx="187096" cy="240270"/>
                </a:xfrm>
                <a:custGeom>
                  <a:avLst/>
                  <a:gdLst>
                    <a:gd name="connsiteX0" fmla="*/ 17725 w 187096"/>
                    <a:gd name="connsiteY0" fmla="*/ 240271 h 240270"/>
                    <a:gd name="connsiteX1" fmla="*/ 0 w 187096"/>
                    <a:gd name="connsiteY1" fmla="*/ 222546 h 240270"/>
                    <a:gd name="connsiteX2" fmla="*/ 0 w 187096"/>
                    <a:gd name="connsiteY2" fmla="*/ 85998 h 240270"/>
                    <a:gd name="connsiteX3" fmla="*/ 85342 w 187096"/>
                    <a:gd name="connsiteY3" fmla="*/ 0 h 240270"/>
                    <a:gd name="connsiteX4" fmla="*/ 169372 w 187096"/>
                    <a:gd name="connsiteY4" fmla="*/ 0 h 240270"/>
                    <a:gd name="connsiteX5" fmla="*/ 187096 w 187096"/>
                    <a:gd name="connsiteY5" fmla="*/ 17725 h 240270"/>
                    <a:gd name="connsiteX6" fmla="*/ 169372 w 187096"/>
                    <a:gd name="connsiteY6" fmla="*/ 35450 h 240270"/>
                    <a:gd name="connsiteX7" fmla="*/ 85342 w 187096"/>
                    <a:gd name="connsiteY7" fmla="*/ 35450 h 240270"/>
                    <a:gd name="connsiteX8" fmla="*/ 34794 w 187096"/>
                    <a:gd name="connsiteY8" fmla="*/ 85998 h 240270"/>
                    <a:gd name="connsiteX9" fmla="*/ 34794 w 187096"/>
                    <a:gd name="connsiteY9" fmla="*/ 223202 h 240270"/>
                    <a:gd name="connsiteX10" fmla="*/ 17725 w 187096"/>
                    <a:gd name="connsiteY10" fmla="*/ 240271 h 240270"/>
                    <a:gd name="connsiteX11" fmla="*/ 17725 w 187096"/>
                    <a:gd name="connsiteY11" fmla="*/ 240271 h 2402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87096" h="240270">
                      <a:moveTo>
                        <a:pt x="17725" y="240271"/>
                      </a:moveTo>
                      <a:cubicBezTo>
                        <a:pt x="7878" y="240271"/>
                        <a:pt x="0" y="232393"/>
                        <a:pt x="0" y="222546"/>
                      </a:cubicBezTo>
                      <a:lnTo>
                        <a:pt x="0" y="85998"/>
                      </a:lnTo>
                      <a:cubicBezTo>
                        <a:pt x="0" y="38732"/>
                        <a:pt x="38732" y="0"/>
                        <a:pt x="85342" y="0"/>
                      </a:cubicBezTo>
                      <a:lnTo>
                        <a:pt x="169372" y="0"/>
                      </a:lnTo>
                      <a:cubicBezTo>
                        <a:pt x="179219" y="0"/>
                        <a:pt x="187096" y="7878"/>
                        <a:pt x="187096" y="17725"/>
                      </a:cubicBezTo>
                      <a:cubicBezTo>
                        <a:pt x="187096" y="27572"/>
                        <a:pt x="179219" y="35450"/>
                        <a:pt x="169372" y="35450"/>
                      </a:cubicBezTo>
                      <a:lnTo>
                        <a:pt x="85342" y="35450"/>
                      </a:lnTo>
                      <a:cubicBezTo>
                        <a:pt x="57114" y="35450"/>
                        <a:pt x="34794" y="58426"/>
                        <a:pt x="34794" y="85998"/>
                      </a:cubicBezTo>
                      <a:lnTo>
                        <a:pt x="34794" y="223202"/>
                      </a:lnTo>
                      <a:cubicBezTo>
                        <a:pt x="34794" y="232393"/>
                        <a:pt x="26916" y="240271"/>
                        <a:pt x="17725" y="240271"/>
                      </a:cubicBezTo>
                      <a:lnTo>
                        <a:pt x="17725" y="240271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grpSp>
            <p:nvGrpSpPr>
              <p:cNvPr id="161" name="Gráfico 2">
                <a:extLst>
                  <a:ext uri="{FF2B5EF4-FFF2-40B4-BE49-F238E27FC236}">
                    <a16:creationId xmlns:a16="http://schemas.microsoft.com/office/drawing/2014/main" id="{4A08825F-1C42-4C63-A6FE-BBB3DD9D4FEB}"/>
                  </a:ext>
                </a:extLst>
              </p:cNvPr>
              <p:cNvGrpSpPr/>
              <p:nvPr/>
            </p:nvGrpSpPr>
            <p:grpSpPr>
              <a:xfrm>
                <a:off x="6534198" y="3628078"/>
                <a:ext cx="170027" cy="313468"/>
                <a:chOff x="6534198" y="3628078"/>
                <a:chExt cx="170027" cy="313468"/>
              </a:xfrm>
              <a:grpFill/>
            </p:grpSpPr>
            <p:sp>
              <p:nvSpPr>
                <p:cNvPr id="162" name="Forma Livre: Forma 161">
                  <a:extLst>
                    <a:ext uri="{FF2B5EF4-FFF2-40B4-BE49-F238E27FC236}">
                      <a16:creationId xmlns:a16="http://schemas.microsoft.com/office/drawing/2014/main" id="{FC316710-5277-47A0-B8DF-5EFB8329A2FB}"/>
                    </a:ext>
                  </a:extLst>
                </p:cNvPr>
                <p:cNvSpPr/>
                <p:nvPr/>
              </p:nvSpPr>
              <p:spPr>
                <a:xfrm>
                  <a:off x="6534198" y="3628078"/>
                  <a:ext cx="170027" cy="102738"/>
                </a:xfrm>
                <a:custGeom>
                  <a:avLst/>
                  <a:gdLst>
                    <a:gd name="connsiteX0" fmla="*/ 152631 w 170027"/>
                    <a:gd name="connsiteY0" fmla="*/ 102739 h 102738"/>
                    <a:gd name="connsiteX1" fmla="*/ 140158 w 170027"/>
                    <a:gd name="connsiteY1" fmla="*/ 97487 h 102738"/>
                    <a:gd name="connsiteX2" fmla="*/ 85014 w 170027"/>
                    <a:gd name="connsiteY2" fmla="*/ 42343 h 102738"/>
                    <a:gd name="connsiteX3" fmla="*/ 29870 w 170027"/>
                    <a:gd name="connsiteY3" fmla="*/ 97487 h 102738"/>
                    <a:gd name="connsiteX4" fmla="*/ 4924 w 170027"/>
                    <a:gd name="connsiteY4" fmla="*/ 97487 h 102738"/>
                    <a:gd name="connsiteX5" fmla="*/ 4924 w 170027"/>
                    <a:gd name="connsiteY5" fmla="*/ 72541 h 102738"/>
                    <a:gd name="connsiteX6" fmla="*/ 72541 w 170027"/>
                    <a:gd name="connsiteY6" fmla="*/ 4924 h 102738"/>
                    <a:gd name="connsiteX7" fmla="*/ 97487 w 170027"/>
                    <a:gd name="connsiteY7" fmla="*/ 4924 h 102738"/>
                    <a:gd name="connsiteX8" fmla="*/ 165104 w 170027"/>
                    <a:gd name="connsiteY8" fmla="*/ 72541 h 102738"/>
                    <a:gd name="connsiteX9" fmla="*/ 165104 w 170027"/>
                    <a:gd name="connsiteY9" fmla="*/ 97487 h 102738"/>
                    <a:gd name="connsiteX10" fmla="*/ 152631 w 170027"/>
                    <a:gd name="connsiteY10" fmla="*/ 102739 h 102738"/>
                    <a:gd name="connsiteX11" fmla="*/ 152631 w 170027"/>
                    <a:gd name="connsiteY11" fmla="*/ 102739 h 1027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70027" h="102738">
                      <a:moveTo>
                        <a:pt x="152631" y="102739"/>
                      </a:moveTo>
                      <a:cubicBezTo>
                        <a:pt x="148036" y="102739"/>
                        <a:pt x="143440" y="100769"/>
                        <a:pt x="140158" y="97487"/>
                      </a:cubicBezTo>
                      <a:lnTo>
                        <a:pt x="85014" y="42343"/>
                      </a:lnTo>
                      <a:lnTo>
                        <a:pt x="29870" y="97487"/>
                      </a:lnTo>
                      <a:cubicBezTo>
                        <a:pt x="23305" y="104052"/>
                        <a:pt x="12145" y="104052"/>
                        <a:pt x="4924" y="97487"/>
                      </a:cubicBezTo>
                      <a:cubicBezTo>
                        <a:pt x="-1641" y="90922"/>
                        <a:pt x="-1641" y="79762"/>
                        <a:pt x="4924" y="72541"/>
                      </a:cubicBezTo>
                      <a:lnTo>
                        <a:pt x="72541" y="4924"/>
                      </a:lnTo>
                      <a:cubicBezTo>
                        <a:pt x="79106" y="-1641"/>
                        <a:pt x="90266" y="-1641"/>
                        <a:pt x="97487" y="4924"/>
                      </a:cubicBezTo>
                      <a:lnTo>
                        <a:pt x="165104" y="72541"/>
                      </a:lnTo>
                      <a:cubicBezTo>
                        <a:pt x="171669" y="79106"/>
                        <a:pt x="171669" y="90266"/>
                        <a:pt x="165104" y="97487"/>
                      </a:cubicBezTo>
                      <a:cubicBezTo>
                        <a:pt x="161165" y="101426"/>
                        <a:pt x="156570" y="102739"/>
                        <a:pt x="152631" y="102739"/>
                      </a:cubicBezTo>
                      <a:lnTo>
                        <a:pt x="152631" y="102739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163" name="Forma Livre: Forma 162">
                  <a:extLst>
                    <a:ext uri="{FF2B5EF4-FFF2-40B4-BE49-F238E27FC236}">
                      <a16:creationId xmlns:a16="http://schemas.microsoft.com/office/drawing/2014/main" id="{7C460389-8F14-4403-80D0-AC0E8F3B39BD}"/>
                    </a:ext>
                  </a:extLst>
                </p:cNvPr>
                <p:cNvSpPr/>
                <p:nvPr/>
              </p:nvSpPr>
              <p:spPr>
                <a:xfrm>
                  <a:off x="6601487" y="3646131"/>
                  <a:ext cx="35449" cy="295415"/>
                </a:xfrm>
                <a:custGeom>
                  <a:avLst/>
                  <a:gdLst>
                    <a:gd name="connsiteX0" fmla="*/ 17725 w 35449"/>
                    <a:gd name="connsiteY0" fmla="*/ 295415 h 295415"/>
                    <a:gd name="connsiteX1" fmla="*/ 0 w 35449"/>
                    <a:gd name="connsiteY1" fmla="*/ 277690 h 295415"/>
                    <a:gd name="connsiteX2" fmla="*/ 0 w 35449"/>
                    <a:gd name="connsiteY2" fmla="*/ 17725 h 295415"/>
                    <a:gd name="connsiteX3" fmla="*/ 17725 w 35449"/>
                    <a:gd name="connsiteY3" fmla="*/ 0 h 295415"/>
                    <a:gd name="connsiteX4" fmla="*/ 35450 w 35449"/>
                    <a:gd name="connsiteY4" fmla="*/ 17725 h 295415"/>
                    <a:gd name="connsiteX5" fmla="*/ 35450 w 35449"/>
                    <a:gd name="connsiteY5" fmla="*/ 277690 h 295415"/>
                    <a:gd name="connsiteX6" fmla="*/ 17725 w 35449"/>
                    <a:gd name="connsiteY6" fmla="*/ 295415 h 295415"/>
                    <a:gd name="connsiteX7" fmla="*/ 17725 w 35449"/>
                    <a:gd name="connsiteY7" fmla="*/ 295415 h 2954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5449" h="295415">
                      <a:moveTo>
                        <a:pt x="17725" y="295415"/>
                      </a:moveTo>
                      <a:cubicBezTo>
                        <a:pt x="7878" y="295415"/>
                        <a:pt x="0" y="287537"/>
                        <a:pt x="0" y="277690"/>
                      </a:cubicBezTo>
                      <a:lnTo>
                        <a:pt x="0" y="17725"/>
                      </a:lnTo>
                      <a:cubicBezTo>
                        <a:pt x="0" y="7878"/>
                        <a:pt x="7878" y="0"/>
                        <a:pt x="17725" y="0"/>
                      </a:cubicBezTo>
                      <a:cubicBezTo>
                        <a:pt x="27572" y="0"/>
                        <a:pt x="35450" y="7878"/>
                        <a:pt x="35450" y="17725"/>
                      </a:cubicBezTo>
                      <a:lnTo>
                        <a:pt x="35450" y="277690"/>
                      </a:lnTo>
                      <a:cubicBezTo>
                        <a:pt x="34793" y="287537"/>
                        <a:pt x="26915" y="295415"/>
                        <a:pt x="17725" y="295415"/>
                      </a:cubicBezTo>
                      <a:lnTo>
                        <a:pt x="17725" y="295415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</p:grpSp>
        <p:grpSp>
          <p:nvGrpSpPr>
            <p:cNvPr id="164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7481824" y="3626437"/>
              <a:ext cx="416863" cy="416863"/>
              <a:chOff x="7481824" y="3626437"/>
              <a:chExt cx="416863" cy="416863"/>
            </a:xfrm>
            <a:grpFill/>
          </p:grpSpPr>
          <p:grpSp>
            <p:nvGrpSpPr>
              <p:cNvPr id="165" name="Gráfico 2">
                <a:extLst>
                  <a:ext uri="{FF2B5EF4-FFF2-40B4-BE49-F238E27FC236}">
                    <a16:creationId xmlns:a16="http://schemas.microsoft.com/office/drawing/2014/main" id="{4A08825F-1C42-4C63-A6FE-BBB3DD9D4FEB}"/>
                  </a:ext>
                </a:extLst>
              </p:cNvPr>
              <p:cNvGrpSpPr/>
              <p:nvPr/>
            </p:nvGrpSpPr>
            <p:grpSpPr>
              <a:xfrm>
                <a:off x="7591127" y="3735412"/>
                <a:ext cx="198584" cy="199569"/>
                <a:chOff x="7591127" y="3735412"/>
                <a:chExt cx="198584" cy="199569"/>
              </a:xfrm>
              <a:grpFill/>
            </p:grpSpPr>
            <p:sp>
              <p:nvSpPr>
                <p:cNvPr id="166" name="Forma Livre: Forma 165">
                  <a:extLst>
                    <a:ext uri="{FF2B5EF4-FFF2-40B4-BE49-F238E27FC236}">
                      <a16:creationId xmlns:a16="http://schemas.microsoft.com/office/drawing/2014/main" id="{945D6317-04C7-440A-9E2A-B2D066925DAD}"/>
                    </a:ext>
                  </a:extLst>
                </p:cNvPr>
                <p:cNvSpPr/>
                <p:nvPr/>
              </p:nvSpPr>
              <p:spPr>
                <a:xfrm>
                  <a:off x="7650538" y="3735412"/>
                  <a:ext cx="139173" cy="139173"/>
                </a:xfrm>
                <a:custGeom>
                  <a:avLst/>
                  <a:gdLst>
                    <a:gd name="connsiteX0" fmla="*/ 121448 w 139173"/>
                    <a:gd name="connsiteY0" fmla="*/ 139173 h 139173"/>
                    <a:gd name="connsiteX1" fmla="*/ 103723 w 139173"/>
                    <a:gd name="connsiteY1" fmla="*/ 121448 h 139173"/>
                    <a:gd name="connsiteX2" fmla="*/ 103723 w 139173"/>
                    <a:gd name="connsiteY2" fmla="*/ 35450 h 139173"/>
                    <a:gd name="connsiteX3" fmla="*/ 17725 w 139173"/>
                    <a:gd name="connsiteY3" fmla="*/ 35450 h 139173"/>
                    <a:gd name="connsiteX4" fmla="*/ 0 w 139173"/>
                    <a:gd name="connsiteY4" fmla="*/ 17725 h 139173"/>
                    <a:gd name="connsiteX5" fmla="*/ 17725 w 139173"/>
                    <a:gd name="connsiteY5" fmla="*/ 0 h 139173"/>
                    <a:gd name="connsiteX6" fmla="*/ 121448 w 139173"/>
                    <a:gd name="connsiteY6" fmla="*/ 0 h 139173"/>
                    <a:gd name="connsiteX7" fmla="*/ 139173 w 139173"/>
                    <a:gd name="connsiteY7" fmla="*/ 17725 h 139173"/>
                    <a:gd name="connsiteX8" fmla="*/ 139173 w 139173"/>
                    <a:gd name="connsiteY8" fmla="*/ 121448 h 139173"/>
                    <a:gd name="connsiteX9" fmla="*/ 121448 w 139173"/>
                    <a:gd name="connsiteY9" fmla="*/ 139173 h 139173"/>
                    <a:gd name="connsiteX10" fmla="*/ 121448 w 139173"/>
                    <a:gd name="connsiteY10" fmla="*/ 139173 h 139173"/>
                    <a:gd name="connsiteX11" fmla="*/ 121448 w 139173"/>
                    <a:gd name="connsiteY11" fmla="*/ 139173 h 1391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39173" h="139173">
                      <a:moveTo>
                        <a:pt x="121448" y="139173"/>
                      </a:moveTo>
                      <a:cubicBezTo>
                        <a:pt x="111601" y="139173"/>
                        <a:pt x="103723" y="131296"/>
                        <a:pt x="103723" y="121448"/>
                      </a:cubicBezTo>
                      <a:lnTo>
                        <a:pt x="103723" y="35450"/>
                      </a:lnTo>
                      <a:lnTo>
                        <a:pt x="17725" y="35450"/>
                      </a:lnTo>
                      <a:cubicBezTo>
                        <a:pt x="7878" y="35450"/>
                        <a:pt x="0" y="27572"/>
                        <a:pt x="0" y="17725"/>
                      </a:cubicBezTo>
                      <a:cubicBezTo>
                        <a:pt x="0" y="7878"/>
                        <a:pt x="7878" y="0"/>
                        <a:pt x="17725" y="0"/>
                      </a:cubicBezTo>
                      <a:lnTo>
                        <a:pt x="121448" y="0"/>
                      </a:lnTo>
                      <a:cubicBezTo>
                        <a:pt x="131296" y="0"/>
                        <a:pt x="139173" y="7878"/>
                        <a:pt x="139173" y="17725"/>
                      </a:cubicBezTo>
                      <a:lnTo>
                        <a:pt x="139173" y="121448"/>
                      </a:lnTo>
                      <a:cubicBezTo>
                        <a:pt x="139173" y="131296"/>
                        <a:pt x="131296" y="139173"/>
                        <a:pt x="121448" y="139173"/>
                      </a:cubicBezTo>
                      <a:lnTo>
                        <a:pt x="121448" y="139173"/>
                      </a:lnTo>
                      <a:lnTo>
                        <a:pt x="121448" y="139173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167" name="Forma Livre: Forma 166">
                  <a:extLst>
                    <a:ext uri="{FF2B5EF4-FFF2-40B4-BE49-F238E27FC236}">
                      <a16:creationId xmlns:a16="http://schemas.microsoft.com/office/drawing/2014/main" id="{979979FD-9A29-489C-A4E9-84148BD37DF2}"/>
                    </a:ext>
                  </a:extLst>
                </p:cNvPr>
                <p:cNvSpPr/>
                <p:nvPr/>
              </p:nvSpPr>
              <p:spPr>
                <a:xfrm>
                  <a:off x="7591127" y="3750183"/>
                  <a:ext cx="184470" cy="184798"/>
                </a:xfrm>
                <a:custGeom>
                  <a:avLst/>
                  <a:gdLst>
                    <a:gd name="connsiteX0" fmla="*/ 17397 w 184470"/>
                    <a:gd name="connsiteY0" fmla="*/ 184798 h 184798"/>
                    <a:gd name="connsiteX1" fmla="*/ 4924 w 184470"/>
                    <a:gd name="connsiteY1" fmla="*/ 179547 h 184798"/>
                    <a:gd name="connsiteX2" fmla="*/ 4924 w 184470"/>
                    <a:gd name="connsiteY2" fmla="*/ 154601 h 184798"/>
                    <a:gd name="connsiteX3" fmla="*/ 154600 w 184470"/>
                    <a:gd name="connsiteY3" fmla="*/ 4924 h 184798"/>
                    <a:gd name="connsiteX4" fmla="*/ 179547 w 184470"/>
                    <a:gd name="connsiteY4" fmla="*/ 4924 h 184798"/>
                    <a:gd name="connsiteX5" fmla="*/ 179547 w 184470"/>
                    <a:gd name="connsiteY5" fmla="*/ 29870 h 184798"/>
                    <a:gd name="connsiteX6" fmla="*/ 29870 w 184470"/>
                    <a:gd name="connsiteY6" fmla="*/ 179547 h 184798"/>
                    <a:gd name="connsiteX7" fmla="*/ 17397 w 184470"/>
                    <a:gd name="connsiteY7" fmla="*/ 184798 h 184798"/>
                    <a:gd name="connsiteX8" fmla="*/ 17397 w 184470"/>
                    <a:gd name="connsiteY8" fmla="*/ 184798 h 184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84470" h="184798">
                      <a:moveTo>
                        <a:pt x="17397" y="184798"/>
                      </a:moveTo>
                      <a:cubicBezTo>
                        <a:pt x="12801" y="184798"/>
                        <a:pt x="8206" y="182829"/>
                        <a:pt x="4924" y="179547"/>
                      </a:cubicBezTo>
                      <a:cubicBezTo>
                        <a:pt x="-1641" y="172982"/>
                        <a:pt x="-1641" y="161822"/>
                        <a:pt x="4924" y="154601"/>
                      </a:cubicBezTo>
                      <a:lnTo>
                        <a:pt x="154600" y="4924"/>
                      </a:lnTo>
                      <a:cubicBezTo>
                        <a:pt x="161165" y="-1641"/>
                        <a:pt x="172325" y="-1641"/>
                        <a:pt x="179547" y="4924"/>
                      </a:cubicBezTo>
                      <a:cubicBezTo>
                        <a:pt x="186111" y="11488"/>
                        <a:pt x="186111" y="22649"/>
                        <a:pt x="179547" y="29870"/>
                      </a:cubicBezTo>
                      <a:lnTo>
                        <a:pt x="29870" y="179547"/>
                      </a:lnTo>
                      <a:cubicBezTo>
                        <a:pt x="25931" y="182829"/>
                        <a:pt x="21336" y="184798"/>
                        <a:pt x="17397" y="184798"/>
                      </a:cubicBezTo>
                      <a:lnTo>
                        <a:pt x="17397" y="184798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sp>
            <p:nvSpPr>
              <p:cNvPr id="168" name="Forma Livre: Forma 167">
                <a:extLst>
                  <a:ext uri="{FF2B5EF4-FFF2-40B4-BE49-F238E27FC236}">
                    <a16:creationId xmlns:a16="http://schemas.microsoft.com/office/drawing/2014/main" id="{87F2A1BA-2115-483C-83BE-47120BF347E5}"/>
                  </a:ext>
                </a:extLst>
              </p:cNvPr>
              <p:cNvSpPr/>
              <p:nvPr/>
            </p:nvSpPr>
            <p:spPr>
              <a:xfrm>
                <a:off x="7481824" y="3626437"/>
                <a:ext cx="416863" cy="416863"/>
              </a:xfrm>
              <a:custGeom>
                <a:avLst/>
                <a:gdLst>
                  <a:gd name="connsiteX0" fmla="*/ 399139 w 416863"/>
                  <a:gd name="connsiteY0" fmla="*/ 416863 h 416863"/>
                  <a:gd name="connsiteX1" fmla="*/ 17725 w 416863"/>
                  <a:gd name="connsiteY1" fmla="*/ 416863 h 416863"/>
                  <a:gd name="connsiteX2" fmla="*/ 0 w 416863"/>
                  <a:gd name="connsiteY2" fmla="*/ 399138 h 416863"/>
                  <a:gd name="connsiteX3" fmla="*/ 0 w 416863"/>
                  <a:gd name="connsiteY3" fmla="*/ 17725 h 416863"/>
                  <a:gd name="connsiteX4" fmla="*/ 17725 w 416863"/>
                  <a:gd name="connsiteY4" fmla="*/ 0 h 416863"/>
                  <a:gd name="connsiteX5" fmla="*/ 399139 w 416863"/>
                  <a:gd name="connsiteY5" fmla="*/ 0 h 416863"/>
                  <a:gd name="connsiteX6" fmla="*/ 416863 w 416863"/>
                  <a:gd name="connsiteY6" fmla="*/ 17725 h 416863"/>
                  <a:gd name="connsiteX7" fmla="*/ 416863 w 416863"/>
                  <a:gd name="connsiteY7" fmla="*/ 399138 h 416863"/>
                  <a:gd name="connsiteX8" fmla="*/ 399139 w 416863"/>
                  <a:gd name="connsiteY8" fmla="*/ 416863 h 416863"/>
                  <a:gd name="connsiteX9" fmla="*/ 399139 w 416863"/>
                  <a:gd name="connsiteY9" fmla="*/ 416863 h 416863"/>
                  <a:gd name="connsiteX10" fmla="*/ 35450 w 416863"/>
                  <a:gd name="connsiteY10" fmla="*/ 382070 h 416863"/>
                  <a:gd name="connsiteX11" fmla="*/ 382071 w 416863"/>
                  <a:gd name="connsiteY11" fmla="*/ 382070 h 416863"/>
                  <a:gd name="connsiteX12" fmla="*/ 382071 w 416863"/>
                  <a:gd name="connsiteY12" fmla="*/ 35450 h 416863"/>
                  <a:gd name="connsiteX13" fmla="*/ 35450 w 416863"/>
                  <a:gd name="connsiteY13" fmla="*/ 35450 h 416863"/>
                  <a:gd name="connsiteX14" fmla="*/ 35450 w 416863"/>
                  <a:gd name="connsiteY14" fmla="*/ 382070 h 416863"/>
                  <a:gd name="connsiteX15" fmla="*/ 35450 w 416863"/>
                  <a:gd name="connsiteY15" fmla="*/ 382070 h 416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16863" h="416863">
                    <a:moveTo>
                      <a:pt x="399139" y="416863"/>
                    </a:moveTo>
                    <a:lnTo>
                      <a:pt x="17725" y="416863"/>
                    </a:lnTo>
                    <a:cubicBezTo>
                      <a:pt x="7878" y="416863"/>
                      <a:pt x="0" y="408986"/>
                      <a:pt x="0" y="399138"/>
                    </a:cubicBezTo>
                    <a:lnTo>
                      <a:pt x="0" y="17725"/>
                    </a:lnTo>
                    <a:cubicBezTo>
                      <a:pt x="0" y="7878"/>
                      <a:pt x="7878" y="0"/>
                      <a:pt x="17725" y="0"/>
                    </a:cubicBezTo>
                    <a:lnTo>
                      <a:pt x="399139" y="0"/>
                    </a:lnTo>
                    <a:cubicBezTo>
                      <a:pt x="408986" y="0"/>
                      <a:pt x="416863" y="7878"/>
                      <a:pt x="416863" y="17725"/>
                    </a:cubicBezTo>
                    <a:lnTo>
                      <a:pt x="416863" y="399138"/>
                    </a:lnTo>
                    <a:cubicBezTo>
                      <a:pt x="416863" y="408986"/>
                      <a:pt x="408986" y="416863"/>
                      <a:pt x="399139" y="416863"/>
                    </a:cubicBezTo>
                    <a:lnTo>
                      <a:pt x="399139" y="416863"/>
                    </a:lnTo>
                    <a:close/>
                    <a:moveTo>
                      <a:pt x="35450" y="382070"/>
                    </a:moveTo>
                    <a:lnTo>
                      <a:pt x="382071" y="382070"/>
                    </a:lnTo>
                    <a:lnTo>
                      <a:pt x="382071" y="35450"/>
                    </a:lnTo>
                    <a:lnTo>
                      <a:pt x="35450" y="35450"/>
                    </a:lnTo>
                    <a:lnTo>
                      <a:pt x="35450" y="382070"/>
                    </a:lnTo>
                    <a:lnTo>
                      <a:pt x="35450" y="382070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169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8553852" y="3626437"/>
              <a:ext cx="416863" cy="416863"/>
              <a:chOff x="8553852" y="3626437"/>
              <a:chExt cx="416863" cy="416863"/>
            </a:xfrm>
            <a:grpFill/>
          </p:grpSpPr>
          <p:grpSp>
            <p:nvGrpSpPr>
              <p:cNvPr id="170" name="Gráfico 2">
                <a:extLst>
                  <a:ext uri="{FF2B5EF4-FFF2-40B4-BE49-F238E27FC236}">
                    <a16:creationId xmlns:a16="http://schemas.microsoft.com/office/drawing/2014/main" id="{4A08825F-1C42-4C63-A6FE-BBB3DD9D4FEB}"/>
                  </a:ext>
                </a:extLst>
              </p:cNvPr>
              <p:cNvGrpSpPr/>
              <p:nvPr/>
            </p:nvGrpSpPr>
            <p:grpSpPr>
              <a:xfrm>
                <a:off x="8663156" y="3735741"/>
                <a:ext cx="198584" cy="199240"/>
                <a:chOff x="8663156" y="3735741"/>
                <a:chExt cx="198584" cy="199240"/>
              </a:xfrm>
              <a:grpFill/>
            </p:grpSpPr>
            <p:sp>
              <p:nvSpPr>
                <p:cNvPr id="171" name="Forma Livre: Forma 170">
                  <a:extLst>
                    <a:ext uri="{FF2B5EF4-FFF2-40B4-BE49-F238E27FC236}">
                      <a16:creationId xmlns:a16="http://schemas.microsoft.com/office/drawing/2014/main" id="{3D476EC6-5813-4234-BDAD-6A9B796DEC34}"/>
                    </a:ext>
                  </a:extLst>
                </p:cNvPr>
                <p:cNvSpPr/>
                <p:nvPr/>
              </p:nvSpPr>
              <p:spPr>
                <a:xfrm>
                  <a:off x="8722567" y="3795808"/>
                  <a:ext cx="139173" cy="139173"/>
                </a:xfrm>
                <a:custGeom>
                  <a:avLst/>
                  <a:gdLst>
                    <a:gd name="connsiteX0" fmla="*/ 17725 w 139173"/>
                    <a:gd name="connsiteY0" fmla="*/ 139173 h 139173"/>
                    <a:gd name="connsiteX1" fmla="*/ 0 w 139173"/>
                    <a:gd name="connsiteY1" fmla="*/ 121448 h 139173"/>
                    <a:gd name="connsiteX2" fmla="*/ 17725 w 139173"/>
                    <a:gd name="connsiteY2" fmla="*/ 103724 h 139173"/>
                    <a:gd name="connsiteX3" fmla="*/ 103724 w 139173"/>
                    <a:gd name="connsiteY3" fmla="*/ 103724 h 139173"/>
                    <a:gd name="connsiteX4" fmla="*/ 103724 w 139173"/>
                    <a:gd name="connsiteY4" fmla="*/ 17725 h 139173"/>
                    <a:gd name="connsiteX5" fmla="*/ 121448 w 139173"/>
                    <a:gd name="connsiteY5" fmla="*/ 0 h 139173"/>
                    <a:gd name="connsiteX6" fmla="*/ 139174 w 139173"/>
                    <a:gd name="connsiteY6" fmla="*/ 17725 h 139173"/>
                    <a:gd name="connsiteX7" fmla="*/ 139174 w 139173"/>
                    <a:gd name="connsiteY7" fmla="*/ 121448 h 139173"/>
                    <a:gd name="connsiteX8" fmla="*/ 121448 w 139173"/>
                    <a:gd name="connsiteY8" fmla="*/ 139173 h 139173"/>
                    <a:gd name="connsiteX9" fmla="*/ 17725 w 139173"/>
                    <a:gd name="connsiteY9" fmla="*/ 139173 h 139173"/>
                    <a:gd name="connsiteX10" fmla="*/ 17725 w 139173"/>
                    <a:gd name="connsiteY10" fmla="*/ 139173 h 139173"/>
                    <a:gd name="connsiteX11" fmla="*/ 17725 w 139173"/>
                    <a:gd name="connsiteY11" fmla="*/ 139173 h 1391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39173" h="139173">
                      <a:moveTo>
                        <a:pt x="17725" y="139173"/>
                      </a:moveTo>
                      <a:cubicBezTo>
                        <a:pt x="7878" y="139173"/>
                        <a:pt x="0" y="131295"/>
                        <a:pt x="0" y="121448"/>
                      </a:cubicBezTo>
                      <a:cubicBezTo>
                        <a:pt x="0" y="111601"/>
                        <a:pt x="7878" y="103724"/>
                        <a:pt x="17725" y="103724"/>
                      </a:cubicBezTo>
                      <a:lnTo>
                        <a:pt x="103724" y="103724"/>
                      </a:lnTo>
                      <a:lnTo>
                        <a:pt x="103724" y="17725"/>
                      </a:lnTo>
                      <a:cubicBezTo>
                        <a:pt x="103724" y="7878"/>
                        <a:pt x="111601" y="0"/>
                        <a:pt x="121448" y="0"/>
                      </a:cubicBezTo>
                      <a:cubicBezTo>
                        <a:pt x="131296" y="0"/>
                        <a:pt x="139174" y="7878"/>
                        <a:pt x="139174" y="17725"/>
                      </a:cubicBezTo>
                      <a:lnTo>
                        <a:pt x="139174" y="121448"/>
                      </a:lnTo>
                      <a:cubicBezTo>
                        <a:pt x="139174" y="131295"/>
                        <a:pt x="131296" y="139173"/>
                        <a:pt x="121448" y="139173"/>
                      </a:cubicBezTo>
                      <a:lnTo>
                        <a:pt x="17725" y="139173"/>
                      </a:lnTo>
                      <a:lnTo>
                        <a:pt x="17725" y="139173"/>
                      </a:lnTo>
                      <a:lnTo>
                        <a:pt x="17725" y="139173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172" name="Forma Livre: Forma 171">
                  <a:extLst>
                    <a:ext uri="{FF2B5EF4-FFF2-40B4-BE49-F238E27FC236}">
                      <a16:creationId xmlns:a16="http://schemas.microsoft.com/office/drawing/2014/main" id="{E61F8614-2A6F-4BFB-9BBD-82226320A8C7}"/>
                    </a:ext>
                  </a:extLst>
                </p:cNvPr>
                <p:cNvSpPr/>
                <p:nvPr/>
              </p:nvSpPr>
              <p:spPr>
                <a:xfrm>
                  <a:off x="8663156" y="3735741"/>
                  <a:ext cx="184470" cy="184798"/>
                </a:xfrm>
                <a:custGeom>
                  <a:avLst/>
                  <a:gdLst>
                    <a:gd name="connsiteX0" fmla="*/ 167073 w 184470"/>
                    <a:gd name="connsiteY0" fmla="*/ 184798 h 184798"/>
                    <a:gd name="connsiteX1" fmla="*/ 154600 w 184470"/>
                    <a:gd name="connsiteY1" fmla="*/ 179547 h 184798"/>
                    <a:gd name="connsiteX2" fmla="*/ 4924 w 184470"/>
                    <a:gd name="connsiteY2" fmla="*/ 29870 h 184798"/>
                    <a:gd name="connsiteX3" fmla="*/ 4924 w 184470"/>
                    <a:gd name="connsiteY3" fmla="*/ 4924 h 184798"/>
                    <a:gd name="connsiteX4" fmla="*/ 29869 w 184470"/>
                    <a:gd name="connsiteY4" fmla="*/ 4924 h 184798"/>
                    <a:gd name="connsiteX5" fmla="*/ 179547 w 184470"/>
                    <a:gd name="connsiteY5" fmla="*/ 154600 h 184798"/>
                    <a:gd name="connsiteX6" fmla="*/ 179547 w 184470"/>
                    <a:gd name="connsiteY6" fmla="*/ 179547 h 184798"/>
                    <a:gd name="connsiteX7" fmla="*/ 167073 w 184470"/>
                    <a:gd name="connsiteY7" fmla="*/ 184798 h 184798"/>
                    <a:gd name="connsiteX8" fmla="*/ 167073 w 184470"/>
                    <a:gd name="connsiteY8" fmla="*/ 184798 h 184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84470" h="184798">
                      <a:moveTo>
                        <a:pt x="167073" y="184798"/>
                      </a:moveTo>
                      <a:cubicBezTo>
                        <a:pt x="162478" y="184798"/>
                        <a:pt x="157882" y="182829"/>
                        <a:pt x="154600" y="179547"/>
                      </a:cubicBezTo>
                      <a:lnTo>
                        <a:pt x="4924" y="29870"/>
                      </a:lnTo>
                      <a:cubicBezTo>
                        <a:pt x="-1641" y="23305"/>
                        <a:pt x="-1641" y="12145"/>
                        <a:pt x="4924" y="4924"/>
                      </a:cubicBezTo>
                      <a:cubicBezTo>
                        <a:pt x="11488" y="-1641"/>
                        <a:pt x="22648" y="-1641"/>
                        <a:pt x="29869" y="4924"/>
                      </a:cubicBezTo>
                      <a:lnTo>
                        <a:pt x="179547" y="154600"/>
                      </a:lnTo>
                      <a:cubicBezTo>
                        <a:pt x="186111" y="161165"/>
                        <a:pt x="186111" y="172325"/>
                        <a:pt x="179547" y="179547"/>
                      </a:cubicBezTo>
                      <a:cubicBezTo>
                        <a:pt x="175608" y="183486"/>
                        <a:pt x="171012" y="184798"/>
                        <a:pt x="167073" y="184798"/>
                      </a:cubicBezTo>
                      <a:lnTo>
                        <a:pt x="167073" y="184798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sp>
            <p:nvSpPr>
              <p:cNvPr id="173" name="Forma Livre: Forma 172">
                <a:extLst>
                  <a:ext uri="{FF2B5EF4-FFF2-40B4-BE49-F238E27FC236}">
                    <a16:creationId xmlns:a16="http://schemas.microsoft.com/office/drawing/2014/main" id="{EE9C5AE9-953C-4580-9E0B-4CAA8E5FAF6F}"/>
                  </a:ext>
                </a:extLst>
              </p:cNvPr>
              <p:cNvSpPr/>
              <p:nvPr/>
            </p:nvSpPr>
            <p:spPr>
              <a:xfrm>
                <a:off x="8553852" y="3626437"/>
                <a:ext cx="416863" cy="416863"/>
              </a:xfrm>
              <a:custGeom>
                <a:avLst/>
                <a:gdLst>
                  <a:gd name="connsiteX0" fmla="*/ 399138 w 416863"/>
                  <a:gd name="connsiteY0" fmla="*/ 416863 h 416863"/>
                  <a:gd name="connsiteX1" fmla="*/ 17725 w 416863"/>
                  <a:gd name="connsiteY1" fmla="*/ 416863 h 416863"/>
                  <a:gd name="connsiteX2" fmla="*/ 0 w 416863"/>
                  <a:gd name="connsiteY2" fmla="*/ 399138 h 416863"/>
                  <a:gd name="connsiteX3" fmla="*/ 0 w 416863"/>
                  <a:gd name="connsiteY3" fmla="*/ 17725 h 416863"/>
                  <a:gd name="connsiteX4" fmla="*/ 17725 w 416863"/>
                  <a:gd name="connsiteY4" fmla="*/ 0 h 416863"/>
                  <a:gd name="connsiteX5" fmla="*/ 399138 w 416863"/>
                  <a:gd name="connsiteY5" fmla="*/ 0 h 416863"/>
                  <a:gd name="connsiteX6" fmla="*/ 416863 w 416863"/>
                  <a:gd name="connsiteY6" fmla="*/ 17725 h 416863"/>
                  <a:gd name="connsiteX7" fmla="*/ 416863 w 416863"/>
                  <a:gd name="connsiteY7" fmla="*/ 399138 h 416863"/>
                  <a:gd name="connsiteX8" fmla="*/ 399138 w 416863"/>
                  <a:gd name="connsiteY8" fmla="*/ 416863 h 416863"/>
                  <a:gd name="connsiteX9" fmla="*/ 399138 w 416863"/>
                  <a:gd name="connsiteY9" fmla="*/ 416863 h 416863"/>
                  <a:gd name="connsiteX10" fmla="*/ 34793 w 416863"/>
                  <a:gd name="connsiteY10" fmla="*/ 382070 h 416863"/>
                  <a:gd name="connsiteX11" fmla="*/ 381413 w 416863"/>
                  <a:gd name="connsiteY11" fmla="*/ 382070 h 416863"/>
                  <a:gd name="connsiteX12" fmla="*/ 381413 w 416863"/>
                  <a:gd name="connsiteY12" fmla="*/ 35450 h 416863"/>
                  <a:gd name="connsiteX13" fmla="*/ 34793 w 416863"/>
                  <a:gd name="connsiteY13" fmla="*/ 35450 h 416863"/>
                  <a:gd name="connsiteX14" fmla="*/ 34793 w 416863"/>
                  <a:gd name="connsiteY14" fmla="*/ 382070 h 416863"/>
                  <a:gd name="connsiteX15" fmla="*/ 34793 w 416863"/>
                  <a:gd name="connsiteY15" fmla="*/ 382070 h 416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16863" h="416863">
                    <a:moveTo>
                      <a:pt x="399138" y="416863"/>
                    </a:moveTo>
                    <a:lnTo>
                      <a:pt x="17725" y="416863"/>
                    </a:lnTo>
                    <a:cubicBezTo>
                      <a:pt x="7877" y="416863"/>
                      <a:pt x="0" y="408986"/>
                      <a:pt x="0" y="399138"/>
                    </a:cubicBezTo>
                    <a:lnTo>
                      <a:pt x="0" y="17725"/>
                    </a:lnTo>
                    <a:cubicBezTo>
                      <a:pt x="0" y="7878"/>
                      <a:pt x="7877" y="0"/>
                      <a:pt x="17725" y="0"/>
                    </a:cubicBezTo>
                    <a:lnTo>
                      <a:pt x="399138" y="0"/>
                    </a:lnTo>
                    <a:cubicBezTo>
                      <a:pt x="408985" y="0"/>
                      <a:pt x="416863" y="7878"/>
                      <a:pt x="416863" y="17725"/>
                    </a:cubicBezTo>
                    <a:lnTo>
                      <a:pt x="416863" y="399138"/>
                    </a:lnTo>
                    <a:cubicBezTo>
                      <a:pt x="416207" y="408986"/>
                      <a:pt x="408329" y="416863"/>
                      <a:pt x="399138" y="416863"/>
                    </a:cubicBezTo>
                    <a:lnTo>
                      <a:pt x="399138" y="416863"/>
                    </a:lnTo>
                    <a:close/>
                    <a:moveTo>
                      <a:pt x="34793" y="382070"/>
                    </a:moveTo>
                    <a:lnTo>
                      <a:pt x="381413" y="382070"/>
                    </a:lnTo>
                    <a:lnTo>
                      <a:pt x="381413" y="35450"/>
                    </a:lnTo>
                    <a:lnTo>
                      <a:pt x="34793" y="35450"/>
                    </a:lnTo>
                    <a:lnTo>
                      <a:pt x="34793" y="382070"/>
                    </a:lnTo>
                    <a:lnTo>
                      <a:pt x="34793" y="382070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174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9620629" y="3626437"/>
              <a:ext cx="416863" cy="416863"/>
              <a:chOff x="9620629" y="3626437"/>
              <a:chExt cx="416863" cy="416863"/>
            </a:xfrm>
            <a:grpFill/>
          </p:grpSpPr>
          <p:grpSp>
            <p:nvGrpSpPr>
              <p:cNvPr id="175" name="Gráfico 2">
                <a:extLst>
                  <a:ext uri="{FF2B5EF4-FFF2-40B4-BE49-F238E27FC236}">
                    <a16:creationId xmlns:a16="http://schemas.microsoft.com/office/drawing/2014/main" id="{4A08825F-1C42-4C63-A6FE-BBB3DD9D4FEB}"/>
                  </a:ext>
                </a:extLst>
              </p:cNvPr>
              <p:cNvGrpSpPr/>
              <p:nvPr/>
            </p:nvGrpSpPr>
            <p:grpSpPr>
              <a:xfrm>
                <a:off x="9695795" y="3743618"/>
                <a:ext cx="266858" cy="182172"/>
                <a:chOff x="9695795" y="3743618"/>
                <a:chExt cx="266858" cy="182172"/>
              </a:xfrm>
              <a:grpFill/>
            </p:grpSpPr>
            <p:sp>
              <p:nvSpPr>
                <p:cNvPr id="176" name="Forma Livre: Forma 175">
                  <a:extLst>
                    <a:ext uri="{FF2B5EF4-FFF2-40B4-BE49-F238E27FC236}">
                      <a16:creationId xmlns:a16="http://schemas.microsoft.com/office/drawing/2014/main" id="{9C33F593-1EAE-4F62-8FFE-AA2F31D0C2B4}"/>
                    </a:ext>
                  </a:extLst>
                </p:cNvPr>
                <p:cNvSpPr/>
                <p:nvPr/>
              </p:nvSpPr>
              <p:spPr>
                <a:xfrm>
                  <a:off x="9695795" y="3743618"/>
                  <a:ext cx="108567" cy="182172"/>
                </a:xfrm>
                <a:custGeom>
                  <a:avLst/>
                  <a:gdLst>
                    <a:gd name="connsiteX0" fmla="*/ 90922 w 108567"/>
                    <a:gd name="connsiteY0" fmla="*/ 182173 h 182172"/>
                    <a:gd name="connsiteX1" fmla="*/ 78450 w 108567"/>
                    <a:gd name="connsiteY1" fmla="*/ 176921 h 182172"/>
                    <a:gd name="connsiteX2" fmla="*/ 4924 w 108567"/>
                    <a:gd name="connsiteY2" fmla="*/ 103395 h 182172"/>
                    <a:gd name="connsiteX3" fmla="*/ 4924 w 108567"/>
                    <a:gd name="connsiteY3" fmla="*/ 78449 h 182172"/>
                    <a:gd name="connsiteX4" fmla="*/ 78450 w 108567"/>
                    <a:gd name="connsiteY4" fmla="*/ 4924 h 182172"/>
                    <a:gd name="connsiteX5" fmla="*/ 103395 w 108567"/>
                    <a:gd name="connsiteY5" fmla="*/ 4924 h 182172"/>
                    <a:gd name="connsiteX6" fmla="*/ 103395 w 108567"/>
                    <a:gd name="connsiteY6" fmla="*/ 29870 h 182172"/>
                    <a:gd name="connsiteX7" fmla="*/ 42343 w 108567"/>
                    <a:gd name="connsiteY7" fmla="*/ 90922 h 182172"/>
                    <a:gd name="connsiteX8" fmla="*/ 103395 w 108567"/>
                    <a:gd name="connsiteY8" fmla="*/ 151975 h 182172"/>
                    <a:gd name="connsiteX9" fmla="*/ 103395 w 108567"/>
                    <a:gd name="connsiteY9" fmla="*/ 176921 h 182172"/>
                    <a:gd name="connsiteX10" fmla="*/ 90922 w 108567"/>
                    <a:gd name="connsiteY10" fmla="*/ 182173 h 182172"/>
                    <a:gd name="connsiteX11" fmla="*/ 90922 w 108567"/>
                    <a:gd name="connsiteY11" fmla="*/ 182173 h 1821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08567" h="182172">
                      <a:moveTo>
                        <a:pt x="90922" y="182173"/>
                      </a:moveTo>
                      <a:cubicBezTo>
                        <a:pt x="86327" y="182173"/>
                        <a:pt x="81732" y="180203"/>
                        <a:pt x="78450" y="176921"/>
                      </a:cubicBezTo>
                      <a:lnTo>
                        <a:pt x="4924" y="103395"/>
                      </a:lnTo>
                      <a:cubicBezTo>
                        <a:pt x="-1641" y="96830"/>
                        <a:pt x="-1641" y="85670"/>
                        <a:pt x="4924" y="78449"/>
                      </a:cubicBezTo>
                      <a:lnTo>
                        <a:pt x="78450" y="4924"/>
                      </a:lnTo>
                      <a:cubicBezTo>
                        <a:pt x="85014" y="-1641"/>
                        <a:pt x="96174" y="-1641"/>
                        <a:pt x="103395" y="4924"/>
                      </a:cubicBezTo>
                      <a:cubicBezTo>
                        <a:pt x="110616" y="11488"/>
                        <a:pt x="109960" y="22649"/>
                        <a:pt x="103395" y="29870"/>
                      </a:cubicBezTo>
                      <a:lnTo>
                        <a:pt x="42343" y="90922"/>
                      </a:lnTo>
                      <a:lnTo>
                        <a:pt x="103395" y="151975"/>
                      </a:lnTo>
                      <a:cubicBezTo>
                        <a:pt x="109960" y="158539"/>
                        <a:pt x="109960" y="169700"/>
                        <a:pt x="103395" y="176921"/>
                      </a:cubicBezTo>
                      <a:cubicBezTo>
                        <a:pt x="99457" y="180860"/>
                        <a:pt x="94862" y="182173"/>
                        <a:pt x="90922" y="182173"/>
                      </a:cubicBezTo>
                      <a:lnTo>
                        <a:pt x="90922" y="182173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177" name="Forma Livre: Forma 176">
                  <a:extLst>
                    <a:ext uri="{FF2B5EF4-FFF2-40B4-BE49-F238E27FC236}">
                      <a16:creationId xmlns:a16="http://schemas.microsoft.com/office/drawing/2014/main" id="{EF4949C8-E31A-4E26-B0FF-9E2E6FB0203F}"/>
                    </a:ext>
                  </a:extLst>
                </p:cNvPr>
                <p:cNvSpPr/>
                <p:nvPr/>
              </p:nvSpPr>
              <p:spPr>
                <a:xfrm>
                  <a:off x="9715162" y="3817472"/>
                  <a:ext cx="247491" cy="35449"/>
                </a:xfrm>
                <a:custGeom>
                  <a:avLst/>
                  <a:gdLst>
                    <a:gd name="connsiteX0" fmla="*/ 229767 w 247491"/>
                    <a:gd name="connsiteY0" fmla="*/ 35450 h 35449"/>
                    <a:gd name="connsiteX1" fmla="*/ 17725 w 247491"/>
                    <a:gd name="connsiteY1" fmla="*/ 35450 h 35449"/>
                    <a:gd name="connsiteX2" fmla="*/ 0 w 247491"/>
                    <a:gd name="connsiteY2" fmla="*/ 17725 h 35449"/>
                    <a:gd name="connsiteX3" fmla="*/ 17725 w 247491"/>
                    <a:gd name="connsiteY3" fmla="*/ 0 h 35449"/>
                    <a:gd name="connsiteX4" fmla="*/ 229767 w 247491"/>
                    <a:gd name="connsiteY4" fmla="*/ 0 h 35449"/>
                    <a:gd name="connsiteX5" fmla="*/ 247492 w 247491"/>
                    <a:gd name="connsiteY5" fmla="*/ 17725 h 35449"/>
                    <a:gd name="connsiteX6" fmla="*/ 229767 w 247491"/>
                    <a:gd name="connsiteY6" fmla="*/ 35450 h 35449"/>
                    <a:gd name="connsiteX7" fmla="*/ 229767 w 247491"/>
                    <a:gd name="connsiteY7" fmla="*/ 35450 h 354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47491" h="35449">
                      <a:moveTo>
                        <a:pt x="229767" y="35450"/>
                      </a:moveTo>
                      <a:lnTo>
                        <a:pt x="17725" y="35450"/>
                      </a:lnTo>
                      <a:cubicBezTo>
                        <a:pt x="7877" y="35450"/>
                        <a:pt x="0" y="27572"/>
                        <a:pt x="0" y="17725"/>
                      </a:cubicBezTo>
                      <a:cubicBezTo>
                        <a:pt x="0" y="7878"/>
                        <a:pt x="7877" y="0"/>
                        <a:pt x="17725" y="0"/>
                      </a:cubicBezTo>
                      <a:lnTo>
                        <a:pt x="229767" y="0"/>
                      </a:lnTo>
                      <a:cubicBezTo>
                        <a:pt x="239614" y="0"/>
                        <a:pt x="247492" y="7878"/>
                        <a:pt x="247492" y="17725"/>
                      </a:cubicBezTo>
                      <a:cubicBezTo>
                        <a:pt x="247492" y="27572"/>
                        <a:pt x="239614" y="35450"/>
                        <a:pt x="229767" y="35450"/>
                      </a:cubicBezTo>
                      <a:lnTo>
                        <a:pt x="229767" y="35450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sp>
            <p:nvSpPr>
              <p:cNvPr id="178" name="Forma Livre: Forma 177">
                <a:extLst>
                  <a:ext uri="{FF2B5EF4-FFF2-40B4-BE49-F238E27FC236}">
                    <a16:creationId xmlns:a16="http://schemas.microsoft.com/office/drawing/2014/main" id="{EB67B160-CFCB-44D0-A776-8A459D5366A5}"/>
                  </a:ext>
                </a:extLst>
              </p:cNvPr>
              <p:cNvSpPr/>
              <p:nvPr/>
            </p:nvSpPr>
            <p:spPr>
              <a:xfrm>
                <a:off x="9620629" y="3626437"/>
                <a:ext cx="416863" cy="416863"/>
              </a:xfrm>
              <a:custGeom>
                <a:avLst/>
                <a:gdLst>
                  <a:gd name="connsiteX0" fmla="*/ 399138 w 416863"/>
                  <a:gd name="connsiteY0" fmla="*/ 416863 h 416863"/>
                  <a:gd name="connsiteX1" fmla="*/ 17725 w 416863"/>
                  <a:gd name="connsiteY1" fmla="*/ 416863 h 416863"/>
                  <a:gd name="connsiteX2" fmla="*/ 0 w 416863"/>
                  <a:gd name="connsiteY2" fmla="*/ 399138 h 416863"/>
                  <a:gd name="connsiteX3" fmla="*/ 0 w 416863"/>
                  <a:gd name="connsiteY3" fmla="*/ 17725 h 416863"/>
                  <a:gd name="connsiteX4" fmla="*/ 17725 w 416863"/>
                  <a:gd name="connsiteY4" fmla="*/ 0 h 416863"/>
                  <a:gd name="connsiteX5" fmla="*/ 399138 w 416863"/>
                  <a:gd name="connsiteY5" fmla="*/ 0 h 416863"/>
                  <a:gd name="connsiteX6" fmla="*/ 416863 w 416863"/>
                  <a:gd name="connsiteY6" fmla="*/ 17725 h 416863"/>
                  <a:gd name="connsiteX7" fmla="*/ 416863 w 416863"/>
                  <a:gd name="connsiteY7" fmla="*/ 399138 h 416863"/>
                  <a:gd name="connsiteX8" fmla="*/ 399138 w 416863"/>
                  <a:gd name="connsiteY8" fmla="*/ 416863 h 416863"/>
                  <a:gd name="connsiteX9" fmla="*/ 399138 w 416863"/>
                  <a:gd name="connsiteY9" fmla="*/ 416863 h 416863"/>
                  <a:gd name="connsiteX10" fmla="*/ 35450 w 416863"/>
                  <a:gd name="connsiteY10" fmla="*/ 382070 h 416863"/>
                  <a:gd name="connsiteX11" fmla="*/ 382070 w 416863"/>
                  <a:gd name="connsiteY11" fmla="*/ 382070 h 416863"/>
                  <a:gd name="connsiteX12" fmla="*/ 382070 w 416863"/>
                  <a:gd name="connsiteY12" fmla="*/ 35450 h 416863"/>
                  <a:gd name="connsiteX13" fmla="*/ 35450 w 416863"/>
                  <a:gd name="connsiteY13" fmla="*/ 35450 h 416863"/>
                  <a:gd name="connsiteX14" fmla="*/ 35450 w 416863"/>
                  <a:gd name="connsiteY14" fmla="*/ 382070 h 416863"/>
                  <a:gd name="connsiteX15" fmla="*/ 35450 w 416863"/>
                  <a:gd name="connsiteY15" fmla="*/ 382070 h 416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16863" h="416863">
                    <a:moveTo>
                      <a:pt x="399138" y="416863"/>
                    </a:moveTo>
                    <a:lnTo>
                      <a:pt x="17725" y="416863"/>
                    </a:lnTo>
                    <a:cubicBezTo>
                      <a:pt x="7877" y="416863"/>
                      <a:pt x="0" y="408986"/>
                      <a:pt x="0" y="399138"/>
                    </a:cubicBezTo>
                    <a:lnTo>
                      <a:pt x="0" y="17725"/>
                    </a:lnTo>
                    <a:cubicBezTo>
                      <a:pt x="0" y="7878"/>
                      <a:pt x="7877" y="0"/>
                      <a:pt x="17725" y="0"/>
                    </a:cubicBezTo>
                    <a:lnTo>
                      <a:pt x="399138" y="0"/>
                    </a:lnTo>
                    <a:cubicBezTo>
                      <a:pt x="408985" y="0"/>
                      <a:pt x="416863" y="7878"/>
                      <a:pt x="416863" y="17725"/>
                    </a:cubicBezTo>
                    <a:lnTo>
                      <a:pt x="416863" y="399138"/>
                    </a:lnTo>
                    <a:cubicBezTo>
                      <a:pt x="416863" y="408986"/>
                      <a:pt x="408985" y="416863"/>
                      <a:pt x="399138" y="416863"/>
                    </a:cubicBezTo>
                    <a:lnTo>
                      <a:pt x="399138" y="416863"/>
                    </a:lnTo>
                    <a:close/>
                    <a:moveTo>
                      <a:pt x="35450" y="382070"/>
                    </a:moveTo>
                    <a:lnTo>
                      <a:pt x="382070" y="382070"/>
                    </a:lnTo>
                    <a:lnTo>
                      <a:pt x="382070" y="35450"/>
                    </a:lnTo>
                    <a:lnTo>
                      <a:pt x="35450" y="35450"/>
                    </a:lnTo>
                    <a:lnTo>
                      <a:pt x="35450" y="382070"/>
                    </a:lnTo>
                    <a:lnTo>
                      <a:pt x="35450" y="382070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179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10695282" y="3626437"/>
              <a:ext cx="416863" cy="416863"/>
              <a:chOff x="10695282" y="3626437"/>
              <a:chExt cx="416863" cy="416863"/>
            </a:xfrm>
            <a:grpFill/>
          </p:grpSpPr>
          <p:grpSp>
            <p:nvGrpSpPr>
              <p:cNvPr id="180" name="Gráfico 2">
                <a:extLst>
                  <a:ext uri="{FF2B5EF4-FFF2-40B4-BE49-F238E27FC236}">
                    <a16:creationId xmlns:a16="http://schemas.microsoft.com/office/drawing/2014/main" id="{4A08825F-1C42-4C63-A6FE-BBB3DD9D4FEB}"/>
                  </a:ext>
                </a:extLst>
              </p:cNvPr>
              <p:cNvGrpSpPr/>
              <p:nvPr/>
            </p:nvGrpSpPr>
            <p:grpSpPr>
              <a:xfrm>
                <a:off x="10770121" y="3743618"/>
                <a:ext cx="267514" cy="182172"/>
                <a:chOff x="10770121" y="3743618"/>
                <a:chExt cx="267514" cy="182172"/>
              </a:xfrm>
              <a:grpFill/>
            </p:grpSpPr>
            <p:sp>
              <p:nvSpPr>
                <p:cNvPr id="181" name="Forma Livre: Forma 180">
                  <a:extLst>
                    <a:ext uri="{FF2B5EF4-FFF2-40B4-BE49-F238E27FC236}">
                      <a16:creationId xmlns:a16="http://schemas.microsoft.com/office/drawing/2014/main" id="{3134D712-88F9-4BF3-8AAC-049E587405B8}"/>
                    </a:ext>
                  </a:extLst>
                </p:cNvPr>
                <p:cNvSpPr/>
                <p:nvPr/>
              </p:nvSpPr>
              <p:spPr>
                <a:xfrm>
                  <a:off x="10929317" y="3743618"/>
                  <a:ext cx="108318" cy="182172"/>
                </a:xfrm>
                <a:custGeom>
                  <a:avLst/>
                  <a:gdLst>
                    <a:gd name="connsiteX0" fmla="*/ 17397 w 108318"/>
                    <a:gd name="connsiteY0" fmla="*/ 182173 h 182172"/>
                    <a:gd name="connsiteX1" fmla="*/ 4924 w 108318"/>
                    <a:gd name="connsiteY1" fmla="*/ 176921 h 182172"/>
                    <a:gd name="connsiteX2" fmla="*/ 4924 w 108318"/>
                    <a:gd name="connsiteY2" fmla="*/ 151975 h 182172"/>
                    <a:gd name="connsiteX3" fmla="*/ 65976 w 108318"/>
                    <a:gd name="connsiteY3" fmla="*/ 90922 h 182172"/>
                    <a:gd name="connsiteX4" fmla="*/ 4924 w 108318"/>
                    <a:gd name="connsiteY4" fmla="*/ 29870 h 182172"/>
                    <a:gd name="connsiteX5" fmla="*/ 4924 w 108318"/>
                    <a:gd name="connsiteY5" fmla="*/ 4924 h 182172"/>
                    <a:gd name="connsiteX6" fmla="*/ 29870 w 108318"/>
                    <a:gd name="connsiteY6" fmla="*/ 4924 h 182172"/>
                    <a:gd name="connsiteX7" fmla="*/ 103395 w 108318"/>
                    <a:gd name="connsiteY7" fmla="*/ 78449 h 182172"/>
                    <a:gd name="connsiteX8" fmla="*/ 103395 w 108318"/>
                    <a:gd name="connsiteY8" fmla="*/ 103395 h 182172"/>
                    <a:gd name="connsiteX9" fmla="*/ 29870 w 108318"/>
                    <a:gd name="connsiteY9" fmla="*/ 176921 h 182172"/>
                    <a:gd name="connsiteX10" fmla="*/ 17397 w 108318"/>
                    <a:gd name="connsiteY10" fmla="*/ 182173 h 182172"/>
                    <a:gd name="connsiteX11" fmla="*/ 17397 w 108318"/>
                    <a:gd name="connsiteY11" fmla="*/ 182173 h 1821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08318" h="182172">
                      <a:moveTo>
                        <a:pt x="17397" y="182173"/>
                      </a:moveTo>
                      <a:cubicBezTo>
                        <a:pt x="12801" y="182173"/>
                        <a:pt x="8206" y="180203"/>
                        <a:pt x="4924" y="176921"/>
                      </a:cubicBezTo>
                      <a:cubicBezTo>
                        <a:pt x="-1641" y="170356"/>
                        <a:pt x="-1641" y="159196"/>
                        <a:pt x="4924" y="151975"/>
                      </a:cubicBezTo>
                      <a:lnTo>
                        <a:pt x="65976" y="90922"/>
                      </a:lnTo>
                      <a:lnTo>
                        <a:pt x="4924" y="29870"/>
                      </a:lnTo>
                      <a:cubicBezTo>
                        <a:pt x="-1641" y="23305"/>
                        <a:pt x="-1641" y="12145"/>
                        <a:pt x="4924" y="4924"/>
                      </a:cubicBezTo>
                      <a:cubicBezTo>
                        <a:pt x="11488" y="-1641"/>
                        <a:pt x="22648" y="-1641"/>
                        <a:pt x="29870" y="4924"/>
                      </a:cubicBezTo>
                      <a:lnTo>
                        <a:pt x="103395" y="78449"/>
                      </a:lnTo>
                      <a:cubicBezTo>
                        <a:pt x="109960" y="85014"/>
                        <a:pt x="109960" y="96174"/>
                        <a:pt x="103395" y="103395"/>
                      </a:cubicBezTo>
                      <a:lnTo>
                        <a:pt x="29870" y="176921"/>
                      </a:lnTo>
                      <a:cubicBezTo>
                        <a:pt x="26588" y="180860"/>
                        <a:pt x="21992" y="182173"/>
                        <a:pt x="17397" y="182173"/>
                      </a:cubicBezTo>
                      <a:lnTo>
                        <a:pt x="17397" y="182173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182" name="Forma Livre: Forma 181">
                  <a:extLst>
                    <a:ext uri="{FF2B5EF4-FFF2-40B4-BE49-F238E27FC236}">
                      <a16:creationId xmlns:a16="http://schemas.microsoft.com/office/drawing/2014/main" id="{4E53D8A0-3EAD-4A88-96E9-4FA296C1CB85}"/>
                    </a:ext>
                  </a:extLst>
                </p:cNvPr>
                <p:cNvSpPr/>
                <p:nvPr/>
              </p:nvSpPr>
              <p:spPr>
                <a:xfrm>
                  <a:off x="10770121" y="3817472"/>
                  <a:ext cx="247491" cy="35449"/>
                </a:xfrm>
                <a:custGeom>
                  <a:avLst/>
                  <a:gdLst>
                    <a:gd name="connsiteX0" fmla="*/ 17725 w 247491"/>
                    <a:gd name="connsiteY0" fmla="*/ 35450 h 35449"/>
                    <a:gd name="connsiteX1" fmla="*/ 0 w 247491"/>
                    <a:gd name="connsiteY1" fmla="*/ 17725 h 35449"/>
                    <a:gd name="connsiteX2" fmla="*/ 17725 w 247491"/>
                    <a:gd name="connsiteY2" fmla="*/ 0 h 35449"/>
                    <a:gd name="connsiteX3" fmla="*/ 229767 w 247491"/>
                    <a:gd name="connsiteY3" fmla="*/ 0 h 35449"/>
                    <a:gd name="connsiteX4" fmla="*/ 247492 w 247491"/>
                    <a:gd name="connsiteY4" fmla="*/ 17725 h 35449"/>
                    <a:gd name="connsiteX5" fmla="*/ 229767 w 247491"/>
                    <a:gd name="connsiteY5" fmla="*/ 35450 h 35449"/>
                    <a:gd name="connsiteX6" fmla="*/ 17725 w 247491"/>
                    <a:gd name="connsiteY6" fmla="*/ 35450 h 35449"/>
                    <a:gd name="connsiteX7" fmla="*/ 17725 w 247491"/>
                    <a:gd name="connsiteY7" fmla="*/ 35450 h 354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47491" h="35449">
                      <a:moveTo>
                        <a:pt x="17725" y="35450"/>
                      </a:moveTo>
                      <a:cubicBezTo>
                        <a:pt x="7877" y="35450"/>
                        <a:pt x="0" y="27572"/>
                        <a:pt x="0" y="17725"/>
                      </a:cubicBezTo>
                      <a:cubicBezTo>
                        <a:pt x="0" y="7878"/>
                        <a:pt x="7877" y="0"/>
                        <a:pt x="17725" y="0"/>
                      </a:cubicBezTo>
                      <a:lnTo>
                        <a:pt x="229767" y="0"/>
                      </a:lnTo>
                      <a:cubicBezTo>
                        <a:pt x="239614" y="0"/>
                        <a:pt x="247492" y="7878"/>
                        <a:pt x="247492" y="17725"/>
                      </a:cubicBezTo>
                      <a:cubicBezTo>
                        <a:pt x="247492" y="27572"/>
                        <a:pt x="239614" y="35450"/>
                        <a:pt x="229767" y="35450"/>
                      </a:cubicBezTo>
                      <a:lnTo>
                        <a:pt x="17725" y="35450"/>
                      </a:lnTo>
                      <a:lnTo>
                        <a:pt x="17725" y="35450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sp>
            <p:nvSpPr>
              <p:cNvPr id="183" name="Forma Livre: Forma 182">
                <a:extLst>
                  <a:ext uri="{FF2B5EF4-FFF2-40B4-BE49-F238E27FC236}">
                    <a16:creationId xmlns:a16="http://schemas.microsoft.com/office/drawing/2014/main" id="{C221EC08-2D3E-499C-8B1F-4FA7FC0C5054}"/>
                  </a:ext>
                </a:extLst>
              </p:cNvPr>
              <p:cNvSpPr/>
              <p:nvPr/>
            </p:nvSpPr>
            <p:spPr>
              <a:xfrm>
                <a:off x="10695282" y="3626437"/>
                <a:ext cx="416863" cy="416863"/>
              </a:xfrm>
              <a:custGeom>
                <a:avLst/>
                <a:gdLst>
                  <a:gd name="connsiteX0" fmla="*/ 399139 w 416863"/>
                  <a:gd name="connsiteY0" fmla="*/ 416863 h 416863"/>
                  <a:gd name="connsiteX1" fmla="*/ 17725 w 416863"/>
                  <a:gd name="connsiteY1" fmla="*/ 416863 h 416863"/>
                  <a:gd name="connsiteX2" fmla="*/ 0 w 416863"/>
                  <a:gd name="connsiteY2" fmla="*/ 399138 h 416863"/>
                  <a:gd name="connsiteX3" fmla="*/ 0 w 416863"/>
                  <a:gd name="connsiteY3" fmla="*/ 17725 h 416863"/>
                  <a:gd name="connsiteX4" fmla="*/ 17725 w 416863"/>
                  <a:gd name="connsiteY4" fmla="*/ 0 h 416863"/>
                  <a:gd name="connsiteX5" fmla="*/ 399139 w 416863"/>
                  <a:gd name="connsiteY5" fmla="*/ 0 h 416863"/>
                  <a:gd name="connsiteX6" fmla="*/ 416863 w 416863"/>
                  <a:gd name="connsiteY6" fmla="*/ 17725 h 416863"/>
                  <a:gd name="connsiteX7" fmla="*/ 416863 w 416863"/>
                  <a:gd name="connsiteY7" fmla="*/ 399138 h 416863"/>
                  <a:gd name="connsiteX8" fmla="*/ 399139 w 416863"/>
                  <a:gd name="connsiteY8" fmla="*/ 416863 h 416863"/>
                  <a:gd name="connsiteX9" fmla="*/ 399139 w 416863"/>
                  <a:gd name="connsiteY9" fmla="*/ 416863 h 416863"/>
                  <a:gd name="connsiteX10" fmla="*/ 35450 w 416863"/>
                  <a:gd name="connsiteY10" fmla="*/ 382070 h 416863"/>
                  <a:gd name="connsiteX11" fmla="*/ 382071 w 416863"/>
                  <a:gd name="connsiteY11" fmla="*/ 382070 h 416863"/>
                  <a:gd name="connsiteX12" fmla="*/ 382071 w 416863"/>
                  <a:gd name="connsiteY12" fmla="*/ 35450 h 416863"/>
                  <a:gd name="connsiteX13" fmla="*/ 35450 w 416863"/>
                  <a:gd name="connsiteY13" fmla="*/ 35450 h 416863"/>
                  <a:gd name="connsiteX14" fmla="*/ 35450 w 416863"/>
                  <a:gd name="connsiteY14" fmla="*/ 382070 h 416863"/>
                  <a:gd name="connsiteX15" fmla="*/ 35450 w 416863"/>
                  <a:gd name="connsiteY15" fmla="*/ 382070 h 416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16863" h="416863">
                    <a:moveTo>
                      <a:pt x="399139" y="416863"/>
                    </a:moveTo>
                    <a:lnTo>
                      <a:pt x="17725" y="416863"/>
                    </a:lnTo>
                    <a:cubicBezTo>
                      <a:pt x="7878" y="416863"/>
                      <a:pt x="0" y="408986"/>
                      <a:pt x="0" y="399138"/>
                    </a:cubicBezTo>
                    <a:lnTo>
                      <a:pt x="0" y="17725"/>
                    </a:lnTo>
                    <a:cubicBezTo>
                      <a:pt x="0" y="7878"/>
                      <a:pt x="7878" y="0"/>
                      <a:pt x="17725" y="0"/>
                    </a:cubicBezTo>
                    <a:lnTo>
                      <a:pt x="399139" y="0"/>
                    </a:lnTo>
                    <a:cubicBezTo>
                      <a:pt x="408986" y="0"/>
                      <a:pt x="416863" y="7878"/>
                      <a:pt x="416863" y="17725"/>
                    </a:cubicBezTo>
                    <a:lnTo>
                      <a:pt x="416863" y="399138"/>
                    </a:lnTo>
                    <a:cubicBezTo>
                      <a:pt x="416863" y="408986"/>
                      <a:pt x="408986" y="416863"/>
                      <a:pt x="399139" y="416863"/>
                    </a:cubicBezTo>
                    <a:lnTo>
                      <a:pt x="399139" y="416863"/>
                    </a:lnTo>
                    <a:close/>
                    <a:moveTo>
                      <a:pt x="35450" y="382070"/>
                    </a:moveTo>
                    <a:lnTo>
                      <a:pt x="382071" y="382070"/>
                    </a:lnTo>
                    <a:lnTo>
                      <a:pt x="382071" y="35450"/>
                    </a:lnTo>
                    <a:lnTo>
                      <a:pt x="35450" y="35450"/>
                    </a:lnTo>
                    <a:lnTo>
                      <a:pt x="35450" y="382070"/>
                    </a:lnTo>
                    <a:lnTo>
                      <a:pt x="35450" y="382070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184" name="Gráfico 2">
            <a:extLst>
              <a:ext uri="{FF2B5EF4-FFF2-40B4-BE49-F238E27FC236}">
                <a16:creationId xmlns:a16="http://schemas.microsoft.com/office/drawing/2014/main" id="{4A08825F-1C42-4C63-A6FE-BBB3DD9D4FEB}"/>
              </a:ext>
            </a:extLst>
          </p:cNvPr>
          <p:cNvGrpSpPr/>
          <p:nvPr/>
        </p:nvGrpSpPr>
        <p:grpSpPr>
          <a:xfrm>
            <a:off x="1074600" y="4591460"/>
            <a:ext cx="10052972" cy="1502678"/>
            <a:chOff x="1074600" y="4591460"/>
            <a:chExt cx="10052972" cy="1502678"/>
          </a:xfrm>
          <a:solidFill>
            <a:srgbClr val="B1B1A1"/>
          </a:solidFill>
        </p:grpSpPr>
        <p:grpSp>
          <p:nvGrpSpPr>
            <p:cNvPr id="185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4282807" y="4597368"/>
              <a:ext cx="404390" cy="405046"/>
              <a:chOff x="4282807" y="4597368"/>
              <a:chExt cx="404390" cy="405046"/>
            </a:xfrm>
            <a:grpFill/>
          </p:grpSpPr>
          <p:grpSp>
            <p:nvGrpSpPr>
              <p:cNvPr id="186" name="Gráfico 2">
                <a:extLst>
                  <a:ext uri="{FF2B5EF4-FFF2-40B4-BE49-F238E27FC236}">
                    <a16:creationId xmlns:a16="http://schemas.microsoft.com/office/drawing/2014/main" id="{4A08825F-1C42-4C63-A6FE-BBB3DD9D4FEB}"/>
                  </a:ext>
                </a:extLst>
              </p:cNvPr>
              <p:cNvGrpSpPr/>
              <p:nvPr/>
            </p:nvGrpSpPr>
            <p:grpSpPr>
              <a:xfrm>
                <a:off x="4282807" y="4597368"/>
                <a:ext cx="404062" cy="405046"/>
                <a:chOff x="4282807" y="4597368"/>
                <a:chExt cx="404062" cy="405046"/>
              </a:xfrm>
              <a:grpFill/>
            </p:grpSpPr>
            <p:sp>
              <p:nvSpPr>
                <p:cNvPr id="187" name="Forma Livre: Forma 186">
                  <a:extLst>
                    <a:ext uri="{FF2B5EF4-FFF2-40B4-BE49-F238E27FC236}">
                      <a16:creationId xmlns:a16="http://schemas.microsoft.com/office/drawing/2014/main" id="{562D976B-1DA7-468E-913C-0B74D8174C36}"/>
                    </a:ext>
                  </a:extLst>
                </p:cNvPr>
                <p:cNvSpPr/>
                <p:nvPr/>
              </p:nvSpPr>
              <p:spPr>
                <a:xfrm>
                  <a:off x="4282807" y="4597368"/>
                  <a:ext cx="141799" cy="141799"/>
                </a:xfrm>
                <a:custGeom>
                  <a:avLst/>
                  <a:gdLst>
                    <a:gd name="connsiteX0" fmla="*/ 17725 w 141799"/>
                    <a:gd name="connsiteY0" fmla="*/ 141799 h 141799"/>
                    <a:gd name="connsiteX1" fmla="*/ 17725 w 141799"/>
                    <a:gd name="connsiteY1" fmla="*/ 141799 h 141799"/>
                    <a:gd name="connsiteX2" fmla="*/ 0 w 141799"/>
                    <a:gd name="connsiteY2" fmla="*/ 124074 h 141799"/>
                    <a:gd name="connsiteX3" fmla="*/ 0 w 141799"/>
                    <a:gd name="connsiteY3" fmla="*/ 17725 h 141799"/>
                    <a:gd name="connsiteX4" fmla="*/ 17725 w 141799"/>
                    <a:gd name="connsiteY4" fmla="*/ 0 h 141799"/>
                    <a:gd name="connsiteX5" fmla="*/ 124074 w 141799"/>
                    <a:gd name="connsiteY5" fmla="*/ 0 h 141799"/>
                    <a:gd name="connsiteX6" fmla="*/ 124074 w 141799"/>
                    <a:gd name="connsiteY6" fmla="*/ 0 h 141799"/>
                    <a:gd name="connsiteX7" fmla="*/ 141799 w 141799"/>
                    <a:gd name="connsiteY7" fmla="*/ 17725 h 141799"/>
                    <a:gd name="connsiteX8" fmla="*/ 124074 w 141799"/>
                    <a:gd name="connsiteY8" fmla="*/ 35450 h 141799"/>
                    <a:gd name="connsiteX9" fmla="*/ 35450 w 141799"/>
                    <a:gd name="connsiteY9" fmla="*/ 35450 h 141799"/>
                    <a:gd name="connsiteX10" fmla="*/ 35450 w 141799"/>
                    <a:gd name="connsiteY10" fmla="*/ 124074 h 141799"/>
                    <a:gd name="connsiteX11" fmla="*/ 17725 w 141799"/>
                    <a:gd name="connsiteY11" fmla="*/ 141799 h 141799"/>
                    <a:gd name="connsiteX12" fmla="*/ 17725 w 141799"/>
                    <a:gd name="connsiteY12" fmla="*/ 141799 h 141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41799" h="141799">
                      <a:moveTo>
                        <a:pt x="17725" y="141799"/>
                      </a:moveTo>
                      <a:lnTo>
                        <a:pt x="17725" y="141799"/>
                      </a:lnTo>
                      <a:cubicBezTo>
                        <a:pt x="7878" y="141799"/>
                        <a:pt x="0" y="133921"/>
                        <a:pt x="0" y="124074"/>
                      </a:cubicBezTo>
                      <a:lnTo>
                        <a:pt x="0" y="17725"/>
                      </a:lnTo>
                      <a:cubicBezTo>
                        <a:pt x="0" y="7878"/>
                        <a:pt x="7878" y="0"/>
                        <a:pt x="17725" y="0"/>
                      </a:cubicBezTo>
                      <a:lnTo>
                        <a:pt x="124074" y="0"/>
                      </a:lnTo>
                      <a:lnTo>
                        <a:pt x="124074" y="0"/>
                      </a:lnTo>
                      <a:cubicBezTo>
                        <a:pt x="133922" y="0"/>
                        <a:pt x="141799" y="7878"/>
                        <a:pt x="141799" y="17725"/>
                      </a:cubicBezTo>
                      <a:cubicBezTo>
                        <a:pt x="141799" y="27572"/>
                        <a:pt x="133922" y="35450"/>
                        <a:pt x="124074" y="35450"/>
                      </a:cubicBezTo>
                      <a:lnTo>
                        <a:pt x="35450" y="35450"/>
                      </a:lnTo>
                      <a:lnTo>
                        <a:pt x="35450" y="124074"/>
                      </a:lnTo>
                      <a:cubicBezTo>
                        <a:pt x="34793" y="133921"/>
                        <a:pt x="26916" y="141799"/>
                        <a:pt x="17725" y="141799"/>
                      </a:cubicBezTo>
                      <a:lnTo>
                        <a:pt x="17725" y="141799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188" name="Forma Livre: Forma 187">
                  <a:extLst>
                    <a:ext uri="{FF2B5EF4-FFF2-40B4-BE49-F238E27FC236}">
                      <a16:creationId xmlns:a16="http://schemas.microsoft.com/office/drawing/2014/main" id="{650C9812-391F-442E-9659-45522152397F}"/>
                    </a:ext>
                  </a:extLst>
                </p:cNvPr>
                <p:cNvSpPr/>
                <p:nvPr/>
              </p:nvSpPr>
              <p:spPr>
                <a:xfrm>
                  <a:off x="4297578" y="4612795"/>
                  <a:ext cx="389291" cy="389619"/>
                </a:xfrm>
                <a:custGeom>
                  <a:avLst/>
                  <a:gdLst>
                    <a:gd name="connsiteX0" fmla="*/ 371895 w 389291"/>
                    <a:gd name="connsiteY0" fmla="*/ 389620 h 389619"/>
                    <a:gd name="connsiteX1" fmla="*/ 359422 w 389291"/>
                    <a:gd name="connsiteY1" fmla="*/ 384368 h 389619"/>
                    <a:gd name="connsiteX2" fmla="*/ 4924 w 389291"/>
                    <a:gd name="connsiteY2" fmla="*/ 29870 h 389619"/>
                    <a:gd name="connsiteX3" fmla="*/ 4924 w 389291"/>
                    <a:gd name="connsiteY3" fmla="*/ 4924 h 389619"/>
                    <a:gd name="connsiteX4" fmla="*/ 29870 w 389291"/>
                    <a:gd name="connsiteY4" fmla="*/ 4924 h 389619"/>
                    <a:gd name="connsiteX5" fmla="*/ 384368 w 389291"/>
                    <a:gd name="connsiteY5" fmla="*/ 359422 h 389619"/>
                    <a:gd name="connsiteX6" fmla="*/ 384368 w 389291"/>
                    <a:gd name="connsiteY6" fmla="*/ 384368 h 389619"/>
                    <a:gd name="connsiteX7" fmla="*/ 371895 w 389291"/>
                    <a:gd name="connsiteY7" fmla="*/ 389620 h 389619"/>
                    <a:gd name="connsiteX8" fmla="*/ 371895 w 389291"/>
                    <a:gd name="connsiteY8" fmla="*/ 389620 h 3896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89291" h="389619">
                      <a:moveTo>
                        <a:pt x="371895" y="389620"/>
                      </a:moveTo>
                      <a:cubicBezTo>
                        <a:pt x="367299" y="389620"/>
                        <a:pt x="362704" y="387650"/>
                        <a:pt x="359422" y="384368"/>
                      </a:cubicBezTo>
                      <a:lnTo>
                        <a:pt x="4924" y="29870"/>
                      </a:lnTo>
                      <a:cubicBezTo>
                        <a:pt x="-1641" y="23305"/>
                        <a:pt x="-1641" y="12145"/>
                        <a:pt x="4924" y="4924"/>
                      </a:cubicBezTo>
                      <a:cubicBezTo>
                        <a:pt x="11488" y="-1641"/>
                        <a:pt x="22649" y="-1641"/>
                        <a:pt x="29870" y="4924"/>
                      </a:cubicBezTo>
                      <a:lnTo>
                        <a:pt x="384368" y="359422"/>
                      </a:lnTo>
                      <a:cubicBezTo>
                        <a:pt x="390932" y="365986"/>
                        <a:pt x="390932" y="377147"/>
                        <a:pt x="384368" y="384368"/>
                      </a:cubicBezTo>
                      <a:cubicBezTo>
                        <a:pt x="381085" y="387650"/>
                        <a:pt x="376490" y="389620"/>
                        <a:pt x="371895" y="389620"/>
                      </a:cubicBezTo>
                      <a:lnTo>
                        <a:pt x="371895" y="389620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grpSp>
            <p:nvGrpSpPr>
              <p:cNvPr id="189" name="Gráfico 2">
                <a:extLst>
                  <a:ext uri="{FF2B5EF4-FFF2-40B4-BE49-F238E27FC236}">
                    <a16:creationId xmlns:a16="http://schemas.microsoft.com/office/drawing/2014/main" id="{4A08825F-1C42-4C63-A6FE-BBB3DD9D4FEB}"/>
                  </a:ext>
                </a:extLst>
              </p:cNvPr>
              <p:cNvGrpSpPr/>
              <p:nvPr/>
            </p:nvGrpSpPr>
            <p:grpSpPr>
              <a:xfrm>
                <a:off x="4283136" y="4597368"/>
                <a:ext cx="404062" cy="405046"/>
                <a:chOff x="4283136" y="4597368"/>
                <a:chExt cx="404062" cy="405046"/>
              </a:xfrm>
              <a:grpFill/>
            </p:grpSpPr>
            <p:sp>
              <p:nvSpPr>
                <p:cNvPr id="190" name="Forma Livre: Forma 189">
                  <a:extLst>
                    <a:ext uri="{FF2B5EF4-FFF2-40B4-BE49-F238E27FC236}">
                      <a16:creationId xmlns:a16="http://schemas.microsoft.com/office/drawing/2014/main" id="{C29AB465-0C47-478F-BE2C-70FDC3D2B008}"/>
                    </a:ext>
                  </a:extLst>
                </p:cNvPr>
                <p:cNvSpPr/>
                <p:nvPr/>
              </p:nvSpPr>
              <p:spPr>
                <a:xfrm>
                  <a:off x="4545398" y="4597368"/>
                  <a:ext cx="141799" cy="141799"/>
                </a:xfrm>
                <a:custGeom>
                  <a:avLst/>
                  <a:gdLst>
                    <a:gd name="connsiteX0" fmla="*/ 124074 w 141799"/>
                    <a:gd name="connsiteY0" fmla="*/ 141799 h 141799"/>
                    <a:gd name="connsiteX1" fmla="*/ 106349 w 141799"/>
                    <a:gd name="connsiteY1" fmla="*/ 124074 h 141799"/>
                    <a:gd name="connsiteX2" fmla="*/ 106349 w 141799"/>
                    <a:gd name="connsiteY2" fmla="*/ 35450 h 141799"/>
                    <a:gd name="connsiteX3" fmla="*/ 17725 w 141799"/>
                    <a:gd name="connsiteY3" fmla="*/ 35450 h 141799"/>
                    <a:gd name="connsiteX4" fmla="*/ 0 w 141799"/>
                    <a:gd name="connsiteY4" fmla="*/ 17725 h 141799"/>
                    <a:gd name="connsiteX5" fmla="*/ 17725 w 141799"/>
                    <a:gd name="connsiteY5" fmla="*/ 0 h 141799"/>
                    <a:gd name="connsiteX6" fmla="*/ 17725 w 141799"/>
                    <a:gd name="connsiteY6" fmla="*/ 0 h 141799"/>
                    <a:gd name="connsiteX7" fmla="*/ 124074 w 141799"/>
                    <a:gd name="connsiteY7" fmla="*/ 0 h 141799"/>
                    <a:gd name="connsiteX8" fmla="*/ 141799 w 141799"/>
                    <a:gd name="connsiteY8" fmla="*/ 17725 h 141799"/>
                    <a:gd name="connsiteX9" fmla="*/ 141799 w 141799"/>
                    <a:gd name="connsiteY9" fmla="*/ 124074 h 141799"/>
                    <a:gd name="connsiteX10" fmla="*/ 124074 w 141799"/>
                    <a:gd name="connsiteY10" fmla="*/ 141799 h 141799"/>
                    <a:gd name="connsiteX11" fmla="*/ 124074 w 141799"/>
                    <a:gd name="connsiteY11" fmla="*/ 141799 h 141799"/>
                    <a:gd name="connsiteX12" fmla="*/ 124074 w 141799"/>
                    <a:gd name="connsiteY12" fmla="*/ 141799 h 141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41799" h="141799">
                      <a:moveTo>
                        <a:pt x="124074" y="141799"/>
                      </a:moveTo>
                      <a:cubicBezTo>
                        <a:pt x="114227" y="141799"/>
                        <a:pt x="106349" y="133921"/>
                        <a:pt x="106349" y="124074"/>
                      </a:cubicBezTo>
                      <a:lnTo>
                        <a:pt x="106349" y="35450"/>
                      </a:lnTo>
                      <a:lnTo>
                        <a:pt x="17725" y="35450"/>
                      </a:lnTo>
                      <a:cubicBezTo>
                        <a:pt x="7878" y="35450"/>
                        <a:pt x="0" y="27572"/>
                        <a:pt x="0" y="17725"/>
                      </a:cubicBezTo>
                      <a:cubicBezTo>
                        <a:pt x="0" y="7878"/>
                        <a:pt x="7878" y="0"/>
                        <a:pt x="17725" y="0"/>
                      </a:cubicBezTo>
                      <a:lnTo>
                        <a:pt x="17725" y="0"/>
                      </a:lnTo>
                      <a:lnTo>
                        <a:pt x="124074" y="0"/>
                      </a:lnTo>
                      <a:cubicBezTo>
                        <a:pt x="133922" y="0"/>
                        <a:pt x="141799" y="7878"/>
                        <a:pt x="141799" y="17725"/>
                      </a:cubicBezTo>
                      <a:lnTo>
                        <a:pt x="141799" y="124074"/>
                      </a:lnTo>
                      <a:cubicBezTo>
                        <a:pt x="141799" y="133921"/>
                        <a:pt x="133922" y="141799"/>
                        <a:pt x="124074" y="141799"/>
                      </a:cubicBezTo>
                      <a:lnTo>
                        <a:pt x="124074" y="141799"/>
                      </a:lnTo>
                      <a:lnTo>
                        <a:pt x="124074" y="141799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191" name="Forma Livre: Forma 190">
                  <a:extLst>
                    <a:ext uri="{FF2B5EF4-FFF2-40B4-BE49-F238E27FC236}">
                      <a16:creationId xmlns:a16="http://schemas.microsoft.com/office/drawing/2014/main" id="{50AEA8E1-4635-463E-AF45-ECCEE275DFD9}"/>
                    </a:ext>
                  </a:extLst>
                </p:cNvPr>
                <p:cNvSpPr/>
                <p:nvPr/>
              </p:nvSpPr>
              <p:spPr>
                <a:xfrm>
                  <a:off x="4283136" y="4612795"/>
                  <a:ext cx="389291" cy="389619"/>
                </a:xfrm>
                <a:custGeom>
                  <a:avLst/>
                  <a:gdLst>
                    <a:gd name="connsiteX0" fmla="*/ 17397 w 389291"/>
                    <a:gd name="connsiteY0" fmla="*/ 389620 h 389619"/>
                    <a:gd name="connsiteX1" fmla="*/ 4924 w 389291"/>
                    <a:gd name="connsiteY1" fmla="*/ 384368 h 389619"/>
                    <a:gd name="connsiteX2" fmla="*/ 4924 w 389291"/>
                    <a:gd name="connsiteY2" fmla="*/ 359422 h 389619"/>
                    <a:gd name="connsiteX3" fmla="*/ 359421 w 389291"/>
                    <a:gd name="connsiteY3" fmla="*/ 4924 h 389619"/>
                    <a:gd name="connsiteX4" fmla="*/ 384368 w 389291"/>
                    <a:gd name="connsiteY4" fmla="*/ 4924 h 389619"/>
                    <a:gd name="connsiteX5" fmla="*/ 384368 w 389291"/>
                    <a:gd name="connsiteY5" fmla="*/ 29870 h 389619"/>
                    <a:gd name="connsiteX6" fmla="*/ 29870 w 389291"/>
                    <a:gd name="connsiteY6" fmla="*/ 384368 h 389619"/>
                    <a:gd name="connsiteX7" fmla="*/ 17397 w 389291"/>
                    <a:gd name="connsiteY7" fmla="*/ 389620 h 389619"/>
                    <a:gd name="connsiteX8" fmla="*/ 17397 w 389291"/>
                    <a:gd name="connsiteY8" fmla="*/ 389620 h 3896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89291" h="389619">
                      <a:moveTo>
                        <a:pt x="17397" y="389620"/>
                      </a:moveTo>
                      <a:cubicBezTo>
                        <a:pt x="12801" y="389620"/>
                        <a:pt x="8206" y="387650"/>
                        <a:pt x="4924" y="384368"/>
                      </a:cubicBezTo>
                      <a:cubicBezTo>
                        <a:pt x="-1641" y="377803"/>
                        <a:pt x="-1641" y="366643"/>
                        <a:pt x="4924" y="359422"/>
                      </a:cubicBezTo>
                      <a:lnTo>
                        <a:pt x="359421" y="4924"/>
                      </a:lnTo>
                      <a:cubicBezTo>
                        <a:pt x="365986" y="-1641"/>
                        <a:pt x="377146" y="-1641"/>
                        <a:pt x="384368" y="4924"/>
                      </a:cubicBezTo>
                      <a:cubicBezTo>
                        <a:pt x="390933" y="11488"/>
                        <a:pt x="390933" y="22649"/>
                        <a:pt x="384368" y="29870"/>
                      </a:cubicBezTo>
                      <a:lnTo>
                        <a:pt x="29870" y="384368"/>
                      </a:lnTo>
                      <a:cubicBezTo>
                        <a:pt x="25931" y="387650"/>
                        <a:pt x="21336" y="389620"/>
                        <a:pt x="17397" y="389620"/>
                      </a:cubicBezTo>
                      <a:lnTo>
                        <a:pt x="17397" y="389620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</p:grpSp>
        <p:grpSp>
          <p:nvGrpSpPr>
            <p:cNvPr id="192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9616033" y="4631833"/>
              <a:ext cx="440168" cy="336444"/>
              <a:chOff x="9616033" y="4631833"/>
              <a:chExt cx="440168" cy="336444"/>
            </a:xfrm>
            <a:grpFill/>
          </p:grpSpPr>
          <p:sp>
            <p:nvSpPr>
              <p:cNvPr id="193" name="Forma Livre: Forma 192">
                <a:extLst>
                  <a:ext uri="{FF2B5EF4-FFF2-40B4-BE49-F238E27FC236}">
                    <a16:creationId xmlns:a16="http://schemas.microsoft.com/office/drawing/2014/main" id="{B3925329-2F25-4885-BA59-407953CD3914}"/>
                  </a:ext>
                </a:extLst>
              </p:cNvPr>
              <p:cNvSpPr/>
              <p:nvPr/>
            </p:nvSpPr>
            <p:spPr>
              <a:xfrm>
                <a:off x="9616033" y="4698465"/>
                <a:ext cx="434588" cy="269812"/>
              </a:xfrm>
              <a:custGeom>
                <a:avLst/>
                <a:gdLst>
                  <a:gd name="connsiteX0" fmla="*/ 107663 w 434588"/>
                  <a:gd name="connsiteY0" fmla="*/ 269813 h 269812"/>
                  <a:gd name="connsiteX1" fmla="*/ 17725 w 434588"/>
                  <a:gd name="connsiteY1" fmla="*/ 269813 h 269812"/>
                  <a:gd name="connsiteX2" fmla="*/ 0 w 434588"/>
                  <a:gd name="connsiteY2" fmla="*/ 252088 h 269812"/>
                  <a:gd name="connsiteX3" fmla="*/ 17725 w 434588"/>
                  <a:gd name="connsiteY3" fmla="*/ 234363 h 269812"/>
                  <a:gd name="connsiteX4" fmla="*/ 99129 w 434588"/>
                  <a:gd name="connsiteY4" fmla="*/ 234363 h 269812"/>
                  <a:gd name="connsiteX5" fmla="*/ 292133 w 434588"/>
                  <a:gd name="connsiteY5" fmla="*/ 5908 h 269812"/>
                  <a:gd name="connsiteX6" fmla="*/ 305262 w 434588"/>
                  <a:gd name="connsiteY6" fmla="*/ 0 h 269812"/>
                  <a:gd name="connsiteX7" fmla="*/ 416863 w 434588"/>
                  <a:gd name="connsiteY7" fmla="*/ 0 h 269812"/>
                  <a:gd name="connsiteX8" fmla="*/ 434589 w 434588"/>
                  <a:gd name="connsiteY8" fmla="*/ 17725 h 269812"/>
                  <a:gd name="connsiteX9" fmla="*/ 416863 w 434588"/>
                  <a:gd name="connsiteY9" fmla="*/ 35450 h 269812"/>
                  <a:gd name="connsiteX10" fmla="*/ 313797 w 434588"/>
                  <a:gd name="connsiteY10" fmla="*/ 35450 h 269812"/>
                  <a:gd name="connsiteX11" fmla="*/ 120792 w 434588"/>
                  <a:gd name="connsiteY11" fmla="*/ 263904 h 269812"/>
                  <a:gd name="connsiteX12" fmla="*/ 107663 w 434588"/>
                  <a:gd name="connsiteY12" fmla="*/ 269813 h 269812"/>
                  <a:gd name="connsiteX13" fmla="*/ 107663 w 434588"/>
                  <a:gd name="connsiteY13" fmla="*/ 269813 h 269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4588" h="269812">
                    <a:moveTo>
                      <a:pt x="107663" y="269813"/>
                    </a:moveTo>
                    <a:lnTo>
                      <a:pt x="17725" y="269813"/>
                    </a:lnTo>
                    <a:cubicBezTo>
                      <a:pt x="7878" y="269813"/>
                      <a:pt x="0" y="261935"/>
                      <a:pt x="0" y="252088"/>
                    </a:cubicBezTo>
                    <a:cubicBezTo>
                      <a:pt x="0" y="242241"/>
                      <a:pt x="7878" y="234363"/>
                      <a:pt x="17725" y="234363"/>
                    </a:cubicBezTo>
                    <a:lnTo>
                      <a:pt x="99129" y="234363"/>
                    </a:lnTo>
                    <a:lnTo>
                      <a:pt x="292133" y="5908"/>
                    </a:lnTo>
                    <a:cubicBezTo>
                      <a:pt x="295415" y="1970"/>
                      <a:pt x="300667" y="0"/>
                      <a:pt x="305262" y="0"/>
                    </a:cubicBezTo>
                    <a:lnTo>
                      <a:pt x="416863" y="0"/>
                    </a:lnTo>
                    <a:cubicBezTo>
                      <a:pt x="426711" y="0"/>
                      <a:pt x="434589" y="7878"/>
                      <a:pt x="434589" y="17725"/>
                    </a:cubicBezTo>
                    <a:cubicBezTo>
                      <a:pt x="434589" y="27572"/>
                      <a:pt x="426711" y="35450"/>
                      <a:pt x="416863" y="35450"/>
                    </a:cubicBezTo>
                    <a:lnTo>
                      <a:pt x="313797" y="35450"/>
                    </a:lnTo>
                    <a:lnTo>
                      <a:pt x="120792" y="263904"/>
                    </a:lnTo>
                    <a:cubicBezTo>
                      <a:pt x="117510" y="267843"/>
                      <a:pt x="112915" y="269813"/>
                      <a:pt x="107663" y="269813"/>
                    </a:cubicBezTo>
                    <a:lnTo>
                      <a:pt x="107663" y="269813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94" name="Forma Livre: Forma 193">
                <a:extLst>
                  <a:ext uri="{FF2B5EF4-FFF2-40B4-BE49-F238E27FC236}">
                    <a16:creationId xmlns:a16="http://schemas.microsoft.com/office/drawing/2014/main" id="{8A92BC2D-7F5F-4A70-B33B-00CB9D54E906}"/>
                  </a:ext>
                </a:extLst>
              </p:cNvPr>
              <p:cNvSpPr/>
              <p:nvPr/>
            </p:nvSpPr>
            <p:spPr>
              <a:xfrm>
                <a:off x="9953791" y="4631833"/>
                <a:ext cx="102410" cy="170356"/>
              </a:xfrm>
              <a:custGeom>
                <a:avLst/>
                <a:gdLst>
                  <a:gd name="connsiteX0" fmla="*/ 17397 w 102410"/>
                  <a:gd name="connsiteY0" fmla="*/ 170356 h 170356"/>
                  <a:gd name="connsiteX1" fmla="*/ 4924 w 102410"/>
                  <a:gd name="connsiteY1" fmla="*/ 165104 h 170356"/>
                  <a:gd name="connsiteX2" fmla="*/ 4924 w 102410"/>
                  <a:gd name="connsiteY2" fmla="*/ 140158 h 170356"/>
                  <a:gd name="connsiteX3" fmla="*/ 60068 w 102410"/>
                  <a:gd name="connsiteY3" fmla="*/ 85014 h 170356"/>
                  <a:gd name="connsiteX4" fmla="*/ 4924 w 102410"/>
                  <a:gd name="connsiteY4" fmla="*/ 29870 h 170356"/>
                  <a:gd name="connsiteX5" fmla="*/ 4924 w 102410"/>
                  <a:gd name="connsiteY5" fmla="*/ 4924 h 170356"/>
                  <a:gd name="connsiteX6" fmla="*/ 29869 w 102410"/>
                  <a:gd name="connsiteY6" fmla="*/ 4924 h 170356"/>
                  <a:gd name="connsiteX7" fmla="*/ 97487 w 102410"/>
                  <a:gd name="connsiteY7" fmla="*/ 72541 h 170356"/>
                  <a:gd name="connsiteX8" fmla="*/ 97487 w 102410"/>
                  <a:gd name="connsiteY8" fmla="*/ 97487 h 170356"/>
                  <a:gd name="connsiteX9" fmla="*/ 29869 w 102410"/>
                  <a:gd name="connsiteY9" fmla="*/ 165104 h 170356"/>
                  <a:gd name="connsiteX10" fmla="*/ 17397 w 102410"/>
                  <a:gd name="connsiteY10" fmla="*/ 170356 h 170356"/>
                  <a:gd name="connsiteX11" fmla="*/ 17397 w 102410"/>
                  <a:gd name="connsiteY11" fmla="*/ 170356 h 1703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2410" h="170356">
                    <a:moveTo>
                      <a:pt x="17397" y="170356"/>
                    </a:moveTo>
                    <a:cubicBezTo>
                      <a:pt x="12801" y="170356"/>
                      <a:pt x="8206" y="168386"/>
                      <a:pt x="4924" y="165104"/>
                    </a:cubicBezTo>
                    <a:cubicBezTo>
                      <a:pt x="-1641" y="158539"/>
                      <a:pt x="-1641" y="147379"/>
                      <a:pt x="4924" y="140158"/>
                    </a:cubicBezTo>
                    <a:lnTo>
                      <a:pt x="60068" y="85014"/>
                    </a:lnTo>
                    <a:lnTo>
                      <a:pt x="4924" y="29870"/>
                    </a:lnTo>
                    <a:cubicBezTo>
                      <a:pt x="-1641" y="23305"/>
                      <a:pt x="-1641" y="12145"/>
                      <a:pt x="4924" y="4924"/>
                    </a:cubicBezTo>
                    <a:cubicBezTo>
                      <a:pt x="11488" y="-1641"/>
                      <a:pt x="22648" y="-1641"/>
                      <a:pt x="29869" y="4924"/>
                    </a:cubicBezTo>
                    <a:lnTo>
                      <a:pt x="97487" y="72541"/>
                    </a:lnTo>
                    <a:cubicBezTo>
                      <a:pt x="104052" y="79106"/>
                      <a:pt x="104052" y="90266"/>
                      <a:pt x="97487" y="97487"/>
                    </a:cubicBezTo>
                    <a:lnTo>
                      <a:pt x="29869" y="165104"/>
                    </a:lnTo>
                    <a:cubicBezTo>
                      <a:pt x="25931" y="168386"/>
                      <a:pt x="21992" y="170356"/>
                      <a:pt x="17397" y="170356"/>
                    </a:cubicBezTo>
                    <a:lnTo>
                      <a:pt x="17397" y="170356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195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10688061" y="4631505"/>
              <a:ext cx="439511" cy="336773"/>
              <a:chOff x="10688061" y="4631505"/>
              <a:chExt cx="439511" cy="336773"/>
            </a:xfrm>
            <a:grpFill/>
          </p:grpSpPr>
          <p:sp>
            <p:nvSpPr>
              <p:cNvPr id="196" name="Forma Livre: Forma 195">
                <a:extLst>
                  <a:ext uri="{FF2B5EF4-FFF2-40B4-BE49-F238E27FC236}">
                    <a16:creationId xmlns:a16="http://schemas.microsoft.com/office/drawing/2014/main" id="{9C469C5B-9D25-4FBE-B7B3-BF87846B3423}"/>
                  </a:ext>
                </a:extLst>
              </p:cNvPr>
              <p:cNvSpPr/>
              <p:nvPr/>
            </p:nvSpPr>
            <p:spPr>
              <a:xfrm>
                <a:off x="10688061" y="4631505"/>
                <a:ext cx="434587" cy="269812"/>
              </a:xfrm>
              <a:custGeom>
                <a:avLst/>
                <a:gdLst>
                  <a:gd name="connsiteX0" fmla="*/ 416863 w 434587"/>
                  <a:gd name="connsiteY0" fmla="*/ 269812 h 269812"/>
                  <a:gd name="connsiteX1" fmla="*/ 305262 w 434587"/>
                  <a:gd name="connsiteY1" fmla="*/ 269812 h 269812"/>
                  <a:gd name="connsiteX2" fmla="*/ 292133 w 434587"/>
                  <a:gd name="connsiteY2" fmla="*/ 263904 h 269812"/>
                  <a:gd name="connsiteX3" fmla="*/ 99128 w 434587"/>
                  <a:gd name="connsiteY3" fmla="*/ 35450 h 269812"/>
                  <a:gd name="connsiteX4" fmla="*/ 17725 w 434587"/>
                  <a:gd name="connsiteY4" fmla="*/ 35450 h 269812"/>
                  <a:gd name="connsiteX5" fmla="*/ 0 w 434587"/>
                  <a:gd name="connsiteY5" fmla="*/ 17725 h 269812"/>
                  <a:gd name="connsiteX6" fmla="*/ 17725 w 434587"/>
                  <a:gd name="connsiteY6" fmla="*/ 0 h 269812"/>
                  <a:gd name="connsiteX7" fmla="*/ 107663 w 434587"/>
                  <a:gd name="connsiteY7" fmla="*/ 0 h 269812"/>
                  <a:gd name="connsiteX8" fmla="*/ 120792 w 434587"/>
                  <a:gd name="connsiteY8" fmla="*/ 5908 h 269812"/>
                  <a:gd name="connsiteX9" fmla="*/ 313797 w 434587"/>
                  <a:gd name="connsiteY9" fmla="*/ 234362 h 269812"/>
                  <a:gd name="connsiteX10" fmla="*/ 416863 w 434587"/>
                  <a:gd name="connsiteY10" fmla="*/ 234362 h 269812"/>
                  <a:gd name="connsiteX11" fmla="*/ 434588 w 434587"/>
                  <a:gd name="connsiteY11" fmla="*/ 252087 h 269812"/>
                  <a:gd name="connsiteX12" fmla="*/ 416863 w 434587"/>
                  <a:gd name="connsiteY12" fmla="*/ 269812 h 269812"/>
                  <a:gd name="connsiteX13" fmla="*/ 416863 w 434587"/>
                  <a:gd name="connsiteY13" fmla="*/ 269812 h 269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4587" h="269812">
                    <a:moveTo>
                      <a:pt x="416863" y="269812"/>
                    </a:moveTo>
                    <a:lnTo>
                      <a:pt x="305262" y="269812"/>
                    </a:lnTo>
                    <a:cubicBezTo>
                      <a:pt x="300010" y="269812"/>
                      <a:pt x="295415" y="267843"/>
                      <a:pt x="292133" y="263904"/>
                    </a:cubicBezTo>
                    <a:lnTo>
                      <a:pt x="99128" y="35450"/>
                    </a:lnTo>
                    <a:lnTo>
                      <a:pt x="17725" y="35450"/>
                    </a:lnTo>
                    <a:cubicBezTo>
                      <a:pt x="7877" y="35450"/>
                      <a:pt x="0" y="27572"/>
                      <a:pt x="0" y="17725"/>
                    </a:cubicBezTo>
                    <a:cubicBezTo>
                      <a:pt x="0" y="7877"/>
                      <a:pt x="7877" y="0"/>
                      <a:pt x="17725" y="0"/>
                    </a:cubicBezTo>
                    <a:lnTo>
                      <a:pt x="107663" y="0"/>
                    </a:lnTo>
                    <a:cubicBezTo>
                      <a:pt x="112914" y="0"/>
                      <a:pt x="117510" y="1969"/>
                      <a:pt x="120792" y="5908"/>
                    </a:cubicBezTo>
                    <a:lnTo>
                      <a:pt x="313797" y="234362"/>
                    </a:lnTo>
                    <a:lnTo>
                      <a:pt x="416863" y="234362"/>
                    </a:lnTo>
                    <a:cubicBezTo>
                      <a:pt x="426711" y="234362"/>
                      <a:pt x="434588" y="242240"/>
                      <a:pt x="434588" y="252087"/>
                    </a:cubicBezTo>
                    <a:cubicBezTo>
                      <a:pt x="433932" y="261934"/>
                      <a:pt x="426054" y="269812"/>
                      <a:pt x="416863" y="269812"/>
                    </a:cubicBezTo>
                    <a:lnTo>
                      <a:pt x="416863" y="269812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97" name="Forma Livre: Forma 196">
                <a:extLst>
                  <a:ext uri="{FF2B5EF4-FFF2-40B4-BE49-F238E27FC236}">
                    <a16:creationId xmlns:a16="http://schemas.microsoft.com/office/drawing/2014/main" id="{F2E0D1A0-6FA3-4DB4-9B42-BB5E8BA34785}"/>
                  </a:ext>
                </a:extLst>
              </p:cNvPr>
              <p:cNvSpPr/>
              <p:nvPr/>
            </p:nvSpPr>
            <p:spPr>
              <a:xfrm>
                <a:off x="11025163" y="4797922"/>
                <a:ext cx="102410" cy="170356"/>
              </a:xfrm>
              <a:custGeom>
                <a:avLst/>
                <a:gdLst>
                  <a:gd name="connsiteX0" fmla="*/ 17397 w 102410"/>
                  <a:gd name="connsiteY0" fmla="*/ 170356 h 170356"/>
                  <a:gd name="connsiteX1" fmla="*/ 4924 w 102410"/>
                  <a:gd name="connsiteY1" fmla="*/ 165104 h 170356"/>
                  <a:gd name="connsiteX2" fmla="*/ 4924 w 102410"/>
                  <a:gd name="connsiteY2" fmla="*/ 140158 h 170356"/>
                  <a:gd name="connsiteX3" fmla="*/ 60068 w 102410"/>
                  <a:gd name="connsiteY3" fmla="*/ 85014 h 170356"/>
                  <a:gd name="connsiteX4" fmla="*/ 4924 w 102410"/>
                  <a:gd name="connsiteY4" fmla="*/ 29870 h 170356"/>
                  <a:gd name="connsiteX5" fmla="*/ 4924 w 102410"/>
                  <a:gd name="connsiteY5" fmla="*/ 4924 h 170356"/>
                  <a:gd name="connsiteX6" fmla="*/ 29870 w 102410"/>
                  <a:gd name="connsiteY6" fmla="*/ 4924 h 170356"/>
                  <a:gd name="connsiteX7" fmla="*/ 97487 w 102410"/>
                  <a:gd name="connsiteY7" fmla="*/ 72541 h 170356"/>
                  <a:gd name="connsiteX8" fmla="*/ 97487 w 102410"/>
                  <a:gd name="connsiteY8" fmla="*/ 97487 h 170356"/>
                  <a:gd name="connsiteX9" fmla="*/ 29870 w 102410"/>
                  <a:gd name="connsiteY9" fmla="*/ 165104 h 170356"/>
                  <a:gd name="connsiteX10" fmla="*/ 17397 w 102410"/>
                  <a:gd name="connsiteY10" fmla="*/ 170356 h 170356"/>
                  <a:gd name="connsiteX11" fmla="*/ 17397 w 102410"/>
                  <a:gd name="connsiteY11" fmla="*/ 170356 h 1703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2410" h="170356">
                    <a:moveTo>
                      <a:pt x="17397" y="170356"/>
                    </a:moveTo>
                    <a:cubicBezTo>
                      <a:pt x="12802" y="170356"/>
                      <a:pt x="8206" y="168387"/>
                      <a:pt x="4924" y="165104"/>
                    </a:cubicBezTo>
                    <a:cubicBezTo>
                      <a:pt x="-1641" y="158540"/>
                      <a:pt x="-1641" y="147379"/>
                      <a:pt x="4924" y="140158"/>
                    </a:cubicBezTo>
                    <a:lnTo>
                      <a:pt x="60068" y="85014"/>
                    </a:lnTo>
                    <a:lnTo>
                      <a:pt x="4924" y="29870"/>
                    </a:lnTo>
                    <a:cubicBezTo>
                      <a:pt x="-1641" y="23305"/>
                      <a:pt x="-1641" y="12145"/>
                      <a:pt x="4924" y="4924"/>
                    </a:cubicBezTo>
                    <a:cubicBezTo>
                      <a:pt x="11488" y="-1641"/>
                      <a:pt x="22649" y="-1641"/>
                      <a:pt x="29870" y="4924"/>
                    </a:cubicBezTo>
                    <a:lnTo>
                      <a:pt x="97487" y="72541"/>
                    </a:lnTo>
                    <a:cubicBezTo>
                      <a:pt x="104052" y="79106"/>
                      <a:pt x="104052" y="90266"/>
                      <a:pt x="97487" y="97487"/>
                    </a:cubicBezTo>
                    <a:lnTo>
                      <a:pt x="29870" y="165104"/>
                    </a:lnTo>
                    <a:cubicBezTo>
                      <a:pt x="26588" y="169043"/>
                      <a:pt x="21992" y="170356"/>
                      <a:pt x="17397" y="170356"/>
                    </a:cubicBezTo>
                    <a:lnTo>
                      <a:pt x="17397" y="170356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198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5354835" y="4607543"/>
              <a:ext cx="397497" cy="385024"/>
              <a:chOff x="5354835" y="4607543"/>
              <a:chExt cx="397497" cy="385024"/>
            </a:xfrm>
            <a:grpFill/>
          </p:grpSpPr>
          <p:sp>
            <p:nvSpPr>
              <p:cNvPr id="199" name="Forma Livre: Forma 198">
                <a:extLst>
                  <a:ext uri="{FF2B5EF4-FFF2-40B4-BE49-F238E27FC236}">
                    <a16:creationId xmlns:a16="http://schemas.microsoft.com/office/drawing/2014/main" id="{EDF85F68-F4D5-46D6-9CAC-6460140D530B}"/>
                  </a:ext>
                </a:extLst>
              </p:cNvPr>
              <p:cNvSpPr/>
              <p:nvPr/>
            </p:nvSpPr>
            <p:spPr>
              <a:xfrm>
                <a:off x="5354835" y="4674832"/>
                <a:ext cx="391261" cy="143112"/>
              </a:xfrm>
              <a:custGeom>
                <a:avLst/>
                <a:gdLst>
                  <a:gd name="connsiteX0" fmla="*/ 142456 w 391261"/>
                  <a:gd name="connsiteY0" fmla="*/ 143112 h 143112"/>
                  <a:gd name="connsiteX1" fmla="*/ 17725 w 391261"/>
                  <a:gd name="connsiteY1" fmla="*/ 143112 h 143112"/>
                  <a:gd name="connsiteX2" fmla="*/ 0 w 391261"/>
                  <a:gd name="connsiteY2" fmla="*/ 125387 h 143112"/>
                  <a:gd name="connsiteX3" fmla="*/ 17725 w 391261"/>
                  <a:gd name="connsiteY3" fmla="*/ 107663 h 143112"/>
                  <a:gd name="connsiteX4" fmla="*/ 134578 w 391261"/>
                  <a:gd name="connsiteY4" fmla="*/ 107663 h 143112"/>
                  <a:gd name="connsiteX5" fmla="*/ 231080 w 391261"/>
                  <a:gd name="connsiteY5" fmla="*/ 5252 h 143112"/>
                  <a:gd name="connsiteX6" fmla="*/ 243554 w 391261"/>
                  <a:gd name="connsiteY6" fmla="*/ 0 h 143112"/>
                  <a:gd name="connsiteX7" fmla="*/ 373536 w 391261"/>
                  <a:gd name="connsiteY7" fmla="*/ 0 h 143112"/>
                  <a:gd name="connsiteX8" fmla="*/ 391261 w 391261"/>
                  <a:gd name="connsiteY8" fmla="*/ 17725 h 143112"/>
                  <a:gd name="connsiteX9" fmla="*/ 373536 w 391261"/>
                  <a:gd name="connsiteY9" fmla="*/ 35450 h 143112"/>
                  <a:gd name="connsiteX10" fmla="*/ 252088 w 391261"/>
                  <a:gd name="connsiteY10" fmla="*/ 35450 h 143112"/>
                  <a:gd name="connsiteX11" fmla="*/ 155585 w 391261"/>
                  <a:gd name="connsiteY11" fmla="*/ 137860 h 143112"/>
                  <a:gd name="connsiteX12" fmla="*/ 142456 w 391261"/>
                  <a:gd name="connsiteY12" fmla="*/ 143112 h 143112"/>
                  <a:gd name="connsiteX13" fmla="*/ 142456 w 391261"/>
                  <a:gd name="connsiteY13" fmla="*/ 143112 h 1431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91261" h="143112">
                    <a:moveTo>
                      <a:pt x="142456" y="143112"/>
                    </a:moveTo>
                    <a:lnTo>
                      <a:pt x="17725" y="143112"/>
                    </a:lnTo>
                    <a:cubicBezTo>
                      <a:pt x="7878" y="143112"/>
                      <a:pt x="0" y="135234"/>
                      <a:pt x="0" y="125387"/>
                    </a:cubicBezTo>
                    <a:cubicBezTo>
                      <a:pt x="0" y="115540"/>
                      <a:pt x="7878" y="107663"/>
                      <a:pt x="17725" y="107663"/>
                    </a:cubicBezTo>
                    <a:lnTo>
                      <a:pt x="134578" y="107663"/>
                    </a:lnTo>
                    <a:lnTo>
                      <a:pt x="231080" y="5252"/>
                    </a:lnTo>
                    <a:cubicBezTo>
                      <a:pt x="234363" y="1969"/>
                      <a:pt x="238958" y="0"/>
                      <a:pt x="243554" y="0"/>
                    </a:cubicBezTo>
                    <a:lnTo>
                      <a:pt x="373536" y="0"/>
                    </a:lnTo>
                    <a:cubicBezTo>
                      <a:pt x="383383" y="0"/>
                      <a:pt x="391261" y="7878"/>
                      <a:pt x="391261" y="17725"/>
                    </a:cubicBezTo>
                    <a:cubicBezTo>
                      <a:pt x="391261" y="27572"/>
                      <a:pt x="383383" y="35450"/>
                      <a:pt x="373536" y="35450"/>
                    </a:cubicBezTo>
                    <a:lnTo>
                      <a:pt x="252088" y="35450"/>
                    </a:lnTo>
                    <a:lnTo>
                      <a:pt x="155585" y="137860"/>
                    </a:lnTo>
                    <a:cubicBezTo>
                      <a:pt x="152303" y="141143"/>
                      <a:pt x="147708" y="143112"/>
                      <a:pt x="142456" y="143112"/>
                    </a:cubicBezTo>
                    <a:lnTo>
                      <a:pt x="142456" y="143112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00" name="Forma Livre: Forma 199">
                <a:extLst>
                  <a:ext uri="{FF2B5EF4-FFF2-40B4-BE49-F238E27FC236}">
                    <a16:creationId xmlns:a16="http://schemas.microsoft.com/office/drawing/2014/main" id="{DABFDB14-46B8-4729-B1F8-A3E4306982B9}"/>
                  </a:ext>
                </a:extLst>
              </p:cNvPr>
              <p:cNvSpPr/>
              <p:nvPr/>
            </p:nvSpPr>
            <p:spPr>
              <a:xfrm>
                <a:off x="5649922" y="4607543"/>
                <a:ext cx="102410" cy="170356"/>
              </a:xfrm>
              <a:custGeom>
                <a:avLst/>
                <a:gdLst>
                  <a:gd name="connsiteX0" fmla="*/ 17397 w 102410"/>
                  <a:gd name="connsiteY0" fmla="*/ 170356 h 170356"/>
                  <a:gd name="connsiteX1" fmla="*/ 4924 w 102410"/>
                  <a:gd name="connsiteY1" fmla="*/ 165104 h 170356"/>
                  <a:gd name="connsiteX2" fmla="*/ 4924 w 102410"/>
                  <a:gd name="connsiteY2" fmla="*/ 140158 h 170356"/>
                  <a:gd name="connsiteX3" fmla="*/ 60068 w 102410"/>
                  <a:gd name="connsiteY3" fmla="*/ 85014 h 170356"/>
                  <a:gd name="connsiteX4" fmla="*/ 4924 w 102410"/>
                  <a:gd name="connsiteY4" fmla="*/ 29870 h 170356"/>
                  <a:gd name="connsiteX5" fmla="*/ 4924 w 102410"/>
                  <a:gd name="connsiteY5" fmla="*/ 4924 h 170356"/>
                  <a:gd name="connsiteX6" fmla="*/ 29870 w 102410"/>
                  <a:gd name="connsiteY6" fmla="*/ 4924 h 170356"/>
                  <a:gd name="connsiteX7" fmla="*/ 97487 w 102410"/>
                  <a:gd name="connsiteY7" fmla="*/ 72541 h 170356"/>
                  <a:gd name="connsiteX8" fmla="*/ 97487 w 102410"/>
                  <a:gd name="connsiteY8" fmla="*/ 97487 h 170356"/>
                  <a:gd name="connsiteX9" fmla="*/ 29870 w 102410"/>
                  <a:gd name="connsiteY9" fmla="*/ 165104 h 170356"/>
                  <a:gd name="connsiteX10" fmla="*/ 17397 w 102410"/>
                  <a:gd name="connsiteY10" fmla="*/ 170356 h 170356"/>
                  <a:gd name="connsiteX11" fmla="*/ 17397 w 102410"/>
                  <a:gd name="connsiteY11" fmla="*/ 170356 h 1703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2410" h="170356">
                    <a:moveTo>
                      <a:pt x="17397" y="170356"/>
                    </a:moveTo>
                    <a:cubicBezTo>
                      <a:pt x="12801" y="170356"/>
                      <a:pt x="8206" y="168387"/>
                      <a:pt x="4924" y="165104"/>
                    </a:cubicBezTo>
                    <a:cubicBezTo>
                      <a:pt x="-1641" y="158540"/>
                      <a:pt x="-1641" y="147379"/>
                      <a:pt x="4924" y="140158"/>
                    </a:cubicBezTo>
                    <a:lnTo>
                      <a:pt x="60068" y="85014"/>
                    </a:lnTo>
                    <a:lnTo>
                      <a:pt x="4924" y="29870"/>
                    </a:lnTo>
                    <a:cubicBezTo>
                      <a:pt x="-1641" y="23305"/>
                      <a:pt x="-1641" y="12145"/>
                      <a:pt x="4924" y="4924"/>
                    </a:cubicBezTo>
                    <a:cubicBezTo>
                      <a:pt x="11488" y="-1641"/>
                      <a:pt x="22649" y="-1641"/>
                      <a:pt x="29870" y="4924"/>
                    </a:cubicBezTo>
                    <a:lnTo>
                      <a:pt x="97487" y="72541"/>
                    </a:lnTo>
                    <a:cubicBezTo>
                      <a:pt x="104052" y="79106"/>
                      <a:pt x="104052" y="90266"/>
                      <a:pt x="97487" y="97487"/>
                    </a:cubicBezTo>
                    <a:lnTo>
                      <a:pt x="29870" y="165104"/>
                    </a:lnTo>
                    <a:cubicBezTo>
                      <a:pt x="26587" y="169043"/>
                      <a:pt x="21992" y="170356"/>
                      <a:pt x="17397" y="170356"/>
                    </a:cubicBezTo>
                    <a:lnTo>
                      <a:pt x="17397" y="170356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01" name="Forma Livre: Forma 200">
                <a:extLst>
                  <a:ext uri="{FF2B5EF4-FFF2-40B4-BE49-F238E27FC236}">
                    <a16:creationId xmlns:a16="http://schemas.microsoft.com/office/drawing/2014/main" id="{E9D2B244-762F-4F85-8706-F5DE1C9D8B0B}"/>
                  </a:ext>
                </a:extLst>
              </p:cNvPr>
              <p:cNvSpPr/>
              <p:nvPr/>
            </p:nvSpPr>
            <p:spPr>
              <a:xfrm>
                <a:off x="5356148" y="4781838"/>
                <a:ext cx="391261" cy="143112"/>
              </a:xfrm>
              <a:custGeom>
                <a:avLst/>
                <a:gdLst>
                  <a:gd name="connsiteX0" fmla="*/ 373536 w 391261"/>
                  <a:gd name="connsiteY0" fmla="*/ 143112 h 143112"/>
                  <a:gd name="connsiteX1" fmla="*/ 243554 w 391261"/>
                  <a:gd name="connsiteY1" fmla="*/ 143112 h 143112"/>
                  <a:gd name="connsiteX2" fmla="*/ 231080 w 391261"/>
                  <a:gd name="connsiteY2" fmla="*/ 137860 h 143112"/>
                  <a:gd name="connsiteX3" fmla="*/ 134578 w 391261"/>
                  <a:gd name="connsiteY3" fmla="*/ 35450 h 143112"/>
                  <a:gd name="connsiteX4" fmla="*/ 17725 w 391261"/>
                  <a:gd name="connsiteY4" fmla="*/ 35450 h 143112"/>
                  <a:gd name="connsiteX5" fmla="*/ 0 w 391261"/>
                  <a:gd name="connsiteY5" fmla="*/ 17725 h 143112"/>
                  <a:gd name="connsiteX6" fmla="*/ 17725 w 391261"/>
                  <a:gd name="connsiteY6" fmla="*/ 0 h 143112"/>
                  <a:gd name="connsiteX7" fmla="*/ 142456 w 391261"/>
                  <a:gd name="connsiteY7" fmla="*/ 0 h 143112"/>
                  <a:gd name="connsiteX8" fmla="*/ 154929 w 391261"/>
                  <a:gd name="connsiteY8" fmla="*/ 5252 h 143112"/>
                  <a:gd name="connsiteX9" fmla="*/ 251431 w 391261"/>
                  <a:gd name="connsiteY9" fmla="*/ 107663 h 143112"/>
                  <a:gd name="connsiteX10" fmla="*/ 373536 w 391261"/>
                  <a:gd name="connsiteY10" fmla="*/ 107663 h 143112"/>
                  <a:gd name="connsiteX11" fmla="*/ 391261 w 391261"/>
                  <a:gd name="connsiteY11" fmla="*/ 125388 h 143112"/>
                  <a:gd name="connsiteX12" fmla="*/ 373536 w 391261"/>
                  <a:gd name="connsiteY12" fmla="*/ 143112 h 143112"/>
                  <a:gd name="connsiteX13" fmla="*/ 373536 w 391261"/>
                  <a:gd name="connsiteY13" fmla="*/ 143112 h 1431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91261" h="143112">
                    <a:moveTo>
                      <a:pt x="373536" y="143112"/>
                    </a:moveTo>
                    <a:lnTo>
                      <a:pt x="243554" y="143112"/>
                    </a:lnTo>
                    <a:cubicBezTo>
                      <a:pt x="238958" y="143112"/>
                      <a:pt x="234363" y="141143"/>
                      <a:pt x="231080" y="137860"/>
                    </a:cubicBezTo>
                    <a:lnTo>
                      <a:pt x="134578" y="35450"/>
                    </a:lnTo>
                    <a:lnTo>
                      <a:pt x="17725" y="35450"/>
                    </a:lnTo>
                    <a:cubicBezTo>
                      <a:pt x="7878" y="35450"/>
                      <a:pt x="0" y="27572"/>
                      <a:pt x="0" y="17725"/>
                    </a:cubicBezTo>
                    <a:cubicBezTo>
                      <a:pt x="0" y="7878"/>
                      <a:pt x="7878" y="0"/>
                      <a:pt x="17725" y="0"/>
                    </a:cubicBezTo>
                    <a:lnTo>
                      <a:pt x="142456" y="0"/>
                    </a:lnTo>
                    <a:cubicBezTo>
                      <a:pt x="147051" y="0"/>
                      <a:pt x="151647" y="1969"/>
                      <a:pt x="154929" y="5252"/>
                    </a:cubicBezTo>
                    <a:lnTo>
                      <a:pt x="251431" y="107663"/>
                    </a:lnTo>
                    <a:lnTo>
                      <a:pt x="373536" y="107663"/>
                    </a:lnTo>
                    <a:cubicBezTo>
                      <a:pt x="383383" y="107663"/>
                      <a:pt x="391261" y="115540"/>
                      <a:pt x="391261" y="125388"/>
                    </a:cubicBezTo>
                    <a:cubicBezTo>
                      <a:pt x="390604" y="135891"/>
                      <a:pt x="382727" y="143112"/>
                      <a:pt x="373536" y="143112"/>
                    </a:cubicBezTo>
                    <a:lnTo>
                      <a:pt x="373536" y="143112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02" name="Forma Livre: Forma 201">
                <a:extLst>
                  <a:ext uri="{FF2B5EF4-FFF2-40B4-BE49-F238E27FC236}">
                    <a16:creationId xmlns:a16="http://schemas.microsoft.com/office/drawing/2014/main" id="{8228425A-2772-44D2-BD2C-2B2CE30E5CD2}"/>
                  </a:ext>
                </a:extLst>
              </p:cNvPr>
              <p:cNvSpPr/>
              <p:nvPr/>
            </p:nvSpPr>
            <p:spPr>
              <a:xfrm>
                <a:off x="5649922" y="4822212"/>
                <a:ext cx="102410" cy="170356"/>
              </a:xfrm>
              <a:custGeom>
                <a:avLst/>
                <a:gdLst>
                  <a:gd name="connsiteX0" fmla="*/ 17397 w 102410"/>
                  <a:gd name="connsiteY0" fmla="*/ 170356 h 170356"/>
                  <a:gd name="connsiteX1" fmla="*/ 4924 w 102410"/>
                  <a:gd name="connsiteY1" fmla="*/ 165104 h 170356"/>
                  <a:gd name="connsiteX2" fmla="*/ 4924 w 102410"/>
                  <a:gd name="connsiteY2" fmla="*/ 140158 h 170356"/>
                  <a:gd name="connsiteX3" fmla="*/ 60068 w 102410"/>
                  <a:gd name="connsiteY3" fmla="*/ 85014 h 170356"/>
                  <a:gd name="connsiteX4" fmla="*/ 4924 w 102410"/>
                  <a:gd name="connsiteY4" fmla="*/ 29870 h 170356"/>
                  <a:gd name="connsiteX5" fmla="*/ 4924 w 102410"/>
                  <a:gd name="connsiteY5" fmla="*/ 4924 h 170356"/>
                  <a:gd name="connsiteX6" fmla="*/ 29870 w 102410"/>
                  <a:gd name="connsiteY6" fmla="*/ 4924 h 170356"/>
                  <a:gd name="connsiteX7" fmla="*/ 97487 w 102410"/>
                  <a:gd name="connsiteY7" fmla="*/ 72541 h 170356"/>
                  <a:gd name="connsiteX8" fmla="*/ 97487 w 102410"/>
                  <a:gd name="connsiteY8" fmla="*/ 97487 h 170356"/>
                  <a:gd name="connsiteX9" fmla="*/ 29870 w 102410"/>
                  <a:gd name="connsiteY9" fmla="*/ 165104 h 170356"/>
                  <a:gd name="connsiteX10" fmla="*/ 17397 w 102410"/>
                  <a:gd name="connsiteY10" fmla="*/ 170356 h 170356"/>
                  <a:gd name="connsiteX11" fmla="*/ 17397 w 102410"/>
                  <a:gd name="connsiteY11" fmla="*/ 170356 h 1703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2410" h="170356">
                    <a:moveTo>
                      <a:pt x="17397" y="170356"/>
                    </a:moveTo>
                    <a:cubicBezTo>
                      <a:pt x="12801" y="170356"/>
                      <a:pt x="8206" y="168386"/>
                      <a:pt x="4924" y="165104"/>
                    </a:cubicBezTo>
                    <a:cubicBezTo>
                      <a:pt x="-1641" y="158539"/>
                      <a:pt x="-1641" y="147379"/>
                      <a:pt x="4924" y="140158"/>
                    </a:cubicBezTo>
                    <a:lnTo>
                      <a:pt x="60068" y="85014"/>
                    </a:lnTo>
                    <a:lnTo>
                      <a:pt x="4924" y="29870"/>
                    </a:lnTo>
                    <a:cubicBezTo>
                      <a:pt x="-1641" y="23305"/>
                      <a:pt x="-1641" y="12145"/>
                      <a:pt x="4924" y="4924"/>
                    </a:cubicBezTo>
                    <a:cubicBezTo>
                      <a:pt x="11488" y="-1641"/>
                      <a:pt x="22649" y="-1641"/>
                      <a:pt x="29870" y="4924"/>
                    </a:cubicBezTo>
                    <a:lnTo>
                      <a:pt x="97487" y="72541"/>
                    </a:lnTo>
                    <a:cubicBezTo>
                      <a:pt x="104052" y="79106"/>
                      <a:pt x="104052" y="90266"/>
                      <a:pt x="97487" y="97487"/>
                    </a:cubicBezTo>
                    <a:lnTo>
                      <a:pt x="29870" y="165104"/>
                    </a:lnTo>
                    <a:cubicBezTo>
                      <a:pt x="26587" y="168386"/>
                      <a:pt x="21992" y="170356"/>
                      <a:pt x="17397" y="170356"/>
                    </a:cubicBezTo>
                    <a:lnTo>
                      <a:pt x="17397" y="170356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203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6433429" y="4674832"/>
              <a:ext cx="397497" cy="250117"/>
              <a:chOff x="6433429" y="4674832"/>
              <a:chExt cx="397497" cy="250117"/>
            </a:xfrm>
            <a:grpFill/>
          </p:grpSpPr>
          <p:sp>
            <p:nvSpPr>
              <p:cNvPr id="204" name="Forma Livre: Forma 203">
                <a:extLst>
                  <a:ext uri="{FF2B5EF4-FFF2-40B4-BE49-F238E27FC236}">
                    <a16:creationId xmlns:a16="http://schemas.microsoft.com/office/drawing/2014/main" id="{A02A3F1F-8732-4BF8-8D8F-044BA3C1DD1E}"/>
                  </a:ext>
                </a:extLst>
              </p:cNvPr>
              <p:cNvSpPr/>
              <p:nvPr/>
            </p:nvSpPr>
            <p:spPr>
              <a:xfrm>
                <a:off x="6434085" y="4674832"/>
                <a:ext cx="391260" cy="143112"/>
              </a:xfrm>
              <a:custGeom>
                <a:avLst/>
                <a:gdLst>
                  <a:gd name="connsiteX0" fmla="*/ 373536 w 391260"/>
                  <a:gd name="connsiteY0" fmla="*/ 143112 h 143112"/>
                  <a:gd name="connsiteX1" fmla="*/ 248805 w 391260"/>
                  <a:gd name="connsiteY1" fmla="*/ 143112 h 143112"/>
                  <a:gd name="connsiteX2" fmla="*/ 236332 w 391260"/>
                  <a:gd name="connsiteY2" fmla="*/ 137860 h 143112"/>
                  <a:gd name="connsiteX3" fmla="*/ 139830 w 391260"/>
                  <a:gd name="connsiteY3" fmla="*/ 35450 h 143112"/>
                  <a:gd name="connsiteX4" fmla="*/ 17725 w 391260"/>
                  <a:gd name="connsiteY4" fmla="*/ 35450 h 143112"/>
                  <a:gd name="connsiteX5" fmla="*/ 0 w 391260"/>
                  <a:gd name="connsiteY5" fmla="*/ 17725 h 143112"/>
                  <a:gd name="connsiteX6" fmla="*/ 17725 w 391260"/>
                  <a:gd name="connsiteY6" fmla="*/ 0 h 143112"/>
                  <a:gd name="connsiteX7" fmla="*/ 147708 w 391260"/>
                  <a:gd name="connsiteY7" fmla="*/ 0 h 143112"/>
                  <a:gd name="connsiteX8" fmla="*/ 160181 w 391260"/>
                  <a:gd name="connsiteY8" fmla="*/ 5252 h 143112"/>
                  <a:gd name="connsiteX9" fmla="*/ 256683 w 391260"/>
                  <a:gd name="connsiteY9" fmla="*/ 107663 h 143112"/>
                  <a:gd name="connsiteX10" fmla="*/ 373536 w 391260"/>
                  <a:gd name="connsiteY10" fmla="*/ 107663 h 143112"/>
                  <a:gd name="connsiteX11" fmla="*/ 391261 w 391260"/>
                  <a:gd name="connsiteY11" fmla="*/ 125387 h 143112"/>
                  <a:gd name="connsiteX12" fmla="*/ 373536 w 391260"/>
                  <a:gd name="connsiteY12" fmla="*/ 143112 h 143112"/>
                  <a:gd name="connsiteX13" fmla="*/ 373536 w 391260"/>
                  <a:gd name="connsiteY13" fmla="*/ 143112 h 1431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91260" h="143112">
                    <a:moveTo>
                      <a:pt x="373536" y="143112"/>
                    </a:moveTo>
                    <a:lnTo>
                      <a:pt x="248805" y="143112"/>
                    </a:lnTo>
                    <a:cubicBezTo>
                      <a:pt x="244210" y="143112"/>
                      <a:pt x="239614" y="141143"/>
                      <a:pt x="236332" y="137860"/>
                    </a:cubicBezTo>
                    <a:lnTo>
                      <a:pt x="139830" y="35450"/>
                    </a:lnTo>
                    <a:lnTo>
                      <a:pt x="17725" y="35450"/>
                    </a:lnTo>
                    <a:cubicBezTo>
                      <a:pt x="7878" y="35450"/>
                      <a:pt x="0" y="27572"/>
                      <a:pt x="0" y="17725"/>
                    </a:cubicBezTo>
                    <a:cubicBezTo>
                      <a:pt x="0" y="7878"/>
                      <a:pt x="7878" y="0"/>
                      <a:pt x="17725" y="0"/>
                    </a:cubicBezTo>
                    <a:lnTo>
                      <a:pt x="147708" y="0"/>
                    </a:lnTo>
                    <a:cubicBezTo>
                      <a:pt x="152303" y="0"/>
                      <a:pt x="156898" y="1969"/>
                      <a:pt x="160181" y="5252"/>
                    </a:cubicBezTo>
                    <a:lnTo>
                      <a:pt x="256683" y="107663"/>
                    </a:lnTo>
                    <a:lnTo>
                      <a:pt x="373536" y="107663"/>
                    </a:lnTo>
                    <a:cubicBezTo>
                      <a:pt x="383383" y="107663"/>
                      <a:pt x="391261" y="115540"/>
                      <a:pt x="391261" y="125387"/>
                    </a:cubicBezTo>
                    <a:cubicBezTo>
                      <a:pt x="391261" y="135234"/>
                      <a:pt x="383383" y="143112"/>
                      <a:pt x="373536" y="143112"/>
                    </a:cubicBezTo>
                    <a:lnTo>
                      <a:pt x="373536" y="143112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05" name="Forma Livre: Forma 204">
                <a:extLst>
                  <a:ext uri="{FF2B5EF4-FFF2-40B4-BE49-F238E27FC236}">
                    <a16:creationId xmlns:a16="http://schemas.microsoft.com/office/drawing/2014/main" id="{3430DD68-B60F-4F78-BD29-4F7C1D7998A5}"/>
                  </a:ext>
                </a:extLst>
              </p:cNvPr>
              <p:cNvSpPr/>
              <p:nvPr/>
            </p:nvSpPr>
            <p:spPr>
              <a:xfrm>
                <a:off x="6433429" y="4781838"/>
                <a:ext cx="391260" cy="143112"/>
              </a:xfrm>
              <a:custGeom>
                <a:avLst/>
                <a:gdLst>
                  <a:gd name="connsiteX0" fmla="*/ 147708 w 391260"/>
                  <a:gd name="connsiteY0" fmla="*/ 143112 h 143112"/>
                  <a:gd name="connsiteX1" fmla="*/ 17725 w 391260"/>
                  <a:gd name="connsiteY1" fmla="*/ 143112 h 143112"/>
                  <a:gd name="connsiteX2" fmla="*/ 0 w 391260"/>
                  <a:gd name="connsiteY2" fmla="*/ 125388 h 143112"/>
                  <a:gd name="connsiteX3" fmla="*/ 17725 w 391260"/>
                  <a:gd name="connsiteY3" fmla="*/ 107663 h 143112"/>
                  <a:gd name="connsiteX4" fmla="*/ 139830 w 391260"/>
                  <a:gd name="connsiteY4" fmla="*/ 107663 h 143112"/>
                  <a:gd name="connsiteX5" fmla="*/ 236332 w 391260"/>
                  <a:gd name="connsiteY5" fmla="*/ 5252 h 143112"/>
                  <a:gd name="connsiteX6" fmla="*/ 248805 w 391260"/>
                  <a:gd name="connsiteY6" fmla="*/ 0 h 143112"/>
                  <a:gd name="connsiteX7" fmla="*/ 373536 w 391260"/>
                  <a:gd name="connsiteY7" fmla="*/ 0 h 143112"/>
                  <a:gd name="connsiteX8" fmla="*/ 391261 w 391260"/>
                  <a:gd name="connsiteY8" fmla="*/ 17725 h 143112"/>
                  <a:gd name="connsiteX9" fmla="*/ 373536 w 391260"/>
                  <a:gd name="connsiteY9" fmla="*/ 35450 h 143112"/>
                  <a:gd name="connsiteX10" fmla="*/ 256683 w 391260"/>
                  <a:gd name="connsiteY10" fmla="*/ 35450 h 143112"/>
                  <a:gd name="connsiteX11" fmla="*/ 160180 w 391260"/>
                  <a:gd name="connsiteY11" fmla="*/ 137860 h 143112"/>
                  <a:gd name="connsiteX12" fmla="*/ 147708 w 391260"/>
                  <a:gd name="connsiteY12" fmla="*/ 143112 h 143112"/>
                  <a:gd name="connsiteX13" fmla="*/ 147708 w 391260"/>
                  <a:gd name="connsiteY13" fmla="*/ 143112 h 1431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91260" h="143112">
                    <a:moveTo>
                      <a:pt x="147708" y="143112"/>
                    </a:moveTo>
                    <a:lnTo>
                      <a:pt x="17725" y="143112"/>
                    </a:lnTo>
                    <a:cubicBezTo>
                      <a:pt x="7877" y="143112"/>
                      <a:pt x="0" y="135235"/>
                      <a:pt x="0" y="125388"/>
                    </a:cubicBezTo>
                    <a:cubicBezTo>
                      <a:pt x="0" y="115540"/>
                      <a:pt x="7877" y="107663"/>
                      <a:pt x="17725" y="107663"/>
                    </a:cubicBezTo>
                    <a:lnTo>
                      <a:pt x="139830" y="107663"/>
                    </a:lnTo>
                    <a:lnTo>
                      <a:pt x="236332" y="5252"/>
                    </a:lnTo>
                    <a:cubicBezTo>
                      <a:pt x="239614" y="1969"/>
                      <a:pt x="244209" y="0"/>
                      <a:pt x="248805" y="0"/>
                    </a:cubicBezTo>
                    <a:lnTo>
                      <a:pt x="373536" y="0"/>
                    </a:lnTo>
                    <a:cubicBezTo>
                      <a:pt x="383383" y="0"/>
                      <a:pt x="391261" y="7878"/>
                      <a:pt x="391261" y="17725"/>
                    </a:cubicBezTo>
                    <a:cubicBezTo>
                      <a:pt x="391261" y="27572"/>
                      <a:pt x="383383" y="35450"/>
                      <a:pt x="373536" y="35450"/>
                    </a:cubicBezTo>
                    <a:lnTo>
                      <a:pt x="256683" y="35450"/>
                    </a:lnTo>
                    <a:lnTo>
                      <a:pt x="160180" y="137860"/>
                    </a:lnTo>
                    <a:cubicBezTo>
                      <a:pt x="156898" y="141143"/>
                      <a:pt x="152303" y="143112"/>
                      <a:pt x="147708" y="143112"/>
                    </a:cubicBezTo>
                    <a:lnTo>
                      <a:pt x="147708" y="143112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06" name="Forma Livre: Forma 205">
                <a:extLst>
                  <a:ext uri="{FF2B5EF4-FFF2-40B4-BE49-F238E27FC236}">
                    <a16:creationId xmlns:a16="http://schemas.microsoft.com/office/drawing/2014/main" id="{76517FA1-1D92-4D3A-BBAD-7843AA1315DE}"/>
                  </a:ext>
                </a:extLst>
              </p:cNvPr>
              <p:cNvSpPr/>
              <p:nvPr/>
            </p:nvSpPr>
            <p:spPr>
              <a:xfrm>
                <a:off x="6728515" y="4714549"/>
                <a:ext cx="102410" cy="170356"/>
              </a:xfrm>
              <a:custGeom>
                <a:avLst/>
                <a:gdLst>
                  <a:gd name="connsiteX0" fmla="*/ 17397 w 102410"/>
                  <a:gd name="connsiteY0" fmla="*/ 170356 h 170356"/>
                  <a:gd name="connsiteX1" fmla="*/ 4924 w 102410"/>
                  <a:gd name="connsiteY1" fmla="*/ 165104 h 170356"/>
                  <a:gd name="connsiteX2" fmla="*/ 4924 w 102410"/>
                  <a:gd name="connsiteY2" fmla="*/ 140158 h 170356"/>
                  <a:gd name="connsiteX3" fmla="*/ 60068 w 102410"/>
                  <a:gd name="connsiteY3" fmla="*/ 85014 h 170356"/>
                  <a:gd name="connsiteX4" fmla="*/ 4924 w 102410"/>
                  <a:gd name="connsiteY4" fmla="*/ 29870 h 170356"/>
                  <a:gd name="connsiteX5" fmla="*/ 4924 w 102410"/>
                  <a:gd name="connsiteY5" fmla="*/ 4924 h 170356"/>
                  <a:gd name="connsiteX6" fmla="*/ 29870 w 102410"/>
                  <a:gd name="connsiteY6" fmla="*/ 4924 h 170356"/>
                  <a:gd name="connsiteX7" fmla="*/ 97487 w 102410"/>
                  <a:gd name="connsiteY7" fmla="*/ 72541 h 170356"/>
                  <a:gd name="connsiteX8" fmla="*/ 97487 w 102410"/>
                  <a:gd name="connsiteY8" fmla="*/ 97487 h 170356"/>
                  <a:gd name="connsiteX9" fmla="*/ 29870 w 102410"/>
                  <a:gd name="connsiteY9" fmla="*/ 165104 h 170356"/>
                  <a:gd name="connsiteX10" fmla="*/ 17397 w 102410"/>
                  <a:gd name="connsiteY10" fmla="*/ 170356 h 170356"/>
                  <a:gd name="connsiteX11" fmla="*/ 17397 w 102410"/>
                  <a:gd name="connsiteY11" fmla="*/ 170356 h 1703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2410" h="170356">
                    <a:moveTo>
                      <a:pt x="17397" y="170356"/>
                    </a:moveTo>
                    <a:cubicBezTo>
                      <a:pt x="12801" y="170356"/>
                      <a:pt x="8206" y="168387"/>
                      <a:pt x="4924" y="165104"/>
                    </a:cubicBezTo>
                    <a:cubicBezTo>
                      <a:pt x="-1641" y="158540"/>
                      <a:pt x="-1641" y="147379"/>
                      <a:pt x="4924" y="140158"/>
                    </a:cubicBezTo>
                    <a:lnTo>
                      <a:pt x="60068" y="85014"/>
                    </a:lnTo>
                    <a:lnTo>
                      <a:pt x="4924" y="29870"/>
                    </a:lnTo>
                    <a:cubicBezTo>
                      <a:pt x="-1641" y="23305"/>
                      <a:pt x="-1641" y="12145"/>
                      <a:pt x="4924" y="4924"/>
                    </a:cubicBezTo>
                    <a:cubicBezTo>
                      <a:pt x="11488" y="-1641"/>
                      <a:pt x="22649" y="-1641"/>
                      <a:pt x="29870" y="4924"/>
                    </a:cubicBezTo>
                    <a:lnTo>
                      <a:pt x="97487" y="72541"/>
                    </a:lnTo>
                    <a:cubicBezTo>
                      <a:pt x="104052" y="79106"/>
                      <a:pt x="104052" y="90266"/>
                      <a:pt x="97487" y="97487"/>
                    </a:cubicBezTo>
                    <a:lnTo>
                      <a:pt x="29870" y="165104"/>
                    </a:lnTo>
                    <a:cubicBezTo>
                      <a:pt x="25931" y="168387"/>
                      <a:pt x="21992" y="170356"/>
                      <a:pt x="17397" y="170356"/>
                    </a:cubicBezTo>
                    <a:lnTo>
                      <a:pt x="17397" y="170356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207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8569279" y="4599665"/>
              <a:ext cx="400451" cy="400779"/>
              <a:chOff x="8569279" y="4599665"/>
              <a:chExt cx="400451" cy="400779"/>
            </a:xfrm>
            <a:grpFill/>
          </p:grpSpPr>
          <p:grpSp>
            <p:nvGrpSpPr>
              <p:cNvPr id="208" name="Gráfico 2">
                <a:extLst>
                  <a:ext uri="{FF2B5EF4-FFF2-40B4-BE49-F238E27FC236}">
                    <a16:creationId xmlns:a16="http://schemas.microsoft.com/office/drawing/2014/main" id="{4A08825F-1C42-4C63-A6FE-BBB3DD9D4FEB}"/>
                  </a:ext>
                </a:extLst>
              </p:cNvPr>
              <p:cNvGrpSpPr/>
              <p:nvPr/>
            </p:nvGrpSpPr>
            <p:grpSpPr>
              <a:xfrm>
                <a:off x="8747185" y="4599665"/>
                <a:ext cx="222546" cy="400779"/>
                <a:chOff x="8747185" y="4599665"/>
                <a:chExt cx="222546" cy="400779"/>
              </a:xfrm>
              <a:grpFill/>
            </p:grpSpPr>
            <p:sp>
              <p:nvSpPr>
                <p:cNvPr id="209" name="Forma Livre: Forma 208">
                  <a:extLst>
                    <a:ext uri="{FF2B5EF4-FFF2-40B4-BE49-F238E27FC236}">
                      <a16:creationId xmlns:a16="http://schemas.microsoft.com/office/drawing/2014/main" id="{74F68541-259C-4586-92BE-9B4F545D7DA9}"/>
                    </a:ext>
                  </a:extLst>
                </p:cNvPr>
                <p:cNvSpPr/>
                <p:nvPr/>
              </p:nvSpPr>
              <p:spPr>
                <a:xfrm>
                  <a:off x="8747185" y="4599665"/>
                  <a:ext cx="222546" cy="128998"/>
                </a:xfrm>
                <a:custGeom>
                  <a:avLst/>
                  <a:gdLst>
                    <a:gd name="connsiteX0" fmla="*/ 205149 w 222546"/>
                    <a:gd name="connsiteY0" fmla="*/ 128998 h 128998"/>
                    <a:gd name="connsiteX1" fmla="*/ 192676 w 222546"/>
                    <a:gd name="connsiteY1" fmla="*/ 123746 h 128998"/>
                    <a:gd name="connsiteX2" fmla="*/ 111273 w 222546"/>
                    <a:gd name="connsiteY2" fmla="*/ 42343 h 128998"/>
                    <a:gd name="connsiteX3" fmla="*/ 29870 w 222546"/>
                    <a:gd name="connsiteY3" fmla="*/ 123746 h 128998"/>
                    <a:gd name="connsiteX4" fmla="*/ 4924 w 222546"/>
                    <a:gd name="connsiteY4" fmla="*/ 123746 h 128998"/>
                    <a:gd name="connsiteX5" fmla="*/ 4924 w 222546"/>
                    <a:gd name="connsiteY5" fmla="*/ 98800 h 128998"/>
                    <a:gd name="connsiteX6" fmla="*/ 98800 w 222546"/>
                    <a:gd name="connsiteY6" fmla="*/ 4924 h 128998"/>
                    <a:gd name="connsiteX7" fmla="*/ 123746 w 222546"/>
                    <a:gd name="connsiteY7" fmla="*/ 4924 h 128998"/>
                    <a:gd name="connsiteX8" fmla="*/ 217623 w 222546"/>
                    <a:gd name="connsiteY8" fmla="*/ 98800 h 128998"/>
                    <a:gd name="connsiteX9" fmla="*/ 217623 w 222546"/>
                    <a:gd name="connsiteY9" fmla="*/ 123746 h 128998"/>
                    <a:gd name="connsiteX10" fmla="*/ 205149 w 222546"/>
                    <a:gd name="connsiteY10" fmla="*/ 128998 h 128998"/>
                    <a:gd name="connsiteX11" fmla="*/ 205149 w 222546"/>
                    <a:gd name="connsiteY11" fmla="*/ 128998 h 1289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22546" h="128998">
                      <a:moveTo>
                        <a:pt x="205149" y="128998"/>
                      </a:moveTo>
                      <a:cubicBezTo>
                        <a:pt x="200554" y="128998"/>
                        <a:pt x="195958" y="127029"/>
                        <a:pt x="192676" y="123746"/>
                      </a:cubicBezTo>
                      <a:lnTo>
                        <a:pt x="111273" y="42343"/>
                      </a:lnTo>
                      <a:lnTo>
                        <a:pt x="29870" y="123746"/>
                      </a:lnTo>
                      <a:cubicBezTo>
                        <a:pt x="23305" y="130311"/>
                        <a:pt x="12145" y="130311"/>
                        <a:pt x="4924" y="123746"/>
                      </a:cubicBezTo>
                      <a:cubicBezTo>
                        <a:pt x="-1641" y="117182"/>
                        <a:pt x="-1641" y="106021"/>
                        <a:pt x="4924" y="98800"/>
                      </a:cubicBezTo>
                      <a:lnTo>
                        <a:pt x="98800" y="4924"/>
                      </a:lnTo>
                      <a:cubicBezTo>
                        <a:pt x="105365" y="-1641"/>
                        <a:pt x="116525" y="-1641"/>
                        <a:pt x="123746" y="4924"/>
                      </a:cubicBezTo>
                      <a:lnTo>
                        <a:pt x="217623" y="98800"/>
                      </a:lnTo>
                      <a:cubicBezTo>
                        <a:pt x="224187" y="105365"/>
                        <a:pt x="224187" y="116525"/>
                        <a:pt x="217623" y="123746"/>
                      </a:cubicBezTo>
                      <a:cubicBezTo>
                        <a:pt x="214340" y="127029"/>
                        <a:pt x="209745" y="128998"/>
                        <a:pt x="205149" y="128998"/>
                      </a:cubicBezTo>
                      <a:lnTo>
                        <a:pt x="205149" y="128998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210" name="Forma Livre: Forma 209">
                  <a:extLst>
                    <a:ext uri="{FF2B5EF4-FFF2-40B4-BE49-F238E27FC236}">
                      <a16:creationId xmlns:a16="http://schemas.microsoft.com/office/drawing/2014/main" id="{7A5F50DE-F944-4239-AF10-986978EDCB9C}"/>
                    </a:ext>
                  </a:extLst>
                </p:cNvPr>
                <p:cNvSpPr/>
                <p:nvPr/>
              </p:nvSpPr>
              <p:spPr>
                <a:xfrm>
                  <a:off x="8840733" y="4624940"/>
                  <a:ext cx="35449" cy="375505"/>
                </a:xfrm>
                <a:custGeom>
                  <a:avLst/>
                  <a:gdLst>
                    <a:gd name="connsiteX0" fmla="*/ 17725 w 35449"/>
                    <a:gd name="connsiteY0" fmla="*/ 375505 h 375505"/>
                    <a:gd name="connsiteX1" fmla="*/ 0 w 35449"/>
                    <a:gd name="connsiteY1" fmla="*/ 357780 h 375505"/>
                    <a:gd name="connsiteX2" fmla="*/ 0 w 35449"/>
                    <a:gd name="connsiteY2" fmla="*/ 17725 h 375505"/>
                    <a:gd name="connsiteX3" fmla="*/ 17725 w 35449"/>
                    <a:gd name="connsiteY3" fmla="*/ 0 h 375505"/>
                    <a:gd name="connsiteX4" fmla="*/ 35450 w 35449"/>
                    <a:gd name="connsiteY4" fmla="*/ 17725 h 375505"/>
                    <a:gd name="connsiteX5" fmla="*/ 35450 w 35449"/>
                    <a:gd name="connsiteY5" fmla="*/ 357780 h 375505"/>
                    <a:gd name="connsiteX6" fmla="*/ 17725 w 35449"/>
                    <a:gd name="connsiteY6" fmla="*/ 375505 h 375505"/>
                    <a:gd name="connsiteX7" fmla="*/ 17725 w 35449"/>
                    <a:gd name="connsiteY7" fmla="*/ 375505 h 3755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5449" h="375505">
                      <a:moveTo>
                        <a:pt x="17725" y="375505"/>
                      </a:moveTo>
                      <a:cubicBezTo>
                        <a:pt x="7878" y="375505"/>
                        <a:pt x="0" y="367628"/>
                        <a:pt x="0" y="357780"/>
                      </a:cubicBezTo>
                      <a:lnTo>
                        <a:pt x="0" y="17725"/>
                      </a:lnTo>
                      <a:cubicBezTo>
                        <a:pt x="0" y="7877"/>
                        <a:pt x="7878" y="0"/>
                        <a:pt x="17725" y="0"/>
                      </a:cubicBezTo>
                      <a:cubicBezTo>
                        <a:pt x="27573" y="0"/>
                        <a:pt x="35450" y="7877"/>
                        <a:pt x="35450" y="17725"/>
                      </a:cubicBezTo>
                      <a:lnTo>
                        <a:pt x="35450" y="357780"/>
                      </a:lnTo>
                      <a:cubicBezTo>
                        <a:pt x="35450" y="367628"/>
                        <a:pt x="27573" y="375505"/>
                        <a:pt x="17725" y="375505"/>
                      </a:cubicBezTo>
                      <a:lnTo>
                        <a:pt x="17725" y="375505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grpSp>
            <p:nvGrpSpPr>
              <p:cNvPr id="211" name="Gráfico 2">
                <a:extLst>
                  <a:ext uri="{FF2B5EF4-FFF2-40B4-BE49-F238E27FC236}">
                    <a16:creationId xmlns:a16="http://schemas.microsoft.com/office/drawing/2014/main" id="{4A08825F-1C42-4C63-A6FE-BBB3DD9D4FEB}"/>
                  </a:ext>
                </a:extLst>
              </p:cNvPr>
              <p:cNvGrpSpPr/>
              <p:nvPr/>
            </p:nvGrpSpPr>
            <p:grpSpPr>
              <a:xfrm>
                <a:off x="8569279" y="4780197"/>
                <a:ext cx="222546" cy="220248"/>
                <a:chOff x="8569279" y="4780197"/>
                <a:chExt cx="222546" cy="220248"/>
              </a:xfrm>
              <a:grpFill/>
            </p:grpSpPr>
            <p:sp>
              <p:nvSpPr>
                <p:cNvPr id="212" name="Forma Livre: Forma 211">
                  <a:extLst>
                    <a:ext uri="{FF2B5EF4-FFF2-40B4-BE49-F238E27FC236}">
                      <a16:creationId xmlns:a16="http://schemas.microsoft.com/office/drawing/2014/main" id="{25D38DB2-54A5-4598-A287-EF05B4F13A3A}"/>
                    </a:ext>
                  </a:extLst>
                </p:cNvPr>
                <p:cNvSpPr/>
                <p:nvPr/>
              </p:nvSpPr>
              <p:spPr>
                <a:xfrm>
                  <a:off x="8569279" y="4780197"/>
                  <a:ext cx="222546" cy="128998"/>
                </a:xfrm>
                <a:custGeom>
                  <a:avLst/>
                  <a:gdLst>
                    <a:gd name="connsiteX0" fmla="*/ 205149 w 222546"/>
                    <a:gd name="connsiteY0" fmla="*/ 128998 h 128998"/>
                    <a:gd name="connsiteX1" fmla="*/ 192676 w 222546"/>
                    <a:gd name="connsiteY1" fmla="*/ 123746 h 128998"/>
                    <a:gd name="connsiteX2" fmla="*/ 111273 w 222546"/>
                    <a:gd name="connsiteY2" fmla="*/ 42343 h 128998"/>
                    <a:gd name="connsiteX3" fmla="*/ 29870 w 222546"/>
                    <a:gd name="connsiteY3" fmla="*/ 123746 h 128998"/>
                    <a:gd name="connsiteX4" fmla="*/ 4924 w 222546"/>
                    <a:gd name="connsiteY4" fmla="*/ 123746 h 128998"/>
                    <a:gd name="connsiteX5" fmla="*/ 4924 w 222546"/>
                    <a:gd name="connsiteY5" fmla="*/ 98800 h 128998"/>
                    <a:gd name="connsiteX6" fmla="*/ 98800 w 222546"/>
                    <a:gd name="connsiteY6" fmla="*/ 4924 h 128998"/>
                    <a:gd name="connsiteX7" fmla="*/ 123746 w 222546"/>
                    <a:gd name="connsiteY7" fmla="*/ 4924 h 128998"/>
                    <a:gd name="connsiteX8" fmla="*/ 217623 w 222546"/>
                    <a:gd name="connsiteY8" fmla="*/ 98800 h 128998"/>
                    <a:gd name="connsiteX9" fmla="*/ 217623 w 222546"/>
                    <a:gd name="connsiteY9" fmla="*/ 123746 h 128998"/>
                    <a:gd name="connsiteX10" fmla="*/ 205149 w 222546"/>
                    <a:gd name="connsiteY10" fmla="*/ 128998 h 128998"/>
                    <a:gd name="connsiteX11" fmla="*/ 205149 w 222546"/>
                    <a:gd name="connsiteY11" fmla="*/ 128998 h 1289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22546" h="128998">
                      <a:moveTo>
                        <a:pt x="205149" y="128998"/>
                      </a:moveTo>
                      <a:cubicBezTo>
                        <a:pt x="200554" y="128998"/>
                        <a:pt x="195958" y="127029"/>
                        <a:pt x="192676" y="123746"/>
                      </a:cubicBezTo>
                      <a:lnTo>
                        <a:pt x="111273" y="42343"/>
                      </a:lnTo>
                      <a:lnTo>
                        <a:pt x="29870" y="123746"/>
                      </a:lnTo>
                      <a:cubicBezTo>
                        <a:pt x="23305" y="130311"/>
                        <a:pt x="12145" y="130311"/>
                        <a:pt x="4924" y="123746"/>
                      </a:cubicBezTo>
                      <a:cubicBezTo>
                        <a:pt x="-1641" y="117182"/>
                        <a:pt x="-1641" y="106021"/>
                        <a:pt x="4924" y="98800"/>
                      </a:cubicBezTo>
                      <a:lnTo>
                        <a:pt x="98800" y="4924"/>
                      </a:lnTo>
                      <a:cubicBezTo>
                        <a:pt x="105365" y="-1641"/>
                        <a:pt x="116525" y="-1641"/>
                        <a:pt x="123746" y="4924"/>
                      </a:cubicBezTo>
                      <a:lnTo>
                        <a:pt x="217623" y="98800"/>
                      </a:lnTo>
                      <a:cubicBezTo>
                        <a:pt x="224187" y="105365"/>
                        <a:pt x="224187" y="116525"/>
                        <a:pt x="217623" y="123746"/>
                      </a:cubicBezTo>
                      <a:cubicBezTo>
                        <a:pt x="214340" y="127029"/>
                        <a:pt x="209744" y="128998"/>
                        <a:pt x="205149" y="128998"/>
                      </a:cubicBezTo>
                      <a:lnTo>
                        <a:pt x="205149" y="128998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213" name="Forma Livre: Forma 212">
                  <a:extLst>
                    <a:ext uri="{FF2B5EF4-FFF2-40B4-BE49-F238E27FC236}">
                      <a16:creationId xmlns:a16="http://schemas.microsoft.com/office/drawing/2014/main" id="{9CC7542D-2EC8-4C68-B73A-25D30D9EAC63}"/>
                    </a:ext>
                  </a:extLst>
                </p:cNvPr>
                <p:cNvSpPr/>
                <p:nvPr/>
              </p:nvSpPr>
              <p:spPr>
                <a:xfrm>
                  <a:off x="8662827" y="4805472"/>
                  <a:ext cx="35449" cy="194973"/>
                </a:xfrm>
                <a:custGeom>
                  <a:avLst/>
                  <a:gdLst>
                    <a:gd name="connsiteX0" fmla="*/ 17725 w 35449"/>
                    <a:gd name="connsiteY0" fmla="*/ 194974 h 194973"/>
                    <a:gd name="connsiteX1" fmla="*/ 0 w 35449"/>
                    <a:gd name="connsiteY1" fmla="*/ 177249 h 194973"/>
                    <a:gd name="connsiteX2" fmla="*/ 0 w 35449"/>
                    <a:gd name="connsiteY2" fmla="*/ 17725 h 194973"/>
                    <a:gd name="connsiteX3" fmla="*/ 17725 w 35449"/>
                    <a:gd name="connsiteY3" fmla="*/ 0 h 194973"/>
                    <a:gd name="connsiteX4" fmla="*/ 35450 w 35449"/>
                    <a:gd name="connsiteY4" fmla="*/ 17725 h 194973"/>
                    <a:gd name="connsiteX5" fmla="*/ 35450 w 35449"/>
                    <a:gd name="connsiteY5" fmla="*/ 177249 h 194973"/>
                    <a:gd name="connsiteX6" fmla="*/ 17725 w 35449"/>
                    <a:gd name="connsiteY6" fmla="*/ 194974 h 194973"/>
                    <a:gd name="connsiteX7" fmla="*/ 17725 w 35449"/>
                    <a:gd name="connsiteY7" fmla="*/ 194974 h 1949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5449" h="194973">
                      <a:moveTo>
                        <a:pt x="17725" y="194974"/>
                      </a:moveTo>
                      <a:cubicBezTo>
                        <a:pt x="7877" y="194974"/>
                        <a:pt x="0" y="187096"/>
                        <a:pt x="0" y="177249"/>
                      </a:cubicBezTo>
                      <a:lnTo>
                        <a:pt x="0" y="17725"/>
                      </a:lnTo>
                      <a:cubicBezTo>
                        <a:pt x="0" y="7877"/>
                        <a:pt x="7877" y="0"/>
                        <a:pt x="17725" y="0"/>
                      </a:cubicBezTo>
                      <a:cubicBezTo>
                        <a:pt x="27572" y="0"/>
                        <a:pt x="35450" y="7877"/>
                        <a:pt x="35450" y="17725"/>
                      </a:cubicBezTo>
                      <a:lnTo>
                        <a:pt x="35450" y="177249"/>
                      </a:lnTo>
                      <a:cubicBezTo>
                        <a:pt x="35450" y="187096"/>
                        <a:pt x="27572" y="194974"/>
                        <a:pt x="17725" y="194974"/>
                      </a:cubicBezTo>
                      <a:lnTo>
                        <a:pt x="17725" y="194974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</p:grpSp>
        <p:grpSp>
          <p:nvGrpSpPr>
            <p:cNvPr id="214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1077883" y="4598024"/>
              <a:ext cx="403733" cy="403733"/>
              <a:chOff x="1077883" y="4598024"/>
              <a:chExt cx="403733" cy="403733"/>
            </a:xfrm>
            <a:grpFill/>
          </p:grpSpPr>
          <p:grpSp>
            <p:nvGrpSpPr>
              <p:cNvPr id="215" name="Gráfico 2">
                <a:extLst>
                  <a:ext uri="{FF2B5EF4-FFF2-40B4-BE49-F238E27FC236}">
                    <a16:creationId xmlns:a16="http://schemas.microsoft.com/office/drawing/2014/main" id="{4A08825F-1C42-4C63-A6FE-BBB3DD9D4FEB}"/>
                  </a:ext>
                </a:extLst>
              </p:cNvPr>
              <p:cNvGrpSpPr/>
              <p:nvPr/>
            </p:nvGrpSpPr>
            <p:grpSpPr>
              <a:xfrm>
                <a:off x="1077883" y="4802517"/>
                <a:ext cx="199897" cy="199240"/>
                <a:chOff x="1077883" y="4802517"/>
                <a:chExt cx="199897" cy="199240"/>
              </a:xfrm>
              <a:grpFill/>
            </p:grpSpPr>
            <p:sp>
              <p:nvSpPr>
                <p:cNvPr id="216" name="Forma Livre: Forma 215">
                  <a:extLst>
                    <a:ext uri="{FF2B5EF4-FFF2-40B4-BE49-F238E27FC236}">
                      <a16:creationId xmlns:a16="http://schemas.microsoft.com/office/drawing/2014/main" id="{E6835AC8-3E41-4990-8B9F-CC8EACD78701}"/>
                    </a:ext>
                  </a:extLst>
                </p:cNvPr>
                <p:cNvSpPr/>
                <p:nvPr/>
              </p:nvSpPr>
              <p:spPr>
                <a:xfrm>
                  <a:off x="1077883" y="4862585"/>
                  <a:ext cx="139173" cy="139173"/>
                </a:xfrm>
                <a:custGeom>
                  <a:avLst/>
                  <a:gdLst>
                    <a:gd name="connsiteX0" fmla="*/ 121448 w 139173"/>
                    <a:gd name="connsiteY0" fmla="*/ 139173 h 139173"/>
                    <a:gd name="connsiteX1" fmla="*/ 121448 w 139173"/>
                    <a:gd name="connsiteY1" fmla="*/ 139173 h 139173"/>
                    <a:gd name="connsiteX2" fmla="*/ 17725 w 139173"/>
                    <a:gd name="connsiteY2" fmla="*/ 139173 h 139173"/>
                    <a:gd name="connsiteX3" fmla="*/ 0 w 139173"/>
                    <a:gd name="connsiteY3" fmla="*/ 121448 h 139173"/>
                    <a:gd name="connsiteX4" fmla="*/ 0 w 139173"/>
                    <a:gd name="connsiteY4" fmla="*/ 17725 h 139173"/>
                    <a:gd name="connsiteX5" fmla="*/ 17725 w 139173"/>
                    <a:gd name="connsiteY5" fmla="*/ 0 h 139173"/>
                    <a:gd name="connsiteX6" fmla="*/ 17725 w 139173"/>
                    <a:gd name="connsiteY6" fmla="*/ 0 h 139173"/>
                    <a:gd name="connsiteX7" fmla="*/ 35450 w 139173"/>
                    <a:gd name="connsiteY7" fmla="*/ 17725 h 139173"/>
                    <a:gd name="connsiteX8" fmla="*/ 35450 w 139173"/>
                    <a:gd name="connsiteY8" fmla="*/ 103724 h 139173"/>
                    <a:gd name="connsiteX9" fmla="*/ 121448 w 139173"/>
                    <a:gd name="connsiteY9" fmla="*/ 103724 h 139173"/>
                    <a:gd name="connsiteX10" fmla="*/ 139173 w 139173"/>
                    <a:gd name="connsiteY10" fmla="*/ 121448 h 139173"/>
                    <a:gd name="connsiteX11" fmla="*/ 121448 w 139173"/>
                    <a:gd name="connsiteY11" fmla="*/ 139173 h 139173"/>
                    <a:gd name="connsiteX12" fmla="*/ 121448 w 139173"/>
                    <a:gd name="connsiteY12" fmla="*/ 139173 h 1391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39173" h="139173">
                      <a:moveTo>
                        <a:pt x="121448" y="139173"/>
                      </a:moveTo>
                      <a:lnTo>
                        <a:pt x="121448" y="139173"/>
                      </a:lnTo>
                      <a:lnTo>
                        <a:pt x="17725" y="139173"/>
                      </a:lnTo>
                      <a:cubicBezTo>
                        <a:pt x="7878" y="139173"/>
                        <a:pt x="0" y="131296"/>
                        <a:pt x="0" y="121448"/>
                      </a:cubicBezTo>
                      <a:lnTo>
                        <a:pt x="0" y="17725"/>
                      </a:lnTo>
                      <a:cubicBezTo>
                        <a:pt x="0" y="7878"/>
                        <a:pt x="7878" y="0"/>
                        <a:pt x="17725" y="0"/>
                      </a:cubicBezTo>
                      <a:lnTo>
                        <a:pt x="17725" y="0"/>
                      </a:lnTo>
                      <a:cubicBezTo>
                        <a:pt x="27572" y="0"/>
                        <a:pt x="35450" y="7878"/>
                        <a:pt x="35450" y="17725"/>
                      </a:cubicBezTo>
                      <a:lnTo>
                        <a:pt x="35450" y="103724"/>
                      </a:lnTo>
                      <a:lnTo>
                        <a:pt x="121448" y="103724"/>
                      </a:lnTo>
                      <a:cubicBezTo>
                        <a:pt x="131296" y="103724"/>
                        <a:pt x="139173" y="111601"/>
                        <a:pt x="139173" y="121448"/>
                      </a:cubicBezTo>
                      <a:cubicBezTo>
                        <a:pt x="139173" y="131296"/>
                        <a:pt x="131296" y="139173"/>
                        <a:pt x="121448" y="139173"/>
                      </a:cubicBezTo>
                      <a:lnTo>
                        <a:pt x="121448" y="139173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217" name="Forma Livre: Forma 216">
                  <a:extLst>
                    <a:ext uri="{FF2B5EF4-FFF2-40B4-BE49-F238E27FC236}">
                      <a16:creationId xmlns:a16="http://schemas.microsoft.com/office/drawing/2014/main" id="{82EAD9A0-744F-4744-8C08-3466FAE6FF70}"/>
                    </a:ext>
                  </a:extLst>
                </p:cNvPr>
                <p:cNvSpPr/>
                <p:nvPr/>
              </p:nvSpPr>
              <p:spPr>
                <a:xfrm>
                  <a:off x="1092653" y="4802517"/>
                  <a:ext cx="185126" cy="184798"/>
                </a:xfrm>
                <a:custGeom>
                  <a:avLst/>
                  <a:gdLst>
                    <a:gd name="connsiteX0" fmla="*/ 17397 w 185126"/>
                    <a:gd name="connsiteY0" fmla="*/ 184798 h 184798"/>
                    <a:gd name="connsiteX1" fmla="*/ 4924 w 185126"/>
                    <a:gd name="connsiteY1" fmla="*/ 179547 h 184798"/>
                    <a:gd name="connsiteX2" fmla="*/ 4924 w 185126"/>
                    <a:gd name="connsiteY2" fmla="*/ 154600 h 184798"/>
                    <a:gd name="connsiteX3" fmla="*/ 155257 w 185126"/>
                    <a:gd name="connsiteY3" fmla="*/ 4924 h 184798"/>
                    <a:gd name="connsiteX4" fmla="*/ 180203 w 185126"/>
                    <a:gd name="connsiteY4" fmla="*/ 4924 h 184798"/>
                    <a:gd name="connsiteX5" fmla="*/ 180203 w 185126"/>
                    <a:gd name="connsiteY5" fmla="*/ 29870 h 184798"/>
                    <a:gd name="connsiteX6" fmla="*/ 29870 w 185126"/>
                    <a:gd name="connsiteY6" fmla="*/ 179547 h 184798"/>
                    <a:gd name="connsiteX7" fmla="*/ 17397 w 185126"/>
                    <a:gd name="connsiteY7" fmla="*/ 184798 h 184798"/>
                    <a:gd name="connsiteX8" fmla="*/ 17397 w 185126"/>
                    <a:gd name="connsiteY8" fmla="*/ 184798 h 184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85126" h="184798">
                      <a:moveTo>
                        <a:pt x="17397" y="184798"/>
                      </a:moveTo>
                      <a:cubicBezTo>
                        <a:pt x="12801" y="184798"/>
                        <a:pt x="8206" y="182829"/>
                        <a:pt x="4924" y="179547"/>
                      </a:cubicBezTo>
                      <a:cubicBezTo>
                        <a:pt x="-1641" y="172982"/>
                        <a:pt x="-1641" y="161822"/>
                        <a:pt x="4924" y="154600"/>
                      </a:cubicBezTo>
                      <a:lnTo>
                        <a:pt x="155257" y="4924"/>
                      </a:lnTo>
                      <a:cubicBezTo>
                        <a:pt x="161822" y="-1641"/>
                        <a:pt x="172982" y="-1641"/>
                        <a:pt x="180203" y="4924"/>
                      </a:cubicBezTo>
                      <a:cubicBezTo>
                        <a:pt x="186768" y="11488"/>
                        <a:pt x="186768" y="22649"/>
                        <a:pt x="180203" y="29870"/>
                      </a:cubicBezTo>
                      <a:lnTo>
                        <a:pt x="29870" y="179547"/>
                      </a:lnTo>
                      <a:cubicBezTo>
                        <a:pt x="26587" y="183486"/>
                        <a:pt x="21992" y="184798"/>
                        <a:pt x="17397" y="184798"/>
                      </a:cubicBezTo>
                      <a:lnTo>
                        <a:pt x="17397" y="184798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grpSp>
            <p:nvGrpSpPr>
              <p:cNvPr id="218" name="Gráfico 2">
                <a:extLst>
                  <a:ext uri="{FF2B5EF4-FFF2-40B4-BE49-F238E27FC236}">
                    <a16:creationId xmlns:a16="http://schemas.microsoft.com/office/drawing/2014/main" id="{4A08825F-1C42-4C63-A6FE-BBB3DD9D4FEB}"/>
                  </a:ext>
                </a:extLst>
              </p:cNvPr>
              <p:cNvGrpSpPr/>
              <p:nvPr/>
            </p:nvGrpSpPr>
            <p:grpSpPr>
              <a:xfrm>
                <a:off x="1282375" y="4598024"/>
                <a:ext cx="199241" cy="199569"/>
                <a:chOff x="1282375" y="4598024"/>
                <a:chExt cx="199241" cy="199569"/>
              </a:xfrm>
              <a:grpFill/>
            </p:grpSpPr>
            <p:sp>
              <p:nvSpPr>
                <p:cNvPr id="219" name="Forma Livre: Forma 218">
                  <a:extLst>
                    <a:ext uri="{FF2B5EF4-FFF2-40B4-BE49-F238E27FC236}">
                      <a16:creationId xmlns:a16="http://schemas.microsoft.com/office/drawing/2014/main" id="{653532D4-1F72-4330-9446-17C1128A9013}"/>
                    </a:ext>
                  </a:extLst>
                </p:cNvPr>
                <p:cNvSpPr/>
                <p:nvPr/>
              </p:nvSpPr>
              <p:spPr>
                <a:xfrm>
                  <a:off x="1342443" y="4598024"/>
                  <a:ext cx="139173" cy="139173"/>
                </a:xfrm>
                <a:custGeom>
                  <a:avLst/>
                  <a:gdLst>
                    <a:gd name="connsiteX0" fmla="*/ 121448 w 139173"/>
                    <a:gd name="connsiteY0" fmla="*/ 139173 h 139173"/>
                    <a:gd name="connsiteX1" fmla="*/ 103723 w 139173"/>
                    <a:gd name="connsiteY1" fmla="*/ 121448 h 139173"/>
                    <a:gd name="connsiteX2" fmla="*/ 103723 w 139173"/>
                    <a:gd name="connsiteY2" fmla="*/ 35450 h 139173"/>
                    <a:gd name="connsiteX3" fmla="*/ 17725 w 139173"/>
                    <a:gd name="connsiteY3" fmla="*/ 35450 h 139173"/>
                    <a:gd name="connsiteX4" fmla="*/ 0 w 139173"/>
                    <a:gd name="connsiteY4" fmla="*/ 17725 h 139173"/>
                    <a:gd name="connsiteX5" fmla="*/ 17725 w 139173"/>
                    <a:gd name="connsiteY5" fmla="*/ 0 h 139173"/>
                    <a:gd name="connsiteX6" fmla="*/ 17725 w 139173"/>
                    <a:gd name="connsiteY6" fmla="*/ 0 h 139173"/>
                    <a:gd name="connsiteX7" fmla="*/ 121448 w 139173"/>
                    <a:gd name="connsiteY7" fmla="*/ 0 h 139173"/>
                    <a:gd name="connsiteX8" fmla="*/ 139173 w 139173"/>
                    <a:gd name="connsiteY8" fmla="*/ 17725 h 139173"/>
                    <a:gd name="connsiteX9" fmla="*/ 139173 w 139173"/>
                    <a:gd name="connsiteY9" fmla="*/ 121448 h 139173"/>
                    <a:gd name="connsiteX10" fmla="*/ 121448 w 139173"/>
                    <a:gd name="connsiteY10" fmla="*/ 139173 h 139173"/>
                    <a:gd name="connsiteX11" fmla="*/ 121448 w 139173"/>
                    <a:gd name="connsiteY11" fmla="*/ 139173 h 139173"/>
                    <a:gd name="connsiteX12" fmla="*/ 121448 w 139173"/>
                    <a:gd name="connsiteY12" fmla="*/ 139173 h 1391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39173" h="139173">
                      <a:moveTo>
                        <a:pt x="121448" y="139173"/>
                      </a:moveTo>
                      <a:cubicBezTo>
                        <a:pt x="111601" y="139173"/>
                        <a:pt x="103723" y="131296"/>
                        <a:pt x="103723" y="121448"/>
                      </a:cubicBezTo>
                      <a:lnTo>
                        <a:pt x="103723" y="35450"/>
                      </a:lnTo>
                      <a:lnTo>
                        <a:pt x="17725" y="35450"/>
                      </a:lnTo>
                      <a:cubicBezTo>
                        <a:pt x="7878" y="35450"/>
                        <a:pt x="0" y="27572"/>
                        <a:pt x="0" y="17725"/>
                      </a:cubicBezTo>
                      <a:cubicBezTo>
                        <a:pt x="0" y="7878"/>
                        <a:pt x="7878" y="0"/>
                        <a:pt x="17725" y="0"/>
                      </a:cubicBezTo>
                      <a:lnTo>
                        <a:pt x="17725" y="0"/>
                      </a:lnTo>
                      <a:lnTo>
                        <a:pt x="121448" y="0"/>
                      </a:lnTo>
                      <a:cubicBezTo>
                        <a:pt x="131296" y="0"/>
                        <a:pt x="139173" y="7878"/>
                        <a:pt x="139173" y="17725"/>
                      </a:cubicBezTo>
                      <a:lnTo>
                        <a:pt x="139173" y="121448"/>
                      </a:lnTo>
                      <a:cubicBezTo>
                        <a:pt x="139173" y="131296"/>
                        <a:pt x="131296" y="139173"/>
                        <a:pt x="121448" y="139173"/>
                      </a:cubicBezTo>
                      <a:lnTo>
                        <a:pt x="121448" y="139173"/>
                      </a:lnTo>
                      <a:lnTo>
                        <a:pt x="121448" y="139173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220" name="Forma Livre: Forma 219">
                  <a:extLst>
                    <a:ext uri="{FF2B5EF4-FFF2-40B4-BE49-F238E27FC236}">
                      <a16:creationId xmlns:a16="http://schemas.microsoft.com/office/drawing/2014/main" id="{DFD59FD1-644D-4CA7-84A3-4A80A7EEB197}"/>
                    </a:ext>
                  </a:extLst>
                </p:cNvPr>
                <p:cNvSpPr/>
                <p:nvPr/>
              </p:nvSpPr>
              <p:spPr>
                <a:xfrm>
                  <a:off x="1282375" y="4612795"/>
                  <a:ext cx="184470" cy="184798"/>
                </a:xfrm>
                <a:custGeom>
                  <a:avLst/>
                  <a:gdLst>
                    <a:gd name="connsiteX0" fmla="*/ 17397 w 184470"/>
                    <a:gd name="connsiteY0" fmla="*/ 184799 h 184798"/>
                    <a:gd name="connsiteX1" fmla="*/ 4924 w 184470"/>
                    <a:gd name="connsiteY1" fmla="*/ 179547 h 184798"/>
                    <a:gd name="connsiteX2" fmla="*/ 4924 w 184470"/>
                    <a:gd name="connsiteY2" fmla="*/ 154600 h 184798"/>
                    <a:gd name="connsiteX3" fmla="*/ 154601 w 184470"/>
                    <a:gd name="connsiteY3" fmla="*/ 4924 h 184798"/>
                    <a:gd name="connsiteX4" fmla="*/ 179547 w 184470"/>
                    <a:gd name="connsiteY4" fmla="*/ 4924 h 184798"/>
                    <a:gd name="connsiteX5" fmla="*/ 179547 w 184470"/>
                    <a:gd name="connsiteY5" fmla="*/ 29870 h 184798"/>
                    <a:gd name="connsiteX6" fmla="*/ 29870 w 184470"/>
                    <a:gd name="connsiteY6" fmla="*/ 179547 h 184798"/>
                    <a:gd name="connsiteX7" fmla="*/ 17397 w 184470"/>
                    <a:gd name="connsiteY7" fmla="*/ 184799 h 184798"/>
                    <a:gd name="connsiteX8" fmla="*/ 17397 w 184470"/>
                    <a:gd name="connsiteY8" fmla="*/ 184799 h 184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84470" h="184798">
                      <a:moveTo>
                        <a:pt x="17397" y="184799"/>
                      </a:moveTo>
                      <a:cubicBezTo>
                        <a:pt x="12801" y="184799"/>
                        <a:pt x="8206" y="182829"/>
                        <a:pt x="4924" y="179547"/>
                      </a:cubicBezTo>
                      <a:cubicBezTo>
                        <a:pt x="-1641" y="172982"/>
                        <a:pt x="-1641" y="161822"/>
                        <a:pt x="4924" y="154600"/>
                      </a:cubicBezTo>
                      <a:lnTo>
                        <a:pt x="154601" y="4924"/>
                      </a:lnTo>
                      <a:cubicBezTo>
                        <a:pt x="161165" y="-1641"/>
                        <a:pt x="172325" y="-1641"/>
                        <a:pt x="179547" y="4924"/>
                      </a:cubicBezTo>
                      <a:cubicBezTo>
                        <a:pt x="186111" y="11488"/>
                        <a:pt x="186111" y="22649"/>
                        <a:pt x="179547" y="29870"/>
                      </a:cubicBezTo>
                      <a:lnTo>
                        <a:pt x="29870" y="179547"/>
                      </a:lnTo>
                      <a:cubicBezTo>
                        <a:pt x="26587" y="182829"/>
                        <a:pt x="21992" y="184799"/>
                        <a:pt x="17397" y="184799"/>
                      </a:cubicBezTo>
                      <a:lnTo>
                        <a:pt x="17397" y="184799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</p:grpSp>
        <p:grpSp>
          <p:nvGrpSpPr>
            <p:cNvPr id="221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2152208" y="4598352"/>
              <a:ext cx="402420" cy="403405"/>
              <a:chOff x="2152208" y="4598352"/>
              <a:chExt cx="402420" cy="403405"/>
            </a:xfrm>
            <a:grpFill/>
          </p:grpSpPr>
          <p:grpSp>
            <p:nvGrpSpPr>
              <p:cNvPr id="222" name="Gráfico 2">
                <a:extLst>
                  <a:ext uri="{FF2B5EF4-FFF2-40B4-BE49-F238E27FC236}">
                    <a16:creationId xmlns:a16="http://schemas.microsoft.com/office/drawing/2014/main" id="{4A08825F-1C42-4C63-A6FE-BBB3DD9D4FEB}"/>
                  </a:ext>
                </a:extLst>
              </p:cNvPr>
              <p:cNvGrpSpPr/>
              <p:nvPr/>
            </p:nvGrpSpPr>
            <p:grpSpPr>
              <a:xfrm>
                <a:off x="2152208" y="4802189"/>
                <a:ext cx="199241" cy="199569"/>
                <a:chOff x="2152208" y="4802189"/>
                <a:chExt cx="199241" cy="199569"/>
              </a:xfrm>
              <a:grpFill/>
            </p:grpSpPr>
            <p:sp>
              <p:nvSpPr>
                <p:cNvPr id="223" name="Forma Livre: Forma 222">
                  <a:extLst>
                    <a:ext uri="{FF2B5EF4-FFF2-40B4-BE49-F238E27FC236}">
                      <a16:creationId xmlns:a16="http://schemas.microsoft.com/office/drawing/2014/main" id="{C1EE5530-139D-4874-B363-4ED617D89CF0}"/>
                    </a:ext>
                  </a:extLst>
                </p:cNvPr>
                <p:cNvSpPr/>
                <p:nvPr/>
              </p:nvSpPr>
              <p:spPr>
                <a:xfrm>
                  <a:off x="2212276" y="4802189"/>
                  <a:ext cx="139173" cy="139172"/>
                </a:xfrm>
                <a:custGeom>
                  <a:avLst/>
                  <a:gdLst>
                    <a:gd name="connsiteX0" fmla="*/ 121448 w 139173"/>
                    <a:gd name="connsiteY0" fmla="*/ 139173 h 139172"/>
                    <a:gd name="connsiteX1" fmla="*/ 103724 w 139173"/>
                    <a:gd name="connsiteY1" fmla="*/ 121448 h 139172"/>
                    <a:gd name="connsiteX2" fmla="*/ 103724 w 139173"/>
                    <a:gd name="connsiteY2" fmla="*/ 35450 h 139172"/>
                    <a:gd name="connsiteX3" fmla="*/ 17725 w 139173"/>
                    <a:gd name="connsiteY3" fmla="*/ 35450 h 139172"/>
                    <a:gd name="connsiteX4" fmla="*/ 0 w 139173"/>
                    <a:gd name="connsiteY4" fmla="*/ 17725 h 139172"/>
                    <a:gd name="connsiteX5" fmla="*/ 17725 w 139173"/>
                    <a:gd name="connsiteY5" fmla="*/ 0 h 139172"/>
                    <a:gd name="connsiteX6" fmla="*/ 17725 w 139173"/>
                    <a:gd name="connsiteY6" fmla="*/ 0 h 139172"/>
                    <a:gd name="connsiteX7" fmla="*/ 121448 w 139173"/>
                    <a:gd name="connsiteY7" fmla="*/ 0 h 139172"/>
                    <a:gd name="connsiteX8" fmla="*/ 139173 w 139173"/>
                    <a:gd name="connsiteY8" fmla="*/ 17725 h 139172"/>
                    <a:gd name="connsiteX9" fmla="*/ 139173 w 139173"/>
                    <a:gd name="connsiteY9" fmla="*/ 121448 h 139172"/>
                    <a:gd name="connsiteX10" fmla="*/ 121448 w 139173"/>
                    <a:gd name="connsiteY10" fmla="*/ 139173 h 139172"/>
                    <a:gd name="connsiteX11" fmla="*/ 121448 w 139173"/>
                    <a:gd name="connsiteY11" fmla="*/ 139173 h 139172"/>
                    <a:gd name="connsiteX12" fmla="*/ 121448 w 139173"/>
                    <a:gd name="connsiteY12" fmla="*/ 139173 h 1391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39173" h="139172">
                      <a:moveTo>
                        <a:pt x="121448" y="139173"/>
                      </a:moveTo>
                      <a:cubicBezTo>
                        <a:pt x="111601" y="139173"/>
                        <a:pt x="103724" y="131296"/>
                        <a:pt x="103724" y="121448"/>
                      </a:cubicBezTo>
                      <a:lnTo>
                        <a:pt x="103724" y="35450"/>
                      </a:lnTo>
                      <a:lnTo>
                        <a:pt x="17725" y="35450"/>
                      </a:lnTo>
                      <a:cubicBezTo>
                        <a:pt x="7878" y="35450"/>
                        <a:pt x="0" y="27572"/>
                        <a:pt x="0" y="17725"/>
                      </a:cubicBezTo>
                      <a:cubicBezTo>
                        <a:pt x="0" y="7877"/>
                        <a:pt x="7878" y="0"/>
                        <a:pt x="17725" y="0"/>
                      </a:cubicBezTo>
                      <a:lnTo>
                        <a:pt x="17725" y="0"/>
                      </a:lnTo>
                      <a:lnTo>
                        <a:pt x="121448" y="0"/>
                      </a:lnTo>
                      <a:cubicBezTo>
                        <a:pt x="131296" y="0"/>
                        <a:pt x="139173" y="7877"/>
                        <a:pt x="139173" y="17725"/>
                      </a:cubicBezTo>
                      <a:lnTo>
                        <a:pt x="139173" y="121448"/>
                      </a:lnTo>
                      <a:cubicBezTo>
                        <a:pt x="138517" y="131296"/>
                        <a:pt x="130639" y="139173"/>
                        <a:pt x="121448" y="139173"/>
                      </a:cubicBezTo>
                      <a:lnTo>
                        <a:pt x="121448" y="139173"/>
                      </a:lnTo>
                      <a:lnTo>
                        <a:pt x="121448" y="139173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224" name="Forma Livre: Forma 223">
                  <a:extLst>
                    <a:ext uri="{FF2B5EF4-FFF2-40B4-BE49-F238E27FC236}">
                      <a16:creationId xmlns:a16="http://schemas.microsoft.com/office/drawing/2014/main" id="{C4CE7B13-A1A6-47BF-AA44-EEC61B026405}"/>
                    </a:ext>
                  </a:extLst>
                </p:cNvPr>
                <p:cNvSpPr/>
                <p:nvPr/>
              </p:nvSpPr>
              <p:spPr>
                <a:xfrm>
                  <a:off x="2152208" y="4816960"/>
                  <a:ext cx="184470" cy="184798"/>
                </a:xfrm>
                <a:custGeom>
                  <a:avLst/>
                  <a:gdLst>
                    <a:gd name="connsiteX0" fmla="*/ 17397 w 184470"/>
                    <a:gd name="connsiteY0" fmla="*/ 184798 h 184798"/>
                    <a:gd name="connsiteX1" fmla="*/ 4924 w 184470"/>
                    <a:gd name="connsiteY1" fmla="*/ 179547 h 184798"/>
                    <a:gd name="connsiteX2" fmla="*/ 4924 w 184470"/>
                    <a:gd name="connsiteY2" fmla="*/ 154600 h 184798"/>
                    <a:gd name="connsiteX3" fmla="*/ 154601 w 184470"/>
                    <a:gd name="connsiteY3" fmla="*/ 4924 h 184798"/>
                    <a:gd name="connsiteX4" fmla="*/ 179547 w 184470"/>
                    <a:gd name="connsiteY4" fmla="*/ 4924 h 184798"/>
                    <a:gd name="connsiteX5" fmla="*/ 179547 w 184470"/>
                    <a:gd name="connsiteY5" fmla="*/ 29870 h 184798"/>
                    <a:gd name="connsiteX6" fmla="*/ 29870 w 184470"/>
                    <a:gd name="connsiteY6" fmla="*/ 179547 h 184798"/>
                    <a:gd name="connsiteX7" fmla="*/ 17397 w 184470"/>
                    <a:gd name="connsiteY7" fmla="*/ 184798 h 184798"/>
                    <a:gd name="connsiteX8" fmla="*/ 17397 w 184470"/>
                    <a:gd name="connsiteY8" fmla="*/ 184798 h 184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84470" h="184798">
                      <a:moveTo>
                        <a:pt x="17397" y="184798"/>
                      </a:moveTo>
                      <a:cubicBezTo>
                        <a:pt x="12801" y="184798"/>
                        <a:pt x="8206" y="182829"/>
                        <a:pt x="4924" y="179547"/>
                      </a:cubicBezTo>
                      <a:cubicBezTo>
                        <a:pt x="-1641" y="172982"/>
                        <a:pt x="-1641" y="161822"/>
                        <a:pt x="4924" y="154600"/>
                      </a:cubicBezTo>
                      <a:lnTo>
                        <a:pt x="154601" y="4924"/>
                      </a:lnTo>
                      <a:cubicBezTo>
                        <a:pt x="161165" y="-1641"/>
                        <a:pt x="172325" y="-1641"/>
                        <a:pt x="179547" y="4924"/>
                      </a:cubicBezTo>
                      <a:cubicBezTo>
                        <a:pt x="186112" y="11488"/>
                        <a:pt x="186112" y="22648"/>
                        <a:pt x="179547" y="29870"/>
                      </a:cubicBezTo>
                      <a:lnTo>
                        <a:pt x="29870" y="179547"/>
                      </a:lnTo>
                      <a:cubicBezTo>
                        <a:pt x="25931" y="182829"/>
                        <a:pt x="21992" y="184798"/>
                        <a:pt x="17397" y="184798"/>
                      </a:cubicBezTo>
                      <a:lnTo>
                        <a:pt x="17397" y="184798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grpSp>
            <p:nvGrpSpPr>
              <p:cNvPr id="225" name="Gráfico 2">
                <a:extLst>
                  <a:ext uri="{FF2B5EF4-FFF2-40B4-BE49-F238E27FC236}">
                    <a16:creationId xmlns:a16="http://schemas.microsoft.com/office/drawing/2014/main" id="{4A08825F-1C42-4C63-A6FE-BBB3DD9D4FEB}"/>
                  </a:ext>
                </a:extLst>
              </p:cNvPr>
              <p:cNvGrpSpPr/>
              <p:nvPr/>
            </p:nvGrpSpPr>
            <p:grpSpPr>
              <a:xfrm>
                <a:off x="2355388" y="4598352"/>
                <a:ext cx="199241" cy="199241"/>
                <a:chOff x="2355388" y="4598352"/>
                <a:chExt cx="199241" cy="199241"/>
              </a:xfrm>
              <a:grpFill/>
            </p:grpSpPr>
            <p:sp>
              <p:nvSpPr>
                <p:cNvPr id="226" name="Forma Livre: Forma 225">
                  <a:extLst>
                    <a:ext uri="{FF2B5EF4-FFF2-40B4-BE49-F238E27FC236}">
                      <a16:creationId xmlns:a16="http://schemas.microsoft.com/office/drawing/2014/main" id="{4C7F03A6-18F8-42D1-B08E-C3F278869D71}"/>
                    </a:ext>
                  </a:extLst>
                </p:cNvPr>
                <p:cNvSpPr/>
                <p:nvPr/>
              </p:nvSpPr>
              <p:spPr>
                <a:xfrm>
                  <a:off x="2355388" y="4658420"/>
                  <a:ext cx="139173" cy="139173"/>
                </a:xfrm>
                <a:custGeom>
                  <a:avLst/>
                  <a:gdLst>
                    <a:gd name="connsiteX0" fmla="*/ 121448 w 139173"/>
                    <a:gd name="connsiteY0" fmla="*/ 139173 h 139173"/>
                    <a:gd name="connsiteX1" fmla="*/ 121448 w 139173"/>
                    <a:gd name="connsiteY1" fmla="*/ 139173 h 139173"/>
                    <a:gd name="connsiteX2" fmla="*/ 17725 w 139173"/>
                    <a:gd name="connsiteY2" fmla="*/ 139173 h 139173"/>
                    <a:gd name="connsiteX3" fmla="*/ 0 w 139173"/>
                    <a:gd name="connsiteY3" fmla="*/ 121448 h 139173"/>
                    <a:gd name="connsiteX4" fmla="*/ 0 w 139173"/>
                    <a:gd name="connsiteY4" fmla="*/ 17725 h 139173"/>
                    <a:gd name="connsiteX5" fmla="*/ 17725 w 139173"/>
                    <a:gd name="connsiteY5" fmla="*/ 0 h 139173"/>
                    <a:gd name="connsiteX6" fmla="*/ 17725 w 139173"/>
                    <a:gd name="connsiteY6" fmla="*/ 0 h 139173"/>
                    <a:gd name="connsiteX7" fmla="*/ 35450 w 139173"/>
                    <a:gd name="connsiteY7" fmla="*/ 17725 h 139173"/>
                    <a:gd name="connsiteX8" fmla="*/ 35450 w 139173"/>
                    <a:gd name="connsiteY8" fmla="*/ 103723 h 139173"/>
                    <a:gd name="connsiteX9" fmla="*/ 121448 w 139173"/>
                    <a:gd name="connsiteY9" fmla="*/ 103723 h 139173"/>
                    <a:gd name="connsiteX10" fmla="*/ 139173 w 139173"/>
                    <a:gd name="connsiteY10" fmla="*/ 121448 h 139173"/>
                    <a:gd name="connsiteX11" fmla="*/ 121448 w 139173"/>
                    <a:gd name="connsiteY11" fmla="*/ 139173 h 139173"/>
                    <a:gd name="connsiteX12" fmla="*/ 121448 w 139173"/>
                    <a:gd name="connsiteY12" fmla="*/ 139173 h 1391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39173" h="139173">
                      <a:moveTo>
                        <a:pt x="121448" y="139173"/>
                      </a:moveTo>
                      <a:lnTo>
                        <a:pt x="121448" y="139173"/>
                      </a:lnTo>
                      <a:lnTo>
                        <a:pt x="17725" y="139173"/>
                      </a:lnTo>
                      <a:cubicBezTo>
                        <a:pt x="7878" y="139173"/>
                        <a:pt x="0" y="131296"/>
                        <a:pt x="0" y="121448"/>
                      </a:cubicBezTo>
                      <a:lnTo>
                        <a:pt x="0" y="17725"/>
                      </a:lnTo>
                      <a:cubicBezTo>
                        <a:pt x="0" y="7878"/>
                        <a:pt x="7878" y="0"/>
                        <a:pt x="17725" y="0"/>
                      </a:cubicBezTo>
                      <a:lnTo>
                        <a:pt x="17725" y="0"/>
                      </a:lnTo>
                      <a:cubicBezTo>
                        <a:pt x="27572" y="0"/>
                        <a:pt x="35450" y="7878"/>
                        <a:pt x="35450" y="17725"/>
                      </a:cubicBezTo>
                      <a:lnTo>
                        <a:pt x="35450" y="103723"/>
                      </a:lnTo>
                      <a:lnTo>
                        <a:pt x="121448" y="103723"/>
                      </a:lnTo>
                      <a:cubicBezTo>
                        <a:pt x="131296" y="103723"/>
                        <a:pt x="139173" y="111601"/>
                        <a:pt x="139173" y="121448"/>
                      </a:cubicBezTo>
                      <a:cubicBezTo>
                        <a:pt x="139173" y="131296"/>
                        <a:pt x="131296" y="139173"/>
                        <a:pt x="121448" y="139173"/>
                      </a:cubicBezTo>
                      <a:lnTo>
                        <a:pt x="121448" y="139173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227" name="Forma Livre: Forma 226">
                  <a:extLst>
                    <a:ext uri="{FF2B5EF4-FFF2-40B4-BE49-F238E27FC236}">
                      <a16:creationId xmlns:a16="http://schemas.microsoft.com/office/drawing/2014/main" id="{6C886963-15BE-4721-AAB0-E30E433921A0}"/>
                    </a:ext>
                  </a:extLst>
                </p:cNvPr>
                <p:cNvSpPr/>
                <p:nvPr/>
              </p:nvSpPr>
              <p:spPr>
                <a:xfrm>
                  <a:off x="2370159" y="4598352"/>
                  <a:ext cx="184470" cy="184798"/>
                </a:xfrm>
                <a:custGeom>
                  <a:avLst/>
                  <a:gdLst>
                    <a:gd name="connsiteX0" fmla="*/ 17397 w 184470"/>
                    <a:gd name="connsiteY0" fmla="*/ 184799 h 184798"/>
                    <a:gd name="connsiteX1" fmla="*/ 4924 w 184470"/>
                    <a:gd name="connsiteY1" fmla="*/ 179547 h 184798"/>
                    <a:gd name="connsiteX2" fmla="*/ 4924 w 184470"/>
                    <a:gd name="connsiteY2" fmla="*/ 154601 h 184798"/>
                    <a:gd name="connsiteX3" fmla="*/ 154601 w 184470"/>
                    <a:gd name="connsiteY3" fmla="*/ 4924 h 184798"/>
                    <a:gd name="connsiteX4" fmla="*/ 179547 w 184470"/>
                    <a:gd name="connsiteY4" fmla="*/ 4924 h 184798"/>
                    <a:gd name="connsiteX5" fmla="*/ 179547 w 184470"/>
                    <a:gd name="connsiteY5" fmla="*/ 29870 h 184798"/>
                    <a:gd name="connsiteX6" fmla="*/ 29870 w 184470"/>
                    <a:gd name="connsiteY6" fmla="*/ 179547 h 184798"/>
                    <a:gd name="connsiteX7" fmla="*/ 17397 w 184470"/>
                    <a:gd name="connsiteY7" fmla="*/ 184799 h 184798"/>
                    <a:gd name="connsiteX8" fmla="*/ 17397 w 184470"/>
                    <a:gd name="connsiteY8" fmla="*/ 184799 h 184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84470" h="184798">
                      <a:moveTo>
                        <a:pt x="17397" y="184799"/>
                      </a:moveTo>
                      <a:cubicBezTo>
                        <a:pt x="12801" y="184799"/>
                        <a:pt x="8206" y="182829"/>
                        <a:pt x="4924" y="179547"/>
                      </a:cubicBezTo>
                      <a:cubicBezTo>
                        <a:pt x="-1641" y="172982"/>
                        <a:pt x="-1641" y="161822"/>
                        <a:pt x="4924" y="154601"/>
                      </a:cubicBezTo>
                      <a:lnTo>
                        <a:pt x="154601" y="4924"/>
                      </a:lnTo>
                      <a:cubicBezTo>
                        <a:pt x="161165" y="-1641"/>
                        <a:pt x="172325" y="-1641"/>
                        <a:pt x="179547" y="4924"/>
                      </a:cubicBezTo>
                      <a:cubicBezTo>
                        <a:pt x="186112" y="11488"/>
                        <a:pt x="186112" y="22649"/>
                        <a:pt x="179547" y="29870"/>
                      </a:cubicBezTo>
                      <a:lnTo>
                        <a:pt x="29870" y="179547"/>
                      </a:lnTo>
                      <a:cubicBezTo>
                        <a:pt x="26587" y="183486"/>
                        <a:pt x="21992" y="184799"/>
                        <a:pt x="17397" y="184799"/>
                      </a:cubicBezTo>
                      <a:lnTo>
                        <a:pt x="17397" y="184799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</p:grpSp>
        <p:grpSp>
          <p:nvGrpSpPr>
            <p:cNvPr id="228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3222267" y="4714549"/>
              <a:ext cx="402092" cy="170356"/>
              <a:chOff x="3222267" y="4714549"/>
              <a:chExt cx="402092" cy="170356"/>
            </a:xfrm>
            <a:grpFill/>
          </p:grpSpPr>
          <p:sp>
            <p:nvSpPr>
              <p:cNvPr id="229" name="Forma Livre: Forma 228">
                <a:extLst>
                  <a:ext uri="{FF2B5EF4-FFF2-40B4-BE49-F238E27FC236}">
                    <a16:creationId xmlns:a16="http://schemas.microsoft.com/office/drawing/2014/main" id="{E2FB8063-F9E2-42BF-AC64-2AAF980F8287}"/>
                  </a:ext>
                </a:extLst>
              </p:cNvPr>
              <p:cNvSpPr/>
              <p:nvPr/>
            </p:nvSpPr>
            <p:spPr>
              <a:xfrm>
                <a:off x="3521621" y="4714549"/>
                <a:ext cx="102410" cy="170356"/>
              </a:xfrm>
              <a:custGeom>
                <a:avLst/>
                <a:gdLst>
                  <a:gd name="connsiteX0" fmla="*/ 17397 w 102410"/>
                  <a:gd name="connsiteY0" fmla="*/ 170356 h 170356"/>
                  <a:gd name="connsiteX1" fmla="*/ 4924 w 102410"/>
                  <a:gd name="connsiteY1" fmla="*/ 165104 h 170356"/>
                  <a:gd name="connsiteX2" fmla="*/ 4924 w 102410"/>
                  <a:gd name="connsiteY2" fmla="*/ 140158 h 170356"/>
                  <a:gd name="connsiteX3" fmla="*/ 60068 w 102410"/>
                  <a:gd name="connsiteY3" fmla="*/ 85014 h 170356"/>
                  <a:gd name="connsiteX4" fmla="*/ 4924 w 102410"/>
                  <a:gd name="connsiteY4" fmla="*/ 29870 h 170356"/>
                  <a:gd name="connsiteX5" fmla="*/ 4924 w 102410"/>
                  <a:gd name="connsiteY5" fmla="*/ 4924 h 170356"/>
                  <a:gd name="connsiteX6" fmla="*/ 29870 w 102410"/>
                  <a:gd name="connsiteY6" fmla="*/ 4924 h 170356"/>
                  <a:gd name="connsiteX7" fmla="*/ 97487 w 102410"/>
                  <a:gd name="connsiteY7" fmla="*/ 72541 h 170356"/>
                  <a:gd name="connsiteX8" fmla="*/ 97487 w 102410"/>
                  <a:gd name="connsiteY8" fmla="*/ 97487 h 170356"/>
                  <a:gd name="connsiteX9" fmla="*/ 29870 w 102410"/>
                  <a:gd name="connsiteY9" fmla="*/ 165104 h 170356"/>
                  <a:gd name="connsiteX10" fmla="*/ 17397 w 102410"/>
                  <a:gd name="connsiteY10" fmla="*/ 170356 h 170356"/>
                  <a:gd name="connsiteX11" fmla="*/ 17397 w 102410"/>
                  <a:gd name="connsiteY11" fmla="*/ 170356 h 1703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2410" h="170356">
                    <a:moveTo>
                      <a:pt x="17397" y="170356"/>
                    </a:moveTo>
                    <a:cubicBezTo>
                      <a:pt x="12801" y="170356"/>
                      <a:pt x="8206" y="168387"/>
                      <a:pt x="4924" y="165104"/>
                    </a:cubicBezTo>
                    <a:cubicBezTo>
                      <a:pt x="-1641" y="158540"/>
                      <a:pt x="-1641" y="147379"/>
                      <a:pt x="4924" y="140158"/>
                    </a:cubicBezTo>
                    <a:lnTo>
                      <a:pt x="60068" y="85014"/>
                    </a:lnTo>
                    <a:lnTo>
                      <a:pt x="4924" y="29870"/>
                    </a:lnTo>
                    <a:cubicBezTo>
                      <a:pt x="-1641" y="23305"/>
                      <a:pt x="-1641" y="12145"/>
                      <a:pt x="4924" y="4924"/>
                    </a:cubicBezTo>
                    <a:cubicBezTo>
                      <a:pt x="11488" y="-1641"/>
                      <a:pt x="22648" y="-1641"/>
                      <a:pt x="29870" y="4924"/>
                    </a:cubicBezTo>
                    <a:lnTo>
                      <a:pt x="97487" y="72541"/>
                    </a:lnTo>
                    <a:cubicBezTo>
                      <a:pt x="104052" y="79106"/>
                      <a:pt x="104052" y="90266"/>
                      <a:pt x="97487" y="97487"/>
                    </a:cubicBezTo>
                    <a:lnTo>
                      <a:pt x="29870" y="165104"/>
                    </a:lnTo>
                    <a:cubicBezTo>
                      <a:pt x="25931" y="169043"/>
                      <a:pt x="21336" y="170356"/>
                      <a:pt x="17397" y="170356"/>
                    </a:cubicBezTo>
                    <a:lnTo>
                      <a:pt x="17397" y="170356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grpSp>
            <p:nvGrpSpPr>
              <p:cNvPr id="230" name="Gráfico 2">
                <a:extLst>
                  <a:ext uri="{FF2B5EF4-FFF2-40B4-BE49-F238E27FC236}">
                    <a16:creationId xmlns:a16="http://schemas.microsoft.com/office/drawing/2014/main" id="{4A08825F-1C42-4C63-A6FE-BBB3DD9D4FEB}"/>
                  </a:ext>
                </a:extLst>
              </p:cNvPr>
              <p:cNvGrpSpPr/>
              <p:nvPr/>
            </p:nvGrpSpPr>
            <p:grpSpPr>
              <a:xfrm>
                <a:off x="3222267" y="4715206"/>
                <a:ext cx="402092" cy="169699"/>
                <a:chOff x="3222267" y="4715206"/>
                <a:chExt cx="402092" cy="169699"/>
              </a:xfrm>
              <a:grpFill/>
            </p:grpSpPr>
            <p:sp>
              <p:nvSpPr>
                <p:cNvPr id="231" name="Forma Livre: Forma 230">
                  <a:extLst>
                    <a:ext uri="{FF2B5EF4-FFF2-40B4-BE49-F238E27FC236}">
                      <a16:creationId xmlns:a16="http://schemas.microsoft.com/office/drawing/2014/main" id="{3EBF44BA-9208-4C68-AC05-D95A5B51470B}"/>
                    </a:ext>
                  </a:extLst>
                </p:cNvPr>
                <p:cNvSpPr/>
                <p:nvPr/>
              </p:nvSpPr>
              <p:spPr>
                <a:xfrm>
                  <a:off x="3222267" y="4715206"/>
                  <a:ext cx="102410" cy="169699"/>
                </a:xfrm>
                <a:custGeom>
                  <a:avLst/>
                  <a:gdLst>
                    <a:gd name="connsiteX0" fmla="*/ 85014 w 102410"/>
                    <a:gd name="connsiteY0" fmla="*/ 169699 h 169699"/>
                    <a:gd name="connsiteX1" fmla="*/ 72541 w 102410"/>
                    <a:gd name="connsiteY1" fmla="*/ 164448 h 169699"/>
                    <a:gd name="connsiteX2" fmla="*/ 4924 w 102410"/>
                    <a:gd name="connsiteY2" fmla="*/ 97487 h 169699"/>
                    <a:gd name="connsiteX3" fmla="*/ 4924 w 102410"/>
                    <a:gd name="connsiteY3" fmla="*/ 72541 h 169699"/>
                    <a:gd name="connsiteX4" fmla="*/ 72541 w 102410"/>
                    <a:gd name="connsiteY4" fmla="*/ 4924 h 169699"/>
                    <a:gd name="connsiteX5" fmla="*/ 97487 w 102410"/>
                    <a:gd name="connsiteY5" fmla="*/ 4924 h 169699"/>
                    <a:gd name="connsiteX6" fmla="*/ 97487 w 102410"/>
                    <a:gd name="connsiteY6" fmla="*/ 29870 h 169699"/>
                    <a:gd name="connsiteX7" fmla="*/ 42343 w 102410"/>
                    <a:gd name="connsiteY7" fmla="*/ 85014 h 169699"/>
                    <a:gd name="connsiteX8" fmla="*/ 97487 w 102410"/>
                    <a:gd name="connsiteY8" fmla="*/ 140158 h 169699"/>
                    <a:gd name="connsiteX9" fmla="*/ 97487 w 102410"/>
                    <a:gd name="connsiteY9" fmla="*/ 165104 h 169699"/>
                    <a:gd name="connsiteX10" fmla="*/ 85014 w 102410"/>
                    <a:gd name="connsiteY10" fmla="*/ 169699 h 169699"/>
                    <a:gd name="connsiteX11" fmla="*/ 85014 w 102410"/>
                    <a:gd name="connsiteY11" fmla="*/ 169699 h 1696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02410" h="169699">
                      <a:moveTo>
                        <a:pt x="85014" y="169699"/>
                      </a:moveTo>
                      <a:cubicBezTo>
                        <a:pt x="80419" y="169699"/>
                        <a:pt x="75823" y="167730"/>
                        <a:pt x="72541" y="164448"/>
                      </a:cubicBezTo>
                      <a:lnTo>
                        <a:pt x="4924" y="97487"/>
                      </a:lnTo>
                      <a:cubicBezTo>
                        <a:pt x="-1641" y="90922"/>
                        <a:pt x="-1641" y="79762"/>
                        <a:pt x="4924" y="72541"/>
                      </a:cubicBezTo>
                      <a:lnTo>
                        <a:pt x="72541" y="4924"/>
                      </a:lnTo>
                      <a:cubicBezTo>
                        <a:pt x="79106" y="-1641"/>
                        <a:pt x="90266" y="-1641"/>
                        <a:pt x="97487" y="4924"/>
                      </a:cubicBezTo>
                      <a:cubicBezTo>
                        <a:pt x="104052" y="11488"/>
                        <a:pt x="104052" y="22648"/>
                        <a:pt x="97487" y="29870"/>
                      </a:cubicBezTo>
                      <a:lnTo>
                        <a:pt x="42343" y="85014"/>
                      </a:lnTo>
                      <a:lnTo>
                        <a:pt x="97487" y="140158"/>
                      </a:lnTo>
                      <a:cubicBezTo>
                        <a:pt x="104052" y="146723"/>
                        <a:pt x="104052" y="157883"/>
                        <a:pt x="97487" y="165104"/>
                      </a:cubicBezTo>
                      <a:cubicBezTo>
                        <a:pt x="93548" y="168386"/>
                        <a:pt x="89609" y="169699"/>
                        <a:pt x="85014" y="169699"/>
                      </a:cubicBezTo>
                      <a:lnTo>
                        <a:pt x="85014" y="169699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232" name="Forma Livre: Forma 231">
                  <a:extLst>
                    <a:ext uri="{FF2B5EF4-FFF2-40B4-BE49-F238E27FC236}">
                      <a16:creationId xmlns:a16="http://schemas.microsoft.com/office/drawing/2014/main" id="{7C2A7302-EBD5-4029-A9B4-65C159F718B9}"/>
                    </a:ext>
                  </a:extLst>
                </p:cNvPr>
                <p:cNvSpPr/>
                <p:nvPr/>
              </p:nvSpPr>
              <p:spPr>
                <a:xfrm>
                  <a:off x="3240320" y="4781838"/>
                  <a:ext cx="384039" cy="35449"/>
                </a:xfrm>
                <a:custGeom>
                  <a:avLst/>
                  <a:gdLst>
                    <a:gd name="connsiteX0" fmla="*/ 366315 w 384039"/>
                    <a:gd name="connsiteY0" fmla="*/ 35450 h 35449"/>
                    <a:gd name="connsiteX1" fmla="*/ 17725 w 384039"/>
                    <a:gd name="connsiteY1" fmla="*/ 35450 h 35449"/>
                    <a:gd name="connsiteX2" fmla="*/ 0 w 384039"/>
                    <a:gd name="connsiteY2" fmla="*/ 17725 h 35449"/>
                    <a:gd name="connsiteX3" fmla="*/ 17725 w 384039"/>
                    <a:gd name="connsiteY3" fmla="*/ 0 h 35449"/>
                    <a:gd name="connsiteX4" fmla="*/ 366315 w 384039"/>
                    <a:gd name="connsiteY4" fmla="*/ 0 h 35449"/>
                    <a:gd name="connsiteX5" fmla="*/ 384040 w 384039"/>
                    <a:gd name="connsiteY5" fmla="*/ 17725 h 35449"/>
                    <a:gd name="connsiteX6" fmla="*/ 366315 w 384039"/>
                    <a:gd name="connsiteY6" fmla="*/ 35450 h 35449"/>
                    <a:gd name="connsiteX7" fmla="*/ 366315 w 384039"/>
                    <a:gd name="connsiteY7" fmla="*/ 35450 h 354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84039" h="35449">
                      <a:moveTo>
                        <a:pt x="366315" y="35450"/>
                      </a:moveTo>
                      <a:lnTo>
                        <a:pt x="17725" y="35450"/>
                      </a:lnTo>
                      <a:cubicBezTo>
                        <a:pt x="7878" y="35450"/>
                        <a:pt x="0" y="27572"/>
                        <a:pt x="0" y="17725"/>
                      </a:cubicBezTo>
                      <a:cubicBezTo>
                        <a:pt x="0" y="7878"/>
                        <a:pt x="7878" y="0"/>
                        <a:pt x="17725" y="0"/>
                      </a:cubicBezTo>
                      <a:lnTo>
                        <a:pt x="366315" y="0"/>
                      </a:lnTo>
                      <a:cubicBezTo>
                        <a:pt x="376162" y="0"/>
                        <a:pt x="384040" y="7878"/>
                        <a:pt x="384040" y="17725"/>
                      </a:cubicBezTo>
                      <a:cubicBezTo>
                        <a:pt x="383383" y="28228"/>
                        <a:pt x="375505" y="35450"/>
                        <a:pt x="366315" y="35450"/>
                      </a:cubicBezTo>
                      <a:lnTo>
                        <a:pt x="366315" y="35450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</p:grpSp>
        <p:grpSp>
          <p:nvGrpSpPr>
            <p:cNvPr id="233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7492984" y="4591460"/>
              <a:ext cx="425397" cy="416863"/>
              <a:chOff x="7492984" y="4591460"/>
              <a:chExt cx="425397" cy="416863"/>
            </a:xfrm>
            <a:grpFill/>
          </p:grpSpPr>
          <p:grpSp>
            <p:nvGrpSpPr>
              <p:cNvPr id="234" name="Gráfico 2">
                <a:extLst>
                  <a:ext uri="{FF2B5EF4-FFF2-40B4-BE49-F238E27FC236}">
                    <a16:creationId xmlns:a16="http://schemas.microsoft.com/office/drawing/2014/main" id="{4A08825F-1C42-4C63-A6FE-BBB3DD9D4FEB}"/>
                  </a:ext>
                </a:extLst>
              </p:cNvPr>
              <p:cNvGrpSpPr/>
              <p:nvPr/>
            </p:nvGrpSpPr>
            <p:grpSpPr>
              <a:xfrm>
                <a:off x="7492984" y="4591460"/>
                <a:ext cx="230095" cy="230423"/>
                <a:chOff x="7492984" y="4591460"/>
                <a:chExt cx="230095" cy="230423"/>
              </a:xfrm>
              <a:grpFill/>
            </p:grpSpPr>
            <p:sp>
              <p:nvSpPr>
                <p:cNvPr id="235" name="Forma Livre: Forma 234">
                  <a:extLst>
                    <a:ext uri="{FF2B5EF4-FFF2-40B4-BE49-F238E27FC236}">
                      <a16:creationId xmlns:a16="http://schemas.microsoft.com/office/drawing/2014/main" id="{7AADDEFE-F3F7-43E2-811F-28B2310AD26B}"/>
                    </a:ext>
                  </a:extLst>
                </p:cNvPr>
                <p:cNvSpPr/>
                <p:nvPr/>
              </p:nvSpPr>
              <p:spPr>
                <a:xfrm>
                  <a:off x="7492984" y="4591460"/>
                  <a:ext cx="141799" cy="141799"/>
                </a:xfrm>
                <a:custGeom>
                  <a:avLst/>
                  <a:gdLst>
                    <a:gd name="connsiteX0" fmla="*/ 17725 w 141799"/>
                    <a:gd name="connsiteY0" fmla="*/ 141799 h 141799"/>
                    <a:gd name="connsiteX1" fmla="*/ 17725 w 141799"/>
                    <a:gd name="connsiteY1" fmla="*/ 141799 h 141799"/>
                    <a:gd name="connsiteX2" fmla="*/ 0 w 141799"/>
                    <a:gd name="connsiteY2" fmla="*/ 124074 h 141799"/>
                    <a:gd name="connsiteX3" fmla="*/ 0 w 141799"/>
                    <a:gd name="connsiteY3" fmla="*/ 17725 h 141799"/>
                    <a:gd name="connsiteX4" fmla="*/ 17725 w 141799"/>
                    <a:gd name="connsiteY4" fmla="*/ 0 h 141799"/>
                    <a:gd name="connsiteX5" fmla="*/ 124074 w 141799"/>
                    <a:gd name="connsiteY5" fmla="*/ 0 h 141799"/>
                    <a:gd name="connsiteX6" fmla="*/ 124074 w 141799"/>
                    <a:gd name="connsiteY6" fmla="*/ 0 h 141799"/>
                    <a:gd name="connsiteX7" fmla="*/ 141799 w 141799"/>
                    <a:gd name="connsiteY7" fmla="*/ 17725 h 141799"/>
                    <a:gd name="connsiteX8" fmla="*/ 124074 w 141799"/>
                    <a:gd name="connsiteY8" fmla="*/ 35450 h 141799"/>
                    <a:gd name="connsiteX9" fmla="*/ 34793 w 141799"/>
                    <a:gd name="connsiteY9" fmla="*/ 35450 h 141799"/>
                    <a:gd name="connsiteX10" fmla="*/ 34793 w 141799"/>
                    <a:gd name="connsiteY10" fmla="*/ 124074 h 141799"/>
                    <a:gd name="connsiteX11" fmla="*/ 17725 w 141799"/>
                    <a:gd name="connsiteY11" fmla="*/ 141799 h 141799"/>
                    <a:gd name="connsiteX12" fmla="*/ 17725 w 141799"/>
                    <a:gd name="connsiteY12" fmla="*/ 141799 h 141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41799" h="141799">
                      <a:moveTo>
                        <a:pt x="17725" y="141799"/>
                      </a:moveTo>
                      <a:lnTo>
                        <a:pt x="17725" y="141799"/>
                      </a:lnTo>
                      <a:cubicBezTo>
                        <a:pt x="7878" y="141799"/>
                        <a:pt x="0" y="133922"/>
                        <a:pt x="0" y="124074"/>
                      </a:cubicBezTo>
                      <a:lnTo>
                        <a:pt x="0" y="17725"/>
                      </a:lnTo>
                      <a:cubicBezTo>
                        <a:pt x="0" y="7878"/>
                        <a:pt x="7878" y="0"/>
                        <a:pt x="17725" y="0"/>
                      </a:cubicBezTo>
                      <a:lnTo>
                        <a:pt x="124074" y="0"/>
                      </a:lnTo>
                      <a:lnTo>
                        <a:pt x="124074" y="0"/>
                      </a:lnTo>
                      <a:cubicBezTo>
                        <a:pt x="133922" y="0"/>
                        <a:pt x="141799" y="7878"/>
                        <a:pt x="141799" y="17725"/>
                      </a:cubicBezTo>
                      <a:cubicBezTo>
                        <a:pt x="141799" y="27572"/>
                        <a:pt x="133922" y="35450"/>
                        <a:pt x="124074" y="35450"/>
                      </a:cubicBezTo>
                      <a:lnTo>
                        <a:pt x="34793" y="35450"/>
                      </a:lnTo>
                      <a:lnTo>
                        <a:pt x="34793" y="124074"/>
                      </a:lnTo>
                      <a:cubicBezTo>
                        <a:pt x="35450" y="133922"/>
                        <a:pt x="27572" y="141799"/>
                        <a:pt x="17725" y="141799"/>
                      </a:cubicBezTo>
                      <a:lnTo>
                        <a:pt x="17725" y="141799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236" name="Forma Livre: Forma 235">
                  <a:extLst>
                    <a:ext uri="{FF2B5EF4-FFF2-40B4-BE49-F238E27FC236}">
                      <a16:creationId xmlns:a16="http://schemas.microsoft.com/office/drawing/2014/main" id="{97A4BB75-E8EA-42A2-BD0F-5B81AAD9657A}"/>
                    </a:ext>
                  </a:extLst>
                </p:cNvPr>
                <p:cNvSpPr/>
                <p:nvPr/>
              </p:nvSpPr>
              <p:spPr>
                <a:xfrm>
                  <a:off x="7507754" y="4606230"/>
                  <a:ext cx="215324" cy="215653"/>
                </a:xfrm>
                <a:custGeom>
                  <a:avLst/>
                  <a:gdLst>
                    <a:gd name="connsiteX0" fmla="*/ 197928 w 215324"/>
                    <a:gd name="connsiteY0" fmla="*/ 215653 h 215653"/>
                    <a:gd name="connsiteX1" fmla="*/ 185455 w 215324"/>
                    <a:gd name="connsiteY1" fmla="*/ 210401 h 215653"/>
                    <a:gd name="connsiteX2" fmla="*/ 4924 w 215324"/>
                    <a:gd name="connsiteY2" fmla="*/ 29870 h 215653"/>
                    <a:gd name="connsiteX3" fmla="*/ 4924 w 215324"/>
                    <a:gd name="connsiteY3" fmla="*/ 4924 h 215653"/>
                    <a:gd name="connsiteX4" fmla="*/ 29870 w 215324"/>
                    <a:gd name="connsiteY4" fmla="*/ 4924 h 215653"/>
                    <a:gd name="connsiteX5" fmla="*/ 210401 w 215324"/>
                    <a:gd name="connsiteY5" fmla="*/ 185455 h 215653"/>
                    <a:gd name="connsiteX6" fmla="*/ 210401 w 215324"/>
                    <a:gd name="connsiteY6" fmla="*/ 210401 h 215653"/>
                    <a:gd name="connsiteX7" fmla="*/ 197928 w 215324"/>
                    <a:gd name="connsiteY7" fmla="*/ 215653 h 215653"/>
                    <a:gd name="connsiteX8" fmla="*/ 197928 w 215324"/>
                    <a:gd name="connsiteY8" fmla="*/ 215653 h 2156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15324" h="215653">
                      <a:moveTo>
                        <a:pt x="197928" y="215653"/>
                      </a:moveTo>
                      <a:cubicBezTo>
                        <a:pt x="193333" y="215653"/>
                        <a:pt x="188737" y="213683"/>
                        <a:pt x="185455" y="210401"/>
                      </a:cubicBezTo>
                      <a:lnTo>
                        <a:pt x="4924" y="29870"/>
                      </a:lnTo>
                      <a:cubicBezTo>
                        <a:pt x="-1641" y="23305"/>
                        <a:pt x="-1641" y="12145"/>
                        <a:pt x="4924" y="4924"/>
                      </a:cubicBezTo>
                      <a:cubicBezTo>
                        <a:pt x="11488" y="-1641"/>
                        <a:pt x="22649" y="-1641"/>
                        <a:pt x="29870" y="4924"/>
                      </a:cubicBezTo>
                      <a:lnTo>
                        <a:pt x="210401" y="185455"/>
                      </a:lnTo>
                      <a:cubicBezTo>
                        <a:pt x="216966" y="192020"/>
                        <a:pt x="216966" y="203180"/>
                        <a:pt x="210401" y="210401"/>
                      </a:cubicBezTo>
                      <a:cubicBezTo>
                        <a:pt x="206462" y="213683"/>
                        <a:pt x="202524" y="215653"/>
                        <a:pt x="197928" y="215653"/>
                      </a:cubicBezTo>
                      <a:lnTo>
                        <a:pt x="197928" y="215653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grpSp>
            <p:nvGrpSpPr>
              <p:cNvPr id="237" name="Gráfico 2">
                <a:extLst>
                  <a:ext uri="{FF2B5EF4-FFF2-40B4-BE49-F238E27FC236}">
                    <a16:creationId xmlns:a16="http://schemas.microsoft.com/office/drawing/2014/main" id="{4A08825F-1C42-4C63-A6FE-BBB3DD9D4FEB}"/>
                  </a:ext>
                </a:extLst>
              </p:cNvPr>
              <p:cNvGrpSpPr/>
              <p:nvPr/>
            </p:nvGrpSpPr>
            <p:grpSpPr>
              <a:xfrm>
                <a:off x="7688943" y="4591460"/>
                <a:ext cx="229438" cy="229767"/>
                <a:chOff x="7688943" y="4591460"/>
                <a:chExt cx="229438" cy="229767"/>
              </a:xfrm>
              <a:grpFill/>
            </p:grpSpPr>
            <p:sp>
              <p:nvSpPr>
                <p:cNvPr id="238" name="Forma Livre: Forma 237">
                  <a:extLst>
                    <a:ext uri="{FF2B5EF4-FFF2-40B4-BE49-F238E27FC236}">
                      <a16:creationId xmlns:a16="http://schemas.microsoft.com/office/drawing/2014/main" id="{0F8CCB55-F350-46A0-BAA6-5BA98E571B46}"/>
                    </a:ext>
                  </a:extLst>
                </p:cNvPr>
                <p:cNvSpPr/>
                <p:nvPr/>
              </p:nvSpPr>
              <p:spPr>
                <a:xfrm>
                  <a:off x="7776582" y="4591460"/>
                  <a:ext cx="141799" cy="141799"/>
                </a:xfrm>
                <a:custGeom>
                  <a:avLst/>
                  <a:gdLst>
                    <a:gd name="connsiteX0" fmla="*/ 124074 w 141799"/>
                    <a:gd name="connsiteY0" fmla="*/ 141799 h 141799"/>
                    <a:gd name="connsiteX1" fmla="*/ 106349 w 141799"/>
                    <a:gd name="connsiteY1" fmla="*/ 124074 h 141799"/>
                    <a:gd name="connsiteX2" fmla="*/ 106349 w 141799"/>
                    <a:gd name="connsiteY2" fmla="*/ 35450 h 141799"/>
                    <a:gd name="connsiteX3" fmla="*/ 17725 w 141799"/>
                    <a:gd name="connsiteY3" fmla="*/ 35450 h 141799"/>
                    <a:gd name="connsiteX4" fmla="*/ 0 w 141799"/>
                    <a:gd name="connsiteY4" fmla="*/ 17725 h 141799"/>
                    <a:gd name="connsiteX5" fmla="*/ 17725 w 141799"/>
                    <a:gd name="connsiteY5" fmla="*/ 0 h 141799"/>
                    <a:gd name="connsiteX6" fmla="*/ 17725 w 141799"/>
                    <a:gd name="connsiteY6" fmla="*/ 0 h 141799"/>
                    <a:gd name="connsiteX7" fmla="*/ 124074 w 141799"/>
                    <a:gd name="connsiteY7" fmla="*/ 0 h 141799"/>
                    <a:gd name="connsiteX8" fmla="*/ 141799 w 141799"/>
                    <a:gd name="connsiteY8" fmla="*/ 17725 h 141799"/>
                    <a:gd name="connsiteX9" fmla="*/ 141799 w 141799"/>
                    <a:gd name="connsiteY9" fmla="*/ 124074 h 141799"/>
                    <a:gd name="connsiteX10" fmla="*/ 124074 w 141799"/>
                    <a:gd name="connsiteY10" fmla="*/ 141799 h 141799"/>
                    <a:gd name="connsiteX11" fmla="*/ 124074 w 141799"/>
                    <a:gd name="connsiteY11" fmla="*/ 141799 h 141799"/>
                    <a:gd name="connsiteX12" fmla="*/ 124074 w 141799"/>
                    <a:gd name="connsiteY12" fmla="*/ 141799 h 141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41799" h="141799">
                      <a:moveTo>
                        <a:pt x="124074" y="141799"/>
                      </a:moveTo>
                      <a:cubicBezTo>
                        <a:pt x="114227" y="141799"/>
                        <a:pt x="106349" y="133922"/>
                        <a:pt x="106349" y="124074"/>
                      </a:cubicBezTo>
                      <a:lnTo>
                        <a:pt x="106349" y="35450"/>
                      </a:lnTo>
                      <a:lnTo>
                        <a:pt x="17725" y="35450"/>
                      </a:lnTo>
                      <a:cubicBezTo>
                        <a:pt x="7878" y="35450"/>
                        <a:pt x="0" y="27572"/>
                        <a:pt x="0" y="17725"/>
                      </a:cubicBezTo>
                      <a:cubicBezTo>
                        <a:pt x="0" y="7878"/>
                        <a:pt x="7878" y="0"/>
                        <a:pt x="17725" y="0"/>
                      </a:cubicBezTo>
                      <a:lnTo>
                        <a:pt x="17725" y="0"/>
                      </a:lnTo>
                      <a:lnTo>
                        <a:pt x="124074" y="0"/>
                      </a:lnTo>
                      <a:cubicBezTo>
                        <a:pt x="133922" y="0"/>
                        <a:pt x="141799" y="7878"/>
                        <a:pt x="141799" y="17725"/>
                      </a:cubicBezTo>
                      <a:lnTo>
                        <a:pt x="141799" y="124074"/>
                      </a:lnTo>
                      <a:cubicBezTo>
                        <a:pt x="141143" y="133922"/>
                        <a:pt x="133265" y="141799"/>
                        <a:pt x="124074" y="141799"/>
                      </a:cubicBezTo>
                      <a:lnTo>
                        <a:pt x="124074" y="141799"/>
                      </a:lnTo>
                      <a:lnTo>
                        <a:pt x="124074" y="141799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239" name="Forma Livre: Forma 238">
                  <a:extLst>
                    <a:ext uri="{FF2B5EF4-FFF2-40B4-BE49-F238E27FC236}">
                      <a16:creationId xmlns:a16="http://schemas.microsoft.com/office/drawing/2014/main" id="{8F4EFDCB-FDF2-4F88-95C0-57A3B51597E8}"/>
                    </a:ext>
                  </a:extLst>
                </p:cNvPr>
                <p:cNvSpPr/>
                <p:nvPr/>
              </p:nvSpPr>
              <p:spPr>
                <a:xfrm>
                  <a:off x="7688943" y="4606230"/>
                  <a:ext cx="214667" cy="214996"/>
                </a:xfrm>
                <a:custGeom>
                  <a:avLst/>
                  <a:gdLst>
                    <a:gd name="connsiteX0" fmla="*/ 17396 w 214667"/>
                    <a:gd name="connsiteY0" fmla="*/ 214997 h 214996"/>
                    <a:gd name="connsiteX1" fmla="*/ 4924 w 214667"/>
                    <a:gd name="connsiteY1" fmla="*/ 209745 h 214996"/>
                    <a:gd name="connsiteX2" fmla="*/ 4924 w 214667"/>
                    <a:gd name="connsiteY2" fmla="*/ 184799 h 214996"/>
                    <a:gd name="connsiteX3" fmla="*/ 184799 w 214667"/>
                    <a:gd name="connsiteY3" fmla="*/ 4924 h 214996"/>
                    <a:gd name="connsiteX4" fmla="*/ 209744 w 214667"/>
                    <a:gd name="connsiteY4" fmla="*/ 4924 h 214996"/>
                    <a:gd name="connsiteX5" fmla="*/ 209744 w 214667"/>
                    <a:gd name="connsiteY5" fmla="*/ 29870 h 214996"/>
                    <a:gd name="connsiteX6" fmla="*/ 29870 w 214667"/>
                    <a:gd name="connsiteY6" fmla="*/ 209745 h 214996"/>
                    <a:gd name="connsiteX7" fmla="*/ 17396 w 214667"/>
                    <a:gd name="connsiteY7" fmla="*/ 214997 h 214996"/>
                    <a:gd name="connsiteX8" fmla="*/ 17396 w 214667"/>
                    <a:gd name="connsiteY8" fmla="*/ 214997 h 2149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14667" h="214996">
                      <a:moveTo>
                        <a:pt x="17396" y="214997"/>
                      </a:moveTo>
                      <a:cubicBezTo>
                        <a:pt x="12801" y="214997"/>
                        <a:pt x="8206" y="213027"/>
                        <a:pt x="4924" y="209745"/>
                      </a:cubicBezTo>
                      <a:cubicBezTo>
                        <a:pt x="-1641" y="203180"/>
                        <a:pt x="-1641" y="192020"/>
                        <a:pt x="4924" y="184799"/>
                      </a:cubicBezTo>
                      <a:lnTo>
                        <a:pt x="184799" y="4924"/>
                      </a:lnTo>
                      <a:cubicBezTo>
                        <a:pt x="191363" y="-1641"/>
                        <a:pt x="202523" y="-1641"/>
                        <a:pt x="209744" y="4924"/>
                      </a:cubicBezTo>
                      <a:cubicBezTo>
                        <a:pt x="216309" y="11488"/>
                        <a:pt x="216309" y="22649"/>
                        <a:pt x="209744" y="29870"/>
                      </a:cubicBezTo>
                      <a:lnTo>
                        <a:pt x="29870" y="209745"/>
                      </a:lnTo>
                      <a:cubicBezTo>
                        <a:pt x="25931" y="213027"/>
                        <a:pt x="21336" y="214997"/>
                        <a:pt x="17396" y="214997"/>
                      </a:cubicBezTo>
                      <a:lnTo>
                        <a:pt x="17396" y="214997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sp>
            <p:nvSpPr>
              <p:cNvPr id="240" name="Forma Livre: Forma 239">
                <a:extLst>
                  <a:ext uri="{FF2B5EF4-FFF2-40B4-BE49-F238E27FC236}">
                    <a16:creationId xmlns:a16="http://schemas.microsoft.com/office/drawing/2014/main" id="{E641561F-9BB7-4BAA-8089-F373CD86C15A}"/>
                  </a:ext>
                </a:extLst>
              </p:cNvPr>
              <p:cNvSpPr/>
              <p:nvPr/>
            </p:nvSpPr>
            <p:spPr>
              <a:xfrm>
                <a:off x="7685332" y="4785120"/>
                <a:ext cx="35449" cy="223202"/>
              </a:xfrm>
              <a:custGeom>
                <a:avLst/>
                <a:gdLst>
                  <a:gd name="connsiteX0" fmla="*/ 17725 w 35449"/>
                  <a:gd name="connsiteY0" fmla="*/ 223202 h 223202"/>
                  <a:gd name="connsiteX1" fmla="*/ 0 w 35449"/>
                  <a:gd name="connsiteY1" fmla="*/ 205478 h 223202"/>
                  <a:gd name="connsiteX2" fmla="*/ 0 w 35449"/>
                  <a:gd name="connsiteY2" fmla="*/ 17725 h 223202"/>
                  <a:gd name="connsiteX3" fmla="*/ 17725 w 35449"/>
                  <a:gd name="connsiteY3" fmla="*/ 0 h 223202"/>
                  <a:gd name="connsiteX4" fmla="*/ 35450 w 35449"/>
                  <a:gd name="connsiteY4" fmla="*/ 17725 h 223202"/>
                  <a:gd name="connsiteX5" fmla="*/ 35450 w 35449"/>
                  <a:gd name="connsiteY5" fmla="*/ 205478 h 223202"/>
                  <a:gd name="connsiteX6" fmla="*/ 17725 w 35449"/>
                  <a:gd name="connsiteY6" fmla="*/ 223202 h 223202"/>
                  <a:gd name="connsiteX7" fmla="*/ 17725 w 35449"/>
                  <a:gd name="connsiteY7" fmla="*/ 223202 h 223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449" h="223202">
                    <a:moveTo>
                      <a:pt x="17725" y="223202"/>
                    </a:moveTo>
                    <a:cubicBezTo>
                      <a:pt x="7878" y="223202"/>
                      <a:pt x="0" y="215325"/>
                      <a:pt x="0" y="205478"/>
                    </a:cubicBezTo>
                    <a:lnTo>
                      <a:pt x="0" y="17725"/>
                    </a:lnTo>
                    <a:cubicBezTo>
                      <a:pt x="0" y="7878"/>
                      <a:pt x="7878" y="0"/>
                      <a:pt x="17725" y="0"/>
                    </a:cubicBezTo>
                    <a:cubicBezTo>
                      <a:pt x="27572" y="0"/>
                      <a:pt x="35450" y="7878"/>
                      <a:pt x="35450" y="17725"/>
                    </a:cubicBezTo>
                    <a:lnTo>
                      <a:pt x="35450" y="205478"/>
                    </a:lnTo>
                    <a:cubicBezTo>
                      <a:pt x="35450" y="215325"/>
                      <a:pt x="27572" y="223202"/>
                      <a:pt x="17725" y="223202"/>
                    </a:cubicBezTo>
                    <a:lnTo>
                      <a:pt x="17725" y="223202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241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6424238" y="5677274"/>
              <a:ext cx="416863" cy="416863"/>
              <a:chOff x="6424238" y="5677274"/>
              <a:chExt cx="416863" cy="416863"/>
            </a:xfrm>
            <a:grpFill/>
          </p:grpSpPr>
          <p:grpSp>
            <p:nvGrpSpPr>
              <p:cNvPr id="242" name="Gráfico 2">
                <a:extLst>
                  <a:ext uri="{FF2B5EF4-FFF2-40B4-BE49-F238E27FC236}">
                    <a16:creationId xmlns:a16="http://schemas.microsoft.com/office/drawing/2014/main" id="{4A08825F-1C42-4C63-A6FE-BBB3DD9D4FEB}"/>
                  </a:ext>
                </a:extLst>
              </p:cNvPr>
              <p:cNvGrpSpPr/>
              <p:nvPr/>
            </p:nvGrpSpPr>
            <p:grpSpPr>
              <a:xfrm>
                <a:off x="6545686" y="5798722"/>
                <a:ext cx="173310" cy="173309"/>
                <a:chOff x="6545686" y="5798722"/>
                <a:chExt cx="173310" cy="173309"/>
              </a:xfrm>
              <a:grpFill/>
            </p:grpSpPr>
            <p:sp>
              <p:nvSpPr>
                <p:cNvPr id="243" name="Forma Livre: Forma 242">
                  <a:extLst>
                    <a:ext uri="{FF2B5EF4-FFF2-40B4-BE49-F238E27FC236}">
                      <a16:creationId xmlns:a16="http://schemas.microsoft.com/office/drawing/2014/main" id="{53B15429-5B02-495B-BAD7-BC87984FBCFC}"/>
                    </a:ext>
                  </a:extLst>
                </p:cNvPr>
                <p:cNvSpPr/>
                <p:nvPr/>
              </p:nvSpPr>
              <p:spPr>
                <a:xfrm>
                  <a:off x="6614616" y="5798722"/>
                  <a:ext cx="35449" cy="173309"/>
                </a:xfrm>
                <a:custGeom>
                  <a:avLst/>
                  <a:gdLst>
                    <a:gd name="connsiteX0" fmla="*/ 17725 w 35449"/>
                    <a:gd name="connsiteY0" fmla="*/ 173310 h 173309"/>
                    <a:gd name="connsiteX1" fmla="*/ 0 w 35449"/>
                    <a:gd name="connsiteY1" fmla="*/ 155585 h 173309"/>
                    <a:gd name="connsiteX2" fmla="*/ 0 w 35449"/>
                    <a:gd name="connsiteY2" fmla="*/ 17725 h 173309"/>
                    <a:gd name="connsiteX3" fmla="*/ 17725 w 35449"/>
                    <a:gd name="connsiteY3" fmla="*/ 0 h 173309"/>
                    <a:gd name="connsiteX4" fmla="*/ 35450 w 35449"/>
                    <a:gd name="connsiteY4" fmla="*/ 17725 h 173309"/>
                    <a:gd name="connsiteX5" fmla="*/ 35450 w 35449"/>
                    <a:gd name="connsiteY5" fmla="*/ 155585 h 173309"/>
                    <a:gd name="connsiteX6" fmla="*/ 17725 w 35449"/>
                    <a:gd name="connsiteY6" fmla="*/ 173310 h 173309"/>
                    <a:gd name="connsiteX7" fmla="*/ 17725 w 35449"/>
                    <a:gd name="connsiteY7" fmla="*/ 173310 h 1733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5449" h="173309">
                      <a:moveTo>
                        <a:pt x="17725" y="173310"/>
                      </a:moveTo>
                      <a:cubicBezTo>
                        <a:pt x="7878" y="173310"/>
                        <a:pt x="0" y="165433"/>
                        <a:pt x="0" y="155585"/>
                      </a:cubicBezTo>
                      <a:lnTo>
                        <a:pt x="0" y="17725"/>
                      </a:lnTo>
                      <a:cubicBezTo>
                        <a:pt x="0" y="7878"/>
                        <a:pt x="7878" y="0"/>
                        <a:pt x="17725" y="0"/>
                      </a:cubicBezTo>
                      <a:cubicBezTo>
                        <a:pt x="27572" y="0"/>
                        <a:pt x="35450" y="7878"/>
                        <a:pt x="35450" y="17725"/>
                      </a:cubicBezTo>
                      <a:lnTo>
                        <a:pt x="35450" y="155585"/>
                      </a:lnTo>
                      <a:cubicBezTo>
                        <a:pt x="35450" y="165433"/>
                        <a:pt x="27572" y="173310"/>
                        <a:pt x="17725" y="173310"/>
                      </a:cubicBezTo>
                      <a:lnTo>
                        <a:pt x="17725" y="173310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244" name="Forma Livre: Forma 243">
                  <a:extLst>
                    <a:ext uri="{FF2B5EF4-FFF2-40B4-BE49-F238E27FC236}">
                      <a16:creationId xmlns:a16="http://schemas.microsoft.com/office/drawing/2014/main" id="{2F5E7148-D6E1-4A1C-9C44-FF299C0F9B71}"/>
                    </a:ext>
                  </a:extLst>
                </p:cNvPr>
                <p:cNvSpPr/>
                <p:nvPr/>
              </p:nvSpPr>
              <p:spPr>
                <a:xfrm>
                  <a:off x="6545686" y="5868309"/>
                  <a:ext cx="173310" cy="35449"/>
                </a:xfrm>
                <a:custGeom>
                  <a:avLst/>
                  <a:gdLst>
                    <a:gd name="connsiteX0" fmla="*/ 155585 w 173310"/>
                    <a:gd name="connsiteY0" fmla="*/ 35450 h 35449"/>
                    <a:gd name="connsiteX1" fmla="*/ 17725 w 173310"/>
                    <a:gd name="connsiteY1" fmla="*/ 35450 h 35449"/>
                    <a:gd name="connsiteX2" fmla="*/ 0 w 173310"/>
                    <a:gd name="connsiteY2" fmla="*/ 17725 h 35449"/>
                    <a:gd name="connsiteX3" fmla="*/ 17725 w 173310"/>
                    <a:gd name="connsiteY3" fmla="*/ 0 h 35449"/>
                    <a:gd name="connsiteX4" fmla="*/ 155585 w 173310"/>
                    <a:gd name="connsiteY4" fmla="*/ 0 h 35449"/>
                    <a:gd name="connsiteX5" fmla="*/ 173310 w 173310"/>
                    <a:gd name="connsiteY5" fmla="*/ 17725 h 35449"/>
                    <a:gd name="connsiteX6" fmla="*/ 155585 w 173310"/>
                    <a:gd name="connsiteY6" fmla="*/ 35450 h 35449"/>
                    <a:gd name="connsiteX7" fmla="*/ 155585 w 173310"/>
                    <a:gd name="connsiteY7" fmla="*/ 35450 h 354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73310" h="35449">
                      <a:moveTo>
                        <a:pt x="155585" y="35450"/>
                      </a:moveTo>
                      <a:lnTo>
                        <a:pt x="17725" y="35450"/>
                      </a:lnTo>
                      <a:cubicBezTo>
                        <a:pt x="7878" y="35450"/>
                        <a:pt x="0" y="27572"/>
                        <a:pt x="0" y="17725"/>
                      </a:cubicBezTo>
                      <a:cubicBezTo>
                        <a:pt x="0" y="7878"/>
                        <a:pt x="7878" y="0"/>
                        <a:pt x="17725" y="0"/>
                      </a:cubicBezTo>
                      <a:lnTo>
                        <a:pt x="155585" y="0"/>
                      </a:lnTo>
                      <a:cubicBezTo>
                        <a:pt x="165432" y="0"/>
                        <a:pt x="173310" y="7878"/>
                        <a:pt x="173310" y="17725"/>
                      </a:cubicBezTo>
                      <a:cubicBezTo>
                        <a:pt x="172654" y="27572"/>
                        <a:pt x="165432" y="35450"/>
                        <a:pt x="155585" y="35450"/>
                      </a:cubicBezTo>
                      <a:lnTo>
                        <a:pt x="155585" y="35450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sp>
            <p:nvSpPr>
              <p:cNvPr id="245" name="Forma Livre: Forma 244">
                <a:extLst>
                  <a:ext uri="{FF2B5EF4-FFF2-40B4-BE49-F238E27FC236}">
                    <a16:creationId xmlns:a16="http://schemas.microsoft.com/office/drawing/2014/main" id="{7663BA15-25A0-4839-B6E0-C9FA7E240DDD}"/>
                  </a:ext>
                </a:extLst>
              </p:cNvPr>
              <p:cNvSpPr/>
              <p:nvPr/>
            </p:nvSpPr>
            <p:spPr>
              <a:xfrm>
                <a:off x="6424238" y="5677274"/>
                <a:ext cx="416863" cy="416863"/>
              </a:xfrm>
              <a:custGeom>
                <a:avLst/>
                <a:gdLst>
                  <a:gd name="connsiteX0" fmla="*/ 399138 w 416863"/>
                  <a:gd name="connsiteY0" fmla="*/ 416863 h 416863"/>
                  <a:gd name="connsiteX1" fmla="*/ 17725 w 416863"/>
                  <a:gd name="connsiteY1" fmla="*/ 416863 h 416863"/>
                  <a:gd name="connsiteX2" fmla="*/ 0 w 416863"/>
                  <a:gd name="connsiteY2" fmla="*/ 399138 h 416863"/>
                  <a:gd name="connsiteX3" fmla="*/ 0 w 416863"/>
                  <a:gd name="connsiteY3" fmla="*/ 17725 h 416863"/>
                  <a:gd name="connsiteX4" fmla="*/ 17725 w 416863"/>
                  <a:gd name="connsiteY4" fmla="*/ 0 h 416863"/>
                  <a:gd name="connsiteX5" fmla="*/ 399138 w 416863"/>
                  <a:gd name="connsiteY5" fmla="*/ 0 h 416863"/>
                  <a:gd name="connsiteX6" fmla="*/ 416863 w 416863"/>
                  <a:gd name="connsiteY6" fmla="*/ 17725 h 416863"/>
                  <a:gd name="connsiteX7" fmla="*/ 416863 w 416863"/>
                  <a:gd name="connsiteY7" fmla="*/ 399138 h 416863"/>
                  <a:gd name="connsiteX8" fmla="*/ 399138 w 416863"/>
                  <a:gd name="connsiteY8" fmla="*/ 416863 h 416863"/>
                  <a:gd name="connsiteX9" fmla="*/ 399138 w 416863"/>
                  <a:gd name="connsiteY9" fmla="*/ 416863 h 416863"/>
                  <a:gd name="connsiteX10" fmla="*/ 34793 w 416863"/>
                  <a:gd name="connsiteY10" fmla="*/ 382070 h 416863"/>
                  <a:gd name="connsiteX11" fmla="*/ 381413 w 416863"/>
                  <a:gd name="connsiteY11" fmla="*/ 382070 h 416863"/>
                  <a:gd name="connsiteX12" fmla="*/ 381413 w 416863"/>
                  <a:gd name="connsiteY12" fmla="*/ 35450 h 416863"/>
                  <a:gd name="connsiteX13" fmla="*/ 34793 w 416863"/>
                  <a:gd name="connsiteY13" fmla="*/ 35450 h 416863"/>
                  <a:gd name="connsiteX14" fmla="*/ 34793 w 416863"/>
                  <a:gd name="connsiteY14" fmla="*/ 382070 h 416863"/>
                  <a:gd name="connsiteX15" fmla="*/ 34793 w 416863"/>
                  <a:gd name="connsiteY15" fmla="*/ 382070 h 416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16863" h="416863">
                    <a:moveTo>
                      <a:pt x="399138" y="416863"/>
                    </a:moveTo>
                    <a:lnTo>
                      <a:pt x="17725" y="416863"/>
                    </a:lnTo>
                    <a:cubicBezTo>
                      <a:pt x="7878" y="416863"/>
                      <a:pt x="0" y="408986"/>
                      <a:pt x="0" y="399138"/>
                    </a:cubicBezTo>
                    <a:lnTo>
                      <a:pt x="0" y="17725"/>
                    </a:lnTo>
                    <a:cubicBezTo>
                      <a:pt x="0" y="7878"/>
                      <a:pt x="7878" y="0"/>
                      <a:pt x="17725" y="0"/>
                    </a:cubicBezTo>
                    <a:lnTo>
                      <a:pt x="399138" y="0"/>
                    </a:lnTo>
                    <a:cubicBezTo>
                      <a:pt x="408986" y="0"/>
                      <a:pt x="416863" y="7878"/>
                      <a:pt x="416863" y="17725"/>
                    </a:cubicBezTo>
                    <a:lnTo>
                      <a:pt x="416863" y="399138"/>
                    </a:lnTo>
                    <a:cubicBezTo>
                      <a:pt x="416207" y="408986"/>
                      <a:pt x="408329" y="416863"/>
                      <a:pt x="399138" y="416863"/>
                    </a:cubicBezTo>
                    <a:lnTo>
                      <a:pt x="399138" y="416863"/>
                    </a:lnTo>
                    <a:close/>
                    <a:moveTo>
                      <a:pt x="34793" y="382070"/>
                    </a:moveTo>
                    <a:lnTo>
                      <a:pt x="381413" y="382070"/>
                    </a:lnTo>
                    <a:lnTo>
                      <a:pt x="381413" y="35450"/>
                    </a:lnTo>
                    <a:lnTo>
                      <a:pt x="34793" y="35450"/>
                    </a:lnTo>
                    <a:lnTo>
                      <a:pt x="34793" y="382070"/>
                    </a:lnTo>
                    <a:lnTo>
                      <a:pt x="34793" y="382070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246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8561073" y="5677274"/>
              <a:ext cx="416863" cy="416863"/>
              <a:chOff x="8561073" y="5677274"/>
              <a:chExt cx="416863" cy="416863"/>
            </a:xfrm>
            <a:grpFill/>
          </p:grpSpPr>
          <p:grpSp>
            <p:nvGrpSpPr>
              <p:cNvPr id="247" name="Gráfico 2">
                <a:extLst>
                  <a:ext uri="{FF2B5EF4-FFF2-40B4-BE49-F238E27FC236}">
                    <a16:creationId xmlns:a16="http://schemas.microsoft.com/office/drawing/2014/main" id="{4A08825F-1C42-4C63-A6FE-BBB3DD9D4FEB}"/>
                  </a:ext>
                </a:extLst>
              </p:cNvPr>
              <p:cNvGrpSpPr/>
              <p:nvPr/>
            </p:nvGrpSpPr>
            <p:grpSpPr>
              <a:xfrm>
                <a:off x="8703857" y="5820058"/>
                <a:ext cx="131951" cy="132280"/>
                <a:chOff x="8703857" y="5820058"/>
                <a:chExt cx="131951" cy="132280"/>
              </a:xfrm>
              <a:grpFill/>
            </p:grpSpPr>
            <p:sp>
              <p:nvSpPr>
                <p:cNvPr id="248" name="Forma Livre: Forma 247">
                  <a:extLst>
                    <a:ext uri="{FF2B5EF4-FFF2-40B4-BE49-F238E27FC236}">
                      <a16:creationId xmlns:a16="http://schemas.microsoft.com/office/drawing/2014/main" id="{7B577DE2-8817-402E-9FDE-E5DF84376FB6}"/>
                    </a:ext>
                  </a:extLst>
                </p:cNvPr>
                <p:cNvSpPr/>
                <p:nvPr/>
              </p:nvSpPr>
              <p:spPr>
                <a:xfrm>
                  <a:off x="8703857" y="5820058"/>
                  <a:ext cx="131951" cy="132280"/>
                </a:xfrm>
                <a:custGeom>
                  <a:avLst/>
                  <a:gdLst>
                    <a:gd name="connsiteX0" fmla="*/ 17397 w 131951"/>
                    <a:gd name="connsiteY0" fmla="*/ 132280 h 132280"/>
                    <a:gd name="connsiteX1" fmla="*/ 4924 w 131951"/>
                    <a:gd name="connsiteY1" fmla="*/ 127028 h 132280"/>
                    <a:gd name="connsiteX2" fmla="*/ 4924 w 131951"/>
                    <a:gd name="connsiteY2" fmla="*/ 102082 h 132280"/>
                    <a:gd name="connsiteX3" fmla="*/ 102083 w 131951"/>
                    <a:gd name="connsiteY3" fmla="*/ 4924 h 132280"/>
                    <a:gd name="connsiteX4" fmla="*/ 127028 w 131951"/>
                    <a:gd name="connsiteY4" fmla="*/ 4924 h 132280"/>
                    <a:gd name="connsiteX5" fmla="*/ 127028 w 131951"/>
                    <a:gd name="connsiteY5" fmla="*/ 29870 h 132280"/>
                    <a:gd name="connsiteX6" fmla="*/ 29870 w 131951"/>
                    <a:gd name="connsiteY6" fmla="*/ 127028 h 132280"/>
                    <a:gd name="connsiteX7" fmla="*/ 17397 w 131951"/>
                    <a:gd name="connsiteY7" fmla="*/ 132280 h 132280"/>
                    <a:gd name="connsiteX8" fmla="*/ 17397 w 131951"/>
                    <a:gd name="connsiteY8" fmla="*/ 132280 h 1322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31951" h="132280">
                      <a:moveTo>
                        <a:pt x="17397" y="132280"/>
                      </a:moveTo>
                      <a:cubicBezTo>
                        <a:pt x="12801" y="132280"/>
                        <a:pt x="8206" y="130311"/>
                        <a:pt x="4924" y="127028"/>
                      </a:cubicBezTo>
                      <a:cubicBezTo>
                        <a:pt x="-1641" y="120464"/>
                        <a:pt x="-1641" y="109303"/>
                        <a:pt x="4924" y="102082"/>
                      </a:cubicBezTo>
                      <a:lnTo>
                        <a:pt x="102083" y="4924"/>
                      </a:lnTo>
                      <a:cubicBezTo>
                        <a:pt x="108647" y="-1641"/>
                        <a:pt x="119807" y="-1641"/>
                        <a:pt x="127028" y="4924"/>
                      </a:cubicBezTo>
                      <a:cubicBezTo>
                        <a:pt x="133593" y="11488"/>
                        <a:pt x="133593" y="22649"/>
                        <a:pt x="127028" y="29870"/>
                      </a:cubicBezTo>
                      <a:lnTo>
                        <a:pt x="29870" y="127028"/>
                      </a:lnTo>
                      <a:cubicBezTo>
                        <a:pt x="25931" y="130311"/>
                        <a:pt x="21336" y="132280"/>
                        <a:pt x="17397" y="132280"/>
                      </a:cubicBezTo>
                      <a:lnTo>
                        <a:pt x="17397" y="132280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249" name="Forma Livre: Forma 248">
                  <a:extLst>
                    <a:ext uri="{FF2B5EF4-FFF2-40B4-BE49-F238E27FC236}">
                      <a16:creationId xmlns:a16="http://schemas.microsoft.com/office/drawing/2014/main" id="{848CBF80-F8CE-46C3-9659-A4E204A65DCC}"/>
                    </a:ext>
                  </a:extLst>
                </p:cNvPr>
                <p:cNvSpPr/>
                <p:nvPr/>
              </p:nvSpPr>
              <p:spPr>
                <a:xfrm>
                  <a:off x="8703857" y="5820058"/>
                  <a:ext cx="131951" cy="132280"/>
                </a:xfrm>
                <a:custGeom>
                  <a:avLst/>
                  <a:gdLst>
                    <a:gd name="connsiteX0" fmla="*/ 114555 w 131951"/>
                    <a:gd name="connsiteY0" fmla="*/ 132280 h 132280"/>
                    <a:gd name="connsiteX1" fmla="*/ 102083 w 131951"/>
                    <a:gd name="connsiteY1" fmla="*/ 127028 h 132280"/>
                    <a:gd name="connsiteX2" fmla="*/ 4924 w 131951"/>
                    <a:gd name="connsiteY2" fmla="*/ 29870 h 132280"/>
                    <a:gd name="connsiteX3" fmla="*/ 4924 w 131951"/>
                    <a:gd name="connsiteY3" fmla="*/ 4924 h 132280"/>
                    <a:gd name="connsiteX4" fmla="*/ 29870 w 131951"/>
                    <a:gd name="connsiteY4" fmla="*/ 4924 h 132280"/>
                    <a:gd name="connsiteX5" fmla="*/ 127028 w 131951"/>
                    <a:gd name="connsiteY5" fmla="*/ 102082 h 132280"/>
                    <a:gd name="connsiteX6" fmla="*/ 127028 w 131951"/>
                    <a:gd name="connsiteY6" fmla="*/ 127028 h 132280"/>
                    <a:gd name="connsiteX7" fmla="*/ 114555 w 131951"/>
                    <a:gd name="connsiteY7" fmla="*/ 132280 h 132280"/>
                    <a:gd name="connsiteX8" fmla="*/ 114555 w 131951"/>
                    <a:gd name="connsiteY8" fmla="*/ 132280 h 1322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31951" h="132280">
                      <a:moveTo>
                        <a:pt x="114555" y="132280"/>
                      </a:moveTo>
                      <a:cubicBezTo>
                        <a:pt x="109960" y="132280"/>
                        <a:pt x="105365" y="130311"/>
                        <a:pt x="102083" y="127028"/>
                      </a:cubicBezTo>
                      <a:lnTo>
                        <a:pt x="4924" y="29870"/>
                      </a:lnTo>
                      <a:cubicBezTo>
                        <a:pt x="-1641" y="23305"/>
                        <a:pt x="-1641" y="12145"/>
                        <a:pt x="4924" y="4924"/>
                      </a:cubicBezTo>
                      <a:cubicBezTo>
                        <a:pt x="11488" y="-1641"/>
                        <a:pt x="22648" y="-1641"/>
                        <a:pt x="29870" y="4924"/>
                      </a:cubicBezTo>
                      <a:lnTo>
                        <a:pt x="127028" y="102082"/>
                      </a:lnTo>
                      <a:cubicBezTo>
                        <a:pt x="133593" y="108647"/>
                        <a:pt x="133593" y="119807"/>
                        <a:pt x="127028" y="127028"/>
                      </a:cubicBezTo>
                      <a:cubicBezTo>
                        <a:pt x="123090" y="130311"/>
                        <a:pt x="119151" y="132280"/>
                        <a:pt x="114555" y="132280"/>
                      </a:cubicBezTo>
                      <a:lnTo>
                        <a:pt x="114555" y="132280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sp>
            <p:nvSpPr>
              <p:cNvPr id="250" name="Forma Livre: Forma 249">
                <a:extLst>
                  <a:ext uri="{FF2B5EF4-FFF2-40B4-BE49-F238E27FC236}">
                    <a16:creationId xmlns:a16="http://schemas.microsoft.com/office/drawing/2014/main" id="{B66A797B-B9D9-4EBC-B0BC-B7FE834D53EA}"/>
                  </a:ext>
                </a:extLst>
              </p:cNvPr>
              <p:cNvSpPr/>
              <p:nvPr/>
            </p:nvSpPr>
            <p:spPr>
              <a:xfrm>
                <a:off x="8561073" y="5677274"/>
                <a:ext cx="416863" cy="416863"/>
              </a:xfrm>
              <a:custGeom>
                <a:avLst/>
                <a:gdLst>
                  <a:gd name="connsiteX0" fmla="*/ 399139 w 416863"/>
                  <a:gd name="connsiteY0" fmla="*/ 416863 h 416863"/>
                  <a:gd name="connsiteX1" fmla="*/ 17725 w 416863"/>
                  <a:gd name="connsiteY1" fmla="*/ 416863 h 416863"/>
                  <a:gd name="connsiteX2" fmla="*/ 0 w 416863"/>
                  <a:gd name="connsiteY2" fmla="*/ 399138 h 416863"/>
                  <a:gd name="connsiteX3" fmla="*/ 0 w 416863"/>
                  <a:gd name="connsiteY3" fmla="*/ 17725 h 416863"/>
                  <a:gd name="connsiteX4" fmla="*/ 17725 w 416863"/>
                  <a:gd name="connsiteY4" fmla="*/ 0 h 416863"/>
                  <a:gd name="connsiteX5" fmla="*/ 399139 w 416863"/>
                  <a:gd name="connsiteY5" fmla="*/ 0 h 416863"/>
                  <a:gd name="connsiteX6" fmla="*/ 416863 w 416863"/>
                  <a:gd name="connsiteY6" fmla="*/ 17725 h 416863"/>
                  <a:gd name="connsiteX7" fmla="*/ 416863 w 416863"/>
                  <a:gd name="connsiteY7" fmla="*/ 399138 h 416863"/>
                  <a:gd name="connsiteX8" fmla="*/ 399139 w 416863"/>
                  <a:gd name="connsiteY8" fmla="*/ 416863 h 416863"/>
                  <a:gd name="connsiteX9" fmla="*/ 399139 w 416863"/>
                  <a:gd name="connsiteY9" fmla="*/ 416863 h 416863"/>
                  <a:gd name="connsiteX10" fmla="*/ 35450 w 416863"/>
                  <a:gd name="connsiteY10" fmla="*/ 382070 h 416863"/>
                  <a:gd name="connsiteX11" fmla="*/ 382070 w 416863"/>
                  <a:gd name="connsiteY11" fmla="*/ 382070 h 416863"/>
                  <a:gd name="connsiteX12" fmla="*/ 382070 w 416863"/>
                  <a:gd name="connsiteY12" fmla="*/ 35450 h 416863"/>
                  <a:gd name="connsiteX13" fmla="*/ 35450 w 416863"/>
                  <a:gd name="connsiteY13" fmla="*/ 35450 h 416863"/>
                  <a:gd name="connsiteX14" fmla="*/ 35450 w 416863"/>
                  <a:gd name="connsiteY14" fmla="*/ 382070 h 416863"/>
                  <a:gd name="connsiteX15" fmla="*/ 35450 w 416863"/>
                  <a:gd name="connsiteY15" fmla="*/ 382070 h 416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16863" h="416863">
                    <a:moveTo>
                      <a:pt x="399139" y="416863"/>
                    </a:moveTo>
                    <a:lnTo>
                      <a:pt x="17725" y="416863"/>
                    </a:lnTo>
                    <a:cubicBezTo>
                      <a:pt x="7877" y="416863"/>
                      <a:pt x="0" y="408986"/>
                      <a:pt x="0" y="399138"/>
                    </a:cubicBezTo>
                    <a:lnTo>
                      <a:pt x="0" y="17725"/>
                    </a:lnTo>
                    <a:cubicBezTo>
                      <a:pt x="0" y="7878"/>
                      <a:pt x="7877" y="0"/>
                      <a:pt x="17725" y="0"/>
                    </a:cubicBezTo>
                    <a:lnTo>
                      <a:pt x="399139" y="0"/>
                    </a:lnTo>
                    <a:cubicBezTo>
                      <a:pt x="408986" y="0"/>
                      <a:pt x="416863" y="7878"/>
                      <a:pt x="416863" y="17725"/>
                    </a:cubicBezTo>
                    <a:lnTo>
                      <a:pt x="416863" y="399138"/>
                    </a:lnTo>
                    <a:cubicBezTo>
                      <a:pt x="416863" y="408986"/>
                      <a:pt x="408986" y="416863"/>
                      <a:pt x="399139" y="416863"/>
                    </a:cubicBezTo>
                    <a:lnTo>
                      <a:pt x="399139" y="416863"/>
                    </a:lnTo>
                    <a:close/>
                    <a:moveTo>
                      <a:pt x="35450" y="382070"/>
                    </a:moveTo>
                    <a:lnTo>
                      <a:pt x="382070" y="382070"/>
                    </a:lnTo>
                    <a:lnTo>
                      <a:pt x="382070" y="35450"/>
                    </a:lnTo>
                    <a:lnTo>
                      <a:pt x="35450" y="35450"/>
                    </a:lnTo>
                    <a:lnTo>
                      <a:pt x="35450" y="382070"/>
                    </a:lnTo>
                    <a:lnTo>
                      <a:pt x="35450" y="382070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251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9627850" y="5677274"/>
              <a:ext cx="416863" cy="416863"/>
              <a:chOff x="9627850" y="5677274"/>
              <a:chExt cx="416863" cy="416863"/>
            </a:xfrm>
            <a:grpFill/>
          </p:grpSpPr>
          <p:grpSp>
            <p:nvGrpSpPr>
              <p:cNvPr id="252" name="Gráfico 2">
                <a:extLst>
                  <a:ext uri="{FF2B5EF4-FFF2-40B4-BE49-F238E27FC236}">
                    <a16:creationId xmlns:a16="http://schemas.microsoft.com/office/drawing/2014/main" id="{4A08825F-1C42-4C63-A6FE-BBB3DD9D4FEB}"/>
                  </a:ext>
                </a:extLst>
              </p:cNvPr>
              <p:cNvGrpSpPr/>
              <p:nvPr/>
            </p:nvGrpSpPr>
            <p:grpSpPr>
              <a:xfrm>
                <a:off x="9749298" y="5832859"/>
                <a:ext cx="173310" cy="105692"/>
                <a:chOff x="9749298" y="5832859"/>
                <a:chExt cx="173310" cy="105692"/>
              </a:xfrm>
              <a:grpFill/>
            </p:grpSpPr>
            <p:sp>
              <p:nvSpPr>
                <p:cNvPr id="253" name="Forma Livre: Forma 252">
                  <a:extLst>
                    <a:ext uri="{FF2B5EF4-FFF2-40B4-BE49-F238E27FC236}">
                      <a16:creationId xmlns:a16="http://schemas.microsoft.com/office/drawing/2014/main" id="{77832E0B-C702-4894-B3CB-F19480851683}"/>
                    </a:ext>
                  </a:extLst>
                </p:cNvPr>
                <p:cNvSpPr/>
                <p:nvPr/>
              </p:nvSpPr>
              <p:spPr>
                <a:xfrm>
                  <a:off x="9749298" y="5903102"/>
                  <a:ext cx="173310" cy="35449"/>
                </a:xfrm>
                <a:custGeom>
                  <a:avLst/>
                  <a:gdLst>
                    <a:gd name="connsiteX0" fmla="*/ 155585 w 173310"/>
                    <a:gd name="connsiteY0" fmla="*/ 35450 h 35449"/>
                    <a:gd name="connsiteX1" fmla="*/ 17725 w 173310"/>
                    <a:gd name="connsiteY1" fmla="*/ 35450 h 35449"/>
                    <a:gd name="connsiteX2" fmla="*/ 0 w 173310"/>
                    <a:gd name="connsiteY2" fmla="*/ 17725 h 35449"/>
                    <a:gd name="connsiteX3" fmla="*/ 17725 w 173310"/>
                    <a:gd name="connsiteY3" fmla="*/ 0 h 35449"/>
                    <a:gd name="connsiteX4" fmla="*/ 155585 w 173310"/>
                    <a:gd name="connsiteY4" fmla="*/ 0 h 35449"/>
                    <a:gd name="connsiteX5" fmla="*/ 173310 w 173310"/>
                    <a:gd name="connsiteY5" fmla="*/ 17725 h 35449"/>
                    <a:gd name="connsiteX6" fmla="*/ 155585 w 173310"/>
                    <a:gd name="connsiteY6" fmla="*/ 35450 h 35449"/>
                    <a:gd name="connsiteX7" fmla="*/ 155585 w 173310"/>
                    <a:gd name="connsiteY7" fmla="*/ 35450 h 354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73310" h="35449">
                      <a:moveTo>
                        <a:pt x="155585" y="35450"/>
                      </a:moveTo>
                      <a:lnTo>
                        <a:pt x="17725" y="35450"/>
                      </a:lnTo>
                      <a:cubicBezTo>
                        <a:pt x="7877" y="35450"/>
                        <a:pt x="0" y="27572"/>
                        <a:pt x="0" y="17725"/>
                      </a:cubicBezTo>
                      <a:cubicBezTo>
                        <a:pt x="0" y="7878"/>
                        <a:pt x="7877" y="0"/>
                        <a:pt x="17725" y="0"/>
                      </a:cubicBezTo>
                      <a:lnTo>
                        <a:pt x="155585" y="0"/>
                      </a:lnTo>
                      <a:cubicBezTo>
                        <a:pt x="165432" y="0"/>
                        <a:pt x="173310" y="7878"/>
                        <a:pt x="173310" y="17725"/>
                      </a:cubicBezTo>
                      <a:cubicBezTo>
                        <a:pt x="173310" y="27572"/>
                        <a:pt x="165432" y="35450"/>
                        <a:pt x="155585" y="35450"/>
                      </a:cubicBezTo>
                      <a:lnTo>
                        <a:pt x="155585" y="35450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254" name="Forma Livre: Forma 253">
                  <a:extLst>
                    <a:ext uri="{FF2B5EF4-FFF2-40B4-BE49-F238E27FC236}">
                      <a16:creationId xmlns:a16="http://schemas.microsoft.com/office/drawing/2014/main" id="{13F3E6F1-FF9F-4585-ACA4-55624B5B3E1F}"/>
                    </a:ext>
                  </a:extLst>
                </p:cNvPr>
                <p:cNvSpPr/>
                <p:nvPr/>
              </p:nvSpPr>
              <p:spPr>
                <a:xfrm>
                  <a:off x="9749298" y="5832859"/>
                  <a:ext cx="173310" cy="35449"/>
                </a:xfrm>
                <a:custGeom>
                  <a:avLst/>
                  <a:gdLst>
                    <a:gd name="connsiteX0" fmla="*/ 155585 w 173310"/>
                    <a:gd name="connsiteY0" fmla="*/ 35450 h 35449"/>
                    <a:gd name="connsiteX1" fmla="*/ 17725 w 173310"/>
                    <a:gd name="connsiteY1" fmla="*/ 35450 h 35449"/>
                    <a:gd name="connsiteX2" fmla="*/ 0 w 173310"/>
                    <a:gd name="connsiteY2" fmla="*/ 17725 h 35449"/>
                    <a:gd name="connsiteX3" fmla="*/ 17725 w 173310"/>
                    <a:gd name="connsiteY3" fmla="*/ 0 h 35449"/>
                    <a:gd name="connsiteX4" fmla="*/ 155585 w 173310"/>
                    <a:gd name="connsiteY4" fmla="*/ 0 h 35449"/>
                    <a:gd name="connsiteX5" fmla="*/ 173310 w 173310"/>
                    <a:gd name="connsiteY5" fmla="*/ 17725 h 35449"/>
                    <a:gd name="connsiteX6" fmla="*/ 155585 w 173310"/>
                    <a:gd name="connsiteY6" fmla="*/ 35450 h 35449"/>
                    <a:gd name="connsiteX7" fmla="*/ 155585 w 173310"/>
                    <a:gd name="connsiteY7" fmla="*/ 35450 h 354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73310" h="35449">
                      <a:moveTo>
                        <a:pt x="155585" y="35450"/>
                      </a:moveTo>
                      <a:lnTo>
                        <a:pt x="17725" y="35450"/>
                      </a:lnTo>
                      <a:cubicBezTo>
                        <a:pt x="7877" y="35450"/>
                        <a:pt x="0" y="27572"/>
                        <a:pt x="0" y="17725"/>
                      </a:cubicBezTo>
                      <a:cubicBezTo>
                        <a:pt x="0" y="7877"/>
                        <a:pt x="7877" y="0"/>
                        <a:pt x="17725" y="0"/>
                      </a:cubicBezTo>
                      <a:lnTo>
                        <a:pt x="155585" y="0"/>
                      </a:lnTo>
                      <a:cubicBezTo>
                        <a:pt x="165432" y="0"/>
                        <a:pt x="173310" y="7877"/>
                        <a:pt x="173310" y="17725"/>
                      </a:cubicBezTo>
                      <a:cubicBezTo>
                        <a:pt x="173310" y="27572"/>
                        <a:pt x="165432" y="35450"/>
                        <a:pt x="155585" y="35450"/>
                      </a:cubicBezTo>
                      <a:lnTo>
                        <a:pt x="155585" y="35450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sp>
            <p:nvSpPr>
              <p:cNvPr id="255" name="Forma Livre: Forma 254">
                <a:extLst>
                  <a:ext uri="{FF2B5EF4-FFF2-40B4-BE49-F238E27FC236}">
                    <a16:creationId xmlns:a16="http://schemas.microsoft.com/office/drawing/2014/main" id="{7AFD4253-3B36-4C8C-9182-9048C65D60D5}"/>
                  </a:ext>
                </a:extLst>
              </p:cNvPr>
              <p:cNvSpPr/>
              <p:nvPr/>
            </p:nvSpPr>
            <p:spPr>
              <a:xfrm>
                <a:off x="9627850" y="5677274"/>
                <a:ext cx="416863" cy="416863"/>
              </a:xfrm>
              <a:custGeom>
                <a:avLst/>
                <a:gdLst>
                  <a:gd name="connsiteX0" fmla="*/ 399139 w 416863"/>
                  <a:gd name="connsiteY0" fmla="*/ 416863 h 416863"/>
                  <a:gd name="connsiteX1" fmla="*/ 17725 w 416863"/>
                  <a:gd name="connsiteY1" fmla="*/ 416863 h 416863"/>
                  <a:gd name="connsiteX2" fmla="*/ 0 w 416863"/>
                  <a:gd name="connsiteY2" fmla="*/ 399138 h 416863"/>
                  <a:gd name="connsiteX3" fmla="*/ 0 w 416863"/>
                  <a:gd name="connsiteY3" fmla="*/ 17725 h 416863"/>
                  <a:gd name="connsiteX4" fmla="*/ 17725 w 416863"/>
                  <a:gd name="connsiteY4" fmla="*/ 0 h 416863"/>
                  <a:gd name="connsiteX5" fmla="*/ 399139 w 416863"/>
                  <a:gd name="connsiteY5" fmla="*/ 0 h 416863"/>
                  <a:gd name="connsiteX6" fmla="*/ 416863 w 416863"/>
                  <a:gd name="connsiteY6" fmla="*/ 17725 h 416863"/>
                  <a:gd name="connsiteX7" fmla="*/ 416863 w 416863"/>
                  <a:gd name="connsiteY7" fmla="*/ 399138 h 416863"/>
                  <a:gd name="connsiteX8" fmla="*/ 399139 w 416863"/>
                  <a:gd name="connsiteY8" fmla="*/ 416863 h 416863"/>
                  <a:gd name="connsiteX9" fmla="*/ 399139 w 416863"/>
                  <a:gd name="connsiteY9" fmla="*/ 416863 h 416863"/>
                  <a:gd name="connsiteX10" fmla="*/ 34794 w 416863"/>
                  <a:gd name="connsiteY10" fmla="*/ 382070 h 416863"/>
                  <a:gd name="connsiteX11" fmla="*/ 381413 w 416863"/>
                  <a:gd name="connsiteY11" fmla="*/ 382070 h 416863"/>
                  <a:gd name="connsiteX12" fmla="*/ 381413 w 416863"/>
                  <a:gd name="connsiteY12" fmla="*/ 35450 h 416863"/>
                  <a:gd name="connsiteX13" fmla="*/ 34794 w 416863"/>
                  <a:gd name="connsiteY13" fmla="*/ 35450 h 416863"/>
                  <a:gd name="connsiteX14" fmla="*/ 34794 w 416863"/>
                  <a:gd name="connsiteY14" fmla="*/ 382070 h 416863"/>
                  <a:gd name="connsiteX15" fmla="*/ 34794 w 416863"/>
                  <a:gd name="connsiteY15" fmla="*/ 382070 h 416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16863" h="416863">
                    <a:moveTo>
                      <a:pt x="399139" y="416863"/>
                    </a:moveTo>
                    <a:lnTo>
                      <a:pt x="17725" y="416863"/>
                    </a:lnTo>
                    <a:cubicBezTo>
                      <a:pt x="7877" y="416863"/>
                      <a:pt x="0" y="408986"/>
                      <a:pt x="0" y="399138"/>
                    </a:cubicBezTo>
                    <a:lnTo>
                      <a:pt x="0" y="17725"/>
                    </a:lnTo>
                    <a:cubicBezTo>
                      <a:pt x="0" y="7878"/>
                      <a:pt x="7877" y="0"/>
                      <a:pt x="17725" y="0"/>
                    </a:cubicBezTo>
                    <a:lnTo>
                      <a:pt x="399139" y="0"/>
                    </a:lnTo>
                    <a:cubicBezTo>
                      <a:pt x="408986" y="0"/>
                      <a:pt x="416863" y="7878"/>
                      <a:pt x="416863" y="17725"/>
                    </a:cubicBezTo>
                    <a:lnTo>
                      <a:pt x="416863" y="399138"/>
                    </a:lnTo>
                    <a:cubicBezTo>
                      <a:pt x="416863" y="408986"/>
                      <a:pt x="408986" y="416863"/>
                      <a:pt x="399139" y="416863"/>
                    </a:cubicBezTo>
                    <a:lnTo>
                      <a:pt x="399139" y="416863"/>
                    </a:lnTo>
                    <a:close/>
                    <a:moveTo>
                      <a:pt x="34794" y="382070"/>
                    </a:moveTo>
                    <a:lnTo>
                      <a:pt x="381413" y="382070"/>
                    </a:lnTo>
                    <a:lnTo>
                      <a:pt x="381413" y="35450"/>
                    </a:lnTo>
                    <a:lnTo>
                      <a:pt x="34794" y="35450"/>
                    </a:lnTo>
                    <a:lnTo>
                      <a:pt x="34794" y="382070"/>
                    </a:lnTo>
                    <a:lnTo>
                      <a:pt x="34794" y="382070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256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7496923" y="5677274"/>
              <a:ext cx="416863" cy="416863"/>
              <a:chOff x="7496923" y="5677274"/>
              <a:chExt cx="416863" cy="416863"/>
            </a:xfrm>
            <a:grpFill/>
          </p:grpSpPr>
          <p:sp>
            <p:nvSpPr>
              <p:cNvPr id="257" name="Forma Livre: Forma 256">
                <a:extLst>
                  <a:ext uri="{FF2B5EF4-FFF2-40B4-BE49-F238E27FC236}">
                    <a16:creationId xmlns:a16="http://schemas.microsoft.com/office/drawing/2014/main" id="{561F1122-6FC1-45AB-9005-C6F1A32F7318}"/>
                  </a:ext>
                </a:extLst>
              </p:cNvPr>
              <p:cNvSpPr/>
              <p:nvPr/>
            </p:nvSpPr>
            <p:spPr>
              <a:xfrm>
                <a:off x="7619028" y="5868309"/>
                <a:ext cx="173310" cy="35449"/>
              </a:xfrm>
              <a:custGeom>
                <a:avLst/>
                <a:gdLst>
                  <a:gd name="connsiteX0" fmla="*/ 155585 w 173310"/>
                  <a:gd name="connsiteY0" fmla="*/ 35450 h 35449"/>
                  <a:gd name="connsiteX1" fmla="*/ 17725 w 173310"/>
                  <a:gd name="connsiteY1" fmla="*/ 35450 h 35449"/>
                  <a:gd name="connsiteX2" fmla="*/ 0 w 173310"/>
                  <a:gd name="connsiteY2" fmla="*/ 17725 h 35449"/>
                  <a:gd name="connsiteX3" fmla="*/ 17725 w 173310"/>
                  <a:gd name="connsiteY3" fmla="*/ 0 h 35449"/>
                  <a:gd name="connsiteX4" fmla="*/ 155585 w 173310"/>
                  <a:gd name="connsiteY4" fmla="*/ 0 h 35449"/>
                  <a:gd name="connsiteX5" fmla="*/ 173310 w 173310"/>
                  <a:gd name="connsiteY5" fmla="*/ 17725 h 35449"/>
                  <a:gd name="connsiteX6" fmla="*/ 155585 w 173310"/>
                  <a:gd name="connsiteY6" fmla="*/ 35450 h 35449"/>
                  <a:gd name="connsiteX7" fmla="*/ 155585 w 173310"/>
                  <a:gd name="connsiteY7" fmla="*/ 35450 h 354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3310" h="35449">
                    <a:moveTo>
                      <a:pt x="155585" y="35450"/>
                    </a:moveTo>
                    <a:lnTo>
                      <a:pt x="17725" y="35450"/>
                    </a:lnTo>
                    <a:cubicBezTo>
                      <a:pt x="7878" y="35450"/>
                      <a:pt x="0" y="27572"/>
                      <a:pt x="0" y="17725"/>
                    </a:cubicBezTo>
                    <a:cubicBezTo>
                      <a:pt x="0" y="7878"/>
                      <a:pt x="7878" y="0"/>
                      <a:pt x="17725" y="0"/>
                    </a:cubicBezTo>
                    <a:lnTo>
                      <a:pt x="155585" y="0"/>
                    </a:lnTo>
                    <a:cubicBezTo>
                      <a:pt x="165432" y="0"/>
                      <a:pt x="173310" y="7878"/>
                      <a:pt x="173310" y="17725"/>
                    </a:cubicBezTo>
                    <a:cubicBezTo>
                      <a:pt x="172654" y="27572"/>
                      <a:pt x="164776" y="35450"/>
                      <a:pt x="155585" y="35450"/>
                    </a:cubicBezTo>
                    <a:lnTo>
                      <a:pt x="155585" y="35450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58" name="Forma Livre: Forma 257">
                <a:extLst>
                  <a:ext uri="{FF2B5EF4-FFF2-40B4-BE49-F238E27FC236}">
                    <a16:creationId xmlns:a16="http://schemas.microsoft.com/office/drawing/2014/main" id="{4BDC1F88-9108-4AE1-B8C0-BE941E161506}"/>
                  </a:ext>
                </a:extLst>
              </p:cNvPr>
              <p:cNvSpPr/>
              <p:nvPr/>
            </p:nvSpPr>
            <p:spPr>
              <a:xfrm>
                <a:off x="7496923" y="5677274"/>
                <a:ext cx="416863" cy="416863"/>
              </a:xfrm>
              <a:custGeom>
                <a:avLst/>
                <a:gdLst>
                  <a:gd name="connsiteX0" fmla="*/ 399138 w 416863"/>
                  <a:gd name="connsiteY0" fmla="*/ 416863 h 416863"/>
                  <a:gd name="connsiteX1" fmla="*/ 17725 w 416863"/>
                  <a:gd name="connsiteY1" fmla="*/ 416863 h 416863"/>
                  <a:gd name="connsiteX2" fmla="*/ 0 w 416863"/>
                  <a:gd name="connsiteY2" fmla="*/ 399138 h 416863"/>
                  <a:gd name="connsiteX3" fmla="*/ 0 w 416863"/>
                  <a:gd name="connsiteY3" fmla="*/ 17725 h 416863"/>
                  <a:gd name="connsiteX4" fmla="*/ 17725 w 416863"/>
                  <a:gd name="connsiteY4" fmla="*/ 0 h 416863"/>
                  <a:gd name="connsiteX5" fmla="*/ 399138 w 416863"/>
                  <a:gd name="connsiteY5" fmla="*/ 0 h 416863"/>
                  <a:gd name="connsiteX6" fmla="*/ 416863 w 416863"/>
                  <a:gd name="connsiteY6" fmla="*/ 17725 h 416863"/>
                  <a:gd name="connsiteX7" fmla="*/ 416863 w 416863"/>
                  <a:gd name="connsiteY7" fmla="*/ 399138 h 416863"/>
                  <a:gd name="connsiteX8" fmla="*/ 399138 w 416863"/>
                  <a:gd name="connsiteY8" fmla="*/ 416863 h 416863"/>
                  <a:gd name="connsiteX9" fmla="*/ 399138 w 416863"/>
                  <a:gd name="connsiteY9" fmla="*/ 416863 h 416863"/>
                  <a:gd name="connsiteX10" fmla="*/ 35450 w 416863"/>
                  <a:gd name="connsiteY10" fmla="*/ 382070 h 416863"/>
                  <a:gd name="connsiteX11" fmla="*/ 382070 w 416863"/>
                  <a:gd name="connsiteY11" fmla="*/ 382070 h 416863"/>
                  <a:gd name="connsiteX12" fmla="*/ 382070 w 416863"/>
                  <a:gd name="connsiteY12" fmla="*/ 35450 h 416863"/>
                  <a:gd name="connsiteX13" fmla="*/ 35450 w 416863"/>
                  <a:gd name="connsiteY13" fmla="*/ 35450 h 416863"/>
                  <a:gd name="connsiteX14" fmla="*/ 35450 w 416863"/>
                  <a:gd name="connsiteY14" fmla="*/ 382070 h 416863"/>
                  <a:gd name="connsiteX15" fmla="*/ 35450 w 416863"/>
                  <a:gd name="connsiteY15" fmla="*/ 382070 h 416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16863" h="416863">
                    <a:moveTo>
                      <a:pt x="399138" y="416863"/>
                    </a:moveTo>
                    <a:lnTo>
                      <a:pt x="17725" y="416863"/>
                    </a:lnTo>
                    <a:cubicBezTo>
                      <a:pt x="7877" y="416863"/>
                      <a:pt x="0" y="408986"/>
                      <a:pt x="0" y="399138"/>
                    </a:cubicBezTo>
                    <a:lnTo>
                      <a:pt x="0" y="17725"/>
                    </a:lnTo>
                    <a:cubicBezTo>
                      <a:pt x="0" y="7878"/>
                      <a:pt x="7877" y="0"/>
                      <a:pt x="17725" y="0"/>
                    </a:cubicBezTo>
                    <a:lnTo>
                      <a:pt x="399138" y="0"/>
                    </a:lnTo>
                    <a:cubicBezTo>
                      <a:pt x="408985" y="0"/>
                      <a:pt x="416863" y="7878"/>
                      <a:pt x="416863" y="17725"/>
                    </a:cubicBezTo>
                    <a:lnTo>
                      <a:pt x="416863" y="399138"/>
                    </a:lnTo>
                    <a:cubicBezTo>
                      <a:pt x="416863" y="408986"/>
                      <a:pt x="408985" y="416863"/>
                      <a:pt x="399138" y="416863"/>
                    </a:cubicBezTo>
                    <a:lnTo>
                      <a:pt x="399138" y="416863"/>
                    </a:lnTo>
                    <a:close/>
                    <a:moveTo>
                      <a:pt x="35450" y="382070"/>
                    </a:moveTo>
                    <a:lnTo>
                      <a:pt x="382070" y="382070"/>
                    </a:lnTo>
                    <a:lnTo>
                      <a:pt x="382070" y="35450"/>
                    </a:lnTo>
                    <a:lnTo>
                      <a:pt x="35450" y="35450"/>
                    </a:lnTo>
                    <a:lnTo>
                      <a:pt x="35450" y="382070"/>
                    </a:lnTo>
                    <a:lnTo>
                      <a:pt x="35450" y="382070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259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10699550" y="5677274"/>
              <a:ext cx="417191" cy="416863"/>
              <a:chOff x="10699550" y="5677274"/>
              <a:chExt cx="417191" cy="416863"/>
            </a:xfrm>
            <a:grpFill/>
          </p:grpSpPr>
          <p:sp>
            <p:nvSpPr>
              <p:cNvPr id="260" name="Forma Livre: Forma 259">
                <a:extLst>
                  <a:ext uri="{FF2B5EF4-FFF2-40B4-BE49-F238E27FC236}">
                    <a16:creationId xmlns:a16="http://schemas.microsoft.com/office/drawing/2014/main" id="{72A1DC11-50C6-459B-8C01-2BAF0E4BF576}"/>
                  </a:ext>
                </a:extLst>
              </p:cNvPr>
              <p:cNvSpPr/>
              <p:nvPr/>
            </p:nvSpPr>
            <p:spPr>
              <a:xfrm>
                <a:off x="10699878" y="5677274"/>
                <a:ext cx="416863" cy="416863"/>
              </a:xfrm>
              <a:custGeom>
                <a:avLst/>
                <a:gdLst>
                  <a:gd name="connsiteX0" fmla="*/ 399138 w 416863"/>
                  <a:gd name="connsiteY0" fmla="*/ 416863 h 416863"/>
                  <a:gd name="connsiteX1" fmla="*/ 17725 w 416863"/>
                  <a:gd name="connsiteY1" fmla="*/ 416863 h 416863"/>
                  <a:gd name="connsiteX2" fmla="*/ 0 w 416863"/>
                  <a:gd name="connsiteY2" fmla="*/ 399138 h 416863"/>
                  <a:gd name="connsiteX3" fmla="*/ 0 w 416863"/>
                  <a:gd name="connsiteY3" fmla="*/ 17725 h 416863"/>
                  <a:gd name="connsiteX4" fmla="*/ 17725 w 416863"/>
                  <a:gd name="connsiteY4" fmla="*/ 0 h 416863"/>
                  <a:gd name="connsiteX5" fmla="*/ 399138 w 416863"/>
                  <a:gd name="connsiteY5" fmla="*/ 0 h 416863"/>
                  <a:gd name="connsiteX6" fmla="*/ 416863 w 416863"/>
                  <a:gd name="connsiteY6" fmla="*/ 17725 h 416863"/>
                  <a:gd name="connsiteX7" fmla="*/ 416863 w 416863"/>
                  <a:gd name="connsiteY7" fmla="*/ 399138 h 416863"/>
                  <a:gd name="connsiteX8" fmla="*/ 399138 w 416863"/>
                  <a:gd name="connsiteY8" fmla="*/ 416863 h 416863"/>
                  <a:gd name="connsiteX9" fmla="*/ 399138 w 416863"/>
                  <a:gd name="connsiteY9" fmla="*/ 416863 h 416863"/>
                  <a:gd name="connsiteX10" fmla="*/ 34793 w 416863"/>
                  <a:gd name="connsiteY10" fmla="*/ 382070 h 416863"/>
                  <a:gd name="connsiteX11" fmla="*/ 381413 w 416863"/>
                  <a:gd name="connsiteY11" fmla="*/ 382070 h 416863"/>
                  <a:gd name="connsiteX12" fmla="*/ 381413 w 416863"/>
                  <a:gd name="connsiteY12" fmla="*/ 35450 h 416863"/>
                  <a:gd name="connsiteX13" fmla="*/ 34793 w 416863"/>
                  <a:gd name="connsiteY13" fmla="*/ 35450 h 416863"/>
                  <a:gd name="connsiteX14" fmla="*/ 34793 w 416863"/>
                  <a:gd name="connsiteY14" fmla="*/ 382070 h 416863"/>
                  <a:gd name="connsiteX15" fmla="*/ 34793 w 416863"/>
                  <a:gd name="connsiteY15" fmla="*/ 382070 h 416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16863" h="416863">
                    <a:moveTo>
                      <a:pt x="399138" y="416863"/>
                    </a:moveTo>
                    <a:lnTo>
                      <a:pt x="17725" y="416863"/>
                    </a:lnTo>
                    <a:cubicBezTo>
                      <a:pt x="7877" y="416863"/>
                      <a:pt x="0" y="408986"/>
                      <a:pt x="0" y="399138"/>
                    </a:cubicBezTo>
                    <a:lnTo>
                      <a:pt x="0" y="17725"/>
                    </a:lnTo>
                    <a:cubicBezTo>
                      <a:pt x="0" y="7878"/>
                      <a:pt x="7877" y="0"/>
                      <a:pt x="17725" y="0"/>
                    </a:cubicBezTo>
                    <a:lnTo>
                      <a:pt x="399138" y="0"/>
                    </a:lnTo>
                    <a:cubicBezTo>
                      <a:pt x="408985" y="0"/>
                      <a:pt x="416863" y="7878"/>
                      <a:pt x="416863" y="17725"/>
                    </a:cubicBezTo>
                    <a:lnTo>
                      <a:pt x="416863" y="399138"/>
                    </a:lnTo>
                    <a:cubicBezTo>
                      <a:pt x="416206" y="408986"/>
                      <a:pt x="408329" y="416863"/>
                      <a:pt x="399138" y="416863"/>
                    </a:cubicBezTo>
                    <a:lnTo>
                      <a:pt x="399138" y="416863"/>
                    </a:lnTo>
                    <a:close/>
                    <a:moveTo>
                      <a:pt x="34793" y="382070"/>
                    </a:moveTo>
                    <a:lnTo>
                      <a:pt x="381413" y="382070"/>
                    </a:lnTo>
                    <a:lnTo>
                      <a:pt x="381413" y="35450"/>
                    </a:lnTo>
                    <a:lnTo>
                      <a:pt x="34793" y="35450"/>
                    </a:lnTo>
                    <a:lnTo>
                      <a:pt x="34793" y="382070"/>
                    </a:lnTo>
                    <a:lnTo>
                      <a:pt x="34793" y="382070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61" name="Forma Livre: Forma 260">
                <a:extLst>
                  <a:ext uri="{FF2B5EF4-FFF2-40B4-BE49-F238E27FC236}">
                    <a16:creationId xmlns:a16="http://schemas.microsoft.com/office/drawing/2014/main" id="{777F2D52-DD5D-4047-9AF3-C064B82C7B95}"/>
                  </a:ext>
                </a:extLst>
              </p:cNvPr>
              <p:cNvSpPr/>
              <p:nvPr/>
            </p:nvSpPr>
            <p:spPr>
              <a:xfrm>
                <a:off x="10699550" y="5677602"/>
                <a:ext cx="416207" cy="416535"/>
              </a:xfrm>
              <a:custGeom>
                <a:avLst/>
                <a:gdLst>
                  <a:gd name="connsiteX0" fmla="*/ 17397 w 416207"/>
                  <a:gd name="connsiteY0" fmla="*/ 416535 h 416535"/>
                  <a:gd name="connsiteX1" fmla="*/ 4924 w 416207"/>
                  <a:gd name="connsiteY1" fmla="*/ 411284 h 416535"/>
                  <a:gd name="connsiteX2" fmla="*/ 4924 w 416207"/>
                  <a:gd name="connsiteY2" fmla="*/ 386337 h 416535"/>
                  <a:gd name="connsiteX3" fmla="*/ 386337 w 416207"/>
                  <a:gd name="connsiteY3" fmla="*/ 4924 h 416535"/>
                  <a:gd name="connsiteX4" fmla="*/ 411284 w 416207"/>
                  <a:gd name="connsiteY4" fmla="*/ 4924 h 416535"/>
                  <a:gd name="connsiteX5" fmla="*/ 411284 w 416207"/>
                  <a:gd name="connsiteY5" fmla="*/ 29870 h 416535"/>
                  <a:gd name="connsiteX6" fmla="*/ 29870 w 416207"/>
                  <a:gd name="connsiteY6" fmla="*/ 411284 h 416535"/>
                  <a:gd name="connsiteX7" fmla="*/ 17397 w 416207"/>
                  <a:gd name="connsiteY7" fmla="*/ 416535 h 416535"/>
                  <a:gd name="connsiteX8" fmla="*/ 17397 w 416207"/>
                  <a:gd name="connsiteY8" fmla="*/ 416535 h 416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16207" h="416535">
                    <a:moveTo>
                      <a:pt x="17397" y="416535"/>
                    </a:moveTo>
                    <a:cubicBezTo>
                      <a:pt x="12801" y="416535"/>
                      <a:pt x="8206" y="414566"/>
                      <a:pt x="4924" y="411284"/>
                    </a:cubicBezTo>
                    <a:cubicBezTo>
                      <a:pt x="-1641" y="404719"/>
                      <a:pt x="-1641" y="393559"/>
                      <a:pt x="4924" y="386337"/>
                    </a:cubicBezTo>
                    <a:lnTo>
                      <a:pt x="386337" y="4924"/>
                    </a:lnTo>
                    <a:cubicBezTo>
                      <a:pt x="392902" y="-1641"/>
                      <a:pt x="404062" y="-1641"/>
                      <a:pt x="411284" y="4924"/>
                    </a:cubicBezTo>
                    <a:cubicBezTo>
                      <a:pt x="417848" y="11488"/>
                      <a:pt x="417848" y="22649"/>
                      <a:pt x="411284" y="29870"/>
                    </a:cubicBezTo>
                    <a:lnTo>
                      <a:pt x="29870" y="411284"/>
                    </a:lnTo>
                    <a:cubicBezTo>
                      <a:pt x="26588" y="415222"/>
                      <a:pt x="21992" y="416535"/>
                      <a:pt x="17397" y="416535"/>
                    </a:cubicBezTo>
                    <a:lnTo>
                      <a:pt x="17397" y="416535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62" name="Forma Livre: Forma 261">
                <a:extLst>
                  <a:ext uri="{FF2B5EF4-FFF2-40B4-BE49-F238E27FC236}">
                    <a16:creationId xmlns:a16="http://schemas.microsoft.com/office/drawing/2014/main" id="{5843FF54-6403-4587-BEC2-47BE612C0763}"/>
                  </a:ext>
                </a:extLst>
              </p:cNvPr>
              <p:cNvSpPr/>
              <p:nvPr/>
            </p:nvSpPr>
            <p:spPr>
              <a:xfrm>
                <a:off x="10700206" y="5677602"/>
                <a:ext cx="416207" cy="416535"/>
              </a:xfrm>
              <a:custGeom>
                <a:avLst/>
                <a:gdLst>
                  <a:gd name="connsiteX0" fmla="*/ 398810 w 416207"/>
                  <a:gd name="connsiteY0" fmla="*/ 416535 h 416535"/>
                  <a:gd name="connsiteX1" fmla="*/ 386337 w 416207"/>
                  <a:gd name="connsiteY1" fmla="*/ 411284 h 416535"/>
                  <a:gd name="connsiteX2" fmla="*/ 4924 w 416207"/>
                  <a:gd name="connsiteY2" fmla="*/ 29870 h 416535"/>
                  <a:gd name="connsiteX3" fmla="*/ 4924 w 416207"/>
                  <a:gd name="connsiteY3" fmla="*/ 4924 h 416535"/>
                  <a:gd name="connsiteX4" fmla="*/ 29870 w 416207"/>
                  <a:gd name="connsiteY4" fmla="*/ 4924 h 416535"/>
                  <a:gd name="connsiteX5" fmla="*/ 411284 w 416207"/>
                  <a:gd name="connsiteY5" fmla="*/ 386337 h 416535"/>
                  <a:gd name="connsiteX6" fmla="*/ 411284 w 416207"/>
                  <a:gd name="connsiteY6" fmla="*/ 411284 h 416535"/>
                  <a:gd name="connsiteX7" fmla="*/ 398810 w 416207"/>
                  <a:gd name="connsiteY7" fmla="*/ 416535 h 416535"/>
                  <a:gd name="connsiteX8" fmla="*/ 398810 w 416207"/>
                  <a:gd name="connsiteY8" fmla="*/ 416535 h 416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16207" h="416535">
                    <a:moveTo>
                      <a:pt x="398810" y="416535"/>
                    </a:moveTo>
                    <a:cubicBezTo>
                      <a:pt x="394215" y="416535"/>
                      <a:pt x="389619" y="414566"/>
                      <a:pt x="386337" y="411284"/>
                    </a:cubicBezTo>
                    <a:lnTo>
                      <a:pt x="4924" y="29870"/>
                    </a:lnTo>
                    <a:cubicBezTo>
                      <a:pt x="-1641" y="23305"/>
                      <a:pt x="-1641" y="12145"/>
                      <a:pt x="4924" y="4924"/>
                    </a:cubicBezTo>
                    <a:cubicBezTo>
                      <a:pt x="11488" y="-1641"/>
                      <a:pt x="22649" y="-1641"/>
                      <a:pt x="29870" y="4924"/>
                    </a:cubicBezTo>
                    <a:lnTo>
                      <a:pt x="411284" y="386337"/>
                    </a:lnTo>
                    <a:cubicBezTo>
                      <a:pt x="417848" y="392902"/>
                      <a:pt x="417848" y="404062"/>
                      <a:pt x="411284" y="411284"/>
                    </a:cubicBezTo>
                    <a:cubicBezTo>
                      <a:pt x="407345" y="415222"/>
                      <a:pt x="402749" y="416535"/>
                      <a:pt x="398810" y="416535"/>
                    </a:cubicBezTo>
                    <a:lnTo>
                      <a:pt x="398810" y="416535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263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5345645" y="5677274"/>
              <a:ext cx="416863" cy="416863"/>
              <a:chOff x="5345645" y="5677274"/>
              <a:chExt cx="416863" cy="416863"/>
            </a:xfrm>
            <a:grpFill/>
          </p:grpSpPr>
          <p:sp>
            <p:nvSpPr>
              <p:cNvPr id="264" name="Forma Livre: Forma 263">
                <a:extLst>
                  <a:ext uri="{FF2B5EF4-FFF2-40B4-BE49-F238E27FC236}">
                    <a16:creationId xmlns:a16="http://schemas.microsoft.com/office/drawing/2014/main" id="{08FA85F5-D62B-44FA-91D9-A6DA06B55488}"/>
                  </a:ext>
                </a:extLst>
              </p:cNvPr>
              <p:cNvSpPr/>
              <p:nvPr/>
            </p:nvSpPr>
            <p:spPr>
              <a:xfrm>
                <a:off x="5464218" y="5799597"/>
                <a:ext cx="179905" cy="156023"/>
              </a:xfrm>
              <a:custGeom>
                <a:avLst/>
                <a:gdLst>
                  <a:gd name="connsiteX0" fmla="*/ 62614 w 179905"/>
                  <a:gd name="connsiteY0" fmla="*/ 156024 h 156023"/>
                  <a:gd name="connsiteX1" fmla="*/ 50142 w 179905"/>
                  <a:gd name="connsiteY1" fmla="*/ 150772 h 156023"/>
                  <a:gd name="connsiteX2" fmla="*/ 4844 w 179905"/>
                  <a:gd name="connsiteY2" fmla="*/ 103505 h 156023"/>
                  <a:gd name="connsiteX3" fmla="*/ 5501 w 179905"/>
                  <a:gd name="connsiteY3" fmla="*/ 78559 h 156023"/>
                  <a:gd name="connsiteX4" fmla="*/ 30447 w 179905"/>
                  <a:gd name="connsiteY4" fmla="*/ 79216 h 156023"/>
                  <a:gd name="connsiteX5" fmla="*/ 61958 w 179905"/>
                  <a:gd name="connsiteY5" fmla="*/ 112696 h 156023"/>
                  <a:gd name="connsiteX6" fmla="*/ 149270 w 179905"/>
                  <a:gd name="connsiteY6" fmla="*/ 6347 h 156023"/>
                  <a:gd name="connsiteX7" fmla="*/ 173559 w 179905"/>
                  <a:gd name="connsiteY7" fmla="*/ 3721 h 156023"/>
                  <a:gd name="connsiteX8" fmla="*/ 176185 w 179905"/>
                  <a:gd name="connsiteY8" fmla="*/ 28010 h 156023"/>
                  <a:gd name="connsiteX9" fmla="*/ 76401 w 179905"/>
                  <a:gd name="connsiteY9" fmla="*/ 150115 h 156023"/>
                  <a:gd name="connsiteX10" fmla="*/ 62614 w 179905"/>
                  <a:gd name="connsiteY10" fmla="*/ 156024 h 156023"/>
                  <a:gd name="connsiteX11" fmla="*/ 62614 w 179905"/>
                  <a:gd name="connsiteY11" fmla="*/ 156024 h 156023"/>
                  <a:gd name="connsiteX12" fmla="*/ 62614 w 179905"/>
                  <a:gd name="connsiteY12" fmla="*/ 156024 h 1560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9905" h="156023">
                    <a:moveTo>
                      <a:pt x="62614" y="156024"/>
                    </a:moveTo>
                    <a:cubicBezTo>
                      <a:pt x="58019" y="156024"/>
                      <a:pt x="53424" y="154054"/>
                      <a:pt x="50142" y="150772"/>
                    </a:cubicBezTo>
                    <a:lnTo>
                      <a:pt x="4844" y="103505"/>
                    </a:lnTo>
                    <a:cubicBezTo>
                      <a:pt x="-1720" y="96284"/>
                      <a:pt x="-1720" y="85781"/>
                      <a:pt x="5501" y="78559"/>
                    </a:cubicBezTo>
                    <a:cubicBezTo>
                      <a:pt x="12722" y="71994"/>
                      <a:pt x="23226" y="71994"/>
                      <a:pt x="30447" y="79216"/>
                    </a:cubicBezTo>
                    <a:lnTo>
                      <a:pt x="61958" y="112696"/>
                    </a:lnTo>
                    <a:lnTo>
                      <a:pt x="149270" y="6347"/>
                    </a:lnTo>
                    <a:cubicBezTo>
                      <a:pt x="155178" y="-874"/>
                      <a:pt x="166338" y="-2187"/>
                      <a:pt x="173559" y="3721"/>
                    </a:cubicBezTo>
                    <a:cubicBezTo>
                      <a:pt x="180780" y="9629"/>
                      <a:pt x="182093" y="20789"/>
                      <a:pt x="176185" y="28010"/>
                    </a:cubicBezTo>
                    <a:lnTo>
                      <a:pt x="76401" y="150115"/>
                    </a:lnTo>
                    <a:cubicBezTo>
                      <a:pt x="72462" y="153398"/>
                      <a:pt x="67866" y="156024"/>
                      <a:pt x="62614" y="156024"/>
                    </a:cubicBezTo>
                    <a:cubicBezTo>
                      <a:pt x="62614" y="156024"/>
                      <a:pt x="62614" y="156024"/>
                      <a:pt x="62614" y="156024"/>
                    </a:cubicBezTo>
                    <a:lnTo>
                      <a:pt x="62614" y="156024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65" name="Forma Livre: Forma 264">
                <a:extLst>
                  <a:ext uri="{FF2B5EF4-FFF2-40B4-BE49-F238E27FC236}">
                    <a16:creationId xmlns:a16="http://schemas.microsoft.com/office/drawing/2014/main" id="{6C0BB387-E2DE-4344-86B0-E55486FFF0EC}"/>
                  </a:ext>
                </a:extLst>
              </p:cNvPr>
              <p:cNvSpPr/>
              <p:nvPr/>
            </p:nvSpPr>
            <p:spPr>
              <a:xfrm>
                <a:off x="5345645" y="5677274"/>
                <a:ext cx="416863" cy="416863"/>
              </a:xfrm>
              <a:custGeom>
                <a:avLst/>
                <a:gdLst>
                  <a:gd name="connsiteX0" fmla="*/ 399138 w 416863"/>
                  <a:gd name="connsiteY0" fmla="*/ 416863 h 416863"/>
                  <a:gd name="connsiteX1" fmla="*/ 17725 w 416863"/>
                  <a:gd name="connsiteY1" fmla="*/ 416863 h 416863"/>
                  <a:gd name="connsiteX2" fmla="*/ 0 w 416863"/>
                  <a:gd name="connsiteY2" fmla="*/ 399138 h 416863"/>
                  <a:gd name="connsiteX3" fmla="*/ 0 w 416863"/>
                  <a:gd name="connsiteY3" fmla="*/ 17725 h 416863"/>
                  <a:gd name="connsiteX4" fmla="*/ 17725 w 416863"/>
                  <a:gd name="connsiteY4" fmla="*/ 0 h 416863"/>
                  <a:gd name="connsiteX5" fmla="*/ 399138 w 416863"/>
                  <a:gd name="connsiteY5" fmla="*/ 0 h 416863"/>
                  <a:gd name="connsiteX6" fmla="*/ 416863 w 416863"/>
                  <a:gd name="connsiteY6" fmla="*/ 17725 h 416863"/>
                  <a:gd name="connsiteX7" fmla="*/ 416863 w 416863"/>
                  <a:gd name="connsiteY7" fmla="*/ 399138 h 416863"/>
                  <a:gd name="connsiteX8" fmla="*/ 399138 w 416863"/>
                  <a:gd name="connsiteY8" fmla="*/ 416863 h 416863"/>
                  <a:gd name="connsiteX9" fmla="*/ 399138 w 416863"/>
                  <a:gd name="connsiteY9" fmla="*/ 416863 h 416863"/>
                  <a:gd name="connsiteX10" fmla="*/ 34793 w 416863"/>
                  <a:gd name="connsiteY10" fmla="*/ 382070 h 416863"/>
                  <a:gd name="connsiteX11" fmla="*/ 381413 w 416863"/>
                  <a:gd name="connsiteY11" fmla="*/ 382070 h 416863"/>
                  <a:gd name="connsiteX12" fmla="*/ 381413 w 416863"/>
                  <a:gd name="connsiteY12" fmla="*/ 35450 h 416863"/>
                  <a:gd name="connsiteX13" fmla="*/ 34793 w 416863"/>
                  <a:gd name="connsiteY13" fmla="*/ 35450 h 416863"/>
                  <a:gd name="connsiteX14" fmla="*/ 34793 w 416863"/>
                  <a:gd name="connsiteY14" fmla="*/ 382070 h 416863"/>
                  <a:gd name="connsiteX15" fmla="*/ 34793 w 416863"/>
                  <a:gd name="connsiteY15" fmla="*/ 382070 h 416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16863" h="416863">
                    <a:moveTo>
                      <a:pt x="399138" y="416863"/>
                    </a:moveTo>
                    <a:lnTo>
                      <a:pt x="17725" y="416863"/>
                    </a:lnTo>
                    <a:cubicBezTo>
                      <a:pt x="7878" y="416863"/>
                      <a:pt x="0" y="408986"/>
                      <a:pt x="0" y="399138"/>
                    </a:cubicBezTo>
                    <a:lnTo>
                      <a:pt x="0" y="17725"/>
                    </a:lnTo>
                    <a:cubicBezTo>
                      <a:pt x="0" y="7878"/>
                      <a:pt x="7878" y="0"/>
                      <a:pt x="17725" y="0"/>
                    </a:cubicBezTo>
                    <a:lnTo>
                      <a:pt x="399138" y="0"/>
                    </a:lnTo>
                    <a:cubicBezTo>
                      <a:pt x="408986" y="0"/>
                      <a:pt x="416863" y="7878"/>
                      <a:pt x="416863" y="17725"/>
                    </a:cubicBezTo>
                    <a:lnTo>
                      <a:pt x="416863" y="399138"/>
                    </a:lnTo>
                    <a:cubicBezTo>
                      <a:pt x="416207" y="408986"/>
                      <a:pt x="408986" y="416863"/>
                      <a:pt x="399138" y="416863"/>
                    </a:cubicBezTo>
                    <a:lnTo>
                      <a:pt x="399138" y="416863"/>
                    </a:lnTo>
                    <a:close/>
                    <a:moveTo>
                      <a:pt x="34793" y="382070"/>
                    </a:moveTo>
                    <a:lnTo>
                      <a:pt x="381413" y="382070"/>
                    </a:lnTo>
                    <a:lnTo>
                      <a:pt x="381413" y="35450"/>
                    </a:lnTo>
                    <a:lnTo>
                      <a:pt x="34793" y="35450"/>
                    </a:lnTo>
                    <a:lnTo>
                      <a:pt x="34793" y="382070"/>
                    </a:lnTo>
                    <a:lnTo>
                      <a:pt x="34793" y="382070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266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3217344" y="5680556"/>
              <a:ext cx="410955" cy="410954"/>
              <a:chOff x="3217344" y="5680556"/>
              <a:chExt cx="410955" cy="410954"/>
            </a:xfrm>
            <a:grpFill/>
          </p:grpSpPr>
          <p:grpSp>
            <p:nvGrpSpPr>
              <p:cNvPr id="267" name="Gráfico 2">
                <a:extLst>
                  <a:ext uri="{FF2B5EF4-FFF2-40B4-BE49-F238E27FC236}">
                    <a16:creationId xmlns:a16="http://schemas.microsoft.com/office/drawing/2014/main" id="{4A08825F-1C42-4C63-A6FE-BBB3DD9D4FEB}"/>
                  </a:ext>
                </a:extLst>
              </p:cNvPr>
              <p:cNvGrpSpPr/>
              <p:nvPr/>
            </p:nvGrpSpPr>
            <p:grpSpPr>
              <a:xfrm>
                <a:off x="3339613" y="5748830"/>
                <a:ext cx="161821" cy="274407"/>
                <a:chOff x="3339613" y="5748830"/>
                <a:chExt cx="161821" cy="274407"/>
              </a:xfrm>
              <a:grpFill/>
            </p:grpSpPr>
            <p:sp>
              <p:nvSpPr>
                <p:cNvPr id="268" name="Forma Livre: Forma 267">
                  <a:extLst>
                    <a:ext uri="{FF2B5EF4-FFF2-40B4-BE49-F238E27FC236}">
                      <a16:creationId xmlns:a16="http://schemas.microsoft.com/office/drawing/2014/main" id="{104445ED-EBEF-416F-8D68-0E7994D444C1}"/>
                    </a:ext>
                  </a:extLst>
                </p:cNvPr>
                <p:cNvSpPr/>
                <p:nvPr/>
              </p:nvSpPr>
              <p:spPr>
                <a:xfrm>
                  <a:off x="3340269" y="5928869"/>
                  <a:ext cx="161165" cy="94368"/>
                </a:xfrm>
                <a:custGeom>
                  <a:avLst/>
                  <a:gdLst>
                    <a:gd name="connsiteX0" fmla="*/ 79926 w 161165"/>
                    <a:gd name="connsiteY0" fmla="*/ 94369 h 94368"/>
                    <a:gd name="connsiteX1" fmla="*/ 70079 w 161165"/>
                    <a:gd name="connsiteY1" fmla="*/ 90430 h 94368"/>
                    <a:gd name="connsiteX2" fmla="*/ 4431 w 161165"/>
                    <a:gd name="connsiteY2" fmla="*/ 24782 h 94368"/>
                    <a:gd name="connsiteX3" fmla="*/ 4431 w 161165"/>
                    <a:gd name="connsiteY3" fmla="*/ 4431 h 94368"/>
                    <a:gd name="connsiteX4" fmla="*/ 24782 w 161165"/>
                    <a:gd name="connsiteY4" fmla="*/ 4431 h 94368"/>
                    <a:gd name="connsiteX5" fmla="*/ 80583 w 161165"/>
                    <a:gd name="connsiteY5" fmla="*/ 60232 h 94368"/>
                    <a:gd name="connsiteX6" fmla="*/ 136383 w 161165"/>
                    <a:gd name="connsiteY6" fmla="*/ 4431 h 94368"/>
                    <a:gd name="connsiteX7" fmla="*/ 156734 w 161165"/>
                    <a:gd name="connsiteY7" fmla="*/ 4431 h 94368"/>
                    <a:gd name="connsiteX8" fmla="*/ 156734 w 161165"/>
                    <a:gd name="connsiteY8" fmla="*/ 24782 h 94368"/>
                    <a:gd name="connsiteX9" fmla="*/ 91086 w 161165"/>
                    <a:gd name="connsiteY9" fmla="*/ 90430 h 94368"/>
                    <a:gd name="connsiteX10" fmla="*/ 79926 w 161165"/>
                    <a:gd name="connsiteY10" fmla="*/ 94369 h 94368"/>
                    <a:gd name="connsiteX11" fmla="*/ 79926 w 161165"/>
                    <a:gd name="connsiteY11" fmla="*/ 94369 h 943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61165" h="94368">
                      <a:moveTo>
                        <a:pt x="79926" y="94369"/>
                      </a:moveTo>
                      <a:cubicBezTo>
                        <a:pt x="75987" y="94369"/>
                        <a:pt x="72705" y="93056"/>
                        <a:pt x="70079" y="90430"/>
                      </a:cubicBezTo>
                      <a:lnTo>
                        <a:pt x="4431" y="24782"/>
                      </a:lnTo>
                      <a:cubicBezTo>
                        <a:pt x="-1477" y="19530"/>
                        <a:pt x="-1477" y="10339"/>
                        <a:pt x="4431" y="4431"/>
                      </a:cubicBezTo>
                      <a:cubicBezTo>
                        <a:pt x="9683" y="-1477"/>
                        <a:pt x="18874" y="-1477"/>
                        <a:pt x="24782" y="4431"/>
                      </a:cubicBezTo>
                      <a:lnTo>
                        <a:pt x="80583" y="60232"/>
                      </a:lnTo>
                      <a:lnTo>
                        <a:pt x="136383" y="4431"/>
                      </a:lnTo>
                      <a:cubicBezTo>
                        <a:pt x="141635" y="-820"/>
                        <a:pt x="150826" y="-820"/>
                        <a:pt x="156734" y="4431"/>
                      </a:cubicBezTo>
                      <a:cubicBezTo>
                        <a:pt x="162642" y="9683"/>
                        <a:pt x="162642" y="18874"/>
                        <a:pt x="156734" y="24782"/>
                      </a:cubicBezTo>
                      <a:lnTo>
                        <a:pt x="91086" y="90430"/>
                      </a:lnTo>
                      <a:cubicBezTo>
                        <a:pt x="87147" y="93056"/>
                        <a:pt x="83865" y="94369"/>
                        <a:pt x="79926" y="94369"/>
                      </a:cubicBezTo>
                      <a:lnTo>
                        <a:pt x="79926" y="94369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269" name="Forma Livre: Forma 268">
                  <a:extLst>
                    <a:ext uri="{FF2B5EF4-FFF2-40B4-BE49-F238E27FC236}">
                      <a16:creationId xmlns:a16="http://schemas.microsoft.com/office/drawing/2014/main" id="{92E0546D-D645-4A3B-AF02-9B895756981E}"/>
                    </a:ext>
                  </a:extLst>
                </p:cNvPr>
                <p:cNvSpPr/>
                <p:nvPr/>
              </p:nvSpPr>
              <p:spPr>
                <a:xfrm>
                  <a:off x="3339613" y="5748830"/>
                  <a:ext cx="160508" cy="93876"/>
                </a:xfrm>
                <a:custGeom>
                  <a:avLst/>
                  <a:gdLst>
                    <a:gd name="connsiteX0" fmla="*/ 146230 w 160508"/>
                    <a:gd name="connsiteY0" fmla="*/ 93876 h 93876"/>
                    <a:gd name="connsiteX1" fmla="*/ 136383 w 160508"/>
                    <a:gd name="connsiteY1" fmla="*/ 89937 h 93876"/>
                    <a:gd name="connsiteX2" fmla="*/ 80583 w 160508"/>
                    <a:gd name="connsiteY2" fmla="*/ 34137 h 93876"/>
                    <a:gd name="connsiteX3" fmla="*/ 24782 w 160508"/>
                    <a:gd name="connsiteY3" fmla="*/ 89937 h 93876"/>
                    <a:gd name="connsiteX4" fmla="*/ 4431 w 160508"/>
                    <a:gd name="connsiteY4" fmla="*/ 89937 h 93876"/>
                    <a:gd name="connsiteX5" fmla="*/ 4431 w 160508"/>
                    <a:gd name="connsiteY5" fmla="*/ 69587 h 93876"/>
                    <a:gd name="connsiteX6" fmla="*/ 70079 w 160508"/>
                    <a:gd name="connsiteY6" fmla="*/ 3939 h 93876"/>
                    <a:gd name="connsiteX7" fmla="*/ 90430 w 160508"/>
                    <a:gd name="connsiteY7" fmla="*/ 3939 h 93876"/>
                    <a:gd name="connsiteX8" fmla="*/ 156078 w 160508"/>
                    <a:gd name="connsiteY8" fmla="*/ 69587 h 93876"/>
                    <a:gd name="connsiteX9" fmla="*/ 156078 w 160508"/>
                    <a:gd name="connsiteY9" fmla="*/ 89937 h 93876"/>
                    <a:gd name="connsiteX10" fmla="*/ 146230 w 160508"/>
                    <a:gd name="connsiteY10" fmla="*/ 93876 h 93876"/>
                    <a:gd name="connsiteX11" fmla="*/ 146230 w 160508"/>
                    <a:gd name="connsiteY11" fmla="*/ 93876 h 938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60508" h="93876">
                      <a:moveTo>
                        <a:pt x="146230" y="93876"/>
                      </a:moveTo>
                      <a:cubicBezTo>
                        <a:pt x="142292" y="93876"/>
                        <a:pt x="139009" y="92563"/>
                        <a:pt x="136383" y="89937"/>
                      </a:cubicBezTo>
                      <a:lnTo>
                        <a:pt x="80583" y="34137"/>
                      </a:lnTo>
                      <a:lnTo>
                        <a:pt x="24782" y="89937"/>
                      </a:lnTo>
                      <a:cubicBezTo>
                        <a:pt x="18874" y="95189"/>
                        <a:pt x="10340" y="95189"/>
                        <a:pt x="4431" y="89937"/>
                      </a:cubicBezTo>
                      <a:cubicBezTo>
                        <a:pt x="-1477" y="84029"/>
                        <a:pt x="-1477" y="75495"/>
                        <a:pt x="4431" y="69587"/>
                      </a:cubicBezTo>
                      <a:lnTo>
                        <a:pt x="70079" y="3939"/>
                      </a:lnTo>
                      <a:cubicBezTo>
                        <a:pt x="75987" y="-1313"/>
                        <a:pt x="84522" y="-1313"/>
                        <a:pt x="90430" y="3939"/>
                      </a:cubicBezTo>
                      <a:lnTo>
                        <a:pt x="156078" y="69587"/>
                      </a:lnTo>
                      <a:cubicBezTo>
                        <a:pt x="161986" y="74838"/>
                        <a:pt x="161986" y="84029"/>
                        <a:pt x="156078" y="89937"/>
                      </a:cubicBezTo>
                      <a:cubicBezTo>
                        <a:pt x="153452" y="92563"/>
                        <a:pt x="150169" y="93876"/>
                        <a:pt x="146230" y="93876"/>
                      </a:cubicBezTo>
                      <a:lnTo>
                        <a:pt x="146230" y="93876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sp>
            <p:nvSpPr>
              <p:cNvPr id="270" name="Forma Livre: Forma 269">
                <a:extLst>
                  <a:ext uri="{FF2B5EF4-FFF2-40B4-BE49-F238E27FC236}">
                    <a16:creationId xmlns:a16="http://schemas.microsoft.com/office/drawing/2014/main" id="{6579A7F9-6B10-4AA2-A8B9-347326C38325}"/>
                  </a:ext>
                </a:extLst>
              </p:cNvPr>
              <p:cNvSpPr/>
              <p:nvPr/>
            </p:nvSpPr>
            <p:spPr>
              <a:xfrm>
                <a:off x="3217344" y="5680556"/>
                <a:ext cx="410955" cy="410954"/>
              </a:xfrm>
              <a:custGeom>
                <a:avLst/>
                <a:gdLst>
                  <a:gd name="connsiteX0" fmla="*/ 392574 w 410955"/>
                  <a:gd name="connsiteY0" fmla="*/ 410955 h 410954"/>
                  <a:gd name="connsiteX1" fmla="*/ 18381 w 410955"/>
                  <a:gd name="connsiteY1" fmla="*/ 410955 h 410954"/>
                  <a:gd name="connsiteX2" fmla="*/ 0 w 410955"/>
                  <a:gd name="connsiteY2" fmla="*/ 392574 h 410954"/>
                  <a:gd name="connsiteX3" fmla="*/ 0 w 410955"/>
                  <a:gd name="connsiteY3" fmla="*/ 18381 h 410954"/>
                  <a:gd name="connsiteX4" fmla="*/ 18381 w 410955"/>
                  <a:gd name="connsiteY4" fmla="*/ 0 h 410954"/>
                  <a:gd name="connsiteX5" fmla="*/ 392574 w 410955"/>
                  <a:gd name="connsiteY5" fmla="*/ 0 h 410954"/>
                  <a:gd name="connsiteX6" fmla="*/ 410955 w 410955"/>
                  <a:gd name="connsiteY6" fmla="*/ 18381 h 410954"/>
                  <a:gd name="connsiteX7" fmla="*/ 410955 w 410955"/>
                  <a:gd name="connsiteY7" fmla="*/ 392574 h 410954"/>
                  <a:gd name="connsiteX8" fmla="*/ 392574 w 410955"/>
                  <a:gd name="connsiteY8" fmla="*/ 410955 h 410954"/>
                  <a:gd name="connsiteX9" fmla="*/ 392574 w 410955"/>
                  <a:gd name="connsiteY9" fmla="*/ 410955 h 410954"/>
                  <a:gd name="connsiteX10" fmla="*/ 36763 w 410955"/>
                  <a:gd name="connsiteY10" fmla="*/ 374192 h 410954"/>
                  <a:gd name="connsiteX11" fmla="*/ 374192 w 410955"/>
                  <a:gd name="connsiteY11" fmla="*/ 374192 h 410954"/>
                  <a:gd name="connsiteX12" fmla="*/ 374192 w 410955"/>
                  <a:gd name="connsiteY12" fmla="*/ 37419 h 410954"/>
                  <a:gd name="connsiteX13" fmla="*/ 36763 w 410955"/>
                  <a:gd name="connsiteY13" fmla="*/ 37419 h 410954"/>
                  <a:gd name="connsiteX14" fmla="*/ 36763 w 410955"/>
                  <a:gd name="connsiteY14" fmla="*/ 374192 h 410954"/>
                  <a:gd name="connsiteX15" fmla="*/ 36763 w 410955"/>
                  <a:gd name="connsiteY15" fmla="*/ 374192 h 410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10955" h="410954">
                    <a:moveTo>
                      <a:pt x="392574" y="410955"/>
                    </a:moveTo>
                    <a:lnTo>
                      <a:pt x="18381" y="410955"/>
                    </a:lnTo>
                    <a:cubicBezTo>
                      <a:pt x="8534" y="410955"/>
                      <a:pt x="0" y="402421"/>
                      <a:pt x="0" y="392574"/>
                    </a:cubicBezTo>
                    <a:lnTo>
                      <a:pt x="0" y="18381"/>
                    </a:lnTo>
                    <a:cubicBezTo>
                      <a:pt x="0" y="8534"/>
                      <a:pt x="8534" y="0"/>
                      <a:pt x="18381" y="0"/>
                    </a:cubicBezTo>
                    <a:lnTo>
                      <a:pt x="392574" y="0"/>
                    </a:lnTo>
                    <a:cubicBezTo>
                      <a:pt x="402421" y="0"/>
                      <a:pt x="410955" y="8534"/>
                      <a:pt x="410955" y="18381"/>
                    </a:cubicBezTo>
                    <a:lnTo>
                      <a:pt x="410955" y="392574"/>
                    </a:lnTo>
                    <a:cubicBezTo>
                      <a:pt x="410955" y="402421"/>
                      <a:pt x="402421" y="410955"/>
                      <a:pt x="392574" y="410955"/>
                    </a:cubicBezTo>
                    <a:lnTo>
                      <a:pt x="392574" y="410955"/>
                    </a:lnTo>
                    <a:close/>
                    <a:moveTo>
                      <a:pt x="36763" y="374192"/>
                    </a:moveTo>
                    <a:lnTo>
                      <a:pt x="374192" y="374192"/>
                    </a:lnTo>
                    <a:lnTo>
                      <a:pt x="374192" y="37419"/>
                    </a:lnTo>
                    <a:lnTo>
                      <a:pt x="36763" y="37419"/>
                    </a:lnTo>
                    <a:lnTo>
                      <a:pt x="36763" y="374192"/>
                    </a:lnTo>
                    <a:lnTo>
                      <a:pt x="36763" y="374192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71" name="Forma Livre: Forma 270">
                <a:extLst>
                  <a:ext uri="{FF2B5EF4-FFF2-40B4-BE49-F238E27FC236}">
                    <a16:creationId xmlns:a16="http://schemas.microsoft.com/office/drawing/2014/main" id="{60C8B63A-EF53-4789-B02E-8CF85BB67091}"/>
                  </a:ext>
                </a:extLst>
              </p:cNvPr>
              <p:cNvSpPr/>
              <p:nvPr/>
            </p:nvSpPr>
            <p:spPr>
              <a:xfrm>
                <a:off x="3233099" y="5876843"/>
                <a:ext cx="380100" cy="18381"/>
              </a:xfrm>
              <a:custGeom>
                <a:avLst/>
                <a:gdLst>
                  <a:gd name="connsiteX0" fmla="*/ 370910 w 380100"/>
                  <a:gd name="connsiteY0" fmla="*/ 18382 h 18381"/>
                  <a:gd name="connsiteX1" fmla="*/ 9191 w 380100"/>
                  <a:gd name="connsiteY1" fmla="*/ 18382 h 18381"/>
                  <a:gd name="connsiteX2" fmla="*/ 0 w 380100"/>
                  <a:gd name="connsiteY2" fmla="*/ 9191 h 18381"/>
                  <a:gd name="connsiteX3" fmla="*/ 9191 w 380100"/>
                  <a:gd name="connsiteY3" fmla="*/ 0 h 18381"/>
                  <a:gd name="connsiteX4" fmla="*/ 370910 w 380100"/>
                  <a:gd name="connsiteY4" fmla="*/ 0 h 18381"/>
                  <a:gd name="connsiteX5" fmla="*/ 380101 w 380100"/>
                  <a:gd name="connsiteY5" fmla="*/ 9191 h 18381"/>
                  <a:gd name="connsiteX6" fmla="*/ 370910 w 380100"/>
                  <a:gd name="connsiteY6" fmla="*/ 18382 h 18381"/>
                  <a:gd name="connsiteX7" fmla="*/ 370910 w 380100"/>
                  <a:gd name="connsiteY7" fmla="*/ 18382 h 18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0100" h="18381">
                    <a:moveTo>
                      <a:pt x="370910" y="18382"/>
                    </a:moveTo>
                    <a:lnTo>
                      <a:pt x="9191" y="18382"/>
                    </a:lnTo>
                    <a:cubicBezTo>
                      <a:pt x="3939" y="18382"/>
                      <a:pt x="0" y="14443"/>
                      <a:pt x="0" y="9191"/>
                    </a:cubicBezTo>
                    <a:cubicBezTo>
                      <a:pt x="0" y="3939"/>
                      <a:pt x="3939" y="0"/>
                      <a:pt x="9191" y="0"/>
                    </a:cubicBezTo>
                    <a:lnTo>
                      <a:pt x="370910" y="0"/>
                    </a:lnTo>
                    <a:cubicBezTo>
                      <a:pt x="376162" y="0"/>
                      <a:pt x="380101" y="3939"/>
                      <a:pt x="380101" y="9191"/>
                    </a:cubicBezTo>
                    <a:cubicBezTo>
                      <a:pt x="380101" y="14443"/>
                      <a:pt x="375505" y="18382"/>
                      <a:pt x="370910" y="18382"/>
                    </a:cubicBezTo>
                    <a:lnTo>
                      <a:pt x="370910" y="18382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272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2147941" y="5680556"/>
              <a:ext cx="410955" cy="410954"/>
              <a:chOff x="2147941" y="5680556"/>
              <a:chExt cx="410955" cy="410954"/>
            </a:xfrm>
            <a:grpFill/>
          </p:grpSpPr>
          <p:sp>
            <p:nvSpPr>
              <p:cNvPr id="273" name="Forma Livre: Forma 272">
                <a:extLst>
                  <a:ext uri="{FF2B5EF4-FFF2-40B4-BE49-F238E27FC236}">
                    <a16:creationId xmlns:a16="http://schemas.microsoft.com/office/drawing/2014/main" id="{F3642FE7-1839-409B-B4A4-D2DDE49384ED}"/>
                  </a:ext>
                </a:extLst>
              </p:cNvPr>
              <p:cNvSpPr/>
              <p:nvPr/>
            </p:nvSpPr>
            <p:spPr>
              <a:xfrm>
                <a:off x="2285474" y="5767540"/>
                <a:ext cx="135890" cy="236660"/>
              </a:xfrm>
              <a:custGeom>
                <a:avLst/>
                <a:gdLst>
                  <a:gd name="connsiteX0" fmla="*/ 17397 w 135890"/>
                  <a:gd name="connsiteY0" fmla="*/ 236660 h 236660"/>
                  <a:gd name="connsiteX1" fmla="*/ 4924 w 135890"/>
                  <a:gd name="connsiteY1" fmla="*/ 231408 h 236660"/>
                  <a:gd name="connsiteX2" fmla="*/ 4924 w 135890"/>
                  <a:gd name="connsiteY2" fmla="*/ 206462 h 236660"/>
                  <a:gd name="connsiteX3" fmla="*/ 92892 w 135890"/>
                  <a:gd name="connsiteY3" fmla="*/ 117838 h 236660"/>
                  <a:gd name="connsiteX4" fmla="*/ 5580 w 135890"/>
                  <a:gd name="connsiteY4" fmla="*/ 29870 h 236660"/>
                  <a:gd name="connsiteX5" fmla="*/ 5580 w 135890"/>
                  <a:gd name="connsiteY5" fmla="*/ 4924 h 236660"/>
                  <a:gd name="connsiteX6" fmla="*/ 30526 w 135890"/>
                  <a:gd name="connsiteY6" fmla="*/ 4924 h 236660"/>
                  <a:gd name="connsiteX7" fmla="*/ 130967 w 135890"/>
                  <a:gd name="connsiteY7" fmla="*/ 105365 h 236660"/>
                  <a:gd name="connsiteX8" fmla="*/ 130967 w 135890"/>
                  <a:gd name="connsiteY8" fmla="*/ 130311 h 236660"/>
                  <a:gd name="connsiteX9" fmla="*/ 30526 w 135890"/>
                  <a:gd name="connsiteY9" fmla="*/ 230752 h 236660"/>
                  <a:gd name="connsiteX10" fmla="*/ 17397 w 135890"/>
                  <a:gd name="connsiteY10" fmla="*/ 236660 h 236660"/>
                  <a:gd name="connsiteX11" fmla="*/ 17397 w 135890"/>
                  <a:gd name="connsiteY11" fmla="*/ 236660 h 236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35890" h="236660">
                    <a:moveTo>
                      <a:pt x="17397" y="236660"/>
                    </a:moveTo>
                    <a:cubicBezTo>
                      <a:pt x="12801" y="236660"/>
                      <a:pt x="8206" y="234691"/>
                      <a:pt x="4924" y="231408"/>
                    </a:cubicBezTo>
                    <a:cubicBezTo>
                      <a:pt x="-1641" y="224844"/>
                      <a:pt x="-1641" y="213683"/>
                      <a:pt x="4924" y="206462"/>
                    </a:cubicBezTo>
                    <a:lnTo>
                      <a:pt x="92892" y="117838"/>
                    </a:lnTo>
                    <a:lnTo>
                      <a:pt x="5580" y="29870"/>
                    </a:lnTo>
                    <a:cubicBezTo>
                      <a:pt x="-985" y="23305"/>
                      <a:pt x="-985" y="12145"/>
                      <a:pt x="5580" y="4924"/>
                    </a:cubicBezTo>
                    <a:cubicBezTo>
                      <a:pt x="12145" y="-1641"/>
                      <a:pt x="23305" y="-1641"/>
                      <a:pt x="30526" y="4924"/>
                    </a:cubicBezTo>
                    <a:lnTo>
                      <a:pt x="130967" y="105365"/>
                    </a:lnTo>
                    <a:cubicBezTo>
                      <a:pt x="137532" y="111929"/>
                      <a:pt x="137532" y="123090"/>
                      <a:pt x="130967" y="130311"/>
                    </a:cubicBezTo>
                    <a:lnTo>
                      <a:pt x="30526" y="230752"/>
                    </a:lnTo>
                    <a:cubicBezTo>
                      <a:pt x="26587" y="234691"/>
                      <a:pt x="21992" y="236660"/>
                      <a:pt x="17397" y="236660"/>
                    </a:cubicBezTo>
                    <a:lnTo>
                      <a:pt x="17397" y="236660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74" name="Forma Livre: Forma 273">
                <a:extLst>
                  <a:ext uri="{FF2B5EF4-FFF2-40B4-BE49-F238E27FC236}">
                    <a16:creationId xmlns:a16="http://schemas.microsoft.com/office/drawing/2014/main" id="{FCEFC4DB-0CA3-4BEC-AEEB-D5BBFDDD72F6}"/>
                  </a:ext>
                </a:extLst>
              </p:cNvPr>
              <p:cNvSpPr/>
              <p:nvPr/>
            </p:nvSpPr>
            <p:spPr>
              <a:xfrm>
                <a:off x="2147941" y="5680556"/>
                <a:ext cx="410955" cy="410954"/>
              </a:xfrm>
              <a:custGeom>
                <a:avLst/>
                <a:gdLst>
                  <a:gd name="connsiteX0" fmla="*/ 392574 w 410955"/>
                  <a:gd name="connsiteY0" fmla="*/ 410955 h 410954"/>
                  <a:gd name="connsiteX1" fmla="*/ 18381 w 410955"/>
                  <a:gd name="connsiteY1" fmla="*/ 410955 h 410954"/>
                  <a:gd name="connsiteX2" fmla="*/ 0 w 410955"/>
                  <a:gd name="connsiteY2" fmla="*/ 392574 h 410954"/>
                  <a:gd name="connsiteX3" fmla="*/ 0 w 410955"/>
                  <a:gd name="connsiteY3" fmla="*/ 18381 h 410954"/>
                  <a:gd name="connsiteX4" fmla="*/ 18381 w 410955"/>
                  <a:gd name="connsiteY4" fmla="*/ 0 h 410954"/>
                  <a:gd name="connsiteX5" fmla="*/ 392574 w 410955"/>
                  <a:gd name="connsiteY5" fmla="*/ 0 h 410954"/>
                  <a:gd name="connsiteX6" fmla="*/ 410955 w 410955"/>
                  <a:gd name="connsiteY6" fmla="*/ 18381 h 410954"/>
                  <a:gd name="connsiteX7" fmla="*/ 410955 w 410955"/>
                  <a:gd name="connsiteY7" fmla="*/ 392574 h 410954"/>
                  <a:gd name="connsiteX8" fmla="*/ 392574 w 410955"/>
                  <a:gd name="connsiteY8" fmla="*/ 410955 h 410954"/>
                  <a:gd name="connsiteX9" fmla="*/ 392574 w 410955"/>
                  <a:gd name="connsiteY9" fmla="*/ 410955 h 410954"/>
                  <a:gd name="connsiteX10" fmla="*/ 36763 w 410955"/>
                  <a:gd name="connsiteY10" fmla="*/ 374192 h 410954"/>
                  <a:gd name="connsiteX11" fmla="*/ 374192 w 410955"/>
                  <a:gd name="connsiteY11" fmla="*/ 374192 h 410954"/>
                  <a:gd name="connsiteX12" fmla="*/ 374192 w 410955"/>
                  <a:gd name="connsiteY12" fmla="*/ 37419 h 410954"/>
                  <a:gd name="connsiteX13" fmla="*/ 36763 w 410955"/>
                  <a:gd name="connsiteY13" fmla="*/ 37419 h 410954"/>
                  <a:gd name="connsiteX14" fmla="*/ 36763 w 410955"/>
                  <a:gd name="connsiteY14" fmla="*/ 374192 h 410954"/>
                  <a:gd name="connsiteX15" fmla="*/ 36763 w 410955"/>
                  <a:gd name="connsiteY15" fmla="*/ 374192 h 410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10955" h="410954">
                    <a:moveTo>
                      <a:pt x="392574" y="410955"/>
                    </a:moveTo>
                    <a:lnTo>
                      <a:pt x="18381" y="410955"/>
                    </a:lnTo>
                    <a:cubicBezTo>
                      <a:pt x="8534" y="410955"/>
                      <a:pt x="0" y="402421"/>
                      <a:pt x="0" y="392574"/>
                    </a:cubicBezTo>
                    <a:lnTo>
                      <a:pt x="0" y="18381"/>
                    </a:lnTo>
                    <a:cubicBezTo>
                      <a:pt x="0" y="8534"/>
                      <a:pt x="8534" y="0"/>
                      <a:pt x="18381" y="0"/>
                    </a:cubicBezTo>
                    <a:lnTo>
                      <a:pt x="392574" y="0"/>
                    </a:lnTo>
                    <a:cubicBezTo>
                      <a:pt x="402421" y="0"/>
                      <a:pt x="410955" y="8534"/>
                      <a:pt x="410955" y="18381"/>
                    </a:cubicBezTo>
                    <a:lnTo>
                      <a:pt x="410955" y="392574"/>
                    </a:lnTo>
                    <a:cubicBezTo>
                      <a:pt x="410955" y="402421"/>
                      <a:pt x="402421" y="410955"/>
                      <a:pt x="392574" y="410955"/>
                    </a:cubicBezTo>
                    <a:lnTo>
                      <a:pt x="392574" y="410955"/>
                    </a:lnTo>
                    <a:close/>
                    <a:moveTo>
                      <a:pt x="36763" y="374192"/>
                    </a:moveTo>
                    <a:lnTo>
                      <a:pt x="374192" y="374192"/>
                    </a:lnTo>
                    <a:lnTo>
                      <a:pt x="374192" y="37419"/>
                    </a:lnTo>
                    <a:lnTo>
                      <a:pt x="36763" y="37419"/>
                    </a:lnTo>
                    <a:lnTo>
                      <a:pt x="36763" y="374192"/>
                    </a:lnTo>
                    <a:lnTo>
                      <a:pt x="36763" y="374192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275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1074600" y="5680556"/>
              <a:ext cx="410955" cy="410954"/>
              <a:chOff x="1074600" y="5680556"/>
              <a:chExt cx="410955" cy="410954"/>
            </a:xfrm>
            <a:grpFill/>
          </p:grpSpPr>
          <p:sp>
            <p:nvSpPr>
              <p:cNvPr id="276" name="Forma Livre: Forma 275">
                <a:extLst>
                  <a:ext uri="{FF2B5EF4-FFF2-40B4-BE49-F238E27FC236}">
                    <a16:creationId xmlns:a16="http://schemas.microsoft.com/office/drawing/2014/main" id="{405A644B-4F50-4DB4-8ED4-E0841557AECF}"/>
                  </a:ext>
                </a:extLst>
              </p:cNvPr>
              <p:cNvSpPr/>
              <p:nvPr/>
            </p:nvSpPr>
            <p:spPr>
              <a:xfrm>
                <a:off x="1212789" y="5768196"/>
                <a:ext cx="135234" cy="236003"/>
              </a:xfrm>
              <a:custGeom>
                <a:avLst/>
                <a:gdLst>
                  <a:gd name="connsiteX0" fmla="*/ 117838 w 135234"/>
                  <a:gd name="connsiteY0" fmla="*/ 236004 h 236003"/>
                  <a:gd name="connsiteX1" fmla="*/ 105365 w 135234"/>
                  <a:gd name="connsiteY1" fmla="*/ 230752 h 236003"/>
                  <a:gd name="connsiteX2" fmla="*/ 4924 w 135234"/>
                  <a:gd name="connsiteY2" fmla="*/ 130311 h 236003"/>
                  <a:gd name="connsiteX3" fmla="*/ 4924 w 135234"/>
                  <a:gd name="connsiteY3" fmla="*/ 105365 h 236003"/>
                  <a:gd name="connsiteX4" fmla="*/ 105365 w 135234"/>
                  <a:gd name="connsiteY4" fmla="*/ 4924 h 236003"/>
                  <a:gd name="connsiteX5" fmla="*/ 130311 w 135234"/>
                  <a:gd name="connsiteY5" fmla="*/ 4924 h 236003"/>
                  <a:gd name="connsiteX6" fmla="*/ 130311 w 135234"/>
                  <a:gd name="connsiteY6" fmla="*/ 29870 h 236003"/>
                  <a:gd name="connsiteX7" fmla="*/ 41686 w 135234"/>
                  <a:gd name="connsiteY7" fmla="*/ 117838 h 236003"/>
                  <a:gd name="connsiteX8" fmla="*/ 129654 w 135234"/>
                  <a:gd name="connsiteY8" fmla="*/ 206462 h 236003"/>
                  <a:gd name="connsiteX9" fmla="*/ 129654 w 135234"/>
                  <a:gd name="connsiteY9" fmla="*/ 231408 h 236003"/>
                  <a:gd name="connsiteX10" fmla="*/ 117838 w 135234"/>
                  <a:gd name="connsiteY10" fmla="*/ 236004 h 236003"/>
                  <a:gd name="connsiteX11" fmla="*/ 117838 w 135234"/>
                  <a:gd name="connsiteY11" fmla="*/ 236004 h 2360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35234" h="236003">
                    <a:moveTo>
                      <a:pt x="117838" y="236004"/>
                    </a:moveTo>
                    <a:cubicBezTo>
                      <a:pt x="113242" y="236004"/>
                      <a:pt x="108647" y="234035"/>
                      <a:pt x="105365" y="230752"/>
                    </a:cubicBezTo>
                    <a:lnTo>
                      <a:pt x="4924" y="130311"/>
                    </a:lnTo>
                    <a:cubicBezTo>
                      <a:pt x="-1641" y="123746"/>
                      <a:pt x="-1641" y="112586"/>
                      <a:pt x="4924" y="105365"/>
                    </a:cubicBezTo>
                    <a:lnTo>
                      <a:pt x="105365" y="4924"/>
                    </a:lnTo>
                    <a:cubicBezTo>
                      <a:pt x="111929" y="-1641"/>
                      <a:pt x="123090" y="-1641"/>
                      <a:pt x="130311" y="4924"/>
                    </a:cubicBezTo>
                    <a:cubicBezTo>
                      <a:pt x="136876" y="11488"/>
                      <a:pt x="136876" y="22649"/>
                      <a:pt x="130311" y="29870"/>
                    </a:cubicBezTo>
                    <a:lnTo>
                      <a:pt x="41686" y="117838"/>
                    </a:lnTo>
                    <a:lnTo>
                      <a:pt x="129654" y="206462"/>
                    </a:lnTo>
                    <a:cubicBezTo>
                      <a:pt x="136219" y="213027"/>
                      <a:pt x="136219" y="224187"/>
                      <a:pt x="129654" y="231408"/>
                    </a:cubicBezTo>
                    <a:cubicBezTo>
                      <a:pt x="126372" y="234035"/>
                      <a:pt x="121777" y="236004"/>
                      <a:pt x="117838" y="236004"/>
                    </a:cubicBezTo>
                    <a:lnTo>
                      <a:pt x="117838" y="236004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77" name="Forma Livre: Forma 276">
                <a:extLst>
                  <a:ext uri="{FF2B5EF4-FFF2-40B4-BE49-F238E27FC236}">
                    <a16:creationId xmlns:a16="http://schemas.microsoft.com/office/drawing/2014/main" id="{345051F7-E669-436D-B1B1-BF572E0362CB}"/>
                  </a:ext>
                </a:extLst>
              </p:cNvPr>
              <p:cNvSpPr/>
              <p:nvPr/>
            </p:nvSpPr>
            <p:spPr>
              <a:xfrm>
                <a:off x="1074600" y="5680556"/>
                <a:ext cx="410955" cy="410954"/>
              </a:xfrm>
              <a:custGeom>
                <a:avLst/>
                <a:gdLst>
                  <a:gd name="connsiteX0" fmla="*/ 392574 w 410955"/>
                  <a:gd name="connsiteY0" fmla="*/ 410955 h 410954"/>
                  <a:gd name="connsiteX1" fmla="*/ 18381 w 410955"/>
                  <a:gd name="connsiteY1" fmla="*/ 410955 h 410954"/>
                  <a:gd name="connsiteX2" fmla="*/ 0 w 410955"/>
                  <a:gd name="connsiteY2" fmla="*/ 392574 h 410954"/>
                  <a:gd name="connsiteX3" fmla="*/ 0 w 410955"/>
                  <a:gd name="connsiteY3" fmla="*/ 18381 h 410954"/>
                  <a:gd name="connsiteX4" fmla="*/ 18381 w 410955"/>
                  <a:gd name="connsiteY4" fmla="*/ 0 h 410954"/>
                  <a:gd name="connsiteX5" fmla="*/ 392574 w 410955"/>
                  <a:gd name="connsiteY5" fmla="*/ 0 h 410954"/>
                  <a:gd name="connsiteX6" fmla="*/ 410955 w 410955"/>
                  <a:gd name="connsiteY6" fmla="*/ 18381 h 410954"/>
                  <a:gd name="connsiteX7" fmla="*/ 410955 w 410955"/>
                  <a:gd name="connsiteY7" fmla="*/ 392574 h 410954"/>
                  <a:gd name="connsiteX8" fmla="*/ 392574 w 410955"/>
                  <a:gd name="connsiteY8" fmla="*/ 410955 h 410954"/>
                  <a:gd name="connsiteX9" fmla="*/ 392574 w 410955"/>
                  <a:gd name="connsiteY9" fmla="*/ 410955 h 410954"/>
                  <a:gd name="connsiteX10" fmla="*/ 36763 w 410955"/>
                  <a:gd name="connsiteY10" fmla="*/ 374192 h 410954"/>
                  <a:gd name="connsiteX11" fmla="*/ 374192 w 410955"/>
                  <a:gd name="connsiteY11" fmla="*/ 374192 h 410954"/>
                  <a:gd name="connsiteX12" fmla="*/ 374192 w 410955"/>
                  <a:gd name="connsiteY12" fmla="*/ 37419 h 410954"/>
                  <a:gd name="connsiteX13" fmla="*/ 36763 w 410955"/>
                  <a:gd name="connsiteY13" fmla="*/ 37419 h 410954"/>
                  <a:gd name="connsiteX14" fmla="*/ 36763 w 410955"/>
                  <a:gd name="connsiteY14" fmla="*/ 374192 h 410954"/>
                  <a:gd name="connsiteX15" fmla="*/ 36763 w 410955"/>
                  <a:gd name="connsiteY15" fmla="*/ 374192 h 410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10955" h="410954">
                    <a:moveTo>
                      <a:pt x="392574" y="410955"/>
                    </a:moveTo>
                    <a:lnTo>
                      <a:pt x="18381" y="410955"/>
                    </a:lnTo>
                    <a:cubicBezTo>
                      <a:pt x="8534" y="410955"/>
                      <a:pt x="0" y="402421"/>
                      <a:pt x="0" y="392574"/>
                    </a:cubicBezTo>
                    <a:lnTo>
                      <a:pt x="0" y="18381"/>
                    </a:lnTo>
                    <a:cubicBezTo>
                      <a:pt x="0" y="8534"/>
                      <a:pt x="8534" y="0"/>
                      <a:pt x="18381" y="0"/>
                    </a:cubicBezTo>
                    <a:lnTo>
                      <a:pt x="392574" y="0"/>
                    </a:lnTo>
                    <a:cubicBezTo>
                      <a:pt x="402421" y="0"/>
                      <a:pt x="410955" y="8534"/>
                      <a:pt x="410955" y="18381"/>
                    </a:cubicBezTo>
                    <a:lnTo>
                      <a:pt x="410955" y="392574"/>
                    </a:lnTo>
                    <a:cubicBezTo>
                      <a:pt x="410955" y="402421"/>
                      <a:pt x="402421" y="410955"/>
                      <a:pt x="392574" y="410955"/>
                    </a:cubicBezTo>
                    <a:lnTo>
                      <a:pt x="392574" y="410955"/>
                    </a:lnTo>
                    <a:close/>
                    <a:moveTo>
                      <a:pt x="36763" y="374192"/>
                    </a:moveTo>
                    <a:lnTo>
                      <a:pt x="374192" y="374192"/>
                    </a:lnTo>
                    <a:lnTo>
                      <a:pt x="374192" y="37419"/>
                    </a:lnTo>
                    <a:lnTo>
                      <a:pt x="36763" y="37419"/>
                    </a:lnTo>
                    <a:lnTo>
                      <a:pt x="36763" y="374192"/>
                    </a:lnTo>
                    <a:lnTo>
                      <a:pt x="36763" y="374192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278" name="Gráfico 2">
              <a:extLst>
                <a:ext uri="{FF2B5EF4-FFF2-40B4-BE49-F238E27FC236}">
                  <a16:creationId xmlns:a16="http://schemas.microsoft.com/office/drawing/2014/main" id="{4A08825F-1C42-4C63-A6FE-BBB3DD9D4FEB}"/>
                </a:ext>
              </a:extLst>
            </p:cNvPr>
            <p:cNvGrpSpPr/>
            <p:nvPr/>
          </p:nvGrpSpPr>
          <p:grpSpPr>
            <a:xfrm>
              <a:off x="4276242" y="5677274"/>
              <a:ext cx="416863" cy="416863"/>
              <a:chOff x="4276242" y="5677274"/>
              <a:chExt cx="416863" cy="416863"/>
            </a:xfrm>
            <a:grpFill/>
          </p:grpSpPr>
          <p:sp>
            <p:nvSpPr>
              <p:cNvPr id="279" name="Forma Livre: Forma 278">
                <a:extLst>
                  <a:ext uri="{FF2B5EF4-FFF2-40B4-BE49-F238E27FC236}">
                    <a16:creationId xmlns:a16="http://schemas.microsoft.com/office/drawing/2014/main" id="{B75BF62E-55D8-4431-A52F-B3A071046E65}"/>
                  </a:ext>
                </a:extLst>
              </p:cNvPr>
              <p:cNvSpPr/>
              <p:nvPr/>
            </p:nvSpPr>
            <p:spPr>
              <a:xfrm>
                <a:off x="4276242" y="5677274"/>
                <a:ext cx="416863" cy="416863"/>
              </a:xfrm>
              <a:custGeom>
                <a:avLst/>
                <a:gdLst>
                  <a:gd name="connsiteX0" fmla="*/ 399138 w 416863"/>
                  <a:gd name="connsiteY0" fmla="*/ 416863 h 416863"/>
                  <a:gd name="connsiteX1" fmla="*/ 17725 w 416863"/>
                  <a:gd name="connsiteY1" fmla="*/ 416863 h 416863"/>
                  <a:gd name="connsiteX2" fmla="*/ 0 w 416863"/>
                  <a:gd name="connsiteY2" fmla="*/ 399138 h 416863"/>
                  <a:gd name="connsiteX3" fmla="*/ 0 w 416863"/>
                  <a:gd name="connsiteY3" fmla="*/ 17725 h 416863"/>
                  <a:gd name="connsiteX4" fmla="*/ 17725 w 416863"/>
                  <a:gd name="connsiteY4" fmla="*/ 0 h 416863"/>
                  <a:gd name="connsiteX5" fmla="*/ 206791 w 416863"/>
                  <a:gd name="connsiteY5" fmla="*/ 0 h 416863"/>
                  <a:gd name="connsiteX6" fmla="*/ 224516 w 416863"/>
                  <a:gd name="connsiteY6" fmla="*/ 17725 h 416863"/>
                  <a:gd name="connsiteX7" fmla="*/ 206791 w 416863"/>
                  <a:gd name="connsiteY7" fmla="*/ 35450 h 416863"/>
                  <a:gd name="connsiteX8" fmla="*/ 34793 w 416863"/>
                  <a:gd name="connsiteY8" fmla="*/ 35450 h 416863"/>
                  <a:gd name="connsiteX9" fmla="*/ 34793 w 416863"/>
                  <a:gd name="connsiteY9" fmla="*/ 382070 h 416863"/>
                  <a:gd name="connsiteX10" fmla="*/ 381414 w 416863"/>
                  <a:gd name="connsiteY10" fmla="*/ 382070 h 416863"/>
                  <a:gd name="connsiteX11" fmla="*/ 381414 w 416863"/>
                  <a:gd name="connsiteY11" fmla="*/ 210073 h 416863"/>
                  <a:gd name="connsiteX12" fmla="*/ 399138 w 416863"/>
                  <a:gd name="connsiteY12" fmla="*/ 192348 h 416863"/>
                  <a:gd name="connsiteX13" fmla="*/ 416863 w 416863"/>
                  <a:gd name="connsiteY13" fmla="*/ 210073 h 416863"/>
                  <a:gd name="connsiteX14" fmla="*/ 416863 w 416863"/>
                  <a:gd name="connsiteY14" fmla="*/ 399138 h 416863"/>
                  <a:gd name="connsiteX15" fmla="*/ 399138 w 416863"/>
                  <a:gd name="connsiteY15" fmla="*/ 416863 h 416863"/>
                  <a:gd name="connsiteX16" fmla="*/ 399138 w 416863"/>
                  <a:gd name="connsiteY16" fmla="*/ 416863 h 416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16863" h="416863">
                    <a:moveTo>
                      <a:pt x="399138" y="416863"/>
                    </a:moveTo>
                    <a:lnTo>
                      <a:pt x="17725" y="416863"/>
                    </a:lnTo>
                    <a:cubicBezTo>
                      <a:pt x="7878" y="416863"/>
                      <a:pt x="0" y="408986"/>
                      <a:pt x="0" y="399138"/>
                    </a:cubicBezTo>
                    <a:lnTo>
                      <a:pt x="0" y="17725"/>
                    </a:lnTo>
                    <a:cubicBezTo>
                      <a:pt x="0" y="7878"/>
                      <a:pt x="7878" y="0"/>
                      <a:pt x="17725" y="0"/>
                    </a:cubicBezTo>
                    <a:lnTo>
                      <a:pt x="206791" y="0"/>
                    </a:lnTo>
                    <a:cubicBezTo>
                      <a:pt x="216638" y="0"/>
                      <a:pt x="224516" y="7878"/>
                      <a:pt x="224516" y="17725"/>
                    </a:cubicBezTo>
                    <a:cubicBezTo>
                      <a:pt x="224516" y="27572"/>
                      <a:pt x="216638" y="35450"/>
                      <a:pt x="206791" y="35450"/>
                    </a:cubicBezTo>
                    <a:lnTo>
                      <a:pt x="34793" y="35450"/>
                    </a:lnTo>
                    <a:lnTo>
                      <a:pt x="34793" y="382070"/>
                    </a:lnTo>
                    <a:lnTo>
                      <a:pt x="381414" y="382070"/>
                    </a:lnTo>
                    <a:lnTo>
                      <a:pt x="381414" y="210073"/>
                    </a:lnTo>
                    <a:cubicBezTo>
                      <a:pt x="381414" y="200226"/>
                      <a:pt x="389291" y="192348"/>
                      <a:pt x="399138" y="192348"/>
                    </a:cubicBezTo>
                    <a:cubicBezTo>
                      <a:pt x="408986" y="192348"/>
                      <a:pt x="416863" y="200226"/>
                      <a:pt x="416863" y="210073"/>
                    </a:cubicBezTo>
                    <a:lnTo>
                      <a:pt x="416863" y="399138"/>
                    </a:lnTo>
                    <a:cubicBezTo>
                      <a:pt x="416863" y="408986"/>
                      <a:pt x="408986" y="416863"/>
                      <a:pt x="399138" y="416863"/>
                    </a:cubicBezTo>
                    <a:lnTo>
                      <a:pt x="399138" y="416863"/>
                    </a:lnTo>
                    <a:close/>
                  </a:path>
                </a:pathLst>
              </a:custGeom>
              <a:grpFill/>
              <a:ln w="65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grpSp>
            <p:nvGrpSpPr>
              <p:cNvPr id="280" name="Gráfico 2">
                <a:extLst>
                  <a:ext uri="{FF2B5EF4-FFF2-40B4-BE49-F238E27FC236}">
                    <a16:creationId xmlns:a16="http://schemas.microsoft.com/office/drawing/2014/main" id="{4A08825F-1C42-4C63-A6FE-BBB3DD9D4FEB}"/>
                  </a:ext>
                </a:extLst>
              </p:cNvPr>
              <p:cNvGrpSpPr/>
              <p:nvPr/>
            </p:nvGrpSpPr>
            <p:grpSpPr>
              <a:xfrm>
                <a:off x="4493537" y="5677602"/>
                <a:ext cx="199240" cy="199240"/>
                <a:chOff x="4493537" y="5677602"/>
                <a:chExt cx="199240" cy="199240"/>
              </a:xfrm>
              <a:grpFill/>
            </p:grpSpPr>
            <p:sp>
              <p:nvSpPr>
                <p:cNvPr id="281" name="Forma Livre: Forma 280">
                  <a:extLst>
                    <a:ext uri="{FF2B5EF4-FFF2-40B4-BE49-F238E27FC236}">
                      <a16:creationId xmlns:a16="http://schemas.microsoft.com/office/drawing/2014/main" id="{ACC7350C-B3A0-4B48-A61D-1CEBDAD1A4B3}"/>
                    </a:ext>
                  </a:extLst>
                </p:cNvPr>
                <p:cNvSpPr/>
                <p:nvPr/>
              </p:nvSpPr>
              <p:spPr>
                <a:xfrm>
                  <a:off x="4493537" y="5737670"/>
                  <a:ext cx="139172" cy="139172"/>
                </a:xfrm>
                <a:custGeom>
                  <a:avLst/>
                  <a:gdLst>
                    <a:gd name="connsiteX0" fmla="*/ 121448 w 139172"/>
                    <a:gd name="connsiteY0" fmla="*/ 139173 h 139172"/>
                    <a:gd name="connsiteX1" fmla="*/ 121448 w 139172"/>
                    <a:gd name="connsiteY1" fmla="*/ 139173 h 139172"/>
                    <a:gd name="connsiteX2" fmla="*/ 17725 w 139172"/>
                    <a:gd name="connsiteY2" fmla="*/ 139173 h 139172"/>
                    <a:gd name="connsiteX3" fmla="*/ 0 w 139172"/>
                    <a:gd name="connsiteY3" fmla="*/ 121448 h 139172"/>
                    <a:gd name="connsiteX4" fmla="*/ 0 w 139172"/>
                    <a:gd name="connsiteY4" fmla="*/ 17725 h 139172"/>
                    <a:gd name="connsiteX5" fmla="*/ 17725 w 139172"/>
                    <a:gd name="connsiteY5" fmla="*/ 0 h 139172"/>
                    <a:gd name="connsiteX6" fmla="*/ 17725 w 139172"/>
                    <a:gd name="connsiteY6" fmla="*/ 0 h 139172"/>
                    <a:gd name="connsiteX7" fmla="*/ 35450 w 139172"/>
                    <a:gd name="connsiteY7" fmla="*/ 17725 h 139172"/>
                    <a:gd name="connsiteX8" fmla="*/ 35450 w 139172"/>
                    <a:gd name="connsiteY8" fmla="*/ 103723 h 139172"/>
                    <a:gd name="connsiteX9" fmla="*/ 121448 w 139172"/>
                    <a:gd name="connsiteY9" fmla="*/ 103723 h 139172"/>
                    <a:gd name="connsiteX10" fmla="*/ 139173 w 139172"/>
                    <a:gd name="connsiteY10" fmla="*/ 121448 h 139172"/>
                    <a:gd name="connsiteX11" fmla="*/ 121448 w 139172"/>
                    <a:gd name="connsiteY11" fmla="*/ 139173 h 139172"/>
                    <a:gd name="connsiteX12" fmla="*/ 121448 w 139172"/>
                    <a:gd name="connsiteY12" fmla="*/ 139173 h 1391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39172" h="139172">
                      <a:moveTo>
                        <a:pt x="121448" y="139173"/>
                      </a:moveTo>
                      <a:lnTo>
                        <a:pt x="121448" y="139173"/>
                      </a:lnTo>
                      <a:lnTo>
                        <a:pt x="17725" y="139173"/>
                      </a:lnTo>
                      <a:cubicBezTo>
                        <a:pt x="7877" y="139173"/>
                        <a:pt x="0" y="131296"/>
                        <a:pt x="0" y="121448"/>
                      </a:cubicBezTo>
                      <a:lnTo>
                        <a:pt x="0" y="17725"/>
                      </a:lnTo>
                      <a:cubicBezTo>
                        <a:pt x="0" y="7877"/>
                        <a:pt x="7877" y="0"/>
                        <a:pt x="17725" y="0"/>
                      </a:cubicBezTo>
                      <a:lnTo>
                        <a:pt x="17725" y="0"/>
                      </a:lnTo>
                      <a:cubicBezTo>
                        <a:pt x="27572" y="0"/>
                        <a:pt x="35450" y="7877"/>
                        <a:pt x="35450" y="17725"/>
                      </a:cubicBezTo>
                      <a:lnTo>
                        <a:pt x="35450" y="103723"/>
                      </a:lnTo>
                      <a:lnTo>
                        <a:pt x="121448" y="103723"/>
                      </a:lnTo>
                      <a:cubicBezTo>
                        <a:pt x="131296" y="103723"/>
                        <a:pt x="139173" y="111601"/>
                        <a:pt x="139173" y="121448"/>
                      </a:cubicBezTo>
                      <a:cubicBezTo>
                        <a:pt x="139173" y="131296"/>
                        <a:pt x="131296" y="139173"/>
                        <a:pt x="121448" y="139173"/>
                      </a:cubicBezTo>
                      <a:lnTo>
                        <a:pt x="121448" y="139173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282" name="Forma Livre: Forma 281">
                  <a:extLst>
                    <a:ext uri="{FF2B5EF4-FFF2-40B4-BE49-F238E27FC236}">
                      <a16:creationId xmlns:a16="http://schemas.microsoft.com/office/drawing/2014/main" id="{2A9BE2B0-EEAC-4432-BE0A-1570F9756A37}"/>
                    </a:ext>
                  </a:extLst>
                </p:cNvPr>
                <p:cNvSpPr/>
                <p:nvPr/>
              </p:nvSpPr>
              <p:spPr>
                <a:xfrm>
                  <a:off x="4508308" y="5677602"/>
                  <a:ext cx="184470" cy="184798"/>
                </a:xfrm>
                <a:custGeom>
                  <a:avLst/>
                  <a:gdLst>
                    <a:gd name="connsiteX0" fmla="*/ 17396 w 184470"/>
                    <a:gd name="connsiteY0" fmla="*/ 184799 h 184798"/>
                    <a:gd name="connsiteX1" fmla="*/ 4924 w 184470"/>
                    <a:gd name="connsiteY1" fmla="*/ 179547 h 184798"/>
                    <a:gd name="connsiteX2" fmla="*/ 4924 w 184470"/>
                    <a:gd name="connsiteY2" fmla="*/ 154600 h 184798"/>
                    <a:gd name="connsiteX3" fmla="*/ 154600 w 184470"/>
                    <a:gd name="connsiteY3" fmla="*/ 4924 h 184798"/>
                    <a:gd name="connsiteX4" fmla="*/ 179547 w 184470"/>
                    <a:gd name="connsiteY4" fmla="*/ 4924 h 184798"/>
                    <a:gd name="connsiteX5" fmla="*/ 179547 w 184470"/>
                    <a:gd name="connsiteY5" fmla="*/ 29870 h 184798"/>
                    <a:gd name="connsiteX6" fmla="*/ 29870 w 184470"/>
                    <a:gd name="connsiteY6" fmla="*/ 179547 h 184798"/>
                    <a:gd name="connsiteX7" fmla="*/ 17396 w 184470"/>
                    <a:gd name="connsiteY7" fmla="*/ 184799 h 184798"/>
                    <a:gd name="connsiteX8" fmla="*/ 17396 w 184470"/>
                    <a:gd name="connsiteY8" fmla="*/ 184799 h 184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84470" h="184798">
                      <a:moveTo>
                        <a:pt x="17396" y="184799"/>
                      </a:moveTo>
                      <a:cubicBezTo>
                        <a:pt x="12801" y="184799"/>
                        <a:pt x="8206" y="182829"/>
                        <a:pt x="4924" y="179547"/>
                      </a:cubicBezTo>
                      <a:cubicBezTo>
                        <a:pt x="-1641" y="172982"/>
                        <a:pt x="-1641" y="161822"/>
                        <a:pt x="4924" y="154600"/>
                      </a:cubicBezTo>
                      <a:lnTo>
                        <a:pt x="154600" y="4924"/>
                      </a:lnTo>
                      <a:cubicBezTo>
                        <a:pt x="161165" y="-1641"/>
                        <a:pt x="172325" y="-1641"/>
                        <a:pt x="179547" y="4924"/>
                      </a:cubicBezTo>
                      <a:cubicBezTo>
                        <a:pt x="186111" y="11488"/>
                        <a:pt x="186111" y="22649"/>
                        <a:pt x="179547" y="29870"/>
                      </a:cubicBezTo>
                      <a:lnTo>
                        <a:pt x="29870" y="179547"/>
                      </a:lnTo>
                      <a:cubicBezTo>
                        <a:pt x="26587" y="183486"/>
                        <a:pt x="21992" y="184799"/>
                        <a:pt x="17396" y="184799"/>
                      </a:cubicBezTo>
                      <a:lnTo>
                        <a:pt x="17396" y="184799"/>
                      </a:lnTo>
                      <a:close/>
                    </a:path>
                  </a:pathLst>
                </a:custGeom>
                <a:grpFill/>
                <a:ln w="65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196455587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7433072" y="1548160"/>
            <a:ext cx="364017" cy="394887"/>
            <a:chOff x="7433072" y="1548160"/>
            <a:chExt cx="364017" cy="394887"/>
          </a:xfrm>
          <a:solidFill>
            <a:srgbClr val="B1B1A1"/>
          </a:solidFill>
        </p:grpSpPr>
        <p:sp>
          <p:nvSpPr>
            <p:cNvPr id="6" name="Forma Livre: Forma 5">
              <a:extLst>
                <a:ext uri="{FF2B5EF4-FFF2-40B4-BE49-F238E27FC236}">
                  <a16:creationId xmlns:a16="http://schemas.microsoft.com/office/drawing/2014/main" id="{54801219-A451-4893-B5D1-6EAB012016E1}"/>
                </a:ext>
              </a:extLst>
            </p:cNvPr>
            <p:cNvSpPr/>
            <p:nvPr/>
          </p:nvSpPr>
          <p:spPr>
            <a:xfrm>
              <a:off x="7433072" y="1548160"/>
              <a:ext cx="32749" cy="394887"/>
            </a:xfrm>
            <a:custGeom>
              <a:avLst/>
              <a:gdLst>
                <a:gd name="connsiteX0" fmla="*/ 16375 w 32749"/>
                <a:gd name="connsiteY0" fmla="*/ 394887 h 394887"/>
                <a:gd name="connsiteX1" fmla="*/ 0 w 32749"/>
                <a:gd name="connsiteY1" fmla="*/ 378512 h 394887"/>
                <a:gd name="connsiteX2" fmla="*/ 0 w 32749"/>
                <a:gd name="connsiteY2" fmla="*/ 16375 h 394887"/>
                <a:gd name="connsiteX3" fmla="*/ 16375 w 32749"/>
                <a:gd name="connsiteY3" fmla="*/ 0 h 394887"/>
                <a:gd name="connsiteX4" fmla="*/ 32750 w 32749"/>
                <a:gd name="connsiteY4" fmla="*/ 16375 h 394887"/>
                <a:gd name="connsiteX5" fmla="*/ 32750 w 32749"/>
                <a:gd name="connsiteY5" fmla="*/ 377882 h 394887"/>
                <a:gd name="connsiteX6" fmla="*/ 16375 w 32749"/>
                <a:gd name="connsiteY6" fmla="*/ 394887 h 394887"/>
                <a:gd name="connsiteX7" fmla="*/ 16375 w 32749"/>
                <a:gd name="connsiteY7" fmla="*/ 394887 h 39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749" h="394887">
                  <a:moveTo>
                    <a:pt x="16375" y="394887"/>
                  </a:moveTo>
                  <a:cubicBezTo>
                    <a:pt x="6928" y="394887"/>
                    <a:pt x="0" y="387329"/>
                    <a:pt x="0" y="378512"/>
                  </a:cubicBezTo>
                  <a:lnTo>
                    <a:pt x="0" y="16375"/>
                  </a:lnTo>
                  <a:cubicBezTo>
                    <a:pt x="0" y="6928"/>
                    <a:pt x="7558" y="0"/>
                    <a:pt x="16375" y="0"/>
                  </a:cubicBezTo>
                  <a:cubicBezTo>
                    <a:pt x="25822" y="0"/>
                    <a:pt x="32750" y="7558"/>
                    <a:pt x="32750" y="16375"/>
                  </a:cubicBezTo>
                  <a:lnTo>
                    <a:pt x="32750" y="377882"/>
                  </a:lnTo>
                  <a:cubicBezTo>
                    <a:pt x="32750" y="387329"/>
                    <a:pt x="25192" y="394887"/>
                    <a:pt x="16375" y="394887"/>
                  </a:cubicBezTo>
                  <a:lnTo>
                    <a:pt x="16375" y="394887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7" name="Forma Livre: Forma 6">
              <a:extLst>
                <a:ext uri="{FF2B5EF4-FFF2-40B4-BE49-F238E27FC236}">
                  <a16:creationId xmlns:a16="http://schemas.microsoft.com/office/drawing/2014/main" id="{AE5B0CFA-3702-43C4-A46E-5E3E8852D134}"/>
                </a:ext>
              </a:extLst>
            </p:cNvPr>
            <p:cNvSpPr/>
            <p:nvPr/>
          </p:nvSpPr>
          <p:spPr>
            <a:xfrm>
              <a:off x="7434962" y="1550049"/>
              <a:ext cx="362128" cy="338204"/>
            </a:xfrm>
            <a:custGeom>
              <a:avLst/>
              <a:gdLst>
                <a:gd name="connsiteX0" fmla="*/ 277744 w 362128"/>
                <a:gd name="connsiteY0" fmla="*/ 338205 h 338204"/>
                <a:gd name="connsiteX1" fmla="*/ 175086 w 362128"/>
                <a:gd name="connsiteY1" fmla="*/ 306714 h 338204"/>
                <a:gd name="connsiteX2" fmla="*/ 85024 w 362128"/>
                <a:gd name="connsiteY2" fmla="*/ 277744 h 338204"/>
                <a:gd name="connsiteX3" fmla="*/ 23933 w 362128"/>
                <a:gd name="connsiteY3" fmla="*/ 304195 h 338204"/>
                <a:gd name="connsiteX4" fmla="*/ 8817 w 362128"/>
                <a:gd name="connsiteY4" fmla="*/ 306714 h 338204"/>
                <a:gd name="connsiteX5" fmla="*/ 0 w 362128"/>
                <a:gd name="connsiteY5" fmla="*/ 293489 h 338204"/>
                <a:gd name="connsiteX6" fmla="*/ 0 w 362128"/>
                <a:gd name="connsiteY6" fmla="*/ 44086 h 338204"/>
                <a:gd name="connsiteX7" fmla="*/ 4409 w 362128"/>
                <a:gd name="connsiteY7" fmla="*/ 34009 h 338204"/>
                <a:gd name="connsiteX8" fmla="*/ 84394 w 362128"/>
                <a:gd name="connsiteY8" fmla="*/ 0 h 338204"/>
                <a:gd name="connsiteX9" fmla="*/ 187052 w 362128"/>
                <a:gd name="connsiteY9" fmla="*/ 31490 h 338204"/>
                <a:gd name="connsiteX10" fmla="*/ 277114 w 362128"/>
                <a:gd name="connsiteY10" fmla="*/ 60461 h 338204"/>
                <a:gd name="connsiteX11" fmla="*/ 338205 w 362128"/>
                <a:gd name="connsiteY11" fmla="*/ 34009 h 338204"/>
                <a:gd name="connsiteX12" fmla="*/ 355210 w 362128"/>
                <a:gd name="connsiteY12" fmla="*/ 32120 h 338204"/>
                <a:gd name="connsiteX13" fmla="*/ 361508 w 362128"/>
                <a:gd name="connsiteY13" fmla="*/ 47865 h 338204"/>
                <a:gd name="connsiteX14" fmla="*/ 313013 w 362128"/>
                <a:gd name="connsiteY14" fmla="*/ 196499 h 338204"/>
                <a:gd name="connsiteX15" fmla="*/ 359618 w 362128"/>
                <a:gd name="connsiteY15" fmla="*/ 285931 h 338204"/>
                <a:gd name="connsiteX16" fmla="*/ 357729 w 362128"/>
                <a:gd name="connsiteY16" fmla="*/ 304195 h 338204"/>
                <a:gd name="connsiteX17" fmla="*/ 277744 w 362128"/>
                <a:gd name="connsiteY17" fmla="*/ 338205 h 338204"/>
                <a:gd name="connsiteX18" fmla="*/ 277744 w 362128"/>
                <a:gd name="connsiteY18" fmla="*/ 338205 h 338204"/>
                <a:gd name="connsiteX19" fmla="*/ 85024 w 362128"/>
                <a:gd name="connsiteY19" fmla="*/ 249402 h 338204"/>
                <a:gd name="connsiteX20" fmla="*/ 187682 w 362128"/>
                <a:gd name="connsiteY20" fmla="*/ 280893 h 338204"/>
                <a:gd name="connsiteX21" fmla="*/ 277744 w 362128"/>
                <a:gd name="connsiteY21" fmla="*/ 309863 h 338204"/>
                <a:gd name="connsiteX22" fmla="*/ 330017 w 362128"/>
                <a:gd name="connsiteY22" fmla="*/ 290969 h 338204"/>
                <a:gd name="connsiteX23" fmla="*/ 285301 w 362128"/>
                <a:gd name="connsiteY23" fmla="*/ 202797 h 338204"/>
                <a:gd name="connsiteX24" fmla="*/ 284672 w 362128"/>
                <a:gd name="connsiteY24" fmla="*/ 192090 h 338204"/>
                <a:gd name="connsiteX25" fmla="*/ 323090 w 362128"/>
                <a:gd name="connsiteY25" fmla="*/ 78725 h 338204"/>
                <a:gd name="connsiteX26" fmla="*/ 277744 w 362128"/>
                <a:gd name="connsiteY26" fmla="*/ 88802 h 338204"/>
                <a:gd name="connsiteX27" fmla="*/ 175086 w 362128"/>
                <a:gd name="connsiteY27" fmla="*/ 57312 h 338204"/>
                <a:gd name="connsiteX28" fmla="*/ 85024 w 362128"/>
                <a:gd name="connsiteY28" fmla="*/ 28341 h 338204"/>
                <a:gd name="connsiteX29" fmla="*/ 28341 w 362128"/>
                <a:gd name="connsiteY29" fmla="*/ 51014 h 338204"/>
                <a:gd name="connsiteX30" fmla="*/ 28341 w 362128"/>
                <a:gd name="connsiteY30" fmla="*/ 265777 h 338204"/>
                <a:gd name="connsiteX31" fmla="*/ 85024 w 362128"/>
                <a:gd name="connsiteY31" fmla="*/ 249402 h 338204"/>
                <a:gd name="connsiteX32" fmla="*/ 85024 w 362128"/>
                <a:gd name="connsiteY32" fmla="*/ 249402 h 338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62128" h="338204">
                  <a:moveTo>
                    <a:pt x="277744" y="338205"/>
                  </a:moveTo>
                  <a:cubicBezTo>
                    <a:pt x="242474" y="338205"/>
                    <a:pt x="208465" y="321830"/>
                    <a:pt x="175086" y="306714"/>
                  </a:cubicBezTo>
                  <a:cubicBezTo>
                    <a:pt x="143596" y="291599"/>
                    <a:pt x="113995" y="277744"/>
                    <a:pt x="85024" y="277744"/>
                  </a:cubicBezTo>
                  <a:cubicBezTo>
                    <a:pt x="62351" y="277744"/>
                    <a:pt x="43457" y="285931"/>
                    <a:pt x="23933" y="304195"/>
                  </a:cubicBezTo>
                  <a:cubicBezTo>
                    <a:pt x="19524" y="307974"/>
                    <a:pt x="13856" y="309234"/>
                    <a:pt x="8817" y="306714"/>
                  </a:cubicBezTo>
                  <a:cubicBezTo>
                    <a:pt x="3779" y="304195"/>
                    <a:pt x="0" y="299157"/>
                    <a:pt x="0" y="293489"/>
                  </a:cubicBezTo>
                  <a:lnTo>
                    <a:pt x="0" y="44086"/>
                  </a:lnTo>
                  <a:cubicBezTo>
                    <a:pt x="0" y="40308"/>
                    <a:pt x="1890" y="36529"/>
                    <a:pt x="4409" y="34009"/>
                  </a:cubicBezTo>
                  <a:cubicBezTo>
                    <a:pt x="28971" y="11336"/>
                    <a:pt x="54793" y="0"/>
                    <a:pt x="84394" y="0"/>
                  </a:cubicBezTo>
                  <a:cubicBezTo>
                    <a:pt x="119663" y="0"/>
                    <a:pt x="153672" y="16375"/>
                    <a:pt x="187052" y="31490"/>
                  </a:cubicBezTo>
                  <a:cubicBezTo>
                    <a:pt x="218542" y="46606"/>
                    <a:pt x="248143" y="60461"/>
                    <a:pt x="277114" y="60461"/>
                  </a:cubicBezTo>
                  <a:cubicBezTo>
                    <a:pt x="299786" y="60461"/>
                    <a:pt x="318681" y="52274"/>
                    <a:pt x="338205" y="34009"/>
                  </a:cubicBezTo>
                  <a:cubicBezTo>
                    <a:pt x="342613" y="29601"/>
                    <a:pt x="349541" y="28971"/>
                    <a:pt x="355210" y="32120"/>
                  </a:cubicBezTo>
                  <a:cubicBezTo>
                    <a:pt x="360878" y="35269"/>
                    <a:pt x="363397" y="42197"/>
                    <a:pt x="361508" y="47865"/>
                  </a:cubicBezTo>
                  <a:cubicBezTo>
                    <a:pt x="346392" y="100769"/>
                    <a:pt x="330017" y="149263"/>
                    <a:pt x="313013" y="196499"/>
                  </a:cubicBezTo>
                  <a:cubicBezTo>
                    <a:pt x="329388" y="233657"/>
                    <a:pt x="345133" y="263258"/>
                    <a:pt x="359618" y="285931"/>
                  </a:cubicBezTo>
                  <a:cubicBezTo>
                    <a:pt x="363397" y="291599"/>
                    <a:pt x="362137" y="299157"/>
                    <a:pt x="357729" y="304195"/>
                  </a:cubicBezTo>
                  <a:cubicBezTo>
                    <a:pt x="333166" y="326868"/>
                    <a:pt x="307345" y="338205"/>
                    <a:pt x="277744" y="338205"/>
                  </a:cubicBezTo>
                  <a:lnTo>
                    <a:pt x="277744" y="338205"/>
                  </a:lnTo>
                  <a:close/>
                  <a:moveTo>
                    <a:pt x="85024" y="249402"/>
                  </a:moveTo>
                  <a:cubicBezTo>
                    <a:pt x="120293" y="249402"/>
                    <a:pt x="154302" y="265777"/>
                    <a:pt x="187682" y="280893"/>
                  </a:cubicBezTo>
                  <a:cubicBezTo>
                    <a:pt x="219172" y="296008"/>
                    <a:pt x="248773" y="309863"/>
                    <a:pt x="277744" y="309863"/>
                  </a:cubicBezTo>
                  <a:cubicBezTo>
                    <a:pt x="296637" y="309863"/>
                    <a:pt x="313643" y="303565"/>
                    <a:pt x="330017" y="290969"/>
                  </a:cubicBezTo>
                  <a:cubicBezTo>
                    <a:pt x="315532" y="267667"/>
                    <a:pt x="301047" y="238696"/>
                    <a:pt x="285301" y="202797"/>
                  </a:cubicBezTo>
                  <a:cubicBezTo>
                    <a:pt x="284041" y="199648"/>
                    <a:pt x="283412" y="195869"/>
                    <a:pt x="284672" y="192090"/>
                  </a:cubicBezTo>
                  <a:cubicBezTo>
                    <a:pt x="297898" y="155562"/>
                    <a:pt x="310494" y="118403"/>
                    <a:pt x="323090" y="78725"/>
                  </a:cubicBezTo>
                  <a:cubicBezTo>
                    <a:pt x="308604" y="85653"/>
                    <a:pt x="293488" y="88802"/>
                    <a:pt x="277744" y="88802"/>
                  </a:cubicBezTo>
                  <a:cubicBezTo>
                    <a:pt x="242474" y="88802"/>
                    <a:pt x="208465" y="72427"/>
                    <a:pt x="175086" y="57312"/>
                  </a:cubicBezTo>
                  <a:cubicBezTo>
                    <a:pt x="143596" y="42197"/>
                    <a:pt x="113995" y="28341"/>
                    <a:pt x="85024" y="28341"/>
                  </a:cubicBezTo>
                  <a:cubicBezTo>
                    <a:pt x="64870" y="28341"/>
                    <a:pt x="45976" y="35899"/>
                    <a:pt x="28341" y="51014"/>
                  </a:cubicBezTo>
                  <a:lnTo>
                    <a:pt x="28341" y="265777"/>
                  </a:lnTo>
                  <a:cubicBezTo>
                    <a:pt x="45976" y="254441"/>
                    <a:pt x="64870" y="249402"/>
                    <a:pt x="85024" y="249402"/>
                  </a:cubicBezTo>
                  <a:lnTo>
                    <a:pt x="85024" y="249402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sp>
        <p:nvSpPr>
          <p:cNvPr id="8" name="Forma Livre: Forma 7">
            <a:extLst>
              <a:ext uri="{FF2B5EF4-FFF2-40B4-BE49-F238E27FC236}">
                <a16:creationId xmlns:a16="http://schemas.microsoft.com/office/drawing/2014/main" id="{6AC3316E-FA4D-4144-BD51-514B8A1238C8}"/>
              </a:ext>
            </a:extLst>
          </p:cNvPr>
          <p:cNvSpPr/>
          <p:nvPr/>
        </p:nvSpPr>
        <p:spPr>
          <a:xfrm>
            <a:off x="6380050" y="512763"/>
            <a:ext cx="421664" cy="402602"/>
          </a:xfrm>
          <a:custGeom>
            <a:avLst/>
            <a:gdLst>
              <a:gd name="connsiteX0" fmla="*/ 331267 w 421664"/>
              <a:gd name="connsiteY0" fmla="*/ 402445 h 402602"/>
              <a:gd name="connsiteX1" fmla="*/ 321190 w 421664"/>
              <a:gd name="connsiteY1" fmla="*/ 399296 h 402602"/>
              <a:gd name="connsiteX2" fmla="*/ 210975 w 421664"/>
              <a:gd name="connsiteY2" fmla="*/ 319311 h 402602"/>
              <a:gd name="connsiteX3" fmla="*/ 100759 w 421664"/>
              <a:gd name="connsiteY3" fmla="*/ 399296 h 402602"/>
              <a:gd name="connsiteX4" fmla="*/ 81235 w 421664"/>
              <a:gd name="connsiteY4" fmla="*/ 399296 h 402602"/>
              <a:gd name="connsiteX5" fmla="*/ 74937 w 421664"/>
              <a:gd name="connsiteY5" fmla="*/ 380402 h 402602"/>
              <a:gd name="connsiteX6" fmla="*/ 117134 w 421664"/>
              <a:gd name="connsiteY6" fmla="*/ 250662 h 402602"/>
              <a:gd name="connsiteX7" fmla="*/ 6918 w 421664"/>
              <a:gd name="connsiteY7" fmla="*/ 170677 h 402602"/>
              <a:gd name="connsiteX8" fmla="*/ 620 w 421664"/>
              <a:gd name="connsiteY8" fmla="*/ 151783 h 402602"/>
              <a:gd name="connsiteX9" fmla="*/ 16365 w 421664"/>
              <a:gd name="connsiteY9" fmla="*/ 140446 h 402602"/>
              <a:gd name="connsiteX10" fmla="*/ 152403 w 421664"/>
              <a:gd name="connsiteY10" fmla="*/ 140446 h 402602"/>
              <a:gd name="connsiteX11" fmla="*/ 194600 w 421664"/>
              <a:gd name="connsiteY11" fmla="*/ 10707 h 402602"/>
              <a:gd name="connsiteX12" fmla="*/ 210975 w 421664"/>
              <a:gd name="connsiteY12" fmla="*/ 0 h 402602"/>
              <a:gd name="connsiteX13" fmla="*/ 226720 w 421664"/>
              <a:gd name="connsiteY13" fmla="*/ 11336 h 402602"/>
              <a:gd name="connsiteX14" fmla="*/ 268917 w 421664"/>
              <a:gd name="connsiteY14" fmla="*/ 141076 h 402602"/>
              <a:gd name="connsiteX15" fmla="*/ 404954 w 421664"/>
              <a:gd name="connsiteY15" fmla="*/ 141076 h 402602"/>
              <a:gd name="connsiteX16" fmla="*/ 420700 w 421664"/>
              <a:gd name="connsiteY16" fmla="*/ 152413 h 402602"/>
              <a:gd name="connsiteX17" fmla="*/ 414402 w 421664"/>
              <a:gd name="connsiteY17" fmla="*/ 171307 h 402602"/>
              <a:gd name="connsiteX18" fmla="*/ 304815 w 421664"/>
              <a:gd name="connsiteY18" fmla="*/ 251292 h 402602"/>
              <a:gd name="connsiteX19" fmla="*/ 347012 w 421664"/>
              <a:gd name="connsiteY19" fmla="*/ 381031 h 402602"/>
              <a:gd name="connsiteX20" fmla="*/ 340714 w 421664"/>
              <a:gd name="connsiteY20" fmla="*/ 399925 h 402602"/>
              <a:gd name="connsiteX21" fmla="*/ 331267 w 421664"/>
              <a:gd name="connsiteY21" fmla="*/ 402445 h 402602"/>
              <a:gd name="connsiteX22" fmla="*/ 331267 w 421664"/>
              <a:gd name="connsiteY22" fmla="*/ 402445 h 402602"/>
              <a:gd name="connsiteX23" fmla="*/ 210975 w 421664"/>
              <a:gd name="connsiteY23" fmla="*/ 282152 h 402602"/>
              <a:gd name="connsiteX24" fmla="*/ 221052 w 421664"/>
              <a:gd name="connsiteY24" fmla="*/ 285301 h 402602"/>
              <a:gd name="connsiteX25" fmla="*/ 299777 w 421664"/>
              <a:gd name="connsiteY25" fmla="*/ 341983 h 402602"/>
              <a:gd name="connsiteX26" fmla="*/ 269547 w 421664"/>
              <a:gd name="connsiteY26" fmla="*/ 250032 h 402602"/>
              <a:gd name="connsiteX27" fmla="*/ 275845 w 421664"/>
              <a:gd name="connsiteY27" fmla="*/ 231138 h 402602"/>
              <a:gd name="connsiteX28" fmla="*/ 354570 w 421664"/>
              <a:gd name="connsiteY28" fmla="*/ 174456 h 402602"/>
              <a:gd name="connsiteX29" fmla="*/ 257580 w 421664"/>
              <a:gd name="connsiteY29" fmla="*/ 174456 h 402602"/>
              <a:gd name="connsiteX30" fmla="*/ 241835 w 421664"/>
              <a:gd name="connsiteY30" fmla="*/ 163119 h 402602"/>
              <a:gd name="connsiteX31" fmla="*/ 211605 w 421664"/>
              <a:gd name="connsiteY31" fmla="*/ 71168 h 402602"/>
              <a:gd name="connsiteX32" fmla="*/ 181374 w 421664"/>
              <a:gd name="connsiteY32" fmla="*/ 163119 h 402602"/>
              <a:gd name="connsiteX33" fmla="*/ 165629 w 421664"/>
              <a:gd name="connsiteY33" fmla="*/ 174456 h 402602"/>
              <a:gd name="connsiteX34" fmla="*/ 68639 w 421664"/>
              <a:gd name="connsiteY34" fmla="*/ 174456 h 402602"/>
              <a:gd name="connsiteX35" fmla="*/ 147365 w 421664"/>
              <a:gd name="connsiteY35" fmla="*/ 231138 h 402602"/>
              <a:gd name="connsiteX36" fmla="*/ 153663 w 421664"/>
              <a:gd name="connsiteY36" fmla="*/ 250032 h 402602"/>
              <a:gd name="connsiteX37" fmla="*/ 123432 w 421664"/>
              <a:gd name="connsiteY37" fmla="*/ 341983 h 402602"/>
              <a:gd name="connsiteX38" fmla="*/ 202158 w 421664"/>
              <a:gd name="connsiteY38" fmla="*/ 285301 h 402602"/>
              <a:gd name="connsiteX39" fmla="*/ 210975 w 421664"/>
              <a:gd name="connsiteY39" fmla="*/ 282152 h 402602"/>
              <a:gd name="connsiteX40" fmla="*/ 210975 w 421664"/>
              <a:gd name="connsiteY40" fmla="*/ 282152 h 402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21664" h="402602">
                <a:moveTo>
                  <a:pt x="331267" y="402445"/>
                </a:moveTo>
                <a:cubicBezTo>
                  <a:pt x="328118" y="402445"/>
                  <a:pt x="324339" y="401185"/>
                  <a:pt x="321190" y="399296"/>
                </a:cubicBezTo>
                <a:lnTo>
                  <a:pt x="210975" y="319311"/>
                </a:lnTo>
                <a:lnTo>
                  <a:pt x="100759" y="399296"/>
                </a:lnTo>
                <a:cubicBezTo>
                  <a:pt x="95091" y="403704"/>
                  <a:pt x="86904" y="403704"/>
                  <a:pt x="81235" y="399296"/>
                </a:cubicBezTo>
                <a:cubicBezTo>
                  <a:pt x="75567" y="394887"/>
                  <a:pt x="73048" y="387329"/>
                  <a:pt x="74937" y="380402"/>
                </a:cubicBezTo>
                <a:lnTo>
                  <a:pt x="117134" y="250662"/>
                </a:lnTo>
                <a:lnTo>
                  <a:pt x="6918" y="170677"/>
                </a:lnTo>
                <a:cubicBezTo>
                  <a:pt x="1250" y="166268"/>
                  <a:pt x="-1269" y="158711"/>
                  <a:pt x="620" y="151783"/>
                </a:cubicBezTo>
                <a:cubicBezTo>
                  <a:pt x="3139" y="144855"/>
                  <a:pt x="9437" y="140446"/>
                  <a:pt x="16365" y="140446"/>
                </a:cubicBezTo>
                <a:lnTo>
                  <a:pt x="152403" y="140446"/>
                </a:lnTo>
                <a:lnTo>
                  <a:pt x="194600" y="10707"/>
                </a:lnTo>
                <a:cubicBezTo>
                  <a:pt x="197749" y="4409"/>
                  <a:pt x="204047" y="0"/>
                  <a:pt x="210975" y="0"/>
                </a:cubicBezTo>
                <a:cubicBezTo>
                  <a:pt x="217903" y="0"/>
                  <a:pt x="224830" y="4409"/>
                  <a:pt x="226720" y="11336"/>
                </a:cubicBezTo>
                <a:lnTo>
                  <a:pt x="268917" y="141076"/>
                </a:lnTo>
                <a:lnTo>
                  <a:pt x="404954" y="141076"/>
                </a:lnTo>
                <a:cubicBezTo>
                  <a:pt x="411882" y="141076"/>
                  <a:pt x="418810" y="145485"/>
                  <a:pt x="420700" y="152413"/>
                </a:cubicBezTo>
                <a:cubicBezTo>
                  <a:pt x="423219" y="159340"/>
                  <a:pt x="420700" y="166898"/>
                  <a:pt x="414402" y="171307"/>
                </a:cubicBezTo>
                <a:lnTo>
                  <a:pt x="304815" y="251292"/>
                </a:lnTo>
                <a:lnTo>
                  <a:pt x="347012" y="381031"/>
                </a:lnTo>
                <a:cubicBezTo>
                  <a:pt x="349531" y="387959"/>
                  <a:pt x="347012" y="395517"/>
                  <a:pt x="340714" y="399925"/>
                </a:cubicBezTo>
                <a:cubicBezTo>
                  <a:pt x="338195" y="401815"/>
                  <a:pt x="334416" y="402445"/>
                  <a:pt x="331267" y="402445"/>
                </a:cubicBezTo>
                <a:lnTo>
                  <a:pt x="331267" y="402445"/>
                </a:lnTo>
                <a:close/>
                <a:moveTo>
                  <a:pt x="210975" y="282152"/>
                </a:moveTo>
                <a:cubicBezTo>
                  <a:pt x="214124" y="282152"/>
                  <a:pt x="217903" y="283412"/>
                  <a:pt x="221052" y="285301"/>
                </a:cubicBezTo>
                <a:lnTo>
                  <a:pt x="299777" y="341983"/>
                </a:lnTo>
                <a:lnTo>
                  <a:pt x="269547" y="250032"/>
                </a:lnTo>
                <a:cubicBezTo>
                  <a:pt x="267027" y="243104"/>
                  <a:pt x="269547" y="235547"/>
                  <a:pt x="275845" y="231138"/>
                </a:cubicBezTo>
                <a:lnTo>
                  <a:pt x="354570" y="174456"/>
                </a:lnTo>
                <a:lnTo>
                  <a:pt x="257580" y="174456"/>
                </a:lnTo>
                <a:cubicBezTo>
                  <a:pt x="250653" y="174456"/>
                  <a:pt x="243724" y="170047"/>
                  <a:pt x="241835" y="163119"/>
                </a:cubicBezTo>
                <a:lnTo>
                  <a:pt x="211605" y="71168"/>
                </a:lnTo>
                <a:lnTo>
                  <a:pt x="181374" y="163119"/>
                </a:lnTo>
                <a:cubicBezTo>
                  <a:pt x="178855" y="170047"/>
                  <a:pt x="172557" y="174456"/>
                  <a:pt x="165629" y="174456"/>
                </a:cubicBezTo>
                <a:lnTo>
                  <a:pt x="68639" y="174456"/>
                </a:lnTo>
                <a:lnTo>
                  <a:pt x="147365" y="231138"/>
                </a:lnTo>
                <a:cubicBezTo>
                  <a:pt x="153033" y="235547"/>
                  <a:pt x="155552" y="243104"/>
                  <a:pt x="153663" y="250032"/>
                </a:cubicBezTo>
                <a:lnTo>
                  <a:pt x="123432" y="341983"/>
                </a:lnTo>
                <a:lnTo>
                  <a:pt x="202158" y="285301"/>
                </a:lnTo>
                <a:cubicBezTo>
                  <a:pt x="204047" y="283412"/>
                  <a:pt x="207826" y="282152"/>
                  <a:pt x="210975" y="282152"/>
                </a:cubicBezTo>
                <a:lnTo>
                  <a:pt x="210975" y="282152"/>
                </a:lnTo>
                <a:close/>
              </a:path>
            </a:pathLst>
          </a:custGeom>
          <a:solidFill>
            <a:srgbClr val="B1B1A1"/>
          </a:solidFill>
          <a:ln w="6294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grpSp>
        <p:nvGrpSpPr>
          <p:cNvPr id="9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4341995" y="1546900"/>
            <a:ext cx="396776" cy="396776"/>
            <a:chOff x="4341995" y="1546900"/>
            <a:chExt cx="396776" cy="396776"/>
          </a:xfrm>
          <a:solidFill>
            <a:srgbClr val="B1B1A1"/>
          </a:solidFill>
        </p:grpSpPr>
        <p:sp>
          <p:nvSpPr>
            <p:cNvPr id="10" name="Forma Livre: Forma 9">
              <a:extLst>
                <a:ext uri="{FF2B5EF4-FFF2-40B4-BE49-F238E27FC236}">
                  <a16:creationId xmlns:a16="http://schemas.microsoft.com/office/drawing/2014/main" id="{2B116B50-A254-4BC8-910E-3DEB632FE0D6}"/>
                </a:ext>
              </a:extLst>
            </p:cNvPr>
            <p:cNvSpPr/>
            <p:nvPr/>
          </p:nvSpPr>
          <p:spPr>
            <a:xfrm>
              <a:off x="4341995" y="1546900"/>
              <a:ext cx="396776" cy="396776"/>
            </a:xfrm>
            <a:custGeom>
              <a:avLst/>
              <a:gdLst>
                <a:gd name="connsiteX0" fmla="*/ 198388 w 396776"/>
                <a:gd name="connsiteY0" fmla="*/ 396776 h 396776"/>
                <a:gd name="connsiteX1" fmla="*/ 0 w 396776"/>
                <a:gd name="connsiteY1" fmla="*/ 198388 h 396776"/>
                <a:gd name="connsiteX2" fmla="*/ 198388 w 396776"/>
                <a:gd name="connsiteY2" fmla="*/ 0 h 396776"/>
                <a:gd name="connsiteX3" fmla="*/ 396776 w 396776"/>
                <a:gd name="connsiteY3" fmla="*/ 198388 h 396776"/>
                <a:gd name="connsiteX4" fmla="*/ 198388 w 396776"/>
                <a:gd name="connsiteY4" fmla="*/ 396776 h 396776"/>
                <a:gd name="connsiteX5" fmla="*/ 198388 w 396776"/>
                <a:gd name="connsiteY5" fmla="*/ 396776 h 396776"/>
                <a:gd name="connsiteX6" fmla="*/ 198388 w 396776"/>
                <a:gd name="connsiteY6" fmla="*/ 33380 h 396776"/>
                <a:gd name="connsiteX7" fmla="*/ 33380 w 396776"/>
                <a:gd name="connsiteY7" fmla="*/ 198388 h 396776"/>
                <a:gd name="connsiteX8" fmla="*/ 198388 w 396776"/>
                <a:gd name="connsiteY8" fmla="*/ 363397 h 396776"/>
                <a:gd name="connsiteX9" fmla="*/ 363397 w 396776"/>
                <a:gd name="connsiteY9" fmla="*/ 198388 h 396776"/>
                <a:gd name="connsiteX10" fmla="*/ 198388 w 396776"/>
                <a:gd name="connsiteY10" fmla="*/ 33380 h 396776"/>
                <a:gd name="connsiteX11" fmla="*/ 198388 w 396776"/>
                <a:gd name="connsiteY11" fmla="*/ 33380 h 396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96776" h="396776">
                  <a:moveTo>
                    <a:pt x="198388" y="396776"/>
                  </a:moveTo>
                  <a:cubicBezTo>
                    <a:pt x="88802" y="396776"/>
                    <a:pt x="0" y="307974"/>
                    <a:pt x="0" y="198388"/>
                  </a:cubicBezTo>
                  <a:cubicBezTo>
                    <a:pt x="0" y="89432"/>
                    <a:pt x="88802" y="0"/>
                    <a:pt x="198388" y="0"/>
                  </a:cubicBezTo>
                  <a:cubicBezTo>
                    <a:pt x="307974" y="0"/>
                    <a:pt x="396776" y="88802"/>
                    <a:pt x="396776" y="198388"/>
                  </a:cubicBezTo>
                  <a:cubicBezTo>
                    <a:pt x="396147" y="307344"/>
                    <a:pt x="307344" y="396776"/>
                    <a:pt x="198388" y="396776"/>
                  </a:cubicBezTo>
                  <a:lnTo>
                    <a:pt x="198388" y="396776"/>
                  </a:lnTo>
                  <a:close/>
                  <a:moveTo>
                    <a:pt x="198388" y="33380"/>
                  </a:moveTo>
                  <a:cubicBezTo>
                    <a:pt x="107697" y="33380"/>
                    <a:pt x="33380" y="107067"/>
                    <a:pt x="33380" y="198388"/>
                  </a:cubicBezTo>
                  <a:cubicBezTo>
                    <a:pt x="33380" y="289080"/>
                    <a:pt x="107067" y="363397"/>
                    <a:pt x="198388" y="363397"/>
                  </a:cubicBezTo>
                  <a:cubicBezTo>
                    <a:pt x="289080" y="363397"/>
                    <a:pt x="363397" y="289710"/>
                    <a:pt x="363397" y="198388"/>
                  </a:cubicBezTo>
                  <a:cubicBezTo>
                    <a:pt x="362767" y="107696"/>
                    <a:pt x="289080" y="33380"/>
                    <a:pt x="198388" y="33380"/>
                  </a:cubicBezTo>
                  <a:lnTo>
                    <a:pt x="198388" y="3338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1" name="Forma Livre: Forma 10">
              <a:extLst>
                <a:ext uri="{FF2B5EF4-FFF2-40B4-BE49-F238E27FC236}">
                  <a16:creationId xmlns:a16="http://schemas.microsoft.com/office/drawing/2014/main" id="{F075625C-947C-41FB-AE24-2A61B4F081F2}"/>
                </a:ext>
              </a:extLst>
            </p:cNvPr>
            <p:cNvSpPr/>
            <p:nvPr/>
          </p:nvSpPr>
          <p:spPr>
            <a:xfrm>
              <a:off x="4427019" y="1555718"/>
              <a:ext cx="226729" cy="379141"/>
            </a:xfrm>
            <a:custGeom>
              <a:avLst/>
              <a:gdLst>
                <a:gd name="connsiteX0" fmla="*/ 113365 w 226729"/>
                <a:gd name="connsiteY0" fmla="*/ 379142 h 379141"/>
                <a:gd name="connsiteX1" fmla="*/ 0 w 226729"/>
                <a:gd name="connsiteY1" fmla="*/ 189571 h 379141"/>
                <a:gd name="connsiteX2" fmla="*/ 113365 w 226729"/>
                <a:gd name="connsiteY2" fmla="*/ 0 h 379141"/>
                <a:gd name="connsiteX3" fmla="*/ 226729 w 226729"/>
                <a:gd name="connsiteY3" fmla="*/ 189571 h 379141"/>
                <a:gd name="connsiteX4" fmla="*/ 113365 w 226729"/>
                <a:gd name="connsiteY4" fmla="*/ 379142 h 379141"/>
                <a:gd name="connsiteX5" fmla="*/ 113365 w 226729"/>
                <a:gd name="connsiteY5" fmla="*/ 379142 h 379141"/>
                <a:gd name="connsiteX6" fmla="*/ 113365 w 226729"/>
                <a:gd name="connsiteY6" fmla="*/ 16375 h 379141"/>
                <a:gd name="connsiteX7" fmla="*/ 17005 w 226729"/>
                <a:gd name="connsiteY7" fmla="*/ 189571 h 379141"/>
                <a:gd name="connsiteX8" fmla="*/ 113365 w 226729"/>
                <a:gd name="connsiteY8" fmla="*/ 362767 h 379141"/>
                <a:gd name="connsiteX9" fmla="*/ 209725 w 226729"/>
                <a:gd name="connsiteY9" fmla="*/ 189571 h 379141"/>
                <a:gd name="connsiteX10" fmla="*/ 113365 w 226729"/>
                <a:gd name="connsiteY10" fmla="*/ 16375 h 379141"/>
                <a:gd name="connsiteX11" fmla="*/ 113365 w 226729"/>
                <a:gd name="connsiteY11" fmla="*/ 16375 h 379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6729" h="379141">
                  <a:moveTo>
                    <a:pt x="113365" y="379142"/>
                  </a:moveTo>
                  <a:cubicBezTo>
                    <a:pt x="51014" y="379142"/>
                    <a:pt x="0" y="294118"/>
                    <a:pt x="0" y="189571"/>
                  </a:cubicBezTo>
                  <a:cubicBezTo>
                    <a:pt x="0" y="85024"/>
                    <a:pt x="51014" y="0"/>
                    <a:pt x="113365" y="0"/>
                  </a:cubicBezTo>
                  <a:cubicBezTo>
                    <a:pt x="175715" y="0"/>
                    <a:pt x="226729" y="85024"/>
                    <a:pt x="226729" y="189571"/>
                  </a:cubicBezTo>
                  <a:cubicBezTo>
                    <a:pt x="226729" y="294118"/>
                    <a:pt x="175715" y="379142"/>
                    <a:pt x="113365" y="379142"/>
                  </a:cubicBezTo>
                  <a:lnTo>
                    <a:pt x="113365" y="379142"/>
                  </a:lnTo>
                  <a:close/>
                  <a:moveTo>
                    <a:pt x="113365" y="16375"/>
                  </a:moveTo>
                  <a:cubicBezTo>
                    <a:pt x="59831" y="16375"/>
                    <a:pt x="17005" y="93841"/>
                    <a:pt x="17005" y="189571"/>
                  </a:cubicBezTo>
                  <a:cubicBezTo>
                    <a:pt x="17005" y="285301"/>
                    <a:pt x="60461" y="362767"/>
                    <a:pt x="113365" y="362767"/>
                  </a:cubicBezTo>
                  <a:cubicBezTo>
                    <a:pt x="166898" y="362767"/>
                    <a:pt x="209725" y="285301"/>
                    <a:pt x="209725" y="189571"/>
                  </a:cubicBezTo>
                  <a:cubicBezTo>
                    <a:pt x="209725" y="93841"/>
                    <a:pt x="166268" y="16375"/>
                    <a:pt x="113365" y="16375"/>
                  </a:cubicBezTo>
                  <a:lnTo>
                    <a:pt x="113365" y="16375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2" name="Forma Livre: Forma 11">
              <a:extLst>
                <a:ext uri="{FF2B5EF4-FFF2-40B4-BE49-F238E27FC236}">
                  <a16:creationId xmlns:a16="http://schemas.microsoft.com/office/drawing/2014/main" id="{DBDA3C74-2909-4D08-9F09-F5F034FD058E}"/>
                </a:ext>
              </a:extLst>
            </p:cNvPr>
            <p:cNvSpPr/>
            <p:nvPr/>
          </p:nvSpPr>
          <p:spPr>
            <a:xfrm>
              <a:off x="4532196" y="1555718"/>
              <a:ext cx="197758" cy="379141"/>
            </a:xfrm>
            <a:custGeom>
              <a:avLst/>
              <a:gdLst>
                <a:gd name="connsiteX0" fmla="*/ 8187 w 197758"/>
                <a:gd name="connsiteY0" fmla="*/ 379142 h 379141"/>
                <a:gd name="connsiteX1" fmla="*/ 0 w 197758"/>
                <a:gd name="connsiteY1" fmla="*/ 370954 h 379141"/>
                <a:gd name="connsiteX2" fmla="*/ 0 w 197758"/>
                <a:gd name="connsiteY2" fmla="*/ 8187 h 379141"/>
                <a:gd name="connsiteX3" fmla="*/ 8187 w 197758"/>
                <a:gd name="connsiteY3" fmla="*/ 0 h 379141"/>
                <a:gd name="connsiteX4" fmla="*/ 197758 w 197758"/>
                <a:gd name="connsiteY4" fmla="*/ 189571 h 379141"/>
                <a:gd name="connsiteX5" fmla="*/ 8187 w 197758"/>
                <a:gd name="connsiteY5" fmla="*/ 379142 h 379141"/>
                <a:gd name="connsiteX6" fmla="*/ 8187 w 197758"/>
                <a:gd name="connsiteY6" fmla="*/ 379142 h 379141"/>
                <a:gd name="connsiteX7" fmla="*/ 16375 w 197758"/>
                <a:gd name="connsiteY7" fmla="*/ 16375 h 379141"/>
                <a:gd name="connsiteX8" fmla="*/ 16375 w 197758"/>
                <a:gd name="connsiteY8" fmla="*/ 362137 h 379141"/>
                <a:gd name="connsiteX9" fmla="*/ 181383 w 197758"/>
                <a:gd name="connsiteY9" fmla="*/ 188941 h 379141"/>
                <a:gd name="connsiteX10" fmla="*/ 16375 w 197758"/>
                <a:gd name="connsiteY10" fmla="*/ 16375 h 379141"/>
                <a:gd name="connsiteX11" fmla="*/ 16375 w 197758"/>
                <a:gd name="connsiteY11" fmla="*/ 16375 h 379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7758" h="379141">
                  <a:moveTo>
                    <a:pt x="8187" y="379142"/>
                  </a:moveTo>
                  <a:cubicBezTo>
                    <a:pt x="3779" y="379142"/>
                    <a:pt x="0" y="375363"/>
                    <a:pt x="0" y="370954"/>
                  </a:cubicBezTo>
                  <a:lnTo>
                    <a:pt x="0" y="8187"/>
                  </a:lnTo>
                  <a:cubicBezTo>
                    <a:pt x="0" y="3779"/>
                    <a:pt x="3779" y="0"/>
                    <a:pt x="8187" y="0"/>
                  </a:cubicBezTo>
                  <a:cubicBezTo>
                    <a:pt x="112735" y="0"/>
                    <a:pt x="197758" y="85024"/>
                    <a:pt x="197758" y="189571"/>
                  </a:cubicBezTo>
                  <a:cubicBezTo>
                    <a:pt x="197758" y="294118"/>
                    <a:pt x="112735" y="379142"/>
                    <a:pt x="8187" y="379142"/>
                  </a:cubicBezTo>
                  <a:lnTo>
                    <a:pt x="8187" y="379142"/>
                  </a:lnTo>
                  <a:close/>
                  <a:moveTo>
                    <a:pt x="16375" y="16375"/>
                  </a:moveTo>
                  <a:lnTo>
                    <a:pt x="16375" y="362137"/>
                  </a:lnTo>
                  <a:cubicBezTo>
                    <a:pt x="107696" y="357729"/>
                    <a:pt x="181383" y="282152"/>
                    <a:pt x="181383" y="188941"/>
                  </a:cubicBezTo>
                  <a:cubicBezTo>
                    <a:pt x="181383" y="96990"/>
                    <a:pt x="107696" y="20783"/>
                    <a:pt x="16375" y="16375"/>
                  </a:cubicBezTo>
                  <a:lnTo>
                    <a:pt x="16375" y="16375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3" name="Forma Livre: Forma 12">
              <a:extLst>
                <a:ext uri="{FF2B5EF4-FFF2-40B4-BE49-F238E27FC236}">
                  <a16:creationId xmlns:a16="http://schemas.microsoft.com/office/drawing/2014/main" id="{D27EA438-AB26-447F-B394-318766514C12}"/>
                </a:ext>
              </a:extLst>
            </p:cNvPr>
            <p:cNvSpPr/>
            <p:nvPr/>
          </p:nvSpPr>
          <p:spPr>
            <a:xfrm>
              <a:off x="4350183" y="1672861"/>
              <a:ext cx="379771" cy="144854"/>
            </a:xfrm>
            <a:custGeom>
              <a:avLst/>
              <a:gdLst>
                <a:gd name="connsiteX0" fmla="*/ 359618 w 379771"/>
                <a:gd name="connsiteY0" fmla="*/ 144855 h 144854"/>
                <a:gd name="connsiteX1" fmla="*/ 20154 w 379771"/>
                <a:gd name="connsiteY1" fmla="*/ 144855 h 144854"/>
                <a:gd name="connsiteX2" fmla="*/ 12596 w 379771"/>
                <a:gd name="connsiteY2" fmla="*/ 139187 h 144854"/>
                <a:gd name="connsiteX3" fmla="*/ 0 w 379771"/>
                <a:gd name="connsiteY3" fmla="*/ 72427 h 144854"/>
                <a:gd name="connsiteX4" fmla="*/ 12596 w 379771"/>
                <a:gd name="connsiteY4" fmla="*/ 5668 h 144854"/>
                <a:gd name="connsiteX5" fmla="*/ 20154 w 379771"/>
                <a:gd name="connsiteY5" fmla="*/ 0 h 144854"/>
                <a:gd name="connsiteX6" fmla="*/ 359618 w 379771"/>
                <a:gd name="connsiteY6" fmla="*/ 0 h 144854"/>
                <a:gd name="connsiteX7" fmla="*/ 367176 w 379771"/>
                <a:gd name="connsiteY7" fmla="*/ 5668 h 144854"/>
                <a:gd name="connsiteX8" fmla="*/ 379772 w 379771"/>
                <a:gd name="connsiteY8" fmla="*/ 72427 h 144854"/>
                <a:gd name="connsiteX9" fmla="*/ 367176 w 379771"/>
                <a:gd name="connsiteY9" fmla="*/ 139187 h 144854"/>
                <a:gd name="connsiteX10" fmla="*/ 359618 w 379771"/>
                <a:gd name="connsiteY10" fmla="*/ 144855 h 144854"/>
                <a:gd name="connsiteX11" fmla="*/ 359618 w 379771"/>
                <a:gd name="connsiteY11" fmla="*/ 144855 h 144854"/>
                <a:gd name="connsiteX12" fmla="*/ 26452 w 379771"/>
                <a:gd name="connsiteY12" fmla="*/ 127850 h 144854"/>
                <a:gd name="connsiteX13" fmla="*/ 353950 w 379771"/>
                <a:gd name="connsiteY13" fmla="*/ 127850 h 144854"/>
                <a:gd name="connsiteX14" fmla="*/ 363397 w 379771"/>
                <a:gd name="connsiteY14" fmla="*/ 72427 h 144854"/>
                <a:gd name="connsiteX15" fmla="*/ 353950 w 379771"/>
                <a:gd name="connsiteY15" fmla="*/ 17005 h 144854"/>
                <a:gd name="connsiteX16" fmla="*/ 26452 w 379771"/>
                <a:gd name="connsiteY16" fmla="*/ 17005 h 144854"/>
                <a:gd name="connsiteX17" fmla="*/ 17005 w 379771"/>
                <a:gd name="connsiteY17" fmla="*/ 72427 h 144854"/>
                <a:gd name="connsiteX18" fmla="*/ 26452 w 379771"/>
                <a:gd name="connsiteY18" fmla="*/ 127850 h 144854"/>
                <a:gd name="connsiteX19" fmla="*/ 26452 w 379771"/>
                <a:gd name="connsiteY19" fmla="*/ 127850 h 144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79771" h="144854">
                  <a:moveTo>
                    <a:pt x="359618" y="144855"/>
                  </a:moveTo>
                  <a:lnTo>
                    <a:pt x="20154" y="144855"/>
                  </a:lnTo>
                  <a:cubicBezTo>
                    <a:pt x="16375" y="144855"/>
                    <a:pt x="13856" y="142965"/>
                    <a:pt x="12596" y="139187"/>
                  </a:cubicBezTo>
                  <a:cubicBezTo>
                    <a:pt x="4409" y="117144"/>
                    <a:pt x="0" y="95100"/>
                    <a:pt x="0" y="72427"/>
                  </a:cubicBezTo>
                  <a:cubicBezTo>
                    <a:pt x="0" y="49755"/>
                    <a:pt x="4409" y="27082"/>
                    <a:pt x="12596" y="5668"/>
                  </a:cubicBezTo>
                  <a:cubicBezTo>
                    <a:pt x="13856" y="2519"/>
                    <a:pt x="17005" y="0"/>
                    <a:pt x="20154" y="0"/>
                  </a:cubicBezTo>
                  <a:lnTo>
                    <a:pt x="359618" y="0"/>
                  </a:lnTo>
                  <a:cubicBezTo>
                    <a:pt x="363397" y="0"/>
                    <a:pt x="365916" y="1889"/>
                    <a:pt x="367176" y="5668"/>
                  </a:cubicBezTo>
                  <a:cubicBezTo>
                    <a:pt x="375363" y="27711"/>
                    <a:pt x="379772" y="49755"/>
                    <a:pt x="379772" y="72427"/>
                  </a:cubicBezTo>
                  <a:cubicBezTo>
                    <a:pt x="379772" y="95100"/>
                    <a:pt x="375363" y="117773"/>
                    <a:pt x="367176" y="139187"/>
                  </a:cubicBezTo>
                  <a:cubicBezTo>
                    <a:pt x="366546" y="142336"/>
                    <a:pt x="363397" y="144855"/>
                    <a:pt x="359618" y="144855"/>
                  </a:cubicBezTo>
                  <a:lnTo>
                    <a:pt x="359618" y="144855"/>
                  </a:lnTo>
                  <a:close/>
                  <a:moveTo>
                    <a:pt x="26452" y="127850"/>
                  </a:moveTo>
                  <a:lnTo>
                    <a:pt x="353950" y="127850"/>
                  </a:lnTo>
                  <a:cubicBezTo>
                    <a:pt x="360248" y="109586"/>
                    <a:pt x="363397" y="91322"/>
                    <a:pt x="363397" y="72427"/>
                  </a:cubicBezTo>
                  <a:cubicBezTo>
                    <a:pt x="363397" y="53533"/>
                    <a:pt x="360248" y="34639"/>
                    <a:pt x="353950" y="17005"/>
                  </a:cubicBezTo>
                  <a:lnTo>
                    <a:pt x="26452" y="17005"/>
                  </a:lnTo>
                  <a:cubicBezTo>
                    <a:pt x="20154" y="35269"/>
                    <a:pt x="17005" y="54163"/>
                    <a:pt x="17005" y="72427"/>
                  </a:cubicBezTo>
                  <a:cubicBezTo>
                    <a:pt x="17005" y="91322"/>
                    <a:pt x="20154" y="109586"/>
                    <a:pt x="26452" y="127850"/>
                  </a:cubicBezTo>
                  <a:lnTo>
                    <a:pt x="26452" y="12785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4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2306469" y="1546900"/>
            <a:ext cx="396776" cy="396776"/>
            <a:chOff x="2306469" y="1546900"/>
            <a:chExt cx="396776" cy="396776"/>
          </a:xfrm>
          <a:solidFill>
            <a:srgbClr val="B1B1A1"/>
          </a:solidFill>
        </p:grpSpPr>
        <p:sp>
          <p:nvSpPr>
            <p:cNvPr id="15" name="Forma Livre: Forma 14">
              <a:extLst>
                <a:ext uri="{FF2B5EF4-FFF2-40B4-BE49-F238E27FC236}">
                  <a16:creationId xmlns:a16="http://schemas.microsoft.com/office/drawing/2014/main" id="{88331410-DAC3-4D12-B652-9CB40910CC69}"/>
                </a:ext>
              </a:extLst>
            </p:cNvPr>
            <p:cNvSpPr/>
            <p:nvPr/>
          </p:nvSpPr>
          <p:spPr>
            <a:xfrm>
              <a:off x="2306469" y="1546900"/>
              <a:ext cx="396776" cy="396776"/>
            </a:xfrm>
            <a:custGeom>
              <a:avLst/>
              <a:gdLst>
                <a:gd name="connsiteX0" fmla="*/ 198388 w 396776"/>
                <a:gd name="connsiteY0" fmla="*/ 396776 h 396776"/>
                <a:gd name="connsiteX1" fmla="*/ 0 w 396776"/>
                <a:gd name="connsiteY1" fmla="*/ 198388 h 396776"/>
                <a:gd name="connsiteX2" fmla="*/ 198388 w 396776"/>
                <a:gd name="connsiteY2" fmla="*/ 0 h 396776"/>
                <a:gd name="connsiteX3" fmla="*/ 396776 w 396776"/>
                <a:gd name="connsiteY3" fmla="*/ 198388 h 396776"/>
                <a:gd name="connsiteX4" fmla="*/ 198388 w 396776"/>
                <a:gd name="connsiteY4" fmla="*/ 396776 h 396776"/>
                <a:gd name="connsiteX5" fmla="*/ 198388 w 396776"/>
                <a:gd name="connsiteY5" fmla="*/ 396776 h 396776"/>
                <a:gd name="connsiteX6" fmla="*/ 198388 w 396776"/>
                <a:gd name="connsiteY6" fmla="*/ 33380 h 396776"/>
                <a:gd name="connsiteX7" fmla="*/ 33380 w 396776"/>
                <a:gd name="connsiteY7" fmla="*/ 198388 h 396776"/>
                <a:gd name="connsiteX8" fmla="*/ 198388 w 396776"/>
                <a:gd name="connsiteY8" fmla="*/ 363397 h 396776"/>
                <a:gd name="connsiteX9" fmla="*/ 363397 w 396776"/>
                <a:gd name="connsiteY9" fmla="*/ 198388 h 396776"/>
                <a:gd name="connsiteX10" fmla="*/ 198388 w 396776"/>
                <a:gd name="connsiteY10" fmla="*/ 33380 h 396776"/>
                <a:gd name="connsiteX11" fmla="*/ 198388 w 396776"/>
                <a:gd name="connsiteY11" fmla="*/ 33380 h 396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96776" h="396776">
                  <a:moveTo>
                    <a:pt x="198388" y="396776"/>
                  </a:moveTo>
                  <a:cubicBezTo>
                    <a:pt x="88802" y="396776"/>
                    <a:pt x="0" y="307974"/>
                    <a:pt x="0" y="198388"/>
                  </a:cubicBezTo>
                  <a:cubicBezTo>
                    <a:pt x="0" y="89432"/>
                    <a:pt x="88802" y="0"/>
                    <a:pt x="198388" y="0"/>
                  </a:cubicBezTo>
                  <a:cubicBezTo>
                    <a:pt x="307344" y="0"/>
                    <a:pt x="396776" y="88802"/>
                    <a:pt x="396776" y="198388"/>
                  </a:cubicBezTo>
                  <a:cubicBezTo>
                    <a:pt x="396147" y="307344"/>
                    <a:pt x="307344" y="396776"/>
                    <a:pt x="198388" y="396776"/>
                  </a:cubicBezTo>
                  <a:lnTo>
                    <a:pt x="198388" y="396776"/>
                  </a:lnTo>
                  <a:close/>
                  <a:moveTo>
                    <a:pt x="198388" y="33380"/>
                  </a:moveTo>
                  <a:cubicBezTo>
                    <a:pt x="107696" y="33380"/>
                    <a:pt x="33380" y="107067"/>
                    <a:pt x="33380" y="198388"/>
                  </a:cubicBezTo>
                  <a:cubicBezTo>
                    <a:pt x="33380" y="289080"/>
                    <a:pt x="107067" y="363397"/>
                    <a:pt x="198388" y="363397"/>
                  </a:cubicBezTo>
                  <a:cubicBezTo>
                    <a:pt x="289080" y="363397"/>
                    <a:pt x="363397" y="289710"/>
                    <a:pt x="363397" y="198388"/>
                  </a:cubicBezTo>
                  <a:cubicBezTo>
                    <a:pt x="362767" y="107696"/>
                    <a:pt x="289080" y="33380"/>
                    <a:pt x="198388" y="33380"/>
                  </a:cubicBezTo>
                  <a:lnTo>
                    <a:pt x="198388" y="3338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6" name="Forma Livre: Forma 15">
              <a:extLst>
                <a:ext uri="{FF2B5EF4-FFF2-40B4-BE49-F238E27FC236}">
                  <a16:creationId xmlns:a16="http://schemas.microsoft.com/office/drawing/2014/main" id="{13604CF1-75E0-4D6E-BC8C-DC886427CB53}"/>
                </a:ext>
              </a:extLst>
            </p:cNvPr>
            <p:cNvSpPr/>
            <p:nvPr/>
          </p:nvSpPr>
          <p:spPr>
            <a:xfrm>
              <a:off x="2413764" y="1654195"/>
              <a:ext cx="182187" cy="182415"/>
            </a:xfrm>
            <a:custGeom>
              <a:avLst/>
              <a:gdLst>
                <a:gd name="connsiteX0" fmla="*/ 12368 w 182187"/>
                <a:gd name="connsiteY0" fmla="*/ 182415 h 182415"/>
                <a:gd name="connsiteX1" fmla="*/ 3551 w 182187"/>
                <a:gd name="connsiteY1" fmla="*/ 178636 h 182415"/>
                <a:gd name="connsiteX2" fmla="*/ 1032 w 182187"/>
                <a:gd name="connsiteY2" fmla="*/ 164781 h 182415"/>
                <a:gd name="connsiteX3" fmla="*/ 48897 w 182187"/>
                <a:gd name="connsiteY3" fmla="*/ 55195 h 182415"/>
                <a:gd name="connsiteX4" fmla="*/ 55195 w 182187"/>
                <a:gd name="connsiteY4" fmla="*/ 48897 h 182415"/>
                <a:gd name="connsiteX5" fmla="*/ 164781 w 182187"/>
                <a:gd name="connsiteY5" fmla="*/ 1032 h 182415"/>
                <a:gd name="connsiteX6" fmla="*/ 178636 w 182187"/>
                <a:gd name="connsiteY6" fmla="*/ 3551 h 182415"/>
                <a:gd name="connsiteX7" fmla="*/ 181156 w 182187"/>
                <a:gd name="connsiteY7" fmla="*/ 17407 h 182415"/>
                <a:gd name="connsiteX8" fmla="*/ 133291 w 182187"/>
                <a:gd name="connsiteY8" fmla="*/ 126992 h 182415"/>
                <a:gd name="connsiteX9" fmla="*/ 126992 w 182187"/>
                <a:gd name="connsiteY9" fmla="*/ 133290 h 182415"/>
                <a:gd name="connsiteX10" fmla="*/ 17407 w 182187"/>
                <a:gd name="connsiteY10" fmla="*/ 181156 h 182415"/>
                <a:gd name="connsiteX11" fmla="*/ 12368 w 182187"/>
                <a:gd name="connsiteY11" fmla="*/ 182415 h 182415"/>
                <a:gd name="connsiteX12" fmla="*/ 12368 w 182187"/>
                <a:gd name="connsiteY12" fmla="*/ 182415 h 182415"/>
                <a:gd name="connsiteX13" fmla="*/ 69051 w 182187"/>
                <a:gd name="connsiteY13" fmla="*/ 69680 h 182415"/>
                <a:gd name="connsiteX14" fmla="*/ 35671 w 182187"/>
                <a:gd name="connsiteY14" fmla="*/ 145887 h 182415"/>
                <a:gd name="connsiteX15" fmla="*/ 111877 w 182187"/>
                <a:gd name="connsiteY15" fmla="*/ 112507 h 182415"/>
                <a:gd name="connsiteX16" fmla="*/ 145887 w 182187"/>
                <a:gd name="connsiteY16" fmla="*/ 36301 h 182415"/>
                <a:gd name="connsiteX17" fmla="*/ 69051 w 182187"/>
                <a:gd name="connsiteY17" fmla="*/ 69680 h 182415"/>
                <a:gd name="connsiteX18" fmla="*/ 69051 w 182187"/>
                <a:gd name="connsiteY18" fmla="*/ 69680 h 182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82187" h="182415">
                  <a:moveTo>
                    <a:pt x="12368" y="182415"/>
                  </a:moveTo>
                  <a:cubicBezTo>
                    <a:pt x="9219" y="182415"/>
                    <a:pt x="6070" y="181156"/>
                    <a:pt x="3551" y="178636"/>
                  </a:cubicBezTo>
                  <a:cubicBezTo>
                    <a:pt x="-228" y="174858"/>
                    <a:pt x="-858" y="169819"/>
                    <a:pt x="1032" y="164781"/>
                  </a:cubicBezTo>
                  <a:lnTo>
                    <a:pt x="48897" y="55195"/>
                  </a:lnTo>
                  <a:cubicBezTo>
                    <a:pt x="50156" y="52046"/>
                    <a:pt x="52676" y="50156"/>
                    <a:pt x="55195" y="48897"/>
                  </a:cubicBezTo>
                  <a:lnTo>
                    <a:pt x="164781" y="1032"/>
                  </a:lnTo>
                  <a:cubicBezTo>
                    <a:pt x="169189" y="-858"/>
                    <a:pt x="174858" y="-228"/>
                    <a:pt x="178636" y="3551"/>
                  </a:cubicBezTo>
                  <a:cubicBezTo>
                    <a:pt x="182415" y="7330"/>
                    <a:pt x="183045" y="12368"/>
                    <a:pt x="181156" y="17407"/>
                  </a:cubicBezTo>
                  <a:lnTo>
                    <a:pt x="133291" y="126992"/>
                  </a:lnTo>
                  <a:cubicBezTo>
                    <a:pt x="132031" y="130141"/>
                    <a:pt x="129512" y="132031"/>
                    <a:pt x="126992" y="133290"/>
                  </a:cubicBezTo>
                  <a:lnTo>
                    <a:pt x="17407" y="181156"/>
                  </a:lnTo>
                  <a:cubicBezTo>
                    <a:pt x="15517" y="181785"/>
                    <a:pt x="13628" y="182415"/>
                    <a:pt x="12368" y="182415"/>
                  </a:cubicBezTo>
                  <a:lnTo>
                    <a:pt x="12368" y="182415"/>
                  </a:lnTo>
                  <a:close/>
                  <a:moveTo>
                    <a:pt x="69051" y="69680"/>
                  </a:moveTo>
                  <a:lnTo>
                    <a:pt x="35671" y="145887"/>
                  </a:lnTo>
                  <a:lnTo>
                    <a:pt x="111877" y="112507"/>
                  </a:lnTo>
                  <a:lnTo>
                    <a:pt x="145887" y="36301"/>
                  </a:lnTo>
                  <a:lnTo>
                    <a:pt x="69051" y="69680"/>
                  </a:lnTo>
                  <a:lnTo>
                    <a:pt x="69051" y="6968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7" name="Forma Livre: Forma 16">
              <a:extLst>
                <a:ext uri="{FF2B5EF4-FFF2-40B4-BE49-F238E27FC236}">
                  <a16:creationId xmlns:a16="http://schemas.microsoft.com/office/drawing/2014/main" id="{1487E702-A995-4440-BF4D-A8FDCDD7A8CD}"/>
                </a:ext>
              </a:extLst>
            </p:cNvPr>
            <p:cNvSpPr/>
            <p:nvPr/>
          </p:nvSpPr>
          <p:spPr>
            <a:xfrm>
              <a:off x="2460771" y="1701202"/>
              <a:ext cx="76206" cy="76206"/>
            </a:xfrm>
            <a:custGeom>
              <a:avLst/>
              <a:gdLst>
                <a:gd name="connsiteX0" fmla="*/ 63610 w 76206"/>
                <a:gd name="connsiteY0" fmla="*/ 76206 h 76206"/>
                <a:gd name="connsiteX1" fmla="*/ 54793 w 76206"/>
                <a:gd name="connsiteY1" fmla="*/ 72427 h 76206"/>
                <a:gd name="connsiteX2" fmla="*/ 3779 w 76206"/>
                <a:gd name="connsiteY2" fmla="*/ 21413 h 76206"/>
                <a:gd name="connsiteX3" fmla="*/ 3779 w 76206"/>
                <a:gd name="connsiteY3" fmla="*/ 3779 h 76206"/>
                <a:gd name="connsiteX4" fmla="*/ 21413 w 76206"/>
                <a:gd name="connsiteY4" fmla="*/ 3779 h 76206"/>
                <a:gd name="connsiteX5" fmla="*/ 72427 w 76206"/>
                <a:gd name="connsiteY5" fmla="*/ 54793 h 76206"/>
                <a:gd name="connsiteX6" fmla="*/ 72427 w 76206"/>
                <a:gd name="connsiteY6" fmla="*/ 72427 h 76206"/>
                <a:gd name="connsiteX7" fmla="*/ 63610 w 76206"/>
                <a:gd name="connsiteY7" fmla="*/ 76206 h 76206"/>
                <a:gd name="connsiteX8" fmla="*/ 63610 w 76206"/>
                <a:gd name="connsiteY8" fmla="*/ 76206 h 76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206" h="76206">
                  <a:moveTo>
                    <a:pt x="63610" y="76206"/>
                  </a:moveTo>
                  <a:cubicBezTo>
                    <a:pt x="60461" y="76206"/>
                    <a:pt x="57312" y="74947"/>
                    <a:pt x="54793" y="72427"/>
                  </a:cubicBezTo>
                  <a:lnTo>
                    <a:pt x="3779" y="21413"/>
                  </a:lnTo>
                  <a:cubicBezTo>
                    <a:pt x="-1260" y="16375"/>
                    <a:pt x="-1260" y="8817"/>
                    <a:pt x="3779" y="3779"/>
                  </a:cubicBezTo>
                  <a:cubicBezTo>
                    <a:pt x="8817" y="-1260"/>
                    <a:pt x="16375" y="-1260"/>
                    <a:pt x="21413" y="3779"/>
                  </a:cubicBezTo>
                  <a:lnTo>
                    <a:pt x="72427" y="54793"/>
                  </a:lnTo>
                  <a:cubicBezTo>
                    <a:pt x="77466" y="59831"/>
                    <a:pt x="77466" y="67389"/>
                    <a:pt x="72427" y="72427"/>
                  </a:cubicBezTo>
                  <a:cubicBezTo>
                    <a:pt x="69908" y="74947"/>
                    <a:pt x="66759" y="76206"/>
                    <a:pt x="63610" y="76206"/>
                  </a:cubicBezTo>
                  <a:lnTo>
                    <a:pt x="63610" y="76206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8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5394397" y="1550364"/>
            <a:ext cx="333481" cy="390163"/>
            <a:chOff x="5394397" y="1550364"/>
            <a:chExt cx="333481" cy="390163"/>
          </a:xfrm>
          <a:solidFill>
            <a:srgbClr val="B1B1A1"/>
          </a:solidFill>
        </p:grpSpPr>
        <p:sp>
          <p:nvSpPr>
            <p:cNvPr id="19" name="Forma Livre: Forma 18">
              <a:extLst>
                <a:ext uri="{FF2B5EF4-FFF2-40B4-BE49-F238E27FC236}">
                  <a16:creationId xmlns:a16="http://schemas.microsoft.com/office/drawing/2014/main" id="{A983B267-9BA4-4A08-8BBF-857EFF7DBB2C}"/>
                </a:ext>
              </a:extLst>
            </p:cNvPr>
            <p:cNvSpPr/>
            <p:nvPr/>
          </p:nvSpPr>
          <p:spPr>
            <a:xfrm>
              <a:off x="5394397" y="1550364"/>
              <a:ext cx="333481" cy="333481"/>
            </a:xfrm>
            <a:custGeom>
              <a:avLst/>
              <a:gdLst>
                <a:gd name="connsiteX0" fmla="*/ 192720 w 333481"/>
                <a:gd name="connsiteY0" fmla="*/ 333481 h 333481"/>
                <a:gd name="connsiteX1" fmla="*/ 56682 w 333481"/>
                <a:gd name="connsiteY1" fmla="*/ 276799 h 333481"/>
                <a:gd name="connsiteX2" fmla="*/ 0 w 333481"/>
                <a:gd name="connsiteY2" fmla="*/ 140761 h 333481"/>
                <a:gd name="connsiteX3" fmla="*/ 56682 w 333481"/>
                <a:gd name="connsiteY3" fmla="*/ 4724 h 333481"/>
                <a:gd name="connsiteX4" fmla="*/ 79985 w 333481"/>
                <a:gd name="connsiteY4" fmla="*/ 4724 h 333481"/>
                <a:gd name="connsiteX5" fmla="*/ 79985 w 333481"/>
                <a:gd name="connsiteY5" fmla="*/ 28026 h 333481"/>
                <a:gd name="connsiteX6" fmla="*/ 33380 w 333481"/>
                <a:gd name="connsiteY6" fmla="*/ 140761 h 333481"/>
                <a:gd name="connsiteX7" fmla="*/ 79985 w 333481"/>
                <a:gd name="connsiteY7" fmla="*/ 253496 h 333481"/>
                <a:gd name="connsiteX8" fmla="*/ 192720 w 333481"/>
                <a:gd name="connsiteY8" fmla="*/ 300102 h 333481"/>
                <a:gd name="connsiteX9" fmla="*/ 305455 w 333481"/>
                <a:gd name="connsiteY9" fmla="*/ 253496 h 333481"/>
                <a:gd name="connsiteX10" fmla="*/ 328758 w 333481"/>
                <a:gd name="connsiteY10" fmla="*/ 253496 h 333481"/>
                <a:gd name="connsiteX11" fmla="*/ 328758 w 333481"/>
                <a:gd name="connsiteY11" fmla="*/ 276799 h 333481"/>
                <a:gd name="connsiteX12" fmla="*/ 192720 w 333481"/>
                <a:gd name="connsiteY12" fmla="*/ 333481 h 333481"/>
                <a:gd name="connsiteX13" fmla="*/ 192720 w 333481"/>
                <a:gd name="connsiteY13" fmla="*/ 333481 h 333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3481" h="333481">
                  <a:moveTo>
                    <a:pt x="192720" y="333481"/>
                  </a:moveTo>
                  <a:cubicBezTo>
                    <a:pt x="141076" y="333481"/>
                    <a:pt x="93211" y="313327"/>
                    <a:pt x="56682" y="276799"/>
                  </a:cubicBezTo>
                  <a:cubicBezTo>
                    <a:pt x="20154" y="240270"/>
                    <a:pt x="0" y="192405"/>
                    <a:pt x="0" y="140761"/>
                  </a:cubicBezTo>
                  <a:cubicBezTo>
                    <a:pt x="0" y="89117"/>
                    <a:pt x="20154" y="41252"/>
                    <a:pt x="56682" y="4724"/>
                  </a:cubicBezTo>
                  <a:cubicBezTo>
                    <a:pt x="62980" y="-1575"/>
                    <a:pt x="73687" y="-1575"/>
                    <a:pt x="79985" y="4724"/>
                  </a:cubicBezTo>
                  <a:cubicBezTo>
                    <a:pt x="86283" y="11022"/>
                    <a:pt x="86283" y="21728"/>
                    <a:pt x="79985" y="28026"/>
                  </a:cubicBezTo>
                  <a:cubicBezTo>
                    <a:pt x="49755" y="58257"/>
                    <a:pt x="33380" y="97935"/>
                    <a:pt x="33380" y="140761"/>
                  </a:cubicBezTo>
                  <a:cubicBezTo>
                    <a:pt x="33380" y="182958"/>
                    <a:pt x="49755" y="223265"/>
                    <a:pt x="79985" y="253496"/>
                  </a:cubicBezTo>
                  <a:cubicBezTo>
                    <a:pt x="110216" y="283727"/>
                    <a:pt x="149894" y="300102"/>
                    <a:pt x="192720" y="300102"/>
                  </a:cubicBezTo>
                  <a:cubicBezTo>
                    <a:pt x="234917" y="300102"/>
                    <a:pt x="275224" y="283727"/>
                    <a:pt x="305455" y="253496"/>
                  </a:cubicBezTo>
                  <a:cubicBezTo>
                    <a:pt x="311753" y="247198"/>
                    <a:pt x="322460" y="247198"/>
                    <a:pt x="328758" y="253496"/>
                  </a:cubicBezTo>
                  <a:cubicBezTo>
                    <a:pt x="335056" y="259794"/>
                    <a:pt x="335056" y="270501"/>
                    <a:pt x="328758" y="276799"/>
                  </a:cubicBezTo>
                  <a:cubicBezTo>
                    <a:pt x="292229" y="313327"/>
                    <a:pt x="243734" y="333481"/>
                    <a:pt x="192720" y="333481"/>
                  </a:cubicBezTo>
                  <a:lnTo>
                    <a:pt x="192720" y="333481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0" name="Forma Livre: Forma 19">
              <a:extLst>
                <a:ext uri="{FF2B5EF4-FFF2-40B4-BE49-F238E27FC236}">
                  <a16:creationId xmlns:a16="http://schemas.microsoft.com/office/drawing/2014/main" id="{A1024B24-6ACD-4968-AF6A-BDF52B7635AD}"/>
                </a:ext>
              </a:extLst>
            </p:cNvPr>
            <p:cNvSpPr/>
            <p:nvPr/>
          </p:nvSpPr>
          <p:spPr>
            <a:xfrm>
              <a:off x="5448561" y="1553198"/>
              <a:ext cx="277113" cy="277113"/>
            </a:xfrm>
            <a:custGeom>
              <a:avLst/>
              <a:gdLst>
                <a:gd name="connsiteX0" fmla="*/ 138557 w 277113"/>
                <a:gd name="connsiteY0" fmla="*/ 277114 h 277113"/>
                <a:gd name="connsiteX1" fmla="*/ 0 w 277113"/>
                <a:gd name="connsiteY1" fmla="*/ 138557 h 277113"/>
                <a:gd name="connsiteX2" fmla="*/ 138557 w 277113"/>
                <a:gd name="connsiteY2" fmla="*/ 0 h 277113"/>
                <a:gd name="connsiteX3" fmla="*/ 277114 w 277113"/>
                <a:gd name="connsiteY3" fmla="*/ 138557 h 277113"/>
                <a:gd name="connsiteX4" fmla="*/ 138557 w 277113"/>
                <a:gd name="connsiteY4" fmla="*/ 277114 h 277113"/>
                <a:gd name="connsiteX5" fmla="*/ 138557 w 277113"/>
                <a:gd name="connsiteY5" fmla="*/ 277114 h 277113"/>
                <a:gd name="connsiteX6" fmla="*/ 138557 w 277113"/>
                <a:gd name="connsiteY6" fmla="*/ 32750 h 277113"/>
                <a:gd name="connsiteX7" fmla="*/ 33380 w 277113"/>
                <a:gd name="connsiteY7" fmla="*/ 138557 h 277113"/>
                <a:gd name="connsiteX8" fmla="*/ 138557 w 277113"/>
                <a:gd name="connsiteY8" fmla="*/ 244364 h 277113"/>
                <a:gd name="connsiteX9" fmla="*/ 244364 w 277113"/>
                <a:gd name="connsiteY9" fmla="*/ 138557 h 277113"/>
                <a:gd name="connsiteX10" fmla="*/ 138557 w 277113"/>
                <a:gd name="connsiteY10" fmla="*/ 32750 h 277113"/>
                <a:gd name="connsiteX11" fmla="*/ 138557 w 277113"/>
                <a:gd name="connsiteY11" fmla="*/ 32750 h 277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7113" h="277113">
                  <a:moveTo>
                    <a:pt x="138557" y="277114"/>
                  </a:moveTo>
                  <a:cubicBezTo>
                    <a:pt x="61721" y="277114"/>
                    <a:pt x="0" y="214763"/>
                    <a:pt x="0" y="138557"/>
                  </a:cubicBezTo>
                  <a:cubicBezTo>
                    <a:pt x="0" y="61721"/>
                    <a:pt x="62350" y="0"/>
                    <a:pt x="138557" y="0"/>
                  </a:cubicBezTo>
                  <a:cubicBezTo>
                    <a:pt x="215393" y="0"/>
                    <a:pt x="277114" y="62351"/>
                    <a:pt x="277114" y="138557"/>
                  </a:cubicBezTo>
                  <a:cubicBezTo>
                    <a:pt x="277114" y="214763"/>
                    <a:pt x="214763" y="277114"/>
                    <a:pt x="138557" y="277114"/>
                  </a:cubicBezTo>
                  <a:lnTo>
                    <a:pt x="138557" y="277114"/>
                  </a:lnTo>
                  <a:close/>
                  <a:moveTo>
                    <a:pt x="138557" y="32750"/>
                  </a:moveTo>
                  <a:cubicBezTo>
                    <a:pt x="80615" y="32750"/>
                    <a:pt x="33380" y="79985"/>
                    <a:pt x="33380" y="138557"/>
                  </a:cubicBezTo>
                  <a:cubicBezTo>
                    <a:pt x="33380" y="196499"/>
                    <a:pt x="80615" y="244364"/>
                    <a:pt x="138557" y="244364"/>
                  </a:cubicBezTo>
                  <a:cubicBezTo>
                    <a:pt x="196499" y="244364"/>
                    <a:pt x="244364" y="197129"/>
                    <a:pt x="244364" y="138557"/>
                  </a:cubicBezTo>
                  <a:cubicBezTo>
                    <a:pt x="243734" y="79985"/>
                    <a:pt x="196499" y="32750"/>
                    <a:pt x="138557" y="32750"/>
                  </a:cubicBezTo>
                  <a:lnTo>
                    <a:pt x="138557" y="3275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1" name="Forma Livre: Forma 20">
              <a:extLst>
                <a:ext uri="{FF2B5EF4-FFF2-40B4-BE49-F238E27FC236}">
                  <a16:creationId xmlns:a16="http://schemas.microsoft.com/office/drawing/2014/main" id="{006F2A78-37AB-48A1-8133-04D25C4CD801}"/>
                </a:ext>
              </a:extLst>
            </p:cNvPr>
            <p:cNvSpPr/>
            <p:nvPr/>
          </p:nvSpPr>
          <p:spPr>
            <a:xfrm>
              <a:off x="5521618" y="1907778"/>
              <a:ext cx="130369" cy="32749"/>
            </a:xfrm>
            <a:custGeom>
              <a:avLst/>
              <a:gdLst>
                <a:gd name="connsiteX0" fmla="*/ 113995 w 130369"/>
                <a:gd name="connsiteY0" fmla="*/ 32750 h 32749"/>
                <a:gd name="connsiteX1" fmla="*/ 16375 w 130369"/>
                <a:gd name="connsiteY1" fmla="*/ 32750 h 32749"/>
                <a:gd name="connsiteX2" fmla="*/ 0 w 130369"/>
                <a:gd name="connsiteY2" fmla="*/ 16375 h 32749"/>
                <a:gd name="connsiteX3" fmla="*/ 16375 w 130369"/>
                <a:gd name="connsiteY3" fmla="*/ 0 h 32749"/>
                <a:gd name="connsiteX4" fmla="*/ 113995 w 130369"/>
                <a:gd name="connsiteY4" fmla="*/ 0 h 32749"/>
                <a:gd name="connsiteX5" fmla="*/ 130369 w 130369"/>
                <a:gd name="connsiteY5" fmla="*/ 16375 h 32749"/>
                <a:gd name="connsiteX6" fmla="*/ 113995 w 130369"/>
                <a:gd name="connsiteY6" fmla="*/ 32750 h 32749"/>
                <a:gd name="connsiteX7" fmla="*/ 113995 w 130369"/>
                <a:gd name="connsiteY7" fmla="*/ 32750 h 32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0369" h="32749">
                  <a:moveTo>
                    <a:pt x="113995" y="32750"/>
                  </a:moveTo>
                  <a:lnTo>
                    <a:pt x="16375" y="32750"/>
                  </a:lnTo>
                  <a:cubicBezTo>
                    <a:pt x="6928" y="32750"/>
                    <a:pt x="0" y="25192"/>
                    <a:pt x="0" y="16375"/>
                  </a:cubicBezTo>
                  <a:cubicBezTo>
                    <a:pt x="0" y="6928"/>
                    <a:pt x="7558" y="0"/>
                    <a:pt x="16375" y="0"/>
                  </a:cubicBezTo>
                  <a:lnTo>
                    <a:pt x="113995" y="0"/>
                  </a:lnTo>
                  <a:cubicBezTo>
                    <a:pt x="123442" y="0"/>
                    <a:pt x="130369" y="7558"/>
                    <a:pt x="130369" y="16375"/>
                  </a:cubicBezTo>
                  <a:cubicBezTo>
                    <a:pt x="130369" y="25192"/>
                    <a:pt x="123442" y="32750"/>
                    <a:pt x="113995" y="32750"/>
                  </a:cubicBezTo>
                  <a:lnTo>
                    <a:pt x="113995" y="3275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2" name="Forma Livre: Forma 21">
              <a:extLst>
                <a:ext uri="{FF2B5EF4-FFF2-40B4-BE49-F238E27FC236}">
                  <a16:creationId xmlns:a16="http://schemas.microsoft.com/office/drawing/2014/main" id="{777020B5-AABB-4493-AEF7-7187F05DD998}"/>
                </a:ext>
              </a:extLst>
            </p:cNvPr>
            <p:cNvSpPr/>
            <p:nvPr/>
          </p:nvSpPr>
          <p:spPr>
            <a:xfrm>
              <a:off x="5570742" y="1851096"/>
              <a:ext cx="32749" cy="74316"/>
            </a:xfrm>
            <a:custGeom>
              <a:avLst/>
              <a:gdLst>
                <a:gd name="connsiteX0" fmla="*/ 16375 w 32749"/>
                <a:gd name="connsiteY0" fmla="*/ 74317 h 74316"/>
                <a:gd name="connsiteX1" fmla="*/ 0 w 32749"/>
                <a:gd name="connsiteY1" fmla="*/ 57942 h 74316"/>
                <a:gd name="connsiteX2" fmla="*/ 0 w 32749"/>
                <a:gd name="connsiteY2" fmla="*/ 16375 h 74316"/>
                <a:gd name="connsiteX3" fmla="*/ 16375 w 32749"/>
                <a:gd name="connsiteY3" fmla="*/ 0 h 74316"/>
                <a:gd name="connsiteX4" fmla="*/ 32750 w 32749"/>
                <a:gd name="connsiteY4" fmla="*/ 16375 h 74316"/>
                <a:gd name="connsiteX5" fmla="*/ 32750 w 32749"/>
                <a:gd name="connsiteY5" fmla="*/ 57942 h 74316"/>
                <a:gd name="connsiteX6" fmla="*/ 16375 w 32749"/>
                <a:gd name="connsiteY6" fmla="*/ 74317 h 74316"/>
                <a:gd name="connsiteX7" fmla="*/ 16375 w 32749"/>
                <a:gd name="connsiteY7" fmla="*/ 74317 h 74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749" h="74316">
                  <a:moveTo>
                    <a:pt x="16375" y="74317"/>
                  </a:moveTo>
                  <a:cubicBezTo>
                    <a:pt x="6928" y="74317"/>
                    <a:pt x="0" y="66759"/>
                    <a:pt x="0" y="57942"/>
                  </a:cubicBezTo>
                  <a:lnTo>
                    <a:pt x="0" y="16375"/>
                  </a:lnTo>
                  <a:cubicBezTo>
                    <a:pt x="0" y="6928"/>
                    <a:pt x="7558" y="0"/>
                    <a:pt x="16375" y="0"/>
                  </a:cubicBezTo>
                  <a:cubicBezTo>
                    <a:pt x="25192" y="0"/>
                    <a:pt x="32750" y="7558"/>
                    <a:pt x="32750" y="16375"/>
                  </a:cubicBezTo>
                  <a:lnTo>
                    <a:pt x="32750" y="57942"/>
                  </a:lnTo>
                  <a:cubicBezTo>
                    <a:pt x="32750" y="66759"/>
                    <a:pt x="25192" y="74317"/>
                    <a:pt x="16375" y="74317"/>
                  </a:cubicBezTo>
                  <a:lnTo>
                    <a:pt x="16375" y="74317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sp>
        <p:nvSpPr>
          <p:cNvPr id="23" name="Forma Livre: Forma 22">
            <a:extLst>
              <a:ext uri="{FF2B5EF4-FFF2-40B4-BE49-F238E27FC236}">
                <a16:creationId xmlns:a16="http://schemas.microsoft.com/office/drawing/2014/main" id="{AA018BFE-8C67-46C6-B3BC-7DB169E3CF56}"/>
              </a:ext>
            </a:extLst>
          </p:cNvPr>
          <p:cNvSpPr/>
          <p:nvPr/>
        </p:nvSpPr>
        <p:spPr>
          <a:xfrm>
            <a:off x="2305160" y="3620042"/>
            <a:ext cx="399008" cy="384982"/>
          </a:xfrm>
          <a:custGeom>
            <a:avLst/>
            <a:gdLst>
              <a:gd name="connsiteX0" fmla="*/ 318731 w 399008"/>
              <a:gd name="connsiteY0" fmla="*/ 384983 h 384982"/>
              <a:gd name="connsiteX1" fmla="*/ 287870 w 399008"/>
              <a:gd name="connsiteY1" fmla="*/ 373017 h 384982"/>
              <a:gd name="connsiteX2" fmla="*/ 270236 w 399008"/>
              <a:gd name="connsiteY2" fmla="*/ 356012 h 384982"/>
              <a:gd name="connsiteX3" fmla="*/ 135458 w 399008"/>
              <a:gd name="connsiteY3" fmla="*/ 226902 h 384982"/>
              <a:gd name="connsiteX4" fmla="*/ 36579 w 399008"/>
              <a:gd name="connsiteY4" fmla="*/ 198561 h 384982"/>
              <a:gd name="connsiteX5" fmla="*/ 6978 w 399008"/>
              <a:gd name="connsiteY5" fmla="*/ 75749 h 384982"/>
              <a:gd name="connsiteX6" fmla="*/ 18944 w 399008"/>
              <a:gd name="connsiteY6" fmla="*/ 65043 h 384982"/>
              <a:gd name="connsiteX7" fmla="*/ 34060 w 399008"/>
              <a:gd name="connsiteY7" fmla="*/ 68821 h 384982"/>
              <a:gd name="connsiteX8" fmla="*/ 86333 w 399008"/>
              <a:gd name="connsiteY8" fmla="*/ 117316 h 384982"/>
              <a:gd name="connsiteX9" fmla="*/ 115304 w 399008"/>
              <a:gd name="connsiteY9" fmla="*/ 85826 h 384982"/>
              <a:gd name="connsiteX10" fmla="*/ 63031 w 399008"/>
              <a:gd name="connsiteY10" fmla="*/ 37331 h 384982"/>
              <a:gd name="connsiteX11" fmla="*/ 57992 w 399008"/>
              <a:gd name="connsiteY11" fmla="*/ 22216 h 384982"/>
              <a:gd name="connsiteX12" fmla="*/ 67439 w 399008"/>
              <a:gd name="connsiteY12" fmla="*/ 9620 h 384982"/>
              <a:gd name="connsiteX13" fmla="*/ 192140 w 399008"/>
              <a:gd name="connsiteY13" fmla="*/ 30403 h 384982"/>
              <a:gd name="connsiteX14" fmla="*/ 228039 w 399008"/>
              <a:gd name="connsiteY14" fmla="*/ 126763 h 384982"/>
              <a:gd name="connsiteX15" fmla="*/ 343293 w 399008"/>
              <a:gd name="connsiteY15" fmla="*/ 230681 h 384982"/>
              <a:gd name="connsiteX16" fmla="*/ 384860 w 399008"/>
              <a:gd name="connsiteY16" fmla="*/ 267840 h 384982"/>
              <a:gd name="connsiteX17" fmla="*/ 398716 w 399008"/>
              <a:gd name="connsiteY17" fmla="*/ 304998 h 384982"/>
              <a:gd name="connsiteX18" fmla="*/ 325029 w 399008"/>
              <a:gd name="connsiteY18" fmla="*/ 383723 h 384982"/>
              <a:gd name="connsiteX19" fmla="*/ 318731 w 399008"/>
              <a:gd name="connsiteY19" fmla="*/ 384983 h 384982"/>
              <a:gd name="connsiteX20" fmla="*/ 318731 w 399008"/>
              <a:gd name="connsiteY20" fmla="*/ 384983 h 384982"/>
              <a:gd name="connsiteX21" fmla="*/ 140496 w 399008"/>
              <a:gd name="connsiteY21" fmla="*/ 192263 h 384982"/>
              <a:gd name="connsiteX22" fmla="*/ 151833 w 399008"/>
              <a:gd name="connsiteY22" fmla="*/ 196671 h 384982"/>
              <a:gd name="connsiteX23" fmla="*/ 292909 w 399008"/>
              <a:gd name="connsiteY23" fmla="*/ 332079 h 384982"/>
              <a:gd name="connsiteX24" fmla="*/ 310543 w 399008"/>
              <a:gd name="connsiteY24" fmla="*/ 349084 h 384982"/>
              <a:gd name="connsiteX25" fmla="*/ 318101 w 399008"/>
              <a:gd name="connsiteY25" fmla="*/ 351603 h 384982"/>
              <a:gd name="connsiteX26" fmla="*/ 318731 w 399008"/>
              <a:gd name="connsiteY26" fmla="*/ 351603 h 384982"/>
              <a:gd name="connsiteX27" fmla="*/ 365336 w 399008"/>
              <a:gd name="connsiteY27" fmla="*/ 301219 h 384982"/>
              <a:gd name="connsiteX28" fmla="*/ 362187 w 399008"/>
              <a:gd name="connsiteY28" fmla="*/ 293032 h 384982"/>
              <a:gd name="connsiteX29" fmla="*/ 320620 w 399008"/>
              <a:gd name="connsiteY29" fmla="*/ 255873 h 384982"/>
              <a:gd name="connsiteX30" fmla="*/ 198438 w 399008"/>
              <a:gd name="connsiteY30" fmla="*/ 146287 h 384982"/>
              <a:gd name="connsiteX31" fmla="*/ 193400 w 399008"/>
              <a:gd name="connsiteY31" fmla="*/ 130542 h 384982"/>
              <a:gd name="connsiteX32" fmla="*/ 169467 w 399008"/>
              <a:gd name="connsiteY32" fmla="*/ 55596 h 384982"/>
              <a:gd name="connsiteX33" fmla="*/ 107747 w 399008"/>
              <a:gd name="connsiteY33" fmla="*/ 34182 h 384982"/>
              <a:gd name="connsiteX34" fmla="*/ 141756 w 399008"/>
              <a:gd name="connsiteY34" fmla="*/ 65672 h 384982"/>
              <a:gd name="connsiteX35" fmla="*/ 143016 w 399008"/>
              <a:gd name="connsiteY35" fmla="*/ 105980 h 384982"/>
              <a:gd name="connsiteX36" fmla="*/ 107117 w 399008"/>
              <a:gd name="connsiteY36" fmla="*/ 144398 h 384982"/>
              <a:gd name="connsiteX37" fmla="*/ 66809 w 399008"/>
              <a:gd name="connsiteY37" fmla="*/ 145658 h 384982"/>
              <a:gd name="connsiteX38" fmla="*/ 32800 w 399008"/>
              <a:gd name="connsiteY38" fmla="*/ 114167 h 384982"/>
              <a:gd name="connsiteX39" fmla="*/ 58622 w 399008"/>
              <a:gd name="connsiteY39" fmla="*/ 173999 h 384982"/>
              <a:gd name="connsiteX40" fmla="*/ 135458 w 399008"/>
              <a:gd name="connsiteY40" fmla="*/ 192893 h 384982"/>
              <a:gd name="connsiteX41" fmla="*/ 140496 w 399008"/>
              <a:gd name="connsiteY41" fmla="*/ 192263 h 384982"/>
              <a:gd name="connsiteX42" fmla="*/ 140496 w 399008"/>
              <a:gd name="connsiteY42" fmla="*/ 192263 h 384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399008" h="384982">
                <a:moveTo>
                  <a:pt x="318731" y="384983"/>
                </a:moveTo>
                <a:cubicBezTo>
                  <a:pt x="307394" y="384983"/>
                  <a:pt x="295428" y="379945"/>
                  <a:pt x="287870" y="373017"/>
                </a:cubicBezTo>
                <a:lnTo>
                  <a:pt x="270236" y="356012"/>
                </a:lnTo>
                <a:cubicBezTo>
                  <a:pt x="225520" y="313185"/>
                  <a:pt x="180174" y="269729"/>
                  <a:pt x="135458" y="226902"/>
                </a:cubicBezTo>
                <a:cubicBezTo>
                  <a:pt x="100189" y="233200"/>
                  <a:pt x="63031" y="223123"/>
                  <a:pt x="36579" y="198561"/>
                </a:cubicBezTo>
                <a:cubicBezTo>
                  <a:pt x="2569" y="167071"/>
                  <a:pt x="-8767" y="119206"/>
                  <a:pt x="6978" y="75749"/>
                </a:cubicBezTo>
                <a:cubicBezTo>
                  <a:pt x="8867" y="70711"/>
                  <a:pt x="13276" y="66302"/>
                  <a:pt x="18944" y="65043"/>
                </a:cubicBezTo>
                <a:cubicBezTo>
                  <a:pt x="24612" y="63783"/>
                  <a:pt x="30281" y="65043"/>
                  <a:pt x="34060" y="68821"/>
                </a:cubicBezTo>
                <a:lnTo>
                  <a:pt x="86333" y="117316"/>
                </a:lnTo>
                <a:lnTo>
                  <a:pt x="115304" y="85826"/>
                </a:lnTo>
                <a:lnTo>
                  <a:pt x="63031" y="37331"/>
                </a:lnTo>
                <a:cubicBezTo>
                  <a:pt x="58622" y="33553"/>
                  <a:pt x="56732" y="27884"/>
                  <a:pt x="57992" y="22216"/>
                </a:cubicBezTo>
                <a:cubicBezTo>
                  <a:pt x="58622" y="16548"/>
                  <a:pt x="62401" y="12139"/>
                  <a:pt x="67439" y="9620"/>
                </a:cubicBezTo>
                <a:cubicBezTo>
                  <a:pt x="108376" y="-8644"/>
                  <a:pt x="158761" y="-457"/>
                  <a:pt x="192140" y="30403"/>
                </a:cubicBezTo>
                <a:cubicBezTo>
                  <a:pt x="219222" y="55596"/>
                  <a:pt x="231818" y="90864"/>
                  <a:pt x="228039" y="126763"/>
                </a:cubicBezTo>
                <a:cubicBezTo>
                  <a:pt x="266457" y="161403"/>
                  <a:pt x="304875" y="196042"/>
                  <a:pt x="343293" y="230681"/>
                </a:cubicBezTo>
                <a:lnTo>
                  <a:pt x="384860" y="267840"/>
                </a:lnTo>
                <a:cubicBezTo>
                  <a:pt x="393048" y="274767"/>
                  <a:pt x="400605" y="290512"/>
                  <a:pt x="398716" y="304998"/>
                </a:cubicBezTo>
                <a:cubicBezTo>
                  <a:pt x="394307" y="343416"/>
                  <a:pt x="363447" y="376796"/>
                  <a:pt x="325029" y="383723"/>
                </a:cubicBezTo>
                <a:cubicBezTo>
                  <a:pt x="323139" y="384353"/>
                  <a:pt x="320620" y="384983"/>
                  <a:pt x="318731" y="384983"/>
                </a:cubicBezTo>
                <a:lnTo>
                  <a:pt x="318731" y="384983"/>
                </a:lnTo>
                <a:close/>
                <a:moveTo>
                  <a:pt x="140496" y="192263"/>
                </a:moveTo>
                <a:cubicBezTo>
                  <a:pt x="144905" y="192263"/>
                  <a:pt x="148684" y="194152"/>
                  <a:pt x="151833" y="196671"/>
                </a:cubicBezTo>
                <a:cubicBezTo>
                  <a:pt x="199068" y="242017"/>
                  <a:pt x="245674" y="286734"/>
                  <a:pt x="292909" y="332079"/>
                </a:cubicBezTo>
                <a:lnTo>
                  <a:pt x="310543" y="349084"/>
                </a:lnTo>
                <a:cubicBezTo>
                  <a:pt x="311803" y="349714"/>
                  <a:pt x="315582" y="351603"/>
                  <a:pt x="318101" y="351603"/>
                </a:cubicBezTo>
                <a:lnTo>
                  <a:pt x="318731" y="351603"/>
                </a:lnTo>
                <a:cubicBezTo>
                  <a:pt x="342663" y="347195"/>
                  <a:pt x="362817" y="325152"/>
                  <a:pt x="365336" y="301219"/>
                </a:cubicBezTo>
                <a:cubicBezTo>
                  <a:pt x="365336" y="299330"/>
                  <a:pt x="363447" y="294921"/>
                  <a:pt x="362187" y="293032"/>
                </a:cubicBezTo>
                <a:lnTo>
                  <a:pt x="320620" y="255873"/>
                </a:lnTo>
                <a:cubicBezTo>
                  <a:pt x="279683" y="219345"/>
                  <a:pt x="239376" y="182816"/>
                  <a:pt x="198438" y="146287"/>
                </a:cubicBezTo>
                <a:cubicBezTo>
                  <a:pt x="194030" y="142508"/>
                  <a:pt x="192140" y="136210"/>
                  <a:pt x="193400" y="130542"/>
                </a:cubicBezTo>
                <a:cubicBezTo>
                  <a:pt x="199068" y="102831"/>
                  <a:pt x="189621" y="74490"/>
                  <a:pt x="169467" y="55596"/>
                </a:cubicBezTo>
                <a:cubicBezTo>
                  <a:pt x="153092" y="39851"/>
                  <a:pt x="130420" y="32293"/>
                  <a:pt x="107747" y="34182"/>
                </a:cubicBezTo>
                <a:lnTo>
                  <a:pt x="141756" y="65672"/>
                </a:lnTo>
                <a:cubicBezTo>
                  <a:pt x="153092" y="76379"/>
                  <a:pt x="153722" y="94643"/>
                  <a:pt x="143016" y="105980"/>
                </a:cubicBezTo>
                <a:lnTo>
                  <a:pt x="107117" y="144398"/>
                </a:lnTo>
                <a:cubicBezTo>
                  <a:pt x="97040" y="155734"/>
                  <a:pt x="78146" y="156364"/>
                  <a:pt x="66809" y="145658"/>
                </a:cubicBezTo>
                <a:lnTo>
                  <a:pt x="32800" y="114167"/>
                </a:lnTo>
                <a:cubicBezTo>
                  <a:pt x="32800" y="136210"/>
                  <a:pt x="41617" y="158254"/>
                  <a:pt x="58622" y="173999"/>
                </a:cubicBezTo>
                <a:cubicBezTo>
                  <a:pt x="78776" y="192893"/>
                  <a:pt x="108376" y="199820"/>
                  <a:pt x="135458" y="192893"/>
                </a:cubicBezTo>
                <a:cubicBezTo>
                  <a:pt x="137347" y="192263"/>
                  <a:pt x="138607" y="192263"/>
                  <a:pt x="140496" y="192263"/>
                </a:cubicBezTo>
                <a:lnTo>
                  <a:pt x="140496" y="192263"/>
                </a:lnTo>
                <a:close/>
              </a:path>
            </a:pathLst>
          </a:custGeom>
          <a:solidFill>
            <a:srgbClr val="B1B1A1"/>
          </a:solidFill>
          <a:ln w="6294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grpSp>
        <p:nvGrpSpPr>
          <p:cNvPr id="24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9461041" y="520320"/>
            <a:ext cx="379771" cy="387959"/>
            <a:chOff x="9461041" y="520320"/>
            <a:chExt cx="379771" cy="387959"/>
          </a:xfrm>
          <a:solidFill>
            <a:srgbClr val="B1B1A1"/>
          </a:solidFill>
        </p:grpSpPr>
        <p:grpSp>
          <p:nvGrpSpPr>
            <p:cNvPr id="25" name="Gráfico 2">
              <a:extLst>
                <a:ext uri="{FF2B5EF4-FFF2-40B4-BE49-F238E27FC236}">
                  <a16:creationId xmlns:a16="http://schemas.microsoft.com/office/drawing/2014/main" id="{A475B8DB-D93F-4DA6-8335-80171E5C5B8D}"/>
                </a:ext>
              </a:extLst>
            </p:cNvPr>
            <p:cNvGrpSpPr/>
            <p:nvPr/>
          </p:nvGrpSpPr>
          <p:grpSpPr>
            <a:xfrm>
              <a:off x="9461041" y="586933"/>
              <a:ext cx="240112" cy="253957"/>
              <a:chOff x="9461041" y="586933"/>
              <a:chExt cx="240112" cy="253957"/>
            </a:xfrm>
            <a:grpFill/>
          </p:grpSpPr>
          <p:sp>
            <p:nvSpPr>
              <p:cNvPr id="26" name="Forma Livre: Forma 25">
                <a:extLst>
                  <a:ext uri="{FF2B5EF4-FFF2-40B4-BE49-F238E27FC236}">
                    <a16:creationId xmlns:a16="http://schemas.microsoft.com/office/drawing/2014/main" id="{CB42F15A-5B3A-4014-B570-2DF252E96A13}"/>
                  </a:ext>
                </a:extLst>
              </p:cNvPr>
              <p:cNvSpPr/>
              <p:nvPr/>
            </p:nvSpPr>
            <p:spPr>
              <a:xfrm>
                <a:off x="9587485" y="586933"/>
                <a:ext cx="113668" cy="253957"/>
              </a:xfrm>
              <a:custGeom>
                <a:avLst/>
                <a:gdLst>
                  <a:gd name="connsiteX0" fmla="*/ 17151 w 113668"/>
                  <a:gd name="connsiteY0" fmla="*/ 253958 h 253957"/>
                  <a:gd name="connsiteX1" fmla="*/ 7074 w 113668"/>
                  <a:gd name="connsiteY1" fmla="*/ 250809 h 253957"/>
                  <a:gd name="connsiteX2" fmla="*/ 3296 w 113668"/>
                  <a:gd name="connsiteY2" fmla="*/ 227506 h 253957"/>
                  <a:gd name="connsiteX3" fmla="*/ 76353 w 113668"/>
                  <a:gd name="connsiteY3" fmla="*/ 127367 h 253957"/>
                  <a:gd name="connsiteX4" fmla="*/ 3296 w 113668"/>
                  <a:gd name="connsiteY4" fmla="*/ 26599 h 253957"/>
                  <a:gd name="connsiteX5" fmla="*/ 7074 w 113668"/>
                  <a:gd name="connsiteY5" fmla="*/ 3296 h 253957"/>
                  <a:gd name="connsiteX6" fmla="*/ 30377 w 113668"/>
                  <a:gd name="connsiteY6" fmla="*/ 7075 h 253957"/>
                  <a:gd name="connsiteX7" fmla="*/ 110362 w 113668"/>
                  <a:gd name="connsiteY7" fmla="*/ 117290 h 253957"/>
                  <a:gd name="connsiteX8" fmla="*/ 110362 w 113668"/>
                  <a:gd name="connsiteY8" fmla="*/ 136814 h 253957"/>
                  <a:gd name="connsiteX9" fmla="*/ 30377 w 113668"/>
                  <a:gd name="connsiteY9" fmla="*/ 247030 h 253957"/>
                  <a:gd name="connsiteX10" fmla="*/ 17151 w 113668"/>
                  <a:gd name="connsiteY10" fmla="*/ 253958 h 253957"/>
                  <a:gd name="connsiteX11" fmla="*/ 17151 w 113668"/>
                  <a:gd name="connsiteY11" fmla="*/ 253958 h 2539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3668" h="253957">
                    <a:moveTo>
                      <a:pt x="17151" y="253958"/>
                    </a:moveTo>
                    <a:cubicBezTo>
                      <a:pt x="14002" y="253958"/>
                      <a:pt x="10223" y="252698"/>
                      <a:pt x="7074" y="250809"/>
                    </a:cubicBezTo>
                    <a:cubicBezTo>
                      <a:pt x="-483" y="245140"/>
                      <a:pt x="-1743" y="235064"/>
                      <a:pt x="3296" y="227506"/>
                    </a:cubicBezTo>
                    <a:lnTo>
                      <a:pt x="76353" y="127367"/>
                    </a:lnTo>
                    <a:lnTo>
                      <a:pt x="3296" y="26599"/>
                    </a:lnTo>
                    <a:cubicBezTo>
                      <a:pt x="-2373" y="19041"/>
                      <a:pt x="-483" y="8964"/>
                      <a:pt x="7074" y="3296"/>
                    </a:cubicBezTo>
                    <a:cubicBezTo>
                      <a:pt x="14632" y="-2372"/>
                      <a:pt x="24709" y="-483"/>
                      <a:pt x="30377" y="7075"/>
                    </a:cubicBezTo>
                    <a:lnTo>
                      <a:pt x="110362" y="117290"/>
                    </a:lnTo>
                    <a:cubicBezTo>
                      <a:pt x="114771" y="122958"/>
                      <a:pt x="114771" y="131146"/>
                      <a:pt x="110362" y="136814"/>
                    </a:cubicBezTo>
                    <a:lnTo>
                      <a:pt x="30377" y="247030"/>
                    </a:lnTo>
                    <a:cubicBezTo>
                      <a:pt x="27228" y="251438"/>
                      <a:pt x="22190" y="253958"/>
                      <a:pt x="17151" y="253958"/>
                    </a:cubicBezTo>
                    <a:lnTo>
                      <a:pt x="17151" y="253958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7" name="Forma Livre: Forma 26">
                <a:extLst>
                  <a:ext uri="{FF2B5EF4-FFF2-40B4-BE49-F238E27FC236}">
                    <a16:creationId xmlns:a16="http://schemas.microsoft.com/office/drawing/2014/main" id="{1D2B66E6-5472-49D1-9332-96813E2D6AA8}"/>
                  </a:ext>
                </a:extLst>
              </p:cNvPr>
              <p:cNvSpPr/>
              <p:nvPr/>
            </p:nvSpPr>
            <p:spPr>
              <a:xfrm>
                <a:off x="9461041" y="697925"/>
                <a:ext cx="239955" cy="32749"/>
              </a:xfrm>
              <a:custGeom>
                <a:avLst/>
                <a:gdLst>
                  <a:gd name="connsiteX0" fmla="*/ 223580 w 239955"/>
                  <a:gd name="connsiteY0" fmla="*/ 32750 h 32749"/>
                  <a:gd name="connsiteX1" fmla="*/ 16375 w 239955"/>
                  <a:gd name="connsiteY1" fmla="*/ 32750 h 32749"/>
                  <a:gd name="connsiteX2" fmla="*/ 0 w 239955"/>
                  <a:gd name="connsiteY2" fmla="*/ 16375 h 32749"/>
                  <a:gd name="connsiteX3" fmla="*/ 16375 w 239955"/>
                  <a:gd name="connsiteY3" fmla="*/ 0 h 32749"/>
                  <a:gd name="connsiteX4" fmla="*/ 223580 w 239955"/>
                  <a:gd name="connsiteY4" fmla="*/ 0 h 32749"/>
                  <a:gd name="connsiteX5" fmla="*/ 239955 w 239955"/>
                  <a:gd name="connsiteY5" fmla="*/ 16375 h 32749"/>
                  <a:gd name="connsiteX6" fmla="*/ 223580 w 239955"/>
                  <a:gd name="connsiteY6" fmla="*/ 32750 h 32749"/>
                  <a:gd name="connsiteX7" fmla="*/ 223580 w 239955"/>
                  <a:gd name="connsiteY7" fmla="*/ 32750 h 32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955" h="32749">
                    <a:moveTo>
                      <a:pt x="223580" y="32750"/>
                    </a:moveTo>
                    <a:lnTo>
                      <a:pt x="16375" y="32750"/>
                    </a:lnTo>
                    <a:cubicBezTo>
                      <a:pt x="6928" y="32750"/>
                      <a:pt x="0" y="25192"/>
                      <a:pt x="0" y="16375"/>
                    </a:cubicBezTo>
                    <a:cubicBezTo>
                      <a:pt x="0" y="6928"/>
                      <a:pt x="7557" y="0"/>
                      <a:pt x="16375" y="0"/>
                    </a:cubicBezTo>
                    <a:lnTo>
                      <a:pt x="223580" y="0"/>
                    </a:lnTo>
                    <a:cubicBezTo>
                      <a:pt x="233027" y="0"/>
                      <a:pt x="239955" y="7558"/>
                      <a:pt x="239955" y="16375"/>
                    </a:cubicBezTo>
                    <a:cubicBezTo>
                      <a:pt x="239955" y="25192"/>
                      <a:pt x="232397" y="32750"/>
                      <a:pt x="223580" y="32750"/>
                    </a:cubicBezTo>
                    <a:lnTo>
                      <a:pt x="223580" y="32750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28" name="Forma Livre: Forma 27">
              <a:extLst>
                <a:ext uri="{FF2B5EF4-FFF2-40B4-BE49-F238E27FC236}">
                  <a16:creationId xmlns:a16="http://schemas.microsoft.com/office/drawing/2014/main" id="{A171E31C-E76C-439E-BBB0-C4E851ED5C21}"/>
                </a:ext>
              </a:extLst>
            </p:cNvPr>
            <p:cNvSpPr/>
            <p:nvPr/>
          </p:nvSpPr>
          <p:spPr>
            <a:xfrm>
              <a:off x="9808063" y="520320"/>
              <a:ext cx="32749" cy="387959"/>
            </a:xfrm>
            <a:custGeom>
              <a:avLst/>
              <a:gdLst>
                <a:gd name="connsiteX0" fmla="*/ 16375 w 32749"/>
                <a:gd name="connsiteY0" fmla="*/ 387959 h 387959"/>
                <a:gd name="connsiteX1" fmla="*/ 0 w 32749"/>
                <a:gd name="connsiteY1" fmla="*/ 371584 h 387959"/>
                <a:gd name="connsiteX2" fmla="*/ 0 w 32749"/>
                <a:gd name="connsiteY2" fmla="*/ 16375 h 387959"/>
                <a:gd name="connsiteX3" fmla="*/ 16375 w 32749"/>
                <a:gd name="connsiteY3" fmla="*/ 0 h 387959"/>
                <a:gd name="connsiteX4" fmla="*/ 32749 w 32749"/>
                <a:gd name="connsiteY4" fmla="*/ 16375 h 387959"/>
                <a:gd name="connsiteX5" fmla="*/ 32749 w 32749"/>
                <a:gd name="connsiteY5" fmla="*/ 371584 h 387959"/>
                <a:gd name="connsiteX6" fmla="*/ 16375 w 32749"/>
                <a:gd name="connsiteY6" fmla="*/ 387959 h 387959"/>
                <a:gd name="connsiteX7" fmla="*/ 16375 w 32749"/>
                <a:gd name="connsiteY7" fmla="*/ 387959 h 387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749" h="387959">
                  <a:moveTo>
                    <a:pt x="16375" y="387959"/>
                  </a:moveTo>
                  <a:cubicBezTo>
                    <a:pt x="6928" y="387959"/>
                    <a:pt x="0" y="380402"/>
                    <a:pt x="0" y="371584"/>
                  </a:cubicBezTo>
                  <a:lnTo>
                    <a:pt x="0" y="16375"/>
                  </a:lnTo>
                  <a:cubicBezTo>
                    <a:pt x="0" y="6928"/>
                    <a:pt x="7557" y="0"/>
                    <a:pt x="16375" y="0"/>
                  </a:cubicBezTo>
                  <a:cubicBezTo>
                    <a:pt x="25192" y="0"/>
                    <a:pt x="32749" y="7558"/>
                    <a:pt x="32749" y="16375"/>
                  </a:cubicBezTo>
                  <a:lnTo>
                    <a:pt x="32749" y="371584"/>
                  </a:lnTo>
                  <a:cubicBezTo>
                    <a:pt x="32749" y="380402"/>
                    <a:pt x="25192" y="387959"/>
                    <a:pt x="16375" y="387959"/>
                  </a:cubicBezTo>
                  <a:lnTo>
                    <a:pt x="16375" y="387959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29" name="Gráfico 2">
              <a:extLst>
                <a:ext uri="{FF2B5EF4-FFF2-40B4-BE49-F238E27FC236}">
                  <a16:creationId xmlns:a16="http://schemas.microsoft.com/office/drawing/2014/main" id="{A475B8DB-D93F-4DA6-8335-80171E5C5B8D}"/>
                </a:ext>
              </a:extLst>
            </p:cNvPr>
            <p:cNvGrpSpPr/>
            <p:nvPr/>
          </p:nvGrpSpPr>
          <p:grpSpPr>
            <a:xfrm>
              <a:off x="9584483" y="520320"/>
              <a:ext cx="256329" cy="387959"/>
              <a:chOff x="9584483" y="520320"/>
              <a:chExt cx="256329" cy="387959"/>
            </a:xfrm>
            <a:grpFill/>
          </p:grpSpPr>
          <p:sp>
            <p:nvSpPr>
              <p:cNvPr id="30" name="Forma Livre: Forma 29">
                <a:extLst>
                  <a:ext uri="{FF2B5EF4-FFF2-40B4-BE49-F238E27FC236}">
                    <a16:creationId xmlns:a16="http://schemas.microsoft.com/office/drawing/2014/main" id="{B9E0CA2E-7327-4F35-B626-7550838AD814}"/>
                  </a:ext>
                </a:extLst>
              </p:cNvPr>
              <p:cNvSpPr/>
              <p:nvPr/>
            </p:nvSpPr>
            <p:spPr>
              <a:xfrm>
                <a:off x="9584483" y="520320"/>
                <a:ext cx="256329" cy="32749"/>
              </a:xfrm>
              <a:custGeom>
                <a:avLst/>
                <a:gdLst>
                  <a:gd name="connsiteX0" fmla="*/ 239955 w 256329"/>
                  <a:gd name="connsiteY0" fmla="*/ 32750 h 32749"/>
                  <a:gd name="connsiteX1" fmla="*/ 16375 w 256329"/>
                  <a:gd name="connsiteY1" fmla="*/ 32750 h 32749"/>
                  <a:gd name="connsiteX2" fmla="*/ 0 w 256329"/>
                  <a:gd name="connsiteY2" fmla="*/ 16375 h 32749"/>
                  <a:gd name="connsiteX3" fmla="*/ 16375 w 256329"/>
                  <a:gd name="connsiteY3" fmla="*/ 0 h 32749"/>
                  <a:gd name="connsiteX4" fmla="*/ 239955 w 256329"/>
                  <a:gd name="connsiteY4" fmla="*/ 0 h 32749"/>
                  <a:gd name="connsiteX5" fmla="*/ 256330 w 256329"/>
                  <a:gd name="connsiteY5" fmla="*/ 16375 h 32749"/>
                  <a:gd name="connsiteX6" fmla="*/ 239955 w 256329"/>
                  <a:gd name="connsiteY6" fmla="*/ 32750 h 32749"/>
                  <a:gd name="connsiteX7" fmla="*/ 239955 w 256329"/>
                  <a:gd name="connsiteY7" fmla="*/ 32750 h 32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6329" h="32749">
                    <a:moveTo>
                      <a:pt x="239955" y="32750"/>
                    </a:moveTo>
                    <a:lnTo>
                      <a:pt x="16375" y="32750"/>
                    </a:lnTo>
                    <a:cubicBezTo>
                      <a:pt x="6928" y="32750"/>
                      <a:pt x="0" y="25192"/>
                      <a:pt x="0" y="16375"/>
                    </a:cubicBezTo>
                    <a:cubicBezTo>
                      <a:pt x="0" y="6928"/>
                      <a:pt x="7557" y="0"/>
                      <a:pt x="16375" y="0"/>
                    </a:cubicBezTo>
                    <a:lnTo>
                      <a:pt x="239955" y="0"/>
                    </a:lnTo>
                    <a:cubicBezTo>
                      <a:pt x="249402" y="0"/>
                      <a:pt x="256330" y="7558"/>
                      <a:pt x="256330" y="16375"/>
                    </a:cubicBezTo>
                    <a:cubicBezTo>
                      <a:pt x="256330" y="25192"/>
                      <a:pt x="248773" y="32750"/>
                      <a:pt x="239955" y="32750"/>
                    </a:cubicBezTo>
                    <a:lnTo>
                      <a:pt x="239955" y="32750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1" name="Forma Livre: Forma 30">
                <a:extLst>
                  <a:ext uri="{FF2B5EF4-FFF2-40B4-BE49-F238E27FC236}">
                    <a16:creationId xmlns:a16="http://schemas.microsoft.com/office/drawing/2014/main" id="{66D15801-CE0C-43A3-9A85-917C344B09FF}"/>
                  </a:ext>
                </a:extLst>
              </p:cNvPr>
              <p:cNvSpPr/>
              <p:nvPr/>
            </p:nvSpPr>
            <p:spPr>
              <a:xfrm>
                <a:off x="9584483" y="875530"/>
                <a:ext cx="256329" cy="32749"/>
              </a:xfrm>
              <a:custGeom>
                <a:avLst/>
                <a:gdLst>
                  <a:gd name="connsiteX0" fmla="*/ 239955 w 256329"/>
                  <a:gd name="connsiteY0" fmla="*/ 32750 h 32749"/>
                  <a:gd name="connsiteX1" fmla="*/ 16375 w 256329"/>
                  <a:gd name="connsiteY1" fmla="*/ 32750 h 32749"/>
                  <a:gd name="connsiteX2" fmla="*/ 0 w 256329"/>
                  <a:gd name="connsiteY2" fmla="*/ 16375 h 32749"/>
                  <a:gd name="connsiteX3" fmla="*/ 16375 w 256329"/>
                  <a:gd name="connsiteY3" fmla="*/ 0 h 32749"/>
                  <a:gd name="connsiteX4" fmla="*/ 239955 w 256329"/>
                  <a:gd name="connsiteY4" fmla="*/ 0 h 32749"/>
                  <a:gd name="connsiteX5" fmla="*/ 256330 w 256329"/>
                  <a:gd name="connsiteY5" fmla="*/ 16375 h 32749"/>
                  <a:gd name="connsiteX6" fmla="*/ 239955 w 256329"/>
                  <a:gd name="connsiteY6" fmla="*/ 32750 h 32749"/>
                  <a:gd name="connsiteX7" fmla="*/ 239955 w 256329"/>
                  <a:gd name="connsiteY7" fmla="*/ 32750 h 32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6329" h="32749">
                    <a:moveTo>
                      <a:pt x="239955" y="32750"/>
                    </a:moveTo>
                    <a:lnTo>
                      <a:pt x="16375" y="32750"/>
                    </a:lnTo>
                    <a:cubicBezTo>
                      <a:pt x="6928" y="32750"/>
                      <a:pt x="0" y="25192"/>
                      <a:pt x="0" y="16375"/>
                    </a:cubicBezTo>
                    <a:cubicBezTo>
                      <a:pt x="0" y="6928"/>
                      <a:pt x="7557" y="0"/>
                      <a:pt x="16375" y="0"/>
                    </a:cubicBezTo>
                    <a:lnTo>
                      <a:pt x="239955" y="0"/>
                    </a:lnTo>
                    <a:cubicBezTo>
                      <a:pt x="249402" y="0"/>
                      <a:pt x="256330" y="7558"/>
                      <a:pt x="256330" y="16375"/>
                    </a:cubicBezTo>
                    <a:cubicBezTo>
                      <a:pt x="256330" y="25192"/>
                      <a:pt x="248773" y="32750"/>
                      <a:pt x="239955" y="32750"/>
                    </a:cubicBezTo>
                    <a:lnTo>
                      <a:pt x="239955" y="32750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32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10484473" y="520320"/>
            <a:ext cx="379929" cy="387959"/>
            <a:chOff x="10484473" y="520320"/>
            <a:chExt cx="379929" cy="387959"/>
          </a:xfrm>
          <a:solidFill>
            <a:srgbClr val="B1B1A1"/>
          </a:solidFill>
        </p:grpSpPr>
        <p:grpSp>
          <p:nvGrpSpPr>
            <p:cNvPr id="33" name="Gráfico 2">
              <a:extLst>
                <a:ext uri="{FF2B5EF4-FFF2-40B4-BE49-F238E27FC236}">
                  <a16:creationId xmlns:a16="http://schemas.microsoft.com/office/drawing/2014/main" id="{A475B8DB-D93F-4DA6-8335-80171E5C5B8D}"/>
                </a:ext>
              </a:extLst>
            </p:cNvPr>
            <p:cNvGrpSpPr/>
            <p:nvPr/>
          </p:nvGrpSpPr>
          <p:grpSpPr>
            <a:xfrm>
              <a:off x="10624289" y="586933"/>
              <a:ext cx="240112" cy="253957"/>
              <a:chOff x="10624289" y="586933"/>
              <a:chExt cx="240112" cy="253957"/>
            </a:xfrm>
            <a:grpFill/>
          </p:grpSpPr>
          <p:sp>
            <p:nvSpPr>
              <p:cNvPr id="34" name="Forma Livre: Forma 33">
                <a:extLst>
                  <a:ext uri="{FF2B5EF4-FFF2-40B4-BE49-F238E27FC236}">
                    <a16:creationId xmlns:a16="http://schemas.microsoft.com/office/drawing/2014/main" id="{BF012E6C-AB6E-4A41-83B6-42AEB6DA37C7}"/>
                  </a:ext>
                </a:extLst>
              </p:cNvPr>
              <p:cNvSpPr/>
              <p:nvPr/>
            </p:nvSpPr>
            <p:spPr>
              <a:xfrm>
                <a:off x="10750732" y="586933"/>
                <a:ext cx="113669" cy="253957"/>
              </a:xfrm>
              <a:custGeom>
                <a:avLst/>
                <a:gdLst>
                  <a:gd name="connsiteX0" fmla="*/ 17152 w 113669"/>
                  <a:gd name="connsiteY0" fmla="*/ 253958 h 253957"/>
                  <a:gd name="connsiteX1" fmla="*/ 7074 w 113669"/>
                  <a:gd name="connsiteY1" fmla="*/ 250809 h 253957"/>
                  <a:gd name="connsiteX2" fmla="*/ 3296 w 113669"/>
                  <a:gd name="connsiteY2" fmla="*/ 227506 h 253957"/>
                  <a:gd name="connsiteX3" fmla="*/ 76353 w 113669"/>
                  <a:gd name="connsiteY3" fmla="*/ 127367 h 253957"/>
                  <a:gd name="connsiteX4" fmla="*/ 3296 w 113669"/>
                  <a:gd name="connsiteY4" fmla="*/ 26599 h 253957"/>
                  <a:gd name="connsiteX5" fmla="*/ 7074 w 113669"/>
                  <a:gd name="connsiteY5" fmla="*/ 3296 h 253957"/>
                  <a:gd name="connsiteX6" fmla="*/ 30378 w 113669"/>
                  <a:gd name="connsiteY6" fmla="*/ 7075 h 253957"/>
                  <a:gd name="connsiteX7" fmla="*/ 110362 w 113669"/>
                  <a:gd name="connsiteY7" fmla="*/ 117290 h 253957"/>
                  <a:gd name="connsiteX8" fmla="*/ 110362 w 113669"/>
                  <a:gd name="connsiteY8" fmla="*/ 136814 h 253957"/>
                  <a:gd name="connsiteX9" fmla="*/ 30378 w 113669"/>
                  <a:gd name="connsiteY9" fmla="*/ 247030 h 253957"/>
                  <a:gd name="connsiteX10" fmla="*/ 17152 w 113669"/>
                  <a:gd name="connsiteY10" fmla="*/ 253958 h 253957"/>
                  <a:gd name="connsiteX11" fmla="*/ 17152 w 113669"/>
                  <a:gd name="connsiteY11" fmla="*/ 253958 h 2539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3669" h="253957">
                    <a:moveTo>
                      <a:pt x="17152" y="253958"/>
                    </a:moveTo>
                    <a:cubicBezTo>
                      <a:pt x="14003" y="253958"/>
                      <a:pt x="10223" y="252698"/>
                      <a:pt x="7074" y="250809"/>
                    </a:cubicBezTo>
                    <a:cubicBezTo>
                      <a:pt x="-483" y="245140"/>
                      <a:pt x="-1742" y="235064"/>
                      <a:pt x="3296" y="227506"/>
                    </a:cubicBezTo>
                    <a:lnTo>
                      <a:pt x="76353" y="127367"/>
                    </a:lnTo>
                    <a:lnTo>
                      <a:pt x="3296" y="26599"/>
                    </a:lnTo>
                    <a:cubicBezTo>
                      <a:pt x="-2373" y="19041"/>
                      <a:pt x="-483" y="8964"/>
                      <a:pt x="7074" y="3296"/>
                    </a:cubicBezTo>
                    <a:cubicBezTo>
                      <a:pt x="14633" y="-2372"/>
                      <a:pt x="24709" y="-483"/>
                      <a:pt x="30378" y="7075"/>
                    </a:cubicBezTo>
                    <a:lnTo>
                      <a:pt x="110362" y="117290"/>
                    </a:lnTo>
                    <a:cubicBezTo>
                      <a:pt x="114772" y="122958"/>
                      <a:pt x="114772" y="131146"/>
                      <a:pt x="110362" y="136814"/>
                    </a:cubicBezTo>
                    <a:lnTo>
                      <a:pt x="30378" y="247030"/>
                    </a:lnTo>
                    <a:cubicBezTo>
                      <a:pt x="27229" y="251438"/>
                      <a:pt x="22190" y="253958"/>
                      <a:pt x="17152" y="253958"/>
                    </a:cubicBezTo>
                    <a:lnTo>
                      <a:pt x="17152" y="253958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5" name="Forma Livre: Forma 34">
                <a:extLst>
                  <a:ext uri="{FF2B5EF4-FFF2-40B4-BE49-F238E27FC236}">
                    <a16:creationId xmlns:a16="http://schemas.microsoft.com/office/drawing/2014/main" id="{02831E02-3D65-49E4-9106-22911C176455}"/>
                  </a:ext>
                </a:extLst>
              </p:cNvPr>
              <p:cNvSpPr/>
              <p:nvPr/>
            </p:nvSpPr>
            <p:spPr>
              <a:xfrm>
                <a:off x="10624289" y="697925"/>
                <a:ext cx="239955" cy="32749"/>
              </a:xfrm>
              <a:custGeom>
                <a:avLst/>
                <a:gdLst>
                  <a:gd name="connsiteX0" fmla="*/ 223580 w 239955"/>
                  <a:gd name="connsiteY0" fmla="*/ 32750 h 32749"/>
                  <a:gd name="connsiteX1" fmla="*/ 16375 w 239955"/>
                  <a:gd name="connsiteY1" fmla="*/ 32750 h 32749"/>
                  <a:gd name="connsiteX2" fmla="*/ 0 w 239955"/>
                  <a:gd name="connsiteY2" fmla="*/ 16375 h 32749"/>
                  <a:gd name="connsiteX3" fmla="*/ 16375 w 239955"/>
                  <a:gd name="connsiteY3" fmla="*/ 0 h 32749"/>
                  <a:gd name="connsiteX4" fmla="*/ 223580 w 239955"/>
                  <a:gd name="connsiteY4" fmla="*/ 0 h 32749"/>
                  <a:gd name="connsiteX5" fmla="*/ 239955 w 239955"/>
                  <a:gd name="connsiteY5" fmla="*/ 16375 h 32749"/>
                  <a:gd name="connsiteX6" fmla="*/ 223580 w 239955"/>
                  <a:gd name="connsiteY6" fmla="*/ 32750 h 32749"/>
                  <a:gd name="connsiteX7" fmla="*/ 223580 w 239955"/>
                  <a:gd name="connsiteY7" fmla="*/ 32750 h 32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955" h="32749">
                    <a:moveTo>
                      <a:pt x="223580" y="32750"/>
                    </a:moveTo>
                    <a:lnTo>
                      <a:pt x="16375" y="32750"/>
                    </a:lnTo>
                    <a:cubicBezTo>
                      <a:pt x="6928" y="32750"/>
                      <a:pt x="0" y="25192"/>
                      <a:pt x="0" y="16375"/>
                    </a:cubicBezTo>
                    <a:cubicBezTo>
                      <a:pt x="0" y="6928"/>
                      <a:pt x="7557" y="0"/>
                      <a:pt x="16375" y="0"/>
                    </a:cubicBezTo>
                    <a:lnTo>
                      <a:pt x="223580" y="0"/>
                    </a:lnTo>
                    <a:cubicBezTo>
                      <a:pt x="233027" y="0"/>
                      <a:pt x="239955" y="7558"/>
                      <a:pt x="239955" y="16375"/>
                    </a:cubicBezTo>
                    <a:cubicBezTo>
                      <a:pt x="239955" y="25192"/>
                      <a:pt x="233027" y="32750"/>
                      <a:pt x="223580" y="32750"/>
                    </a:cubicBezTo>
                    <a:lnTo>
                      <a:pt x="223580" y="32750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36" name="Forma Livre: Forma 35">
              <a:extLst>
                <a:ext uri="{FF2B5EF4-FFF2-40B4-BE49-F238E27FC236}">
                  <a16:creationId xmlns:a16="http://schemas.microsoft.com/office/drawing/2014/main" id="{6B666306-28B2-4A83-B531-0DE7452EB706}"/>
                </a:ext>
              </a:extLst>
            </p:cNvPr>
            <p:cNvSpPr/>
            <p:nvPr/>
          </p:nvSpPr>
          <p:spPr>
            <a:xfrm>
              <a:off x="10484473" y="520320"/>
              <a:ext cx="32786" cy="387959"/>
            </a:xfrm>
            <a:custGeom>
              <a:avLst/>
              <a:gdLst>
                <a:gd name="connsiteX0" fmla="*/ 16375 w 32786"/>
                <a:gd name="connsiteY0" fmla="*/ 387959 h 387959"/>
                <a:gd name="connsiteX1" fmla="*/ 0 w 32786"/>
                <a:gd name="connsiteY1" fmla="*/ 371584 h 387959"/>
                <a:gd name="connsiteX2" fmla="*/ 0 w 32786"/>
                <a:gd name="connsiteY2" fmla="*/ 16375 h 387959"/>
                <a:gd name="connsiteX3" fmla="*/ 16375 w 32786"/>
                <a:gd name="connsiteY3" fmla="*/ 0 h 387959"/>
                <a:gd name="connsiteX4" fmla="*/ 32749 w 32786"/>
                <a:gd name="connsiteY4" fmla="*/ 16375 h 387959"/>
                <a:gd name="connsiteX5" fmla="*/ 32749 w 32786"/>
                <a:gd name="connsiteY5" fmla="*/ 371584 h 387959"/>
                <a:gd name="connsiteX6" fmla="*/ 16375 w 32786"/>
                <a:gd name="connsiteY6" fmla="*/ 387959 h 387959"/>
                <a:gd name="connsiteX7" fmla="*/ 16375 w 32786"/>
                <a:gd name="connsiteY7" fmla="*/ 387959 h 387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786" h="387959">
                  <a:moveTo>
                    <a:pt x="16375" y="387959"/>
                  </a:moveTo>
                  <a:cubicBezTo>
                    <a:pt x="6928" y="387959"/>
                    <a:pt x="0" y="380402"/>
                    <a:pt x="0" y="371584"/>
                  </a:cubicBezTo>
                  <a:lnTo>
                    <a:pt x="0" y="16375"/>
                  </a:lnTo>
                  <a:cubicBezTo>
                    <a:pt x="0" y="6928"/>
                    <a:pt x="7557" y="0"/>
                    <a:pt x="16375" y="0"/>
                  </a:cubicBezTo>
                  <a:cubicBezTo>
                    <a:pt x="25192" y="0"/>
                    <a:pt x="32749" y="7558"/>
                    <a:pt x="32749" y="16375"/>
                  </a:cubicBezTo>
                  <a:lnTo>
                    <a:pt x="32749" y="371584"/>
                  </a:lnTo>
                  <a:cubicBezTo>
                    <a:pt x="33379" y="380402"/>
                    <a:pt x="25822" y="387959"/>
                    <a:pt x="16375" y="387959"/>
                  </a:cubicBezTo>
                  <a:lnTo>
                    <a:pt x="16375" y="387959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37" name="Gráfico 2">
              <a:extLst>
                <a:ext uri="{FF2B5EF4-FFF2-40B4-BE49-F238E27FC236}">
                  <a16:creationId xmlns:a16="http://schemas.microsoft.com/office/drawing/2014/main" id="{A475B8DB-D93F-4DA6-8335-80171E5C5B8D}"/>
                </a:ext>
              </a:extLst>
            </p:cNvPr>
            <p:cNvGrpSpPr/>
            <p:nvPr/>
          </p:nvGrpSpPr>
          <p:grpSpPr>
            <a:xfrm>
              <a:off x="10484473" y="520320"/>
              <a:ext cx="256366" cy="387959"/>
              <a:chOff x="10484473" y="520320"/>
              <a:chExt cx="256366" cy="387959"/>
            </a:xfrm>
            <a:grpFill/>
          </p:grpSpPr>
          <p:sp>
            <p:nvSpPr>
              <p:cNvPr id="38" name="Forma Livre: Forma 37">
                <a:extLst>
                  <a:ext uri="{FF2B5EF4-FFF2-40B4-BE49-F238E27FC236}">
                    <a16:creationId xmlns:a16="http://schemas.microsoft.com/office/drawing/2014/main" id="{B50252F2-7B76-4CB6-A7E5-5484D2D00AB4}"/>
                  </a:ext>
                </a:extLst>
              </p:cNvPr>
              <p:cNvSpPr/>
              <p:nvPr/>
            </p:nvSpPr>
            <p:spPr>
              <a:xfrm>
                <a:off x="10484473" y="875530"/>
                <a:ext cx="256366" cy="32749"/>
              </a:xfrm>
              <a:custGeom>
                <a:avLst/>
                <a:gdLst>
                  <a:gd name="connsiteX0" fmla="*/ 239955 w 256366"/>
                  <a:gd name="connsiteY0" fmla="*/ 32750 h 32749"/>
                  <a:gd name="connsiteX1" fmla="*/ 16375 w 256366"/>
                  <a:gd name="connsiteY1" fmla="*/ 32750 h 32749"/>
                  <a:gd name="connsiteX2" fmla="*/ 0 w 256366"/>
                  <a:gd name="connsiteY2" fmla="*/ 16375 h 32749"/>
                  <a:gd name="connsiteX3" fmla="*/ 16375 w 256366"/>
                  <a:gd name="connsiteY3" fmla="*/ 0 h 32749"/>
                  <a:gd name="connsiteX4" fmla="*/ 239955 w 256366"/>
                  <a:gd name="connsiteY4" fmla="*/ 0 h 32749"/>
                  <a:gd name="connsiteX5" fmla="*/ 256330 w 256366"/>
                  <a:gd name="connsiteY5" fmla="*/ 16375 h 32749"/>
                  <a:gd name="connsiteX6" fmla="*/ 239955 w 256366"/>
                  <a:gd name="connsiteY6" fmla="*/ 32750 h 32749"/>
                  <a:gd name="connsiteX7" fmla="*/ 239955 w 256366"/>
                  <a:gd name="connsiteY7" fmla="*/ 32750 h 32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6366" h="32749">
                    <a:moveTo>
                      <a:pt x="239955" y="32750"/>
                    </a:moveTo>
                    <a:lnTo>
                      <a:pt x="16375" y="32750"/>
                    </a:lnTo>
                    <a:cubicBezTo>
                      <a:pt x="6928" y="32750"/>
                      <a:pt x="0" y="25192"/>
                      <a:pt x="0" y="16375"/>
                    </a:cubicBezTo>
                    <a:cubicBezTo>
                      <a:pt x="0" y="6928"/>
                      <a:pt x="7557" y="0"/>
                      <a:pt x="16375" y="0"/>
                    </a:cubicBezTo>
                    <a:lnTo>
                      <a:pt x="239955" y="0"/>
                    </a:lnTo>
                    <a:cubicBezTo>
                      <a:pt x="249402" y="0"/>
                      <a:pt x="256330" y="7558"/>
                      <a:pt x="256330" y="16375"/>
                    </a:cubicBezTo>
                    <a:cubicBezTo>
                      <a:pt x="256960" y="25192"/>
                      <a:pt x="249402" y="32750"/>
                      <a:pt x="239955" y="32750"/>
                    </a:cubicBezTo>
                    <a:lnTo>
                      <a:pt x="239955" y="32750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9" name="Forma Livre: Forma 38">
                <a:extLst>
                  <a:ext uri="{FF2B5EF4-FFF2-40B4-BE49-F238E27FC236}">
                    <a16:creationId xmlns:a16="http://schemas.microsoft.com/office/drawing/2014/main" id="{A76938D3-F9D7-457A-BEC1-9E6FB6670A32}"/>
                  </a:ext>
                </a:extLst>
              </p:cNvPr>
              <p:cNvSpPr/>
              <p:nvPr/>
            </p:nvSpPr>
            <p:spPr>
              <a:xfrm>
                <a:off x="10484473" y="520320"/>
                <a:ext cx="256366" cy="32749"/>
              </a:xfrm>
              <a:custGeom>
                <a:avLst/>
                <a:gdLst>
                  <a:gd name="connsiteX0" fmla="*/ 239955 w 256366"/>
                  <a:gd name="connsiteY0" fmla="*/ 32750 h 32749"/>
                  <a:gd name="connsiteX1" fmla="*/ 16375 w 256366"/>
                  <a:gd name="connsiteY1" fmla="*/ 32750 h 32749"/>
                  <a:gd name="connsiteX2" fmla="*/ 0 w 256366"/>
                  <a:gd name="connsiteY2" fmla="*/ 16375 h 32749"/>
                  <a:gd name="connsiteX3" fmla="*/ 16375 w 256366"/>
                  <a:gd name="connsiteY3" fmla="*/ 0 h 32749"/>
                  <a:gd name="connsiteX4" fmla="*/ 239955 w 256366"/>
                  <a:gd name="connsiteY4" fmla="*/ 0 h 32749"/>
                  <a:gd name="connsiteX5" fmla="*/ 256330 w 256366"/>
                  <a:gd name="connsiteY5" fmla="*/ 16375 h 32749"/>
                  <a:gd name="connsiteX6" fmla="*/ 239955 w 256366"/>
                  <a:gd name="connsiteY6" fmla="*/ 32750 h 32749"/>
                  <a:gd name="connsiteX7" fmla="*/ 239955 w 256366"/>
                  <a:gd name="connsiteY7" fmla="*/ 32750 h 32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6366" h="32749">
                    <a:moveTo>
                      <a:pt x="239955" y="32750"/>
                    </a:moveTo>
                    <a:lnTo>
                      <a:pt x="16375" y="32750"/>
                    </a:lnTo>
                    <a:cubicBezTo>
                      <a:pt x="6928" y="32750"/>
                      <a:pt x="0" y="25192"/>
                      <a:pt x="0" y="16375"/>
                    </a:cubicBezTo>
                    <a:cubicBezTo>
                      <a:pt x="0" y="6928"/>
                      <a:pt x="7557" y="0"/>
                      <a:pt x="16375" y="0"/>
                    </a:cubicBezTo>
                    <a:lnTo>
                      <a:pt x="239955" y="0"/>
                    </a:lnTo>
                    <a:cubicBezTo>
                      <a:pt x="249402" y="0"/>
                      <a:pt x="256330" y="7558"/>
                      <a:pt x="256330" y="16375"/>
                    </a:cubicBezTo>
                    <a:cubicBezTo>
                      <a:pt x="256960" y="25192"/>
                      <a:pt x="249402" y="32750"/>
                      <a:pt x="239955" y="32750"/>
                    </a:cubicBezTo>
                    <a:lnTo>
                      <a:pt x="239955" y="32750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40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5364797" y="517801"/>
            <a:ext cx="393312" cy="392997"/>
            <a:chOff x="5364797" y="517801"/>
            <a:chExt cx="393312" cy="392997"/>
          </a:xfrm>
          <a:solidFill>
            <a:srgbClr val="B1B1A1"/>
          </a:solidFill>
        </p:grpSpPr>
        <p:sp>
          <p:nvSpPr>
            <p:cNvPr id="41" name="Forma Livre: Forma 40">
              <a:extLst>
                <a:ext uri="{FF2B5EF4-FFF2-40B4-BE49-F238E27FC236}">
                  <a16:creationId xmlns:a16="http://schemas.microsoft.com/office/drawing/2014/main" id="{D328E202-34A4-4043-AFE5-41B2E15299A5}"/>
                </a:ext>
              </a:extLst>
            </p:cNvPr>
            <p:cNvSpPr/>
            <p:nvPr/>
          </p:nvSpPr>
          <p:spPr>
            <a:xfrm>
              <a:off x="5464935" y="622978"/>
              <a:ext cx="192090" cy="182643"/>
            </a:xfrm>
            <a:custGeom>
              <a:avLst/>
              <a:gdLst>
                <a:gd name="connsiteX0" fmla="*/ 96360 w 192090"/>
                <a:gd name="connsiteY0" fmla="*/ 0 h 182643"/>
                <a:gd name="connsiteX1" fmla="*/ 73687 w 192090"/>
                <a:gd name="connsiteY1" fmla="*/ 69278 h 182643"/>
                <a:gd name="connsiteX2" fmla="*/ 0 w 192090"/>
                <a:gd name="connsiteY2" fmla="*/ 69278 h 182643"/>
                <a:gd name="connsiteX3" fmla="*/ 59831 w 192090"/>
                <a:gd name="connsiteY3" fmla="*/ 112735 h 182643"/>
                <a:gd name="connsiteX4" fmla="*/ 37159 w 192090"/>
                <a:gd name="connsiteY4" fmla="*/ 182643 h 182643"/>
                <a:gd name="connsiteX5" fmla="*/ 96360 w 192090"/>
                <a:gd name="connsiteY5" fmla="*/ 139187 h 182643"/>
                <a:gd name="connsiteX6" fmla="*/ 155562 w 192090"/>
                <a:gd name="connsiteY6" fmla="*/ 182643 h 182643"/>
                <a:gd name="connsiteX7" fmla="*/ 132889 w 192090"/>
                <a:gd name="connsiteY7" fmla="*/ 112735 h 182643"/>
                <a:gd name="connsiteX8" fmla="*/ 192090 w 192090"/>
                <a:gd name="connsiteY8" fmla="*/ 69278 h 182643"/>
                <a:gd name="connsiteX9" fmla="*/ 119033 w 192090"/>
                <a:gd name="connsiteY9" fmla="*/ 69278 h 182643"/>
                <a:gd name="connsiteX10" fmla="*/ 96360 w 192090"/>
                <a:gd name="connsiteY10" fmla="*/ 0 h 182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2090" h="182643">
                  <a:moveTo>
                    <a:pt x="96360" y="0"/>
                  </a:moveTo>
                  <a:lnTo>
                    <a:pt x="73687" y="69278"/>
                  </a:lnTo>
                  <a:lnTo>
                    <a:pt x="0" y="69278"/>
                  </a:lnTo>
                  <a:lnTo>
                    <a:pt x="59831" y="112735"/>
                  </a:lnTo>
                  <a:lnTo>
                    <a:pt x="37159" y="182643"/>
                  </a:lnTo>
                  <a:lnTo>
                    <a:pt x="96360" y="139187"/>
                  </a:lnTo>
                  <a:lnTo>
                    <a:pt x="155562" y="182643"/>
                  </a:lnTo>
                  <a:lnTo>
                    <a:pt x="132889" y="112735"/>
                  </a:lnTo>
                  <a:lnTo>
                    <a:pt x="192090" y="69278"/>
                  </a:lnTo>
                  <a:lnTo>
                    <a:pt x="119033" y="69278"/>
                  </a:lnTo>
                  <a:lnTo>
                    <a:pt x="96360" y="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2" name="Forma Livre: Forma 41">
              <a:extLst>
                <a:ext uri="{FF2B5EF4-FFF2-40B4-BE49-F238E27FC236}">
                  <a16:creationId xmlns:a16="http://schemas.microsoft.com/office/drawing/2014/main" id="{72EB2DB3-6903-4EBB-9F34-B5391B477763}"/>
                </a:ext>
              </a:extLst>
            </p:cNvPr>
            <p:cNvSpPr/>
            <p:nvPr/>
          </p:nvSpPr>
          <p:spPr>
            <a:xfrm>
              <a:off x="5364797" y="517801"/>
              <a:ext cx="393312" cy="392997"/>
            </a:xfrm>
            <a:custGeom>
              <a:avLst/>
              <a:gdLst>
                <a:gd name="connsiteX0" fmla="*/ 196499 w 393312"/>
                <a:gd name="connsiteY0" fmla="*/ 392998 h 392997"/>
                <a:gd name="connsiteX1" fmla="*/ 57312 w 393312"/>
                <a:gd name="connsiteY1" fmla="*/ 335685 h 392997"/>
                <a:gd name="connsiteX2" fmla="*/ 0 w 393312"/>
                <a:gd name="connsiteY2" fmla="*/ 196499 h 392997"/>
                <a:gd name="connsiteX3" fmla="*/ 57312 w 393312"/>
                <a:gd name="connsiteY3" fmla="*/ 57312 h 392997"/>
                <a:gd name="connsiteX4" fmla="*/ 196499 w 393312"/>
                <a:gd name="connsiteY4" fmla="*/ 0 h 392997"/>
                <a:gd name="connsiteX5" fmla="*/ 335685 w 393312"/>
                <a:gd name="connsiteY5" fmla="*/ 57312 h 392997"/>
                <a:gd name="connsiteX6" fmla="*/ 335685 w 393312"/>
                <a:gd name="connsiteY6" fmla="*/ 335056 h 392997"/>
                <a:gd name="connsiteX7" fmla="*/ 196499 w 393312"/>
                <a:gd name="connsiteY7" fmla="*/ 392998 h 392997"/>
                <a:gd name="connsiteX8" fmla="*/ 196499 w 393312"/>
                <a:gd name="connsiteY8" fmla="*/ 392998 h 392997"/>
                <a:gd name="connsiteX9" fmla="*/ 196499 w 393312"/>
                <a:gd name="connsiteY9" fmla="*/ 33380 h 392997"/>
                <a:gd name="connsiteX10" fmla="*/ 81244 w 393312"/>
                <a:gd name="connsiteY10" fmla="*/ 81245 h 392997"/>
                <a:gd name="connsiteX11" fmla="*/ 33380 w 393312"/>
                <a:gd name="connsiteY11" fmla="*/ 196499 h 392997"/>
                <a:gd name="connsiteX12" fmla="*/ 81244 w 393312"/>
                <a:gd name="connsiteY12" fmla="*/ 311753 h 392997"/>
                <a:gd name="connsiteX13" fmla="*/ 196499 w 393312"/>
                <a:gd name="connsiteY13" fmla="*/ 359618 h 392997"/>
                <a:gd name="connsiteX14" fmla="*/ 311753 w 393312"/>
                <a:gd name="connsiteY14" fmla="*/ 311753 h 392997"/>
                <a:gd name="connsiteX15" fmla="*/ 311753 w 393312"/>
                <a:gd name="connsiteY15" fmla="*/ 81245 h 392997"/>
                <a:gd name="connsiteX16" fmla="*/ 196499 w 393312"/>
                <a:gd name="connsiteY16" fmla="*/ 33380 h 392997"/>
                <a:gd name="connsiteX17" fmla="*/ 196499 w 393312"/>
                <a:gd name="connsiteY17" fmla="*/ 33380 h 392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93312" h="392997">
                  <a:moveTo>
                    <a:pt x="196499" y="392998"/>
                  </a:moveTo>
                  <a:cubicBezTo>
                    <a:pt x="144225" y="392998"/>
                    <a:pt x="94471" y="372844"/>
                    <a:pt x="57312" y="335685"/>
                  </a:cubicBezTo>
                  <a:cubicBezTo>
                    <a:pt x="20153" y="298527"/>
                    <a:pt x="0" y="249402"/>
                    <a:pt x="0" y="196499"/>
                  </a:cubicBezTo>
                  <a:cubicBezTo>
                    <a:pt x="0" y="144225"/>
                    <a:pt x="20153" y="94471"/>
                    <a:pt x="57312" y="57312"/>
                  </a:cubicBezTo>
                  <a:cubicBezTo>
                    <a:pt x="94471" y="20154"/>
                    <a:pt x="143595" y="0"/>
                    <a:pt x="196499" y="0"/>
                  </a:cubicBezTo>
                  <a:cubicBezTo>
                    <a:pt x="248773" y="0"/>
                    <a:pt x="298527" y="20154"/>
                    <a:pt x="335685" y="57312"/>
                  </a:cubicBezTo>
                  <a:cubicBezTo>
                    <a:pt x="412522" y="134148"/>
                    <a:pt x="412522" y="258849"/>
                    <a:pt x="335685" y="335056"/>
                  </a:cubicBezTo>
                  <a:cubicBezTo>
                    <a:pt x="298527" y="372214"/>
                    <a:pt x="248773" y="392998"/>
                    <a:pt x="196499" y="392998"/>
                  </a:cubicBezTo>
                  <a:lnTo>
                    <a:pt x="196499" y="392998"/>
                  </a:lnTo>
                  <a:close/>
                  <a:moveTo>
                    <a:pt x="196499" y="33380"/>
                  </a:moveTo>
                  <a:cubicBezTo>
                    <a:pt x="153042" y="33380"/>
                    <a:pt x="112105" y="50384"/>
                    <a:pt x="81244" y="81245"/>
                  </a:cubicBezTo>
                  <a:cubicBezTo>
                    <a:pt x="50384" y="112105"/>
                    <a:pt x="33380" y="153042"/>
                    <a:pt x="33380" y="196499"/>
                  </a:cubicBezTo>
                  <a:cubicBezTo>
                    <a:pt x="33380" y="239955"/>
                    <a:pt x="50384" y="280893"/>
                    <a:pt x="81244" y="311753"/>
                  </a:cubicBezTo>
                  <a:cubicBezTo>
                    <a:pt x="112105" y="342613"/>
                    <a:pt x="153042" y="359618"/>
                    <a:pt x="196499" y="359618"/>
                  </a:cubicBezTo>
                  <a:cubicBezTo>
                    <a:pt x="239955" y="359618"/>
                    <a:pt x="280892" y="342613"/>
                    <a:pt x="311753" y="311753"/>
                  </a:cubicBezTo>
                  <a:cubicBezTo>
                    <a:pt x="375363" y="248143"/>
                    <a:pt x="375363" y="144855"/>
                    <a:pt x="311753" y="81245"/>
                  </a:cubicBezTo>
                  <a:cubicBezTo>
                    <a:pt x="280892" y="50384"/>
                    <a:pt x="239955" y="33380"/>
                    <a:pt x="196499" y="33380"/>
                  </a:cubicBezTo>
                  <a:lnTo>
                    <a:pt x="196499" y="3338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43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7419847" y="517801"/>
            <a:ext cx="392997" cy="392997"/>
            <a:chOff x="7419847" y="517801"/>
            <a:chExt cx="392997" cy="392997"/>
          </a:xfrm>
          <a:solidFill>
            <a:srgbClr val="B1B1A1"/>
          </a:solidFill>
        </p:grpSpPr>
        <p:sp>
          <p:nvSpPr>
            <p:cNvPr id="44" name="Forma Livre: Forma 43">
              <a:extLst>
                <a:ext uri="{FF2B5EF4-FFF2-40B4-BE49-F238E27FC236}">
                  <a16:creationId xmlns:a16="http://schemas.microsoft.com/office/drawing/2014/main" id="{F96EBB71-7F25-49F8-AA05-9F73D8ABD4E6}"/>
                </a:ext>
              </a:extLst>
            </p:cNvPr>
            <p:cNvSpPr/>
            <p:nvPr/>
          </p:nvSpPr>
          <p:spPr>
            <a:xfrm>
              <a:off x="7419847" y="517801"/>
              <a:ext cx="392997" cy="392997"/>
            </a:xfrm>
            <a:custGeom>
              <a:avLst/>
              <a:gdLst>
                <a:gd name="connsiteX0" fmla="*/ 196499 w 392997"/>
                <a:gd name="connsiteY0" fmla="*/ 392998 h 392997"/>
                <a:gd name="connsiteX1" fmla="*/ 57312 w 392997"/>
                <a:gd name="connsiteY1" fmla="*/ 335685 h 392997"/>
                <a:gd name="connsiteX2" fmla="*/ 0 w 392997"/>
                <a:gd name="connsiteY2" fmla="*/ 196499 h 392997"/>
                <a:gd name="connsiteX3" fmla="*/ 196499 w 392997"/>
                <a:gd name="connsiteY3" fmla="*/ 0 h 392997"/>
                <a:gd name="connsiteX4" fmla="*/ 392997 w 392997"/>
                <a:gd name="connsiteY4" fmla="*/ 196499 h 392997"/>
                <a:gd name="connsiteX5" fmla="*/ 196499 w 392997"/>
                <a:gd name="connsiteY5" fmla="*/ 392998 h 392997"/>
                <a:gd name="connsiteX6" fmla="*/ 196499 w 392997"/>
                <a:gd name="connsiteY6" fmla="*/ 392998 h 392997"/>
                <a:gd name="connsiteX7" fmla="*/ 196499 w 392997"/>
                <a:gd name="connsiteY7" fmla="*/ 33380 h 392997"/>
                <a:gd name="connsiteX8" fmla="*/ 33380 w 392997"/>
                <a:gd name="connsiteY8" fmla="*/ 196499 h 392997"/>
                <a:gd name="connsiteX9" fmla="*/ 81244 w 392997"/>
                <a:gd name="connsiteY9" fmla="*/ 311753 h 392997"/>
                <a:gd name="connsiteX10" fmla="*/ 196499 w 392997"/>
                <a:gd name="connsiteY10" fmla="*/ 359618 h 392997"/>
                <a:gd name="connsiteX11" fmla="*/ 359618 w 392997"/>
                <a:gd name="connsiteY11" fmla="*/ 196499 h 392997"/>
                <a:gd name="connsiteX12" fmla="*/ 196499 w 392997"/>
                <a:gd name="connsiteY12" fmla="*/ 33380 h 392997"/>
                <a:gd name="connsiteX13" fmla="*/ 196499 w 392997"/>
                <a:gd name="connsiteY13" fmla="*/ 33380 h 392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92997" h="392997">
                  <a:moveTo>
                    <a:pt x="196499" y="392998"/>
                  </a:moveTo>
                  <a:cubicBezTo>
                    <a:pt x="144225" y="392998"/>
                    <a:pt x="94471" y="372844"/>
                    <a:pt x="57312" y="335685"/>
                  </a:cubicBezTo>
                  <a:cubicBezTo>
                    <a:pt x="20154" y="298527"/>
                    <a:pt x="0" y="249402"/>
                    <a:pt x="0" y="196499"/>
                  </a:cubicBezTo>
                  <a:cubicBezTo>
                    <a:pt x="0" y="88173"/>
                    <a:pt x="88173" y="0"/>
                    <a:pt x="196499" y="0"/>
                  </a:cubicBezTo>
                  <a:cubicBezTo>
                    <a:pt x="304825" y="0"/>
                    <a:pt x="392997" y="88173"/>
                    <a:pt x="392997" y="196499"/>
                  </a:cubicBezTo>
                  <a:cubicBezTo>
                    <a:pt x="392997" y="304825"/>
                    <a:pt x="304825" y="392998"/>
                    <a:pt x="196499" y="392998"/>
                  </a:cubicBezTo>
                  <a:lnTo>
                    <a:pt x="196499" y="392998"/>
                  </a:lnTo>
                  <a:close/>
                  <a:moveTo>
                    <a:pt x="196499" y="33380"/>
                  </a:moveTo>
                  <a:cubicBezTo>
                    <a:pt x="106437" y="33380"/>
                    <a:pt x="33380" y="106437"/>
                    <a:pt x="33380" y="196499"/>
                  </a:cubicBezTo>
                  <a:cubicBezTo>
                    <a:pt x="33380" y="239955"/>
                    <a:pt x="50384" y="280893"/>
                    <a:pt x="81244" y="311753"/>
                  </a:cubicBezTo>
                  <a:cubicBezTo>
                    <a:pt x="112105" y="342613"/>
                    <a:pt x="153042" y="359618"/>
                    <a:pt x="196499" y="359618"/>
                  </a:cubicBezTo>
                  <a:cubicBezTo>
                    <a:pt x="286561" y="359618"/>
                    <a:pt x="359618" y="286561"/>
                    <a:pt x="359618" y="196499"/>
                  </a:cubicBezTo>
                  <a:cubicBezTo>
                    <a:pt x="359618" y="106437"/>
                    <a:pt x="285931" y="33380"/>
                    <a:pt x="196499" y="33380"/>
                  </a:cubicBezTo>
                  <a:lnTo>
                    <a:pt x="196499" y="3338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5" name="Forma Livre: Forma 44">
              <a:extLst>
                <a:ext uri="{FF2B5EF4-FFF2-40B4-BE49-F238E27FC236}">
                  <a16:creationId xmlns:a16="http://schemas.microsoft.com/office/drawing/2014/main" id="{4BFEC2B2-D2A8-4BDB-9F5A-B857A8BF37D6}"/>
                </a:ext>
              </a:extLst>
            </p:cNvPr>
            <p:cNvSpPr/>
            <p:nvPr/>
          </p:nvSpPr>
          <p:spPr>
            <a:xfrm>
              <a:off x="7472435" y="571019"/>
              <a:ext cx="286561" cy="286875"/>
            </a:xfrm>
            <a:custGeom>
              <a:avLst/>
              <a:gdLst>
                <a:gd name="connsiteX0" fmla="*/ 270501 w 286561"/>
                <a:gd name="connsiteY0" fmla="*/ 286876 h 286875"/>
                <a:gd name="connsiteX1" fmla="*/ 258534 w 286561"/>
                <a:gd name="connsiteY1" fmla="*/ 281837 h 286875"/>
                <a:gd name="connsiteX2" fmla="*/ 4724 w 286561"/>
                <a:gd name="connsiteY2" fmla="*/ 28026 h 286875"/>
                <a:gd name="connsiteX3" fmla="*/ 4724 w 286561"/>
                <a:gd name="connsiteY3" fmla="*/ 4724 h 286875"/>
                <a:gd name="connsiteX4" fmla="*/ 28026 w 286561"/>
                <a:gd name="connsiteY4" fmla="*/ 4724 h 286875"/>
                <a:gd name="connsiteX5" fmla="*/ 281838 w 286561"/>
                <a:gd name="connsiteY5" fmla="*/ 258534 h 286875"/>
                <a:gd name="connsiteX6" fmla="*/ 281838 w 286561"/>
                <a:gd name="connsiteY6" fmla="*/ 281837 h 286875"/>
                <a:gd name="connsiteX7" fmla="*/ 270501 w 286561"/>
                <a:gd name="connsiteY7" fmla="*/ 286876 h 286875"/>
                <a:gd name="connsiteX8" fmla="*/ 270501 w 286561"/>
                <a:gd name="connsiteY8" fmla="*/ 286876 h 286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6561" h="286875">
                  <a:moveTo>
                    <a:pt x="270501" y="286876"/>
                  </a:moveTo>
                  <a:cubicBezTo>
                    <a:pt x="266093" y="286876"/>
                    <a:pt x="261683" y="284986"/>
                    <a:pt x="258534" y="281837"/>
                  </a:cubicBezTo>
                  <a:lnTo>
                    <a:pt x="4724" y="28026"/>
                  </a:lnTo>
                  <a:cubicBezTo>
                    <a:pt x="-1575" y="21728"/>
                    <a:pt x="-1575" y="11022"/>
                    <a:pt x="4724" y="4724"/>
                  </a:cubicBezTo>
                  <a:cubicBezTo>
                    <a:pt x="11022" y="-1575"/>
                    <a:pt x="21728" y="-1575"/>
                    <a:pt x="28026" y="4724"/>
                  </a:cubicBezTo>
                  <a:lnTo>
                    <a:pt x="281838" y="258534"/>
                  </a:lnTo>
                  <a:cubicBezTo>
                    <a:pt x="288136" y="264833"/>
                    <a:pt x="288136" y="275539"/>
                    <a:pt x="281838" y="281837"/>
                  </a:cubicBezTo>
                  <a:cubicBezTo>
                    <a:pt x="279318" y="284986"/>
                    <a:pt x="274909" y="286876"/>
                    <a:pt x="270501" y="286876"/>
                  </a:cubicBezTo>
                  <a:lnTo>
                    <a:pt x="270501" y="286876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6" name="Forma Livre: Forma 45">
              <a:extLst>
                <a:ext uri="{FF2B5EF4-FFF2-40B4-BE49-F238E27FC236}">
                  <a16:creationId xmlns:a16="http://schemas.microsoft.com/office/drawing/2014/main" id="{D8E369AE-D6FE-428B-9FCF-128D86BA90A7}"/>
                </a:ext>
              </a:extLst>
            </p:cNvPr>
            <p:cNvSpPr/>
            <p:nvPr/>
          </p:nvSpPr>
          <p:spPr>
            <a:xfrm>
              <a:off x="7473065" y="571019"/>
              <a:ext cx="286560" cy="286875"/>
            </a:xfrm>
            <a:custGeom>
              <a:avLst/>
              <a:gdLst>
                <a:gd name="connsiteX0" fmla="*/ 16690 w 286560"/>
                <a:gd name="connsiteY0" fmla="*/ 286876 h 286875"/>
                <a:gd name="connsiteX1" fmla="*/ 4724 w 286560"/>
                <a:gd name="connsiteY1" fmla="*/ 281837 h 286875"/>
                <a:gd name="connsiteX2" fmla="*/ 4724 w 286560"/>
                <a:gd name="connsiteY2" fmla="*/ 258534 h 286875"/>
                <a:gd name="connsiteX3" fmla="*/ 258534 w 286560"/>
                <a:gd name="connsiteY3" fmla="*/ 4724 h 286875"/>
                <a:gd name="connsiteX4" fmla="*/ 281837 w 286560"/>
                <a:gd name="connsiteY4" fmla="*/ 4724 h 286875"/>
                <a:gd name="connsiteX5" fmla="*/ 281837 w 286560"/>
                <a:gd name="connsiteY5" fmla="*/ 28026 h 286875"/>
                <a:gd name="connsiteX6" fmla="*/ 28026 w 286560"/>
                <a:gd name="connsiteY6" fmla="*/ 281837 h 286875"/>
                <a:gd name="connsiteX7" fmla="*/ 16690 w 286560"/>
                <a:gd name="connsiteY7" fmla="*/ 286876 h 286875"/>
                <a:gd name="connsiteX8" fmla="*/ 16690 w 286560"/>
                <a:gd name="connsiteY8" fmla="*/ 286876 h 286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6560" h="286875">
                  <a:moveTo>
                    <a:pt x="16690" y="286876"/>
                  </a:moveTo>
                  <a:cubicBezTo>
                    <a:pt x="12281" y="286876"/>
                    <a:pt x="7873" y="284986"/>
                    <a:pt x="4724" y="281837"/>
                  </a:cubicBezTo>
                  <a:cubicBezTo>
                    <a:pt x="-1575" y="275539"/>
                    <a:pt x="-1575" y="264833"/>
                    <a:pt x="4724" y="258534"/>
                  </a:cubicBezTo>
                  <a:lnTo>
                    <a:pt x="258534" y="4724"/>
                  </a:lnTo>
                  <a:cubicBezTo>
                    <a:pt x="264832" y="-1575"/>
                    <a:pt x="275539" y="-1575"/>
                    <a:pt x="281837" y="4724"/>
                  </a:cubicBezTo>
                  <a:cubicBezTo>
                    <a:pt x="288135" y="11022"/>
                    <a:pt x="288135" y="21728"/>
                    <a:pt x="281837" y="28026"/>
                  </a:cubicBezTo>
                  <a:lnTo>
                    <a:pt x="28026" y="281837"/>
                  </a:lnTo>
                  <a:cubicBezTo>
                    <a:pt x="24877" y="284986"/>
                    <a:pt x="20469" y="286876"/>
                    <a:pt x="16690" y="286876"/>
                  </a:cubicBezTo>
                  <a:lnTo>
                    <a:pt x="16690" y="286876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47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8435720" y="517801"/>
            <a:ext cx="392997" cy="392997"/>
            <a:chOff x="8435720" y="517801"/>
            <a:chExt cx="392997" cy="392997"/>
          </a:xfrm>
          <a:solidFill>
            <a:srgbClr val="B1B1A1"/>
          </a:solidFill>
        </p:grpSpPr>
        <p:sp>
          <p:nvSpPr>
            <p:cNvPr id="48" name="Forma Livre: Forma 47">
              <a:extLst>
                <a:ext uri="{FF2B5EF4-FFF2-40B4-BE49-F238E27FC236}">
                  <a16:creationId xmlns:a16="http://schemas.microsoft.com/office/drawing/2014/main" id="{CE138337-67BA-44DD-B78C-2405B93D04E1}"/>
                </a:ext>
              </a:extLst>
            </p:cNvPr>
            <p:cNvSpPr/>
            <p:nvPr/>
          </p:nvSpPr>
          <p:spPr>
            <a:xfrm>
              <a:off x="8435720" y="517801"/>
              <a:ext cx="392997" cy="392997"/>
            </a:xfrm>
            <a:custGeom>
              <a:avLst/>
              <a:gdLst>
                <a:gd name="connsiteX0" fmla="*/ 196499 w 392997"/>
                <a:gd name="connsiteY0" fmla="*/ 392998 h 392997"/>
                <a:gd name="connsiteX1" fmla="*/ 57312 w 392997"/>
                <a:gd name="connsiteY1" fmla="*/ 335685 h 392997"/>
                <a:gd name="connsiteX2" fmla="*/ 0 w 392997"/>
                <a:gd name="connsiteY2" fmla="*/ 196499 h 392997"/>
                <a:gd name="connsiteX3" fmla="*/ 196499 w 392997"/>
                <a:gd name="connsiteY3" fmla="*/ 0 h 392997"/>
                <a:gd name="connsiteX4" fmla="*/ 392998 w 392997"/>
                <a:gd name="connsiteY4" fmla="*/ 196499 h 392997"/>
                <a:gd name="connsiteX5" fmla="*/ 196499 w 392997"/>
                <a:gd name="connsiteY5" fmla="*/ 392998 h 392997"/>
                <a:gd name="connsiteX6" fmla="*/ 196499 w 392997"/>
                <a:gd name="connsiteY6" fmla="*/ 392998 h 392997"/>
                <a:gd name="connsiteX7" fmla="*/ 196499 w 392997"/>
                <a:gd name="connsiteY7" fmla="*/ 33380 h 392997"/>
                <a:gd name="connsiteX8" fmla="*/ 33380 w 392997"/>
                <a:gd name="connsiteY8" fmla="*/ 196499 h 392997"/>
                <a:gd name="connsiteX9" fmla="*/ 81245 w 392997"/>
                <a:gd name="connsiteY9" fmla="*/ 311753 h 392997"/>
                <a:gd name="connsiteX10" fmla="*/ 196499 w 392997"/>
                <a:gd name="connsiteY10" fmla="*/ 359618 h 392997"/>
                <a:gd name="connsiteX11" fmla="*/ 359618 w 392997"/>
                <a:gd name="connsiteY11" fmla="*/ 196499 h 392997"/>
                <a:gd name="connsiteX12" fmla="*/ 196499 w 392997"/>
                <a:gd name="connsiteY12" fmla="*/ 33380 h 392997"/>
                <a:gd name="connsiteX13" fmla="*/ 196499 w 392997"/>
                <a:gd name="connsiteY13" fmla="*/ 33380 h 392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92997" h="392997">
                  <a:moveTo>
                    <a:pt x="196499" y="392998"/>
                  </a:moveTo>
                  <a:cubicBezTo>
                    <a:pt x="144225" y="392998"/>
                    <a:pt x="94471" y="372844"/>
                    <a:pt x="57312" y="335685"/>
                  </a:cubicBezTo>
                  <a:cubicBezTo>
                    <a:pt x="20153" y="298527"/>
                    <a:pt x="0" y="249402"/>
                    <a:pt x="0" y="196499"/>
                  </a:cubicBezTo>
                  <a:cubicBezTo>
                    <a:pt x="0" y="88173"/>
                    <a:pt x="88173" y="0"/>
                    <a:pt x="196499" y="0"/>
                  </a:cubicBezTo>
                  <a:cubicBezTo>
                    <a:pt x="304825" y="0"/>
                    <a:pt x="392998" y="88173"/>
                    <a:pt x="392998" y="196499"/>
                  </a:cubicBezTo>
                  <a:cubicBezTo>
                    <a:pt x="392998" y="304825"/>
                    <a:pt x="304825" y="392998"/>
                    <a:pt x="196499" y="392998"/>
                  </a:cubicBezTo>
                  <a:lnTo>
                    <a:pt x="196499" y="392998"/>
                  </a:lnTo>
                  <a:close/>
                  <a:moveTo>
                    <a:pt x="196499" y="33380"/>
                  </a:moveTo>
                  <a:cubicBezTo>
                    <a:pt x="106437" y="33380"/>
                    <a:pt x="33380" y="106437"/>
                    <a:pt x="33380" y="196499"/>
                  </a:cubicBezTo>
                  <a:cubicBezTo>
                    <a:pt x="33380" y="239955"/>
                    <a:pt x="50384" y="280893"/>
                    <a:pt x="81245" y="311753"/>
                  </a:cubicBezTo>
                  <a:cubicBezTo>
                    <a:pt x="112105" y="342613"/>
                    <a:pt x="153043" y="359618"/>
                    <a:pt x="196499" y="359618"/>
                  </a:cubicBezTo>
                  <a:cubicBezTo>
                    <a:pt x="286561" y="359618"/>
                    <a:pt x="359618" y="286561"/>
                    <a:pt x="359618" y="196499"/>
                  </a:cubicBezTo>
                  <a:cubicBezTo>
                    <a:pt x="359618" y="106437"/>
                    <a:pt x="286561" y="33380"/>
                    <a:pt x="196499" y="33380"/>
                  </a:cubicBezTo>
                  <a:lnTo>
                    <a:pt x="196499" y="3338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9" name="Forma Livre: Forma 48">
              <a:extLst>
                <a:ext uri="{FF2B5EF4-FFF2-40B4-BE49-F238E27FC236}">
                  <a16:creationId xmlns:a16="http://schemas.microsoft.com/office/drawing/2014/main" id="{BB28AC71-050C-4A32-9287-4B4C91E3AE27}"/>
                </a:ext>
              </a:extLst>
            </p:cNvPr>
            <p:cNvSpPr/>
            <p:nvPr/>
          </p:nvSpPr>
          <p:spPr>
            <a:xfrm>
              <a:off x="8488938" y="571019"/>
              <a:ext cx="286560" cy="286875"/>
            </a:xfrm>
            <a:custGeom>
              <a:avLst/>
              <a:gdLst>
                <a:gd name="connsiteX0" fmla="*/ 16690 w 286560"/>
                <a:gd name="connsiteY0" fmla="*/ 286876 h 286875"/>
                <a:gd name="connsiteX1" fmla="*/ 4724 w 286560"/>
                <a:gd name="connsiteY1" fmla="*/ 281837 h 286875"/>
                <a:gd name="connsiteX2" fmla="*/ 4724 w 286560"/>
                <a:gd name="connsiteY2" fmla="*/ 258534 h 286875"/>
                <a:gd name="connsiteX3" fmla="*/ 258535 w 286560"/>
                <a:gd name="connsiteY3" fmla="*/ 4724 h 286875"/>
                <a:gd name="connsiteX4" fmla="*/ 281837 w 286560"/>
                <a:gd name="connsiteY4" fmla="*/ 4724 h 286875"/>
                <a:gd name="connsiteX5" fmla="*/ 281837 w 286560"/>
                <a:gd name="connsiteY5" fmla="*/ 28026 h 286875"/>
                <a:gd name="connsiteX6" fmla="*/ 28656 w 286560"/>
                <a:gd name="connsiteY6" fmla="*/ 281837 h 286875"/>
                <a:gd name="connsiteX7" fmla="*/ 16690 w 286560"/>
                <a:gd name="connsiteY7" fmla="*/ 286876 h 286875"/>
                <a:gd name="connsiteX8" fmla="*/ 16690 w 286560"/>
                <a:gd name="connsiteY8" fmla="*/ 286876 h 286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6560" h="286875">
                  <a:moveTo>
                    <a:pt x="16690" y="286876"/>
                  </a:moveTo>
                  <a:cubicBezTo>
                    <a:pt x="12282" y="286876"/>
                    <a:pt x="7873" y="284986"/>
                    <a:pt x="4724" y="281837"/>
                  </a:cubicBezTo>
                  <a:cubicBezTo>
                    <a:pt x="-1575" y="275539"/>
                    <a:pt x="-1575" y="264833"/>
                    <a:pt x="4724" y="258534"/>
                  </a:cubicBezTo>
                  <a:lnTo>
                    <a:pt x="258535" y="4724"/>
                  </a:lnTo>
                  <a:cubicBezTo>
                    <a:pt x="264833" y="-1575"/>
                    <a:pt x="275539" y="-1575"/>
                    <a:pt x="281837" y="4724"/>
                  </a:cubicBezTo>
                  <a:cubicBezTo>
                    <a:pt x="288135" y="11022"/>
                    <a:pt x="288135" y="21728"/>
                    <a:pt x="281837" y="28026"/>
                  </a:cubicBezTo>
                  <a:lnTo>
                    <a:pt x="28656" y="281837"/>
                  </a:lnTo>
                  <a:cubicBezTo>
                    <a:pt x="25507" y="284986"/>
                    <a:pt x="21099" y="286876"/>
                    <a:pt x="16690" y="286876"/>
                  </a:cubicBezTo>
                  <a:lnTo>
                    <a:pt x="16690" y="286876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50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1282723" y="517801"/>
            <a:ext cx="393312" cy="392997"/>
            <a:chOff x="1282723" y="517801"/>
            <a:chExt cx="393312" cy="392997"/>
          </a:xfrm>
          <a:solidFill>
            <a:srgbClr val="B1B1A1"/>
          </a:solidFill>
        </p:grpSpPr>
        <p:sp>
          <p:nvSpPr>
            <p:cNvPr id="51" name="Forma Livre: Forma 50">
              <a:extLst>
                <a:ext uri="{FF2B5EF4-FFF2-40B4-BE49-F238E27FC236}">
                  <a16:creationId xmlns:a16="http://schemas.microsoft.com/office/drawing/2014/main" id="{B5136EDB-2FAB-4A10-A1D7-DBA4F78C41A6}"/>
                </a:ext>
              </a:extLst>
            </p:cNvPr>
            <p:cNvSpPr/>
            <p:nvPr/>
          </p:nvSpPr>
          <p:spPr>
            <a:xfrm>
              <a:off x="1282723" y="517801"/>
              <a:ext cx="393312" cy="392997"/>
            </a:xfrm>
            <a:custGeom>
              <a:avLst/>
              <a:gdLst>
                <a:gd name="connsiteX0" fmla="*/ 196814 w 393312"/>
                <a:gd name="connsiteY0" fmla="*/ 392998 h 392997"/>
                <a:gd name="connsiteX1" fmla="*/ 196814 w 393312"/>
                <a:gd name="connsiteY1" fmla="*/ 392998 h 392997"/>
                <a:gd name="connsiteX2" fmla="*/ 57627 w 393312"/>
                <a:gd name="connsiteY2" fmla="*/ 335685 h 392997"/>
                <a:gd name="connsiteX3" fmla="*/ 57627 w 393312"/>
                <a:gd name="connsiteY3" fmla="*/ 57942 h 392997"/>
                <a:gd name="connsiteX4" fmla="*/ 196814 w 393312"/>
                <a:gd name="connsiteY4" fmla="*/ 0 h 392997"/>
                <a:gd name="connsiteX5" fmla="*/ 336000 w 393312"/>
                <a:gd name="connsiteY5" fmla="*/ 57312 h 392997"/>
                <a:gd name="connsiteX6" fmla="*/ 393313 w 393312"/>
                <a:gd name="connsiteY6" fmla="*/ 196499 h 392997"/>
                <a:gd name="connsiteX7" fmla="*/ 336000 w 393312"/>
                <a:gd name="connsiteY7" fmla="*/ 335056 h 392997"/>
                <a:gd name="connsiteX8" fmla="*/ 196814 w 393312"/>
                <a:gd name="connsiteY8" fmla="*/ 392998 h 392997"/>
                <a:gd name="connsiteX9" fmla="*/ 196814 w 393312"/>
                <a:gd name="connsiteY9" fmla="*/ 392998 h 392997"/>
                <a:gd name="connsiteX10" fmla="*/ 196814 w 393312"/>
                <a:gd name="connsiteY10" fmla="*/ 33380 h 392997"/>
                <a:gd name="connsiteX11" fmla="*/ 81560 w 393312"/>
                <a:gd name="connsiteY11" fmla="*/ 81245 h 392997"/>
                <a:gd name="connsiteX12" fmla="*/ 81560 w 393312"/>
                <a:gd name="connsiteY12" fmla="*/ 311753 h 392997"/>
                <a:gd name="connsiteX13" fmla="*/ 196814 w 393312"/>
                <a:gd name="connsiteY13" fmla="*/ 359618 h 392997"/>
                <a:gd name="connsiteX14" fmla="*/ 196814 w 393312"/>
                <a:gd name="connsiteY14" fmla="*/ 359618 h 392997"/>
                <a:gd name="connsiteX15" fmla="*/ 312068 w 393312"/>
                <a:gd name="connsiteY15" fmla="*/ 311753 h 392997"/>
                <a:gd name="connsiteX16" fmla="*/ 359933 w 393312"/>
                <a:gd name="connsiteY16" fmla="*/ 196499 h 392997"/>
                <a:gd name="connsiteX17" fmla="*/ 312068 w 393312"/>
                <a:gd name="connsiteY17" fmla="*/ 81245 h 392997"/>
                <a:gd name="connsiteX18" fmla="*/ 196814 w 393312"/>
                <a:gd name="connsiteY18" fmla="*/ 33380 h 392997"/>
                <a:gd name="connsiteX19" fmla="*/ 196814 w 393312"/>
                <a:gd name="connsiteY19" fmla="*/ 33380 h 392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93312" h="392997">
                  <a:moveTo>
                    <a:pt x="196814" y="392998"/>
                  </a:moveTo>
                  <a:lnTo>
                    <a:pt x="196814" y="392998"/>
                  </a:lnTo>
                  <a:cubicBezTo>
                    <a:pt x="144540" y="392998"/>
                    <a:pt x="94785" y="372844"/>
                    <a:pt x="57627" y="335685"/>
                  </a:cubicBezTo>
                  <a:cubicBezTo>
                    <a:pt x="-19209" y="258849"/>
                    <a:pt x="-19209" y="134148"/>
                    <a:pt x="57627" y="57942"/>
                  </a:cubicBezTo>
                  <a:cubicBezTo>
                    <a:pt x="94785" y="20154"/>
                    <a:pt x="144540" y="0"/>
                    <a:pt x="196814" y="0"/>
                  </a:cubicBezTo>
                  <a:cubicBezTo>
                    <a:pt x="249087" y="0"/>
                    <a:pt x="298842" y="20154"/>
                    <a:pt x="336000" y="57312"/>
                  </a:cubicBezTo>
                  <a:cubicBezTo>
                    <a:pt x="373159" y="94471"/>
                    <a:pt x="393313" y="143595"/>
                    <a:pt x="393313" y="196499"/>
                  </a:cubicBezTo>
                  <a:cubicBezTo>
                    <a:pt x="393313" y="249402"/>
                    <a:pt x="372529" y="297897"/>
                    <a:pt x="336000" y="335056"/>
                  </a:cubicBezTo>
                  <a:cubicBezTo>
                    <a:pt x="298842" y="372214"/>
                    <a:pt x="249087" y="392998"/>
                    <a:pt x="196814" y="392998"/>
                  </a:cubicBezTo>
                  <a:lnTo>
                    <a:pt x="196814" y="392998"/>
                  </a:lnTo>
                  <a:close/>
                  <a:moveTo>
                    <a:pt x="196814" y="33380"/>
                  </a:moveTo>
                  <a:cubicBezTo>
                    <a:pt x="153357" y="33380"/>
                    <a:pt x="112420" y="50384"/>
                    <a:pt x="81560" y="81245"/>
                  </a:cubicBezTo>
                  <a:cubicBezTo>
                    <a:pt x="17949" y="144855"/>
                    <a:pt x="17949" y="248143"/>
                    <a:pt x="81560" y="311753"/>
                  </a:cubicBezTo>
                  <a:cubicBezTo>
                    <a:pt x="112420" y="342613"/>
                    <a:pt x="153357" y="359618"/>
                    <a:pt x="196814" y="359618"/>
                  </a:cubicBezTo>
                  <a:lnTo>
                    <a:pt x="196814" y="359618"/>
                  </a:lnTo>
                  <a:cubicBezTo>
                    <a:pt x="240270" y="359618"/>
                    <a:pt x="281207" y="342613"/>
                    <a:pt x="312068" y="311753"/>
                  </a:cubicBezTo>
                  <a:cubicBezTo>
                    <a:pt x="342928" y="280893"/>
                    <a:pt x="359933" y="239955"/>
                    <a:pt x="359933" y="196499"/>
                  </a:cubicBezTo>
                  <a:cubicBezTo>
                    <a:pt x="359933" y="153042"/>
                    <a:pt x="342928" y="112105"/>
                    <a:pt x="312068" y="81245"/>
                  </a:cubicBezTo>
                  <a:cubicBezTo>
                    <a:pt x="281207" y="50384"/>
                    <a:pt x="240270" y="33380"/>
                    <a:pt x="196814" y="33380"/>
                  </a:cubicBezTo>
                  <a:lnTo>
                    <a:pt x="196814" y="3338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52" name="Forma Livre: Forma 51">
              <a:extLst>
                <a:ext uri="{FF2B5EF4-FFF2-40B4-BE49-F238E27FC236}">
                  <a16:creationId xmlns:a16="http://schemas.microsoft.com/office/drawing/2014/main" id="{AAF558DF-6E06-4BB0-8699-97F5FDE90F6F}"/>
                </a:ext>
              </a:extLst>
            </p:cNvPr>
            <p:cNvSpPr/>
            <p:nvPr/>
          </p:nvSpPr>
          <p:spPr>
            <a:xfrm>
              <a:off x="1422225" y="616995"/>
              <a:ext cx="114309" cy="194294"/>
            </a:xfrm>
            <a:custGeom>
              <a:avLst/>
              <a:gdLst>
                <a:gd name="connsiteX0" fmla="*/ 97620 w 114309"/>
                <a:gd name="connsiteY0" fmla="*/ 194295 h 194294"/>
                <a:gd name="connsiteX1" fmla="*/ 85653 w 114309"/>
                <a:gd name="connsiteY1" fmla="*/ 189256 h 194294"/>
                <a:gd name="connsiteX2" fmla="*/ 5038 w 114309"/>
                <a:gd name="connsiteY2" fmla="*/ 108641 h 194294"/>
                <a:gd name="connsiteX3" fmla="*/ 0 w 114309"/>
                <a:gd name="connsiteY3" fmla="*/ 96675 h 194294"/>
                <a:gd name="connsiteX4" fmla="*/ 5038 w 114309"/>
                <a:gd name="connsiteY4" fmla="*/ 84709 h 194294"/>
                <a:gd name="connsiteX5" fmla="*/ 85653 w 114309"/>
                <a:gd name="connsiteY5" fmla="*/ 4724 h 194294"/>
                <a:gd name="connsiteX6" fmla="*/ 108956 w 114309"/>
                <a:gd name="connsiteY6" fmla="*/ 4724 h 194294"/>
                <a:gd name="connsiteX7" fmla="*/ 108956 w 114309"/>
                <a:gd name="connsiteY7" fmla="*/ 28026 h 194294"/>
                <a:gd name="connsiteX8" fmla="*/ 40307 w 114309"/>
                <a:gd name="connsiteY8" fmla="*/ 97305 h 194294"/>
                <a:gd name="connsiteX9" fmla="*/ 109586 w 114309"/>
                <a:gd name="connsiteY9" fmla="*/ 166583 h 194294"/>
                <a:gd name="connsiteX10" fmla="*/ 109586 w 114309"/>
                <a:gd name="connsiteY10" fmla="*/ 189886 h 194294"/>
                <a:gd name="connsiteX11" fmla="*/ 97620 w 114309"/>
                <a:gd name="connsiteY11" fmla="*/ 194295 h 194294"/>
                <a:gd name="connsiteX12" fmla="*/ 97620 w 114309"/>
                <a:gd name="connsiteY12" fmla="*/ 194295 h 194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4309" h="194294">
                  <a:moveTo>
                    <a:pt x="97620" y="194295"/>
                  </a:moveTo>
                  <a:cubicBezTo>
                    <a:pt x="93211" y="194295"/>
                    <a:pt x="88802" y="192405"/>
                    <a:pt x="85653" y="189256"/>
                  </a:cubicBezTo>
                  <a:lnTo>
                    <a:pt x="5038" y="108641"/>
                  </a:lnTo>
                  <a:cubicBezTo>
                    <a:pt x="1889" y="105492"/>
                    <a:pt x="0" y="101084"/>
                    <a:pt x="0" y="96675"/>
                  </a:cubicBezTo>
                  <a:cubicBezTo>
                    <a:pt x="0" y="92266"/>
                    <a:pt x="1889" y="87858"/>
                    <a:pt x="5038" y="84709"/>
                  </a:cubicBezTo>
                  <a:lnTo>
                    <a:pt x="85653" y="4724"/>
                  </a:lnTo>
                  <a:cubicBezTo>
                    <a:pt x="91951" y="-1575"/>
                    <a:pt x="102658" y="-1575"/>
                    <a:pt x="108956" y="4724"/>
                  </a:cubicBezTo>
                  <a:cubicBezTo>
                    <a:pt x="115254" y="11022"/>
                    <a:pt x="115254" y="21728"/>
                    <a:pt x="108956" y="28026"/>
                  </a:cubicBezTo>
                  <a:lnTo>
                    <a:pt x="40307" y="97305"/>
                  </a:lnTo>
                  <a:lnTo>
                    <a:pt x="109586" y="166583"/>
                  </a:lnTo>
                  <a:cubicBezTo>
                    <a:pt x="115884" y="172881"/>
                    <a:pt x="115884" y="183588"/>
                    <a:pt x="109586" y="189886"/>
                  </a:cubicBezTo>
                  <a:cubicBezTo>
                    <a:pt x="106437" y="193035"/>
                    <a:pt x="102028" y="194295"/>
                    <a:pt x="97620" y="194295"/>
                  </a:cubicBezTo>
                  <a:lnTo>
                    <a:pt x="97620" y="194295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53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2308359" y="517801"/>
            <a:ext cx="393312" cy="392997"/>
            <a:chOff x="2308359" y="517801"/>
            <a:chExt cx="393312" cy="392997"/>
          </a:xfrm>
          <a:solidFill>
            <a:srgbClr val="B1B1A1"/>
          </a:solidFill>
        </p:grpSpPr>
        <p:sp>
          <p:nvSpPr>
            <p:cNvPr id="54" name="Forma Livre: Forma 53">
              <a:extLst>
                <a:ext uri="{FF2B5EF4-FFF2-40B4-BE49-F238E27FC236}">
                  <a16:creationId xmlns:a16="http://schemas.microsoft.com/office/drawing/2014/main" id="{E4122C59-138C-4479-8A46-E46D9E191BAF}"/>
                </a:ext>
              </a:extLst>
            </p:cNvPr>
            <p:cNvSpPr/>
            <p:nvPr/>
          </p:nvSpPr>
          <p:spPr>
            <a:xfrm>
              <a:off x="2308359" y="517801"/>
              <a:ext cx="393312" cy="392997"/>
            </a:xfrm>
            <a:custGeom>
              <a:avLst/>
              <a:gdLst>
                <a:gd name="connsiteX0" fmla="*/ 196499 w 393312"/>
                <a:gd name="connsiteY0" fmla="*/ 392998 h 392997"/>
                <a:gd name="connsiteX1" fmla="*/ 57312 w 393312"/>
                <a:gd name="connsiteY1" fmla="*/ 335685 h 392997"/>
                <a:gd name="connsiteX2" fmla="*/ 0 w 393312"/>
                <a:gd name="connsiteY2" fmla="*/ 196499 h 392997"/>
                <a:gd name="connsiteX3" fmla="*/ 57312 w 393312"/>
                <a:gd name="connsiteY3" fmla="*/ 57312 h 392997"/>
                <a:gd name="connsiteX4" fmla="*/ 196499 w 393312"/>
                <a:gd name="connsiteY4" fmla="*/ 0 h 392997"/>
                <a:gd name="connsiteX5" fmla="*/ 335685 w 393312"/>
                <a:gd name="connsiteY5" fmla="*/ 57312 h 392997"/>
                <a:gd name="connsiteX6" fmla="*/ 335685 w 393312"/>
                <a:gd name="connsiteY6" fmla="*/ 335056 h 392997"/>
                <a:gd name="connsiteX7" fmla="*/ 196499 w 393312"/>
                <a:gd name="connsiteY7" fmla="*/ 392998 h 392997"/>
                <a:gd name="connsiteX8" fmla="*/ 196499 w 393312"/>
                <a:gd name="connsiteY8" fmla="*/ 392998 h 392997"/>
                <a:gd name="connsiteX9" fmla="*/ 196499 w 393312"/>
                <a:gd name="connsiteY9" fmla="*/ 33380 h 392997"/>
                <a:gd name="connsiteX10" fmla="*/ 81245 w 393312"/>
                <a:gd name="connsiteY10" fmla="*/ 81245 h 392997"/>
                <a:gd name="connsiteX11" fmla="*/ 33380 w 393312"/>
                <a:gd name="connsiteY11" fmla="*/ 196499 h 392997"/>
                <a:gd name="connsiteX12" fmla="*/ 81245 w 393312"/>
                <a:gd name="connsiteY12" fmla="*/ 311753 h 392997"/>
                <a:gd name="connsiteX13" fmla="*/ 196499 w 393312"/>
                <a:gd name="connsiteY13" fmla="*/ 359618 h 392997"/>
                <a:gd name="connsiteX14" fmla="*/ 311753 w 393312"/>
                <a:gd name="connsiteY14" fmla="*/ 311753 h 392997"/>
                <a:gd name="connsiteX15" fmla="*/ 311753 w 393312"/>
                <a:gd name="connsiteY15" fmla="*/ 81245 h 392997"/>
                <a:gd name="connsiteX16" fmla="*/ 196499 w 393312"/>
                <a:gd name="connsiteY16" fmla="*/ 33380 h 392997"/>
                <a:gd name="connsiteX17" fmla="*/ 196499 w 393312"/>
                <a:gd name="connsiteY17" fmla="*/ 33380 h 392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93312" h="392997">
                  <a:moveTo>
                    <a:pt x="196499" y="392998"/>
                  </a:moveTo>
                  <a:cubicBezTo>
                    <a:pt x="144225" y="392998"/>
                    <a:pt x="94471" y="372844"/>
                    <a:pt x="57312" y="335685"/>
                  </a:cubicBezTo>
                  <a:cubicBezTo>
                    <a:pt x="20154" y="298527"/>
                    <a:pt x="0" y="249402"/>
                    <a:pt x="0" y="196499"/>
                  </a:cubicBezTo>
                  <a:cubicBezTo>
                    <a:pt x="0" y="143595"/>
                    <a:pt x="20154" y="94471"/>
                    <a:pt x="57312" y="57312"/>
                  </a:cubicBezTo>
                  <a:cubicBezTo>
                    <a:pt x="94471" y="20154"/>
                    <a:pt x="143595" y="0"/>
                    <a:pt x="196499" y="0"/>
                  </a:cubicBezTo>
                  <a:cubicBezTo>
                    <a:pt x="248773" y="0"/>
                    <a:pt x="298527" y="20154"/>
                    <a:pt x="335685" y="57312"/>
                  </a:cubicBezTo>
                  <a:cubicBezTo>
                    <a:pt x="412522" y="134148"/>
                    <a:pt x="412522" y="258849"/>
                    <a:pt x="335685" y="335056"/>
                  </a:cubicBezTo>
                  <a:cubicBezTo>
                    <a:pt x="297897" y="372214"/>
                    <a:pt x="248773" y="392998"/>
                    <a:pt x="196499" y="392998"/>
                  </a:cubicBezTo>
                  <a:lnTo>
                    <a:pt x="196499" y="392998"/>
                  </a:lnTo>
                  <a:close/>
                  <a:moveTo>
                    <a:pt x="196499" y="33380"/>
                  </a:moveTo>
                  <a:cubicBezTo>
                    <a:pt x="153042" y="33380"/>
                    <a:pt x="112105" y="50384"/>
                    <a:pt x="81245" y="81245"/>
                  </a:cubicBezTo>
                  <a:cubicBezTo>
                    <a:pt x="50384" y="112105"/>
                    <a:pt x="33380" y="153042"/>
                    <a:pt x="33380" y="196499"/>
                  </a:cubicBezTo>
                  <a:cubicBezTo>
                    <a:pt x="33380" y="239955"/>
                    <a:pt x="50384" y="280893"/>
                    <a:pt x="81245" y="311753"/>
                  </a:cubicBezTo>
                  <a:cubicBezTo>
                    <a:pt x="112105" y="342613"/>
                    <a:pt x="153042" y="359618"/>
                    <a:pt x="196499" y="359618"/>
                  </a:cubicBezTo>
                  <a:cubicBezTo>
                    <a:pt x="239955" y="359618"/>
                    <a:pt x="280892" y="342613"/>
                    <a:pt x="311753" y="311753"/>
                  </a:cubicBezTo>
                  <a:cubicBezTo>
                    <a:pt x="375363" y="248143"/>
                    <a:pt x="375363" y="144855"/>
                    <a:pt x="311753" y="81245"/>
                  </a:cubicBezTo>
                  <a:cubicBezTo>
                    <a:pt x="280892" y="50384"/>
                    <a:pt x="239955" y="33380"/>
                    <a:pt x="196499" y="33380"/>
                  </a:cubicBezTo>
                  <a:lnTo>
                    <a:pt x="196499" y="3338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55" name="Forma Livre: Forma 54">
              <a:extLst>
                <a:ext uri="{FF2B5EF4-FFF2-40B4-BE49-F238E27FC236}">
                  <a16:creationId xmlns:a16="http://schemas.microsoft.com/office/drawing/2014/main" id="{EDF6061C-923E-4CCC-86F5-214BD2B8938A}"/>
                </a:ext>
              </a:extLst>
            </p:cNvPr>
            <p:cNvSpPr/>
            <p:nvPr/>
          </p:nvSpPr>
          <p:spPr>
            <a:xfrm>
              <a:off x="2447230" y="616995"/>
              <a:ext cx="114309" cy="194294"/>
            </a:xfrm>
            <a:custGeom>
              <a:avLst/>
              <a:gdLst>
                <a:gd name="connsiteX0" fmla="*/ 16690 w 114309"/>
                <a:gd name="connsiteY0" fmla="*/ 194295 h 194294"/>
                <a:gd name="connsiteX1" fmla="*/ 4724 w 114309"/>
                <a:gd name="connsiteY1" fmla="*/ 189256 h 194294"/>
                <a:gd name="connsiteX2" fmla="*/ 4724 w 114309"/>
                <a:gd name="connsiteY2" fmla="*/ 165953 h 194294"/>
                <a:gd name="connsiteX3" fmla="*/ 74002 w 114309"/>
                <a:gd name="connsiteY3" fmla="*/ 96675 h 194294"/>
                <a:gd name="connsiteX4" fmla="*/ 5353 w 114309"/>
                <a:gd name="connsiteY4" fmla="*/ 28026 h 194294"/>
                <a:gd name="connsiteX5" fmla="*/ 5353 w 114309"/>
                <a:gd name="connsiteY5" fmla="*/ 4724 h 194294"/>
                <a:gd name="connsiteX6" fmla="*/ 28656 w 114309"/>
                <a:gd name="connsiteY6" fmla="*/ 4724 h 194294"/>
                <a:gd name="connsiteX7" fmla="*/ 109271 w 114309"/>
                <a:gd name="connsiteY7" fmla="*/ 85338 h 194294"/>
                <a:gd name="connsiteX8" fmla="*/ 114309 w 114309"/>
                <a:gd name="connsiteY8" fmla="*/ 97305 h 194294"/>
                <a:gd name="connsiteX9" fmla="*/ 109271 w 114309"/>
                <a:gd name="connsiteY9" fmla="*/ 109271 h 194294"/>
                <a:gd name="connsiteX10" fmla="*/ 28656 w 114309"/>
                <a:gd name="connsiteY10" fmla="*/ 189886 h 194294"/>
                <a:gd name="connsiteX11" fmla="*/ 16690 w 114309"/>
                <a:gd name="connsiteY11" fmla="*/ 194295 h 194294"/>
                <a:gd name="connsiteX12" fmla="*/ 16690 w 114309"/>
                <a:gd name="connsiteY12" fmla="*/ 194295 h 194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4309" h="194294">
                  <a:moveTo>
                    <a:pt x="16690" y="194295"/>
                  </a:moveTo>
                  <a:cubicBezTo>
                    <a:pt x="12281" y="194295"/>
                    <a:pt x="7873" y="192405"/>
                    <a:pt x="4724" y="189256"/>
                  </a:cubicBezTo>
                  <a:cubicBezTo>
                    <a:pt x="-1575" y="182958"/>
                    <a:pt x="-1575" y="172251"/>
                    <a:pt x="4724" y="165953"/>
                  </a:cubicBezTo>
                  <a:lnTo>
                    <a:pt x="74002" y="96675"/>
                  </a:lnTo>
                  <a:lnTo>
                    <a:pt x="5353" y="28026"/>
                  </a:lnTo>
                  <a:cubicBezTo>
                    <a:pt x="-945" y="21728"/>
                    <a:pt x="-945" y="11022"/>
                    <a:pt x="5353" y="4724"/>
                  </a:cubicBezTo>
                  <a:cubicBezTo>
                    <a:pt x="11651" y="-1575"/>
                    <a:pt x="22358" y="-1575"/>
                    <a:pt x="28656" y="4724"/>
                  </a:cubicBezTo>
                  <a:lnTo>
                    <a:pt x="109271" y="85338"/>
                  </a:lnTo>
                  <a:cubicBezTo>
                    <a:pt x="112420" y="88487"/>
                    <a:pt x="114309" y="92896"/>
                    <a:pt x="114309" y="97305"/>
                  </a:cubicBezTo>
                  <a:cubicBezTo>
                    <a:pt x="114309" y="101713"/>
                    <a:pt x="112420" y="106122"/>
                    <a:pt x="109271" y="109271"/>
                  </a:cubicBezTo>
                  <a:lnTo>
                    <a:pt x="28656" y="189886"/>
                  </a:lnTo>
                  <a:cubicBezTo>
                    <a:pt x="25507" y="193035"/>
                    <a:pt x="21098" y="194295"/>
                    <a:pt x="16690" y="194295"/>
                  </a:cubicBezTo>
                  <a:lnTo>
                    <a:pt x="16690" y="194295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56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3328956" y="518431"/>
            <a:ext cx="393627" cy="392367"/>
            <a:chOff x="3328956" y="518431"/>
            <a:chExt cx="393627" cy="392367"/>
          </a:xfrm>
          <a:solidFill>
            <a:srgbClr val="B1B1A1"/>
          </a:solidFill>
        </p:grpSpPr>
        <p:sp>
          <p:nvSpPr>
            <p:cNvPr id="57" name="Forma Livre: Forma 56">
              <a:extLst>
                <a:ext uri="{FF2B5EF4-FFF2-40B4-BE49-F238E27FC236}">
                  <a16:creationId xmlns:a16="http://schemas.microsoft.com/office/drawing/2014/main" id="{D99A705B-EED9-49DD-B849-2C394BCC0B73}"/>
                </a:ext>
              </a:extLst>
            </p:cNvPr>
            <p:cNvSpPr/>
            <p:nvPr/>
          </p:nvSpPr>
          <p:spPr>
            <a:xfrm>
              <a:off x="3328956" y="518431"/>
              <a:ext cx="393627" cy="392367"/>
            </a:xfrm>
            <a:custGeom>
              <a:avLst/>
              <a:gdLst>
                <a:gd name="connsiteX0" fmla="*/ 196814 w 393627"/>
                <a:gd name="connsiteY0" fmla="*/ 392368 h 392367"/>
                <a:gd name="connsiteX1" fmla="*/ 57627 w 393627"/>
                <a:gd name="connsiteY1" fmla="*/ 335056 h 392367"/>
                <a:gd name="connsiteX2" fmla="*/ 57627 w 393627"/>
                <a:gd name="connsiteY2" fmla="*/ 57312 h 392367"/>
                <a:gd name="connsiteX3" fmla="*/ 196814 w 393627"/>
                <a:gd name="connsiteY3" fmla="*/ 0 h 392367"/>
                <a:gd name="connsiteX4" fmla="*/ 336000 w 393627"/>
                <a:gd name="connsiteY4" fmla="*/ 57312 h 392367"/>
                <a:gd name="connsiteX5" fmla="*/ 336000 w 393627"/>
                <a:gd name="connsiteY5" fmla="*/ 335056 h 392367"/>
                <a:gd name="connsiteX6" fmla="*/ 196814 w 393627"/>
                <a:gd name="connsiteY6" fmla="*/ 392368 h 392367"/>
                <a:gd name="connsiteX7" fmla="*/ 196814 w 393627"/>
                <a:gd name="connsiteY7" fmla="*/ 392368 h 392367"/>
                <a:gd name="connsiteX8" fmla="*/ 196814 w 393627"/>
                <a:gd name="connsiteY8" fmla="*/ 32750 h 392367"/>
                <a:gd name="connsiteX9" fmla="*/ 81560 w 393627"/>
                <a:gd name="connsiteY9" fmla="*/ 80615 h 392367"/>
                <a:gd name="connsiteX10" fmla="*/ 81560 w 393627"/>
                <a:gd name="connsiteY10" fmla="*/ 311123 h 392367"/>
                <a:gd name="connsiteX11" fmla="*/ 196814 w 393627"/>
                <a:gd name="connsiteY11" fmla="*/ 358988 h 392367"/>
                <a:gd name="connsiteX12" fmla="*/ 312068 w 393627"/>
                <a:gd name="connsiteY12" fmla="*/ 311123 h 392367"/>
                <a:gd name="connsiteX13" fmla="*/ 312068 w 393627"/>
                <a:gd name="connsiteY13" fmla="*/ 80615 h 392367"/>
                <a:gd name="connsiteX14" fmla="*/ 196814 w 393627"/>
                <a:gd name="connsiteY14" fmla="*/ 32750 h 392367"/>
                <a:gd name="connsiteX15" fmla="*/ 196814 w 393627"/>
                <a:gd name="connsiteY15" fmla="*/ 32750 h 392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93627" h="392367">
                  <a:moveTo>
                    <a:pt x="196814" y="392368"/>
                  </a:moveTo>
                  <a:cubicBezTo>
                    <a:pt x="144540" y="392368"/>
                    <a:pt x="94786" y="372214"/>
                    <a:pt x="57627" y="335056"/>
                  </a:cubicBezTo>
                  <a:cubicBezTo>
                    <a:pt x="-19209" y="258220"/>
                    <a:pt x="-19209" y="133518"/>
                    <a:pt x="57627" y="57312"/>
                  </a:cubicBezTo>
                  <a:cubicBezTo>
                    <a:pt x="94786" y="20154"/>
                    <a:pt x="143910" y="0"/>
                    <a:pt x="196814" y="0"/>
                  </a:cubicBezTo>
                  <a:cubicBezTo>
                    <a:pt x="249087" y="0"/>
                    <a:pt x="298842" y="20154"/>
                    <a:pt x="336000" y="57312"/>
                  </a:cubicBezTo>
                  <a:cubicBezTo>
                    <a:pt x="412837" y="134148"/>
                    <a:pt x="412837" y="258849"/>
                    <a:pt x="336000" y="335056"/>
                  </a:cubicBezTo>
                  <a:cubicBezTo>
                    <a:pt x="298842" y="371584"/>
                    <a:pt x="249717" y="392368"/>
                    <a:pt x="196814" y="392368"/>
                  </a:cubicBezTo>
                  <a:lnTo>
                    <a:pt x="196814" y="392368"/>
                  </a:lnTo>
                  <a:close/>
                  <a:moveTo>
                    <a:pt x="196814" y="32750"/>
                  </a:moveTo>
                  <a:cubicBezTo>
                    <a:pt x="153357" y="32750"/>
                    <a:pt x="112420" y="49755"/>
                    <a:pt x="81560" y="80615"/>
                  </a:cubicBezTo>
                  <a:cubicBezTo>
                    <a:pt x="17949" y="144225"/>
                    <a:pt x="17949" y="247513"/>
                    <a:pt x="81560" y="311123"/>
                  </a:cubicBezTo>
                  <a:cubicBezTo>
                    <a:pt x="112420" y="341984"/>
                    <a:pt x="153357" y="358988"/>
                    <a:pt x="196814" y="358988"/>
                  </a:cubicBezTo>
                  <a:cubicBezTo>
                    <a:pt x="240270" y="358988"/>
                    <a:pt x="281207" y="341984"/>
                    <a:pt x="312068" y="311123"/>
                  </a:cubicBezTo>
                  <a:cubicBezTo>
                    <a:pt x="375678" y="247513"/>
                    <a:pt x="375678" y="144225"/>
                    <a:pt x="312068" y="80615"/>
                  </a:cubicBezTo>
                  <a:cubicBezTo>
                    <a:pt x="281837" y="49755"/>
                    <a:pt x="240900" y="32750"/>
                    <a:pt x="196814" y="32750"/>
                  </a:cubicBezTo>
                  <a:lnTo>
                    <a:pt x="196814" y="3275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58" name="Forma Livre: Forma 57">
              <a:extLst>
                <a:ext uri="{FF2B5EF4-FFF2-40B4-BE49-F238E27FC236}">
                  <a16:creationId xmlns:a16="http://schemas.microsoft.com/office/drawing/2014/main" id="{077ADA52-5180-4975-88E7-0B6B305F9EDC}"/>
                </a:ext>
              </a:extLst>
            </p:cNvPr>
            <p:cNvSpPr/>
            <p:nvPr/>
          </p:nvSpPr>
          <p:spPr>
            <a:xfrm>
              <a:off x="3429095" y="657302"/>
              <a:ext cx="193979" cy="113679"/>
            </a:xfrm>
            <a:custGeom>
              <a:avLst/>
              <a:gdLst>
                <a:gd name="connsiteX0" fmla="*/ 177920 w 193979"/>
                <a:gd name="connsiteY0" fmla="*/ 113680 h 113679"/>
                <a:gd name="connsiteX1" fmla="*/ 165953 w 193979"/>
                <a:gd name="connsiteY1" fmla="*/ 108641 h 113679"/>
                <a:gd name="connsiteX2" fmla="*/ 96675 w 193979"/>
                <a:gd name="connsiteY2" fmla="*/ 39363 h 113679"/>
                <a:gd name="connsiteX3" fmla="*/ 28026 w 193979"/>
                <a:gd name="connsiteY3" fmla="*/ 108641 h 113679"/>
                <a:gd name="connsiteX4" fmla="*/ 4724 w 193979"/>
                <a:gd name="connsiteY4" fmla="*/ 108641 h 113679"/>
                <a:gd name="connsiteX5" fmla="*/ 4724 w 193979"/>
                <a:gd name="connsiteY5" fmla="*/ 85338 h 113679"/>
                <a:gd name="connsiteX6" fmla="*/ 85339 w 193979"/>
                <a:gd name="connsiteY6" fmla="*/ 4724 h 113679"/>
                <a:gd name="connsiteX7" fmla="*/ 108641 w 193979"/>
                <a:gd name="connsiteY7" fmla="*/ 4724 h 113679"/>
                <a:gd name="connsiteX8" fmla="*/ 189256 w 193979"/>
                <a:gd name="connsiteY8" fmla="*/ 85338 h 113679"/>
                <a:gd name="connsiteX9" fmla="*/ 189256 w 193979"/>
                <a:gd name="connsiteY9" fmla="*/ 108641 h 113679"/>
                <a:gd name="connsiteX10" fmla="*/ 177920 w 193979"/>
                <a:gd name="connsiteY10" fmla="*/ 113680 h 113679"/>
                <a:gd name="connsiteX11" fmla="*/ 177920 w 193979"/>
                <a:gd name="connsiteY11" fmla="*/ 113680 h 113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3979" h="113679">
                  <a:moveTo>
                    <a:pt x="177920" y="113680"/>
                  </a:moveTo>
                  <a:cubicBezTo>
                    <a:pt x="173511" y="113680"/>
                    <a:pt x="169102" y="111790"/>
                    <a:pt x="165953" y="108641"/>
                  </a:cubicBezTo>
                  <a:lnTo>
                    <a:pt x="96675" y="39363"/>
                  </a:lnTo>
                  <a:lnTo>
                    <a:pt x="28026" y="108641"/>
                  </a:lnTo>
                  <a:cubicBezTo>
                    <a:pt x="21728" y="114939"/>
                    <a:pt x="11022" y="114939"/>
                    <a:pt x="4724" y="108641"/>
                  </a:cubicBezTo>
                  <a:cubicBezTo>
                    <a:pt x="-1575" y="102343"/>
                    <a:pt x="-1575" y="91636"/>
                    <a:pt x="4724" y="85338"/>
                  </a:cubicBezTo>
                  <a:lnTo>
                    <a:pt x="85339" y="4724"/>
                  </a:lnTo>
                  <a:cubicBezTo>
                    <a:pt x="91637" y="-1575"/>
                    <a:pt x="102973" y="-1575"/>
                    <a:pt x="108641" y="4724"/>
                  </a:cubicBezTo>
                  <a:lnTo>
                    <a:pt x="189256" y="85338"/>
                  </a:lnTo>
                  <a:cubicBezTo>
                    <a:pt x="195554" y="91636"/>
                    <a:pt x="195554" y="102343"/>
                    <a:pt x="189256" y="108641"/>
                  </a:cubicBezTo>
                  <a:cubicBezTo>
                    <a:pt x="186107" y="112420"/>
                    <a:pt x="181698" y="113680"/>
                    <a:pt x="177920" y="113680"/>
                  </a:cubicBezTo>
                  <a:lnTo>
                    <a:pt x="177920" y="11368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59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4343570" y="518431"/>
            <a:ext cx="393627" cy="392367"/>
            <a:chOff x="4343570" y="518431"/>
            <a:chExt cx="393627" cy="392367"/>
          </a:xfrm>
          <a:solidFill>
            <a:srgbClr val="B1B1A1"/>
          </a:solidFill>
        </p:grpSpPr>
        <p:sp>
          <p:nvSpPr>
            <p:cNvPr id="60" name="Forma Livre: Forma 59">
              <a:extLst>
                <a:ext uri="{FF2B5EF4-FFF2-40B4-BE49-F238E27FC236}">
                  <a16:creationId xmlns:a16="http://schemas.microsoft.com/office/drawing/2014/main" id="{21ADD67F-B31E-4DA7-8275-9D5AB7D4EDB1}"/>
                </a:ext>
              </a:extLst>
            </p:cNvPr>
            <p:cNvSpPr/>
            <p:nvPr/>
          </p:nvSpPr>
          <p:spPr>
            <a:xfrm>
              <a:off x="4343570" y="518431"/>
              <a:ext cx="393627" cy="392367"/>
            </a:xfrm>
            <a:custGeom>
              <a:avLst/>
              <a:gdLst>
                <a:gd name="connsiteX0" fmla="*/ 196814 w 393627"/>
                <a:gd name="connsiteY0" fmla="*/ 392368 h 392367"/>
                <a:gd name="connsiteX1" fmla="*/ 57627 w 393627"/>
                <a:gd name="connsiteY1" fmla="*/ 335056 h 392367"/>
                <a:gd name="connsiteX2" fmla="*/ 57627 w 393627"/>
                <a:gd name="connsiteY2" fmla="*/ 57312 h 392367"/>
                <a:gd name="connsiteX3" fmla="*/ 196814 w 393627"/>
                <a:gd name="connsiteY3" fmla="*/ 0 h 392367"/>
                <a:gd name="connsiteX4" fmla="*/ 336000 w 393627"/>
                <a:gd name="connsiteY4" fmla="*/ 57312 h 392367"/>
                <a:gd name="connsiteX5" fmla="*/ 336000 w 393627"/>
                <a:gd name="connsiteY5" fmla="*/ 335056 h 392367"/>
                <a:gd name="connsiteX6" fmla="*/ 196814 w 393627"/>
                <a:gd name="connsiteY6" fmla="*/ 392368 h 392367"/>
                <a:gd name="connsiteX7" fmla="*/ 196814 w 393627"/>
                <a:gd name="connsiteY7" fmla="*/ 392368 h 392367"/>
                <a:gd name="connsiteX8" fmla="*/ 196814 w 393627"/>
                <a:gd name="connsiteY8" fmla="*/ 32750 h 392367"/>
                <a:gd name="connsiteX9" fmla="*/ 81560 w 393627"/>
                <a:gd name="connsiteY9" fmla="*/ 80615 h 392367"/>
                <a:gd name="connsiteX10" fmla="*/ 81560 w 393627"/>
                <a:gd name="connsiteY10" fmla="*/ 311123 h 392367"/>
                <a:gd name="connsiteX11" fmla="*/ 196814 w 393627"/>
                <a:gd name="connsiteY11" fmla="*/ 358988 h 392367"/>
                <a:gd name="connsiteX12" fmla="*/ 312068 w 393627"/>
                <a:gd name="connsiteY12" fmla="*/ 311123 h 392367"/>
                <a:gd name="connsiteX13" fmla="*/ 312068 w 393627"/>
                <a:gd name="connsiteY13" fmla="*/ 80615 h 392367"/>
                <a:gd name="connsiteX14" fmla="*/ 196814 w 393627"/>
                <a:gd name="connsiteY14" fmla="*/ 32750 h 392367"/>
                <a:gd name="connsiteX15" fmla="*/ 196814 w 393627"/>
                <a:gd name="connsiteY15" fmla="*/ 32750 h 392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93627" h="392367">
                  <a:moveTo>
                    <a:pt x="196814" y="392368"/>
                  </a:moveTo>
                  <a:cubicBezTo>
                    <a:pt x="144540" y="392368"/>
                    <a:pt x="94785" y="372214"/>
                    <a:pt x="57627" y="335056"/>
                  </a:cubicBezTo>
                  <a:cubicBezTo>
                    <a:pt x="-19209" y="258220"/>
                    <a:pt x="-19209" y="133518"/>
                    <a:pt x="57627" y="57312"/>
                  </a:cubicBezTo>
                  <a:cubicBezTo>
                    <a:pt x="94785" y="20154"/>
                    <a:pt x="143910" y="0"/>
                    <a:pt x="196814" y="0"/>
                  </a:cubicBezTo>
                  <a:cubicBezTo>
                    <a:pt x="249087" y="0"/>
                    <a:pt x="298842" y="20154"/>
                    <a:pt x="336000" y="57312"/>
                  </a:cubicBezTo>
                  <a:cubicBezTo>
                    <a:pt x="412836" y="134148"/>
                    <a:pt x="412836" y="258849"/>
                    <a:pt x="336000" y="335056"/>
                  </a:cubicBezTo>
                  <a:cubicBezTo>
                    <a:pt x="298212" y="371584"/>
                    <a:pt x="249087" y="392368"/>
                    <a:pt x="196814" y="392368"/>
                  </a:cubicBezTo>
                  <a:lnTo>
                    <a:pt x="196814" y="392368"/>
                  </a:lnTo>
                  <a:close/>
                  <a:moveTo>
                    <a:pt x="196814" y="32750"/>
                  </a:moveTo>
                  <a:cubicBezTo>
                    <a:pt x="153357" y="32750"/>
                    <a:pt x="112420" y="49755"/>
                    <a:pt x="81560" y="80615"/>
                  </a:cubicBezTo>
                  <a:cubicBezTo>
                    <a:pt x="17949" y="144225"/>
                    <a:pt x="17949" y="247513"/>
                    <a:pt x="81560" y="311123"/>
                  </a:cubicBezTo>
                  <a:cubicBezTo>
                    <a:pt x="112420" y="341984"/>
                    <a:pt x="153357" y="358988"/>
                    <a:pt x="196814" y="358988"/>
                  </a:cubicBezTo>
                  <a:cubicBezTo>
                    <a:pt x="240270" y="358988"/>
                    <a:pt x="281208" y="341984"/>
                    <a:pt x="312068" y="311123"/>
                  </a:cubicBezTo>
                  <a:cubicBezTo>
                    <a:pt x="375678" y="247513"/>
                    <a:pt x="375678" y="144225"/>
                    <a:pt x="312068" y="80615"/>
                  </a:cubicBezTo>
                  <a:cubicBezTo>
                    <a:pt x="281208" y="49755"/>
                    <a:pt x="240270" y="32750"/>
                    <a:pt x="196814" y="32750"/>
                  </a:cubicBezTo>
                  <a:lnTo>
                    <a:pt x="196814" y="3275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61" name="Forma Livre: Forma 60">
              <a:extLst>
                <a:ext uri="{FF2B5EF4-FFF2-40B4-BE49-F238E27FC236}">
                  <a16:creationId xmlns:a16="http://schemas.microsoft.com/office/drawing/2014/main" id="{83427205-0A5D-4E74-B39B-8AC32A9387DE}"/>
                </a:ext>
              </a:extLst>
            </p:cNvPr>
            <p:cNvSpPr/>
            <p:nvPr/>
          </p:nvSpPr>
          <p:spPr>
            <a:xfrm>
              <a:off x="4443079" y="657302"/>
              <a:ext cx="193349" cy="113679"/>
            </a:xfrm>
            <a:custGeom>
              <a:avLst/>
              <a:gdLst>
                <a:gd name="connsiteX0" fmla="*/ 97305 w 193349"/>
                <a:gd name="connsiteY0" fmla="*/ 113680 h 113679"/>
                <a:gd name="connsiteX1" fmla="*/ 85338 w 193349"/>
                <a:gd name="connsiteY1" fmla="*/ 108641 h 113679"/>
                <a:gd name="connsiteX2" fmla="*/ 4724 w 193349"/>
                <a:gd name="connsiteY2" fmla="*/ 28026 h 113679"/>
                <a:gd name="connsiteX3" fmla="*/ 4724 w 193349"/>
                <a:gd name="connsiteY3" fmla="*/ 4724 h 113679"/>
                <a:gd name="connsiteX4" fmla="*/ 28026 w 193349"/>
                <a:gd name="connsiteY4" fmla="*/ 4724 h 113679"/>
                <a:gd name="connsiteX5" fmla="*/ 96675 w 193349"/>
                <a:gd name="connsiteY5" fmla="*/ 74002 h 113679"/>
                <a:gd name="connsiteX6" fmla="*/ 165324 w 193349"/>
                <a:gd name="connsiteY6" fmla="*/ 4724 h 113679"/>
                <a:gd name="connsiteX7" fmla="*/ 188626 w 193349"/>
                <a:gd name="connsiteY7" fmla="*/ 4724 h 113679"/>
                <a:gd name="connsiteX8" fmla="*/ 188626 w 193349"/>
                <a:gd name="connsiteY8" fmla="*/ 28026 h 113679"/>
                <a:gd name="connsiteX9" fmla="*/ 108012 w 193349"/>
                <a:gd name="connsiteY9" fmla="*/ 108641 h 113679"/>
                <a:gd name="connsiteX10" fmla="*/ 97305 w 193349"/>
                <a:gd name="connsiteY10" fmla="*/ 113680 h 113679"/>
                <a:gd name="connsiteX11" fmla="*/ 97305 w 193349"/>
                <a:gd name="connsiteY11" fmla="*/ 113680 h 113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3349" h="113679">
                  <a:moveTo>
                    <a:pt x="97305" y="113680"/>
                  </a:moveTo>
                  <a:cubicBezTo>
                    <a:pt x="92896" y="113680"/>
                    <a:pt x="88487" y="111790"/>
                    <a:pt x="85338" y="108641"/>
                  </a:cubicBezTo>
                  <a:lnTo>
                    <a:pt x="4724" y="28026"/>
                  </a:lnTo>
                  <a:cubicBezTo>
                    <a:pt x="-1575" y="21728"/>
                    <a:pt x="-1575" y="11022"/>
                    <a:pt x="4724" y="4724"/>
                  </a:cubicBezTo>
                  <a:cubicBezTo>
                    <a:pt x="11022" y="-1575"/>
                    <a:pt x="21728" y="-1575"/>
                    <a:pt x="28026" y="4724"/>
                  </a:cubicBezTo>
                  <a:lnTo>
                    <a:pt x="96675" y="74002"/>
                  </a:lnTo>
                  <a:lnTo>
                    <a:pt x="165324" y="4724"/>
                  </a:lnTo>
                  <a:cubicBezTo>
                    <a:pt x="171622" y="-1575"/>
                    <a:pt x="182328" y="-1575"/>
                    <a:pt x="188626" y="4724"/>
                  </a:cubicBezTo>
                  <a:cubicBezTo>
                    <a:pt x="194924" y="11022"/>
                    <a:pt x="194924" y="21728"/>
                    <a:pt x="188626" y="28026"/>
                  </a:cubicBezTo>
                  <a:lnTo>
                    <a:pt x="108012" y="108641"/>
                  </a:lnTo>
                  <a:cubicBezTo>
                    <a:pt x="105492" y="112420"/>
                    <a:pt x="101713" y="113680"/>
                    <a:pt x="97305" y="113680"/>
                  </a:cubicBezTo>
                  <a:lnTo>
                    <a:pt x="97305" y="11368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62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8433201" y="1551309"/>
            <a:ext cx="398351" cy="388589"/>
            <a:chOff x="8433201" y="1551309"/>
            <a:chExt cx="398351" cy="388589"/>
          </a:xfrm>
          <a:solidFill>
            <a:srgbClr val="B1B1A1"/>
          </a:solidFill>
        </p:grpSpPr>
        <p:sp>
          <p:nvSpPr>
            <p:cNvPr id="63" name="Forma Livre: Forma 62">
              <a:extLst>
                <a:ext uri="{FF2B5EF4-FFF2-40B4-BE49-F238E27FC236}">
                  <a16:creationId xmlns:a16="http://schemas.microsoft.com/office/drawing/2014/main" id="{407D8BC9-7101-4641-A891-18D5344C5B72}"/>
                </a:ext>
              </a:extLst>
            </p:cNvPr>
            <p:cNvSpPr/>
            <p:nvPr/>
          </p:nvSpPr>
          <p:spPr>
            <a:xfrm>
              <a:off x="8433201" y="1590987"/>
              <a:ext cx="398351" cy="172566"/>
            </a:xfrm>
            <a:custGeom>
              <a:avLst/>
              <a:gdLst>
                <a:gd name="connsiteX0" fmla="*/ 333796 w 398351"/>
                <a:gd name="connsiteY0" fmla="*/ 172566 h 172566"/>
                <a:gd name="connsiteX1" fmla="*/ 16375 w 398351"/>
                <a:gd name="connsiteY1" fmla="*/ 172566 h 172566"/>
                <a:gd name="connsiteX2" fmla="*/ 0 w 398351"/>
                <a:gd name="connsiteY2" fmla="*/ 156191 h 172566"/>
                <a:gd name="connsiteX3" fmla="*/ 0 w 398351"/>
                <a:gd name="connsiteY3" fmla="*/ 16375 h 172566"/>
                <a:gd name="connsiteX4" fmla="*/ 16375 w 398351"/>
                <a:gd name="connsiteY4" fmla="*/ 0 h 172566"/>
                <a:gd name="connsiteX5" fmla="*/ 333796 w 398351"/>
                <a:gd name="connsiteY5" fmla="*/ 0 h 172566"/>
                <a:gd name="connsiteX6" fmla="*/ 347652 w 398351"/>
                <a:gd name="connsiteY6" fmla="*/ 7558 h 172566"/>
                <a:gd name="connsiteX7" fmla="*/ 395517 w 398351"/>
                <a:gd name="connsiteY7" fmla="*/ 77466 h 172566"/>
                <a:gd name="connsiteX8" fmla="*/ 395517 w 398351"/>
                <a:gd name="connsiteY8" fmla="*/ 96360 h 172566"/>
                <a:gd name="connsiteX9" fmla="*/ 347652 w 398351"/>
                <a:gd name="connsiteY9" fmla="*/ 166268 h 172566"/>
                <a:gd name="connsiteX10" fmla="*/ 333796 w 398351"/>
                <a:gd name="connsiteY10" fmla="*/ 172566 h 172566"/>
                <a:gd name="connsiteX11" fmla="*/ 333796 w 398351"/>
                <a:gd name="connsiteY11" fmla="*/ 172566 h 172566"/>
                <a:gd name="connsiteX12" fmla="*/ 33380 w 398351"/>
                <a:gd name="connsiteY12" fmla="*/ 139187 h 172566"/>
                <a:gd name="connsiteX13" fmla="*/ 324979 w 398351"/>
                <a:gd name="connsiteY13" fmla="*/ 139187 h 172566"/>
                <a:gd name="connsiteX14" fmla="*/ 361508 w 398351"/>
                <a:gd name="connsiteY14" fmla="*/ 86283 h 172566"/>
                <a:gd name="connsiteX15" fmla="*/ 324979 w 398351"/>
                <a:gd name="connsiteY15" fmla="*/ 33380 h 172566"/>
                <a:gd name="connsiteX16" fmla="*/ 33380 w 398351"/>
                <a:gd name="connsiteY16" fmla="*/ 33380 h 172566"/>
                <a:gd name="connsiteX17" fmla="*/ 33380 w 398351"/>
                <a:gd name="connsiteY17" fmla="*/ 139187 h 172566"/>
                <a:gd name="connsiteX18" fmla="*/ 33380 w 398351"/>
                <a:gd name="connsiteY18" fmla="*/ 139187 h 172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98351" h="172566">
                  <a:moveTo>
                    <a:pt x="333796" y="172566"/>
                  </a:moveTo>
                  <a:lnTo>
                    <a:pt x="16375" y="172566"/>
                  </a:lnTo>
                  <a:cubicBezTo>
                    <a:pt x="6928" y="172566"/>
                    <a:pt x="0" y="165009"/>
                    <a:pt x="0" y="156191"/>
                  </a:cubicBezTo>
                  <a:lnTo>
                    <a:pt x="0" y="16375"/>
                  </a:lnTo>
                  <a:cubicBezTo>
                    <a:pt x="0" y="6928"/>
                    <a:pt x="7558" y="0"/>
                    <a:pt x="16375" y="0"/>
                  </a:cubicBezTo>
                  <a:lnTo>
                    <a:pt x="333796" y="0"/>
                  </a:lnTo>
                  <a:cubicBezTo>
                    <a:pt x="339464" y="0"/>
                    <a:pt x="344503" y="2519"/>
                    <a:pt x="347652" y="7558"/>
                  </a:cubicBezTo>
                  <a:lnTo>
                    <a:pt x="395517" y="77466"/>
                  </a:lnTo>
                  <a:cubicBezTo>
                    <a:pt x="399296" y="83134"/>
                    <a:pt x="399296" y="90692"/>
                    <a:pt x="395517" y="96360"/>
                  </a:cubicBezTo>
                  <a:lnTo>
                    <a:pt x="347652" y="166268"/>
                  </a:lnTo>
                  <a:cubicBezTo>
                    <a:pt x="344503" y="170047"/>
                    <a:pt x="339464" y="172566"/>
                    <a:pt x="333796" y="172566"/>
                  </a:cubicBezTo>
                  <a:lnTo>
                    <a:pt x="333796" y="172566"/>
                  </a:lnTo>
                  <a:close/>
                  <a:moveTo>
                    <a:pt x="33380" y="139187"/>
                  </a:moveTo>
                  <a:lnTo>
                    <a:pt x="324979" y="139187"/>
                  </a:lnTo>
                  <a:lnTo>
                    <a:pt x="361508" y="86283"/>
                  </a:lnTo>
                  <a:lnTo>
                    <a:pt x="324979" y="33380"/>
                  </a:lnTo>
                  <a:lnTo>
                    <a:pt x="33380" y="33380"/>
                  </a:lnTo>
                  <a:lnTo>
                    <a:pt x="33380" y="139187"/>
                  </a:lnTo>
                  <a:lnTo>
                    <a:pt x="33380" y="139187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64" name="Forma Livre: Forma 63">
              <a:extLst>
                <a:ext uri="{FF2B5EF4-FFF2-40B4-BE49-F238E27FC236}">
                  <a16:creationId xmlns:a16="http://schemas.microsoft.com/office/drawing/2014/main" id="{7C776E9A-B21B-484D-8F99-DFDBF8FF74B0}"/>
                </a:ext>
              </a:extLst>
            </p:cNvPr>
            <p:cNvSpPr/>
            <p:nvPr/>
          </p:nvSpPr>
          <p:spPr>
            <a:xfrm>
              <a:off x="8607657" y="1734582"/>
              <a:ext cx="32749" cy="205316"/>
            </a:xfrm>
            <a:custGeom>
              <a:avLst/>
              <a:gdLst>
                <a:gd name="connsiteX0" fmla="*/ 16375 w 32749"/>
                <a:gd name="connsiteY0" fmla="*/ 205316 h 205316"/>
                <a:gd name="connsiteX1" fmla="*/ 0 w 32749"/>
                <a:gd name="connsiteY1" fmla="*/ 188941 h 205316"/>
                <a:gd name="connsiteX2" fmla="*/ 0 w 32749"/>
                <a:gd name="connsiteY2" fmla="*/ 16375 h 205316"/>
                <a:gd name="connsiteX3" fmla="*/ 16375 w 32749"/>
                <a:gd name="connsiteY3" fmla="*/ 0 h 205316"/>
                <a:gd name="connsiteX4" fmla="*/ 32749 w 32749"/>
                <a:gd name="connsiteY4" fmla="*/ 16375 h 205316"/>
                <a:gd name="connsiteX5" fmla="*/ 32749 w 32749"/>
                <a:gd name="connsiteY5" fmla="*/ 188941 h 205316"/>
                <a:gd name="connsiteX6" fmla="*/ 16375 w 32749"/>
                <a:gd name="connsiteY6" fmla="*/ 205316 h 205316"/>
                <a:gd name="connsiteX7" fmla="*/ 16375 w 32749"/>
                <a:gd name="connsiteY7" fmla="*/ 205316 h 205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749" h="205316">
                  <a:moveTo>
                    <a:pt x="16375" y="205316"/>
                  </a:moveTo>
                  <a:cubicBezTo>
                    <a:pt x="6928" y="205316"/>
                    <a:pt x="0" y="197758"/>
                    <a:pt x="0" y="188941"/>
                  </a:cubicBezTo>
                  <a:lnTo>
                    <a:pt x="0" y="16375"/>
                  </a:lnTo>
                  <a:cubicBezTo>
                    <a:pt x="0" y="6928"/>
                    <a:pt x="7557" y="0"/>
                    <a:pt x="16375" y="0"/>
                  </a:cubicBezTo>
                  <a:cubicBezTo>
                    <a:pt x="25822" y="0"/>
                    <a:pt x="32749" y="7558"/>
                    <a:pt x="32749" y="16375"/>
                  </a:cubicBezTo>
                  <a:lnTo>
                    <a:pt x="32749" y="188941"/>
                  </a:lnTo>
                  <a:cubicBezTo>
                    <a:pt x="32749" y="197758"/>
                    <a:pt x="25192" y="205316"/>
                    <a:pt x="16375" y="205316"/>
                  </a:cubicBezTo>
                  <a:lnTo>
                    <a:pt x="16375" y="205316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65" name="Forma Livre: Forma 64">
              <a:extLst>
                <a:ext uri="{FF2B5EF4-FFF2-40B4-BE49-F238E27FC236}">
                  <a16:creationId xmlns:a16="http://schemas.microsoft.com/office/drawing/2014/main" id="{D9F9CCA8-99B8-4302-B06B-EBD902AF5FBB}"/>
                </a:ext>
              </a:extLst>
            </p:cNvPr>
            <p:cNvSpPr/>
            <p:nvPr/>
          </p:nvSpPr>
          <p:spPr>
            <a:xfrm>
              <a:off x="8607657" y="1551309"/>
              <a:ext cx="32749" cy="60461"/>
            </a:xfrm>
            <a:custGeom>
              <a:avLst/>
              <a:gdLst>
                <a:gd name="connsiteX0" fmla="*/ 16375 w 32749"/>
                <a:gd name="connsiteY0" fmla="*/ 60461 h 60461"/>
                <a:gd name="connsiteX1" fmla="*/ 0 w 32749"/>
                <a:gd name="connsiteY1" fmla="*/ 44086 h 60461"/>
                <a:gd name="connsiteX2" fmla="*/ 0 w 32749"/>
                <a:gd name="connsiteY2" fmla="*/ 16375 h 60461"/>
                <a:gd name="connsiteX3" fmla="*/ 16375 w 32749"/>
                <a:gd name="connsiteY3" fmla="*/ 0 h 60461"/>
                <a:gd name="connsiteX4" fmla="*/ 32749 w 32749"/>
                <a:gd name="connsiteY4" fmla="*/ 16375 h 60461"/>
                <a:gd name="connsiteX5" fmla="*/ 32749 w 32749"/>
                <a:gd name="connsiteY5" fmla="*/ 44086 h 60461"/>
                <a:gd name="connsiteX6" fmla="*/ 16375 w 32749"/>
                <a:gd name="connsiteY6" fmla="*/ 60461 h 60461"/>
                <a:gd name="connsiteX7" fmla="*/ 16375 w 32749"/>
                <a:gd name="connsiteY7" fmla="*/ 60461 h 60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749" h="60461">
                  <a:moveTo>
                    <a:pt x="16375" y="60461"/>
                  </a:moveTo>
                  <a:cubicBezTo>
                    <a:pt x="6928" y="60461"/>
                    <a:pt x="0" y="52904"/>
                    <a:pt x="0" y="44086"/>
                  </a:cubicBezTo>
                  <a:lnTo>
                    <a:pt x="0" y="16375"/>
                  </a:lnTo>
                  <a:cubicBezTo>
                    <a:pt x="0" y="6928"/>
                    <a:pt x="7557" y="0"/>
                    <a:pt x="16375" y="0"/>
                  </a:cubicBezTo>
                  <a:cubicBezTo>
                    <a:pt x="25822" y="0"/>
                    <a:pt x="32749" y="7558"/>
                    <a:pt x="32749" y="16375"/>
                  </a:cubicBezTo>
                  <a:lnTo>
                    <a:pt x="32749" y="44086"/>
                  </a:lnTo>
                  <a:cubicBezTo>
                    <a:pt x="32749" y="52904"/>
                    <a:pt x="25192" y="60461"/>
                    <a:pt x="16375" y="60461"/>
                  </a:cubicBezTo>
                  <a:lnTo>
                    <a:pt x="16375" y="60461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66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9497569" y="1551309"/>
            <a:ext cx="306642" cy="388589"/>
            <a:chOff x="9497569" y="1551309"/>
            <a:chExt cx="306642" cy="388589"/>
          </a:xfrm>
          <a:solidFill>
            <a:srgbClr val="B1B1A1"/>
          </a:solidFill>
        </p:grpSpPr>
        <p:sp>
          <p:nvSpPr>
            <p:cNvPr id="67" name="Forma Livre: Forma 66">
              <a:extLst>
                <a:ext uri="{FF2B5EF4-FFF2-40B4-BE49-F238E27FC236}">
                  <a16:creationId xmlns:a16="http://schemas.microsoft.com/office/drawing/2014/main" id="{AA97C86C-CCF8-49DD-A9CF-E7292A5C6678}"/>
                </a:ext>
              </a:extLst>
            </p:cNvPr>
            <p:cNvSpPr/>
            <p:nvPr/>
          </p:nvSpPr>
          <p:spPr>
            <a:xfrm>
              <a:off x="9497569" y="1590987"/>
              <a:ext cx="166898" cy="172566"/>
            </a:xfrm>
            <a:custGeom>
              <a:avLst/>
              <a:gdLst>
                <a:gd name="connsiteX0" fmla="*/ 150523 w 166898"/>
                <a:gd name="connsiteY0" fmla="*/ 172566 h 172566"/>
                <a:gd name="connsiteX1" fmla="*/ 16375 w 166898"/>
                <a:gd name="connsiteY1" fmla="*/ 172566 h 172566"/>
                <a:gd name="connsiteX2" fmla="*/ 0 w 166898"/>
                <a:gd name="connsiteY2" fmla="*/ 156191 h 172566"/>
                <a:gd name="connsiteX3" fmla="*/ 0 w 166898"/>
                <a:gd name="connsiteY3" fmla="*/ 16375 h 172566"/>
                <a:gd name="connsiteX4" fmla="*/ 16375 w 166898"/>
                <a:gd name="connsiteY4" fmla="*/ 0 h 172566"/>
                <a:gd name="connsiteX5" fmla="*/ 150523 w 166898"/>
                <a:gd name="connsiteY5" fmla="*/ 0 h 172566"/>
                <a:gd name="connsiteX6" fmla="*/ 166898 w 166898"/>
                <a:gd name="connsiteY6" fmla="*/ 16375 h 172566"/>
                <a:gd name="connsiteX7" fmla="*/ 166898 w 166898"/>
                <a:gd name="connsiteY7" fmla="*/ 156191 h 172566"/>
                <a:gd name="connsiteX8" fmla="*/ 150523 w 166898"/>
                <a:gd name="connsiteY8" fmla="*/ 172566 h 172566"/>
                <a:gd name="connsiteX9" fmla="*/ 150523 w 166898"/>
                <a:gd name="connsiteY9" fmla="*/ 172566 h 172566"/>
                <a:gd name="connsiteX10" fmla="*/ 33380 w 166898"/>
                <a:gd name="connsiteY10" fmla="*/ 139187 h 172566"/>
                <a:gd name="connsiteX11" fmla="*/ 134149 w 166898"/>
                <a:gd name="connsiteY11" fmla="*/ 139187 h 172566"/>
                <a:gd name="connsiteX12" fmla="*/ 134149 w 166898"/>
                <a:gd name="connsiteY12" fmla="*/ 32750 h 172566"/>
                <a:gd name="connsiteX13" fmla="*/ 33380 w 166898"/>
                <a:gd name="connsiteY13" fmla="*/ 32750 h 172566"/>
                <a:gd name="connsiteX14" fmla="*/ 33380 w 166898"/>
                <a:gd name="connsiteY14" fmla="*/ 139187 h 172566"/>
                <a:gd name="connsiteX15" fmla="*/ 33380 w 166898"/>
                <a:gd name="connsiteY15" fmla="*/ 139187 h 172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66898" h="172566">
                  <a:moveTo>
                    <a:pt x="150523" y="172566"/>
                  </a:moveTo>
                  <a:lnTo>
                    <a:pt x="16375" y="172566"/>
                  </a:lnTo>
                  <a:cubicBezTo>
                    <a:pt x="6928" y="172566"/>
                    <a:pt x="0" y="165009"/>
                    <a:pt x="0" y="156191"/>
                  </a:cubicBezTo>
                  <a:lnTo>
                    <a:pt x="0" y="16375"/>
                  </a:lnTo>
                  <a:cubicBezTo>
                    <a:pt x="0" y="6928"/>
                    <a:pt x="7558" y="0"/>
                    <a:pt x="16375" y="0"/>
                  </a:cubicBezTo>
                  <a:lnTo>
                    <a:pt x="150523" y="0"/>
                  </a:lnTo>
                  <a:cubicBezTo>
                    <a:pt x="159970" y="0"/>
                    <a:pt x="166898" y="7558"/>
                    <a:pt x="166898" y="16375"/>
                  </a:cubicBezTo>
                  <a:lnTo>
                    <a:pt x="166898" y="156191"/>
                  </a:lnTo>
                  <a:cubicBezTo>
                    <a:pt x="166898" y="165009"/>
                    <a:pt x="159341" y="172566"/>
                    <a:pt x="150523" y="172566"/>
                  </a:cubicBezTo>
                  <a:lnTo>
                    <a:pt x="150523" y="172566"/>
                  </a:lnTo>
                  <a:close/>
                  <a:moveTo>
                    <a:pt x="33380" y="139187"/>
                  </a:moveTo>
                  <a:lnTo>
                    <a:pt x="134149" y="139187"/>
                  </a:lnTo>
                  <a:lnTo>
                    <a:pt x="134149" y="32750"/>
                  </a:lnTo>
                  <a:lnTo>
                    <a:pt x="33380" y="32750"/>
                  </a:lnTo>
                  <a:lnTo>
                    <a:pt x="33380" y="139187"/>
                  </a:lnTo>
                  <a:lnTo>
                    <a:pt x="33380" y="139187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68" name="Forma Livre: Forma 67">
              <a:extLst>
                <a:ext uri="{FF2B5EF4-FFF2-40B4-BE49-F238E27FC236}">
                  <a16:creationId xmlns:a16="http://schemas.microsoft.com/office/drawing/2014/main" id="{EFF6AFC7-DC1E-4829-B5B2-D8B513C1E4B6}"/>
                </a:ext>
              </a:extLst>
            </p:cNvPr>
            <p:cNvSpPr/>
            <p:nvPr/>
          </p:nvSpPr>
          <p:spPr>
            <a:xfrm>
              <a:off x="9593930" y="1645780"/>
              <a:ext cx="210282" cy="171936"/>
            </a:xfrm>
            <a:custGeom>
              <a:avLst/>
              <a:gdLst>
                <a:gd name="connsiteX0" fmla="*/ 193979 w 210282"/>
                <a:gd name="connsiteY0" fmla="*/ 171936 h 171936"/>
                <a:gd name="connsiteX1" fmla="*/ 16375 w 210282"/>
                <a:gd name="connsiteY1" fmla="*/ 171936 h 171936"/>
                <a:gd name="connsiteX2" fmla="*/ 0 w 210282"/>
                <a:gd name="connsiteY2" fmla="*/ 155562 h 171936"/>
                <a:gd name="connsiteX3" fmla="*/ 16375 w 210282"/>
                <a:gd name="connsiteY3" fmla="*/ 139187 h 171936"/>
                <a:gd name="connsiteX4" fmla="*/ 165638 w 210282"/>
                <a:gd name="connsiteY4" fmla="*/ 139187 h 171936"/>
                <a:gd name="connsiteX5" fmla="*/ 141076 w 210282"/>
                <a:gd name="connsiteY5" fmla="*/ 93841 h 171936"/>
                <a:gd name="connsiteX6" fmla="*/ 141076 w 210282"/>
                <a:gd name="connsiteY6" fmla="*/ 78096 h 171936"/>
                <a:gd name="connsiteX7" fmla="*/ 165638 w 210282"/>
                <a:gd name="connsiteY7" fmla="*/ 32750 h 171936"/>
                <a:gd name="connsiteX8" fmla="*/ 53533 w 210282"/>
                <a:gd name="connsiteY8" fmla="*/ 32750 h 171936"/>
                <a:gd name="connsiteX9" fmla="*/ 37159 w 210282"/>
                <a:gd name="connsiteY9" fmla="*/ 16375 h 171936"/>
                <a:gd name="connsiteX10" fmla="*/ 53533 w 210282"/>
                <a:gd name="connsiteY10" fmla="*/ 0 h 171936"/>
                <a:gd name="connsiteX11" fmla="*/ 193349 w 210282"/>
                <a:gd name="connsiteY11" fmla="*/ 0 h 171936"/>
                <a:gd name="connsiteX12" fmla="*/ 207835 w 210282"/>
                <a:gd name="connsiteY12" fmla="*/ 8187 h 171936"/>
                <a:gd name="connsiteX13" fmla="*/ 208465 w 210282"/>
                <a:gd name="connsiteY13" fmla="*/ 24562 h 171936"/>
                <a:gd name="connsiteX14" fmla="*/ 175085 w 210282"/>
                <a:gd name="connsiteY14" fmla="*/ 86283 h 171936"/>
                <a:gd name="connsiteX15" fmla="*/ 208465 w 210282"/>
                <a:gd name="connsiteY15" fmla="*/ 148004 h 171936"/>
                <a:gd name="connsiteX16" fmla="*/ 207835 w 210282"/>
                <a:gd name="connsiteY16" fmla="*/ 164379 h 171936"/>
                <a:gd name="connsiteX17" fmla="*/ 193979 w 210282"/>
                <a:gd name="connsiteY17" fmla="*/ 171936 h 171936"/>
                <a:gd name="connsiteX18" fmla="*/ 193979 w 210282"/>
                <a:gd name="connsiteY18" fmla="*/ 171936 h 171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10282" h="171936">
                  <a:moveTo>
                    <a:pt x="193979" y="171936"/>
                  </a:moveTo>
                  <a:lnTo>
                    <a:pt x="16375" y="171936"/>
                  </a:lnTo>
                  <a:cubicBezTo>
                    <a:pt x="6928" y="171936"/>
                    <a:pt x="0" y="164379"/>
                    <a:pt x="0" y="155562"/>
                  </a:cubicBezTo>
                  <a:cubicBezTo>
                    <a:pt x="0" y="146115"/>
                    <a:pt x="7557" y="139187"/>
                    <a:pt x="16375" y="139187"/>
                  </a:cubicBezTo>
                  <a:lnTo>
                    <a:pt x="165638" y="139187"/>
                  </a:lnTo>
                  <a:lnTo>
                    <a:pt x="141076" y="93841"/>
                  </a:lnTo>
                  <a:cubicBezTo>
                    <a:pt x="138557" y="88802"/>
                    <a:pt x="138557" y="83134"/>
                    <a:pt x="141076" y="78096"/>
                  </a:cubicBezTo>
                  <a:lnTo>
                    <a:pt x="165638" y="32750"/>
                  </a:lnTo>
                  <a:lnTo>
                    <a:pt x="53533" y="32750"/>
                  </a:lnTo>
                  <a:cubicBezTo>
                    <a:pt x="44086" y="32750"/>
                    <a:pt x="37159" y="25192"/>
                    <a:pt x="37159" y="16375"/>
                  </a:cubicBezTo>
                  <a:cubicBezTo>
                    <a:pt x="37159" y="6928"/>
                    <a:pt x="44716" y="0"/>
                    <a:pt x="53533" y="0"/>
                  </a:cubicBezTo>
                  <a:lnTo>
                    <a:pt x="193349" y="0"/>
                  </a:lnTo>
                  <a:cubicBezTo>
                    <a:pt x="199018" y="0"/>
                    <a:pt x="204686" y="3149"/>
                    <a:pt x="207835" y="8187"/>
                  </a:cubicBezTo>
                  <a:cubicBezTo>
                    <a:pt x="210984" y="13226"/>
                    <a:pt x="210984" y="19524"/>
                    <a:pt x="208465" y="24562"/>
                  </a:cubicBezTo>
                  <a:lnTo>
                    <a:pt x="175085" y="86283"/>
                  </a:lnTo>
                  <a:lnTo>
                    <a:pt x="208465" y="148004"/>
                  </a:lnTo>
                  <a:cubicBezTo>
                    <a:pt x="210984" y="153042"/>
                    <a:pt x="210984" y="159340"/>
                    <a:pt x="207835" y="164379"/>
                  </a:cubicBezTo>
                  <a:cubicBezTo>
                    <a:pt x="205316" y="168787"/>
                    <a:pt x="199648" y="171936"/>
                    <a:pt x="193979" y="171936"/>
                  </a:cubicBezTo>
                  <a:lnTo>
                    <a:pt x="193979" y="171936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69" name="Forma Livre: Forma 68">
              <a:extLst>
                <a:ext uri="{FF2B5EF4-FFF2-40B4-BE49-F238E27FC236}">
                  <a16:creationId xmlns:a16="http://schemas.microsoft.com/office/drawing/2014/main" id="{2D780B36-9F3A-4AB7-B359-C96006D542A9}"/>
                </a:ext>
              </a:extLst>
            </p:cNvPr>
            <p:cNvSpPr/>
            <p:nvPr/>
          </p:nvSpPr>
          <p:spPr>
            <a:xfrm>
              <a:off x="9524022" y="1734582"/>
              <a:ext cx="32786" cy="205316"/>
            </a:xfrm>
            <a:custGeom>
              <a:avLst/>
              <a:gdLst>
                <a:gd name="connsiteX0" fmla="*/ 16375 w 32786"/>
                <a:gd name="connsiteY0" fmla="*/ 205316 h 205316"/>
                <a:gd name="connsiteX1" fmla="*/ 0 w 32786"/>
                <a:gd name="connsiteY1" fmla="*/ 188941 h 205316"/>
                <a:gd name="connsiteX2" fmla="*/ 0 w 32786"/>
                <a:gd name="connsiteY2" fmla="*/ 16375 h 205316"/>
                <a:gd name="connsiteX3" fmla="*/ 16375 w 32786"/>
                <a:gd name="connsiteY3" fmla="*/ 0 h 205316"/>
                <a:gd name="connsiteX4" fmla="*/ 32749 w 32786"/>
                <a:gd name="connsiteY4" fmla="*/ 16375 h 205316"/>
                <a:gd name="connsiteX5" fmla="*/ 32749 w 32786"/>
                <a:gd name="connsiteY5" fmla="*/ 188941 h 205316"/>
                <a:gd name="connsiteX6" fmla="*/ 16375 w 32786"/>
                <a:gd name="connsiteY6" fmla="*/ 205316 h 205316"/>
                <a:gd name="connsiteX7" fmla="*/ 16375 w 32786"/>
                <a:gd name="connsiteY7" fmla="*/ 205316 h 205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786" h="205316">
                  <a:moveTo>
                    <a:pt x="16375" y="205316"/>
                  </a:moveTo>
                  <a:cubicBezTo>
                    <a:pt x="6928" y="205316"/>
                    <a:pt x="0" y="197758"/>
                    <a:pt x="0" y="188941"/>
                  </a:cubicBezTo>
                  <a:lnTo>
                    <a:pt x="0" y="16375"/>
                  </a:lnTo>
                  <a:cubicBezTo>
                    <a:pt x="0" y="6928"/>
                    <a:pt x="7557" y="0"/>
                    <a:pt x="16375" y="0"/>
                  </a:cubicBezTo>
                  <a:cubicBezTo>
                    <a:pt x="25822" y="0"/>
                    <a:pt x="32749" y="7558"/>
                    <a:pt x="32749" y="16375"/>
                  </a:cubicBezTo>
                  <a:lnTo>
                    <a:pt x="32749" y="188941"/>
                  </a:lnTo>
                  <a:cubicBezTo>
                    <a:pt x="33379" y="197758"/>
                    <a:pt x="25822" y="205316"/>
                    <a:pt x="16375" y="205316"/>
                  </a:cubicBezTo>
                  <a:lnTo>
                    <a:pt x="16375" y="205316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70" name="Forma Livre: Forma 69">
              <a:extLst>
                <a:ext uri="{FF2B5EF4-FFF2-40B4-BE49-F238E27FC236}">
                  <a16:creationId xmlns:a16="http://schemas.microsoft.com/office/drawing/2014/main" id="{B5585141-3EE1-4C2E-ACAC-A91F1FF6B5DE}"/>
                </a:ext>
              </a:extLst>
            </p:cNvPr>
            <p:cNvSpPr/>
            <p:nvPr/>
          </p:nvSpPr>
          <p:spPr>
            <a:xfrm>
              <a:off x="9524022" y="1551309"/>
              <a:ext cx="32786" cy="60461"/>
            </a:xfrm>
            <a:custGeom>
              <a:avLst/>
              <a:gdLst>
                <a:gd name="connsiteX0" fmla="*/ 16375 w 32786"/>
                <a:gd name="connsiteY0" fmla="*/ 60461 h 60461"/>
                <a:gd name="connsiteX1" fmla="*/ 0 w 32786"/>
                <a:gd name="connsiteY1" fmla="*/ 44086 h 60461"/>
                <a:gd name="connsiteX2" fmla="*/ 0 w 32786"/>
                <a:gd name="connsiteY2" fmla="*/ 16375 h 60461"/>
                <a:gd name="connsiteX3" fmla="*/ 16375 w 32786"/>
                <a:gd name="connsiteY3" fmla="*/ 0 h 60461"/>
                <a:gd name="connsiteX4" fmla="*/ 32749 w 32786"/>
                <a:gd name="connsiteY4" fmla="*/ 16375 h 60461"/>
                <a:gd name="connsiteX5" fmla="*/ 32749 w 32786"/>
                <a:gd name="connsiteY5" fmla="*/ 44086 h 60461"/>
                <a:gd name="connsiteX6" fmla="*/ 16375 w 32786"/>
                <a:gd name="connsiteY6" fmla="*/ 60461 h 60461"/>
                <a:gd name="connsiteX7" fmla="*/ 16375 w 32786"/>
                <a:gd name="connsiteY7" fmla="*/ 60461 h 60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786" h="60461">
                  <a:moveTo>
                    <a:pt x="16375" y="60461"/>
                  </a:moveTo>
                  <a:cubicBezTo>
                    <a:pt x="6928" y="60461"/>
                    <a:pt x="0" y="52904"/>
                    <a:pt x="0" y="44086"/>
                  </a:cubicBezTo>
                  <a:lnTo>
                    <a:pt x="0" y="16375"/>
                  </a:lnTo>
                  <a:cubicBezTo>
                    <a:pt x="0" y="6928"/>
                    <a:pt x="7557" y="0"/>
                    <a:pt x="16375" y="0"/>
                  </a:cubicBezTo>
                  <a:cubicBezTo>
                    <a:pt x="25822" y="0"/>
                    <a:pt x="32749" y="7558"/>
                    <a:pt x="32749" y="16375"/>
                  </a:cubicBezTo>
                  <a:lnTo>
                    <a:pt x="32749" y="44086"/>
                  </a:lnTo>
                  <a:cubicBezTo>
                    <a:pt x="33379" y="52904"/>
                    <a:pt x="25822" y="60461"/>
                    <a:pt x="16375" y="60461"/>
                  </a:cubicBezTo>
                  <a:lnTo>
                    <a:pt x="16375" y="60461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71" name="Forma Livre: Forma 70">
              <a:extLst>
                <a:ext uri="{FF2B5EF4-FFF2-40B4-BE49-F238E27FC236}">
                  <a16:creationId xmlns:a16="http://schemas.microsoft.com/office/drawing/2014/main" id="{FDF0560E-E2E9-4FC8-B57D-52F1FD8EF773}"/>
                </a:ext>
              </a:extLst>
            </p:cNvPr>
            <p:cNvSpPr/>
            <p:nvPr/>
          </p:nvSpPr>
          <p:spPr>
            <a:xfrm>
              <a:off x="9593930" y="1733952"/>
              <a:ext cx="32786" cy="83763"/>
            </a:xfrm>
            <a:custGeom>
              <a:avLst/>
              <a:gdLst>
                <a:gd name="connsiteX0" fmla="*/ 16375 w 32786"/>
                <a:gd name="connsiteY0" fmla="*/ 83764 h 83763"/>
                <a:gd name="connsiteX1" fmla="*/ 0 w 32786"/>
                <a:gd name="connsiteY1" fmla="*/ 67389 h 83763"/>
                <a:gd name="connsiteX2" fmla="*/ 0 w 32786"/>
                <a:gd name="connsiteY2" fmla="*/ 16375 h 83763"/>
                <a:gd name="connsiteX3" fmla="*/ 16375 w 32786"/>
                <a:gd name="connsiteY3" fmla="*/ 0 h 83763"/>
                <a:gd name="connsiteX4" fmla="*/ 32749 w 32786"/>
                <a:gd name="connsiteY4" fmla="*/ 16375 h 83763"/>
                <a:gd name="connsiteX5" fmla="*/ 32749 w 32786"/>
                <a:gd name="connsiteY5" fmla="*/ 67389 h 83763"/>
                <a:gd name="connsiteX6" fmla="*/ 16375 w 32786"/>
                <a:gd name="connsiteY6" fmla="*/ 83764 h 83763"/>
                <a:gd name="connsiteX7" fmla="*/ 16375 w 32786"/>
                <a:gd name="connsiteY7" fmla="*/ 83764 h 83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786" h="83763">
                  <a:moveTo>
                    <a:pt x="16375" y="83764"/>
                  </a:moveTo>
                  <a:cubicBezTo>
                    <a:pt x="6928" y="83764"/>
                    <a:pt x="0" y="76206"/>
                    <a:pt x="0" y="67389"/>
                  </a:cubicBezTo>
                  <a:lnTo>
                    <a:pt x="0" y="16375"/>
                  </a:lnTo>
                  <a:cubicBezTo>
                    <a:pt x="0" y="6928"/>
                    <a:pt x="7557" y="0"/>
                    <a:pt x="16375" y="0"/>
                  </a:cubicBezTo>
                  <a:cubicBezTo>
                    <a:pt x="25192" y="0"/>
                    <a:pt x="32749" y="7558"/>
                    <a:pt x="32749" y="16375"/>
                  </a:cubicBezTo>
                  <a:lnTo>
                    <a:pt x="32749" y="67389"/>
                  </a:lnTo>
                  <a:cubicBezTo>
                    <a:pt x="33379" y="76206"/>
                    <a:pt x="25822" y="83764"/>
                    <a:pt x="16375" y="83764"/>
                  </a:cubicBezTo>
                  <a:lnTo>
                    <a:pt x="16375" y="83764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72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10477702" y="1547530"/>
            <a:ext cx="392682" cy="395516"/>
            <a:chOff x="10477702" y="1547530"/>
            <a:chExt cx="392682" cy="395516"/>
          </a:xfrm>
          <a:solidFill>
            <a:srgbClr val="B1B1A1"/>
          </a:solidFill>
        </p:grpSpPr>
        <p:sp>
          <p:nvSpPr>
            <p:cNvPr id="73" name="Forma Livre: Forma 72">
              <a:extLst>
                <a:ext uri="{FF2B5EF4-FFF2-40B4-BE49-F238E27FC236}">
                  <a16:creationId xmlns:a16="http://schemas.microsoft.com/office/drawing/2014/main" id="{76573814-7B44-4EEB-A522-A8AC960C128C}"/>
                </a:ext>
              </a:extLst>
            </p:cNvPr>
            <p:cNvSpPr/>
            <p:nvPr/>
          </p:nvSpPr>
          <p:spPr>
            <a:xfrm>
              <a:off x="10541785" y="1577131"/>
              <a:ext cx="328600" cy="118403"/>
            </a:xfrm>
            <a:custGeom>
              <a:avLst/>
              <a:gdLst>
                <a:gd name="connsiteX0" fmla="*/ 273965 w 328600"/>
                <a:gd name="connsiteY0" fmla="*/ 118403 h 118403"/>
                <a:gd name="connsiteX1" fmla="*/ 273965 w 328600"/>
                <a:gd name="connsiteY1" fmla="*/ 118403 h 118403"/>
                <a:gd name="connsiteX2" fmla="*/ 17004 w 328600"/>
                <a:gd name="connsiteY2" fmla="*/ 117773 h 118403"/>
                <a:gd name="connsiteX3" fmla="*/ 5038 w 328600"/>
                <a:gd name="connsiteY3" fmla="*/ 112735 h 118403"/>
                <a:gd name="connsiteX4" fmla="*/ 0 w 328600"/>
                <a:gd name="connsiteY4" fmla="*/ 100769 h 118403"/>
                <a:gd name="connsiteX5" fmla="*/ 0 w 328600"/>
                <a:gd name="connsiteY5" fmla="*/ 16375 h 118403"/>
                <a:gd name="connsiteX6" fmla="*/ 16375 w 328600"/>
                <a:gd name="connsiteY6" fmla="*/ 0 h 118403"/>
                <a:gd name="connsiteX7" fmla="*/ 16375 w 328600"/>
                <a:gd name="connsiteY7" fmla="*/ 0 h 118403"/>
                <a:gd name="connsiteX8" fmla="*/ 273335 w 328600"/>
                <a:gd name="connsiteY8" fmla="*/ 630 h 118403"/>
                <a:gd name="connsiteX9" fmla="*/ 285931 w 328600"/>
                <a:gd name="connsiteY9" fmla="*/ 6298 h 118403"/>
                <a:gd name="connsiteX10" fmla="*/ 324349 w 328600"/>
                <a:gd name="connsiteY10" fmla="*/ 48495 h 118403"/>
                <a:gd name="connsiteX11" fmla="*/ 324349 w 328600"/>
                <a:gd name="connsiteY11" fmla="*/ 71168 h 118403"/>
                <a:gd name="connsiteX12" fmla="*/ 285931 w 328600"/>
                <a:gd name="connsiteY12" fmla="*/ 113365 h 118403"/>
                <a:gd name="connsiteX13" fmla="*/ 273965 w 328600"/>
                <a:gd name="connsiteY13" fmla="*/ 118403 h 118403"/>
                <a:gd name="connsiteX14" fmla="*/ 273965 w 328600"/>
                <a:gd name="connsiteY14" fmla="*/ 118403 h 118403"/>
                <a:gd name="connsiteX15" fmla="*/ 34010 w 328600"/>
                <a:gd name="connsiteY15" fmla="*/ 84394 h 118403"/>
                <a:gd name="connsiteX16" fmla="*/ 267037 w 328600"/>
                <a:gd name="connsiteY16" fmla="*/ 85024 h 118403"/>
                <a:gd name="connsiteX17" fmla="*/ 290339 w 328600"/>
                <a:gd name="connsiteY17" fmla="*/ 59831 h 118403"/>
                <a:gd name="connsiteX18" fmla="*/ 267037 w 328600"/>
                <a:gd name="connsiteY18" fmla="*/ 34639 h 118403"/>
                <a:gd name="connsiteX19" fmla="*/ 34010 w 328600"/>
                <a:gd name="connsiteY19" fmla="*/ 34009 h 118403"/>
                <a:gd name="connsiteX20" fmla="*/ 34010 w 328600"/>
                <a:gd name="connsiteY20" fmla="*/ 84394 h 118403"/>
                <a:gd name="connsiteX21" fmla="*/ 34010 w 328600"/>
                <a:gd name="connsiteY21" fmla="*/ 84394 h 118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28600" h="118403">
                  <a:moveTo>
                    <a:pt x="273965" y="118403"/>
                  </a:moveTo>
                  <a:lnTo>
                    <a:pt x="273965" y="118403"/>
                  </a:lnTo>
                  <a:lnTo>
                    <a:pt x="17004" y="117773"/>
                  </a:lnTo>
                  <a:cubicBezTo>
                    <a:pt x="12596" y="117773"/>
                    <a:pt x="8187" y="115884"/>
                    <a:pt x="5038" y="112735"/>
                  </a:cubicBezTo>
                  <a:cubicBezTo>
                    <a:pt x="1889" y="109586"/>
                    <a:pt x="0" y="105177"/>
                    <a:pt x="0" y="100769"/>
                  </a:cubicBezTo>
                  <a:lnTo>
                    <a:pt x="0" y="16375"/>
                  </a:lnTo>
                  <a:cubicBezTo>
                    <a:pt x="0" y="6928"/>
                    <a:pt x="7557" y="0"/>
                    <a:pt x="16375" y="0"/>
                  </a:cubicBezTo>
                  <a:cubicBezTo>
                    <a:pt x="16375" y="0"/>
                    <a:pt x="16375" y="0"/>
                    <a:pt x="16375" y="0"/>
                  </a:cubicBezTo>
                  <a:lnTo>
                    <a:pt x="273335" y="630"/>
                  </a:lnTo>
                  <a:cubicBezTo>
                    <a:pt x="277743" y="630"/>
                    <a:pt x="282152" y="2519"/>
                    <a:pt x="285931" y="6298"/>
                  </a:cubicBezTo>
                  <a:lnTo>
                    <a:pt x="324349" y="48495"/>
                  </a:lnTo>
                  <a:cubicBezTo>
                    <a:pt x="330017" y="54793"/>
                    <a:pt x="330017" y="64870"/>
                    <a:pt x="324349" y="71168"/>
                  </a:cubicBezTo>
                  <a:lnTo>
                    <a:pt x="285931" y="113365"/>
                  </a:lnTo>
                  <a:cubicBezTo>
                    <a:pt x="282782" y="116514"/>
                    <a:pt x="278373" y="118403"/>
                    <a:pt x="273965" y="118403"/>
                  </a:cubicBezTo>
                  <a:lnTo>
                    <a:pt x="273965" y="118403"/>
                  </a:lnTo>
                  <a:close/>
                  <a:moveTo>
                    <a:pt x="34010" y="84394"/>
                  </a:moveTo>
                  <a:lnTo>
                    <a:pt x="267037" y="85024"/>
                  </a:lnTo>
                  <a:lnTo>
                    <a:pt x="290339" y="59831"/>
                  </a:lnTo>
                  <a:lnTo>
                    <a:pt x="267037" y="34639"/>
                  </a:lnTo>
                  <a:lnTo>
                    <a:pt x="34010" y="34009"/>
                  </a:lnTo>
                  <a:lnTo>
                    <a:pt x="34010" y="84394"/>
                  </a:lnTo>
                  <a:lnTo>
                    <a:pt x="34010" y="84394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74" name="Forma Livre: Forma 73">
              <a:extLst>
                <a:ext uri="{FF2B5EF4-FFF2-40B4-BE49-F238E27FC236}">
                  <a16:creationId xmlns:a16="http://schemas.microsoft.com/office/drawing/2014/main" id="{54D5561C-7596-4914-BA22-36F937178313}"/>
                </a:ext>
              </a:extLst>
            </p:cNvPr>
            <p:cNvSpPr/>
            <p:nvPr/>
          </p:nvSpPr>
          <p:spPr>
            <a:xfrm>
              <a:off x="10477702" y="1710020"/>
              <a:ext cx="328600" cy="119032"/>
            </a:xfrm>
            <a:custGeom>
              <a:avLst/>
              <a:gdLst>
                <a:gd name="connsiteX0" fmla="*/ 312226 w 328600"/>
                <a:gd name="connsiteY0" fmla="*/ 119033 h 119032"/>
                <a:gd name="connsiteX1" fmla="*/ 312226 w 328600"/>
                <a:gd name="connsiteY1" fmla="*/ 119033 h 119032"/>
                <a:gd name="connsiteX2" fmla="*/ 55265 w 328600"/>
                <a:gd name="connsiteY2" fmla="*/ 118403 h 119032"/>
                <a:gd name="connsiteX3" fmla="*/ 42669 w 328600"/>
                <a:gd name="connsiteY3" fmla="*/ 112735 h 119032"/>
                <a:gd name="connsiteX4" fmla="*/ 4251 w 328600"/>
                <a:gd name="connsiteY4" fmla="*/ 70538 h 119032"/>
                <a:gd name="connsiteX5" fmla="*/ 4251 w 328600"/>
                <a:gd name="connsiteY5" fmla="*/ 47865 h 119032"/>
                <a:gd name="connsiteX6" fmla="*/ 42669 w 328600"/>
                <a:gd name="connsiteY6" fmla="*/ 5668 h 119032"/>
                <a:gd name="connsiteX7" fmla="*/ 55265 w 328600"/>
                <a:gd name="connsiteY7" fmla="*/ 0 h 119032"/>
                <a:gd name="connsiteX8" fmla="*/ 55265 w 328600"/>
                <a:gd name="connsiteY8" fmla="*/ 0 h 119032"/>
                <a:gd name="connsiteX9" fmla="*/ 312226 w 328600"/>
                <a:gd name="connsiteY9" fmla="*/ 630 h 119032"/>
                <a:gd name="connsiteX10" fmla="*/ 328600 w 328600"/>
                <a:gd name="connsiteY10" fmla="*/ 17634 h 119032"/>
                <a:gd name="connsiteX11" fmla="*/ 328600 w 328600"/>
                <a:gd name="connsiteY11" fmla="*/ 102028 h 119032"/>
                <a:gd name="connsiteX12" fmla="*/ 323562 w 328600"/>
                <a:gd name="connsiteY12" fmla="*/ 113994 h 119032"/>
                <a:gd name="connsiteX13" fmla="*/ 312226 w 328600"/>
                <a:gd name="connsiteY13" fmla="*/ 119033 h 119032"/>
                <a:gd name="connsiteX14" fmla="*/ 312226 w 328600"/>
                <a:gd name="connsiteY14" fmla="*/ 119033 h 119032"/>
                <a:gd name="connsiteX15" fmla="*/ 62823 w 328600"/>
                <a:gd name="connsiteY15" fmla="*/ 85024 h 119032"/>
                <a:gd name="connsiteX16" fmla="*/ 295850 w 328600"/>
                <a:gd name="connsiteY16" fmla="*/ 85653 h 119032"/>
                <a:gd name="connsiteX17" fmla="*/ 295850 w 328600"/>
                <a:gd name="connsiteY17" fmla="*/ 34639 h 119032"/>
                <a:gd name="connsiteX18" fmla="*/ 62823 w 328600"/>
                <a:gd name="connsiteY18" fmla="*/ 34009 h 119032"/>
                <a:gd name="connsiteX19" fmla="*/ 39520 w 328600"/>
                <a:gd name="connsiteY19" fmla="*/ 59202 h 119032"/>
                <a:gd name="connsiteX20" fmla="*/ 62823 w 328600"/>
                <a:gd name="connsiteY20" fmla="*/ 85024 h 119032"/>
                <a:gd name="connsiteX21" fmla="*/ 62823 w 328600"/>
                <a:gd name="connsiteY21" fmla="*/ 85024 h 119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28600" h="119032">
                  <a:moveTo>
                    <a:pt x="312226" y="119033"/>
                  </a:moveTo>
                  <a:lnTo>
                    <a:pt x="312226" y="119033"/>
                  </a:lnTo>
                  <a:lnTo>
                    <a:pt x="55265" y="118403"/>
                  </a:lnTo>
                  <a:cubicBezTo>
                    <a:pt x="50857" y="118403"/>
                    <a:pt x="45818" y="116514"/>
                    <a:pt x="42669" y="112735"/>
                  </a:cubicBezTo>
                  <a:lnTo>
                    <a:pt x="4251" y="70538"/>
                  </a:lnTo>
                  <a:cubicBezTo>
                    <a:pt x="-1417" y="64240"/>
                    <a:pt x="-1417" y="54163"/>
                    <a:pt x="4251" y="47865"/>
                  </a:cubicBezTo>
                  <a:lnTo>
                    <a:pt x="42669" y="5668"/>
                  </a:lnTo>
                  <a:cubicBezTo>
                    <a:pt x="45818" y="2519"/>
                    <a:pt x="50227" y="0"/>
                    <a:pt x="55265" y="0"/>
                  </a:cubicBezTo>
                  <a:lnTo>
                    <a:pt x="55265" y="0"/>
                  </a:lnTo>
                  <a:lnTo>
                    <a:pt x="312226" y="630"/>
                  </a:lnTo>
                  <a:cubicBezTo>
                    <a:pt x="321673" y="630"/>
                    <a:pt x="328600" y="8187"/>
                    <a:pt x="328600" y="17634"/>
                  </a:cubicBezTo>
                  <a:lnTo>
                    <a:pt x="328600" y="102028"/>
                  </a:lnTo>
                  <a:cubicBezTo>
                    <a:pt x="328600" y="106437"/>
                    <a:pt x="326711" y="110845"/>
                    <a:pt x="323562" y="113994"/>
                  </a:cubicBezTo>
                  <a:cubicBezTo>
                    <a:pt x="321042" y="117143"/>
                    <a:pt x="316634" y="119033"/>
                    <a:pt x="312226" y="119033"/>
                  </a:cubicBezTo>
                  <a:lnTo>
                    <a:pt x="312226" y="119033"/>
                  </a:lnTo>
                  <a:close/>
                  <a:moveTo>
                    <a:pt x="62823" y="85024"/>
                  </a:moveTo>
                  <a:lnTo>
                    <a:pt x="295850" y="85653"/>
                  </a:lnTo>
                  <a:lnTo>
                    <a:pt x="295850" y="34639"/>
                  </a:lnTo>
                  <a:lnTo>
                    <a:pt x="62823" y="34009"/>
                  </a:lnTo>
                  <a:lnTo>
                    <a:pt x="39520" y="59202"/>
                  </a:lnTo>
                  <a:lnTo>
                    <a:pt x="62823" y="85024"/>
                  </a:lnTo>
                  <a:lnTo>
                    <a:pt x="62823" y="85024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75" name="Forma Livre: Forma 74">
              <a:extLst>
                <a:ext uri="{FF2B5EF4-FFF2-40B4-BE49-F238E27FC236}">
                  <a16:creationId xmlns:a16="http://schemas.microsoft.com/office/drawing/2014/main" id="{7ED7928E-C696-4EA0-809B-0D159F1715CE}"/>
                </a:ext>
              </a:extLst>
            </p:cNvPr>
            <p:cNvSpPr/>
            <p:nvPr/>
          </p:nvSpPr>
          <p:spPr>
            <a:xfrm>
              <a:off x="10646332" y="1796303"/>
              <a:ext cx="32786" cy="146744"/>
            </a:xfrm>
            <a:custGeom>
              <a:avLst/>
              <a:gdLst>
                <a:gd name="connsiteX0" fmla="*/ 16375 w 32786"/>
                <a:gd name="connsiteY0" fmla="*/ 146744 h 146744"/>
                <a:gd name="connsiteX1" fmla="*/ 16375 w 32786"/>
                <a:gd name="connsiteY1" fmla="*/ 146744 h 146744"/>
                <a:gd name="connsiteX2" fmla="*/ 0 w 32786"/>
                <a:gd name="connsiteY2" fmla="*/ 129740 h 146744"/>
                <a:gd name="connsiteX3" fmla="*/ 0 w 32786"/>
                <a:gd name="connsiteY3" fmla="*/ 16375 h 146744"/>
                <a:gd name="connsiteX4" fmla="*/ 16375 w 32786"/>
                <a:gd name="connsiteY4" fmla="*/ 0 h 146744"/>
                <a:gd name="connsiteX5" fmla="*/ 16375 w 32786"/>
                <a:gd name="connsiteY5" fmla="*/ 0 h 146744"/>
                <a:gd name="connsiteX6" fmla="*/ 32749 w 32786"/>
                <a:gd name="connsiteY6" fmla="*/ 17005 h 146744"/>
                <a:gd name="connsiteX7" fmla="*/ 32749 w 32786"/>
                <a:gd name="connsiteY7" fmla="*/ 130369 h 146744"/>
                <a:gd name="connsiteX8" fmla="*/ 16375 w 32786"/>
                <a:gd name="connsiteY8" fmla="*/ 146744 h 146744"/>
                <a:gd name="connsiteX9" fmla="*/ 16375 w 32786"/>
                <a:gd name="connsiteY9" fmla="*/ 146744 h 146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2786" h="146744">
                  <a:moveTo>
                    <a:pt x="16375" y="146744"/>
                  </a:moveTo>
                  <a:lnTo>
                    <a:pt x="16375" y="146744"/>
                  </a:lnTo>
                  <a:cubicBezTo>
                    <a:pt x="6928" y="146744"/>
                    <a:pt x="0" y="139187"/>
                    <a:pt x="0" y="129740"/>
                  </a:cubicBezTo>
                  <a:lnTo>
                    <a:pt x="0" y="16375"/>
                  </a:lnTo>
                  <a:cubicBezTo>
                    <a:pt x="0" y="6928"/>
                    <a:pt x="7557" y="0"/>
                    <a:pt x="16375" y="0"/>
                  </a:cubicBezTo>
                  <a:cubicBezTo>
                    <a:pt x="16375" y="0"/>
                    <a:pt x="16375" y="0"/>
                    <a:pt x="16375" y="0"/>
                  </a:cubicBezTo>
                  <a:cubicBezTo>
                    <a:pt x="25822" y="0"/>
                    <a:pt x="32749" y="7558"/>
                    <a:pt x="32749" y="17005"/>
                  </a:cubicBezTo>
                  <a:lnTo>
                    <a:pt x="32749" y="130369"/>
                  </a:lnTo>
                  <a:cubicBezTo>
                    <a:pt x="33380" y="139187"/>
                    <a:pt x="25822" y="146744"/>
                    <a:pt x="16375" y="146744"/>
                  </a:cubicBezTo>
                  <a:lnTo>
                    <a:pt x="16375" y="146744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76" name="Forma Livre: Forma 75">
              <a:extLst>
                <a:ext uri="{FF2B5EF4-FFF2-40B4-BE49-F238E27FC236}">
                  <a16:creationId xmlns:a16="http://schemas.microsoft.com/office/drawing/2014/main" id="{18563F0E-52D4-469E-80F8-9A1CD9907B3E}"/>
                </a:ext>
              </a:extLst>
            </p:cNvPr>
            <p:cNvSpPr/>
            <p:nvPr/>
          </p:nvSpPr>
          <p:spPr>
            <a:xfrm>
              <a:off x="10647591" y="1547530"/>
              <a:ext cx="32750" cy="51014"/>
            </a:xfrm>
            <a:custGeom>
              <a:avLst/>
              <a:gdLst>
                <a:gd name="connsiteX0" fmla="*/ 16376 w 32750"/>
                <a:gd name="connsiteY0" fmla="*/ 51014 h 51014"/>
                <a:gd name="connsiteX1" fmla="*/ 16376 w 32750"/>
                <a:gd name="connsiteY1" fmla="*/ 51014 h 51014"/>
                <a:gd name="connsiteX2" fmla="*/ 0 w 32750"/>
                <a:gd name="connsiteY2" fmla="*/ 34009 h 51014"/>
                <a:gd name="connsiteX3" fmla="*/ 0 w 32750"/>
                <a:gd name="connsiteY3" fmla="*/ 16375 h 51014"/>
                <a:gd name="connsiteX4" fmla="*/ 16376 w 32750"/>
                <a:gd name="connsiteY4" fmla="*/ 0 h 51014"/>
                <a:gd name="connsiteX5" fmla="*/ 16376 w 32750"/>
                <a:gd name="connsiteY5" fmla="*/ 0 h 51014"/>
                <a:gd name="connsiteX6" fmla="*/ 32750 w 32750"/>
                <a:gd name="connsiteY6" fmla="*/ 17005 h 51014"/>
                <a:gd name="connsiteX7" fmla="*/ 32750 w 32750"/>
                <a:gd name="connsiteY7" fmla="*/ 34639 h 51014"/>
                <a:gd name="connsiteX8" fmla="*/ 16376 w 32750"/>
                <a:gd name="connsiteY8" fmla="*/ 51014 h 51014"/>
                <a:gd name="connsiteX9" fmla="*/ 16376 w 32750"/>
                <a:gd name="connsiteY9" fmla="*/ 51014 h 51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2750" h="51014">
                  <a:moveTo>
                    <a:pt x="16376" y="51014"/>
                  </a:moveTo>
                  <a:lnTo>
                    <a:pt x="16376" y="51014"/>
                  </a:lnTo>
                  <a:cubicBezTo>
                    <a:pt x="6928" y="51014"/>
                    <a:pt x="0" y="43456"/>
                    <a:pt x="0" y="34009"/>
                  </a:cubicBezTo>
                  <a:lnTo>
                    <a:pt x="0" y="16375"/>
                  </a:lnTo>
                  <a:cubicBezTo>
                    <a:pt x="0" y="6928"/>
                    <a:pt x="7558" y="0"/>
                    <a:pt x="16376" y="0"/>
                  </a:cubicBezTo>
                  <a:lnTo>
                    <a:pt x="16376" y="0"/>
                  </a:lnTo>
                  <a:cubicBezTo>
                    <a:pt x="25823" y="0"/>
                    <a:pt x="32750" y="7558"/>
                    <a:pt x="32750" y="17005"/>
                  </a:cubicBezTo>
                  <a:lnTo>
                    <a:pt x="32750" y="34639"/>
                  </a:lnTo>
                  <a:cubicBezTo>
                    <a:pt x="32750" y="43456"/>
                    <a:pt x="25192" y="51014"/>
                    <a:pt x="16376" y="51014"/>
                  </a:cubicBezTo>
                  <a:lnTo>
                    <a:pt x="16376" y="51014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77" name="Forma Livre: Forma 76">
              <a:extLst>
                <a:ext uri="{FF2B5EF4-FFF2-40B4-BE49-F238E27FC236}">
                  <a16:creationId xmlns:a16="http://schemas.microsoft.com/office/drawing/2014/main" id="{1FC44CE4-029B-4281-AE08-C2539C9E95CD}"/>
                </a:ext>
              </a:extLst>
            </p:cNvPr>
            <p:cNvSpPr/>
            <p:nvPr/>
          </p:nvSpPr>
          <p:spPr>
            <a:xfrm>
              <a:off x="10646925" y="1672861"/>
              <a:ext cx="32786" cy="61090"/>
            </a:xfrm>
            <a:custGeom>
              <a:avLst/>
              <a:gdLst>
                <a:gd name="connsiteX0" fmla="*/ 16411 w 32786"/>
                <a:gd name="connsiteY0" fmla="*/ 61091 h 61090"/>
                <a:gd name="connsiteX1" fmla="*/ 16411 w 32786"/>
                <a:gd name="connsiteY1" fmla="*/ 61091 h 61090"/>
                <a:gd name="connsiteX2" fmla="*/ 37 w 32786"/>
                <a:gd name="connsiteY2" fmla="*/ 44086 h 61090"/>
                <a:gd name="connsiteX3" fmla="*/ 37 w 32786"/>
                <a:gd name="connsiteY3" fmla="*/ 16375 h 61090"/>
                <a:gd name="connsiteX4" fmla="*/ 16411 w 32786"/>
                <a:gd name="connsiteY4" fmla="*/ 0 h 61090"/>
                <a:gd name="connsiteX5" fmla="*/ 16411 w 32786"/>
                <a:gd name="connsiteY5" fmla="*/ 0 h 61090"/>
                <a:gd name="connsiteX6" fmla="*/ 32787 w 32786"/>
                <a:gd name="connsiteY6" fmla="*/ 17005 h 61090"/>
                <a:gd name="connsiteX7" fmla="*/ 32787 w 32786"/>
                <a:gd name="connsiteY7" fmla="*/ 44716 h 61090"/>
                <a:gd name="connsiteX8" fmla="*/ 16411 w 32786"/>
                <a:gd name="connsiteY8" fmla="*/ 61091 h 61090"/>
                <a:gd name="connsiteX9" fmla="*/ 16411 w 32786"/>
                <a:gd name="connsiteY9" fmla="*/ 61091 h 61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2786" h="61090">
                  <a:moveTo>
                    <a:pt x="16411" y="61091"/>
                  </a:moveTo>
                  <a:cubicBezTo>
                    <a:pt x="16411" y="61091"/>
                    <a:pt x="16411" y="61091"/>
                    <a:pt x="16411" y="61091"/>
                  </a:cubicBezTo>
                  <a:cubicBezTo>
                    <a:pt x="6964" y="61091"/>
                    <a:pt x="-593" y="53533"/>
                    <a:pt x="37" y="44086"/>
                  </a:cubicBezTo>
                  <a:lnTo>
                    <a:pt x="37" y="16375"/>
                  </a:lnTo>
                  <a:cubicBezTo>
                    <a:pt x="37" y="6928"/>
                    <a:pt x="7595" y="0"/>
                    <a:pt x="16411" y="0"/>
                  </a:cubicBezTo>
                  <a:cubicBezTo>
                    <a:pt x="16411" y="0"/>
                    <a:pt x="16411" y="0"/>
                    <a:pt x="16411" y="0"/>
                  </a:cubicBezTo>
                  <a:cubicBezTo>
                    <a:pt x="25858" y="0"/>
                    <a:pt x="32787" y="7558"/>
                    <a:pt x="32787" y="17005"/>
                  </a:cubicBezTo>
                  <a:lnTo>
                    <a:pt x="32787" y="44716"/>
                  </a:lnTo>
                  <a:cubicBezTo>
                    <a:pt x="32787" y="54163"/>
                    <a:pt x="25858" y="61091"/>
                    <a:pt x="16411" y="61091"/>
                  </a:cubicBezTo>
                  <a:lnTo>
                    <a:pt x="16411" y="61091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78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1288391" y="1554001"/>
            <a:ext cx="381803" cy="382118"/>
            <a:chOff x="1288391" y="1554001"/>
            <a:chExt cx="381803" cy="382118"/>
          </a:xfrm>
          <a:solidFill>
            <a:srgbClr val="B1B1A1"/>
          </a:solidFill>
        </p:grpSpPr>
        <p:sp>
          <p:nvSpPr>
            <p:cNvPr id="79" name="Forma Livre: Forma 78">
              <a:extLst>
                <a:ext uri="{FF2B5EF4-FFF2-40B4-BE49-F238E27FC236}">
                  <a16:creationId xmlns:a16="http://schemas.microsoft.com/office/drawing/2014/main" id="{CB86CE2F-802E-4B1C-B551-811C4FBBE9E2}"/>
                </a:ext>
              </a:extLst>
            </p:cNvPr>
            <p:cNvSpPr/>
            <p:nvPr/>
          </p:nvSpPr>
          <p:spPr>
            <a:xfrm>
              <a:off x="1320097" y="1642631"/>
              <a:ext cx="261871" cy="261998"/>
            </a:xfrm>
            <a:custGeom>
              <a:avLst/>
              <a:gdLst>
                <a:gd name="connsiteX0" fmla="*/ 242574 w 261871"/>
                <a:gd name="connsiteY0" fmla="*/ 261998 h 261998"/>
                <a:gd name="connsiteX1" fmla="*/ 230608 w 261871"/>
                <a:gd name="connsiteY1" fmla="*/ 256960 h 261998"/>
                <a:gd name="connsiteX2" fmla="*/ 5138 w 261871"/>
                <a:gd name="connsiteY2" fmla="*/ 31490 h 261998"/>
                <a:gd name="connsiteX3" fmla="*/ 730 w 261871"/>
                <a:gd name="connsiteY3" fmla="*/ 14486 h 261998"/>
                <a:gd name="connsiteX4" fmla="*/ 13955 w 261871"/>
                <a:gd name="connsiteY4" fmla="*/ 3149 h 261998"/>
                <a:gd name="connsiteX5" fmla="*/ 49854 w 261871"/>
                <a:gd name="connsiteY5" fmla="*/ 0 h 261998"/>
                <a:gd name="connsiteX6" fmla="*/ 199748 w 261871"/>
                <a:gd name="connsiteY6" fmla="*/ 62351 h 261998"/>
                <a:gd name="connsiteX7" fmla="*/ 258949 w 261871"/>
                <a:gd name="connsiteY7" fmla="*/ 248143 h 261998"/>
                <a:gd name="connsiteX8" fmla="*/ 247613 w 261871"/>
                <a:gd name="connsiteY8" fmla="*/ 261369 h 261998"/>
                <a:gd name="connsiteX9" fmla="*/ 242574 w 261871"/>
                <a:gd name="connsiteY9" fmla="*/ 261998 h 261998"/>
                <a:gd name="connsiteX10" fmla="*/ 242574 w 261871"/>
                <a:gd name="connsiteY10" fmla="*/ 261998 h 261998"/>
                <a:gd name="connsiteX11" fmla="*/ 54263 w 261871"/>
                <a:gd name="connsiteY11" fmla="*/ 33380 h 261998"/>
                <a:gd name="connsiteX12" fmla="*/ 228719 w 261871"/>
                <a:gd name="connsiteY12" fmla="*/ 207835 h 261998"/>
                <a:gd name="connsiteX13" fmla="*/ 176445 w 261871"/>
                <a:gd name="connsiteY13" fmla="*/ 85653 h 261998"/>
                <a:gd name="connsiteX14" fmla="*/ 54263 w 261871"/>
                <a:gd name="connsiteY14" fmla="*/ 33380 h 261998"/>
                <a:gd name="connsiteX15" fmla="*/ 54263 w 261871"/>
                <a:gd name="connsiteY15" fmla="*/ 33380 h 26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1871" h="261998">
                  <a:moveTo>
                    <a:pt x="242574" y="261998"/>
                  </a:moveTo>
                  <a:cubicBezTo>
                    <a:pt x="238166" y="261998"/>
                    <a:pt x="233757" y="260109"/>
                    <a:pt x="230608" y="256960"/>
                  </a:cubicBezTo>
                  <a:lnTo>
                    <a:pt x="5138" y="31490"/>
                  </a:lnTo>
                  <a:cubicBezTo>
                    <a:pt x="730" y="27082"/>
                    <a:pt x="-1160" y="20784"/>
                    <a:pt x="730" y="14486"/>
                  </a:cubicBezTo>
                  <a:cubicBezTo>
                    <a:pt x="2619" y="8817"/>
                    <a:pt x="7657" y="4409"/>
                    <a:pt x="13955" y="3149"/>
                  </a:cubicBezTo>
                  <a:cubicBezTo>
                    <a:pt x="25922" y="1260"/>
                    <a:pt x="37888" y="0"/>
                    <a:pt x="49854" y="0"/>
                  </a:cubicBezTo>
                  <a:cubicBezTo>
                    <a:pt x="106537" y="0"/>
                    <a:pt x="160070" y="22043"/>
                    <a:pt x="199748" y="62351"/>
                  </a:cubicBezTo>
                  <a:cubicBezTo>
                    <a:pt x="248242" y="110846"/>
                    <a:pt x="270286" y="180124"/>
                    <a:pt x="258949" y="248143"/>
                  </a:cubicBezTo>
                  <a:cubicBezTo>
                    <a:pt x="257690" y="254441"/>
                    <a:pt x="253281" y="259479"/>
                    <a:pt x="247613" y="261369"/>
                  </a:cubicBezTo>
                  <a:cubicBezTo>
                    <a:pt x="245723" y="261998"/>
                    <a:pt x="243834" y="261998"/>
                    <a:pt x="242574" y="261998"/>
                  </a:cubicBezTo>
                  <a:lnTo>
                    <a:pt x="242574" y="261998"/>
                  </a:lnTo>
                  <a:close/>
                  <a:moveTo>
                    <a:pt x="54263" y="33380"/>
                  </a:moveTo>
                  <a:lnTo>
                    <a:pt x="228719" y="207835"/>
                  </a:lnTo>
                  <a:cubicBezTo>
                    <a:pt x="227459" y="162489"/>
                    <a:pt x="209195" y="118403"/>
                    <a:pt x="176445" y="85653"/>
                  </a:cubicBezTo>
                  <a:cubicBezTo>
                    <a:pt x="143695" y="52904"/>
                    <a:pt x="100239" y="34639"/>
                    <a:pt x="54263" y="33380"/>
                  </a:cubicBezTo>
                  <a:lnTo>
                    <a:pt x="54263" y="3338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80" name="Forma Livre: Forma 79">
              <a:extLst>
                <a:ext uri="{FF2B5EF4-FFF2-40B4-BE49-F238E27FC236}">
                  <a16:creationId xmlns:a16="http://schemas.microsoft.com/office/drawing/2014/main" id="{D29F7348-9E47-49D2-B846-49A33E465D17}"/>
                </a:ext>
              </a:extLst>
            </p:cNvPr>
            <p:cNvSpPr/>
            <p:nvPr/>
          </p:nvSpPr>
          <p:spPr>
            <a:xfrm>
              <a:off x="1485767" y="1554001"/>
              <a:ext cx="184428" cy="185619"/>
            </a:xfrm>
            <a:custGeom>
              <a:avLst/>
              <a:gdLst>
                <a:gd name="connsiteX0" fmla="*/ 168226 w 184428"/>
                <a:gd name="connsiteY0" fmla="*/ 185620 h 185619"/>
                <a:gd name="connsiteX1" fmla="*/ 166336 w 184428"/>
                <a:gd name="connsiteY1" fmla="*/ 185620 h 185619"/>
                <a:gd name="connsiteX2" fmla="*/ 58010 w 184428"/>
                <a:gd name="connsiteY2" fmla="*/ 127678 h 185619"/>
                <a:gd name="connsiteX3" fmla="*/ 68 w 184428"/>
                <a:gd name="connsiteY3" fmla="*/ 18722 h 185619"/>
                <a:gd name="connsiteX4" fmla="*/ 9515 w 184428"/>
                <a:gd name="connsiteY4" fmla="*/ 1717 h 185619"/>
                <a:gd name="connsiteX5" fmla="*/ 28409 w 184428"/>
                <a:gd name="connsiteY5" fmla="*/ 4866 h 185619"/>
                <a:gd name="connsiteX6" fmla="*/ 179562 w 184428"/>
                <a:gd name="connsiteY6" fmla="*/ 157278 h 185619"/>
                <a:gd name="connsiteX7" fmla="*/ 182711 w 184428"/>
                <a:gd name="connsiteY7" fmla="*/ 176172 h 185619"/>
                <a:gd name="connsiteX8" fmla="*/ 168226 w 184428"/>
                <a:gd name="connsiteY8" fmla="*/ 185620 h 185619"/>
                <a:gd name="connsiteX9" fmla="*/ 168226 w 184428"/>
                <a:gd name="connsiteY9" fmla="*/ 185620 h 185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4428" h="185619">
                  <a:moveTo>
                    <a:pt x="168226" y="185620"/>
                  </a:moveTo>
                  <a:cubicBezTo>
                    <a:pt x="167596" y="185620"/>
                    <a:pt x="166966" y="185620"/>
                    <a:pt x="166336" y="185620"/>
                  </a:cubicBezTo>
                  <a:cubicBezTo>
                    <a:pt x="130438" y="181841"/>
                    <a:pt x="90760" y="160427"/>
                    <a:pt x="58010" y="127678"/>
                  </a:cubicBezTo>
                  <a:cubicBezTo>
                    <a:pt x="24631" y="94298"/>
                    <a:pt x="3847" y="54620"/>
                    <a:pt x="68" y="18722"/>
                  </a:cubicBezTo>
                  <a:cubicBezTo>
                    <a:pt x="-562" y="11794"/>
                    <a:pt x="3217" y="4866"/>
                    <a:pt x="9515" y="1717"/>
                  </a:cubicBezTo>
                  <a:cubicBezTo>
                    <a:pt x="15813" y="-1432"/>
                    <a:pt x="23371" y="-173"/>
                    <a:pt x="28409" y="4866"/>
                  </a:cubicBezTo>
                  <a:lnTo>
                    <a:pt x="179562" y="157278"/>
                  </a:lnTo>
                  <a:cubicBezTo>
                    <a:pt x="184601" y="162317"/>
                    <a:pt x="185860" y="169874"/>
                    <a:pt x="182711" y="176172"/>
                  </a:cubicBezTo>
                  <a:cubicBezTo>
                    <a:pt x="180192" y="181841"/>
                    <a:pt x="174524" y="185620"/>
                    <a:pt x="168226" y="185620"/>
                  </a:cubicBezTo>
                  <a:lnTo>
                    <a:pt x="168226" y="18562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81" name="Gráfico 2">
              <a:extLst>
                <a:ext uri="{FF2B5EF4-FFF2-40B4-BE49-F238E27FC236}">
                  <a16:creationId xmlns:a16="http://schemas.microsoft.com/office/drawing/2014/main" id="{A475B8DB-D93F-4DA6-8335-80171E5C5B8D}"/>
                </a:ext>
              </a:extLst>
            </p:cNvPr>
            <p:cNvGrpSpPr/>
            <p:nvPr/>
          </p:nvGrpSpPr>
          <p:grpSpPr>
            <a:xfrm>
              <a:off x="1447102" y="1609566"/>
              <a:ext cx="167527" cy="168472"/>
              <a:chOff x="1447102" y="1609566"/>
              <a:chExt cx="167527" cy="168472"/>
            </a:xfrm>
            <a:grpFill/>
          </p:grpSpPr>
          <p:sp>
            <p:nvSpPr>
              <p:cNvPr id="82" name="Forma Livre: Forma 81">
                <a:extLst>
                  <a:ext uri="{FF2B5EF4-FFF2-40B4-BE49-F238E27FC236}">
                    <a16:creationId xmlns:a16="http://schemas.microsoft.com/office/drawing/2014/main" id="{E9CE2F47-8E98-461A-B74A-B6888E59A039}"/>
                  </a:ext>
                </a:extLst>
              </p:cNvPr>
              <p:cNvSpPr/>
              <p:nvPr/>
            </p:nvSpPr>
            <p:spPr>
              <a:xfrm>
                <a:off x="1447102" y="1609566"/>
                <a:ext cx="85023" cy="85338"/>
              </a:xfrm>
              <a:custGeom>
                <a:avLst/>
                <a:gdLst>
                  <a:gd name="connsiteX0" fmla="*/ 16690 w 85023"/>
                  <a:gd name="connsiteY0" fmla="*/ 85338 h 85338"/>
                  <a:gd name="connsiteX1" fmla="*/ 4724 w 85023"/>
                  <a:gd name="connsiteY1" fmla="*/ 80300 h 85338"/>
                  <a:gd name="connsiteX2" fmla="*/ 4724 w 85023"/>
                  <a:gd name="connsiteY2" fmla="*/ 56997 h 85338"/>
                  <a:gd name="connsiteX3" fmla="*/ 56997 w 85023"/>
                  <a:gd name="connsiteY3" fmla="*/ 4724 h 85338"/>
                  <a:gd name="connsiteX4" fmla="*/ 80300 w 85023"/>
                  <a:gd name="connsiteY4" fmla="*/ 4724 h 85338"/>
                  <a:gd name="connsiteX5" fmla="*/ 80300 w 85023"/>
                  <a:gd name="connsiteY5" fmla="*/ 28026 h 85338"/>
                  <a:gd name="connsiteX6" fmla="*/ 28026 w 85023"/>
                  <a:gd name="connsiteY6" fmla="*/ 80300 h 85338"/>
                  <a:gd name="connsiteX7" fmla="*/ 16690 w 85023"/>
                  <a:gd name="connsiteY7" fmla="*/ 85338 h 85338"/>
                  <a:gd name="connsiteX8" fmla="*/ 16690 w 85023"/>
                  <a:gd name="connsiteY8" fmla="*/ 85338 h 853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5023" h="85338">
                    <a:moveTo>
                      <a:pt x="16690" y="85338"/>
                    </a:moveTo>
                    <a:cubicBezTo>
                      <a:pt x="12281" y="85338"/>
                      <a:pt x="7873" y="83449"/>
                      <a:pt x="4724" y="80300"/>
                    </a:cubicBezTo>
                    <a:cubicBezTo>
                      <a:pt x="-1575" y="74002"/>
                      <a:pt x="-1575" y="63295"/>
                      <a:pt x="4724" y="56997"/>
                    </a:cubicBezTo>
                    <a:lnTo>
                      <a:pt x="56997" y="4724"/>
                    </a:lnTo>
                    <a:cubicBezTo>
                      <a:pt x="63295" y="-1575"/>
                      <a:pt x="74002" y="-1575"/>
                      <a:pt x="80300" y="4724"/>
                    </a:cubicBezTo>
                    <a:cubicBezTo>
                      <a:pt x="86598" y="11022"/>
                      <a:pt x="86598" y="21728"/>
                      <a:pt x="80300" y="28026"/>
                    </a:cubicBezTo>
                    <a:lnTo>
                      <a:pt x="28026" y="80300"/>
                    </a:lnTo>
                    <a:cubicBezTo>
                      <a:pt x="24877" y="83449"/>
                      <a:pt x="20469" y="85338"/>
                      <a:pt x="16690" y="85338"/>
                    </a:cubicBezTo>
                    <a:lnTo>
                      <a:pt x="16690" y="85338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83" name="Forma Livre: Forma 82">
                <a:extLst>
                  <a:ext uri="{FF2B5EF4-FFF2-40B4-BE49-F238E27FC236}">
                    <a16:creationId xmlns:a16="http://schemas.microsoft.com/office/drawing/2014/main" id="{0AD9D632-BD16-4CAA-9F0A-39949355A51E}"/>
                  </a:ext>
                </a:extLst>
              </p:cNvPr>
              <p:cNvSpPr/>
              <p:nvPr/>
            </p:nvSpPr>
            <p:spPr>
              <a:xfrm>
                <a:off x="1529606" y="1692700"/>
                <a:ext cx="85023" cy="85338"/>
              </a:xfrm>
              <a:custGeom>
                <a:avLst/>
                <a:gdLst>
                  <a:gd name="connsiteX0" fmla="*/ 16690 w 85023"/>
                  <a:gd name="connsiteY0" fmla="*/ 85338 h 85338"/>
                  <a:gd name="connsiteX1" fmla="*/ 4724 w 85023"/>
                  <a:gd name="connsiteY1" fmla="*/ 80300 h 85338"/>
                  <a:gd name="connsiteX2" fmla="*/ 4724 w 85023"/>
                  <a:gd name="connsiteY2" fmla="*/ 56997 h 85338"/>
                  <a:gd name="connsiteX3" fmla="*/ 56997 w 85023"/>
                  <a:gd name="connsiteY3" fmla="*/ 4724 h 85338"/>
                  <a:gd name="connsiteX4" fmla="*/ 80300 w 85023"/>
                  <a:gd name="connsiteY4" fmla="*/ 4724 h 85338"/>
                  <a:gd name="connsiteX5" fmla="*/ 80300 w 85023"/>
                  <a:gd name="connsiteY5" fmla="*/ 28026 h 85338"/>
                  <a:gd name="connsiteX6" fmla="*/ 28026 w 85023"/>
                  <a:gd name="connsiteY6" fmla="*/ 80300 h 85338"/>
                  <a:gd name="connsiteX7" fmla="*/ 16690 w 85023"/>
                  <a:gd name="connsiteY7" fmla="*/ 85338 h 85338"/>
                  <a:gd name="connsiteX8" fmla="*/ 16690 w 85023"/>
                  <a:gd name="connsiteY8" fmla="*/ 85338 h 853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5023" h="85338">
                    <a:moveTo>
                      <a:pt x="16690" y="85338"/>
                    </a:moveTo>
                    <a:cubicBezTo>
                      <a:pt x="12281" y="85338"/>
                      <a:pt x="7873" y="83449"/>
                      <a:pt x="4724" y="80300"/>
                    </a:cubicBezTo>
                    <a:cubicBezTo>
                      <a:pt x="-1575" y="74002"/>
                      <a:pt x="-1575" y="63295"/>
                      <a:pt x="4724" y="56997"/>
                    </a:cubicBezTo>
                    <a:lnTo>
                      <a:pt x="56997" y="4724"/>
                    </a:lnTo>
                    <a:cubicBezTo>
                      <a:pt x="63295" y="-1575"/>
                      <a:pt x="74002" y="-1575"/>
                      <a:pt x="80300" y="4724"/>
                    </a:cubicBezTo>
                    <a:cubicBezTo>
                      <a:pt x="86598" y="11022"/>
                      <a:pt x="86598" y="21728"/>
                      <a:pt x="80300" y="28026"/>
                    </a:cubicBezTo>
                    <a:lnTo>
                      <a:pt x="28026" y="80300"/>
                    </a:lnTo>
                    <a:cubicBezTo>
                      <a:pt x="25507" y="83449"/>
                      <a:pt x="21098" y="85338"/>
                      <a:pt x="16690" y="85338"/>
                    </a:cubicBezTo>
                    <a:lnTo>
                      <a:pt x="16690" y="85338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84" name="Forma Livre: Forma 83">
              <a:extLst>
                <a:ext uri="{FF2B5EF4-FFF2-40B4-BE49-F238E27FC236}">
                  <a16:creationId xmlns:a16="http://schemas.microsoft.com/office/drawing/2014/main" id="{B200E8C4-BEC5-43D6-BF66-59478BD94D04}"/>
                </a:ext>
              </a:extLst>
            </p:cNvPr>
            <p:cNvSpPr/>
            <p:nvPr/>
          </p:nvSpPr>
          <p:spPr>
            <a:xfrm>
              <a:off x="1288391" y="1758200"/>
              <a:ext cx="177604" cy="177919"/>
            </a:xfrm>
            <a:custGeom>
              <a:avLst/>
              <a:gdLst>
                <a:gd name="connsiteX0" fmla="*/ 16690 w 177604"/>
                <a:gd name="connsiteY0" fmla="*/ 177920 h 177919"/>
                <a:gd name="connsiteX1" fmla="*/ 4724 w 177604"/>
                <a:gd name="connsiteY1" fmla="*/ 172881 h 177919"/>
                <a:gd name="connsiteX2" fmla="*/ 4724 w 177604"/>
                <a:gd name="connsiteY2" fmla="*/ 149578 h 177919"/>
                <a:gd name="connsiteX3" fmla="*/ 149578 w 177604"/>
                <a:gd name="connsiteY3" fmla="*/ 4724 h 177919"/>
                <a:gd name="connsiteX4" fmla="*/ 172881 w 177604"/>
                <a:gd name="connsiteY4" fmla="*/ 4724 h 177919"/>
                <a:gd name="connsiteX5" fmla="*/ 172881 w 177604"/>
                <a:gd name="connsiteY5" fmla="*/ 28026 h 177919"/>
                <a:gd name="connsiteX6" fmla="*/ 28026 w 177604"/>
                <a:gd name="connsiteY6" fmla="*/ 172881 h 177919"/>
                <a:gd name="connsiteX7" fmla="*/ 16690 w 177604"/>
                <a:gd name="connsiteY7" fmla="*/ 177920 h 177919"/>
                <a:gd name="connsiteX8" fmla="*/ 16690 w 177604"/>
                <a:gd name="connsiteY8" fmla="*/ 177920 h 177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7604" h="177919">
                  <a:moveTo>
                    <a:pt x="16690" y="177920"/>
                  </a:moveTo>
                  <a:cubicBezTo>
                    <a:pt x="12281" y="177920"/>
                    <a:pt x="7873" y="176030"/>
                    <a:pt x="4724" y="172881"/>
                  </a:cubicBezTo>
                  <a:cubicBezTo>
                    <a:pt x="-1575" y="166583"/>
                    <a:pt x="-1575" y="155876"/>
                    <a:pt x="4724" y="149578"/>
                  </a:cubicBezTo>
                  <a:lnTo>
                    <a:pt x="149578" y="4724"/>
                  </a:lnTo>
                  <a:cubicBezTo>
                    <a:pt x="155876" y="-1575"/>
                    <a:pt x="166583" y="-1575"/>
                    <a:pt x="172881" y="4724"/>
                  </a:cubicBezTo>
                  <a:cubicBezTo>
                    <a:pt x="179179" y="11022"/>
                    <a:pt x="179179" y="21728"/>
                    <a:pt x="172881" y="28026"/>
                  </a:cubicBezTo>
                  <a:lnTo>
                    <a:pt x="28026" y="172881"/>
                  </a:lnTo>
                  <a:cubicBezTo>
                    <a:pt x="25507" y="176660"/>
                    <a:pt x="21098" y="177920"/>
                    <a:pt x="16690" y="177920"/>
                  </a:cubicBezTo>
                  <a:lnTo>
                    <a:pt x="16690" y="17792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85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10490767" y="2589226"/>
            <a:ext cx="366549" cy="382920"/>
            <a:chOff x="10490767" y="2589226"/>
            <a:chExt cx="366549" cy="382920"/>
          </a:xfrm>
          <a:solidFill>
            <a:srgbClr val="B1B1A1"/>
          </a:solidFill>
        </p:grpSpPr>
        <p:sp>
          <p:nvSpPr>
            <p:cNvPr id="86" name="Forma Livre: Forma 85">
              <a:extLst>
                <a:ext uri="{FF2B5EF4-FFF2-40B4-BE49-F238E27FC236}">
                  <a16:creationId xmlns:a16="http://schemas.microsoft.com/office/drawing/2014/main" id="{E469FE08-7FDE-4191-81B9-45874EA88C5F}"/>
                </a:ext>
              </a:extLst>
            </p:cNvPr>
            <p:cNvSpPr/>
            <p:nvPr/>
          </p:nvSpPr>
          <p:spPr>
            <a:xfrm>
              <a:off x="10490767" y="2592375"/>
              <a:ext cx="366549" cy="379771"/>
            </a:xfrm>
            <a:custGeom>
              <a:avLst/>
              <a:gdLst>
                <a:gd name="connsiteX0" fmla="*/ 183276 w 366549"/>
                <a:gd name="connsiteY0" fmla="*/ 379772 h 379771"/>
                <a:gd name="connsiteX1" fmla="*/ 183276 w 366549"/>
                <a:gd name="connsiteY1" fmla="*/ 379772 h 379771"/>
                <a:gd name="connsiteX2" fmla="*/ 4 w 366549"/>
                <a:gd name="connsiteY2" fmla="*/ 195869 h 379771"/>
                <a:gd name="connsiteX3" fmla="*/ 633 w 366549"/>
                <a:gd name="connsiteY3" fmla="*/ 16375 h 379771"/>
                <a:gd name="connsiteX4" fmla="*/ 17008 w 366549"/>
                <a:gd name="connsiteY4" fmla="*/ 0 h 379771"/>
                <a:gd name="connsiteX5" fmla="*/ 17008 w 366549"/>
                <a:gd name="connsiteY5" fmla="*/ 0 h 379771"/>
                <a:gd name="connsiteX6" fmla="*/ 33383 w 366549"/>
                <a:gd name="connsiteY6" fmla="*/ 17005 h 379771"/>
                <a:gd name="connsiteX7" fmla="*/ 32753 w 366549"/>
                <a:gd name="connsiteY7" fmla="*/ 196499 h 379771"/>
                <a:gd name="connsiteX8" fmla="*/ 182647 w 366549"/>
                <a:gd name="connsiteY8" fmla="*/ 347022 h 379771"/>
                <a:gd name="connsiteX9" fmla="*/ 183276 w 366549"/>
                <a:gd name="connsiteY9" fmla="*/ 347022 h 379771"/>
                <a:gd name="connsiteX10" fmla="*/ 289083 w 366549"/>
                <a:gd name="connsiteY10" fmla="*/ 303565 h 379771"/>
                <a:gd name="connsiteX11" fmla="*/ 333169 w 366549"/>
                <a:gd name="connsiteY11" fmla="*/ 197758 h 379771"/>
                <a:gd name="connsiteX12" fmla="*/ 333800 w 366549"/>
                <a:gd name="connsiteY12" fmla="*/ 18264 h 379771"/>
                <a:gd name="connsiteX13" fmla="*/ 350174 w 366549"/>
                <a:gd name="connsiteY13" fmla="*/ 1889 h 379771"/>
                <a:gd name="connsiteX14" fmla="*/ 350174 w 366549"/>
                <a:gd name="connsiteY14" fmla="*/ 1889 h 379771"/>
                <a:gd name="connsiteX15" fmla="*/ 366549 w 366549"/>
                <a:gd name="connsiteY15" fmla="*/ 18894 h 379771"/>
                <a:gd name="connsiteX16" fmla="*/ 365920 w 366549"/>
                <a:gd name="connsiteY16" fmla="*/ 198388 h 379771"/>
                <a:gd name="connsiteX17" fmla="*/ 311757 w 366549"/>
                <a:gd name="connsiteY17" fmla="*/ 328128 h 379771"/>
                <a:gd name="connsiteX18" fmla="*/ 183276 w 366549"/>
                <a:gd name="connsiteY18" fmla="*/ 379772 h 379771"/>
                <a:gd name="connsiteX19" fmla="*/ 183276 w 366549"/>
                <a:gd name="connsiteY19" fmla="*/ 379772 h 379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66549" h="379771">
                  <a:moveTo>
                    <a:pt x="183276" y="379772"/>
                  </a:moveTo>
                  <a:cubicBezTo>
                    <a:pt x="183276" y="379772"/>
                    <a:pt x="183276" y="379772"/>
                    <a:pt x="183276" y="379772"/>
                  </a:cubicBezTo>
                  <a:cubicBezTo>
                    <a:pt x="81248" y="379772"/>
                    <a:pt x="-627" y="296637"/>
                    <a:pt x="4" y="195869"/>
                  </a:cubicBezTo>
                  <a:lnTo>
                    <a:pt x="633" y="16375"/>
                  </a:lnTo>
                  <a:cubicBezTo>
                    <a:pt x="633" y="6928"/>
                    <a:pt x="8191" y="0"/>
                    <a:pt x="17008" y="0"/>
                  </a:cubicBezTo>
                  <a:lnTo>
                    <a:pt x="17008" y="0"/>
                  </a:lnTo>
                  <a:cubicBezTo>
                    <a:pt x="26455" y="0"/>
                    <a:pt x="33383" y="7558"/>
                    <a:pt x="33383" y="17005"/>
                  </a:cubicBezTo>
                  <a:lnTo>
                    <a:pt x="32753" y="196499"/>
                  </a:lnTo>
                  <a:cubicBezTo>
                    <a:pt x="32753" y="279003"/>
                    <a:pt x="99512" y="347022"/>
                    <a:pt x="182647" y="347022"/>
                  </a:cubicBezTo>
                  <a:cubicBezTo>
                    <a:pt x="182647" y="347022"/>
                    <a:pt x="182647" y="347022"/>
                    <a:pt x="183276" y="347022"/>
                  </a:cubicBezTo>
                  <a:cubicBezTo>
                    <a:pt x="222954" y="347022"/>
                    <a:pt x="260742" y="331277"/>
                    <a:pt x="289083" y="303565"/>
                  </a:cubicBezTo>
                  <a:cubicBezTo>
                    <a:pt x="317424" y="275224"/>
                    <a:pt x="333169" y="237436"/>
                    <a:pt x="333169" y="197758"/>
                  </a:cubicBezTo>
                  <a:lnTo>
                    <a:pt x="333800" y="18264"/>
                  </a:lnTo>
                  <a:cubicBezTo>
                    <a:pt x="333800" y="8817"/>
                    <a:pt x="341357" y="1889"/>
                    <a:pt x="350174" y="1889"/>
                  </a:cubicBezTo>
                  <a:lnTo>
                    <a:pt x="350174" y="1889"/>
                  </a:lnTo>
                  <a:cubicBezTo>
                    <a:pt x="359621" y="1889"/>
                    <a:pt x="366549" y="9447"/>
                    <a:pt x="366549" y="18894"/>
                  </a:cubicBezTo>
                  <a:lnTo>
                    <a:pt x="365920" y="198388"/>
                  </a:lnTo>
                  <a:cubicBezTo>
                    <a:pt x="365920" y="247513"/>
                    <a:pt x="346396" y="293488"/>
                    <a:pt x="311757" y="328128"/>
                  </a:cubicBezTo>
                  <a:cubicBezTo>
                    <a:pt x="278377" y="360878"/>
                    <a:pt x="232401" y="379772"/>
                    <a:pt x="183276" y="379772"/>
                  </a:cubicBezTo>
                  <a:lnTo>
                    <a:pt x="183276" y="379772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87" name="Forma Livre: Forma 86">
              <a:extLst>
                <a:ext uri="{FF2B5EF4-FFF2-40B4-BE49-F238E27FC236}">
                  <a16:creationId xmlns:a16="http://schemas.microsoft.com/office/drawing/2014/main" id="{34AB774F-8261-4DD2-90C1-13F3F5B2038A}"/>
                </a:ext>
              </a:extLst>
            </p:cNvPr>
            <p:cNvSpPr/>
            <p:nvPr/>
          </p:nvSpPr>
          <p:spPr>
            <a:xfrm>
              <a:off x="10573904" y="2593004"/>
              <a:ext cx="199647" cy="296007"/>
            </a:xfrm>
            <a:custGeom>
              <a:avLst/>
              <a:gdLst>
                <a:gd name="connsiteX0" fmla="*/ 100139 w 199647"/>
                <a:gd name="connsiteY0" fmla="*/ 296008 h 296007"/>
                <a:gd name="connsiteX1" fmla="*/ 100139 w 199647"/>
                <a:gd name="connsiteY1" fmla="*/ 296008 h 296007"/>
                <a:gd name="connsiteX2" fmla="*/ 0 w 199647"/>
                <a:gd name="connsiteY2" fmla="*/ 195869 h 296007"/>
                <a:gd name="connsiteX3" fmla="*/ 630 w 199647"/>
                <a:gd name="connsiteY3" fmla="*/ 16375 h 296007"/>
                <a:gd name="connsiteX4" fmla="*/ 17004 w 199647"/>
                <a:gd name="connsiteY4" fmla="*/ 0 h 296007"/>
                <a:gd name="connsiteX5" fmla="*/ 17004 w 199647"/>
                <a:gd name="connsiteY5" fmla="*/ 0 h 296007"/>
                <a:gd name="connsiteX6" fmla="*/ 33380 w 199647"/>
                <a:gd name="connsiteY6" fmla="*/ 17005 h 296007"/>
                <a:gd name="connsiteX7" fmla="*/ 32749 w 199647"/>
                <a:gd name="connsiteY7" fmla="*/ 196499 h 296007"/>
                <a:gd name="connsiteX8" fmla="*/ 99509 w 199647"/>
                <a:gd name="connsiteY8" fmla="*/ 263258 h 296007"/>
                <a:gd name="connsiteX9" fmla="*/ 99509 w 199647"/>
                <a:gd name="connsiteY9" fmla="*/ 263258 h 296007"/>
                <a:gd name="connsiteX10" fmla="*/ 146745 w 199647"/>
                <a:gd name="connsiteY10" fmla="*/ 243734 h 296007"/>
                <a:gd name="connsiteX11" fmla="*/ 166268 w 199647"/>
                <a:gd name="connsiteY11" fmla="*/ 196499 h 296007"/>
                <a:gd name="connsiteX12" fmla="*/ 166898 w 199647"/>
                <a:gd name="connsiteY12" fmla="*/ 17005 h 296007"/>
                <a:gd name="connsiteX13" fmla="*/ 183273 w 199647"/>
                <a:gd name="connsiteY13" fmla="*/ 630 h 296007"/>
                <a:gd name="connsiteX14" fmla="*/ 183273 w 199647"/>
                <a:gd name="connsiteY14" fmla="*/ 630 h 296007"/>
                <a:gd name="connsiteX15" fmla="*/ 199648 w 199647"/>
                <a:gd name="connsiteY15" fmla="*/ 17635 h 296007"/>
                <a:gd name="connsiteX16" fmla="*/ 199018 w 199647"/>
                <a:gd name="connsiteY16" fmla="*/ 197129 h 296007"/>
                <a:gd name="connsiteX17" fmla="*/ 169417 w 199647"/>
                <a:gd name="connsiteY17" fmla="*/ 267667 h 296007"/>
                <a:gd name="connsiteX18" fmla="*/ 100139 w 199647"/>
                <a:gd name="connsiteY18" fmla="*/ 296008 h 296007"/>
                <a:gd name="connsiteX19" fmla="*/ 100139 w 199647"/>
                <a:gd name="connsiteY19" fmla="*/ 296008 h 296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9647" h="296007">
                  <a:moveTo>
                    <a:pt x="100139" y="296008"/>
                  </a:moveTo>
                  <a:cubicBezTo>
                    <a:pt x="100139" y="296008"/>
                    <a:pt x="100139" y="296008"/>
                    <a:pt x="100139" y="296008"/>
                  </a:cubicBezTo>
                  <a:cubicBezTo>
                    <a:pt x="44716" y="296008"/>
                    <a:pt x="0" y="250662"/>
                    <a:pt x="0" y="195869"/>
                  </a:cubicBezTo>
                  <a:lnTo>
                    <a:pt x="630" y="16375"/>
                  </a:lnTo>
                  <a:cubicBezTo>
                    <a:pt x="630" y="6928"/>
                    <a:pt x="8188" y="0"/>
                    <a:pt x="17004" y="0"/>
                  </a:cubicBezTo>
                  <a:lnTo>
                    <a:pt x="17004" y="0"/>
                  </a:lnTo>
                  <a:cubicBezTo>
                    <a:pt x="26451" y="0"/>
                    <a:pt x="33380" y="7558"/>
                    <a:pt x="33380" y="17005"/>
                  </a:cubicBezTo>
                  <a:lnTo>
                    <a:pt x="32749" y="196499"/>
                  </a:lnTo>
                  <a:cubicBezTo>
                    <a:pt x="32749" y="233027"/>
                    <a:pt x="62351" y="263258"/>
                    <a:pt x="99509" y="263258"/>
                  </a:cubicBezTo>
                  <a:cubicBezTo>
                    <a:pt x="99509" y="263258"/>
                    <a:pt x="99509" y="263258"/>
                    <a:pt x="99509" y="263258"/>
                  </a:cubicBezTo>
                  <a:cubicBezTo>
                    <a:pt x="117143" y="263258"/>
                    <a:pt x="134149" y="256330"/>
                    <a:pt x="146745" y="243734"/>
                  </a:cubicBezTo>
                  <a:cubicBezTo>
                    <a:pt x="159341" y="231138"/>
                    <a:pt x="166268" y="214133"/>
                    <a:pt x="166268" y="196499"/>
                  </a:cubicBezTo>
                  <a:lnTo>
                    <a:pt x="166898" y="17005"/>
                  </a:lnTo>
                  <a:cubicBezTo>
                    <a:pt x="166898" y="7558"/>
                    <a:pt x="174455" y="630"/>
                    <a:pt x="183273" y="630"/>
                  </a:cubicBezTo>
                  <a:lnTo>
                    <a:pt x="183273" y="630"/>
                  </a:lnTo>
                  <a:cubicBezTo>
                    <a:pt x="192720" y="630"/>
                    <a:pt x="199648" y="8188"/>
                    <a:pt x="199648" y="17635"/>
                  </a:cubicBezTo>
                  <a:lnTo>
                    <a:pt x="199018" y="197129"/>
                  </a:lnTo>
                  <a:cubicBezTo>
                    <a:pt x="199018" y="223580"/>
                    <a:pt x="188312" y="248773"/>
                    <a:pt x="169417" y="267667"/>
                  </a:cubicBezTo>
                  <a:cubicBezTo>
                    <a:pt x="151783" y="285301"/>
                    <a:pt x="127220" y="296008"/>
                    <a:pt x="100139" y="296008"/>
                  </a:cubicBezTo>
                  <a:lnTo>
                    <a:pt x="100139" y="296008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88" name="Forma Livre: Forma 87">
              <a:extLst>
                <a:ext uri="{FF2B5EF4-FFF2-40B4-BE49-F238E27FC236}">
                  <a16:creationId xmlns:a16="http://schemas.microsoft.com/office/drawing/2014/main" id="{702790F0-1F15-4170-87F2-7F0F55BCDA07}"/>
                </a:ext>
              </a:extLst>
            </p:cNvPr>
            <p:cNvSpPr/>
            <p:nvPr/>
          </p:nvSpPr>
          <p:spPr>
            <a:xfrm>
              <a:off x="10492030" y="2589226"/>
              <a:ext cx="115884" cy="33379"/>
            </a:xfrm>
            <a:custGeom>
              <a:avLst/>
              <a:gdLst>
                <a:gd name="connsiteX0" fmla="*/ 99509 w 115884"/>
                <a:gd name="connsiteY0" fmla="*/ 33380 h 33379"/>
                <a:gd name="connsiteX1" fmla="*/ 99509 w 115884"/>
                <a:gd name="connsiteY1" fmla="*/ 33380 h 33379"/>
                <a:gd name="connsiteX2" fmla="*/ 16375 w 115884"/>
                <a:gd name="connsiteY2" fmla="*/ 33380 h 33379"/>
                <a:gd name="connsiteX3" fmla="*/ 0 w 115884"/>
                <a:gd name="connsiteY3" fmla="*/ 16375 h 33379"/>
                <a:gd name="connsiteX4" fmla="*/ 16375 w 115884"/>
                <a:gd name="connsiteY4" fmla="*/ 0 h 33379"/>
                <a:gd name="connsiteX5" fmla="*/ 16375 w 115884"/>
                <a:gd name="connsiteY5" fmla="*/ 0 h 33379"/>
                <a:gd name="connsiteX6" fmla="*/ 99509 w 115884"/>
                <a:gd name="connsiteY6" fmla="*/ 0 h 33379"/>
                <a:gd name="connsiteX7" fmla="*/ 115884 w 115884"/>
                <a:gd name="connsiteY7" fmla="*/ 17005 h 33379"/>
                <a:gd name="connsiteX8" fmla="*/ 99509 w 115884"/>
                <a:gd name="connsiteY8" fmla="*/ 33380 h 33379"/>
                <a:gd name="connsiteX9" fmla="*/ 99509 w 115884"/>
                <a:gd name="connsiteY9" fmla="*/ 33380 h 33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5884" h="33379">
                  <a:moveTo>
                    <a:pt x="99509" y="33380"/>
                  </a:moveTo>
                  <a:lnTo>
                    <a:pt x="99509" y="33380"/>
                  </a:lnTo>
                  <a:lnTo>
                    <a:pt x="16375" y="33380"/>
                  </a:lnTo>
                  <a:cubicBezTo>
                    <a:pt x="6928" y="33380"/>
                    <a:pt x="0" y="25822"/>
                    <a:pt x="0" y="16375"/>
                  </a:cubicBezTo>
                  <a:cubicBezTo>
                    <a:pt x="0" y="6928"/>
                    <a:pt x="7557" y="0"/>
                    <a:pt x="16375" y="0"/>
                  </a:cubicBezTo>
                  <a:lnTo>
                    <a:pt x="16375" y="0"/>
                  </a:lnTo>
                  <a:lnTo>
                    <a:pt x="99509" y="0"/>
                  </a:lnTo>
                  <a:cubicBezTo>
                    <a:pt x="108956" y="0"/>
                    <a:pt x="115884" y="7558"/>
                    <a:pt x="115884" y="17005"/>
                  </a:cubicBezTo>
                  <a:cubicBezTo>
                    <a:pt x="115884" y="25822"/>
                    <a:pt x="108326" y="33380"/>
                    <a:pt x="99509" y="33380"/>
                  </a:cubicBezTo>
                  <a:lnTo>
                    <a:pt x="99509" y="3338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89" name="Forma Livre: Forma 88">
              <a:extLst>
                <a:ext uri="{FF2B5EF4-FFF2-40B4-BE49-F238E27FC236}">
                  <a16:creationId xmlns:a16="http://schemas.microsoft.com/office/drawing/2014/main" id="{E4B1D11E-EBA6-4C1E-AD1C-F0818056222F}"/>
                </a:ext>
              </a:extLst>
            </p:cNvPr>
            <p:cNvSpPr/>
            <p:nvPr/>
          </p:nvSpPr>
          <p:spPr>
            <a:xfrm>
              <a:off x="10499587" y="2661653"/>
              <a:ext cx="99577" cy="16374"/>
            </a:xfrm>
            <a:custGeom>
              <a:avLst/>
              <a:gdLst>
                <a:gd name="connsiteX0" fmla="*/ 91322 w 99577"/>
                <a:gd name="connsiteY0" fmla="*/ 16375 h 16374"/>
                <a:gd name="connsiteX1" fmla="*/ 91322 w 99577"/>
                <a:gd name="connsiteY1" fmla="*/ 16375 h 16374"/>
                <a:gd name="connsiteX2" fmla="*/ 8188 w 99577"/>
                <a:gd name="connsiteY2" fmla="*/ 16375 h 16374"/>
                <a:gd name="connsiteX3" fmla="*/ 0 w 99577"/>
                <a:gd name="connsiteY3" fmla="*/ 8187 h 16374"/>
                <a:gd name="connsiteX4" fmla="*/ 8188 w 99577"/>
                <a:gd name="connsiteY4" fmla="*/ 0 h 16374"/>
                <a:gd name="connsiteX5" fmla="*/ 8188 w 99577"/>
                <a:gd name="connsiteY5" fmla="*/ 0 h 16374"/>
                <a:gd name="connsiteX6" fmla="*/ 91322 w 99577"/>
                <a:gd name="connsiteY6" fmla="*/ 0 h 16374"/>
                <a:gd name="connsiteX7" fmla="*/ 99509 w 99577"/>
                <a:gd name="connsiteY7" fmla="*/ 8187 h 16374"/>
                <a:gd name="connsiteX8" fmla="*/ 91322 w 99577"/>
                <a:gd name="connsiteY8" fmla="*/ 16375 h 16374"/>
                <a:gd name="connsiteX9" fmla="*/ 91322 w 99577"/>
                <a:gd name="connsiteY9" fmla="*/ 16375 h 1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9577" h="16374">
                  <a:moveTo>
                    <a:pt x="91322" y="16375"/>
                  </a:moveTo>
                  <a:lnTo>
                    <a:pt x="91322" y="16375"/>
                  </a:lnTo>
                  <a:lnTo>
                    <a:pt x="8188" y="16375"/>
                  </a:lnTo>
                  <a:cubicBezTo>
                    <a:pt x="3779" y="16375"/>
                    <a:pt x="0" y="12596"/>
                    <a:pt x="0" y="8187"/>
                  </a:cubicBezTo>
                  <a:cubicBezTo>
                    <a:pt x="0" y="3779"/>
                    <a:pt x="3779" y="0"/>
                    <a:pt x="8188" y="0"/>
                  </a:cubicBezTo>
                  <a:lnTo>
                    <a:pt x="8188" y="0"/>
                  </a:lnTo>
                  <a:lnTo>
                    <a:pt x="91322" y="0"/>
                  </a:lnTo>
                  <a:cubicBezTo>
                    <a:pt x="95731" y="0"/>
                    <a:pt x="99509" y="3779"/>
                    <a:pt x="99509" y="8187"/>
                  </a:cubicBezTo>
                  <a:cubicBezTo>
                    <a:pt x="100139" y="13226"/>
                    <a:pt x="96360" y="16375"/>
                    <a:pt x="91322" y="16375"/>
                  </a:cubicBezTo>
                  <a:lnTo>
                    <a:pt x="91322" y="16375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90" name="Forma Livre: Forma 89">
              <a:extLst>
                <a:ext uri="{FF2B5EF4-FFF2-40B4-BE49-F238E27FC236}">
                  <a16:creationId xmlns:a16="http://schemas.microsoft.com/office/drawing/2014/main" id="{FE906191-7594-4EA2-ACF2-6714459A8239}"/>
                </a:ext>
              </a:extLst>
            </p:cNvPr>
            <p:cNvSpPr/>
            <p:nvPr/>
          </p:nvSpPr>
          <p:spPr>
            <a:xfrm>
              <a:off x="10741432" y="2589226"/>
              <a:ext cx="115884" cy="32749"/>
            </a:xfrm>
            <a:custGeom>
              <a:avLst/>
              <a:gdLst>
                <a:gd name="connsiteX0" fmla="*/ 99509 w 115884"/>
                <a:gd name="connsiteY0" fmla="*/ 32750 h 32749"/>
                <a:gd name="connsiteX1" fmla="*/ 16375 w 115884"/>
                <a:gd name="connsiteY1" fmla="*/ 32750 h 32749"/>
                <a:gd name="connsiteX2" fmla="*/ 0 w 115884"/>
                <a:gd name="connsiteY2" fmla="*/ 16375 h 32749"/>
                <a:gd name="connsiteX3" fmla="*/ 16375 w 115884"/>
                <a:gd name="connsiteY3" fmla="*/ 0 h 32749"/>
                <a:gd name="connsiteX4" fmla="*/ 99509 w 115884"/>
                <a:gd name="connsiteY4" fmla="*/ 0 h 32749"/>
                <a:gd name="connsiteX5" fmla="*/ 115884 w 115884"/>
                <a:gd name="connsiteY5" fmla="*/ 16375 h 32749"/>
                <a:gd name="connsiteX6" fmla="*/ 99509 w 115884"/>
                <a:gd name="connsiteY6" fmla="*/ 32750 h 32749"/>
                <a:gd name="connsiteX7" fmla="*/ 99509 w 115884"/>
                <a:gd name="connsiteY7" fmla="*/ 32750 h 32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5884" h="32749">
                  <a:moveTo>
                    <a:pt x="99509" y="32750"/>
                  </a:moveTo>
                  <a:lnTo>
                    <a:pt x="16375" y="32750"/>
                  </a:lnTo>
                  <a:cubicBezTo>
                    <a:pt x="6928" y="32750"/>
                    <a:pt x="0" y="25192"/>
                    <a:pt x="0" y="16375"/>
                  </a:cubicBezTo>
                  <a:cubicBezTo>
                    <a:pt x="0" y="6928"/>
                    <a:pt x="7558" y="0"/>
                    <a:pt x="16375" y="0"/>
                  </a:cubicBezTo>
                  <a:lnTo>
                    <a:pt x="99509" y="0"/>
                  </a:lnTo>
                  <a:cubicBezTo>
                    <a:pt x="108956" y="0"/>
                    <a:pt x="115884" y="7558"/>
                    <a:pt x="115884" y="16375"/>
                  </a:cubicBezTo>
                  <a:cubicBezTo>
                    <a:pt x="115884" y="25192"/>
                    <a:pt x="108327" y="32750"/>
                    <a:pt x="99509" y="32750"/>
                  </a:cubicBezTo>
                  <a:lnTo>
                    <a:pt x="99509" y="3275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91" name="Forma Livre: Forma 90">
              <a:extLst>
                <a:ext uri="{FF2B5EF4-FFF2-40B4-BE49-F238E27FC236}">
                  <a16:creationId xmlns:a16="http://schemas.microsoft.com/office/drawing/2014/main" id="{B15D5C09-19BA-4E9C-AF83-4A1883E4E81C}"/>
                </a:ext>
              </a:extLst>
            </p:cNvPr>
            <p:cNvSpPr/>
            <p:nvPr/>
          </p:nvSpPr>
          <p:spPr>
            <a:xfrm>
              <a:off x="10749620" y="2661023"/>
              <a:ext cx="99508" cy="16374"/>
            </a:xfrm>
            <a:custGeom>
              <a:avLst/>
              <a:gdLst>
                <a:gd name="connsiteX0" fmla="*/ 91322 w 99508"/>
                <a:gd name="connsiteY0" fmla="*/ 16375 h 16374"/>
                <a:gd name="connsiteX1" fmla="*/ 8187 w 99508"/>
                <a:gd name="connsiteY1" fmla="*/ 16375 h 16374"/>
                <a:gd name="connsiteX2" fmla="*/ 0 w 99508"/>
                <a:gd name="connsiteY2" fmla="*/ 8187 h 16374"/>
                <a:gd name="connsiteX3" fmla="*/ 8187 w 99508"/>
                <a:gd name="connsiteY3" fmla="*/ 0 h 16374"/>
                <a:gd name="connsiteX4" fmla="*/ 91322 w 99508"/>
                <a:gd name="connsiteY4" fmla="*/ 0 h 16374"/>
                <a:gd name="connsiteX5" fmla="*/ 99509 w 99508"/>
                <a:gd name="connsiteY5" fmla="*/ 8187 h 16374"/>
                <a:gd name="connsiteX6" fmla="*/ 91322 w 99508"/>
                <a:gd name="connsiteY6" fmla="*/ 16375 h 16374"/>
                <a:gd name="connsiteX7" fmla="*/ 91322 w 99508"/>
                <a:gd name="connsiteY7" fmla="*/ 16375 h 1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9508" h="16374">
                  <a:moveTo>
                    <a:pt x="91322" y="16375"/>
                  </a:moveTo>
                  <a:lnTo>
                    <a:pt x="8187" y="16375"/>
                  </a:lnTo>
                  <a:cubicBezTo>
                    <a:pt x="3779" y="16375"/>
                    <a:pt x="0" y="12596"/>
                    <a:pt x="0" y="8187"/>
                  </a:cubicBezTo>
                  <a:cubicBezTo>
                    <a:pt x="0" y="3779"/>
                    <a:pt x="3779" y="0"/>
                    <a:pt x="8187" y="0"/>
                  </a:cubicBezTo>
                  <a:lnTo>
                    <a:pt x="91322" y="0"/>
                  </a:lnTo>
                  <a:cubicBezTo>
                    <a:pt x="95730" y="0"/>
                    <a:pt x="99509" y="3779"/>
                    <a:pt x="99509" y="8187"/>
                  </a:cubicBezTo>
                  <a:cubicBezTo>
                    <a:pt x="99509" y="12596"/>
                    <a:pt x="95730" y="16375"/>
                    <a:pt x="91322" y="16375"/>
                  </a:cubicBezTo>
                  <a:lnTo>
                    <a:pt x="91322" y="16375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92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5370150" y="2589729"/>
            <a:ext cx="382732" cy="381787"/>
            <a:chOff x="5370150" y="2589729"/>
            <a:chExt cx="382732" cy="381787"/>
          </a:xfrm>
          <a:solidFill>
            <a:srgbClr val="B1B1A1"/>
          </a:solidFill>
        </p:grpSpPr>
        <p:sp>
          <p:nvSpPr>
            <p:cNvPr id="93" name="Forma Livre: Forma 92">
              <a:extLst>
                <a:ext uri="{FF2B5EF4-FFF2-40B4-BE49-F238E27FC236}">
                  <a16:creationId xmlns:a16="http://schemas.microsoft.com/office/drawing/2014/main" id="{1BD18CF8-3AE4-4C86-A45B-8D0C1A251CC9}"/>
                </a:ext>
              </a:extLst>
            </p:cNvPr>
            <p:cNvSpPr/>
            <p:nvPr/>
          </p:nvSpPr>
          <p:spPr>
            <a:xfrm>
              <a:off x="5470956" y="2589729"/>
              <a:ext cx="281927" cy="281649"/>
            </a:xfrm>
            <a:custGeom>
              <a:avLst/>
              <a:gdLst>
                <a:gd name="connsiteX0" fmla="*/ 126239 w 281927"/>
                <a:gd name="connsiteY0" fmla="*/ 281649 h 281649"/>
                <a:gd name="connsiteX1" fmla="*/ 123720 w 281927"/>
                <a:gd name="connsiteY1" fmla="*/ 281649 h 281649"/>
                <a:gd name="connsiteX2" fmla="*/ 110493 w 281927"/>
                <a:gd name="connsiteY2" fmla="*/ 270313 h 281649"/>
                <a:gd name="connsiteX3" fmla="*/ 87191 w 281927"/>
                <a:gd name="connsiteY3" fmla="*/ 194736 h 281649"/>
                <a:gd name="connsiteX4" fmla="*/ 11614 w 281927"/>
                <a:gd name="connsiteY4" fmla="*/ 171433 h 281649"/>
                <a:gd name="connsiteX5" fmla="*/ 278 w 281927"/>
                <a:gd name="connsiteY5" fmla="*/ 158208 h 281649"/>
                <a:gd name="connsiteX6" fmla="*/ 7206 w 281927"/>
                <a:gd name="connsiteY6" fmla="*/ 141833 h 281649"/>
                <a:gd name="connsiteX7" fmla="*/ 72076 w 281927"/>
                <a:gd name="connsiteY7" fmla="*/ 96487 h 281649"/>
                <a:gd name="connsiteX8" fmla="*/ 70816 w 281927"/>
                <a:gd name="connsiteY8" fmla="*/ 17131 h 281649"/>
                <a:gd name="connsiteX9" fmla="*/ 79633 w 281927"/>
                <a:gd name="connsiteY9" fmla="*/ 2016 h 281649"/>
                <a:gd name="connsiteX10" fmla="*/ 97268 w 281927"/>
                <a:gd name="connsiteY10" fmla="*/ 3276 h 281649"/>
                <a:gd name="connsiteX11" fmla="*/ 160878 w 281927"/>
                <a:gd name="connsiteY11" fmla="*/ 50511 h 281649"/>
                <a:gd name="connsiteX12" fmla="*/ 235825 w 281927"/>
                <a:gd name="connsiteY12" fmla="*/ 25319 h 281649"/>
                <a:gd name="connsiteX13" fmla="*/ 252829 w 281927"/>
                <a:gd name="connsiteY13" fmla="*/ 29098 h 281649"/>
                <a:gd name="connsiteX14" fmla="*/ 256608 w 281927"/>
                <a:gd name="connsiteY14" fmla="*/ 46103 h 281649"/>
                <a:gd name="connsiteX15" fmla="*/ 231416 w 281927"/>
                <a:gd name="connsiteY15" fmla="*/ 121049 h 281649"/>
                <a:gd name="connsiteX16" fmla="*/ 278651 w 281927"/>
                <a:gd name="connsiteY16" fmla="*/ 184659 h 281649"/>
                <a:gd name="connsiteX17" fmla="*/ 279911 w 281927"/>
                <a:gd name="connsiteY17" fmla="*/ 202294 h 281649"/>
                <a:gd name="connsiteX18" fmla="*/ 264795 w 281927"/>
                <a:gd name="connsiteY18" fmla="*/ 211111 h 281649"/>
                <a:gd name="connsiteX19" fmla="*/ 185440 w 281927"/>
                <a:gd name="connsiteY19" fmla="*/ 209852 h 281649"/>
                <a:gd name="connsiteX20" fmla="*/ 140094 w 281927"/>
                <a:gd name="connsiteY20" fmla="*/ 274091 h 281649"/>
                <a:gd name="connsiteX21" fmla="*/ 126239 w 281927"/>
                <a:gd name="connsiteY21" fmla="*/ 281649 h 281649"/>
                <a:gd name="connsiteX22" fmla="*/ 126239 w 281927"/>
                <a:gd name="connsiteY22" fmla="*/ 281649 h 281649"/>
                <a:gd name="connsiteX23" fmla="*/ 53181 w 281927"/>
                <a:gd name="connsiteY23" fmla="*/ 148760 h 281649"/>
                <a:gd name="connsiteX24" fmla="*/ 104825 w 281927"/>
                <a:gd name="connsiteY24" fmla="*/ 164506 h 281649"/>
                <a:gd name="connsiteX25" fmla="*/ 115532 w 281927"/>
                <a:gd name="connsiteY25" fmla="*/ 175212 h 281649"/>
                <a:gd name="connsiteX26" fmla="*/ 131277 w 281927"/>
                <a:gd name="connsiteY26" fmla="*/ 226856 h 281649"/>
                <a:gd name="connsiteX27" fmla="*/ 162137 w 281927"/>
                <a:gd name="connsiteY27" fmla="*/ 182770 h 281649"/>
                <a:gd name="connsiteX28" fmla="*/ 175993 w 281927"/>
                <a:gd name="connsiteY28" fmla="*/ 175842 h 281649"/>
                <a:gd name="connsiteX29" fmla="*/ 230156 w 281927"/>
                <a:gd name="connsiteY29" fmla="*/ 176472 h 281649"/>
                <a:gd name="connsiteX30" fmla="*/ 198036 w 281927"/>
                <a:gd name="connsiteY30" fmla="*/ 133015 h 281649"/>
                <a:gd name="connsiteX31" fmla="*/ 195517 w 281927"/>
                <a:gd name="connsiteY31" fmla="*/ 117900 h 281649"/>
                <a:gd name="connsiteX32" fmla="*/ 213151 w 281927"/>
                <a:gd name="connsiteY32" fmla="*/ 66886 h 281649"/>
                <a:gd name="connsiteX33" fmla="*/ 162137 w 281927"/>
                <a:gd name="connsiteY33" fmla="*/ 84521 h 281649"/>
                <a:gd name="connsiteX34" fmla="*/ 147022 w 281927"/>
                <a:gd name="connsiteY34" fmla="*/ 82001 h 281649"/>
                <a:gd name="connsiteX35" fmla="*/ 103566 w 281927"/>
                <a:gd name="connsiteY35" fmla="*/ 49881 h 281649"/>
                <a:gd name="connsiteX36" fmla="*/ 104195 w 281927"/>
                <a:gd name="connsiteY36" fmla="*/ 104044 h 281649"/>
                <a:gd name="connsiteX37" fmla="*/ 97268 w 281927"/>
                <a:gd name="connsiteY37" fmla="*/ 117900 h 281649"/>
                <a:gd name="connsiteX38" fmla="*/ 53181 w 281927"/>
                <a:gd name="connsiteY38" fmla="*/ 148760 h 281649"/>
                <a:gd name="connsiteX39" fmla="*/ 53181 w 281927"/>
                <a:gd name="connsiteY39" fmla="*/ 148760 h 281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281927" h="281649">
                  <a:moveTo>
                    <a:pt x="126239" y="281649"/>
                  </a:moveTo>
                  <a:cubicBezTo>
                    <a:pt x="125609" y="281649"/>
                    <a:pt x="124349" y="281649"/>
                    <a:pt x="123720" y="281649"/>
                  </a:cubicBezTo>
                  <a:cubicBezTo>
                    <a:pt x="117422" y="280389"/>
                    <a:pt x="112383" y="275981"/>
                    <a:pt x="110493" y="270313"/>
                  </a:cubicBezTo>
                  <a:lnTo>
                    <a:pt x="87191" y="194736"/>
                  </a:lnTo>
                  <a:lnTo>
                    <a:pt x="11614" y="171433"/>
                  </a:lnTo>
                  <a:cubicBezTo>
                    <a:pt x="5316" y="169544"/>
                    <a:pt x="908" y="164506"/>
                    <a:pt x="278" y="158208"/>
                  </a:cubicBezTo>
                  <a:cubicBezTo>
                    <a:pt x="-982" y="151909"/>
                    <a:pt x="2167" y="145611"/>
                    <a:pt x="7206" y="141833"/>
                  </a:cubicBezTo>
                  <a:lnTo>
                    <a:pt x="72076" y="96487"/>
                  </a:lnTo>
                  <a:lnTo>
                    <a:pt x="70816" y="17131"/>
                  </a:lnTo>
                  <a:cubicBezTo>
                    <a:pt x="70816" y="10833"/>
                    <a:pt x="73965" y="5165"/>
                    <a:pt x="79633" y="2016"/>
                  </a:cubicBezTo>
                  <a:cubicBezTo>
                    <a:pt x="85301" y="-1133"/>
                    <a:pt x="92229" y="-503"/>
                    <a:pt x="97268" y="3276"/>
                  </a:cubicBezTo>
                  <a:lnTo>
                    <a:pt x="160878" y="50511"/>
                  </a:lnTo>
                  <a:lnTo>
                    <a:pt x="235825" y="25319"/>
                  </a:lnTo>
                  <a:cubicBezTo>
                    <a:pt x="242123" y="23430"/>
                    <a:pt x="248421" y="24689"/>
                    <a:pt x="252829" y="29098"/>
                  </a:cubicBezTo>
                  <a:cubicBezTo>
                    <a:pt x="257238" y="33506"/>
                    <a:pt x="259127" y="40434"/>
                    <a:pt x="256608" y="46103"/>
                  </a:cubicBezTo>
                  <a:lnTo>
                    <a:pt x="231416" y="121049"/>
                  </a:lnTo>
                  <a:lnTo>
                    <a:pt x="278651" y="184659"/>
                  </a:lnTo>
                  <a:cubicBezTo>
                    <a:pt x="282430" y="189698"/>
                    <a:pt x="283060" y="196626"/>
                    <a:pt x="279911" y="202294"/>
                  </a:cubicBezTo>
                  <a:cubicBezTo>
                    <a:pt x="276762" y="207962"/>
                    <a:pt x="271093" y="211111"/>
                    <a:pt x="264795" y="211111"/>
                  </a:cubicBezTo>
                  <a:lnTo>
                    <a:pt x="185440" y="209852"/>
                  </a:lnTo>
                  <a:lnTo>
                    <a:pt x="140094" y="274091"/>
                  </a:lnTo>
                  <a:cubicBezTo>
                    <a:pt x="136316" y="279130"/>
                    <a:pt x="131277" y="281649"/>
                    <a:pt x="126239" y="281649"/>
                  </a:cubicBezTo>
                  <a:lnTo>
                    <a:pt x="126239" y="281649"/>
                  </a:lnTo>
                  <a:close/>
                  <a:moveTo>
                    <a:pt x="53181" y="148760"/>
                  </a:moveTo>
                  <a:lnTo>
                    <a:pt x="104825" y="164506"/>
                  </a:lnTo>
                  <a:cubicBezTo>
                    <a:pt x="109864" y="166395"/>
                    <a:pt x="114273" y="170174"/>
                    <a:pt x="115532" y="175212"/>
                  </a:cubicBezTo>
                  <a:lnTo>
                    <a:pt x="131277" y="226856"/>
                  </a:lnTo>
                  <a:lnTo>
                    <a:pt x="162137" y="182770"/>
                  </a:lnTo>
                  <a:cubicBezTo>
                    <a:pt x="165286" y="178361"/>
                    <a:pt x="170325" y="175842"/>
                    <a:pt x="175993" y="175842"/>
                  </a:cubicBezTo>
                  <a:lnTo>
                    <a:pt x="230156" y="176472"/>
                  </a:lnTo>
                  <a:lnTo>
                    <a:pt x="198036" y="133015"/>
                  </a:lnTo>
                  <a:cubicBezTo>
                    <a:pt x="194887" y="128607"/>
                    <a:pt x="193628" y="122938"/>
                    <a:pt x="195517" y="117900"/>
                  </a:cubicBezTo>
                  <a:lnTo>
                    <a:pt x="213151" y="66886"/>
                  </a:lnTo>
                  <a:lnTo>
                    <a:pt x="162137" y="84521"/>
                  </a:lnTo>
                  <a:cubicBezTo>
                    <a:pt x="157099" y="86410"/>
                    <a:pt x="151431" y="85150"/>
                    <a:pt x="147022" y="82001"/>
                  </a:cubicBezTo>
                  <a:lnTo>
                    <a:pt x="103566" y="49881"/>
                  </a:lnTo>
                  <a:lnTo>
                    <a:pt x="104195" y="104044"/>
                  </a:lnTo>
                  <a:cubicBezTo>
                    <a:pt x="104195" y="109713"/>
                    <a:pt x="101676" y="114751"/>
                    <a:pt x="97268" y="117900"/>
                  </a:cubicBezTo>
                  <a:lnTo>
                    <a:pt x="53181" y="148760"/>
                  </a:lnTo>
                  <a:lnTo>
                    <a:pt x="53181" y="14876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94" name="Forma Livre: Forma 93">
              <a:extLst>
                <a:ext uri="{FF2B5EF4-FFF2-40B4-BE49-F238E27FC236}">
                  <a16:creationId xmlns:a16="http://schemas.microsoft.com/office/drawing/2014/main" id="{416A97F0-DAED-4D45-AC09-164A39A64FBC}"/>
                </a:ext>
              </a:extLst>
            </p:cNvPr>
            <p:cNvSpPr/>
            <p:nvPr/>
          </p:nvSpPr>
          <p:spPr>
            <a:xfrm>
              <a:off x="5370150" y="2763996"/>
              <a:ext cx="207835" cy="207520"/>
            </a:xfrm>
            <a:custGeom>
              <a:avLst/>
              <a:gdLst>
                <a:gd name="connsiteX0" fmla="*/ 16690 w 207835"/>
                <a:gd name="connsiteY0" fmla="*/ 207520 h 207520"/>
                <a:gd name="connsiteX1" fmla="*/ 4724 w 207835"/>
                <a:gd name="connsiteY1" fmla="*/ 202482 h 207520"/>
                <a:gd name="connsiteX2" fmla="*/ 4724 w 207835"/>
                <a:gd name="connsiteY2" fmla="*/ 179179 h 207520"/>
                <a:gd name="connsiteX3" fmla="*/ 179809 w 207835"/>
                <a:gd name="connsiteY3" fmla="*/ 4724 h 207520"/>
                <a:gd name="connsiteX4" fmla="*/ 203112 w 207835"/>
                <a:gd name="connsiteY4" fmla="*/ 4724 h 207520"/>
                <a:gd name="connsiteX5" fmla="*/ 203112 w 207835"/>
                <a:gd name="connsiteY5" fmla="*/ 28026 h 207520"/>
                <a:gd name="connsiteX6" fmla="*/ 28026 w 207835"/>
                <a:gd name="connsiteY6" fmla="*/ 202482 h 207520"/>
                <a:gd name="connsiteX7" fmla="*/ 16690 w 207835"/>
                <a:gd name="connsiteY7" fmla="*/ 207520 h 207520"/>
                <a:gd name="connsiteX8" fmla="*/ 16690 w 207835"/>
                <a:gd name="connsiteY8" fmla="*/ 207520 h 207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7835" h="207520">
                  <a:moveTo>
                    <a:pt x="16690" y="207520"/>
                  </a:moveTo>
                  <a:cubicBezTo>
                    <a:pt x="12281" y="207520"/>
                    <a:pt x="7873" y="205631"/>
                    <a:pt x="4724" y="202482"/>
                  </a:cubicBezTo>
                  <a:cubicBezTo>
                    <a:pt x="-1575" y="196184"/>
                    <a:pt x="-1575" y="185477"/>
                    <a:pt x="4724" y="179179"/>
                  </a:cubicBezTo>
                  <a:lnTo>
                    <a:pt x="179809" y="4724"/>
                  </a:lnTo>
                  <a:cubicBezTo>
                    <a:pt x="186107" y="-1575"/>
                    <a:pt x="196814" y="-1575"/>
                    <a:pt x="203112" y="4724"/>
                  </a:cubicBezTo>
                  <a:cubicBezTo>
                    <a:pt x="209410" y="11022"/>
                    <a:pt x="209410" y="21728"/>
                    <a:pt x="203112" y="28026"/>
                  </a:cubicBezTo>
                  <a:lnTo>
                    <a:pt x="28026" y="202482"/>
                  </a:lnTo>
                  <a:cubicBezTo>
                    <a:pt x="25507" y="205631"/>
                    <a:pt x="21098" y="207520"/>
                    <a:pt x="16690" y="207520"/>
                  </a:cubicBezTo>
                  <a:lnTo>
                    <a:pt x="16690" y="20752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95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3339662" y="1558998"/>
            <a:ext cx="372528" cy="372712"/>
            <a:chOff x="3339662" y="1558998"/>
            <a:chExt cx="372528" cy="372712"/>
          </a:xfrm>
          <a:solidFill>
            <a:srgbClr val="B1B1A1"/>
          </a:solidFill>
        </p:grpSpPr>
        <p:sp>
          <p:nvSpPr>
            <p:cNvPr id="96" name="Forma Livre: Forma 95">
              <a:extLst>
                <a:ext uri="{FF2B5EF4-FFF2-40B4-BE49-F238E27FC236}">
                  <a16:creationId xmlns:a16="http://schemas.microsoft.com/office/drawing/2014/main" id="{B96CB907-2493-413B-9C42-1ADAF4320555}"/>
                </a:ext>
              </a:extLst>
            </p:cNvPr>
            <p:cNvSpPr/>
            <p:nvPr/>
          </p:nvSpPr>
          <p:spPr>
            <a:xfrm>
              <a:off x="3339757" y="1558998"/>
              <a:ext cx="372434" cy="372712"/>
            </a:xfrm>
            <a:custGeom>
              <a:avLst/>
              <a:gdLst>
                <a:gd name="connsiteX0" fmla="*/ 126811 w 372434"/>
                <a:gd name="connsiteY0" fmla="*/ 372713 h 372712"/>
                <a:gd name="connsiteX1" fmla="*/ 126811 w 372434"/>
                <a:gd name="connsiteY1" fmla="*/ 372713 h 372712"/>
                <a:gd name="connsiteX2" fmla="*/ 111066 w 372434"/>
                <a:gd name="connsiteY2" fmla="*/ 361376 h 372712"/>
                <a:gd name="connsiteX3" fmla="*/ 850 w 372434"/>
                <a:gd name="connsiteY3" fmla="*/ 21912 h 372712"/>
                <a:gd name="connsiteX4" fmla="*/ 4629 w 372434"/>
                <a:gd name="connsiteY4" fmla="*/ 4907 h 372712"/>
                <a:gd name="connsiteX5" fmla="*/ 21634 w 372434"/>
                <a:gd name="connsiteY5" fmla="*/ 1128 h 372712"/>
                <a:gd name="connsiteX6" fmla="*/ 361098 w 372434"/>
                <a:gd name="connsiteY6" fmla="*/ 111344 h 372712"/>
                <a:gd name="connsiteX7" fmla="*/ 372434 w 372434"/>
                <a:gd name="connsiteY7" fmla="*/ 126459 h 372712"/>
                <a:gd name="connsiteX8" fmla="*/ 361728 w 372434"/>
                <a:gd name="connsiteY8" fmla="*/ 142204 h 372712"/>
                <a:gd name="connsiteX9" fmla="*/ 204907 w 372434"/>
                <a:gd name="connsiteY9" fmla="*/ 205185 h 372712"/>
                <a:gd name="connsiteX10" fmla="*/ 141926 w 372434"/>
                <a:gd name="connsiteY10" fmla="*/ 362006 h 372712"/>
                <a:gd name="connsiteX11" fmla="*/ 126811 w 372434"/>
                <a:gd name="connsiteY11" fmla="*/ 372713 h 372712"/>
                <a:gd name="connsiteX12" fmla="*/ 126811 w 372434"/>
                <a:gd name="connsiteY12" fmla="*/ 372713 h 372712"/>
                <a:gd name="connsiteX13" fmla="*/ 42417 w 372434"/>
                <a:gd name="connsiteY13" fmla="*/ 42695 h 372712"/>
                <a:gd name="connsiteX14" fmla="*/ 128071 w 372434"/>
                <a:gd name="connsiteY14" fmla="*/ 307213 h 372712"/>
                <a:gd name="connsiteX15" fmla="*/ 176565 w 372434"/>
                <a:gd name="connsiteY15" fmla="*/ 186291 h 372712"/>
                <a:gd name="connsiteX16" fmla="*/ 186013 w 372434"/>
                <a:gd name="connsiteY16" fmla="*/ 176844 h 372712"/>
                <a:gd name="connsiteX17" fmla="*/ 306935 w 372434"/>
                <a:gd name="connsiteY17" fmla="*/ 128349 h 372712"/>
                <a:gd name="connsiteX18" fmla="*/ 42417 w 372434"/>
                <a:gd name="connsiteY18" fmla="*/ 42695 h 372712"/>
                <a:gd name="connsiteX19" fmla="*/ 42417 w 372434"/>
                <a:gd name="connsiteY19" fmla="*/ 42695 h 372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72434" h="372712">
                  <a:moveTo>
                    <a:pt x="126811" y="372713"/>
                  </a:moveTo>
                  <a:cubicBezTo>
                    <a:pt x="126811" y="372713"/>
                    <a:pt x="126181" y="372713"/>
                    <a:pt x="126811" y="372713"/>
                  </a:cubicBezTo>
                  <a:cubicBezTo>
                    <a:pt x="119253" y="372713"/>
                    <a:pt x="112955" y="367674"/>
                    <a:pt x="111066" y="361376"/>
                  </a:cubicBezTo>
                  <a:lnTo>
                    <a:pt x="850" y="21912"/>
                  </a:lnTo>
                  <a:cubicBezTo>
                    <a:pt x="-1039" y="16244"/>
                    <a:pt x="220" y="9316"/>
                    <a:pt x="4629" y="4907"/>
                  </a:cubicBezTo>
                  <a:cubicBezTo>
                    <a:pt x="9038" y="499"/>
                    <a:pt x="15965" y="-1391"/>
                    <a:pt x="21634" y="1128"/>
                  </a:cubicBezTo>
                  <a:lnTo>
                    <a:pt x="361098" y="111344"/>
                  </a:lnTo>
                  <a:cubicBezTo>
                    <a:pt x="368026" y="113233"/>
                    <a:pt x="372434" y="119532"/>
                    <a:pt x="372434" y="126459"/>
                  </a:cubicBezTo>
                  <a:cubicBezTo>
                    <a:pt x="372434" y="133387"/>
                    <a:pt x="368656" y="139685"/>
                    <a:pt x="361728" y="142204"/>
                  </a:cubicBezTo>
                  <a:lnTo>
                    <a:pt x="204907" y="205185"/>
                  </a:lnTo>
                  <a:lnTo>
                    <a:pt x="141926" y="362006"/>
                  </a:lnTo>
                  <a:cubicBezTo>
                    <a:pt x="139407" y="368304"/>
                    <a:pt x="133739" y="372713"/>
                    <a:pt x="126811" y="372713"/>
                  </a:cubicBezTo>
                  <a:lnTo>
                    <a:pt x="126811" y="372713"/>
                  </a:lnTo>
                  <a:close/>
                  <a:moveTo>
                    <a:pt x="42417" y="42695"/>
                  </a:moveTo>
                  <a:lnTo>
                    <a:pt x="128071" y="307213"/>
                  </a:lnTo>
                  <a:lnTo>
                    <a:pt x="176565" y="186291"/>
                  </a:lnTo>
                  <a:cubicBezTo>
                    <a:pt x="178455" y="181882"/>
                    <a:pt x="181604" y="178733"/>
                    <a:pt x="186013" y="176844"/>
                  </a:cubicBezTo>
                  <a:lnTo>
                    <a:pt x="306935" y="128349"/>
                  </a:lnTo>
                  <a:lnTo>
                    <a:pt x="42417" y="42695"/>
                  </a:lnTo>
                  <a:lnTo>
                    <a:pt x="42417" y="42695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97" name="Forma Livre: Forma 96">
              <a:extLst>
                <a:ext uri="{FF2B5EF4-FFF2-40B4-BE49-F238E27FC236}">
                  <a16:creationId xmlns:a16="http://schemas.microsoft.com/office/drawing/2014/main" id="{BB788651-6D9C-4CA6-982D-B45041400DD6}"/>
                </a:ext>
              </a:extLst>
            </p:cNvPr>
            <p:cNvSpPr/>
            <p:nvPr/>
          </p:nvSpPr>
          <p:spPr>
            <a:xfrm>
              <a:off x="3339662" y="1559182"/>
              <a:ext cx="208465" cy="208780"/>
            </a:xfrm>
            <a:custGeom>
              <a:avLst/>
              <a:gdLst>
                <a:gd name="connsiteX0" fmla="*/ 192405 w 208465"/>
                <a:gd name="connsiteY0" fmla="*/ 208780 h 208780"/>
                <a:gd name="connsiteX1" fmla="*/ 180439 w 208465"/>
                <a:gd name="connsiteY1" fmla="*/ 203742 h 208780"/>
                <a:gd name="connsiteX2" fmla="*/ 4724 w 208465"/>
                <a:gd name="connsiteY2" fmla="*/ 28026 h 208780"/>
                <a:gd name="connsiteX3" fmla="*/ 4724 w 208465"/>
                <a:gd name="connsiteY3" fmla="*/ 4724 h 208780"/>
                <a:gd name="connsiteX4" fmla="*/ 28026 w 208465"/>
                <a:gd name="connsiteY4" fmla="*/ 4724 h 208780"/>
                <a:gd name="connsiteX5" fmla="*/ 203742 w 208465"/>
                <a:gd name="connsiteY5" fmla="*/ 180439 h 208780"/>
                <a:gd name="connsiteX6" fmla="*/ 203742 w 208465"/>
                <a:gd name="connsiteY6" fmla="*/ 203742 h 208780"/>
                <a:gd name="connsiteX7" fmla="*/ 192405 w 208465"/>
                <a:gd name="connsiteY7" fmla="*/ 208780 h 208780"/>
                <a:gd name="connsiteX8" fmla="*/ 192405 w 208465"/>
                <a:gd name="connsiteY8" fmla="*/ 208780 h 208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8465" h="208780">
                  <a:moveTo>
                    <a:pt x="192405" y="208780"/>
                  </a:moveTo>
                  <a:cubicBezTo>
                    <a:pt x="187996" y="208780"/>
                    <a:pt x="183588" y="206891"/>
                    <a:pt x="180439" y="203742"/>
                  </a:cubicBezTo>
                  <a:lnTo>
                    <a:pt x="4724" y="28026"/>
                  </a:lnTo>
                  <a:cubicBezTo>
                    <a:pt x="-1575" y="21728"/>
                    <a:pt x="-1575" y="11022"/>
                    <a:pt x="4724" y="4724"/>
                  </a:cubicBezTo>
                  <a:cubicBezTo>
                    <a:pt x="11022" y="-1575"/>
                    <a:pt x="21728" y="-1575"/>
                    <a:pt x="28026" y="4724"/>
                  </a:cubicBezTo>
                  <a:lnTo>
                    <a:pt x="203742" y="180439"/>
                  </a:lnTo>
                  <a:cubicBezTo>
                    <a:pt x="210040" y="186737"/>
                    <a:pt x="210040" y="197444"/>
                    <a:pt x="203742" y="203742"/>
                  </a:cubicBezTo>
                  <a:cubicBezTo>
                    <a:pt x="201222" y="207520"/>
                    <a:pt x="196814" y="208780"/>
                    <a:pt x="192405" y="208780"/>
                  </a:cubicBezTo>
                  <a:lnTo>
                    <a:pt x="192405" y="20878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sp>
        <p:nvSpPr>
          <p:cNvPr id="98" name="Forma Livre: Forma 97">
            <a:extLst>
              <a:ext uri="{FF2B5EF4-FFF2-40B4-BE49-F238E27FC236}">
                <a16:creationId xmlns:a16="http://schemas.microsoft.com/office/drawing/2014/main" id="{987BF6B6-1736-4026-A3FC-F849CF9D2387}"/>
              </a:ext>
            </a:extLst>
          </p:cNvPr>
          <p:cNvSpPr/>
          <p:nvPr/>
        </p:nvSpPr>
        <p:spPr>
          <a:xfrm>
            <a:off x="6394701" y="1548160"/>
            <a:ext cx="395341" cy="394257"/>
          </a:xfrm>
          <a:custGeom>
            <a:avLst/>
            <a:gdLst>
              <a:gd name="connsiteX0" fmla="*/ 341809 w 395341"/>
              <a:gd name="connsiteY0" fmla="*/ 33380 h 394257"/>
              <a:gd name="connsiteX1" fmla="*/ 355034 w 395341"/>
              <a:gd name="connsiteY1" fmla="*/ 38418 h 394257"/>
              <a:gd name="connsiteX2" fmla="*/ 293314 w 395341"/>
              <a:gd name="connsiteY2" fmla="*/ 152413 h 394257"/>
              <a:gd name="connsiteX3" fmla="*/ 307169 w 395341"/>
              <a:gd name="connsiteY3" fmla="*/ 183903 h 394257"/>
              <a:gd name="connsiteX4" fmla="*/ 317876 w 395341"/>
              <a:gd name="connsiteY4" fmla="*/ 178235 h 394257"/>
              <a:gd name="connsiteX5" fmla="*/ 322914 w 395341"/>
              <a:gd name="connsiteY5" fmla="*/ 180124 h 394257"/>
              <a:gd name="connsiteX6" fmla="*/ 314097 w 395341"/>
              <a:gd name="connsiteY6" fmla="*/ 200278 h 394257"/>
              <a:gd name="connsiteX7" fmla="*/ 329213 w 395341"/>
              <a:gd name="connsiteY7" fmla="*/ 234287 h 394257"/>
              <a:gd name="connsiteX8" fmla="*/ 339919 w 395341"/>
              <a:gd name="connsiteY8" fmla="*/ 228619 h 394257"/>
              <a:gd name="connsiteX9" fmla="*/ 344958 w 395341"/>
              <a:gd name="connsiteY9" fmla="*/ 230508 h 394257"/>
              <a:gd name="connsiteX10" fmla="*/ 336770 w 395341"/>
              <a:gd name="connsiteY10" fmla="*/ 250662 h 394257"/>
              <a:gd name="connsiteX11" fmla="*/ 355664 w 395341"/>
              <a:gd name="connsiteY11" fmla="*/ 293489 h 394257"/>
              <a:gd name="connsiteX12" fmla="*/ 358183 w 395341"/>
              <a:gd name="connsiteY12" fmla="*/ 335056 h 394257"/>
              <a:gd name="connsiteX13" fmla="*/ 246078 w 395341"/>
              <a:gd name="connsiteY13" fmla="*/ 193980 h 394257"/>
              <a:gd name="connsiteX14" fmla="*/ 242929 w 395341"/>
              <a:gd name="connsiteY14" fmla="*/ 196499 h 394257"/>
              <a:gd name="connsiteX15" fmla="*/ 139012 w 395341"/>
              <a:gd name="connsiteY15" fmla="*/ 274595 h 394257"/>
              <a:gd name="connsiteX16" fmla="*/ 135233 w 395341"/>
              <a:gd name="connsiteY16" fmla="*/ 360878 h 394257"/>
              <a:gd name="connsiteX17" fmla="*/ 99964 w 395341"/>
              <a:gd name="connsiteY17" fmla="*/ 301046 h 394257"/>
              <a:gd name="connsiteX18" fmla="*/ 86738 w 395341"/>
              <a:gd name="connsiteY18" fmla="*/ 307344 h 394257"/>
              <a:gd name="connsiteX19" fmla="*/ 86108 w 395341"/>
              <a:gd name="connsiteY19" fmla="*/ 307344 h 394257"/>
              <a:gd name="connsiteX20" fmla="*/ 92406 w 395341"/>
              <a:gd name="connsiteY20" fmla="*/ 293489 h 394257"/>
              <a:gd name="connsiteX21" fmla="*/ 32575 w 395341"/>
              <a:gd name="connsiteY21" fmla="*/ 258220 h 394257"/>
              <a:gd name="connsiteX22" fmla="*/ 118858 w 395341"/>
              <a:gd name="connsiteY22" fmla="*/ 254441 h 394257"/>
              <a:gd name="connsiteX23" fmla="*/ 196954 w 395341"/>
              <a:gd name="connsiteY23" fmla="*/ 150523 h 394257"/>
              <a:gd name="connsiteX24" fmla="*/ 199473 w 395341"/>
              <a:gd name="connsiteY24" fmla="*/ 147374 h 394257"/>
              <a:gd name="connsiteX25" fmla="*/ 57137 w 395341"/>
              <a:gd name="connsiteY25" fmla="*/ 34639 h 394257"/>
              <a:gd name="connsiteX26" fmla="*/ 98704 w 395341"/>
              <a:gd name="connsiteY26" fmla="*/ 37158 h 394257"/>
              <a:gd name="connsiteX27" fmla="*/ 141531 w 395341"/>
              <a:gd name="connsiteY27" fmla="*/ 56053 h 394257"/>
              <a:gd name="connsiteX28" fmla="*/ 156646 w 395341"/>
              <a:gd name="connsiteY28" fmla="*/ 45346 h 394257"/>
              <a:gd name="connsiteX29" fmla="*/ 161684 w 395341"/>
              <a:gd name="connsiteY29" fmla="*/ 47235 h 394257"/>
              <a:gd name="connsiteX30" fmla="*/ 158535 w 395341"/>
              <a:gd name="connsiteY30" fmla="*/ 62980 h 394257"/>
              <a:gd name="connsiteX31" fmla="*/ 192545 w 395341"/>
              <a:gd name="connsiteY31" fmla="*/ 78096 h 394257"/>
              <a:gd name="connsiteX32" fmla="*/ 207660 w 395341"/>
              <a:gd name="connsiteY32" fmla="*/ 67389 h 394257"/>
              <a:gd name="connsiteX33" fmla="*/ 212699 w 395341"/>
              <a:gd name="connsiteY33" fmla="*/ 69278 h 394257"/>
              <a:gd name="connsiteX34" fmla="*/ 208920 w 395341"/>
              <a:gd name="connsiteY34" fmla="*/ 85653 h 394257"/>
              <a:gd name="connsiteX35" fmla="*/ 240410 w 395341"/>
              <a:gd name="connsiteY35" fmla="*/ 99509 h 394257"/>
              <a:gd name="connsiteX36" fmla="*/ 341809 w 395341"/>
              <a:gd name="connsiteY36" fmla="*/ 33380 h 394257"/>
              <a:gd name="connsiteX37" fmla="*/ 341809 w 395341"/>
              <a:gd name="connsiteY37" fmla="*/ 0 h 394257"/>
              <a:gd name="connsiteX38" fmla="*/ 242300 w 395341"/>
              <a:gd name="connsiteY38" fmla="*/ 52904 h 394257"/>
              <a:gd name="connsiteX39" fmla="*/ 237261 w 395341"/>
              <a:gd name="connsiteY39" fmla="*/ 46606 h 394257"/>
              <a:gd name="connsiteX40" fmla="*/ 208290 w 395341"/>
              <a:gd name="connsiteY40" fmla="*/ 34639 h 394257"/>
              <a:gd name="connsiteX41" fmla="*/ 194434 w 395341"/>
              <a:gd name="connsiteY41" fmla="*/ 37158 h 394257"/>
              <a:gd name="connsiteX42" fmla="*/ 185617 w 395341"/>
              <a:gd name="connsiteY42" fmla="*/ 24562 h 394257"/>
              <a:gd name="connsiteX43" fmla="*/ 156646 w 395341"/>
              <a:gd name="connsiteY43" fmla="*/ 12596 h 394257"/>
              <a:gd name="connsiteX44" fmla="*/ 136492 w 395341"/>
              <a:gd name="connsiteY44" fmla="*/ 17635 h 394257"/>
              <a:gd name="connsiteX45" fmla="*/ 112560 w 395341"/>
              <a:gd name="connsiteY45" fmla="*/ 6928 h 394257"/>
              <a:gd name="connsiteX46" fmla="*/ 101223 w 395341"/>
              <a:gd name="connsiteY46" fmla="*/ 4409 h 394257"/>
              <a:gd name="connsiteX47" fmla="*/ 59657 w 395341"/>
              <a:gd name="connsiteY47" fmla="*/ 1889 h 394257"/>
              <a:gd name="connsiteX48" fmla="*/ 57767 w 395341"/>
              <a:gd name="connsiteY48" fmla="*/ 1889 h 394257"/>
              <a:gd name="connsiteX49" fmla="*/ 26907 w 395341"/>
              <a:gd name="connsiteY49" fmla="*/ 23303 h 394257"/>
              <a:gd name="connsiteX50" fmla="*/ 37613 w 395341"/>
              <a:gd name="connsiteY50" fmla="*/ 61721 h 394257"/>
              <a:gd name="connsiteX51" fmla="*/ 153497 w 395341"/>
              <a:gd name="connsiteY51" fmla="*/ 153672 h 394257"/>
              <a:gd name="connsiteX52" fmla="*/ 101853 w 395341"/>
              <a:gd name="connsiteY52" fmla="*/ 222321 h 394257"/>
              <a:gd name="connsiteX53" fmla="*/ 31945 w 395341"/>
              <a:gd name="connsiteY53" fmla="*/ 225470 h 394257"/>
              <a:gd name="connsiteX54" fmla="*/ 1084 w 395341"/>
              <a:gd name="connsiteY54" fmla="*/ 250662 h 394257"/>
              <a:gd name="connsiteX55" fmla="*/ 16830 w 395341"/>
              <a:gd name="connsiteY55" fmla="*/ 287191 h 394257"/>
              <a:gd name="connsiteX56" fmla="*/ 53988 w 395341"/>
              <a:gd name="connsiteY56" fmla="*/ 308604 h 394257"/>
              <a:gd name="connsiteX57" fmla="*/ 63435 w 395341"/>
              <a:gd name="connsiteY57" fmla="*/ 330647 h 394257"/>
              <a:gd name="connsiteX58" fmla="*/ 86108 w 395341"/>
              <a:gd name="connsiteY58" fmla="*/ 340724 h 394257"/>
              <a:gd name="connsiteX59" fmla="*/ 107521 w 395341"/>
              <a:gd name="connsiteY59" fmla="*/ 377882 h 394257"/>
              <a:gd name="connsiteX60" fmla="*/ 136492 w 395341"/>
              <a:gd name="connsiteY60" fmla="*/ 394257 h 394257"/>
              <a:gd name="connsiteX61" fmla="*/ 144680 w 395341"/>
              <a:gd name="connsiteY61" fmla="*/ 392998 h 394257"/>
              <a:gd name="connsiteX62" fmla="*/ 169872 w 395341"/>
              <a:gd name="connsiteY62" fmla="*/ 362137 h 394257"/>
              <a:gd name="connsiteX63" fmla="*/ 173021 w 395341"/>
              <a:gd name="connsiteY63" fmla="*/ 292229 h 394257"/>
              <a:gd name="connsiteX64" fmla="*/ 241670 w 395341"/>
              <a:gd name="connsiteY64" fmla="*/ 240585 h 394257"/>
              <a:gd name="connsiteX65" fmla="*/ 333621 w 395341"/>
              <a:gd name="connsiteY65" fmla="*/ 356469 h 394257"/>
              <a:gd name="connsiteX66" fmla="*/ 360073 w 395341"/>
              <a:gd name="connsiteY66" fmla="*/ 369065 h 394257"/>
              <a:gd name="connsiteX67" fmla="*/ 372039 w 395341"/>
              <a:gd name="connsiteY67" fmla="*/ 366546 h 394257"/>
              <a:gd name="connsiteX68" fmla="*/ 393453 w 395341"/>
              <a:gd name="connsiteY68" fmla="*/ 333166 h 394257"/>
              <a:gd name="connsiteX69" fmla="*/ 390933 w 395341"/>
              <a:gd name="connsiteY69" fmla="*/ 291599 h 394257"/>
              <a:gd name="connsiteX70" fmla="*/ 388414 w 395341"/>
              <a:gd name="connsiteY70" fmla="*/ 280263 h 394257"/>
              <a:gd name="connsiteX71" fmla="*/ 377707 w 395341"/>
              <a:gd name="connsiteY71" fmla="*/ 256330 h 394257"/>
              <a:gd name="connsiteX72" fmla="*/ 382746 w 395341"/>
              <a:gd name="connsiteY72" fmla="*/ 239325 h 394257"/>
              <a:gd name="connsiteX73" fmla="*/ 370779 w 395341"/>
              <a:gd name="connsiteY73" fmla="*/ 207206 h 394257"/>
              <a:gd name="connsiteX74" fmla="*/ 358183 w 395341"/>
              <a:gd name="connsiteY74" fmla="*/ 198388 h 394257"/>
              <a:gd name="connsiteX75" fmla="*/ 360073 w 395341"/>
              <a:gd name="connsiteY75" fmla="*/ 188311 h 394257"/>
              <a:gd name="connsiteX76" fmla="*/ 348736 w 395341"/>
              <a:gd name="connsiteY76" fmla="*/ 156191 h 394257"/>
              <a:gd name="connsiteX77" fmla="*/ 342438 w 395341"/>
              <a:gd name="connsiteY77" fmla="*/ 151153 h 394257"/>
              <a:gd name="connsiteX78" fmla="*/ 395342 w 395341"/>
              <a:gd name="connsiteY78" fmla="*/ 52274 h 394257"/>
              <a:gd name="connsiteX79" fmla="*/ 380856 w 395341"/>
              <a:gd name="connsiteY79" fmla="*/ 15115 h 394257"/>
              <a:gd name="connsiteX80" fmla="*/ 341809 w 395341"/>
              <a:gd name="connsiteY80" fmla="*/ 0 h 394257"/>
              <a:gd name="connsiteX81" fmla="*/ 341809 w 395341"/>
              <a:gd name="connsiteY81" fmla="*/ 0 h 39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</a:cxnLst>
            <a:rect l="l" t="t" r="r" b="b"/>
            <a:pathLst>
              <a:path w="395341" h="394257">
                <a:moveTo>
                  <a:pt x="341809" y="33380"/>
                </a:moveTo>
                <a:cubicBezTo>
                  <a:pt x="347477" y="33380"/>
                  <a:pt x="351885" y="35269"/>
                  <a:pt x="355034" y="38418"/>
                </a:cubicBezTo>
                <a:cubicBezTo>
                  <a:pt x="372039" y="55423"/>
                  <a:pt x="344958" y="102028"/>
                  <a:pt x="293314" y="152413"/>
                </a:cubicBezTo>
                <a:lnTo>
                  <a:pt x="307169" y="183903"/>
                </a:lnTo>
                <a:cubicBezTo>
                  <a:pt x="310948" y="180124"/>
                  <a:pt x="314727" y="178235"/>
                  <a:pt x="317876" y="178235"/>
                </a:cubicBezTo>
                <a:cubicBezTo>
                  <a:pt x="319765" y="178235"/>
                  <a:pt x="321655" y="178864"/>
                  <a:pt x="322914" y="180124"/>
                </a:cubicBezTo>
                <a:cubicBezTo>
                  <a:pt x="327953" y="185162"/>
                  <a:pt x="323544" y="193980"/>
                  <a:pt x="314097" y="200278"/>
                </a:cubicBezTo>
                <a:lnTo>
                  <a:pt x="329213" y="234287"/>
                </a:lnTo>
                <a:cubicBezTo>
                  <a:pt x="332991" y="231138"/>
                  <a:pt x="336770" y="228619"/>
                  <a:pt x="339919" y="228619"/>
                </a:cubicBezTo>
                <a:cubicBezTo>
                  <a:pt x="341809" y="228619"/>
                  <a:pt x="343698" y="229249"/>
                  <a:pt x="344958" y="230508"/>
                </a:cubicBezTo>
                <a:cubicBezTo>
                  <a:pt x="349996" y="235547"/>
                  <a:pt x="345587" y="244364"/>
                  <a:pt x="336770" y="250662"/>
                </a:cubicBezTo>
                <a:lnTo>
                  <a:pt x="355664" y="293489"/>
                </a:lnTo>
                <a:lnTo>
                  <a:pt x="358183" y="335056"/>
                </a:lnTo>
                <a:lnTo>
                  <a:pt x="246078" y="193980"/>
                </a:lnTo>
                <a:cubicBezTo>
                  <a:pt x="244819" y="194609"/>
                  <a:pt x="244189" y="195869"/>
                  <a:pt x="242929" y="196499"/>
                </a:cubicBezTo>
                <a:cubicBezTo>
                  <a:pt x="203252" y="227359"/>
                  <a:pt x="166723" y="255071"/>
                  <a:pt x="139012" y="274595"/>
                </a:cubicBezTo>
                <a:lnTo>
                  <a:pt x="135233" y="360878"/>
                </a:lnTo>
                <a:lnTo>
                  <a:pt x="99964" y="301046"/>
                </a:lnTo>
                <a:cubicBezTo>
                  <a:pt x="93036" y="305455"/>
                  <a:pt x="88627" y="307344"/>
                  <a:pt x="86738" y="307344"/>
                </a:cubicBezTo>
                <a:cubicBezTo>
                  <a:pt x="86738" y="307344"/>
                  <a:pt x="86108" y="307344"/>
                  <a:pt x="86108" y="307344"/>
                </a:cubicBezTo>
                <a:cubicBezTo>
                  <a:pt x="85478" y="306715"/>
                  <a:pt x="87368" y="301676"/>
                  <a:pt x="92406" y="293489"/>
                </a:cubicBezTo>
                <a:lnTo>
                  <a:pt x="32575" y="258220"/>
                </a:lnTo>
                <a:lnTo>
                  <a:pt x="118858" y="254441"/>
                </a:lnTo>
                <a:cubicBezTo>
                  <a:pt x="139012" y="226729"/>
                  <a:pt x="166093" y="190201"/>
                  <a:pt x="196954" y="150523"/>
                </a:cubicBezTo>
                <a:cubicBezTo>
                  <a:pt x="197583" y="149264"/>
                  <a:pt x="198843" y="148634"/>
                  <a:pt x="199473" y="147374"/>
                </a:cubicBezTo>
                <a:lnTo>
                  <a:pt x="57137" y="34639"/>
                </a:lnTo>
                <a:lnTo>
                  <a:pt x="98704" y="37158"/>
                </a:lnTo>
                <a:lnTo>
                  <a:pt x="141531" y="56053"/>
                </a:lnTo>
                <a:cubicBezTo>
                  <a:pt x="145939" y="49755"/>
                  <a:pt x="152237" y="45346"/>
                  <a:pt x="156646" y="45346"/>
                </a:cubicBezTo>
                <a:cubicBezTo>
                  <a:pt x="158535" y="45346"/>
                  <a:pt x="160425" y="45976"/>
                  <a:pt x="161684" y="47235"/>
                </a:cubicBezTo>
                <a:cubicBezTo>
                  <a:pt x="165463" y="51014"/>
                  <a:pt x="163574" y="57312"/>
                  <a:pt x="158535" y="62980"/>
                </a:cubicBezTo>
                <a:lnTo>
                  <a:pt x="192545" y="78096"/>
                </a:lnTo>
                <a:cubicBezTo>
                  <a:pt x="197583" y="71168"/>
                  <a:pt x="203252" y="67389"/>
                  <a:pt x="207660" y="67389"/>
                </a:cubicBezTo>
                <a:cubicBezTo>
                  <a:pt x="209550" y="67389"/>
                  <a:pt x="211439" y="68019"/>
                  <a:pt x="212699" y="69278"/>
                </a:cubicBezTo>
                <a:cubicBezTo>
                  <a:pt x="216477" y="73057"/>
                  <a:pt x="214588" y="79355"/>
                  <a:pt x="208920" y="85653"/>
                </a:cubicBezTo>
                <a:lnTo>
                  <a:pt x="240410" y="99509"/>
                </a:lnTo>
                <a:cubicBezTo>
                  <a:pt x="281977" y="58572"/>
                  <a:pt x="319765" y="33380"/>
                  <a:pt x="341809" y="33380"/>
                </a:cubicBezTo>
                <a:moveTo>
                  <a:pt x="341809" y="0"/>
                </a:moveTo>
                <a:cubicBezTo>
                  <a:pt x="310318" y="0"/>
                  <a:pt x="273160" y="25192"/>
                  <a:pt x="242300" y="52904"/>
                </a:cubicBezTo>
                <a:cubicBezTo>
                  <a:pt x="241040" y="50384"/>
                  <a:pt x="239151" y="48495"/>
                  <a:pt x="237261" y="46606"/>
                </a:cubicBezTo>
                <a:cubicBezTo>
                  <a:pt x="229704" y="39048"/>
                  <a:pt x="219626" y="34639"/>
                  <a:pt x="208290" y="34639"/>
                </a:cubicBezTo>
                <a:cubicBezTo>
                  <a:pt x="203252" y="34639"/>
                  <a:pt x="198843" y="35269"/>
                  <a:pt x="194434" y="37158"/>
                </a:cubicBezTo>
                <a:cubicBezTo>
                  <a:pt x="192545" y="32120"/>
                  <a:pt x="189396" y="28341"/>
                  <a:pt x="185617" y="24562"/>
                </a:cubicBezTo>
                <a:cubicBezTo>
                  <a:pt x="178060" y="17005"/>
                  <a:pt x="167982" y="12596"/>
                  <a:pt x="156646" y="12596"/>
                </a:cubicBezTo>
                <a:cubicBezTo>
                  <a:pt x="149718" y="12596"/>
                  <a:pt x="142790" y="14486"/>
                  <a:pt x="136492" y="17635"/>
                </a:cubicBezTo>
                <a:lnTo>
                  <a:pt x="112560" y="6928"/>
                </a:lnTo>
                <a:cubicBezTo>
                  <a:pt x="108781" y="5668"/>
                  <a:pt x="105002" y="4409"/>
                  <a:pt x="101223" y="4409"/>
                </a:cubicBezTo>
                <a:lnTo>
                  <a:pt x="59657" y="1889"/>
                </a:lnTo>
                <a:cubicBezTo>
                  <a:pt x="59026" y="1889"/>
                  <a:pt x="58397" y="1889"/>
                  <a:pt x="57767" y="1889"/>
                </a:cubicBezTo>
                <a:cubicBezTo>
                  <a:pt x="43911" y="1889"/>
                  <a:pt x="31315" y="10077"/>
                  <a:pt x="26907" y="23303"/>
                </a:cubicBezTo>
                <a:cubicBezTo>
                  <a:pt x="21868" y="37158"/>
                  <a:pt x="25647" y="52274"/>
                  <a:pt x="37613" y="61721"/>
                </a:cubicBezTo>
                <a:lnTo>
                  <a:pt x="153497" y="153672"/>
                </a:lnTo>
                <a:cubicBezTo>
                  <a:pt x="134603" y="178235"/>
                  <a:pt x="116969" y="202167"/>
                  <a:pt x="101853" y="222321"/>
                </a:cubicBezTo>
                <a:lnTo>
                  <a:pt x="31945" y="225470"/>
                </a:lnTo>
                <a:cubicBezTo>
                  <a:pt x="17460" y="226100"/>
                  <a:pt x="4864" y="236176"/>
                  <a:pt x="1084" y="250662"/>
                </a:cubicBezTo>
                <a:cubicBezTo>
                  <a:pt x="-2694" y="265147"/>
                  <a:pt x="3604" y="280263"/>
                  <a:pt x="16830" y="287191"/>
                </a:cubicBezTo>
                <a:lnTo>
                  <a:pt x="53988" y="308604"/>
                </a:lnTo>
                <a:cubicBezTo>
                  <a:pt x="53988" y="316162"/>
                  <a:pt x="56507" y="323719"/>
                  <a:pt x="63435" y="330647"/>
                </a:cubicBezTo>
                <a:cubicBezTo>
                  <a:pt x="69104" y="336945"/>
                  <a:pt x="77921" y="340724"/>
                  <a:pt x="86108" y="340724"/>
                </a:cubicBezTo>
                <a:lnTo>
                  <a:pt x="107521" y="377882"/>
                </a:lnTo>
                <a:cubicBezTo>
                  <a:pt x="113819" y="388589"/>
                  <a:pt x="124526" y="394257"/>
                  <a:pt x="136492" y="394257"/>
                </a:cubicBezTo>
                <a:cubicBezTo>
                  <a:pt x="139012" y="394257"/>
                  <a:pt x="142161" y="393627"/>
                  <a:pt x="144680" y="392998"/>
                </a:cubicBezTo>
                <a:cubicBezTo>
                  <a:pt x="159165" y="389219"/>
                  <a:pt x="169242" y="376623"/>
                  <a:pt x="169872" y="362137"/>
                </a:cubicBezTo>
                <a:lnTo>
                  <a:pt x="173021" y="292229"/>
                </a:lnTo>
                <a:cubicBezTo>
                  <a:pt x="193805" y="277114"/>
                  <a:pt x="217107" y="259479"/>
                  <a:pt x="241670" y="240585"/>
                </a:cubicBezTo>
                <a:lnTo>
                  <a:pt x="333621" y="356469"/>
                </a:lnTo>
                <a:cubicBezTo>
                  <a:pt x="339919" y="364656"/>
                  <a:pt x="349996" y="369065"/>
                  <a:pt x="360073" y="369065"/>
                </a:cubicBezTo>
                <a:cubicBezTo>
                  <a:pt x="363852" y="369065"/>
                  <a:pt x="368260" y="368435"/>
                  <a:pt x="372039" y="366546"/>
                </a:cubicBezTo>
                <a:cubicBezTo>
                  <a:pt x="385895" y="361507"/>
                  <a:pt x="394082" y="347652"/>
                  <a:pt x="393453" y="333166"/>
                </a:cubicBezTo>
                <a:lnTo>
                  <a:pt x="390933" y="291599"/>
                </a:lnTo>
                <a:cubicBezTo>
                  <a:pt x="390933" y="287820"/>
                  <a:pt x="389674" y="284042"/>
                  <a:pt x="388414" y="280263"/>
                </a:cubicBezTo>
                <a:lnTo>
                  <a:pt x="377707" y="256330"/>
                </a:lnTo>
                <a:cubicBezTo>
                  <a:pt x="380226" y="250662"/>
                  <a:pt x="382116" y="244994"/>
                  <a:pt x="382746" y="239325"/>
                </a:cubicBezTo>
                <a:cubicBezTo>
                  <a:pt x="384006" y="227359"/>
                  <a:pt x="379597" y="215393"/>
                  <a:pt x="370779" y="207206"/>
                </a:cubicBezTo>
                <a:cubicBezTo>
                  <a:pt x="367001" y="203427"/>
                  <a:pt x="362592" y="200907"/>
                  <a:pt x="358183" y="198388"/>
                </a:cubicBezTo>
                <a:cubicBezTo>
                  <a:pt x="359443" y="195239"/>
                  <a:pt x="360073" y="191460"/>
                  <a:pt x="360073" y="188311"/>
                </a:cubicBezTo>
                <a:cubicBezTo>
                  <a:pt x="361332" y="176345"/>
                  <a:pt x="356924" y="164379"/>
                  <a:pt x="348736" y="156191"/>
                </a:cubicBezTo>
                <a:cubicBezTo>
                  <a:pt x="346847" y="154302"/>
                  <a:pt x="344328" y="152413"/>
                  <a:pt x="342438" y="151153"/>
                </a:cubicBezTo>
                <a:cubicBezTo>
                  <a:pt x="370150" y="120293"/>
                  <a:pt x="395342" y="83764"/>
                  <a:pt x="395342" y="52274"/>
                </a:cubicBezTo>
                <a:cubicBezTo>
                  <a:pt x="395342" y="33380"/>
                  <a:pt x="387155" y="21413"/>
                  <a:pt x="380856" y="15115"/>
                </a:cubicBezTo>
                <a:cubicBezTo>
                  <a:pt x="372039" y="8187"/>
                  <a:pt x="360073" y="0"/>
                  <a:pt x="341809" y="0"/>
                </a:cubicBezTo>
                <a:lnTo>
                  <a:pt x="341809" y="0"/>
                </a:lnTo>
                <a:close/>
              </a:path>
            </a:pathLst>
          </a:custGeom>
          <a:solidFill>
            <a:srgbClr val="B1B1A1"/>
          </a:solidFill>
          <a:ln w="6294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grpSp>
        <p:nvGrpSpPr>
          <p:cNvPr id="99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1281149" y="4648054"/>
            <a:ext cx="396183" cy="396146"/>
            <a:chOff x="1281149" y="4648054"/>
            <a:chExt cx="396183" cy="396146"/>
          </a:xfrm>
          <a:solidFill>
            <a:srgbClr val="B1B1A1"/>
          </a:solidFill>
        </p:grpSpPr>
        <p:sp>
          <p:nvSpPr>
            <p:cNvPr id="100" name="Forma Livre: Forma 99">
              <a:extLst>
                <a:ext uri="{FF2B5EF4-FFF2-40B4-BE49-F238E27FC236}">
                  <a16:creationId xmlns:a16="http://schemas.microsoft.com/office/drawing/2014/main" id="{0DF30F8E-4A91-4F3D-9E52-BF4AE13C3759}"/>
                </a:ext>
              </a:extLst>
            </p:cNvPr>
            <p:cNvSpPr/>
            <p:nvPr/>
          </p:nvSpPr>
          <p:spPr>
            <a:xfrm>
              <a:off x="1281149" y="4648054"/>
              <a:ext cx="396183" cy="396146"/>
            </a:xfrm>
            <a:custGeom>
              <a:avLst/>
              <a:gdLst>
                <a:gd name="connsiteX0" fmla="*/ 379772 w 396183"/>
                <a:gd name="connsiteY0" fmla="*/ 396147 h 396146"/>
                <a:gd name="connsiteX1" fmla="*/ 16375 w 396183"/>
                <a:gd name="connsiteY1" fmla="*/ 396147 h 396146"/>
                <a:gd name="connsiteX2" fmla="*/ 0 w 396183"/>
                <a:gd name="connsiteY2" fmla="*/ 379772 h 396146"/>
                <a:gd name="connsiteX3" fmla="*/ 0 w 396183"/>
                <a:gd name="connsiteY3" fmla="*/ 16375 h 396146"/>
                <a:gd name="connsiteX4" fmla="*/ 16375 w 396183"/>
                <a:gd name="connsiteY4" fmla="*/ 0 h 396146"/>
                <a:gd name="connsiteX5" fmla="*/ 379772 w 396183"/>
                <a:gd name="connsiteY5" fmla="*/ 0 h 396146"/>
                <a:gd name="connsiteX6" fmla="*/ 396147 w 396183"/>
                <a:gd name="connsiteY6" fmla="*/ 16375 h 396146"/>
                <a:gd name="connsiteX7" fmla="*/ 396147 w 396183"/>
                <a:gd name="connsiteY7" fmla="*/ 379772 h 396146"/>
                <a:gd name="connsiteX8" fmla="*/ 379772 w 396183"/>
                <a:gd name="connsiteY8" fmla="*/ 396147 h 396146"/>
                <a:gd name="connsiteX9" fmla="*/ 379772 w 396183"/>
                <a:gd name="connsiteY9" fmla="*/ 396147 h 396146"/>
                <a:gd name="connsiteX10" fmla="*/ 33380 w 396183"/>
                <a:gd name="connsiteY10" fmla="*/ 362767 h 396146"/>
                <a:gd name="connsiteX11" fmla="*/ 363397 w 396183"/>
                <a:gd name="connsiteY11" fmla="*/ 362767 h 396146"/>
                <a:gd name="connsiteX12" fmla="*/ 363397 w 396183"/>
                <a:gd name="connsiteY12" fmla="*/ 32750 h 396146"/>
                <a:gd name="connsiteX13" fmla="*/ 33380 w 396183"/>
                <a:gd name="connsiteY13" fmla="*/ 32750 h 396146"/>
                <a:gd name="connsiteX14" fmla="*/ 33380 w 396183"/>
                <a:gd name="connsiteY14" fmla="*/ 362767 h 396146"/>
                <a:gd name="connsiteX15" fmla="*/ 33380 w 396183"/>
                <a:gd name="connsiteY15" fmla="*/ 362767 h 396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96183" h="396146">
                  <a:moveTo>
                    <a:pt x="379772" y="396147"/>
                  </a:moveTo>
                  <a:lnTo>
                    <a:pt x="16375" y="396147"/>
                  </a:lnTo>
                  <a:cubicBezTo>
                    <a:pt x="6928" y="396147"/>
                    <a:pt x="0" y="388589"/>
                    <a:pt x="0" y="379772"/>
                  </a:cubicBezTo>
                  <a:lnTo>
                    <a:pt x="0" y="16375"/>
                  </a:lnTo>
                  <a:cubicBezTo>
                    <a:pt x="0" y="6928"/>
                    <a:pt x="7558" y="0"/>
                    <a:pt x="16375" y="0"/>
                  </a:cubicBezTo>
                  <a:lnTo>
                    <a:pt x="379772" y="0"/>
                  </a:lnTo>
                  <a:cubicBezTo>
                    <a:pt x="389219" y="0"/>
                    <a:pt x="396147" y="7558"/>
                    <a:pt x="396147" y="16375"/>
                  </a:cubicBezTo>
                  <a:lnTo>
                    <a:pt x="396147" y="379772"/>
                  </a:lnTo>
                  <a:cubicBezTo>
                    <a:pt x="396776" y="388589"/>
                    <a:pt x="389219" y="396147"/>
                    <a:pt x="379772" y="396147"/>
                  </a:cubicBezTo>
                  <a:lnTo>
                    <a:pt x="379772" y="396147"/>
                  </a:lnTo>
                  <a:close/>
                  <a:moveTo>
                    <a:pt x="33380" y="362767"/>
                  </a:moveTo>
                  <a:lnTo>
                    <a:pt x="363397" y="362767"/>
                  </a:lnTo>
                  <a:lnTo>
                    <a:pt x="363397" y="32750"/>
                  </a:lnTo>
                  <a:lnTo>
                    <a:pt x="33380" y="32750"/>
                  </a:lnTo>
                  <a:lnTo>
                    <a:pt x="33380" y="362767"/>
                  </a:lnTo>
                  <a:lnTo>
                    <a:pt x="33380" y="362767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01" name="Forma Livre: Forma 100">
              <a:extLst>
                <a:ext uri="{FF2B5EF4-FFF2-40B4-BE49-F238E27FC236}">
                  <a16:creationId xmlns:a16="http://schemas.microsoft.com/office/drawing/2014/main" id="{3A25F56B-3597-4D5D-8807-CEE5B7CA4345}"/>
                </a:ext>
              </a:extLst>
            </p:cNvPr>
            <p:cNvSpPr/>
            <p:nvPr/>
          </p:nvSpPr>
          <p:spPr>
            <a:xfrm>
              <a:off x="1295634" y="4753232"/>
              <a:ext cx="367805" cy="16375"/>
            </a:xfrm>
            <a:custGeom>
              <a:avLst/>
              <a:gdLst>
                <a:gd name="connsiteX0" fmla="*/ 359618 w 367805"/>
                <a:gd name="connsiteY0" fmla="*/ 16375 h 16375"/>
                <a:gd name="connsiteX1" fmla="*/ 8187 w 367805"/>
                <a:gd name="connsiteY1" fmla="*/ 16375 h 16375"/>
                <a:gd name="connsiteX2" fmla="*/ 0 w 367805"/>
                <a:gd name="connsiteY2" fmla="*/ 8187 h 16375"/>
                <a:gd name="connsiteX3" fmla="*/ 8187 w 367805"/>
                <a:gd name="connsiteY3" fmla="*/ 0 h 16375"/>
                <a:gd name="connsiteX4" fmla="*/ 359618 w 367805"/>
                <a:gd name="connsiteY4" fmla="*/ 0 h 16375"/>
                <a:gd name="connsiteX5" fmla="*/ 367805 w 367805"/>
                <a:gd name="connsiteY5" fmla="*/ 8187 h 16375"/>
                <a:gd name="connsiteX6" fmla="*/ 359618 w 367805"/>
                <a:gd name="connsiteY6" fmla="*/ 16375 h 16375"/>
                <a:gd name="connsiteX7" fmla="*/ 359618 w 367805"/>
                <a:gd name="connsiteY7" fmla="*/ 16375 h 16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7805" h="16375">
                  <a:moveTo>
                    <a:pt x="359618" y="16375"/>
                  </a:moveTo>
                  <a:lnTo>
                    <a:pt x="8187" y="16375"/>
                  </a:lnTo>
                  <a:cubicBezTo>
                    <a:pt x="3779" y="16375"/>
                    <a:pt x="0" y="12596"/>
                    <a:pt x="0" y="8187"/>
                  </a:cubicBezTo>
                  <a:cubicBezTo>
                    <a:pt x="0" y="3779"/>
                    <a:pt x="3779" y="0"/>
                    <a:pt x="8187" y="0"/>
                  </a:cubicBezTo>
                  <a:lnTo>
                    <a:pt x="359618" y="0"/>
                  </a:lnTo>
                  <a:cubicBezTo>
                    <a:pt x="364027" y="0"/>
                    <a:pt x="367805" y="3779"/>
                    <a:pt x="367805" y="8187"/>
                  </a:cubicBezTo>
                  <a:cubicBezTo>
                    <a:pt x="367805" y="12596"/>
                    <a:pt x="364027" y="16375"/>
                    <a:pt x="359618" y="16375"/>
                  </a:cubicBezTo>
                  <a:lnTo>
                    <a:pt x="359618" y="16375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02" name="Forma Livre: Forma 101">
              <a:extLst>
                <a:ext uri="{FF2B5EF4-FFF2-40B4-BE49-F238E27FC236}">
                  <a16:creationId xmlns:a16="http://schemas.microsoft.com/office/drawing/2014/main" id="{BB43BAC8-1BE9-489F-8C21-D0769A41BCC8}"/>
                </a:ext>
              </a:extLst>
            </p:cNvPr>
            <p:cNvSpPr/>
            <p:nvPr/>
          </p:nvSpPr>
          <p:spPr>
            <a:xfrm>
              <a:off x="1335942" y="4696549"/>
              <a:ext cx="41596" cy="41567"/>
            </a:xfrm>
            <a:custGeom>
              <a:avLst/>
              <a:gdLst>
                <a:gd name="connsiteX0" fmla="*/ 20784 w 41596"/>
                <a:gd name="connsiteY0" fmla="*/ 0 h 41567"/>
                <a:gd name="connsiteX1" fmla="*/ 0 w 41596"/>
                <a:gd name="connsiteY1" fmla="*/ 20783 h 41567"/>
                <a:gd name="connsiteX2" fmla="*/ 20784 w 41596"/>
                <a:gd name="connsiteY2" fmla="*/ 41567 h 41567"/>
                <a:gd name="connsiteX3" fmla="*/ 41567 w 41596"/>
                <a:gd name="connsiteY3" fmla="*/ 20783 h 41567"/>
                <a:gd name="connsiteX4" fmla="*/ 20784 w 41596"/>
                <a:gd name="connsiteY4" fmla="*/ 0 h 41567"/>
                <a:gd name="connsiteX5" fmla="*/ 20784 w 41596"/>
                <a:gd name="connsiteY5" fmla="*/ 0 h 41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596" h="41567">
                  <a:moveTo>
                    <a:pt x="20784" y="0"/>
                  </a:moveTo>
                  <a:cubicBezTo>
                    <a:pt x="9447" y="0"/>
                    <a:pt x="0" y="9447"/>
                    <a:pt x="0" y="20783"/>
                  </a:cubicBezTo>
                  <a:cubicBezTo>
                    <a:pt x="0" y="32120"/>
                    <a:pt x="9447" y="41567"/>
                    <a:pt x="20784" y="41567"/>
                  </a:cubicBezTo>
                  <a:cubicBezTo>
                    <a:pt x="32120" y="41567"/>
                    <a:pt x="41567" y="32120"/>
                    <a:pt x="41567" y="20783"/>
                  </a:cubicBezTo>
                  <a:cubicBezTo>
                    <a:pt x="42197" y="9447"/>
                    <a:pt x="32750" y="0"/>
                    <a:pt x="20784" y="0"/>
                  </a:cubicBezTo>
                  <a:lnTo>
                    <a:pt x="20784" y="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03" name="Forma Livre: Forma 102">
              <a:extLst>
                <a:ext uri="{FF2B5EF4-FFF2-40B4-BE49-F238E27FC236}">
                  <a16:creationId xmlns:a16="http://schemas.microsoft.com/office/drawing/2014/main" id="{82CFE7D2-06E5-40DD-97CF-980FAC780FA2}"/>
                </a:ext>
              </a:extLst>
            </p:cNvPr>
            <p:cNvSpPr/>
            <p:nvPr/>
          </p:nvSpPr>
          <p:spPr>
            <a:xfrm>
              <a:off x="1393254" y="4696549"/>
              <a:ext cx="41567" cy="41567"/>
            </a:xfrm>
            <a:custGeom>
              <a:avLst/>
              <a:gdLst>
                <a:gd name="connsiteX0" fmla="*/ 20784 w 41567"/>
                <a:gd name="connsiteY0" fmla="*/ 0 h 41567"/>
                <a:gd name="connsiteX1" fmla="*/ 0 w 41567"/>
                <a:gd name="connsiteY1" fmla="*/ 20783 h 41567"/>
                <a:gd name="connsiteX2" fmla="*/ 20784 w 41567"/>
                <a:gd name="connsiteY2" fmla="*/ 41567 h 41567"/>
                <a:gd name="connsiteX3" fmla="*/ 41567 w 41567"/>
                <a:gd name="connsiteY3" fmla="*/ 20783 h 41567"/>
                <a:gd name="connsiteX4" fmla="*/ 20784 w 41567"/>
                <a:gd name="connsiteY4" fmla="*/ 0 h 41567"/>
                <a:gd name="connsiteX5" fmla="*/ 20784 w 41567"/>
                <a:gd name="connsiteY5" fmla="*/ 0 h 41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567" h="41567">
                  <a:moveTo>
                    <a:pt x="20784" y="0"/>
                  </a:moveTo>
                  <a:cubicBezTo>
                    <a:pt x="9447" y="0"/>
                    <a:pt x="0" y="9447"/>
                    <a:pt x="0" y="20783"/>
                  </a:cubicBezTo>
                  <a:cubicBezTo>
                    <a:pt x="0" y="32120"/>
                    <a:pt x="9447" y="41567"/>
                    <a:pt x="20784" y="41567"/>
                  </a:cubicBezTo>
                  <a:cubicBezTo>
                    <a:pt x="32120" y="41567"/>
                    <a:pt x="41567" y="32120"/>
                    <a:pt x="41567" y="20783"/>
                  </a:cubicBezTo>
                  <a:cubicBezTo>
                    <a:pt x="41567" y="9447"/>
                    <a:pt x="32120" y="0"/>
                    <a:pt x="20784" y="0"/>
                  </a:cubicBezTo>
                  <a:lnTo>
                    <a:pt x="20784" y="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04" name="Forma Livre: Forma 103">
              <a:extLst>
                <a:ext uri="{FF2B5EF4-FFF2-40B4-BE49-F238E27FC236}">
                  <a16:creationId xmlns:a16="http://schemas.microsoft.com/office/drawing/2014/main" id="{F10487E6-DD71-4E04-8BF0-37815FDBD90A}"/>
                </a:ext>
              </a:extLst>
            </p:cNvPr>
            <p:cNvSpPr/>
            <p:nvPr/>
          </p:nvSpPr>
          <p:spPr>
            <a:xfrm>
              <a:off x="1449936" y="4696549"/>
              <a:ext cx="41596" cy="41567"/>
            </a:xfrm>
            <a:custGeom>
              <a:avLst/>
              <a:gdLst>
                <a:gd name="connsiteX0" fmla="*/ 20784 w 41596"/>
                <a:gd name="connsiteY0" fmla="*/ 0 h 41567"/>
                <a:gd name="connsiteX1" fmla="*/ 0 w 41596"/>
                <a:gd name="connsiteY1" fmla="*/ 20783 h 41567"/>
                <a:gd name="connsiteX2" fmla="*/ 20784 w 41596"/>
                <a:gd name="connsiteY2" fmla="*/ 41567 h 41567"/>
                <a:gd name="connsiteX3" fmla="*/ 41567 w 41596"/>
                <a:gd name="connsiteY3" fmla="*/ 20783 h 41567"/>
                <a:gd name="connsiteX4" fmla="*/ 20784 w 41596"/>
                <a:gd name="connsiteY4" fmla="*/ 0 h 41567"/>
                <a:gd name="connsiteX5" fmla="*/ 20784 w 41596"/>
                <a:gd name="connsiteY5" fmla="*/ 0 h 41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596" h="41567">
                  <a:moveTo>
                    <a:pt x="20784" y="0"/>
                  </a:moveTo>
                  <a:cubicBezTo>
                    <a:pt x="9447" y="0"/>
                    <a:pt x="0" y="9447"/>
                    <a:pt x="0" y="20783"/>
                  </a:cubicBezTo>
                  <a:cubicBezTo>
                    <a:pt x="0" y="32120"/>
                    <a:pt x="9447" y="41567"/>
                    <a:pt x="20784" y="41567"/>
                  </a:cubicBezTo>
                  <a:cubicBezTo>
                    <a:pt x="32120" y="41567"/>
                    <a:pt x="41567" y="32120"/>
                    <a:pt x="41567" y="20783"/>
                  </a:cubicBezTo>
                  <a:cubicBezTo>
                    <a:pt x="42197" y="9447"/>
                    <a:pt x="32750" y="0"/>
                    <a:pt x="20784" y="0"/>
                  </a:cubicBezTo>
                  <a:lnTo>
                    <a:pt x="20784" y="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05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1269340" y="3628402"/>
            <a:ext cx="420394" cy="368435"/>
            <a:chOff x="1269340" y="3628402"/>
            <a:chExt cx="420394" cy="368435"/>
          </a:xfrm>
          <a:solidFill>
            <a:srgbClr val="B1B1A1"/>
          </a:solidFill>
        </p:grpSpPr>
        <p:sp>
          <p:nvSpPr>
            <p:cNvPr id="106" name="Forma Livre: Forma 105">
              <a:extLst>
                <a:ext uri="{FF2B5EF4-FFF2-40B4-BE49-F238E27FC236}">
                  <a16:creationId xmlns:a16="http://schemas.microsoft.com/office/drawing/2014/main" id="{4F8BDD74-FDBC-4504-9DAB-6BC6221C7A87}"/>
                </a:ext>
              </a:extLst>
            </p:cNvPr>
            <p:cNvSpPr/>
            <p:nvPr/>
          </p:nvSpPr>
          <p:spPr>
            <a:xfrm>
              <a:off x="1269340" y="3628402"/>
              <a:ext cx="420394" cy="368435"/>
            </a:xfrm>
            <a:custGeom>
              <a:avLst/>
              <a:gdLst>
                <a:gd name="connsiteX0" fmla="*/ 307187 w 420394"/>
                <a:gd name="connsiteY0" fmla="*/ 368435 h 368435"/>
                <a:gd name="connsiteX1" fmla="*/ 113207 w 420394"/>
                <a:gd name="connsiteY1" fmla="*/ 368435 h 368435"/>
                <a:gd name="connsiteX2" fmla="*/ 98722 w 420394"/>
                <a:gd name="connsiteY2" fmla="*/ 360248 h 368435"/>
                <a:gd name="connsiteX3" fmla="*/ 2362 w 420394"/>
                <a:gd name="connsiteY3" fmla="*/ 192720 h 368435"/>
                <a:gd name="connsiteX4" fmla="*/ 2362 w 420394"/>
                <a:gd name="connsiteY4" fmla="*/ 176345 h 368435"/>
                <a:gd name="connsiteX5" fmla="*/ 98722 w 420394"/>
                <a:gd name="connsiteY5" fmla="*/ 8187 h 368435"/>
                <a:gd name="connsiteX6" fmla="*/ 113207 w 420394"/>
                <a:gd name="connsiteY6" fmla="*/ 0 h 368435"/>
                <a:gd name="connsiteX7" fmla="*/ 306557 w 420394"/>
                <a:gd name="connsiteY7" fmla="*/ 0 h 368435"/>
                <a:gd name="connsiteX8" fmla="*/ 321043 w 420394"/>
                <a:gd name="connsiteY8" fmla="*/ 8187 h 368435"/>
                <a:gd name="connsiteX9" fmla="*/ 418032 w 420394"/>
                <a:gd name="connsiteY9" fmla="*/ 175715 h 368435"/>
                <a:gd name="connsiteX10" fmla="*/ 418032 w 420394"/>
                <a:gd name="connsiteY10" fmla="*/ 192090 h 368435"/>
                <a:gd name="connsiteX11" fmla="*/ 321043 w 420394"/>
                <a:gd name="connsiteY11" fmla="*/ 359618 h 368435"/>
                <a:gd name="connsiteX12" fmla="*/ 307187 w 420394"/>
                <a:gd name="connsiteY12" fmla="*/ 368435 h 368435"/>
                <a:gd name="connsiteX13" fmla="*/ 307187 w 420394"/>
                <a:gd name="connsiteY13" fmla="*/ 368435 h 368435"/>
                <a:gd name="connsiteX14" fmla="*/ 123284 w 420394"/>
                <a:gd name="connsiteY14" fmla="*/ 335056 h 368435"/>
                <a:gd name="connsiteX15" fmla="*/ 297740 w 420394"/>
                <a:gd name="connsiteY15" fmla="*/ 335056 h 368435"/>
                <a:gd name="connsiteX16" fmla="*/ 384653 w 420394"/>
                <a:gd name="connsiteY16" fmla="*/ 183903 h 368435"/>
                <a:gd name="connsiteX17" fmla="*/ 297740 w 420394"/>
                <a:gd name="connsiteY17" fmla="*/ 32750 h 368435"/>
                <a:gd name="connsiteX18" fmla="*/ 123284 w 420394"/>
                <a:gd name="connsiteY18" fmla="*/ 32750 h 368435"/>
                <a:gd name="connsiteX19" fmla="*/ 36371 w 420394"/>
                <a:gd name="connsiteY19" fmla="*/ 183903 h 368435"/>
                <a:gd name="connsiteX20" fmla="*/ 123284 w 420394"/>
                <a:gd name="connsiteY20" fmla="*/ 335056 h 368435"/>
                <a:gd name="connsiteX21" fmla="*/ 123284 w 420394"/>
                <a:gd name="connsiteY21" fmla="*/ 335056 h 368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20394" h="368435">
                  <a:moveTo>
                    <a:pt x="307187" y="368435"/>
                  </a:moveTo>
                  <a:lnTo>
                    <a:pt x="113207" y="368435"/>
                  </a:lnTo>
                  <a:cubicBezTo>
                    <a:pt x="107539" y="368435"/>
                    <a:pt x="101871" y="365286"/>
                    <a:pt x="98722" y="360248"/>
                  </a:cubicBezTo>
                  <a:lnTo>
                    <a:pt x="2362" y="192720"/>
                  </a:lnTo>
                  <a:cubicBezTo>
                    <a:pt x="-787" y="187681"/>
                    <a:pt x="-787" y="181383"/>
                    <a:pt x="2362" y="176345"/>
                  </a:cubicBezTo>
                  <a:lnTo>
                    <a:pt x="98722" y="8187"/>
                  </a:lnTo>
                  <a:cubicBezTo>
                    <a:pt x="101871" y="3149"/>
                    <a:pt x="106909" y="0"/>
                    <a:pt x="113207" y="0"/>
                  </a:cubicBezTo>
                  <a:lnTo>
                    <a:pt x="306557" y="0"/>
                  </a:lnTo>
                  <a:cubicBezTo>
                    <a:pt x="312225" y="0"/>
                    <a:pt x="317893" y="3149"/>
                    <a:pt x="321043" y="8187"/>
                  </a:cubicBezTo>
                  <a:lnTo>
                    <a:pt x="418032" y="175715"/>
                  </a:lnTo>
                  <a:cubicBezTo>
                    <a:pt x="421181" y="180754"/>
                    <a:pt x="421181" y="187052"/>
                    <a:pt x="418032" y="192090"/>
                  </a:cubicBezTo>
                  <a:lnTo>
                    <a:pt x="321043" y="359618"/>
                  </a:lnTo>
                  <a:cubicBezTo>
                    <a:pt x="318523" y="365286"/>
                    <a:pt x="312855" y="368435"/>
                    <a:pt x="307187" y="368435"/>
                  </a:cubicBezTo>
                  <a:lnTo>
                    <a:pt x="307187" y="368435"/>
                  </a:lnTo>
                  <a:close/>
                  <a:moveTo>
                    <a:pt x="123284" y="335056"/>
                  </a:moveTo>
                  <a:lnTo>
                    <a:pt x="297740" y="335056"/>
                  </a:lnTo>
                  <a:lnTo>
                    <a:pt x="384653" y="183903"/>
                  </a:lnTo>
                  <a:lnTo>
                    <a:pt x="297740" y="32750"/>
                  </a:lnTo>
                  <a:lnTo>
                    <a:pt x="123284" y="32750"/>
                  </a:lnTo>
                  <a:lnTo>
                    <a:pt x="36371" y="183903"/>
                  </a:lnTo>
                  <a:lnTo>
                    <a:pt x="123284" y="335056"/>
                  </a:lnTo>
                  <a:lnTo>
                    <a:pt x="123284" y="335056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07" name="Forma Livre: Forma 106">
              <a:extLst>
                <a:ext uri="{FF2B5EF4-FFF2-40B4-BE49-F238E27FC236}">
                  <a16:creationId xmlns:a16="http://schemas.microsoft.com/office/drawing/2014/main" id="{0CB78E32-D9A0-4870-B220-2734311E9CD8}"/>
                </a:ext>
              </a:extLst>
            </p:cNvPr>
            <p:cNvSpPr/>
            <p:nvPr/>
          </p:nvSpPr>
          <p:spPr>
            <a:xfrm>
              <a:off x="1379398" y="3712166"/>
              <a:ext cx="200277" cy="200277"/>
            </a:xfrm>
            <a:custGeom>
              <a:avLst/>
              <a:gdLst>
                <a:gd name="connsiteX0" fmla="*/ 100139 w 200277"/>
                <a:gd name="connsiteY0" fmla="*/ 200278 h 200277"/>
                <a:gd name="connsiteX1" fmla="*/ 0 w 200277"/>
                <a:gd name="connsiteY1" fmla="*/ 100139 h 200277"/>
                <a:gd name="connsiteX2" fmla="*/ 100139 w 200277"/>
                <a:gd name="connsiteY2" fmla="*/ 0 h 200277"/>
                <a:gd name="connsiteX3" fmla="*/ 200278 w 200277"/>
                <a:gd name="connsiteY3" fmla="*/ 100139 h 200277"/>
                <a:gd name="connsiteX4" fmla="*/ 100139 w 200277"/>
                <a:gd name="connsiteY4" fmla="*/ 200278 h 200277"/>
                <a:gd name="connsiteX5" fmla="*/ 100139 w 200277"/>
                <a:gd name="connsiteY5" fmla="*/ 200278 h 200277"/>
                <a:gd name="connsiteX6" fmla="*/ 100139 w 200277"/>
                <a:gd name="connsiteY6" fmla="*/ 33380 h 200277"/>
                <a:gd name="connsiteX7" fmla="*/ 33380 w 200277"/>
                <a:gd name="connsiteY7" fmla="*/ 100139 h 200277"/>
                <a:gd name="connsiteX8" fmla="*/ 100139 w 200277"/>
                <a:gd name="connsiteY8" fmla="*/ 166898 h 200277"/>
                <a:gd name="connsiteX9" fmla="*/ 166898 w 200277"/>
                <a:gd name="connsiteY9" fmla="*/ 100139 h 200277"/>
                <a:gd name="connsiteX10" fmla="*/ 100139 w 200277"/>
                <a:gd name="connsiteY10" fmla="*/ 33380 h 200277"/>
                <a:gd name="connsiteX11" fmla="*/ 100139 w 200277"/>
                <a:gd name="connsiteY11" fmla="*/ 33380 h 2002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0277" h="200277">
                  <a:moveTo>
                    <a:pt x="100139" y="200278"/>
                  </a:moveTo>
                  <a:cubicBezTo>
                    <a:pt x="44716" y="200278"/>
                    <a:pt x="0" y="155562"/>
                    <a:pt x="0" y="100139"/>
                  </a:cubicBezTo>
                  <a:cubicBezTo>
                    <a:pt x="0" y="44716"/>
                    <a:pt x="44716" y="0"/>
                    <a:pt x="100139" y="0"/>
                  </a:cubicBezTo>
                  <a:cubicBezTo>
                    <a:pt x="155562" y="0"/>
                    <a:pt x="200278" y="44716"/>
                    <a:pt x="200278" y="100139"/>
                  </a:cubicBezTo>
                  <a:cubicBezTo>
                    <a:pt x="200278" y="155562"/>
                    <a:pt x="155562" y="200278"/>
                    <a:pt x="100139" y="200278"/>
                  </a:cubicBezTo>
                  <a:lnTo>
                    <a:pt x="100139" y="200278"/>
                  </a:lnTo>
                  <a:close/>
                  <a:moveTo>
                    <a:pt x="100139" y="33380"/>
                  </a:moveTo>
                  <a:cubicBezTo>
                    <a:pt x="63610" y="33380"/>
                    <a:pt x="33380" y="63610"/>
                    <a:pt x="33380" y="100139"/>
                  </a:cubicBezTo>
                  <a:cubicBezTo>
                    <a:pt x="33380" y="136668"/>
                    <a:pt x="63610" y="166898"/>
                    <a:pt x="100139" y="166898"/>
                  </a:cubicBezTo>
                  <a:cubicBezTo>
                    <a:pt x="136667" y="166898"/>
                    <a:pt x="166898" y="136668"/>
                    <a:pt x="166898" y="100139"/>
                  </a:cubicBezTo>
                  <a:cubicBezTo>
                    <a:pt x="166898" y="63610"/>
                    <a:pt x="136667" y="33380"/>
                    <a:pt x="100139" y="33380"/>
                  </a:cubicBezTo>
                  <a:lnTo>
                    <a:pt x="100139" y="3338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08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7511808" y="2576630"/>
            <a:ext cx="210036" cy="408112"/>
            <a:chOff x="7511808" y="2576630"/>
            <a:chExt cx="210036" cy="408112"/>
          </a:xfrm>
          <a:solidFill>
            <a:srgbClr val="B1B1A1"/>
          </a:solidFill>
        </p:grpSpPr>
        <p:sp>
          <p:nvSpPr>
            <p:cNvPr id="109" name="Forma Livre: Forma 108">
              <a:extLst>
                <a:ext uri="{FF2B5EF4-FFF2-40B4-BE49-F238E27FC236}">
                  <a16:creationId xmlns:a16="http://schemas.microsoft.com/office/drawing/2014/main" id="{148DA01E-899B-4EF8-B4A6-24A8E094AEC1}"/>
                </a:ext>
              </a:extLst>
            </p:cNvPr>
            <p:cNvSpPr/>
            <p:nvPr/>
          </p:nvSpPr>
          <p:spPr>
            <a:xfrm>
              <a:off x="7533841" y="2576630"/>
              <a:ext cx="114031" cy="145484"/>
            </a:xfrm>
            <a:custGeom>
              <a:avLst/>
              <a:gdLst>
                <a:gd name="connsiteX0" fmla="*/ 98249 w 114031"/>
                <a:gd name="connsiteY0" fmla="*/ 145485 h 145484"/>
                <a:gd name="connsiteX1" fmla="*/ 38418 w 114031"/>
                <a:gd name="connsiteY1" fmla="*/ 145485 h 145484"/>
                <a:gd name="connsiteX2" fmla="*/ 23932 w 114031"/>
                <a:gd name="connsiteY2" fmla="*/ 137297 h 145484"/>
                <a:gd name="connsiteX3" fmla="*/ 2519 w 114031"/>
                <a:gd name="connsiteY3" fmla="*/ 101398 h 145484"/>
                <a:gd name="connsiteX4" fmla="*/ 630 w 114031"/>
                <a:gd name="connsiteY4" fmla="*/ 88173 h 145484"/>
                <a:gd name="connsiteX5" fmla="*/ 22043 w 114031"/>
                <a:gd name="connsiteY5" fmla="*/ 11966 h 145484"/>
                <a:gd name="connsiteX6" fmla="*/ 37788 w 114031"/>
                <a:gd name="connsiteY6" fmla="*/ 0 h 145484"/>
                <a:gd name="connsiteX7" fmla="*/ 97619 w 114031"/>
                <a:gd name="connsiteY7" fmla="*/ 0 h 145484"/>
                <a:gd name="connsiteX8" fmla="*/ 113995 w 114031"/>
                <a:gd name="connsiteY8" fmla="*/ 16375 h 145484"/>
                <a:gd name="connsiteX9" fmla="*/ 97619 w 114031"/>
                <a:gd name="connsiteY9" fmla="*/ 32750 h 145484"/>
                <a:gd name="connsiteX10" fmla="*/ 50384 w 114031"/>
                <a:gd name="connsiteY10" fmla="*/ 32750 h 145484"/>
                <a:gd name="connsiteX11" fmla="*/ 34009 w 114031"/>
                <a:gd name="connsiteY11" fmla="*/ 90062 h 145484"/>
                <a:gd name="connsiteX12" fmla="*/ 47235 w 114031"/>
                <a:gd name="connsiteY12" fmla="*/ 112105 h 145484"/>
                <a:gd name="connsiteX13" fmla="*/ 97619 w 114031"/>
                <a:gd name="connsiteY13" fmla="*/ 112105 h 145484"/>
                <a:gd name="connsiteX14" fmla="*/ 113995 w 114031"/>
                <a:gd name="connsiteY14" fmla="*/ 128480 h 145484"/>
                <a:gd name="connsiteX15" fmla="*/ 98249 w 114031"/>
                <a:gd name="connsiteY15" fmla="*/ 145485 h 145484"/>
                <a:gd name="connsiteX16" fmla="*/ 98249 w 114031"/>
                <a:gd name="connsiteY16" fmla="*/ 145485 h 145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4031" h="145484">
                  <a:moveTo>
                    <a:pt x="98249" y="145485"/>
                  </a:moveTo>
                  <a:lnTo>
                    <a:pt x="38418" y="145485"/>
                  </a:lnTo>
                  <a:cubicBezTo>
                    <a:pt x="32750" y="145485"/>
                    <a:pt x="27081" y="142336"/>
                    <a:pt x="23932" y="137297"/>
                  </a:cubicBezTo>
                  <a:lnTo>
                    <a:pt x="2519" y="101398"/>
                  </a:lnTo>
                  <a:cubicBezTo>
                    <a:pt x="0" y="97620"/>
                    <a:pt x="-630" y="92581"/>
                    <a:pt x="630" y="88173"/>
                  </a:cubicBezTo>
                  <a:lnTo>
                    <a:pt x="22043" y="11966"/>
                  </a:lnTo>
                  <a:cubicBezTo>
                    <a:pt x="23932" y="5038"/>
                    <a:pt x="30860" y="0"/>
                    <a:pt x="37788" y="0"/>
                  </a:cubicBezTo>
                  <a:lnTo>
                    <a:pt x="97619" y="0"/>
                  </a:lnTo>
                  <a:cubicBezTo>
                    <a:pt x="107067" y="0"/>
                    <a:pt x="113995" y="7558"/>
                    <a:pt x="113995" y="16375"/>
                  </a:cubicBezTo>
                  <a:cubicBezTo>
                    <a:pt x="113995" y="25822"/>
                    <a:pt x="106437" y="32750"/>
                    <a:pt x="97619" y="32750"/>
                  </a:cubicBezTo>
                  <a:lnTo>
                    <a:pt x="50384" y="32750"/>
                  </a:lnTo>
                  <a:lnTo>
                    <a:pt x="34009" y="90062"/>
                  </a:lnTo>
                  <a:lnTo>
                    <a:pt x="47235" y="112105"/>
                  </a:lnTo>
                  <a:lnTo>
                    <a:pt x="97619" y="112105"/>
                  </a:lnTo>
                  <a:cubicBezTo>
                    <a:pt x="107067" y="112105"/>
                    <a:pt x="113995" y="119663"/>
                    <a:pt x="113995" y="128480"/>
                  </a:cubicBezTo>
                  <a:cubicBezTo>
                    <a:pt x="114624" y="137927"/>
                    <a:pt x="107067" y="145485"/>
                    <a:pt x="98249" y="145485"/>
                  </a:cubicBezTo>
                  <a:lnTo>
                    <a:pt x="98249" y="145485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10" name="Forma Livre: Forma 109">
              <a:extLst>
                <a:ext uri="{FF2B5EF4-FFF2-40B4-BE49-F238E27FC236}">
                  <a16:creationId xmlns:a16="http://schemas.microsoft.com/office/drawing/2014/main" id="{C7FA81A2-5523-4A77-BE6A-C70EB4179A42}"/>
                </a:ext>
              </a:extLst>
            </p:cNvPr>
            <p:cNvSpPr/>
            <p:nvPr/>
          </p:nvSpPr>
          <p:spPr>
            <a:xfrm>
              <a:off x="7584855" y="2577259"/>
              <a:ext cx="114624" cy="144854"/>
            </a:xfrm>
            <a:custGeom>
              <a:avLst/>
              <a:gdLst>
                <a:gd name="connsiteX0" fmla="*/ 76206 w 114624"/>
                <a:gd name="connsiteY0" fmla="*/ 144855 h 144854"/>
                <a:gd name="connsiteX1" fmla="*/ 16375 w 114624"/>
                <a:gd name="connsiteY1" fmla="*/ 144855 h 144854"/>
                <a:gd name="connsiteX2" fmla="*/ 0 w 114624"/>
                <a:gd name="connsiteY2" fmla="*/ 128480 h 144854"/>
                <a:gd name="connsiteX3" fmla="*/ 16375 w 114624"/>
                <a:gd name="connsiteY3" fmla="*/ 112105 h 144854"/>
                <a:gd name="connsiteX4" fmla="*/ 66759 w 114624"/>
                <a:gd name="connsiteY4" fmla="*/ 112105 h 144854"/>
                <a:gd name="connsiteX5" fmla="*/ 79985 w 114624"/>
                <a:gd name="connsiteY5" fmla="*/ 90062 h 144854"/>
                <a:gd name="connsiteX6" fmla="*/ 63610 w 114624"/>
                <a:gd name="connsiteY6" fmla="*/ 32750 h 144854"/>
                <a:gd name="connsiteX7" fmla="*/ 16375 w 114624"/>
                <a:gd name="connsiteY7" fmla="*/ 32750 h 144854"/>
                <a:gd name="connsiteX8" fmla="*/ 0 w 114624"/>
                <a:gd name="connsiteY8" fmla="*/ 16375 h 144854"/>
                <a:gd name="connsiteX9" fmla="*/ 16375 w 114624"/>
                <a:gd name="connsiteY9" fmla="*/ 0 h 144854"/>
                <a:gd name="connsiteX10" fmla="*/ 76206 w 114624"/>
                <a:gd name="connsiteY10" fmla="*/ 0 h 144854"/>
                <a:gd name="connsiteX11" fmla="*/ 92581 w 114624"/>
                <a:gd name="connsiteY11" fmla="*/ 11966 h 144854"/>
                <a:gd name="connsiteX12" fmla="*/ 113994 w 114624"/>
                <a:gd name="connsiteY12" fmla="*/ 88173 h 144854"/>
                <a:gd name="connsiteX13" fmla="*/ 112105 w 114624"/>
                <a:gd name="connsiteY13" fmla="*/ 101398 h 144854"/>
                <a:gd name="connsiteX14" fmla="*/ 90692 w 114624"/>
                <a:gd name="connsiteY14" fmla="*/ 137297 h 144854"/>
                <a:gd name="connsiteX15" fmla="*/ 76206 w 114624"/>
                <a:gd name="connsiteY15" fmla="*/ 144855 h 144854"/>
                <a:gd name="connsiteX16" fmla="*/ 76206 w 114624"/>
                <a:gd name="connsiteY16" fmla="*/ 144855 h 144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4624" h="144854">
                  <a:moveTo>
                    <a:pt x="76206" y="144855"/>
                  </a:moveTo>
                  <a:lnTo>
                    <a:pt x="16375" y="144855"/>
                  </a:lnTo>
                  <a:cubicBezTo>
                    <a:pt x="6928" y="144855"/>
                    <a:pt x="0" y="137297"/>
                    <a:pt x="0" y="128480"/>
                  </a:cubicBezTo>
                  <a:cubicBezTo>
                    <a:pt x="0" y="119033"/>
                    <a:pt x="7557" y="112105"/>
                    <a:pt x="16375" y="112105"/>
                  </a:cubicBezTo>
                  <a:lnTo>
                    <a:pt x="66759" y="112105"/>
                  </a:lnTo>
                  <a:lnTo>
                    <a:pt x="79985" y="90062"/>
                  </a:lnTo>
                  <a:lnTo>
                    <a:pt x="63610" y="32750"/>
                  </a:lnTo>
                  <a:lnTo>
                    <a:pt x="16375" y="32750"/>
                  </a:lnTo>
                  <a:cubicBezTo>
                    <a:pt x="6928" y="32750"/>
                    <a:pt x="0" y="25192"/>
                    <a:pt x="0" y="16375"/>
                  </a:cubicBezTo>
                  <a:cubicBezTo>
                    <a:pt x="0" y="6928"/>
                    <a:pt x="7557" y="0"/>
                    <a:pt x="16375" y="0"/>
                  </a:cubicBezTo>
                  <a:lnTo>
                    <a:pt x="76206" y="0"/>
                  </a:lnTo>
                  <a:cubicBezTo>
                    <a:pt x="83764" y="0"/>
                    <a:pt x="90062" y="5039"/>
                    <a:pt x="92581" y="11966"/>
                  </a:cubicBezTo>
                  <a:lnTo>
                    <a:pt x="113994" y="88173"/>
                  </a:lnTo>
                  <a:cubicBezTo>
                    <a:pt x="115254" y="92581"/>
                    <a:pt x="114624" y="97620"/>
                    <a:pt x="112105" y="101398"/>
                  </a:cubicBezTo>
                  <a:lnTo>
                    <a:pt x="90692" y="137297"/>
                  </a:lnTo>
                  <a:cubicBezTo>
                    <a:pt x="87543" y="141706"/>
                    <a:pt x="82504" y="144855"/>
                    <a:pt x="76206" y="144855"/>
                  </a:cubicBezTo>
                  <a:lnTo>
                    <a:pt x="76206" y="144855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11" name="Forma Livre: Forma 110">
              <a:extLst>
                <a:ext uri="{FF2B5EF4-FFF2-40B4-BE49-F238E27FC236}">
                  <a16:creationId xmlns:a16="http://schemas.microsoft.com/office/drawing/2014/main" id="{73F19754-365C-43CC-8175-01EDA3CA56C1}"/>
                </a:ext>
              </a:extLst>
            </p:cNvPr>
            <p:cNvSpPr/>
            <p:nvPr/>
          </p:nvSpPr>
          <p:spPr>
            <a:xfrm>
              <a:off x="7511808" y="2686845"/>
              <a:ext cx="210036" cy="297897"/>
            </a:xfrm>
            <a:custGeom>
              <a:avLst/>
              <a:gdLst>
                <a:gd name="connsiteX0" fmla="*/ 104538 w 210036"/>
                <a:gd name="connsiteY0" fmla="*/ 297897 h 297897"/>
                <a:gd name="connsiteX1" fmla="*/ 95091 w 210036"/>
                <a:gd name="connsiteY1" fmla="*/ 294748 h 297897"/>
                <a:gd name="connsiteX2" fmla="*/ 6918 w 210036"/>
                <a:gd name="connsiteY2" fmla="*/ 231138 h 297897"/>
                <a:gd name="connsiteX3" fmla="*/ 620 w 210036"/>
                <a:gd name="connsiteY3" fmla="*/ 214133 h 297897"/>
                <a:gd name="connsiteX4" fmla="*/ 44707 w 210036"/>
                <a:gd name="connsiteY4" fmla="*/ 13226 h 297897"/>
                <a:gd name="connsiteX5" fmla="*/ 61081 w 210036"/>
                <a:gd name="connsiteY5" fmla="*/ 0 h 297897"/>
                <a:gd name="connsiteX6" fmla="*/ 149254 w 210036"/>
                <a:gd name="connsiteY6" fmla="*/ 0 h 297897"/>
                <a:gd name="connsiteX7" fmla="*/ 165629 w 210036"/>
                <a:gd name="connsiteY7" fmla="*/ 13226 h 297897"/>
                <a:gd name="connsiteX8" fmla="*/ 209715 w 210036"/>
                <a:gd name="connsiteY8" fmla="*/ 214133 h 297897"/>
                <a:gd name="connsiteX9" fmla="*/ 203417 w 210036"/>
                <a:gd name="connsiteY9" fmla="*/ 231138 h 297897"/>
                <a:gd name="connsiteX10" fmla="*/ 115244 w 210036"/>
                <a:gd name="connsiteY10" fmla="*/ 294748 h 297897"/>
                <a:gd name="connsiteX11" fmla="*/ 104538 w 210036"/>
                <a:gd name="connsiteY11" fmla="*/ 297897 h 297897"/>
                <a:gd name="connsiteX12" fmla="*/ 104538 w 210036"/>
                <a:gd name="connsiteY12" fmla="*/ 297897 h 297897"/>
                <a:gd name="connsiteX13" fmla="*/ 34630 w 210036"/>
                <a:gd name="connsiteY13" fmla="*/ 210984 h 297897"/>
                <a:gd name="connsiteX14" fmla="*/ 103908 w 210036"/>
                <a:gd name="connsiteY14" fmla="*/ 260739 h 297897"/>
                <a:gd name="connsiteX15" fmla="*/ 173186 w 210036"/>
                <a:gd name="connsiteY15" fmla="*/ 210984 h 297897"/>
                <a:gd name="connsiteX16" fmla="*/ 134139 w 210036"/>
                <a:gd name="connsiteY16" fmla="*/ 34009 h 297897"/>
                <a:gd name="connsiteX17" fmla="*/ 73048 w 210036"/>
                <a:gd name="connsiteY17" fmla="*/ 34009 h 297897"/>
                <a:gd name="connsiteX18" fmla="*/ 34630 w 210036"/>
                <a:gd name="connsiteY18" fmla="*/ 210984 h 297897"/>
                <a:gd name="connsiteX19" fmla="*/ 34630 w 210036"/>
                <a:gd name="connsiteY19" fmla="*/ 210984 h 297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10036" h="297897">
                  <a:moveTo>
                    <a:pt x="104538" y="297897"/>
                  </a:moveTo>
                  <a:cubicBezTo>
                    <a:pt x="101389" y="297897"/>
                    <a:pt x="97610" y="296637"/>
                    <a:pt x="95091" y="294748"/>
                  </a:cubicBezTo>
                  <a:lnTo>
                    <a:pt x="6918" y="231138"/>
                  </a:lnTo>
                  <a:cubicBezTo>
                    <a:pt x="1250" y="227359"/>
                    <a:pt x="-1269" y="220431"/>
                    <a:pt x="620" y="214133"/>
                  </a:cubicBezTo>
                  <a:lnTo>
                    <a:pt x="44707" y="13226"/>
                  </a:lnTo>
                  <a:cubicBezTo>
                    <a:pt x="46596" y="5668"/>
                    <a:pt x="52894" y="0"/>
                    <a:pt x="61081" y="0"/>
                  </a:cubicBezTo>
                  <a:lnTo>
                    <a:pt x="149254" y="0"/>
                  </a:lnTo>
                  <a:cubicBezTo>
                    <a:pt x="156812" y="0"/>
                    <a:pt x="163739" y="5668"/>
                    <a:pt x="165629" y="13226"/>
                  </a:cubicBezTo>
                  <a:lnTo>
                    <a:pt x="209715" y="214133"/>
                  </a:lnTo>
                  <a:cubicBezTo>
                    <a:pt x="210975" y="220431"/>
                    <a:pt x="208456" y="227359"/>
                    <a:pt x="203417" y="231138"/>
                  </a:cubicBezTo>
                  <a:lnTo>
                    <a:pt x="115244" y="294748"/>
                  </a:lnTo>
                  <a:cubicBezTo>
                    <a:pt x="110836" y="296637"/>
                    <a:pt x="107687" y="297897"/>
                    <a:pt x="104538" y="297897"/>
                  </a:cubicBezTo>
                  <a:lnTo>
                    <a:pt x="104538" y="297897"/>
                  </a:lnTo>
                  <a:close/>
                  <a:moveTo>
                    <a:pt x="34630" y="210984"/>
                  </a:moveTo>
                  <a:lnTo>
                    <a:pt x="103908" y="260739"/>
                  </a:lnTo>
                  <a:lnTo>
                    <a:pt x="173186" y="210984"/>
                  </a:lnTo>
                  <a:lnTo>
                    <a:pt x="134139" y="34009"/>
                  </a:lnTo>
                  <a:lnTo>
                    <a:pt x="73048" y="34009"/>
                  </a:lnTo>
                  <a:lnTo>
                    <a:pt x="34630" y="210984"/>
                  </a:lnTo>
                  <a:lnTo>
                    <a:pt x="34630" y="210984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12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1285517" y="5685677"/>
            <a:ext cx="388668" cy="383215"/>
            <a:chOff x="1285517" y="5685677"/>
            <a:chExt cx="388668" cy="383215"/>
          </a:xfrm>
          <a:solidFill>
            <a:srgbClr val="B1B1A1"/>
          </a:solidFill>
        </p:grpSpPr>
        <p:grpSp>
          <p:nvGrpSpPr>
            <p:cNvPr id="113" name="Gráfico 2">
              <a:extLst>
                <a:ext uri="{FF2B5EF4-FFF2-40B4-BE49-F238E27FC236}">
                  <a16:creationId xmlns:a16="http://schemas.microsoft.com/office/drawing/2014/main" id="{A475B8DB-D93F-4DA6-8335-80171E5C5B8D}"/>
                </a:ext>
              </a:extLst>
            </p:cNvPr>
            <p:cNvGrpSpPr/>
            <p:nvPr/>
          </p:nvGrpSpPr>
          <p:grpSpPr>
            <a:xfrm>
              <a:off x="1285517" y="5685677"/>
              <a:ext cx="388668" cy="383215"/>
              <a:chOff x="1285517" y="5685677"/>
              <a:chExt cx="388668" cy="383215"/>
            </a:xfrm>
            <a:grpFill/>
          </p:grpSpPr>
          <p:sp>
            <p:nvSpPr>
              <p:cNvPr id="114" name="Forma Livre: Forma 113">
                <a:extLst>
                  <a:ext uri="{FF2B5EF4-FFF2-40B4-BE49-F238E27FC236}">
                    <a16:creationId xmlns:a16="http://schemas.microsoft.com/office/drawing/2014/main" id="{867BC461-C8E8-4F39-93E8-AE72EA12D127}"/>
                  </a:ext>
                </a:extLst>
              </p:cNvPr>
              <p:cNvSpPr/>
              <p:nvPr/>
            </p:nvSpPr>
            <p:spPr>
              <a:xfrm>
                <a:off x="1285517" y="5720571"/>
                <a:ext cx="110295" cy="110255"/>
              </a:xfrm>
              <a:custGeom>
                <a:avLst/>
                <a:gdLst>
                  <a:gd name="connsiteX0" fmla="*/ 93251 w 110295"/>
                  <a:gd name="connsiteY0" fmla="*/ 110255 h 110255"/>
                  <a:gd name="connsiteX1" fmla="*/ 76876 w 110295"/>
                  <a:gd name="connsiteY1" fmla="*/ 94510 h 110255"/>
                  <a:gd name="connsiteX2" fmla="*/ 73727 w 110295"/>
                  <a:gd name="connsiteY2" fmla="*/ 36568 h 110255"/>
                  <a:gd name="connsiteX3" fmla="*/ 15785 w 110295"/>
                  <a:gd name="connsiteY3" fmla="*/ 33419 h 110255"/>
                  <a:gd name="connsiteX4" fmla="*/ 40 w 110295"/>
                  <a:gd name="connsiteY4" fmla="*/ 15785 h 110255"/>
                  <a:gd name="connsiteX5" fmla="*/ 17674 w 110295"/>
                  <a:gd name="connsiteY5" fmla="*/ 40 h 110255"/>
                  <a:gd name="connsiteX6" fmla="*/ 90731 w 110295"/>
                  <a:gd name="connsiteY6" fmla="*/ 3818 h 110255"/>
                  <a:gd name="connsiteX7" fmla="*/ 106477 w 110295"/>
                  <a:gd name="connsiteY7" fmla="*/ 19564 h 110255"/>
                  <a:gd name="connsiteX8" fmla="*/ 110255 w 110295"/>
                  <a:gd name="connsiteY8" fmla="*/ 92621 h 110255"/>
                  <a:gd name="connsiteX9" fmla="*/ 94510 w 110295"/>
                  <a:gd name="connsiteY9" fmla="*/ 110255 h 110255"/>
                  <a:gd name="connsiteX10" fmla="*/ 93251 w 110295"/>
                  <a:gd name="connsiteY10" fmla="*/ 110255 h 110255"/>
                  <a:gd name="connsiteX11" fmla="*/ 93251 w 110295"/>
                  <a:gd name="connsiteY11" fmla="*/ 110255 h 110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0295" h="110255">
                    <a:moveTo>
                      <a:pt x="93251" y="110255"/>
                    </a:moveTo>
                    <a:cubicBezTo>
                      <a:pt x="84433" y="110255"/>
                      <a:pt x="76876" y="103327"/>
                      <a:pt x="76876" y="94510"/>
                    </a:cubicBezTo>
                    <a:lnTo>
                      <a:pt x="73727" y="36568"/>
                    </a:lnTo>
                    <a:lnTo>
                      <a:pt x="15785" y="33419"/>
                    </a:lnTo>
                    <a:cubicBezTo>
                      <a:pt x="6338" y="32789"/>
                      <a:pt x="-590" y="25232"/>
                      <a:pt x="40" y="15785"/>
                    </a:cubicBezTo>
                    <a:cubicBezTo>
                      <a:pt x="670" y="6338"/>
                      <a:pt x="8227" y="-590"/>
                      <a:pt x="17674" y="40"/>
                    </a:cubicBezTo>
                    <a:lnTo>
                      <a:pt x="90731" y="3818"/>
                    </a:lnTo>
                    <a:cubicBezTo>
                      <a:pt x="99549" y="4448"/>
                      <a:pt x="105847" y="11376"/>
                      <a:pt x="106477" y="19564"/>
                    </a:cubicBezTo>
                    <a:lnTo>
                      <a:pt x="110255" y="92621"/>
                    </a:lnTo>
                    <a:cubicBezTo>
                      <a:pt x="110885" y="102068"/>
                      <a:pt x="103957" y="109625"/>
                      <a:pt x="94510" y="110255"/>
                    </a:cubicBezTo>
                    <a:cubicBezTo>
                      <a:pt x="93881" y="110255"/>
                      <a:pt x="93251" y="110255"/>
                      <a:pt x="93251" y="110255"/>
                    </a:cubicBezTo>
                    <a:lnTo>
                      <a:pt x="93251" y="110255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15" name="Forma Livre: Forma 114">
                <a:extLst>
                  <a:ext uri="{FF2B5EF4-FFF2-40B4-BE49-F238E27FC236}">
                    <a16:creationId xmlns:a16="http://schemas.microsoft.com/office/drawing/2014/main" id="{1525F234-9C6D-44CE-BDDA-1BEEF04885F0}"/>
                  </a:ext>
                </a:extLst>
              </p:cNvPr>
              <p:cNvSpPr/>
              <p:nvPr/>
            </p:nvSpPr>
            <p:spPr>
              <a:xfrm>
                <a:off x="1288076" y="5739820"/>
                <a:ext cx="244097" cy="329072"/>
              </a:xfrm>
              <a:custGeom>
                <a:avLst/>
                <a:gdLst>
                  <a:gd name="connsiteX0" fmla="*/ 189571 w 244097"/>
                  <a:gd name="connsiteY0" fmla="*/ 329073 h 329072"/>
                  <a:gd name="connsiteX1" fmla="*/ 55423 w 244097"/>
                  <a:gd name="connsiteY1" fmla="*/ 273020 h 329072"/>
                  <a:gd name="connsiteX2" fmla="*/ 0 w 244097"/>
                  <a:gd name="connsiteY2" fmla="*/ 138872 h 329072"/>
                  <a:gd name="connsiteX3" fmla="*/ 55423 w 244097"/>
                  <a:gd name="connsiteY3" fmla="*/ 4724 h 329072"/>
                  <a:gd name="connsiteX4" fmla="*/ 78725 w 244097"/>
                  <a:gd name="connsiteY4" fmla="*/ 4724 h 329072"/>
                  <a:gd name="connsiteX5" fmla="*/ 78725 w 244097"/>
                  <a:gd name="connsiteY5" fmla="*/ 28026 h 329072"/>
                  <a:gd name="connsiteX6" fmla="*/ 32750 w 244097"/>
                  <a:gd name="connsiteY6" fmla="*/ 138872 h 329072"/>
                  <a:gd name="connsiteX7" fmla="*/ 78725 w 244097"/>
                  <a:gd name="connsiteY7" fmla="*/ 249717 h 329072"/>
                  <a:gd name="connsiteX8" fmla="*/ 223580 w 244097"/>
                  <a:gd name="connsiteY8" fmla="*/ 291914 h 329072"/>
                  <a:gd name="connsiteX9" fmla="*/ 243734 w 244097"/>
                  <a:gd name="connsiteY9" fmla="*/ 304510 h 329072"/>
                  <a:gd name="connsiteX10" fmla="*/ 231138 w 244097"/>
                  <a:gd name="connsiteY10" fmla="*/ 324664 h 329072"/>
                  <a:gd name="connsiteX11" fmla="*/ 189571 w 244097"/>
                  <a:gd name="connsiteY11" fmla="*/ 329073 h 329072"/>
                  <a:gd name="connsiteX12" fmla="*/ 189571 w 244097"/>
                  <a:gd name="connsiteY12" fmla="*/ 329073 h 329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44097" h="329072">
                    <a:moveTo>
                      <a:pt x="189571" y="329073"/>
                    </a:moveTo>
                    <a:cubicBezTo>
                      <a:pt x="139816" y="329073"/>
                      <a:pt x="91951" y="309548"/>
                      <a:pt x="55423" y="273020"/>
                    </a:cubicBezTo>
                    <a:cubicBezTo>
                      <a:pt x="19524" y="237121"/>
                      <a:pt x="0" y="189256"/>
                      <a:pt x="0" y="138872"/>
                    </a:cubicBezTo>
                    <a:cubicBezTo>
                      <a:pt x="0" y="88487"/>
                      <a:pt x="19524" y="40622"/>
                      <a:pt x="55423" y="4724"/>
                    </a:cubicBezTo>
                    <a:cubicBezTo>
                      <a:pt x="61721" y="-1575"/>
                      <a:pt x="72427" y="-1575"/>
                      <a:pt x="78725" y="4724"/>
                    </a:cubicBezTo>
                    <a:cubicBezTo>
                      <a:pt x="85024" y="11022"/>
                      <a:pt x="85024" y="21728"/>
                      <a:pt x="78725" y="28026"/>
                    </a:cubicBezTo>
                    <a:cubicBezTo>
                      <a:pt x="49125" y="57627"/>
                      <a:pt x="32750" y="96675"/>
                      <a:pt x="32750" y="138872"/>
                    </a:cubicBezTo>
                    <a:cubicBezTo>
                      <a:pt x="32750" y="181069"/>
                      <a:pt x="49125" y="220117"/>
                      <a:pt x="78725" y="249717"/>
                    </a:cubicBezTo>
                    <a:cubicBezTo>
                      <a:pt x="117144" y="288135"/>
                      <a:pt x="171307" y="303250"/>
                      <a:pt x="223580" y="291914"/>
                    </a:cubicBezTo>
                    <a:cubicBezTo>
                      <a:pt x="232398" y="290025"/>
                      <a:pt x="241215" y="295693"/>
                      <a:pt x="243734" y="304510"/>
                    </a:cubicBezTo>
                    <a:cubicBezTo>
                      <a:pt x="245623" y="313327"/>
                      <a:pt x="239955" y="322144"/>
                      <a:pt x="231138" y="324664"/>
                    </a:cubicBezTo>
                    <a:cubicBezTo>
                      <a:pt x="217282" y="327813"/>
                      <a:pt x="203427" y="329073"/>
                      <a:pt x="189571" y="329073"/>
                    </a:cubicBezTo>
                    <a:lnTo>
                      <a:pt x="189571" y="329073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16" name="Forma Livre: Forma 115">
                <a:extLst>
                  <a:ext uri="{FF2B5EF4-FFF2-40B4-BE49-F238E27FC236}">
                    <a16:creationId xmlns:a16="http://schemas.microsoft.com/office/drawing/2014/main" id="{F51BB8BC-18F1-4B8E-B2C6-DF77F581FBD5}"/>
                  </a:ext>
                </a:extLst>
              </p:cNvPr>
              <p:cNvSpPr/>
              <p:nvPr/>
            </p:nvSpPr>
            <p:spPr>
              <a:xfrm>
                <a:off x="1425010" y="5685677"/>
                <a:ext cx="244412" cy="329681"/>
              </a:xfrm>
              <a:custGeom>
                <a:avLst/>
                <a:gdLst>
                  <a:gd name="connsiteX0" fmla="*/ 177338 w 244412"/>
                  <a:gd name="connsiteY0" fmla="*/ 329682 h 329681"/>
                  <a:gd name="connsiteX1" fmla="*/ 165372 w 244412"/>
                  <a:gd name="connsiteY1" fmla="*/ 324644 h 329681"/>
                  <a:gd name="connsiteX2" fmla="*/ 165372 w 244412"/>
                  <a:gd name="connsiteY2" fmla="*/ 301341 h 329681"/>
                  <a:gd name="connsiteX3" fmla="*/ 165372 w 244412"/>
                  <a:gd name="connsiteY3" fmla="*/ 79650 h 329681"/>
                  <a:gd name="connsiteX4" fmla="*/ 20517 w 244412"/>
                  <a:gd name="connsiteY4" fmla="*/ 37453 h 329681"/>
                  <a:gd name="connsiteX5" fmla="*/ 363 w 244412"/>
                  <a:gd name="connsiteY5" fmla="*/ 24857 h 329681"/>
                  <a:gd name="connsiteX6" fmla="*/ 12959 w 244412"/>
                  <a:gd name="connsiteY6" fmla="*/ 4703 h 329681"/>
                  <a:gd name="connsiteX7" fmla="*/ 188675 w 244412"/>
                  <a:gd name="connsiteY7" fmla="*/ 55717 h 329681"/>
                  <a:gd name="connsiteX8" fmla="*/ 188675 w 244412"/>
                  <a:gd name="connsiteY8" fmla="*/ 324644 h 329681"/>
                  <a:gd name="connsiteX9" fmla="*/ 177338 w 244412"/>
                  <a:gd name="connsiteY9" fmla="*/ 329682 h 329681"/>
                  <a:gd name="connsiteX10" fmla="*/ 177338 w 244412"/>
                  <a:gd name="connsiteY10" fmla="*/ 329682 h 3296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44412" h="329681">
                    <a:moveTo>
                      <a:pt x="177338" y="329682"/>
                    </a:moveTo>
                    <a:cubicBezTo>
                      <a:pt x="172930" y="329682"/>
                      <a:pt x="168521" y="327793"/>
                      <a:pt x="165372" y="324644"/>
                    </a:cubicBezTo>
                    <a:cubicBezTo>
                      <a:pt x="159074" y="318346"/>
                      <a:pt x="159074" y="307639"/>
                      <a:pt x="165372" y="301341"/>
                    </a:cubicBezTo>
                    <a:cubicBezTo>
                      <a:pt x="226463" y="240250"/>
                      <a:pt x="226463" y="140741"/>
                      <a:pt x="165372" y="79650"/>
                    </a:cubicBezTo>
                    <a:cubicBezTo>
                      <a:pt x="127584" y="41862"/>
                      <a:pt x="73421" y="25487"/>
                      <a:pt x="20517" y="37453"/>
                    </a:cubicBezTo>
                    <a:cubicBezTo>
                      <a:pt x="11700" y="39342"/>
                      <a:pt x="2883" y="33674"/>
                      <a:pt x="363" y="24857"/>
                    </a:cubicBezTo>
                    <a:cubicBezTo>
                      <a:pt x="-1526" y="16040"/>
                      <a:pt x="4142" y="7222"/>
                      <a:pt x="12959" y="4703"/>
                    </a:cubicBezTo>
                    <a:cubicBezTo>
                      <a:pt x="76570" y="-9782"/>
                      <a:pt x="142699" y="9742"/>
                      <a:pt x="188675" y="55717"/>
                    </a:cubicBezTo>
                    <a:cubicBezTo>
                      <a:pt x="262992" y="130034"/>
                      <a:pt x="262992" y="250326"/>
                      <a:pt x="188675" y="324644"/>
                    </a:cubicBezTo>
                    <a:cubicBezTo>
                      <a:pt x="186156" y="327793"/>
                      <a:pt x="181747" y="329682"/>
                      <a:pt x="177338" y="329682"/>
                    </a:cubicBezTo>
                    <a:lnTo>
                      <a:pt x="177338" y="329682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17" name="Forma Livre: Forma 116">
                <a:extLst>
                  <a:ext uri="{FF2B5EF4-FFF2-40B4-BE49-F238E27FC236}">
                    <a16:creationId xmlns:a16="http://schemas.microsoft.com/office/drawing/2014/main" id="{3CDFBFF8-1DC6-44D5-AE11-6D1134D18E3A}"/>
                  </a:ext>
                </a:extLst>
              </p:cNvPr>
              <p:cNvSpPr/>
              <p:nvPr/>
            </p:nvSpPr>
            <p:spPr>
              <a:xfrm>
                <a:off x="1563891" y="5925257"/>
                <a:ext cx="110295" cy="110255"/>
              </a:xfrm>
              <a:custGeom>
                <a:avLst/>
                <a:gdLst>
                  <a:gd name="connsiteX0" fmla="*/ 93880 w 110295"/>
                  <a:gd name="connsiteY0" fmla="*/ 110255 h 110255"/>
                  <a:gd name="connsiteX1" fmla="*/ 93251 w 110295"/>
                  <a:gd name="connsiteY1" fmla="*/ 110255 h 110255"/>
                  <a:gd name="connsiteX2" fmla="*/ 19564 w 110295"/>
                  <a:gd name="connsiteY2" fmla="*/ 106476 h 110255"/>
                  <a:gd name="connsiteX3" fmla="*/ 3819 w 110295"/>
                  <a:gd name="connsiteY3" fmla="*/ 90731 h 110255"/>
                  <a:gd name="connsiteX4" fmla="*/ 40 w 110295"/>
                  <a:gd name="connsiteY4" fmla="*/ 17674 h 110255"/>
                  <a:gd name="connsiteX5" fmla="*/ 15785 w 110295"/>
                  <a:gd name="connsiteY5" fmla="*/ 40 h 110255"/>
                  <a:gd name="connsiteX6" fmla="*/ 33419 w 110295"/>
                  <a:gd name="connsiteY6" fmla="*/ 15785 h 110255"/>
                  <a:gd name="connsiteX7" fmla="*/ 36568 w 110295"/>
                  <a:gd name="connsiteY7" fmla="*/ 73727 h 110255"/>
                  <a:gd name="connsiteX8" fmla="*/ 94510 w 110295"/>
                  <a:gd name="connsiteY8" fmla="*/ 76876 h 110255"/>
                  <a:gd name="connsiteX9" fmla="*/ 110255 w 110295"/>
                  <a:gd name="connsiteY9" fmla="*/ 94510 h 110255"/>
                  <a:gd name="connsiteX10" fmla="*/ 93880 w 110295"/>
                  <a:gd name="connsiteY10" fmla="*/ 110255 h 110255"/>
                  <a:gd name="connsiteX11" fmla="*/ 93880 w 110295"/>
                  <a:gd name="connsiteY11" fmla="*/ 110255 h 110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0295" h="110255">
                    <a:moveTo>
                      <a:pt x="93880" y="110255"/>
                    </a:moveTo>
                    <a:cubicBezTo>
                      <a:pt x="93880" y="110255"/>
                      <a:pt x="93251" y="110255"/>
                      <a:pt x="93251" y="110255"/>
                    </a:cubicBezTo>
                    <a:lnTo>
                      <a:pt x="19564" y="106476"/>
                    </a:lnTo>
                    <a:cubicBezTo>
                      <a:pt x="10746" y="105847"/>
                      <a:pt x="4448" y="98919"/>
                      <a:pt x="3819" y="90731"/>
                    </a:cubicBezTo>
                    <a:lnTo>
                      <a:pt x="40" y="17674"/>
                    </a:lnTo>
                    <a:cubicBezTo>
                      <a:pt x="-590" y="8227"/>
                      <a:pt x="6338" y="669"/>
                      <a:pt x="15785" y="40"/>
                    </a:cubicBezTo>
                    <a:cubicBezTo>
                      <a:pt x="24602" y="-590"/>
                      <a:pt x="32790" y="6338"/>
                      <a:pt x="33419" y="15785"/>
                    </a:cubicBezTo>
                    <a:lnTo>
                      <a:pt x="36568" y="73727"/>
                    </a:lnTo>
                    <a:lnTo>
                      <a:pt x="94510" y="76876"/>
                    </a:lnTo>
                    <a:cubicBezTo>
                      <a:pt x="103957" y="77506"/>
                      <a:pt x="110885" y="85063"/>
                      <a:pt x="110255" y="94510"/>
                    </a:cubicBezTo>
                    <a:cubicBezTo>
                      <a:pt x="109626" y="103957"/>
                      <a:pt x="102698" y="110255"/>
                      <a:pt x="93880" y="110255"/>
                    </a:cubicBezTo>
                    <a:lnTo>
                      <a:pt x="93880" y="110255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118" name="Forma Livre: Forma 117">
              <a:extLst>
                <a:ext uri="{FF2B5EF4-FFF2-40B4-BE49-F238E27FC236}">
                  <a16:creationId xmlns:a16="http://schemas.microsoft.com/office/drawing/2014/main" id="{235250E0-7078-49DC-83F1-D08C4DF0B260}"/>
                </a:ext>
              </a:extLst>
            </p:cNvPr>
            <p:cNvSpPr/>
            <p:nvPr/>
          </p:nvSpPr>
          <p:spPr>
            <a:xfrm>
              <a:off x="1413407" y="5753990"/>
              <a:ext cx="132888" cy="261998"/>
            </a:xfrm>
            <a:custGeom>
              <a:avLst/>
              <a:gdLst>
                <a:gd name="connsiteX0" fmla="*/ 74317 w 132888"/>
                <a:gd name="connsiteY0" fmla="*/ 11336 h 261998"/>
                <a:gd name="connsiteX1" fmla="*/ 74317 w 132888"/>
                <a:gd name="connsiteY1" fmla="*/ 25192 h 261998"/>
                <a:gd name="connsiteX2" fmla="*/ 97620 w 132888"/>
                <a:gd name="connsiteY2" fmla="*/ 30860 h 261998"/>
                <a:gd name="connsiteX3" fmla="*/ 114624 w 132888"/>
                <a:gd name="connsiteY3" fmla="*/ 43456 h 261998"/>
                <a:gd name="connsiteX4" fmla="*/ 123442 w 132888"/>
                <a:gd name="connsiteY4" fmla="*/ 56682 h 261998"/>
                <a:gd name="connsiteX5" fmla="*/ 126591 w 132888"/>
                <a:gd name="connsiteY5" fmla="*/ 69278 h 261998"/>
                <a:gd name="connsiteX6" fmla="*/ 122182 w 132888"/>
                <a:gd name="connsiteY6" fmla="*/ 79985 h 261998"/>
                <a:gd name="connsiteX7" fmla="*/ 110845 w 132888"/>
                <a:gd name="connsiteY7" fmla="*/ 84393 h 261998"/>
                <a:gd name="connsiteX8" fmla="*/ 94471 w 132888"/>
                <a:gd name="connsiteY8" fmla="*/ 71168 h 261998"/>
                <a:gd name="connsiteX9" fmla="*/ 74317 w 132888"/>
                <a:gd name="connsiteY9" fmla="*/ 50384 h 261998"/>
                <a:gd name="connsiteX10" fmla="*/ 74317 w 132888"/>
                <a:gd name="connsiteY10" fmla="*/ 103288 h 261998"/>
                <a:gd name="connsiteX11" fmla="*/ 99509 w 132888"/>
                <a:gd name="connsiteY11" fmla="*/ 110845 h 261998"/>
                <a:gd name="connsiteX12" fmla="*/ 116514 w 132888"/>
                <a:gd name="connsiteY12" fmla="*/ 120922 h 261998"/>
                <a:gd name="connsiteX13" fmla="*/ 128480 w 132888"/>
                <a:gd name="connsiteY13" fmla="*/ 137927 h 261998"/>
                <a:gd name="connsiteX14" fmla="*/ 132889 w 132888"/>
                <a:gd name="connsiteY14" fmla="*/ 159340 h 261998"/>
                <a:gd name="connsiteX15" fmla="*/ 125961 w 132888"/>
                <a:gd name="connsiteY15" fmla="*/ 186422 h 261998"/>
                <a:gd name="connsiteX16" fmla="*/ 105807 w 132888"/>
                <a:gd name="connsiteY16" fmla="*/ 207205 h 261998"/>
                <a:gd name="connsiteX17" fmla="*/ 74317 w 132888"/>
                <a:gd name="connsiteY17" fmla="*/ 216652 h 261998"/>
                <a:gd name="connsiteX18" fmla="*/ 74317 w 132888"/>
                <a:gd name="connsiteY18" fmla="*/ 248142 h 261998"/>
                <a:gd name="connsiteX19" fmla="*/ 73057 w 132888"/>
                <a:gd name="connsiteY19" fmla="*/ 258849 h 261998"/>
                <a:gd name="connsiteX20" fmla="*/ 66759 w 132888"/>
                <a:gd name="connsiteY20" fmla="*/ 261998 h 261998"/>
                <a:gd name="connsiteX21" fmla="*/ 60461 w 132888"/>
                <a:gd name="connsiteY21" fmla="*/ 259479 h 261998"/>
                <a:gd name="connsiteX22" fmla="*/ 58572 w 132888"/>
                <a:gd name="connsiteY22" fmla="*/ 250662 h 261998"/>
                <a:gd name="connsiteX23" fmla="*/ 58572 w 132888"/>
                <a:gd name="connsiteY23" fmla="*/ 216652 h 261998"/>
                <a:gd name="connsiteX24" fmla="*/ 32750 w 132888"/>
                <a:gd name="connsiteY24" fmla="*/ 209725 h 261998"/>
                <a:gd name="connsiteX25" fmla="*/ 14485 w 132888"/>
                <a:gd name="connsiteY25" fmla="*/ 196499 h 261998"/>
                <a:gd name="connsiteX26" fmla="*/ 3779 w 132888"/>
                <a:gd name="connsiteY26" fmla="*/ 180124 h 261998"/>
                <a:gd name="connsiteX27" fmla="*/ 0 w 132888"/>
                <a:gd name="connsiteY27" fmla="*/ 163119 h 261998"/>
                <a:gd name="connsiteX28" fmla="*/ 5038 w 132888"/>
                <a:gd name="connsiteY28" fmla="*/ 152413 h 261998"/>
                <a:gd name="connsiteX29" fmla="*/ 17005 w 132888"/>
                <a:gd name="connsiteY29" fmla="*/ 147374 h 261998"/>
                <a:gd name="connsiteX30" fmla="*/ 26452 w 132888"/>
                <a:gd name="connsiteY30" fmla="*/ 149893 h 261998"/>
                <a:gd name="connsiteX31" fmla="*/ 32120 w 132888"/>
                <a:gd name="connsiteY31" fmla="*/ 157451 h 261998"/>
                <a:gd name="connsiteX32" fmla="*/ 37788 w 132888"/>
                <a:gd name="connsiteY32" fmla="*/ 173196 h 261998"/>
                <a:gd name="connsiteX33" fmla="*/ 45346 w 132888"/>
                <a:gd name="connsiteY33" fmla="*/ 183273 h 261998"/>
                <a:gd name="connsiteX34" fmla="*/ 59202 w 132888"/>
                <a:gd name="connsiteY34" fmla="*/ 190201 h 261998"/>
                <a:gd name="connsiteX35" fmla="*/ 59202 w 132888"/>
                <a:gd name="connsiteY35" fmla="*/ 130999 h 261998"/>
                <a:gd name="connsiteX36" fmla="*/ 30860 w 132888"/>
                <a:gd name="connsiteY36" fmla="*/ 120292 h 261998"/>
                <a:gd name="connsiteX37" fmla="*/ 12596 w 132888"/>
                <a:gd name="connsiteY37" fmla="*/ 103918 h 261998"/>
                <a:gd name="connsiteX38" fmla="*/ 5668 w 132888"/>
                <a:gd name="connsiteY38" fmla="*/ 76206 h 261998"/>
                <a:gd name="connsiteX39" fmla="*/ 19524 w 132888"/>
                <a:gd name="connsiteY39" fmla="*/ 40307 h 261998"/>
                <a:gd name="connsiteX40" fmla="*/ 59831 w 132888"/>
                <a:gd name="connsiteY40" fmla="*/ 23932 h 261998"/>
                <a:gd name="connsiteX41" fmla="*/ 59831 w 132888"/>
                <a:gd name="connsiteY41" fmla="*/ 10707 h 261998"/>
                <a:gd name="connsiteX42" fmla="*/ 68019 w 132888"/>
                <a:gd name="connsiteY42" fmla="*/ 0 h 261998"/>
                <a:gd name="connsiteX43" fmla="*/ 74317 w 132888"/>
                <a:gd name="connsiteY43" fmla="*/ 11336 h 261998"/>
                <a:gd name="connsiteX44" fmla="*/ 58572 w 132888"/>
                <a:gd name="connsiteY44" fmla="*/ 98879 h 261998"/>
                <a:gd name="connsiteX45" fmla="*/ 58572 w 132888"/>
                <a:gd name="connsiteY45" fmla="*/ 50384 h 261998"/>
                <a:gd name="connsiteX46" fmla="*/ 42197 w 132888"/>
                <a:gd name="connsiteY46" fmla="*/ 58572 h 261998"/>
                <a:gd name="connsiteX47" fmla="*/ 36529 w 132888"/>
                <a:gd name="connsiteY47" fmla="*/ 74317 h 261998"/>
                <a:gd name="connsiteX48" fmla="*/ 42197 w 132888"/>
                <a:gd name="connsiteY48" fmla="*/ 89432 h 261998"/>
                <a:gd name="connsiteX49" fmla="*/ 58572 w 132888"/>
                <a:gd name="connsiteY49" fmla="*/ 98879 h 261998"/>
                <a:gd name="connsiteX50" fmla="*/ 74317 w 132888"/>
                <a:gd name="connsiteY50" fmla="*/ 136037 h 261998"/>
                <a:gd name="connsiteX51" fmla="*/ 74317 w 132888"/>
                <a:gd name="connsiteY51" fmla="*/ 191460 h 261998"/>
                <a:gd name="connsiteX52" fmla="*/ 94471 w 132888"/>
                <a:gd name="connsiteY52" fmla="*/ 181383 h 261998"/>
                <a:gd name="connsiteX53" fmla="*/ 101398 w 132888"/>
                <a:gd name="connsiteY53" fmla="*/ 163119 h 261998"/>
                <a:gd name="connsiteX54" fmla="*/ 94471 w 132888"/>
                <a:gd name="connsiteY54" fmla="*/ 146115 h 261998"/>
                <a:gd name="connsiteX55" fmla="*/ 74317 w 132888"/>
                <a:gd name="connsiteY55" fmla="*/ 136037 h 261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132888" h="261998">
                  <a:moveTo>
                    <a:pt x="74317" y="11336"/>
                  </a:moveTo>
                  <a:lnTo>
                    <a:pt x="74317" y="25192"/>
                  </a:lnTo>
                  <a:cubicBezTo>
                    <a:pt x="83134" y="25822"/>
                    <a:pt x="91322" y="27711"/>
                    <a:pt x="97620" y="30860"/>
                  </a:cubicBezTo>
                  <a:cubicBezTo>
                    <a:pt x="103918" y="33380"/>
                    <a:pt x="109586" y="37788"/>
                    <a:pt x="114624" y="43456"/>
                  </a:cubicBezTo>
                  <a:cubicBezTo>
                    <a:pt x="118403" y="47865"/>
                    <a:pt x="121552" y="52274"/>
                    <a:pt x="123442" y="56682"/>
                  </a:cubicBezTo>
                  <a:cubicBezTo>
                    <a:pt x="125331" y="61091"/>
                    <a:pt x="126591" y="65499"/>
                    <a:pt x="126591" y="69278"/>
                  </a:cubicBezTo>
                  <a:cubicBezTo>
                    <a:pt x="126591" y="73687"/>
                    <a:pt x="124701" y="77466"/>
                    <a:pt x="122182" y="79985"/>
                  </a:cubicBezTo>
                  <a:cubicBezTo>
                    <a:pt x="119033" y="83134"/>
                    <a:pt x="115254" y="84393"/>
                    <a:pt x="110845" y="84393"/>
                  </a:cubicBezTo>
                  <a:cubicBezTo>
                    <a:pt x="102658" y="84393"/>
                    <a:pt x="96990" y="79985"/>
                    <a:pt x="94471" y="71168"/>
                  </a:cubicBezTo>
                  <a:cubicBezTo>
                    <a:pt x="91951" y="60461"/>
                    <a:pt x="85024" y="53533"/>
                    <a:pt x="74317" y="50384"/>
                  </a:cubicBezTo>
                  <a:lnTo>
                    <a:pt x="74317" y="103288"/>
                  </a:lnTo>
                  <a:cubicBezTo>
                    <a:pt x="85024" y="106437"/>
                    <a:pt x="93211" y="108956"/>
                    <a:pt x="99509" y="110845"/>
                  </a:cubicBezTo>
                  <a:cubicBezTo>
                    <a:pt x="105807" y="113365"/>
                    <a:pt x="111475" y="116514"/>
                    <a:pt x="116514" y="120922"/>
                  </a:cubicBezTo>
                  <a:cubicBezTo>
                    <a:pt x="121552" y="125331"/>
                    <a:pt x="125961" y="130999"/>
                    <a:pt x="128480" y="137927"/>
                  </a:cubicBezTo>
                  <a:cubicBezTo>
                    <a:pt x="131629" y="144225"/>
                    <a:pt x="132889" y="151783"/>
                    <a:pt x="132889" y="159340"/>
                  </a:cubicBezTo>
                  <a:cubicBezTo>
                    <a:pt x="132889" y="168787"/>
                    <a:pt x="130369" y="178234"/>
                    <a:pt x="125961" y="186422"/>
                  </a:cubicBezTo>
                  <a:cubicBezTo>
                    <a:pt x="121552" y="194609"/>
                    <a:pt x="114624" y="201537"/>
                    <a:pt x="105807" y="207205"/>
                  </a:cubicBezTo>
                  <a:cubicBezTo>
                    <a:pt x="96990" y="212244"/>
                    <a:pt x="86283" y="216023"/>
                    <a:pt x="74317" y="216652"/>
                  </a:cubicBezTo>
                  <a:lnTo>
                    <a:pt x="74317" y="248142"/>
                  </a:lnTo>
                  <a:cubicBezTo>
                    <a:pt x="74317" y="253181"/>
                    <a:pt x="73687" y="256960"/>
                    <a:pt x="73057" y="258849"/>
                  </a:cubicBezTo>
                  <a:cubicBezTo>
                    <a:pt x="71798" y="261369"/>
                    <a:pt x="69908" y="261998"/>
                    <a:pt x="66759" y="261998"/>
                  </a:cubicBezTo>
                  <a:cubicBezTo>
                    <a:pt x="63610" y="261998"/>
                    <a:pt x="61721" y="261369"/>
                    <a:pt x="60461" y="259479"/>
                  </a:cubicBezTo>
                  <a:cubicBezTo>
                    <a:pt x="59202" y="257590"/>
                    <a:pt x="58572" y="254441"/>
                    <a:pt x="58572" y="250662"/>
                  </a:cubicBezTo>
                  <a:lnTo>
                    <a:pt x="58572" y="216652"/>
                  </a:lnTo>
                  <a:cubicBezTo>
                    <a:pt x="48495" y="215393"/>
                    <a:pt x="40307" y="213503"/>
                    <a:pt x="32750" y="209725"/>
                  </a:cubicBezTo>
                  <a:cubicBezTo>
                    <a:pt x="25192" y="205946"/>
                    <a:pt x="19524" y="201537"/>
                    <a:pt x="14485" y="196499"/>
                  </a:cubicBezTo>
                  <a:cubicBezTo>
                    <a:pt x="9447" y="191460"/>
                    <a:pt x="5668" y="185792"/>
                    <a:pt x="3779" y="180124"/>
                  </a:cubicBezTo>
                  <a:cubicBezTo>
                    <a:pt x="1260" y="174456"/>
                    <a:pt x="0" y="168787"/>
                    <a:pt x="0" y="163119"/>
                  </a:cubicBezTo>
                  <a:cubicBezTo>
                    <a:pt x="0" y="159340"/>
                    <a:pt x="1260" y="155562"/>
                    <a:pt x="5038" y="152413"/>
                  </a:cubicBezTo>
                  <a:cubicBezTo>
                    <a:pt x="8187" y="149264"/>
                    <a:pt x="11966" y="147374"/>
                    <a:pt x="17005" y="147374"/>
                  </a:cubicBezTo>
                  <a:cubicBezTo>
                    <a:pt x="20784" y="147374"/>
                    <a:pt x="23933" y="148004"/>
                    <a:pt x="26452" y="149893"/>
                  </a:cubicBezTo>
                  <a:cubicBezTo>
                    <a:pt x="28971" y="151783"/>
                    <a:pt x="30860" y="154302"/>
                    <a:pt x="32120" y="157451"/>
                  </a:cubicBezTo>
                  <a:cubicBezTo>
                    <a:pt x="34639" y="164379"/>
                    <a:pt x="36529" y="169417"/>
                    <a:pt x="37788" y="173196"/>
                  </a:cubicBezTo>
                  <a:cubicBezTo>
                    <a:pt x="39678" y="176975"/>
                    <a:pt x="42197" y="180124"/>
                    <a:pt x="45346" y="183273"/>
                  </a:cubicBezTo>
                  <a:cubicBezTo>
                    <a:pt x="48495" y="186422"/>
                    <a:pt x="53533" y="188941"/>
                    <a:pt x="59202" y="190201"/>
                  </a:cubicBezTo>
                  <a:lnTo>
                    <a:pt x="59202" y="130999"/>
                  </a:lnTo>
                  <a:cubicBezTo>
                    <a:pt x="47865" y="127850"/>
                    <a:pt x="38418" y="124071"/>
                    <a:pt x="30860" y="120292"/>
                  </a:cubicBezTo>
                  <a:cubicBezTo>
                    <a:pt x="23303" y="116514"/>
                    <a:pt x="17005" y="110845"/>
                    <a:pt x="12596" y="103918"/>
                  </a:cubicBezTo>
                  <a:cubicBezTo>
                    <a:pt x="7558" y="96990"/>
                    <a:pt x="5668" y="87543"/>
                    <a:pt x="5668" y="76206"/>
                  </a:cubicBezTo>
                  <a:cubicBezTo>
                    <a:pt x="5668" y="61721"/>
                    <a:pt x="10077" y="49754"/>
                    <a:pt x="19524" y="40307"/>
                  </a:cubicBezTo>
                  <a:cubicBezTo>
                    <a:pt x="28971" y="30860"/>
                    <a:pt x="42197" y="25822"/>
                    <a:pt x="59831" y="23932"/>
                  </a:cubicBezTo>
                  <a:lnTo>
                    <a:pt x="59831" y="10707"/>
                  </a:lnTo>
                  <a:cubicBezTo>
                    <a:pt x="59831" y="3779"/>
                    <a:pt x="62351" y="0"/>
                    <a:pt x="68019" y="0"/>
                  </a:cubicBezTo>
                  <a:cubicBezTo>
                    <a:pt x="71798" y="1260"/>
                    <a:pt x="74317" y="4409"/>
                    <a:pt x="74317" y="11336"/>
                  </a:cubicBezTo>
                  <a:close/>
                  <a:moveTo>
                    <a:pt x="58572" y="98879"/>
                  </a:moveTo>
                  <a:lnTo>
                    <a:pt x="58572" y="50384"/>
                  </a:lnTo>
                  <a:cubicBezTo>
                    <a:pt x="51644" y="52274"/>
                    <a:pt x="45976" y="55423"/>
                    <a:pt x="42197" y="58572"/>
                  </a:cubicBezTo>
                  <a:cubicBezTo>
                    <a:pt x="38418" y="62350"/>
                    <a:pt x="36529" y="67389"/>
                    <a:pt x="36529" y="74317"/>
                  </a:cubicBezTo>
                  <a:cubicBezTo>
                    <a:pt x="36529" y="81244"/>
                    <a:pt x="38418" y="86283"/>
                    <a:pt x="42197" y="89432"/>
                  </a:cubicBezTo>
                  <a:cubicBezTo>
                    <a:pt x="45346" y="92581"/>
                    <a:pt x="51014" y="95730"/>
                    <a:pt x="58572" y="98879"/>
                  </a:cubicBezTo>
                  <a:close/>
                  <a:moveTo>
                    <a:pt x="74317" y="136037"/>
                  </a:moveTo>
                  <a:lnTo>
                    <a:pt x="74317" y="191460"/>
                  </a:lnTo>
                  <a:cubicBezTo>
                    <a:pt x="83134" y="189571"/>
                    <a:pt x="89432" y="186422"/>
                    <a:pt x="94471" y="181383"/>
                  </a:cubicBezTo>
                  <a:cubicBezTo>
                    <a:pt x="98879" y="176345"/>
                    <a:pt x="101398" y="170047"/>
                    <a:pt x="101398" y="163119"/>
                  </a:cubicBezTo>
                  <a:cubicBezTo>
                    <a:pt x="101398" y="155562"/>
                    <a:pt x="98879" y="149893"/>
                    <a:pt x="94471" y="146115"/>
                  </a:cubicBezTo>
                  <a:cubicBezTo>
                    <a:pt x="90062" y="142336"/>
                    <a:pt x="83134" y="139187"/>
                    <a:pt x="74317" y="136037"/>
                  </a:cubicBez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19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2261807" y="5685971"/>
            <a:ext cx="484842" cy="383550"/>
            <a:chOff x="2261807" y="5685971"/>
            <a:chExt cx="484842" cy="383550"/>
          </a:xfrm>
          <a:solidFill>
            <a:srgbClr val="B1B1A1"/>
          </a:solidFill>
        </p:grpSpPr>
        <p:sp>
          <p:nvSpPr>
            <p:cNvPr id="120" name="Forma Livre: Forma 119">
              <a:extLst>
                <a:ext uri="{FF2B5EF4-FFF2-40B4-BE49-F238E27FC236}">
                  <a16:creationId xmlns:a16="http://schemas.microsoft.com/office/drawing/2014/main" id="{36B5BEAF-FB00-4AFA-AA5E-786E7DC2E851}"/>
                </a:ext>
              </a:extLst>
            </p:cNvPr>
            <p:cNvSpPr/>
            <p:nvPr/>
          </p:nvSpPr>
          <p:spPr>
            <a:xfrm>
              <a:off x="2429911" y="5780442"/>
              <a:ext cx="150523" cy="195868"/>
            </a:xfrm>
            <a:custGeom>
              <a:avLst/>
              <a:gdLst>
                <a:gd name="connsiteX0" fmla="*/ 54793 w 150523"/>
                <a:gd name="connsiteY0" fmla="*/ 121552 h 195868"/>
                <a:gd name="connsiteX1" fmla="*/ 85024 w 150523"/>
                <a:gd name="connsiteY1" fmla="*/ 168787 h 195868"/>
                <a:gd name="connsiteX2" fmla="*/ 102658 w 150523"/>
                <a:gd name="connsiteY2" fmla="*/ 164379 h 195868"/>
                <a:gd name="connsiteX3" fmla="*/ 117773 w 150523"/>
                <a:gd name="connsiteY3" fmla="*/ 142965 h 195868"/>
                <a:gd name="connsiteX4" fmla="*/ 125961 w 150523"/>
                <a:gd name="connsiteY4" fmla="*/ 129110 h 195868"/>
                <a:gd name="connsiteX5" fmla="*/ 133519 w 150523"/>
                <a:gd name="connsiteY5" fmla="*/ 126590 h 195868"/>
                <a:gd name="connsiteX6" fmla="*/ 146115 w 150523"/>
                <a:gd name="connsiteY6" fmla="*/ 130999 h 195868"/>
                <a:gd name="connsiteX7" fmla="*/ 150523 w 150523"/>
                <a:gd name="connsiteY7" fmla="*/ 143595 h 195868"/>
                <a:gd name="connsiteX8" fmla="*/ 131629 w 150523"/>
                <a:gd name="connsiteY8" fmla="*/ 179494 h 195868"/>
                <a:gd name="connsiteX9" fmla="*/ 85653 w 150523"/>
                <a:gd name="connsiteY9" fmla="*/ 195869 h 195868"/>
                <a:gd name="connsiteX10" fmla="*/ 41567 w 150523"/>
                <a:gd name="connsiteY10" fmla="*/ 177604 h 195868"/>
                <a:gd name="connsiteX11" fmla="*/ 18894 w 150523"/>
                <a:gd name="connsiteY11" fmla="*/ 122182 h 195868"/>
                <a:gd name="connsiteX12" fmla="*/ 2519 w 150523"/>
                <a:gd name="connsiteY12" fmla="*/ 122182 h 195868"/>
                <a:gd name="connsiteX13" fmla="*/ 0 w 150523"/>
                <a:gd name="connsiteY13" fmla="*/ 119033 h 195868"/>
                <a:gd name="connsiteX14" fmla="*/ 2519 w 150523"/>
                <a:gd name="connsiteY14" fmla="*/ 110845 h 195868"/>
                <a:gd name="connsiteX15" fmla="*/ 6928 w 150523"/>
                <a:gd name="connsiteY15" fmla="*/ 105807 h 195868"/>
                <a:gd name="connsiteX16" fmla="*/ 18264 w 150523"/>
                <a:gd name="connsiteY16" fmla="*/ 105807 h 195868"/>
                <a:gd name="connsiteX17" fmla="*/ 18264 w 150523"/>
                <a:gd name="connsiteY17" fmla="*/ 100769 h 195868"/>
                <a:gd name="connsiteX18" fmla="*/ 18894 w 150523"/>
                <a:gd name="connsiteY18" fmla="*/ 84393 h 195868"/>
                <a:gd name="connsiteX19" fmla="*/ 2519 w 150523"/>
                <a:gd name="connsiteY19" fmla="*/ 84393 h 195868"/>
                <a:gd name="connsiteX20" fmla="*/ 0 w 150523"/>
                <a:gd name="connsiteY20" fmla="*/ 81244 h 195868"/>
                <a:gd name="connsiteX21" fmla="*/ 2519 w 150523"/>
                <a:gd name="connsiteY21" fmla="*/ 73057 h 195868"/>
                <a:gd name="connsiteX22" fmla="*/ 6928 w 150523"/>
                <a:gd name="connsiteY22" fmla="*/ 68019 h 195868"/>
                <a:gd name="connsiteX23" fmla="*/ 20154 w 150523"/>
                <a:gd name="connsiteY23" fmla="*/ 68019 h 195868"/>
                <a:gd name="connsiteX24" fmla="*/ 84394 w 150523"/>
                <a:gd name="connsiteY24" fmla="*/ 0 h 195868"/>
                <a:gd name="connsiteX25" fmla="*/ 126591 w 150523"/>
                <a:gd name="connsiteY25" fmla="*/ 12596 h 195868"/>
                <a:gd name="connsiteX26" fmla="*/ 144225 w 150523"/>
                <a:gd name="connsiteY26" fmla="*/ 44086 h 195868"/>
                <a:gd name="connsiteX27" fmla="*/ 139817 w 150523"/>
                <a:gd name="connsiteY27" fmla="*/ 54793 h 195868"/>
                <a:gd name="connsiteX28" fmla="*/ 129740 w 150523"/>
                <a:gd name="connsiteY28" fmla="*/ 59201 h 195868"/>
                <a:gd name="connsiteX29" fmla="*/ 119663 w 150523"/>
                <a:gd name="connsiteY29" fmla="*/ 56052 h 195868"/>
                <a:gd name="connsiteX30" fmla="*/ 113365 w 150523"/>
                <a:gd name="connsiteY30" fmla="*/ 45346 h 195868"/>
                <a:gd name="connsiteX31" fmla="*/ 104547 w 150523"/>
                <a:gd name="connsiteY31" fmla="*/ 30860 h 195868"/>
                <a:gd name="connsiteX32" fmla="*/ 86913 w 150523"/>
                <a:gd name="connsiteY32" fmla="*/ 25822 h 195868"/>
                <a:gd name="connsiteX33" fmla="*/ 64870 w 150523"/>
                <a:gd name="connsiteY33" fmla="*/ 35899 h 195868"/>
                <a:gd name="connsiteX34" fmla="*/ 54793 w 150523"/>
                <a:gd name="connsiteY34" fmla="*/ 67389 h 195868"/>
                <a:gd name="connsiteX35" fmla="*/ 96990 w 150523"/>
                <a:gd name="connsiteY35" fmla="*/ 67389 h 195868"/>
                <a:gd name="connsiteX36" fmla="*/ 99509 w 150523"/>
                <a:gd name="connsiteY36" fmla="*/ 70538 h 195868"/>
                <a:gd name="connsiteX37" fmla="*/ 96990 w 150523"/>
                <a:gd name="connsiteY37" fmla="*/ 78725 h 195868"/>
                <a:gd name="connsiteX38" fmla="*/ 92581 w 150523"/>
                <a:gd name="connsiteY38" fmla="*/ 83764 h 195868"/>
                <a:gd name="connsiteX39" fmla="*/ 53533 w 150523"/>
                <a:gd name="connsiteY39" fmla="*/ 83764 h 195868"/>
                <a:gd name="connsiteX40" fmla="*/ 53533 w 150523"/>
                <a:gd name="connsiteY40" fmla="*/ 96360 h 195868"/>
                <a:gd name="connsiteX41" fmla="*/ 53533 w 150523"/>
                <a:gd name="connsiteY41" fmla="*/ 105177 h 195868"/>
                <a:gd name="connsiteX42" fmla="*/ 96990 w 150523"/>
                <a:gd name="connsiteY42" fmla="*/ 105177 h 195868"/>
                <a:gd name="connsiteX43" fmla="*/ 99509 w 150523"/>
                <a:gd name="connsiteY43" fmla="*/ 108326 h 195868"/>
                <a:gd name="connsiteX44" fmla="*/ 96990 w 150523"/>
                <a:gd name="connsiteY44" fmla="*/ 117143 h 195868"/>
                <a:gd name="connsiteX45" fmla="*/ 92581 w 150523"/>
                <a:gd name="connsiteY45" fmla="*/ 122182 h 195868"/>
                <a:gd name="connsiteX46" fmla="*/ 54793 w 150523"/>
                <a:gd name="connsiteY46" fmla="*/ 122182 h 195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50523" h="195868">
                  <a:moveTo>
                    <a:pt x="54793" y="121552"/>
                  </a:moveTo>
                  <a:cubicBezTo>
                    <a:pt x="57942" y="153042"/>
                    <a:pt x="68019" y="168787"/>
                    <a:pt x="85024" y="168787"/>
                  </a:cubicBezTo>
                  <a:cubicBezTo>
                    <a:pt x="91322" y="168787"/>
                    <a:pt x="96990" y="167528"/>
                    <a:pt x="102658" y="164379"/>
                  </a:cubicBezTo>
                  <a:cubicBezTo>
                    <a:pt x="107697" y="161230"/>
                    <a:pt x="112735" y="154302"/>
                    <a:pt x="117773" y="142965"/>
                  </a:cubicBezTo>
                  <a:cubicBezTo>
                    <a:pt x="120922" y="135408"/>
                    <a:pt x="123442" y="130999"/>
                    <a:pt x="125961" y="129110"/>
                  </a:cubicBezTo>
                  <a:cubicBezTo>
                    <a:pt x="128480" y="127220"/>
                    <a:pt x="130369" y="126590"/>
                    <a:pt x="133519" y="126590"/>
                  </a:cubicBezTo>
                  <a:cubicBezTo>
                    <a:pt x="138557" y="126590"/>
                    <a:pt x="142966" y="127850"/>
                    <a:pt x="146115" y="130999"/>
                  </a:cubicBezTo>
                  <a:cubicBezTo>
                    <a:pt x="149264" y="134148"/>
                    <a:pt x="150523" y="138557"/>
                    <a:pt x="150523" y="143595"/>
                  </a:cubicBezTo>
                  <a:cubicBezTo>
                    <a:pt x="150523" y="156191"/>
                    <a:pt x="144225" y="168157"/>
                    <a:pt x="131629" y="179494"/>
                  </a:cubicBezTo>
                  <a:cubicBezTo>
                    <a:pt x="119033" y="190200"/>
                    <a:pt x="103918" y="195869"/>
                    <a:pt x="85653" y="195869"/>
                  </a:cubicBezTo>
                  <a:cubicBezTo>
                    <a:pt x="68649" y="195869"/>
                    <a:pt x="54163" y="189571"/>
                    <a:pt x="41567" y="177604"/>
                  </a:cubicBezTo>
                  <a:cubicBezTo>
                    <a:pt x="28971" y="165638"/>
                    <a:pt x="21413" y="146744"/>
                    <a:pt x="18894" y="122182"/>
                  </a:cubicBezTo>
                  <a:lnTo>
                    <a:pt x="2519" y="122182"/>
                  </a:lnTo>
                  <a:cubicBezTo>
                    <a:pt x="1260" y="122182"/>
                    <a:pt x="0" y="120922"/>
                    <a:pt x="0" y="119033"/>
                  </a:cubicBezTo>
                  <a:cubicBezTo>
                    <a:pt x="0" y="117143"/>
                    <a:pt x="630" y="113994"/>
                    <a:pt x="2519" y="110845"/>
                  </a:cubicBezTo>
                  <a:cubicBezTo>
                    <a:pt x="4409" y="107696"/>
                    <a:pt x="5668" y="105807"/>
                    <a:pt x="6928" y="105807"/>
                  </a:cubicBezTo>
                  <a:lnTo>
                    <a:pt x="18264" y="105807"/>
                  </a:lnTo>
                  <a:lnTo>
                    <a:pt x="18264" y="100769"/>
                  </a:lnTo>
                  <a:cubicBezTo>
                    <a:pt x="18264" y="96990"/>
                    <a:pt x="18264" y="91322"/>
                    <a:pt x="18894" y="84393"/>
                  </a:cubicBezTo>
                  <a:lnTo>
                    <a:pt x="2519" y="84393"/>
                  </a:lnTo>
                  <a:cubicBezTo>
                    <a:pt x="1260" y="84393"/>
                    <a:pt x="0" y="83134"/>
                    <a:pt x="0" y="81244"/>
                  </a:cubicBezTo>
                  <a:cubicBezTo>
                    <a:pt x="0" y="78725"/>
                    <a:pt x="630" y="76206"/>
                    <a:pt x="2519" y="73057"/>
                  </a:cubicBezTo>
                  <a:cubicBezTo>
                    <a:pt x="4409" y="69908"/>
                    <a:pt x="5668" y="68019"/>
                    <a:pt x="6928" y="68019"/>
                  </a:cubicBezTo>
                  <a:lnTo>
                    <a:pt x="20154" y="68019"/>
                  </a:lnTo>
                  <a:cubicBezTo>
                    <a:pt x="25822" y="22673"/>
                    <a:pt x="47235" y="0"/>
                    <a:pt x="84394" y="0"/>
                  </a:cubicBezTo>
                  <a:cubicBezTo>
                    <a:pt x="100769" y="0"/>
                    <a:pt x="115254" y="4408"/>
                    <a:pt x="126591" y="12596"/>
                  </a:cubicBezTo>
                  <a:cubicBezTo>
                    <a:pt x="138557" y="20783"/>
                    <a:pt x="144225" y="31490"/>
                    <a:pt x="144225" y="44086"/>
                  </a:cubicBezTo>
                  <a:cubicBezTo>
                    <a:pt x="144225" y="48495"/>
                    <a:pt x="142966" y="52274"/>
                    <a:pt x="139817" y="54793"/>
                  </a:cubicBezTo>
                  <a:cubicBezTo>
                    <a:pt x="136668" y="57942"/>
                    <a:pt x="133519" y="59201"/>
                    <a:pt x="129740" y="59201"/>
                  </a:cubicBezTo>
                  <a:cubicBezTo>
                    <a:pt x="125331" y="59201"/>
                    <a:pt x="122182" y="57942"/>
                    <a:pt x="119663" y="56052"/>
                  </a:cubicBezTo>
                  <a:cubicBezTo>
                    <a:pt x="117773" y="53533"/>
                    <a:pt x="115884" y="50384"/>
                    <a:pt x="113365" y="45346"/>
                  </a:cubicBezTo>
                  <a:cubicBezTo>
                    <a:pt x="110846" y="39048"/>
                    <a:pt x="107697" y="34639"/>
                    <a:pt x="104547" y="30860"/>
                  </a:cubicBezTo>
                  <a:cubicBezTo>
                    <a:pt x="101398" y="27711"/>
                    <a:pt x="95100" y="25822"/>
                    <a:pt x="86913" y="25822"/>
                  </a:cubicBezTo>
                  <a:cubicBezTo>
                    <a:pt x="77466" y="25822"/>
                    <a:pt x="69908" y="28971"/>
                    <a:pt x="64870" y="35899"/>
                  </a:cubicBezTo>
                  <a:cubicBezTo>
                    <a:pt x="59831" y="42827"/>
                    <a:pt x="56053" y="52903"/>
                    <a:pt x="54793" y="67389"/>
                  </a:cubicBezTo>
                  <a:lnTo>
                    <a:pt x="96990" y="67389"/>
                  </a:lnTo>
                  <a:cubicBezTo>
                    <a:pt x="98879" y="67389"/>
                    <a:pt x="99509" y="68648"/>
                    <a:pt x="99509" y="70538"/>
                  </a:cubicBezTo>
                  <a:cubicBezTo>
                    <a:pt x="99509" y="73057"/>
                    <a:pt x="98879" y="75576"/>
                    <a:pt x="96990" y="78725"/>
                  </a:cubicBezTo>
                  <a:cubicBezTo>
                    <a:pt x="95100" y="81875"/>
                    <a:pt x="93841" y="83764"/>
                    <a:pt x="92581" y="83764"/>
                  </a:cubicBezTo>
                  <a:lnTo>
                    <a:pt x="53533" y="83764"/>
                  </a:lnTo>
                  <a:lnTo>
                    <a:pt x="53533" y="96360"/>
                  </a:lnTo>
                  <a:cubicBezTo>
                    <a:pt x="53533" y="100139"/>
                    <a:pt x="53533" y="103288"/>
                    <a:pt x="53533" y="105177"/>
                  </a:cubicBezTo>
                  <a:lnTo>
                    <a:pt x="96990" y="105177"/>
                  </a:lnTo>
                  <a:cubicBezTo>
                    <a:pt x="98879" y="105177"/>
                    <a:pt x="99509" y="106437"/>
                    <a:pt x="99509" y="108326"/>
                  </a:cubicBezTo>
                  <a:cubicBezTo>
                    <a:pt x="99509" y="110845"/>
                    <a:pt x="98879" y="113994"/>
                    <a:pt x="96990" y="117143"/>
                  </a:cubicBezTo>
                  <a:cubicBezTo>
                    <a:pt x="95100" y="120292"/>
                    <a:pt x="93841" y="122182"/>
                    <a:pt x="92581" y="122182"/>
                  </a:cubicBezTo>
                  <a:lnTo>
                    <a:pt x="54793" y="122182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121" name="Gráfico 2">
              <a:extLst>
                <a:ext uri="{FF2B5EF4-FFF2-40B4-BE49-F238E27FC236}">
                  <a16:creationId xmlns:a16="http://schemas.microsoft.com/office/drawing/2014/main" id="{A475B8DB-D93F-4DA6-8335-80171E5C5B8D}"/>
                </a:ext>
              </a:extLst>
            </p:cNvPr>
            <p:cNvGrpSpPr/>
            <p:nvPr/>
          </p:nvGrpSpPr>
          <p:grpSpPr>
            <a:xfrm>
              <a:off x="2261807" y="5685971"/>
              <a:ext cx="484842" cy="383550"/>
              <a:chOff x="2261807" y="5685971"/>
              <a:chExt cx="484842" cy="383550"/>
            </a:xfrm>
            <a:grpFill/>
          </p:grpSpPr>
          <p:sp>
            <p:nvSpPr>
              <p:cNvPr id="122" name="Forma Livre: Forma 121">
                <a:extLst>
                  <a:ext uri="{FF2B5EF4-FFF2-40B4-BE49-F238E27FC236}">
                    <a16:creationId xmlns:a16="http://schemas.microsoft.com/office/drawing/2014/main" id="{02C0D13D-6EA6-4445-BA8C-4C1041334360}"/>
                  </a:ext>
                </a:extLst>
              </p:cNvPr>
              <p:cNvSpPr/>
              <p:nvPr/>
            </p:nvSpPr>
            <p:spPr>
              <a:xfrm>
                <a:off x="2261807" y="5837911"/>
                <a:ext cx="142228" cy="82346"/>
              </a:xfrm>
              <a:custGeom>
                <a:avLst/>
                <a:gdLst>
                  <a:gd name="connsiteX0" fmla="*/ 125907 w 142228"/>
                  <a:gd name="connsiteY0" fmla="*/ 82347 h 82346"/>
                  <a:gd name="connsiteX1" fmla="*/ 114571 w 142228"/>
                  <a:gd name="connsiteY1" fmla="*/ 77938 h 82346"/>
                  <a:gd name="connsiteX2" fmla="*/ 71114 w 142228"/>
                  <a:gd name="connsiteY2" fmla="*/ 38891 h 82346"/>
                  <a:gd name="connsiteX3" fmla="*/ 27658 w 142228"/>
                  <a:gd name="connsiteY3" fmla="*/ 77938 h 82346"/>
                  <a:gd name="connsiteX4" fmla="*/ 4355 w 142228"/>
                  <a:gd name="connsiteY4" fmla="*/ 76679 h 82346"/>
                  <a:gd name="connsiteX5" fmla="*/ 5615 w 142228"/>
                  <a:gd name="connsiteY5" fmla="*/ 53376 h 82346"/>
                  <a:gd name="connsiteX6" fmla="*/ 60408 w 142228"/>
                  <a:gd name="connsiteY6" fmla="*/ 4251 h 82346"/>
                  <a:gd name="connsiteX7" fmla="*/ 82451 w 142228"/>
                  <a:gd name="connsiteY7" fmla="*/ 4251 h 82346"/>
                  <a:gd name="connsiteX8" fmla="*/ 136614 w 142228"/>
                  <a:gd name="connsiteY8" fmla="*/ 53376 h 82346"/>
                  <a:gd name="connsiteX9" fmla="*/ 137874 w 142228"/>
                  <a:gd name="connsiteY9" fmla="*/ 76679 h 82346"/>
                  <a:gd name="connsiteX10" fmla="*/ 125907 w 142228"/>
                  <a:gd name="connsiteY10" fmla="*/ 82347 h 82346"/>
                  <a:gd name="connsiteX11" fmla="*/ 125907 w 142228"/>
                  <a:gd name="connsiteY11" fmla="*/ 82347 h 82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42228" h="82346">
                    <a:moveTo>
                      <a:pt x="125907" y="82347"/>
                    </a:moveTo>
                    <a:cubicBezTo>
                      <a:pt x="122129" y="82347"/>
                      <a:pt x="117720" y="81087"/>
                      <a:pt x="114571" y="77938"/>
                    </a:cubicBezTo>
                    <a:lnTo>
                      <a:pt x="71114" y="38891"/>
                    </a:lnTo>
                    <a:lnTo>
                      <a:pt x="27658" y="77938"/>
                    </a:lnTo>
                    <a:cubicBezTo>
                      <a:pt x="20730" y="84236"/>
                      <a:pt x="10023" y="83606"/>
                      <a:pt x="4355" y="76679"/>
                    </a:cubicBezTo>
                    <a:cubicBezTo>
                      <a:pt x="-1943" y="69751"/>
                      <a:pt x="-1313" y="59044"/>
                      <a:pt x="5615" y="53376"/>
                    </a:cubicBezTo>
                    <a:lnTo>
                      <a:pt x="60408" y="4251"/>
                    </a:lnTo>
                    <a:cubicBezTo>
                      <a:pt x="66706" y="-1417"/>
                      <a:pt x="76153" y="-1417"/>
                      <a:pt x="82451" y="4251"/>
                    </a:cubicBezTo>
                    <a:lnTo>
                      <a:pt x="136614" y="53376"/>
                    </a:lnTo>
                    <a:cubicBezTo>
                      <a:pt x="143542" y="59674"/>
                      <a:pt x="144172" y="70381"/>
                      <a:pt x="137874" y="76679"/>
                    </a:cubicBezTo>
                    <a:cubicBezTo>
                      <a:pt x="135354" y="80457"/>
                      <a:pt x="130946" y="82347"/>
                      <a:pt x="125907" y="82347"/>
                    </a:cubicBezTo>
                    <a:lnTo>
                      <a:pt x="125907" y="82347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23" name="Forma Livre: Forma 122">
                <a:extLst>
                  <a:ext uri="{FF2B5EF4-FFF2-40B4-BE49-F238E27FC236}">
                    <a16:creationId xmlns:a16="http://schemas.microsoft.com/office/drawing/2014/main" id="{07443DE0-50E7-45E0-8613-757DECEC4334}"/>
                  </a:ext>
                </a:extLst>
              </p:cNvPr>
              <p:cNvSpPr/>
              <p:nvPr/>
            </p:nvSpPr>
            <p:spPr>
              <a:xfrm>
                <a:off x="2314657" y="5863576"/>
                <a:ext cx="352792" cy="205945"/>
              </a:xfrm>
              <a:custGeom>
                <a:avLst/>
                <a:gdLst>
                  <a:gd name="connsiteX0" fmla="*/ 189571 w 352792"/>
                  <a:gd name="connsiteY0" fmla="*/ 205946 h 205945"/>
                  <a:gd name="connsiteX1" fmla="*/ 55423 w 352792"/>
                  <a:gd name="connsiteY1" fmla="*/ 150523 h 205945"/>
                  <a:gd name="connsiteX2" fmla="*/ 0 w 352792"/>
                  <a:gd name="connsiteY2" fmla="*/ 16375 h 205945"/>
                  <a:gd name="connsiteX3" fmla="*/ 16375 w 352792"/>
                  <a:gd name="connsiteY3" fmla="*/ 0 h 205945"/>
                  <a:gd name="connsiteX4" fmla="*/ 16375 w 352792"/>
                  <a:gd name="connsiteY4" fmla="*/ 0 h 205945"/>
                  <a:gd name="connsiteX5" fmla="*/ 32750 w 352792"/>
                  <a:gd name="connsiteY5" fmla="*/ 16375 h 205945"/>
                  <a:gd name="connsiteX6" fmla="*/ 78725 w 352792"/>
                  <a:gd name="connsiteY6" fmla="*/ 127220 h 205945"/>
                  <a:gd name="connsiteX7" fmla="*/ 189571 w 352792"/>
                  <a:gd name="connsiteY7" fmla="*/ 173196 h 205945"/>
                  <a:gd name="connsiteX8" fmla="*/ 321830 w 352792"/>
                  <a:gd name="connsiteY8" fmla="*/ 100769 h 205945"/>
                  <a:gd name="connsiteX9" fmla="*/ 345132 w 352792"/>
                  <a:gd name="connsiteY9" fmla="*/ 95730 h 205945"/>
                  <a:gd name="connsiteX10" fmla="*/ 350171 w 352792"/>
                  <a:gd name="connsiteY10" fmla="*/ 119033 h 205945"/>
                  <a:gd name="connsiteX11" fmla="*/ 189571 w 352792"/>
                  <a:gd name="connsiteY11" fmla="*/ 205946 h 205945"/>
                  <a:gd name="connsiteX12" fmla="*/ 189571 w 352792"/>
                  <a:gd name="connsiteY12" fmla="*/ 205946 h 2059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52792" h="205945">
                    <a:moveTo>
                      <a:pt x="189571" y="205946"/>
                    </a:moveTo>
                    <a:cubicBezTo>
                      <a:pt x="138557" y="205946"/>
                      <a:pt x="91322" y="186422"/>
                      <a:pt x="55423" y="150523"/>
                    </a:cubicBezTo>
                    <a:cubicBezTo>
                      <a:pt x="19524" y="114624"/>
                      <a:pt x="0" y="66759"/>
                      <a:pt x="0" y="16375"/>
                    </a:cubicBezTo>
                    <a:cubicBezTo>
                      <a:pt x="0" y="6928"/>
                      <a:pt x="7558" y="0"/>
                      <a:pt x="16375" y="0"/>
                    </a:cubicBezTo>
                    <a:lnTo>
                      <a:pt x="16375" y="0"/>
                    </a:lnTo>
                    <a:cubicBezTo>
                      <a:pt x="25822" y="0"/>
                      <a:pt x="32750" y="7558"/>
                      <a:pt x="32750" y="16375"/>
                    </a:cubicBezTo>
                    <a:cubicBezTo>
                      <a:pt x="32750" y="57942"/>
                      <a:pt x="49125" y="97620"/>
                      <a:pt x="78725" y="127220"/>
                    </a:cubicBezTo>
                    <a:cubicBezTo>
                      <a:pt x="108326" y="156821"/>
                      <a:pt x="147374" y="173196"/>
                      <a:pt x="189571" y="173196"/>
                    </a:cubicBezTo>
                    <a:cubicBezTo>
                      <a:pt x="243734" y="173196"/>
                      <a:pt x="292859" y="146115"/>
                      <a:pt x="321830" y="100769"/>
                    </a:cubicBezTo>
                    <a:cubicBezTo>
                      <a:pt x="326868" y="93211"/>
                      <a:pt x="336945" y="90692"/>
                      <a:pt x="345132" y="95730"/>
                    </a:cubicBezTo>
                    <a:cubicBezTo>
                      <a:pt x="352690" y="100769"/>
                      <a:pt x="355209" y="110846"/>
                      <a:pt x="350171" y="119033"/>
                    </a:cubicBezTo>
                    <a:cubicBezTo>
                      <a:pt x="314902" y="172566"/>
                      <a:pt x="255071" y="205946"/>
                      <a:pt x="189571" y="205946"/>
                    </a:cubicBezTo>
                    <a:lnTo>
                      <a:pt x="189571" y="205946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24" name="Forma Livre: Forma 123">
                <a:extLst>
                  <a:ext uri="{FF2B5EF4-FFF2-40B4-BE49-F238E27FC236}">
                    <a16:creationId xmlns:a16="http://schemas.microsoft.com/office/drawing/2014/main" id="{2C57C17C-B869-4D48-B843-63DE5D10F6D9}"/>
                  </a:ext>
                </a:extLst>
              </p:cNvPr>
              <p:cNvSpPr/>
              <p:nvPr/>
            </p:nvSpPr>
            <p:spPr>
              <a:xfrm>
                <a:off x="2340377" y="5685971"/>
                <a:ext cx="353422" cy="206575"/>
              </a:xfrm>
              <a:custGeom>
                <a:avLst/>
                <a:gdLst>
                  <a:gd name="connsiteX0" fmla="*/ 336417 w 353422"/>
                  <a:gd name="connsiteY0" fmla="*/ 206576 h 206575"/>
                  <a:gd name="connsiteX1" fmla="*/ 320042 w 353422"/>
                  <a:gd name="connsiteY1" fmla="*/ 190200 h 206575"/>
                  <a:gd name="connsiteX2" fmla="*/ 163221 w 353422"/>
                  <a:gd name="connsiteY2" fmla="*/ 33380 h 206575"/>
                  <a:gd name="connsiteX3" fmla="*/ 30962 w 353422"/>
                  <a:gd name="connsiteY3" fmla="*/ 106437 h 206575"/>
                  <a:gd name="connsiteX4" fmla="*/ 7660 w 353422"/>
                  <a:gd name="connsiteY4" fmla="*/ 111475 h 206575"/>
                  <a:gd name="connsiteX5" fmla="*/ 2621 w 353422"/>
                  <a:gd name="connsiteY5" fmla="*/ 88173 h 206575"/>
                  <a:gd name="connsiteX6" fmla="*/ 163221 w 353422"/>
                  <a:gd name="connsiteY6" fmla="*/ 0 h 206575"/>
                  <a:gd name="connsiteX7" fmla="*/ 353422 w 353422"/>
                  <a:gd name="connsiteY7" fmla="*/ 190200 h 206575"/>
                  <a:gd name="connsiteX8" fmla="*/ 336417 w 353422"/>
                  <a:gd name="connsiteY8" fmla="*/ 206576 h 206575"/>
                  <a:gd name="connsiteX9" fmla="*/ 336417 w 353422"/>
                  <a:gd name="connsiteY9" fmla="*/ 206576 h 206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53422" h="206575">
                    <a:moveTo>
                      <a:pt x="336417" y="206576"/>
                    </a:moveTo>
                    <a:cubicBezTo>
                      <a:pt x="326970" y="206576"/>
                      <a:pt x="320042" y="199018"/>
                      <a:pt x="320042" y="190200"/>
                    </a:cubicBezTo>
                    <a:cubicBezTo>
                      <a:pt x="320042" y="103918"/>
                      <a:pt x="249504" y="33380"/>
                      <a:pt x="163221" y="33380"/>
                    </a:cubicBezTo>
                    <a:cubicBezTo>
                      <a:pt x="109058" y="33380"/>
                      <a:pt x="59933" y="60461"/>
                      <a:pt x="30962" y="106437"/>
                    </a:cubicBezTo>
                    <a:cubicBezTo>
                      <a:pt x="25924" y="113994"/>
                      <a:pt x="15847" y="116514"/>
                      <a:pt x="7660" y="111475"/>
                    </a:cubicBezTo>
                    <a:cubicBezTo>
                      <a:pt x="102" y="106437"/>
                      <a:pt x="-2417" y="96360"/>
                      <a:pt x="2621" y="88173"/>
                    </a:cubicBezTo>
                    <a:cubicBezTo>
                      <a:pt x="37890" y="32749"/>
                      <a:pt x="97722" y="0"/>
                      <a:pt x="163221" y="0"/>
                    </a:cubicBezTo>
                    <a:cubicBezTo>
                      <a:pt x="267769" y="0"/>
                      <a:pt x="353422" y="85024"/>
                      <a:pt x="353422" y="190200"/>
                    </a:cubicBezTo>
                    <a:cubicBezTo>
                      <a:pt x="352792" y="199018"/>
                      <a:pt x="345235" y="206576"/>
                      <a:pt x="336417" y="206576"/>
                    </a:cubicBezTo>
                    <a:lnTo>
                      <a:pt x="336417" y="206576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25" name="Forma Livre: Forma 124">
                <a:extLst>
                  <a:ext uri="{FF2B5EF4-FFF2-40B4-BE49-F238E27FC236}">
                    <a16:creationId xmlns:a16="http://schemas.microsoft.com/office/drawing/2014/main" id="{B2A76E87-2A23-4B35-BC66-A1AEC5E402FB}"/>
                  </a:ext>
                </a:extLst>
              </p:cNvPr>
              <p:cNvSpPr/>
              <p:nvPr/>
            </p:nvSpPr>
            <p:spPr>
              <a:xfrm>
                <a:off x="2604420" y="5834658"/>
                <a:ext cx="142228" cy="82450"/>
              </a:xfrm>
              <a:custGeom>
                <a:avLst/>
                <a:gdLst>
                  <a:gd name="connsiteX0" fmla="*/ 71114 w 142228"/>
                  <a:gd name="connsiteY0" fmla="*/ 82451 h 82450"/>
                  <a:gd name="connsiteX1" fmla="*/ 59778 w 142228"/>
                  <a:gd name="connsiteY1" fmla="*/ 78042 h 82450"/>
                  <a:gd name="connsiteX2" fmla="*/ 5615 w 142228"/>
                  <a:gd name="connsiteY2" fmla="*/ 28917 h 82450"/>
                  <a:gd name="connsiteX3" fmla="*/ 4355 w 142228"/>
                  <a:gd name="connsiteY3" fmla="*/ 5615 h 82450"/>
                  <a:gd name="connsiteX4" fmla="*/ 27658 w 142228"/>
                  <a:gd name="connsiteY4" fmla="*/ 4355 h 82450"/>
                  <a:gd name="connsiteX5" fmla="*/ 71114 w 142228"/>
                  <a:gd name="connsiteY5" fmla="*/ 43403 h 82450"/>
                  <a:gd name="connsiteX6" fmla="*/ 114571 w 142228"/>
                  <a:gd name="connsiteY6" fmla="*/ 4355 h 82450"/>
                  <a:gd name="connsiteX7" fmla="*/ 137874 w 142228"/>
                  <a:gd name="connsiteY7" fmla="*/ 5615 h 82450"/>
                  <a:gd name="connsiteX8" fmla="*/ 136614 w 142228"/>
                  <a:gd name="connsiteY8" fmla="*/ 28917 h 82450"/>
                  <a:gd name="connsiteX9" fmla="*/ 81821 w 142228"/>
                  <a:gd name="connsiteY9" fmla="*/ 78042 h 82450"/>
                  <a:gd name="connsiteX10" fmla="*/ 71114 w 142228"/>
                  <a:gd name="connsiteY10" fmla="*/ 82451 h 82450"/>
                  <a:gd name="connsiteX11" fmla="*/ 71114 w 142228"/>
                  <a:gd name="connsiteY11" fmla="*/ 82451 h 82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42228" h="82450">
                    <a:moveTo>
                      <a:pt x="71114" y="82451"/>
                    </a:moveTo>
                    <a:cubicBezTo>
                      <a:pt x="67336" y="82451"/>
                      <a:pt x="62927" y="81191"/>
                      <a:pt x="59778" y="78042"/>
                    </a:cubicBezTo>
                    <a:lnTo>
                      <a:pt x="5615" y="28917"/>
                    </a:lnTo>
                    <a:cubicBezTo>
                      <a:pt x="-1313" y="22619"/>
                      <a:pt x="-1943" y="11913"/>
                      <a:pt x="4355" y="5615"/>
                    </a:cubicBezTo>
                    <a:cubicBezTo>
                      <a:pt x="10653" y="-1313"/>
                      <a:pt x="21360" y="-1943"/>
                      <a:pt x="27658" y="4355"/>
                    </a:cubicBezTo>
                    <a:lnTo>
                      <a:pt x="71114" y="43403"/>
                    </a:lnTo>
                    <a:lnTo>
                      <a:pt x="114571" y="4355"/>
                    </a:lnTo>
                    <a:cubicBezTo>
                      <a:pt x="121499" y="-1943"/>
                      <a:pt x="132205" y="-1313"/>
                      <a:pt x="137874" y="5615"/>
                    </a:cubicBezTo>
                    <a:cubicBezTo>
                      <a:pt x="144172" y="12543"/>
                      <a:pt x="143542" y="23249"/>
                      <a:pt x="136614" y="28917"/>
                    </a:cubicBezTo>
                    <a:lnTo>
                      <a:pt x="81821" y="78042"/>
                    </a:lnTo>
                    <a:cubicBezTo>
                      <a:pt x="79302" y="80561"/>
                      <a:pt x="75523" y="82451"/>
                      <a:pt x="71114" y="82451"/>
                    </a:cubicBezTo>
                    <a:lnTo>
                      <a:pt x="71114" y="82451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126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4297962" y="5685971"/>
            <a:ext cx="484212" cy="383550"/>
            <a:chOff x="4297962" y="5685971"/>
            <a:chExt cx="484212" cy="383550"/>
          </a:xfrm>
          <a:solidFill>
            <a:srgbClr val="B1B1A1"/>
          </a:solidFill>
        </p:grpSpPr>
        <p:sp>
          <p:nvSpPr>
            <p:cNvPr id="127" name="Forma Livre: Forma 126">
              <a:extLst>
                <a:ext uri="{FF2B5EF4-FFF2-40B4-BE49-F238E27FC236}">
                  <a16:creationId xmlns:a16="http://schemas.microsoft.com/office/drawing/2014/main" id="{45188B4D-F3BF-4413-A950-8F590BF5D294}"/>
                </a:ext>
              </a:extLst>
            </p:cNvPr>
            <p:cNvSpPr/>
            <p:nvPr/>
          </p:nvSpPr>
          <p:spPr>
            <a:xfrm>
              <a:off x="4461028" y="5776663"/>
              <a:ext cx="158080" cy="199647"/>
            </a:xfrm>
            <a:custGeom>
              <a:avLst/>
              <a:gdLst>
                <a:gd name="connsiteX0" fmla="*/ 62981 w 158080"/>
                <a:gd name="connsiteY0" fmla="*/ 88803 h 199647"/>
                <a:gd name="connsiteX1" fmla="*/ 82504 w 158080"/>
                <a:gd name="connsiteY1" fmla="*/ 88803 h 199647"/>
                <a:gd name="connsiteX2" fmla="*/ 98879 w 158080"/>
                <a:gd name="connsiteY2" fmla="*/ 90692 h 199647"/>
                <a:gd name="connsiteX3" fmla="*/ 104547 w 158080"/>
                <a:gd name="connsiteY3" fmla="*/ 100769 h 199647"/>
                <a:gd name="connsiteX4" fmla="*/ 100769 w 158080"/>
                <a:gd name="connsiteY4" fmla="*/ 109586 h 199647"/>
                <a:gd name="connsiteX5" fmla="*/ 90692 w 158080"/>
                <a:gd name="connsiteY5" fmla="*/ 112735 h 199647"/>
                <a:gd name="connsiteX6" fmla="*/ 67389 w 158080"/>
                <a:gd name="connsiteY6" fmla="*/ 112735 h 199647"/>
                <a:gd name="connsiteX7" fmla="*/ 67389 w 158080"/>
                <a:gd name="connsiteY7" fmla="*/ 115254 h 199647"/>
                <a:gd name="connsiteX8" fmla="*/ 61721 w 158080"/>
                <a:gd name="connsiteY8" fmla="*/ 139817 h 199647"/>
                <a:gd name="connsiteX9" fmla="*/ 40937 w 158080"/>
                <a:gd name="connsiteY9" fmla="*/ 167528 h 199647"/>
                <a:gd name="connsiteX10" fmla="*/ 49754 w 158080"/>
                <a:gd name="connsiteY10" fmla="*/ 165638 h 199647"/>
                <a:gd name="connsiteX11" fmla="*/ 59202 w 158080"/>
                <a:gd name="connsiteY11" fmla="*/ 163749 h 199647"/>
                <a:gd name="connsiteX12" fmla="*/ 70538 w 158080"/>
                <a:gd name="connsiteY12" fmla="*/ 163119 h 199647"/>
                <a:gd name="connsiteX13" fmla="*/ 95100 w 158080"/>
                <a:gd name="connsiteY13" fmla="*/ 165009 h 199647"/>
                <a:gd name="connsiteX14" fmla="*/ 115884 w 158080"/>
                <a:gd name="connsiteY14" fmla="*/ 166898 h 199647"/>
                <a:gd name="connsiteX15" fmla="*/ 132259 w 158080"/>
                <a:gd name="connsiteY15" fmla="*/ 164379 h 199647"/>
                <a:gd name="connsiteX16" fmla="*/ 142965 w 158080"/>
                <a:gd name="connsiteY16" fmla="*/ 161860 h 199647"/>
                <a:gd name="connsiteX17" fmla="*/ 153672 w 158080"/>
                <a:gd name="connsiteY17" fmla="*/ 166268 h 199647"/>
                <a:gd name="connsiteX18" fmla="*/ 158081 w 158080"/>
                <a:gd name="connsiteY18" fmla="*/ 177605 h 199647"/>
                <a:gd name="connsiteX19" fmla="*/ 145485 w 158080"/>
                <a:gd name="connsiteY19" fmla="*/ 193980 h 199647"/>
                <a:gd name="connsiteX20" fmla="*/ 119663 w 158080"/>
                <a:gd name="connsiteY20" fmla="*/ 199648 h 199647"/>
                <a:gd name="connsiteX21" fmla="*/ 71168 w 158080"/>
                <a:gd name="connsiteY21" fmla="*/ 190201 h 199647"/>
                <a:gd name="connsiteX22" fmla="*/ 67389 w 158080"/>
                <a:gd name="connsiteY22" fmla="*/ 188941 h 199647"/>
                <a:gd name="connsiteX23" fmla="*/ 61091 w 158080"/>
                <a:gd name="connsiteY23" fmla="*/ 187681 h 199647"/>
                <a:gd name="connsiteX24" fmla="*/ 52274 w 158080"/>
                <a:gd name="connsiteY24" fmla="*/ 187052 h 199647"/>
                <a:gd name="connsiteX25" fmla="*/ 42827 w 158080"/>
                <a:gd name="connsiteY25" fmla="*/ 188312 h 199647"/>
                <a:gd name="connsiteX26" fmla="*/ 28341 w 158080"/>
                <a:gd name="connsiteY26" fmla="*/ 193980 h 199647"/>
                <a:gd name="connsiteX27" fmla="*/ 14486 w 158080"/>
                <a:gd name="connsiteY27" fmla="*/ 198388 h 199647"/>
                <a:gd name="connsiteX28" fmla="*/ 5039 w 158080"/>
                <a:gd name="connsiteY28" fmla="*/ 193980 h 199647"/>
                <a:gd name="connsiteX29" fmla="*/ 0 w 158080"/>
                <a:gd name="connsiteY29" fmla="*/ 182013 h 199647"/>
                <a:gd name="connsiteX30" fmla="*/ 1890 w 158080"/>
                <a:gd name="connsiteY30" fmla="*/ 176345 h 199647"/>
                <a:gd name="connsiteX31" fmla="*/ 7558 w 158080"/>
                <a:gd name="connsiteY31" fmla="*/ 169417 h 199647"/>
                <a:gd name="connsiteX32" fmla="*/ 18264 w 158080"/>
                <a:gd name="connsiteY32" fmla="*/ 159340 h 199647"/>
                <a:gd name="connsiteX33" fmla="*/ 29601 w 158080"/>
                <a:gd name="connsiteY33" fmla="*/ 143595 h 199647"/>
                <a:gd name="connsiteX34" fmla="*/ 34009 w 158080"/>
                <a:gd name="connsiteY34" fmla="*/ 123442 h 199647"/>
                <a:gd name="connsiteX35" fmla="*/ 32750 w 158080"/>
                <a:gd name="connsiteY35" fmla="*/ 112105 h 199647"/>
                <a:gd name="connsiteX36" fmla="*/ 22043 w 158080"/>
                <a:gd name="connsiteY36" fmla="*/ 112105 h 199647"/>
                <a:gd name="connsiteX37" fmla="*/ 7558 w 158080"/>
                <a:gd name="connsiteY37" fmla="*/ 109586 h 199647"/>
                <a:gd name="connsiteX38" fmla="*/ 2519 w 158080"/>
                <a:gd name="connsiteY38" fmla="*/ 100139 h 199647"/>
                <a:gd name="connsiteX39" fmla="*/ 19524 w 158080"/>
                <a:gd name="connsiteY39" fmla="*/ 87543 h 199647"/>
                <a:gd name="connsiteX40" fmla="*/ 27082 w 158080"/>
                <a:gd name="connsiteY40" fmla="*/ 87543 h 199647"/>
                <a:gd name="connsiteX41" fmla="*/ 20784 w 158080"/>
                <a:gd name="connsiteY41" fmla="*/ 55423 h 199647"/>
                <a:gd name="connsiteX42" fmla="*/ 28341 w 158080"/>
                <a:gd name="connsiteY42" fmla="*/ 26452 h 199647"/>
                <a:gd name="connsiteX43" fmla="*/ 49754 w 158080"/>
                <a:gd name="connsiteY43" fmla="*/ 6928 h 199647"/>
                <a:gd name="connsiteX44" fmla="*/ 81875 w 158080"/>
                <a:gd name="connsiteY44" fmla="*/ 0 h 199647"/>
                <a:gd name="connsiteX45" fmla="*/ 109586 w 158080"/>
                <a:gd name="connsiteY45" fmla="*/ 3779 h 199647"/>
                <a:gd name="connsiteX46" fmla="*/ 129740 w 158080"/>
                <a:gd name="connsiteY46" fmla="*/ 17005 h 199647"/>
                <a:gd name="connsiteX47" fmla="*/ 144855 w 158080"/>
                <a:gd name="connsiteY47" fmla="*/ 51014 h 199647"/>
                <a:gd name="connsiteX48" fmla="*/ 139816 w 158080"/>
                <a:gd name="connsiteY48" fmla="*/ 62351 h 199647"/>
                <a:gd name="connsiteX49" fmla="*/ 127850 w 158080"/>
                <a:gd name="connsiteY49" fmla="*/ 67389 h 199647"/>
                <a:gd name="connsiteX50" fmla="*/ 110846 w 158080"/>
                <a:gd name="connsiteY50" fmla="*/ 53533 h 199647"/>
                <a:gd name="connsiteX51" fmla="*/ 100769 w 158080"/>
                <a:gd name="connsiteY51" fmla="*/ 33380 h 199647"/>
                <a:gd name="connsiteX52" fmla="*/ 83134 w 158080"/>
                <a:gd name="connsiteY52" fmla="*/ 27081 h 199647"/>
                <a:gd name="connsiteX53" fmla="*/ 63610 w 158080"/>
                <a:gd name="connsiteY53" fmla="*/ 34639 h 199647"/>
                <a:gd name="connsiteX54" fmla="*/ 56053 w 158080"/>
                <a:gd name="connsiteY54" fmla="*/ 54793 h 199647"/>
                <a:gd name="connsiteX55" fmla="*/ 57942 w 158080"/>
                <a:gd name="connsiteY55" fmla="*/ 68649 h 199647"/>
                <a:gd name="connsiteX56" fmla="*/ 62981 w 158080"/>
                <a:gd name="connsiteY56" fmla="*/ 88803 h 199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158080" h="199647">
                  <a:moveTo>
                    <a:pt x="62981" y="88803"/>
                  </a:moveTo>
                  <a:lnTo>
                    <a:pt x="82504" y="88803"/>
                  </a:lnTo>
                  <a:cubicBezTo>
                    <a:pt x="89432" y="88803"/>
                    <a:pt x="95100" y="89432"/>
                    <a:pt x="98879" y="90692"/>
                  </a:cubicBezTo>
                  <a:cubicBezTo>
                    <a:pt x="102658" y="91952"/>
                    <a:pt x="104547" y="95730"/>
                    <a:pt x="104547" y="100769"/>
                  </a:cubicBezTo>
                  <a:cubicBezTo>
                    <a:pt x="104547" y="104548"/>
                    <a:pt x="103288" y="107697"/>
                    <a:pt x="100769" y="109586"/>
                  </a:cubicBezTo>
                  <a:cubicBezTo>
                    <a:pt x="98249" y="112105"/>
                    <a:pt x="94471" y="112735"/>
                    <a:pt x="90692" y="112735"/>
                  </a:cubicBezTo>
                  <a:lnTo>
                    <a:pt x="67389" y="112735"/>
                  </a:lnTo>
                  <a:lnTo>
                    <a:pt x="67389" y="115254"/>
                  </a:lnTo>
                  <a:cubicBezTo>
                    <a:pt x="67389" y="124071"/>
                    <a:pt x="65500" y="132259"/>
                    <a:pt x="61721" y="139817"/>
                  </a:cubicBezTo>
                  <a:cubicBezTo>
                    <a:pt x="57942" y="147374"/>
                    <a:pt x="51014" y="156191"/>
                    <a:pt x="40937" y="167528"/>
                  </a:cubicBezTo>
                  <a:cubicBezTo>
                    <a:pt x="44086" y="166898"/>
                    <a:pt x="46605" y="166268"/>
                    <a:pt x="49754" y="165638"/>
                  </a:cubicBezTo>
                  <a:cubicBezTo>
                    <a:pt x="52274" y="165009"/>
                    <a:pt x="56053" y="164379"/>
                    <a:pt x="59202" y="163749"/>
                  </a:cubicBezTo>
                  <a:cubicBezTo>
                    <a:pt x="62981" y="163119"/>
                    <a:pt x="66759" y="163119"/>
                    <a:pt x="70538" y="163119"/>
                  </a:cubicBezTo>
                  <a:cubicBezTo>
                    <a:pt x="76206" y="163119"/>
                    <a:pt x="84394" y="163749"/>
                    <a:pt x="95100" y="165009"/>
                  </a:cubicBezTo>
                  <a:cubicBezTo>
                    <a:pt x="105807" y="166268"/>
                    <a:pt x="112735" y="166898"/>
                    <a:pt x="115884" y="166898"/>
                  </a:cubicBezTo>
                  <a:cubicBezTo>
                    <a:pt x="120922" y="166898"/>
                    <a:pt x="125961" y="166268"/>
                    <a:pt x="132259" y="164379"/>
                  </a:cubicBezTo>
                  <a:cubicBezTo>
                    <a:pt x="137927" y="162489"/>
                    <a:pt x="141706" y="161860"/>
                    <a:pt x="142965" y="161860"/>
                  </a:cubicBezTo>
                  <a:cubicBezTo>
                    <a:pt x="146744" y="161860"/>
                    <a:pt x="150523" y="163749"/>
                    <a:pt x="153672" y="166268"/>
                  </a:cubicBezTo>
                  <a:cubicBezTo>
                    <a:pt x="156821" y="169417"/>
                    <a:pt x="158081" y="173196"/>
                    <a:pt x="158081" y="177605"/>
                  </a:cubicBezTo>
                  <a:cubicBezTo>
                    <a:pt x="158081" y="184532"/>
                    <a:pt x="154302" y="190201"/>
                    <a:pt x="145485" y="193980"/>
                  </a:cubicBezTo>
                  <a:cubicBezTo>
                    <a:pt x="137297" y="197759"/>
                    <a:pt x="128480" y="199648"/>
                    <a:pt x="119663" y="199648"/>
                  </a:cubicBezTo>
                  <a:cubicBezTo>
                    <a:pt x="113995" y="199648"/>
                    <a:pt x="97620" y="196499"/>
                    <a:pt x="71168" y="190201"/>
                  </a:cubicBezTo>
                  <a:cubicBezTo>
                    <a:pt x="70538" y="190201"/>
                    <a:pt x="69279" y="189571"/>
                    <a:pt x="67389" y="188941"/>
                  </a:cubicBezTo>
                  <a:cubicBezTo>
                    <a:pt x="65500" y="188312"/>
                    <a:pt x="63610" y="187681"/>
                    <a:pt x="61091" y="187681"/>
                  </a:cubicBezTo>
                  <a:cubicBezTo>
                    <a:pt x="58572" y="187052"/>
                    <a:pt x="55423" y="187052"/>
                    <a:pt x="52274" y="187052"/>
                  </a:cubicBezTo>
                  <a:cubicBezTo>
                    <a:pt x="48495" y="187052"/>
                    <a:pt x="45346" y="187681"/>
                    <a:pt x="42827" y="188312"/>
                  </a:cubicBezTo>
                  <a:cubicBezTo>
                    <a:pt x="39678" y="189571"/>
                    <a:pt x="35269" y="191461"/>
                    <a:pt x="28341" y="193980"/>
                  </a:cubicBezTo>
                  <a:cubicBezTo>
                    <a:pt x="21413" y="196499"/>
                    <a:pt x="17005" y="198388"/>
                    <a:pt x="14486" y="198388"/>
                  </a:cubicBezTo>
                  <a:cubicBezTo>
                    <a:pt x="11337" y="198388"/>
                    <a:pt x="8188" y="197129"/>
                    <a:pt x="5039" y="193980"/>
                  </a:cubicBezTo>
                  <a:cubicBezTo>
                    <a:pt x="1890" y="190830"/>
                    <a:pt x="0" y="187052"/>
                    <a:pt x="0" y="182013"/>
                  </a:cubicBezTo>
                  <a:cubicBezTo>
                    <a:pt x="0" y="180124"/>
                    <a:pt x="630" y="178234"/>
                    <a:pt x="1890" y="176345"/>
                  </a:cubicBezTo>
                  <a:cubicBezTo>
                    <a:pt x="3149" y="174456"/>
                    <a:pt x="5039" y="171936"/>
                    <a:pt x="7558" y="169417"/>
                  </a:cubicBezTo>
                  <a:cubicBezTo>
                    <a:pt x="10077" y="166898"/>
                    <a:pt x="13856" y="163749"/>
                    <a:pt x="18264" y="159340"/>
                  </a:cubicBezTo>
                  <a:cubicBezTo>
                    <a:pt x="22673" y="155562"/>
                    <a:pt x="26452" y="150523"/>
                    <a:pt x="29601" y="143595"/>
                  </a:cubicBezTo>
                  <a:cubicBezTo>
                    <a:pt x="32750" y="136668"/>
                    <a:pt x="34009" y="130369"/>
                    <a:pt x="34009" y="123442"/>
                  </a:cubicBezTo>
                  <a:cubicBezTo>
                    <a:pt x="34009" y="120922"/>
                    <a:pt x="33380" y="117144"/>
                    <a:pt x="32750" y="112105"/>
                  </a:cubicBezTo>
                  <a:lnTo>
                    <a:pt x="22043" y="112105"/>
                  </a:lnTo>
                  <a:cubicBezTo>
                    <a:pt x="15745" y="112105"/>
                    <a:pt x="10707" y="111475"/>
                    <a:pt x="7558" y="109586"/>
                  </a:cubicBezTo>
                  <a:cubicBezTo>
                    <a:pt x="4409" y="107697"/>
                    <a:pt x="2519" y="104548"/>
                    <a:pt x="2519" y="100139"/>
                  </a:cubicBezTo>
                  <a:cubicBezTo>
                    <a:pt x="2519" y="91322"/>
                    <a:pt x="8188" y="87543"/>
                    <a:pt x="19524" y="87543"/>
                  </a:cubicBezTo>
                  <a:lnTo>
                    <a:pt x="27082" y="87543"/>
                  </a:lnTo>
                  <a:cubicBezTo>
                    <a:pt x="22673" y="73687"/>
                    <a:pt x="20784" y="62980"/>
                    <a:pt x="20784" y="55423"/>
                  </a:cubicBezTo>
                  <a:cubicBezTo>
                    <a:pt x="20784" y="44716"/>
                    <a:pt x="23303" y="35269"/>
                    <a:pt x="28341" y="26452"/>
                  </a:cubicBezTo>
                  <a:cubicBezTo>
                    <a:pt x="33380" y="18264"/>
                    <a:pt x="40937" y="11336"/>
                    <a:pt x="49754" y="6928"/>
                  </a:cubicBezTo>
                  <a:cubicBezTo>
                    <a:pt x="59202" y="1889"/>
                    <a:pt x="69908" y="0"/>
                    <a:pt x="81875" y="0"/>
                  </a:cubicBezTo>
                  <a:cubicBezTo>
                    <a:pt x="92581" y="0"/>
                    <a:pt x="102028" y="1260"/>
                    <a:pt x="109586" y="3779"/>
                  </a:cubicBezTo>
                  <a:cubicBezTo>
                    <a:pt x="117144" y="6298"/>
                    <a:pt x="124071" y="10707"/>
                    <a:pt x="129740" y="17005"/>
                  </a:cubicBezTo>
                  <a:cubicBezTo>
                    <a:pt x="139816" y="27712"/>
                    <a:pt x="144855" y="39048"/>
                    <a:pt x="144855" y="51014"/>
                  </a:cubicBezTo>
                  <a:cubicBezTo>
                    <a:pt x="144855" y="55423"/>
                    <a:pt x="142965" y="59202"/>
                    <a:pt x="139816" y="62351"/>
                  </a:cubicBezTo>
                  <a:cubicBezTo>
                    <a:pt x="136667" y="65500"/>
                    <a:pt x="132259" y="67389"/>
                    <a:pt x="127850" y="67389"/>
                  </a:cubicBezTo>
                  <a:cubicBezTo>
                    <a:pt x="119663" y="67389"/>
                    <a:pt x="113995" y="62980"/>
                    <a:pt x="110846" y="53533"/>
                  </a:cubicBezTo>
                  <a:cubicBezTo>
                    <a:pt x="108326" y="44716"/>
                    <a:pt x="105177" y="37788"/>
                    <a:pt x="100769" y="33380"/>
                  </a:cubicBezTo>
                  <a:cubicBezTo>
                    <a:pt x="96360" y="28971"/>
                    <a:pt x="90692" y="27081"/>
                    <a:pt x="83134" y="27081"/>
                  </a:cubicBezTo>
                  <a:cubicBezTo>
                    <a:pt x="74947" y="27081"/>
                    <a:pt x="68649" y="29601"/>
                    <a:pt x="63610" y="34639"/>
                  </a:cubicBezTo>
                  <a:cubicBezTo>
                    <a:pt x="58572" y="39678"/>
                    <a:pt x="56053" y="46606"/>
                    <a:pt x="56053" y="54793"/>
                  </a:cubicBezTo>
                  <a:cubicBezTo>
                    <a:pt x="56053" y="59831"/>
                    <a:pt x="56683" y="64240"/>
                    <a:pt x="57942" y="68649"/>
                  </a:cubicBezTo>
                  <a:cubicBezTo>
                    <a:pt x="58572" y="73687"/>
                    <a:pt x="60461" y="80615"/>
                    <a:pt x="62981" y="88803"/>
                  </a:cubicBez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128" name="Gráfico 2">
              <a:extLst>
                <a:ext uri="{FF2B5EF4-FFF2-40B4-BE49-F238E27FC236}">
                  <a16:creationId xmlns:a16="http://schemas.microsoft.com/office/drawing/2014/main" id="{A475B8DB-D93F-4DA6-8335-80171E5C5B8D}"/>
                </a:ext>
              </a:extLst>
            </p:cNvPr>
            <p:cNvGrpSpPr/>
            <p:nvPr/>
          </p:nvGrpSpPr>
          <p:grpSpPr>
            <a:xfrm>
              <a:off x="4297962" y="5685971"/>
              <a:ext cx="484212" cy="383550"/>
              <a:chOff x="4297962" y="5685971"/>
              <a:chExt cx="484212" cy="383550"/>
            </a:xfrm>
            <a:grpFill/>
          </p:grpSpPr>
          <p:sp>
            <p:nvSpPr>
              <p:cNvPr id="129" name="Forma Livre: Forma 128">
                <a:extLst>
                  <a:ext uri="{FF2B5EF4-FFF2-40B4-BE49-F238E27FC236}">
                    <a16:creationId xmlns:a16="http://schemas.microsoft.com/office/drawing/2014/main" id="{4D2D4182-B676-464E-8FC9-F134D5F554D9}"/>
                  </a:ext>
                </a:extLst>
              </p:cNvPr>
              <p:cNvSpPr/>
              <p:nvPr/>
            </p:nvSpPr>
            <p:spPr>
              <a:xfrm>
                <a:off x="4297962" y="5837911"/>
                <a:ext cx="142228" cy="82346"/>
              </a:xfrm>
              <a:custGeom>
                <a:avLst/>
                <a:gdLst>
                  <a:gd name="connsiteX0" fmla="*/ 125907 w 142228"/>
                  <a:gd name="connsiteY0" fmla="*/ 82347 h 82346"/>
                  <a:gd name="connsiteX1" fmla="*/ 114571 w 142228"/>
                  <a:gd name="connsiteY1" fmla="*/ 77938 h 82346"/>
                  <a:gd name="connsiteX2" fmla="*/ 71114 w 142228"/>
                  <a:gd name="connsiteY2" fmla="*/ 38891 h 82346"/>
                  <a:gd name="connsiteX3" fmla="*/ 27658 w 142228"/>
                  <a:gd name="connsiteY3" fmla="*/ 77938 h 82346"/>
                  <a:gd name="connsiteX4" fmla="*/ 4355 w 142228"/>
                  <a:gd name="connsiteY4" fmla="*/ 76679 h 82346"/>
                  <a:gd name="connsiteX5" fmla="*/ 5615 w 142228"/>
                  <a:gd name="connsiteY5" fmla="*/ 53376 h 82346"/>
                  <a:gd name="connsiteX6" fmla="*/ 60408 w 142228"/>
                  <a:gd name="connsiteY6" fmla="*/ 4251 h 82346"/>
                  <a:gd name="connsiteX7" fmla="*/ 82451 w 142228"/>
                  <a:gd name="connsiteY7" fmla="*/ 4251 h 82346"/>
                  <a:gd name="connsiteX8" fmla="*/ 136614 w 142228"/>
                  <a:gd name="connsiteY8" fmla="*/ 53376 h 82346"/>
                  <a:gd name="connsiteX9" fmla="*/ 137874 w 142228"/>
                  <a:gd name="connsiteY9" fmla="*/ 76679 h 82346"/>
                  <a:gd name="connsiteX10" fmla="*/ 125907 w 142228"/>
                  <a:gd name="connsiteY10" fmla="*/ 82347 h 82346"/>
                  <a:gd name="connsiteX11" fmla="*/ 125907 w 142228"/>
                  <a:gd name="connsiteY11" fmla="*/ 82347 h 82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42228" h="82346">
                    <a:moveTo>
                      <a:pt x="125907" y="82347"/>
                    </a:moveTo>
                    <a:cubicBezTo>
                      <a:pt x="122128" y="82347"/>
                      <a:pt x="117720" y="81087"/>
                      <a:pt x="114571" y="77938"/>
                    </a:cubicBezTo>
                    <a:lnTo>
                      <a:pt x="71114" y="38891"/>
                    </a:lnTo>
                    <a:lnTo>
                      <a:pt x="27658" y="77938"/>
                    </a:lnTo>
                    <a:cubicBezTo>
                      <a:pt x="20730" y="84236"/>
                      <a:pt x="10023" y="83606"/>
                      <a:pt x="4355" y="76679"/>
                    </a:cubicBezTo>
                    <a:cubicBezTo>
                      <a:pt x="-1943" y="69751"/>
                      <a:pt x="-1313" y="59044"/>
                      <a:pt x="5615" y="53376"/>
                    </a:cubicBezTo>
                    <a:lnTo>
                      <a:pt x="60408" y="4251"/>
                    </a:lnTo>
                    <a:cubicBezTo>
                      <a:pt x="66706" y="-1417"/>
                      <a:pt x="76153" y="-1417"/>
                      <a:pt x="82451" y="4251"/>
                    </a:cubicBezTo>
                    <a:lnTo>
                      <a:pt x="136614" y="53376"/>
                    </a:lnTo>
                    <a:cubicBezTo>
                      <a:pt x="143542" y="59674"/>
                      <a:pt x="144172" y="70381"/>
                      <a:pt x="137874" y="76679"/>
                    </a:cubicBezTo>
                    <a:cubicBezTo>
                      <a:pt x="134725" y="80457"/>
                      <a:pt x="130316" y="82347"/>
                      <a:pt x="125907" y="82347"/>
                    </a:cubicBezTo>
                    <a:lnTo>
                      <a:pt x="125907" y="82347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30" name="Forma Livre: Forma 129">
                <a:extLst>
                  <a:ext uri="{FF2B5EF4-FFF2-40B4-BE49-F238E27FC236}">
                    <a16:creationId xmlns:a16="http://schemas.microsoft.com/office/drawing/2014/main" id="{E68A35C7-D5F6-49DD-8743-0E8840A32C55}"/>
                  </a:ext>
                </a:extLst>
              </p:cNvPr>
              <p:cNvSpPr/>
              <p:nvPr/>
            </p:nvSpPr>
            <p:spPr>
              <a:xfrm>
                <a:off x="4350183" y="5863576"/>
                <a:ext cx="352792" cy="205945"/>
              </a:xfrm>
              <a:custGeom>
                <a:avLst/>
                <a:gdLst>
                  <a:gd name="connsiteX0" fmla="*/ 189571 w 352792"/>
                  <a:gd name="connsiteY0" fmla="*/ 205946 h 205945"/>
                  <a:gd name="connsiteX1" fmla="*/ 55423 w 352792"/>
                  <a:gd name="connsiteY1" fmla="*/ 150523 h 205945"/>
                  <a:gd name="connsiteX2" fmla="*/ 0 w 352792"/>
                  <a:gd name="connsiteY2" fmla="*/ 16375 h 205945"/>
                  <a:gd name="connsiteX3" fmla="*/ 16375 w 352792"/>
                  <a:gd name="connsiteY3" fmla="*/ 0 h 205945"/>
                  <a:gd name="connsiteX4" fmla="*/ 16375 w 352792"/>
                  <a:gd name="connsiteY4" fmla="*/ 0 h 205945"/>
                  <a:gd name="connsiteX5" fmla="*/ 32750 w 352792"/>
                  <a:gd name="connsiteY5" fmla="*/ 16375 h 205945"/>
                  <a:gd name="connsiteX6" fmla="*/ 78725 w 352792"/>
                  <a:gd name="connsiteY6" fmla="*/ 127220 h 205945"/>
                  <a:gd name="connsiteX7" fmla="*/ 189571 w 352792"/>
                  <a:gd name="connsiteY7" fmla="*/ 173196 h 205945"/>
                  <a:gd name="connsiteX8" fmla="*/ 321830 w 352792"/>
                  <a:gd name="connsiteY8" fmla="*/ 100769 h 205945"/>
                  <a:gd name="connsiteX9" fmla="*/ 345132 w 352792"/>
                  <a:gd name="connsiteY9" fmla="*/ 95730 h 205945"/>
                  <a:gd name="connsiteX10" fmla="*/ 350171 w 352792"/>
                  <a:gd name="connsiteY10" fmla="*/ 119033 h 205945"/>
                  <a:gd name="connsiteX11" fmla="*/ 189571 w 352792"/>
                  <a:gd name="connsiteY11" fmla="*/ 205946 h 205945"/>
                  <a:gd name="connsiteX12" fmla="*/ 189571 w 352792"/>
                  <a:gd name="connsiteY12" fmla="*/ 205946 h 2059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52792" h="205945">
                    <a:moveTo>
                      <a:pt x="189571" y="205946"/>
                    </a:moveTo>
                    <a:cubicBezTo>
                      <a:pt x="138557" y="205946"/>
                      <a:pt x="91322" y="186422"/>
                      <a:pt x="55423" y="150523"/>
                    </a:cubicBezTo>
                    <a:cubicBezTo>
                      <a:pt x="19524" y="114624"/>
                      <a:pt x="0" y="66759"/>
                      <a:pt x="0" y="16375"/>
                    </a:cubicBezTo>
                    <a:cubicBezTo>
                      <a:pt x="0" y="6928"/>
                      <a:pt x="7558" y="0"/>
                      <a:pt x="16375" y="0"/>
                    </a:cubicBezTo>
                    <a:lnTo>
                      <a:pt x="16375" y="0"/>
                    </a:lnTo>
                    <a:cubicBezTo>
                      <a:pt x="25822" y="0"/>
                      <a:pt x="32750" y="7558"/>
                      <a:pt x="32750" y="16375"/>
                    </a:cubicBezTo>
                    <a:cubicBezTo>
                      <a:pt x="32750" y="57942"/>
                      <a:pt x="49125" y="97620"/>
                      <a:pt x="78725" y="127220"/>
                    </a:cubicBezTo>
                    <a:cubicBezTo>
                      <a:pt x="108326" y="156821"/>
                      <a:pt x="147374" y="173196"/>
                      <a:pt x="189571" y="173196"/>
                    </a:cubicBezTo>
                    <a:cubicBezTo>
                      <a:pt x="243734" y="173196"/>
                      <a:pt x="292859" y="146115"/>
                      <a:pt x="321830" y="100769"/>
                    </a:cubicBezTo>
                    <a:cubicBezTo>
                      <a:pt x="326868" y="93211"/>
                      <a:pt x="336945" y="90692"/>
                      <a:pt x="345132" y="95730"/>
                    </a:cubicBezTo>
                    <a:cubicBezTo>
                      <a:pt x="352690" y="100769"/>
                      <a:pt x="355210" y="110846"/>
                      <a:pt x="350171" y="119033"/>
                    </a:cubicBezTo>
                    <a:cubicBezTo>
                      <a:pt x="314902" y="172566"/>
                      <a:pt x="255071" y="205946"/>
                      <a:pt x="189571" y="205946"/>
                    </a:cubicBezTo>
                    <a:lnTo>
                      <a:pt x="189571" y="205946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31" name="Forma Livre: Forma 130">
                <a:extLst>
                  <a:ext uri="{FF2B5EF4-FFF2-40B4-BE49-F238E27FC236}">
                    <a16:creationId xmlns:a16="http://schemas.microsoft.com/office/drawing/2014/main" id="{D4FAC1DD-FD32-46C2-BBEE-7CDAF9B05893}"/>
                  </a:ext>
                </a:extLst>
              </p:cNvPr>
              <p:cNvSpPr/>
              <p:nvPr/>
            </p:nvSpPr>
            <p:spPr>
              <a:xfrm>
                <a:off x="4375903" y="5685971"/>
                <a:ext cx="353422" cy="206575"/>
              </a:xfrm>
              <a:custGeom>
                <a:avLst/>
                <a:gdLst>
                  <a:gd name="connsiteX0" fmla="*/ 336417 w 353422"/>
                  <a:gd name="connsiteY0" fmla="*/ 206576 h 206575"/>
                  <a:gd name="connsiteX1" fmla="*/ 320043 w 353422"/>
                  <a:gd name="connsiteY1" fmla="*/ 190200 h 206575"/>
                  <a:gd name="connsiteX2" fmla="*/ 163221 w 353422"/>
                  <a:gd name="connsiteY2" fmla="*/ 33380 h 206575"/>
                  <a:gd name="connsiteX3" fmla="*/ 30962 w 353422"/>
                  <a:gd name="connsiteY3" fmla="*/ 106437 h 206575"/>
                  <a:gd name="connsiteX4" fmla="*/ 7660 w 353422"/>
                  <a:gd name="connsiteY4" fmla="*/ 111475 h 206575"/>
                  <a:gd name="connsiteX5" fmla="*/ 2621 w 353422"/>
                  <a:gd name="connsiteY5" fmla="*/ 88173 h 206575"/>
                  <a:gd name="connsiteX6" fmla="*/ 163221 w 353422"/>
                  <a:gd name="connsiteY6" fmla="*/ 0 h 206575"/>
                  <a:gd name="connsiteX7" fmla="*/ 353422 w 353422"/>
                  <a:gd name="connsiteY7" fmla="*/ 190200 h 206575"/>
                  <a:gd name="connsiteX8" fmla="*/ 336417 w 353422"/>
                  <a:gd name="connsiteY8" fmla="*/ 206576 h 206575"/>
                  <a:gd name="connsiteX9" fmla="*/ 336417 w 353422"/>
                  <a:gd name="connsiteY9" fmla="*/ 206576 h 206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53422" h="206575">
                    <a:moveTo>
                      <a:pt x="336417" y="206576"/>
                    </a:moveTo>
                    <a:cubicBezTo>
                      <a:pt x="326970" y="206576"/>
                      <a:pt x="320043" y="199018"/>
                      <a:pt x="320043" y="190200"/>
                    </a:cubicBezTo>
                    <a:cubicBezTo>
                      <a:pt x="320043" y="103918"/>
                      <a:pt x="249504" y="33380"/>
                      <a:pt x="163221" y="33380"/>
                    </a:cubicBezTo>
                    <a:cubicBezTo>
                      <a:pt x="109058" y="33380"/>
                      <a:pt x="59933" y="60461"/>
                      <a:pt x="30962" y="106437"/>
                    </a:cubicBezTo>
                    <a:cubicBezTo>
                      <a:pt x="25924" y="113994"/>
                      <a:pt x="15847" y="116514"/>
                      <a:pt x="7660" y="111475"/>
                    </a:cubicBezTo>
                    <a:cubicBezTo>
                      <a:pt x="102" y="106437"/>
                      <a:pt x="-2417" y="96360"/>
                      <a:pt x="2621" y="88173"/>
                    </a:cubicBezTo>
                    <a:cubicBezTo>
                      <a:pt x="37890" y="32749"/>
                      <a:pt x="97722" y="0"/>
                      <a:pt x="163221" y="0"/>
                    </a:cubicBezTo>
                    <a:cubicBezTo>
                      <a:pt x="267769" y="0"/>
                      <a:pt x="353422" y="85024"/>
                      <a:pt x="353422" y="190200"/>
                    </a:cubicBezTo>
                    <a:cubicBezTo>
                      <a:pt x="352792" y="199018"/>
                      <a:pt x="345235" y="206576"/>
                      <a:pt x="336417" y="206576"/>
                    </a:cubicBezTo>
                    <a:lnTo>
                      <a:pt x="336417" y="206576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32" name="Forma Livre: Forma 131">
                <a:extLst>
                  <a:ext uri="{FF2B5EF4-FFF2-40B4-BE49-F238E27FC236}">
                    <a16:creationId xmlns:a16="http://schemas.microsoft.com/office/drawing/2014/main" id="{6B7A5CCD-F36C-4C1F-81E0-3E527A9A1323}"/>
                  </a:ext>
                </a:extLst>
              </p:cNvPr>
              <p:cNvSpPr/>
              <p:nvPr/>
            </p:nvSpPr>
            <p:spPr>
              <a:xfrm>
                <a:off x="4639946" y="5834658"/>
                <a:ext cx="142228" cy="82450"/>
              </a:xfrm>
              <a:custGeom>
                <a:avLst/>
                <a:gdLst>
                  <a:gd name="connsiteX0" fmla="*/ 71114 w 142228"/>
                  <a:gd name="connsiteY0" fmla="*/ 82451 h 82450"/>
                  <a:gd name="connsiteX1" fmla="*/ 59778 w 142228"/>
                  <a:gd name="connsiteY1" fmla="*/ 78042 h 82450"/>
                  <a:gd name="connsiteX2" fmla="*/ 5615 w 142228"/>
                  <a:gd name="connsiteY2" fmla="*/ 28917 h 82450"/>
                  <a:gd name="connsiteX3" fmla="*/ 4355 w 142228"/>
                  <a:gd name="connsiteY3" fmla="*/ 5615 h 82450"/>
                  <a:gd name="connsiteX4" fmla="*/ 27658 w 142228"/>
                  <a:gd name="connsiteY4" fmla="*/ 4355 h 82450"/>
                  <a:gd name="connsiteX5" fmla="*/ 71114 w 142228"/>
                  <a:gd name="connsiteY5" fmla="*/ 43403 h 82450"/>
                  <a:gd name="connsiteX6" fmla="*/ 114571 w 142228"/>
                  <a:gd name="connsiteY6" fmla="*/ 4355 h 82450"/>
                  <a:gd name="connsiteX7" fmla="*/ 137874 w 142228"/>
                  <a:gd name="connsiteY7" fmla="*/ 5615 h 82450"/>
                  <a:gd name="connsiteX8" fmla="*/ 136614 w 142228"/>
                  <a:gd name="connsiteY8" fmla="*/ 28917 h 82450"/>
                  <a:gd name="connsiteX9" fmla="*/ 81821 w 142228"/>
                  <a:gd name="connsiteY9" fmla="*/ 78042 h 82450"/>
                  <a:gd name="connsiteX10" fmla="*/ 71114 w 142228"/>
                  <a:gd name="connsiteY10" fmla="*/ 82451 h 82450"/>
                  <a:gd name="connsiteX11" fmla="*/ 71114 w 142228"/>
                  <a:gd name="connsiteY11" fmla="*/ 82451 h 82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42228" h="82450">
                    <a:moveTo>
                      <a:pt x="71114" y="82451"/>
                    </a:moveTo>
                    <a:cubicBezTo>
                      <a:pt x="67336" y="82451"/>
                      <a:pt x="62927" y="81191"/>
                      <a:pt x="59778" y="78042"/>
                    </a:cubicBezTo>
                    <a:lnTo>
                      <a:pt x="5615" y="28917"/>
                    </a:lnTo>
                    <a:cubicBezTo>
                      <a:pt x="-1313" y="22619"/>
                      <a:pt x="-1943" y="11913"/>
                      <a:pt x="4355" y="5615"/>
                    </a:cubicBezTo>
                    <a:cubicBezTo>
                      <a:pt x="10653" y="-1313"/>
                      <a:pt x="21360" y="-1943"/>
                      <a:pt x="27658" y="4355"/>
                    </a:cubicBezTo>
                    <a:lnTo>
                      <a:pt x="71114" y="43403"/>
                    </a:lnTo>
                    <a:lnTo>
                      <a:pt x="114571" y="4355"/>
                    </a:lnTo>
                    <a:cubicBezTo>
                      <a:pt x="121499" y="-1943"/>
                      <a:pt x="132205" y="-1313"/>
                      <a:pt x="137874" y="5615"/>
                    </a:cubicBezTo>
                    <a:cubicBezTo>
                      <a:pt x="144172" y="12543"/>
                      <a:pt x="143542" y="23249"/>
                      <a:pt x="136614" y="28917"/>
                    </a:cubicBezTo>
                    <a:lnTo>
                      <a:pt x="81821" y="78042"/>
                    </a:lnTo>
                    <a:cubicBezTo>
                      <a:pt x="79302" y="80561"/>
                      <a:pt x="75523" y="82451"/>
                      <a:pt x="71114" y="82451"/>
                    </a:cubicBezTo>
                    <a:lnTo>
                      <a:pt x="71114" y="82451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133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3283349" y="5685341"/>
            <a:ext cx="484212" cy="384180"/>
            <a:chOff x="3283349" y="5685341"/>
            <a:chExt cx="484212" cy="384180"/>
          </a:xfrm>
          <a:solidFill>
            <a:srgbClr val="B1B1A1"/>
          </a:solidFill>
        </p:grpSpPr>
        <p:sp>
          <p:nvSpPr>
            <p:cNvPr id="134" name="Forma Livre: Forma 133">
              <a:extLst>
                <a:ext uri="{FF2B5EF4-FFF2-40B4-BE49-F238E27FC236}">
                  <a16:creationId xmlns:a16="http://schemas.microsoft.com/office/drawing/2014/main" id="{D3E43A3D-8739-4F16-8E5B-DFB1065B44F7}"/>
                </a:ext>
              </a:extLst>
            </p:cNvPr>
            <p:cNvSpPr/>
            <p:nvPr/>
          </p:nvSpPr>
          <p:spPr>
            <a:xfrm>
              <a:off x="3450193" y="5777923"/>
              <a:ext cx="153042" cy="198388"/>
            </a:xfrm>
            <a:custGeom>
              <a:avLst/>
              <a:gdLst>
                <a:gd name="connsiteX0" fmla="*/ 29601 w 153042"/>
                <a:gd name="connsiteY0" fmla="*/ 137297 h 198388"/>
                <a:gd name="connsiteX1" fmla="*/ 59202 w 153042"/>
                <a:gd name="connsiteY1" fmla="*/ 137297 h 198388"/>
                <a:gd name="connsiteX2" fmla="*/ 59202 w 153042"/>
                <a:gd name="connsiteY2" fmla="*/ 118403 h 198388"/>
                <a:gd name="connsiteX3" fmla="*/ 29601 w 153042"/>
                <a:gd name="connsiteY3" fmla="*/ 118403 h 198388"/>
                <a:gd name="connsiteX4" fmla="*/ 11337 w 153042"/>
                <a:gd name="connsiteY4" fmla="*/ 106437 h 198388"/>
                <a:gd name="connsiteX5" fmla="*/ 29601 w 153042"/>
                <a:gd name="connsiteY5" fmla="*/ 94471 h 198388"/>
                <a:gd name="connsiteX6" fmla="*/ 46605 w 153042"/>
                <a:gd name="connsiteY6" fmla="*/ 94471 h 198388"/>
                <a:gd name="connsiteX7" fmla="*/ 7558 w 153042"/>
                <a:gd name="connsiteY7" fmla="*/ 32750 h 198388"/>
                <a:gd name="connsiteX8" fmla="*/ 1260 w 153042"/>
                <a:gd name="connsiteY8" fmla="*/ 22043 h 198388"/>
                <a:gd name="connsiteX9" fmla="*/ 0 w 153042"/>
                <a:gd name="connsiteY9" fmla="*/ 15115 h 198388"/>
                <a:gd name="connsiteX10" fmla="*/ 4409 w 153042"/>
                <a:gd name="connsiteY10" fmla="*/ 4409 h 198388"/>
                <a:gd name="connsiteX11" fmla="*/ 15115 w 153042"/>
                <a:gd name="connsiteY11" fmla="*/ 0 h 198388"/>
                <a:gd name="connsiteX12" fmla="*/ 25822 w 153042"/>
                <a:gd name="connsiteY12" fmla="*/ 3779 h 198388"/>
                <a:gd name="connsiteX13" fmla="*/ 35269 w 153042"/>
                <a:gd name="connsiteY13" fmla="*/ 17005 h 198388"/>
                <a:gd name="connsiteX14" fmla="*/ 77466 w 153042"/>
                <a:gd name="connsiteY14" fmla="*/ 83134 h 198388"/>
                <a:gd name="connsiteX15" fmla="*/ 115254 w 153042"/>
                <a:gd name="connsiteY15" fmla="*/ 20783 h 198388"/>
                <a:gd name="connsiteX16" fmla="*/ 119663 w 153042"/>
                <a:gd name="connsiteY16" fmla="*/ 13226 h 198388"/>
                <a:gd name="connsiteX17" fmla="*/ 124071 w 153042"/>
                <a:gd name="connsiteY17" fmla="*/ 6298 h 198388"/>
                <a:gd name="connsiteX18" fmla="*/ 129740 w 153042"/>
                <a:gd name="connsiteY18" fmla="*/ 1889 h 198388"/>
                <a:gd name="connsiteX19" fmla="*/ 137927 w 153042"/>
                <a:gd name="connsiteY19" fmla="*/ 0 h 198388"/>
                <a:gd name="connsiteX20" fmla="*/ 148634 w 153042"/>
                <a:gd name="connsiteY20" fmla="*/ 3779 h 198388"/>
                <a:gd name="connsiteX21" fmla="*/ 153042 w 153042"/>
                <a:gd name="connsiteY21" fmla="*/ 13856 h 198388"/>
                <a:gd name="connsiteX22" fmla="*/ 151153 w 153042"/>
                <a:gd name="connsiteY22" fmla="*/ 22043 h 198388"/>
                <a:gd name="connsiteX23" fmla="*/ 146115 w 153042"/>
                <a:gd name="connsiteY23" fmla="*/ 31490 h 198388"/>
                <a:gd name="connsiteX24" fmla="*/ 108326 w 153042"/>
                <a:gd name="connsiteY24" fmla="*/ 93841 h 198388"/>
                <a:gd name="connsiteX25" fmla="*/ 124701 w 153042"/>
                <a:gd name="connsiteY25" fmla="*/ 93841 h 198388"/>
                <a:gd name="connsiteX26" fmla="*/ 142966 w 153042"/>
                <a:gd name="connsiteY26" fmla="*/ 105807 h 198388"/>
                <a:gd name="connsiteX27" fmla="*/ 124701 w 153042"/>
                <a:gd name="connsiteY27" fmla="*/ 117773 h 198388"/>
                <a:gd name="connsiteX28" fmla="*/ 95100 w 153042"/>
                <a:gd name="connsiteY28" fmla="*/ 117773 h 198388"/>
                <a:gd name="connsiteX29" fmla="*/ 95100 w 153042"/>
                <a:gd name="connsiteY29" fmla="*/ 136668 h 198388"/>
                <a:gd name="connsiteX30" fmla="*/ 124701 w 153042"/>
                <a:gd name="connsiteY30" fmla="*/ 136668 h 198388"/>
                <a:gd name="connsiteX31" fmla="*/ 142966 w 153042"/>
                <a:gd name="connsiteY31" fmla="*/ 149264 h 198388"/>
                <a:gd name="connsiteX32" fmla="*/ 124701 w 153042"/>
                <a:gd name="connsiteY32" fmla="*/ 161230 h 198388"/>
                <a:gd name="connsiteX33" fmla="*/ 95100 w 153042"/>
                <a:gd name="connsiteY33" fmla="*/ 161230 h 198388"/>
                <a:gd name="connsiteX34" fmla="*/ 95100 w 153042"/>
                <a:gd name="connsiteY34" fmla="*/ 171936 h 198388"/>
                <a:gd name="connsiteX35" fmla="*/ 77466 w 153042"/>
                <a:gd name="connsiteY35" fmla="*/ 198388 h 198388"/>
                <a:gd name="connsiteX36" fmla="*/ 59202 w 153042"/>
                <a:gd name="connsiteY36" fmla="*/ 171936 h 198388"/>
                <a:gd name="connsiteX37" fmla="*/ 59202 w 153042"/>
                <a:gd name="connsiteY37" fmla="*/ 161230 h 198388"/>
                <a:gd name="connsiteX38" fmla="*/ 29601 w 153042"/>
                <a:gd name="connsiteY38" fmla="*/ 161230 h 198388"/>
                <a:gd name="connsiteX39" fmla="*/ 11337 w 153042"/>
                <a:gd name="connsiteY39" fmla="*/ 149264 h 198388"/>
                <a:gd name="connsiteX40" fmla="*/ 29601 w 153042"/>
                <a:gd name="connsiteY40" fmla="*/ 137297 h 198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53042" h="198388">
                  <a:moveTo>
                    <a:pt x="29601" y="137297"/>
                  </a:moveTo>
                  <a:lnTo>
                    <a:pt x="59202" y="137297"/>
                  </a:lnTo>
                  <a:lnTo>
                    <a:pt x="59202" y="118403"/>
                  </a:lnTo>
                  <a:lnTo>
                    <a:pt x="29601" y="118403"/>
                  </a:lnTo>
                  <a:cubicBezTo>
                    <a:pt x="17005" y="118403"/>
                    <a:pt x="11337" y="114624"/>
                    <a:pt x="11337" y="106437"/>
                  </a:cubicBezTo>
                  <a:cubicBezTo>
                    <a:pt x="11337" y="98249"/>
                    <a:pt x="17635" y="94471"/>
                    <a:pt x="29601" y="94471"/>
                  </a:cubicBezTo>
                  <a:lnTo>
                    <a:pt x="46605" y="94471"/>
                  </a:lnTo>
                  <a:lnTo>
                    <a:pt x="7558" y="32750"/>
                  </a:lnTo>
                  <a:cubicBezTo>
                    <a:pt x="4409" y="27712"/>
                    <a:pt x="2519" y="24563"/>
                    <a:pt x="1260" y="22043"/>
                  </a:cubicBezTo>
                  <a:cubicBezTo>
                    <a:pt x="0" y="20154"/>
                    <a:pt x="0" y="17634"/>
                    <a:pt x="0" y="15115"/>
                  </a:cubicBezTo>
                  <a:cubicBezTo>
                    <a:pt x="0" y="10707"/>
                    <a:pt x="1260" y="6928"/>
                    <a:pt x="4409" y="4409"/>
                  </a:cubicBezTo>
                  <a:cubicBezTo>
                    <a:pt x="6928" y="1889"/>
                    <a:pt x="10707" y="0"/>
                    <a:pt x="15115" y="0"/>
                  </a:cubicBezTo>
                  <a:cubicBezTo>
                    <a:pt x="19524" y="0"/>
                    <a:pt x="23303" y="1260"/>
                    <a:pt x="25822" y="3779"/>
                  </a:cubicBezTo>
                  <a:cubicBezTo>
                    <a:pt x="28971" y="6298"/>
                    <a:pt x="32120" y="10707"/>
                    <a:pt x="35269" y="17005"/>
                  </a:cubicBezTo>
                  <a:lnTo>
                    <a:pt x="77466" y="83134"/>
                  </a:lnTo>
                  <a:lnTo>
                    <a:pt x="115254" y="20783"/>
                  </a:lnTo>
                  <a:cubicBezTo>
                    <a:pt x="116514" y="18264"/>
                    <a:pt x="118403" y="15745"/>
                    <a:pt x="119663" y="13226"/>
                  </a:cubicBezTo>
                  <a:cubicBezTo>
                    <a:pt x="121552" y="10707"/>
                    <a:pt x="122812" y="8187"/>
                    <a:pt x="124071" y="6298"/>
                  </a:cubicBezTo>
                  <a:cubicBezTo>
                    <a:pt x="125331" y="4409"/>
                    <a:pt x="127220" y="3149"/>
                    <a:pt x="129740" y="1889"/>
                  </a:cubicBezTo>
                  <a:cubicBezTo>
                    <a:pt x="132259" y="630"/>
                    <a:pt x="134778" y="0"/>
                    <a:pt x="137927" y="0"/>
                  </a:cubicBezTo>
                  <a:cubicBezTo>
                    <a:pt x="142336" y="0"/>
                    <a:pt x="146115" y="1260"/>
                    <a:pt x="148634" y="3779"/>
                  </a:cubicBezTo>
                  <a:cubicBezTo>
                    <a:pt x="151153" y="6298"/>
                    <a:pt x="153042" y="9447"/>
                    <a:pt x="153042" y="13856"/>
                  </a:cubicBezTo>
                  <a:cubicBezTo>
                    <a:pt x="153042" y="17005"/>
                    <a:pt x="152413" y="19524"/>
                    <a:pt x="151153" y="22043"/>
                  </a:cubicBezTo>
                  <a:cubicBezTo>
                    <a:pt x="149893" y="24563"/>
                    <a:pt x="148634" y="27712"/>
                    <a:pt x="146115" y="31490"/>
                  </a:cubicBezTo>
                  <a:lnTo>
                    <a:pt x="108326" y="93841"/>
                  </a:lnTo>
                  <a:lnTo>
                    <a:pt x="124701" y="93841"/>
                  </a:lnTo>
                  <a:cubicBezTo>
                    <a:pt x="137297" y="93841"/>
                    <a:pt x="142966" y="97620"/>
                    <a:pt x="142966" y="105807"/>
                  </a:cubicBezTo>
                  <a:cubicBezTo>
                    <a:pt x="142966" y="113994"/>
                    <a:pt x="136668" y="117773"/>
                    <a:pt x="124701" y="117773"/>
                  </a:cubicBezTo>
                  <a:lnTo>
                    <a:pt x="95100" y="117773"/>
                  </a:lnTo>
                  <a:lnTo>
                    <a:pt x="95100" y="136668"/>
                  </a:lnTo>
                  <a:lnTo>
                    <a:pt x="124701" y="136668"/>
                  </a:lnTo>
                  <a:cubicBezTo>
                    <a:pt x="137297" y="136668"/>
                    <a:pt x="142966" y="141076"/>
                    <a:pt x="142966" y="149264"/>
                  </a:cubicBezTo>
                  <a:cubicBezTo>
                    <a:pt x="142966" y="157451"/>
                    <a:pt x="136668" y="161230"/>
                    <a:pt x="124701" y="161230"/>
                  </a:cubicBezTo>
                  <a:lnTo>
                    <a:pt x="95100" y="161230"/>
                  </a:lnTo>
                  <a:lnTo>
                    <a:pt x="95100" y="171936"/>
                  </a:lnTo>
                  <a:cubicBezTo>
                    <a:pt x="95100" y="189571"/>
                    <a:pt x="89432" y="198388"/>
                    <a:pt x="77466" y="198388"/>
                  </a:cubicBezTo>
                  <a:cubicBezTo>
                    <a:pt x="65500" y="198388"/>
                    <a:pt x="59202" y="189571"/>
                    <a:pt x="59202" y="171936"/>
                  </a:cubicBezTo>
                  <a:lnTo>
                    <a:pt x="59202" y="161230"/>
                  </a:lnTo>
                  <a:lnTo>
                    <a:pt x="29601" y="161230"/>
                  </a:lnTo>
                  <a:cubicBezTo>
                    <a:pt x="17005" y="161230"/>
                    <a:pt x="11337" y="157451"/>
                    <a:pt x="11337" y="149264"/>
                  </a:cubicBezTo>
                  <a:cubicBezTo>
                    <a:pt x="10707" y="141706"/>
                    <a:pt x="17005" y="137297"/>
                    <a:pt x="29601" y="137297"/>
                  </a:cubicBez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135" name="Gráfico 2">
              <a:extLst>
                <a:ext uri="{FF2B5EF4-FFF2-40B4-BE49-F238E27FC236}">
                  <a16:creationId xmlns:a16="http://schemas.microsoft.com/office/drawing/2014/main" id="{A475B8DB-D93F-4DA6-8335-80171E5C5B8D}"/>
                </a:ext>
              </a:extLst>
            </p:cNvPr>
            <p:cNvGrpSpPr/>
            <p:nvPr/>
          </p:nvGrpSpPr>
          <p:grpSpPr>
            <a:xfrm>
              <a:off x="3283349" y="5685341"/>
              <a:ext cx="484212" cy="384180"/>
              <a:chOff x="3283349" y="5685341"/>
              <a:chExt cx="484212" cy="384180"/>
            </a:xfrm>
            <a:grpFill/>
          </p:grpSpPr>
          <p:sp>
            <p:nvSpPr>
              <p:cNvPr id="136" name="Forma Livre: Forma 135">
                <a:extLst>
                  <a:ext uri="{FF2B5EF4-FFF2-40B4-BE49-F238E27FC236}">
                    <a16:creationId xmlns:a16="http://schemas.microsoft.com/office/drawing/2014/main" id="{308852B2-D31A-4D7C-9FF7-A22A39BB5A76}"/>
                  </a:ext>
                </a:extLst>
              </p:cNvPr>
              <p:cNvSpPr/>
              <p:nvPr/>
            </p:nvSpPr>
            <p:spPr>
              <a:xfrm>
                <a:off x="3625332" y="5834658"/>
                <a:ext cx="142228" cy="82450"/>
              </a:xfrm>
              <a:custGeom>
                <a:avLst/>
                <a:gdLst>
                  <a:gd name="connsiteX0" fmla="*/ 71744 w 142228"/>
                  <a:gd name="connsiteY0" fmla="*/ 82451 h 82450"/>
                  <a:gd name="connsiteX1" fmla="*/ 60408 w 142228"/>
                  <a:gd name="connsiteY1" fmla="*/ 78042 h 82450"/>
                  <a:gd name="connsiteX2" fmla="*/ 5615 w 142228"/>
                  <a:gd name="connsiteY2" fmla="*/ 28917 h 82450"/>
                  <a:gd name="connsiteX3" fmla="*/ 4355 w 142228"/>
                  <a:gd name="connsiteY3" fmla="*/ 5615 h 82450"/>
                  <a:gd name="connsiteX4" fmla="*/ 27658 w 142228"/>
                  <a:gd name="connsiteY4" fmla="*/ 4355 h 82450"/>
                  <a:gd name="connsiteX5" fmla="*/ 71114 w 142228"/>
                  <a:gd name="connsiteY5" fmla="*/ 43403 h 82450"/>
                  <a:gd name="connsiteX6" fmla="*/ 114571 w 142228"/>
                  <a:gd name="connsiteY6" fmla="*/ 4355 h 82450"/>
                  <a:gd name="connsiteX7" fmla="*/ 137874 w 142228"/>
                  <a:gd name="connsiteY7" fmla="*/ 5615 h 82450"/>
                  <a:gd name="connsiteX8" fmla="*/ 136614 w 142228"/>
                  <a:gd name="connsiteY8" fmla="*/ 28917 h 82450"/>
                  <a:gd name="connsiteX9" fmla="*/ 81821 w 142228"/>
                  <a:gd name="connsiteY9" fmla="*/ 78042 h 82450"/>
                  <a:gd name="connsiteX10" fmla="*/ 71744 w 142228"/>
                  <a:gd name="connsiteY10" fmla="*/ 82451 h 82450"/>
                  <a:gd name="connsiteX11" fmla="*/ 71744 w 142228"/>
                  <a:gd name="connsiteY11" fmla="*/ 82451 h 82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42228" h="82450">
                    <a:moveTo>
                      <a:pt x="71744" y="82451"/>
                    </a:moveTo>
                    <a:cubicBezTo>
                      <a:pt x="67965" y="82451"/>
                      <a:pt x="63557" y="81191"/>
                      <a:pt x="60408" y="78042"/>
                    </a:cubicBezTo>
                    <a:lnTo>
                      <a:pt x="5615" y="28917"/>
                    </a:lnTo>
                    <a:cubicBezTo>
                      <a:pt x="-1313" y="22619"/>
                      <a:pt x="-1943" y="11913"/>
                      <a:pt x="4355" y="5615"/>
                    </a:cubicBezTo>
                    <a:cubicBezTo>
                      <a:pt x="10653" y="-1313"/>
                      <a:pt x="21360" y="-1943"/>
                      <a:pt x="27658" y="4355"/>
                    </a:cubicBezTo>
                    <a:lnTo>
                      <a:pt x="71114" y="43403"/>
                    </a:lnTo>
                    <a:lnTo>
                      <a:pt x="114571" y="4355"/>
                    </a:lnTo>
                    <a:cubicBezTo>
                      <a:pt x="121499" y="-1943"/>
                      <a:pt x="132205" y="-1313"/>
                      <a:pt x="137874" y="5615"/>
                    </a:cubicBezTo>
                    <a:cubicBezTo>
                      <a:pt x="144172" y="12543"/>
                      <a:pt x="143542" y="23249"/>
                      <a:pt x="136614" y="28917"/>
                    </a:cubicBezTo>
                    <a:lnTo>
                      <a:pt x="81821" y="78042"/>
                    </a:lnTo>
                    <a:cubicBezTo>
                      <a:pt x="79932" y="80561"/>
                      <a:pt x="75523" y="82451"/>
                      <a:pt x="71744" y="82451"/>
                    </a:cubicBezTo>
                    <a:lnTo>
                      <a:pt x="71744" y="82451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37" name="Forma Livre: Forma 136">
                <a:extLst>
                  <a:ext uri="{FF2B5EF4-FFF2-40B4-BE49-F238E27FC236}">
                    <a16:creationId xmlns:a16="http://schemas.microsoft.com/office/drawing/2014/main" id="{79BC89F1-A86E-4656-9001-A6E9ED9B67A2}"/>
                  </a:ext>
                </a:extLst>
              </p:cNvPr>
              <p:cNvSpPr/>
              <p:nvPr/>
            </p:nvSpPr>
            <p:spPr>
              <a:xfrm>
                <a:off x="3363178" y="5685341"/>
                <a:ext cx="352828" cy="207205"/>
              </a:xfrm>
              <a:custGeom>
                <a:avLst/>
                <a:gdLst>
                  <a:gd name="connsiteX0" fmla="*/ 336417 w 352828"/>
                  <a:gd name="connsiteY0" fmla="*/ 207206 h 207205"/>
                  <a:gd name="connsiteX1" fmla="*/ 336417 w 352828"/>
                  <a:gd name="connsiteY1" fmla="*/ 207206 h 207205"/>
                  <a:gd name="connsiteX2" fmla="*/ 320042 w 352828"/>
                  <a:gd name="connsiteY2" fmla="*/ 190830 h 207205"/>
                  <a:gd name="connsiteX3" fmla="*/ 274067 w 352828"/>
                  <a:gd name="connsiteY3" fmla="*/ 79985 h 207205"/>
                  <a:gd name="connsiteX4" fmla="*/ 163221 w 352828"/>
                  <a:gd name="connsiteY4" fmla="*/ 34010 h 207205"/>
                  <a:gd name="connsiteX5" fmla="*/ 30962 w 352828"/>
                  <a:gd name="connsiteY5" fmla="*/ 106437 h 207205"/>
                  <a:gd name="connsiteX6" fmla="*/ 7660 w 352828"/>
                  <a:gd name="connsiteY6" fmla="*/ 111475 h 207205"/>
                  <a:gd name="connsiteX7" fmla="*/ 2621 w 352828"/>
                  <a:gd name="connsiteY7" fmla="*/ 88173 h 207205"/>
                  <a:gd name="connsiteX8" fmla="*/ 163221 w 352828"/>
                  <a:gd name="connsiteY8" fmla="*/ 0 h 207205"/>
                  <a:gd name="connsiteX9" fmla="*/ 297369 w 352828"/>
                  <a:gd name="connsiteY9" fmla="*/ 55423 h 207205"/>
                  <a:gd name="connsiteX10" fmla="*/ 352792 w 352828"/>
                  <a:gd name="connsiteY10" fmla="*/ 189571 h 207205"/>
                  <a:gd name="connsiteX11" fmla="*/ 336417 w 352828"/>
                  <a:gd name="connsiteY11" fmla="*/ 207206 h 207205"/>
                  <a:gd name="connsiteX12" fmla="*/ 336417 w 352828"/>
                  <a:gd name="connsiteY12" fmla="*/ 207206 h 207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52828" h="207205">
                    <a:moveTo>
                      <a:pt x="336417" y="207206"/>
                    </a:moveTo>
                    <a:lnTo>
                      <a:pt x="336417" y="207206"/>
                    </a:lnTo>
                    <a:cubicBezTo>
                      <a:pt x="326970" y="207206"/>
                      <a:pt x="320042" y="199648"/>
                      <a:pt x="320042" y="190830"/>
                    </a:cubicBezTo>
                    <a:cubicBezTo>
                      <a:pt x="320042" y="149264"/>
                      <a:pt x="303667" y="109586"/>
                      <a:pt x="274067" y="79985"/>
                    </a:cubicBezTo>
                    <a:cubicBezTo>
                      <a:pt x="244466" y="50384"/>
                      <a:pt x="205418" y="34010"/>
                      <a:pt x="163221" y="34010"/>
                    </a:cubicBezTo>
                    <a:cubicBezTo>
                      <a:pt x="109058" y="34010"/>
                      <a:pt x="59933" y="61091"/>
                      <a:pt x="30962" y="106437"/>
                    </a:cubicBezTo>
                    <a:cubicBezTo>
                      <a:pt x="25924" y="113995"/>
                      <a:pt x="15847" y="116514"/>
                      <a:pt x="7660" y="111475"/>
                    </a:cubicBezTo>
                    <a:cubicBezTo>
                      <a:pt x="102" y="106437"/>
                      <a:pt x="-2417" y="96360"/>
                      <a:pt x="2621" y="88173"/>
                    </a:cubicBezTo>
                    <a:cubicBezTo>
                      <a:pt x="37890" y="32750"/>
                      <a:pt x="97722" y="0"/>
                      <a:pt x="163221" y="0"/>
                    </a:cubicBezTo>
                    <a:cubicBezTo>
                      <a:pt x="214235" y="0"/>
                      <a:pt x="261471" y="19524"/>
                      <a:pt x="297369" y="55423"/>
                    </a:cubicBezTo>
                    <a:cubicBezTo>
                      <a:pt x="333268" y="91322"/>
                      <a:pt x="352792" y="139187"/>
                      <a:pt x="352792" y="189571"/>
                    </a:cubicBezTo>
                    <a:cubicBezTo>
                      <a:pt x="353422" y="199648"/>
                      <a:pt x="345864" y="207206"/>
                      <a:pt x="336417" y="207206"/>
                    </a:cubicBezTo>
                    <a:lnTo>
                      <a:pt x="336417" y="207206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38" name="Forma Livre: Forma 137">
                <a:extLst>
                  <a:ext uri="{FF2B5EF4-FFF2-40B4-BE49-F238E27FC236}">
                    <a16:creationId xmlns:a16="http://schemas.microsoft.com/office/drawing/2014/main" id="{F95C19FE-F8FD-46AD-9B58-0A222AD21D54}"/>
                  </a:ext>
                </a:extLst>
              </p:cNvPr>
              <p:cNvSpPr/>
              <p:nvPr/>
            </p:nvSpPr>
            <p:spPr>
              <a:xfrm>
                <a:off x="3336828" y="5862946"/>
                <a:ext cx="352792" cy="206575"/>
              </a:xfrm>
              <a:custGeom>
                <a:avLst/>
                <a:gdLst>
                  <a:gd name="connsiteX0" fmla="*/ 190201 w 352792"/>
                  <a:gd name="connsiteY0" fmla="*/ 206576 h 206575"/>
                  <a:gd name="connsiteX1" fmla="*/ 0 w 352792"/>
                  <a:gd name="connsiteY1" fmla="*/ 16375 h 206575"/>
                  <a:gd name="connsiteX2" fmla="*/ 16375 w 352792"/>
                  <a:gd name="connsiteY2" fmla="*/ 0 h 206575"/>
                  <a:gd name="connsiteX3" fmla="*/ 16375 w 352792"/>
                  <a:gd name="connsiteY3" fmla="*/ 0 h 206575"/>
                  <a:gd name="connsiteX4" fmla="*/ 32750 w 352792"/>
                  <a:gd name="connsiteY4" fmla="*/ 16375 h 206575"/>
                  <a:gd name="connsiteX5" fmla="*/ 189571 w 352792"/>
                  <a:gd name="connsiteY5" fmla="*/ 173196 h 206575"/>
                  <a:gd name="connsiteX6" fmla="*/ 321830 w 352792"/>
                  <a:gd name="connsiteY6" fmla="*/ 100139 h 206575"/>
                  <a:gd name="connsiteX7" fmla="*/ 345133 w 352792"/>
                  <a:gd name="connsiteY7" fmla="*/ 95100 h 206575"/>
                  <a:gd name="connsiteX8" fmla="*/ 350171 w 352792"/>
                  <a:gd name="connsiteY8" fmla="*/ 118403 h 206575"/>
                  <a:gd name="connsiteX9" fmla="*/ 190201 w 352792"/>
                  <a:gd name="connsiteY9" fmla="*/ 206576 h 206575"/>
                  <a:gd name="connsiteX10" fmla="*/ 190201 w 352792"/>
                  <a:gd name="connsiteY10" fmla="*/ 206576 h 206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52792" h="206575">
                    <a:moveTo>
                      <a:pt x="190201" y="206576"/>
                    </a:moveTo>
                    <a:cubicBezTo>
                      <a:pt x="85653" y="206576"/>
                      <a:pt x="0" y="121552"/>
                      <a:pt x="0" y="16375"/>
                    </a:cubicBezTo>
                    <a:cubicBezTo>
                      <a:pt x="0" y="6928"/>
                      <a:pt x="7558" y="0"/>
                      <a:pt x="16375" y="0"/>
                    </a:cubicBezTo>
                    <a:lnTo>
                      <a:pt x="16375" y="0"/>
                    </a:lnTo>
                    <a:cubicBezTo>
                      <a:pt x="25822" y="0"/>
                      <a:pt x="32750" y="7558"/>
                      <a:pt x="32750" y="16375"/>
                    </a:cubicBezTo>
                    <a:cubicBezTo>
                      <a:pt x="32750" y="102658"/>
                      <a:pt x="103288" y="173196"/>
                      <a:pt x="189571" y="173196"/>
                    </a:cubicBezTo>
                    <a:cubicBezTo>
                      <a:pt x="243734" y="173196"/>
                      <a:pt x="292859" y="146115"/>
                      <a:pt x="321830" y="100139"/>
                    </a:cubicBezTo>
                    <a:cubicBezTo>
                      <a:pt x="326868" y="92581"/>
                      <a:pt x="336945" y="90062"/>
                      <a:pt x="345133" y="95100"/>
                    </a:cubicBezTo>
                    <a:cubicBezTo>
                      <a:pt x="352690" y="100139"/>
                      <a:pt x="355209" y="110216"/>
                      <a:pt x="350171" y="118403"/>
                    </a:cubicBezTo>
                    <a:cubicBezTo>
                      <a:pt x="316162" y="173196"/>
                      <a:pt x="255700" y="206576"/>
                      <a:pt x="190201" y="206576"/>
                    </a:cubicBezTo>
                    <a:lnTo>
                      <a:pt x="190201" y="206576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39" name="Forma Livre: Forma 138">
                <a:extLst>
                  <a:ext uri="{FF2B5EF4-FFF2-40B4-BE49-F238E27FC236}">
                    <a16:creationId xmlns:a16="http://schemas.microsoft.com/office/drawing/2014/main" id="{24839E77-CC7D-4A4B-8B76-AAC3A906C112}"/>
                  </a:ext>
                </a:extLst>
              </p:cNvPr>
              <p:cNvSpPr/>
              <p:nvPr/>
            </p:nvSpPr>
            <p:spPr>
              <a:xfrm>
                <a:off x="3283349" y="5837911"/>
                <a:ext cx="142858" cy="82346"/>
              </a:xfrm>
              <a:custGeom>
                <a:avLst/>
                <a:gdLst>
                  <a:gd name="connsiteX0" fmla="*/ 16951 w 142858"/>
                  <a:gd name="connsiteY0" fmla="*/ 82347 h 82346"/>
                  <a:gd name="connsiteX1" fmla="*/ 4355 w 142858"/>
                  <a:gd name="connsiteY1" fmla="*/ 76679 h 82346"/>
                  <a:gd name="connsiteX2" fmla="*/ 5615 w 142858"/>
                  <a:gd name="connsiteY2" fmla="*/ 53376 h 82346"/>
                  <a:gd name="connsiteX3" fmla="*/ 60408 w 142858"/>
                  <a:gd name="connsiteY3" fmla="*/ 4251 h 82346"/>
                  <a:gd name="connsiteX4" fmla="*/ 82451 w 142858"/>
                  <a:gd name="connsiteY4" fmla="*/ 4251 h 82346"/>
                  <a:gd name="connsiteX5" fmla="*/ 137244 w 142858"/>
                  <a:gd name="connsiteY5" fmla="*/ 53376 h 82346"/>
                  <a:gd name="connsiteX6" fmla="*/ 138503 w 142858"/>
                  <a:gd name="connsiteY6" fmla="*/ 76679 h 82346"/>
                  <a:gd name="connsiteX7" fmla="*/ 115201 w 142858"/>
                  <a:gd name="connsiteY7" fmla="*/ 77938 h 82346"/>
                  <a:gd name="connsiteX8" fmla="*/ 71744 w 142858"/>
                  <a:gd name="connsiteY8" fmla="*/ 38891 h 82346"/>
                  <a:gd name="connsiteX9" fmla="*/ 28288 w 142858"/>
                  <a:gd name="connsiteY9" fmla="*/ 77938 h 82346"/>
                  <a:gd name="connsiteX10" fmla="*/ 16951 w 142858"/>
                  <a:gd name="connsiteY10" fmla="*/ 82347 h 82346"/>
                  <a:gd name="connsiteX11" fmla="*/ 16951 w 142858"/>
                  <a:gd name="connsiteY11" fmla="*/ 82347 h 82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42858" h="82346">
                    <a:moveTo>
                      <a:pt x="16951" y="82347"/>
                    </a:moveTo>
                    <a:cubicBezTo>
                      <a:pt x="12543" y="82347"/>
                      <a:pt x="8134" y="80457"/>
                      <a:pt x="4355" y="76679"/>
                    </a:cubicBezTo>
                    <a:cubicBezTo>
                      <a:pt x="-1943" y="69751"/>
                      <a:pt x="-1313" y="59044"/>
                      <a:pt x="5615" y="53376"/>
                    </a:cubicBezTo>
                    <a:lnTo>
                      <a:pt x="60408" y="4251"/>
                    </a:lnTo>
                    <a:cubicBezTo>
                      <a:pt x="66706" y="-1417"/>
                      <a:pt x="76153" y="-1417"/>
                      <a:pt x="82451" y="4251"/>
                    </a:cubicBezTo>
                    <a:lnTo>
                      <a:pt x="137244" y="53376"/>
                    </a:lnTo>
                    <a:cubicBezTo>
                      <a:pt x="144172" y="59674"/>
                      <a:pt x="144801" y="70381"/>
                      <a:pt x="138503" y="76679"/>
                    </a:cubicBezTo>
                    <a:cubicBezTo>
                      <a:pt x="132205" y="83606"/>
                      <a:pt x="122128" y="84236"/>
                      <a:pt x="115201" y="77938"/>
                    </a:cubicBezTo>
                    <a:lnTo>
                      <a:pt x="71744" y="38891"/>
                    </a:lnTo>
                    <a:lnTo>
                      <a:pt x="28288" y="77938"/>
                    </a:lnTo>
                    <a:cubicBezTo>
                      <a:pt x="25139" y="81087"/>
                      <a:pt x="20730" y="82347"/>
                      <a:pt x="16951" y="82347"/>
                    </a:cubicBezTo>
                    <a:lnTo>
                      <a:pt x="16951" y="82347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140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8457921" y="3610138"/>
            <a:ext cx="348996" cy="404963"/>
            <a:chOff x="8457921" y="3610138"/>
            <a:chExt cx="348996" cy="404963"/>
          </a:xfrm>
          <a:solidFill>
            <a:srgbClr val="B1B1A1"/>
          </a:solidFill>
        </p:grpSpPr>
        <p:sp>
          <p:nvSpPr>
            <p:cNvPr id="141" name="Forma Livre: Forma 140">
              <a:extLst>
                <a:ext uri="{FF2B5EF4-FFF2-40B4-BE49-F238E27FC236}">
                  <a16:creationId xmlns:a16="http://schemas.microsoft.com/office/drawing/2014/main" id="{FFF8E9E6-40F4-4025-BAB6-512D036EAA90}"/>
                </a:ext>
              </a:extLst>
            </p:cNvPr>
            <p:cNvSpPr/>
            <p:nvPr/>
          </p:nvSpPr>
          <p:spPr>
            <a:xfrm>
              <a:off x="8487994" y="3610138"/>
              <a:ext cx="288449" cy="288450"/>
            </a:xfrm>
            <a:custGeom>
              <a:avLst/>
              <a:gdLst>
                <a:gd name="connsiteX0" fmla="*/ 144224 w 288449"/>
                <a:gd name="connsiteY0" fmla="*/ 288450 h 288450"/>
                <a:gd name="connsiteX1" fmla="*/ 0 w 288449"/>
                <a:gd name="connsiteY1" fmla="*/ 144225 h 288450"/>
                <a:gd name="connsiteX2" fmla="*/ 144224 w 288449"/>
                <a:gd name="connsiteY2" fmla="*/ 0 h 288450"/>
                <a:gd name="connsiteX3" fmla="*/ 288450 w 288449"/>
                <a:gd name="connsiteY3" fmla="*/ 144225 h 288450"/>
                <a:gd name="connsiteX4" fmla="*/ 144224 w 288449"/>
                <a:gd name="connsiteY4" fmla="*/ 288450 h 288450"/>
                <a:gd name="connsiteX5" fmla="*/ 144224 w 288449"/>
                <a:gd name="connsiteY5" fmla="*/ 288450 h 288450"/>
                <a:gd name="connsiteX6" fmla="*/ 144224 w 288449"/>
                <a:gd name="connsiteY6" fmla="*/ 32750 h 288450"/>
                <a:gd name="connsiteX7" fmla="*/ 33379 w 288449"/>
                <a:gd name="connsiteY7" fmla="*/ 143595 h 288450"/>
                <a:gd name="connsiteX8" fmla="*/ 144224 w 288449"/>
                <a:gd name="connsiteY8" fmla="*/ 254441 h 288450"/>
                <a:gd name="connsiteX9" fmla="*/ 255071 w 288449"/>
                <a:gd name="connsiteY9" fmla="*/ 143595 h 288450"/>
                <a:gd name="connsiteX10" fmla="*/ 144224 w 288449"/>
                <a:gd name="connsiteY10" fmla="*/ 32750 h 288450"/>
                <a:gd name="connsiteX11" fmla="*/ 144224 w 288449"/>
                <a:gd name="connsiteY11" fmla="*/ 32750 h 288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8449" h="288450">
                  <a:moveTo>
                    <a:pt x="144224" y="288450"/>
                  </a:moveTo>
                  <a:cubicBezTo>
                    <a:pt x="64869" y="288450"/>
                    <a:pt x="0" y="223580"/>
                    <a:pt x="0" y="144225"/>
                  </a:cubicBezTo>
                  <a:cubicBezTo>
                    <a:pt x="0" y="64870"/>
                    <a:pt x="64869" y="0"/>
                    <a:pt x="144224" y="0"/>
                  </a:cubicBezTo>
                  <a:cubicBezTo>
                    <a:pt x="223580" y="0"/>
                    <a:pt x="288450" y="64870"/>
                    <a:pt x="288450" y="144225"/>
                  </a:cubicBezTo>
                  <a:cubicBezTo>
                    <a:pt x="288450" y="223580"/>
                    <a:pt x="223580" y="288450"/>
                    <a:pt x="144224" y="288450"/>
                  </a:cubicBezTo>
                  <a:lnTo>
                    <a:pt x="144224" y="288450"/>
                  </a:lnTo>
                  <a:close/>
                  <a:moveTo>
                    <a:pt x="144224" y="32750"/>
                  </a:moveTo>
                  <a:cubicBezTo>
                    <a:pt x="83134" y="32750"/>
                    <a:pt x="33379" y="82504"/>
                    <a:pt x="33379" y="143595"/>
                  </a:cubicBezTo>
                  <a:cubicBezTo>
                    <a:pt x="33379" y="204686"/>
                    <a:pt x="83134" y="254441"/>
                    <a:pt x="144224" y="254441"/>
                  </a:cubicBezTo>
                  <a:cubicBezTo>
                    <a:pt x="205316" y="254441"/>
                    <a:pt x="255071" y="204686"/>
                    <a:pt x="255071" y="143595"/>
                  </a:cubicBezTo>
                  <a:cubicBezTo>
                    <a:pt x="255071" y="83134"/>
                    <a:pt x="205316" y="32750"/>
                    <a:pt x="144224" y="32750"/>
                  </a:cubicBezTo>
                  <a:lnTo>
                    <a:pt x="144224" y="3275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42" name="Forma Livre: Forma 141">
              <a:extLst>
                <a:ext uri="{FF2B5EF4-FFF2-40B4-BE49-F238E27FC236}">
                  <a16:creationId xmlns:a16="http://schemas.microsoft.com/office/drawing/2014/main" id="{CDE3E493-132F-4C67-8996-1DD7450D6394}"/>
                </a:ext>
              </a:extLst>
            </p:cNvPr>
            <p:cNvSpPr/>
            <p:nvPr/>
          </p:nvSpPr>
          <p:spPr>
            <a:xfrm>
              <a:off x="8549085" y="3671229"/>
              <a:ext cx="166268" cy="166268"/>
            </a:xfrm>
            <a:custGeom>
              <a:avLst/>
              <a:gdLst>
                <a:gd name="connsiteX0" fmla="*/ 83134 w 166268"/>
                <a:gd name="connsiteY0" fmla="*/ 166268 h 166268"/>
                <a:gd name="connsiteX1" fmla="*/ 0 w 166268"/>
                <a:gd name="connsiteY1" fmla="*/ 83134 h 166268"/>
                <a:gd name="connsiteX2" fmla="*/ 83134 w 166268"/>
                <a:gd name="connsiteY2" fmla="*/ 0 h 166268"/>
                <a:gd name="connsiteX3" fmla="*/ 166268 w 166268"/>
                <a:gd name="connsiteY3" fmla="*/ 83134 h 166268"/>
                <a:gd name="connsiteX4" fmla="*/ 83134 w 166268"/>
                <a:gd name="connsiteY4" fmla="*/ 166268 h 166268"/>
                <a:gd name="connsiteX5" fmla="*/ 83134 w 166268"/>
                <a:gd name="connsiteY5" fmla="*/ 166268 h 166268"/>
                <a:gd name="connsiteX6" fmla="*/ 83134 w 166268"/>
                <a:gd name="connsiteY6" fmla="*/ 16375 h 166268"/>
                <a:gd name="connsiteX7" fmla="*/ 16375 w 166268"/>
                <a:gd name="connsiteY7" fmla="*/ 83134 h 166268"/>
                <a:gd name="connsiteX8" fmla="*/ 83134 w 166268"/>
                <a:gd name="connsiteY8" fmla="*/ 149893 h 166268"/>
                <a:gd name="connsiteX9" fmla="*/ 149894 w 166268"/>
                <a:gd name="connsiteY9" fmla="*/ 83134 h 166268"/>
                <a:gd name="connsiteX10" fmla="*/ 83134 w 166268"/>
                <a:gd name="connsiteY10" fmla="*/ 16375 h 166268"/>
                <a:gd name="connsiteX11" fmla="*/ 83134 w 166268"/>
                <a:gd name="connsiteY11" fmla="*/ 16375 h 166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6268" h="166268">
                  <a:moveTo>
                    <a:pt x="83134" y="166268"/>
                  </a:moveTo>
                  <a:cubicBezTo>
                    <a:pt x="37159" y="166268"/>
                    <a:pt x="0" y="129110"/>
                    <a:pt x="0" y="83134"/>
                  </a:cubicBezTo>
                  <a:cubicBezTo>
                    <a:pt x="0" y="37158"/>
                    <a:pt x="37159" y="0"/>
                    <a:pt x="83134" y="0"/>
                  </a:cubicBezTo>
                  <a:cubicBezTo>
                    <a:pt x="129110" y="0"/>
                    <a:pt x="166268" y="37158"/>
                    <a:pt x="166268" y="83134"/>
                  </a:cubicBezTo>
                  <a:cubicBezTo>
                    <a:pt x="166268" y="129110"/>
                    <a:pt x="129110" y="166268"/>
                    <a:pt x="83134" y="166268"/>
                  </a:cubicBezTo>
                  <a:lnTo>
                    <a:pt x="83134" y="166268"/>
                  </a:lnTo>
                  <a:close/>
                  <a:moveTo>
                    <a:pt x="83134" y="16375"/>
                  </a:moveTo>
                  <a:cubicBezTo>
                    <a:pt x="46606" y="16375"/>
                    <a:pt x="16375" y="45976"/>
                    <a:pt x="16375" y="83134"/>
                  </a:cubicBezTo>
                  <a:cubicBezTo>
                    <a:pt x="16375" y="119663"/>
                    <a:pt x="45976" y="149893"/>
                    <a:pt x="83134" y="149893"/>
                  </a:cubicBezTo>
                  <a:cubicBezTo>
                    <a:pt x="119663" y="149893"/>
                    <a:pt x="149894" y="120292"/>
                    <a:pt x="149894" y="83134"/>
                  </a:cubicBezTo>
                  <a:cubicBezTo>
                    <a:pt x="149894" y="46605"/>
                    <a:pt x="119663" y="16375"/>
                    <a:pt x="83134" y="16375"/>
                  </a:cubicBezTo>
                  <a:lnTo>
                    <a:pt x="83134" y="16375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143" name="Gráfico 2">
              <a:extLst>
                <a:ext uri="{FF2B5EF4-FFF2-40B4-BE49-F238E27FC236}">
                  <a16:creationId xmlns:a16="http://schemas.microsoft.com/office/drawing/2014/main" id="{A475B8DB-D93F-4DA6-8335-80171E5C5B8D}"/>
                </a:ext>
              </a:extLst>
            </p:cNvPr>
            <p:cNvGrpSpPr/>
            <p:nvPr/>
          </p:nvGrpSpPr>
          <p:grpSpPr>
            <a:xfrm>
              <a:off x="8457921" y="3822256"/>
              <a:ext cx="348996" cy="192845"/>
              <a:chOff x="8457921" y="3822256"/>
              <a:chExt cx="348996" cy="192845"/>
            </a:xfrm>
            <a:grpFill/>
          </p:grpSpPr>
          <p:sp>
            <p:nvSpPr>
              <p:cNvPr id="144" name="Forma Livre: Forma 143">
                <a:extLst>
                  <a:ext uri="{FF2B5EF4-FFF2-40B4-BE49-F238E27FC236}">
                    <a16:creationId xmlns:a16="http://schemas.microsoft.com/office/drawing/2014/main" id="{34BFED0D-5116-4D60-9616-6671EA9E2BF6}"/>
                  </a:ext>
                </a:extLst>
              </p:cNvPr>
              <p:cNvSpPr/>
              <p:nvPr/>
            </p:nvSpPr>
            <p:spPr>
              <a:xfrm>
                <a:off x="8457921" y="3822754"/>
                <a:ext cx="181482" cy="192347"/>
              </a:xfrm>
              <a:custGeom>
                <a:avLst/>
                <a:gdLst>
                  <a:gd name="connsiteX0" fmla="*/ 103130 w 181482"/>
                  <a:gd name="connsiteY0" fmla="*/ 192347 h 192347"/>
                  <a:gd name="connsiteX1" fmla="*/ 89274 w 181482"/>
                  <a:gd name="connsiteY1" fmla="*/ 184790 h 192347"/>
                  <a:gd name="connsiteX2" fmla="*/ 63452 w 181482"/>
                  <a:gd name="connsiteY2" fmla="*/ 145112 h 192347"/>
                  <a:gd name="connsiteX3" fmla="*/ 16217 w 181482"/>
                  <a:gd name="connsiteY3" fmla="*/ 143853 h 192347"/>
                  <a:gd name="connsiteX4" fmla="*/ 2362 w 181482"/>
                  <a:gd name="connsiteY4" fmla="*/ 135665 h 192347"/>
                  <a:gd name="connsiteX5" fmla="*/ 2362 w 181482"/>
                  <a:gd name="connsiteY5" fmla="*/ 119290 h 192347"/>
                  <a:gd name="connsiteX6" fmla="*/ 63452 w 181482"/>
                  <a:gd name="connsiteY6" fmla="*/ 8445 h 192347"/>
                  <a:gd name="connsiteX7" fmla="*/ 86125 w 181482"/>
                  <a:gd name="connsiteY7" fmla="*/ 2147 h 192347"/>
                  <a:gd name="connsiteX8" fmla="*/ 92423 w 181482"/>
                  <a:gd name="connsiteY8" fmla="*/ 24819 h 192347"/>
                  <a:gd name="connsiteX9" fmla="*/ 44558 w 181482"/>
                  <a:gd name="connsiteY9" fmla="*/ 111103 h 192347"/>
                  <a:gd name="connsiteX10" fmla="*/ 72899 w 181482"/>
                  <a:gd name="connsiteY10" fmla="*/ 111732 h 192347"/>
                  <a:gd name="connsiteX11" fmla="*/ 86756 w 181482"/>
                  <a:gd name="connsiteY11" fmla="*/ 119290 h 192347"/>
                  <a:gd name="connsiteX12" fmla="*/ 102501 w 181482"/>
                  <a:gd name="connsiteY12" fmla="*/ 143223 h 192347"/>
                  <a:gd name="connsiteX13" fmla="*/ 150366 w 181482"/>
                  <a:gd name="connsiteY13" fmla="*/ 56939 h 192347"/>
                  <a:gd name="connsiteX14" fmla="*/ 173038 w 181482"/>
                  <a:gd name="connsiteY14" fmla="*/ 50641 h 192347"/>
                  <a:gd name="connsiteX15" fmla="*/ 179336 w 181482"/>
                  <a:gd name="connsiteY15" fmla="*/ 73314 h 192347"/>
                  <a:gd name="connsiteX16" fmla="*/ 118246 w 181482"/>
                  <a:gd name="connsiteY16" fmla="*/ 184160 h 192347"/>
                  <a:gd name="connsiteX17" fmla="*/ 103130 w 181482"/>
                  <a:gd name="connsiteY17" fmla="*/ 192347 h 192347"/>
                  <a:gd name="connsiteX18" fmla="*/ 103130 w 181482"/>
                  <a:gd name="connsiteY18" fmla="*/ 192347 h 192347"/>
                  <a:gd name="connsiteX19" fmla="*/ 103130 w 181482"/>
                  <a:gd name="connsiteY19" fmla="*/ 192347 h 192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81482" h="192347">
                    <a:moveTo>
                      <a:pt x="103130" y="192347"/>
                    </a:moveTo>
                    <a:cubicBezTo>
                      <a:pt x="97462" y="192347"/>
                      <a:pt x="92423" y="189828"/>
                      <a:pt x="89274" y="184790"/>
                    </a:cubicBezTo>
                    <a:lnTo>
                      <a:pt x="63452" y="145112"/>
                    </a:lnTo>
                    <a:lnTo>
                      <a:pt x="16217" y="143853"/>
                    </a:lnTo>
                    <a:cubicBezTo>
                      <a:pt x="10549" y="143853"/>
                      <a:pt x="4881" y="140704"/>
                      <a:pt x="2362" y="135665"/>
                    </a:cubicBezTo>
                    <a:cubicBezTo>
                      <a:pt x="-787" y="130626"/>
                      <a:pt x="-787" y="124328"/>
                      <a:pt x="2362" y="119290"/>
                    </a:cubicBezTo>
                    <a:lnTo>
                      <a:pt x="63452" y="8445"/>
                    </a:lnTo>
                    <a:cubicBezTo>
                      <a:pt x="67862" y="257"/>
                      <a:pt x="77938" y="-2262"/>
                      <a:pt x="86125" y="2147"/>
                    </a:cubicBezTo>
                    <a:cubicBezTo>
                      <a:pt x="94313" y="6555"/>
                      <a:pt x="96832" y="16632"/>
                      <a:pt x="92423" y="24819"/>
                    </a:cubicBezTo>
                    <a:lnTo>
                      <a:pt x="44558" y="111103"/>
                    </a:lnTo>
                    <a:lnTo>
                      <a:pt x="72899" y="111732"/>
                    </a:lnTo>
                    <a:cubicBezTo>
                      <a:pt x="78568" y="111732"/>
                      <a:pt x="83607" y="114881"/>
                      <a:pt x="86756" y="119290"/>
                    </a:cubicBezTo>
                    <a:lnTo>
                      <a:pt x="102501" y="143223"/>
                    </a:lnTo>
                    <a:lnTo>
                      <a:pt x="150366" y="56939"/>
                    </a:lnTo>
                    <a:cubicBezTo>
                      <a:pt x="154774" y="48752"/>
                      <a:pt x="164851" y="46233"/>
                      <a:pt x="173038" y="50641"/>
                    </a:cubicBezTo>
                    <a:cubicBezTo>
                      <a:pt x="181226" y="55050"/>
                      <a:pt x="183745" y="65127"/>
                      <a:pt x="179336" y="73314"/>
                    </a:cubicBezTo>
                    <a:lnTo>
                      <a:pt x="118246" y="184160"/>
                    </a:lnTo>
                    <a:cubicBezTo>
                      <a:pt x="115097" y="189198"/>
                      <a:pt x="109428" y="192347"/>
                      <a:pt x="103130" y="192347"/>
                    </a:cubicBezTo>
                    <a:cubicBezTo>
                      <a:pt x="103760" y="192347"/>
                      <a:pt x="103130" y="192347"/>
                      <a:pt x="103130" y="192347"/>
                    </a:cubicBezTo>
                    <a:lnTo>
                      <a:pt x="103130" y="192347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45" name="Forma Livre: Forma 144">
                <a:extLst>
                  <a:ext uri="{FF2B5EF4-FFF2-40B4-BE49-F238E27FC236}">
                    <a16:creationId xmlns:a16="http://schemas.microsoft.com/office/drawing/2014/main" id="{6C798C5F-1DCD-4E08-81B1-31C8DC6CC754}"/>
                  </a:ext>
                </a:extLst>
              </p:cNvPr>
              <p:cNvSpPr/>
              <p:nvPr/>
            </p:nvSpPr>
            <p:spPr>
              <a:xfrm>
                <a:off x="8625664" y="3822256"/>
                <a:ext cx="181253" cy="192845"/>
              </a:xfrm>
              <a:custGeom>
                <a:avLst/>
                <a:gdLst>
                  <a:gd name="connsiteX0" fmla="*/ 77723 w 181253"/>
                  <a:gd name="connsiteY0" fmla="*/ 192846 h 192845"/>
                  <a:gd name="connsiteX1" fmla="*/ 77723 w 181253"/>
                  <a:gd name="connsiteY1" fmla="*/ 192846 h 192845"/>
                  <a:gd name="connsiteX2" fmla="*/ 63237 w 181253"/>
                  <a:gd name="connsiteY2" fmla="*/ 184029 h 192845"/>
                  <a:gd name="connsiteX3" fmla="*/ 2146 w 181253"/>
                  <a:gd name="connsiteY3" fmla="*/ 73183 h 192845"/>
                  <a:gd name="connsiteX4" fmla="*/ 8445 w 181253"/>
                  <a:gd name="connsiteY4" fmla="*/ 50510 h 192845"/>
                  <a:gd name="connsiteX5" fmla="*/ 31117 w 181253"/>
                  <a:gd name="connsiteY5" fmla="*/ 56808 h 192845"/>
                  <a:gd name="connsiteX6" fmla="*/ 78982 w 181253"/>
                  <a:gd name="connsiteY6" fmla="*/ 143091 h 192845"/>
                  <a:gd name="connsiteX7" fmla="*/ 94727 w 181253"/>
                  <a:gd name="connsiteY7" fmla="*/ 119159 h 192845"/>
                  <a:gd name="connsiteX8" fmla="*/ 108584 w 181253"/>
                  <a:gd name="connsiteY8" fmla="*/ 111601 h 192845"/>
                  <a:gd name="connsiteX9" fmla="*/ 136925 w 181253"/>
                  <a:gd name="connsiteY9" fmla="*/ 110971 h 192845"/>
                  <a:gd name="connsiteX10" fmla="*/ 89060 w 181253"/>
                  <a:gd name="connsiteY10" fmla="*/ 24688 h 192845"/>
                  <a:gd name="connsiteX11" fmla="*/ 95358 w 181253"/>
                  <a:gd name="connsiteY11" fmla="*/ 2015 h 192845"/>
                  <a:gd name="connsiteX12" fmla="*/ 118031 w 181253"/>
                  <a:gd name="connsiteY12" fmla="*/ 8313 h 192845"/>
                  <a:gd name="connsiteX13" fmla="*/ 179121 w 181253"/>
                  <a:gd name="connsiteY13" fmla="*/ 119159 h 192845"/>
                  <a:gd name="connsiteX14" fmla="*/ 179121 w 181253"/>
                  <a:gd name="connsiteY14" fmla="*/ 135534 h 192845"/>
                  <a:gd name="connsiteX15" fmla="*/ 165266 w 181253"/>
                  <a:gd name="connsiteY15" fmla="*/ 143721 h 192845"/>
                  <a:gd name="connsiteX16" fmla="*/ 118031 w 181253"/>
                  <a:gd name="connsiteY16" fmla="*/ 144981 h 192845"/>
                  <a:gd name="connsiteX17" fmla="*/ 92209 w 181253"/>
                  <a:gd name="connsiteY17" fmla="*/ 184658 h 192845"/>
                  <a:gd name="connsiteX18" fmla="*/ 77723 w 181253"/>
                  <a:gd name="connsiteY18" fmla="*/ 192846 h 192845"/>
                  <a:gd name="connsiteX19" fmla="*/ 77723 w 181253"/>
                  <a:gd name="connsiteY19" fmla="*/ 192846 h 192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81253" h="192845">
                    <a:moveTo>
                      <a:pt x="77723" y="192846"/>
                    </a:moveTo>
                    <a:cubicBezTo>
                      <a:pt x="77723" y="192846"/>
                      <a:pt x="77093" y="192846"/>
                      <a:pt x="77723" y="192846"/>
                    </a:cubicBezTo>
                    <a:cubicBezTo>
                      <a:pt x="71425" y="192846"/>
                      <a:pt x="65757" y="189067"/>
                      <a:pt x="63237" y="184029"/>
                    </a:cubicBezTo>
                    <a:lnTo>
                      <a:pt x="2146" y="73183"/>
                    </a:lnTo>
                    <a:cubicBezTo>
                      <a:pt x="-2262" y="64995"/>
                      <a:pt x="257" y="54919"/>
                      <a:pt x="8445" y="50510"/>
                    </a:cubicBezTo>
                    <a:cubicBezTo>
                      <a:pt x="16632" y="46101"/>
                      <a:pt x="26709" y="49250"/>
                      <a:pt x="31117" y="56808"/>
                    </a:cubicBezTo>
                    <a:lnTo>
                      <a:pt x="78982" y="143091"/>
                    </a:lnTo>
                    <a:lnTo>
                      <a:pt x="94727" y="119159"/>
                    </a:lnTo>
                    <a:cubicBezTo>
                      <a:pt x="97876" y="114750"/>
                      <a:pt x="102915" y="111601"/>
                      <a:pt x="108584" y="111601"/>
                    </a:cubicBezTo>
                    <a:lnTo>
                      <a:pt x="136925" y="110971"/>
                    </a:lnTo>
                    <a:lnTo>
                      <a:pt x="89060" y="24688"/>
                    </a:lnTo>
                    <a:cubicBezTo>
                      <a:pt x="84651" y="16501"/>
                      <a:pt x="87170" y="6424"/>
                      <a:pt x="95358" y="2015"/>
                    </a:cubicBezTo>
                    <a:cubicBezTo>
                      <a:pt x="103545" y="-2394"/>
                      <a:pt x="113621" y="755"/>
                      <a:pt x="118031" y="8313"/>
                    </a:cubicBezTo>
                    <a:lnTo>
                      <a:pt x="179121" y="119159"/>
                    </a:lnTo>
                    <a:cubicBezTo>
                      <a:pt x="182270" y="124197"/>
                      <a:pt x="181641" y="130495"/>
                      <a:pt x="179121" y="135534"/>
                    </a:cubicBezTo>
                    <a:cubicBezTo>
                      <a:pt x="175972" y="140572"/>
                      <a:pt x="170934" y="143721"/>
                      <a:pt x="165266" y="143721"/>
                    </a:cubicBezTo>
                    <a:lnTo>
                      <a:pt x="118031" y="144981"/>
                    </a:lnTo>
                    <a:lnTo>
                      <a:pt x="92209" y="184658"/>
                    </a:lnTo>
                    <a:cubicBezTo>
                      <a:pt x="88429" y="190327"/>
                      <a:pt x="83391" y="192846"/>
                      <a:pt x="77723" y="192846"/>
                    </a:cubicBezTo>
                    <a:lnTo>
                      <a:pt x="77723" y="192846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146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9438368" y="3623364"/>
            <a:ext cx="424495" cy="378512"/>
            <a:chOff x="9438368" y="3623364"/>
            <a:chExt cx="424495" cy="378512"/>
          </a:xfrm>
          <a:solidFill>
            <a:srgbClr val="B1B1A1"/>
          </a:solidFill>
        </p:grpSpPr>
        <p:sp>
          <p:nvSpPr>
            <p:cNvPr id="147" name="Forma Livre: Forma 146">
              <a:extLst>
                <a:ext uri="{FF2B5EF4-FFF2-40B4-BE49-F238E27FC236}">
                  <a16:creationId xmlns:a16="http://schemas.microsoft.com/office/drawing/2014/main" id="{96CFD8B0-C2E9-457E-9C61-B3481E86A16E}"/>
                </a:ext>
              </a:extLst>
            </p:cNvPr>
            <p:cNvSpPr/>
            <p:nvPr/>
          </p:nvSpPr>
          <p:spPr>
            <a:xfrm>
              <a:off x="9517093" y="3623364"/>
              <a:ext cx="266412" cy="269556"/>
            </a:xfrm>
            <a:custGeom>
              <a:avLst/>
              <a:gdLst>
                <a:gd name="connsiteX0" fmla="*/ 133519 w 266412"/>
                <a:gd name="connsiteY0" fmla="*/ 269556 h 269556"/>
                <a:gd name="connsiteX1" fmla="*/ 0 w 266412"/>
                <a:gd name="connsiteY1" fmla="*/ 136038 h 269556"/>
                <a:gd name="connsiteX2" fmla="*/ 0 w 266412"/>
                <a:gd name="connsiteY2" fmla="*/ 16375 h 269556"/>
                <a:gd name="connsiteX3" fmla="*/ 16376 w 266412"/>
                <a:gd name="connsiteY3" fmla="*/ 0 h 269556"/>
                <a:gd name="connsiteX4" fmla="*/ 250033 w 266412"/>
                <a:gd name="connsiteY4" fmla="*/ 0 h 269556"/>
                <a:gd name="connsiteX5" fmla="*/ 266407 w 266412"/>
                <a:gd name="connsiteY5" fmla="*/ 16375 h 269556"/>
                <a:gd name="connsiteX6" fmla="*/ 266407 w 266412"/>
                <a:gd name="connsiteY6" fmla="*/ 136038 h 269556"/>
                <a:gd name="connsiteX7" fmla="*/ 133519 w 266412"/>
                <a:gd name="connsiteY7" fmla="*/ 269556 h 269556"/>
                <a:gd name="connsiteX8" fmla="*/ 133519 w 266412"/>
                <a:gd name="connsiteY8" fmla="*/ 269556 h 269556"/>
                <a:gd name="connsiteX9" fmla="*/ 33380 w 266412"/>
                <a:gd name="connsiteY9" fmla="*/ 33380 h 269556"/>
                <a:gd name="connsiteX10" fmla="*/ 33380 w 266412"/>
                <a:gd name="connsiteY10" fmla="*/ 136038 h 269556"/>
                <a:gd name="connsiteX11" fmla="*/ 133519 w 266412"/>
                <a:gd name="connsiteY11" fmla="*/ 236177 h 269556"/>
                <a:gd name="connsiteX12" fmla="*/ 233658 w 266412"/>
                <a:gd name="connsiteY12" fmla="*/ 136038 h 269556"/>
                <a:gd name="connsiteX13" fmla="*/ 233658 w 266412"/>
                <a:gd name="connsiteY13" fmla="*/ 33380 h 269556"/>
                <a:gd name="connsiteX14" fmla="*/ 33380 w 266412"/>
                <a:gd name="connsiteY14" fmla="*/ 33380 h 269556"/>
                <a:gd name="connsiteX15" fmla="*/ 33380 w 266412"/>
                <a:gd name="connsiteY15" fmla="*/ 33380 h 269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6412" h="269556">
                  <a:moveTo>
                    <a:pt x="133519" y="269556"/>
                  </a:moveTo>
                  <a:cubicBezTo>
                    <a:pt x="59831" y="269556"/>
                    <a:pt x="0" y="209725"/>
                    <a:pt x="0" y="136038"/>
                  </a:cubicBezTo>
                  <a:lnTo>
                    <a:pt x="0" y="16375"/>
                  </a:lnTo>
                  <a:cubicBezTo>
                    <a:pt x="0" y="6928"/>
                    <a:pt x="7558" y="0"/>
                    <a:pt x="16376" y="0"/>
                  </a:cubicBezTo>
                  <a:lnTo>
                    <a:pt x="250033" y="0"/>
                  </a:lnTo>
                  <a:cubicBezTo>
                    <a:pt x="259480" y="0"/>
                    <a:pt x="266407" y="7558"/>
                    <a:pt x="266407" y="16375"/>
                  </a:cubicBezTo>
                  <a:lnTo>
                    <a:pt x="266407" y="136038"/>
                  </a:lnTo>
                  <a:cubicBezTo>
                    <a:pt x="267037" y="209725"/>
                    <a:pt x="207206" y="269556"/>
                    <a:pt x="133519" y="269556"/>
                  </a:cubicBezTo>
                  <a:lnTo>
                    <a:pt x="133519" y="269556"/>
                  </a:lnTo>
                  <a:close/>
                  <a:moveTo>
                    <a:pt x="33380" y="33380"/>
                  </a:moveTo>
                  <a:lnTo>
                    <a:pt x="33380" y="136038"/>
                  </a:lnTo>
                  <a:cubicBezTo>
                    <a:pt x="33380" y="191460"/>
                    <a:pt x="78096" y="236177"/>
                    <a:pt x="133519" y="236177"/>
                  </a:cubicBezTo>
                  <a:cubicBezTo>
                    <a:pt x="188941" y="236177"/>
                    <a:pt x="233658" y="191460"/>
                    <a:pt x="233658" y="136038"/>
                  </a:cubicBezTo>
                  <a:lnTo>
                    <a:pt x="233658" y="33380"/>
                  </a:lnTo>
                  <a:lnTo>
                    <a:pt x="33380" y="33380"/>
                  </a:lnTo>
                  <a:lnTo>
                    <a:pt x="33380" y="3338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148" name="Gráfico 2">
              <a:extLst>
                <a:ext uri="{FF2B5EF4-FFF2-40B4-BE49-F238E27FC236}">
                  <a16:creationId xmlns:a16="http://schemas.microsoft.com/office/drawing/2014/main" id="{A475B8DB-D93F-4DA6-8335-80171E5C5B8D}"/>
                </a:ext>
              </a:extLst>
            </p:cNvPr>
            <p:cNvGrpSpPr/>
            <p:nvPr/>
          </p:nvGrpSpPr>
          <p:grpSpPr>
            <a:xfrm>
              <a:off x="9438368" y="3623364"/>
              <a:ext cx="424495" cy="146114"/>
              <a:chOff x="9438368" y="3623364"/>
              <a:chExt cx="424495" cy="146114"/>
            </a:xfrm>
            <a:grpFill/>
          </p:grpSpPr>
          <p:sp>
            <p:nvSpPr>
              <p:cNvPr id="149" name="Forma Livre: Forma 148">
                <a:extLst>
                  <a:ext uri="{FF2B5EF4-FFF2-40B4-BE49-F238E27FC236}">
                    <a16:creationId xmlns:a16="http://schemas.microsoft.com/office/drawing/2014/main" id="{955267ED-2344-4D80-ABA1-6F8B55562145}"/>
                  </a:ext>
                </a:extLst>
              </p:cNvPr>
              <p:cNvSpPr/>
              <p:nvPr/>
            </p:nvSpPr>
            <p:spPr>
              <a:xfrm>
                <a:off x="9438368" y="3623364"/>
                <a:ext cx="113364" cy="146114"/>
              </a:xfrm>
              <a:custGeom>
                <a:avLst/>
                <a:gdLst>
                  <a:gd name="connsiteX0" fmla="*/ 88803 w 113364"/>
                  <a:gd name="connsiteY0" fmla="*/ 146114 h 146114"/>
                  <a:gd name="connsiteX1" fmla="*/ 0 w 113364"/>
                  <a:gd name="connsiteY1" fmla="*/ 57312 h 146114"/>
                  <a:gd name="connsiteX2" fmla="*/ 0 w 113364"/>
                  <a:gd name="connsiteY2" fmla="*/ 16375 h 146114"/>
                  <a:gd name="connsiteX3" fmla="*/ 16376 w 113364"/>
                  <a:gd name="connsiteY3" fmla="*/ 0 h 146114"/>
                  <a:gd name="connsiteX4" fmla="*/ 96990 w 113364"/>
                  <a:gd name="connsiteY4" fmla="*/ 0 h 146114"/>
                  <a:gd name="connsiteX5" fmla="*/ 113365 w 113364"/>
                  <a:gd name="connsiteY5" fmla="*/ 16375 h 146114"/>
                  <a:gd name="connsiteX6" fmla="*/ 96990 w 113364"/>
                  <a:gd name="connsiteY6" fmla="*/ 32750 h 146114"/>
                  <a:gd name="connsiteX7" fmla="*/ 32750 w 113364"/>
                  <a:gd name="connsiteY7" fmla="*/ 32750 h 146114"/>
                  <a:gd name="connsiteX8" fmla="*/ 32750 w 113364"/>
                  <a:gd name="connsiteY8" fmla="*/ 56682 h 146114"/>
                  <a:gd name="connsiteX9" fmla="*/ 88173 w 113364"/>
                  <a:gd name="connsiteY9" fmla="*/ 112105 h 146114"/>
                  <a:gd name="connsiteX10" fmla="*/ 104548 w 113364"/>
                  <a:gd name="connsiteY10" fmla="*/ 128480 h 146114"/>
                  <a:gd name="connsiteX11" fmla="*/ 88803 w 113364"/>
                  <a:gd name="connsiteY11" fmla="*/ 146114 h 146114"/>
                  <a:gd name="connsiteX12" fmla="*/ 88803 w 113364"/>
                  <a:gd name="connsiteY12" fmla="*/ 146114 h 1461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3364" h="146114">
                    <a:moveTo>
                      <a:pt x="88803" y="146114"/>
                    </a:moveTo>
                    <a:cubicBezTo>
                      <a:pt x="39678" y="146114"/>
                      <a:pt x="0" y="106437"/>
                      <a:pt x="0" y="57312"/>
                    </a:cubicBezTo>
                    <a:lnTo>
                      <a:pt x="0" y="16375"/>
                    </a:lnTo>
                    <a:cubicBezTo>
                      <a:pt x="0" y="6928"/>
                      <a:pt x="7558" y="0"/>
                      <a:pt x="16376" y="0"/>
                    </a:cubicBezTo>
                    <a:lnTo>
                      <a:pt x="96990" y="0"/>
                    </a:lnTo>
                    <a:cubicBezTo>
                      <a:pt x="106437" y="0"/>
                      <a:pt x="113365" y="7558"/>
                      <a:pt x="113365" y="16375"/>
                    </a:cubicBezTo>
                    <a:cubicBezTo>
                      <a:pt x="113365" y="25822"/>
                      <a:pt x="105807" y="32750"/>
                      <a:pt x="96990" y="32750"/>
                    </a:cubicBezTo>
                    <a:lnTo>
                      <a:pt x="32750" y="32750"/>
                    </a:lnTo>
                    <a:lnTo>
                      <a:pt x="32750" y="56682"/>
                    </a:lnTo>
                    <a:cubicBezTo>
                      <a:pt x="32750" y="87543"/>
                      <a:pt x="57942" y="112105"/>
                      <a:pt x="88173" y="112105"/>
                    </a:cubicBezTo>
                    <a:cubicBezTo>
                      <a:pt x="97620" y="112105"/>
                      <a:pt x="104548" y="119663"/>
                      <a:pt x="104548" y="128480"/>
                    </a:cubicBezTo>
                    <a:cubicBezTo>
                      <a:pt x="105178" y="139187"/>
                      <a:pt x="97620" y="146114"/>
                      <a:pt x="88803" y="146114"/>
                    </a:cubicBezTo>
                    <a:lnTo>
                      <a:pt x="88803" y="146114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50" name="Forma Livre: Forma 149">
                <a:extLst>
                  <a:ext uri="{FF2B5EF4-FFF2-40B4-BE49-F238E27FC236}">
                    <a16:creationId xmlns:a16="http://schemas.microsoft.com/office/drawing/2014/main" id="{2F146328-047A-431E-BA95-2D6205D7764A}"/>
                  </a:ext>
                </a:extLst>
              </p:cNvPr>
              <p:cNvSpPr/>
              <p:nvPr/>
            </p:nvSpPr>
            <p:spPr>
              <a:xfrm>
                <a:off x="9749491" y="3624623"/>
                <a:ext cx="113372" cy="144854"/>
              </a:xfrm>
              <a:custGeom>
                <a:avLst/>
                <a:gdLst>
                  <a:gd name="connsiteX0" fmla="*/ 25192 w 113372"/>
                  <a:gd name="connsiteY0" fmla="*/ 144855 h 144854"/>
                  <a:gd name="connsiteX1" fmla="*/ 8817 w 113372"/>
                  <a:gd name="connsiteY1" fmla="*/ 128480 h 144854"/>
                  <a:gd name="connsiteX2" fmla="*/ 25192 w 113372"/>
                  <a:gd name="connsiteY2" fmla="*/ 112105 h 144854"/>
                  <a:gd name="connsiteX3" fmla="*/ 80615 w 113372"/>
                  <a:gd name="connsiteY3" fmla="*/ 56682 h 144854"/>
                  <a:gd name="connsiteX4" fmla="*/ 80615 w 113372"/>
                  <a:gd name="connsiteY4" fmla="*/ 32750 h 144854"/>
                  <a:gd name="connsiteX5" fmla="*/ 16375 w 113372"/>
                  <a:gd name="connsiteY5" fmla="*/ 32750 h 144854"/>
                  <a:gd name="connsiteX6" fmla="*/ 0 w 113372"/>
                  <a:gd name="connsiteY6" fmla="*/ 16375 h 144854"/>
                  <a:gd name="connsiteX7" fmla="*/ 16375 w 113372"/>
                  <a:gd name="connsiteY7" fmla="*/ 0 h 144854"/>
                  <a:gd name="connsiteX8" fmla="*/ 96990 w 113372"/>
                  <a:gd name="connsiteY8" fmla="*/ 0 h 144854"/>
                  <a:gd name="connsiteX9" fmla="*/ 113365 w 113372"/>
                  <a:gd name="connsiteY9" fmla="*/ 16375 h 144854"/>
                  <a:gd name="connsiteX10" fmla="*/ 113365 w 113372"/>
                  <a:gd name="connsiteY10" fmla="*/ 57312 h 144854"/>
                  <a:gd name="connsiteX11" fmla="*/ 25192 w 113372"/>
                  <a:gd name="connsiteY11" fmla="*/ 144855 h 144854"/>
                  <a:gd name="connsiteX12" fmla="*/ 25192 w 113372"/>
                  <a:gd name="connsiteY12" fmla="*/ 144855 h 1448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3372" h="144854">
                    <a:moveTo>
                      <a:pt x="25192" y="144855"/>
                    </a:moveTo>
                    <a:cubicBezTo>
                      <a:pt x="15745" y="144855"/>
                      <a:pt x="8817" y="137297"/>
                      <a:pt x="8817" y="128480"/>
                    </a:cubicBezTo>
                    <a:cubicBezTo>
                      <a:pt x="8817" y="119033"/>
                      <a:pt x="16375" y="112105"/>
                      <a:pt x="25192" y="112105"/>
                    </a:cubicBezTo>
                    <a:cubicBezTo>
                      <a:pt x="56053" y="112105"/>
                      <a:pt x="80615" y="86913"/>
                      <a:pt x="80615" y="56682"/>
                    </a:cubicBezTo>
                    <a:lnTo>
                      <a:pt x="80615" y="32750"/>
                    </a:lnTo>
                    <a:lnTo>
                      <a:pt x="16375" y="32750"/>
                    </a:lnTo>
                    <a:cubicBezTo>
                      <a:pt x="6928" y="32750"/>
                      <a:pt x="0" y="25192"/>
                      <a:pt x="0" y="16375"/>
                    </a:cubicBezTo>
                    <a:cubicBezTo>
                      <a:pt x="0" y="6928"/>
                      <a:pt x="7558" y="0"/>
                      <a:pt x="16375" y="0"/>
                    </a:cubicBezTo>
                    <a:lnTo>
                      <a:pt x="96990" y="0"/>
                    </a:lnTo>
                    <a:cubicBezTo>
                      <a:pt x="106437" y="0"/>
                      <a:pt x="113365" y="7558"/>
                      <a:pt x="113365" y="16375"/>
                    </a:cubicBezTo>
                    <a:lnTo>
                      <a:pt x="113365" y="57312"/>
                    </a:lnTo>
                    <a:cubicBezTo>
                      <a:pt x="113994" y="105177"/>
                      <a:pt x="74317" y="144855"/>
                      <a:pt x="25192" y="144855"/>
                    </a:cubicBezTo>
                    <a:lnTo>
                      <a:pt x="25192" y="144855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151" name="Forma Livre: Forma 150">
              <a:extLst>
                <a:ext uri="{FF2B5EF4-FFF2-40B4-BE49-F238E27FC236}">
                  <a16:creationId xmlns:a16="http://schemas.microsoft.com/office/drawing/2014/main" id="{236A2C1F-6085-4E39-82EE-FE5523E4F3D5}"/>
                </a:ext>
              </a:extLst>
            </p:cNvPr>
            <p:cNvSpPr/>
            <p:nvPr/>
          </p:nvSpPr>
          <p:spPr>
            <a:xfrm>
              <a:off x="9632348" y="3865838"/>
              <a:ext cx="32786" cy="88172"/>
            </a:xfrm>
            <a:custGeom>
              <a:avLst/>
              <a:gdLst>
                <a:gd name="connsiteX0" fmla="*/ 16375 w 32786"/>
                <a:gd name="connsiteY0" fmla="*/ 88173 h 88172"/>
                <a:gd name="connsiteX1" fmla="*/ 0 w 32786"/>
                <a:gd name="connsiteY1" fmla="*/ 71797 h 88172"/>
                <a:gd name="connsiteX2" fmla="*/ 0 w 32786"/>
                <a:gd name="connsiteY2" fmla="*/ 16375 h 88172"/>
                <a:gd name="connsiteX3" fmla="*/ 16375 w 32786"/>
                <a:gd name="connsiteY3" fmla="*/ 0 h 88172"/>
                <a:gd name="connsiteX4" fmla="*/ 32749 w 32786"/>
                <a:gd name="connsiteY4" fmla="*/ 16375 h 88172"/>
                <a:gd name="connsiteX5" fmla="*/ 32749 w 32786"/>
                <a:gd name="connsiteY5" fmla="*/ 71797 h 88172"/>
                <a:gd name="connsiteX6" fmla="*/ 16375 w 32786"/>
                <a:gd name="connsiteY6" fmla="*/ 88173 h 88172"/>
                <a:gd name="connsiteX7" fmla="*/ 16375 w 32786"/>
                <a:gd name="connsiteY7" fmla="*/ 88173 h 8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786" h="88172">
                  <a:moveTo>
                    <a:pt x="16375" y="88173"/>
                  </a:moveTo>
                  <a:cubicBezTo>
                    <a:pt x="6928" y="88173"/>
                    <a:pt x="0" y="80615"/>
                    <a:pt x="0" y="71797"/>
                  </a:cubicBezTo>
                  <a:lnTo>
                    <a:pt x="0" y="16375"/>
                  </a:lnTo>
                  <a:cubicBezTo>
                    <a:pt x="0" y="6928"/>
                    <a:pt x="7557" y="0"/>
                    <a:pt x="16375" y="0"/>
                  </a:cubicBezTo>
                  <a:cubicBezTo>
                    <a:pt x="25192" y="0"/>
                    <a:pt x="32749" y="7557"/>
                    <a:pt x="32749" y="16375"/>
                  </a:cubicBezTo>
                  <a:lnTo>
                    <a:pt x="32749" y="71797"/>
                  </a:lnTo>
                  <a:cubicBezTo>
                    <a:pt x="33380" y="81244"/>
                    <a:pt x="25822" y="88173"/>
                    <a:pt x="16375" y="88173"/>
                  </a:cubicBezTo>
                  <a:lnTo>
                    <a:pt x="16375" y="88173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52" name="Forma Livre: Forma 151">
              <a:extLst>
                <a:ext uri="{FF2B5EF4-FFF2-40B4-BE49-F238E27FC236}">
                  <a16:creationId xmlns:a16="http://schemas.microsoft.com/office/drawing/2014/main" id="{59081890-EBAA-4406-8EE7-CEBE2E3EB041}"/>
                </a:ext>
              </a:extLst>
            </p:cNvPr>
            <p:cNvSpPr/>
            <p:nvPr/>
          </p:nvSpPr>
          <p:spPr>
            <a:xfrm>
              <a:off x="9501979" y="3969126"/>
              <a:ext cx="294118" cy="32749"/>
            </a:xfrm>
            <a:custGeom>
              <a:avLst/>
              <a:gdLst>
                <a:gd name="connsiteX0" fmla="*/ 277743 w 294118"/>
                <a:gd name="connsiteY0" fmla="*/ 32750 h 32749"/>
                <a:gd name="connsiteX1" fmla="*/ 16375 w 294118"/>
                <a:gd name="connsiteY1" fmla="*/ 32750 h 32749"/>
                <a:gd name="connsiteX2" fmla="*/ 0 w 294118"/>
                <a:gd name="connsiteY2" fmla="*/ 16375 h 32749"/>
                <a:gd name="connsiteX3" fmla="*/ 16375 w 294118"/>
                <a:gd name="connsiteY3" fmla="*/ 0 h 32749"/>
                <a:gd name="connsiteX4" fmla="*/ 277743 w 294118"/>
                <a:gd name="connsiteY4" fmla="*/ 0 h 32749"/>
                <a:gd name="connsiteX5" fmla="*/ 294118 w 294118"/>
                <a:gd name="connsiteY5" fmla="*/ 16375 h 32749"/>
                <a:gd name="connsiteX6" fmla="*/ 277743 w 294118"/>
                <a:gd name="connsiteY6" fmla="*/ 32750 h 32749"/>
                <a:gd name="connsiteX7" fmla="*/ 277743 w 294118"/>
                <a:gd name="connsiteY7" fmla="*/ 32750 h 32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4118" h="32749">
                  <a:moveTo>
                    <a:pt x="277743" y="32750"/>
                  </a:moveTo>
                  <a:lnTo>
                    <a:pt x="16375" y="32750"/>
                  </a:lnTo>
                  <a:cubicBezTo>
                    <a:pt x="6928" y="32750"/>
                    <a:pt x="0" y="25192"/>
                    <a:pt x="0" y="16375"/>
                  </a:cubicBezTo>
                  <a:cubicBezTo>
                    <a:pt x="0" y="6928"/>
                    <a:pt x="7557" y="0"/>
                    <a:pt x="16375" y="0"/>
                  </a:cubicBezTo>
                  <a:lnTo>
                    <a:pt x="277743" y="0"/>
                  </a:lnTo>
                  <a:cubicBezTo>
                    <a:pt x="287190" y="0"/>
                    <a:pt x="294118" y="7558"/>
                    <a:pt x="294118" y="16375"/>
                  </a:cubicBezTo>
                  <a:cubicBezTo>
                    <a:pt x="294118" y="25192"/>
                    <a:pt x="286561" y="32750"/>
                    <a:pt x="277743" y="32750"/>
                  </a:cubicBezTo>
                  <a:lnTo>
                    <a:pt x="277743" y="3275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53" name="Forma Livre: Forma 152">
              <a:extLst>
                <a:ext uri="{FF2B5EF4-FFF2-40B4-BE49-F238E27FC236}">
                  <a16:creationId xmlns:a16="http://schemas.microsoft.com/office/drawing/2014/main" id="{7EAB2977-8A9E-4A6F-B208-B61F1E57AEBF}"/>
                </a:ext>
              </a:extLst>
            </p:cNvPr>
            <p:cNvSpPr/>
            <p:nvPr/>
          </p:nvSpPr>
          <p:spPr>
            <a:xfrm>
              <a:off x="9581334" y="3925670"/>
              <a:ext cx="135407" cy="32749"/>
            </a:xfrm>
            <a:custGeom>
              <a:avLst/>
              <a:gdLst>
                <a:gd name="connsiteX0" fmla="*/ 119033 w 135407"/>
                <a:gd name="connsiteY0" fmla="*/ 32749 h 32749"/>
                <a:gd name="connsiteX1" fmla="*/ 16375 w 135407"/>
                <a:gd name="connsiteY1" fmla="*/ 32749 h 32749"/>
                <a:gd name="connsiteX2" fmla="*/ 0 w 135407"/>
                <a:gd name="connsiteY2" fmla="*/ 16375 h 32749"/>
                <a:gd name="connsiteX3" fmla="*/ 16375 w 135407"/>
                <a:gd name="connsiteY3" fmla="*/ 0 h 32749"/>
                <a:gd name="connsiteX4" fmla="*/ 119033 w 135407"/>
                <a:gd name="connsiteY4" fmla="*/ 0 h 32749"/>
                <a:gd name="connsiteX5" fmla="*/ 135408 w 135407"/>
                <a:gd name="connsiteY5" fmla="*/ 16375 h 32749"/>
                <a:gd name="connsiteX6" fmla="*/ 119033 w 135407"/>
                <a:gd name="connsiteY6" fmla="*/ 32749 h 32749"/>
                <a:gd name="connsiteX7" fmla="*/ 119033 w 135407"/>
                <a:gd name="connsiteY7" fmla="*/ 32749 h 32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5407" h="32749">
                  <a:moveTo>
                    <a:pt x="119033" y="32749"/>
                  </a:moveTo>
                  <a:lnTo>
                    <a:pt x="16375" y="32749"/>
                  </a:lnTo>
                  <a:cubicBezTo>
                    <a:pt x="6928" y="32749"/>
                    <a:pt x="0" y="25192"/>
                    <a:pt x="0" y="16375"/>
                  </a:cubicBezTo>
                  <a:cubicBezTo>
                    <a:pt x="0" y="6928"/>
                    <a:pt x="7557" y="0"/>
                    <a:pt x="16375" y="0"/>
                  </a:cubicBezTo>
                  <a:lnTo>
                    <a:pt x="119033" y="0"/>
                  </a:lnTo>
                  <a:cubicBezTo>
                    <a:pt x="128480" y="0"/>
                    <a:pt x="135408" y="7557"/>
                    <a:pt x="135408" y="16375"/>
                  </a:cubicBezTo>
                  <a:cubicBezTo>
                    <a:pt x="135408" y="25192"/>
                    <a:pt x="127850" y="32749"/>
                    <a:pt x="119033" y="32749"/>
                  </a:cubicBezTo>
                  <a:lnTo>
                    <a:pt x="119033" y="32749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54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5369205" y="3620215"/>
            <a:ext cx="384180" cy="384180"/>
            <a:chOff x="5369205" y="3620215"/>
            <a:chExt cx="384180" cy="384180"/>
          </a:xfrm>
          <a:solidFill>
            <a:srgbClr val="B1B1A1"/>
          </a:solidFill>
        </p:grpSpPr>
        <p:sp>
          <p:nvSpPr>
            <p:cNvPr id="155" name="Forma Livre: Forma 154">
              <a:extLst>
                <a:ext uri="{FF2B5EF4-FFF2-40B4-BE49-F238E27FC236}">
                  <a16:creationId xmlns:a16="http://schemas.microsoft.com/office/drawing/2014/main" id="{03303D81-9B91-45E8-9A81-AF474AAC4FCA}"/>
                </a:ext>
              </a:extLst>
            </p:cNvPr>
            <p:cNvSpPr/>
            <p:nvPr/>
          </p:nvSpPr>
          <p:spPr>
            <a:xfrm>
              <a:off x="5369205" y="3620215"/>
              <a:ext cx="384180" cy="384180"/>
            </a:xfrm>
            <a:custGeom>
              <a:avLst/>
              <a:gdLst>
                <a:gd name="connsiteX0" fmla="*/ 192090 w 384180"/>
                <a:gd name="connsiteY0" fmla="*/ 384181 h 384180"/>
                <a:gd name="connsiteX1" fmla="*/ 0 w 384180"/>
                <a:gd name="connsiteY1" fmla="*/ 192090 h 384180"/>
                <a:gd name="connsiteX2" fmla="*/ 192090 w 384180"/>
                <a:gd name="connsiteY2" fmla="*/ 0 h 384180"/>
                <a:gd name="connsiteX3" fmla="*/ 384180 w 384180"/>
                <a:gd name="connsiteY3" fmla="*/ 192090 h 384180"/>
                <a:gd name="connsiteX4" fmla="*/ 192090 w 384180"/>
                <a:gd name="connsiteY4" fmla="*/ 384181 h 384180"/>
                <a:gd name="connsiteX5" fmla="*/ 192090 w 384180"/>
                <a:gd name="connsiteY5" fmla="*/ 384181 h 384180"/>
                <a:gd name="connsiteX6" fmla="*/ 192090 w 384180"/>
                <a:gd name="connsiteY6" fmla="*/ 34009 h 384180"/>
                <a:gd name="connsiteX7" fmla="*/ 33380 w 384180"/>
                <a:gd name="connsiteY7" fmla="*/ 192720 h 384180"/>
                <a:gd name="connsiteX8" fmla="*/ 192090 w 384180"/>
                <a:gd name="connsiteY8" fmla="*/ 351431 h 384180"/>
                <a:gd name="connsiteX9" fmla="*/ 350801 w 384180"/>
                <a:gd name="connsiteY9" fmla="*/ 192720 h 384180"/>
                <a:gd name="connsiteX10" fmla="*/ 192090 w 384180"/>
                <a:gd name="connsiteY10" fmla="*/ 34009 h 384180"/>
                <a:gd name="connsiteX11" fmla="*/ 192090 w 384180"/>
                <a:gd name="connsiteY11" fmla="*/ 34009 h 384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4180" h="384180">
                  <a:moveTo>
                    <a:pt x="192090" y="384181"/>
                  </a:moveTo>
                  <a:cubicBezTo>
                    <a:pt x="86283" y="384181"/>
                    <a:pt x="0" y="297897"/>
                    <a:pt x="0" y="192090"/>
                  </a:cubicBezTo>
                  <a:cubicBezTo>
                    <a:pt x="0" y="86283"/>
                    <a:pt x="86283" y="0"/>
                    <a:pt x="192090" y="0"/>
                  </a:cubicBezTo>
                  <a:cubicBezTo>
                    <a:pt x="297898" y="0"/>
                    <a:pt x="384180" y="86283"/>
                    <a:pt x="384180" y="192090"/>
                  </a:cubicBezTo>
                  <a:cubicBezTo>
                    <a:pt x="384180" y="297897"/>
                    <a:pt x="297898" y="384181"/>
                    <a:pt x="192090" y="384181"/>
                  </a:cubicBezTo>
                  <a:lnTo>
                    <a:pt x="192090" y="384181"/>
                  </a:lnTo>
                  <a:close/>
                  <a:moveTo>
                    <a:pt x="192090" y="34009"/>
                  </a:moveTo>
                  <a:cubicBezTo>
                    <a:pt x="104548" y="34009"/>
                    <a:pt x="33380" y="105177"/>
                    <a:pt x="33380" y="192720"/>
                  </a:cubicBezTo>
                  <a:cubicBezTo>
                    <a:pt x="33380" y="280263"/>
                    <a:pt x="104548" y="351431"/>
                    <a:pt x="192090" y="351431"/>
                  </a:cubicBezTo>
                  <a:cubicBezTo>
                    <a:pt x="279633" y="351431"/>
                    <a:pt x="350801" y="280263"/>
                    <a:pt x="350801" y="192720"/>
                  </a:cubicBezTo>
                  <a:cubicBezTo>
                    <a:pt x="350801" y="104547"/>
                    <a:pt x="279633" y="34009"/>
                    <a:pt x="192090" y="34009"/>
                  </a:cubicBezTo>
                  <a:lnTo>
                    <a:pt x="192090" y="34009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156" name="Gráfico 2">
              <a:extLst>
                <a:ext uri="{FF2B5EF4-FFF2-40B4-BE49-F238E27FC236}">
                  <a16:creationId xmlns:a16="http://schemas.microsoft.com/office/drawing/2014/main" id="{A475B8DB-D93F-4DA6-8335-80171E5C5B8D}"/>
                </a:ext>
              </a:extLst>
            </p:cNvPr>
            <p:cNvGrpSpPr/>
            <p:nvPr/>
          </p:nvGrpSpPr>
          <p:grpSpPr>
            <a:xfrm>
              <a:off x="5386210" y="3637849"/>
              <a:ext cx="350171" cy="349541"/>
              <a:chOff x="5386210" y="3637849"/>
              <a:chExt cx="350171" cy="349541"/>
            </a:xfrm>
            <a:grpFill/>
          </p:grpSpPr>
          <p:grpSp>
            <p:nvGrpSpPr>
              <p:cNvPr id="157" name="Gráfico 2">
                <a:extLst>
                  <a:ext uri="{FF2B5EF4-FFF2-40B4-BE49-F238E27FC236}">
                    <a16:creationId xmlns:a16="http://schemas.microsoft.com/office/drawing/2014/main" id="{A475B8DB-D93F-4DA6-8335-80171E5C5B8D}"/>
                  </a:ext>
                </a:extLst>
              </p:cNvPr>
              <p:cNvGrpSpPr/>
              <p:nvPr/>
            </p:nvGrpSpPr>
            <p:grpSpPr>
              <a:xfrm>
                <a:off x="5386210" y="3795930"/>
                <a:ext cx="350171" cy="33379"/>
                <a:chOff x="5386210" y="3795930"/>
                <a:chExt cx="350171" cy="33379"/>
              </a:xfrm>
              <a:grpFill/>
            </p:grpSpPr>
            <p:sp>
              <p:nvSpPr>
                <p:cNvPr id="158" name="Forma Livre: Forma 157">
                  <a:extLst>
                    <a:ext uri="{FF2B5EF4-FFF2-40B4-BE49-F238E27FC236}">
                      <a16:creationId xmlns:a16="http://schemas.microsoft.com/office/drawing/2014/main" id="{517D0910-ABF9-4924-B575-084093D0E2FE}"/>
                    </a:ext>
                  </a:extLst>
                </p:cNvPr>
                <p:cNvSpPr/>
                <p:nvPr/>
              </p:nvSpPr>
              <p:spPr>
                <a:xfrm>
                  <a:off x="5386210" y="3795930"/>
                  <a:ext cx="64240" cy="33379"/>
                </a:xfrm>
                <a:custGeom>
                  <a:avLst/>
                  <a:gdLst>
                    <a:gd name="connsiteX0" fmla="*/ 64240 w 64240"/>
                    <a:gd name="connsiteY0" fmla="*/ 33380 h 33379"/>
                    <a:gd name="connsiteX1" fmla="*/ 0 w 64240"/>
                    <a:gd name="connsiteY1" fmla="*/ 33380 h 33379"/>
                    <a:gd name="connsiteX2" fmla="*/ 0 w 64240"/>
                    <a:gd name="connsiteY2" fmla="*/ 0 h 33379"/>
                    <a:gd name="connsiteX3" fmla="*/ 64240 w 64240"/>
                    <a:gd name="connsiteY3" fmla="*/ 0 h 33379"/>
                    <a:gd name="connsiteX4" fmla="*/ 64240 w 64240"/>
                    <a:gd name="connsiteY4" fmla="*/ 33380 h 333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4240" h="33379">
                      <a:moveTo>
                        <a:pt x="64240" y="33380"/>
                      </a:moveTo>
                      <a:lnTo>
                        <a:pt x="0" y="33380"/>
                      </a:lnTo>
                      <a:lnTo>
                        <a:pt x="0" y="0"/>
                      </a:lnTo>
                      <a:lnTo>
                        <a:pt x="64240" y="0"/>
                      </a:lnTo>
                      <a:lnTo>
                        <a:pt x="64240" y="33380"/>
                      </a:lnTo>
                      <a:close/>
                    </a:path>
                  </a:pathLst>
                </a:custGeom>
                <a:grpFill/>
                <a:ln w="629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159" name="Forma Livre: Forma 158">
                  <a:extLst>
                    <a:ext uri="{FF2B5EF4-FFF2-40B4-BE49-F238E27FC236}">
                      <a16:creationId xmlns:a16="http://schemas.microsoft.com/office/drawing/2014/main" id="{5CADA65F-BDF6-4370-9542-577E29251EA3}"/>
                    </a:ext>
                  </a:extLst>
                </p:cNvPr>
                <p:cNvSpPr/>
                <p:nvPr/>
              </p:nvSpPr>
              <p:spPr>
                <a:xfrm>
                  <a:off x="5672141" y="3795930"/>
                  <a:ext cx="64240" cy="33379"/>
                </a:xfrm>
                <a:custGeom>
                  <a:avLst/>
                  <a:gdLst>
                    <a:gd name="connsiteX0" fmla="*/ 64240 w 64240"/>
                    <a:gd name="connsiteY0" fmla="*/ 33380 h 33379"/>
                    <a:gd name="connsiteX1" fmla="*/ 0 w 64240"/>
                    <a:gd name="connsiteY1" fmla="*/ 33380 h 33379"/>
                    <a:gd name="connsiteX2" fmla="*/ 0 w 64240"/>
                    <a:gd name="connsiteY2" fmla="*/ 0 h 33379"/>
                    <a:gd name="connsiteX3" fmla="*/ 64240 w 64240"/>
                    <a:gd name="connsiteY3" fmla="*/ 0 h 33379"/>
                    <a:gd name="connsiteX4" fmla="*/ 64240 w 64240"/>
                    <a:gd name="connsiteY4" fmla="*/ 33380 h 333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4240" h="33379">
                      <a:moveTo>
                        <a:pt x="64240" y="33380"/>
                      </a:moveTo>
                      <a:lnTo>
                        <a:pt x="0" y="33380"/>
                      </a:lnTo>
                      <a:lnTo>
                        <a:pt x="0" y="0"/>
                      </a:lnTo>
                      <a:lnTo>
                        <a:pt x="64240" y="0"/>
                      </a:lnTo>
                      <a:lnTo>
                        <a:pt x="64240" y="33380"/>
                      </a:lnTo>
                      <a:close/>
                    </a:path>
                  </a:pathLst>
                </a:custGeom>
                <a:grpFill/>
                <a:ln w="629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grpSp>
            <p:nvGrpSpPr>
              <p:cNvPr id="160" name="Gráfico 2">
                <a:extLst>
                  <a:ext uri="{FF2B5EF4-FFF2-40B4-BE49-F238E27FC236}">
                    <a16:creationId xmlns:a16="http://schemas.microsoft.com/office/drawing/2014/main" id="{A475B8DB-D93F-4DA6-8335-80171E5C5B8D}"/>
                  </a:ext>
                </a:extLst>
              </p:cNvPr>
              <p:cNvGrpSpPr/>
              <p:nvPr/>
            </p:nvGrpSpPr>
            <p:grpSpPr>
              <a:xfrm>
                <a:off x="5544291" y="3637849"/>
                <a:ext cx="33379" cy="349541"/>
                <a:chOff x="5544291" y="3637849"/>
                <a:chExt cx="33379" cy="349541"/>
              </a:xfrm>
              <a:grpFill/>
            </p:grpSpPr>
            <p:sp>
              <p:nvSpPr>
                <p:cNvPr id="161" name="Forma Livre: Forma 160">
                  <a:extLst>
                    <a:ext uri="{FF2B5EF4-FFF2-40B4-BE49-F238E27FC236}">
                      <a16:creationId xmlns:a16="http://schemas.microsoft.com/office/drawing/2014/main" id="{7503F3F7-4AC5-41CA-A894-A6E746BA47DF}"/>
                    </a:ext>
                  </a:extLst>
                </p:cNvPr>
                <p:cNvSpPr/>
                <p:nvPr/>
              </p:nvSpPr>
              <p:spPr>
                <a:xfrm>
                  <a:off x="5544291" y="3637849"/>
                  <a:ext cx="33379" cy="63610"/>
                </a:xfrm>
                <a:custGeom>
                  <a:avLst/>
                  <a:gdLst>
                    <a:gd name="connsiteX0" fmla="*/ 33380 w 33379"/>
                    <a:gd name="connsiteY0" fmla="*/ 63610 h 63610"/>
                    <a:gd name="connsiteX1" fmla="*/ 0 w 33379"/>
                    <a:gd name="connsiteY1" fmla="*/ 63610 h 63610"/>
                    <a:gd name="connsiteX2" fmla="*/ 0 w 33379"/>
                    <a:gd name="connsiteY2" fmla="*/ 0 h 63610"/>
                    <a:gd name="connsiteX3" fmla="*/ 33380 w 33379"/>
                    <a:gd name="connsiteY3" fmla="*/ 0 h 63610"/>
                    <a:gd name="connsiteX4" fmla="*/ 33380 w 33379"/>
                    <a:gd name="connsiteY4" fmla="*/ 63610 h 636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379" h="63610">
                      <a:moveTo>
                        <a:pt x="33380" y="63610"/>
                      </a:moveTo>
                      <a:lnTo>
                        <a:pt x="0" y="63610"/>
                      </a:lnTo>
                      <a:lnTo>
                        <a:pt x="0" y="0"/>
                      </a:lnTo>
                      <a:lnTo>
                        <a:pt x="33380" y="0"/>
                      </a:lnTo>
                      <a:lnTo>
                        <a:pt x="33380" y="63610"/>
                      </a:lnTo>
                      <a:close/>
                    </a:path>
                  </a:pathLst>
                </a:custGeom>
                <a:grpFill/>
                <a:ln w="629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162" name="Forma Livre: Forma 161">
                  <a:extLst>
                    <a:ext uri="{FF2B5EF4-FFF2-40B4-BE49-F238E27FC236}">
                      <a16:creationId xmlns:a16="http://schemas.microsoft.com/office/drawing/2014/main" id="{F10C351F-F7E8-46FF-8954-5D263AC3A4B3}"/>
                    </a:ext>
                  </a:extLst>
                </p:cNvPr>
                <p:cNvSpPr/>
                <p:nvPr/>
              </p:nvSpPr>
              <p:spPr>
                <a:xfrm>
                  <a:off x="5544291" y="3923150"/>
                  <a:ext cx="33379" cy="64240"/>
                </a:xfrm>
                <a:custGeom>
                  <a:avLst/>
                  <a:gdLst>
                    <a:gd name="connsiteX0" fmla="*/ 33380 w 33379"/>
                    <a:gd name="connsiteY0" fmla="*/ 64240 h 64240"/>
                    <a:gd name="connsiteX1" fmla="*/ 0 w 33379"/>
                    <a:gd name="connsiteY1" fmla="*/ 64240 h 64240"/>
                    <a:gd name="connsiteX2" fmla="*/ 0 w 33379"/>
                    <a:gd name="connsiteY2" fmla="*/ 0 h 64240"/>
                    <a:gd name="connsiteX3" fmla="*/ 33380 w 33379"/>
                    <a:gd name="connsiteY3" fmla="*/ 0 h 64240"/>
                    <a:gd name="connsiteX4" fmla="*/ 33380 w 33379"/>
                    <a:gd name="connsiteY4" fmla="*/ 64240 h 642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379" h="64240">
                      <a:moveTo>
                        <a:pt x="33380" y="64240"/>
                      </a:moveTo>
                      <a:lnTo>
                        <a:pt x="0" y="64240"/>
                      </a:lnTo>
                      <a:lnTo>
                        <a:pt x="0" y="0"/>
                      </a:lnTo>
                      <a:lnTo>
                        <a:pt x="33380" y="0"/>
                      </a:lnTo>
                      <a:lnTo>
                        <a:pt x="33380" y="64240"/>
                      </a:lnTo>
                      <a:close/>
                    </a:path>
                  </a:pathLst>
                </a:custGeom>
                <a:grpFill/>
                <a:ln w="629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</p:grpSp>
        <p:sp>
          <p:nvSpPr>
            <p:cNvPr id="163" name="Forma Livre: Forma 162">
              <a:extLst>
                <a:ext uri="{FF2B5EF4-FFF2-40B4-BE49-F238E27FC236}">
                  <a16:creationId xmlns:a16="http://schemas.microsoft.com/office/drawing/2014/main" id="{CE034A92-31EF-40C9-A152-F4861E0002E5}"/>
                </a:ext>
              </a:extLst>
            </p:cNvPr>
            <p:cNvSpPr/>
            <p:nvPr/>
          </p:nvSpPr>
          <p:spPr>
            <a:xfrm>
              <a:off x="5542401" y="3793411"/>
              <a:ext cx="37788" cy="37788"/>
            </a:xfrm>
            <a:custGeom>
              <a:avLst/>
              <a:gdLst>
                <a:gd name="connsiteX0" fmla="*/ 18894 w 37788"/>
                <a:gd name="connsiteY0" fmla="*/ 0 h 37788"/>
                <a:gd name="connsiteX1" fmla="*/ 0 w 37788"/>
                <a:gd name="connsiteY1" fmla="*/ 18894 h 37788"/>
                <a:gd name="connsiteX2" fmla="*/ 18894 w 37788"/>
                <a:gd name="connsiteY2" fmla="*/ 37788 h 37788"/>
                <a:gd name="connsiteX3" fmla="*/ 37788 w 37788"/>
                <a:gd name="connsiteY3" fmla="*/ 18894 h 37788"/>
                <a:gd name="connsiteX4" fmla="*/ 18894 w 37788"/>
                <a:gd name="connsiteY4" fmla="*/ 0 h 37788"/>
                <a:gd name="connsiteX5" fmla="*/ 18894 w 37788"/>
                <a:gd name="connsiteY5" fmla="*/ 0 h 37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788" h="37788">
                  <a:moveTo>
                    <a:pt x="18894" y="0"/>
                  </a:moveTo>
                  <a:cubicBezTo>
                    <a:pt x="8817" y="0"/>
                    <a:pt x="0" y="8187"/>
                    <a:pt x="0" y="18894"/>
                  </a:cubicBezTo>
                  <a:cubicBezTo>
                    <a:pt x="0" y="28971"/>
                    <a:pt x="8188" y="37788"/>
                    <a:pt x="18894" y="37788"/>
                  </a:cubicBezTo>
                  <a:cubicBezTo>
                    <a:pt x="28971" y="37788"/>
                    <a:pt x="37788" y="29600"/>
                    <a:pt x="37788" y="18894"/>
                  </a:cubicBezTo>
                  <a:cubicBezTo>
                    <a:pt x="37788" y="8817"/>
                    <a:pt x="28971" y="0"/>
                    <a:pt x="18894" y="0"/>
                  </a:cubicBezTo>
                  <a:lnTo>
                    <a:pt x="18894" y="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64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6394526" y="3615806"/>
            <a:ext cx="392997" cy="392997"/>
            <a:chOff x="6394526" y="3615806"/>
            <a:chExt cx="392997" cy="392997"/>
          </a:xfrm>
          <a:solidFill>
            <a:srgbClr val="B1B1A1"/>
          </a:solidFill>
        </p:grpSpPr>
        <p:sp>
          <p:nvSpPr>
            <p:cNvPr id="165" name="Forma Livre: Forma 164">
              <a:extLst>
                <a:ext uri="{FF2B5EF4-FFF2-40B4-BE49-F238E27FC236}">
                  <a16:creationId xmlns:a16="http://schemas.microsoft.com/office/drawing/2014/main" id="{D5F92E12-DC76-4AC5-B18A-33EAD5D03E83}"/>
                </a:ext>
              </a:extLst>
            </p:cNvPr>
            <p:cNvSpPr/>
            <p:nvPr/>
          </p:nvSpPr>
          <p:spPr>
            <a:xfrm>
              <a:off x="6394526" y="3615806"/>
              <a:ext cx="392997" cy="392997"/>
            </a:xfrm>
            <a:custGeom>
              <a:avLst/>
              <a:gdLst>
                <a:gd name="connsiteX0" fmla="*/ 196499 w 392997"/>
                <a:gd name="connsiteY0" fmla="*/ 392997 h 392997"/>
                <a:gd name="connsiteX1" fmla="*/ 0 w 392997"/>
                <a:gd name="connsiteY1" fmla="*/ 196499 h 392997"/>
                <a:gd name="connsiteX2" fmla="*/ 196499 w 392997"/>
                <a:gd name="connsiteY2" fmla="*/ 0 h 392997"/>
                <a:gd name="connsiteX3" fmla="*/ 392997 w 392997"/>
                <a:gd name="connsiteY3" fmla="*/ 196499 h 392997"/>
                <a:gd name="connsiteX4" fmla="*/ 196499 w 392997"/>
                <a:gd name="connsiteY4" fmla="*/ 392997 h 392997"/>
                <a:gd name="connsiteX5" fmla="*/ 196499 w 392997"/>
                <a:gd name="connsiteY5" fmla="*/ 392997 h 392997"/>
                <a:gd name="connsiteX6" fmla="*/ 196499 w 392997"/>
                <a:gd name="connsiteY6" fmla="*/ 33380 h 392997"/>
                <a:gd name="connsiteX7" fmla="*/ 33380 w 392997"/>
                <a:gd name="connsiteY7" fmla="*/ 196499 h 392997"/>
                <a:gd name="connsiteX8" fmla="*/ 196499 w 392997"/>
                <a:gd name="connsiteY8" fmla="*/ 359618 h 392997"/>
                <a:gd name="connsiteX9" fmla="*/ 359618 w 392997"/>
                <a:gd name="connsiteY9" fmla="*/ 196499 h 392997"/>
                <a:gd name="connsiteX10" fmla="*/ 196499 w 392997"/>
                <a:gd name="connsiteY10" fmla="*/ 33380 h 392997"/>
                <a:gd name="connsiteX11" fmla="*/ 196499 w 392997"/>
                <a:gd name="connsiteY11" fmla="*/ 33380 h 392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92997" h="392997">
                  <a:moveTo>
                    <a:pt x="196499" y="392997"/>
                  </a:moveTo>
                  <a:cubicBezTo>
                    <a:pt x="88173" y="392997"/>
                    <a:pt x="0" y="304825"/>
                    <a:pt x="0" y="196499"/>
                  </a:cubicBezTo>
                  <a:cubicBezTo>
                    <a:pt x="0" y="88173"/>
                    <a:pt x="88173" y="0"/>
                    <a:pt x="196499" y="0"/>
                  </a:cubicBezTo>
                  <a:cubicBezTo>
                    <a:pt x="304825" y="0"/>
                    <a:pt x="392997" y="88173"/>
                    <a:pt x="392997" y="196499"/>
                  </a:cubicBezTo>
                  <a:cubicBezTo>
                    <a:pt x="392997" y="304825"/>
                    <a:pt x="304825" y="392997"/>
                    <a:pt x="196499" y="392997"/>
                  </a:cubicBezTo>
                  <a:lnTo>
                    <a:pt x="196499" y="392997"/>
                  </a:lnTo>
                  <a:close/>
                  <a:moveTo>
                    <a:pt x="196499" y="33380"/>
                  </a:moveTo>
                  <a:cubicBezTo>
                    <a:pt x="106437" y="33380"/>
                    <a:pt x="33380" y="106437"/>
                    <a:pt x="33380" y="196499"/>
                  </a:cubicBezTo>
                  <a:cubicBezTo>
                    <a:pt x="33380" y="286561"/>
                    <a:pt x="106437" y="359618"/>
                    <a:pt x="196499" y="359618"/>
                  </a:cubicBezTo>
                  <a:cubicBezTo>
                    <a:pt x="286561" y="359618"/>
                    <a:pt x="359618" y="286561"/>
                    <a:pt x="359618" y="196499"/>
                  </a:cubicBezTo>
                  <a:cubicBezTo>
                    <a:pt x="359618" y="106437"/>
                    <a:pt x="286561" y="33380"/>
                    <a:pt x="196499" y="33380"/>
                  </a:cubicBezTo>
                  <a:lnTo>
                    <a:pt x="196499" y="3338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66" name="Forma Livre: Forma 165">
              <a:extLst>
                <a:ext uri="{FF2B5EF4-FFF2-40B4-BE49-F238E27FC236}">
                  <a16:creationId xmlns:a16="http://schemas.microsoft.com/office/drawing/2014/main" id="{34016467-FB67-4479-92F1-E95781229882}"/>
                </a:ext>
              </a:extLst>
            </p:cNvPr>
            <p:cNvSpPr/>
            <p:nvPr/>
          </p:nvSpPr>
          <p:spPr>
            <a:xfrm>
              <a:off x="6447429" y="3668710"/>
              <a:ext cx="287190" cy="287190"/>
            </a:xfrm>
            <a:custGeom>
              <a:avLst/>
              <a:gdLst>
                <a:gd name="connsiteX0" fmla="*/ 143595 w 287190"/>
                <a:gd name="connsiteY0" fmla="*/ 287191 h 287190"/>
                <a:gd name="connsiteX1" fmla="*/ 0 w 287190"/>
                <a:gd name="connsiteY1" fmla="*/ 143595 h 287190"/>
                <a:gd name="connsiteX2" fmla="*/ 143595 w 287190"/>
                <a:gd name="connsiteY2" fmla="*/ 0 h 287190"/>
                <a:gd name="connsiteX3" fmla="*/ 287191 w 287190"/>
                <a:gd name="connsiteY3" fmla="*/ 143595 h 287190"/>
                <a:gd name="connsiteX4" fmla="*/ 143595 w 287190"/>
                <a:gd name="connsiteY4" fmla="*/ 287191 h 287190"/>
                <a:gd name="connsiteX5" fmla="*/ 143595 w 287190"/>
                <a:gd name="connsiteY5" fmla="*/ 287191 h 287190"/>
                <a:gd name="connsiteX6" fmla="*/ 143595 w 287190"/>
                <a:gd name="connsiteY6" fmla="*/ 33380 h 287190"/>
                <a:gd name="connsiteX7" fmla="*/ 33380 w 287190"/>
                <a:gd name="connsiteY7" fmla="*/ 143595 h 287190"/>
                <a:gd name="connsiteX8" fmla="*/ 143595 w 287190"/>
                <a:gd name="connsiteY8" fmla="*/ 253811 h 287190"/>
                <a:gd name="connsiteX9" fmla="*/ 253811 w 287190"/>
                <a:gd name="connsiteY9" fmla="*/ 143595 h 287190"/>
                <a:gd name="connsiteX10" fmla="*/ 143595 w 287190"/>
                <a:gd name="connsiteY10" fmla="*/ 33380 h 287190"/>
                <a:gd name="connsiteX11" fmla="*/ 143595 w 287190"/>
                <a:gd name="connsiteY11" fmla="*/ 33380 h 287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7190" h="287190">
                  <a:moveTo>
                    <a:pt x="143595" y="287191"/>
                  </a:moveTo>
                  <a:cubicBezTo>
                    <a:pt x="64240" y="287191"/>
                    <a:pt x="0" y="222951"/>
                    <a:pt x="0" y="143595"/>
                  </a:cubicBezTo>
                  <a:cubicBezTo>
                    <a:pt x="0" y="64240"/>
                    <a:pt x="64240" y="0"/>
                    <a:pt x="143595" y="0"/>
                  </a:cubicBezTo>
                  <a:cubicBezTo>
                    <a:pt x="222951" y="0"/>
                    <a:pt x="287191" y="64240"/>
                    <a:pt x="287191" y="143595"/>
                  </a:cubicBezTo>
                  <a:cubicBezTo>
                    <a:pt x="287191" y="222951"/>
                    <a:pt x="222951" y="287191"/>
                    <a:pt x="143595" y="287191"/>
                  </a:cubicBezTo>
                  <a:lnTo>
                    <a:pt x="143595" y="287191"/>
                  </a:lnTo>
                  <a:close/>
                  <a:moveTo>
                    <a:pt x="143595" y="33380"/>
                  </a:moveTo>
                  <a:cubicBezTo>
                    <a:pt x="82505" y="33380"/>
                    <a:pt x="33380" y="83134"/>
                    <a:pt x="33380" y="143595"/>
                  </a:cubicBezTo>
                  <a:cubicBezTo>
                    <a:pt x="33380" y="204686"/>
                    <a:pt x="83134" y="253811"/>
                    <a:pt x="143595" y="253811"/>
                  </a:cubicBezTo>
                  <a:cubicBezTo>
                    <a:pt x="204686" y="253811"/>
                    <a:pt x="253811" y="204056"/>
                    <a:pt x="253811" y="143595"/>
                  </a:cubicBezTo>
                  <a:cubicBezTo>
                    <a:pt x="253811" y="83134"/>
                    <a:pt x="204686" y="33380"/>
                    <a:pt x="143595" y="33380"/>
                  </a:cubicBezTo>
                  <a:lnTo>
                    <a:pt x="143595" y="3338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67" name="Forma Livre: Forma 166">
              <a:extLst>
                <a:ext uri="{FF2B5EF4-FFF2-40B4-BE49-F238E27FC236}">
                  <a16:creationId xmlns:a16="http://schemas.microsoft.com/office/drawing/2014/main" id="{7364CD29-71F1-4844-99E6-F91777EB653A}"/>
                </a:ext>
              </a:extLst>
            </p:cNvPr>
            <p:cNvSpPr/>
            <p:nvPr/>
          </p:nvSpPr>
          <p:spPr>
            <a:xfrm>
              <a:off x="6502852" y="3724132"/>
              <a:ext cx="176345" cy="176345"/>
            </a:xfrm>
            <a:custGeom>
              <a:avLst/>
              <a:gdLst>
                <a:gd name="connsiteX0" fmla="*/ 88173 w 176345"/>
                <a:gd name="connsiteY0" fmla="*/ 176345 h 176345"/>
                <a:gd name="connsiteX1" fmla="*/ 0 w 176345"/>
                <a:gd name="connsiteY1" fmla="*/ 88173 h 176345"/>
                <a:gd name="connsiteX2" fmla="*/ 88173 w 176345"/>
                <a:gd name="connsiteY2" fmla="*/ 0 h 176345"/>
                <a:gd name="connsiteX3" fmla="*/ 176345 w 176345"/>
                <a:gd name="connsiteY3" fmla="*/ 88173 h 176345"/>
                <a:gd name="connsiteX4" fmla="*/ 88173 w 176345"/>
                <a:gd name="connsiteY4" fmla="*/ 176345 h 176345"/>
                <a:gd name="connsiteX5" fmla="*/ 88173 w 176345"/>
                <a:gd name="connsiteY5" fmla="*/ 176345 h 176345"/>
                <a:gd name="connsiteX6" fmla="*/ 88173 w 176345"/>
                <a:gd name="connsiteY6" fmla="*/ 33380 h 176345"/>
                <a:gd name="connsiteX7" fmla="*/ 33380 w 176345"/>
                <a:gd name="connsiteY7" fmla="*/ 88173 h 176345"/>
                <a:gd name="connsiteX8" fmla="*/ 88173 w 176345"/>
                <a:gd name="connsiteY8" fmla="*/ 142965 h 176345"/>
                <a:gd name="connsiteX9" fmla="*/ 142966 w 176345"/>
                <a:gd name="connsiteY9" fmla="*/ 88173 h 176345"/>
                <a:gd name="connsiteX10" fmla="*/ 88173 w 176345"/>
                <a:gd name="connsiteY10" fmla="*/ 33380 h 176345"/>
                <a:gd name="connsiteX11" fmla="*/ 88173 w 176345"/>
                <a:gd name="connsiteY11" fmla="*/ 33380 h 176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76345" h="176345">
                  <a:moveTo>
                    <a:pt x="88173" y="176345"/>
                  </a:moveTo>
                  <a:cubicBezTo>
                    <a:pt x="39678" y="176345"/>
                    <a:pt x="0" y="136667"/>
                    <a:pt x="0" y="88173"/>
                  </a:cubicBezTo>
                  <a:cubicBezTo>
                    <a:pt x="0" y="39678"/>
                    <a:pt x="39678" y="0"/>
                    <a:pt x="88173" y="0"/>
                  </a:cubicBezTo>
                  <a:cubicBezTo>
                    <a:pt x="136668" y="0"/>
                    <a:pt x="176345" y="39678"/>
                    <a:pt x="176345" y="88173"/>
                  </a:cubicBezTo>
                  <a:cubicBezTo>
                    <a:pt x="176345" y="136667"/>
                    <a:pt x="136668" y="176345"/>
                    <a:pt x="88173" y="176345"/>
                  </a:cubicBezTo>
                  <a:lnTo>
                    <a:pt x="88173" y="176345"/>
                  </a:lnTo>
                  <a:close/>
                  <a:moveTo>
                    <a:pt x="88173" y="33380"/>
                  </a:moveTo>
                  <a:cubicBezTo>
                    <a:pt x="57942" y="33380"/>
                    <a:pt x="33380" y="57942"/>
                    <a:pt x="33380" y="88173"/>
                  </a:cubicBezTo>
                  <a:cubicBezTo>
                    <a:pt x="33380" y="118403"/>
                    <a:pt x="57942" y="142965"/>
                    <a:pt x="88173" y="142965"/>
                  </a:cubicBezTo>
                  <a:cubicBezTo>
                    <a:pt x="118403" y="142965"/>
                    <a:pt x="142966" y="118403"/>
                    <a:pt x="142966" y="88173"/>
                  </a:cubicBezTo>
                  <a:cubicBezTo>
                    <a:pt x="142966" y="57942"/>
                    <a:pt x="118403" y="33380"/>
                    <a:pt x="88173" y="33380"/>
                  </a:cubicBezTo>
                  <a:lnTo>
                    <a:pt x="88173" y="3338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68" name="Forma Livre: Forma 167">
              <a:extLst>
                <a:ext uri="{FF2B5EF4-FFF2-40B4-BE49-F238E27FC236}">
                  <a16:creationId xmlns:a16="http://schemas.microsoft.com/office/drawing/2014/main" id="{6DC09485-3662-4659-947B-F84377C6F6A6}"/>
                </a:ext>
              </a:extLst>
            </p:cNvPr>
            <p:cNvSpPr/>
            <p:nvPr/>
          </p:nvSpPr>
          <p:spPr>
            <a:xfrm>
              <a:off x="6558905" y="3780185"/>
              <a:ext cx="64259" cy="64869"/>
            </a:xfrm>
            <a:custGeom>
              <a:avLst/>
              <a:gdLst>
                <a:gd name="connsiteX0" fmla="*/ 32120 w 64259"/>
                <a:gd name="connsiteY0" fmla="*/ 0 h 64869"/>
                <a:gd name="connsiteX1" fmla="*/ 0 w 64259"/>
                <a:gd name="connsiteY1" fmla="*/ 32120 h 64869"/>
                <a:gd name="connsiteX2" fmla="*/ 32120 w 64259"/>
                <a:gd name="connsiteY2" fmla="*/ 64870 h 64869"/>
                <a:gd name="connsiteX3" fmla="*/ 64240 w 64259"/>
                <a:gd name="connsiteY3" fmla="*/ 32120 h 64869"/>
                <a:gd name="connsiteX4" fmla="*/ 32120 w 64259"/>
                <a:gd name="connsiteY4" fmla="*/ 0 h 64869"/>
                <a:gd name="connsiteX5" fmla="*/ 32120 w 64259"/>
                <a:gd name="connsiteY5" fmla="*/ 0 h 64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4259" h="64869">
                  <a:moveTo>
                    <a:pt x="32120" y="0"/>
                  </a:moveTo>
                  <a:cubicBezTo>
                    <a:pt x="14485" y="0"/>
                    <a:pt x="0" y="14485"/>
                    <a:pt x="0" y="32120"/>
                  </a:cubicBezTo>
                  <a:cubicBezTo>
                    <a:pt x="0" y="49755"/>
                    <a:pt x="14485" y="64870"/>
                    <a:pt x="32120" y="64870"/>
                  </a:cubicBezTo>
                  <a:cubicBezTo>
                    <a:pt x="49755" y="64870"/>
                    <a:pt x="64240" y="50384"/>
                    <a:pt x="64240" y="32120"/>
                  </a:cubicBezTo>
                  <a:cubicBezTo>
                    <a:pt x="64870" y="14485"/>
                    <a:pt x="50384" y="0"/>
                    <a:pt x="32120" y="0"/>
                  </a:cubicBezTo>
                  <a:lnTo>
                    <a:pt x="32120" y="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69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7414178" y="3610768"/>
            <a:ext cx="403143" cy="403074"/>
            <a:chOff x="7414178" y="3610768"/>
            <a:chExt cx="403143" cy="403074"/>
          </a:xfrm>
          <a:solidFill>
            <a:srgbClr val="B1B1A1"/>
          </a:solidFill>
        </p:grpSpPr>
        <p:sp>
          <p:nvSpPr>
            <p:cNvPr id="170" name="Forma Livre: Forma 169">
              <a:extLst>
                <a:ext uri="{FF2B5EF4-FFF2-40B4-BE49-F238E27FC236}">
                  <a16:creationId xmlns:a16="http://schemas.microsoft.com/office/drawing/2014/main" id="{C4EFEA09-24CE-4139-B553-6091146BDC83}"/>
                </a:ext>
              </a:extLst>
            </p:cNvPr>
            <p:cNvSpPr/>
            <p:nvPr/>
          </p:nvSpPr>
          <p:spPr>
            <a:xfrm>
              <a:off x="7442520" y="3639109"/>
              <a:ext cx="347651" cy="347651"/>
            </a:xfrm>
            <a:custGeom>
              <a:avLst/>
              <a:gdLst>
                <a:gd name="connsiteX0" fmla="*/ 173826 w 347651"/>
                <a:gd name="connsiteY0" fmla="*/ 347652 h 347651"/>
                <a:gd name="connsiteX1" fmla="*/ 51014 w 347651"/>
                <a:gd name="connsiteY1" fmla="*/ 296638 h 347651"/>
                <a:gd name="connsiteX2" fmla="*/ 0 w 347651"/>
                <a:gd name="connsiteY2" fmla="*/ 173826 h 347651"/>
                <a:gd name="connsiteX3" fmla="*/ 51014 w 347651"/>
                <a:gd name="connsiteY3" fmla="*/ 51014 h 347651"/>
                <a:gd name="connsiteX4" fmla="*/ 173826 w 347651"/>
                <a:gd name="connsiteY4" fmla="*/ 0 h 347651"/>
                <a:gd name="connsiteX5" fmla="*/ 296638 w 347651"/>
                <a:gd name="connsiteY5" fmla="*/ 51014 h 347651"/>
                <a:gd name="connsiteX6" fmla="*/ 347652 w 347651"/>
                <a:gd name="connsiteY6" fmla="*/ 173826 h 347651"/>
                <a:gd name="connsiteX7" fmla="*/ 296638 w 347651"/>
                <a:gd name="connsiteY7" fmla="*/ 296638 h 347651"/>
                <a:gd name="connsiteX8" fmla="*/ 173826 w 347651"/>
                <a:gd name="connsiteY8" fmla="*/ 347652 h 347651"/>
                <a:gd name="connsiteX9" fmla="*/ 173826 w 347651"/>
                <a:gd name="connsiteY9" fmla="*/ 347652 h 347651"/>
                <a:gd name="connsiteX10" fmla="*/ 173826 w 347651"/>
                <a:gd name="connsiteY10" fmla="*/ 32750 h 347651"/>
                <a:gd name="connsiteX11" fmla="*/ 74317 w 347651"/>
                <a:gd name="connsiteY11" fmla="*/ 73687 h 347651"/>
                <a:gd name="connsiteX12" fmla="*/ 33380 w 347651"/>
                <a:gd name="connsiteY12" fmla="*/ 173196 h 347651"/>
                <a:gd name="connsiteX13" fmla="*/ 74947 w 347651"/>
                <a:gd name="connsiteY13" fmla="*/ 272705 h 347651"/>
                <a:gd name="connsiteX14" fmla="*/ 174456 w 347651"/>
                <a:gd name="connsiteY14" fmla="*/ 313642 h 347651"/>
                <a:gd name="connsiteX15" fmla="*/ 273965 w 347651"/>
                <a:gd name="connsiteY15" fmla="*/ 272705 h 347651"/>
                <a:gd name="connsiteX16" fmla="*/ 314902 w 347651"/>
                <a:gd name="connsiteY16" fmla="*/ 173196 h 347651"/>
                <a:gd name="connsiteX17" fmla="*/ 273965 w 347651"/>
                <a:gd name="connsiteY17" fmla="*/ 73687 h 347651"/>
                <a:gd name="connsiteX18" fmla="*/ 173826 w 347651"/>
                <a:gd name="connsiteY18" fmla="*/ 32750 h 347651"/>
                <a:gd name="connsiteX19" fmla="*/ 173826 w 347651"/>
                <a:gd name="connsiteY19" fmla="*/ 32750 h 347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47651" h="347651">
                  <a:moveTo>
                    <a:pt x="173826" y="347652"/>
                  </a:moveTo>
                  <a:cubicBezTo>
                    <a:pt x="127220" y="347652"/>
                    <a:pt x="83764" y="329388"/>
                    <a:pt x="51014" y="296638"/>
                  </a:cubicBezTo>
                  <a:cubicBezTo>
                    <a:pt x="18264" y="263888"/>
                    <a:pt x="0" y="219802"/>
                    <a:pt x="0" y="173826"/>
                  </a:cubicBezTo>
                  <a:cubicBezTo>
                    <a:pt x="0" y="127220"/>
                    <a:pt x="18264" y="83764"/>
                    <a:pt x="51014" y="51014"/>
                  </a:cubicBezTo>
                  <a:cubicBezTo>
                    <a:pt x="83764" y="18264"/>
                    <a:pt x="127850" y="0"/>
                    <a:pt x="173826" y="0"/>
                  </a:cubicBezTo>
                  <a:cubicBezTo>
                    <a:pt x="220431" y="0"/>
                    <a:pt x="263888" y="18264"/>
                    <a:pt x="296638" y="51014"/>
                  </a:cubicBezTo>
                  <a:cubicBezTo>
                    <a:pt x="329387" y="83764"/>
                    <a:pt x="347652" y="127850"/>
                    <a:pt x="347652" y="173826"/>
                  </a:cubicBezTo>
                  <a:cubicBezTo>
                    <a:pt x="347652" y="220432"/>
                    <a:pt x="329387" y="263888"/>
                    <a:pt x="296638" y="296638"/>
                  </a:cubicBezTo>
                  <a:cubicBezTo>
                    <a:pt x="263888" y="329388"/>
                    <a:pt x="219802" y="347652"/>
                    <a:pt x="173826" y="347652"/>
                  </a:cubicBezTo>
                  <a:lnTo>
                    <a:pt x="173826" y="347652"/>
                  </a:lnTo>
                  <a:close/>
                  <a:moveTo>
                    <a:pt x="173826" y="32750"/>
                  </a:moveTo>
                  <a:cubicBezTo>
                    <a:pt x="136038" y="32750"/>
                    <a:pt x="100769" y="47235"/>
                    <a:pt x="74317" y="73687"/>
                  </a:cubicBezTo>
                  <a:cubicBezTo>
                    <a:pt x="47865" y="100139"/>
                    <a:pt x="33380" y="135408"/>
                    <a:pt x="33380" y="173196"/>
                  </a:cubicBezTo>
                  <a:cubicBezTo>
                    <a:pt x="33380" y="210984"/>
                    <a:pt x="47865" y="246253"/>
                    <a:pt x="74947" y="272705"/>
                  </a:cubicBezTo>
                  <a:cubicBezTo>
                    <a:pt x="101399" y="299157"/>
                    <a:pt x="136668" y="313642"/>
                    <a:pt x="174456" y="313642"/>
                  </a:cubicBezTo>
                  <a:cubicBezTo>
                    <a:pt x="212244" y="313642"/>
                    <a:pt x="247513" y="299157"/>
                    <a:pt x="273965" y="272705"/>
                  </a:cubicBezTo>
                  <a:cubicBezTo>
                    <a:pt x="300417" y="246253"/>
                    <a:pt x="314902" y="210984"/>
                    <a:pt x="314902" y="173196"/>
                  </a:cubicBezTo>
                  <a:cubicBezTo>
                    <a:pt x="314902" y="135408"/>
                    <a:pt x="300417" y="100139"/>
                    <a:pt x="273965" y="73687"/>
                  </a:cubicBezTo>
                  <a:cubicBezTo>
                    <a:pt x="246254" y="47235"/>
                    <a:pt x="210984" y="32750"/>
                    <a:pt x="173826" y="32750"/>
                  </a:cubicBezTo>
                  <a:lnTo>
                    <a:pt x="173826" y="3275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71" name="Forma Livre: Forma 170">
              <a:extLst>
                <a:ext uri="{FF2B5EF4-FFF2-40B4-BE49-F238E27FC236}">
                  <a16:creationId xmlns:a16="http://schemas.microsoft.com/office/drawing/2014/main" id="{92D2CAE2-6DF5-4B62-B385-798DCD97CC06}"/>
                </a:ext>
              </a:extLst>
            </p:cNvPr>
            <p:cNvSpPr/>
            <p:nvPr/>
          </p:nvSpPr>
          <p:spPr>
            <a:xfrm>
              <a:off x="7608158" y="3610768"/>
              <a:ext cx="16375" cy="403074"/>
            </a:xfrm>
            <a:custGeom>
              <a:avLst/>
              <a:gdLst>
                <a:gd name="connsiteX0" fmla="*/ 8188 w 16375"/>
                <a:gd name="connsiteY0" fmla="*/ 403075 h 403074"/>
                <a:gd name="connsiteX1" fmla="*/ 0 w 16375"/>
                <a:gd name="connsiteY1" fmla="*/ 394887 h 403074"/>
                <a:gd name="connsiteX2" fmla="*/ 0 w 16375"/>
                <a:gd name="connsiteY2" fmla="*/ 8188 h 403074"/>
                <a:gd name="connsiteX3" fmla="*/ 8188 w 16375"/>
                <a:gd name="connsiteY3" fmla="*/ 0 h 403074"/>
                <a:gd name="connsiteX4" fmla="*/ 16375 w 16375"/>
                <a:gd name="connsiteY4" fmla="*/ 8188 h 403074"/>
                <a:gd name="connsiteX5" fmla="*/ 16375 w 16375"/>
                <a:gd name="connsiteY5" fmla="*/ 394887 h 403074"/>
                <a:gd name="connsiteX6" fmla="*/ 8188 w 16375"/>
                <a:gd name="connsiteY6" fmla="*/ 403075 h 403074"/>
                <a:gd name="connsiteX7" fmla="*/ 8188 w 16375"/>
                <a:gd name="connsiteY7" fmla="*/ 403075 h 403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375" h="403074">
                  <a:moveTo>
                    <a:pt x="8188" y="403075"/>
                  </a:moveTo>
                  <a:cubicBezTo>
                    <a:pt x="3779" y="403075"/>
                    <a:pt x="0" y="399296"/>
                    <a:pt x="0" y="394887"/>
                  </a:cubicBezTo>
                  <a:lnTo>
                    <a:pt x="0" y="8188"/>
                  </a:lnTo>
                  <a:cubicBezTo>
                    <a:pt x="0" y="3779"/>
                    <a:pt x="3779" y="0"/>
                    <a:pt x="8188" y="0"/>
                  </a:cubicBezTo>
                  <a:cubicBezTo>
                    <a:pt x="12596" y="0"/>
                    <a:pt x="16375" y="3779"/>
                    <a:pt x="16375" y="8188"/>
                  </a:cubicBezTo>
                  <a:lnTo>
                    <a:pt x="16375" y="394887"/>
                  </a:lnTo>
                  <a:cubicBezTo>
                    <a:pt x="16375" y="399296"/>
                    <a:pt x="12596" y="403075"/>
                    <a:pt x="8188" y="403075"/>
                  </a:cubicBezTo>
                  <a:lnTo>
                    <a:pt x="8188" y="403075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72" name="Forma Livre: Forma 171">
              <a:extLst>
                <a:ext uri="{FF2B5EF4-FFF2-40B4-BE49-F238E27FC236}">
                  <a16:creationId xmlns:a16="http://schemas.microsoft.com/office/drawing/2014/main" id="{75B032BA-63F4-4D3B-A241-A3085797DD9B}"/>
                </a:ext>
              </a:extLst>
            </p:cNvPr>
            <p:cNvSpPr/>
            <p:nvPr/>
          </p:nvSpPr>
          <p:spPr>
            <a:xfrm>
              <a:off x="7414178" y="3804747"/>
              <a:ext cx="403143" cy="16374"/>
            </a:xfrm>
            <a:custGeom>
              <a:avLst/>
              <a:gdLst>
                <a:gd name="connsiteX0" fmla="*/ 394887 w 403143"/>
                <a:gd name="connsiteY0" fmla="*/ 16375 h 16374"/>
                <a:gd name="connsiteX1" fmla="*/ 8187 w 403143"/>
                <a:gd name="connsiteY1" fmla="*/ 16375 h 16374"/>
                <a:gd name="connsiteX2" fmla="*/ 0 w 403143"/>
                <a:gd name="connsiteY2" fmla="*/ 8187 h 16374"/>
                <a:gd name="connsiteX3" fmla="*/ 8187 w 403143"/>
                <a:gd name="connsiteY3" fmla="*/ 0 h 16374"/>
                <a:gd name="connsiteX4" fmla="*/ 394887 w 403143"/>
                <a:gd name="connsiteY4" fmla="*/ 0 h 16374"/>
                <a:gd name="connsiteX5" fmla="*/ 403075 w 403143"/>
                <a:gd name="connsiteY5" fmla="*/ 8187 h 16374"/>
                <a:gd name="connsiteX6" fmla="*/ 394887 w 403143"/>
                <a:gd name="connsiteY6" fmla="*/ 16375 h 16374"/>
                <a:gd name="connsiteX7" fmla="*/ 394887 w 403143"/>
                <a:gd name="connsiteY7" fmla="*/ 16375 h 1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143" h="16374">
                  <a:moveTo>
                    <a:pt x="394887" y="16375"/>
                  </a:moveTo>
                  <a:lnTo>
                    <a:pt x="8187" y="16375"/>
                  </a:lnTo>
                  <a:cubicBezTo>
                    <a:pt x="3779" y="16375"/>
                    <a:pt x="0" y="12596"/>
                    <a:pt x="0" y="8187"/>
                  </a:cubicBezTo>
                  <a:cubicBezTo>
                    <a:pt x="0" y="3779"/>
                    <a:pt x="3779" y="0"/>
                    <a:pt x="8187" y="0"/>
                  </a:cubicBezTo>
                  <a:lnTo>
                    <a:pt x="394887" y="0"/>
                  </a:lnTo>
                  <a:cubicBezTo>
                    <a:pt x="399295" y="0"/>
                    <a:pt x="403075" y="3779"/>
                    <a:pt x="403075" y="8187"/>
                  </a:cubicBezTo>
                  <a:cubicBezTo>
                    <a:pt x="403705" y="12596"/>
                    <a:pt x="399926" y="16375"/>
                    <a:pt x="394887" y="16375"/>
                  </a:cubicBezTo>
                  <a:lnTo>
                    <a:pt x="394887" y="16375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73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10478174" y="3615806"/>
            <a:ext cx="392996" cy="392997"/>
            <a:chOff x="10478174" y="3615806"/>
            <a:chExt cx="392996" cy="392997"/>
          </a:xfrm>
          <a:solidFill>
            <a:srgbClr val="B1B1A1"/>
          </a:solidFill>
        </p:grpSpPr>
        <p:sp>
          <p:nvSpPr>
            <p:cNvPr id="174" name="Forma Livre: Forma 173">
              <a:extLst>
                <a:ext uri="{FF2B5EF4-FFF2-40B4-BE49-F238E27FC236}">
                  <a16:creationId xmlns:a16="http://schemas.microsoft.com/office/drawing/2014/main" id="{B99CAAB5-6928-442B-91E6-D34502BADA64}"/>
                </a:ext>
              </a:extLst>
            </p:cNvPr>
            <p:cNvSpPr/>
            <p:nvPr/>
          </p:nvSpPr>
          <p:spPr>
            <a:xfrm>
              <a:off x="10478174" y="3615806"/>
              <a:ext cx="392996" cy="392997"/>
            </a:xfrm>
            <a:custGeom>
              <a:avLst/>
              <a:gdLst>
                <a:gd name="connsiteX0" fmla="*/ 196499 w 392996"/>
                <a:gd name="connsiteY0" fmla="*/ 392997 h 392997"/>
                <a:gd name="connsiteX1" fmla="*/ 0 w 392996"/>
                <a:gd name="connsiteY1" fmla="*/ 196499 h 392997"/>
                <a:gd name="connsiteX2" fmla="*/ 196499 w 392996"/>
                <a:gd name="connsiteY2" fmla="*/ 0 h 392997"/>
                <a:gd name="connsiteX3" fmla="*/ 392997 w 392996"/>
                <a:gd name="connsiteY3" fmla="*/ 196499 h 392997"/>
                <a:gd name="connsiteX4" fmla="*/ 196499 w 392996"/>
                <a:gd name="connsiteY4" fmla="*/ 392997 h 392997"/>
                <a:gd name="connsiteX5" fmla="*/ 196499 w 392996"/>
                <a:gd name="connsiteY5" fmla="*/ 392997 h 392997"/>
                <a:gd name="connsiteX6" fmla="*/ 196499 w 392996"/>
                <a:gd name="connsiteY6" fmla="*/ 33380 h 392997"/>
                <a:gd name="connsiteX7" fmla="*/ 81244 w 392996"/>
                <a:gd name="connsiteY7" fmla="*/ 81245 h 392997"/>
                <a:gd name="connsiteX8" fmla="*/ 33379 w 392996"/>
                <a:gd name="connsiteY8" fmla="*/ 196499 h 392997"/>
                <a:gd name="connsiteX9" fmla="*/ 196499 w 392996"/>
                <a:gd name="connsiteY9" fmla="*/ 359618 h 392997"/>
                <a:gd name="connsiteX10" fmla="*/ 359618 w 392996"/>
                <a:gd name="connsiteY10" fmla="*/ 196499 h 392997"/>
                <a:gd name="connsiteX11" fmla="*/ 196499 w 392996"/>
                <a:gd name="connsiteY11" fmla="*/ 33380 h 392997"/>
                <a:gd name="connsiteX12" fmla="*/ 196499 w 392996"/>
                <a:gd name="connsiteY12" fmla="*/ 33380 h 392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92996" h="392997">
                  <a:moveTo>
                    <a:pt x="196499" y="392997"/>
                  </a:moveTo>
                  <a:cubicBezTo>
                    <a:pt x="88173" y="392997"/>
                    <a:pt x="0" y="304825"/>
                    <a:pt x="0" y="196499"/>
                  </a:cubicBezTo>
                  <a:cubicBezTo>
                    <a:pt x="0" y="88173"/>
                    <a:pt x="88173" y="0"/>
                    <a:pt x="196499" y="0"/>
                  </a:cubicBezTo>
                  <a:cubicBezTo>
                    <a:pt x="304824" y="0"/>
                    <a:pt x="392997" y="88173"/>
                    <a:pt x="392997" y="196499"/>
                  </a:cubicBezTo>
                  <a:cubicBezTo>
                    <a:pt x="392997" y="304825"/>
                    <a:pt x="304824" y="392997"/>
                    <a:pt x="196499" y="392997"/>
                  </a:cubicBezTo>
                  <a:lnTo>
                    <a:pt x="196499" y="392997"/>
                  </a:lnTo>
                  <a:close/>
                  <a:moveTo>
                    <a:pt x="196499" y="33380"/>
                  </a:moveTo>
                  <a:cubicBezTo>
                    <a:pt x="153042" y="33380"/>
                    <a:pt x="112105" y="50384"/>
                    <a:pt x="81244" y="81245"/>
                  </a:cubicBezTo>
                  <a:cubicBezTo>
                    <a:pt x="50384" y="112105"/>
                    <a:pt x="33379" y="153042"/>
                    <a:pt x="33379" y="196499"/>
                  </a:cubicBezTo>
                  <a:cubicBezTo>
                    <a:pt x="33379" y="286561"/>
                    <a:pt x="106436" y="359618"/>
                    <a:pt x="196499" y="359618"/>
                  </a:cubicBezTo>
                  <a:cubicBezTo>
                    <a:pt x="286561" y="359618"/>
                    <a:pt x="359618" y="286561"/>
                    <a:pt x="359618" y="196499"/>
                  </a:cubicBezTo>
                  <a:cubicBezTo>
                    <a:pt x="359618" y="106437"/>
                    <a:pt x="286561" y="33380"/>
                    <a:pt x="196499" y="33380"/>
                  </a:cubicBezTo>
                  <a:lnTo>
                    <a:pt x="196499" y="3338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75" name="Forma Livre: Forma 174">
              <a:extLst>
                <a:ext uri="{FF2B5EF4-FFF2-40B4-BE49-F238E27FC236}">
                  <a16:creationId xmlns:a16="http://schemas.microsoft.com/office/drawing/2014/main" id="{24115E3B-35E0-4F76-968D-46E5D72AA000}"/>
                </a:ext>
              </a:extLst>
            </p:cNvPr>
            <p:cNvSpPr/>
            <p:nvPr/>
          </p:nvSpPr>
          <p:spPr>
            <a:xfrm>
              <a:off x="10647591" y="3624623"/>
              <a:ext cx="215393" cy="214763"/>
            </a:xfrm>
            <a:custGeom>
              <a:avLst/>
              <a:gdLst>
                <a:gd name="connsiteX0" fmla="*/ 188312 w 215393"/>
                <a:gd name="connsiteY0" fmla="*/ 214763 h 214763"/>
                <a:gd name="connsiteX1" fmla="*/ 0 w 215393"/>
                <a:gd name="connsiteY1" fmla="*/ 26452 h 214763"/>
                <a:gd name="connsiteX2" fmla="*/ 1260 w 215393"/>
                <a:gd name="connsiteY2" fmla="*/ 8187 h 214763"/>
                <a:gd name="connsiteX3" fmla="*/ 8817 w 215393"/>
                <a:gd name="connsiteY3" fmla="*/ 630 h 214763"/>
                <a:gd name="connsiteX4" fmla="*/ 27082 w 215393"/>
                <a:gd name="connsiteY4" fmla="*/ 0 h 214763"/>
                <a:gd name="connsiteX5" fmla="*/ 215393 w 215393"/>
                <a:gd name="connsiteY5" fmla="*/ 188311 h 214763"/>
                <a:gd name="connsiteX6" fmla="*/ 214133 w 215393"/>
                <a:gd name="connsiteY6" fmla="*/ 206576 h 214763"/>
                <a:gd name="connsiteX7" fmla="*/ 206576 w 215393"/>
                <a:gd name="connsiteY7" fmla="*/ 214133 h 214763"/>
                <a:gd name="connsiteX8" fmla="*/ 188312 w 215393"/>
                <a:gd name="connsiteY8" fmla="*/ 214763 h 214763"/>
                <a:gd name="connsiteX9" fmla="*/ 188312 w 215393"/>
                <a:gd name="connsiteY9" fmla="*/ 214763 h 214763"/>
                <a:gd name="connsiteX10" fmla="*/ 17005 w 215393"/>
                <a:gd name="connsiteY10" fmla="*/ 16375 h 214763"/>
                <a:gd name="connsiteX11" fmla="*/ 17005 w 215393"/>
                <a:gd name="connsiteY11" fmla="*/ 26452 h 214763"/>
                <a:gd name="connsiteX12" fmla="*/ 188312 w 215393"/>
                <a:gd name="connsiteY12" fmla="*/ 197758 h 214763"/>
                <a:gd name="connsiteX13" fmla="*/ 198388 w 215393"/>
                <a:gd name="connsiteY13" fmla="*/ 197758 h 214763"/>
                <a:gd name="connsiteX14" fmla="*/ 198388 w 215393"/>
                <a:gd name="connsiteY14" fmla="*/ 187682 h 214763"/>
                <a:gd name="connsiteX15" fmla="*/ 27082 w 215393"/>
                <a:gd name="connsiteY15" fmla="*/ 16375 h 214763"/>
                <a:gd name="connsiteX16" fmla="*/ 17005 w 215393"/>
                <a:gd name="connsiteY16" fmla="*/ 16375 h 214763"/>
                <a:gd name="connsiteX17" fmla="*/ 17005 w 215393"/>
                <a:gd name="connsiteY17" fmla="*/ 16375 h 214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5393" h="214763">
                  <a:moveTo>
                    <a:pt x="188312" y="214763"/>
                  </a:moveTo>
                  <a:cubicBezTo>
                    <a:pt x="84394" y="214763"/>
                    <a:pt x="0" y="130369"/>
                    <a:pt x="0" y="26452"/>
                  </a:cubicBezTo>
                  <a:cubicBezTo>
                    <a:pt x="0" y="20154"/>
                    <a:pt x="630" y="13856"/>
                    <a:pt x="1260" y="8187"/>
                  </a:cubicBezTo>
                  <a:cubicBezTo>
                    <a:pt x="1890" y="4409"/>
                    <a:pt x="5039" y="1259"/>
                    <a:pt x="8817" y="630"/>
                  </a:cubicBezTo>
                  <a:cubicBezTo>
                    <a:pt x="15115" y="0"/>
                    <a:pt x="20784" y="0"/>
                    <a:pt x="27082" y="0"/>
                  </a:cubicBezTo>
                  <a:cubicBezTo>
                    <a:pt x="131000" y="0"/>
                    <a:pt x="215393" y="84394"/>
                    <a:pt x="215393" y="188311"/>
                  </a:cubicBezTo>
                  <a:cubicBezTo>
                    <a:pt x="215393" y="194609"/>
                    <a:pt x="214764" y="200907"/>
                    <a:pt x="214133" y="206576"/>
                  </a:cubicBezTo>
                  <a:cubicBezTo>
                    <a:pt x="213504" y="210354"/>
                    <a:pt x="210355" y="213503"/>
                    <a:pt x="206576" y="214133"/>
                  </a:cubicBezTo>
                  <a:cubicBezTo>
                    <a:pt x="200278" y="214133"/>
                    <a:pt x="194610" y="214763"/>
                    <a:pt x="188312" y="214763"/>
                  </a:cubicBezTo>
                  <a:lnTo>
                    <a:pt x="188312" y="214763"/>
                  </a:lnTo>
                  <a:close/>
                  <a:moveTo>
                    <a:pt x="17005" y="16375"/>
                  </a:moveTo>
                  <a:cubicBezTo>
                    <a:pt x="17005" y="19524"/>
                    <a:pt x="17005" y="22673"/>
                    <a:pt x="17005" y="26452"/>
                  </a:cubicBezTo>
                  <a:cubicBezTo>
                    <a:pt x="17005" y="120922"/>
                    <a:pt x="93841" y="197758"/>
                    <a:pt x="188312" y="197758"/>
                  </a:cubicBezTo>
                  <a:cubicBezTo>
                    <a:pt x="191461" y="197758"/>
                    <a:pt x="195239" y="197758"/>
                    <a:pt x="198388" y="197758"/>
                  </a:cubicBezTo>
                  <a:cubicBezTo>
                    <a:pt x="198388" y="194609"/>
                    <a:pt x="198388" y="191460"/>
                    <a:pt x="198388" y="187682"/>
                  </a:cubicBezTo>
                  <a:cubicBezTo>
                    <a:pt x="198388" y="93211"/>
                    <a:pt x="121552" y="16375"/>
                    <a:pt x="27082" y="16375"/>
                  </a:cubicBezTo>
                  <a:cubicBezTo>
                    <a:pt x="23303" y="16375"/>
                    <a:pt x="20154" y="16375"/>
                    <a:pt x="17005" y="16375"/>
                  </a:cubicBezTo>
                  <a:lnTo>
                    <a:pt x="17005" y="16375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76" name="Forma Livre: Forma 175">
              <a:extLst>
                <a:ext uri="{FF2B5EF4-FFF2-40B4-BE49-F238E27FC236}">
                  <a16:creationId xmlns:a16="http://schemas.microsoft.com/office/drawing/2014/main" id="{8CB636E6-449F-48FC-A1C5-F806458ED977}"/>
                </a:ext>
              </a:extLst>
            </p:cNvPr>
            <p:cNvSpPr/>
            <p:nvPr/>
          </p:nvSpPr>
          <p:spPr>
            <a:xfrm>
              <a:off x="10486361" y="3785853"/>
              <a:ext cx="214762" cy="214762"/>
            </a:xfrm>
            <a:custGeom>
              <a:avLst/>
              <a:gdLst>
                <a:gd name="connsiteX0" fmla="*/ 188312 w 214762"/>
                <a:gd name="connsiteY0" fmla="*/ 214763 h 214762"/>
                <a:gd name="connsiteX1" fmla="*/ 0 w 214762"/>
                <a:gd name="connsiteY1" fmla="*/ 26452 h 214762"/>
                <a:gd name="connsiteX2" fmla="*/ 630 w 214762"/>
                <a:gd name="connsiteY2" fmla="*/ 8187 h 214762"/>
                <a:gd name="connsiteX3" fmla="*/ 8188 w 214762"/>
                <a:gd name="connsiteY3" fmla="*/ 630 h 214762"/>
                <a:gd name="connsiteX4" fmla="*/ 26452 w 214762"/>
                <a:gd name="connsiteY4" fmla="*/ 0 h 214762"/>
                <a:gd name="connsiteX5" fmla="*/ 214763 w 214762"/>
                <a:gd name="connsiteY5" fmla="*/ 188311 h 214762"/>
                <a:gd name="connsiteX6" fmla="*/ 214133 w 214762"/>
                <a:gd name="connsiteY6" fmla="*/ 206576 h 214762"/>
                <a:gd name="connsiteX7" fmla="*/ 206576 w 214762"/>
                <a:gd name="connsiteY7" fmla="*/ 214133 h 214762"/>
                <a:gd name="connsiteX8" fmla="*/ 188312 w 214762"/>
                <a:gd name="connsiteY8" fmla="*/ 214763 h 214762"/>
                <a:gd name="connsiteX9" fmla="*/ 188312 w 214762"/>
                <a:gd name="connsiteY9" fmla="*/ 214763 h 214762"/>
                <a:gd name="connsiteX10" fmla="*/ 17005 w 214762"/>
                <a:gd name="connsiteY10" fmla="*/ 17005 h 214762"/>
                <a:gd name="connsiteX11" fmla="*/ 16375 w 214762"/>
                <a:gd name="connsiteY11" fmla="*/ 27081 h 214762"/>
                <a:gd name="connsiteX12" fmla="*/ 187682 w 214762"/>
                <a:gd name="connsiteY12" fmla="*/ 198388 h 214762"/>
                <a:gd name="connsiteX13" fmla="*/ 197759 w 214762"/>
                <a:gd name="connsiteY13" fmla="*/ 198388 h 214762"/>
                <a:gd name="connsiteX14" fmla="*/ 197759 w 214762"/>
                <a:gd name="connsiteY14" fmla="*/ 188311 h 214762"/>
                <a:gd name="connsiteX15" fmla="*/ 26452 w 214762"/>
                <a:gd name="connsiteY15" fmla="*/ 17005 h 214762"/>
                <a:gd name="connsiteX16" fmla="*/ 17005 w 214762"/>
                <a:gd name="connsiteY16" fmla="*/ 17005 h 214762"/>
                <a:gd name="connsiteX17" fmla="*/ 17005 w 214762"/>
                <a:gd name="connsiteY17" fmla="*/ 17005 h 21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4762" h="214762">
                  <a:moveTo>
                    <a:pt x="188312" y="214763"/>
                  </a:moveTo>
                  <a:cubicBezTo>
                    <a:pt x="84394" y="214763"/>
                    <a:pt x="0" y="130369"/>
                    <a:pt x="0" y="26452"/>
                  </a:cubicBezTo>
                  <a:cubicBezTo>
                    <a:pt x="0" y="20154"/>
                    <a:pt x="630" y="13856"/>
                    <a:pt x="630" y="8187"/>
                  </a:cubicBezTo>
                  <a:cubicBezTo>
                    <a:pt x="1260" y="4409"/>
                    <a:pt x="4409" y="1260"/>
                    <a:pt x="8188" y="630"/>
                  </a:cubicBezTo>
                  <a:cubicBezTo>
                    <a:pt x="14486" y="0"/>
                    <a:pt x="20154" y="0"/>
                    <a:pt x="26452" y="0"/>
                  </a:cubicBezTo>
                  <a:cubicBezTo>
                    <a:pt x="130370" y="0"/>
                    <a:pt x="214763" y="84393"/>
                    <a:pt x="214763" y="188311"/>
                  </a:cubicBezTo>
                  <a:cubicBezTo>
                    <a:pt x="214763" y="194609"/>
                    <a:pt x="214133" y="200907"/>
                    <a:pt x="214133" y="206576"/>
                  </a:cubicBezTo>
                  <a:cubicBezTo>
                    <a:pt x="213504" y="210354"/>
                    <a:pt x="210355" y="213503"/>
                    <a:pt x="206576" y="214133"/>
                  </a:cubicBezTo>
                  <a:cubicBezTo>
                    <a:pt x="200278" y="214763"/>
                    <a:pt x="194610" y="214763"/>
                    <a:pt x="188312" y="214763"/>
                  </a:cubicBezTo>
                  <a:lnTo>
                    <a:pt x="188312" y="214763"/>
                  </a:lnTo>
                  <a:close/>
                  <a:moveTo>
                    <a:pt x="17005" y="17005"/>
                  </a:moveTo>
                  <a:cubicBezTo>
                    <a:pt x="17005" y="20154"/>
                    <a:pt x="16375" y="23303"/>
                    <a:pt x="16375" y="27081"/>
                  </a:cubicBezTo>
                  <a:cubicBezTo>
                    <a:pt x="16375" y="121552"/>
                    <a:pt x="93211" y="198388"/>
                    <a:pt x="187682" y="198388"/>
                  </a:cubicBezTo>
                  <a:cubicBezTo>
                    <a:pt x="190831" y="198388"/>
                    <a:pt x="194610" y="198388"/>
                    <a:pt x="197759" y="198388"/>
                  </a:cubicBezTo>
                  <a:cubicBezTo>
                    <a:pt x="197759" y="195239"/>
                    <a:pt x="197759" y="192090"/>
                    <a:pt x="197759" y="188311"/>
                  </a:cubicBezTo>
                  <a:cubicBezTo>
                    <a:pt x="197759" y="93841"/>
                    <a:pt x="120923" y="17005"/>
                    <a:pt x="26452" y="17005"/>
                  </a:cubicBezTo>
                  <a:cubicBezTo>
                    <a:pt x="23303" y="16375"/>
                    <a:pt x="20154" y="16375"/>
                    <a:pt x="17005" y="17005"/>
                  </a:cubicBezTo>
                  <a:lnTo>
                    <a:pt x="17005" y="17005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77" name="Forma Livre: Forma 176">
              <a:extLst>
                <a:ext uri="{FF2B5EF4-FFF2-40B4-BE49-F238E27FC236}">
                  <a16:creationId xmlns:a16="http://schemas.microsoft.com/office/drawing/2014/main" id="{CDB6C070-27AB-4081-99A5-944246A14474}"/>
                </a:ext>
              </a:extLst>
            </p:cNvPr>
            <p:cNvSpPr/>
            <p:nvPr/>
          </p:nvSpPr>
          <p:spPr>
            <a:xfrm>
              <a:off x="10542414" y="3680676"/>
              <a:ext cx="263887" cy="263257"/>
            </a:xfrm>
            <a:custGeom>
              <a:avLst/>
              <a:gdLst>
                <a:gd name="connsiteX0" fmla="*/ 11966 w 263887"/>
                <a:gd name="connsiteY0" fmla="*/ 263258 h 263257"/>
                <a:gd name="connsiteX1" fmla="*/ 0 w 263887"/>
                <a:gd name="connsiteY1" fmla="*/ 251922 h 263257"/>
                <a:gd name="connsiteX2" fmla="*/ 251922 w 263887"/>
                <a:gd name="connsiteY2" fmla="*/ 0 h 263257"/>
                <a:gd name="connsiteX3" fmla="*/ 263888 w 263887"/>
                <a:gd name="connsiteY3" fmla="*/ 11966 h 263257"/>
                <a:gd name="connsiteX4" fmla="*/ 11966 w 263887"/>
                <a:gd name="connsiteY4" fmla="*/ 263258 h 263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3887" h="263257">
                  <a:moveTo>
                    <a:pt x="11966" y="263258"/>
                  </a:moveTo>
                  <a:lnTo>
                    <a:pt x="0" y="251922"/>
                  </a:lnTo>
                  <a:lnTo>
                    <a:pt x="251922" y="0"/>
                  </a:lnTo>
                  <a:lnTo>
                    <a:pt x="263888" y="11966"/>
                  </a:lnTo>
                  <a:lnTo>
                    <a:pt x="11966" y="263258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78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5389392" y="5674005"/>
            <a:ext cx="343806" cy="406853"/>
            <a:chOff x="5389392" y="5674005"/>
            <a:chExt cx="343806" cy="406853"/>
          </a:xfrm>
          <a:solidFill>
            <a:srgbClr val="B1B1A1"/>
          </a:solidFill>
        </p:grpSpPr>
        <p:sp>
          <p:nvSpPr>
            <p:cNvPr id="179" name="Forma Livre: Forma 178">
              <a:extLst>
                <a:ext uri="{FF2B5EF4-FFF2-40B4-BE49-F238E27FC236}">
                  <a16:creationId xmlns:a16="http://schemas.microsoft.com/office/drawing/2014/main" id="{3F1BA576-98F1-4667-9DCD-C48FC865E773}"/>
                </a:ext>
              </a:extLst>
            </p:cNvPr>
            <p:cNvSpPr/>
            <p:nvPr/>
          </p:nvSpPr>
          <p:spPr>
            <a:xfrm>
              <a:off x="5506503" y="5806893"/>
              <a:ext cx="107696" cy="210354"/>
            </a:xfrm>
            <a:custGeom>
              <a:avLst/>
              <a:gdLst>
                <a:gd name="connsiteX0" fmla="*/ 61721 w 107696"/>
                <a:gd name="connsiteY0" fmla="*/ 9447 h 210354"/>
                <a:gd name="connsiteX1" fmla="*/ 61721 w 107696"/>
                <a:gd name="connsiteY1" fmla="*/ 20784 h 210354"/>
                <a:gd name="connsiteX2" fmla="*/ 80615 w 107696"/>
                <a:gd name="connsiteY2" fmla="*/ 25192 h 210354"/>
                <a:gd name="connsiteX3" fmla="*/ 94471 w 107696"/>
                <a:gd name="connsiteY3" fmla="*/ 35269 h 210354"/>
                <a:gd name="connsiteX4" fmla="*/ 101398 w 107696"/>
                <a:gd name="connsiteY4" fmla="*/ 45976 h 210354"/>
                <a:gd name="connsiteX5" fmla="*/ 103918 w 107696"/>
                <a:gd name="connsiteY5" fmla="*/ 56053 h 210354"/>
                <a:gd name="connsiteX6" fmla="*/ 100139 w 107696"/>
                <a:gd name="connsiteY6" fmla="*/ 64870 h 210354"/>
                <a:gd name="connsiteX7" fmla="*/ 91322 w 107696"/>
                <a:gd name="connsiteY7" fmla="*/ 68649 h 210354"/>
                <a:gd name="connsiteX8" fmla="*/ 78095 w 107696"/>
                <a:gd name="connsiteY8" fmla="*/ 57942 h 210354"/>
                <a:gd name="connsiteX9" fmla="*/ 61721 w 107696"/>
                <a:gd name="connsiteY9" fmla="*/ 40937 h 210354"/>
                <a:gd name="connsiteX10" fmla="*/ 61721 w 107696"/>
                <a:gd name="connsiteY10" fmla="*/ 83134 h 210354"/>
                <a:gd name="connsiteX11" fmla="*/ 81875 w 107696"/>
                <a:gd name="connsiteY11" fmla="*/ 89432 h 210354"/>
                <a:gd name="connsiteX12" fmla="*/ 95100 w 107696"/>
                <a:gd name="connsiteY12" fmla="*/ 97620 h 210354"/>
                <a:gd name="connsiteX13" fmla="*/ 104547 w 107696"/>
                <a:gd name="connsiteY13" fmla="*/ 110846 h 210354"/>
                <a:gd name="connsiteX14" fmla="*/ 107696 w 107696"/>
                <a:gd name="connsiteY14" fmla="*/ 127850 h 210354"/>
                <a:gd name="connsiteX15" fmla="*/ 102028 w 107696"/>
                <a:gd name="connsiteY15" fmla="*/ 149894 h 210354"/>
                <a:gd name="connsiteX16" fmla="*/ 85653 w 107696"/>
                <a:gd name="connsiteY16" fmla="*/ 166268 h 210354"/>
                <a:gd name="connsiteX17" fmla="*/ 60461 w 107696"/>
                <a:gd name="connsiteY17" fmla="*/ 173826 h 210354"/>
                <a:gd name="connsiteX18" fmla="*/ 60461 w 107696"/>
                <a:gd name="connsiteY18" fmla="*/ 199018 h 210354"/>
                <a:gd name="connsiteX19" fmla="*/ 59201 w 107696"/>
                <a:gd name="connsiteY19" fmla="*/ 207835 h 210354"/>
                <a:gd name="connsiteX20" fmla="*/ 54163 w 107696"/>
                <a:gd name="connsiteY20" fmla="*/ 210355 h 210354"/>
                <a:gd name="connsiteX21" fmla="*/ 49125 w 107696"/>
                <a:gd name="connsiteY21" fmla="*/ 207835 h 210354"/>
                <a:gd name="connsiteX22" fmla="*/ 47865 w 107696"/>
                <a:gd name="connsiteY22" fmla="*/ 200908 h 210354"/>
                <a:gd name="connsiteX23" fmla="*/ 47865 w 107696"/>
                <a:gd name="connsiteY23" fmla="*/ 173196 h 210354"/>
                <a:gd name="connsiteX24" fmla="*/ 27081 w 107696"/>
                <a:gd name="connsiteY24" fmla="*/ 167528 h 210354"/>
                <a:gd name="connsiteX25" fmla="*/ 11966 w 107696"/>
                <a:gd name="connsiteY25" fmla="*/ 156821 h 210354"/>
                <a:gd name="connsiteX26" fmla="*/ 3149 w 107696"/>
                <a:gd name="connsiteY26" fmla="*/ 143596 h 210354"/>
                <a:gd name="connsiteX27" fmla="*/ 0 w 107696"/>
                <a:gd name="connsiteY27" fmla="*/ 130369 h 210354"/>
                <a:gd name="connsiteX28" fmla="*/ 3779 w 107696"/>
                <a:gd name="connsiteY28" fmla="*/ 121552 h 210354"/>
                <a:gd name="connsiteX29" fmla="*/ 13226 w 107696"/>
                <a:gd name="connsiteY29" fmla="*/ 117773 h 210354"/>
                <a:gd name="connsiteX30" fmla="*/ 20783 w 107696"/>
                <a:gd name="connsiteY30" fmla="*/ 119663 h 210354"/>
                <a:gd name="connsiteX31" fmla="*/ 25192 w 107696"/>
                <a:gd name="connsiteY31" fmla="*/ 125961 h 210354"/>
                <a:gd name="connsiteX32" fmla="*/ 30231 w 107696"/>
                <a:gd name="connsiteY32" fmla="*/ 138557 h 210354"/>
                <a:gd name="connsiteX33" fmla="*/ 36529 w 107696"/>
                <a:gd name="connsiteY33" fmla="*/ 146745 h 210354"/>
                <a:gd name="connsiteX34" fmla="*/ 47235 w 107696"/>
                <a:gd name="connsiteY34" fmla="*/ 152413 h 210354"/>
                <a:gd name="connsiteX35" fmla="*/ 47235 w 107696"/>
                <a:gd name="connsiteY35" fmla="*/ 105177 h 210354"/>
                <a:gd name="connsiteX36" fmla="*/ 24562 w 107696"/>
                <a:gd name="connsiteY36" fmla="*/ 96990 h 210354"/>
                <a:gd name="connsiteX37" fmla="*/ 9447 w 107696"/>
                <a:gd name="connsiteY37" fmla="*/ 83764 h 210354"/>
                <a:gd name="connsiteX38" fmla="*/ 3779 w 107696"/>
                <a:gd name="connsiteY38" fmla="*/ 61721 h 210354"/>
                <a:gd name="connsiteX39" fmla="*/ 15115 w 107696"/>
                <a:gd name="connsiteY39" fmla="*/ 32750 h 210354"/>
                <a:gd name="connsiteX40" fmla="*/ 47235 w 107696"/>
                <a:gd name="connsiteY40" fmla="*/ 19524 h 210354"/>
                <a:gd name="connsiteX41" fmla="*/ 47235 w 107696"/>
                <a:gd name="connsiteY41" fmla="*/ 8817 h 210354"/>
                <a:gd name="connsiteX42" fmla="*/ 53533 w 107696"/>
                <a:gd name="connsiteY42" fmla="*/ 0 h 210354"/>
                <a:gd name="connsiteX43" fmla="*/ 61721 w 107696"/>
                <a:gd name="connsiteY43" fmla="*/ 9447 h 210354"/>
                <a:gd name="connsiteX44" fmla="*/ 48495 w 107696"/>
                <a:gd name="connsiteY44" fmla="*/ 79356 h 210354"/>
                <a:gd name="connsiteX45" fmla="*/ 48495 w 107696"/>
                <a:gd name="connsiteY45" fmla="*/ 40308 h 210354"/>
                <a:gd name="connsiteX46" fmla="*/ 35269 w 107696"/>
                <a:gd name="connsiteY46" fmla="*/ 47235 h 210354"/>
                <a:gd name="connsiteX47" fmla="*/ 30231 w 107696"/>
                <a:gd name="connsiteY47" fmla="*/ 59831 h 210354"/>
                <a:gd name="connsiteX48" fmla="*/ 34639 w 107696"/>
                <a:gd name="connsiteY48" fmla="*/ 71798 h 210354"/>
                <a:gd name="connsiteX49" fmla="*/ 48495 w 107696"/>
                <a:gd name="connsiteY49" fmla="*/ 79356 h 210354"/>
                <a:gd name="connsiteX50" fmla="*/ 61721 w 107696"/>
                <a:gd name="connsiteY50" fmla="*/ 110216 h 210354"/>
                <a:gd name="connsiteX51" fmla="*/ 61721 w 107696"/>
                <a:gd name="connsiteY51" fmla="*/ 154932 h 210354"/>
                <a:gd name="connsiteX52" fmla="*/ 77466 w 107696"/>
                <a:gd name="connsiteY52" fmla="*/ 146745 h 210354"/>
                <a:gd name="connsiteX53" fmla="*/ 83134 w 107696"/>
                <a:gd name="connsiteY53" fmla="*/ 132259 h 210354"/>
                <a:gd name="connsiteX54" fmla="*/ 77466 w 107696"/>
                <a:gd name="connsiteY54" fmla="*/ 118403 h 210354"/>
                <a:gd name="connsiteX55" fmla="*/ 61721 w 107696"/>
                <a:gd name="connsiteY55" fmla="*/ 110216 h 210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107696" h="210354">
                  <a:moveTo>
                    <a:pt x="61721" y="9447"/>
                  </a:moveTo>
                  <a:lnTo>
                    <a:pt x="61721" y="20784"/>
                  </a:lnTo>
                  <a:cubicBezTo>
                    <a:pt x="69278" y="21413"/>
                    <a:pt x="74946" y="23303"/>
                    <a:pt x="80615" y="25192"/>
                  </a:cubicBezTo>
                  <a:cubicBezTo>
                    <a:pt x="85653" y="27712"/>
                    <a:pt x="90692" y="30861"/>
                    <a:pt x="94471" y="35269"/>
                  </a:cubicBezTo>
                  <a:cubicBezTo>
                    <a:pt x="97620" y="39048"/>
                    <a:pt x="100139" y="42197"/>
                    <a:pt x="101398" y="45976"/>
                  </a:cubicBezTo>
                  <a:cubicBezTo>
                    <a:pt x="103288" y="49755"/>
                    <a:pt x="103918" y="52904"/>
                    <a:pt x="103918" y="56053"/>
                  </a:cubicBezTo>
                  <a:cubicBezTo>
                    <a:pt x="103918" y="59202"/>
                    <a:pt x="102658" y="62351"/>
                    <a:pt x="100139" y="64870"/>
                  </a:cubicBezTo>
                  <a:cubicBezTo>
                    <a:pt x="97620" y="67389"/>
                    <a:pt x="94471" y="68649"/>
                    <a:pt x="91322" y="68649"/>
                  </a:cubicBezTo>
                  <a:cubicBezTo>
                    <a:pt x="84393" y="68649"/>
                    <a:pt x="80615" y="64870"/>
                    <a:pt x="78095" y="57942"/>
                  </a:cubicBezTo>
                  <a:cubicBezTo>
                    <a:pt x="75576" y="49125"/>
                    <a:pt x="70538" y="44086"/>
                    <a:pt x="61721" y="40937"/>
                  </a:cubicBezTo>
                  <a:lnTo>
                    <a:pt x="61721" y="83134"/>
                  </a:lnTo>
                  <a:cubicBezTo>
                    <a:pt x="69908" y="85654"/>
                    <a:pt x="76836" y="87543"/>
                    <a:pt x="81875" y="89432"/>
                  </a:cubicBezTo>
                  <a:cubicBezTo>
                    <a:pt x="86913" y="91322"/>
                    <a:pt x="91322" y="93841"/>
                    <a:pt x="95100" y="97620"/>
                  </a:cubicBezTo>
                  <a:cubicBezTo>
                    <a:pt x="99509" y="101399"/>
                    <a:pt x="102658" y="105807"/>
                    <a:pt x="104547" y="110846"/>
                  </a:cubicBezTo>
                  <a:cubicBezTo>
                    <a:pt x="106437" y="115884"/>
                    <a:pt x="107696" y="121552"/>
                    <a:pt x="107696" y="127850"/>
                  </a:cubicBezTo>
                  <a:cubicBezTo>
                    <a:pt x="107696" y="135408"/>
                    <a:pt x="105807" y="142966"/>
                    <a:pt x="102028" y="149894"/>
                  </a:cubicBezTo>
                  <a:cubicBezTo>
                    <a:pt x="98249" y="156821"/>
                    <a:pt x="93211" y="162490"/>
                    <a:pt x="85653" y="166268"/>
                  </a:cubicBezTo>
                  <a:cubicBezTo>
                    <a:pt x="78725" y="170677"/>
                    <a:pt x="69908" y="173196"/>
                    <a:pt x="60461" y="173826"/>
                  </a:cubicBezTo>
                  <a:lnTo>
                    <a:pt x="60461" y="199018"/>
                  </a:lnTo>
                  <a:cubicBezTo>
                    <a:pt x="60461" y="202797"/>
                    <a:pt x="59831" y="205946"/>
                    <a:pt x="59201" y="207835"/>
                  </a:cubicBezTo>
                  <a:cubicBezTo>
                    <a:pt x="58572" y="209725"/>
                    <a:pt x="56682" y="210355"/>
                    <a:pt x="54163" y="210355"/>
                  </a:cubicBezTo>
                  <a:cubicBezTo>
                    <a:pt x="51644" y="210355"/>
                    <a:pt x="49754" y="209725"/>
                    <a:pt x="49125" y="207835"/>
                  </a:cubicBezTo>
                  <a:cubicBezTo>
                    <a:pt x="47865" y="206576"/>
                    <a:pt x="47865" y="204057"/>
                    <a:pt x="47865" y="200908"/>
                  </a:cubicBezTo>
                  <a:lnTo>
                    <a:pt x="47865" y="173196"/>
                  </a:lnTo>
                  <a:cubicBezTo>
                    <a:pt x="39678" y="172566"/>
                    <a:pt x="32749" y="170677"/>
                    <a:pt x="27081" y="167528"/>
                  </a:cubicBezTo>
                  <a:cubicBezTo>
                    <a:pt x="21413" y="164379"/>
                    <a:pt x="16375" y="161230"/>
                    <a:pt x="11966" y="156821"/>
                  </a:cubicBezTo>
                  <a:cubicBezTo>
                    <a:pt x="8187" y="152413"/>
                    <a:pt x="5038" y="148004"/>
                    <a:pt x="3149" y="143596"/>
                  </a:cubicBezTo>
                  <a:cubicBezTo>
                    <a:pt x="1259" y="139187"/>
                    <a:pt x="0" y="134778"/>
                    <a:pt x="0" y="130369"/>
                  </a:cubicBezTo>
                  <a:cubicBezTo>
                    <a:pt x="0" y="127220"/>
                    <a:pt x="1259" y="124071"/>
                    <a:pt x="3779" y="121552"/>
                  </a:cubicBezTo>
                  <a:cubicBezTo>
                    <a:pt x="6298" y="119033"/>
                    <a:pt x="9447" y="117773"/>
                    <a:pt x="13226" y="117773"/>
                  </a:cubicBezTo>
                  <a:cubicBezTo>
                    <a:pt x="16375" y="117773"/>
                    <a:pt x="18894" y="118403"/>
                    <a:pt x="20783" y="119663"/>
                  </a:cubicBezTo>
                  <a:cubicBezTo>
                    <a:pt x="22673" y="120922"/>
                    <a:pt x="24562" y="122812"/>
                    <a:pt x="25192" y="125961"/>
                  </a:cubicBezTo>
                  <a:cubicBezTo>
                    <a:pt x="27081" y="131629"/>
                    <a:pt x="28341" y="136038"/>
                    <a:pt x="30231" y="138557"/>
                  </a:cubicBezTo>
                  <a:cubicBezTo>
                    <a:pt x="31490" y="141706"/>
                    <a:pt x="33380" y="144225"/>
                    <a:pt x="36529" y="146745"/>
                  </a:cubicBezTo>
                  <a:cubicBezTo>
                    <a:pt x="39048" y="149264"/>
                    <a:pt x="42827" y="151153"/>
                    <a:pt x="47235" y="152413"/>
                  </a:cubicBezTo>
                  <a:lnTo>
                    <a:pt x="47235" y="105177"/>
                  </a:lnTo>
                  <a:cubicBezTo>
                    <a:pt x="38418" y="102658"/>
                    <a:pt x="30231" y="100139"/>
                    <a:pt x="24562" y="96990"/>
                  </a:cubicBezTo>
                  <a:cubicBezTo>
                    <a:pt x="18264" y="93841"/>
                    <a:pt x="13226" y="89432"/>
                    <a:pt x="9447" y="83764"/>
                  </a:cubicBezTo>
                  <a:cubicBezTo>
                    <a:pt x="5668" y="78096"/>
                    <a:pt x="3779" y="70538"/>
                    <a:pt x="3779" y="61721"/>
                  </a:cubicBezTo>
                  <a:cubicBezTo>
                    <a:pt x="3779" y="49755"/>
                    <a:pt x="7557" y="40308"/>
                    <a:pt x="15115" y="32750"/>
                  </a:cubicBezTo>
                  <a:cubicBezTo>
                    <a:pt x="22673" y="25192"/>
                    <a:pt x="33380" y="20784"/>
                    <a:pt x="47235" y="19524"/>
                  </a:cubicBezTo>
                  <a:lnTo>
                    <a:pt x="47235" y="8817"/>
                  </a:lnTo>
                  <a:cubicBezTo>
                    <a:pt x="47235" y="3149"/>
                    <a:pt x="49125" y="0"/>
                    <a:pt x="53533" y="0"/>
                  </a:cubicBezTo>
                  <a:cubicBezTo>
                    <a:pt x="59201" y="1260"/>
                    <a:pt x="61721" y="3779"/>
                    <a:pt x="61721" y="9447"/>
                  </a:cubicBezTo>
                  <a:close/>
                  <a:moveTo>
                    <a:pt x="48495" y="79356"/>
                  </a:moveTo>
                  <a:lnTo>
                    <a:pt x="48495" y="40308"/>
                  </a:lnTo>
                  <a:cubicBezTo>
                    <a:pt x="42827" y="42197"/>
                    <a:pt x="38418" y="44086"/>
                    <a:pt x="35269" y="47235"/>
                  </a:cubicBezTo>
                  <a:cubicBezTo>
                    <a:pt x="32120" y="49755"/>
                    <a:pt x="30231" y="54163"/>
                    <a:pt x="30231" y="59831"/>
                  </a:cubicBezTo>
                  <a:cubicBezTo>
                    <a:pt x="30231" y="65500"/>
                    <a:pt x="31490" y="69278"/>
                    <a:pt x="34639" y="71798"/>
                  </a:cubicBezTo>
                  <a:cubicBezTo>
                    <a:pt x="37788" y="74947"/>
                    <a:pt x="42197" y="77466"/>
                    <a:pt x="48495" y="79356"/>
                  </a:cubicBezTo>
                  <a:close/>
                  <a:moveTo>
                    <a:pt x="61721" y="110216"/>
                  </a:moveTo>
                  <a:lnTo>
                    <a:pt x="61721" y="154932"/>
                  </a:lnTo>
                  <a:cubicBezTo>
                    <a:pt x="68648" y="153672"/>
                    <a:pt x="73687" y="151153"/>
                    <a:pt x="77466" y="146745"/>
                  </a:cubicBezTo>
                  <a:cubicBezTo>
                    <a:pt x="81244" y="142336"/>
                    <a:pt x="83134" y="137927"/>
                    <a:pt x="83134" y="132259"/>
                  </a:cubicBezTo>
                  <a:cubicBezTo>
                    <a:pt x="83134" y="126591"/>
                    <a:pt x="81244" y="121552"/>
                    <a:pt x="77466" y="118403"/>
                  </a:cubicBezTo>
                  <a:cubicBezTo>
                    <a:pt x="73687" y="114624"/>
                    <a:pt x="68648" y="112105"/>
                    <a:pt x="61721" y="110216"/>
                  </a:cubicBez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80" name="Forma Livre: Forma 179">
              <a:extLst>
                <a:ext uri="{FF2B5EF4-FFF2-40B4-BE49-F238E27FC236}">
                  <a16:creationId xmlns:a16="http://schemas.microsoft.com/office/drawing/2014/main" id="{EBA2063C-060E-4C69-85C9-2504F927DC43}"/>
                </a:ext>
              </a:extLst>
            </p:cNvPr>
            <p:cNvSpPr/>
            <p:nvPr/>
          </p:nvSpPr>
          <p:spPr>
            <a:xfrm>
              <a:off x="5456259" y="5674005"/>
              <a:ext cx="207279" cy="103287"/>
            </a:xfrm>
            <a:custGeom>
              <a:avLst/>
              <a:gdLst>
                <a:gd name="connsiteX0" fmla="*/ 140306 w 207279"/>
                <a:gd name="connsiteY0" fmla="*/ 103288 h 103287"/>
                <a:gd name="connsiteX1" fmla="*/ 69138 w 207279"/>
                <a:gd name="connsiteY1" fmla="*/ 103288 h 103287"/>
                <a:gd name="connsiteX2" fmla="*/ 56542 w 207279"/>
                <a:gd name="connsiteY2" fmla="*/ 97620 h 103287"/>
                <a:gd name="connsiteX3" fmla="*/ 4268 w 207279"/>
                <a:gd name="connsiteY3" fmla="*/ 38418 h 103287"/>
                <a:gd name="connsiteX4" fmla="*/ 1749 w 207279"/>
                <a:gd name="connsiteY4" fmla="*/ 20783 h 103287"/>
                <a:gd name="connsiteX5" fmla="*/ 16864 w 207279"/>
                <a:gd name="connsiteY5" fmla="*/ 10707 h 103287"/>
                <a:gd name="connsiteX6" fmla="*/ 21273 w 207279"/>
                <a:gd name="connsiteY6" fmla="*/ 8817 h 103287"/>
                <a:gd name="connsiteX7" fmla="*/ 45836 w 207279"/>
                <a:gd name="connsiteY7" fmla="*/ 0 h 103287"/>
                <a:gd name="connsiteX8" fmla="*/ 70398 w 207279"/>
                <a:gd name="connsiteY8" fmla="*/ 8817 h 103287"/>
                <a:gd name="connsiteX9" fmla="*/ 74806 w 207279"/>
                <a:gd name="connsiteY9" fmla="*/ 10707 h 103287"/>
                <a:gd name="connsiteX10" fmla="*/ 79215 w 207279"/>
                <a:gd name="connsiteY10" fmla="*/ 8817 h 103287"/>
                <a:gd name="connsiteX11" fmla="*/ 103778 w 207279"/>
                <a:gd name="connsiteY11" fmla="*/ 0 h 103287"/>
                <a:gd name="connsiteX12" fmla="*/ 128340 w 207279"/>
                <a:gd name="connsiteY12" fmla="*/ 8817 h 103287"/>
                <a:gd name="connsiteX13" fmla="*/ 132748 w 207279"/>
                <a:gd name="connsiteY13" fmla="*/ 10707 h 103287"/>
                <a:gd name="connsiteX14" fmla="*/ 137157 w 207279"/>
                <a:gd name="connsiteY14" fmla="*/ 8817 h 103287"/>
                <a:gd name="connsiteX15" fmla="*/ 161719 w 207279"/>
                <a:gd name="connsiteY15" fmla="*/ 0 h 103287"/>
                <a:gd name="connsiteX16" fmla="*/ 186282 w 207279"/>
                <a:gd name="connsiteY16" fmla="*/ 8817 h 103287"/>
                <a:gd name="connsiteX17" fmla="*/ 190690 w 207279"/>
                <a:gd name="connsiteY17" fmla="*/ 10707 h 103287"/>
                <a:gd name="connsiteX18" fmla="*/ 205805 w 207279"/>
                <a:gd name="connsiteY18" fmla="*/ 20783 h 103287"/>
                <a:gd name="connsiteX19" fmla="*/ 203286 w 207279"/>
                <a:gd name="connsiteY19" fmla="*/ 38418 h 103287"/>
                <a:gd name="connsiteX20" fmla="*/ 151013 w 207279"/>
                <a:gd name="connsiteY20" fmla="*/ 97620 h 103287"/>
                <a:gd name="connsiteX21" fmla="*/ 140306 w 207279"/>
                <a:gd name="connsiteY21" fmla="*/ 103288 h 103287"/>
                <a:gd name="connsiteX22" fmla="*/ 140306 w 207279"/>
                <a:gd name="connsiteY22" fmla="*/ 103288 h 103287"/>
                <a:gd name="connsiteX23" fmla="*/ 76696 w 207279"/>
                <a:gd name="connsiteY23" fmla="*/ 69908 h 103287"/>
                <a:gd name="connsiteX24" fmla="*/ 132748 w 207279"/>
                <a:gd name="connsiteY24" fmla="*/ 69908 h 103287"/>
                <a:gd name="connsiteX25" fmla="*/ 164868 w 207279"/>
                <a:gd name="connsiteY25" fmla="*/ 33380 h 103287"/>
                <a:gd name="connsiteX26" fmla="*/ 162979 w 207279"/>
                <a:gd name="connsiteY26" fmla="*/ 32750 h 103287"/>
                <a:gd name="connsiteX27" fmla="*/ 158570 w 207279"/>
                <a:gd name="connsiteY27" fmla="*/ 34639 h 103287"/>
                <a:gd name="connsiteX28" fmla="*/ 134008 w 207279"/>
                <a:gd name="connsiteY28" fmla="*/ 43457 h 103287"/>
                <a:gd name="connsiteX29" fmla="*/ 109446 w 207279"/>
                <a:gd name="connsiteY29" fmla="*/ 34639 h 103287"/>
                <a:gd name="connsiteX30" fmla="*/ 105037 w 207279"/>
                <a:gd name="connsiteY30" fmla="*/ 32750 h 103287"/>
                <a:gd name="connsiteX31" fmla="*/ 100629 w 207279"/>
                <a:gd name="connsiteY31" fmla="*/ 34639 h 103287"/>
                <a:gd name="connsiteX32" fmla="*/ 76066 w 207279"/>
                <a:gd name="connsiteY32" fmla="*/ 43457 h 103287"/>
                <a:gd name="connsiteX33" fmla="*/ 51504 w 207279"/>
                <a:gd name="connsiteY33" fmla="*/ 34639 h 103287"/>
                <a:gd name="connsiteX34" fmla="*/ 47095 w 207279"/>
                <a:gd name="connsiteY34" fmla="*/ 32750 h 103287"/>
                <a:gd name="connsiteX35" fmla="*/ 45205 w 207279"/>
                <a:gd name="connsiteY35" fmla="*/ 32750 h 103287"/>
                <a:gd name="connsiteX36" fmla="*/ 76696 w 207279"/>
                <a:gd name="connsiteY36" fmla="*/ 69908 h 103287"/>
                <a:gd name="connsiteX37" fmla="*/ 76696 w 207279"/>
                <a:gd name="connsiteY37" fmla="*/ 69908 h 103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07279" h="103287">
                  <a:moveTo>
                    <a:pt x="140306" y="103288"/>
                  </a:moveTo>
                  <a:lnTo>
                    <a:pt x="69138" y="103288"/>
                  </a:lnTo>
                  <a:cubicBezTo>
                    <a:pt x="64100" y="103288"/>
                    <a:pt x="59691" y="101398"/>
                    <a:pt x="56542" y="97620"/>
                  </a:cubicBezTo>
                  <a:lnTo>
                    <a:pt x="4268" y="38418"/>
                  </a:lnTo>
                  <a:cubicBezTo>
                    <a:pt x="-140" y="33380"/>
                    <a:pt x="-1400" y="26452"/>
                    <a:pt x="1749" y="20783"/>
                  </a:cubicBezTo>
                  <a:cubicBezTo>
                    <a:pt x="4268" y="15115"/>
                    <a:pt x="10566" y="10707"/>
                    <a:pt x="16864" y="10707"/>
                  </a:cubicBezTo>
                  <a:cubicBezTo>
                    <a:pt x="18754" y="10707"/>
                    <a:pt x="18754" y="10707"/>
                    <a:pt x="21273" y="8817"/>
                  </a:cubicBezTo>
                  <a:cubicBezTo>
                    <a:pt x="25682" y="5668"/>
                    <a:pt x="33239" y="0"/>
                    <a:pt x="45836" y="0"/>
                  </a:cubicBezTo>
                  <a:cubicBezTo>
                    <a:pt x="59061" y="0"/>
                    <a:pt x="65989" y="5668"/>
                    <a:pt x="70398" y="8817"/>
                  </a:cubicBezTo>
                  <a:cubicBezTo>
                    <a:pt x="72917" y="10707"/>
                    <a:pt x="72917" y="10707"/>
                    <a:pt x="74806" y="10707"/>
                  </a:cubicBezTo>
                  <a:cubicBezTo>
                    <a:pt x="76696" y="10707"/>
                    <a:pt x="76696" y="10707"/>
                    <a:pt x="79215" y="8817"/>
                  </a:cubicBezTo>
                  <a:cubicBezTo>
                    <a:pt x="83624" y="5668"/>
                    <a:pt x="91181" y="0"/>
                    <a:pt x="103778" y="0"/>
                  </a:cubicBezTo>
                  <a:cubicBezTo>
                    <a:pt x="117003" y="0"/>
                    <a:pt x="123931" y="5668"/>
                    <a:pt x="128340" y="8817"/>
                  </a:cubicBezTo>
                  <a:cubicBezTo>
                    <a:pt x="130859" y="10707"/>
                    <a:pt x="130859" y="10707"/>
                    <a:pt x="132748" y="10707"/>
                  </a:cubicBezTo>
                  <a:cubicBezTo>
                    <a:pt x="134638" y="10707"/>
                    <a:pt x="134638" y="10707"/>
                    <a:pt x="137157" y="8817"/>
                  </a:cubicBezTo>
                  <a:cubicBezTo>
                    <a:pt x="141566" y="5668"/>
                    <a:pt x="149123" y="0"/>
                    <a:pt x="161719" y="0"/>
                  </a:cubicBezTo>
                  <a:cubicBezTo>
                    <a:pt x="174945" y="0"/>
                    <a:pt x="181873" y="5668"/>
                    <a:pt x="186282" y="8817"/>
                  </a:cubicBezTo>
                  <a:cubicBezTo>
                    <a:pt x="189431" y="10707"/>
                    <a:pt x="189431" y="10707"/>
                    <a:pt x="190690" y="10707"/>
                  </a:cubicBezTo>
                  <a:cubicBezTo>
                    <a:pt x="196988" y="10707"/>
                    <a:pt x="203286" y="14485"/>
                    <a:pt x="205805" y="20783"/>
                  </a:cubicBezTo>
                  <a:cubicBezTo>
                    <a:pt x="208325" y="26452"/>
                    <a:pt x="207695" y="34010"/>
                    <a:pt x="203286" y="38418"/>
                  </a:cubicBezTo>
                  <a:lnTo>
                    <a:pt x="151013" y="97620"/>
                  </a:lnTo>
                  <a:cubicBezTo>
                    <a:pt x="149753" y="101398"/>
                    <a:pt x="145344" y="103288"/>
                    <a:pt x="140306" y="103288"/>
                  </a:cubicBezTo>
                  <a:lnTo>
                    <a:pt x="140306" y="103288"/>
                  </a:lnTo>
                  <a:close/>
                  <a:moveTo>
                    <a:pt x="76696" y="69908"/>
                  </a:moveTo>
                  <a:lnTo>
                    <a:pt x="132748" y="69908"/>
                  </a:lnTo>
                  <a:lnTo>
                    <a:pt x="164868" y="33380"/>
                  </a:lnTo>
                  <a:cubicBezTo>
                    <a:pt x="164239" y="32750"/>
                    <a:pt x="163609" y="32750"/>
                    <a:pt x="162979" y="32750"/>
                  </a:cubicBezTo>
                  <a:cubicBezTo>
                    <a:pt x="161090" y="32750"/>
                    <a:pt x="161090" y="32750"/>
                    <a:pt x="158570" y="34639"/>
                  </a:cubicBezTo>
                  <a:cubicBezTo>
                    <a:pt x="154162" y="37788"/>
                    <a:pt x="146604" y="43457"/>
                    <a:pt x="134008" y="43457"/>
                  </a:cubicBezTo>
                  <a:cubicBezTo>
                    <a:pt x="120782" y="43457"/>
                    <a:pt x="113854" y="37788"/>
                    <a:pt x="109446" y="34639"/>
                  </a:cubicBezTo>
                  <a:cubicBezTo>
                    <a:pt x="106927" y="32750"/>
                    <a:pt x="106927" y="32750"/>
                    <a:pt x="105037" y="32750"/>
                  </a:cubicBezTo>
                  <a:cubicBezTo>
                    <a:pt x="103148" y="32750"/>
                    <a:pt x="103148" y="32750"/>
                    <a:pt x="100629" y="34639"/>
                  </a:cubicBezTo>
                  <a:cubicBezTo>
                    <a:pt x="96220" y="37788"/>
                    <a:pt x="88662" y="43457"/>
                    <a:pt x="76066" y="43457"/>
                  </a:cubicBezTo>
                  <a:cubicBezTo>
                    <a:pt x="62840" y="43457"/>
                    <a:pt x="55912" y="37788"/>
                    <a:pt x="51504" y="34639"/>
                  </a:cubicBezTo>
                  <a:cubicBezTo>
                    <a:pt x="48985" y="32750"/>
                    <a:pt x="48985" y="32750"/>
                    <a:pt x="47095" y="32750"/>
                  </a:cubicBezTo>
                  <a:cubicBezTo>
                    <a:pt x="46465" y="32750"/>
                    <a:pt x="45836" y="32750"/>
                    <a:pt x="45205" y="32750"/>
                  </a:cubicBezTo>
                  <a:lnTo>
                    <a:pt x="76696" y="69908"/>
                  </a:lnTo>
                  <a:lnTo>
                    <a:pt x="76696" y="69908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81" name="Forma Livre: Forma 180">
              <a:extLst>
                <a:ext uri="{FF2B5EF4-FFF2-40B4-BE49-F238E27FC236}">
                  <a16:creationId xmlns:a16="http://schemas.microsoft.com/office/drawing/2014/main" id="{9A43DB72-1E7B-4823-BE2F-BFC21BB9ED71}"/>
                </a:ext>
              </a:extLst>
            </p:cNvPr>
            <p:cNvSpPr/>
            <p:nvPr/>
          </p:nvSpPr>
          <p:spPr>
            <a:xfrm>
              <a:off x="5389392" y="5747692"/>
              <a:ext cx="343806" cy="333165"/>
            </a:xfrm>
            <a:custGeom>
              <a:avLst/>
              <a:gdLst>
                <a:gd name="connsiteX0" fmla="*/ 171903 w 343806"/>
                <a:gd name="connsiteY0" fmla="*/ 333166 h 333165"/>
                <a:gd name="connsiteX1" fmla="*/ 24529 w 343806"/>
                <a:gd name="connsiteY1" fmla="*/ 310493 h 333165"/>
                <a:gd name="connsiteX2" fmla="*/ 6265 w 343806"/>
                <a:gd name="connsiteY2" fmla="*/ 251292 h 333165"/>
                <a:gd name="connsiteX3" fmla="*/ 8154 w 343806"/>
                <a:gd name="connsiteY3" fmla="*/ 246253 h 333165"/>
                <a:gd name="connsiteX4" fmla="*/ 10044 w 343806"/>
                <a:gd name="connsiteY4" fmla="*/ 212874 h 333165"/>
                <a:gd name="connsiteX5" fmla="*/ 20750 w 343806"/>
                <a:gd name="connsiteY5" fmla="*/ 91322 h 333165"/>
                <a:gd name="connsiteX6" fmla="*/ 125928 w 343806"/>
                <a:gd name="connsiteY6" fmla="*/ 1889 h 333165"/>
                <a:gd name="connsiteX7" fmla="*/ 134115 w 343806"/>
                <a:gd name="connsiteY7" fmla="*/ 0 h 333165"/>
                <a:gd name="connsiteX8" fmla="*/ 209692 w 343806"/>
                <a:gd name="connsiteY8" fmla="*/ 0 h 333165"/>
                <a:gd name="connsiteX9" fmla="*/ 217879 w 343806"/>
                <a:gd name="connsiteY9" fmla="*/ 1889 h 333165"/>
                <a:gd name="connsiteX10" fmla="*/ 323056 w 343806"/>
                <a:gd name="connsiteY10" fmla="*/ 91322 h 333165"/>
                <a:gd name="connsiteX11" fmla="*/ 333763 w 343806"/>
                <a:gd name="connsiteY11" fmla="*/ 212244 h 333165"/>
                <a:gd name="connsiteX12" fmla="*/ 335652 w 343806"/>
                <a:gd name="connsiteY12" fmla="*/ 246253 h 333165"/>
                <a:gd name="connsiteX13" fmla="*/ 337542 w 343806"/>
                <a:gd name="connsiteY13" fmla="*/ 251292 h 333165"/>
                <a:gd name="connsiteX14" fmla="*/ 319278 w 343806"/>
                <a:gd name="connsiteY14" fmla="*/ 310493 h 333165"/>
                <a:gd name="connsiteX15" fmla="*/ 171903 w 343806"/>
                <a:gd name="connsiteY15" fmla="*/ 333166 h 333165"/>
                <a:gd name="connsiteX16" fmla="*/ 171903 w 343806"/>
                <a:gd name="connsiteY16" fmla="*/ 333166 h 333165"/>
                <a:gd name="connsiteX17" fmla="*/ 138524 w 343806"/>
                <a:gd name="connsiteY17" fmla="*/ 32750 h 333165"/>
                <a:gd name="connsiteX18" fmla="*/ 54130 w 343806"/>
                <a:gd name="connsiteY18" fmla="*/ 98879 h 333165"/>
                <a:gd name="connsiteX19" fmla="*/ 44053 w 343806"/>
                <a:gd name="connsiteY19" fmla="*/ 214763 h 333165"/>
                <a:gd name="connsiteX20" fmla="*/ 41534 w 343806"/>
                <a:gd name="connsiteY20" fmla="*/ 251922 h 333165"/>
                <a:gd name="connsiteX21" fmla="*/ 37126 w 343806"/>
                <a:gd name="connsiteY21" fmla="*/ 264518 h 333165"/>
                <a:gd name="connsiteX22" fmla="*/ 39645 w 343806"/>
                <a:gd name="connsiteY22" fmla="*/ 280892 h 333165"/>
                <a:gd name="connsiteX23" fmla="*/ 171903 w 343806"/>
                <a:gd name="connsiteY23" fmla="*/ 300417 h 333165"/>
                <a:gd name="connsiteX24" fmla="*/ 304162 w 343806"/>
                <a:gd name="connsiteY24" fmla="*/ 280892 h 333165"/>
                <a:gd name="connsiteX25" fmla="*/ 306682 w 343806"/>
                <a:gd name="connsiteY25" fmla="*/ 264518 h 333165"/>
                <a:gd name="connsiteX26" fmla="*/ 302273 w 343806"/>
                <a:gd name="connsiteY26" fmla="*/ 251922 h 333165"/>
                <a:gd name="connsiteX27" fmla="*/ 299754 w 343806"/>
                <a:gd name="connsiteY27" fmla="*/ 214133 h 333165"/>
                <a:gd name="connsiteX28" fmla="*/ 290307 w 343806"/>
                <a:gd name="connsiteY28" fmla="*/ 98879 h 333165"/>
                <a:gd name="connsiteX29" fmla="*/ 205913 w 343806"/>
                <a:gd name="connsiteY29" fmla="*/ 32750 h 333165"/>
                <a:gd name="connsiteX30" fmla="*/ 138524 w 343806"/>
                <a:gd name="connsiteY30" fmla="*/ 32750 h 333165"/>
                <a:gd name="connsiteX31" fmla="*/ 138524 w 343806"/>
                <a:gd name="connsiteY31" fmla="*/ 32750 h 333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43806" h="333165">
                  <a:moveTo>
                    <a:pt x="171903" y="333166"/>
                  </a:moveTo>
                  <a:cubicBezTo>
                    <a:pt x="97587" y="333166"/>
                    <a:pt x="42794" y="319311"/>
                    <a:pt x="24529" y="310493"/>
                  </a:cubicBezTo>
                  <a:cubicBezTo>
                    <a:pt x="-11999" y="292229"/>
                    <a:pt x="1856" y="261369"/>
                    <a:pt x="6265" y="251292"/>
                  </a:cubicBezTo>
                  <a:cubicBezTo>
                    <a:pt x="6895" y="249402"/>
                    <a:pt x="8154" y="247513"/>
                    <a:pt x="8154" y="246253"/>
                  </a:cubicBezTo>
                  <a:cubicBezTo>
                    <a:pt x="8784" y="243734"/>
                    <a:pt x="9414" y="227989"/>
                    <a:pt x="10044" y="212874"/>
                  </a:cubicBezTo>
                  <a:cubicBezTo>
                    <a:pt x="13193" y="160600"/>
                    <a:pt x="15712" y="112105"/>
                    <a:pt x="20750" y="91322"/>
                  </a:cubicBezTo>
                  <a:cubicBezTo>
                    <a:pt x="28938" y="56052"/>
                    <a:pt x="103255" y="13856"/>
                    <a:pt x="125928" y="1889"/>
                  </a:cubicBezTo>
                  <a:cubicBezTo>
                    <a:pt x="128447" y="630"/>
                    <a:pt x="130966" y="0"/>
                    <a:pt x="134115" y="0"/>
                  </a:cubicBezTo>
                  <a:lnTo>
                    <a:pt x="209692" y="0"/>
                  </a:lnTo>
                  <a:cubicBezTo>
                    <a:pt x="212211" y="0"/>
                    <a:pt x="215360" y="630"/>
                    <a:pt x="217879" y="1889"/>
                  </a:cubicBezTo>
                  <a:cubicBezTo>
                    <a:pt x="240552" y="13856"/>
                    <a:pt x="314869" y="56682"/>
                    <a:pt x="323056" y="91322"/>
                  </a:cubicBezTo>
                  <a:cubicBezTo>
                    <a:pt x="328095" y="111475"/>
                    <a:pt x="330614" y="159970"/>
                    <a:pt x="333763" y="212244"/>
                  </a:cubicBezTo>
                  <a:cubicBezTo>
                    <a:pt x="334393" y="227359"/>
                    <a:pt x="335652" y="243104"/>
                    <a:pt x="335652" y="246253"/>
                  </a:cubicBezTo>
                  <a:cubicBezTo>
                    <a:pt x="336282" y="247513"/>
                    <a:pt x="336912" y="249402"/>
                    <a:pt x="337542" y="251292"/>
                  </a:cubicBezTo>
                  <a:cubicBezTo>
                    <a:pt x="341950" y="261369"/>
                    <a:pt x="355806" y="292859"/>
                    <a:pt x="319278" y="310493"/>
                  </a:cubicBezTo>
                  <a:cubicBezTo>
                    <a:pt x="302903" y="318681"/>
                    <a:pt x="239292" y="333166"/>
                    <a:pt x="171903" y="333166"/>
                  </a:cubicBezTo>
                  <a:lnTo>
                    <a:pt x="171903" y="333166"/>
                  </a:lnTo>
                  <a:close/>
                  <a:moveTo>
                    <a:pt x="138524" y="32750"/>
                  </a:moveTo>
                  <a:cubicBezTo>
                    <a:pt x="99476" y="54163"/>
                    <a:pt x="57279" y="85024"/>
                    <a:pt x="54130" y="98879"/>
                  </a:cubicBezTo>
                  <a:cubicBezTo>
                    <a:pt x="49722" y="118403"/>
                    <a:pt x="46573" y="178234"/>
                    <a:pt x="44053" y="214763"/>
                  </a:cubicBezTo>
                  <a:cubicBezTo>
                    <a:pt x="42794" y="237436"/>
                    <a:pt x="42164" y="248142"/>
                    <a:pt x="41534" y="251922"/>
                  </a:cubicBezTo>
                  <a:cubicBezTo>
                    <a:pt x="40904" y="256330"/>
                    <a:pt x="39015" y="260739"/>
                    <a:pt x="37126" y="264518"/>
                  </a:cubicBezTo>
                  <a:cubicBezTo>
                    <a:pt x="31457" y="276484"/>
                    <a:pt x="32087" y="276484"/>
                    <a:pt x="39645" y="280892"/>
                  </a:cubicBezTo>
                  <a:cubicBezTo>
                    <a:pt x="47832" y="284671"/>
                    <a:pt x="94438" y="300417"/>
                    <a:pt x="171903" y="300417"/>
                  </a:cubicBezTo>
                  <a:cubicBezTo>
                    <a:pt x="237403" y="300417"/>
                    <a:pt x="294715" y="285931"/>
                    <a:pt x="304162" y="280892"/>
                  </a:cubicBezTo>
                  <a:cubicBezTo>
                    <a:pt x="311720" y="277114"/>
                    <a:pt x="312350" y="277114"/>
                    <a:pt x="306682" y="264518"/>
                  </a:cubicBezTo>
                  <a:cubicBezTo>
                    <a:pt x="304792" y="260739"/>
                    <a:pt x="302903" y="256330"/>
                    <a:pt x="302273" y="251922"/>
                  </a:cubicBezTo>
                  <a:cubicBezTo>
                    <a:pt x="301643" y="247513"/>
                    <a:pt x="301013" y="237436"/>
                    <a:pt x="299754" y="214133"/>
                  </a:cubicBezTo>
                  <a:cubicBezTo>
                    <a:pt x="297864" y="178234"/>
                    <a:pt x="294715" y="118403"/>
                    <a:pt x="290307" y="98879"/>
                  </a:cubicBezTo>
                  <a:cubicBezTo>
                    <a:pt x="287158" y="85653"/>
                    <a:pt x="243701" y="54163"/>
                    <a:pt x="205913" y="32750"/>
                  </a:cubicBezTo>
                  <a:lnTo>
                    <a:pt x="138524" y="32750"/>
                  </a:lnTo>
                  <a:lnTo>
                    <a:pt x="138524" y="3275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82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8445797" y="2566080"/>
            <a:ext cx="372844" cy="427479"/>
            <a:chOff x="8445797" y="2566080"/>
            <a:chExt cx="372844" cy="427479"/>
          </a:xfrm>
          <a:solidFill>
            <a:srgbClr val="B1B1A1"/>
          </a:solidFill>
        </p:grpSpPr>
        <p:sp>
          <p:nvSpPr>
            <p:cNvPr id="183" name="Forma Livre: Forma 182">
              <a:extLst>
                <a:ext uri="{FF2B5EF4-FFF2-40B4-BE49-F238E27FC236}">
                  <a16:creationId xmlns:a16="http://schemas.microsoft.com/office/drawing/2014/main" id="{37D9CF5A-9B61-48B3-9A4B-836B58D5A1B3}"/>
                </a:ext>
              </a:extLst>
            </p:cNvPr>
            <p:cNvSpPr/>
            <p:nvPr/>
          </p:nvSpPr>
          <p:spPr>
            <a:xfrm>
              <a:off x="8445797" y="2566080"/>
              <a:ext cx="372844" cy="427479"/>
            </a:xfrm>
            <a:custGeom>
              <a:avLst/>
              <a:gdLst>
                <a:gd name="connsiteX0" fmla="*/ 186422 w 372844"/>
                <a:gd name="connsiteY0" fmla="*/ 427479 h 427479"/>
                <a:gd name="connsiteX1" fmla="*/ 29601 w 372844"/>
                <a:gd name="connsiteY1" fmla="*/ 321672 h 427479"/>
                <a:gd name="connsiteX2" fmla="*/ 0 w 372844"/>
                <a:gd name="connsiteY2" fmla="*/ 246726 h 427479"/>
                <a:gd name="connsiteX3" fmla="*/ 0 w 372844"/>
                <a:gd name="connsiteY3" fmla="*/ 81717 h 427479"/>
                <a:gd name="connsiteX4" fmla="*/ 42827 w 372844"/>
                <a:gd name="connsiteY4" fmla="*/ 23145 h 427479"/>
                <a:gd name="connsiteX5" fmla="*/ 330017 w 372844"/>
                <a:gd name="connsiteY5" fmla="*/ 23145 h 427479"/>
                <a:gd name="connsiteX6" fmla="*/ 372844 w 372844"/>
                <a:gd name="connsiteY6" fmla="*/ 81717 h 427479"/>
                <a:gd name="connsiteX7" fmla="*/ 372844 w 372844"/>
                <a:gd name="connsiteY7" fmla="*/ 246096 h 427479"/>
                <a:gd name="connsiteX8" fmla="*/ 343243 w 372844"/>
                <a:gd name="connsiteY8" fmla="*/ 320413 h 427479"/>
                <a:gd name="connsiteX9" fmla="*/ 186422 w 372844"/>
                <a:gd name="connsiteY9" fmla="*/ 427479 h 427479"/>
                <a:gd name="connsiteX10" fmla="*/ 186422 w 372844"/>
                <a:gd name="connsiteY10" fmla="*/ 427479 h 427479"/>
                <a:gd name="connsiteX11" fmla="*/ 186422 w 372844"/>
                <a:gd name="connsiteY11" fmla="*/ 34482 h 427479"/>
                <a:gd name="connsiteX12" fmla="*/ 53533 w 372844"/>
                <a:gd name="connsiteY12" fmla="*/ 55895 h 427479"/>
                <a:gd name="connsiteX13" fmla="*/ 33380 w 372844"/>
                <a:gd name="connsiteY13" fmla="*/ 82347 h 427479"/>
                <a:gd name="connsiteX14" fmla="*/ 33380 w 372844"/>
                <a:gd name="connsiteY14" fmla="*/ 247355 h 427479"/>
                <a:gd name="connsiteX15" fmla="*/ 53533 w 372844"/>
                <a:gd name="connsiteY15" fmla="*/ 298999 h 427479"/>
                <a:gd name="connsiteX16" fmla="*/ 186422 w 372844"/>
                <a:gd name="connsiteY16" fmla="*/ 394730 h 427479"/>
                <a:gd name="connsiteX17" fmla="*/ 319311 w 372844"/>
                <a:gd name="connsiteY17" fmla="*/ 298999 h 427479"/>
                <a:gd name="connsiteX18" fmla="*/ 339464 w 372844"/>
                <a:gd name="connsiteY18" fmla="*/ 247355 h 427479"/>
                <a:gd name="connsiteX19" fmla="*/ 339464 w 372844"/>
                <a:gd name="connsiteY19" fmla="*/ 82977 h 427479"/>
                <a:gd name="connsiteX20" fmla="*/ 319941 w 372844"/>
                <a:gd name="connsiteY20" fmla="*/ 56525 h 427479"/>
                <a:gd name="connsiteX21" fmla="*/ 186422 w 372844"/>
                <a:gd name="connsiteY21" fmla="*/ 34482 h 427479"/>
                <a:gd name="connsiteX22" fmla="*/ 186422 w 372844"/>
                <a:gd name="connsiteY22" fmla="*/ 34482 h 427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72844" h="427479">
                  <a:moveTo>
                    <a:pt x="186422" y="427479"/>
                  </a:moveTo>
                  <a:cubicBezTo>
                    <a:pt x="141076" y="427479"/>
                    <a:pt x="98249" y="391581"/>
                    <a:pt x="29601" y="321672"/>
                  </a:cubicBezTo>
                  <a:cubicBezTo>
                    <a:pt x="11337" y="302148"/>
                    <a:pt x="0" y="268769"/>
                    <a:pt x="0" y="246726"/>
                  </a:cubicBezTo>
                  <a:lnTo>
                    <a:pt x="0" y="81717"/>
                  </a:lnTo>
                  <a:cubicBezTo>
                    <a:pt x="0" y="55895"/>
                    <a:pt x="18264" y="31333"/>
                    <a:pt x="42827" y="23145"/>
                  </a:cubicBezTo>
                  <a:cubicBezTo>
                    <a:pt x="135408" y="-7715"/>
                    <a:pt x="236806" y="-7715"/>
                    <a:pt x="330017" y="23145"/>
                  </a:cubicBezTo>
                  <a:cubicBezTo>
                    <a:pt x="353950" y="30703"/>
                    <a:pt x="372844" y="56525"/>
                    <a:pt x="372844" y="81717"/>
                  </a:cubicBezTo>
                  <a:lnTo>
                    <a:pt x="372844" y="246096"/>
                  </a:lnTo>
                  <a:cubicBezTo>
                    <a:pt x="372844" y="267509"/>
                    <a:pt x="361508" y="301519"/>
                    <a:pt x="343243" y="320413"/>
                  </a:cubicBezTo>
                  <a:cubicBezTo>
                    <a:pt x="274594" y="392210"/>
                    <a:pt x="231768" y="427479"/>
                    <a:pt x="186422" y="427479"/>
                  </a:cubicBezTo>
                  <a:lnTo>
                    <a:pt x="186422" y="427479"/>
                  </a:lnTo>
                  <a:close/>
                  <a:moveTo>
                    <a:pt x="186422" y="34482"/>
                  </a:moveTo>
                  <a:cubicBezTo>
                    <a:pt x="141076" y="34482"/>
                    <a:pt x="96360" y="41410"/>
                    <a:pt x="53533" y="55895"/>
                  </a:cubicBezTo>
                  <a:cubicBezTo>
                    <a:pt x="42827" y="59044"/>
                    <a:pt x="33380" y="71640"/>
                    <a:pt x="33380" y="82347"/>
                  </a:cubicBezTo>
                  <a:lnTo>
                    <a:pt x="33380" y="247355"/>
                  </a:lnTo>
                  <a:cubicBezTo>
                    <a:pt x="33380" y="261841"/>
                    <a:pt x="42197" y="287033"/>
                    <a:pt x="53533" y="298999"/>
                  </a:cubicBezTo>
                  <a:cubicBezTo>
                    <a:pt x="113994" y="360720"/>
                    <a:pt x="153043" y="394730"/>
                    <a:pt x="186422" y="394730"/>
                  </a:cubicBezTo>
                  <a:cubicBezTo>
                    <a:pt x="219802" y="394730"/>
                    <a:pt x="258849" y="361350"/>
                    <a:pt x="319311" y="298999"/>
                  </a:cubicBezTo>
                  <a:cubicBezTo>
                    <a:pt x="330647" y="287033"/>
                    <a:pt x="339464" y="261841"/>
                    <a:pt x="339464" y="247355"/>
                  </a:cubicBezTo>
                  <a:lnTo>
                    <a:pt x="339464" y="82977"/>
                  </a:lnTo>
                  <a:cubicBezTo>
                    <a:pt x="339464" y="72270"/>
                    <a:pt x="330017" y="59674"/>
                    <a:pt x="319941" y="56525"/>
                  </a:cubicBezTo>
                  <a:cubicBezTo>
                    <a:pt x="276484" y="41410"/>
                    <a:pt x="231768" y="34482"/>
                    <a:pt x="186422" y="34482"/>
                  </a:cubicBezTo>
                  <a:lnTo>
                    <a:pt x="186422" y="34482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84" name="Forma Livre: Forma 183">
              <a:extLst>
                <a:ext uri="{FF2B5EF4-FFF2-40B4-BE49-F238E27FC236}">
                  <a16:creationId xmlns:a16="http://schemas.microsoft.com/office/drawing/2014/main" id="{ABDB5527-5EA9-454A-A755-F9B2AD286087}"/>
                </a:ext>
              </a:extLst>
            </p:cNvPr>
            <p:cNvSpPr/>
            <p:nvPr/>
          </p:nvSpPr>
          <p:spPr>
            <a:xfrm>
              <a:off x="8504369" y="2625282"/>
              <a:ext cx="256329" cy="310335"/>
            </a:xfrm>
            <a:custGeom>
              <a:avLst/>
              <a:gdLst>
                <a:gd name="connsiteX0" fmla="*/ 127850 w 256329"/>
                <a:gd name="connsiteY0" fmla="*/ 310336 h 310335"/>
                <a:gd name="connsiteX1" fmla="*/ 13226 w 256329"/>
                <a:gd name="connsiteY1" fmla="*/ 222163 h 310335"/>
                <a:gd name="connsiteX2" fmla="*/ 0 w 256329"/>
                <a:gd name="connsiteY2" fmla="*/ 188154 h 310335"/>
                <a:gd name="connsiteX3" fmla="*/ 0 w 256329"/>
                <a:gd name="connsiteY3" fmla="*/ 27554 h 310335"/>
                <a:gd name="connsiteX4" fmla="*/ 5668 w 256329"/>
                <a:gd name="connsiteY4" fmla="*/ 19366 h 310335"/>
                <a:gd name="connsiteX5" fmla="*/ 250661 w 256329"/>
                <a:gd name="connsiteY5" fmla="*/ 19366 h 310335"/>
                <a:gd name="connsiteX6" fmla="*/ 256330 w 256329"/>
                <a:gd name="connsiteY6" fmla="*/ 27554 h 310335"/>
                <a:gd name="connsiteX7" fmla="*/ 256330 w 256329"/>
                <a:gd name="connsiteY7" fmla="*/ 188154 h 310335"/>
                <a:gd name="connsiteX8" fmla="*/ 243104 w 256329"/>
                <a:gd name="connsiteY8" fmla="*/ 222163 h 310335"/>
                <a:gd name="connsiteX9" fmla="*/ 127850 w 256329"/>
                <a:gd name="connsiteY9" fmla="*/ 310336 h 310335"/>
                <a:gd name="connsiteX10" fmla="*/ 127850 w 256329"/>
                <a:gd name="connsiteY10" fmla="*/ 310336 h 310335"/>
                <a:gd name="connsiteX11" fmla="*/ 16375 w 256329"/>
                <a:gd name="connsiteY11" fmla="*/ 33852 h 310335"/>
                <a:gd name="connsiteX12" fmla="*/ 16375 w 256329"/>
                <a:gd name="connsiteY12" fmla="*/ 188154 h 310335"/>
                <a:gd name="connsiteX13" fmla="*/ 25192 w 256329"/>
                <a:gd name="connsiteY13" fmla="*/ 210827 h 310335"/>
                <a:gd name="connsiteX14" fmla="*/ 127850 w 256329"/>
                <a:gd name="connsiteY14" fmla="*/ 293961 h 310335"/>
                <a:gd name="connsiteX15" fmla="*/ 230508 w 256329"/>
                <a:gd name="connsiteY15" fmla="*/ 211457 h 310335"/>
                <a:gd name="connsiteX16" fmla="*/ 239325 w 256329"/>
                <a:gd name="connsiteY16" fmla="*/ 188154 h 310335"/>
                <a:gd name="connsiteX17" fmla="*/ 239325 w 256329"/>
                <a:gd name="connsiteY17" fmla="*/ 33852 h 310335"/>
                <a:gd name="connsiteX18" fmla="*/ 16375 w 256329"/>
                <a:gd name="connsiteY18" fmla="*/ 33852 h 310335"/>
                <a:gd name="connsiteX19" fmla="*/ 16375 w 256329"/>
                <a:gd name="connsiteY19" fmla="*/ 33852 h 310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56329" h="310335">
                  <a:moveTo>
                    <a:pt x="127850" y="310336"/>
                  </a:moveTo>
                  <a:cubicBezTo>
                    <a:pt x="101398" y="310336"/>
                    <a:pt x="56682" y="266879"/>
                    <a:pt x="13226" y="222163"/>
                  </a:cubicBezTo>
                  <a:cubicBezTo>
                    <a:pt x="6928" y="215236"/>
                    <a:pt x="0" y="196341"/>
                    <a:pt x="0" y="188154"/>
                  </a:cubicBezTo>
                  <a:lnTo>
                    <a:pt x="0" y="27554"/>
                  </a:lnTo>
                  <a:cubicBezTo>
                    <a:pt x="0" y="23775"/>
                    <a:pt x="2519" y="20626"/>
                    <a:pt x="5668" y="19366"/>
                  </a:cubicBezTo>
                  <a:cubicBezTo>
                    <a:pt x="85653" y="-6455"/>
                    <a:pt x="171306" y="-6455"/>
                    <a:pt x="250661" y="19366"/>
                  </a:cubicBezTo>
                  <a:cubicBezTo>
                    <a:pt x="253810" y="20626"/>
                    <a:pt x="256330" y="23775"/>
                    <a:pt x="256330" y="27554"/>
                  </a:cubicBezTo>
                  <a:lnTo>
                    <a:pt x="256330" y="188154"/>
                  </a:lnTo>
                  <a:cubicBezTo>
                    <a:pt x="256330" y="196971"/>
                    <a:pt x="249402" y="215865"/>
                    <a:pt x="243104" y="222163"/>
                  </a:cubicBezTo>
                  <a:cubicBezTo>
                    <a:pt x="199018" y="266879"/>
                    <a:pt x="154302" y="310336"/>
                    <a:pt x="127850" y="310336"/>
                  </a:cubicBezTo>
                  <a:lnTo>
                    <a:pt x="127850" y="310336"/>
                  </a:lnTo>
                  <a:close/>
                  <a:moveTo>
                    <a:pt x="16375" y="33852"/>
                  </a:moveTo>
                  <a:lnTo>
                    <a:pt x="16375" y="188154"/>
                  </a:lnTo>
                  <a:cubicBezTo>
                    <a:pt x="16375" y="193192"/>
                    <a:pt x="22043" y="207678"/>
                    <a:pt x="25192" y="210827"/>
                  </a:cubicBezTo>
                  <a:cubicBezTo>
                    <a:pt x="49124" y="235389"/>
                    <a:pt x="105807" y="293961"/>
                    <a:pt x="127850" y="293961"/>
                  </a:cubicBezTo>
                  <a:cubicBezTo>
                    <a:pt x="149893" y="293961"/>
                    <a:pt x="206575" y="236019"/>
                    <a:pt x="230508" y="211457"/>
                  </a:cubicBezTo>
                  <a:cubicBezTo>
                    <a:pt x="234287" y="207678"/>
                    <a:pt x="239325" y="193192"/>
                    <a:pt x="239325" y="188154"/>
                  </a:cubicBezTo>
                  <a:lnTo>
                    <a:pt x="239325" y="33852"/>
                  </a:lnTo>
                  <a:cubicBezTo>
                    <a:pt x="166898" y="11809"/>
                    <a:pt x="89432" y="11179"/>
                    <a:pt x="16375" y="33852"/>
                  </a:cubicBezTo>
                  <a:lnTo>
                    <a:pt x="16375" y="33852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85" name="Forma Livre: Forma 184">
              <a:extLst>
                <a:ext uri="{FF2B5EF4-FFF2-40B4-BE49-F238E27FC236}">
                  <a16:creationId xmlns:a16="http://schemas.microsoft.com/office/drawing/2014/main" id="{65B6EE73-ECDD-41D9-BAB3-43CFB3C3B0C0}"/>
                </a:ext>
              </a:extLst>
            </p:cNvPr>
            <p:cNvSpPr/>
            <p:nvPr/>
          </p:nvSpPr>
          <p:spPr>
            <a:xfrm>
              <a:off x="8624032" y="2627644"/>
              <a:ext cx="16374" cy="302935"/>
            </a:xfrm>
            <a:custGeom>
              <a:avLst/>
              <a:gdLst>
                <a:gd name="connsiteX0" fmla="*/ 8187 w 16374"/>
                <a:gd name="connsiteY0" fmla="*/ 302936 h 302935"/>
                <a:gd name="connsiteX1" fmla="*/ 0 w 16374"/>
                <a:gd name="connsiteY1" fmla="*/ 294748 h 302935"/>
                <a:gd name="connsiteX2" fmla="*/ 0 w 16374"/>
                <a:gd name="connsiteY2" fmla="*/ 8188 h 302935"/>
                <a:gd name="connsiteX3" fmla="*/ 8187 w 16374"/>
                <a:gd name="connsiteY3" fmla="*/ 0 h 302935"/>
                <a:gd name="connsiteX4" fmla="*/ 16375 w 16374"/>
                <a:gd name="connsiteY4" fmla="*/ 8188 h 302935"/>
                <a:gd name="connsiteX5" fmla="*/ 16375 w 16374"/>
                <a:gd name="connsiteY5" fmla="*/ 294748 h 302935"/>
                <a:gd name="connsiteX6" fmla="*/ 8187 w 16374"/>
                <a:gd name="connsiteY6" fmla="*/ 302936 h 302935"/>
                <a:gd name="connsiteX7" fmla="*/ 8187 w 16374"/>
                <a:gd name="connsiteY7" fmla="*/ 302936 h 302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374" h="302935">
                  <a:moveTo>
                    <a:pt x="8187" y="302936"/>
                  </a:moveTo>
                  <a:cubicBezTo>
                    <a:pt x="3779" y="302936"/>
                    <a:pt x="0" y="299157"/>
                    <a:pt x="0" y="294748"/>
                  </a:cubicBezTo>
                  <a:lnTo>
                    <a:pt x="0" y="8188"/>
                  </a:lnTo>
                  <a:cubicBezTo>
                    <a:pt x="0" y="3779"/>
                    <a:pt x="3779" y="0"/>
                    <a:pt x="8187" y="0"/>
                  </a:cubicBezTo>
                  <a:cubicBezTo>
                    <a:pt x="12596" y="0"/>
                    <a:pt x="16375" y="3779"/>
                    <a:pt x="16375" y="8188"/>
                  </a:cubicBezTo>
                  <a:lnTo>
                    <a:pt x="16375" y="294748"/>
                  </a:lnTo>
                  <a:cubicBezTo>
                    <a:pt x="16375" y="299157"/>
                    <a:pt x="12596" y="302936"/>
                    <a:pt x="8187" y="302936"/>
                  </a:cubicBezTo>
                  <a:lnTo>
                    <a:pt x="8187" y="302936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86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3314769" y="3613917"/>
            <a:ext cx="421985" cy="396776"/>
            <a:chOff x="3314769" y="3613917"/>
            <a:chExt cx="421985" cy="396776"/>
          </a:xfrm>
          <a:solidFill>
            <a:srgbClr val="B1B1A1"/>
          </a:solidFill>
        </p:grpSpPr>
        <p:grpSp>
          <p:nvGrpSpPr>
            <p:cNvPr id="187" name="Gráfico 2">
              <a:extLst>
                <a:ext uri="{FF2B5EF4-FFF2-40B4-BE49-F238E27FC236}">
                  <a16:creationId xmlns:a16="http://schemas.microsoft.com/office/drawing/2014/main" id="{A475B8DB-D93F-4DA6-8335-80171E5C5B8D}"/>
                </a:ext>
              </a:extLst>
            </p:cNvPr>
            <p:cNvGrpSpPr/>
            <p:nvPr/>
          </p:nvGrpSpPr>
          <p:grpSpPr>
            <a:xfrm>
              <a:off x="3354250" y="3621789"/>
              <a:ext cx="382503" cy="381975"/>
              <a:chOff x="3354250" y="3621789"/>
              <a:chExt cx="382503" cy="381975"/>
            </a:xfrm>
            <a:grpFill/>
          </p:grpSpPr>
          <p:sp>
            <p:nvSpPr>
              <p:cNvPr id="188" name="Forma Livre: Forma 187">
                <a:extLst>
                  <a:ext uri="{FF2B5EF4-FFF2-40B4-BE49-F238E27FC236}">
                    <a16:creationId xmlns:a16="http://schemas.microsoft.com/office/drawing/2014/main" id="{9F3C0A01-0C72-4ECB-BA60-874C0DA1CBCF}"/>
                  </a:ext>
                </a:extLst>
              </p:cNvPr>
              <p:cNvSpPr/>
              <p:nvPr/>
            </p:nvSpPr>
            <p:spPr>
              <a:xfrm>
                <a:off x="3354250" y="3821437"/>
                <a:ext cx="182225" cy="182328"/>
              </a:xfrm>
              <a:custGeom>
                <a:avLst/>
                <a:gdLst>
                  <a:gd name="connsiteX0" fmla="*/ 47448 w 182225"/>
                  <a:gd name="connsiteY0" fmla="*/ 182328 h 182328"/>
                  <a:gd name="connsiteX1" fmla="*/ 13438 w 182225"/>
                  <a:gd name="connsiteY1" fmla="*/ 169103 h 182328"/>
                  <a:gd name="connsiteX2" fmla="*/ 21626 w 182225"/>
                  <a:gd name="connsiteY2" fmla="*/ 86598 h 182328"/>
                  <a:gd name="connsiteX3" fmla="*/ 103500 w 182225"/>
                  <a:gd name="connsiteY3" fmla="*/ 4724 h 182328"/>
                  <a:gd name="connsiteX4" fmla="*/ 126803 w 182225"/>
                  <a:gd name="connsiteY4" fmla="*/ 4724 h 182328"/>
                  <a:gd name="connsiteX5" fmla="*/ 177187 w 182225"/>
                  <a:gd name="connsiteY5" fmla="*/ 55108 h 182328"/>
                  <a:gd name="connsiteX6" fmla="*/ 182226 w 182225"/>
                  <a:gd name="connsiteY6" fmla="*/ 67074 h 182328"/>
                  <a:gd name="connsiteX7" fmla="*/ 177187 w 182225"/>
                  <a:gd name="connsiteY7" fmla="*/ 79041 h 182328"/>
                  <a:gd name="connsiteX8" fmla="*/ 95313 w 182225"/>
                  <a:gd name="connsiteY8" fmla="*/ 160915 h 182328"/>
                  <a:gd name="connsiteX9" fmla="*/ 47448 w 182225"/>
                  <a:gd name="connsiteY9" fmla="*/ 182328 h 182328"/>
                  <a:gd name="connsiteX10" fmla="*/ 47448 w 182225"/>
                  <a:gd name="connsiteY10" fmla="*/ 182328 h 182328"/>
                  <a:gd name="connsiteX11" fmla="*/ 116096 w 182225"/>
                  <a:gd name="connsiteY11" fmla="*/ 39993 h 182328"/>
                  <a:gd name="connsiteX12" fmla="*/ 46188 w 182225"/>
                  <a:gd name="connsiteY12" fmla="*/ 109901 h 182328"/>
                  <a:gd name="connsiteX13" fmla="*/ 38001 w 182225"/>
                  <a:gd name="connsiteY13" fmla="*/ 145170 h 182328"/>
                  <a:gd name="connsiteX14" fmla="*/ 48077 w 182225"/>
                  <a:gd name="connsiteY14" fmla="*/ 148949 h 182328"/>
                  <a:gd name="connsiteX15" fmla="*/ 73270 w 182225"/>
                  <a:gd name="connsiteY15" fmla="*/ 136982 h 182328"/>
                  <a:gd name="connsiteX16" fmla="*/ 143178 w 182225"/>
                  <a:gd name="connsiteY16" fmla="*/ 67074 h 182328"/>
                  <a:gd name="connsiteX17" fmla="*/ 116096 w 182225"/>
                  <a:gd name="connsiteY17" fmla="*/ 39993 h 182328"/>
                  <a:gd name="connsiteX18" fmla="*/ 116096 w 182225"/>
                  <a:gd name="connsiteY18" fmla="*/ 39993 h 1823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82225" h="182328">
                    <a:moveTo>
                      <a:pt x="47448" y="182328"/>
                    </a:moveTo>
                    <a:cubicBezTo>
                      <a:pt x="34222" y="182328"/>
                      <a:pt x="22256" y="177290"/>
                      <a:pt x="13438" y="169103"/>
                    </a:cubicBezTo>
                    <a:cubicBezTo>
                      <a:pt x="-7345" y="148319"/>
                      <a:pt x="-3566" y="111790"/>
                      <a:pt x="21626" y="86598"/>
                    </a:cubicBezTo>
                    <a:lnTo>
                      <a:pt x="103500" y="4724"/>
                    </a:lnTo>
                    <a:cubicBezTo>
                      <a:pt x="109798" y="-1575"/>
                      <a:pt x="120505" y="-1575"/>
                      <a:pt x="126803" y="4724"/>
                    </a:cubicBezTo>
                    <a:lnTo>
                      <a:pt x="177187" y="55108"/>
                    </a:lnTo>
                    <a:cubicBezTo>
                      <a:pt x="180336" y="58257"/>
                      <a:pt x="182226" y="62666"/>
                      <a:pt x="182226" y="67074"/>
                    </a:cubicBezTo>
                    <a:cubicBezTo>
                      <a:pt x="182226" y="71483"/>
                      <a:pt x="180336" y="75892"/>
                      <a:pt x="177187" y="79041"/>
                    </a:cubicBezTo>
                    <a:lnTo>
                      <a:pt x="95313" y="160915"/>
                    </a:lnTo>
                    <a:cubicBezTo>
                      <a:pt x="82717" y="174141"/>
                      <a:pt x="64452" y="182328"/>
                      <a:pt x="47448" y="182328"/>
                    </a:cubicBezTo>
                    <a:lnTo>
                      <a:pt x="47448" y="182328"/>
                    </a:lnTo>
                    <a:close/>
                    <a:moveTo>
                      <a:pt x="116096" y="39993"/>
                    </a:moveTo>
                    <a:lnTo>
                      <a:pt x="46188" y="109901"/>
                    </a:lnTo>
                    <a:cubicBezTo>
                      <a:pt x="33592" y="122497"/>
                      <a:pt x="31703" y="138872"/>
                      <a:pt x="38001" y="145170"/>
                    </a:cubicBezTo>
                    <a:cubicBezTo>
                      <a:pt x="41150" y="148319"/>
                      <a:pt x="44928" y="148949"/>
                      <a:pt x="48077" y="148949"/>
                    </a:cubicBezTo>
                    <a:cubicBezTo>
                      <a:pt x="56265" y="148949"/>
                      <a:pt x="65712" y="144540"/>
                      <a:pt x="73270" y="136982"/>
                    </a:cubicBezTo>
                    <a:lnTo>
                      <a:pt x="143178" y="67074"/>
                    </a:lnTo>
                    <a:lnTo>
                      <a:pt x="116096" y="39993"/>
                    </a:lnTo>
                    <a:lnTo>
                      <a:pt x="116096" y="39993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89" name="Forma Livre: Forma 188">
                <a:extLst>
                  <a:ext uri="{FF2B5EF4-FFF2-40B4-BE49-F238E27FC236}">
                    <a16:creationId xmlns:a16="http://schemas.microsoft.com/office/drawing/2014/main" id="{9511BE38-39C4-4002-9048-1D8EB6C30F97}"/>
                  </a:ext>
                </a:extLst>
              </p:cNvPr>
              <p:cNvSpPr/>
              <p:nvPr/>
            </p:nvSpPr>
            <p:spPr>
              <a:xfrm>
                <a:off x="3635513" y="3621789"/>
                <a:ext cx="101240" cy="101713"/>
              </a:xfrm>
              <a:custGeom>
                <a:avLst/>
                <a:gdLst>
                  <a:gd name="connsiteX0" fmla="*/ 40150 w 101240"/>
                  <a:gd name="connsiteY0" fmla="*/ 101713 h 101713"/>
                  <a:gd name="connsiteX1" fmla="*/ 11809 w 101240"/>
                  <a:gd name="connsiteY1" fmla="*/ 89747 h 101713"/>
                  <a:gd name="connsiteX2" fmla="*/ 11809 w 101240"/>
                  <a:gd name="connsiteY2" fmla="*/ 32435 h 101713"/>
                  <a:gd name="connsiteX3" fmla="*/ 39520 w 101240"/>
                  <a:gd name="connsiteY3" fmla="*/ 4724 h 101713"/>
                  <a:gd name="connsiteX4" fmla="*/ 62823 w 101240"/>
                  <a:gd name="connsiteY4" fmla="*/ 4724 h 101713"/>
                  <a:gd name="connsiteX5" fmla="*/ 96203 w 101240"/>
                  <a:gd name="connsiteY5" fmla="*/ 38103 h 101713"/>
                  <a:gd name="connsiteX6" fmla="*/ 101241 w 101240"/>
                  <a:gd name="connsiteY6" fmla="*/ 50069 h 101713"/>
                  <a:gd name="connsiteX7" fmla="*/ 96203 w 101240"/>
                  <a:gd name="connsiteY7" fmla="*/ 62036 h 101713"/>
                  <a:gd name="connsiteX8" fmla="*/ 68491 w 101240"/>
                  <a:gd name="connsiteY8" fmla="*/ 89747 h 101713"/>
                  <a:gd name="connsiteX9" fmla="*/ 40150 w 101240"/>
                  <a:gd name="connsiteY9" fmla="*/ 101713 h 101713"/>
                  <a:gd name="connsiteX10" fmla="*/ 40150 w 101240"/>
                  <a:gd name="connsiteY10" fmla="*/ 101713 h 101713"/>
                  <a:gd name="connsiteX11" fmla="*/ 50857 w 101240"/>
                  <a:gd name="connsiteY11" fmla="*/ 39993 h 101713"/>
                  <a:gd name="connsiteX12" fmla="*/ 35111 w 101240"/>
                  <a:gd name="connsiteY12" fmla="*/ 55738 h 101713"/>
                  <a:gd name="connsiteX13" fmla="*/ 35111 w 101240"/>
                  <a:gd name="connsiteY13" fmla="*/ 65815 h 101713"/>
                  <a:gd name="connsiteX14" fmla="*/ 45188 w 101240"/>
                  <a:gd name="connsiteY14" fmla="*/ 65815 h 101713"/>
                  <a:gd name="connsiteX15" fmla="*/ 60933 w 101240"/>
                  <a:gd name="connsiteY15" fmla="*/ 50069 h 101713"/>
                  <a:gd name="connsiteX16" fmla="*/ 50857 w 101240"/>
                  <a:gd name="connsiteY16" fmla="*/ 39993 h 101713"/>
                  <a:gd name="connsiteX17" fmla="*/ 50857 w 101240"/>
                  <a:gd name="connsiteY17" fmla="*/ 39993 h 101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01240" h="101713">
                    <a:moveTo>
                      <a:pt x="40150" y="101713"/>
                    </a:moveTo>
                    <a:cubicBezTo>
                      <a:pt x="29443" y="101713"/>
                      <a:pt x="19366" y="97305"/>
                      <a:pt x="11809" y="89747"/>
                    </a:cubicBezTo>
                    <a:cubicBezTo>
                      <a:pt x="-3936" y="74002"/>
                      <a:pt x="-3936" y="48180"/>
                      <a:pt x="11809" y="32435"/>
                    </a:cubicBezTo>
                    <a:lnTo>
                      <a:pt x="39520" y="4724"/>
                    </a:lnTo>
                    <a:cubicBezTo>
                      <a:pt x="45818" y="-1575"/>
                      <a:pt x="57155" y="-1575"/>
                      <a:pt x="62823" y="4724"/>
                    </a:cubicBezTo>
                    <a:lnTo>
                      <a:pt x="96203" y="38103"/>
                    </a:lnTo>
                    <a:cubicBezTo>
                      <a:pt x="99352" y="41252"/>
                      <a:pt x="101241" y="45661"/>
                      <a:pt x="101241" y="50069"/>
                    </a:cubicBezTo>
                    <a:cubicBezTo>
                      <a:pt x="101241" y="54478"/>
                      <a:pt x="99352" y="58887"/>
                      <a:pt x="96203" y="62036"/>
                    </a:cubicBezTo>
                    <a:lnTo>
                      <a:pt x="68491" y="89747"/>
                    </a:lnTo>
                    <a:cubicBezTo>
                      <a:pt x="60933" y="97305"/>
                      <a:pt x="50857" y="101713"/>
                      <a:pt x="40150" y="101713"/>
                    </a:cubicBezTo>
                    <a:lnTo>
                      <a:pt x="40150" y="101713"/>
                    </a:lnTo>
                    <a:close/>
                    <a:moveTo>
                      <a:pt x="50857" y="39993"/>
                    </a:moveTo>
                    <a:lnTo>
                      <a:pt x="35111" y="55738"/>
                    </a:lnTo>
                    <a:cubicBezTo>
                      <a:pt x="32592" y="58257"/>
                      <a:pt x="32592" y="63295"/>
                      <a:pt x="35111" y="65815"/>
                    </a:cubicBezTo>
                    <a:cubicBezTo>
                      <a:pt x="38890" y="69593"/>
                      <a:pt x="41409" y="69593"/>
                      <a:pt x="45188" y="65815"/>
                    </a:cubicBezTo>
                    <a:lnTo>
                      <a:pt x="60933" y="50069"/>
                    </a:lnTo>
                    <a:lnTo>
                      <a:pt x="50857" y="39993"/>
                    </a:lnTo>
                    <a:lnTo>
                      <a:pt x="50857" y="39993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90" name="Forma Livre: Forma 189">
                <a:extLst>
                  <a:ext uri="{FF2B5EF4-FFF2-40B4-BE49-F238E27FC236}">
                    <a16:creationId xmlns:a16="http://schemas.microsoft.com/office/drawing/2014/main" id="{B3DC3FF9-A1BC-4BEE-97F0-364D006AD374}"/>
                  </a:ext>
                </a:extLst>
              </p:cNvPr>
              <p:cNvSpPr/>
              <p:nvPr/>
            </p:nvSpPr>
            <p:spPr>
              <a:xfrm>
                <a:off x="3550647" y="3682880"/>
                <a:ext cx="124701" cy="125016"/>
              </a:xfrm>
              <a:custGeom>
                <a:avLst/>
                <a:gdLst>
                  <a:gd name="connsiteX0" fmla="*/ 16690 w 124701"/>
                  <a:gd name="connsiteY0" fmla="*/ 125016 h 125016"/>
                  <a:gd name="connsiteX1" fmla="*/ 4724 w 124701"/>
                  <a:gd name="connsiteY1" fmla="*/ 119978 h 125016"/>
                  <a:gd name="connsiteX2" fmla="*/ 4724 w 124701"/>
                  <a:gd name="connsiteY2" fmla="*/ 96675 h 125016"/>
                  <a:gd name="connsiteX3" fmla="*/ 96675 w 124701"/>
                  <a:gd name="connsiteY3" fmla="*/ 4724 h 125016"/>
                  <a:gd name="connsiteX4" fmla="*/ 119978 w 124701"/>
                  <a:gd name="connsiteY4" fmla="*/ 4724 h 125016"/>
                  <a:gd name="connsiteX5" fmla="*/ 119978 w 124701"/>
                  <a:gd name="connsiteY5" fmla="*/ 28026 h 125016"/>
                  <a:gd name="connsiteX6" fmla="*/ 28026 w 124701"/>
                  <a:gd name="connsiteY6" fmla="*/ 119978 h 125016"/>
                  <a:gd name="connsiteX7" fmla="*/ 16690 w 124701"/>
                  <a:gd name="connsiteY7" fmla="*/ 125016 h 125016"/>
                  <a:gd name="connsiteX8" fmla="*/ 16690 w 124701"/>
                  <a:gd name="connsiteY8" fmla="*/ 125016 h 125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4701" h="125016">
                    <a:moveTo>
                      <a:pt x="16690" y="125016"/>
                    </a:moveTo>
                    <a:cubicBezTo>
                      <a:pt x="12281" y="125016"/>
                      <a:pt x="7873" y="123127"/>
                      <a:pt x="4724" y="119978"/>
                    </a:cubicBezTo>
                    <a:cubicBezTo>
                      <a:pt x="-1575" y="113680"/>
                      <a:pt x="-1575" y="102973"/>
                      <a:pt x="4724" y="96675"/>
                    </a:cubicBezTo>
                    <a:lnTo>
                      <a:pt x="96675" y="4724"/>
                    </a:lnTo>
                    <a:cubicBezTo>
                      <a:pt x="102973" y="-1575"/>
                      <a:pt x="113680" y="-1575"/>
                      <a:pt x="119978" y="4724"/>
                    </a:cubicBezTo>
                    <a:cubicBezTo>
                      <a:pt x="126276" y="11022"/>
                      <a:pt x="126276" y="21728"/>
                      <a:pt x="119978" y="28026"/>
                    </a:cubicBezTo>
                    <a:lnTo>
                      <a:pt x="28026" y="119978"/>
                    </a:lnTo>
                    <a:cubicBezTo>
                      <a:pt x="24877" y="123756"/>
                      <a:pt x="20469" y="125016"/>
                      <a:pt x="16690" y="125016"/>
                    </a:cubicBezTo>
                    <a:lnTo>
                      <a:pt x="16690" y="125016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191" name="Forma Livre: Forma 190">
              <a:extLst>
                <a:ext uri="{FF2B5EF4-FFF2-40B4-BE49-F238E27FC236}">
                  <a16:creationId xmlns:a16="http://schemas.microsoft.com/office/drawing/2014/main" id="{F366EBA8-7978-4744-A39A-DF300E63ED79}"/>
                </a:ext>
              </a:extLst>
            </p:cNvPr>
            <p:cNvSpPr/>
            <p:nvPr/>
          </p:nvSpPr>
          <p:spPr>
            <a:xfrm>
              <a:off x="3314769" y="3613917"/>
              <a:ext cx="396792" cy="396776"/>
            </a:xfrm>
            <a:custGeom>
              <a:avLst/>
              <a:gdLst>
                <a:gd name="connsiteX0" fmla="*/ 332553 w 396792"/>
                <a:gd name="connsiteY0" fmla="*/ 396777 h 396776"/>
                <a:gd name="connsiteX1" fmla="*/ 332553 w 396792"/>
                <a:gd name="connsiteY1" fmla="*/ 396777 h 396776"/>
                <a:gd name="connsiteX2" fmla="*/ 287207 w 396792"/>
                <a:gd name="connsiteY2" fmla="*/ 377883 h 396776"/>
                <a:gd name="connsiteX3" fmla="*/ 127237 w 396792"/>
                <a:gd name="connsiteY3" fmla="*/ 217912 h 396776"/>
                <a:gd name="connsiteX4" fmla="*/ 32137 w 396792"/>
                <a:gd name="connsiteY4" fmla="*/ 187052 h 396776"/>
                <a:gd name="connsiteX5" fmla="*/ 6944 w 396792"/>
                <a:gd name="connsiteY5" fmla="*/ 71168 h 396776"/>
                <a:gd name="connsiteX6" fmla="*/ 18911 w 396792"/>
                <a:gd name="connsiteY6" fmla="*/ 60461 h 396776"/>
                <a:gd name="connsiteX7" fmla="*/ 34026 w 396792"/>
                <a:gd name="connsiteY7" fmla="*/ 64870 h 396776"/>
                <a:gd name="connsiteX8" fmla="*/ 78742 w 396792"/>
                <a:gd name="connsiteY8" fmla="*/ 109586 h 396776"/>
                <a:gd name="connsiteX9" fmla="*/ 103304 w 396792"/>
                <a:gd name="connsiteY9" fmla="*/ 103288 h 396776"/>
                <a:gd name="connsiteX10" fmla="*/ 109602 w 396792"/>
                <a:gd name="connsiteY10" fmla="*/ 78725 h 396776"/>
                <a:gd name="connsiteX11" fmla="*/ 64886 w 396792"/>
                <a:gd name="connsiteY11" fmla="*/ 34009 h 396776"/>
                <a:gd name="connsiteX12" fmla="*/ 60478 w 396792"/>
                <a:gd name="connsiteY12" fmla="*/ 18894 h 396776"/>
                <a:gd name="connsiteX13" fmla="*/ 71184 w 396792"/>
                <a:gd name="connsiteY13" fmla="*/ 6928 h 396776"/>
                <a:gd name="connsiteX14" fmla="*/ 109602 w 396792"/>
                <a:gd name="connsiteY14" fmla="*/ 0 h 396776"/>
                <a:gd name="connsiteX15" fmla="*/ 187068 w 396792"/>
                <a:gd name="connsiteY15" fmla="*/ 32120 h 396776"/>
                <a:gd name="connsiteX16" fmla="*/ 217929 w 396792"/>
                <a:gd name="connsiteY16" fmla="*/ 127220 h 396776"/>
                <a:gd name="connsiteX17" fmla="*/ 377899 w 396792"/>
                <a:gd name="connsiteY17" fmla="*/ 286561 h 396776"/>
                <a:gd name="connsiteX18" fmla="*/ 396793 w 396792"/>
                <a:gd name="connsiteY18" fmla="*/ 331907 h 396776"/>
                <a:gd name="connsiteX19" fmla="*/ 377899 w 396792"/>
                <a:gd name="connsiteY19" fmla="*/ 377252 h 396776"/>
                <a:gd name="connsiteX20" fmla="*/ 332553 w 396792"/>
                <a:gd name="connsiteY20" fmla="*/ 396777 h 396776"/>
                <a:gd name="connsiteX21" fmla="*/ 332553 w 396792"/>
                <a:gd name="connsiteY21" fmla="*/ 396777 h 396776"/>
                <a:gd name="connsiteX22" fmla="*/ 132905 w 396792"/>
                <a:gd name="connsiteY22" fmla="*/ 183273 h 396776"/>
                <a:gd name="connsiteX23" fmla="*/ 144871 w 396792"/>
                <a:gd name="connsiteY23" fmla="*/ 188311 h 396776"/>
                <a:gd name="connsiteX24" fmla="*/ 311140 w 396792"/>
                <a:gd name="connsiteY24" fmla="*/ 354580 h 396776"/>
                <a:gd name="connsiteX25" fmla="*/ 354596 w 396792"/>
                <a:gd name="connsiteY25" fmla="*/ 354580 h 396776"/>
                <a:gd name="connsiteX26" fmla="*/ 363413 w 396792"/>
                <a:gd name="connsiteY26" fmla="*/ 332537 h 396776"/>
                <a:gd name="connsiteX27" fmla="*/ 354596 w 396792"/>
                <a:gd name="connsiteY27" fmla="*/ 310493 h 396776"/>
                <a:gd name="connsiteX28" fmla="*/ 188328 w 396792"/>
                <a:gd name="connsiteY28" fmla="*/ 144225 h 396776"/>
                <a:gd name="connsiteX29" fmla="*/ 183919 w 396792"/>
                <a:gd name="connsiteY29" fmla="*/ 128480 h 396776"/>
                <a:gd name="connsiteX30" fmla="*/ 163766 w 396792"/>
                <a:gd name="connsiteY30" fmla="*/ 55423 h 396776"/>
                <a:gd name="connsiteX31" fmla="*/ 111492 w 396792"/>
                <a:gd name="connsiteY31" fmla="*/ 33380 h 396776"/>
                <a:gd name="connsiteX32" fmla="*/ 140463 w 396792"/>
                <a:gd name="connsiteY32" fmla="*/ 62351 h 396776"/>
                <a:gd name="connsiteX33" fmla="*/ 144871 w 396792"/>
                <a:gd name="connsiteY33" fmla="*/ 78725 h 396776"/>
                <a:gd name="connsiteX34" fmla="*/ 133535 w 396792"/>
                <a:gd name="connsiteY34" fmla="*/ 121552 h 396776"/>
                <a:gd name="connsiteX35" fmla="*/ 121569 w 396792"/>
                <a:gd name="connsiteY35" fmla="*/ 133518 h 396776"/>
                <a:gd name="connsiteX36" fmla="*/ 78742 w 396792"/>
                <a:gd name="connsiteY36" fmla="*/ 144855 h 396776"/>
                <a:gd name="connsiteX37" fmla="*/ 62367 w 396792"/>
                <a:gd name="connsiteY37" fmla="*/ 140446 h 396776"/>
                <a:gd name="connsiteX38" fmla="*/ 33396 w 396792"/>
                <a:gd name="connsiteY38" fmla="*/ 111475 h 396776"/>
                <a:gd name="connsiteX39" fmla="*/ 55439 w 396792"/>
                <a:gd name="connsiteY39" fmla="*/ 163749 h 396776"/>
                <a:gd name="connsiteX40" fmla="*/ 128496 w 396792"/>
                <a:gd name="connsiteY40" fmla="*/ 183903 h 396776"/>
                <a:gd name="connsiteX41" fmla="*/ 132905 w 396792"/>
                <a:gd name="connsiteY41" fmla="*/ 183273 h 396776"/>
                <a:gd name="connsiteX42" fmla="*/ 132905 w 396792"/>
                <a:gd name="connsiteY42" fmla="*/ 183273 h 396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396792" h="396776">
                  <a:moveTo>
                    <a:pt x="332553" y="396777"/>
                  </a:moveTo>
                  <a:lnTo>
                    <a:pt x="332553" y="396777"/>
                  </a:lnTo>
                  <a:cubicBezTo>
                    <a:pt x="315548" y="396777"/>
                    <a:pt x="299173" y="389849"/>
                    <a:pt x="287207" y="377883"/>
                  </a:cubicBezTo>
                  <a:lnTo>
                    <a:pt x="127237" y="217912"/>
                  </a:lnTo>
                  <a:cubicBezTo>
                    <a:pt x="92598" y="223581"/>
                    <a:pt x="56699" y="212244"/>
                    <a:pt x="32137" y="187052"/>
                  </a:cubicBezTo>
                  <a:cubicBezTo>
                    <a:pt x="1906" y="156821"/>
                    <a:pt x="-8171" y="110846"/>
                    <a:pt x="6944" y="71168"/>
                  </a:cubicBezTo>
                  <a:cubicBezTo>
                    <a:pt x="8834" y="66129"/>
                    <a:pt x="13242" y="61721"/>
                    <a:pt x="18911" y="60461"/>
                  </a:cubicBezTo>
                  <a:cubicBezTo>
                    <a:pt x="24579" y="59202"/>
                    <a:pt x="30247" y="61091"/>
                    <a:pt x="34026" y="64870"/>
                  </a:cubicBezTo>
                  <a:lnTo>
                    <a:pt x="78742" y="109586"/>
                  </a:lnTo>
                  <a:lnTo>
                    <a:pt x="103304" y="103288"/>
                  </a:lnTo>
                  <a:lnTo>
                    <a:pt x="109602" y="78725"/>
                  </a:lnTo>
                  <a:lnTo>
                    <a:pt x="64886" y="34009"/>
                  </a:lnTo>
                  <a:cubicBezTo>
                    <a:pt x="61108" y="30231"/>
                    <a:pt x="59218" y="23933"/>
                    <a:pt x="60478" y="18894"/>
                  </a:cubicBezTo>
                  <a:cubicBezTo>
                    <a:pt x="61737" y="13226"/>
                    <a:pt x="65516" y="8817"/>
                    <a:pt x="71184" y="6928"/>
                  </a:cubicBezTo>
                  <a:cubicBezTo>
                    <a:pt x="83781" y="2519"/>
                    <a:pt x="96377" y="0"/>
                    <a:pt x="109602" y="0"/>
                  </a:cubicBezTo>
                  <a:cubicBezTo>
                    <a:pt x="139203" y="0"/>
                    <a:pt x="166285" y="11337"/>
                    <a:pt x="187068" y="32120"/>
                  </a:cubicBezTo>
                  <a:cubicBezTo>
                    <a:pt x="212261" y="56682"/>
                    <a:pt x="222967" y="92581"/>
                    <a:pt x="217929" y="127220"/>
                  </a:cubicBezTo>
                  <a:lnTo>
                    <a:pt x="377899" y="286561"/>
                  </a:lnTo>
                  <a:cubicBezTo>
                    <a:pt x="389865" y="298527"/>
                    <a:pt x="396793" y="314902"/>
                    <a:pt x="396793" y="331907"/>
                  </a:cubicBezTo>
                  <a:cubicBezTo>
                    <a:pt x="396793" y="348911"/>
                    <a:pt x="389865" y="365286"/>
                    <a:pt x="377899" y="377252"/>
                  </a:cubicBezTo>
                  <a:cubicBezTo>
                    <a:pt x="365933" y="390479"/>
                    <a:pt x="349558" y="396777"/>
                    <a:pt x="332553" y="396777"/>
                  </a:cubicBezTo>
                  <a:lnTo>
                    <a:pt x="332553" y="396777"/>
                  </a:lnTo>
                  <a:close/>
                  <a:moveTo>
                    <a:pt x="132905" y="183273"/>
                  </a:moveTo>
                  <a:cubicBezTo>
                    <a:pt x="137314" y="183273"/>
                    <a:pt x="141722" y="185162"/>
                    <a:pt x="144871" y="188311"/>
                  </a:cubicBezTo>
                  <a:lnTo>
                    <a:pt x="311140" y="354580"/>
                  </a:lnTo>
                  <a:cubicBezTo>
                    <a:pt x="323106" y="365916"/>
                    <a:pt x="343260" y="366546"/>
                    <a:pt x="354596" y="354580"/>
                  </a:cubicBezTo>
                  <a:cubicBezTo>
                    <a:pt x="360264" y="348911"/>
                    <a:pt x="363413" y="340724"/>
                    <a:pt x="363413" y="332537"/>
                  </a:cubicBezTo>
                  <a:cubicBezTo>
                    <a:pt x="363413" y="324349"/>
                    <a:pt x="360264" y="316791"/>
                    <a:pt x="354596" y="310493"/>
                  </a:cubicBezTo>
                  <a:lnTo>
                    <a:pt x="188328" y="144225"/>
                  </a:lnTo>
                  <a:cubicBezTo>
                    <a:pt x="183919" y="139816"/>
                    <a:pt x="182660" y="134148"/>
                    <a:pt x="183919" y="128480"/>
                  </a:cubicBezTo>
                  <a:cubicBezTo>
                    <a:pt x="190847" y="102028"/>
                    <a:pt x="183289" y="74947"/>
                    <a:pt x="163766" y="55423"/>
                  </a:cubicBezTo>
                  <a:cubicBezTo>
                    <a:pt x="149910" y="41567"/>
                    <a:pt x="131016" y="33380"/>
                    <a:pt x="111492" y="33380"/>
                  </a:cubicBezTo>
                  <a:lnTo>
                    <a:pt x="140463" y="62351"/>
                  </a:lnTo>
                  <a:cubicBezTo>
                    <a:pt x="144871" y="66759"/>
                    <a:pt x="146131" y="72427"/>
                    <a:pt x="144871" y="78725"/>
                  </a:cubicBezTo>
                  <a:lnTo>
                    <a:pt x="133535" y="121552"/>
                  </a:lnTo>
                  <a:cubicBezTo>
                    <a:pt x="132275" y="127220"/>
                    <a:pt x="127237" y="131629"/>
                    <a:pt x="121569" y="133518"/>
                  </a:cubicBezTo>
                  <a:lnTo>
                    <a:pt x="78742" y="144855"/>
                  </a:lnTo>
                  <a:cubicBezTo>
                    <a:pt x="73074" y="146114"/>
                    <a:pt x="66776" y="144855"/>
                    <a:pt x="62367" y="140446"/>
                  </a:cubicBezTo>
                  <a:lnTo>
                    <a:pt x="33396" y="111475"/>
                  </a:lnTo>
                  <a:cubicBezTo>
                    <a:pt x="34026" y="130999"/>
                    <a:pt x="41584" y="149893"/>
                    <a:pt x="55439" y="163749"/>
                  </a:cubicBezTo>
                  <a:cubicBezTo>
                    <a:pt x="74333" y="182643"/>
                    <a:pt x="102045" y="190201"/>
                    <a:pt x="128496" y="183903"/>
                  </a:cubicBezTo>
                  <a:cubicBezTo>
                    <a:pt x="130386" y="183903"/>
                    <a:pt x="131645" y="183273"/>
                    <a:pt x="132905" y="183273"/>
                  </a:cubicBezTo>
                  <a:lnTo>
                    <a:pt x="132905" y="183273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92" name="Forma Livre: Forma 191">
              <a:extLst>
                <a:ext uri="{FF2B5EF4-FFF2-40B4-BE49-F238E27FC236}">
                  <a16:creationId xmlns:a16="http://schemas.microsoft.com/office/drawing/2014/main" id="{56135458-BEA7-41E0-B015-0DE8EC8AC8A6}"/>
                </a:ext>
              </a:extLst>
            </p:cNvPr>
            <p:cNvSpPr/>
            <p:nvPr/>
          </p:nvSpPr>
          <p:spPr>
            <a:xfrm>
              <a:off x="3630947" y="3928819"/>
              <a:ext cx="27711" cy="27711"/>
            </a:xfrm>
            <a:custGeom>
              <a:avLst/>
              <a:gdLst>
                <a:gd name="connsiteX0" fmla="*/ 13856 w 27711"/>
                <a:gd name="connsiteY0" fmla="*/ 0 h 27711"/>
                <a:gd name="connsiteX1" fmla="*/ 0 w 27711"/>
                <a:gd name="connsiteY1" fmla="*/ 13855 h 27711"/>
                <a:gd name="connsiteX2" fmla="*/ 13856 w 27711"/>
                <a:gd name="connsiteY2" fmla="*/ 27711 h 27711"/>
                <a:gd name="connsiteX3" fmla="*/ 27711 w 27711"/>
                <a:gd name="connsiteY3" fmla="*/ 13855 h 27711"/>
                <a:gd name="connsiteX4" fmla="*/ 13856 w 27711"/>
                <a:gd name="connsiteY4" fmla="*/ 0 h 27711"/>
                <a:gd name="connsiteX5" fmla="*/ 13856 w 27711"/>
                <a:gd name="connsiteY5" fmla="*/ 0 h 2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711" h="27711">
                  <a:moveTo>
                    <a:pt x="13856" y="0"/>
                  </a:moveTo>
                  <a:cubicBezTo>
                    <a:pt x="6298" y="0"/>
                    <a:pt x="0" y="6298"/>
                    <a:pt x="0" y="13855"/>
                  </a:cubicBezTo>
                  <a:cubicBezTo>
                    <a:pt x="0" y="21413"/>
                    <a:pt x="6298" y="27711"/>
                    <a:pt x="13856" y="27711"/>
                  </a:cubicBezTo>
                  <a:cubicBezTo>
                    <a:pt x="21413" y="27711"/>
                    <a:pt x="27711" y="21413"/>
                    <a:pt x="27711" y="13855"/>
                  </a:cubicBezTo>
                  <a:cubicBezTo>
                    <a:pt x="27711" y="6298"/>
                    <a:pt x="21413" y="0"/>
                    <a:pt x="13856" y="0"/>
                  </a:cubicBezTo>
                  <a:lnTo>
                    <a:pt x="13856" y="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93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2306469" y="4648054"/>
            <a:ext cx="396183" cy="396146"/>
            <a:chOff x="2306469" y="4648054"/>
            <a:chExt cx="396183" cy="396146"/>
          </a:xfrm>
          <a:solidFill>
            <a:srgbClr val="B1B1A1"/>
          </a:solidFill>
        </p:grpSpPr>
        <p:grpSp>
          <p:nvGrpSpPr>
            <p:cNvPr id="194" name="Gráfico 2">
              <a:extLst>
                <a:ext uri="{FF2B5EF4-FFF2-40B4-BE49-F238E27FC236}">
                  <a16:creationId xmlns:a16="http://schemas.microsoft.com/office/drawing/2014/main" id="{A475B8DB-D93F-4DA6-8335-80171E5C5B8D}"/>
                </a:ext>
              </a:extLst>
            </p:cNvPr>
            <p:cNvGrpSpPr/>
            <p:nvPr/>
          </p:nvGrpSpPr>
          <p:grpSpPr>
            <a:xfrm>
              <a:off x="2306469" y="4648054"/>
              <a:ext cx="396183" cy="396146"/>
              <a:chOff x="2306469" y="4648054"/>
              <a:chExt cx="396183" cy="396146"/>
            </a:xfrm>
            <a:grpFill/>
          </p:grpSpPr>
          <p:sp>
            <p:nvSpPr>
              <p:cNvPr id="195" name="Forma Livre: Forma 194">
                <a:extLst>
                  <a:ext uri="{FF2B5EF4-FFF2-40B4-BE49-F238E27FC236}">
                    <a16:creationId xmlns:a16="http://schemas.microsoft.com/office/drawing/2014/main" id="{60B8F381-BD51-4DA4-AAE0-3CF7A6379F76}"/>
                  </a:ext>
                </a:extLst>
              </p:cNvPr>
              <p:cNvSpPr/>
              <p:nvPr/>
            </p:nvSpPr>
            <p:spPr>
              <a:xfrm>
                <a:off x="2306469" y="4648054"/>
                <a:ext cx="396183" cy="396146"/>
              </a:xfrm>
              <a:custGeom>
                <a:avLst/>
                <a:gdLst>
                  <a:gd name="connsiteX0" fmla="*/ 379772 w 396183"/>
                  <a:gd name="connsiteY0" fmla="*/ 396147 h 396146"/>
                  <a:gd name="connsiteX1" fmla="*/ 16375 w 396183"/>
                  <a:gd name="connsiteY1" fmla="*/ 396147 h 396146"/>
                  <a:gd name="connsiteX2" fmla="*/ 0 w 396183"/>
                  <a:gd name="connsiteY2" fmla="*/ 379772 h 396146"/>
                  <a:gd name="connsiteX3" fmla="*/ 0 w 396183"/>
                  <a:gd name="connsiteY3" fmla="*/ 16375 h 396146"/>
                  <a:gd name="connsiteX4" fmla="*/ 16375 w 396183"/>
                  <a:gd name="connsiteY4" fmla="*/ 0 h 396146"/>
                  <a:gd name="connsiteX5" fmla="*/ 379772 w 396183"/>
                  <a:gd name="connsiteY5" fmla="*/ 0 h 396146"/>
                  <a:gd name="connsiteX6" fmla="*/ 396147 w 396183"/>
                  <a:gd name="connsiteY6" fmla="*/ 16375 h 396146"/>
                  <a:gd name="connsiteX7" fmla="*/ 396147 w 396183"/>
                  <a:gd name="connsiteY7" fmla="*/ 379772 h 396146"/>
                  <a:gd name="connsiteX8" fmla="*/ 379772 w 396183"/>
                  <a:gd name="connsiteY8" fmla="*/ 396147 h 396146"/>
                  <a:gd name="connsiteX9" fmla="*/ 379772 w 396183"/>
                  <a:gd name="connsiteY9" fmla="*/ 396147 h 396146"/>
                  <a:gd name="connsiteX10" fmla="*/ 33380 w 396183"/>
                  <a:gd name="connsiteY10" fmla="*/ 362767 h 396146"/>
                  <a:gd name="connsiteX11" fmla="*/ 363397 w 396183"/>
                  <a:gd name="connsiteY11" fmla="*/ 362767 h 396146"/>
                  <a:gd name="connsiteX12" fmla="*/ 363397 w 396183"/>
                  <a:gd name="connsiteY12" fmla="*/ 32750 h 396146"/>
                  <a:gd name="connsiteX13" fmla="*/ 33380 w 396183"/>
                  <a:gd name="connsiteY13" fmla="*/ 32750 h 396146"/>
                  <a:gd name="connsiteX14" fmla="*/ 33380 w 396183"/>
                  <a:gd name="connsiteY14" fmla="*/ 362767 h 396146"/>
                  <a:gd name="connsiteX15" fmla="*/ 33380 w 396183"/>
                  <a:gd name="connsiteY15" fmla="*/ 362767 h 396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96183" h="396146">
                    <a:moveTo>
                      <a:pt x="379772" y="396147"/>
                    </a:moveTo>
                    <a:lnTo>
                      <a:pt x="16375" y="396147"/>
                    </a:lnTo>
                    <a:cubicBezTo>
                      <a:pt x="6928" y="396147"/>
                      <a:pt x="0" y="388589"/>
                      <a:pt x="0" y="379772"/>
                    </a:cubicBezTo>
                    <a:lnTo>
                      <a:pt x="0" y="16375"/>
                    </a:lnTo>
                    <a:cubicBezTo>
                      <a:pt x="0" y="6928"/>
                      <a:pt x="7558" y="0"/>
                      <a:pt x="16375" y="0"/>
                    </a:cubicBezTo>
                    <a:lnTo>
                      <a:pt x="379772" y="0"/>
                    </a:lnTo>
                    <a:cubicBezTo>
                      <a:pt x="389219" y="0"/>
                      <a:pt x="396147" y="7558"/>
                      <a:pt x="396147" y="16375"/>
                    </a:cubicBezTo>
                    <a:lnTo>
                      <a:pt x="396147" y="379772"/>
                    </a:lnTo>
                    <a:cubicBezTo>
                      <a:pt x="396776" y="388589"/>
                      <a:pt x="389219" y="396147"/>
                      <a:pt x="379772" y="396147"/>
                    </a:cubicBezTo>
                    <a:lnTo>
                      <a:pt x="379772" y="396147"/>
                    </a:lnTo>
                    <a:close/>
                    <a:moveTo>
                      <a:pt x="33380" y="362767"/>
                    </a:moveTo>
                    <a:lnTo>
                      <a:pt x="363397" y="362767"/>
                    </a:lnTo>
                    <a:lnTo>
                      <a:pt x="363397" y="32750"/>
                    </a:lnTo>
                    <a:lnTo>
                      <a:pt x="33380" y="32750"/>
                    </a:lnTo>
                    <a:lnTo>
                      <a:pt x="33380" y="362767"/>
                    </a:lnTo>
                    <a:lnTo>
                      <a:pt x="33380" y="362767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96" name="Forma Livre: Forma 195">
                <a:extLst>
                  <a:ext uri="{FF2B5EF4-FFF2-40B4-BE49-F238E27FC236}">
                    <a16:creationId xmlns:a16="http://schemas.microsoft.com/office/drawing/2014/main" id="{00BC3088-4BA4-4524-B496-1F5A99B3642D}"/>
                  </a:ext>
                </a:extLst>
              </p:cNvPr>
              <p:cNvSpPr/>
              <p:nvPr/>
            </p:nvSpPr>
            <p:spPr>
              <a:xfrm>
                <a:off x="2320955" y="4753232"/>
                <a:ext cx="367805" cy="16375"/>
              </a:xfrm>
              <a:custGeom>
                <a:avLst/>
                <a:gdLst>
                  <a:gd name="connsiteX0" fmla="*/ 359618 w 367805"/>
                  <a:gd name="connsiteY0" fmla="*/ 16375 h 16375"/>
                  <a:gd name="connsiteX1" fmla="*/ 8187 w 367805"/>
                  <a:gd name="connsiteY1" fmla="*/ 16375 h 16375"/>
                  <a:gd name="connsiteX2" fmla="*/ 0 w 367805"/>
                  <a:gd name="connsiteY2" fmla="*/ 8187 h 16375"/>
                  <a:gd name="connsiteX3" fmla="*/ 8187 w 367805"/>
                  <a:gd name="connsiteY3" fmla="*/ 0 h 16375"/>
                  <a:gd name="connsiteX4" fmla="*/ 359618 w 367805"/>
                  <a:gd name="connsiteY4" fmla="*/ 0 h 16375"/>
                  <a:gd name="connsiteX5" fmla="*/ 367805 w 367805"/>
                  <a:gd name="connsiteY5" fmla="*/ 8187 h 16375"/>
                  <a:gd name="connsiteX6" fmla="*/ 359618 w 367805"/>
                  <a:gd name="connsiteY6" fmla="*/ 16375 h 16375"/>
                  <a:gd name="connsiteX7" fmla="*/ 359618 w 367805"/>
                  <a:gd name="connsiteY7" fmla="*/ 16375 h 16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67805" h="16375">
                    <a:moveTo>
                      <a:pt x="359618" y="16375"/>
                    </a:moveTo>
                    <a:lnTo>
                      <a:pt x="8187" y="16375"/>
                    </a:lnTo>
                    <a:cubicBezTo>
                      <a:pt x="3779" y="16375"/>
                      <a:pt x="0" y="12596"/>
                      <a:pt x="0" y="8187"/>
                    </a:cubicBezTo>
                    <a:cubicBezTo>
                      <a:pt x="0" y="3779"/>
                      <a:pt x="3779" y="0"/>
                      <a:pt x="8187" y="0"/>
                    </a:cubicBezTo>
                    <a:lnTo>
                      <a:pt x="359618" y="0"/>
                    </a:lnTo>
                    <a:cubicBezTo>
                      <a:pt x="364027" y="0"/>
                      <a:pt x="367805" y="3779"/>
                      <a:pt x="367805" y="8187"/>
                    </a:cubicBezTo>
                    <a:cubicBezTo>
                      <a:pt x="367805" y="12596"/>
                      <a:pt x="364027" y="16375"/>
                      <a:pt x="359618" y="16375"/>
                    </a:cubicBezTo>
                    <a:lnTo>
                      <a:pt x="359618" y="16375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97" name="Forma Livre: Forma 196">
                <a:extLst>
                  <a:ext uri="{FF2B5EF4-FFF2-40B4-BE49-F238E27FC236}">
                    <a16:creationId xmlns:a16="http://schemas.microsoft.com/office/drawing/2014/main" id="{EE669093-8D46-44BD-A930-1D31991AA77E}"/>
                  </a:ext>
                </a:extLst>
              </p:cNvPr>
              <p:cNvSpPr/>
              <p:nvPr/>
            </p:nvSpPr>
            <p:spPr>
              <a:xfrm>
                <a:off x="2361262" y="4696549"/>
                <a:ext cx="41567" cy="41567"/>
              </a:xfrm>
              <a:custGeom>
                <a:avLst/>
                <a:gdLst>
                  <a:gd name="connsiteX0" fmla="*/ 20784 w 41567"/>
                  <a:gd name="connsiteY0" fmla="*/ 0 h 41567"/>
                  <a:gd name="connsiteX1" fmla="*/ 0 w 41567"/>
                  <a:gd name="connsiteY1" fmla="*/ 20783 h 41567"/>
                  <a:gd name="connsiteX2" fmla="*/ 20784 w 41567"/>
                  <a:gd name="connsiteY2" fmla="*/ 41567 h 41567"/>
                  <a:gd name="connsiteX3" fmla="*/ 41567 w 41567"/>
                  <a:gd name="connsiteY3" fmla="*/ 20783 h 41567"/>
                  <a:gd name="connsiteX4" fmla="*/ 20784 w 41567"/>
                  <a:gd name="connsiteY4" fmla="*/ 0 h 41567"/>
                  <a:gd name="connsiteX5" fmla="*/ 20784 w 41567"/>
                  <a:gd name="connsiteY5" fmla="*/ 0 h 41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567" h="41567">
                    <a:moveTo>
                      <a:pt x="20784" y="0"/>
                    </a:moveTo>
                    <a:cubicBezTo>
                      <a:pt x="9447" y="0"/>
                      <a:pt x="0" y="9447"/>
                      <a:pt x="0" y="20783"/>
                    </a:cubicBezTo>
                    <a:cubicBezTo>
                      <a:pt x="0" y="32120"/>
                      <a:pt x="9447" y="41567"/>
                      <a:pt x="20784" y="41567"/>
                    </a:cubicBezTo>
                    <a:cubicBezTo>
                      <a:pt x="32120" y="41567"/>
                      <a:pt x="41567" y="32120"/>
                      <a:pt x="41567" y="20783"/>
                    </a:cubicBezTo>
                    <a:cubicBezTo>
                      <a:pt x="41567" y="9447"/>
                      <a:pt x="32750" y="0"/>
                      <a:pt x="20784" y="0"/>
                    </a:cubicBezTo>
                    <a:lnTo>
                      <a:pt x="20784" y="0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98" name="Forma Livre: Forma 197">
                <a:extLst>
                  <a:ext uri="{FF2B5EF4-FFF2-40B4-BE49-F238E27FC236}">
                    <a16:creationId xmlns:a16="http://schemas.microsoft.com/office/drawing/2014/main" id="{CBD0CAF7-A8CE-4D72-877C-9A175D66446F}"/>
                  </a:ext>
                </a:extLst>
              </p:cNvPr>
              <p:cNvSpPr/>
              <p:nvPr/>
            </p:nvSpPr>
            <p:spPr>
              <a:xfrm>
                <a:off x="2418574" y="4696549"/>
                <a:ext cx="41566" cy="41567"/>
              </a:xfrm>
              <a:custGeom>
                <a:avLst/>
                <a:gdLst>
                  <a:gd name="connsiteX0" fmla="*/ 20783 w 41566"/>
                  <a:gd name="connsiteY0" fmla="*/ 0 h 41567"/>
                  <a:gd name="connsiteX1" fmla="*/ 0 w 41566"/>
                  <a:gd name="connsiteY1" fmla="*/ 20783 h 41567"/>
                  <a:gd name="connsiteX2" fmla="*/ 20783 w 41566"/>
                  <a:gd name="connsiteY2" fmla="*/ 41567 h 41567"/>
                  <a:gd name="connsiteX3" fmla="*/ 41567 w 41566"/>
                  <a:gd name="connsiteY3" fmla="*/ 20783 h 41567"/>
                  <a:gd name="connsiteX4" fmla="*/ 20783 w 41566"/>
                  <a:gd name="connsiteY4" fmla="*/ 0 h 41567"/>
                  <a:gd name="connsiteX5" fmla="*/ 20783 w 41566"/>
                  <a:gd name="connsiteY5" fmla="*/ 0 h 41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566" h="41567">
                    <a:moveTo>
                      <a:pt x="20783" y="0"/>
                    </a:moveTo>
                    <a:cubicBezTo>
                      <a:pt x="9447" y="0"/>
                      <a:pt x="0" y="9447"/>
                      <a:pt x="0" y="20783"/>
                    </a:cubicBezTo>
                    <a:cubicBezTo>
                      <a:pt x="0" y="32120"/>
                      <a:pt x="9447" y="41567"/>
                      <a:pt x="20783" y="41567"/>
                    </a:cubicBezTo>
                    <a:cubicBezTo>
                      <a:pt x="32120" y="41567"/>
                      <a:pt x="41567" y="32120"/>
                      <a:pt x="41567" y="20783"/>
                    </a:cubicBezTo>
                    <a:cubicBezTo>
                      <a:pt x="41567" y="9447"/>
                      <a:pt x="32120" y="0"/>
                      <a:pt x="20783" y="0"/>
                    </a:cubicBezTo>
                    <a:lnTo>
                      <a:pt x="20783" y="0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99" name="Forma Livre: Forma 198">
                <a:extLst>
                  <a:ext uri="{FF2B5EF4-FFF2-40B4-BE49-F238E27FC236}">
                    <a16:creationId xmlns:a16="http://schemas.microsoft.com/office/drawing/2014/main" id="{658167E6-DDAA-4182-9AB0-2AA888034F3D}"/>
                  </a:ext>
                </a:extLst>
              </p:cNvPr>
              <p:cNvSpPr/>
              <p:nvPr/>
            </p:nvSpPr>
            <p:spPr>
              <a:xfrm>
                <a:off x="2475257" y="4696549"/>
                <a:ext cx="41566" cy="41567"/>
              </a:xfrm>
              <a:custGeom>
                <a:avLst/>
                <a:gdLst>
                  <a:gd name="connsiteX0" fmla="*/ 20783 w 41566"/>
                  <a:gd name="connsiteY0" fmla="*/ 0 h 41567"/>
                  <a:gd name="connsiteX1" fmla="*/ 0 w 41566"/>
                  <a:gd name="connsiteY1" fmla="*/ 20783 h 41567"/>
                  <a:gd name="connsiteX2" fmla="*/ 20783 w 41566"/>
                  <a:gd name="connsiteY2" fmla="*/ 41567 h 41567"/>
                  <a:gd name="connsiteX3" fmla="*/ 41567 w 41566"/>
                  <a:gd name="connsiteY3" fmla="*/ 20783 h 41567"/>
                  <a:gd name="connsiteX4" fmla="*/ 20783 w 41566"/>
                  <a:gd name="connsiteY4" fmla="*/ 0 h 41567"/>
                  <a:gd name="connsiteX5" fmla="*/ 20783 w 41566"/>
                  <a:gd name="connsiteY5" fmla="*/ 0 h 41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566" h="41567">
                    <a:moveTo>
                      <a:pt x="20783" y="0"/>
                    </a:moveTo>
                    <a:cubicBezTo>
                      <a:pt x="9447" y="0"/>
                      <a:pt x="0" y="9447"/>
                      <a:pt x="0" y="20783"/>
                    </a:cubicBezTo>
                    <a:cubicBezTo>
                      <a:pt x="0" y="32120"/>
                      <a:pt x="9447" y="41567"/>
                      <a:pt x="20783" y="41567"/>
                    </a:cubicBezTo>
                    <a:cubicBezTo>
                      <a:pt x="32120" y="41567"/>
                      <a:pt x="41567" y="32120"/>
                      <a:pt x="41567" y="20783"/>
                    </a:cubicBezTo>
                    <a:cubicBezTo>
                      <a:pt x="41567" y="9447"/>
                      <a:pt x="32120" y="0"/>
                      <a:pt x="20783" y="0"/>
                    </a:cubicBezTo>
                    <a:lnTo>
                      <a:pt x="20783" y="0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200" name="Gráfico 2">
              <a:extLst>
                <a:ext uri="{FF2B5EF4-FFF2-40B4-BE49-F238E27FC236}">
                  <a16:creationId xmlns:a16="http://schemas.microsoft.com/office/drawing/2014/main" id="{A475B8DB-D93F-4DA6-8335-80171E5C5B8D}"/>
                </a:ext>
              </a:extLst>
            </p:cNvPr>
            <p:cNvGrpSpPr/>
            <p:nvPr/>
          </p:nvGrpSpPr>
          <p:grpSpPr>
            <a:xfrm>
              <a:off x="2382675" y="4819991"/>
              <a:ext cx="244363" cy="122181"/>
              <a:chOff x="2382675" y="4819991"/>
              <a:chExt cx="244363" cy="122181"/>
            </a:xfrm>
            <a:grpFill/>
          </p:grpSpPr>
          <p:sp>
            <p:nvSpPr>
              <p:cNvPr id="201" name="Forma Livre: Forma 200">
                <a:extLst>
                  <a:ext uri="{FF2B5EF4-FFF2-40B4-BE49-F238E27FC236}">
                    <a16:creationId xmlns:a16="http://schemas.microsoft.com/office/drawing/2014/main" id="{A61CD01A-E94E-435D-9059-3DBF86480791}"/>
                  </a:ext>
                </a:extLst>
              </p:cNvPr>
              <p:cNvSpPr/>
              <p:nvPr/>
            </p:nvSpPr>
            <p:spPr>
              <a:xfrm>
                <a:off x="2382675" y="4819991"/>
                <a:ext cx="130369" cy="16374"/>
              </a:xfrm>
              <a:custGeom>
                <a:avLst/>
                <a:gdLst>
                  <a:gd name="connsiteX0" fmla="*/ 122182 w 130369"/>
                  <a:gd name="connsiteY0" fmla="*/ 16375 h 16374"/>
                  <a:gd name="connsiteX1" fmla="*/ 8187 w 130369"/>
                  <a:gd name="connsiteY1" fmla="*/ 16375 h 16374"/>
                  <a:gd name="connsiteX2" fmla="*/ 0 w 130369"/>
                  <a:gd name="connsiteY2" fmla="*/ 8187 h 16374"/>
                  <a:gd name="connsiteX3" fmla="*/ 8187 w 130369"/>
                  <a:gd name="connsiteY3" fmla="*/ 0 h 16374"/>
                  <a:gd name="connsiteX4" fmla="*/ 122182 w 130369"/>
                  <a:gd name="connsiteY4" fmla="*/ 0 h 16374"/>
                  <a:gd name="connsiteX5" fmla="*/ 130369 w 130369"/>
                  <a:gd name="connsiteY5" fmla="*/ 8187 h 16374"/>
                  <a:gd name="connsiteX6" fmla="*/ 122182 w 130369"/>
                  <a:gd name="connsiteY6" fmla="*/ 16375 h 16374"/>
                  <a:gd name="connsiteX7" fmla="*/ 122182 w 130369"/>
                  <a:gd name="connsiteY7" fmla="*/ 16375 h 163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0369" h="16374">
                    <a:moveTo>
                      <a:pt x="122182" y="16375"/>
                    </a:moveTo>
                    <a:lnTo>
                      <a:pt x="8187" y="16375"/>
                    </a:lnTo>
                    <a:cubicBezTo>
                      <a:pt x="3779" y="16375"/>
                      <a:pt x="0" y="12596"/>
                      <a:pt x="0" y="8187"/>
                    </a:cubicBezTo>
                    <a:cubicBezTo>
                      <a:pt x="0" y="3779"/>
                      <a:pt x="3779" y="0"/>
                      <a:pt x="8187" y="0"/>
                    </a:cubicBezTo>
                    <a:lnTo>
                      <a:pt x="122182" y="0"/>
                    </a:lnTo>
                    <a:cubicBezTo>
                      <a:pt x="126591" y="0"/>
                      <a:pt x="130369" y="3779"/>
                      <a:pt x="130369" y="8187"/>
                    </a:cubicBezTo>
                    <a:cubicBezTo>
                      <a:pt x="130369" y="12596"/>
                      <a:pt x="126591" y="16375"/>
                      <a:pt x="122182" y="16375"/>
                    </a:cubicBezTo>
                    <a:lnTo>
                      <a:pt x="122182" y="16375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02" name="Forma Livre: Forma 201">
                <a:extLst>
                  <a:ext uri="{FF2B5EF4-FFF2-40B4-BE49-F238E27FC236}">
                    <a16:creationId xmlns:a16="http://schemas.microsoft.com/office/drawing/2014/main" id="{DA41F6AC-2C29-48E8-B56E-C7F1A9C22968}"/>
                  </a:ext>
                </a:extLst>
              </p:cNvPr>
              <p:cNvSpPr/>
              <p:nvPr/>
            </p:nvSpPr>
            <p:spPr>
              <a:xfrm>
                <a:off x="2382675" y="4872894"/>
                <a:ext cx="130369" cy="16375"/>
              </a:xfrm>
              <a:custGeom>
                <a:avLst/>
                <a:gdLst>
                  <a:gd name="connsiteX0" fmla="*/ 122182 w 130369"/>
                  <a:gd name="connsiteY0" fmla="*/ 16375 h 16375"/>
                  <a:gd name="connsiteX1" fmla="*/ 8187 w 130369"/>
                  <a:gd name="connsiteY1" fmla="*/ 16375 h 16375"/>
                  <a:gd name="connsiteX2" fmla="*/ 0 w 130369"/>
                  <a:gd name="connsiteY2" fmla="*/ 8187 h 16375"/>
                  <a:gd name="connsiteX3" fmla="*/ 8187 w 130369"/>
                  <a:gd name="connsiteY3" fmla="*/ 0 h 16375"/>
                  <a:gd name="connsiteX4" fmla="*/ 122182 w 130369"/>
                  <a:gd name="connsiteY4" fmla="*/ 0 h 16375"/>
                  <a:gd name="connsiteX5" fmla="*/ 130369 w 130369"/>
                  <a:gd name="connsiteY5" fmla="*/ 8187 h 16375"/>
                  <a:gd name="connsiteX6" fmla="*/ 122182 w 130369"/>
                  <a:gd name="connsiteY6" fmla="*/ 16375 h 16375"/>
                  <a:gd name="connsiteX7" fmla="*/ 122182 w 130369"/>
                  <a:gd name="connsiteY7" fmla="*/ 16375 h 16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0369" h="16375">
                    <a:moveTo>
                      <a:pt x="122182" y="16375"/>
                    </a:moveTo>
                    <a:lnTo>
                      <a:pt x="8187" y="16375"/>
                    </a:lnTo>
                    <a:cubicBezTo>
                      <a:pt x="3779" y="16375"/>
                      <a:pt x="0" y="12596"/>
                      <a:pt x="0" y="8187"/>
                    </a:cubicBezTo>
                    <a:cubicBezTo>
                      <a:pt x="0" y="3779"/>
                      <a:pt x="3779" y="0"/>
                      <a:pt x="8187" y="0"/>
                    </a:cubicBezTo>
                    <a:lnTo>
                      <a:pt x="122182" y="0"/>
                    </a:lnTo>
                    <a:cubicBezTo>
                      <a:pt x="126591" y="0"/>
                      <a:pt x="130369" y="3779"/>
                      <a:pt x="130369" y="8187"/>
                    </a:cubicBezTo>
                    <a:cubicBezTo>
                      <a:pt x="130369" y="12596"/>
                      <a:pt x="126591" y="16375"/>
                      <a:pt x="122182" y="16375"/>
                    </a:cubicBezTo>
                    <a:lnTo>
                      <a:pt x="122182" y="16375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03" name="Forma Livre: Forma 202">
                <a:extLst>
                  <a:ext uri="{FF2B5EF4-FFF2-40B4-BE49-F238E27FC236}">
                    <a16:creationId xmlns:a16="http://schemas.microsoft.com/office/drawing/2014/main" id="{7A883015-7505-4CE0-A372-6032F2164AC0}"/>
                  </a:ext>
                </a:extLst>
              </p:cNvPr>
              <p:cNvSpPr/>
              <p:nvPr/>
            </p:nvSpPr>
            <p:spPr>
              <a:xfrm>
                <a:off x="2382675" y="4925798"/>
                <a:ext cx="130369" cy="16374"/>
              </a:xfrm>
              <a:custGeom>
                <a:avLst/>
                <a:gdLst>
                  <a:gd name="connsiteX0" fmla="*/ 122182 w 130369"/>
                  <a:gd name="connsiteY0" fmla="*/ 16375 h 16374"/>
                  <a:gd name="connsiteX1" fmla="*/ 8187 w 130369"/>
                  <a:gd name="connsiteY1" fmla="*/ 16375 h 16374"/>
                  <a:gd name="connsiteX2" fmla="*/ 0 w 130369"/>
                  <a:gd name="connsiteY2" fmla="*/ 8187 h 16374"/>
                  <a:gd name="connsiteX3" fmla="*/ 8187 w 130369"/>
                  <a:gd name="connsiteY3" fmla="*/ 0 h 16374"/>
                  <a:gd name="connsiteX4" fmla="*/ 122182 w 130369"/>
                  <a:gd name="connsiteY4" fmla="*/ 0 h 16374"/>
                  <a:gd name="connsiteX5" fmla="*/ 130369 w 130369"/>
                  <a:gd name="connsiteY5" fmla="*/ 8187 h 16374"/>
                  <a:gd name="connsiteX6" fmla="*/ 122182 w 130369"/>
                  <a:gd name="connsiteY6" fmla="*/ 16375 h 16374"/>
                  <a:gd name="connsiteX7" fmla="*/ 122182 w 130369"/>
                  <a:gd name="connsiteY7" fmla="*/ 16375 h 163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0369" h="16374">
                    <a:moveTo>
                      <a:pt x="122182" y="16375"/>
                    </a:moveTo>
                    <a:lnTo>
                      <a:pt x="8187" y="16375"/>
                    </a:lnTo>
                    <a:cubicBezTo>
                      <a:pt x="3779" y="16375"/>
                      <a:pt x="0" y="12596"/>
                      <a:pt x="0" y="8187"/>
                    </a:cubicBezTo>
                    <a:cubicBezTo>
                      <a:pt x="0" y="3779"/>
                      <a:pt x="3779" y="0"/>
                      <a:pt x="8187" y="0"/>
                    </a:cubicBezTo>
                    <a:lnTo>
                      <a:pt x="122182" y="0"/>
                    </a:lnTo>
                    <a:cubicBezTo>
                      <a:pt x="126591" y="0"/>
                      <a:pt x="130369" y="3779"/>
                      <a:pt x="130369" y="8187"/>
                    </a:cubicBezTo>
                    <a:cubicBezTo>
                      <a:pt x="130369" y="12596"/>
                      <a:pt x="126591" y="16375"/>
                      <a:pt x="122182" y="16375"/>
                    </a:cubicBezTo>
                    <a:lnTo>
                      <a:pt x="122182" y="16375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04" name="Forma Livre: Forma 203">
                <a:extLst>
                  <a:ext uri="{FF2B5EF4-FFF2-40B4-BE49-F238E27FC236}">
                    <a16:creationId xmlns:a16="http://schemas.microsoft.com/office/drawing/2014/main" id="{E3379996-4EBE-4B4D-9A72-53F77A20C0BD}"/>
                  </a:ext>
                </a:extLst>
              </p:cNvPr>
              <p:cNvSpPr/>
              <p:nvPr/>
            </p:nvSpPr>
            <p:spPr>
              <a:xfrm>
                <a:off x="2538237" y="4819991"/>
                <a:ext cx="88802" cy="122181"/>
              </a:xfrm>
              <a:custGeom>
                <a:avLst/>
                <a:gdLst>
                  <a:gd name="connsiteX0" fmla="*/ 80615 w 88802"/>
                  <a:gd name="connsiteY0" fmla="*/ 122182 h 122181"/>
                  <a:gd name="connsiteX1" fmla="*/ 8187 w 88802"/>
                  <a:gd name="connsiteY1" fmla="*/ 122182 h 122181"/>
                  <a:gd name="connsiteX2" fmla="*/ 0 w 88802"/>
                  <a:gd name="connsiteY2" fmla="*/ 113994 h 122181"/>
                  <a:gd name="connsiteX3" fmla="*/ 0 w 88802"/>
                  <a:gd name="connsiteY3" fmla="*/ 8187 h 122181"/>
                  <a:gd name="connsiteX4" fmla="*/ 8187 w 88802"/>
                  <a:gd name="connsiteY4" fmla="*/ 0 h 122181"/>
                  <a:gd name="connsiteX5" fmla="*/ 80615 w 88802"/>
                  <a:gd name="connsiteY5" fmla="*/ 0 h 122181"/>
                  <a:gd name="connsiteX6" fmla="*/ 88802 w 88802"/>
                  <a:gd name="connsiteY6" fmla="*/ 8187 h 122181"/>
                  <a:gd name="connsiteX7" fmla="*/ 88802 w 88802"/>
                  <a:gd name="connsiteY7" fmla="*/ 113994 h 122181"/>
                  <a:gd name="connsiteX8" fmla="*/ 80615 w 88802"/>
                  <a:gd name="connsiteY8" fmla="*/ 122182 h 122181"/>
                  <a:gd name="connsiteX9" fmla="*/ 80615 w 88802"/>
                  <a:gd name="connsiteY9" fmla="*/ 122182 h 122181"/>
                  <a:gd name="connsiteX10" fmla="*/ 16375 w 88802"/>
                  <a:gd name="connsiteY10" fmla="*/ 105807 h 122181"/>
                  <a:gd name="connsiteX11" fmla="*/ 71798 w 88802"/>
                  <a:gd name="connsiteY11" fmla="*/ 105807 h 122181"/>
                  <a:gd name="connsiteX12" fmla="*/ 71798 w 88802"/>
                  <a:gd name="connsiteY12" fmla="*/ 17004 h 122181"/>
                  <a:gd name="connsiteX13" fmla="*/ 16375 w 88802"/>
                  <a:gd name="connsiteY13" fmla="*/ 17004 h 122181"/>
                  <a:gd name="connsiteX14" fmla="*/ 16375 w 88802"/>
                  <a:gd name="connsiteY14" fmla="*/ 105807 h 122181"/>
                  <a:gd name="connsiteX15" fmla="*/ 16375 w 88802"/>
                  <a:gd name="connsiteY15" fmla="*/ 105807 h 122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8802" h="122181">
                    <a:moveTo>
                      <a:pt x="80615" y="122182"/>
                    </a:moveTo>
                    <a:lnTo>
                      <a:pt x="8187" y="122182"/>
                    </a:lnTo>
                    <a:cubicBezTo>
                      <a:pt x="3779" y="122182"/>
                      <a:pt x="0" y="118403"/>
                      <a:pt x="0" y="113994"/>
                    </a:cubicBezTo>
                    <a:lnTo>
                      <a:pt x="0" y="8187"/>
                    </a:lnTo>
                    <a:cubicBezTo>
                      <a:pt x="0" y="3779"/>
                      <a:pt x="3779" y="0"/>
                      <a:pt x="8187" y="0"/>
                    </a:cubicBezTo>
                    <a:lnTo>
                      <a:pt x="80615" y="0"/>
                    </a:lnTo>
                    <a:cubicBezTo>
                      <a:pt x="85024" y="0"/>
                      <a:pt x="88802" y="3779"/>
                      <a:pt x="88802" y="8187"/>
                    </a:cubicBezTo>
                    <a:lnTo>
                      <a:pt x="88802" y="113994"/>
                    </a:lnTo>
                    <a:cubicBezTo>
                      <a:pt x="88802" y="118403"/>
                      <a:pt x="85024" y="122182"/>
                      <a:pt x="80615" y="122182"/>
                    </a:cubicBezTo>
                    <a:lnTo>
                      <a:pt x="80615" y="122182"/>
                    </a:lnTo>
                    <a:close/>
                    <a:moveTo>
                      <a:pt x="16375" y="105807"/>
                    </a:moveTo>
                    <a:lnTo>
                      <a:pt x="71798" y="105807"/>
                    </a:lnTo>
                    <a:lnTo>
                      <a:pt x="71798" y="17004"/>
                    </a:lnTo>
                    <a:lnTo>
                      <a:pt x="16375" y="17004"/>
                    </a:lnTo>
                    <a:lnTo>
                      <a:pt x="16375" y="105807"/>
                    </a:lnTo>
                    <a:lnTo>
                      <a:pt x="16375" y="105807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205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4340421" y="3627388"/>
            <a:ext cx="398665" cy="370079"/>
            <a:chOff x="4340421" y="3627388"/>
            <a:chExt cx="398665" cy="370079"/>
          </a:xfrm>
          <a:solidFill>
            <a:srgbClr val="B1B1A1"/>
          </a:solidFill>
        </p:grpSpPr>
        <p:grpSp>
          <p:nvGrpSpPr>
            <p:cNvPr id="206" name="Gráfico 2">
              <a:extLst>
                <a:ext uri="{FF2B5EF4-FFF2-40B4-BE49-F238E27FC236}">
                  <a16:creationId xmlns:a16="http://schemas.microsoft.com/office/drawing/2014/main" id="{A475B8DB-D93F-4DA6-8335-80171E5C5B8D}"/>
                </a:ext>
              </a:extLst>
            </p:cNvPr>
            <p:cNvGrpSpPr/>
            <p:nvPr/>
          </p:nvGrpSpPr>
          <p:grpSpPr>
            <a:xfrm>
              <a:off x="4340421" y="3719409"/>
              <a:ext cx="398665" cy="186736"/>
              <a:chOff x="4340421" y="3719409"/>
              <a:chExt cx="398665" cy="186736"/>
            </a:xfrm>
            <a:grpFill/>
          </p:grpSpPr>
          <p:sp>
            <p:nvSpPr>
              <p:cNvPr id="207" name="Forma Livre: Forma 206">
                <a:extLst>
                  <a:ext uri="{FF2B5EF4-FFF2-40B4-BE49-F238E27FC236}">
                    <a16:creationId xmlns:a16="http://schemas.microsoft.com/office/drawing/2014/main" id="{2A91A69D-F681-4EA8-B909-8A41684C7218}"/>
                  </a:ext>
                </a:extLst>
              </p:cNvPr>
              <p:cNvSpPr/>
              <p:nvPr/>
            </p:nvSpPr>
            <p:spPr>
              <a:xfrm>
                <a:off x="4629501" y="3720039"/>
                <a:ext cx="109585" cy="186106"/>
              </a:xfrm>
              <a:custGeom>
                <a:avLst/>
                <a:gdLst>
                  <a:gd name="connsiteX0" fmla="*/ 16690 w 109585"/>
                  <a:gd name="connsiteY0" fmla="*/ 186107 h 186106"/>
                  <a:gd name="connsiteX1" fmla="*/ 4724 w 109585"/>
                  <a:gd name="connsiteY1" fmla="*/ 181069 h 186106"/>
                  <a:gd name="connsiteX2" fmla="*/ 4724 w 109585"/>
                  <a:gd name="connsiteY2" fmla="*/ 157766 h 186106"/>
                  <a:gd name="connsiteX3" fmla="*/ 69593 w 109585"/>
                  <a:gd name="connsiteY3" fmla="*/ 92896 h 186106"/>
                  <a:gd name="connsiteX4" fmla="*/ 4724 w 109585"/>
                  <a:gd name="connsiteY4" fmla="*/ 28026 h 186106"/>
                  <a:gd name="connsiteX5" fmla="*/ 4724 w 109585"/>
                  <a:gd name="connsiteY5" fmla="*/ 4724 h 186106"/>
                  <a:gd name="connsiteX6" fmla="*/ 28026 w 109585"/>
                  <a:gd name="connsiteY6" fmla="*/ 4724 h 186106"/>
                  <a:gd name="connsiteX7" fmla="*/ 104862 w 109585"/>
                  <a:gd name="connsiteY7" fmla="*/ 81560 h 186106"/>
                  <a:gd name="connsiteX8" fmla="*/ 104862 w 109585"/>
                  <a:gd name="connsiteY8" fmla="*/ 104862 h 186106"/>
                  <a:gd name="connsiteX9" fmla="*/ 28656 w 109585"/>
                  <a:gd name="connsiteY9" fmla="*/ 181069 h 186106"/>
                  <a:gd name="connsiteX10" fmla="*/ 16690 w 109585"/>
                  <a:gd name="connsiteY10" fmla="*/ 186107 h 186106"/>
                  <a:gd name="connsiteX11" fmla="*/ 16690 w 109585"/>
                  <a:gd name="connsiteY11" fmla="*/ 186107 h 1861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9585" h="186106">
                    <a:moveTo>
                      <a:pt x="16690" y="186107"/>
                    </a:moveTo>
                    <a:cubicBezTo>
                      <a:pt x="12281" y="186107"/>
                      <a:pt x="7873" y="184218"/>
                      <a:pt x="4724" y="181069"/>
                    </a:cubicBezTo>
                    <a:cubicBezTo>
                      <a:pt x="-1575" y="174771"/>
                      <a:pt x="-1575" y="164064"/>
                      <a:pt x="4724" y="157766"/>
                    </a:cubicBezTo>
                    <a:lnTo>
                      <a:pt x="69593" y="92896"/>
                    </a:lnTo>
                    <a:lnTo>
                      <a:pt x="4724" y="28026"/>
                    </a:lnTo>
                    <a:cubicBezTo>
                      <a:pt x="-1575" y="21728"/>
                      <a:pt x="-1575" y="11022"/>
                      <a:pt x="4724" y="4724"/>
                    </a:cubicBezTo>
                    <a:cubicBezTo>
                      <a:pt x="11022" y="-1575"/>
                      <a:pt x="21728" y="-1575"/>
                      <a:pt x="28026" y="4724"/>
                    </a:cubicBezTo>
                    <a:lnTo>
                      <a:pt x="104862" y="81560"/>
                    </a:lnTo>
                    <a:cubicBezTo>
                      <a:pt x="111160" y="87858"/>
                      <a:pt x="111160" y="98564"/>
                      <a:pt x="104862" y="104862"/>
                    </a:cubicBezTo>
                    <a:lnTo>
                      <a:pt x="28656" y="181069"/>
                    </a:lnTo>
                    <a:cubicBezTo>
                      <a:pt x="25507" y="184218"/>
                      <a:pt x="21098" y="186107"/>
                      <a:pt x="16690" y="186107"/>
                    </a:cubicBezTo>
                    <a:lnTo>
                      <a:pt x="16690" y="186107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08" name="Forma Livre: Forma 207">
                <a:extLst>
                  <a:ext uri="{FF2B5EF4-FFF2-40B4-BE49-F238E27FC236}">
                    <a16:creationId xmlns:a16="http://schemas.microsoft.com/office/drawing/2014/main" id="{8CD4F602-B1C1-4A94-95F4-ECCB302CD2CC}"/>
                  </a:ext>
                </a:extLst>
              </p:cNvPr>
              <p:cNvSpPr/>
              <p:nvPr/>
            </p:nvSpPr>
            <p:spPr>
              <a:xfrm>
                <a:off x="4340421" y="3719409"/>
                <a:ext cx="109585" cy="186736"/>
              </a:xfrm>
              <a:custGeom>
                <a:avLst/>
                <a:gdLst>
                  <a:gd name="connsiteX0" fmla="*/ 93526 w 109585"/>
                  <a:gd name="connsiteY0" fmla="*/ 186737 h 186736"/>
                  <a:gd name="connsiteX1" fmla="*/ 81560 w 109585"/>
                  <a:gd name="connsiteY1" fmla="*/ 181698 h 186736"/>
                  <a:gd name="connsiteX2" fmla="*/ 4724 w 109585"/>
                  <a:gd name="connsiteY2" fmla="*/ 104862 h 186736"/>
                  <a:gd name="connsiteX3" fmla="*/ 4724 w 109585"/>
                  <a:gd name="connsiteY3" fmla="*/ 81559 h 186736"/>
                  <a:gd name="connsiteX4" fmla="*/ 81560 w 109585"/>
                  <a:gd name="connsiteY4" fmla="*/ 4724 h 186736"/>
                  <a:gd name="connsiteX5" fmla="*/ 104862 w 109585"/>
                  <a:gd name="connsiteY5" fmla="*/ 4724 h 186736"/>
                  <a:gd name="connsiteX6" fmla="*/ 104862 w 109585"/>
                  <a:gd name="connsiteY6" fmla="*/ 28026 h 186736"/>
                  <a:gd name="connsiteX7" fmla="*/ 39993 w 109585"/>
                  <a:gd name="connsiteY7" fmla="*/ 92896 h 186736"/>
                  <a:gd name="connsiteX8" fmla="*/ 104862 w 109585"/>
                  <a:gd name="connsiteY8" fmla="*/ 157766 h 186736"/>
                  <a:gd name="connsiteX9" fmla="*/ 104862 w 109585"/>
                  <a:gd name="connsiteY9" fmla="*/ 181069 h 186736"/>
                  <a:gd name="connsiteX10" fmla="*/ 93526 w 109585"/>
                  <a:gd name="connsiteY10" fmla="*/ 186737 h 186736"/>
                  <a:gd name="connsiteX11" fmla="*/ 93526 w 109585"/>
                  <a:gd name="connsiteY11" fmla="*/ 186737 h 1867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9585" h="186736">
                    <a:moveTo>
                      <a:pt x="93526" y="186737"/>
                    </a:moveTo>
                    <a:cubicBezTo>
                      <a:pt x="89117" y="186737"/>
                      <a:pt x="84709" y="184847"/>
                      <a:pt x="81560" y="181698"/>
                    </a:cubicBezTo>
                    <a:lnTo>
                      <a:pt x="4724" y="104862"/>
                    </a:lnTo>
                    <a:cubicBezTo>
                      <a:pt x="-1575" y="98564"/>
                      <a:pt x="-1575" y="87858"/>
                      <a:pt x="4724" y="81559"/>
                    </a:cubicBezTo>
                    <a:lnTo>
                      <a:pt x="81560" y="4724"/>
                    </a:lnTo>
                    <a:cubicBezTo>
                      <a:pt x="87858" y="-1575"/>
                      <a:pt x="98564" y="-1575"/>
                      <a:pt x="104862" y="4724"/>
                    </a:cubicBezTo>
                    <a:cubicBezTo>
                      <a:pt x="111160" y="11022"/>
                      <a:pt x="111160" y="21728"/>
                      <a:pt x="104862" y="28026"/>
                    </a:cubicBezTo>
                    <a:lnTo>
                      <a:pt x="39993" y="92896"/>
                    </a:lnTo>
                    <a:lnTo>
                      <a:pt x="104862" y="157766"/>
                    </a:lnTo>
                    <a:cubicBezTo>
                      <a:pt x="111160" y="164064"/>
                      <a:pt x="111160" y="174771"/>
                      <a:pt x="104862" y="181069"/>
                    </a:cubicBezTo>
                    <a:cubicBezTo>
                      <a:pt x="102343" y="184847"/>
                      <a:pt x="97934" y="186737"/>
                      <a:pt x="93526" y="186737"/>
                    </a:cubicBezTo>
                    <a:lnTo>
                      <a:pt x="93526" y="186737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209" name="Forma Livre: Forma 208">
              <a:extLst>
                <a:ext uri="{FF2B5EF4-FFF2-40B4-BE49-F238E27FC236}">
                  <a16:creationId xmlns:a16="http://schemas.microsoft.com/office/drawing/2014/main" id="{B22F6648-BA24-4A6E-81E9-88DDF1E8E227}"/>
                </a:ext>
              </a:extLst>
            </p:cNvPr>
            <p:cNvSpPr/>
            <p:nvPr/>
          </p:nvSpPr>
          <p:spPr>
            <a:xfrm>
              <a:off x="4460643" y="3627388"/>
              <a:ext cx="158850" cy="370079"/>
            </a:xfrm>
            <a:custGeom>
              <a:avLst/>
              <a:gdLst>
                <a:gd name="connsiteX0" fmla="*/ 16760 w 158850"/>
                <a:gd name="connsiteY0" fmla="*/ 370080 h 370079"/>
                <a:gd name="connsiteX1" fmla="*/ 11091 w 158850"/>
                <a:gd name="connsiteY1" fmla="*/ 368820 h 370079"/>
                <a:gd name="connsiteX2" fmla="*/ 1015 w 158850"/>
                <a:gd name="connsiteY2" fmla="*/ 347407 h 370079"/>
                <a:gd name="connsiteX3" fmla="*/ 126346 w 158850"/>
                <a:gd name="connsiteY3" fmla="*/ 11091 h 370079"/>
                <a:gd name="connsiteX4" fmla="*/ 147759 w 158850"/>
                <a:gd name="connsiteY4" fmla="*/ 1015 h 370079"/>
                <a:gd name="connsiteX5" fmla="*/ 157836 w 158850"/>
                <a:gd name="connsiteY5" fmla="*/ 22428 h 370079"/>
                <a:gd name="connsiteX6" fmla="*/ 32505 w 158850"/>
                <a:gd name="connsiteY6" fmla="*/ 359373 h 370079"/>
                <a:gd name="connsiteX7" fmla="*/ 16760 w 158850"/>
                <a:gd name="connsiteY7" fmla="*/ 370080 h 370079"/>
                <a:gd name="connsiteX8" fmla="*/ 16760 w 158850"/>
                <a:gd name="connsiteY8" fmla="*/ 370080 h 370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8850" h="370079">
                  <a:moveTo>
                    <a:pt x="16760" y="370080"/>
                  </a:moveTo>
                  <a:cubicBezTo>
                    <a:pt x="14870" y="370080"/>
                    <a:pt x="12981" y="369450"/>
                    <a:pt x="11091" y="368820"/>
                  </a:cubicBezTo>
                  <a:cubicBezTo>
                    <a:pt x="2274" y="365671"/>
                    <a:pt x="-2134" y="356224"/>
                    <a:pt x="1015" y="347407"/>
                  </a:cubicBezTo>
                  <a:lnTo>
                    <a:pt x="126346" y="11091"/>
                  </a:lnTo>
                  <a:cubicBezTo>
                    <a:pt x="129495" y="2274"/>
                    <a:pt x="138942" y="-2134"/>
                    <a:pt x="147759" y="1015"/>
                  </a:cubicBezTo>
                  <a:cubicBezTo>
                    <a:pt x="156576" y="4164"/>
                    <a:pt x="160985" y="13611"/>
                    <a:pt x="157836" y="22428"/>
                  </a:cubicBezTo>
                  <a:lnTo>
                    <a:pt x="32505" y="359373"/>
                  </a:lnTo>
                  <a:cubicBezTo>
                    <a:pt x="29986" y="365671"/>
                    <a:pt x="23688" y="370080"/>
                    <a:pt x="16760" y="370080"/>
                  </a:cubicBezTo>
                  <a:lnTo>
                    <a:pt x="16760" y="37008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10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3372811" y="2583557"/>
            <a:ext cx="306271" cy="410002"/>
            <a:chOff x="3372811" y="2583557"/>
            <a:chExt cx="306271" cy="410002"/>
          </a:xfrm>
          <a:solidFill>
            <a:srgbClr val="B1B1A1"/>
          </a:solidFill>
        </p:grpSpPr>
        <p:grpSp>
          <p:nvGrpSpPr>
            <p:cNvPr id="211" name="Gráfico 2">
              <a:extLst>
                <a:ext uri="{FF2B5EF4-FFF2-40B4-BE49-F238E27FC236}">
                  <a16:creationId xmlns:a16="http://schemas.microsoft.com/office/drawing/2014/main" id="{A475B8DB-D93F-4DA6-8335-80171E5C5B8D}"/>
                </a:ext>
              </a:extLst>
            </p:cNvPr>
            <p:cNvGrpSpPr/>
            <p:nvPr/>
          </p:nvGrpSpPr>
          <p:grpSpPr>
            <a:xfrm>
              <a:off x="3372811" y="2583557"/>
              <a:ext cx="306271" cy="173742"/>
              <a:chOff x="3372811" y="2583557"/>
              <a:chExt cx="306271" cy="173742"/>
            </a:xfrm>
            <a:grpFill/>
          </p:grpSpPr>
          <p:sp>
            <p:nvSpPr>
              <p:cNvPr id="212" name="Forma Livre: Forma 211">
                <a:extLst>
                  <a:ext uri="{FF2B5EF4-FFF2-40B4-BE49-F238E27FC236}">
                    <a16:creationId xmlns:a16="http://schemas.microsoft.com/office/drawing/2014/main" id="{54224167-DB90-4139-B9C9-15A08645CAA2}"/>
                  </a:ext>
                </a:extLst>
              </p:cNvPr>
              <p:cNvSpPr/>
              <p:nvPr/>
            </p:nvSpPr>
            <p:spPr>
              <a:xfrm>
                <a:off x="3470977" y="2583557"/>
                <a:ext cx="108326" cy="139186"/>
              </a:xfrm>
              <a:custGeom>
                <a:avLst/>
                <a:gdLst>
                  <a:gd name="connsiteX0" fmla="*/ 64870 w 108326"/>
                  <a:gd name="connsiteY0" fmla="*/ 83134 h 139186"/>
                  <a:gd name="connsiteX1" fmla="*/ 96990 w 108326"/>
                  <a:gd name="connsiteY1" fmla="*/ 42197 h 139186"/>
                  <a:gd name="connsiteX2" fmla="*/ 54793 w 108326"/>
                  <a:gd name="connsiteY2" fmla="*/ 0 h 139186"/>
                  <a:gd name="connsiteX3" fmla="*/ 12596 w 108326"/>
                  <a:gd name="connsiteY3" fmla="*/ 42197 h 139186"/>
                  <a:gd name="connsiteX4" fmla="*/ 22043 w 108326"/>
                  <a:gd name="connsiteY4" fmla="*/ 51644 h 139186"/>
                  <a:gd name="connsiteX5" fmla="*/ 31490 w 108326"/>
                  <a:gd name="connsiteY5" fmla="*/ 42197 h 139186"/>
                  <a:gd name="connsiteX6" fmla="*/ 54163 w 108326"/>
                  <a:gd name="connsiteY6" fmla="*/ 19524 h 139186"/>
                  <a:gd name="connsiteX7" fmla="*/ 76836 w 108326"/>
                  <a:gd name="connsiteY7" fmla="*/ 42197 h 139186"/>
                  <a:gd name="connsiteX8" fmla="*/ 54163 w 108326"/>
                  <a:gd name="connsiteY8" fmla="*/ 64870 h 139186"/>
                  <a:gd name="connsiteX9" fmla="*/ 44716 w 108326"/>
                  <a:gd name="connsiteY9" fmla="*/ 74317 h 139186"/>
                  <a:gd name="connsiteX10" fmla="*/ 45346 w 108326"/>
                  <a:gd name="connsiteY10" fmla="*/ 76206 h 139186"/>
                  <a:gd name="connsiteX11" fmla="*/ 44716 w 108326"/>
                  <a:gd name="connsiteY11" fmla="*/ 78096 h 139186"/>
                  <a:gd name="connsiteX12" fmla="*/ 44716 w 108326"/>
                  <a:gd name="connsiteY12" fmla="*/ 96360 h 139186"/>
                  <a:gd name="connsiteX13" fmla="*/ 0 w 108326"/>
                  <a:gd name="connsiteY13" fmla="*/ 101398 h 139186"/>
                  <a:gd name="connsiteX14" fmla="*/ 16375 w 108326"/>
                  <a:gd name="connsiteY14" fmla="*/ 139187 h 139186"/>
                  <a:gd name="connsiteX15" fmla="*/ 54163 w 108326"/>
                  <a:gd name="connsiteY15" fmla="*/ 138557 h 139186"/>
                  <a:gd name="connsiteX16" fmla="*/ 91951 w 108326"/>
                  <a:gd name="connsiteY16" fmla="*/ 139187 h 139186"/>
                  <a:gd name="connsiteX17" fmla="*/ 108326 w 108326"/>
                  <a:gd name="connsiteY17" fmla="*/ 101398 h 139186"/>
                  <a:gd name="connsiteX18" fmla="*/ 63610 w 108326"/>
                  <a:gd name="connsiteY18" fmla="*/ 96360 h 139186"/>
                  <a:gd name="connsiteX19" fmla="*/ 63610 w 108326"/>
                  <a:gd name="connsiteY19" fmla="*/ 83134 h 139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8326" h="139186">
                    <a:moveTo>
                      <a:pt x="64870" y="83134"/>
                    </a:moveTo>
                    <a:cubicBezTo>
                      <a:pt x="83134" y="78725"/>
                      <a:pt x="96990" y="62351"/>
                      <a:pt x="96990" y="42197"/>
                    </a:cubicBezTo>
                    <a:cubicBezTo>
                      <a:pt x="96990" y="18894"/>
                      <a:pt x="78096" y="0"/>
                      <a:pt x="54793" y="0"/>
                    </a:cubicBezTo>
                    <a:cubicBezTo>
                      <a:pt x="31490" y="0"/>
                      <a:pt x="12596" y="18894"/>
                      <a:pt x="12596" y="42197"/>
                    </a:cubicBezTo>
                    <a:cubicBezTo>
                      <a:pt x="12596" y="47235"/>
                      <a:pt x="17005" y="51644"/>
                      <a:pt x="22043" y="51644"/>
                    </a:cubicBezTo>
                    <a:cubicBezTo>
                      <a:pt x="27081" y="51644"/>
                      <a:pt x="31490" y="47235"/>
                      <a:pt x="31490" y="42197"/>
                    </a:cubicBezTo>
                    <a:cubicBezTo>
                      <a:pt x="31490" y="29601"/>
                      <a:pt x="41567" y="19524"/>
                      <a:pt x="54163" y="19524"/>
                    </a:cubicBezTo>
                    <a:cubicBezTo>
                      <a:pt x="66759" y="19524"/>
                      <a:pt x="76836" y="29601"/>
                      <a:pt x="76836" y="42197"/>
                    </a:cubicBezTo>
                    <a:cubicBezTo>
                      <a:pt x="76836" y="54793"/>
                      <a:pt x="66759" y="64870"/>
                      <a:pt x="54163" y="64870"/>
                    </a:cubicBezTo>
                    <a:cubicBezTo>
                      <a:pt x="49125" y="64870"/>
                      <a:pt x="44716" y="69278"/>
                      <a:pt x="44716" y="74317"/>
                    </a:cubicBezTo>
                    <a:cubicBezTo>
                      <a:pt x="44716" y="74947"/>
                      <a:pt x="44716" y="75576"/>
                      <a:pt x="45346" y="76206"/>
                    </a:cubicBezTo>
                    <a:cubicBezTo>
                      <a:pt x="45346" y="76836"/>
                      <a:pt x="44716" y="77466"/>
                      <a:pt x="44716" y="78096"/>
                    </a:cubicBezTo>
                    <a:lnTo>
                      <a:pt x="44716" y="96360"/>
                    </a:lnTo>
                    <a:cubicBezTo>
                      <a:pt x="28971" y="96990"/>
                      <a:pt x="14485" y="98249"/>
                      <a:pt x="0" y="101398"/>
                    </a:cubicBezTo>
                    <a:cubicBezTo>
                      <a:pt x="5038" y="117773"/>
                      <a:pt x="10707" y="129740"/>
                      <a:pt x="16375" y="139187"/>
                    </a:cubicBezTo>
                    <a:cubicBezTo>
                      <a:pt x="28341" y="138557"/>
                      <a:pt x="40937" y="138557"/>
                      <a:pt x="54163" y="138557"/>
                    </a:cubicBezTo>
                    <a:cubicBezTo>
                      <a:pt x="67389" y="138557"/>
                      <a:pt x="79985" y="138557"/>
                      <a:pt x="91951" y="139187"/>
                    </a:cubicBezTo>
                    <a:cubicBezTo>
                      <a:pt x="97620" y="129740"/>
                      <a:pt x="103288" y="117773"/>
                      <a:pt x="108326" y="101398"/>
                    </a:cubicBezTo>
                    <a:cubicBezTo>
                      <a:pt x="94471" y="98879"/>
                      <a:pt x="79355" y="96990"/>
                      <a:pt x="63610" y="96360"/>
                    </a:cubicBezTo>
                    <a:lnTo>
                      <a:pt x="63610" y="83134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13" name="Forma Livre: Forma 212">
                <a:extLst>
                  <a:ext uri="{FF2B5EF4-FFF2-40B4-BE49-F238E27FC236}">
                    <a16:creationId xmlns:a16="http://schemas.microsoft.com/office/drawing/2014/main" id="{46BEBDA5-BAE5-4CA5-A94F-A77DBC89387B}"/>
                  </a:ext>
                </a:extLst>
              </p:cNvPr>
              <p:cNvSpPr/>
              <p:nvPr/>
            </p:nvSpPr>
            <p:spPr>
              <a:xfrm>
                <a:off x="3372811" y="2719595"/>
                <a:ext cx="26998" cy="37704"/>
              </a:xfrm>
              <a:custGeom>
                <a:avLst/>
                <a:gdLst>
                  <a:gd name="connsiteX0" fmla="*/ 2436 w 26998"/>
                  <a:gd name="connsiteY0" fmla="*/ 17005 h 37704"/>
                  <a:gd name="connsiteX1" fmla="*/ 5585 w 26998"/>
                  <a:gd name="connsiteY1" fmla="*/ 35269 h 37704"/>
                  <a:gd name="connsiteX2" fmla="*/ 23849 w 26998"/>
                  <a:gd name="connsiteY2" fmla="*/ 32120 h 37704"/>
                  <a:gd name="connsiteX3" fmla="*/ 26998 w 26998"/>
                  <a:gd name="connsiteY3" fmla="*/ 28341 h 37704"/>
                  <a:gd name="connsiteX4" fmla="*/ 19441 w 26998"/>
                  <a:gd name="connsiteY4" fmla="*/ 0 h 37704"/>
                  <a:gd name="connsiteX5" fmla="*/ 2436 w 26998"/>
                  <a:gd name="connsiteY5" fmla="*/ 17005 h 377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6998" h="37704">
                    <a:moveTo>
                      <a:pt x="2436" y="17005"/>
                    </a:moveTo>
                    <a:cubicBezTo>
                      <a:pt x="-1973" y="22673"/>
                      <a:pt x="-83" y="30860"/>
                      <a:pt x="5585" y="35269"/>
                    </a:cubicBezTo>
                    <a:cubicBezTo>
                      <a:pt x="11253" y="39678"/>
                      <a:pt x="19441" y="37788"/>
                      <a:pt x="23849" y="32120"/>
                    </a:cubicBezTo>
                    <a:cubicBezTo>
                      <a:pt x="25109" y="30860"/>
                      <a:pt x="25739" y="29601"/>
                      <a:pt x="26998" y="28341"/>
                    </a:cubicBezTo>
                    <a:cubicBezTo>
                      <a:pt x="25109" y="16375"/>
                      <a:pt x="21960" y="6298"/>
                      <a:pt x="19441" y="0"/>
                    </a:cubicBezTo>
                    <a:cubicBezTo>
                      <a:pt x="12513" y="4409"/>
                      <a:pt x="6845" y="10707"/>
                      <a:pt x="2436" y="17005"/>
                    </a:cubicBez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14" name="Forma Livre: Forma 213">
                <a:extLst>
                  <a:ext uri="{FF2B5EF4-FFF2-40B4-BE49-F238E27FC236}">
                    <a16:creationId xmlns:a16="http://schemas.microsoft.com/office/drawing/2014/main" id="{695B40BD-F956-4025-A387-A39DEBE9EE14}"/>
                  </a:ext>
                </a:extLst>
              </p:cNvPr>
              <p:cNvSpPr/>
              <p:nvPr/>
            </p:nvSpPr>
            <p:spPr>
              <a:xfrm>
                <a:off x="3652360" y="2718965"/>
                <a:ext cx="26722" cy="37788"/>
              </a:xfrm>
              <a:custGeom>
                <a:avLst/>
                <a:gdLst>
                  <a:gd name="connsiteX0" fmla="*/ 24562 w 26722"/>
                  <a:gd name="connsiteY0" fmla="*/ 17635 h 37788"/>
                  <a:gd name="connsiteX1" fmla="*/ 7558 w 26722"/>
                  <a:gd name="connsiteY1" fmla="*/ 0 h 37788"/>
                  <a:gd name="connsiteX2" fmla="*/ 0 w 26722"/>
                  <a:gd name="connsiteY2" fmla="*/ 28341 h 37788"/>
                  <a:gd name="connsiteX3" fmla="*/ 3149 w 26722"/>
                  <a:gd name="connsiteY3" fmla="*/ 32120 h 37788"/>
                  <a:gd name="connsiteX4" fmla="*/ 13856 w 26722"/>
                  <a:gd name="connsiteY4" fmla="*/ 37788 h 37788"/>
                  <a:gd name="connsiteX5" fmla="*/ 21413 w 26722"/>
                  <a:gd name="connsiteY5" fmla="*/ 35269 h 37788"/>
                  <a:gd name="connsiteX6" fmla="*/ 24562 w 26722"/>
                  <a:gd name="connsiteY6" fmla="*/ 17635 h 37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722" h="37788">
                    <a:moveTo>
                      <a:pt x="24562" y="17635"/>
                    </a:moveTo>
                    <a:cubicBezTo>
                      <a:pt x="20154" y="11337"/>
                      <a:pt x="14485" y="5668"/>
                      <a:pt x="7558" y="0"/>
                    </a:cubicBezTo>
                    <a:cubicBezTo>
                      <a:pt x="5038" y="6298"/>
                      <a:pt x="1889" y="16375"/>
                      <a:pt x="0" y="28341"/>
                    </a:cubicBezTo>
                    <a:cubicBezTo>
                      <a:pt x="1260" y="29601"/>
                      <a:pt x="2519" y="30861"/>
                      <a:pt x="3149" y="32120"/>
                    </a:cubicBezTo>
                    <a:cubicBezTo>
                      <a:pt x="5668" y="35899"/>
                      <a:pt x="9447" y="37788"/>
                      <a:pt x="13856" y="37788"/>
                    </a:cubicBezTo>
                    <a:cubicBezTo>
                      <a:pt x="16375" y="37788"/>
                      <a:pt x="18894" y="37159"/>
                      <a:pt x="21413" y="35269"/>
                    </a:cubicBezTo>
                    <a:cubicBezTo>
                      <a:pt x="27081" y="31490"/>
                      <a:pt x="28341" y="23303"/>
                      <a:pt x="24562" y="17635"/>
                    </a:cubicBez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215" name="Forma Livre: Forma 214">
              <a:extLst>
                <a:ext uri="{FF2B5EF4-FFF2-40B4-BE49-F238E27FC236}">
                  <a16:creationId xmlns:a16="http://schemas.microsoft.com/office/drawing/2014/main" id="{35471C08-EC8A-48D1-BB59-D7C05F371FB9}"/>
                </a:ext>
              </a:extLst>
            </p:cNvPr>
            <p:cNvSpPr/>
            <p:nvPr/>
          </p:nvSpPr>
          <p:spPr>
            <a:xfrm>
              <a:off x="3380915" y="2662826"/>
              <a:ext cx="290969" cy="330734"/>
            </a:xfrm>
            <a:custGeom>
              <a:avLst/>
              <a:gdLst>
                <a:gd name="connsiteX0" fmla="*/ 267667 w 290969"/>
                <a:gd name="connsiteY0" fmla="*/ 330734 h 330734"/>
                <a:gd name="connsiteX1" fmla="*/ 22043 w 290969"/>
                <a:gd name="connsiteY1" fmla="*/ 330734 h 330734"/>
                <a:gd name="connsiteX2" fmla="*/ 5668 w 290969"/>
                <a:gd name="connsiteY2" fmla="*/ 314989 h 330734"/>
                <a:gd name="connsiteX3" fmla="*/ 0 w 290969"/>
                <a:gd name="connsiteY3" fmla="*/ 171394 h 330734"/>
                <a:gd name="connsiteX4" fmla="*/ 3149 w 290969"/>
                <a:gd name="connsiteY4" fmla="*/ 161317 h 330734"/>
                <a:gd name="connsiteX5" fmla="*/ 7558 w 290969"/>
                <a:gd name="connsiteY5" fmla="*/ 48582 h 330734"/>
                <a:gd name="connsiteX6" fmla="*/ 6928 w 290969"/>
                <a:gd name="connsiteY6" fmla="*/ 35986 h 330734"/>
                <a:gd name="connsiteX7" fmla="*/ 15115 w 290969"/>
                <a:gd name="connsiteY7" fmla="*/ 26539 h 330734"/>
                <a:gd name="connsiteX8" fmla="*/ 64870 w 290969"/>
                <a:gd name="connsiteY8" fmla="*/ 1977 h 330734"/>
                <a:gd name="connsiteX9" fmla="*/ 78725 w 290969"/>
                <a:gd name="connsiteY9" fmla="*/ 1347 h 330734"/>
                <a:gd name="connsiteX10" fmla="*/ 88173 w 290969"/>
                <a:gd name="connsiteY10" fmla="*/ 12053 h 330734"/>
                <a:gd name="connsiteX11" fmla="*/ 145485 w 290969"/>
                <a:gd name="connsiteY11" fmla="*/ 90779 h 330734"/>
                <a:gd name="connsiteX12" fmla="*/ 202797 w 290969"/>
                <a:gd name="connsiteY12" fmla="*/ 12053 h 330734"/>
                <a:gd name="connsiteX13" fmla="*/ 212244 w 290969"/>
                <a:gd name="connsiteY13" fmla="*/ 1347 h 330734"/>
                <a:gd name="connsiteX14" fmla="*/ 226100 w 290969"/>
                <a:gd name="connsiteY14" fmla="*/ 1977 h 330734"/>
                <a:gd name="connsiteX15" fmla="*/ 275854 w 290969"/>
                <a:gd name="connsiteY15" fmla="*/ 26539 h 330734"/>
                <a:gd name="connsiteX16" fmla="*/ 283412 w 290969"/>
                <a:gd name="connsiteY16" fmla="*/ 49212 h 330734"/>
                <a:gd name="connsiteX17" fmla="*/ 287820 w 290969"/>
                <a:gd name="connsiteY17" fmla="*/ 161947 h 330734"/>
                <a:gd name="connsiteX18" fmla="*/ 290969 w 290969"/>
                <a:gd name="connsiteY18" fmla="*/ 172024 h 330734"/>
                <a:gd name="connsiteX19" fmla="*/ 285301 w 290969"/>
                <a:gd name="connsiteY19" fmla="*/ 315619 h 330734"/>
                <a:gd name="connsiteX20" fmla="*/ 267667 w 290969"/>
                <a:gd name="connsiteY20" fmla="*/ 330734 h 330734"/>
                <a:gd name="connsiteX21" fmla="*/ 267667 w 290969"/>
                <a:gd name="connsiteY21" fmla="*/ 330734 h 330734"/>
                <a:gd name="connsiteX22" fmla="*/ 38418 w 290969"/>
                <a:gd name="connsiteY22" fmla="*/ 297355 h 330734"/>
                <a:gd name="connsiteX23" fmla="*/ 251922 w 290969"/>
                <a:gd name="connsiteY23" fmla="*/ 297355 h 330734"/>
                <a:gd name="connsiteX24" fmla="*/ 256330 w 290969"/>
                <a:gd name="connsiteY24" fmla="*/ 175173 h 330734"/>
                <a:gd name="connsiteX25" fmla="*/ 246253 w 290969"/>
                <a:gd name="connsiteY25" fmla="*/ 48582 h 330734"/>
                <a:gd name="connsiteX26" fmla="*/ 227989 w 290969"/>
                <a:gd name="connsiteY26" fmla="*/ 39135 h 330734"/>
                <a:gd name="connsiteX27" fmla="*/ 151153 w 290969"/>
                <a:gd name="connsiteY27" fmla="*/ 122899 h 330734"/>
                <a:gd name="connsiteX28" fmla="*/ 139817 w 290969"/>
                <a:gd name="connsiteY28" fmla="*/ 122899 h 330734"/>
                <a:gd name="connsiteX29" fmla="*/ 61721 w 290969"/>
                <a:gd name="connsiteY29" fmla="*/ 38505 h 330734"/>
                <a:gd name="connsiteX30" fmla="*/ 43456 w 290969"/>
                <a:gd name="connsiteY30" fmla="*/ 47952 h 330734"/>
                <a:gd name="connsiteX31" fmla="*/ 33380 w 290969"/>
                <a:gd name="connsiteY31" fmla="*/ 174543 h 330734"/>
                <a:gd name="connsiteX32" fmla="*/ 38418 w 290969"/>
                <a:gd name="connsiteY32" fmla="*/ 297355 h 330734"/>
                <a:gd name="connsiteX33" fmla="*/ 38418 w 290969"/>
                <a:gd name="connsiteY33" fmla="*/ 297355 h 330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90969" h="330734">
                  <a:moveTo>
                    <a:pt x="267667" y="330734"/>
                  </a:moveTo>
                  <a:lnTo>
                    <a:pt x="22043" y="330734"/>
                  </a:lnTo>
                  <a:cubicBezTo>
                    <a:pt x="13226" y="330734"/>
                    <a:pt x="5668" y="323806"/>
                    <a:pt x="5668" y="314989"/>
                  </a:cubicBezTo>
                  <a:lnTo>
                    <a:pt x="0" y="171394"/>
                  </a:lnTo>
                  <a:cubicBezTo>
                    <a:pt x="0" y="167615"/>
                    <a:pt x="630" y="163836"/>
                    <a:pt x="3149" y="161317"/>
                  </a:cubicBezTo>
                  <a:cubicBezTo>
                    <a:pt x="38418" y="112192"/>
                    <a:pt x="7558" y="49212"/>
                    <a:pt x="7558" y="48582"/>
                  </a:cubicBezTo>
                  <a:cubicBezTo>
                    <a:pt x="5668" y="44803"/>
                    <a:pt x="5039" y="39765"/>
                    <a:pt x="6928" y="35986"/>
                  </a:cubicBezTo>
                  <a:cubicBezTo>
                    <a:pt x="8188" y="31577"/>
                    <a:pt x="11337" y="28428"/>
                    <a:pt x="15115" y="26539"/>
                  </a:cubicBezTo>
                  <a:lnTo>
                    <a:pt x="64870" y="1977"/>
                  </a:lnTo>
                  <a:cubicBezTo>
                    <a:pt x="69278" y="-543"/>
                    <a:pt x="74317" y="-543"/>
                    <a:pt x="78725" y="1347"/>
                  </a:cubicBezTo>
                  <a:cubicBezTo>
                    <a:pt x="83134" y="3236"/>
                    <a:pt x="86913" y="7015"/>
                    <a:pt x="88173" y="12053"/>
                  </a:cubicBezTo>
                  <a:cubicBezTo>
                    <a:pt x="105807" y="73774"/>
                    <a:pt x="126591" y="84481"/>
                    <a:pt x="145485" y="90779"/>
                  </a:cubicBezTo>
                  <a:cubicBezTo>
                    <a:pt x="164379" y="83851"/>
                    <a:pt x="185162" y="72515"/>
                    <a:pt x="202797" y="12053"/>
                  </a:cubicBezTo>
                  <a:cubicBezTo>
                    <a:pt x="204056" y="7015"/>
                    <a:pt x="207835" y="3236"/>
                    <a:pt x="212244" y="1347"/>
                  </a:cubicBezTo>
                  <a:cubicBezTo>
                    <a:pt x="216652" y="-543"/>
                    <a:pt x="221691" y="-543"/>
                    <a:pt x="226100" y="1977"/>
                  </a:cubicBezTo>
                  <a:lnTo>
                    <a:pt x="275854" y="26539"/>
                  </a:lnTo>
                  <a:cubicBezTo>
                    <a:pt x="284042" y="30948"/>
                    <a:pt x="287191" y="40395"/>
                    <a:pt x="283412" y="49212"/>
                  </a:cubicBezTo>
                  <a:cubicBezTo>
                    <a:pt x="283412" y="49842"/>
                    <a:pt x="252551" y="112822"/>
                    <a:pt x="287820" y="161947"/>
                  </a:cubicBezTo>
                  <a:cubicBezTo>
                    <a:pt x="289710" y="165096"/>
                    <a:pt x="290969" y="168875"/>
                    <a:pt x="290969" y="172024"/>
                  </a:cubicBezTo>
                  <a:lnTo>
                    <a:pt x="285301" y="315619"/>
                  </a:lnTo>
                  <a:cubicBezTo>
                    <a:pt x="284042" y="323806"/>
                    <a:pt x="277114" y="330734"/>
                    <a:pt x="267667" y="330734"/>
                  </a:cubicBezTo>
                  <a:lnTo>
                    <a:pt x="267667" y="330734"/>
                  </a:lnTo>
                  <a:close/>
                  <a:moveTo>
                    <a:pt x="38418" y="297355"/>
                  </a:moveTo>
                  <a:lnTo>
                    <a:pt x="251922" y="297355"/>
                  </a:lnTo>
                  <a:lnTo>
                    <a:pt x="256330" y="175173"/>
                  </a:lnTo>
                  <a:cubicBezTo>
                    <a:pt x="225470" y="127308"/>
                    <a:pt x="237436" y="74404"/>
                    <a:pt x="246253" y="48582"/>
                  </a:cubicBezTo>
                  <a:lnTo>
                    <a:pt x="227989" y="39135"/>
                  </a:lnTo>
                  <a:cubicBezTo>
                    <a:pt x="206576" y="100226"/>
                    <a:pt x="179494" y="113452"/>
                    <a:pt x="151153" y="122899"/>
                  </a:cubicBezTo>
                  <a:cubicBezTo>
                    <a:pt x="148004" y="124159"/>
                    <a:pt x="143595" y="124159"/>
                    <a:pt x="139817" y="122899"/>
                  </a:cubicBezTo>
                  <a:cubicBezTo>
                    <a:pt x="110846" y="113452"/>
                    <a:pt x="83134" y="99596"/>
                    <a:pt x="61721" y="38505"/>
                  </a:cubicBezTo>
                  <a:lnTo>
                    <a:pt x="43456" y="47952"/>
                  </a:lnTo>
                  <a:cubicBezTo>
                    <a:pt x="52274" y="73774"/>
                    <a:pt x="64240" y="126678"/>
                    <a:pt x="33380" y="174543"/>
                  </a:cubicBezTo>
                  <a:lnTo>
                    <a:pt x="38418" y="297355"/>
                  </a:lnTo>
                  <a:lnTo>
                    <a:pt x="38418" y="297355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16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3328011" y="4646795"/>
            <a:ext cx="396146" cy="396146"/>
            <a:chOff x="3328011" y="4646795"/>
            <a:chExt cx="396146" cy="396146"/>
          </a:xfrm>
          <a:solidFill>
            <a:srgbClr val="B1B1A1"/>
          </a:solidFill>
        </p:grpSpPr>
        <p:grpSp>
          <p:nvGrpSpPr>
            <p:cNvPr id="217" name="Gráfico 2">
              <a:extLst>
                <a:ext uri="{FF2B5EF4-FFF2-40B4-BE49-F238E27FC236}">
                  <a16:creationId xmlns:a16="http://schemas.microsoft.com/office/drawing/2014/main" id="{A475B8DB-D93F-4DA6-8335-80171E5C5B8D}"/>
                </a:ext>
              </a:extLst>
            </p:cNvPr>
            <p:cNvGrpSpPr/>
            <p:nvPr/>
          </p:nvGrpSpPr>
          <p:grpSpPr>
            <a:xfrm>
              <a:off x="3328011" y="4646795"/>
              <a:ext cx="396146" cy="396146"/>
              <a:chOff x="3328011" y="4646795"/>
              <a:chExt cx="396146" cy="396146"/>
            </a:xfrm>
            <a:grpFill/>
          </p:grpSpPr>
          <p:sp>
            <p:nvSpPr>
              <p:cNvPr id="218" name="Forma Livre: Forma 217">
                <a:extLst>
                  <a:ext uri="{FF2B5EF4-FFF2-40B4-BE49-F238E27FC236}">
                    <a16:creationId xmlns:a16="http://schemas.microsoft.com/office/drawing/2014/main" id="{33AC1041-5C6E-4281-AD09-909B02693071}"/>
                  </a:ext>
                </a:extLst>
              </p:cNvPr>
              <p:cNvSpPr/>
              <p:nvPr/>
            </p:nvSpPr>
            <p:spPr>
              <a:xfrm>
                <a:off x="3328011" y="4646795"/>
                <a:ext cx="396146" cy="396146"/>
              </a:xfrm>
              <a:custGeom>
                <a:avLst/>
                <a:gdLst>
                  <a:gd name="connsiteX0" fmla="*/ 379772 w 396146"/>
                  <a:gd name="connsiteY0" fmla="*/ 396146 h 396146"/>
                  <a:gd name="connsiteX1" fmla="*/ 16375 w 396146"/>
                  <a:gd name="connsiteY1" fmla="*/ 396146 h 396146"/>
                  <a:gd name="connsiteX2" fmla="*/ 0 w 396146"/>
                  <a:gd name="connsiteY2" fmla="*/ 379772 h 396146"/>
                  <a:gd name="connsiteX3" fmla="*/ 0 w 396146"/>
                  <a:gd name="connsiteY3" fmla="*/ 16375 h 396146"/>
                  <a:gd name="connsiteX4" fmla="*/ 16375 w 396146"/>
                  <a:gd name="connsiteY4" fmla="*/ 0 h 396146"/>
                  <a:gd name="connsiteX5" fmla="*/ 379772 w 396146"/>
                  <a:gd name="connsiteY5" fmla="*/ 0 h 396146"/>
                  <a:gd name="connsiteX6" fmla="*/ 396147 w 396146"/>
                  <a:gd name="connsiteY6" fmla="*/ 16375 h 396146"/>
                  <a:gd name="connsiteX7" fmla="*/ 396147 w 396146"/>
                  <a:gd name="connsiteY7" fmla="*/ 379772 h 396146"/>
                  <a:gd name="connsiteX8" fmla="*/ 379772 w 396146"/>
                  <a:gd name="connsiteY8" fmla="*/ 396146 h 396146"/>
                  <a:gd name="connsiteX9" fmla="*/ 379772 w 396146"/>
                  <a:gd name="connsiteY9" fmla="*/ 396146 h 396146"/>
                  <a:gd name="connsiteX10" fmla="*/ 32750 w 396146"/>
                  <a:gd name="connsiteY10" fmla="*/ 362767 h 396146"/>
                  <a:gd name="connsiteX11" fmla="*/ 362767 w 396146"/>
                  <a:gd name="connsiteY11" fmla="*/ 362767 h 396146"/>
                  <a:gd name="connsiteX12" fmla="*/ 362767 w 396146"/>
                  <a:gd name="connsiteY12" fmla="*/ 32749 h 396146"/>
                  <a:gd name="connsiteX13" fmla="*/ 32750 w 396146"/>
                  <a:gd name="connsiteY13" fmla="*/ 32749 h 396146"/>
                  <a:gd name="connsiteX14" fmla="*/ 32750 w 396146"/>
                  <a:gd name="connsiteY14" fmla="*/ 362767 h 396146"/>
                  <a:gd name="connsiteX15" fmla="*/ 32750 w 396146"/>
                  <a:gd name="connsiteY15" fmla="*/ 362767 h 396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96146" h="396146">
                    <a:moveTo>
                      <a:pt x="379772" y="396146"/>
                    </a:moveTo>
                    <a:lnTo>
                      <a:pt x="16375" y="396146"/>
                    </a:lnTo>
                    <a:cubicBezTo>
                      <a:pt x="6928" y="396146"/>
                      <a:pt x="0" y="388589"/>
                      <a:pt x="0" y="379772"/>
                    </a:cubicBezTo>
                    <a:lnTo>
                      <a:pt x="0" y="16375"/>
                    </a:lnTo>
                    <a:cubicBezTo>
                      <a:pt x="0" y="6928"/>
                      <a:pt x="7558" y="0"/>
                      <a:pt x="16375" y="0"/>
                    </a:cubicBezTo>
                    <a:lnTo>
                      <a:pt x="379772" y="0"/>
                    </a:lnTo>
                    <a:cubicBezTo>
                      <a:pt x="389219" y="0"/>
                      <a:pt x="396147" y="7557"/>
                      <a:pt x="396147" y="16375"/>
                    </a:cubicBezTo>
                    <a:lnTo>
                      <a:pt x="396147" y="379772"/>
                    </a:lnTo>
                    <a:cubicBezTo>
                      <a:pt x="396147" y="388589"/>
                      <a:pt x="388589" y="396146"/>
                      <a:pt x="379772" y="396146"/>
                    </a:cubicBezTo>
                    <a:lnTo>
                      <a:pt x="379772" y="396146"/>
                    </a:lnTo>
                    <a:close/>
                    <a:moveTo>
                      <a:pt x="32750" y="362767"/>
                    </a:moveTo>
                    <a:lnTo>
                      <a:pt x="362767" y="362767"/>
                    </a:lnTo>
                    <a:lnTo>
                      <a:pt x="362767" y="32749"/>
                    </a:lnTo>
                    <a:lnTo>
                      <a:pt x="32750" y="32749"/>
                    </a:lnTo>
                    <a:lnTo>
                      <a:pt x="32750" y="362767"/>
                    </a:lnTo>
                    <a:lnTo>
                      <a:pt x="32750" y="362767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19" name="Forma Livre: Forma 218">
                <a:extLst>
                  <a:ext uri="{FF2B5EF4-FFF2-40B4-BE49-F238E27FC236}">
                    <a16:creationId xmlns:a16="http://schemas.microsoft.com/office/drawing/2014/main" id="{3DBCE4F3-8CF6-4D67-8932-8334FCC70683}"/>
                  </a:ext>
                </a:extLst>
              </p:cNvPr>
              <p:cNvSpPr/>
              <p:nvPr/>
            </p:nvSpPr>
            <p:spPr>
              <a:xfrm>
                <a:off x="3341867" y="4751972"/>
                <a:ext cx="367874" cy="16375"/>
              </a:xfrm>
              <a:custGeom>
                <a:avLst/>
                <a:gdLst>
                  <a:gd name="connsiteX0" fmla="*/ 359618 w 367874"/>
                  <a:gd name="connsiteY0" fmla="*/ 16375 h 16375"/>
                  <a:gd name="connsiteX1" fmla="*/ 8187 w 367874"/>
                  <a:gd name="connsiteY1" fmla="*/ 16375 h 16375"/>
                  <a:gd name="connsiteX2" fmla="*/ 0 w 367874"/>
                  <a:gd name="connsiteY2" fmla="*/ 8188 h 16375"/>
                  <a:gd name="connsiteX3" fmla="*/ 8187 w 367874"/>
                  <a:gd name="connsiteY3" fmla="*/ 0 h 16375"/>
                  <a:gd name="connsiteX4" fmla="*/ 359618 w 367874"/>
                  <a:gd name="connsiteY4" fmla="*/ 0 h 16375"/>
                  <a:gd name="connsiteX5" fmla="*/ 367805 w 367874"/>
                  <a:gd name="connsiteY5" fmla="*/ 8188 h 16375"/>
                  <a:gd name="connsiteX6" fmla="*/ 359618 w 367874"/>
                  <a:gd name="connsiteY6" fmla="*/ 16375 h 16375"/>
                  <a:gd name="connsiteX7" fmla="*/ 359618 w 367874"/>
                  <a:gd name="connsiteY7" fmla="*/ 16375 h 16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67874" h="16375">
                    <a:moveTo>
                      <a:pt x="359618" y="16375"/>
                    </a:moveTo>
                    <a:lnTo>
                      <a:pt x="8187" y="16375"/>
                    </a:lnTo>
                    <a:cubicBezTo>
                      <a:pt x="3779" y="16375"/>
                      <a:pt x="0" y="12596"/>
                      <a:pt x="0" y="8188"/>
                    </a:cubicBezTo>
                    <a:cubicBezTo>
                      <a:pt x="0" y="3779"/>
                      <a:pt x="3779" y="0"/>
                      <a:pt x="8187" y="0"/>
                    </a:cubicBezTo>
                    <a:lnTo>
                      <a:pt x="359618" y="0"/>
                    </a:lnTo>
                    <a:cubicBezTo>
                      <a:pt x="364027" y="0"/>
                      <a:pt x="367805" y="3779"/>
                      <a:pt x="367805" y="8188"/>
                    </a:cubicBezTo>
                    <a:cubicBezTo>
                      <a:pt x="368435" y="12596"/>
                      <a:pt x="364656" y="16375"/>
                      <a:pt x="359618" y="16375"/>
                    </a:cubicBezTo>
                    <a:lnTo>
                      <a:pt x="359618" y="16375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20" name="Forma Livre: Forma 219">
                <a:extLst>
                  <a:ext uri="{FF2B5EF4-FFF2-40B4-BE49-F238E27FC236}">
                    <a16:creationId xmlns:a16="http://schemas.microsoft.com/office/drawing/2014/main" id="{9FA09599-1202-4023-9385-ACD94BD0588E}"/>
                  </a:ext>
                </a:extLst>
              </p:cNvPr>
              <p:cNvSpPr/>
              <p:nvPr/>
            </p:nvSpPr>
            <p:spPr>
              <a:xfrm>
                <a:off x="3382804" y="4695290"/>
                <a:ext cx="41566" cy="41567"/>
              </a:xfrm>
              <a:custGeom>
                <a:avLst/>
                <a:gdLst>
                  <a:gd name="connsiteX0" fmla="*/ 20783 w 41566"/>
                  <a:gd name="connsiteY0" fmla="*/ 0 h 41567"/>
                  <a:gd name="connsiteX1" fmla="*/ 0 w 41566"/>
                  <a:gd name="connsiteY1" fmla="*/ 20784 h 41567"/>
                  <a:gd name="connsiteX2" fmla="*/ 20783 w 41566"/>
                  <a:gd name="connsiteY2" fmla="*/ 41567 h 41567"/>
                  <a:gd name="connsiteX3" fmla="*/ 41567 w 41566"/>
                  <a:gd name="connsiteY3" fmla="*/ 20784 h 41567"/>
                  <a:gd name="connsiteX4" fmla="*/ 20783 w 41566"/>
                  <a:gd name="connsiteY4" fmla="*/ 0 h 41567"/>
                  <a:gd name="connsiteX5" fmla="*/ 20783 w 41566"/>
                  <a:gd name="connsiteY5" fmla="*/ 0 h 41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566" h="41567">
                    <a:moveTo>
                      <a:pt x="20783" y="0"/>
                    </a:moveTo>
                    <a:cubicBezTo>
                      <a:pt x="9447" y="0"/>
                      <a:pt x="0" y="9447"/>
                      <a:pt x="0" y="20784"/>
                    </a:cubicBezTo>
                    <a:cubicBezTo>
                      <a:pt x="0" y="32120"/>
                      <a:pt x="9447" y="41567"/>
                      <a:pt x="20783" y="41567"/>
                    </a:cubicBezTo>
                    <a:cubicBezTo>
                      <a:pt x="32120" y="41567"/>
                      <a:pt x="41567" y="32120"/>
                      <a:pt x="41567" y="20784"/>
                    </a:cubicBezTo>
                    <a:cubicBezTo>
                      <a:pt x="41567" y="9447"/>
                      <a:pt x="32120" y="0"/>
                      <a:pt x="20783" y="0"/>
                    </a:cubicBezTo>
                    <a:lnTo>
                      <a:pt x="20783" y="0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21" name="Forma Livre: Forma 220">
                <a:extLst>
                  <a:ext uri="{FF2B5EF4-FFF2-40B4-BE49-F238E27FC236}">
                    <a16:creationId xmlns:a16="http://schemas.microsoft.com/office/drawing/2014/main" id="{FC3ED0B5-DDF4-4373-A578-C1430DE7E457}"/>
                  </a:ext>
                </a:extLst>
              </p:cNvPr>
              <p:cNvSpPr/>
              <p:nvPr/>
            </p:nvSpPr>
            <p:spPr>
              <a:xfrm>
                <a:off x="3439486" y="4695290"/>
                <a:ext cx="41596" cy="41567"/>
              </a:xfrm>
              <a:custGeom>
                <a:avLst/>
                <a:gdLst>
                  <a:gd name="connsiteX0" fmla="*/ 20783 w 41596"/>
                  <a:gd name="connsiteY0" fmla="*/ 0 h 41567"/>
                  <a:gd name="connsiteX1" fmla="*/ 0 w 41596"/>
                  <a:gd name="connsiteY1" fmla="*/ 20784 h 41567"/>
                  <a:gd name="connsiteX2" fmla="*/ 20783 w 41596"/>
                  <a:gd name="connsiteY2" fmla="*/ 41567 h 41567"/>
                  <a:gd name="connsiteX3" fmla="*/ 41567 w 41596"/>
                  <a:gd name="connsiteY3" fmla="*/ 20784 h 41567"/>
                  <a:gd name="connsiteX4" fmla="*/ 20783 w 41596"/>
                  <a:gd name="connsiteY4" fmla="*/ 0 h 41567"/>
                  <a:gd name="connsiteX5" fmla="*/ 20783 w 41596"/>
                  <a:gd name="connsiteY5" fmla="*/ 0 h 41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596" h="41567">
                    <a:moveTo>
                      <a:pt x="20783" y="0"/>
                    </a:moveTo>
                    <a:cubicBezTo>
                      <a:pt x="9447" y="0"/>
                      <a:pt x="0" y="9447"/>
                      <a:pt x="0" y="20784"/>
                    </a:cubicBezTo>
                    <a:cubicBezTo>
                      <a:pt x="0" y="32120"/>
                      <a:pt x="9447" y="41567"/>
                      <a:pt x="20783" y="41567"/>
                    </a:cubicBezTo>
                    <a:cubicBezTo>
                      <a:pt x="32120" y="41567"/>
                      <a:pt x="41567" y="32120"/>
                      <a:pt x="41567" y="20784"/>
                    </a:cubicBezTo>
                    <a:cubicBezTo>
                      <a:pt x="42197" y="9447"/>
                      <a:pt x="32750" y="0"/>
                      <a:pt x="20783" y="0"/>
                    </a:cubicBezTo>
                    <a:lnTo>
                      <a:pt x="20783" y="0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22" name="Forma Livre: Forma 221">
                <a:extLst>
                  <a:ext uri="{FF2B5EF4-FFF2-40B4-BE49-F238E27FC236}">
                    <a16:creationId xmlns:a16="http://schemas.microsoft.com/office/drawing/2014/main" id="{6DE17A5B-90FC-4C28-899A-48BCD28D5355}"/>
                  </a:ext>
                </a:extLst>
              </p:cNvPr>
              <p:cNvSpPr/>
              <p:nvPr/>
            </p:nvSpPr>
            <p:spPr>
              <a:xfrm>
                <a:off x="3496798" y="4695290"/>
                <a:ext cx="41567" cy="41567"/>
              </a:xfrm>
              <a:custGeom>
                <a:avLst/>
                <a:gdLst>
                  <a:gd name="connsiteX0" fmla="*/ 20784 w 41567"/>
                  <a:gd name="connsiteY0" fmla="*/ 0 h 41567"/>
                  <a:gd name="connsiteX1" fmla="*/ 0 w 41567"/>
                  <a:gd name="connsiteY1" fmla="*/ 20784 h 41567"/>
                  <a:gd name="connsiteX2" fmla="*/ 20784 w 41567"/>
                  <a:gd name="connsiteY2" fmla="*/ 41567 h 41567"/>
                  <a:gd name="connsiteX3" fmla="*/ 41567 w 41567"/>
                  <a:gd name="connsiteY3" fmla="*/ 20784 h 41567"/>
                  <a:gd name="connsiteX4" fmla="*/ 20784 w 41567"/>
                  <a:gd name="connsiteY4" fmla="*/ 0 h 41567"/>
                  <a:gd name="connsiteX5" fmla="*/ 20784 w 41567"/>
                  <a:gd name="connsiteY5" fmla="*/ 0 h 41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567" h="41567">
                    <a:moveTo>
                      <a:pt x="20784" y="0"/>
                    </a:moveTo>
                    <a:cubicBezTo>
                      <a:pt x="9447" y="0"/>
                      <a:pt x="0" y="9447"/>
                      <a:pt x="0" y="20784"/>
                    </a:cubicBezTo>
                    <a:cubicBezTo>
                      <a:pt x="0" y="32120"/>
                      <a:pt x="9447" y="41567"/>
                      <a:pt x="20784" y="41567"/>
                    </a:cubicBezTo>
                    <a:cubicBezTo>
                      <a:pt x="32120" y="41567"/>
                      <a:pt x="41567" y="32120"/>
                      <a:pt x="41567" y="20784"/>
                    </a:cubicBezTo>
                    <a:cubicBezTo>
                      <a:pt x="41567" y="9447"/>
                      <a:pt x="32120" y="0"/>
                      <a:pt x="20784" y="0"/>
                    </a:cubicBezTo>
                    <a:lnTo>
                      <a:pt x="20784" y="0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223" name="Forma Livre: Forma 222">
              <a:extLst>
                <a:ext uri="{FF2B5EF4-FFF2-40B4-BE49-F238E27FC236}">
                  <a16:creationId xmlns:a16="http://schemas.microsoft.com/office/drawing/2014/main" id="{69FD2398-9B52-435C-A96C-78897281EFE7}"/>
                </a:ext>
              </a:extLst>
            </p:cNvPr>
            <p:cNvSpPr/>
            <p:nvPr/>
          </p:nvSpPr>
          <p:spPr>
            <a:xfrm>
              <a:off x="3341867" y="4814323"/>
              <a:ext cx="367874" cy="16374"/>
            </a:xfrm>
            <a:custGeom>
              <a:avLst/>
              <a:gdLst>
                <a:gd name="connsiteX0" fmla="*/ 359618 w 367874"/>
                <a:gd name="connsiteY0" fmla="*/ 16375 h 16374"/>
                <a:gd name="connsiteX1" fmla="*/ 8187 w 367874"/>
                <a:gd name="connsiteY1" fmla="*/ 16375 h 16374"/>
                <a:gd name="connsiteX2" fmla="*/ 0 w 367874"/>
                <a:gd name="connsiteY2" fmla="*/ 8187 h 16374"/>
                <a:gd name="connsiteX3" fmla="*/ 8187 w 367874"/>
                <a:gd name="connsiteY3" fmla="*/ 0 h 16374"/>
                <a:gd name="connsiteX4" fmla="*/ 359618 w 367874"/>
                <a:gd name="connsiteY4" fmla="*/ 0 h 16374"/>
                <a:gd name="connsiteX5" fmla="*/ 367805 w 367874"/>
                <a:gd name="connsiteY5" fmla="*/ 8187 h 16374"/>
                <a:gd name="connsiteX6" fmla="*/ 359618 w 367874"/>
                <a:gd name="connsiteY6" fmla="*/ 16375 h 16374"/>
                <a:gd name="connsiteX7" fmla="*/ 359618 w 367874"/>
                <a:gd name="connsiteY7" fmla="*/ 16375 h 1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7874" h="16374">
                  <a:moveTo>
                    <a:pt x="359618" y="16375"/>
                  </a:moveTo>
                  <a:lnTo>
                    <a:pt x="8187" y="16375"/>
                  </a:lnTo>
                  <a:cubicBezTo>
                    <a:pt x="3779" y="16375"/>
                    <a:pt x="0" y="12596"/>
                    <a:pt x="0" y="8187"/>
                  </a:cubicBezTo>
                  <a:cubicBezTo>
                    <a:pt x="0" y="3779"/>
                    <a:pt x="3779" y="0"/>
                    <a:pt x="8187" y="0"/>
                  </a:cubicBezTo>
                  <a:lnTo>
                    <a:pt x="359618" y="0"/>
                  </a:lnTo>
                  <a:cubicBezTo>
                    <a:pt x="364027" y="0"/>
                    <a:pt x="367805" y="3779"/>
                    <a:pt x="367805" y="8187"/>
                  </a:cubicBezTo>
                  <a:cubicBezTo>
                    <a:pt x="368435" y="13226"/>
                    <a:pt x="364656" y="16375"/>
                    <a:pt x="359618" y="16375"/>
                  </a:cubicBezTo>
                  <a:lnTo>
                    <a:pt x="359618" y="16375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24" name="Forma Livre: Forma 223">
              <a:extLst>
                <a:ext uri="{FF2B5EF4-FFF2-40B4-BE49-F238E27FC236}">
                  <a16:creationId xmlns:a16="http://schemas.microsoft.com/office/drawing/2014/main" id="{847253D7-483B-400E-947E-07E6F306F216}"/>
                </a:ext>
              </a:extLst>
            </p:cNvPr>
            <p:cNvSpPr/>
            <p:nvPr/>
          </p:nvSpPr>
          <p:spPr>
            <a:xfrm>
              <a:off x="3448934" y="4818731"/>
              <a:ext cx="12596" cy="216022"/>
            </a:xfrm>
            <a:custGeom>
              <a:avLst/>
              <a:gdLst>
                <a:gd name="connsiteX0" fmla="*/ 6298 w 12596"/>
                <a:gd name="connsiteY0" fmla="*/ 216023 h 216022"/>
                <a:gd name="connsiteX1" fmla="*/ 0 w 12596"/>
                <a:gd name="connsiteY1" fmla="*/ 209725 h 216022"/>
                <a:gd name="connsiteX2" fmla="*/ 0 w 12596"/>
                <a:gd name="connsiteY2" fmla="*/ 6298 h 216022"/>
                <a:gd name="connsiteX3" fmla="*/ 6298 w 12596"/>
                <a:gd name="connsiteY3" fmla="*/ 0 h 216022"/>
                <a:gd name="connsiteX4" fmla="*/ 12596 w 12596"/>
                <a:gd name="connsiteY4" fmla="*/ 6298 h 216022"/>
                <a:gd name="connsiteX5" fmla="*/ 12596 w 12596"/>
                <a:gd name="connsiteY5" fmla="*/ 209725 h 216022"/>
                <a:gd name="connsiteX6" fmla="*/ 6298 w 12596"/>
                <a:gd name="connsiteY6" fmla="*/ 216023 h 216022"/>
                <a:gd name="connsiteX7" fmla="*/ 6298 w 12596"/>
                <a:gd name="connsiteY7" fmla="*/ 216023 h 21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96" h="216022">
                  <a:moveTo>
                    <a:pt x="6298" y="216023"/>
                  </a:moveTo>
                  <a:cubicBezTo>
                    <a:pt x="3149" y="216023"/>
                    <a:pt x="0" y="213503"/>
                    <a:pt x="0" y="209725"/>
                  </a:cubicBezTo>
                  <a:lnTo>
                    <a:pt x="0" y="6298"/>
                  </a:lnTo>
                  <a:cubicBezTo>
                    <a:pt x="0" y="3149"/>
                    <a:pt x="2519" y="0"/>
                    <a:pt x="6298" y="0"/>
                  </a:cubicBezTo>
                  <a:cubicBezTo>
                    <a:pt x="9447" y="0"/>
                    <a:pt x="12596" y="2519"/>
                    <a:pt x="12596" y="6298"/>
                  </a:cubicBezTo>
                  <a:lnTo>
                    <a:pt x="12596" y="209725"/>
                  </a:lnTo>
                  <a:cubicBezTo>
                    <a:pt x="12596" y="213503"/>
                    <a:pt x="9447" y="216023"/>
                    <a:pt x="6298" y="216023"/>
                  </a:cubicBezTo>
                  <a:lnTo>
                    <a:pt x="6298" y="216023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25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4341995" y="4646795"/>
            <a:ext cx="396183" cy="396146"/>
            <a:chOff x="4341995" y="4646795"/>
            <a:chExt cx="396183" cy="396146"/>
          </a:xfrm>
          <a:solidFill>
            <a:srgbClr val="B1B1A1"/>
          </a:solidFill>
        </p:grpSpPr>
        <p:grpSp>
          <p:nvGrpSpPr>
            <p:cNvPr id="226" name="Gráfico 2">
              <a:extLst>
                <a:ext uri="{FF2B5EF4-FFF2-40B4-BE49-F238E27FC236}">
                  <a16:creationId xmlns:a16="http://schemas.microsoft.com/office/drawing/2014/main" id="{A475B8DB-D93F-4DA6-8335-80171E5C5B8D}"/>
                </a:ext>
              </a:extLst>
            </p:cNvPr>
            <p:cNvGrpSpPr/>
            <p:nvPr/>
          </p:nvGrpSpPr>
          <p:grpSpPr>
            <a:xfrm>
              <a:off x="4341995" y="4646795"/>
              <a:ext cx="396183" cy="396146"/>
              <a:chOff x="4341995" y="4646795"/>
              <a:chExt cx="396183" cy="396146"/>
            </a:xfrm>
            <a:grpFill/>
          </p:grpSpPr>
          <p:sp>
            <p:nvSpPr>
              <p:cNvPr id="227" name="Forma Livre: Forma 226">
                <a:extLst>
                  <a:ext uri="{FF2B5EF4-FFF2-40B4-BE49-F238E27FC236}">
                    <a16:creationId xmlns:a16="http://schemas.microsoft.com/office/drawing/2014/main" id="{9995EE11-764D-47C2-862C-50676A5C8387}"/>
                  </a:ext>
                </a:extLst>
              </p:cNvPr>
              <p:cNvSpPr/>
              <p:nvPr/>
            </p:nvSpPr>
            <p:spPr>
              <a:xfrm>
                <a:off x="4341995" y="4646795"/>
                <a:ext cx="396183" cy="396146"/>
              </a:xfrm>
              <a:custGeom>
                <a:avLst/>
                <a:gdLst>
                  <a:gd name="connsiteX0" fmla="*/ 379772 w 396183"/>
                  <a:gd name="connsiteY0" fmla="*/ 396146 h 396146"/>
                  <a:gd name="connsiteX1" fmla="*/ 16375 w 396183"/>
                  <a:gd name="connsiteY1" fmla="*/ 396146 h 396146"/>
                  <a:gd name="connsiteX2" fmla="*/ 0 w 396183"/>
                  <a:gd name="connsiteY2" fmla="*/ 379772 h 396146"/>
                  <a:gd name="connsiteX3" fmla="*/ 0 w 396183"/>
                  <a:gd name="connsiteY3" fmla="*/ 16375 h 396146"/>
                  <a:gd name="connsiteX4" fmla="*/ 16375 w 396183"/>
                  <a:gd name="connsiteY4" fmla="*/ 0 h 396146"/>
                  <a:gd name="connsiteX5" fmla="*/ 379772 w 396183"/>
                  <a:gd name="connsiteY5" fmla="*/ 0 h 396146"/>
                  <a:gd name="connsiteX6" fmla="*/ 396147 w 396183"/>
                  <a:gd name="connsiteY6" fmla="*/ 16375 h 396146"/>
                  <a:gd name="connsiteX7" fmla="*/ 396147 w 396183"/>
                  <a:gd name="connsiteY7" fmla="*/ 379772 h 396146"/>
                  <a:gd name="connsiteX8" fmla="*/ 379772 w 396183"/>
                  <a:gd name="connsiteY8" fmla="*/ 396146 h 396146"/>
                  <a:gd name="connsiteX9" fmla="*/ 379772 w 396183"/>
                  <a:gd name="connsiteY9" fmla="*/ 396146 h 396146"/>
                  <a:gd name="connsiteX10" fmla="*/ 33380 w 396183"/>
                  <a:gd name="connsiteY10" fmla="*/ 362767 h 396146"/>
                  <a:gd name="connsiteX11" fmla="*/ 363397 w 396183"/>
                  <a:gd name="connsiteY11" fmla="*/ 362767 h 396146"/>
                  <a:gd name="connsiteX12" fmla="*/ 363397 w 396183"/>
                  <a:gd name="connsiteY12" fmla="*/ 32749 h 396146"/>
                  <a:gd name="connsiteX13" fmla="*/ 33380 w 396183"/>
                  <a:gd name="connsiteY13" fmla="*/ 32749 h 396146"/>
                  <a:gd name="connsiteX14" fmla="*/ 33380 w 396183"/>
                  <a:gd name="connsiteY14" fmla="*/ 362767 h 396146"/>
                  <a:gd name="connsiteX15" fmla="*/ 33380 w 396183"/>
                  <a:gd name="connsiteY15" fmla="*/ 362767 h 396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96183" h="396146">
                    <a:moveTo>
                      <a:pt x="379772" y="396146"/>
                    </a:moveTo>
                    <a:lnTo>
                      <a:pt x="16375" y="396146"/>
                    </a:lnTo>
                    <a:cubicBezTo>
                      <a:pt x="6928" y="396146"/>
                      <a:pt x="0" y="388589"/>
                      <a:pt x="0" y="379772"/>
                    </a:cubicBezTo>
                    <a:lnTo>
                      <a:pt x="0" y="16375"/>
                    </a:lnTo>
                    <a:cubicBezTo>
                      <a:pt x="0" y="6928"/>
                      <a:pt x="7558" y="0"/>
                      <a:pt x="16375" y="0"/>
                    </a:cubicBezTo>
                    <a:lnTo>
                      <a:pt x="379772" y="0"/>
                    </a:lnTo>
                    <a:cubicBezTo>
                      <a:pt x="389219" y="0"/>
                      <a:pt x="396147" y="7557"/>
                      <a:pt x="396147" y="16375"/>
                    </a:cubicBezTo>
                    <a:lnTo>
                      <a:pt x="396147" y="379772"/>
                    </a:lnTo>
                    <a:cubicBezTo>
                      <a:pt x="396776" y="388589"/>
                      <a:pt x="389219" y="396146"/>
                      <a:pt x="379772" y="396146"/>
                    </a:cubicBezTo>
                    <a:lnTo>
                      <a:pt x="379772" y="396146"/>
                    </a:lnTo>
                    <a:close/>
                    <a:moveTo>
                      <a:pt x="33380" y="362767"/>
                    </a:moveTo>
                    <a:lnTo>
                      <a:pt x="363397" y="362767"/>
                    </a:lnTo>
                    <a:lnTo>
                      <a:pt x="363397" y="32749"/>
                    </a:lnTo>
                    <a:lnTo>
                      <a:pt x="33380" y="32749"/>
                    </a:lnTo>
                    <a:lnTo>
                      <a:pt x="33380" y="362767"/>
                    </a:lnTo>
                    <a:lnTo>
                      <a:pt x="33380" y="362767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28" name="Forma Livre: Forma 227">
                <a:extLst>
                  <a:ext uri="{FF2B5EF4-FFF2-40B4-BE49-F238E27FC236}">
                    <a16:creationId xmlns:a16="http://schemas.microsoft.com/office/drawing/2014/main" id="{4904500B-12F7-48AF-9D68-1670CB5B90E1}"/>
                  </a:ext>
                </a:extLst>
              </p:cNvPr>
              <p:cNvSpPr/>
              <p:nvPr/>
            </p:nvSpPr>
            <p:spPr>
              <a:xfrm>
                <a:off x="4356481" y="4751972"/>
                <a:ext cx="367805" cy="16375"/>
              </a:xfrm>
              <a:custGeom>
                <a:avLst/>
                <a:gdLst>
                  <a:gd name="connsiteX0" fmla="*/ 359618 w 367805"/>
                  <a:gd name="connsiteY0" fmla="*/ 16375 h 16375"/>
                  <a:gd name="connsiteX1" fmla="*/ 8188 w 367805"/>
                  <a:gd name="connsiteY1" fmla="*/ 16375 h 16375"/>
                  <a:gd name="connsiteX2" fmla="*/ 0 w 367805"/>
                  <a:gd name="connsiteY2" fmla="*/ 8188 h 16375"/>
                  <a:gd name="connsiteX3" fmla="*/ 8188 w 367805"/>
                  <a:gd name="connsiteY3" fmla="*/ 0 h 16375"/>
                  <a:gd name="connsiteX4" fmla="*/ 359618 w 367805"/>
                  <a:gd name="connsiteY4" fmla="*/ 0 h 16375"/>
                  <a:gd name="connsiteX5" fmla="*/ 367806 w 367805"/>
                  <a:gd name="connsiteY5" fmla="*/ 8188 h 16375"/>
                  <a:gd name="connsiteX6" fmla="*/ 359618 w 367805"/>
                  <a:gd name="connsiteY6" fmla="*/ 16375 h 16375"/>
                  <a:gd name="connsiteX7" fmla="*/ 359618 w 367805"/>
                  <a:gd name="connsiteY7" fmla="*/ 16375 h 16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67805" h="16375">
                    <a:moveTo>
                      <a:pt x="359618" y="16375"/>
                    </a:moveTo>
                    <a:lnTo>
                      <a:pt x="8188" y="16375"/>
                    </a:lnTo>
                    <a:cubicBezTo>
                      <a:pt x="3779" y="16375"/>
                      <a:pt x="0" y="12596"/>
                      <a:pt x="0" y="8188"/>
                    </a:cubicBezTo>
                    <a:cubicBezTo>
                      <a:pt x="0" y="3779"/>
                      <a:pt x="3779" y="0"/>
                      <a:pt x="8188" y="0"/>
                    </a:cubicBezTo>
                    <a:lnTo>
                      <a:pt x="359618" y="0"/>
                    </a:lnTo>
                    <a:cubicBezTo>
                      <a:pt x="364027" y="0"/>
                      <a:pt x="367806" y="3779"/>
                      <a:pt x="367806" y="8188"/>
                    </a:cubicBezTo>
                    <a:cubicBezTo>
                      <a:pt x="367806" y="12596"/>
                      <a:pt x="364027" y="16375"/>
                      <a:pt x="359618" y="16375"/>
                    </a:cubicBezTo>
                    <a:lnTo>
                      <a:pt x="359618" y="16375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29" name="Forma Livre: Forma 228">
                <a:extLst>
                  <a:ext uri="{FF2B5EF4-FFF2-40B4-BE49-F238E27FC236}">
                    <a16:creationId xmlns:a16="http://schemas.microsoft.com/office/drawing/2014/main" id="{D05B4786-7F0B-43EE-9A75-106AA4CA4505}"/>
                  </a:ext>
                </a:extLst>
              </p:cNvPr>
              <p:cNvSpPr/>
              <p:nvPr/>
            </p:nvSpPr>
            <p:spPr>
              <a:xfrm>
                <a:off x="4396788" y="4695290"/>
                <a:ext cx="41596" cy="41567"/>
              </a:xfrm>
              <a:custGeom>
                <a:avLst/>
                <a:gdLst>
                  <a:gd name="connsiteX0" fmla="*/ 20783 w 41596"/>
                  <a:gd name="connsiteY0" fmla="*/ 0 h 41567"/>
                  <a:gd name="connsiteX1" fmla="*/ 0 w 41596"/>
                  <a:gd name="connsiteY1" fmla="*/ 20784 h 41567"/>
                  <a:gd name="connsiteX2" fmla="*/ 20783 w 41596"/>
                  <a:gd name="connsiteY2" fmla="*/ 41567 h 41567"/>
                  <a:gd name="connsiteX3" fmla="*/ 41567 w 41596"/>
                  <a:gd name="connsiteY3" fmla="*/ 20784 h 41567"/>
                  <a:gd name="connsiteX4" fmla="*/ 20783 w 41596"/>
                  <a:gd name="connsiteY4" fmla="*/ 0 h 41567"/>
                  <a:gd name="connsiteX5" fmla="*/ 20783 w 41596"/>
                  <a:gd name="connsiteY5" fmla="*/ 0 h 41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596" h="41567">
                    <a:moveTo>
                      <a:pt x="20783" y="0"/>
                    </a:moveTo>
                    <a:cubicBezTo>
                      <a:pt x="9447" y="0"/>
                      <a:pt x="0" y="9447"/>
                      <a:pt x="0" y="20784"/>
                    </a:cubicBezTo>
                    <a:cubicBezTo>
                      <a:pt x="0" y="32120"/>
                      <a:pt x="9447" y="41567"/>
                      <a:pt x="20783" y="41567"/>
                    </a:cubicBezTo>
                    <a:cubicBezTo>
                      <a:pt x="32120" y="41567"/>
                      <a:pt x="41567" y="32120"/>
                      <a:pt x="41567" y="20784"/>
                    </a:cubicBezTo>
                    <a:cubicBezTo>
                      <a:pt x="42197" y="9447"/>
                      <a:pt x="32750" y="0"/>
                      <a:pt x="20783" y="0"/>
                    </a:cubicBezTo>
                    <a:lnTo>
                      <a:pt x="20783" y="0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30" name="Forma Livre: Forma 229">
                <a:extLst>
                  <a:ext uri="{FF2B5EF4-FFF2-40B4-BE49-F238E27FC236}">
                    <a16:creationId xmlns:a16="http://schemas.microsoft.com/office/drawing/2014/main" id="{59070BED-287B-412B-BC8D-634490E27449}"/>
                  </a:ext>
                </a:extLst>
              </p:cNvPr>
              <p:cNvSpPr/>
              <p:nvPr/>
            </p:nvSpPr>
            <p:spPr>
              <a:xfrm>
                <a:off x="4454100" y="4695290"/>
                <a:ext cx="41567" cy="41567"/>
              </a:xfrm>
              <a:custGeom>
                <a:avLst/>
                <a:gdLst>
                  <a:gd name="connsiteX0" fmla="*/ 20784 w 41567"/>
                  <a:gd name="connsiteY0" fmla="*/ 0 h 41567"/>
                  <a:gd name="connsiteX1" fmla="*/ 0 w 41567"/>
                  <a:gd name="connsiteY1" fmla="*/ 20784 h 41567"/>
                  <a:gd name="connsiteX2" fmla="*/ 20784 w 41567"/>
                  <a:gd name="connsiteY2" fmla="*/ 41567 h 41567"/>
                  <a:gd name="connsiteX3" fmla="*/ 41567 w 41567"/>
                  <a:gd name="connsiteY3" fmla="*/ 20784 h 41567"/>
                  <a:gd name="connsiteX4" fmla="*/ 20784 w 41567"/>
                  <a:gd name="connsiteY4" fmla="*/ 0 h 41567"/>
                  <a:gd name="connsiteX5" fmla="*/ 20784 w 41567"/>
                  <a:gd name="connsiteY5" fmla="*/ 0 h 41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567" h="41567">
                    <a:moveTo>
                      <a:pt x="20784" y="0"/>
                    </a:moveTo>
                    <a:cubicBezTo>
                      <a:pt x="9447" y="0"/>
                      <a:pt x="0" y="9447"/>
                      <a:pt x="0" y="20784"/>
                    </a:cubicBezTo>
                    <a:cubicBezTo>
                      <a:pt x="0" y="32120"/>
                      <a:pt x="9447" y="41567"/>
                      <a:pt x="20784" y="41567"/>
                    </a:cubicBezTo>
                    <a:cubicBezTo>
                      <a:pt x="32120" y="41567"/>
                      <a:pt x="41567" y="32120"/>
                      <a:pt x="41567" y="20784"/>
                    </a:cubicBezTo>
                    <a:cubicBezTo>
                      <a:pt x="41567" y="9447"/>
                      <a:pt x="32120" y="0"/>
                      <a:pt x="20784" y="0"/>
                    </a:cubicBezTo>
                    <a:lnTo>
                      <a:pt x="20784" y="0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31" name="Forma Livre: Forma 230">
                <a:extLst>
                  <a:ext uri="{FF2B5EF4-FFF2-40B4-BE49-F238E27FC236}">
                    <a16:creationId xmlns:a16="http://schemas.microsoft.com/office/drawing/2014/main" id="{FC47D583-743B-47FE-8D36-0BB80977323C}"/>
                  </a:ext>
                </a:extLst>
              </p:cNvPr>
              <p:cNvSpPr/>
              <p:nvPr/>
            </p:nvSpPr>
            <p:spPr>
              <a:xfrm>
                <a:off x="4510783" y="4695290"/>
                <a:ext cx="41567" cy="41567"/>
              </a:xfrm>
              <a:custGeom>
                <a:avLst/>
                <a:gdLst>
                  <a:gd name="connsiteX0" fmla="*/ 20783 w 41567"/>
                  <a:gd name="connsiteY0" fmla="*/ 0 h 41567"/>
                  <a:gd name="connsiteX1" fmla="*/ 0 w 41567"/>
                  <a:gd name="connsiteY1" fmla="*/ 20784 h 41567"/>
                  <a:gd name="connsiteX2" fmla="*/ 20783 w 41567"/>
                  <a:gd name="connsiteY2" fmla="*/ 41567 h 41567"/>
                  <a:gd name="connsiteX3" fmla="*/ 41567 w 41567"/>
                  <a:gd name="connsiteY3" fmla="*/ 20784 h 41567"/>
                  <a:gd name="connsiteX4" fmla="*/ 20783 w 41567"/>
                  <a:gd name="connsiteY4" fmla="*/ 0 h 41567"/>
                  <a:gd name="connsiteX5" fmla="*/ 20783 w 41567"/>
                  <a:gd name="connsiteY5" fmla="*/ 0 h 41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567" h="41567">
                    <a:moveTo>
                      <a:pt x="20783" y="0"/>
                    </a:moveTo>
                    <a:cubicBezTo>
                      <a:pt x="9447" y="0"/>
                      <a:pt x="0" y="9447"/>
                      <a:pt x="0" y="20784"/>
                    </a:cubicBezTo>
                    <a:cubicBezTo>
                      <a:pt x="0" y="32120"/>
                      <a:pt x="9447" y="41567"/>
                      <a:pt x="20783" y="41567"/>
                    </a:cubicBezTo>
                    <a:cubicBezTo>
                      <a:pt x="32120" y="41567"/>
                      <a:pt x="41567" y="32120"/>
                      <a:pt x="41567" y="20784"/>
                    </a:cubicBezTo>
                    <a:cubicBezTo>
                      <a:pt x="41567" y="9447"/>
                      <a:pt x="32120" y="0"/>
                      <a:pt x="20783" y="0"/>
                    </a:cubicBezTo>
                    <a:lnTo>
                      <a:pt x="20783" y="0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232" name="Forma Livre: Forma 231">
              <a:extLst>
                <a:ext uri="{FF2B5EF4-FFF2-40B4-BE49-F238E27FC236}">
                  <a16:creationId xmlns:a16="http://schemas.microsoft.com/office/drawing/2014/main" id="{40EFFAF6-E27D-41D9-B6C2-9205BDBCD983}"/>
                </a:ext>
              </a:extLst>
            </p:cNvPr>
            <p:cNvSpPr/>
            <p:nvPr/>
          </p:nvSpPr>
          <p:spPr>
            <a:xfrm>
              <a:off x="4356481" y="4814323"/>
              <a:ext cx="367805" cy="16374"/>
            </a:xfrm>
            <a:custGeom>
              <a:avLst/>
              <a:gdLst>
                <a:gd name="connsiteX0" fmla="*/ 359618 w 367805"/>
                <a:gd name="connsiteY0" fmla="*/ 16375 h 16374"/>
                <a:gd name="connsiteX1" fmla="*/ 8188 w 367805"/>
                <a:gd name="connsiteY1" fmla="*/ 16375 h 16374"/>
                <a:gd name="connsiteX2" fmla="*/ 0 w 367805"/>
                <a:gd name="connsiteY2" fmla="*/ 8187 h 16374"/>
                <a:gd name="connsiteX3" fmla="*/ 8188 w 367805"/>
                <a:gd name="connsiteY3" fmla="*/ 0 h 16374"/>
                <a:gd name="connsiteX4" fmla="*/ 359618 w 367805"/>
                <a:gd name="connsiteY4" fmla="*/ 0 h 16374"/>
                <a:gd name="connsiteX5" fmla="*/ 367806 w 367805"/>
                <a:gd name="connsiteY5" fmla="*/ 8187 h 16374"/>
                <a:gd name="connsiteX6" fmla="*/ 359618 w 367805"/>
                <a:gd name="connsiteY6" fmla="*/ 16375 h 16374"/>
                <a:gd name="connsiteX7" fmla="*/ 359618 w 367805"/>
                <a:gd name="connsiteY7" fmla="*/ 16375 h 1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7805" h="16374">
                  <a:moveTo>
                    <a:pt x="359618" y="16375"/>
                  </a:moveTo>
                  <a:lnTo>
                    <a:pt x="8188" y="16375"/>
                  </a:lnTo>
                  <a:cubicBezTo>
                    <a:pt x="3779" y="16375"/>
                    <a:pt x="0" y="12596"/>
                    <a:pt x="0" y="8187"/>
                  </a:cubicBezTo>
                  <a:cubicBezTo>
                    <a:pt x="0" y="3779"/>
                    <a:pt x="3779" y="0"/>
                    <a:pt x="8188" y="0"/>
                  </a:cubicBezTo>
                  <a:lnTo>
                    <a:pt x="359618" y="0"/>
                  </a:lnTo>
                  <a:cubicBezTo>
                    <a:pt x="364027" y="0"/>
                    <a:pt x="367806" y="3779"/>
                    <a:pt x="367806" y="8187"/>
                  </a:cubicBezTo>
                  <a:cubicBezTo>
                    <a:pt x="367806" y="13226"/>
                    <a:pt x="364027" y="16375"/>
                    <a:pt x="359618" y="16375"/>
                  </a:cubicBezTo>
                  <a:lnTo>
                    <a:pt x="359618" y="16375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33" name="Forma Livre: Forma 232">
              <a:extLst>
                <a:ext uri="{FF2B5EF4-FFF2-40B4-BE49-F238E27FC236}">
                  <a16:creationId xmlns:a16="http://schemas.microsoft.com/office/drawing/2014/main" id="{08198088-356C-45EF-9AE2-90F3F778EB50}"/>
                </a:ext>
              </a:extLst>
            </p:cNvPr>
            <p:cNvSpPr/>
            <p:nvPr/>
          </p:nvSpPr>
          <p:spPr>
            <a:xfrm>
              <a:off x="4604624" y="4818731"/>
              <a:ext cx="12596" cy="216022"/>
            </a:xfrm>
            <a:custGeom>
              <a:avLst/>
              <a:gdLst>
                <a:gd name="connsiteX0" fmla="*/ 6298 w 12596"/>
                <a:gd name="connsiteY0" fmla="*/ 216023 h 216022"/>
                <a:gd name="connsiteX1" fmla="*/ 0 w 12596"/>
                <a:gd name="connsiteY1" fmla="*/ 209725 h 216022"/>
                <a:gd name="connsiteX2" fmla="*/ 0 w 12596"/>
                <a:gd name="connsiteY2" fmla="*/ 6298 h 216022"/>
                <a:gd name="connsiteX3" fmla="*/ 6298 w 12596"/>
                <a:gd name="connsiteY3" fmla="*/ 0 h 216022"/>
                <a:gd name="connsiteX4" fmla="*/ 12596 w 12596"/>
                <a:gd name="connsiteY4" fmla="*/ 6298 h 216022"/>
                <a:gd name="connsiteX5" fmla="*/ 12596 w 12596"/>
                <a:gd name="connsiteY5" fmla="*/ 209725 h 216022"/>
                <a:gd name="connsiteX6" fmla="*/ 6298 w 12596"/>
                <a:gd name="connsiteY6" fmla="*/ 216023 h 216022"/>
                <a:gd name="connsiteX7" fmla="*/ 6298 w 12596"/>
                <a:gd name="connsiteY7" fmla="*/ 216023 h 21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96" h="216022">
                  <a:moveTo>
                    <a:pt x="6298" y="216023"/>
                  </a:moveTo>
                  <a:cubicBezTo>
                    <a:pt x="3149" y="216023"/>
                    <a:pt x="0" y="213503"/>
                    <a:pt x="0" y="209725"/>
                  </a:cubicBezTo>
                  <a:lnTo>
                    <a:pt x="0" y="6298"/>
                  </a:lnTo>
                  <a:cubicBezTo>
                    <a:pt x="0" y="3149"/>
                    <a:pt x="2519" y="0"/>
                    <a:pt x="6298" y="0"/>
                  </a:cubicBezTo>
                  <a:cubicBezTo>
                    <a:pt x="9447" y="0"/>
                    <a:pt x="12596" y="2519"/>
                    <a:pt x="12596" y="6298"/>
                  </a:cubicBezTo>
                  <a:lnTo>
                    <a:pt x="12596" y="209725"/>
                  </a:lnTo>
                  <a:cubicBezTo>
                    <a:pt x="12596" y="213503"/>
                    <a:pt x="10077" y="216023"/>
                    <a:pt x="6298" y="216023"/>
                  </a:cubicBezTo>
                  <a:lnTo>
                    <a:pt x="6298" y="216023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34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5362907" y="4646795"/>
            <a:ext cx="396183" cy="396146"/>
            <a:chOff x="5362907" y="4646795"/>
            <a:chExt cx="396183" cy="396146"/>
          </a:xfrm>
          <a:solidFill>
            <a:srgbClr val="B1B1A1"/>
          </a:solidFill>
        </p:grpSpPr>
        <p:grpSp>
          <p:nvGrpSpPr>
            <p:cNvPr id="235" name="Gráfico 2">
              <a:extLst>
                <a:ext uri="{FF2B5EF4-FFF2-40B4-BE49-F238E27FC236}">
                  <a16:creationId xmlns:a16="http://schemas.microsoft.com/office/drawing/2014/main" id="{A475B8DB-D93F-4DA6-8335-80171E5C5B8D}"/>
                </a:ext>
              </a:extLst>
            </p:cNvPr>
            <p:cNvGrpSpPr/>
            <p:nvPr/>
          </p:nvGrpSpPr>
          <p:grpSpPr>
            <a:xfrm>
              <a:off x="5362907" y="4646795"/>
              <a:ext cx="396183" cy="396146"/>
              <a:chOff x="5362907" y="4646795"/>
              <a:chExt cx="396183" cy="396146"/>
            </a:xfrm>
            <a:grpFill/>
          </p:grpSpPr>
          <p:sp>
            <p:nvSpPr>
              <p:cNvPr id="236" name="Forma Livre: Forma 235">
                <a:extLst>
                  <a:ext uri="{FF2B5EF4-FFF2-40B4-BE49-F238E27FC236}">
                    <a16:creationId xmlns:a16="http://schemas.microsoft.com/office/drawing/2014/main" id="{54257358-0C5A-48A8-A0B0-8ED3A963BFA5}"/>
                  </a:ext>
                </a:extLst>
              </p:cNvPr>
              <p:cNvSpPr/>
              <p:nvPr/>
            </p:nvSpPr>
            <p:spPr>
              <a:xfrm>
                <a:off x="5362907" y="4646795"/>
                <a:ext cx="396183" cy="396146"/>
              </a:xfrm>
              <a:custGeom>
                <a:avLst/>
                <a:gdLst>
                  <a:gd name="connsiteX0" fmla="*/ 379772 w 396183"/>
                  <a:gd name="connsiteY0" fmla="*/ 396146 h 396146"/>
                  <a:gd name="connsiteX1" fmla="*/ 16375 w 396183"/>
                  <a:gd name="connsiteY1" fmla="*/ 396146 h 396146"/>
                  <a:gd name="connsiteX2" fmla="*/ 0 w 396183"/>
                  <a:gd name="connsiteY2" fmla="*/ 379772 h 396146"/>
                  <a:gd name="connsiteX3" fmla="*/ 0 w 396183"/>
                  <a:gd name="connsiteY3" fmla="*/ 16375 h 396146"/>
                  <a:gd name="connsiteX4" fmla="*/ 16375 w 396183"/>
                  <a:gd name="connsiteY4" fmla="*/ 0 h 396146"/>
                  <a:gd name="connsiteX5" fmla="*/ 379772 w 396183"/>
                  <a:gd name="connsiteY5" fmla="*/ 0 h 396146"/>
                  <a:gd name="connsiteX6" fmla="*/ 396147 w 396183"/>
                  <a:gd name="connsiteY6" fmla="*/ 16375 h 396146"/>
                  <a:gd name="connsiteX7" fmla="*/ 396147 w 396183"/>
                  <a:gd name="connsiteY7" fmla="*/ 379772 h 396146"/>
                  <a:gd name="connsiteX8" fmla="*/ 379772 w 396183"/>
                  <a:gd name="connsiteY8" fmla="*/ 396146 h 396146"/>
                  <a:gd name="connsiteX9" fmla="*/ 379772 w 396183"/>
                  <a:gd name="connsiteY9" fmla="*/ 396146 h 396146"/>
                  <a:gd name="connsiteX10" fmla="*/ 33380 w 396183"/>
                  <a:gd name="connsiteY10" fmla="*/ 362767 h 396146"/>
                  <a:gd name="connsiteX11" fmla="*/ 363397 w 396183"/>
                  <a:gd name="connsiteY11" fmla="*/ 362767 h 396146"/>
                  <a:gd name="connsiteX12" fmla="*/ 363397 w 396183"/>
                  <a:gd name="connsiteY12" fmla="*/ 32749 h 396146"/>
                  <a:gd name="connsiteX13" fmla="*/ 33380 w 396183"/>
                  <a:gd name="connsiteY13" fmla="*/ 32749 h 396146"/>
                  <a:gd name="connsiteX14" fmla="*/ 33380 w 396183"/>
                  <a:gd name="connsiteY14" fmla="*/ 362767 h 396146"/>
                  <a:gd name="connsiteX15" fmla="*/ 33380 w 396183"/>
                  <a:gd name="connsiteY15" fmla="*/ 362767 h 396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96183" h="396146">
                    <a:moveTo>
                      <a:pt x="379772" y="396146"/>
                    </a:moveTo>
                    <a:lnTo>
                      <a:pt x="16375" y="396146"/>
                    </a:lnTo>
                    <a:cubicBezTo>
                      <a:pt x="6928" y="396146"/>
                      <a:pt x="0" y="388589"/>
                      <a:pt x="0" y="379772"/>
                    </a:cubicBezTo>
                    <a:lnTo>
                      <a:pt x="0" y="16375"/>
                    </a:lnTo>
                    <a:cubicBezTo>
                      <a:pt x="0" y="6928"/>
                      <a:pt x="7558" y="0"/>
                      <a:pt x="16375" y="0"/>
                    </a:cubicBezTo>
                    <a:lnTo>
                      <a:pt x="379772" y="0"/>
                    </a:lnTo>
                    <a:cubicBezTo>
                      <a:pt x="389219" y="0"/>
                      <a:pt x="396147" y="7557"/>
                      <a:pt x="396147" y="16375"/>
                    </a:cubicBezTo>
                    <a:lnTo>
                      <a:pt x="396147" y="379772"/>
                    </a:lnTo>
                    <a:cubicBezTo>
                      <a:pt x="396776" y="388589"/>
                      <a:pt x="389219" y="396146"/>
                      <a:pt x="379772" y="396146"/>
                    </a:cubicBezTo>
                    <a:lnTo>
                      <a:pt x="379772" y="396146"/>
                    </a:lnTo>
                    <a:close/>
                    <a:moveTo>
                      <a:pt x="33380" y="362767"/>
                    </a:moveTo>
                    <a:lnTo>
                      <a:pt x="363397" y="362767"/>
                    </a:lnTo>
                    <a:lnTo>
                      <a:pt x="363397" y="32749"/>
                    </a:lnTo>
                    <a:lnTo>
                      <a:pt x="33380" y="32749"/>
                    </a:lnTo>
                    <a:lnTo>
                      <a:pt x="33380" y="362767"/>
                    </a:lnTo>
                    <a:lnTo>
                      <a:pt x="33380" y="362767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37" name="Forma Livre: Forma 236">
                <a:extLst>
                  <a:ext uri="{FF2B5EF4-FFF2-40B4-BE49-F238E27FC236}">
                    <a16:creationId xmlns:a16="http://schemas.microsoft.com/office/drawing/2014/main" id="{B451AB2B-75DF-45EF-91A6-3C09530D9F26}"/>
                  </a:ext>
                </a:extLst>
              </p:cNvPr>
              <p:cNvSpPr/>
              <p:nvPr/>
            </p:nvSpPr>
            <p:spPr>
              <a:xfrm>
                <a:off x="5377393" y="4751972"/>
                <a:ext cx="367805" cy="16375"/>
              </a:xfrm>
              <a:custGeom>
                <a:avLst/>
                <a:gdLst>
                  <a:gd name="connsiteX0" fmla="*/ 359618 w 367805"/>
                  <a:gd name="connsiteY0" fmla="*/ 16375 h 16375"/>
                  <a:gd name="connsiteX1" fmla="*/ 8187 w 367805"/>
                  <a:gd name="connsiteY1" fmla="*/ 16375 h 16375"/>
                  <a:gd name="connsiteX2" fmla="*/ 0 w 367805"/>
                  <a:gd name="connsiteY2" fmla="*/ 8188 h 16375"/>
                  <a:gd name="connsiteX3" fmla="*/ 8187 w 367805"/>
                  <a:gd name="connsiteY3" fmla="*/ 0 h 16375"/>
                  <a:gd name="connsiteX4" fmla="*/ 359618 w 367805"/>
                  <a:gd name="connsiteY4" fmla="*/ 0 h 16375"/>
                  <a:gd name="connsiteX5" fmla="*/ 367805 w 367805"/>
                  <a:gd name="connsiteY5" fmla="*/ 8188 h 16375"/>
                  <a:gd name="connsiteX6" fmla="*/ 359618 w 367805"/>
                  <a:gd name="connsiteY6" fmla="*/ 16375 h 16375"/>
                  <a:gd name="connsiteX7" fmla="*/ 359618 w 367805"/>
                  <a:gd name="connsiteY7" fmla="*/ 16375 h 16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67805" h="16375">
                    <a:moveTo>
                      <a:pt x="359618" y="16375"/>
                    </a:moveTo>
                    <a:lnTo>
                      <a:pt x="8187" y="16375"/>
                    </a:lnTo>
                    <a:cubicBezTo>
                      <a:pt x="3779" y="16375"/>
                      <a:pt x="0" y="12596"/>
                      <a:pt x="0" y="8188"/>
                    </a:cubicBezTo>
                    <a:cubicBezTo>
                      <a:pt x="0" y="3779"/>
                      <a:pt x="3779" y="0"/>
                      <a:pt x="8187" y="0"/>
                    </a:cubicBezTo>
                    <a:lnTo>
                      <a:pt x="359618" y="0"/>
                    </a:lnTo>
                    <a:cubicBezTo>
                      <a:pt x="364027" y="0"/>
                      <a:pt x="367805" y="3779"/>
                      <a:pt x="367805" y="8188"/>
                    </a:cubicBezTo>
                    <a:cubicBezTo>
                      <a:pt x="367805" y="12596"/>
                      <a:pt x="364027" y="16375"/>
                      <a:pt x="359618" y="16375"/>
                    </a:cubicBezTo>
                    <a:lnTo>
                      <a:pt x="359618" y="16375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38" name="Forma Livre: Forma 237">
                <a:extLst>
                  <a:ext uri="{FF2B5EF4-FFF2-40B4-BE49-F238E27FC236}">
                    <a16:creationId xmlns:a16="http://schemas.microsoft.com/office/drawing/2014/main" id="{5211C5A8-FFCA-482B-A67C-57E633DF5B20}"/>
                  </a:ext>
                </a:extLst>
              </p:cNvPr>
              <p:cNvSpPr/>
              <p:nvPr/>
            </p:nvSpPr>
            <p:spPr>
              <a:xfrm>
                <a:off x="5417700" y="4695290"/>
                <a:ext cx="41597" cy="41567"/>
              </a:xfrm>
              <a:custGeom>
                <a:avLst/>
                <a:gdLst>
                  <a:gd name="connsiteX0" fmla="*/ 20783 w 41597"/>
                  <a:gd name="connsiteY0" fmla="*/ 0 h 41567"/>
                  <a:gd name="connsiteX1" fmla="*/ 0 w 41597"/>
                  <a:gd name="connsiteY1" fmla="*/ 20784 h 41567"/>
                  <a:gd name="connsiteX2" fmla="*/ 20783 w 41597"/>
                  <a:gd name="connsiteY2" fmla="*/ 41567 h 41567"/>
                  <a:gd name="connsiteX3" fmla="*/ 41567 w 41597"/>
                  <a:gd name="connsiteY3" fmla="*/ 20784 h 41567"/>
                  <a:gd name="connsiteX4" fmla="*/ 20783 w 41597"/>
                  <a:gd name="connsiteY4" fmla="*/ 0 h 41567"/>
                  <a:gd name="connsiteX5" fmla="*/ 20783 w 41597"/>
                  <a:gd name="connsiteY5" fmla="*/ 0 h 41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597" h="41567">
                    <a:moveTo>
                      <a:pt x="20783" y="0"/>
                    </a:moveTo>
                    <a:cubicBezTo>
                      <a:pt x="9447" y="0"/>
                      <a:pt x="0" y="9447"/>
                      <a:pt x="0" y="20784"/>
                    </a:cubicBezTo>
                    <a:cubicBezTo>
                      <a:pt x="0" y="32120"/>
                      <a:pt x="9447" y="41567"/>
                      <a:pt x="20783" y="41567"/>
                    </a:cubicBezTo>
                    <a:cubicBezTo>
                      <a:pt x="32120" y="41567"/>
                      <a:pt x="41567" y="32120"/>
                      <a:pt x="41567" y="20784"/>
                    </a:cubicBezTo>
                    <a:cubicBezTo>
                      <a:pt x="42197" y="9447"/>
                      <a:pt x="32750" y="0"/>
                      <a:pt x="20783" y="0"/>
                    </a:cubicBezTo>
                    <a:lnTo>
                      <a:pt x="20783" y="0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39" name="Forma Livre: Forma 238">
                <a:extLst>
                  <a:ext uri="{FF2B5EF4-FFF2-40B4-BE49-F238E27FC236}">
                    <a16:creationId xmlns:a16="http://schemas.microsoft.com/office/drawing/2014/main" id="{FF6CEDD5-B3CA-4245-9D19-6B822ABAE856}"/>
                  </a:ext>
                </a:extLst>
              </p:cNvPr>
              <p:cNvSpPr/>
              <p:nvPr/>
            </p:nvSpPr>
            <p:spPr>
              <a:xfrm>
                <a:off x="5475013" y="4695290"/>
                <a:ext cx="41566" cy="41567"/>
              </a:xfrm>
              <a:custGeom>
                <a:avLst/>
                <a:gdLst>
                  <a:gd name="connsiteX0" fmla="*/ 20783 w 41566"/>
                  <a:gd name="connsiteY0" fmla="*/ 0 h 41567"/>
                  <a:gd name="connsiteX1" fmla="*/ 0 w 41566"/>
                  <a:gd name="connsiteY1" fmla="*/ 20784 h 41567"/>
                  <a:gd name="connsiteX2" fmla="*/ 20783 w 41566"/>
                  <a:gd name="connsiteY2" fmla="*/ 41567 h 41567"/>
                  <a:gd name="connsiteX3" fmla="*/ 41567 w 41566"/>
                  <a:gd name="connsiteY3" fmla="*/ 20784 h 41567"/>
                  <a:gd name="connsiteX4" fmla="*/ 20783 w 41566"/>
                  <a:gd name="connsiteY4" fmla="*/ 0 h 41567"/>
                  <a:gd name="connsiteX5" fmla="*/ 20783 w 41566"/>
                  <a:gd name="connsiteY5" fmla="*/ 0 h 41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566" h="41567">
                    <a:moveTo>
                      <a:pt x="20783" y="0"/>
                    </a:moveTo>
                    <a:cubicBezTo>
                      <a:pt x="9447" y="0"/>
                      <a:pt x="0" y="9447"/>
                      <a:pt x="0" y="20784"/>
                    </a:cubicBezTo>
                    <a:cubicBezTo>
                      <a:pt x="0" y="32120"/>
                      <a:pt x="9447" y="41567"/>
                      <a:pt x="20783" y="41567"/>
                    </a:cubicBezTo>
                    <a:cubicBezTo>
                      <a:pt x="32120" y="41567"/>
                      <a:pt x="41567" y="32120"/>
                      <a:pt x="41567" y="20784"/>
                    </a:cubicBezTo>
                    <a:cubicBezTo>
                      <a:pt x="41567" y="9447"/>
                      <a:pt x="32120" y="0"/>
                      <a:pt x="20783" y="0"/>
                    </a:cubicBezTo>
                    <a:lnTo>
                      <a:pt x="20783" y="0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40" name="Forma Livre: Forma 239">
                <a:extLst>
                  <a:ext uri="{FF2B5EF4-FFF2-40B4-BE49-F238E27FC236}">
                    <a16:creationId xmlns:a16="http://schemas.microsoft.com/office/drawing/2014/main" id="{298A21D2-163D-48C0-8B02-1A0BA0E6ADC2}"/>
                  </a:ext>
                </a:extLst>
              </p:cNvPr>
              <p:cNvSpPr/>
              <p:nvPr/>
            </p:nvSpPr>
            <p:spPr>
              <a:xfrm>
                <a:off x="5531695" y="4695290"/>
                <a:ext cx="41596" cy="41567"/>
              </a:xfrm>
              <a:custGeom>
                <a:avLst/>
                <a:gdLst>
                  <a:gd name="connsiteX0" fmla="*/ 20783 w 41596"/>
                  <a:gd name="connsiteY0" fmla="*/ 0 h 41567"/>
                  <a:gd name="connsiteX1" fmla="*/ 0 w 41596"/>
                  <a:gd name="connsiteY1" fmla="*/ 20784 h 41567"/>
                  <a:gd name="connsiteX2" fmla="*/ 20783 w 41596"/>
                  <a:gd name="connsiteY2" fmla="*/ 41567 h 41567"/>
                  <a:gd name="connsiteX3" fmla="*/ 41567 w 41596"/>
                  <a:gd name="connsiteY3" fmla="*/ 20784 h 41567"/>
                  <a:gd name="connsiteX4" fmla="*/ 20783 w 41596"/>
                  <a:gd name="connsiteY4" fmla="*/ 0 h 41567"/>
                  <a:gd name="connsiteX5" fmla="*/ 20783 w 41596"/>
                  <a:gd name="connsiteY5" fmla="*/ 0 h 41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596" h="41567">
                    <a:moveTo>
                      <a:pt x="20783" y="0"/>
                    </a:moveTo>
                    <a:cubicBezTo>
                      <a:pt x="9447" y="0"/>
                      <a:pt x="0" y="9447"/>
                      <a:pt x="0" y="20784"/>
                    </a:cubicBezTo>
                    <a:cubicBezTo>
                      <a:pt x="0" y="32120"/>
                      <a:pt x="9447" y="41567"/>
                      <a:pt x="20783" y="41567"/>
                    </a:cubicBezTo>
                    <a:cubicBezTo>
                      <a:pt x="32120" y="41567"/>
                      <a:pt x="41567" y="32120"/>
                      <a:pt x="41567" y="20784"/>
                    </a:cubicBezTo>
                    <a:cubicBezTo>
                      <a:pt x="42197" y="9447"/>
                      <a:pt x="32749" y="0"/>
                      <a:pt x="20783" y="0"/>
                    </a:cubicBezTo>
                    <a:lnTo>
                      <a:pt x="20783" y="0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241" name="Forma Livre: Forma 240">
              <a:extLst>
                <a:ext uri="{FF2B5EF4-FFF2-40B4-BE49-F238E27FC236}">
                  <a16:creationId xmlns:a16="http://schemas.microsoft.com/office/drawing/2014/main" id="{4504FE28-F62D-4BFA-A7F0-E1C89E119E5C}"/>
                </a:ext>
              </a:extLst>
            </p:cNvPr>
            <p:cNvSpPr/>
            <p:nvPr/>
          </p:nvSpPr>
          <p:spPr>
            <a:xfrm>
              <a:off x="5377393" y="4814323"/>
              <a:ext cx="367805" cy="16374"/>
            </a:xfrm>
            <a:custGeom>
              <a:avLst/>
              <a:gdLst>
                <a:gd name="connsiteX0" fmla="*/ 359618 w 367805"/>
                <a:gd name="connsiteY0" fmla="*/ 16375 h 16374"/>
                <a:gd name="connsiteX1" fmla="*/ 8187 w 367805"/>
                <a:gd name="connsiteY1" fmla="*/ 16375 h 16374"/>
                <a:gd name="connsiteX2" fmla="*/ 0 w 367805"/>
                <a:gd name="connsiteY2" fmla="*/ 8187 h 16374"/>
                <a:gd name="connsiteX3" fmla="*/ 8187 w 367805"/>
                <a:gd name="connsiteY3" fmla="*/ 0 h 16374"/>
                <a:gd name="connsiteX4" fmla="*/ 359618 w 367805"/>
                <a:gd name="connsiteY4" fmla="*/ 0 h 16374"/>
                <a:gd name="connsiteX5" fmla="*/ 367805 w 367805"/>
                <a:gd name="connsiteY5" fmla="*/ 8187 h 16374"/>
                <a:gd name="connsiteX6" fmla="*/ 359618 w 367805"/>
                <a:gd name="connsiteY6" fmla="*/ 16375 h 16374"/>
                <a:gd name="connsiteX7" fmla="*/ 359618 w 367805"/>
                <a:gd name="connsiteY7" fmla="*/ 16375 h 1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7805" h="16374">
                  <a:moveTo>
                    <a:pt x="359618" y="16375"/>
                  </a:moveTo>
                  <a:lnTo>
                    <a:pt x="8187" y="16375"/>
                  </a:lnTo>
                  <a:cubicBezTo>
                    <a:pt x="3779" y="16375"/>
                    <a:pt x="0" y="12596"/>
                    <a:pt x="0" y="8187"/>
                  </a:cubicBezTo>
                  <a:cubicBezTo>
                    <a:pt x="0" y="3779"/>
                    <a:pt x="3779" y="0"/>
                    <a:pt x="8187" y="0"/>
                  </a:cubicBezTo>
                  <a:lnTo>
                    <a:pt x="359618" y="0"/>
                  </a:lnTo>
                  <a:cubicBezTo>
                    <a:pt x="364027" y="0"/>
                    <a:pt x="367805" y="3779"/>
                    <a:pt x="367805" y="8187"/>
                  </a:cubicBezTo>
                  <a:cubicBezTo>
                    <a:pt x="367805" y="13226"/>
                    <a:pt x="364027" y="16375"/>
                    <a:pt x="359618" y="16375"/>
                  </a:cubicBezTo>
                  <a:lnTo>
                    <a:pt x="359618" y="16375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242" name="Gráfico 2">
              <a:extLst>
                <a:ext uri="{FF2B5EF4-FFF2-40B4-BE49-F238E27FC236}">
                  <a16:creationId xmlns:a16="http://schemas.microsoft.com/office/drawing/2014/main" id="{A475B8DB-D93F-4DA6-8335-80171E5C5B8D}"/>
                </a:ext>
              </a:extLst>
            </p:cNvPr>
            <p:cNvGrpSpPr/>
            <p:nvPr/>
          </p:nvGrpSpPr>
          <p:grpSpPr>
            <a:xfrm>
              <a:off x="5456118" y="4818731"/>
              <a:ext cx="210354" cy="216022"/>
              <a:chOff x="5456118" y="4818731"/>
              <a:chExt cx="210354" cy="216022"/>
            </a:xfrm>
            <a:grpFill/>
          </p:grpSpPr>
          <p:sp>
            <p:nvSpPr>
              <p:cNvPr id="243" name="Forma Livre: Forma 242">
                <a:extLst>
                  <a:ext uri="{FF2B5EF4-FFF2-40B4-BE49-F238E27FC236}">
                    <a16:creationId xmlns:a16="http://schemas.microsoft.com/office/drawing/2014/main" id="{39612CFD-923F-4AE5-A9F8-1BA20D14BD61}"/>
                  </a:ext>
                </a:extLst>
              </p:cNvPr>
              <p:cNvSpPr/>
              <p:nvPr/>
            </p:nvSpPr>
            <p:spPr>
              <a:xfrm>
                <a:off x="5653877" y="4818731"/>
                <a:ext cx="12596" cy="216022"/>
              </a:xfrm>
              <a:custGeom>
                <a:avLst/>
                <a:gdLst>
                  <a:gd name="connsiteX0" fmla="*/ 6298 w 12596"/>
                  <a:gd name="connsiteY0" fmla="*/ 216023 h 216022"/>
                  <a:gd name="connsiteX1" fmla="*/ 0 w 12596"/>
                  <a:gd name="connsiteY1" fmla="*/ 209725 h 216022"/>
                  <a:gd name="connsiteX2" fmla="*/ 0 w 12596"/>
                  <a:gd name="connsiteY2" fmla="*/ 6298 h 216022"/>
                  <a:gd name="connsiteX3" fmla="*/ 6298 w 12596"/>
                  <a:gd name="connsiteY3" fmla="*/ 0 h 216022"/>
                  <a:gd name="connsiteX4" fmla="*/ 12596 w 12596"/>
                  <a:gd name="connsiteY4" fmla="*/ 6298 h 216022"/>
                  <a:gd name="connsiteX5" fmla="*/ 12596 w 12596"/>
                  <a:gd name="connsiteY5" fmla="*/ 209725 h 216022"/>
                  <a:gd name="connsiteX6" fmla="*/ 6298 w 12596"/>
                  <a:gd name="connsiteY6" fmla="*/ 216023 h 216022"/>
                  <a:gd name="connsiteX7" fmla="*/ 6298 w 12596"/>
                  <a:gd name="connsiteY7" fmla="*/ 216023 h 216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596" h="216022">
                    <a:moveTo>
                      <a:pt x="6298" y="216023"/>
                    </a:moveTo>
                    <a:cubicBezTo>
                      <a:pt x="3149" y="216023"/>
                      <a:pt x="0" y="213503"/>
                      <a:pt x="0" y="209725"/>
                    </a:cubicBezTo>
                    <a:lnTo>
                      <a:pt x="0" y="6298"/>
                    </a:lnTo>
                    <a:cubicBezTo>
                      <a:pt x="0" y="3149"/>
                      <a:pt x="2519" y="0"/>
                      <a:pt x="6298" y="0"/>
                    </a:cubicBezTo>
                    <a:cubicBezTo>
                      <a:pt x="9447" y="0"/>
                      <a:pt x="12596" y="2519"/>
                      <a:pt x="12596" y="6298"/>
                    </a:cubicBezTo>
                    <a:lnTo>
                      <a:pt x="12596" y="209725"/>
                    </a:lnTo>
                    <a:cubicBezTo>
                      <a:pt x="12596" y="213503"/>
                      <a:pt x="9447" y="216023"/>
                      <a:pt x="6298" y="216023"/>
                    </a:cubicBezTo>
                    <a:lnTo>
                      <a:pt x="6298" y="216023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44" name="Forma Livre: Forma 243">
                <a:extLst>
                  <a:ext uri="{FF2B5EF4-FFF2-40B4-BE49-F238E27FC236}">
                    <a16:creationId xmlns:a16="http://schemas.microsoft.com/office/drawing/2014/main" id="{CD48D25A-4405-4458-B9F5-E8A6EA24407B}"/>
                  </a:ext>
                </a:extLst>
              </p:cNvPr>
              <p:cNvSpPr/>
              <p:nvPr/>
            </p:nvSpPr>
            <p:spPr>
              <a:xfrm>
                <a:off x="5456118" y="4818731"/>
                <a:ext cx="12596" cy="216022"/>
              </a:xfrm>
              <a:custGeom>
                <a:avLst/>
                <a:gdLst>
                  <a:gd name="connsiteX0" fmla="*/ 6298 w 12596"/>
                  <a:gd name="connsiteY0" fmla="*/ 216023 h 216022"/>
                  <a:gd name="connsiteX1" fmla="*/ 0 w 12596"/>
                  <a:gd name="connsiteY1" fmla="*/ 209725 h 216022"/>
                  <a:gd name="connsiteX2" fmla="*/ 0 w 12596"/>
                  <a:gd name="connsiteY2" fmla="*/ 6298 h 216022"/>
                  <a:gd name="connsiteX3" fmla="*/ 6298 w 12596"/>
                  <a:gd name="connsiteY3" fmla="*/ 0 h 216022"/>
                  <a:gd name="connsiteX4" fmla="*/ 12596 w 12596"/>
                  <a:gd name="connsiteY4" fmla="*/ 6298 h 216022"/>
                  <a:gd name="connsiteX5" fmla="*/ 12596 w 12596"/>
                  <a:gd name="connsiteY5" fmla="*/ 209725 h 216022"/>
                  <a:gd name="connsiteX6" fmla="*/ 6298 w 12596"/>
                  <a:gd name="connsiteY6" fmla="*/ 216023 h 216022"/>
                  <a:gd name="connsiteX7" fmla="*/ 6298 w 12596"/>
                  <a:gd name="connsiteY7" fmla="*/ 216023 h 216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596" h="216022">
                    <a:moveTo>
                      <a:pt x="6298" y="216023"/>
                    </a:moveTo>
                    <a:cubicBezTo>
                      <a:pt x="3149" y="216023"/>
                      <a:pt x="0" y="213503"/>
                      <a:pt x="0" y="209725"/>
                    </a:cubicBezTo>
                    <a:lnTo>
                      <a:pt x="0" y="6298"/>
                    </a:lnTo>
                    <a:cubicBezTo>
                      <a:pt x="0" y="3149"/>
                      <a:pt x="2519" y="0"/>
                      <a:pt x="6298" y="0"/>
                    </a:cubicBezTo>
                    <a:cubicBezTo>
                      <a:pt x="9447" y="0"/>
                      <a:pt x="12596" y="2519"/>
                      <a:pt x="12596" y="6298"/>
                    </a:cubicBezTo>
                    <a:lnTo>
                      <a:pt x="12596" y="209725"/>
                    </a:lnTo>
                    <a:cubicBezTo>
                      <a:pt x="12596" y="213503"/>
                      <a:pt x="10077" y="216023"/>
                      <a:pt x="6298" y="216023"/>
                    </a:cubicBezTo>
                    <a:lnTo>
                      <a:pt x="6298" y="216023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245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6393266" y="4648054"/>
            <a:ext cx="396146" cy="396146"/>
            <a:chOff x="6393266" y="4648054"/>
            <a:chExt cx="396146" cy="396146"/>
          </a:xfrm>
          <a:solidFill>
            <a:srgbClr val="B1B1A1"/>
          </a:solidFill>
        </p:grpSpPr>
        <p:grpSp>
          <p:nvGrpSpPr>
            <p:cNvPr id="246" name="Gráfico 2">
              <a:extLst>
                <a:ext uri="{FF2B5EF4-FFF2-40B4-BE49-F238E27FC236}">
                  <a16:creationId xmlns:a16="http://schemas.microsoft.com/office/drawing/2014/main" id="{A475B8DB-D93F-4DA6-8335-80171E5C5B8D}"/>
                </a:ext>
              </a:extLst>
            </p:cNvPr>
            <p:cNvGrpSpPr/>
            <p:nvPr/>
          </p:nvGrpSpPr>
          <p:grpSpPr>
            <a:xfrm>
              <a:off x="6393266" y="4648054"/>
              <a:ext cx="396146" cy="396146"/>
              <a:chOff x="6393266" y="4648054"/>
              <a:chExt cx="396146" cy="396146"/>
            </a:xfrm>
            <a:grpFill/>
          </p:grpSpPr>
          <p:sp>
            <p:nvSpPr>
              <p:cNvPr id="247" name="Forma Livre: Forma 246">
                <a:extLst>
                  <a:ext uri="{FF2B5EF4-FFF2-40B4-BE49-F238E27FC236}">
                    <a16:creationId xmlns:a16="http://schemas.microsoft.com/office/drawing/2014/main" id="{F3B28523-D1F0-4C80-96EA-FBB38723EC15}"/>
                  </a:ext>
                </a:extLst>
              </p:cNvPr>
              <p:cNvSpPr/>
              <p:nvPr/>
            </p:nvSpPr>
            <p:spPr>
              <a:xfrm>
                <a:off x="6393266" y="4648054"/>
                <a:ext cx="396146" cy="396146"/>
              </a:xfrm>
              <a:custGeom>
                <a:avLst/>
                <a:gdLst>
                  <a:gd name="connsiteX0" fmla="*/ 379772 w 396146"/>
                  <a:gd name="connsiteY0" fmla="*/ 396147 h 396146"/>
                  <a:gd name="connsiteX1" fmla="*/ 16375 w 396146"/>
                  <a:gd name="connsiteY1" fmla="*/ 396147 h 396146"/>
                  <a:gd name="connsiteX2" fmla="*/ 0 w 396146"/>
                  <a:gd name="connsiteY2" fmla="*/ 379772 h 396146"/>
                  <a:gd name="connsiteX3" fmla="*/ 0 w 396146"/>
                  <a:gd name="connsiteY3" fmla="*/ 16375 h 396146"/>
                  <a:gd name="connsiteX4" fmla="*/ 16375 w 396146"/>
                  <a:gd name="connsiteY4" fmla="*/ 0 h 396146"/>
                  <a:gd name="connsiteX5" fmla="*/ 379772 w 396146"/>
                  <a:gd name="connsiteY5" fmla="*/ 0 h 396146"/>
                  <a:gd name="connsiteX6" fmla="*/ 396146 w 396146"/>
                  <a:gd name="connsiteY6" fmla="*/ 16375 h 396146"/>
                  <a:gd name="connsiteX7" fmla="*/ 396146 w 396146"/>
                  <a:gd name="connsiteY7" fmla="*/ 379772 h 396146"/>
                  <a:gd name="connsiteX8" fmla="*/ 379772 w 396146"/>
                  <a:gd name="connsiteY8" fmla="*/ 396147 h 396146"/>
                  <a:gd name="connsiteX9" fmla="*/ 379772 w 396146"/>
                  <a:gd name="connsiteY9" fmla="*/ 396147 h 396146"/>
                  <a:gd name="connsiteX10" fmla="*/ 32750 w 396146"/>
                  <a:gd name="connsiteY10" fmla="*/ 362767 h 396146"/>
                  <a:gd name="connsiteX11" fmla="*/ 362767 w 396146"/>
                  <a:gd name="connsiteY11" fmla="*/ 362767 h 396146"/>
                  <a:gd name="connsiteX12" fmla="*/ 362767 w 396146"/>
                  <a:gd name="connsiteY12" fmla="*/ 32750 h 396146"/>
                  <a:gd name="connsiteX13" fmla="*/ 32750 w 396146"/>
                  <a:gd name="connsiteY13" fmla="*/ 32750 h 396146"/>
                  <a:gd name="connsiteX14" fmla="*/ 32750 w 396146"/>
                  <a:gd name="connsiteY14" fmla="*/ 362767 h 396146"/>
                  <a:gd name="connsiteX15" fmla="*/ 32750 w 396146"/>
                  <a:gd name="connsiteY15" fmla="*/ 362767 h 396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96146" h="396146">
                    <a:moveTo>
                      <a:pt x="379772" y="396147"/>
                    </a:moveTo>
                    <a:lnTo>
                      <a:pt x="16375" y="396147"/>
                    </a:lnTo>
                    <a:cubicBezTo>
                      <a:pt x="6928" y="396147"/>
                      <a:pt x="0" y="388589"/>
                      <a:pt x="0" y="379772"/>
                    </a:cubicBezTo>
                    <a:lnTo>
                      <a:pt x="0" y="16375"/>
                    </a:lnTo>
                    <a:cubicBezTo>
                      <a:pt x="0" y="6928"/>
                      <a:pt x="7558" y="0"/>
                      <a:pt x="16375" y="0"/>
                    </a:cubicBezTo>
                    <a:lnTo>
                      <a:pt x="379772" y="0"/>
                    </a:lnTo>
                    <a:cubicBezTo>
                      <a:pt x="389219" y="0"/>
                      <a:pt x="396146" y="7558"/>
                      <a:pt x="396146" y="16375"/>
                    </a:cubicBezTo>
                    <a:lnTo>
                      <a:pt x="396146" y="379772"/>
                    </a:lnTo>
                    <a:cubicBezTo>
                      <a:pt x="396146" y="388589"/>
                      <a:pt x="388589" y="396147"/>
                      <a:pt x="379772" y="396147"/>
                    </a:cubicBezTo>
                    <a:lnTo>
                      <a:pt x="379772" y="396147"/>
                    </a:lnTo>
                    <a:close/>
                    <a:moveTo>
                      <a:pt x="32750" y="362767"/>
                    </a:moveTo>
                    <a:lnTo>
                      <a:pt x="362767" y="362767"/>
                    </a:lnTo>
                    <a:lnTo>
                      <a:pt x="362767" y="32750"/>
                    </a:lnTo>
                    <a:lnTo>
                      <a:pt x="32750" y="32750"/>
                    </a:lnTo>
                    <a:lnTo>
                      <a:pt x="32750" y="362767"/>
                    </a:lnTo>
                    <a:lnTo>
                      <a:pt x="32750" y="362767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48" name="Forma Livre: Forma 247">
                <a:extLst>
                  <a:ext uri="{FF2B5EF4-FFF2-40B4-BE49-F238E27FC236}">
                    <a16:creationId xmlns:a16="http://schemas.microsoft.com/office/drawing/2014/main" id="{C479A8C1-6D6B-4026-B400-3729565B737A}"/>
                  </a:ext>
                </a:extLst>
              </p:cNvPr>
              <p:cNvSpPr/>
              <p:nvPr/>
            </p:nvSpPr>
            <p:spPr>
              <a:xfrm>
                <a:off x="6407122" y="4753232"/>
                <a:ext cx="367805" cy="16375"/>
              </a:xfrm>
              <a:custGeom>
                <a:avLst/>
                <a:gdLst>
                  <a:gd name="connsiteX0" fmla="*/ 359618 w 367805"/>
                  <a:gd name="connsiteY0" fmla="*/ 16375 h 16375"/>
                  <a:gd name="connsiteX1" fmla="*/ 8187 w 367805"/>
                  <a:gd name="connsiteY1" fmla="*/ 16375 h 16375"/>
                  <a:gd name="connsiteX2" fmla="*/ 0 w 367805"/>
                  <a:gd name="connsiteY2" fmla="*/ 8187 h 16375"/>
                  <a:gd name="connsiteX3" fmla="*/ 8187 w 367805"/>
                  <a:gd name="connsiteY3" fmla="*/ 0 h 16375"/>
                  <a:gd name="connsiteX4" fmla="*/ 359618 w 367805"/>
                  <a:gd name="connsiteY4" fmla="*/ 0 h 16375"/>
                  <a:gd name="connsiteX5" fmla="*/ 367805 w 367805"/>
                  <a:gd name="connsiteY5" fmla="*/ 8187 h 16375"/>
                  <a:gd name="connsiteX6" fmla="*/ 359618 w 367805"/>
                  <a:gd name="connsiteY6" fmla="*/ 16375 h 16375"/>
                  <a:gd name="connsiteX7" fmla="*/ 359618 w 367805"/>
                  <a:gd name="connsiteY7" fmla="*/ 16375 h 16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67805" h="16375">
                    <a:moveTo>
                      <a:pt x="359618" y="16375"/>
                    </a:moveTo>
                    <a:lnTo>
                      <a:pt x="8187" y="16375"/>
                    </a:lnTo>
                    <a:cubicBezTo>
                      <a:pt x="3779" y="16375"/>
                      <a:pt x="0" y="12596"/>
                      <a:pt x="0" y="8187"/>
                    </a:cubicBezTo>
                    <a:cubicBezTo>
                      <a:pt x="0" y="3779"/>
                      <a:pt x="3779" y="0"/>
                      <a:pt x="8187" y="0"/>
                    </a:cubicBezTo>
                    <a:lnTo>
                      <a:pt x="359618" y="0"/>
                    </a:lnTo>
                    <a:cubicBezTo>
                      <a:pt x="364027" y="0"/>
                      <a:pt x="367805" y="3779"/>
                      <a:pt x="367805" y="8187"/>
                    </a:cubicBezTo>
                    <a:cubicBezTo>
                      <a:pt x="367805" y="12596"/>
                      <a:pt x="364027" y="16375"/>
                      <a:pt x="359618" y="16375"/>
                    </a:cubicBezTo>
                    <a:lnTo>
                      <a:pt x="359618" y="16375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49" name="Forma Livre: Forma 248">
                <a:extLst>
                  <a:ext uri="{FF2B5EF4-FFF2-40B4-BE49-F238E27FC236}">
                    <a16:creationId xmlns:a16="http://schemas.microsoft.com/office/drawing/2014/main" id="{AE4E3951-8D78-4DAC-A822-096DA8171A61}"/>
                  </a:ext>
                </a:extLst>
              </p:cNvPr>
              <p:cNvSpPr/>
              <p:nvPr/>
            </p:nvSpPr>
            <p:spPr>
              <a:xfrm>
                <a:off x="6448060" y="4696549"/>
                <a:ext cx="41566" cy="41567"/>
              </a:xfrm>
              <a:custGeom>
                <a:avLst/>
                <a:gdLst>
                  <a:gd name="connsiteX0" fmla="*/ 20783 w 41566"/>
                  <a:gd name="connsiteY0" fmla="*/ 0 h 41567"/>
                  <a:gd name="connsiteX1" fmla="*/ 0 w 41566"/>
                  <a:gd name="connsiteY1" fmla="*/ 20783 h 41567"/>
                  <a:gd name="connsiteX2" fmla="*/ 20783 w 41566"/>
                  <a:gd name="connsiteY2" fmla="*/ 41567 h 41567"/>
                  <a:gd name="connsiteX3" fmla="*/ 41567 w 41566"/>
                  <a:gd name="connsiteY3" fmla="*/ 20783 h 41567"/>
                  <a:gd name="connsiteX4" fmla="*/ 20783 w 41566"/>
                  <a:gd name="connsiteY4" fmla="*/ 0 h 41567"/>
                  <a:gd name="connsiteX5" fmla="*/ 20783 w 41566"/>
                  <a:gd name="connsiteY5" fmla="*/ 0 h 41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566" h="41567">
                    <a:moveTo>
                      <a:pt x="20783" y="0"/>
                    </a:moveTo>
                    <a:cubicBezTo>
                      <a:pt x="9447" y="0"/>
                      <a:pt x="0" y="9447"/>
                      <a:pt x="0" y="20783"/>
                    </a:cubicBezTo>
                    <a:cubicBezTo>
                      <a:pt x="0" y="32120"/>
                      <a:pt x="9447" y="41567"/>
                      <a:pt x="20783" y="41567"/>
                    </a:cubicBezTo>
                    <a:cubicBezTo>
                      <a:pt x="32120" y="41567"/>
                      <a:pt x="41567" y="32120"/>
                      <a:pt x="41567" y="20783"/>
                    </a:cubicBezTo>
                    <a:cubicBezTo>
                      <a:pt x="41567" y="9447"/>
                      <a:pt x="32120" y="0"/>
                      <a:pt x="20783" y="0"/>
                    </a:cubicBezTo>
                    <a:lnTo>
                      <a:pt x="20783" y="0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50" name="Forma Livre: Forma 249">
                <a:extLst>
                  <a:ext uri="{FF2B5EF4-FFF2-40B4-BE49-F238E27FC236}">
                    <a16:creationId xmlns:a16="http://schemas.microsoft.com/office/drawing/2014/main" id="{A415804D-4439-4098-81A8-97EECC3C3815}"/>
                  </a:ext>
                </a:extLst>
              </p:cNvPr>
              <p:cNvSpPr/>
              <p:nvPr/>
            </p:nvSpPr>
            <p:spPr>
              <a:xfrm>
                <a:off x="6504742" y="4696549"/>
                <a:ext cx="41566" cy="41567"/>
              </a:xfrm>
              <a:custGeom>
                <a:avLst/>
                <a:gdLst>
                  <a:gd name="connsiteX0" fmla="*/ 20783 w 41566"/>
                  <a:gd name="connsiteY0" fmla="*/ 0 h 41567"/>
                  <a:gd name="connsiteX1" fmla="*/ 0 w 41566"/>
                  <a:gd name="connsiteY1" fmla="*/ 20783 h 41567"/>
                  <a:gd name="connsiteX2" fmla="*/ 20783 w 41566"/>
                  <a:gd name="connsiteY2" fmla="*/ 41567 h 41567"/>
                  <a:gd name="connsiteX3" fmla="*/ 41567 w 41566"/>
                  <a:gd name="connsiteY3" fmla="*/ 20783 h 41567"/>
                  <a:gd name="connsiteX4" fmla="*/ 20783 w 41566"/>
                  <a:gd name="connsiteY4" fmla="*/ 0 h 41567"/>
                  <a:gd name="connsiteX5" fmla="*/ 20783 w 41566"/>
                  <a:gd name="connsiteY5" fmla="*/ 0 h 41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566" h="41567">
                    <a:moveTo>
                      <a:pt x="20783" y="0"/>
                    </a:moveTo>
                    <a:cubicBezTo>
                      <a:pt x="9447" y="0"/>
                      <a:pt x="0" y="9447"/>
                      <a:pt x="0" y="20783"/>
                    </a:cubicBezTo>
                    <a:cubicBezTo>
                      <a:pt x="0" y="32120"/>
                      <a:pt x="9447" y="41567"/>
                      <a:pt x="20783" y="41567"/>
                    </a:cubicBezTo>
                    <a:cubicBezTo>
                      <a:pt x="32120" y="41567"/>
                      <a:pt x="41567" y="32120"/>
                      <a:pt x="41567" y="20783"/>
                    </a:cubicBezTo>
                    <a:cubicBezTo>
                      <a:pt x="41567" y="9447"/>
                      <a:pt x="32120" y="0"/>
                      <a:pt x="20783" y="0"/>
                    </a:cubicBezTo>
                    <a:lnTo>
                      <a:pt x="20783" y="0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51" name="Forma Livre: Forma 250">
                <a:extLst>
                  <a:ext uri="{FF2B5EF4-FFF2-40B4-BE49-F238E27FC236}">
                    <a16:creationId xmlns:a16="http://schemas.microsoft.com/office/drawing/2014/main" id="{B1740655-9B44-4366-8F3C-6E2E935F4452}"/>
                  </a:ext>
                </a:extLst>
              </p:cNvPr>
              <p:cNvSpPr/>
              <p:nvPr/>
            </p:nvSpPr>
            <p:spPr>
              <a:xfrm>
                <a:off x="6561424" y="4696549"/>
                <a:ext cx="41596" cy="41567"/>
              </a:xfrm>
              <a:custGeom>
                <a:avLst/>
                <a:gdLst>
                  <a:gd name="connsiteX0" fmla="*/ 20783 w 41596"/>
                  <a:gd name="connsiteY0" fmla="*/ 0 h 41567"/>
                  <a:gd name="connsiteX1" fmla="*/ 0 w 41596"/>
                  <a:gd name="connsiteY1" fmla="*/ 20783 h 41567"/>
                  <a:gd name="connsiteX2" fmla="*/ 20783 w 41596"/>
                  <a:gd name="connsiteY2" fmla="*/ 41567 h 41567"/>
                  <a:gd name="connsiteX3" fmla="*/ 41567 w 41596"/>
                  <a:gd name="connsiteY3" fmla="*/ 20783 h 41567"/>
                  <a:gd name="connsiteX4" fmla="*/ 20783 w 41596"/>
                  <a:gd name="connsiteY4" fmla="*/ 0 h 41567"/>
                  <a:gd name="connsiteX5" fmla="*/ 20783 w 41596"/>
                  <a:gd name="connsiteY5" fmla="*/ 0 h 41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596" h="41567">
                    <a:moveTo>
                      <a:pt x="20783" y="0"/>
                    </a:moveTo>
                    <a:cubicBezTo>
                      <a:pt x="9447" y="0"/>
                      <a:pt x="0" y="9447"/>
                      <a:pt x="0" y="20783"/>
                    </a:cubicBezTo>
                    <a:cubicBezTo>
                      <a:pt x="0" y="32120"/>
                      <a:pt x="9447" y="41567"/>
                      <a:pt x="20783" y="41567"/>
                    </a:cubicBezTo>
                    <a:cubicBezTo>
                      <a:pt x="32120" y="41567"/>
                      <a:pt x="41567" y="32120"/>
                      <a:pt x="41567" y="20783"/>
                    </a:cubicBezTo>
                    <a:cubicBezTo>
                      <a:pt x="42197" y="9447"/>
                      <a:pt x="32749" y="0"/>
                      <a:pt x="20783" y="0"/>
                    </a:cubicBezTo>
                    <a:lnTo>
                      <a:pt x="20783" y="0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252" name="Gráfico 2">
              <a:extLst>
                <a:ext uri="{FF2B5EF4-FFF2-40B4-BE49-F238E27FC236}">
                  <a16:creationId xmlns:a16="http://schemas.microsoft.com/office/drawing/2014/main" id="{A475B8DB-D93F-4DA6-8335-80171E5C5B8D}"/>
                </a:ext>
              </a:extLst>
            </p:cNvPr>
            <p:cNvGrpSpPr/>
            <p:nvPr/>
          </p:nvGrpSpPr>
          <p:grpSpPr>
            <a:xfrm>
              <a:off x="6521746" y="4819361"/>
              <a:ext cx="139186" cy="139186"/>
              <a:chOff x="6521746" y="4819361"/>
              <a:chExt cx="139186" cy="139186"/>
            </a:xfrm>
            <a:grpFill/>
          </p:grpSpPr>
          <p:sp>
            <p:nvSpPr>
              <p:cNvPr id="253" name="Forma Livre: Forma 252">
                <a:extLst>
                  <a:ext uri="{FF2B5EF4-FFF2-40B4-BE49-F238E27FC236}">
                    <a16:creationId xmlns:a16="http://schemas.microsoft.com/office/drawing/2014/main" id="{2F1B1BA8-7F7A-4420-AF93-62711BBAC271}"/>
                  </a:ext>
                </a:extLst>
              </p:cNvPr>
              <p:cNvSpPr/>
              <p:nvPr/>
            </p:nvSpPr>
            <p:spPr>
              <a:xfrm>
                <a:off x="6521746" y="4872265"/>
                <a:ext cx="139186" cy="32749"/>
              </a:xfrm>
              <a:custGeom>
                <a:avLst/>
                <a:gdLst>
                  <a:gd name="connsiteX0" fmla="*/ 122812 w 139186"/>
                  <a:gd name="connsiteY0" fmla="*/ 32750 h 32749"/>
                  <a:gd name="connsiteX1" fmla="*/ 16375 w 139186"/>
                  <a:gd name="connsiteY1" fmla="*/ 32750 h 32749"/>
                  <a:gd name="connsiteX2" fmla="*/ 0 w 139186"/>
                  <a:gd name="connsiteY2" fmla="*/ 16375 h 32749"/>
                  <a:gd name="connsiteX3" fmla="*/ 16375 w 139186"/>
                  <a:gd name="connsiteY3" fmla="*/ 0 h 32749"/>
                  <a:gd name="connsiteX4" fmla="*/ 122812 w 139186"/>
                  <a:gd name="connsiteY4" fmla="*/ 0 h 32749"/>
                  <a:gd name="connsiteX5" fmla="*/ 139187 w 139186"/>
                  <a:gd name="connsiteY5" fmla="*/ 16375 h 32749"/>
                  <a:gd name="connsiteX6" fmla="*/ 122812 w 139186"/>
                  <a:gd name="connsiteY6" fmla="*/ 32750 h 32749"/>
                  <a:gd name="connsiteX7" fmla="*/ 122812 w 139186"/>
                  <a:gd name="connsiteY7" fmla="*/ 32750 h 32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9186" h="32749">
                    <a:moveTo>
                      <a:pt x="122812" y="32750"/>
                    </a:moveTo>
                    <a:lnTo>
                      <a:pt x="16375" y="32750"/>
                    </a:lnTo>
                    <a:cubicBezTo>
                      <a:pt x="6928" y="32750"/>
                      <a:pt x="0" y="25192"/>
                      <a:pt x="0" y="16375"/>
                    </a:cubicBezTo>
                    <a:cubicBezTo>
                      <a:pt x="0" y="6928"/>
                      <a:pt x="7558" y="0"/>
                      <a:pt x="16375" y="0"/>
                    </a:cubicBezTo>
                    <a:lnTo>
                      <a:pt x="122812" y="0"/>
                    </a:lnTo>
                    <a:cubicBezTo>
                      <a:pt x="132259" y="0"/>
                      <a:pt x="139187" y="7558"/>
                      <a:pt x="139187" y="16375"/>
                    </a:cubicBezTo>
                    <a:cubicBezTo>
                      <a:pt x="139187" y="25822"/>
                      <a:pt x="131629" y="32750"/>
                      <a:pt x="122812" y="32750"/>
                    </a:cubicBezTo>
                    <a:lnTo>
                      <a:pt x="122812" y="32750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54" name="Forma Livre: Forma 253">
                <a:extLst>
                  <a:ext uri="{FF2B5EF4-FFF2-40B4-BE49-F238E27FC236}">
                    <a16:creationId xmlns:a16="http://schemas.microsoft.com/office/drawing/2014/main" id="{79B13C67-3D77-4999-A499-D618B8DF63C9}"/>
                  </a:ext>
                </a:extLst>
              </p:cNvPr>
              <p:cNvSpPr/>
              <p:nvPr/>
            </p:nvSpPr>
            <p:spPr>
              <a:xfrm>
                <a:off x="6574650" y="4819361"/>
                <a:ext cx="32786" cy="139186"/>
              </a:xfrm>
              <a:custGeom>
                <a:avLst/>
                <a:gdLst>
                  <a:gd name="connsiteX0" fmla="*/ 16375 w 32786"/>
                  <a:gd name="connsiteY0" fmla="*/ 139187 h 139186"/>
                  <a:gd name="connsiteX1" fmla="*/ 0 w 32786"/>
                  <a:gd name="connsiteY1" fmla="*/ 122812 h 139186"/>
                  <a:gd name="connsiteX2" fmla="*/ 0 w 32786"/>
                  <a:gd name="connsiteY2" fmla="*/ 16375 h 139186"/>
                  <a:gd name="connsiteX3" fmla="*/ 16375 w 32786"/>
                  <a:gd name="connsiteY3" fmla="*/ 0 h 139186"/>
                  <a:gd name="connsiteX4" fmla="*/ 32750 w 32786"/>
                  <a:gd name="connsiteY4" fmla="*/ 16375 h 139186"/>
                  <a:gd name="connsiteX5" fmla="*/ 32750 w 32786"/>
                  <a:gd name="connsiteY5" fmla="*/ 122812 h 139186"/>
                  <a:gd name="connsiteX6" fmla="*/ 16375 w 32786"/>
                  <a:gd name="connsiteY6" fmla="*/ 139187 h 139186"/>
                  <a:gd name="connsiteX7" fmla="*/ 16375 w 32786"/>
                  <a:gd name="connsiteY7" fmla="*/ 139187 h 139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2786" h="139186">
                    <a:moveTo>
                      <a:pt x="16375" y="139187"/>
                    </a:moveTo>
                    <a:cubicBezTo>
                      <a:pt x="6928" y="139187"/>
                      <a:pt x="0" y="131629"/>
                      <a:pt x="0" y="122812"/>
                    </a:cubicBezTo>
                    <a:lnTo>
                      <a:pt x="0" y="16375"/>
                    </a:lnTo>
                    <a:cubicBezTo>
                      <a:pt x="0" y="6928"/>
                      <a:pt x="7558" y="0"/>
                      <a:pt x="16375" y="0"/>
                    </a:cubicBezTo>
                    <a:cubicBezTo>
                      <a:pt x="25822" y="0"/>
                      <a:pt x="32750" y="7558"/>
                      <a:pt x="32750" y="16375"/>
                    </a:cubicBezTo>
                    <a:lnTo>
                      <a:pt x="32750" y="122812"/>
                    </a:lnTo>
                    <a:cubicBezTo>
                      <a:pt x="33380" y="131629"/>
                      <a:pt x="25822" y="139187"/>
                      <a:pt x="16375" y="139187"/>
                    </a:cubicBezTo>
                    <a:lnTo>
                      <a:pt x="16375" y="139187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255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8433831" y="4648054"/>
            <a:ext cx="396183" cy="396146"/>
            <a:chOff x="8433831" y="4648054"/>
            <a:chExt cx="396183" cy="396146"/>
          </a:xfrm>
          <a:solidFill>
            <a:srgbClr val="B1B1A1"/>
          </a:solidFill>
        </p:grpSpPr>
        <p:grpSp>
          <p:nvGrpSpPr>
            <p:cNvPr id="256" name="Gráfico 2">
              <a:extLst>
                <a:ext uri="{FF2B5EF4-FFF2-40B4-BE49-F238E27FC236}">
                  <a16:creationId xmlns:a16="http://schemas.microsoft.com/office/drawing/2014/main" id="{A475B8DB-D93F-4DA6-8335-80171E5C5B8D}"/>
                </a:ext>
              </a:extLst>
            </p:cNvPr>
            <p:cNvGrpSpPr/>
            <p:nvPr/>
          </p:nvGrpSpPr>
          <p:grpSpPr>
            <a:xfrm>
              <a:off x="8433831" y="4648054"/>
              <a:ext cx="396183" cy="396146"/>
              <a:chOff x="8433831" y="4648054"/>
              <a:chExt cx="396183" cy="396146"/>
            </a:xfrm>
            <a:grpFill/>
          </p:grpSpPr>
          <p:sp>
            <p:nvSpPr>
              <p:cNvPr id="257" name="Forma Livre: Forma 256">
                <a:extLst>
                  <a:ext uri="{FF2B5EF4-FFF2-40B4-BE49-F238E27FC236}">
                    <a16:creationId xmlns:a16="http://schemas.microsoft.com/office/drawing/2014/main" id="{8DE39F2F-1709-4792-B3C2-6DFA626E46F8}"/>
                  </a:ext>
                </a:extLst>
              </p:cNvPr>
              <p:cNvSpPr/>
              <p:nvPr/>
            </p:nvSpPr>
            <p:spPr>
              <a:xfrm>
                <a:off x="8433831" y="4648054"/>
                <a:ext cx="396183" cy="396146"/>
              </a:xfrm>
              <a:custGeom>
                <a:avLst/>
                <a:gdLst>
                  <a:gd name="connsiteX0" fmla="*/ 379772 w 396183"/>
                  <a:gd name="connsiteY0" fmla="*/ 396147 h 396146"/>
                  <a:gd name="connsiteX1" fmla="*/ 16376 w 396183"/>
                  <a:gd name="connsiteY1" fmla="*/ 396147 h 396146"/>
                  <a:gd name="connsiteX2" fmla="*/ 0 w 396183"/>
                  <a:gd name="connsiteY2" fmla="*/ 379772 h 396146"/>
                  <a:gd name="connsiteX3" fmla="*/ 0 w 396183"/>
                  <a:gd name="connsiteY3" fmla="*/ 16375 h 396146"/>
                  <a:gd name="connsiteX4" fmla="*/ 16376 w 396183"/>
                  <a:gd name="connsiteY4" fmla="*/ 0 h 396146"/>
                  <a:gd name="connsiteX5" fmla="*/ 379772 w 396183"/>
                  <a:gd name="connsiteY5" fmla="*/ 0 h 396146"/>
                  <a:gd name="connsiteX6" fmla="*/ 396147 w 396183"/>
                  <a:gd name="connsiteY6" fmla="*/ 16375 h 396146"/>
                  <a:gd name="connsiteX7" fmla="*/ 396147 w 396183"/>
                  <a:gd name="connsiteY7" fmla="*/ 379772 h 396146"/>
                  <a:gd name="connsiteX8" fmla="*/ 379772 w 396183"/>
                  <a:gd name="connsiteY8" fmla="*/ 396147 h 396146"/>
                  <a:gd name="connsiteX9" fmla="*/ 379772 w 396183"/>
                  <a:gd name="connsiteY9" fmla="*/ 396147 h 396146"/>
                  <a:gd name="connsiteX10" fmla="*/ 33380 w 396183"/>
                  <a:gd name="connsiteY10" fmla="*/ 362767 h 396146"/>
                  <a:gd name="connsiteX11" fmla="*/ 363397 w 396183"/>
                  <a:gd name="connsiteY11" fmla="*/ 362767 h 396146"/>
                  <a:gd name="connsiteX12" fmla="*/ 363397 w 396183"/>
                  <a:gd name="connsiteY12" fmla="*/ 32750 h 396146"/>
                  <a:gd name="connsiteX13" fmla="*/ 33380 w 396183"/>
                  <a:gd name="connsiteY13" fmla="*/ 32750 h 396146"/>
                  <a:gd name="connsiteX14" fmla="*/ 33380 w 396183"/>
                  <a:gd name="connsiteY14" fmla="*/ 362767 h 396146"/>
                  <a:gd name="connsiteX15" fmla="*/ 33380 w 396183"/>
                  <a:gd name="connsiteY15" fmla="*/ 362767 h 396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96183" h="396146">
                    <a:moveTo>
                      <a:pt x="379772" y="396147"/>
                    </a:moveTo>
                    <a:lnTo>
                      <a:pt x="16376" y="396147"/>
                    </a:lnTo>
                    <a:cubicBezTo>
                      <a:pt x="6928" y="396147"/>
                      <a:pt x="0" y="388589"/>
                      <a:pt x="0" y="379772"/>
                    </a:cubicBezTo>
                    <a:lnTo>
                      <a:pt x="0" y="16375"/>
                    </a:lnTo>
                    <a:cubicBezTo>
                      <a:pt x="0" y="6928"/>
                      <a:pt x="7558" y="0"/>
                      <a:pt x="16376" y="0"/>
                    </a:cubicBezTo>
                    <a:lnTo>
                      <a:pt x="379772" y="0"/>
                    </a:lnTo>
                    <a:cubicBezTo>
                      <a:pt x="389219" y="0"/>
                      <a:pt x="396147" y="7558"/>
                      <a:pt x="396147" y="16375"/>
                    </a:cubicBezTo>
                    <a:lnTo>
                      <a:pt x="396147" y="379772"/>
                    </a:lnTo>
                    <a:cubicBezTo>
                      <a:pt x="396776" y="388589"/>
                      <a:pt x="389219" y="396147"/>
                      <a:pt x="379772" y="396147"/>
                    </a:cubicBezTo>
                    <a:lnTo>
                      <a:pt x="379772" y="396147"/>
                    </a:lnTo>
                    <a:close/>
                    <a:moveTo>
                      <a:pt x="33380" y="362767"/>
                    </a:moveTo>
                    <a:lnTo>
                      <a:pt x="363397" y="362767"/>
                    </a:lnTo>
                    <a:lnTo>
                      <a:pt x="363397" y="32750"/>
                    </a:lnTo>
                    <a:lnTo>
                      <a:pt x="33380" y="32750"/>
                    </a:lnTo>
                    <a:lnTo>
                      <a:pt x="33380" y="362767"/>
                    </a:lnTo>
                    <a:lnTo>
                      <a:pt x="33380" y="362767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58" name="Forma Livre: Forma 257">
                <a:extLst>
                  <a:ext uri="{FF2B5EF4-FFF2-40B4-BE49-F238E27FC236}">
                    <a16:creationId xmlns:a16="http://schemas.microsoft.com/office/drawing/2014/main" id="{77B0E64A-EAC2-4F9E-84DE-439C8C9DCCF1}"/>
                  </a:ext>
                </a:extLst>
              </p:cNvPr>
              <p:cNvSpPr/>
              <p:nvPr/>
            </p:nvSpPr>
            <p:spPr>
              <a:xfrm>
                <a:off x="8448316" y="4753232"/>
                <a:ext cx="367805" cy="16375"/>
              </a:xfrm>
              <a:custGeom>
                <a:avLst/>
                <a:gdLst>
                  <a:gd name="connsiteX0" fmla="*/ 359618 w 367805"/>
                  <a:gd name="connsiteY0" fmla="*/ 16375 h 16375"/>
                  <a:gd name="connsiteX1" fmla="*/ 8188 w 367805"/>
                  <a:gd name="connsiteY1" fmla="*/ 16375 h 16375"/>
                  <a:gd name="connsiteX2" fmla="*/ 0 w 367805"/>
                  <a:gd name="connsiteY2" fmla="*/ 8187 h 16375"/>
                  <a:gd name="connsiteX3" fmla="*/ 8188 w 367805"/>
                  <a:gd name="connsiteY3" fmla="*/ 0 h 16375"/>
                  <a:gd name="connsiteX4" fmla="*/ 359618 w 367805"/>
                  <a:gd name="connsiteY4" fmla="*/ 0 h 16375"/>
                  <a:gd name="connsiteX5" fmla="*/ 367806 w 367805"/>
                  <a:gd name="connsiteY5" fmla="*/ 8187 h 16375"/>
                  <a:gd name="connsiteX6" fmla="*/ 359618 w 367805"/>
                  <a:gd name="connsiteY6" fmla="*/ 16375 h 16375"/>
                  <a:gd name="connsiteX7" fmla="*/ 359618 w 367805"/>
                  <a:gd name="connsiteY7" fmla="*/ 16375 h 16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67805" h="16375">
                    <a:moveTo>
                      <a:pt x="359618" y="16375"/>
                    </a:moveTo>
                    <a:lnTo>
                      <a:pt x="8188" y="16375"/>
                    </a:lnTo>
                    <a:cubicBezTo>
                      <a:pt x="3779" y="16375"/>
                      <a:pt x="0" y="12596"/>
                      <a:pt x="0" y="8187"/>
                    </a:cubicBezTo>
                    <a:cubicBezTo>
                      <a:pt x="0" y="3779"/>
                      <a:pt x="3779" y="0"/>
                      <a:pt x="8188" y="0"/>
                    </a:cubicBezTo>
                    <a:lnTo>
                      <a:pt x="359618" y="0"/>
                    </a:lnTo>
                    <a:cubicBezTo>
                      <a:pt x="364027" y="0"/>
                      <a:pt x="367806" y="3779"/>
                      <a:pt x="367806" y="8187"/>
                    </a:cubicBezTo>
                    <a:cubicBezTo>
                      <a:pt x="367806" y="12596"/>
                      <a:pt x="364027" y="16375"/>
                      <a:pt x="359618" y="16375"/>
                    </a:cubicBezTo>
                    <a:lnTo>
                      <a:pt x="359618" y="16375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59" name="Forma Livre: Forma 258">
                <a:extLst>
                  <a:ext uri="{FF2B5EF4-FFF2-40B4-BE49-F238E27FC236}">
                    <a16:creationId xmlns:a16="http://schemas.microsoft.com/office/drawing/2014/main" id="{EF5BBEC3-A9F8-45D3-AEC0-B14151C76B29}"/>
                  </a:ext>
                </a:extLst>
              </p:cNvPr>
              <p:cNvSpPr/>
              <p:nvPr/>
            </p:nvSpPr>
            <p:spPr>
              <a:xfrm>
                <a:off x="8489254" y="4696549"/>
                <a:ext cx="41566" cy="41567"/>
              </a:xfrm>
              <a:custGeom>
                <a:avLst/>
                <a:gdLst>
                  <a:gd name="connsiteX0" fmla="*/ 20784 w 41566"/>
                  <a:gd name="connsiteY0" fmla="*/ 0 h 41567"/>
                  <a:gd name="connsiteX1" fmla="*/ 0 w 41566"/>
                  <a:gd name="connsiteY1" fmla="*/ 20783 h 41567"/>
                  <a:gd name="connsiteX2" fmla="*/ 20784 w 41566"/>
                  <a:gd name="connsiteY2" fmla="*/ 41567 h 41567"/>
                  <a:gd name="connsiteX3" fmla="*/ 41567 w 41566"/>
                  <a:gd name="connsiteY3" fmla="*/ 20783 h 41567"/>
                  <a:gd name="connsiteX4" fmla="*/ 20784 w 41566"/>
                  <a:gd name="connsiteY4" fmla="*/ 0 h 41567"/>
                  <a:gd name="connsiteX5" fmla="*/ 20784 w 41566"/>
                  <a:gd name="connsiteY5" fmla="*/ 0 h 41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566" h="41567">
                    <a:moveTo>
                      <a:pt x="20784" y="0"/>
                    </a:moveTo>
                    <a:cubicBezTo>
                      <a:pt x="9447" y="0"/>
                      <a:pt x="0" y="9447"/>
                      <a:pt x="0" y="20783"/>
                    </a:cubicBezTo>
                    <a:cubicBezTo>
                      <a:pt x="0" y="32120"/>
                      <a:pt x="9447" y="41567"/>
                      <a:pt x="20784" y="41567"/>
                    </a:cubicBezTo>
                    <a:cubicBezTo>
                      <a:pt x="32120" y="41567"/>
                      <a:pt x="41567" y="32120"/>
                      <a:pt x="41567" y="20783"/>
                    </a:cubicBezTo>
                    <a:cubicBezTo>
                      <a:pt x="41567" y="9447"/>
                      <a:pt x="32120" y="0"/>
                      <a:pt x="20784" y="0"/>
                    </a:cubicBezTo>
                    <a:lnTo>
                      <a:pt x="20784" y="0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60" name="Forma Livre: Forma 259">
                <a:extLst>
                  <a:ext uri="{FF2B5EF4-FFF2-40B4-BE49-F238E27FC236}">
                    <a16:creationId xmlns:a16="http://schemas.microsoft.com/office/drawing/2014/main" id="{50040A7E-12FC-4327-8422-7EE5E42DBB4D}"/>
                  </a:ext>
                </a:extLst>
              </p:cNvPr>
              <p:cNvSpPr/>
              <p:nvPr/>
            </p:nvSpPr>
            <p:spPr>
              <a:xfrm>
                <a:off x="8545936" y="4696549"/>
                <a:ext cx="41566" cy="41567"/>
              </a:xfrm>
              <a:custGeom>
                <a:avLst/>
                <a:gdLst>
                  <a:gd name="connsiteX0" fmla="*/ 20784 w 41566"/>
                  <a:gd name="connsiteY0" fmla="*/ 0 h 41567"/>
                  <a:gd name="connsiteX1" fmla="*/ 0 w 41566"/>
                  <a:gd name="connsiteY1" fmla="*/ 20783 h 41567"/>
                  <a:gd name="connsiteX2" fmla="*/ 20784 w 41566"/>
                  <a:gd name="connsiteY2" fmla="*/ 41567 h 41567"/>
                  <a:gd name="connsiteX3" fmla="*/ 41567 w 41566"/>
                  <a:gd name="connsiteY3" fmla="*/ 20783 h 41567"/>
                  <a:gd name="connsiteX4" fmla="*/ 20784 w 41566"/>
                  <a:gd name="connsiteY4" fmla="*/ 0 h 41567"/>
                  <a:gd name="connsiteX5" fmla="*/ 20784 w 41566"/>
                  <a:gd name="connsiteY5" fmla="*/ 0 h 41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566" h="41567">
                    <a:moveTo>
                      <a:pt x="20784" y="0"/>
                    </a:moveTo>
                    <a:cubicBezTo>
                      <a:pt x="9447" y="0"/>
                      <a:pt x="0" y="9447"/>
                      <a:pt x="0" y="20783"/>
                    </a:cubicBezTo>
                    <a:cubicBezTo>
                      <a:pt x="0" y="32120"/>
                      <a:pt x="9447" y="41567"/>
                      <a:pt x="20784" y="41567"/>
                    </a:cubicBezTo>
                    <a:cubicBezTo>
                      <a:pt x="32120" y="41567"/>
                      <a:pt x="41567" y="32120"/>
                      <a:pt x="41567" y="20783"/>
                    </a:cubicBezTo>
                    <a:cubicBezTo>
                      <a:pt x="41567" y="9447"/>
                      <a:pt x="32120" y="0"/>
                      <a:pt x="20784" y="0"/>
                    </a:cubicBezTo>
                    <a:lnTo>
                      <a:pt x="20784" y="0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61" name="Forma Livre: Forma 260">
                <a:extLst>
                  <a:ext uri="{FF2B5EF4-FFF2-40B4-BE49-F238E27FC236}">
                    <a16:creationId xmlns:a16="http://schemas.microsoft.com/office/drawing/2014/main" id="{9642C764-DE4E-4533-8A08-CC66A5838E6E}"/>
                  </a:ext>
                </a:extLst>
              </p:cNvPr>
              <p:cNvSpPr/>
              <p:nvPr/>
            </p:nvSpPr>
            <p:spPr>
              <a:xfrm>
                <a:off x="8602618" y="4696549"/>
                <a:ext cx="41596" cy="41567"/>
              </a:xfrm>
              <a:custGeom>
                <a:avLst/>
                <a:gdLst>
                  <a:gd name="connsiteX0" fmla="*/ 20784 w 41596"/>
                  <a:gd name="connsiteY0" fmla="*/ 0 h 41567"/>
                  <a:gd name="connsiteX1" fmla="*/ 0 w 41596"/>
                  <a:gd name="connsiteY1" fmla="*/ 20783 h 41567"/>
                  <a:gd name="connsiteX2" fmla="*/ 20784 w 41596"/>
                  <a:gd name="connsiteY2" fmla="*/ 41567 h 41567"/>
                  <a:gd name="connsiteX3" fmla="*/ 41567 w 41596"/>
                  <a:gd name="connsiteY3" fmla="*/ 20783 h 41567"/>
                  <a:gd name="connsiteX4" fmla="*/ 20784 w 41596"/>
                  <a:gd name="connsiteY4" fmla="*/ 0 h 41567"/>
                  <a:gd name="connsiteX5" fmla="*/ 20784 w 41596"/>
                  <a:gd name="connsiteY5" fmla="*/ 0 h 41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596" h="41567">
                    <a:moveTo>
                      <a:pt x="20784" y="0"/>
                    </a:moveTo>
                    <a:cubicBezTo>
                      <a:pt x="9447" y="0"/>
                      <a:pt x="0" y="9447"/>
                      <a:pt x="0" y="20783"/>
                    </a:cubicBezTo>
                    <a:cubicBezTo>
                      <a:pt x="0" y="32120"/>
                      <a:pt x="9447" y="41567"/>
                      <a:pt x="20784" y="41567"/>
                    </a:cubicBezTo>
                    <a:cubicBezTo>
                      <a:pt x="32120" y="41567"/>
                      <a:pt x="41567" y="32120"/>
                      <a:pt x="41567" y="20783"/>
                    </a:cubicBezTo>
                    <a:cubicBezTo>
                      <a:pt x="42197" y="9447"/>
                      <a:pt x="32749" y="0"/>
                      <a:pt x="20784" y="0"/>
                    </a:cubicBezTo>
                    <a:lnTo>
                      <a:pt x="20784" y="0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262" name="Gráfico 2">
              <a:extLst>
                <a:ext uri="{FF2B5EF4-FFF2-40B4-BE49-F238E27FC236}">
                  <a16:creationId xmlns:a16="http://schemas.microsoft.com/office/drawing/2014/main" id="{A475B8DB-D93F-4DA6-8335-80171E5C5B8D}"/>
                </a:ext>
              </a:extLst>
            </p:cNvPr>
            <p:cNvGrpSpPr/>
            <p:nvPr/>
          </p:nvGrpSpPr>
          <p:grpSpPr>
            <a:xfrm>
              <a:off x="8577741" y="4834791"/>
              <a:ext cx="108325" cy="108011"/>
              <a:chOff x="8577741" y="4834791"/>
              <a:chExt cx="108325" cy="108011"/>
            </a:xfrm>
            <a:grpFill/>
          </p:grpSpPr>
          <p:sp>
            <p:nvSpPr>
              <p:cNvPr id="263" name="Forma Livre: Forma 262">
                <a:extLst>
                  <a:ext uri="{FF2B5EF4-FFF2-40B4-BE49-F238E27FC236}">
                    <a16:creationId xmlns:a16="http://schemas.microsoft.com/office/drawing/2014/main" id="{1EE22D36-8E1C-4B67-9C3B-2F2D53B5CE29}"/>
                  </a:ext>
                </a:extLst>
              </p:cNvPr>
              <p:cNvSpPr/>
              <p:nvPr/>
            </p:nvSpPr>
            <p:spPr>
              <a:xfrm>
                <a:off x="8578371" y="4834791"/>
                <a:ext cx="107696" cy="108011"/>
              </a:xfrm>
              <a:custGeom>
                <a:avLst/>
                <a:gdLst>
                  <a:gd name="connsiteX0" fmla="*/ 91636 w 107696"/>
                  <a:gd name="connsiteY0" fmla="*/ 108012 h 108011"/>
                  <a:gd name="connsiteX1" fmla="*/ 79670 w 107696"/>
                  <a:gd name="connsiteY1" fmla="*/ 102973 h 108011"/>
                  <a:gd name="connsiteX2" fmla="*/ 4724 w 107696"/>
                  <a:gd name="connsiteY2" fmla="*/ 28026 h 108011"/>
                  <a:gd name="connsiteX3" fmla="*/ 4724 w 107696"/>
                  <a:gd name="connsiteY3" fmla="*/ 4724 h 108011"/>
                  <a:gd name="connsiteX4" fmla="*/ 28026 w 107696"/>
                  <a:gd name="connsiteY4" fmla="*/ 4724 h 108011"/>
                  <a:gd name="connsiteX5" fmla="*/ 102973 w 107696"/>
                  <a:gd name="connsiteY5" fmla="*/ 79670 h 108011"/>
                  <a:gd name="connsiteX6" fmla="*/ 102973 w 107696"/>
                  <a:gd name="connsiteY6" fmla="*/ 102973 h 108011"/>
                  <a:gd name="connsiteX7" fmla="*/ 91636 w 107696"/>
                  <a:gd name="connsiteY7" fmla="*/ 108012 h 108011"/>
                  <a:gd name="connsiteX8" fmla="*/ 91636 w 107696"/>
                  <a:gd name="connsiteY8" fmla="*/ 108012 h 1080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7696" h="108011">
                    <a:moveTo>
                      <a:pt x="91636" y="108012"/>
                    </a:moveTo>
                    <a:cubicBezTo>
                      <a:pt x="87228" y="108012"/>
                      <a:pt x="82819" y="106122"/>
                      <a:pt x="79670" y="102973"/>
                    </a:cubicBezTo>
                    <a:lnTo>
                      <a:pt x="4724" y="28026"/>
                    </a:lnTo>
                    <a:cubicBezTo>
                      <a:pt x="-1575" y="21728"/>
                      <a:pt x="-1575" y="11022"/>
                      <a:pt x="4724" y="4724"/>
                    </a:cubicBezTo>
                    <a:cubicBezTo>
                      <a:pt x="11022" y="-1575"/>
                      <a:pt x="21728" y="-1575"/>
                      <a:pt x="28026" y="4724"/>
                    </a:cubicBezTo>
                    <a:lnTo>
                      <a:pt x="102973" y="79670"/>
                    </a:lnTo>
                    <a:cubicBezTo>
                      <a:pt x="109271" y="85968"/>
                      <a:pt x="109271" y="96675"/>
                      <a:pt x="102973" y="102973"/>
                    </a:cubicBezTo>
                    <a:cubicBezTo>
                      <a:pt x="99824" y="106122"/>
                      <a:pt x="96045" y="108012"/>
                      <a:pt x="91636" y="108012"/>
                    </a:cubicBezTo>
                    <a:lnTo>
                      <a:pt x="91636" y="108012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64" name="Forma Livre: Forma 263">
                <a:extLst>
                  <a:ext uri="{FF2B5EF4-FFF2-40B4-BE49-F238E27FC236}">
                    <a16:creationId xmlns:a16="http://schemas.microsoft.com/office/drawing/2014/main" id="{A2DF577B-EF6A-43C6-B51D-A1A55B8C6A32}"/>
                  </a:ext>
                </a:extLst>
              </p:cNvPr>
              <p:cNvSpPr/>
              <p:nvPr/>
            </p:nvSpPr>
            <p:spPr>
              <a:xfrm>
                <a:off x="8577741" y="4834791"/>
                <a:ext cx="107696" cy="108011"/>
              </a:xfrm>
              <a:custGeom>
                <a:avLst/>
                <a:gdLst>
                  <a:gd name="connsiteX0" fmla="*/ 16689 w 107696"/>
                  <a:gd name="connsiteY0" fmla="*/ 108012 h 108011"/>
                  <a:gd name="connsiteX1" fmla="*/ 4724 w 107696"/>
                  <a:gd name="connsiteY1" fmla="*/ 102973 h 108011"/>
                  <a:gd name="connsiteX2" fmla="*/ 4724 w 107696"/>
                  <a:gd name="connsiteY2" fmla="*/ 79670 h 108011"/>
                  <a:gd name="connsiteX3" fmla="*/ 79670 w 107696"/>
                  <a:gd name="connsiteY3" fmla="*/ 4724 h 108011"/>
                  <a:gd name="connsiteX4" fmla="*/ 102973 w 107696"/>
                  <a:gd name="connsiteY4" fmla="*/ 4724 h 108011"/>
                  <a:gd name="connsiteX5" fmla="*/ 102973 w 107696"/>
                  <a:gd name="connsiteY5" fmla="*/ 28026 h 108011"/>
                  <a:gd name="connsiteX6" fmla="*/ 28026 w 107696"/>
                  <a:gd name="connsiteY6" fmla="*/ 102973 h 108011"/>
                  <a:gd name="connsiteX7" fmla="*/ 16689 w 107696"/>
                  <a:gd name="connsiteY7" fmla="*/ 108012 h 108011"/>
                  <a:gd name="connsiteX8" fmla="*/ 16689 w 107696"/>
                  <a:gd name="connsiteY8" fmla="*/ 108012 h 1080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7696" h="108011">
                    <a:moveTo>
                      <a:pt x="16689" y="108012"/>
                    </a:moveTo>
                    <a:cubicBezTo>
                      <a:pt x="12281" y="108012"/>
                      <a:pt x="7873" y="106122"/>
                      <a:pt x="4724" y="102973"/>
                    </a:cubicBezTo>
                    <a:cubicBezTo>
                      <a:pt x="-1575" y="96675"/>
                      <a:pt x="-1575" y="85968"/>
                      <a:pt x="4724" y="79670"/>
                    </a:cubicBezTo>
                    <a:lnTo>
                      <a:pt x="79670" y="4724"/>
                    </a:lnTo>
                    <a:cubicBezTo>
                      <a:pt x="85968" y="-1575"/>
                      <a:pt x="96675" y="-1575"/>
                      <a:pt x="102973" y="4724"/>
                    </a:cubicBezTo>
                    <a:cubicBezTo>
                      <a:pt x="109271" y="11022"/>
                      <a:pt x="109271" y="21728"/>
                      <a:pt x="102973" y="28026"/>
                    </a:cubicBezTo>
                    <a:lnTo>
                      <a:pt x="28026" y="102973"/>
                    </a:lnTo>
                    <a:cubicBezTo>
                      <a:pt x="25507" y="106122"/>
                      <a:pt x="21098" y="108012"/>
                      <a:pt x="16689" y="108012"/>
                    </a:cubicBezTo>
                    <a:lnTo>
                      <a:pt x="16689" y="108012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265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7417957" y="4648054"/>
            <a:ext cx="396183" cy="396146"/>
            <a:chOff x="7417957" y="4648054"/>
            <a:chExt cx="396183" cy="396146"/>
          </a:xfrm>
          <a:solidFill>
            <a:srgbClr val="B1B1A1"/>
          </a:solidFill>
        </p:grpSpPr>
        <p:grpSp>
          <p:nvGrpSpPr>
            <p:cNvPr id="266" name="Gráfico 2">
              <a:extLst>
                <a:ext uri="{FF2B5EF4-FFF2-40B4-BE49-F238E27FC236}">
                  <a16:creationId xmlns:a16="http://schemas.microsoft.com/office/drawing/2014/main" id="{A475B8DB-D93F-4DA6-8335-80171E5C5B8D}"/>
                </a:ext>
              </a:extLst>
            </p:cNvPr>
            <p:cNvGrpSpPr/>
            <p:nvPr/>
          </p:nvGrpSpPr>
          <p:grpSpPr>
            <a:xfrm>
              <a:off x="7417957" y="4648054"/>
              <a:ext cx="396183" cy="396146"/>
              <a:chOff x="7417957" y="4648054"/>
              <a:chExt cx="396183" cy="396146"/>
            </a:xfrm>
            <a:grpFill/>
          </p:grpSpPr>
          <p:sp>
            <p:nvSpPr>
              <p:cNvPr id="267" name="Forma Livre: Forma 266">
                <a:extLst>
                  <a:ext uri="{FF2B5EF4-FFF2-40B4-BE49-F238E27FC236}">
                    <a16:creationId xmlns:a16="http://schemas.microsoft.com/office/drawing/2014/main" id="{7B98B36D-6DEF-4CB1-BC2E-69DF583AF100}"/>
                  </a:ext>
                </a:extLst>
              </p:cNvPr>
              <p:cNvSpPr/>
              <p:nvPr/>
            </p:nvSpPr>
            <p:spPr>
              <a:xfrm>
                <a:off x="7417957" y="4648054"/>
                <a:ext cx="396183" cy="396146"/>
              </a:xfrm>
              <a:custGeom>
                <a:avLst/>
                <a:gdLst>
                  <a:gd name="connsiteX0" fmla="*/ 379771 w 396183"/>
                  <a:gd name="connsiteY0" fmla="*/ 396147 h 396146"/>
                  <a:gd name="connsiteX1" fmla="*/ 16375 w 396183"/>
                  <a:gd name="connsiteY1" fmla="*/ 396147 h 396146"/>
                  <a:gd name="connsiteX2" fmla="*/ 0 w 396183"/>
                  <a:gd name="connsiteY2" fmla="*/ 379772 h 396146"/>
                  <a:gd name="connsiteX3" fmla="*/ 0 w 396183"/>
                  <a:gd name="connsiteY3" fmla="*/ 16375 h 396146"/>
                  <a:gd name="connsiteX4" fmla="*/ 16375 w 396183"/>
                  <a:gd name="connsiteY4" fmla="*/ 0 h 396146"/>
                  <a:gd name="connsiteX5" fmla="*/ 379771 w 396183"/>
                  <a:gd name="connsiteY5" fmla="*/ 0 h 396146"/>
                  <a:gd name="connsiteX6" fmla="*/ 396147 w 396183"/>
                  <a:gd name="connsiteY6" fmla="*/ 16375 h 396146"/>
                  <a:gd name="connsiteX7" fmla="*/ 396147 w 396183"/>
                  <a:gd name="connsiteY7" fmla="*/ 379772 h 396146"/>
                  <a:gd name="connsiteX8" fmla="*/ 379771 w 396183"/>
                  <a:gd name="connsiteY8" fmla="*/ 396147 h 396146"/>
                  <a:gd name="connsiteX9" fmla="*/ 379771 w 396183"/>
                  <a:gd name="connsiteY9" fmla="*/ 396147 h 396146"/>
                  <a:gd name="connsiteX10" fmla="*/ 33380 w 396183"/>
                  <a:gd name="connsiteY10" fmla="*/ 362767 h 396146"/>
                  <a:gd name="connsiteX11" fmla="*/ 363397 w 396183"/>
                  <a:gd name="connsiteY11" fmla="*/ 362767 h 396146"/>
                  <a:gd name="connsiteX12" fmla="*/ 363397 w 396183"/>
                  <a:gd name="connsiteY12" fmla="*/ 32750 h 396146"/>
                  <a:gd name="connsiteX13" fmla="*/ 33380 w 396183"/>
                  <a:gd name="connsiteY13" fmla="*/ 32750 h 396146"/>
                  <a:gd name="connsiteX14" fmla="*/ 33380 w 396183"/>
                  <a:gd name="connsiteY14" fmla="*/ 362767 h 396146"/>
                  <a:gd name="connsiteX15" fmla="*/ 33380 w 396183"/>
                  <a:gd name="connsiteY15" fmla="*/ 362767 h 396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96183" h="396146">
                    <a:moveTo>
                      <a:pt x="379771" y="396147"/>
                    </a:moveTo>
                    <a:lnTo>
                      <a:pt x="16375" y="396147"/>
                    </a:lnTo>
                    <a:cubicBezTo>
                      <a:pt x="6928" y="396147"/>
                      <a:pt x="0" y="388589"/>
                      <a:pt x="0" y="379772"/>
                    </a:cubicBezTo>
                    <a:lnTo>
                      <a:pt x="0" y="16375"/>
                    </a:lnTo>
                    <a:cubicBezTo>
                      <a:pt x="0" y="6928"/>
                      <a:pt x="7557" y="0"/>
                      <a:pt x="16375" y="0"/>
                    </a:cubicBezTo>
                    <a:lnTo>
                      <a:pt x="379771" y="0"/>
                    </a:lnTo>
                    <a:cubicBezTo>
                      <a:pt x="389218" y="0"/>
                      <a:pt x="396147" y="7558"/>
                      <a:pt x="396147" y="16375"/>
                    </a:cubicBezTo>
                    <a:lnTo>
                      <a:pt x="396147" y="379772"/>
                    </a:lnTo>
                    <a:cubicBezTo>
                      <a:pt x="396776" y="388589"/>
                      <a:pt x="389218" y="396147"/>
                      <a:pt x="379771" y="396147"/>
                    </a:cubicBezTo>
                    <a:lnTo>
                      <a:pt x="379771" y="396147"/>
                    </a:lnTo>
                    <a:close/>
                    <a:moveTo>
                      <a:pt x="33380" y="362767"/>
                    </a:moveTo>
                    <a:lnTo>
                      <a:pt x="363397" y="362767"/>
                    </a:lnTo>
                    <a:lnTo>
                      <a:pt x="363397" y="32750"/>
                    </a:lnTo>
                    <a:lnTo>
                      <a:pt x="33380" y="32750"/>
                    </a:lnTo>
                    <a:lnTo>
                      <a:pt x="33380" y="362767"/>
                    </a:lnTo>
                    <a:lnTo>
                      <a:pt x="33380" y="362767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68" name="Forma Livre: Forma 267">
                <a:extLst>
                  <a:ext uri="{FF2B5EF4-FFF2-40B4-BE49-F238E27FC236}">
                    <a16:creationId xmlns:a16="http://schemas.microsoft.com/office/drawing/2014/main" id="{74878C93-A9FF-443E-AC29-F7CDA3F2C1A6}"/>
                  </a:ext>
                </a:extLst>
              </p:cNvPr>
              <p:cNvSpPr/>
              <p:nvPr/>
            </p:nvSpPr>
            <p:spPr>
              <a:xfrm>
                <a:off x="7432443" y="4753232"/>
                <a:ext cx="367805" cy="16375"/>
              </a:xfrm>
              <a:custGeom>
                <a:avLst/>
                <a:gdLst>
                  <a:gd name="connsiteX0" fmla="*/ 359618 w 367805"/>
                  <a:gd name="connsiteY0" fmla="*/ 16375 h 16375"/>
                  <a:gd name="connsiteX1" fmla="*/ 8187 w 367805"/>
                  <a:gd name="connsiteY1" fmla="*/ 16375 h 16375"/>
                  <a:gd name="connsiteX2" fmla="*/ 0 w 367805"/>
                  <a:gd name="connsiteY2" fmla="*/ 8187 h 16375"/>
                  <a:gd name="connsiteX3" fmla="*/ 8187 w 367805"/>
                  <a:gd name="connsiteY3" fmla="*/ 0 h 16375"/>
                  <a:gd name="connsiteX4" fmla="*/ 359618 w 367805"/>
                  <a:gd name="connsiteY4" fmla="*/ 0 h 16375"/>
                  <a:gd name="connsiteX5" fmla="*/ 367805 w 367805"/>
                  <a:gd name="connsiteY5" fmla="*/ 8187 h 16375"/>
                  <a:gd name="connsiteX6" fmla="*/ 359618 w 367805"/>
                  <a:gd name="connsiteY6" fmla="*/ 16375 h 16375"/>
                  <a:gd name="connsiteX7" fmla="*/ 359618 w 367805"/>
                  <a:gd name="connsiteY7" fmla="*/ 16375 h 16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67805" h="16375">
                    <a:moveTo>
                      <a:pt x="359618" y="16375"/>
                    </a:moveTo>
                    <a:lnTo>
                      <a:pt x="8187" y="16375"/>
                    </a:lnTo>
                    <a:cubicBezTo>
                      <a:pt x="3779" y="16375"/>
                      <a:pt x="0" y="12596"/>
                      <a:pt x="0" y="8187"/>
                    </a:cubicBezTo>
                    <a:cubicBezTo>
                      <a:pt x="0" y="3779"/>
                      <a:pt x="3779" y="0"/>
                      <a:pt x="8187" y="0"/>
                    </a:cubicBezTo>
                    <a:lnTo>
                      <a:pt x="359618" y="0"/>
                    </a:lnTo>
                    <a:cubicBezTo>
                      <a:pt x="364027" y="0"/>
                      <a:pt x="367805" y="3779"/>
                      <a:pt x="367805" y="8187"/>
                    </a:cubicBezTo>
                    <a:cubicBezTo>
                      <a:pt x="367805" y="12596"/>
                      <a:pt x="364027" y="16375"/>
                      <a:pt x="359618" y="16375"/>
                    </a:cubicBezTo>
                    <a:lnTo>
                      <a:pt x="359618" y="16375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69" name="Forma Livre: Forma 268">
                <a:extLst>
                  <a:ext uri="{FF2B5EF4-FFF2-40B4-BE49-F238E27FC236}">
                    <a16:creationId xmlns:a16="http://schemas.microsoft.com/office/drawing/2014/main" id="{1DE6AD0B-3A6C-47D5-9D5B-A8003479D002}"/>
                  </a:ext>
                </a:extLst>
              </p:cNvPr>
              <p:cNvSpPr/>
              <p:nvPr/>
            </p:nvSpPr>
            <p:spPr>
              <a:xfrm>
                <a:off x="7472750" y="4696549"/>
                <a:ext cx="41567" cy="41567"/>
              </a:xfrm>
              <a:custGeom>
                <a:avLst/>
                <a:gdLst>
                  <a:gd name="connsiteX0" fmla="*/ 20784 w 41567"/>
                  <a:gd name="connsiteY0" fmla="*/ 0 h 41567"/>
                  <a:gd name="connsiteX1" fmla="*/ 0 w 41567"/>
                  <a:gd name="connsiteY1" fmla="*/ 20783 h 41567"/>
                  <a:gd name="connsiteX2" fmla="*/ 20784 w 41567"/>
                  <a:gd name="connsiteY2" fmla="*/ 41567 h 41567"/>
                  <a:gd name="connsiteX3" fmla="*/ 41567 w 41567"/>
                  <a:gd name="connsiteY3" fmla="*/ 20783 h 41567"/>
                  <a:gd name="connsiteX4" fmla="*/ 20784 w 41567"/>
                  <a:gd name="connsiteY4" fmla="*/ 0 h 41567"/>
                  <a:gd name="connsiteX5" fmla="*/ 20784 w 41567"/>
                  <a:gd name="connsiteY5" fmla="*/ 0 h 41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567" h="41567">
                    <a:moveTo>
                      <a:pt x="20784" y="0"/>
                    </a:moveTo>
                    <a:cubicBezTo>
                      <a:pt x="9447" y="0"/>
                      <a:pt x="0" y="9447"/>
                      <a:pt x="0" y="20783"/>
                    </a:cubicBezTo>
                    <a:cubicBezTo>
                      <a:pt x="0" y="32120"/>
                      <a:pt x="9447" y="41567"/>
                      <a:pt x="20784" y="41567"/>
                    </a:cubicBezTo>
                    <a:cubicBezTo>
                      <a:pt x="32120" y="41567"/>
                      <a:pt x="41567" y="32120"/>
                      <a:pt x="41567" y="20783"/>
                    </a:cubicBezTo>
                    <a:cubicBezTo>
                      <a:pt x="41567" y="9447"/>
                      <a:pt x="32750" y="0"/>
                      <a:pt x="20784" y="0"/>
                    </a:cubicBezTo>
                    <a:lnTo>
                      <a:pt x="20784" y="0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70" name="Forma Livre: Forma 269">
                <a:extLst>
                  <a:ext uri="{FF2B5EF4-FFF2-40B4-BE49-F238E27FC236}">
                    <a16:creationId xmlns:a16="http://schemas.microsoft.com/office/drawing/2014/main" id="{2083D376-5962-4403-BD07-C39EAEDB2059}"/>
                  </a:ext>
                </a:extLst>
              </p:cNvPr>
              <p:cNvSpPr/>
              <p:nvPr/>
            </p:nvSpPr>
            <p:spPr>
              <a:xfrm>
                <a:off x="7529432" y="4696549"/>
                <a:ext cx="41597" cy="41567"/>
              </a:xfrm>
              <a:custGeom>
                <a:avLst/>
                <a:gdLst>
                  <a:gd name="connsiteX0" fmla="*/ 20784 w 41597"/>
                  <a:gd name="connsiteY0" fmla="*/ 0 h 41567"/>
                  <a:gd name="connsiteX1" fmla="*/ 0 w 41597"/>
                  <a:gd name="connsiteY1" fmla="*/ 20783 h 41567"/>
                  <a:gd name="connsiteX2" fmla="*/ 20784 w 41597"/>
                  <a:gd name="connsiteY2" fmla="*/ 41567 h 41567"/>
                  <a:gd name="connsiteX3" fmla="*/ 41567 w 41597"/>
                  <a:gd name="connsiteY3" fmla="*/ 20783 h 41567"/>
                  <a:gd name="connsiteX4" fmla="*/ 20784 w 41597"/>
                  <a:gd name="connsiteY4" fmla="*/ 0 h 41567"/>
                  <a:gd name="connsiteX5" fmla="*/ 20784 w 41597"/>
                  <a:gd name="connsiteY5" fmla="*/ 0 h 41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597" h="41567">
                    <a:moveTo>
                      <a:pt x="20784" y="0"/>
                    </a:moveTo>
                    <a:cubicBezTo>
                      <a:pt x="9447" y="0"/>
                      <a:pt x="0" y="9447"/>
                      <a:pt x="0" y="20783"/>
                    </a:cubicBezTo>
                    <a:cubicBezTo>
                      <a:pt x="0" y="32120"/>
                      <a:pt x="9447" y="41567"/>
                      <a:pt x="20784" y="41567"/>
                    </a:cubicBezTo>
                    <a:cubicBezTo>
                      <a:pt x="32120" y="41567"/>
                      <a:pt x="41567" y="32120"/>
                      <a:pt x="41567" y="20783"/>
                    </a:cubicBezTo>
                    <a:cubicBezTo>
                      <a:pt x="42197" y="9447"/>
                      <a:pt x="32750" y="0"/>
                      <a:pt x="20784" y="0"/>
                    </a:cubicBezTo>
                    <a:lnTo>
                      <a:pt x="20784" y="0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71" name="Forma Livre: Forma 270">
                <a:extLst>
                  <a:ext uri="{FF2B5EF4-FFF2-40B4-BE49-F238E27FC236}">
                    <a16:creationId xmlns:a16="http://schemas.microsoft.com/office/drawing/2014/main" id="{4C565E81-9201-435E-B254-DB10D4FC9953}"/>
                  </a:ext>
                </a:extLst>
              </p:cNvPr>
              <p:cNvSpPr/>
              <p:nvPr/>
            </p:nvSpPr>
            <p:spPr>
              <a:xfrm>
                <a:off x="7586745" y="4696549"/>
                <a:ext cx="41566" cy="41567"/>
              </a:xfrm>
              <a:custGeom>
                <a:avLst/>
                <a:gdLst>
                  <a:gd name="connsiteX0" fmla="*/ 20783 w 41566"/>
                  <a:gd name="connsiteY0" fmla="*/ 0 h 41567"/>
                  <a:gd name="connsiteX1" fmla="*/ 0 w 41566"/>
                  <a:gd name="connsiteY1" fmla="*/ 20783 h 41567"/>
                  <a:gd name="connsiteX2" fmla="*/ 20783 w 41566"/>
                  <a:gd name="connsiteY2" fmla="*/ 41567 h 41567"/>
                  <a:gd name="connsiteX3" fmla="*/ 41567 w 41566"/>
                  <a:gd name="connsiteY3" fmla="*/ 20783 h 41567"/>
                  <a:gd name="connsiteX4" fmla="*/ 20783 w 41566"/>
                  <a:gd name="connsiteY4" fmla="*/ 0 h 41567"/>
                  <a:gd name="connsiteX5" fmla="*/ 20783 w 41566"/>
                  <a:gd name="connsiteY5" fmla="*/ 0 h 41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566" h="41567">
                    <a:moveTo>
                      <a:pt x="20783" y="0"/>
                    </a:moveTo>
                    <a:cubicBezTo>
                      <a:pt x="9447" y="0"/>
                      <a:pt x="0" y="9447"/>
                      <a:pt x="0" y="20783"/>
                    </a:cubicBezTo>
                    <a:cubicBezTo>
                      <a:pt x="0" y="32120"/>
                      <a:pt x="9447" y="41567"/>
                      <a:pt x="20783" y="41567"/>
                    </a:cubicBezTo>
                    <a:cubicBezTo>
                      <a:pt x="32120" y="41567"/>
                      <a:pt x="41567" y="32120"/>
                      <a:pt x="41567" y="20783"/>
                    </a:cubicBezTo>
                    <a:cubicBezTo>
                      <a:pt x="41567" y="9447"/>
                      <a:pt x="32120" y="0"/>
                      <a:pt x="20783" y="0"/>
                    </a:cubicBezTo>
                    <a:lnTo>
                      <a:pt x="20783" y="0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272" name="Forma Livre: Forma 271">
              <a:extLst>
                <a:ext uri="{FF2B5EF4-FFF2-40B4-BE49-F238E27FC236}">
                  <a16:creationId xmlns:a16="http://schemas.microsoft.com/office/drawing/2014/main" id="{6F1A3503-6C30-45D6-BDB7-E8F1E00040D8}"/>
                </a:ext>
              </a:extLst>
            </p:cNvPr>
            <p:cNvSpPr/>
            <p:nvPr/>
          </p:nvSpPr>
          <p:spPr>
            <a:xfrm>
              <a:off x="7546437" y="4872265"/>
              <a:ext cx="139223" cy="32749"/>
            </a:xfrm>
            <a:custGeom>
              <a:avLst/>
              <a:gdLst>
                <a:gd name="connsiteX0" fmla="*/ 122812 w 139223"/>
                <a:gd name="connsiteY0" fmla="*/ 32750 h 32749"/>
                <a:gd name="connsiteX1" fmla="*/ 16375 w 139223"/>
                <a:gd name="connsiteY1" fmla="*/ 32750 h 32749"/>
                <a:gd name="connsiteX2" fmla="*/ 0 w 139223"/>
                <a:gd name="connsiteY2" fmla="*/ 16375 h 32749"/>
                <a:gd name="connsiteX3" fmla="*/ 16375 w 139223"/>
                <a:gd name="connsiteY3" fmla="*/ 0 h 32749"/>
                <a:gd name="connsiteX4" fmla="*/ 122812 w 139223"/>
                <a:gd name="connsiteY4" fmla="*/ 0 h 32749"/>
                <a:gd name="connsiteX5" fmla="*/ 139187 w 139223"/>
                <a:gd name="connsiteY5" fmla="*/ 16375 h 32749"/>
                <a:gd name="connsiteX6" fmla="*/ 122812 w 139223"/>
                <a:gd name="connsiteY6" fmla="*/ 32750 h 32749"/>
                <a:gd name="connsiteX7" fmla="*/ 122812 w 139223"/>
                <a:gd name="connsiteY7" fmla="*/ 32750 h 32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9223" h="32749">
                  <a:moveTo>
                    <a:pt x="122812" y="32750"/>
                  </a:moveTo>
                  <a:lnTo>
                    <a:pt x="16375" y="32750"/>
                  </a:lnTo>
                  <a:cubicBezTo>
                    <a:pt x="6928" y="32750"/>
                    <a:pt x="0" y="25192"/>
                    <a:pt x="0" y="16375"/>
                  </a:cubicBezTo>
                  <a:cubicBezTo>
                    <a:pt x="0" y="6928"/>
                    <a:pt x="7558" y="0"/>
                    <a:pt x="16375" y="0"/>
                  </a:cubicBezTo>
                  <a:lnTo>
                    <a:pt x="122812" y="0"/>
                  </a:lnTo>
                  <a:cubicBezTo>
                    <a:pt x="132259" y="0"/>
                    <a:pt x="139187" y="7558"/>
                    <a:pt x="139187" y="16375"/>
                  </a:cubicBezTo>
                  <a:cubicBezTo>
                    <a:pt x="139817" y="25822"/>
                    <a:pt x="132259" y="32750"/>
                    <a:pt x="122812" y="32750"/>
                  </a:cubicBezTo>
                  <a:lnTo>
                    <a:pt x="122812" y="3275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73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9452854" y="4648054"/>
            <a:ext cx="396146" cy="396146"/>
            <a:chOff x="9452854" y="4648054"/>
            <a:chExt cx="396146" cy="396146"/>
          </a:xfrm>
          <a:solidFill>
            <a:srgbClr val="B1B1A1"/>
          </a:solidFill>
        </p:grpSpPr>
        <p:grpSp>
          <p:nvGrpSpPr>
            <p:cNvPr id="274" name="Gráfico 2">
              <a:extLst>
                <a:ext uri="{FF2B5EF4-FFF2-40B4-BE49-F238E27FC236}">
                  <a16:creationId xmlns:a16="http://schemas.microsoft.com/office/drawing/2014/main" id="{A475B8DB-D93F-4DA6-8335-80171E5C5B8D}"/>
                </a:ext>
              </a:extLst>
            </p:cNvPr>
            <p:cNvGrpSpPr/>
            <p:nvPr/>
          </p:nvGrpSpPr>
          <p:grpSpPr>
            <a:xfrm>
              <a:off x="9452854" y="4648054"/>
              <a:ext cx="396146" cy="396146"/>
              <a:chOff x="9452854" y="4648054"/>
              <a:chExt cx="396146" cy="396146"/>
            </a:xfrm>
            <a:grpFill/>
          </p:grpSpPr>
          <p:sp>
            <p:nvSpPr>
              <p:cNvPr id="275" name="Forma Livre: Forma 274">
                <a:extLst>
                  <a:ext uri="{FF2B5EF4-FFF2-40B4-BE49-F238E27FC236}">
                    <a16:creationId xmlns:a16="http://schemas.microsoft.com/office/drawing/2014/main" id="{120271FA-A907-4688-A85C-B045B7BEC924}"/>
                  </a:ext>
                </a:extLst>
              </p:cNvPr>
              <p:cNvSpPr/>
              <p:nvPr/>
            </p:nvSpPr>
            <p:spPr>
              <a:xfrm>
                <a:off x="9452854" y="4648054"/>
                <a:ext cx="396146" cy="396146"/>
              </a:xfrm>
              <a:custGeom>
                <a:avLst/>
                <a:gdLst>
                  <a:gd name="connsiteX0" fmla="*/ 379772 w 396146"/>
                  <a:gd name="connsiteY0" fmla="*/ 396147 h 396146"/>
                  <a:gd name="connsiteX1" fmla="*/ 16375 w 396146"/>
                  <a:gd name="connsiteY1" fmla="*/ 396147 h 396146"/>
                  <a:gd name="connsiteX2" fmla="*/ 0 w 396146"/>
                  <a:gd name="connsiteY2" fmla="*/ 379772 h 396146"/>
                  <a:gd name="connsiteX3" fmla="*/ 0 w 396146"/>
                  <a:gd name="connsiteY3" fmla="*/ 16375 h 396146"/>
                  <a:gd name="connsiteX4" fmla="*/ 16375 w 396146"/>
                  <a:gd name="connsiteY4" fmla="*/ 0 h 396146"/>
                  <a:gd name="connsiteX5" fmla="*/ 379772 w 396146"/>
                  <a:gd name="connsiteY5" fmla="*/ 0 h 396146"/>
                  <a:gd name="connsiteX6" fmla="*/ 396147 w 396146"/>
                  <a:gd name="connsiteY6" fmla="*/ 16375 h 396146"/>
                  <a:gd name="connsiteX7" fmla="*/ 396147 w 396146"/>
                  <a:gd name="connsiteY7" fmla="*/ 379772 h 396146"/>
                  <a:gd name="connsiteX8" fmla="*/ 379772 w 396146"/>
                  <a:gd name="connsiteY8" fmla="*/ 396147 h 396146"/>
                  <a:gd name="connsiteX9" fmla="*/ 379772 w 396146"/>
                  <a:gd name="connsiteY9" fmla="*/ 396147 h 396146"/>
                  <a:gd name="connsiteX10" fmla="*/ 32749 w 396146"/>
                  <a:gd name="connsiteY10" fmla="*/ 362767 h 396146"/>
                  <a:gd name="connsiteX11" fmla="*/ 362767 w 396146"/>
                  <a:gd name="connsiteY11" fmla="*/ 362767 h 396146"/>
                  <a:gd name="connsiteX12" fmla="*/ 362767 w 396146"/>
                  <a:gd name="connsiteY12" fmla="*/ 32750 h 396146"/>
                  <a:gd name="connsiteX13" fmla="*/ 32749 w 396146"/>
                  <a:gd name="connsiteY13" fmla="*/ 32750 h 396146"/>
                  <a:gd name="connsiteX14" fmla="*/ 32749 w 396146"/>
                  <a:gd name="connsiteY14" fmla="*/ 362767 h 396146"/>
                  <a:gd name="connsiteX15" fmla="*/ 32749 w 396146"/>
                  <a:gd name="connsiteY15" fmla="*/ 362767 h 396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96146" h="396146">
                    <a:moveTo>
                      <a:pt x="379772" y="396147"/>
                    </a:moveTo>
                    <a:lnTo>
                      <a:pt x="16375" y="396147"/>
                    </a:lnTo>
                    <a:cubicBezTo>
                      <a:pt x="6928" y="396147"/>
                      <a:pt x="0" y="388589"/>
                      <a:pt x="0" y="379772"/>
                    </a:cubicBezTo>
                    <a:lnTo>
                      <a:pt x="0" y="16375"/>
                    </a:lnTo>
                    <a:cubicBezTo>
                      <a:pt x="0" y="6928"/>
                      <a:pt x="7557" y="0"/>
                      <a:pt x="16375" y="0"/>
                    </a:cubicBezTo>
                    <a:lnTo>
                      <a:pt x="379772" y="0"/>
                    </a:lnTo>
                    <a:cubicBezTo>
                      <a:pt x="389219" y="0"/>
                      <a:pt x="396147" y="7558"/>
                      <a:pt x="396147" y="16375"/>
                    </a:cubicBezTo>
                    <a:lnTo>
                      <a:pt x="396147" y="379772"/>
                    </a:lnTo>
                    <a:cubicBezTo>
                      <a:pt x="396147" y="388589"/>
                      <a:pt x="388589" y="396147"/>
                      <a:pt x="379772" y="396147"/>
                    </a:cubicBezTo>
                    <a:lnTo>
                      <a:pt x="379772" y="396147"/>
                    </a:lnTo>
                    <a:close/>
                    <a:moveTo>
                      <a:pt x="32749" y="362767"/>
                    </a:moveTo>
                    <a:lnTo>
                      <a:pt x="362767" y="362767"/>
                    </a:lnTo>
                    <a:lnTo>
                      <a:pt x="362767" y="32750"/>
                    </a:lnTo>
                    <a:lnTo>
                      <a:pt x="32749" y="32750"/>
                    </a:lnTo>
                    <a:lnTo>
                      <a:pt x="32749" y="362767"/>
                    </a:lnTo>
                    <a:lnTo>
                      <a:pt x="32749" y="362767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76" name="Forma Livre: Forma 275">
                <a:extLst>
                  <a:ext uri="{FF2B5EF4-FFF2-40B4-BE49-F238E27FC236}">
                    <a16:creationId xmlns:a16="http://schemas.microsoft.com/office/drawing/2014/main" id="{1B487734-01CA-4094-B5D1-B3CDAAEF733F}"/>
                  </a:ext>
                </a:extLst>
              </p:cNvPr>
              <p:cNvSpPr/>
              <p:nvPr/>
            </p:nvSpPr>
            <p:spPr>
              <a:xfrm>
                <a:off x="9466709" y="4753232"/>
                <a:ext cx="367805" cy="16375"/>
              </a:xfrm>
              <a:custGeom>
                <a:avLst/>
                <a:gdLst>
                  <a:gd name="connsiteX0" fmla="*/ 359619 w 367805"/>
                  <a:gd name="connsiteY0" fmla="*/ 16375 h 16375"/>
                  <a:gd name="connsiteX1" fmla="*/ 8188 w 367805"/>
                  <a:gd name="connsiteY1" fmla="*/ 16375 h 16375"/>
                  <a:gd name="connsiteX2" fmla="*/ 0 w 367805"/>
                  <a:gd name="connsiteY2" fmla="*/ 8187 h 16375"/>
                  <a:gd name="connsiteX3" fmla="*/ 8188 w 367805"/>
                  <a:gd name="connsiteY3" fmla="*/ 0 h 16375"/>
                  <a:gd name="connsiteX4" fmla="*/ 359619 w 367805"/>
                  <a:gd name="connsiteY4" fmla="*/ 0 h 16375"/>
                  <a:gd name="connsiteX5" fmla="*/ 367806 w 367805"/>
                  <a:gd name="connsiteY5" fmla="*/ 8187 h 16375"/>
                  <a:gd name="connsiteX6" fmla="*/ 359619 w 367805"/>
                  <a:gd name="connsiteY6" fmla="*/ 16375 h 16375"/>
                  <a:gd name="connsiteX7" fmla="*/ 359619 w 367805"/>
                  <a:gd name="connsiteY7" fmla="*/ 16375 h 16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67805" h="16375">
                    <a:moveTo>
                      <a:pt x="359619" y="16375"/>
                    </a:moveTo>
                    <a:lnTo>
                      <a:pt x="8188" y="16375"/>
                    </a:lnTo>
                    <a:cubicBezTo>
                      <a:pt x="3779" y="16375"/>
                      <a:pt x="0" y="12596"/>
                      <a:pt x="0" y="8187"/>
                    </a:cubicBezTo>
                    <a:cubicBezTo>
                      <a:pt x="0" y="3779"/>
                      <a:pt x="3779" y="0"/>
                      <a:pt x="8188" y="0"/>
                    </a:cubicBezTo>
                    <a:lnTo>
                      <a:pt x="359619" y="0"/>
                    </a:lnTo>
                    <a:cubicBezTo>
                      <a:pt x="364027" y="0"/>
                      <a:pt x="367806" y="3779"/>
                      <a:pt x="367806" y="8187"/>
                    </a:cubicBezTo>
                    <a:cubicBezTo>
                      <a:pt x="367806" y="12596"/>
                      <a:pt x="364657" y="16375"/>
                      <a:pt x="359619" y="16375"/>
                    </a:cubicBezTo>
                    <a:lnTo>
                      <a:pt x="359619" y="16375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77" name="Forma Livre: Forma 276">
                <a:extLst>
                  <a:ext uri="{FF2B5EF4-FFF2-40B4-BE49-F238E27FC236}">
                    <a16:creationId xmlns:a16="http://schemas.microsoft.com/office/drawing/2014/main" id="{48B3BEAF-25B5-44B1-A056-A709B88A3116}"/>
                  </a:ext>
                </a:extLst>
              </p:cNvPr>
              <p:cNvSpPr/>
              <p:nvPr/>
            </p:nvSpPr>
            <p:spPr>
              <a:xfrm>
                <a:off x="9507646" y="4696549"/>
                <a:ext cx="41567" cy="41567"/>
              </a:xfrm>
              <a:custGeom>
                <a:avLst/>
                <a:gdLst>
                  <a:gd name="connsiteX0" fmla="*/ 20784 w 41567"/>
                  <a:gd name="connsiteY0" fmla="*/ 0 h 41567"/>
                  <a:gd name="connsiteX1" fmla="*/ 0 w 41567"/>
                  <a:gd name="connsiteY1" fmla="*/ 20783 h 41567"/>
                  <a:gd name="connsiteX2" fmla="*/ 20784 w 41567"/>
                  <a:gd name="connsiteY2" fmla="*/ 41567 h 41567"/>
                  <a:gd name="connsiteX3" fmla="*/ 41568 w 41567"/>
                  <a:gd name="connsiteY3" fmla="*/ 20783 h 41567"/>
                  <a:gd name="connsiteX4" fmla="*/ 20784 w 41567"/>
                  <a:gd name="connsiteY4" fmla="*/ 0 h 41567"/>
                  <a:gd name="connsiteX5" fmla="*/ 20784 w 41567"/>
                  <a:gd name="connsiteY5" fmla="*/ 0 h 41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567" h="41567">
                    <a:moveTo>
                      <a:pt x="20784" y="0"/>
                    </a:moveTo>
                    <a:cubicBezTo>
                      <a:pt x="9447" y="0"/>
                      <a:pt x="0" y="9447"/>
                      <a:pt x="0" y="20783"/>
                    </a:cubicBezTo>
                    <a:cubicBezTo>
                      <a:pt x="0" y="32120"/>
                      <a:pt x="9447" y="41567"/>
                      <a:pt x="20784" y="41567"/>
                    </a:cubicBezTo>
                    <a:cubicBezTo>
                      <a:pt x="32121" y="41567"/>
                      <a:pt x="41568" y="32120"/>
                      <a:pt x="41568" y="20783"/>
                    </a:cubicBezTo>
                    <a:cubicBezTo>
                      <a:pt x="41568" y="9447"/>
                      <a:pt x="32121" y="0"/>
                      <a:pt x="20784" y="0"/>
                    </a:cubicBezTo>
                    <a:lnTo>
                      <a:pt x="20784" y="0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78" name="Forma Livre: Forma 277">
                <a:extLst>
                  <a:ext uri="{FF2B5EF4-FFF2-40B4-BE49-F238E27FC236}">
                    <a16:creationId xmlns:a16="http://schemas.microsoft.com/office/drawing/2014/main" id="{47590DCE-73E0-4A47-AB25-C6E24438DA96}"/>
                  </a:ext>
                </a:extLst>
              </p:cNvPr>
              <p:cNvSpPr/>
              <p:nvPr/>
            </p:nvSpPr>
            <p:spPr>
              <a:xfrm>
                <a:off x="9564328" y="4696549"/>
                <a:ext cx="41597" cy="41567"/>
              </a:xfrm>
              <a:custGeom>
                <a:avLst/>
                <a:gdLst>
                  <a:gd name="connsiteX0" fmla="*/ 20784 w 41597"/>
                  <a:gd name="connsiteY0" fmla="*/ 0 h 41567"/>
                  <a:gd name="connsiteX1" fmla="*/ 0 w 41597"/>
                  <a:gd name="connsiteY1" fmla="*/ 20783 h 41567"/>
                  <a:gd name="connsiteX2" fmla="*/ 20784 w 41597"/>
                  <a:gd name="connsiteY2" fmla="*/ 41567 h 41567"/>
                  <a:gd name="connsiteX3" fmla="*/ 41568 w 41597"/>
                  <a:gd name="connsiteY3" fmla="*/ 20783 h 41567"/>
                  <a:gd name="connsiteX4" fmla="*/ 20784 w 41597"/>
                  <a:gd name="connsiteY4" fmla="*/ 0 h 41567"/>
                  <a:gd name="connsiteX5" fmla="*/ 20784 w 41597"/>
                  <a:gd name="connsiteY5" fmla="*/ 0 h 41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597" h="41567">
                    <a:moveTo>
                      <a:pt x="20784" y="0"/>
                    </a:moveTo>
                    <a:cubicBezTo>
                      <a:pt x="9447" y="0"/>
                      <a:pt x="0" y="9447"/>
                      <a:pt x="0" y="20783"/>
                    </a:cubicBezTo>
                    <a:cubicBezTo>
                      <a:pt x="0" y="32120"/>
                      <a:pt x="9447" y="41567"/>
                      <a:pt x="20784" y="41567"/>
                    </a:cubicBezTo>
                    <a:cubicBezTo>
                      <a:pt x="32121" y="41567"/>
                      <a:pt x="41568" y="32120"/>
                      <a:pt x="41568" y="20783"/>
                    </a:cubicBezTo>
                    <a:cubicBezTo>
                      <a:pt x="42197" y="9447"/>
                      <a:pt x="32750" y="0"/>
                      <a:pt x="20784" y="0"/>
                    </a:cubicBezTo>
                    <a:lnTo>
                      <a:pt x="20784" y="0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79" name="Forma Livre: Forma 278">
                <a:extLst>
                  <a:ext uri="{FF2B5EF4-FFF2-40B4-BE49-F238E27FC236}">
                    <a16:creationId xmlns:a16="http://schemas.microsoft.com/office/drawing/2014/main" id="{D4A12E1E-FD3D-47FF-AF11-7E17469A7F28}"/>
                  </a:ext>
                </a:extLst>
              </p:cNvPr>
              <p:cNvSpPr/>
              <p:nvPr/>
            </p:nvSpPr>
            <p:spPr>
              <a:xfrm>
                <a:off x="9621641" y="4696549"/>
                <a:ext cx="41566" cy="41567"/>
              </a:xfrm>
              <a:custGeom>
                <a:avLst/>
                <a:gdLst>
                  <a:gd name="connsiteX0" fmla="*/ 20783 w 41566"/>
                  <a:gd name="connsiteY0" fmla="*/ 0 h 41567"/>
                  <a:gd name="connsiteX1" fmla="*/ 0 w 41566"/>
                  <a:gd name="connsiteY1" fmla="*/ 20783 h 41567"/>
                  <a:gd name="connsiteX2" fmla="*/ 20783 w 41566"/>
                  <a:gd name="connsiteY2" fmla="*/ 41567 h 41567"/>
                  <a:gd name="connsiteX3" fmla="*/ 41567 w 41566"/>
                  <a:gd name="connsiteY3" fmla="*/ 20783 h 41567"/>
                  <a:gd name="connsiteX4" fmla="*/ 20783 w 41566"/>
                  <a:gd name="connsiteY4" fmla="*/ 0 h 41567"/>
                  <a:gd name="connsiteX5" fmla="*/ 20783 w 41566"/>
                  <a:gd name="connsiteY5" fmla="*/ 0 h 41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566" h="41567">
                    <a:moveTo>
                      <a:pt x="20783" y="0"/>
                    </a:moveTo>
                    <a:cubicBezTo>
                      <a:pt x="9447" y="0"/>
                      <a:pt x="0" y="9447"/>
                      <a:pt x="0" y="20783"/>
                    </a:cubicBezTo>
                    <a:cubicBezTo>
                      <a:pt x="0" y="32120"/>
                      <a:pt x="9447" y="41567"/>
                      <a:pt x="20783" y="41567"/>
                    </a:cubicBezTo>
                    <a:cubicBezTo>
                      <a:pt x="32120" y="41567"/>
                      <a:pt x="41567" y="32120"/>
                      <a:pt x="41567" y="20783"/>
                    </a:cubicBezTo>
                    <a:cubicBezTo>
                      <a:pt x="41567" y="9447"/>
                      <a:pt x="32120" y="0"/>
                      <a:pt x="20783" y="0"/>
                    </a:cubicBezTo>
                    <a:lnTo>
                      <a:pt x="20783" y="0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280" name="Forma Livre: Forma 279">
              <a:extLst>
                <a:ext uri="{FF2B5EF4-FFF2-40B4-BE49-F238E27FC236}">
                  <a16:creationId xmlns:a16="http://schemas.microsoft.com/office/drawing/2014/main" id="{E1640E00-9DCC-4B0A-949D-C062C01ADF01}"/>
                </a:ext>
              </a:extLst>
            </p:cNvPr>
            <p:cNvSpPr/>
            <p:nvPr/>
          </p:nvSpPr>
          <p:spPr>
            <a:xfrm>
              <a:off x="9575245" y="4816421"/>
              <a:ext cx="151364" cy="127640"/>
            </a:xfrm>
            <a:custGeom>
              <a:avLst/>
              <a:gdLst>
                <a:gd name="connsiteX0" fmla="*/ 58362 w 151364"/>
                <a:gd name="connsiteY0" fmla="*/ 127641 h 127640"/>
                <a:gd name="connsiteX1" fmla="*/ 47656 w 151364"/>
                <a:gd name="connsiteY1" fmla="*/ 123862 h 127640"/>
                <a:gd name="connsiteX2" fmla="*/ 6089 w 151364"/>
                <a:gd name="connsiteY2" fmla="*/ 89853 h 127640"/>
                <a:gd name="connsiteX3" fmla="*/ 3570 w 151364"/>
                <a:gd name="connsiteY3" fmla="*/ 66550 h 127640"/>
                <a:gd name="connsiteX4" fmla="*/ 26872 w 151364"/>
                <a:gd name="connsiteY4" fmla="*/ 64031 h 127640"/>
                <a:gd name="connsiteX5" fmla="*/ 55844 w 151364"/>
                <a:gd name="connsiteY5" fmla="*/ 87334 h 127640"/>
                <a:gd name="connsiteX6" fmla="*/ 121973 w 151364"/>
                <a:gd name="connsiteY6" fmla="*/ 6089 h 127640"/>
                <a:gd name="connsiteX7" fmla="*/ 145276 w 151364"/>
                <a:gd name="connsiteY7" fmla="*/ 3570 h 127640"/>
                <a:gd name="connsiteX8" fmla="*/ 147795 w 151364"/>
                <a:gd name="connsiteY8" fmla="*/ 26872 h 127640"/>
                <a:gd name="connsiteX9" fmla="*/ 71589 w 151364"/>
                <a:gd name="connsiteY9" fmla="*/ 121343 h 127640"/>
                <a:gd name="connsiteX10" fmla="*/ 60252 w 151364"/>
                <a:gd name="connsiteY10" fmla="*/ 127641 h 127640"/>
                <a:gd name="connsiteX11" fmla="*/ 58362 w 151364"/>
                <a:gd name="connsiteY11" fmla="*/ 127641 h 127640"/>
                <a:gd name="connsiteX12" fmla="*/ 58362 w 151364"/>
                <a:gd name="connsiteY12" fmla="*/ 127641 h 127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1364" h="127640">
                  <a:moveTo>
                    <a:pt x="58362" y="127641"/>
                  </a:moveTo>
                  <a:cubicBezTo>
                    <a:pt x="54584" y="127641"/>
                    <a:pt x="50805" y="126382"/>
                    <a:pt x="47656" y="123862"/>
                  </a:cubicBezTo>
                  <a:lnTo>
                    <a:pt x="6089" y="89853"/>
                  </a:lnTo>
                  <a:cubicBezTo>
                    <a:pt x="-839" y="84185"/>
                    <a:pt x="-2099" y="73478"/>
                    <a:pt x="3570" y="66550"/>
                  </a:cubicBezTo>
                  <a:cubicBezTo>
                    <a:pt x="9238" y="59622"/>
                    <a:pt x="19944" y="58362"/>
                    <a:pt x="26872" y="64031"/>
                  </a:cubicBezTo>
                  <a:lnTo>
                    <a:pt x="55844" y="87334"/>
                  </a:lnTo>
                  <a:lnTo>
                    <a:pt x="121973" y="6089"/>
                  </a:lnTo>
                  <a:cubicBezTo>
                    <a:pt x="127641" y="-839"/>
                    <a:pt x="138348" y="-2099"/>
                    <a:pt x="145276" y="3570"/>
                  </a:cubicBezTo>
                  <a:cubicBezTo>
                    <a:pt x="152203" y="9238"/>
                    <a:pt x="153463" y="19945"/>
                    <a:pt x="147795" y="26872"/>
                  </a:cubicBezTo>
                  <a:lnTo>
                    <a:pt x="71589" y="121343"/>
                  </a:lnTo>
                  <a:cubicBezTo>
                    <a:pt x="69069" y="124492"/>
                    <a:pt x="64660" y="127011"/>
                    <a:pt x="60252" y="127641"/>
                  </a:cubicBezTo>
                  <a:cubicBezTo>
                    <a:pt x="59622" y="127641"/>
                    <a:pt x="58993" y="127641"/>
                    <a:pt x="58362" y="127641"/>
                  </a:cubicBezTo>
                  <a:lnTo>
                    <a:pt x="58362" y="127641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81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4343885" y="2569702"/>
            <a:ext cx="392367" cy="421968"/>
            <a:chOff x="4343885" y="2569702"/>
            <a:chExt cx="392367" cy="421968"/>
          </a:xfrm>
          <a:solidFill>
            <a:srgbClr val="B1B1A1"/>
          </a:solidFill>
        </p:grpSpPr>
        <p:sp>
          <p:nvSpPr>
            <p:cNvPr id="282" name="Forma Livre: Forma 281">
              <a:extLst>
                <a:ext uri="{FF2B5EF4-FFF2-40B4-BE49-F238E27FC236}">
                  <a16:creationId xmlns:a16="http://schemas.microsoft.com/office/drawing/2014/main" id="{D95A9C76-CAC2-4455-BF39-1DCCD2D4C34F}"/>
                </a:ext>
              </a:extLst>
            </p:cNvPr>
            <p:cNvSpPr/>
            <p:nvPr/>
          </p:nvSpPr>
          <p:spPr>
            <a:xfrm>
              <a:off x="4367187" y="2741008"/>
              <a:ext cx="344582" cy="250662"/>
            </a:xfrm>
            <a:custGeom>
              <a:avLst/>
              <a:gdLst>
                <a:gd name="connsiteX0" fmla="*/ 314272 w 344582"/>
                <a:gd name="connsiteY0" fmla="*/ 250662 h 250662"/>
                <a:gd name="connsiteX1" fmla="*/ 32120 w 344582"/>
                <a:gd name="connsiteY1" fmla="*/ 250662 h 250662"/>
                <a:gd name="connsiteX2" fmla="*/ 0 w 344582"/>
                <a:gd name="connsiteY2" fmla="*/ 218542 h 250662"/>
                <a:gd name="connsiteX3" fmla="*/ 0 w 344582"/>
                <a:gd name="connsiteY3" fmla="*/ 16375 h 250662"/>
                <a:gd name="connsiteX4" fmla="*/ 16375 w 344582"/>
                <a:gd name="connsiteY4" fmla="*/ 0 h 250662"/>
                <a:gd name="connsiteX5" fmla="*/ 32750 w 344582"/>
                <a:gd name="connsiteY5" fmla="*/ 16375 h 250662"/>
                <a:gd name="connsiteX6" fmla="*/ 32750 w 344582"/>
                <a:gd name="connsiteY6" fmla="*/ 217282 h 250662"/>
                <a:gd name="connsiteX7" fmla="*/ 311753 w 344582"/>
                <a:gd name="connsiteY7" fmla="*/ 217282 h 250662"/>
                <a:gd name="connsiteX8" fmla="*/ 311753 w 344582"/>
                <a:gd name="connsiteY8" fmla="*/ 16375 h 250662"/>
                <a:gd name="connsiteX9" fmla="*/ 328128 w 344582"/>
                <a:gd name="connsiteY9" fmla="*/ 0 h 250662"/>
                <a:gd name="connsiteX10" fmla="*/ 344503 w 344582"/>
                <a:gd name="connsiteY10" fmla="*/ 16375 h 250662"/>
                <a:gd name="connsiteX11" fmla="*/ 344503 w 344582"/>
                <a:gd name="connsiteY11" fmla="*/ 218542 h 250662"/>
                <a:gd name="connsiteX12" fmla="*/ 314272 w 344582"/>
                <a:gd name="connsiteY12" fmla="*/ 250662 h 250662"/>
                <a:gd name="connsiteX13" fmla="*/ 314272 w 344582"/>
                <a:gd name="connsiteY13" fmla="*/ 250662 h 250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44582" h="250662">
                  <a:moveTo>
                    <a:pt x="314272" y="250662"/>
                  </a:moveTo>
                  <a:lnTo>
                    <a:pt x="32120" y="250662"/>
                  </a:lnTo>
                  <a:cubicBezTo>
                    <a:pt x="14485" y="250662"/>
                    <a:pt x="0" y="236176"/>
                    <a:pt x="0" y="218542"/>
                  </a:cubicBezTo>
                  <a:lnTo>
                    <a:pt x="0" y="16375"/>
                  </a:lnTo>
                  <a:cubicBezTo>
                    <a:pt x="0" y="6928"/>
                    <a:pt x="7558" y="0"/>
                    <a:pt x="16375" y="0"/>
                  </a:cubicBezTo>
                  <a:cubicBezTo>
                    <a:pt x="25822" y="0"/>
                    <a:pt x="32750" y="7558"/>
                    <a:pt x="32750" y="16375"/>
                  </a:cubicBezTo>
                  <a:lnTo>
                    <a:pt x="32750" y="217282"/>
                  </a:lnTo>
                  <a:lnTo>
                    <a:pt x="311753" y="217282"/>
                  </a:lnTo>
                  <a:lnTo>
                    <a:pt x="311753" y="16375"/>
                  </a:lnTo>
                  <a:cubicBezTo>
                    <a:pt x="311753" y="6928"/>
                    <a:pt x="319311" y="0"/>
                    <a:pt x="328128" y="0"/>
                  </a:cubicBezTo>
                  <a:cubicBezTo>
                    <a:pt x="337575" y="0"/>
                    <a:pt x="344503" y="7558"/>
                    <a:pt x="344503" y="16375"/>
                  </a:cubicBezTo>
                  <a:lnTo>
                    <a:pt x="344503" y="218542"/>
                  </a:lnTo>
                  <a:cubicBezTo>
                    <a:pt x="345762" y="236806"/>
                    <a:pt x="331907" y="250662"/>
                    <a:pt x="314272" y="250662"/>
                  </a:cubicBezTo>
                  <a:lnTo>
                    <a:pt x="314272" y="250662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83" name="Forma Livre: Forma 282">
              <a:extLst>
                <a:ext uri="{FF2B5EF4-FFF2-40B4-BE49-F238E27FC236}">
                  <a16:creationId xmlns:a16="http://schemas.microsoft.com/office/drawing/2014/main" id="{54AF2397-AC32-474A-97A2-54929146EFF9}"/>
                </a:ext>
              </a:extLst>
            </p:cNvPr>
            <p:cNvSpPr/>
            <p:nvPr/>
          </p:nvSpPr>
          <p:spPr>
            <a:xfrm>
              <a:off x="4343885" y="2676139"/>
              <a:ext cx="392367" cy="92581"/>
            </a:xfrm>
            <a:custGeom>
              <a:avLst/>
              <a:gdLst>
                <a:gd name="connsiteX0" fmla="*/ 360248 w 392367"/>
                <a:gd name="connsiteY0" fmla="*/ 92581 h 92581"/>
                <a:gd name="connsiteX1" fmla="*/ 32120 w 392367"/>
                <a:gd name="connsiteY1" fmla="*/ 92581 h 92581"/>
                <a:gd name="connsiteX2" fmla="*/ 0 w 392367"/>
                <a:gd name="connsiteY2" fmla="*/ 60461 h 92581"/>
                <a:gd name="connsiteX3" fmla="*/ 0 w 392367"/>
                <a:gd name="connsiteY3" fmla="*/ 32120 h 92581"/>
                <a:gd name="connsiteX4" fmla="*/ 32120 w 392367"/>
                <a:gd name="connsiteY4" fmla="*/ 0 h 92581"/>
                <a:gd name="connsiteX5" fmla="*/ 360248 w 392367"/>
                <a:gd name="connsiteY5" fmla="*/ 0 h 92581"/>
                <a:gd name="connsiteX6" fmla="*/ 392368 w 392367"/>
                <a:gd name="connsiteY6" fmla="*/ 32120 h 92581"/>
                <a:gd name="connsiteX7" fmla="*/ 392368 w 392367"/>
                <a:gd name="connsiteY7" fmla="*/ 60461 h 92581"/>
                <a:gd name="connsiteX8" fmla="*/ 360248 w 392367"/>
                <a:gd name="connsiteY8" fmla="*/ 92581 h 92581"/>
                <a:gd name="connsiteX9" fmla="*/ 360248 w 392367"/>
                <a:gd name="connsiteY9" fmla="*/ 92581 h 92581"/>
                <a:gd name="connsiteX10" fmla="*/ 33380 w 392367"/>
                <a:gd name="connsiteY10" fmla="*/ 59202 h 92581"/>
                <a:gd name="connsiteX11" fmla="*/ 358988 w 392367"/>
                <a:gd name="connsiteY11" fmla="*/ 59202 h 92581"/>
                <a:gd name="connsiteX12" fmla="*/ 358988 w 392367"/>
                <a:gd name="connsiteY12" fmla="*/ 33380 h 92581"/>
                <a:gd name="connsiteX13" fmla="*/ 33380 w 392367"/>
                <a:gd name="connsiteY13" fmla="*/ 33380 h 92581"/>
                <a:gd name="connsiteX14" fmla="*/ 33380 w 392367"/>
                <a:gd name="connsiteY14" fmla="*/ 59202 h 92581"/>
                <a:gd name="connsiteX15" fmla="*/ 33380 w 392367"/>
                <a:gd name="connsiteY15" fmla="*/ 59202 h 92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92367" h="92581">
                  <a:moveTo>
                    <a:pt x="360248" y="92581"/>
                  </a:moveTo>
                  <a:lnTo>
                    <a:pt x="32120" y="92581"/>
                  </a:lnTo>
                  <a:cubicBezTo>
                    <a:pt x="14486" y="92581"/>
                    <a:pt x="0" y="78096"/>
                    <a:pt x="0" y="60461"/>
                  </a:cubicBezTo>
                  <a:lnTo>
                    <a:pt x="0" y="32120"/>
                  </a:lnTo>
                  <a:cubicBezTo>
                    <a:pt x="0" y="14485"/>
                    <a:pt x="14486" y="0"/>
                    <a:pt x="32120" y="0"/>
                  </a:cubicBezTo>
                  <a:lnTo>
                    <a:pt x="360248" y="0"/>
                  </a:lnTo>
                  <a:cubicBezTo>
                    <a:pt x="377882" y="0"/>
                    <a:pt x="392368" y="14485"/>
                    <a:pt x="392368" y="32120"/>
                  </a:cubicBezTo>
                  <a:lnTo>
                    <a:pt x="392368" y="60461"/>
                  </a:lnTo>
                  <a:cubicBezTo>
                    <a:pt x="392368" y="78725"/>
                    <a:pt x="377882" y="92581"/>
                    <a:pt x="360248" y="92581"/>
                  </a:cubicBezTo>
                  <a:lnTo>
                    <a:pt x="360248" y="92581"/>
                  </a:lnTo>
                  <a:close/>
                  <a:moveTo>
                    <a:pt x="33380" y="59202"/>
                  </a:moveTo>
                  <a:lnTo>
                    <a:pt x="358988" y="59202"/>
                  </a:lnTo>
                  <a:lnTo>
                    <a:pt x="358988" y="33380"/>
                  </a:lnTo>
                  <a:lnTo>
                    <a:pt x="33380" y="33380"/>
                  </a:lnTo>
                  <a:lnTo>
                    <a:pt x="33380" y="59202"/>
                  </a:lnTo>
                  <a:lnTo>
                    <a:pt x="33380" y="59202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284" name="Gráfico 2">
              <a:extLst>
                <a:ext uri="{FF2B5EF4-FFF2-40B4-BE49-F238E27FC236}">
                  <a16:creationId xmlns:a16="http://schemas.microsoft.com/office/drawing/2014/main" id="{A475B8DB-D93F-4DA6-8335-80171E5C5B8D}"/>
                </a:ext>
              </a:extLst>
            </p:cNvPr>
            <p:cNvGrpSpPr/>
            <p:nvPr/>
          </p:nvGrpSpPr>
          <p:grpSpPr>
            <a:xfrm>
              <a:off x="4496927" y="2684326"/>
              <a:ext cx="86283" cy="297267"/>
              <a:chOff x="4496927" y="2684326"/>
              <a:chExt cx="86283" cy="297267"/>
            </a:xfrm>
            <a:grpFill/>
          </p:grpSpPr>
          <p:sp>
            <p:nvSpPr>
              <p:cNvPr id="285" name="Forma Livre: Forma 284">
                <a:extLst>
                  <a:ext uri="{FF2B5EF4-FFF2-40B4-BE49-F238E27FC236}">
                    <a16:creationId xmlns:a16="http://schemas.microsoft.com/office/drawing/2014/main" id="{C5973B33-C1DE-4091-B403-CAE9D2843646}"/>
                  </a:ext>
                </a:extLst>
              </p:cNvPr>
              <p:cNvSpPr/>
              <p:nvPr/>
            </p:nvSpPr>
            <p:spPr>
              <a:xfrm>
                <a:off x="4496927" y="2684326"/>
                <a:ext cx="16443" cy="297267"/>
              </a:xfrm>
              <a:custGeom>
                <a:avLst/>
                <a:gdLst>
                  <a:gd name="connsiteX0" fmla="*/ 8188 w 16443"/>
                  <a:gd name="connsiteY0" fmla="*/ 297268 h 297267"/>
                  <a:gd name="connsiteX1" fmla="*/ 0 w 16443"/>
                  <a:gd name="connsiteY1" fmla="*/ 289080 h 297267"/>
                  <a:gd name="connsiteX2" fmla="*/ 0 w 16443"/>
                  <a:gd name="connsiteY2" fmla="*/ 8188 h 297267"/>
                  <a:gd name="connsiteX3" fmla="*/ 8188 w 16443"/>
                  <a:gd name="connsiteY3" fmla="*/ 0 h 297267"/>
                  <a:gd name="connsiteX4" fmla="*/ 16375 w 16443"/>
                  <a:gd name="connsiteY4" fmla="*/ 8188 h 297267"/>
                  <a:gd name="connsiteX5" fmla="*/ 16375 w 16443"/>
                  <a:gd name="connsiteY5" fmla="*/ 289080 h 297267"/>
                  <a:gd name="connsiteX6" fmla="*/ 8188 w 16443"/>
                  <a:gd name="connsiteY6" fmla="*/ 297268 h 297267"/>
                  <a:gd name="connsiteX7" fmla="*/ 8188 w 16443"/>
                  <a:gd name="connsiteY7" fmla="*/ 297268 h 297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443" h="297267">
                    <a:moveTo>
                      <a:pt x="8188" y="297268"/>
                    </a:moveTo>
                    <a:cubicBezTo>
                      <a:pt x="3779" y="297268"/>
                      <a:pt x="0" y="293489"/>
                      <a:pt x="0" y="289080"/>
                    </a:cubicBezTo>
                    <a:lnTo>
                      <a:pt x="0" y="8188"/>
                    </a:lnTo>
                    <a:cubicBezTo>
                      <a:pt x="0" y="3779"/>
                      <a:pt x="3779" y="0"/>
                      <a:pt x="8188" y="0"/>
                    </a:cubicBezTo>
                    <a:cubicBezTo>
                      <a:pt x="12596" y="0"/>
                      <a:pt x="16375" y="3779"/>
                      <a:pt x="16375" y="8188"/>
                    </a:cubicBezTo>
                    <a:lnTo>
                      <a:pt x="16375" y="289080"/>
                    </a:lnTo>
                    <a:cubicBezTo>
                      <a:pt x="17005" y="293489"/>
                      <a:pt x="13226" y="297268"/>
                      <a:pt x="8188" y="297268"/>
                    </a:cubicBezTo>
                    <a:lnTo>
                      <a:pt x="8188" y="297268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86" name="Forma Livre: Forma 285">
                <a:extLst>
                  <a:ext uri="{FF2B5EF4-FFF2-40B4-BE49-F238E27FC236}">
                    <a16:creationId xmlns:a16="http://schemas.microsoft.com/office/drawing/2014/main" id="{9F8021A8-7765-475F-A9B9-5B938E98A503}"/>
                  </a:ext>
                </a:extLst>
              </p:cNvPr>
              <p:cNvSpPr/>
              <p:nvPr/>
            </p:nvSpPr>
            <p:spPr>
              <a:xfrm>
                <a:off x="4566835" y="2684326"/>
                <a:ext cx="16374" cy="297267"/>
              </a:xfrm>
              <a:custGeom>
                <a:avLst/>
                <a:gdLst>
                  <a:gd name="connsiteX0" fmla="*/ 8187 w 16374"/>
                  <a:gd name="connsiteY0" fmla="*/ 297268 h 297267"/>
                  <a:gd name="connsiteX1" fmla="*/ 0 w 16374"/>
                  <a:gd name="connsiteY1" fmla="*/ 289080 h 297267"/>
                  <a:gd name="connsiteX2" fmla="*/ 0 w 16374"/>
                  <a:gd name="connsiteY2" fmla="*/ 8188 h 297267"/>
                  <a:gd name="connsiteX3" fmla="*/ 8187 w 16374"/>
                  <a:gd name="connsiteY3" fmla="*/ 0 h 297267"/>
                  <a:gd name="connsiteX4" fmla="*/ 16375 w 16374"/>
                  <a:gd name="connsiteY4" fmla="*/ 8188 h 297267"/>
                  <a:gd name="connsiteX5" fmla="*/ 16375 w 16374"/>
                  <a:gd name="connsiteY5" fmla="*/ 289080 h 297267"/>
                  <a:gd name="connsiteX6" fmla="*/ 8187 w 16374"/>
                  <a:gd name="connsiteY6" fmla="*/ 297268 h 297267"/>
                  <a:gd name="connsiteX7" fmla="*/ 8187 w 16374"/>
                  <a:gd name="connsiteY7" fmla="*/ 297268 h 297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374" h="297267">
                    <a:moveTo>
                      <a:pt x="8187" y="297268"/>
                    </a:moveTo>
                    <a:cubicBezTo>
                      <a:pt x="3779" y="297268"/>
                      <a:pt x="0" y="293489"/>
                      <a:pt x="0" y="289080"/>
                    </a:cubicBezTo>
                    <a:lnTo>
                      <a:pt x="0" y="8188"/>
                    </a:lnTo>
                    <a:cubicBezTo>
                      <a:pt x="0" y="3779"/>
                      <a:pt x="3779" y="0"/>
                      <a:pt x="8187" y="0"/>
                    </a:cubicBezTo>
                    <a:cubicBezTo>
                      <a:pt x="12596" y="0"/>
                      <a:pt x="16375" y="3779"/>
                      <a:pt x="16375" y="8188"/>
                    </a:cubicBezTo>
                    <a:lnTo>
                      <a:pt x="16375" y="289080"/>
                    </a:lnTo>
                    <a:cubicBezTo>
                      <a:pt x="16375" y="293489"/>
                      <a:pt x="12596" y="297268"/>
                      <a:pt x="8187" y="297268"/>
                    </a:cubicBezTo>
                    <a:lnTo>
                      <a:pt x="8187" y="297268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287" name="Gráfico 2">
              <a:extLst>
                <a:ext uri="{FF2B5EF4-FFF2-40B4-BE49-F238E27FC236}">
                  <a16:creationId xmlns:a16="http://schemas.microsoft.com/office/drawing/2014/main" id="{A475B8DB-D93F-4DA6-8335-80171E5C5B8D}"/>
                </a:ext>
              </a:extLst>
            </p:cNvPr>
            <p:cNvGrpSpPr/>
            <p:nvPr/>
          </p:nvGrpSpPr>
          <p:grpSpPr>
            <a:xfrm>
              <a:off x="4411431" y="2569702"/>
              <a:ext cx="258062" cy="132258"/>
              <a:chOff x="4411431" y="2569702"/>
              <a:chExt cx="258062" cy="132258"/>
            </a:xfrm>
            <a:grpFill/>
          </p:grpSpPr>
          <p:sp>
            <p:nvSpPr>
              <p:cNvPr id="288" name="Forma Livre: Forma 287">
                <a:extLst>
                  <a:ext uri="{FF2B5EF4-FFF2-40B4-BE49-F238E27FC236}">
                    <a16:creationId xmlns:a16="http://schemas.microsoft.com/office/drawing/2014/main" id="{F04C39CE-F0B4-41EB-B8C0-B90A3682E3F5}"/>
                  </a:ext>
                </a:extLst>
              </p:cNvPr>
              <p:cNvSpPr/>
              <p:nvPr/>
            </p:nvSpPr>
            <p:spPr>
              <a:xfrm>
                <a:off x="4411431" y="2569702"/>
                <a:ext cx="132982" cy="132258"/>
              </a:xfrm>
              <a:custGeom>
                <a:avLst/>
                <a:gdLst>
                  <a:gd name="connsiteX0" fmla="*/ 96202 w 132982"/>
                  <a:gd name="connsiteY0" fmla="*/ 132259 h 132258"/>
                  <a:gd name="connsiteX1" fmla="*/ 19366 w 132982"/>
                  <a:gd name="connsiteY1" fmla="*/ 112735 h 132258"/>
                  <a:gd name="connsiteX2" fmla="*/ 19366 w 132982"/>
                  <a:gd name="connsiteY2" fmla="*/ 18894 h 132258"/>
                  <a:gd name="connsiteX3" fmla="*/ 113207 w 132982"/>
                  <a:gd name="connsiteY3" fmla="*/ 18894 h 132258"/>
                  <a:gd name="connsiteX4" fmla="*/ 132101 w 132982"/>
                  <a:gd name="connsiteY4" fmla="*/ 115884 h 132258"/>
                  <a:gd name="connsiteX5" fmla="*/ 116986 w 132982"/>
                  <a:gd name="connsiteY5" fmla="*/ 130999 h 132258"/>
                  <a:gd name="connsiteX6" fmla="*/ 96202 w 132982"/>
                  <a:gd name="connsiteY6" fmla="*/ 132259 h 132258"/>
                  <a:gd name="connsiteX7" fmla="*/ 96202 w 132982"/>
                  <a:gd name="connsiteY7" fmla="*/ 132259 h 132258"/>
                  <a:gd name="connsiteX8" fmla="*/ 65972 w 132982"/>
                  <a:gd name="connsiteY8" fmla="*/ 32750 h 132258"/>
                  <a:gd name="connsiteX9" fmla="*/ 42669 w 132982"/>
                  <a:gd name="connsiteY9" fmla="*/ 42197 h 132258"/>
                  <a:gd name="connsiteX10" fmla="*/ 42669 w 132982"/>
                  <a:gd name="connsiteY10" fmla="*/ 88802 h 132258"/>
                  <a:gd name="connsiteX11" fmla="*/ 96202 w 132982"/>
                  <a:gd name="connsiteY11" fmla="*/ 98879 h 132258"/>
                  <a:gd name="connsiteX12" fmla="*/ 99351 w 132982"/>
                  <a:gd name="connsiteY12" fmla="*/ 98879 h 132258"/>
                  <a:gd name="connsiteX13" fmla="*/ 89275 w 132982"/>
                  <a:gd name="connsiteY13" fmla="*/ 42827 h 132258"/>
                  <a:gd name="connsiteX14" fmla="*/ 65972 w 132982"/>
                  <a:gd name="connsiteY14" fmla="*/ 32750 h 132258"/>
                  <a:gd name="connsiteX15" fmla="*/ 65972 w 132982"/>
                  <a:gd name="connsiteY15" fmla="*/ 32750 h 132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2982" h="132258">
                    <a:moveTo>
                      <a:pt x="96202" y="132259"/>
                    </a:moveTo>
                    <a:cubicBezTo>
                      <a:pt x="58414" y="132259"/>
                      <a:pt x="31963" y="125331"/>
                      <a:pt x="19366" y="112735"/>
                    </a:cubicBezTo>
                    <a:cubicBezTo>
                      <a:pt x="-6455" y="86913"/>
                      <a:pt x="-6455" y="44716"/>
                      <a:pt x="19366" y="18894"/>
                    </a:cubicBezTo>
                    <a:cubicBezTo>
                      <a:pt x="44559" y="-6298"/>
                      <a:pt x="88015" y="-6298"/>
                      <a:pt x="113207" y="18894"/>
                    </a:cubicBezTo>
                    <a:cubicBezTo>
                      <a:pt x="136510" y="42197"/>
                      <a:pt x="133361" y="103918"/>
                      <a:pt x="132101" y="115884"/>
                    </a:cubicBezTo>
                    <a:cubicBezTo>
                      <a:pt x="131472" y="124071"/>
                      <a:pt x="125174" y="130369"/>
                      <a:pt x="116986" y="130999"/>
                    </a:cubicBezTo>
                    <a:cubicBezTo>
                      <a:pt x="116356" y="130999"/>
                      <a:pt x="108169" y="132259"/>
                      <a:pt x="96202" y="132259"/>
                    </a:cubicBezTo>
                    <a:lnTo>
                      <a:pt x="96202" y="132259"/>
                    </a:lnTo>
                    <a:close/>
                    <a:moveTo>
                      <a:pt x="65972" y="32750"/>
                    </a:moveTo>
                    <a:cubicBezTo>
                      <a:pt x="57155" y="32750"/>
                      <a:pt x="48967" y="35899"/>
                      <a:pt x="42669" y="42197"/>
                    </a:cubicBezTo>
                    <a:cubicBezTo>
                      <a:pt x="30073" y="54793"/>
                      <a:pt x="30073" y="75576"/>
                      <a:pt x="42669" y="88802"/>
                    </a:cubicBezTo>
                    <a:cubicBezTo>
                      <a:pt x="47078" y="93211"/>
                      <a:pt x="64083" y="98879"/>
                      <a:pt x="96202" y="98879"/>
                    </a:cubicBezTo>
                    <a:cubicBezTo>
                      <a:pt x="97462" y="98879"/>
                      <a:pt x="98092" y="98879"/>
                      <a:pt x="99351" y="98879"/>
                    </a:cubicBezTo>
                    <a:cubicBezTo>
                      <a:pt x="99351" y="74947"/>
                      <a:pt x="96202" y="49754"/>
                      <a:pt x="89275" y="42827"/>
                    </a:cubicBezTo>
                    <a:cubicBezTo>
                      <a:pt x="82977" y="35899"/>
                      <a:pt x="74789" y="32750"/>
                      <a:pt x="65972" y="32750"/>
                    </a:cubicBezTo>
                    <a:lnTo>
                      <a:pt x="65972" y="32750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89" name="Forma Livre: Forma 288">
                <a:extLst>
                  <a:ext uri="{FF2B5EF4-FFF2-40B4-BE49-F238E27FC236}">
                    <a16:creationId xmlns:a16="http://schemas.microsoft.com/office/drawing/2014/main" id="{6BC46E0E-3622-4C06-B3B6-A57FEB2C7621}"/>
                  </a:ext>
                </a:extLst>
              </p:cNvPr>
              <p:cNvSpPr/>
              <p:nvPr/>
            </p:nvSpPr>
            <p:spPr>
              <a:xfrm>
                <a:off x="4536353" y="2570332"/>
                <a:ext cx="133140" cy="131628"/>
              </a:xfrm>
              <a:custGeom>
                <a:avLst/>
                <a:gdLst>
                  <a:gd name="connsiteX0" fmla="*/ 36150 w 133140"/>
                  <a:gd name="connsiteY0" fmla="*/ 131629 h 131628"/>
                  <a:gd name="connsiteX1" fmla="*/ 36150 w 133140"/>
                  <a:gd name="connsiteY1" fmla="*/ 131629 h 131628"/>
                  <a:gd name="connsiteX2" fmla="*/ 15997 w 133140"/>
                  <a:gd name="connsiteY2" fmla="*/ 130999 h 131628"/>
                  <a:gd name="connsiteX3" fmla="*/ 881 w 133140"/>
                  <a:gd name="connsiteY3" fmla="*/ 115884 h 131628"/>
                  <a:gd name="connsiteX4" fmla="*/ 19776 w 133140"/>
                  <a:gd name="connsiteY4" fmla="*/ 18894 h 131628"/>
                  <a:gd name="connsiteX5" fmla="*/ 113617 w 133140"/>
                  <a:gd name="connsiteY5" fmla="*/ 18894 h 131628"/>
                  <a:gd name="connsiteX6" fmla="*/ 133140 w 133140"/>
                  <a:gd name="connsiteY6" fmla="*/ 65500 h 131628"/>
                  <a:gd name="connsiteX7" fmla="*/ 113617 w 133140"/>
                  <a:gd name="connsiteY7" fmla="*/ 112105 h 131628"/>
                  <a:gd name="connsiteX8" fmla="*/ 36150 w 133140"/>
                  <a:gd name="connsiteY8" fmla="*/ 131629 h 131628"/>
                  <a:gd name="connsiteX9" fmla="*/ 36150 w 133140"/>
                  <a:gd name="connsiteY9" fmla="*/ 131629 h 131628"/>
                  <a:gd name="connsiteX10" fmla="*/ 33631 w 133140"/>
                  <a:gd name="connsiteY10" fmla="*/ 98249 h 131628"/>
                  <a:gd name="connsiteX11" fmla="*/ 36780 w 133140"/>
                  <a:gd name="connsiteY11" fmla="*/ 98249 h 131628"/>
                  <a:gd name="connsiteX12" fmla="*/ 90314 w 133140"/>
                  <a:gd name="connsiteY12" fmla="*/ 88173 h 131628"/>
                  <a:gd name="connsiteX13" fmla="*/ 99761 w 133140"/>
                  <a:gd name="connsiteY13" fmla="*/ 64870 h 131628"/>
                  <a:gd name="connsiteX14" fmla="*/ 90314 w 133140"/>
                  <a:gd name="connsiteY14" fmla="*/ 41567 h 131628"/>
                  <a:gd name="connsiteX15" fmla="*/ 43708 w 133140"/>
                  <a:gd name="connsiteY15" fmla="*/ 41567 h 131628"/>
                  <a:gd name="connsiteX16" fmla="*/ 33631 w 133140"/>
                  <a:gd name="connsiteY16" fmla="*/ 98249 h 131628"/>
                  <a:gd name="connsiteX17" fmla="*/ 33631 w 133140"/>
                  <a:gd name="connsiteY17" fmla="*/ 98249 h 131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33140" h="131628">
                    <a:moveTo>
                      <a:pt x="36150" y="131629"/>
                    </a:moveTo>
                    <a:lnTo>
                      <a:pt x="36150" y="131629"/>
                    </a:lnTo>
                    <a:cubicBezTo>
                      <a:pt x="24184" y="131629"/>
                      <a:pt x="15997" y="130999"/>
                      <a:pt x="15997" y="130999"/>
                    </a:cubicBezTo>
                    <a:cubicBezTo>
                      <a:pt x="7809" y="130369"/>
                      <a:pt x="1511" y="124071"/>
                      <a:pt x="881" y="115884"/>
                    </a:cubicBezTo>
                    <a:cubicBezTo>
                      <a:pt x="-378" y="103918"/>
                      <a:pt x="-3527" y="42197"/>
                      <a:pt x="19776" y="18894"/>
                    </a:cubicBezTo>
                    <a:cubicBezTo>
                      <a:pt x="44968" y="-6298"/>
                      <a:pt x="88424" y="-6298"/>
                      <a:pt x="113617" y="18894"/>
                    </a:cubicBezTo>
                    <a:cubicBezTo>
                      <a:pt x="126213" y="31490"/>
                      <a:pt x="133140" y="47865"/>
                      <a:pt x="133140" y="65500"/>
                    </a:cubicBezTo>
                    <a:cubicBezTo>
                      <a:pt x="133140" y="83134"/>
                      <a:pt x="126213" y="99509"/>
                      <a:pt x="113617" y="112105"/>
                    </a:cubicBezTo>
                    <a:cubicBezTo>
                      <a:pt x="100390" y="124701"/>
                      <a:pt x="74569" y="131629"/>
                      <a:pt x="36150" y="131629"/>
                    </a:cubicBezTo>
                    <a:lnTo>
                      <a:pt x="36150" y="131629"/>
                    </a:lnTo>
                    <a:close/>
                    <a:moveTo>
                      <a:pt x="33631" y="98249"/>
                    </a:moveTo>
                    <a:cubicBezTo>
                      <a:pt x="34261" y="98249"/>
                      <a:pt x="35521" y="98249"/>
                      <a:pt x="36780" y="98249"/>
                    </a:cubicBezTo>
                    <a:cubicBezTo>
                      <a:pt x="68900" y="98249"/>
                      <a:pt x="85905" y="93211"/>
                      <a:pt x="90314" y="88173"/>
                    </a:cubicBezTo>
                    <a:cubicBezTo>
                      <a:pt x="96612" y="81875"/>
                      <a:pt x="99761" y="73687"/>
                      <a:pt x="99761" y="64870"/>
                    </a:cubicBezTo>
                    <a:cubicBezTo>
                      <a:pt x="99761" y="56053"/>
                      <a:pt x="96612" y="47865"/>
                      <a:pt x="90314" y="41567"/>
                    </a:cubicBezTo>
                    <a:cubicBezTo>
                      <a:pt x="77718" y="28971"/>
                      <a:pt x="56304" y="28971"/>
                      <a:pt x="43708" y="41567"/>
                    </a:cubicBezTo>
                    <a:cubicBezTo>
                      <a:pt x="36150" y="49125"/>
                      <a:pt x="33001" y="75576"/>
                      <a:pt x="33631" y="98249"/>
                    </a:cubicBezTo>
                    <a:lnTo>
                      <a:pt x="33631" y="98249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290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6394526" y="2584187"/>
            <a:ext cx="393312" cy="392997"/>
            <a:chOff x="6394526" y="2584187"/>
            <a:chExt cx="393312" cy="392997"/>
          </a:xfrm>
          <a:solidFill>
            <a:srgbClr val="B1B1A1"/>
          </a:solidFill>
        </p:grpSpPr>
        <p:sp>
          <p:nvSpPr>
            <p:cNvPr id="291" name="Forma Livre: Forma 290">
              <a:extLst>
                <a:ext uri="{FF2B5EF4-FFF2-40B4-BE49-F238E27FC236}">
                  <a16:creationId xmlns:a16="http://schemas.microsoft.com/office/drawing/2014/main" id="{58D96093-6611-405F-9F4C-83C185E99437}"/>
                </a:ext>
              </a:extLst>
            </p:cNvPr>
            <p:cNvSpPr/>
            <p:nvPr/>
          </p:nvSpPr>
          <p:spPr>
            <a:xfrm>
              <a:off x="6394526" y="2584187"/>
              <a:ext cx="393312" cy="392997"/>
            </a:xfrm>
            <a:custGeom>
              <a:avLst/>
              <a:gdLst>
                <a:gd name="connsiteX0" fmla="*/ 196499 w 393312"/>
                <a:gd name="connsiteY0" fmla="*/ 392998 h 392997"/>
                <a:gd name="connsiteX1" fmla="*/ 57312 w 393312"/>
                <a:gd name="connsiteY1" fmla="*/ 335686 h 392997"/>
                <a:gd name="connsiteX2" fmla="*/ 0 w 393312"/>
                <a:gd name="connsiteY2" fmla="*/ 196499 h 392997"/>
                <a:gd name="connsiteX3" fmla="*/ 57312 w 393312"/>
                <a:gd name="connsiteY3" fmla="*/ 57312 h 392997"/>
                <a:gd name="connsiteX4" fmla="*/ 196499 w 393312"/>
                <a:gd name="connsiteY4" fmla="*/ 0 h 392997"/>
                <a:gd name="connsiteX5" fmla="*/ 335685 w 393312"/>
                <a:gd name="connsiteY5" fmla="*/ 57312 h 392997"/>
                <a:gd name="connsiteX6" fmla="*/ 335685 w 393312"/>
                <a:gd name="connsiteY6" fmla="*/ 335056 h 392997"/>
                <a:gd name="connsiteX7" fmla="*/ 196499 w 393312"/>
                <a:gd name="connsiteY7" fmla="*/ 392998 h 392997"/>
                <a:gd name="connsiteX8" fmla="*/ 196499 w 393312"/>
                <a:gd name="connsiteY8" fmla="*/ 392998 h 392997"/>
                <a:gd name="connsiteX9" fmla="*/ 196499 w 393312"/>
                <a:gd name="connsiteY9" fmla="*/ 33380 h 392997"/>
                <a:gd name="connsiteX10" fmla="*/ 81244 w 393312"/>
                <a:gd name="connsiteY10" fmla="*/ 81245 h 392997"/>
                <a:gd name="connsiteX11" fmla="*/ 33380 w 393312"/>
                <a:gd name="connsiteY11" fmla="*/ 196499 h 392997"/>
                <a:gd name="connsiteX12" fmla="*/ 81244 w 393312"/>
                <a:gd name="connsiteY12" fmla="*/ 311753 h 392997"/>
                <a:gd name="connsiteX13" fmla="*/ 196499 w 393312"/>
                <a:gd name="connsiteY13" fmla="*/ 359618 h 392997"/>
                <a:gd name="connsiteX14" fmla="*/ 311753 w 393312"/>
                <a:gd name="connsiteY14" fmla="*/ 311753 h 392997"/>
                <a:gd name="connsiteX15" fmla="*/ 311753 w 393312"/>
                <a:gd name="connsiteY15" fmla="*/ 81245 h 392997"/>
                <a:gd name="connsiteX16" fmla="*/ 196499 w 393312"/>
                <a:gd name="connsiteY16" fmla="*/ 33380 h 392997"/>
                <a:gd name="connsiteX17" fmla="*/ 196499 w 393312"/>
                <a:gd name="connsiteY17" fmla="*/ 33380 h 392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93312" h="392997">
                  <a:moveTo>
                    <a:pt x="196499" y="392998"/>
                  </a:moveTo>
                  <a:cubicBezTo>
                    <a:pt x="144225" y="392998"/>
                    <a:pt x="94471" y="372844"/>
                    <a:pt x="57312" y="335686"/>
                  </a:cubicBezTo>
                  <a:cubicBezTo>
                    <a:pt x="20153" y="298527"/>
                    <a:pt x="0" y="249402"/>
                    <a:pt x="0" y="196499"/>
                  </a:cubicBezTo>
                  <a:cubicBezTo>
                    <a:pt x="0" y="144225"/>
                    <a:pt x="20153" y="94471"/>
                    <a:pt x="57312" y="57312"/>
                  </a:cubicBezTo>
                  <a:cubicBezTo>
                    <a:pt x="94471" y="20154"/>
                    <a:pt x="143595" y="0"/>
                    <a:pt x="196499" y="0"/>
                  </a:cubicBezTo>
                  <a:cubicBezTo>
                    <a:pt x="248773" y="0"/>
                    <a:pt x="298527" y="20154"/>
                    <a:pt x="335685" y="57312"/>
                  </a:cubicBezTo>
                  <a:cubicBezTo>
                    <a:pt x="412522" y="134148"/>
                    <a:pt x="412522" y="258849"/>
                    <a:pt x="335685" y="335056"/>
                  </a:cubicBezTo>
                  <a:cubicBezTo>
                    <a:pt x="298527" y="372214"/>
                    <a:pt x="248773" y="392998"/>
                    <a:pt x="196499" y="392998"/>
                  </a:cubicBezTo>
                  <a:lnTo>
                    <a:pt x="196499" y="392998"/>
                  </a:lnTo>
                  <a:close/>
                  <a:moveTo>
                    <a:pt x="196499" y="33380"/>
                  </a:moveTo>
                  <a:cubicBezTo>
                    <a:pt x="153042" y="33380"/>
                    <a:pt x="112105" y="50384"/>
                    <a:pt x="81244" y="81245"/>
                  </a:cubicBezTo>
                  <a:cubicBezTo>
                    <a:pt x="50384" y="112105"/>
                    <a:pt x="33380" y="153042"/>
                    <a:pt x="33380" y="196499"/>
                  </a:cubicBezTo>
                  <a:cubicBezTo>
                    <a:pt x="33380" y="239955"/>
                    <a:pt x="50384" y="280893"/>
                    <a:pt x="81244" y="311753"/>
                  </a:cubicBezTo>
                  <a:cubicBezTo>
                    <a:pt x="112105" y="342613"/>
                    <a:pt x="153042" y="359618"/>
                    <a:pt x="196499" y="359618"/>
                  </a:cubicBezTo>
                  <a:cubicBezTo>
                    <a:pt x="239955" y="359618"/>
                    <a:pt x="280892" y="342613"/>
                    <a:pt x="311753" y="311753"/>
                  </a:cubicBezTo>
                  <a:cubicBezTo>
                    <a:pt x="375363" y="248143"/>
                    <a:pt x="375363" y="144855"/>
                    <a:pt x="311753" y="81245"/>
                  </a:cubicBezTo>
                  <a:cubicBezTo>
                    <a:pt x="280892" y="50384"/>
                    <a:pt x="239955" y="33380"/>
                    <a:pt x="196499" y="33380"/>
                  </a:cubicBezTo>
                  <a:lnTo>
                    <a:pt x="196499" y="3338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92" name="Forma Livre: Forma 291">
              <a:extLst>
                <a:ext uri="{FF2B5EF4-FFF2-40B4-BE49-F238E27FC236}">
                  <a16:creationId xmlns:a16="http://schemas.microsoft.com/office/drawing/2014/main" id="{3B56B701-54CF-41D2-BAD0-0690F0212A9A}"/>
                </a:ext>
              </a:extLst>
            </p:cNvPr>
            <p:cNvSpPr/>
            <p:nvPr/>
          </p:nvSpPr>
          <p:spPr>
            <a:xfrm>
              <a:off x="6453255" y="2642917"/>
              <a:ext cx="275539" cy="237908"/>
            </a:xfrm>
            <a:custGeom>
              <a:avLst/>
              <a:gdLst>
                <a:gd name="connsiteX0" fmla="*/ 45818 w 275539"/>
                <a:gd name="connsiteY0" fmla="*/ 237908 h 237908"/>
                <a:gd name="connsiteX1" fmla="*/ 40150 w 275539"/>
                <a:gd name="connsiteY1" fmla="*/ 235389 h 237908"/>
                <a:gd name="connsiteX2" fmla="*/ 40150 w 275539"/>
                <a:gd name="connsiteY2" fmla="*/ 40150 h 237908"/>
                <a:gd name="connsiteX3" fmla="*/ 235389 w 275539"/>
                <a:gd name="connsiteY3" fmla="*/ 40150 h 237908"/>
                <a:gd name="connsiteX4" fmla="*/ 235389 w 275539"/>
                <a:gd name="connsiteY4" fmla="*/ 235389 h 237908"/>
                <a:gd name="connsiteX5" fmla="*/ 223423 w 275539"/>
                <a:gd name="connsiteY5" fmla="*/ 235389 h 237908"/>
                <a:gd name="connsiteX6" fmla="*/ 223423 w 275539"/>
                <a:gd name="connsiteY6" fmla="*/ 223423 h 237908"/>
                <a:gd name="connsiteX7" fmla="*/ 223423 w 275539"/>
                <a:gd name="connsiteY7" fmla="*/ 51486 h 237908"/>
                <a:gd name="connsiteX8" fmla="*/ 51487 w 275539"/>
                <a:gd name="connsiteY8" fmla="*/ 51486 h 237908"/>
                <a:gd name="connsiteX9" fmla="*/ 51487 w 275539"/>
                <a:gd name="connsiteY9" fmla="*/ 223423 h 237908"/>
                <a:gd name="connsiteX10" fmla="*/ 51487 w 275539"/>
                <a:gd name="connsiteY10" fmla="*/ 235389 h 237908"/>
                <a:gd name="connsiteX11" fmla="*/ 45818 w 275539"/>
                <a:gd name="connsiteY11" fmla="*/ 237908 h 237908"/>
                <a:gd name="connsiteX12" fmla="*/ 45818 w 275539"/>
                <a:gd name="connsiteY12" fmla="*/ 237908 h 237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5539" h="237908">
                  <a:moveTo>
                    <a:pt x="45818" y="237908"/>
                  </a:moveTo>
                  <a:cubicBezTo>
                    <a:pt x="43929" y="237908"/>
                    <a:pt x="41410" y="237279"/>
                    <a:pt x="40150" y="235389"/>
                  </a:cubicBezTo>
                  <a:cubicBezTo>
                    <a:pt x="-13383" y="181856"/>
                    <a:pt x="-13383" y="93683"/>
                    <a:pt x="40150" y="40150"/>
                  </a:cubicBezTo>
                  <a:cubicBezTo>
                    <a:pt x="93683" y="-13383"/>
                    <a:pt x="181856" y="-13383"/>
                    <a:pt x="235389" y="40150"/>
                  </a:cubicBezTo>
                  <a:cubicBezTo>
                    <a:pt x="288923" y="93683"/>
                    <a:pt x="288923" y="181856"/>
                    <a:pt x="235389" y="235389"/>
                  </a:cubicBezTo>
                  <a:cubicBezTo>
                    <a:pt x="232240" y="238538"/>
                    <a:pt x="226572" y="238538"/>
                    <a:pt x="223423" y="235389"/>
                  </a:cubicBezTo>
                  <a:cubicBezTo>
                    <a:pt x="220274" y="232240"/>
                    <a:pt x="220274" y="226572"/>
                    <a:pt x="223423" y="223423"/>
                  </a:cubicBezTo>
                  <a:cubicBezTo>
                    <a:pt x="270658" y="176188"/>
                    <a:pt x="270658" y="99352"/>
                    <a:pt x="223423" y="51486"/>
                  </a:cubicBezTo>
                  <a:cubicBezTo>
                    <a:pt x="176188" y="4251"/>
                    <a:pt x="99352" y="4251"/>
                    <a:pt x="51487" y="51486"/>
                  </a:cubicBezTo>
                  <a:cubicBezTo>
                    <a:pt x="4251" y="98722"/>
                    <a:pt x="4251" y="175558"/>
                    <a:pt x="51487" y="223423"/>
                  </a:cubicBezTo>
                  <a:cubicBezTo>
                    <a:pt x="54636" y="226572"/>
                    <a:pt x="54636" y="232240"/>
                    <a:pt x="51487" y="235389"/>
                  </a:cubicBezTo>
                  <a:cubicBezTo>
                    <a:pt x="50227" y="236649"/>
                    <a:pt x="48338" y="237908"/>
                    <a:pt x="45818" y="237908"/>
                  </a:cubicBezTo>
                  <a:lnTo>
                    <a:pt x="45818" y="237908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93" name="Forma Livre: Forma 292">
              <a:extLst>
                <a:ext uri="{FF2B5EF4-FFF2-40B4-BE49-F238E27FC236}">
                  <a16:creationId xmlns:a16="http://schemas.microsoft.com/office/drawing/2014/main" id="{DBE87B7D-7701-4FAE-97BD-66979583A322}"/>
                </a:ext>
              </a:extLst>
            </p:cNvPr>
            <p:cNvSpPr/>
            <p:nvPr/>
          </p:nvSpPr>
          <p:spPr>
            <a:xfrm>
              <a:off x="6444123" y="2672045"/>
              <a:ext cx="71010" cy="216967"/>
            </a:xfrm>
            <a:custGeom>
              <a:avLst/>
              <a:gdLst>
                <a:gd name="connsiteX0" fmla="*/ 54950 w 71010"/>
                <a:gd name="connsiteY0" fmla="*/ 216967 h 216967"/>
                <a:gd name="connsiteX1" fmla="*/ 42984 w 71010"/>
                <a:gd name="connsiteY1" fmla="*/ 211929 h 216967"/>
                <a:gd name="connsiteX2" fmla="*/ 42984 w 71010"/>
                <a:gd name="connsiteY2" fmla="*/ 4724 h 216967"/>
                <a:gd name="connsiteX3" fmla="*/ 66287 w 71010"/>
                <a:gd name="connsiteY3" fmla="*/ 4724 h 216967"/>
                <a:gd name="connsiteX4" fmla="*/ 66287 w 71010"/>
                <a:gd name="connsiteY4" fmla="*/ 28026 h 216967"/>
                <a:gd name="connsiteX5" fmla="*/ 66287 w 71010"/>
                <a:gd name="connsiteY5" fmla="*/ 187996 h 216967"/>
                <a:gd name="connsiteX6" fmla="*/ 66287 w 71010"/>
                <a:gd name="connsiteY6" fmla="*/ 211299 h 216967"/>
                <a:gd name="connsiteX7" fmla="*/ 54950 w 71010"/>
                <a:gd name="connsiteY7" fmla="*/ 216967 h 216967"/>
                <a:gd name="connsiteX8" fmla="*/ 54950 w 71010"/>
                <a:gd name="connsiteY8" fmla="*/ 216967 h 2169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010" h="216967">
                  <a:moveTo>
                    <a:pt x="54950" y="216967"/>
                  </a:moveTo>
                  <a:cubicBezTo>
                    <a:pt x="50542" y="216967"/>
                    <a:pt x="46133" y="215078"/>
                    <a:pt x="42984" y="211929"/>
                  </a:cubicBezTo>
                  <a:cubicBezTo>
                    <a:pt x="-14328" y="154617"/>
                    <a:pt x="-14328" y="62036"/>
                    <a:pt x="42984" y="4724"/>
                  </a:cubicBezTo>
                  <a:cubicBezTo>
                    <a:pt x="49282" y="-1575"/>
                    <a:pt x="59989" y="-1575"/>
                    <a:pt x="66287" y="4724"/>
                  </a:cubicBezTo>
                  <a:cubicBezTo>
                    <a:pt x="72585" y="11022"/>
                    <a:pt x="72585" y="21728"/>
                    <a:pt x="66287" y="28026"/>
                  </a:cubicBezTo>
                  <a:cubicBezTo>
                    <a:pt x="22201" y="72112"/>
                    <a:pt x="22201" y="143910"/>
                    <a:pt x="66287" y="187996"/>
                  </a:cubicBezTo>
                  <a:cubicBezTo>
                    <a:pt x="72585" y="194295"/>
                    <a:pt x="72585" y="205001"/>
                    <a:pt x="66287" y="211299"/>
                  </a:cubicBezTo>
                  <a:cubicBezTo>
                    <a:pt x="63768" y="215078"/>
                    <a:pt x="59359" y="216967"/>
                    <a:pt x="54950" y="216967"/>
                  </a:cubicBezTo>
                  <a:lnTo>
                    <a:pt x="54950" y="216967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94" name="Forma Livre: Forma 293">
              <a:extLst>
                <a:ext uri="{FF2B5EF4-FFF2-40B4-BE49-F238E27FC236}">
                  <a16:creationId xmlns:a16="http://schemas.microsoft.com/office/drawing/2014/main" id="{23AAD761-0263-496F-A22E-DDC2F43C16C3}"/>
                </a:ext>
              </a:extLst>
            </p:cNvPr>
            <p:cNvSpPr/>
            <p:nvPr/>
          </p:nvSpPr>
          <p:spPr>
            <a:xfrm>
              <a:off x="6558275" y="2861931"/>
              <a:ext cx="65499" cy="65499"/>
            </a:xfrm>
            <a:custGeom>
              <a:avLst/>
              <a:gdLst>
                <a:gd name="connsiteX0" fmla="*/ 32749 w 65499"/>
                <a:gd name="connsiteY0" fmla="*/ 0 h 65499"/>
                <a:gd name="connsiteX1" fmla="*/ 0 w 65499"/>
                <a:gd name="connsiteY1" fmla="*/ 32750 h 65499"/>
                <a:gd name="connsiteX2" fmla="*/ 32749 w 65499"/>
                <a:gd name="connsiteY2" fmla="*/ 65500 h 65499"/>
                <a:gd name="connsiteX3" fmla="*/ 65499 w 65499"/>
                <a:gd name="connsiteY3" fmla="*/ 32750 h 65499"/>
                <a:gd name="connsiteX4" fmla="*/ 32749 w 65499"/>
                <a:gd name="connsiteY4" fmla="*/ 0 h 65499"/>
                <a:gd name="connsiteX5" fmla="*/ 32749 w 65499"/>
                <a:gd name="connsiteY5" fmla="*/ 0 h 65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5499" h="65499">
                  <a:moveTo>
                    <a:pt x="32749" y="0"/>
                  </a:moveTo>
                  <a:cubicBezTo>
                    <a:pt x="14485" y="0"/>
                    <a:pt x="0" y="14485"/>
                    <a:pt x="0" y="32750"/>
                  </a:cubicBezTo>
                  <a:cubicBezTo>
                    <a:pt x="0" y="51014"/>
                    <a:pt x="14485" y="65500"/>
                    <a:pt x="32749" y="65500"/>
                  </a:cubicBezTo>
                  <a:cubicBezTo>
                    <a:pt x="51014" y="65500"/>
                    <a:pt x="65499" y="51014"/>
                    <a:pt x="65499" y="32750"/>
                  </a:cubicBezTo>
                  <a:cubicBezTo>
                    <a:pt x="65499" y="14485"/>
                    <a:pt x="51014" y="0"/>
                    <a:pt x="32749" y="0"/>
                  </a:cubicBezTo>
                  <a:lnTo>
                    <a:pt x="32749" y="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95" name="Forma Livre: Forma 294">
              <a:extLst>
                <a:ext uri="{FF2B5EF4-FFF2-40B4-BE49-F238E27FC236}">
                  <a16:creationId xmlns:a16="http://schemas.microsoft.com/office/drawing/2014/main" id="{A7A5EAE0-221B-474A-83AF-C58625EB48C1}"/>
                </a:ext>
              </a:extLst>
            </p:cNvPr>
            <p:cNvSpPr/>
            <p:nvPr/>
          </p:nvSpPr>
          <p:spPr>
            <a:xfrm>
              <a:off x="6513348" y="2733240"/>
              <a:ext cx="95522" cy="173407"/>
            </a:xfrm>
            <a:custGeom>
              <a:avLst/>
              <a:gdLst>
                <a:gd name="connsiteX0" fmla="*/ 78936 w 95522"/>
                <a:gd name="connsiteY0" fmla="*/ 173407 h 173407"/>
                <a:gd name="connsiteX1" fmla="*/ 63821 w 95522"/>
                <a:gd name="connsiteY1" fmla="*/ 163330 h 173407"/>
                <a:gd name="connsiteX2" fmla="*/ 1470 w 95522"/>
                <a:gd name="connsiteY2" fmla="*/ 23514 h 173407"/>
                <a:gd name="connsiteX3" fmla="*/ 9658 w 95522"/>
                <a:gd name="connsiteY3" fmla="*/ 1470 h 173407"/>
                <a:gd name="connsiteX4" fmla="*/ 31701 w 95522"/>
                <a:gd name="connsiteY4" fmla="*/ 9658 h 173407"/>
                <a:gd name="connsiteX5" fmla="*/ 94052 w 95522"/>
                <a:gd name="connsiteY5" fmla="*/ 149474 h 173407"/>
                <a:gd name="connsiteX6" fmla="*/ 85864 w 95522"/>
                <a:gd name="connsiteY6" fmla="*/ 171518 h 173407"/>
                <a:gd name="connsiteX7" fmla="*/ 78936 w 95522"/>
                <a:gd name="connsiteY7" fmla="*/ 173407 h 173407"/>
                <a:gd name="connsiteX8" fmla="*/ 78936 w 95522"/>
                <a:gd name="connsiteY8" fmla="*/ 173407 h 173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5522" h="173407">
                  <a:moveTo>
                    <a:pt x="78936" y="173407"/>
                  </a:moveTo>
                  <a:cubicBezTo>
                    <a:pt x="72638" y="173407"/>
                    <a:pt x="66340" y="169628"/>
                    <a:pt x="63821" y="163330"/>
                  </a:cubicBezTo>
                  <a:lnTo>
                    <a:pt x="1470" y="23514"/>
                  </a:lnTo>
                  <a:cubicBezTo>
                    <a:pt x="-2308" y="15326"/>
                    <a:pt x="1470" y="5249"/>
                    <a:pt x="9658" y="1470"/>
                  </a:cubicBezTo>
                  <a:cubicBezTo>
                    <a:pt x="17845" y="-2308"/>
                    <a:pt x="27922" y="1470"/>
                    <a:pt x="31701" y="9658"/>
                  </a:cubicBezTo>
                  <a:lnTo>
                    <a:pt x="94052" y="149474"/>
                  </a:lnTo>
                  <a:cubicBezTo>
                    <a:pt x="97830" y="157662"/>
                    <a:pt x="94052" y="167739"/>
                    <a:pt x="85864" y="171518"/>
                  </a:cubicBezTo>
                  <a:cubicBezTo>
                    <a:pt x="83345" y="173407"/>
                    <a:pt x="81456" y="173407"/>
                    <a:pt x="78936" y="173407"/>
                  </a:cubicBezTo>
                  <a:lnTo>
                    <a:pt x="78936" y="173407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96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9464190" y="2566080"/>
            <a:ext cx="372843" cy="427479"/>
            <a:chOff x="9464190" y="2566080"/>
            <a:chExt cx="372843" cy="427479"/>
          </a:xfrm>
          <a:solidFill>
            <a:srgbClr val="B1B1A1"/>
          </a:solidFill>
        </p:grpSpPr>
        <p:sp>
          <p:nvSpPr>
            <p:cNvPr id="297" name="Forma Livre: Forma 296">
              <a:extLst>
                <a:ext uri="{FF2B5EF4-FFF2-40B4-BE49-F238E27FC236}">
                  <a16:creationId xmlns:a16="http://schemas.microsoft.com/office/drawing/2014/main" id="{084C44B4-EECF-4D79-B964-219E52EC01C4}"/>
                </a:ext>
              </a:extLst>
            </p:cNvPr>
            <p:cNvSpPr/>
            <p:nvPr/>
          </p:nvSpPr>
          <p:spPr>
            <a:xfrm>
              <a:off x="9464190" y="2566080"/>
              <a:ext cx="372843" cy="427479"/>
            </a:xfrm>
            <a:custGeom>
              <a:avLst/>
              <a:gdLst>
                <a:gd name="connsiteX0" fmla="*/ 186422 w 372843"/>
                <a:gd name="connsiteY0" fmla="*/ 427479 h 427479"/>
                <a:gd name="connsiteX1" fmla="*/ 29600 w 372843"/>
                <a:gd name="connsiteY1" fmla="*/ 321672 h 427479"/>
                <a:gd name="connsiteX2" fmla="*/ 0 w 372843"/>
                <a:gd name="connsiteY2" fmla="*/ 246726 h 427479"/>
                <a:gd name="connsiteX3" fmla="*/ 0 w 372843"/>
                <a:gd name="connsiteY3" fmla="*/ 81717 h 427479"/>
                <a:gd name="connsiteX4" fmla="*/ 42826 w 372843"/>
                <a:gd name="connsiteY4" fmla="*/ 23145 h 427479"/>
                <a:gd name="connsiteX5" fmla="*/ 330017 w 372843"/>
                <a:gd name="connsiteY5" fmla="*/ 23145 h 427479"/>
                <a:gd name="connsiteX6" fmla="*/ 372844 w 372843"/>
                <a:gd name="connsiteY6" fmla="*/ 81717 h 427479"/>
                <a:gd name="connsiteX7" fmla="*/ 372844 w 372843"/>
                <a:gd name="connsiteY7" fmla="*/ 246096 h 427479"/>
                <a:gd name="connsiteX8" fmla="*/ 343243 w 372843"/>
                <a:gd name="connsiteY8" fmla="*/ 320413 h 427479"/>
                <a:gd name="connsiteX9" fmla="*/ 186422 w 372843"/>
                <a:gd name="connsiteY9" fmla="*/ 427479 h 427479"/>
                <a:gd name="connsiteX10" fmla="*/ 186422 w 372843"/>
                <a:gd name="connsiteY10" fmla="*/ 427479 h 427479"/>
                <a:gd name="connsiteX11" fmla="*/ 186422 w 372843"/>
                <a:gd name="connsiteY11" fmla="*/ 34482 h 427479"/>
                <a:gd name="connsiteX12" fmla="*/ 53533 w 372843"/>
                <a:gd name="connsiteY12" fmla="*/ 55895 h 427479"/>
                <a:gd name="connsiteX13" fmla="*/ 33379 w 372843"/>
                <a:gd name="connsiteY13" fmla="*/ 82347 h 427479"/>
                <a:gd name="connsiteX14" fmla="*/ 33379 w 372843"/>
                <a:gd name="connsiteY14" fmla="*/ 247355 h 427479"/>
                <a:gd name="connsiteX15" fmla="*/ 53533 w 372843"/>
                <a:gd name="connsiteY15" fmla="*/ 298999 h 427479"/>
                <a:gd name="connsiteX16" fmla="*/ 186422 w 372843"/>
                <a:gd name="connsiteY16" fmla="*/ 394730 h 427479"/>
                <a:gd name="connsiteX17" fmla="*/ 319310 w 372843"/>
                <a:gd name="connsiteY17" fmla="*/ 298999 h 427479"/>
                <a:gd name="connsiteX18" fmla="*/ 339464 w 372843"/>
                <a:gd name="connsiteY18" fmla="*/ 247355 h 427479"/>
                <a:gd name="connsiteX19" fmla="*/ 339464 w 372843"/>
                <a:gd name="connsiteY19" fmla="*/ 82977 h 427479"/>
                <a:gd name="connsiteX20" fmla="*/ 319940 w 372843"/>
                <a:gd name="connsiteY20" fmla="*/ 56525 h 427479"/>
                <a:gd name="connsiteX21" fmla="*/ 186422 w 372843"/>
                <a:gd name="connsiteY21" fmla="*/ 34482 h 427479"/>
                <a:gd name="connsiteX22" fmla="*/ 186422 w 372843"/>
                <a:gd name="connsiteY22" fmla="*/ 34482 h 427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72843" h="427479">
                  <a:moveTo>
                    <a:pt x="186422" y="427479"/>
                  </a:moveTo>
                  <a:cubicBezTo>
                    <a:pt x="141075" y="427479"/>
                    <a:pt x="98249" y="391581"/>
                    <a:pt x="29600" y="321672"/>
                  </a:cubicBezTo>
                  <a:cubicBezTo>
                    <a:pt x="11336" y="302148"/>
                    <a:pt x="0" y="268769"/>
                    <a:pt x="0" y="246726"/>
                  </a:cubicBezTo>
                  <a:lnTo>
                    <a:pt x="0" y="81717"/>
                  </a:lnTo>
                  <a:cubicBezTo>
                    <a:pt x="0" y="55895"/>
                    <a:pt x="18264" y="31333"/>
                    <a:pt x="42826" y="23145"/>
                  </a:cubicBezTo>
                  <a:cubicBezTo>
                    <a:pt x="135408" y="-7715"/>
                    <a:pt x="236806" y="-7715"/>
                    <a:pt x="330017" y="23145"/>
                  </a:cubicBezTo>
                  <a:cubicBezTo>
                    <a:pt x="353949" y="30703"/>
                    <a:pt x="372844" y="56525"/>
                    <a:pt x="372844" y="81717"/>
                  </a:cubicBezTo>
                  <a:lnTo>
                    <a:pt x="372844" y="246096"/>
                  </a:lnTo>
                  <a:cubicBezTo>
                    <a:pt x="372844" y="267509"/>
                    <a:pt x="361507" y="301519"/>
                    <a:pt x="343243" y="320413"/>
                  </a:cubicBezTo>
                  <a:cubicBezTo>
                    <a:pt x="275224" y="392210"/>
                    <a:pt x="231767" y="427479"/>
                    <a:pt x="186422" y="427479"/>
                  </a:cubicBezTo>
                  <a:lnTo>
                    <a:pt x="186422" y="427479"/>
                  </a:lnTo>
                  <a:close/>
                  <a:moveTo>
                    <a:pt x="186422" y="34482"/>
                  </a:moveTo>
                  <a:cubicBezTo>
                    <a:pt x="141075" y="34482"/>
                    <a:pt x="96360" y="41410"/>
                    <a:pt x="53533" y="55895"/>
                  </a:cubicBezTo>
                  <a:cubicBezTo>
                    <a:pt x="42826" y="59044"/>
                    <a:pt x="33379" y="71640"/>
                    <a:pt x="33379" y="82347"/>
                  </a:cubicBezTo>
                  <a:lnTo>
                    <a:pt x="33379" y="247355"/>
                  </a:lnTo>
                  <a:cubicBezTo>
                    <a:pt x="33379" y="261841"/>
                    <a:pt x="42197" y="287033"/>
                    <a:pt x="53533" y="298999"/>
                  </a:cubicBezTo>
                  <a:cubicBezTo>
                    <a:pt x="113994" y="360720"/>
                    <a:pt x="153042" y="394730"/>
                    <a:pt x="186422" y="394730"/>
                  </a:cubicBezTo>
                  <a:cubicBezTo>
                    <a:pt x="219801" y="394730"/>
                    <a:pt x="258849" y="361350"/>
                    <a:pt x="319310" y="298999"/>
                  </a:cubicBezTo>
                  <a:cubicBezTo>
                    <a:pt x="330647" y="287033"/>
                    <a:pt x="339464" y="261841"/>
                    <a:pt x="339464" y="247355"/>
                  </a:cubicBezTo>
                  <a:lnTo>
                    <a:pt x="339464" y="82977"/>
                  </a:lnTo>
                  <a:cubicBezTo>
                    <a:pt x="339464" y="72270"/>
                    <a:pt x="330017" y="59674"/>
                    <a:pt x="319940" y="56525"/>
                  </a:cubicBezTo>
                  <a:cubicBezTo>
                    <a:pt x="277114" y="41410"/>
                    <a:pt x="231767" y="34482"/>
                    <a:pt x="186422" y="34482"/>
                  </a:cubicBezTo>
                  <a:lnTo>
                    <a:pt x="186422" y="34482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98" name="Forma Livre: Forma 297">
              <a:extLst>
                <a:ext uri="{FF2B5EF4-FFF2-40B4-BE49-F238E27FC236}">
                  <a16:creationId xmlns:a16="http://schemas.microsoft.com/office/drawing/2014/main" id="{380409A0-F390-45FA-9414-90664A878902}"/>
                </a:ext>
              </a:extLst>
            </p:cNvPr>
            <p:cNvSpPr/>
            <p:nvPr/>
          </p:nvSpPr>
          <p:spPr>
            <a:xfrm>
              <a:off x="9522762" y="2625282"/>
              <a:ext cx="256330" cy="310335"/>
            </a:xfrm>
            <a:custGeom>
              <a:avLst/>
              <a:gdLst>
                <a:gd name="connsiteX0" fmla="*/ 127850 w 256330"/>
                <a:gd name="connsiteY0" fmla="*/ 310336 h 310335"/>
                <a:gd name="connsiteX1" fmla="*/ 13226 w 256330"/>
                <a:gd name="connsiteY1" fmla="*/ 222163 h 310335"/>
                <a:gd name="connsiteX2" fmla="*/ 0 w 256330"/>
                <a:gd name="connsiteY2" fmla="*/ 188154 h 310335"/>
                <a:gd name="connsiteX3" fmla="*/ 0 w 256330"/>
                <a:gd name="connsiteY3" fmla="*/ 27554 h 310335"/>
                <a:gd name="connsiteX4" fmla="*/ 5668 w 256330"/>
                <a:gd name="connsiteY4" fmla="*/ 19366 h 310335"/>
                <a:gd name="connsiteX5" fmla="*/ 250662 w 256330"/>
                <a:gd name="connsiteY5" fmla="*/ 19366 h 310335"/>
                <a:gd name="connsiteX6" fmla="*/ 256331 w 256330"/>
                <a:gd name="connsiteY6" fmla="*/ 27554 h 310335"/>
                <a:gd name="connsiteX7" fmla="*/ 256331 w 256330"/>
                <a:gd name="connsiteY7" fmla="*/ 188154 h 310335"/>
                <a:gd name="connsiteX8" fmla="*/ 243104 w 256330"/>
                <a:gd name="connsiteY8" fmla="*/ 222163 h 310335"/>
                <a:gd name="connsiteX9" fmla="*/ 127850 w 256330"/>
                <a:gd name="connsiteY9" fmla="*/ 310336 h 310335"/>
                <a:gd name="connsiteX10" fmla="*/ 127850 w 256330"/>
                <a:gd name="connsiteY10" fmla="*/ 310336 h 310335"/>
                <a:gd name="connsiteX11" fmla="*/ 16375 w 256330"/>
                <a:gd name="connsiteY11" fmla="*/ 33852 h 310335"/>
                <a:gd name="connsiteX12" fmla="*/ 16375 w 256330"/>
                <a:gd name="connsiteY12" fmla="*/ 188154 h 310335"/>
                <a:gd name="connsiteX13" fmla="*/ 25192 w 256330"/>
                <a:gd name="connsiteY13" fmla="*/ 210827 h 310335"/>
                <a:gd name="connsiteX14" fmla="*/ 127850 w 256330"/>
                <a:gd name="connsiteY14" fmla="*/ 293961 h 310335"/>
                <a:gd name="connsiteX15" fmla="*/ 230508 w 256330"/>
                <a:gd name="connsiteY15" fmla="*/ 211457 h 310335"/>
                <a:gd name="connsiteX16" fmla="*/ 239325 w 256330"/>
                <a:gd name="connsiteY16" fmla="*/ 188154 h 310335"/>
                <a:gd name="connsiteX17" fmla="*/ 239325 w 256330"/>
                <a:gd name="connsiteY17" fmla="*/ 33852 h 310335"/>
                <a:gd name="connsiteX18" fmla="*/ 16375 w 256330"/>
                <a:gd name="connsiteY18" fmla="*/ 33852 h 310335"/>
                <a:gd name="connsiteX19" fmla="*/ 16375 w 256330"/>
                <a:gd name="connsiteY19" fmla="*/ 33852 h 310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56330" h="310335">
                  <a:moveTo>
                    <a:pt x="127850" y="310336"/>
                  </a:moveTo>
                  <a:cubicBezTo>
                    <a:pt x="101398" y="310336"/>
                    <a:pt x="56682" y="266879"/>
                    <a:pt x="13226" y="222163"/>
                  </a:cubicBezTo>
                  <a:cubicBezTo>
                    <a:pt x="6928" y="215236"/>
                    <a:pt x="0" y="196341"/>
                    <a:pt x="0" y="188154"/>
                  </a:cubicBezTo>
                  <a:lnTo>
                    <a:pt x="0" y="27554"/>
                  </a:lnTo>
                  <a:cubicBezTo>
                    <a:pt x="0" y="23775"/>
                    <a:pt x="2519" y="20626"/>
                    <a:pt x="5668" y="19366"/>
                  </a:cubicBezTo>
                  <a:cubicBezTo>
                    <a:pt x="85653" y="-6455"/>
                    <a:pt x="171307" y="-6455"/>
                    <a:pt x="250662" y="19366"/>
                  </a:cubicBezTo>
                  <a:cubicBezTo>
                    <a:pt x="253811" y="20626"/>
                    <a:pt x="256331" y="23775"/>
                    <a:pt x="256331" y="27554"/>
                  </a:cubicBezTo>
                  <a:lnTo>
                    <a:pt x="256331" y="188154"/>
                  </a:lnTo>
                  <a:cubicBezTo>
                    <a:pt x="256331" y="196971"/>
                    <a:pt x="249402" y="215865"/>
                    <a:pt x="243104" y="222163"/>
                  </a:cubicBezTo>
                  <a:cubicBezTo>
                    <a:pt x="199018" y="266879"/>
                    <a:pt x="154932" y="310336"/>
                    <a:pt x="127850" y="310336"/>
                  </a:cubicBezTo>
                  <a:lnTo>
                    <a:pt x="127850" y="310336"/>
                  </a:lnTo>
                  <a:close/>
                  <a:moveTo>
                    <a:pt x="16375" y="33852"/>
                  </a:moveTo>
                  <a:lnTo>
                    <a:pt x="16375" y="188154"/>
                  </a:lnTo>
                  <a:cubicBezTo>
                    <a:pt x="16375" y="193192"/>
                    <a:pt x="22043" y="207678"/>
                    <a:pt x="25192" y="210827"/>
                  </a:cubicBezTo>
                  <a:cubicBezTo>
                    <a:pt x="49125" y="235389"/>
                    <a:pt x="106437" y="293961"/>
                    <a:pt x="127850" y="293961"/>
                  </a:cubicBezTo>
                  <a:cubicBezTo>
                    <a:pt x="149894" y="293961"/>
                    <a:pt x="205946" y="236019"/>
                    <a:pt x="230508" y="211457"/>
                  </a:cubicBezTo>
                  <a:cubicBezTo>
                    <a:pt x="234288" y="207678"/>
                    <a:pt x="239325" y="193192"/>
                    <a:pt x="239325" y="188154"/>
                  </a:cubicBezTo>
                  <a:lnTo>
                    <a:pt x="239325" y="33852"/>
                  </a:lnTo>
                  <a:cubicBezTo>
                    <a:pt x="167528" y="11809"/>
                    <a:pt x="89433" y="11179"/>
                    <a:pt x="16375" y="33852"/>
                  </a:cubicBezTo>
                  <a:lnTo>
                    <a:pt x="16375" y="33852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99" name="Forma Livre: Forma 298">
              <a:extLst>
                <a:ext uri="{FF2B5EF4-FFF2-40B4-BE49-F238E27FC236}">
                  <a16:creationId xmlns:a16="http://schemas.microsoft.com/office/drawing/2014/main" id="{50130598-7F5E-4540-BB49-310E8D465996}"/>
                </a:ext>
              </a:extLst>
            </p:cNvPr>
            <p:cNvSpPr/>
            <p:nvPr/>
          </p:nvSpPr>
          <p:spPr>
            <a:xfrm>
              <a:off x="9590541" y="2714766"/>
              <a:ext cx="120952" cy="106857"/>
            </a:xfrm>
            <a:custGeom>
              <a:avLst/>
              <a:gdLst>
                <a:gd name="connsiteX0" fmla="*/ 43696 w 120952"/>
                <a:gd name="connsiteY0" fmla="*/ 106858 h 106857"/>
                <a:gd name="connsiteX1" fmla="*/ 31730 w 120952"/>
                <a:gd name="connsiteY1" fmla="*/ 101819 h 106857"/>
                <a:gd name="connsiteX2" fmla="*/ 4648 w 120952"/>
                <a:gd name="connsiteY2" fmla="*/ 72848 h 106857"/>
                <a:gd name="connsiteX3" fmla="*/ 5277 w 120952"/>
                <a:gd name="connsiteY3" fmla="*/ 49545 h 106857"/>
                <a:gd name="connsiteX4" fmla="*/ 28580 w 120952"/>
                <a:gd name="connsiteY4" fmla="*/ 50175 h 106857"/>
                <a:gd name="connsiteX5" fmla="*/ 43066 w 120952"/>
                <a:gd name="connsiteY5" fmla="*/ 65290 h 106857"/>
                <a:gd name="connsiteX6" fmla="*/ 91561 w 120952"/>
                <a:gd name="connsiteY6" fmla="*/ 6089 h 106857"/>
                <a:gd name="connsiteX7" fmla="*/ 114863 w 120952"/>
                <a:gd name="connsiteY7" fmla="*/ 3570 h 106857"/>
                <a:gd name="connsiteX8" fmla="*/ 117383 w 120952"/>
                <a:gd name="connsiteY8" fmla="*/ 26872 h 106857"/>
                <a:gd name="connsiteX9" fmla="*/ 56922 w 120952"/>
                <a:gd name="connsiteY9" fmla="*/ 100560 h 106857"/>
                <a:gd name="connsiteX10" fmla="*/ 43696 w 120952"/>
                <a:gd name="connsiteY10" fmla="*/ 106858 h 106857"/>
                <a:gd name="connsiteX11" fmla="*/ 43696 w 120952"/>
                <a:gd name="connsiteY11" fmla="*/ 106858 h 106857"/>
                <a:gd name="connsiteX12" fmla="*/ 43696 w 120952"/>
                <a:gd name="connsiteY12" fmla="*/ 106858 h 106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0952" h="106857">
                  <a:moveTo>
                    <a:pt x="43696" y="106858"/>
                  </a:moveTo>
                  <a:cubicBezTo>
                    <a:pt x="39287" y="106858"/>
                    <a:pt x="34879" y="104968"/>
                    <a:pt x="31730" y="101819"/>
                  </a:cubicBezTo>
                  <a:lnTo>
                    <a:pt x="4648" y="72848"/>
                  </a:lnTo>
                  <a:cubicBezTo>
                    <a:pt x="-1650" y="65920"/>
                    <a:pt x="-1650" y="55843"/>
                    <a:pt x="5277" y="49545"/>
                  </a:cubicBezTo>
                  <a:cubicBezTo>
                    <a:pt x="12206" y="43247"/>
                    <a:pt x="22282" y="43247"/>
                    <a:pt x="28580" y="50175"/>
                  </a:cubicBezTo>
                  <a:lnTo>
                    <a:pt x="43066" y="65290"/>
                  </a:lnTo>
                  <a:lnTo>
                    <a:pt x="91561" y="6089"/>
                  </a:lnTo>
                  <a:cubicBezTo>
                    <a:pt x="97229" y="-839"/>
                    <a:pt x="107936" y="-2099"/>
                    <a:pt x="114863" y="3570"/>
                  </a:cubicBezTo>
                  <a:cubicBezTo>
                    <a:pt x="121791" y="9238"/>
                    <a:pt x="123051" y="19945"/>
                    <a:pt x="117383" y="26872"/>
                  </a:cubicBezTo>
                  <a:lnTo>
                    <a:pt x="56922" y="100560"/>
                  </a:lnTo>
                  <a:cubicBezTo>
                    <a:pt x="53773" y="104968"/>
                    <a:pt x="49364" y="106858"/>
                    <a:pt x="43696" y="106858"/>
                  </a:cubicBezTo>
                  <a:cubicBezTo>
                    <a:pt x="44326" y="106858"/>
                    <a:pt x="44326" y="106858"/>
                    <a:pt x="43696" y="106858"/>
                  </a:cubicBezTo>
                  <a:lnTo>
                    <a:pt x="43696" y="106858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00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10476285" y="4648054"/>
            <a:ext cx="396183" cy="396146"/>
            <a:chOff x="10476285" y="4648054"/>
            <a:chExt cx="396183" cy="396146"/>
          </a:xfrm>
          <a:solidFill>
            <a:srgbClr val="B1B1A1"/>
          </a:solidFill>
        </p:grpSpPr>
        <p:grpSp>
          <p:nvGrpSpPr>
            <p:cNvPr id="301" name="Gráfico 2">
              <a:extLst>
                <a:ext uri="{FF2B5EF4-FFF2-40B4-BE49-F238E27FC236}">
                  <a16:creationId xmlns:a16="http://schemas.microsoft.com/office/drawing/2014/main" id="{A475B8DB-D93F-4DA6-8335-80171E5C5B8D}"/>
                </a:ext>
              </a:extLst>
            </p:cNvPr>
            <p:cNvGrpSpPr/>
            <p:nvPr/>
          </p:nvGrpSpPr>
          <p:grpSpPr>
            <a:xfrm>
              <a:off x="10476285" y="4648054"/>
              <a:ext cx="396183" cy="396146"/>
              <a:chOff x="10476285" y="4648054"/>
              <a:chExt cx="396183" cy="396146"/>
            </a:xfrm>
            <a:grpFill/>
          </p:grpSpPr>
          <p:sp>
            <p:nvSpPr>
              <p:cNvPr id="302" name="Forma Livre: Forma 301">
                <a:extLst>
                  <a:ext uri="{FF2B5EF4-FFF2-40B4-BE49-F238E27FC236}">
                    <a16:creationId xmlns:a16="http://schemas.microsoft.com/office/drawing/2014/main" id="{9C88863C-B4B5-4C42-950D-47C54C7064E4}"/>
                  </a:ext>
                </a:extLst>
              </p:cNvPr>
              <p:cNvSpPr/>
              <p:nvPr/>
            </p:nvSpPr>
            <p:spPr>
              <a:xfrm>
                <a:off x="10476285" y="4648054"/>
                <a:ext cx="396183" cy="396146"/>
              </a:xfrm>
              <a:custGeom>
                <a:avLst/>
                <a:gdLst>
                  <a:gd name="connsiteX0" fmla="*/ 379772 w 396183"/>
                  <a:gd name="connsiteY0" fmla="*/ 396147 h 396146"/>
                  <a:gd name="connsiteX1" fmla="*/ 16375 w 396183"/>
                  <a:gd name="connsiteY1" fmla="*/ 396147 h 396146"/>
                  <a:gd name="connsiteX2" fmla="*/ 0 w 396183"/>
                  <a:gd name="connsiteY2" fmla="*/ 379772 h 396146"/>
                  <a:gd name="connsiteX3" fmla="*/ 0 w 396183"/>
                  <a:gd name="connsiteY3" fmla="*/ 16375 h 396146"/>
                  <a:gd name="connsiteX4" fmla="*/ 16375 w 396183"/>
                  <a:gd name="connsiteY4" fmla="*/ 0 h 396146"/>
                  <a:gd name="connsiteX5" fmla="*/ 379772 w 396183"/>
                  <a:gd name="connsiteY5" fmla="*/ 0 h 396146"/>
                  <a:gd name="connsiteX6" fmla="*/ 396147 w 396183"/>
                  <a:gd name="connsiteY6" fmla="*/ 16375 h 396146"/>
                  <a:gd name="connsiteX7" fmla="*/ 396147 w 396183"/>
                  <a:gd name="connsiteY7" fmla="*/ 379772 h 396146"/>
                  <a:gd name="connsiteX8" fmla="*/ 379772 w 396183"/>
                  <a:gd name="connsiteY8" fmla="*/ 396147 h 396146"/>
                  <a:gd name="connsiteX9" fmla="*/ 379772 w 396183"/>
                  <a:gd name="connsiteY9" fmla="*/ 396147 h 396146"/>
                  <a:gd name="connsiteX10" fmla="*/ 33380 w 396183"/>
                  <a:gd name="connsiteY10" fmla="*/ 362767 h 396146"/>
                  <a:gd name="connsiteX11" fmla="*/ 363397 w 396183"/>
                  <a:gd name="connsiteY11" fmla="*/ 362767 h 396146"/>
                  <a:gd name="connsiteX12" fmla="*/ 363397 w 396183"/>
                  <a:gd name="connsiteY12" fmla="*/ 32750 h 396146"/>
                  <a:gd name="connsiteX13" fmla="*/ 33380 w 396183"/>
                  <a:gd name="connsiteY13" fmla="*/ 32750 h 396146"/>
                  <a:gd name="connsiteX14" fmla="*/ 33380 w 396183"/>
                  <a:gd name="connsiteY14" fmla="*/ 362767 h 396146"/>
                  <a:gd name="connsiteX15" fmla="*/ 33380 w 396183"/>
                  <a:gd name="connsiteY15" fmla="*/ 362767 h 396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96183" h="396146">
                    <a:moveTo>
                      <a:pt x="379772" y="396147"/>
                    </a:moveTo>
                    <a:lnTo>
                      <a:pt x="16375" y="396147"/>
                    </a:lnTo>
                    <a:cubicBezTo>
                      <a:pt x="6928" y="396147"/>
                      <a:pt x="0" y="388589"/>
                      <a:pt x="0" y="379772"/>
                    </a:cubicBezTo>
                    <a:lnTo>
                      <a:pt x="0" y="16375"/>
                    </a:lnTo>
                    <a:cubicBezTo>
                      <a:pt x="0" y="6928"/>
                      <a:pt x="7557" y="0"/>
                      <a:pt x="16375" y="0"/>
                    </a:cubicBezTo>
                    <a:lnTo>
                      <a:pt x="379772" y="0"/>
                    </a:lnTo>
                    <a:cubicBezTo>
                      <a:pt x="389219" y="0"/>
                      <a:pt x="396147" y="7558"/>
                      <a:pt x="396147" y="16375"/>
                    </a:cubicBezTo>
                    <a:lnTo>
                      <a:pt x="396147" y="379772"/>
                    </a:lnTo>
                    <a:cubicBezTo>
                      <a:pt x="396776" y="388589"/>
                      <a:pt x="389219" y="396147"/>
                      <a:pt x="379772" y="396147"/>
                    </a:cubicBezTo>
                    <a:lnTo>
                      <a:pt x="379772" y="396147"/>
                    </a:lnTo>
                    <a:close/>
                    <a:moveTo>
                      <a:pt x="33380" y="362767"/>
                    </a:moveTo>
                    <a:lnTo>
                      <a:pt x="363397" y="362767"/>
                    </a:lnTo>
                    <a:lnTo>
                      <a:pt x="363397" y="32750"/>
                    </a:lnTo>
                    <a:lnTo>
                      <a:pt x="33380" y="32750"/>
                    </a:lnTo>
                    <a:lnTo>
                      <a:pt x="33380" y="362767"/>
                    </a:lnTo>
                    <a:lnTo>
                      <a:pt x="33380" y="362767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03" name="Forma Livre: Forma 302">
                <a:extLst>
                  <a:ext uri="{FF2B5EF4-FFF2-40B4-BE49-F238E27FC236}">
                    <a16:creationId xmlns:a16="http://schemas.microsoft.com/office/drawing/2014/main" id="{5F459BD1-D0C3-479A-A7AB-7172FA089F01}"/>
                  </a:ext>
                </a:extLst>
              </p:cNvPr>
              <p:cNvSpPr/>
              <p:nvPr/>
            </p:nvSpPr>
            <p:spPr>
              <a:xfrm>
                <a:off x="10490771" y="4753232"/>
                <a:ext cx="367804" cy="16375"/>
              </a:xfrm>
              <a:custGeom>
                <a:avLst/>
                <a:gdLst>
                  <a:gd name="connsiteX0" fmla="*/ 359618 w 367804"/>
                  <a:gd name="connsiteY0" fmla="*/ 16375 h 16375"/>
                  <a:gd name="connsiteX1" fmla="*/ 8187 w 367804"/>
                  <a:gd name="connsiteY1" fmla="*/ 16375 h 16375"/>
                  <a:gd name="connsiteX2" fmla="*/ 0 w 367804"/>
                  <a:gd name="connsiteY2" fmla="*/ 8187 h 16375"/>
                  <a:gd name="connsiteX3" fmla="*/ 8187 w 367804"/>
                  <a:gd name="connsiteY3" fmla="*/ 0 h 16375"/>
                  <a:gd name="connsiteX4" fmla="*/ 359618 w 367804"/>
                  <a:gd name="connsiteY4" fmla="*/ 0 h 16375"/>
                  <a:gd name="connsiteX5" fmla="*/ 367805 w 367804"/>
                  <a:gd name="connsiteY5" fmla="*/ 8187 h 16375"/>
                  <a:gd name="connsiteX6" fmla="*/ 359618 w 367804"/>
                  <a:gd name="connsiteY6" fmla="*/ 16375 h 16375"/>
                  <a:gd name="connsiteX7" fmla="*/ 359618 w 367804"/>
                  <a:gd name="connsiteY7" fmla="*/ 16375 h 16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67804" h="16375">
                    <a:moveTo>
                      <a:pt x="359618" y="16375"/>
                    </a:moveTo>
                    <a:lnTo>
                      <a:pt x="8187" y="16375"/>
                    </a:lnTo>
                    <a:cubicBezTo>
                      <a:pt x="3779" y="16375"/>
                      <a:pt x="0" y="12596"/>
                      <a:pt x="0" y="8187"/>
                    </a:cubicBezTo>
                    <a:cubicBezTo>
                      <a:pt x="0" y="3779"/>
                      <a:pt x="3779" y="0"/>
                      <a:pt x="8187" y="0"/>
                    </a:cubicBezTo>
                    <a:lnTo>
                      <a:pt x="359618" y="0"/>
                    </a:lnTo>
                    <a:cubicBezTo>
                      <a:pt x="364026" y="0"/>
                      <a:pt x="367805" y="3779"/>
                      <a:pt x="367805" y="8187"/>
                    </a:cubicBezTo>
                    <a:cubicBezTo>
                      <a:pt x="367805" y="12596"/>
                      <a:pt x="364026" y="16375"/>
                      <a:pt x="359618" y="16375"/>
                    </a:cubicBezTo>
                    <a:lnTo>
                      <a:pt x="359618" y="16375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04" name="Forma Livre: Forma 303">
                <a:extLst>
                  <a:ext uri="{FF2B5EF4-FFF2-40B4-BE49-F238E27FC236}">
                    <a16:creationId xmlns:a16="http://schemas.microsoft.com/office/drawing/2014/main" id="{0FF20C2A-B2A1-49B5-BDED-4C25F460059A}"/>
                  </a:ext>
                </a:extLst>
              </p:cNvPr>
              <p:cNvSpPr/>
              <p:nvPr/>
            </p:nvSpPr>
            <p:spPr>
              <a:xfrm>
                <a:off x="10531077" y="4696549"/>
                <a:ext cx="41597" cy="41567"/>
              </a:xfrm>
              <a:custGeom>
                <a:avLst/>
                <a:gdLst>
                  <a:gd name="connsiteX0" fmla="*/ 20784 w 41597"/>
                  <a:gd name="connsiteY0" fmla="*/ 0 h 41567"/>
                  <a:gd name="connsiteX1" fmla="*/ 0 w 41597"/>
                  <a:gd name="connsiteY1" fmla="*/ 20783 h 41567"/>
                  <a:gd name="connsiteX2" fmla="*/ 20784 w 41597"/>
                  <a:gd name="connsiteY2" fmla="*/ 41567 h 41567"/>
                  <a:gd name="connsiteX3" fmla="*/ 41568 w 41597"/>
                  <a:gd name="connsiteY3" fmla="*/ 20783 h 41567"/>
                  <a:gd name="connsiteX4" fmla="*/ 20784 w 41597"/>
                  <a:gd name="connsiteY4" fmla="*/ 0 h 41567"/>
                  <a:gd name="connsiteX5" fmla="*/ 20784 w 41597"/>
                  <a:gd name="connsiteY5" fmla="*/ 0 h 41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597" h="41567">
                    <a:moveTo>
                      <a:pt x="20784" y="0"/>
                    </a:moveTo>
                    <a:cubicBezTo>
                      <a:pt x="9447" y="0"/>
                      <a:pt x="0" y="9447"/>
                      <a:pt x="0" y="20783"/>
                    </a:cubicBezTo>
                    <a:cubicBezTo>
                      <a:pt x="0" y="32120"/>
                      <a:pt x="9447" y="41567"/>
                      <a:pt x="20784" y="41567"/>
                    </a:cubicBezTo>
                    <a:cubicBezTo>
                      <a:pt x="32121" y="41567"/>
                      <a:pt x="41568" y="32120"/>
                      <a:pt x="41568" y="20783"/>
                    </a:cubicBezTo>
                    <a:cubicBezTo>
                      <a:pt x="42197" y="9447"/>
                      <a:pt x="32750" y="0"/>
                      <a:pt x="20784" y="0"/>
                    </a:cubicBezTo>
                    <a:lnTo>
                      <a:pt x="20784" y="0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05" name="Forma Livre: Forma 304">
                <a:extLst>
                  <a:ext uri="{FF2B5EF4-FFF2-40B4-BE49-F238E27FC236}">
                    <a16:creationId xmlns:a16="http://schemas.microsoft.com/office/drawing/2014/main" id="{D77C9BF4-CF58-4D2C-92AF-CC175E41FBB9}"/>
                  </a:ext>
                </a:extLst>
              </p:cNvPr>
              <p:cNvSpPr/>
              <p:nvPr/>
            </p:nvSpPr>
            <p:spPr>
              <a:xfrm>
                <a:off x="10588390" y="4696549"/>
                <a:ext cx="41566" cy="41567"/>
              </a:xfrm>
              <a:custGeom>
                <a:avLst/>
                <a:gdLst>
                  <a:gd name="connsiteX0" fmla="*/ 20783 w 41566"/>
                  <a:gd name="connsiteY0" fmla="*/ 0 h 41567"/>
                  <a:gd name="connsiteX1" fmla="*/ 0 w 41566"/>
                  <a:gd name="connsiteY1" fmla="*/ 20783 h 41567"/>
                  <a:gd name="connsiteX2" fmla="*/ 20783 w 41566"/>
                  <a:gd name="connsiteY2" fmla="*/ 41567 h 41567"/>
                  <a:gd name="connsiteX3" fmla="*/ 41567 w 41566"/>
                  <a:gd name="connsiteY3" fmla="*/ 20783 h 41567"/>
                  <a:gd name="connsiteX4" fmla="*/ 20783 w 41566"/>
                  <a:gd name="connsiteY4" fmla="*/ 0 h 41567"/>
                  <a:gd name="connsiteX5" fmla="*/ 20783 w 41566"/>
                  <a:gd name="connsiteY5" fmla="*/ 0 h 41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566" h="41567">
                    <a:moveTo>
                      <a:pt x="20783" y="0"/>
                    </a:moveTo>
                    <a:cubicBezTo>
                      <a:pt x="9447" y="0"/>
                      <a:pt x="0" y="9447"/>
                      <a:pt x="0" y="20783"/>
                    </a:cubicBezTo>
                    <a:cubicBezTo>
                      <a:pt x="0" y="32120"/>
                      <a:pt x="9447" y="41567"/>
                      <a:pt x="20783" y="41567"/>
                    </a:cubicBezTo>
                    <a:cubicBezTo>
                      <a:pt x="32120" y="41567"/>
                      <a:pt x="41567" y="32120"/>
                      <a:pt x="41567" y="20783"/>
                    </a:cubicBezTo>
                    <a:cubicBezTo>
                      <a:pt x="41567" y="9447"/>
                      <a:pt x="32120" y="0"/>
                      <a:pt x="20783" y="0"/>
                    </a:cubicBezTo>
                    <a:lnTo>
                      <a:pt x="20783" y="0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06" name="Forma Livre: Forma 305">
                <a:extLst>
                  <a:ext uri="{FF2B5EF4-FFF2-40B4-BE49-F238E27FC236}">
                    <a16:creationId xmlns:a16="http://schemas.microsoft.com/office/drawing/2014/main" id="{323D45CD-AED1-420A-BB5A-EC800FE6414C}"/>
                  </a:ext>
                </a:extLst>
              </p:cNvPr>
              <p:cNvSpPr/>
              <p:nvPr/>
            </p:nvSpPr>
            <p:spPr>
              <a:xfrm>
                <a:off x="10645073" y="4696549"/>
                <a:ext cx="41566" cy="41567"/>
              </a:xfrm>
              <a:custGeom>
                <a:avLst/>
                <a:gdLst>
                  <a:gd name="connsiteX0" fmla="*/ 20783 w 41566"/>
                  <a:gd name="connsiteY0" fmla="*/ 0 h 41567"/>
                  <a:gd name="connsiteX1" fmla="*/ 0 w 41566"/>
                  <a:gd name="connsiteY1" fmla="*/ 20783 h 41567"/>
                  <a:gd name="connsiteX2" fmla="*/ 20783 w 41566"/>
                  <a:gd name="connsiteY2" fmla="*/ 41567 h 41567"/>
                  <a:gd name="connsiteX3" fmla="*/ 41567 w 41566"/>
                  <a:gd name="connsiteY3" fmla="*/ 20783 h 41567"/>
                  <a:gd name="connsiteX4" fmla="*/ 20783 w 41566"/>
                  <a:gd name="connsiteY4" fmla="*/ 0 h 41567"/>
                  <a:gd name="connsiteX5" fmla="*/ 20783 w 41566"/>
                  <a:gd name="connsiteY5" fmla="*/ 0 h 41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566" h="41567">
                    <a:moveTo>
                      <a:pt x="20783" y="0"/>
                    </a:moveTo>
                    <a:cubicBezTo>
                      <a:pt x="9447" y="0"/>
                      <a:pt x="0" y="9447"/>
                      <a:pt x="0" y="20783"/>
                    </a:cubicBezTo>
                    <a:cubicBezTo>
                      <a:pt x="0" y="32120"/>
                      <a:pt x="9447" y="41567"/>
                      <a:pt x="20783" y="41567"/>
                    </a:cubicBezTo>
                    <a:cubicBezTo>
                      <a:pt x="32120" y="41567"/>
                      <a:pt x="41567" y="32120"/>
                      <a:pt x="41567" y="20783"/>
                    </a:cubicBezTo>
                    <a:cubicBezTo>
                      <a:pt x="41567" y="9447"/>
                      <a:pt x="32120" y="0"/>
                      <a:pt x="20783" y="0"/>
                    </a:cubicBezTo>
                    <a:lnTo>
                      <a:pt x="20783" y="0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307" name="Gráfico 2">
              <a:extLst>
                <a:ext uri="{FF2B5EF4-FFF2-40B4-BE49-F238E27FC236}">
                  <a16:creationId xmlns:a16="http://schemas.microsoft.com/office/drawing/2014/main" id="{A475B8DB-D93F-4DA6-8335-80171E5C5B8D}"/>
                </a:ext>
              </a:extLst>
            </p:cNvPr>
            <p:cNvGrpSpPr/>
            <p:nvPr/>
          </p:nvGrpSpPr>
          <p:grpSpPr>
            <a:xfrm>
              <a:off x="10557844" y="4805821"/>
              <a:ext cx="233342" cy="153357"/>
              <a:chOff x="10557844" y="4805821"/>
              <a:chExt cx="233342" cy="153357"/>
            </a:xfrm>
            <a:grpFill/>
          </p:grpSpPr>
          <p:sp>
            <p:nvSpPr>
              <p:cNvPr id="308" name="Forma Livre: Forma 307">
                <a:extLst>
                  <a:ext uri="{FF2B5EF4-FFF2-40B4-BE49-F238E27FC236}">
                    <a16:creationId xmlns:a16="http://schemas.microsoft.com/office/drawing/2014/main" id="{0650642F-AB31-4583-959F-3143022127C3}"/>
                  </a:ext>
                </a:extLst>
              </p:cNvPr>
              <p:cNvSpPr/>
              <p:nvPr/>
            </p:nvSpPr>
            <p:spPr>
              <a:xfrm>
                <a:off x="10652000" y="4926428"/>
                <a:ext cx="139186" cy="32749"/>
              </a:xfrm>
              <a:custGeom>
                <a:avLst/>
                <a:gdLst>
                  <a:gd name="connsiteX0" fmla="*/ 122812 w 139186"/>
                  <a:gd name="connsiteY0" fmla="*/ 32750 h 32749"/>
                  <a:gd name="connsiteX1" fmla="*/ 16375 w 139186"/>
                  <a:gd name="connsiteY1" fmla="*/ 32750 h 32749"/>
                  <a:gd name="connsiteX2" fmla="*/ 0 w 139186"/>
                  <a:gd name="connsiteY2" fmla="*/ 16375 h 32749"/>
                  <a:gd name="connsiteX3" fmla="*/ 16375 w 139186"/>
                  <a:gd name="connsiteY3" fmla="*/ 0 h 32749"/>
                  <a:gd name="connsiteX4" fmla="*/ 122812 w 139186"/>
                  <a:gd name="connsiteY4" fmla="*/ 0 h 32749"/>
                  <a:gd name="connsiteX5" fmla="*/ 139187 w 139186"/>
                  <a:gd name="connsiteY5" fmla="*/ 16375 h 32749"/>
                  <a:gd name="connsiteX6" fmla="*/ 122812 w 139186"/>
                  <a:gd name="connsiteY6" fmla="*/ 32750 h 32749"/>
                  <a:gd name="connsiteX7" fmla="*/ 122812 w 139186"/>
                  <a:gd name="connsiteY7" fmla="*/ 32750 h 32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9186" h="32749">
                    <a:moveTo>
                      <a:pt x="122812" y="32750"/>
                    </a:moveTo>
                    <a:lnTo>
                      <a:pt x="16375" y="32750"/>
                    </a:lnTo>
                    <a:cubicBezTo>
                      <a:pt x="6928" y="32750"/>
                      <a:pt x="0" y="25192"/>
                      <a:pt x="0" y="16375"/>
                    </a:cubicBezTo>
                    <a:cubicBezTo>
                      <a:pt x="0" y="6928"/>
                      <a:pt x="7557" y="0"/>
                      <a:pt x="16375" y="0"/>
                    </a:cubicBezTo>
                    <a:lnTo>
                      <a:pt x="122812" y="0"/>
                    </a:lnTo>
                    <a:cubicBezTo>
                      <a:pt x="132259" y="0"/>
                      <a:pt x="139187" y="7558"/>
                      <a:pt x="139187" y="16375"/>
                    </a:cubicBezTo>
                    <a:cubicBezTo>
                      <a:pt x="139187" y="25192"/>
                      <a:pt x="131629" y="32750"/>
                      <a:pt x="122812" y="32750"/>
                    </a:cubicBezTo>
                    <a:lnTo>
                      <a:pt x="122812" y="32750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09" name="Forma Livre: Forma 308">
                <a:extLst>
                  <a:ext uri="{FF2B5EF4-FFF2-40B4-BE49-F238E27FC236}">
                    <a16:creationId xmlns:a16="http://schemas.microsoft.com/office/drawing/2014/main" id="{B9B24E56-0990-4982-86FC-5180350B5A0F}"/>
                  </a:ext>
                </a:extLst>
              </p:cNvPr>
              <p:cNvSpPr/>
              <p:nvPr/>
            </p:nvSpPr>
            <p:spPr>
              <a:xfrm>
                <a:off x="10557844" y="4805821"/>
                <a:ext cx="93211" cy="153357"/>
              </a:xfrm>
              <a:custGeom>
                <a:avLst/>
                <a:gdLst>
                  <a:gd name="connsiteX0" fmla="*/ 16690 w 93211"/>
                  <a:gd name="connsiteY0" fmla="*/ 153357 h 153357"/>
                  <a:gd name="connsiteX1" fmla="*/ 4724 w 93211"/>
                  <a:gd name="connsiteY1" fmla="*/ 148319 h 153357"/>
                  <a:gd name="connsiteX2" fmla="*/ 4724 w 93211"/>
                  <a:gd name="connsiteY2" fmla="*/ 125016 h 153357"/>
                  <a:gd name="connsiteX3" fmla="*/ 53219 w 93211"/>
                  <a:gd name="connsiteY3" fmla="*/ 76521 h 153357"/>
                  <a:gd name="connsiteX4" fmla="*/ 4724 w 93211"/>
                  <a:gd name="connsiteY4" fmla="*/ 28026 h 153357"/>
                  <a:gd name="connsiteX5" fmla="*/ 4724 w 93211"/>
                  <a:gd name="connsiteY5" fmla="*/ 4724 h 153357"/>
                  <a:gd name="connsiteX6" fmla="*/ 28027 w 93211"/>
                  <a:gd name="connsiteY6" fmla="*/ 4724 h 153357"/>
                  <a:gd name="connsiteX7" fmla="*/ 88488 w 93211"/>
                  <a:gd name="connsiteY7" fmla="*/ 65185 h 153357"/>
                  <a:gd name="connsiteX8" fmla="*/ 88488 w 93211"/>
                  <a:gd name="connsiteY8" fmla="*/ 88487 h 153357"/>
                  <a:gd name="connsiteX9" fmla="*/ 28027 w 93211"/>
                  <a:gd name="connsiteY9" fmla="*/ 148948 h 153357"/>
                  <a:gd name="connsiteX10" fmla="*/ 16690 w 93211"/>
                  <a:gd name="connsiteY10" fmla="*/ 153357 h 153357"/>
                  <a:gd name="connsiteX11" fmla="*/ 16690 w 93211"/>
                  <a:gd name="connsiteY11" fmla="*/ 153357 h 1533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3211" h="153357">
                    <a:moveTo>
                      <a:pt x="16690" y="153357"/>
                    </a:moveTo>
                    <a:cubicBezTo>
                      <a:pt x="12282" y="153357"/>
                      <a:pt x="7873" y="151468"/>
                      <a:pt x="4724" y="148319"/>
                    </a:cubicBezTo>
                    <a:cubicBezTo>
                      <a:pt x="-1575" y="142021"/>
                      <a:pt x="-1575" y="131314"/>
                      <a:pt x="4724" y="125016"/>
                    </a:cubicBezTo>
                    <a:lnTo>
                      <a:pt x="53219" y="76521"/>
                    </a:lnTo>
                    <a:lnTo>
                      <a:pt x="4724" y="28026"/>
                    </a:lnTo>
                    <a:cubicBezTo>
                      <a:pt x="-1575" y="21728"/>
                      <a:pt x="-1575" y="11022"/>
                      <a:pt x="4724" y="4724"/>
                    </a:cubicBezTo>
                    <a:cubicBezTo>
                      <a:pt x="11022" y="-1575"/>
                      <a:pt x="21729" y="-1575"/>
                      <a:pt x="28027" y="4724"/>
                    </a:cubicBezTo>
                    <a:lnTo>
                      <a:pt x="88488" y="65185"/>
                    </a:lnTo>
                    <a:cubicBezTo>
                      <a:pt x="94786" y="71483"/>
                      <a:pt x="94786" y="82189"/>
                      <a:pt x="88488" y="88487"/>
                    </a:cubicBezTo>
                    <a:lnTo>
                      <a:pt x="28027" y="148948"/>
                    </a:lnTo>
                    <a:cubicBezTo>
                      <a:pt x="24878" y="151468"/>
                      <a:pt x="20469" y="153357"/>
                      <a:pt x="16690" y="153357"/>
                    </a:cubicBezTo>
                    <a:lnTo>
                      <a:pt x="16690" y="153357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310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2310248" y="2604971"/>
            <a:ext cx="387959" cy="351430"/>
            <a:chOff x="2310248" y="2604971"/>
            <a:chExt cx="387959" cy="351430"/>
          </a:xfrm>
          <a:solidFill>
            <a:srgbClr val="B1B1A1"/>
          </a:solidFill>
        </p:grpSpPr>
        <p:sp>
          <p:nvSpPr>
            <p:cNvPr id="311" name="Forma Livre: Forma 310">
              <a:extLst>
                <a:ext uri="{FF2B5EF4-FFF2-40B4-BE49-F238E27FC236}">
                  <a16:creationId xmlns:a16="http://schemas.microsoft.com/office/drawing/2014/main" id="{C34B0AA4-6EC6-4554-8D15-219A0E1BDD6C}"/>
                </a:ext>
              </a:extLst>
            </p:cNvPr>
            <p:cNvSpPr/>
            <p:nvPr/>
          </p:nvSpPr>
          <p:spPr>
            <a:xfrm>
              <a:off x="2310248" y="2604971"/>
              <a:ext cx="387959" cy="351430"/>
            </a:xfrm>
            <a:custGeom>
              <a:avLst/>
              <a:gdLst>
                <a:gd name="connsiteX0" fmla="*/ 78725 w 387959"/>
                <a:gd name="connsiteY0" fmla="*/ 351430 h 351430"/>
                <a:gd name="connsiteX1" fmla="*/ 64240 w 387959"/>
                <a:gd name="connsiteY1" fmla="*/ 350801 h 351430"/>
                <a:gd name="connsiteX2" fmla="*/ 49125 w 387959"/>
                <a:gd name="connsiteY2" fmla="*/ 337575 h 351430"/>
                <a:gd name="connsiteX3" fmla="*/ 57942 w 387959"/>
                <a:gd name="connsiteY3" fmla="*/ 319310 h 351430"/>
                <a:gd name="connsiteX4" fmla="*/ 93841 w 387959"/>
                <a:gd name="connsiteY4" fmla="*/ 290339 h 351430"/>
                <a:gd name="connsiteX5" fmla="*/ 0 w 387959"/>
                <a:gd name="connsiteY5" fmla="*/ 156191 h 351430"/>
                <a:gd name="connsiteX6" fmla="*/ 193980 w 387959"/>
                <a:gd name="connsiteY6" fmla="*/ 0 h 351430"/>
                <a:gd name="connsiteX7" fmla="*/ 387959 w 387959"/>
                <a:gd name="connsiteY7" fmla="*/ 156191 h 351430"/>
                <a:gd name="connsiteX8" fmla="*/ 193980 w 387959"/>
                <a:gd name="connsiteY8" fmla="*/ 312383 h 351430"/>
                <a:gd name="connsiteX9" fmla="*/ 186422 w 387959"/>
                <a:gd name="connsiteY9" fmla="*/ 312383 h 351430"/>
                <a:gd name="connsiteX10" fmla="*/ 78725 w 387959"/>
                <a:gd name="connsiteY10" fmla="*/ 351430 h 351430"/>
                <a:gd name="connsiteX11" fmla="*/ 78725 w 387959"/>
                <a:gd name="connsiteY11" fmla="*/ 351430 h 351430"/>
                <a:gd name="connsiteX12" fmla="*/ 194609 w 387959"/>
                <a:gd name="connsiteY12" fmla="*/ 33380 h 351430"/>
                <a:gd name="connsiteX13" fmla="*/ 34009 w 387959"/>
                <a:gd name="connsiteY13" fmla="*/ 156191 h 351430"/>
                <a:gd name="connsiteX14" fmla="*/ 124701 w 387959"/>
                <a:gd name="connsiteY14" fmla="*/ 267037 h 351430"/>
                <a:gd name="connsiteX15" fmla="*/ 134148 w 387959"/>
                <a:gd name="connsiteY15" fmla="*/ 276484 h 351430"/>
                <a:gd name="connsiteX16" fmla="*/ 133519 w 387959"/>
                <a:gd name="connsiteY16" fmla="*/ 290339 h 351430"/>
                <a:gd name="connsiteX17" fmla="*/ 132259 w 387959"/>
                <a:gd name="connsiteY17" fmla="*/ 292229 h 351430"/>
                <a:gd name="connsiteX18" fmla="*/ 129110 w 387959"/>
                <a:gd name="connsiteY18" fmla="*/ 298527 h 351430"/>
                <a:gd name="connsiteX19" fmla="*/ 119033 w 387959"/>
                <a:gd name="connsiteY19" fmla="*/ 313012 h 351430"/>
                <a:gd name="connsiteX20" fmla="*/ 168158 w 387959"/>
                <a:gd name="connsiteY20" fmla="*/ 284041 h 351430"/>
                <a:gd name="connsiteX21" fmla="*/ 181384 w 387959"/>
                <a:gd name="connsiteY21" fmla="*/ 279003 h 351430"/>
                <a:gd name="connsiteX22" fmla="*/ 193980 w 387959"/>
                <a:gd name="connsiteY22" fmla="*/ 279633 h 351430"/>
                <a:gd name="connsiteX23" fmla="*/ 354580 w 387959"/>
                <a:gd name="connsiteY23" fmla="*/ 156821 h 351430"/>
                <a:gd name="connsiteX24" fmla="*/ 194609 w 387959"/>
                <a:gd name="connsiteY24" fmla="*/ 33380 h 351430"/>
                <a:gd name="connsiteX25" fmla="*/ 194609 w 387959"/>
                <a:gd name="connsiteY25" fmla="*/ 33380 h 351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87959" h="351430">
                  <a:moveTo>
                    <a:pt x="78725" y="351430"/>
                  </a:moveTo>
                  <a:cubicBezTo>
                    <a:pt x="74317" y="351430"/>
                    <a:pt x="69278" y="351430"/>
                    <a:pt x="64240" y="350801"/>
                  </a:cubicBezTo>
                  <a:cubicBezTo>
                    <a:pt x="56682" y="350171"/>
                    <a:pt x="50384" y="344503"/>
                    <a:pt x="49125" y="337575"/>
                  </a:cubicBezTo>
                  <a:cubicBezTo>
                    <a:pt x="47865" y="330017"/>
                    <a:pt x="51644" y="322459"/>
                    <a:pt x="57942" y="319310"/>
                  </a:cubicBezTo>
                  <a:cubicBezTo>
                    <a:pt x="72427" y="311753"/>
                    <a:pt x="85024" y="302306"/>
                    <a:pt x="93841" y="290339"/>
                  </a:cubicBezTo>
                  <a:cubicBezTo>
                    <a:pt x="35899" y="261998"/>
                    <a:pt x="0" y="211614"/>
                    <a:pt x="0" y="156191"/>
                  </a:cubicBezTo>
                  <a:cubicBezTo>
                    <a:pt x="0" y="69908"/>
                    <a:pt x="86913" y="0"/>
                    <a:pt x="193980" y="0"/>
                  </a:cubicBezTo>
                  <a:cubicBezTo>
                    <a:pt x="301046" y="0"/>
                    <a:pt x="387959" y="69908"/>
                    <a:pt x="387959" y="156191"/>
                  </a:cubicBezTo>
                  <a:cubicBezTo>
                    <a:pt x="387959" y="242474"/>
                    <a:pt x="301046" y="312383"/>
                    <a:pt x="193980" y="312383"/>
                  </a:cubicBezTo>
                  <a:cubicBezTo>
                    <a:pt x="191460" y="312383"/>
                    <a:pt x="188941" y="312383"/>
                    <a:pt x="186422" y="312383"/>
                  </a:cubicBezTo>
                  <a:cubicBezTo>
                    <a:pt x="159340" y="337575"/>
                    <a:pt x="121552" y="351430"/>
                    <a:pt x="78725" y="351430"/>
                  </a:cubicBezTo>
                  <a:lnTo>
                    <a:pt x="78725" y="351430"/>
                  </a:lnTo>
                  <a:close/>
                  <a:moveTo>
                    <a:pt x="194609" y="33380"/>
                  </a:moveTo>
                  <a:cubicBezTo>
                    <a:pt x="105807" y="33380"/>
                    <a:pt x="34009" y="88802"/>
                    <a:pt x="34009" y="156191"/>
                  </a:cubicBezTo>
                  <a:cubicBezTo>
                    <a:pt x="34009" y="202797"/>
                    <a:pt x="69908" y="246253"/>
                    <a:pt x="124701" y="267037"/>
                  </a:cubicBezTo>
                  <a:cubicBezTo>
                    <a:pt x="129110" y="268926"/>
                    <a:pt x="132889" y="272075"/>
                    <a:pt x="134148" y="276484"/>
                  </a:cubicBezTo>
                  <a:cubicBezTo>
                    <a:pt x="136038" y="280892"/>
                    <a:pt x="135408" y="285931"/>
                    <a:pt x="133519" y="290339"/>
                  </a:cubicBezTo>
                  <a:lnTo>
                    <a:pt x="132259" y="292229"/>
                  </a:lnTo>
                  <a:cubicBezTo>
                    <a:pt x="130999" y="294118"/>
                    <a:pt x="130369" y="296637"/>
                    <a:pt x="129110" y="298527"/>
                  </a:cubicBezTo>
                  <a:cubicBezTo>
                    <a:pt x="125961" y="303565"/>
                    <a:pt x="122812" y="307974"/>
                    <a:pt x="119033" y="313012"/>
                  </a:cubicBezTo>
                  <a:cubicBezTo>
                    <a:pt x="138557" y="307344"/>
                    <a:pt x="154932" y="297897"/>
                    <a:pt x="168158" y="284041"/>
                  </a:cubicBezTo>
                  <a:cubicBezTo>
                    <a:pt x="171307" y="280263"/>
                    <a:pt x="176345" y="279003"/>
                    <a:pt x="181384" y="279003"/>
                  </a:cubicBezTo>
                  <a:cubicBezTo>
                    <a:pt x="185792" y="279003"/>
                    <a:pt x="190201" y="279633"/>
                    <a:pt x="193980" y="279633"/>
                  </a:cubicBezTo>
                  <a:cubicBezTo>
                    <a:pt x="282782" y="279633"/>
                    <a:pt x="354580" y="224210"/>
                    <a:pt x="354580" y="156821"/>
                  </a:cubicBezTo>
                  <a:cubicBezTo>
                    <a:pt x="355209" y="88173"/>
                    <a:pt x="282782" y="33380"/>
                    <a:pt x="194609" y="33380"/>
                  </a:cubicBezTo>
                  <a:lnTo>
                    <a:pt x="194609" y="3338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12" name="Forma Livre: Forma 311">
              <a:extLst>
                <a:ext uri="{FF2B5EF4-FFF2-40B4-BE49-F238E27FC236}">
                  <a16:creationId xmlns:a16="http://schemas.microsoft.com/office/drawing/2014/main" id="{F581DAD0-A1C7-49DA-9A5F-7ABCFA7B1405}"/>
                </a:ext>
              </a:extLst>
            </p:cNvPr>
            <p:cNvSpPr/>
            <p:nvPr/>
          </p:nvSpPr>
          <p:spPr>
            <a:xfrm>
              <a:off x="2438098" y="2709518"/>
              <a:ext cx="131647" cy="112735"/>
            </a:xfrm>
            <a:custGeom>
              <a:avLst/>
              <a:gdLst>
                <a:gd name="connsiteX0" fmla="*/ 96990 w 131647"/>
                <a:gd name="connsiteY0" fmla="*/ 0 h 112735"/>
                <a:gd name="connsiteX1" fmla="*/ 96360 w 131647"/>
                <a:gd name="connsiteY1" fmla="*/ 0 h 112735"/>
                <a:gd name="connsiteX2" fmla="*/ 66129 w 131647"/>
                <a:gd name="connsiteY2" fmla="*/ 18264 h 112735"/>
                <a:gd name="connsiteX3" fmla="*/ 35899 w 131647"/>
                <a:gd name="connsiteY3" fmla="*/ 630 h 112735"/>
                <a:gd name="connsiteX4" fmla="*/ 35269 w 131647"/>
                <a:gd name="connsiteY4" fmla="*/ 630 h 112735"/>
                <a:gd name="connsiteX5" fmla="*/ 0 w 131647"/>
                <a:gd name="connsiteY5" fmla="*/ 39678 h 112735"/>
                <a:gd name="connsiteX6" fmla="*/ 1889 w 131647"/>
                <a:gd name="connsiteY6" fmla="*/ 51644 h 112735"/>
                <a:gd name="connsiteX7" fmla="*/ 42827 w 131647"/>
                <a:gd name="connsiteY7" fmla="*/ 95730 h 112735"/>
                <a:gd name="connsiteX8" fmla="*/ 66759 w 131647"/>
                <a:gd name="connsiteY8" fmla="*/ 112735 h 112735"/>
                <a:gd name="connsiteX9" fmla="*/ 90062 w 131647"/>
                <a:gd name="connsiteY9" fmla="*/ 95100 h 112735"/>
                <a:gd name="connsiteX10" fmla="*/ 129740 w 131647"/>
                <a:gd name="connsiteY10" fmla="*/ 49755 h 112735"/>
                <a:gd name="connsiteX11" fmla="*/ 131629 w 131647"/>
                <a:gd name="connsiteY11" fmla="*/ 37788 h 112735"/>
                <a:gd name="connsiteX12" fmla="*/ 96990 w 131647"/>
                <a:gd name="connsiteY12" fmla="*/ 0 h 112735"/>
                <a:gd name="connsiteX13" fmla="*/ 96990 w 131647"/>
                <a:gd name="connsiteY13" fmla="*/ 0 h 112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1647" h="112735">
                  <a:moveTo>
                    <a:pt x="96990" y="0"/>
                  </a:moveTo>
                  <a:cubicBezTo>
                    <a:pt x="96990" y="0"/>
                    <a:pt x="96360" y="0"/>
                    <a:pt x="96360" y="0"/>
                  </a:cubicBezTo>
                  <a:cubicBezTo>
                    <a:pt x="83764" y="0"/>
                    <a:pt x="72427" y="7558"/>
                    <a:pt x="66129" y="18264"/>
                  </a:cubicBezTo>
                  <a:cubicBezTo>
                    <a:pt x="59831" y="7558"/>
                    <a:pt x="48495" y="630"/>
                    <a:pt x="35899" y="630"/>
                  </a:cubicBezTo>
                  <a:cubicBezTo>
                    <a:pt x="35899" y="630"/>
                    <a:pt x="35899" y="630"/>
                    <a:pt x="35269" y="630"/>
                  </a:cubicBezTo>
                  <a:cubicBezTo>
                    <a:pt x="15745" y="630"/>
                    <a:pt x="0" y="18264"/>
                    <a:pt x="0" y="39678"/>
                  </a:cubicBezTo>
                  <a:cubicBezTo>
                    <a:pt x="0" y="44086"/>
                    <a:pt x="630" y="47865"/>
                    <a:pt x="1889" y="51644"/>
                  </a:cubicBezTo>
                  <a:cubicBezTo>
                    <a:pt x="4409" y="63610"/>
                    <a:pt x="24562" y="81245"/>
                    <a:pt x="42827" y="95730"/>
                  </a:cubicBezTo>
                  <a:cubicBezTo>
                    <a:pt x="51644" y="102658"/>
                    <a:pt x="66759" y="112735"/>
                    <a:pt x="66759" y="112735"/>
                  </a:cubicBezTo>
                  <a:cubicBezTo>
                    <a:pt x="73057" y="108956"/>
                    <a:pt x="81245" y="102028"/>
                    <a:pt x="90062" y="95100"/>
                  </a:cubicBezTo>
                  <a:cubicBezTo>
                    <a:pt x="108326" y="80615"/>
                    <a:pt x="127220" y="62351"/>
                    <a:pt x="129740" y="49755"/>
                  </a:cubicBezTo>
                  <a:cubicBezTo>
                    <a:pt x="130999" y="45976"/>
                    <a:pt x="131629" y="42197"/>
                    <a:pt x="131629" y="37788"/>
                  </a:cubicBezTo>
                  <a:cubicBezTo>
                    <a:pt x="132259" y="17005"/>
                    <a:pt x="116514" y="0"/>
                    <a:pt x="96990" y="0"/>
                  </a:cubicBezTo>
                  <a:lnTo>
                    <a:pt x="96990" y="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13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1268553" y="2585447"/>
            <a:ext cx="413219" cy="399295"/>
            <a:chOff x="1268553" y="2585447"/>
            <a:chExt cx="413219" cy="399295"/>
          </a:xfrm>
          <a:solidFill>
            <a:srgbClr val="B1B1A1"/>
          </a:solidFill>
        </p:grpSpPr>
        <p:sp>
          <p:nvSpPr>
            <p:cNvPr id="314" name="Forma Livre: Forma 313">
              <a:extLst>
                <a:ext uri="{FF2B5EF4-FFF2-40B4-BE49-F238E27FC236}">
                  <a16:creationId xmlns:a16="http://schemas.microsoft.com/office/drawing/2014/main" id="{D91850F6-8766-4BED-9FEE-C00FBDDD5FF8}"/>
                </a:ext>
              </a:extLst>
            </p:cNvPr>
            <p:cNvSpPr/>
            <p:nvPr/>
          </p:nvSpPr>
          <p:spPr>
            <a:xfrm>
              <a:off x="1268553" y="2683696"/>
              <a:ext cx="300888" cy="301046"/>
            </a:xfrm>
            <a:custGeom>
              <a:avLst/>
              <a:gdLst>
                <a:gd name="connsiteX0" fmla="*/ 149893 w 300888"/>
                <a:gd name="connsiteY0" fmla="*/ 301046 h 301046"/>
                <a:gd name="connsiteX1" fmla="*/ 43456 w 300888"/>
                <a:gd name="connsiteY1" fmla="*/ 256960 h 301046"/>
                <a:gd name="connsiteX2" fmla="*/ 0 w 300888"/>
                <a:gd name="connsiteY2" fmla="*/ 150523 h 301046"/>
                <a:gd name="connsiteX3" fmla="*/ 44086 w 300888"/>
                <a:gd name="connsiteY3" fmla="*/ 44086 h 301046"/>
                <a:gd name="connsiteX4" fmla="*/ 150523 w 300888"/>
                <a:gd name="connsiteY4" fmla="*/ 0 h 301046"/>
                <a:gd name="connsiteX5" fmla="*/ 256960 w 300888"/>
                <a:gd name="connsiteY5" fmla="*/ 44086 h 301046"/>
                <a:gd name="connsiteX6" fmla="*/ 256960 w 300888"/>
                <a:gd name="connsiteY6" fmla="*/ 256330 h 301046"/>
                <a:gd name="connsiteX7" fmla="*/ 149893 w 300888"/>
                <a:gd name="connsiteY7" fmla="*/ 301046 h 301046"/>
                <a:gd name="connsiteX8" fmla="*/ 149893 w 300888"/>
                <a:gd name="connsiteY8" fmla="*/ 301046 h 301046"/>
                <a:gd name="connsiteX9" fmla="*/ 149893 w 300888"/>
                <a:gd name="connsiteY9" fmla="*/ 34009 h 301046"/>
                <a:gd name="connsiteX10" fmla="*/ 67389 w 300888"/>
                <a:gd name="connsiteY10" fmla="*/ 68019 h 301046"/>
                <a:gd name="connsiteX11" fmla="*/ 33380 w 300888"/>
                <a:gd name="connsiteY11" fmla="*/ 150523 h 301046"/>
                <a:gd name="connsiteX12" fmla="*/ 67389 w 300888"/>
                <a:gd name="connsiteY12" fmla="*/ 233027 h 301046"/>
                <a:gd name="connsiteX13" fmla="*/ 149893 w 300888"/>
                <a:gd name="connsiteY13" fmla="*/ 267037 h 301046"/>
                <a:gd name="connsiteX14" fmla="*/ 232398 w 300888"/>
                <a:gd name="connsiteY14" fmla="*/ 233027 h 301046"/>
                <a:gd name="connsiteX15" fmla="*/ 232398 w 300888"/>
                <a:gd name="connsiteY15" fmla="*/ 68019 h 301046"/>
                <a:gd name="connsiteX16" fmla="*/ 149893 w 300888"/>
                <a:gd name="connsiteY16" fmla="*/ 34009 h 301046"/>
                <a:gd name="connsiteX17" fmla="*/ 149893 w 300888"/>
                <a:gd name="connsiteY17" fmla="*/ 34009 h 301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0888" h="301046">
                  <a:moveTo>
                    <a:pt x="149893" y="301046"/>
                  </a:moveTo>
                  <a:cubicBezTo>
                    <a:pt x="109586" y="301046"/>
                    <a:pt x="71798" y="285301"/>
                    <a:pt x="43456" y="256960"/>
                  </a:cubicBezTo>
                  <a:cubicBezTo>
                    <a:pt x="15745" y="228619"/>
                    <a:pt x="0" y="190830"/>
                    <a:pt x="0" y="150523"/>
                  </a:cubicBezTo>
                  <a:cubicBezTo>
                    <a:pt x="0" y="110216"/>
                    <a:pt x="15745" y="72427"/>
                    <a:pt x="44086" y="44086"/>
                  </a:cubicBezTo>
                  <a:cubicBezTo>
                    <a:pt x="72427" y="15745"/>
                    <a:pt x="110216" y="0"/>
                    <a:pt x="150523" y="0"/>
                  </a:cubicBezTo>
                  <a:cubicBezTo>
                    <a:pt x="190831" y="0"/>
                    <a:pt x="228619" y="15745"/>
                    <a:pt x="256960" y="44086"/>
                  </a:cubicBezTo>
                  <a:cubicBezTo>
                    <a:pt x="315532" y="102658"/>
                    <a:pt x="315532" y="197758"/>
                    <a:pt x="256960" y="256330"/>
                  </a:cubicBezTo>
                  <a:cubicBezTo>
                    <a:pt x="227989" y="285301"/>
                    <a:pt x="190201" y="301046"/>
                    <a:pt x="149893" y="301046"/>
                  </a:cubicBezTo>
                  <a:lnTo>
                    <a:pt x="149893" y="301046"/>
                  </a:lnTo>
                  <a:close/>
                  <a:moveTo>
                    <a:pt x="149893" y="34009"/>
                  </a:moveTo>
                  <a:cubicBezTo>
                    <a:pt x="118403" y="34009"/>
                    <a:pt x="89432" y="45976"/>
                    <a:pt x="67389" y="68019"/>
                  </a:cubicBezTo>
                  <a:cubicBezTo>
                    <a:pt x="45346" y="90062"/>
                    <a:pt x="33380" y="119663"/>
                    <a:pt x="33380" y="150523"/>
                  </a:cubicBezTo>
                  <a:cubicBezTo>
                    <a:pt x="33380" y="182013"/>
                    <a:pt x="45346" y="210984"/>
                    <a:pt x="67389" y="233027"/>
                  </a:cubicBezTo>
                  <a:cubicBezTo>
                    <a:pt x="89432" y="255071"/>
                    <a:pt x="119033" y="267037"/>
                    <a:pt x="149893" y="267037"/>
                  </a:cubicBezTo>
                  <a:cubicBezTo>
                    <a:pt x="181384" y="267037"/>
                    <a:pt x="210355" y="255071"/>
                    <a:pt x="232398" y="233027"/>
                  </a:cubicBezTo>
                  <a:cubicBezTo>
                    <a:pt x="277744" y="187681"/>
                    <a:pt x="277744" y="113365"/>
                    <a:pt x="232398" y="68019"/>
                  </a:cubicBezTo>
                  <a:cubicBezTo>
                    <a:pt x="210984" y="45976"/>
                    <a:pt x="181384" y="34009"/>
                    <a:pt x="149893" y="34009"/>
                  </a:cubicBezTo>
                  <a:lnTo>
                    <a:pt x="149893" y="34009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315" name="Gráfico 2">
              <a:extLst>
                <a:ext uri="{FF2B5EF4-FFF2-40B4-BE49-F238E27FC236}">
                  <a16:creationId xmlns:a16="http://schemas.microsoft.com/office/drawing/2014/main" id="{A475B8DB-D93F-4DA6-8335-80171E5C5B8D}"/>
                </a:ext>
              </a:extLst>
            </p:cNvPr>
            <p:cNvGrpSpPr/>
            <p:nvPr/>
          </p:nvGrpSpPr>
          <p:grpSpPr>
            <a:xfrm>
              <a:off x="1606757" y="2585447"/>
              <a:ext cx="16374" cy="133518"/>
              <a:chOff x="1606757" y="2585447"/>
              <a:chExt cx="16374" cy="133518"/>
            </a:xfrm>
            <a:grpFill/>
          </p:grpSpPr>
          <p:sp>
            <p:nvSpPr>
              <p:cNvPr id="316" name="Forma Livre: Forma 315">
                <a:extLst>
                  <a:ext uri="{FF2B5EF4-FFF2-40B4-BE49-F238E27FC236}">
                    <a16:creationId xmlns:a16="http://schemas.microsoft.com/office/drawing/2014/main" id="{BFAD05C8-5A4F-4F53-AFD5-F3C343DB295C}"/>
                  </a:ext>
                </a:extLst>
              </p:cNvPr>
              <p:cNvSpPr/>
              <p:nvPr/>
            </p:nvSpPr>
            <p:spPr>
              <a:xfrm>
                <a:off x="1606757" y="2585447"/>
                <a:ext cx="16374" cy="43456"/>
              </a:xfrm>
              <a:custGeom>
                <a:avLst/>
                <a:gdLst>
                  <a:gd name="connsiteX0" fmla="*/ 8187 w 16374"/>
                  <a:gd name="connsiteY0" fmla="*/ 43456 h 43456"/>
                  <a:gd name="connsiteX1" fmla="*/ 0 w 16374"/>
                  <a:gd name="connsiteY1" fmla="*/ 35269 h 43456"/>
                  <a:gd name="connsiteX2" fmla="*/ 0 w 16374"/>
                  <a:gd name="connsiteY2" fmla="*/ 8187 h 43456"/>
                  <a:gd name="connsiteX3" fmla="*/ 8187 w 16374"/>
                  <a:gd name="connsiteY3" fmla="*/ 0 h 43456"/>
                  <a:gd name="connsiteX4" fmla="*/ 16375 w 16374"/>
                  <a:gd name="connsiteY4" fmla="*/ 8187 h 43456"/>
                  <a:gd name="connsiteX5" fmla="*/ 16375 w 16374"/>
                  <a:gd name="connsiteY5" fmla="*/ 35269 h 43456"/>
                  <a:gd name="connsiteX6" fmla="*/ 8187 w 16374"/>
                  <a:gd name="connsiteY6" fmla="*/ 43456 h 43456"/>
                  <a:gd name="connsiteX7" fmla="*/ 8187 w 16374"/>
                  <a:gd name="connsiteY7" fmla="*/ 43456 h 43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374" h="43456">
                    <a:moveTo>
                      <a:pt x="8187" y="43456"/>
                    </a:moveTo>
                    <a:cubicBezTo>
                      <a:pt x="3779" y="43456"/>
                      <a:pt x="0" y="39678"/>
                      <a:pt x="0" y="35269"/>
                    </a:cubicBezTo>
                    <a:lnTo>
                      <a:pt x="0" y="8187"/>
                    </a:lnTo>
                    <a:cubicBezTo>
                      <a:pt x="0" y="3779"/>
                      <a:pt x="3779" y="0"/>
                      <a:pt x="8187" y="0"/>
                    </a:cubicBezTo>
                    <a:cubicBezTo>
                      <a:pt x="12596" y="0"/>
                      <a:pt x="16375" y="3779"/>
                      <a:pt x="16375" y="8187"/>
                    </a:cubicBezTo>
                    <a:lnTo>
                      <a:pt x="16375" y="35269"/>
                    </a:lnTo>
                    <a:cubicBezTo>
                      <a:pt x="16375" y="39678"/>
                      <a:pt x="12596" y="43456"/>
                      <a:pt x="8187" y="43456"/>
                    </a:cubicBezTo>
                    <a:lnTo>
                      <a:pt x="8187" y="43456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17" name="Forma Livre: Forma 316">
                <a:extLst>
                  <a:ext uri="{FF2B5EF4-FFF2-40B4-BE49-F238E27FC236}">
                    <a16:creationId xmlns:a16="http://schemas.microsoft.com/office/drawing/2014/main" id="{44CAB459-8C8B-4C85-B30C-259A01BFE4C1}"/>
                  </a:ext>
                </a:extLst>
              </p:cNvPr>
              <p:cNvSpPr/>
              <p:nvPr/>
            </p:nvSpPr>
            <p:spPr>
              <a:xfrm>
                <a:off x="1606757" y="2675509"/>
                <a:ext cx="16374" cy="43456"/>
              </a:xfrm>
              <a:custGeom>
                <a:avLst/>
                <a:gdLst>
                  <a:gd name="connsiteX0" fmla="*/ 8187 w 16374"/>
                  <a:gd name="connsiteY0" fmla="*/ 43456 h 43456"/>
                  <a:gd name="connsiteX1" fmla="*/ 0 w 16374"/>
                  <a:gd name="connsiteY1" fmla="*/ 35269 h 43456"/>
                  <a:gd name="connsiteX2" fmla="*/ 0 w 16374"/>
                  <a:gd name="connsiteY2" fmla="*/ 8188 h 43456"/>
                  <a:gd name="connsiteX3" fmla="*/ 8187 w 16374"/>
                  <a:gd name="connsiteY3" fmla="*/ 0 h 43456"/>
                  <a:gd name="connsiteX4" fmla="*/ 16375 w 16374"/>
                  <a:gd name="connsiteY4" fmla="*/ 8188 h 43456"/>
                  <a:gd name="connsiteX5" fmla="*/ 16375 w 16374"/>
                  <a:gd name="connsiteY5" fmla="*/ 35269 h 43456"/>
                  <a:gd name="connsiteX6" fmla="*/ 8187 w 16374"/>
                  <a:gd name="connsiteY6" fmla="*/ 43456 h 43456"/>
                  <a:gd name="connsiteX7" fmla="*/ 8187 w 16374"/>
                  <a:gd name="connsiteY7" fmla="*/ 43456 h 43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374" h="43456">
                    <a:moveTo>
                      <a:pt x="8187" y="43456"/>
                    </a:moveTo>
                    <a:cubicBezTo>
                      <a:pt x="3779" y="43456"/>
                      <a:pt x="0" y="39678"/>
                      <a:pt x="0" y="35269"/>
                    </a:cubicBezTo>
                    <a:lnTo>
                      <a:pt x="0" y="8188"/>
                    </a:lnTo>
                    <a:cubicBezTo>
                      <a:pt x="0" y="3779"/>
                      <a:pt x="3779" y="0"/>
                      <a:pt x="8187" y="0"/>
                    </a:cubicBezTo>
                    <a:cubicBezTo>
                      <a:pt x="12596" y="0"/>
                      <a:pt x="16375" y="3779"/>
                      <a:pt x="16375" y="8188"/>
                    </a:cubicBezTo>
                    <a:lnTo>
                      <a:pt x="16375" y="35269"/>
                    </a:lnTo>
                    <a:cubicBezTo>
                      <a:pt x="16375" y="39678"/>
                      <a:pt x="12596" y="43456"/>
                      <a:pt x="8187" y="43456"/>
                    </a:cubicBezTo>
                    <a:lnTo>
                      <a:pt x="8187" y="43456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318" name="Forma Livre: Forma 317">
              <a:extLst>
                <a:ext uri="{FF2B5EF4-FFF2-40B4-BE49-F238E27FC236}">
                  <a16:creationId xmlns:a16="http://schemas.microsoft.com/office/drawing/2014/main" id="{5A4DB2BF-32B6-4C06-BA33-95B27723035C}"/>
                </a:ext>
              </a:extLst>
            </p:cNvPr>
            <p:cNvSpPr/>
            <p:nvPr/>
          </p:nvSpPr>
          <p:spPr>
            <a:xfrm>
              <a:off x="1638247" y="2644019"/>
              <a:ext cx="43525" cy="16374"/>
            </a:xfrm>
            <a:custGeom>
              <a:avLst/>
              <a:gdLst>
                <a:gd name="connsiteX0" fmla="*/ 35269 w 43525"/>
                <a:gd name="connsiteY0" fmla="*/ 16375 h 16374"/>
                <a:gd name="connsiteX1" fmla="*/ 8187 w 43525"/>
                <a:gd name="connsiteY1" fmla="*/ 16375 h 16374"/>
                <a:gd name="connsiteX2" fmla="*/ 0 w 43525"/>
                <a:gd name="connsiteY2" fmla="*/ 8188 h 16374"/>
                <a:gd name="connsiteX3" fmla="*/ 8187 w 43525"/>
                <a:gd name="connsiteY3" fmla="*/ 0 h 16374"/>
                <a:gd name="connsiteX4" fmla="*/ 35269 w 43525"/>
                <a:gd name="connsiteY4" fmla="*/ 0 h 16374"/>
                <a:gd name="connsiteX5" fmla="*/ 43456 w 43525"/>
                <a:gd name="connsiteY5" fmla="*/ 8188 h 16374"/>
                <a:gd name="connsiteX6" fmla="*/ 35269 w 43525"/>
                <a:gd name="connsiteY6" fmla="*/ 16375 h 16374"/>
                <a:gd name="connsiteX7" fmla="*/ 35269 w 43525"/>
                <a:gd name="connsiteY7" fmla="*/ 16375 h 1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3525" h="16374">
                  <a:moveTo>
                    <a:pt x="35269" y="16375"/>
                  </a:moveTo>
                  <a:lnTo>
                    <a:pt x="8187" y="16375"/>
                  </a:lnTo>
                  <a:cubicBezTo>
                    <a:pt x="3779" y="16375"/>
                    <a:pt x="0" y="12596"/>
                    <a:pt x="0" y="8188"/>
                  </a:cubicBezTo>
                  <a:cubicBezTo>
                    <a:pt x="0" y="3779"/>
                    <a:pt x="3779" y="0"/>
                    <a:pt x="8187" y="0"/>
                  </a:cubicBezTo>
                  <a:lnTo>
                    <a:pt x="35269" y="0"/>
                  </a:lnTo>
                  <a:cubicBezTo>
                    <a:pt x="39678" y="0"/>
                    <a:pt x="43456" y="3779"/>
                    <a:pt x="43456" y="8188"/>
                  </a:cubicBezTo>
                  <a:cubicBezTo>
                    <a:pt x="44086" y="12596"/>
                    <a:pt x="40307" y="16375"/>
                    <a:pt x="35269" y="16375"/>
                  </a:cubicBezTo>
                  <a:lnTo>
                    <a:pt x="35269" y="16375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319" name="Gráfico 2">
              <a:extLst>
                <a:ext uri="{FF2B5EF4-FFF2-40B4-BE49-F238E27FC236}">
                  <a16:creationId xmlns:a16="http://schemas.microsoft.com/office/drawing/2014/main" id="{A475B8DB-D93F-4DA6-8335-80171E5C5B8D}"/>
                </a:ext>
              </a:extLst>
            </p:cNvPr>
            <p:cNvGrpSpPr/>
            <p:nvPr/>
          </p:nvGrpSpPr>
          <p:grpSpPr>
            <a:xfrm>
              <a:off x="1565348" y="2601349"/>
              <a:ext cx="99823" cy="100611"/>
              <a:chOff x="1565348" y="2601349"/>
              <a:chExt cx="99823" cy="100611"/>
            </a:xfrm>
            <a:grpFill/>
          </p:grpSpPr>
          <p:sp>
            <p:nvSpPr>
              <p:cNvPr id="320" name="Forma Livre: Forma 319">
                <a:extLst>
                  <a:ext uri="{FF2B5EF4-FFF2-40B4-BE49-F238E27FC236}">
                    <a16:creationId xmlns:a16="http://schemas.microsoft.com/office/drawing/2014/main" id="{0EDD6772-6311-4799-AB88-5B0A8CB542FA}"/>
                  </a:ext>
                </a:extLst>
              </p:cNvPr>
              <p:cNvSpPr/>
              <p:nvPr/>
            </p:nvSpPr>
            <p:spPr>
              <a:xfrm>
                <a:off x="1628958" y="2601349"/>
                <a:ext cx="36213" cy="36371"/>
              </a:xfrm>
              <a:custGeom>
                <a:avLst/>
                <a:gdLst>
                  <a:gd name="connsiteX0" fmla="*/ 8030 w 36213"/>
                  <a:gd name="connsiteY0" fmla="*/ 36371 h 36371"/>
                  <a:gd name="connsiteX1" fmla="*/ 2362 w 36213"/>
                  <a:gd name="connsiteY1" fmla="*/ 33852 h 36371"/>
                  <a:gd name="connsiteX2" fmla="*/ 2362 w 36213"/>
                  <a:gd name="connsiteY2" fmla="*/ 21886 h 36371"/>
                  <a:gd name="connsiteX3" fmla="*/ 21886 w 36213"/>
                  <a:gd name="connsiteY3" fmla="*/ 2362 h 36371"/>
                  <a:gd name="connsiteX4" fmla="*/ 33852 w 36213"/>
                  <a:gd name="connsiteY4" fmla="*/ 2362 h 36371"/>
                  <a:gd name="connsiteX5" fmla="*/ 33852 w 36213"/>
                  <a:gd name="connsiteY5" fmla="*/ 14328 h 36371"/>
                  <a:gd name="connsiteX6" fmla="*/ 14328 w 36213"/>
                  <a:gd name="connsiteY6" fmla="*/ 33852 h 36371"/>
                  <a:gd name="connsiteX7" fmla="*/ 8030 w 36213"/>
                  <a:gd name="connsiteY7" fmla="*/ 36371 h 36371"/>
                  <a:gd name="connsiteX8" fmla="*/ 8030 w 36213"/>
                  <a:gd name="connsiteY8" fmla="*/ 36371 h 36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6213" h="36371">
                    <a:moveTo>
                      <a:pt x="8030" y="36371"/>
                    </a:moveTo>
                    <a:cubicBezTo>
                      <a:pt x="6141" y="36371"/>
                      <a:pt x="3621" y="35741"/>
                      <a:pt x="2362" y="33852"/>
                    </a:cubicBezTo>
                    <a:cubicBezTo>
                      <a:pt x="-787" y="30703"/>
                      <a:pt x="-787" y="25035"/>
                      <a:pt x="2362" y="21886"/>
                    </a:cubicBezTo>
                    <a:lnTo>
                      <a:pt x="21886" y="2362"/>
                    </a:lnTo>
                    <a:cubicBezTo>
                      <a:pt x="25035" y="-787"/>
                      <a:pt x="30703" y="-787"/>
                      <a:pt x="33852" y="2362"/>
                    </a:cubicBezTo>
                    <a:cubicBezTo>
                      <a:pt x="37001" y="5511"/>
                      <a:pt x="37001" y="11179"/>
                      <a:pt x="33852" y="14328"/>
                    </a:cubicBezTo>
                    <a:lnTo>
                      <a:pt x="14328" y="33852"/>
                    </a:lnTo>
                    <a:cubicBezTo>
                      <a:pt x="12439" y="35741"/>
                      <a:pt x="10549" y="36371"/>
                      <a:pt x="8030" y="36371"/>
                    </a:cubicBezTo>
                    <a:lnTo>
                      <a:pt x="8030" y="36371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21" name="Forma Livre: Forma 320">
                <a:extLst>
                  <a:ext uri="{FF2B5EF4-FFF2-40B4-BE49-F238E27FC236}">
                    <a16:creationId xmlns:a16="http://schemas.microsoft.com/office/drawing/2014/main" id="{F263DF12-82B3-4914-87CE-3F73751E3E6F}"/>
                  </a:ext>
                </a:extLst>
              </p:cNvPr>
              <p:cNvSpPr/>
              <p:nvPr/>
            </p:nvSpPr>
            <p:spPr>
              <a:xfrm>
                <a:off x="1565348" y="2665590"/>
                <a:ext cx="36213" cy="36371"/>
              </a:xfrm>
              <a:custGeom>
                <a:avLst/>
                <a:gdLst>
                  <a:gd name="connsiteX0" fmla="*/ 8030 w 36213"/>
                  <a:gd name="connsiteY0" fmla="*/ 36371 h 36371"/>
                  <a:gd name="connsiteX1" fmla="*/ 2362 w 36213"/>
                  <a:gd name="connsiteY1" fmla="*/ 33852 h 36371"/>
                  <a:gd name="connsiteX2" fmla="*/ 2362 w 36213"/>
                  <a:gd name="connsiteY2" fmla="*/ 21886 h 36371"/>
                  <a:gd name="connsiteX3" fmla="*/ 21886 w 36213"/>
                  <a:gd name="connsiteY3" fmla="*/ 2362 h 36371"/>
                  <a:gd name="connsiteX4" fmla="*/ 33852 w 36213"/>
                  <a:gd name="connsiteY4" fmla="*/ 2362 h 36371"/>
                  <a:gd name="connsiteX5" fmla="*/ 33852 w 36213"/>
                  <a:gd name="connsiteY5" fmla="*/ 14328 h 36371"/>
                  <a:gd name="connsiteX6" fmla="*/ 14328 w 36213"/>
                  <a:gd name="connsiteY6" fmla="*/ 33852 h 36371"/>
                  <a:gd name="connsiteX7" fmla="*/ 8030 w 36213"/>
                  <a:gd name="connsiteY7" fmla="*/ 36371 h 36371"/>
                  <a:gd name="connsiteX8" fmla="*/ 8030 w 36213"/>
                  <a:gd name="connsiteY8" fmla="*/ 36371 h 36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6213" h="36371">
                    <a:moveTo>
                      <a:pt x="8030" y="36371"/>
                    </a:moveTo>
                    <a:cubicBezTo>
                      <a:pt x="6141" y="36371"/>
                      <a:pt x="3621" y="35741"/>
                      <a:pt x="2362" y="33852"/>
                    </a:cubicBezTo>
                    <a:cubicBezTo>
                      <a:pt x="-787" y="30703"/>
                      <a:pt x="-787" y="25035"/>
                      <a:pt x="2362" y="21886"/>
                    </a:cubicBezTo>
                    <a:lnTo>
                      <a:pt x="21886" y="2362"/>
                    </a:lnTo>
                    <a:cubicBezTo>
                      <a:pt x="25035" y="-787"/>
                      <a:pt x="30703" y="-787"/>
                      <a:pt x="33852" y="2362"/>
                    </a:cubicBezTo>
                    <a:cubicBezTo>
                      <a:pt x="37001" y="5511"/>
                      <a:pt x="37001" y="11179"/>
                      <a:pt x="33852" y="14328"/>
                    </a:cubicBezTo>
                    <a:lnTo>
                      <a:pt x="14328" y="33852"/>
                    </a:lnTo>
                    <a:cubicBezTo>
                      <a:pt x="12439" y="35741"/>
                      <a:pt x="9919" y="36371"/>
                      <a:pt x="8030" y="36371"/>
                    </a:cubicBezTo>
                    <a:lnTo>
                      <a:pt x="8030" y="36371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322" name="Gráfico 2">
              <a:extLst>
                <a:ext uri="{FF2B5EF4-FFF2-40B4-BE49-F238E27FC236}">
                  <a16:creationId xmlns:a16="http://schemas.microsoft.com/office/drawing/2014/main" id="{A475B8DB-D93F-4DA6-8335-80171E5C5B8D}"/>
                </a:ext>
              </a:extLst>
            </p:cNvPr>
            <p:cNvGrpSpPr/>
            <p:nvPr/>
          </p:nvGrpSpPr>
          <p:grpSpPr>
            <a:xfrm>
              <a:off x="1564718" y="2601349"/>
              <a:ext cx="100453" cy="100611"/>
              <a:chOff x="1564718" y="2601349"/>
              <a:chExt cx="100453" cy="100611"/>
            </a:xfrm>
            <a:grpFill/>
          </p:grpSpPr>
          <p:sp>
            <p:nvSpPr>
              <p:cNvPr id="323" name="Forma Livre: Forma 322">
                <a:extLst>
                  <a:ext uri="{FF2B5EF4-FFF2-40B4-BE49-F238E27FC236}">
                    <a16:creationId xmlns:a16="http://schemas.microsoft.com/office/drawing/2014/main" id="{A739FC7E-4A07-4A22-9691-D3A03A2E4968}"/>
                  </a:ext>
                </a:extLst>
              </p:cNvPr>
              <p:cNvSpPr/>
              <p:nvPr/>
            </p:nvSpPr>
            <p:spPr>
              <a:xfrm>
                <a:off x="1628958" y="2665590"/>
                <a:ext cx="36213" cy="36371"/>
              </a:xfrm>
              <a:custGeom>
                <a:avLst/>
                <a:gdLst>
                  <a:gd name="connsiteX0" fmla="*/ 27554 w 36213"/>
                  <a:gd name="connsiteY0" fmla="*/ 36371 h 36371"/>
                  <a:gd name="connsiteX1" fmla="*/ 21886 w 36213"/>
                  <a:gd name="connsiteY1" fmla="*/ 33852 h 36371"/>
                  <a:gd name="connsiteX2" fmla="*/ 2362 w 36213"/>
                  <a:gd name="connsiteY2" fmla="*/ 14328 h 36371"/>
                  <a:gd name="connsiteX3" fmla="*/ 2362 w 36213"/>
                  <a:gd name="connsiteY3" fmla="*/ 2362 h 36371"/>
                  <a:gd name="connsiteX4" fmla="*/ 14328 w 36213"/>
                  <a:gd name="connsiteY4" fmla="*/ 2362 h 36371"/>
                  <a:gd name="connsiteX5" fmla="*/ 33852 w 36213"/>
                  <a:gd name="connsiteY5" fmla="*/ 21886 h 36371"/>
                  <a:gd name="connsiteX6" fmla="*/ 33852 w 36213"/>
                  <a:gd name="connsiteY6" fmla="*/ 33852 h 36371"/>
                  <a:gd name="connsiteX7" fmla="*/ 27554 w 36213"/>
                  <a:gd name="connsiteY7" fmla="*/ 36371 h 36371"/>
                  <a:gd name="connsiteX8" fmla="*/ 27554 w 36213"/>
                  <a:gd name="connsiteY8" fmla="*/ 36371 h 36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6213" h="36371">
                    <a:moveTo>
                      <a:pt x="27554" y="36371"/>
                    </a:moveTo>
                    <a:cubicBezTo>
                      <a:pt x="25665" y="36371"/>
                      <a:pt x="23145" y="35741"/>
                      <a:pt x="21886" y="33852"/>
                    </a:cubicBezTo>
                    <a:lnTo>
                      <a:pt x="2362" y="14328"/>
                    </a:lnTo>
                    <a:cubicBezTo>
                      <a:pt x="-787" y="11179"/>
                      <a:pt x="-787" y="5511"/>
                      <a:pt x="2362" y="2362"/>
                    </a:cubicBezTo>
                    <a:cubicBezTo>
                      <a:pt x="5511" y="-787"/>
                      <a:pt x="11179" y="-787"/>
                      <a:pt x="14328" y="2362"/>
                    </a:cubicBezTo>
                    <a:lnTo>
                      <a:pt x="33852" y="21886"/>
                    </a:lnTo>
                    <a:cubicBezTo>
                      <a:pt x="37001" y="25035"/>
                      <a:pt x="37001" y="30703"/>
                      <a:pt x="33852" y="33852"/>
                    </a:cubicBezTo>
                    <a:cubicBezTo>
                      <a:pt x="31963" y="35741"/>
                      <a:pt x="29443" y="36371"/>
                      <a:pt x="27554" y="36371"/>
                    </a:cubicBezTo>
                    <a:lnTo>
                      <a:pt x="27554" y="36371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24" name="Forma Livre: Forma 323">
                <a:extLst>
                  <a:ext uri="{FF2B5EF4-FFF2-40B4-BE49-F238E27FC236}">
                    <a16:creationId xmlns:a16="http://schemas.microsoft.com/office/drawing/2014/main" id="{942944C9-5582-482B-9D45-5A4A68AB662E}"/>
                  </a:ext>
                </a:extLst>
              </p:cNvPr>
              <p:cNvSpPr/>
              <p:nvPr/>
            </p:nvSpPr>
            <p:spPr>
              <a:xfrm>
                <a:off x="1564718" y="2601349"/>
                <a:ext cx="36213" cy="36371"/>
              </a:xfrm>
              <a:custGeom>
                <a:avLst/>
                <a:gdLst>
                  <a:gd name="connsiteX0" fmla="*/ 27554 w 36213"/>
                  <a:gd name="connsiteY0" fmla="*/ 36371 h 36371"/>
                  <a:gd name="connsiteX1" fmla="*/ 21886 w 36213"/>
                  <a:gd name="connsiteY1" fmla="*/ 33852 h 36371"/>
                  <a:gd name="connsiteX2" fmla="*/ 2362 w 36213"/>
                  <a:gd name="connsiteY2" fmla="*/ 14328 h 36371"/>
                  <a:gd name="connsiteX3" fmla="*/ 2362 w 36213"/>
                  <a:gd name="connsiteY3" fmla="*/ 2362 h 36371"/>
                  <a:gd name="connsiteX4" fmla="*/ 14328 w 36213"/>
                  <a:gd name="connsiteY4" fmla="*/ 2362 h 36371"/>
                  <a:gd name="connsiteX5" fmla="*/ 33852 w 36213"/>
                  <a:gd name="connsiteY5" fmla="*/ 21886 h 36371"/>
                  <a:gd name="connsiteX6" fmla="*/ 33852 w 36213"/>
                  <a:gd name="connsiteY6" fmla="*/ 33852 h 36371"/>
                  <a:gd name="connsiteX7" fmla="*/ 27554 w 36213"/>
                  <a:gd name="connsiteY7" fmla="*/ 36371 h 36371"/>
                  <a:gd name="connsiteX8" fmla="*/ 27554 w 36213"/>
                  <a:gd name="connsiteY8" fmla="*/ 36371 h 36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6213" h="36371">
                    <a:moveTo>
                      <a:pt x="27554" y="36371"/>
                    </a:moveTo>
                    <a:cubicBezTo>
                      <a:pt x="25664" y="36371"/>
                      <a:pt x="23145" y="35741"/>
                      <a:pt x="21886" y="33852"/>
                    </a:cubicBezTo>
                    <a:lnTo>
                      <a:pt x="2362" y="14328"/>
                    </a:lnTo>
                    <a:cubicBezTo>
                      <a:pt x="-787" y="11179"/>
                      <a:pt x="-787" y="5511"/>
                      <a:pt x="2362" y="2362"/>
                    </a:cubicBezTo>
                    <a:cubicBezTo>
                      <a:pt x="5511" y="-787"/>
                      <a:pt x="11179" y="-787"/>
                      <a:pt x="14328" y="2362"/>
                    </a:cubicBezTo>
                    <a:lnTo>
                      <a:pt x="33852" y="21886"/>
                    </a:lnTo>
                    <a:cubicBezTo>
                      <a:pt x="37001" y="25035"/>
                      <a:pt x="37001" y="30703"/>
                      <a:pt x="33852" y="33852"/>
                    </a:cubicBezTo>
                    <a:cubicBezTo>
                      <a:pt x="31963" y="35741"/>
                      <a:pt x="30073" y="36371"/>
                      <a:pt x="27554" y="36371"/>
                    </a:cubicBezTo>
                    <a:lnTo>
                      <a:pt x="27554" y="36371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325" name="Forma Livre: Forma 324">
              <a:extLst>
                <a:ext uri="{FF2B5EF4-FFF2-40B4-BE49-F238E27FC236}">
                  <a16:creationId xmlns:a16="http://schemas.microsoft.com/office/drawing/2014/main" id="{BDBA1D4C-07FA-45FD-9AA7-93A1066C770F}"/>
                </a:ext>
              </a:extLst>
            </p:cNvPr>
            <p:cNvSpPr/>
            <p:nvPr/>
          </p:nvSpPr>
          <p:spPr>
            <a:xfrm>
              <a:off x="1458438" y="2657559"/>
              <a:ext cx="137612" cy="137612"/>
            </a:xfrm>
            <a:custGeom>
              <a:avLst/>
              <a:gdLst>
                <a:gd name="connsiteX0" fmla="*/ 90377 w 137612"/>
                <a:gd name="connsiteY0" fmla="*/ 137612 h 137612"/>
                <a:gd name="connsiteX1" fmla="*/ 78411 w 137612"/>
                <a:gd name="connsiteY1" fmla="*/ 132574 h 137612"/>
                <a:gd name="connsiteX2" fmla="*/ 78411 w 137612"/>
                <a:gd name="connsiteY2" fmla="*/ 109271 h 137612"/>
                <a:gd name="connsiteX3" fmla="*/ 97305 w 137612"/>
                <a:gd name="connsiteY3" fmla="*/ 90377 h 137612"/>
                <a:gd name="connsiteX4" fmla="*/ 46920 w 137612"/>
                <a:gd name="connsiteY4" fmla="*/ 39993 h 137612"/>
                <a:gd name="connsiteX5" fmla="*/ 28026 w 137612"/>
                <a:gd name="connsiteY5" fmla="*/ 58887 h 137612"/>
                <a:gd name="connsiteX6" fmla="*/ 4724 w 137612"/>
                <a:gd name="connsiteY6" fmla="*/ 58887 h 137612"/>
                <a:gd name="connsiteX7" fmla="*/ 4724 w 137612"/>
                <a:gd name="connsiteY7" fmla="*/ 35584 h 137612"/>
                <a:gd name="connsiteX8" fmla="*/ 35584 w 137612"/>
                <a:gd name="connsiteY8" fmla="*/ 4724 h 137612"/>
                <a:gd name="connsiteX9" fmla="*/ 58887 w 137612"/>
                <a:gd name="connsiteY9" fmla="*/ 4724 h 137612"/>
                <a:gd name="connsiteX10" fmla="*/ 132574 w 137612"/>
                <a:gd name="connsiteY10" fmla="*/ 78411 h 137612"/>
                <a:gd name="connsiteX11" fmla="*/ 137612 w 137612"/>
                <a:gd name="connsiteY11" fmla="*/ 90377 h 137612"/>
                <a:gd name="connsiteX12" fmla="*/ 132574 w 137612"/>
                <a:gd name="connsiteY12" fmla="*/ 102343 h 137612"/>
                <a:gd name="connsiteX13" fmla="*/ 101713 w 137612"/>
                <a:gd name="connsiteY13" fmla="*/ 133204 h 137612"/>
                <a:gd name="connsiteX14" fmla="*/ 90377 w 137612"/>
                <a:gd name="connsiteY14" fmla="*/ 137612 h 137612"/>
                <a:gd name="connsiteX15" fmla="*/ 90377 w 137612"/>
                <a:gd name="connsiteY15" fmla="*/ 137612 h 137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7612" h="137612">
                  <a:moveTo>
                    <a:pt x="90377" y="137612"/>
                  </a:moveTo>
                  <a:cubicBezTo>
                    <a:pt x="85968" y="137612"/>
                    <a:pt x="81560" y="135723"/>
                    <a:pt x="78411" y="132574"/>
                  </a:cubicBezTo>
                  <a:cubicBezTo>
                    <a:pt x="72113" y="126276"/>
                    <a:pt x="72113" y="115569"/>
                    <a:pt x="78411" y="109271"/>
                  </a:cubicBezTo>
                  <a:lnTo>
                    <a:pt x="97305" y="90377"/>
                  </a:lnTo>
                  <a:lnTo>
                    <a:pt x="46920" y="39993"/>
                  </a:lnTo>
                  <a:lnTo>
                    <a:pt x="28026" y="58887"/>
                  </a:lnTo>
                  <a:cubicBezTo>
                    <a:pt x="21728" y="65185"/>
                    <a:pt x="11022" y="65185"/>
                    <a:pt x="4724" y="58887"/>
                  </a:cubicBezTo>
                  <a:cubicBezTo>
                    <a:pt x="-1575" y="52589"/>
                    <a:pt x="-1575" y="41882"/>
                    <a:pt x="4724" y="35584"/>
                  </a:cubicBezTo>
                  <a:lnTo>
                    <a:pt x="35584" y="4724"/>
                  </a:lnTo>
                  <a:cubicBezTo>
                    <a:pt x="41882" y="-1575"/>
                    <a:pt x="52589" y="-1575"/>
                    <a:pt x="58887" y="4724"/>
                  </a:cubicBezTo>
                  <a:lnTo>
                    <a:pt x="132574" y="78411"/>
                  </a:lnTo>
                  <a:cubicBezTo>
                    <a:pt x="135723" y="81560"/>
                    <a:pt x="137612" y="85968"/>
                    <a:pt x="137612" y="90377"/>
                  </a:cubicBezTo>
                  <a:cubicBezTo>
                    <a:pt x="137612" y="94786"/>
                    <a:pt x="135723" y="99194"/>
                    <a:pt x="132574" y="102343"/>
                  </a:cubicBezTo>
                  <a:lnTo>
                    <a:pt x="101713" y="133204"/>
                  </a:lnTo>
                  <a:cubicBezTo>
                    <a:pt x="98564" y="135723"/>
                    <a:pt x="94156" y="137612"/>
                    <a:pt x="90377" y="137612"/>
                  </a:cubicBezTo>
                  <a:lnTo>
                    <a:pt x="90377" y="137612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26" name="Forma Livre: Forma 325">
              <a:extLst>
                <a:ext uri="{FF2B5EF4-FFF2-40B4-BE49-F238E27FC236}">
                  <a16:creationId xmlns:a16="http://schemas.microsoft.com/office/drawing/2014/main" id="{B1CFA85C-056C-4D82-8B67-9B7C2129C796}"/>
                </a:ext>
              </a:extLst>
            </p:cNvPr>
            <p:cNvSpPr/>
            <p:nvPr/>
          </p:nvSpPr>
          <p:spPr>
            <a:xfrm>
              <a:off x="1522125" y="2641638"/>
              <a:ext cx="95666" cy="64101"/>
            </a:xfrm>
            <a:custGeom>
              <a:avLst/>
              <a:gdLst>
                <a:gd name="connsiteX0" fmla="*/ 14094 w 95666"/>
                <a:gd name="connsiteY0" fmla="*/ 64101 h 64101"/>
                <a:gd name="connsiteX1" fmla="*/ 4017 w 95666"/>
                <a:gd name="connsiteY1" fmla="*/ 62212 h 64101"/>
                <a:gd name="connsiteX2" fmla="*/ 868 w 95666"/>
                <a:gd name="connsiteY2" fmla="*/ 52135 h 64101"/>
                <a:gd name="connsiteX3" fmla="*/ 10945 w 95666"/>
                <a:gd name="connsiteY3" fmla="*/ 48356 h 64101"/>
                <a:gd name="connsiteX4" fmla="*/ 17873 w 95666"/>
                <a:gd name="connsiteY4" fmla="*/ 47726 h 64101"/>
                <a:gd name="connsiteX5" fmla="*/ 29209 w 95666"/>
                <a:gd name="connsiteY5" fmla="*/ 25683 h 64101"/>
                <a:gd name="connsiteX6" fmla="*/ 43695 w 95666"/>
                <a:gd name="connsiteY6" fmla="*/ 4900 h 64101"/>
                <a:gd name="connsiteX7" fmla="*/ 90300 w 95666"/>
                <a:gd name="connsiteY7" fmla="*/ 4900 h 64101"/>
                <a:gd name="connsiteX8" fmla="*/ 95339 w 95666"/>
                <a:gd name="connsiteY8" fmla="*/ 14347 h 64101"/>
                <a:gd name="connsiteX9" fmla="*/ 85892 w 95666"/>
                <a:gd name="connsiteY9" fmla="*/ 19385 h 64101"/>
                <a:gd name="connsiteX10" fmla="*/ 51252 w 95666"/>
                <a:gd name="connsiteY10" fmla="*/ 18125 h 64101"/>
                <a:gd name="connsiteX11" fmla="*/ 44325 w 95666"/>
                <a:gd name="connsiteY11" fmla="*/ 28832 h 64101"/>
                <a:gd name="connsiteX12" fmla="*/ 24171 w 95666"/>
                <a:gd name="connsiteY12" fmla="*/ 61582 h 64101"/>
                <a:gd name="connsiteX13" fmla="*/ 14094 w 95666"/>
                <a:gd name="connsiteY13" fmla="*/ 64101 h 64101"/>
                <a:gd name="connsiteX14" fmla="*/ 14094 w 95666"/>
                <a:gd name="connsiteY14" fmla="*/ 64101 h 64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5666" h="64101">
                  <a:moveTo>
                    <a:pt x="14094" y="64101"/>
                  </a:moveTo>
                  <a:cubicBezTo>
                    <a:pt x="9056" y="64101"/>
                    <a:pt x="4647" y="62212"/>
                    <a:pt x="4017" y="62212"/>
                  </a:cubicBezTo>
                  <a:cubicBezTo>
                    <a:pt x="238" y="60322"/>
                    <a:pt x="-1021" y="55914"/>
                    <a:pt x="868" y="52135"/>
                  </a:cubicBezTo>
                  <a:cubicBezTo>
                    <a:pt x="2757" y="48356"/>
                    <a:pt x="7166" y="47096"/>
                    <a:pt x="10945" y="48356"/>
                  </a:cubicBezTo>
                  <a:cubicBezTo>
                    <a:pt x="10945" y="48356"/>
                    <a:pt x="14724" y="49616"/>
                    <a:pt x="17873" y="47726"/>
                  </a:cubicBezTo>
                  <a:cubicBezTo>
                    <a:pt x="22911" y="45207"/>
                    <a:pt x="26690" y="37020"/>
                    <a:pt x="29209" y="25683"/>
                  </a:cubicBezTo>
                  <a:cubicBezTo>
                    <a:pt x="31099" y="16236"/>
                    <a:pt x="36137" y="9308"/>
                    <a:pt x="43695" y="4900"/>
                  </a:cubicBezTo>
                  <a:cubicBezTo>
                    <a:pt x="58810" y="-3918"/>
                    <a:pt x="79594" y="1121"/>
                    <a:pt x="90300" y="4900"/>
                  </a:cubicBezTo>
                  <a:cubicBezTo>
                    <a:pt x="94079" y="6159"/>
                    <a:pt x="96598" y="10568"/>
                    <a:pt x="95339" y="14347"/>
                  </a:cubicBezTo>
                  <a:cubicBezTo>
                    <a:pt x="94079" y="18125"/>
                    <a:pt x="89670" y="20645"/>
                    <a:pt x="85892" y="19385"/>
                  </a:cubicBezTo>
                  <a:cubicBezTo>
                    <a:pt x="80223" y="17496"/>
                    <a:pt x="61959" y="12457"/>
                    <a:pt x="51252" y="18125"/>
                  </a:cubicBezTo>
                  <a:cubicBezTo>
                    <a:pt x="47474" y="20015"/>
                    <a:pt x="44954" y="23794"/>
                    <a:pt x="44325" y="28832"/>
                  </a:cubicBezTo>
                  <a:cubicBezTo>
                    <a:pt x="40546" y="45837"/>
                    <a:pt x="34248" y="57173"/>
                    <a:pt x="24171" y="61582"/>
                  </a:cubicBezTo>
                  <a:cubicBezTo>
                    <a:pt x="20392" y="63471"/>
                    <a:pt x="17243" y="64101"/>
                    <a:pt x="14094" y="64101"/>
                  </a:cubicBezTo>
                  <a:lnTo>
                    <a:pt x="14094" y="64101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27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6436093" y="5671790"/>
            <a:ext cx="309863" cy="419774"/>
            <a:chOff x="6436093" y="5671790"/>
            <a:chExt cx="309863" cy="419774"/>
          </a:xfrm>
          <a:solidFill>
            <a:srgbClr val="B1B1A1"/>
          </a:solidFill>
        </p:grpSpPr>
        <p:sp>
          <p:nvSpPr>
            <p:cNvPr id="328" name="Forma Livre: Forma 327">
              <a:extLst>
                <a:ext uri="{FF2B5EF4-FFF2-40B4-BE49-F238E27FC236}">
                  <a16:creationId xmlns:a16="http://schemas.microsoft.com/office/drawing/2014/main" id="{EAB317D5-6BB2-4083-8F49-449B5122FEA5}"/>
                </a:ext>
              </a:extLst>
            </p:cNvPr>
            <p:cNvSpPr/>
            <p:nvPr/>
          </p:nvSpPr>
          <p:spPr>
            <a:xfrm>
              <a:off x="6536232" y="5832440"/>
              <a:ext cx="108955" cy="195514"/>
            </a:xfrm>
            <a:custGeom>
              <a:avLst/>
              <a:gdLst>
                <a:gd name="connsiteX0" fmla="*/ 61721 w 108955"/>
                <a:gd name="connsiteY0" fmla="*/ 7833 h 195514"/>
                <a:gd name="connsiteX1" fmla="*/ 61721 w 108955"/>
                <a:gd name="connsiteY1" fmla="*/ 19170 h 195514"/>
                <a:gd name="connsiteX2" fmla="*/ 80615 w 108955"/>
                <a:gd name="connsiteY2" fmla="*/ 23579 h 195514"/>
                <a:gd name="connsiteX3" fmla="*/ 94471 w 108955"/>
                <a:gd name="connsiteY3" fmla="*/ 33655 h 195514"/>
                <a:gd name="connsiteX4" fmla="*/ 101398 w 108955"/>
                <a:gd name="connsiteY4" fmla="*/ 44362 h 195514"/>
                <a:gd name="connsiteX5" fmla="*/ 103918 w 108955"/>
                <a:gd name="connsiteY5" fmla="*/ 54439 h 195514"/>
                <a:gd name="connsiteX6" fmla="*/ 100139 w 108955"/>
                <a:gd name="connsiteY6" fmla="*/ 63256 h 195514"/>
                <a:gd name="connsiteX7" fmla="*/ 91322 w 108955"/>
                <a:gd name="connsiteY7" fmla="*/ 67035 h 195514"/>
                <a:gd name="connsiteX8" fmla="*/ 78095 w 108955"/>
                <a:gd name="connsiteY8" fmla="*/ 56328 h 195514"/>
                <a:gd name="connsiteX9" fmla="*/ 61721 w 108955"/>
                <a:gd name="connsiteY9" fmla="*/ 39324 h 195514"/>
                <a:gd name="connsiteX10" fmla="*/ 61721 w 108955"/>
                <a:gd name="connsiteY10" fmla="*/ 82150 h 195514"/>
                <a:gd name="connsiteX11" fmla="*/ 81875 w 108955"/>
                <a:gd name="connsiteY11" fmla="*/ 88448 h 195514"/>
                <a:gd name="connsiteX12" fmla="*/ 95730 w 108955"/>
                <a:gd name="connsiteY12" fmla="*/ 96636 h 195514"/>
                <a:gd name="connsiteX13" fmla="*/ 105807 w 108955"/>
                <a:gd name="connsiteY13" fmla="*/ 110491 h 195514"/>
                <a:gd name="connsiteX14" fmla="*/ 108956 w 108955"/>
                <a:gd name="connsiteY14" fmla="*/ 127496 h 195514"/>
                <a:gd name="connsiteX15" fmla="*/ 103288 w 108955"/>
                <a:gd name="connsiteY15" fmla="*/ 149539 h 195514"/>
                <a:gd name="connsiteX16" fmla="*/ 86913 w 108955"/>
                <a:gd name="connsiteY16" fmla="*/ 166544 h 195514"/>
                <a:gd name="connsiteX17" fmla="*/ 61091 w 108955"/>
                <a:gd name="connsiteY17" fmla="*/ 174101 h 195514"/>
                <a:gd name="connsiteX18" fmla="*/ 61091 w 108955"/>
                <a:gd name="connsiteY18" fmla="*/ 184179 h 195514"/>
                <a:gd name="connsiteX19" fmla="*/ 59831 w 108955"/>
                <a:gd name="connsiteY19" fmla="*/ 192996 h 195514"/>
                <a:gd name="connsiteX20" fmla="*/ 54793 w 108955"/>
                <a:gd name="connsiteY20" fmla="*/ 195515 h 195514"/>
                <a:gd name="connsiteX21" fmla="*/ 49754 w 108955"/>
                <a:gd name="connsiteY21" fmla="*/ 192996 h 195514"/>
                <a:gd name="connsiteX22" fmla="*/ 48495 w 108955"/>
                <a:gd name="connsiteY22" fmla="*/ 186068 h 195514"/>
                <a:gd name="connsiteX23" fmla="*/ 48495 w 108955"/>
                <a:gd name="connsiteY23" fmla="*/ 174101 h 195514"/>
                <a:gd name="connsiteX24" fmla="*/ 27081 w 108955"/>
                <a:gd name="connsiteY24" fmla="*/ 168433 h 195514"/>
                <a:gd name="connsiteX25" fmla="*/ 11966 w 108955"/>
                <a:gd name="connsiteY25" fmla="*/ 157727 h 195514"/>
                <a:gd name="connsiteX26" fmla="*/ 3149 w 108955"/>
                <a:gd name="connsiteY26" fmla="*/ 144501 h 195514"/>
                <a:gd name="connsiteX27" fmla="*/ 0 w 108955"/>
                <a:gd name="connsiteY27" fmla="*/ 130645 h 195514"/>
                <a:gd name="connsiteX28" fmla="*/ 3779 w 108955"/>
                <a:gd name="connsiteY28" fmla="*/ 121828 h 195514"/>
                <a:gd name="connsiteX29" fmla="*/ 13226 w 108955"/>
                <a:gd name="connsiteY29" fmla="*/ 118049 h 195514"/>
                <a:gd name="connsiteX30" fmla="*/ 21413 w 108955"/>
                <a:gd name="connsiteY30" fmla="*/ 119938 h 195514"/>
                <a:gd name="connsiteX31" fmla="*/ 25822 w 108955"/>
                <a:gd name="connsiteY31" fmla="*/ 126236 h 195514"/>
                <a:gd name="connsiteX32" fmla="*/ 30860 w 108955"/>
                <a:gd name="connsiteY32" fmla="*/ 139462 h 195514"/>
                <a:gd name="connsiteX33" fmla="*/ 37158 w 108955"/>
                <a:gd name="connsiteY33" fmla="*/ 147650 h 195514"/>
                <a:gd name="connsiteX34" fmla="*/ 48495 w 108955"/>
                <a:gd name="connsiteY34" fmla="*/ 153318 h 195514"/>
                <a:gd name="connsiteX35" fmla="*/ 48495 w 108955"/>
                <a:gd name="connsiteY35" fmla="*/ 105453 h 195514"/>
                <a:gd name="connsiteX36" fmla="*/ 25192 w 108955"/>
                <a:gd name="connsiteY36" fmla="*/ 97265 h 195514"/>
                <a:gd name="connsiteX37" fmla="*/ 10077 w 108955"/>
                <a:gd name="connsiteY37" fmla="*/ 84040 h 195514"/>
                <a:gd name="connsiteX38" fmla="*/ 4408 w 108955"/>
                <a:gd name="connsiteY38" fmla="*/ 61996 h 195514"/>
                <a:gd name="connsiteX39" fmla="*/ 15745 w 108955"/>
                <a:gd name="connsiteY39" fmla="*/ 33026 h 195514"/>
                <a:gd name="connsiteX40" fmla="*/ 48495 w 108955"/>
                <a:gd name="connsiteY40" fmla="*/ 19799 h 195514"/>
                <a:gd name="connsiteX41" fmla="*/ 48495 w 108955"/>
                <a:gd name="connsiteY41" fmla="*/ 9093 h 195514"/>
                <a:gd name="connsiteX42" fmla="*/ 54793 w 108955"/>
                <a:gd name="connsiteY42" fmla="*/ 276 h 195514"/>
                <a:gd name="connsiteX43" fmla="*/ 61721 w 108955"/>
                <a:gd name="connsiteY43" fmla="*/ 7833 h 195514"/>
                <a:gd name="connsiteX44" fmla="*/ 48495 w 108955"/>
                <a:gd name="connsiteY44" fmla="*/ 78371 h 195514"/>
                <a:gd name="connsiteX45" fmla="*/ 48495 w 108955"/>
                <a:gd name="connsiteY45" fmla="*/ 38694 h 195514"/>
                <a:gd name="connsiteX46" fmla="*/ 35269 w 108955"/>
                <a:gd name="connsiteY46" fmla="*/ 45622 h 195514"/>
                <a:gd name="connsiteX47" fmla="*/ 30231 w 108955"/>
                <a:gd name="connsiteY47" fmla="*/ 58218 h 195514"/>
                <a:gd name="connsiteX48" fmla="*/ 34639 w 108955"/>
                <a:gd name="connsiteY48" fmla="*/ 70814 h 195514"/>
                <a:gd name="connsiteX49" fmla="*/ 48495 w 108955"/>
                <a:gd name="connsiteY49" fmla="*/ 78371 h 195514"/>
                <a:gd name="connsiteX50" fmla="*/ 61721 w 108955"/>
                <a:gd name="connsiteY50" fmla="*/ 109232 h 195514"/>
                <a:gd name="connsiteX51" fmla="*/ 61721 w 108955"/>
                <a:gd name="connsiteY51" fmla="*/ 154578 h 195514"/>
                <a:gd name="connsiteX52" fmla="*/ 78095 w 108955"/>
                <a:gd name="connsiteY52" fmla="*/ 146390 h 195514"/>
                <a:gd name="connsiteX53" fmla="*/ 83764 w 108955"/>
                <a:gd name="connsiteY53" fmla="*/ 131905 h 195514"/>
                <a:gd name="connsiteX54" fmla="*/ 78095 w 108955"/>
                <a:gd name="connsiteY54" fmla="*/ 118049 h 195514"/>
                <a:gd name="connsiteX55" fmla="*/ 61721 w 108955"/>
                <a:gd name="connsiteY55" fmla="*/ 109232 h 195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108955" h="195514">
                  <a:moveTo>
                    <a:pt x="61721" y="7833"/>
                  </a:moveTo>
                  <a:lnTo>
                    <a:pt x="61721" y="19170"/>
                  </a:lnTo>
                  <a:cubicBezTo>
                    <a:pt x="69278" y="19799"/>
                    <a:pt x="75576" y="21689"/>
                    <a:pt x="80615" y="23579"/>
                  </a:cubicBezTo>
                  <a:cubicBezTo>
                    <a:pt x="85653" y="26098"/>
                    <a:pt x="90692" y="29247"/>
                    <a:pt x="94471" y="33655"/>
                  </a:cubicBezTo>
                  <a:cubicBezTo>
                    <a:pt x="97620" y="37434"/>
                    <a:pt x="100139" y="40583"/>
                    <a:pt x="101398" y="44362"/>
                  </a:cubicBezTo>
                  <a:cubicBezTo>
                    <a:pt x="103288" y="48141"/>
                    <a:pt x="103918" y="51290"/>
                    <a:pt x="103918" y="54439"/>
                  </a:cubicBezTo>
                  <a:cubicBezTo>
                    <a:pt x="103918" y="57588"/>
                    <a:pt x="102658" y="60737"/>
                    <a:pt x="100139" y="63256"/>
                  </a:cubicBezTo>
                  <a:cubicBezTo>
                    <a:pt x="97620" y="65775"/>
                    <a:pt x="94471" y="67035"/>
                    <a:pt x="91322" y="67035"/>
                  </a:cubicBezTo>
                  <a:cubicBezTo>
                    <a:pt x="84393" y="67035"/>
                    <a:pt x="79985" y="63256"/>
                    <a:pt x="78095" y="56328"/>
                  </a:cubicBezTo>
                  <a:cubicBezTo>
                    <a:pt x="75576" y="47511"/>
                    <a:pt x="70538" y="41843"/>
                    <a:pt x="61721" y="39324"/>
                  </a:cubicBezTo>
                  <a:lnTo>
                    <a:pt x="61721" y="82150"/>
                  </a:lnTo>
                  <a:cubicBezTo>
                    <a:pt x="70538" y="84669"/>
                    <a:pt x="76836" y="86559"/>
                    <a:pt x="81875" y="88448"/>
                  </a:cubicBezTo>
                  <a:cubicBezTo>
                    <a:pt x="86913" y="90338"/>
                    <a:pt x="91322" y="92857"/>
                    <a:pt x="95730" y="96636"/>
                  </a:cubicBezTo>
                  <a:cubicBezTo>
                    <a:pt x="100139" y="100414"/>
                    <a:pt x="103288" y="104823"/>
                    <a:pt x="105807" y="110491"/>
                  </a:cubicBezTo>
                  <a:cubicBezTo>
                    <a:pt x="108326" y="115530"/>
                    <a:pt x="108956" y="121198"/>
                    <a:pt x="108956" y="127496"/>
                  </a:cubicBezTo>
                  <a:cubicBezTo>
                    <a:pt x="108956" y="135054"/>
                    <a:pt x="107067" y="142611"/>
                    <a:pt x="103288" y="149539"/>
                  </a:cubicBezTo>
                  <a:cubicBezTo>
                    <a:pt x="99509" y="156467"/>
                    <a:pt x="94471" y="162135"/>
                    <a:pt x="86913" y="166544"/>
                  </a:cubicBezTo>
                  <a:cubicBezTo>
                    <a:pt x="79985" y="170952"/>
                    <a:pt x="71168" y="173472"/>
                    <a:pt x="61091" y="174101"/>
                  </a:cubicBezTo>
                  <a:lnTo>
                    <a:pt x="61091" y="184179"/>
                  </a:lnTo>
                  <a:cubicBezTo>
                    <a:pt x="61091" y="187957"/>
                    <a:pt x="60461" y="191106"/>
                    <a:pt x="59831" y="192996"/>
                  </a:cubicBezTo>
                  <a:cubicBezTo>
                    <a:pt x="59201" y="194885"/>
                    <a:pt x="57312" y="195515"/>
                    <a:pt x="54793" y="195515"/>
                  </a:cubicBezTo>
                  <a:cubicBezTo>
                    <a:pt x="52274" y="195515"/>
                    <a:pt x="50384" y="194885"/>
                    <a:pt x="49754" y="192996"/>
                  </a:cubicBezTo>
                  <a:cubicBezTo>
                    <a:pt x="48495" y="191736"/>
                    <a:pt x="48495" y="189217"/>
                    <a:pt x="48495" y="186068"/>
                  </a:cubicBezTo>
                  <a:lnTo>
                    <a:pt x="48495" y="174101"/>
                  </a:lnTo>
                  <a:cubicBezTo>
                    <a:pt x="40307" y="173472"/>
                    <a:pt x="33380" y="171582"/>
                    <a:pt x="27081" y="168433"/>
                  </a:cubicBezTo>
                  <a:cubicBezTo>
                    <a:pt x="20783" y="165284"/>
                    <a:pt x="16375" y="162135"/>
                    <a:pt x="11966" y="157727"/>
                  </a:cubicBezTo>
                  <a:cubicBezTo>
                    <a:pt x="8187" y="153318"/>
                    <a:pt x="5038" y="148909"/>
                    <a:pt x="3149" y="144501"/>
                  </a:cubicBezTo>
                  <a:cubicBezTo>
                    <a:pt x="1259" y="140092"/>
                    <a:pt x="0" y="135054"/>
                    <a:pt x="0" y="130645"/>
                  </a:cubicBezTo>
                  <a:cubicBezTo>
                    <a:pt x="0" y="127496"/>
                    <a:pt x="1259" y="124347"/>
                    <a:pt x="3779" y="121828"/>
                  </a:cubicBezTo>
                  <a:cubicBezTo>
                    <a:pt x="6298" y="119308"/>
                    <a:pt x="9447" y="118049"/>
                    <a:pt x="13226" y="118049"/>
                  </a:cubicBezTo>
                  <a:cubicBezTo>
                    <a:pt x="16375" y="118049"/>
                    <a:pt x="18894" y="118679"/>
                    <a:pt x="21413" y="119938"/>
                  </a:cubicBezTo>
                  <a:cubicBezTo>
                    <a:pt x="23302" y="121198"/>
                    <a:pt x="25192" y="123717"/>
                    <a:pt x="25822" y="126236"/>
                  </a:cubicBezTo>
                  <a:cubicBezTo>
                    <a:pt x="27711" y="131905"/>
                    <a:pt x="29600" y="136313"/>
                    <a:pt x="30860" y="139462"/>
                  </a:cubicBezTo>
                  <a:cubicBezTo>
                    <a:pt x="32120" y="142611"/>
                    <a:pt x="34009" y="145131"/>
                    <a:pt x="37158" y="147650"/>
                  </a:cubicBezTo>
                  <a:cubicBezTo>
                    <a:pt x="39678" y="150169"/>
                    <a:pt x="43456" y="152058"/>
                    <a:pt x="48495" y="153318"/>
                  </a:cubicBezTo>
                  <a:lnTo>
                    <a:pt x="48495" y="105453"/>
                  </a:lnTo>
                  <a:cubicBezTo>
                    <a:pt x="39048" y="102934"/>
                    <a:pt x="31490" y="99785"/>
                    <a:pt x="25192" y="97265"/>
                  </a:cubicBezTo>
                  <a:cubicBezTo>
                    <a:pt x="18894" y="94116"/>
                    <a:pt x="13855" y="89708"/>
                    <a:pt x="10077" y="84040"/>
                  </a:cubicBezTo>
                  <a:cubicBezTo>
                    <a:pt x="6298" y="78371"/>
                    <a:pt x="4408" y="70814"/>
                    <a:pt x="4408" y="61996"/>
                  </a:cubicBezTo>
                  <a:cubicBezTo>
                    <a:pt x="4408" y="50030"/>
                    <a:pt x="8187" y="40583"/>
                    <a:pt x="15745" y="33026"/>
                  </a:cubicBezTo>
                  <a:cubicBezTo>
                    <a:pt x="23302" y="25468"/>
                    <a:pt x="34009" y="21059"/>
                    <a:pt x="48495" y="19799"/>
                  </a:cubicBezTo>
                  <a:lnTo>
                    <a:pt x="48495" y="9093"/>
                  </a:lnTo>
                  <a:cubicBezTo>
                    <a:pt x="48495" y="3425"/>
                    <a:pt x="50384" y="276"/>
                    <a:pt x="54793" y="276"/>
                  </a:cubicBezTo>
                  <a:cubicBezTo>
                    <a:pt x="59831" y="-984"/>
                    <a:pt x="61721" y="2165"/>
                    <a:pt x="61721" y="7833"/>
                  </a:cubicBezTo>
                  <a:close/>
                  <a:moveTo>
                    <a:pt x="48495" y="78371"/>
                  </a:moveTo>
                  <a:lnTo>
                    <a:pt x="48495" y="38694"/>
                  </a:lnTo>
                  <a:cubicBezTo>
                    <a:pt x="42827" y="40583"/>
                    <a:pt x="38418" y="42473"/>
                    <a:pt x="35269" y="45622"/>
                  </a:cubicBezTo>
                  <a:cubicBezTo>
                    <a:pt x="32120" y="48141"/>
                    <a:pt x="30231" y="52549"/>
                    <a:pt x="30231" y="58218"/>
                  </a:cubicBezTo>
                  <a:cubicBezTo>
                    <a:pt x="30231" y="63886"/>
                    <a:pt x="31490" y="67665"/>
                    <a:pt x="34639" y="70814"/>
                  </a:cubicBezTo>
                  <a:cubicBezTo>
                    <a:pt x="37788" y="73333"/>
                    <a:pt x="42197" y="75852"/>
                    <a:pt x="48495" y="78371"/>
                  </a:cubicBezTo>
                  <a:close/>
                  <a:moveTo>
                    <a:pt x="61721" y="109232"/>
                  </a:moveTo>
                  <a:lnTo>
                    <a:pt x="61721" y="154578"/>
                  </a:lnTo>
                  <a:cubicBezTo>
                    <a:pt x="68648" y="153318"/>
                    <a:pt x="74317" y="150169"/>
                    <a:pt x="78095" y="146390"/>
                  </a:cubicBezTo>
                  <a:cubicBezTo>
                    <a:pt x="81875" y="141982"/>
                    <a:pt x="83764" y="137573"/>
                    <a:pt x="83764" y="131905"/>
                  </a:cubicBezTo>
                  <a:cubicBezTo>
                    <a:pt x="83764" y="126236"/>
                    <a:pt x="81875" y="121198"/>
                    <a:pt x="78095" y="118049"/>
                  </a:cubicBezTo>
                  <a:cubicBezTo>
                    <a:pt x="74317" y="114270"/>
                    <a:pt x="68648" y="111121"/>
                    <a:pt x="61721" y="109232"/>
                  </a:cubicBez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29" name="Forma Livre: Forma 328">
              <a:extLst>
                <a:ext uri="{FF2B5EF4-FFF2-40B4-BE49-F238E27FC236}">
                  <a16:creationId xmlns:a16="http://schemas.microsoft.com/office/drawing/2014/main" id="{BA1AD342-3FE2-47A0-8C98-3ECB4473B627}"/>
                </a:ext>
              </a:extLst>
            </p:cNvPr>
            <p:cNvSpPr/>
            <p:nvPr/>
          </p:nvSpPr>
          <p:spPr>
            <a:xfrm>
              <a:off x="6436093" y="5677941"/>
              <a:ext cx="309863" cy="413623"/>
            </a:xfrm>
            <a:custGeom>
              <a:avLst/>
              <a:gdLst>
                <a:gd name="connsiteX0" fmla="*/ 276484 w 309863"/>
                <a:gd name="connsiteY0" fmla="*/ 413624 h 413623"/>
                <a:gd name="connsiteX1" fmla="*/ 33380 w 309863"/>
                <a:gd name="connsiteY1" fmla="*/ 413624 h 413623"/>
                <a:gd name="connsiteX2" fmla="*/ 0 w 309863"/>
                <a:gd name="connsiteY2" fmla="*/ 380244 h 413623"/>
                <a:gd name="connsiteX3" fmla="*/ 0 w 309863"/>
                <a:gd name="connsiteY3" fmla="*/ 115097 h 413623"/>
                <a:gd name="connsiteX4" fmla="*/ 22043 w 309863"/>
                <a:gd name="connsiteY4" fmla="*/ 75419 h 413623"/>
                <a:gd name="connsiteX5" fmla="*/ 132259 w 309863"/>
                <a:gd name="connsiteY5" fmla="*/ 6141 h 413623"/>
                <a:gd name="connsiteX6" fmla="*/ 178234 w 309863"/>
                <a:gd name="connsiteY6" fmla="*/ 6141 h 413623"/>
                <a:gd name="connsiteX7" fmla="*/ 287820 w 309863"/>
                <a:gd name="connsiteY7" fmla="*/ 75419 h 413623"/>
                <a:gd name="connsiteX8" fmla="*/ 309864 w 309863"/>
                <a:gd name="connsiteY8" fmla="*/ 115097 h 413623"/>
                <a:gd name="connsiteX9" fmla="*/ 309864 w 309863"/>
                <a:gd name="connsiteY9" fmla="*/ 380244 h 413623"/>
                <a:gd name="connsiteX10" fmla="*/ 276484 w 309863"/>
                <a:gd name="connsiteY10" fmla="*/ 413624 h 413623"/>
                <a:gd name="connsiteX11" fmla="*/ 276484 w 309863"/>
                <a:gd name="connsiteY11" fmla="*/ 413624 h 413623"/>
                <a:gd name="connsiteX12" fmla="*/ 276484 w 309863"/>
                <a:gd name="connsiteY12" fmla="*/ 380244 h 413623"/>
                <a:gd name="connsiteX13" fmla="*/ 276484 w 309863"/>
                <a:gd name="connsiteY13" fmla="*/ 396619 h 413623"/>
                <a:gd name="connsiteX14" fmla="*/ 276484 w 309863"/>
                <a:gd name="connsiteY14" fmla="*/ 380244 h 413623"/>
                <a:gd name="connsiteX15" fmla="*/ 276484 w 309863"/>
                <a:gd name="connsiteY15" fmla="*/ 380244 h 413623"/>
                <a:gd name="connsiteX16" fmla="*/ 276484 w 309863"/>
                <a:gd name="connsiteY16" fmla="*/ 380244 h 413623"/>
                <a:gd name="connsiteX17" fmla="*/ 276484 w 309863"/>
                <a:gd name="connsiteY17" fmla="*/ 380244 h 413623"/>
                <a:gd name="connsiteX18" fmla="*/ 154932 w 309863"/>
                <a:gd name="connsiteY18" fmla="*/ 33852 h 413623"/>
                <a:gd name="connsiteX19" fmla="*/ 149893 w 309863"/>
                <a:gd name="connsiteY19" fmla="*/ 35112 h 413623"/>
                <a:gd name="connsiteX20" fmla="*/ 39678 w 309863"/>
                <a:gd name="connsiteY20" fmla="*/ 104390 h 413623"/>
                <a:gd name="connsiteX21" fmla="*/ 33380 w 309863"/>
                <a:gd name="connsiteY21" fmla="*/ 115727 h 413623"/>
                <a:gd name="connsiteX22" fmla="*/ 33380 w 309863"/>
                <a:gd name="connsiteY22" fmla="*/ 380874 h 413623"/>
                <a:gd name="connsiteX23" fmla="*/ 276484 w 309863"/>
                <a:gd name="connsiteY23" fmla="*/ 380874 h 413623"/>
                <a:gd name="connsiteX24" fmla="*/ 276484 w 309863"/>
                <a:gd name="connsiteY24" fmla="*/ 115727 h 413623"/>
                <a:gd name="connsiteX25" fmla="*/ 270186 w 309863"/>
                <a:gd name="connsiteY25" fmla="*/ 104390 h 413623"/>
                <a:gd name="connsiteX26" fmla="*/ 160600 w 309863"/>
                <a:gd name="connsiteY26" fmla="*/ 35112 h 413623"/>
                <a:gd name="connsiteX27" fmla="*/ 154932 w 309863"/>
                <a:gd name="connsiteY27" fmla="*/ 33852 h 413623"/>
                <a:gd name="connsiteX28" fmla="*/ 154932 w 309863"/>
                <a:gd name="connsiteY28" fmla="*/ 33852 h 413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09863" h="413623">
                  <a:moveTo>
                    <a:pt x="276484" y="413624"/>
                  </a:moveTo>
                  <a:lnTo>
                    <a:pt x="33380" y="413624"/>
                  </a:lnTo>
                  <a:cubicBezTo>
                    <a:pt x="15115" y="413624"/>
                    <a:pt x="0" y="398509"/>
                    <a:pt x="0" y="380244"/>
                  </a:cubicBezTo>
                  <a:lnTo>
                    <a:pt x="0" y="115097"/>
                  </a:lnTo>
                  <a:cubicBezTo>
                    <a:pt x="0" y="99981"/>
                    <a:pt x="9447" y="83607"/>
                    <a:pt x="22043" y="75419"/>
                  </a:cubicBezTo>
                  <a:lnTo>
                    <a:pt x="132259" y="6141"/>
                  </a:lnTo>
                  <a:cubicBezTo>
                    <a:pt x="144855" y="-2047"/>
                    <a:pt x="165638" y="-2047"/>
                    <a:pt x="178234" y="6141"/>
                  </a:cubicBezTo>
                  <a:lnTo>
                    <a:pt x="287820" y="75419"/>
                  </a:lnTo>
                  <a:cubicBezTo>
                    <a:pt x="300417" y="83607"/>
                    <a:pt x="309864" y="99981"/>
                    <a:pt x="309864" y="115097"/>
                  </a:cubicBezTo>
                  <a:lnTo>
                    <a:pt x="309864" y="380244"/>
                  </a:lnTo>
                  <a:cubicBezTo>
                    <a:pt x="309864" y="398509"/>
                    <a:pt x="294748" y="413624"/>
                    <a:pt x="276484" y="413624"/>
                  </a:cubicBezTo>
                  <a:lnTo>
                    <a:pt x="276484" y="413624"/>
                  </a:lnTo>
                  <a:close/>
                  <a:moveTo>
                    <a:pt x="276484" y="380244"/>
                  </a:moveTo>
                  <a:lnTo>
                    <a:pt x="276484" y="396619"/>
                  </a:lnTo>
                  <a:lnTo>
                    <a:pt x="276484" y="380244"/>
                  </a:lnTo>
                  <a:lnTo>
                    <a:pt x="276484" y="380244"/>
                  </a:lnTo>
                  <a:lnTo>
                    <a:pt x="276484" y="380244"/>
                  </a:lnTo>
                  <a:lnTo>
                    <a:pt x="276484" y="380244"/>
                  </a:lnTo>
                  <a:close/>
                  <a:moveTo>
                    <a:pt x="154932" y="33852"/>
                  </a:moveTo>
                  <a:cubicBezTo>
                    <a:pt x="152413" y="33852"/>
                    <a:pt x="150523" y="34482"/>
                    <a:pt x="149893" y="35112"/>
                  </a:cubicBezTo>
                  <a:lnTo>
                    <a:pt x="39678" y="104390"/>
                  </a:lnTo>
                  <a:cubicBezTo>
                    <a:pt x="36529" y="106279"/>
                    <a:pt x="33380" y="112578"/>
                    <a:pt x="33380" y="115727"/>
                  </a:cubicBezTo>
                  <a:lnTo>
                    <a:pt x="33380" y="380874"/>
                  </a:lnTo>
                  <a:lnTo>
                    <a:pt x="276484" y="380874"/>
                  </a:lnTo>
                  <a:lnTo>
                    <a:pt x="276484" y="115727"/>
                  </a:lnTo>
                  <a:cubicBezTo>
                    <a:pt x="276484" y="112578"/>
                    <a:pt x="273335" y="106279"/>
                    <a:pt x="270186" y="104390"/>
                  </a:cubicBezTo>
                  <a:lnTo>
                    <a:pt x="160600" y="35112"/>
                  </a:lnTo>
                  <a:cubicBezTo>
                    <a:pt x="159340" y="34482"/>
                    <a:pt x="157451" y="33852"/>
                    <a:pt x="154932" y="33852"/>
                  </a:cubicBezTo>
                  <a:lnTo>
                    <a:pt x="154932" y="33852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30" name="Forma Livre: Forma 329">
              <a:extLst>
                <a:ext uri="{FF2B5EF4-FFF2-40B4-BE49-F238E27FC236}">
                  <a16:creationId xmlns:a16="http://schemas.microsoft.com/office/drawing/2014/main" id="{8988A19C-0CE4-47AA-8D14-9192153B1FA8}"/>
                </a:ext>
              </a:extLst>
            </p:cNvPr>
            <p:cNvSpPr/>
            <p:nvPr/>
          </p:nvSpPr>
          <p:spPr>
            <a:xfrm>
              <a:off x="6568352" y="5748952"/>
              <a:ext cx="45345" cy="45345"/>
            </a:xfrm>
            <a:custGeom>
              <a:avLst/>
              <a:gdLst>
                <a:gd name="connsiteX0" fmla="*/ 22673 w 45345"/>
                <a:gd name="connsiteY0" fmla="*/ 0 h 45345"/>
                <a:gd name="connsiteX1" fmla="*/ 0 w 45345"/>
                <a:gd name="connsiteY1" fmla="*/ 22673 h 45345"/>
                <a:gd name="connsiteX2" fmla="*/ 22673 w 45345"/>
                <a:gd name="connsiteY2" fmla="*/ 45346 h 45345"/>
                <a:gd name="connsiteX3" fmla="*/ 45346 w 45345"/>
                <a:gd name="connsiteY3" fmla="*/ 22673 h 45345"/>
                <a:gd name="connsiteX4" fmla="*/ 22673 w 45345"/>
                <a:gd name="connsiteY4" fmla="*/ 0 h 45345"/>
                <a:gd name="connsiteX5" fmla="*/ 22673 w 45345"/>
                <a:gd name="connsiteY5" fmla="*/ 0 h 45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345" h="45345">
                  <a:moveTo>
                    <a:pt x="22673" y="0"/>
                  </a:moveTo>
                  <a:cubicBezTo>
                    <a:pt x="10077" y="0"/>
                    <a:pt x="0" y="10077"/>
                    <a:pt x="0" y="22673"/>
                  </a:cubicBezTo>
                  <a:cubicBezTo>
                    <a:pt x="0" y="35269"/>
                    <a:pt x="10077" y="45346"/>
                    <a:pt x="22673" y="45346"/>
                  </a:cubicBezTo>
                  <a:cubicBezTo>
                    <a:pt x="35269" y="45346"/>
                    <a:pt x="45346" y="35269"/>
                    <a:pt x="45346" y="22673"/>
                  </a:cubicBezTo>
                  <a:cubicBezTo>
                    <a:pt x="45346" y="10706"/>
                    <a:pt x="35269" y="0"/>
                    <a:pt x="22673" y="0"/>
                  </a:cubicBezTo>
                  <a:lnTo>
                    <a:pt x="22673" y="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31" name="Forma Livre: Forma 330">
              <a:extLst>
                <a:ext uri="{FF2B5EF4-FFF2-40B4-BE49-F238E27FC236}">
                  <a16:creationId xmlns:a16="http://schemas.microsoft.com/office/drawing/2014/main" id="{B40A2A06-0DD2-4160-9CD2-09CB1987C909}"/>
                </a:ext>
              </a:extLst>
            </p:cNvPr>
            <p:cNvSpPr/>
            <p:nvPr/>
          </p:nvSpPr>
          <p:spPr>
            <a:xfrm>
              <a:off x="6578541" y="5671790"/>
              <a:ext cx="157215" cy="109281"/>
            </a:xfrm>
            <a:custGeom>
              <a:avLst/>
              <a:gdLst>
                <a:gd name="connsiteX0" fmla="*/ 28858 w 157215"/>
                <a:gd name="connsiteY0" fmla="*/ 109282 h 109281"/>
                <a:gd name="connsiteX1" fmla="*/ 1147 w 157215"/>
                <a:gd name="connsiteY1" fmla="*/ 96686 h 109281"/>
                <a:gd name="connsiteX2" fmla="*/ 4296 w 157215"/>
                <a:gd name="connsiteY2" fmla="*/ 85349 h 109281"/>
                <a:gd name="connsiteX3" fmla="*/ 15632 w 157215"/>
                <a:gd name="connsiteY3" fmla="*/ 88498 h 109281"/>
                <a:gd name="connsiteX4" fmla="*/ 88060 w 157215"/>
                <a:gd name="connsiteY4" fmla="*/ 73383 h 109281"/>
                <a:gd name="connsiteX5" fmla="*/ 130887 w 157215"/>
                <a:gd name="connsiteY5" fmla="*/ 40633 h 109281"/>
                <a:gd name="connsiteX6" fmla="*/ 140334 w 157215"/>
                <a:gd name="connsiteY6" fmla="*/ 20479 h 109281"/>
                <a:gd name="connsiteX7" fmla="*/ 118291 w 157215"/>
                <a:gd name="connsiteY7" fmla="*/ 17330 h 109281"/>
                <a:gd name="connsiteX8" fmla="*/ 67906 w 157215"/>
                <a:gd name="connsiteY8" fmla="*/ 35595 h 109281"/>
                <a:gd name="connsiteX9" fmla="*/ 56570 w 157215"/>
                <a:gd name="connsiteY9" fmla="*/ 32445 h 109281"/>
                <a:gd name="connsiteX10" fmla="*/ 59719 w 157215"/>
                <a:gd name="connsiteY10" fmla="*/ 21109 h 109281"/>
                <a:gd name="connsiteX11" fmla="*/ 115771 w 157215"/>
                <a:gd name="connsiteY11" fmla="*/ 955 h 109281"/>
                <a:gd name="connsiteX12" fmla="*/ 154819 w 157215"/>
                <a:gd name="connsiteY12" fmla="*/ 12292 h 109281"/>
                <a:gd name="connsiteX13" fmla="*/ 143483 w 157215"/>
                <a:gd name="connsiteY13" fmla="*/ 51340 h 109281"/>
                <a:gd name="connsiteX14" fmla="*/ 96248 w 157215"/>
                <a:gd name="connsiteY14" fmla="*/ 87868 h 109281"/>
                <a:gd name="connsiteX15" fmla="*/ 28858 w 157215"/>
                <a:gd name="connsiteY15" fmla="*/ 109282 h 109281"/>
                <a:gd name="connsiteX16" fmla="*/ 28858 w 157215"/>
                <a:gd name="connsiteY16" fmla="*/ 109282 h 109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7215" h="109281">
                  <a:moveTo>
                    <a:pt x="28858" y="109282"/>
                  </a:moveTo>
                  <a:cubicBezTo>
                    <a:pt x="16262" y="109282"/>
                    <a:pt x="6185" y="105503"/>
                    <a:pt x="1147" y="96686"/>
                  </a:cubicBezTo>
                  <a:cubicBezTo>
                    <a:pt x="-1372" y="92907"/>
                    <a:pt x="517" y="87868"/>
                    <a:pt x="4296" y="85349"/>
                  </a:cubicBezTo>
                  <a:cubicBezTo>
                    <a:pt x="8075" y="82830"/>
                    <a:pt x="13113" y="84719"/>
                    <a:pt x="15632" y="88498"/>
                  </a:cubicBezTo>
                  <a:cubicBezTo>
                    <a:pt x="18781" y="94796"/>
                    <a:pt x="47753" y="95426"/>
                    <a:pt x="88060" y="73383"/>
                  </a:cubicBezTo>
                  <a:cubicBezTo>
                    <a:pt x="105695" y="63936"/>
                    <a:pt x="120810" y="51970"/>
                    <a:pt x="130887" y="40633"/>
                  </a:cubicBezTo>
                  <a:cubicBezTo>
                    <a:pt x="139704" y="30556"/>
                    <a:pt x="141593" y="22998"/>
                    <a:pt x="140334" y="20479"/>
                  </a:cubicBezTo>
                  <a:cubicBezTo>
                    <a:pt x="139074" y="17960"/>
                    <a:pt x="131516" y="15441"/>
                    <a:pt x="118291" y="17330"/>
                  </a:cubicBezTo>
                  <a:cubicBezTo>
                    <a:pt x="103175" y="19220"/>
                    <a:pt x="85541" y="26147"/>
                    <a:pt x="67906" y="35595"/>
                  </a:cubicBezTo>
                  <a:cubicBezTo>
                    <a:pt x="64127" y="38114"/>
                    <a:pt x="59089" y="36225"/>
                    <a:pt x="56570" y="32445"/>
                  </a:cubicBezTo>
                  <a:cubicBezTo>
                    <a:pt x="54051" y="28667"/>
                    <a:pt x="55940" y="23628"/>
                    <a:pt x="59719" y="21109"/>
                  </a:cubicBezTo>
                  <a:cubicBezTo>
                    <a:pt x="79243" y="10402"/>
                    <a:pt x="99397" y="3475"/>
                    <a:pt x="115771" y="955"/>
                  </a:cubicBezTo>
                  <a:cubicBezTo>
                    <a:pt x="140963" y="-2823"/>
                    <a:pt x="151040" y="5364"/>
                    <a:pt x="154819" y="12292"/>
                  </a:cubicBezTo>
                  <a:cubicBezTo>
                    <a:pt x="158598" y="19849"/>
                    <a:pt x="159858" y="32445"/>
                    <a:pt x="143483" y="51340"/>
                  </a:cubicBezTo>
                  <a:cubicBezTo>
                    <a:pt x="132146" y="63936"/>
                    <a:pt x="115771" y="77162"/>
                    <a:pt x="96248" y="87868"/>
                  </a:cubicBezTo>
                  <a:cubicBezTo>
                    <a:pt x="74204" y="100464"/>
                    <a:pt x="48382" y="109282"/>
                    <a:pt x="28858" y="109282"/>
                  </a:cubicBezTo>
                  <a:lnTo>
                    <a:pt x="28858" y="109282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32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7463303" y="5689750"/>
            <a:ext cx="306084" cy="375992"/>
            <a:chOff x="7463303" y="5689750"/>
            <a:chExt cx="306084" cy="375992"/>
          </a:xfrm>
          <a:solidFill>
            <a:srgbClr val="B1B1A1"/>
          </a:solidFill>
        </p:grpSpPr>
        <p:sp>
          <p:nvSpPr>
            <p:cNvPr id="333" name="Forma Livre: Forma 332">
              <a:extLst>
                <a:ext uri="{FF2B5EF4-FFF2-40B4-BE49-F238E27FC236}">
                  <a16:creationId xmlns:a16="http://schemas.microsoft.com/office/drawing/2014/main" id="{49CE5AE4-EEC5-49DB-AFAE-80EC1123EC83}"/>
                </a:ext>
              </a:extLst>
            </p:cNvPr>
            <p:cNvSpPr/>
            <p:nvPr/>
          </p:nvSpPr>
          <p:spPr>
            <a:xfrm>
              <a:off x="7518726" y="5826418"/>
              <a:ext cx="191460" cy="16374"/>
            </a:xfrm>
            <a:custGeom>
              <a:avLst/>
              <a:gdLst>
                <a:gd name="connsiteX0" fmla="*/ 183273 w 191460"/>
                <a:gd name="connsiteY0" fmla="*/ 16375 h 16374"/>
                <a:gd name="connsiteX1" fmla="*/ 8187 w 191460"/>
                <a:gd name="connsiteY1" fmla="*/ 16375 h 16374"/>
                <a:gd name="connsiteX2" fmla="*/ 0 w 191460"/>
                <a:gd name="connsiteY2" fmla="*/ 8187 h 16374"/>
                <a:gd name="connsiteX3" fmla="*/ 8187 w 191460"/>
                <a:gd name="connsiteY3" fmla="*/ 0 h 16374"/>
                <a:gd name="connsiteX4" fmla="*/ 183273 w 191460"/>
                <a:gd name="connsiteY4" fmla="*/ 0 h 16374"/>
                <a:gd name="connsiteX5" fmla="*/ 191460 w 191460"/>
                <a:gd name="connsiteY5" fmla="*/ 8187 h 16374"/>
                <a:gd name="connsiteX6" fmla="*/ 183273 w 191460"/>
                <a:gd name="connsiteY6" fmla="*/ 16375 h 16374"/>
                <a:gd name="connsiteX7" fmla="*/ 183273 w 191460"/>
                <a:gd name="connsiteY7" fmla="*/ 16375 h 1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1460" h="16374">
                  <a:moveTo>
                    <a:pt x="183273" y="16375"/>
                  </a:moveTo>
                  <a:lnTo>
                    <a:pt x="8187" y="16375"/>
                  </a:lnTo>
                  <a:cubicBezTo>
                    <a:pt x="3779" y="16375"/>
                    <a:pt x="0" y="12596"/>
                    <a:pt x="0" y="8187"/>
                  </a:cubicBezTo>
                  <a:cubicBezTo>
                    <a:pt x="0" y="3779"/>
                    <a:pt x="3779" y="0"/>
                    <a:pt x="8187" y="0"/>
                  </a:cubicBezTo>
                  <a:lnTo>
                    <a:pt x="183273" y="0"/>
                  </a:lnTo>
                  <a:cubicBezTo>
                    <a:pt x="187681" y="0"/>
                    <a:pt x="191460" y="3779"/>
                    <a:pt x="191460" y="8187"/>
                  </a:cubicBezTo>
                  <a:cubicBezTo>
                    <a:pt x="191460" y="12596"/>
                    <a:pt x="187681" y="16375"/>
                    <a:pt x="183273" y="16375"/>
                  </a:cubicBezTo>
                  <a:lnTo>
                    <a:pt x="183273" y="16375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34" name="Forma Livre: Forma 333">
              <a:extLst>
                <a:ext uri="{FF2B5EF4-FFF2-40B4-BE49-F238E27FC236}">
                  <a16:creationId xmlns:a16="http://schemas.microsoft.com/office/drawing/2014/main" id="{9D051EAA-FE0A-4B95-9406-4BBD23846B4C}"/>
                </a:ext>
              </a:extLst>
            </p:cNvPr>
            <p:cNvSpPr/>
            <p:nvPr/>
          </p:nvSpPr>
          <p:spPr>
            <a:xfrm>
              <a:off x="7518726" y="5859167"/>
              <a:ext cx="153671" cy="16374"/>
            </a:xfrm>
            <a:custGeom>
              <a:avLst/>
              <a:gdLst>
                <a:gd name="connsiteX0" fmla="*/ 145485 w 153671"/>
                <a:gd name="connsiteY0" fmla="*/ 16375 h 16374"/>
                <a:gd name="connsiteX1" fmla="*/ 8187 w 153671"/>
                <a:gd name="connsiteY1" fmla="*/ 16375 h 16374"/>
                <a:gd name="connsiteX2" fmla="*/ 0 w 153671"/>
                <a:gd name="connsiteY2" fmla="*/ 8187 h 16374"/>
                <a:gd name="connsiteX3" fmla="*/ 8187 w 153671"/>
                <a:gd name="connsiteY3" fmla="*/ 0 h 16374"/>
                <a:gd name="connsiteX4" fmla="*/ 145485 w 153671"/>
                <a:gd name="connsiteY4" fmla="*/ 0 h 16374"/>
                <a:gd name="connsiteX5" fmla="*/ 153672 w 153671"/>
                <a:gd name="connsiteY5" fmla="*/ 8187 h 16374"/>
                <a:gd name="connsiteX6" fmla="*/ 145485 w 153671"/>
                <a:gd name="connsiteY6" fmla="*/ 16375 h 16374"/>
                <a:gd name="connsiteX7" fmla="*/ 145485 w 153671"/>
                <a:gd name="connsiteY7" fmla="*/ 16375 h 1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3671" h="16374">
                  <a:moveTo>
                    <a:pt x="145485" y="16375"/>
                  </a:moveTo>
                  <a:lnTo>
                    <a:pt x="8187" y="16375"/>
                  </a:lnTo>
                  <a:cubicBezTo>
                    <a:pt x="3779" y="16375"/>
                    <a:pt x="0" y="12596"/>
                    <a:pt x="0" y="8187"/>
                  </a:cubicBezTo>
                  <a:cubicBezTo>
                    <a:pt x="0" y="3779"/>
                    <a:pt x="3779" y="0"/>
                    <a:pt x="8187" y="0"/>
                  </a:cubicBezTo>
                  <a:lnTo>
                    <a:pt x="145485" y="0"/>
                  </a:lnTo>
                  <a:cubicBezTo>
                    <a:pt x="149893" y="0"/>
                    <a:pt x="153672" y="3779"/>
                    <a:pt x="153672" y="8187"/>
                  </a:cubicBezTo>
                  <a:cubicBezTo>
                    <a:pt x="153672" y="12596"/>
                    <a:pt x="149893" y="16375"/>
                    <a:pt x="145485" y="16375"/>
                  </a:cubicBezTo>
                  <a:lnTo>
                    <a:pt x="145485" y="16375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35" name="Forma Livre: Forma 334">
              <a:extLst>
                <a:ext uri="{FF2B5EF4-FFF2-40B4-BE49-F238E27FC236}">
                  <a16:creationId xmlns:a16="http://schemas.microsoft.com/office/drawing/2014/main" id="{A3D9CEC9-7618-4BD6-AD2A-0C6812455163}"/>
                </a:ext>
              </a:extLst>
            </p:cNvPr>
            <p:cNvSpPr/>
            <p:nvPr/>
          </p:nvSpPr>
          <p:spPr>
            <a:xfrm>
              <a:off x="7518726" y="5937893"/>
              <a:ext cx="91951" cy="16374"/>
            </a:xfrm>
            <a:custGeom>
              <a:avLst/>
              <a:gdLst>
                <a:gd name="connsiteX0" fmla="*/ 83764 w 91951"/>
                <a:gd name="connsiteY0" fmla="*/ 16375 h 16374"/>
                <a:gd name="connsiteX1" fmla="*/ 8187 w 91951"/>
                <a:gd name="connsiteY1" fmla="*/ 16375 h 16374"/>
                <a:gd name="connsiteX2" fmla="*/ 0 w 91951"/>
                <a:gd name="connsiteY2" fmla="*/ 8187 h 16374"/>
                <a:gd name="connsiteX3" fmla="*/ 8187 w 91951"/>
                <a:gd name="connsiteY3" fmla="*/ 0 h 16374"/>
                <a:gd name="connsiteX4" fmla="*/ 83764 w 91951"/>
                <a:gd name="connsiteY4" fmla="*/ 0 h 16374"/>
                <a:gd name="connsiteX5" fmla="*/ 91951 w 91951"/>
                <a:gd name="connsiteY5" fmla="*/ 8187 h 16374"/>
                <a:gd name="connsiteX6" fmla="*/ 83764 w 91951"/>
                <a:gd name="connsiteY6" fmla="*/ 16375 h 16374"/>
                <a:gd name="connsiteX7" fmla="*/ 83764 w 91951"/>
                <a:gd name="connsiteY7" fmla="*/ 16375 h 1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951" h="16374">
                  <a:moveTo>
                    <a:pt x="83764" y="16375"/>
                  </a:moveTo>
                  <a:lnTo>
                    <a:pt x="8187" y="16375"/>
                  </a:lnTo>
                  <a:cubicBezTo>
                    <a:pt x="3779" y="16375"/>
                    <a:pt x="0" y="12596"/>
                    <a:pt x="0" y="8187"/>
                  </a:cubicBezTo>
                  <a:cubicBezTo>
                    <a:pt x="0" y="3779"/>
                    <a:pt x="3779" y="0"/>
                    <a:pt x="8187" y="0"/>
                  </a:cubicBezTo>
                  <a:lnTo>
                    <a:pt x="83764" y="0"/>
                  </a:lnTo>
                  <a:cubicBezTo>
                    <a:pt x="88173" y="0"/>
                    <a:pt x="91951" y="3779"/>
                    <a:pt x="91951" y="8187"/>
                  </a:cubicBezTo>
                  <a:cubicBezTo>
                    <a:pt x="91951" y="12596"/>
                    <a:pt x="88173" y="16375"/>
                    <a:pt x="83764" y="16375"/>
                  </a:cubicBezTo>
                  <a:lnTo>
                    <a:pt x="83764" y="16375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36" name="Forma Livre: Forma 335">
              <a:extLst>
                <a:ext uri="{FF2B5EF4-FFF2-40B4-BE49-F238E27FC236}">
                  <a16:creationId xmlns:a16="http://schemas.microsoft.com/office/drawing/2014/main" id="{0716B4E7-E821-4C76-9E1C-6CEBDFD89582}"/>
                </a:ext>
              </a:extLst>
            </p:cNvPr>
            <p:cNvSpPr/>
            <p:nvPr/>
          </p:nvSpPr>
          <p:spPr>
            <a:xfrm>
              <a:off x="7518726" y="5969383"/>
              <a:ext cx="91951" cy="16374"/>
            </a:xfrm>
            <a:custGeom>
              <a:avLst/>
              <a:gdLst>
                <a:gd name="connsiteX0" fmla="*/ 83764 w 91951"/>
                <a:gd name="connsiteY0" fmla="*/ 16375 h 16374"/>
                <a:gd name="connsiteX1" fmla="*/ 8187 w 91951"/>
                <a:gd name="connsiteY1" fmla="*/ 16375 h 16374"/>
                <a:gd name="connsiteX2" fmla="*/ 0 w 91951"/>
                <a:gd name="connsiteY2" fmla="*/ 8187 h 16374"/>
                <a:gd name="connsiteX3" fmla="*/ 8187 w 91951"/>
                <a:gd name="connsiteY3" fmla="*/ 0 h 16374"/>
                <a:gd name="connsiteX4" fmla="*/ 83764 w 91951"/>
                <a:gd name="connsiteY4" fmla="*/ 0 h 16374"/>
                <a:gd name="connsiteX5" fmla="*/ 91951 w 91951"/>
                <a:gd name="connsiteY5" fmla="*/ 8187 h 16374"/>
                <a:gd name="connsiteX6" fmla="*/ 83764 w 91951"/>
                <a:gd name="connsiteY6" fmla="*/ 16375 h 16374"/>
                <a:gd name="connsiteX7" fmla="*/ 83764 w 91951"/>
                <a:gd name="connsiteY7" fmla="*/ 16375 h 1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951" h="16374">
                  <a:moveTo>
                    <a:pt x="83764" y="16375"/>
                  </a:moveTo>
                  <a:lnTo>
                    <a:pt x="8187" y="16375"/>
                  </a:lnTo>
                  <a:cubicBezTo>
                    <a:pt x="3779" y="16375"/>
                    <a:pt x="0" y="12596"/>
                    <a:pt x="0" y="8187"/>
                  </a:cubicBezTo>
                  <a:cubicBezTo>
                    <a:pt x="0" y="3779"/>
                    <a:pt x="3779" y="0"/>
                    <a:pt x="8187" y="0"/>
                  </a:cubicBezTo>
                  <a:lnTo>
                    <a:pt x="83764" y="0"/>
                  </a:lnTo>
                  <a:cubicBezTo>
                    <a:pt x="88173" y="0"/>
                    <a:pt x="91951" y="3779"/>
                    <a:pt x="91951" y="8187"/>
                  </a:cubicBezTo>
                  <a:cubicBezTo>
                    <a:pt x="91951" y="12596"/>
                    <a:pt x="88173" y="16375"/>
                    <a:pt x="83764" y="16375"/>
                  </a:cubicBezTo>
                  <a:lnTo>
                    <a:pt x="83764" y="16375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37" name="Forma Livre: Forma 336">
              <a:extLst>
                <a:ext uri="{FF2B5EF4-FFF2-40B4-BE49-F238E27FC236}">
                  <a16:creationId xmlns:a16="http://schemas.microsoft.com/office/drawing/2014/main" id="{CE3DF882-A543-45DD-AE45-C0A0B6E74A62}"/>
                </a:ext>
              </a:extLst>
            </p:cNvPr>
            <p:cNvSpPr/>
            <p:nvPr/>
          </p:nvSpPr>
          <p:spPr>
            <a:xfrm>
              <a:off x="7621384" y="5900105"/>
              <a:ext cx="89446" cy="89431"/>
            </a:xfrm>
            <a:custGeom>
              <a:avLst/>
              <a:gdLst>
                <a:gd name="connsiteX0" fmla="*/ 44716 w 89446"/>
                <a:gd name="connsiteY0" fmla="*/ 89432 h 89431"/>
                <a:gd name="connsiteX1" fmla="*/ 0 w 89446"/>
                <a:gd name="connsiteY1" fmla="*/ 44716 h 89431"/>
                <a:gd name="connsiteX2" fmla="*/ 44716 w 89446"/>
                <a:gd name="connsiteY2" fmla="*/ 0 h 89431"/>
                <a:gd name="connsiteX3" fmla="*/ 89432 w 89446"/>
                <a:gd name="connsiteY3" fmla="*/ 44716 h 89431"/>
                <a:gd name="connsiteX4" fmla="*/ 44716 w 89446"/>
                <a:gd name="connsiteY4" fmla="*/ 89432 h 89431"/>
                <a:gd name="connsiteX5" fmla="*/ 44716 w 89446"/>
                <a:gd name="connsiteY5" fmla="*/ 89432 h 89431"/>
                <a:gd name="connsiteX6" fmla="*/ 44716 w 89446"/>
                <a:gd name="connsiteY6" fmla="*/ 16375 h 89431"/>
                <a:gd name="connsiteX7" fmla="*/ 16375 w 89446"/>
                <a:gd name="connsiteY7" fmla="*/ 44716 h 89431"/>
                <a:gd name="connsiteX8" fmla="*/ 44716 w 89446"/>
                <a:gd name="connsiteY8" fmla="*/ 73057 h 89431"/>
                <a:gd name="connsiteX9" fmla="*/ 73057 w 89446"/>
                <a:gd name="connsiteY9" fmla="*/ 44716 h 89431"/>
                <a:gd name="connsiteX10" fmla="*/ 44716 w 89446"/>
                <a:gd name="connsiteY10" fmla="*/ 16375 h 89431"/>
                <a:gd name="connsiteX11" fmla="*/ 44716 w 89446"/>
                <a:gd name="connsiteY11" fmla="*/ 16375 h 89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9446" h="89431">
                  <a:moveTo>
                    <a:pt x="44716" y="89432"/>
                  </a:moveTo>
                  <a:cubicBezTo>
                    <a:pt x="20154" y="89432"/>
                    <a:pt x="0" y="69278"/>
                    <a:pt x="0" y="44716"/>
                  </a:cubicBezTo>
                  <a:cubicBezTo>
                    <a:pt x="0" y="20153"/>
                    <a:pt x="20154" y="0"/>
                    <a:pt x="44716" y="0"/>
                  </a:cubicBezTo>
                  <a:cubicBezTo>
                    <a:pt x="69278" y="0"/>
                    <a:pt x="89432" y="20153"/>
                    <a:pt x="89432" y="44716"/>
                  </a:cubicBezTo>
                  <a:cubicBezTo>
                    <a:pt x="90062" y="69278"/>
                    <a:pt x="69908" y="89432"/>
                    <a:pt x="44716" y="89432"/>
                  </a:cubicBezTo>
                  <a:lnTo>
                    <a:pt x="44716" y="89432"/>
                  </a:lnTo>
                  <a:close/>
                  <a:moveTo>
                    <a:pt x="44716" y="16375"/>
                  </a:moveTo>
                  <a:cubicBezTo>
                    <a:pt x="28971" y="16375"/>
                    <a:pt x="16375" y="28971"/>
                    <a:pt x="16375" y="44716"/>
                  </a:cubicBezTo>
                  <a:cubicBezTo>
                    <a:pt x="16375" y="60461"/>
                    <a:pt x="28971" y="73057"/>
                    <a:pt x="44716" y="73057"/>
                  </a:cubicBezTo>
                  <a:cubicBezTo>
                    <a:pt x="60461" y="73057"/>
                    <a:pt x="73057" y="60461"/>
                    <a:pt x="73057" y="44716"/>
                  </a:cubicBezTo>
                  <a:cubicBezTo>
                    <a:pt x="73057" y="28971"/>
                    <a:pt x="60461" y="16375"/>
                    <a:pt x="44716" y="16375"/>
                  </a:cubicBezTo>
                  <a:lnTo>
                    <a:pt x="44716" y="16375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38" name="Forma Livre: Forma 337">
              <a:extLst>
                <a:ext uri="{FF2B5EF4-FFF2-40B4-BE49-F238E27FC236}">
                  <a16:creationId xmlns:a16="http://schemas.microsoft.com/office/drawing/2014/main" id="{1C196EDE-6699-4722-A5D3-7FF4202EA8A5}"/>
                </a:ext>
              </a:extLst>
            </p:cNvPr>
            <p:cNvSpPr/>
            <p:nvPr/>
          </p:nvSpPr>
          <p:spPr>
            <a:xfrm>
              <a:off x="7618077" y="5899255"/>
              <a:ext cx="96045" cy="90911"/>
            </a:xfrm>
            <a:custGeom>
              <a:avLst/>
              <a:gdLst>
                <a:gd name="connsiteX0" fmla="*/ 60619 w 96045"/>
                <a:gd name="connsiteY0" fmla="*/ 90911 h 90911"/>
                <a:gd name="connsiteX1" fmla="*/ 58100 w 96045"/>
                <a:gd name="connsiteY1" fmla="*/ 90281 h 90911"/>
                <a:gd name="connsiteX2" fmla="*/ 48023 w 96045"/>
                <a:gd name="connsiteY2" fmla="*/ 87132 h 90911"/>
                <a:gd name="connsiteX3" fmla="*/ 37946 w 96045"/>
                <a:gd name="connsiteY3" fmla="*/ 90281 h 90911"/>
                <a:gd name="connsiteX4" fmla="*/ 29128 w 96045"/>
                <a:gd name="connsiteY4" fmla="*/ 87132 h 90911"/>
                <a:gd name="connsiteX5" fmla="*/ 22830 w 96045"/>
                <a:gd name="connsiteY5" fmla="*/ 78945 h 90911"/>
                <a:gd name="connsiteX6" fmla="*/ 13383 w 96045"/>
                <a:gd name="connsiteY6" fmla="*/ 75796 h 90911"/>
                <a:gd name="connsiteX7" fmla="*/ 7715 w 96045"/>
                <a:gd name="connsiteY7" fmla="*/ 68238 h 90911"/>
                <a:gd name="connsiteX8" fmla="*/ 7085 w 96045"/>
                <a:gd name="connsiteY8" fmla="*/ 58161 h 90911"/>
                <a:gd name="connsiteX9" fmla="*/ 1417 w 96045"/>
                <a:gd name="connsiteY9" fmla="*/ 49974 h 90911"/>
                <a:gd name="connsiteX10" fmla="*/ 1417 w 96045"/>
                <a:gd name="connsiteY10" fmla="*/ 40527 h 90911"/>
                <a:gd name="connsiteX11" fmla="*/ 7085 w 96045"/>
                <a:gd name="connsiteY11" fmla="*/ 32340 h 90911"/>
                <a:gd name="connsiteX12" fmla="*/ 7715 w 96045"/>
                <a:gd name="connsiteY12" fmla="*/ 22263 h 90911"/>
                <a:gd name="connsiteX13" fmla="*/ 13383 w 96045"/>
                <a:gd name="connsiteY13" fmla="*/ 14705 h 90911"/>
                <a:gd name="connsiteX14" fmla="*/ 22830 w 96045"/>
                <a:gd name="connsiteY14" fmla="*/ 11556 h 90911"/>
                <a:gd name="connsiteX15" fmla="*/ 29128 w 96045"/>
                <a:gd name="connsiteY15" fmla="*/ 3368 h 90911"/>
                <a:gd name="connsiteX16" fmla="*/ 37946 w 96045"/>
                <a:gd name="connsiteY16" fmla="*/ 219 h 90911"/>
                <a:gd name="connsiteX17" fmla="*/ 48023 w 96045"/>
                <a:gd name="connsiteY17" fmla="*/ 3368 h 90911"/>
                <a:gd name="connsiteX18" fmla="*/ 58100 w 96045"/>
                <a:gd name="connsiteY18" fmla="*/ 219 h 90911"/>
                <a:gd name="connsiteX19" fmla="*/ 66917 w 96045"/>
                <a:gd name="connsiteY19" fmla="*/ 3368 h 90911"/>
                <a:gd name="connsiteX20" fmla="*/ 73215 w 96045"/>
                <a:gd name="connsiteY20" fmla="*/ 11556 h 90911"/>
                <a:gd name="connsiteX21" fmla="*/ 82662 w 96045"/>
                <a:gd name="connsiteY21" fmla="*/ 14705 h 90911"/>
                <a:gd name="connsiteX22" fmla="*/ 88330 w 96045"/>
                <a:gd name="connsiteY22" fmla="*/ 22263 h 90911"/>
                <a:gd name="connsiteX23" fmla="*/ 88960 w 96045"/>
                <a:gd name="connsiteY23" fmla="*/ 32340 h 90911"/>
                <a:gd name="connsiteX24" fmla="*/ 94628 w 96045"/>
                <a:gd name="connsiteY24" fmla="*/ 40527 h 90911"/>
                <a:gd name="connsiteX25" fmla="*/ 94628 w 96045"/>
                <a:gd name="connsiteY25" fmla="*/ 49974 h 90911"/>
                <a:gd name="connsiteX26" fmla="*/ 88960 w 96045"/>
                <a:gd name="connsiteY26" fmla="*/ 58161 h 90911"/>
                <a:gd name="connsiteX27" fmla="*/ 88330 w 96045"/>
                <a:gd name="connsiteY27" fmla="*/ 68238 h 90911"/>
                <a:gd name="connsiteX28" fmla="*/ 82662 w 96045"/>
                <a:gd name="connsiteY28" fmla="*/ 75796 h 90911"/>
                <a:gd name="connsiteX29" fmla="*/ 73215 w 96045"/>
                <a:gd name="connsiteY29" fmla="*/ 78945 h 90911"/>
                <a:gd name="connsiteX30" fmla="*/ 66917 w 96045"/>
                <a:gd name="connsiteY30" fmla="*/ 87132 h 90911"/>
                <a:gd name="connsiteX31" fmla="*/ 60619 w 96045"/>
                <a:gd name="connsiteY31" fmla="*/ 90911 h 90911"/>
                <a:gd name="connsiteX32" fmla="*/ 60619 w 96045"/>
                <a:gd name="connsiteY32" fmla="*/ 90911 h 90911"/>
                <a:gd name="connsiteX33" fmla="*/ 24720 w 96045"/>
                <a:gd name="connsiteY33" fmla="*/ 62570 h 90911"/>
                <a:gd name="connsiteX34" fmla="*/ 31018 w 96045"/>
                <a:gd name="connsiteY34" fmla="*/ 65089 h 90911"/>
                <a:gd name="connsiteX35" fmla="*/ 34797 w 96045"/>
                <a:gd name="connsiteY35" fmla="*/ 67608 h 90911"/>
                <a:gd name="connsiteX36" fmla="*/ 39206 w 96045"/>
                <a:gd name="connsiteY36" fmla="*/ 73277 h 90911"/>
                <a:gd name="connsiteX37" fmla="*/ 46133 w 96045"/>
                <a:gd name="connsiteY37" fmla="*/ 71387 h 90911"/>
                <a:gd name="connsiteX38" fmla="*/ 50542 w 96045"/>
                <a:gd name="connsiteY38" fmla="*/ 71387 h 90911"/>
                <a:gd name="connsiteX39" fmla="*/ 57470 w 96045"/>
                <a:gd name="connsiteY39" fmla="*/ 73277 h 90911"/>
                <a:gd name="connsiteX40" fmla="*/ 61878 w 96045"/>
                <a:gd name="connsiteY40" fmla="*/ 67608 h 90911"/>
                <a:gd name="connsiteX41" fmla="*/ 65657 w 96045"/>
                <a:gd name="connsiteY41" fmla="*/ 65089 h 90911"/>
                <a:gd name="connsiteX42" fmla="*/ 71955 w 96045"/>
                <a:gd name="connsiteY42" fmla="*/ 62570 h 90911"/>
                <a:gd name="connsiteX43" fmla="*/ 71955 w 96045"/>
                <a:gd name="connsiteY43" fmla="*/ 55642 h 90911"/>
                <a:gd name="connsiteX44" fmla="*/ 73215 w 96045"/>
                <a:gd name="connsiteY44" fmla="*/ 51234 h 90911"/>
                <a:gd name="connsiteX45" fmla="*/ 76994 w 96045"/>
                <a:gd name="connsiteY45" fmla="*/ 45565 h 90911"/>
                <a:gd name="connsiteX46" fmla="*/ 73215 w 96045"/>
                <a:gd name="connsiteY46" fmla="*/ 39897 h 90911"/>
                <a:gd name="connsiteX47" fmla="*/ 71955 w 96045"/>
                <a:gd name="connsiteY47" fmla="*/ 35489 h 90911"/>
                <a:gd name="connsiteX48" fmla="*/ 71955 w 96045"/>
                <a:gd name="connsiteY48" fmla="*/ 28561 h 90911"/>
                <a:gd name="connsiteX49" fmla="*/ 65657 w 96045"/>
                <a:gd name="connsiteY49" fmla="*/ 26042 h 90911"/>
                <a:gd name="connsiteX50" fmla="*/ 61878 w 96045"/>
                <a:gd name="connsiteY50" fmla="*/ 23522 h 90911"/>
                <a:gd name="connsiteX51" fmla="*/ 57470 w 96045"/>
                <a:gd name="connsiteY51" fmla="*/ 17854 h 90911"/>
                <a:gd name="connsiteX52" fmla="*/ 50542 w 96045"/>
                <a:gd name="connsiteY52" fmla="*/ 19744 h 90911"/>
                <a:gd name="connsiteX53" fmla="*/ 46133 w 96045"/>
                <a:gd name="connsiteY53" fmla="*/ 19744 h 90911"/>
                <a:gd name="connsiteX54" fmla="*/ 39206 w 96045"/>
                <a:gd name="connsiteY54" fmla="*/ 17854 h 90911"/>
                <a:gd name="connsiteX55" fmla="*/ 34797 w 96045"/>
                <a:gd name="connsiteY55" fmla="*/ 23522 h 90911"/>
                <a:gd name="connsiteX56" fmla="*/ 31018 w 96045"/>
                <a:gd name="connsiteY56" fmla="*/ 26042 h 90911"/>
                <a:gd name="connsiteX57" fmla="*/ 24720 w 96045"/>
                <a:gd name="connsiteY57" fmla="*/ 28561 h 90911"/>
                <a:gd name="connsiteX58" fmla="*/ 24720 w 96045"/>
                <a:gd name="connsiteY58" fmla="*/ 35489 h 90911"/>
                <a:gd name="connsiteX59" fmla="*/ 23460 w 96045"/>
                <a:gd name="connsiteY59" fmla="*/ 39897 h 90911"/>
                <a:gd name="connsiteX60" fmla="*/ 19681 w 96045"/>
                <a:gd name="connsiteY60" fmla="*/ 45565 h 90911"/>
                <a:gd name="connsiteX61" fmla="*/ 23460 w 96045"/>
                <a:gd name="connsiteY61" fmla="*/ 51234 h 90911"/>
                <a:gd name="connsiteX62" fmla="*/ 24720 w 96045"/>
                <a:gd name="connsiteY62" fmla="*/ 55642 h 90911"/>
                <a:gd name="connsiteX63" fmla="*/ 24720 w 96045"/>
                <a:gd name="connsiteY63" fmla="*/ 62570 h 90911"/>
                <a:gd name="connsiteX64" fmla="*/ 24720 w 96045"/>
                <a:gd name="connsiteY64" fmla="*/ 62570 h 90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96045" h="90911">
                  <a:moveTo>
                    <a:pt x="60619" y="90911"/>
                  </a:moveTo>
                  <a:cubicBezTo>
                    <a:pt x="59989" y="90911"/>
                    <a:pt x="59359" y="90911"/>
                    <a:pt x="58100" y="90281"/>
                  </a:cubicBezTo>
                  <a:lnTo>
                    <a:pt x="48023" y="87132"/>
                  </a:lnTo>
                  <a:lnTo>
                    <a:pt x="37946" y="90281"/>
                  </a:lnTo>
                  <a:cubicBezTo>
                    <a:pt x="34797" y="90911"/>
                    <a:pt x="31018" y="90281"/>
                    <a:pt x="29128" y="87132"/>
                  </a:cubicBezTo>
                  <a:lnTo>
                    <a:pt x="22830" y="78945"/>
                  </a:lnTo>
                  <a:lnTo>
                    <a:pt x="13383" y="75796"/>
                  </a:lnTo>
                  <a:cubicBezTo>
                    <a:pt x="10234" y="74536"/>
                    <a:pt x="7715" y="71387"/>
                    <a:pt x="7715" y="68238"/>
                  </a:cubicBezTo>
                  <a:lnTo>
                    <a:pt x="7085" y="58161"/>
                  </a:lnTo>
                  <a:lnTo>
                    <a:pt x="1417" y="49974"/>
                  </a:lnTo>
                  <a:cubicBezTo>
                    <a:pt x="-472" y="47455"/>
                    <a:pt x="-472" y="43676"/>
                    <a:pt x="1417" y="40527"/>
                  </a:cubicBezTo>
                  <a:lnTo>
                    <a:pt x="7085" y="32340"/>
                  </a:lnTo>
                  <a:lnTo>
                    <a:pt x="7715" y="22263"/>
                  </a:lnTo>
                  <a:cubicBezTo>
                    <a:pt x="7715" y="19114"/>
                    <a:pt x="10234" y="15965"/>
                    <a:pt x="13383" y="14705"/>
                  </a:cubicBezTo>
                  <a:lnTo>
                    <a:pt x="22830" y="11556"/>
                  </a:lnTo>
                  <a:lnTo>
                    <a:pt x="29128" y="3368"/>
                  </a:lnTo>
                  <a:cubicBezTo>
                    <a:pt x="31018" y="849"/>
                    <a:pt x="34797" y="-410"/>
                    <a:pt x="37946" y="219"/>
                  </a:cubicBezTo>
                  <a:lnTo>
                    <a:pt x="48023" y="3368"/>
                  </a:lnTo>
                  <a:lnTo>
                    <a:pt x="58100" y="219"/>
                  </a:lnTo>
                  <a:cubicBezTo>
                    <a:pt x="61249" y="-410"/>
                    <a:pt x="65027" y="219"/>
                    <a:pt x="66917" y="3368"/>
                  </a:cubicBezTo>
                  <a:lnTo>
                    <a:pt x="73215" y="11556"/>
                  </a:lnTo>
                  <a:lnTo>
                    <a:pt x="82662" y="14705"/>
                  </a:lnTo>
                  <a:cubicBezTo>
                    <a:pt x="85811" y="15965"/>
                    <a:pt x="88330" y="19114"/>
                    <a:pt x="88330" y="22263"/>
                  </a:cubicBezTo>
                  <a:lnTo>
                    <a:pt x="88960" y="32340"/>
                  </a:lnTo>
                  <a:lnTo>
                    <a:pt x="94628" y="40527"/>
                  </a:lnTo>
                  <a:cubicBezTo>
                    <a:pt x="96518" y="43046"/>
                    <a:pt x="96518" y="46825"/>
                    <a:pt x="94628" y="49974"/>
                  </a:cubicBezTo>
                  <a:lnTo>
                    <a:pt x="88960" y="58161"/>
                  </a:lnTo>
                  <a:lnTo>
                    <a:pt x="88330" y="68238"/>
                  </a:lnTo>
                  <a:cubicBezTo>
                    <a:pt x="88330" y="71387"/>
                    <a:pt x="85811" y="74536"/>
                    <a:pt x="82662" y="75796"/>
                  </a:cubicBezTo>
                  <a:lnTo>
                    <a:pt x="73215" y="78945"/>
                  </a:lnTo>
                  <a:lnTo>
                    <a:pt x="66917" y="87132"/>
                  </a:lnTo>
                  <a:cubicBezTo>
                    <a:pt x="65657" y="89652"/>
                    <a:pt x="63138" y="90911"/>
                    <a:pt x="60619" y="90911"/>
                  </a:cubicBezTo>
                  <a:lnTo>
                    <a:pt x="60619" y="90911"/>
                  </a:lnTo>
                  <a:close/>
                  <a:moveTo>
                    <a:pt x="24720" y="62570"/>
                  </a:moveTo>
                  <a:lnTo>
                    <a:pt x="31018" y="65089"/>
                  </a:lnTo>
                  <a:cubicBezTo>
                    <a:pt x="32277" y="65719"/>
                    <a:pt x="33537" y="66349"/>
                    <a:pt x="34797" y="67608"/>
                  </a:cubicBezTo>
                  <a:lnTo>
                    <a:pt x="39206" y="73277"/>
                  </a:lnTo>
                  <a:lnTo>
                    <a:pt x="46133" y="71387"/>
                  </a:lnTo>
                  <a:cubicBezTo>
                    <a:pt x="47393" y="70758"/>
                    <a:pt x="49282" y="70758"/>
                    <a:pt x="50542" y="71387"/>
                  </a:cubicBezTo>
                  <a:lnTo>
                    <a:pt x="57470" y="73277"/>
                  </a:lnTo>
                  <a:lnTo>
                    <a:pt x="61878" y="67608"/>
                  </a:lnTo>
                  <a:cubicBezTo>
                    <a:pt x="63138" y="66349"/>
                    <a:pt x="64398" y="65719"/>
                    <a:pt x="65657" y="65089"/>
                  </a:cubicBezTo>
                  <a:lnTo>
                    <a:pt x="71955" y="62570"/>
                  </a:lnTo>
                  <a:lnTo>
                    <a:pt x="71955" y="55642"/>
                  </a:lnTo>
                  <a:cubicBezTo>
                    <a:pt x="71955" y="53753"/>
                    <a:pt x="72585" y="52493"/>
                    <a:pt x="73215" y="51234"/>
                  </a:cubicBezTo>
                  <a:lnTo>
                    <a:pt x="76994" y="45565"/>
                  </a:lnTo>
                  <a:lnTo>
                    <a:pt x="73215" y="39897"/>
                  </a:lnTo>
                  <a:cubicBezTo>
                    <a:pt x="72585" y="38638"/>
                    <a:pt x="71955" y="37378"/>
                    <a:pt x="71955" y="35489"/>
                  </a:cubicBezTo>
                  <a:lnTo>
                    <a:pt x="71955" y="28561"/>
                  </a:lnTo>
                  <a:lnTo>
                    <a:pt x="65657" y="26042"/>
                  </a:lnTo>
                  <a:cubicBezTo>
                    <a:pt x="64398" y="25412"/>
                    <a:pt x="63138" y="24782"/>
                    <a:pt x="61878" y="23522"/>
                  </a:cubicBezTo>
                  <a:lnTo>
                    <a:pt x="57470" y="17854"/>
                  </a:lnTo>
                  <a:lnTo>
                    <a:pt x="50542" y="19744"/>
                  </a:lnTo>
                  <a:cubicBezTo>
                    <a:pt x="49282" y="20373"/>
                    <a:pt x="47393" y="20373"/>
                    <a:pt x="46133" y="19744"/>
                  </a:cubicBezTo>
                  <a:lnTo>
                    <a:pt x="39206" y="17854"/>
                  </a:lnTo>
                  <a:lnTo>
                    <a:pt x="34797" y="23522"/>
                  </a:lnTo>
                  <a:cubicBezTo>
                    <a:pt x="33537" y="24782"/>
                    <a:pt x="32277" y="25412"/>
                    <a:pt x="31018" y="26042"/>
                  </a:cubicBezTo>
                  <a:lnTo>
                    <a:pt x="24720" y="28561"/>
                  </a:lnTo>
                  <a:lnTo>
                    <a:pt x="24720" y="35489"/>
                  </a:lnTo>
                  <a:cubicBezTo>
                    <a:pt x="24720" y="37378"/>
                    <a:pt x="24090" y="38638"/>
                    <a:pt x="23460" y="39897"/>
                  </a:cubicBezTo>
                  <a:lnTo>
                    <a:pt x="19681" y="45565"/>
                  </a:lnTo>
                  <a:lnTo>
                    <a:pt x="23460" y="51234"/>
                  </a:lnTo>
                  <a:cubicBezTo>
                    <a:pt x="24090" y="52493"/>
                    <a:pt x="24720" y="54383"/>
                    <a:pt x="24720" y="55642"/>
                  </a:cubicBezTo>
                  <a:lnTo>
                    <a:pt x="24720" y="62570"/>
                  </a:lnTo>
                  <a:lnTo>
                    <a:pt x="24720" y="6257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339" name="Gráfico 2">
              <a:extLst>
                <a:ext uri="{FF2B5EF4-FFF2-40B4-BE49-F238E27FC236}">
                  <a16:creationId xmlns:a16="http://schemas.microsoft.com/office/drawing/2014/main" id="{A475B8DB-D93F-4DA6-8335-80171E5C5B8D}"/>
                </a:ext>
              </a:extLst>
            </p:cNvPr>
            <p:cNvGrpSpPr/>
            <p:nvPr/>
          </p:nvGrpSpPr>
          <p:grpSpPr>
            <a:xfrm>
              <a:off x="7629949" y="5976689"/>
              <a:ext cx="72931" cy="35520"/>
              <a:chOff x="7629949" y="5976689"/>
              <a:chExt cx="72931" cy="35520"/>
            </a:xfrm>
            <a:grpFill/>
          </p:grpSpPr>
          <p:sp>
            <p:nvSpPr>
              <p:cNvPr id="340" name="Forma Livre: Forma 339">
                <a:extLst>
                  <a:ext uri="{FF2B5EF4-FFF2-40B4-BE49-F238E27FC236}">
                    <a16:creationId xmlns:a16="http://schemas.microsoft.com/office/drawing/2014/main" id="{06FA275A-7A2C-4C77-96A4-E40B748EDB43}"/>
                  </a:ext>
                </a:extLst>
              </p:cNvPr>
              <p:cNvSpPr/>
              <p:nvPr/>
            </p:nvSpPr>
            <p:spPr>
              <a:xfrm>
                <a:off x="7672146" y="5977318"/>
                <a:ext cx="30734" cy="34891"/>
              </a:xfrm>
              <a:custGeom>
                <a:avLst/>
                <a:gdLst>
                  <a:gd name="connsiteX0" fmla="*/ 22295 w 30734"/>
                  <a:gd name="connsiteY0" fmla="*/ 34891 h 34891"/>
                  <a:gd name="connsiteX1" fmla="*/ 15367 w 30734"/>
                  <a:gd name="connsiteY1" fmla="*/ 31742 h 34891"/>
                  <a:gd name="connsiteX2" fmla="*/ 1512 w 30734"/>
                  <a:gd name="connsiteY2" fmla="*/ 13478 h 34891"/>
                  <a:gd name="connsiteX3" fmla="*/ 3401 w 30734"/>
                  <a:gd name="connsiteY3" fmla="*/ 1512 h 34891"/>
                  <a:gd name="connsiteX4" fmla="*/ 15367 w 30734"/>
                  <a:gd name="connsiteY4" fmla="*/ 3401 h 34891"/>
                  <a:gd name="connsiteX5" fmla="*/ 29223 w 30734"/>
                  <a:gd name="connsiteY5" fmla="*/ 21665 h 34891"/>
                  <a:gd name="connsiteX6" fmla="*/ 27333 w 30734"/>
                  <a:gd name="connsiteY6" fmla="*/ 33632 h 34891"/>
                  <a:gd name="connsiteX7" fmla="*/ 22295 w 30734"/>
                  <a:gd name="connsiteY7" fmla="*/ 34891 h 34891"/>
                  <a:gd name="connsiteX8" fmla="*/ 22295 w 30734"/>
                  <a:gd name="connsiteY8" fmla="*/ 34891 h 348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734" h="34891">
                    <a:moveTo>
                      <a:pt x="22295" y="34891"/>
                    </a:moveTo>
                    <a:cubicBezTo>
                      <a:pt x="19776" y="34891"/>
                      <a:pt x="17257" y="33632"/>
                      <a:pt x="15367" y="31742"/>
                    </a:cubicBezTo>
                    <a:lnTo>
                      <a:pt x="1512" y="13478"/>
                    </a:lnTo>
                    <a:cubicBezTo>
                      <a:pt x="-1008" y="9699"/>
                      <a:pt x="-378" y="4661"/>
                      <a:pt x="3401" y="1512"/>
                    </a:cubicBezTo>
                    <a:cubicBezTo>
                      <a:pt x="7180" y="-1008"/>
                      <a:pt x="12218" y="-378"/>
                      <a:pt x="15367" y="3401"/>
                    </a:cubicBezTo>
                    <a:lnTo>
                      <a:pt x="29223" y="21665"/>
                    </a:lnTo>
                    <a:cubicBezTo>
                      <a:pt x="31742" y="25444"/>
                      <a:pt x="31112" y="30483"/>
                      <a:pt x="27333" y="33632"/>
                    </a:cubicBezTo>
                    <a:cubicBezTo>
                      <a:pt x="25444" y="34261"/>
                      <a:pt x="23555" y="34891"/>
                      <a:pt x="22295" y="34891"/>
                    </a:cubicBezTo>
                    <a:lnTo>
                      <a:pt x="22295" y="34891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41" name="Forma Livre: Forma 340">
                <a:extLst>
                  <a:ext uri="{FF2B5EF4-FFF2-40B4-BE49-F238E27FC236}">
                    <a16:creationId xmlns:a16="http://schemas.microsoft.com/office/drawing/2014/main" id="{465BCE75-84FF-4780-9324-956593D7812C}"/>
                  </a:ext>
                </a:extLst>
              </p:cNvPr>
              <p:cNvSpPr/>
              <p:nvPr/>
            </p:nvSpPr>
            <p:spPr>
              <a:xfrm>
                <a:off x="7629949" y="5976689"/>
                <a:ext cx="30734" cy="35520"/>
              </a:xfrm>
              <a:custGeom>
                <a:avLst/>
                <a:gdLst>
                  <a:gd name="connsiteX0" fmla="*/ 8439 w 30734"/>
                  <a:gd name="connsiteY0" fmla="*/ 35521 h 35520"/>
                  <a:gd name="connsiteX1" fmla="*/ 3401 w 30734"/>
                  <a:gd name="connsiteY1" fmla="*/ 33632 h 35520"/>
                  <a:gd name="connsiteX2" fmla="*/ 1511 w 30734"/>
                  <a:gd name="connsiteY2" fmla="*/ 21665 h 35520"/>
                  <a:gd name="connsiteX3" fmla="*/ 15367 w 30734"/>
                  <a:gd name="connsiteY3" fmla="*/ 3401 h 35520"/>
                  <a:gd name="connsiteX4" fmla="*/ 27334 w 30734"/>
                  <a:gd name="connsiteY4" fmla="*/ 1511 h 35520"/>
                  <a:gd name="connsiteX5" fmla="*/ 29223 w 30734"/>
                  <a:gd name="connsiteY5" fmla="*/ 13478 h 35520"/>
                  <a:gd name="connsiteX6" fmla="*/ 15367 w 30734"/>
                  <a:gd name="connsiteY6" fmla="*/ 31742 h 35520"/>
                  <a:gd name="connsiteX7" fmla="*/ 8439 w 30734"/>
                  <a:gd name="connsiteY7" fmla="*/ 35521 h 35520"/>
                  <a:gd name="connsiteX8" fmla="*/ 8439 w 30734"/>
                  <a:gd name="connsiteY8" fmla="*/ 35521 h 355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734" h="35520">
                    <a:moveTo>
                      <a:pt x="8439" y="35521"/>
                    </a:moveTo>
                    <a:cubicBezTo>
                      <a:pt x="6550" y="35521"/>
                      <a:pt x="4660" y="34891"/>
                      <a:pt x="3401" y="33632"/>
                    </a:cubicBezTo>
                    <a:cubicBezTo>
                      <a:pt x="-378" y="31112"/>
                      <a:pt x="-1008" y="25444"/>
                      <a:pt x="1511" y="21665"/>
                    </a:cubicBezTo>
                    <a:lnTo>
                      <a:pt x="15367" y="3401"/>
                    </a:lnTo>
                    <a:cubicBezTo>
                      <a:pt x="17887" y="-378"/>
                      <a:pt x="23555" y="-1008"/>
                      <a:pt x="27334" y="1511"/>
                    </a:cubicBezTo>
                    <a:cubicBezTo>
                      <a:pt x="31112" y="4031"/>
                      <a:pt x="31742" y="9699"/>
                      <a:pt x="29223" y="13478"/>
                    </a:cubicBezTo>
                    <a:lnTo>
                      <a:pt x="15367" y="31742"/>
                    </a:lnTo>
                    <a:cubicBezTo>
                      <a:pt x="13478" y="34261"/>
                      <a:pt x="10958" y="35521"/>
                      <a:pt x="8439" y="35521"/>
                    </a:cubicBezTo>
                    <a:lnTo>
                      <a:pt x="8439" y="35521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342" name="Gráfico 2">
              <a:extLst>
                <a:ext uri="{FF2B5EF4-FFF2-40B4-BE49-F238E27FC236}">
                  <a16:creationId xmlns:a16="http://schemas.microsoft.com/office/drawing/2014/main" id="{A475B8DB-D93F-4DA6-8335-80171E5C5B8D}"/>
                </a:ext>
              </a:extLst>
            </p:cNvPr>
            <p:cNvGrpSpPr/>
            <p:nvPr/>
          </p:nvGrpSpPr>
          <p:grpSpPr>
            <a:xfrm>
              <a:off x="7463303" y="5689750"/>
              <a:ext cx="306084" cy="375992"/>
              <a:chOff x="7463303" y="5689750"/>
              <a:chExt cx="306084" cy="375992"/>
            </a:xfrm>
            <a:grpFill/>
          </p:grpSpPr>
          <p:sp>
            <p:nvSpPr>
              <p:cNvPr id="343" name="Forma Livre: Forma 342">
                <a:extLst>
                  <a:ext uri="{FF2B5EF4-FFF2-40B4-BE49-F238E27FC236}">
                    <a16:creationId xmlns:a16="http://schemas.microsoft.com/office/drawing/2014/main" id="{00D54AAD-7647-442C-99BE-EC938B87511F}"/>
                  </a:ext>
                </a:extLst>
              </p:cNvPr>
              <p:cNvSpPr/>
              <p:nvPr/>
            </p:nvSpPr>
            <p:spPr>
              <a:xfrm>
                <a:off x="7471491" y="5697937"/>
                <a:ext cx="116513" cy="116513"/>
              </a:xfrm>
              <a:custGeom>
                <a:avLst/>
                <a:gdLst>
                  <a:gd name="connsiteX0" fmla="*/ 108326 w 116513"/>
                  <a:gd name="connsiteY0" fmla="*/ 116514 h 116513"/>
                  <a:gd name="connsiteX1" fmla="*/ 8187 w 116513"/>
                  <a:gd name="connsiteY1" fmla="*/ 116514 h 116513"/>
                  <a:gd name="connsiteX2" fmla="*/ 0 w 116513"/>
                  <a:gd name="connsiteY2" fmla="*/ 108326 h 116513"/>
                  <a:gd name="connsiteX3" fmla="*/ 8187 w 116513"/>
                  <a:gd name="connsiteY3" fmla="*/ 100139 h 116513"/>
                  <a:gd name="connsiteX4" fmla="*/ 100139 w 116513"/>
                  <a:gd name="connsiteY4" fmla="*/ 100139 h 116513"/>
                  <a:gd name="connsiteX5" fmla="*/ 100139 w 116513"/>
                  <a:gd name="connsiteY5" fmla="*/ 8187 h 116513"/>
                  <a:gd name="connsiteX6" fmla="*/ 108326 w 116513"/>
                  <a:gd name="connsiteY6" fmla="*/ 0 h 116513"/>
                  <a:gd name="connsiteX7" fmla="*/ 116514 w 116513"/>
                  <a:gd name="connsiteY7" fmla="*/ 8187 h 116513"/>
                  <a:gd name="connsiteX8" fmla="*/ 116514 w 116513"/>
                  <a:gd name="connsiteY8" fmla="*/ 108326 h 116513"/>
                  <a:gd name="connsiteX9" fmla="*/ 108326 w 116513"/>
                  <a:gd name="connsiteY9" fmla="*/ 116514 h 116513"/>
                  <a:gd name="connsiteX10" fmla="*/ 108326 w 116513"/>
                  <a:gd name="connsiteY10" fmla="*/ 116514 h 116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6513" h="116513">
                    <a:moveTo>
                      <a:pt x="108326" y="116514"/>
                    </a:moveTo>
                    <a:lnTo>
                      <a:pt x="8187" y="116514"/>
                    </a:lnTo>
                    <a:cubicBezTo>
                      <a:pt x="3779" y="116514"/>
                      <a:pt x="0" y="112735"/>
                      <a:pt x="0" y="108326"/>
                    </a:cubicBezTo>
                    <a:cubicBezTo>
                      <a:pt x="0" y="103918"/>
                      <a:pt x="3779" y="100139"/>
                      <a:pt x="8187" y="100139"/>
                    </a:cubicBezTo>
                    <a:lnTo>
                      <a:pt x="100139" y="100139"/>
                    </a:lnTo>
                    <a:lnTo>
                      <a:pt x="100139" y="8187"/>
                    </a:lnTo>
                    <a:cubicBezTo>
                      <a:pt x="100139" y="3779"/>
                      <a:pt x="103918" y="0"/>
                      <a:pt x="108326" y="0"/>
                    </a:cubicBezTo>
                    <a:cubicBezTo>
                      <a:pt x="112735" y="0"/>
                      <a:pt x="116514" y="3779"/>
                      <a:pt x="116514" y="8187"/>
                    </a:cubicBezTo>
                    <a:lnTo>
                      <a:pt x="116514" y="108326"/>
                    </a:lnTo>
                    <a:cubicBezTo>
                      <a:pt x="116514" y="112735"/>
                      <a:pt x="113365" y="116514"/>
                      <a:pt x="108326" y="116514"/>
                    </a:cubicBezTo>
                    <a:lnTo>
                      <a:pt x="108326" y="116514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44" name="Forma Livre: Forma 343">
                <a:extLst>
                  <a:ext uri="{FF2B5EF4-FFF2-40B4-BE49-F238E27FC236}">
                    <a16:creationId xmlns:a16="http://schemas.microsoft.com/office/drawing/2014/main" id="{DBE0E446-D248-4EEE-A6A2-51AAA28818A0}"/>
                  </a:ext>
                </a:extLst>
              </p:cNvPr>
              <p:cNvSpPr/>
              <p:nvPr/>
            </p:nvSpPr>
            <p:spPr>
              <a:xfrm>
                <a:off x="7463303" y="5689750"/>
                <a:ext cx="306084" cy="375992"/>
              </a:xfrm>
              <a:custGeom>
                <a:avLst/>
                <a:gdLst>
                  <a:gd name="connsiteX0" fmla="*/ 289080 w 306084"/>
                  <a:gd name="connsiteY0" fmla="*/ 375993 h 375992"/>
                  <a:gd name="connsiteX1" fmla="*/ 16375 w 306084"/>
                  <a:gd name="connsiteY1" fmla="*/ 375993 h 375992"/>
                  <a:gd name="connsiteX2" fmla="*/ 0 w 306084"/>
                  <a:gd name="connsiteY2" fmla="*/ 359618 h 375992"/>
                  <a:gd name="connsiteX3" fmla="*/ 0 w 306084"/>
                  <a:gd name="connsiteY3" fmla="*/ 117143 h 375992"/>
                  <a:gd name="connsiteX4" fmla="*/ 5039 w 306084"/>
                  <a:gd name="connsiteY4" fmla="*/ 105177 h 375992"/>
                  <a:gd name="connsiteX5" fmla="*/ 105177 w 306084"/>
                  <a:gd name="connsiteY5" fmla="*/ 5038 h 375992"/>
                  <a:gd name="connsiteX6" fmla="*/ 117144 w 306084"/>
                  <a:gd name="connsiteY6" fmla="*/ 0 h 375992"/>
                  <a:gd name="connsiteX7" fmla="*/ 289710 w 306084"/>
                  <a:gd name="connsiteY7" fmla="*/ 0 h 375992"/>
                  <a:gd name="connsiteX8" fmla="*/ 306085 w 306084"/>
                  <a:gd name="connsiteY8" fmla="*/ 16375 h 375992"/>
                  <a:gd name="connsiteX9" fmla="*/ 306085 w 306084"/>
                  <a:gd name="connsiteY9" fmla="*/ 358988 h 375992"/>
                  <a:gd name="connsiteX10" fmla="*/ 289080 w 306084"/>
                  <a:gd name="connsiteY10" fmla="*/ 375993 h 375992"/>
                  <a:gd name="connsiteX11" fmla="*/ 289080 w 306084"/>
                  <a:gd name="connsiteY11" fmla="*/ 375993 h 375992"/>
                  <a:gd name="connsiteX12" fmla="*/ 33380 w 306084"/>
                  <a:gd name="connsiteY12" fmla="*/ 342613 h 375992"/>
                  <a:gd name="connsiteX13" fmla="*/ 272705 w 306084"/>
                  <a:gd name="connsiteY13" fmla="*/ 342613 h 375992"/>
                  <a:gd name="connsiteX14" fmla="*/ 272705 w 306084"/>
                  <a:gd name="connsiteY14" fmla="*/ 33380 h 375992"/>
                  <a:gd name="connsiteX15" fmla="*/ 124071 w 306084"/>
                  <a:gd name="connsiteY15" fmla="*/ 33380 h 375992"/>
                  <a:gd name="connsiteX16" fmla="*/ 34010 w 306084"/>
                  <a:gd name="connsiteY16" fmla="*/ 123441 h 375992"/>
                  <a:gd name="connsiteX17" fmla="*/ 34010 w 306084"/>
                  <a:gd name="connsiteY17" fmla="*/ 342613 h 375992"/>
                  <a:gd name="connsiteX18" fmla="*/ 33380 w 306084"/>
                  <a:gd name="connsiteY18" fmla="*/ 342613 h 375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06084" h="375992">
                    <a:moveTo>
                      <a:pt x="289080" y="375993"/>
                    </a:moveTo>
                    <a:lnTo>
                      <a:pt x="16375" y="375993"/>
                    </a:lnTo>
                    <a:cubicBezTo>
                      <a:pt x="6928" y="375993"/>
                      <a:pt x="0" y="368435"/>
                      <a:pt x="0" y="359618"/>
                    </a:cubicBezTo>
                    <a:lnTo>
                      <a:pt x="0" y="117143"/>
                    </a:lnTo>
                    <a:cubicBezTo>
                      <a:pt x="0" y="112735"/>
                      <a:pt x="1890" y="108326"/>
                      <a:pt x="5039" y="105177"/>
                    </a:cubicBezTo>
                    <a:lnTo>
                      <a:pt x="105177" y="5038"/>
                    </a:lnTo>
                    <a:cubicBezTo>
                      <a:pt x="108326" y="1889"/>
                      <a:pt x="112735" y="0"/>
                      <a:pt x="117144" y="0"/>
                    </a:cubicBezTo>
                    <a:lnTo>
                      <a:pt x="289710" y="0"/>
                    </a:lnTo>
                    <a:cubicBezTo>
                      <a:pt x="299157" y="0"/>
                      <a:pt x="306085" y="7558"/>
                      <a:pt x="306085" y="16375"/>
                    </a:cubicBezTo>
                    <a:lnTo>
                      <a:pt x="306085" y="358988"/>
                    </a:lnTo>
                    <a:cubicBezTo>
                      <a:pt x="305455" y="368435"/>
                      <a:pt x="298527" y="375993"/>
                      <a:pt x="289080" y="375993"/>
                    </a:cubicBezTo>
                    <a:lnTo>
                      <a:pt x="289080" y="375993"/>
                    </a:lnTo>
                    <a:close/>
                    <a:moveTo>
                      <a:pt x="33380" y="342613"/>
                    </a:moveTo>
                    <a:lnTo>
                      <a:pt x="272705" y="342613"/>
                    </a:lnTo>
                    <a:lnTo>
                      <a:pt x="272705" y="33380"/>
                    </a:lnTo>
                    <a:lnTo>
                      <a:pt x="124071" y="33380"/>
                    </a:lnTo>
                    <a:lnTo>
                      <a:pt x="34010" y="123441"/>
                    </a:lnTo>
                    <a:lnTo>
                      <a:pt x="34010" y="342613"/>
                    </a:lnTo>
                    <a:lnTo>
                      <a:pt x="33380" y="342613"/>
                    </a:lnTo>
                    <a:close/>
                  </a:path>
                </a:pathLst>
              </a:custGeom>
              <a:grpFill/>
              <a:ln w="629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345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8428793" y="5670272"/>
            <a:ext cx="406260" cy="414994"/>
            <a:chOff x="8428793" y="5670272"/>
            <a:chExt cx="406260" cy="414994"/>
          </a:xfrm>
          <a:solidFill>
            <a:srgbClr val="B1B1A1"/>
          </a:solidFill>
        </p:grpSpPr>
        <p:sp>
          <p:nvSpPr>
            <p:cNvPr id="346" name="Forma Livre: Forma 345">
              <a:extLst>
                <a:ext uri="{FF2B5EF4-FFF2-40B4-BE49-F238E27FC236}">
                  <a16:creationId xmlns:a16="http://schemas.microsoft.com/office/drawing/2014/main" id="{7435DB70-9C24-4A79-BEA4-75CE0CB0D856}"/>
                </a:ext>
              </a:extLst>
            </p:cNvPr>
            <p:cNvSpPr/>
            <p:nvPr/>
          </p:nvSpPr>
          <p:spPr>
            <a:xfrm>
              <a:off x="8707166" y="5908922"/>
              <a:ext cx="48495" cy="86912"/>
            </a:xfrm>
            <a:custGeom>
              <a:avLst/>
              <a:gdLst>
                <a:gd name="connsiteX0" fmla="*/ 27712 w 48495"/>
                <a:gd name="connsiteY0" fmla="*/ 5038 h 86912"/>
                <a:gd name="connsiteX1" fmla="*/ 27712 w 48495"/>
                <a:gd name="connsiteY1" fmla="*/ 10077 h 86912"/>
                <a:gd name="connsiteX2" fmla="*/ 35899 w 48495"/>
                <a:gd name="connsiteY2" fmla="*/ 11966 h 86912"/>
                <a:gd name="connsiteX3" fmla="*/ 42197 w 48495"/>
                <a:gd name="connsiteY3" fmla="*/ 16375 h 86912"/>
                <a:gd name="connsiteX4" fmla="*/ 45346 w 48495"/>
                <a:gd name="connsiteY4" fmla="*/ 21413 h 86912"/>
                <a:gd name="connsiteX5" fmla="*/ 46606 w 48495"/>
                <a:gd name="connsiteY5" fmla="*/ 25822 h 86912"/>
                <a:gd name="connsiteX6" fmla="*/ 44716 w 48495"/>
                <a:gd name="connsiteY6" fmla="*/ 29601 h 86912"/>
                <a:gd name="connsiteX7" fmla="*/ 40937 w 48495"/>
                <a:gd name="connsiteY7" fmla="*/ 31490 h 86912"/>
                <a:gd name="connsiteX8" fmla="*/ 35269 w 48495"/>
                <a:gd name="connsiteY8" fmla="*/ 26452 h 86912"/>
                <a:gd name="connsiteX9" fmla="*/ 28341 w 48495"/>
                <a:gd name="connsiteY9" fmla="*/ 18894 h 86912"/>
                <a:gd name="connsiteX10" fmla="*/ 28341 w 48495"/>
                <a:gd name="connsiteY10" fmla="*/ 37788 h 86912"/>
                <a:gd name="connsiteX11" fmla="*/ 37159 w 48495"/>
                <a:gd name="connsiteY11" fmla="*/ 40308 h 86912"/>
                <a:gd name="connsiteX12" fmla="*/ 42827 w 48495"/>
                <a:gd name="connsiteY12" fmla="*/ 44086 h 86912"/>
                <a:gd name="connsiteX13" fmla="*/ 47235 w 48495"/>
                <a:gd name="connsiteY13" fmla="*/ 49755 h 86912"/>
                <a:gd name="connsiteX14" fmla="*/ 48495 w 48495"/>
                <a:gd name="connsiteY14" fmla="*/ 57312 h 86912"/>
                <a:gd name="connsiteX15" fmla="*/ 45976 w 48495"/>
                <a:gd name="connsiteY15" fmla="*/ 66759 h 86912"/>
                <a:gd name="connsiteX16" fmla="*/ 39048 w 48495"/>
                <a:gd name="connsiteY16" fmla="*/ 74317 h 86912"/>
                <a:gd name="connsiteX17" fmla="*/ 27712 w 48495"/>
                <a:gd name="connsiteY17" fmla="*/ 77466 h 86912"/>
                <a:gd name="connsiteX18" fmla="*/ 27712 w 48495"/>
                <a:gd name="connsiteY18" fmla="*/ 81875 h 86912"/>
                <a:gd name="connsiteX19" fmla="*/ 27082 w 48495"/>
                <a:gd name="connsiteY19" fmla="*/ 85654 h 86912"/>
                <a:gd name="connsiteX20" fmla="*/ 24563 w 48495"/>
                <a:gd name="connsiteY20" fmla="*/ 86913 h 86912"/>
                <a:gd name="connsiteX21" fmla="*/ 22043 w 48495"/>
                <a:gd name="connsiteY21" fmla="*/ 85654 h 86912"/>
                <a:gd name="connsiteX22" fmla="*/ 21413 w 48495"/>
                <a:gd name="connsiteY22" fmla="*/ 82505 h 86912"/>
                <a:gd name="connsiteX23" fmla="*/ 21413 w 48495"/>
                <a:gd name="connsiteY23" fmla="*/ 77466 h 86912"/>
                <a:gd name="connsiteX24" fmla="*/ 11966 w 48495"/>
                <a:gd name="connsiteY24" fmla="*/ 74947 h 86912"/>
                <a:gd name="connsiteX25" fmla="*/ 5039 w 48495"/>
                <a:gd name="connsiteY25" fmla="*/ 69908 h 86912"/>
                <a:gd name="connsiteX26" fmla="*/ 1260 w 48495"/>
                <a:gd name="connsiteY26" fmla="*/ 64240 h 86912"/>
                <a:gd name="connsiteX27" fmla="*/ 0 w 48495"/>
                <a:gd name="connsiteY27" fmla="*/ 57942 h 86912"/>
                <a:gd name="connsiteX28" fmla="*/ 1890 w 48495"/>
                <a:gd name="connsiteY28" fmla="*/ 54163 h 86912"/>
                <a:gd name="connsiteX29" fmla="*/ 6298 w 48495"/>
                <a:gd name="connsiteY29" fmla="*/ 52274 h 86912"/>
                <a:gd name="connsiteX30" fmla="*/ 10077 w 48495"/>
                <a:gd name="connsiteY30" fmla="*/ 53533 h 86912"/>
                <a:gd name="connsiteX31" fmla="*/ 11966 w 48495"/>
                <a:gd name="connsiteY31" fmla="*/ 56053 h 86912"/>
                <a:gd name="connsiteX32" fmla="*/ 13856 w 48495"/>
                <a:gd name="connsiteY32" fmla="*/ 61721 h 86912"/>
                <a:gd name="connsiteX33" fmla="*/ 16375 w 48495"/>
                <a:gd name="connsiteY33" fmla="*/ 65500 h 86912"/>
                <a:gd name="connsiteX34" fmla="*/ 21413 w 48495"/>
                <a:gd name="connsiteY34" fmla="*/ 68019 h 86912"/>
                <a:gd name="connsiteX35" fmla="*/ 21413 w 48495"/>
                <a:gd name="connsiteY35" fmla="*/ 46606 h 86912"/>
                <a:gd name="connsiteX36" fmla="*/ 11337 w 48495"/>
                <a:gd name="connsiteY36" fmla="*/ 42827 h 86912"/>
                <a:gd name="connsiteX37" fmla="*/ 4409 w 48495"/>
                <a:gd name="connsiteY37" fmla="*/ 37159 h 86912"/>
                <a:gd name="connsiteX38" fmla="*/ 1890 w 48495"/>
                <a:gd name="connsiteY38" fmla="*/ 27081 h 86912"/>
                <a:gd name="connsiteX39" fmla="*/ 6928 w 48495"/>
                <a:gd name="connsiteY39" fmla="*/ 14485 h 86912"/>
                <a:gd name="connsiteX40" fmla="*/ 21413 w 48495"/>
                <a:gd name="connsiteY40" fmla="*/ 8817 h 86912"/>
                <a:gd name="connsiteX41" fmla="*/ 21413 w 48495"/>
                <a:gd name="connsiteY41" fmla="*/ 3779 h 86912"/>
                <a:gd name="connsiteX42" fmla="*/ 24563 w 48495"/>
                <a:gd name="connsiteY42" fmla="*/ 0 h 86912"/>
                <a:gd name="connsiteX43" fmla="*/ 27712 w 48495"/>
                <a:gd name="connsiteY43" fmla="*/ 5038 h 86912"/>
                <a:gd name="connsiteX44" fmla="*/ 22043 w 48495"/>
                <a:gd name="connsiteY44" fmla="*/ 36529 h 86912"/>
                <a:gd name="connsiteX45" fmla="*/ 22043 w 48495"/>
                <a:gd name="connsiteY45" fmla="*/ 18894 h 86912"/>
                <a:gd name="connsiteX46" fmla="*/ 16375 w 48495"/>
                <a:gd name="connsiteY46" fmla="*/ 22043 h 86912"/>
                <a:gd name="connsiteX47" fmla="*/ 14486 w 48495"/>
                <a:gd name="connsiteY47" fmla="*/ 27712 h 86912"/>
                <a:gd name="connsiteX48" fmla="*/ 16375 w 48495"/>
                <a:gd name="connsiteY48" fmla="*/ 33380 h 86912"/>
                <a:gd name="connsiteX49" fmla="*/ 22043 w 48495"/>
                <a:gd name="connsiteY49" fmla="*/ 36529 h 86912"/>
                <a:gd name="connsiteX50" fmla="*/ 27712 w 48495"/>
                <a:gd name="connsiteY50" fmla="*/ 49755 h 86912"/>
                <a:gd name="connsiteX51" fmla="*/ 27712 w 48495"/>
                <a:gd name="connsiteY51" fmla="*/ 69908 h 86912"/>
                <a:gd name="connsiteX52" fmla="*/ 34639 w 48495"/>
                <a:gd name="connsiteY52" fmla="*/ 66129 h 86912"/>
                <a:gd name="connsiteX53" fmla="*/ 37159 w 48495"/>
                <a:gd name="connsiteY53" fmla="*/ 59831 h 86912"/>
                <a:gd name="connsiteX54" fmla="*/ 34639 w 48495"/>
                <a:gd name="connsiteY54" fmla="*/ 53533 h 86912"/>
                <a:gd name="connsiteX55" fmla="*/ 27712 w 48495"/>
                <a:gd name="connsiteY55" fmla="*/ 49755 h 86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48495" h="86912">
                  <a:moveTo>
                    <a:pt x="27712" y="5038"/>
                  </a:moveTo>
                  <a:lnTo>
                    <a:pt x="27712" y="10077"/>
                  </a:lnTo>
                  <a:cubicBezTo>
                    <a:pt x="30861" y="10707"/>
                    <a:pt x="34010" y="11336"/>
                    <a:pt x="35899" y="11966"/>
                  </a:cubicBezTo>
                  <a:cubicBezTo>
                    <a:pt x="38418" y="13226"/>
                    <a:pt x="40308" y="14485"/>
                    <a:pt x="42197" y="16375"/>
                  </a:cubicBezTo>
                  <a:cubicBezTo>
                    <a:pt x="43457" y="17634"/>
                    <a:pt x="44716" y="19524"/>
                    <a:pt x="45346" y="21413"/>
                  </a:cubicBezTo>
                  <a:cubicBezTo>
                    <a:pt x="45976" y="23303"/>
                    <a:pt x="46606" y="24563"/>
                    <a:pt x="46606" y="25822"/>
                  </a:cubicBezTo>
                  <a:cubicBezTo>
                    <a:pt x="46606" y="27081"/>
                    <a:pt x="45976" y="28341"/>
                    <a:pt x="44716" y="29601"/>
                  </a:cubicBezTo>
                  <a:cubicBezTo>
                    <a:pt x="43457" y="30861"/>
                    <a:pt x="42197" y="31490"/>
                    <a:pt x="40937" y="31490"/>
                  </a:cubicBezTo>
                  <a:cubicBezTo>
                    <a:pt x="37788" y="31490"/>
                    <a:pt x="35899" y="29601"/>
                    <a:pt x="35269" y="26452"/>
                  </a:cubicBezTo>
                  <a:cubicBezTo>
                    <a:pt x="34010" y="22673"/>
                    <a:pt x="32120" y="20154"/>
                    <a:pt x="28341" y="18894"/>
                  </a:cubicBezTo>
                  <a:lnTo>
                    <a:pt x="28341" y="37788"/>
                  </a:lnTo>
                  <a:cubicBezTo>
                    <a:pt x="32120" y="39048"/>
                    <a:pt x="35269" y="39678"/>
                    <a:pt x="37159" y="40308"/>
                  </a:cubicBezTo>
                  <a:cubicBezTo>
                    <a:pt x="39678" y="40937"/>
                    <a:pt x="41567" y="42197"/>
                    <a:pt x="42827" y="44086"/>
                  </a:cubicBezTo>
                  <a:cubicBezTo>
                    <a:pt x="44716" y="45976"/>
                    <a:pt x="45976" y="47865"/>
                    <a:pt x="47235" y="49755"/>
                  </a:cubicBezTo>
                  <a:cubicBezTo>
                    <a:pt x="48495" y="52274"/>
                    <a:pt x="48495" y="54793"/>
                    <a:pt x="48495" y="57312"/>
                  </a:cubicBezTo>
                  <a:cubicBezTo>
                    <a:pt x="48495" y="60461"/>
                    <a:pt x="47865" y="64240"/>
                    <a:pt x="45976" y="66759"/>
                  </a:cubicBezTo>
                  <a:cubicBezTo>
                    <a:pt x="44086" y="69908"/>
                    <a:pt x="42197" y="72427"/>
                    <a:pt x="39048" y="74317"/>
                  </a:cubicBezTo>
                  <a:cubicBezTo>
                    <a:pt x="35899" y="76206"/>
                    <a:pt x="32120" y="77466"/>
                    <a:pt x="27712" y="77466"/>
                  </a:cubicBezTo>
                  <a:lnTo>
                    <a:pt x="27712" y="81875"/>
                  </a:lnTo>
                  <a:cubicBezTo>
                    <a:pt x="27712" y="83764"/>
                    <a:pt x="27712" y="85024"/>
                    <a:pt x="27082" y="85654"/>
                  </a:cubicBezTo>
                  <a:cubicBezTo>
                    <a:pt x="26452" y="86283"/>
                    <a:pt x="25822" y="86913"/>
                    <a:pt x="24563" y="86913"/>
                  </a:cubicBezTo>
                  <a:cubicBezTo>
                    <a:pt x="23303" y="86913"/>
                    <a:pt x="22673" y="86283"/>
                    <a:pt x="22043" y="85654"/>
                  </a:cubicBezTo>
                  <a:cubicBezTo>
                    <a:pt x="21413" y="85024"/>
                    <a:pt x="21413" y="83764"/>
                    <a:pt x="21413" y="82505"/>
                  </a:cubicBezTo>
                  <a:lnTo>
                    <a:pt x="21413" y="77466"/>
                  </a:lnTo>
                  <a:cubicBezTo>
                    <a:pt x="17635" y="76836"/>
                    <a:pt x="14486" y="76206"/>
                    <a:pt x="11966" y="74947"/>
                  </a:cubicBezTo>
                  <a:cubicBezTo>
                    <a:pt x="9447" y="73687"/>
                    <a:pt x="6928" y="71798"/>
                    <a:pt x="5039" y="69908"/>
                  </a:cubicBezTo>
                  <a:cubicBezTo>
                    <a:pt x="3149" y="68019"/>
                    <a:pt x="1890" y="66129"/>
                    <a:pt x="1260" y="64240"/>
                  </a:cubicBezTo>
                  <a:cubicBezTo>
                    <a:pt x="630" y="62351"/>
                    <a:pt x="0" y="60461"/>
                    <a:pt x="0" y="57942"/>
                  </a:cubicBezTo>
                  <a:cubicBezTo>
                    <a:pt x="0" y="56682"/>
                    <a:pt x="630" y="55423"/>
                    <a:pt x="1890" y="54163"/>
                  </a:cubicBezTo>
                  <a:cubicBezTo>
                    <a:pt x="3149" y="52904"/>
                    <a:pt x="4409" y="52274"/>
                    <a:pt x="6298" y="52274"/>
                  </a:cubicBezTo>
                  <a:cubicBezTo>
                    <a:pt x="7558" y="52274"/>
                    <a:pt x="8817" y="52274"/>
                    <a:pt x="10077" y="53533"/>
                  </a:cubicBezTo>
                  <a:cubicBezTo>
                    <a:pt x="10707" y="54163"/>
                    <a:pt x="11337" y="54793"/>
                    <a:pt x="11966" y="56053"/>
                  </a:cubicBezTo>
                  <a:cubicBezTo>
                    <a:pt x="12596" y="58572"/>
                    <a:pt x="13226" y="60461"/>
                    <a:pt x="13856" y="61721"/>
                  </a:cubicBezTo>
                  <a:cubicBezTo>
                    <a:pt x="14486" y="62980"/>
                    <a:pt x="15115" y="64240"/>
                    <a:pt x="16375" y="65500"/>
                  </a:cubicBezTo>
                  <a:cubicBezTo>
                    <a:pt x="17635" y="66759"/>
                    <a:pt x="19524" y="67389"/>
                    <a:pt x="21413" y="68019"/>
                  </a:cubicBezTo>
                  <a:lnTo>
                    <a:pt x="21413" y="46606"/>
                  </a:lnTo>
                  <a:cubicBezTo>
                    <a:pt x="17635" y="45346"/>
                    <a:pt x="13856" y="44086"/>
                    <a:pt x="11337" y="42827"/>
                  </a:cubicBezTo>
                  <a:cubicBezTo>
                    <a:pt x="8817" y="41567"/>
                    <a:pt x="6298" y="39678"/>
                    <a:pt x="4409" y="37159"/>
                  </a:cubicBezTo>
                  <a:cubicBezTo>
                    <a:pt x="2519" y="34639"/>
                    <a:pt x="1890" y="31490"/>
                    <a:pt x="1890" y="27081"/>
                  </a:cubicBezTo>
                  <a:cubicBezTo>
                    <a:pt x="1890" y="22043"/>
                    <a:pt x="3779" y="17634"/>
                    <a:pt x="6928" y="14485"/>
                  </a:cubicBezTo>
                  <a:cubicBezTo>
                    <a:pt x="10077" y="11336"/>
                    <a:pt x="15115" y="9447"/>
                    <a:pt x="21413" y="8817"/>
                  </a:cubicBezTo>
                  <a:lnTo>
                    <a:pt x="21413" y="3779"/>
                  </a:lnTo>
                  <a:cubicBezTo>
                    <a:pt x="21413" y="1260"/>
                    <a:pt x="22673" y="0"/>
                    <a:pt x="24563" y="0"/>
                  </a:cubicBezTo>
                  <a:cubicBezTo>
                    <a:pt x="27082" y="1260"/>
                    <a:pt x="27712" y="2519"/>
                    <a:pt x="27712" y="5038"/>
                  </a:cubicBezTo>
                  <a:close/>
                  <a:moveTo>
                    <a:pt x="22043" y="36529"/>
                  </a:moveTo>
                  <a:lnTo>
                    <a:pt x="22043" y="18894"/>
                  </a:lnTo>
                  <a:cubicBezTo>
                    <a:pt x="19524" y="19524"/>
                    <a:pt x="17635" y="20783"/>
                    <a:pt x="16375" y="22043"/>
                  </a:cubicBezTo>
                  <a:cubicBezTo>
                    <a:pt x="15115" y="23303"/>
                    <a:pt x="14486" y="25192"/>
                    <a:pt x="14486" y="27712"/>
                  </a:cubicBezTo>
                  <a:cubicBezTo>
                    <a:pt x="14486" y="30231"/>
                    <a:pt x="15115" y="32120"/>
                    <a:pt x="16375" y="33380"/>
                  </a:cubicBezTo>
                  <a:cubicBezTo>
                    <a:pt x="17005" y="34639"/>
                    <a:pt x="19524" y="35269"/>
                    <a:pt x="22043" y="36529"/>
                  </a:cubicBezTo>
                  <a:close/>
                  <a:moveTo>
                    <a:pt x="27712" y="49755"/>
                  </a:moveTo>
                  <a:lnTo>
                    <a:pt x="27712" y="69908"/>
                  </a:lnTo>
                  <a:cubicBezTo>
                    <a:pt x="30861" y="69278"/>
                    <a:pt x="33380" y="68019"/>
                    <a:pt x="34639" y="66129"/>
                  </a:cubicBezTo>
                  <a:cubicBezTo>
                    <a:pt x="36529" y="64240"/>
                    <a:pt x="37159" y="62351"/>
                    <a:pt x="37159" y="59831"/>
                  </a:cubicBezTo>
                  <a:cubicBezTo>
                    <a:pt x="37159" y="57312"/>
                    <a:pt x="36529" y="55423"/>
                    <a:pt x="34639" y="53533"/>
                  </a:cubicBezTo>
                  <a:cubicBezTo>
                    <a:pt x="33380" y="52274"/>
                    <a:pt x="30861" y="51014"/>
                    <a:pt x="27712" y="49755"/>
                  </a:cubicBez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47" name="Forma Livre: Forma 346">
              <a:extLst>
                <a:ext uri="{FF2B5EF4-FFF2-40B4-BE49-F238E27FC236}">
                  <a16:creationId xmlns:a16="http://schemas.microsoft.com/office/drawing/2014/main" id="{CAB4B9DD-E7DC-47F9-9964-398540639C2E}"/>
                </a:ext>
              </a:extLst>
            </p:cNvPr>
            <p:cNvSpPr/>
            <p:nvPr/>
          </p:nvSpPr>
          <p:spPr>
            <a:xfrm>
              <a:off x="8530191" y="5913960"/>
              <a:ext cx="56052" cy="56682"/>
            </a:xfrm>
            <a:custGeom>
              <a:avLst/>
              <a:gdLst>
                <a:gd name="connsiteX0" fmla="*/ 11966 w 56052"/>
                <a:gd name="connsiteY0" fmla="*/ 56682 h 56682"/>
                <a:gd name="connsiteX1" fmla="*/ 0 w 56052"/>
                <a:gd name="connsiteY1" fmla="*/ 44716 h 56682"/>
                <a:gd name="connsiteX2" fmla="*/ 44716 w 56052"/>
                <a:gd name="connsiteY2" fmla="*/ 0 h 56682"/>
                <a:gd name="connsiteX3" fmla="*/ 56053 w 56052"/>
                <a:gd name="connsiteY3" fmla="*/ 11966 h 56682"/>
                <a:gd name="connsiteX4" fmla="*/ 11966 w 56052"/>
                <a:gd name="connsiteY4" fmla="*/ 56682 h 56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052" h="56682">
                  <a:moveTo>
                    <a:pt x="11966" y="56682"/>
                  </a:moveTo>
                  <a:lnTo>
                    <a:pt x="0" y="44716"/>
                  </a:lnTo>
                  <a:lnTo>
                    <a:pt x="44716" y="0"/>
                  </a:lnTo>
                  <a:lnTo>
                    <a:pt x="56053" y="11966"/>
                  </a:lnTo>
                  <a:lnTo>
                    <a:pt x="11966" y="56682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48" name="Forma Livre: Forma 347">
              <a:extLst>
                <a:ext uri="{FF2B5EF4-FFF2-40B4-BE49-F238E27FC236}">
                  <a16:creationId xmlns:a16="http://schemas.microsoft.com/office/drawing/2014/main" id="{D77F53FF-33FD-46CD-9659-FFA8539AA4FA}"/>
                </a:ext>
              </a:extLst>
            </p:cNvPr>
            <p:cNvSpPr/>
            <p:nvPr/>
          </p:nvSpPr>
          <p:spPr>
            <a:xfrm>
              <a:off x="8513816" y="5842163"/>
              <a:ext cx="144225" cy="144224"/>
            </a:xfrm>
            <a:custGeom>
              <a:avLst/>
              <a:gdLst>
                <a:gd name="connsiteX0" fmla="*/ 14485 w 144225"/>
                <a:gd name="connsiteY0" fmla="*/ 144225 h 144224"/>
                <a:gd name="connsiteX1" fmla="*/ 0 w 144225"/>
                <a:gd name="connsiteY1" fmla="*/ 129739 h 144224"/>
                <a:gd name="connsiteX2" fmla="*/ 11336 w 144225"/>
                <a:gd name="connsiteY2" fmla="*/ 39048 h 144224"/>
                <a:gd name="connsiteX3" fmla="*/ 61720 w 144225"/>
                <a:gd name="connsiteY3" fmla="*/ 21413 h 144224"/>
                <a:gd name="connsiteX4" fmla="*/ 83134 w 144225"/>
                <a:gd name="connsiteY4" fmla="*/ 0 h 144224"/>
                <a:gd name="connsiteX5" fmla="*/ 144225 w 144225"/>
                <a:gd name="connsiteY5" fmla="*/ 61091 h 144224"/>
                <a:gd name="connsiteX6" fmla="*/ 122812 w 144225"/>
                <a:gd name="connsiteY6" fmla="*/ 82504 h 144224"/>
                <a:gd name="connsiteX7" fmla="*/ 105177 w 144225"/>
                <a:gd name="connsiteY7" fmla="*/ 132888 h 144224"/>
                <a:gd name="connsiteX8" fmla="*/ 14485 w 144225"/>
                <a:gd name="connsiteY8" fmla="*/ 144225 h 144224"/>
                <a:gd name="connsiteX9" fmla="*/ 14485 w 144225"/>
                <a:gd name="connsiteY9" fmla="*/ 144225 h 144224"/>
                <a:gd name="connsiteX10" fmla="*/ 42197 w 144225"/>
                <a:gd name="connsiteY10" fmla="*/ 63610 h 144224"/>
                <a:gd name="connsiteX11" fmla="*/ 36528 w 144225"/>
                <a:gd name="connsiteY11" fmla="*/ 107696 h 144224"/>
                <a:gd name="connsiteX12" fmla="*/ 80614 w 144225"/>
                <a:gd name="connsiteY12" fmla="*/ 102028 h 144224"/>
                <a:gd name="connsiteX13" fmla="*/ 93841 w 144225"/>
                <a:gd name="connsiteY13" fmla="*/ 64240 h 144224"/>
                <a:gd name="connsiteX14" fmla="*/ 97620 w 144225"/>
                <a:gd name="connsiteY14" fmla="*/ 60461 h 144224"/>
                <a:gd name="connsiteX15" fmla="*/ 83763 w 144225"/>
                <a:gd name="connsiteY15" fmla="*/ 46605 h 144224"/>
                <a:gd name="connsiteX16" fmla="*/ 79985 w 144225"/>
                <a:gd name="connsiteY16" fmla="*/ 50384 h 144224"/>
                <a:gd name="connsiteX17" fmla="*/ 42197 w 144225"/>
                <a:gd name="connsiteY17" fmla="*/ 63610 h 144224"/>
                <a:gd name="connsiteX18" fmla="*/ 42197 w 144225"/>
                <a:gd name="connsiteY18" fmla="*/ 63610 h 144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44225" h="144224">
                  <a:moveTo>
                    <a:pt x="14485" y="144225"/>
                  </a:moveTo>
                  <a:lnTo>
                    <a:pt x="0" y="129739"/>
                  </a:lnTo>
                  <a:lnTo>
                    <a:pt x="11336" y="39048"/>
                  </a:lnTo>
                  <a:lnTo>
                    <a:pt x="61720" y="21413"/>
                  </a:lnTo>
                  <a:lnTo>
                    <a:pt x="83134" y="0"/>
                  </a:lnTo>
                  <a:lnTo>
                    <a:pt x="144225" y="61091"/>
                  </a:lnTo>
                  <a:lnTo>
                    <a:pt x="122812" y="82504"/>
                  </a:lnTo>
                  <a:lnTo>
                    <a:pt x="105177" y="132888"/>
                  </a:lnTo>
                  <a:lnTo>
                    <a:pt x="14485" y="144225"/>
                  </a:lnTo>
                  <a:lnTo>
                    <a:pt x="14485" y="144225"/>
                  </a:lnTo>
                  <a:close/>
                  <a:moveTo>
                    <a:pt x="42197" y="63610"/>
                  </a:moveTo>
                  <a:lnTo>
                    <a:pt x="36528" y="107696"/>
                  </a:lnTo>
                  <a:lnTo>
                    <a:pt x="80614" y="102028"/>
                  </a:lnTo>
                  <a:lnTo>
                    <a:pt x="93841" y="64240"/>
                  </a:lnTo>
                  <a:lnTo>
                    <a:pt x="97620" y="60461"/>
                  </a:lnTo>
                  <a:lnTo>
                    <a:pt x="83763" y="46605"/>
                  </a:lnTo>
                  <a:lnTo>
                    <a:pt x="79985" y="50384"/>
                  </a:lnTo>
                  <a:lnTo>
                    <a:pt x="42197" y="63610"/>
                  </a:lnTo>
                  <a:lnTo>
                    <a:pt x="42197" y="6361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49" name="Forma Livre: Forma 348">
              <a:extLst>
                <a:ext uri="{FF2B5EF4-FFF2-40B4-BE49-F238E27FC236}">
                  <a16:creationId xmlns:a16="http://schemas.microsoft.com/office/drawing/2014/main" id="{AA358809-C235-49F3-9C88-3C3797CEFB7E}"/>
                </a:ext>
              </a:extLst>
            </p:cNvPr>
            <p:cNvSpPr/>
            <p:nvPr/>
          </p:nvSpPr>
          <p:spPr>
            <a:xfrm>
              <a:off x="8571128" y="5670272"/>
              <a:ext cx="260356" cy="259433"/>
            </a:xfrm>
            <a:custGeom>
              <a:avLst/>
              <a:gdLst>
                <a:gd name="connsiteX0" fmla="*/ 69908 w 260356"/>
                <a:gd name="connsiteY0" fmla="*/ 259433 h 259433"/>
                <a:gd name="connsiteX1" fmla="*/ 0 w 260356"/>
                <a:gd name="connsiteY1" fmla="*/ 189525 h 259433"/>
                <a:gd name="connsiteX2" fmla="*/ 192090 w 260356"/>
                <a:gd name="connsiteY2" fmla="*/ 11920 h 259433"/>
                <a:gd name="connsiteX3" fmla="*/ 248143 w 260356"/>
                <a:gd name="connsiteY3" fmla="*/ 9401 h 259433"/>
                <a:gd name="connsiteX4" fmla="*/ 249402 w 260356"/>
                <a:gd name="connsiteY4" fmla="*/ 10661 h 259433"/>
                <a:gd name="connsiteX5" fmla="*/ 248143 w 260356"/>
                <a:gd name="connsiteY5" fmla="*/ 67343 h 259433"/>
                <a:gd name="connsiteX6" fmla="*/ 69908 w 260356"/>
                <a:gd name="connsiteY6" fmla="*/ 259433 h 259433"/>
                <a:gd name="connsiteX7" fmla="*/ 69908 w 260356"/>
                <a:gd name="connsiteY7" fmla="*/ 259433 h 259433"/>
                <a:gd name="connsiteX8" fmla="*/ 47865 w 260356"/>
                <a:gd name="connsiteY8" fmla="*/ 190155 h 259433"/>
                <a:gd name="connsiteX9" fmla="*/ 69278 w 260356"/>
                <a:gd name="connsiteY9" fmla="*/ 211568 h 259433"/>
                <a:gd name="connsiteX10" fmla="*/ 223580 w 260356"/>
                <a:gd name="connsiteY10" fmla="*/ 44670 h 259433"/>
                <a:gd name="connsiteX11" fmla="*/ 226729 w 260356"/>
                <a:gd name="connsiteY11" fmla="*/ 35223 h 259433"/>
                <a:gd name="connsiteX12" fmla="*/ 224210 w 260356"/>
                <a:gd name="connsiteY12" fmla="*/ 32704 h 259433"/>
                <a:gd name="connsiteX13" fmla="*/ 222951 w 260356"/>
                <a:gd name="connsiteY13" fmla="*/ 32704 h 259433"/>
                <a:gd name="connsiteX14" fmla="*/ 214763 w 260356"/>
                <a:gd name="connsiteY14" fmla="*/ 36483 h 259433"/>
                <a:gd name="connsiteX15" fmla="*/ 47865 w 260356"/>
                <a:gd name="connsiteY15" fmla="*/ 190155 h 259433"/>
                <a:gd name="connsiteX16" fmla="*/ 47865 w 260356"/>
                <a:gd name="connsiteY16" fmla="*/ 190155 h 259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60356" h="259433">
                  <a:moveTo>
                    <a:pt x="69908" y="259433"/>
                  </a:moveTo>
                  <a:lnTo>
                    <a:pt x="0" y="189525"/>
                  </a:lnTo>
                  <a:lnTo>
                    <a:pt x="192090" y="11920"/>
                  </a:lnTo>
                  <a:cubicBezTo>
                    <a:pt x="208465" y="-3195"/>
                    <a:pt x="234287" y="-3825"/>
                    <a:pt x="248143" y="9401"/>
                  </a:cubicBezTo>
                  <a:lnTo>
                    <a:pt x="249402" y="10661"/>
                  </a:lnTo>
                  <a:cubicBezTo>
                    <a:pt x="264518" y="25776"/>
                    <a:pt x="263888" y="50339"/>
                    <a:pt x="248143" y="67343"/>
                  </a:cubicBezTo>
                  <a:lnTo>
                    <a:pt x="69908" y="259433"/>
                  </a:lnTo>
                  <a:lnTo>
                    <a:pt x="69908" y="259433"/>
                  </a:lnTo>
                  <a:close/>
                  <a:moveTo>
                    <a:pt x="47865" y="190155"/>
                  </a:moveTo>
                  <a:lnTo>
                    <a:pt x="69278" y="211568"/>
                  </a:lnTo>
                  <a:lnTo>
                    <a:pt x="223580" y="44670"/>
                  </a:lnTo>
                  <a:cubicBezTo>
                    <a:pt x="227359" y="40261"/>
                    <a:pt x="227359" y="35853"/>
                    <a:pt x="226729" y="35223"/>
                  </a:cubicBezTo>
                  <a:lnTo>
                    <a:pt x="224210" y="32704"/>
                  </a:lnTo>
                  <a:cubicBezTo>
                    <a:pt x="224210" y="32704"/>
                    <a:pt x="223580" y="32704"/>
                    <a:pt x="222951" y="32704"/>
                  </a:cubicBezTo>
                  <a:cubicBezTo>
                    <a:pt x="221061" y="32704"/>
                    <a:pt x="217912" y="33334"/>
                    <a:pt x="214763" y="36483"/>
                  </a:cubicBezTo>
                  <a:lnTo>
                    <a:pt x="47865" y="190155"/>
                  </a:lnTo>
                  <a:lnTo>
                    <a:pt x="47865" y="190155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50" name="Forma Livre: Forma 349">
              <a:extLst>
                <a:ext uri="{FF2B5EF4-FFF2-40B4-BE49-F238E27FC236}">
                  <a16:creationId xmlns:a16="http://schemas.microsoft.com/office/drawing/2014/main" id="{03168390-4595-45E3-9A84-38C20898197D}"/>
                </a:ext>
              </a:extLst>
            </p:cNvPr>
            <p:cNvSpPr/>
            <p:nvPr/>
          </p:nvSpPr>
          <p:spPr>
            <a:xfrm>
              <a:off x="8493662" y="6007801"/>
              <a:ext cx="272774" cy="16374"/>
            </a:xfrm>
            <a:custGeom>
              <a:avLst/>
              <a:gdLst>
                <a:gd name="connsiteX0" fmla="*/ 264518 w 272774"/>
                <a:gd name="connsiteY0" fmla="*/ 16375 h 16374"/>
                <a:gd name="connsiteX1" fmla="*/ 8188 w 272774"/>
                <a:gd name="connsiteY1" fmla="*/ 16375 h 16374"/>
                <a:gd name="connsiteX2" fmla="*/ 0 w 272774"/>
                <a:gd name="connsiteY2" fmla="*/ 8187 h 16374"/>
                <a:gd name="connsiteX3" fmla="*/ 8188 w 272774"/>
                <a:gd name="connsiteY3" fmla="*/ 0 h 16374"/>
                <a:gd name="connsiteX4" fmla="*/ 264518 w 272774"/>
                <a:gd name="connsiteY4" fmla="*/ 0 h 16374"/>
                <a:gd name="connsiteX5" fmla="*/ 272705 w 272774"/>
                <a:gd name="connsiteY5" fmla="*/ 8187 h 16374"/>
                <a:gd name="connsiteX6" fmla="*/ 264518 w 272774"/>
                <a:gd name="connsiteY6" fmla="*/ 16375 h 16374"/>
                <a:gd name="connsiteX7" fmla="*/ 264518 w 272774"/>
                <a:gd name="connsiteY7" fmla="*/ 16375 h 1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2774" h="16374">
                  <a:moveTo>
                    <a:pt x="264518" y="16375"/>
                  </a:moveTo>
                  <a:lnTo>
                    <a:pt x="8188" y="16375"/>
                  </a:lnTo>
                  <a:cubicBezTo>
                    <a:pt x="3779" y="16375"/>
                    <a:pt x="0" y="12596"/>
                    <a:pt x="0" y="8187"/>
                  </a:cubicBezTo>
                  <a:cubicBezTo>
                    <a:pt x="0" y="3779"/>
                    <a:pt x="3779" y="0"/>
                    <a:pt x="8188" y="0"/>
                  </a:cubicBezTo>
                  <a:lnTo>
                    <a:pt x="264518" y="0"/>
                  </a:lnTo>
                  <a:cubicBezTo>
                    <a:pt x="268927" y="0"/>
                    <a:pt x="272705" y="3779"/>
                    <a:pt x="272705" y="8187"/>
                  </a:cubicBezTo>
                  <a:cubicBezTo>
                    <a:pt x="273335" y="12596"/>
                    <a:pt x="269556" y="16375"/>
                    <a:pt x="264518" y="16375"/>
                  </a:cubicBezTo>
                  <a:lnTo>
                    <a:pt x="264518" y="16375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51" name="Forma Livre: Forma 350">
              <a:extLst>
                <a:ext uri="{FF2B5EF4-FFF2-40B4-BE49-F238E27FC236}">
                  <a16:creationId xmlns:a16="http://schemas.microsoft.com/office/drawing/2014/main" id="{3241B3D1-3658-4CEA-A0FC-22E4E4D3DA15}"/>
                </a:ext>
              </a:extLst>
            </p:cNvPr>
            <p:cNvSpPr/>
            <p:nvPr/>
          </p:nvSpPr>
          <p:spPr>
            <a:xfrm>
              <a:off x="8428793" y="5827047"/>
              <a:ext cx="406260" cy="258219"/>
            </a:xfrm>
            <a:custGeom>
              <a:avLst/>
              <a:gdLst>
                <a:gd name="connsiteX0" fmla="*/ 389849 w 406260"/>
                <a:gd name="connsiteY0" fmla="*/ 258220 h 258219"/>
                <a:gd name="connsiteX1" fmla="*/ 16375 w 406260"/>
                <a:gd name="connsiteY1" fmla="*/ 258220 h 258219"/>
                <a:gd name="connsiteX2" fmla="*/ 0 w 406260"/>
                <a:gd name="connsiteY2" fmla="*/ 241845 h 258219"/>
                <a:gd name="connsiteX3" fmla="*/ 0 w 406260"/>
                <a:gd name="connsiteY3" fmla="*/ 16375 h 258219"/>
                <a:gd name="connsiteX4" fmla="*/ 16375 w 406260"/>
                <a:gd name="connsiteY4" fmla="*/ 0 h 258219"/>
                <a:gd name="connsiteX5" fmla="*/ 183273 w 406260"/>
                <a:gd name="connsiteY5" fmla="*/ 0 h 258219"/>
                <a:gd name="connsiteX6" fmla="*/ 199648 w 406260"/>
                <a:gd name="connsiteY6" fmla="*/ 16375 h 258219"/>
                <a:gd name="connsiteX7" fmla="*/ 183273 w 406260"/>
                <a:gd name="connsiteY7" fmla="*/ 32750 h 258219"/>
                <a:gd name="connsiteX8" fmla="*/ 32749 w 406260"/>
                <a:gd name="connsiteY8" fmla="*/ 32750 h 258219"/>
                <a:gd name="connsiteX9" fmla="*/ 32749 w 406260"/>
                <a:gd name="connsiteY9" fmla="*/ 224840 h 258219"/>
                <a:gd name="connsiteX10" fmla="*/ 372844 w 406260"/>
                <a:gd name="connsiteY10" fmla="*/ 224840 h 258219"/>
                <a:gd name="connsiteX11" fmla="*/ 372844 w 406260"/>
                <a:gd name="connsiteY11" fmla="*/ 32750 h 258219"/>
                <a:gd name="connsiteX12" fmla="*/ 268926 w 406260"/>
                <a:gd name="connsiteY12" fmla="*/ 32750 h 258219"/>
                <a:gd name="connsiteX13" fmla="*/ 252551 w 406260"/>
                <a:gd name="connsiteY13" fmla="*/ 16375 h 258219"/>
                <a:gd name="connsiteX14" fmla="*/ 268926 w 406260"/>
                <a:gd name="connsiteY14" fmla="*/ 0 h 258219"/>
                <a:gd name="connsiteX15" fmla="*/ 389849 w 406260"/>
                <a:gd name="connsiteY15" fmla="*/ 0 h 258219"/>
                <a:gd name="connsiteX16" fmla="*/ 406223 w 406260"/>
                <a:gd name="connsiteY16" fmla="*/ 16375 h 258219"/>
                <a:gd name="connsiteX17" fmla="*/ 406223 w 406260"/>
                <a:gd name="connsiteY17" fmla="*/ 241845 h 258219"/>
                <a:gd name="connsiteX18" fmla="*/ 389849 w 406260"/>
                <a:gd name="connsiteY18" fmla="*/ 258220 h 258219"/>
                <a:gd name="connsiteX19" fmla="*/ 389849 w 406260"/>
                <a:gd name="connsiteY19" fmla="*/ 258220 h 258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06260" h="258219">
                  <a:moveTo>
                    <a:pt x="389849" y="258220"/>
                  </a:moveTo>
                  <a:lnTo>
                    <a:pt x="16375" y="258220"/>
                  </a:lnTo>
                  <a:cubicBezTo>
                    <a:pt x="6928" y="258220"/>
                    <a:pt x="0" y="250662"/>
                    <a:pt x="0" y="241845"/>
                  </a:cubicBezTo>
                  <a:lnTo>
                    <a:pt x="0" y="16375"/>
                  </a:lnTo>
                  <a:cubicBezTo>
                    <a:pt x="0" y="6928"/>
                    <a:pt x="7557" y="0"/>
                    <a:pt x="16375" y="0"/>
                  </a:cubicBezTo>
                  <a:lnTo>
                    <a:pt x="183273" y="0"/>
                  </a:lnTo>
                  <a:cubicBezTo>
                    <a:pt x="192720" y="0"/>
                    <a:pt x="199648" y="7558"/>
                    <a:pt x="199648" y="16375"/>
                  </a:cubicBezTo>
                  <a:cubicBezTo>
                    <a:pt x="199648" y="25822"/>
                    <a:pt x="192090" y="32750"/>
                    <a:pt x="183273" y="32750"/>
                  </a:cubicBezTo>
                  <a:lnTo>
                    <a:pt x="32749" y="32750"/>
                  </a:lnTo>
                  <a:lnTo>
                    <a:pt x="32749" y="224840"/>
                  </a:lnTo>
                  <a:lnTo>
                    <a:pt x="372844" y="224840"/>
                  </a:lnTo>
                  <a:lnTo>
                    <a:pt x="372844" y="32750"/>
                  </a:lnTo>
                  <a:lnTo>
                    <a:pt x="268926" y="32750"/>
                  </a:lnTo>
                  <a:cubicBezTo>
                    <a:pt x="259479" y="32750"/>
                    <a:pt x="252551" y="25192"/>
                    <a:pt x="252551" y="16375"/>
                  </a:cubicBezTo>
                  <a:cubicBezTo>
                    <a:pt x="252551" y="6928"/>
                    <a:pt x="260109" y="0"/>
                    <a:pt x="268926" y="0"/>
                  </a:cubicBezTo>
                  <a:lnTo>
                    <a:pt x="389849" y="0"/>
                  </a:lnTo>
                  <a:cubicBezTo>
                    <a:pt x="399296" y="0"/>
                    <a:pt x="406223" y="7558"/>
                    <a:pt x="406223" y="16375"/>
                  </a:cubicBezTo>
                  <a:lnTo>
                    <a:pt x="406223" y="241845"/>
                  </a:lnTo>
                  <a:cubicBezTo>
                    <a:pt x="406853" y="250662"/>
                    <a:pt x="399296" y="258220"/>
                    <a:pt x="389849" y="258220"/>
                  </a:cubicBezTo>
                  <a:lnTo>
                    <a:pt x="389849" y="25822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52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9471748" y="5680303"/>
            <a:ext cx="349541" cy="402444"/>
            <a:chOff x="9471748" y="5680303"/>
            <a:chExt cx="349541" cy="402444"/>
          </a:xfrm>
          <a:solidFill>
            <a:srgbClr val="B1B1A1"/>
          </a:solidFill>
        </p:grpSpPr>
        <p:sp>
          <p:nvSpPr>
            <p:cNvPr id="353" name="Forma Livre: Forma 352">
              <a:extLst>
                <a:ext uri="{FF2B5EF4-FFF2-40B4-BE49-F238E27FC236}">
                  <a16:creationId xmlns:a16="http://schemas.microsoft.com/office/drawing/2014/main" id="{7A52585F-A882-4B0E-88E0-E7013CB4A249}"/>
                </a:ext>
              </a:extLst>
            </p:cNvPr>
            <p:cNvSpPr/>
            <p:nvPr/>
          </p:nvSpPr>
          <p:spPr>
            <a:xfrm>
              <a:off x="9661318" y="5717462"/>
              <a:ext cx="67389" cy="122181"/>
            </a:xfrm>
            <a:custGeom>
              <a:avLst/>
              <a:gdLst>
                <a:gd name="connsiteX0" fmla="*/ 38418 w 67389"/>
                <a:gd name="connsiteY0" fmla="*/ 5038 h 122181"/>
                <a:gd name="connsiteX1" fmla="*/ 38418 w 67389"/>
                <a:gd name="connsiteY1" fmla="*/ 11966 h 122181"/>
                <a:gd name="connsiteX2" fmla="*/ 50384 w 67389"/>
                <a:gd name="connsiteY2" fmla="*/ 14485 h 122181"/>
                <a:gd name="connsiteX3" fmla="*/ 59202 w 67389"/>
                <a:gd name="connsiteY3" fmla="*/ 20783 h 122181"/>
                <a:gd name="connsiteX4" fmla="*/ 63610 w 67389"/>
                <a:gd name="connsiteY4" fmla="*/ 27711 h 122181"/>
                <a:gd name="connsiteX5" fmla="*/ 64870 w 67389"/>
                <a:gd name="connsiteY5" fmla="*/ 34009 h 122181"/>
                <a:gd name="connsiteX6" fmla="*/ 62351 w 67389"/>
                <a:gd name="connsiteY6" fmla="*/ 39678 h 122181"/>
                <a:gd name="connsiteX7" fmla="*/ 56682 w 67389"/>
                <a:gd name="connsiteY7" fmla="*/ 42197 h 122181"/>
                <a:gd name="connsiteX8" fmla="*/ 48495 w 67389"/>
                <a:gd name="connsiteY8" fmla="*/ 35269 h 122181"/>
                <a:gd name="connsiteX9" fmla="*/ 38418 w 67389"/>
                <a:gd name="connsiteY9" fmla="*/ 24562 h 122181"/>
                <a:gd name="connsiteX10" fmla="*/ 38418 w 67389"/>
                <a:gd name="connsiteY10" fmla="*/ 51014 h 122181"/>
                <a:gd name="connsiteX11" fmla="*/ 51014 w 67389"/>
                <a:gd name="connsiteY11" fmla="*/ 54793 h 122181"/>
                <a:gd name="connsiteX12" fmla="*/ 59202 w 67389"/>
                <a:gd name="connsiteY12" fmla="*/ 59831 h 122181"/>
                <a:gd name="connsiteX13" fmla="*/ 65500 w 67389"/>
                <a:gd name="connsiteY13" fmla="*/ 68019 h 122181"/>
                <a:gd name="connsiteX14" fmla="*/ 67389 w 67389"/>
                <a:gd name="connsiteY14" fmla="*/ 78725 h 122181"/>
                <a:gd name="connsiteX15" fmla="*/ 64240 w 67389"/>
                <a:gd name="connsiteY15" fmla="*/ 92581 h 122181"/>
                <a:gd name="connsiteX16" fmla="*/ 54163 w 67389"/>
                <a:gd name="connsiteY16" fmla="*/ 103288 h 122181"/>
                <a:gd name="connsiteX17" fmla="*/ 38418 w 67389"/>
                <a:gd name="connsiteY17" fmla="*/ 108326 h 122181"/>
                <a:gd name="connsiteX18" fmla="*/ 38418 w 67389"/>
                <a:gd name="connsiteY18" fmla="*/ 114624 h 122181"/>
                <a:gd name="connsiteX19" fmla="*/ 37788 w 67389"/>
                <a:gd name="connsiteY19" fmla="*/ 120292 h 122181"/>
                <a:gd name="connsiteX20" fmla="*/ 34639 w 67389"/>
                <a:gd name="connsiteY20" fmla="*/ 122182 h 122181"/>
                <a:gd name="connsiteX21" fmla="*/ 31490 w 67389"/>
                <a:gd name="connsiteY21" fmla="*/ 120922 h 122181"/>
                <a:gd name="connsiteX22" fmla="*/ 30231 w 67389"/>
                <a:gd name="connsiteY22" fmla="*/ 116514 h 122181"/>
                <a:gd name="connsiteX23" fmla="*/ 30231 w 67389"/>
                <a:gd name="connsiteY23" fmla="*/ 108956 h 122181"/>
                <a:gd name="connsiteX24" fmla="*/ 17005 w 67389"/>
                <a:gd name="connsiteY24" fmla="*/ 105177 h 122181"/>
                <a:gd name="connsiteX25" fmla="*/ 7558 w 67389"/>
                <a:gd name="connsiteY25" fmla="*/ 98249 h 122181"/>
                <a:gd name="connsiteX26" fmla="*/ 1890 w 67389"/>
                <a:gd name="connsiteY26" fmla="*/ 90062 h 122181"/>
                <a:gd name="connsiteX27" fmla="*/ 0 w 67389"/>
                <a:gd name="connsiteY27" fmla="*/ 81875 h 122181"/>
                <a:gd name="connsiteX28" fmla="*/ 2519 w 67389"/>
                <a:gd name="connsiteY28" fmla="*/ 76206 h 122181"/>
                <a:gd name="connsiteX29" fmla="*/ 8188 w 67389"/>
                <a:gd name="connsiteY29" fmla="*/ 73687 h 122181"/>
                <a:gd name="connsiteX30" fmla="*/ 13226 w 67389"/>
                <a:gd name="connsiteY30" fmla="*/ 74946 h 122181"/>
                <a:gd name="connsiteX31" fmla="*/ 15745 w 67389"/>
                <a:gd name="connsiteY31" fmla="*/ 78725 h 122181"/>
                <a:gd name="connsiteX32" fmla="*/ 18894 w 67389"/>
                <a:gd name="connsiteY32" fmla="*/ 86913 h 122181"/>
                <a:gd name="connsiteX33" fmla="*/ 22673 w 67389"/>
                <a:gd name="connsiteY33" fmla="*/ 91951 h 122181"/>
                <a:gd name="connsiteX34" fmla="*/ 29601 w 67389"/>
                <a:gd name="connsiteY34" fmla="*/ 95730 h 122181"/>
                <a:gd name="connsiteX35" fmla="*/ 29601 w 67389"/>
                <a:gd name="connsiteY35" fmla="*/ 66129 h 122181"/>
                <a:gd name="connsiteX36" fmla="*/ 15115 w 67389"/>
                <a:gd name="connsiteY36" fmla="*/ 61091 h 122181"/>
                <a:gd name="connsiteX37" fmla="*/ 5668 w 67389"/>
                <a:gd name="connsiteY37" fmla="*/ 52903 h 122181"/>
                <a:gd name="connsiteX38" fmla="*/ 1890 w 67389"/>
                <a:gd name="connsiteY38" fmla="*/ 39048 h 122181"/>
                <a:gd name="connsiteX39" fmla="*/ 8817 w 67389"/>
                <a:gd name="connsiteY39" fmla="*/ 20783 h 122181"/>
                <a:gd name="connsiteX40" fmla="*/ 28971 w 67389"/>
                <a:gd name="connsiteY40" fmla="*/ 12596 h 122181"/>
                <a:gd name="connsiteX41" fmla="*/ 28971 w 67389"/>
                <a:gd name="connsiteY41" fmla="*/ 5668 h 122181"/>
                <a:gd name="connsiteX42" fmla="*/ 32750 w 67389"/>
                <a:gd name="connsiteY42" fmla="*/ 0 h 122181"/>
                <a:gd name="connsiteX43" fmla="*/ 38418 w 67389"/>
                <a:gd name="connsiteY43" fmla="*/ 5038 h 122181"/>
                <a:gd name="connsiteX44" fmla="*/ 30231 w 67389"/>
                <a:gd name="connsiteY44" fmla="*/ 49125 h 122181"/>
                <a:gd name="connsiteX45" fmla="*/ 30231 w 67389"/>
                <a:gd name="connsiteY45" fmla="*/ 24562 h 122181"/>
                <a:gd name="connsiteX46" fmla="*/ 22043 w 67389"/>
                <a:gd name="connsiteY46" fmla="*/ 28971 h 122181"/>
                <a:gd name="connsiteX47" fmla="*/ 18894 w 67389"/>
                <a:gd name="connsiteY47" fmla="*/ 37158 h 122181"/>
                <a:gd name="connsiteX48" fmla="*/ 22043 w 67389"/>
                <a:gd name="connsiteY48" fmla="*/ 44716 h 122181"/>
                <a:gd name="connsiteX49" fmla="*/ 30231 w 67389"/>
                <a:gd name="connsiteY49" fmla="*/ 49125 h 122181"/>
                <a:gd name="connsiteX50" fmla="*/ 38418 w 67389"/>
                <a:gd name="connsiteY50" fmla="*/ 68019 h 122181"/>
                <a:gd name="connsiteX51" fmla="*/ 38418 w 67389"/>
                <a:gd name="connsiteY51" fmla="*/ 96360 h 122181"/>
                <a:gd name="connsiteX52" fmla="*/ 48495 w 67389"/>
                <a:gd name="connsiteY52" fmla="*/ 91322 h 122181"/>
                <a:gd name="connsiteX53" fmla="*/ 52274 w 67389"/>
                <a:gd name="connsiteY53" fmla="*/ 82504 h 122181"/>
                <a:gd name="connsiteX54" fmla="*/ 49125 w 67389"/>
                <a:gd name="connsiteY54" fmla="*/ 73687 h 122181"/>
                <a:gd name="connsiteX55" fmla="*/ 38418 w 67389"/>
                <a:gd name="connsiteY55" fmla="*/ 68019 h 122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67389" h="122181">
                  <a:moveTo>
                    <a:pt x="38418" y="5038"/>
                  </a:moveTo>
                  <a:lnTo>
                    <a:pt x="38418" y="11966"/>
                  </a:lnTo>
                  <a:cubicBezTo>
                    <a:pt x="42827" y="12596"/>
                    <a:pt x="47235" y="13226"/>
                    <a:pt x="50384" y="14485"/>
                  </a:cubicBezTo>
                  <a:cubicBezTo>
                    <a:pt x="53533" y="15745"/>
                    <a:pt x="56682" y="18264"/>
                    <a:pt x="59202" y="20783"/>
                  </a:cubicBezTo>
                  <a:cubicBezTo>
                    <a:pt x="61091" y="22673"/>
                    <a:pt x="62351" y="25192"/>
                    <a:pt x="63610" y="27711"/>
                  </a:cubicBezTo>
                  <a:cubicBezTo>
                    <a:pt x="64870" y="30231"/>
                    <a:pt x="64870" y="32120"/>
                    <a:pt x="64870" y="34009"/>
                  </a:cubicBezTo>
                  <a:cubicBezTo>
                    <a:pt x="64870" y="35899"/>
                    <a:pt x="64240" y="37788"/>
                    <a:pt x="62351" y="39678"/>
                  </a:cubicBezTo>
                  <a:cubicBezTo>
                    <a:pt x="61091" y="40937"/>
                    <a:pt x="59202" y="42197"/>
                    <a:pt x="56682" y="42197"/>
                  </a:cubicBezTo>
                  <a:cubicBezTo>
                    <a:pt x="52274" y="42197"/>
                    <a:pt x="49755" y="39678"/>
                    <a:pt x="48495" y="35269"/>
                  </a:cubicBezTo>
                  <a:cubicBezTo>
                    <a:pt x="47235" y="30231"/>
                    <a:pt x="43457" y="26451"/>
                    <a:pt x="38418" y="24562"/>
                  </a:cubicBezTo>
                  <a:lnTo>
                    <a:pt x="38418" y="51014"/>
                  </a:lnTo>
                  <a:cubicBezTo>
                    <a:pt x="43457" y="52274"/>
                    <a:pt x="47865" y="53533"/>
                    <a:pt x="51014" y="54793"/>
                  </a:cubicBezTo>
                  <a:cubicBezTo>
                    <a:pt x="54163" y="56052"/>
                    <a:pt x="56682" y="57942"/>
                    <a:pt x="59202" y="59831"/>
                  </a:cubicBezTo>
                  <a:cubicBezTo>
                    <a:pt x="61721" y="62350"/>
                    <a:pt x="63610" y="64870"/>
                    <a:pt x="65500" y="68019"/>
                  </a:cubicBezTo>
                  <a:cubicBezTo>
                    <a:pt x="66759" y="71168"/>
                    <a:pt x="67389" y="74946"/>
                    <a:pt x="67389" y="78725"/>
                  </a:cubicBezTo>
                  <a:cubicBezTo>
                    <a:pt x="67389" y="83764"/>
                    <a:pt x="66129" y="88173"/>
                    <a:pt x="64240" y="92581"/>
                  </a:cubicBezTo>
                  <a:cubicBezTo>
                    <a:pt x="61721" y="96990"/>
                    <a:pt x="58572" y="100139"/>
                    <a:pt x="54163" y="103288"/>
                  </a:cubicBezTo>
                  <a:cubicBezTo>
                    <a:pt x="49755" y="105807"/>
                    <a:pt x="44716" y="107696"/>
                    <a:pt x="38418" y="108326"/>
                  </a:cubicBezTo>
                  <a:lnTo>
                    <a:pt x="38418" y="114624"/>
                  </a:lnTo>
                  <a:cubicBezTo>
                    <a:pt x="38418" y="117143"/>
                    <a:pt x="38418" y="119033"/>
                    <a:pt x="37788" y="120292"/>
                  </a:cubicBezTo>
                  <a:cubicBezTo>
                    <a:pt x="37159" y="121552"/>
                    <a:pt x="36529" y="122182"/>
                    <a:pt x="34639" y="122182"/>
                  </a:cubicBezTo>
                  <a:cubicBezTo>
                    <a:pt x="33380" y="122182"/>
                    <a:pt x="32120" y="121552"/>
                    <a:pt x="31490" y="120922"/>
                  </a:cubicBezTo>
                  <a:cubicBezTo>
                    <a:pt x="30861" y="119663"/>
                    <a:pt x="30231" y="118403"/>
                    <a:pt x="30231" y="116514"/>
                  </a:cubicBezTo>
                  <a:lnTo>
                    <a:pt x="30231" y="108956"/>
                  </a:lnTo>
                  <a:cubicBezTo>
                    <a:pt x="25192" y="108326"/>
                    <a:pt x="20784" y="107067"/>
                    <a:pt x="17005" y="105177"/>
                  </a:cubicBezTo>
                  <a:cubicBezTo>
                    <a:pt x="13226" y="103288"/>
                    <a:pt x="10077" y="101398"/>
                    <a:pt x="7558" y="98249"/>
                  </a:cubicBezTo>
                  <a:cubicBezTo>
                    <a:pt x="5039" y="95730"/>
                    <a:pt x="3149" y="92581"/>
                    <a:pt x="1890" y="90062"/>
                  </a:cubicBezTo>
                  <a:cubicBezTo>
                    <a:pt x="630" y="86913"/>
                    <a:pt x="0" y="84393"/>
                    <a:pt x="0" y="81875"/>
                  </a:cubicBezTo>
                  <a:cubicBezTo>
                    <a:pt x="0" y="79985"/>
                    <a:pt x="630" y="78095"/>
                    <a:pt x="2519" y="76206"/>
                  </a:cubicBezTo>
                  <a:cubicBezTo>
                    <a:pt x="4409" y="74317"/>
                    <a:pt x="6298" y="73687"/>
                    <a:pt x="8188" y="73687"/>
                  </a:cubicBezTo>
                  <a:cubicBezTo>
                    <a:pt x="10077" y="73687"/>
                    <a:pt x="11966" y="74317"/>
                    <a:pt x="13226" y="74946"/>
                  </a:cubicBezTo>
                  <a:cubicBezTo>
                    <a:pt x="14486" y="75576"/>
                    <a:pt x="15745" y="76836"/>
                    <a:pt x="15745" y="78725"/>
                  </a:cubicBezTo>
                  <a:cubicBezTo>
                    <a:pt x="17005" y="82504"/>
                    <a:pt x="17635" y="85024"/>
                    <a:pt x="18894" y="86913"/>
                  </a:cubicBezTo>
                  <a:cubicBezTo>
                    <a:pt x="19524" y="88802"/>
                    <a:pt x="20784" y="90692"/>
                    <a:pt x="22673" y="91951"/>
                  </a:cubicBezTo>
                  <a:cubicBezTo>
                    <a:pt x="24563" y="93211"/>
                    <a:pt x="26452" y="94471"/>
                    <a:pt x="29601" y="95730"/>
                  </a:cubicBezTo>
                  <a:lnTo>
                    <a:pt x="29601" y="66129"/>
                  </a:lnTo>
                  <a:cubicBezTo>
                    <a:pt x="23933" y="64870"/>
                    <a:pt x="18894" y="62980"/>
                    <a:pt x="15115" y="61091"/>
                  </a:cubicBezTo>
                  <a:cubicBezTo>
                    <a:pt x="11337" y="59201"/>
                    <a:pt x="8188" y="56682"/>
                    <a:pt x="5668" y="52903"/>
                  </a:cubicBezTo>
                  <a:cubicBezTo>
                    <a:pt x="3149" y="49125"/>
                    <a:pt x="1890" y="44716"/>
                    <a:pt x="1890" y="39048"/>
                  </a:cubicBezTo>
                  <a:cubicBezTo>
                    <a:pt x="1890" y="31490"/>
                    <a:pt x="4409" y="25822"/>
                    <a:pt x="8817" y="20783"/>
                  </a:cubicBezTo>
                  <a:cubicBezTo>
                    <a:pt x="13226" y="16375"/>
                    <a:pt x="20154" y="13226"/>
                    <a:pt x="28971" y="12596"/>
                  </a:cubicBezTo>
                  <a:lnTo>
                    <a:pt x="28971" y="5668"/>
                  </a:lnTo>
                  <a:cubicBezTo>
                    <a:pt x="28971" y="1889"/>
                    <a:pt x="30231" y="0"/>
                    <a:pt x="32750" y="0"/>
                  </a:cubicBezTo>
                  <a:cubicBezTo>
                    <a:pt x="37159" y="0"/>
                    <a:pt x="38418" y="1889"/>
                    <a:pt x="38418" y="5038"/>
                  </a:cubicBezTo>
                  <a:close/>
                  <a:moveTo>
                    <a:pt x="30231" y="49125"/>
                  </a:moveTo>
                  <a:lnTo>
                    <a:pt x="30231" y="24562"/>
                  </a:lnTo>
                  <a:cubicBezTo>
                    <a:pt x="26452" y="25822"/>
                    <a:pt x="23933" y="27081"/>
                    <a:pt x="22043" y="28971"/>
                  </a:cubicBezTo>
                  <a:cubicBezTo>
                    <a:pt x="20154" y="30860"/>
                    <a:pt x="18894" y="33380"/>
                    <a:pt x="18894" y="37158"/>
                  </a:cubicBezTo>
                  <a:cubicBezTo>
                    <a:pt x="18894" y="40307"/>
                    <a:pt x="20154" y="42827"/>
                    <a:pt x="22043" y="44716"/>
                  </a:cubicBezTo>
                  <a:cubicBezTo>
                    <a:pt x="23303" y="45976"/>
                    <a:pt x="26452" y="47865"/>
                    <a:pt x="30231" y="49125"/>
                  </a:cubicBezTo>
                  <a:close/>
                  <a:moveTo>
                    <a:pt x="38418" y="68019"/>
                  </a:moveTo>
                  <a:lnTo>
                    <a:pt x="38418" y="96360"/>
                  </a:lnTo>
                  <a:cubicBezTo>
                    <a:pt x="42827" y="95730"/>
                    <a:pt x="45976" y="93841"/>
                    <a:pt x="48495" y="91322"/>
                  </a:cubicBezTo>
                  <a:cubicBezTo>
                    <a:pt x="51014" y="88802"/>
                    <a:pt x="52274" y="85653"/>
                    <a:pt x="52274" y="82504"/>
                  </a:cubicBezTo>
                  <a:cubicBezTo>
                    <a:pt x="52274" y="78725"/>
                    <a:pt x="51014" y="76206"/>
                    <a:pt x="49125" y="73687"/>
                  </a:cubicBezTo>
                  <a:cubicBezTo>
                    <a:pt x="45976" y="71168"/>
                    <a:pt x="42827" y="69278"/>
                    <a:pt x="38418" y="68019"/>
                  </a:cubicBez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54" name="Forma Livre: Forma 353">
              <a:extLst>
                <a:ext uri="{FF2B5EF4-FFF2-40B4-BE49-F238E27FC236}">
                  <a16:creationId xmlns:a16="http://schemas.microsoft.com/office/drawing/2014/main" id="{4258CE7E-3E21-46FB-BBBB-B4746ED0464F}"/>
                </a:ext>
              </a:extLst>
            </p:cNvPr>
            <p:cNvSpPr/>
            <p:nvPr/>
          </p:nvSpPr>
          <p:spPr>
            <a:xfrm>
              <a:off x="9575665" y="5998984"/>
              <a:ext cx="35268" cy="35269"/>
            </a:xfrm>
            <a:custGeom>
              <a:avLst/>
              <a:gdLst>
                <a:gd name="connsiteX0" fmla="*/ 35269 w 35268"/>
                <a:gd name="connsiteY0" fmla="*/ 17635 h 35269"/>
                <a:gd name="connsiteX1" fmla="*/ 17635 w 35268"/>
                <a:gd name="connsiteY1" fmla="*/ 35269 h 35269"/>
                <a:gd name="connsiteX2" fmla="*/ 0 w 35268"/>
                <a:gd name="connsiteY2" fmla="*/ 17635 h 35269"/>
                <a:gd name="connsiteX3" fmla="*/ 17635 w 35268"/>
                <a:gd name="connsiteY3" fmla="*/ 0 h 35269"/>
                <a:gd name="connsiteX4" fmla="*/ 35269 w 35268"/>
                <a:gd name="connsiteY4" fmla="*/ 17635 h 35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268" h="35269">
                  <a:moveTo>
                    <a:pt x="35269" y="17635"/>
                  </a:moveTo>
                  <a:cubicBezTo>
                    <a:pt x="35269" y="27712"/>
                    <a:pt x="27082" y="35269"/>
                    <a:pt x="17635" y="35269"/>
                  </a:cubicBezTo>
                  <a:cubicBezTo>
                    <a:pt x="7557" y="35269"/>
                    <a:pt x="0" y="27082"/>
                    <a:pt x="0" y="17635"/>
                  </a:cubicBezTo>
                  <a:cubicBezTo>
                    <a:pt x="0" y="7558"/>
                    <a:pt x="8188" y="0"/>
                    <a:pt x="17635" y="0"/>
                  </a:cubicBezTo>
                  <a:cubicBezTo>
                    <a:pt x="27082" y="0"/>
                    <a:pt x="35269" y="8188"/>
                    <a:pt x="35269" y="17635"/>
                  </a:cubicBez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55" name="Forma Livre: Forma 354">
              <a:extLst>
                <a:ext uri="{FF2B5EF4-FFF2-40B4-BE49-F238E27FC236}">
                  <a16:creationId xmlns:a16="http://schemas.microsoft.com/office/drawing/2014/main" id="{EB750C19-919C-4822-A83C-B6AE0EE2A115}"/>
                </a:ext>
              </a:extLst>
            </p:cNvPr>
            <p:cNvSpPr/>
            <p:nvPr/>
          </p:nvSpPr>
          <p:spPr>
            <a:xfrm>
              <a:off x="9512685" y="5777293"/>
              <a:ext cx="160599" cy="206575"/>
            </a:xfrm>
            <a:custGeom>
              <a:avLst/>
              <a:gdLst>
                <a:gd name="connsiteX0" fmla="*/ 152412 w 160599"/>
                <a:gd name="connsiteY0" fmla="*/ 206576 h 206575"/>
                <a:gd name="connsiteX1" fmla="*/ 8188 w 160599"/>
                <a:gd name="connsiteY1" fmla="*/ 206576 h 206575"/>
                <a:gd name="connsiteX2" fmla="*/ 0 w 160599"/>
                <a:gd name="connsiteY2" fmla="*/ 198388 h 206575"/>
                <a:gd name="connsiteX3" fmla="*/ 0 w 160599"/>
                <a:gd name="connsiteY3" fmla="*/ 8187 h 206575"/>
                <a:gd name="connsiteX4" fmla="*/ 8188 w 160599"/>
                <a:gd name="connsiteY4" fmla="*/ 0 h 206575"/>
                <a:gd name="connsiteX5" fmla="*/ 66759 w 160599"/>
                <a:gd name="connsiteY5" fmla="*/ 0 h 206575"/>
                <a:gd name="connsiteX6" fmla="*/ 74947 w 160599"/>
                <a:gd name="connsiteY6" fmla="*/ 8187 h 206575"/>
                <a:gd name="connsiteX7" fmla="*/ 66759 w 160599"/>
                <a:gd name="connsiteY7" fmla="*/ 16375 h 206575"/>
                <a:gd name="connsiteX8" fmla="*/ 16375 w 160599"/>
                <a:gd name="connsiteY8" fmla="*/ 16375 h 206575"/>
                <a:gd name="connsiteX9" fmla="*/ 16375 w 160599"/>
                <a:gd name="connsiteY9" fmla="*/ 190200 h 206575"/>
                <a:gd name="connsiteX10" fmla="*/ 144225 w 160599"/>
                <a:gd name="connsiteY10" fmla="*/ 190200 h 206575"/>
                <a:gd name="connsiteX11" fmla="*/ 144225 w 160599"/>
                <a:gd name="connsiteY11" fmla="*/ 110216 h 206575"/>
                <a:gd name="connsiteX12" fmla="*/ 152412 w 160599"/>
                <a:gd name="connsiteY12" fmla="*/ 102028 h 206575"/>
                <a:gd name="connsiteX13" fmla="*/ 160600 w 160599"/>
                <a:gd name="connsiteY13" fmla="*/ 110216 h 206575"/>
                <a:gd name="connsiteX14" fmla="*/ 160600 w 160599"/>
                <a:gd name="connsiteY14" fmla="*/ 198388 h 206575"/>
                <a:gd name="connsiteX15" fmla="*/ 152412 w 160599"/>
                <a:gd name="connsiteY15" fmla="*/ 206576 h 206575"/>
                <a:gd name="connsiteX16" fmla="*/ 152412 w 160599"/>
                <a:gd name="connsiteY16" fmla="*/ 206576 h 206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60599" h="206575">
                  <a:moveTo>
                    <a:pt x="152412" y="206576"/>
                  </a:moveTo>
                  <a:lnTo>
                    <a:pt x="8188" y="206576"/>
                  </a:lnTo>
                  <a:cubicBezTo>
                    <a:pt x="3779" y="206576"/>
                    <a:pt x="0" y="202797"/>
                    <a:pt x="0" y="198388"/>
                  </a:cubicBezTo>
                  <a:lnTo>
                    <a:pt x="0" y="8187"/>
                  </a:lnTo>
                  <a:cubicBezTo>
                    <a:pt x="0" y="3779"/>
                    <a:pt x="3779" y="0"/>
                    <a:pt x="8188" y="0"/>
                  </a:cubicBezTo>
                  <a:lnTo>
                    <a:pt x="66759" y="0"/>
                  </a:lnTo>
                  <a:cubicBezTo>
                    <a:pt x="71168" y="0"/>
                    <a:pt x="74947" y="3779"/>
                    <a:pt x="74947" y="8187"/>
                  </a:cubicBezTo>
                  <a:cubicBezTo>
                    <a:pt x="74947" y="12596"/>
                    <a:pt x="71168" y="16375"/>
                    <a:pt x="66759" y="16375"/>
                  </a:cubicBezTo>
                  <a:lnTo>
                    <a:pt x="16375" y="16375"/>
                  </a:lnTo>
                  <a:lnTo>
                    <a:pt x="16375" y="190200"/>
                  </a:lnTo>
                  <a:lnTo>
                    <a:pt x="144225" y="190200"/>
                  </a:lnTo>
                  <a:lnTo>
                    <a:pt x="144225" y="110216"/>
                  </a:lnTo>
                  <a:cubicBezTo>
                    <a:pt x="144225" y="105807"/>
                    <a:pt x="148004" y="102028"/>
                    <a:pt x="152412" y="102028"/>
                  </a:cubicBezTo>
                  <a:cubicBezTo>
                    <a:pt x="156821" y="102028"/>
                    <a:pt x="160600" y="105807"/>
                    <a:pt x="160600" y="110216"/>
                  </a:cubicBezTo>
                  <a:lnTo>
                    <a:pt x="160600" y="198388"/>
                  </a:lnTo>
                  <a:cubicBezTo>
                    <a:pt x="160600" y="203427"/>
                    <a:pt x="156821" y="206576"/>
                    <a:pt x="152412" y="206576"/>
                  </a:cubicBezTo>
                  <a:lnTo>
                    <a:pt x="152412" y="206576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56" name="Forma Livre: Forma 355">
              <a:extLst>
                <a:ext uri="{FF2B5EF4-FFF2-40B4-BE49-F238E27FC236}">
                  <a16:creationId xmlns:a16="http://schemas.microsoft.com/office/drawing/2014/main" id="{25FE0F8C-D558-4456-8A3E-9C74767E07C5}"/>
                </a:ext>
              </a:extLst>
            </p:cNvPr>
            <p:cNvSpPr/>
            <p:nvPr/>
          </p:nvSpPr>
          <p:spPr>
            <a:xfrm>
              <a:off x="9471748" y="5719981"/>
              <a:ext cx="243104" cy="362767"/>
            </a:xfrm>
            <a:custGeom>
              <a:avLst/>
              <a:gdLst>
                <a:gd name="connsiteX0" fmla="*/ 226100 w 243104"/>
                <a:gd name="connsiteY0" fmla="*/ 362767 h 362767"/>
                <a:gd name="connsiteX1" fmla="*/ 16375 w 243104"/>
                <a:gd name="connsiteY1" fmla="*/ 362767 h 362767"/>
                <a:gd name="connsiteX2" fmla="*/ 0 w 243104"/>
                <a:gd name="connsiteY2" fmla="*/ 346392 h 362767"/>
                <a:gd name="connsiteX3" fmla="*/ 0 w 243104"/>
                <a:gd name="connsiteY3" fmla="*/ 16375 h 362767"/>
                <a:gd name="connsiteX4" fmla="*/ 16375 w 243104"/>
                <a:gd name="connsiteY4" fmla="*/ 0 h 362767"/>
                <a:gd name="connsiteX5" fmla="*/ 123441 w 243104"/>
                <a:gd name="connsiteY5" fmla="*/ 0 h 362767"/>
                <a:gd name="connsiteX6" fmla="*/ 123441 w 243104"/>
                <a:gd name="connsiteY6" fmla="*/ 33380 h 362767"/>
                <a:gd name="connsiteX7" fmla="*/ 33380 w 243104"/>
                <a:gd name="connsiteY7" fmla="*/ 33380 h 362767"/>
                <a:gd name="connsiteX8" fmla="*/ 33380 w 243104"/>
                <a:gd name="connsiteY8" fmla="*/ 330017 h 362767"/>
                <a:gd name="connsiteX9" fmla="*/ 209725 w 243104"/>
                <a:gd name="connsiteY9" fmla="*/ 330017 h 362767"/>
                <a:gd name="connsiteX10" fmla="*/ 209725 w 243104"/>
                <a:gd name="connsiteY10" fmla="*/ 151153 h 362767"/>
                <a:gd name="connsiteX11" fmla="*/ 243104 w 243104"/>
                <a:gd name="connsiteY11" fmla="*/ 151153 h 362767"/>
                <a:gd name="connsiteX12" fmla="*/ 243104 w 243104"/>
                <a:gd name="connsiteY12" fmla="*/ 346392 h 362767"/>
                <a:gd name="connsiteX13" fmla="*/ 226100 w 243104"/>
                <a:gd name="connsiteY13" fmla="*/ 362767 h 362767"/>
                <a:gd name="connsiteX14" fmla="*/ 226100 w 243104"/>
                <a:gd name="connsiteY14" fmla="*/ 362767 h 36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3104" h="362767">
                  <a:moveTo>
                    <a:pt x="226100" y="362767"/>
                  </a:moveTo>
                  <a:lnTo>
                    <a:pt x="16375" y="362767"/>
                  </a:lnTo>
                  <a:cubicBezTo>
                    <a:pt x="6928" y="362767"/>
                    <a:pt x="0" y="355210"/>
                    <a:pt x="0" y="346392"/>
                  </a:cubicBezTo>
                  <a:lnTo>
                    <a:pt x="0" y="16375"/>
                  </a:lnTo>
                  <a:cubicBezTo>
                    <a:pt x="0" y="6928"/>
                    <a:pt x="7557" y="0"/>
                    <a:pt x="16375" y="0"/>
                  </a:cubicBezTo>
                  <a:lnTo>
                    <a:pt x="123441" y="0"/>
                  </a:lnTo>
                  <a:lnTo>
                    <a:pt x="123441" y="33380"/>
                  </a:lnTo>
                  <a:lnTo>
                    <a:pt x="33380" y="33380"/>
                  </a:lnTo>
                  <a:lnTo>
                    <a:pt x="33380" y="330017"/>
                  </a:lnTo>
                  <a:lnTo>
                    <a:pt x="209725" y="330017"/>
                  </a:lnTo>
                  <a:lnTo>
                    <a:pt x="209725" y="151153"/>
                  </a:lnTo>
                  <a:lnTo>
                    <a:pt x="243104" y="151153"/>
                  </a:lnTo>
                  <a:lnTo>
                    <a:pt x="243104" y="346392"/>
                  </a:lnTo>
                  <a:cubicBezTo>
                    <a:pt x="243104" y="355210"/>
                    <a:pt x="235547" y="362767"/>
                    <a:pt x="226100" y="362767"/>
                  </a:cubicBezTo>
                  <a:lnTo>
                    <a:pt x="226100" y="362767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57" name="Forma Livre: Forma 356">
              <a:extLst>
                <a:ext uri="{FF2B5EF4-FFF2-40B4-BE49-F238E27FC236}">
                  <a16:creationId xmlns:a16="http://schemas.microsoft.com/office/drawing/2014/main" id="{18D6F787-0D9F-4DAC-8779-468752C2DF2C}"/>
                </a:ext>
              </a:extLst>
            </p:cNvPr>
            <p:cNvSpPr/>
            <p:nvPr/>
          </p:nvSpPr>
          <p:spPr>
            <a:xfrm>
              <a:off x="9575665" y="5680303"/>
              <a:ext cx="245623" cy="222950"/>
            </a:xfrm>
            <a:custGeom>
              <a:avLst/>
              <a:gdLst>
                <a:gd name="connsiteX0" fmla="*/ 48495 w 245623"/>
                <a:gd name="connsiteY0" fmla="*/ 222951 h 222950"/>
                <a:gd name="connsiteX1" fmla="*/ 39678 w 245623"/>
                <a:gd name="connsiteY1" fmla="*/ 222321 h 222950"/>
                <a:gd name="connsiteX2" fmla="*/ 32120 w 245623"/>
                <a:gd name="connsiteY2" fmla="*/ 215393 h 222950"/>
                <a:gd name="connsiteX3" fmla="*/ 36529 w 245623"/>
                <a:gd name="connsiteY3" fmla="*/ 206576 h 222950"/>
                <a:gd name="connsiteX4" fmla="*/ 62351 w 245623"/>
                <a:gd name="connsiteY4" fmla="*/ 184532 h 222950"/>
                <a:gd name="connsiteX5" fmla="*/ 0 w 245623"/>
                <a:gd name="connsiteY5" fmla="*/ 98879 h 222950"/>
                <a:gd name="connsiteX6" fmla="*/ 122812 w 245623"/>
                <a:gd name="connsiteY6" fmla="*/ 0 h 222950"/>
                <a:gd name="connsiteX7" fmla="*/ 245624 w 245623"/>
                <a:gd name="connsiteY7" fmla="*/ 98879 h 222950"/>
                <a:gd name="connsiteX8" fmla="*/ 122812 w 245623"/>
                <a:gd name="connsiteY8" fmla="*/ 197759 h 222950"/>
                <a:gd name="connsiteX9" fmla="*/ 117143 w 245623"/>
                <a:gd name="connsiteY9" fmla="*/ 197759 h 222950"/>
                <a:gd name="connsiteX10" fmla="*/ 48495 w 245623"/>
                <a:gd name="connsiteY10" fmla="*/ 222951 h 222950"/>
                <a:gd name="connsiteX11" fmla="*/ 48495 w 245623"/>
                <a:gd name="connsiteY11" fmla="*/ 222951 h 222950"/>
                <a:gd name="connsiteX12" fmla="*/ 123441 w 245623"/>
                <a:gd name="connsiteY12" fmla="*/ 17005 h 222950"/>
                <a:gd name="connsiteX13" fmla="*/ 17004 w 245623"/>
                <a:gd name="connsiteY13" fmla="*/ 98879 h 222950"/>
                <a:gd name="connsiteX14" fmla="*/ 77466 w 245623"/>
                <a:gd name="connsiteY14" fmla="*/ 172566 h 222950"/>
                <a:gd name="connsiteX15" fmla="*/ 82504 w 245623"/>
                <a:gd name="connsiteY15" fmla="*/ 177605 h 222950"/>
                <a:gd name="connsiteX16" fmla="*/ 82504 w 245623"/>
                <a:gd name="connsiteY16" fmla="*/ 184532 h 222950"/>
                <a:gd name="connsiteX17" fmla="*/ 79985 w 245623"/>
                <a:gd name="connsiteY17" fmla="*/ 189571 h 222950"/>
                <a:gd name="connsiteX18" fmla="*/ 68649 w 245623"/>
                <a:gd name="connsiteY18" fmla="*/ 204057 h 222950"/>
                <a:gd name="connsiteX19" fmla="*/ 108956 w 245623"/>
                <a:gd name="connsiteY19" fmla="*/ 183273 h 222950"/>
                <a:gd name="connsiteX20" fmla="*/ 115254 w 245623"/>
                <a:gd name="connsiteY20" fmla="*/ 180754 h 222950"/>
                <a:gd name="connsiteX21" fmla="*/ 124071 w 245623"/>
                <a:gd name="connsiteY21" fmla="*/ 181383 h 222950"/>
                <a:gd name="connsiteX22" fmla="*/ 230508 w 245623"/>
                <a:gd name="connsiteY22" fmla="*/ 99509 h 222950"/>
                <a:gd name="connsiteX23" fmla="*/ 123441 w 245623"/>
                <a:gd name="connsiteY23" fmla="*/ 17005 h 222950"/>
                <a:gd name="connsiteX24" fmla="*/ 123441 w 245623"/>
                <a:gd name="connsiteY24" fmla="*/ 17005 h 222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45623" h="222950">
                  <a:moveTo>
                    <a:pt x="48495" y="222951"/>
                  </a:moveTo>
                  <a:cubicBezTo>
                    <a:pt x="45346" y="222951"/>
                    <a:pt x="42197" y="222951"/>
                    <a:pt x="39678" y="222321"/>
                  </a:cubicBezTo>
                  <a:cubicBezTo>
                    <a:pt x="35899" y="222321"/>
                    <a:pt x="32749" y="219172"/>
                    <a:pt x="32120" y="215393"/>
                  </a:cubicBezTo>
                  <a:cubicBezTo>
                    <a:pt x="31490" y="211614"/>
                    <a:pt x="33380" y="207835"/>
                    <a:pt x="36529" y="206576"/>
                  </a:cubicBezTo>
                  <a:cubicBezTo>
                    <a:pt x="47235" y="201537"/>
                    <a:pt x="56053" y="193980"/>
                    <a:pt x="62351" y="184532"/>
                  </a:cubicBezTo>
                  <a:cubicBezTo>
                    <a:pt x="24563" y="166898"/>
                    <a:pt x="0" y="134148"/>
                    <a:pt x="0" y="98879"/>
                  </a:cubicBezTo>
                  <a:cubicBezTo>
                    <a:pt x="0" y="44716"/>
                    <a:pt x="55423" y="0"/>
                    <a:pt x="122812" y="0"/>
                  </a:cubicBezTo>
                  <a:cubicBezTo>
                    <a:pt x="190831" y="0"/>
                    <a:pt x="245624" y="44086"/>
                    <a:pt x="245624" y="98879"/>
                  </a:cubicBezTo>
                  <a:cubicBezTo>
                    <a:pt x="245624" y="153042"/>
                    <a:pt x="190200" y="197759"/>
                    <a:pt x="122812" y="197759"/>
                  </a:cubicBezTo>
                  <a:cubicBezTo>
                    <a:pt x="120922" y="197759"/>
                    <a:pt x="119033" y="197759"/>
                    <a:pt x="117143" y="197759"/>
                  </a:cubicBezTo>
                  <a:cubicBezTo>
                    <a:pt x="100139" y="214133"/>
                    <a:pt x="75576" y="222951"/>
                    <a:pt x="48495" y="222951"/>
                  </a:cubicBezTo>
                  <a:lnTo>
                    <a:pt x="48495" y="222951"/>
                  </a:lnTo>
                  <a:close/>
                  <a:moveTo>
                    <a:pt x="123441" y="17005"/>
                  </a:moveTo>
                  <a:cubicBezTo>
                    <a:pt x="64870" y="17005"/>
                    <a:pt x="17004" y="53533"/>
                    <a:pt x="17004" y="98879"/>
                  </a:cubicBezTo>
                  <a:cubicBezTo>
                    <a:pt x="17004" y="130369"/>
                    <a:pt x="40937" y="159340"/>
                    <a:pt x="77466" y="172566"/>
                  </a:cubicBezTo>
                  <a:cubicBezTo>
                    <a:pt x="79985" y="173196"/>
                    <a:pt x="81245" y="175085"/>
                    <a:pt x="82504" y="177605"/>
                  </a:cubicBezTo>
                  <a:cubicBezTo>
                    <a:pt x="83134" y="179494"/>
                    <a:pt x="83134" y="182013"/>
                    <a:pt x="82504" y="184532"/>
                  </a:cubicBezTo>
                  <a:cubicBezTo>
                    <a:pt x="81245" y="187052"/>
                    <a:pt x="80615" y="188312"/>
                    <a:pt x="79985" y="189571"/>
                  </a:cubicBezTo>
                  <a:cubicBezTo>
                    <a:pt x="76836" y="194610"/>
                    <a:pt x="73057" y="199648"/>
                    <a:pt x="68649" y="204057"/>
                  </a:cubicBezTo>
                  <a:cubicBezTo>
                    <a:pt x="85024" y="200908"/>
                    <a:pt x="98879" y="193980"/>
                    <a:pt x="108956" y="183273"/>
                  </a:cubicBezTo>
                  <a:cubicBezTo>
                    <a:pt x="110845" y="181383"/>
                    <a:pt x="113365" y="180754"/>
                    <a:pt x="115254" y="180754"/>
                  </a:cubicBezTo>
                  <a:cubicBezTo>
                    <a:pt x="117773" y="180754"/>
                    <a:pt x="120922" y="181383"/>
                    <a:pt x="124071" y="181383"/>
                  </a:cubicBezTo>
                  <a:cubicBezTo>
                    <a:pt x="182643" y="181383"/>
                    <a:pt x="230508" y="144855"/>
                    <a:pt x="230508" y="99509"/>
                  </a:cubicBezTo>
                  <a:cubicBezTo>
                    <a:pt x="229878" y="54163"/>
                    <a:pt x="182013" y="17005"/>
                    <a:pt x="123441" y="17005"/>
                  </a:cubicBezTo>
                  <a:lnTo>
                    <a:pt x="123441" y="17005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58" name="Gráfico 2">
            <a:extLst>
              <a:ext uri="{FF2B5EF4-FFF2-40B4-BE49-F238E27FC236}">
                <a16:creationId xmlns:a16="http://schemas.microsoft.com/office/drawing/2014/main" id="{A475B8DB-D93F-4DA6-8335-80171E5C5B8D}"/>
              </a:ext>
            </a:extLst>
          </p:cNvPr>
          <p:cNvGrpSpPr/>
          <p:nvPr/>
        </p:nvGrpSpPr>
        <p:grpSpPr>
          <a:xfrm>
            <a:off x="10425900" y="5719981"/>
            <a:ext cx="496952" cy="315531"/>
            <a:chOff x="10425900" y="5719981"/>
            <a:chExt cx="496952" cy="315531"/>
          </a:xfrm>
          <a:solidFill>
            <a:srgbClr val="B1B1A1"/>
          </a:solidFill>
        </p:grpSpPr>
        <p:sp>
          <p:nvSpPr>
            <p:cNvPr id="359" name="Forma Livre: Forma 358">
              <a:extLst>
                <a:ext uri="{FF2B5EF4-FFF2-40B4-BE49-F238E27FC236}">
                  <a16:creationId xmlns:a16="http://schemas.microsoft.com/office/drawing/2014/main" id="{59B198FB-C34E-4187-8D49-06E97FC0150C}"/>
                </a:ext>
              </a:extLst>
            </p:cNvPr>
            <p:cNvSpPr/>
            <p:nvPr/>
          </p:nvSpPr>
          <p:spPr>
            <a:xfrm>
              <a:off x="10640663" y="5787370"/>
              <a:ext cx="67389" cy="122182"/>
            </a:xfrm>
            <a:custGeom>
              <a:avLst/>
              <a:gdLst>
                <a:gd name="connsiteX0" fmla="*/ 38418 w 67389"/>
                <a:gd name="connsiteY0" fmla="*/ 5038 h 122182"/>
                <a:gd name="connsiteX1" fmla="*/ 38418 w 67389"/>
                <a:gd name="connsiteY1" fmla="*/ 11966 h 122182"/>
                <a:gd name="connsiteX2" fmla="*/ 50384 w 67389"/>
                <a:gd name="connsiteY2" fmla="*/ 14485 h 122182"/>
                <a:gd name="connsiteX3" fmla="*/ 59202 w 67389"/>
                <a:gd name="connsiteY3" fmla="*/ 20783 h 122182"/>
                <a:gd name="connsiteX4" fmla="*/ 63610 w 67389"/>
                <a:gd name="connsiteY4" fmla="*/ 27712 h 122182"/>
                <a:gd name="connsiteX5" fmla="*/ 64870 w 67389"/>
                <a:gd name="connsiteY5" fmla="*/ 34010 h 122182"/>
                <a:gd name="connsiteX6" fmla="*/ 62351 w 67389"/>
                <a:gd name="connsiteY6" fmla="*/ 39678 h 122182"/>
                <a:gd name="connsiteX7" fmla="*/ 56682 w 67389"/>
                <a:gd name="connsiteY7" fmla="*/ 42197 h 122182"/>
                <a:gd name="connsiteX8" fmla="*/ 48495 w 67389"/>
                <a:gd name="connsiteY8" fmla="*/ 35269 h 122182"/>
                <a:gd name="connsiteX9" fmla="*/ 38418 w 67389"/>
                <a:gd name="connsiteY9" fmla="*/ 24563 h 122182"/>
                <a:gd name="connsiteX10" fmla="*/ 38418 w 67389"/>
                <a:gd name="connsiteY10" fmla="*/ 51014 h 122182"/>
                <a:gd name="connsiteX11" fmla="*/ 51014 w 67389"/>
                <a:gd name="connsiteY11" fmla="*/ 54793 h 122182"/>
                <a:gd name="connsiteX12" fmla="*/ 59202 w 67389"/>
                <a:gd name="connsiteY12" fmla="*/ 59831 h 122182"/>
                <a:gd name="connsiteX13" fmla="*/ 65500 w 67389"/>
                <a:gd name="connsiteY13" fmla="*/ 68019 h 122182"/>
                <a:gd name="connsiteX14" fmla="*/ 67389 w 67389"/>
                <a:gd name="connsiteY14" fmla="*/ 78725 h 122182"/>
                <a:gd name="connsiteX15" fmla="*/ 64240 w 67389"/>
                <a:gd name="connsiteY15" fmla="*/ 92581 h 122182"/>
                <a:gd name="connsiteX16" fmla="*/ 54163 w 67389"/>
                <a:gd name="connsiteY16" fmla="*/ 103288 h 122182"/>
                <a:gd name="connsiteX17" fmla="*/ 38418 w 67389"/>
                <a:gd name="connsiteY17" fmla="*/ 108326 h 122182"/>
                <a:gd name="connsiteX18" fmla="*/ 38418 w 67389"/>
                <a:gd name="connsiteY18" fmla="*/ 114624 h 122182"/>
                <a:gd name="connsiteX19" fmla="*/ 37788 w 67389"/>
                <a:gd name="connsiteY19" fmla="*/ 120292 h 122182"/>
                <a:gd name="connsiteX20" fmla="*/ 34639 w 67389"/>
                <a:gd name="connsiteY20" fmla="*/ 122182 h 122182"/>
                <a:gd name="connsiteX21" fmla="*/ 31490 w 67389"/>
                <a:gd name="connsiteY21" fmla="*/ 120922 h 122182"/>
                <a:gd name="connsiteX22" fmla="*/ 30231 w 67389"/>
                <a:gd name="connsiteY22" fmla="*/ 116514 h 122182"/>
                <a:gd name="connsiteX23" fmla="*/ 30231 w 67389"/>
                <a:gd name="connsiteY23" fmla="*/ 108956 h 122182"/>
                <a:gd name="connsiteX24" fmla="*/ 17005 w 67389"/>
                <a:gd name="connsiteY24" fmla="*/ 105177 h 122182"/>
                <a:gd name="connsiteX25" fmla="*/ 7558 w 67389"/>
                <a:gd name="connsiteY25" fmla="*/ 98249 h 122182"/>
                <a:gd name="connsiteX26" fmla="*/ 1890 w 67389"/>
                <a:gd name="connsiteY26" fmla="*/ 90062 h 122182"/>
                <a:gd name="connsiteX27" fmla="*/ 0 w 67389"/>
                <a:gd name="connsiteY27" fmla="*/ 81875 h 122182"/>
                <a:gd name="connsiteX28" fmla="*/ 2519 w 67389"/>
                <a:gd name="connsiteY28" fmla="*/ 76206 h 122182"/>
                <a:gd name="connsiteX29" fmla="*/ 8188 w 67389"/>
                <a:gd name="connsiteY29" fmla="*/ 73687 h 122182"/>
                <a:gd name="connsiteX30" fmla="*/ 13226 w 67389"/>
                <a:gd name="connsiteY30" fmla="*/ 74947 h 122182"/>
                <a:gd name="connsiteX31" fmla="*/ 15745 w 67389"/>
                <a:gd name="connsiteY31" fmla="*/ 78725 h 122182"/>
                <a:gd name="connsiteX32" fmla="*/ 18894 w 67389"/>
                <a:gd name="connsiteY32" fmla="*/ 86913 h 122182"/>
                <a:gd name="connsiteX33" fmla="*/ 22673 w 67389"/>
                <a:gd name="connsiteY33" fmla="*/ 91951 h 122182"/>
                <a:gd name="connsiteX34" fmla="*/ 29601 w 67389"/>
                <a:gd name="connsiteY34" fmla="*/ 95730 h 122182"/>
                <a:gd name="connsiteX35" fmla="*/ 29601 w 67389"/>
                <a:gd name="connsiteY35" fmla="*/ 66129 h 122182"/>
                <a:gd name="connsiteX36" fmla="*/ 15115 w 67389"/>
                <a:gd name="connsiteY36" fmla="*/ 61091 h 122182"/>
                <a:gd name="connsiteX37" fmla="*/ 5668 w 67389"/>
                <a:gd name="connsiteY37" fmla="*/ 52904 h 122182"/>
                <a:gd name="connsiteX38" fmla="*/ 1890 w 67389"/>
                <a:gd name="connsiteY38" fmla="*/ 39048 h 122182"/>
                <a:gd name="connsiteX39" fmla="*/ 8817 w 67389"/>
                <a:gd name="connsiteY39" fmla="*/ 20783 h 122182"/>
                <a:gd name="connsiteX40" fmla="*/ 28971 w 67389"/>
                <a:gd name="connsiteY40" fmla="*/ 12596 h 122182"/>
                <a:gd name="connsiteX41" fmla="*/ 28971 w 67389"/>
                <a:gd name="connsiteY41" fmla="*/ 5668 h 122182"/>
                <a:gd name="connsiteX42" fmla="*/ 32750 w 67389"/>
                <a:gd name="connsiteY42" fmla="*/ 0 h 122182"/>
                <a:gd name="connsiteX43" fmla="*/ 38418 w 67389"/>
                <a:gd name="connsiteY43" fmla="*/ 5038 h 122182"/>
                <a:gd name="connsiteX44" fmla="*/ 30231 w 67389"/>
                <a:gd name="connsiteY44" fmla="*/ 49125 h 122182"/>
                <a:gd name="connsiteX45" fmla="*/ 30231 w 67389"/>
                <a:gd name="connsiteY45" fmla="*/ 24563 h 122182"/>
                <a:gd name="connsiteX46" fmla="*/ 22043 w 67389"/>
                <a:gd name="connsiteY46" fmla="*/ 28971 h 122182"/>
                <a:gd name="connsiteX47" fmla="*/ 18894 w 67389"/>
                <a:gd name="connsiteY47" fmla="*/ 37159 h 122182"/>
                <a:gd name="connsiteX48" fmla="*/ 22043 w 67389"/>
                <a:gd name="connsiteY48" fmla="*/ 44716 h 122182"/>
                <a:gd name="connsiteX49" fmla="*/ 30231 w 67389"/>
                <a:gd name="connsiteY49" fmla="*/ 49125 h 122182"/>
                <a:gd name="connsiteX50" fmla="*/ 38418 w 67389"/>
                <a:gd name="connsiteY50" fmla="*/ 68019 h 122182"/>
                <a:gd name="connsiteX51" fmla="*/ 38418 w 67389"/>
                <a:gd name="connsiteY51" fmla="*/ 96360 h 122182"/>
                <a:gd name="connsiteX52" fmla="*/ 48495 w 67389"/>
                <a:gd name="connsiteY52" fmla="*/ 91322 h 122182"/>
                <a:gd name="connsiteX53" fmla="*/ 52274 w 67389"/>
                <a:gd name="connsiteY53" fmla="*/ 82504 h 122182"/>
                <a:gd name="connsiteX54" fmla="*/ 49125 w 67389"/>
                <a:gd name="connsiteY54" fmla="*/ 73687 h 122182"/>
                <a:gd name="connsiteX55" fmla="*/ 38418 w 67389"/>
                <a:gd name="connsiteY55" fmla="*/ 68019 h 122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67389" h="122182">
                  <a:moveTo>
                    <a:pt x="38418" y="5038"/>
                  </a:moveTo>
                  <a:lnTo>
                    <a:pt x="38418" y="11966"/>
                  </a:lnTo>
                  <a:cubicBezTo>
                    <a:pt x="42827" y="12596"/>
                    <a:pt x="47235" y="13226"/>
                    <a:pt x="50384" y="14485"/>
                  </a:cubicBezTo>
                  <a:cubicBezTo>
                    <a:pt x="53533" y="15745"/>
                    <a:pt x="56682" y="18264"/>
                    <a:pt x="59202" y="20783"/>
                  </a:cubicBezTo>
                  <a:cubicBezTo>
                    <a:pt x="61091" y="22673"/>
                    <a:pt x="62351" y="25192"/>
                    <a:pt x="63610" y="27712"/>
                  </a:cubicBezTo>
                  <a:cubicBezTo>
                    <a:pt x="64870" y="30231"/>
                    <a:pt x="64870" y="32120"/>
                    <a:pt x="64870" y="34010"/>
                  </a:cubicBezTo>
                  <a:cubicBezTo>
                    <a:pt x="64870" y="35899"/>
                    <a:pt x="64240" y="37788"/>
                    <a:pt x="62351" y="39678"/>
                  </a:cubicBezTo>
                  <a:cubicBezTo>
                    <a:pt x="61091" y="40937"/>
                    <a:pt x="59202" y="42197"/>
                    <a:pt x="56682" y="42197"/>
                  </a:cubicBezTo>
                  <a:cubicBezTo>
                    <a:pt x="52274" y="42197"/>
                    <a:pt x="49755" y="39678"/>
                    <a:pt x="48495" y="35269"/>
                  </a:cubicBezTo>
                  <a:cubicBezTo>
                    <a:pt x="47235" y="30231"/>
                    <a:pt x="43457" y="26452"/>
                    <a:pt x="38418" y="24563"/>
                  </a:cubicBezTo>
                  <a:lnTo>
                    <a:pt x="38418" y="51014"/>
                  </a:lnTo>
                  <a:cubicBezTo>
                    <a:pt x="43457" y="52274"/>
                    <a:pt x="47865" y="53533"/>
                    <a:pt x="51014" y="54793"/>
                  </a:cubicBezTo>
                  <a:cubicBezTo>
                    <a:pt x="54163" y="56053"/>
                    <a:pt x="56682" y="57942"/>
                    <a:pt x="59202" y="59831"/>
                  </a:cubicBezTo>
                  <a:cubicBezTo>
                    <a:pt x="61721" y="62351"/>
                    <a:pt x="63610" y="64870"/>
                    <a:pt x="65500" y="68019"/>
                  </a:cubicBezTo>
                  <a:cubicBezTo>
                    <a:pt x="66759" y="71168"/>
                    <a:pt x="67389" y="74947"/>
                    <a:pt x="67389" y="78725"/>
                  </a:cubicBezTo>
                  <a:cubicBezTo>
                    <a:pt x="67389" y="83764"/>
                    <a:pt x="66129" y="88173"/>
                    <a:pt x="64240" y="92581"/>
                  </a:cubicBezTo>
                  <a:cubicBezTo>
                    <a:pt x="61721" y="96990"/>
                    <a:pt x="58572" y="100139"/>
                    <a:pt x="54163" y="103288"/>
                  </a:cubicBezTo>
                  <a:cubicBezTo>
                    <a:pt x="49755" y="105807"/>
                    <a:pt x="44716" y="107696"/>
                    <a:pt x="38418" y="108326"/>
                  </a:cubicBezTo>
                  <a:lnTo>
                    <a:pt x="38418" y="114624"/>
                  </a:lnTo>
                  <a:cubicBezTo>
                    <a:pt x="38418" y="117143"/>
                    <a:pt x="38418" y="119033"/>
                    <a:pt x="37788" y="120292"/>
                  </a:cubicBezTo>
                  <a:cubicBezTo>
                    <a:pt x="37159" y="121552"/>
                    <a:pt x="36529" y="122182"/>
                    <a:pt x="34639" y="122182"/>
                  </a:cubicBezTo>
                  <a:cubicBezTo>
                    <a:pt x="33380" y="122182"/>
                    <a:pt x="32120" y="121552"/>
                    <a:pt x="31490" y="120922"/>
                  </a:cubicBezTo>
                  <a:cubicBezTo>
                    <a:pt x="30861" y="120292"/>
                    <a:pt x="30231" y="118403"/>
                    <a:pt x="30231" y="116514"/>
                  </a:cubicBezTo>
                  <a:lnTo>
                    <a:pt x="30231" y="108956"/>
                  </a:lnTo>
                  <a:cubicBezTo>
                    <a:pt x="25192" y="108326"/>
                    <a:pt x="20784" y="107067"/>
                    <a:pt x="17005" y="105177"/>
                  </a:cubicBezTo>
                  <a:cubicBezTo>
                    <a:pt x="13226" y="103288"/>
                    <a:pt x="10077" y="101398"/>
                    <a:pt x="7558" y="98249"/>
                  </a:cubicBezTo>
                  <a:cubicBezTo>
                    <a:pt x="5039" y="95730"/>
                    <a:pt x="3149" y="92581"/>
                    <a:pt x="1890" y="90062"/>
                  </a:cubicBezTo>
                  <a:cubicBezTo>
                    <a:pt x="630" y="86913"/>
                    <a:pt x="0" y="84394"/>
                    <a:pt x="0" y="81875"/>
                  </a:cubicBezTo>
                  <a:cubicBezTo>
                    <a:pt x="0" y="79985"/>
                    <a:pt x="630" y="78096"/>
                    <a:pt x="2519" y="76206"/>
                  </a:cubicBezTo>
                  <a:cubicBezTo>
                    <a:pt x="4409" y="74317"/>
                    <a:pt x="6298" y="73687"/>
                    <a:pt x="8188" y="73687"/>
                  </a:cubicBezTo>
                  <a:cubicBezTo>
                    <a:pt x="10077" y="73687"/>
                    <a:pt x="11966" y="74317"/>
                    <a:pt x="13226" y="74947"/>
                  </a:cubicBezTo>
                  <a:cubicBezTo>
                    <a:pt x="14486" y="75576"/>
                    <a:pt x="15745" y="76836"/>
                    <a:pt x="15745" y="78725"/>
                  </a:cubicBezTo>
                  <a:cubicBezTo>
                    <a:pt x="17005" y="82504"/>
                    <a:pt x="17635" y="85024"/>
                    <a:pt x="18894" y="86913"/>
                  </a:cubicBezTo>
                  <a:cubicBezTo>
                    <a:pt x="19524" y="88802"/>
                    <a:pt x="20784" y="90692"/>
                    <a:pt x="22673" y="91951"/>
                  </a:cubicBezTo>
                  <a:cubicBezTo>
                    <a:pt x="24563" y="93211"/>
                    <a:pt x="26452" y="94471"/>
                    <a:pt x="29601" y="95730"/>
                  </a:cubicBezTo>
                  <a:lnTo>
                    <a:pt x="29601" y="66129"/>
                  </a:lnTo>
                  <a:cubicBezTo>
                    <a:pt x="23933" y="64870"/>
                    <a:pt x="18894" y="62980"/>
                    <a:pt x="15115" y="61091"/>
                  </a:cubicBezTo>
                  <a:cubicBezTo>
                    <a:pt x="11337" y="59202"/>
                    <a:pt x="8188" y="56682"/>
                    <a:pt x="5668" y="52904"/>
                  </a:cubicBezTo>
                  <a:cubicBezTo>
                    <a:pt x="3149" y="49125"/>
                    <a:pt x="1890" y="44716"/>
                    <a:pt x="1890" y="39048"/>
                  </a:cubicBezTo>
                  <a:cubicBezTo>
                    <a:pt x="1890" y="31490"/>
                    <a:pt x="4409" y="25822"/>
                    <a:pt x="8817" y="20783"/>
                  </a:cubicBezTo>
                  <a:cubicBezTo>
                    <a:pt x="13226" y="16375"/>
                    <a:pt x="20154" y="13226"/>
                    <a:pt x="28971" y="12596"/>
                  </a:cubicBezTo>
                  <a:lnTo>
                    <a:pt x="28971" y="5668"/>
                  </a:lnTo>
                  <a:cubicBezTo>
                    <a:pt x="28971" y="1889"/>
                    <a:pt x="30231" y="0"/>
                    <a:pt x="32750" y="0"/>
                  </a:cubicBezTo>
                  <a:cubicBezTo>
                    <a:pt x="36529" y="0"/>
                    <a:pt x="38418" y="1889"/>
                    <a:pt x="38418" y="5038"/>
                  </a:cubicBezTo>
                  <a:close/>
                  <a:moveTo>
                    <a:pt x="30231" y="49125"/>
                  </a:moveTo>
                  <a:lnTo>
                    <a:pt x="30231" y="24563"/>
                  </a:lnTo>
                  <a:cubicBezTo>
                    <a:pt x="26452" y="25822"/>
                    <a:pt x="23933" y="27081"/>
                    <a:pt x="22043" y="28971"/>
                  </a:cubicBezTo>
                  <a:cubicBezTo>
                    <a:pt x="20154" y="30861"/>
                    <a:pt x="18894" y="33380"/>
                    <a:pt x="18894" y="37159"/>
                  </a:cubicBezTo>
                  <a:cubicBezTo>
                    <a:pt x="18894" y="40308"/>
                    <a:pt x="20154" y="42827"/>
                    <a:pt x="22043" y="44716"/>
                  </a:cubicBezTo>
                  <a:cubicBezTo>
                    <a:pt x="23303" y="45976"/>
                    <a:pt x="25822" y="47865"/>
                    <a:pt x="30231" y="49125"/>
                  </a:cubicBezTo>
                  <a:close/>
                  <a:moveTo>
                    <a:pt x="38418" y="68019"/>
                  </a:moveTo>
                  <a:lnTo>
                    <a:pt x="38418" y="96360"/>
                  </a:lnTo>
                  <a:cubicBezTo>
                    <a:pt x="42827" y="95730"/>
                    <a:pt x="45976" y="93841"/>
                    <a:pt x="48495" y="91322"/>
                  </a:cubicBezTo>
                  <a:cubicBezTo>
                    <a:pt x="51014" y="88802"/>
                    <a:pt x="52274" y="85653"/>
                    <a:pt x="52274" y="82504"/>
                  </a:cubicBezTo>
                  <a:cubicBezTo>
                    <a:pt x="52274" y="78725"/>
                    <a:pt x="51014" y="76206"/>
                    <a:pt x="49125" y="73687"/>
                  </a:cubicBezTo>
                  <a:cubicBezTo>
                    <a:pt x="45976" y="71168"/>
                    <a:pt x="42827" y="69908"/>
                    <a:pt x="38418" y="68019"/>
                  </a:cubicBez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60" name="Forma Livre: Forma 359">
              <a:extLst>
                <a:ext uri="{FF2B5EF4-FFF2-40B4-BE49-F238E27FC236}">
                  <a16:creationId xmlns:a16="http://schemas.microsoft.com/office/drawing/2014/main" id="{97BE6FC6-3B4E-410B-A923-B3E143FA7EEB}"/>
                </a:ext>
              </a:extLst>
            </p:cNvPr>
            <p:cNvSpPr/>
            <p:nvPr/>
          </p:nvSpPr>
          <p:spPr>
            <a:xfrm>
              <a:off x="10474395" y="5719981"/>
              <a:ext cx="399962" cy="266406"/>
            </a:xfrm>
            <a:custGeom>
              <a:avLst/>
              <a:gdLst>
                <a:gd name="connsiteX0" fmla="*/ 383551 w 399962"/>
                <a:gd name="connsiteY0" fmla="*/ 266407 h 266406"/>
                <a:gd name="connsiteX1" fmla="*/ 16376 w 399962"/>
                <a:gd name="connsiteY1" fmla="*/ 266407 h 266406"/>
                <a:gd name="connsiteX2" fmla="*/ 0 w 399962"/>
                <a:gd name="connsiteY2" fmla="*/ 250032 h 266406"/>
                <a:gd name="connsiteX3" fmla="*/ 0 w 399962"/>
                <a:gd name="connsiteY3" fmla="*/ 16375 h 266406"/>
                <a:gd name="connsiteX4" fmla="*/ 16376 w 399962"/>
                <a:gd name="connsiteY4" fmla="*/ 0 h 266406"/>
                <a:gd name="connsiteX5" fmla="*/ 383551 w 399962"/>
                <a:gd name="connsiteY5" fmla="*/ 0 h 266406"/>
                <a:gd name="connsiteX6" fmla="*/ 399925 w 399962"/>
                <a:gd name="connsiteY6" fmla="*/ 16375 h 266406"/>
                <a:gd name="connsiteX7" fmla="*/ 399925 w 399962"/>
                <a:gd name="connsiteY7" fmla="*/ 250032 h 266406"/>
                <a:gd name="connsiteX8" fmla="*/ 383551 w 399962"/>
                <a:gd name="connsiteY8" fmla="*/ 266407 h 266406"/>
                <a:gd name="connsiteX9" fmla="*/ 383551 w 399962"/>
                <a:gd name="connsiteY9" fmla="*/ 266407 h 266406"/>
                <a:gd name="connsiteX10" fmla="*/ 33380 w 399962"/>
                <a:gd name="connsiteY10" fmla="*/ 233027 h 266406"/>
                <a:gd name="connsiteX11" fmla="*/ 367176 w 399962"/>
                <a:gd name="connsiteY11" fmla="*/ 233027 h 266406"/>
                <a:gd name="connsiteX12" fmla="*/ 367176 w 399962"/>
                <a:gd name="connsiteY12" fmla="*/ 32750 h 266406"/>
                <a:gd name="connsiteX13" fmla="*/ 33380 w 399962"/>
                <a:gd name="connsiteY13" fmla="*/ 32750 h 266406"/>
                <a:gd name="connsiteX14" fmla="*/ 33380 w 399962"/>
                <a:gd name="connsiteY14" fmla="*/ 233027 h 266406"/>
                <a:gd name="connsiteX15" fmla="*/ 33380 w 399962"/>
                <a:gd name="connsiteY15" fmla="*/ 233027 h 266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99962" h="266406">
                  <a:moveTo>
                    <a:pt x="383551" y="266407"/>
                  </a:moveTo>
                  <a:lnTo>
                    <a:pt x="16376" y="266407"/>
                  </a:lnTo>
                  <a:cubicBezTo>
                    <a:pt x="6928" y="266407"/>
                    <a:pt x="0" y="258850"/>
                    <a:pt x="0" y="250032"/>
                  </a:cubicBezTo>
                  <a:lnTo>
                    <a:pt x="0" y="16375"/>
                  </a:lnTo>
                  <a:cubicBezTo>
                    <a:pt x="0" y="6928"/>
                    <a:pt x="7558" y="0"/>
                    <a:pt x="16376" y="0"/>
                  </a:cubicBezTo>
                  <a:lnTo>
                    <a:pt x="383551" y="0"/>
                  </a:lnTo>
                  <a:cubicBezTo>
                    <a:pt x="392998" y="0"/>
                    <a:pt x="399925" y="7558"/>
                    <a:pt x="399925" y="16375"/>
                  </a:cubicBezTo>
                  <a:lnTo>
                    <a:pt x="399925" y="250032"/>
                  </a:lnTo>
                  <a:cubicBezTo>
                    <a:pt x="400556" y="259479"/>
                    <a:pt x="392998" y="266407"/>
                    <a:pt x="383551" y="266407"/>
                  </a:cubicBezTo>
                  <a:lnTo>
                    <a:pt x="383551" y="266407"/>
                  </a:lnTo>
                  <a:close/>
                  <a:moveTo>
                    <a:pt x="33380" y="233027"/>
                  </a:moveTo>
                  <a:lnTo>
                    <a:pt x="367176" y="233027"/>
                  </a:lnTo>
                  <a:lnTo>
                    <a:pt x="367176" y="32750"/>
                  </a:lnTo>
                  <a:lnTo>
                    <a:pt x="33380" y="32750"/>
                  </a:lnTo>
                  <a:lnTo>
                    <a:pt x="33380" y="233027"/>
                  </a:lnTo>
                  <a:lnTo>
                    <a:pt x="33380" y="233027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61" name="Forma Livre: Forma 360">
              <a:extLst>
                <a:ext uri="{FF2B5EF4-FFF2-40B4-BE49-F238E27FC236}">
                  <a16:creationId xmlns:a16="http://schemas.microsoft.com/office/drawing/2014/main" id="{58E9859D-C061-4878-AEA5-41F0080DCD70}"/>
                </a:ext>
              </a:extLst>
            </p:cNvPr>
            <p:cNvSpPr/>
            <p:nvPr/>
          </p:nvSpPr>
          <p:spPr>
            <a:xfrm>
              <a:off x="10515963" y="5761548"/>
              <a:ext cx="316790" cy="183272"/>
            </a:xfrm>
            <a:custGeom>
              <a:avLst/>
              <a:gdLst>
                <a:gd name="connsiteX0" fmla="*/ 308604 w 316790"/>
                <a:gd name="connsiteY0" fmla="*/ 183273 h 183272"/>
                <a:gd name="connsiteX1" fmla="*/ 8187 w 316790"/>
                <a:gd name="connsiteY1" fmla="*/ 183273 h 183272"/>
                <a:gd name="connsiteX2" fmla="*/ 0 w 316790"/>
                <a:gd name="connsiteY2" fmla="*/ 175085 h 183272"/>
                <a:gd name="connsiteX3" fmla="*/ 0 w 316790"/>
                <a:gd name="connsiteY3" fmla="*/ 8187 h 183272"/>
                <a:gd name="connsiteX4" fmla="*/ 8187 w 316790"/>
                <a:gd name="connsiteY4" fmla="*/ 0 h 183272"/>
                <a:gd name="connsiteX5" fmla="*/ 308604 w 316790"/>
                <a:gd name="connsiteY5" fmla="*/ 0 h 183272"/>
                <a:gd name="connsiteX6" fmla="*/ 316791 w 316790"/>
                <a:gd name="connsiteY6" fmla="*/ 8187 h 183272"/>
                <a:gd name="connsiteX7" fmla="*/ 316791 w 316790"/>
                <a:gd name="connsiteY7" fmla="*/ 175085 h 183272"/>
                <a:gd name="connsiteX8" fmla="*/ 308604 w 316790"/>
                <a:gd name="connsiteY8" fmla="*/ 183273 h 183272"/>
                <a:gd name="connsiteX9" fmla="*/ 308604 w 316790"/>
                <a:gd name="connsiteY9" fmla="*/ 183273 h 183272"/>
                <a:gd name="connsiteX10" fmla="*/ 16375 w 316790"/>
                <a:gd name="connsiteY10" fmla="*/ 166898 h 183272"/>
                <a:gd name="connsiteX11" fmla="*/ 299786 w 316790"/>
                <a:gd name="connsiteY11" fmla="*/ 166898 h 183272"/>
                <a:gd name="connsiteX12" fmla="*/ 299786 w 316790"/>
                <a:gd name="connsiteY12" fmla="*/ 16375 h 183272"/>
                <a:gd name="connsiteX13" fmla="*/ 16375 w 316790"/>
                <a:gd name="connsiteY13" fmla="*/ 16375 h 183272"/>
                <a:gd name="connsiteX14" fmla="*/ 16375 w 316790"/>
                <a:gd name="connsiteY14" fmla="*/ 166898 h 183272"/>
                <a:gd name="connsiteX15" fmla="*/ 16375 w 316790"/>
                <a:gd name="connsiteY15" fmla="*/ 166898 h 183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16790" h="183272">
                  <a:moveTo>
                    <a:pt x="308604" y="183273"/>
                  </a:moveTo>
                  <a:lnTo>
                    <a:pt x="8187" y="183273"/>
                  </a:lnTo>
                  <a:cubicBezTo>
                    <a:pt x="3779" y="183273"/>
                    <a:pt x="0" y="179494"/>
                    <a:pt x="0" y="175085"/>
                  </a:cubicBezTo>
                  <a:lnTo>
                    <a:pt x="0" y="8187"/>
                  </a:lnTo>
                  <a:cubicBezTo>
                    <a:pt x="0" y="3779"/>
                    <a:pt x="3779" y="0"/>
                    <a:pt x="8187" y="0"/>
                  </a:cubicBezTo>
                  <a:lnTo>
                    <a:pt x="308604" y="0"/>
                  </a:lnTo>
                  <a:cubicBezTo>
                    <a:pt x="313012" y="0"/>
                    <a:pt x="316791" y="3779"/>
                    <a:pt x="316791" y="8187"/>
                  </a:cubicBezTo>
                  <a:lnTo>
                    <a:pt x="316791" y="175085"/>
                  </a:lnTo>
                  <a:cubicBezTo>
                    <a:pt x="316791" y="179494"/>
                    <a:pt x="313012" y="183273"/>
                    <a:pt x="308604" y="183273"/>
                  </a:cubicBezTo>
                  <a:lnTo>
                    <a:pt x="308604" y="183273"/>
                  </a:lnTo>
                  <a:close/>
                  <a:moveTo>
                    <a:pt x="16375" y="166898"/>
                  </a:moveTo>
                  <a:lnTo>
                    <a:pt x="299786" y="166898"/>
                  </a:lnTo>
                  <a:lnTo>
                    <a:pt x="299786" y="16375"/>
                  </a:lnTo>
                  <a:lnTo>
                    <a:pt x="16375" y="16375"/>
                  </a:lnTo>
                  <a:lnTo>
                    <a:pt x="16375" y="166898"/>
                  </a:lnTo>
                  <a:lnTo>
                    <a:pt x="16375" y="166898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62" name="Forma Livre: Forma 361">
              <a:extLst>
                <a:ext uri="{FF2B5EF4-FFF2-40B4-BE49-F238E27FC236}">
                  <a16:creationId xmlns:a16="http://schemas.microsoft.com/office/drawing/2014/main" id="{4BF8E60B-453C-4855-B63A-7339F77DFB13}"/>
                </a:ext>
              </a:extLst>
            </p:cNvPr>
            <p:cNvSpPr/>
            <p:nvPr/>
          </p:nvSpPr>
          <p:spPr>
            <a:xfrm>
              <a:off x="10425900" y="6002763"/>
              <a:ext cx="496952" cy="32749"/>
            </a:xfrm>
            <a:custGeom>
              <a:avLst/>
              <a:gdLst>
                <a:gd name="connsiteX0" fmla="*/ 480541 w 496952"/>
                <a:gd name="connsiteY0" fmla="*/ 32750 h 32749"/>
                <a:gd name="connsiteX1" fmla="*/ 16375 w 496952"/>
                <a:gd name="connsiteY1" fmla="*/ 32750 h 32749"/>
                <a:gd name="connsiteX2" fmla="*/ 0 w 496952"/>
                <a:gd name="connsiteY2" fmla="*/ 16375 h 32749"/>
                <a:gd name="connsiteX3" fmla="*/ 16375 w 496952"/>
                <a:gd name="connsiteY3" fmla="*/ 0 h 32749"/>
                <a:gd name="connsiteX4" fmla="*/ 480541 w 496952"/>
                <a:gd name="connsiteY4" fmla="*/ 0 h 32749"/>
                <a:gd name="connsiteX5" fmla="*/ 496915 w 496952"/>
                <a:gd name="connsiteY5" fmla="*/ 16375 h 32749"/>
                <a:gd name="connsiteX6" fmla="*/ 480541 w 496952"/>
                <a:gd name="connsiteY6" fmla="*/ 32750 h 32749"/>
                <a:gd name="connsiteX7" fmla="*/ 480541 w 496952"/>
                <a:gd name="connsiteY7" fmla="*/ 32750 h 32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6952" h="32749">
                  <a:moveTo>
                    <a:pt x="480541" y="32750"/>
                  </a:moveTo>
                  <a:lnTo>
                    <a:pt x="16375" y="32750"/>
                  </a:lnTo>
                  <a:cubicBezTo>
                    <a:pt x="6928" y="32750"/>
                    <a:pt x="0" y="25192"/>
                    <a:pt x="0" y="16375"/>
                  </a:cubicBezTo>
                  <a:cubicBezTo>
                    <a:pt x="0" y="6928"/>
                    <a:pt x="7557" y="0"/>
                    <a:pt x="16375" y="0"/>
                  </a:cubicBezTo>
                  <a:lnTo>
                    <a:pt x="480541" y="0"/>
                  </a:lnTo>
                  <a:cubicBezTo>
                    <a:pt x="489988" y="0"/>
                    <a:pt x="496915" y="7558"/>
                    <a:pt x="496915" y="16375"/>
                  </a:cubicBezTo>
                  <a:cubicBezTo>
                    <a:pt x="497545" y="25192"/>
                    <a:pt x="489988" y="32750"/>
                    <a:pt x="480541" y="32750"/>
                  </a:cubicBezTo>
                  <a:lnTo>
                    <a:pt x="480541" y="32750"/>
                  </a:lnTo>
                  <a:close/>
                </a:path>
              </a:pathLst>
            </a:custGeom>
            <a:grpFill/>
            <a:ln w="6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</p:spTree>
    <p:extLst>
      <p:ext uri="{BB962C8B-B14F-4D97-AF65-F5344CB8AC3E}">
        <p14:creationId xmlns:p14="http://schemas.microsoft.com/office/powerpoint/2010/main" val="2031980028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vre: Forma 4">
            <a:extLst>
              <a:ext uri="{FF2B5EF4-FFF2-40B4-BE49-F238E27FC236}">
                <a16:creationId xmlns:a16="http://schemas.microsoft.com/office/drawing/2014/main" id="{392560FD-D9DD-46FA-88A1-38500CE37B15}"/>
              </a:ext>
            </a:extLst>
          </p:cNvPr>
          <p:cNvSpPr/>
          <p:nvPr/>
        </p:nvSpPr>
        <p:spPr>
          <a:xfrm>
            <a:off x="2363858" y="3631893"/>
            <a:ext cx="354004" cy="354004"/>
          </a:xfrm>
          <a:custGeom>
            <a:avLst/>
            <a:gdLst>
              <a:gd name="connsiteX0" fmla="*/ 177002 w 354004"/>
              <a:gd name="connsiteY0" fmla="*/ 354004 h 354004"/>
              <a:gd name="connsiteX1" fmla="*/ 0 w 354004"/>
              <a:gd name="connsiteY1" fmla="*/ 177002 h 354004"/>
              <a:gd name="connsiteX2" fmla="*/ 177002 w 354004"/>
              <a:gd name="connsiteY2" fmla="*/ 0 h 354004"/>
              <a:gd name="connsiteX3" fmla="*/ 354004 w 354004"/>
              <a:gd name="connsiteY3" fmla="*/ 177002 h 354004"/>
              <a:gd name="connsiteX4" fmla="*/ 177002 w 354004"/>
              <a:gd name="connsiteY4" fmla="*/ 354004 h 354004"/>
              <a:gd name="connsiteX5" fmla="*/ 177002 w 354004"/>
              <a:gd name="connsiteY5" fmla="*/ 354004 h 354004"/>
              <a:gd name="connsiteX6" fmla="*/ 177002 w 354004"/>
              <a:gd name="connsiteY6" fmla="*/ 33774 h 354004"/>
              <a:gd name="connsiteX7" fmla="*/ 33149 w 354004"/>
              <a:gd name="connsiteY7" fmla="*/ 177628 h 354004"/>
              <a:gd name="connsiteX8" fmla="*/ 177002 w 354004"/>
              <a:gd name="connsiteY8" fmla="*/ 321481 h 354004"/>
              <a:gd name="connsiteX9" fmla="*/ 320855 w 354004"/>
              <a:gd name="connsiteY9" fmla="*/ 177628 h 354004"/>
              <a:gd name="connsiteX10" fmla="*/ 177002 w 354004"/>
              <a:gd name="connsiteY10" fmla="*/ 33774 h 354004"/>
              <a:gd name="connsiteX11" fmla="*/ 177002 w 354004"/>
              <a:gd name="connsiteY11" fmla="*/ 33774 h 3540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54004" h="354004">
                <a:moveTo>
                  <a:pt x="177002" y="354004"/>
                </a:moveTo>
                <a:cubicBezTo>
                  <a:pt x="79432" y="354004"/>
                  <a:pt x="0" y="274572"/>
                  <a:pt x="0" y="177002"/>
                </a:cubicBezTo>
                <a:cubicBezTo>
                  <a:pt x="0" y="79432"/>
                  <a:pt x="79432" y="0"/>
                  <a:pt x="177002" y="0"/>
                </a:cubicBezTo>
                <a:cubicBezTo>
                  <a:pt x="274572" y="0"/>
                  <a:pt x="354004" y="79432"/>
                  <a:pt x="354004" y="177002"/>
                </a:cubicBezTo>
                <a:cubicBezTo>
                  <a:pt x="354004" y="275198"/>
                  <a:pt x="274572" y="354004"/>
                  <a:pt x="177002" y="354004"/>
                </a:cubicBezTo>
                <a:lnTo>
                  <a:pt x="177002" y="354004"/>
                </a:lnTo>
                <a:close/>
                <a:moveTo>
                  <a:pt x="177002" y="33774"/>
                </a:moveTo>
                <a:cubicBezTo>
                  <a:pt x="97570" y="33774"/>
                  <a:pt x="33149" y="98196"/>
                  <a:pt x="33149" y="177628"/>
                </a:cubicBezTo>
                <a:cubicBezTo>
                  <a:pt x="33149" y="257060"/>
                  <a:pt x="97570" y="321481"/>
                  <a:pt x="177002" y="321481"/>
                </a:cubicBezTo>
                <a:cubicBezTo>
                  <a:pt x="256434" y="321481"/>
                  <a:pt x="320855" y="257060"/>
                  <a:pt x="320855" y="177628"/>
                </a:cubicBezTo>
                <a:cubicBezTo>
                  <a:pt x="320855" y="98196"/>
                  <a:pt x="256434" y="33774"/>
                  <a:pt x="177002" y="33774"/>
                </a:cubicBezTo>
                <a:lnTo>
                  <a:pt x="177002" y="33774"/>
                </a:lnTo>
                <a:close/>
              </a:path>
            </a:pathLst>
          </a:custGeom>
          <a:solidFill>
            <a:srgbClr val="B1B1A1"/>
          </a:solidFill>
          <a:ln w="6251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grpSp>
        <p:nvGrpSpPr>
          <p:cNvPr id="6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1331867" y="3625638"/>
            <a:ext cx="370891" cy="367138"/>
            <a:chOff x="1319530" y="3625638"/>
            <a:chExt cx="370891" cy="367138"/>
          </a:xfrm>
          <a:solidFill>
            <a:srgbClr val="B1B1A1"/>
          </a:solidFill>
        </p:grpSpPr>
        <p:sp>
          <p:nvSpPr>
            <p:cNvPr id="7" name="Forma Livre: Forma 6">
              <a:extLst>
                <a:ext uri="{FF2B5EF4-FFF2-40B4-BE49-F238E27FC236}">
                  <a16:creationId xmlns:a16="http://schemas.microsoft.com/office/drawing/2014/main" id="{8641B877-B4F7-4A94-B6A0-54482530E7A5}"/>
                </a:ext>
              </a:extLst>
            </p:cNvPr>
            <p:cNvSpPr/>
            <p:nvPr/>
          </p:nvSpPr>
          <p:spPr>
            <a:xfrm>
              <a:off x="1319530" y="3631267"/>
              <a:ext cx="317728" cy="355880"/>
            </a:xfrm>
            <a:custGeom>
              <a:avLst/>
              <a:gdLst>
                <a:gd name="connsiteX0" fmla="*/ 33149 w 317728"/>
                <a:gd name="connsiteY0" fmla="*/ 355881 h 355880"/>
                <a:gd name="connsiteX1" fmla="*/ 0 w 317728"/>
                <a:gd name="connsiteY1" fmla="*/ 317728 h 355880"/>
                <a:gd name="connsiteX2" fmla="*/ 0 w 317728"/>
                <a:gd name="connsiteY2" fmla="*/ 38152 h 355880"/>
                <a:gd name="connsiteX3" fmla="*/ 33149 w 317728"/>
                <a:gd name="connsiteY3" fmla="*/ 0 h 355880"/>
                <a:gd name="connsiteX4" fmla="*/ 55040 w 317728"/>
                <a:gd name="connsiteY4" fmla="*/ 6254 h 355880"/>
                <a:gd name="connsiteX5" fmla="*/ 297088 w 317728"/>
                <a:gd name="connsiteY5" fmla="*/ 146355 h 355880"/>
                <a:gd name="connsiteX6" fmla="*/ 317728 w 317728"/>
                <a:gd name="connsiteY6" fmla="*/ 178253 h 355880"/>
                <a:gd name="connsiteX7" fmla="*/ 297088 w 317728"/>
                <a:gd name="connsiteY7" fmla="*/ 210151 h 355880"/>
                <a:gd name="connsiteX8" fmla="*/ 55040 w 317728"/>
                <a:gd name="connsiteY8" fmla="*/ 350252 h 355880"/>
                <a:gd name="connsiteX9" fmla="*/ 33149 w 317728"/>
                <a:gd name="connsiteY9" fmla="*/ 355881 h 355880"/>
                <a:gd name="connsiteX10" fmla="*/ 33149 w 317728"/>
                <a:gd name="connsiteY10" fmla="*/ 355881 h 355880"/>
                <a:gd name="connsiteX11" fmla="*/ 33774 w 317728"/>
                <a:gd name="connsiteY11" fmla="*/ 33774 h 355880"/>
                <a:gd name="connsiteX12" fmla="*/ 33149 w 317728"/>
                <a:gd name="connsiteY12" fmla="*/ 38152 h 355880"/>
                <a:gd name="connsiteX13" fmla="*/ 33149 w 317728"/>
                <a:gd name="connsiteY13" fmla="*/ 317728 h 355880"/>
                <a:gd name="connsiteX14" fmla="*/ 33774 w 317728"/>
                <a:gd name="connsiteY14" fmla="*/ 322107 h 355880"/>
                <a:gd name="connsiteX15" fmla="*/ 38152 w 317728"/>
                <a:gd name="connsiteY15" fmla="*/ 320230 h 355880"/>
                <a:gd name="connsiteX16" fmla="*/ 280201 w 317728"/>
                <a:gd name="connsiteY16" fmla="*/ 180130 h 355880"/>
                <a:gd name="connsiteX17" fmla="*/ 283954 w 317728"/>
                <a:gd name="connsiteY17" fmla="*/ 177002 h 355880"/>
                <a:gd name="connsiteX18" fmla="*/ 280201 w 317728"/>
                <a:gd name="connsiteY18" fmla="*/ 174500 h 355880"/>
                <a:gd name="connsiteX19" fmla="*/ 38152 w 317728"/>
                <a:gd name="connsiteY19" fmla="*/ 35651 h 355880"/>
                <a:gd name="connsiteX20" fmla="*/ 33774 w 317728"/>
                <a:gd name="connsiteY20" fmla="*/ 33774 h 355880"/>
                <a:gd name="connsiteX21" fmla="*/ 33774 w 317728"/>
                <a:gd name="connsiteY21" fmla="*/ 33774 h 355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17728" h="355880">
                  <a:moveTo>
                    <a:pt x="33149" y="355881"/>
                  </a:moveTo>
                  <a:cubicBezTo>
                    <a:pt x="13760" y="355881"/>
                    <a:pt x="0" y="340244"/>
                    <a:pt x="0" y="317728"/>
                  </a:cubicBezTo>
                  <a:lnTo>
                    <a:pt x="0" y="38152"/>
                  </a:lnTo>
                  <a:cubicBezTo>
                    <a:pt x="0" y="15636"/>
                    <a:pt x="13760" y="0"/>
                    <a:pt x="33149" y="0"/>
                  </a:cubicBezTo>
                  <a:cubicBezTo>
                    <a:pt x="40029" y="0"/>
                    <a:pt x="47534" y="1876"/>
                    <a:pt x="55040" y="6254"/>
                  </a:cubicBezTo>
                  <a:lnTo>
                    <a:pt x="297088" y="146355"/>
                  </a:lnTo>
                  <a:cubicBezTo>
                    <a:pt x="310223" y="153861"/>
                    <a:pt x="317728" y="165119"/>
                    <a:pt x="317728" y="178253"/>
                  </a:cubicBezTo>
                  <a:cubicBezTo>
                    <a:pt x="317728" y="190762"/>
                    <a:pt x="310223" y="202020"/>
                    <a:pt x="297088" y="210151"/>
                  </a:cubicBezTo>
                  <a:lnTo>
                    <a:pt x="55040" y="350252"/>
                  </a:lnTo>
                  <a:cubicBezTo>
                    <a:pt x="47534" y="353379"/>
                    <a:pt x="40654" y="355881"/>
                    <a:pt x="33149" y="355881"/>
                  </a:cubicBezTo>
                  <a:lnTo>
                    <a:pt x="33149" y="355881"/>
                  </a:lnTo>
                  <a:close/>
                  <a:moveTo>
                    <a:pt x="33774" y="33774"/>
                  </a:moveTo>
                  <a:cubicBezTo>
                    <a:pt x="33774" y="34400"/>
                    <a:pt x="33149" y="35651"/>
                    <a:pt x="33149" y="38152"/>
                  </a:cubicBezTo>
                  <a:lnTo>
                    <a:pt x="33149" y="317728"/>
                  </a:lnTo>
                  <a:cubicBezTo>
                    <a:pt x="33149" y="320230"/>
                    <a:pt x="33774" y="321481"/>
                    <a:pt x="33774" y="322107"/>
                  </a:cubicBezTo>
                  <a:cubicBezTo>
                    <a:pt x="34400" y="322107"/>
                    <a:pt x="35651" y="321481"/>
                    <a:pt x="38152" y="320230"/>
                  </a:cubicBezTo>
                  <a:lnTo>
                    <a:pt x="280201" y="180130"/>
                  </a:lnTo>
                  <a:cubicBezTo>
                    <a:pt x="282078" y="178879"/>
                    <a:pt x="283329" y="177628"/>
                    <a:pt x="283954" y="177002"/>
                  </a:cubicBezTo>
                  <a:cubicBezTo>
                    <a:pt x="283329" y="177002"/>
                    <a:pt x="282703" y="175751"/>
                    <a:pt x="280201" y="174500"/>
                  </a:cubicBezTo>
                  <a:lnTo>
                    <a:pt x="38152" y="35651"/>
                  </a:lnTo>
                  <a:cubicBezTo>
                    <a:pt x="36276" y="34400"/>
                    <a:pt x="34400" y="33774"/>
                    <a:pt x="33774" y="33774"/>
                  </a:cubicBezTo>
                  <a:lnTo>
                    <a:pt x="33774" y="33774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8" name="Forma Livre: Forma 7">
              <a:extLst>
                <a:ext uri="{FF2B5EF4-FFF2-40B4-BE49-F238E27FC236}">
                  <a16:creationId xmlns:a16="http://schemas.microsoft.com/office/drawing/2014/main" id="{10E44AE5-1E51-454D-BEDC-2556C0C294B6}"/>
                </a:ext>
              </a:extLst>
            </p:cNvPr>
            <p:cNvSpPr/>
            <p:nvPr/>
          </p:nvSpPr>
          <p:spPr>
            <a:xfrm>
              <a:off x="1656647" y="3625638"/>
              <a:ext cx="33774" cy="367138"/>
            </a:xfrm>
            <a:custGeom>
              <a:avLst/>
              <a:gdLst>
                <a:gd name="connsiteX0" fmla="*/ 16887 w 33774"/>
                <a:gd name="connsiteY0" fmla="*/ 367139 h 367138"/>
                <a:gd name="connsiteX1" fmla="*/ 0 w 33774"/>
                <a:gd name="connsiteY1" fmla="*/ 350252 h 367138"/>
                <a:gd name="connsiteX2" fmla="*/ 0 w 33774"/>
                <a:gd name="connsiteY2" fmla="*/ 16887 h 367138"/>
                <a:gd name="connsiteX3" fmla="*/ 16887 w 33774"/>
                <a:gd name="connsiteY3" fmla="*/ 0 h 367138"/>
                <a:gd name="connsiteX4" fmla="*/ 33774 w 33774"/>
                <a:gd name="connsiteY4" fmla="*/ 16887 h 367138"/>
                <a:gd name="connsiteX5" fmla="*/ 33774 w 33774"/>
                <a:gd name="connsiteY5" fmla="*/ 350252 h 367138"/>
                <a:gd name="connsiteX6" fmla="*/ 16887 w 33774"/>
                <a:gd name="connsiteY6" fmla="*/ 367139 h 367138"/>
                <a:gd name="connsiteX7" fmla="*/ 16887 w 33774"/>
                <a:gd name="connsiteY7" fmla="*/ 367139 h 367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774" h="367138">
                  <a:moveTo>
                    <a:pt x="16887" y="367139"/>
                  </a:moveTo>
                  <a:cubicBezTo>
                    <a:pt x="7505" y="367139"/>
                    <a:pt x="0" y="359633"/>
                    <a:pt x="0" y="350252"/>
                  </a:cubicBezTo>
                  <a:lnTo>
                    <a:pt x="0" y="16887"/>
                  </a:lnTo>
                  <a:cubicBezTo>
                    <a:pt x="0" y="7505"/>
                    <a:pt x="7505" y="0"/>
                    <a:pt x="16887" y="0"/>
                  </a:cubicBezTo>
                  <a:cubicBezTo>
                    <a:pt x="26269" y="0"/>
                    <a:pt x="33774" y="7505"/>
                    <a:pt x="33774" y="16887"/>
                  </a:cubicBezTo>
                  <a:lnTo>
                    <a:pt x="33774" y="350252"/>
                  </a:lnTo>
                  <a:cubicBezTo>
                    <a:pt x="33774" y="359633"/>
                    <a:pt x="26269" y="367139"/>
                    <a:pt x="16887" y="367139"/>
                  </a:cubicBezTo>
                  <a:lnTo>
                    <a:pt x="16887" y="367139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9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2347596" y="4644495"/>
            <a:ext cx="387153" cy="391531"/>
            <a:chOff x="2335259" y="4644495"/>
            <a:chExt cx="387153" cy="391531"/>
          </a:xfrm>
          <a:solidFill>
            <a:srgbClr val="B1B1A1"/>
          </a:solidFill>
        </p:grpSpPr>
        <p:sp>
          <p:nvSpPr>
            <p:cNvPr id="10" name="Forma Livre: Forma 9">
              <a:extLst>
                <a:ext uri="{FF2B5EF4-FFF2-40B4-BE49-F238E27FC236}">
                  <a16:creationId xmlns:a16="http://schemas.microsoft.com/office/drawing/2014/main" id="{E6D8A1E0-E60C-479B-808B-FA925CAB90AE}"/>
                </a:ext>
              </a:extLst>
            </p:cNvPr>
            <p:cNvSpPr/>
            <p:nvPr/>
          </p:nvSpPr>
          <p:spPr>
            <a:xfrm>
              <a:off x="2502254" y="4745818"/>
              <a:ext cx="145729" cy="146355"/>
            </a:xfrm>
            <a:custGeom>
              <a:avLst/>
              <a:gdLst>
                <a:gd name="connsiteX0" fmla="*/ 63796 w 145729"/>
                <a:gd name="connsiteY0" fmla="*/ 0 h 146355"/>
                <a:gd name="connsiteX1" fmla="*/ 49411 w 145729"/>
                <a:gd name="connsiteY1" fmla="*/ 50036 h 146355"/>
                <a:gd name="connsiteX2" fmla="*/ 0 w 145729"/>
                <a:gd name="connsiteY2" fmla="*/ 65672 h 146355"/>
                <a:gd name="connsiteX3" fmla="*/ 42531 w 145729"/>
                <a:gd name="connsiteY3" fmla="*/ 95068 h 146355"/>
                <a:gd name="connsiteX4" fmla="*/ 42531 w 145729"/>
                <a:gd name="connsiteY4" fmla="*/ 146355 h 146355"/>
                <a:gd name="connsiteX5" fmla="*/ 83185 w 145729"/>
                <a:gd name="connsiteY5" fmla="*/ 115083 h 146355"/>
                <a:gd name="connsiteX6" fmla="*/ 132595 w 145729"/>
                <a:gd name="connsiteY6" fmla="*/ 131344 h 146355"/>
                <a:gd name="connsiteX7" fmla="*/ 115708 w 145729"/>
                <a:gd name="connsiteY7" fmla="*/ 82559 h 146355"/>
                <a:gd name="connsiteX8" fmla="*/ 145730 w 145729"/>
                <a:gd name="connsiteY8" fmla="*/ 40654 h 146355"/>
                <a:gd name="connsiteX9" fmla="*/ 94443 w 145729"/>
                <a:gd name="connsiteY9" fmla="*/ 41905 h 146355"/>
                <a:gd name="connsiteX10" fmla="*/ 63796 w 145729"/>
                <a:gd name="connsiteY10" fmla="*/ 0 h 146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5729" h="146355">
                  <a:moveTo>
                    <a:pt x="63796" y="0"/>
                  </a:moveTo>
                  <a:lnTo>
                    <a:pt x="49411" y="50036"/>
                  </a:lnTo>
                  <a:lnTo>
                    <a:pt x="0" y="65672"/>
                  </a:lnTo>
                  <a:lnTo>
                    <a:pt x="42531" y="95068"/>
                  </a:lnTo>
                  <a:lnTo>
                    <a:pt x="42531" y="146355"/>
                  </a:lnTo>
                  <a:lnTo>
                    <a:pt x="83185" y="115083"/>
                  </a:lnTo>
                  <a:lnTo>
                    <a:pt x="132595" y="131344"/>
                  </a:lnTo>
                  <a:lnTo>
                    <a:pt x="115708" y="82559"/>
                  </a:lnTo>
                  <a:lnTo>
                    <a:pt x="145730" y="40654"/>
                  </a:lnTo>
                  <a:lnTo>
                    <a:pt x="94443" y="41905"/>
                  </a:lnTo>
                  <a:lnTo>
                    <a:pt x="63796" y="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1" name="Forma Livre: Forma 10">
              <a:extLst>
                <a:ext uri="{FF2B5EF4-FFF2-40B4-BE49-F238E27FC236}">
                  <a16:creationId xmlns:a16="http://schemas.microsoft.com/office/drawing/2014/main" id="{DFA3A363-497F-46E8-91D6-80670649787A}"/>
                </a:ext>
              </a:extLst>
            </p:cNvPr>
            <p:cNvSpPr/>
            <p:nvPr/>
          </p:nvSpPr>
          <p:spPr>
            <a:xfrm>
              <a:off x="2612959" y="4666386"/>
              <a:ext cx="80057" cy="83809"/>
            </a:xfrm>
            <a:custGeom>
              <a:avLst/>
              <a:gdLst>
                <a:gd name="connsiteX0" fmla="*/ 50661 w 80057"/>
                <a:gd name="connsiteY0" fmla="*/ 0 h 83809"/>
                <a:gd name="connsiteX1" fmla="*/ 30021 w 80057"/>
                <a:gd name="connsiteY1" fmla="*/ 20640 h 83809"/>
                <a:gd name="connsiteX2" fmla="*/ 1251 w 80057"/>
                <a:gd name="connsiteY2" fmla="*/ 15636 h 83809"/>
                <a:gd name="connsiteX3" fmla="*/ 14385 w 80057"/>
                <a:gd name="connsiteY3" fmla="*/ 41280 h 83809"/>
                <a:gd name="connsiteX4" fmla="*/ 0 w 80057"/>
                <a:gd name="connsiteY4" fmla="*/ 66923 h 83809"/>
                <a:gd name="connsiteX5" fmla="*/ 29396 w 80057"/>
                <a:gd name="connsiteY5" fmla="*/ 62545 h 83809"/>
                <a:gd name="connsiteX6" fmla="*/ 49410 w 80057"/>
                <a:gd name="connsiteY6" fmla="*/ 83810 h 83809"/>
                <a:gd name="connsiteX7" fmla="*/ 53789 w 80057"/>
                <a:gd name="connsiteY7" fmla="*/ 55039 h 83809"/>
                <a:gd name="connsiteX8" fmla="*/ 80057 w 80057"/>
                <a:gd name="connsiteY8" fmla="*/ 42530 h 83809"/>
                <a:gd name="connsiteX9" fmla="*/ 54414 w 80057"/>
                <a:gd name="connsiteY9" fmla="*/ 29396 h 83809"/>
                <a:gd name="connsiteX10" fmla="*/ 50661 w 80057"/>
                <a:gd name="connsiteY10" fmla="*/ 0 h 83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0057" h="83809">
                  <a:moveTo>
                    <a:pt x="50661" y="0"/>
                  </a:moveTo>
                  <a:lnTo>
                    <a:pt x="30021" y="20640"/>
                  </a:lnTo>
                  <a:lnTo>
                    <a:pt x="1251" y="15636"/>
                  </a:lnTo>
                  <a:lnTo>
                    <a:pt x="14385" y="41280"/>
                  </a:lnTo>
                  <a:lnTo>
                    <a:pt x="0" y="66923"/>
                  </a:lnTo>
                  <a:lnTo>
                    <a:pt x="29396" y="62545"/>
                  </a:lnTo>
                  <a:lnTo>
                    <a:pt x="49410" y="83810"/>
                  </a:lnTo>
                  <a:lnTo>
                    <a:pt x="53789" y="55039"/>
                  </a:lnTo>
                  <a:lnTo>
                    <a:pt x="80057" y="42530"/>
                  </a:lnTo>
                  <a:lnTo>
                    <a:pt x="54414" y="29396"/>
                  </a:lnTo>
                  <a:lnTo>
                    <a:pt x="50661" y="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2" name="Forma Livre: Forma 11">
              <a:extLst>
                <a:ext uri="{FF2B5EF4-FFF2-40B4-BE49-F238E27FC236}">
                  <a16:creationId xmlns:a16="http://schemas.microsoft.com/office/drawing/2014/main" id="{A254265D-2557-4251-94F6-0F59E534E1B1}"/>
                </a:ext>
              </a:extLst>
            </p:cNvPr>
            <p:cNvSpPr/>
            <p:nvPr/>
          </p:nvSpPr>
          <p:spPr>
            <a:xfrm>
              <a:off x="2674253" y="4815868"/>
              <a:ext cx="48159" cy="50035"/>
            </a:xfrm>
            <a:custGeom>
              <a:avLst/>
              <a:gdLst>
                <a:gd name="connsiteX0" fmla="*/ 30022 w 48159"/>
                <a:gd name="connsiteY0" fmla="*/ 0 h 50035"/>
                <a:gd name="connsiteX1" fmla="*/ 18138 w 48159"/>
                <a:gd name="connsiteY1" fmla="*/ 12509 h 50035"/>
                <a:gd name="connsiteX2" fmla="*/ 625 w 48159"/>
                <a:gd name="connsiteY2" fmla="*/ 8756 h 50035"/>
                <a:gd name="connsiteX3" fmla="*/ 8756 w 48159"/>
                <a:gd name="connsiteY3" fmla="*/ 24393 h 50035"/>
                <a:gd name="connsiteX4" fmla="*/ 0 w 48159"/>
                <a:gd name="connsiteY4" fmla="*/ 40029 h 50035"/>
                <a:gd name="connsiteX5" fmla="*/ 17513 w 48159"/>
                <a:gd name="connsiteY5" fmla="*/ 37527 h 50035"/>
                <a:gd name="connsiteX6" fmla="*/ 29396 w 48159"/>
                <a:gd name="connsiteY6" fmla="*/ 50036 h 50035"/>
                <a:gd name="connsiteX7" fmla="*/ 32523 w 48159"/>
                <a:gd name="connsiteY7" fmla="*/ 32523 h 50035"/>
                <a:gd name="connsiteX8" fmla="*/ 48160 w 48159"/>
                <a:gd name="connsiteY8" fmla="*/ 25018 h 50035"/>
                <a:gd name="connsiteX9" fmla="*/ 32523 w 48159"/>
                <a:gd name="connsiteY9" fmla="*/ 17513 h 50035"/>
                <a:gd name="connsiteX10" fmla="*/ 30022 w 48159"/>
                <a:gd name="connsiteY10" fmla="*/ 0 h 50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159" h="50035">
                  <a:moveTo>
                    <a:pt x="30022" y="0"/>
                  </a:moveTo>
                  <a:lnTo>
                    <a:pt x="18138" y="12509"/>
                  </a:lnTo>
                  <a:lnTo>
                    <a:pt x="625" y="8756"/>
                  </a:lnTo>
                  <a:lnTo>
                    <a:pt x="8756" y="24393"/>
                  </a:lnTo>
                  <a:lnTo>
                    <a:pt x="0" y="40029"/>
                  </a:lnTo>
                  <a:lnTo>
                    <a:pt x="17513" y="37527"/>
                  </a:lnTo>
                  <a:lnTo>
                    <a:pt x="29396" y="50036"/>
                  </a:lnTo>
                  <a:lnTo>
                    <a:pt x="32523" y="32523"/>
                  </a:lnTo>
                  <a:lnTo>
                    <a:pt x="48160" y="25018"/>
                  </a:lnTo>
                  <a:lnTo>
                    <a:pt x="32523" y="17513"/>
                  </a:lnTo>
                  <a:lnTo>
                    <a:pt x="30022" y="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3" name="Forma Livre: Forma 12">
              <a:extLst>
                <a:ext uri="{FF2B5EF4-FFF2-40B4-BE49-F238E27FC236}">
                  <a16:creationId xmlns:a16="http://schemas.microsoft.com/office/drawing/2014/main" id="{6AFE298C-1E78-4E00-8395-7362B25B82F5}"/>
                </a:ext>
              </a:extLst>
            </p:cNvPr>
            <p:cNvSpPr/>
            <p:nvPr/>
          </p:nvSpPr>
          <p:spPr>
            <a:xfrm>
              <a:off x="2489120" y="4703287"/>
              <a:ext cx="56915" cy="54414"/>
            </a:xfrm>
            <a:custGeom>
              <a:avLst/>
              <a:gdLst>
                <a:gd name="connsiteX0" fmla="*/ 27520 w 56915"/>
                <a:gd name="connsiteY0" fmla="*/ 0 h 54414"/>
                <a:gd name="connsiteX1" fmla="*/ 19389 w 56915"/>
                <a:gd name="connsiteY1" fmla="*/ 18138 h 54414"/>
                <a:gd name="connsiteX2" fmla="*/ 0 w 56915"/>
                <a:gd name="connsiteY2" fmla="*/ 21891 h 54414"/>
                <a:gd name="connsiteX3" fmla="*/ 14385 w 56915"/>
                <a:gd name="connsiteY3" fmla="*/ 35025 h 54414"/>
                <a:gd name="connsiteX4" fmla="*/ 11883 w 56915"/>
                <a:gd name="connsiteY4" fmla="*/ 54414 h 54414"/>
                <a:gd name="connsiteX5" fmla="*/ 29396 w 56915"/>
                <a:gd name="connsiteY5" fmla="*/ 44407 h 54414"/>
                <a:gd name="connsiteX6" fmla="*/ 46909 w 56915"/>
                <a:gd name="connsiteY6" fmla="*/ 53163 h 54414"/>
                <a:gd name="connsiteX7" fmla="*/ 43156 w 56915"/>
                <a:gd name="connsiteY7" fmla="*/ 33774 h 54414"/>
                <a:gd name="connsiteX8" fmla="*/ 56916 w 56915"/>
                <a:gd name="connsiteY8" fmla="*/ 19389 h 54414"/>
                <a:gd name="connsiteX9" fmla="*/ 36901 w 56915"/>
                <a:gd name="connsiteY9" fmla="*/ 17513 h 54414"/>
                <a:gd name="connsiteX10" fmla="*/ 27520 w 56915"/>
                <a:gd name="connsiteY10" fmla="*/ 0 h 54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6915" h="54414">
                  <a:moveTo>
                    <a:pt x="27520" y="0"/>
                  </a:moveTo>
                  <a:lnTo>
                    <a:pt x="19389" y="18138"/>
                  </a:lnTo>
                  <a:lnTo>
                    <a:pt x="0" y="21891"/>
                  </a:lnTo>
                  <a:lnTo>
                    <a:pt x="14385" y="35025"/>
                  </a:lnTo>
                  <a:lnTo>
                    <a:pt x="11883" y="54414"/>
                  </a:lnTo>
                  <a:lnTo>
                    <a:pt x="29396" y="44407"/>
                  </a:lnTo>
                  <a:lnTo>
                    <a:pt x="46909" y="53163"/>
                  </a:lnTo>
                  <a:lnTo>
                    <a:pt x="43156" y="33774"/>
                  </a:lnTo>
                  <a:lnTo>
                    <a:pt x="56916" y="19389"/>
                  </a:lnTo>
                  <a:lnTo>
                    <a:pt x="36901" y="17513"/>
                  </a:lnTo>
                  <a:lnTo>
                    <a:pt x="27520" y="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4" name="Forma Livre: Forma 13">
              <a:extLst>
                <a:ext uri="{FF2B5EF4-FFF2-40B4-BE49-F238E27FC236}">
                  <a16:creationId xmlns:a16="http://schemas.microsoft.com/office/drawing/2014/main" id="{FF9CD696-11EB-4A77-9798-AE0AF9FA5A7E}"/>
                </a:ext>
              </a:extLst>
            </p:cNvPr>
            <p:cNvSpPr/>
            <p:nvPr/>
          </p:nvSpPr>
          <p:spPr>
            <a:xfrm>
              <a:off x="2335259" y="4644495"/>
              <a:ext cx="352753" cy="391531"/>
            </a:xfrm>
            <a:custGeom>
              <a:avLst/>
              <a:gdLst>
                <a:gd name="connsiteX0" fmla="*/ 90690 w 352753"/>
                <a:gd name="connsiteY0" fmla="*/ 68799 h 391531"/>
                <a:gd name="connsiteX1" fmla="*/ 84436 w 352753"/>
                <a:gd name="connsiteY1" fmla="*/ 121337 h 391531"/>
                <a:gd name="connsiteX2" fmla="*/ 258936 w 352753"/>
                <a:gd name="connsiteY2" fmla="*/ 345248 h 391531"/>
                <a:gd name="connsiteX3" fmla="*/ 197017 w 352753"/>
                <a:gd name="connsiteY3" fmla="*/ 357131 h 391531"/>
                <a:gd name="connsiteX4" fmla="*/ 33149 w 352753"/>
                <a:gd name="connsiteY4" fmla="*/ 193264 h 391531"/>
                <a:gd name="connsiteX5" fmla="*/ 90690 w 352753"/>
                <a:gd name="connsiteY5" fmla="*/ 68799 h 391531"/>
                <a:gd name="connsiteX6" fmla="*/ 160115 w 352753"/>
                <a:gd name="connsiteY6" fmla="*/ 0 h 391531"/>
                <a:gd name="connsiteX7" fmla="*/ 0 w 352753"/>
                <a:gd name="connsiteY7" fmla="*/ 193889 h 391531"/>
                <a:gd name="connsiteX8" fmla="*/ 197642 w 352753"/>
                <a:gd name="connsiteY8" fmla="*/ 391531 h 391531"/>
                <a:gd name="connsiteX9" fmla="*/ 352753 w 352753"/>
                <a:gd name="connsiteY9" fmla="*/ 315852 h 391531"/>
                <a:gd name="connsiteX10" fmla="*/ 315852 w 352753"/>
                <a:gd name="connsiteY10" fmla="*/ 319604 h 391531"/>
                <a:gd name="connsiteX11" fmla="*/ 118210 w 352753"/>
                <a:gd name="connsiteY11" fmla="*/ 121963 h 391531"/>
                <a:gd name="connsiteX12" fmla="*/ 160115 w 352753"/>
                <a:gd name="connsiteY12" fmla="*/ 0 h 391531"/>
                <a:gd name="connsiteX13" fmla="*/ 160115 w 352753"/>
                <a:gd name="connsiteY13" fmla="*/ 0 h 391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52753" h="391531">
                  <a:moveTo>
                    <a:pt x="90690" y="68799"/>
                  </a:moveTo>
                  <a:cubicBezTo>
                    <a:pt x="86938" y="85686"/>
                    <a:pt x="84436" y="103824"/>
                    <a:pt x="84436" y="121337"/>
                  </a:cubicBezTo>
                  <a:cubicBezTo>
                    <a:pt x="84436" y="229540"/>
                    <a:pt x="158864" y="320230"/>
                    <a:pt x="258936" y="345248"/>
                  </a:cubicBezTo>
                  <a:cubicBezTo>
                    <a:pt x="239547" y="353379"/>
                    <a:pt x="218907" y="357131"/>
                    <a:pt x="197017" y="357131"/>
                  </a:cubicBezTo>
                  <a:cubicBezTo>
                    <a:pt x="106326" y="357131"/>
                    <a:pt x="33149" y="283328"/>
                    <a:pt x="33149" y="193264"/>
                  </a:cubicBezTo>
                  <a:cubicBezTo>
                    <a:pt x="33149" y="144479"/>
                    <a:pt x="55040" y="99446"/>
                    <a:pt x="90690" y="68799"/>
                  </a:cubicBezTo>
                  <a:moveTo>
                    <a:pt x="160115" y="0"/>
                  </a:moveTo>
                  <a:cubicBezTo>
                    <a:pt x="68799" y="17513"/>
                    <a:pt x="0" y="97570"/>
                    <a:pt x="0" y="193889"/>
                  </a:cubicBezTo>
                  <a:cubicBezTo>
                    <a:pt x="0" y="302717"/>
                    <a:pt x="88188" y="391531"/>
                    <a:pt x="197642" y="391531"/>
                  </a:cubicBezTo>
                  <a:cubicBezTo>
                    <a:pt x="260812" y="391531"/>
                    <a:pt x="316477" y="362135"/>
                    <a:pt x="352753" y="315852"/>
                  </a:cubicBezTo>
                  <a:cubicBezTo>
                    <a:pt x="340870" y="318353"/>
                    <a:pt x="328361" y="319604"/>
                    <a:pt x="315852" y="319604"/>
                  </a:cubicBezTo>
                  <a:cubicBezTo>
                    <a:pt x="207024" y="319604"/>
                    <a:pt x="118210" y="231416"/>
                    <a:pt x="118210" y="121963"/>
                  </a:cubicBezTo>
                  <a:cubicBezTo>
                    <a:pt x="118210" y="75679"/>
                    <a:pt x="133846" y="33149"/>
                    <a:pt x="160115" y="0"/>
                  </a:cubicBezTo>
                  <a:lnTo>
                    <a:pt x="160115" y="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5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3312039" y="4657004"/>
            <a:ext cx="481595" cy="382149"/>
            <a:chOff x="3299702" y="4657004"/>
            <a:chExt cx="481595" cy="382149"/>
          </a:xfrm>
          <a:solidFill>
            <a:srgbClr val="B1B1A1"/>
          </a:solidFill>
        </p:grpSpPr>
        <p:sp>
          <p:nvSpPr>
            <p:cNvPr id="16" name="Forma Livre: Forma 15">
              <a:extLst>
                <a:ext uri="{FF2B5EF4-FFF2-40B4-BE49-F238E27FC236}">
                  <a16:creationId xmlns:a16="http://schemas.microsoft.com/office/drawing/2014/main" id="{332364C5-BB34-402C-B324-92609649F392}"/>
                </a:ext>
              </a:extLst>
            </p:cNvPr>
            <p:cNvSpPr/>
            <p:nvPr/>
          </p:nvSpPr>
          <p:spPr>
            <a:xfrm>
              <a:off x="3464820" y="4672641"/>
              <a:ext cx="67548" cy="70675"/>
            </a:xfrm>
            <a:custGeom>
              <a:avLst/>
              <a:gdLst>
                <a:gd name="connsiteX0" fmla="*/ 42531 w 67548"/>
                <a:gd name="connsiteY0" fmla="*/ 0 h 70675"/>
                <a:gd name="connsiteX1" fmla="*/ 25018 w 67548"/>
                <a:gd name="connsiteY1" fmla="*/ 17513 h 70675"/>
                <a:gd name="connsiteX2" fmla="*/ 625 w 67548"/>
                <a:gd name="connsiteY2" fmla="*/ 13134 h 70675"/>
                <a:gd name="connsiteX3" fmla="*/ 11884 w 67548"/>
                <a:gd name="connsiteY3" fmla="*/ 35025 h 70675"/>
                <a:gd name="connsiteX4" fmla="*/ 0 w 67548"/>
                <a:gd name="connsiteY4" fmla="*/ 56916 h 70675"/>
                <a:gd name="connsiteX5" fmla="*/ 24393 w 67548"/>
                <a:gd name="connsiteY5" fmla="*/ 53163 h 70675"/>
                <a:gd name="connsiteX6" fmla="*/ 41280 w 67548"/>
                <a:gd name="connsiteY6" fmla="*/ 70676 h 70675"/>
                <a:gd name="connsiteX7" fmla="*/ 45032 w 67548"/>
                <a:gd name="connsiteY7" fmla="*/ 46283 h 70675"/>
                <a:gd name="connsiteX8" fmla="*/ 67549 w 67548"/>
                <a:gd name="connsiteY8" fmla="*/ 36276 h 70675"/>
                <a:gd name="connsiteX9" fmla="*/ 45658 w 67548"/>
                <a:gd name="connsiteY9" fmla="*/ 25018 h 70675"/>
                <a:gd name="connsiteX10" fmla="*/ 42531 w 67548"/>
                <a:gd name="connsiteY10" fmla="*/ 0 h 70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7548" h="70675">
                  <a:moveTo>
                    <a:pt x="42531" y="0"/>
                  </a:moveTo>
                  <a:lnTo>
                    <a:pt x="25018" y="17513"/>
                  </a:lnTo>
                  <a:lnTo>
                    <a:pt x="625" y="13134"/>
                  </a:lnTo>
                  <a:lnTo>
                    <a:pt x="11884" y="35025"/>
                  </a:lnTo>
                  <a:lnTo>
                    <a:pt x="0" y="56916"/>
                  </a:lnTo>
                  <a:lnTo>
                    <a:pt x="24393" y="53163"/>
                  </a:lnTo>
                  <a:lnTo>
                    <a:pt x="41280" y="70676"/>
                  </a:lnTo>
                  <a:lnTo>
                    <a:pt x="45032" y="46283"/>
                  </a:lnTo>
                  <a:lnTo>
                    <a:pt x="67549" y="36276"/>
                  </a:lnTo>
                  <a:lnTo>
                    <a:pt x="45658" y="25018"/>
                  </a:lnTo>
                  <a:lnTo>
                    <a:pt x="42531" y="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7" name="Forma Livre: Forma 16">
              <a:extLst>
                <a:ext uri="{FF2B5EF4-FFF2-40B4-BE49-F238E27FC236}">
                  <a16:creationId xmlns:a16="http://schemas.microsoft.com/office/drawing/2014/main" id="{2D35BEDD-3AE5-4E5D-A9A5-6A75C4185B35}"/>
                </a:ext>
              </a:extLst>
            </p:cNvPr>
            <p:cNvSpPr/>
            <p:nvPr/>
          </p:nvSpPr>
          <p:spPr>
            <a:xfrm>
              <a:off x="3364749" y="4743316"/>
              <a:ext cx="40654" cy="42530"/>
            </a:xfrm>
            <a:custGeom>
              <a:avLst/>
              <a:gdLst>
                <a:gd name="connsiteX0" fmla="*/ 25643 w 40654"/>
                <a:gd name="connsiteY0" fmla="*/ 0 h 42530"/>
                <a:gd name="connsiteX1" fmla="*/ 15011 w 40654"/>
                <a:gd name="connsiteY1" fmla="*/ 10633 h 42530"/>
                <a:gd name="connsiteX2" fmla="*/ 625 w 40654"/>
                <a:gd name="connsiteY2" fmla="*/ 8131 h 42530"/>
                <a:gd name="connsiteX3" fmla="*/ 7505 w 40654"/>
                <a:gd name="connsiteY3" fmla="*/ 21265 h 42530"/>
                <a:gd name="connsiteX4" fmla="*/ 0 w 40654"/>
                <a:gd name="connsiteY4" fmla="*/ 33774 h 42530"/>
                <a:gd name="connsiteX5" fmla="*/ 15011 w 40654"/>
                <a:gd name="connsiteY5" fmla="*/ 31898 h 42530"/>
                <a:gd name="connsiteX6" fmla="*/ 25018 w 40654"/>
                <a:gd name="connsiteY6" fmla="*/ 42530 h 42530"/>
                <a:gd name="connsiteX7" fmla="*/ 27520 w 40654"/>
                <a:gd name="connsiteY7" fmla="*/ 28145 h 42530"/>
                <a:gd name="connsiteX8" fmla="*/ 40654 w 40654"/>
                <a:gd name="connsiteY8" fmla="*/ 21265 h 42530"/>
                <a:gd name="connsiteX9" fmla="*/ 27520 w 40654"/>
                <a:gd name="connsiteY9" fmla="*/ 15011 h 42530"/>
                <a:gd name="connsiteX10" fmla="*/ 25643 w 40654"/>
                <a:gd name="connsiteY10" fmla="*/ 0 h 42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0654" h="42530">
                  <a:moveTo>
                    <a:pt x="25643" y="0"/>
                  </a:moveTo>
                  <a:lnTo>
                    <a:pt x="15011" y="10633"/>
                  </a:lnTo>
                  <a:lnTo>
                    <a:pt x="625" y="8131"/>
                  </a:lnTo>
                  <a:lnTo>
                    <a:pt x="7505" y="21265"/>
                  </a:lnTo>
                  <a:lnTo>
                    <a:pt x="0" y="33774"/>
                  </a:lnTo>
                  <a:lnTo>
                    <a:pt x="15011" y="31898"/>
                  </a:lnTo>
                  <a:lnTo>
                    <a:pt x="25018" y="42530"/>
                  </a:lnTo>
                  <a:lnTo>
                    <a:pt x="27520" y="28145"/>
                  </a:lnTo>
                  <a:lnTo>
                    <a:pt x="40654" y="21265"/>
                  </a:lnTo>
                  <a:lnTo>
                    <a:pt x="27520" y="15011"/>
                  </a:lnTo>
                  <a:lnTo>
                    <a:pt x="25643" y="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8" name="Forma Livre: Forma 17">
              <a:extLst>
                <a:ext uri="{FF2B5EF4-FFF2-40B4-BE49-F238E27FC236}">
                  <a16:creationId xmlns:a16="http://schemas.microsoft.com/office/drawing/2014/main" id="{4CD56E41-E15E-41E5-9273-7A87760AF4C9}"/>
                </a:ext>
              </a:extLst>
            </p:cNvPr>
            <p:cNvSpPr/>
            <p:nvPr/>
          </p:nvSpPr>
          <p:spPr>
            <a:xfrm>
              <a:off x="3653081" y="4727680"/>
              <a:ext cx="47534" cy="46283"/>
            </a:xfrm>
            <a:custGeom>
              <a:avLst/>
              <a:gdLst>
                <a:gd name="connsiteX0" fmla="*/ 23142 w 47534"/>
                <a:gd name="connsiteY0" fmla="*/ 0 h 46283"/>
                <a:gd name="connsiteX1" fmla="*/ 16262 w 47534"/>
                <a:gd name="connsiteY1" fmla="*/ 15636 h 46283"/>
                <a:gd name="connsiteX2" fmla="*/ 0 w 47534"/>
                <a:gd name="connsiteY2" fmla="*/ 18138 h 46283"/>
                <a:gd name="connsiteX3" fmla="*/ 11883 w 47534"/>
                <a:gd name="connsiteY3" fmla="*/ 29396 h 46283"/>
                <a:gd name="connsiteX4" fmla="*/ 10007 w 47534"/>
                <a:gd name="connsiteY4" fmla="*/ 46283 h 46283"/>
                <a:gd name="connsiteX5" fmla="*/ 24392 w 47534"/>
                <a:gd name="connsiteY5" fmla="*/ 38152 h 46283"/>
                <a:gd name="connsiteX6" fmla="*/ 39403 w 47534"/>
                <a:gd name="connsiteY6" fmla="*/ 45032 h 46283"/>
                <a:gd name="connsiteX7" fmla="*/ 36276 w 47534"/>
                <a:gd name="connsiteY7" fmla="*/ 28771 h 46283"/>
                <a:gd name="connsiteX8" fmla="*/ 47534 w 47534"/>
                <a:gd name="connsiteY8" fmla="*/ 16887 h 46283"/>
                <a:gd name="connsiteX9" fmla="*/ 31272 w 47534"/>
                <a:gd name="connsiteY9" fmla="*/ 15011 h 46283"/>
                <a:gd name="connsiteX10" fmla="*/ 23142 w 47534"/>
                <a:gd name="connsiteY10" fmla="*/ 0 h 46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7534" h="46283">
                  <a:moveTo>
                    <a:pt x="23142" y="0"/>
                  </a:moveTo>
                  <a:lnTo>
                    <a:pt x="16262" y="15636"/>
                  </a:lnTo>
                  <a:lnTo>
                    <a:pt x="0" y="18138"/>
                  </a:lnTo>
                  <a:lnTo>
                    <a:pt x="11883" y="29396"/>
                  </a:lnTo>
                  <a:lnTo>
                    <a:pt x="10007" y="46283"/>
                  </a:lnTo>
                  <a:lnTo>
                    <a:pt x="24392" y="38152"/>
                  </a:lnTo>
                  <a:lnTo>
                    <a:pt x="39403" y="45032"/>
                  </a:lnTo>
                  <a:lnTo>
                    <a:pt x="36276" y="28771"/>
                  </a:lnTo>
                  <a:lnTo>
                    <a:pt x="47534" y="16887"/>
                  </a:lnTo>
                  <a:lnTo>
                    <a:pt x="31272" y="15011"/>
                  </a:lnTo>
                  <a:lnTo>
                    <a:pt x="23142" y="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9" name="Forma Livre: Forma 18">
              <a:extLst>
                <a:ext uri="{FF2B5EF4-FFF2-40B4-BE49-F238E27FC236}">
                  <a16:creationId xmlns:a16="http://schemas.microsoft.com/office/drawing/2014/main" id="{F4A970EE-0599-4582-B04E-AEE33E44B0F9}"/>
                </a:ext>
              </a:extLst>
            </p:cNvPr>
            <p:cNvSpPr/>
            <p:nvPr/>
          </p:nvSpPr>
          <p:spPr>
            <a:xfrm>
              <a:off x="3539874" y="4657004"/>
              <a:ext cx="241423" cy="265190"/>
            </a:xfrm>
            <a:custGeom>
              <a:avLst/>
              <a:gdLst>
                <a:gd name="connsiteX0" fmla="*/ 109454 w 241423"/>
                <a:gd name="connsiteY0" fmla="*/ 0 h 265190"/>
                <a:gd name="connsiteX1" fmla="*/ 0 w 241423"/>
                <a:gd name="connsiteY1" fmla="*/ 132595 h 265190"/>
                <a:gd name="connsiteX2" fmla="*/ 625 w 241423"/>
                <a:gd name="connsiteY2" fmla="*/ 146355 h 265190"/>
                <a:gd name="connsiteX3" fmla="*/ 50036 w 241423"/>
                <a:gd name="connsiteY3" fmla="*/ 208900 h 265190"/>
                <a:gd name="connsiteX4" fmla="*/ 77556 w 241423"/>
                <a:gd name="connsiteY4" fmla="*/ 203896 h 265190"/>
                <a:gd name="connsiteX5" fmla="*/ 156362 w 241423"/>
                <a:gd name="connsiteY5" fmla="*/ 265190 h 265190"/>
                <a:gd name="connsiteX6" fmla="*/ 241423 w 241423"/>
                <a:gd name="connsiteY6" fmla="*/ 215780 h 265190"/>
                <a:gd name="connsiteX7" fmla="*/ 215780 w 241423"/>
                <a:gd name="connsiteY7" fmla="*/ 218282 h 265190"/>
                <a:gd name="connsiteX8" fmla="*/ 80683 w 241423"/>
                <a:gd name="connsiteY8" fmla="*/ 83185 h 265190"/>
                <a:gd name="connsiteX9" fmla="*/ 109454 w 241423"/>
                <a:gd name="connsiteY9" fmla="*/ 0 h 265190"/>
                <a:gd name="connsiteX10" fmla="*/ 109454 w 241423"/>
                <a:gd name="connsiteY10" fmla="*/ 0 h 265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1423" h="265190">
                  <a:moveTo>
                    <a:pt x="109454" y="0"/>
                  </a:moveTo>
                  <a:cubicBezTo>
                    <a:pt x="46909" y="11883"/>
                    <a:pt x="0" y="66923"/>
                    <a:pt x="0" y="132595"/>
                  </a:cubicBezTo>
                  <a:cubicBezTo>
                    <a:pt x="0" y="137599"/>
                    <a:pt x="0" y="141977"/>
                    <a:pt x="625" y="146355"/>
                  </a:cubicBezTo>
                  <a:cubicBezTo>
                    <a:pt x="25018" y="158864"/>
                    <a:pt x="43156" y="181380"/>
                    <a:pt x="50036" y="208900"/>
                  </a:cubicBezTo>
                  <a:cubicBezTo>
                    <a:pt x="58792" y="205773"/>
                    <a:pt x="67549" y="203896"/>
                    <a:pt x="77556" y="203896"/>
                  </a:cubicBezTo>
                  <a:cubicBezTo>
                    <a:pt x="115708" y="203896"/>
                    <a:pt x="147606" y="230165"/>
                    <a:pt x="156362" y="265190"/>
                  </a:cubicBezTo>
                  <a:cubicBezTo>
                    <a:pt x="190762" y="259561"/>
                    <a:pt x="220784" y="241423"/>
                    <a:pt x="241423" y="215780"/>
                  </a:cubicBezTo>
                  <a:cubicBezTo>
                    <a:pt x="233293" y="217656"/>
                    <a:pt x="224536" y="218282"/>
                    <a:pt x="215780" y="218282"/>
                  </a:cubicBezTo>
                  <a:cubicBezTo>
                    <a:pt x="141352" y="218282"/>
                    <a:pt x="80683" y="157613"/>
                    <a:pt x="80683" y="83185"/>
                  </a:cubicBezTo>
                  <a:cubicBezTo>
                    <a:pt x="80683" y="51912"/>
                    <a:pt x="91316" y="23141"/>
                    <a:pt x="109454" y="0"/>
                  </a:cubicBezTo>
                  <a:lnTo>
                    <a:pt x="109454" y="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0" name="Forma Livre: Forma 19">
              <a:extLst>
                <a:ext uri="{FF2B5EF4-FFF2-40B4-BE49-F238E27FC236}">
                  <a16:creationId xmlns:a16="http://schemas.microsoft.com/office/drawing/2014/main" id="{1B84243A-29E5-4D87-BE3E-B90D33C04007}"/>
                </a:ext>
              </a:extLst>
            </p:cNvPr>
            <p:cNvSpPr/>
            <p:nvPr/>
          </p:nvSpPr>
          <p:spPr>
            <a:xfrm>
              <a:off x="3299702" y="4774589"/>
              <a:ext cx="414047" cy="264564"/>
            </a:xfrm>
            <a:custGeom>
              <a:avLst/>
              <a:gdLst>
                <a:gd name="connsiteX0" fmla="*/ 320230 w 414047"/>
                <a:gd name="connsiteY0" fmla="*/ 264565 h 264564"/>
                <a:gd name="connsiteX1" fmla="*/ 85061 w 414047"/>
                <a:gd name="connsiteY1" fmla="*/ 264565 h 264564"/>
                <a:gd name="connsiteX2" fmla="*/ 61294 w 414047"/>
                <a:gd name="connsiteY2" fmla="*/ 260812 h 264564"/>
                <a:gd name="connsiteX3" fmla="*/ 0 w 414047"/>
                <a:gd name="connsiteY3" fmla="*/ 178253 h 264564"/>
                <a:gd name="connsiteX4" fmla="*/ 85687 w 414047"/>
                <a:gd name="connsiteY4" fmla="*/ 91941 h 264564"/>
                <a:gd name="connsiteX5" fmla="*/ 195766 w 414047"/>
                <a:gd name="connsiteY5" fmla="*/ 0 h 264564"/>
                <a:gd name="connsiteX6" fmla="*/ 299590 w 414047"/>
                <a:gd name="connsiteY6" fmla="*/ 70050 h 264564"/>
                <a:gd name="connsiteX7" fmla="*/ 315852 w 414047"/>
                <a:gd name="connsiteY7" fmla="*/ 68799 h 264564"/>
                <a:gd name="connsiteX8" fmla="*/ 414047 w 414047"/>
                <a:gd name="connsiteY8" fmla="*/ 166995 h 264564"/>
                <a:gd name="connsiteX9" fmla="*/ 345248 w 414047"/>
                <a:gd name="connsiteY9" fmla="*/ 260812 h 264564"/>
                <a:gd name="connsiteX10" fmla="*/ 320230 w 414047"/>
                <a:gd name="connsiteY10" fmla="*/ 264565 h 264564"/>
                <a:gd name="connsiteX11" fmla="*/ 320230 w 414047"/>
                <a:gd name="connsiteY11" fmla="*/ 264565 h 264564"/>
                <a:gd name="connsiteX12" fmla="*/ 86937 w 414047"/>
                <a:gd name="connsiteY12" fmla="*/ 125090 h 264564"/>
                <a:gd name="connsiteX13" fmla="*/ 33774 w 414047"/>
                <a:gd name="connsiteY13" fmla="*/ 178253 h 264564"/>
                <a:gd name="connsiteX14" fmla="*/ 71301 w 414047"/>
                <a:gd name="connsiteY14" fmla="*/ 228914 h 264564"/>
                <a:gd name="connsiteX15" fmla="*/ 85061 w 414047"/>
                <a:gd name="connsiteY15" fmla="*/ 231416 h 264564"/>
                <a:gd name="connsiteX16" fmla="*/ 320230 w 414047"/>
                <a:gd name="connsiteY16" fmla="*/ 231416 h 264564"/>
                <a:gd name="connsiteX17" fmla="*/ 334615 w 414047"/>
                <a:gd name="connsiteY17" fmla="*/ 228914 h 264564"/>
                <a:gd name="connsiteX18" fmla="*/ 380899 w 414047"/>
                <a:gd name="connsiteY18" fmla="*/ 166995 h 264564"/>
                <a:gd name="connsiteX19" fmla="*/ 315852 w 414047"/>
                <a:gd name="connsiteY19" fmla="*/ 102573 h 264564"/>
                <a:gd name="connsiteX20" fmla="*/ 293961 w 414047"/>
                <a:gd name="connsiteY20" fmla="*/ 106326 h 264564"/>
                <a:gd name="connsiteX21" fmla="*/ 276449 w 414047"/>
                <a:gd name="connsiteY21" fmla="*/ 112581 h 264564"/>
                <a:gd name="connsiteX22" fmla="*/ 272070 w 414047"/>
                <a:gd name="connsiteY22" fmla="*/ 94443 h 264564"/>
                <a:gd name="connsiteX23" fmla="*/ 195766 w 414047"/>
                <a:gd name="connsiteY23" fmla="*/ 33774 h 264564"/>
                <a:gd name="connsiteX24" fmla="*/ 117585 w 414047"/>
                <a:gd name="connsiteY24" fmla="*/ 110705 h 264564"/>
                <a:gd name="connsiteX25" fmla="*/ 116959 w 414047"/>
                <a:gd name="connsiteY25" fmla="*/ 130719 h 264564"/>
                <a:gd name="connsiteX26" fmla="*/ 97570 w 414047"/>
                <a:gd name="connsiteY26" fmla="*/ 126341 h 264564"/>
                <a:gd name="connsiteX27" fmla="*/ 86937 w 414047"/>
                <a:gd name="connsiteY27" fmla="*/ 125090 h 264564"/>
                <a:gd name="connsiteX28" fmla="*/ 86937 w 414047"/>
                <a:gd name="connsiteY28" fmla="*/ 125090 h 264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14047" h="264564">
                  <a:moveTo>
                    <a:pt x="320230" y="264565"/>
                  </a:moveTo>
                  <a:lnTo>
                    <a:pt x="85061" y="264565"/>
                  </a:lnTo>
                  <a:cubicBezTo>
                    <a:pt x="76930" y="264565"/>
                    <a:pt x="68799" y="263314"/>
                    <a:pt x="61294" y="260812"/>
                  </a:cubicBezTo>
                  <a:cubicBezTo>
                    <a:pt x="25643" y="250180"/>
                    <a:pt x="0" y="215780"/>
                    <a:pt x="0" y="178253"/>
                  </a:cubicBezTo>
                  <a:cubicBezTo>
                    <a:pt x="0" y="130719"/>
                    <a:pt x="38152" y="91941"/>
                    <a:pt x="85687" y="91941"/>
                  </a:cubicBezTo>
                  <a:cubicBezTo>
                    <a:pt x="95068" y="40029"/>
                    <a:pt x="141352" y="0"/>
                    <a:pt x="195766" y="0"/>
                  </a:cubicBezTo>
                  <a:cubicBezTo>
                    <a:pt x="242049" y="0"/>
                    <a:pt x="282703" y="28145"/>
                    <a:pt x="299590" y="70050"/>
                  </a:cubicBezTo>
                  <a:cubicBezTo>
                    <a:pt x="305219" y="68799"/>
                    <a:pt x="310223" y="68799"/>
                    <a:pt x="315852" y="68799"/>
                  </a:cubicBezTo>
                  <a:cubicBezTo>
                    <a:pt x="369641" y="68799"/>
                    <a:pt x="414047" y="112581"/>
                    <a:pt x="414047" y="166995"/>
                  </a:cubicBezTo>
                  <a:cubicBezTo>
                    <a:pt x="414047" y="210151"/>
                    <a:pt x="386528" y="247678"/>
                    <a:pt x="345248" y="260812"/>
                  </a:cubicBezTo>
                  <a:cubicBezTo>
                    <a:pt x="337743" y="262689"/>
                    <a:pt x="328986" y="264565"/>
                    <a:pt x="320230" y="264565"/>
                  </a:cubicBezTo>
                  <a:lnTo>
                    <a:pt x="320230" y="264565"/>
                  </a:lnTo>
                  <a:close/>
                  <a:moveTo>
                    <a:pt x="86937" y="125090"/>
                  </a:moveTo>
                  <a:cubicBezTo>
                    <a:pt x="57541" y="125090"/>
                    <a:pt x="33774" y="148857"/>
                    <a:pt x="33774" y="178253"/>
                  </a:cubicBezTo>
                  <a:cubicBezTo>
                    <a:pt x="33774" y="201395"/>
                    <a:pt x="49410" y="222660"/>
                    <a:pt x="71301" y="228914"/>
                  </a:cubicBezTo>
                  <a:cubicBezTo>
                    <a:pt x="76305" y="230165"/>
                    <a:pt x="80683" y="231416"/>
                    <a:pt x="85061" y="231416"/>
                  </a:cubicBezTo>
                  <a:lnTo>
                    <a:pt x="320230" y="231416"/>
                  </a:lnTo>
                  <a:cubicBezTo>
                    <a:pt x="325234" y="231416"/>
                    <a:pt x="330237" y="230791"/>
                    <a:pt x="334615" y="228914"/>
                  </a:cubicBezTo>
                  <a:cubicBezTo>
                    <a:pt x="362761" y="220158"/>
                    <a:pt x="380899" y="195140"/>
                    <a:pt x="380899" y="166995"/>
                  </a:cubicBezTo>
                  <a:cubicBezTo>
                    <a:pt x="380899" y="131344"/>
                    <a:pt x="352128" y="102573"/>
                    <a:pt x="315852" y="102573"/>
                  </a:cubicBezTo>
                  <a:cubicBezTo>
                    <a:pt x="308347" y="102573"/>
                    <a:pt x="301467" y="103824"/>
                    <a:pt x="293961" y="106326"/>
                  </a:cubicBezTo>
                  <a:lnTo>
                    <a:pt x="276449" y="112581"/>
                  </a:lnTo>
                  <a:lnTo>
                    <a:pt x="272070" y="94443"/>
                  </a:lnTo>
                  <a:cubicBezTo>
                    <a:pt x="263940" y="58792"/>
                    <a:pt x="232667" y="33774"/>
                    <a:pt x="195766" y="33774"/>
                  </a:cubicBezTo>
                  <a:cubicBezTo>
                    <a:pt x="153235" y="33774"/>
                    <a:pt x="118210" y="68174"/>
                    <a:pt x="117585" y="110705"/>
                  </a:cubicBezTo>
                  <a:lnTo>
                    <a:pt x="116959" y="130719"/>
                  </a:lnTo>
                  <a:lnTo>
                    <a:pt x="97570" y="126341"/>
                  </a:lnTo>
                  <a:cubicBezTo>
                    <a:pt x="93817" y="125090"/>
                    <a:pt x="90690" y="125090"/>
                    <a:pt x="86937" y="125090"/>
                  </a:cubicBezTo>
                  <a:lnTo>
                    <a:pt x="86937" y="12509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1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1320608" y="4642619"/>
            <a:ext cx="394033" cy="394033"/>
            <a:chOff x="1308271" y="4642619"/>
            <a:chExt cx="394033" cy="394033"/>
          </a:xfrm>
          <a:solidFill>
            <a:srgbClr val="B1B1A1"/>
          </a:solidFill>
        </p:grpSpPr>
        <p:sp>
          <p:nvSpPr>
            <p:cNvPr id="22" name="Forma Livre: Forma 21">
              <a:extLst>
                <a:ext uri="{FF2B5EF4-FFF2-40B4-BE49-F238E27FC236}">
                  <a16:creationId xmlns:a16="http://schemas.microsoft.com/office/drawing/2014/main" id="{34B7929B-F147-4792-862E-C33D4AAC98B0}"/>
                </a:ext>
              </a:extLst>
            </p:cNvPr>
            <p:cNvSpPr/>
            <p:nvPr/>
          </p:nvSpPr>
          <p:spPr>
            <a:xfrm>
              <a:off x="1573462" y="4746444"/>
              <a:ext cx="43809" cy="43781"/>
            </a:xfrm>
            <a:custGeom>
              <a:avLst/>
              <a:gdLst>
                <a:gd name="connsiteX0" fmla="*/ 21891 w 43809"/>
                <a:gd name="connsiteY0" fmla="*/ 16262 h 43781"/>
                <a:gd name="connsiteX1" fmla="*/ 27520 w 43809"/>
                <a:gd name="connsiteY1" fmla="*/ 21891 h 43781"/>
                <a:gd name="connsiteX2" fmla="*/ 21891 w 43809"/>
                <a:gd name="connsiteY2" fmla="*/ 27520 h 43781"/>
                <a:gd name="connsiteX3" fmla="*/ 16262 w 43809"/>
                <a:gd name="connsiteY3" fmla="*/ 21891 h 43781"/>
                <a:gd name="connsiteX4" fmla="*/ 21891 w 43809"/>
                <a:gd name="connsiteY4" fmla="*/ 16262 h 43781"/>
                <a:gd name="connsiteX5" fmla="*/ 21891 w 43809"/>
                <a:gd name="connsiteY5" fmla="*/ 0 h 43781"/>
                <a:gd name="connsiteX6" fmla="*/ 0 w 43809"/>
                <a:gd name="connsiteY6" fmla="*/ 21891 h 43781"/>
                <a:gd name="connsiteX7" fmla="*/ 21891 w 43809"/>
                <a:gd name="connsiteY7" fmla="*/ 43781 h 43781"/>
                <a:gd name="connsiteX8" fmla="*/ 43781 w 43809"/>
                <a:gd name="connsiteY8" fmla="*/ 21891 h 43781"/>
                <a:gd name="connsiteX9" fmla="*/ 21891 w 43809"/>
                <a:gd name="connsiteY9" fmla="*/ 0 h 43781"/>
                <a:gd name="connsiteX10" fmla="*/ 21891 w 43809"/>
                <a:gd name="connsiteY10" fmla="*/ 0 h 43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3809" h="43781">
                  <a:moveTo>
                    <a:pt x="21891" y="16262"/>
                  </a:moveTo>
                  <a:cubicBezTo>
                    <a:pt x="25018" y="16262"/>
                    <a:pt x="27520" y="18763"/>
                    <a:pt x="27520" y="21891"/>
                  </a:cubicBezTo>
                  <a:cubicBezTo>
                    <a:pt x="27520" y="25018"/>
                    <a:pt x="25018" y="27520"/>
                    <a:pt x="21891" y="27520"/>
                  </a:cubicBezTo>
                  <a:cubicBezTo>
                    <a:pt x="18763" y="27520"/>
                    <a:pt x="16262" y="25018"/>
                    <a:pt x="16262" y="21891"/>
                  </a:cubicBezTo>
                  <a:cubicBezTo>
                    <a:pt x="16262" y="18763"/>
                    <a:pt x="18763" y="16262"/>
                    <a:pt x="21891" y="16262"/>
                  </a:cubicBezTo>
                  <a:moveTo>
                    <a:pt x="21891" y="0"/>
                  </a:moveTo>
                  <a:cubicBezTo>
                    <a:pt x="9382" y="0"/>
                    <a:pt x="0" y="10007"/>
                    <a:pt x="0" y="21891"/>
                  </a:cubicBezTo>
                  <a:cubicBezTo>
                    <a:pt x="0" y="34400"/>
                    <a:pt x="10007" y="43781"/>
                    <a:pt x="21891" y="43781"/>
                  </a:cubicBezTo>
                  <a:cubicBezTo>
                    <a:pt x="34400" y="43781"/>
                    <a:pt x="43781" y="33774"/>
                    <a:pt x="43781" y="21891"/>
                  </a:cubicBezTo>
                  <a:cubicBezTo>
                    <a:pt x="44407" y="10007"/>
                    <a:pt x="34400" y="0"/>
                    <a:pt x="21891" y="0"/>
                  </a:cubicBezTo>
                  <a:lnTo>
                    <a:pt x="21891" y="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3" name="Forma Livre: Forma 22">
              <a:extLst>
                <a:ext uri="{FF2B5EF4-FFF2-40B4-BE49-F238E27FC236}">
                  <a16:creationId xmlns:a16="http://schemas.microsoft.com/office/drawing/2014/main" id="{12966C24-5B4B-4785-9B14-347330E62EBB}"/>
                </a:ext>
              </a:extLst>
            </p:cNvPr>
            <p:cNvSpPr/>
            <p:nvPr/>
          </p:nvSpPr>
          <p:spPr>
            <a:xfrm>
              <a:off x="1555949" y="4858399"/>
              <a:ext cx="66297" cy="66297"/>
            </a:xfrm>
            <a:custGeom>
              <a:avLst/>
              <a:gdLst>
                <a:gd name="connsiteX0" fmla="*/ 33149 w 66297"/>
                <a:gd name="connsiteY0" fmla="*/ 16887 h 66297"/>
                <a:gd name="connsiteX1" fmla="*/ 50036 w 66297"/>
                <a:gd name="connsiteY1" fmla="*/ 33149 h 66297"/>
                <a:gd name="connsiteX2" fmla="*/ 33149 w 66297"/>
                <a:gd name="connsiteY2" fmla="*/ 49411 h 66297"/>
                <a:gd name="connsiteX3" fmla="*/ 16887 w 66297"/>
                <a:gd name="connsiteY3" fmla="*/ 33149 h 66297"/>
                <a:gd name="connsiteX4" fmla="*/ 33149 w 66297"/>
                <a:gd name="connsiteY4" fmla="*/ 16887 h 66297"/>
                <a:gd name="connsiteX5" fmla="*/ 33149 w 66297"/>
                <a:gd name="connsiteY5" fmla="*/ 0 h 66297"/>
                <a:gd name="connsiteX6" fmla="*/ 0 w 66297"/>
                <a:gd name="connsiteY6" fmla="*/ 33149 h 66297"/>
                <a:gd name="connsiteX7" fmla="*/ 33149 w 66297"/>
                <a:gd name="connsiteY7" fmla="*/ 66298 h 66297"/>
                <a:gd name="connsiteX8" fmla="*/ 66298 w 66297"/>
                <a:gd name="connsiteY8" fmla="*/ 33149 h 66297"/>
                <a:gd name="connsiteX9" fmla="*/ 33149 w 66297"/>
                <a:gd name="connsiteY9" fmla="*/ 0 h 66297"/>
                <a:gd name="connsiteX10" fmla="*/ 33149 w 66297"/>
                <a:gd name="connsiteY10" fmla="*/ 0 h 66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297" h="66297">
                  <a:moveTo>
                    <a:pt x="33149" y="16887"/>
                  </a:moveTo>
                  <a:cubicBezTo>
                    <a:pt x="42531" y="16887"/>
                    <a:pt x="50036" y="24393"/>
                    <a:pt x="50036" y="33149"/>
                  </a:cubicBezTo>
                  <a:cubicBezTo>
                    <a:pt x="50036" y="42531"/>
                    <a:pt x="42531" y="49411"/>
                    <a:pt x="33149" y="49411"/>
                  </a:cubicBezTo>
                  <a:cubicBezTo>
                    <a:pt x="23767" y="49411"/>
                    <a:pt x="16887" y="41905"/>
                    <a:pt x="16887" y="33149"/>
                  </a:cubicBezTo>
                  <a:cubicBezTo>
                    <a:pt x="16887" y="24393"/>
                    <a:pt x="23767" y="16887"/>
                    <a:pt x="33149" y="16887"/>
                  </a:cubicBezTo>
                  <a:moveTo>
                    <a:pt x="33149" y="0"/>
                  </a:moveTo>
                  <a:cubicBezTo>
                    <a:pt x="15011" y="0"/>
                    <a:pt x="0" y="15011"/>
                    <a:pt x="0" y="33149"/>
                  </a:cubicBezTo>
                  <a:cubicBezTo>
                    <a:pt x="0" y="51287"/>
                    <a:pt x="15011" y="66298"/>
                    <a:pt x="33149" y="66298"/>
                  </a:cubicBezTo>
                  <a:cubicBezTo>
                    <a:pt x="51287" y="66298"/>
                    <a:pt x="66298" y="51287"/>
                    <a:pt x="66298" y="33149"/>
                  </a:cubicBezTo>
                  <a:cubicBezTo>
                    <a:pt x="66298" y="15011"/>
                    <a:pt x="51287" y="0"/>
                    <a:pt x="33149" y="0"/>
                  </a:cubicBezTo>
                  <a:lnTo>
                    <a:pt x="33149" y="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4" name="Forma Livre: Forma 23">
              <a:extLst>
                <a:ext uri="{FF2B5EF4-FFF2-40B4-BE49-F238E27FC236}">
                  <a16:creationId xmlns:a16="http://schemas.microsoft.com/office/drawing/2014/main" id="{FEF8B338-745E-4882-A567-221025A3F770}"/>
                </a:ext>
              </a:extLst>
            </p:cNvPr>
            <p:cNvSpPr/>
            <p:nvPr/>
          </p:nvSpPr>
          <p:spPr>
            <a:xfrm>
              <a:off x="1382074" y="4744567"/>
              <a:ext cx="66297" cy="66297"/>
            </a:xfrm>
            <a:custGeom>
              <a:avLst/>
              <a:gdLst>
                <a:gd name="connsiteX0" fmla="*/ 33149 w 66297"/>
                <a:gd name="connsiteY0" fmla="*/ 16887 h 66297"/>
                <a:gd name="connsiteX1" fmla="*/ 49410 w 66297"/>
                <a:gd name="connsiteY1" fmla="*/ 33774 h 66297"/>
                <a:gd name="connsiteX2" fmla="*/ 33149 w 66297"/>
                <a:gd name="connsiteY2" fmla="*/ 50036 h 66297"/>
                <a:gd name="connsiteX3" fmla="*/ 16262 w 66297"/>
                <a:gd name="connsiteY3" fmla="*/ 33774 h 66297"/>
                <a:gd name="connsiteX4" fmla="*/ 33149 w 66297"/>
                <a:gd name="connsiteY4" fmla="*/ 16887 h 66297"/>
                <a:gd name="connsiteX5" fmla="*/ 33149 w 66297"/>
                <a:gd name="connsiteY5" fmla="*/ 0 h 66297"/>
                <a:gd name="connsiteX6" fmla="*/ 0 w 66297"/>
                <a:gd name="connsiteY6" fmla="*/ 33149 h 66297"/>
                <a:gd name="connsiteX7" fmla="*/ 33149 w 66297"/>
                <a:gd name="connsiteY7" fmla="*/ 66297 h 66297"/>
                <a:gd name="connsiteX8" fmla="*/ 66298 w 66297"/>
                <a:gd name="connsiteY8" fmla="*/ 33149 h 66297"/>
                <a:gd name="connsiteX9" fmla="*/ 33149 w 66297"/>
                <a:gd name="connsiteY9" fmla="*/ 0 h 66297"/>
                <a:gd name="connsiteX10" fmla="*/ 33149 w 66297"/>
                <a:gd name="connsiteY10" fmla="*/ 0 h 66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297" h="66297">
                  <a:moveTo>
                    <a:pt x="33149" y="16887"/>
                  </a:moveTo>
                  <a:cubicBezTo>
                    <a:pt x="42531" y="16887"/>
                    <a:pt x="49410" y="24392"/>
                    <a:pt x="49410" y="33774"/>
                  </a:cubicBezTo>
                  <a:cubicBezTo>
                    <a:pt x="49410" y="43156"/>
                    <a:pt x="41905" y="50036"/>
                    <a:pt x="33149" y="50036"/>
                  </a:cubicBezTo>
                  <a:cubicBezTo>
                    <a:pt x="23767" y="50036"/>
                    <a:pt x="16262" y="42530"/>
                    <a:pt x="16262" y="33774"/>
                  </a:cubicBezTo>
                  <a:cubicBezTo>
                    <a:pt x="16262" y="24392"/>
                    <a:pt x="23767" y="16887"/>
                    <a:pt x="33149" y="16887"/>
                  </a:cubicBezTo>
                  <a:moveTo>
                    <a:pt x="33149" y="0"/>
                  </a:moveTo>
                  <a:cubicBezTo>
                    <a:pt x="15011" y="0"/>
                    <a:pt x="0" y="15011"/>
                    <a:pt x="0" y="33149"/>
                  </a:cubicBezTo>
                  <a:cubicBezTo>
                    <a:pt x="0" y="51287"/>
                    <a:pt x="15011" y="66297"/>
                    <a:pt x="33149" y="66297"/>
                  </a:cubicBezTo>
                  <a:cubicBezTo>
                    <a:pt x="51287" y="66297"/>
                    <a:pt x="66298" y="51287"/>
                    <a:pt x="66298" y="33149"/>
                  </a:cubicBezTo>
                  <a:cubicBezTo>
                    <a:pt x="66298" y="15011"/>
                    <a:pt x="51287" y="0"/>
                    <a:pt x="33149" y="0"/>
                  </a:cubicBezTo>
                  <a:lnTo>
                    <a:pt x="33149" y="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5" name="Forma Livre: Forma 24">
              <a:extLst>
                <a:ext uri="{FF2B5EF4-FFF2-40B4-BE49-F238E27FC236}">
                  <a16:creationId xmlns:a16="http://schemas.microsoft.com/office/drawing/2014/main" id="{84B76F04-E754-462E-B39A-E70B5298A0AC}"/>
                </a:ext>
              </a:extLst>
            </p:cNvPr>
            <p:cNvSpPr/>
            <p:nvPr/>
          </p:nvSpPr>
          <p:spPr>
            <a:xfrm>
              <a:off x="1420227" y="4921569"/>
              <a:ext cx="43781" cy="43781"/>
            </a:xfrm>
            <a:custGeom>
              <a:avLst/>
              <a:gdLst>
                <a:gd name="connsiteX0" fmla="*/ 21891 w 43781"/>
                <a:gd name="connsiteY0" fmla="*/ 16887 h 43781"/>
                <a:gd name="connsiteX1" fmla="*/ 27520 w 43781"/>
                <a:gd name="connsiteY1" fmla="*/ 22516 h 43781"/>
                <a:gd name="connsiteX2" fmla="*/ 21891 w 43781"/>
                <a:gd name="connsiteY2" fmla="*/ 28145 h 43781"/>
                <a:gd name="connsiteX3" fmla="*/ 16262 w 43781"/>
                <a:gd name="connsiteY3" fmla="*/ 22516 h 43781"/>
                <a:gd name="connsiteX4" fmla="*/ 21891 w 43781"/>
                <a:gd name="connsiteY4" fmla="*/ 16887 h 43781"/>
                <a:gd name="connsiteX5" fmla="*/ 21891 w 43781"/>
                <a:gd name="connsiteY5" fmla="*/ 0 h 43781"/>
                <a:gd name="connsiteX6" fmla="*/ 0 w 43781"/>
                <a:gd name="connsiteY6" fmla="*/ 21891 h 43781"/>
                <a:gd name="connsiteX7" fmla="*/ 21891 w 43781"/>
                <a:gd name="connsiteY7" fmla="*/ 43781 h 43781"/>
                <a:gd name="connsiteX8" fmla="*/ 43781 w 43781"/>
                <a:gd name="connsiteY8" fmla="*/ 21891 h 43781"/>
                <a:gd name="connsiteX9" fmla="*/ 21891 w 43781"/>
                <a:gd name="connsiteY9" fmla="*/ 0 h 43781"/>
                <a:gd name="connsiteX10" fmla="*/ 21891 w 43781"/>
                <a:gd name="connsiteY10" fmla="*/ 0 h 43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3781" h="43781">
                  <a:moveTo>
                    <a:pt x="21891" y="16887"/>
                  </a:moveTo>
                  <a:cubicBezTo>
                    <a:pt x="25018" y="16887"/>
                    <a:pt x="27520" y="19389"/>
                    <a:pt x="27520" y="22516"/>
                  </a:cubicBezTo>
                  <a:cubicBezTo>
                    <a:pt x="27520" y="25643"/>
                    <a:pt x="25018" y="28145"/>
                    <a:pt x="21891" y="28145"/>
                  </a:cubicBezTo>
                  <a:cubicBezTo>
                    <a:pt x="18763" y="28145"/>
                    <a:pt x="16262" y="25643"/>
                    <a:pt x="16262" y="22516"/>
                  </a:cubicBezTo>
                  <a:cubicBezTo>
                    <a:pt x="16262" y="19389"/>
                    <a:pt x="18763" y="16887"/>
                    <a:pt x="21891" y="16887"/>
                  </a:cubicBezTo>
                  <a:moveTo>
                    <a:pt x="21891" y="0"/>
                  </a:moveTo>
                  <a:cubicBezTo>
                    <a:pt x="9382" y="0"/>
                    <a:pt x="0" y="10007"/>
                    <a:pt x="0" y="21891"/>
                  </a:cubicBezTo>
                  <a:cubicBezTo>
                    <a:pt x="0" y="34400"/>
                    <a:pt x="10007" y="43781"/>
                    <a:pt x="21891" y="43781"/>
                  </a:cubicBezTo>
                  <a:cubicBezTo>
                    <a:pt x="34400" y="43781"/>
                    <a:pt x="43781" y="33774"/>
                    <a:pt x="43781" y="21891"/>
                  </a:cubicBezTo>
                  <a:cubicBezTo>
                    <a:pt x="43781" y="10007"/>
                    <a:pt x="33774" y="0"/>
                    <a:pt x="21891" y="0"/>
                  </a:cubicBezTo>
                  <a:lnTo>
                    <a:pt x="21891" y="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6" name="Forma Livre: Forma 25">
              <a:extLst>
                <a:ext uri="{FF2B5EF4-FFF2-40B4-BE49-F238E27FC236}">
                  <a16:creationId xmlns:a16="http://schemas.microsoft.com/office/drawing/2014/main" id="{004D636B-07B1-4E22-BB49-C0A836229D2A}"/>
                </a:ext>
              </a:extLst>
            </p:cNvPr>
            <p:cNvSpPr/>
            <p:nvPr/>
          </p:nvSpPr>
          <p:spPr>
            <a:xfrm>
              <a:off x="1532182" y="4980361"/>
              <a:ext cx="31272" cy="31272"/>
            </a:xfrm>
            <a:custGeom>
              <a:avLst/>
              <a:gdLst>
                <a:gd name="connsiteX0" fmla="*/ 15636 w 31272"/>
                <a:gd name="connsiteY0" fmla="*/ 0 h 31272"/>
                <a:gd name="connsiteX1" fmla="*/ 0 w 31272"/>
                <a:gd name="connsiteY1" fmla="*/ 15636 h 31272"/>
                <a:gd name="connsiteX2" fmla="*/ 15636 w 31272"/>
                <a:gd name="connsiteY2" fmla="*/ 31272 h 31272"/>
                <a:gd name="connsiteX3" fmla="*/ 31272 w 31272"/>
                <a:gd name="connsiteY3" fmla="*/ 15636 h 31272"/>
                <a:gd name="connsiteX4" fmla="*/ 15636 w 31272"/>
                <a:gd name="connsiteY4" fmla="*/ 0 h 31272"/>
                <a:gd name="connsiteX5" fmla="*/ 15636 w 31272"/>
                <a:gd name="connsiteY5" fmla="*/ 0 h 31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272" h="31272">
                  <a:moveTo>
                    <a:pt x="15636" y="0"/>
                  </a:moveTo>
                  <a:cubicBezTo>
                    <a:pt x="6880" y="0"/>
                    <a:pt x="0" y="6880"/>
                    <a:pt x="0" y="15636"/>
                  </a:cubicBezTo>
                  <a:cubicBezTo>
                    <a:pt x="0" y="24393"/>
                    <a:pt x="6880" y="31272"/>
                    <a:pt x="15636" y="31272"/>
                  </a:cubicBezTo>
                  <a:cubicBezTo>
                    <a:pt x="24393" y="31272"/>
                    <a:pt x="31272" y="24393"/>
                    <a:pt x="31272" y="15636"/>
                  </a:cubicBezTo>
                  <a:cubicBezTo>
                    <a:pt x="31272" y="6880"/>
                    <a:pt x="24393" y="0"/>
                    <a:pt x="15636" y="0"/>
                  </a:cubicBezTo>
                  <a:lnTo>
                    <a:pt x="15636" y="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7" name="Forma Livre: Forma 26">
              <a:extLst>
                <a:ext uri="{FF2B5EF4-FFF2-40B4-BE49-F238E27FC236}">
                  <a16:creationId xmlns:a16="http://schemas.microsoft.com/office/drawing/2014/main" id="{096A70E3-5538-4262-B00B-2A82422E1D6F}"/>
                </a:ext>
              </a:extLst>
            </p:cNvPr>
            <p:cNvSpPr/>
            <p:nvPr/>
          </p:nvSpPr>
          <p:spPr>
            <a:xfrm>
              <a:off x="1355180" y="4860275"/>
              <a:ext cx="31272" cy="31272"/>
            </a:xfrm>
            <a:custGeom>
              <a:avLst/>
              <a:gdLst>
                <a:gd name="connsiteX0" fmla="*/ 15636 w 31272"/>
                <a:gd name="connsiteY0" fmla="*/ 0 h 31272"/>
                <a:gd name="connsiteX1" fmla="*/ 0 w 31272"/>
                <a:gd name="connsiteY1" fmla="*/ 15636 h 31272"/>
                <a:gd name="connsiteX2" fmla="*/ 15636 w 31272"/>
                <a:gd name="connsiteY2" fmla="*/ 31272 h 31272"/>
                <a:gd name="connsiteX3" fmla="*/ 31272 w 31272"/>
                <a:gd name="connsiteY3" fmla="*/ 15636 h 31272"/>
                <a:gd name="connsiteX4" fmla="*/ 15636 w 31272"/>
                <a:gd name="connsiteY4" fmla="*/ 0 h 31272"/>
                <a:gd name="connsiteX5" fmla="*/ 15636 w 31272"/>
                <a:gd name="connsiteY5" fmla="*/ 0 h 31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272" h="31272">
                  <a:moveTo>
                    <a:pt x="15636" y="0"/>
                  </a:moveTo>
                  <a:cubicBezTo>
                    <a:pt x="6880" y="0"/>
                    <a:pt x="0" y="6880"/>
                    <a:pt x="0" y="15636"/>
                  </a:cubicBezTo>
                  <a:cubicBezTo>
                    <a:pt x="0" y="24392"/>
                    <a:pt x="6880" y="31272"/>
                    <a:pt x="15636" y="31272"/>
                  </a:cubicBezTo>
                  <a:cubicBezTo>
                    <a:pt x="24393" y="31272"/>
                    <a:pt x="31272" y="24392"/>
                    <a:pt x="31272" y="15636"/>
                  </a:cubicBezTo>
                  <a:cubicBezTo>
                    <a:pt x="31272" y="6880"/>
                    <a:pt x="24393" y="0"/>
                    <a:pt x="15636" y="0"/>
                  </a:cubicBezTo>
                  <a:lnTo>
                    <a:pt x="15636" y="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8" name="Forma Livre: Forma 27">
              <a:extLst>
                <a:ext uri="{FF2B5EF4-FFF2-40B4-BE49-F238E27FC236}">
                  <a16:creationId xmlns:a16="http://schemas.microsoft.com/office/drawing/2014/main" id="{6FCF49AC-633E-4CB0-8D62-577F3E3F16DD}"/>
                </a:ext>
              </a:extLst>
            </p:cNvPr>
            <p:cNvSpPr/>
            <p:nvPr/>
          </p:nvSpPr>
          <p:spPr>
            <a:xfrm>
              <a:off x="1455878" y="4850268"/>
              <a:ext cx="38777" cy="38777"/>
            </a:xfrm>
            <a:custGeom>
              <a:avLst/>
              <a:gdLst>
                <a:gd name="connsiteX0" fmla="*/ 19389 w 38777"/>
                <a:gd name="connsiteY0" fmla="*/ 0 h 38777"/>
                <a:gd name="connsiteX1" fmla="*/ 0 w 38777"/>
                <a:gd name="connsiteY1" fmla="*/ 19389 h 38777"/>
                <a:gd name="connsiteX2" fmla="*/ 19389 w 38777"/>
                <a:gd name="connsiteY2" fmla="*/ 38778 h 38777"/>
                <a:gd name="connsiteX3" fmla="*/ 38778 w 38777"/>
                <a:gd name="connsiteY3" fmla="*/ 19389 h 38777"/>
                <a:gd name="connsiteX4" fmla="*/ 19389 w 38777"/>
                <a:gd name="connsiteY4" fmla="*/ 0 h 38777"/>
                <a:gd name="connsiteX5" fmla="*/ 19389 w 38777"/>
                <a:gd name="connsiteY5" fmla="*/ 0 h 38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777" h="38777">
                  <a:moveTo>
                    <a:pt x="19389" y="0"/>
                  </a:moveTo>
                  <a:cubicBezTo>
                    <a:pt x="8756" y="0"/>
                    <a:pt x="0" y="8756"/>
                    <a:pt x="0" y="19389"/>
                  </a:cubicBezTo>
                  <a:cubicBezTo>
                    <a:pt x="0" y="30021"/>
                    <a:pt x="8756" y="38778"/>
                    <a:pt x="19389" y="38778"/>
                  </a:cubicBezTo>
                  <a:cubicBezTo>
                    <a:pt x="30022" y="38778"/>
                    <a:pt x="38778" y="30021"/>
                    <a:pt x="38778" y="19389"/>
                  </a:cubicBezTo>
                  <a:cubicBezTo>
                    <a:pt x="38778" y="8756"/>
                    <a:pt x="30022" y="0"/>
                    <a:pt x="19389" y="0"/>
                  </a:cubicBezTo>
                  <a:lnTo>
                    <a:pt x="19389" y="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9" name="Forma Livre: Forma 28">
              <a:extLst>
                <a:ext uri="{FF2B5EF4-FFF2-40B4-BE49-F238E27FC236}">
                  <a16:creationId xmlns:a16="http://schemas.microsoft.com/office/drawing/2014/main" id="{1E2F3D10-60DB-40C2-90E3-0FF1FA8FDA31}"/>
                </a:ext>
              </a:extLst>
            </p:cNvPr>
            <p:cNvSpPr/>
            <p:nvPr/>
          </p:nvSpPr>
          <p:spPr>
            <a:xfrm>
              <a:off x="1494655" y="4686400"/>
              <a:ext cx="31272" cy="31272"/>
            </a:xfrm>
            <a:custGeom>
              <a:avLst/>
              <a:gdLst>
                <a:gd name="connsiteX0" fmla="*/ 15636 w 31272"/>
                <a:gd name="connsiteY0" fmla="*/ 0 h 31272"/>
                <a:gd name="connsiteX1" fmla="*/ 0 w 31272"/>
                <a:gd name="connsiteY1" fmla="*/ 15636 h 31272"/>
                <a:gd name="connsiteX2" fmla="*/ 15636 w 31272"/>
                <a:gd name="connsiteY2" fmla="*/ 31272 h 31272"/>
                <a:gd name="connsiteX3" fmla="*/ 31272 w 31272"/>
                <a:gd name="connsiteY3" fmla="*/ 15636 h 31272"/>
                <a:gd name="connsiteX4" fmla="*/ 15636 w 31272"/>
                <a:gd name="connsiteY4" fmla="*/ 0 h 31272"/>
                <a:gd name="connsiteX5" fmla="*/ 15636 w 31272"/>
                <a:gd name="connsiteY5" fmla="*/ 0 h 31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272" h="31272">
                  <a:moveTo>
                    <a:pt x="15636" y="0"/>
                  </a:moveTo>
                  <a:cubicBezTo>
                    <a:pt x="6880" y="0"/>
                    <a:pt x="0" y="6880"/>
                    <a:pt x="0" y="15636"/>
                  </a:cubicBezTo>
                  <a:cubicBezTo>
                    <a:pt x="0" y="24393"/>
                    <a:pt x="6880" y="31272"/>
                    <a:pt x="15636" y="31272"/>
                  </a:cubicBezTo>
                  <a:cubicBezTo>
                    <a:pt x="24393" y="31272"/>
                    <a:pt x="31272" y="24393"/>
                    <a:pt x="31272" y="15636"/>
                  </a:cubicBezTo>
                  <a:cubicBezTo>
                    <a:pt x="31272" y="6880"/>
                    <a:pt x="23767" y="0"/>
                    <a:pt x="15636" y="0"/>
                  </a:cubicBezTo>
                  <a:lnTo>
                    <a:pt x="15636" y="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0" name="Forma Livre: Forma 29">
              <a:extLst>
                <a:ext uri="{FF2B5EF4-FFF2-40B4-BE49-F238E27FC236}">
                  <a16:creationId xmlns:a16="http://schemas.microsoft.com/office/drawing/2014/main" id="{7A0DDBCB-E38B-4A53-B808-69C0BCFA793D}"/>
                </a:ext>
              </a:extLst>
            </p:cNvPr>
            <p:cNvSpPr/>
            <p:nvPr/>
          </p:nvSpPr>
          <p:spPr>
            <a:xfrm>
              <a:off x="1308271" y="4642619"/>
              <a:ext cx="394033" cy="394033"/>
            </a:xfrm>
            <a:custGeom>
              <a:avLst/>
              <a:gdLst>
                <a:gd name="connsiteX0" fmla="*/ 197017 w 394033"/>
                <a:gd name="connsiteY0" fmla="*/ 394033 h 394033"/>
                <a:gd name="connsiteX1" fmla="*/ 0 w 394033"/>
                <a:gd name="connsiteY1" fmla="*/ 197017 h 394033"/>
                <a:gd name="connsiteX2" fmla="*/ 197017 w 394033"/>
                <a:gd name="connsiteY2" fmla="*/ 0 h 394033"/>
                <a:gd name="connsiteX3" fmla="*/ 394033 w 394033"/>
                <a:gd name="connsiteY3" fmla="*/ 197017 h 394033"/>
                <a:gd name="connsiteX4" fmla="*/ 197017 w 394033"/>
                <a:gd name="connsiteY4" fmla="*/ 394033 h 394033"/>
                <a:gd name="connsiteX5" fmla="*/ 197017 w 394033"/>
                <a:gd name="connsiteY5" fmla="*/ 394033 h 394033"/>
                <a:gd name="connsiteX6" fmla="*/ 197017 w 394033"/>
                <a:gd name="connsiteY6" fmla="*/ 35025 h 394033"/>
                <a:gd name="connsiteX7" fmla="*/ 35025 w 394033"/>
                <a:gd name="connsiteY7" fmla="*/ 197017 h 394033"/>
                <a:gd name="connsiteX8" fmla="*/ 197017 w 394033"/>
                <a:gd name="connsiteY8" fmla="*/ 359008 h 394033"/>
                <a:gd name="connsiteX9" fmla="*/ 359008 w 394033"/>
                <a:gd name="connsiteY9" fmla="*/ 197017 h 394033"/>
                <a:gd name="connsiteX10" fmla="*/ 197017 w 394033"/>
                <a:gd name="connsiteY10" fmla="*/ 35025 h 394033"/>
                <a:gd name="connsiteX11" fmla="*/ 197017 w 394033"/>
                <a:gd name="connsiteY11" fmla="*/ 35025 h 394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94033" h="394033">
                  <a:moveTo>
                    <a:pt x="197017" y="394033"/>
                  </a:moveTo>
                  <a:cubicBezTo>
                    <a:pt x="88188" y="394033"/>
                    <a:pt x="0" y="305845"/>
                    <a:pt x="0" y="197017"/>
                  </a:cubicBezTo>
                  <a:cubicBezTo>
                    <a:pt x="0" y="88189"/>
                    <a:pt x="88188" y="0"/>
                    <a:pt x="197017" y="0"/>
                  </a:cubicBezTo>
                  <a:cubicBezTo>
                    <a:pt x="305845" y="0"/>
                    <a:pt x="394033" y="88814"/>
                    <a:pt x="394033" y="197017"/>
                  </a:cubicBezTo>
                  <a:cubicBezTo>
                    <a:pt x="394033" y="305220"/>
                    <a:pt x="305219" y="394033"/>
                    <a:pt x="197017" y="394033"/>
                  </a:cubicBezTo>
                  <a:lnTo>
                    <a:pt x="197017" y="394033"/>
                  </a:lnTo>
                  <a:close/>
                  <a:moveTo>
                    <a:pt x="197017" y="35025"/>
                  </a:moveTo>
                  <a:cubicBezTo>
                    <a:pt x="107577" y="35025"/>
                    <a:pt x="35025" y="107577"/>
                    <a:pt x="35025" y="197017"/>
                  </a:cubicBezTo>
                  <a:cubicBezTo>
                    <a:pt x="35025" y="286456"/>
                    <a:pt x="107577" y="359008"/>
                    <a:pt x="197017" y="359008"/>
                  </a:cubicBezTo>
                  <a:cubicBezTo>
                    <a:pt x="286456" y="359008"/>
                    <a:pt x="359008" y="286456"/>
                    <a:pt x="359008" y="197017"/>
                  </a:cubicBezTo>
                  <a:cubicBezTo>
                    <a:pt x="359008" y="107577"/>
                    <a:pt x="285830" y="35025"/>
                    <a:pt x="197017" y="35025"/>
                  </a:cubicBezTo>
                  <a:lnTo>
                    <a:pt x="197017" y="35025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sp>
        <p:nvSpPr>
          <p:cNvPr id="31" name="Forma Livre: Forma 30">
            <a:extLst>
              <a:ext uri="{FF2B5EF4-FFF2-40B4-BE49-F238E27FC236}">
                <a16:creationId xmlns:a16="http://schemas.microsoft.com/office/drawing/2014/main" id="{6430158F-323B-46F9-99E4-3F6CDC649765}"/>
              </a:ext>
            </a:extLst>
          </p:cNvPr>
          <p:cNvSpPr/>
          <p:nvPr/>
        </p:nvSpPr>
        <p:spPr>
          <a:xfrm>
            <a:off x="6451169" y="4645835"/>
            <a:ext cx="341801" cy="387689"/>
          </a:xfrm>
          <a:custGeom>
            <a:avLst/>
            <a:gdLst>
              <a:gd name="connsiteX0" fmla="*/ 196391 w 341801"/>
              <a:gd name="connsiteY0" fmla="*/ 387689 h 387689"/>
              <a:gd name="connsiteX1" fmla="*/ 0 w 341801"/>
              <a:gd name="connsiteY1" fmla="*/ 191298 h 387689"/>
              <a:gd name="connsiteX2" fmla="*/ 150734 w 341801"/>
              <a:gd name="connsiteY2" fmla="*/ 536 h 387689"/>
              <a:gd name="connsiteX3" fmla="*/ 168871 w 341801"/>
              <a:gd name="connsiteY3" fmla="*/ 8667 h 387689"/>
              <a:gd name="connsiteX4" fmla="*/ 166370 w 341801"/>
              <a:gd name="connsiteY4" fmla="*/ 28681 h 387689"/>
              <a:gd name="connsiteX5" fmla="*/ 120712 w 341801"/>
              <a:gd name="connsiteY5" fmla="*/ 141888 h 387689"/>
              <a:gd name="connsiteX6" fmla="*/ 283328 w 341801"/>
              <a:gd name="connsiteY6" fmla="*/ 304504 h 387689"/>
              <a:gd name="connsiteX7" fmla="*/ 321481 w 341801"/>
              <a:gd name="connsiteY7" fmla="*/ 300126 h 387689"/>
              <a:gd name="connsiteX8" fmla="*/ 339619 w 341801"/>
              <a:gd name="connsiteY8" fmla="*/ 308257 h 387689"/>
              <a:gd name="connsiteX9" fmla="*/ 337117 w 341801"/>
              <a:gd name="connsiteY9" fmla="*/ 328271 h 387689"/>
              <a:gd name="connsiteX10" fmla="*/ 196391 w 341801"/>
              <a:gd name="connsiteY10" fmla="*/ 387689 h 387689"/>
              <a:gd name="connsiteX11" fmla="*/ 196391 w 341801"/>
              <a:gd name="connsiteY11" fmla="*/ 387689 h 387689"/>
              <a:gd name="connsiteX12" fmla="*/ 107577 w 341801"/>
              <a:gd name="connsiteY12" fmla="*/ 54950 h 387689"/>
              <a:gd name="connsiteX13" fmla="*/ 33149 w 341801"/>
              <a:gd name="connsiteY13" fmla="*/ 191924 h 387689"/>
              <a:gd name="connsiteX14" fmla="*/ 195766 w 341801"/>
              <a:gd name="connsiteY14" fmla="*/ 354540 h 387689"/>
              <a:gd name="connsiteX15" fmla="*/ 268943 w 341801"/>
              <a:gd name="connsiteY15" fmla="*/ 337028 h 387689"/>
              <a:gd name="connsiteX16" fmla="*/ 86938 w 341801"/>
              <a:gd name="connsiteY16" fmla="*/ 141262 h 387689"/>
              <a:gd name="connsiteX17" fmla="*/ 107577 w 341801"/>
              <a:gd name="connsiteY17" fmla="*/ 54950 h 387689"/>
              <a:gd name="connsiteX18" fmla="*/ 107577 w 341801"/>
              <a:gd name="connsiteY18" fmla="*/ 54950 h 3876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341801" h="387689">
                <a:moveTo>
                  <a:pt x="196391" y="387689"/>
                </a:moveTo>
                <a:cubicBezTo>
                  <a:pt x="88189" y="387689"/>
                  <a:pt x="0" y="299501"/>
                  <a:pt x="0" y="191298"/>
                </a:cubicBezTo>
                <a:cubicBezTo>
                  <a:pt x="0" y="99982"/>
                  <a:pt x="61920" y="21801"/>
                  <a:pt x="150734" y="536"/>
                </a:cubicBezTo>
                <a:cubicBezTo>
                  <a:pt x="158239" y="-1340"/>
                  <a:pt x="165119" y="1787"/>
                  <a:pt x="168871" y="8667"/>
                </a:cubicBezTo>
                <a:cubicBezTo>
                  <a:pt x="172624" y="14921"/>
                  <a:pt x="171373" y="23052"/>
                  <a:pt x="166370" y="28681"/>
                </a:cubicBezTo>
                <a:cubicBezTo>
                  <a:pt x="136974" y="59328"/>
                  <a:pt x="120712" y="99357"/>
                  <a:pt x="120712" y="141888"/>
                </a:cubicBezTo>
                <a:cubicBezTo>
                  <a:pt x="120712" y="231952"/>
                  <a:pt x="193889" y="304504"/>
                  <a:pt x="283328" y="304504"/>
                </a:cubicBezTo>
                <a:cubicBezTo>
                  <a:pt x="295837" y="304504"/>
                  <a:pt x="308346" y="303253"/>
                  <a:pt x="321481" y="300126"/>
                </a:cubicBezTo>
                <a:cubicBezTo>
                  <a:pt x="328987" y="298250"/>
                  <a:pt x="335866" y="301377"/>
                  <a:pt x="339619" y="308257"/>
                </a:cubicBezTo>
                <a:cubicBezTo>
                  <a:pt x="343372" y="314512"/>
                  <a:pt x="342121" y="322643"/>
                  <a:pt x="337117" y="328271"/>
                </a:cubicBezTo>
                <a:cubicBezTo>
                  <a:pt x="300216" y="366424"/>
                  <a:pt x="249554" y="387689"/>
                  <a:pt x="196391" y="387689"/>
                </a:cubicBezTo>
                <a:lnTo>
                  <a:pt x="196391" y="387689"/>
                </a:lnTo>
                <a:close/>
                <a:moveTo>
                  <a:pt x="107577" y="54950"/>
                </a:moveTo>
                <a:cubicBezTo>
                  <a:pt x="61920" y="84346"/>
                  <a:pt x="33149" y="135008"/>
                  <a:pt x="33149" y="191924"/>
                </a:cubicBezTo>
                <a:cubicBezTo>
                  <a:pt x="33149" y="281988"/>
                  <a:pt x="106326" y="354540"/>
                  <a:pt x="195766" y="354540"/>
                </a:cubicBezTo>
                <a:cubicBezTo>
                  <a:pt x="221409" y="354540"/>
                  <a:pt x="246427" y="348912"/>
                  <a:pt x="268943" y="337028"/>
                </a:cubicBezTo>
                <a:cubicBezTo>
                  <a:pt x="167620" y="329522"/>
                  <a:pt x="86938" y="244461"/>
                  <a:pt x="86938" y="141262"/>
                </a:cubicBezTo>
                <a:cubicBezTo>
                  <a:pt x="87563" y="111241"/>
                  <a:pt x="94443" y="81219"/>
                  <a:pt x="107577" y="54950"/>
                </a:cubicBezTo>
                <a:lnTo>
                  <a:pt x="107577" y="54950"/>
                </a:lnTo>
                <a:close/>
              </a:path>
            </a:pathLst>
          </a:custGeom>
          <a:solidFill>
            <a:srgbClr val="B1B1A1"/>
          </a:solidFill>
          <a:ln w="6251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grpSp>
        <p:nvGrpSpPr>
          <p:cNvPr id="32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8463864" y="4643244"/>
            <a:ext cx="392782" cy="392782"/>
            <a:chOff x="8451527" y="4643244"/>
            <a:chExt cx="392782" cy="392782"/>
          </a:xfrm>
          <a:solidFill>
            <a:srgbClr val="B1B1A1"/>
          </a:solidFill>
        </p:grpSpPr>
        <p:sp>
          <p:nvSpPr>
            <p:cNvPr id="33" name="Forma Livre: Forma 32">
              <a:extLst>
                <a:ext uri="{FF2B5EF4-FFF2-40B4-BE49-F238E27FC236}">
                  <a16:creationId xmlns:a16="http://schemas.microsoft.com/office/drawing/2014/main" id="{5F395096-FC31-4E5E-80DC-EC92CAB9AFDB}"/>
                </a:ext>
              </a:extLst>
            </p:cNvPr>
            <p:cNvSpPr/>
            <p:nvPr/>
          </p:nvSpPr>
          <p:spPr>
            <a:xfrm>
              <a:off x="8756509" y="4693668"/>
              <a:ext cx="87800" cy="291696"/>
            </a:xfrm>
            <a:custGeom>
              <a:avLst/>
              <a:gdLst>
                <a:gd name="connsiteX0" fmla="*/ 16499 w 87800"/>
                <a:gd name="connsiteY0" fmla="*/ 291697 h 291696"/>
                <a:gd name="connsiteX1" fmla="*/ 4615 w 87800"/>
                <a:gd name="connsiteY1" fmla="*/ 286693 h 291696"/>
                <a:gd name="connsiteX2" fmla="*/ 5241 w 87800"/>
                <a:gd name="connsiteY2" fmla="*/ 262926 h 291696"/>
                <a:gd name="connsiteX3" fmla="*/ 54651 w 87800"/>
                <a:gd name="connsiteY3" fmla="*/ 145967 h 291696"/>
                <a:gd name="connsiteX4" fmla="*/ 5241 w 87800"/>
                <a:gd name="connsiteY4" fmla="*/ 29008 h 291696"/>
                <a:gd name="connsiteX5" fmla="*/ 4615 w 87800"/>
                <a:gd name="connsiteY5" fmla="*/ 5241 h 291696"/>
                <a:gd name="connsiteX6" fmla="*/ 28383 w 87800"/>
                <a:gd name="connsiteY6" fmla="*/ 4615 h 291696"/>
                <a:gd name="connsiteX7" fmla="*/ 87801 w 87800"/>
                <a:gd name="connsiteY7" fmla="*/ 145342 h 291696"/>
                <a:gd name="connsiteX8" fmla="*/ 28383 w 87800"/>
                <a:gd name="connsiteY8" fmla="*/ 286068 h 291696"/>
                <a:gd name="connsiteX9" fmla="*/ 16499 w 87800"/>
                <a:gd name="connsiteY9" fmla="*/ 291697 h 291696"/>
                <a:gd name="connsiteX10" fmla="*/ 16499 w 87800"/>
                <a:gd name="connsiteY10" fmla="*/ 291697 h 29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7800" h="291696">
                  <a:moveTo>
                    <a:pt x="16499" y="291697"/>
                  </a:moveTo>
                  <a:cubicBezTo>
                    <a:pt x="12121" y="291697"/>
                    <a:pt x="7743" y="289820"/>
                    <a:pt x="4615" y="286693"/>
                  </a:cubicBezTo>
                  <a:cubicBezTo>
                    <a:pt x="-1639" y="279813"/>
                    <a:pt x="-1639" y="269806"/>
                    <a:pt x="5241" y="262926"/>
                  </a:cubicBezTo>
                  <a:cubicBezTo>
                    <a:pt x="37139" y="231654"/>
                    <a:pt x="54651" y="190374"/>
                    <a:pt x="54651" y="145967"/>
                  </a:cubicBezTo>
                  <a:cubicBezTo>
                    <a:pt x="54651" y="101560"/>
                    <a:pt x="37139" y="60281"/>
                    <a:pt x="5241" y="29008"/>
                  </a:cubicBezTo>
                  <a:cubicBezTo>
                    <a:pt x="-1639" y="22754"/>
                    <a:pt x="-1639" y="12121"/>
                    <a:pt x="4615" y="5241"/>
                  </a:cubicBezTo>
                  <a:cubicBezTo>
                    <a:pt x="10870" y="-1639"/>
                    <a:pt x="21503" y="-1639"/>
                    <a:pt x="28383" y="4615"/>
                  </a:cubicBezTo>
                  <a:cubicBezTo>
                    <a:pt x="66535" y="42142"/>
                    <a:pt x="87801" y="92178"/>
                    <a:pt x="87801" y="145342"/>
                  </a:cubicBezTo>
                  <a:cubicBezTo>
                    <a:pt x="87801" y="198505"/>
                    <a:pt x="66535" y="248541"/>
                    <a:pt x="28383" y="286068"/>
                  </a:cubicBezTo>
                  <a:cubicBezTo>
                    <a:pt x="25256" y="289820"/>
                    <a:pt x="20877" y="291697"/>
                    <a:pt x="16499" y="291697"/>
                  </a:cubicBezTo>
                  <a:lnTo>
                    <a:pt x="16499" y="291697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4" name="Forma Livre: Forma 33">
              <a:extLst>
                <a:ext uri="{FF2B5EF4-FFF2-40B4-BE49-F238E27FC236}">
                  <a16:creationId xmlns:a16="http://schemas.microsoft.com/office/drawing/2014/main" id="{CA633D87-9E8E-429D-9C9E-2809F39230B4}"/>
                </a:ext>
              </a:extLst>
            </p:cNvPr>
            <p:cNvSpPr/>
            <p:nvPr/>
          </p:nvSpPr>
          <p:spPr>
            <a:xfrm>
              <a:off x="8451527" y="4643244"/>
              <a:ext cx="295365" cy="392782"/>
            </a:xfrm>
            <a:custGeom>
              <a:avLst/>
              <a:gdLst>
                <a:gd name="connsiteX0" fmla="*/ 196391 w 295365"/>
                <a:gd name="connsiteY0" fmla="*/ 392782 h 392782"/>
                <a:gd name="connsiteX1" fmla="*/ 0 w 295365"/>
                <a:gd name="connsiteY1" fmla="*/ 196391 h 392782"/>
                <a:gd name="connsiteX2" fmla="*/ 196391 w 295365"/>
                <a:gd name="connsiteY2" fmla="*/ 0 h 392782"/>
                <a:gd name="connsiteX3" fmla="*/ 286456 w 295365"/>
                <a:gd name="connsiteY3" fmla="*/ 21891 h 392782"/>
                <a:gd name="connsiteX4" fmla="*/ 295213 w 295365"/>
                <a:gd name="connsiteY4" fmla="*/ 33774 h 392782"/>
                <a:gd name="connsiteX5" fmla="*/ 290834 w 295365"/>
                <a:gd name="connsiteY5" fmla="*/ 48160 h 392782"/>
                <a:gd name="connsiteX6" fmla="*/ 233293 w 295365"/>
                <a:gd name="connsiteY6" fmla="*/ 196391 h 392782"/>
                <a:gd name="connsiteX7" fmla="*/ 290834 w 295365"/>
                <a:gd name="connsiteY7" fmla="*/ 344622 h 392782"/>
                <a:gd name="connsiteX8" fmla="*/ 295213 w 295365"/>
                <a:gd name="connsiteY8" fmla="*/ 359008 h 392782"/>
                <a:gd name="connsiteX9" fmla="*/ 286456 w 295365"/>
                <a:gd name="connsiteY9" fmla="*/ 370891 h 392782"/>
                <a:gd name="connsiteX10" fmla="*/ 196391 w 295365"/>
                <a:gd name="connsiteY10" fmla="*/ 392782 h 392782"/>
                <a:gd name="connsiteX11" fmla="*/ 196391 w 295365"/>
                <a:gd name="connsiteY11" fmla="*/ 392782 h 392782"/>
                <a:gd name="connsiteX12" fmla="*/ 196391 w 295365"/>
                <a:gd name="connsiteY12" fmla="*/ 33774 h 392782"/>
                <a:gd name="connsiteX13" fmla="*/ 33149 w 295365"/>
                <a:gd name="connsiteY13" fmla="*/ 196391 h 392782"/>
                <a:gd name="connsiteX14" fmla="*/ 196391 w 295365"/>
                <a:gd name="connsiteY14" fmla="*/ 359008 h 392782"/>
                <a:gd name="connsiteX15" fmla="*/ 251431 w 295365"/>
                <a:gd name="connsiteY15" fmla="*/ 349001 h 392782"/>
                <a:gd name="connsiteX16" fmla="*/ 199518 w 295365"/>
                <a:gd name="connsiteY16" fmla="*/ 195766 h 392782"/>
                <a:gd name="connsiteX17" fmla="*/ 251431 w 295365"/>
                <a:gd name="connsiteY17" fmla="*/ 42530 h 392782"/>
                <a:gd name="connsiteX18" fmla="*/ 196391 w 295365"/>
                <a:gd name="connsiteY18" fmla="*/ 33774 h 392782"/>
                <a:gd name="connsiteX19" fmla="*/ 196391 w 295365"/>
                <a:gd name="connsiteY19" fmla="*/ 33774 h 392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95365" h="392782">
                  <a:moveTo>
                    <a:pt x="196391" y="392782"/>
                  </a:moveTo>
                  <a:cubicBezTo>
                    <a:pt x="88188" y="392782"/>
                    <a:pt x="0" y="304594"/>
                    <a:pt x="0" y="196391"/>
                  </a:cubicBezTo>
                  <a:cubicBezTo>
                    <a:pt x="0" y="88188"/>
                    <a:pt x="88188" y="0"/>
                    <a:pt x="196391" y="0"/>
                  </a:cubicBezTo>
                  <a:cubicBezTo>
                    <a:pt x="227664" y="0"/>
                    <a:pt x="258311" y="7505"/>
                    <a:pt x="286456" y="21891"/>
                  </a:cubicBezTo>
                  <a:cubicBezTo>
                    <a:pt x="290834" y="24392"/>
                    <a:pt x="294586" y="28771"/>
                    <a:pt x="295213" y="33774"/>
                  </a:cubicBezTo>
                  <a:cubicBezTo>
                    <a:pt x="295838" y="38778"/>
                    <a:pt x="294586" y="43781"/>
                    <a:pt x="290834" y="48160"/>
                  </a:cubicBezTo>
                  <a:cubicBezTo>
                    <a:pt x="253932" y="88814"/>
                    <a:pt x="233293" y="141977"/>
                    <a:pt x="233293" y="196391"/>
                  </a:cubicBezTo>
                  <a:cubicBezTo>
                    <a:pt x="233293" y="250805"/>
                    <a:pt x="253932" y="303968"/>
                    <a:pt x="290834" y="344622"/>
                  </a:cubicBezTo>
                  <a:cubicBezTo>
                    <a:pt x="294586" y="348375"/>
                    <a:pt x="295838" y="353379"/>
                    <a:pt x="295213" y="359008"/>
                  </a:cubicBezTo>
                  <a:cubicBezTo>
                    <a:pt x="294586" y="364012"/>
                    <a:pt x="290834" y="368389"/>
                    <a:pt x="286456" y="370891"/>
                  </a:cubicBezTo>
                  <a:cubicBezTo>
                    <a:pt x="258311" y="385277"/>
                    <a:pt x="228289" y="392782"/>
                    <a:pt x="196391" y="392782"/>
                  </a:cubicBezTo>
                  <a:lnTo>
                    <a:pt x="196391" y="392782"/>
                  </a:lnTo>
                  <a:close/>
                  <a:moveTo>
                    <a:pt x="196391" y="33774"/>
                  </a:moveTo>
                  <a:cubicBezTo>
                    <a:pt x="106326" y="33774"/>
                    <a:pt x="33149" y="106952"/>
                    <a:pt x="33149" y="196391"/>
                  </a:cubicBezTo>
                  <a:cubicBezTo>
                    <a:pt x="33149" y="286456"/>
                    <a:pt x="106326" y="359008"/>
                    <a:pt x="196391" y="359008"/>
                  </a:cubicBezTo>
                  <a:cubicBezTo>
                    <a:pt x="215155" y="359008"/>
                    <a:pt x="233918" y="355880"/>
                    <a:pt x="251431" y="349001"/>
                  </a:cubicBezTo>
                  <a:cubicBezTo>
                    <a:pt x="218282" y="304594"/>
                    <a:pt x="199518" y="251431"/>
                    <a:pt x="199518" y="195766"/>
                  </a:cubicBezTo>
                  <a:cubicBezTo>
                    <a:pt x="199518" y="140100"/>
                    <a:pt x="217657" y="86937"/>
                    <a:pt x="251431" y="42530"/>
                  </a:cubicBezTo>
                  <a:cubicBezTo>
                    <a:pt x="233918" y="36901"/>
                    <a:pt x="215780" y="33774"/>
                    <a:pt x="196391" y="33774"/>
                  </a:cubicBezTo>
                  <a:lnTo>
                    <a:pt x="196391" y="33774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5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9481471" y="4643244"/>
            <a:ext cx="392156" cy="392782"/>
            <a:chOff x="9469134" y="4643244"/>
            <a:chExt cx="392156" cy="392782"/>
          </a:xfrm>
          <a:solidFill>
            <a:srgbClr val="B1B1A1"/>
          </a:solidFill>
        </p:grpSpPr>
        <p:sp>
          <p:nvSpPr>
            <p:cNvPr id="36" name="Forma Livre: Forma 35">
              <a:extLst>
                <a:ext uri="{FF2B5EF4-FFF2-40B4-BE49-F238E27FC236}">
                  <a16:creationId xmlns:a16="http://schemas.microsoft.com/office/drawing/2014/main" id="{DF50E045-9D1D-4415-B837-6F364CC8DD28}"/>
                </a:ext>
              </a:extLst>
            </p:cNvPr>
            <p:cNvSpPr/>
            <p:nvPr/>
          </p:nvSpPr>
          <p:spPr>
            <a:xfrm>
              <a:off x="9806770" y="4738832"/>
              <a:ext cx="54520" cy="202752"/>
            </a:xfrm>
            <a:custGeom>
              <a:avLst/>
              <a:gdLst>
                <a:gd name="connsiteX0" fmla="*/ 16993 w 54520"/>
                <a:gd name="connsiteY0" fmla="*/ 202752 h 202752"/>
                <a:gd name="connsiteX1" fmla="*/ 8862 w 54520"/>
                <a:gd name="connsiteY1" fmla="*/ 200875 h 202752"/>
                <a:gd name="connsiteX2" fmla="*/ 1982 w 54520"/>
                <a:gd name="connsiteY2" fmla="*/ 178359 h 202752"/>
                <a:gd name="connsiteX3" fmla="*/ 21371 w 54520"/>
                <a:gd name="connsiteY3" fmla="*/ 101429 h 202752"/>
                <a:gd name="connsiteX4" fmla="*/ 1982 w 54520"/>
                <a:gd name="connsiteY4" fmla="*/ 24499 h 202752"/>
                <a:gd name="connsiteX5" fmla="*/ 8862 w 54520"/>
                <a:gd name="connsiteY5" fmla="*/ 1983 h 202752"/>
                <a:gd name="connsiteX6" fmla="*/ 31379 w 54520"/>
                <a:gd name="connsiteY6" fmla="*/ 8863 h 202752"/>
                <a:gd name="connsiteX7" fmla="*/ 54520 w 54520"/>
                <a:gd name="connsiteY7" fmla="*/ 101429 h 202752"/>
                <a:gd name="connsiteX8" fmla="*/ 31379 w 54520"/>
                <a:gd name="connsiteY8" fmla="*/ 193996 h 202752"/>
                <a:gd name="connsiteX9" fmla="*/ 16993 w 54520"/>
                <a:gd name="connsiteY9" fmla="*/ 202752 h 202752"/>
                <a:gd name="connsiteX10" fmla="*/ 16993 w 54520"/>
                <a:gd name="connsiteY10" fmla="*/ 202752 h 202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520" h="202752">
                  <a:moveTo>
                    <a:pt x="16993" y="202752"/>
                  </a:moveTo>
                  <a:cubicBezTo>
                    <a:pt x="14491" y="202752"/>
                    <a:pt x="11364" y="202126"/>
                    <a:pt x="8862" y="200875"/>
                  </a:cubicBezTo>
                  <a:cubicBezTo>
                    <a:pt x="732" y="196498"/>
                    <a:pt x="-2395" y="186490"/>
                    <a:pt x="1982" y="178359"/>
                  </a:cubicBezTo>
                  <a:cubicBezTo>
                    <a:pt x="14491" y="154592"/>
                    <a:pt x="21371" y="128323"/>
                    <a:pt x="21371" y="101429"/>
                  </a:cubicBezTo>
                  <a:cubicBezTo>
                    <a:pt x="21371" y="74535"/>
                    <a:pt x="14491" y="48266"/>
                    <a:pt x="1982" y="24499"/>
                  </a:cubicBezTo>
                  <a:cubicBezTo>
                    <a:pt x="-2395" y="16368"/>
                    <a:pt x="732" y="6361"/>
                    <a:pt x="8862" y="1983"/>
                  </a:cubicBezTo>
                  <a:cubicBezTo>
                    <a:pt x="16993" y="-2396"/>
                    <a:pt x="27000" y="732"/>
                    <a:pt x="31379" y="8863"/>
                  </a:cubicBezTo>
                  <a:cubicBezTo>
                    <a:pt x="46389" y="37008"/>
                    <a:pt x="54520" y="69531"/>
                    <a:pt x="54520" y="101429"/>
                  </a:cubicBezTo>
                  <a:cubicBezTo>
                    <a:pt x="54520" y="133953"/>
                    <a:pt x="46389" y="165850"/>
                    <a:pt x="31379" y="193996"/>
                  </a:cubicBezTo>
                  <a:cubicBezTo>
                    <a:pt x="28877" y="198999"/>
                    <a:pt x="22622" y="202752"/>
                    <a:pt x="16993" y="202752"/>
                  </a:cubicBezTo>
                  <a:lnTo>
                    <a:pt x="16993" y="202752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7" name="Forma Livre: Forma 36">
              <a:extLst>
                <a:ext uri="{FF2B5EF4-FFF2-40B4-BE49-F238E27FC236}">
                  <a16:creationId xmlns:a16="http://schemas.microsoft.com/office/drawing/2014/main" id="{C4B637EE-558D-46A5-934F-8DAE0ACAFDC5}"/>
                </a:ext>
              </a:extLst>
            </p:cNvPr>
            <p:cNvSpPr/>
            <p:nvPr/>
          </p:nvSpPr>
          <p:spPr>
            <a:xfrm>
              <a:off x="9469134" y="4643244"/>
              <a:ext cx="348844" cy="392782"/>
            </a:xfrm>
            <a:custGeom>
              <a:avLst/>
              <a:gdLst>
                <a:gd name="connsiteX0" fmla="*/ 196390 w 348844"/>
                <a:gd name="connsiteY0" fmla="*/ 392782 h 392782"/>
                <a:gd name="connsiteX1" fmla="*/ 0 w 348844"/>
                <a:gd name="connsiteY1" fmla="*/ 196391 h 392782"/>
                <a:gd name="connsiteX2" fmla="*/ 196390 w 348844"/>
                <a:gd name="connsiteY2" fmla="*/ 0 h 392782"/>
                <a:gd name="connsiteX3" fmla="*/ 344622 w 348844"/>
                <a:gd name="connsiteY3" fmla="*/ 67548 h 392782"/>
                <a:gd name="connsiteX4" fmla="*/ 344622 w 348844"/>
                <a:gd name="connsiteY4" fmla="*/ 89439 h 392782"/>
                <a:gd name="connsiteX5" fmla="*/ 304593 w 348844"/>
                <a:gd name="connsiteY5" fmla="*/ 196391 h 392782"/>
                <a:gd name="connsiteX6" fmla="*/ 344622 w 348844"/>
                <a:gd name="connsiteY6" fmla="*/ 303343 h 392782"/>
                <a:gd name="connsiteX7" fmla="*/ 344622 w 348844"/>
                <a:gd name="connsiteY7" fmla="*/ 325234 h 392782"/>
                <a:gd name="connsiteX8" fmla="*/ 196390 w 348844"/>
                <a:gd name="connsiteY8" fmla="*/ 392782 h 392782"/>
                <a:gd name="connsiteX9" fmla="*/ 196390 w 348844"/>
                <a:gd name="connsiteY9" fmla="*/ 392782 h 392782"/>
                <a:gd name="connsiteX10" fmla="*/ 196390 w 348844"/>
                <a:gd name="connsiteY10" fmla="*/ 33774 h 392782"/>
                <a:gd name="connsiteX11" fmla="*/ 33774 w 348844"/>
                <a:gd name="connsiteY11" fmla="*/ 196391 h 392782"/>
                <a:gd name="connsiteX12" fmla="*/ 196390 w 348844"/>
                <a:gd name="connsiteY12" fmla="*/ 359008 h 392782"/>
                <a:gd name="connsiteX13" fmla="*/ 309597 w 348844"/>
                <a:gd name="connsiteY13" fmla="*/ 312725 h 392782"/>
                <a:gd name="connsiteX14" fmla="*/ 270819 w 348844"/>
                <a:gd name="connsiteY14" fmla="*/ 195766 h 392782"/>
                <a:gd name="connsiteX15" fmla="*/ 309597 w 348844"/>
                <a:gd name="connsiteY15" fmla="*/ 78806 h 392782"/>
                <a:gd name="connsiteX16" fmla="*/ 196390 w 348844"/>
                <a:gd name="connsiteY16" fmla="*/ 33774 h 392782"/>
                <a:gd name="connsiteX17" fmla="*/ 196390 w 348844"/>
                <a:gd name="connsiteY17" fmla="*/ 33774 h 392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48844" h="392782">
                  <a:moveTo>
                    <a:pt x="196390" y="392782"/>
                  </a:moveTo>
                  <a:cubicBezTo>
                    <a:pt x="88188" y="392782"/>
                    <a:pt x="0" y="304594"/>
                    <a:pt x="0" y="196391"/>
                  </a:cubicBezTo>
                  <a:cubicBezTo>
                    <a:pt x="0" y="88188"/>
                    <a:pt x="88188" y="0"/>
                    <a:pt x="196390" y="0"/>
                  </a:cubicBezTo>
                  <a:cubicBezTo>
                    <a:pt x="253307" y="0"/>
                    <a:pt x="307095" y="24392"/>
                    <a:pt x="344622" y="67548"/>
                  </a:cubicBezTo>
                  <a:cubicBezTo>
                    <a:pt x="350252" y="73803"/>
                    <a:pt x="350252" y="83185"/>
                    <a:pt x="344622" y="89439"/>
                  </a:cubicBezTo>
                  <a:cubicBezTo>
                    <a:pt x="318979" y="119461"/>
                    <a:pt x="304593" y="156988"/>
                    <a:pt x="304593" y="196391"/>
                  </a:cubicBezTo>
                  <a:cubicBezTo>
                    <a:pt x="304593" y="235794"/>
                    <a:pt x="318979" y="273321"/>
                    <a:pt x="344622" y="303343"/>
                  </a:cubicBezTo>
                  <a:cubicBezTo>
                    <a:pt x="350252" y="309597"/>
                    <a:pt x="350252" y="318979"/>
                    <a:pt x="344622" y="325234"/>
                  </a:cubicBezTo>
                  <a:cubicBezTo>
                    <a:pt x="307095" y="368389"/>
                    <a:pt x="252681" y="392782"/>
                    <a:pt x="196390" y="392782"/>
                  </a:cubicBezTo>
                  <a:lnTo>
                    <a:pt x="196390" y="392782"/>
                  </a:lnTo>
                  <a:close/>
                  <a:moveTo>
                    <a:pt x="196390" y="33774"/>
                  </a:moveTo>
                  <a:cubicBezTo>
                    <a:pt x="106326" y="33774"/>
                    <a:pt x="33774" y="106952"/>
                    <a:pt x="33774" y="196391"/>
                  </a:cubicBezTo>
                  <a:cubicBezTo>
                    <a:pt x="33774" y="286456"/>
                    <a:pt x="106952" y="359008"/>
                    <a:pt x="196390" y="359008"/>
                  </a:cubicBezTo>
                  <a:cubicBezTo>
                    <a:pt x="238921" y="359008"/>
                    <a:pt x="279576" y="342121"/>
                    <a:pt x="309597" y="312725"/>
                  </a:cubicBezTo>
                  <a:cubicBezTo>
                    <a:pt x="284579" y="278950"/>
                    <a:pt x="270819" y="238296"/>
                    <a:pt x="270819" y="195766"/>
                  </a:cubicBezTo>
                  <a:cubicBezTo>
                    <a:pt x="270819" y="153235"/>
                    <a:pt x="284579" y="112581"/>
                    <a:pt x="309597" y="78806"/>
                  </a:cubicBezTo>
                  <a:cubicBezTo>
                    <a:pt x="278950" y="50661"/>
                    <a:pt x="238921" y="33774"/>
                    <a:pt x="196390" y="33774"/>
                  </a:cubicBezTo>
                  <a:lnTo>
                    <a:pt x="196390" y="33774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sp>
        <p:nvSpPr>
          <p:cNvPr id="38" name="Forma Livre: Forma 37">
            <a:extLst>
              <a:ext uri="{FF2B5EF4-FFF2-40B4-BE49-F238E27FC236}">
                <a16:creationId xmlns:a16="http://schemas.microsoft.com/office/drawing/2014/main" id="{46CBE9F0-DDE5-4B9F-835C-ACAA8BF8A3D0}"/>
              </a:ext>
            </a:extLst>
          </p:cNvPr>
          <p:cNvSpPr/>
          <p:nvPr/>
        </p:nvSpPr>
        <p:spPr>
          <a:xfrm>
            <a:off x="10503454" y="4643244"/>
            <a:ext cx="392782" cy="392782"/>
          </a:xfrm>
          <a:custGeom>
            <a:avLst/>
            <a:gdLst>
              <a:gd name="connsiteX0" fmla="*/ 196391 w 392782"/>
              <a:gd name="connsiteY0" fmla="*/ 392782 h 392782"/>
              <a:gd name="connsiteX1" fmla="*/ 0 w 392782"/>
              <a:gd name="connsiteY1" fmla="*/ 196391 h 392782"/>
              <a:gd name="connsiteX2" fmla="*/ 196391 w 392782"/>
              <a:gd name="connsiteY2" fmla="*/ 0 h 392782"/>
              <a:gd name="connsiteX3" fmla="*/ 392782 w 392782"/>
              <a:gd name="connsiteY3" fmla="*/ 196391 h 392782"/>
              <a:gd name="connsiteX4" fmla="*/ 196391 w 392782"/>
              <a:gd name="connsiteY4" fmla="*/ 392782 h 392782"/>
              <a:gd name="connsiteX5" fmla="*/ 196391 w 392782"/>
              <a:gd name="connsiteY5" fmla="*/ 392782 h 392782"/>
              <a:gd name="connsiteX6" fmla="*/ 196391 w 392782"/>
              <a:gd name="connsiteY6" fmla="*/ 33774 h 392782"/>
              <a:gd name="connsiteX7" fmla="*/ 33774 w 392782"/>
              <a:gd name="connsiteY7" fmla="*/ 196391 h 392782"/>
              <a:gd name="connsiteX8" fmla="*/ 196391 w 392782"/>
              <a:gd name="connsiteY8" fmla="*/ 359008 h 392782"/>
              <a:gd name="connsiteX9" fmla="*/ 359633 w 392782"/>
              <a:gd name="connsiteY9" fmla="*/ 196391 h 392782"/>
              <a:gd name="connsiteX10" fmla="*/ 196391 w 392782"/>
              <a:gd name="connsiteY10" fmla="*/ 33774 h 392782"/>
              <a:gd name="connsiteX11" fmla="*/ 196391 w 392782"/>
              <a:gd name="connsiteY11" fmla="*/ 33774 h 3927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92782" h="392782">
                <a:moveTo>
                  <a:pt x="196391" y="392782"/>
                </a:moveTo>
                <a:cubicBezTo>
                  <a:pt x="88189" y="392782"/>
                  <a:pt x="0" y="304594"/>
                  <a:pt x="0" y="196391"/>
                </a:cubicBezTo>
                <a:cubicBezTo>
                  <a:pt x="0" y="88188"/>
                  <a:pt x="88189" y="0"/>
                  <a:pt x="196391" y="0"/>
                </a:cubicBezTo>
                <a:cubicBezTo>
                  <a:pt x="304594" y="0"/>
                  <a:pt x="392782" y="88188"/>
                  <a:pt x="392782" y="196391"/>
                </a:cubicBezTo>
                <a:cubicBezTo>
                  <a:pt x="392782" y="304594"/>
                  <a:pt x="304594" y="392782"/>
                  <a:pt x="196391" y="392782"/>
                </a:cubicBezTo>
                <a:lnTo>
                  <a:pt x="196391" y="392782"/>
                </a:lnTo>
                <a:close/>
                <a:moveTo>
                  <a:pt x="196391" y="33774"/>
                </a:moveTo>
                <a:cubicBezTo>
                  <a:pt x="106326" y="33774"/>
                  <a:pt x="33774" y="106952"/>
                  <a:pt x="33774" y="196391"/>
                </a:cubicBezTo>
                <a:cubicBezTo>
                  <a:pt x="33774" y="286456"/>
                  <a:pt x="106952" y="359008"/>
                  <a:pt x="196391" y="359008"/>
                </a:cubicBezTo>
                <a:cubicBezTo>
                  <a:pt x="286456" y="359008"/>
                  <a:pt x="359633" y="285830"/>
                  <a:pt x="359633" y="196391"/>
                </a:cubicBezTo>
                <a:cubicBezTo>
                  <a:pt x="359633" y="106952"/>
                  <a:pt x="286456" y="33774"/>
                  <a:pt x="196391" y="33774"/>
                </a:cubicBezTo>
                <a:lnTo>
                  <a:pt x="196391" y="33774"/>
                </a:lnTo>
                <a:close/>
              </a:path>
            </a:pathLst>
          </a:custGeom>
          <a:solidFill>
            <a:srgbClr val="B1B1A1"/>
          </a:solidFill>
          <a:ln w="6251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grpSp>
        <p:nvGrpSpPr>
          <p:cNvPr id="39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4352786" y="4720800"/>
            <a:ext cx="442817" cy="238296"/>
            <a:chOff x="4340449" y="4720800"/>
            <a:chExt cx="442817" cy="238296"/>
          </a:xfrm>
          <a:solidFill>
            <a:srgbClr val="B1B1A1"/>
          </a:solidFill>
        </p:grpSpPr>
        <p:sp>
          <p:nvSpPr>
            <p:cNvPr id="40" name="Forma Livre: Forma 39">
              <a:extLst>
                <a:ext uri="{FF2B5EF4-FFF2-40B4-BE49-F238E27FC236}">
                  <a16:creationId xmlns:a16="http://schemas.microsoft.com/office/drawing/2014/main" id="{F9173FA2-9DB1-478E-A953-DC074F3ED2FF}"/>
                </a:ext>
              </a:extLst>
            </p:cNvPr>
            <p:cNvSpPr/>
            <p:nvPr/>
          </p:nvSpPr>
          <p:spPr>
            <a:xfrm>
              <a:off x="4340449" y="4720800"/>
              <a:ext cx="442817" cy="238296"/>
            </a:xfrm>
            <a:custGeom>
              <a:avLst/>
              <a:gdLst>
                <a:gd name="connsiteX0" fmla="*/ 425931 w 442817"/>
                <a:gd name="connsiteY0" fmla="*/ 238296 h 238296"/>
                <a:gd name="connsiteX1" fmla="*/ 409044 w 442817"/>
                <a:gd name="connsiteY1" fmla="*/ 221409 h 238296"/>
                <a:gd name="connsiteX2" fmla="*/ 221409 w 442817"/>
                <a:gd name="connsiteY2" fmla="*/ 33774 h 238296"/>
                <a:gd name="connsiteX3" fmla="*/ 33774 w 442817"/>
                <a:gd name="connsiteY3" fmla="*/ 221409 h 238296"/>
                <a:gd name="connsiteX4" fmla="*/ 16887 w 442817"/>
                <a:gd name="connsiteY4" fmla="*/ 238296 h 238296"/>
                <a:gd name="connsiteX5" fmla="*/ 0 w 442817"/>
                <a:gd name="connsiteY5" fmla="*/ 221409 h 238296"/>
                <a:gd name="connsiteX6" fmla="*/ 221409 w 442817"/>
                <a:gd name="connsiteY6" fmla="*/ 0 h 238296"/>
                <a:gd name="connsiteX7" fmla="*/ 442818 w 442817"/>
                <a:gd name="connsiteY7" fmla="*/ 221409 h 238296"/>
                <a:gd name="connsiteX8" fmla="*/ 425931 w 442817"/>
                <a:gd name="connsiteY8" fmla="*/ 238296 h 238296"/>
                <a:gd name="connsiteX9" fmla="*/ 425931 w 442817"/>
                <a:gd name="connsiteY9" fmla="*/ 238296 h 238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42817" h="238296">
                  <a:moveTo>
                    <a:pt x="425931" y="238296"/>
                  </a:moveTo>
                  <a:cubicBezTo>
                    <a:pt x="416549" y="238296"/>
                    <a:pt x="409044" y="230791"/>
                    <a:pt x="409044" y="221409"/>
                  </a:cubicBezTo>
                  <a:cubicBezTo>
                    <a:pt x="409044" y="117585"/>
                    <a:pt x="324608" y="33774"/>
                    <a:pt x="221409" y="33774"/>
                  </a:cubicBezTo>
                  <a:cubicBezTo>
                    <a:pt x="117585" y="33774"/>
                    <a:pt x="33774" y="118210"/>
                    <a:pt x="33774" y="221409"/>
                  </a:cubicBezTo>
                  <a:cubicBezTo>
                    <a:pt x="33774" y="230791"/>
                    <a:pt x="26269" y="238296"/>
                    <a:pt x="16887" y="238296"/>
                  </a:cubicBezTo>
                  <a:cubicBezTo>
                    <a:pt x="7505" y="238296"/>
                    <a:pt x="0" y="230791"/>
                    <a:pt x="0" y="221409"/>
                  </a:cubicBezTo>
                  <a:cubicBezTo>
                    <a:pt x="0" y="99447"/>
                    <a:pt x="99447" y="0"/>
                    <a:pt x="221409" y="0"/>
                  </a:cubicBezTo>
                  <a:cubicBezTo>
                    <a:pt x="343372" y="0"/>
                    <a:pt x="442818" y="99447"/>
                    <a:pt x="442818" y="221409"/>
                  </a:cubicBezTo>
                  <a:cubicBezTo>
                    <a:pt x="442193" y="230791"/>
                    <a:pt x="434687" y="238296"/>
                    <a:pt x="425931" y="238296"/>
                  </a:cubicBezTo>
                  <a:lnTo>
                    <a:pt x="425931" y="238296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1" name="Forma Livre: Forma 40">
              <a:extLst>
                <a:ext uri="{FF2B5EF4-FFF2-40B4-BE49-F238E27FC236}">
                  <a16:creationId xmlns:a16="http://schemas.microsoft.com/office/drawing/2014/main" id="{F836E552-99D7-4CDA-8B28-AE46BAD58742}"/>
                </a:ext>
              </a:extLst>
            </p:cNvPr>
            <p:cNvSpPr/>
            <p:nvPr/>
          </p:nvSpPr>
          <p:spPr>
            <a:xfrm>
              <a:off x="4400493" y="4780843"/>
              <a:ext cx="322731" cy="178253"/>
            </a:xfrm>
            <a:custGeom>
              <a:avLst/>
              <a:gdLst>
                <a:gd name="connsiteX0" fmla="*/ 305845 w 322731"/>
                <a:gd name="connsiteY0" fmla="*/ 178253 h 178253"/>
                <a:gd name="connsiteX1" fmla="*/ 288957 w 322731"/>
                <a:gd name="connsiteY1" fmla="*/ 161366 h 178253"/>
                <a:gd name="connsiteX2" fmla="*/ 161366 w 322731"/>
                <a:gd name="connsiteY2" fmla="*/ 33774 h 178253"/>
                <a:gd name="connsiteX3" fmla="*/ 33774 w 322731"/>
                <a:gd name="connsiteY3" fmla="*/ 161366 h 178253"/>
                <a:gd name="connsiteX4" fmla="*/ 16887 w 322731"/>
                <a:gd name="connsiteY4" fmla="*/ 178253 h 178253"/>
                <a:gd name="connsiteX5" fmla="*/ 0 w 322731"/>
                <a:gd name="connsiteY5" fmla="*/ 161366 h 178253"/>
                <a:gd name="connsiteX6" fmla="*/ 161366 w 322731"/>
                <a:gd name="connsiteY6" fmla="*/ 0 h 178253"/>
                <a:gd name="connsiteX7" fmla="*/ 322732 w 322731"/>
                <a:gd name="connsiteY7" fmla="*/ 161366 h 178253"/>
                <a:gd name="connsiteX8" fmla="*/ 305845 w 322731"/>
                <a:gd name="connsiteY8" fmla="*/ 178253 h 178253"/>
                <a:gd name="connsiteX9" fmla="*/ 305845 w 322731"/>
                <a:gd name="connsiteY9" fmla="*/ 178253 h 178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22731" h="178253">
                  <a:moveTo>
                    <a:pt x="305845" y="178253"/>
                  </a:moveTo>
                  <a:cubicBezTo>
                    <a:pt x="296463" y="178253"/>
                    <a:pt x="288957" y="170748"/>
                    <a:pt x="288957" y="161366"/>
                  </a:cubicBezTo>
                  <a:cubicBezTo>
                    <a:pt x="288957" y="90690"/>
                    <a:pt x="231416" y="33774"/>
                    <a:pt x="161366" y="33774"/>
                  </a:cubicBezTo>
                  <a:cubicBezTo>
                    <a:pt x="90690" y="33774"/>
                    <a:pt x="33774" y="91315"/>
                    <a:pt x="33774" y="161366"/>
                  </a:cubicBezTo>
                  <a:cubicBezTo>
                    <a:pt x="33774" y="170748"/>
                    <a:pt x="26269" y="178253"/>
                    <a:pt x="16887" y="178253"/>
                  </a:cubicBezTo>
                  <a:cubicBezTo>
                    <a:pt x="7505" y="178253"/>
                    <a:pt x="0" y="170748"/>
                    <a:pt x="0" y="161366"/>
                  </a:cubicBezTo>
                  <a:cubicBezTo>
                    <a:pt x="0" y="72552"/>
                    <a:pt x="72552" y="0"/>
                    <a:pt x="161366" y="0"/>
                  </a:cubicBezTo>
                  <a:cubicBezTo>
                    <a:pt x="250180" y="0"/>
                    <a:pt x="322732" y="72552"/>
                    <a:pt x="322732" y="161366"/>
                  </a:cubicBezTo>
                  <a:cubicBezTo>
                    <a:pt x="322107" y="170748"/>
                    <a:pt x="314601" y="178253"/>
                    <a:pt x="305845" y="178253"/>
                  </a:cubicBezTo>
                  <a:lnTo>
                    <a:pt x="305845" y="178253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2" name="Forma Livre: Forma 41">
              <a:extLst>
                <a:ext uri="{FF2B5EF4-FFF2-40B4-BE49-F238E27FC236}">
                  <a16:creationId xmlns:a16="http://schemas.microsoft.com/office/drawing/2014/main" id="{DAD6E5DD-342E-486B-9785-ED5B33EC59F0}"/>
                </a:ext>
              </a:extLst>
            </p:cNvPr>
            <p:cNvSpPr/>
            <p:nvPr/>
          </p:nvSpPr>
          <p:spPr>
            <a:xfrm>
              <a:off x="4463037" y="4844639"/>
              <a:ext cx="195276" cy="114457"/>
            </a:xfrm>
            <a:custGeom>
              <a:avLst/>
              <a:gdLst>
                <a:gd name="connsiteX0" fmla="*/ 179504 w 195276"/>
                <a:gd name="connsiteY0" fmla="*/ 114457 h 114457"/>
                <a:gd name="connsiteX1" fmla="*/ 162617 w 195276"/>
                <a:gd name="connsiteY1" fmla="*/ 97570 h 114457"/>
                <a:gd name="connsiteX2" fmla="*/ 98195 w 195276"/>
                <a:gd name="connsiteY2" fmla="*/ 33149 h 114457"/>
                <a:gd name="connsiteX3" fmla="*/ 33774 w 195276"/>
                <a:gd name="connsiteY3" fmla="*/ 97570 h 114457"/>
                <a:gd name="connsiteX4" fmla="*/ 16887 w 195276"/>
                <a:gd name="connsiteY4" fmla="*/ 114457 h 114457"/>
                <a:gd name="connsiteX5" fmla="*/ 0 w 195276"/>
                <a:gd name="connsiteY5" fmla="*/ 97570 h 114457"/>
                <a:gd name="connsiteX6" fmla="*/ 97570 w 195276"/>
                <a:gd name="connsiteY6" fmla="*/ 0 h 114457"/>
                <a:gd name="connsiteX7" fmla="*/ 195140 w 195276"/>
                <a:gd name="connsiteY7" fmla="*/ 97570 h 114457"/>
                <a:gd name="connsiteX8" fmla="*/ 179504 w 195276"/>
                <a:gd name="connsiteY8" fmla="*/ 114457 h 114457"/>
                <a:gd name="connsiteX9" fmla="*/ 179504 w 195276"/>
                <a:gd name="connsiteY9" fmla="*/ 114457 h 114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5276" h="114457">
                  <a:moveTo>
                    <a:pt x="179504" y="114457"/>
                  </a:moveTo>
                  <a:cubicBezTo>
                    <a:pt x="170122" y="114457"/>
                    <a:pt x="162617" y="106952"/>
                    <a:pt x="162617" y="97570"/>
                  </a:cubicBezTo>
                  <a:cubicBezTo>
                    <a:pt x="162617" y="61919"/>
                    <a:pt x="133846" y="33149"/>
                    <a:pt x="98195" y="33149"/>
                  </a:cubicBezTo>
                  <a:cubicBezTo>
                    <a:pt x="62545" y="33149"/>
                    <a:pt x="33774" y="61919"/>
                    <a:pt x="33774" y="97570"/>
                  </a:cubicBezTo>
                  <a:cubicBezTo>
                    <a:pt x="33774" y="106952"/>
                    <a:pt x="26269" y="114457"/>
                    <a:pt x="16887" y="114457"/>
                  </a:cubicBezTo>
                  <a:cubicBezTo>
                    <a:pt x="7505" y="114457"/>
                    <a:pt x="0" y="106952"/>
                    <a:pt x="0" y="97570"/>
                  </a:cubicBezTo>
                  <a:cubicBezTo>
                    <a:pt x="0" y="43781"/>
                    <a:pt x="43782" y="0"/>
                    <a:pt x="97570" y="0"/>
                  </a:cubicBezTo>
                  <a:cubicBezTo>
                    <a:pt x="151359" y="0"/>
                    <a:pt x="195140" y="43781"/>
                    <a:pt x="195140" y="97570"/>
                  </a:cubicBezTo>
                  <a:cubicBezTo>
                    <a:pt x="196391" y="106952"/>
                    <a:pt x="188886" y="114457"/>
                    <a:pt x="179504" y="114457"/>
                  </a:cubicBezTo>
                  <a:lnTo>
                    <a:pt x="179504" y="114457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43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5344749" y="4692029"/>
            <a:ext cx="497232" cy="304593"/>
            <a:chOff x="5332412" y="4692029"/>
            <a:chExt cx="497232" cy="304593"/>
          </a:xfrm>
          <a:solidFill>
            <a:srgbClr val="B1B1A1"/>
          </a:solidFill>
        </p:grpSpPr>
        <p:sp>
          <p:nvSpPr>
            <p:cNvPr id="44" name="Forma Livre: Forma 43">
              <a:extLst>
                <a:ext uri="{FF2B5EF4-FFF2-40B4-BE49-F238E27FC236}">
                  <a16:creationId xmlns:a16="http://schemas.microsoft.com/office/drawing/2014/main" id="{3D35F6F5-6E89-4BCF-8A4B-6A7B96B36CEF}"/>
                </a:ext>
              </a:extLst>
            </p:cNvPr>
            <p:cNvSpPr/>
            <p:nvPr/>
          </p:nvSpPr>
          <p:spPr>
            <a:xfrm>
              <a:off x="5332412" y="4782094"/>
              <a:ext cx="330862" cy="214529"/>
            </a:xfrm>
            <a:custGeom>
              <a:avLst/>
              <a:gdLst>
                <a:gd name="connsiteX0" fmla="*/ 253932 w 330862"/>
                <a:gd name="connsiteY0" fmla="*/ 214529 h 214529"/>
                <a:gd name="connsiteX1" fmla="*/ 70050 w 330862"/>
                <a:gd name="connsiteY1" fmla="*/ 214529 h 214529"/>
                <a:gd name="connsiteX2" fmla="*/ 50661 w 330862"/>
                <a:gd name="connsiteY2" fmla="*/ 211402 h 214529"/>
                <a:gd name="connsiteX3" fmla="*/ 0 w 330862"/>
                <a:gd name="connsiteY3" fmla="*/ 143228 h 214529"/>
                <a:gd name="connsiteX4" fmla="*/ 67548 w 330862"/>
                <a:gd name="connsiteY4" fmla="*/ 71927 h 214529"/>
                <a:gd name="connsiteX5" fmla="*/ 156362 w 330862"/>
                <a:gd name="connsiteY5" fmla="*/ 0 h 214529"/>
                <a:gd name="connsiteX6" fmla="*/ 239547 w 330862"/>
                <a:gd name="connsiteY6" fmla="*/ 54414 h 214529"/>
                <a:gd name="connsiteX7" fmla="*/ 250180 w 330862"/>
                <a:gd name="connsiteY7" fmla="*/ 53788 h 214529"/>
                <a:gd name="connsiteX8" fmla="*/ 330862 w 330862"/>
                <a:gd name="connsiteY8" fmla="*/ 134472 h 214529"/>
                <a:gd name="connsiteX9" fmla="*/ 274572 w 330862"/>
                <a:gd name="connsiteY9" fmla="*/ 211402 h 214529"/>
                <a:gd name="connsiteX10" fmla="*/ 253932 w 330862"/>
                <a:gd name="connsiteY10" fmla="*/ 214529 h 214529"/>
                <a:gd name="connsiteX11" fmla="*/ 253932 w 330862"/>
                <a:gd name="connsiteY11" fmla="*/ 214529 h 214529"/>
                <a:gd name="connsiteX12" fmla="*/ 71301 w 330862"/>
                <a:gd name="connsiteY12" fmla="*/ 105075 h 214529"/>
                <a:gd name="connsiteX13" fmla="*/ 33149 w 330862"/>
                <a:gd name="connsiteY13" fmla="*/ 143228 h 214529"/>
                <a:gd name="connsiteX14" fmla="*/ 60043 w 330862"/>
                <a:gd name="connsiteY14" fmla="*/ 179504 h 214529"/>
                <a:gd name="connsiteX15" fmla="*/ 69425 w 330862"/>
                <a:gd name="connsiteY15" fmla="*/ 181380 h 214529"/>
                <a:gd name="connsiteX16" fmla="*/ 253932 w 330862"/>
                <a:gd name="connsiteY16" fmla="*/ 181380 h 214529"/>
                <a:gd name="connsiteX17" fmla="*/ 263939 w 330862"/>
                <a:gd name="connsiteY17" fmla="*/ 179504 h 214529"/>
                <a:gd name="connsiteX18" fmla="*/ 297714 w 330862"/>
                <a:gd name="connsiteY18" fmla="*/ 134472 h 214529"/>
                <a:gd name="connsiteX19" fmla="*/ 250805 w 330862"/>
                <a:gd name="connsiteY19" fmla="*/ 87563 h 214529"/>
                <a:gd name="connsiteX20" fmla="*/ 235169 w 330862"/>
                <a:gd name="connsiteY20" fmla="*/ 90064 h 214529"/>
                <a:gd name="connsiteX21" fmla="*/ 217656 w 330862"/>
                <a:gd name="connsiteY21" fmla="*/ 96319 h 214529"/>
                <a:gd name="connsiteX22" fmla="*/ 213278 w 330862"/>
                <a:gd name="connsiteY22" fmla="*/ 78181 h 214529"/>
                <a:gd name="connsiteX23" fmla="*/ 156988 w 330862"/>
                <a:gd name="connsiteY23" fmla="*/ 33774 h 214529"/>
                <a:gd name="connsiteX24" fmla="*/ 99446 w 330862"/>
                <a:gd name="connsiteY24" fmla="*/ 90690 h 214529"/>
                <a:gd name="connsiteX25" fmla="*/ 98821 w 330862"/>
                <a:gd name="connsiteY25" fmla="*/ 110704 h 214529"/>
                <a:gd name="connsiteX26" fmla="*/ 79432 w 330862"/>
                <a:gd name="connsiteY26" fmla="*/ 106326 h 214529"/>
                <a:gd name="connsiteX27" fmla="*/ 71301 w 330862"/>
                <a:gd name="connsiteY27" fmla="*/ 105075 h 214529"/>
                <a:gd name="connsiteX28" fmla="*/ 71301 w 330862"/>
                <a:gd name="connsiteY28" fmla="*/ 105075 h 214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30862" h="214529">
                  <a:moveTo>
                    <a:pt x="253932" y="214529"/>
                  </a:moveTo>
                  <a:lnTo>
                    <a:pt x="70050" y="214529"/>
                  </a:lnTo>
                  <a:cubicBezTo>
                    <a:pt x="63170" y="214529"/>
                    <a:pt x="56916" y="213278"/>
                    <a:pt x="50661" y="211402"/>
                  </a:cubicBezTo>
                  <a:cubicBezTo>
                    <a:pt x="21265" y="202645"/>
                    <a:pt x="0" y="174500"/>
                    <a:pt x="0" y="143228"/>
                  </a:cubicBezTo>
                  <a:cubicBezTo>
                    <a:pt x="0" y="105075"/>
                    <a:pt x="30021" y="73803"/>
                    <a:pt x="67548" y="71927"/>
                  </a:cubicBezTo>
                  <a:cubicBezTo>
                    <a:pt x="76305" y="31272"/>
                    <a:pt x="113206" y="0"/>
                    <a:pt x="156362" y="0"/>
                  </a:cubicBezTo>
                  <a:cubicBezTo>
                    <a:pt x="193264" y="0"/>
                    <a:pt x="225162" y="21891"/>
                    <a:pt x="239547" y="54414"/>
                  </a:cubicBezTo>
                  <a:cubicBezTo>
                    <a:pt x="243300" y="53788"/>
                    <a:pt x="246427" y="53788"/>
                    <a:pt x="250180" y="53788"/>
                  </a:cubicBezTo>
                  <a:cubicBezTo>
                    <a:pt x="294586" y="53788"/>
                    <a:pt x="330862" y="90064"/>
                    <a:pt x="330862" y="134472"/>
                  </a:cubicBezTo>
                  <a:cubicBezTo>
                    <a:pt x="330862" y="170122"/>
                    <a:pt x="308346" y="200769"/>
                    <a:pt x="274572" y="211402"/>
                  </a:cubicBezTo>
                  <a:cubicBezTo>
                    <a:pt x="268943" y="213278"/>
                    <a:pt x="261438" y="214529"/>
                    <a:pt x="253932" y="214529"/>
                  </a:cubicBezTo>
                  <a:lnTo>
                    <a:pt x="253932" y="214529"/>
                  </a:lnTo>
                  <a:close/>
                  <a:moveTo>
                    <a:pt x="71301" y="105075"/>
                  </a:moveTo>
                  <a:cubicBezTo>
                    <a:pt x="50036" y="105075"/>
                    <a:pt x="33149" y="121963"/>
                    <a:pt x="33149" y="143228"/>
                  </a:cubicBezTo>
                  <a:cubicBezTo>
                    <a:pt x="33149" y="160115"/>
                    <a:pt x="44407" y="175126"/>
                    <a:pt x="60043" y="179504"/>
                  </a:cubicBezTo>
                  <a:cubicBezTo>
                    <a:pt x="63796" y="180755"/>
                    <a:pt x="66297" y="181380"/>
                    <a:pt x="69425" y="181380"/>
                  </a:cubicBezTo>
                  <a:lnTo>
                    <a:pt x="253932" y="181380"/>
                  </a:lnTo>
                  <a:cubicBezTo>
                    <a:pt x="257685" y="181380"/>
                    <a:pt x="260812" y="180755"/>
                    <a:pt x="263939" y="179504"/>
                  </a:cubicBezTo>
                  <a:cubicBezTo>
                    <a:pt x="284579" y="173249"/>
                    <a:pt x="297714" y="155111"/>
                    <a:pt x="297714" y="134472"/>
                  </a:cubicBezTo>
                  <a:cubicBezTo>
                    <a:pt x="297714" y="108203"/>
                    <a:pt x="276448" y="87563"/>
                    <a:pt x="250805" y="87563"/>
                  </a:cubicBezTo>
                  <a:cubicBezTo>
                    <a:pt x="245176" y="87563"/>
                    <a:pt x="240172" y="88813"/>
                    <a:pt x="235169" y="90064"/>
                  </a:cubicBezTo>
                  <a:lnTo>
                    <a:pt x="217656" y="96319"/>
                  </a:lnTo>
                  <a:lnTo>
                    <a:pt x="213278" y="78181"/>
                  </a:lnTo>
                  <a:cubicBezTo>
                    <a:pt x="207024" y="51912"/>
                    <a:pt x="183882" y="33774"/>
                    <a:pt x="156988" y="33774"/>
                  </a:cubicBezTo>
                  <a:cubicBezTo>
                    <a:pt x="125715" y="33774"/>
                    <a:pt x="100072" y="59418"/>
                    <a:pt x="99446" y="90690"/>
                  </a:cubicBezTo>
                  <a:lnTo>
                    <a:pt x="98821" y="110704"/>
                  </a:lnTo>
                  <a:lnTo>
                    <a:pt x="79432" y="106326"/>
                  </a:lnTo>
                  <a:cubicBezTo>
                    <a:pt x="76305" y="105701"/>
                    <a:pt x="73803" y="105075"/>
                    <a:pt x="71301" y="105075"/>
                  </a:cubicBezTo>
                  <a:lnTo>
                    <a:pt x="71301" y="105075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5" name="Forma Livre: Forma 44">
              <a:extLst>
                <a:ext uri="{FF2B5EF4-FFF2-40B4-BE49-F238E27FC236}">
                  <a16:creationId xmlns:a16="http://schemas.microsoft.com/office/drawing/2014/main" id="{64450F5F-B72B-4F83-9FCA-11C961922419}"/>
                </a:ext>
              </a:extLst>
            </p:cNvPr>
            <p:cNvSpPr/>
            <p:nvPr/>
          </p:nvSpPr>
          <p:spPr>
            <a:xfrm>
              <a:off x="5613239" y="4796479"/>
              <a:ext cx="216405" cy="170122"/>
            </a:xfrm>
            <a:custGeom>
              <a:avLst/>
              <a:gdLst>
                <a:gd name="connsiteX0" fmla="*/ 155111 w 216405"/>
                <a:gd name="connsiteY0" fmla="*/ 170122 h 170122"/>
                <a:gd name="connsiteX1" fmla="*/ 31272 w 216405"/>
                <a:gd name="connsiteY1" fmla="*/ 170122 h 170122"/>
                <a:gd name="connsiteX2" fmla="*/ 14385 w 216405"/>
                <a:gd name="connsiteY2" fmla="*/ 153235 h 170122"/>
                <a:gd name="connsiteX3" fmla="*/ 31272 w 216405"/>
                <a:gd name="connsiteY3" fmla="*/ 136348 h 170122"/>
                <a:gd name="connsiteX4" fmla="*/ 155111 w 216405"/>
                <a:gd name="connsiteY4" fmla="*/ 136348 h 170122"/>
                <a:gd name="connsiteX5" fmla="*/ 161366 w 216405"/>
                <a:gd name="connsiteY5" fmla="*/ 135097 h 170122"/>
                <a:gd name="connsiteX6" fmla="*/ 183882 w 216405"/>
                <a:gd name="connsiteY6" fmla="*/ 105075 h 170122"/>
                <a:gd name="connsiteX7" fmla="*/ 152610 w 216405"/>
                <a:gd name="connsiteY7" fmla="*/ 73803 h 170122"/>
                <a:gd name="connsiteX8" fmla="*/ 141977 w 216405"/>
                <a:gd name="connsiteY8" fmla="*/ 75679 h 170122"/>
                <a:gd name="connsiteX9" fmla="*/ 124465 w 216405"/>
                <a:gd name="connsiteY9" fmla="*/ 81934 h 170122"/>
                <a:gd name="connsiteX10" fmla="*/ 120086 w 216405"/>
                <a:gd name="connsiteY10" fmla="*/ 63796 h 170122"/>
                <a:gd name="connsiteX11" fmla="*/ 81934 w 216405"/>
                <a:gd name="connsiteY11" fmla="*/ 33774 h 170122"/>
                <a:gd name="connsiteX12" fmla="*/ 42530 w 216405"/>
                <a:gd name="connsiteY12" fmla="*/ 72552 h 170122"/>
                <a:gd name="connsiteX13" fmla="*/ 41905 w 216405"/>
                <a:gd name="connsiteY13" fmla="*/ 92566 h 170122"/>
                <a:gd name="connsiteX14" fmla="*/ 21891 w 216405"/>
                <a:gd name="connsiteY14" fmla="*/ 88188 h 170122"/>
                <a:gd name="connsiteX15" fmla="*/ 16887 w 216405"/>
                <a:gd name="connsiteY15" fmla="*/ 87563 h 170122"/>
                <a:gd name="connsiteX16" fmla="*/ 0 w 216405"/>
                <a:gd name="connsiteY16" fmla="*/ 70676 h 170122"/>
                <a:gd name="connsiteX17" fmla="*/ 10633 w 216405"/>
                <a:gd name="connsiteY17" fmla="*/ 55039 h 170122"/>
                <a:gd name="connsiteX18" fmla="*/ 81308 w 216405"/>
                <a:gd name="connsiteY18" fmla="*/ 0 h 170122"/>
                <a:gd name="connsiteX19" fmla="*/ 146355 w 216405"/>
                <a:gd name="connsiteY19" fmla="*/ 40654 h 170122"/>
                <a:gd name="connsiteX20" fmla="*/ 216406 w 216405"/>
                <a:gd name="connsiteY20" fmla="*/ 105075 h 170122"/>
                <a:gd name="connsiteX21" fmla="*/ 171373 w 216405"/>
                <a:gd name="connsiteY21" fmla="*/ 166369 h 170122"/>
                <a:gd name="connsiteX22" fmla="*/ 155111 w 216405"/>
                <a:gd name="connsiteY22" fmla="*/ 170122 h 170122"/>
                <a:gd name="connsiteX23" fmla="*/ 155111 w 216405"/>
                <a:gd name="connsiteY23" fmla="*/ 170122 h 170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16405" h="170122">
                  <a:moveTo>
                    <a:pt x="155111" y="170122"/>
                  </a:moveTo>
                  <a:lnTo>
                    <a:pt x="31272" y="170122"/>
                  </a:lnTo>
                  <a:cubicBezTo>
                    <a:pt x="21891" y="170122"/>
                    <a:pt x="14385" y="162617"/>
                    <a:pt x="14385" y="153235"/>
                  </a:cubicBezTo>
                  <a:cubicBezTo>
                    <a:pt x="14385" y="143853"/>
                    <a:pt x="21891" y="136348"/>
                    <a:pt x="31272" y="136348"/>
                  </a:cubicBezTo>
                  <a:lnTo>
                    <a:pt x="155111" y="136348"/>
                  </a:lnTo>
                  <a:cubicBezTo>
                    <a:pt x="156988" y="136348"/>
                    <a:pt x="159490" y="135723"/>
                    <a:pt x="161366" y="135097"/>
                  </a:cubicBezTo>
                  <a:cubicBezTo>
                    <a:pt x="175126" y="130719"/>
                    <a:pt x="183882" y="118835"/>
                    <a:pt x="183882" y="105075"/>
                  </a:cubicBezTo>
                  <a:cubicBezTo>
                    <a:pt x="183882" y="87563"/>
                    <a:pt x="170122" y="73803"/>
                    <a:pt x="152610" y="73803"/>
                  </a:cubicBezTo>
                  <a:cubicBezTo>
                    <a:pt x="148857" y="73803"/>
                    <a:pt x="145730" y="74428"/>
                    <a:pt x="141977" y="75679"/>
                  </a:cubicBezTo>
                  <a:lnTo>
                    <a:pt x="124465" y="81934"/>
                  </a:lnTo>
                  <a:lnTo>
                    <a:pt x="120086" y="63796"/>
                  </a:lnTo>
                  <a:cubicBezTo>
                    <a:pt x="115708" y="46283"/>
                    <a:pt x="100072" y="33774"/>
                    <a:pt x="81934" y="33774"/>
                  </a:cubicBezTo>
                  <a:cubicBezTo>
                    <a:pt x="60669" y="33774"/>
                    <a:pt x="43156" y="51287"/>
                    <a:pt x="42530" y="72552"/>
                  </a:cubicBezTo>
                  <a:lnTo>
                    <a:pt x="41905" y="92566"/>
                  </a:lnTo>
                  <a:lnTo>
                    <a:pt x="21891" y="88188"/>
                  </a:lnTo>
                  <a:cubicBezTo>
                    <a:pt x="20640" y="87563"/>
                    <a:pt x="18763" y="87563"/>
                    <a:pt x="16887" y="87563"/>
                  </a:cubicBezTo>
                  <a:cubicBezTo>
                    <a:pt x="7505" y="87563"/>
                    <a:pt x="0" y="80057"/>
                    <a:pt x="0" y="70676"/>
                  </a:cubicBezTo>
                  <a:cubicBezTo>
                    <a:pt x="0" y="63796"/>
                    <a:pt x="4378" y="57541"/>
                    <a:pt x="10633" y="55039"/>
                  </a:cubicBezTo>
                  <a:cubicBezTo>
                    <a:pt x="18763" y="23767"/>
                    <a:pt x="47534" y="0"/>
                    <a:pt x="81308" y="0"/>
                  </a:cubicBezTo>
                  <a:cubicBezTo>
                    <a:pt x="109454" y="0"/>
                    <a:pt x="134472" y="16262"/>
                    <a:pt x="146355" y="40654"/>
                  </a:cubicBezTo>
                  <a:cubicBezTo>
                    <a:pt x="183882" y="37527"/>
                    <a:pt x="216406" y="67548"/>
                    <a:pt x="216406" y="105075"/>
                  </a:cubicBezTo>
                  <a:cubicBezTo>
                    <a:pt x="216406" y="133221"/>
                    <a:pt x="198267" y="158239"/>
                    <a:pt x="171373" y="166369"/>
                  </a:cubicBezTo>
                  <a:cubicBezTo>
                    <a:pt x="166995" y="168871"/>
                    <a:pt x="160741" y="170122"/>
                    <a:pt x="155111" y="170122"/>
                  </a:cubicBezTo>
                  <a:lnTo>
                    <a:pt x="155111" y="170122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6" name="Forma Livre: Forma 45">
              <a:extLst>
                <a:ext uri="{FF2B5EF4-FFF2-40B4-BE49-F238E27FC236}">
                  <a16:creationId xmlns:a16="http://schemas.microsoft.com/office/drawing/2014/main" id="{3215383A-B081-4179-B1A0-E157A0A6EBD6}"/>
                </a:ext>
              </a:extLst>
            </p:cNvPr>
            <p:cNvSpPr/>
            <p:nvPr/>
          </p:nvSpPr>
          <p:spPr>
            <a:xfrm>
              <a:off x="5456152" y="4692029"/>
              <a:ext cx="319703" cy="163242"/>
            </a:xfrm>
            <a:custGeom>
              <a:avLst/>
              <a:gdLst>
                <a:gd name="connsiteX0" fmla="*/ 310948 w 319703"/>
                <a:gd name="connsiteY0" fmla="*/ 163242 h 163242"/>
                <a:gd name="connsiteX1" fmla="*/ 302816 w 319703"/>
                <a:gd name="connsiteY1" fmla="*/ 155737 h 163242"/>
                <a:gd name="connsiteX2" fmla="*/ 153960 w 319703"/>
                <a:gd name="connsiteY2" fmla="*/ 16262 h 163242"/>
                <a:gd name="connsiteX3" fmla="*/ 15735 w 319703"/>
                <a:gd name="connsiteY3" fmla="*/ 109454 h 163242"/>
                <a:gd name="connsiteX4" fmla="*/ 5103 w 319703"/>
                <a:gd name="connsiteY4" fmla="*/ 113832 h 163242"/>
                <a:gd name="connsiteX5" fmla="*/ 724 w 319703"/>
                <a:gd name="connsiteY5" fmla="*/ 103199 h 163242"/>
                <a:gd name="connsiteX6" fmla="*/ 154585 w 319703"/>
                <a:gd name="connsiteY6" fmla="*/ 0 h 163242"/>
                <a:gd name="connsiteX7" fmla="*/ 319704 w 319703"/>
                <a:gd name="connsiteY7" fmla="*/ 154486 h 163242"/>
                <a:gd name="connsiteX8" fmla="*/ 310948 w 319703"/>
                <a:gd name="connsiteY8" fmla="*/ 163242 h 163242"/>
                <a:gd name="connsiteX9" fmla="*/ 310948 w 319703"/>
                <a:gd name="connsiteY9" fmla="*/ 163242 h 163242"/>
                <a:gd name="connsiteX10" fmla="*/ 310948 w 319703"/>
                <a:gd name="connsiteY10" fmla="*/ 163242 h 163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19703" h="163242">
                  <a:moveTo>
                    <a:pt x="310948" y="163242"/>
                  </a:moveTo>
                  <a:cubicBezTo>
                    <a:pt x="306569" y="163242"/>
                    <a:pt x="302816" y="160115"/>
                    <a:pt x="302816" y="155737"/>
                  </a:cubicBezTo>
                  <a:cubicBezTo>
                    <a:pt x="297813" y="77556"/>
                    <a:pt x="232141" y="16262"/>
                    <a:pt x="153960" y="16262"/>
                  </a:cubicBezTo>
                  <a:cubicBezTo>
                    <a:pt x="93291" y="16262"/>
                    <a:pt x="38877" y="52538"/>
                    <a:pt x="15735" y="109454"/>
                  </a:cubicBezTo>
                  <a:cubicBezTo>
                    <a:pt x="13859" y="113832"/>
                    <a:pt x="8855" y="115708"/>
                    <a:pt x="5103" y="113832"/>
                  </a:cubicBezTo>
                  <a:cubicBezTo>
                    <a:pt x="724" y="111956"/>
                    <a:pt x="-1152" y="106952"/>
                    <a:pt x="724" y="103199"/>
                  </a:cubicBezTo>
                  <a:cubicBezTo>
                    <a:pt x="26368" y="40654"/>
                    <a:pt x="86411" y="0"/>
                    <a:pt x="154585" y="0"/>
                  </a:cubicBezTo>
                  <a:cubicBezTo>
                    <a:pt x="241522" y="0"/>
                    <a:pt x="314075" y="68174"/>
                    <a:pt x="319704" y="154486"/>
                  </a:cubicBezTo>
                  <a:cubicBezTo>
                    <a:pt x="319704" y="158864"/>
                    <a:pt x="316576" y="162617"/>
                    <a:pt x="310948" y="163242"/>
                  </a:cubicBezTo>
                  <a:cubicBezTo>
                    <a:pt x="311573" y="163242"/>
                    <a:pt x="311573" y="163242"/>
                    <a:pt x="310948" y="163242"/>
                  </a:cubicBezTo>
                  <a:lnTo>
                    <a:pt x="310948" y="163242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7" name="Forma Livre: Forma 46">
              <a:extLst>
                <a:ext uri="{FF2B5EF4-FFF2-40B4-BE49-F238E27FC236}">
                  <a16:creationId xmlns:a16="http://schemas.microsoft.com/office/drawing/2014/main" id="{077DDCF7-15FF-49A2-9111-9CAA86364635}"/>
                </a:ext>
              </a:extLst>
            </p:cNvPr>
            <p:cNvSpPr/>
            <p:nvPr/>
          </p:nvSpPr>
          <p:spPr>
            <a:xfrm>
              <a:off x="5508112" y="4737687"/>
              <a:ext cx="209795" cy="78181"/>
            </a:xfrm>
            <a:custGeom>
              <a:avLst/>
              <a:gdLst>
                <a:gd name="connsiteX0" fmla="*/ 201445 w 209795"/>
                <a:gd name="connsiteY0" fmla="*/ 78181 h 78181"/>
                <a:gd name="connsiteX1" fmla="*/ 193940 w 209795"/>
                <a:gd name="connsiteY1" fmla="*/ 73803 h 78181"/>
                <a:gd name="connsiteX2" fmla="*/ 101999 w 209795"/>
                <a:gd name="connsiteY2" fmla="*/ 16887 h 78181"/>
                <a:gd name="connsiteX3" fmla="*/ 15062 w 209795"/>
                <a:gd name="connsiteY3" fmla="*/ 64421 h 78181"/>
                <a:gd name="connsiteX4" fmla="*/ 3803 w 209795"/>
                <a:gd name="connsiteY4" fmla="*/ 66923 h 78181"/>
                <a:gd name="connsiteX5" fmla="*/ 1302 w 209795"/>
                <a:gd name="connsiteY5" fmla="*/ 55665 h 78181"/>
                <a:gd name="connsiteX6" fmla="*/ 101999 w 209795"/>
                <a:gd name="connsiteY6" fmla="*/ 0 h 78181"/>
                <a:gd name="connsiteX7" fmla="*/ 208951 w 209795"/>
                <a:gd name="connsiteY7" fmla="*/ 65672 h 78181"/>
                <a:gd name="connsiteX8" fmla="*/ 205198 w 209795"/>
                <a:gd name="connsiteY8" fmla="*/ 76930 h 78181"/>
                <a:gd name="connsiteX9" fmla="*/ 201445 w 209795"/>
                <a:gd name="connsiteY9" fmla="*/ 78181 h 78181"/>
                <a:gd name="connsiteX10" fmla="*/ 201445 w 209795"/>
                <a:gd name="connsiteY10" fmla="*/ 78181 h 78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9795" h="78181">
                  <a:moveTo>
                    <a:pt x="201445" y="78181"/>
                  </a:moveTo>
                  <a:cubicBezTo>
                    <a:pt x="198318" y="78181"/>
                    <a:pt x="195191" y="76305"/>
                    <a:pt x="193940" y="73803"/>
                  </a:cubicBezTo>
                  <a:cubicBezTo>
                    <a:pt x="176427" y="38778"/>
                    <a:pt x="141402" y="16887"/>
                    <a:pt x="101999" y="16887"/>
                  </a:cubicBezTo>
                  <a:cubicBezTo>
                    <a:pt x="66974" y="16887"/>
                    <a:pt x="34450" y="34400"/>
                    <a:pt x="15062" y="64421"/>
                  </a:cubicBezTo>
                  <a:cubicBezTo>
                    <a:pt x="12560" y="68174"/>
                    <a:pt x="7556" y="69425"/>
                    <a:pt x="3803" y="66923"/>
                  </a:cubicBezTo>
                  <a:cubicBezTo>
                    <a:pt x="51" y="64421"/>
                    <a:pt x="-1200" y="59418"/>
                    <a:pt x="1302" y="55665"/>
                  </a:cubicBezTo>
                  <a:cubicBezTo>
                    <a:pt x="23192" y="21265"/>
                    <a:pt x="61345" y="0"/>
                    <a:pt x="101999" y="0"/>
                  </a:cubicBezTo>
                  <a:cubicBezTo>
                    <a:pt x="147657" y="0"/>
                    <a:pt x="188311" y="25018"/>
                    <a:pt x="208951" y="65672"/>
                  </a:cubicBezTo>
                  <a:cubicBezTo>
                    <a:pt x="210827" y="70050"/>
                    <a:pt x="209576" y="75054"/>
                    <a:pt x="205198" y="76930"/>
                  </a:cubicBezTo>
                  <a:cubicBezTo>
                    <a:pt x="203947" y="77556"/>
                    <a:pt x="202696" y="78181"/>
                    <a:pt x="201445" y="78181"/>
                  </a:cubicBezTo>
                  <a:lnTo>
                    <a:pt x="201445" y="78181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8" name="Forma Livre: Forma 47">
              <a:extLst>
                <a:ext uri="{FF2B5EF4-FFF2-40B4-BE49-F238E27FC236}">
                  <a16:creationId xmlns:a16="http://schemas.microsoft.com/office/drawing/2014/main" id="{2032A520-C240-4B84-838B-A6D1F5CBFCA5}"/>
                </a:ext>
              </a:extLst>
            </p:cNvPr>
            <p:cNvSpPr/>
            <p:nvPr/>
          </p:nvSpPr>
          <p:spPr>
            <a:xfrm>
              <a:off x="5546097" y="4786472"/>
              <a:ext cx="124270" cy="51286"/>
            </a:xfrm>
            <a:custGeom>
              <a:avLst/>
              <a:gdLst>
                <a:gd name="connsiteX0" fmla="*/ 8350 w 124270"/>
                <a:gd name="connsiteY0" fmla="*/ 51287 h 51286"/>
                <a:gd name="connsiteX1" fmla="*/ 4597 w 124270"/>
                <a:gd name="connsiteY1" fmla="*/ 50662 h 51286"/>
                <a:gd name="connsiteX2" fmla="*/ 844 w 124270"/>
                <a:gd name="connsiteY2" fmla="*/ 39404 h 51286"/>
                <a:gd name="connsiteX3" fmla="*/ 64015 w 124270"/>
                <a:gd name="connsiteY3" fmla="*/ 0 h 51286"/>
                <a:gd name="connsiteX4" fmla="*/ 122807 w 124270"/>
                <a:gd name="connsiteY4" fmla="*/ 31272 h 51286"/>
                <a:gd name="connsiteX5" fmla="*/ 120305 w 124270"/>
                <a:gd name="connsiteY5" fmla="*/ 42531 h 51286"/>
                <a:gd name="connsiteX6" fmla="*/ 108422 w 124270"/>
                <a:gd name="connsiteY6" fmla="*/ 40029 h 51286"/>
                <a:gd name="connsiteX7" fmla="*/ 63389 w 124270"/>
                <a:gd name="connsiteY7" fmla="*/ 16262 h 51286"/>
                <a:gd name="connsiteX8" fmla="*/ 14604 w 124270"/>
                <a:gd name="connsiteY8" fmla="*/ 46283 h 51286"/>
                <a:gd name="connsiteX9" fmla="*/ 8350 w 124270"/>
                <a:gd name="connsiteY9" fmla="*/ 51287 h 51286"/>
                <a:gd name="connsiteX10" fmla="*/ 8350 w 124270"/>
                <a:gd name="connsiteY10" fmla="*/ 51287 h 51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4270" h="51286">
                  <a:moveTo>
                    <a:pt x="8350" y="51287"/>
                  </a:moveTo>
                  <a:cubicBezTo>
                    <a:pt x="7099" y="51287"/>
                    <a:pt x="5848" y="51287"/>
                    <a:pt x="4597" y="50662"/>
                  </a:cubicBezTo>
                  <a:cubicBezTo>
                    <a:pt x="219" y="48785"/>
                    <a:pt x="-1032" y="43781"/>
                    <a:pt x="844" y="39404"/>
                  </a:cubicBezTo>
                  <a:cubicBezTo>
                    <a:pt x="12728" y="15011"/>
                    <a:pt x="37120" y="0"/>
                    <a:pt x="64015" y="0"/>
                  </a:cubicBezTo>
                  <a:cubicBezTo>
                    <a:pt x="87782" y="0"/>
                    <a:pt x="109672" y="11884"/>
                    <a:pt x="122807" y="31272"/>
                  </a:cubicBezTo>
                  <a:cubicBezTo>
                    <a:pt x="125309" y="35025"/>
                    <a:pt x="124683" y="40029"/>
                    <a:pt x="120305" y="42531"/>
                  </a:cubicBezTo>
                  <a:cubicBezTo>
                    <a:pt x="116552" y="45032"/>
                    <a:pt x="111549" y="44407"/>
                    <a:pt x="108422" y="40029"/>
                  </a:cubicBezTo>
                  <a:cubicBezTo>
                    <a:pt x="98414" y="25018"/>
                    <a:pt x="81527" y="16262"/>
                    <a:pt x="63389" y="16262"/>
                  </a:cubicBezTo>
                  <a:cubicBezTo>
                    <a:pt x="42750" y="16262"/>
                    <a:pt x="23986" y="27520"/>
                    <a:pt x="14604" y="46283"/>
                  </a:cubicBezTo>
                  <a:cubicBezTo>
                    <a:pt x="14604" y="49411"/>
                    <a:pt x="11477" y="51287"/>
                    <a:pt x="8350" y="51287"/>
                  </a:cubicBezTo>
                  <a:lnTo>
                    <a:pt x="8350" y="51287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49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7449386" y="4643244"/>
            <a:ext cx="392156" cy="392782"/>
            <a:chOff x="7437049" y="4643244"/>
            <a:chExt cx="392156" cy="392782"/>
          </a:xfrm>
          <a:solidFill>
            <a:srgbClr val="B1B1A1"/>
          </a:solidFill>
        </p:grpSpPr>
        <p:sp>
          <p:nvSpPr>
            <p:cNvPr id="50" name="Forma Livre: Forma 49">
              <a:extLst>
                <a:ext uri="{FF2B5EF4-FFF2-40B4-BE49-F238E27FC236}">
                  <a16:creationId xmlns:a16="http://schemas.microsoft.com/office/drawing/2014/main" id="{54A45599-283B-4986-BD30-A6D35CC835EC}"/>
                </a:ext>
              </a:extLst>
            </p:cNvPr>
            <p:cNvSpPr/>
            <p:nvPr/>
          </p:nvSpPr>
          <p:spPr>
            <a:xfrm>
              <a:off x="7720232" y="4677498"/>
              <a:ext cx="108973" cy="325379"/>
            </a:xfrm>
            <a:custGeom>
              <a:avLst/>
              <a:gdLst>
                <a:gd name="connsiteX0" fmla="*/ 17033 w 108973"/>
                <a:gd name="connsiteY0" fmla="*/ 325380 h 325379"/>
                <a:gd name="connsiteX1" fmla="*/ 3273 w 108973"/>
                <a:gd name="connsiteY1" fmla="*/ 318499 h 325379"/>
                <a:gd name="connsiteX2" fmla="*/ 7026 w 108973"/>
                <a:gd name="connsiteY2" fmla="*/ 295358 h 325379"/>
                <a:gd name="connsiteX3" fmla="*/ 75199 w 108973"/>
                <a:gd name="connsiteY3" fmla="*/ 162763 h 325379"/>
                <a:gd name="connsiteX4" fmla="*/ 7026 w 108973"/>
                <a:gd name="connsiteY4" fmla="*/ 30167 h 325379"/>
                <a:gd name="connsiteX5" fmla="*/ 3273 w 108973"/>
                <a:gd name="connsiteY5" fmla="*/ 7026 h 325379"/>
                <a:gd name="connsiteX6" fmla="*/ 26415 w 108973"/>
                <a:gd name="connsiteY6" fmla="*/ 3273 h 325379"/>
                <a:gd name="connsiteX7" fmla="*/ 108974 w 108973"/>
                <a:gd name="connsiteY7" fmla="*/ 162763 h 325379"/>
                <a:gd name="connsiteX8" fmla="*/ 26415 w 108973"/>
                <a:gd name="connsiteY8" fmla="*/ 322252 h 325379"/>
                <a:gd name="connsiteX9" fmla="*/ 17033 w 108973"/>
                <a:gd name="connsiteY9" fmla="*/ 325380 h 325379"/>
                <a:gd name="connsiteX10" fmla="*/ 17033 w 108973"/>
                <a:gd name="connsiteY10" fmla="*/ 325380 h 325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8973" h="325379">
                  <a:moveTo>
                    <a:pt x="17033" y="325380"/>
                  </a:moveTo>
                  <a:cubicBezTo>
                    <a:pt x="12029" y="325380"/>
                    <a:pt x="7026" y="322878"/>
                    <a:pt x="3273" y="318499"/>
                  </a:cubicBezTo>
                  <a:cubicBezTo>
                    <a:pt x="-2356" y="310994"/>
                    <a:pt x="-480" y="300362"/>
                    <a:pt x="7026" y="295358"/>
                  </a:cubicBezTo>
                  <a:cubicBezTo>
                    <a:pt x="50181" y="264711"/>
                    <a:pt x="75199" y="215300"/>
                    <a:pt x="75199" y="162763"/>
                  </a:cubicBezTo>
                  <a:cubicBezTo>
                    <a:pt x="75199" y="110225"/>
                    <a:pt x="49556" y="60815"/>
                    <a:pt x="7026" y="30167"/>
                  </a:cubicBezTo>
                  <a:cubicBezTo>
                    <a:pt x="-480" y="24538"/>
                    <a:pt x="-2356" y="14531"/>
                    <a:pt x="3273" y="7026"/>
                  </a:cubicBezTo>
                  <a:cubicBezTo>
                    <a:pt x="8902" y="-480"/>
                    <a:pt x="18909" y="-2356"/>
                    <a:pt x="26415" y="3273"/>
                  </a:cubicBezTo>
                  <a:cubicBezTo>
                    <a:pt x="78327" y="40174"/>
                    <a:pt x="108974" y="99592"/>
                    <a:pt x="108974" y="162763"/>
                  </a:cubicBezTo>
                  <a:cubicBezTo>
                    <a:pt x="108974" y="225933"/>
                    <a:pt x="78327" y="285351"/>
                    <a:pt x="26415" y="322252"/>
                  </a:cubicBezTo>
                  <a:cubicBezTo>
                    <a:pt x="23913" y="324129"/>
                    <a:pt x="20786" y="325380"/>
                    <a:pt x="17033" y="325380"/>
                  </a:cubicBezTo>
                  <a:lnTo>
                    <a:pt x="17033" y="32538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51" name="Forma Livre: Forma 50">
              <a:extLst>
                <a:ext uri="{FF2B5EF4-FFF2-40B4-BE49-F238E27FC236}">
                  <a16:creationId xmlns:a16="http://schemas.microsoft.com/office/drawing/2014/main" id="{D53231F1-775B-418B-946F-71E56E4DE579}"/>
                </a:ext>
              </a:extLst>
            </p:cNvPr>
            <p:cNvSpPr/>
            <p:nvPr/>
          </p:nvSpPr>
          <p:spPr>
            <a:xfrm>
              <a:off x="7437049" y="4643244"/>
              <a:ext cx="262688" cy="392782"/>
            </a:xfrm>
            <a:custGeom>
              <a:avLst/>
              <a:gdLst>
                <a:gd name="connsiteX0" fmla="*/ 196391 w 262688"/>
                <a:gd name="connsiteY0" fmla="*/ 392782 h 392782"/>
                <a:gd name="connsiteX1" fmla="*/ 0 w 262688"/>
                <a:gd name="connsiteY1" fmla="*/ 196391 h 392782"/>
                <a:gd name="connsiteX2" fmla="*/ 196391 w 262688"/>
                <a:gd name="connsiteY2" fmla="*/ 0 h 392782"/>
                <a:gd name="connsiteX3" fmla="*/ 250805 w 262688"/>
                <a:gd name="connsiteY3" fmla="*/ 8131 h 392782"/>
                <a:gd name="connsiteX4" fmla="*/ 262689 w 262688"/>
                <a:gd name="connsiteY4" fmla="*/ 24392 h 392782"/>
                <a:gd name="connsiteX5" fmla="*/ 250805 w 262688"/>
                <a:gd name="connsiteY5" fmla="*/ 40654 h 392782"/>
                <a:gd name="connsiteX6" fmla="*/ 133221 w 262688"/>
                <a:gd name="connsiteY6" fmla="*/ 197017 h 392782"/>
                <a:gd name="connsiteX7" fmla="*/ 250805 w 262688"/>
                <a:gd name="connsiteY7" fmla="*/ 353379 h 392782"/>
                <a:gd name="connsiteX8" fmla="*/ 262689 w 262688"/>
                <a:gd name="connsiteY8" fmla="*/ 369640 h 392782"/>
                <a:gd name="connsiteX9" fmla="*/ 250805 w 262688"/>
                <a:gd name="connsiteY9" fmla="*/ 385902 h 392782"/>
                <a:gd name="connsiteX10" fmla="*/ 196391 w 262688"/>
                <a:gd name="connsiteY10" fmla="*/ 392782 h 392782"/>
                <a:gd name="connsiteX11" fmla="*/ 196391 w 262688"/>
                <a:gd name="connsiteY11" fmla="*/ 392782 h 392782"/>
                <a:gd name="connsiteX12" fmla="*/ 187009 w 262688"/>
                <a:gd name="connsiteY12" fmla="*/ 33774 h 392782"/>
                <a:gd name="connsiteX13" fmla="*/ 33774 w 262688"/>
                <a:gd name="connsiteY13" fmla="*/ 196391 h 392782"/>
                <a:gd name="connsiteX14" fmla="*/ 187009 w 262688"/>
                <a:gd name="connsiteY14" fmla="*/ 359008 h 392782"/>
                <a:gd name="connsiteX15" fmla="*/ 100072 w 262688"/>
                <a:gd name="connsiteY15" fmla="*/ 196391 h 392782"/>
                <a:gd name="connsiteX16" fmla="*/ 187009 w 262688"/>
                <a:gd name="connsiteY16" fmla="*/ 33774 h 392782"/>
                <a:gd name="connsiteX17" fmla="*/ 187009 w 262688"/>
                <a:gd name="connsiteY17" fmla="*/ 33774 h 392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2688" h="392782">
                  <a:moveTo>
                    <a:pt x="196391" y="392782"/>
                  </a:moveTo>
                  <a:cubicBezTo>
                    <a:pt x="88188" y="392782"/>
                    <a:pt x="0" y="304594"/>
                    <a:pt x="0" y="196391"/>
                  </a:cubicBezTo>
                  <a:cubicBezTo>
                    <a:pt x="0" y="88188"/>
                    <a:pt x="88188" y="0"/>
                    <a:pt x="196391" y="0"/>
                  </a:cubicBezTo>
                  <a:cubicBezTo>
                    <a:pt x="214529" y="0"/>
                    <a:pt x="233293" y="2502"/>
                    <a:pt x="250805" y="8131"/>
                  </a:cubicBezTo>
                  <a:cubicBezTo>
                    <a:pt x="257685" y="10007"/>
                    <a:pt x="262689" y="16887"/>
                    <a:pt x="262689" y="24392"/>
                  </a:cubicBezTo>
                  <a:cubicBezTo>
                    <a:pt x="262689" y="31898"/>
                    <a:pt x="257685" y="38152"/>
                    <a:pt x="250805" y="40654"/>
                  </a:cubicBezTo>
                  <a:cubicBezTo>
                    <a:pt x="181380" y="60669"/>
                    <a:pt x="133221" y="125090"/>
                    <a:pt x="133221" y="197017"/>
                  </a:cubicBezTo>
                  <a:cubicBezTo>
                    <a:pt x="133221" y="268943"/>
                    <a:pt x="181380" y="333364"/>
                    <a:pt x="250805" y="353379"/>
                  </a:cubicBezTo>
                  <a:cubicBezTo>
                    <a:pt x="257685" y="355255"/>
                    <a:pt x="262689" y="362135"/>
                    <a:pt x="262689" y="369640"/>
                  </a:cubicBezTo>
                  <a:cubicBezTo>
                    <a:pt x="262689" y="377146"/>
                    <a:pt x="257685" y="383400"/>
                    <a:pt x="250805" y="385902"/>
                  </a:cubicBezTo>
                  <a:cubicBezTo>
                    <a:pt x="232667" y="390280"/>
                    <a:pt x="214529" y="392782"/>
                    <a:pt x="196391" y="392782"/>
                  </a:cubicBezTo>
                  <a:lnTo>
                    <a:pt x="196391" y="392782"/>
                  </a:lnTo>
                  <a:close/>
                  <a:moveTo>
                    <a:pt x="187009" y="33774"/>
                  </a:moveTo>
                  <a:cubicBezTo>
                    <a:pt x="101322" y="38778"/>
                    <a:pt x="33774" y="110079"/>
                    <a:pt x="33774" y="196391"/>
                  </a:cubicBezTo>
                  <a:cubicBezTo>
                    <a:pt x="33774" y="283328"/>
                    <a:pt x="101948" y="354004"/>
                    <a:pt x="187009" y="359008"/>
                  </a:cubicBezTo>
                  <a:cubicBezTo>
                    <a:pt x="133846" y="323357"/>
                    <a:pt x="100072" y="262689"/>
                    <a:pt x="100072" y="196391"/>
                  </a:cubicBezTo>
                  <a:cubicBezTo>
                    <a:pt x="100072" y="130093"/>
                    <a:pt x="133846" y="70050"/>
                    <a:pt x="187009" y="33774"/>
                  </a:cubicBezTo>
                  <a:lnTo>
                    <a:pt x="187009" y="33774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52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3359573" y="2611160"/>
            <a:ext cx="403414" cy="354629"/>
            <a:chOff x="3347236" y="2611160"/>
            <a:chExt cx="403414" cy="354629"/>
          </a:xfrm>
          <a:solidFill>
            <a:srgbClr val="B1B1A1"/>
          </a:solidFill>
        </p:grpSpPr>
        <p:grpSp>
          <p:nvGrpSpPr>
            <p:cNvPr id="53" name="Gráfico 2">
              <a:extLst>
                <a:ext uri="{FF2B5EF4-FFF2-40B4-BE49-F238E27FC236}">
                  <a16:creationId xmlns:a16="http://schemas.microsoft.com/office/drawing/2014/main" id="{A4E24395-F85F-4E15-8BC9-B92D577D4DAD}"/>
                </a:ext>
              </a:extLst>
            </p:cNvPr>
            <p:cNvGrpSpPr/>
            <p:nvPr/>
          </p:nvGrpSpPr>
          <p:grpSpPr>
            <a:xfrm>
              <a:off x="3416661" y="2802504"/>
              <a:ext cx="255808" cy="99489"/>
              <a:chOff x="3416661" y="2802504"/>
              <a:chExt cx="255808" cy="99489"/>
            </a:xfrm>
            <a:grpFill/>
          </p:grpSpPr>
          <p:sp>
            <p:nvSpPr>
              <p:cNvPr id="54" name="Forma Livre: Forma 53">
                <a:extLst>
                  <a:ext uri="{FF2B5EF4-FFF2-40B4-BE49-F238E27FC236}">
                    <a16:creationId xmlns:a16="http://schemas.microsoft.com/office/drawing/2014/main" id="{48204C24-0A18-4D5C-B2B1-915280645BBF}"/>
                  </a:ext>
                </a:extLst>
              </p:cNvPr>
              <p:cNvSpPr/>
              <p:nvPr/>
            </p:nvSpPr>
            <p:spPr>
              <a:xfrm>
                <a:off x="3416661" y="2802504"/>
                <a:ext cx="62544" cy="99489"/>
              </a:xfrm>
              <a:custGeom>
                <a:avLst/>
                <a:gdLst>
                  <a:gd name="connsiteX0" fmla="*/ 62545 w 62544"/>
                  <a:gd name="connsiteY0" fmla="*/ 47577 h 99489"/>
                  <a:gd name="connsiteX1" fmla="*/ 30647 w 62544"/>
                  <a:gd name="connsiteY1" fmla="*/ 99489 h 99489"/>
                  <a:gd name="connsiteX2" fmla="*/ 0 w 62544"/>
                  <a:gd name="connsiteY2" fmla="*/ 49453 h 99489"/>
                  <a:gd name="connsiteX3" fmla="*/ 32523 w 62544"/>
                  <a:gd name="connsiteY3" fmla="*/ 43 h 99489"/>
                  <a:gd name="connsiteX4" fmla="*/ 62545 w 62544"/>
                  <a:gd name="connsiteY4" fmla="*/ 47577 h 99489"/>
                  <a:gd name="connsiteX5" fmla="*/ 20014 w 62544"/>
                  <a:gd name="connsiteY5" fmla="*/ 48828 h 99489"/>
                  <a:gd name="connsiteX6" fmla="*/ 31898 w 62544"/>
                  <a:gd name="connsiteY6" fmla="*/ 82602 h 99489"/>
                  <a:gd name="connsiteX7" fmla="*/ 43156 w 62544"/>
                  <a:gd name="connsiteY7" fmla="*/ 48203 h 99489"/>
                  <a:gd name="connsiteX8" fmla="*/ 31898 w 62544"/>
                  <a:gd name="connsiteY8" fmla="*/ 15679 h 99489"/>
                  <a:gd name="connsiteX9" fmla="*/ 20014 w 62544"/>
                  <a:gd name="connsiteY9" fmla="*/ 48828 h 994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2544" h="99489">
                    <a:moveTo>
                      <a:pt x="62545" y="47577"/>
                    </a:moveTo>
                    <a:cubicBezTo>
                      <a:pt x="62545" y="84479"/>
                      <a:pt x="49410" y="99489"/>
                      <a:pt x="30647" y="99489"/>
                    </a:cubicBezTo>
                    <a:cubicBezTo>
                      <a:pt x="8756" y="99489"/>
                      <a:pt x="0" y="75722"/>
                      <a:pt x="0" y="49453"/>
                    </a:cubicBezTo>
                    <a:cubicBezTo>
                      <a:pt x="0" y="22559"/>
                      <a:pt x="10633" y="43"/>
                      <a:pt x="32523" y="43"/>
                    </a:cubicBezTo>
                    <a:cubicBezTo>
                      <a:pt x="55665" y="-1208"/>
                      <a:pt x="62545" y="25061"/>
                      <a:pt x="62545" y="47577"/>
                    </a:cubicBezTo>
                    <a:close/>
                    <a:moveTo>
                      <a:pt x="20014" y="48828"/>
                    </a:moveTo>
                    <a:cubicBezTo>
                      <a:pt x="20014" y="70719"/>
                      <a:pt x="24392" y="82602"/>
                      <a:pt x="31898" y="82602"/>
                    </a:cubicBezTo>
                    <a:cubicBezTo>
                      <a:pt x="40029" y="82602"/>
                      <a:pt x="43156" y="68217"/>
                      <a:pt x="43156" y="48203"/>
                    </a:cubicBezTo>
                    <a:cubicBezTo>
                      <a:pt x="43156" y="31315"/>
                      <a:pt x="40654" y="15679"/>
                      <a:pt x="31898" y="15679"/>
                    </a:cubicBezTo>
                    <a:cubicBezTo>
                      <a:pt x="23767" y="15679"/>
                      <a:pt x="20014" y="28188"/>
                      <a:pt x="20014" y="48828"/>
                    </a:cubicBez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55" name="Forma Livre: Forma 54">
                <a:extLst>
                  <a:ext uri="{FF2B5EF4-FFF2-40B4-BE49-F238E27FC236}">
                    <a16:creationId xmlns:a16="http://schemas.microsoft.com/office/drawing/2014/main" id="{43550869-2219-4E05-A4CC-FC27841C89A8}"/>
                  </a:ext>
                </a:extLst>
              </p:cNvPr>
              <p:cNvSpPr/>
              <p:nvPr/>
            </p:nvSpPr>
            <p:spPr>
              <a:xfrm>
                <a:off x="3491089" y="2802547"/>
                <a:ext cx="54414" cy="98195"/>
              </a:xfrm>
              <a:custGeom>
                <a:avLst/>
                <a:gdLst>
                  <a:gd name="connsiteX0" fmla="*/ 0 w 54414"/>
                  <a:gd name="connsiteY0" fmla="*/ 1876 h 98195"/>
                  <a:gd name="connsiteX1" fmla="*/ 20014 w 54414"/>
                  <a:gd name="connsiteY1" fmla="*/ 0 h 98195"/>
                  <a:gd name="connsiteX2" fmla="*/ 46283 w 54414"/>
                  <a:gd name="connsiteY2" fmla="*/ 7505 h 98195"/>
                  <a:gd name="connsiteX3" fmla="*/ 54414 w 54414"/>
                  <a:gd name="connsiteY3" fmla="*/ 28771 h 98195"/>
                  <a:gd name="connsiteX4" fmla="*/ 46283 w 54414"/>
                  <a:gd name="connsiteY4" fmla="*/ 52538 h 98195"/>
                  <a:gd name="connsiteX5" fmla="*/ 22516 w 54414"/>
                  <a:gd name="connsiteY5" fmla="*/ 61919 h 98195"/>
                  <a:gd name="connsiteX6" fmla="*/ 18763 w 54414"/>
                  <a:gd name="connsiteY6" fmla="*/ 61919 h 98195"/>
                  <a:gd name="connsiteX7" fmla="*/ 18763 w 54414"/>
                  <a:gd name="connsiteY7" fmla="*/ 98196 h 98195"/>
                  <a:gd name="connsiteX8" fmla="*/ 0 w 54414"/>
                  <a:gd name="connsiteY8" fmla="*/ 98196 h 98195"/>
                  <a:gd name="connsiteX9" fmla="*/ 0 w 54414"/>
                  <a:gd name="connsiteY9" fmla="*/ 1876 h 98195"/>
                  <a:gd name="connsiteX10" fmla="*/ 18763 w 54414"/>
                  <a:gd name="connsiteY10" fmla="*/ 46283 h 98195"/>
                  <a:gd name="connsiteX11" fmla="*/ 21891 w 54414"/>
                  <a:gd name="connsiteY11" fmla="*/ 46283 h 98195"/>
                  <a:gd name="connsiteX12" fmla="*/ 35651 w 54414"/>
                  <a:gd name="connsiteY12" fmla="*/ 30647 h 98195"/>
                  <a:gd name="connsiteX13" fmla="*/ 23142 w 54414"/>
                  <a:gd name="connsiteY13" fmla="*/ 15636 h 98195"/>
                  <a:gd name="connsiteX14" fmla="*/ 18763 w 54414"/>
                  <a:gd name="connsiteY14" fmla="*/ 16262 h 98195"/>
                  <a:gd name="connsiteX15" fmla="*/ 18763 w 54414"/>
                  <a:gd name="connsiteY15" fmla="*/ 46283 h 98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4414" h="98195">
                    <a:moveTo>
                      <a:pt x="0" y="1876"/>
                    </a:moveTo>
                    <a:cubicBezTo>
                      <a:pt x="5629" y="625"/>
                      <a:pt x="12509" y="0"/>
                      <a:pt x="20014" y="0"/>
                    </a:cubicBezTo>
                    <a:cubicBezTo>
                      <a:pt x="31272" y="0"/>
                      <a:pt x="40029" y="1876"/>
                      <a:pt x="46283" y="7505"/>
                    </a:cubicBezTo>
                    <a:cubicBezTo>
                      <a:pt x="51912" y="12509"/>
                      <a:pt x="54414" y="20640"/>
                      <a:pt x="54414" y="28771"/>
                    </a:cubicBezTo>
                    <a:cubicBezTo>
                      <a:pt x="54414" y="39403"/>
                      <a:pt x="51287" y="46909"/>
                      <a:pt x="46283" y="52538"/>
                    </a:cubicBezTo>
                    <a:cubicBezTo>
                      <a:pt x="40029" y="58792"/>
                      <a:pt x="30647" y="61919"/>
                      <a:pt x="22516" y="61919"/>
                    </a:cubicBezTo>
                    <a:cubicBezTo>
                      <a:pt x="21265" y="61919"/>
                      <a:pt x="20014" y="61919"/>
                      <a:pt x="18763" y="61919"/>
                    </a:cubicBezTo>
                    <a:lnTo>
                      <a:pt x="18763" y="98196"/>
                    </a:lnTo>
                    <a:lnTo>
                      <a:pt x="0" y="98196"/>
                    </a:lnTo>
                    <a:lnTo>
                      <a:pt x="0" y="1876"/>
                    </a:lnTo>
                    <a:close/>
                    <a:moveTo>
                      <a:pt x="18763" y="46283"/>
                    </a:moveTo>
                    <a:cubicBezTo>
                      <a:pt x="20014" y="46283"/>
                      <a:pt x="20640" y="46283"/>
                      <a:pt x="21891" y="46283"/>
                    </a:cubicBezTo>
                    <a:cubicBezTo>
                      <a:pt x="31272" y="46283"/>
                      <a:pt x="35651" y="39403"/>
                      <a:pt x="35651" y="30647"/>
                    </a:cubicBezTo>
                    <a:cubicBezTo>
                      <a:pt x="35651" y="21891"/>
                      <a:pt x="31898" y="15636"/>
                      <a:pt x="23142" y="15636"/>
                    </a:cubicBezTo>
                    <a:cubicBezTo>
                      <a:pt x="21265" y="15636"/>
                      <a:pt x="19389" y="15636"/>
                      <a:pt x="18763" y="16262"/>
                    </a:cubicBezTo>
                    <a:lnTo>
                      <a:pt x="18763" y="46283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56" name="Forma Livre: Forma 55">
                <a:extLst>
                  <a:ext uri="{FF2B5EF4-FFF2-40B4-BE49-F238E27FC236}">
                    <a16:creationId xmlns:a16="http://schemas.microsoft.com/office/drawing/2014/main" id="{1F9034ED-67DE-4B8A-AF4D-A5FA6B13217D}"/>
                  </a:ext>
                </a:extLst>
              </p:cNvPr>
              <p:cNvSpPr/>
              <p:nvPr/>
            </p:nvSpPr>
            <p:spPr>
              <a:xfrm>
                <a:off x="3558013" y="2802547"/>
                <a:ext cx="43781" cy="97570"/>
              </a:xfrm>
              <a:custGeom>
                <a:avLst/>
                <a:gdLst>
                  <a:gd name="connsiteX0" fmla="*/ 40654 w 43781"/>
                  <a:gd name="connsiteY0" fmla="*/ 55040 h 97570"/>
                  <a:gd name="connsiteX1" fmla="*/ 18763 w 43781"/>
                  <a:gd name="connsiteY1" fmla="*/ 55040 h 97570"/>
                  <a:gd name="connsiteX2" fmla="*/ 18763 w 43781"/>
                  <a:gd name="connsiteY2" fmla="*/ 81308 h 97570"/>
                  <a:gd name="connsiteX3" fmla="*/ 43781 w 43781"/>
                  <a:gd name="connsiteY3" fmla="*/ 81308 h 97570"/>
                  <a:gd name="connsiteX4" fmla="*/ 43781 w 43781"/>
                  <a:gd name="connsiteY4" fmla="*/ 97570 h 97570"/>
                  <a:gd name="connsiteX5" fmla="*/ 0 w 43781"/>
                  <a:gd name="connsiteY5" fmla="*/ 97570 h 97570"/>
                  <a:gd name="connsiteX6" fmla="*/ 0 w 43781"/>
                  <a:gd name="connsiteY6" fmla="*/ 0 h 97570"/>
                  <a:gd name="connsiteX7" fmla="*/ 42530 w 43781"/>
                  <a:gd name="connsiteY7" fmla="*/ 0 h 97570"/>
                  <a:gd name="connsiteX8" fmla="*/ 42530 w 43781"/>
                  <a:gd name="connsiteY8" fmla="*/ 16262 h 97570"/>
                  <a:gd name="connsiteX9" fmla="*/ 18763 w 43781"/>
                  <a:gd name="connsiteY9" fmla="*/ 16262 h 97570"/>
                  <a:gd name="connsiteX10" fmla="*/ 18763 w 43781"/>
                  <a:gd name="connsiteY10" fmla="*/ 38778 h 97570"/>
                  <a:gd name="connsiteX11" fmla="*/ 40654 w 43781"/>
                  <a:gd name="connsiteY11" fmla="*/ 38778 h 97570"/>
                  <a:gd name="connsiteX12" fmla="*/ 40654 w 43781"/>
                  <a:gd name="connsiteY12" fmla="*/ 55040 h 975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3781" h="97570">
                    <a:moveTo>
                      <a:pt x="40654" y="55040"/>
                    </a:moveTo>
                    <a:lnTo>
                      <a:pt x="18763" y="55040"/>
                    </a:lnTo>
                    <a:lnTo>
                      <a:pt x="18763" y="81308"/>
                    </a:lnTo>
                    <a:lnTo>
                      <a:pt x="43781" y="81308"/>
                    </a:lnTo>
                    <a:lnTo>
                      <a:pt x="43781" y="97570"/>
                    </a:lnTo>
                    <a:lnTo>
                      <a:pt x="0" y="97570"/>
                    </a:lnTo>
                    <a:lnTo>
                      <a:pt x="0" y="0"/>
                    </a:lnTo>
                    <a:lnTo>
                      <a:pt x="42530" y="0"/>
                    </a:lnTo>
                    <a:lnTo>
                      <a:pt x="42530" y="16262"/>
                    </a:lnTo>
                    <a:lnTo>
                      <a:pt x="18763" y="16262"/>
                    </a:lnTo>
                    <a:lnTo>
                      <a:pt x="18763" y="38778"/>
                    </a:lnTo>
                    <a:lnTo>
                      <a:pt x="40654" y="38778"/>
                    </a:lnTo>
                    <a:lnTo>
                      <a:pt x="40654" y="55040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57" name="Forma Livre: Forma 56">
                <a:extLst>
                  <a:ext uri="{FF2B5EF4-FFF2-40B4-BE49-F238E27FC236}">
                    <a16:creationId xmlns:a16="http://schemas.microsoft.com/office/drawing/2014/main" id="{E5757E8F-0D4C-4713-98CC-9C6E707DB86F}"/>
                  </a:ext>
                </a:extLst>
              </p:cNvPr>
              <p:cNvSpPr/>
              <p:nvPr/>
            </p:nvSpPr>
            <p:spPr>
              <a:xfrm>
                <a:off x="3614303" y="2802547"/>
                <a:ext cx="58166" cy="97570"/>
              </a:xfrm>
              <a:custGeom>
                <a:avLst/>
                <a:gdLst>
                  <a:gd name="connsiteX0" fmla="*/ 0 w 58166"/>
                  <a:gd name="connsiteY0" fmla="*/ 97570 h 97570"/>
                  <a:gd name="connsiteX1" fmla="*/ 0 w 58166"/>
                  <a:gd name="connsiteY1" fmla="*/ 0 h 97570"/>
                  <a:gd name="connsiteX2" fmla="*/ 17513 w 58166"/>
                  <a:gd name="connsiteY2" fmla="*/ 0 h 97570"/>
                  <a:gd name="connsiteX3" fmla="*/ 32523 w 58166"/>
                  <a:gd name="connsiteY3" fmla="*/ 38152 h 97570"/>
                  <a:gd name="connsiteX4" fmla="*/ 43156 w 58166"/>
                  <a:gd name="connsiteY4" fmla="*/ 66923 h 97570"/>
                  <a:gd name="connsiteX5" fmla="*/ 43156 w 58166"/>
                  <a:gd name="connsiteY5" fmla="*/ 66923 h 97570"/>
                  <a:gd name="connsiteX6" fmla="*/ 41279 w 58166"/>
                  <a:gd name="connsiteY6" fmla="*/ 21891 h 97570"/>
                  <a:gd name="connsiteX7" fmla="*/ 41279 w 58166"/>
                  <a:gd name="connsiteY7" fmla="*/ 0 h 97570"/>
                  <a:gd name="connsiteX8" fmla="*/ 58167 w 58166"/>
                  <a:gd name="connsiteY8" fmla="*/ 0 h 97570"/>
                  <a:gd name="connsiteX9" fmla="*/ 58167 w 58166"/>
                  <a:gd name="connsiteY9" fmla="*/ 97570 h 97570"/>
                  <a:gd name="connsiteX10" fmla="*/ 40654 w 58166"/>
                  <a:gd name="connsiteY10" fmla="*/ 97570 h 97570"/>
                  <a:gd name="connsiteX11" fmla="*/ 25643 w 58166"/>
                  <a:gd name="connsiteY11" fmla="*/ 60669 h 97570"/>
                  <a:gd name="connsiteX12" fmla="*/ 15636 w 58166"/>
                  <a:gd name="connsiteY12" fmla="*/ 31272 h 97570"/>
                  <a:gd name="connsiteX13" fmla="*/ 15636 w 58166"/>
                  <a:gd name="connsiteY13" fmla="*/ 31272 h 97570"/>
                  <a:gd name="connsiteX14" fmla="*/ 16887 w 58166"/>
                  <a:gd name="connsiteY14" fmla="*/ 75679 h 97570"/>
                  <a:gd name="connsiteX15" fmla="*/ 16887 w 58166"/>
                  <a:gd name="connsiteY15" fmla="*/ 97570 h 97570"/>
                  <a:gd name="connsiteX16" fmla="*/ 0 w 58166"/>
                  <a:gd name="connsiteY16" fmla="*/ 97570 h 975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8166" h="97570">
                    <a:moveTo>
                      <a:pt x="0" y="97570"/>
                    </a:moveTo>
                    <a:lnTo>
                      <a:pt x="0" y="0"/>
                    </a:lnTo>
                    <a:lnTo>
                      <a:pt x="17513" y="0"/>
                    </a:lnTo>
                    <a:lnTo>
                      <a:pt x="32523" y="38152"/>
                    </a:lnTo>
                    <a:cubicBezTo>
                      <a:pt x="35650" y="45658"/>
                      <a:pt x="40029" y="58167"/>
                      <a:pt x="43156" y="66923"/>
                    </a:cubicBezTo>
                    <a:lnTo>
                      <a:pt x="43156" y="66923"/>
                    </a:lnTo>
                    <a:cubicBezTo>
                      <a:pt x="42530" y="56916"/>
                      <a:pt x="41279" y="39403"/>
                      <a:pt x="41279" y="21891"/>
                    </a:cubicBezTo>
                    <a:lnTo>
                      <a:pt x="41279" y="0"/>
                    </a:lnTo>
                    <a:lnTo>
                      <a:pt x="58167" y="0"/>
                    </a:lnTo>
                    <a:lnTo>
                      <a:pt x="58167" y="97570"/>
                    </a:lnTo>
                    <a:lnTo>
                      <a:pt x="40654" y="97570"/>
                    </a:lnTo>
                    <a:lnTo>
                      <a:pt x="25643" y="60669"/>
                    </a:lnTo>
                    <a:cubicBezTo>
                      <a:pt x="22516" y="52538"/>
                      <a:pt x="18138" y="40029"/>
                      <a:pt x="15636" y="31272"/>
                    </a:cubicBezTo>
                    <a:lnTo>
                      <a:pt x="15636" y="31272"/>
                    </a:lnTo>
                    <a:cubicBezTo>
                      <a:pt x="16262" y="41280"/>
                      <a:pt x="16887" y="56290"/>
                      <a:pt x="16887" y="75679"/>
                    </a:cubicBezTo>
                    <a:lnTo>
                      <a:pt x="16887" y="97570"/>
                    </a:lnTo>
                    <a:lnTo>
                      <a:pt x="0" y="97570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58" name="Forma Livre: Forma 57">
              <a:extLst>
                <a:ext uri="{FF2B5EF4-FFF2-40B4-BE49-F238E27FC236}">
                  <a16:creationId xmlns:a16="http://schemas.microsoft.com/office/drawing/2014/main" id="{5967AC0C-5106-47DB-A7DA-0A019EAC539E}"/>
                </a:ext>
              </a:extLst>
            </p:cNvPr>
            <p:cNvSpPr/>
            <p:nvPr/>
          </p:nvSpPr>
          <p:spPr>
            <a:xfrm>
              <a:off x="3347236" y="2739377"/>
              <a:ext cx="403414" cy="226412"/>
            </a:xfrm>
            <a:custGeom>
              <a:avLst/>
              <a:gdLst>
                <a:gd name="connsiteX0" fmla="*/ 338368 w 403414"/>
                <a:gd name="connsiteY0" fmla="*/ 226413 h 226412"/>
                <a:gd name="connsiteX1" fmla="*/ 65047 w 403414"/>
                <a:gd name="connsiteY1" fmla="*/ 226413 h 226412"/>
                <a:gd name="connsiteX2" fmla="*/ 0 w 403414"/>
                <a:gd name="connsiteY2" fmla="*/ 161366 h 226412"/>
                <a:gd name="connsiteX3" fmla="*/ 0 w 403414"/>
                <a:gd name="connsiteY3" fmla="*/ 65047 h 226412"/>
                <a:gd name="connsiteX4" fmla="*/ 65047 w 403414"/>
                <a:gd name="connsiteY4" fmla="*/ 0 h 226412"/>
                <a:gd name="connsiteX5" fmla="*/ 338368 w 403414"/>
                <a:gd name="connsiteY5" fmla="*/ 0 h 226412"/>
                <a:gd name="connsiteX6" fmla="*/ 403415 w 403414"/>
                <a:gd name="connsiteY6" fmla="*/ 65047 h 226412"/>
                <a:gd name="connsiteX7" fmla="*/ 403415 w 403414"/>
                <a:gd name="connsiteY7" fmla="*/ 161366 h 226412"/>
                <a:gd name="connsiteX8" fmla="*/ 338368 w 403414"/>
                <a:gd name="connsiteY8" fmla="*/ 226413 h 226412"/>
                <a:gd name="connsiteX9" fmla="*/ 338368 w 403414"/>
                <a:gd name="connsiteY9" fmla="*/ 226413 h 226412"/>
                <a:gd name="connsiteX10" fmla="*/ 65047 w 403414"/>
                <a:gd name="connsiteY10" fmla="*/ 33149 h 226412"/>
                <a:gd name="connsiteX11" fmla="*/ 33149 w 403414"/>
                <a:gd name="connsiteY11" fmla="*/ 65047 h 226412"/>
                <a:gd name="connsiteX12" fmla="*/ 33149 w 403414"/>
                <a:gd name="connsiteY12" fmla="*/ 161366 h 226412"/>
                <a:gd name="connsiteX13" fmla="*/ 65047 w 403414"/>
                <a:gd name="connsiteY13" fmla="*/ 193264 h 226412"/>
                <a:gd name="connsiteX14" fmla="*/ 338368 w 403414"/>
                <a:gd name="connsiteY14" fmla="*/ 193264 h 226412"/>
                <a:gd name="connsiteX15" fmla="*/ 369641 w 403414"/>
                <a:gd name="connsiteY15" fmla="*/ 161366 h 226412"/>
                <a:gd name="connsiteX16" fmla="*/ 369641 w 403414"/>
                <a:gd name="connsiteY16" fmla="*/ 65047 h 226412"/>
                <a:gd name="connsiteX17" fmla="*/ 338368 w 403414"/>
                <a:gd name="connsiteY17" fmla="*/ 33149 h 226412"/>
                <a:gd name="connsiteX18" fmla="*/ 65047 w 403414"/>
                <a:gd name="connsiteY18" fmla="*/ 33149 h 226412"/>
                <a:gd name="connsiteX19" fmla="*/ 65047 w 403414"/>
                <a:gd name="connsiteY19" fmla="*/ 33149 h 226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03414" h="226412">
                  <a:moveTo>
                    <a:pt x="338368" y="226413"/>
                  </a:moveTo>
                  <a:lnTo>
                    <a:pt x="65047" y="226413"/>
                  </a:lnTo>
                  <a:cubicBezTo>
                    <a:pt x="29396" y="226413"/>
                    <a:pt x="0" y="197017"/>
                    <a:pt x="0" y="161366"/>
                  </a:cubicBezTo>
                  <a:lnTo>
                    <a:pt x="0" y="65047"/>
                  </a:lnTo>
                  <a:cubicBezTo>
                    <a:pt x="0" y="29396"/>
                    <a:pt x="29396" y="0"/>
                    <a:pt x="65047" y="0"/>
                  </a:cubicBezTo>
                  <a:lnTo>
                    <a:pt x="338368" y="0"/>
                  </a:lnTo>
                  <a:cubicBezTo>
                    <a:pt x="374019" y="0"/>
                    <a:pt x="403415" y="29396"/>
                    <a:pt x="403415" y="65047"/>
                  </a:cubicBezTo>
                  <a:lnTo>
                    <a:pt x="403415" y="161366"/>
                  </a:lnTo>
                  <a:cubicBezTo>
                    <a:pt x="403415" y="197017"/>
                    <a:pt x="374019" y="226413"/>
                    <a:pt x="338368" y="226413"/>
                  </a:cubicBezTo>
                  <a:lnTo>
                    <a:pt x="338368" y="226413"/>
                  </a:lnTo>
                  <a:close/>
                  <a:moveTo>
                    <a:pt x="65047" y="33149"/>
                  </a:moveTo>
                  <a:cubicBezTo>
                    <a:pt x="47534" y="33149"/>
                    <a:pt x="33149" y="47534"/>
                    <a:pt x="33149" y="65047"/>
                  </a:cubicBezTo>
                  <a:lnTo>
                    <a:pt x="33149" y="161366"/>
                  </a:lnTo>
                  <a:cubicBezTo>
                    <a:pt x="33149" y="178879"/>
                    <a:pt x="47534" y="193264"/>
                    <a:pt x="65047" y="193264"/>
                  </a:cubicBezTo>
                  <a:lnTo>
                    <a:pt x="338368" y="193264"/>
                  </a:lnTo>
                  <a:cubicBezTo>
                    <a:pt x="355881" y="193264"/>
                    <a:pt x="369641" y="178879"/>
                    <a:pt x="369641" y="161366"/>
                  </a:cubicBezTo>
                  <a:lnTo>
                    <a:pt x="369641" y="65047"/>
                  </a:lnTo>
                  <a:cubicBezTo>
                    <a:pt x="369641" y="47534"/>
                    <a:pt x="355255" y="33149"/>
                    <a:pt x="338368" y="33149"/>
                  </a:cubicBezTo>
                  <a:lnTo>
                    <a:pt x="65047" y="33149"/>
                  </a:lnTo>
                  <a:lnTo>
                    <a:pt x="65047" y="33149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59" name="Forma Livre: Forma 58">
              <a:extLst>
                <a:ext uri="{FF2B5EF4-FFF2-40B4-BE49-F238E27FC236}">
                  <a16:creationId xmlns:a16="http://schemas.microsoft.com/office/drawing/2014/main" id="{6AD2494B-51A1-4CE6-B8AE-89AC4CCE474E}"/>
                </a:ext>
              </a:extLst>
            </p:cNvPr>
            <p:cNvSpPr/>
            <p:nvPr/>
          </p:nvSpPr>
          <p:spPr>
            <a:xfrm>
              <a:off x="3442461" y="2614443"/>
              <a:ext cx="210463" cy="113675"/>
            </a:xfrm>
            <a:custGeom>
              <a:avLst/>
              <a:gdLst>
                <a:gd name="connsiteX0" fmla="*/ 201238 w 210463"/>
                <a:gd name="connsiteY0" fmla="*/ 113675 h 113675"/>
                <a:gd name="connsiteX1" fmla="*/ 195609 w 210463"/>
                <a:gd name="connsiteY1" fmla="*/ 111174 h 113675"/>
                <a:gd name="connsiteX2" fmla="*/ 104919 w 210463"/>
                <a:gd name="connsiteY2" fmla="*/ 20483 h 113675"/>
                <a:gd name="connsiteX3" fmla="*/ 14229 w 210463"/>
                <a:gd name="connsiteY3" fmla="*/ 111174 h 113675"/>
                <a:gd name="connsiteX4" fmla="*/ 2345 w 210463"/>
                <a:gd name="connsiteY4" fmla="*/ 111174 h 113675"/>
                <a:gd name="connsiteX5" fmla="*/ 2345 w 210463"/>
                <a:gd name="connsiteY5" fmla="*/ 99290 h 113675"/>
                <a:gd name="connsiteX6" fmla="*/ 99290 w 210463"/>
                <a:gd name="connsiteY6" fmla="*/ 2345 h 113675"/>
                <a:gd name="connsiteX7" fmla="*/ 111174 w 210463"/>
                <a:gd name="connsiteY7" fmla="*/ 2345 h 113675"/>
                <a:gd name="connsiteX8" fmla="*/ 208118 w 210463"/>
                <a:gd name="connsiteY8" fmla="*/ 99290 h 113675"/>
                <a:gd name="connsiteX9" fmla="*/ 208118 w 210463"/>
                <a:gd name="connsiteY9" fmla="*/ 111174 h 113675"/>
                <a:gd name="connsiteX10" fmla="*/ 201238 w 210463"/>
                <a:gd name="connsiteY10" fmla="*/ 113675 h 113675"/>
                <a:gd name="connsiteX11" fmla="*/ 201238 w 210463"/>
                <a:gd name="connsiteY11" fmla="*/ 113675 h 113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0463" h="113675">
                  <a:moveTo>
                    <a:pt x="201238" y="113675"/>
                  </a:moveTo>
                  <a:cubicBezTo>
                    <a:pt x="199362" y="113675"/>
                    <a:pt x="196860" y="113050"/>
                    <a:pt x="195609" y="111174"/>
                  </a:cubicBezTo>
                  <a:lnTo>
                    <a:pt x="104919" y="20483"/>
                  </a:lnTo>
                  <a:lnTo>
                    <a:pt x="14229" y="111174"/>
                  </a:lnTo>
                  <a:cubicBezTo>
                    <a:pt x="11102" y="114301"/>
                    <a:pt x="5473" y="114301"/>
                    <a:pt x="2345" y="111174"/>
                  </a:cubicBezTo>
                  <a:cubicBezTo>
                    <a:pt x="-782" y="108046"/>
                    <a:pt x="-782" y="102417"/>
                    <a:pt x="2345" y="99290"/>
                  </a:cubicBezTo>
                  <a:lnTo>
                    <a:pt x="99290" y="2345"/>
                  </a:lnTo>
                  <a:cubicBezTo>
                    <a:pt x="102417" y="-782"/>
                    <a:pt x="108046" y="-782"/>
                    <a:pt x="111174" y="2345"/>
                  </a:cubicBezTo>
                  <a:lnTo>
                    <a:pt x="208118" y="99290"/>
                  </a:lnTo>
                  <a:cubicBezTo>
                    <a:pt x="211245" y="102417"/>
                    <a:pt x="211245" y="108046"/>
                    <a:pt x="208118" y="111174"/>
                  </a:cubicBezTo>
                  <a:cubicBezTo>
                    <a:pt x="205616" y="113050"/>
                    <a:pt x="203115" y="113675"/>
                    <a:pt x="201238" y="113675"/>
                  </a:cubicBezTo>
                  <a:lnTo>
                    <a:pt x="201238" y="113675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60" name="Forma Livre: Forma 59">
              <a:extLst>
                <a:ext uri="{FF2B5EF4-FFF2-40B4-BE49-F238E27FC236}">
                  <a16:creationId xmlns:a16="http://schemas.microsoft.com/office/drawing/2014/main" id="{C60DD8D5-73D1-45CE-AD0D-916C924E1BE4}"/>
                </a:ext>
              </a:extLst>
            </p:cNvPr>
            <p:cNvSpPr/>
            <p:nvPr/>
          </p:nvSpPr>
          <p:spPr>
            <a:xfrm>
              <a:off x="3522362" y="2611160"/>
              <a:ext cx="48784" cy="48785"/>
            </a:xfrm>
            <a:custGeom>
              <a:avLst/>
              <a:gdLst>
                <a:gd name="connsiteX0" fmla="*/ 24392 w 48784"/>
                <a:gd name="connsiteY0" fmla="*/ 0 h 48785"/>
                <a:gd name="connsiteX1" fmla="*/ 0 w 48784"/>
                <a:gd name="connsiteY1" fmla="*/ 24393 h 48785"/>
                <a:gd name="connsiteX2" fmla="*/ 24392 w 48784"/>
                <a:gd name="connsiteY2" fmla="*/ 48785 h 48785"/>
                <a:gd name="connsiteX3" fmla="*/ 48785 w 48784"/>
                <a:gd name="connsiteY3" fmla="*/ 24393 h 48785"/>
                <a:gd name="connsiteX4" fmla="*/ 24392 w 48784"/>
                <a:gd name="connsiteY4" fmla="*/ 0 h 48785"/>
                <a:gd name="connsiteX5" fmla="*/ 24392 w 48784"/>
                <a:gd name="connsiteY5" fmla="*/ 0 h 48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784" h="48785">
                  <a:moveTo>
                    <a:pt x="24392" y="0"/>
                  </a:moveTo>
                  <a:cubicBezTo>
                    <a:pt x="11258" y="0"/>
                    <a:pt x="0" y="10633"/>
                    <a:pt x="0" y="24393"/>
                  </a:cubicBezTo>
                  <a:cubicBezTo>
                    <a:pt x="0" y="37527"/>
                    <a:pt x="10633" y="48785"/>
                    <a:pt x="24392" y="48785"/>
                  </a:cubicBezTo>
                  <a:cubicBezTo>
                    <a:pt x="37527" y="48785"/>
                    <a:pt x="48785" y="38152"/>
                    <a:pt x="48785" y="24393"/>
                  </a:cubicBezTo>
                  <a:cubicBezTo>
                    <a:pt x="48785" y="10633"/>
                    <a:pt x="38152" y="0"/>
                    <a:pt x="24392" y="0"/>
                  </a:cubicBezTo>
                  <a:lnTo>
                    <a:pt x="24392" y="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61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4325892" y="2611160"/>
            <a:ext cx="496606" cy="354629"/>
            <a:chOff x="4313555" y="2611160"/>
            <a:chExt cx="496606" cy="354629"/>
          </a:xfrm>
          <a:solidFill>
            <a:srgbClr val="B1B1A1"/>
          </a:solidFill>
        </p:grpSpPr>
        <p:grpSp>
          <p:nvGrpSpPr>
            <p:cNvPr id="62" name="Gráfico 2">
              <a:extLst>
                <a:ext uri="{FF2B5EF4-FFF2-40B4-BE49-F238E27FC236}">
                  <a16:creationId xmlns:a16="http://schemas.microsoft.com/office/drawing/2014/main" id="{A4E24395-F85F-4E15-8BC9-B92D577D4DAD}"/>
                </a:ext>
              </a:extLst>
            </p:cNvPr>
            <p:cNvGrpSpPr/>
            <p:nvPr/>
          </p:nvGrpSpPr>
          <p:grpSpPr>
            <a:xfrm>
              <a:off x="4384231" y="2801296"/>
              <a:ext cx="355255" cy="100697"/>
              <a:chOff x="4384231" y="2801296"/>
              <a:chExt cx="355255" cy="100697"/>
            </a:xfrm>
            <a:grpFill/>
          </p:grpSpPr>
          <p:sp>
            <p:nvSpPr>
              <p:cNvPr id="63" name="Forma Livre: Forma 62">
                <a:extLst>
                  <a:ext uri="{FF2B5EF4-FFF2-40B4-BE49-F238E27FC236}">
                    <a16:creationId xmlns:a16="http://schemas.microsoft.com/office/drawing/2014/main" id="{9B3E38A2-DB00-4163-A1A3-99B3A77AF9B8}"/>
                  </a:ext>
                </a:extLst>
              </p:cNvPr>
              <p:cNvSpPr/>
              <p:nvPr/>
            </p:nvSpPr>
            <p:spPr>
              <a:xfrm>
                <a:off x="4384231" y="2801922"/>
                <a:ext cx="52537" cy="99446"/>
              </a:xfrm>
              <a:custGeom>
                <a:avLst/>
                <a:gdLst>
                  <a:gd name="connsiteX0" fmla="*/ 51287 w 52537"/>
                  <a:gd name="connsiteY0" fmla="*/ 96945 h 99446"/>
                  <a:gd name="connsiteX1" fmla="*/ 36902 w 52537"/>
                  <a:gd name="connsiteY1" fmla="*/ 99447 h 99446"/>
                  <a:gd name="connsiteX2" fmla="*/ 0 w 52537"/>
                  <a:gd name="connsiteY2" fmla="*/ 51287 h 99446"/>
                  <a:gd name="connsiteX3" fmla="*/ 39403 w 52537"/>
                  <a:gd name="connsiteY3" fmla="*/ 0 h 99446"/>
                  <a:gd name="connsiteX4" fmla="*/ 52538 w 52537"/>
                  <a:gd name="connsiteY4" fmla="*/ 2502 h 99446"/>
                  <a:gd name="connsiteX5" fmla="*/ 49411 w 52537"/>
                  <a:gd name="connsiteY5" fmla="*/ 18138 h 99446"/>
                  <a:gd name="connsiteX6" fmla="*/ 40654 w 52537"/>
                  <a:gd name="connsiteY6" fmla="*/ 16262 h 99446"/>
                  <a:gd name="connsiteX7" fmla="*/ 20014 w 52537"/>
                  <a:gd name="connsiteY7" fmla="*/ 50036 h 99446"/>
                  <a:gd name="connsiteX8" fmla="*/ 40654 w 52537"/>
                  <a:gd name="connsiteY8" fmla="*/ 82559 h 99446"/>
                  <a:gd name="connsiteX9" fmla="*/ 50036 w 52537"/>
                  <a:gd name="connsiteY9" fmla="*/ 81308 h 99446"/>
                  <a:gd name="connsiteX10" fmla="*/ 51287 w 52537"/>
                  <a:gd name="connsiteY10" fmla="*/ 96945 h 99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2537" h="99446">
                    <a:moveTo>
                      <a:pt x="51287" y="96945"/>
                    </a:moveTo>
                    <a:cubicBezTo>
                      <a:pt x="48785" y="98196"/>
                      <a:pt x="43156" y="99447"/>
                      <a:pt x="36902" y="99447"/>
                    </a:cubicBezTo>
                    <a:cubicBezTo>
                      <a:pt x="11884" y="99447"/>
                      <a:pt x="0" y="78807"/>
                      <a:pt x="0" y="51287"/>
                    </a:cubicBezTo>
                    <a:cubicBezTo>
                      <a:pt x="0" y="14385"/>
                      <a:pt x="20640" y="0"/>
                      <a:pt x="39403" y="0"/>
                    </a:cubicBezTo>
                    <a:cubicBezTo>
                      <a:pt x="46283" y="0"/>
                      <a:pt x="50661" y="1251"/>
                      <a:pt x="52538" y="2502"/>
                    </a:cubicBezTo>
                    <a:lnTo>
                      <a:pt x="49411" y="18138"/>
                    </a:lnTo>
                    <a:cubicBezTo>
                      <a:pt x="47534" y="16887"/>
                      <a:pt x="45032" y="16262"/>
                      <a:pt x="40654" y="16262"/>
                    </a:cubicBezTo>
                    <a:cubicBezTo>
                      <a:pt x="30022" y="16262"/>
                      <a:pt x="20014" y="25643"/>
                      <a:pt x="20014" y="50036"/>
                    </a:cubicBezTo>
                    <a:cubicBezTo>
                      <a:pt x="20014" y="73178"/>
                      <a:pt x="28771" y="82559"/>
                      <a:pt x="40654" y="82559"/>
                    </a:cubicBezTo>
                    <a:cubicBezTo>
                      <a:pt x="43781" y="82559"/>
                      <a:pt x="47534" y="81934"/>
                      <a:pt x="50036" y="81308"/>
                    </a:cubicBezTo>
                    <a:lnTo>
                      <a:pt x="51287" y="96945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64" name="Forma Livre: Forma 63">
                <a:extLst>
                  <a:ext uri="{FF2B5EF4-FFF2-40B4-BE49-F238E27FC236}">
                    <a16:creationId xmlns:a16="http://schemas.microsoft.com/office/drawing/2014/main" id="{ABD11AAA-1CD4-45C8-B11A-E6354D9E75AE}"/>
                  </a:ext>
                </a:extLst>
              </p:cNvPr>
              <p:cNvSpPr/>
              <p:nvPr/>
            </p:nvSpPr>
            <p:spPr>
              <a:xfrm>
                <a:off x="4445525" y="2802547"/>
                <a:ext cx="43781" cy="97570"/>
              </a:xfrm>
              <a:custGeom>
                <a:avLst/>
                <a:gdLst>
                  <a:gd name="connsiteX0" fmla="*/ 0 w 43781"/>
                  <a:gd name="connsiteY0" fmla="*/ 0 h 97570"/>
                  <a:gd name="connsiteX1" fmla="*/ 18763 w 43781"/>
                  <a:gd name="connsiteY1" fmla="*/ 0 h 97570"/>
                  <a:gd name="connsiteX2" fmla="*/ 18763 w 43781"/>
                  <a:gd name="connsiteY2" fmla="*/ 81308 h 97570"/>
                  <a:gd name="connsiteX3" fmla="*/ 43781 w 43781"/>
                  <a:gd name="connsiteY3" fmla="*/ 81308 h 97570"/>
                  <a:gd name="connsiteX4" fmla="*/ 43781 w 43781"/>
                  <a:gd name="connsiteY4" fmla="*/ 97570 h 97570"/>
                  <a:gd name="connsiteX5" fmla="*/ 0 w 43781"/>
                  <a:gd name="connsiteY5" fmla="*/ 97570 h 97570"/>
                  <a:gd name="connsiteX6" fmla="*/ 0 w 43781"/>
                  <a:gd name="connsiteY6" fmla="*/ 0 h 975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781" h="97570">
                    <a:moveTo>
                      <a:pt x="0" y="0"/>
                    </a:moveTo>
                    <a:lnTo>
                      <a:pt x="18763" y="0"/>
                    </a:lnTo>
                    <a:lnTo>
                      <a:pt x="18763" y="81308"/>
                    </a:lnTo>
                    <a:lnTo>
                      <a:pt x="43781" y="81308"/>
                    </a:lnTo>
                    <a:lnTo>
                      <a:pt x="43781" y="97570"/>
                    </a:lnTo>
                    <a:lnTo>
                      <a:pt x="0" y="9757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65" name="Forma Livre: Forma 64">
                <a:extLst>
                  <a:ext uri="{FF2B5EF4-FFF2-40B4-BE49-F238E27FC236}">
                    <a16:creationId xmlns:a16="http://schemas.microsoft.com/office/drawing/2014/main" id="{4D0E454D-7FEC-4917-9B91-CDFF1BA669AF}"/>
                  </a:ext>
                </a:extLst>
              </p:cNvPr>
              <p:cNvSpPr/>
              <p:nvPr/>
            </p:nvSpPr>
            <p:spPr>
              <a:xfrm>
                <a:off x="4492434" y="2802504"/>
                <a:ext cx="61919" cy="99489"/>
              </a:xfrm>
              <a:custGeom>
                <a:avLst/>
                <a:gdLst>
                  <a:gd name="connsiteX0" fmla="*/ 61919 w 61919"/>
                  <a:gd name="connsiteY0" fmla="*/ 47577 h 99489"/>
                  <a:gd name="connsiteX1" fmla="*/ 30647 w 61919"/>
                  <a:gd name="connsiteY1" fmla="*/ 99489 h 99489"/>
                  <a:gd name="connsiteX2" fmla="*/ 0 w 61919"/>
                  <a:gd name="connsiteY2" fmla="*/ 49453 h 99489"/>
                  <a:gd name="connsiteX3" fmla="*/ 32523 w 61919"/>
                  <a:gd name="connsiteY3" fmla="*/ 43 h 99489"/>
                  <a:gd name="connsiteX4" fmla="*/ 61919 w 61919"/>
                  <a:gd name="connsiteY4" fmla="*/ 47577 h 99489"/>
                  <a:gd name="connsiteX5" fmla="*/ 19389 w 61919"/>
                  <a:gd name="connsiteY5" fmla="*/ 48828 h 99489"/>
                  <a:gd name="connsiteX6" fmla="*/ 31272 w 61919"/>
                  <a:gd name="connsiteY6" fmla="*/ 82602 h 99489"/>
                  <a:gd name="connsiteX7" fmla="*/ 42531 w 61919"/>
                  <a:gd name="connsiteY7" fmla="*/ 48203 h 99489"/>
                  <a:gd name="connsiteX8" fmla="*/ 31272 w 61919"/>
                  <a:gd name="connsiteY8" fmla="*/ 15679 h 99489"/>
                  <a:gd name="connsiteX9" fmla="*/ 19389 w 61919"/>
                  <a:gd name="connsiteY9" fmla="*/ 48828 h 994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919" h="99489">
                    <a:moveTo>
                      <a:pt x="61919" y="47577"/>
                    </a:moveTo>
                    <a:cubicBezTo>
                      <a:pt x="61919" y="84479"/>
                      <a:pt x="48785" y="99489"/>
                      <a:pt x="30647" y="99489"/>
                    </a:cubicBezTo>
                    <a:cubicBezTo>
                      <a:pt x="8756" y="99489"/>
                      <a:pt x="0" y="75722"/>
                      <a:pt x="0" y="49453"/>
                    </a:cubicBezTo>
                    <a:cubicBezTo>
                      <a:pt x="0" y="22559"/>
                      <a:pt x="10633" y="43"/>
                      <a:pt x="32523" y="43"/>
                    </a:cubicBezTo>
                    <a:cubicBezTo>
                      <a:pt x="55665" y="-1208"/>
                      <a:pt x="61919" y="25061"/>
                      <a:pt x="61919" y="47577"/>
                    </a:cubicBezTo>
                    <a:close/>
                    <a:moveTo>
                      <a:pt x="19389" y="48828"/>
                    </a:moveTo>
                    <a:cubicBezTo>
                      <a:pt x="19389" y="70719"/>
                      <a:pt x="23767" y="82602"/>
                      <a:pt x="31272" y="82602"/>
                    </a:cubicBezTo>
                    <a:cubicBezTo>
                      <a:pt x="39403" y="82602"/>
                      <a:pt x="42531" y="68217"/>
                      <a:pt x="42531" y="48203"/>
                    </a:cubicBezTo>
                    <a:cubicBezTo>
                      <a:pt x="42531" y="31315"/>
                      <a:pt x="40029" y="15679"/>
                      <a:pt x="31272" y="15679"/>
                    </a:cubicBezTo>
                    <a:cubicBezTo>
                      <a:pt x="23767" y="15679"/>
                      <a:pt x="19389" y="28188"/>
                      <a:pt x="19389" y="48828"/>
                    </a:cubicBez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66" name="Forma Livre: Forma 65">
                <a:extLst>
                  <a:ext uri="{FF2B5EF4-FFF2-40B4-BE49-F238E27FC236}">
                    <a16:creationId xmlns:a16="http://schemas.microsoft.com/office/drawing/2014/main" id="{18325E3B-D994-40C2-873A-C609E4BE03C0}"/>
                  </a:ext>
                </a:extLst>
              </p:cNvPr>
              <p:cNvSpPr/>
              <p:nvPr/>
            </p:nvSpPr>
            <p:spPr>
              <a:xfrm>
                <a:off x="4561859" y="2801296"/>
                <a:ext cx="50661" cy="99446"/>
              </a:xfrm>
              <a:custGeom>
                <a:avLst/>
                <a:gdLst>
                  <a:gd name="connsiteX0" fmla="*/ 2502 w 50661"/>
                  <a:gd name="connsiteY0" fmla="*/ 79432 h 99446"/>
                  <a:gd name="connsiteX1" fmla="*/ 18763 w 50661"/>
                  <a:gd name="connsiteY1" fmla="*/ 83185 h 99446"/>
                  <a:gd name="connsiteX2" fmla="*/ 31898 w 50661"/>
                  <a:gd name="connsiteY2" fmla="*/ 71927 h 99446"/>
                  <a:gd name="connsiteX3" fmla="*/ 19389 w 50661"/>
                  <a:gd name="connsiteY3" fmla="*/ 56290 h 99446"/>
                  <a:gd name="connsiteX4" fmla="*/ 1251 w 50661"/>
                  <a:gd name="connsiteY4" fmla="*/ 28771 h 99446"/>
                  <a:gd name="connsiteX5" fmla="*/ 31898 w 50661"/>
                  <a:gd name="connsiteY5" fmla="*/ 0 h 99446"/>
                  <a:gd name="connsiteX6" fmla="*/ 47534 w 50661"/>
                  <a:gd name="connsiteY6" fmla="*/ 3753 h 99446"/>
                  <a:gd name="connsiteX7" fmla="*/ 44407 w 50661"/>
                  <a:gd name="connsiteY7" fmla="*/ 20014 h 99446"/>
                  <a:gd name="connsiteX8" fmla="*/ 31898 w 50661"/>
                  <a:gd name="connsiteY8" fmla="*/ 16887 h 99446"/>
                  <a:gd name="connsiteX9" fmla="*/ 20014 w 50661"/>
                  <a:gd name="connsiteY9" fmla="*/ 26894 h 99446"/>
                  <a:gd name="connsiteX10" fmla="*/ 33149 w 50661"/>
                  <a:gd name="connsiteY10" fmla="*/ 41905 h 99446"/>
                  <a:gd name="connsiteX11" fmla="*/ 50661 w 50661"/>
                  <a:gd name="connsiteY11" fmla="*/ 70050 h 99446"/>
                  <a:gd name="connsiteX12" fmla="*/ 18763 w 50661"/>
                  <a:gd name="connsiteY12" fmla="*/ 99446 h 99446"/>
                  <a:gd name="connsiteX13" fmla="*/ 0 w 50661"/>
                  <a:gd name="connsiteY13" fmla="*/ 95694 h 99446"/>
                  <a:gd name="connsiteX14" fmla="*/ 2502 w 50661"/>
                  <a:gd name="connsiteY14" fmla="*/ 79432 h 99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0661" h="99446">
                    <a:moveTo>
                      <a:pt x="2502" y="79432"/>
                    </a:moveTo>
                    <a:cubicBezTo>
                      <a:pt x="6254" y="81308"/>
                      <a:pt x="13134" y="83185"/>
                      <a:pt x="18763" y="83185"/>
                    </a:cubicBezTo>
                    <a:cubicBezTo>
                      <a:pt x="27520" y="83185"/>
                      <a:pt x="31898" y="78806"/>
                      <a:pt x="31898" y="71927"/>
                    </a:cubicBezTo>
                    <a:cubicBezTo>
                      <a:pt x="31898" y="65047"/>
                      <a:pt x="27520" y="61294"/>
                      <a:pt x="19389" y="56290"/>
                    </a:cubicBezTo>
                    <a:cubicBezTo>
                      <a:pt x="6254" y="48159"/>
                      <a:pt x="1251" y="38152"/>
                      <a:pt x="1251" y="28771"/>
                    </a:cubicBezTo>
                    <a:cubicBezTo>
                      <a:pt x="1251" y="13134"/>
                      <a:pt x="11883" y="0"/>
                      <a:pt x="31898" y="0"/>
                    </a:cubicBezTo>
                    <a:cubicBezTo>
                      <a:pt x="38152" y="0"/>
                      <a:pt x="44407" y="1876"/>
                      <a:pt x="47534" y="3753"/>
                    </a:cubicBezTo>
                    <a:lnTo>
                      <a:pt x="44407" y="20014"/>
                    </a:lnTo>
                    <a:cubicBezTo>
                      <a:pt x="41905" y="18138"/>
                      <a:pt x="37527" y="16887"/>
                      <a:pt x="31898" y="16887"/>
                    </a:cubicBezTo>
                    <a:cubicBezTo>
                      <a:pt x="23767" y="16887"/>
                      <a:pt x="20014" y="21891"/>
                      <a:pt x="20014" y="26894"/>
                    </a:cubicBezTo>
                    <a:cubicBezTo>
                      <a:pt x="20014" y="32523"/>
                      <a:pt x="23142" y="35650"/>
                      <a:pt x="33149" y="41905"/>
                    </a:cubicBezTo>
                    <a:cubicBezTo>
                      <a:pt x="46283" y="50036"/>
                      <a:pt x="50661" y="59418"/>
                      <a:pt x="50661" y="70050"/>
                    </a:cubicBezTo>
                    <a:cubicBezTo>
                      <a:pt x="50661" y="87563"/>
                      <a:pt x="37527" y="99446"/>
                      <a:pt x="18763" y="99446"/>
                    </a:cubicBezTo>
                    <a:cubicBezTo>
                      <a:pt x="10633" y="99446"/>
                      <a:pt x="3127" y="97570"/>
                      <a:pt x="0" y="95694"/>
                    </a:cubicBezTo>
                    <a:lnTo>
                      <a:pt x="2502" y="79432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67" name="Forma Livre: Forma 66">
                <a:extLst>
                  <a:ext uri="{FF2B5EF4-FFF2-40B4-BE49-F238E27FC236}">
                    <a16:creationId xmlns:a16="http://schemas.microsoft.com/office/drawing/2014/main" id="{1D32870D-4B6C-4374-A3E9-ED9B6ECEECD3}"/>
                  </a:ext>
                </a:extLst>
              </p:cNvPr>
              <p:cNvSpPr/>
              <p:nvPr/>
            </p:nvSpPr>
            <p:spPr>
              <a:xfrm>
                <a:off x="4623778" y="2802547"/>
                <a:ext cx="43781" cy="97570"/>
              </a:xfrm>
              <a:custGeom>
                <a:avLst/>
                <a:gdLst>
                  <a:gd name="connsiteX0" fmla="*/ 40654 w 43781"/>
                  <a:gd name="connsiteY0" fmla="*/ 55040 h 97570"/>
                  <a:gd name="connsiteX1" fmla="*/ 18763 w 43781"/>
                  <a:gd name="connsiteY1" fmla="*/ 55040 h 97570"/>
                  <a:gd name="connsiteX2" fmla="*/ 18763 w 43781"/>
                  <a:gd name="connsiteY2" fmla="*/ 81308 h 97570"/>
                  <a:gd name="connsiteX3" fmla="*/ 43781 w 43781"/>
                  <a:gd name="connsiteY3" fmla="*/ 81308 h 97570"/>
                  <a:gd name="connsiteX4" fmla="*/ 43781 w 43781"/>
                  <a:gd name="connsiteY4" fmla="*/ 97570 h 97570"/>
                  <a:gd name="connsiteX5" fmla="*/ 0 w 43781"/>
                  <a:gd name="connsiteY5" fmla="*/ 97570 h 97570"/>
                  <a:gd name="connsiteX6" fmla="*/ 0 w 43781"/>
                  <a:gd name="connsiteY6" fmla="*/ 0 h 97570"/>
                  <a:gd name="connsiteX7" fmla="*/ 42531 w 43781"/>
                  <a:gd name="connsiteY7" fmla="*/ 0 h 97570"/>
                  <a:gd name="connsiteX8" fmla="*/ 42531 w 43781"/>
                  <a:gd name="connsiteY8" fmla="*/ 16262 h 97570"/>
                  <a:gd name="connsiteX9" fmla="*/ 18763 w 43781"/>
                  <a:gd name="connsiteY9" fmla="*/ 16262 h 97570"/>
                  <a:gd name="connsiteX10" fmla="*/ 18763 w 43781"/>
                  <a:gd name="connsiteY10" fmla="*/ 38778 h 97570"/>
                  <a:gd name="connsiteX11" fmla="*/ 40654 w 43781"/>
                  <a:gd name="connsiteY11" fmla="*/ 38778 h 97570"/>
                  <a:gd name="connsiteX12" fmla="*/ 40654 w 43781"/>
                  <a:gd name="connsiteY12" fmla="*/ 55040 h 975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3781" h="97570">
                    <a:moveTo>
                      <a:pt x="40654" y="55040"/>
                    </a:moveTo>
                    <a:lnTo>
                      <a:pt x="18763" y="55040"/>
                    </a:lnTo>
                    <a:lnTo>
                      <a:pt x="18763" y="81308"/>
                    </a:lnTo>
                    <a:lnTo>
                      <a:pt x="43781" y="81308"/>
                    </a:lnTo>
                    <a:lnTo>
                      <a:pt x="43781" y="97570"/>
                    </a:lnTo>
                    <a:lnTo>
                      <a:pt x="0" y="97570"/>
                    </a:lnTo>
                    <a:lnTo>
                      <a:pt x="0" y="0"/>
                    </a:lnTo>
                    <a:lnTo>
                      <a:pt x="42531" y="0"/>
                    </a:lnTo>
                    <a:lnTo>
                      <a:pt x="42531" y="16262"/>
                    </a:lnTo>
                    <a:lnTo>
                      <a:pt x="18763" y="16262"/>
                    </a:lnTo>
                    <a:lnTo>
                      <a:pt x="18763" y="38778"/>
                    </a:lnTo>
                    <a:lnTo>
                      <a:pt x="40654" y="38778"/>
                    </a:lnTo>
                    <a:lnTo>
                      <a:pt x="40654" y="55040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68" name="Forma Livre: Forma 67">
                <a:extLst>
                  <a:ext uri="{FF2B5EF4-FFF2-40B4-BE49-F238E27FC236}">
                    <a16:creationId xmlns:a16="http://schemas.microsoft.com/office/drawing/2014/main" id="{C72FBD09-1BE4-42E5-B468-C62B157C9E96}"/>
                  </a:ext>
                </a:extLst>
              </p:cNvPr>
              <p:cNvSpPr/>
              <p:nvPr/>
            </p:nvSpPr>
            <p:spPr>
              <a:xfrm>
                <a:off x="4680068" y="2802547"/>
                <a:ext cx="59417" cy="98821"/>
              </a:xfrm>
              <a:custGeom>
                <a:avLst/>
                <a:gdLst>
                  <a:gd name="connsiteX0" fmla="*/ 626 w 59417"/>
                  <a:gd name="connsiteY0" fmla="*/ 1876 h 98821"/>
                  <a:gd name="connsiteX1" fmla="*/ 20014 w 59417"/>
                  <a:gd name="connsiteY1" fmla="*/ 0 h 98821"/>
                  <a:gd name="connsiteX2" fmla="*/ 46909 w 59417"/>
                  <a:gd name="connsiteY2" fmla="*/ 8756 h 98821"/>
                  <a:gd name="connsiteX3" fmla="*/ 59418 w 59417"/>
                  <a:gd name="connsiteY3" fmla="*/ 48160 h 98821"/>
                  <a:gd name="connsiteX4" fmla="*/ 45658 w 59417"/>
                  <a:gd name="connsiteY4" fmla="*/ 89439 h 98821"/>
                  <a:gd name="connsiteX5" fmla="*/ 15636 w 59417"/>
                  <a:gd name="connsiteY5" fmla="*/ 98821 h 98821"/>
                  <a:gd name="connsiteX6" fmla="*/ 0 w 59417"/>
                  <a:gd name="connsiteY6" fmla="*/ 97570 h 98821"/>
                  <a:gd name="connsiteX7" fmla="*/ 0 w 59417"/>
                  <a:gd name="connsiteY7" fmla="*/ 1876 h 98821"/>
                  <a:gd name="connsiteX8" fmla="*/ 19389 w 59417"/>
                  <a:gd name="connsiteY8" fmla="*/ 82559 h 98821"/>
                  <a:gd name="connsiteX9" fmla="*/ 22516 w 59417"/>
                  <a:gd name="connsiteY9" fmla="*/ 82559 h 98821"/>
                  <a:gd name="connsiteX10" fmla="*/ 39404 w 59417"/>
                  <a:gd name="connsiteY10" fmla="*/ 46909 h 98821"/>
                  <a:gd name="connsiteX11" fmla="*/ 22516 w 59417"/>
                  <a:gd name="connsiteY11" fmla="*/ 15011 h 98821"/>
                  <a:gd name="connsiteX12" fmla="*/ 18763 w 59417"/>
                  <a:gd name="connsiteY12" fmla="*/ 15636 h 98821"/>
                  <a:gd name="connsiteX13" fmla="*/ 18763 w 59417"/>
                  <a:gd name="connsiteY13" fmla="*/ 82559 h 988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9417" h="98821">
                    <a:moveTo>
                      <a:pt x="626" y="1876"/>
                    </a:moveTo>
                    <a:cubicBezTo>
                      <a:pt x="5629" y="625"/>
                      <a:pt x="12509" y="0"/>
                      <a:pt x="20014" y="0"/>
                    </a:cubicBezTo>
                    <a:cubicBezTo>
                      <a:pt x="32523" y="0"/>
                      <a:pt x="40654" y="3127"/>
                      <a:pt x="46909" y="8756"/>
                    </a:cubicBezTo>
                    <a:cubicBezTo>
                      <a:pt x="55040" y="16262"/>
                      <a:pt x="59418" y="29396"/>
                      <a:pt x="59418" y="48160"/>
                    </a:cubicBezTo>
                    <a:cubicBezTo>
                      <a:pt x="59418" y="68174"/>
                      <a:pt x="54414" y="81934"/>
                      <a:pt x="45658" y="89439"/>
                    </a:cubicBezTo>
                    <a:cubicBezTo>
                      <a:pt x="38778" y="95694"/>
                      <a:pt x="29396" y="98821"/>
                      <a:pt x="15636" y="98821"/>
                    </a:cubicBezTo>
                    <a:cubicBezTo>
                      <a:pt x="9382" y="98821"/>
                      <a:pt x="3753" y="98196"/>
                      <a:pt x="0" y="97570"/>
                    </a:cubicBezTo>
                    <a:lnTo>
                      <a:pt x="0" y="1876"/>
                    </a:lnTo>
                    <a:close/>
                    <a:moveTo>
                      <a:pt x="19389" y="82559"/>
                    </a:moveTo>
                    <a:cubicBezTo>
                      <a:pt x="20640" y="82559"/>
                      <a:pt x="21891" y="82559"/>
                      <a:pt x="22516" y="82559"/>
                    </a:cubicBezTo>
                    <a:cubicBezTo>
                      <a:pt x="31898" y="82559"/>
                      <a:pt x="39404" y="73803"/>
                      <a:pt x="39404" y="46909"/>
                    </a:cubicBezTo>
                    <a:cubicBezTo>
                      <a:pt x="39404" y="26894"/>
                      <a:pt x="34400" y="15011"/>
                      <a:pt x="22516" y="15011"/>
                    </a:cubicBezTo>
                    <a:cubicBezTo>
                      <a:pt x="21265" y="15011"/>
                      <a:pt x="20014" y="15011"/>
                      <a:pt x="18763" y="15636"/>
                    </a:cubicBezTo>
                    <a:lnTo>
                      <a:pt x="18763" y="82559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69" name="Forma Livre: Forma 68">
              <a:extLst>
                <a:ext uri="{FF2B5EF4-FFF2-40B4-BE49-F238E27FC236}">
                  <a16:creationId xmlns:a16="http://schemas.microsoft.com/office/drawing/2014/main" id="{26E03437-FE7F-4B88-8688-8AD8EE168DA9}"/>
                </a:ext>
              </a:extLst>
            </p:cNvPr>
            <p:cNvSpPr/>
            <p:nvPr/>
          </p:nvSpPr>
          <p:spPr>
            <a:xfrm>
              <a:off x="4313555" y="2739377"/>
              <a:ext cx="496606" cy="226412"/>
            </a:xfrm>
            <a:custGeom>
              <a:avLst/>
              <a:gdLst>
                <a:gd name="connsiteX0" fmla="*/ 431560 w 496606"/>
                <a:gd name="connsiteY0" fmla="*/ 226413 h 226412"/>
                <a:gd name="connsiteX1" fmla="*/ 65047 w 496606"/>
                <a:gd name="connsiteY1" fmla="*/ 226413 h 226412"/>
                <a:gd name="connsiteX2" fmla="*/ 0 w 496606"/>
                <a:gd name="connsiteY2" fmla="*/ 161366 h 226412"/>
                <a:gd name="connsiteX3" fmla="*/ 0 w 496606"/>
                <a:gd name="connsiteY3" fmla="*/ 65047 h 226412"/>
                <a:gd name="connsiteX4" fmla="*/ 65047 w 496606"/>
                <a:gd name="connsiteY4" fmla="*/ 0 h 226412"/>
                <a:gd name="connsiteX5" fmla="*/ 431560 w 496606"/>
                <a:gd name="connsiteY5" fmla="*/ 0 h 226412"/>
                <a:gd name="connsiteX6" fmla="*/ 496607 w 496606"/>
                <a:gd name="connsiteY6" fmla="*/ 65047 h 226412"/>
                <a:gd name="connsiteX7" fmla="*/ 496607 w 496606"/>
                <a:gd name="connsiteY7" fmla="*/ 161366 h 226412"/>
                <a:gd name="connsiteX8" fmla="*/ 431560 w 496606"/>
                <a:gd name="connsiteY8" fmla="*/ 226413 h 226412"/>
                <a:gd name="connsiteX9" fmla="*/ 431560 w 496606"/>
                <a:gd name="connsiteY9" fmla="*/ 226413 h 226412"/>
                <a:gd name="connsiteX10" fmla="*/ 65047 w 496606"/>
                <a:gd name="connsiteY10" fmla="*/ 33149 h 226412"/>
                <a:gd name="connsiteX11" fmla="*/ 33149 w 496606"/>
                <a:gd name="connsiteY11" fmla="*/ 65047 h 226412"/>
                <a:gd name="connsiteX12" fmla="*/ 33149 w 496606"/>
                <a:gd name="connsiteY12" fmla="*/ 161366 h 226412"/>
                <a:gd name="connsiteX13" fmla="*/ 65047 w 496606"/>
                <a:gd name="connsiteY13" fmla="*/ 193264 h 226412"/>
                <a:gd name="connsiteX14" fmla="*/ 431560 w 496606"/>
                <a:gd name="connsiteY14" fmla="*/ 193264 h 226412"/>
                <a:gd name="connsiteX15" fmla="*/ 462832 w 496606"/>
                <a:gd name="connsiteY15" fmla="*/ 161366 h 226412"/>
                <a:gd name="connsiteX16" fmla="*/ 462832 w 496606"/>
                <a:gd name="connsiteY16" fmla="*/ 65047 h 226412"/>
                <a:gd name="connsiteX17" fmla="*/ 431560 w 496606"/>
                <a:gd name="connsiteY17" fmla="*/ 33149 h 226412"/>
                <a:gd name="connsiteX18" fmla="*/ 65047 w 496606"/>
                <a:gd name="connsiteY18" fmla="*/ 33149 h 226412"/>
                <a:gd name="connsiteX19" fmla="*/ 65047 w 496606"/>
                <a:gd name="connsiteY19" fmla="*/ 33149 h 226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96606" h="226412">
                  <a:moveTo>
                    <a:pt x="431560" y="226413"/>
                  </a:moveTo>
                  <a:lnTo>
                    <a:pt x="65047" y="226413"/>
                  </a:lnTo>
                  <a:cubicBezTo>
                    <a:pt x="29396" y="226413"/>
                    <a:pt x="0" y="197017"/>
                    <a:pt x="0" y="161366"/>
                  </a:cubicBezTo>
                  <a:lnTo>
                    <a:pt x="0" y="65047"/>
                  </a:lnTo>
                  <a:cubicBezTo>
                    <a:pt x="0" y="29396"/>
                    <a:pt x="29396" y="0"/>
                    <a:pt x="65047" y="0"/>
                  </a:cubicBezTo>
                  <a:lnTo>
                    <a:pt x="431560" y="0"/>
                  </a:lnTo>
                  <a:cubicBezTo>
                    <a:pt x="467211" y="0"/>
                    <a:pt x="496607" y="29396"/>
                    <a:pt x="496607" y="65047"/>
                  </a:cubicBezTo>
                  <a:lnTo>
                    <a:pt x="496607" y="161366"/>
                  </a:lnTo>
                  <a:cubicBezTo>
                    <a:pt x="495981" y="197017"/>
                    <a:pt x="467211" y="226413"/>
                    <a:pt x="431560" y="226413"/>
                  </a:cubicBezTo>
                  <a:lnTo>
                    <a:pt x="431560" y="226413"/>
                  </a:lnTo>
                  <a:close/>
                  <a:moveTo>
                    <a:pt x="65047" y="33149"/>
                  </a:moveTo>
                  <a:cubicBezTo>
                    <a:pt x="47534" y="33149"/>
                    <a:pt x="33149" y="47534"/>
                    <a:pt x="33149" y="65047"/>
                  </a:cubicBezTo>
                  <a:lnTo>
                    <a:pt x="33149" y="161366"/>
                  </a:lnTo>
                  <a:cubicBezTo>
                    <a:pt x="33149" y="178879"/>
                    <a:pt x="47534" y="193264"/>
                    <a:pt x="65047" y="193264"/>
                  </a:cubicBezTo>
                  <a:lnTo>
                    <a:pt x="431560" y="193264"/>
                  </a:lnTo>
                  <a:cubicBezTo>
                    <a:pt x="449073" y="193264"/>
                    <a:pt x="462832" y="178879"/>
                    <a:pt x="462832" y="161366"/>
                  </a:cubicBezTo>
                  <a:lnTo>
                    <a:pt x="462832" y="65047"/>
                  </a:lnTo>
                  <a:cubicBezTo>
                    <a:pt x="462832" y="47534"/>
                    <a:pt x="448447" y="33149"/>
                    <a:pt x="431560" y="33149"/>
                  </a:cubicBezTo>
                  <a:lnTo>
                    <a:pt x="65047" y="33149"/>
                  </a:lnTo>
                  <a:lnTo>
                    <a:pt x="65047" y="33149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70" name="Forma Livre: Forma 69">
              <a:extLst>
                <a:ext uri="{FF2B5EF4-FFF2-40B4-BE49-F238E27FC236}">
                  <a16:creationId xmlns:a16="http://schemas.microsoft.com/office/drawing/2014/main" id="{9E00EF65-BDA5-48AD-ADD2-811C113B15CD}"/>
                </a:ext>
              </a:extLst>
            </p:cNvPr>
            <p:cNvSpPr/>
            <p:nvPr/>
          </p:nvSpPr>
          <p:spPr>
            <a:xfrm>
              <a:off x="4456939" y="2614443"/>
              <a:ext cx="210463" cy="113675"/>
            </a:xfrm>
            <a:custGeom>
              <a:avLst/>
              <a:gdLst>
                <a:gd name="connsiteX0" fmla="*/ 201238 w 210463"/>
                <a:gd name="connsiteY0" fmla="*/ 113675 h 113675"/>
                <a:gd name="connsiteX1" fmla="*/ 195609 w 210463"/>
                <a:gd name="connsiteY1" fmla="*/ 111174 h 113675"/>
                <a:gd name="connsiteX2" fmla="*/ 104919 w 210463"/>
                <a:gd name="connsiteY2" fmla="*/ 20483 h 113675"/>
                <a:gd name="connsiteX3" fmla="*/ 14229 w 210463"/>
                <a:gd name="connsiteY3" fmla="*/ 111174 h 113675"/>
                <a:gd name="connsiteX4" fmla="*/ 2345 w 210463"/>
                <a:gd name="connsiteY4" fmla="*/ 111174 h 113675"/>
                <a:gd name="connsiteX5" fmla="*/ 2345 w 210463"/>
                <a:gd name="connsiteY5" fmla="*/ 99290 h 113675"/>
                <a:gd name="connsiteX6" fmla="*/ 99290 w 210463"/>
                <a:gd name="connsiteY6" fmla="*/ 2345 h 113675"/>
                <a:gd name="connsiteX7" fmla="*/ 111174 w 210463"/>
                <a:gd name="connsiteY7" fmla="*/ 2345 h 113675"/>
                <a:gd name="connsiteX8" fmla="*/ 208118 w 210463"/>
                <a:gd name="connsiteY8" fmla="*/ 99290 h 113675"/>
                <a:gd name="connsiteX9" fmla="*/ 208118 w 210463"/>
                <a:gd name="connsiteY9" fmla="*/ 111174 h 113675"/>
                <a:gd name="connsiteX10" fmla="*/ 201238 w 210463"/>
                <a:gd name="connsiteY10" fmla="*/ 113675 h 113675"/>
                <a:gd name="connsiteX11" fmla="*/ 201238 w 210463"/>
                <a:gd name="connsiteY11" fmla="*/ 113675 h 113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0463" h="113675">
                  <a:moveTo>
                    <a:pt x="201238" y="113675"/>
                  </a:moveTo>
                  <a:cubicBezTo>
                    <a:pt x="199362" y="113675"/>
                    <a:pt x="196860" y="113050"/>
                    <a:pt x="195609" y="111174"/>
                  </a:cubicBezTo>
                  <a:lnTo>
                    <a:pt x="104919" y="20483"/>
                  </a:lnTo>
                  <a:lnTo>
                    <a:pt x="14229" y="111174"/>
                  </a:lnTo>
                  <a:cubicBezTo>
                    <a:pt x="11102" y="114301"/>
                    <a:pt x="5473" y="114301"/>
                    <a:pt x="2345" y="111174"/>
                  </a:cubicBezTo>
                  <a:cubicBezTo>
                    <a:pt x="-782" y="108046"/>
                    <a:pt x="-782" y="102417"/>
                    <a:pt x="2345" y="99290"/>
                  </a:cubicBezTo>
                  <a:lnTo>
                    <a:pt x="99290" y="2345"/>
                  </a:lnTo>
                  <a:cubicBezTo>
                    <a:pt x="102417" y="-782"/>
                    <a:pt x="108047" y="-782"/>
                    <a:pt x="111174" y="2345"/>
                  </a:cubicBezTo>
                  <a:lnTo>
                    <a:pt x="208118" y="99290"/>
                  </a:lnTo>
                  <a:cubicBezTo>
                    <a:pt x="211246" y="102417"/>
                    <a:pt x="211246" y="108046"/>
                    <a:pt x="208118" y="111174"/>
                  </a:cubicBezTo>
                  <a:cubicBezTo>
                    <a:pt x="205616" y="113050"/>
                    <a:pt x="203740" y="113675"/>
                    <a:pt x="201238" y="113675"/>
                  </a:cubicBezTo>
                  <a:lnTo>
                    <a:pt x="201238" y="113675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71" name="Forma Livre: Forma 70">
              <a:extLst>
                <a:ext uri="{FF2B5EF4-FFF2-40B4-BE49-F238E27FC236}">
                  <a16:creationId xmlns:a16="http://schemas.microsoft.com/office/drawing/2014/main" id="{FCC49D8A-8B6A-400D-A2AB-FFCEC8885650}"/>
                </a:ext>
              </a:extLst>
            </p:cNvPr>
            <p:cNvSpPr/>
            <p:nvPr/>
          </p:nvSpPr>
          <p:spPr>
            <a:xfrm>
              <a:off x="4537466" y="2611160"/>
              <a:ext cx="48784" cy="48785"/>
            </a:xfrm>
            <a:custGeom>
              <a:avLst/>
              <a:gdLst>
                <a:gd name="connsiteX0" fmla="*/ 24393 w 48784"/>
                <a:gd name="connsiteY0" fmla="*/ 0 h 48785"/>
                <a:gd name="connsiteX1" fmla="*/ 0 w 48784"/>
                <a:gd name="connsiteY1" fmla="*/ 24393 h 48785"/>
                <a:gd name="connsiteX2" fmla="*/ 24393 w 48784"/>
                <a:gd name="connsiteY2" fmla="*/ 48785 h 48785"/>
                <a:gd name="connsiteX3" fmla="*/ 48785 w 48784"/>
                <a:gd name="connsiteY3" fmla="*/ 24393 h 48785"/>
                <a:gd name="connsiteX4" fmla="*/ 24393 w 48784"/>
                <a:gd name="connsiteY4" fmla="*/ 0 h 48785"/>
                <a:gd name="connsiteX5" fmla="*/ 24393 w 48784"/>
                <a:gd name="connsiteY5" fmla="*/ 0 h 48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784" h="48785">
                  <a:moveTo>
                    <a:pt x="24393" y="0"/>
                  </a:moveTo>
                  <a:cubicBezTo>
                    <a:pt x="11258" y="0"/>
                    <a:pt x="0" y="10633"/>
                    <a:pt x="0" y="24393"/>
                  </a:cubicBezTo>
                  <a:cubicBezTo>
                    <a:pt x="0" y="37527"/>
                    <a:pt x="10633" y="48785"/>
                    <a:pt x="24393" y="48785"/>
                  </a:cubicBezTo>
                  <a:cubicBezTo>
                    <a:pt x="37527" y="48785"/>
                    <a:pt x="48785" y="38152"/>
                    <a:pt x="48785" y="24393"/>
                  </a:cubicBezTo>
                  <a:cubicBezTo>
                    <a:pt x="48160" y="10633"/>
                    <a:pt x="37527" y="0"/>
                    <a:pt x="24393" y="0"/>
                  </a:cubicBezTo>
                  <a:lnTo>
                    <a:pt x="24393" y="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72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6404468" y="2587393"/>
            <a:ext cx="436148" cy="382149"/>
            <a:chOff x="6392131" y="2587393"/>
            <a:chExt cx="436148" cy="382149"/>
          </a:xfrm>
          <a:solidFill>
            <a:srgbClr val="B1B1A1"/>
          </a:solidFill>
        </p:grpSpPr>
        <p:sp>
          <p:nvSpPr>
            <p:cNvPr id="73" name="Forma Livre: Forma 72">
              <a:extLst>
                <a:ext uri="{FF2B5EF4-FFF2-40B4-BE49-F238E27FC236}">
                  <a16:creationId xmlns:a16="http://schemas.microsoft.com/office/drawing/2014/main" id="{C8EA09C0-FA23-4BC9-B2CD-EE4BFA9C4F59}"/>
                </a:ext>
              </a:extLst>
            </p:cNvPr>
            <p:cNvSpPr/>
            <p:nvPr/>
          </p:nvSpPr>
          <p:spPr>
            <a:xfrm>
              <a:off x="6392131" y="2587393"/>
              <a:ext cx="436148" cy="382149"/>
            </a:xfrm>
            <a:custGeom>
              <a:avLst/>
              <a:gdLst>
                <a:gd name="connsiteX0" fmla="*/ 216198 w 436148"/>
                <a:gd name="connsiteY0" fmla="*/ 382150 h 382149"/>
                <a:gd name="connsiteX1" fmla="*/ 203063 w 436148"/>
                <a:gd name="connsiteY1" fmla="*/ 375270 h 382149"/>
                <a:gd name="connsiteX2" fmla="*/ 3545 w 436148"/>
                <a:gd name="connsiteY2" fmla="*/ 109454 h 382149"/>
                <a:gd name="connsiteX3" fmla="*/ 6047 w 436148"/>
                <a:gd name="connsiteY3" fmla="*/ 86312 h 382149"/>
                <a:gd name="connsiteX4" fmla="*/ 106744 w 436148"/>
                <a:gd name="connsiteY4" fmla="*/ 3753 h 382149"/>
                <a:gd name="connsiteX5" fmla="*/ 117377 w 436148"/>
                <a:gd name="connsiteY5" fmla="*/ 0 h 382149"/>
                <a:gd name="connsiteX6" fmla="*/ 318771 w 436148"/>
                <a:gd name="connsiteY6" fmla="*/ 0 h 382149"/>
                <a:gd name="connsiteX7" fmla="*/ 329404 w 436148"/>
                <a:gd name="connsiteY7" fmla="*/ 3753 h 382149"/>
                <a:gd name="connsiteX8" fmla="*/ 430101 w 436148"/>
                <a:gd name="connsiteY8" fmla="*/ 86312 h 382149"/>
                <a:gd name="connsiteX9" fmla="*/ 432603 w 436148"/>
                <a:gd name="connsiteY9" fmla="*/ 109454 h 382149"/>
                <a:gd name="connsiteX10" fmla="*/ 229957 w 436148"/>
                <a:gd name="connsiteY10" fmla="*/ 375270 h 382149"/>
                <a:gd name="connsiteX11" fmla="*/ 216198 w 436148"/>
                <a:gd name="connsiteY11" fmla="*/ 382150 h 382149"/>
                <a:gd name="connsiteX12" fmla="*/ 216198 w 436148"/>
                <a:gd name="connsiteY12" fmla="*/ 382150 h 382149"/>
                <a:gd name="connsiteX13" fmla="*/ 39195 w 436148"/>
                <a:gd name="connsiteY13" fmla="*/ 102574 h 382149"/>
                <a:gd name="connsiteX14" fmla="*/ 216198 w 436148"/>
                <a:gd name="connsiteY14" fmla="*/ 337743 h 382149"/>
                <a:gd name="connsiteX15" fmla="*/ 395701 w 436148"/>
                <a:gd name="connsiteY15" fmla="*/ 101948 h 382149"/>
                <a:gd name="connsiteX16" fmla="*/ 311892 w 436148"/>
                <a:gd name="connsiteY16" fmla="*/ 33149 h 382149"/>
                <a:gd name="connsiteX17" fmla="*/ 122380 w 436148"/>
                <a:gd name="connsiteY17" fmla="*/ 33149 h 382149"/>
                <a:gd name="connsiteX18" fmla="*/ 39195 w 436148"/>
                <a:gd name="connsiteY18" fmla="*/ 102574 h 382149"/>
                <a:gd name="connsiteX19" fmla="*/ 39195 w 436148"/>
                <a:gd name="connsiteY19" fmla="*/ 102574 h 382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36148" h="382149">
                  <a:moveTo>
                    <a:pt x="216198" y="382150"/>
                  </a:moveTo>
                  <a:cubicBezTo>
                    <a:pt x="211194" y="381524"/>
                    <a:pt x="206190" y="379648"/>
                    <a:pt x="203063" y="375270"/>
                  </a:cubicBezTo>
                  <a:lnTo>
                    <a:pt x="3545" y="109454"/>
                  </a:lnTo>
                  <a:cubicBezTo>
                    <a:pt x="-2084" y="102574"/>
                    <a:pt x="-833" y="91941"/>
                    <a:pt x="6047" y="86312"/>
                  </a:cubicBezTo>
                  <a:lnTo>
                    <a:pt x="106744" y="3753"/>
                  </a:lnTo>
                  <a:cubicBezTo>
                    <a:pt x="109871" y="1251"/>
                    <a:pt x="113624" y="0"/>
                    <a:pt x="117377" y="0"/>
                  </a:cubicBezTo>
                  <a:lnTo>
                    <a:pt x="318771" y="0"/>
                  </a:lnTo>
                  <a:cubicBezTo>
                    <a:pt x="322524" y="0"/>
                    <a:pt x="326277" y="1251"/>
                    <a:pt x="329404" y="3753"/>
                  </a:cubicBezTo>
                  <a:lnTo>
                    <a:pt x="430101" y="86312"/>
                  </a:lnTo>
                  <a:cubicBezTo>
                    <a:pt x="436981" y="91941"/>
                    <a:pt x="438232" y="101948"/>
                    <a:pt x="432603" y="109454"/>
                  </a:cubicBezTo>
                  <a:lnTo>
                    <a:pt x="229957" y="375270"/>
                  </a:lnTo>
                  <a:cubicBezTo>
                    <a:pt x="226205" y="379648"/>
                    <a:pt x="221201" y="382150"/>
                    <a:pt x="216198" y="382150"/>
                  </a:cubicBezTo>
                  <a:lnTo>
                    <a:pt x="216198" y="382150"/>
                  </a:lnTo>
                  <a:close/>
                  <a:moveTo>
                    <a:pt x="39195" y="102574"/>
                  </a:moveTo>
                  <a:lnTo>
                    <a:pt x="216198" y="337743"/>
                  </a:lnTo>
                  <a:lnTo>
                    <a:pt x="395701" y="101948"/>
                  </a:lnTo>
                  <a:lnTo>
                    <a:pt x="311892" y="33149"/>
                  </a:lnTo>
                  <a:lnTo>
                    <a:pt x="122380" y="33149"/>
                  </a:lnTo>
                  <a:lnTo>
                    <a:pt x="39195" y="102574"/>
                  </a:lnTo>
                  <a:lnTo>
                    <a:pt x="39195" y="102574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74" name="Forma Livre: Forma 73">
              <a:extLst>
                <a:ext uri="{FF2B5EF4-FFF2-40B4-BE49-F238E27FC236}">
                  <a16:creationId xmlns:a16="http://schemas.microsoft.com/office/drawing/2014/main" id="{F160BF20-A35A-4D2E-BD3F-6E45B6F90A25}"/>
                </a:ext>
              </a:extLst>
            </p:cNvPr>
            <p:cNvSpPr/>
            <p:nvPr/>
          </p:nvSpPr>
          <p:spPr>
            <a:xfrm>
              <a:off x="6400189" y="2596149"/>
              <a:ext cx="418781" cy="99446"/>
            </a:xfrm>
            <a:custGeom>
              <a:avLst/>
              <a:gdLst>
                <a:gd name="connsiteX0" fmla="*/ 410785 w 418781"/>
                <a:gd name="connsiteY0" fmla="*/ 99446 h 99446"/>
                <a:gd name="connsiteX1" fmla="*/ 8622 w 418781"/>
                <a:gd name="connsiteY1" fmla="*/ 99446 h 99446"/>
                <a:gd name="connsiteX2" fmla="*/ 491 w 418781"/>
                <a:gd name="connsiteY2" fmla="*/ 93817 h 99446"/>
                <a:gd name="connsiteX3" fmla="*/ 2992 w 418781"/>
                <a:gd name="connsiteY3" fmla="*/ 84436 h 99446"/>
                <a:gd name="connsiteX4" fmla="*/ 103690 w 418781"/>
                <a:gd name="connsiteY4" fmla="*/ 1876 h 99446"/>
                <a:gd name="connsiteX5" fmla="*/ 108693 w 418781"/>
                <a:gd name="connsiteY5" fmla="*/ 0 h 99446"/>
                <a:gd name="connsiteX6" fmla="*/ 310088 w 418781"/>
                <a:gd name="connsiteY6" fmla="*/ 0 h 99446"/>
                <a:gd name="connsiteX7" fmla="*/ 315092 w 418781"/>
                <a:gd name="connsiteY7" fmla="*/ 1876 h 99446"/>
                <a:gd name="connsiteX8" fmla="*/ 415789 w 418781"/>
                <a:gd name="connsiteY8" fmla="*/ 84436 h 99446"/>
                <a:gd name="connsiteX9" fmla="*/ 418291 w 418781"/>
                <a:gd name="connsiteY9" fmla="*/ 93817 h 99446"/>
                <a:gd name="connsiteX10" fmla="*/ 410785 w 418781"/>
                <a:gd name="connsiteY10" fmla="*/ 99446 h 99446"/>
                <a:gd name="connsiteX11" fmla="*/ 410785 w 418781"/>
                <a:gd name="connsiteY11" fmla="*/ 99446 h 99446"/>
                <a:gd name="connsiteX12" fmla="*/ 31763 w 418781"/>
                <a:gd name="connsiteY12" fmla="*/ 82559 h 99446"/>
                <a:gd name="connsiteX13" fmla="*/ 387644 w 418781"/>
                <a:gd name="connsiteY13" fmla="*/ 82559 h 99446"/>
                <a:gd name="connsiteX14" fmla="*/ 307586 w 418781"/>
                <a:gd name="connsiteY14" fmla="*/ 16887 h 99446"/>
                <a:gd name="connsiteX15" fmla="*/ 111821 w 418781"/>
                <a:gd name="connsiteY15" fmla="*/ 16887 h 99446"/>
                <a:gd name="connsiteX16" fmla="*/ 31763 w 418781"/>
                <a:gd name="connsiteY16" fmla="*/ 82559 h 99446"/>
                <a:gd name="connsiteX17" fmla="*/ 31763 w 418781"/>
                <a:gd name="connsiteY17" fmla="*/ 82559 h 99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18781" h="99446">
                  <a:moveTo>
                    <a:pt x="410785" y="99446"/>
                  </a:moveTo>
                  <a:lnTo>
                    <a:pt x="8622" y="99446"/>
                  </a:lnTo>
                  <a:cubicBezTo>
                    <a:pt x="4869" y="99446"/>
                    <a:pt x="1742" y="96945"/>
                    <a:pt x="491" y="93817"/>
                  </a:cubicBezTo>
                  <a:cubicBezTo>
                    <a:pt x="-760" y="90690"/>
                    <a:pt x="491" y="86937"/>
                    <a:pt x="2992" y="84436"/>
                  </a:cubicBezTo>
                  <a:lnTo>
                    <a:pt x="103690" y="1876"/>
                  </a:lnTo>
                  <a:cubicBezTo>
                    <a:pt x="104941" y="625"/>
                    <a:pt x="106817" y="0"/>
                    <a:pt x="108693" y="0"/>
                  </a:cubicBezTo>
                  <a:lnTo>
                    <a:pt x="310088" y="0"/>
                  </a:lnTo>
                  <a:cubicBezTo>
                    <a:pt x="311964" y="0"/>
                    <a:pt x="313841" y="625"/>
                    <a:pt x="315092" y="1876"/>
                  </a:cubicBezTo>
                  <a:lnTo>
                    <a:pt x="415789" y="84436"/>
                  </a:lnTo>
                  <a:cubicBezTo>
                    <a:pt x="418291" y="86937"/>
                    <a:pt x="419542" y="90065"/>
                    <a:pt x="418291" y="93817"/>
                  </a:cubicBezTo>
                  <a:cubicBezTo>
                    <a:pt x="417666" y="96945"/>
                    <a:pt x="413913" y="99446"/>
                    <a:pt x="410785" y="99446"/>
                  </a:cubicBezTo>
                  <a:lnTo>
                    <a:pt x="410785" y="99446"/>
                  </a:lnTo>
                  <a:close/>
                  <a:moveTo>
                    <a:pt x="31763" y="82559"/>
                  </a:moveTo>
                  <a:lnTo>
                    <a:pt x="387644" y="82559"/>
                  </a:lnTo>
                  <a:lnTo>
                    <a:pt x="307586" y="16887"/>
                  </a:lnTo>
                  <a:lnTo>
                    <a:pt x="111821" y="16887"/>
                  </a:lnTo>
                  <a:lnTo>
                    <a:pt x="31763" y="82559"/>
                  </a:lnTo>
                  <a:lnTo>
                    <a:pt x="31763" y="82559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75" name="Forma Livre: Forma 74">
              <a:extLst>
                <a:ext uri="{FF2B5EF4-FFF2-40B4-BE49-F238E27FC236}">
                  <a16:creationId xmlns:a16="http://schemas.microsoft.com/office/drawing/2014/main" id="{9B00764F-F155-4E33-B82F-7221E15FDBD6}"/>
                </a:ext>
              </a:extLst>
            </p:cNvPr>
            <p:cNvSpPr/>
            <p:nvPr/>
          </p:nvSpPr>
          <p:spPr>
            <a:xfrm>
              <a:off x="6503556" y="2600831"/>
              <a:ext cx="210794" cy="362457"/>
            </a:xfrm>
            <a:custGeom>
              <a:avLst/>
              <a:gdLst>
                <a:gd name="connsiteX0" fmla="*/ 106023 w 210794"/>
                <a:gd name="connsiteY0" fmla="*/ 362457 h 362457"/>
                <a:gd name="connsiteX1" fmla="*/ 97892 w 210794"/>
                <a:gd name="connsiteY1" fmla="*/ 356203 h 362457"/>
                <a:gd name="connsiteX2" fmla="*/ 322 w 210794"/>
                <a:gd name="connsiteY2" fmla="*/ 10329 h 362457"/>
                <a:gd name="connsiteX3" fmla="*/ 5951 w 210794"/>
                <a:gd name="connsiteY3" fmla="*/ 322 h 362457"/>
                <a:gd name="connsiteX4" fmla="*/ 15958 w 210794"/>
                <a:gd name="connsiteY4" fmla="*/ 5951 h 362457"/>
                <a:gd name="connsiteX5" fmla="*/ 105397 w 210794"/>
                <a:gd name="connsiteY5" fmla="*/ 323054 h 362457"/>
                <a:gd name="connsiteX6" fmla="*/ 194837 w 210794"/>
                <a:gd name="connsiteY6" fmla="*/ 5951 h 362457"/>
                <a:gd name="connsiteX7" fmla="*/ 204844 w 210794"/>
                <a:gd name="connsiteY7" fmla="*/ 322 h 362457"/>
                <a:gd name="connsiteX8" fmla="*/ 210473 w 210794"/>
                <a:gd name="connsiteY8" fmla="*/ 10329 h 362457"/>
                <a:gd name="connsiteX9" fmla="*/ 112903 w 210794"/>
                <a:gd name="connsiteY9" fmla="*/ 356203 h 362457"/>
                <a:gd name="connsiteX10" fmla="*/ 106023 w 210794"/>
                <a:gd name="connsiteY10" fmla="*/ 362457 h 362457"/>
                <a:gd name="connsiteX11" fmla="*/ 106023 w 210794"/>
                <a:gd name="connsiteY11" fmla="*/ 362457 h 362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0794" h="362457">
                  <a:moveTo>
                    <a:pt x="106023" y="362457"/>
                  </a:moveTo>
                  <a:cubicBezTo>
                    <a:pt x="102270" y="362457"/>
                    <a:pt x="99143" y="359955"/>
                    <a:pt x="97892" y="356203"/>
                  </a:cubicBezTo>
                  <a:lnTo>
                    <a:pt x="322" y="10329"/>
                  </a:lnTo>
                  <a:cubicBezTo>
                    <a:pt x="-929" y="5951"/>
                    <a:pt x="1573" y="1573"/>
                    <a:pt x="5951" y="322"/>
                  </a:cubicBezTo>
                  <a:cubicBezTo>
                    <a:pt x="10329" y="-929"/>
                    <a:pt x="14707" y="1573"/>
                    <a:pt x="15958" y="5951"/>
                  </a:cubicBezTo>
                  <a:lnTo>
                    <a:pt x="105397" y="323054"/>
                  </a:lnTo>
                  <a:lnTo>
                    <a:pt x="194837" y="5951"/>
                  </a:lnTo>
                  <a:cubicBezTo>
                    <a:pt x="196088" y="1573"/>
                    <a:pt x="200466" y="-929"/>
                    <a:pt x="204844" y="322"/>
                  </a:cubicBezTo>
                  <a:cubicBezTo>
                    <a:pt x="209222" y="1573"/>
                    <a:pt x="211724" y="5951"/>
                    <a:pt x="210473" y="10329"/>
                  </a:cubicBezTo>
                  <a:lnTo>
                    <a:pt x="112903" y="356203"/>
                  </a:lnTo>
                  <a:cubicBezTo>
                    <a:pt x="113528" y="359955"/>
                    <a:pt x="109776" y="362457"/>
                    <a:pt x="106023" y="362457"/>
                  </a:cubicBezTo>
                  <a:lnTo>
                    <a:pt x="106023" y="362457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76" name="Forma Livre: Forma 75">
              <a:extLst>
                <a:ext uri="{FF2B5EF4-FFF2-40B4-BE49-F238E27FC236}">
                  <a16:creationId xmlns:a16="http://schemas.microsoft.com/office/drawing/2014/main" id="{35D45317-EFC0-48DE-8D4D-B8CA95AE91A9}"/>
                </a:ext>
              </a:extLst>
            </p:cNvPr>
            <p:cNvSpPr/>
            <p:nvPr/>
          </p:nvSpPr>
          <p:spPr>
            <a:xfrm>
              <a:off x="6503752" y="2601027"/>
              <a:ext cx="212904" cy="93943"/>
            </a:xfrm>
            <a:custGeom>
              <a:avLst/>
              <a:gdLst>
                <a:gd name="connsiteX0" fmla="*/ 105827 w 212904"/>
                <a:gd name="connsiteY0" fmla="*/ 93943 h 93943"/>
                <a:gd name="connsiteX1" fmla="*/ 100823 w 212904"/>
                <a:gd name="connsiteY1" fmla="*/ 92067 h 93943"/>
                <a:gd name="connsiteX2" fmla="*/ 3253 w 212904"/>
                <a:gd name="connsiteY2" fmla="*/ 15137 h 93943"/>
                <a:gd name="connsiteX3" fmla="*/ 2002 w 212904"/>
                <a:gd name="connsiteY3" fmla="*/ 3253 h 93943"/>
                <a:gd name="connsiteX4" fmla="*/ 13886 w 212904"/>
                <a:gd name="connsiteY4" fmla="*/ 2002 h 93943"/>
                <a:gd name="connsiteX5" fmla="*/ 106452 w 212904"/>
                <a:gd name="connsiteY5" fmla="*/ 75180 h 93943"/>
                <a:gd name="connsiteX6" fmla="*/ 199019 w 212904"/>
                <a:gd name="connsiteY6" fmla="*/ 2002 h 93943"/>
                <a:gd name="connsiteX7" fmla="*/ 210903 w 212904"/>
                <a:gd name="connsiteY7" fmla="*/ 3253 h 93943"/>
                <a:gd name="connsiteX8" fmla="*/ 209652 w 212904"/>
                <a:gd name="connsiteY8" fmla="*/ 15137 h 93943"/>
                <a:gd name="connsiteX9" fmla="*/ 112081 w 212904"/>
                <a:gd name="connsiteY9" fmla="*/ 92067 h 93943"/>
                <a:gd name="connsiteX10" fmla="*/ 105827 w 212904"/>
                <a:gd name="connsiteY10" fmla="*/ 93943 h 93943"/>
                <a:gd name="connsiteX11" fmla="*/ 105827 w 212904"/>
                <a:gd name="connsiteY11" fmla="*/ 93943 h 93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2904" h="93943">
                  <a:moveTo>
                    <a:pt x="105827" y="93943"/>
                  </a:moveTo>
                  <a:cubicBezTo>
                    <a:pt x="103951" y="93943"/>
                    <a:pt x="102074" y="93318"/>
                    <a:pt x="100823" y="92067"/>
                  </a:cubicBezTo>
                  <a:lnTo>
                    <a:pt x="3253" y="15137"/>
                  </a:lnTo>
                  <a:cubicBezTo>
                    <a:pt x="-500" y="12010"/>
                    <a:pt x="-1125" y="7006"/>
                    <a:pt x="2002" y="3253"/>
                  </a:cubicBezTo>
                  <a:cubicBezTo>
                    <a:pt x="5130" y="-499"/>
                    <a:pt x="10133" y="-1125"/>
                    <a:pt x="13886" y="2002"/>
                  </a:cubicBezTo>
                  <a:lnTo>
                    <a:pt x="106452" y="75180"/>
                  </a:lnTo>
                  <a:lnTo>
                    <a:pt x="199019" y="2002"/>
                  </a:lnTo>
                  <a:cubicBezTo>
                    <a:pt x="202771" y="-1125"/>
                    <a:pt x="207775" y="-499"/>
                    <a:pt x="210903" y="3253"/>
                  </a:cubicBezTo>
                  <a:cubicBezTo>
                    <a:pt x="214030" y="7006"/>
                    <a:pt x="213404" y="12010"/>
                    <a:pt x="209652" y="15137"/>
                  </a:cubicBezTo>
                  <a:lnTo>
                    <a:pt x="112081" y="92067"/>
                  </a:lnTo>
                  <a:cubicBezTo>
                    <a:pt x="109580" y="93318"/>
                    <a:pt x="107703" y="93943"/>
                    <a:pt x="105827" y="93943"/>
                  </a:cubicBezTo>
                  <a:lnTo>
                    <a:pt x="105827" y="93943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77" name="Forma Livre: Forma 76">
              <a:extLst>
                <a:ext uri="{FF2B5EF4-FFF2-40B4-BE49-F238E27FC236}">
                  <a16:creationId xmlns:a16="http://schemas.microsoft.com/office/drawing/2014/main" id="{E6F6F9E5-5674-4EF0-A4B4-0A3092486E72}"/>
                </a:ext>
              </a:extLst>
            </p:cNvPr>
            <p:cNvSpPr/>
            <p:nvPr/>
          </p:nvSpPr>
          <p:spPr>
            <a:xfrm>
              <a:off x="6413433" y="2615694"/>
              <a:ext cx="393487" cy="78650"/>
            </a:xfrm>
            <a:custGeom>
              <a:avLst/>
              <a:gdLst>
                <a:gd name="connsiteX0" fmla="*/ 385657 w 393487"/>
                <a:gd name="connsiteY0" fmla="*/ 78650 h 78650"/>
                <a:gd name="connsiteX1" fmla="*/ 383155 w 393487"/>
                <a:gd name="connsiteY1" fmla="*/ 78025 h 78650"/>
                <a:gd name="connsiteX2" fmla="*/ 196146 w 393487"/>
                <a:gd name="connsiteY2" fmla="*/ 15480 h 78650"/>
                <a:gd name="connsiteX3" fmla="*/ 9762 w 393487"/>
                <a:gd name="connsiteY3" fmla="*/ 78025 h 78650"/>
                <a:gd name="connsiteX4" fmla="*/ 380 w 393487"/>
                <a:gd name="connsiteY4" fmla="*/ 73021 h 78650"/>
                <a:gd name="connsiteX5" fmla="*/ 5384 w 393487"/>
                <a:gd name="connsiteY5" fmla="*/ 63640 h 78650"/>
                <a:gd name="connsiteX6" fmla="*/ 194270 w 393487"/>
                <a:gd name="connsiteY6" fmla="*/ 469 h 78650"/>
                <a:gd name="connsiteX7" fmla="*/ 199273 w 393487"/>
                <a:gd name="connsiteY7" fmla="*/ 469 h 78650"/>
                <a:gd name="connsiteX8" fmla="*/ 388159 w 393487"/>
                <a:gd name="connsiteY8" fmla="*/ 63640 h 78650"/>
                <a:gd name="connsiteX9" fmla="*/ 393163 w 393487"/>
                <a:gd name="connsiteY9" fmla="*/ 73021 h 78650"/>
                <a:gd name="connsiteX10" fmla="*/ 385657 w 393487"/>
                <a:gd name="connsiteY10" fmla="*/ 78650 h 78650"/>
                <a:gd name="connsiteX11" fmla="*/ 385657 w 393487"/>
                <a:gd name="connsiteY11" fmla="*/ 78650 h 78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93487" h="78650">
                  <a:moveTo>
                    <a:pt x="385657" y="78650"/>
                  </a:moveTo>
                  <a:cubicBezTo>
                    <a:pt x="385032" y="78650"/>
                    <a:pt x="383781" y="78650"/>
                    <a:pt x="383155" y="78025"/>
                  </a:cubicBezTo>
                  <a:lnTo>
                    <a:pt x="196146" y="15480"/>
                  </a:lnTo>
                  <a:lnTo>
                    <a:pt x="9762" y="78025"/>
                  </a:lnTo>
                  <a:cubicBezTo>
                    <a:pt x="6010" y="79276"/>
                    <a:pt x="1631" y="77399"/>
                    <a:pt x="380" y="73021"/>
                  </a:cubicBezTo>
                  <a:cubicBezTo>
                    <a:pt x="-871" y="69269"/>
                    <a:pt x="1006" y="64890"/>
                    <a:pt x="5384" y="63640"/>
                  </a:cubicBezTo>
                  <a:lnTo>
                    <a:pt x="194270" y="469"/>
                  </a:lnTo>
                  <a:cubicBezTo>
                    <a:pt x="195521" y="-156"/>
                    <a:pt x="197397" y="-156"/>
                    <a:pt x="199273" y="469"/>
                  </a:cubicBezTo>
                  <a:lnTo>
                    <a:pt x="388159" y="63640"/>
                  </a:lnTo>
                  <a:cubicBezTo>
                    <a:pt x="391912" y="64890"/>
                    <a:pt x="394413" y="69269"/>
                    <a:pt x="393163" y="73021"/>
                  </a:cubicBezTo>
                  <a:cubicBezTo>
                    <a:pt x="391286" y="76149"/>
                    <a:pt x="388785" y="78650"/>
                    <a:pt x="385657" y="78650"/>
                  </a:cubicBezTo>
                  <a:lnTo>
                    <a:pt x="385657" y="7865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78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1311852" y="2578011"/>
            <a:ext cx="411545" cy="404040"/>
            <a:chOff x="1299515" y="2578011"/>
            <a:chExt cx="411545" cy="404040"/>
          </a:xfrm>
          <a:solidFill>
            <a:srgbClr val="B1B1A1"/>
          </a:solidFill>
        </p:grpSpPr>
        <p:sp>
          <p:nvSpPr>
            <p:cNvPr id="79" name="Forma Livre: Forma 78">
              <a:extLst>
                <a:ext uri="{FF2B5EF4-FFF2-40B4-BE49-F238E27FC236}">
                  <a16:creationId xmlns:a16="http://schemas.microsoft.com/office/drawing/2014/main" id="{9B41E227-F5AC-48E6-9050-9AD6473F6A76}"/>
                </a:ext>
              </a:extLst>
            </p:cNvPr>
            <p:cNvSpPr/>
            <p:nvPr/>
          </p:nvSpPr>
          <p:spPr>
            <a:xfrm>
              <a:off x="1299515" y="2578011"/>
              <a:ext cx="411545" cy="404040"/>
            </a:xfrm>
            <a:custGeom>
              <a:avLst/>
              <a:gdLst>
                <a:gd name="connsiteX0" fmla="*/ 169497 w 411545"/>
                <a:gd name="connsiteY0" fmla="*/ 33774 h 404040"/>
                <a:gd name="connsiteX1" fmla="*/ 205773 w 411545"/>
                <a:gd name="connsiteY1" fmla="*/ 51912 h 404040"/>
                <a:gd name="connsiteX2" fmla="*/ 242049 w 411545"/>
                <a:gd name="connsiteY2" fmla="*/ 33774 h 404040"/>
                <a:gd name="connsiteX3" fmla="*/ 243925 w 411545"/>
                <a:gd name="connsiteY3" fmla="*/ 33774 h 404040"/>
                <a:gd name="connsiteX4" fmla="*/ 270820 w 411545"/>
                <a:gd name="connsiteY4" fmla="*/ 66298 h 404040"/>
                <a:gd name="connsiteX5" fmla="*/ 278325 w 411545"/>
                <a:gd name="connsiteY5" fmla="*/ 67548 h 404040"/>
                <a:gd name="connsiteX6" fmla="*/ 303968 w 411545"/>
                <a:gd name="connsiteY6" fmla="*/ 64421 h 404040"/>
                <a:gd name="connsiteX7" fmla="*/ 313350 w 411545"/>
                <a:gd name="connsiteY7" fmla="*/ 66923 h 404040"/>
                <a:gd name="connsiteX8" fmla="*/ 323357 w 411545"/>
                <a:gd name="connsiteY8" fmla="*/ 107577 h 404040"/>
                <a:gd name="connsiteX9" fmla="*/ 360884 w 411545"/>
                <a:gd name="connsiteY9" fmla="*/ 126341 h 404040"/>
                <a:gd name="connsiteX10" fmla="*/ 352128 w 411545"/>
                <a:gd name="connsiteY10" fmla="*/ 167620 h 404040"/>
                <a:gd name="connsiteX11" fmla="*/ 377771 w 411545"/>
                <a:gd name="connsiteY11" fmla="*/ 201395 h 404040"/>
                <a:gd name="connsiteX12" fmla="*/ 352128 w 411545"/>
                <a:gd name="connsiteY12" fmla="*/ 235169 h 404040"/>
                <a:gd name="connsiteX13" fmla="*/ 360884 w 411545"/>
                <a:gd name="connsiteY13" fmla="*/ 276449 h 404040"/>
                <a:gd name="connsiteX14" fmla="*/ 323357 w 411545"/>
                <a:gd name="connsiteY14" fmla="*/ 295212 h 404040"/>
                <a:gd name="connsiteX15" fmla="*/ 313350 w 411545"/>
                <a:gd name="connsiteY15" fmla="*/ 335866 h 404040"/>
                <a:gd name="connsiteX16" fmla="*/ 303968 w 411545"/>
                <a:gd name="connsiteY16" fmla="*/ 338368 h 404040"/>
                <a:gd name="connsiteX17" fmla="*/ 278325 w 411545"/>
                <a:gd name="connsiteY17" fmla="*/ 335241 h 404040"/>
                <a:gd name="connsiteX18" fmla="*/ 270820 w 411545"/>
                <a:gd name="connsiteY18" fmla="*/ 336492 h 404040"/>
                <a:gd name="connsiteX19" fmla="*/ 243925 w 411545"/>
                <a:gd name="connsiteY19" fmla="*/ 369015 h 404040"/>
                <a:gd name="connsiteX20" fmla="*/ 242049 w 411545"/>
                <a:gd name="connsiteY20" fmla="*/ 369015 h 404040"/>
                <a:gd name="connsiteX21" fmla="*/ 205773 w 411545"/>
                <a:gd name="connsiteY21" fmla="*/ 350877 h 404040"/>
                <a:gd name="connsiteX22" fmla="*/ 169497 w 411545"/>
                <a:gd name="connsiteY22" fmla="*/ 369015 h 404040"/>
                <a:gd name="connsiteX23" fmla="*/ 167620 w 411545"/>
                <a:gd name="connsiteY23" fmla="*/ 369015 h 404040"/>
                <a:gd name="connsiteX24" fmla="*/ 140726 w 411545"/>
                <a:gd name="connsiteY24" fmla="*/ 336492 h 404040"/>
                <a:gd name="connsiteX25" fmla="*/ 133221 w 411545"/>
                <a:gd name="connsiteY25" fmla="*/ 335241 h 404040"/>
                <a:gd name="connsiteX26" fmla="*/ 107577 w 411545"/>
                <a:gd name="connsiteY26" fmla="*/ 338368 h 404040"/>
                <a:gd name="connsiteX27" fmla="*/ 98196 w 411545"/>
                <a:gd name="connsiteY27" fmla="*/ 335866 h 404040"/>
                <a:gd name="connsiteX28" fmla="*/ 88188 w 411545"/>
                <a:gd name="connsiteY28" fmla="*/ 295212 h 404040"/>
                <a:gd name="connsiteX29" fmla="*/ 50661 w 411545"/>
                <a:gd name="connsiteY29" fmla="*/ 276449 h 404040"/>
                <a:gd name="connsiteX30" fmla="*/ 59418 w 411545"/>
                <a:gd name="connsiteY30" fmla="*/ 235169 h 404040"/>
                <a:gd name="connsiteX31" fmla="*/ 33774 w 411545"/>
                <a:gd name="connsiteY31" fmla="*/ 201395 h 404040"/>
                <a:gd name="connsiteX32" fmla="*/ 59418 w 411545"/>
                <a:gd name="connsiteY32" fmla="*/ 167620 h 404040"/>
                <a:gd name="connsiteX33" fmla="*/ 50661 w 411545"/>
                <a:gd name="connsiteY33" fmla="*/ 126341 h 404040"/>
                <a:gd name="connsiteX34" fmla="*/ 88188 w 411545"/>
                <a:gd name="connsiteY34" fmla="*/ 107577 h 404040"/>
                <a:gd name="connsiteX35" fmla="*/ 98196 w 411545"/>
                <a:gd name="connsiteY35" fmla="*/ 66923 h 404040"/>
                <a:gd name="connsiteX36" fmla="*/ 107577 w 411545"/>
                <a:gd name="connsiteY36" fmla="*/ 64421 h 404040"/>
                <a:gd name="connsiteX37" fmla="*/ 133221 w 411545"/>
                <a:gd name="connsiteY37" fmla="*/ 67548 h 404040"/>
                <a:gd name="connsiteX38" fmla="*/ 140726 w 411545"/>
                <a:gd name="connsiteY38" fmla="*/ 66298 h 404040"/>
                <a:gd name="connsiteX39" fmla="*/ 167620 w 411545"/>
                <a:gd name="connsiteY39" fmla="*/ 33774 h 404040"/>
                <a:gd name="connsiteX40" fmla="*/ 169497 w 411545"/>
                <a:gd name="connsiteY40" fmla="*/ 33774 h 404040"/>
                <a:gd name="connsiteX41" fmla="*/ 169497 w 411545"/>
                <a:gd name="connsiteY41" fmla="*/ 0 h 404040"/>
                <a:gd name="connsiteX42" fmla="*/ 160115 w 411545"/>
                <a:gd name="connsiteY42" fmla="*/ 1251 h 404040"/>
                <a:gd name="connsiteX43" fmla="*/ 124464 w 411545"/>
                <a:gd name="connsiteY43" fmla="*/ 33149 h 404040"/>
                <a:gd name="connsiteX44" fmla="*/ 107577 w 411545"/>
                <a:gd name="connsiteY44" fmla="*/ 31272 h 404040"/>
                <a:gd name="connsiteX45" fmla="*/ 77556 w 411545"/>
                <a:gd name="connsiteY45" fmla="*/ 41280 h 404040"/>
                <a:gd name="connsiteX46" fmla="*/ 59418 w 411545"/>
                <a:gd name="connsiteY46" fmla="*/ 85061 h 404040"/>
                <a:gd name="connsiteX47" fmla="*/ 20640 w 411545"/>
                <a:gd name="connsiteY47" fmla="*/ 112581 h 404040"/>
                <a:gd name="connsiteX48" fmla="*/ 23142 w 411545"/>
                <a:gd name="connsiteY48" fmla="*/ 160115 h 404040"/>
                <a:gd name="connsiteX49" fmla="*/ 0 w 411545"/>
                <a:gd name="connsiteY49" fmla="*/ 202020 h 404040"/>
                <a:gd name="connsiteX50" fmla="*/ 23142 w 411545"/>
                <a:gd name="connsiteY50" fmla="*/ 243925 h 404040"/>
                <a:gd name="connsiteX51" fmla="*/ 20640 w 411545"/>
                <a:gd name="connsiteY51" fmla="*/ 291459 h 404040"/>
                <a:gd name="connsiteX52" fmla="*/ 59418 w 411545"/>
                <a:gd name="connsiteY52" fmla="*/ 318979 h 404040"/>
                <a:gd name="connsiteX53" fmla="*/ 77556 w 411545"/>
                <a:gd name="connsiteY53" fmla="*/ 362761 h 404040"/>
                <a:gd name="connsiteX54" fmla="*/ 107577 w 411545"/>
                <a:gd name="connsiteY54" fmla="*/ 372768 h 404040"/>
                <a:gd name="connsiteX55" fmla="*/ 124464 w 411545"/>
                <a:gd name="connsiteY55" fmla="*/ 370891 h 404040"/>
                <a:gd name="connsiteX56" fmla="*/ 160115 w 411545"/>
                <a:gd name="connsiteY56" fmla="*/ 402789 h 404040"/>
                <a:gd name="connsiteX57" fmla="*/ 169497 w 411545"/>
                <a:gd name="connsiteY57" fmla="*/ 404040 h 404040"/>
                <a:gd name="connsiteX58" fmla="*/ 205773 w 411545"/>
                <a:gd name="connsiteY58" fmla="*/ 389655 h 404040"/>
                <a:gd name="connsiteX59" fmla="*/ 242049 w 411545"/>
                <a:gd name="connsiteY59" fmla="*/ 404040 h 404040"/>
                <a:gd name="connsiteX60" fmla="*/ 251431 w 411545"/>
                <a:gd name="connsiteY60" fmla="*/ 402789 h 404040"/>
                <a:gd name="connsiteX61" fmla="*/ 287081 w 411545"/>
                <a:gd name="connsiteY61" fmla="*/ 370891 h 404040"/>
                <a:gd name="connsiteX62" fmla="*/ 303968 w 411545"/>
                <a:gd name="connsiteY62" fmla="*/ 372768 h 404040"/>
                <a:gd name="connsiteX63" fmla="*/ 333990 w 411545"/>
                <a:gd name="connsiteY63" fmla="*/ 362761 h 404040"/>
                <a:gd name="connsiteX64" fmla="*/ 352128 w 411545"/>
                <a:gd name="connsiteY64" fmla="*/ 318979 h 404040"/>
                <a:gd name="connsiteX65" fmla="*/ 390906 w 411545"/>
                <a:gd name="connsiteY65" fmla="*/ 291459 h 404040"/>
                <a:gd name="connsiteX66" fmla="*/ 388404 w 411545"/>
                <a:gd name="connsiteY66" fmla="*/ 243925 h 404040"/>
                <a:gd name="connsiteX67" fmla="*/ 411546 w 411545"/>
                <a:gd name="connsiteY67" fmla="*/ 202020 h 404040"/>
                <a:gd name="connsiteX68" fmla="*/ 388404 w 411545"/>
                <a:gd name="connsiteY68" fmla="*/ 160115 h 404040"/>
                <a:gd name="connsiteX69" fmla="*/ 390906 w 411545"/>
                <a:gd name="connsiteY69" fmla="*/ 112581 h 404040"/>
                <a:gd name="connsiteX70" fmla="*/ 352128 w 411545"/>
                <a:gd name="connsiteY70" fmla="*/ 85061 h 404040"/>
                <a:gd name="connsiteX71" fmla="*/ 333990 w 411545"/>
                <a:gd name="connsiteY71" fmla="*/ 41280 h 404040"/>
                <a:gd name="connsiteX72" fmla="*/ 303968 w 411545"/>
                <a:gd name="connsiteY72" fmla="*/ 31272 h 404040"/>
                <a:gd name="connsiteX73" fmla="*/ 287081 w 411545"/>
                <a:gd name="connsiteY73" fmla="*/ 33149 h 404040"/>
                <a:gd name="connsiteX74" fmla="*/ 251431 w 411545"/>
                <a:gd name="connsiteY74" fmla="*/ 1251 h 404040"/>
                <a:gd name="connsiteX75" fmla="*/ 242049 w 411545"/>
                <a:gd name="connsiteY75" fmla="*/ 0 h 404040"/>
                <a:gd name="connsiteX76" fmla="*/ 205773 w 411545"/>
                <a:gd name="connsiteY76" fmla="*/ 14385 h 404040"/>
                <a:gd name="connsiteX77" fmla="*/ 169497 w 411545"/>
                <a:gd name="connsiteY77" fmla="*/ 0 h 404040"/>
                <a:gd name="connsiteX78" fmla="*/ 169497 w 411545"/>
                <a:gd name="connsiteY78" fmla="*/ 0 h 404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411545" h="404040">
                  <a:moveTo>
                    <a:pt x="169497" y="33774"/>
                  </a:moveTo>
                  <a:cubicBezTo>
                    <a:pt x="180755" y="33774"/>
                    <a:pt x="193889" y="51912"/>
                    <a:pt x="205773" y="51912"/>
                  </a:cubicBezTo>
                  <a:cubicBezTo>
                    <a:pt x="217656" y="51912"/>
                    <a:pt x="230791" y="33774"/>
                    <a:pt x="242049" y="33774"/>
                  </a:cubicBezTo>
                  <a:cubicBezTo>
                    <a:pt x="242674" y="33774"/>
                    <a:pt x="243300" y="33774"/>
                    <a:pt x="243925" y="33774"/>
                  </a:cubicBezTo>
                  <a:cubicBezTo>
                    <a:pt x="255809" y="36276"/>
                    <a:pt x="260187" y="61294"/>
                    <a:pt x="270820" y="66298"/>
                  </a:cubicBezTo>
                  <a:cubicBezTo>
                    <a:pt x="272696" y="67548"/>
                    <a:pt x="275198" y="67548"/>
                    <a:pt x="278325" y="67548"/>
                  </a:cubicBezTo>
                  <a:cubicBezTo>
                    <a:pt x="286456" y="67548"/>
                    <a:pt x="295838" y="64421"/>
                    <a:pt x="303968" y="64421"/>
                  </a:cubicBezTo>
                  <a:cubicBezTo>
                    <a:pt x="307721" y="64421"/>
                    <a:pt x="310848" y="65047"/>
                    <a:pt x="313350" y="66923"/>
                  </a:cubicBezTo>
                  <a:cubicBezTo>
                    <a:pt x="322732" y="74428"/>
                    <a:pt x="315852" y="98196"/>
                    <a:pt x="323357" y="107577"/>
                  </a:cubicBezTo>
                  <a:cubicBezTo>
                    <a:pt x="330863" y="116959"/>
                    <a:pt x="355881" y="115708"/>
                    <a:pt x="360884" y="126341"/>
                  </a:cubicBezTo>
                  <a:cubicBezTo>
                    <a:pt x="365888" y="136973"/>
                    <a:pt x="349626" y="155737"/>
                    <a:pt x="352128" y="167620"/>
                  </a:cubicBezTo>
                  <a:cubicBezTo>
                    <a:pt x="354630" y="178879"/>
                    <a:pt x="377771" y="188886"/>
                    <a:pt x="377771" y="201395"/>
                  </a:cubicBezTo>
                  <a:cubicBezTo>
                    <a:pt x="377771" y="213904"/>
                    <a:pt x="354630" y="223285"/>
                    <a:pt x="352128" y="235169"/>
                  </a:cubicBezTo>
                  <a:cubicBezTo>
                    <a:pt x="349626" y="247052"/>
                    <a:pt x="365888" y="265816"/>
                    <a:pt x="360884" y="276449"/>
                  </a:cubicBezTo>
                  <a:cubicBezTo>
                    <a:pt x="355881" y="287081"/>
                    <a:pt x="330863" y="285830"/>
                    <a:pt x="323357" y="295212"/>
                  </a:cubicBezTo>
                  <a:cubicBezTo>
                    <a:pt x="315852" y="304594"/>
                    <a:pt x="322732" y="328361"/>
                    <a:pt x="313350" y="335866"/>
                  </a:cubicBezTo>
                  <a:cubicBezTo>
                    <a:pt x="310848" y="337743"/>
                    <a:pt x="307721" y="338368"/>
                    <a:pt x="303968" y="338368"/>
                  </a:cubicBezTo>
                  <a:cubicBezTo>
                    <a:pt x="295838" y="338368"/>
                    <a:pt x="286456" y="335241"/>
                    <a:pt x="278325" y="335241"/>
                  </a:cubicBezTo>
                  <a:cubicBezTo>
                    <a:pt x="275823" y="335241"/>
                    <a:pt x="273321" y="335866"/>
                    <a:pt x="270820" y="336492"/>
                  </a:cubicBezTo>
                  <a:cubicBezTo>
                    <a:pt x="260187" y="341495"/>
                    <a:pt x="255809" y="366513"/>
                    <a:pt x="243925" y="369015"/>
                  </a:cubicBezTo>
                  <a:cubicBezTo>
                    <a:pt x="243300" y="369015"/>
                    <a:pt x="242674" y="369015"/>
                    <a:pt x="242049" y="369015"/>
                  </a:cubicBezTo>
                  <a:cubicBezTo>
                    <a:pt x="230791" y="369015"/>
                    <a:pt x="217656" y="350877"/>
                    <a:pt x="205773" y="350877"/>
                  </a:cubicBezTo>
                  <a:cubicBezTo>
                    <a:pt x="193889" y="350877"/>
                    <a:pt x="180755" y="369015"/>
                    <a:pt x="169497" y="369015"/>
                  </a:cubicBezTo>
                  <a:cubicBezTo>
                    <a:pt x="168871" y="369015"/>
                    <a:pt x="168246" y="369015"/>
                    <a:pt x="167620" y="369015"/>
                  </a:cubicBezTo>
                  <a:cubicBezTo>
                    <a:pt x="155737" y="366513"/>
                    <a:pt x="151359" y="341495"/>
                    <a:pt x="140726" y="336492"/>
                  </a:cubicBezTo>
                  <a:cubicBezTo>
                    <a:pt x="138850" y="335241"/>
                    <a:pt x="136348" y="335241"/>
                    <a:pt x="133221" y="335241"/>
                  </a:cubicBezTo>
                  <a:cubicBezTo>
                    <a:pt x="125090" y="335241"/>
                    <a:pt x="115708" y="338368"/>
                    <a:pt x="107577" y="338368"/>
                  </a:cubicBezTo>
                  <a:cubicBezTo>
                    <a:pt x="103825" y="338368"/>
                    <a:pt x="100697" y="337743"/>
                    <a:pt x="98196" y="335866"/>
                  </a:cubicBezTo>
                  <a:cubicBezTo>
                    <a:pt x="88814" y="328361"/>
                    <a:pt x="95694" y="304594"/>
                    <a:pt x="88188" y="295212"/>
                  </a:cubicBezTo>
                  <a:cubicBezTo>
                    <a:pt x="80683" y="285830"/>
                    <a:pt x="55665" y="287081"/>
                    <a:pt x="50661" y="276449"/>
                  </a:cubicBezTo>
                  <a:cubicBezTo>
                    <a:pt x="45658" y="265816"/>
                    <a:pt x="61919" y="247052"/>
                    <a:pt x="59418" y="235169"/>
                  </a:cubicBezTo>
                  <a:cubicBezTo>
                    <a:pt x="56916" y="223911"/>
                    <a:pt x="33774" y="213904"/>
                    <a:pt x="33774" y="201395"/>
                  </a:cubicBezTo>
                  <a:cubicBezTo>
                    <a:pt x="33774" y="188886"/>
                    <a:pt x="56916" y="179504"/>
                    <a:pt x="59418" y="167620"/>
                  </a:cubicBezTo>
                  <a:cubicBezTo>
                    <a:pt x="61919" y="155737"/>
                    <a:pt x="45658" y="136973"/>
                    <a:pt x="50661" y="126341"/>
                  </a:cubicBezTo>
                  <a:cubicBezTo>
                    <a:pt x="55665" y="115708"/>
                    <a:pt x="80683" y="116959"/>
                    <a:pt x="88188" y="107577"/>
                  </a:cubicBezTo>
                  <a:cubicBezTo>
                    <a:pt x="95694" y="98196"/>
                    <a:pt x="88814" y="74428"/>
                    <a:pt x="98196" y="66923"/>
                  </a:cubicBezTo>
                  <a:cubicBezTo>
                    <a:pt x="100697" y="65047"/>
                    <a:pt x="103825" y="64421"/>
                    <a:pt x="107577" y="64421"/>
                  </a:cubicBezTo>
                  <a:cubicBezTo>
                    <a:pt x="115708" y="64421"/>
                    <a:pt x="125090" y="67548"/>
                    <a:pt x="133221" y="67548"/>
                  </a:cubicBezTo>
                  <a:cubicBezTo>
                    <a:pt x="135722" y="67548"/>
                    <a:pt x="138224" y="66923"/>
                    <a:pt x="140726" y="66298"/>
                  </a:cubicBezTo>
                  <a:cubicBezTo>
                    <a:pt x="151359" y="61294"/>
                    <a:pt x="155737" y="36276"/>
                    <a:pt x="167620" y="33774"/>
                  </a:cubicBezTo>
                  <a:cubicBezTo>
                    <a:pt x="167620" y="33774"/>
                    <a:pt x="168871" y="33774"/>
                    <a:pt x="169497" y="33774"/>
                  </a:cubicBezTo>
                  <a:moveTo>
                    <a:pt x="169497" y="0"/>
                  </a:moveTo>
                  <a:cubicBezTo>
                    <a:pt x="166370" y="0"/>
                    <a:pt x="163242" y="625"/>
                    <a:pt x="160115" y="1251"/>
                  </a:cubicBezTo>
                  <a:cubicBezTo>
                    <a:pt x="140101" y="5629"/>
                    <a:pt x="130093" y="21891"/>
                    <a:pt x="124464" y="33149"/>
                  </a:cubicBezTo>
                  <a:cubicBezTo>
                    <a:pt x="119461" y="32523"/>
                    <a:pt x="113832" y="31272"/>
                    <a:pt x="107577" y="31272"/>
                  </a:cubicBezTo>
                  <a:cubicBezTo>
                    <a:pt x="95694" y="31272"/>
                    <a:pt x="85687" y="34400"/>
                    <a:pt x="77556" y="41280"/>
                  </a:cubicBezTo>
                  <a:cubicBezTo>
                    <a:pt x="61294" y="53789"/>
                    <a:pt x="60043" y="73178"/>
                    <a:pt x="59418" y="85061"/>
                  </a:cubicBezTo>
                  <a:cubicBezTo>
                    <a:pt x="47534" y="88188"/>
                    <a:pt x="29396" y="94443"/>
                    <a:pt x="20640" y="112581"/>
                  </a:cubicBezTo>
                  <a:cubicBezTo>
                    <a:pt x="11884" y="130719"/>
                    <a:pt x="18763" y="148857"/>
                    <a:pt x="23142" y="160115"/>
                  </a:cubicBezTo>
                  <a:cubicBezTo>
                    <a:pt x="13760" y="168246"/>
                    <a:pt x="0" y="181380"/>
                    <a:pt x="0" y="202020"/>
                  </a:cubicBezTo>
                  <a:cubicBezTo>
                    <a:pt x="0" y="222660"/>
                    <a:pt x="13760" y="235794"/>
                    <a:pt x="23142" y="243925"/>
                  </a:cubicBezTo>
                  <a:cubicBezTo>
                    <a:pt x="18763" y="255183"/>
                    <a:pt x="11884" y="272696"/>
                    <a:pt x="20640" y="291459"/>
                  </a:cubicBezTo>
                  <a:cubicBezTo>
                    <a:pt x="29396" y="309597"/>
                    <a:pt x="47534" y="315852"/>
                    <a:pt x="59418" y="318979"/>
                  </a:cubicBezTo>
                  <a:cubicBezTo>
                    <a:pt x="60043" y="331488"/>
                    <a:pt x="61919" y="350252"/>
                    <a:pt x="77556" y="362761"/>
                  </a:cubicBezTo>
                  <a:cubicBezTo>
                    <a:pt x="85687" y="369015"/>
                    <a:pt x="95694" y="372768"/>
                    <a:pt x="107577" y="372768"/>
                  </a:cubicBezTo>
                  <a:cubicBezTo>
                    <a:pt x="113832" y="372768"/>
                    <a:pt x="119461" y="372142"/>
                    <a:pt x="124464" y="370891"/>
                  </a:cubicBezTo>
                  <a:cubicBezTo>
                    <a:pt x="130093" y="381524"/>
                    <a:pt x="140101" y="397786"/>
                    <a:pt x="160115" y="402789"/>
                  </a:cubicBezTo>
                  <a:cubicBezTo>
                    <a:pt x="163242" y="403415"/>
                    <a:pt x="166370" y="404040"/>
                    <a:pt x="169497" y="404040"/>
                  </a:cubicBezTo>
                  <a:cubicBezTo>
                    <a:pt x="185133" y="404040"/>
                    <a:pt x="197017" y="395909"/>
                    <a:pt x="205773" y="389655"/>
                  </a:cubicBezTo>
                  <a:cubicBezTo>
                    <a:pt x="214529" y="395909"/>
                    <a:pt x="226413" y="404040"/>
                    <a:pt x="242049" y="404040"/>
                  </a:cubicBezTo>
                  <a:cubicBezTo>
                    <a:pt x="245176" y="404040"/>
                    <a:pt x="248303" y="403415"/>
                    <a:pt x="251431" y="402789"/>
                  </a:cubicBezTo>
                  <a:cubicBezTo>
                    <a:pt x="271445" y="398411"/>
                    <a:pt x="281452" y="382150"/>
                    <a:pt x="287081" y="370891"/>
                  </a:cubicBezTo>
                  <a:cubicBezTo>
                    <a:pt x="292085" y="371517"/>
                    <a:pt x="297714" y="372768"/>
                    <a:pt x="303968" y="372768"/>
                  </a:cubicBezTo>
                  <a:cubicBezTo>
                    <a:pt x="315852" y="372768"/>
                    <a:pt x="325859" y="369641"/>
                    <a:pt x="333990" y="362761"/>
                  </a:cubicBezTo>
                  <a:cubicBezTo>
                    <a:pt x="350252" y="350252"/>
                    <a:pt x="351502" y="330863"/>
                    <a:pt x="352128" y="318979"/>
                  </a:cubicBezTo>
                  <a:cubicBezTo>
                    <a:pt x="364011" y="315852"/>
                    <a:pt x="382150" y="309597"/>
                    <a:pt x="390906" y="291459"/>
                  </a:cubicBezTo>
                  <a:cubicBezTo>
                    <a:pt x="399662" y="273321"/>
                    <a:pt x="392782" y="255183"/>
                    <a:pt x="388404" y="243925"/>
                  </a:cubicBezTo>
                  <a:cubicBezTo>
                    <a:pt x="397786" y="235794"/>
                    <a:pt x="411546" y="222660"/>
                    <a:pt x="411546" y="202020"/>
                  </a:cubicBezTo>
                  <a:cubicBezTo>
                    <a:pt x="411546" y="181380"/>
                    <a:pt x="397786" y="168246"/>
                    <a:pt x="388404" y="160115"/>
                  </a:cubicBezTo>
                  <a:cubicBezTo>
                    <a:pt x="392782" y="148857"/>
                    <a:pt x="399662" y="131344"/>
                    <a:pt x="390906" y="112581"/>
                  </a:cubicBezTo>
                  <a:cubicBezTo>
                    <a:pt x="382150" y="93817"/>
                    <a:pt x="364011" y="88188"/>
                    <a:pt x="352128" y="85061"/>
                  </a:cubicBezTo>
                  <a:cubicBezTo>
                    <a:pt x="351502" y="73178"/>
                    <a:pt x="349626" y="53789"/>
                    <a:pt x="333990" y="41280"/>
                  </a:cubicBezTo>
                  <a:cubicBezTo>
                    <a:pt x="325859" y="35025"/>
                    <a:pt x="315852" y="31272"/>
                    <a:pt x="303968" y="31272"/>
                  </a:cubicBezTo>
                  <a:cubicBezTo>
                    <a:pt x="297714" y="31272"/>
                    <a:pt x="292085" y="31898"/>
                    <a:pt x="287081" y="33149"/>
                  </a:cubicBezTo>
                  <a:cubicBezTo>
                    <a:pt x="281452" y="22516"/>
                    <a:pt x="271445" y="6254"/>
                    <a:pt x="251431" y="1251"/>
                  </a:cubicBezTo>
                  <a:cubicBezTo>
                    <a:pt x="248303" y="625"/>
                    <a:pt x="245176" y="0"/>
                    <a:pt x="242049" y="0"/>
                  </a:cubicBezTo>
                  <a:cubicBezTo>
                    <a:pt x="226413" y="0"/>
                    <a:pt x="214529" y="8131"/>
                    <a:pt x="205773" y="14385"/>
                  </a:cubicBezTo>
                  <a:cubicBezTo>
                    <a:pt x="197017" y="8131"/>
                    <a:pt x="185133" y="0"/>
                    <a:pt x="169497" y="0"/>
                  </a:cubicBezTo>
                  <a:lnTo>
                    <a:pt x="169497" y="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80" name="Gráfico 2">
              <a:extLst>
                <a:ext uri="{FF2B5EF4-FFF2-40B4-BE49-F238E27FC236}">
                  <a16:creationId xmlns:a16="http://schemas.microsoft.com/office/drawing/2014/main" id="{A4E24395-F85F-4E15-8BC9-B92D577D4DAD}"/>
                </a:ext>
              </a:extLst>
            </p:cNvPr>
            <p:cNvGrpSpPr/>
            <p:nvPr/>
          </p:nvGrpSpPr>
          <p:grpSpPr>
            <a:xfrm>
              <a:off x="1389580" y="2734373"/>
              <a:ext cx="244550" cy="108828"/>
              <a:chOff x="1389580" y="2734373"/>
              <a:chExt cx="244550" cy="108828"/>
            </a:xfrm>
            <a:grpFill/>
          </p:grpSpPr>
          <p:sp>
            <p:nvSpPr>
              <p:cNvPr id="81" name="Forma Livre: Forma 80">
                <a:extLst>
                  <a:ext uri="{FF2B5EF4-FFF2-40B4-BE49-F238E27FC236}">
                    <a16:creationId xmlns:a16="http://schemas.microsoft.com/office/drawing/2014/main" id="{CCB04457-F2CF-4629-A593-4238383BE30A}"/>
                  </a:ext>
                </a:extLst>
              </p:cNvPr>
              <p:cNvSpPr/>
              <p:nvPr/>
            </p:nvSpPr>
            <p:spPr>
              <a:xfrm>
                <a:off x="1389580" y="2734373"/>
                <a:ext cx="65046" cy="108828"/>
              </a:xfrm>
              <a:custGeom>
                <a:avLst/>
                <a:gdLst>
                  <a:gd name="connsiteX0" fmla="*/ 0 w 65046"/>
                  <a:gd name="connsiteY0" fmla="*/ 108203 h 108828"/>
                  <a:gd name="connsiteX1" fmla="*/ 0 w 65046"/>
                  <a:gd name="connsiteY1" fmla="*/ 0 h 108828"/>
                  <a:gd name="connsiteX2" fmla="*/ 19389 w 65046"/>
                  <a:gd name="connsiteY2" fmla="*/ 0 h 108828"/>
                  <a:gd name="connsiteX3" fmla="*/ 36276 w 65046"/>
                  <a:gd name="connsiteY3" fmla="*/ 42530 h 108828"/>
                  <a:gd name="connsiteX4" fmla="*/ 47534 w 65046"/>
                  <a:gd name="connsiteY4" fmla="*/ 74428 h 108828"/>
                  <a:gd name="connsiteX5" fmla="*/ 48160 w 65046"/>
                  <a:gd name="connsiteY5" fmla="*/ 74428 h 108828"/>
                  <a:gd name="connsiteX6" fmla="*/ 46283 w 65046"/>
                  <a:gd name="connsiteY6" fmla="*/ 24392 h 108828"/>
                  <a:gd name="connsiteX7" fmla="*/ 46283 w 65046"/>
                  <a:gd name="connsiteY7" fmla="*/ 625 h 108828"/>
                  <a:gd name="connsiteX8" fmla="*/ 65047 w 65046"/>
                  <a:gd name="connsiteY8" fmla="*/ 625 h 108828"/>
                  <a:gd name="connsiteX9" fmla="*/ 65047 w 65046"/>
                  <a:gd name="connsiteY9" fmla="*/ 108828 h 108828"/>
                  <a:gd name="connsiteX10" fmla="*/ 45658 w 65046"/>
                  <a:gd name="connsiteY10" fmla="*/ 108828 h 108828"/>
                  <a:gd name="connsiteX11" fmla="*/ 29396 w 65046"/>
                  <a:gd name="connsiteY11" fmla="*/ 67548 h 108828"/>
                  <a:gd name="connsiteX12" fmla="*/ 18138 w 65046"/>
                  <a:gd name="connsiteY12" fmla="*/ 35025 h 108828"/>
                  <a:gd name="connsiteX13" fmla="*/ 17513 w 65046"/>
                  <a:gd name="connsiteY13" fmla="*/ 35025 h 108828"/>
                  <a:gd name="connsiteX14" fmla="*/ 18763 w 65046"/>
                  <a:gd name="connsiteY14" fmla="*/ 84436 h 108828"/>
                  <a:gd name="connsiteX15" fmla="*/ 18763 w 65046"/>
                  <a:gd name="connsiteY15" fmla="*/ 108828 h 108828"/>
                  <a:gd name="connsiteX16" fmla="*/ 0 w 65046"/>
                  <a:gd name="connsiteY16" fmla="*/ 108828 h 1088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65046" h="108828">
                    <a:moveTo>
                      <a:pt x="0" y="108203"/>
                    </a:moveTo>
                    <a:lnTo>
                      <a:pt x="0" y="0"/>
                    </a:lnTo>
                    <a:lnTo>
                      <a:pt x="19389" y="0"/>
                    </a:lnTo>
                    <a:lnTo>
                      <a:pt x="36276" y="42530"/>
                    </a:lnTo>
                    <a:cubicBezTo>
                      <a:pt x="39403" y="50661"/>
                      <a:pt x="45032" y="65047"/>
                      <a:pt x="47534" y="74428"/>
                    </a:cubicBezTo>
                    <a:lnTo>
                      <a:pt x="48160" y="74428"/>
                    </a:lnTo>
                    <a:cubicBezTo>
                      <a:pt x="47534" y="63170"/>
                      <a:pt x="46283" y="44407"/>
                      <a:pt x="46283" y="24392"/>
                    </a:cubicBezTo>
                    <a:lnTo>
                      <a:pt x="46283" y="625"/>
                    </a:lnTo>
                    <a:lnTo>
                      <a:pt x="65047" y="625"/>
                    </a:lnTo>
                    <a:lnTo>
                      <a:pt x="65047" y="108828"/>
                    </a:lnTo>
                    <a:lnTo>
                      <a:pt x="45658" y="108828"/>
                    </a:lnTo>
                    <a:lnTo>
                      <a:pt x="29396" y="67548"/>
                    </a:lnTo>
                    <a:cubicBezTo>
                      <a:pt x="25643" y="58167"/>
                      <a:pt x="20640" y="44407"/>
                      <a:pt x="18138" y="35025"/>
                    </a:cubicBezTo>
                    <a:lnTo>
                      <a:pt x="17513" y="35025"/>
                    </a:lnTo>
                    <a:cubicBezTo>
                      <a:pt x="18138" y="45658"/>
                      <a:pt x="18763" y="62545"/>
                      <a:pt x="18763" y="84436"/>
                    </a:cubicBezTo>
                    <a:lnTo>
                      <a:pt x="18763" y="108828"/>
                    </a:lnTo>
                    <a:lnTo>
                      <a:pt x="0" y="108828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82" name="Forma Livre: Forma 81">
                <a:extLst>
                  <a:ext uri="{FF2B5EF4-FFF2-40B4-BE49-F238E27FC236}">
                    <a16:creationId xmlns:a16="http://schemas.microsoft.com/office/drawing/2014/main" id="{0B4381A9-8933-4B47-A903-371DC190A8FD}"/>
                  </a:ext>
                </a:extLst>
              </p:cNvPr>
              <p:cNvSpPr/>
              <p:nvPr/>
            </p:nvSpPr>
            <p:spPr>
              <a:xfrm>
                <a:off x="1472765" y="2734373"/>
                <a:ext cx="48785" cy="108202"/>
              </a:xfrm>
              <a:custGeom>
                <a:avLst/>
                <a:gdLst>
                  <a:gd name="connsiteX0" fmla="*/ 45658 w 48785"/>
                  <a:gd name="connsiteY0" fmla="*/ 60669 h 108202"/>
                  <a:gd name="connsiteX1" fmla="*/ 21265 w 48785"/>
                  <a:gd name="connsiteY1" fmla="*/ 60669 h 108202"/>
                  <a:gd name="connsiteX2" fmla="*/ 21265 w 48785"/>
                  <a:gd name="connsiteY2" fmla="*/ 90065 h 108202"/>
                  <a:gd name="connsiteX3" fmla="*/ 48785 w 48785"/>
                  <a:gd name="connsiteY3" fmla="*/ 90065 h 108202"/>
                  <a:gd name="connsiteX4" fmla="*/ 48785 w 48785"/>
                  <a:gd name="connsiteY4" fmla="*/ 108203 h 108202"/>
                  <a:gd name="connsiteX5" fmla="*/ 0 w 48785"/>
                  <a:gd name="connsiteY5" fmla="*/ 108203 h 108202"/>
                  <a:gd name="connsiteX6" fmla="*/ 0 w 48785"/>
                  <a:gd name="connsiteY6" fmla="*/ 0 h 108202"/>
                  <a:gd name="connsiteX7" fmla="*/ 46909 w 48785"/>
                  <a:gd name="connsiteY7" fmla="*/ 0 h 108202"/>
                  <a:gd name="connsiteX8" fmla="*/ 46909 w 48785"/>
                  <a:gd name="connsiteY8" fmla="*/ 18138 h 108202"/>
                  <a:gd name="connsiteX9" fmla="*/ 20640 w 48785"/>
                  <a:gd name="connsiteY9" fmla="*/ 18138 h 108202"/>
                  <a:gd name="connsiteX10" fmla="*/ 20640 w 48785"/>
                  <a:gd name="connsiteY10" fmla="*/ 43156 h 108202"/>
                  <a:gd name="connsiteX11" fmla="*/ 45032 w 48785"/>
                  <a:gd name="connsiteY11" fmla="*/ 43156 h 108202"/>
                  <a:gd name="connsiteX12" fmla="*/ 45032 w 48785"/>
                  <a:gd name="connsiteY12" fmla="*/ 60669 h 108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8785" h="108202">
                    <a:moveTo>
                      <a:pt x="45658" y="60669"/>
                    </a:moveTo>
                    <a:lnTo>
                      <a:pt x="21265" y="60669"/>
                    </a:lnTo>
                    <a:lnTo>
                      <a:pt x="21265" y="90065"/>
                    </a:lnTo>
                    <a:lnTo>
                      <a:pt x="48785" y="90065"/>
                    </a:lnTo>
                    <a:lnTo>
                      <a:pt x="48785" y="108203"/>
                    </a:lnTo>
                    <a:lnTo>
                      <a:pt x="0" y="108203"/>
                    </a:lnTo>
                    <a:lnTo>
                      <a:pt x="0" y="0"/>
                    </a:lnTo>
                    <a:lnTo>
                      <a:pt x="46909" y="0"/>
                    </a:lnTo>
                    <a:lnTo>
                      <a:pt x="46909" y="18138"/>
                    </a:lnTo>
                    <a:lnTo>
                      <a:pt x="20640" y="18138"/>
                    </a:lnTo>
                    <a:lnTo>
                      <a:pt x="20640" y="43156"/>
                    </a:lnTo>
                    <a:lnTo>
                      <a:pt x="45032" y="43156"/>
                    </a:lnTo>
                    <a:lnTo>
                      <a:pt x="45032" y="60669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83" name="Forma Livre: Forma 82">
                <a:extLst>
                  <a:ext uri="{FF2B5EF4-FFF2-40B4-BE49-F238E27FC236}">
                    <a16:creationId xmlns:a16="http://schemas.microsoft.com/office/drawing/2014/main" id="{C09C9D15-0E46-488C-BA2D-8417682B8E93}"/>
                  </a:ext>
                </a:extLst>
              </p:cNvPr>
              <p:cNvSpPr/>
              <p:nvPr/>
            </p:nvSpPr>
            <p:spPr>
              <a:xfrm>
                <a:off x="1529055" y="2734373"/>
                <a:ext cx="105075" cy="108202"/>
              </a:xfrm>
              <a:custGeom>
                <a:avLst/>
                <a:gdLst>
                  <a:gd name="connsiteX0" fmla="*/ 18763 w 105075"/>
                  <a:gd name="connsiteY0" fmla="*/ 108203 h 108202"/>
                  <a:gd name="connsiteX1" fmla="*/ 0 w 105075"/>
                  <a:gd name="connsiteY1" fmla="*/ 0 h 108202"/>
                  <a:gd name="connsiteX2" fmla="*/ 21891 w 105075"/>
                  <a:gd name="connsiteY2" fmla="*/ 0 h 108202"/>
                  <a:gd name="connsiteX3" fmla="*/ 26894 w 105075"/>
                  <a:gd name="connsiteY3" fmla="*/ 43156 h 108202"/>
                  <a:gd name="connsiteX4" fmla="*/ 30647 w 105075"/>
                  <a:gd name="connsiteY4" fmla="*/ 81308 h 108202"/>
                  <a:gd name="connsiteX5" fmla="*/ 31272 w 105075"/>
                  <a:gd name="connsiteY5" fmla="*/ 81308 h 108202"/>
                  <a:gd name="connsiteX6" fmla="*/ 37527 w 105075"/>
                  <a:gd name="connsiteY6" fmla="*/ 43156 h 108202"/>
                  <a:gd name="connsiteX7" fmla="*/ 45032 w 105075"/>
                  <a:gd name="connsiteY7" fmla="*/ 0 h 108202"/>
                  <a:gd name="connsiteX8" fmla="*/ 61919 w 105075"/>
                  <a:gd name="connsiteY8" fmla="*/ 0 h 108202"/>
                  <a:gd name="connsiteX9" fmla="*/ 69425 w 105075"/>
                  <a:gd name="connsiteY9" fmla="*/ 42530 h 108202"/>
                  <a:gd name="connsiteX10" fmla="*/ 74428 w 105075"/>
                  <a:gd name="connsiteY10" fmla="*/ 80683 h 108202"/>
                  <a:gd name="connsiteX11" fmla="*/ 75054 w 105075"/>
                  <a:gd name="connsiteY11" fmla="*/ 80683 h 108202"/>
                  <a:gd name="connsiteX12" fmla="*/ 79432 w 105075"/>
                  <a:gd name="connsiteY12" fmla="*/ 42530 h 108202"/>
                  <a:gd name="connsiteX13" fmla="*/ 84436 w 105075"/>
                  <a:gd name="connsiteY13" fmla="*/ 0 h 108202"/>
                  <a:gd name="connsiteX14" fmla="*/ 105075 w 105075"/>
                  <a:gd name="connsiteY14" fmla="*/ 0 h 108202"/>
                  <a:gd name="connsiteX15" fmla="*/ 85687 w 105075"/>
                  <a:gd name="connsiteY15" fmla="*/ 108203 h 108202"/>
                  <a:gd name="connsiteX16" fmla="*/ 63796 w 105075"/>
                  <a:gd name="connsiteY16" fmla="*/ 108203 h 108202"/>
                  <a:gd name="connsiteX17" fmla="*/ 57541 w 105075"/>
                  <a:gd name="connsiteY17" fmla="*/ 72552 h 108202"/>
                  <a:gd name="connsiteX18" fmla="*/ 52538 w 105075"/>
                  <a:gd name="connsiteY18" fmla="*/ 36901 h 108202"/>
                  <a:gd name="connsiteX19" fmla="*/ 51912 w 105075"/>
                  <a:gd name="connsiteY19" fmla="*/ 36901 h 108202"/>
                  <a:gd name="connsiteX20" fmla="*/ 45658 w 105075"/>
                  <a:gd name="connsiteY20" fmla="*/ 72552 h 108202"/>
                  <a:gd name="connsiteX21" fmla="*/ 38152 w 105075"/>
                  <a:gd name="connsiteY21" fmla="*/ 107577 h 108202"/>
                  <a:gd name="connsiteX22" fmla="*/ 18763 w 105075"/>
                  <a:gd name="connsiteY22" fmla="*/ 107577 h 108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05075" h="108202">
                    <a:moveTo>
                      <a:pt x="18763" y="108203"/>
                    </a:moveTo>
                    <a:lnTo>
                      <a:pt x="0" y="0"/>
                    </a:lnTo>
                    <a:lnTo>
                      <a:pt x="21891" y="0"/>
                    </a:lnTo>
                    <a:lnTo>
                      <a:pt x="26894" y="43156"/>
                    </a:lnTo>
                    <a:cubicBezTo>
                      <a:pt x="28145" y="55665"/>
                      <a:pt x="29396" y="67548"/>
                      <a:pt x="30647" y="81308"/>
                    </a:cubicBezTo>
                    <a:lnTo>
                      <a:pt x="31272" y="81308"/>
                    </a:lnTo>
                    <a:cubicBezTo>
                      <a:pt x="32523" y="68174"/>
                      <a:pt x="35025" y="56290"/>
                      <a:pt x="37527" y="43156"/>
                    </a:cubicBezTo>
                    <a:lnTo>
                      <a:pt x="45032" y="0"/>
                    </a:lnTo>
                    <a:lnTo>
                      <a:pt x="61919" y="0"/>
                    </a:lnTo>
                    <a:lnTo>
                      <a:pt x="69425" y="42530"/>
                    </a:lnTo>
                    <a:cubicBezTo>
                      <a:pt x="71301" y="55039"/>
                      <a:pt x="73178" y="66923"/>
                      <a:pt x="74428" y="80683"/>
                    </a:cubicBezTo>
                    <a:lnTo>
                      <a:pt x="75054" y="80683"/>
                    </a:lnTo>
                    <a:cubicBezTo>
                      <a:pt x="76305" y="66298"/>
                      <a:pt x="77556" y="55039"/>
                      <a:pt x="79432" y="42530"/>
                    </a:cubicBezTo>
                    <a:lnTo>
                      <a:pt x="84436" y="0"/>
                    </a:lnTo>
                    <a:lnTo>
                      <a:pt x="105075" y="0"/>
                    </a:lnTo>
                    <a:lnTo>
                      <a:pt x="85687" y="108203"/>
                    </a:lnTo>
                    <a:lnTo>
                      <a:pt x="63796" y="108203"/>
                    </a:lnTo>
                    <a:lnTo>
                      <a:pt x="57541" y="72552"/>
                    </a:lnTo>
                    <a:cubicBezTo>
                      <a:pt x="55665" y="62545"/>
                      <a:pt x="54414" y="50036"/>
                      <a:pt x="52538" y="36901"/>
                    </a:cubicBezTo>
                    <a:lnTo>
                      <a:pt x="51912" y="36901"/>
                    </a:lnTo>
                    <a:cubicBezTo>
                      <a:pt x="50036" y="50036"/>
                      <a:pt x="48160" y="61919"/>
                      <a:pt x="45658" y="72552"/>
                    </a:cubicBezTo>
                    <a:lnTo>
                      <a:pt x="38152" y="107577"/>
                    </a:lnTo>
                    <a:lnTo>
                      <a:pt x="18763" y="107577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84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5398538" y="2576135"/>
            <a:ext cx="390280" cy="405916"/>
            <a:chOff x="5386201" y="2576135"/>
            <a:chExt cx="390280" cy="405916"/>
          </a:xfrm>
          <a:solidFill>
            <a:srgbClr val="B1B1A1"/>
          </a:solidFill>
        </p:grpSpPr>
        <p:grpSp>
          <p:nvGrpSpPr>
            <p:cNvPr id="85" name="Gráfico 2">
              <a:extLst>
                <a:ext uri="{FF2B5EF4-FFF2-40B4-BE49-F238E27FC236}">
                  <a16:creationId xmlns:a16="http://schemas.microsoft.com/office/drawing/2014/main" id="{A4E24395-F85F-4E15-8BC9-B92D577D4DAD}"/>
                </a:ext>
              </a:extLst>
            </p:cNvPr>
            <p:cNvGrpSpPr/>
            <p:nvPr/>
          </p:nvGrpSpPr>
          <p:grpSpPr>
            <a:xfrm>
              <a:off x="5438738" y="2893863"/>
              <a:ext cx="273946" cy="72552"/>
              <a:chOff x="5438738" y="2893863"/>
              <a:chExt cx="273946" cy="72552"/>
            </a:xfrm>
            <a:grpFill/>
          </p:grpSpPr>
          <p:sp>
            <p:nvSpPr>
              <p:cNvPr id="86" name="Forma Livre: Forma 85">
                <a:extLst>
                  <a:ext uri="{FF2B5EF4-FFF2-40B4-BE49-F238E27FC236}">
                    <a16:creationId xmlns:a16="http://schemas.microsoft.com/office/drawing/2014/main" id="{A121B4CE-5F04-46B2-80C8-1EF741752975}"/>
                  </a:ext>
                </a:extLst>
              </p:cNvPr>
              <p:cNvSpPr/>
              <p:nvPr/>
            </p:nvSpPr>
            <p:spPr>
              <a:xfrm>
                <a:off x="5438738" y="2895114"/>
                <a:ext cx="28770" cy="70675"/>
              </a:xfrm>
              <a:custGeom>
                <a:avLst/>
                <a:gdLst>
                  <a:gd name="connsiteX0" fmla="*/ 15011 w 28770"/>
                  <a:gd name="connsiteY0" fmla="*/ 13134 h 70675"/>
                  <a:gd name="connsiteX1" fmla="*/ 15011 w 28770"/>
                  <a:gd name="connsiteY1" fmla="*/ 13134 h 70675"/>
                  <a:gd name="connsiteX2" fmla="*/ 2502 w 28770"/>
                  <a:gd name="connsiteY2" fmla="*/ 19389 h 70675"/>
                  <a:gd name="connsiteX3" fmla="*/ 0 w 28770"/>
                  <a:gd name="connsiteY3" fmla="*/ 8131 h 70675"/>
                  <a:gd name="connsiteX4" fmla="*/ 16262 w 28770"/>
                  <a:gd name="connsiteY4" fmla="*/ 0 h 70675"/>
                  <a:gd name="connsiteX5" fmla="*/ 28771 w 28770"/>
                  <a:gd name="connsiteY5" fmla="*/ 0 h 70675"/>
                  <a:gd name="connsiteX6" fmla="*/ 28771 w 28770"/>
                  <a:gd name="connsiteY6" fmla="*/ 70676 h 70675"/>
                  <a:gd name="connsiteX7" fmla="*/ 14385 w 28770"/>
                  <a:gd name="connsiteY7" fmla="*/ 70676 h 70675"/>
                  <a:gd name="connsiteX8" fmla="*/ 14385 w 28770"/>
                  <a:gd name="connsiteY8" fmla="*/ 13134 h 70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770" h="70675">
                    <a:moveTo>
                      <a:pt x="15011" y="13134"/>
                    </a:moveTo>
                    <a:lnTo>
                      <a:pt x="15011" y="13134"/>
                    </a:lnTo>
                    <a:lnTo>
                      <a:pt x="2502" y="19389"/>
                    </a:lnTo>
                    <a:lnTo>
                      <a:pt x="0" y="8131"/>
                    </a:lnTo>
                    <a:lnTo>
                      <a:pt x="16262" y="0"/>
                    </a:lnTo>
                    <a:lnTo>
                      <a:pt x="28771" y="0"/>
                    </a:lnTo>
                    <a:lnTo>
                      <a:pt x="28771" y="70676"/>
                    </a:lnTo>
                    <a:lnTo>
                      <a:pt x="14385" y="70676"/>
                    </a:lnTo>
                    <a:lnTo>
                      <a:pt x="14385" y="13134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87" name="Forma Livre: Forma 86">
                <a:extLst>
                  <a:ext uri="{FF2B5EF4-FFF2-40B4-BE49-F238E27FC236}">
                    <a16:creationId xmlns:a16="http://schemas.microsoft.com/office/drawing/2014/main" id="{D99E4CCD-B90D-4B01-A48D-EAC4AAA75F55}"/>
                  </a:ext>
                </a:extLst>
              </p:cNvPr>
              <p:cNvSpPr/>
              <p:nvPr/>
            </p:nvSpPr>
            <p:spPr>
              <a:xfrm>
                <a:off x="5483771" y="2893863"/>
                <a:ext cx="38777" cy="71926"/>
              </a:xfrm>
              <a:custGeom>
                <a:avLst/>
                <a:gdLst>
                  <a:gd name="connsiteX0" fmla="*/ 0 w 38777"/>
                  <a:gd name="connsiteY0" fmla="*/ 71927 h 71926"/>
                  <a:gd name="connsiteX1" fmla="*/ 0 w 38777"/>
                  <a:gd name="connsiteY1" fmla="*/ 62545 h 71926"/>
                  <a:gd name="connsiteX2" fmla="*/ 6880 w 38777"/>
                  <a:gd name="connsiteY2" fmla="*/ 53163 h 71926"/>
                  <a:gd name="connsiteX3" fmla="*/ 23767 w 38777"/>
                  <a:gd name="connsiteY3" fmla="*/ 21891 h 71926"/>
                  <a:gd name="connsiteX4" fmla="*/ 14386 w 38777"/>
                  <a:gd name="connsiteY4" fmla="*/ 11883 h 71926"/>
                  <a:gd name="connsiteX5" fmla="*/ 3753 w 38777"/>
                  <a:gd name="connsiteY5" fmla="*/ 15636 h 71926"/>
                  <a:gd name="connsiteX6" fmla="*/ 1251 w 38777"/>
                  <a:gd name="connsiteY6" fmla="*/ 4378 h 71926"/>
                  <a:gd name="connsiteX7" fmla="*/ 16887 w 38777"/>
                  <a:gd name="connsiteY7" fmla="*/ 0 h 71926"/>
                  <a:gd name="connsiteX8" fmla="*/ 37527 w 38777"/>
                  <a:gd name="connsiteY8" fmla="*/ 20640 h 71926"/>
                  <a:gd name="connsiteX9" fmla="*/ 21265 w 38777"/>
                  <a:gd name="connsiteY9" fmla="*/ 54414 h 71926"/>
                  <a:gd name="connsiteX10" fmla="*/ 16887 w 38777"/>
                  <a:gd name="connsiteY10" fmla="*/ 59418 h 71926"/>
                  <a:gd name="connsiteX11" fmla="*/ 16887 w 38777"/>
                  <a:gd name="connsiteY11" fmla="*/ 59418 h 71926"/>
                  <a:gd name="connsiteX12" fmla="*/ 38778 w 38777"/>
                  <a:gd name="connsiteY12" fmla="*/ 59418 h 71926"/>
                  <a:gd name="connsiteX13" fmla="*/ 38778 w 38777"/>
                  <a:gd name="connsiteY13" fmla="*/ 71927 h 71926"/>
                  <a:gd name="connsiteX14" fmla="*/ 0 w 38777"/>
                  <a:gd name="connsiteY14" fmla="*/ 71927 h 719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8777" h="71926">
                    <a:moveTo>
                      <a:pt x="0" y="71927"/>
                    </a:moveTo>
                    <a:lnTo>
                      <a:pt x="0" y="62545"/>
                    </a:lnTo>
                    <a:lnTo>
                      <a:pt x="6880" y="53163"/>
                    </a:lnTo>
                    <a:cubicBezTo>
                      <a:pt x="16262" y="41280"/>
                      <a:pt x="23767" y="31898"/>
                      <a:pt x="23767" y="21891"/>
                    </a:cubicBezTo>
                    <a:cubicBezTo>
                      <a:pt x="23767" y="16262"/>
                      <a:pt x="20640" y="11883"/>
                      <a:pt x="14386" y="11883"/>
                    </a:cubicBezTo>
                    <a:cubicBezTo>
                      <a:pt x="10007" y="11883"/>
                      <a:pt x="6254" y="13760"/>
                      <a:pt x="3753" y="15636"/>
                    </a:cubicBezTo>
                    <a:lnTo>
                      <a:pt x="1251" y="4378"/>
                    </a:lnTo>
                    <a:cubicBezTo>
                      <a:pt x="4378" y="1876"/>
                      <a:pt x="10633" y="0"/>
                      <a:pt x="16887" y="0"/>
                    </a:cubicBezTo>
                    <a:cubicBezTo>
                      <a:pt x="32523" y="0"/>
                      <a:pt x="37527" y="10633"/>
                      <a:pt x="37527" y="20640"/>
                    </a:cubicBezTo>
                    <a:cubicBezTo>
                      <a:pt x="37527" y="33774"/>
                      <a:pt x="29396" y="44407"/>
                      <a:pt x="21265" y="54414"/>
                    </a:cubicBezTo>
                    <a:lnTo>
                      <a:pt x="16887" y="59418"/>
                    </a:lnTo>
                    <a:lnTo>
                      <a:pt x="16887" y="59418"/>
                    </a:lnTo>
                    <a:lnTo>
                      <a:pt x="38778" y="59418"/>
                    </a:lnTo>
                    <a:lnTo>
                      <a:pt x="38778" y="71927"/>
                    </a:lnTo>
                    <a:lnTo>
                      <a:pt x="0" y="71927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88" name="Forma Livre: Forma 87">
                <a:extLst>
                  <a:ext uri="{FF2B5EF4-FFF2-40B4-BE49-F238E27FC236}">
                    <a16:creationId xmlns:a16="http://schemas.microsoft.com/office/drawing/2014/main" id="{77B511F1-385A-4415-895F-9984A607FD0A}"/>
                  </a:ext>
                </a:extLst>
              </p:cNvPr>
              <p:cNvSpPr/>
              <p:nvPr/>
            </p:nvSpPr>
            <p:spPr>
              <a:xfrm>
                <a:off x="5530054" y="2893863"/>
                <a:ext cx="37526" cy="71926"/>
              </a:xfrm>
              <a:custGeom>
                <a:avLst/>
                <a:gdLst>
                  <a:gd name="connsiteX0" fmla="*/ 1876 w 37526"/>
                  <a:gd name="connsiteY0" fmla="*/ 58167 h 71926"/>
                  <a:gd name="connsiteX1" fmla="*/ 12509 w 37526"/>
                  <a:gd name="connsiteY1" fmla="*/ 60669 h 71926"/>
                  <a:gd name="connsiteX2" fmla="*/ 23142 w 37526"/>
                  <a:gd name="connsiteY2" fmla="*/ 50661 h 71926"/>
                  <a:gd name="connsiteX3" fmla="*/ 10007 w 37526"/>
                  <a:gd name="connsiteY3" fmla="*/ 39403 h 71926"/>
                  <a:gd name="connsiteX4" fmla="*/ 8131 w 37526"/>
                  <a:gd name="connsiteY4" fmla="*/ 39403 h 71926"/>
                  <a:gd name="connsiteX5" fmla="*/ 8131 w 37526"/>
                  <a:gd name="connsiteY5" fmla="*/ 28771 h 71926"/>
                  <a:gd name="connsiteX6" fmla="*/ 9382 w 37526"/>
                  <a:gd name="connsiteY6" fmla="*/ 28771 h 71926"/>
                  <a:gd name="connsiteX7" fmla="*/ 21265 w 37526"/>
                  <a:gd name="connsiteY7" fmla="*/ 19389 h 71926"/>
                  <a:gd name="connsiteX8" fmla="*/ 13134 w 37526"/>
                  <a:gd name="connsiteY8" fmla="*/ 11258 h 71926"/>
                  <a:gd name="connsiteX9" fmla="*/ 4378 w 37526"/>
                  <a:gd name="connsiteY9" fmla="*/ 14385 h 71926"/>
                  <a:gd name="connsiteX10" fmla="*/ 2502 w 37526"/>
                  <a:gd name="connsiteY10" fmla="*/ 3753 h 71926"/>
                  <a:gd name="connsiteX11" fmla="*/ 16887 w 37526"/>
                  <a:gd name="connsiteY11" fmla="*/ 0 h 71926"/>
                  <a:gd name="connsiteX12" fmla="*/ 35651 w 37526"/>
                  <a:gd name="connsiteY12" fmla="*/ 16887 h 71926"/>
                  <a:gd name="connsiteX13" fmla="*/ 25643 w 37526"/>
                  <a:gd name="connsiteY13" fmla="*/ 32523 h 71926"/>
                  <a:gd name="connsiteX14" fmla="*/ 25643 w 37526"/>
                  <a:gd name="connsiteY14" fmla="*/ 32523 h 71926"/>
                  <a:gd name="connsiteX15" fmla="*/ 37527 w 37526"/>
                  <a:gd name="connsiteY15" fmla="*/ 50661 h 71926"/>
                  <a:gd name="connsiteX16" fmla="*/ 13760 w 37526"/>
                  <a:gd name="connsiteY16" fmla="*/ 71927 h 71926"/>
                  <a:gd name="connsiteX17" fmla="*/ 0 w 37526"/>
                  <a:gd name="connsiteY17" fmla="*/ 68799 h 71926"/>
                  <a:gd name="connsiteX18" fmla="*/ 1876 w 37526"/>
                  <a:gd name="connsiteY18" fmla="*/ 58167 h 719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7526" h="71926">
                    <a:moveTo>
                      <a:pt x="1876" y="58167"/>
                    </a:moveTo>
                    <a:cubicBezTo>
                      <a:pt x="5004" y="60043"/>
                      <a:pt x="8756" y="60669"/>
                      <a:pt x="12509" y="60669"/>
                    </a:cubicBezTo>
                    <a:cubicBezTo>
                      <a:pt x="19389" y="60669"/>
                      <a:pt x="23142" y="56290"/>
                      <a:pt x="23142" y="50661"/>
                    </a:cubicBezTo>
                    <a:cubicBezTo>
                      <a:pt x="23142" y="42530"/>
                      <a:pt x="16887" y="39403"/>
                      <a:pt x="10007" y="39403"/>
                    </a:cubicBezTo>
                    <a:lnTo>
                      <a:pt x="8131" y="39403"/>
                    </a:lnTo>
                    <a:lnTo>
                      <a:pt x="8131" y="28771"/>
                    </a:lnTo>
                    <a:lnTo>
                      <a:pt x="9382" y="28771"/>
                    </a:lnTo>
                    <a:cubicBezTo>
                      <a:pt x="14385" y="28771"/>
                      <a:pt x="21265" y="26269"/>
                      <a:pt x="21265" y="19389"/>
                    </a:cubicBezTo>
                    <a:cubicBezTo>
                      <a:pt x="21265" y="14385"/>
                      <a:pt x="18138" y="11258"/>
                      <a:pt x="13134" y="11258"/>
                    </a:cubicBezTo>
                    <a:cubicBezTo>
                      <a:pt x="10007" y="11258"/>
                      <a:pt x="6880" y="12509"/>
                      <a:pt x="4378" y="14385"/>
                    </a:cubicBezTo>
                    <a:lnTo>
                      <a:pt x="2502" y="3753"/>
                    </a:lnTo>
                    <a:cubicBezTo>
                      <a:pt x="5629" y="1876"/>
                      <a:pt x="11258" y="0"/>
                      <a:pt x="16887" y="0"/>
                    </a:cubicBezTo>
                    <a:cubicBezTo>
                      <a:pt x="29396" y="0"/>
                      <a:pt x="35651" y="8131"/>
                      <a:pt x="35651" y="16887"/>
                    </a:cubicBezTo>
                    <a:cubicBezTo>
                      <a:pt x="35651" y="23767"/>
                      <a:pt x="31898" y="30021"/>
                      <a:pt x="25643" y="32523"/>
                    </a:cubicBezTo>
                    <a:lnTo>
                      <a:pt x="25643" y="32523"/>
                    </a:lnTo>
                    <a:cubicBezTo>
                      <a:pt x="32523" y="35025"/>
                      <a:pt x="37527" y="41280"/>
                      <a:pt x="37527" y="50661"/>
                    </a:cubicBezTo>
                    <a:cubicBezTo>
                      <a:pt x="37527" y="61294"/>
                      <a:pt x="29396" y="71927"/>
                      <a:pt x="13760" y="71927"/>
                    </a:cubicBezTo>
                    <a:cubicBezTo>
                      <a:pt x="8131" y="71927"/>
                      <a:pt x="3127" y="70676"/>
                      <a:pt x="0" y="68799"/>
                    </a:cubicBezTo>
                    <a:lnTo>
                      <a:pt x="1876" y="58167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89" name="Forma Livre: Forma 88">
                <a:extLst>
                  <a:ext uri="{FF2B5EF4-FFF2-40B4-BE49-F238E27FC236}">
                    <a16:creationId xmlns:a16="http://schemas.microsoft.com/office/drawing/2014/main" id="{02354AF5-7014-4450-95E7-193E3B5EF82A}"/>
                  </a:ext>
                </a:extLst>
              </p:cNvPr>
              <p:cNvSpPr/>
              <p:nvPr/>
            </p:nvSpPr>
            <p:spPr>
              <a:xfrm>
                <a:off x="5575086" y="2894488"/>
                <a:ext cx="43781" cy="71301"/>
              </a:xfrm>
              <a:custGeom>
                <a:avLst/>
                <a:gdLst>
                  <a:gd name="connsiteX0" fmla="*/ 24392 w 43781"/>
                  <a:gd name="connsiteY0" fmla="*/ 71301 h 71301"/>
                  <a:gd name="connsiteX1" fmla="*/ 24392 w 43781"/>
                  <a:gd name="connsiteY1" fmla="*/ 54414 h 71301"/>
                  <a:gd name="connsiteX2" fmla="*/ 0 w 43781"/>
                  <a:gd name="connsiteY2" fmla="*/ 54414 h 71301"/>
                  <a:gd name="connsiteX3" fmla="*/ 0 w 43781"/>
                  <a:gd name="connsiteY3" fmla="*/ 44407 h 71301"/>
                  <a:gd name="connsiteX4" fmla="*/ 23142 w 43781"/>
                  <a:gd name="connsiteY4" fmla="*/ 0 h 71301"/>
                  <a:gd name="connsiteX5" fmla="*/ 36901 w 43781"/>
                  <a:gd name="connsiteY5" fmla="*/ 0 h 71301"/>
                  <a:gd name="connsiteX6" fmla="*/ 36901 w 43781"/>
                  <a:gd name="connsiteY6" fmla="*/ 42530 h 71301"/>
                  <a:gd name="connsiteX7" fmla="*/ 43781 w 43781"/>
                  <a:gd name="connsiteY7" fmla="*/ 42530 h 71301"/>
                  <a:gd name="connsiteX8" fmla="*/ 43781 w 43781"/>
                  <a:gd name="connsiteY8" fmla="*/ 53789 h 71301"/>
                  <a:gd name="connsiteX9" fmla="*/ 36901 w 43781"/>
                  <a:gd name="connsiteY9" fmla="*/ 53789 h 71301"/>
                  <a:gd name="connsiteX10" fmla="*/ 36901 w 43781"/>
                  <a:gd name="connsiteY10" fmla="*/ 70676 h 71301"/>
                  <a:gd name="connsiteX11" fmla="*/ 24392 w 43781"/>
                  <a:gd name="connsiteY11" fmla="*/ 70676 h 71301"/>
                  <a:gd name="connsiteX12" fmla="*/ 24392 w 43781"/>
                  <a:gd name="connsiteY12" fmla="*/ 42530 h 71301"/>
                  <a:gd name="connsiteX13" fmla="*/ 24392 w 43781"/>
                  <a:gd name="connsiteY13" fmla="*/ 28145 h 71301"/>
                  <a:gd name="connsiteX14" fmla="*/ 25018 w 43781"/>
                  <a:gd name="connsiteY14" fmla="*/ 16262 h 71301"/>
                  <a:gd name="connsiteX15" fmla="*/ 24392 w 43781"/>
                  <a:gd name="connsiteY15" fmla="*/ 16262 h 71301"/>
                  <a:gd name="connsiteX16" fmla="*/ 19389 w 43781"/>
                  <a:gd name="connsiteY16" fmla="*/ 27520 h 71301"/>
                  <a:gd name="connsiteX17" fmla="*/ 11883 w 43781"/>
                  <a:gd name="connsiteY17" fmla="*/ 42530 h 71301"/>
                  <a:gd name="connsiteX18" fmla="*/ 11883 w 43781"/>
                  <a:gd name="connsiteY18" fmla="*/ 42530 h 71301"/>
                  <a:gd name="connsiteX19" fmla="*/ 24392 w 43781"/>
                  <a:gd name="connsiteY19" fmla="*/ 42530 h 71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43781" h="71301">
                    <a:moveTo>
                      <a:pt x="24392" y="71301"/>
                    </a:moveTo>
                    <a:lnTo>
                      <a:pt x="24392" y="54414"/>
                    </a:lnTo>
                    <a:lnTo>
                      <a:pt x="0" y="54414"/>
                    </a:lnTo>
                    <a:lnTo>
                      <a:pt x="0" y="44407"/>
                    </a:lnTo>
                    <a:lnTo>
                      <a:pt x="23142" y="0"/>
                    </a:lnTo>
                    <a:lnTo>
                      <a:pt x="36901" y="0"/>
                    </a:lnTo>
                    <a:lnTo>
                      <a:pt x="36901" y="42530"/>
                    </a:lnTo>
                    <a:lnTo>
                      <a:pt x="43781" y="42530"/>
                    </a:lnTo>
                    <a:lnTo>
                      <a:pt x="43781" y="53789"/>
                    </a:lnTo>
                    <a:lnTo>
                      <a:pt x="36901" y="53789"/>
                    </a:lnTo>
                    <a:lnTo>
                      <a:pt x="36901" y="70676"/>
                    </a:lnTo>
                    <a:lnTo>
                      <a:pt x="24392" y="70676"/>
                    </a:lnTo>
                    <a:close/>
                    <a:moveTo>
                      <a:pt x="24392" y="42530"/>
                    </a:moveTo>
                    <a:lnTo>
                      <a:pt x="24392" y="28145"/>
                    </a:lnTo>
                    <a:cubicBezTo>
                      <a:pt x="24392" y="24392"/>
                      <a:pt x="25018" y="20014"/>
                      <a:pt x="25018" y="16262"/>
                    </a:cubicBezTo>
                    <a:lnTo>
                      <a:pt x="24392" y="16262"/>
                    </a:lnTo>
                    <a:cubicBezTo>
                      <a:pt x="23142" y="20014"/>
                      <a:pt x="21265" y="23142"/>
                      <a:pt x="19389" y="27520"/>
                    </a:cubicBezTo>
                    <a:lnTo>
                      <a:pt x="11883" y="42530"/>
                    </a:lnTo>
                    <a:lnTo>
                      <a:pt x="11883" y="42530"/>
                    </a:lnTo>
                    <a:lnTo>
                      <a:pt x="24392" y="42530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90" name="Forma Livre: Forma 89">
                <a:extLst>
                  <a:ext uri="{FF2B5EF4-FFF2-40B4-BE49-F238E27FC236}">
                    <a16:creationId xmlns:a16="http://schemas.microsoft.com/office/drawing/2014/main" id="{70EB8FED-E039-4096-9431-4B1955448F14}"/>
                  </a:ext>
                </a:extLst>
              </p:cNvPr>
              <p:cNvSpPr/>
              <p:nvPr/>
            </p:nvSpPr>
            <p:spPr>
              <a:xfrm>
                <a:off x="5623246" y="2894488"/>
                <a:ext cx="37526" cy="71926"/>
              </a:xfrm>
              <a:custGeom>
                <a:avLst/>
                <a:gdLst>
                  <a:gd name="connsiteX0" fmla="*/ 36901 w 37526"/>
                  <a:gd name="connsiteY0" fmla="*/ 12509 h 71926"/>
                  <a:gd name="connsiteX1" fmla="*/ 18138 w 37526"/>
                  <a:gd name="connsiteY1" fmla="*/ 12509 h 71926"/>
                  <a:gd name="connsiteX2" fmla="*/ 16262 w 37526"/>
                  <a:gd name="connsiteY2" fmla="*/ 25018 h 71926"/>
                  <a:gd name="connsiteX3" fmla="*/ 18138 w 37526"/>
                  <a:gd name="connsiteY3" fmla="*/ 25018 h 71926"/>
                  <a:gd name="connsiteX4" fmla="*/ 31272 w 37526"/>
                  <a:gd name="connsiteY4" fmla="*/ 30647 h 71926"/>
                  <a:gd name="connsiteX5" fmla="*/ 37527 w 37526"/>
                  <a:gd name="connsiteY5" fmla="*/ 46909 h 71926"/>
                  <a:gd name="connsiteX6" fmla="*/ 13134 w 37526"/>
                  <a:gd name="connsiteY6" fmla="*/ 71927 h 71926"/>
                  <a:gd name="connsiteX7" fmla="*/ 0 w 37526"/>
                  <a:gd name="connsiteY7" fmla="*/ 68799 h 71926"/>
                  <a:gd name="connsiteX8" fmla="*/ 2502 w 37526"/>
                  <a:gd name="connsiteY8" fmla="*/ 57541 h 71926"/>
                  <a:gd name="connsiteX9" fmla="*/ 12509 w 37526"/>
                  <a:gd name="connsiteY9" fmla="*/ 60043 h 71926"/>
                  <a:gd name="connsiteX10" fmla="*/ 23767 w 37526"/>
                  <a:gd name="connsiteY10" fmla="*/ 48159 h 71926"/>
                  <a:gd name="connsiteX11" fmla="*/ 8131 w 37526"/>
                  <a:gd name="connsiteY11" fmla="*/ 35650 h 71926"/>
                  <a:gd name="connsiteX12" fmla="*/ 3127 w 37526"/>
                  <a:gd name="connsiteY12" fmla="*/ 35650 h 71926"/>
                  <a:gd name="connsiteX13" fmla="*/ 6880 w 37526"/>
                  <a:gd name="connsiteY13" fmla="*/ 0 h 71926"/>
                  <a:gd name="connsiteX14" fmla="*/ 36276 w 37526"/>
                  <a:gd name="connsiteY14" fmla="*/ 0 h 71926"/>
                  <a:gd name="connsiteX15" fmla="*/ 36276 w 37526"/>
                  <a:gd name="connsiteY15" fmla="*/ 12509 h 719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7526" h="71926">
                    <a:moveTo>
                      <a:pt x="36901" y="12509"/>
                    </a:moveTo>
                    <a:lnTo>
                      <a:pt x="18138" y="12509"/>
                    </a:lnTo>
                    <a:lnTo>
                      <a:pt x="16262" y="25018"/>
                    </a:lnTo>
                    <a:cubicBezTo>
                      <a:pt x="16887" y="25018"/>
                      <a:pt x="17513" y="25018"/>
                      <a:pt x="18138" y="25018"/>
                    </a:cubicBezTo>
                    <a:cubicBezTo>
                      <a:pt x="21265" y="25018"/>
                      <a:pt x="27520" y="26269"/>
                      <a:pt x="31272" y="30647"/>
                    </a:cubicBezTo>
                    <a:cubicBezTo>
                      <a:pt x="35025" y="34400"/>
                      <a:pt x="37527" y="40029"/>
                      <a:pt x="37527" y="46909"/>
                    </a:cubicBezTo>
                    <a:cubicBezTo>
                      <a:pt x="37527" y="60668"/>
                      <a:pt x="28145" y="71927"/>
                      <a:pt x="13134" y="71927"/>
                    </a:cubicBezTo>
                    <a:cubicBezTo>
                      <a:pt x="8131" y="71927"/>
                      <a:pt x="2502" y="70676"/>
                      <a:pt x="0" y="68799"/>
                    </a:cubicBezTo>
                    <a:lnTo>
                      <a:pt x="2502" y="57541"/>
                    </a:lnTo>
                    <a:cubicBezTo>
                      <a:pt x="5004" y="58792"/>
                      <a:pt x="8756" y="60043"/>
                      <a:pt x="12509" y="60043"/>
                    </a:cubicBezTo>
                    <a:cubicBezTo>
                      <a:pt x="19389" y="60043"/>
                      <a:pt x="23767" y="55665"/>
                      <a:pt x="23767" y="48159"/>
                    </a:cubicBezTo>
                    <a:cubicBezTo>
                      <a:pt x="23767" y="38778"/>
                      <a:pt x="16262" y="35650"/>
                      <a:pt x="8131" y="35650"/>
                    </a:cubicBezTo>
                    <a:cubicBezTo>
                      <a:pt x="6254" y="35650"/>
                      <a:pt x="4378" y="35650"/>
                      <a:pt x="3127" y="35650"/>
                    </a:cubicBezTo>
                    <a:lnTo>
                      <a:pt x="6880" y="0"/>
                    </a:lnTo>
                    <a:lnTo>
                      <a:pt x="36276" y="0"/>
                    </a:lnTo>
                    <a:lnTo>
                      <a:pt x="36276" y="12509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91" name="Forma Livre: Forma 90">
                <a:extLst>
                  <a:ext uri="{FF2B5EF4-FFF2-40B4-BE49-F238E27FC236}">
                    <a16:creationId xmlns:a16="http://schemas.microsoft.com/office/drawing/2014/main" id="{53A3CF13-8732-4FA7-9D02-7EB186B3F875}"/>
                  </a:ext>
                </a:extLst>
              </p:cNvPr>
              <p:cNvSpPr/>
              <p:nvPr/>
            </p:nvSpPr>
            <p:spPr>
              <a:xfrm>
                <a:off x="5670780" y="2893863"/>
                <a:ext cx="41905" cy="72552"/>
              </a:xfrm>
              <a:custGeom>
                <a:avLst/>
                <a:gdLst>
                  <a:gd name="connsiteX0" fmla="*/ 35025 w 41905"/>
                  <a:gd name="connsiteY0" fmla="*/ 11883 h 72552"/>
                  <a:gd name="connsiteX1" fmla="*/ 29396 w 41905"/>
                  <a:gd name="connsiteY1" fmla="*/ 12509 h 72552"/>
                  <a:gd name="connsiteX2" fmla="*/ 13760 w 41905"/>
                  <a:gd name="connsiteY2" fmla="*/ 31272 h 72552"/>
                  <a:gd name="connsiteX3" fmla="*/ 14385 w 41905"/>
                  <a:gd name="connsiteY3" fmla="*/ 31272 h 72552"/>
                  <a:gd name="connsiteX4" fmla="*/ 25643 w 41905"/>
                  <a:gd name="connsiteY4" fmla="*/ 25643 h 72552"/>
                  <a:gd name="connsiteX5" fmla="*/ 41905 w 41905"/>
                  <a:gd name="connsiteY5" fmla="*/ 47534 h 72552"/>
                  <a:gd name="connsiteX6" fmla="*/ 21891 w 41905"/>
                  <a:gd name="connsiteY6" fmla="*/ 72552 h 72552"/>
                  <a:gd name="connsiteX7" fmla="*/ 0 w 41905"/>
                  <a:gd name="connsiteY7" fmla="*/ 43156 h 72552"/>
                  <a:gd name="connsiteX8" fmla="*/ 11884 w 41905"/>
                  <a:gd name="connsiteY8" fmla="*/ 10007 h 72552"/>
                  <a:gd name="connsiteX9" fmla="*/ 29396 w 41905"/>
                  <a:gd name="connsiteY9" fmla="*/ 625 h 72552"/>
                  <a:gd name="connsiteX10" fmla="*/ 36902 w 41905"/>
                  <a:gd name="connsiteY10" fmla="*/ 0 h 72552"/>
                  <a:gd name="connsiteX11" fmla="*/ 36902 w 41905"/>
                  <a:gd name="connsiteY11" fmla="*/ 11883 h 72552"/>
                  <a:gd name="connsiteX12" fmla="*/ 26269 w 41905"/>
                  <a:gd name="connsiteY12" fmla="*/ 47534 h 72552"/>
                  <a:gd name="connsiteX13" fmla="*/ 19389 w 41905"/>
                  <a:gd name="connsiteY13" fmla="*/ 35651 h 72552"/>
                  <a:gd name="connsiteX14" fmla="*/ 13760 w 41905"/>
                  <a:gd name="connsiteY14" fmla="*/ 40654 h 72552"/>
                  <a:gd name="connsiteX15" fmla="*/ 13134 w 41905"/>
                  <a:gd name="connsiteY15" fmla="*/ 46909 h 72552"/>
                  <a:gd name="connsiteX16" fmla="*/ 20014 w 41905"/>
                  <a:gd name="connsiteY16" fmla="*/ 62545 h 72552"/>
                  <a:gd name="connsiteX17" fmla="*/ 26269 w 41905"/>
                  <a:gd name="connsiteY17" fmla="*/ 47534 h 72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1905" h="72552">
                    <a:moveTo>
                      <a:pt x="35025" y="11883"/>
                    </a:moveTo>
                    <a:cubicBezTo>
                      <a:pt x="33149" y="11883"/>
                      <a:pt x="31272" y="11883"/>
                      <a:pt x="29396" y="12509"/>
                    </a:cubicBezTo>
                    <a:cubicBezTo>
                      <a:pt x="20014" y="14385"/>
                      <a:pt x="15636" y="22516"/>
                      <a:pt x="13760" y="31272"/>
                    </a:cubicBezTo>
                    <a:lnTo>
                      <a:pt x="14385" y="31272"/>
                    </a:lnTo>
                    <a:cubicBezTo>
                      <a:pt x="16887" y="28145"/>
                      <a:pt x="20640" y="25643"/>
                      <a:pt x="25643" y="25643"/>
                    </a:cubicBezTo>
                    <a:cubicBezTo>
                      <a:pt x="35025" y="25643"/>
                      <a:pt x="41905" y="34400"/>
                      <a:pt x="41905" y="47534"/>
                    </a:cubicBezTo>
                    <a:cubicBezTo>
                      <a:pt x="41905" y="60043"/>
                      <a:pt x="35651" y="72552"/>
                      <a:pt x="21891" y="72552"/>
                    </a:cubicBezTo>
                    <a:cubicBezTo>
                      <a:pt x="8756" y="72552"/>
                      <a:pt x="0" y="60669"/>
                      <a:pt x="0" y="43156"/>
                    </a:cubicBezTo>
                    <a:cubicBezTo>
                      <a:pt x="0" y="27520"/>
                      <a:pt x="5004" y="17513"/>
                      <a:pt x="11884" y="10007"/>
                    </a:cubicBezTo>
                    <a:cubicBezTo>
                      <a:pt x="16262" y="5004"/>
                      <a:pt x="23767" y="1876"/>
                      <a:pt x="29396" y="625"/>
                    </a:cubicBezTo>
                    <a:cubicBezTo>
                      <a:pt x="32523" y="0"/>
                      <a:pt x="35025" y="0"/>
                      <a:pt x="36902" y="0"/>
                    </a:cubicBezTo>
                    <a:lnTo>
                      <a:pt x="36902" y="11883"/>
                    </a:lnTo>
                    <a:close/>
                    <a:moveTo>
                      <a:pt x="26269" y="47534"/>
                    </a:moveTo>
                    <a:cubicBezTo>
                      <a:pt x="26269" y="41280"/>
                      <a:pt x="24393" y="35651"/>
                      <a:pt x="19389" y="35651"/>
                    </a:cubicBezTo>
                    <a:cubicBezTo>
                      <a:pt x="16887" y="35651"/>
                      <a:pt x="15011" y="37527"/>
                      <a:pt x="13760" y="40654"/>
                    </a:cubicBezTo>
                    <a:cubicBezTo>
                      <a:pt x="13760" y="41280"/>
                      <a:pt x="13134" y="43781"/>
                      <a:pt x="13134" y="46909"/>
                    </a:cubicBezTo>
                    <a:cubicBezTo>
                      <a:pt x="13134" y="56290"/>
                      <a:pt x="15636" y="62545"/>
                      <a:pt x="20014" y="62545"/>
                    </a:cubicBezTo>
                    <a:cubicBezTo>
                      <a:pt x="25018" y="62545"/>
                      <a:pt x="26269" y="56290"/>
                      <a:pt x="26269" y="47534"/>
                    </a:cubicBez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92" name="Forma Livre: Forma 91">
              <a:extLst>
                <a:ext uri="{FF2B5EF4-FFF2-40B4-BE49-F238E27FC236}">
                  <a16:creationId xmlns:a16="http://schemas.microsoft.com/office/drawing/2014/main" id="{194BDD08-88E3-4A9A-ABB0-0BBBAA532618}"/>
                </a:ext>
              </a:extLst>
            </p:cNvPr>
            <p:cNvSpPr/>
            <p:nvPr/>
          </p:nvSpPr>
          <p:spPr>
            <a:xfrm>
              <a:off x="5386201" y="2576135"/>
              <a:ext cx="33774" cy="405916"/>
            </a:xfrm>
            <a:custGeom>
              <a:avLst/>
              <a:gdLst>
                <a:gd name="connsiteX0" fmla="*/ 16887 w 33774"/>
                <a:gd name="connsiteY0" fmla="*/ 405917 h 405916"/>
                <a:gd name="connsiteX1" fmla="*/ 0 w 33774"/>
                <a:gd name="connsiteY1" fmla="*/ 389029 h 405916"/>
                <a:gd name="connsiteX2" fmla="*/ 0 w 33774"/>
                <a:gd name="connsiteY2" fmla="*/ 16887 h 405916"/>
                <a:gd name="connsiteX3" fmla="*/ 16887 w 33774"/>
                <a:gd name="connsiteY3" fmla="*/ 0 h 405916"/>
                <a:gd name="connsiteX4" fmla="*/ 33774 w 33774"/>
                <a:gd name="connsiteY4" fmla="*/ 16887 h 405916"/>
                <a:gd name="connsiteX5" fmla="*/ 33774 w 33774"/>
                <a:gd name="connsiteY5" fmla="*/ 389029 h 405916"/>
                <a:gd name="connsiteX6" fmla="*/ 16887 w 33774"/>
                <a:gd name="connsiteY6" fmla="*/ 405917 h 405916"/>
                <a:gd name="connsiteX7" fmla="*/ 16887 w 33774"/>
                <a:gd name="connsiteY7" fmla="*/ 405917 h 405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774" h="405916">
                  <a:moveTo>
                    <a:pt x="16887" y="405917"/>
                  </a:moveTo>
                  <a:cubicBezTo>
                    <a:pt x="7505" y="405917"/>
                    <a:pt x="0" y="398411"/>
                    <a:pt x="0" y="389029"/>
                  </a:cubicBezTo>
                  <a:lnTo>
                    <a:pt x="0" y="16887"/>
                  </a:lnTo>
                  <a:cubicBezTo>
                    <a:pt x="0" y="7505"/>
                    <a:pt x="7505" y="0"/>
                    <a:pt x="16887" y="0"/>
                  </a:cubicBezTo>
                  <a:cubicBezTo>
                    <a:pt x="26269" y="0"/>
                    <a:pt x="33774" y="7505"/>
                    <a:pt x="33774" y="16887"/>
                  </a:cubicBezTo>
                  <a:lnTo>
                    <a:pt x="33774" y="389029"/>
                  </a:lnTo>
                  <a:cubicBezTo>
                    <a:pt x="33149" y="398411"/>
                    <a:pt x="25643" y="405917"/>
                    <a:pt x="16887" y="405917"/>
                  </a:cubicBezTo>
                  <a:lnTo>
                    <a:pt x="16887" y="405917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93" name="Forma Livre: Forma 92">
              <a:extLst>
                <a:ext uri="{FF2B5EF4-FFF2-40B4-BE49-F238E27FC236}">
                  <a16:creationId xmlns:a16="http://schemas.microsoft.com/office/drawing/2014/main" id="{E2B73858-973D-4793-BFE6-60C114FAA41E}"/>
                </a:ext>
              </a:extLst>
            </p:cNvPr>
            <p:cNvSpPr/>
            <p:nvPr/>
          </p:nvSpPr>
          <p:spPr>
            <a:xfrm>
              <a:off x="5454375" y="2585516"/>
              <a:ext cx="16261" cy="275822"/>
            </a:xfrm>
            <a:custGeom>
              <a:avLst/>
              <a:gdLst>
                <a:gd name="connsiteX0" fmla="*/ 8131 w 16261"/>
                <a:gd name="connsiteY0" fmla="*/ 275823 h 275822"/>
                <a:gd name="connsiteX1" fmla="*/ 0 w 16261"/>
                <a:gd name="connsiteY1" fmla="*/ 267692 h 275822"/>
                <a:gd name="connsiteX2" fmla="*/ 0 w 16261"/>
                <a:gd name="connsiteY2" fmla="*/ 8131 h 275822"/>
                <a:gd name="connsiteX3" fmla="*/ 8131 w 16261"/>
                <a:gd name="connsiteY3" fmla="*/ 0 h 275822"/>
                <a:gd name="connsiteX4" fmla="*/ 16262 w 16261"/>
                <a:gd name="connsiteY4" fmla="*/ 8131 h 275822"/>
                <a:gd name="connsiteX5" fmla="*/ 16262 w 16261"/>
                <a:gd name="connsiteY5" fmla="*/ 267692 h 275822"/>
                <a:gd name="connsiteX6" fmla="*/ 8131 w 16261"/>
                <a:gd name="connsiteY6" fmla="*/ 275823 h 275822"/>
                <a:gd name="connsiteX7" fmla="*/ 8131 w 16261"/>
                <a:gd name="connsiteY7" fmla="*/ 275823 h 275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261" h="275822">
                  <a:moveTo>
                    <a:pt x="8131" y="275823"/>
                  </a:moveTo>
                  <a:cubicBezTo>
                    <a:pt x="3753" y="275823"/>
                    <a:pt x="0" y="272070"/>
                    <a:pt x="0" y="267692"/>
                  </a:cubicBezTo>
                  <a:lnTo>
                    <a:pt x="0" y="8131"/>
                  </a:lnTo>
                  <a:cubicBezTo>
                    <a:pt x="0" y="3753"/>
                    <a:pt x="3753" y="0"/>
                    <a:pt x="8131" y="0"/>
                  </a:cubicBezTo>
                  <a:cubicBezTo>
                    <a:pt x="12509" y="0"/>
                    <a:pt x="16262" y="3753"/>
                    <a:pt x="16262" y="8131"/>
                  </a:cubicBezTo>
                  <a:lnTo>
                    <a:pt x="16262" y="267692"/>
                  </a:lnTo>
                  <a:cubicBezTo>
                    <a:pt x="16262" y="272070"/>
                    <a:pt x="12509" y="275823"/>
                    <a:pt x="8131" y="275823"/>
                  </a:cubicBezTo>
                  <a:lnTo>
                    <a:pt x="8131" y="275823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94" name="Forma Livre: Forma 93">
              <a:extLst>
                <a:ext uri="{FF2B5EF4-FFF2-40B4-BE49-F238E27FC236}">
                  <a16:creationId xmlns:a16="http://schemas.microsoft.com/office/drawing/2014/main" id="{4C26B719-5739-478B-959B-0BFC8AAFE8F5}"/>
                </a:ext>
              </a:extLst>
            </p:cNvPr>
            <p:cNvSpPr/>
            <p:nvPr/>
          </p:nvSpPr>
          <p:spPr>
            <a:xfrm>
              <a:off x="5505036" y="2576135"/>
              <a:ext cx="33774" cy="293335"/>
            </a:xfrm>
            <a:custGeom>
              <a:avLst/>
              <a:gdLst>
                <a:gd name="connsiteX0" fmla="*/ 16887 w 33774"/>
                <a:gd name="connsiteY0" fmla="*/ 293336 h 293335"/>
                <a:gd name="connsiteX1" fmla="*/ 0 w 33774"/>
                <a:gd name="connsiteY1" fmla="*/ 276448 h 293335"/>
                <a:gd name="connsiteX2" fmla="*/ 0 w 33774"/>
                <a:gd name="connsiteY2" fmla="*/ 16887 h 293335"/>
                <a:gd name="connsiteX3" fmla="*/ 16887 w 33774"/>
                <a:gd name="connsiteY3" fmla="*/ 0 h 293335"/>
                <a:gd name="connsiteX4" fmla="*/ 33774 w 33774"/>
                <a:gd name="connsiteY4" fmla="*/ 16887 h 293335"/>
                <a:gd name="connsiteX5" fmla="*/ 33774 w 33774"/>
                <a:gd name="connsiteY5" fmla="*/ 276448 h 293335"/>
                <a:gd name="connsiteX6" fmla="*/ 16887 w 33774"/>
                <a:gd name="connsiteY6" fmla="*/ 293336 h 293335"/>
                <a:gd name="connsiteX7" fmla="*/ 16887 w 33774"/>
                <a:gd name="connsiteY7" fmla="*/ 293336 h 293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774" h="293335">
                  <a:moveTo>
                    <a:pt x="16887" y="293336"/>
                  </a:moveTo>
                  <a:cubicBezTo>
                    <a:pt x="7505" y="293336"/>
                    <a:pt x="0" y="285830"/>
                    <a:pt x="0" y="276448"/>
                  </a:cubicBezTo>
                  <a:lnTo>
                    <a:pt x="0" y="16887"/>
                  </a:lnTo>
                  <a:cubicBezTo>
                    <a:pt x="0" y="7505"/>
                    <a:pt x="7505" y="0"/>
                    <a:pt x="16887" y="0"/>
                  </a:cubicBezTo>
                  <a:cubicBezTo>
                    <a:pt x="26269" y="0"/>
                    <a:pt x="33774" y="7505"/>
                    <a:pt x="33774" y="16887"/>
                  </a:cubicBezTo>
                  <a:lnTo>
                    <a:pt x="33774" y="276448"/>
                  </a:lnTo>
                  <a:cubicBezTo>
                    <a:pt x="33149" y="285830"/>
                    <a:pt x="25643" y="293336"/>
                    <a:pt x="16887" y="293336"/>
                  </a:cubicBezTo>
                  <a:lnTo>
                    <a:pt x="16887" y="293336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95" name="Forma Livre: Forma 94">
              <a:extLst>
                <a:ext uri="{FF2B5EF4-FFF2-40B4-BE49-F238E27FC236}">
                  <a16:creationId xmlns:a16="http://schemas.microsoft.com/office/drawing/2014/main" id="{BFA9E517-7683-41F3-91F6-01A97D0E174B}"/>
                </a:ext>
              </a:extLst>
            </p:cNvPr>
            <p:cNvSpPr/>
            <p:nvPr/>
          </p:nvSpPr>
          <p:spPr>
            <a:xfrm>
              <a:off x="5564454" y="2576135"/>
              <a:ext cx="33774" cy="293335"/>
            </a:xfrm>
            <a:custGeom>
              <a:avLst/>
              <a:gdLst>
                <a:gd name="connsiteX0" fmla="*/ 16887 w 33774"/>
                <a:gd name="connsiteY0" fmla="*/ 293336 h 293335"/>
                <a:gd name="connsiteX1" fmla="*/ 0 w 33774"/>
                <a:gd name="connsiteY1" fmla="*/ 276448 h 293335"/>
                <a:gd name="connsiteX2" fmla="*/ 0 w 33774"/>
                <a:gd name="connsiteY2" fmla="*/ 16887 h 293335"/>
                <a:gd name="connsiteX3" fmla="*/ 16887 w 33774"/>
                <a:gd name="connsiteY3" fmla="*/ 0 h 293335"/>
                <a:gd name="connsiteX4" fmla="*/ 33774 w 33774"/>
                <a:gd name="connsiteY4" fmla="*/ 16887 h 293335"/>
                <a:gd name="connsiteX5" fmla="*/ 33774 w 33774"/>
                <a:gd name="connsiteY5" fmla="*/ 276448 h 293335"/>
                <a:gd name="connsiteX6" fmla="*/ 16887 w 33774"/>
                <a:gd name="connsiteY6" fmla="*/ 293336 h 293335"/>
                <a:gd name="connsiteX7" fmla="*/ 16887 w 33774"/>
                <a:gd name="connsiteY7" fmla="*/ 293336 h 293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774" h="293335">
                  <a:moveTo>
                    <a:pt x="16887" y="293336"/>
                  </a:moveTo>
                  <a:cubicBezTo>
                    <a:pt x="7505" y="293336"/>
                    <a:pt x="0" y="285830"/>
                    <a:pt x="0" y="276448"/>
                  </a:cubicBezTo>
                  <a:lnTo>
                    <a:pt x="0" y="16887"/>
                  </a:lnTo>
                  <a:cubicBezTo>
                    <a:pt x="0" y="7505"/>
                    <a:pt x="7505" y="0"/>
                    <a:pt x="16887" y="0"/>
                  </a:cubicBezTo>
                  <a:cubicBezTo>
                    <a:pt x="26269" y="0"/>
                    <a:pt x="33774" y="7505"/>
                    <a:pt x="33774" y="16887"/>
                  </a:cubicBezTo>
                  <a:lnTo>
                    <a:pt x="33774" y="276448"/>
                  </a:lnTo>
                  <a:cubicBezTo>
                    <a:pt x="33149" y="285830"/>
                    <a:pt x="26269" y="293336"/>
                    <a:pt x="16887" y="293336"/>
                  </a:cubicBezTo>
                  <a:lnTo>
                    <a:pt x="16887" y="293336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96" name="Forma Livre: Forma 95">
              <a:extLst>
                <a:ext uri="{FF2B5EF4-FFF2-40B4-BE49-F238E27FC236}">
                  <a16:creationId xmlns:a16="http://schemas.microsoft.com/office/drawing/2014/main" id="{F3738C66-BEA2-4BB0-B3AA-B74DD96A270D}"/>
                </a:ext>
              </a:extLst>
            </p:cNvPr>
            <p:cNvSpPr/>
            <p:nvPr/>
          </p:nvSpPr>
          <p:spPr>
            <a:xfrm>
              <a:off x="5632628" y="2585516"/>
              <a:ext cx="16261" cy="275822"/>
            </a:xfrm>
            <a:custGeom>
              <a:avLst/>
              <a:gdLst>
                <a:gd name="connsiteX0" fmla="*/ 8131 w 16261"/>
                <a:gd name="connsiteY0" fmla="*/ 275823 h 275822"/>
                <a:gd name="connsiteX1" fmla="*/ 0 w 16261"/>
                <a:gd name="connsiteY1" fmla="*/ 267692 h 275822"/>
                <a:gd name="connsiteX2" fmla="*/ 0 w 16261"/>
                <a:gd name="connsiteY2" fmla="*/ 8131 h 275822"/>
                <a:gd name="connsiteX3" fmla="*/ 8131 w 16261"/>
                <a:gd name="connsiteY3" fmla="*/ 0 h 275822"/>
                <a:gd name="connsiteX4" fmla="*/ 16262 w 16261"/>
                <a:gd name="connsiteY4" fmla="*/ 8131 h 275822"/>
                <a:gd name="connsiteX5" fmla="*/ 16262 w 16261"/>
                <a:gd name="connsiteY5" fmla="*/ 267692 h 275822"/>
                <a:gd name="connsiteX6" fmla="*/ 8131 w 16261"/>
                <a:gd name="connsiteY6" fmla="*/ 275823 h 275822"/>
                <a:gd name="connsiteX7" fmla="*/ 8131 w 16261"/>
                <a:gd name="connsiteY7" fmla="*/ 275823 h 275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261" h="275822">
                  <a:moveTo>
                    <a:pt x="8131" y="275823"/>
                  </a:moveTo>
                  <a:cubicBezTo>
                    <a:pt x="3753" y="275823"/>
                    <a:pt x="0" y="272070"/>
                    <a:pt x="0" y="267692"/>
                  </a:cubicBezTo>
                  <a:lnTo>
                    <a:pt x="0" y="8131"/>
                  </a:lnTo>
                  <a:cubicBezTo>
                    <a:pt x="0" y="3753"/>
                    <a:pt x="3753" y="0"/>
                    <a:pt x="8131" y="0"/>
                  </a:cubicBezTo>
                  <a:cubicBezTo>
                    <a:pt x="12509" y="0"/>
                    <a:pt x="16262" y="3753"/>
                    <a:pt x="16262" y="8131"/>
                  </a:cubicBezTo>
                  <a:lnTo>
                    <a:pt x="16262" y="267692"/>
                  </a:lnTo>
                  <a:cubicBezTo>
                    <a:pt x="16262" y="272070"/>
                    <a:pt x="12509" y="275823"/>
                    <a:pt x="8131" y="275823"/>
                  </a:cubicBezTo>
                  <a:lnTo>
                    <a:pt x="8131" y="275823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97" name="Forma Livre: Forma 96">
              <a:extLst>
                <a:ext uri="{FF2B5EF4-FFF2-40B4-BE49-F238E27FC236}">
                  <a16:creationId xmlns:a16="http://schemas.microsoft.com/office/drawing/2014/main" id="{2EFB45EB-9158-4DDB-9803-A05FEB82D76F}"/>
                </a:ext>
              </a:extLst>
            </p:cNvPr>
            <p:cNvSpPr/>
            <p:nvPr/>
          </p:nvSpPr>
          <p:spPr>
            <a:xfrm>
              <a:off x="5683289" y="2576135"/>
              <a:ext cx="33774" cy="293335"/>
            </a:xfrm>
            <a:custGeom>
              <a:avLst/>
              <a:gdLst>
                <a:gd name="connsiteX0" fmla="*/ 16887 w 33774"/>
                <a:gd name="connsiteY0" fmla="*/ 293336 h 293335"/>
                <a:gd name="connsiteX1" fmla="*/ 0 w 33774"/>
                <a:gd name="connsiteY1" fmla="*/ 276448 h 293335"/>
                <a:gd name="connsiteX2" fmla="*/ 0 w 33774"/>
                <a:gd name="connsiteY2" fmla="*/ 16887 h 293335"/>
                <a:gd name="connsiteX3" fmla="*/ 16887 w 33774"/>
                <a:gd name="connsiteY3" fmla="*/ 0 h 293335"/>
                <a:gd name="connsiteX4" fmla="*/ 33774 w 33774"/>
                <a:gd name="connsiteY4" fmla="*/ 16887 h 293335"/>
                <a:gd name="connsiteX5" fmla="*/ 33774 w 33774"/>
                <a:gd name="connsiteY5" fmla="*/ 276448 h 293335"/>
                <a:gd name="connsiteX6" fmla="*/ 16887 w 33774"/>
                <a:gd name="connsiteY6" fmla="*/ 293336 h 293335"/>
                <a:gd name="connsiteX7" fmla="*/ 16887 w 33774"/>
                <a:gd name="connsiteY7" fmla="*/ 293336 h 293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774" h="293335">
                  <a:moveTo>
                    <a:pt x="16887" y="293336"/>
                  </a:moveTo>
                  <a:cubicBezTo>
                    <a:pt x="7505" y="293336"/>
                    <a:pt x="0" y="285830"/>
                    <a:pt x="0" y="276448"/>
                  </a:cubicBezTo>
                  <a:lnTo>
                    <a:pt x="0" y="16887"/>
                  </a:lnTo>
                  <a:cubicBezTo>
                    <a:pt x="0" y="7505"/>
                    <a:pt x="7505" y="0"/>
                    <a:pt x="16887" y="0"/>
                  </a:cubicBezTo>
                  <a:cubicBezTo>
                    <a:pt x="26269" y="0"/>
                    <a:pt x="33774" y="7505"/>
                    <a:pt x="33774" y="16887"/>
                  </a:cubicBezTo>
                  <a:lnTo>
                    <a:pt x="33774" y="276448"/>
                  </a:lnTo>
                  <a:cubicBezTo>
                    <a:pt x="33774" y="285830"/>
                    <a:pt x="26269" y="293336"/>
                    <a:pt x="16887" y="293336"/>
                  </a:cubicBezTo>
                  <a:lnTo>
                    <a:pt x="16887" y="293336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98" name="Forma Livre: Forma 97">
              <a:extLst>
                <a:ext uri="{FF2B5EF4-FFF2-40B4-BE49-F238E27FC236}">
                  <a16:creationId xmlns:a16="http://schemas.microsoft.com/office/drawing/2014/main" id="{20269451-9229-4AB0-ABFF-76A139278D16}"/>
                </a:ext>
              </a:extLst>
            </p:cNvPr>
            <p:cNvSpPr/>
            <p:nvPr/>
          </p:nvSpPr>
          <p:spPr>
            <a:xfrm>
              <a:off x="5742707" y="2576135"/>
              <a:ext cx="33774" cy="405916"/>
            </a:xfrm>
            <a:custGeom>
              <a:avLst/>
              <a:gdLst>
                <a:gd name="connsiteX0" fmla="*/ 16887 w 33774"/>
                <a:gd name="connsiteY0" fmla="*/ 405917 h 405916"/>
                <a:gd name="connsiteX1" fmla="*/ 0 w 33774"/>
                <a:gd name="connsiteY1" fmla="*/ 389029 h 405916"/>
                <a:gd name="connsiteX2" fmla="*/ 0 w 33774"/>
                <a:gd name="connsiteY2" fmla="*/ 16887 h 405916"/>
                <a:gd name="connsiteX3" fmla="*/ 16887 w 33774"/>
                <a:gd name="connsiteY3" fmla="*/ 0 h 405916"/>
                <a:gd name="connsiteX4" fmla="*/ 33774 w 33774"/>
                <a:gd name="connsiteY4" fmla="*/ 16887 h 405916"/>
                <a:gd name="connsiteX5" fmla="*/ 33774 w 33774"/>
                <a:gd name="connsiteY5" fmla="*/ 389029 h 405916"/>
                <a:gd name="connsiteX6" fmla="*/ 16887 w 33774"/>
                <a:gd name="connsiteY6" fmla="*/ 405917 h 405916"/>
                <a:gd name="connsiteX7" fmla="*/ 16887 w 33774"/>
                <a:gd name="connsiteY7" fmla="*/ 405917 h 405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774" h="405916">
                  <a:moveTo>
                    <a:pt x="16887" y="405917"/>
                  </a:moveTo>
                  <a:cubicBezTo>
                    <a:pt x="7505" y="405917"/>
                    <a:pt x="0" y="398411"/>
                    <a:pt x="0" y="389029"/>
                  </a:cubicBezTo>
                  <a:lnTo>
                    <a:pt x="0" y="16887"/>
                  </a:lnTo>
                  <a:cubicBezTo>
                    <a:pt x="0" y="7505"/>
                    <a:pt x="7505" y="0"/>
                    <a:pt x="16887" y="0"/>
                  </a:cubicBezTo>
                  <a:cubicBezTo>
                    <a:pt x="26269" y="0"/>
                    <a:pt x="33774" y="7505"/>
                    <a:pt x="33774" y="16887"/>
                  </a:cubicBezTo>
                  <a:lnTo>
                    <a:pt x="33774" y="389029"/>
                  </a:lnTo>
                  <a:cubicBezTo>
                    <a:pt x="33774" y="398411"/>
                    <a:pt x="26269" y="405917"/>
                    <a:pt x="16887" y="405917"/>
                  </a:cubicBezTo>
                  <a:lnTo>
                    <a:pt x="16887" y="405917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99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8465741" y="2609596"/>
            <a:ext cx="389176" cy="340557"/>
            <a:chOff x="8453404" y="2609596"/>
            <a:chExt cx="389176" cy="340557"/>
          </a:xfrm>
          <a:solidFill>
            <a:srgbClr val="B1B1A1"/>
          </a:solidFill>
        </p:grpSpPr>
        <p:sp>
          <p:nvSpPr>
            <p:cNvPr id="100" name="Forma Livre: Forma 99">
              <a:extLst>
                <a:ext uri="{FF2B5EF4-FFF2-40B4-BE49-F238E27FC236}">
                  <a16:creationId xmlns:a16="http://schemas.microsoft.com/office/drawing/2014/main" id="{AC45D0DB-447E-4692-89A3-6F9EC6F7094B}"/>
                </a:ext>
              </a:extLst>
            </p:cNvPr>
            <p:cNvSpPr/>
            <p:nvPr/>
          </p:nvSpPr>
          <p:spPr>
            <a:xfrm>
              <a:off x="8474432" y="2811692"/>
              <a:ext cx="76779" cy="74665"/>
            </a:xfrm>
            <a:custGeom>
              <a:avLst/>
              <a:gdLst>
                <a:gd name="connsiteX0" fmla="*/ 59655 w 76779"/>
                <a:gd name="connsiteY0" fmla="*/ 74666 h 74665"/>
                <a:gd name="connsiteX1" fmla="*/ 48397 w 76779"/>
                <a:gd name="connsiteY1" fmla="*/ 70288 h 74665"/>
                <a:gd name="connsiteX2" fmla="*/ 5241 w 76779"/>
                <a:gd name="connsiteY2" fmla="*/ 29008 h 74665"/>
                <a:gd name="connsiteX3" fmla="*/ 4615 w 76779"/>
                <a:gd name="connsiteY3" fmla="*/ 5241 h 74665"/>
                <a:gd name="connsiteX4" fmla="*/ 28383 w 76779"/>
                <a:gd name="connsiteY4" fmla="*/ 4615 h 74665"/>
                <a:gd name="connsiteX5" fmla="*/ 71538 w 76779"/>
                <a:gd name="connsiteY5" fmla="*/ 45895 h 74665"/>
                <a:gd name="connsiteX6" fmla="*/ 72164 w 76779"/>
                <a:gd name="connsiteY6" fmla="*/ 69662 h 74665"/>
                <a:gd name="connsiteX7" fmla="*/ 59655 w 76779"/>
                <a:gd name="connsiteY7" fmla="*/ 74666 h 74665"/>
                <a:gd name="connsiteX8" fmla="*/ 59655 w 76779"/>
                <a:gd name="connsiteY8" fmla="*/ 74666 h 74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779" h="74665">
                  <a:moveTo>
                    <a:pt x="59655" y="74666"/>
                  </a:moveTo>
                  <a:cubicBezTo>
                    <a:pt x="55277" y="74666"/>
                    <a:pt x="51524" y="73415"/>
                    <a:pt x="48397" y="70288"/>
                  </a:cubicBezTo>
                  <a:lnTo>
                    <a:pt x="5241" y="29008"/>
                  </a:lnTo>
                  <a:cubicBezTo>
                    <a:pt x="-1639" y="22753"/>
                    <a:pt x="-1639" y="12121"/>
                    <a:pt x="4615" y="5241"/>
                  </a:cubicBezTo>
                  <a:cubicBezTo>
                    <a:pt x="10870" y="-1639"/>
                    <a:pt x="21502" y="-1639"/>
                    <a:pt x="28383" y="4615"/>
                  </a:cubicBezTo>
                  <a:lnTo>
                    <a:pt x="71538" y="45895"/>
                  </a:lnTo>
                  <a:cubicBezTo>
                    <a:pt x="78419" y="52150"/>
                    <a:pt x="78419" y="62782"/>
                    <a:pt x="72164" y="69662"/>
                  </a:cubicBezTo>
                  <a:cubicBezTo>
                    <a:pt x="68411" y="72789"/>
                    <a:pt x="64033" y="74666"/>
                    <a:pt x="59655" y="74666"/>
                  </a:cubicBezTo>
                  <a:lnTo>
                    <a:pt x="59655" y="74666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01" name="Forma Livre: Forma 100">
              <a:extLst>
                <a:ext uri="{FF2B5EF4-FFF2-40B4-BE49-F238E27FC236}">
                  <a16:creationId xmlns:a16="http://schemas.microsoft.com/office/drawing/2014/main" id="{27EC4EDE-454E-4F33-B86F-40D5265EBF47}"/>
                </a:ext>
              </a:extLst>
            </p:cNvPr>
            <p:cNvSpPr/>
            <p:nvPr/>
          </p:nvSpPr>
          <p:spPr>
            <a:xfrm>
              <a:off x="8588188" y="2683565"/>
              <a:ext cx="254392" cy="196538"/>
            </a:xfrm>
            <a:custGeom>
              <a:avLst/>
              <a:gdLst>
                <a:gd name="connsiteX0" fmla="*/ 16575 w 254392"/>
                <a:gd name="connsiteY0" fmla="*/ 196538 h 196538"/>
                <a:gd name="connsiteX1" fmla="*/ 4691 w 254392"/>
                <a:gd name="connsiteY1" fmla="*/ 191535 h 196538"/>
                <a:gd name="connsiteX2" fmla="*/ 4691 w 254392"/>
                <a:gd name="connsiteY2" fmla="*/ 167768 h 196538"/>
                <a:gd name="connsiteX3" fmla="*/ 160428 w 254392"/>
                <a:gd name="connsiteY3" fmla="*/ 12030 h 196538"/>
                <a:gd name="connsiteX4" fmla="*/ 170435 w 254392"/>
                <a:gd name="connsiteY4" fmla="*/ 7027 h 196538"/>
                <a:gd name="connsiteX5" fmla="*/ 236107 w 254392"/>
                <a:gd name="connsiteY5" fmla="*/ 147 h 196538"/>
                <a:gd name="connsiteX6" fmla="*/ 254245 w 254392"/>
                <a:gd name="connsiteY6" fmla="*/ 15158 h 196538"/>
                <a:gd name="connsiteX7" fmla="*/ 239234 w 254392"/>
                <a:gd name="connsiteY7" fmla="*/ 33296 h 196538"/>
                <a:gd name="connsiteX8" fmla="*/ 179817 w 254392"/>
                <a:gd name="connsiteY8" fmla="*/ 39550 h 196538"/>
                <a:gd name="connsiteX9" fmla="*/ 28458 w 254392"/>
                <a:gd name="connsiteY9" fmla="*/ 190909 h 196538"/>
                <a:gd name="connsiteX10" fmla="*/ 16575 w 254392"/>
                <a:gd name="connsiteY10" fmla="*/ 196538 h 196538"/>
                <a:gd name="connsiteX11" fmla="*/ 16575 w 254392"/>
                <a:gd name="connsiteY11" fmla="*/ 196538 h 196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4392" h="196538">
                  <a:moveTo>
                    <a:pt x="16575" y="196538"/>
                  </a:moveTo>
                  <a:cubicBezTo>
                    <a:pt x="12197" y="196538"/>
                    <a:pt x="7818" y="194662"/>
                    <a:pt x="4691" y="191535"/>
                  </a:cubicBezTo>
                  <a:cubicBezTo>
                    <a:pt x="-1564" y="185280"/>
                    <a:pt x="-1564" y="174647"/>
                    <a:pt x="4691" y="167768"/>
                  </a:cubicBezTo>
                  <a:lnTo>
                    <a:pt x="160428" y="12030"/>
                  </a:lnTo>
                  <a:cubicBezTo>
                    <a:pt x="162930" y="9529"/>
                    <a:pt x="166682" y="7652"/>
                    <a:pt x="170435" y="7027"/>
                  </a:cubicBezTo>
                  <a:lnTo>
                    <a:pt x="236107" y="147"/>
                  </a:lnTo>
                  <a:cubicBezTo>
                    <a:pt x="245489" y="-1104"/>
                    <a:pt x="253620" y="5776"/>
                    <a:pt x="254245" y="15158"/>
                  </a:cubicBezTo>
                  <a:cubicBezTo>
                    <a:pt x="255497" y="24539"/>
                    <a:pt x="248616" y="32670"/>
                    <a:pt x="239234" y="33296"/>
                  </a:cubicBezTo>
                  <a:lnTo>
                    <a:pt x="179817" y="39550"/>
                  </a:lnTo>
                  <a:lnTo>
                    <a:pt x="28458" y="190909"/>
                  </a:lnTo>
                  <a:cubicBezTo>
                    <a:pt x="25331" y="195287"/>
                    <a:pt x="20953" y="196538"/>
                    <a:pt x="16575" y="196538"/>
                  </a:cubicBezTo>
                  <a:lnTo>
                    <a:pt x="16575" y="196538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02" name="Forma Livre: Forma 101">
              <a:extLst>
                <a:ext uri="{FF2B5EF4-FFF2-40B4-BE49-F238E27FC236}">
                  <a16:creationId xmlns:a16="http://schemas.microsoft.com/office/drawing/2014/main" id="{81FA9A31-1B49-45B7-9F52-D5E5FF5A1C26}"/>
                </a:ext>
              </a:extLst>
            </p:cNvPr>
            <p:cNvSpPr/>
            <p:nvPr/>
          </p:nvSpPr>
          <p:spPr>
            <a:xfrm>
              <a:off x="8453404" y="2609596"/>
              <a:ext cx="229852" cy="229852"/>
            </a:xfrm>
            <a:custGeom>
              <a:avLst/>
              <a:gdLst>
                <a:gd name="connsiteX0" fmla="*/ 115083 w 229852"/>
                <a:gd name="connsiteY0" fmla="*/ 229853 h 229852"/>
                <a:gd name="connsiteX1" fmla="*/ 103199 w 229852"/>
                <a:gd name="connsiteY1" fmla="*/ 224849 h 229852"/>
                <a:gd name="connsiteX2" fmla="*/ 5003 w 229852"/>
                <a:gd name="connsiteY2" fmla="*/ 126653 h 229852"/>
                <a:gd name="connsiteX3" fmla="*/ 0 w 229852"/>
                <a:gd name="connsiteY3" fmla="*/ 114770 h 229852"/>
                <a:gd name="connsiteX4" fmla="*/ 5003 w 229852"/>
                <a:gd name="connsiteY4" fmla="*/ 102886 h 229852"/>
                <a:gd name="connsiteX5" fmla="*/ 103199 w 229852"/>
                <a:gd name="connsiteY5" fmla="*/ 4691 h 229852"/>
                <a:gd name="connsiteX6" fmla="*/ 126966 w 229852"/>
                <a:gd name="connsiteY6" fmla="*/ 4691 h 229852"/>
                <a:gd name="connsiteX7" fmla="*/ 225162 w 229852"/>
                <a:gd name="connsiteY7" fmla="*/ 102886 h 229852"/>
                <a:gd name="connsiteX8" fmla="*/ 225162 w 229852"/>
                <a:gd name="connsiteY8" fmla="*/ 126653 h 229852"/>
                <a:gd name="connsiteX9" fmla="*/ 126966 w 229852"/>
                <a:gd name="connsiteY9" fmla="*/ 224849 h 229852"/>
                <a:gd name="connsiteX10" fmla="*/ 115083 w 229852"/>
                <a:gd name="connsiteY10" fmla="*/ 229853 h 229852"/>
                <a:gd name="connsiteX11" fmla="*/ 115083 w 229852"/>
                <a:gd name="connsiteY11" fmla="*/ 229853 h 229852"/>
                <a:gd name="connsiteX12" fmla="*/ 40654 w 229852"/>
                <a:gd name="connsiteY12" fmla="*/ 114770 h 229852"/>
                <a:gd name="connsiteX13" fmla="*/ 115083 w 229852"/>
                <a:gd name="connsiteY13" fmla="*/ 189198 h 229852"/>
                <a:gd name="connsiteX14" fmla="*/ 189511 w 229852"/>
                <a:gd name="connsiteY14" fmla="*/ 114770 h 229852"/>
                <a:gd name="connsiteX15" fmla="*/ 115083 w 229852"/>
                <a:gd name="connsiteY15" fmla="*/ 40342 h 229852"/>
                <a:gd name="connsiteX16" fmla="*/ 40654 w 229852"/>
                <a:gd name="connsiteY16" fmla="*/ 114770 h 229852"/>
                <a:gd name="connsiteX17" fmla="*/ 40654 w 229852"/>
                <a:gd name="connsiteY17" fmla="*/ 114770 h 229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9852" h="229852">
                  <a:moveTo>
                    <a:pt x="115083" y="229853"/>
                  </a:moveTo>
                  <a:cubicBezTo>
                    <a:pt x="110704" y="229853"/>
                    <a:pt x="106326" y="227976"/>
                    <a:pt x="103199" y="224849"/>
                  </a:cubicBezTo>
                  <a:lnTo>
                    <a:pt x="5003" y="126653"/>
                  </a:lnTo>
                  <a:cubicBezTo>
                    <a:pt x="1876" y="123526"/>
                    <a:pt x="0" y="119148"/>
                    <a:pt x="0" y="114770"/>
                  </a:cubicBezTo>
                  <a:cubicBezTo>
                    <a:pt x="0" y="110392"/>
                    <a:pt x="1876" y="106014"/>
                    <a:pt x="5003" y="102886"/>
                  </a:cubicBezTo>
                  <a:lnTo>
                    <a:pt x="103199" y="4691"/>
                  </a:lnTo>
                  <a:cubicBezTo>
                    <a:pt x="109454" y="-1564"/>
                    <a:pt x="120086" y="-1564"/>
                    <a:pt x="126966" y="4691"/>
                  </a:cubicBezTo>
                  <a:lnTo>
                    <a:pt x="225162" y="102886"/>
                  </a:lnTo>
                  <a:cubicBezTo>
                    <a:pt x="231416" y="109141"/>
                    <a:pt x="231416" y="119774"/>
                    <a:pt x="225162" y="126653"/>
                  </a:cubicBezTo>
                  <a:lnTo>
                    <a:pt x="126966" y="224849"/>
                  </a:lnTo>
                  <a:cubicBezTo>
                    <a:pt x="123838" y="227976"/>
                    <a:pt x="119461" y="229853"/>
                    <a:pt x="115083" y="229853"/>
                  </a:cubicBezTo>
                  <a:lnTo>
                    <a:pt x="115083" y="229853"/>
                  </a:lnTo>
                  <a:close/>
                  <a:moveTo>
                    <a:pt x="40654" y="114770"/>
                  </a:moveTo>
                  <a:lnTo>
                    <a:pt x="115083" y="189198"/>
                  </a:lnTo>
                  <a:lnTo>
                    <a:pt x="189511" y="114770"/>
                  </a:lnTo>
                  <a:lnTo>
                    <a:pt x="115083" y="40342"/>
                  </a:lnTo>
                  <a:lnTo>
                    <a:pt x="40654" y="114770"/>
                  </a:lnTo>
                  <a:lnTo>
                    <a:pt x="40654" y="11477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03" name="Forma Livre: Forma 102">
              <a:extLst>
                <a:ext uri="{FF2B5EF4-FFF2-40B4-BE49-F238E27FC236}">
                  <a16:creationId xmlns:a16="http://schemas.microsoft.com/office/drawing/2014/main" id="{B1C533D2-2B1C-41A0-86C5-6C9922390B6C}"/>
                </a:ext>
              </a:extLst>
            </p:cNvPr>
            <p:cNvSpPr/>
            <p:nvPr/>
          </p:nvSpPr>
          <p:spPr>
            <a:xfrm>
              <a:off x="8568487" y="2663697"/>
              <a:ext cx="61293" cy="60668"/>
            </a:xfrm>
            <a:custGeom>
              <a:avLst/>
              <a:gdLst>
                <a:gd name="connsiteX0" fmla="*/ 23767 w 61293"/>
                <a:gd name="connsiteY0" fmla="*/ 60668 h 60668"/>
                <a:gd name="connsiteX1" fmla="*/ 0 w 61293"/>
                <a:gd name="connsiteY1" fmla="*/ 36901 h 60668"/>
                <a:gd name="connsiteX2" fmla="*/ 37527 w 61293"/>
                <a:gd name="connsiteY2" fmla="*/ 0 h 60668"/>
                <a:gd name="connsiteX3" fmla="*/ 61294 w 61293"/>
                <a:gd name="connsiteY3" fmla="*/ 23142 h 60668"/>
                <a:gd name="connsiteX4" fmla="*/ 23767 w 61293"/>
                <a:gd name="connsiteY4" fmla="*/ 60668 h 60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293" h="60668">
                  <a:moveTo>
                    <a:pt x="23767" y="60668"/>
                  </a:moveTo>
                  <a:lnTo>
                    <a:pt x="0" y="36901"/>
                  </a:lnTo>
                  <a:lnTo>
                    <a:pt x="37527" y="0"/>
                  </a:lnTo>
                  <a:lnTo>
                    <a:pt x="61294" y="23142"/>
                  </a:lnTo>
                  <a:lnTo>
                    <a:pt x="23767" y="60668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04" name="Forma Livre: Forma 103">
              <a:extLst>
                <a:ext uri="{FF2B5EF4-FFF2-40B4-BE49-F238E27FC236}">
                  <a16:creationId xmlns:a16="http://schemas.microsoft.com/office/drawing/2014/main" id="{606C2B75-90E8-47D2-8B7A-D700453EEEF5}"/>
                </a:ext>
              </a:extLst>
            </p:cNvPr>
            <p:cNvSpPr/>
            <p:nvPr/>
          </p:nvSpPr>
          <p:spPr>
            <a:xfrm>
              <a:off x="8517199" y="2844452"/>
              <a:ext cx="106326" cy="105700"/>
            </a:xfrm>
            <a:custGeom>
              <a:avLst/>
              <a:gdLst>
                <a:gd name="connsiteX0" fmla="*/ 53163 w 106326"/>
                <a:gd name="connsiteY0" fmla="*/ 105701 h 105700"/>
                <a:gd name="connsiteX1" fmla="*/ 15636 w 106326"/>
                <a:gd name="connsiteY1" fmla="*/ 90065 h 105700"/>
                <a:gd name="connsiteX2" fmla="*/ 0 w 106326"/>
                <a:gd name="connsiteY2" fmla="*/ 52538 h 105700"/>
                <a:gd name="connsiteX3" fmla="*/ 15636 w 106326"/>
                <a:gd name="connsiteY3" fmla="*/ 15011 h 105700"/>
                <a:gd name="connsiteX4" fmla="*/ 90690 w 106326"/>
                <a:gd name="connsiteY4" fmla="*/ 15011 h 105700"/>
                <a:gd name="connsiteX5" fmla="*/ 106326 w 106326"/>
                <a:gd name="connsiteY5" fmla="*/ 52538 h 105700"/>
                <a:gd name="connsiteX6" fmla="*/ 90690 w 106326"/>
                <a:gd name="connsiteY6" fmla="*/ 90065 h 105700"/>
                <a:gd name="connsiteX7" fmla="*/ 53163 w 106326"/>
                <a:gd name="connsiteY7" fmla="*/ 105701 h 105700"/>
                <a:gd name="connsiteX8" fmla="*/ 53163 w 106326"/>
                <a:gd name="connsiteY8" fmla="*/ 105701 h 105700"/>
                <a:gd name="connsiteX9" fmla="*/ 53163 w 106326"/>
                <a:gd name="connsiteY9" fmla="*/ 33149 h 105700"/>
                <a:gd name="connsiteX10" fmla="*/ 39404 w 106326"/>
                <a:gd name="connsiteY10" fmla="*/ 38778 h 105700"/>
                <a:gd name="connsiteX11" fmla="*/ 33774 w 106326"/>
                <a:gd name="connsiteY11" fmla="*/ 52538 h 105700"/>
                <a:gd name="connsiteX12" fmla="*/ 39404 w 106326"/>
                <a:gd name="connsiteY12" fmla="*/ 66298 h 105700"/>
                <a:gd name="connsiteX13" fmla="*/ 66924 w 106326"/>
                <a:gd name="connsiteY13" fmla="*/ 66298 h 105700"/>
                <a:gd name="connsiteX14" fmla="*/ 66924 w 106326"/>
                <a:gd name="connsiteY14" fmla="*/ 38778 h 105700"/>
                <a:gd name="connsiteX15" fmla="*/ 53163 w 106326"/>
                <a:gd name="connsiteY15" fmla="*/ 33149 h 105700"/>
                <a:gd name="connsiteX16" fmla="*/ 53163 w 106326"/>
                <a:gd name="connsiteY16" fmla="*/ 33149 h 105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6326" h="105700">
                  <a:moveTo>
                    <a:pt x="53163" y="105701"/>
                  </a:moveTo>
                  <a:cubicBezTo>
                    <a:pt x="38778" y="105701"/>
                    <a:pt x="25643" y="100072"/>
                    <a:pt x="15636" y="90065"/>
                  </a:cubicBezTo>
                  <a:cubicBezTo>
                    <a:pt x="5629" y="80058"/>
                    <a:pt x="0" y="66923"/>
                    <a:pt x="0" y="52538"/>
                  </a:cubicBezTo>
                  <a:cubicBezTo>
                    <a:pt x="0" y="38153"/>
                    <a:pt x="5629" y="25018"/>
                    <a:pt x="15636" y="15011"/>
                  </a:cubicBezTo>
                  <a:cubicBezTo>
                    <a:pt x="35651" y="-5004"/>
                    <a:pt x="70676" y="-5004"/>
                    <a:pt x="90690" y="15011"/>
                  </a:cubicBezTo>
                  <a:cubicBezTo>
                    <a:pt x="100697" y="25018"/>
                    <a:pt x="106326" y="38153"/>
                    <a:pt x="106326" y="52538"/>
                  </a:cubicBezTo>
                  <a:cubicBezTo>
                    <a:pt x="106326" y="66923"/>
                    <a:pt x="100697" y="80058"/>
                    <a:pt x="90690" y="90065"/>
                  </a:cubicBezTo>
                  <a:cubicBezTo>
                    <a:pt x="80058" y="100072"/>
                    <a:pt x="66924" y="105701"/>
                    <a:pt x="53163" y="105701"/>
                  </a:cubicBezTo>
                  <a:lnTo>
                    <a:pt x="53163" y="105701"/>
                  </a:lnTo>
                  <a:close/>
                  <a:moveTo>
                    <a:pt x="53163" y="33149"/>
                  </a:moveTo>
                  <a:cubicBezTo>
                    <a:pt x="48160" y="33149"/>
                    <a:pt x="43156" y="35025"/>
                    <a:pt x="39404" y="38778"/>
                  </a:cubicBezTo>
                  <a:cubicBezTo>
                    <a:pt x="35651" y="42531"/>
                    <a:pt x="33774" y="47534"/>
                    <a:pt x="33774" y="52538"/>
                  </a:cubicBezTo>
                  <a:cubicBezTo>
                    <a:pt x="33774" y="57541"/>
                    <a:pt x="35651" y="62545"/>
                    <a:pt x="39404" y="66298"/>
                  </a:cubicBezTo>
                  <a:cubicBezTo>
                    <a:pt x="46909" y="73803"/>
                    <a:pt x="59418" y="73803"/>
                    <a:pt x="66924" y="66298"/>
                  </a:cubicBezTo>
                  <a:cubicBezTo>
                    <a:pt x="74429" y="58792"/>
                    <a:pt x="74429" y="46283"/>
                    <a:pt x="66924" y="38778"/>
                  </a:cubicBezTo>
                  <a:cubicBezTo>
                    <a:pt x="63170" y="35651"/>
                    <a:pt x="58167" y="33149"/>
                    <a:pt x="53163" y="33149"/>
                  </a:cubicBezTo>
                  <a:lnTo>
                    <a:pt x="53163" y="33149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05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7411233" y="2601153"/>
            <a:ext cx="469087" cy="357131"/>
            <a:chOff x="7398896" y="2601153"/>
            <a:chExt cx="469087" cy="357131"/>
          </a:xfrm>
          <a:solidFill>
            <a:srgbClr val="B1B1A1"/>
          </a:solidFill>
        </p:grpSpPr>
        <p:sp>
          <p:nvSpPr>
            <p:cNvPr id="106" name="Forma Livre: Forma 105">
              <a:extLst>
                <a:ext uri="{FF2B5EF4-FFF2-40B4-BE49-F238E27FC236}">
                  <a16:creationId xmlns:a16="http://schemas.microsoft.com/office/drawing/2014/main" id="{2C485FD8-C964-4A61-AD09-60EAFE33E795}"/>
                </a:ext>
              </a:extLst>
            </p:cNvPr>
            <p:cNvSpPr/>
            <p:nvPr/>
          </p:nvSpPr>
          <p:spPr>
            <a:xfrm>
              <a:off x="7587157" y="2601153"/>
              <a:ext cx="280826" cy="238296"/>
            </a:xfrm>
            <a:custGeom>
              <a:avLst/>
              <a:gdLst>
                <a:gd name="connsiteX0" fmla="*/ 242049 w 280826"/>
                <a:gd name="connsiteY0" fmla="*/ 38778 h 238296"/>
                <a:gd name="connsiteX1" fmla="*/ 242049 w 280826"/>
                <a:gd name="connsiteY1" fmla="*/ 199518 h 238296"/>
                <a:gd name="connsiteX2" fmla="*/ 38778 w 280826"/>
                <a:gd name="connsiteY2" fmla="*/ 199518 h 238296"/>
                <a:gd name="connsiteX3" fmla="*/ 38778 w 280826"/>
                <a:gd name="connsiteY3" fmla="*/ 38778 h 238296"/>
                <a:gd name="connsiteX4" fmla="*/ 242049 w 280826"/>
                <a:gd name="connsiteY4" fmla="*/ 38778 h 238296"/>
                <a:gd name="connsiteX5" fmla="*/ 280827 w 280826"/>
                <a:gd name="connsiteY5" fmla="*/ 0 h 238296"/>
                <a:gd name="connsiteX6" fmla="*/ 0 w 280826"/>
                <a:gd name="connsiteY6" fmla="*/ 0 h 238296"/>
                <a:gd name="connsiteX7" fmla="*/ 0 w 280826"/>
                <a:gd name="connsiteY7" fmla="*/ 238296 h 238296"/>
                <a:gd name="connsiteX8" fmla="*/ 280827 w 280826"/>
                <a:gd name="connsiteY8" fmla="*/ 238296 h 238296"/>
                <a:gd name="connsiteX9" fmla="*/ 280827 w 280826"/>
                <a:gd name="connsiteY9" fmla="*/ 0 h 238296"/>
                <a:gd name="connsiteX10" fmla="*/ 280827 w 280826"/>
                <a:gd name="connsiteY10" fmla="*/ 0 h 238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0826" h="238296">
                  <a:moveTo>
                    <a:pt x="242049" y="38778"/>
                  </a:moveTo>
                  <a:lnTo>
                    <a:pt x="242049" y="199518"/>
                  </a:lnTo>
                  <a:lnTo>
                    <a:pt x="38778" y="199518"/>
                  </a:lnTo>
                  <a:lnTo>
                    <a:pt x="38778" y="38778"/>
                  </a:lnTo>
                  <a:lnTo>
                    <a:pt x="242049" y="38778"/>
                  </a:lnTo>
                  <a:moveTo>
                    <a:pt x="280827" y="0"/>
                  </a:moveTo>
                  <a:lnTo>
                    <a:pt x="0" y="0"/>
                  </a:lnTo>
                  <a:lnTo>
                    <a:pt x="0" y="238296"/>
                  </a:lnTo>
                  <a:lnTo>
                    <a:pt x="280827" y="238296"/>
                  </a:lnTo>
                  <a:lnTo>
                    <a:pt x="280827" y="0"/>
                  </a:lnTo>
                  <a:lnTo>
                    <a:pt x="280827" y="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07" name="Forma Livre: Forma 106">
              <a:extLst>
                <a:ext uri="{FF2B5EF4-FFF2-40B4-BE49-F238E27FC236}">
                  <a16:creationId xmlns:a16="http://schemas.microsoft.com/office/drawing/2014/main" id="{AB4147E3-8974-4E71-BB1A-D6E350AA5FC3}"/>
                </a:ext>
              </a:extLst>
            </p:cNvPr>
            <p:cNvSpPr/>
            <p:nvPr/>
          </p:nvSpPr>
          <p:spPr>
            <a:xfrm>
              <a:off x="7582778" y="2863216"/>
              <a:ext cx="145729" cy="38777"/>
            </a:xfrm>
            <a:custGeom>
              <a:avLst/>
              <a:gdLst>
                <a:gd name="connsiteX0" fmla="*/ 126341 w 145729"/>
                <a:gd name="connsiteY0" fmla="*/ 38778 h 38777"/>
                <a:gd name="connsiteX1" fmla="*/ 19389 w 145729"/>
                <a:gd name="connsiteY1" fmla="*/ 38778 h 38777"/>
                <a:gd name="connsiteX2" fmla="*/ 0 w 145729"/>
                <a:gd name="connsiteY2" fmla="*/ 19389 h 38777"/>
                <a:gd name="connsiteX3" fmla="*/ 19389 w 145729"/>
                <a:gd name="connsiteY3" fmla="*/ 0 h 38777"/>
                <a:gd name="connsiteX4" fmla="*/ 126341 w 145729"/>
                <a:gd name="connsiteY4" fmla="*/ 0 h 38777"/>
                <a:gd name="connsiteX5" fmla="*/ 145730 w 145729"/>
                <a:gd name="connsiteY5" fmla="*/ 19389 h 38777"/>
                <a:gd name="connsiteX6" fmla="*/ 126341 w 145729"/>
                <a:gd name="connsiteY6" fmla="*/ 38778 h 38777"/>
                <a:gd name="connsiteX7" fmla="*/ 126341 w 145729"/>
                <a:gd name="connsiteY7" fmla="*/ 38778 h 38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5729" h="38777">
                  <a:moveTo>
                    <a:pt x="126341" y="38778"/>
                  </a:moveTo>
                  <a:lnTo>
                    <a:pt x="19389" y="38778"/>
                  </a:lnTo>
                  <a:cubicBezTo>
                    <a:pt x="8756" y="38778"/>
                    <a:pt x="0" y="30021"/>
                    <a:pt x="0" y="19389"/>
                  </a:cubicBezTo>
                  <a:cubicBezTo>
                    <a:pt x="0" y="8756"/>
                    <a:pt x="8756" y="0"/>
                    <a:pt x="19389" y="0"/>
                  </a:cubicBezTo>
                  <a:lnTo>
                    <a:pt x="126341" y="0"/>
                  </a:lnTo>
                  <a:cubicBezTo>
                    <a:pt x="136973" y="0"/>
                    <a:pt x="145730" y="8756"/>
                    <a:pt x="145730" y="19389"/>
                  </a:cubicBezTo>
                  <a:cubicBezTo>
                    <a:pt x="145730" y="30021"/>
                    <a:pt x="136973" y="38778"/>
                    <a:pt x="126341" y="38778"/>
                  </a:cubicBezTo>
                  <a:lnTo>
                    <a:pt x="126341" y="38778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08" name="Forma Livre: Forma 107">
              <a:extLst>
                <a:ext uri="{FF2B5EF4-FFF2-40B4-BE49-F238E27FC236}">
                  <a16:creationId xmlns:a16="http://schemas.microsoft.com/office/drawing/2014/main" id="{8BF49052-7AE6-4164-A2C6-AB9B25E62B59}"/>
                </a:ext>
              </a:extLst>
            </p:cNvPr>
            <p:cNvSpPr/>
            <p:nvPr/>
          </p:nvSpPr>
          <p:spPr>
            <a:xfrm>
              <a:off x="7742894" y="2859463"/>
              <a:ext cx="98820" cy="98820"/>
            </a:xfrm>
            <a:custGeom>
              <a:avLst/>
              <a:gdLst>
                <a:gd name="connsiteX0" fmla="*/ 49410 w 98820"/>
                <a:gd name="connsiteY0" fmla="*/ 33774 h 98820"/>
                <a:gd name="connsiteX1" fmla="*/ 65672 w 98820"/>
                <a:gd name="connsiteY1" fmla="*/ 50036 h 98820"/>
                <a:gd name="connsiteX2" fmla="*/ 49410 w 98820"/>
                <a:gd name="connsiteY2" fmla="*/ 66298 h 98820"/>
                <a:gd name="connsiteX3" fmla="*/ 33148 w 98820"/>
                <a:gd name="connsiteY3" fmla="*/ 50036 h 98820"/>
                <a:gd name="connsiteX4" fmla="*/ 49410 w 98820"/>
                <a:gd name="connsiteY4" fmla="*/ 33774 h 98820"/>
                <a:gd name="connsiteX5" fmla="*/ 49410 w 98820"/>
                <a:gd name="connsiteY5" fmla="*/ 0 h 98820"/>
                <a:gd name="connsiteX6" fmla="*/ 0 w 98820"/>
                <a:gd name="connsiteY6" fmla="*/ 49410 h 98820"/>
                <a:gd name="connsiteX7" fmla="*/ 49410 w 98820"/>
                <a:gd name="connsiteY7" fmla="*/ 98821 h 98820"/>
                <a:gd name="connsiteX8" fmla="*/ 98821 w 98820"/>
                <a:gd name="connsiteY8" fmla="*/ 49410 h 98820"/>
                <a:gd name="connsiteX9" fmla="*/ 49410 w 98820"/>
                <a:gd name="connsiteY9" fmla="*/ 0 h 98820"/>
                <a:gd name="connsiteX10" fmla="*/ 49410 w 98820"/>
                <a:gd name="connsiteY10" fmla="*/ 0 h 98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8820" h="98820">
                  <a:moveTo>
                    <a:pt x="49410" y="33774"/>
                  </a:moveTo>
                  <a:cubicBezTo>
                    <a:pt x="58166" y="33774"/>
                    <a:pt x="65672" y="41280"/>
                    <a:pt x="65672" y="50036"/>
                  </a:cubicBezTo>
                  <a:cubicBezTo>
                    <a:pt x="65672" y="58792"/>
                    <a:pt x="58166" y="66298"/>
                    <a:pt x="49410" y="66298"/>
                  </a:cubicBezTo>
                  <a:cubicBezTo>
                    <a:pt x="40654" y="66298"/>
                    <a:pt x="33148" y="58792"/>
                    <a:pt x="33148" y="50036"/>
                  </a:cubicBezTo>
                  <a:cubicBezTo>
                    <a:pt x="33148" y="40654"/>
                    <a:pt x="40654" y="33774"/>
                    <a:pt x="49410" y="33774"/>
                  </a:cubicBezTo>
                  <a:moveTo>
                    <a:pt x="49410" y="0"/>
                  </a:moveTo>
                  <a:cubicBezTo>
                    <a:pt x="21891" y="0"/>
                    <a:pt x="0" y="21891"/>
                    <a:pt x="0" y="49410"/>
                  </a:cubicBezTo>
                  <a:cubicBezTo>
                    <a:pt x="0" y="76930"/>
                    <a:pt x="21891" y="98821"/>
                    <a:pt x="49410" y="98821"/>
                  </a:cubicBezTo>
                  <a:cubicBezTo>
                    <a:pt x="76930" y="98821"/>
                    <a:pt x="98821" y="76930"/>
                    <a:pt x="98821" y="49410"/>
                  </a:cubicBezTo>
                  <a:cubicBezTo>
                    <a:pt x="98821" y="22516"/>
                    <a:pt x="76930" y="0"/>
                    <a:pt x="49410" y="0"/>
                  </a:cubicBezTo>
                  <a:lnTo>
                    <a:pt x="49410" y="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09" name="Forma Livre: Forma 108">
              <a:extLst>
                <a:ext uri="{FF2B5EF4-FFF2-40B4-BE49-F238E27FC236}">
                  <a16:creationId xmlns:a16="http://schemas.microsoft.com/office/drawing/2014/main" id="{57A71B6D-85FA-4D7F-AC4E-C2E1B5A28D5A}"/>
                </a:ext>
              </a:extLst>
            </p:cNvPr>
            <p:cNvSpPr/>
            <p:nvPr/>
          </p:nvSpPr>
          <p:spPr>
            <a:xfrm>
              <a:off x="7398896" y="2678083"/>
              <a:ext cx="163242" cy="223910"/>
            </a:xfrm>
            <a:custGeom>
              <a:avLst/>
              <a:gdLst>
                <a:gd name="connsiteX0" fmla="*/ 123839 w 163242"/>
                <a:gd name="connsiteY0" fmla="*/ 38778 h 223910"/>
                <a:gd name="connsiteX1" fmla="*/ 123839 w 163242"/>
                <a:gd name="connsiteY1" fmla="*/ 121963 h 223910"/>
                <a:gd name="connsiteX2" fmla="*/ 38778 w 163242"/>
                <a:gd name="connsiteY2" fmla="*/ 163242 h 223910"/>
                <a:gd name="connsiteX3" fmla="*/ 38778 w 163242"/>
                <a:gd name="connsiteY3" fmla="*/ 118210 h 223910"/>
                <a:gd name="connsiteX4" fmla="*/ 79432 w 163242"/>
                <a:gd name="connsiteY4" fmla="*/ 38152 h 223910"/>
                <a:gd name="connsiteX5" fmla="*/ 123839 w 163242"/>
                <a:gd name="connsiteY5" fmla="*/ 38152 h 223910"/>
                <a:gd name="connsiteX6" fmla="*/ 162617 w 163242"/>
                <a:gd name="connsiteY6" fmla="*/ 0 h 223910"/>
                <a:gd name="connsiteX7" fmla="*/ 55665 w 163242"/>
                <a:gd name="connsiteY7" fmla="*/ 0 h 223910"/>
                <a:gd name="connsiteX8" fmla="*/ 0 w 163242"/>
                <a:gd name="connsiteY8" fmla="*/ 109454 h 223910"/>
                <a:gd name="connsiteX9" fmla="*/ 0 w 163242"/>
                <a:gd name="connsiteY9" fmla="*/ 223911 h 223910"/>
                <a:gd name="connsiteX10" fmla="*/ 55039 w 163242"/>
                <a:gd name="connsiteY10" fmla="*/ 223911 h 223910"/>
                <a:gd name="connsiteX11" fmla="*/ 124465 w 163242"/>
                <a:gd name="connsiteY11" fmla="*/ 161366 h 223910"/>
                <a:gd name="connsiteX12" fmla="*/ 163242 w 163242"/>
                <a:gd name="connsiteY12" fmla="*/ 173250 h 223910"/>
                <a:gd name="connsiteX13" fmla="*/ 163242 w 163242"/>
                <a:gd name="connsiteY13" fmla="*/ 0 h 223910"/>
                <a:gd name="connsiteX14" fmla="*/ 162617 w 163242"/>
                <a:gd name="connsiteY14" fmla="*/ 0 h 223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63242" h="223910">
                  <a:moveTo>
                    <a:pt x="123839" y="38778"/>
                  </a:moveTo>
                  <a:lnTo>
                    <a:pt x="123839" y="121963"/>
                  </a:lnTo>
                  <a:cubicBezTo>
                    <a:pt x="89439" y="121963"/>
                    <a:pt x="58792" y="138224"/>
                    <a:pt x="38778" y="163242"/>
                  </a:cubicBezTo>
                  <a:lnTo>
                    <a:pt x="38778" y="118210"/>
                  </a:lnTo>
                  <a:lnTo>
                    <a:pt x="79432" y="38152"/>
                  </a:lnTo>
                  <a:lnTo>
                    <a:pt x="123839" y="38152"/>
                  </a:lnTo>
                  <a:moveTo>
                    <a:pt x="162617" y="0"/>
                  </a:moveTo>
                  <a:lnTo>
                    <a:pt x="55665" y="0"/>
                  </a:lnTo>
                  <a:lnTo>
                    <a:pt x="0" y="109454"/>
                  </a:lnTo>
                  <a:lnTo>
                    <a:pt x="0" y="223911"/>
                  </a:lnTo>
                  <a:lnTo>
                    <a:pt x="55039" y="223911"/>
                  </a:lnTo>
                  <a:cubicBezTo>
                    <a:pt x="58792" y="188886"/>
                    <a:pt x="88189" y="161366"/>
                    <a:pt x="124465" y="161366"/>
                  </a:cubicBezTo>
                  <a:cubicBezTo>
                    <a:pt x="138850" y="161366"/>
                    <a:pt x="151984" y="165744"/>
                    <a:pt x="163242" y="173250"/>
                  </a:cubicBezTo>
                  <a:lnTo>
                    <a:pt x="163242" y="0"/>
                  </a:lnTo>
                  <a:lnTo>
                    <a:pt x="162617" y="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10" name="Forma Livre: Forma 109">
              <a:extLst>
                <a:ext uri="{FF2B5EF4-FFF2-40B4-BE49-F238E27FC236}">
                  <a16:creationId xmlns:a16="http://schemas.microsoft.com/office/drawing/2014/main" id="{63555228-C0CF-48A8-8702-9B0C9BDD3F9C}"/>
                </a:ext>
              </a:extLst>
            </p:cNvPr>
            <p:cNvSpPr/>
            <p:nvPr/>
          </p:nvSpPr>
          <p:spPr>
            <a:xfrm>
              <a:off x="7473325" y="2859463"/>
              <a:ext cx="98820" cy="98820"/>
            </a:xfrm>
            <a:custGeom>
              <a:avLst/>
              <a:gdLst>
                <a:gd name="connsiteX0" fmla="*/ 49410 w 98820"/>
                <a:gd name="connsiteY0" fmla="*/ 33774 h 98820"/>
                <a:gd name="connsiteX1" fmla="*/ 65672 w 98820"/>
                <a:gd name="connsiteY1" fmla="*/ 50036 h 98820"/>
                <a:gd name="connsiteX2" fmla="*/ 49410 w 98820"/>
                <a:gd name="connsiteY2" fmla="*/ 66298 h 98820"/>
                <a:gd name="connsiteX3" fmla="*/ 33149 w 98820"/>
                <a:gd name="connsiteY3" fmla="*/ 50036 h 98820"/>
                <a:gd name="connsiteX4" fmla="*/ 49410 w 98820"/>
                <a:gd name="connsiteY4" fmla="*/ 33774 h 98820"/>
                <a:gd name="connsiteX5" fmla="*/ 49410 w 98820"/>
                <a:gd name="connsiteY5" fmla="*/ 0 h 98820"/>
                <a:gd name="connsiteX6" fmla="*/ 0 w 98820"/>
                <a:gd name="connsiteY6" fmla="*/ 49410 h 98820"/>
                <a:gd name="connsiteX7" fmla="*/ 49410 w 98820"/>
                <a:gd name="connsiteY7" fmla="*/ 98821 h 98820"/>
                <a:gd name="connsiteX8" fmla="*/ 98821 w 98820"/>
                <a:gd name="connsiteY8" fmla="*/ 49410 h 98820"/>
                <a:gd name="connsiteX9" fmla="*/ 49410 w 98820"/>
                <a:gd name="connsiteY9" fmla="*/ 0 h 98820"/>
                <a:gd name="connsiteX10" fmla="*/ 49410 w 98820"/>
                <a:gd name="connsiteY10" fmla="*/ 0 h 98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8820" h="98820">
                  <a:moveTo>
                    <a:pt x="49410" y="33774"/>
                  </a:moveTo>
                  <a:cubicBezTo>
                    <a:pt x="58167" y="33774"/>
                    <a:pt x="65672" y="41280"/>
                    <a:pt x="65672" y="50036"/>
                  </a:cubicBezTo>
                  <a:cubicBezTo>
                    <a:pt x="65672" y="58792"/>
                    <a:pt x="58167" y="66298"/>
                    <a:pt x="49410" y="66298"/>
                  </a:cubicBezTo>
                  <a:cubicBezTo>
                    <a:pt x="40654" y="66298"/>
                    <a:pt x="33149" y="58792"/>
                    <a:pt x="33149" y="50036"/>
                  </a:cubicBezTo>
                  <a:cubicBezTo>
                    <a:pt x="33149" y="40654"/>
                    <a:pt x="40654" y="33774"/>
                    <a:pt x="49410" y="33774"/>
                  </a:cubicBezTo>
                  <a:moveTo>
                    <a:pt x="49410" y="0"/>
                  </a:moveTo>
                  <a:cubicBezTo>
                    <a:pt x="21891" y="0"/>
                    <a:pt x="0" y="21891"/>
                    <a:pt x="0" y="49410"/>
                  </a:cubicBezTo>
                  <a:cubicBezTo>
                    <a:pt x="0" y="76930"/>
                    <a:pt x="21891" y="98821"/>
                    <a:pt x="49410" y="98821"/>
                  </a:cubicBezTo>
                  <a:cubicBezTo>
                    <a:pt x="76930" y="98821"/>
                    <a:pt x="98821" y="76930"/>
                    <a:pt x="98821" y="49410"/>
                  </a:cubicBezTo>
                  <a:cubicBezTo>
                    <a:pt x="98821" y="22516"/>
                    <a:pt x="76930" y="0"/>
                    <a:pt x="49410" y="0"/>
                  </a:cubicBezTo>
                  <a:lnTo>
                    <a:pt x="49410" y="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11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3365202" y="3608751"/>
            <a:ext cx="391531" cy="400287"/>
            <a:chOff x="3352865" y="3608751"/>
            <a:chExt cx="391531" cy="400287"/>
          </a:xfrm>
          <a:solidFill>
            <a:srgbClr val="B1B1A1"/>
          </a:solidFill>
        </p:grpSpPr>
        <p:sp>
          <p:nvSpPr>
            <p:cNvPr id="112" name="Forma Livre: Forma 111">
              <a:extLst>
                <a:ext uri="{FF2B5EF4-FFF2-40B4-BE49-F238E27FC236}">
                  <a16:creationId xmlns:a16="http://schemas.microsoft.com/office/drawing/2014/main" id="{FBEFBDA8-CB76-4434-AADE-2138445BA99C}"/>
                </a:ext>
              </a:extLst>
            </p:cNvPr>
            <p:cNvSpPr/>
            <p:nvPr/>
          </p:nvSpPr>
          <p:spPr>
            <a:xfrm>
              <a:off x="3352865" y="3824531"/>
              <a:ext cx="33774" cy="184507"/>
            </a:xfrm>
            <a:custGeom>
              <a:avLst/>
              <a:gdLst>
                <a:gd name="connsiteX0" fmla="*/ 16887 w 33774"/>
                <a:gd name="connsiteY0" fmla="*/ 184508 h 184507"/>
                <a:gd name="connsiteX1" fmla="*/ 0 w 33774"/>
                <a:gd name="connsiteY1" fmla="*/ 167620 h 184507"/>
                <a:gd name="connsiteX2" fmla="*/ 0 w 33774"/>
                <a:gd name="connsiteY2" fmla="*/ 16887 h 184507"/>
                <a:gd name="connsiteX3" fmla="*/ 16887 w 33774"/>
                <a:gd name="connsiteY3" fmla="*/ 0 h 184507"/>
                <a:gd name="connsiteX4" fmla="*/ 33774 w 33774"/>
                <a:gd name="connsiteY4" fmla="*/ 16887 h 184507"/>
                <a:gd name="connsiteX5" fmla="*/ 33774 w 33774"/>
                <a:gd name="connsiteY5" fmla="*/ 167620 h 184507"/>
                <a:gd name="connsiteX6" fmla="*/ 16887 w 33774"/>
                <a:gd name="connsiteY6" fmla="*/ 184508 h 184507"/>
                <a:gd name="connsiteX7" fmla="*/ 16887 w 33774"/>
                <a:gd name="connsiteY7" fmla="*/ 184508 h 184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774" h="184507">
                  <a:moveTo>
                    <a:pt x="16887" y="184508"/>
                  </a:moveTo>
                  <a:cubicBezTo>
                    <a:pt x="7505" y="184508"/>
                    <a:pt x="0" y="177002"/>
                    <a:pt x="0" y="167620"/>
                  </a:cubicBezTo>
                  <a:lnTo>
                    <a:pt x="0" y="16887"/>
                  </a:lnTo>
                  <a:cubicBezTo>
                    <a:pt x="0" y="7505"/>
                    <a:pt x="7505" y="0"/>
                    <a:pt x="16887" y="0"/>
                  </a:cubicBezTo>
                  <a:cubicBezTo>
                    <a:pt x="26269" y="0"/>
                    <a:pt x="33774" y="7505"/>
                    <a:pt x="33774" y="16887"/>
                  </a:cubicBezTo>
                  <a:lnTo>
                    <a:pt x="33774" y="167620"/>
                  </a:lnTo>
                  <a:cubicBezTo>
                    <a:pt x="33774" y="177002"/>
                    <a:pt x="26269" y="184508"/>
                    <a:pt x="16887" y="184508"/>
                  </a:cubicBezTo>
                  <a:lnTo>
                    <a:pt x="16887" y="184508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13" name="Forma Livre: Forma 112">
              <a:extLst>
                <a:ext uri="{FF2B5EF4-FFF2-40B4-BE49-F238E27FC236}">
                  <a16:creationId xmlns:a16="http://schemas.microsoft.com/office/drawing/2014/main" id="{B50A2A90-5885-4353-A991-872AAAF24B23}"/>
                </a:ext>
              </a:extLst>
            </p:cNvPr>
            <p:cNvSpPr/>
            <p:nvPr/>
          </p:nvSpPr>
          <p:spPr>
            <a:xfrm>
              <a:off x="3424792" y="3678802"/>
              <a:ext cx="33774" cy="330237"/>
            </a:xfrm>
            <a:custGeom>
              <a:avLst/>
              <a:gdLst>
                <a:gd name="connsiteX0" fmla="*/ 16887 w 33774"/>
                <a:gd name="connsiteY0" fmla="*/ 330237 h 330237"/>
                <a:gd name="connsiteX1" fmla="*/ 0 w 33774"/>
                <a:gd name="connsiteY1" fmla="*/ 313350 h 330237"/>
                <a:gd name="connsiteX2" fmla="*/ 0 w 33774"/>
                <a:gd name="connsiteY2" fmla="*/ 16887 h 330237"/>
                <a:gd name="connsiteX3" fmla="*/ 16887 w 33774"/>
                <a:gd name="connsiteY3" fmla="*/ 0 h 330237"/>
                <a:gd name="connsiteX4" fmla="*/ 33774 w 33774"/>
                <a:gd name="connsiteY4" fmla="*/ 16887 h 330237"/>
                <a:gd name="connsiteX5" fmla="*/ 33774 w 33774"/>
                <a:gd name="connsiteY5" fmla="*/ 313350 h 330237"/>
                <a:gd name="connsiteX6" fmla="*/ 16887 w 33774"/>
                <a:gd name="connsiteY6" fmla="*/ 330237 h 330237"/>
                <a:gd name="connsiteX7" fmla="*/ 16887 w 33774"/>
                <a:gd name="connsiteY7" fmla="*/ 330237 h 33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774" h="330237">
                  <a:moveTo>
                    <a:pt x="16887" y="330237"/>
                  </a:moveTo>
                  <a:cubicBezTo>
                    <a:pt x="7505" y="330237"/>
                    <a:pt x="0" y="322732"/>
                    <a:pt x="0" y="313350"/>
                  </a:cubicBezTo>
                  <a:lnTo>
                    <a:pt x="0" y="16887"/>
                  </a:lnTo>
                  <a:cubicBezTo>
                    <a:pt x="0" y="7505"/>
                    <a:pt x="7505" y="0"/>
                    <a:pt x="16887" y="0"/>
                  </a:cubicBezTo>
                  <a:cubicBezTo>
                    <a:pt x="26269" y="0"/>
                    <a:pt x="33774" y="7505"/>
                    <a:pt x="33774" y="16887"/>
                  </a:cubicBezTo>
                  <a:lnTo>
                    <a:pt x="33774" y="313350"/>
                  </a:lnTo>
                  <a:cubicBezTo>
                    <a:pt x="33149" y="322732"/>
                    <a:pt x="25643" y="330237"/>
                    <a:pt x="16887" y="330237"/>
                  </a:cubicBezTo>
                  <a:lnTo>
                    <a:pt x="16887" y="330237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14" name="Forma Livre: Forma 113">
              <a:extLst>
                <a:ext uri="{FF2B5EF4-FFF2-40B4-BE49-F238E27FC236}">
                  <a16:creationId xmlns:a16="http://schemas.microsoft.com/office/drawing/2014/main" id="{6F4B6446-FA5E-4C6C-9D7D-A02312F34EA4}"/>
                </a:ext>
              </a:extLst>
            </p:cNvPr>
            <p:cNvSpPr/>
            <p:nvPr/>
          </p:nvSpPr>
          <p:spPr>
            <a:xfrm>
              <a:off x="3496093" y="3608751"/>
              <a:ext cx="33774" cy="400287"/>
            </a:xfrm>
            <a:custGeom>
              <a:avLst/>
              <a:gdLst>
                <a:gd name="connsiteX0" fmla="*/ 16887 w 33774"/>
                <a:gd name="connsiteY0" fmla="*/ 400288 h 400287"/>
                <a:gd name="connsiteX1" fmla="*/ 0 w 33774"/>
                <a:gd name="connsiteY1" fmla="*/ 383400 h 400287"/>
                <a:gd name="connsiteX2" fmla="*/ 0 w 33774"/>
                <a:gd name="connsiteY2" fmla="*/ 16887 h 400287"/>
                <a:gd name="connsiteX3" fmla="*/ 16887 w 33774"/>
                <a:gd name="connsiteY3" fmla="*/ 0 h 400287"/>
                <a:gd name="connsiteX4" fmla="*/ 33774 w 33774"/>
                <a:gd name="connsiteY4" fmla="*/ 16887 h 400287"/>
                <a:gd name="connsiteX5" fmla="*/ 33774 w 33774"/>
                <a:gd name="connsiteY5" fmla="*/ 383400 h 400287"/>
                <a:gd name="connsiteX6" fmla="*/ 16887 w 33774"/>
                <a:gd name="connsiteY6" fmla="*/ 400288 h 400287"/>
                <a:gd name="connsiteX7" fmla="*/ 16887 w 33774"/>
                <a:gd name="connsiteY7" fmla="*/ 400288 h 40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774" h="400287">
                  <a:moveTo>
                    <a:pt x="16887" y="400288"/>
                  </a:moveTo>
                  <a:cubicBezTo>
                    <a:pt x="7505" y="400288"/>
                    <a:pt x="0" y="392782"/>
                    <a:pt x="0" y="383400"/>
                  </a:cubicBezTo>
                  <a:lnTo>
                    <a:pt x="0" y="16887"/>
                  </a:lnTo>
                  <a:cubicBezTo>
                    <a:pt x="0" y="7505"/>
                    <a:pt x="7505" y="0"/>
                    <a:pt x="16887" y="0"/>
                  </a:cubicBezTo>
                  <a:cubicBezTo>
                    <a:pt x="26269" y="0"/>
                    <a:pt x="33774" y="7505"/>
                    <a:pt x="33774" y="16887"/>
                  </a:cubicBezTo>
                  <a:lnTo>
                    <a:pt x="33774" y="383400"/>
                  </a:lnTo>
                  <a:cubicBezTo>
                    <a:pt x="33774" y="392782"/>
                    <a:pt x="26269" y="400288"/>
                    <a:pt x="16887" y="400288"/>
                  </a:cubicBezTo>
                  <a:lnTo>
                    <a:pt x="16887" y="400288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15" name="Forma Livre: Forma 114">
              <a:extLst>
                <a:ext uri="{FF2B5EF4-FFF2-40B4-BE49-F238E27FC236}">
                  <a16:creationId xmlns:a16="http://schemas.microsoft.com/office/drawing/2014/main" id="{835A4015-7FD8-4214-B6AE-61034FE96F18}"/>
                </a:ext>
              </a:extLst>
            </p:cNvPr>
            <p:cNvSpPr/>
            <p:nvPr/>
          </p:nvSpPr>
          <p:spPr>
            <a:xfrm>
              <a:off x="3567394" y="3736968"/>
              <a:ext cx="33774" cy="272070"/>
            </a:xfrm>
            <a:custGeom>
              <a:avLst/>
              <a:gdLst>
                <a:gd name="connsiteX0" fmla="*/ 16887 w 33774"/>
                <a:gd name="connsiteY0" fmla="*/ 272070 h 272070"/>
                <a:gd name="connsiteX1" fmla="*/ 0 w 33774"/>
                <a:gd name="connsiteY1" fmla="*/ 255183 h 272070"/>
                <a:gd name="connsiteX2" fmla="*/ 0 w 33774"/>
                <a:gd name="connsiteY2" fmla="*/ 16887 h 272070"/>
                <a:gd name="connsiteX3" fmla="*/ 16887 w 33774"/>
                <a:gd name="connsiteY3" fmla="*/ 0 h 272070"/>
                <a:gd name="connsiteX4" fmla="*/ 33774 w 33774"/>
                <a:gd name="connsiteY4" fmla="*/ 16887 h 272070"/>
                <a:gd name="connsiteX5" fmla="*/ 33774 w 33774"/>
                <a:gd name="connsiteY5" fmla="*/ 255183 h 272070"/>
                <a:gd name="connsiteX6" fmla="*/ 16887 w 33774"/>
                <a:gd name="connsiteY6" fmla="*/ 272070 h 272070"/>
                <a:gd name="connsiteX7" fmla="*/ 16887 w 33774"/>
                <a:gd name="connsiteY7" fmla="*/ 272070 h 272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774" h="272070">
                  <a:moveTo>
                    <a:pt x="16887" y="272070"/>
                  </a:moveTo>
                  <a:cubicBezTo>
                    <a:pt x="7505" y="272070"/>
                    <a:pt x="0" y="264565"/>
                    <a:pt x="0" y="255183"/>
                  </a:cubicBezTo>
                  <a:lnTo>
                    <a:pt x="0" y="16887"/>
                  </a:lnTo>
                  <a:cubicBezTo>
                    <a:pt x="0" y="7505"/>
                    <a:pt x="7505" y="0"/>
                    <a:pt x="16887" y="0"/>
                  </a:cubicBezTo>
                  <a:cubicBezTo>
                    <a:pt x="26269" y="0"/>
                    <a:pt x="33774" y="7505"/>
                    <a:pt x="33774" y="16887"/>
                  </a:cubicBezTo>
                  <a:lnTo>
                    <a:pt x="33774" y="255183"/>
                  </a:lnTo>
                  <a:cubicBezTo>
                    <a:pt x="33774" y="264565"/>
                    <a:pt x="26269" y="272070"/>
                    <a:pt x="16887" y="272070"/>
                  </a:cubicBezTo>
                  <a:lnTo>
                    <a:pt x="16887" y="27207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16" name="Forma Livre: Forma 115">
              <a:extLst>
                <a:ext uri="{FF2B5EF4-FFF2-40B4-BE49-F238E27FC236}">
                  <a16:creationId xmlns:a16="http://schemas.microsoft.com/office/drawing/2014/main" id="{DDD61A82-1EDA-4291-9F2A-226B375772BF}"/>
                </a:ext>
              </a:extLst>
            </p:cNvPr>
            <p:cNvSpPr/>
            <p:nvPr/>
          </p:nvSpPr>
          <p:spPr>
            <a:xfrm>
              <a:off x="3710622" y="3892705"/>
              <a:ext cx="33774" cy="116333"/>
            </a:xfrm>
            <a:custGeom>
              <a:avLst/>
              <a:gdLst>
                <a:gd name="connsiteX0" fmla="*/ 16887 w 33774"/>
                <a:gd name="connsiteY0" fmla="*/ 116333 h 116333"/>
                <a:gd name="connsiteX1" fmla="*/ 0 w 33774"/>
                <a:gd name="connsiteY1" fmla="*/ 99446 h 116333"/>
                <a:gd name="connsiteX2" fmla="*/ 0 w 33774"/>
                <a:gd name="connsiteY2" fmla="*/ 16887 h 116333"/>
                <a:gd name="connsiteX3" fmla="*/ 16887 w 33774"/>
                <a:gd name="connsiteY3" fmla="*/ 0 h 116333"/>
                <a:gd name="connsiteX4" fmla="*/ 33774 w 33774"/>
                <a:gd name="connsiteY4" fmla="*/ 16887 h 116333"/>
                <a:gd name="connsiteX5" fmla="*/ 33774 w 33774"/>
                <a:gd name="connsiteY5" fmla="*/ 99446 h 116333"/>
                <a:gd name="connsiteX6" fmla="*/ 16887 w 33774"/>
                <a:gd name="connsiteY6" fmla="*/ 116333 h 116333"/>
                <a:gd name="connsiteX7" fmla="*/ 16887 w 33774"/>
                <a:gd name="connsiteY7" fmla="*/ 116333 h 116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774" h="116333">
                  <a:moveTo>
                    <a:pt x="16887" y="116333"/>
                  </a:moveTo>
                  <a:cubicBezTo>
                    <a:pt x="7505" y="116333"/>
                    <a:pt x="0" y="108828"/>
                    <a:pt x="0" y="99446"/>
                  </a:cubicBezTo>
                  <a:lnTo>
                    <a:pt x="0" y="16887"/>
                  </a:lnTo>
                  <a:cubicBezTo>
                    <a:pt x="0" y="7505"/>
                    <a:pt x="7505" y="0"/>
                    <a:pt x="16887" y="0"/>
                  </a:cubicBezTo>
                  <a:cubicBezTo>
                    <a:pt x="26269" y="0"/>
                    <a:pt x="33774" y="7505"/>
                    <a:pt x="33774" y="16887"/>
                  </a:cubicBezTo>
                  <a:lnTo>
                    <a:pt x="33774" y="99446"/>
                  </a:lnTo>
                  <a:cubicBezTo>
                    <a:pt x="33774" y="108828"/>
                    <a:pt x="26269" y="116333"/>
                    <a:pt x="16887" y="116333"/>
                  </a:cubicBezTo>
                  <a:lnTo>
                    <a:pt x="16887" y="116333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17" name="Forma Livre: Forma 116">
              <a:extLst>
                <a:ext uri="{FF2B5EF4-FFF2-40B4-BE49-F238E27FC236}">
                  <a16:creationId xmlns:a16="http://schemas.microsoft.com/office/drawing/2014/main" id="{D313876F-E2D3-44A4-BE33-4A64198B0532}"/>
                </a:ext>
              </a:extLst>
            </p:cNvPr>
            <p:cNvSpPr/>
            <p:nvPr/>
          </p:nvSpPr>
          <p:spPr>
            <a:xfrm>
              <a:off x="3639321" y="3608751"/>
              <a:ext cx="33774" cy="400287"/>
            </a:xfrm>
            <a:custGeom>
              <a:avLst/>
              <a:gdLst>
                <a:gd name="connsiteX0" fmla="*/ 16887 w 33774"/>
                <a:gd name="connsiteY0" fmla="*/ 400288 h 400287"/>
                <a:gd name="connsiteX1" fmla="*/ 0 w 33774"/>
                <a:gd name="connsiteY1" fmla="*/ 383400 h 400287"/>
                <a:gd name="connsiteX2" fmla="*/ 0 w 33774"/>
                <a:gd name="connsiteY2" fmla="*/ 16887 h 400287"/>
                <a:gd name="connsiteX3" fmla="*/ 16887 w 33774"/>
                <a:gd name="connsiteY3" fmla="*/ 0 h 400287"/>
                <a:gd name="connsiteX4" fmla="*/ 33774 w 33774"/>
                <a:gd name="connsiteY4" fmla="*/ 16887 h 400287"/>
                <a:gd name="connsiteX5" fmla="*/ 33774 w 33774"/>
                <a:gd name="connsiteY5" fmla="*/ 383400 h 400287"/>
                <a:gd name="connsiteX6" fmla="*/ 16887 w 33774"/>
                <a:gd name="connsiteY6" fmla="*/ 400288 h 400287"/>
                <a:gd name="connsiteX7" fmla="*/ 16887 w 33774"/>
                <a:gd name="connsiteY7" fmla="*/ 400288 h 40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774" h="400287">
                  <a:moveTo>
                    <a:pt x="16887" y="400288"/>
                  </a:moveTo>
                  <a:cubicBezTo>
                    <a:pt x="7505" y="400288"/>
                    <a:pt x="0" y="392782"/>
                    <a:pt x="0" y="383400"/>
                  </a:cubicBezTo>
                  <a:lnTo>
                    <a:pt x="0" y="16887"/>
                  </a:lnTo>
                  <a:cubicBezTo>
                    <a:pt x="0" y="7505"/>
                    <a:pt x="7505" y="0"/>
                    <a:pt x="16887" y="0"/>
                  </a:cubicBezTo>
                  <a:cubicBezTo>
                    <a:pt x="26269" y="0"/>
                    <a:pt x="33774" y="7505"/>
                    <a:pt x="33774" y="16887"/>
                  </a:cubicBezTo>
                  <a:lnTo>
                    <a:pt x="33774" y="383400"/>
                  </a:lnTo>
                  <a:cubicBezTo>
                    <a:pt x="33149" y="392782"/>
                    <a:pt x="25643" y="400288"/>
                    <a:pt x="16887" y="400288"/>
                  </a:cubicBezTo>
                  <a:lnTo>
                    <a:pt x="16887" y="400288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18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4440349" y="3608751"/>
            <a:ext cx="267066" cy="400287"/>
            <a:chOff x="4428012" y="3608751"/>
            <a:chExt cx="267066" cy="400287"/>
          </a:xfrm>
          <a:solidFill>
            <a:srgbClr val="B1B1A1"/>
          </a:solidFill>
        </p:grpSpPr>
        <p:sp>
          <p:nvSpPr>
            <p:cNvPr id="119" name="Forma Livre: Forma 118">
              <a:extLst>
                <a:ext uri="{FF2B5EF4-FFF2-40B4-BE49-F238E27FC236}">
                  <a16:creationId xmlns:a16="http://schemas.microsoft.com/office/drawing/2014/main" id="{4FE6A41E-ED13-4FB1-B24E-B44623D25F46}"/>
                </a:ext>
              </a:extLst>
            </p:cNvPr>
            <p:cNvSpPr/>
            <p:nvPr/>
          </p:nvSpPr>
          <p:spPr>
            <a:xfrm>
              <a:off x="4428012" y="3608751"/>
              <a:ext cx="267066" cy="400287"/>
            </a:xfrm>
            <a:custGeom>
              <a:avLst/>
              <a:gdLst>
                <a:gd name="connsiteX0" fmla="*/ 250180 w 267066"/>
                <a:gd name="connsiteY0" fmla="*/ 400288 h 400287"/>
                <a:gd name="connsiteX1" fmla="*/ 16887 w 267066"/>
                <a:gd name="connsiteY1" fmla="*/ 400288 h 400287"/>
                <a:gd name="connsiteX2" fmla="*/ 0 w 267066"/>
                <a:gd name="connsiteY2" fmla="*/ 383400 h 400287"/>
                <a:gd name="connsiteX3" fmla="*/ 0 w 267066"/>
                <a:gd name="connsiteY3" fmla="*/ 16887 h 400287"/>
                <a:gd name="connsiteX4" fmla="*/ 16887 w 267066"/>
                <a:gd name="connsiteY4" fmla="*/ 0 h 400287"/>
                <a:gd name="connsiteX5" fmla="*/ 250180 w 267066"/>
                <a:gd name="connsiteY5" fmla="*/ 0 h 400287"/>
                <a:gd name="connsiteX6" fmla="*/ 267067 w 267066"/>
                <a:gd name="connsiteY6" fmla="*/ 16887 h 400287"/>
                <a:gd name="connsiteX7" fmla="*/ 267067 w 267066"/>
                <a:gd name="connsiteY7" fmla="*/ 383400 h 400287"/>
                <a:gd name="connsiteX8" fmla="*/ 250180 w 267066"/>
                <a:gd name="connsiteY8" fmla="*/ 400288 h 400287"/>
                <a:gd name="connsiteX9" fmla="*/ 250180 w 267066"/>
                <a:gd name="connsiteY9" fmla="*/ 400288 h 400287"/>
                <a:gd name="connsiteX10" fmla="*/ 33774 w 267066"/>
                <a:gd name="connsiteY10" fmla="*/ 367139 h 400287"/>
                <a:gd name="connsiteX11" fmla="*/ 233918 w 267066"/>
                <a:gd name="connsiteY11" fmla="*/ 367139 h 400287"/>
                <a:gd name="connsiteX12" fmla="*/ 233918 w 267066"/>
                <a:gd name="connsiteY12" fmla="*/ 33774 h 400287"/>
                <a:gd name="connsiteX13" fmla="*/ 33774 w 267066"/>
                <a:gd name="connsiteY13" fmla="*/ 33774 h 400287"/>
                <a:gd name="connsiteX14" fmla="*/ 33774 w 267066"/>
                <a:gd name="connsiteY14" fmla="*/ 367139 h 400287"/>
                <a:gd name="connsiteX15" fmla="*/ 33774 w 267066"/>
                <a:gd name="connsiteY15" fmla="*/ 367139 h 40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7066" h="400287">
                  <a:moveTo>
                    <a:pt x="250180" y="400288"/>
                  </a:moveTo>
                  <a:lnTo>
                    <a:pt x="16887" y="400288"/>
                  </a:lnTo>
                  <a:cubicBezTo>
                    <a:pt x="7505" y="400288"/>
                    <a:pt x="0" y="392782"/>
                    <a:pt x="0" y="383400"/>
                  </a:cubicBezTo>
                  <a:lnTo>
                    <a:pt x="0" y="16887"/>
                  </a:lnTo>
                  <a:cubicBezTo>
                    <a:pt x="0" y="7505"/>
                    <a:pt x="7505" y="0"/>
                    <a:pt x="16887" y="0"/>
                  </a:cubicBezTo>
                  <a:lnTo>
                    <a:pt x="250180" y="0"/>
                  </a:lnTo>
                  <a:cubicBezTo>
                    <a:pt x="259561" y="0"/>
                    <a:pt x="267067" y="7505"/>
                    <a:pt x="267067" y="16887"/>
                  </a:cubicBezTo>
                  <a:lnTo>
                    <a:pt x="267067" y="383400"/>
                  </a:lnTo>
                  <a:cubicBezTo>
                    <a:pt x="267067" y="392782"/>
                    <a:pt x="259561" y="400288"/>
                    <a:pt x="250180" y="400288"/>
                  </a:cubicBezTo>
                  <a:lnTo>
                    <a:pt x="250180" y="400288"/>
                  </a:lnTo>
                  <a:close/>
                  <a:moveTo>
                    <a:pt x="33774" y="367139"/>
                  </a:moveTo>
                  <a:lnTo>
                    <a:pt x="233918" y="367139"/>
                  </a:lnTo>
                  <a:lnTo>
                    <a:pt x="233918" y="33774"/>
                  </a:lnTo>
                  <a:lnTo>
                    <a:pt x="33774" y="33774"/>
                  </a:lnTo>
                  <a:lnTo>
                    <a:pt x="33774" y="367139"/>
                  </a:lnTo>
                  <a:lnTo>
                    <a:pt x="33774" y="367139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20" name="Forma Livre: Forma 119">
              <a:extLst>
                <a:ext uri="{FF2B5EF4-FFF2-40B4-BE49-F238E27FC236}">
                  <a16:creationId xmlns:a16="http://schemas.microsoft.com/office/drawing/2014/main" id="{5B16A0B3-76FC-4B88-AB83-0382371CE9F6}"/>
                </a:ext>
              </a:extLst>
            </p:cNvPr>
            <p:cNvSpPr/>
            <p:nvPr/>
          </p:nvSpPr>
          <p:spPr>
            <a:xfrm>
              <a:off x="4541844" y="3918349"/>
              <a:ext cx="40028" cy="40028"/>
            </a:xfrm>
            <a:custGeom>
              <a:avLst/>
              <a:gdLst>
                <a:gd name="connsiteX0" fmla="*/ 40029 w 40028"/>
                <a:gd name="connsiteY0" fmla="*/ 20014 h 40028"/>
                <a:gd name="connsiteX1" fmla="*/ 20014 w 40028"/>
                <a:gd name="connsiteY1" fmla="*/ 40029 h 40028"/>
                <a:gd name="connsiteX2" fmla="*/ 0 w 40028"/>
                <a:gd name="connsiteY2" fmla="*/ 20014 h 40028"/>
                <a:gd name="connsiteX3" fmla="*/ 20014 w 40028"/>
                <a:gd name="connsiteY3" fmla="*/ 0 h 40028"/>
                <a:gd name="connsiteX4" fmla="*/ 40029 w 40028"/>
                <a:gd name="connsiteY4" fmla="*/ 20014 h 40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28" h="40028">
                  <a:moveTo>
                    <a:pt x="40029" y="20014"/>
                  </a:moveTo>
                  <a:cubicBezTo>
                    <a:pt x="40029" y="31068"/>
                    <a:pt x="31068" y="40029"/>
                    <a:pt x="20014" y="40029"/>
                  </a:cubicBezTo>
                  <a:cubicBezTo>
                    <a:pt x="8961" y="40029"/>
                    <a:pt x="0" y="31068"/>
                    <a:pt x="0" y="20014"/>
                  </a:cubicBezTo>
                  <a:cubicBezTo>
                    <a:pt x="0" y="8961"/>
                    <a:pt x="8961" y="0"/>
                    <a:pt x="20014" y="0"/>
                  </a:cubicBezTo>
                  <a:cubicBezTo>
                    <a:pt x="31068" y="0"/>
                    <a:pt x="40029" y="8961"/>
                    <a:pt x="40029" y="20014"/>
                  </a:cubicBez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21" name="Forma Livre: Forma 120">
              <a:extLst>
                <a:ext uri="{FF2B5EF4-FFF2-40B4-BE49-F238E27FC236}">
                  <a16:creationId xmlns:a16="http://schemas.microsoft.com/office/drawing/2014/main" id="{3599C74D-4B25-412C-9959-1D0B2EC8469E}"/>
                </a:ext>
              </a:extLst>
            </p:cNvPr>
            <p:cNvSpPr/>
            <p:nvPr/>
          </p:nvSpPr>
          <p:spPr>
            <a:xfrm>
              <a:off x="4449278" y="3671296"/>
              <a:ext cx="224536" cy="16887"/>
            </a:xfrm>
            <a:custGeom>
              <a:avLst/>
              <a:gdLst>
                <a:gd name="connsiteX0" fmla="*/ 224536 w 224536"/>
                <a:gd name="connsiteY0" fmla="*/ 16887 h 16887"/>
                <a:gd name="connsiteX1" fmla="*/ 0 w 224536"/>
                <a:gd name="connsiteY1" fmla="*/ 16887 h 16887"/>
                <a:gd name="connsiteX2" fmla="*/ 0 w 224536"/>
                <a:gd name="connsiteY2" fmla="*/ 0 h 16887"/>
                <a:gd name="connsiteX3" fmla="*/ 224536 w 224536"/>
                <a:gd name="connsiteY3" fmla="*/ 0 h 16887"/>
                <a:gd name="connsiteX4" fmla="*/ 224536 w 224536"/>
                <a:gd name="connsiteY4" fmla="*/ 16887 h 16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536" h="16887">
                  <a:moveTo>
                    <a:pt x="224536" y="16887"/>
                  </a:moveTo>
                  <a:lnTo>
                    <a:pt x="0" y="16887"/>
                  </a:lnTo>
                  <a:lnTo>
                    <a:pt x="0" y="0"/>
                  </a:lnTo>
                  <a:lnTo>
                    <a:pt x="224536" y="0"/>
                  </a:lnTo>
                  <a:lnTo>
                    <a:pt x="224536" y="16887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22" name="Forma Livre: Forma 121">
              <a:extLst>
                <a:ext uri="{FF2B5EF4-FFF2-40B4-BE49-F238E27FC236}">
                  <a16:creationId xmlns:a16="http://schemas.microsoft.com/office/drawing/2014/main" id="{1AE81BEB-F811-4F91-9C29-937608A1A936}"/>
                </a:ext>
              </a:extLst>
            </p:cNvPr>
            <p:cNvSpPr/>
            <p:nvPr/>
          </p:nvSpPr>
          <p:spPr>
            <a:xfrm>
              <a:off x="4449278" y="3884575"/>
              <a:ext cx="224536" cy="16261"/>
            </a:xfrm>
            <a:custGeom>
              <a:avLst/>
              <a:gdLst>
                <a:gd name="connsiteX0" fmla="*/ 224536 w 224536"/>
                <a:gd name="connsiteY0" fmla="*/ 16262 h 16261"/>
                <a:gd name="connsiteX1" fmla="*/ 0 w 224536"/>
                <a:gd name="connsiteY1" fmla="*/ 16262 h 16261"/>
                <a:gd name="connsiteX2" fmla="*/ 0 w 224536"/>
                <a:gd name="connsiteY2" fmla="*/ 0 h 16261"/>
                <a:gd name="connsiteX3" fmla="*/ 224536 w 224536"/>
                <a:gd name="connsiteY3" fmla="*/ 0 h 16261"/>
                <a:gd name="connsiteX4" fmla="*/ 224536 w 224536"/>
                <a:gd name="connsiteY4" fmla="*/ 16262 h 16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536" h="16261">
                  <a:moveTo>
                    <a:pt x="224536" y="16262"/>
                  </a:moveTo>
                  <a:lnTo>
                    <a:pt x="0" y="16262"/>
                  </a:lnTo>
                  <a:lnTo>
                    <a:pt x="0" y="0"/>
                  </a:lnTo>
                  <a:lnTo>
                    <a:pt x="224536" y="0"/>
                  </a:lnTo>
                  <a:lnTo>
                    <a:pt x="224536" y="16262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123" name="Gráfico 2">
              <a:extLst>
                <a:ext uri="{FF2B5EF4-FFF2-40B4-BE49-F238E27FC236}">
                  <a16:creationId xmlns:a16="http://schemas.microsoft.com/office/drawing/2014/main" id="{A4E24395-F85F-4E15-8BC9-B92D577D4DAD}"/>
                </a:ext>
              </a:extLst>
            </p:cNvPr>
            <p:cNvGrpSpPr/>
            <p:nvPr/>
          </p:nvGrpSpPr>
          <p:grpSpPr>
            <a:xfrm>
              <a:off x="4477115" y="3707952"/>
              <a:ext cx="161345" cy="159734"/>
              <a:chOff x="4477115" y="3707952"/>
              <a:chExt cx="161345" cy="159734"/>
            </a:xfrm>
            <a:grpFill/>
          </p:grpSpPr>
          <p:grpSp>
            <p:nvGrpSpPr>
              <p:cNvPr id="124" name="Gráfico 2">
                <a:extLst>
                  <a:ext uri="{FF2B5EF4-FFF2-40B4-BE49-F238E27FC236}">
                    <a16:creationId xmlns:a16="http://schemas.microsoft.com/office/drawing/2014/main" id="{A4E24395-F85F-4E15-8BC9-B92D577D4DAD}"/>
                  </a:ext>
                </a:extLst>
              </p:cNvPr>
              <p:cNvGrpSpPr/>
              <p:nvPr/>
            </p:nvGrpSpPr>
            <p:grpSpPr>
              <a:xfrm>
                <a:off x="4477115" y="3739470"/>
                <a:ext cx="63149" cy="128217"/>
                <a:chOff x="4477115" y="3739470"/>
                <a:chExt cx="63149" cy="128217"/>
              </a:xfrm>
              <a:grpFill/>
            </p:grpSpPr>
            <p:grpSp>
              <p:nvGrpSpPr>
                <p:cNvPr id="125" name="Gráfico 2">
                  <a:extLst>
                    <a:ext uri="{FF2B5EF4-FFF2-40B4-BE49-F238E27FC236}">
                      <a16:creationId xmlns:a16="http://schemas.microsoft.com/office/drawing/2014/main" id="{A4E24395-F85F-4E15-8BC9-B92D577D4DAD}"/>
                    </a:ext>
                  </a:extLst>
                </p:cNvPr>
                <p:cNvGrpSpPr/>
                <p:nvPr/>
              </p:nvGrpSpPr>
              <p:grpSpPr>
                <a:xfrm>
                  <a:off x="4477115" y="3816050"/>
                  <a:ext cx="63149" cy="51637"/>
                  <a:chOff x="4477115" y="3816050"/>
                  <a:chExt cx="63149" cy="51637"/>
                </a:xfrm>
                <a:grpFill/>
              </p:grpSpPr>
              <p:sp>
                <p:nvSpPr>
                  <p:cNvPr id="126" name="Forma Livre: Forma 125">
                    <a:extLst>
                      <a:ext uri="{FF2B5EF4-FFF2-40B4-BE49-F238E27FC236}">
                        <a16:creationId xmlns:a16="http://schemas.microsoft.com/office/drawing/2014/main" id="{BBDB784A-DDF0-4E14-BCE9-643CFF7EB52D}"/>
                      </a:ext>
                    </a:extLst>
                  </p:cNvPr>
                  <p:cNvSpPr/>
                  <p:nvPr/>
                </p:nvSpPr>
                <p:spPr>
                  <a:xfrm>
                    <a:off x="4477115" y="3816050"/>
                    <a:ext cx="63149" cy="51637"/>
                  </a:xfrm>
                  <a:custGeom>
                    <a:avLst/>
                    <a:gdLst>
                      <a:gd name="connsiteX0" fmla="*/ 19697 w 63149"/>
                      <a:gd name="connsiteY0" fmla="*/ 51637 h 51637"/>
                      <a:gd name="connsiteX1" fmla="*/ 308 w 63149"/>
                      <a:gd name="connsiteY1" fmla="*/ 37877 h 51637"/>
                      <a:gd name="connsiteX2" fmla="*/ 25326 w 63149"/>
                      <a:gd name="connsiteY2" fmla="*/ 4103 h 51637"/>
                      <a:gd name="connsiteX3" fmla="*/ 62853 w 63149"/>
                      <a:gd name="connsiteY3" fmla="*/ 13485 h 51637"/>
                      <a:gd name="connsiteX4" fmla="*/ 37835 w 63149"/>
                      <a:gd name="connsiteY4" fmla="*/ 47259 h 51637"/>
                      <a:gd name="connsiteX5" fmla="*/ 19697 w 63149"/>
                      <a:gd name="connsiteY5" fmla="*/ 51637 h 51637"/>
                      <a:gd name="connsiteX6" fmla="*/ 19697 w 63149"/>
                      <a:gd name="connsiteY6" fmla="*/ 51637 h 51637"/>
                      <a:gd name="connsiteX7" fmla="*/ 16570 w 63149"/>
                      <a:gd name="connsiteY7" fmla="*/ 34750 h 51637"/>
                      <a:gd name="connsiteX8" fmla="*/ 30330 w 63149"/>
                      <a:gd name="connsiteY8" fmla="*/ 32248 h 51637"/>
                      <a:gd name="connsiteX9" fmla="*/ 45966 w 63149"/>
                      <a:gd name="connsiteY9" fmla="*/ 16612 h 51637"/>
                      <a:gd name="connsiteX10" fmla="*/ 42839 w 63149"/>
                      <a:gd name="connsiteY10" fmla="*/ 16612 h 51637"/>
                      <a:gd name="connsiteX11" fmla="*/ 32206 w 63149"/>
                      <a:gd name="connsiteY11" fmla="*/ 19739 h 51637"/>
                      <a:gd name="connsiteX12" fmla="*/ 16570 w 63149"/>
                      <a:gd name="connsiteY12" fmla="*/ 34750 h 51637"/>
                      <a:gd name="connsiteX13" fmla="*/ 16570 w 63149"/>
                      <a:gd name="connsiteY13" fmla="*/ 34750 h 51637"/>
                      <a:gd name="connsiteX14" fmla="*/ 16570 w 63149"/>
                      <a:gd name="connsiteY14" fmla="*/ 34750 h 516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63149" h="51637">
                        <a:moveTo>
                          <a:pt x="19697" y="51637"/>
                        </a:moveTo>
                        <a:cubicBezTo>
                          <a:pt x="9690" y="51637"/>
                          <a:pt x="2184" y="46634"/>
                          <a:pt x="308" y="37877"/>
                        </a:cubicBezTo>
                        <a:cubicBezTo>
                          <a:pt x="-2194" y="24117"/>
                          <a:pt x="10941" y="10357"/>
                          <a:pt x="25326" y="4103"/>
                        </a:cubicBezTo>
                        <a:cubicBezTo>
                          <a:pt x="42839" y="-4028"/>
                          <a:pt x="60351" y="350"/>
                          <a:pt x="62853" y="13485"/>
                        </a:cubicBezTo>
                        <a:cubicBezTo>
                          <a:pt x="65355" y="26619"/>
                          <a:pt x="51595" y="41005"/>
                          <a:pt x="37835" y="47259"/>
                        </a:cubicBezTo>
                        <a:cubicBezTo>
                          <a:pt x="30955" y="49761"/>
                          <a:pt x="25326" y="51637"/>
                          <a:pt x="19697" y="51637"/>
                        </a:cubicBezTo>
                        <a:lnTo>
                          <a:pt x="19697" y="51637"/>
                        </a:lnTo>
                        <a:close/>
                        <a:moveTo>
                          <a:pt x="16570" y="34750"/>
                        </a:moveTo>
                        <a:cubicBezTo>
                          <a:pt x="17821" y="34750"/>
                          <a:pt x="24700" y="34750"/>
                          <a:pt x="30330" y="32248"/>
                        </a:cubicBezTo>
                        <a:cubicBezTo>
                          <a:pt x="41588" y="27245"/>
                          <a:pt x="46591" y="18489"/>
                          <a:pt x="45966" y="16612"/>
                        </a:cubicBezTo>
                        <a:cubicBezTo>
                          <a:pt x="45966" y="16612"/>
                          <a:pt x="44715" y="16612"/>
                          <a:pt x="42839" y="16612"/>
                        </a:cubicBezTo>
                        <a:cubicBezTo>
                          <a:pt x="39711" y="16612"/>
                          <a:pt x="35959" y="17863"/>
                          <a:pt x="32206" y="19739"/>
                        </a:cubicBezTo>
                        <a:cubicBezTo>
                          <a:pt x="20948" y="24117"/>
                          <a:pt x="15944" y="32248"/>
                          <a:pt x="16570" y="34750"/>
                        </a:cubicBezTo>
                        <a:cubicBezTo>
                          <a:pt x="16570" y="34750"/>
                          <a:pt x="16570" y="34750"/>
                          <a:pt x="16570" y="34750"/>
                        </a:cubicBezTo>
                        <a:lnTo>
                          <a:pt x="16570" y="34750"/>
                        </a:lnTo>
                        <a:close/>
                      </a:path>
                    </a:pathLst>
                  </a:custGeom>
                  <a:grpFill/>
                  <a:ln w="625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BR"/>
                  </a:p>
                </p:txBody>
              </p:sp>
              <p:sp>
                <p:nvSpPr>
                  <p:cNvPr id="127" name="Forma Livre: Forma 126">
                    <a:extLst>
                      <a:ext uri="{FF2B5EF4-FFF2-40B4-BE49-F238E27FC236}">
                        <a16:creationId xmlns:a16="http://schemas.microsoft.com/office/drawing/2014/main" id="{CC855A98-EB7D-471E-AE02-BE1F0216A254}"/>
                      </a:ext>
                    </a:extLst>
                  </p:cNvPr>
                  <p:cNvSpPr/>
                  <p:nvPr/>
                </p:nvSpPr>
                <p:spPr>
                  <a:xfrm>
                    <a:off x="4485314" y="3823906"/>
                    <a:ext cx="46136" cy="35650"/>
                  </a:xfrm>
                  <a:custGeom>
                    <a:avLst/>
                    <a:gdLst>
                      <a:gd name="connsiteX0" fmla="*/ 34639 w 46136"/>
                      <a:gd name="connsiteY0" fmla="*/ 0 h 35650"/>
                      <a:gd name="connsiteX1" fmla="*/ 20254 w 46136"/>
                      <a:gd name="connsiteY1" fmla="*/ 3753 h 35650"/>
                      <a:gd name="connsiteX2" fmla="*/ 239 w 46136"/>
                      <a:gd name="connsiteY2" fmla="*/ 28771 h 35650"/>
                      <a:gd name="connsiteX3" fmla="*/ 11497 w 46136"/>
                      <a:gd name="connsiteY3" fmla="*/ 35651 h 35650"/>
                      <a:gd name="connsiteX4" fmla="*/ 25883 w 46136"/>
                      <a:gd name="connsiteY4" fmla="*/ 31898 h 35650"/>
                      <a:gd name="connsiteX5" fmla="*/ 45897 w 46136"/>
                      <a:gd name="connsiteY5" fmla="*/ 6880 h 35650"/>
                      <a:gd name="connsiteX6" fmla="*/ 34639 w 46136"/>
                      <a:gd name="connsiteY6" fmla="*/ 0 h 35650"/>
                      <a:gd name="connsiteX7" fmla="*/ 34639 w 46136"/>
                      <a:gd name="connsiteY7" fmla="*/ 0 h 356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6136" h="35650">
                        <a:moveTo>
                          <a:pt x="34639" y="0"/>
                        </a:moveTo>
                        <a:cubicBezTo>
                          <a:pt x="30261" y="0"/>
                          <a:pt x="25257" y="1251"/>
                          <a:pt x="20254" y="3753"/>
                        </a:cubicBezTo>
                        <a:cubicBezTo>
                          <a:pt x="7745" y="10007"/>
                          <a:pt x="-1637" y="20640"/>
                          <a:pt x="239" y="28771"/>
                        </a:cubicBezTo>
                        <a:cubicBezTo>
                          <a:pt x="865" y="33149"/>
                          <a:pt x="5243" y="35651"/>
                          <a:pt x="11497" y="35651"/>
                        </a:cubicBezTo>
                        <a:cubicBezTo>
                          <a:pt x="15876" y="35651"/>
                          <a:pt x="20879" y="34400"/>
                          <a:pt x="25883" y="31898"/>
                        </a:cubicBezTo>
                        <a:cubicBezTo>
                          <a:pt x="38392" y="25643"/>
                          <a:pt x="47773" y="15011"/>
                          <a:pt x="45897" y="6880"/>
                        </a:cubicBezTo>
                        <a:cubicBezTo>
                          <a:pt x="45272" y="1876"/>
                          <a:pt x="40894" y="0"/>
                          <a:pt x="34639" y="0"/>
                        </a:cubicBezTo>
                        <a:lnTo>
                          <a:pt x="34639" y="0"/>
                        </a:lnTo>
                        <a:close/>
                      </a:path>
                    </a:pathLst>
                  </a:custGeom>
                  <a:grpFill/>
                  <a:ln w="625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BR"/>
                  </a:p>
                </p:txBody>
              </p:sp>
            </p:grpSp>
            <p:sp>
              <p:nvSpPr>
                <p:cNvPr id="128" name="Forma Livre: Forma 127">
                  <a:extLst>
                    <a:ext uri="{FF2B5EF4-FFF2-40B4-BE49-F238E27FC236}">
                      <a16:creationId xmlns:a16="http://schemas.microsoft.com/office/drawing/2014/main" id="{60355B8C-6295-46F5-93D2-2FE1B465B5A5}"/>
                    </a:ext>
                  </a:extLst>
                </p:cNvPr>
                <p:cNvSpPr/>
                <p:nvPr/>
              </p:nvSpPr>
              <p:spPr>
                <a:xfrm>
                  <a:off x="4523081" y="3739470"/>
                  <a:ext cx="16887" cy="91315"/>
                </a:xfrm>
                <a:custGeom>
                  <a:avLst/>
                  <a:gdLst>
                    <a:gd name="connsiteX0" fmla="*/ 16887 w 16887"/>
                    <a:gd name="connsiteY0" fmla="*/ 91315 h 91315"/>
                    <a:gd name="connsiteX1" fmla="*/ 0 w 16887"/>
                    <a:gd name="connsiteY1" fmla="*/ 91315 h 91315"/>
                    <a:gd name="connsiteX2" fmla="*/ 0 w 16887"/>
                    <a:gd name="connsiteY2" fmla="*/ 0 h 91315"/>
                    <a:gd name="connsiteX3" fmla="*/ 16887 w 16887"/>
                    <a:gd name="connsiteY3" fmla="*/ 0 h 91315"/>
                    <a:gd name="connsiteX4" fmla="*/ 16887 w 16887"/>
                    <a:gd name="connsiteY4" fmla="*/ 91315 h 913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887" h="91315">
                      <a:moveTo>
                        <a:pt x="16887" y="91315"/>
                      </a:moveTo>
                      <a:lnTo>
                        <a:pt x="0" y="91315"/>
                      </a:lnTo>
                      <a:lnTo>
                        <a:pt x="0" y="0"/>
                      </a:lnTo>
                      <a:lnTo>
                        <a:pt x="16887" y="0"/>
                      </a:lnTo>
                      <a:lnTo>
                        <a:pt x="16887" y="91315"/>
                      </a:lnTo>
                      <a:close/>
                    </a:path>
                  </a:pathLst>
                </a:custGeom>
                <a:grpFill/>
                <a:ln w="62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grpSp>
            <p:nvGrpSpPr>
              <p:cNvPr id="129" name="Gráfico 2">
                <a:extLst>
                  <a:ext uri="{FF2B5EF4-FFF2-40B4-BE49-F238E27FC236}">
                    <a16:creationId xmlns:a16="http://schemas.microsoft.com/office/drawing/2014/main" id="{A4E24395-F85F-4E15-8BC9-B92D577D4DAD}"/>
                  </a:ext>
                </a:extLst>
              </p:cNvPr>
              <p:cNvGrpSpPr/>
              <p:nvPr/>
            </p:nvGrpSpPr>
            <p:grpSpPr>
              <a:xfrm>
                <a:off x="4575310" y="3715703"/>
                <a:ext cx="63149" cy="128217"/>
                <a:chOff x="4575310" y="3715703"/>
                <a:chExt cx="63149" cy="128217"/>
              </a:xfrm>
              <a:grpFill/>
            </p:grpSpPr>
            <p:grpSp>
              <p:nvGrpSpPr>
                <p:cNvPr id="130" name="Gráfico 2">
                  <a:extLst>
                    <a:ext uri="{FF2B5EF4-FFF2-40B4-BE49-F238E27FC236}">
                      <a16:creationId xmlns:a16="http://schemas.microsoft.com/office/drawing/2014/main" id="{A4E24395-F85F-4E15-8BC9-B92D577D4DAD}"/>
                    </a:ext>
                  </a:extLst>
                </p:cNvPr>
                <p:cNvGrpSpPr/>
                <p:nvPr/>
              </p:nvGrpSpPr>
              <p:grpSpPr>
                <a:xfrm>
                  <a:off x="4575310" y="3792283"/>
                  <a:ext cx="63149" cy="51637"/>
                  <a:chOff x="4575310" y="3792283"/>
                  <a:chExt cx="63149" cy="51637"/>
                </a:xfrm>
                <a:grpFill/>
              </p:grpSpPr>
              <p:sp>
                <p:nvSpPr>
                  <p:cNvPr id="131" name="Forma Livre: Forma 130">
                    <a:extLst>
                      <a:ext uri="{FF2B5EF4-FFF2-40B4-BE49-F238E27FC236}">
                        <a16:creationId xmlns:a16="http://schemas.microsoft.com/office/drawing/2014/main" id="{9EC9F0F2-0432-4345-A2CF-3221FD35A62A}"/>
                      </a:ext>
                    </a:extLst>
                  </p:cNvPr>
                  <p:cNvSpPr/>
                  <p:nvPr/>
                </p:nvSpPr>
                <p:spPr>
                  <a:xfrm>
                    <a:off x="4575310" y="3792283"/>
                    <a:ext cx="63149" cy="51637"/>
                  </a:xfrm>
                  <a:custGeom>
                    <a:avLst/>
                    <a:gdLst>
                      <a:gd name="connsiteX0" fmla="*/ 19697 w 63149"/>
                      <a:gd name="connsiteY0" fmla="*/ 51637 h 51637"/>
                      <a:gd name="connsiteX1" fmla="*/ 308 w 63149"/>
                      <a:gd name="connsiteY1" fmla="*/ 37877 h 51637"/>
                      <a:gd name="connsiteX2" fmla="*/ 25326 w 63149"/>
                      <a:gd name="connsiteY2" fmla="*/ 4103 h 51637"/>
                      <a:gd name="connsiteX3" fmla="*/ 62853 w 63149"/>
                      <a:gd name="connsiteY3" fmla="*/ 13485 h 51637"/>
                      <a:gd name="connsiteX4" fmla="*/ 37835 w 63149"/>
                      <a:gd name="connsiteY4" fmla="*/ 47259 h 51637"/>
                      <a:gd name="connsiteX5" fmla="*/ 19697 w 63149"/>
                      <a:gd name="connsiteY5" fmla="*/ 51637 h 51637"/>
                      <a:gd name="connsiteX6" fmla="*/ 19697 w 63149"/>
                      <a:gd name="connsiteY6" fmla="*/ 51637 h 51637"/>
                      <a:gd name="connsiteX7" fmla="*/ 16570 w 63149"/>
                      <a:gd name="connsiteY7" fmla="*/ 34750 h 51637"/>
                      <a:gd name="connsiteX8" fmla="*/ 30330 w 63149"/>
                      <a:gd name="connsiteY8" fmla="*/ 32248 h 51637"/>
                      <a:gd name="connsiteX9" fmla="*/ 45966 w 63149"/>
                      <a:gd name="connsiteY9" fmla="*/ 16612 h 51637"/>
                      <a:gd name="connsiteX10" fmla="*/ 42839 w 63149"/>
                      <a:gd name="connsiteY10" fmla="*/ 16612 h 51637"/>
                      <a:gd name="connsiteX11" fmla="*/ 32206 w 63149"/>
                      <a:gd name="connsiteY11" fmla="*/ 19739 h 51637"/>
                      <a:gd name="connsiteX12" fmla="*/ 16570 w 63149"/>
                      <a:gd name="connsiteY12" fmla="*/ 34750 h 51637"/>
                      <a:gd name="connsiteX13" fmla="*/ 16570 w 63149"/>
                      <a:gd name="connsiteY13" fmla="*/ 34750 h 51637"/>
                      <a:gd name="connsiteX14" fmla="*/ 16570 w 63149"/>
                      <a:gd name="connsiteY14" fmla="*/ 34750 h 516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63149" h="51637">
                        <a:moveTo>
                          <a:pt x="19697" y="51637"/>
                        </a:moveTo>
                        <a:cubicBezTo>
                          <a:pt x="9690" y="51637"/>
                          <a:pt x="2184" y="46633"/>
                          <a:pt x="308" y="37877"/>
                        </a:cubicBezTo>
                        <a:cubicBezTo>
                          <a:pt x="-2194" y="24743"/>
                          <a:pt x="10940" y="10357"/>
                          <a:pt x="25326" y="4103"/>
                        </a:cubicBezTo>
                        <a:cubicBezTo>
                          <a:pt x="42839" y="-4028"/>
                          <a:pt x="60351" y="350"/>
                          <a:pt x="62853" y="13485"/>
                        </a:cubicBezTo>
                        <a:cubicBezTo>
                          <a:pt x="65355" y="26619"/>
                          <a:pt x="51595" y="41005"/>
                          <a:pt x="37835" y="47259"/>
                        </a:cubicBezTo>
                        <a:cubicBezTo>
                          <a:pt x="30955" y="49761"/>
                          <a:pt x="25326" y="51637"/>
                          <a:pt x="19697" y="51637"/>
                        </a:cubicBezTo>
                        <a:lnTo>
                          <a:pt x="19697" y="51637"/>
                        </a:lnTo>
                        <a:close/>
                        <a:moveTo>
                          <a:pt x="16570" y="34750"/>
                        </a:moveTo>
                        <a:cubicBezTo>
                          <a:pt x="17821" y="34750"/>
                          <a:pt x="24700" y="34750"/>
                          <a:pt x="30330" y="32248"/>
                        </a:cubicBezTo>
                        <a:cubicBezTo>
                          <a:pt x="41588" y="27245"/>
                          <a:pt x="46591" y="18488"/>
                          <a:pt x="45966" y="16612"/>
                        </a:cubicBezTo>
                        <a:cubicBezTo>
                          <a:pt x="45966" y="16612"/>
                          <a:pt x="44715" y="16612"/>
                          <a:pt x="42839" y="16612"/>
                        </a:cubicBezTo>
                        <a:cubicBezTo>
                          <a:pt x="39711" y="16612"/>
                          <a:pt x="35958" y="17863"/>
                          <a:pt x="32206" y="19739"/>
                        </a:cubicBezTo>
                        <a:cubicBezTo>
                          <a:pt x="20948" y="24117"/>
                          <a:pt x="15944" y="32248"/>
                          <a:pt x="16570" y="34750"/>
                        </a:cubicBezTo>
                        <a:cubicBezTo>
                          <a:pt x="16570" y="34750"/>
                          <a:pt x="16570" y="34750"/>
                          <a:pt x="16570" y="34750"/>
                        </a:cubicBezTo>
                        <a:lnTo>
                          <a:pt x="16570" y="34750"/>
                        </a:lnTo>
                        <a:close/>
                      </a:path>
                    </a:pathLst>
                  </a:custGeom>
                  <a:grpFill/>
                  <a:ln w="625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BR"/>
                  </a:p>
                </p:txBody>
              </p:sp>
              <p:sp>
                <p:nvSpPr>
                  <p:cNvPr id="132" name="Forma Livre: Forma 131">
                    <a:extLst>
                      <a:ext uri="{FF2B5EF4-FFF2-40B4-BE49-F238E27FC236}">
                        <a16:creationId xmlns:a16="http://schemas.microsoft.com/office/drawing/2014/main" id="{ACEEB698-47DB-4AA9-A4B6-84709FE66A68}"/>
                      </a:ext>
                    </a:extLst>
                  </p:cNvPr>
                  <p:cNvSpPr/>
                  <p:nvPr/>
                </p:nvSpPr>
                <p:spPr>
                  <a:xfrm>
                    <a:off x="4583510" y="3799513"/>
                    <a:ext cx="46136" cy="35650"/>
                  </a:xfrm>
                  <a:custGeom>
                    <a:avLst/>
                    <a:gdLst>
                      <a:gd name="connsiteX0" fmla="*/ 34639 w 46136"/>
                      <a:gd name="connsiteY0" fmla="*/ 0 h 35650"/>
                      <a:gd name="connsiteX1" fmla="*/ 20254 w 46136"/>
                      <a:gd name="connsiteY1" fmla="*/ 3753 h 35650"/>
                      <a:gd name="connsiteX2" fmla="*/ 239 w 46136"/>
                      <a:gd name="connsiteY2" fmla="*/ 28771 h 35650"/>
                      <a:gd name="connsiteX3" fmla="*/ 11497 w 46136"/>
                      <a:gd name="connsiteY3" fmla="*/ 35651 h 35650"/>
                      <a:gd name="connsiteX4" fmla="*/ 25883 w 46136"/>
                      <a:gd name="connsiteY4" fmla="*/ 31898 h 35650"/>
                      <a:gd name="connsiteX5" fmla="*/ 45897 w 46136"/>
                      <a:gd name="connsiteY5" fmla="*/ 6880 h 35650"/>
                      <a:gd name="connsiteX6" fmla="*/ 34639 w 46136"/>
                      <a:gd name="connsiteY6" fmla="*/ 0 h 35650"/>
                      <a:gd name="connsiteX7" fmla="*/ 34639 w 46136"/>
                      <a:gd name="connsiteY7" fmla="*/ 0 h 356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6136" h="35650">
                        <a:moveTo>
                          <a:pt x="34639" y="0"/>
                        </a:moveTo>
                        <a:cubicBezTo>
                          <a:pt x="30261" y="0"/>
                          <a:pt x="25257" y="1251"/>
                          <a:pt x="20254" y="3753"/>
                        </a:cubicBezTo>
                        <a:cubicBezTo>
                          <a:pt x="7745" y="10007"/>
                          <a:pt x="-1637" y="20640"/>
                          <a:pt x="239" y="28771"/>
                        </a:cubicBezTo>
                        <a:cubicBezTo>
                          <a:pt x="865" y="33149"/>
                          <a:pt x="5243" y="35651"/>
                          <a:pt x="11497" y="35651"/>
                        </a:cubicBezTo>
                        <a:cubicBezTo>
                          <a:pt x="15876" y="35651"/>
                          <a:pt x="20879" y="34400"/>
                          <a:pt x="25883" y="31898"/>
                        </a:cubicBezTo>
                        <a:cubicBezTo>
                          <a:pt x="38392" y="26269"/>
                          <a:pt x="47773" y="15011"/>
                          <a:pt x="45897" y="6880"/>
                        </a:cubicBezTo>
                        <a:cubicBezTo>
                          <a:pt x="45272" y="2502"/>
                          <a:pt x="40894" y="0"/>
                          <a:pt x="34639" y="0"/>
                        </a:cubicBezTo>
                        <a:lnTo>
                          <a:pt x="34639" y="0"/>
                        </a:lnTo>
                        <a:close/>
                      </a:path>
                    </a:pathLst>
                  </a:custGeom>
                  <a:grpFill/>
                  <a:ln w="625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BR"/>
                  </a:p>
                </p:txBody>
              </p:sp>
            </p:grpSp>
            <p:sp>
              <p:nvSpPr>
                <p:cNvPr id="133" name="Forma Livre: Forma 132">
                  <a:extLst>
                    <a:ext uri="{FF2B5EF4-FFF2-40B4-BE49-F238E27FC236}">
                      <a16:creationId xmlns:a16="http://schemas.microsoft.com/office/drawing/2014/main" id="{AB434D26-B080-48C3-A2EF-59FA1F49D010}"/>
                    </a:ext>
                  </a:extLst>
                </p:cNvPr>
                <p:cNvSpPr/>
                <p:nvPr/>
              </p:nvSpPr>
              <p:spPr>
                <a:xfrm>
                  <a:off x="4621276" y="3715703"/>
                  <a:ext cx="16887" cy="91315"/>
                </a:xfrm>
                <a:custGeom>
                  <a:avLst/>
                  <a:gdLst>
                    <a:gd name="connsiteX0" fmla="*/ 16887 w 16887"/>
                    <a:gd name="connsiteY0" fmla="*/ 91316 h 91315"/>
                    <a:gd name="connsiteX1" fmla="*/ 0 w 16887"/>
                    <a:gd name="connsiteY1" fmla="*/ 91316 h 91315"/>
                    <a:gd name="connsiteX2" fmla="*/ 0 w 16887"/>
                    <a:gd name="connsiteY2" fmla="*/ 0 h 91315"/>
                    <a:gd name="connsiteX3" fmla="*/ 16887 w 16887"/>
                    <a:gd name="connsiteY3" fmla="*/ 0 h 91315"/>
                    <a:gd name="connsiteX4" fmla="*/ 16887 w 16887"/>
                    <a:gd name="connsiteY4" fmla="*/ 91316 h 913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887" h="91315">
                      <a:moveTo>
                        <a:pt x="16887" y="91316"/>
                      </a:moveTo>
                      <a:lnTo>
                        <a:pt x="0" y="91316"/>
                      </a:lnTo>
                      <a:lnTo>
                        <a:pt x="0" y="0"/>
                      </a:lnTo>
                      <a:lnTo>
                        <a:pt x="16887" y="0"/>
                      </a:lnTo>
                      <a:lnTo>
                        <a:pt x="16887" y="91316"/>
                      </a:lnTo>
                      <a:close/>
                    </a:path>
                  </a:pathLst>
                </a:custGeom>
                <a:grpFill/>
                <a:ln w="62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grpSp>
            <p:nvGrpSpPr>
              <p:cNvPr id="134" name="Gráfico 2">
                <a:extLst>
                  <a:ext uri="{FF2B5EF4-FFF2-40B4-BE49-F238E27FC236}">
                    <a16:creationId xmlns:a16="http://schemas.microsoft.com/office/drawing/2014/main" id="{A4E24395-F85F-4E15-8BC9-B92D577D4DAD}"/>
                  </a:ext>
                </a:extLst>
              </p:cNvPr>
              <p:cNvGrpSpPr/>
              <p:nvPr/>
            </p:nvGrpSpPr>
            <p:grpSpPr>
              <a:xfrm>
                <a:off x="4523081" y="3707952"/>
                <a:ext cx="114457" cy="70921"/>
                <a:chOff x="4523081" y="3707952"/>
                <a:chExt cx="114457" cy="70921"/>
              </a:xfrm>
              <a:grpFill/>
            </p:grpSpPr>
            <p:sp>
              <p:nvSpPr>
                <p:cNvPr id="135" name="Forma Livre: Forma 134">
                  <a:extLst>
                    <a:ext uri="{FF2B5EF4-FFF2-40B4-BE49-F238E27FC236}">
                      <a16:creationId xmlns:a16="http://schemas.microsoft.com/office/drawing/2014/main" id="{D3FBF394-4D9E-4BB0-83E7-7B5598660FD6}"/>
                    </a:ext>
                  </a:extLst>
                </p:cNvPr>
                <p:cNvSpPr/>
                <p:nvPr/>
              </p:nvSpPr>
              <p:spPr>
                <a:xfrm>
                  <a:off x="4523081" y="3707952"/>
                  <a:ext cx="114457" cy="70921"/>
                </a:xfrm>
                <a:custGeom>
                  <a:avLst/>
                  <a:gdLst>
                    <a:gd name="connsiteX0" fmla="*/ 8131 w 114457"/>
                    <a:gd name="connsiteY0" fmla="*/ 70921 h 70921"/>
                    <a:gd name="connsiteX1" fmla="*/ 3127 w 114457"/>
                    <a:gd name="connsiteY1" fmla="*/ 69045 h 70921"/>
                    <a:gd name="connsiteX2" fmla="*/ 0 w 114457"/>
                    <a:gd name="connsiteY2" fmla="*/ 62790 h 70921"/>
                    <a:gd name="connsiteX3" fmla="*/ 0 w 114457"/>
                    <a:gd name="connsiteY3" fmla="*/ 32143 h 70921"/>
                    <a:gd name="connsiteX4" fmla="*/ 6254 w 114457"/>
                    <a:gd name="connsiteY4" fmla="*/ 24012 h 70921"/>
                    <a:gd name="connsiteX5" fmla="*/ 104450 w 114457"/>
                    <a:gd name="connsiteY5" fmla="*/ 245 h 70921"/>
                    <a:gd name="connsiteX6" fmla="*/ 111330 w 114457"/>
                    <a:gd name="connsiteY6" fmla="*/ 1496 h 70921"/>
                    <a:gd name="connsiteX7" fmla="*/ 114457 w 114457"/>
                    <a:gd name="connsiteY7" fmla="*/ 7751 h 70921"/>
                    <a:gd name="connsiteX8" fmla="*/ 114457 w 114457"/>
                    <a:gd name="connsiteY8" fmla="*/ 38398 h 70921"/>
                    <a:gd name="connsiteX9" fmla="*/ 108203 w 114457"/>
                    <a:gd name="connsiteY9" fmla="*/ 46528 h 70921"/>
                    <a:gd name="connsiteX10" fmla="*/ 10007 w 114457"/>
                    <a:gd name="connsiteY10" fmla="*/ 70296 h 70921"/>
                    <a:gd name="connsiteX11" fmla="*/ 8131 w 114457"/>
                    <a:gd name="connsiteY11" fmla="*/ 70921 h 70921"/>
                    <a:gd name="connsiteX12" fmla="*/ 8131 w 114457"/>
                    <a:gd name="connsiteY12" fmla="*/ 70921 h 70921"/>
                    <a:gd name="connsiteX13" fmla="*/ 16887 w 114457"/>
                    <a:gd name="connsiteY13" fmla="*/ 38398 h 70921"/>
                    <a:gd name="connsiteX14" fmla="*/ 16887 w 114457"/>
                    <a:gd name="connsiteY14" fmla="*/ 52158 h 70921"/>
                    <a:gd name="connsiteX15" fmla="*/ 98196 w 114457"/>
                    <a:gd name="connsiteY15" fmla="*/ 32143 h 70921"/>
                    <a:gd name="connsiteX16" fmla="*/ 98196 w 114457"/>
                    <a:gd name="connsiteY16" fmla="*/ 18383 h 70921"/>
                    <a:gd name="connsiteX17" fmla="*/ 16887 w 114457"/>
                    <a:gd name="connsiteY17" fmla="*/ 38398 h 70921"/>
                    <a:gd name="connsiteX18" fmla="*/ 16887 w 114457"/>
                    <a:gd name="connsiteY18" fmla="*/ 38398 h 709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14457" h="70921">
                      <a:moveTo>
                        <a:pt x="8131" y="70921"/>
                      </a:moveTo>
                      <a:cubicBezTo>
                        <a:pt x="6254" y="70921"/>
                        <a:pt x="4378" y="70296"/>
                        <a:pt x="3127" y="69045"/>
                      </a:cubicBezTo>
                      <a:cubicBezTo>
                        <a:pt x="1251" y="67169"/>
                        <a:pt x="0" y="65292"/>
                        <a:pt x="0" y="62790"/>
                      </a:cubicBezTo>
                      <a:lnTo>
                        <a:pt x="0" y="32143"/>
                      </a:lnTo>
                      <a:cubicBezTo>
                        <a:pt x="0" y="28391"/>
                        <a:pt x="2502" y="24638"/>
                        <a:pt x="6254" y="24012"/>
                      </a:cubicBezTo>
                      <a:lnTo>
                        <a:pt x="104450" y="245"/>
                      </a:lnTo>
                      <a:cubicBezTo>
                        <a:pt x="106952" y="-380"/>
                        <a:pt x="109454" y="245"/>
                        <a:pt x="111330" y="1496"/>
                      </a:cubicBezTo>
                      <a:cubicBezTo>
                        <a:pt x="113206" y="3373"/>
                        <a:pt x="114457" y="5249"/>
                        <a:pt x="114457" y="7751"/>
                      </a:cubicBezTo>
                      <a:lnTo>
                        <a:pt x="114457" y="38398"/>
                      </a:lnTo>
                      <a:cubicBezTo>
                        <a:pt x="114457" y="42151"/>
                        <a:pt x="111956" y="45278"/>
                        <a:pt x="108203" y="46528"/>
                      </a:cubicBezTo>
                      <a:lnTo>
                        <a:pt x="10007" y="70296"/>
                      </a:lnTo>
                      <a:cubicBezTo>
                        <a:pt x="9382" y="70921"/>
                        <a:pt x="8756" y="70921"/>
                        <a:pt x="8131" y="70921"/>
                      </a:cubicBezTo>
                      <a:lnTo>
                        <a:pt x="8131" y="70921"/>
                      </a:lnTo>
                      <a:close/>
                      <a:moveTo>
                        <a:pt x="16887" y="38398"/>
                      </a:moveTo>
                      <a:lnTo>
                        <a:pt x="16887" y="52158"/>
                      </a:lnTo>
                      <a:lnTo>
                        <a:pt x="98196" y="32143"/>
                      </a:lnTo>
                      <a:lnTo>
                        <a:pt x="98196" y="18383"/>
                      </a:lnTo>
                      <a:lnTo>
                        <a:pt x="16887" y="38398"/>
                      </a:lnTo>
                      <a:lnTo>
                        <a:pt x="16887" y="38398"/>
                      </a:lnTo>
                      <a:close/>
                    </a:path>
                  </a:pathLst>
                </a:custGeom>
                <a:grpFill/>
                <a:ln w="62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136" name="Forma Livre: Forma 135">
                  <a:extLst>
                    <a:ext uri="{FF2B5EF4-FFF2-40B4-BE49-F238E27FC236}">
                      <a16:creationId xmlns:a16="http://schemas.microsoft.com/office/drawing/2014/main" id="{1D7EA8A9-E136-4F3D-8CF5-71A78AB5A132}"/>
                    </a:ext>
                  </a:extLst>
                </p:cNvPr>
                <p:cNvSpPr/>
                <p:nvPr/>
              </p:nvSpPr>
              <p:spPr>
                <a:xfrm>
                  <a:off x="4531211" y="3715703"/>
                  <a:ext cx="98195" cy="54413"/>
                </a:xfrm>
                <a:custGeom>
                  <a:avLst/>
                  <a:gdLst>
                    <a:gd name="connsiteX0" fmla="*/ 98196 w 98195"/>
                    <a:gd name="connsiteY0" fmla="*/ 0 h 54413"/>
                    <a:gd name="connsiteX1" fmla="*/ 0 w 98195"/>
                    <a:gd name="connsiteY1" fmla="*/ 23767 h 54413"/>
                    <a:gd name="connsiteX2" fmla="*/ 0 w 98195"/>
                    <a:gd name="connsiteY2" fmla="*/ 54414 h 54413"/>
                    <a:gd name="connsiteX3" fmla="*/ 98196 w 98195"/>
                    <a:gd name="connsiteY3" fmla="*/ 30647 h 54413"/>
                    <a:gd name="connsiteX4" fmla="*/ 98196 w 98195"/>
                    <a:gd name="connsiteY4" fmla="*/ 0 h 544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8195" h="54413">
                      <a:moveTo>
                        <a:pt x="98196" y="0"/>
                      </a:moveTo>
                      <a:lnTo>
                        <a:pt x="0" y="23767"/>
                      </a:lnTo>
                      <a:lnTo>
                        <a:pt x="0" y="54414"/>
                      </a:lnTo>
                      <a:lnTo>
                        <a:pt x="98196" y="30647"/>
                      </a:lnTo>
                      <a:lnTo>
                        <a:pt x="98196" y="0"/>
                      </a:lnTo>
                      <a:close/>
                    </a:path>
                  </a:pathLst>
                </a:custGeom>
                <a:grpFill/>
                <a:ln w="62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</p:grpSp>
      </p:grpSp>
      <p:grpSp>
        <p:nvGrpSpPr>
          <p:cNvPr id="137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5397287" y="519032"/>
            <a:ext cx="392469" cy="392782"/>
            <a:chOff x="5384950" y="519032"/>
            <a:chExt cx="392469" cy="392782"/>
          </a:xfrm>
          <a:solidFill>
            <a:srgbClr val="B1B1A1"/>
          </a:solidFill>
        </p:grpSpPr>
        <p:sp>
          <p:nvSpPr>
            <p:cNvPr id="138" name="Forma Livre: Forma 137">
              <a:extLst>
                <a:ext uri="{FF2B5EF4-FFF2-40B4-BE49-F238E27FC236}">
                  <a16:creationId xmlns:a16="http://schemas.microsoft.com/office/drawing/2014/main" id="{FF1F524C-4B88-495E-8EF7-174C925D74FF}"/>
                </a:ext>
              </a:extLst>
            </p:cNvPr>
            <p:cNvSpPr/>
            <p:nvPr/>
          </p:nvSpPr>
          <p:spPr>
            <a:xfrm>
              <a:off x="5384950" y="519032"/>
              <a:ext cx="392469" cy="392782"/>
            </a:xfrm>
            <a:custGeom>
              <a:avLst/>
              <a:gdLst>
                <a:gd name="connsiteX0" fmla="*/ 196391 w 392469"/>
                <a:gd name="connsiteY0" fmla="*/ 392782 h 392782"/>
                <a:gd name="connsiteX1" fmla="*/ 57541 w 392469"/>
                <a:gd name="connsiteY1" fmla="*/ 335241 h 392782"/>
                <a:gd name="connsiteX2" fmla="*/ 0 w 392469"/>
                <a:gd name="connsiteY2" fmla="*/ 196391 h 392782"/>
                <a:gd name="connsiteX3" fmla="*/ 57541 w 392469"/>
                <a:gd name="connsiteY3" fmla="*/ 57541 h 392782"/>
                <a:gd name="connsiteX4" fmla="*/ 196391 w 392469"/>
                <a:gd name="connsiteY4" fmla="*/ 0 h 392782"/>
                <a:gd name="connsiteX5" fmla="*/ 335241 w 392469"/>
                <a:gd name="connsiteY5" fmla="*/ 57541 h 392782"/>
                <a:gd name="connsiteX6" fmla="*/ 335241 w 392469"/>
                <a:gd name="connsiteY6" fmla="*/ 335241 h 392782"/>
                <a:gd name="connsiteX7" fmla="*/ 196391 w 392469"/>
                <a:gd name="connsiteY7" fmla="*/ 392782 h 392782"/>
                <a:gd name="connsiteX8" fmla="*/ 196391 w 392469"/>
                <a:gd name="connsiteY8" fmla="*/ 392782 h 392782"/>
                <a:gd name="connsiteX9" fmla="*/ 196391 w 392469"/>
                <a:gd name="connsiteY9" fmla="*/ 33774 h 392782"/>
                <a:gd name="connsiteX10" fmla="*/ 81308 w 392469"/>
                <a:gd name="connsiteY10" fmla="*/ 81308 h 392782"/>
                <a:gd name="connsiteX11" fmla="*/ 33774 w 392469"/>
                <a:gd name="connsiteY11" fmla="*/ 196391 h 392782"/>
                <a:gd name="connsiteX12" fmla="*/ 81308 w 392469"/>
                <a:gd name="connsiteY12" fmla="*/ 311474 h 392782"/>
                <a:gd name="connsiteX13" fmla="*/ 196391 w 392469"/>
                <a:gd name="connsiteY13" fmla="*/ 359008 h 392782"/>
                <a:gd name="connsiteX14" fmla="*/ 311474 w 392469"/>
                <a:gd name="connsiteY14" fmla="*/ 311474 h 392782"/>
                <a:gd name="connsiteX15" fmla="*/ 311474 w 392469"/>
                <a:gd name="connsiteY15" fmla="*/ 81308 h 392782"/>
                <a:gd name="connsiteX16" fmla="*/ 196391 w 392469"/>
                <a:gd name="connsiteY16" fmla="*/ 33774 h 392782"/>
                <a:gd name="connsiteX17" fmla="*/ 196391 w 392469"/>
                <a:gd name="connsiteY17" fmla="*/ 33774 h 392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92469" h="392782">
                  <a:moveTo>
                    <a:pt x="196391" y="392782"/>
                  </a:moveTo>
                  <a:cubicBezTo>
                    <a:pt x="143853" y="392782"/>
                    <a:pt x="94443" y="372142"/>
                    <a:pt x="57541" y="335241"/>
                  </a:cubicBezTo>
                  <a:cubicBezTo>
                    <a:pt x="20640" y="298339"/>
                    <a:pt x="0" y="248929"/>
                    <a:pt x="0" y="196391"/>
                  </a:cubicBezTo>
                  <a:cubicBezTo>
                    <a:pt x="0" y="143853"/>
                    <a:pt x="20640" y="94443"/>
                    <a:pt x="57541" y="57541"/>
                  </a:cubicBezTo>
                  <a:cubicBezTo>
                    <a:pt x="94443" y="20640"/>
                    <a:pt x="143853" y="0"/>
                    <a:pt x="196391" y="0"/>
                  </a:cubicBezTo>
                  <a:cubicBezTo>
                    <a:pt x="248929" y="0"/>
                    <a:pt x="298339" y="20640"/>
                    <a:pt x="335241" y="57541"/>
                  </a:cubicBezTo>
                  <a:cubicBezTo>
                    <a:pt x="411546" y="133846"/>
                    <a:pt x="411546" y="258311"/>
                    <a:pt x="335241" y="335241"/>
                  </a:cubicBezTo>
                  <a:cubicBezTo>
                    <a:pt x="297714" y="372768"/>
                    <a:pt x="248929" y="392782"/>
                    <a:pt x="196391" y="392782"/>
                  </a:cubicBezTo>
                  <a:lnTo>
                    <a:pt x="196391" y="392782"/>
                  </a:lnTo>
                  <a:close/>
                  <a:moveTo>
                    <a:pt x="196391" y="33774"/>
                  </a:moveTo>
                  <a:cubicBezTo>
                    <a:pt x="152610" y="33774"/>
                    <a:pt x="111956" y="50661"/>
                    <a:pt x="81308" y="81308"/>
                  </a:cubicBezTo>
                  <a:cubicBezTo>
                    <a:pt x="50662" y="111955"/>
                    <a:pt x="33774" y="153235"/>
                    <a:pt x="33774" y="196391"/>
                  </a:cubicBezTo>
                  <a:cubicBezTo>
                    <a:pt x="33774" y="239547"/>
                    <a:pt x="50662" y="280827"/>
                    <a:pt x="81308" y="311474"/>
                  </a:cubicBezTo>
                  <a:cubicBezTo>
                    <a:pt x="111956" y="342121"/>
                    <a:pt x="153235" y="359008"/>
                    <a:pt x="196391" y="359008"/>
                  </a:cubicBezTo>
                  <a:cubicBezTo>
                    <a:pt x="240173" y="359008"/>
                    <a:pt x="280827" y="342121"/>
                    <a:pt x="311474" y="311474"/>
                  </a:cubicBezTo>
                  <a:cubicBezTo>
                    <a:pt x="375270" y="247678"/>
                    <a:pt x="375270" y="144479"/>
                    <a:pt x="311474" y="81308"/>
                  </a:cubicBezTo>
                  <a:cubicBezTo>
                    <a:pt x="280827" y="50661"/>
                    <a:pt x="239547" y="33774"/>
                    <a:pt x="196391" y="33774"/>
                  </a:cubicBezTo>
                  <a:lnTo>
                    <a:pt x="196391" y="33774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39" name="Forma Livre: Forma 138">
              <a:extLst>
                <a:ext uri="{FF2B5EF4-FFF2-40B4-BE49-F238E27FC236}">
                  <a16:creationId xmlns:a16="http://schemas.microsoft.com/office/drawing/2014/main" id="{CF88795F-F1D7-4C64-A7C5-F8581CE1AD7B}"/>
                </a:ext>
              </a:extLst>
            </p:cNvPr>
            <p:cNvSpPr/>
            <p:nvPr/>
          </p:nvSpPr>
          <p:spPr>
            <a:xfrm>
              <a:off x="5403713" y="659758"/>
              <a:ext cx="207717" cy="16261"/>
            </a:xfrm>
            <a:custGeom>
              <a:avLst/>
              <a:gdLst>
                <a:gd name="connsiteX0" fmla="*/ 199518 w 207717"/>
                <a:gd name="connsiteY0" fmla="*/ 16262 h 16261"/>
                <a:gd name="connsiteX1" fmla="*/ 8131 w 207717"/>
                <a:gd name="connsiteY1" fmla="*/ 16262 h 16261"/>
                <a:gd name="connsiteX2" fmla="*/ 0 w 207717"/>
                <a:gd name="connsiteY2" fmla="*/ 8131 h 16261"/>
                <a:gd name="connsiteX3" fmla="*/ 8131 w 207717"/>
                <a:gd name="connsiteY3" fmla="*/ 0 h 16261"/>
                <a:gd name="connsiteX4" fmla="*/ 199518 w 207717"/>
                <a:gd name="connsiteY4" fmla="*/ 0 h 16261"/>
                <a:gd name="connsiteX5" fmla="*/ 207649 w 207717"/>
                <a:gd name="connsiteY5" fmla="*/ 8131 h 16261"/>
                <a:gd name="connsiteX6" fmla="*/ 199518 w 207717"/>
                <a:gd name="connsiteY6" fmla="*/ 16262 h 16261"/>
                <a:gd name="connsiteX7" fmla="*/ 199518 w 207717"/>
                <a:gd name="connsiteY7" fmla="*/ 16262 h 16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7717" h="16261">
                  <a:moveTo>
                    <a:pt x="199518" y="16262"/>
                  </a:moveTo>
                  <a:lnTo>
                    <a:pt x="8131" y="16262"/>
                  </a:lnTo>
                  <a:cubicBezTo>
                    <a:pt x="3753" y="16262"/>
                    <a:pt x="0" y="12509"/>
                    <a:pt x="0" y="8131"/>
                  </a:cubicBezTo>
                  <a:cubicBezTo>
                    <a:pt x="0" y="3753"/>
                    <a:pt x="3753" y="0"/>
                    <a:pt x="8131" y="0"/>
                  </a:cubicBezTo>
                  <a:lnTo>
                    <a:pt x="199518" y="0"/>
                  </a:lnTo>
                  <a:cubicBezTo>
                    <a:pt x="203897" y="0"/>
                    <a:pt x="207649" y="3753"/>
                    <a:pt x="207649" y="8131"/>
                  </a:cubicBezTo>
                  <a:cubicBezTo>
                    <a:pt x="208275" y="12509"/>
                    <a:pt x="204522" y="16262"/>
                    <a:pt x="199518" y="16262"/>
                  </a:cubicBezTo>
                  <a:lnTo>
                    <a:pt x="199518" y="16262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40" name="Forma Livre: Forma 139">
              <a:extLst>
                <a:ext uri="{FF2B5EF4-FFF2-40B4-BE49-F238E27FC236}">
                  <a16:creationId xmlns:a16="http://schemas.microsoft.com/office/drawing/2014/main" id="{C50E9555-5FBB-4866-A550-59B8BDE30631}"/>
                </a:ext>
              </a:extLst>
            </p:cNvPr>
            <p:cNvSpPr/>
            <p:nvPr/>
          </p:nvSpPr>
          <p:spPr>
            <a:xfrm>
              <a:off x="5441352" y="664248"/>
              <a:ext cx="112357" cy="182519"/>
            </a:xfrm>
            <a:custGeom>
              <a:avLst/>
              <a:gdLst>
                <a:gd name="connsiteX0" fmla="*/ 8645 w 112357"/>
                <a:gd name="connsiteY0" fmla="*/ 182519 h 182519"/>
                <a:gd name="connsiteX1" fmla="*/ 4266 w 112357"/>
                <a:gd name="connsiteY1" fmla="*/ 181269 h 182519"/>
                <a:gd name="connsiteX2" fmla="*/ 1139 w 112357"/>
                <a:gd name="connsiteY2" fmla="*/ 170010 h 182519"/>
                <a:gd name="connsiteX3" fmla="*/ 96833 w 112357"/>
                <a:gd name="connsiteY3" fmla="*/ 4266 h 182519"/>
                <a:gd name="connsiteX4" fmla="*/ 108091 w 112357"/>
                <a:gd name="connsiteY4" fmla="*/ 1139 h 182519"/>
                <a:gd name="connsiteX5" fmla="*/ 111218 w 112357"/>
                <a:gd name="connsiteY5" fmla="*/ 12397 h 182519"/>
                <a:gd name="connsiteX6" fmla="*/ 15524 w 112357"/>
                <a:gd name="connsiteY6" fmla="*/ 178141 h 182519"/>
                <a:gd name="connsiteX7" fmla="*/ 8645 w 112357"/>
                <a:gd name="connsiteY7" fmla="*/ 182519 h 182519"/>
                <a:gd name="connsiteX8" fmla="*/ 8645 w 112357"/>
                <a:gd name="connsiteY8" fmla="*/ 182519 h 182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357" h="182519">
                  <a:moveTo>
                    <a:pt x="8645" y="182519"/>
                  </a:moveTo>
                  <a:cubicBezTo>
                    <a:pt x="7394" y="182519"/>
                    <a:pt x="5517" y="181894"/>
                    <a:pt x="4266" y="181269"/>
                  </a:cubicBezTo>
                  <a:cubicBezTo>
                    <a:pt x="514" y="178767"/>
                    <a:pt x="-1363" y="173763"/>
                    <a:pt x="1139" y="170010"/>
                  </a:cubicBezTo>
                  <a:lnTo>
                    <a:pt x="96833" y="4266"/>
                  </a:lnTo>
                  <a:cubicBezTo>
                    <a:pt x="99335" y="514"/>
                    <a:pt x="104338" y="-1363"/>
                    <a:pt x="108091" y="1139"/>
                  </a:cubicBezTo>
                  <a:cubicBezTo>
                    <a:pt x="111844" y="3641"/>
                    <a:pt x="113720" y="8645"/>
                    <a:pt x="111218" y="12397"/>
                  </a:cubicBezTo>
                  <a:lnTo>
                    <a:pt x="15524" y="178141"/>
                  </a:lnTo>
                  <a:cubicBezTo>
                    <a:pt x="14273" y="180643"/>
                    <a:pt x="11772" y="182519"/>
                    <a:pt x="8645" y="182519"/>
                  </a:cubicBezTo>
                  <a:lnTo>
                    <a:pt x="8645" y="182519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41" name="Forma Livre: Forma 140">
              <a:extLst>
                <a:ext uri="{FF2B5EF4-FFF2-40B4-BE49-F238E27FC236}">
                  <a16:creationId xmlns:a16="http://schemas.microsoft.com/office/drawing/2014/main" id="{1EB7221F-7D94-4691-A6E0-82A90AD44318}"/>
                </a:ext>
              </a:extLst>
            </p:cNvPr>
            <p:cNvSpPr/>
            <p:nvPr/>
          </p:nvSpPr>
          <p:spPr>
            <a:xfrm>
              <a:off x="5512517" y="716024"/>
              <a:ext cx="112629" cy="182655"/>
            </a:xfrm>
            <a:custGeom>
              <a:avLst/>
              <a:gdLst>
                <a:gd name="connsiteX0" fmla="*/ 104474 w 112629"/>
                <a:gd name="connsiteY0" fmla="*/ 182655 h 182655"/>
                <a:gd name="connsiteX1" fmla="*/ 96969 w 112629"/>
                <a:gd name="connsiteY1" fmla="*/ 178277 h 182655"/>
                <a:gd name="connsiteX2" fmla="*/ 1275 w 112629"/>
                <a:gd name="connsiteY2" fmla="*/ 12533 h 182655"/>
                <a:gd name="connsiteX3" fmla="*/ 4402 w 112629"/>
                <a:gd name="connsiteY3" fmla="*/ 1275 h 182655"/>
                <a:gd name="connsiteX4" fmla="*/ 15660 w 112629"/>
                <a:gd name="connsiteY4" fmla="*/ 4402 h 182655"/>
                <a:gd name="connsiteX5" fmla="*/ 111354 w 112629"/>
                <a:gd name="connsiteY5" fmla="*/ 170146 h 182655"/>
                <a:gd name="connsiteX6" fmla="*/ 108227 w 112629"/>
                <a:gd name="connsiteY6" fmla="*/ 181404 h 182655"/>
                <a:gd name="connsiteX7" fmla="*/ 104474 w 112629"/>
                <a:gd name="connsiteY7" fmla="*/ 182655 h 182655"/>
                <a:gd name="connsiteX8" fmla="*/ 104474 w 112629"/>
                <a:gd name="connsiteY8" fmla="*/ 182655 h 182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629" h="182655">
                  <a:moveTo>
                    <a:pt x="104474" y="182655"/>
                  </a:moveTo>
                  <a:cubicBezTo>
                    <a:pt x="101347" y="182655"/>
                    <a:pt x="98845" y="181404"/>
                    <a:pt x="96969" y="178277"/>
                  </a:cubicBezTo>
                  <a:lnTo>
                    <a:pt x="1275" y="12533"/>
                  </a:lnTo>
                  <a:cubicBezTo>
                    <a:pt x="-1227" y="8780"/>
                    <a:pt x="24" y="3151"/>
                    <a:pt x="4402" y="1275"/>
                  </a:cubicBezTo>
                  <a:cubicBezTo>
                    <a:pt x="8155" y="-1227"/>
                    <a:pt x="13784" y="24"/>
                    <a:pt x="15660" y="4402"/>
                  </a:cubicBezTo>
                  <a:lnTo>
                    <a:pt x="111354" y="170146"/>
                  </a:lnTo>
                  <a:cubicBezTo>
                    <a:pt x="113856" y="173899"/>
                    <a:pt x="112605" y="179528"/>
                    <a:pt x="108227" y="181404"/>
                  </a:cubicBezTo>
                  <a:cubicBezTo>
                    <a:pt x="106976" y="182655"/>
                    <a:pt x="105725" y="182655"/>
                    <a:pt x="104474" y="182655"/>
                  </a:cubicBezTo>
                  <a:lnTo>
                    <a:pt x="104474" y="182655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42" name="Forma Livre: Forma 141">
              <a:extLst>
                <a:ext uri="{FF2B5EF4-FFF2-40B4-BE49-F238E27FC236}">
                  <a16:creationId xmlns:a16="http://schemas.microsoft.com/office/drawing/2014/main" id="{394A8BC0-F958-489A-BC2C-5D0E439C8325}"/>
                </a:ext>
              </a:extLst>
            </p:cNvPr>
            <p:cNvSpPr/>
            <p:nvPr/>
          </p:nvSpPr>
          <p:spPr>
            <a:xfrm>
              <a:off x="5546315" y="764208"/>
              <a:ext cx="207649" cy="16261"/>
            </a:xfrm>
            <a:custGeom>
              <a:avLst/>
              <a:gdLst>
                <a:gd name="connsiteX0" fmla="*/ 199518 w 207649"/>
                <a:gd name="connsiteY0" fmla="*/ 16262 h 16261"/>
                <a:gd name="connsiteX1" fmla="*/ 8131 w 207649"/>
                <a:gd name="connsiteY1" fmla="*/ 16262 h 16261"/>
                <a:gd name="connsiteX2" fmla="*/ 0 w 207649"/>
                <a:gd name="connsiteY2" fmla="*/ 8131 h 16261"/>
                <a:gd name="connsiteX3" fmla="*/ 8131 w 207649"/>
                <a:gd name="connsiteY3" fmla="*/ 0 h 16261"/>
                <a:gd name="connsiteX4" fmla="*/ 199518 w 207649"/>
                <a:gd name="connsiteY4" fmla="*/ 0 h 16261"/>
                <a:gd name="connsiteX5" fmla="*/ 207649 w 207649"/>
                <a:gd name="connsiteY5" fmla="*/ 8131 h 16261"/>
                <a:gd name="connsiteX6" fmla="*/ 199518 w 207649"/>
                <a:gd name="connsiteY6" fmla="*/ 16262 h 16261"/>
                <a:gd name="connsiteX7" fmla="*/ 199518 w 207649"/>
                <a:gd name="connsiteY7" fmla="*/ 16262 h 16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7649" h="16261">
                  <a:moveTo>
                    <a:pt x="199518" y="16262"/>
                  </a:moveTo>
                  <a:lnTo>
                    <a:pt x="8131" y="16262"/>
                  </a:lnTo>
                  <a:cubicBezTo>
                    <a:pt x="3753" y="16262"/>
                    <a:pt x="0" y="12509"/>
                    <a:pt x="0" y="8131"/>
                  </a:cubicBezTo>
                  <a:cubicBezTo>
                    <a:pt x="0" y="3753"/>
                    <a:pt x="3753" y="0"/>
                    <a:pt x="8131" y="0"/>
                  </a:cubicBezTo>
                  <a:lnTo>
                    <a:pt x="199518" y="0"/>
                  </a:lnTo>
                  <a:cubicBezTo>
                    <a:pt x="203897" y="0"/>
                    <a:pt x="207649" y="3753"/>
                    <a:pt x="207649" y="8131"/>
                  </a:cubicBezTo>
                  <a:cubicBezTo>
                    <a:pt x="207649" y="12509"/>
                    <a:pt x="203897" y="16262"/>
                    <a:pt x="199518" y="16262"/>
                  </a:cubicBezTo>
                  <a:lnTo>
                    <a:pt x="199518" y="16262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43" name="Forma Livre: Forma 142">
              <a:extLst>
                <a:ext uri="{FF2B5EF4-FFF2-40B4-BE49-F238E27FC236}">
                  <a16:creationId xmlns:a16="http://schemas.microsoft.com/office/drawing/2014/main" id="{5BC9784A-4FF2-4482-BDF4-4E3F950F3D3A}"/>
                </a:ext>
              </a:extLst>
            </p:cNvPr>
            <p:cNvSpPr/>
            <p:nvPr/>
          </p:nvSpPr>
          <p:spPr>
            <a:xfrm>
              <a:off x="5603343" y="592947"/>
              <a:ext cx="112357" cy="182519"/>
            </a:xfrm>
            <a:custGeom>
              <a:avLst/>
              <a:gdLst>
                <a:gd name="connsiteX0" fmla="*/ 8644 w 112357"/>
                <a:gd name="connsiteY0" fmla="*/ 182519 h 182519"/>
                <a:gd name="connsiteX1" fmla="*/ 4267 w 112357"/>
                <a:gd name="connsiteY1" fmla="*/ 181269 h 182519"/>
                <a:gd name="connsiteX2" fmla="*/ 1139 w 112357"/>
                <a:gd name="connsiteY2" fmla="*/ 170010 h 182519"/>
                <a:gd name="connsiteX3" fmla="*/ 96833 w 112357"/>
                <a:gd name="connsiteY3" fmla="*/ 4266 h 182519"/>
                <a:gd name="connsiteX4" fmla="*/ 108091 w 112357"/>
                <a:gd name="connsiteY4" fmla="*/ 1139 h 182519"/>
                <a:gd name="connsiteX5" fmla="*/ 111218 w 112357"/>
                <a:gd name="connsiteY5" fmla="*/ 12397 h 182519"/>
                <a:gd name="connsiteX6" fmla="*/ 15525 w 112357"/>
                <a:gd name="connsiteY6" fmla="*/ 178141 h 182519"/>
                <a:gd name="connsiteX7" fmla="*/ 8644 w 112357"/>
                <a:gd name="connsiteY7" fmla="*/ 182519 h 182519"/>
                <a:gd name="connsiteX8" fmla="*/ 8644 w 112357"/>
                <a:gd name="connsiteY8" fmla="*/ 182519 h 182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357" h="182519">
                  <a:moveTo>
                    <a:pt x="8644" y="182519"/>
                  </a:moveTo>
                  <a:cubicBezTo>
                    <a:pt x="7394" y="182519"/>
                    <a:pt x="5517" y="181894"/>
                    <a:pt x="4267" y="181269"/>
                  </a:cubicBezTo>
                  <a:cubicBezTo>
                    <a:pt x="514" y="178767"/>
                    <a:pt x="-1363" y="173763"/>
                    <a:pt x="1139" y="170010"/>
                  </a:cubicBezTo>
                  <a:lnTo>
                    <a:pt x="96833" y="4266"/>
                  </a:lnTo>
                  <a:cubicBezTo>
                    <a:pt x="99334" y="514"/>
                    <a:pt x="104338" y="-1363"/>
                    <a:pt x="108091" y="1139"/>
                  </a:cubicBezTo>
                  <a:cubicBezTo>
                    <a:pt x="111843" y="3641"/>
                    <a:pt x="113720" y="8645"/>
                    <a:pt x="111218" y="12397"/>
                  </a:cubicBezTo>
                  <a:lnTo>
                    <a:pt x="15525" y="178141"/>
                  </a:lnTo>
                  <a:cubicBezTo>
                    <a:pt x="14274" y="181269"/>
                    <a:pt x="11146" y="182519"/>
                    <a:pt x="8644" y="182519"/>
                  </a:cubicBezTo>
                  <a:lnTo>
                    <a:pt x="8644" y="182519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44" name="Forma Livre: Forma 143">
              <a:extLst>
                <a:ext uri="{FF2B5EF4-FFF2-40B4-BE49-F238E27FC236}">
                  <a16:creationId xmlns:a16="http://schemas.microsoft.com/office/drawing/2014/main" id="{8D6B9BFB-181E-4D1B-93C9-0B345365C71F}"/>
                </a:ext>
              </a:extLst>
            </p:cNvPr>
            <p:cNvSpPr/>
            <p:nvPr/>
          </p:nvSpPr>
          <p:spPr>
            <a:xfrm>
              <a:off x="5532532" y="540898"/>
              <a:ext cx="112629" cy="182655"/>
            </a:xfrm>
            <a:custGeom>
              <a:avLst/>
              <a:gdLst>
                <a:gd name="connsiteX0" fmla="*/ 103849 w 112629"/>
                <a:gd name="connsiteY0" fmla="*/ 182655 h 182655"/>
                <a:gd name="connsiteX1" fmla="*/ 96343 w 112629"/>
                <a:gd name="connsiteY1" fmla="*/ 178277 h 182655"/>
                <a:gd name="connsiteX2" fmla="*/ 1275 w 112629"/>
                <a:gd name="connsiteY2" fmla="*/ 12533 h 182655"/>
                <a:gd name="connsiteX3" fmla="*/ 4402 w 112629"/>
                <a:gd name="connsiteY3" fmla="*/ 1275 h 182655"/>
                <a:gd name="connsiteX4" fmla="*/ 15661 w 112629"/>
                <a:gd name="connsiteY4" fmla="*/ 4402 h 182655"/>
                <a:gd name="connsiteX5" fmla="*/ 111354 w 112629"/>
                <a:gd name="connsiteY5" fmla="*/ 170146 h 182655"/>
                <a:gd name="connsiteX6" fmla="*/ 108227 w 112629"/>
                <a:gd name="connsiteY6" fmla="*/ 181404 h 182655"/>
                <a:gd name="connsiteX7" fmla="*/ 103849 w 112629"/>
                <a:gd name="connsiteY7" fmla="*/ 182655 h 182655"/>
                <a:gd name="connsiteX8" fmla="*/ 103849 w 112629"/>
                <a:gd name="connsiteY8" fmla="*/ 182655 h 182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2629" h="182655">
                  <a:moveTo>
                    <a:pt x="103849" y="182655"/>
                  </a:moveTo>
                  <a:cubicBezTo>
                    <a:pt x="100722" y="182655"/>
                    <a:pt x="98220" y="181404"/>
                    <a:pt x="96343" y="178277"/>
                  </a:cubicBezTo>
                  <a:lnTo>
                    <a:pt x="1275" y="12533"/>
                  </a:lnTo>
                  <a:cubicBezTo>
                    <a:pt x="-1227" y="8780"/>
                    <a:pt x="24" y="3151"/>
                    <a:pt x="4402" y="1275"/>
                  </a:cubicBezTo>
                  <a:cubicBezTo>
                    <a:pt x="8155" y="-1227"/>
                    <a:pt x="13784" y="24"/>
                    <a:pt x="15661" y="4402"/>
                  </a:cubicBezTo>
                  <a:lnTo>
                    <a:pt x="111354" y="170146"/>
                  </a:lnTo>
                  <a:cubicBezTo>
                    <a:pt x="113856" y="173899"/>
                    <a:pt x="112605" y="179528"/>
                    <a:pt x="108227" y="181404"/>
                  </a:cubicBezTo>
                  <a:cubicBezTo>
                    <a:pt x="106976" y="182030"/>
                    <a:pt x="105725" y="182655"/>
                    <a:pt x="103849" y="182655"/>
                  </a:cubicBezTo>
                  <a:lnTo>
                    <a:pt x="103849" y="182655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45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1318107" y="517156"/>
            <a:ext cx="399036" cy="397160"/>
            <a:chOff x="1305770" y="517156"/>
            <a:chExt cx="399036" cy="397160"/>
          </a:xfrm>
          <a:solidFill>
            <a:srgbClr val="B1B1A1"/>
          </a:solidFill>
        </p:grpSpPr>
        <p:grpSp>
          <p:nvGrpSpPr>
            <p:cNvPr id="146" name="Gráfico 2">
              <a:extLst>
                <a:ext uri="{FF2B5EF4-FFF2-40B4-BE49-F238E27FC236}">
                  <a16:creationId xmlns:a16="http://schemas.microsoft.com/office/drawing/2014/main" id="{A4E24395-F85F-4E15-8BC9-B92D577D4DAD}"/>
                </a:ext>
              </a:extLst>
            </p:cNvPr>
            <p:cNvGrpSpPr/>
            <p:nvPr/>
          </p:nvGrpSpPr>
          <p:grpSpPr>
            <a:xfrm>
              <a:off x="1305770" y="517156"/>
              <a:ext cx="399036" cy="397160"/>
              <a:chOff x="1305770" y="517156"/>
              <a:chExt cx="399036" cy="397160"/>
            </a:xfrm>
            <a:grpFill/>
          </p:grpSpPr>
          <p:sp>
            <p:nvSpPr>
              <p:cNvPr id="147" name="Forma Livre: Forma 146">
                <a:extLst>
                  <a:ext uri="{FF2B5EF4-FFF2-40B4-BE49-F238E27FC236}">
                    <a16:creationId xmlns:a16="http://schemas.microsoft.com/office/drawing/2014/main" id="{AA177F49-BB45-4135-BCD6-6CC24DA2AF2B}"/>
                  </a:ext>
                </a:extLst>
              </p:cNvPr>
              <p:cNvSpPr/>
              <p:nvPr/>
            </p:nvSpPr>
            <p:spPr>
              <a:xfrm>
                <a:off x="1305770" y="517156"/>
                <a:ext cx="103824" cy="103824"/>
              </a:xfrm>
              <a:custGeom>
                <a:avLst/>
                <a:gdLst>
                  <a:gd name="connsiteX0" fmla="*/ 16887 w 103824"/>
                  <a:gd name="connsiteY0" fmla="*/ 103825 h 103824"/>
                  <a:gd name="connsiteX1" fmla="*/ 0 w 103824"/>
                  <a:gd name="connsiteY1" fmla="*/ 86937 h 103824"/>
                  <a:gd name="connsiteX2" fmla="*/ 0 w 103824"/>
                  <a:gd name="connsiteY2" fmla="*/ 16887 h 103824"/>
                  <a:gd name="connsiteX3" fmla="*/ 16887 w 103824"/>
                  <a:gd name="connsiteY3" fmla="*/ 0 h 103824"/>
                  <a:gd name="connsiteX4" fmla="*/ 86937 w 103824"/>
                  <a:gd name="connsiteY4" fmla="*/ 0 h 103824"/>
                  <a:gd name="connsiteX5" fmla="*/ 103825 w 103824"/>
                  <a:gd name="connsiteY5" fmla="*/ 16887 h 103824"/>
                  <a:gd name="connsiteX6" fmla="*/ 86937 w 103824"/>
                  <a:gd name="connsiteY6" fmla="*/ 33774 h 103824"/>
                  <a:gd name="connsiteX7" fmla="*/ 33149 w 103824"/>
                  <a:gd name="connsiteY7" fmla="*/ 33774 h 103824"/>
                  <a:gd name="connsiteX8" fmla="*/ 33149 w 103824"/>
                  <a:gd name="connsiteY8" fmla="*/ 86937 h 103824"/>
                  <a:gd name="connsiteX9" fmla="*/ 16887 w 103824"/>
                  <a:gd name="connsiteY9" fmla="*/ 103825 h 103824"/>
                  <a:gd name="connsiteX10" fmla="*/ 16887 w 103824"/>
                  <a:gd name="connsiteY10" fmla="*/ 103825 h 103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3824" h="103824">
                    <a:moveTo>
                      <a:pt x="16887" y="103825"/>
                    </a:moveTo>
                    <a:cubicBezTo>
                      <a:pt x="7505" y="103825"/>
                      <a:pt x="0" y="96319"/>
                      <a:pt x="0" y="86937"/>
                    </a:cubicBezTo>
                    <a:lnTo>
                      <a:pt x="0" y="16887"/>
                    </a:lnTo>
                    <a:cubicBezTo>
                      <a:pt x="0" y="7505"/>
                      <a:pt x="7505" y="0"/>
                      <a:pt x="16887" y="0"/>
                    </a:cubicBezTo>
                    <a:lnTo>
                      <a:pt x="86937" y="0"/>
                    </a:lnTo>
                    <a:cubicBezTo>
                      <a:pt x="96319" y="0"/>
                      <a:pt x="103825" y="7505"/>
                      <a:pt x="103825" y="16887"/>
                    </a:cubicBezTo>
                    <a:cubicBezTo>
                      <a:pt x="103825" y="26269"/>
                      <a:pt x="96319" y="33774"/>
                      <a:pt x="86937" y="33774"/>
                    </a:cubicBezTo>
                    <a:lnTo>
                      <a:pt x="33149" y="33774"/>
                    </a:lnTo>
                    <a:lnTo>
                      <a:pt x="33149" y="86937"/>
                    </a:lnTo>
                    <a:cubicBezTo>
                      <a:pt x="33149" y="96319"/>
                      <a:pt x="25643" y="103825"/>
                      <a:pt x="16887" y="103825"/>
                    </a:cubicBezTo>
                    <a:lnTo>
                      <a:pt x="16887" y="103825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48" name="Forma Livre: Forma 147">
                <a:extLst>
                  <a:ext uri="{FF2B5EF4-FFF2-40B4-BE49-F238E27FC236}">
                    <a16:creationId xmlns:a16="http://schemas.microsoft.com/office/drawing/2014/main" id="{71357735-B26B-4D03-B1D3-4C72A1686B3C}"/>
                  </a:ext>
                </a:extLst>
              </p:cNvPr>
              <p:cNvSpPr/>
              <p:nvPr/>
            </p:nvSpPr>
            <p:spPr>
              <a:xfrm>
                <a:off x="1600982" y="517156"/>
                <a:ext cx="103199" cy="103824"/>
              </a:xfrm>
              <a:custGeom>
                <a:avLst/>
                <a:gdLst>
                  <a:gd name="connsiteX0" fmla="*/ 86937 w 103199"/>
                  <a:gd name="connsiteY0" fmla="*/ 103825 h 103824"/>
                  <a:gd name="connsiteX1" fmla="*/ 70050 w 103199"/>
                  <a:gd name="connsiteY1" fmla="*/ 86937 h 103824"/>
                  <a:gd name="connsiteX2" fmla="*/ 70050 w 103199"/>
                  <a:gd name="connsiteY2" fmla="*/ 33774 h 103824"/>
                  <a:gd name="connsiteX3" fmla="*/ 16887 w 103199"/>
                  <a:gd name="connsiteY3" fmla="*/ 33774 h 103824"/>
                  <a:gd name="connsiteX4" fmla="*/ 0 w 103199"/>
                  <a:gd name="connsiteY4" fmla="*/ 16887 h 103824"/>
                  <a:gd name="connsiteX5" fmla="*/ 16262 w 103199"/>
                  <a:gd name="connsiteY5" fmla="*/ 0 h 103824"/>
                  <a:gd name="connsiteX6" fmla="*/ 86312 w 103199"/>
                  <a:gd name="connsiteY6" fmla="*/ 0 h 103824"/>
                  <a:gd name="connsiteX7" fmla="*/ 103199 w 103199"/>
                  <a:gd name="connsiteY7" fmla="*/ 16887 h 103824"/>
                  <a:gd name="connsiteX8" fmla="*/ 103199 w 103199"/>
                  <a:gd name="connsiteY8" fmla="*/ 86937 h 103824"/>
                  <a:gd name="connsiteX9" fmla="*/ 86937 w 103199"/>
                  <a:gd name="connsiteY9" fmla="*/ 103825 h 103824"/>
                  <a:gd name="connsiteX10" fmla="*/ 86937 w 103199"/>
                  <a:gd name="connsiteY10" fmla="*/ 103825 h 103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3199" h="103824">
                    <a:moveTo>
                      <a:pt x="86937" y="103825"/>
                    </a:moveTo>
                    <a:cubicBezTo>
                      <a:pt x="77556" y="103825"/>
                      <a:pt x="70050" y="96319"/>
                      <a:pt x="70050" y="86937"/>
                    </a:cubicBezTo>
                    <a:lnTo>
                      <a:pt x="70050" y="33774"/>
                    </a:lnTo>
                    <a:lnTo>
                      <a:pt x="16887" y="33774"/>
                    </a:lnTo>
                    <a:cubicBezTo>
                      <a:pt x="7505" y="33774"/>
                      <a:pt x="0" y="26269"/>
                      <a:pt x="0" y="16887"/>
                    </a:cubicBezTo>
                    <a:cubicBezTo>
                      <a:pt x="0" y="7505"/>
                      <a:pt x="7505" y="0"/>
                      <a:pt x="16262" y="0"/>
                    </a:cubicBezTo>
                    <a:lnTo>
                      <a:pt x="86312" y="0"/>
                    </a:lnTo>
                    <a:cubicBezTo>
                      <a:pt x="95694" y="0"/>
                      <a:pt x="103199" y="7505"/>
                      <a:pt x="103199" y="16887"/>
                    </a:cubicBezTo>
                    <a:lnTo>
                      <a:pt x="103199" y="86937"/>
                    </a:lnTo>
                    <a:cubicBezTo>
                      <a:pt x="103199" y="96319"/>
                      <a:pt x="95694" y="103825"/>
                      <a:pt x="86937" y="103825"/>
                    </a:cubicBezTo>
                    <a:lnTo>
                      <a:pt x="86937" y="103825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49" name="Forma Livre: Forma 148">
                <a:extLst>
                  <a:ext uri="{FF2B5EF4-FFF2-40B4-BE49-F238E27FC236}">
                    <a16:creationId xmlns:a16="http://schemas.microsoft.com/office/drawing/2014/main" id="{E722014B-2D94-4D3B-AE22-8FE3D028A046}"/>
                  </a:ext>
                </a:extLst>
              </p:cNvPr>
              <p:cNvSpPr/>
              <p:nvPr/>
            </p:nvSpPr>
            <p:spPr>
              <a:xfrm>
                <a:off x="1305770" y="810491"/>
                <a:ext cx="103824" cy="103824"/>
              </a:xfrm>
              <a:custGeom>
                <a:avLst/>
                <a:gdLst>
                  <a:gd name="connsiteX0" fmla="*/ 86937 w 103824"/>
                  <a:gd name="connsiteY0" fmla="*/ 103825 h 103824"/>
                  <a:gd name="connsiteX1" fmla="*/ 16887 w 103824"/>
                  <a:gd name="connsiteY1" fmla="*/ 103825 h 103824"/>
                  <a:gd name="connsiteX2" fmla="*/ 0 w 103824"/>
                  <a:gd name="connsiteY2" fmla="*/ 86937 h 103824"/>
                  <a:gd name="connsiteX3" fmla="*/ 0 w 103824"/>
                  <a:gd name="connsiteY3" fmla="*/ 16887 h 103824"/>
                  <a:gd name="connsiteX4" fmla="*/ 16887 w 103824"/>
                  <a:gd name="connsiteY4" fmla="*/ 0 h 103824"/>
                  <a:gd name="connsiteX5" fmla="*/ 33774 w 103824"/>
                  <a:gd name="connsiteY5" fmla="*/ 16887 h 103824"/>
                  <a:gd name="connsiteX6" fmla="*/ 33774 w 103824"/>
                  <a:gd name="connsiteY6" fmla="*/ 70050 h 103824"/>
                  <a:gd name="connsiteX7" fmla="*/ 86937 w 103824"/>
                  <a:gd name="connsiteY7" fmla="*/ 70050 h 103824"/>
                  <a:gd name="connsiteX8" fmla="*/ 103825 w 103824"/>
                  <a:gd name="connsiteY8" fmla="*/ 86937 h 103824"/>
                  <a:gd name="connsiteX9" fmla="*/ 86937 w 103824"/>
                  <a:gd name="connsiteY9" fmla="*/ 103825 h 103824"/>
                  <a:gd name="connsiteX10" fmla="*/ 86937 w 103824"/>
                  <a:gd name="connsiteY10" fmla="*/ 103825 h 103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3824" h="103824">
                    <a:moveTo>
                      <a:pt x="86937" y="103825"/>
                    </a:moveTo>
                    <a:lnTo>
                      <a:pt x="16887" y="103825"/>
                    </a:lnTo>
                    <a:cubicBezTo>
                      <a:pt x="7505" y="103825"/>
                      <a:pt x="0" y="96319"/>
                      <a:pt x="0" y="86937"/>
                    </a:cubicBezTo>
                    <a:lnTo>
                      <a:pt x="0" y="16887"/>
                    </a:lnTo>
                    <a:cubicBezTo>
                      <a:pt x="0" y="7505"/>
                      <a:pt x="7505" y="0"/>
                      <a:pt x="16887" y="0"/>
                    </a:cubicBezTo>
                    <a:cubicBezTo>
                      <a:pt x="26269" y="0"/>
                      <a:pt x="33774" y="7505"/>
                      <a:pt x="33774" y="16887"/>
                    </a:cubicBezTo>
                    <a:lnTo>
                      <a:pt x="33774" y="70050"/>
                    </a:lnTo>
                    <a:lnTo>
                      <a:pt x="86937" y="70050"/>
                    </a:lnTo>
                    <a:cubicBezTo>
                      <a:pt x="96319" y="70050"/>
                      <a:pt x="103825" y="77556"/>
                      <a:pt x="103825" y="86937"/>
                    </a:cubicBezTo>
                    <a:cubicBezTo>
                      <a:pt x="103825" y="96319"/>
                      <a:pt x="95694" y="103825"/>
                      <a:pt x="86937" y="103825"/>
                    </a:cubicBezTo>
                    <a:lnTo>
                      <a:pt x="86937" y="103825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50" name="Forma Livre: Forma 149">
                <a:extLst>
                  <a:ext uri="{FF2B5EF4-FFF2-40B4-BE49-F238E27FC236}">
                    <a16:creationId xmlns:a16="http://schemas.microsoft.com/office/drawing/2014/main" id="{01B006C5-09CD-4C73-AB13-7174BB39B59E}"/>
                  </a:ext>
                </a:extLst>
              </p:cNvPr>
              <p:cNvSpPr/>
              <p:nvPr/>
            </p:nvSpPr>
            <p:spPr>
              <a:xfrm>
                <a:off x="1600356" y="810491"/>
                <a:ext cx="104450" cy="103824"/>
              </a:xfrm>
              <a:custGeom>
                <a:avLst/>
                <a:gdLst>
                  <a:gd name="connsiteX0" fmla="*/ 87563 w 104450"/>
                  <a:gd name="connsiteY0" fmla="*/ 103825 h 103824"/>
                  <a:gd name="connsiteX1" fmla="*/ 16887 w 104450"/>
                  <a:gd name="connsiteY1" fmla="*/ 103825 h 103824"/>
                  <a:gd name="connsiteX2" fmla="*/ 0 w 104450"/>
                  <a:gd name="connsiteY2" fmla="*/ 86937 h 103824"/>
                  <a:gd name="connsiteX3" fmla="*/ 16887 w 104450"/>
                  <a:gd name="connsiteY3" fmla="*/ 70050 h 103824"/>
                  <a:gd name="connsiteX4" fmla="*/ 70676 w 104450"/>
                  <a:gd name="connsiteY4" fmla="*/ 70050 h 103824"/>
                  <a:gd name="connsiteX5" fmla="*/ 70676 w 104450"/>
                  <a:gd name="connsiteY5" fmla="*/ 16887 h 103824"/>
                  <a:gd name="connsiteX6" fmla="*/ 87563 w 104450"/>
                  <a:gd name="connsiteY6" fmla="*/ 0 h 103824"/>
                  <a:gd name="connsiteX7" fmla="*/ 104450 w 104450"/>
                  <a:gd name="connsiteY7" fmla="*/ 16887 h 103824"/>
                  <a:gd name="connsiteX8" fmla="*/ 104450 w 104450"/>
                  <a:gd name="connsiteY8" fmla="*/ 86937 h 103824"/>
                  <a:gd name="connsiteX9" fmla="*/ 87563 w 104450"/>
                  <a:gd name="connsiteY9" fmla="*/ 103825 h 103824"/>
                  <a:gd name="connsiteX10" fmla="*/ 87563 w 104450"/>
                  <a:gd name="connsiteY10" fmla="*/ 103825 h 103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4450" h="103824">
                    <a:moveTo>
                      <a:pt x="87563" y="103825"/>
                    </a:moveTo>
                    <a:lnTo>
                      <a:pt x="16887" y="103825"/>
                    </a:lnTo>
                    <a:cubicBezTo>
                      <a:pt x="7505" y="103825"/>
                      <a:pt x="0" y="96319"/>
                      <a:pt x="0" y="86937"/>
                    </a:cubicBezTo>
                    <a:cubicBezTo>
                      <a:pt x="0" y="77556"/>
                      <a:pt x="7505" y="70050"/>
                      <a:pt x="16887" y="70050"/>
                    </a:cubicBezTo>
                    <a:lnTo>
                      <a:pt x="70676" y="70050"/>
                    </a:lnTo>
                    <a:lnTo>
                      <a:pt x="70676" y="16887"/>
                    </a:lnTo>
                    <a:cubicBezTo>
                      <a:pt x="70676" y="7505"/>
                      <a:pt x="78181" y="0"/>
                      <a:pt x="87563" y="0"/>
                    </a:cubicBezTo>
                    <a:cubicBezTo>
                      <a:pt x="96945" y="0"/>
                      <a:pt x="104450" y="7505"/>
                      <a:pt x="104450" y="16887"/>
                    </a:cubicBezTo>
                    <a:lnTo>
                      <a:pt x="104450" y="86937"/>
                    </a:lnTo>
                    <a:cubicBezTo>
                      <a:pt x="103825" y="96319"/>
                      <a:pt x="96319" y="103825"/>
                      <a:pt x="87563" y="103825"/>
                    </a:cubicBezTo>
                    <a:lnTo>
                      <a:pt x="87563" y="103825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151" name="Forma Livre: Forma 150">
              <a:extLst>
                <a:ext uri="{FF2B5EF4-FFF2-40B4-BE49-F238E27FC236}">
                  <a16:creationId xmlns:a16="http://schemas.microsoft.com/office/drawing/2014/main" id="{5853669D-70FB-49EE-A4F4-802F4925B395}"/>
                </a:ext>
              </a:extLst>
            </p:cNvPr>
            <p:cNvSpPr/>
            <p:nvPr/>
          </p:nvSpPr>
          <p:spPr>
            <a:xfrm>
              <a:off x="1372693" y="582828"/>
              <a:ext cx="265190" cy="265190"/>
            </a:xfrm>
            <a:custGeom>
              <a:avLst/>
              <a:gdLst>
                <a:gd name="connsiteX0" fmla="*/ 247678 w 265190"/>
                <a:gd name="connsiteY0" fmla="*/ 265191 h 265190"/>
                <a:gd name="connsiteX1" fmla="*/ 16887 w 265190"/>
                <a:gd name="connsiteY1" fmla="*/ 265191 h 265190"/>
                <a:gd name="connsiteX2" fmla="*/ 0 w 265190"/>
                <a:gd name="connsiteY2" fmla="*/ 248303 h 265190"/>
                <a:gd name="connsiteX3" fmla="*/ 0 w 265190"/>
                <a:gd name="connsiteY3" fmla="*/ 16887 h 265190"/>
                <a:gd name="connsiteX4" fmla="*/ 16887 w 265190"/>
                <a:gd name="connsiteY4" fmla="*/ 0 h 265190"/>
                <a:gd name="connsiteX5" fmla="*/ 248303 w 265190"/>
                <a:gd name="connsiteY5" fmla="*/ 0 h 265190"/>
                <a:gd name="connsiteX6" fmla="*/ 265191 w 265190"/>
                <a:gd name="connsiteY6" fmla="*/ 16887 h 265190"/>
                <a:gd name="connsiteX7" fmla="*/ 265191 w 265190"/>
                <a:gd name="connsiteY7" fmla="*/ 248303 h 265190"/>
                <a:gd name="connsiteX8" fmla="*/ 247678 w 265190"/>
                <a:gd name="connsiteY8" fmla="*/ 265191 h 265190"/>
                <a:gd name="connsiteX9" fmla="*/ 247678 w 265190"/>
                <a:gd name="connsiteY9" fmla="*/ 265191 h 265190"/>
                <a:gd name="connsiteX10" fmla="*/ 33149 w 265190"/>
                <a:gd name="connsiteY10" fmla="*/ 232042 h 265190"/>
                <a:gd name="connsiteX11" fmla="*/ 230791 w 265190"/>
                <a:gd name="connsiteY11" fmla="*/ 232042 h 265190"/>
                <a:gd name="connsiteX12" fmla="*/ 230791 w 265190"/>
                <a:gd name="connsiteY12" fmla="*/ 33774 h 265190"/>
                <a:gd name="connsiteX13" fmla="*/ 33149 w 265190"/>
                <a:gd name="connsiteY13" fmla="*/ 33774 h 265190"/>
                <a:gd name="connsiteX14" fmla="*/ 33149 w 265190"/>
                <a:gd name="connsiteY14" fmla="*/ 232042 h 265190"/>
                <a:gd name="connsiteX15" fmla="*/ 33149 w 265190"/>
                <a:gd name="connsiteY15" fmla="*/ 232042 h 265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5190" h="265190">
                  <a:moveTo>
                    <a:pt x="247678" y="265191"/>
                  </a:moveTo>
                  <a:lnTo>
                    <a:pt x="16887" y="265191"/>
                  </a:lnTo>
                  <a:cubicBezTo>
                    <a:pt x="7505" y="265191"/>
                    <a:pt x="0" y="257685"/>
                    <a:pt x="0" y="248303"/>
                  </a:cubicBezTo>
                  <a:lnTo>
                    <a:pt x="0" y="16887"/>
                  </a:lnTo>
                  <a:cubicBezTo>
                    <a:pt x="0" y="7505"/>
                    <a:pt x="7505" y="0"/>
                    <a:pt x="16887" y="0"/>
                  </a:cubicBezTo>
                  <a:lnTo>
                    <a:pt x="248303" y="0"/>
                  </a:lnTo>
                  <a:cubicBezTo>
                    <a:pt x="257685" y="0"/>
                    <a:pt x="265191" y="7505"/>
                    <a:pt x="265191" y="16887"/>
                  </a:cubicBezTo>
                  <a:lnTo>
                    <a:pt x="265191" y="248303"/>
                  </a:lnTo>
                  <a:cubicBezTo>
                    <a:pt x="264565" y="257685"/>
                    <a:pt x="257060" y="265191"/>
                    <a:pt x="247678" y="265191"/>
                  </a:cubicBezTo>
                  <a:lnTo>
                    <a:pt x="247678" y="265191"/>
                  </a:lnTo>
                  <a:close/>
                  <a:moveTo>
                    <a:pt x="33149" y="232042"/>
                  </a:moveTo>
                  <a:lnTo>
                    <a:pt x="230791" y="232042"/>
                  </a:lnTo>
                  <a:lnTo>
                    <a:pt x="230791" y="33774"/>
                  </a:lnTo>
                  <a:lnTo>
                    <a:pt x="33149" y="33774"/>
                  </a:lnTo>
                  <a:lnTo>
                    <a:pt x="33149" y="232042"/>
                  </a:lnTo>
                  <a:lnTo>
                    <a:pt x="33149" y="232042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52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9500234" y="2576813"/>
            <a:ext cx="355880" cy="405863"/>
            <a:chOff x="9487897" y="2576813"/>
            <a:chExt cx="355880" cy="405863"/>
          </a:xfrm>
          <a:solidFill>
            <a:srgbClr val="B1B1A1"/>
          </a:solidFill>
        </p:grpSpPr>
        <p:sp>
          <p:nvSpPr>
            <p:cNvPr id="153" name="Forma Livre: Forma 152">
              <a:extLst>
                <a:ext uri="{FF2B5EF4-FFF2-40B4-BE49-F238E27FC236}">
                  <a16:creationId xmlns:a16="http://schemas.microsoft.com/office/drawing/2014/main" id="{4409FE9A-C349-4149-B708-B65F5B49E9FD}"/>
                </a:ext>
              </a:extLst>
            </p:cNvPr>
            <p:cNvSpPr/>
            <p:nvPr/>
          </p:nvSpPr>
          <p:spPr>
            <a:xfrm>
              <a:off x="9487897" y="2627421"/>
              <a:ext cx="355880" cy="355255"/>
            </a:xfrm>
            <a:custGeom>
              <a:avLst/>
              <a:gdLst>
                <a:gd name="connsiteX0" fmla="*/ 177627 w 355880"/>
                <a:gd name="connsiteY0" fmla="*/ 355255 h 355255"/>
                <a:gd name="connsiteX1" fmla="*/ 0 w 355880"/>
                <a:gd name="connsiteY1" fmla="*/ 177628 h 355255"/>
                <a:gd name="connsiteX2" fmla="*/ 177627 w 355880"/>
                <a:gd name="connsiteY2" fmla="*/ 0 h 355255"/>
                <a:gd name="connsiteX3" fmla="*/ 194515 w 355880"/>
                <a:gd name="connsiteY3" fmla="*/ 16887 h 355255"/>
                <a:gd name="connsiteX4" fmla="*/ 177627 w 355880"/>
                <a:gd name="connsiteY4" fmla="*/ 33774 h 355255"/>
                <a:gd name="connsiteX5" fmla="*/ 33148 w 355880"/>
                <a:gd name="connsiteY5" fmla="*/ 178253 h 355255"/>
                <a:gd name="connsiteX6" fmla="*/ 177627 w 355880"/>
                <a:gd name="connsiteY6" fmla="*/ 322732 h 355255"/>
                <a:gd name="connsiteX7" fmla="*/ 322106 w 355880"/>
                <a:gd name="connsiteY7" fmla="*/ 178253 h 355255"/>
                <a:gd name="connsiteX8" fmla="*/ 338993 w 355880"/>
                <a:gd name="connsiteY8" fmla="*/ 161366 h 355255"/>
                <a:gd name="connsiteX9" fmla="*/ 355880 w 355880"/>
                <a:gd name="connsiteY9" fmla="*/ 178253 h 355255"/>
                <a:gd name="connsiteX10" fmla="*/ 177627 w 355880"/>
                <a:gd name="connsiteY10" fmla="*/ 355255 h 355255"/>
                <a:gd name="connsiteX11" fmla="*/ 177627 w 355880"/>
                <a:gd name="connsiteY11" fmla="*/ 355255 h 355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55880" h="355255">
                  <a:moveTo>
                    <a:pt x="177627" y="355255"/>
                  </a:moveTo>
                  <a:cubicBezTo>
                    <a:pt x="79432" y="355255"/>
                    <a:pt x="0" y="275823"/>
                    <a:pt x="0" y="177628"/>
                  </a:cubicBezTo>
                  <a:cubicBezTo>
                    <a:pt x="0" y="79432"/>
                    <a:pt x="79432" y="0"/>
                    <a:pt x="177627" y="0"/>
                  </a:cubicBezTo>
                  <a:cubicBezTo>
                    <a:pt x="187009" y="0"/>
                    <a:pt x="194515" y="7505"/>
                    <a:pt x="194515" y="16887"/>
                  </a:cubicBezTo>
                  <a:cubicBezTo>
                    <a:pt x="194515" y="26269"/>
                    <a:pt x="187009" y="33774"/>
                    <a:pt x="177627" y="33774"/>
                  </a:cubicBezTo>
                  <a:cubicBezTo>
                    <a:pt x="98195" y="33774"/>
                    <a:pt x="33148" y="98821"/>
                    <a:pt x="33148" y="178253"/>
                  </a:cubicBezTo>
                  <a:cubicBezTo>
                    <a:pt x="33148" y="257685"/>
                    <a:pt x="98195" y="322732"/>
                    <a:pt x="177627" y="322732"/>
                  </a:cubicBezTo>
                  <a:cubicBezTo>
                    <a:pt x="257059" y="322732"/>
                    <a:pt x="322106" y="257685"/>
                    <a:pt x="322106" y="178253"/>
                  </a:cubicBezTo>
                  <a:cubicBezTo>
                    <a:pt x="322106" y="168871"/>
                    <a:pt x="329611" y="161366"/>
                    <a:pt x="338993" y="161366"/>
                  </a:cubicBezTo>
                  <a:cubicBezTo>
                    <a:pt x="348375" y="161366"/>
                    <a:pt x="355880" y="168871"/>
                    <a:pt x="355880" y="178253"/>
                  </a:cubicBezTo>
                  <a:cubicBezTo>
                    <a:pt x="355255" y="275198"/>
                    <a:pt x="275198" y="355255"/>
                    <a:pt x="177627" y="355255"/>
                  </a:cubicBezTo>
                  <a:lnTo>
                    <a:pt x="177627" y="355255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54" name="Forma Livre: Forma 153">
              <a:extLst>
                <a:ext uri="{FF2B5EF4-FFF2-40B4-BE49-F238E27FC236}">
                  <a16:creationId xmlns:a16="http://schemas.microsoft.com/office/drawing/2014/main" id="{98AFDF80-9248-49D4-B28F-6132594B68FD}"/>
                </a:ext>
              </a:extLst>
            </p:cNvPr>
            <p:cNvSpPr/>
            <p:nvPr/>
          </p:nvSpPr>
          <p:spPr>
            <a:xfrm>
              <a:off x="9625549" y="2576813"/>
              <a:ext cx="79222" cy="135043"/>
            </a:xfrm>
            <a:custGeom>
              <a:avLst/>
              <a:gdLst>
                <a:gd name="connsiteX0" fmla="*/ 16834 w 79222"/>
                <a:gd name="connsiteY0" fmla="*/ 135044 h 135043"/>
                <a:gd name="connsiteX1" fmla="*/ 5576 w 79222"/>
                <a:gd name="connsiteY1" fmla="*/ 130666 h 135043"/>
                <a:gd name="connsiteX2" fmla="*/ 4325 w 79222"/>
                <a:gd name="connsiteY2" fmla="*/ 106899 h 135043"/>
                <a:gd name="connsiteX3" fmla="*/ 39975 w 79222"/>
                <a:gd name="connsiteY3" fmla="*/ 67495 h 135043"/>
                <a:gd name="connsiteX4" fmla="*/ 4325 w 79222"/>
                <a:gd name="connsiteY4" fmla="*/ 28092 h 135043"/>
                <a:gd name="connsiteX5" fmla="*/ 5576 w 79222"/>
                <a:gd name="connsiteY5" fmla="*/ 4325 h 135043"/>
                <a:gd name="connsiteX6" fmla="*/ 29343 w 79222"/>
                <a:gd name="connsiteY6" fmla="*/ 5576 h 135043"/>
                <a:gd name="connsiteX7" fmla="*/ 75001 w 79222"/>
                <a:gd name="connsiteY7" fmla="*/ 56237 h 135043"/>
                <a:gd name="connsiteX8" fmla="*/ 75001 w 79222"/>
                <a:gd name="connsiteY8" fmla="*/ 78753 h 135043"/>
                <a:gd name="connsiteX9" fmla="*/ 29343 w 79222"/>
                <a:gd name="connsiteY9" fmla="*/ 129415 h 135043"/>
                <a:gd name="connsiteX10" fmla="*/ 16834 w 79222"/>
                <a:gd name="connsiteY10" fmla="*/ 135044 h 135043"/>
                <a:gd name="connsiteX11" fmla="*/ 16834 w 79222"/>
                <a:gd name="connsiteY11" fmla="*/ 135044 h 135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9222" h="135043">
                  <a:moveTo>
                    <a:pt x="16834" y="135044"/>
                  </a:moveTo>
                  <a:cubicBezTo>
                    <a:pt x="13082" y="135044"/>
                    <a:pt x="8703" y="133793"/>
                    <a:pt x="5576" y="130666"/>
                  </a:cubicBezTo>
                  <a:cubicBezTo>
                    <a:pt x="-1304" y="124411"/>
                    <a:pt x="-1929" y="113779"/>
                    <a:pt x="4325" y="106899"/>
                  </a:cubicBezTo>
                  <a:lnTo>
                    <a:pt x="39975" y="67495"/>
                  </a:lnTo>
                  <a:lnTo>
                    <a:pt x="4325" y="28092"/>
                  </a:lnTo>
                  <a:cubicBezTo>
                    <a:pt x="-1929" y="21212"/>
                    <a:pt x="-1304" y="10580"/>
                    <a:pt x="5576" y="4325"/>
                  </a:cubicBezTo>
                  <a:cubicBezTo>
                    <a:pt x="12456" y="-1929"/>
                    <a:pt x="23089" y="-1304"/>
                    <a:pt x="29343" y="5576"/>
                  </a:cubicBezTo>
                  <a:lnTo>
                    <a:pt x="75001" y="56237"/>
                  </a:lnTo>
                  <a:cubicBezTo>
                    <a:pt x="80630" y="62492"/>
                    <a:pt x="80630" y="71873"/>
                    <a:pt x="75001" y="78753"/>
                  </a:cubicBezTo>
                  <a:lnTo>
                    <a:pt x="29343" y="129415"/>
                  </a:lnTo>
                  <a:cubicBezTo>
                    <a:pt x="26216" y="133168"/>
                    <a:pt x="21838" y="135044"/>
                    <a:pt x="16834" y="135044"/>
                  </a:cubicBezTo>
                  <a:lnTo>
                    <a:pt x="16834" y="135044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155" name="Gráfico 2">
              <a:extLst>
                <a:ext uri="{FF2B5EF4-FFF2-40B4-BE49-F238E27FC236}">
                  <a16:creationId xmlns:a16="http://schemas.microsoft.com/office/drawing/2014/main" id="{A4E24395-F85F-4E15-8BC9-B92D577D4DAD}"/>
                </a:ext>
              </a:extLst>
            </p:cNvPr>
            <p:cNvGrpSpPr/>
            <p:nvPr/>
          </p:nvGrpSpPr>
          <p:grpSpPr>
            <a:xfrm>
              <a:off x="9587969" y="2749384"/>
              <a:ext cx="165744" cy="110079"/>
              <a:chOff x="9587969" y="2749384"/>
              <a:chExt cx="165744" cy="110079"/>
            </a:xfrm>
            <a:grpFill/>
          </p:grpSpPr>
          <p:sp>
            <p:nvSpPr>
              <p:cNvPr id="156" name="Forma Livre: Forma 155">
                <a:extLst>
                  <a:ext uri="{FF2B5EF4-FFF2-40B4-BE49-F238E27FC236}">
                    <a16:creationId xmlns:a16="http://schemas.microsoft.com/office/drawing/2014/main" id="{AA40BBBA-13A5-45FE-9976-FC8BCE107A9A}"/>
                  </a:ext>
                </a:extLst>
              </p:cNvPr>
              <p:cNvSpPr/>
              <p:nvPr/>
            </p:nvSpPr>
            <p:spPr>
              <a:xfrm>
                <a:off x="9587969" y="2751260"/>
                <a:ext cx="75679" cy="108202"/>
              </a:xfrm>
              <a:custGeom>
                <a:avLst/>
                <a:gdLst>
                  <a:gd name="connsiteX0" fmla="*/ 25643 w 75679"/>
                  <a:gd name="connsiteY0" fmla="*/ 90690 h 108202"/>
                  <a:gd name="connsiteX1" fmla="*/ 63796 w 75679"/>
                  <a:gd name="connsiteY1" fmla="*/ 90690 h 108202"/>
                  <a:gd name="connsiteX2" fmla="*/ 72552 w 75679"/>
                  <a:gd name="connsiteY2" fmla="*/ 93192 h 108202"/>
                  <a:gd name="connsiteX3" fmla="*/ 75679 w 75679"/>
                  <a:gd name="connsiteY3" fmla="*/ 99446 h 108202"/>
                  <a:gd name="connsiteX4" fmla="*/ 73177 w 75679"/>
                  <a:gd name="connsiteY4" fmla="*/ 105701 h 108202"/>
                  <a:gd name="connsiteX5" fmla="*/ 65672 w 75679"/>
                  <a:gd name="connsiteY5" fmla="*/ 108203 h 108202"/>
                  <a:gd name="connsiteX6" fmla="*/ 11883 w 75679"/>
                  <a:gd name="connsiteY6" fmla="*/ 108203 h 108202"/>
                  <a:gd name="connsiteX7" fmla="*/ 3127 w 75679"/>
                  <a:gd name="connsiteY7" fmla="*/ 105075 h 108202"/>
                  <a:gd name="connsiteX8" fmla="*/ 0 w 75679"/>
                  <a:gd name="connsiteY8" fmla="*/ 98195 h 108202"/>
                  <a:gd name="connsiteX9" fmla="*/ 1876 w 75679"/>
                  <a:gd name="connsiteY9" fmla="*/ 91315 h 108202"/>
                  <a:gd name="connsiteX10" fmla="*/ 6254 w 75679"/>
                  <a:gd name="connsiteY10" fmla="*/ 84436 h 108202"/>
                  <a:gd name="connsiteX11" fmla="*/ 23767 w 75679"/>
                  <a:gd name="connsiteY11" fmla="*/ 66923 h 108202"/>
                  <a:gd name="connsiteX12" fmla="*/ 35025 w 75679"/>
                  <a:gd name="connsiteY12" fmla="*/ 57541 h 108202"/>
                  <a:gd name="connsiteX13" fmla="*/ 45032 w 75679"/>
                  <a:gd name="connsiteY13" fmla="*/ 48785 h 108202"/>
                  <a:gd name="connsiteX14" fmla="*/ 51287 w 75679"/>
                  <a:gd name="connsiteY14" fmla="*/ 40029 h 108202"/>
                  <a:gd name="connsiteX15" fmla="*/ 53163 w 75679"/>
                  <a:gd name="connsiteY15" fmla="*/ 31272 h 108202"/>
                  <a:gd name="connsiteX16" fmla="*/ 50661 w 75679"/>
                  <a:gd name="connsiteY16" fmla="*/ 23142 h 108202"/>
                  <a:gd name="connsiteX17" fmla="*/ 44407 w 75679"/>
                  <a:gd name="connsiteY17" fmla="*/ 17513 h 108202"/>
                  <a:gd name="connsiteX18" fmla="*/ 36276 w 75679"/>
                  <a:gd name="connsiteY18" fmla="*/ 15636 h 108202"/>
                  <a:gd name="connsiteX19" fmla="*/ 21265 w 75679"/>
                  <a:gd name="connsiteY19" fmla="*/ 23767 h 108202"/>
                  <a:gd name="connsiteX20" fmla="*/ 18763 w 75679"/>
                  <a:gd name="connsiteY20" fmla="*/ 30021 h 108202"/>
                  <a:gd name="connsiteX21" fmla="*/ 15010 w 75679"/>
                  <a:gd name="connsiteY21" fmla="*/ 37527 h 108202"/>
                  <a:gd name="connsiteX22" fmla="*/ 8756 w 75679"/>
                  <a:gd name="connsiteY22" fmla="*/ 40029 h 108202"/>
                  <a:gd name="connsiteX23" fmla="*/ 2501 w 75679"/>
                  <a:gd name="connsiteY23" fmla="*/ 37527 h 108202"/>
                  <a:gd name="connsiteX24" fmla="*/ 0 w 75679"/>
                  <a:gd name="connsiteY24" fmla="*/ 30647 h 108202"/>
                  <a:gd name="connsiteX25" fmla="*/ 2501 w 75679"/>
                  <a:gd name="connsiteY25" fmla="*/ 20014 h 108202"/>
                  <a:gd name="connsiteX26" fmla="*/ 9382 w 75679"/>
                  <a:gd name="connsiteY26" fmla="*/ 10007 h 108202"/>
                  <a:gd name="connsiteX27" fmla="*/ 20639 w 75679"/>
                  <a:gd name="connsiteY27" fmla="*/ 2502 h 108202"/>
                  <a:gd name="connsiteX28" fmla="*/ 36901 w 75679"/>
                  <a:gd name="connsiteY28" fmla="*/ 0 h 108202"/>
                  <a:gd name="connsiteX29" fmla="*/ 56290 w 75679"/>
                  <a:gd name="connsiteY29" fmla="*/ 3753 h 108202"/>
                  <a:gd name="connsiteX30" fmla="*/ 65046 w 75679"/>
                  <a:gd name="connsiteY30" fmla="*/ 10007 h 108202"/>
                  <a:gd name="connsiteX31" fmla="*/ 71301 w 75679"/>
                  <a:gd name="connsiteY31" fmla="*/ 19389 h 108202"/>
                  <a:gd name="connsiteX32" fmla="*/ 73177 w 75679"/>
                  <a:gd name="connsiteY32" fmla="*/ 30647 h 108202"/>
                  <a:gd name="connsiteX33" fmla="*/ 68799 w 75679"/>
                  <a:gd name="connsiteY33" fmla="*/ 46909 h 108202"/>
                  <a:gd name="connsiteX34" fmla="*/ 59418 w 75679"/>
                  <a:gd name="connsiteY34" fmla="*/ 58792 h 108202"/>
                  <a:gd name="connsiteX35" fmla="*/ 43781 w 75679"/>
                  <a:gd name="connsiteY35" fmla="*/ 71927 h 108202"/>
                  <a:gd name="connsiteX36" fmla="*/ 28771 w 75679"/>
                  <a:gd name="connsiteY36" fmla="*/ 85686 h 108202"/>
                  <a:gd name="connsiteX37" fmla="*/ 25643 w 75679"/>
                  <a:gd name="connsiteY37" fmla="*/ 90690 h 108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75679" h="108202">
                    <a:moveTo>
                      <a:pt x="25643" y="90690"/>
                    </a:moveTo>
                    <a:lnTo>
                      <a:pt x="63796" y="90690"/>
                    </a:lnTo>
                    <a:cubicBezTo>
                      <a:pt x="67548" y="90690"/>
                      <a:pt x="70675" y="91315"/>
                      <a:pt x="72552" y="93192"/>
                    </a:cubicBezTo>
                    <a:cubicBezTo>
                      <a:pt x="74428" y="94443"/>
                      <a:pt x="75679" y="96945"/>
                      <a:pt x="75679" y="99446"/>
                    </a:cubicBezTo>
                    <a:cubicBezTo>
                      <a:pt x="75679" y="101948"/>
                      <a:pt x="75054" y="103824"/>
                      <a:pt x="73177" y="105701"/>
                    </a:cubicBezTo>
                    <a:cubicBezTo>
                      <a:pt x="71301" y="107577"/>
                      <a:pt x="69425" y="108203"/>
                      <a:pt x="65672" y="108203"/>
                    </a:cubicBezTo>
                    <a:lnTo>
                      <a:pt x="11883" y="108203"/>
                    </a:lnTo>
                    <a:cubicBezTo>
                      <a:pt x="8130" y="108203"/>
                      <a:pt x="5628" y="106952"/>
                      <a:pt x="3127" y="105075"/>
                    </a:cubicBezTo>
                    <a:cubicBezTo>
                      <a:pt x="1251" y="103199"/>
                      <a:pt x="0" y="100697"/>
                      <a:pt x="0" y="98195"/>
                    </a:cubicBezTo>
                    <a:cubicBezTo>
                      <a:pt x="0" y="96319"/>
                      <a:pt x="625" y="93817"/>
                      <a:pt x="1876" y="91315"/>
                    </a:cubicBezTo>
                    <a:cubicBezTo>
                      <a:pt x="3127" y="88188"/>
                      <a:pt x="4378" y="86312"/>
                      <a:pt x="6254" y="84436"/>
                    </a:cubicBezTo>
                    <a:cubicBezTo>
                      <a:pt x="12509" y="77556"/>
                      <a:pt x="18763" y="71927"/>
                      <a:pt x="23767" y="66923"/>
                    </a:cubicBezTo>
                    <a:cubicBezTo>
                      <a:pt x="28771" y="61919"/>
                      <a:pt x="32523" y="58792"/>
                      <a:pt x="35025" y="57541"/>
                    </a:cubicBezTo>
                    <a:cubicBezTo>
                      <a:pt x="38778" y="54414"/>
                      <a:pt x="42530" y="51912"/>
                      <a:pt x="45032" y="48785"/>
                    </a:cubicBezTo>
                    <a:cubicBezTo>
                      <a:pt x="47534" y="45658"/>
                      <a:pt x="49410" y="43156"/>
                      <a:pt x="51287" y="40029"/>
                    </a:cubicBezTo>
                    <a:cubicBezTo>
                      <a:pt x="52537" y="36901"/>
                      <a:pt x="53163" y="34400"/>
                      <a:pt x="53163" y="31272"/>
                    </a:cubicBezTo>
                    <a:cubicBezTo>
                      <a:pt x="53163" y="28145"/>
                      <a:pt x="52537" y="25643"/>
                      <a:pt x="50661" y="23142"/>
                    </a:cubicBezTo>
                    <a:cubicBezTo>
                      <a:pt x="49410" y="20640"/>
                      <a:pt x="46909" y="18763"/>
                      <a:pt x="44407" y="17513"/>
                    </a:cubicBezTo>
                    <a:cubicBezTo>
                      <a:pt x="41905" y="16262"/>
                      <a:pt x="38778" y="15636"/>
                      <a:pt x="36276" y="15636"/>
                    </a:cubicBezTo>
                    <a:cubicBezTo>
                      <a:pt x="30021" y="15636"/>
                      <a:pt x="25018" y="18763"/>
                      <a:pt x="21265" y="23767"/>
                    </a:cubicBezTo>
                    <a:cubicBezTo>
                      <a:pt x="20639" y="24392"/>
                      <a:pt x="20014" y="26269"/>
                      <a:pt x="18763" y="30021"/>
                    </a:cubicBezTo>
                    <a:cubicBezTo>
                      <a:pt x="17512" y="33149"/>
                      <a:pt x="16262" y="35650"/>
                      <a:pt x="15010" y="37527"/>
                    </a:cubicBezTo>
                    <a:cubicBezTo>
                      <a:pt x="13760" y="39403"/>
                      <a:pt x="11258" y="40029"/>
                      <a:pt x="8756" y="40029"/>
                    </a:cubicBezTo>
                    <a:cubicBezTo>
                      <a:pt x="6254" y="40029"/>
                      <a:pt x="4378" y="39403"/>
                      <a:pt x="2501" y="37527"/>
                    </a:cubicBezTo>
                    <a:cubicBezTo>
                      <a:pt x="625" y="35650"/>
                      <a:pt x="0" y="33774"/>
                      <a:pt x="0" y="30647"/>
                    </a:cubicBezTo>
                    <a:cubicBezTo>
                      <a:pt x="0" y="27520"/>
                      <a:pt x="625" y="23767"/>
                      <a:pt x="2501" y="20014"/>
                    </a:cubicBezTo>
                    <a:cubicBezTo>
                      <a:pt x="3753" y="16262"/>
                      <a:pt x="6254" y="13134"/>
                      <a:pt x="9382" y="10007"/>
                    </a:cubicBezTo>
                    <a:cubicBezTo>
                      <a:pt x="12509" y="6880"/>
                      <a:pt x="16262" y="4378"/>
                      <a:pt x="20639" y="2502"/>
                    </a:cubicBezTo>
                    <a:cubicBezTo>
                      <a:pt x="25018" y="625"/>
                      <a:pt x="30646" y="0"/>
                      <a:pt x="36901" y="0"/>
                    </a:cubicBezTo>
                    <a:cubicBezTo>
                      <a:pt x="44407" y="0"/>
                      <a:pt x="50661" y="1251"/>
                      <a:pt x="56290" y="3753"/>
                    </a:cubicBezTo>
                    <a:cubicBezTo>
                      <a:pt x="59418" y="5629"/>
                      <a:pt x="62545" y="7505"/>
                      <a:pt x="65046" y="10007"/>
                    </a:cubicBezTo>
                    <a:cubicBezTo>
                      <a:pt x="67548" y="12509"/>
                      <a:pt x="69425" y="15636"/>
                      <a:pt x="71301" y="19389"/>
                    </a:cubicBezTo>
                    <a:cubicBezTo>
                      <a:pt x="72552" y="23142"/>
                      <a:pt x="73177" y="26894"/>
                      <a:pt x="73177" y="30647"/>
                    </a:cubicBezTo>
                    <a:cubicBezTo>
                      <a:pt x="73177" y="36901"/>
                      <a:pt x="71927" y="41905"/>
                      <a:pt x="68799" y="46909"/>
                    </a:cubicBezTo>
                    <a:cubicBezTo>
                      <a:pt x="65672" y="51912"/>
                      <a:pt x="62545" y="55665"/>
                      <a:pt x="59418" y="58792"/>
                    </a:cubicBezTo>
                    <a:cubicBezTo>
                      <a:pt x="56290" y="61294"/>
                      <a:pt x="51287" y="66297"/>
                      <a:pt x="43781" y="71927"/>
                    </a:cubicBezTo>
                    <a:cubicBezTo>
                      <a:pt x="36276" y="78181"/>
                      <a:pt x="31272" y="82559"/>
                      <a:pt x="28771" y="85686"/>
                    </a:cubicBezTo>
                    <a:cubicBezTo>
                      <a:pt x="28145" y="87563"/>
                      <a:pt x="26894" y="88814"/>
                      <a:pt x="25643" y="90690"/>
                    </a:cubicBez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57" name="Forma Livre: Forma 156">
                <a:extLst>
                  <a:ext uri="{FF2B5EF4-FFF2-40B4-BE49-F238E27FC236}">
                    <a16:creationId xmlns:a16="http://schemas.microsoft.com/office/drawing/2014/main" id="{112083D4-B67E-44E6-BF26-49C3B4726598}"/>
                  </a:ext>
                </a:extLst>
              </p:cNvPr>
              <p:cNvSpPr/>
              <p:nvPr/>
            </p:nvSpPr>
            <p:spPr>
              <a:xfrm>
                <a:off x="9670528" y="2749384"/>
                <a:ext cx="83185" cy="110079"/>
              </a:xfrm>
              <a:custGeom>
                <a:avLst/>
                <a:gdLst>
                  <a:gd name="connsiteX0" fmla="*/ 51287 w 83185"/>
                  <a:gd name="connsiteY0" fmla="*/ 100697 h 110079"/>
                  <a:gd name="connsiteX1" fmla="*/ 51287 w 83185"/>
                  <a:gd name="connsiteY1" fmla="*/ 86937 h 110079"/>
                  <a:gd name="connsiteX2" fmla="*/ 14386 w 83185"/>
                  <a:gd name="connsiteY2" fmla="*/ 86937 h 110079"/>
                  <a:gd name="connsiteX3" fmla="*/ 3753 w 83185"/>
                  <a:gd name="connsiteY3" fmla="*/ 83810 h 110079"/>
                  <a:gd name="connsiteX4" fmla="*/ 0 w 83185"/>
                  <a:gd name="connsiteY4" fmla="*/ 75054 h 110079"/>
                  <a:gd name="connsiteX5" fmla="*/ 625 w 83185"/>
                  <a:gd name="connsiteY5" fmla="*/ 71927 h 110079"/>
                  <a:gd name="connsiteX6" fmla="*/ 1877 w 83185"/>
                  <a:gd name="connsiteY6" fmla="*/ 68799 h 110079"/>
                  <a:gd name="connsiteX7" fmla="*/ 3753 w 83185"/>
                  <a:gd name="connsiteY7" fmla="*/ 65672 h 110079"/>
                  <a:gd name="connsiteX8" fmla="*/ 6254 w 83185"/>
                  <a:gd name="connsiteY8" fmla="*/ 61919 h 110079"/>
                  <a:gd name="connsiteX9" fmla="*/ 45032 w 83185"/>
                  <a:gd name="connsiteY9" fmla="*/ 10007 h 110079"/>
                  <a:gd name="connsiteX10" fmla="*/ 51287 w 83185"/>
                  <a:gd name="connsiteY10" fmla="*/ 2502 h 110079"/>
                  <a:gd name="connsiteX11" fmla="*/ 56916 w 83185"/>
                  <a:gd name="connsiteY11" fmla="*/ 0 h 110079"/>
                  <a:gd name="connsiteX12" fmla="*/ 68174 w 83185"/>
                  <a:gd name="connsiteY12" fmla="*/ 12509 h 110079"/>
                  <a:gd name="connsiteX13" fmla="*/ 68174 w 83185"/>
                  <a:gd name="connsiteY13" fmla="*/ 69425 h 110079"/>
                  <a:gd name="connsiteX14" fmla="*/ 71301 w 83185"/>
                  <a:gd name="connsiteY14" fmla="*/ 69425 h 110079"/>
                  <a:gd name="connsiteX15" fmla="*/ 80058 w 83185"/>
                  <a:gd name="connsiteY15" fmla="*/ 70676 h 110079"/>
                  <a:gd name="connsiteX16" fmla="*/ 83185 w 83185"/>
                  <a:gd name="connsiteY16" fmla="*/ 77556 h 110079"/>
                  <a:gd name="connsiteX17" fmla="*/ 80683 w 83185"/>
                  <a:gd name="connsiteY17" fmla="*/ 83810 h 110079"/>
                  <a:gd name="connsiteX18" fmla="*/ 72552 w 83185"/>
                  <a:gd name="connsiteY18" fmla="*/ 85687 h 110079"/>
                  <a:gd name="connsiteX19" fmla="*/ 68174 w 83185"/>
                  <a:gd name="connsiteY19" fmla="*/ 85687 h 110079"/>
                  <a:gd name="connsiteX20" fmla="*/ 68174 w 83185"/>
                  <a:gd name="connsiteY20" fmla="*/ 99446 h 110079"/>
                  <a:gd name="connsiteX21" fmla="*/ 65672 w 83185"/>
                  <a:gd name="connsiteY21" fmla="*/ 107577 h 110079"/>
                  <a:gd name="connsiteX22" fmla="*/ 58792 w 83185"/>
                  <a:gd name="connsiteY22" fmla="*/ 110079 h 110079"/>
                  <a:gd name="connsiteX23" fmla="*/ 51913 w 83185"/>
                  <a:gd name="connsiteY23" fmla="*/ 107577 h 110079"/>
                  <a:gd name="connsiteX24" fmla="*/ 51287 w 83185"/>
                  <a:gd name="connsiteY24" fmla="*/ 100697 h 110079"/>
                  <a:gd name="connsiteX25" fmla="*/ 19389 w 83185"/>
                  <a:gd name="connsiteY25" fmla="*/ 70676 h 110079"/>
                  <a:gd name="connsiteX26" fmla="*/ 50661 w 83185"/>
                  <a:gd name="connsiteY26" fmla="*/ 70676 h 110079"/>
                  <a:gd name="connsiteX27" fmla="*/ 50661 w 83185"/>
                  <a:gd name="connsiteY27" fmla="*/ 28145 h 110079"/>
                  <a:gd name="connsiteX28" fmla="*/ 19389 w 83185"/>
                  <a:gd name="connsiteY28" fmla="*/ 70676 h 110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83185" h="110079">
                    <a:moveTo>
                      <a:pt x="51287" y="100697"/>
                    </a:moveTo>
                    <a:lnTo>
                      <a:pt x="51287" y="86937"/>
                    </a:lnTo>
                    <a:lnTo>
                      <a:pt x="14386" y="86937"/>
                    </a:lnTo>
                    <a:cubicBezTo>
                      <a:pt x="10007" y="86937"/>
                      <a:pt x="6254" y="85687"/>
                      <a:pt x="3753" y="83810"/>
                    </a:cubicBezTo>
                    <a:cubicBezTo>
                      <a:pt x="1251" y="81934"/>
                      <a:pt x="0" y="78807"/>
                      <a:pt x="0" y="75054"/>
                    </a:cubicBezTo>
                    <a:cubicBezTo>
                      <a:pt x="0" y="74428"/>
                      <a:pt x="0" y="73178"/>
                      <a:pt x="625" y="71927"/>
                    </a:cubicBezTo>
                    <a:cubicBezTo>
                      <a:pt x="1251" y="70676"/>
                      <a:pt x="1251" y="70050"/>
                      <a:pt x="1877" y="68799"/>
                    </a:cubicBezTo>
                    <a:cubicBezTo>
                      <a:pt x="2502" y="67549"/>
                      <a:pt x="3127" y="66923"/>
                      <a:pt x="3753" y="65672"/>
                    </a:cubicBezTo>
                    <a:cubicBezTo>
                      <a:pt x="4378" y="64421"/>
                      <a:pt x="5629" y="63796"/>
                      <a:pt x="6254" y="61919"/>
                    </a:cubicBezTo>
                    <a:lnTo>
                      <a:pt x="45032" y="10007"/>
                    </a:lnTo>
                    <a:cubicBezTo>
                      <a:pt x="47534" y="6880"/>
                      <a:pt x="49411" y="4378"/>
                      <a:pt x="51287" y="2502"/>
                    </a:cubicBezTo>
                    <a:cubicBezTo>
                      <a:pt x="53163" y="1251"/>
                      <a:pt x="55040" y="0"/>
                      <a:pt x="56916" y="0"/>
                    </a:cubicBezTo>
                    <a:cubicBezTo>
                      <a:pt x="64422" y="0"/>
                      <a:pt x="68174" y="4378"/>
                      <a:pt x="68174" y="12509"/>
                    </a:cubicBezTo>
                    <a:lnTo>
                      <a:pt x="68174" y="69425"/>
                    </a:lnTo>
                    <a:lnTo>
                      <a:pt x="71301" y="69425"/>
                    </a:lnTo>
                    <a:cubicBezTo>
                      <a:pt x="75054" y="69425"/>
                      <a:pt x="78181" y="70050"/>
                      <a:pt x="80058" y="70676"/>
                    </a:cubicBezTo>
                    <a:cubicBezTo>
                      <a:pt x="82559" y="71927"/>
                      <a:pt x="83185" y="73803"/>
                      <a:pt x="83185" y="77556"/>
                    </a:cubicBezTo>
                    <a:cubicBezTo>
                      <a:pt x="83185" y="80683"/>
                      <a:pt x="82559" y="82559"/>
                      <a:pt x="80683" y="83810"/>
                    </a:cubicBezTo>
                    <a:cubicBezTo>
                      <a:pt x="78806" y="85061"/>
                      <a:pt x="76305" y="85687"/>
                      <a:pt x="72552" y="85687"/>
                    </a:cubicBezTo>
                    <a:lnTo>
                      <a:pt x="68174" y="85687"/>
                    </a:lnTo>
                    <a:lnTo>
                      <a:pt x="68174" y="99446"/>
                    </a:lnTo>
                    <a:cubicBezTo>
                      <a:pt x="68174" y="103199"/>
                      <a:pt x="67549" y="105701"/>
                      <a:pt x="65672" y="107577"/>
                    </a:cubicBezTo>
                    <a:cubicBezTo>
                      <a:pt x="63796" y="109454"/>
                      <a:pt x="61920" y="110079"/>
                      <a:pt x="58792" y="110079"/>
                    </a:cubicBezTo>
                    <a:cubicBezTo>
                      <a:pt x="56290" y="110079"/>
                      <a:pt x="53788" y="109454"/>
                      <a:pt x="51913" y="107577"/>
                    </a:cubicBezTo>
                    <a:cubicBezTo>
                      <a:pt x="51913" y="106952"/>
                      <a:pt x="51287" y="104450"/>
                      <a:pt x="51287" y="100697"/>
                    </a:cubicBezTo>
                    <a:close/>
                    <a:moveTo>
                      <a:pt x="19389" y="70676"/>
                    </a:moveTo>
                    <a:lnTo>
                      <a:pt x="50661" y="70676"/>
                    </a:lnTo>
                    <a:lnTo>
                      <a:pt x="50661" y="28145"/>
                    </a:lnTo>
                    <a:lnTo>
                      <a:pt x="19389" y="70676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158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6430216" y="575948"/>
            <a:ext cx="383400" cy="279575"/>
            <a:chOff x="6417879" y="575948"/>
            <a:chExt cx="383400" cy="279575"/>
          </a:xfrm>
          <a:solidFill>
            <a:srgbClr val="B1B1A1"/>
          </a:solidFill>
        </p:grpSpPr>
        <p:sp>
          <p:nvSpPr>
            <p:cNvPr id="159" name="Forma Livre: Forma 158">
              <a:extLst>
                <a:ext uri="{FF2B5EF4-FFF2-40B4-BE49-F238E27FC236}">
                  <a16:creationId xmlns:a16="http://schemas.microsoft.com/office/drawing/2014/main" id="{3AD8186F-2E1E-4094-AD29-454A71062FCB}"/>
                </a:ext>
              </a:extLst>
            </p:cNvPr>
            <p:cNvSpPr/>
            <p:nvPr/>
          </p:nvSpPr>
          <p:spPr>
            <a:xfrm>
              <a:off x="6417879" y="575948"/>
              <a:ext cx="383400" cy="279575"/>
            </a:xfrm>
            <a:custGeom>
              <a:avLst/>
              <a:gdLst>
                <a:gd name="connsiteX0" fmla="*/ 191700 w 383400"/>
                <a:gd name="connsiteY0" fmla="*/ 279576 h 279575"/>
                <a:gd name="connsiteX1" fmla="*/ 938 w 383400"/>
                <a:gd name="connsiteY1" fmla="*/ 145104 h 279575"/>
                <a:gd name="connsiteX2" fmla="*/ 938 w 383400"/>
                <a:gd name="connsiteY2" fmla="*/ 134472 h 279575"/>
                <a:gd name="connsiteX3" fmla="*/ 191700 w 383400"/>
                <a:gd name="connsiteY3" fmla="*/ 0 h 279575"/>
                <a:gd name="connsiteX4" fmla="*/ 382462 w 383400"/>
                <a:gd name="connsiteY4" fmla="*/ 134472 h 279575"/>
                <a:gd name="connsiteX5" fmla="*/ 382462 w 383400"/>
                <a:gd name="connsiteY5" fmla="*/ 145104 h 279575"/>
                <a:gd name="connsiteX6" fmla="*/ 191700 w 383400"/>
                <a:gd name="connsiteY6" fmla="*/ 279576 h 279575"/>
                <a:gd name="connsiteX7" fmla="*/ 191700 w 383400"/>
                <a:gd name="connsiteY7" fmla="*/ 279576 h 279575"/>
                <a:gd name="connsiteX8" fmla="*/ 34087 w 383400"/>
                <a:gd name="connsiteY8" fmla="*/ 140101 h 279575"/>
                <a:gd name="connsiteX9" fmla="*/ 191700 w 383400"/>
                <a:gd name="connsiteY9" fmla="*/ 246427 h 279575"/>
                <a:gd name="connsiteX10" fmla="*/ 349313 w 383400"/>
                <a:gd name="connsiteY10" fmla="*/ 140101 h 279575"/>
                <a:gd name="connsiteX11" fmla="*/ 191700 w 383400"/>
                <a:gd name="connsiteY11" fmla="*/ 33774 h 279575"/>
                <a:gd name="connsiteX12" fmla="*/ 34087 w 383400"/>
                <a:gd name="connsiteY12" fmla="*/ 140101 h 279575"/>
                <a:gd name="connsiteX13" fmla="*/ 34087 w 383400"/>
                <a:gd name="connsiteY13" fmla="*/ 140101 h 27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83400" h="279575">
                  <a:moveTo>
                    <a:pt x="191700" y="279576"/>
                  </a:moveTo>
                  <a:cubicBezTo>
                    <a:pt x="103512" y="279576"/>
                    <a:pt x="26582" y="225787"/>
                    <a:pt x="938" y="145104"/>
                  </a:cubicBezTo>
                  <a:cubicBezTo>
                    <a:pt x="-313" y="141977"/>
                    <a:pt x="-313" y="138224"/>
                    <a:pt x="938" y="134472"/>
                  </a:cubicBezTo>
                  <a:cubicBezTo>
                    <a:pt x="27207" y="53789"/>
                    <a:pt x="104137" y="0"/>
                    <a:pt x="191700" y="0"/>
                  </a:cubicBezTo>
                  <a:cubicBezTo>
                    <a:pt x="279889" y="0"/>
                    <a:pt x="356819" y="53789"/>
                    <a:pt x="382462" y="134472"/>
                  </a:cubicBezTo>
                  <a:cubicBezTo>
                    <a:pt x="383713" y="137599"/>
                    <a:pt x="383713" y="141352"/>
                    <a:pt x="382462" y="145104"/>
                  </a:cubicBezTo>
                  <a:cubicBezTo>
                    <a:pt x="356819" y="225162"/>
                    <a:pt x="279889" y="279576"/>
                    <a:pt x="191700" y="279576"/>
                  </a:cubicBezTo>
                  <a:lnTo>
                    <a:pt x="191700" y="279576"/>
                  </a:lnTo>
                  <a:close/>
                  <a:moveTo>
                    <a:pt x="34087" y="140101"/>
                  </a:moveTo>
                  <a:cubicBezTo>
                    <a:pt x="57228" y="203896"/>
                    <a:pt x="119773" y="246427"/>
                    <a:pt x="191700" y="246427"/>
                  </a:cubicBezTo>
                  <a:cubicBezTo>
                    <a:pt x="263627" y="246427"/>
                    <a:pt x="326172" y="203896"/>
                    <a:pt x="349313" y="140101"/>
                  </a:cubicBezTo>
                  <a:cubicBezTo>
                    <a:pt x="326172" y="76305"/>
                    <a:pt x="263627" y="33774"/>
                    <a:pt x="191700" y="33774"/>
                  </a:cubicBezTo>
                  <a:cubicBezTo>
                    <a:pt x="120399" y="33774"/>
                    <a:pt x="57854" y="76305"/>
                    <a:pt x="34087" y="140101"/>
                  </a:cubicBezTo>
                  <a:lnTo>
                    <a:pt x="34087" y="140101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60" name="Forma Livre: Forma 159">
              <a:extLst>
                <a:ext uri="{FF2B5EF4-FFF2-40B4-BE49-F238E27FC236}">
                  <a16:creationId xmlns:a16="http://schemas.microsoft.com/office/drawing/2014/main" id="{15FB7D3B-3E0C-4C0A-A975-F8797C12761A}"/>
                </a:ext>
              </a:extLst>
            </p:cNvPr>
            <p:cNvSpPr/>
            <p:nvPr/>
          </p:nvSpPr>
          <p:spPr>
            <a:xfrm>
              <a:off x="6519515" y="625358"/>
              <a:ext cx="180754" cy="180754"/>
            </a:xfrm>
            <a:custGeom>
              <a:avLst/>
              <a:gdLst>
                <a:gd name="connsiteX0" fmla="*/ 90064 w 180754"/>
                <a:gd name="connsiteY0" fmla="*/ 180755 h 180754"/>
                <a:gd name="connsiteX1" fmla="*/ 0 w 180754"/>
                <a:gd name="connsiteY1" fmla="*/ 90690 h 180754"/>
                <a:gd name="connsiteX2" fmla="*/ 16887 w 180754"/>
                <a:gd name="connsiteY2" fmla="*/ 73803 h 180754"/>
                <a:gd name="connsiteX3" fmla="*/ 33774 w 180754"/>
                <a:gd name="connsiteY3" fmla="*/ 90690 h 180754"/>
                <a:gd name="connsiteX4" fmla="*/ 90690 w 180754"/>
                <a:gd name="connsiteY4" fmla="*/ 147606 h 180754"/>
                <a:gd name="connsiteX5" fmla="*/ 147606 w 180754"/>
                <a:gd name="connsiteY5" fmla="*/ 90690 h 180754"/>
                <a:gd name="connsiteX6" fmla="*/ 90690 w 180754"/>
                <a:gd name="connsiteY6" fmla="*/ 33774 h 180754"/>
                <a:gd name="connsiteX7" fmla="*/ 73803 w 180754"/>
                <a:gd name="connsiteY7" fmla="*/ 16887 h 180754"/>
                <a:gd name="connsiteX8" fmla="*/ 90690 w 180754"/>
                <a:gd name="connsiteY8" fmla="*/ 0 h 180754"/>
                <a:gd name="connsiteX9" fmla="*/ 180755 w 180754"/>
                <a:gd name="connsiteY9" fmla="*/ 90065 h 180754"/>
                <a:gd name="connsiteX10" fmla="*/ 90064 w 180754"/>
                <a:gd name="connsiteY10" fmla="*/ 180755 h 180754"/>
                <a:gd name="connsiteX11" fmla="*/ 90064 w 180754"/>
                <a:gd name="connsiteY11" fmla="*/ 180755 h 180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0754" h="180754">
                  <a:moveTo>
                    <a:pt x="90064" y="180755"/>
                  </a:moveTo>
                  <a:cubicBezTo>
                    <a:pt x="40029" y="180755"/>
                    <a:pt x="0" y="140101"/>
                    <a:pt x="0" y="90690"/>
                  </a:cubicBezTo>
                  <a:cubicBezTo>
                    <a:pt x="0" y="81308"/>
                    <a:pt x="7505" y="73803"/>
                    <a:pt x="16887" y="73803"/>
                  </a:cubicBezTo>
                  <a:cubicBezTo>
                    <a:pt x="26269" y="73803"/>
                    <a:pt x="33774" y="81308"/>
                    <a:pt x="33774" y="90690"/>
                  </a:cubicBezTo>
                  <a:cubicBezTo>
                    <a:pt x="33774" y="121963"/>
                    <a:pt x="59418" y="147606"/>
                    <a:pt x="90690" y="147606"/>
                  </a:cubicBezTo>
                  <a:cubicBezTo>
                    <a:pt x="121963" y="147606"/>
                    <a:pt x="147606" y="121963"/>
                    <a:pt x="147606" y="90690"/>
                  </a:cubicBezTo>
                  <a:cubicBezTo>
                    <a:pt x="147606" y="59418"/>
                    <a:pt x="121963" y="33774"/>
                    <a:pt x="90690" y="33774"/>
                  </a:cubicBezTo>
                  <a:cubicBezTo>
                    <a:pt x="81308" y="33774"/>
                    <a:pt x="73803" y="26269"/>
                    <a:pt x="73803" y="16887"/>
                  </a:cubicBezTo>
                  <a:cubicBezTo>
                    <a:pt x="73803" y="7505"/>
                    <a:pt x="81308" y="0"/>
                    <a:pt x="90690" y="0"/>
                  </a:cubicBezTo>
                  <a:cubicBezTo>
                    <a:pt x="140726" y="0"/>
                    <a:pt x="180755" y="40654"/>
                    <a:pt x="180755" y="90065"/>
                  </a:cubicBezTo>
                  <a:cubicBezTo>
                    <a:pt x="180755" y="140101"/>
                    <a:pt x="140100" y="180755"/>
                    <a:pt x="90064" y="180755"/>
                  </a:cubicBezTo>
                  <a:lnTo>
                    <a:pt x="90064" y="180755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61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7454076" y="575948"/>
            <a:ext cx="383400" cy="279575"/>
            <a:chOff x="7441739" y="575948"/>
            <a:chExt cx="383400" cy="279575"/>
          </a:xfrm>
          <a:solidFill>
            <a:srgbClr val="B1B1A1"/>
          </a:solidFill>
        </p:grpSpPr>
        <p:sp>
          <p:nvSpPr>
            <p:cNvPr id="162" name="Forma Livre: Forma 161">
              <a:extLst>
                <a:ext uri="{FF2B5EF4-FFF2-40B4-BE49-F238E27FC236}">
                  <a16:creationId xmlns:a16="http://schemas.microsoft.com/office/drawing/2014/main" id="{08AA2FAC-9574-4A2D-8B88-C7447554938A}"/>
                </a:ext>
              </a:extLst>
            </p:cNvPr>
            <p:cNvSpPr/>
            <p:nvPr/>
          </p:nvSpPr>
          <p:spPr>
            <a:xfrm>
              <a:off x="7441739" y="575948"/>
              <a:ext cx="383400" cy="279575"/>
            </a:xfrm>
            <a:custGeom>
              <a:avLst/>
              <a:gdLst>
                <a:gd name="connsiteX0" fmla="*/ 191700 w 383400"/>
                <a:gd name="connsiteY0" fmla="*/ 279576 h 279575"/>
                <a:gd name="connsiteX1" fmla="*/ 938 w 383400"/>
                <a:gd name="connsiteY1" fmla="*/ 145104 h 279575"/>
                <a:gd name="connsiteX2" fmla="*/ 938 w 383400"/>
                <a:gd name="connsiteY2" fmla="*/ 134472 h 279575"/>
                <a:gd name="connsiteX3" fmla="*/ 191700 w 383400"/>
                <a:gd name="connsiteY3" fmla="*/ 0 h 279575"/>
                <a:gd name="connsiteX4" fmla="*/ 382463 w 383400"/>
                <a:gd name="connsiteY4" fmla="*/ 134472 h 279575"/>
                <a:gd name="connsiteX5" fmla="*/ 382463 w 383400"/>
                <a:gd name="connsiteY5" fmla="*/ 145104 h 279575"/>
                <a:gd name="connsiteX6" fmla="*/ 191700 w 383400"/>
                <a:gd name="connsiteY6" fmla="*/ 279576 h 279575"/>
                <a:gd name="connsiteX7" fmla="*/ 191700 w 383400"/>
                <a:gd name="connsiteY7" fmla="*/ 279576 h 279575"/>
                <a:gd name="connsiteX8" fmla="*/ 34087 w 383400"/>
                <a:gd name="connsiteY8" fmla="*/ 140101 h 279575"/>
                <a:gd name="connsiteX9" fmla="*/ 191700 w 383400"/>
                <a:gd name="connsiteY9" fmla="*/ 246427 h 279575"/>
                <a:gd name="connsiteX10" fmla="*/ 349314 w 383400"/>
                <a:gd name="connsiteY10" fmla="*/ 140101 h 279575"/>
                <a:gd name="connsiteX11" fmla="*/ 191700 w 383400"/>
                <a:gd name="connsiteY11" fmla="*/ 33774 h 279575"/>
                <a:gd name="connsiteX12" fmla="*/ 34087 w 383400"/>
                <a:gd name="connsiteY12" fmla="*/ 140101 h 279575"/>
                <a:gd name="connsiteX13" fmla="*/ 34087 w 383400"/>
                <a:gd name="connsiteY13" fmla="*/ 140101 h 27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83400" h="279575">
                  <a:moveTo>
                    <a:pt x="191700" y="279576"/>
                  </a:moveTo>
                  <a:cubicBezTo>
                    <a:pt x="103512" y="279576"/>
                    <a:pt x="26582" y="225787"/>
                    <a:pt x="938" y="145104"/>
                  </a:cubicBezTo>
                  <a:cubicBezTo>
                    <a:pt x="-313" y="141977"/>
                    <a:pt x="-313" y="138224"/>
                    <a:pt x="938" y="134472"/>
                  </a:cubicBezTo>
                  <a:cubicBezTo>
                    <a:pt x="27207" y="53789"/>
                    <a:pt x="104137" y="0"/>
                    <a:pt x="191700" y="0"/>
                  </a:cubicBezTo>
                  <a:cubicBezTo>
                    <a:pt x="279889" y="0"/>
                    <a:pt x="356819" y="53789"/>
                    <a:pt x="382463" y="134472"/>
                  </a:cubicBezTo>
                  <a:cubicBezTo>
                    <a:pt x="383713" y="137599"/>
                    <a:pt x="383713" y="141352"/>
                    <a:pt x="382463" y="145104"/>
                  </a:cubicBezTo>
                  <a:cubicBezTo>
                    <a:pt x="356193" y="225162"/>
                    <a:pt x="279889" y="279576"/>
                    <a:pt x="191700" y="279576"/>
                  </a:cubicBezTo>
                  <a:lnTo>
                    <a:pt x="191700" y="279576"/>
                  </a:lnTo>
                  <a:close/>
                  <a:moveTo>
                    <a:pt x="34087" y="140101"/>
                  </a:moveTo>
                  <a:cubicBezTo>
                    <a:pt x="57229" y="203896"/>
                    <a:pt x="119774" y="246427"/>
                    <a:pt x="191700" y="246427"/>
                  </a:cubicBezTo>
                  <a:cubicBezTo>
                    <a:pt x="263627" y="246427"/>
                    <a:pt x="326172" y="203896"/>
                    <a:pt x="349314" y="140101"/>
                  </a:cubicBezTo>
                  <a:cubicBezTo>
                    <a:pt x="326172" y="76305"/>
                    <a:pt x="263627" y="33774"/>
                    <a:pt x="191700" y="33774"/>
                  </a:cubicBezTo>
                  <a:cubicBezTo>
                    <a:pt x="119774" y="33774"/>
                    <a:pt x="57229" y="76305"/>
                    <a:pt x="34087" y="140101"/>
                  </a:cubicBezTo>
                  <a:lnTo>
                    <a:pt x="34087" y="140101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163" name="Gráfico 2">
              <a:extLst>
                <a:ext uri="{FF2B5EF4-FFF2-40B4-BE49-F238E27FC236}">
                  <a16:creationId xmlns:a16="http://schemas.microsoft.com/office/drawing/2014/main" id="{A4E24395-F85F-4E15-8BC9-B92D577D4DAD}"/>
                </a:ext>
              </a:extLst>
            </p:cNvPr>
            <p:cNvGrpSpPr/>
            <p:nvPr/>
          </p:nvGrpSpPr>
          <p:grpSpPr>
            <a:xfrm>
              <a:off x="7543375" y="624733"/>
              <a:ext cx="179540" cy="181380"/>
              <a:chOff x="7543375" y="624733"/>
              <a:chExt cx="179540" cy="181380"/>
            </a:xfrm>
            <a:grpFill/>
          </p:grpSpPr>
          <p:sp>
            <p:nvSpPr>
              <p:cNvPr id="164" name="Forma Livre: Forma 163">
                <a:extLst>
                  <a:ext uri="{FF2B5EF4-FFF2-40B4-BE49-F238E27FC236}">
                    <a16:creationId xmlns:a16="http://schemas.microsoft.com/office/drawing/2014/main" id="{75B2510B-0B63-4E69-AD43-11F97EDA4E3E}"/>
                  </a:ext>
                </a:extLst>
              </p:cNvPr>
              <p:cNvSpPr/>
              <p:nvPr/>
            </p:nvSpPr>
            <p:spPr>
              <a:xfrm>
                <a:off x="7543375" y="699161"/>
                <a:ext cx="107576" cy="106951"/>
              </a:xfrm>
              <a:custGeom>
                <a:avLst/>
                <a:gdLst>
                  <a:gd name="connsiteX0" fmla="*/ 90064 w 107576"/>
                  <a:gd name="connsiteY0" fmla="*/ 106952 h 106951"/>
                  <a:gd name="connsiteX1" fmla="*/ 0 w 107576"/>
                  <a:gd name="connsiteY1" fmla="*/ 16887 h 106951"/>
                  <a:gd name="connsiteX2" fmla="*/ 16887 w 107576"/>
                  <a:gd name="connsiteY2" fmla="*/ 0 h 106951"/>
                  <a:gd name="connsiteX3" fmla="*/ 33774 w 107576"/>
                  <a:gd name="connsiteY3" fmla="*/ 16887 h 106951"/>
                  <a:gd name="connsiteX4" fmla="*/ 90690 w 107576"/>
                  <a:gd name="connsiteY4" fmla="*/ 73803 h 106951"/>
                  <a:gd name="connsiteX5" fmla="*/ 107577 w 107576"/>
                  <a:gd name="connsiteY5" fmla="*/ 90690 h 106951"/>
                  <a:gd name="connsiteX6" fmla="*/ 90064 w 107576"/>
                  <a:gd name="connsiteY6" fmla="*/ 106952 h 106951"/>
                  <a:gd name="connsiteX7" fmla="*/ 90064 w 107576"/>
                  <a:gd name="connsiteY7" fmla="*/ 106952 h 106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7576" h="106951">
                    <a:moveTo>
                      <a:pt x="90064" y="106952"/>
                    </a:moveTo>
                    <a:cubicBezTo>
                      <a:pt x="40029" y="106952"/>
                      <a:pt x="0" y="66298"/>
                      <a:pt x="0" y="16887"/>
                    </a:cubicBezTo>
                    <a:cubicBezTo>
                      <a:pt x="0" y="7505"/>
                      <a:pt x="7505" y="0"/>
                      <a:pt x="16887" y="0"/>
                    </a:cubicBezTo>
                    <a:cubicBezTo>
                      <a:pt x="26269" y="0"/>
                      <a:pt x="33774" y="7505"/>
                      <a:pt x="33774" y="16887"/>
                    </a:cubicBezTo>
                    <a:cubicBezTo>
                      <a:pt x="33774" y="48160"/>
                      <a:pt x="59418" y="73803"/>
                      <a:pt x="90690" y="73803"/>
                    </a:cubicBezTo>
                    <a:cubicBezTo>
                      <a:pt x="100072" y="73803"/>
                      <a:pt x="107577" y="81308"/>
                      <a:pt x="107577" y="90690"/>
                    </a:cubicBezTo>
                    <a:cubicBezTo>
                      <a:pt x="106326" y="99446"/>
                      <a:pt x="99446" y="106952"/>
                      <a:pt x="90064" y="106952"/>
                    </a:cubicBezTo>
                    <a:lnTo>
                      <a:pt x="90064" y="106952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65" name="Forma Livre: Forma 164">
                <a:extLst>
                  <a:ext uri="{FF2B5EF4-FFF2-40B4-BE49-F238E27FC236}">
                    <a16:creationId xmlns:a16="http://schemas.microsoft.com/office/drawing/2014/main" id="{6BBA6FB6-D188-4C08-B8A9-5F0AC83695DC}"/>
                  </a:ext>
                </a:extLst>
              </p:cNvPr>
              <p:cNvSpPr/>
              <p:nvPr/>
            </p:nvSpPr>
            <p:spPr>
              <a:xfrm>
                <a:off x="7615927" y="624733"/>
                <a:ext cx="106988" cy="107577"/>
              </a:xfrm>
              <a:custGeom>
                <a:avLst/>
                <a:gdLst>
                  <a:gd name="connsiteX0" fmla="*/ 90690 w 106988"/>
                  <a:gd name="connsiteY0" fmla="*/ 107577 h 107577"/>
                  <a:gd name="connsiteX1" fmla="*/ 73803 w 106988"/>
                  <a:gd name="connsiteY1" fmla="*/ 90690 h 107577"/>
                  <a:gd name="connsiteX2" fmla="*/ 16887 w 106988"/>
                  <a:gd name="connsiteY2" fmla="*/ 33774 h 107577"/>
                  <a:gd name="connsiteX3" fmla="*/ 0 w 106988"/>
                  <a:gd name="connsiteY3" fmla="*/ 16887 h 107577"/>
                  <a:gd name="connsiteX4" fmla="*/ 16887 w 106988"/>
                  <a:gd name="connsiteY4" fmla="*/ 0 h 107577"/>
                  <a:gd name="connsiteX5" fmla="*/ 106952 w 106988"/>
                  <a:gd name="connsiteY5" fmla="*/ 90065 h 107577"/>
                  <a:gd name="connsiteX6" fmla="*/ 90690 w 106988"/>
                  <a:gd name="connsiteY6" fmla="*/ 107577 h 107577"/>
                  <a:gd name="connsiteX7" fmla="*/ 90690 w 106988"/>
                  <a:gd name="connsiteY7" fmla="*/ 107577 h 107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6988" h="107577">
                    <a:moveTo>
                      <a:pt x="90690" y="107577"/>
                    </a:moveTo>
                    <a:cubicBezTo>
                      <a:pt x="81308" y="107577"/>
                      <a:pt x="73803" y="100072"/>
                      <a:pt x="73803" y="90690"/>
                    </a:cubicBezTo>
                    <a:cubicBezTo>
                      <a:pt x="73803" y="59418"/>
                      <a:pt x="48160" y="33774"/>
                      <a:pt x="16887" y="33774"/>
                    </a:cubicBezTo>
                    <a:cubicBezTo>
                      <a:pt x="7505" y="33774"/>
                      <a:pt x="0" y="26269"/>
                      <a:pt x="0" y="16887"/>
                    </a:cubicBezTo>
                    <a:cubicBezTo>
                      <a:pt x="0" y="7505"/>
                      <a:pt x="7505" y="0"/>
                      <a:pt x="16887" y="0"/>
                    </a:cubicBezTo>
                    <a:cubicBezTo>
                      <a:pt x="66923" y="0"/>
                      <a:pt x="106952" y="40654"/>
                      <a:pt x="106952" y="90065"/>
                    </a:cubicBezTo>
                    <a:cubicBezTo>
                      <a:pt x="107577" y="100072"/>
                      <a:pt x="100072" y="107577"/>
                      <a:pt x="90690" y="107577"/>
                    </a:cubicBezTo>
                    <a:lnTo>
                      <a:pt x="90690" y="107577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166" name="Forma Livre: Forma 165">
              <a:extLst>
                <a:ext uri="{FF2B5EF4-FFF2-40B4-BE49-F238E27FC236}">
                  <a16:creationId xmlns:a16="http://schemas.microsoft.com/office/drawing/2014/main" id="{A700FD61-2254-46A2-BB2B-BA113BBA5AD7}"/>
                </a:ext>
              </a:extLst>
            </p:cNvPr>
            <p:cNvSpPr/>
            <p:nvPr/>
          </p:nvSpPr>
          <p:spPr>
            <a:xfrm>
              <a:off x="7498030" y="580013"/>
              <a:ext cx="270819" cy="271132"/>
            </a:xfrm>
            <a:custGeom>
              <a:avLst/>
              <a:gdLst>
                <a:gd name="connsiteX0" fmla="*/ 254245 w 270819"/>
                <a:gd name="connsiteY0" fmla="*/ 271132 h 271132"/>
                <a:gd name="connsiteX1" fmla="*/ 242362 w 270819"/>
                <a:gd name="connsiteY1" fmla="*/ 266129 h 271132"/>
                <a:gd name="connsiteX2" fmla="*/ 4691 w 270819"/>
                <a:gd name="connsiteY2" fmla="*/ 28458 h 271132"/>
                <a:gd name="connsiteX3" fmla="*/ 4691 w 270819"/>
                <a:gd name="connsiteY3" fmla="*/ 4691 h 271132"/>
                <a:gd name="connsiteX4" fmla="*/ 28458 w 270819"/>
                <a:gd name="connsiteY4" fmla="*/ 4691 h 271132"/>
                <a:gd name="connsiteX5" fmla="*/ 266128 w 270819"/>
                <a:gd name="connsiteY5" fmla="*/ 242362 h 271132"/>
                <a:gd name="connsiteX6" fmla="*/ 266128 w 270819"/>
                <a:gd name="connsiteY6" fmla="*/ 266129 h 271132"/>
                <a:gd name="connsiteX7" fmla="*/ 254245 w 270819"/>
                <a:gd name="connsiteY7" fmla="*/ 271132 h 271132"/>
                <a:gd name="connsiteX8" fmla="*/ 254245 w 270819"/>
                <a:gd name="connsiteY8" fmla="*/ 271132 h 27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0819" h="271132">
                  <a:moveTo>
                    <a:pt x="254245" y="271132"/>
                  </a:moveTo>
                  <a:cubicBezTo>
                    <a:pt x="249867" y="271132"/>
                    <a:pt x="245489" y="269256"/>
                    <a:pt x="242362" y="266129"/>
                  </a:cubicBezTo>
                  <a:lnTo>
                    <a:pt x="4691" y="28458"/>
                  </a:lnTo>
                  <a:cubicBezTo>
                    <a:pt x="-1564" y="22203"/>
                    <a:pt x="-1564" y="11571"/>
                    <a:pt x="4691" y="4691"/>
                  </a:cubicBezTo>
                  <a:cubicBezTo>
                    <a:pt x="10945" y="-1564"/>
                    <a:pt x="21578" y="-1564"/>
                    <a:pt x="28458" y="4691"/>
                  </a:cubicBezTo>
                  <a:lnTo>
                    <a:pt x="266128" y="242362"/>
                  </a:lnTo>
                  <a:cubicBezTo>
                    <a:pt x="272383" y="248616"/>
                    <a:pt x="272383" y="259249"/>
                    <a:pt x="266128" y="266129"/>
                  </a:cubicBezTo>
                  <a:cubicBezTo>
                    <a:pt x="262376" y="269881"/>
                    <a:pt x="258623" y="271132"/>
                    <a:pt x="254245" y="271132"/>
                  </a:cubicBezTo>
                  <a:lnTo>
                    <a:pt x="254245" y="271132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67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5400313" y="1565721"/>
            <a:ext cx="386104" cy="366200"/>
            <a:chOff x="5387976" y="1565721"/>
            <a:chExt cx="386104" cy="366200"/>
          </a:xfrm>
          <a:solidFill>
            <a:srgbClr val="B1B1A1"/>
          </a:solidFill>
        </p:grpSpPr>
        <p:sp>
          <p:nvSpPr>
            <p:cNvPr id="168" name="Forma Livre: Forma 167">
              <a:extLst>
                <a:ext uri="{FF2B5EF4-FFF2-40B4-BE49-F238E27FC236}">
                  <a16:creationId xmlns:a16="http://schemas.microsoft.com/office/drawing/2014/main" id="{D965EC25-1FE0-416A-85D2-C245C6F09278}"/>
                </a:ext>
              </a:extLst>
            </p:cNvPr>
            <p:cNvSpPr/>
            <p:nvPr/>
          </p:nvSpPr>
          <p:spPr>
            <a:xfrm>
              <a:off x="5388444" y="1565721"/>
              <a:ext cx="385636" cy="149271"/>
            </a:xfrm>
            <a:custGeom>
              <a:avLst/>
              <a:gdLst>
                <a:gd name="connsiteX0" fmla="*/ 16520 w 385636"/>
                <a:gd name="connsiteY0" fmla="*/ 149170 h 149271"/>
                <a:gd name="connsiteX1" fmla="*/ 2760 w 385636"/>
                <a:gd name="connsiteY1" fmla="*/ 141664 h 149271"/>
                <a:gd name="connsiteX2" fmla="*/ 7764 w 385636"/>
                <a:gd name="connsiteY2" fmla="*/ 118523 h 149271"/>
                <a:gd name="connsiteX3" fmla="*/ 184140 w 385636"/>
                <a:gd name="connsiteY3" fmla="*/ 2815 h 149271"/>
                <a:gd name="connsiteX4" fmla="*/ 202279 w 385636"/>
                <a:gd name="connsiteY4" fmla="*/ 2815 h 149271"/>
                <a:gd name="connsiteX5" fmla="*/ 378030 w 385636"/>
                <a:gd name="connsiteY5" fmla="*/ 118523 h 149271"/>
                <a:gd name="connsiteX6" fmla="*/ 383033 w 385636"/>
                <a:gd name="connsiteY6" fmla="*/ 141664 h 149271"/>
                <a:gd name="connsiteX7" fmla="*/ 359892 w 385636"/>
                <a:gd name="connsiteY7" fmla="*/ 146668 h 149271"/>
                <a:gd name="connsiteX8" fmla="*/ 192897 w 385636"/>
                <a:gd name="connsiteY8" fmla="*/ 36589 h 149271"/>
                <a:gd name="connsiteX9" fmla="*/ 25902 w 385636"/>
                <a:gd name="connsiteY9" fmla="*/ 146668 h 149271"/>
                <a:gd name="connsiteX10" fmla="*/ 16520 w 385636"/>
                <a:gd name="connsiteY10" fmla="*/ 149170 h 149271"/>
                <a:gd name="connsiteX11" fmla="*/ 16520 w 385636"/>
                <a:gd name="connsiteY11" fmla="*/ 149170 h 149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636" h="149271">
                  <a:moveTo>
                    <a:pt x="16520" y="149170"/>
                  </a:moveTo>
                  <a:cubicBezTo>
                    <a:pt x="10891" y="149170"/>
                    <a:pt x="5887" y="146668"/>
                    <a:pt x="2760" y="141664"/>
                  </a:cubicBezTo>
                  <a:cubicBezTo>
                    <a:pt x="-2243" y="134159"/>
                    <a:pt x="-367" y="123526"/>
                    <a:pt x="7764" y="118523"/>
                  </a:cubicBezTo>
                  <a:lnTo>
                    <a:pt x="184140" y="2815"/>
                  </a:lnTo>
                  <a:cubicBezTo>
                    <a:pt x="189770" y="-938"/>
                    <a:pt x="196649" y="-938"/>
                    <a:pt x="202279" y="2815"/>
                  </a:cubicBezTo>
                  <a:lnTo>
                    <a:pt x="378030" y="118523"/>
                  </a:lnTo>
                  <a:cubicBezTo>
                    <a:pt x="385535" y="123526"/>
                    <a:pt x="388037" y="134159"/>
                    <a:pt x="383033" y="141664"/>
                  </a:cubicBezTo>
                  <a:cubicBezTo>
                    <a:pt x="378030" y="149170"/>
                    <a:pt x="367397" y="151671"/>
                    <a:pt x="359892" y="146668"/>
                  </a:cubicBezTo>
                  <a:lnTo>
                    <a:pt x="192897" y="36589"/>
                  </a:lnTo>
                  <a:lnTo>
                    <a:pt x="25902" y="146668"/>
                  </a:lnTo>
                  <a:cubicBezTo>
                    <a:pt x="22775" y="148544"/>
                    <a:pt x="19647" y="149170"/>
                    <a:pt x="16520" y="149170"/>
                  </a:cubicBezTo>
                  <a:lnTo>
                    <a:pt x="16520" y="14917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69" name="Forma Livre: Forma 168">
              <a:extLst>
                <a:ext uri="{FF2B5EF4-FFF2-40B4-BE49-F238E27FC236}">
                  <a16:creationId xmlns:a16="http://schemas.microsoft.com/office/drawing/2014/main" id="{95FAAED0-03F4-45F7-AA9C-07CF9B2A21DF}"/>
                </a:ext>
              </a:extLst>
            </p:cNvPr>
            <p:cNvSpPr/>
            <p:nvPr/>
          </p:nvSpPr>
          <p:spPr>
            <a:xfrm>
              <a:off x="5387976" y="1782807"/>
              <a:ext cx="385636" cy="149115"/>
            </a:xfrm>
            <a:custGeom>
              <a:avLst/>
              <a:gdLst>
                <a:gd name="connsiteX0" fmla="*/ 193365 w 385636"/>
                <a:gd name="connsiteY0" fmla="*/ 149115 h 149115"/>
                <a:gd name="connsiteX1" fmla="*/ 183983 w 385636"/>
                <a:gd name="connsiteY1" fmla="*/ 146613 h 149115"/>
                <a:gd name="connsiteX2" fmla="*/ 7607 w 385636"/>
                <a:gd name="connsiteY2" fmla="*/ 30905 h 149115"/>
                <a:gd name="connsiteX3" fmla="*/ 2603 w 385636"/>
                <a:gd name="connsiteY3" fmla="*/ 7764 h 149115"/>
                <a:gd name="connsiteX4" fmla="*/ 25745 w 385636"/>
                <a:gd name="connsiteY4" fmla="*/ 2760 h 149115"/>
                <a:gd name="connsiteX5" fmla="*/ 192740 w 385636"/>
                <a:gd name="connsiteY5" fmla="*/ 112839 h 149115"/>
                <a:gd name="connsiteX6" fmla="*/ 359735 w 385636"/>
                <a:gd name="connsiteY6" fmla="*/ 2760 h 149115"/>
                <a:gd name="connsiteX7" fmla="*/ 382876 w 385636"/>
                <a:gd name="connsiteY7" fmla="*/ 7764 h 149115"/>
                <a:gd name="connsiteX8" fmla="*/ 377873 w 385636"/>
                <a:gd name="connsiteY8" fmla="*/ 30905 h 149115"/>
                <a:gd name="connsiteX9" fmla="*/ 202121 w 385636"/>
                <a:gd name="connsiteY9" fmla="*/ 146613 h 149115"/>
                <a:gd name="connsiteX10" fmla="*/ 193365 w 385636"/>
                <a:gd name="connsiteY10" fmla="*/ 149115 h 149115"/>
                <a:gd name="connsiteX11" fmla="*/ 193365 w 385636"/>
                <a:gd name="connsiteY11" fmla="*/ 149115 h 149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636" h="149115">
                  <a:moveTo>
                    <a:pt x="193365" y="149115"/>
                  </a:moveTo>
                  <a:cubicBezTo>
                    <a:pt x="190238" y="149115"/>
                    <a:pt x="187111" y="148490"/>
                    <a:pt x="183983" y="146613"/>
                  </a:cubicBezTo>
                  <a:lnTo>
                    <a:pt x="7607" y="30905"/>
                  </a:lnTo>
                  <a:cubicBezTo>
                    <a:pt x="101" y="25902"/>
                    <a:pt x="-2400" y="15269"/>
                    <a:pt x="2603" y="7764"/>
                  </a:cubicBezTo>
                  <a:cubicBezTo>
                    <a:pt x="7607" y="258"/>
                    <a:pt x="18239" y="-2244"/>
                    <a:pt x="25745" y="2760"/>
                  </a:cubicBezTo>
                  <a:lnTo>
                    <a:pt x="192740" y="112839"/>
                  </a:lnTo>
                  <a:lnTo>
                    <a:pt x="359735" y="2760"/>
                  </a:lnTo>
                  <a:cubicBezTo>
                    <a:pt x="367240" y="-2244"/>
                    <a:pt x="377873" y="-367"/>
                    <a:pt x="382876" y="7764"/>
                  </a:cubicBezTo>
                  <a:cubicBezTo>
                    <a:pt x="387880" y="15269"/>
                    <a:pt x="386004" y="25902"/>
                    <a:pt x="377873" y="30905"/>
                  </a:cubicBezTo>
                  <a:lnTo>
                    <a:pt x="202121" y="146613"/>
                  </a:lnTo>
                  <a:cubicBezTo>
                    <a:pt x="199620" y="147864"/>
                    <a:pt x="196492" y="149115"/>
                    <a:pt x="193365" y="149115"/>
                  </a:cubicBezTo>
                  <a:lnTo>
                    <a:pt x="193365" y="149115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70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10524719" y="2584789"/>
            <a:ext cx="350876" cy="390381"/>
            <a:chOff x="10512382" y="2584789"/>
            <a:chExt cx="350876" cy="390381"/>
          </a:xfrm>
          <a:solidFill>
            <a:srgbClr val="B1B1A1"/>
          </a:solidFill>
        </p:grpSpPr>
        <p:sp>
          <p:nvSpPr>
            <p:cNvPr id="171" name="Forma Livre: Forma 170">
              <a:extLst>
                <a:ext uri="{FF2B5EF4-FFF2-40B4-BE49-F238E27FC236}">
                  <a16:creationId xmlns:a16="http://schemas.microsoft.com/office/drawing/2014/main" id="{89C36629-6B4A-4CC8-8687-8307421BBF08}"/>
                </a:ext>
              </a:extLst>
            </p:cNvPr>
            <p:cNvSpPr/>
            <p:nvPr/>
          </p:nvSpPr>
          <p:spPr>
            <a:xfrm>
              <a:off x="10552471" y="2584789"/>
              <a:ext cx="269610" cy="390381"/>
            </a:xfrm>
            <a:custGeom>
              <a:avLst/>
              <a:gdLst>
                <a:gd name="connsiteX0" fmla="*/ 16827 w 269610"/>
                <a:gd name="connsiteY0" fmla="*/ 390382 h 390381"/>
                <a:gd name="connsiteX1" fmla="*/ 7445 w 269610"/>
                <a:gd name="connsiteY1" fmla="*/ 387880 h 390381"/>
                <a:gd name="connsiteX2" fmla="*/ 3068 w 269610"/>
                <a:gd name="connsiteY2" fmla="*/ 364738 h 390381"/>
                <a:gd name="connsiteX3" fmla="*/ 238862 w 269610"/>
                <a:gd name="connsiteY3" fmla="*/ 7607 h 390381"/>
                <a:gd name="connsiteX4" fmla="*/ 262004 w 269610"/>
                <a:gd name="connsiteY4" fmla="*/ 2603 h 390381"/>
                <a:gd name="connsiteX5" fmla="*/ 267007 w 269610"/>
                <a:gd name="connsiteY5" fmla="*/ 25745 h 390381"/>
                <a:gd name="connsiteX6" fmla="*/ 31213 w 269610"/>
                <a:gd name="connsiteY6" fmla="*/ 382876 h 390381"/>
                <a:gd name="connsiteX7" fmla="*/ 16827 w 269610"/>
                <a:gd name="connsiteY7" fmla="*/ 390382 h 390381"/>
                <a:gd name="connsiteX8" fmla="*/ 16827 w 269610"/>
                <a:gd name="connsiteY8" fmla="*/ 390382 h 390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9610" h="390381">
                  <a:moveTo>
                    <a:pt x="16827" y="390382"/>
                  </a:moveTo>
                  <a:cubicBezTo>
                    <a:pt x="13700" y="390382"/>
                    <a:pt x="10573" y="389756"/>
                    <a:pt x="7445" y="387880"/>
                  </a:cubicBezTo>
                  <a:cubicBezTo>
                    <a:pt x="-60" y="382876"/>
                    <a:pt x="-2562" y="372244"/>
                    <a:pt x="3068" y="364738"/>
                  </a:cubicBezTo>
                  <a:lnTo>
                    <a:pt x="238862" y="7607"/>
                  </a:lnTo>
                  <a:cubicBezTo>
                    <a:pt x="243866" y="101"/>
                    <a:pt x="254498" y="-2400"/>
                    <a:pt x="262004" y="2603"/>
                  </a:cubicBezTo>
                  <a:cubicBezTo>
                    <a:pt x="269509" y="7607"/>
                    <a:pt x="272011" y="18239"/>
                    <a:pt x="267007" y="25745"/>
                  </a:cubicBezTo>
                  <a:lnTo>
                    <a:pt x="31213" y="382876"/>
                  </a:lnTo>
                  <a:cubicBezTo>
                    <a:pt x="27460" y="387880"/>
                    <a:pt x="22456" y="390382"/>
                    <a:pt x="16827" y="390382"/>
                  </a:cubicBezTo>
                  <a:lnTo>
                    <a:pt x="16827" y="390382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172" name="Gráfico 2">
              <a:extLst>
                <a:ext uri="{FF2B5EF4-FFF2-40B4-BE49-F238E27FC236}">
                  <a16:creationId xmlns:a16="http://schemas.microsoft.com/office/drawing/2014/main" id="{A4E24395-F85F-4E15-8BC9-B92D577D4DAD}"/>
                </a:ext>
              </a:extLst>
            </p:cNvPr>
            <p:cNvGrpSpPr/>
            <p:nvPr/>
          </p:nvGrpSpPr>
          <p:grpSpPr>
            <a:xfrm>
              <a:off x="10512382" y="2589269"/>
              <a:ext cx="350876" cy="381524"/>
              <a:chOff x="10512382" y="2589269"/>
              <a:chExt cx="350876" cy="381524"/>
            </a:xfrm>
            <a:grpFill/>
          </p:grpSpPr>
          <p:sp>
            <p:nvSpPr>
              <p:cNvPr id="173" name="Forma Livre: Forma 172">
                <a:extLst>
                  <a:ext uri="{FF2B5EF4-FFF2-40B4-BE49-F238E27FC236}">
                    <a16:creationId xmlns:a16="http://schemas.microsoft.com/office/drawing/2014/main" id="{8E27D8F0-2D52-44CD-A31E-2CAC88C9B7A7}"/>
                  </a:ext>
                </a:extLst>
              </p:cNvPr>
              <p:cNvSpPr/>
              <p:nvPr/>
            </p:nvSpPr>
            <p:spPr>
              <a:xfrm>
                <a:off x="10512382" y="2589269"/>
                <a:ext cx="136348" cy="206398"/>
              </a:xfrm>
              <a:custGeom>
                <a:avLst/>
                <a:gdLst>
                  <a:gd name="connsiteX0" fmla="*/ 68174 w 136348"/>
                  <a:gd name="connsiteY0" fmla="*/ 206398 h 206398"/>
                  <a:gd name="connsiteX1" fmla="*/ 0 w 136348"/>
                  <a:gd name="connsiteY1" fmla="*/ 138224 h 206398"/>
                  <a:gd name="connsiteX2" fmla="*/ 0 w 136348"/>
                  <a:gd name="connsiteY2" fmla="*/ 68174 h 206398"/>
                  <a:gd name="connsiteX3" fmla="*/ 68174 w 136348"/>
                  <a:gd name="connsiteY3" fmla="*/ 0 h 206398"/>
                  <a:gd name="connsiteX4" fmla="*/ 136348 w 136348"/>
                  <a:gd name="connsiteY4" fmla="*/ 68174 h 206398"/>
                  <a:gd name="connsiteX5" fmla="*/ 136348 w 136348"/>
                  <a:gd name="connsiteY5" fmla="*/ 138224 h 206398"/>
                  <a:gd name="connsiteX6" fmla="*/ 68174 w 136348"/>
                  <a:gd name="connsiteY6" fmla="*/ 206398 h 206398"/>
                  <a:gd name="connsiteX7" fmla="*/ 68174 w 136348"/>
                  <a:gd name="connsiteY7" fmla="*/ 206398 h 206398"/>
                  <a:gd name="connsiteX8" fmla="*/ 68174 w 136348"/>
                  <a:gd name="connsiteY8" fmla="*/ 33149 h 206398"/>
                  <a:gd name="connsiteX9" fmla="*/ 33149 w 136348"/>
                  <a:gd name="connsiteY9" fmla="*/ 68174 h 206398"/>
                  <a:gd name="connsiteX10" fmla="*/ 33149 w 136348"/>
                  <a:gd name="connsiteY10" fmla="*/ 138224 h 206398"/>
                  <a:gd name="connsiteX11" fmla="*/ 68174 w 136348"/>
                  <a:gd name="connsiteY11" fmla="*/ 173250 h 206398"/>
                  <a:gd name="connsiteX12" fmla="*/ 103199 w 136348"/>
                  <a:gd name="connsiteY12" fmla="*/ 138224 h 206398"/>
                  <a:gd name="connsiteX13" fmla="*/ 103199 w 136348"/>
                  <a:gd name="connsiteY13" fmla="*/ 68174 h 206398"/>
                  <a:gd name="connsiteX14" fmla="*/ 68174 w 136348"/>
                  <a:gd name="connsiteY14" fmla="*/ 33149 h 206398"/>
                  <a:gd name="connsiteX15" fmla="*/ 68174 w 136348"/>
                  <a:gd name="connsiteY15" fmla="*/ 33149 h 206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6348" h="206398">
                    <a:moveTo>
                      <a:pt x="68174" y="206398"/>
                    </a:moveTo>
                    <a:cubicBezTo>
                      <a:pt x="30647" y="206398"/>
                      <a:pt x="0" y="175751"/>
                      <a:pt x="0" y="138224"/>
                    </a:cubicBezTo>
                    <a:lnTo>
                      <a:pt x="0" y="68174"/>
                    </a:lnTo>
                    <a:cubicBezTo>
                      <a:pt x="0" y="30647"/>
                      <a:pt x="30647" y="0"/>
                      <a:pt x="68174" y="0"/>
                    </a:cubicBezTo>
                    <a:cubicBezTo>
                      <a:pt x="105701" y="0"/>
                      <a:pt x="136348" y="30647"/>
                      <a:pt x="136348" y="68174"/>
                    </a:cubicBezTo>
                    <a:lnTo>
                      <a:pt x="136348" y="138224"/>
                    </a:lnTo>
                    <a:cubicBezTo>
                      <a:pt x="135723" y="175751"/>
                      <a:pt x="105701" y="206398"/>
                      <a:pt x="68174" y="206398"/>
                    </a:cubicBezTo>
                    <a:lnTo>
                      <a:pt x="68174" y="206398"/>
                    </a:lnTo>
                    <a:close/>
                    <a:moveTo>
                      <a:pt x="68174" y="33149"/>
                    </a:moveTo>
                    <a:cubicBezTo>
                      <a:pt x="48785" y="33149"/>
                      <a:pt x="33149" y="48785"/>
                      <a:pt x="33149" y="68174"/>
                    </a:cubicBezTo>
                    <a:lnTo>
                      <a:pt x="33149" y="138224"/>
                    </a:lnTo>
                    <a:cubicBezTo>
                      <a:pt x="33149" y="157613"/>
                      <a:pt x="48785" y="173250"/>
                      <a:pt x="68174" y="173250"/>
                    </a:cubicBezTo>
                    <a:cubicBezTo>
                      <a:pt x="87563" y="173250"/>
                      <a:pt x="103199" y="157613"/>
                      <a:pt x="103199" y="138224"/>
                    </a:cubicBezTo>
                    <a:lnTo>
                      <a:pt x="103199" y="68174"/>
                    </a:lnTo>
                    <a:cubicBezTo>
                      <a:pt x="102574" y="48785"/>
                      <a:pt x="86938" y="33149"/>
                      <a:pt x="68174" y="33149"/>
                    </a:cubicBezTo>
                    <a:lnTo>
                      <a:pt x="68174" y="33149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74" name="Forma Livre: Forma 173">
                <a:extLst>
                  <a:ext uri="{FF2B5EF4-FFF2-40B4-BE49-F238E27FC236}">
                    <a16:creationId xmlns:a16="http://schemas.microsoft.com/office/drawing/2014/main" id="{D335E38A-4DCA-4501-AA5D-DCDC30BF7D07}"/>
                  </a:ext>
                </a:extLst>
              </p:cNvPr>
              <p:cNvSpPr/>
              <p:nvPr/>
            </p:nvSpPr>
            <p:spPr>
              <a:xfrm>
                <a:off x="10726912" y="2764395"/>
                <a:ext cx="136347" cy="206398"/>
              </a:xfrm>
              <a:custGeom>
                <a:avLst/>
                <a:gdLst>
                  <a:gd name="connsiteX0" fmla="*/ 68174 w 136347"/>
                  <a:gd name="connsiteY0" fmla="*/ 206398 h 206398"/>
                  <a:gd name="connsiteX1" fmla="*/ 0 w 136347"/>
                  <a:gd name="connsiteY1" fmla="*/ 138224 h 206398"/>
                  <a:gd name="connsiteX2" fmla="*/ 0 w 136347"/>
                  <a:gd name="connsiteY2" fmla="*/ 68174 h 206398"/>
                  <a:gd name="connsiteX3" fmla="*/ 68174 w 136347"/>
                  <a:gd name="connsiteY3" fmla="*/ 0 h 206398"/>
                  <a:gd name="connsiteX4" fmla="*/ 136347 w 136347"/>
                  <a:gd name="connsiteY4" fmla="*/ 68174 h 206398"/>
                  <a:gd name="connsiteX5" fmla="*/ 136347 w 136347"/>
                  <a:gd name="connsiteY5" fmla="*/ 138224 h 206398"/>
                  <a:gd name="connsiteX6" fmla="*/ 68174 w 136347"/>
                  <a:gd name="connsiteY6" fmla="*/ 206398 h 206398"/>
                  <a:gd name="connsiteX7" fmla="*/ 68174 w 136347"/>
                  <a:gd name="connsiteY7" fmla="*/ 206398 h 206398"/>
                  <a:gd name="connsiteX8" fmla="*/ 68174 w 136347"/>
                  <a:gd name="connsiteY8" fmla="*/ 33149 h 206398"/>
                  <a:gd name="connsiteX9" fmla="*/ 33148 w 136347"/>
                  <a:gd name="connsiteY9" fmla="*/ 68174 h 206398"/>
                  <a:gd name="connsiteX10" fmla="*/ 33148 w 136347"/>
                  <a:gd name="connsiteY10" fmla="*/ 138224 h 206398"/>
                  <a:gd name="connsiteX11" fmla="*/ 68174 w 136347"/>
                  <a:gd name="connsiteY11" fmla="*/ 173250 h 206398"/>
                  <a:gd name="connsiteX12" fmla="*/ 103199 w 136347"/>
                  <a:gd name="connsiteY12" fmla="*/ 138224 h 206398"/>
                  <a:gd name="connsiteX13" fmla="*/ 103199 w 136347"/>
                  <a:gd name="connsiteY13" fmla="*/ 68174 h 206398"/>
                  <a:gd name="connsiteX14" fmla="*/ 68174 w 136347"/>
                  <a:gd name="connsiteY14" fmla="*/ 33149 h 206398"/>
                  <a:gd name="connsiteX15" fmla="*/ 68174 w 136347"/>
                  <a:gd name="connsiteY15" fmla="*/ 33149 h 206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6347" h="206398">
                    <a:moveTo>
                      <a:pt x="68174" y="206398"/>
                    </a:moveTo>
                    <a:cubicBezTo>
                      <a:pt x="30647" y="206398"/>
                      <a:pt x="0" y="175751"/>
                      <a:pt x="0" y="138224"/>
                    </a:cubicBezTo>
                    <a:lnTo>
                      <a:pt x="0" y="68174"/>
                    </a:lnTo>
                    <a:cubicBezTo>
                      <a:pt x="0" y="30647"/>
                      <a:pt x="30647" y="0"/>
                      <a:pt x="68174" y="0"/>
                    </a:cubicBezTo>
                    <a:cubicBezTo>
                      <a:pt x="105701" y="0"/>
                      <a:pt x="136347" y="30647"/>
                      <a:pt x="136347" y="68174"/>
                    </a:cubicBezTo>
                    <a:lnTo>
                      <a:pt x="136347" y="138224"/>
                    </a:lnTo>
                    <a:cubicBezTo>
                      <a:pt x="135722" y="175751"/>
                      <a:pt x="105701" y="206398"/>
                      <a:pt x="68174" y="206398"/>
                    </a:cubicBezTo>
                    <a:lnTo>
                      <a:pt x="68174" y="206398"/>
                    </a:lnTo>
                    <a:close/>
                    <a:moveTo>
                      <a:pt x="68174" y="33149"/>
                    </a:moveTo>
                    <a:cubicBezTo>
                      <a:pt x="48785" y="33149"/>
                      <a:pt x="33148" y="48785"/>
                      <a:pt x="33148" y="68174"/>
                    </a:cubicBezTo>
                    <a:lnTo>
                      <a:pt x="33148" y="138224"/>
                    </a:lnTo>
                    <a:cubicBezTo>
                      <a:pt x="33148" y="157613"/>
                      <a:pt x="48785" y="173250"/>
                      <a:pt x="68174" y="173250"/>
                    </a:cubicBezTo>
                    <a:cubicBezTo>
                      <a:pt x="87563" y="173250"/>
                      <a:pt x="103199" y="157613"/>
                      <a:pt x="103199" y="138224"/>
                    </a:cubicBezTo>
                    <a:lnTo>
                      <a:pt x="103199" y="68174"/>
                    </a:lnTo>
                    <a:cubicBezTo>
                      <a:pt x="102574" y="48785"/>
                      <a:pt x="86938" y="33149"/>
                      <a:pt x="68174" y="33149"/>
                    </a:cubicBezTo>
                    <a:lnTo>
                      <a:pt x="68174" y="33149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175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5396965" y="3604373"/>
            <a:ext cx="401235" cy="400913"/>
            <a:chOff x="5384628" y="3604373"/>
            <a:chExt cx="401235" cy="400913"/>
          </a:xfrm>
          <a:solidFill>
            <a:srgbClr val="B1B1A1"/>
          </a:solidFill>
        </p:grpSpPr>
        <p:sp>
          <p:nvSpPr>
            <p:cNvPr id="176" name="Forma Livre: Forma 175">
              <a:extLst>
                <a:ext uri="{FF2B5EF4-FFF2-40B4-BE49-F238E27FC236}">
                  <a16:creationId xmlns:a16="http://schemas.microsoft.com/office/drawing/2014/main" id="{F63C6026-ECC2-412E-BF51-AE605781C8E4}"/>
                </a:ext>
              </a:extLst>
            </p:cNvPr>
            <p:cNvSpPr/>
            <p:nvPr/>
          </p:nvSpPr>
          <p:spPr>
            <a:xfrm>
              <a:off x="5446191" y="3727283"/>
              <a:ext cx="221253" cy="212331"/>
            </a:xfrm>
            <a:custGeom>
              <a:avLst/>
              <a:gdLst>
                <a:gd name="connsiteX0" fmla="*/ 56343 w 221253"/>
                <a:gd name="connsiteY0" fmla="*/ 212331 h 212331"/>
                <a:gd name="connsiteX1" fmla="*/ 18816 w 221253"/>
                <a:gd name="connsiteY1" fmla="*/ 197946 h 212331"/>
                <a:gd name="connsiteX2" fmla="*/ 52 w 221253"/>
                <a:gd name="connsiteY2" fmla="*/ 159168 h 212331"/>
                <a:gd name="connsiteX3" fmla="*/ 14438 w 221253"/>
                <a:gd name="connsiteY3" fmla="*/ 119765 h 212331"/>
                <a:gd name="connsiteX4" fmla="*/ 136400 w 221253"/>
                <a:gd name="connsiteY4" fmla="*/ 4057 h 212331"/>
                <a:gd name="connsiteX5" fmla="*/ 160167 w 221253"/>
                <a:gd name="connsiteY5" fmla="*/ 5933 h 212331"/>
                <a:gd name="connsiteX6" fmla="*/ 158291 w 221253"/>
                <a:gd name="connsiteY6" fmla="*/ 29700 h 212331"/>
                <a:gd name="connsiteX7" fmla="*/ 38830 w 221253"/>
                <a:gd name="connsiteY7" fmla="*/ 142906 h 212331"/>
                <a:gd name="connsiteX8" fmla="*/ 33201 w 221253"/>
                <a:gd name="connsiteY8" fmla="*/ 157917 h 212331"/>
                <a:gd name="connsiteX9" fmla="*/ 40706 w 221253"/>
                <a:gd name="connsiteY9" fmla="*/ 173553 h 212331"/>
                <a:gd name="connsiteX10" fmla="*/ 72605 w 221253"/>
                <a:gd name="connsiteY10" fmla="*/ 172302 h 212331"/>
                <a:gd name="connsiteX11" fmla="*/ 194567 w 221253"/>
                <a:gd name="connsiteY11" fmla="*/ 61598 h 212331"/>
                <a:gd name="connsiteX12" fmla="*/ 217709 w 221253"/>
                <a:gd name="connsiteY12" fmla="*/ 64100 h 212331"/>
                <a:gd name="connsiteX13" fmla="*/ 215207 w 221253"/>
                <a:gd name="connsiteY13" fmla="*/ 87241 h 212331"/>
                <a:gd name="connsiteX14" fmla="*/ 96372 w 221253"/>
                <a:gd name="connsiteY14" fmla="*/ 195444 h 212331"/>
                <a:gd name="connsiteX15" fmla="*/ 56343 w 221253"/>
                <a:gd name="connsiteY15" fmla="*/ 212331 h 212331"/>
                <a:gd name="connsiteX16" fmla="*/ 56343 w 221253"/>
                <a:gd name="connsiteY16" fmla="*/ 212331 h 212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1253" h="212331">
                  <a:moveTo>
                    <a:pt x="56343" y="212331"/>
                  </a:moveTo>
                  <a:cubicBezTo>
                    <a:pt x="43208" y="212331"/>
                    <a:pt x="29448" y="207328"/>
                    <a:pt x="18816" y="197946"/>
                  </a:cubicBezTo>
                  <a:cubicBezTo>
                    <a:pt x="7558" y="187939"/>
                    <a:pt x="678" y="174179"/>
                    <a:pt x="52" y="159168"/>
                  </a:cubicBezTo>
                  <a:cubicBezTo>
                    <a:pt x="-573" y="144783"/>
                    <a:pt x="4430" y="130397"/>
                    <a:pt x="14438" y="119765"/>
                  </a:cubicBezTo>
                  <a:cubicBezTo>
                    <a:pt x="52590" y="79111"/>
                    <a:pt x="93244" y="40333"/>
                    <a:pt x="136400" y="4057"/>
                  </a:cubicBezTo>
                  <a:cubicBezTo>
                    <a:pt x="143280" y="-2198"/>
                    <a:pt x="153913" y="-947"/>
                    <a:pt x="160167" y="5933"/>
                  </a:cubicBezTo>
                  <a:cubicBezTo>
                    <a:pt x="165796" y="12813"/>
                    <a:pt x="165171" y="23446"/>
                    <a:pt x="158291" y="29700"/>
                  </a:cubicBezTo>
                  <a:cubicBezTo>
                    <a:pt x="116386" y="65351"/>
                    <a:pt x="76357" y="103503"/>
                    <a:pt x="38830" y="142906"/>
                  </a:cubicBezTo>
                  <a:cubicBezTo>
                    <a:pt x="35078" y="147284"/>
                    <a:pt x="33201" y="152288"/>
                    <a:pt x="33201" y="157917"/>
                  </a:cubicBezTo>
                  <a:cubicBezTo>
                    <a:pt x="33201" y="163546"/>
                    <a:pt x="36329" y="169175"/>
                    <a:pt x="40706" y="173553"/>
                  </a:cubicBezTo>
                  <a:cubicBezTo>
                    <a:pt x="50088" y="181684"/>
                    <a:pt x="63848" y="181059"/>
                    <a:pt x="72605" y="172302"/>
                  </a:cubicBezTo>
                  <a:cubicBezTo>
                    <a:pt x="110132" y="133524"/>
                    <a:pt x="151411" y="95998"/>
                    <a:pt x="194567" y="61598"/>
                  </a:cubicBezTo>
                  <a:cubicBezTo>
                    <a:pt x="201447" y="55969"/>
                    <a:pt x="212080" y="57220"/>
                    <a:pt x="217709" y="64100"/>
                  </a:cubicBezTo>
                  <a:cubicBezTo>
                    <a:pt x="223338" y="70980"/>
                    <a:pt x="222087" y="81612"/>
                    <a:pt x="215207" y="87241"/>
                  </a:cubicBezTo>
                  <a:cubicBezTo>
                    <a:pt x="173302" y="121015"/>
                    <a:pt x="133273" y="157917"/>
                    <a:pt x="96372" y="195444"/>
                  </a:cubicBezTo>
                  <a:cubicBezTo>
                    <a:pt x="85739" y="206702"/>
                    <a:pt x="71354" y="212331"/>
                    <a:pt x="56343" y="212331"/>
                  </a:cubicBezTo>
                  <a:lnTo>
                    <a:pt x="56343" y="212331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77" name="Forma Livre: Forma 176">
              <a:extLst>
                <a:ext uri="{FF2B5EF4-FFF2-40B4-BE49-F238E27FC236}">
                  <a16:creationId xmlns:a16="http://schemas.microsoft.com/office/drawing/2014/main" id="{7B7EDEB2-43E3-4796-BDC1-6D957FF2FD7C}"/>
                </a:ext>
              </a:extLst>
            </p:cNvPr>
            <p:cNvSpPr/>
            <p:nvPr/>
          </p:nvSpPr>
          <p:spPr>
            <a:xfrm>
              <a:off x="5573210" y="3604373"/>
              <a:ext cx="212652" cy="212652"/>
            </a:xfrm>
            <a:custGeom>
              <a:avLst/>
              <a:gdLst>
                <a:gd name="connsiteX0" fmla="*/ 106326 w 212652"/>
                <a:gd name="connsiteY0" fmla="*/ 212653 h 212652"/>
                <a:gd name="connsiteX1" fmla="*/ 31272 w 212652"/>
                <a:gd name="connsiteY1" fmla="*/ 181380 h 212652"/>
                <a:gd name="connsiteX2" fmla="*/ 0 w 212652"/>
                <a:gd name="connsiteY2" fmla="*/ 106326 h 212652"/>
                <a:gd name="connsiteX3" fmla="*/ 31272 w 212652"/>
                <a:gd name="connsiteY3" fmla="*/ 31272 h 212652"/>
                <a:gd name="connsiteX4" fmla="*/ 106326 w 212652"/>
                <a:gd name="connsiteY4" fmla="*/ 0 h 212652"/>
                <a:gd name="connsiteX5" fmla="*/ 181380 w 212652"/>
                <a:gd name="connsiteY5" fmla="*/ 31272 h 212652"/>
                <a:gd name="connsiteX6" fmla="*/ 212653 w 212652"/>
                <a:gd name="connsiteY6" fmla="*/ 106326 h 212652"/>
                <a:gd name="connsiteX7" fmla="*/ 181380 w 212652"/>
                <a:gd name="connsiteY7" fmla="*/ 181380 h 212652"/>
                <a:gd name="connsiteX8" fmla="*/ 106326 w 212652"/>
                <a:gd name="connsiteY8" fmla="*/ 212653 h 212652"/>
                <a:gd name="connsiteX9" fmla="*/ 106326 w 212652"/>
                <a:gd name="connsiteY9" fmla="*/ 212653 h 212652"/>
                <a:gd name="connsiteX10" fmla="*/ 106326 w 212652"/>
                <a:gd name="connsiteY10" fmla="*/ 33774 h 212652"/>
                <a:gd name="connsiteX11" fmla="*/ 55039 w 212652"/>
                <a:gd name="connsiteY11" fmla="*/ 55039 h 212652"/>
                <a:gd name="connsiteX12" fmla="*/ 33774 w 212652"/>
                <a:gd name="connsiteY12" fmla="*/ 106326 h 212652"/>
                <a:gd name="connsiteX13" fmla="*/ 55039 w 212652"/>
                <a:gd name="connsiteY13" fmla="*/ 157613 h 212652"/>
                <a:gd name="connsiteX14" fmla="*/ 106326 w 212652"/>
                <a:gd name="connsiteY14" fmla="*/ 178879 h 212652"/>
                <a:gd name="connsiteX15" fmla="*/ 157613 w 212652"/>
                <a:gd name="connsiteY15" fmla="*/ 157613 h 212652"/>
                <a:gd name="connsiteX16" fmla="*/ 178878 w 212652"/>
                <a:gd name="connsiteY16" fmla="*/ 106326 h 212652"/>
                <a:gd name="connsiteX17" fmla="*/ 157613 w 212652"/>
                <a:gd name="connsiteY17" fmla="*/ 55039 h 212652"/>
                <a:gd name="connsiteX18" fmla="*/ 106326 w 212652"/>
                <a:gd name="connsiteY18" fmla="*/ 33774 h 212652"/>
                <a:gd name="connsiteX19" fmla="*/ 106326 w 212652"/>
                <a:gd name="connsiteY19" fmla="*/ 33774 h 21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12652" h="212652">
                  <a:moveTo>
                    <a:pt x="106326" y="212653"/>
                  </a:moveTo>
                  <a:cubicBezTo>
                    <a:pt x="78181" y="212653"/>
                    <a:pt x="51287" y="201395"/>
                    <a:pt x="31272" y="181380"/>
                  </a:cubicBezTo>
                  <a:cubicBezTo>
                    <a:pt x="11258" y="161366"/>
                    <a:pt x="0" y="135097"/>
                    <a:pt x="0" y="106326"/>
                  </a:cubicBezTo>
                  <a:cubicBezTo>
                    <a:pt x="0" y="78181"/>
                    <a:pt x="11258" y="51287"/>
                    <a:pt x="31272" y="31272"/>
                  </a:cubicBezTo>
                  <a:cubicBezTo>
                    <a:pt x="51287" y="11258"/>
                    <a:pt x="77555" y="0"/>
                    <a:pt x="106326" y="0"/>
                  </a:cubicBezTo>
                  <a:cubicBezTo>
                    <a:pt x="134472" y="0"/>
                    <a:pt x="161366" y="11258"/>
                    <a:pt x="181380" y="31272"/>
                  </a:cubicBezTo>
                  <a:cubicBezTo>
                    <a:pt x="201394" y="51287"/>
                    <a:pt x="212653" y="77556"/>
                    <a:pt x="212653" y="106326"/>
                  </a:cubicBezTo>
                  <a:cubicBezTo>
                    <a:pt x="212653" y="134471"/>
                    <a:pt x="201394" y="161366"/>
                    <a:pt x="181380" y="181380"/>
                  </a:cubicBezTo>
                  <a:cubicBezTo>
                    <a:pt x="161366" y="201395"/>
                    <a:pt x="135097" y="212653"/>
                    <a:pt x="106326" y="212653"/>
                  </a:cubicBezTo>
                  <a:lnTo>
                    <a:pt x="106326" y="212653"/>
                  </a:lnTo>
                  <a:close/>
                  <a:moveTo>
                    <a:pt x="106326" y="33774"/>
                  </a:moveTo>
                  <a:cubicBezTo>
                    <a:pt x="86937" y="33774"/>
                    <a:pt x="68799" y="41280"/>
                    <a:pt x="55039" y="55039"/>
                  </a:cubicBezTo>
                  <a:cubicBezTo>
                    <a:pt x="41279" y="68799"/>
                    <a:pt x="33774" y="86937"/>
                    <a:pt x="33774" y="106326"/>
                  </a:cubicBezTo>
                  <a:cubicBezTo>
                    <a:pt x="33774" y="125715"/>
                    <a:pt x="41279" y="143853"/>
                    <a:pt x="55039" y="157613"/>
                  </a:cubicBezTo>
                  <a:cubicBezTo>
                    <a:pt x="68799" y="171373"/>
                    <a:pt x="86937" y="178879"/>
                    <a:pt x="106326" y="178879"/>
                  </a:cubicBezTo>
                  <a:cubicBezTo>
                    <a:pt x="125715" y="178879"/>
                    <a:pt x="143853" y="171373"/>
                    <a:pt x="157613" y="157613"/>
                  </a:cubicBezTo>
                  <a:cubicBezTo>
                    <a:pt x="171373" y="143853"/>
                    <a:pt x="178878" y="125715"/>
                    <a:pt x="178878" y="106326"/>
                  </a:cubicBezTo>
                  <a:cubicBezTo>
                    <a:pt x="178878" y="86937"/>
                    <a:pt x="171373" y="68799"/>
                    <a:pt x="157613" y="55039"/>
                  </a:cubicBezTo>
                  <a:cubicBezTo>
                    <a:pt x="144479" y="41280"/>
                    <a:pt x="125715" y="33774"/>
                    <a:pt x="106326" y="33774"/>
                  </a:cubicBezTo>
                  <a:lnTo>
                    <a:pt x="106326" y="33774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78" name="Forma Livre: Forma 177">
              <a:extLst>
                <a:ext uri="{FF2B5EF4-FFF2-40B4-BE49-F238E27FC236}">
                  <a16:creationId xmlns:a16="http://schemas.microsoft.com/office/drawing/2014/main" id="{7C60808A-D085-4121-B7E2-127AAB4646B6}"/>
                </a:ext>
              </a:extLst>
            </p:cNvPr>
            <p:cNvSpPr/>
            <p:nvPr/>
          </p:nvSpPr>
          <p:spPr>
            <a:xfrm>
              <a:off x="5619209" y="3613755"/>
              <a:ext cx="157556" cy="158238"/>
            </a:xfrm>
            <a:custGeom>
              <a:avLst/>
              <a:gdLst>
                <a:gd name="connsiteX0" fmla="*/ 96604 w 157556"/>
                <a:gd name="connsiteY0" fmla="*/ 158239 h 158238"/>
                <a:gd name="connsiteX1" fmla="*/ 28430 w 157556"/>
                <a:gd name="connsiteY1" fmla="*/ 130094 h 158238"/>
                <a:gd name="connsiteX2" fmla="*/ 11542 w 157556"/>
                <a:gd name="connsiteY2" fmla="*/ 15011 h 158238"/>
                <a:gd name="connsiteX3" fmla="*/ 14670 w 157556"/>
                <a:gd name="connsiteY3" fmla="*/ 11883 h 158238"/>
                <a:gd name="connsiteX4" fmla="*/ 60953 w 157556"/>
                <a:gd name="connsiteY4" fmla="*/ 0 h 158238"/>
                <a:gd name="connsiteX5" fmla="*/ 129127 w 157556"/>
                <a:gd name="connsiteY5" fmla="*/ 28145 h 158238"/>
                <a:gd name="connsiteX6" fmla="*/ 146014 w 157556"/>
                <a:gd name="connsiteY6" fmla="*/ 143228 h 158238"/>
                <a:gd name="connsiteX7" fmla="*/ 142887 w 157556"/>
                <a:gd name="connsiteY7" fmla="*/ 146355 h 158238"/>
                <a:gd name="connsiteX8" fmla="*/ 96604 w 157556"/>
                <a:gd name="connsiteY8" fmla="*/ 158239 h 158238"/>
                <a:gd name="connsiteX9" fmla="*/ 96604 w 157556"/>
                <a:gd name="connsiteY9" fmla="*/ 158239 h 158238"/>
                <a:gd name="connsiteX10" fmla="*/ 24677 w 157556"/>
                <a:gd name="connsiteY10" fmla="*/ 25018 h 158238"/>
                <a:gd name="connsiteX11" fmla="*/ 39688 w 157556"/>
                <a:gd name="connsiteY11" fmla="*/ 118210 h 158238"/>
                <a:gd name="connsiteX12" fmla="*/ 96604 w 157556"/>
                <a:gd name="connsiteY12" fmla="*/ 141352 h 158238"/>
                <a:gd name="connsiteX13" fmla="*/ 132880 w 157556"/>
                <a:gd name="connsiteY13" fmla="*/ 132595 h 158238"/>
                <a:gd name="connsiteX14" fmla="*/ 117869 w 157556"/>
                <a:gd name="connsiteY14" fmla="*/ 39403 h 158238"/>
                <a:gd name="connsiteX15" fmla="*/ 60953 w 157556"/>
                <a:gd name="connsiteY15" fmla="*/ 16262 h 158238"/>
                <a:gd name="connsiteX16" fmla="*/ 24677 w 157556"/>
                <a:gd name="connsiteY16" fmla="*/ 25018 h 158238"/>
                <a:gd name="connsiteX17" fmla="*/ 24677 w 157556"/>
                <a:gd name="connsiteY17" fmla="*/ 25018 h 158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57556" h="158238">
                  <a:moveTo>
                    <a:pt x="96604" y="158239"/>
                  </a:moveTo>
                  <a:cubicBezTo>
                    <a:pt x="70960" y="158239"/>
                    <a:pt x="46568" y="148231"/>
                    <a:pt x="28430" y="130094"/>
                  </a:cubicBezTo>
                  <a:cubicBezTo>
                    <a:pt x="-2217" y="99446"/>
                    <a:pt x="-8472" y="53789"/>
                    <a:pt x="11542" y="15011"/>
                  </a:cubicBezTo>
                  <a:cubicBezTo>
                    <a:pt x="12168" y="13760"/>
                    <a:pt x="13419" y="12509"/>
                    <a:pt x="14670" y="11883"/>
                  </a:cubicBezTo>
                  <a:cubicBezTo>
                    <a:pt x="29055" y="4378"/>
                    <a:pt x="44692" y="0"/>
                    <a:pt x="60953" y="0"/>
                  </a:cubicBezTo>
                  <a:cubicBezTo>
                    <a:pt x="86596" y="0"/>
                    <a:pt x="110989" y="10007"/>
                    <a:pt x="129127" y="28145"/>
                  </a:cubicBezTo>
                  <a:cubicBezTo>
                    <a:pt x="159774" y="58792"/>
                    <a:pt x="166029" y="104450"/>
                    <a:pt x="146014" y="143228"/>
                  </a:cubicBezTo>
                  <a:cubicBezTo>
                    <a:pt x="145389" y="144479"/>
                    <a:pt x="144138" y="145730"/>
                    <a:pt x="142887" y="146355"/>
                  </a:cubicBezTo>
                  <a:cubicBezTo>
                    <a:pt x="128502" y="153861"/>
                    <a:pt x="112240" y="158239"/>
                    <a:pt x="96604" y="158239"/>
                  </a:cubicBezTo>
                  <a:lnTo>
                    <a:pt x="96604" y="158239"/>
                  </a:lnTo>
                  <a:close/>
                  <a:moveTo>
                    <a:pt x="24677" y="25018"/>
                  </a:moveTo>
                  <a:cubicBezTo>
                    <a:pt x="9041" y="56290"/>
                    <a:pt x="14670" y="93192"/>
                    <a:pt x="39688" y="118210"/>
                  </a:cubicBezTo>
                  <a:cubicBezTo>
                    <a:pt x="54699" y="133221"/>
                    <a:pt x="74713" y="141352"/>
                    <a:pt x="96604" y="141352"/>
                  </a:cubicBezTo>
                  <a:cubicBezTo>
                    <a:pt x="109113" y="141352"/>
                    <a:pt x="121622" y="138224"/>
                    <a:pt x="132880" y="132595"/>
                  </a:cubicBezTo>
                  <a:cubicBezTo>
                    <a:pt x="148516" y="101323"/>
                    <a:pt x="142887" y="64421"/>
                    <a:pt x="117869" y="39403"/>
                  </a:cubicBezTo>
                  <a:cubicBezTo>
                    <a:pt x="102858" y="24392"/>
                    <a:pt x="82844" y="16262"/>
                    <a:pt x="60953" y="16262"/>
                  </a:cubicBezTo>
                  <a:cubicBezTo>
                    <a:pt x="48444" y="16262"/>
                    <a:pt x="35935" y="19389"/>
                    <a:pt x="24677" y="25018"/>
                  </a:cubicBezTo>
                  <a:lnTo>
                    <a:pt x="24677" y="25018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79" name="Forma Livre: Forma 178">
              <a:extLst>
                <a:ext uri="{FF2B5EF4-FFF2-40B4-BE49-F238E27FC236}">
                  <a16:creationId xmlns:a16="http://schemas.microsoft.com/office/drawing/2014/main" id="{B73F99E6-133A-42AB-9E48-BAF73534544B}"/>
                </a:ext>
              </a:extLst>
            </p:cNvPr>
            <p:cNvSpPr/>
            <p:nvPr/>
          </p:nvSpPr>
          <p:spPr>
            <a:xfrm>
              <a:off x="5384628" y="3905649"/>
              <a:ext cx="100462" cy="99636"/>
            </a:xfrm>
            <a:custGeom>
              <a:avLst/>
              <a:gdLst>
                <a:gd name="connsiteX0" fmla="*/ 22838 w 100462"/>
                <a:gd name="connsiteY0" fmla="*/ 99637 h 99636"/>
                <a:gd name="connsiteX1" fmla="*/ 5951 w 100462"/>
                <a:gd name="connsiteY1" fmla="*/ 97135 h 99636"/>
                <a:gd name="connsiteX2" fmla="*/ 322 w 100462"/>
                <a:gd name="connsiteY2" fmla="*/ 86502 h 99636"/>
                <a:gd name="connsiteX3" fmla="*/ 10329 w 100462"/>
                <a:gd name="connsiteY3" fmla="*/ 80873 h 99636"/>
                <a:gd name="connsiteX4" fmla="*/ 34096 w 100462"/>
                <a:gd name="connsiteY4" fmla="*/ 79622 h 99636"/>
                <a:gd name="connsiteX5" fmla="*/ 43478 w 100462"/>
                <a:gd name="connsiteY5" fmla="*/ 49601 h 99636"/>
                <a:gd name="connsiteX6" fmla="*/ 58489 w 100462"/>
                <a:gd name="connsiteY6" fmla="*/ 10823 h 99636"/>
                <a:gd name="connsiteX7" fmla="*/ 92888 w 100462"/>
                <a:gd name="connsiteY7" fmla="*/ 190 h 99636"/>
                <a:gd name="connsiteX8" fmla="*/ 100394 w 100462"/>
                <a:gd name="connsiteY8" fmla="*/ 9572 h 99636"/>
                <a:gd name="connsiteX9" fmla="*/ 91012 w 100462"/>
                <a:gd name="connsiteY9" fmla="*/ 17078 h 99636"/>
                <a:gd name="connsiteX10" fmla="*/ 69747 w 100462"/>
                <a:gd name="connsiteY10" fmla="*/ 23957 h 99636"/>
                <a:gd name="connsiteX11" fmla="*/ 60365 w 100462"/>
                <a:gd name="connsiteY11" fmla="*/ 50226 h 99636"/>
                <a:gd name="connsiteX12" fmla="*/ 44103 w 100462"/>
                <a:gd name="connsiteY12" fmla="*/ 94008 h 99636"/>
                <a:gd name="connsiteX13" fmla="*/ 22838 w 100462"/>
                <a:gd name="connsiteY13" fmla="*/ 99637 h 99636"/>
                <a:gd name="connsiteX14" fmla="*/ 22838 w 100462"/>
                <a:gd name="connsiteY14" fmla="*/ 99637 h 99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0462" h="99636">
                  <a:moveTo>
                    <a:pt x="22838" y="99637"/>
                  </a:moveTo>
                  <a:cubicBezTo>
                    <a:pt x="17835" y="99637"/>
                    <a:pt x="12206" y="99011"/>
                    <a:pt x="5951" y="97135"/>
                  </a:cubicBezTo>
                  <a:cubicBezTo>
                    <a:pt x="1573" y="95884"/>
                    <a:pt x="-929" y="91506"/>
                    <a:pt x="322" y="86502"/>
                  </a:cubicBezTo>
                  <a:cubicBezTo>
                    <a:pt x="1573" y="82124"/>
                    <a:pt x="5951" y="79622"/>
                    <a:pt x="10329" y="80873"/>
                  </a:cubicBezTo>
                  <a:cubicBezTo>
                    <a:pt x="17209" y="82750"/>
                    <a:pt x="27216" y="84626"/>
                    <a:pt x="34096" y="79622"/>
                  </a:cubicBezTo>
                  <a:cubicBezTo>
                    <a:pt x="40351" y="75244"/>
                    <a:pt x="43478" y="64612"/>
                    <a:pt x="43478" y="49601"/>
                  </a:cubicBezTo>
                  <a:cubicBezTo>
                    <a:pt x="43478" y="32714"/>
                    <a:pt x="48482" y="19580"/>
                    <a:pt x="58489" y="10823"/>
                  </a:cubicBezTo>
                  <a:cubicBezTo>
                    <a:pt x="72874" y="-2311"/>
                    <a:pt x="91638" y="190"/>
                    <a:pt x="92888" y="190"/>
                  </a:cubicBezTo>
                  <a:cubicBezTo>
                    <a:pt x="97267" y="816"/>
                    <a:pt x="101020" y="4569"/>
                    <a:pt x="100394" y="9572"/>
                  </a:cubicBezTo>
                  <a:cubicBezTo>
                    <a:pt x="99769" y="13950"/>
                    <a:pt x="96016" y="17078"/>
                    <a:pt x="91012" y="17078"/>
                  </a:cubicBezTo>
                  <a:cubicBezTo>
                    <a:pt x="90387" y="17078"/>
                    <a:pt x="77878" y="15827"/>
                    <a:pt x="69747" y="23957"/>
                  </a:cubicBezTo>
                  <a:cubicBezTo>
                    <a:pt x="63493" y="29587"/>
                    <a:pt x="60365" y="38343"/>
                    <a:pt x="60365" y="50226"/>
                  </a:cubicBezTo>
                  <a:cubicBezTo>
                    <a:pt x="60365" y="70866"/>
                    <a:pt x="54736" y="85877"/>
                    <a:pt x="44103" y="94008"/>
                  </a:cubicBezTo>
                  <a:cubicBezTo>
                    <a:pt x="38475" y="97761"/>
                    <a:pt x="31594" y="99637"/>
                    <a:pt x="22838" y="99637"/>
                  </a:cubicBezTo>
                  <a:lnTo>
                    <a:pt x="22838" y="99637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80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6483692" y="3618133"/>
            <a:ext cx="277073" cy="381524"/>
            <a:chOff x="6471355" y="3618133"/>
            <a:chExt cx="277073" cy="381524"/>
          </a:xfrm>
          <a:solidFill>
            <a:srgbClr val="B1B1A1"/>
          </a:solidFill>
        </p:grpSpPr>
        <p:sp>
          <p:nvSpPr>
            <p:cNvPr id="181" name="Forma Livre: Forma 180">
              <a:extLst>
                <a:ext uri="{FF2B5EF4-FFF2-40B4-BE49-F238E27FC236}">
                  <a16:creationId xmlns:a16="http://schemas.microsoft.com/office/drawing/2014/main" id="{6EADCD35-5D2D-4294-BA50-730C3D8DD49F}"/>
                </a:ext>
              </a:extLst>
            </p:cNvPr>
            <p:cNvSpPr/>
            <p:nvPr/>
          </p:nvSpPr>
          <p:spPr>
            <a:xfrm>
              <a:off x="6471355" y="3618133"/>
              <a:ext cx="277073" cy="381524"/>
            </a:xfrm>
            <a:custGeom>
              <a:avLst/>
              <a:gdLst>
                <a:gd name="connsiteX0" fmla="*/ 237671 w 277073"/>
                <a:gd name="connsiteY0" fmla="*/ 381524 h 381524"/>
                <a:gd name="connsiteX1" fmla="*/ 39403 w 277073"/>
                <a:gd name="connsiteY1" fmla="*/ 381524 h 381524"/>
                <a:gd name="connsiteX2" fmla="*/ 0 w 277073"/>
                <a:gd name="connsiteY2" fmla="*/ 342121 h 381524"/>
                <a:gd name="connsiteX3" fmla="*/ 0 w 277073"/>
                <a:gd name="connsiteY3" fmla="*/ 39403 h 381524"/>
                <a:gd name="connsiteX4" fmla="*/ 39403 w 277073"/>
                <a:gd name="connsiteY4" fmla="*/ 0 h 381524"/>
                <a:gd name="connsiteX5" fmla="*/ 237671 w 277073"/>
                <a:gd name="connsiteY5" fmla="*/ 0 h 381524"/>
                <a:gd name="connsiteX6" fmla="*/ 277074 w 277073"/>
                <a:gd name="connsiteY6" fmla="*/ 39403 h 381524"/>
                <a:gd name="connsiteX7" fmla="*/ 277074 w 277073"/>
                <a:gd name="connsiteY7" fmla="*/ 342121 h 381524"/>
                <a:gd name="connsiteX8" fmla="*/ 237671 w 277073"/>
                <a:gd name="connsiteY8" fmla="*/ 381524 h 381524"/>
                <a:gd name="connsiteX9" fmla="*/ 237671 w 277073"/>
                <a:gd name="connsiteY9" fmla="*/ 381524 h 381524"/>
                <a:gd name="connsiteX10" fmla="*/ 39403 w 277073"/>
                <a:gd name="connsiteY10" fmla="*/ 33774 h 381524"/>
                <a:gd name="connsiteX11" fmla="*/ 33149 w 277073"/>
                <a:gd name="connsiteY11" fmla="*/ 40029 h 381524"/>
                <a:gd name="connsiteX12" fmla="*/ 33149 w 277073"/>
                <a:gd name="connsiteY12" fmla="*/ 342746 h 381524"/>
                <a:gd name="connsiteX13" fmla="*/ 39403 w 277073"/>
                <a:gd name="connsiteY13" fmla="*/ 349001 h 381524"/>
                <a:gd name="connsiteX14" fmla="*/ 237671 w 277073"/>
                <a:gd name="connsiteY14" fmla="*/ 349001 h 381524"/>
                <a:gd name="connsiteX15" fmla="*/ 243925 w 277073"/>
                <a:gd name="connsiteY15" fmla="*/ 342746 h 381524"/>
                <a:gd name="connsiteX16" fmla="*/ 243925 w 277073"/>
                <a:gd name="connsiteY16" fmla="*/ 40029 h 381524"/>
                <a:gd name="connsiteX17" fmla="*/ 237671 w 277073"/>
                <a:gd name="connsiteY17" fmla="*/ 33774 h 381524"/>
                <a:gd name="connsiteX18" fmla="*/ 39403 w 277073"/>
                <a:gd name="connsiteY18" fmla="*/ 33774 h 381524"/>
                <a:gd name="connsiteX19" fmla="*/ 39403 w 277073"/>
                <a:gd name="connsiteY19" fmla="*/ 33774 h 381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77073" h="381524">
                  <a:moveTo>
                    <a:pt x="237671" y="381524"/>
                  </a:moveTo>
                  <a:lnTo>
                    <a:pt x="39403" y="381524"/>
                  </a:lnTo>
                  <a:cubicBezTo>
                    <a:pt x="17513" y="381524"/>
                    <a:pt x="0" y="364012"/>
                    <a:pt x="0" y="342121"/>
                  </a:cubicBezTo>
                  <a:lnTo>
                    <a:pt x="0" y="39403"/>
                  </a:lnTo>
                  <a:cubicBezTo>
                    <a:pt x="0" y="17513"/>
                    <a:pt x="17513" y="0"/>
                    <a:pt x="39403" y="0"/>
                  </a:cubicBezTo>
                  <a:lnTo>
                    <a:pt x="237671" y="0"/>
                  </a:lnTo>
                  <a:cubicBezTo>
                    <a:pt x="259561" y="0"/>
                    <a:pt x="277074" y="17513"/>
                    <a:pt x="277074" y="39403"/>
                  </a:cubicBezTo>
                  <a:lnTo>
                    <a:pt x="277074" y="342121"/>
                  </a:lnTo>
                  <a:cubicBezTo>
                    <a:pt x="276449" y="364012"/>
                    <a:pt x="258936" y="381524"/>
                    <a:pt x="237671" y="381524"/>
                  </a:cubicBezTo>
                  <a:lnTo>
                    <a:pt x="237671" y="381524"/>
                  </a:lnTo>
                  <a:close/>
                  <a:moveTo>
                    <a:pt x="39403" y="33774"/>
                  </a:moveTo>
                  <a:cubicBezTo>
                    <a:pt x="36276" y="33774"/>
                    <a:pt x="33149" y="36276"/>
                    <a:pt x="33149" y="40029"/>
                  </a:cubicBezTo>
                  <a:lnTo>
                    <a:pt x="33149" y="342746"/>
                  </a:lnTo>
                  <a:cubicBezTo>
                    <a:pt x="33149" y="345873"/>
                    <a:pt x="35651" y="349001"/>
                    <a:pt x="39403" y="349001"/>
                  </a:cubicBezTo>
                  <a:lnTo>
                    <a:pt x="237671" y="349001"/>
                  </a:lnTo>
                  <a:cubicBezTo>
                    <a:pt x="240798" y="349001"/>
                    <a:pt x="243925" y="346499"/>
                    <a:pt x="243925" y="342746"/>
                  </a:cubicBezTo>
                  <a:lnTo>
                    <a:pt x="243925" y="40029"/>
                  </a:lnTo>
                  <a:cubicBezTo>
                    <a:pt x="243925" y="36902"/>
                    <a:pt x="241423" y="33774"/>
                    <a:pt x="237671" y="33774"/>
                  </a:cubicBezTo>
                  <a:lnTo>
                    <a:pt x="39403" y="33774"/>
                  </a:lnTo>
                  <a:lnTo>
                    <a:pt x="39403" y="33774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82" name="Forma Livre: Forma 181">
              <a:extLst>
                <a:ext uri="{FF2B5EF4-FFF2-40B4-BE49-F238E27FC236}">
                  <a16:creationId xmlns:a16="http://schemas.microsoft.com/office/drawing/2014/main" id="{69C87F51-C06A-4A03-ABC3-0268BC8A3A97}"/>
                </a:ext>
              </a:extLst>
            </p:cNvPr>
            <p:cNvSpPr/>
            <p:nvPr/>
          </p:nvSpPr>
          <p:spPr>
            <a:xfrm>
              <a:off x="6520766" y="3770743"/>
              <a:ext cx="177627" cy="177627"/>
            </a:xfrm>
            <a:custGeom>
              <a:avLst/>
              <a:gdLst>
                <a:gd name="connsiteX0" fmla="*/ 88813 w 177627"/>
                <a:gd name="connsiteY0" fmla="*/ 177627 h 177627"/>
                <a:gd name="connsiteX1" fmla="*/ 0 w 177627"/>
                <a:gd name="connsiteY1" fmla="*/ 88814 h 177627"/>
                <a:gd name="connsiteX2" fmla="*/ 88813 w 177627"/>
                <a:gd name="connsiteY2" fmla="*/ 0 h 177627"/>
                <a:gd name="connsiteX3" fmla="*/ 177627 w 177627"/>
                <a:gd name="connsiteY3" fmla="*/ 88814 h 177627"/>
                <a:gd name="connsiteX4" fmla="*/ 88813 w 177627"/>
                <a:gd name="connsiteY4" fmla="*/ 177627 h 177627"/>
                <a:gd name="connsiteX5" fmla="*/ 88813 w 177627"/>
                <a:gd name="connsiteY5" fmla="*/ 177627 h 177627"/>
                <a:gd name="connsiteX6" fmla="*/ 88813 w 177627"/>
                <a:gd name="connsiteY6" fmla="*/ 33149 h 177627"/>
                <a:gd name="connsiteX7" fmla="*/ 33149 w 177627"/>
                <a:gd name="connsiteY7" fmla="*/ 88814 h 177627"/>
                <a:gd name="connsiteX8" fmla="*/ 88813 w 177627"/>
                <a:gd name="connsiteY8" fmla="*/ 144479 h 177627"/>
                <a:gd name="connsiteX9" fmla="*/ 144479 w 177627"/>
                <a:gd name="connsiteY9" fmla="*/ 88814 h 177627"/>
                <a:gd name="connsiteX10" fmla="*/ 88813 w 177627"/>
                <a:gd name="connsiteY10" fmla="*/ 33149 h 177627"/>
                <a:gd name="connsiteX11" fmla="*/ 88813 w 177627"/>
                <a:gd name="connsiteY11" fmla="*/ 33149 h 177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77627" h="177627">
                  <a:moveTo>
                    <a:pt x="88813" y="177627"/>
                  </a:moveTo>
                  <a:cubicBezTo>
                    <a:pt x="40029" y="177627"/>
                    <a:pt x="0" y="137599"/>
                    <a:pt x="0" y="88814"/>
                  </a:cubicBezTo>
                  <a:cubicBezTo>
                    <a:pt x="0" y="40029"/>
                    <a:pt x="40029" y="0"/>
                    <a:pt x="88813" y="0"/>
                  </a:cubicBezTo>
                  <a:cubicBezTo>
                    <a:pt x="137599" y="0"/>
                    <a:pt x="177627" y="40029"/>
                    <a:pt x="177627" y="88814"/>
                  </a:cubicBezTo>
                  <a:cubicBezTo>
                    <a:pt x="177627" y="137599"/>
                    <a:pt x="138224" y="177627"/>
                    <a:pt x="88813" y="177627"/>
                  </a:cubicBezTo>
                  <a:lnTo>
                    <a:pt x="88813" y="177627"/>
                  </a:lnTo>
                  <a:close/>
                  <a:moveTo>
                    <a:pt x="88813" y="33149"/>
                  </a:moveTo>
                  <a:cubicBezTo>
                    <a:pt x="58167" y="33149"/>
                    <a:pt x="33149" y="58167"/>
                    <a:pt x="33149" y="88814"/>
                  </a:cubicBezTo>
                  <a:cubicBezTo>
                    <a:pt x="33149" y="119461"/>
                    <a:pt x="58167" y="144479"/>
                    <a:pt x="88813" y="144479"/>
                  </a:cubicBezTo>
                  <a:cubicBezTo>
                    <a:pt x="119461" y="144479"/>
                    <a:pt x="144479" y="119461"/>
                    <a:pt x="144479" y="88814"/>
                  </a:cubicBezTo>
                  <a:cubicBezTo>
                    <a:pt x="144479" y="58167"/>
                    <a:pt x="119461" y="33149"/>
                    <a:pt x="88813" y="33149"/>
                  </a:cubicBezTo>
                  <a:lnTo>
                    <a:pt x="88813" y="33149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83" name="Forma Livre: Forma 182">
              <a:extLst>
                <a:ext uri="{FF2B5EF4-FFF2-40B4-BE49-F238E27FC236}">
                  <a16:creationId xmlns:a16="http://schemas.microsoft.com/office/drawing/2014/main" id="{88D10BB4-DBC9-4BB3-A35E-CC8BC327C48C}"/>
                </a:ext>
              </a:extLst>
            </p:cNvPr>
            <p:cNvSpPr/>
            <p:nvPr/>
          </p:nvSpPr>
          <p:spPr>
            <a:xfrm>
              <a:off x="6587063" y="3837040"/>
              <a:ext cx="44434" cy="45032"/>
            </a:xfrm>
            <a:custGeom>
              <a:avLst/>
              <a:gdLst>
                <a:gd name="connsiteX0" fmla="*/ 22516 w 44434"/>
                <a:gd name="connsiteY0" fmla="*/ 0 h 45032"/>
                <a:gd name="connsiteX1" fmla="*/ 0 w 44434"/>
                <a:gd name="connsiteY1" fmla="*/ 22516 h 45032"/>
                <a:gd name="connsiteX2" fmla="*/ 22516 w 44434"/>
                <a:gd name="connsiteY2" fmla="*/ 45032 h 45032"/>
                <a:gd name="connsiteX3" fmla="*/ 44407 w 44434"/>
                <a:gd name="connsiteY3" fmla="*/ 22516 h 45032"/>
                <a:gd name="connsiteX4" fmla="*/ 22516 w 44434"/>
                <a:gd name="connsiteY4" fmla="*/ 0 h 45032"/>
                <a:gd name="connsiteX5" fmla="*/ 22516 w 44434"/>
                <a:gd name="connsiteY5" fmla="*/ 0 h 45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434" h="45032">
                  <a:moveTo>
                    <a:pt x="22516" y="0"/>
                  </a:moveTo>
                  <a:cubicBezTo>
                    <a:pt x="10007" y="0"/>
                    <a:pt x="0" y="10007"/>
                    <a:pt x="0" y="22516"/>
                  </a:cubicBezTo>
                  <a:cubicBezTo>
                    <a:pt x="0" y="35025"/>
                    <a:pt x="10007" y="45032"/>
                    <a:pt x="22516" y="45032"/>
                  </a:cubicBezTo>
                  <a:cubicBezTo>
                    <a:pt x="35025" y="45032"/>
                    <a:pt x="44407" y="35025"/>
                    <a:pt x="44407" y="22516"/>
                  </a:cubicBezTo>
                  <a:cubicBezTo>
                    <a:pt x="45032" y="10007"/>
                    <a:pt x="35025" y="0"/>
                    <a:pt x="22516" y="0"/>
                  </a:cubicBezTo>
                  <a:lnTo>
                    <a:pt x="22516" y="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84" name="Forma Livre: Forma 183">
              <a:extLst>
                <a:ext uri="{FF2B5EF4-FFF2-40B4-BE49-F238E27FC236}">
                  <a16:creationId xmlns:a16="http://schemas.microsoft.com/office/drawing/2014/main" id="{64DFA187-C3A8-44FC-8AEA-A3A7C07A106E}"/>
                </a:ext>
              </a:extLst>
            </p:cNvPr>
            <p:cNvSpPr/>
            <p:nvPr/>
          </p:nvSpPr>
          <p:spPr>
            <a:xfrm>
              <a:off x="6566423" y="3668794"/>
              <a:ext cx="86311" cy="86312"/>
            </a:xfrm>
            <a:custGeom>
              <a:avLst/>
              <a:gdLst>
                <a:gd name="connsiteX0" fmla="*/ 43156 w 86311"/>
                <a:gd name="connsiteY0" fmla="*/ 86312 h 86312"/>
                <a:gd name="connsiteX1" fmla="*/ 0 w 86311"/>
                <a:gd name="connsiteY1" fmla="*/ 43156 h 86312"/>
                <a:gd name="connsiteX2" fmla="*/ 43156 w 86311"/>
                <a:gd name="connsiteY2" fmla="*/ 0 h 86312"/>
                <a:gd name="connsiteX3" fmla="*/ 86312 w 86311"/>
                <a:gd name="connsiteY3" fmla="*/ 43156 h 86312"/>
                <a:gd name="connsiteX4" fmla="*/ 43156 w 86311"/>
                <a:gd name="connsiteY4" fmla="*/ 86312 h 86312"/>
                <a:gd name="connsiteX5" fmla="*/ 43156 w 86311"/>
                <a:gd name="connsiteY5" fmla="*/ 86312 h 86312"/>
                <a:gd name="connsiteX6" fmla="*/ 43156 w 86311"/>
                <a:gd name="connsiteY6" fmla="*/ 33774 h 86312"/>
                <a:gd name="connsiteX7" fmla="*/ 33149 w 86311"/>
                <a:gd name="connsiteY7" fmla="*/ 43781 h 86312"/>
                <a:gd name="connsiteX8" fmla="*/ 43156 w 86311"/>
                <a:gd name="connsiteY8" fmla="*/ 53789 h 86312"/>
                <a:gd name="connsiteX9" fmla="*/ 53163 w 86311"/>
                <a:gd name="connsiteY9" fmla="*/ 43781 h 86312"/>
                <a:gd name="connsiteX10" fmla="*/ 43156 w 86311"/>
                <a:gd name="connsiteY10" fmla="*/ 33774 h 86312"/>
                <a:gd name="connsiteX11" fmla="*/ 43156 w 86311"/>
                <a:gd name="connsiteY11" fmla="*/ 33774 h 86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6311" h="86312">
                  <a:moveTo>
                    <a:pt x="43156" y="86312"/>
                  </a:moveTo>
                  <a:cubicBezTo>
                    <a:pt x="19389" y="86312"/>
                    <a:pt x="0" y="66923"/>
                    <a:pt x="0" y="43156"/>
                  </a:cubicBezTo>
                  <a:cubicBezTo>
                    <a:pt x="0" y="19389"/>
                    <a:pt x="19389" y="0"/>
                    <a:pt x="43156" y="0"/>
                  </a:cubicBezTo>
                  <a:cubicBezTo>
                    <a:pt x="66923" y="0"/>
                    <a:pt x="86312" y="19389"/>
                    <a:pt x="86312" y="43156"/>
                  </a:cubicBezTo>
                  <a:cubicBezTo>
                    <a:pt x="86312" y="66923"/>
                    <a:pt x="66923" y="86312"/>
                    <a:pt x="43156" y="86312"/>
                  </a:cubicBezTo>
                  <a:lnTo>
                    <a:pt x="43156" y="86312"/>
                  </a:lnTo>
                  <a:close/>
                  <a:moveTo>
                    <a:pt x="43156" y="33774"/>
                  </a:moveTo>
                  <a:cubicBezTo>
                    <a:pt x="37527" y="33774"/>
                    <a:pt x="33149" y="38152"/>
                    <a:pt x="33149" y="43781"/>
                  </a:cubicBezTo>
                  <a:cubicBezTo>
                    <a:pt x="33149" y="49410"/>
                    <a:pt x="37527" y="53789"/>
                    <a:pt x="43156" y="53789"/>
                  </a:cubicBezTo>
                  <a:cubicBezTo>
                    <a:pt x="48785" y="53789"/>
                    <a:pt x="53163" y="49410"/>
                    <a:pt x="53163" y="43781"/>
                  </a:cubicBezTo>
                  <a:cubicBezTo>
                    <a:pt x="53163" y="38152"/>
                    <a:pt x="48785" y="33774"/>
                    <a:pt x="43156" y="33774"/>
                  </a:cubicBezTo>
                  <a:lnTo>
                    <a:pt x="43156" y="33774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85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8466991" y="522159"/>
            <a:ext cx="386527" cy="386527"/>
            <a:chOff x="8454654" y="522159"/>
            <a:chExt cx="386527" cy="386527"/>
          </a:xfrm>
          <a:solidFill>
            <a:srgbClr val="B1B1A1"/>
          </a:solidFill>
        </p:grpSpPr>
        <p:grpSp>
          <p:nvGrpSpPr>
            <p:cNvPr id="186" name="Gráfico 2">
              <a:extLst>
                <a:ext uri="{FF2B5EF4-FFF2-40B4-BE49-F238E27FC236}">
                  <a16:creationId xmlns:a16="http://schemas.microsoft.com/office/drawing/2014/main" id="{A4E24395-F85F-4E15-8BC9-B92D577D4DAD}"/>
                </a:ext>
              </a:extLst>
            </p:cNvPr>
            <p:cNvGrpSpPr/>
            <p:nvPr/>
          </p:nvGrpSpPr>
          <p:grpSpPr>
            <a:xfrm>
              <a:off x="8454654" y="522159"/>
              <a:ext cx="386527" cy="386527"/>
              <a:chOff x="8454654" y="522159"/>
              <a:chExt cx="386527" cy="386527"/>
            </a:xfrm>
            <a:grpFill/>
          </p:grpSpPr>
          <p:sp>
            <p:nvSpPr>
              <p:cNvPr id="187" name="Forma Livre: Forma 186">
                <a:extLst>
                  <a:ext uri="{FF2B5EF4-FFF2-40B4-BE49-F238E27FC236}">
                    <a16:creationId xmlns:a16="http://schemas.microsoft.com/office/drawing/2014/main" id="{232FCF2B-3319-4006-B23B-3C4487630946}"/>
                  </a:ext>
                </a:extLst>
              </p:cNvPr>
              <p:cNvSpPr/>
              <p:nvPr/>
            </p:nvSpPr>
            <p:spPr>
              <a:xfrm>
                <a:off x="8631032" y="522159"/>
                <a:ext cx="33773" cy="108828"/>
              </a:xfrm>
              <a:custGeom>
                <a:avLst/>
                <a:gdLst>
                  <a:gd name="connsiteX0" fmla="*/ 16887 w 33773"/>
                  <a:gd name="connsiteY0" fmla="*/ 108828 h 108828"/>
                  <a:gd name="connsiteX1" fmla="*/ 0 w 33773"/>
                  <a:gd name="connsiteY1" fmla="*/ 91941 h 108828"/>
                  <a:gd name="connsiteX2" fmla="*/ 0 w 33773"/>
                  <a:gd name="connsiteY2" fmla="*/ 16887 h 108828"/>
                  <a:gd name="connsiteX3" fmla="*/ 16887 w 33773"/>
                  <a:gd name="connsiteY3" fmla="*/ 0 h 108828"/>
                  <a:gd name="connsiteX4" fmla="*/ 33774 w 33773"/>
                  <a:gd name="connsiteY4" fmla="*/ 16887 h 108828"/>
                  <a:gd name="connsiteX5" fmla="*/ 33774 w 33773"/>
                  <a:gd name="connsiteY5" fmla="*/ 91941 h 108828"/>
                  <a:gd name="connsiteX6" fmla="*/ 16887 w 33773"/>
                  <a:gd name="connsiteY6" fmla="*/ 108828 h 108828"/>
                  <a:gd name="connsiteX7" fmla="*/ 16887 w 33773"/>
                  <a:gd name="connsiteY7" fmla="*/ 108828 h 1088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773" h="108828">
                    <a:moveTo>
                      <a:pt x="16887" y="108828"/>
                    </a:moveTo>
                    <a:cubicBezTo>
                      <a:pt x="7505" y="108828"/>
                      <a:pt x="0" y="101323"/>
                      <a:pt x="0" y="91941"/>
                    </a:cubicBezTo>
                    <a:lnTo>
                      <a:pt x="0" y="16887"/>
                    </a:lnTo>
                    <a:cubicBezTo>
                      <a:pt x="0" y="7505"/>
                      <a:pt x="7505" y="0"/>
                      <a:pt x="16887" y="0"/>
                    </a:cubicBezTo>
                    <a:cubicBezTo>
                      <a:pt x="26269" y="0"/>
                      <a:pt x="33774" y="7505"/>
                      <a:pt x="33774" y="16887"/>
                    </a:cubicBezTo>
                    <a:lnTo>
                      <a:pt x="33774" y="91941"/>
                    </a:lnTo>
                    <a:cubicBezTo>
                      <a:pt x="33774" y="101323"/>
                      <a:pt x="26269" y="108828"/>
                      <a:pt x="16887" y="108828"/>
                    </a:cubicBezTo>
                    <a:lnTo>
                      <a:pt x="16887" y="108828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88" name="Forma Livre: Forma 187">
                <a:extLst>
                  <a:ext uri="{FF2B5EF4-FFF2-40B4-BE49-F238E27FC236}">
                    <a16:creationId xmlns:a16="http://schemas.microsoft.com/office/drawing/2014/main" id="{BD2D2304-B18D-4499-9CD0-9419639E7E0A}"/>
                  </a:ext>
                </a:extLst>
              </p:cNvPr>
              <p:cNvSpPr/>
              <p:nvPr/>
            </p:nvSpPr>
            <p:spPr>
              <a:xfrm>
                <a:off x="8631032" y="800484"/>
                <a:ext cx="33773" cy="108202"/>
              </a:xfrm>
              <a:custGeom>
                <a:avLst/>
                <a:gdLst>
                  <a:gd name="connsiteX0" fmla="*/ 16887 w 33773"/>
                  <a:gd name="connsiteY0" fmla="*/ 108203 h 108202"/>
                  <a:gd name="connsiteX1" fmla="*/ 0 w 33773"/>
                  <a:gd name="connsiteY1" fmla="*/ 91316 h 108202"/>
                  <a:gd name="connsiteX2" fmla="*/ 0 w 33773"/>
                  <a:gd name="connsiteY2" fmla="*/ 16887 h 108202"/>
                  <a:gd name="connsiteX3" fmla="*/ 16887 w 33773"/>
                  <a:gd name="connsiteY3" fmla="*/ 0 h 108202"/>
                  <a:gd name="connsiteX4" fmla="*/ 33774 w 33773"/>
                  <a:gd name="connsiteY4" fmla="*/ 16887 h 108202"/>
                  <a:gd name="connsiteX5" fmla="*/ 33774 w 33773"/>
                  <a:gd name="connsiteY5" fmla="*/ 91941 h 108202"/>
                  <a:gd name="connsiteX6" fmla="*/ 16887 w 33773"/>
                  <a:gd name="connsiteY6" fmla="*/ 108203 h 108202"/>
                  <a:gd name="connsiteX7" fmla="*/ 16887 w 33773"/>
                  <a:gd name="connsiteY7" fmla="*/ 108203 h 108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773" h="108202">
                    <a:moveTo>
                      <a:pt x="16887" y="108203"/>
                    </a:moveTo>
                    <a:cubicBezTo>
                      <a:pt x="7505" y="108203"/>
                      <a:pt x="0" y="100697"/>
                      <a:pt x="0" y="91316"/>
                    </a:cubicBezTo>
                    <a:lnTo>
                      <a:pt x="0" y="16887"/>
                    </a:lnTo>
                    <a:cubicBezTo>
                      <a:pt x="0" y="7505"/>
                      <a:pt x="7505" y="0"/>
                      <a:pt x="16887" y="0"/>
                    </a:cubicBezTo>
                    <a:cubicBezTo>
                      <a:pt x="26269" y="0"/>
                      <a:pt x="33774" y="7505"/>
                      <a:pt x="33774" y="16887"/>
                    </a:cubicBezTo>
                    <a:lnTo>
                      <a:pt x="33774" y="91941"/>
                    </a:lnTo>
                    <a:cubicBezTo>
                      <a:pt x="33774" y="100697"/>
                      <a:pt x="26269" y="108203"/>
                      <a:pt x="16887" y="108203"/>
                    </a:cubicBezTo>
                    <a:lnTo>
                      <a:pt x="16887" y="108203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89" name="Forma Livre: Forma 188">
                <a:extLst>
                  <a:ext uri="{FF2B5EF4-FFF2-40B4-BE49-F238E27FC236}">
                    <a16:creationId xmlns:a16="http://schemas.microsoft.com/office/drawing/2014/main" id="{C5C89B6A-D3CD-4BC1-A54D-E9142519FDF7}"/>
                  </a:ext>
                </a:extLst>
              </p:cNvPr>
              <p:cNvSpPr/>
              <p:nvPr/>
            </p:nvSpPr>
            <p:spPr>
              <a:xfrm>
                <a:off x="8732354" y="698536"/>
                <a:ext cx="108828" cy="33774"/>
              </a:xfrm>
              <a:custGeom>
                <a:avLst/>
                <a:gdLst>
                  <a:gd name="connsiteX0" fmla="*/ 91941 w 108828"/>
                  <a:gd name="connsiteY0" fmla="*/ 33774 h 33774"/>
                  <a:gd name="connsiteX1" fmla="*/ 16887 w 108828"/>
                  <a:gd name="connsiteY1" fmla="*/ 33774 h 33774"/>
                  <a:gd name="connsiteX2" fmla="*/ 0 w 108828"/>
                  <a:gd name="connsiteY2" fmla="*/ 16887 h 33774"/>
                  <a:gd name="connsiteX3" fmla="*/ 16887 w 108828"/>
                  <a:gd name="connsiteY3" fmla="*/ 0 h 33774"/>
                  <a:gd name="connsiteX4" fmla="*/ 91941 w 108828"/>
                  <a:gd name="connsiteY4" fmla="*/ 0 h 33774"/>
                  <a:gd name="connsiteX5" fmla="*/ 108828 w 108828"/>
                  <a:gd name="connsiteY5" fmla="*/ 16887 h 33774"/>
                  <a:gd name="connsiteX6" fmla="*/ 91941 w 108828"/>
                  <a:gd name="connsiteY6" fmla="*/ 33774 h 33774"/>
                  <a:gd name="connsiteX7" fmla="*/ 91941 w 108828"/>
                  <a:gd name="connsiteY7" fmla="*/ 33774 h 33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8828" h="33774">
                    <a:moveTo>
                      <a:pt x="91941" y="33774"/>
                    </a:moveTo>
                    <a:lnTo>
                      <a:pt x="16887" y="33774"/>
                    </a:lnTo>
                    <a:cubicBezTo>
                      <a:pt x="7505" y="33774"/>
                      <a:pt x="0" y="26269"/>
                      <a:pt x="0" y="16887"/>
                    </a:cubicBezTo>
                    <a:cubicBezTo>
                      <a:pt x="0" y="7505"/>
                      <a:pt x="7505" y="0"/>
                      <a:pt x="16887" y="0"/>
                    </a:cubicBezTo>
                    <a:lnTo>
                      <a:pt x="91941" y="0"/>
                    </a:lnTo>
                    <a:cubicBezTo>
                      <a:pt x="101322" y="0"/>
                      <a:pt x="108828" y="7505"/>
                      <a:pt x="108828" y="16887"/>
                    </a:cubicBezTo>
                    <a:cubicBezTo>
                      <a:pt x="108828" y="26269"/>
                      <a:pt x="101322" y="33774"/>
                      <a:pt x="91941" y="33774"/>
                    </a:cubicBezTo>
                    <a:lnTo>
                      <a:pt x="91941" y="33774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90" name="Forma Livre: Forma 189">
                <a:extLst>
                  <a:ext uri="{FF2B5EF4-FFF2-40B4-BE49-F238E27FC236}">
                    <a16:creationId xmlns:a16="http://schemas.microsoft.com/office/drawing/2014/main" id="{932957B5-C234-4C66-B108-0947C4BEE668}"/>
                  </a:ext>
                </a:extLst>
              </p:cNvPr>
              <p:cNvSpPr/>
              <p:nvPr/>
            </p:nvSpPr>
            <p:spPr>
              <a:xfrm>
                <a:off x="8454654" y="698536"/>
                <a:ext cx="108828" cy="33774"/>
              </a:xfrm>
              <a:custGeom>
                <a:avLst/>
                <a:gdLst>
                  <a:gd name="connsiteX0" fmla="*/ 91942 w 108828"/>
                  <a:gd name="connsiteY0" fmla="*/ 33774 h 33774"/>
                  <a:gd name="connsiteX1" fmla="*/ 16888 w 108828"/>
                  <a:gd name="connsiteY1" fmla="*/ 33774 h 33774"/>
                  <a:gd name="connsiteX2" fmla="*/ 0 w 108828"/>
                  <a:gd name="connsiteY2" fmla="*/ 16887 h 33774"/>
                  <a:gd name="connsiteX3" fmla="*/ 16888 w 108828"/>
                  <a:gd name="connsiteY3" fmla="*/ 0 h 33774"/>
                  <a:gd name="connsiteX4" fmla="*/ 91942 w 108828"/>
                  <a:gd name="connsiteY4" fmla="*/ 0 h 33774"/>
                  <a:gd name="connsiteX5" fmla="*/ 108828 w 108828"/>
                  <a:gd name="connsiteY5" fmla="*/ 16887 h 33774"/>
                  <a:gd name="connsiteX6" fmla="*/ 91942 w 108828"/>
                  <a:gd name="connsiteY6" fmla="*/ 33774 h 33774"/>
                  <a:gd name="connsiteX7" fmla="*/ 91942 w 108828"/>
                  <a:gd name="connsiteY7" fmla="*/ 33774 h 33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8828" h="33774">
                    <a:moveTo>
                      <a:pt x="91942" y="33774"/>
                    </a:moveTo>
                    <a:lnTo>
                      <a:pt x="16888" y="33774"/>
                    </a:lnTo>
                    <a:cubicBezTo>
                      <a:pt x="7506" y="33774"/>
                      <a:pt x="0" y="26269"/>
                      <a:pt x="0" y="16887"/>
                    </a:cubicBezTo>
                    <a:cubicBezTo>
                      <a:pt x="0" y="7505"/>
                      <a:pt x="7506" y="0"/>
                      <a:pt x="16888" y="0"/>
                    </a:cubicBezTo>
                    <a:lnTo>
                      <a:pt x="91942" y="0"/>
                    </a:lnTo>
                    <a:cubicBezTo>
                      <a:pt x="101323" y="0"/>
                      <a:pt x="108828" y="7505"/>
                      <a:pt x="108828" y="16887"/>
                    </a:cubicBezTo>
                    <a:cubicBezTo>
                      <a:pt x="108828" y="26269"/>
                      <a:pt x="101323" y="33774"/>
                      <a:pt x="91942" y="33774"/>
                    </a:cubicBezTo>
                    <a:lnTo>
                      <a:pt x="91942" y="33774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91" name="Forma Livre: Forma 190">
                <a:extLst>
                  <a:ext uri="{FF2B5EF4-FFF2-40B4-BE49-F238E27FC236}">
                    <a16:creationId xmlns:a16="http://schemas.microsoft.com/office/drawing/2014/main" id="{761B8B94-A378-465D-A1DD-B1E36DF0457D}"/>
                  </a:ext>
                </a:extLst>
              </p:cNvPr>
              <p:cNvSpPr/>
              <p:nvPr/>
            </p:nvSpPr>
            <p:spPr>
              <a:xfrm>
                <a:off x="8703271" y="574384"/>
                <a:ext cx="86312" cy="86624"/>
              </a:xfrm>
              <a:custGeom>
                <a:avLst/>
                <a:gdLst>
                  <a:gd name="connsiteX0" fmla="*/ 16575 w 86312"/>
                  <a:gd name="connsiteY0" fmla="*/ 86625 h 86624"/>
                  <a:gd name="connsiteX1" fmla="*/ 4691 w 86312"/>
                  <a:gd name="connsiteY1" fmla="*/ 81621 h 86624"/>
                  <a:gd name="connsiteX2" fmla="*/ 4691 w 86312"/>
                  <a:gd name="connsiteY2" fmla="*/ 57854 h 86624"/>
                  <a:gd name="connsiteX3" fmla="*/ 57854 w 86312"/>
                  <a:gd name="connsiteY3" fmla="*/ 4691 h 86624"/>
                  <a:gd name="connsiteX4" fmla="*/ 81621 w 86312"/>
                  <a:gd name="connsiteY4" fmla="*/ 4691 h 86624"/>
                  <a:gd name="connsiteX5" fmla="*/ 81621 w 86312"/>
                  <a:gd name="connsiteY5" fmla="*/ 28458 h 86624"/>
                  <a:gd name="connsiteX6" fmla="*/ 28458 w 86312"/>
                  <a:gd name="connsiteY6" fmla="*/ 81621 h 86624"/>
                  <a:gd name="connsiteX7" fmla="*/ 16575 w 86312"/>
                  <a:gd name="connsiteY7" fmla="*/ 86625 h 86624"/>
                  <a:gd name="connsiteX8" fmla="*/ 16575 w 86312"/>
                  <a:gd name="connsiteY8" fmla="*/ 86625 h 86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6312" h="86624">
                    <a:moveTo>
                      <a:pt x="16575" y="86625"/>
                    </a:moveTo>
                    <a:cubicBezTo>
                      <a:pt x="12197" y="86625"/>
                      <a:pt x="7818" y="84748"/>
                      <a:pt x="4691" y="81621"/>
                    </a:cubicBezTo>
                    <a:cubicBezTo>
                      <a:pt x="-1564" y="75367"/>
                      <a:pt x="-1564" y="64734"/>
                      <a:pt x="4691" y="57854"/>
                    </a:cubicBezTo>
                    <a:lnTo>
                      <a:pt x="57854" y="4691"/>
                    </a:lnTo>
                    <a:cubicBezTo>
                      <a:pt x="64109" y="-1564"/>
                      <a:pt x="74742" y="-1564"/>
                      <a:pt x="81621" y="4691"/>
                    </a:cubicBezTo>
                    <a:cubicBezTo>
                      <a:pt x="87876" y="10945"/>
                      <a:pt x="87876" y="21578"/>
                      <a:pt x="81621" y="28458"/>
                    </a:cubicBezTo>
                    <a:lnTo>
                      <a:pt x="28458" y="81621"/>
                    </a:lnTo>
                    <a:cubicBezTo>
                      <a:pt x="25331" y="84748"/>
                      <a:pt x="20952" y="86625"/>
                      <a:pt x="16575" y="86625"/>
                    </a:cubicBezTo>
                    <a:lnTo>
                      <a:pt x="16575" y="86625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92" name="Forma Livre: Forma 191">
                <a:extLst>
                  <a:ext uri="{FF2B5EF4-FFF2-40B4-BE49-F238E27FC236}">
                    <a16:creationId xmlns:a16="http://schemas.microsoft.com/office/drawing/2014/main" id="{D2F1429C-F098-4C26-B0F7-F68747C9D86E}"/>
                  </a:ext>
                </a:extLst>
              </p:cNvPr>
              <p:cNvSpPr/>
              <p:nvPr/>
            </p:nvSpPr>
            <p:spPr>
              <a:xfrm>
                <a:off x="8506879" y="770775"/>
                <a:ext cx="86312" cy="86624"/>
              </a:xfrm>
              <a:custGeom>
                <a:avLst/>
                <a:gdLst>
                  <a:gd name="connsiteX0" fmla="*/ 16575 w 86312"/>
                  <a:gd name="connsiteY0" fmla="*/ 86625 h 86624"/>
                  <a:gd name="connsiteX1" fmla="*/ 4691 w 86312"/>
                  <a:gd name="connsiteY1" fmla="*/ 81621 h 86624"/>
                  <a:gd name="connsiteX2" fmla="*/ 4691 w 86312"/>
                  <a:gd name="connsiteY2" fmla="*/ 57854 h 86624"/>
                  <a:gd name="connsiteX3" fmla="*/ 57854 w 86312"/>
                  <a:gd name="connsiteY3" fmla="*/ 4691 h 86624"/>
                  <a:gd name="connsiteX4" fmla="*/ 81621 w 86312"/>
                  <a:gd name="connsiteY4" fmla="*/ 4691 h 86624"/>
                  <a:gd name="connsiteX5" fmla="*/ 81621 w 86312"/>
                  <a:gd name="connsiteY5" fmla="*/ 28458 h 86624"/>
                  <a:gd name="connsiteX6" fmla="*/ 28458 w 86312"/>
                  <a:gd name="connsiteY6" fmla="*/ 81621 h 86624"/>
                  <a:gd name="connsiteX7" fmla="*/ 16575 w 86312"/>
                  <a:gd name="connsiteY7" fmla="*/ 86625 h 86624"/>
                  <a:gd name="connsiteX8" fmla="*/ 16575 w 86312"/>
                  <a:gd name="connsiteY8" fmla="*/ 86625 h 86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6312" h="86624">
                    <a:moveTo>
                      <a:pt x="16575" y="86625"/>
                    </a:moveTo>
                    <a:cubicBezTo>
                      <a:pt x="12197" y="86625"/>
                      <a:pt x="7818" y="84748"/>
                      <a:pt x="4691" y="81621"/>
                    </a:cubicBezTo>
                    <a:cubicBezTo>
                      <a:pt x="-1564" y="75367"/>
                      <a:pt x="-1564" y="64734"/>
                      <a:pt x="4691" y="57854"/>
                    </a:cubicBezTo>
                    <a:lnTo>
                      <a:pt x="57854" y="4691"/>
                    </a:lnTo>
                    <a:cubicBezTo>
                      <a:pt x="64109" y="-1564"/>
                      <a:pt x="74742" y="-1564"/>
                      <a:pt x="81621" y="4691"/>
                    </a:cubicBezTo>
                    <a:cubicBezTo>
                      <a:pt x="87876" y="10945"/>
                      <a:pt x="87876" y="21578"/>
                      <a:pt x="81621" y="28458"/>
                    </a:cubicBezTo>
                    <a:lnTo>
                      <a:pt x="28458" y="81621"/>
                    </a:lnTo>
                    <a:cubicBezTo>
                      <a:pt x="25331" y="84748"/>
                      <a:pt x="20953" y="86625"/>
                      <a:pt x="16575" y="86625"/>
                    </a:cubicBezTo>
                    <a:lnTo>
                      <a:pt x="16575" y="86625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93" name="Forma Livre: Forma 192">
                <a:extLst>
                  <a:ext uri="{FF2B5EF4-FFF2-40B4-BE49-F238E27FC236}">
                    <a16:creationId xmlns:a16="http://schemas.microsoft.com/office/drawing/2014/main" id="{B5BFE04C-0B02-4A16-AC5C-89609E97DD8A}"/>
                  </a:ext>
                </a:extLst>
              </p:cNvPr>
              <p:cNvSpPr/>
              <p:nvPr/>
            </p:nvSpPr>
            <p:spPr>
              <a:xfrm>
                <a:off x="8703271" y="770775"/>
                <a:ext cx="86312" cy="86624"/>
              </a:xfrm>
              <a:custGeom>
                <a:avLst/>
                <a:gdLst>
                  <a:gd name="connsiteX0" fmla="*/ 69738 w 86312"/>
                  <a:gd name="connsiteY0" fmla="*/ 86625 h 86624"/>
                  <a:gd name="connsiteX1" fmla="*/ 57854 w 86312"/>
                  <a:gd name="connsiteY1" fmla="*/ 81621 h 86624"/>
                  <a:gd name="connsiteX2" fmla="*/ 4691 w 86312"/>
                  <a:gd name="connsiteY2" fmla="*/ 28458 h 86624"/>
                  <a:gd name="connsiteX3" fmla="*/ 4691 w 86312"/>
                  <a:gd name="connsiteY3" fmla="*/ 4691 h 86624"/>
                  <a:gd name="connsiteX4" fmla="*/ 28458 w 86312"/>
                  <a:gd name="connsiteY4" fmla="*/ 4691 h 86624"/>
                  <a:gd name="connsiteX5" fmla="*/ 81621 w 86312"/>
                  <a:gd name="connsiteY5" fmla="*/ 57854 h 86624"/>
                  <a:gd name="connsiteX6" fmla="*/ 81621 w 86312"/>
                  <a:gd name="connsiteY6" fmla="*/ 81621 h 86624"/>
                  <a:gd name="connsiteX7" fmla="*/ 69738 w 86312"/>
                  <a:gd name="connsiteY7" fmla="*/ 86625 h 86624"/>
                  <a:gd name="connsiteX8" fmla="*/ 69738 w 86312"/>
                  <a:gd name="connsiteY8" fmla="*/ 86625 h 86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6312" h="86624">
                    <a:moveTo>
                      <a:pt x="69738" y="86625"/>
                    </a:moveTo>
                    <a:cubicBezTo>
                      <a:pt x="65360" y="86625"/>
                      <a:pt x="60981" y="84748"/>
                      <a:pt x="57854" y="81621"/>
                    </a:cubicBezTo>
                    <a:lnTo>
                      <a:pt x="4691" y="28458"/>
                    </a:lnTo>
                    <a:cubicBezTo>
                      <a:pt x="-1564" y="22203"/>
                      <a:pt x="-1564" y="11571"/>
                      <a:pt x="4691" y="4691"/>
                    </a:cubicBezTo>
                    <a:cubicBezTo>
                      <a:pt x="10945" y="-1564"/>
                      <a:pt x="21578" y="-1564"/>
                      <a:pt x="28458" y="4691"/>
                    </a:cubicBezTo>
                    <a:lnTo>
                      <a:pt x="81621" y="57854"/>
                    </a:lnTo>
                    <a:cubicBezTo>
                      <a:pt x="87876" y="64109"/>
                      <a:pt x="87876" y="74741"/>
                      <a:pt x="81621" y="81621"/>
                    </a:cubicBezTo>
                    <a:cubicBezTo>
                      <a:pt x="77869" y="84748"/>
                      <a:pt x="73490" y="86625"/>
                      <a:pt x="69738" y="86625"/>
                    </a:cubicBezTo>
                    <a:lnTo>
                      <a:pt x="69738" y="86625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94" name="Forma Livre: Forma 193">
                <a:extLst>
                  <a:ext uri="{FF2B5EF4-FFF2-40B4-BE49-F238E27FC236}">
                    <a16:creationId xmlns:a16="http://schemas.microsoft.com/office/drawing/2014/main" id="{C2B86188-9198-4983-B3A2-7E4E7DA47EDB}"/>
                  </a:ext>
                </a:extLst>
              </p:cNvPr>
              <p:cNvSpPr/>
              <p:nvPr/>
            </p:nvSpPr>
            <p:spPr>
              <a:xfrm>
                <a:off x="8506879" y="574384"/>
                <a:ext cx="86312" cy="86624"/>
              </a:xfrm>
              <a:custGeom>
                <a:avLst/>
                <a:gdLst>
                  <a:gd name="connsiteX0" fmla="*/ 69738 w 86312"/>
                  <a:gd name="connsiteY0" fmla="*/ 86625 h 86624"/>
                  <a:gd name="connsiteX1" fmla="*/ 57854 w 86312"/>
                  <a:gd name="connsiteY1" fmla="*/ 81621 h 86624"/>
                  <a:gd name="connsiteX2" fmla="*/ 4691 w 86312"/>
                  <a:gd name="connsiteY2" fmla="*/ 28458 h 86624"/>
                  <a:gd name="connsiteX3" fmla="*/ 4691 w 86312"/>
                  <a:gd name="connsiteY3" fmla="*/ 4691 h 86624"/>
                  <a:gd name="connsiteX4" fmla="*/ 28458 w 86312"/>
                  <a:gd name="connsiteY4" fmla="*/ 4691 h 86624"/>
                  <a:gd name="connsiteX5" fmla="*/ 81621 w 86312"/>
                  <a:gd name="connsiteY5" fmla="*/ 57854 h 86624"/>
                  <a:gd name="connsiteX6" fmla="*/ 81621 w 86312"/>
                  <a:gd name="connsiteY6" fmla="*/ 81621 h 86624"/>
                  <a:gd name="connsiteX7" fmla="*/ 69738 w 86312"/>
                  <a:gd name="connsiteY7" fmla="*/ 86625 h 86624"/>
                  <a:gd name="connsiteX8" fmla="*/ 69738 w 86312"/>
                  <a:gd name="connsiteY8" fmla="*/ 86625 h 86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6312" h="86624">
                    <a:moveTo>
                      <a:pt x="69738" y="86625"/>
                    </a:moveTo>
                    <a:cubicBezTo>
                      <a:pt x="65360" y="86625"/>
                      <a:pt x="60981" y="84748"/>
                      <a:pt x="57854" y="81621"/>
                    </a:cubicBezTo>
                    <a:lnTo>
                      <a:pt x="4691" y="28458"/>
                    </a:lnTo>
                    <a:cubicBezTo>
                      <a:pt x="-1564" y="22203"/>
                      <a:pt x="-1564" y="11571"/>
                      <a:pt x="4691" y="4691"/>
                    </a:cubicBezTo>
                    <a:cubicBezTo>
                      <a:pt x="10945" y="-1564"/>
                      <a:pt x="21578" y="-1564"/>
                      <a:pt x="28458" y="4691"/>
                    </a:cubicBezTo>
                    <a:lnTo>
                      <a:pt x="81621" y="57854"/>
                    </a:lnTo>
                    <a:cubicBezTo>
                      <a:pt x="87876" y="64109"/>
                      <a:pt x="87876" y="74741"/>
                      <a:pt x="81621" y="81621"/>
                    </a:cubicBezTo>
                    <a:cubicBezTo>
                      <a:pt x="77869" y="84748"/>
                      <a:pt x="73490" y="86625"/>
                      <a:pt x="69738" y="86625"/>
                    </a:cubicBezTo>
                    <a:lnTo>
                      <a:pt x="69738" y="86625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195" name="Forma Livre: Forma 194">
              <a:extLst>
                <a:ext uri="{FF2B5EF4-FFF2-40B4-BE49-F238E27FC236}">
                  <a16:creationId xmlns:a16="http://schemas.microsoft.com/office/drawing/2014/main" id="{B79CDEBA-9C83-4711-8C6E-42CC7DD0A416}"/>
                </a:ext>
              </a:extLst>
            </p:cNvPr>
            <p:cNvSpPr/>
            <p:nvPr/>
          </p:nvSpPr>
          <p:spPr>
            <a:xfrm>
              <a:off x="8586624" y="654129"/>
              <a:ext cx="122588" cy="122588"/>
            </a:xfrm>
            <a:custGeom>
              <a:avLst/>
              <a:gdLst>
                <a:gd name="connsiteX0" fmla="*/ 61294 w 122588"/>
                <a:gd name="connsiteY0" fmla="*/ 122588 h 122588"/>
                <a:gd name="connsiteX1" fmla="*/ 0 w 122588"/>
                <a:gd name="connsiteY1" fmla="*/ 61294 h 122588"/>
                <a:gd name="connsiteX2" fmla="*/ 61294 w 122588"/>
                <a:gd name="connsiteY2" fmla="*/ 0 h 122588"/>
                <a:gd name="connsiteX3" fmla="*/ 122589 w 122588"/>
                <a:gd name="connsiteY3" fmla="*/ 61294 h 122588"/>
                <a:gd name="connsiteX4" fmla="*/ 61294 w 122588"/>
                <a:gd name="connsiteY4" fmla="*/ 122588 h 122588"/>
                <a:gd name="connsiteX5" fmla="*/ 61294 w 122588"/>
                <a:gd name="connsiteY5" fmla="*/ 122588 h 122588"/>
                <a:gd name="connsiteX6" fmla="*/ 61294 w 122588"/>
                <a:gd name="connsiteY6" fmla="*/ 33774 h 122588"/>
                <a:gd name="connsiteX7" fmla="*/ 33774 w 122588"/>
                <a:gd name="connsiteY7" fmla="*/ 61294 h 122588"/>
                <a:gd name="connsiteX8" fmla="*/ 61294 w 122588"/>
                <a:gd name="connsiteY8" fmla="*/ 88814 h 122588"/>
                <a:gd name="connsiteX9" fmla="*/ 88814 w 122588"/>
                <a:gd name="connsiteY9" fmla="*/ 61294 h 122588"/>
                <a:gd name="connsiteX10" fmla="*/ 61294 w 122588"/>
                <a:gd name="connsiteY10" fmla="*/ 33774 h 122588"/>
                <a:gd name="connsiteX11" fmla="*/ 61294 w 122588"/>
                <a:gd name="connsiteY11" fmla="*/ 33774 h 122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2588" h="122588">
                  <a:moveTo>
                    <a:pt x="61294" y="122588"/>
                  </a:moveTo>
                  <a:cubicBezTo>
                    <a:pt x="27520" y="122588"/>
                    <a:pt x="0" y="95068"/>
                    <a:pt x="0" y="61294"/>
                  </a:cubicBezTo>
                  <a:cubicBezTo>
                    <a:pt x="0" y="27520"/>
                    <a:pt x="27520" y="0"/>
                    <a:pt x="61294" y="0"/>
                  </a:cubicBezTo>
                  <a:cubicBezTo>
                    <a:pt x="95069" y="0"/>
                    <a:pt x="122589" y="27520"/>
                    <a:pt x="122589" y="61294"/>
                  </a:cubicBezTo>
                  <a:cubicBezTo>
                    <a:pt x="122589" y="95068"/>
                    <a:pt x="95069" y="122588"/>
                    <a:pt x="61294" y="122588"/>
                  </a:cubicBezTo>
                  <a:lnTo>
                    <a:pt x="61294" y="122588"/>
                  </a:lnTo>
                  <a:close/>
                  <a:moveTo>
                    <a:pt x="61294" y="33774"/>
                  </a:moveTo>
                  <a:cubicBezTo>
                    <a:pt x="46283" y="33774"/>
                    <a:pt x="33774" y="46283"/>
                    <a:pt x="33774" y="61294"/>
                  </a:cubicBezTo>
                  <a:cubicBezTo>
                    <a:pt x="33774" y="76305"/>
                    <a:pt x="46283" y="88814"/>
                    <a:pt x="61294" y="88814"/>
                  </a:cubicBezTo>
                  <a:cubicBezTo>
                    <a:pt x="76931" y="88814"/>
                    <a:pt x="88814" y="76305"/>
                    <a:pt x="88814" y="61294"/>
                  </a:cubicBezTo>
                  <a:cubicBezTo>
                    <a:pt x="89440" y="46283"/>
                    <a:pt x="76931" y="33774"/>
                    <a:pt x="61294" y="33774"/>
                  </a:cubicBezTo>
                  <a:lnTo>
                    <a:pt x="61294" y="33774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96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10506581" y="522159"/>
            <a:ext cx="386527" cy="386527"/>
            <a:chOff x="10494244" y="522159"/>
            <a:chExt cx="386527" cy="386527"/>
          </a:xfrm>
          <a:solidFill>
            <a:srgbClr val="B1B1A1"/>
          </a:solidFill>
        </p:grpSpPr>
        <p:grpSp>
          <p:nvGrpSpPr>
            <p:cNvPr id="197" name="Gráfico 2">
              <a:extLst>
                <a:ext uri="{FF2B5EF4-FFF2-40B4-BE49-F238E27FC236}">
                  <a16:creationId xmlns:a16="http://schemas.microsoft.com/office/drawing/2014/main" id="{A4E24395-F85F-4E15-8BC9-B92D577D4DAD}"/>
                </a:ext>
              </a:extLst>
            </p:cNvPr>
            <p:cNvGrpSpPr/>
            <p:nvPr/>
          </p:nvGrpSpPr>
          <p:grpSpPr>
            <a:xfrm>
              <a:off x="10494244" y="522159"/>
              <a:ext cx="386527" cy="386527"/>
              <a:chOff x="10494244" y="522159"/>
              <a:chExt cx="386527" cy="386527"/>
            </a:xfrm>
            <a:grpFill/>
          </p:grpSpPr>
          <p:sp>
            <p:nvSpPr>
              <p:cNvPr id="198" name="Forma Livre: Forma 197">
                <a:extLst>
                  <a:ext uri="{FF2B5EF4-FFF2-40B4-BE49-F238E27FC236}">
                    <a16:creationId xmlns:a16="http://schemas.microsoft.com/office/drawing/2014/main" id="{A47BE787-FD0D-45D7-A388-0A652C796029}"/>
                  </a:ext>
                </a:extLst>
              </p:cNvPr>
              <p:cNvSpPr/>
              <p:nvPr/>
            </p:nvSpPr>
            <p:spPr>
              <a:xfrm>
                <a:off x="10670621" y="522159"/>
                <a:ext cx="33774" cy="108828"/>
              </a:xfrm>
              <a:custGeom>
                <a:avLst/>
                <a:gdLst>
                  <a:gd name="connsiteX0" fmla="*/ 16887 w 33774"/>
                  <a:gd name="connsiteY0" fmla="*/ 108828 h 108828"/>
                  <a:gd name="connsiteX1" fmla="*/ 0 w 33774"/>
                  <a:gd name="connsiteY1" fmla="*/ 91941 h 108828"/>
                  <a:gd name="connsiteX2" fmla="*/ 0 w 33774"/>
                  <a:gd name="connsiteY2" fmla="*/ 16887 h 108828"/>
                  <a:gd name="connsiteX3" fmla="*/ 16887 w 33774"/>
                  <a:gd name="connsiteY3" fmla="*/ 0 h 108828"/>
                  <a:gd name="connsiteX4" fmla="*/ 33774 w 33774"/>
                  <a:gd name="connsiteY4" fmla="*/ 16887 h 108828"/>
                  <a:gd name="connsiteX5" fmla="*/ 33774 w 33774"/>
                  <a:gd name="connsiteY5" fmla="*/ 91941 h 108828"/>
                  <a:gd name="connsiteX6" fmla="*/ 16887 w 33774"/>
                  <a:gd name="connsiteY6" fmla="*/ 108828 h 108828"/>
                  <a:gd name="connsiteX7" fmla="*/ 16887 w 33774"/>
                  <a:gd name="connsiteY7" fmla="*/ 108828 h 1088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774" h="108828">
                    <a:moveTo>
                      <a:pt x="16887" y="108828"/>
                    </a:moveTo>
                    <a:cubicBezTo>
                      <a:pt x="7505" y="108828"/>
                      <a:pt x="0" y="101323"/>
                      <a:pt x="0" y="91941"/>
                    </a:cubicBezTo>
                    <a:lnTo>
                      <a:pt x="0" y="16887"/>
                    </a:lnTo>
                    <a:cubicBezTo>
                      <a:pt x="0" y="7505"/>
                      <a:pt x="7505" y="0"/>
                      <a:pt x="16887" y="0"/>
                    </a:cubicBezTo>
                    <a:cubicBezTo>
                      <a:pt x="26269" y="0"/>
                      <a:pt x="33774" y="7505"/>
                      <a:pt x="33774" y="16887"/>
                    </a:cubicBezTo>
                    <a:lnTo>
                      <a:pt x="33774" y="91941"/>
                    </a:lnTo>
                    <a:cubicBezTo>
                      <a:pt x="33774" y="101323"/>
                      <a:pt x="26269" y="108828"/>
                      <a:pt x="16887" y="108828"/>
                    </a:cubicBezTo>
                    <a:lnTo>
                      <a:pt x="16887" y="108828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99" name="Forma Livre: Forma 198">
                <a:extLst>
                  <a:ext uri="{FF2B5EF4-FFF2-40B4-BE49-F238E27FC236}">
                    <a16:creationId xmlns:a16="http://schemas.microsoft.com/office/drawing/2014/main" id="{EE847526-14FC-47DC-AB12-B4D30ECDB2AE}"/>
                  </a:ext>
                </a:extLst>
              </p:cNvPr>
              <p:cNvSpPr/>
              <p:nvPr/>
            </p:nvSpPr>
            <p:spPr>
              <a:xfrm>
                <a:off x="10670621" y="800484"/>
                <a:ext cx="33774" cy="108202"/>
              </a:xfrm>
              <a:custGeom>
                <a:avLst/>
                <a:gdLst>
                  <a:gd name="connsiteX0" fmla="*/ 16887 w 33774"/>
                  <a:gd name="connsiteY0" fmla="*/ 108203 h 108202"/>
                  <a:gd name="connsiteX1" fmla="*/ 0 w 33774"/>
                  <a:gd name="connsiteY1" fmla="*/ 91316 h 108202"/>
                  <a:gd name="connsiteX2" fmla="*/ 0 w 33774"/>
                  <a:gd name="connsiteY2" fmla="*/ 16887 h 108202"/>
                  <a:gd name="connsiteX3" fmla="*/ 16887 w 33774"/>
                  <a:gd name="connsiteY3" fmla="*/ 0 h 108202"/>
                  <a:gd name="connsiteX4" fmla="*/ 33774 w 33774"/>
                  <a:gd name="connsiteY4" fmla="*/ 16887 h 108202"/>
                  <a:gd name="connsiteX5" fmla="*/ 33774 w 33774"/>
                  <a:gd name="connsiteY5" fmla="*/ 91941 h 108202"/>
                  <a:gd name="connsiteX6" fmla="*/ 16887 w 33774"/>
                  <a:gd name="connsiteY6" fmla="*/ 108203 h 108202"/>
                  <a:gd name="connsiteX7" fmla="*/ 16887 w 33774"/>
                  <a:gd name="connsiteY7" fmla="*/ 108203 h 108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774" h="108202">
                    <a:moveTo>
                      <a:pt x="16887" y="108203"/>
                    </a:moveTo>
                    <a:cubicBezTo>
                      <a:pt x="7505" y="108203"/>
                      <a:pt x="0" y="100697"/>
                      <a:pt x="0" y="91316"/>
                    </a:cubicBezTo>
                    <a:lnTo>
                      <a:pt x="0" y="16887"/>
                    </a:lnTo>
                    <a:cubicBezTo>
                      <a:pt x="0" y="7505"/>
                      <a:pt x="7505" y="0"/>
                      <a:pt x="16887" y="0"/>
                    </a:cubicBezTo>
                    <a:cubicBezTo>
                      <a:pt x="26269" y="0"/>
                      <a:pt x="33774" y="7505"/>
                      <a:pt x="33774" y="16887"/>
                    </a:cubicBezTo>
                    <a:lnTo>
                      <a:pt x="33774" y="91941"/>
                    </a:lnTo>
                    <a:cubicBezTo>
                      <a:pt x="33774" y="100697"/>
                      <a:pt x="26269" y="108203"/>
                      <a:pt x="16887" y="108203"/>
                    </a:cubicBezTo>
                    <a:lnTo>
                      <a:pt x="16887" y="108203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00" name="Forma Livre: Forma 199">
                <a:extLst>
                  <a:ext uri="{FF2B5EF4-FFF2-40B4-BE49-F238E27FC236}">
                    <a16:creationId xmlns:a16="http://schemas.microsoft.com/office/drawing/2014/main" id="{393847EF-37ED-40C7-BB1E-9B1092B41F0F}"/>
                  </a:ext>
                </a:extLst>
              </p:cNvPr>
              <p:cNvSpPr/>
              <p:nvPr/>
            </p:nvSpPr>
            <p:spPr>
              <a:xfrm>
                <a:off x="10771944" y="698536"/>
                <a:ext cx="108828" cy="33774"/>
              </a:xfrm>
              <a:custGeom>
                <a:avLst/>
                <a:gdLst>
                  <a:gd name="connsiteX0" fmla="*/ 91942 w 108828"/>
                  <a:gd name="connsiteY0" fmla="*/ 33774 h 33774"/>
                  <a:gd name="connsiteX1" fmla="*/ 16888 w 108828"/>
                  <a:gd name="connsiteY1" fmla="*/ 33774 h 33774"/>
                  <a:gd name="connsiteX2" fmla="*/ 0 w 108828"/>
                  <a:gd name="connsiteY2" fmla="*/ 16887 h 33774"/>
                  <a:gd name="connsiteX3" fmla="*/ 16888 w 108828"/>
                  <a:gd name="connsiteY3" fmla="*/ 0 h 33774"/>
                  <a:gd name="connsiteX4" fmla="*/ 91942 w 108828"/>
                  <a:gd name="connsiteY4" fmla="*/ 0 h 33774"/>
                  <a:gd name="connsiteX5" fmla="*/ 108828 w 108828"/>
                  <a:gd name="connsiteY5" fmla="*/ 16887 h 33774"/>
                  <a:gd name="connsiteX6" fmla="*/ 91942 w 108828"/>
                  <a:gd name="connsiteY6" fmla="*/ 33774 h 33774"/>
                  <a:gd name="connsiteX7" fmla="*/ 91942 w 108828"/>
                  <a:gd name="connsiteY7" fmla="*/ 33774 h 33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8828" h="33774">
                    <a:moveTo>
                      <a:pt x="91942" y="33774"/>
                    </a:moveTo>
                    <a:lnTo>
                      <a:pt x="16888" y="33774"/>
                    </a:lnTo>
                    <a:cubicBezTo>
                      <a:pt x="7506" y="33774"/>
                      <a:pt x="0" y="26269"/>
                      <a:pt x="0" y="16887"/>
                    </a:cubicBezTo>
                    <a:cubicBezTo>
                      <a:pt x="0" y="7505"/>
                      <a:pt x="7506" y="0"/>
                      <a:pt x="16888" y="0"/>
                    </a:cubicBezTo>
                    <a:lnTo>
                      <a:pt x="91942" y="0"/>
                    </a:lnTo>
                    <a:cubicBezTo>
                      <a:pt x="101323" y="0"/>
                      <a:pt x="108828" y="7505"/>
                      <a:pt x="108828" y="16887"/>
                    </a:cubicBezTo>
                    <a:cubicBezTo>
                      <a:pt x="108828" y="26269"/>
                      <a:pt x="101323" y="33774"/>
                      <a:pt x="91942" y="33774"/>
                    </a:cubicBezTo>
                    <a:lnTo>
                      <a:pt x="91942" y="33774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01" name="Forma Livre: Forma 200">
                <a:extLst>
                  <a:ext uri="{FF2B5EF4-FFF2-40B4-BE49-F238E27FC236}">
                    <a16:creationId xmlns:a16="http://schemas.microsoft.com/office/drawing/2014/main" id="{F94CF0F0-8940-4A73-8EF1-81AC79585829}"/>
                  </a:ext>
                </a:extLst>
              </p:cNvPr>
              <p:cNvSpPr/>
              <p:nvPr/>
            </p:nvSpPr>
            <p:spPr>
              <a:xfrm>
                <a:off x="10494244" y="698536"/>
                <a:ext cx="108828" cy="33774"/>
              </a:xfrm>
              <a:custGeom>
                <a:avLst/>
                <a:gdLst>
                  <a:gd name="connsiteX0" fmla="*/ 91942 w 108828"/>
                  <a:gd name="connsiteY0" fmla="*/ 33774 h 33774"/>
                  <a:gd name="connsiteX1" fmla="*/ 16888 w 108828"/>
                  <a:gd name="connsiteY1" fmla="*/ 33774 h 33774"/>
                  <a:gd name="connsiteX2" fmla="*/ 0 w 108828"/>
                  <a:gd name="connsiteY2" fmla="*/ 16887 h 33774"/>
                  <a:gd name="connsiteX3" fmla="*/ 16888 w 108828"/>
                  <a:gd name="connsiteY3" fmla="*/ 0 h 33774"/>
                  <a:gd name="connsiteX4" fmla="*/ 91942 w 108828"/>
                  <a:gd name="connsiteY4" fmla="*/ 0 h 33774"/>
                  <a:gd name="connsiteX5" fmla="*/ 108828 w 108828"/>
                  <a:gd name="connsiteY5" fmla="*/ 16887 h 33774"/>
                  <a:gd name="connsiteX6" fmla="*/ 91942 w 108828"/>
                  <a:gd name="connsiteY6" fmla="*/ 33774 h 33774"/>
                  <a:gd name="connsiteX7" fmla="*/ 91942 w 108828"/>
                  <a:gd name="connsiteY7" fmla="*/ 33774 h 33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8828" h="33774">
                    <a:moveTo>
                      <a:pt x="91942" y="33774"/>
                    </a:moveTo>
                    <a:lnTo>
                      <a:pt x="16888" y="33774"/>
                    </a:lnTo>
                    <a:cubicBezTo>
                      <a:pt x="7506" y="33774"/>
                      <a:pt x="0" y="26269"/>
                      <a:pt x="0" y="16887"/>
                    </a:cubicBezTo>
                    <a:cubicBezTo>
                      <a:pt x="0" y="7505"/>
                      <a:pt x="7506" y="0"/>
                      <a:pt x="16888" y="0"/>
                    </a:cubicBezTo>
                    <a:lnTo>
                      <a:pt x="91942" y="0"/>
                    </a:lnTo>
                    <a:cubicBezTo>
                      <a:pt x="101323" y="0"/>
                      <a:pt x="108828" y="7505"/>
                      <a:pt x="108828" y="16887"/>
                    </a:cubicBezTo>
                    <a:cubicBezTo>
                      <a:pt x="108828" y="26269"/>
                      <a:pt x="101323" y="33774"/>
                      <a:pt x="91942" y="33774"/>
                    </a:cubicBezTo>
                    <a:lnTo>
                      <a:pt x="91942" y="33774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02" name="Forma Livre: Forma 201">
                <a:extLst>
                  <a:ext uri="{FF2B5EF4-FFF2-40B4-BE49-F238E27FC236}">
                    <a16:creationId xmlns:a16="http://schemas.microsoft.com/office/drawing/2014/main" id="{743908AB-AC21-4699-BDC1-A51F45043DF0}"/>
                  </a:ext>
                </a:extLst>
              </p:cNvPr>
              <p:cNvSpPr/>
              <p:nvPr/>
            </p:nvSpPr>
            <p:spPr>
              <a:xfrm>
                <a:off x="10742860" y="574384"/>
                <a:ext cx="86312" cy="86624"/>
              </a:xfrm>
              <a:custGeom>
                <a:avLst/>
                <a:gdLst>
                  <a:gd name="connsiteX0" fmla="*/ 16575 w 86312"/>
                  <a:gd name="connsiteY0" fmla="*/ 86625 h 86624"/>
                  <a:gd name="connsiteX1" fmla="*/ 4691 w 86312"/>
                  <a:gd name="connsiteY1" fmla="*/ 81621 h 86624"/>
                  <a:gd name="connsiteX2" fmla="*/ 4691 w 86312"/>
                  <a:gd name="connsiteY2" fmla="*/ 57854 h 86624"/>
                  <a:gd name="connsiteX3" fmla="*/ 57854 w 86312"/>
                  <a:gd name="connsiteY3" fmla="*/ 4691 h 86624"/>
                  <a:gd name="connsiteX4" fmla="*/ 81621 w 86312"/>
                  <a:gd name="connsiteY4" fmla="*/ 4691 h 86624"/>
                  <a:gd name="connsiteX5" fmla="*/ 81621 w 86312"/>
                  <a:gd name="connsiteY5" fmla="*/ 28458 h 86624"/>
                  <a:gd name="connsiteX6" fmla="*/ 28458 w 86312"/>
                  <a:gd name="connsiteY6" fmla="*/ 81621 h 86624"/>
                  <a:gd name="connsiteX7" fmla="*/ 16575 w 86312"/>
                  <a:gd name="connsiteY7" fmla="*/ 86625 h 86624"/>
                  <a:gd name="connsiteX8" fmla="*/ 16575 w 86312"/>
                  <a:gd name="connsiteY8" fmla="*/ 86625 h 86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6312" h="86624">
                    <a:moveTo>
                      <a:pt x="16575" y="86625"/>
                    </a:moveTo>
                    <a:cubicBezTo>
                      <a:pt x="12197" y="86625"/>
                      <a:pt x="7818" y="84748"/>
                      <a:pt x="4691" y="81621"/>
                    </a:cubicBezTo>
                    <a:cubicBezTo>
                      <a:pt x="-1564" y="75367"/>
                      <a:pt x="-1564" y="64734"/>
                      <a:pt x="4691" y="57854"/>
                    </a:cubicBezTo>
                    <a:lnTo>
                      <a:pt x="57854" y="4691"/>
                    </a:lnTo>
                    <a:cubicBezTo>
                      <a:pt x="64109" y="-1564"/>
                      <a:pt x="74742" y="-1564"/>
                      <a:pt x="81621" y="4691"/>
                    </a:cubicBezTo>
                    <a:cubicBezTo>
                      <a:pt x="87876" y="10945"/>
                      <a:pt x="87876" y="21578"/>
                      <a:pt x="81621" y="28458"/>
                    </a:cubicBezTo>
                    <a:lnTo>
                      <a:pt x="28458" y="81621"/>
                    </a:lnTo>
                    <a:cubicBezTo>
                      <a:pt x="24706" y="84748"/>
                      <a:pt x="20327" y="86625"/>
                      <a:pt x="16575" y="86625"/>
                    </a:cubicBezTo>
                    <a:lnTo>
                      <a:pt x="16575" y="86625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03" name="Forma Livre: Forma 202">
                <a:extLst>
                  <a:ext uri="{FF2B5EF4-FFF2-40B4-BE49-F238E27FC236}">
                    <a16:creationId xmlns:a16="http://schemas.microsoft.com/office/drawing/2014/main" id="{3592E6A8-8A01-43EA-9A8D-5EB7EA7412A8}"/>
                  </a:ext>
                </a:extLst>
              </p:cNvPr>
              <p:cNvSpPr/>
              <p:nvPr/>
            </p:nvSpPr>
            <p:spPr>
              <a:xfrm>
                <a:off x="10546470" y="770775"/>
                <a:ext cx="86311" cy="86624"/>
              </a:xfrm>
              <a:custGeom>
                <a:avLst/>
                <a:gdLst>
                  <a:gd name="connsiteX0" fmla="*/ 16574 w 86311"/>
                  <a:gd name="connsiteY0" fmla="*/ 86625 h 86624"/>
                  <a:gd name="connsiteX1" fmla="*/ 4691 w 86311"/>
                  <a:gd name="connsiteY1" fmla="*/ 81621 h 86624"/>
                  <a:gd name="connsiteX2" fmla="*/ 4691 w 86311"/>
                  <a:gd name="connsiteY2" fmla="*/ 57854 h 86624"/>
                  <a:gd name="connsiteX3" fmla="*/ 57854 w 86311"/>
                  <a:gd name="connsiteY3" fmla="*/ 4691 h 86624"/>
                  <a:gd name="connsiteX4" fmla="*/ 81621 w 86311"/>
                  <a:gd name="connsiteY4" fmla="*/ 4691 h 86624"/>
                  <a:gd name="connsiteX5" fmla="*/ 81621 w 86311"/>
                  <a:gd name="connsiteY5" fmla="*/ 28458 h 86624"/>
                  <a:gd name="connsiteX6" fmla="*/ 28457 w 86311"/>
                  <a:gd name="connsiteY6" fmla="*/ 81621 h 86624"/>
                  <a:gd name="connsiteX7" fmla="*/ 16574 w 86311"/>
                  <a:gd name="connsiteY7" fmla="*/ 86625 h 86624"/>
                  <a:gd name="connsiteX8" fmla="*/ 16574 w 86311"/>
                  <a:gd name="connsiteY8" fmla="*/ 86625 h 86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6311" h="86624">
                    <a:moveTo>
                      <a:pt x="16574" y="86625"/>
                    </a:moveTo>
                    <a:cubicBezTo>
                      <a:pt x="12196" y="86625"/>
                      <a:pt x="7818" y="84748"/>
                      <a:pt x="4691" y="81621"/>
                    </a:cubicBezTo>
                    <a:cubicBezTo>
                      <a:pt x="-1564" y="75367"/>
                      <a:pt x="-1564" y="64734"/>
                      <a:pt x="4691" y="57854"/>
                    </a:cubicBezTo>
                    <a:lnTo>
                      <a:pt x="57854" y="4691"/>
                    </a:lnTo>
                    <a:cubicBezTo>
                      <a:pt x="64109" y="-1564"/>
                      <a:pt x="74741" y="-1564"/>
                      <a:pt x="81621" y="4691"/>
                    </a:cubicBezTo>
                    <a:cubicBezTo>
                      <a:pt x="87875" y="10945"/>
                      <a:pt x="87875" y="21578"/>
                      <a:pt x="81621" y="28458"/>
                    </a:cubicBezTo>
                    <a:lnTo>
                      <a:pt x="28457" y="81621"/>
                    </a:lnTo>
                    <a:cubicBezTo>
                      <a:pt x="24705" y="84748"/>
                      <a:pt x="20952" y="86625"/>
                      <a:pt x="16574" y="86625"/>
                    </a:cubicBezTo>
                    <a:lnTo>
                      <a:pt x="16574" y="86625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04" name="Forma Livre: Forma 203">
                <a:extLst>
                  <a:ext uri="{FF2B5EF4-FFF2-40B4-BE49-F238E27FC236}">
                    <a16:creationId xmlns:a16="http://schemas.microsoft.com/office/drawing/2014/main" id="{8472770D-A61A-452F-B8A9-2DBF06C67032}"/>
                  </a:ext>
                </a:extLst>
              </p:cNvPr>
              <p:cNvSpPr/>
              <p:nvPr/>
            </p:nvSpPr>
            <p:spPr>
              <a:xfrm>
                <a:off x="10742235" y="770775"/>
                <a:ext cx="86312" cy="86624"/>
              </a:xfrm>
              <a:custGeom>
                <a:avLst/>
                <a:gdLst>
                  <a:gd name="connsiteX0" fmla="*/ 69738 w 86312"/>
                  <a:gd name="connsiteY0" fmla="*/ 86625 h 86624"/>
                  <a:gd name="connsiteX1" fmla="*/ 57854 w 86312"/>
                  <a:gd name="connsiteY1" fmla="*/ 81621 h 86624"/>
                  <a:gd name="connsiteX2" fmla="*/ 4691 w 86312"/>
                  <a:gd name="connsiteY2" fmla="*/ 28458 h 86624"/>
                  <a:gd name="connsiteX3" fmla="*/ 4691 w 86312"/>
                  <a:gd name="connsiteY3" fmla="*/ 4691 h 86624"/>
                  <a:gd name="connsiteX4" fmla="*/ 28458 w 86312"/>
                  <a:gd name="connsiteY4" fmla="*/ 4691 h 86624"/>
                  <a:gd name="connsiteX5" fmla="*/ 81621 w 86312"/>
                  <a:gd name="connsiteY5" fmla="*/ 57854 h 86624"/>
                  <a:gd name="connsiteX6" fmla="*/ 81621 w 86312"/>
                  <a:gd name="connsiteY6" fmla="*/ 81621 h 86624"/>
                  <a:gd name="connsiteX7" fmla="*/ 69738 w 86312"/>
                  <a:gd name="connsiteY7" fmla="*/ 86625 h 86624"/>
                  <a:gd name="connsiteX8" fmla="*/ 69738 w 86312"/>
                  <a:gd name="connsiteY8" fmla="*/ 86625 h 86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6312" h="86624">
                    <a:moveTo>
                      <a:pt x="69738" y="86625"/>
                    </a:moveTo>
                    <a:cubicBezTo>
                      <a:pt x="65360" y="86625"/>
                      <a:pt x="60981" y="84748"/>
                      <a:pt x="57854" y="81621"/>
                    </a:cubicBezTo>
                    <a:lnTo>
                      <a:pt x="4691" y="28458"/>
                    </a:lnTo>
                    <a:cubicBezTo>
                      <a:pt x="-1564" y="22203"/>
                      <a:pt x="-1564" y="11571"/>
                      <a:pt x="4691" y="4691"/>
                    </a:cubicBezTo>
                    <a:cubicBezTo>
                      <a:pt x="10945" y="-1564"/>
                      <a:pt x="21578" y="-1564"/>
                      <a:pt x="28458" y="4691"/>
                    </a:cubicBezTo>
                    <a:lnTo>
                      <a:pt x="81621" y="57854"/>
                    </a:lnTo>
                    <a:cubicBezTo>
                      <a:pt x="87876" y="64109"/>
                      <a:pt x="87876" y="74741"/>
                      <a:pt x="81621" y="81621"/>
                    </a:cubicBezTo>
                    <a:cubicBezTo>
                      <a:pt x="78494" y="84748"/>
                      <a:pt x="74116" y="86625"/>
                      <a:pt x="69738" y="86625"/>
                    </a:cubicBezTo>
                    <a:lnTo>
                      <a:pt x="69738" y="86625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05" name="Forma Livre: Forma 204">
                <a:extLst>
                  <a:ext uri="{FF2B5EF4-FFF2-40B4-BE49-F238E27FC236}">
                    <a16:creationId xmlns:a16="http://schemas.microsoft.com/office/drawing/2014/main" id="{DEA5F0BE-42FD-482C-B5A1-EC9E3D809929}"/>
                  </a:ext>
                </a:extLst>
              </p:cNvPr>
              <p:cNvSpPr/>
              <p:nvPr/>
            </p:nvSpPr>
            <p:spPr>
              <a:xfrm>
                <a:off x="10545844" y="574384"/>
                <a:ext cx="86312" cy="86624"/>
              </a:xfrm>
              <a:custGeom>
                <a:avLst/>
                <a:gdLst>
                  <a:gd name="connsiteX0" fmla="*/ 69738 w 86312"/>
                  <a:gd name="connsiteY0" fmla="*/ 86625 h 86624"/>
                  <a:gd name="connsiteX1" fmla="*/ 57854 w 86312"/>
                  <a:gd name="connsiteY1" fmla="*/ 81621 h 86624"/>
                  <a:gd name="connsiteX2" fmla="*/ 4691 w 86312"/>
                  <a:gd name="connsiteY2" fmla="*/ 28458 h 86624"/>
                  <a:gd name="connsiteX3" fmla="*/ 4691 w 86312"/>
                  <a:gd name="connsiteY3" fmla="*/ 4691 h 86624"/>
                  <a:gd name="connsiteX4" fmla="*/ 28458 w 86312"/>
                  <a:gd name="connsiteY4" fmla="*/ 4691 h 86624"/>
                  <a:gd name="connsiteX5" fmla="*/ 81621 w 86312"/>
                  <a:gd name="connsiteY5" fmla="*/ 57854 h 86624"/>
                  <a:gd name="connsiteX6" fmla="*/ 81621 w 86312"/>
                  <a:gd name="connsiteY6" fmla="*/ 81621 h 86624"/>
                  <a:gd name="connsiteX7" fmla="*/ 69738 w 86312"/>
                  <a:gd name="connsiteY7" fmla="*/ 86625 h 86624"/>
                  <a:gd name="connsiteX8" fmla="*/ 69738 w 86312"/>
                  <a:gd name="connsiteY8" fmla="*/ 86625 h 86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6312" h="86624">
                    <a:moveTo>
                      <a:pt x="69738" y="86625"/>
                    </a:moveTo>
                    <a:cubicBezTo>
                      <a:pt x="65360" y="86625"/>
                      <a:pt x="60981" y="84748"/>
                      <a:pt x="57854" y="81621"/>
                    </a:cubicBezTo>
                    <a:lnTo>
                      <a:pt x="4691" y="28458"/>
                    </a:lnTo>
                    <a:cubicBezTo>
                      <a:pt x="-1564" y="22203"/>
                      <a:pt x="-1564" y="11571"/>
                      <a:pt x="4691" y="4691"/>
                    </a:cubicBezTo>
                    <a:cubicBezTo>
                      <a:pt x="10945" y="-1564"/>
                      <a:pt x="21578" y="-1564"/>
                      <a:pt x="28458" y="4691"/>
                    </a:cubicBezTo>
                    <a:lnTo>
                      <a:pt x="81621" y="57854"/>
                    </a:lnTo>
                    <a:cubicBezTo>
                      <a:pt x="87876" y="64109"/>
                      <a:pt x="87876" y="74741"/>
                      <a:pt x="81621" y="81621"/>
                    </a:cubicBezTo>
                    <a:cubicBezTo>
                      <a:pt x="78494" y="84748"/>
                      <a:pt x="74116" y="86625"/>
                      <a:pt x="69738" y="86625"/>
                    </a:cubicBezTo>
                    <a:lnTo>
                      <a:pt x="69738" y="86625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206" name="Forma Livre: Forma 205">
              <a:extLst>
                <a:ext uri="{FF2B5EF4-FFF2-40B4-BE49-F238E27FC236}">
                  <a16:creationId xmlns:a16="http://schemas.microsoft.com/office/drawing/2014/main" id="{D4F5DC88-845B-4CE9-B807-BDFC46882D30}"/>
                </a:ext>
              </a:extLst>
            </p:cNvPr>
            <p:cNvSpPr/>
            <p:nvPr/>
          </p:nvSpPr>
          <p:spPr>
            <a:xfrm>
              <a:off x="10572425" y="600966"/>
              <a:ext cx="230165" cy="230165"/>
            </a:xfrm>
            <a:custGeom>
              <a:avLst/>
              <a:gdLst>
                <a:gd name="connsiteX0" fmla="*/ 115083 w 230165"/>
                <a:gd name="connsiteY0" fmla="*/ 230165 h 230165"/>
                <a:gd name="connsiteX1" fmla="*/ 0 w 230165"/>
                <a:gd name="connsiteY1" fmla="*/ 115083 h 230165"/>
                <a:gd name="connsiteX2" fmla="*/ 115083 w 230165"/>
                <a:gd name="connsiteY2" fmla="*/ 0 h 230165"/>
                <a:gd name="connsiteX3" fmla="*/ 230166 w 230165"/>
                <a:gd name="connsiteY3" fmla="*/ 115083 h 230165"/>
                <a:gd name="connsiteX4" fmla="*/ 115083 w 230165"/>
                <a:gd name="connsiteY4" fmla="*/ 230165 h 230165"/>
                <a:gd name="connsiteX5" fmla="*/ 115083 w 230165"/>
                <a:gd name="connsiteY5" fmla="*/ 230165 h 230165"/>
                <a:gd name="connsiteX6" fmla="*/ 115083 w 230165"/>
                <a:gd name="connsiteY6" fmla="*/ 33149 h 230165"/>
                <a:gd name="connsiteX7" fmla="*/ 33149 w 230165"/>
                <a:gd name="connsiteY7" fmla="*/ 115083 h 230165"/>
                <a:gd name="connsiteX8" fmla="*/ 115083 w 230165"/>
                <a:gd name="connsiteY8" fmla="*/ 197017 h 230165"/>
                <a:gd name="connsiteX9" fmla="*/ 197017 w 230165"/>
                <a:gd name="connsiteY9" fmla="*/ 115083 h 230165"/>
                <a:gd name="connsiteX10" fmla="*/ 115083 w 230165"/>
                <a:gd name="connsiteY10" fmla="*/ 33149 h 230165"/>
                <a:gd name="connsiteX11" fmla="*/ 115083 w 230165"/>
                <a:gd name="connsiteY11" fmla="*/ 33149 h 230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0165" h="230165">
                  <a:moveTo>
                    <a:pt x="115083" y="230165"/>
                  </a:moveTo>
                  <a:cubicBezTo>
                    <a:pt x="51287" y="230165"/>
                    <a:pt x="0" y="178253"/>
                    <a:pt x="0" y="115083"/>
                  </a:cubicBezTo>
                  <a:cubicBezTo>
                    <a:pt x="0" y="51287"/>
                    <a:pt x="51913" y="0"/>
                    <a:pt x="115083" y="0"/>
                  </a:cubicBezTo>
                  <a:cubicBezTo>
                    <a:pt x="178879" y="0"/>
                    <a:pt x="230166" y="51912"/>
                    <a:pt x="230166" y="115083"/>
                  </a:cubicBezTo>
                  <a:cubicBezTo>
                    <a:pt x="230166" y="178253"/>
                    <a:pt x="178879" y="230165"/>
                    <a:pt x="115083" y="230165"/>
                  </a:cubicBezTo>
                  <a:lnTo>
                    <a:pt x="115083" y="230165"/>
                  </a:lnTo>
                  <a:close/>
                  <a:moveTo>
                    <a:pt x="115083" y="33149"/>
                  </a:moveTo>
                  <a:cubicBezTo>
                    <a:pt x="70051" y="33149"/>
                    <a:pt x="33149" y="70050"/>
                    <a:pt x="33149" y="115083"/>
                  </a:cubicBezTo>
                  <a:cubicBezTo>
                    <a:pt x="33149" y="160115"/>
                    <a:pt x="70051" y="197017"/>
                    <a:pt x="115083" y="197017"/>
                  </a:cubicBezTo>
                  <a:cubicBezTo>
                    <a:pt x="160116" y="197017"/>
                    <a:pt x="197017" y="160115"/>
                    <a:pt x="197017" y="115083"/>
                  </a:cubicBezTo>
                  <a:cubicBezTo>
                    <a:pt x="197017" y="70050"/>
                    <a:pt x="160116" y="33149"/>
                    <a:pt x="115083" y="33149"/>
                  </a:cubicBezTo>
                  <a:lnTo>
                    <a:pt x="115083" y="33149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07" name="Forma Livre: Forma 206">
              <a:extLst>
                <a:ext uri="{FF2B5EF4-FFF2-40B4-BE49-F238E27FC236}">
                  <a16:creationId xmlns:a16="http://schemas.microsoft.com/office/drawing/2014/main" id="{AE9408FF-7287-4030-A6C0-A9638D47D8C7}"/>
                </a:ext>
              </a:extLst>
            </p:cNvPr>
            <p:cNvSpPr/>
            <p:nvPr/>
          </p:nvSpPr>
          <p:spPr>
            <a:xfrm>
              <a:off x="10588688" y="617227"/>
              <a:ext cx="98820" cy="197641"/>
            </a:xfrm>
            <a:custGeom>
              <a:avLst/>
              <a:gdLst>
                <a:gd name="connsiteX0" fmla="*/ 98821 w 98820"/>
                <a:gd name="connsiteY0" fmla="*/ 0 h 197641"/>
                <a:gd name="connsiteX1" fmla="*/ 0 w 98820"/>
                <a:gd name="connsiteY1" fmla="*/ 98821 h 197641"/>
                <a:gd name="connsiteX2" fmla="*/ 98821 w 98820"/>
                <a:gd name="connsiteY2" fmla="*/ 197642 h 197641"/>
                <a:gd name="connsiteX3" fmla="*/ 98821 w 98820"/>
                <a:gd name="connsiteY3" fmla="*/ 0 h 197641"/>
                <a:gd name="connsiteX4" fmla="*/ 98821 w 98820"/>
                <a:gd name="connsiteY4" fmla="*/ 0 h 197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8820" h="197641">
                  <a:moveTo>
                    <a:pt x="98821" y="0"/>
                  </a:moveTo>
                  <a:cubicBezTo>
                    <a:pt x="44407" y="0"/>
                    <a:pt x="0" y="44407"/>
                    <a:pt x="0" y="98821"/>
                  </a:cubicBezTo>
                  <a:cubicBezTo>
                    <a:pt x="0" y="153235"/>
                    <a:pt x="44407" y="197642"/>
                    <a:pt x="98821" y="197642"/>
                  </a:cubicBezTo>
                  <a:lnTo>
                    <a:pt x="98821" y="0"/>
                  </a:lnTo>
                  <a:lnTo>
                    <a:pt x="98821" y="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08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9483972" y="522785"/>
            <a:ext cx="387153" cy="385902"/>
            <a:chOff x="9471635" y="522785"/>
            <a:chExt cx="387153" cy="385902"/>
          </a:xfrm>
          <a:solidFill>
            <a:srgbClr val="B1B1A1"/>
          </a:solidFill>
        </p:grpSpPr>
        <p:grpSp>
          <p:nvGrpSpPr>
            <p:cNvPr id="209" name="Gráfico 2">
              <a:extLst>
                <a:ext uri="{FF2B5EF4-FFF2-40B4-BE49-F238E27FC236}">
                  <a16:creationId xmlns:a16="http://schemas.microsoft.com/office/drawing/2014/main" id="{A4E24395-F85F-4E15-8BC9-B92D577D4DAD}"/>
                </a:ext>
              </a:extLst>
            </p:cNvPr>
            <p:cNvGrpSpPr/>
            <p:nvPr/>
          </p:nvGrpSpPr>
          <p:grpSpPr>
            <a:xfrm>
              <a:off x="9648637" y="522785"/>
              <a:ext cx="33774" cy="385902"/>
              <a:chOff x="9648637" y="522785"/>
              <a:chExt cx="33774" cy="385902"/>
            </a:xfrm>
            <a:grpFill/>
          </p:grpSpPr>
          <p:sp>
            <p:nvSpPr>
              <p:cNvPr id="210" name="Forma Livre: Forma 209">
                <a:extLst>
                  <a:ext uri="{FF2B5EF4-FFF2-40B4-BE49-F238E27FC236}">
                    <a16:creationId xmlns:a16="http://schemas.microsoft.com/office/drawing/2014/main" id="{C9429585-CFD7-4B00-BE1A-E8085ACEAAFE}"/>
                  </a:ext>
                </a:extLst>
              </p:cNvPr>
              <p:cNvSpPr/>
              <p:nvPr/>
            </p:nvSpPr>
            <p:spPr>
              <a:xfrm>
                <a:off x="9648637" y="522785"/>
                <a:ext cx="33774" cy="66297"/>
              </a:xfrm>
              <a:custGeom>
                <a:avLst/>
                <a:gdLst>
                  <a:gd name="connsiteX0" fmla="*/ 16887 w 33774"/>
                  <a:gd name="connsiteY0" fmla="*/ 66298 h 66297"/>
                  <a:gd name="connsiteX1" fmla="*/ 0 w 33774"/>
                  <a:gd name="connsiteY1" fmla="*/ 49410 h 66297"/>
                  <a:gd name="connsiteX2" fmla="*/ 0 w 33774"/>
                  <a:gd name="connsiteY2" fmla="*/ 16887 h 66297"/>
                  <a:gd name="connsiteX3" fmla="*/ 16887 w 33774"/>
                  <a:gd name="connsiteY3" fmla="*/ 0 h 66297"/>
                  <a:gd name="connsiteX4" fmla="*/ 33774 w 33774"/>
                  <a:gd name="connsiteY4" fmla="*/ 16887 h 66297"/>
                  <a:gd name="connsiteX5" fmla="*/ 33774 w 33774"/>
                  <a:gd name="connsiteY5" fmla="*/ 50036 h 66297"/>
                  <a:gd name="connsiteX6" fmla="*/ 16887 w 33774"/>
                  <a:gd name="connsiteY6" fmla="*/ 66298 h 66297"/>
                  <a:gd name="connsiteX7" fmla="*/ 16887 w 33774"/>
                  <a:gd name="connsiteY7" fmla="*/ 66298 h 662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774" h="66297">
                    <a:moveTo>
                      <a:pt x="16887" y="66298"/>
                    </a:moveTo>
                    <a:cubicBezTo>
                      <a:pt x="7505" y="66298"/>
                      <a:pt x="0" y="58792"/>
                      <a:pt x="0" y="49410"/>
                    </a:cubicBezTo>
                    <a:lnTo>
                      <a:pt x="0" y="16887"/>
                    </a:lnTo>
                    <a:cubicBezTo>
                      <a:pt x="0" y="7505"/>
                      <a:pt x="7505" y="0"/>
                      <a:pt x="16887" y="0"/>
                    </a:cubicBezTo>
                    <a:cubicBezTo>
                      <a:pt x="26269" y="0"/>
                      <a:pt x="33774" y="7505"/>
                      <a:pt x="33774" y="16887"/>
                    </a:cubicBezTo>
                    <a:lnTo>
                      <a:pt x="33774" y="50036"/>
                    </a:lnTo>
                    <a:cubicBezTo>
                      <a:pt x="33149" y="58792"/>
                      <a:pt x="25643" y="66298"/>
                      <a:pt x="16887" y="66298"/>
                    </a:cubicBezTo>
                    <a:lnTo>
                      <a:pt x="16887" y="66298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11" name="Forma Livre: Forma 210">
                <a:extLst>
                  <a:ext uri="{FF2B5EF4-FFF2-40B4-BE49-F238E27FC236}">
                    <a16:creationId xmlns:a16="http://schemas.microsoft.com/office/drawing/2014/main" id="{997430F9-EEE6-47C8-B8D7-67322D927B8F}"/>
                  </a:ext>
                </a:extLst>
              </p:cNvPr>
              <p:cNvSpPr/>
              <p:nvPr/>
            </p:nvSpPr>
            <p:spPr>
              <a:xfrm>
                <a:off x="9648637" y="841764"/>
                <a:ext cx="33774" cy="66923"/>
              </a:xfrm>
              <a:custGeom>
                <a:avLst/>
                <a:gdLst>
                  <a:gd name="connsiteX0" fmla="*/ 16887 w 33774"/>
                  <a:gd name="connsiteY0" fmla="*/ 66923 h 66923"/>
                  <a:gd name="connsiteX1" fmla="*/ 0 w 33774"/>
                  <a:gd name="connsiteY1" fmla="*/ 50036 h 66923"/>
                  <a:gd name="connsiteX2" fmla="*/ 0 w 33774"/>
                  <a:gd name="connsiteY2" fmla="*/ 16887 h 66923"/>
                  <a:gd name="connsiteX3" fmla="*/ 16887 w 33774"/>
                  <a:gd name="connsiteY3" fmla="*/ 0 h 66923"/>
                  <a:gd name="connsiteX4" fmla="*/ 33774 w 33774"/>
                  <a:gd name="connsiteY4" fmla="*/ 16887 h 66923"/>
                  <a:gd name="connsiteX5" fmla="*/ 33774 w 33774"/>
                  <a:gd name="connsiteY5" fmla="*/ 50036 h 66923"/>
                  <a:gd name="connsiteX6" fmla="*/ 16887 w 33774"/>
                  <a:gd name="connsiteY6" fmla="*/ 66923 h 66923"/>
                  <a:gd name="connsiteX7" fmla="*/ 16887 w 33774"/>
                  <a:gd name="connsiteY7" fmla="*/ 66923 h 66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774" h="66923">
                    <a:moveTo>
                      <a:pt x="16887" y="66923"/>
                    </a:moveTo>
                    <a:cubicBezTo>
                      <a:pt x="7505" y="66923"/>
                      <a:pt x="0" y="59418"/>
                      <a:pt x="0" y="50036"/>
                    </a:cubicBezTo>
                    <a:lnTo>
                      <a:pt x="0" y="16887"/>
                    </a:lnTo>
                    <a:cubicBezTo>
                      <a:pt x="0" y="7505"/>
                      <a:pt x="7505" y="0"/>
                      <a:pt x="16887" y="0"/>
                    </a:cubicBezTo>
                    <a:cubicBezTo>
                      <a:pt x="26269" y="0"/>
                      <a:pt x="33774" y="7505"/>
                      <a:pt x="33774" y="16887"/>
                    </a:cubicBezTo>
                    <a:lnTo>
                      <a:pt x="33774" y="50036"/>
                    </a:lnTo>
                    <a:cubicBezTo>
                      <a:pt x="33149" y="59418"/>
                      <a:pt x="25643" y="66923"/>
                      <a:pt x="16887" y="66923"/>
                    </a:cubicBezTo>
                    <a:lnTo>
                      <a:pt x="16887" y="66923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212" name="Gráfico 2">
              <a:extLst>
                <a:ext uri="{FF2B5EF4-FFF2-40B4-BE49-F238E27FC236}">
                  <a16:creationId xmlns:a16="http://schemas.microsoft.com/office/drawing/2014/main" id="{A4E24395-F85F-4E15-8BC9-B92D577D4DAD}"/>
                </a:ext>
              </a:extLst>
            </p:cNvPr>
            <p:cNvGrpSpPr/>
            <p:nvPr/>
          </p:nvGrpSpPr>
          <p:grpSpPr>
            <a:xfrm>
              <a:off x="9471635" y="698536"/>
              <a:ext cx="387153" cy="33774"/>
              <a:chOff x="9471635" y="698536"/>
              <a:chExt cx="387153" cy="33774"/>
            </a:xfrm>
            <a:grpFill/>
          </p:grpSpPr>
          <p:sp>
            <p:nvSpPr>
              <p:cNvPr id="213" name="Forma Livre: Forma 212">
                <a:extLst>
                  <a:ext uri="{FF2B5EF4-FFF2-40B4-BE49-F238E27FC236}">
                    <a16:creationId xmlns:a16="http://schemas.microsoft.com/office/drawing/2014/main" id="{22C1C1FE-648D-4EB8-BEF1-D6EF4191BBCB}"/>
                  </a:ext>
                </a:extLst>
              </p:cNvPr>
              <p:cNvSpPr/>
              <p:nvPr/>
            </p:nvSpPr>
            <p:spPr>
              <a:xfrm>
                <a:off x="9791865" y="698536"/>
                <a:ext cx="66922" cy="33774"/>
              </a:xfrm>
              <a:custGeom>
                <a:avLst/>
                <a:gdLst>
                  <a:gd name="connsiteX0" fmla="*/ 50036 w 66922"/>
                  <a:gd name="connsiteY0" fmla="*/ 33774 h 33774"/>
                  <a:gd name="connsiteX1" fmla="*/ 16887 w 66922"/>
                  <a:gd name="connsiteY1" fmla="*/ 33774 h 33774"/>
                  <a:gd name="connsiteX2" fmla="*/ 0 w 66922"/>
                  <a:gd name="connsiteY2" fmla="*/ 16887 h 33774"/>
                  <a:gd name="connsiteX3" fmla="*/ 16887 w 66922"/>
                  <a:gd name="connsiteY3" fmla="*/ 0 h 33774"/>
                  <a:gd name="connsiteX4" fmla="*/ 50036 w 66922"/>
                  <a:gd name="connsiteY4" fmla="*/ 0 h 33774"/>
                  <a:gd name="connsiteX5" fmla="*/ 66923 w 66922"/>
                  <a:gd name="connsiteY5" fmla="*/ 16887 h 33774"/>
                  <a:gd name="connsiteX6" fmla="*/ 50036 w 66922"/>
                  <a:gd name="connsiteY6" fmla="*/ 33774 h 33774"/>
                  <a:gd name="connsiteX7" fmla="*/ 50036 w 66922"/>
                  <a:gd name="connsiteY7" fmla="*/ 33774 h 33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922" h="33774">
                    <a:moveTo>
                      <a:pt x="50036" y="33774"/>
                    </a:moveTo>
                    <a:lnTo>
                      <a:pt x="16887" y="33774"/>
                    </a:lnTo>
                    <a:cubicBezTo>
                      <a:pt x="7505" y="33774"/>
                      <a:pt x="0" y="26269"/>
                      <a:pt x="0" y="16887"/>
                    </a:cubicBezTo>
                    <a:cubicBezTo>
                      <a:pt x="0" y="7505"/>
                      <a:pt x="7505" y="0"/>
                      <a:pt x="16887" y="0"/>
                    </a:cubicBezTo>
                    <a:lnTo>
                      <a:pt x="50036" y="0"/>
                    </a:lnTo>
                    <a:cubicBezTo>
                      <a:pt x="59418" y="0"/>
                      <a:pt x="66923" y="7505"/>
                      <a:pt x="66923" y="16887"/>
                    </a:cubicBezTo>
                    <a:cubicBezTo>
                      <a:pt x="66297" y="26269"/>
                      <a:pt x="58792" y="33774"/>
                      <a:pt x="50036" y="33774"/>
                    </a:cubicBezTo>
                    <a:lnTo>
                      <a:pt x="50036" y="33774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14" name="Forma Livre: Forma 213">
                <a:extLst>
                  <a:ext uri="{FF2B5EF4-FFF2-40B4-BE49-F238E27FC236}">
                    <a16:creationId xmlns:a16="http://schemas.microsoft.com/office/drawing/2014/main" id="{89DDFE58-8C4B-44BD-8C6E-2C367552765B}"/>
                  </a:ext>
                </a:extLst>
              </p:cNvPr>
              <p:cNvSpPr/>
              <p:nvPr/>
            </p:nvSpPr>
            <p:spPr>
              <a:xfrm>
                <a:off x="9471635" y="698536"/>
                <a:ext cx="66923" cy="33774"/>
              </a:xfrm>
              <a:custGeom>
                <a:avLst/>
                <a:gdLst>
                  <a:gd name="connsiteX0" fmla="*/ 50036 w 66923"/>
                  <a:gd name="connsiteY0" fmla="*/ 33774 h 33774"/>
                  <a:gd name="connsiteX1" fmla="*/ 16888 w 66923"/>
                  <a:gd name="connsiteY1" fmla="*/ 33774 h 33774"/>
                  <a:gd name="connsiteX2" fmla="*/ 0 w 66923"/>
                  <a:gd name="connsiteY2" fmla="*/ 16887 h 33774"/>
                  <a:gd name="connsiteX3" fmla="*/ 16888 w 66923"/>
                  <a:gd name="connsiteY3" fmla="*/ 0 h 33774"/>
                  <a:gd name="connsiteX4" fmla="*/ 50036 w 66923"/>
                  <a:gd name="connsiteY4" fmla="*/ 0 h 33774"/>
                  <a:gd name="connsiteX5" fmla="*/ 66924 w 66923"/>
                  <a:gd name="connsiteY5" fmla="*/ 16887 h 33774"/>
                  <a:gd name="connsiteX6" fmla="*/ 50036 w 66923"/>
                  <a:gd name="connsiteY6" fmla="*/ 33774 h 33774"/>
                  <a:gd name="connsiteX7" fmla="*/ 50036 w 66923"/>
                  <a:gd name="connsiteY7" fmla="*/ 33774 h 33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923" h="33774">
                    <a:moveTo>
                      <a:pt x="50036" y="33774"/>
                    </a:moveTo>
                    <a:lnTo>
                      <a:pt x="16888" y="33774"/>
                    </a:lnTo>
                    <a:cubicBezTo>
                      <a:pt x="7506" y="33774"/>
                      <a:pt x="0" y="26269"/>
                      <a:pt x="0" y="16887"/>
                    </a:cubicBezTo>
                    <a:cubicBezTo>
                      <a:pt x="0" y="7505"/>
                      <a:pt x="7506" y="0"/>
                      <a:pt x="16888" y="0"/>
                    </a:cubicBezTo>
                    <a:lnTo>
                      <a:pt x="50036" y="0"/>
                    </a:lnTo>
                    <a:cubicBezTo>
                      <a:pt x="59418" y="0"/>
                      <a:pt x="66924" y="7505"/>
                      <a:pt x="66924" y="16887"/>
                    </a:cubicBezTo>
                    <a:cubicBezTo>
                      <a:pt x="66924" y="26269"/>
                      <a:pt x="59418" y="33774"/>
                      <a:pt x="50036" y="33774"/>
                    </a:cubicBezTo>
                    <a:lnTo>
                      <a:pt x="50036" y="33774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215" name="Gráfico 2">
              <a:extLst>
                <a:ext uri="{FF2B5EF4-FFF2-40B4-BE49-F238E27FC236}">
                  <a16:creationId xmlns:a16="http://schemas.microsoft.com/office/drawing/2014/main" id="{A4E24395-F85F-4E15-8BC9-B92D577D4DAD}"/>
                </a:ext>
              </a:extLst>
            </p:cNvPr>
            <p:cNvGrpSpPr/>
            <p:nvPr/>
          </p:nvGrpSpPr>
          <p:grpSpPr>
            <a:xfrm>
              <a:off x="9523860" y="574384"/>
              <a:ext cx="282702" cy="283015"/>
              <a:chOff x="9523860" y="574384"/>
              <a:chExt cx="282702" cy="283015"/>
            </a:xfrm>
            <a:grpFill/>
          </p:grpSpPr>
          <p:sp>
            <p:nvSpPr>
              <p:cNvPr id="216" name="Forma Livre: Forma 215">
                <a:extLst>
                  <a:ext uri="{FF2B5EF4-FFF2-40B4-BE49-F238E27FC236}">
                    <a16:creationId xmlns:a16="http://schemas.microsoft.com/office/drawing/2014/main" id="{7239BAE2-4FF0-4132-8B2A-68C41DCDB2E2}"/>
                  </a:ext>
                </a:extLst>
              </p:cNvPr>
              <p:cNvSpPr/>
              <p:nvPr/>
            </p:nvSpPr>
            <p:spPr>
              <a:xfrm>
                <a:off x="9750273" y="574384"/>
                <a:ext cx="56290" cy="56603"/>
              </a:xfrm>
              <a:custGeom>
                <a:avLst/>
                <a:gdLst>
                  <a:gd name="connsiteX0" fmla="*/ 16575 w 56290"/>
                  <a:gd name="connsiteY0" fmla="*/ 56603 h 56603"/>
                  <a:gd name="connsiteX1" fmla="*/ 4691 w 56290"/>
                  <a:gd name="connsiteY1" fmla="*/ 51600 h 56603"/>
                  <a:gd name="connsiteX2" fmla="*/ 4691 w 56290"/>
                  <a:gd name="connsiteY2" fmla="*/ 27832 h 56603"/>
                  <a:gd name="connsiteX3" fmla="*/ 27832 w 56290"/>
                  <a:gd name="connsiteY3" fmla="*/ 4691 h 56603"/>
                  <a:gd name="connsiteX4" fmla="*/ 51600 w 56290"/>
                  <a:gd name="connsiteY4" fmla="*/ 4691 h 56603"/>
                  <a:gd name="connsiteX5" fmla="*/ 51600 w 56290"/>
                  <a:gd name="connsiteY5" fmla="*/ 28458 h 56603"/>
                  <a:gd name="connsiteX6" fmla="*/ 28458 w 56290"/>
                  <a:gd name="connsiteY6" fmla="*/ 51600 h 56603"/>
                  <a:gd name="connsiteX7" fmla="*/ 16575 w 56290"/>
                  <a:gd name="connsiteY7" fmla="*/ 56603 h 56603"/>
                  <a:gd name="connsiteX8" fmla="*/ 16575 w 56290"/>
                  <a:gd name="connsiteY8" fmla="*/ 56603 h 566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6290" h="56603">
                    <a:moveTo>
                      <a:pt x="16575" y="56603"/>
                    </a:moveTo>
                    <a:cubicBezTo>
                      <a:pt x="12196" y="56603"/>
                      <a:pt x="7818" y="54727"/>
                      <a:pt x="4691" y="51600"/>
                    </a:cubicBezTo>
                    <a:cubicBezTo>
                      <a:pt x="-1564" y="45345"/>
                      <a:pt x="-1564" y="34712"/>
                      <a:pt x="4691" y="27832"/>
                    </a:cubicBezTo>
                    <a:lnTo>
                      <a:pt x="27832" y="4691"/>
                    </a:lnTo>
                    <a:cubicBezTo>
                      <a:pt x="34087" y="-1564"/>
                      <a:pt x="44720" y="-1564"/>
                      <a:pt x="51600" y="4691"/>
                    </a:cubicBezTo>
                    <a:cubicBezTo>
                      <a:pt x="57854" y="10945"/>
                      <a:pt x="57854" y="21578"/>
                      <a:pt x="51600" y="28458"/>
                    </a:cubicBezTo>
                    <a:lnTo>
                      <a:pt x="28458" y="51600"/>
                    </a:lnTo>
                    <a:cubicBezTo>
                      <a:pt x="24705" y="54727"/>
                      <a:pt x="20952" y="56603"/>
                      <a:pt x="16575" y="56603"/>
                    </a:cubicBezTo>
                    <a:lnTo>
                      <a:pt x="16575" y="56603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17" name="Forma Livre: Forma 216">
                <a:extLst>
                  <a:ext uri="{FF2B5EF4-FFF2-40B4-BE49-F238E27FC236}">
                    <a16:creationId xmlns:a16="http://schemas.microsoft.com/office/drawing/2014/main" id="{30541431-AE86-42E3-BFBB-55646D02BB45}"/>
                  </a:ext>
                </a:extLst>
              </p:cNvPr>
              <p:cNvSpPr/>
              <p:nvPr/>
            </p:nvSpPr>
            <p:spPr>
              <a:xfrm>
                <a:off x="9523860" y="800797"/>
                <a:ext cx="56290" cy="56603"/>
              </a:xfrm>
              <a:custGeom>
                <a:avLst/>
                <a:gdLst>
                  <a:gd name="connsiteX0" fmla="*/ 16574 w 56290"/>
                  <a:gd name="connsiteY0" fmla="*/ 56603 h 56603"/>
                  <a:gd name="connsiteX1" fmla="*/ 4691 w 56290"/>
                  <a:gd name="connsiteY1" fmla="*/ 51600 h 56603"/>
                  <a:gd name="connsiteX2" fmla="*/ 4691 w 56290"/>
                  <a:gd name="connsiteY2" fmla="*/ 27832 h 56603"/>
                  <a:gd name="connsiteX3" fmla="*/ 27832 w 56290"/>
                  <a:gd name="connsiteY3" fmla="*/ 4691 h 56603"/>
                  <a:gd name="connsiteX4" fmla="*/ 51600 w 56290"/>
                  <a:gd name="connsiteY4" fmla="*/ 4691 h 56603"/>
                  <a:gd name="connsiteX5" fmla="*/ 51600 w 56290"/>
                  <a:gd name="connsiteY5" fmla="*/ 28458 h 56603"/>
                  <a:gd name="connsiteX6" fmla="*/ 28457 w 56290"/>
                  <a:gd name="connsiteY6" fmla="*/ 51600 h 56603"/>
                  <a:gd name="connsiteX7" fmla="*/ 16574 w 56290"/>
                  <a:gd name="connsiteY7" fmla="*/ 56603 h 56603"/>
                  <a:gd name="connsiteX8" fmla="*/ 16574 w 56290"/>
                  <a:gd name="connsiteY8" fmla="*/ 56603 h 566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6290" h="56603">
                    <a:moveTo>
                      <a:pt x="16574" y="56603"/>
                    </a:moveTo>
                    <a:cubicBezTo>
                      <a:pt x="12196" y="56603"/>
                      <a:pt x="7818" y="54727"/>
                      <a:pt x="4691" y="51600"/>
                    </a:cubicBezTo>
                    <a:cubicBezTo>
                      <a:pt x="-1564" y="45345"/>
                      <a:pt x="-1564" y="34712"/>
                      <a:pt x="4691" y="27832"/>
                    </a:cubicBezTo>
                    <a:lnTo>
                      <a:pt x="27832" y="4691"/>
                    </a:lnTo>
                    <a:cubicBezTo>
                      <a:pt x="34087" y="-1564"/>
                      <a:pt x="44719" y="-1564"/>
                      <a:pt x="51600" y="4691"/>
                    </a:cubicBezTo>
                    <a:cubicBezTo>
                      <a:pt x="57854" y="10945"/>
                      <a:pt x="57854" y="21578"/>
                      <a:pt x="51600" y="28458"/>
                    </a:cubicBezTo>
                    <a:lnTo>
                      <a:pt x="28457" y="51600"/>
                    </a:lnTo>
                    <a:cubicBezTo>
                      <a:pt x="25330" y="54727"/>
                      <a:pt x="20952" y="56603"/>
                      <a:pt x="16574" y="56603"/>
                    </a:cubicBezTo>
                    <a:lnTo>
                      <a:pt x="16574" y="56603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218" name="Gráfico 2">
              <a:extLst>
                <a:ext uri="{FF2B5EF4-FFF2-40B4-BE49-F238E27FC236}">
                  <a16:creationId xmlns:a16="http://schemas.microsoft.com/office/drawing/2014/main" id="{A4E24395-F85F-4E15-8BC9-B92D577D4DAD}"/>
                </a:ext>
              </a:extLst>
            </p:cNvPr>
            <p:cNvGrpSpPr/>
            <p:nvPr/>
          </p:nvGrpSpPr>
          <p:grpSpPr>
            <a:xfrm>
              <a:off x="9524486" y="574384"/>
              <a:ext cx="282077" cy="283015"/>
              <a:chOff x="9524486" y="574384"/>
              <a:chExt cx="282077" cy="283015"/>
            </a:xfrm>
            <a:grpFill/>
          </p:grpSpPr>
          <p:sp>
            <p:nvSpPr>
              <p:cNvPr id="219" name="Forma Livre: Forma 218">
                <a:extLst>
                  <a:ext uri="{FF2B5EF4-FFF2-40B4-BE49-F238E27FC236}">
                    <a16:creationId xmlns:a16="http://schemas.microsoft.com/office/drawing/2014/main" id="{0377A7AD-F655-4607-8699-4D0D914E640A}"/>
                  </a:ext>
                </a:extLst>
              </p:cNvPr>
              <p:cNvSpPr/>
              <p:nvPr/>
            </p:nvSpPr>
            <p:spPr>
              <a:xfrm>
                <a:off x="9750273" y="800797"/>
                <a:ext cx="56290" cy="56603"/>
              </a:xfrm>
              <a:custGeom>
                <a:avLst/>
                <a:gdLst>
                  <a:gd name="connsiteX0" fmla="*/ 39716 w 56290"/>
                  <a:gd name="connsiteY0" fmla="*/ 56603 h 56603"/>
                  <a:gd name="connsiteX1" fmla="*/ 27832 w 56290"/>
                  <a:gd name="connsiteY1" fmla="*/ 51600 h 56603"/>
                  <a:gd name="connsiteX2" fmla="*/ 4691 w 56290"/>
                  <a:gd name="connsiteY2" fmla="*/ 28458 h 56603"/>
                  <a:gd name="connsiteX3" fmla="*/ 4691 w 56290"/>
                  <a:gd name="connsiteY3" fmla="*/ 4691 h 56603"/>
                  <a:gd name="connsiteX4" fmla="*/ 28458 w 56290"/>
                  <a:gd name="connsiteY4" fmla="*/ 4691 h 56603"/>
                  <a:gd name="connsiteX5" fmla="*/ 51600 w 56290"/>
                  <a:gd name="connsiteY5" fmla="*/ 27832 h 56603"/>
                  <a:gd name="connsiteX6" fmla="*/ 51600 w 56290"/>
                  <a:gd name="connsiteY6" fmla="*/ 51600 h 56603"/>
                  <a:gd name="connsiteX7" fmla="*/ 39716 w 56290"/>
                  <a:gd name="connsiteY7" fmla="*/ 56603 h 56603"/>
                  <a:gd name="connsiteX8" fmla="*/ 39716 w 56290"/>
                  <a:gd name="connsiteY8" fmla="*/ 56603 h 566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6290" h="56603">
                    <a:moveTo>
                      <a:pt x="39716" y="56603"/>
                    </a:moveTo>
                    <a:cubicBezTo>
                      <a:pt x="35338" y="56603"/>
                      <a:pt x="30959" y="54727"/>
                      <a:pt x="27832" y="51600"/>
                    </a:cubicBezTo>
                    <a:lnTo>
                      <a:pt x="4691" y="28458"/>
                    </a:lnTo>
                    <a:cubicBezTo>
                      <a:pt x="-1564" y="22203"/>
                      <a:pt x="-1564" y="11571"/>
                      <a:pt x="4691" y="4691"/>
                    </a:cubicBezTo>
                    <a:cubicBezTo>
                      <a:pt x="10945" y="-1564"/>
                      <a:pt x="21578" y="-1564"/>
                      <a:pt x="28458" y="4691"/>
                    </a:cubicBezTo>
                    <a:lnTo>
                      <a:pt x="51600" y="27832"/>
                    </a:lnTo>
                    <a:cubicBezTo>
                      <a:pt x="57854" y="34087"/>
                      <a:pt x="57854" y="44720"/>
                      <a:pt x="51600" y="51600"/>
                    </a:cubicBezTo>
                    <a:cubicBezTo>
                      <a:pt x="48472" y="54727"/>
                      <a:pt x="44094" y="56603"/>
                      <a:pt x="39716" y="56603"/>
                    </a:cubicBezTo>
                    <a:lnTo>
                      <a:pt x="39716" y="56603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20" name="Forma Livre: Forma 219">
                <a:extLst>
                  <a:ext uri="{FF2B5EF4-FFF2-40B4-BE49-F238E27FC236}">
                    <a16:creationId xmlns:a16="http://schemas.microsoft.com/office/drawing/2014/main" id="{38DD22ED-E82A-4E03-B1FE-16699DEC3722}"/>
                  </a:ext>
                </a:extLst>
              </p:cNvPr>
              <p:cNvSpPr/>
              <p:nvPr/>
            </p:nvSpPr>
            <p:spPr>
              <a:xfrm>
                <a:off x="9524486" y="574384"/>
                <a:ext cx="56290" cy="56603"/>
              </a:xfrm>
              <a:custGeom>
                <a:avLst/>
                <a:gdLst>
                  <a:gd name="connsiteX0" fmla="*/ 39716 w 56290"/>
                  <a:gd name="connsiteY0" fmla="*/ 56603 h 56603"/>
                  <a:gd name="connsiteX1" fmla="*/ 27832 w 56290"/>
                  <a:gd name="connsiteY1" fmla="*/ 51600 h 56603"/>
                  <a:gd name="connsiteX2" fmla="*/ 4691 w 56290"/>
                  <a:gd name="connsiteY2" fmla="*/ 28458 h 56603"/>
                  <a:gd name="connsiteX3" fmla="*/ 4691 w 56290"/>
                  <a:gd name="connsiteY3" fmla="*/ 4691 h 56603"/>
                  <a:gd name="connsiteX4" fmla="*/ 28457 w 56290"/>
                  <a:gd name="connsiteY4" fmla="*/ 4691 h 56603"/>
                  <a:gd name="connsiteX5" fmla="*/ 51600 w 56290"/>
                  <a:gd name="connsiteY5" fmla="*/ 27832 h 56603"/>
                  <a:gd name="connsiteX6" fmla="*/ 51600 w 56290"/>
                  <a:gd name="connsiteY6" fmla="*/ 51600 h 56603"/>
                  <a:gd name="connsiteX7" fmla="*/ 39716 w 56290"/>
                  <a:gd name="connsiteY7" fmla="*/ 56603 h 56603"/>
                  <a:gd name="connsiteX8" fmla="*/ 39716 w 56290"/>
                  <a:gd name="connsiteY8" fmla="*/ 56603 h 566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6290" h="56603">
                    <a:moveTo>
                      <a:pt x="39716" y="56603"/>
                    </a:moveTo>
                    <a:cubicBezTo>
                      <a:pt x="35338" y="56603"/>
                      <a:pt x="30959" y="54727"/>
                      <a:pt x="27832" y="51600"/>
                    </a:cubicBezTo>
                    <a:lnTo>
                      <a:pt x="4691" y="28458"/>
                    </a:lnTo>
                    <a:cubicBezTo>
                      <a:pt x="-1564" y="22203"/>
                      <a:pt x="-1564" y="11571"/>
                      <a:pt x="4691" y="4691"/>
                    </a:cubicBezTo>
                    <a:cubicBezTo>
                      <a:pt x="10945" y="-1564"/>
                      <a:pt x="21578" y="-1564"/>
                      <a:pt x="28457" y="4691"/>
                    </a:cubicBezTo>
                    <a:lnTo>
                      <a:pt x="51600" y="27832"/>
                    </a:lnTo>
                    <a:cubicBezTo>
                      <a:pt x="57854" y="34087"/>
                      <a:pt x="57854" y="44720"/>
                      <a:pt x="51600" y="51600"/>
                    </a:cubicBezTo>
                    <a:cubicBezTo>
                      <a:pt x="47847" y="54727"/>
                      <a:pt x="43468" y="56603"/>
                      <a:pt x="39716" y="56603"/>
                    </a:cubicBezTo>
                    <a:lnTo>
                      <a:pt x="39716" y="56603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221" name="Forma Livre: Forma 220">
              <a:extLst>
                <a:ext uri="{FF2B5EF4-FFF2-40B4-BE49-F238E27FC236}">
                  <a16:creationId xmlns:a16="http://schemas.microsoft.com/office/drawing/2014/main" id="{03F934A8-CDFC-4FCE-BEB5-7D711334F7CF}"/>
                </a:ext>
              </a:extLst>
            </p:cNvPr>
            <p:cNvSpPr/>
            <p:nvPr/>
          </p:nvSpPr>
          <p:spPr>
            <a:xfrm>
              <a:off x="9564202" y="614726"/>
              <a:ext cx="202645" cy="202645"/>
            </a:xfrm>
            <a:custGeom>
              <a:avLst/>
              <a:gdLst>
                <a:gd name="connsiteX0" fmla="*/ 101322 w 202645"/>
                <a:gd name="connsiteY0" fmla="*/ 202646 h 202645"/>
                <a:gd name="connsiteX1" fmla="*/ 0 w 202645"/>
                <a:gd name="connsiteY1" fmla="*/ 101323 h 202645"/>
                <a:gd name="connsiteX2" fmla="*/ 101322 w 202645"/>
                <a:gd name="connsiteY2" fmla="*/ 0 h 202645"/>
                <a:gd name="connsiteX3" fmla="*/ 202646 w 202645"/>
                <a:gd name="connsiteY3" fmla="*/ 101323 h 202645"/>
                <a:gd name="connsiteX4" fmla="*/ 101322 w 202645"/>
                <a:gd name="connsiteY4" fmla="*/ 202646 h 202645"/>
                <a:gd name="connsiteX5" fmla="*/ 101322 w 202645"/>
                <a:gd name="connsiteY5" fmla="*/ 202646 h 202645"/>
                <a:gd name="connsiteX6" fmla="*/ 101322 w 202645"/>
                <a:gd name="connsiteY6" fmla="*/ 33149 h 202645"/>
                <a:gd name="connsiteX7" fmla="*/ 33149 w 202645"/>
                <a:gd name="connsiteY7" fmla="*/ 101323 h 202645"/>
                <a:gd name="connsiteX8" fmla="*/ 101322 w 202645"/>
                <a:gd name="connsiteY8" fmla="*/ 169497 h 202645"/>
                <a:gd name="connsiteX9" fmla="*/ 169497 w 202645"/>
                <a:gd name="connsiteY9" fmla="*/ 101323 h 202645"/>
                <a:gd name="connsiteX10" fmla="*/ 101322 w 202645"/>
                <a:gd name="connsiteY10" fmla="*/ 33149 h 202645"/>
                <a:gd name="connsiteX11" fmla="*/ 101322 w 202645"/>
                <a:gd name="connsiteY11" fmla="*/ 33149 h 20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5" h="202645">
                  <a:moveTo>
                    <a:pt x="101322" y="202646"/>
                  </a:moveTo>
                  <a:cubicBezTo>
                    <a:pt x="45658" y="202646"/>
                    <a:pt x="0" y="156988"/>
                    <a:pt x="0" y="101323"/>
                  </a:cubicBezTo>
                  <a:cubicBezTo>
                    <a:pt x="0" y="45658"/>
                    <a:pt x="45658" y="0"/>
                    <a:pt x="101322" y="0"/>
                  </a:cubicBezTo>
                  <a:cubicBezTo>
                    <a:pt x="156988" y="0"/>
                    <a:pt x="202646" y="45658"/>
                    <a:pt x="202646" y="101323"/>
                  </a:cubicBezTo>
                  <a:cubicBezTo>
                    <a:pt x="202646" y="156988"/>
                    <a:pt x="156988" y="202646"/>
                    <a:pt x="101322" y="202646"/>
                  </a:cubicBezTo>
                  <a:lnTo>
                    <a:pt x="101322" y="202646"/>
                  </a:lnTo>
                  <a:close/>
                  <a:moveTo>
                    <a:pt x="101322" y="33149"/>
                  </a:moveTo>
                  <a:cubicBezTo>
                    <a:pt x="63796" y="33149"/>
                    <a:pt x="33149" y="63796"/>
                    <a:pt x="33149" y="101323"/>
                  </a:cubicBezTo>
                  <a:cubicBezTo>
                    <a:pt x="33149" y="138850"/>
                    <a:pt x="63796" y="169497"/>
                    <a:pt x="101322" y="169497"/>
                  </a:cubicBezTo>
                  <a:cubicBezTo>
                    <a:pt x="138849" y="169497"/>
                    <a:pt x="169497" y="138850"/>
                    <a:pt x="169497" y="101323"/>
                  </a:cubicBezTo>
                  <a:cubicBezTo>
                    <a:pt x="169497" y="63796"/>
                    <a:pt x="138849" y="33149"/>
                    <a:pt x="101322" y="33149"/>
                  </a:cubicBezTo>
                  <a:lnTo>
                    <a:pt x="101322" y="33149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22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2327582" y="2583640"/>
            <a:ext cx="430309" cy="392156"/>
            <a:chOff x="2315245" y="2583640"/>
            <a:chExt cx="430309" cy="392156"/>
          </a:xfrm>
          <a:solidFill>
            <a:srgbClr val="B1B1A1"/>
          </a:solidFill>
        </p:grpSpPr>
        <p:sp>
          <p:nvSpPr>
            <p:cNvPr id="223" name="Forma Livre: Forma 222">
              <a:extLst>
                <a:ext uri="{FF2B5EF4-FFF2-40B4-BE49-F238E27FC236}">
                  <a16:creationId xmlns:a16="http://schemas.microsoft.com/office/drawing/2014/main" id="{5D80C9FB-F5AE-4C66-B995-A3C5FF6D1856}"/>
                </a:ext>
              </a:extLst>
            </p:cNvPr>
            <p:cNvSpPr/>
            <p:nvPr/>
          </p:nvSpPr>
          <p:spPr>
            <a:xfrm>
              <a:off x="2315245" y="2583640"/>
              <a:ext cx="430309" cy="203271"/>
            </a:xfrm>
            <a:custGeom>
              <a:avLst/>
              <a:gdLst>
                <a:gd name="connsiteX0" fmla="*/ 357132 w 430309"/>
                <a:gd name="connsiteY0" fmla="*/ 203271 h 203271"/>
                <a:gd name="connsiteX1" fmla="*/ 309597 w 430309"/>
                <a:gd name="connsiteY1" fmla="*/ 184508 h 203271"/>
                <a:gd name="connsiteX2" fmla="*/ 262063 w 430309"/>
                <a:gd name="connsiteY2" fmla="*/ 203271 h 203271"/>
                <a:gd name="connsiteX3" fmla="*/ 214529 w 430309"/>
                <a:gd name="connsiteY3" fmla="*/ 184508 h 203271"/>
                <a:gd name="connsiteX4" fmla="*/ 166995 w 430309"/>
                <a:gd name="connsiteY4" fmla="*/ 203271 h 203271"/>
                <a:gd name="connsiteX5" fmla="*/ 119461 w 430309"/>
                <a:gd name="connsiteY5" fmla="*/ 184508 h 203271"/>
                <a:gd name="connsiteX6" fmla="*/ 71927 w 430309"/>
                <a:gd name="connsiteY6" fmla="*/ 203271 h 203271"/>
                <a:gd name="connsiteX7" fmla="*/ 0 w 430309"/>
                <a:gd name="connsiteY7" fmla="*/ 131344 h 203271"/>
                <a:gd name="connsiteX8" fmla="*/ 1251 w 430309"/>
                <a:gd name="connsiteY8" fmla="*/ 125090 h 203271"/>
                <a:gd name="connsiteX9" fmla="*/ 45658 w 430309"/>
                <a:gd name="connsiteY9" fmla="*/ 10633 h 203271"/>
                <a:gd name="connsiteX10" fmla="*/ 61294 w 430309"/>
                <a:gd name="connsiteY10" fmla="*/ 0 h 203271"/>
                <a:gd name="connsiteX11" fmla="*/ 361510 w 430309"/>
                <a:gd name="connsiteY11" fmla="*/ 0 h 203271"/>
                <a:gd name="connsiteX12" fmla="*/ 376520 w 430309"/>
                <a:gd name="connsiteY12" fmla="*/ 9382 h 203271"/>
                <a:gd name="connsiteX13" fmla="*/ 429058 w 430309"/>
                <a:gd name="connsiteY13" fmla="*/ 123839 h 203271"/>
                <a:gd name="connsiteX14" fmla="*/ 430309 w 430309"/>
                <a:gd name="connsiteY14" fmla="*/ 130719 h 203271"/>
                <a:gd name="connsiteX15" fmla="*/ 357132 w 430309"/>
                <a:gd name="connsiteY15" fmla="*/ 203271 h 203271"/>
                <a:gd name="connsiteX16" fmla="*/ 357132 w 430309"/>
                <a:gd name="connsiteY16" fmla="*/ 203271 h 203271"/>
                <a:gd name="connsiteX17" fmla="*/ 308972 w 430309"/>
                <a:gd name="connsiteY17" fmla="*/ 141977 h 203271"/>
                <a:gd name="connsiteX18" fmla="*/ 323357 w 430309"/>
                <a:gd name="connsiteY18" fmla="*/ 150108 h 203271"/>
                <a:gd name="connsiteX19" fmla="*/ 356506 w 430309"/>
                <a:gd name="connsiteY19" fmla="*/ 169497 h 203271"/>
                <a:gd name="connsiteX20" fmla="*/ 394659 w 430309"/>
                <a:gd name="connsiteY20" fmla="*/ 134472 h 203271"/>
                <a:gd name="connsiteX21" fmla="*/ 347750 w 430309"/>
                <a:gd name="connsiteY21" fmla="*/ 33774 h 203271"/>
                <a:gd name="connsiteX22" fmla="*/ 70050 w 430309"/>
                <a:gd name="connsiteY22" fmla="*/ 33774 h 203271"/>
                <a:gd name="connsiteX23" fmla="*/ 31272 w 430309"/>
                <a:gd name="connsiteY23" fmla="*/ 133846 h 203271"/>
                <a:gd name="connsiteX24" fmla="*/ 70050 w 430309"/>
                <a:gd name="connsiteY24" fmla="*/ 169497 h 203271"/>
                <a:gd name="connsiteX25" fmla="*/ 103199 w 430309"/>
                <a:gd name="connsiteY25" fmla="*/ 150108 h 203271"/>
                <a:gd name="connsiteX26" fmla="*/ 131970 w 430309"/>
                <a:gd name="connsiteY26" fmla="*/ 150108 h 203271"/>
                <a:gd name="connsiteX27" fmla="*/ 165119 w 430309"/>
                <a:gd name="connsiteY27" fmla="*/ 169497 h 203271"/>
                <a:gd name="connsiteX28" fmla="*/ 198267 w 430309"/>
                <a:gd name="connsiteY28" fmla="*/ 150108 h 203271"/>
                <a:gd name="connsiteX29" fmla="*/ 227038 w 430309"/>
                <a:gd name="connsiteY29" fmla="*/ 150108 h 203271"/>
                <a:gd name="connsiteX30" fmla="*/ 260187 w 430309"/>
                <a:gd name="connsiteY30" fmla="*/ 169497 h 203271"/>
                <a:gd name="connsiteX31" fmla="*/ 293336 w 430309"/>
                <a:gd name="connsiteY31" fmla="*/ 150108 h 203271"/>
                <a:gd name="connsiteX32" fmla="*/ 308972 w 430309"/>
                <a:gd name="connsiteY32" fmla="*/ 141977 h 203271"/>
                <a:gd name="connsiteX33" fmla="*/ 308972 w 430309"/>
                <a:gd name="connsiteY33" fmla="*/ 141977 h 203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430309" h="203271">
                  <a:moveTo>
                    <a:pt x="357132" y="203271"/>
                  </a:moveTo>
                  <a:cubicBezTo>
                    <a:pt x="339619" y="203271"/>
                    <a:pt x="322106" y="196391"/>
                    <a:pt x="309597" y="184508"/>
                  </a:cubicBezTo>
                  <a:cubicBezTo>
                    <a:pt x="296463" y="196391"/>
                    <a:pt x="279576" y="203271"/>
                    <a:pt x="262063" y="203271"/>
                  </a:cubicBezTo>
                  <a:cubicBezTo>
                    <a:pt x="244551" y="203271"/>
                    <a:pt x="227038" y="196391"/>
                    <a:pt x="214529" y="184508"/>
                  </a:cubicBezTo>
                  <a:cubicBezTo>
                    <a:pt x="201395" y="196391"/>
                    <a:pt x="184508" y="203271"/>
                    <a:pt x="166995" y="203271"/>
                  </a:cubicBezTo>
                  <a:cubicBezTo>
                    <a:pt x="149482" y="203271"/>
                    <a:pt x="131970" y="196391"/>
                    <a:pt x="119461" y="184508"/>
                  </a:cubicBezTo>
                  <a:cubicBezTo>
                    <a:pt x="106326" y="196391"/>
                    <a:pt x="89439" y="203271"/>
                    <a:pt x="71927" y="203271"/>
                  </a:cubicBezTo>
                  <a:cubicBezTo>
                    <a:pt x="32523" y="203271"/>
                    <a:pt x="0" y="170748"/>
                    <a:pt x="0" y="131344"/>
                  </a:cubicBezTo>
                  <a:cubicBezTo>
                    <a:pt x="0" y="129468"/>
                    <a:pt x="625" y="126966"/>
                    <a:pt x="1251" y="125090"/>
                  </a:cubicBezTo>
                  <a:lnTo>
                    <a:pt x="45658" y="10633"/>
                  </a:lnTo>
                  <a:cubicBezTo>
                    <a:pt x="48160" y="4378"/>
                    <a:pt x="54414" y="0"/>
                    <a:pt x="61294" y="0"/>
                  </a:cubicBezTo>
                  <a:lnTo>
                    <a:pt x="361510" y="0"/>
                  </a:lnTo>
                  <a:cubicBezTo>
                    <a:pt x="367764" y="0"/>
                    <a:pt x="374019" y="3753"/>
                    <a:pt x="376520" y="9382"/>
                  </a:cubicBezTo>
                  <a:lnTo>
                    <a:pt x="429058" y="123839"/>
                  </a:lnTo>
                  <a:cubicBezTo>
                    <a:pt x="430309" y="126341"/>
                    <a:pt x="430309" y="128217"/>
                    <a:pt x="430309" y="130719"/>
                  </a:cubicBezTo>
                  <a:cubicBezTo>
                    <a:pt x="429058" y="171373"/>
                    <a:pt x="396535" y="203271"/>
                    <a:pt x="357132" y="203271"/>
                  </a:cubicBezTo>
                  <a:lnTo>
                    <a:pt x="357132" y="203271"/>
                  </a:lnTo>
                  <a:close/>
                  <a:moveTo>
                    <a:pt x="308972" y="141977"/>
                  </a:moveTo>
                  <a:cubicBezTo>
                    <a:pt x="315226" y="141977"/>
                    <a:pt x="320230" y="145104"/>
                    <a:pt x="323357" y="150108"/>
                  </a:cubicBezTo>
                  <a:cubicBezTo>
                    <a:pt x="330237" y="162617"/>
                    <a:pt x="342746" y="169497"/>
                    <a:pt x="356506" y="169497"/>
                  </a:cubicBezTo>
                  <a:cubicBezTo>
                    <a:pt x="376520" y="169497"/>
                    <a:pt x="393408" y="153861"/>
                    <a:pt x="394659" y="134472"/>
                  </a:cubicBezTo>
                  <a:lnTo>
                    <a:pt x="347750" y="33774"/>
                  </a:lnTo>
                  <a:lnTo>
                    <a:pt x="70050" y="33774"/>
                  </a:lnTo>
                  <a:lnTo>
                    <a:pt x="31272" y="133846"/>
                  </a:lnTo>
                  <a:cubicBezTo>
                    <a:pt x="32523" y="153861"/>
                    <a:pt x="49410" y="169497"/>
                    <a:pt x="70050" y="169497"/>
                  </a:cubicBezTo>
                  <a:cubicBezTo>
                    <a:pt x="83810" y="169497"/>
                    <a:pt x="96319" y="161991"/>
                    <a:pt x="103199" y="150108"/>
                  </a:cubicBezTo>
                  <a:cubicBezTo>
                    <a:pt x="109454" y="139475"/>
                    <a:pt x="126341" y="139475"/>
                    <a:pt x="131970" y="150108"/>
                  </a:cubicBezTo>
                  <a:cubicBezTo>
                    <a:pt x="138850" y="162617"/>
                    <a:pt x="151359" y="169497"/>
                    <a:pt x="165119" y="169497"/>
                  </a:cubicBezTo>
                  <a:cubicBezTo>
                    <a:pt x="178879" y="169497"/>
                    <a:pt x="191388" y="161991"/>
                    <a:pt x="198267" y="150108"/>
                  </a:cubicBezTo>
                  <a:cubicBezTo>
                    <a:pt x="204522" y="139475"/>
                    <a:pt x="221409" y="139475"/>
                    <a:pt x="227038" y="150108"/>
                  </a:cubicBezTo>
                  <a:cubicBezTo>
                    <a:pt x="233918" y="162617"/>
                    <a:pt x="246427" y="169497"/>
                    <a:pt x="260187" y="169497"/>
                  </a:cubicBezTo>
                  <a:cubicBezTo>
                    <a:pt x="273947" y="169497"/>
                    <a:pt x="286456" y="161991"/>
                    <a:pt x="293336" y="150108"/>
                  </a:cubicBezTo>
                  <a:cubicBezTo>
                    <a:pt x="297714" y="145104"/>
                    <a:pt x="303343" y="141977"/>
                    <a:pt x="308972" y="141977"/>
                  </a:cubicBezTo>
                  <a:lnTo>
                    <a:pt x="308972" y="141977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24" name="Forma Livre: Forma 223">
              <a:extLst>
                <a:ext uri="{FF2B5EF4-FFF2-40B4-BE49-F238E27FC236}">
                  <a16:creationId xmlns:a16="http://schemas.microsoft.com/office/drawing/2014/main" id="{750ABF56-4146-4694-9370-D23E508CC2B1}"/>
                </a:ext>
              </a:extLst>
            </p:cNvPr>
            <p:cNvSpPr/>
            <p:nvPr/>
          </p:nvSpPr>
          <p:spPr>
            <a:xfrm>
              <a:off x="2359652" y="2758766"/>
              <a:ext cx="339618" cy="217030"/>
            </a:xfrm>
            <a:custGeom>
              <a:avLst/>
              <a:gdLst>
                <a:gd name="connsiteX0" fmla="*/ 322106 w 339618"/>
                <a:gd name="connsiteY0" fmla="*/ 217031 h 217030"/>
                <a:gd name="connsiteX1" fmla="*/ 16887 w 339618"/>
                <a:gd name="connsiteY1" fmla="*/ 217031 h 217030"/>
                <a:gd name="connsiteX2" fmla="*/ 0 w 339618"/>
                <a:gd name="connsiteY2" fmla="*/ 200144 h 217030"/>
                <a:gd name="connsiteX3" fmla="*/ 0 w 339618"/>
                <a:gd name="connsiteY3" fmla="*/ 16887 h 217030"/>
                <a:gd name="connsiteX4" fmla="*/ 16887 w 339618"/>
                <a:gd name="connsiteY4" fmla="*/ 0 h 217030"/>
                <a:gd name="connsiteX5" fmla="*/ 33774 w 339618"/>
                <a:gd name="connsiteY5" fmla="*/ 16887 h 217030"/>
                <a:gd name="connsiteX6" fmla="*/ 33774 w 339618"/>
                <a:gd name="connsiteY6" fmla="*/ 183257 h 217030"/>
                <a:gd name="connsiteX7" fmla="*/ 305845 w 339618"/>
                <a:gd name="connsiteY7" fmla="*/ 183257 h 217030"/>
                <a:gd name="connsiteX8" fmla="*/ 305845 w 339618"/>
                <a:gd name="connsiteY8" fmla="*/ 16887 h 217030"/>
                <a:gd name="connsiteX9" fmla="*/ 322732 w 339618"/>
                <a:gd name="connsiteY9" fmla="*/ 0 h 217030"/>
                <a:gd name="connsiteX10" fmla="*/ 339619 w 339618"/>
                <a:gd name="connsiteY10" fmla="*/ 16887 h 217030"/>
                <a:gd name="connsiteX11" fmla="*/ 339619 w 339618"/>
                <a:gd name="connsiteY11" fmla="*/ 200144 h 217030"/>
                <a:gd name="connsiteX12" fmla="*/ 322106 w 339618"/>
                <a:gd name="connsiteY12" fmla="*/ 217031 h 217030"/>
                <a:gd name="connsiteX13" fmla="*/ 322106 w 339618"/>
                <a:gd name="connsiteY13" fmla="*/ 217031 h 217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9618" h="217030">
                  <a:moveTo>
                    <a:pt x="322106" y="217031"/>
                  </a:moveTo>
                  <a:lnTo>
                    <a:pt x="16887" y="217031"/>
                  </a:lnTo>
                  <a:cubicBezTo>
                    <a:pt x="7505" y="217031"/>
                    <a:pt x="0" y="209526"/>
                    <a:pt x="0" y="200144"/>
                  </a:cubicBezTo>
                  <a:lnTo>
                    <a:pt x="0" y="16887"/>
                  </a:lnTo>
                  <a:cubicBezTo>
                    <a:pt x="0" y="7505"/>
                    <a:pt x="7505" y="0"/>
                    <a:pt x="16887" y="0"/>
                  </a:cubicBezTo>
                  <a:cubicBezTo>
                    <a:pt x="26269" y="0"/>
                    <a:pt x="33774" y="7505"/>
                    <a:pt x="33774" y="16887"/>
                  </a:cubicBezTo>
                  <a:lnTo>
                    <a:pt x="33774" y="183257"/>
                  </a:lnTo>
                  <a:lnTo>
                    <a:pt x="305845" y="183257"/>
                  </a:lnTo>
                  <a:lnTo>
                    <a:pt x="305845" y="16887"/>
                  </a:lnTo>
                  <a:cubicBezTo>
                    <a:pt x="305845" y="7505"/>
                    <a:pt x="313350" y="0"/>
                    <a:pt x="322732" y="0"/>
                  </a:cubicBezTo>
                  <a:cubicBezTo>
                    <a:pt x="332114" y="0"/>
                    <a:pt x="339619" y="7505"/>
                    <a:pt x="339619" y="16887"/>
                  </a:cubicBezTo>
                  <a:lnTo>
                    <a:pt x="339619" y="200144"/>
                  </a:lnTo>
                  <a:cubicBezTo>
                    <a:pt x="338368" y="209526"/>
                    <a:pt x="330863" y="217031"/>
                    <a:pt x="322106" y="217031"/>
                  </a:cubicBezTo>
                  <a:lnTo>
                    <a:pt x="322106" y="217031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25" name="Forma Livre: Forma 224">
              <a:extLst>
                <a:ext uri="{FF2B5EF4-FFF2-40B4-BE49-F238E27FC236}">
                  <a16:creationId xmlns:a16="http://schemas.microsoft.com/office/drawing/2014/main" id="{40C9C389-BC20-49E2-BE05-550130DD2679}"/>
                </a:ext>
              </a:extLst>
            </p:cNvPr>
            <p:cNvSpPr/>
            <p:nvPr/>
          </p:nvSpPr>
          <p:spPr>
            <a:xfrm>
              <a:off x="2423448" y="2820685"/>
              <a:ext cx="210776" cy="138224"/>
            </a:xfrm>
            <a:custGeom>
              <a:avLst/>
              <a:gdLst>
                <a:gd name="connsiteX0" fmla="*/ 202646 w 210776"/>
                <a:gd name="connsiteY0" fmla="*/ 138224 h 138224"/>
                <a:gd name="connsiteX1" fmla="*/ 8131 w 210776"/>
                <a:gd name="connsiteY1" fmla="*/ 138224 h 138224"/>
                <a:gd name="connsiteX2" fmla="*/ 0 w 210776"/>
                <a:gd name="connsiteY2" fmla="*/ 130094 h 138224"/>
                <a:gd name="connsiteX3" fmla="*/ 0 w 210776"/>
                <a:gd name="connsiteY3" fmla="*/ 8131 h 138224"/>
                <a:gd name="connsiteX4" fmla="*/ 8131 w 210776"/>
                <a:gd name="connsiteY4" fmla="*/ 0 h 138224"/>
                <a:gd name="connsiteX5" fmla="*/ 202646 w 210776"/>
                <a:gd name="connsiteY5" fmla="*/ 0 h 138224"/>
                <a:gd name="connsiteX6" fmla="*/ 210776 w 210776"/>
                <a:gd name="connsiteY6" fmla="*/ 8131 h 138224"/>
                <a:gd name="connsiteX7" fmla="*/ 210776 w 210776"/>
                <a:gd name="connsiteY7" fmla="*/ 130094 h 138224"/>
                <a:gd name="connsiteX8" fmla="*/ 202646 w 210776"/>
                <a:gd name="connsiteY8" fmla="*/ 138224 h 138224"/>
                <a:gd name="connsiteX9" fmla="*/ 202646 w 210776"/>
                <a:gd name="connsiteY9" fmla="*/ 138224 h 138224"/>
                <a:gd name="connsiteX10" fmla="*/ 16262 w 210776"/>
                <a:gd name="connsiteY10" fmla="*/ 121337 h 138224"/>
                <a:gd name="connsiteX11" fmla="*/ 193889 w 210776"/>
                <a:gd name="connsiteY11" fmla="*/ 121337 h 138224"/>
                <a:gd name="connsiteX12" fmla="*/ 193889 w 210776"/>
                <a:gd name="connsiteY12" fmla="*/ 15636 h 138224"/>
                <a:gd name="connsiteX13" fmla="*/ 16262 w 210776"/>
                <a:gd name="connsiteY13" fmla="*/ 15636 h 138224"/>
                <a:gd name="connsiteX14" fmla="*/ 16262 w 210776"/>
                <a:gd name="connsiteY14" fmla="*/ 121337 h 138224"/>
                <a:gd name="connsiteX15" fmla="*/ 16262 w 210776"/>
                <a:gd name="connsiteY15" fmla="*/ 121337 h 138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10776" h="138224">
                  <a:moveTo>
                    <a:pt x="202646" y="138224"/>
                  </a:moveTo>
                  <a:lnTo>
                    <a:pt x="8131" y="138224"/>
                  </a:lnTo>
                  <a:cubicBezTo>
                    <a:pt x="3753" y="138224"/>
                    <a:pt x="0" y="134472"/>
                    <a:pt x="0" y="130094"/>
                  </a:cubicBezTo>
                  <a:lnTo>
                    <a:pt x="0" y="8131"/>
                  </a:lnTo>
                  <a:cubicBezTo>
                    <a:pt x="0" y="3753"/>
                    <a:pt x="3753" y="0"/>
                    <a:pt x="8131" y="0"/>
                  </a:cubicBezTo>
                  <a:lnTo>
                    <a:pt x="202646" y="0"/>
                  </a:lnTo>
                  <a:cubicBezTo>
                    <a:pt x="207024" y="0"/>
                    <a:pt x="210776" y="3753"/>
                    <a:pt x="210776" y="8131"/>
                  </a:cubicBezTo>
                  <a:lnTo>
                    <a:pt x="210776" y="130094"/>
                  </a:lnTo>
                  <a:cubicBezTo>
                    <a:pt x="210776" y="134472"/>
                    <a:pt x="207024" y="138224"/>
                    <a:pt x="202646" y="138224"/>
                  </a:cubicBezTo>
                  <a:lnTo>
                    <a:pt x="202646" y="138224"/>
                  </a:lnTo>
                  <a:close/>
                  <a:moveTo>
                    <a:pt x="16262" y="121337"/>
                  </a:moveTo>
                  <a:lnTo>
                    <a:pt x="193889" y="121337"/>
                  </a:lnTo>
                  <a:lnTo>
                    <a:pt x="193889" y="15636"/>
                  </a:lnTo>
                  <a:lnTo>
                    <a:pt x="16262" y="15636"/>
                  </a:lnTo>
                  <a:lnTo>
                    <a:pt x="16262" y="121337"/>
                  </a:lnTo>
                  <a:lnTo>
                    <a:pt x="16262" y="121337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26" name="Forma Livre: Forma 225">
              <a:extLst>
                <a:ext uri="{FF2B5EF4-FFF2-40B4-BE49-F238E27FC236}">
                  <a16:creationId xmlns:a16="http://schemas.microsoft.com/office/drawing/2014/main" id="{745E251B-F2DD-4D21-B6AF-2A5C4ED4C41E}"/>
                </a:ext>
              </a:extLst>
            </p:cNvPr>
            <p:cNvSpPr/>
            <p:nvPr/>
          </p:nvSpPr>
          <p:spPr>
            <a:xfrm>
              <a:off x="2360903" y="2636803"/>
              <a:ext cx="337117" cy="16261"/>
            </a:xfrm>
            <a:custGeom>
              <a:avLst/>
              <a:gdLst>
                <a:gd name="connsiteX0" fmla="*/ 328986 w 337117"/>
                <a:gd name="connsiteY0" fmla="*/ 16262 h 16261"/>
                <a:gd name="connsiteX1" fmla="*/ 8131 w 337117"/>
                <a:gd name="connsiteY1" fmla="*/ 16262 h 16261"/>
                <a:gd name="connsiteX2" fmla="*/ 0 w 337117"/>
                <a:gd name="connsiteY2" fmla="*/ 8131 h 16261"/>
                <a:gd name="connsiteX3" fmla="*/ 8131 w 337117"/>
                <a:gd name="connsiteY3" fmla="*/ 0 h 16261"/>
                <a:gd name="connsiteX4" fmla="*/ 328986 w 337117"/>
                <a:gd name="connsiteY4" fmla="*/ 0 h 16261"/>
                <a:gd name="connsiteX5" fmla="*/ 337117 w 337117"/>
                <a:gd name="connsiteY5" fmla="*/ 8131 h 16261"/>
                <a:gd name="connsiteX6" fmla="*/ 328986 w 337117"/>
                <a:gd name="connsiteY6" fmla="*/ 16262 h 16261"/>
                <a:gd name="connsiteX7" fmla="*/ 328986 w 337117"/>
                <a:gd name="connsiteY7" fmla="*/ 16262 h 16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7117" h="16261">
                  <a:moveTo>
                    <a:pt x="328986" y="16262"/>
                  </a:moveTo>
                  <a:lnTo>
                    <a:pt x="8131" y="16262"/>
                  </a:lnTo>
                  <a:cubicBezTo>
                    <a:pt x="3753" y="16262"/>
                    <a:pt x="0" y="12509"/>
                    <a:pt x="0" y="8131"/>
                  </a:cubicBezTo>
                  <a:cubicBezTo>
                    <a:pt x="0" y="3753"/>
                    <a:pt x="3753" y="0"/>
                    <a:pt x="8131" y="0"/>
                  </a:cubicBezTo>
                  <a:lnTo>
                    <a:pt x="328986" y="0"/>
                  </a:lnTo>
                  <a:cubicBezTo>
                    <a:pt x="333364" y="0"/>
                    <a:pt x="337117" y="3753"/>
                    <a:pt x="337117" y="8131"/>
                  </a:cubicBezTo>
                  <a:cubicBezTo>
                    <a:pt x="337117" y="13134"/>
                    <a:pt x="333364" y="16262"/>
                    <a:pt x="328986" y="16262"/>
                  </a:cubicBezTo>
                  <a:lnTo>
                    <a:pt x="328986" y="16262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27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2341967" y="517156"/>
            <a:ext cx="397785" cy="397160"/>
            <a:chOff x="2329630" y="517156"/>
            <a:chExt cx="397785" cy="397160"/>
          </a:xfrm>
          <a:solidFill>
            <a:srgbClr val="B1B1A1"/>
          </a:solidFill>
        </p:grpSpPr>
        <p:grpSp>
          <p:nvGrpSpPr>
            <p:cNvPr id="228" name="Gráfico 2">
              <a:extLst>
                <a:ext uri="{FF2B5EF4-FFF2-40B4-BE49-F238E27FC236}">
                  <a16:creationId xmlns:a16="http://schemas.microsoft.com/office/drawing/2014/main" id="{A4E24395-F85F-4E15-8BC9-B92D577D4DAD}"/>
                </a:ext>
              </a:extLst>
            </p:cNvPr>
            <p:cNvGrpSpPr/>
            <p:nvPr/>
          </p:nvGrpSpPr>
          <p:grpSpPr>
            <a:xfrm>
              <a:off x="2382168" y="569693"/>
              <a:ext cx="292710" cy="291459"/>
              <a:chOff x="2382168" y="569693"/>
              <a:chExt cx="292710" cy="291459"/>
            </a:xfrm>
            <a:grpFill/>
          </p:grpSpPr>
          <p:sp>
            <p:nvSpPr>
              <p:cNvPr id="229" name="Forma Livre: Forma 228">
                <a:extLst>
                  <a:ext uri="{FF2B5EF4-FFF2-40B4-BE49-F238E27FC236}">
                    <a16:creationId xmlns:a16="http://schemas.microsoft.com/office/drawing/2014/main" id="{719CB405-5BFC-4982-BE10-D8DC53A408AA}"/>
                  </a:ext>
                </a:extLst>
              </p:cNvPr>
              <p:cNvSpPr/>
              <p:nvPr/>
            </p:nvSpPr>
            <p:spPr>
              <a:xfrm>
                <a:off x="2382793" y="570319"/>
                <a:ext cx="125715" cy="125089"/>
              </a:xfrm>
              <a:custGeom>
                <a:avLst/>
                <a:gdLst>
                  <a:gd name="connsiteX0" fmla="*/ 16887 w 125715"/>
                  <a:gd name="connsiteY0" fmla="*/ 125090 h 125089"/>
                  <a:gd name="connsiteX1" fmla="*/ 0 w 125715"/>
                  <a:gd name="connsiteY1" fmla="*/ 108203 h 125089"/>
                  <a:gd name="connsiteX2" fmla="*/ 0 w 125715"/>
                  <a:gd name="connsiteY2" fmla="*/ 16887 h 125089"/>
                  <a:gd name="connsiteX3" fmla="*/ 16887 w 125715"/>
                  <a:gd name="connsiteY3" fmla="*/ 0 h 125089"/>
                  <a:gd name="connsiteX4" fmla="*/ 108828 w 125715"/>
                  <a:gd name="connsiteY4" fmla="*/ 0 h 125089"/>
                  <a:gd name="connsiteX5" fmla="*/ 125715 w 125715"/>
                  <a:gd name="connsiteY5" fmla="*/ 16887 h 125089"/>
                  <a:gd name="connsiteX6" fmla="*/ 108828 w 125715"/>
                  <a:gd name="connsiteY6" fmla="*/ 33774 h 125089"/>
                  <a:gd name="connsiteX7" fmla="*/ 33774 w 125715"/>
                  <a:gd name="connsiteY7" fmla="*/ 33774 h 125089"/>
                  <a:gd name="connsiteX8" fmla="*/ 33774 w 125715"/>
                  <a:gd name="connsiteY8" fmla="*/ 108828 h 125089"/>
                  <a:gd name="connsiteX9" fmla="*/ 16887 w 125715"/>
                  <a:gd name="connsiteY9" fmla="*/ 125090 h 125089"/>
                  <a:gd name="connsiteX10" fmla="*/ 16887 w 125715"/>
                  <a:gd name="connsiteY10" fmla="*/ 125090 h 125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5715" h="125089">
                    <a:moveTo>
                      <a:pt x="16887" y="125090"/>
                    </a:moveTo>
                    <a:cubicBezTo>
                      <a:pt x="7505" y="125090"/>
                      <a:pt x="0" y="117584"/>
                      <a:pt x="0" y="108203"/>
                    </a:cubicBezTo>
                    <a:lnTo>
                      <a:pt x="0" y="16887"/>
                    </a:lnTo>
                    <a:cubicBezTo>
                      <a:pt x="0" y="7505"/>
                      <a:pt x="7505" y="0"/>
                      <a:pt x="16887" y="0"/>
                    </a:cubicBezTo>
                    <a:lnTo>
                      <a:pt x="108828" y="0"/>
                    </a:lnTo>
                    <a:cubicBezTo>
                      <a:pt x="118210" y="0"/>
                      <a:pt x="125715" y="7505"/>
                      <a:pt x="125715" y="16887"/>
                    </a:cubicBezTo>
                    <a:cubicBezTo>
                      <a:pt x="125715" y="26269"/>
                      <a:pt x="118210" y="33774"/>
                      <a:pt x="108828" y="33774"/>
                    </a:cubicBezTo>
                    <a:lnTo>
                      <a:pt x="33774" y="33774"/>
                    </a:lnTo>
                    <a:lnTo>
                      <a:pt x="33774" y="108828"/>
                    </a:lnTo>
                    <a:cubicBezTo>
                      <a:pt x="33149" y="117584"/>
                      <a:pt x="25643" y="125090"/>
                      <a:pt x="16887" y="125090"/>
                    </a:cubicBezTo>
                    <a:lnTo>
                      <a:pt x="16887" y="125090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30" name="Forma Livre: Forma 229">
                <a:extLst>
                  <a:ext uri="{FF2B5EF4-FFF2-40B4-BE49-F238E27FC236}">
                    <a16:creationId xmlns:a16="http://schemas.microsoft.com/office/drawing/2014/main" id="{AB8F5F8F-C300-43DE-8090-FF5AF85EDA37}"/>
                  </a:ext>
                </a:extLst>
              </p:cNvPr>
              <p:cNvSpPr/>
              <p:nvPr/>
            </p:nvSpPr>
            <p:spPr>
              <a:xfrm>
                <a:off x="2549163" y="569693"/>
                <a:ext cx="125715" cy="125715"/>
              </a:xfrm>
              <a:custGeom>
                <a:avLst/>
                <a:gdLst>
                  <a:gd name="connsiteX0" fmla="*/ 108828 w 125715"/>
                  <a:gd name="connsiteY0" fmla="*/ 125715 h 125715"/>
                  <a:gd name="connsiteX1" fmla="*/ 91941 w 125715"/>
                  <a:gd name="connsiteY1" fmla="*/ 108828 h 125715"/>
                  <a:gd name="connsiteX2" fmla="*/ 91941 w 125715"/>
                  <a:gd name="connsiteY2" fmla="*/ 33774 h 125715"/>
                  <a:gd name="connsiteX3" fmla="*/ 16887 w 125715"/>
                  <a:gd name="connsiteY3" fmla="*/ 33774 h 125715"/>
                  <a:gd name="connsiteX4" fmla="*/ 0 w 125715"/>
                  <a:gd name="connsiteY4" fmla="*/ 16887 h 125715"/>
                  <a:gd name="connsiteX5" fmla="*/ 16887 w 125715"/>
                  <a:gd name="connsiteY5" fmla="*/ 0 h 125715"/>
                  <a:gd name="connsiteX6" fmla="*/ 108828 w 125715"/>
                  <a:gd name="connsiteY6" fmla="*/ 0 h 125715"/>
                  <a:gd name="connsiteX7" fmla="*/ 125715 w 125715"/>
                  <a:gd name="connsiteY7" fmla="*/ 16887 h 125715"/>
                  <a:gd name="connsiteX8" fmla="*/ 125715 w 125715"/>
                  <a:gd name="connsiteY8" fmla="*/ 108828 h 125715"/>
                  <a:gd name="connsiteX9" fmla="*/ 108828 w 125715"/>
                  <a:gd name="connsiteY9" fmla="*/ 125715 h 125715"/>
                  <a:gd name="connsiteX10" fmla="*/ 108828 w 125715"/>
                  <a:gd name="connsiteY10" fmla="*/ 125715 h 125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5715" h="125715">
                    <a:moveTo>
                      <a:pt x="108828" y="125715"/>
                    </a:moveTo>
                    <a:cubicBezTo>
                      <a:pt x="99446" y="125715"/>
                      <a:pt x="91941" y="118210"/>
                      <a:pt x="91941" y="108828"/>
                    </a:cubicBezTo>
                    <a:lnTo>
                      <a:pt x="91941" y="33774"/>
                    </a:lnTo>
                    <a:lnTo>
                      <a:pt x="16887" y="33774"/>
                    </a:lnTo>
                    <a:cubicBezTo>
                      <a:pt x="7505" y="33774"/>
                      <a:pt x="0" y="26269"/>
                      <a:pt x="0" y="16887"/>
                    </a:cubicBezTo>
                    <a:cubicBezTo>
                      <a:pt x="0" y="7505"/>
                      <a:pt x="7505" y="0"/>
                      <a:pt x="16887" y="0"/>
                    </a:cubicBezTo>
                    <a:lnTo>
                      <a:pt x="108828" y="0"/>
                    </a:lnTo>
                    <a:cubicBezTo>
                      <a:pt x="118210" y="0"/>
                      <a:pt x="125715" y="7505"/>
                      <a:pt x="125715" y="16887"/>
                    </a:cubicBezTo>
                    <a:lnTo>
                      <a:pt x="125715" y="108828"/>
                    </a:lnTo>
                    <a:cubicBezTo>
                      <a:pt x="125715" y="118210"/>
                      <a:pt x="118210" y="125715"/>
                      <a:pt x="108828" y="125715"/>
                    </a:cubicBezTo>
                    <a:lnTo>
                      <a:pt x="108828" y="125715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31" name="Forma Livre: Forma 230">
                <a:extLst>
                  <a:ext uri="{FF2B5EF4-FFF2-40B4-BE49-F238E27FC236}">
                    <a16:creationId xmlns:a16="http://schemas.microsoft.com/office/drawing/2014/main" id="{872BBDFB-01DA-43E6-8447-9B8B1CE83CC9}"/>
                  </a:ext>
                </a:extLst>
              </p:cNvPr>
              <p:cNvSpPr/>
              <p:nvPr/>
            </p:nvSpPr>
            <p:spPr>
              <a:xfrm>
                <a:off x="2382168" y="736063"/>
                <a:ext cx="125715" cy="125089"/>
              </a:xfrm>
              <a:custGeom>
                <a:avLst/>
                <a:gdLst>
                  <a:gd name="connsiteX0" fmla="*/ 108828 w 125715"/>
                  <a:gd name="connsiteY0" fmla="*/ 125090 h 125089"/>
                  <a:gd name="connsiteX1" fmla="*/ 16887 w 125715"/>
                  <a:gd name="connsiteY1" fmla="*/ 125090 h 125089"/>
                  <a:gd name="connsiteX2" fmla="*/ 0 w 125715"/>
                  <a:gd name="connsiteY2" fmla="*/ 108203 h 125089"/>
                  <a:gd name="connsiteX3" fmla="*/ 0 w 125715"/>
                  <a:gd name="connsiteY3" fmla="*/ 16887 h 125089"/>
                  <a:gd name="connsiteX4" fmla="*/ 16887 w 125715"/>
                  <a:gd name="connsiteY4" fmla="*/ 0 h 125089"/>
                  <a:gd name="connsiteX5" fmla="*/ 33774 w 125715"/>
                  <a:gd name="connsiteY5" fmla="*/ 16887 h 125089"/>
                  <a:gd name="connsiteX6" fmla="*/ 33774 w 125715"/>
                  <a:gd name="connsiteY6" fmla="*/ 91941 h 125089"/>
                  <a:gd name="connsiteX7" fmla="*/ 108828 w 125715"/>
                  <a:gd name="connsiteY7" fmla="*/ 91941 h 125089"/>
                  <a:gd name="connsiteX8" fmla="*/ 125715 w 125715"/>
                  <a:gd name="connsiteY8" fmla="*/ 108828 h 125089"/>
                  <a:gd name="connsiteX9" fmla="*/ 108828 w 125715"/>
                  <a:gd name="connsiteY9" fmla="*/ 125090 h 125089"/>
                  <a:gd name="connsiteX10" fmla="*/ 108828 w 125715"/>
                  <a:gd name="connsiteY10" fmla="*/ 125090 h 125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5715" h="125089">
                    <a:moveTo>
                      <a:pt x="108828" y="125090"/>
                    </a:moveTo>
                    <a:lnTo>
                      <a:pt x="16887" y="125090"/>
                    </a:lnTo>
                    <a:cubicBezTo>
                      <a:pt x="7505" y="125090"/>
                      <a:pt x="0" y="117584"/>
                      <a:pt x="0" y="108203"/>
                    </a:cubicBezTo>
                    <a:lnTo>
                      <a:pt x="0" y="16887"/>
                    </a:lnTo>
                    <a:cubicBezTo>
                      <a:pt x="0" y="7505"/>
                      <a:pt x="7505" y="0"/>
                      <a:pt x="16887" y="0"/>
                    </a:cubicBezTo>
                    <a:cubicBezTo>
                      <a:pt x="26269" y="0"/>
                      <a:pt x="33774" y="7505"/>
                      <a:pt x="33774" y="16887"/>
                    </a:cubicBezTo>
                    <a:lnTo>
                      <a:pt x="33774" y="91941"/>
                    </a:lnTo>
                    <a:lnTo>
                      <a:pt x="108828" y="91941"/>
                    </a:lnTo>
                    <a:cubicBezTo>
                      <a:pt x="118210" y="91941"/>
                      <a:pt x="125715" y="99446"/>
                      <a:pt x="125715" y="108828"/>
                    </a:cubicBezTo>
                    <a:cubicBezTo>
                      <a:pt x="125715" y="117584"/>
                      <a:pt x="118210" y="125090"/>
                      <a:pt x="108828" y="125090"/>
                    </a:cubicBezTo>
                    <a:lnTo>
                      <a:pt x="108828" y="125090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32" name="Forma Livre: Forma 231">
                <a:extLst>
                  <a:ext uri="{FF2B5EF4-FFF2-40B4-BE49-F238E27FC236}">
                    <a16:creationId xmlns:a16="http://schemas.microsoft.com/office/drawing/2014/main" id="{75B8D12B-593F-4E17-9FCD-2D4D3B3582EE}"/>
                  </a:ext>
                </a:extLst>
              </p:cNvPr>
              <p:cNvSpPr/>
              <p:nvPr/>
            </p:nvSpPr>
            <p:spPr>
              <a:xfrm>
                <a:off x="2549163" y="735437"/>
                <a:ext cx="125715" cy="125715"/>
              </a:xfrm>
              <a:custGeom>
                <a:avLst/>
                <a:gdLst>
                  <a:gd name="connsiteX0" fmla="*/ 108828 w 125715"/>
                  <a:gd name="connsiteY0" fmla="*/ 125715 h 125715"/>
                  <a:gd name="connsiteX1" fmla="*/ 16887 w 125715"/>
                  <a:gd name="connsiteY1" fmla="*/ 125715 h 125715"/>
                  <a:gd name="connsiteX2" fmla="*/ 0 w 125715"/>
                  <a:gd name="connsiteY2" fmla="*/ 108828 h 125715"/>
                  <a:gd name="connsiteX3" fmla="*/ 16887 w 125715"/>
                  <a:gd name="connsiteY3" fmla="*/ 91941 h 125715"/>
                  <a:gd name="connsiteX4" fmla="*/ 91941 w 125715"/>
                  <a:gd name="connsiteY4" fmla="*/ 91941 h 125715"/>
                  <a:gd name="connsiteX5" fmla="*/ 91941 w 125715"/>
                  <a:gd name="connsiteY5" fmla="*/ 16887 h 125715"/>
                  <a:gd name="connsiteX6" fmla="*/ 108828 w 125715"/>
                  <a:gd name="connsiteY6" fmla="*/ 0 h 125715"/>
                  <a:gd name="connsiteX7" fmla="*/ 125715 w 125715"/>
                  <a:gd name="connsiteY7" fmla="*/ 16887 h 125715"/>
                  <a:gd name="connsiteX8" fmla="*/ 125715 w 125715"/>
                  <a:gd name="connsiteY8" fmla="*/ 108828 h 125715"/>
                  <a:gd name="connsiteX9" fmla="*/ 108828 w 125715"/>
                  <a:gd name="connsiteY9" fmla="*/ 125715 h 125715"/>
                  <a:gd name="connsiteX10" fmla="*/ 108828 w 125715"/>
                  <a:gd name="connsiteY10" fmla="*/ 125715 h 125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5715" h="125715">
                    <a:moveTo>
                      <a:pt x="108828" y="125715"/>
                    </a:moveTo>
                    <a:lnTo>
                      <a:pt x="16887" y="125715"/>
                    </a:lnTo>
                    <a:cubicBezTo>
                      <a:pt x="7505" y="125715"/>
                      <a:pt x="0" y="118210"/>
                      <a:pt x="0" y="108828"/>
                    </a:cubicBezTo>
                    <a:cubicBezTo>
                      <a:pt x="0" y="99446"/>
                      <a:pt x="7505" y="91941"/>
                      <a:pt x="16887" y="91941"/>
                    </a:cubicBezTo>
                    <a:lnTo>
                      <a:pt x="91941" y="91941"/>
                    </a:lnTo>
                    <a:lnTo>
                      <a:pt x="91941" y="16887"/>
                    </a:lnTo>
                    <a:cubicBezTo>
                      <a:pt x="91941" y="7505"/>
                      <a:pt x="99446" y="0"/>
                      <a:pt x="108828" y="0"/>
                    </a:cubicBezTo>
                    <a:cubicBezTo>
                      <a:pt x="118210" y="0"/>
                      <a:pt x="125715" y="7505"/>
                      <a:pt x="125715" y="16887"/>
                    </a:cubicBezTo>
                    <a:lnTo>
                      <a:pt x="125715" y="108828"/>
                    </a:lnTo>
                    <a:cubicBezTo>
                      <a:pt x="125715" y="118210"/>
                      <a:pt x="118210" y="125715"/>
                      <a:pt x="108828" y="125715"/>
                    </a:cubicBezTo>
                    <a:lnTo>
                      <a:pt x="108828" y="125715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233" name="Forma Livre: Forma 232">
              <a:extLst>
                <a:ext uri="{FF2B5EF4-FFF2-40B4-BE49-F238E27FC236}">
                  <a16:creationId xmlns:a16="http://schemas.microsoft.com/office/drawing/2014/main" id="{C3800097-29EA-4044-ADDF-59C3E3130D34}"/>
                </a:ext>
              </a:extLst>
            </p:cNvPr>
            <p:cNvSpPr/>
            <p:nvPr/>
          </p:nvSpPr>
          <p:spPr>
            <a:xfrm>
              <a:off x="2329630" y="517156"/>
              <a:ext cx="397785" cy="397160"/>
            </a:xfrm>
            <a:custGeom>
              <a:avLst/>
              <a:gdLst>
                <a:gd name="connsiteX0" fmla="*/ 380899 w 397785"/>
                <a:gd name="connsiteY0" fmla="*/ 397160 h 397160"/>
                <a:gd name="connsiteX1" fmla="*/ 16887 w 397785"/>
                <a:gd name="connsiteY1" fmla="*/ 397160 h 397160"/>
                <a:gd name="connsiteX2" fmla="*/ 0 w 397785"/>
                <a:gd name="connsiteY2" fmla="*/ 380273 h 397160"/>
                <a:gd name="connsiteX3" fmla="*/ 0 w 397785"/>
                <a:gd name="connsiteY3" fmla="*/ 16887 h 397160"/>
                <a:gd name="connsiteX4" fmla="*/ 16887 w 397785"/>
                <a:gd name="connsiteY4" fmla="*/ 0 h 397160"/>
                <a:gd name="connsiteX5" fmla="*/ 380899 w 397785"/>
                <a:gd name="connsiteY5" fmla="*/ 0 h 397160"/>
                <a:gd name="connsiteX6" fmla="*/ 397786 w 397785"/>
                <a:gd name="connsiteY6" fmla="*/ 16887 h 397160"/>
                <a:gd name="connsiteX7" fmla="*/ 397786 w 397785"/>
                <a:gd name="connsiteY7" fmla="*/ 380899 h 397160"/>
                <a:gd name="connsiteX8" fmla="*/ 380899 w 397785"/>
                <a:gd name="connsiteY8" fmla="*/ 397160 h 397160"/>
                <a:gd name="connsiteX9" fmla="*/ 380899 w 397785"/>
                <a:gd name="connsiteY9" fmla="*/ 397160 h 397160"/>
                <a:gd name="connsiteX10" fmla="*/ 33774 w 397785"/>
                <a:gd name="connsiteY10" fmla="*/ 364011 h 397160"/>
                <a:gd name="connsiteX11" fmla="*/ 364011 w 397785"/>
                <a:gd name="connsiteY11" fmla="*/ 364011 h 397160"/>
                <a:gd name="connsiteX12" fmla="*/ 364011 w 397785"/>
                <a:gd name="connsiteY12" fmla="*/ 33149 h 397160"/>
                <a:gd name="connsiteX13" fmla="*/ 33774 w 397785"/>
                <a:gd name="connsiteY13" fmla="*/ 33149 h 397160"/>
                <a:gd name="connsiteX14" fmla="*/ 33774 w 397785"/>
                <a:gd name="connsiteY14" fmla="*/ 364011 h 397160"/>
                <a:gd name="connsiteX15" fmla="*/ 33774 w 397785"/>
                <a:gd name="connsiteY15" fmla="*/ 364011 h 397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97785" h="397160">
                  <a:moveTo>
                    <a:pt x="380899" y="397160"/>
                  </a:moveTo>
                  <a:lnTo>
                    <a:pt x="16887" y="397160"/>
                  </a:lnTo>
                  <a:cubicBezTo>
                    <a:pt x="7505" y="397160"/>
                    <a:pt x="0" y="389655"/>
                    <a:pt x="0" y="380273"/>
                  </a:cubicBezTo>
                  <a:lnTo>
                    <a:pt x="0" y="16887"/>
                  </a:lnTo>
                  <a:cubicBezTo>
                    <a:pt x="0" y="7505"/>
                    <a:pt x="7505" y="0"/>
                    <a:pt x="16887" y="0"/>
                  </a:cubicBezTo>
                  <a:lnTo>
                    <a:pt x="380899" y="0"/>
                  </a:lnTo>
                  <a:cubicBezTo>
                    <a:pt x="390280" y="0"/>
                    <a:pt x="397786" y="7505"/>
                    <a:pt x="397786" y="16887"/>
                  </a:cubicBezTo>
                  <a:lnTo>
                    <a:pt x="397786" y="380899"/>
                  </a:lnTo>
                  <a:cubicBezTo>
                    <a:pt x="397786" y="389655"/>
                    <a:pt x="390280" y="397160"/>
                    <a:pt x="380899" y="397160"/>
                  </a:cubicBezTo>
                  <a:lnTo>
                    <a:pt x="380899" y="397160"/>
                  </a:lnTo>
                  <a:close/>
                  <a:moveTo>
                    <a:pt x="33774" y="364011"/>
                  </a:moveTo>
                  <a:lnTo>
                    <a:pt x="364011" y="364011"/>
                  </a:lnTo>
                  <a:lnTo>
                    <a:pt x="364011" y="33149"/>
                  </a:lnTo>
                  <a:lnTo>
                    <a:pt x="33774" y="33149"/>
                  </a:lnTo>
                  <a:lnTo>
                    <a:pt x="33774" y="364011"/>
                  </a:lnTo>
                  <a:lnTo>
                    <a:pt x="33774" y="364011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34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4374677" y="516530"/>
            <a:ext cx="397785" cy="397785"/>
            <a:chOff x="4362340" y="516530"/>
            <a:chExt cx="397785" cy="397785"/>
          </a:xfrm>
          <a:solidFill>
            <a:srgbClr val="B1B1A1"/>
          </a:solidFill>
        </p:grpSpPr>
        <p:sp>
          <p:nvSpPr>
            <p:cNvPr id="235" name="Forma Livre: Forma 234">
              <a:extLst>
                <a:ext uri="{FF2B5EF4-FFF2-40B4-BE49-F238E27FC236}">
                  <a16:creationId xmlns:a16="http://schemas.microsoft.com/office/drawing/2014/main" id="{41205968-8CA1-43D3-8998-764A966AF97B}"/>
                </a:ext>
              </a:extLst>
            </p:cNvPr>
            <p:cNvSpPr/>
            <p:nvPr/>
          </p:nvSpPr>
          <p:spPr>
            <a:xfrm>
              <a:off x="4362340" y="517156"/>
              <a:ext cx="397785" cy="397160"/>
            </a:xfrm>
            <a:custGeom>
              <a:avLst/>
              <a:gdLst>
                <a:gd name="connsiteX0" fmla="*/ 380899 w 397785"/>
                <a:gd name="connsiteY0" fmla="*/ 397160 h 397160"/>
                <a:gd name="connsiteX1" fmla="*/ 16887 w 397785"/>
                <a:gd name="connsiteY1" fmla="*/ 397160 h 397160"/>
                <a:gd name="connsiteX2" fmla="*/ 0 w 397785"/>
                <a:gd name="connsiteY2" fmla="*/ 380273 h 397160"/>
                <a:gd name="connsiteX3" fmla="*/ 0 w 397785"/>
                <a:gd name="connsiteY3" fmla="*/ 16887 h 397160"/>
                <a:gd name="connsiteX4" fmla="*/ 16887 w 397785"/>
                <a:gd name="connsiteY4" fmla="*/ 0 h 397160"/>
                <a:gd name="connsiteX5" fmla="*/ 197642 w 397785"/>
                <a:gd name="connsiteY5" fmla="*/ 0 h 397160"/>
                <a:gd name="connsiteX6" fmla="*/ 214529 w 397785"/>
                <a:gd name="connsiteY6" fmla="*/ 16887 h 397160"/>
                <a:gd name="connsiteX7" fmla="*/ 197642 w 397785"/>
                <a:gd name="connsiteY7" fmla="*/ 33774 h 397160"/>
                <a:gd name="connsiteX8" fmla="*/ 33774 w 397785"/>
                <a:gd name="connsiteY8" fmla="*/ 33774 h 397160"/>
                <a:gd name="connsiteX9" fmla="*/ 33774 w 397785"/>
                <a:gd name="connsiteY9" fmla="*/ 364011 h 397160"/>
                <a:gd name="connsiteX10" fmla="*/ 364012 w 397785"/>
                <a:gd name="connsiteY10" fmla="*/ 364011 h 397160"/>
                <a:gd name="connsiteX11" fmla="*/ 364012 w 397785"/>
                <a:gd name="connsiteY11" fmla="*/ 200144 h 397160"/>
                <a:gd name="connsiteX12" fmla="*/ 380899 w 397785"/>
                <a:gd name="connsiteY12" fmla="*/ 183257 h 397160"/>
                <a:gd name="connsiteX13" fmla="*/ 397786 w 397785"/>
                <a:gd name="connsiteY13" fmla="*/ 200144 h 397160"/>
                <a:gd name="connsiteX14" fmla="*/ 397786 w 397785"/>
                <a:gd name="connsiteY14" fmla="*/ 380899 h 397160"/>
                <a:gd name="connsiteX15" fmla="*/ 380899 w 397785"/>
                <a:gd name="connsiteY15" fmla="*/ 397160 h 397160"/>
                <a:gd name="connsiteX16" fmla="*/ 380899 w 397785"/>
                <a:gd name="connsiteY16" fmla="*/ 397160 h 397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7785" h="397160">
                  <a:moveTo>
                    <a:pt x="380899" y="397160"/>
                  </a:moveTo>
                  <a:lnTo>
                    <a:pt x="16887" y="397160"/>
                  </a:lnTo>
                  <a:cubicBezTo>
                    <a:pt x="7505" y="397160"/>
                    <a:pt x="0" y="389655"/>
                    <a:pt x="0" y="380273"/>
                  </a:cubicBezTo>
                  <a:lnTo>
                    <a:pt x="0" y="16887"/>
                  </a:lnTo>
                  <a:cubicBezTo>
                    <a:pt x="0" y="7505"/>
                    <a:pt x="7505" y="0"/>
                    <a:pt x="16887" y="0"/>
                  </a:cubicBezTo>
                  <a:lnTo>
                    <a:pt x="197642" y="0"/>
                  </a:lnTo>
                  <a:cubicBezTo>
                    <a:pt x="207024" y="0"/>
                    <a:pt x="214529" y="7505"/>
                    <a:pt x="214529" y="16887"/>
                  </a:cubicBezTo>
                  <a:cubicBezTo>
                    <a:pt x="214529" y="26269"/>
                    <a:pt x="207024" y="33774"/>
                    <a:pt x="197642" y="33774"/>
                  </a:cubicBezTo>
                  <a:lnTo>
                    <a:pt x="33774" y="33774"/>
                  </a:lnTo>
                  <a:lnTo>
                    <a:pt x="33774" y="364011"/>
                  </a:lnTo>
                  <a:lnTo>
                    <a:pt x="364012" y="364011"/>
                  </a:lnTo>
                  <a:lnTo>
                    <a:pt x="364012" y="200144"/>
                  </a:lnTo>
                  <a:cubicBezTo>
                    <a:pt x="364012" y="190762"/>
                    <a:pt x="371517" y="183257"/>
                    <a:pt x="380899" y="183257"/>
                  </a:cubicBezTo>
                  <a:cubicBezTo>
                    <a:pt x="390281" y="183257"/>
                    <a:pt x="397786" y="190762"/>
                    <a:pt x="397786" y="200144"/>
                  </a:cubicBezTo>
                  <a:lnTo>
                    <a:pt x="397786" y="380899"/>
                  </a:lnTo>
                  <a:cubicBezTo>
                    <a:pt x="397786" y="389655"/>
                    <a:pt x="390281" y="397160"/>
                    <a:pt x="380899" y="397160"/>
                  </a:cubicBezTo>
                  <a:lnTo>
                    <a:pt x="380899" y="39716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236" name="Gráfico 2">
              <a:extLst>
                <a:ext uri="{FF2B5EF4-FFF2-40B4-BE49-F238E27FC236}">
                  <a16:creationId xmlns:a16="http://schemas.microsoft.com/office/drawing/2014/main" id="{A4E24395-F85F-4E15-8BC9-B92D577D4DAD}"/>
                </a:ext>
              </a:extLst>
            </p:cNvPr>
            <p:cNvGrpSpPr/>
            <p:nvPr/>
          </p:nvGrpSpPr>
          <p:grpSpPr>
            <a:xfrm>
              <a:off x="4570302" y="516530"/>
              <a:ext cx="189824" cy="190136"/>
              <a:chOff x="4570302" y="516530"/>
              <a:chExt cx="189824" cy="190136"/>
            </a:xfrm>
            <a:grpFill/>
          </p:grpSpPr>
          <p:sp>
            <p:nvSpPr>
              <p:cNvPr id="237" name="Forma Livre: Forma 236">
                <a:extLst>
                  <a:ext uri="{FF2B5EF4-FFF2-40B4-BE49-F238E27FC236}">
                    <a16:creationId xmlns:a16="http://schemas.microsoft.com/office/drawing/2014/main" id="{7915A402-C735-4334-A203-7E9A7C57C311}"/>
                  </a:ext>
                </a:extLst>
              </p:cNvPr>
              <p:cNvSpPr/>
              <p:nvPr/>
            </p:nvSpPr>
            <p:spPr>
              <a:xfrm>
                <a:off x="4627531" y="516530"/>
                <a:ext cx="132595" cy="132595"/>
              </a:xfrm>
              <a:custGeom>
                <a:avLst/>
                <a:gdLst>
                  <a:gd name="connsiteX0" fmla="*/ 115708 w 132595"/>
                  <a:gd name="connsiteY0" fmla="*/ 132595 h 132595"/>
                  <a:gd name="connsiteX1" fmla="*/ 98821 w 132595"/>
                  <a:gd name="connsiteY1" fmla="*/ 115708 h 132595"/>
                  <a:gd name="connsiteX2" fmla="*/ 98821 w 132595"/>
                  <a:gd name="connsiteY2" fmla="*/ 33774 h 132595"/>
                  <a:gd name="connsiteX3" fmla="*/ 16887 w 132595"/>
                  <a:gd name="connsiteY3" fmla="*/ 33774 h 132595"/>
                  <a:gd name="connsiteX4" fmla="*/ 0 w 132595"/>
                  <a:gd name="connsiteY4" fmla="*/ 16887 h 132595"/>
                  <a:gd name="connsiteX5" fmla="*/ 16887 w 132595"/>
                  <a:gd name="connsiteY5" fmla="*/ 0 h 132595"/>
                  <a:gd name="connsiteX6" fmla="*/ 16887 w 132595"/>
                  <a:gd name="connsiteY6" fmla="*/ 0 h 132595"/>
                  <a:gd name="connsiteX7" fmla="*/ 115708 w 132595"/>
                  <a:gd name="connsiteY7" fmla="*/ 0 h 132595"/>
                  <a:gd name="connsiteX8" fmla="*/ 132595 w 132595"/>
                  <a:gd name="connsiteY8" fmla="*/ 16887 h 132595"/>
                  <a:gd name="connsiteX9" fmla="*/ 132595 w 132595"/>
                  <a:gd name="connsiteY9" fmla="*/ 115708 h 132595"/>
                  <a:gd name="connsiteX10" fmla="*/ 115708 w 132595"/>
                  <a:gd name="connsiteY10" fmla="*/ 132595 h 132595"/>
                  <a:gd name="connsiteX11" fmla="*/ 115708 w 132595"/>
                  <a:gd name="connsiteY11" fmla="*/ 132595 h 132595"/>
                  <a:gd name="connsiteX12" fmla="*/ 115708 w 132595"/>
                  <a:gd name="connsiteY12" fmla="*/ 132595 h 132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32595" h="132595">
                    <a:moveTo>
                      <a:pt x="115708" y="132595"/>
                    </a:moveTo>
                    <a:cubicBezTo>
                      <a:pt x="106326" y="132595"/>
                      <a:pt x="98821" y="125090"/>
                      <a:pt x="98821" y="115708"/>
                    </a:cubicBezTo>
                    <a:lnTo>
                      <a:pt x="98821" y="33774"/>
                    </a:lnTo>
                    <a:lnTo>
                      <a:pt x="16887" y="33774"/>
                    </a:lnTo>
                    <a:cubicBezTo>
                      <a:pt x="7505" y="33774"/>
                      <a:pt x="0" y="26269"/>
                      <a:pt x="0" y="16887"/>
                    </a:cubicBezTo>
                    <a:cubicBezTo>
                      <a:pt x="0" y="7505"/>
                      <a:pt x="7505" y="0"/>
                      <a:pt x="16887" y="0"/>
                    </a:cubicBezTo>
                    <a:lnTo>
                      <a:pt x="16887" y="0"/>
                    </a:lnTo>
                    <a:lnTo>
                      <a:pt x="115708" y="0"/>
                    </a:lnTo>
                    <a:cubicBezTo>
                      <a:pt x="125090" y="0"/>
                      <a:pt x="132595" y="7505"/>
                      <a:pt x="132595" y="16887"/>
                    </a:cubicBezTo>
                    <a:lnTo>
                      <a:pt x="132595" y="115708"/>
                    </a:lnTo>
                    <a:cubicBezTo>
                      <a:pt x="132595" y="125090"/>
                      <a:pt x="125090" y="132595"/>
                      <a:pt x="115708" y="132595"/>
                    </a:cubicBezTo>
                    <a:lnTo>
                      <a:pt x="115708" y="132595"/>
                    </a:lnTo>
                    <a:lnTo>
                      <a:pt x="115708" y="132595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38" name="Forma Livre: Forma 237">
                <a:extLst>
                  <a:ext uri="{FF2B5EF4-FFF2-40B4-BE49-F238E27FC236}">
                    <a16:creationId xmlns:a16="http://schemas.microsoft.com/office/drawing/2014/main" id="{7952F1A4-92EA-4C35-8DFD-FB81FFCDEF61}"/>
                  </a:ext>
                </a:extLst>
              </p:cNvPr>
              <p:cNvSpPr/>
              <p:nvPr/>
            </p:nvSpPr>
            <p:spPr>
              <a:xfrm>
                <a:off x="4570302" y="529977"/>
                <a:ext cx="175751" cy="176689"/>
              </a:xfrm>
              <a:custGeom>
                <a:avLst/>
                <a:gdLst>
                  <a:gd name="connsiteX0" fmla="*/ 16575 w 175751"/>
                  <a:gd name="connsiteY0" fmla="*/ 176689 h 176689"/>
                  <a:gd name="connsiteX1" fmla="*/ 4691 w 175751"/>
                  <a:gd name="connsiteY1" fmla="*/ 171686 h 176689"/>
                  <a:gd name="connsiteX2" fmla="*/ 4691 w 175751"/>
                  <a:gd name="connsiteY2" fmla="*/ 147919 h 176689"/>
                  <a:gd name="connsiteX3" fmla="*/ 147293 w 175751"/>
                  <a:gd name="connsiteY3" fmla="*/ 4691 h 176689"/>
                  <a:gd name="connsiteX4" fmla="*/ 171061 w 175751"/>
                  <a:gd name="connsiteY4" fmla="*/ 4691 h 176689"/>
                  <a:gd name="connsiteX5" fmla="*/ 171061 w 175751"/>
                  <a:gd name="connsiteY5" fmla="*/ 28458 h 176689"/>
                  <a:gd name="connsiteX6" fmla="*/ 28458 w 175751"/>
                  <a:gd name="connsiteY6" fmla="*/ 171686 h 176689"/>
                  <a:gd name="connsiteX7" fmla="*/ 16575 w 175751"/>
                  <a:gd name="connsiteY7" fmla="*/ 176689 h 176689"/>
                  <a:gd name="connsiteX8" fmla="*/ 16575 w 175751"/>
                  <a:gd name="connsiteY8" fmla="*/ 176689 h 1766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5751" h="176689">
                    <a:moveTo>
                      <a:pt x="16575" y="176689"/>
                    </a:moveTo>
                    <a:cubicBezTo>
                      <a:pt x="12196" y="176689"/>
                      <a:pt x="7818" y="174813"/>
                      <a:pt x="4691" y="171686"/>
                    </a:cubicBezTo>
                    <a:cubicBezTo>
                      <a:pt x="-1564" y="165431"/>
                      <a:pt x="-1564" y="154799"/>
                      <a:pt x="4691" y="147919"/>
                    </a:cubicBezTo>
                    <a:lnTo>
                      <a:pt x="147293" y="4691"/>
                    </a:lnTo>
                    <a:cubicBezTo>
                      <a:pt x="153548" y="-1564"/>
                      <a:pt x="164180" y="-1564"/>
                      <a:pt x="171061" y="4691"/>
                    </a:cubicBezTo>
                    <a:cubicBezTo>
                      <a:pt x="177315" y="10945"/>
                      <a:pt x="177315" y="21578"/>
                      <a:pt x="171061" y="28458"/>
                    </a:cubicBezTo>
                    <a:lnTo>
                      <a:pt x="28458" y="171686"/>
                    </a:lnTo>
                    <a:cubicBezTo>
                      <a:pt x="25331" y="175439"/>
                      <a:pt x="20953" y="176689"/>
                      <a:pt x="16575" y="176689"/>
                    </a:cubicBezTo>
                    <a:lnTo>
                      <a:pt x="16575" y="176689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239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3436503" y="516843"/>
            <a:ext cx="250179" cy="397473"/>
            <a:chOff x="3424166" y="516843"/>
            <a:chExt cx="250179" cy="397473"/>
          </a:xfrm>
          <a:solidFill>
            <a:srgbClr val="B1B1A1"/>
          </a:solidFill>
        </p:grpSpPr>
        <p:grpSp>
          <p:nvGrpSpPr>
            <p:cNvPr id="240" name="Gráfico 2">
              <a:extLst>
                <a:ext uri="{FF2B5EF4-FFF2-40B4-BE49-F238E27FC236}">
                  <a16:creationId xmlns:a16="http://schemas.microsoft.com/office/drawing/2014/main" id="{A4E24395-F85F-4E15-8BC9-B92D577D4DAD}"/>
                </a:ext>
              </a:extLst>
            </p:cNvPr>
            <p:cNvGrpSpPr/>
            <p:nvPr/>
          </p:nvGrpSpPr>
          <p:grpSpPr>
            <a:xfrm>
              <a:off x="3462632" y="516843"/>
              <a:ext cx="173249" cy="254870"/>
              <a:chOff x="3462632" y="516843"/>
              <a:chExt cx="173249" cy="254870"/>
            </a:xfrm>
            <a:grpFill/>
          </p:grpSpPr>
          <p:sp>
            <p:nvSpPr>
              <p:cNvPr id="241" name="Forma Livre: Forma 240">
                <a:extLst>
                  <a:ext uri="{FF2B5EF4-FFF2-40B4-BE49-F238E27FC236}">
                    <a16:creationId xmlns:a16="http://schemas.microsoft.com/office/drawing/2014/main" id="{8B733139-947E-468B-AF29-05BCD23C8CE2}"/>
                  </a:ext>
                </a:extLst>
              </p:cNvPr>
              <p:cNvSpPr/>
              <p:nvPr/>
            </p:nvSpPr>
            <p:spPr>
              <a:xfrm>
                <a:off x="3462632" y="516843"/>
                <a:ext cx="173249" cy="103511"/>
              </a:xfrm>
              <a:custGeom>
                <a:avLst/>
                <a:gdLst>
                  <a:gd name="connsiteX0" fmla="*/ 16574 w 173249"/>
                  <a:gd name="connsiteY0" fmla="*/ 103512 h 103511"/>
                  <a:gd name="connsiteX1" fmla="*/ 4691 w 173249"/>
                  <a:gd name="connsiteY1" fmla="*/ 98508 h 103511"/>
                  <a:gd name="connsiteX2" fmla="*/ 4691 w 173249"/>
                  <a:gd name="connsiteY2" fmla="*/ 74741 h 103511"/>
                  <a:gd name="connsiteX3" fmla="*/ 74741 w 173249"/>
                  <a:gd name="connsiteY3" fmla="*/ 4691 h 103511"/>
                  <a:gd name="connsiteX4" fmla="*/ 98508 w 173249"/>
                  <a:gd name="connsiteY4" fmla="*/ 4691 h 103511"/>
                  <a:gd name="connsiteX5" fmla="*/ 168558 w 173249"/>
                  <a:gd name="connsiteY5" fmla="*/ 74741 h 103511"/>
                  <a:gd name="connsiteX6" fmla="*/ 168558 w 173249"/>
                  <a:gd name="connsiteY6" fmla="*/ 98508 h 103511"/>
                  <a:gd name="connsiteX7" fmla="*/ 144791 w 173249"/>
                  <a:gd name="connsiteY7" fmla="*/ 98508 h 103511"/>
                  <a:gd name="connsiteX8" fmla="*/ 86625 w 173249"/>
                  <a:gd name="connsiteY8" fmla="*/ 40341 h 103511"/>
                  <a:gd name="connsiteX9" fmla="*/ 28458 w 173249"/>
                  <a:gd name="connsiteY9" fmla="*/ 98508 h 103511"/>
                  <a:gd name="connsiteX10" fmla="*/ 16574 w 173249"/>
                  <a:gd name="connsiteY10" fmla="*/ 103512 h 103511"/>
                  <a:gd name="connsiteX11" fmla="*/ 16574 w 173249"/>
                  <a:gd name="connsiteY11" fmla="*/ 103512 h 103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73249" h="103511">
                    <a:moveTo>
                      <a:pt x="16574" y="103512"/>
                    </a:moveTo>
                    <a:cubicBezTo>
                      <a:pt x="12196" y="103512"/>
                      <a:pt x="7818" y="101636"/>
                      <a:pt x="4691" y="98508"/>
                    </a:cubicBezTo>
                    <a:cubicBezTo>
                      <a:pt x="-1564" y="92254"/>
                      <a:pt x="-1564" y="81621"/>
                      <a:pt x="4691" y="74741"/>
                    </a:cubicBezTo>
                    <a:lnTo>
                      <a:pt x="74741" y="4691"/>
                    </a:lnTo>
                    <a:cubicBezTo>
                      <a:pt x="80996" y="-1564"/>
                      <a:pt x="91628" y="-1564"/>
                      <a:pt x="98508" y="4691"/>
                    </a:cubicBezTo>
                    <a:lnTo>
                      <a:pt x="168558" y="74741"/>
                    </a:lnTo>
                    <a:cubicBezTo>
                      <a:pt x="174813" y="80996"/>
                      <a:pt x="174813" y="91628"/>
                      <a:pt x="168558" y="98508"/>
                    </a:cubicBezTo>
                    <a:cubicBezTo>
                      <a:pt x="162304" y="104763"/>
                      <a:pt x="151671" y="104763"/>
                      <a:pt x="144791" y="98508"/>
                    </a:cubicBezTo>
                    <a:lnTo>
                      <a:pt x="86625" y="40341"/>
                    </a:lnTo>
                    <a:lnTo>
                      <a:pt x="28458" y="98508"/>
                    </a:lnTo>
                    <a:cubicBezTo>
                      <a:pt x="24705" y="101636"/>
                      <a:pt x="20327" y="103512"/>
                      <a:pt x="16574" y="103512"/>
                    </a:cubicBezTo>
                    <a:lnTo>
                      <a:pt x="16574" y="103512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42" name="Forma Livre: Forma 241">
                <a:extLst>
                  <a:ext uri="{FF2B5EF4-FFF2-40B4-BE49-F238E27FC236}">
                    <a16:creationId xmlns:a16="http://schemas.microsoft.com/office/drawing/2014/main" id="{8BE9660D-7D36-4117-BE26-0000AECA7A1B}"/>
                  </a:ext>
                </a:extLst>
              </p:cNvPr>
              <p:cNvSpPr/>
              <p:nvPr/>
            </p:nvSpPr>
            <p:spPr>
              <a:xfrm>
                <a:off x="3531744" y="535919"/>
                <a:ext cx="33774" cy="235794"/>
              </a:xfrm>
              <a:custGeom>
                <a:avLst/>
                <a:gdLst>
                  <a:gd name="connsiteX0" fmla="*/ 16887 w 33774"/>
                  <a:gd name="connsiteY0" fmla="*/ 235794 h 235794"/>
                  <a:gd name="connsiteX1" fmla="*/ 0 w 33774"/>
                  <a:gd name="connsiteY1" fmla="*/ 218907 h 235794"/>
                  <a:gd name="connsiteX2" fmla="*/ 0 w 33774"/>
                  <a:gd name="connsiteY2" fmla="*/ 16887 h 235794"/>
                  <a:gd name="connsiteX3" fmla="*/ 16887 w 33774"/>
                  <a:gd name="connsiteY3" fmla="*/ 0 h 235794"/>
                  <a:gd name="connsiteX4" fmla="*/ 33774 w 33774"/>
                  <a:gd name="connsiteY4" fmla="*/ 16887 h 235794"/>
                  <a:gd name="connsiteX5" fmla="*/ 33774 w 33774"/>
                  <a:gd name="connsiteY5" fmla="*/ 218907 h 235794"/>
                  <a:gd name="connsiteX6" fmla="*/ 16887 w 33774"/>
                  <a:gd name="connsiteY6" fmla="*/ 235794 h 235794"/>
                  <a:gd name="connsiteX7" fmla="*/ 16887 w 33774"/>
                  <a:gd name="connsiteY7" fmla="*/ 235794 h 2357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774" h="235794">
                    <a:moveTo>
                      <a:pt x="16887" y="235794"/>
                    </a:moveTo>
                    <a:cubicBezTo>
                      <a:pt x="7505" y="235794"/>
                      <a:pt x="0" y="228289"/>
                      <a:pt x="0" y="218907"/>
                    </a:cubicBezTo>
                    <a:lnTo>
                      <a:pt x="0" y="16887"/>
                    </a:lnTo>
                    <a:cubicBezTo>
                      <a:pt x="0" y="7505"/>
                      <a:pt x="7505" y="0"/>
                      <a:pt x="16887" y="0"/>
                    </a:cubicBezTo>
                    <a:cubicBezTo>
                      <a:pt x="26269" y="0"/>
                      <a:pt x="33774" y="7505"/>
                      <a:pt x="33774" y="16887"/>
                    </a:cubicBezTo>
                    <a:lnTo>
                      <a:pt x="33774" y="218907"/>
                    </a:lnTo>
                    <a:cubicBezTo>
                      <a:pt x="33774" y="228289"/>
                      <a:pt x="26269" y="235794"/>
                      <a:pt x="16887" y="235794"/>
                    </a:cubicBezTo>
                    <a:lnTo>
                      <a:pt x="16887" y="235794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243" name="Forma Livre: Forma 242">
              <a:extLst>
                <a:ext uri="{FF2B5EF4-FFF2-40B4-BE49-F238E27FC236}">
                  <a16:creationId xmlns:a16="http://schemas.microsoft.com/office/drawing/2014/main" id="{36367AEC-E141-4C12-B717-E66E576581C2}"/>
                </a:ext>
              </a:extLst>
            </p:cNvPr>
            <p:cNvSpPr/>
            <p:nvPr/>
          </p:nvSpPr>
          <p:spPr>
            <a:xfrm>
              <a:off x="3424166" y="664762"/>
              <a:ext cx="250179" cy="249554"/>
            </a:xfrm>
            <a:custGeom>
              <a:avLst/>
              <a:gdLst>
                <a:gd name="connsiteX0" fmla="*/ 232667 w 250179"/>
                <a:gd name="connsiteY0" fmla="*/ 249554 h 249554"/>
                <a:gd name="connsiteX1" fmla="*/ 16887 w 250179"/>
                <a:gd name="connsiteY1" fmla="*/ 249554 h 249554"/>
                <a:gd name="connsiteX2" fmla="*/ 0 w 250179"/>
                <a:gd name="connsiteY2" fmla="*/ 232667 h 249554"/>
                <a:gd name="connsiteX3" fmla="*/ 0 w 250179"/>
                <a:gd name="connsiteY3" fmla="*/ 16887 h 249554"/>
                <a:gd name="connsiteX4" fmla="*/ 16887 w 250179"/>
                <a:gd name="connsiteY4" fmla="*/ 0 h 249554"/>
                <a:gd name="connsiteX5" fmla="*/ 67549 w 250179"/>
                <a:gd name="connsiteY5" fmla="*/ 0 h 249554"/>
                <a:gd name="connsiteX6" fmla="*/ 84436 w 250179"/>
                <a:gd name="connsiteY6" fmla="*/ 16887 h 249554"/>
                <a:gd name="connsiteX7" fmla="*/ 67549 w 250179"/>
                <a:gd name="connsiteY7" fmla="*/ 33774 h 249554"/>
                <a:gd name="connsiteX8" fmla="*/ 33774 w 250179"/>
                <a:gd name="connsiteY8" fmla="*/ 33774 h 249554"/>
                <a:gd name="connsiteX9" fmla="*/ 33774 w 250179"/>
                <a:gd name="connsiteY9" fmla="*/ 216405 h 249554"/>
                <a:gd name="connsiteX10" fmla="*/ 216405 w 250179"/>
                <a:gd name="connsiteY10" fmla="*/ 216405 h 249554"/>
                <a:gd name="connsiteX11" fmla="*/ 216405 w 250179"/>
                <a:gd name="connsiteY11" fmla="*/ 33774 h 249554"/>
                <a:gd name="connsiteX12" fmla="*/ 182631 w 250179"/>
                <a:gd name="connsiteY12" fmla="*/ 33774 h 249554"/>
                <a:gd name="connsiteX13" fmla="*/ 165744 w 250179"/>
                <a:gd name="connsiteY13" fmla="*/ 16887 h 249554"/>
                <a:gd name="connsiteX14" fmla="*/ 182631 w 250179"/>
                <a:gd name="connsiteY14" fmla="*/ 0 h 249554"/>
                <a:gd name="connsiteX15" fmla="*/ 233293 w 250179"/>
                <a:gd name="connsiteY15" fmla="*/ 0 h 249554"/>
                <a:gd name="connsiteX16" fmla="*/ 250180 w 250179"/>
                <a:gd name="connsiteY16" fmla="*/ 16887 h 249554"/>
                <a:gd name="connsiteX17" fmla="*/ 250180 w 250179"/>
                <a:gd name="connsiteY17" fmla="*/ 232667 h 249554"/>
                <a:gd name="connsiteX18" fmla="*/ 232667 w 250179"/>
                <a:gd name="connsiteY18" fmla="*/ 249554 h 249554"/>
                <a:gd name="connsiteX19" fmla="*/ 232667 w 250179"/>
                <a:gd name="connsiteY19" fmla="*/ 249554 h 249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50179" h="249554">
                  <a:moveTo>
                    <a:pt x="232667" y="249554"/>
                  </a:moveTo>
                  <a:lnTo>
                    <a:pt x="16887" y="249554"/>
                  </a:lnTo>
                  <a:cubicBezTo>
                    <a:pt x="7505" y="249554"/>
                    <a:pt x="0" y="242049"/>
                    <a:pt x="0" y="232667"/>
                  </a:cubicBezTo>
                  <a:lnTo>
                    <a:pt x="0" y="16887"/>
                  </a:lnTo>
                  <a:cubicBezTo>
                    <a:pt x="0" y="7505"/>
                    <a:pt x="7505" y="0"/>
                    <a:pt x="16887" y="0"/>
                  </a:cubicBezTo>
                  <a:lnTo>
                    <a:pt x="67549" y="0"/>
                  </a:lnTo>
                  <a:cubicBezTo>
                    <a:pt x="76930" y="0"/>
                    <a:pt x="84436" y="7505"/>
                    <a:pt x="84436" y="16887"/>
                  </a:cubicBezTo>
                  <a:cubicBezTo>
                    <a:pt x="84436" y="26269"/>
                    <a:pt x="76930" y="33774"/>
                    <a:pt x="67549" y="33774"/>
                  </a:cubicBezTo>
                  <a:lnTo>
                    <a:pt x="33774" y="33774"/>
                  </a:lnTo>
                  <a:lnTo>
                    <a:pt x="33774" y="216405"/>
                  </a:lnTo>
                  <a:lnTo>
                    <a:pt x="216405" y="216405"/>
                  </a:lnTo>
                  <a:lnTo>
                    <a:pt x="216405" y="33774"/>
                  </a:lnTo>
                  <a:lnTo>
                    <a:pt x="182631" y="33774"/>
                  </a:lnTo>
                  <a:cubicBezTo>
                    <a:pt x="173250" y="33774"/>
                    <a:pt x="165744" y="26269"/>
                    <a:pt x="165744" y="16887"/>
                  </a:cubicBezTo>
                  <a:cubicBezTo>
                    <a:pt x="165744" y="7505"/>
                    <a:pt x="173250" y="0"/>
                    <a:pt x="182631" y="0"/>
                  </a:cubicBezTo>
                  <a:lnTo>
                    <a:pt x="233293" y="0"/>
                  </a:lnTo>
                  <a:cubicBezTo>
                    <a:pt x="242674" y="0"/>
                    <a:pt x="250180" y="7505"/>
                    <a:pt x="250180" y="16887"/>
                  </a:cubicBezTo>
                  <a:lnTo>
                    <a:pt x="250180" y="232667"/>
                  </a:lnTo>
                  <a:cubicBezTo>
                    <a:pt x="248929" y="242049"/>
                    <a:pt x="242049" y="249554"/>
                    <a:pt x="232667" y="249554"/>
                  </a:cubicBezTo>
                  <a:lnTo>
                    <a:pt x="232667" y="249554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44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7457517" y="3620635"/>
            <a:ext cx="376520" cy="376520"/>
            <a:chOff x="7445180" y="3620635"/>
            <a:chExt cx="376520" cy="376520"/>
          </a:xfrm>
          <a:solidFill>
            <a:srgbClr val="B1B1A1"/>
          </a:solidFill>
        </p:grpSpPr>
        <p:sp>
          <p:nvSpPr>
            <p:cNvPr id="245" name="Forma Livre: Forma 244">
              <a:extLst>
                <a:ext uri="{FF2B5EF4-FFF2-40B4-BE49-F238E27FC236}">
                  <a16:creationId xmlns:a16="http://schemas.microsoft.com/office/drawing/2014/main" id="{3A095199-A1CA-4404-A9DE-F9BCA85EFFEA}"/>
                </a:ext>
              </a:extLst>
            </p:cNvPr>
            <p:cNvSpPr/>
            <p:nvPr/>
          </p:nvSpPr>
          <p:spPr>
            <a:xfrm>
              <a:off x="7445180" y="3620635"/>
              <a:ext cx="376520" cy="376520"/>
            </a:xfrm>
            <a:custGeom>
              <a:avLst/>
              <a:gdLst>
                <a:gd name="connsiteX0" fmla="*/ 188260 w 376520"/>
                <a:gd name="connsiteY0" fmla="*/ 376521 h 376520"/>
                <a:gd name="connsiteX1" fmla="*/ 0 w 376520"/>
                <a:gd name="connsiteY1" fmla="*/ 188260 h 376520"/>
                <a:gd name="connsiteX2" fmla="*/ 188260 w 376520"/>
                <a:gd name="connsiteY2" fmla="*/ 0 h 376520"/>
                <a:gd name="connsiteX3" fmla="*/ 376521 w 376520"/>
                <a:gd name="connsiteY3" fmla="*/ 188260 h 376520"/>
                <a:gd name="connsiteX4" fmla="*/ 188260 w 376520"/>
                <a:gd name="connsiteY4" fmla="*/ 376521 h 376520"/>
                <a:gd name="connsiteX5" fmla="*/ 188260 w 376520"/>
                <a:gd name="connsiteY5" fmla="*/ 376521 h 376520"/>
                <a:gd name="connsiteX6" fmla="*/ 188260 w 376520"/>
                <a:gd name="connsiteY6" fmla="*/ 33774 h 376520"/>
                <a:gd name="connsiteX7" fmla="*/ 33149 w 376520"/>
                <a:gd name="connsiteY7" fmla="*/ 188886 h 376520"/>
                <a:gd name="connsiteX8" fmla="*/ 188260 w 376520"/>
                <a:gd name="connsiteY8" fmla="*/ 343997 h 376520"/>
                <a:gd name="connsiteX9" fmla="*/ 343371 w 376520"/>
                <a:gd name="connsiteY9" fmla="*/ 188886 h 376520"/>
                <a:gd name="connsiteX10" fmla="*/ 188260 w 376520"/>
                <a:gd name="connsiteY10" fmla="*/ 33774 h 376520"/>
                <a:gd name="connsiteX11" fmla="*/ 188260 w 376520"/>
                <a:gd name="connsiteY11" fmla="*/ 33774 h 376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76520" h="376520">
                  <a:moveTo>
                    <a:pt x="188260" y="376521"/>
                  </a:moveTo>
                  <a:cubicBezTo>
                    <a:pt x="84436" y="376521"/>
                    <a:pt x="0" y="292085"/>
                    <a:pt x="0" y="188260"/>
                  </a:cubicBezTo>
                  <a:cubicBezTo>
                    <a:pt x="0" y="84436"/>
                    <a:pt x="84436" y="0"/>
                    <a:pt x="188260" y="0"/>
                  </a:cubicBezTo>
                  <a:cubicBezTo>
                    <a:pt x="292085" y="0"/>
                    <a:pt x="376521" y="84436"/>
                    <a:pt x="376521" y="188260"/>
                  </a:cubicBezTo>
                  <a:cubicBezTo>
                    <a:pt x="376521" y="292710"/>
                    <a:pt x="292085" y="376521"/>
                    <a:pt x="188260" y="376521"/>
                  </a:cubicBezTo>
                  <a:lnTo>
                    <a:pt x="188260" y="376521"/>
                  </a:lnTo>
                  <a:close/>
                  <a:moveTo>
                    <a:pt x="188260" y="33774"/>
                  </a:moveTo>
                  <a:cubicBezTo>
                    <a:pt x="103199" y="33774"/>
                    <a:pt x="33149" y="103199"/>
                    <a:pt x="33149" y="188886"/>
                  </a:cubicBezTo>
                  <a:cubicBezTo>
                    <a:pt x="33149" y="273947"/>
                    <a:pt x="102573" y="343997"/>
                    <a:pt x="188260" y="343997"/>
                  </a:cubicBezTo>
                  <a:cubicBezTo>
                    <a:pt x="273321" y="343997"/>
                    <a:pt x="343371" y="274572"/>
                    <a:pt x="343371" y="188886"/>
                  </a:cubicBezTo>
                  <a:cubicBezTo>
                    <a:pt x="342746" y="103199"/>
                    <a:pt x="273321" y="33774"/>
                    <a:pt x="188260" y="33774"/>
                  </a:cubicBezTo>
                  <a:lnTo>
                    <a:pt x="188260" y="33774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46" name="Forma Livre: Forma 245">
              <a:extLst>
                <a:ext uri="{FF2B5EF4-FFF2-40B4-BE49-F238E27FC236}">
                  <a16:creationId xmlns:a16="http://schemas.microsoft.com/office/drawing/2014/main" id="{784F8213-35E6-470B-B60D-CAFDF891A7AF}"/>
                </a:ext>
              </a:extLst>
            </p:cNvPr>
            <p:cNvSpPr/>
            <p:nvPr/>
          </p:nvSpPr>
          <p:spPr>
            <a:xfrm>
              <a:off x="7575898" y="3726336"/>
              <a:ext cx="149482" cy="166994"/>
            </a:xfrm>
            <a:custGeom>
              <a:avLst/>
              <a:gdLst>
                <a:gd name="connsiteX0" fmla="*/ 15011 w 149482"/>
                <a:gd name="connsiteY0" fmla="*/ 166995 h 166994"/>
                <a:gd name="connsiteX1" fmla="*/ 7505 w 149482"/>
                <a:gd name="connsiteY1" fmla="*/ 165119 h 166994"/>
                <a:gd name="connsiteX2" fmla="*/ 0 w 149482"/>
                <a:gd name="connsiteY2" fmla="*/ 151984 h 166994"/>
                <a:gd name="connsiteX3" fmla="*/ 0 w 149482"/>
                <a:gd name="connsiteY3" fmla="*/ 15011 h 166994"/>
                <a:gd name="connsiteX4" fmla="*/ 7505 w 149482"/>
                <a:gd name="connsiteY4" fmla="*/ 1876 h 166994"/>
                <a:gd name="connsiteX5" fmla="*/ 23142 w 149482"/>
                <a:gd name="connsiteY5" fmla="*/ 1876 h 166994"/>
                <a:gd name="connsiteX6" fmla="*/ 141977 w 149482"/>
                <a:gd name="connsiteY6" fmla="*/ 70050 h 166994"/>
                <a:gd name="connsiteX7" fmla="*/ 149483 w 149482"/>
                <a:gd name="connsiteY7" fmla="*/ 83185 h 166994"/>
                <a:gd name="connsiteX8" fmla="*/ 141977 w 149482"/>
                <a:gd name="connsiteY8" fmla="*/ 96319 h 166994"/>
                <a:gd name="connsiteX9" fmla="*/ 23142 w 149482"/>
                <a:gd name="connsiteY9" fmla="*/ 164493 h 166994"/>
                <a:gd name="connsiteX10" fmla="*/ 15011 w 149482"/>
                <a:gd name="connsiteY10" fmla="*/ 166995 h 166994"/>
                <a:gd name="connsiteX11" fmla="*/ 15011 w 149482"/>
                <a:gd name="connsiteY11" fmla="*/ 166995 h 166994"/>
                <a:gd name="connsiteX12" fmla="*/ 30022 w 149482"/>
                <a:gd name="connsiteY12" fmla="*/ 41280 h 166994"/>
                <a:gd name="connsiteX13" fmla="*/ 30022 w 149482"/>
                <a:gd name="connsiteY13" fmla="*/ 125090 h 166994"/>
                <a:gd name="connsiteX14" fmla="*/ 102574 w 149482"/>
                <a:gd name="connsiteY14" fmla="*/ 83185 h 166994"/>
                <a:gd name="connsiteX15" fmla="*/ 30022 w 149482"/>
                <a:gd name="connsiteY15" fmla="*/ 41280 h 166994"/>
                <a:gd name="connsiteX16" fmla="*/ 30022 w 149482"/>
                <a:gd name="connsiteY16" fmla="*/ 41280 h 166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9482" h="166994">
                  <a:moveTo>
                    <a:pt x="15011" y="166995"/>
                  </a:moveTo>
                  <a:cubicBezTo>
                    <a:pt x="12509" y="166995"/>
                    <a:pt x="10007" y="166370"/>
                    <a:pt x="7505" y="165119"/>
                  </a:cubicBezTo>
                  <a:cubicBezTo>
                    <a:pt x="2502" y="162617"/>
                    <a:pt x="0" y="157613"/>
                    <a:pt x="0" y="151984"/>
                  </a:cubicBezTo>
                  <a:lnTo>
                    <a:pt x="0" y="15011"/>
                  </a:lnTo>
                  <a:cubicBezTo>
                    <a:pt x="0" y="9382"/>
                    <a:pt x="3127" y="4378"/>
                    <a:pt x="7505" y="1876"/>
                  </a:cubicBezTo>
                  <a:cubicBezTo>
                    <a:pt x="12509" y="-625"/>
                    <a:pt x="18138" y="-625"/>
                    <a:pt x="23142" y="1876"/>
                  </a:cubicBezTo>
                  <a:lnTo>
                    <a:pt x="141977" y="70050"/>
                  </a:lnTo>
                  <a:cubicBezTo>
                    <a:pt x="146981" y="72552"/>
                    <a:pt x="149483" y="77556"/>
                    <a:pt x="149483" y="83185"/>
                  </a:cubicBezTo>
                  <a:cubicBezTo>
                    <a:pt x="149483" y="88814"/>
                    <a:pt x="146355" y="93817"/>
                    <a:pt x="141977" y="96319"/>
                  </a:cubicBezTo>
                  <a:lnTo>
                    <a:pt x="23142" y="164493"/>
                  </a:lnTo>
                  <a:cubicBezTo>
                    <a:pt x="20014" y="166370"/>
                    <a:pt x="17513" y="166995"/>
                    <a:pt x="15011" y="166995"/>
                  </a:cubicBezTo>
                  <a:lnTo>
                    <a:pt x="15011" y="166995"/>
                  </a:lnTo>
                  <a:close/>
                  <a:moveTo>
                    <a:pt x="30022" y="41280"/>
                  </a:moveTo>
                  <a:lnTo>
                    <a:pt x="30022" y="125090"/>
                  </a:lnTo>
                  <a:lnTo>
                    <a:pt x="102574" y="83185"/>
                  </a:lnTo>
                  <a:lnTo>
                    <a:pt x="30022" y="41280"/>
                  </a:lnTo>
                  <a:lnTo>
                    <a:pt x="30022" y="4128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47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1308100" y="1551023"/>
            <a:ext cx="410294" cy="395283"/>
            <a:chOff x="1295763" y="1551023"/>
            <a:chExt cx="410294" cy="395283"/>
          </a:xfrm>
          <a:solidFill>
            <a:srgbClr val="B1B1A1"/>
          </a:solidFill>
        </p:grpSpPr>
        <p:sp>
          <p:nvSpPr>
            <p:cNvPr id="248" name="Forma Livre: Forma 247">
              <a:extLst>
                <a:ext uri="{FF2B5EF4-FFF2-40B4-BE49-F238E27FC236}">
                  <a16:creationId xmlns:a16="http://schemas.microsoft.com/office/drawing/2014/main" id="{8B41DDA6-6D09-4BC3-A47F-73310194DBA5}"/>
                </a:ext>
              </a:extLst>
            </p:cNvPr>
            <p:cNvSpPr/>
            <p:nvPr/>
          </p:nvSpPr>
          <p:spPr>
            <a:xfrm>
              <a:off x="1437660" y="1762359"/>
              <a:ext cx="193723" cy="40720"/>
            </a:xfrm>
            <a:custGeom>
              <a:avLst/>
              <a:gdLst>
                <a:gd name="connsiteX0" fmla="*/ 185838 w 193723"/>
                <a:gd name="connsiteY0" fmla="*/ 40720 h 40720"/>
                <a:gd name="connsiteX1" fmla="*/ 182711 w 193723"/>
                <a:gd name="connsiteY1" fmla="*/ 40095 h 40720"/>
                <a:gd name="connsiteX2" fmla="*/ 9461 w 193723"/>
                <a:gd name="connsiteY2" fmla="*/ 19455 h 40720"/>
                <a:gd name="connsiteX3" fmla="*/ 80 w 193723"/>
                <a:gd name="connsiteY3" fmla="*/ 12575 h 40720"/>
                <a:gd name="connsiteX4" fmla="*/ 6960 w 193723"/>
                <a:gd name="connsiteY4" fmla="*/ 3193 h 40720"/>
                <a:gd name="connsiteX5" fmla="*/ 188340 w 193723"/>
                <a:gd name="connsiteY5" fmla="*/ 24459 h 40720"/>
                <a:gd name="connsiteX6" fmla="*/ 193344 w 193723"/>
                <a:gd name="connsiteY6" fmla="*/ 35091 h 40720"/>
                <a:gd name="connsiteX7" fmla="*/ 185838 w 193723"/>
                <a:gd name="connsiteY7" fmla="*/ 40720 h 40720"/>
                <a:gd name="connsiteX8" fmla="*/ 185838 w 193723"/>
                <a:gd name="connsiteY8" fmla="*/ 40720 h 40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3723" h="40720">
                  <a:moveTo>
                    <a:pt x="185838" y="40720"/>
                  </a:moveTo>
                  <a:cubicBezTo>
                    <a:pt x="184587" y="40720"/>
                    <a:pt x="183962" y="40720"/>
                    <a:pt x="182711" y="40095"/>
                  </a:cubicBezTo>
                  <a:cubicBezTo>
                    <a:pt x="127671" y="18830"/>
                    <a:pt x="67628" y="11950"/>
                    <a:pt x="9461" y="19455"/>
                  </a:cubicBezTo>
                  <a:cubicBezTo>
                    <a:pt x="5083" y="20080"/>
                    <a:pt x="705" y="16953"/>
                    <a:pt x="80" y="12575"/>
                  </a:cubicBezTo>
                  <a:cubicBezTo>
                    <a:pt x="-546" y="8197"/>
                    <a:pt x="2581" y="3819"/>
                    <a:pt x="6960" y="3193"/>
                  </a:cubicBezTo>
                  <a:cubicBezTo>
                    <a:pt x="68254" y="-4937"/>
                    <a:pt x="130799" y="2568"/>
                    <a:pt x="188340" y="24459"/>
                  </a:cubicBezTo>
                  <a:cubicBezTo>
                    <a:pt x="192718" y="26335"/>
                    <a:pt x="194594" y="30713"/>
                    <a:pt x="193344" y="35091"/>
                  </a:cubicBezTo>
                  <a:cubicBezTo>
                    <a:pt x="192718" y="38844"/>
                    <a:pt x="189591" y="40720"/>
                    <a:pt x="185838" y="40720"/>
                  </a:cubicBezTo>
                  <a:lnTo>
                    <a:pt x="185838" y="4072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49" name="Forma Livre: Forma 248">
              <a:extLst>
                <a:ext uri="{FF2B5EF4-FFF2-40B4-BE49-F238E27FC236}">
                  <a16:creationId xmlns:a16="http://schemas.microsoft.com/office/drawing/2014/main" id="{E6CA1A82-B926-4139-8403-F97A3A28B60A}"/>
                </a:ext>
              </a:extLst>
            </p:cNvPr>
            <p:cNvSpPr/>
            <p:nvPr/>
          </p:nvSpPr>
          <p:spPr>
            <a:xfrm>
              <a:off x="1316183" y="1785562"/>
              <a:ext cx="57139" cy="35029"/>
            </a:xfrm>
            <a:custGeom>
              <a:avLst/>
              <a:gdLst>
                <a:gd name="connsiteX0" fmla="*/ 8350 w 57139"/>
                <a:gd name="connsiteY0" fmla="*/ 35030 h 35029"/>
                <a:gd name="connsiteX1" fmla="*/ 844 w 57139"/>
                <a:gd name="connsiteY1" fmla="*/ 30652 h 35029"/>
                <a:gd name="connsiteX2" fmla="*/ 4597 w 57139"/>
                <a:gd name="connsiteY2" fmla="*/ 19394 h 35029"/>
                <a:gd name="connsiteX3" fmla="*/ 45877 w 57139"/>
                <a:gd name="connsiteY3" fmla="*/ 630 h 35029"/>
                <a:gd name="connsiteX4" fmla="*/ 56509 w 57139"/>
                <a:gd name="connsiteY4" fmla="*/ 5634 h 35029"/>
                <a:gd name="connsiteX5" fmla="*/ 51506 w 57139"/>
                <a:gd name="connsiteY5" fmla="*/ 16267 h 35029"/>
                <a:gd name="connsiteX6" fmla="*/ 12102 w 57139"/>
                <a:gd name="connsiteY6" fmla="*/ 34405 h 35029"/>
                <a:gd name="connsiteX7" fmla="*/ 8350 w 57139"/>
                <a:gd name="connsiteY7" fmla="*/ 35030 h 35029"/>
                <a:gd name="connsiteX8" fmla="*/ 8350 w 57139"/>
                <a:gd name="connsiteY8" fmla="*/ 35030 h 35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39" h="35029">
                  <a:moveTo>
                    <a:pt x="8350" y="35030"/>
                  </a:moveTo>
                  <a:cubicBezTo>
                    <a:pt x="5223" y="35030"/>
                    <a:pt x="2721" y="33154"/>
                    <a:pt x="844" y="30652"/>
                  </a:cubicBezTo>
                  <a:cubicBezTo>
                    <a:pt x="-1032" y="26274"/>
                    <a:pt x="219" y="21270"/>
                    <a:pt x="4597" y="19394"/>
                  </a:cubicBezTo>
                  <a:cubicBezTo>
                    <a:pt x="17731" y="12514"/>
                    <a:pt x="32117" y="6259"/>
                    <a:pt x="45877" y="630"/>
                  </a:cubicBezTo>
                  <a:cubicBezTo>
                    <a:pt x="50255" y="-1246"/>
                    <a:pt x="55258" y="1256"/>
                    <a:pt x="56509" y="5634"/>
                  </a:cubicBezTo>
                  <a:cubicBezTo>
                    <a:pt x="58386" y="10012"/>
                    <a:pt x="55884" y="15016"/>
                    <a:pt x="51506" y="16267"/>
                  </a:cubicBezTo>
                  <a:cubicBezTo>
                    <a:pt x="37746" y="21270"/>
                    <a:pt x="24611" y="27525"/>
                    <a:pt x="12102" y="34405"/>
                  </a:cubicBezTo>
                  <a:cubicBezTo>
                    <a:pt x="10852" y="35030"/>
                    <a:pt x="9601" y="35030"/>
                    <a:pt x="8350" y="35030"/>
                  </a:cubicBezTo>
                  <a:lnTo>
                    <a:pt x="8350" y="3503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50" name="Forma Livre: Forma 249">
              <a:extLst>
                <a:ext uri="{FF2B5EF4-FFF2-40B4-BE49-F238E27FC236}">
                  <a16:creationId xmlns:a16="http://schemas.microsoft.com/office/drawing/2014/main" id="{D2F808A6-0126-4055-8B46-32C65D147CFF}"/>
                </a:ext>
              </a:extLst>
            </p:cNvPr>
            <p:cNvSpPr/>
            <p:nvPr/>
          </p:nvSpPr>
          <p:spPr>
            <a:xfrm>
              <a:off x="1379677" y="1603665"/>
              <a:ext cx="175021" cy="316373"/>
            </a:xfrm>
            <a:custGeom>
              <a:avLst/>
              <a:gdLst>
                <a:gd name="connsiteX0" fmla="*/ 165640 w 175021"/>
                <a:gd name="connsiteY0" fmla="*/ 316373 h 316373"/>
                <a:gd name="connsiteX1" fmla="*/ 165640 w 175021"/>
                <a:gd name="connsiteY1" fmla="*/ 316373 h 316373"/>
                <a:gd name="connsiteX2" fmla="*/ 157509 w 175021"/>
                <a:gd name="connsiteY2" fmla="*/ 308243 h 316373"/>
                <a:gd name="connsiteX3" fmla="*/ 3649 w 175021"/>
                <a:gd name="connsiteY3" fmla="*/ 15532 h 316373"/>
                <a:gd name="connsiteX4" fmla="*/ 1772 w 175021"/>
                <a:gd name="connsiteY4" fmla="*/ 3649 h 316373"/>
                <a:gd name="connsiteX5" fmla="*/ 13656 w 175021"/>
                <a:gd name="connsiteY5" fmla="*/ 1772 h 316373"/>
                <a:gd name="connsiteX6" fmla="*/ 175022 w 175021"/>
                <a:gd name="connsiteY6" fmla="*/ 308243 h 316373"/>
                <a:gd name="connsiteX7" fmla="*/ 165640 w 175021"/>
                <a:gd name="connsiteY7" fmla="*/ 316373 h 316373"/>
                <a:gd name="connsiteX8" fmla="*/ 165640 w 175021"/>
                <a:gd name="connsiteY8" fmla="*/ 316373 h 316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5021" h="316373">
                  <a:moveTo>
                    <a:pt x="165640" y="316373"/>
                  </a:moveTo>
                  <a:cubicBezTo>
                    <a:pt x="165640" y="316373"/>
                    <a:pt x="165640" y="316373"/>
                    <a:pt x="165640" y="316373"/>
                  </a:cubicBezTo>
                  <a:cubicBezTo>
                    <a:pt x="161262" y="316373"/>
                    <a:pt x="157509" y="312621"/>
                    <a:pt x="157509" y="308243"/>
                  </a:cubicBezTo>
                  <a:cubicBezTo>
                    <a:pt x="158135" y="191284"/>
                    <a:pt x="100593" y="81830"/>
                    <a:pt x="3649" y="15532"/>
                  </a:cubicBezTo>
                  <a:cubicBezTo>
                    <a:pt x="-104" y="13031"/>
                    <a:pt x="-1355" y="8027"/>
                    <a:pt x="1772" y="3649"/>
                  </a:cubicBezTo>
                  <a:cubicBezTo>
                    <a:pt x="4274" y="-104"/>
                    <a:pt x="9903" y="-1355"/>
                    <a:pt x="13656" y="1772"/>
                  </a:cubicBezTo>
                  <a:cubicBezTo>
                    <a:pt x="114979" y="71197"/>
                    <a:pt x="175022" y="185654"/>
                    <a:pt x="175022" y="308243"/>
                  </a:cubicBezTo>
                  <a:cubicBezTo>
                    <a:pt x="174396" y="312621"/>
                    <a:pt x="170644" y="316373"/>
                    <a:pt x="165640" y="316373"/>
                  </a:cubicBezTo>
                  <a:lnTo>
                    <a:pt x="165640" y="316373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51" name="Forma Livre: Forma 250">
              <a:extLst>
                <a:ext uri="{FF2B5EF4-FFF2-40B4-BE49-F238E27FC236}">
                  <a16:creationId xmlns:a16="http://schemas.microsoft.com/office/drawing/2014/main" id="{9B51FA21-5CFB-48E0-A156-84A44BD82E6C}"/>
                </a:ext>
              </a:extLst>
            </p:cNvPr>
            <p:cNvSpPr/>
            <p:nvPr/>
          </p:nvSpPr>
          <p:spPr>
            <a:xfrm>
              <a:off x="1429984" y="1567035"/>
              <a:ext cx="104125" cy="99071"/>
            </a:xfrm>
            <a:custGeom>
              <a:avLst/>
              <a:gdLst>
                <a:gd name="connsiteX0" fmla="*/ 94693 w 104125"/>
                <a:gd name="connsiteY0" fmla="*/ 99071 h 99071"/>
                <a:gd name="connsiteX1" fmla="*/ 90315 w 104125"/>
                <a:gd name="connsiteY1" fmla="*/ 97820 h 99071"/>
                <a:gd name="connsiteX2" fmla="*/ 1501 w 104125"/>
                <a:gd name="connsiteY2" fmla="*/ 13385 h 99071"/>
                <a:gd name="connsiteX3" fmla="*/ 3377 w 104125"/>
                <a:gd name="connsiteY3" fmla="*/ 1501 h 99071"/>
                <a:gd name="connsiteX4" fmla="*/ 15261 w 104125"/>
                <a:gd name="connsiteY4" fmla="*/ 3377 h 99071"/>
                <a:gd name="connsiteX5" fmla="*/ 100322 w 104125"/>
                <a:gd name="connsiteY5" fmla="*/ 84060 h 99071"/>
                <a:gd name="connsiteX6" fmla="*/ 102824 w 104125"/>
                <a:gd name="connsiteY6" fmla="*/ 95319 h 99071"/>
                <a:gd name="connsiteX7" fmla="*/ 94693 w 104125"/>
                <a:gd name="connsiteY7" fmla="*/ 99071 h 99071"/>
                <a:gd name="connsiteX8" fmla="*/ 94693 w 104125"/>
                <a:gd name="connsiteY8" fmla="*/ 99071 h 99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4125" h="99071">
                  <a:moveTo>
                    <a:pt x="94693" y="99071"/>
                  </a:moveTo>
                  <a:cubicBezTo>
                    <a:pt x="92817" y="99071"/>
                    <a:pt x="91566" y="98446"/>
                    <a:pt x="90315" y="97820"/>
                  </a:cubicBezTo>
                  <a:cubicBezTo>
                    <a:pt x="55915" y="74679"/>
                    <a:pt x="25894" y="46533"/>
                    <a:pt x="1501" y="13385"/>
                  </a:cubicBezTo>
                  <a:cubicBezTo>
                    <a:pt x="-1001" y="9632"/>
                    <a:pt x="-375" y="4628"/>
                    <a:pt x="3377" y="1501"/>
                  </a:cubicBezTo>
                  <a:cubicBezTo>
                    <a:pt x="7130" y="-1001"/>
                    <a:pt x="12134" y="-375"/>
                    <a:pt x="15261" y="3377"/>
                  </a:cubicBezTo>
                  <a:cubicBezTo>
                    <a:pt x="39028" y="34650"/>
                    <a:pt x="67799" y="62170"/>
                    <a:pt x="100322" y="84060"/>
                  </a:cubicBezTo>
                  <a:cubicBezTo>
                    <a:pt x="104075" y="86562"/>
                    <a:pt x="105326" y="91566"/>
                    <a:pt x="102824" y="95319"/>
                  </a:cubicBezTo>
                  <a:cubicBezTo>
                    <a:pt x="99697" y="97820"/>
                    <a:pt x="97195" y="99071"/>
                    <a:pt x="94693" y="99071"/>
                  </a:cubicBezTo>
                  <a:lnTo>
                    <a:pt x="94693" y="99071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52" name="Forma Livre: Forma 251">
              <a:extLst>
                <a:ext uri="{FF2B5EF4-FFF2-40B4-BE49-F238E27FC236}">
                  <a16:creationId xmlns:a16="http://schemas.microsoft.com/office/drawing/2014/main" id="{78B6C9C9-D683-49ED-9BB1-A44F27BC3692}"/>
                </a:ext>
              </a:extLst>
            </p:cNvPr>
            <p:cNvSpPr/>
            <p:nvPr/>
          </p:nvSpPr>
          <p:spPr>
            <a:xfrm>
              <a:off x="1585872" y="1686021"/>
              <a:ext cx="95247" cy="37625"/>
            </a:xfrm>
            <a:custGeom>
              <a:avLst/>
              <a:gdLst>
                <a:gd name="connsiteX0" fmla="*/ 87037 w 95247"/>
                <a:gd name="connsiteY0" fmla="*/ 37626 h 37625"/>
                <a:gd name="connsiteX1" fmla="*/ 85786 w 95247"/>
                <a:gd name="connsiteY1" fmla="*/ 37626 h 37625"/>
                <a:gd name="connsiteX2" fmla="*/ 5103 w 95247"/>
                <a:gd name="connsiteY2" fmla="*/ 15735 h 37625"/>
                <a:gd name="connsiteX3" fmla="*/ 725 w 95247"/>
                <a:gd name="connsiteY3" fmla="*/ 5103 h 37625"/>
                <a:gd name="connsiteX4" fmla="*/ 11357 w 95247"/>
                <a:gd name="connsiteY4" fmla="*/ 725 h 37625"/>
                <a:gd name="connsiteX5" fmla="*/ 88287 w 95247"/>
                <a:gd name="connsiteY5" fmla="*/ 21364 h 37625"/>
                <a:gd name="connsiteX6" fmla="*/ 95167 w 95247"/>
                <a:gd name="connsiteY6" fmla="*/ 30746 h 37625"/>
                <a:gd name="connsiteX7" fmla="*/ 87037 w 95247"/>
                <a:gd name="connsiteY7" fmla="*/ 37626 h 37625"/>
                <a:gd name="connsiteX8" fmla="*/ 87037 w 95247"/>
                <a:gd name="connsiteY8" fmla="*/ 37626 h 3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5247" h="37625">
                  <a:moveTo>
                    <a:pt x="87037" y="37626"/>
                  </a:moveTo>
                  <a:cubicBezTo>
                    <a:pt x="86411" y="37626"/>
                    <a:pt x="86411" y="37626"/>
                    <a:pt x="85786" y="37626"/>
                  </a:cubicBezTo>
                  <a:cubicBezTo>
                    <a:pt x="58266" y="33248"/>
                    <a:pt x="31372" y="26368"/>
                    <a:pt x="5103" y="15735"/>
                  </a:cubicBezTo>
                  <a:cubicBezTo>
                    <a:pt x="725" y="13859"/>
                    <a:pt x="-1152" y="9481"/>
                    <a:pt x="725" y="5103"/>
                  </a:cubicBezTo>
                  <a:cubicBezTo>
                    <a:pt x="2601" y="725"/>
                    <a:pt x="7604" y="-1152"/>
                    <a:pt x="11357" y="725"/>
                  </a:cubicBezTo>
                  <a:cubicBezTo>
                    <a:pt x="36375" y="10732"/>
                    <a:pt x="62019" y="17612"/>
                    <a:pt x="88287" y="21364"/>
                  </a:cubicBezTo>
                  <a:cubicBezTo>
                    <a:pt x="92666" y="21990"/>
                    <a:pt x="95793" y="26368"/>
                    <a:pt x="95167" y="30746"/>
                  </a:cubicBezTo>
                  <a:cubicBezTo>
                    <a:pt x="94542" y="34499"/>
                    <a:pt x="90789" y="37626"/>
                    <a:pt x="87037" y="37626"/>
                  </a:cubicBezTo>
                  <a:lnTo>
                    <a:pt x="87037" y="37626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53" name="Forma Livre: Forma 252">
              <a:extLst>
                <a:ext uri="{FF2B5EF4-FFF2-40B4-BE49-F238E27FC236}">
                  <a16:creationId xmlns:a16="http://schemas.microsoft.com/office/drawing/2014/main" id="{580C4356-4F1B-4A37-84EB-206E8D49C3CE}"/>
                </a:ext>
              </a:extLst>
            </p:cNvPr>
            <p:cNvSpPr/>
            <p:nvPr/>
          </p:nvSpPr>
          <p:spPr>
            <a:xfrm>
              <a:off x="1511542" y="1629830"/>
              <a:ext cx="94442" cy="93817"/>
            </a:xfrm>
            <a:custGeom>
              <a:avLst/>
              <a:gdLst>
                <a:gd name="connsiteX0" fmla="*/ 46909 w 94442"/>
                <a:gd name="connsiteY0" fmla="*/ 93817 h 93817"/>
                <a:gd name="connsiteX1" fmla="*/ 0 w 94442"/>
                <a:gd name="connsiteY1" fmla="*/ 46909 h 93817"/>
                <a:gd name="connsiteX2" fmla="*/ 46909 w 94442"/>
                <a:gd name="connsiteY2" fmla="*/ 0 h 93817"/>
                <a:gd name="connsiteX3" fmla="*/ 94443 w 94442"/>
                <a:gd name="connsiteY3" fmla="*/ 46909 h 93817"/>
                <a:gd name="connsiteX4" fmla="*/ 46909 w 94442"/>
                <a:gd name="connsiteY4" fmla="*/ 93817 h 93817"/>
                <a:gd name="connsiteX5" fmla="*/ 46909 w 94442"/>
                <a:gd name="connsiteY5" fmla="*/ 93817 h 93817"/>
                <a:gd name="connsiteX6" fmla="*/ 46909 w 94442"/>
                <a:gd name="connsiteY6" fmla="*/ 15636 h 93817"/>
                <a:gd name="connsiteX7" fmla="*/ 16262 w 94442"/>
                <a:gd name="connsiteY7" fmla="*/ 46283 h 93817"/>
                <a:gd name="connsiteX8" fmla="*/ 46909 w 94442"/>
                <a:gd name="connsiteY8" fmla="*/ 76930 h 93817"/>
                <a:gd name="connsiteX9" fmla="*/ 77556 w 94442"/>
                <a:gd name="connsiteY9" fmla="*/ 46283 h 93817"/>
                <a:gd name="connsiteX10" fmla="*/ 46909 w 94442"/>
                <a:gd name="connsiteY10" fmla="*/ 15636 h 93817"/>
                <a:gd name="connsiteX11" fmla="*/ 46909 w 94442"/>
                <a:gd name="connsiteY11" fmla="*/ 15636 h 93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4442" h="93817">
                  <a:moveTo>
                    <a:pt x="46909" y="93817"/>
                  </a:moveTo>
                  <a:cubicBezTo>
                    <a:pt x="20640" y="93817"/>
                    <a:pt x="0" y="72552"/>
                    <a:pt x="0" y="46909"/>
                  </a:cubicBezTo>
                  <a:cubicBezTo>
                    <a:pt x="0" y="21265"/>
                    <a:pt x="21265" y="0"/>
                    <a:pt x="46909" y="0"/>
                  </a:cubicBezTo>
                  <a:cubicBezTo>
                    <a:pt x="72552" y="0"/>
                    <a:pt x="94443" y="21265"/>
                    <a:pt x="94443" y="46909"/>
                  </a:cubicBezTo>
                  <a:cubicBezTo>
                    <a:pt x="94443" y="72552"/>
                    <a:pt x="73178" y="93817"/>
                    <a:pt x="46909" y="93817"/>
                  </a:cubicBezTo>
                  <a:lnTo>
                    <a:pt x="46909" y="93817"/>
                  </a:lnTo>
                  <a:close/>
                  <a:moveTo>
                    <a:pt x="46909" y="15636"/>
                  </a:moveTo>
                  <a:cubicBezTo>
                    <a:pt x="30022" y="15636"/>
                    <a:pt x="16262" y="29396"/>
                    <a:pt x="16262" y="46283"/>
                  </a:cubicBezTo>
                  <a:cubicBezTo>
                    <a:pt x="16262" y="63170"/>
                    <a:pt x="30022" y="76930"/>
                    <a:pt x="46909" y="76930"/>
                  </a:cubicBezTo>
                  <a:cubicBezTo>
                    <a:pt x="63796" y="76930"/>
                    <a:pt x="77556" y="63170"/>
                    <a:pt x="77556" y="46283"/>
                  </a:cubicBezTo>
                  <a:cubicBezTo>
                    <a:pt x="77556" y="29396"/>
                    <a:pt x="63796" y="15636"/>
                    <a:pt x="46909" y="15636"/>
                  </a:cubicBezTo>
                  <a:lnTo>
                    <a:pt x="46909" y="15636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54" name="Forma Livre: Forma 253">
              <a:extLst>
                <a:ext uri="{FF2B5EF4-FFF2-40B4-BE49-F238E27FC236}">
                  <a16:creationId xmlns:a16="http://schemas.microsoft.com/office/drawing/2014/main" id="{F51EF41F-0EF1-414D-BB08-A59B171D9679}"/>
                </a:ext>
              </a:extLst>
            </p:cNvPr>
            <p:cNvSpPr/>
            <p:nvPr/>
          </p:nvSpPr>
          <p:spPr>
            <a:xfrm>
              <a:off x="1611614" y="1767429"/>
              <a:ext cx="94442" cy="93817"/>
            </a:xfrm>
            <a:custGeom>
              <a:avLst/>
              <a:gdLst>
                <a:gd name="connsiteX0" fmla="*/ 46909 w 94442"/>
                <a:gd name="connsiteY0" fmla="*/ 93817 h 93817"/>
                <a:gd name="connsiteX1" fmla="*/ 0 w 94442"/>
                <a:gd name="connsiteY1" fmla="*/ 46909 h 93817"/>
                <a:gd name="connsiteX2" fmla="*/ 46909 w 94442"/>
                <a:gd name="connsiteY2" fmla="*/ 0 h 93817"/>
                <a:gd name="connsiteX3" fmla="*/ 94443 w 94442"/>
                <a:gd name="connsiteY3" fmla="*/ 46909 h 93817"/>
                <a:gd name="connsiteX4" fmla="*/ 46909 w 94442"/>
                <a:gd name="connsiteY4" fmla="*/ 93817 h 93817"/>
                <a:gd name="connsiteX5" fmla="*/ 46909 w 94442"/>
                <a:gd name="connsiteY5" fmla="*/ 93817 h 93817"/>
                <a:gd name="connsiteX6" fmla="*/ 46909 w 94442"/>
                <a:gd name="connsiteY6" fmla="*/ 15636 h 93817"/>
                <a:gd name="connsiteX7" fmla="*/ 16262 w 94442"/>
                <a:gd name="connsiteY7" fmla="*/ 46283 h 93817"/>
                <a:gd name="connsiteX8" fmla="*/ 46909 w 94442"/>
                <a:gd name="connsiteY8" fmla="*/ 76930 h 93817"/>
                <a:gd name="connsiteX9" fmla="*/ 77556 w 94442"/>
                <a:gd name="connsiteY9" fmla="*/ 46283 h 93817"/>
                <a:gd name="connsiteX10" fmla="*/ 46909 w 94442"/>
                <a:gd name="connsiteY10" fmla="*/ 15636 h 93817"/>
                <a:gd name="connsiteX11" fmla="*/ 46909 w 94442"/>
                <a:gd name="connsiteY11" fmla="*/ 15636 h 93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4442" h="93817">
                  <a:moveTo>
                    <a:pt x="46909" y="93817"/>
                  </a:moveTo>
                  <a:cubicBezTo>
                    <a:pt x="20640" y="93817"/>
                    <a:pt x="0" y="72552"/>
                    <a:pt x="0" y="46909"/>
                  </a:cubicBezTo>
                  <a:cubicBezTo>
                    <a:pt x="0" y="21265"/>
                    <a:pt x="21265" y="0"/>
                    <a:pt x="46909" y="0"/>
                  </a:cubicBezTo>
                  <a:cubicBezTo>
                    <a:pt x="72552" y="0"/>
                    <a:pt x="94443" y="21265"/>
                    <a:pt x="94443" y="46909"/>
                  </a:cubicBezTo>
                  <a:cubicBezTo>
                    <a:pt x="94443" y="72552"/>
                    <a:pt x="73178" y="93817"/>
                    <a:pt x="46909" y="93817"/>
                  </a:cubicBezTo>
                  <a:lnTo>
                    <a:pt x="46909" y="93817"/>
                  </a:lnTo>
                  <a:close/>
                  <a:moveTo>
                    <a:pt x="46909" y="15636"/>
                  </a:moveTo>
                  <a:cubicBezTo>
                    <a:pt x="30022" y="15636"/>
                    <a:pt x="16262" y="29396"/>
                    <a:pt x="16262" y="46283"/>
                  </a:cubicBezTo>
                  <a:cubicBezTo>
                    <a:pt x="16262" y="63170"/>
                    <a:pt x="30022" y="76930"/>
                    <a:pt x="46909" y="76930"/>
                  </a:cubicBezTo>
                  <a:cubicBezTo>
                    <a:pt x="63796" y="76930"/>
                    <a:pt x="77556" y="63170"/>
                    <a:pt x="77556" y="46283"/>
                  </a:cubicBezTo>
                  <a:cubicBezTo>
                    <a:pt x="77556" y="29396"/>
                    <a:pt x="63796" y="15636"/>
                    <a:pt x="46909" y="15636"/>
                  </a:cubicBezTo>
                  <a:lnTo>
                    <a:pt x="46909" y="15636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55" name="Forma Livre: Forma 254">
              <a:extLst>
                <a:ext uri="{FF2B5EF4-FFF2-40B4-BE49-F238E27FC236}">
                  <a16:creationId xmlns:a16="http://schemas.microsoft.com/office/drawing/2014/main" id="{F73197E1-5A4D-47B8-8171-B1032F740D9D}"/>
                </a:ext>
              </a:extLst>
            </p:cNvPr>
            <p:cNvSpPr/>
            <p:nvPr/>
          </p:nvSpPr>
          <p:spPr>
            <a:xfrm>
              <a:off x="1295763" y="1551023"/>
              <a:ext cx="395283" cy="395283"/>
            </a:xfrm>
            <a:custGeom>
              <a:avLst/>
              <a:gdLst>
                <a:gd name="connsiteX0" fmla="*/ 197642 w 395283"/>
                <a:gd name="connsiteY0" fmla="*/ 395284 h 395283"/>
                <a:gd name="connsiteX1" fmla="*/ 0 w 395283"/>
                <a:gd name="connsiteY1" fmla="*/ 197642 h 395283"/>
                <a:gd name="connsiteX2" fmla="*/ 197642 w 395283"/>
                <a:gd name="connsiteY2" fmla="*/ 0 h 395283"/>
                <a:gd name="connsiteX3" fmla="*/ 395284 w 395283"/>
                <a:gd name="connsiteY3" fmla="*/ 197642 h 395283"/>
                <a:gd name="connsiteX4" fmla="*/ 392782 w 395283"/>
                <a:gd name="connsiteY4" fmla="*/ 228914 h 395283"/>
                <a:gd name="connsiteX5" fmla="*/ 359633 w 395283"/>
                <a:gd name="connsiteY5" fmla="*/ 223911 h 395283"/>
                <a:gd name="connsiteX6" fmla="*/ 362135 w 395283"/>
                <a:gd name="connsiteY6" fmla="*/ 197642 h 395283"/>
                <a:gd name="connsiteX7" fmla="*/ 197642 w 395283"/>
                <a:gd name="connsiteY7" fmla="*/ 33149 h 395283"/>
                <a:gd name="connsiteX8" fmla="*/ 33149 w 395283"/>
                <a:gd name="connsiteY8" fmla="*/ 197642 h 395283"/>
                <a:gd name="connsiteX9" fmla="*/ 197642 w 395283"/>
                <a:gd name="connsiteY9" fmla="*/ 362135 h 395283"/>
                <a:gd name="connsiteX10" fmla="*/ 333990 w 395283"/>
                <a:gd name="connsiteY10" fmla="*/ 289583 h 395283"/>
                <a:gd name="connsiteX11" fmla="*/ 361510 w 395283"/>
                <a:gd name="connsiteY11" fmla="*/ 308347 h 395283"/>
                <a:gd name="connsiteX12" fmla="*/ 197642 w 395283"/>
                <a:gd name="connsiteY12" fmla="*/ 395284 h 395283"/>
                <a:gd name="connsiteX13" fmla="*/ 197642 w 395283"/>
                <a:gd name="connsiteY13" fmla="*/ 395284 h 395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95283" h="395283">
                  <a:moveTo>
                    <a:pt x="197642" y="395284"/>
                  </a:moveTo>
                  <a:cubicBezTo>
                    <a:pt x="88814" y="395284"/>
                    <a:pt x="0" y="306470"/>
                    <a:pt x="0" y="197642"/>
                  </a:cubicBezTo>
                  <a:cubicBezTo>
                    <a:pt x="0" y="88814"/>
                    <a:pt x="88814" y="0"/>
                    <a:pt x="197642" y="0"/>
                  </a:cubicBezTo>
                  <a:cubicBezTo>
                    <a:pt x="306470" y="0"/>
                    <a:pt x="395284" y="88814"/>
                    <a:pt x="395284" y="197642"/>
                  </a:cubicBezTo>
                  <a:cubicBezTo>
                    <a:pt x="395284" y="207649"/>
                    <a:pt x="394658" y="217656"/>
                    <a:pt x="392782" y="228914"/>
                  </a:cubicBezTo>
                  <a:lnTo>
                    <a:pt x="359633" y="223911"/>
                  </a:lnTo>
                  <a:cubicBezTo>
                    <a:pt x="360884" y="214529"/>
                    <a:pt x="362135" y="205773"/>
                    <a:pt x="362135" y="197642"/>
                  </a:cubicBezTo>
                  <a:cubicBezTo>
                    <a:pt x="362135" y="106952"/>
                    <a:pt x="288332" y="33149"/>
                    <a:pt x="197642" y="33149"/>
                  </a:cubicBezTo>
                  <a:cubicBezTo>
                    <a:pt x="106952" y="33149"/>
                    <a:pt x="33149" y="106952"/>
                    <a:pt x="33149" y="197642"/>
                  </a:cubicBezTo>
                  <a:cubicBezTo>
                    <a:pt x="33149" y="288332"/>
                    <a:pt x="106952" y="362135"/>
                    <a:pt x="197642" y="362135"/>
                  </a:cubicBezTo>
                  <a:cubicBezTo>
                    <a:pt x="252682" y="362135"/>
                    <a:pt x="303343" y="334615"/>
                    <a:pt x="333990" y="289583"/>
                  </a:cubicBezTo>
                  <a:lnTo>
                    <a:pt x="361510" y="308347"/>
                  </a:lnTo>
                  <a:cubicBezTo>
                    <a:pt x="325234" y="362761"/>
                    <a:pt x="263940" y="395284"/>
                    <a:pt x="197642" y="395284"/>
                  </a:cubicBezTo>
                  <a:lnTo>
                    <a:pt x="197642" y="395284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56" name="Forma Livre: Forma 255">
              <a:extLst>
                <a:ext uri="{FF2B5EF4-FFF2-40B4-BE49-F238E27FC236}">
                  <a16:creationId xmlns:a16="http://schemas.microsoft.com/office/drawing/2014/main" id="{54AA3C83-CE7C-4163-8F98-A1012F3188EA}"/>
                </a:ext>
              </a:extLst>
            </p:cNvPr>
            <p:cNvSpPr/>
            <p:nvPr/>
          </p:nvSpPr>
          <p:spPr>
            <a:xfrm>
              <a:off x="1359558" y="1739909"/>
              <a:ext cx="94442" cy="93817"/>
            </a:xfrm>
            <a:custGeom>
              <a:avLst/>
              <a:gdLst>
                <a:gd name="connsiteX0" fmla="*/ 46909 w 94442"/>
                <a:gd name="connsiteY0" fmla="*/ 93817 h 93817"/>
                <a:gd name="connsiteX1" fmla="*/ 0 w 94442"/>
                <a:gd name="connsiteY1" fmla="*/ 46909 h 93817"/>
                <a:gd name="connsiteX2" fmla="*/ 46909 w 94442"/>
                <a:gd name="connsiteY2" fmla="*/ 0 h 93817"/>
                <a:gd name="connsiteX3" fmla="*/ 94443 w 94442"/>
                <a:gd name="connsiteY3" fmla="*/ 46909 h 93817"/>
                <a:gd name="connsiteX4" fmla="*/ 46909 w 94442"/>
                <a:gd name="connsiteY4" fmla="*/ 93817 h 93817"/>
                <a:gd name="connsiteX5" fmla="*/ 46909 w 94442"/>
                <a:gd name="connsiteY5" fmla="*/ 93817 h 93817"/>
                <a:gd name="connsiteX6" fmla="*/ 46909 w 94442"/>
                <a:gd name="connsiteY6" fmla="*/ 16262 h 93817"/>
                <a:gd name="connsiteX7" fmla="*/ 16262 w 94442"/>
                <a:gd name="connsiteY7" fmla="*/ 46909 h 93817"/>
                <a:gd name="connsiteX8" fmla="*/ 46909 w 94442"/>
                <a:gd name="connsiteY8" fmla="*/ 77556 h 93817"/>
                <a:gd name="connsiteX9" fmla="*/ 77556 w 94442"/>
                <a:gd name="connsiteY9" fmla="*/ 46909 h 93817"/>
                <a:gd name="connsiteX10" fmla="*/ 46909 w 94442"/>
                <a:gd name="connsiteY10" fmla="*/ 16262 h 93817"/>
                <a:gd name="connsiteX11" fmla="*/ 46909 w 94442"/>
                <a:gd name="connsiteY11" fmla="*/ 16262 h 93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4442" h="93817">
                  <a:moveTo>
                    <a:pt x="46909" y="93817"/>
                  </a:moveTo>
                  <a:cubicBezTo>
                    <a:pt x="20640" y="93817"/>
                    <a:pt x="0" y="72552"/>
                    <a:pt x="0" y="46909"/>
                  </a:cubicBezTo>
                  <a:cubicBezTo>
                    <a:pt x="0" y="20640"/>
                    <a:pt x="21265" y="0"/>
                    <a:pt x="46909" y="0"/>
                  </a:cubicBezTo>
                  <a:cubicBezTo>
                    <a:pt x="72552" y="0"/>
                    <a:pt x="94443" y="21265"/>
                    <a:pt x="94443" y="46909"/>
                  </a:cubicBezTo>
                  <a:cubicBezTo>
                    <a:pt x="94443" y="72552"/>
                    <a:pt x="73178" y="93817"/>
                    <a:pt x="46909" y="93817"/>
                  </a:cubicBezTo>
                  <a:lnTo>
                    <a:pt x="46909" y="93817"/>
                  </a:lnTo>
                  <a:close/>
                  <a:moveTo>
                    <a:pt x="46909" y="16262"/>
                  </a:moveTo>
                  <a:cubicBezTo>
                    <a:pt x="30022" y="16262"/>
                    <a:pt x="16262" y="30022"/>
                    <a:pt x="16262" y="46909"/>
                  </a:cubicBezTo>
                  <a:cubicBezTo>
                    <a:pt x="16262" y="63796"/>
                    <a:pt x="30022" y="77556"/>
                    <a:pt x="46909" y="77556"/>
                  </a:cubicBezTo>
                  <a:cubicBezTo>
                    <a:pt x="63796" y="77556"/>
                    <a:pt x="77556" y="63796"/>
                    <a:pt x="77556" y="46909"/>
                  </a:cubicBezTo>
                  <a:cubicBezTo>
                    <a:pt x="77556" y="30022"/>
                    <a:pt x="63796" y="16262"/>
                    <a:pt x="46909" y="16262"/>
                  </a:cubicBezTo>
                  <a:lnTo>
                    <a:pt x="46909" y="16262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57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2343843" y="1542267"/>
            <a:ext cx="394042" cy="413422"/>
            <a:chOff x="2331506" y="1542267"/>
            <a:chExt cx="394042" cy="413422"/>
          </a:xfrm>
          <a:solidFill>
            <a:srgbClr val="B1B1A1"/>
          </a:solidFill>
        </p:grpSpPr>
        <p:sp>
          <p:nvSpPr>
            <p:cNvPr id="258" name="Forma Livre: Forma 257">
              <a:extLst>
                <a:ext uri="{FF2B5EF4-FFF2-40B4-BE49-F238E27FC236}">
                  <a16:creationId xmlns:a16="http://schemas.microsoft.com/office/drawing/2014/main" id="{5A681EE0-A1C6-435B-99C8-C2F37B072F8E}"/>
                </a:ext>
              </a:extLst>
            </p:cNvPr>
            <p:cNvSpPr/>
            <p:nvPr/>
          </p:nvSpPr>
          <p:spPr>
            <a:xfrm>
              <a:off x="2331506" y="1684244"/>
              <a:ext cx="128842" cy="128842"/>
            </a:xfrm>
            <a:custGeom>
              <a:avLst/>
              <a:gdLst>
                <a:gd name="connsiteX0" fmla="*/ 64421 w 128842"/>
                <a:gd name="connsiteY0" fmla="*/ 128842 h 128842"/>
                <a:gd name="connsiteX1" fmla="*/ 0 w 128842"/>
                <a:gd name="connsiteY1" fmla="*/ 64421 h 128842"/>
                <a:gd name="connsiteX2" fmla="*/ 64421 w 128842"/>
                <a:gd name="connsiteY2" fmla="*/ 0 h 128842"/>
                <a:gd name="connsiteX3" fmla="*/ 128842 w 128842"/>
                <a:gd name="connsiteY3" fmla="*/ 64421 h 128842"/>
                <a:gd name="connsiteX4" fmla="*/ 64421 w 128842"/>
                <a:gd name="connsiteY4" fmla="*/ 128842 h 128842"/>
                <a:gd name="connsiteX5" fmla="*/ 64421 w 128842"/>
                <a:gd name="connsiteY5" fmla="*/ 128842 h 128842"/>
                <a:gd name="connsiteX6" fmla="*/ 64421 w 128842"/>
                <a:gd name="connsiteY6" fmla="*/ 33149 h 128842"/>
                <a:gd name="connsiteX7" fmla="*/ 33149 w 128842"/>
                <a:gd name="connsiteY7" fmla="*/ 64421 h 128842"/>
                <a:gd name="connsiteX8" fmla="*/ 64421 w 128842"/>
                <a:gd name="connsiteY8" fmla="*/ 95694 h 128842"/>
                <a:gd name="connsiteX9" fmla="*/ 95694 w 128842"/>
                <a:gd name="connsiteY9" fmla="*/ 64421 h 128842"/>
                <a:gd name="connsiteX10" fmla="*/ 64421 w 128842"/>
                <a:gd name="connsiteY10" fmla="*/ 33149 h 128842"/>
                <a:gd name="connsiteX11" fmla="*/ 64421 w 128842"/>
                <a:gd name="connsiteY11" fmla="*/ 33149 h 128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8842" h="128842">
                  <a:moveTo>
                    <a:pt x="64421" y="128842"/>
                  </a:moveTo>
                  <a:cubicBezTo>
                    <a:pt x="28771" y="128842"/>
                    <a:pt x="0" y="100072"/>
                    <a:pt x="0" y="64421"/>
                  </a:cubicBezTo>
                  <a:cubicBezTo>
                    <a:pt x="0" y="28771"/>
                    <a:pt x="28771" y="0"/>
                    <a:pt x="64421" y="0"/>
                  </a:cubicBezTo>
                  <a:cubicBezTo>
                    <a:pt x="100072" y="0"/>
                    <a:pt x="128842" y="28771"/>
                    <a:pt x="128842" y="64421"/>
                  </a:cubicBezTo>
                  <a:cubicBezTo>
                    <a:pt x="128842" y="100072"/>
                    <a:pt x="100072" y="128842"/>
                    <a:pt x="64421" y="128842"/>
                  </a:cubicBezTo>
                  <a:lnTo>
                    <a:pt x="64421" y="128842"/>
                  </a:lnTo>
                  <a:close/>
                  <a:moveTo>
                    <a:pt x="64421" y="33149"/>
                  </a:moveTo>
                  <a:cubicBezTo>
                    <a:pt x="46909" y="33149"/>
                    <a:pt x="33149" y="46909"/>
                    <a:pt x="33149" y="64421"/>
                  </a:cubicBezTo>
                  <a:cubicBezTo>
                    <a:pt x="33149" y="81934"/>
                    <a:pt x="46909" y="95694"/>
                    <a:pt x="64421" y="95694"/>
                  </a:cubicBezTo>
                  <a:cubicBezTo>
                    <a:pt x="81934" y="95694"/>
                    <a:pt x="95694" y="81934"/>
                    <a:pt x="95694" y="64421"/>
                  </a:cubicBezTo>
                  <a:cubicBezTo>
                    <a:pt x="95694" y="46909"/>
                    <a:pt x="81934" y="33149"/>
                    <a:pt x="64421" y="33149"/>
                  </a:cubicBezTo>
                  <a:lnTo>
                    <a:pt x="64421" y="33149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259" name="Gráfico 2">
              <a:extLst>
                <a:ext uri="{FF2B5EF4-FFF2-40B4-BE49-F238E27FC236}">
                  <a16:creationId xmlns:a16="http://schemas.microsoft.com/office/drawing/2014/main" id="{A4E24395-F85F-4E15-8BC9-B92D577D4DAD}"/>
                </a:ext>
              </a:extLst>
            </p:cNvPr>
            <p:cNvGrpSpPr/>
            <p:nvPr/>
          </p:nvGrpSpPr>
          <p:grpSpPr>
            <a:xfrm>
              <a:off x="2596697" y="1542267"/>
              <a:ext cx="128852" cy="413422"/>
              <a:chOff x="2596697" y="1542267"/>
              <a:chExt cx="128852" cy="413422"/>
            </a:xfrm>
            <a:grpFill/>
          </p:grpSpPr>
          <p:sp>
            <p:nvSpPr>
              <p:cNvPr id="260" name="Forma Livre: Forma 259">
                <a:extLst>
                  <a:ext uri="{FF2B5EF4-FFF2-40B4-BE49-F238E27FC236}">
                    <a16:creationId xmlns:a16="http://schemas.microsoft.com/office/drawing/2014/main" id="{88E4A86E-D7BB-421D-B208-C6E48FB1F714}"/>
                  </a:ext>
                </a:extLst>
              </p:cNvPr>
              <p:cNvSpPr/>
              <p:nvPr/>
            </p:nvSpPr>
            <p:spPr>
              <a:xfrm>
                <a:off x="2596697" y="1542267"/>
                <a:ext cx="128842" cy="128842"/>
              </a:xfrm>
              <a:custGeom>
                <a:avLst/>
                <a:gdLst>
                  <a:gd name="connsiteX0" fmla="*/ 64421 w 128842"/>
                  <a:gd name="connsiteY0" fmla="*/ 128843 h 128842"/>
                  <a:gd name="connsiteX1" fmla="*/ 0 w 128842"/>
                  <a:gd name="connsiteY1" fmla="*/ 64421 h 128842"/>
                  <a:gd name="connsiteX2" fmla="*/ 64421 w 128842"/>
                  <a:gd name="connsiteY2" fmla="*/ 0 h 128842"/>
                  <a:gd name="connsiteX3" fmla="*/ 128843 w 128842"/>
                  <a:gd name="connsiteY3" fmla="*/ 64421 h 128842"/>
                  <a:gd name="connsiteX4" fmla="*/ 64421 w 128842"/>
                  <a:gd name="connsiteY4" fmla="*/ 128843 h 128842"/>
                  <a:gd name="connsiteX5" fmla="*/ 64421 w 128842"/>
                  <a:gd name="connsiteY5" fmla="*/ 128843 h 128842"/>
                  <a:gd name="connsiteX6" fmla="*/ 64421 w 128842"/>
                  <a:gd name="connsiteY6" fmla="*/ 33149 h 128842"/>
                  <a:gd name="connsiteX7" fmla="*/ 33149 w 128842"/>
                  <a:gd name="connsiteY7" fmla="*/ 64421 h 128842"/>
                  <a:gd name="connsiteX8" fmla="*/ 64421 w 128842"/>
                  <a:gd name="connsiteY8" fmla="*/ 95694 h 128842"/>
                  <a:gd name="connsiteX9" fmla="*/ 95694 w 128842"/>
                  <a:gd name="connsiteY9" fmla="*/ 64421 h 128842"/>
                  <a:gd name="connsiteX10" fmla="*/ 64421 w 128842"/>
                  <a:gd name="connsiteY10" fmla="*/ 33149 h 128842"/>
                  <a:gd name="connsiteX11" fmla="*/ 64421 w 128842"/>
                  <a:gd name="connsiteY11" fmla="*/ 33149 h 128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8842" h="128842">
                    <a:moveTo>
                      <a:pt x="64421" y="128843"/>
                    </a:moveTo>
                    <a:cubicBezTo>
                      <a:pt x="28771" y="128843"/>
                      <a:pt x="0" y="100072"/>
                      <a:pt x="0" y="64421"/>
                    </a:cubicBezTo>
                    <a:cubicBezTo>
                      <a:pt x="0" y="28771"/>
                      <a:pt x="28771" y="0"/>
                      <a:pt x="64421" y="0"/>
                    </a:cubicBezTo>
                    <a:cubicBezTo>
                      <a:pt x="100072" y="0"/>
                      <a:pt x="128843" y="28771"/>
                      <a:pt x="128843" y="64421"/>
                    </a:cubicBezTo>
                    <a:cubicBezTo>
                      <a:pt x="128843" y="100072"/>
                      <a:pt x="100072" y="128843"/>
                      <a:pt x="64421" y="128843"/>
                    </a:cubicBezTo>
                    <a:lnTo>
                      <a:pt x="64421" y="128843"/>
                    </a:lnTo>
                    <a:close/>
                    <a:moveTo>
                      <a:pt x="64421" y="33149"/>
                    </a:moveTo>
                    <a:cubicBezTo>
                      <a:pt x="46909" y="33149"/>
                      <a:pt x="33149" y="46909"/>
                      <a:pt x="33149" y="64421"/>
                    </a:cubicBezTo>
                    <a:cubicBezTo>
                      <a:pt x="33149" y="81934"/>
                      <a:pt x="46909" y="95694"/>
                      <a:pt x="64421" y="95694"/>
                    </a:cubicBezTo>
                    <a:cubicBezTo>
                      <a:pt x="81934" y="95694"/>
                      <a:pt x="95694" y="81934"/>
                      <a:pt x="95694" y="64421"/>
                    </a:cubicBezTo>
                    <a:cubicBezTo>
                      <a:pt x="95694" y="46909"/>
                      <a:pt x="81934" y="33149"/>
                      <a:pt x="64421" y="33149"/>
                    </a:cubicBezTo>
                    <a:lnTo>
                      <a:pt x="64421" y="33149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61" name="Forma Livre: Forma 260">
                <a:extLst>
                  <a:ext uri="{FF2B5EF4-FFF2-40B4-BE49-F238E27FC236}">
                    <a16:creationId xmlns:a16="http://schemas.microsoft.com/office/drawing/2014/main" id="{45D3D945-F4E7-4EE3-8C9D-0778CE99C34C}"/>
                  </a:ext>
                </a:extLst>
              </p:cNvPr>
              <p:cNvSpPr/>
              <p:nvPr/>
            </p:nvSpPr>
            <p:spPr>
              <a:xfrm>
                <a:off x="2596697" y="1826846"/>
                <a:ext cx="128852" cy="128842"/>
              </a:xfrm>
              <a:custGeom>
                <a:avLst/>
                <a:gdLst>
                  <a:gd name="connsiteX0" fmla="*/ 64421 w 128852"/>
                  <a:gd name="connsiteY0" fmla="*/ 128843 h 128842"/>
                  <a:gd name="connsiteX1" fmla="*/ 0 w 128852"/>
                  <a:gd name="connsiteY1" fmla="*/ 64421 h 128842"/>
                  <a:gd name="connsiteX2" fmla="*/ 64421 w 128852"/>
                  <a:gd name="connsiteY2" fmla="*/ 0 h 128842"/>
                  <a:gd name="connsiteX3" fmla="*/ 128843 w 128852"/>
                  <a:gd name="connsiteY3" fmla="*/ 64421 h 128842"/>
                  <a:gd name="connsiteX4" fmla="*/ 64421 w 128852"/>
                  <a:gd name="connsiteY4" fmla="*/ 128843 h 128842"/>
                  <a:gd name="connsiteX5" fmla="*/ 64421 w 128852"/>
                  <a:gd name="connsiteY5" fmla="*/ 128843 h 128842"/>
                  <a:gd name="connsiteX6" fmla="*/ 64421 w 128852"/>
                  <a:gd name="connsiteY6" fmla="*/ 33149 h 128842"/>
                  <a:gd name="connsiteX7" fmla="*/ 33149 w 128852"/>
                  <a:gd name="connsiteY7" fmla="*/ 64421 h 128842"/>
                  <a:gd name="connsiteX8" fmla="*/ 64421 w 128852"/>
                  <a:gd name="connsiteY8" fmla="*/ 95694 h 128842"/>
                  <a:gd name="connsiteX9" fmla="*/ 95694 w 128852"/>
                  <a:gd name="connsiteY9" fmla="*/ 64421 h 128842"/>
                  <a:gd name="connsiteX10" fmla="*/ 64421 w 128852"/>
                  <a:gd name="connsiteY10" fmla="*/ 33149 h 128842"/>
                  <a:gd name="connsiteX11" fmla="*/ 64421 w 128852"/>
                  <a:gd name="connsiteY11" fmla="*/ 33149 h 128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8852" h="128842">
                    <a:moveTo>
                      <a:pt x="64421" y="128843"/>
                    </a:moveTo>
                    <a:cubicBezTo>
                      <a:pt x="28771" y="128843"/>
                      <a:pt x="0" y="100072"/>
                      <a:pt x="0" y="64421"/>
                    </a:cubicBezTo>
                    <a:cubicBezTo>
                      <a:pt x="0" y="28771"/>
                      <a:pt x="28771" y="0"/>
                      <a:pt x="64421" y="0"/>
                    </a:cubicBezTo>
                    <a:cubicBezTo>
                      <a:pt x="100072" y="0"/>
                      <a:pt x="128843" y="28771"/>
                      <a:pt x="128843" y="64421"/>
                    </a:cubicBezTo>
                    <a:cubicBezTo>
                      <a:pt x="129468" y="100072"/>
                      <a:pt x="100072" y="128843"/>
                      <a:pt x="64421" y="128843"/>
                    </a:cubicBezTo>
                    <a:lnTo>
                      <a:pt x="64421" y="128843"/>
                    </a:lnTo>
                    <a:close/>
                    <a:moveTo>
                      <a:pt x="64421" y="33149"/>
                    </a:moveTo>
                    <a:cubicBezTo>
                      <a:pt x="46909" y="33149"/>
                      <a:pt x="33149" y="46909"/>
                      <a:pt x="33149" y="64421"/>
                    </a:cubicBezTo>
                    <a:cubicBezTo>
                      <a:pt x="33149" y="81934"/>
                      <a:pt x="46909" y="95694"/>
                      <a:pt x="64421" y="95694"/>
                    </a:cubicBezTo>
                    <a:cubicBezTo>
                      <a:pt x="81934" y="95694"/>
                      <a:pt x="95694" y="81934"/>
                      <a:pt x="95694" y="64421"/>
                    </a:cubicBezTo>
                    <a:cubicBezTo>
                      <a:pt x="95694" y="46909"/>
                      <a:pt x="81934" y="33149"/>
                      <a:pt x="64421" y="33149"/>
                    </a:cubicBezTo>
                    <a:lnTo>
                      <a:pt x="64421" y="33149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262" name="Gráfico 2">
              <a:extLst>
                <a:ext uri="{FF2B5EF4-FFF2-40B4-BE49-F238E27FC236}">
                  <a16:creationId xmlns:a16="http://schemas.microsoft.com/office/drawing/2014/main" id="{A4E24395-F85F-4E15-8BC9-B92D577D4DAD}"/>
                </a:ext>
              </a:extLst>
            </p:cNvPr>
            <p:cNvGrpSpPr/>
            <p:nvPr/>
          </p:nvGrpSpPr>
          <p:grpSpPr>
            <a:xfrm>
              <a:off x="2425694" y="1615815"/>
              <a:ext cx="203156" cy="266696"/>
              <a:chOff x="2425694" y="1615815"/>
              <a:chExt cx="203156" cy="266696"/>
            </a:xfrm>
            <a:grpFill/>
          </p:grpSpPr>
          <p:sp>
            <p:nvSpPr>
              <p:cNvPr id="263" name="Forma Livre: Forma 262">
                <a:extLst>
                  <a:ext uri="{FF2B5EF4-FFF2-40B4-BE49-F238E27FC236}">
                    <a16:creationId xmlns:a16="http://schemas.microsoft.com/office/drawing/2014/main" id="{BA4ED0CD-AEF0-49D9-80B2-326363C71F9A}"/>
                  </a:ext>
                </a:extLst>
              </p:cNvPr>
              <p:cNvSpPr/>
              <p:nvPr/>
            </p:nvSpPr>
            <p:spPr>
              <a:xfrm>
                <a:off x="2425694" y="1750912"/>
                <a:ext cx="203156" cy="131599"/>
              </a:xfrm>
              <a:custGeom>
                <a:avLst/>
                <a:gdLst>
                  <a:gd name="connsiteX0" fmla="*/ 186639 w 203156"/>
                  <a:gd name="connsiteY0" fmla="*/ 131600 h 131599"/>
                  <a:gd name="connsiteX1" fmla="*/ 178508 w 203156"/>
                  <a:gd name="connsiteY1" fmla="*/ 129098 h 131599"/>
                  <a:gd name="connsiteX2" fmla="*/ 8386 w 203156"/>
                  <a:gd name="connsiteY2" fmla="*/ 30902 h 131599"/>
                  <a:gd name="connsiteX3" fmla="*/ 2132 w 203156"/>
                  <a:gd name="connsiteY3" fmla="*/ 8386 h 131599"/>
                  <a:gd name="connsiteX4" fmla="*/ 24648 w 203156"/>
                  <a:gd name="connsiteY4" fmla="*/ 2132 h 131599"/>
                  <a:gd name="connsiteX5" fmla="*/ 194770 w 203156"/>
                  <a:gd name="connsiteY5" fmla="*/ 100327 h 131599"/>
                  <a:gd name="connsiteX6" fmla="*/ 201025 w 203156"/>
                  <a:gd name="connsiteY6" fmla="*/ 122843 h 131599"/>
                  <a:gd name="connsiteX7" fmla="*/ 186639 w 203156"/>
                  <a:gd name="connsiteY7" fmla="*/ 131600 h 131599"/>
                  <a:gd name="connsiteX8" fmla="*/ 186639 w 203156"/>
                  <a:gd name="connsiteY8" fmla="*/ 131600 h 131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3156" h="131599">
                    <a:moveTo>
                      <a:pt x="186639" y="131600"/>
                    </a:moveTo>
                    <a:cubicBezTo>
                      <a:pt x="183512" y="131600"/>
                      <a:pt x="181010" y="130974"/>
                      <a:pt x="178508" y="129098"/>
                    </a:cubicBezTo>
                    <a:lnTo>
                      <a:pt x="8386" y="30902"/>
                    </a:lnTo>
                    <a:cubicBezTo>
                      <a:pt x="255" y="26524"/>
                      <a:pt x="-2246" y="15892"/>
                      <a:pt x="2132" y="8386"/>
                    </a:cubicBezTo>
                    <a:cubicBezTo>
                      <a:pt x="6510" y="255"/>
                      <a:pt x="17142" y="-2246"/>
                      <a:pt x="24648" y="2132"/>
                    </a:cubicBezTo>
                    <a:lnTo>
                      <a:pt x="194770" y="100327"/>
                    </a:lnTo>
                    <a:cubicBezTo>
                      <a:pt x="202901" y="104705"/>
                      <a:pt x="205403" y="115338"/>
                      <a:pt x="201025" y="122843"/>
                    </a:cubicBezTo>
                    <a:cubicBezTo>
                      <a:pt x="197897" y="128472"/>
                      <a:pt x="192268" y="131600"/>
                      <a:pt x="186639" y="131600"/>
                    </a:cubicBezTo>
                    <a:lnTo>
                      <a:pt x="186639" y="131600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64" name="Forma Livre: Forma 263">
                <a:extLst>
                  <a:ext uri="{FF2B5EF4-FFF2-40B4-BE49-F238E27FC236}">
                    <a16:creationId xmlns:a16="http://schemas.microsoft.com/office/drawing/2014/main" id="{9877EB6D-1886-4D03-9E2D-29ACE7C32DC4}"/>
                  </a:ext>
                </a:extLst>
              </p:cNvPr>
              <p:cNvSpPr/>
              <p:nvPr/>
            </p:nvSpPr>
            <p:spPr>
              <a:xfrm>
                <a:off x="2425694" y="1615815"/>
                <a:ext cx="203156" cy="130974"/>
              </a:xfrm>
              <a:custGeom>
                <a:avLst/>
                <a:gdLst>
                  <a:gd name="connsiteX0" fmla="*/ 16517 w 203156"/>
                  <a:gd name="connsiteY0" fmla="*/ 130974 h 130974"/>
                  <a:gd name="connsiteX1" fmla="*/ 2132 w 203156"/>
                  <a:gd name="connsiteY1" fmla="*/ 122843 h 130974"/>
                  <a:gd name="connsiteX2" fmla="*/ 8386 w 203156"/>
                  <a:gd name="connsiteY2" fmla="*/ 100327 h 130974"/>
                  <a:gd name="connsiteX3" fmla="*/ 178508 w 203156"/>
                  <a:gd name="connsiteY3" fmla="*/ 2132 h 130974"/>
                  <a:gd name="connsiteX4" fmla="*/ 201025 w 203156"/>
                  <a:gd name="connsiteY4" fmla="*/ 8386 h 130974"/>
                  <a:gd name="connsiteX5" fmla="*/ 194770 w 203156"/>
                  <a:gd name="connsiteY5" fmla="*/ 30902 h 130974"/>
                  <a:gd name="connsiteX6" fmla="*/ 24648 w 203156"/>
                  <a:gd name="connsiteY6" fmla="*/ 129098 h 130974"/>
                  <a:gd name="connsiteX7" fmla="*/ 16517 w 203156"/>
                  <a:gd name="connsiteY7" fmla="*/ 130974 h 130974"/>
                  <a:gd name="connsiteX8" fmla="*/ 16517 w 203156"/>
                  <a:gd name="connsiteY8" fmla="*/ 130974 h 130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3156" h="130974">
                    <a:moveTo>
                      <a:pt x="16517" y="130974"/>
                    </a:moveTo>
                    <a:cubicBezTo>
                      <a:pt x="10888" y="130974"/>
                      <a:pt x="5259" y="127847"/>
                      <a:pt x="2132" y="122843"/>
                    </a:cubicBezTo>
                    <a:cubicBezTo>
                      <a:pt x="-2246" y="114713"/>
                      <a:pt x="255" y="104705"/>
                      <a:pt x="8386" y="100327"/>
                    </a:cubicBezTo>
                    <a:lnTo>
                      <a:pt x="178508" y="2132"/>
                    </a:lnTo>
                    <a:cubicBezTo>
                      <a:pt x="186639" y="-2246"/>
                      <a:pt x="196646" y="255"/>
                      <a:pt x="201025" y="8386"/>
                    </a:cubicBezTo>
                    <a:cubicBezTo>
                      <a:pt x="205403" y="16517"/>
                      <a:pt x="202901" y="26524"/>
                      <a:pt x="194770" y="30902"/>
                    </a:cubicBezTo>
                    <a:lnTo>
                      <a:pt x="24648" y="129098"/>
                    </a:lnTo>
                    <a:cubicBezTo>
                      <a:pt x="22146" y="129723"/>
                      <a:pt x="19019" y="130974"/>
                      <a:pt x="16517" y="130974"/>
                    </a:cubicBezTo>
                    <a:lnTo>
                      <a:pt x="16517" y="130974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265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3350817" y="1548678"/>
            <a:ext cx="420301" cy="400131"/>
            <a:chOff x="3338480" y="1548678"/>
            <a:chExt cx="420301" cy="400131"/>
          </a:xfrm>
          <a:solidFill>
            <a:srgbClr val="B1B1A1"/>
          </a:solidFill>
        </p:grpSpPr>
        <p:sp>
          <p:nvSpPr>
            <p:cNvPr id="266" name="Forma Livre: Forma 265">
              <a:extLst>
                <a:ext uri="{FF2B5EF4-FFF2-40B4-BE49-F238E27FC236}">
                  <a16:creationId xmlns:a16="http://schemas.microsoft.com/office/drawing/2014/main" id="{F99247E8-650D-4250-AEF8-364B2E84CF4F}"/>
                </a:ext>
              </a:extLst>
            </p:cNvPr>
            <p:cNvSpPr/>
            <p:nvPr/>
          </p:nvSpPr>
          <p:spPr>
            <a:xfrm>
              <a:off x="3338480" y="1548678"/>
              <a:ext cx="420301" cy="250023"/>
            </a:xfrm>
            <a:custGeom>
              <a:avLst/>
              <a:gdLst>
                <a:gd name="connsiteX0" fmla="*/ 210776 w 420301"/>
                <a:gd name="connsiteY0" fmla="*/ 250023 h 250023"/>
                <a:gd name="connsiteX1" fmla="*/ 202646 w 420301"/>
                <a:gd name="connsiteY1" fmla="*/ 248147 h 250023"/>
                <a:gd name="connsiteX2" fmla="*/ 8756 w 420301"/>
                <a:gd name="connsiteY2" fmla="*/ 139319 h 250023"/>
                <a:gd name="connsiteX3" fmla="*/ 0 w 420301"/>
                <a:gd name="connsiteY3" fmla="*/ 124933 h 250023"/>
                <a:gd name="connsiteX4" fmla="*/ 8756 w 420301"/>
                <a:gd name="connsiteY4" fmla="*/ 110548 h 250023"/>
                <a:gd name="connsiteX5" fmla="*/ 201395 w 420301"/>
                <a:gd name="connsiteY5" fmla="*/ 2345 h 250023"/>
                <a:gd name="connsiteX6" fmla="*/ 217656 w 420301"/>
                <a:gd name="connsiteY6" fmla="*/ 2345 h 250023"/>
                <a:gd name="connsiteX7" fmla="*/ 411546 w 420301"/>
                <a:gd name="connsiteY7" fmla="*/ 111174 h 250023"/>
                <a:gd name="connsiteX8" fmla="*/ 420302 w 420301"/>
                <a:gd name="connsiteY8" fmla="*/ 125559 h 250023"/>
                <a:gd name="connsiteX9" fmla="*/ 411546 w 420301"/>
                <a:gd name="connsiteY9" fmla="*/ 139944 h 250023"/>
                <a:gd name="connsiteX10" fmla="*/ 218907 w 420301"/>
                <a:gd name="connsiteY10" fmla="*/ 248147 h 250023"/>
                <a:gd name="connsiteX11" fmla="*/ 210776 w 420301"/>
                <a:gd name="connsiteY11" fmla="*/ 250023 h 250023"/>
                <a:gd name="connsiteX12" fmla="*/ 210776 w 420301"/>
                <a:gd name="connsiteY12" fmla="*/ 250023 h 250023"/>
                <a:gd name="connsiteX13" fmla="*/ 51287 w 420301"/>
                <a:gd name="connsiteY13" fmla="*/ 124933 h 250023"/>
                <a:gd name="connsiteX14" fmla="*/ 211402 w 420301"/>
                <a:gd name="connsiteY14" fmla="*/ 214373 h 250023"/>
                <a:gd name="connsiteX15" fmla="*/ 370266 w 420301"/>
                <a:gd name="connsiteY15" fmla="*/ 125559 h 250023"/>
                <a:gd name="connsiteX16" fmla="*/ 210151 w 420301"/>
                <a:gd name="connsiteY16" fmla="*/ 36120 h 250023"/>
                <a:gd name="connsiteX17" fmla="*/ 51287 w 420301"/>
                <a:gd name="connsiteY17" fmla="*/ 124933 h 250023"/>
                <a:gd name="connsiteX18" fmla="*/ 51287 w 420301"/>
                <a:gd name="connsiteY18" fmla="*/ 124933 h 250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20301" h="250023">
                  <a:moveTo>
                    <a:pt x="210776" y="250023"/>
                  </a:moveTo>
                  <a:cubicBezTo>
                    <a:pt x="208275" y="250023"/>
                    <a:pt x="205147" y="249398"/>
                    <a:pt x="202646" y="248147"/>
                  </a:cubicBezTo>
                  <a:lnTo>
                    <a:pt x="8756" y="139319"/>
                  </a:lnTo>
                  <a:cubicBezTo>
                    <a:pt x="3753" y="136192"/>
                    <a:pt x="0" y="130563"/>
                    <a:pt x="0" y="124933"/>
                  </a:cubicBezTo>
                  <a:cubicBezTo>
                    <a:pt x="0" y="118679"/>
                    <a:pt x="3127" y="113050"/>
                    <a:pt x="8756" y="110548"/>
                  </a:cubicBezTo>
                  <a:lnTo>
                    <a:pt x="201395" y="2345"/>
                  </a:lnTo>
                  <a:cubicBezTo>
                    <a:pt x="206398" y="-782"/>
                    <a:pt x="212653" y="-782"/>
                    <a:pt x="217656" y="2345"/>
                  </a:cubicBezTo>
                  <a:lnTo>
                    <a:pt x="411546" y="111174"/>
                  </a:lnTo>
                  <a:cubicBezTo>
                    <a:pt x="416549" y="114301"/>
                    <a:pt x="420302" y="119930"/>
                    <a:pt x="420302" y="125559"/>
                  </a:cubicBezTo>
                  <a:cubicBezTo>
                    <a:pt x="420302" y="131188"/>
                    <a:pt x="417175" y="137442"/>
                    <a:pt x="411546" y="139944"/>
                  </a:cubicBezTo>
                  <a:lnTo>
                    <a:pt x="218907" y="248147"/>
                  </a:lnTo>
                  <a:cubicBezTo>
                    <a:pt x="216405" y="249398"/>
                    <a:pt x="213904" y="250023"/>
                    <a:pt x="210776" y="250023"/>
                  </a:cubicBezTo>
                  <a:lnTo>
                    <a:pt x="210776" y="250023"/>
                  </a:lnTo>
                  <a:close/>
                  <a:moveTo>
                    <a:pt x="51287" y="124933"/>
                  </a:moveTo>
                  <a:lnTo>
                    <a:pt x="211402" y="214373"/>
                  </a:lnTo>
                  <a:lnTo>
                    <a:pt x="370266" y="125559"/>
                  </a:lnTo>
                  <a:lnTo>
                    <a:pt x="210151" y="36120"/>
                  </a:lnTo>
                  <a:lnTo>
                    <a:pt x="51287" y="124933"/>
                  </a:lnTo>
                  <a:lnTo>
                    <a:pt x="51287" y="124933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67" name="Forma Livre: Forma 266">
              <a:extLst>
                <a:ext uri="{FF2B5EF4-FFF2-40B4-BE49-F238E27FC236}">
                  <a16:creationId xmlns:a16="http://schemas.microsoft.com/office/drawing/2014/main" id="{8067A579-E146-4E50-9089-13CFD7CF7FB9}"/>
                </a:ext>
              </a:extLst>
            </p:cNvPr>
            <p:cNvSpPr/>
            <p:nvPr/>
          </p:nvSpPr>
          <p:spPr>
            <a:xfrm>
              <a:off x="3338850" y="1732148"/>
              <a:ext cx="419561" cy="141606"/>
            </a:xfrm>
            <a:custGeom>
              <a:avLst/>
              <a:gdLst>
                <a:gd name="connsiteX0" fmla="*/ 210406 w 419561"/>
                <a:gd name="connsiteY0" fmla="*/ 141607 h 141606"/>
                <a:gd name="connsiteX1" fmla="*/ 202276 w 419561"/>
                <a:gd name="connsiteY1" fmla="*/ 139731 h 141606"/>
                <a:gd name="connsiteX2" fmla="*/ 8386 w 419561"/>
                <a:gd name="connsiteY2" fmla="*/ 30902 h 141606"/>
                <a:gd name="connsiteX3" fmla="*/ 2132 w 419561"/>
                <a:gd name="connsiteY3" fmla="*/ 8386 h 141606"/>
                <a:gd name="connsiteX4" fmla="*/ 24648 w 419561"/>
                <a:gd name="connsiteY4" fmla="*/ 2132 h 141606"/>
                <a:gd name="connsiteX5" fmla="*/ 210406 w 419561"/>
                <a:gd name="connsiteY5" fmla="*/ 105956 h 141606"/>
                <a:gd name="connsiteX6" fmla="*/ 394914 w 419561"/>
                <a:gd name="connsiteY6" fmla="*/ 2757 h 141606"/>
                <a:gd name="connsiteX7" fmla="*/ 417430 w 419561"/>
                <a:gd name="connsiteY7" fmla="*/ 9012 h 141606"/>
                <a:gd name="connsiteX8" fmla="*/ 411176 w 419561"/>
                <a:gd name="connsiteY8" fmla="*/ 31528 h 141606"/>
                <a:gd name="connsiteX9" fmla="*/ 218537 w 419561"/>
                <a:gd name="connsiteY9" fmla="*/ 139731 h 141606"/>
                <a:gd name="connsiteX10" fmla="*/ 210406 w 419561"/>
                <a:gd name="connsiteY10" fmla="*/ 141607 h 141606"/>
                <a:gd name="connsiteX11" fmla="*/ 210406 w 419561"/>
                <a:gd name="connsiteY11" fmla="*/ 141607 h 141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9561" h="141606">
                  <a:moveTo>
                    <a:pt x="210406" y="141607"/>
                  </a:moveTo>
                  <a:cubicBezTo>
                    <a:pt x="207905" y="141607"/>
                    <a:pt x="204777" y="140981"/>
                    <a:pt x="202276" y="139731"/>
                  </a:cubicBezTo>
                  <a:lnTo>
                    <a:pt x="8386" y="30902"/>
                  </a:lnTo>
                  <a:cubicBezTo>
                    <a:pt x="255" y="26524"/>
                    <a:pt x="-2246" y="16517"/>
                    <a:pt x="2132" y="8386"/>
                  </a:cubicBezTo>
                  <a:cubicBezTo>
                    <a:pt x="6510" y="255"/>
                    <a:pt x="16517" y="-2246"/>
                    <a:pt x="24648" y="2132"/>
                  </a:cubicBezTo>
                  <a:lnTo>
                    <a:pt x="210406" y="105956"/>
                  </a:lnTo>
                  <a:lnTo>
                    <a:pt x="394914" y="2757"/>
                  </a:lnTo>
                  <a:cubicBezTo>
                    <a:pt x="403045" y="-1621"/>
                    <a:pt x="413052" y="881"/>
                    <a:pt x="417430" y="9012"/>
                  </a:cubicBezTo>
                  <a:cubicBezTo>
                    <a:pt x="421808" y="17143"/>
                    <a:pt x="419306" y="27150"/>
                    <a:pt x="411176" y="31528"/>
                  </a:cubicBezTo>
                  <a:lnTo>
                    <a:pt x="218537" y="139731"/>
                  </a:lnTo>
                  <a:cubicBezTo>
                    <a:pt x="216035" y="140981"/>
                    <a:pt x="213534" y="141607"/>
                    <a:pt x="210406" y="141607"/>
                  </a:cubicBezTo>
                  <a:lnTo>
                    <a:pt x="210406" y="141607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68" name="Forma Livre: Forma 267">
              <a:extLst>
                <a:ext uri="{FF2B5EF4-FFF2-40B4-BE49-F238E27FC236}">
                  <a16:creationId xmlns:a16="http://schemas.microsoft.com/office/drawing/2014/main" id="{539ECD33-2375-43DC-846C-17D60CD2A11F}"/>
                </a:ext>
              </a:extLst>
            </p:cNvPr>
            <p:cNvSpPr/>
            <p:nvPr/>
          </p:nvSpPr>
          <p:spPr>
            <a:xfrm>
              <a:off x="3338850" y="1807202"/>
              <a:ext cx="419561" cy="141606"/>
            </a:xfrm>
            <a:custGeom>
              <a:avLst/>
              <a:gdLst>
                <a:gd name="connsiteX0" fmla="*/ 210406 w 419561"/>
                <a:gd name="connsiteY0" fmla="*/ 141607 h 141606"/>
                <a:gd name="connsiteX1" fmla="*/ 202276 w 419561"/>
                <a:gd name="connsiteY1" fmla="*/ 139731 h 141606"/>
                <a:gd name="connsiteX2" fmla="*/ 8386 w 419561"/>
                <a:gd name="connsiteY2" fmla="*/ 30902 h 141606"/>
                <a:gd name="connsiteX3" fmla="*/ 2132 w 419561"/>
                <a:gd name="connsiteY3" fmla="*/ 8386 h 141606"/>
                <a:gd name="connsiteX4" fmla="*/ 24648 w 419561"/>
                <a:gd name="connsiteY4" fmla="*/ 2132 h 141606"/>
                <a:gd name="connsiteX5" fmla="*/ 210406 w 419561"/>
                <a:gd name="connsiteY5" fmla="*/ 105956 h 141606"/>
                <a:gd name="connsiteX6" fmla="*/ 394914 w 419561"/>
                <a:gd name="connsiteY6" fmla="*/ 2757 h 141606"/>
                <a:gd name="connsiteX7" fmla="*/ 417430 w 419561"/>
                <a:gd name="connsiteY7" fmla="*/ 9012 h 141606"/>
                <a:gd name="connsiteX8" fmla="*/ 411176 w 419561"/>
                <a:gd name="connsiteY8" fmla="*/ 31528 h 141606"/>
                <a:gd name="connsiteX9" fmla="*/ 218537 w 419561"/>
                <a:gd name="connsiteY9" fmla="*/ 139731 h 141606"/>
                <a:gd name="connsiteX10" fmla="*/ 210406 w 419561"/>
                <a:gd name="connsiteY10" fmla="*/ 141607 h 141606"/>
                <a:gd name="connsiteX11" fmla="*/ 210406 w 419561"/>
                <a:gd name="connsiteY11" fmla="*/ 141607 h 141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9561" h="141606">
                  <a:moveTo>
                    <a:pt x="210406" y="141607"/>
                  </a:moveTo>
                  <a:cubicBezTo>
                    <a:pt x="207905" y="141607"/>
                    <a:pt x="204777" y="140981"/>
                    <a:pt x="202276" y="139731"/>
                  </a:cubicBezTo>
                  <a:lnTo>
                    <a:pt x="8386" y="30902"/>
                  </a:lnTo>
                  <a:cubicBezTo>
                    <a:pt x="255" y="26524"/>
                    <a:pt x="-2246" y="16517"/>
                    <a:pt x="2132" y="8386"/>
                  </a:cubicBezTo>
                  <a:cubicBezTo>
                    <a:pt x="6510" y="255"/>
                    <a:pt x="16517" y="-2246"/>
                    <a:pt x="24648" y="2132"/>
                  </a:cubicBezTo>
                  <a:lnTo>
                    <a:pt x="210406" y="105956"/>
                  </a:lnTo>
                  <a:lnTo>
                    <a:pt x="394914" y="2757"/>
                  </a:lnTo>
                  <a:cubicBezTo>
                    <a:pt x="403045" y="-1621"/>
                    <a:pt x="413052" y="881"/>
                    <a:pt x="417430" y="9012"/>
                  </a:cubicBezTo>
                  <a:cubicBezTo>
                    <a:pt x="421808" y="17143"/>
                    <a:pt x="419306" y="27150"/>
                    <a:pt x="411176" y="31528"/>
                  </a:cubicBezTo>
                  <a:lnTo>
                    <a:pt x="218537" y="139731"/>
                  </a:lnTo>
                  <a:cubicBezTo>
                    <a:pt x="216035" y="140981"/>
                    <a:pt x="213534" y="141607"/>
                    <a:pt x="210406" y="141607"/>
                  </a:cubicBezTo>
                  <a:lnTo>
                    <a:pt x="210406" y="141607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69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4370925" y="1546645"/>
            <a:ext cx="405916" cy="403414"/>
            <a:chOff x="4358588" y="1546645"/>
            <a:chExt cx="405916" cy="403414"/>
          </a:xfrm>
          <a:solidFill>
            <a:srgbClr val="B1B1A1"/>
          </a:solidFill>
        </p:grpSpPr>
        <p:sp>
          <p:nvSpPr>
            <p:cNvPr id="270" name="Forma Livre: Forma 269">
              <a:extLst>
                <a:ext uri="{FF2B5EF4-FFF2-40B4-BE49-F238E27FC236}">
                  <a16:creationId xmlns:a16="http://schemas.microsoft.com/office/drawing/2014/main" id="{784BAD04-4FC7-4A17-B587-085D47AAEBC4}"/>
                </a:ext>
              </a:extLst>
            </p:cNvPr>
            <p:cNvSpPr/>
            <p:nvPr/>
          </p:nvSpPr>
          <p:spPr>
            <a:xfrm>
              <a:off x="4423634" y="1546645"/>
              <a:ext cx="340869" cy="340869"/>
            </a:xfrm>
            <a:custGeom>
              <a:avLst/>
              <a:gdLst>
                <a:gd name="connsiteX0" fmla="*/ 323983 w 340869"/>
                <a:gd name="connsiteY0" fmla="*/ 340870 h 340869"/>
                <a:gd name="connsiteX1" fmla="*/ 16887 w 340869"/>
                <a:gd name="connsiteY1" fmla="*/ 340870 h 340869"/>
                <a:gd name="connsiteX2" fmla="*/ 0 w 340869"/>
                <a:gd name="connsiteY2" fmla="*/ 323983 h 340869"/>
                <a:gd name="connsiteX3" fmla="*/ 0 w 340869"/>
                <a:gd name="connsiteY3" fmla="*/ 16887 h 340869"/>
                <a:gd name="connsiteX4" fmla="*/ 16887 w 340869"/>
                <a:gd name="connsiteY4" fmla="*/ 0 h 340869"/>
                <a:gd name="connsiteX5" fmla="*/ 33774 w 340869"/>
                <a:gd name="connsiteY5" fmla="*/ 16887 h 340869"/>
                <a:gd name="connsiteX6" fmla="*/ 33774 w 340869"/>
                <a:gd name="connsiteY6" fmla="*/ 307096 h 340869"/>
                <a:gd name="connsiteX7" fmla="*/ 323983 w 340869"/>
                <a:gd name="connsiteY7" fmla="*/ 307096 h 340869"/>
                <a:gd name="connsiteX8" fmla="*/ 340870 w 340869"/>
                <a:gd name="connsiteY8" fmla="*/ 323983 h 340869"/>
                <a:gd name="connsiteX9" fmla="*/ 323983 w 340869"/>
                <a:gd name="connsiteY9" fmla="*/ 340870 h 340869"/>
                <a:gd name="connsiteX10" fmla="*/ 323983 w 340869"/>
                <a:gd name="connsiteY10" fmla="*/ 340870 h 340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0869" h="340869">
                  <a:moveTo>
                    <a:pt x="323983" y="340870"/>
                  </a:moveTo>
                  <a:lnTo>
                    <a:pt x="16887" y="340870"/>
                  </a:lnTo>
                  <a:cubicBezTo>
                    <a:pt x="7505" y="340870"/>
                    <a:pt x="0" y="333364"/>
                    <a:pt x="0" y="323983"/>
                  </a:cubicBezTo>
                  <a:lnTo>
                    <a:pt x="0" y="16887"/>
                  </a:lnTo>
                  <a:cubicBezTo>
                    <a:pt x="0" y="7505"/>
                    <a:pt x="7505" y="0"/>
                    <a:pt x="16887" y="0"/>
                  </a:cubicBezTo>
                  <a:cubicBezTo>
                    <a:pt x="26269" y="0"/>
                    <a:pt x="33774" y="7505"/>
                    <a:pt x="33774" y="16887"/>
                  </a:cubicBezTo>
                  <a:lnTo>
                    <a:pt x="33774" y="307096"/>
                  </a:lnTo>
                  <a:lnTo>
                    <a:pt x="323983" y="307096"/>
                  </a:lnTo>
                  <a:cubicBezTo>
                    <a:pt x="333365" y="307096"/>
                    <a:pt x="340870" y="314601"/>
                    <a:pt x="340870" y="323983"/>
                  </a:cubicBezTo>
                  <a:cubicBezTo>
                    <a:pt x="340870" y="333364"/>
                    <a:pt x="333365" y="340870"/>
                    <a:pt x="323983" y="340870"/>
                  </a:cubicBezTo>
                  <a:lnTo>
                    <a:pt x="323983" y="34087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71" name="Forma Livre: Forma 270">
              <a:extLst>
                <a:ext uri="{FF2B5EF4-FFF2-40B4-BE49-F238E27FC236}">
                  <a16:creationId xmlns:a16="http://schemas.microsoft.com/office/drawing/2014/main" id="{B4F334C9-95F5-4F9A-AF64-9ED9D5D7816B}"/>
                </a:ext>
              </a:extLst>
            </p:cNvPr>
            <p:cNvSpPr/>
            <p:nvPr/>
          </p:nvSpPr>
          <p:spPr>
            <a:xfrm>
              <a:off x="4665683" y="1859370"/>
              <a:ext cx="33774" cy="90690"/>
            </a:xfrm>
            <a:custGeom>
              <a:avLst/>
              <a:gdLst>
                <a:gd name="connsiteX0" fmla="*/ 16887 w 33774"/>
                <a:gd name="connsiteY0" fmla="*/ 90690 h 90690"/>
                <a:gd name="connsiteX1" fmla="*/ 0 w 33774"/>
                <a:gd name="connsiteY1" fmla="*/ 73803 h 90690"/>
                <a:gd name="connsiteX2" fmla="*/ 0 w 33774"/>
                <a:gd name="connsiteY2" fmla="*/ 16887 h 90690"/>
                <a:gd name="connsiteX3" fmla="*/ 16887 w 33774"/>
                <a:gd name="connsiteY3" fmla="*/ 0 h 90690"/>
                <a:gd name="connsiteX4" fmla="*/ 33774 w 33774"/>
                <a:gd name="connsiteY4" fmla="*/ 16887 h 90690"/>
                <a:gd name="connsiteX5" fmla="*/ 33774 w 33774"/>
                <a:gd name="connsiteY5" fmla="*/ 73803 h 90690"/>
                <a:gd name="connsiteX6" fmla="*/ 16887 w 33774"/>
                <a:gd name="connsiteY6" fmla="*/ 90690 h 90690"/>
                <a:gd name="connsiteX7" fmla="*/ 16887 w 33774"/>
                <a:gd name="connsiteY7" fmla="*/ 90690 h 90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774" h="90690">
                  <a:moveTo>
                    <a:pt x="16887" y="90690"/>
                  </a:moveTo>
                  <a:cubicBezTo>
                    <a:pt x="7505" y="90690"/>
                    <a:pt x="0" y="83185"/>
                    <a:pt x="0" y="73803"/>
                  </a:cubicBezTo>
                  <a:lnTo>
                    <a:pt x="0" y="16887"/>
                  </a:lnTo>
                  <a:cubicBezTo>
                    <a:pt x="0" y="7505"/>
                    <a:pt x="7505" y="0"/>
                    <a:pt x="16887" y="0"/>
                  </a:cubicBezTo>
                  <a:cubicBezTo>
                    <a:pt x="26269" y="0"/>
                    <a:pt x="33774" y="7505"/>
                    <a:pt x="33774" y="16887"/>
                  </a:cubicBezTo>
                  <a:lnTo>
                    <a:pt x="33774" y="73803"/>
                  </a:lnTo>
                  <a:cubicBezTo>
                    <a:pt x="33774" y="83185"/>
                    <a:pt x="26269" y="90690"/>
                    <a:pt x="16887" y="90690"/>
                  </a:cubicBezTo>
                  <a:lnTo>
                    <a:pt x="16887" y="9069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72" name="Forma Livre: Forma 271">
              <a:extLst>
                <a:ext uri="{FF2B5EF4-FFF2-40B4-BE49-F238E27FC236}">
                  <a16:creationId xmlns:a16="http://schemas.microsoft.com/office/drawing/2014/main" id="{DA6B4516-74F4-4AC8-8EFB-FCC680E48563}"/>
                </a:ext>
              </a:extLst>
            </p:cNvPr>
            <p:cNvSpPr/>
            <p:nvPr/>
          </p:nvSpPr>
          <p:spPr>
            <a:xfrm>
              <a:off x="4476797" y="1609190"/>
              <a:ext cx="222070" cy="225787"/>
            </a:xfrm>
            <a:custGeom>
              <a:avLst/>
              <a:gdLst>
                <a:gd name="connsiteX0" fmla="*/ 205773 w 222070"/>
                <a:gd name="connsiteY0" fmla="*/ 225787 h 225787"/>
                <a:gd name="connsiteX1" fmla="*/ 188886 w 222070"/>
                <a:gd name="connsiteY1" fmla="*/ 208900 h 225787"/>
                <a:gd name="connsiteX2" fmla="*/ 188886 w 222070"/>
                <a:gd name="connsiteY2" fmla="*/ 33774 h 225787"/>
                <a:gd name="connsiteX3" fmla="*/ 16887 w 222070"/>
                <a:gd name="connsiteY3" fmla="*/ 33774 h 225787"/>
                <a:gd name="connsiteX4" fmla="*/ 0 w 222070"/>
                <a:gd name="connsiteY4" fmla="*/ 16887 h 225787"/>
                <a:gd name="connsiteX5" fmla="*/ 16887 w 222070"/>
                <a:gd name="connsiteY5" fmla="*/ 0 h 225787"/>
                <a:gd name="connsiteX6" fmla="*/ 205147 w 222070"/>
                <a:gd name="connsiteY6" fmla="*/ 0 h 225787"/>
                <a:gd name="connsiteX7" fmla="*/ 222034 w 222070"/>
                <a:gd name="connsiteY7" fmla="*/ 16887 h 225787"/>
                <a:gd name="connsiteX8" fmla="*/ 222034 w 222070"/>
                <a:gd name="connsiteY8" fmla="*/ 208900 h 225787"/>
                <a:gd name="connsiteX9" fmla="*/ 205773 w 222070"/>
                <a:gd name="connsiteY9" fmla="*/ 225787 h 225787"/>
                <a:gd name="connsiteX10" fmla="*/ 205773 w 222070"/>
                <a:gd name="connsiteY10" fmla="*/ 225787 h 225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2070" h="225787">
                  <a:moveTo>
                    <a:pt x="205773" y="225787"/>
                  </a:moveTo>
                  <a:cubicBezTo>
                    <a:pt x="196391" y="225787"/>
                    <a:pt x="188886" y="218282"/>
                    <a:pt x="188886" y="208900"/>
                  </a:cubicBezTo>
                  <a:lnTo>
                    <a:pt x="188886" y="33774"/>
                  </a:lnTo>
                  <a:lnTo>
                    <a:pt x="16887" y="33774"/>
                  </a:lnTo>
                  <a:cubicBezTo>
                    <a:pt x="7505" y="33774"/>
                    <a:pt x="0" y="26269"/>
                    <a:pt x="0" y="16887"/>
                  </a:cubicBezTo>
                  <a:cubicBezTo>
                    <a:pt x="0" y="7505"/>
                    <a:pt x="7505" y="0"/>
                    <a:pt x="16887" y="0"/>
                  </a:cubicBezTo>
                  <a:lnTo>
                    <a:pt x="205147" y="0"/>
                  </a:lnTo>
                  <a:cubicBezTo>
                    <a:pt x="214529" y="0"/>
                    <a:pt x="222034" y="7505"/>
                    <a:pt x="222034" y="16887"/>
                  </a:cubicBezTo>
                  <a:lnTo>
                    <a:pt x="222034" y="208900"/>
                  </a:lnTo>
                  <a:cubicBezTo>
                    <a:pt x="222660" y="218282"/>
                    <a:pt x="215155" y="225787"/>
                    <a:pt x="205773" y="225787"/>
                  </a:cubicBezTo>
                  <a:lnTo>
                    <a:pt x="205773" y="225787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73" name="Forma Livre: Forma 272">
              <a:extLst>
                <a:ext uri="{FF2B5EF4-FFF2-40B4-BE49-F238E27FC236}">
                  <a16:creationId xmlns:a16="http://schemas.microsoft.com/office/drawing/2014/main" id="{184D94D7-9044-4E4A-A9CF-90D4AA9517DE}"/>
                </a:ext>
              </a:extLst>
            </p:cNvPr>
            <p:cNvSpPr/>
            <p:nvPr/>
          </p:nvSpPr>
          <p:spPr>
            <a:xfrm>
              <a:off x="4358588" y="1609190"/>
              <a:ext cx="90064" cy="33774"/>
            </a:xfrm>
            <a:custGeom>
              <a:avLst/>
              <a:gdLst>
                <a:gd name="connsiteX0" fmla="*/ 73177 w 90064"/>
                <a:gd name="connsiteY0" fmla="*/ 33774 h 33774"/>
                <a:gd name="connsiteX1" fmla="*/ 16887 w 90064"/>
                <a:gd name="connsiteY1" fmla="*/ 33774 h 33774"/>
                <a:gd name="connsiteX2" fmla="*/ 0 w 90064"/>
                <a:gd name="connsiteY2" fmla="*/ 16887 h 33774"/>
                <a:gd name="connsiteX3" fmla="*/ 16887 w 90064"/>
                <a:gd name="connsiteY3" fmla="*/ 0 h 33774"/>
                <a:gd name="connsiteX4" fmla="*/ 73177 w 90064"/>
                <a:gd name="connsiteY4" fmla="*/ 0 h 33774"/>
                <a:gd name="connsiteX5" fmla="*/ 90065 w 90064"/>
                <a:gd name="connsiteY5" fmla="*/ 16887 h 33774"/>
                <a:gd name="connsiteX6" fmla="*/ 73177 w 90064"/>
                <a:gd name="connsiteY6" fmla="*/ 33774 h 33774"/>
                <a:gd name="connsiteX7" fmla="*/ 73177 w 90064"/>
                <a:gd name="connsiteY7" fmla="*/ 33774 h 33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064" h="33774">
                  <a:moveTo>
                    <a:pt x="73177" y="33774"/>
                  </a:moveTo>
                  <a:lnTo>
                    <a:pt x="16887" y="33774"/>
                  </a:lnTo>
                  <a:cubicBezTo>
                    <a:pt x="7505" y="33774"/>
                    <a:pt x="0" y="26269"/>
                    <a:pt x="0" y="16887"/>
                  </a:cubicBezTo>
                  <a:cubicBezTo>
                    <a:pt x="0" y="7505"/>
                    <a:pt x="7505" y="0"/>
                    <a:pt x="16887" y="0"/>
                  </a:cubicBezTo>
                  <a:lnTo>
                    <a:pt x="73177" y="0"/>
                  </a:lnTo>
                  <a:cubicBezTo>
                    <a:pt x="82559" y="0"/>
                    <a:pt x="90065" y="7505"/>
                    <a:pt x="90065" y="16887"/>
                  </a:cubicBezTo>
                  <a:cubicBezTo>
                    <a:pt x="90065" y="26269"/>
                    <a:pt x="82559" y="33774"/>
                    <a:pt x="73177" y="33774"/>
                  </a:cubicBezTo>
                  <a:lnTo>
                    <a:pt x="73177" y="33774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74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8458937" y="3615162"/>
            <a:ext cx="396302" cy="395752"/>
            <a:chOff x="8446600" y="3615162"/>
            <a:chExt cx="396302" cy="395752"/>
          </a:xfrm>
          <a:solidFill>
            <a:srgbClr val="B1B1A1"/>
          </a:solidFill>
        </p:grpSpPr>
        <p:grpSp>
          <p:nvGrpSpPr>
            <p:cNvPr id="275" name="Gráfico 2">
              <a:extLst>
                <a:ext uri="{FF2B5EF4-FFF2-40B4-BE49-F238E27FC236}">
                  <a16:creationId xmlns:a16="http://schemas.microsoft.com/office/drawing/2014/main" id="{A4E24395-F85F-4E15-8BC9-B92D577D4DAD}"/>
                </a:ext>
              </a:extLst>
            </p:cNvPr>
            <p:cNvGrpSpPr/>
            <p:nvPr/>
          </p:nvGrpSpPr>
          <p:grpSpPr>
            <a:xfrm>
              <a:off x="8446600" y="3731808"/>
              <a:ext cx="279345" cy="279106"/>
              <a:chOff x="8446600" y="3731808"/>
              <a:chExt cx="279345" cy="279106"/>
            </a:xfrm>
            <a:grpFill/>
          </p:grpSpPr>
          <p:sp>
            <p:nvSpPr>
              <p:cNvPr id="276" name="Forma Livre: Forma 275">
                <a:extLst>
                  <a:ext uri="{FF2B5EF4-FFF2-40B4-BE49-F238E27FC236}">
                    <a16:creationId xmlns:a16="http://schemas.microsoft.com/office/drawing/2014/main" id="{10A94C5D-594E-40E4-89D0-E614C33138B0}"/>
                  </a:ext>
                </a:extLst>
              </p:cNvPr>
              <p:cNvSpPr/>
              <p:nvPr/>
            </p:nvSpPr>
            <p:spPr>
              <a:xfrm>
                <a:off x="8446600" y="3731808"/>
                <a:ext cx="236343" cy="242205"/>
              </a:xfrm>
              <a:custGeom>
                <a:avLst/>
                <a:gdLst>
                  <a:gd name="connsiteX0" fmla="*/ 58090 w 236343"/>
                  <a:gd name="connsiteY0" fmla="*/ 242205 h 242205"/>
                  <a:gd name="connsiteX1" fmla="*/ 33072 w 236343"/>
                  <a:gd name="connsiteY1" fmla="*/ 217187 h 242205"/>
                  <a:gd name="connsiteX2" fmla="*/ 23690 w 236343"/>
                  <a:gd name="connsiteY2" fmla="*/ 80214 h 242205"/>
                  <a:gd name="connsiteX3" fmla="*/ 81232 w 236343"/>
                  <a:gd name="connsiteY3" fmla="*/ 56447 h 242205"/>
                  <a:gd name="connsiteX4" fmla="*/ 103123 w 236343"/>
                  <a:gd name="connsiteY4" fmla="*/ 49567 h 242205"/>
                  <a:gd name="connsiteX5" fmla="*/ 103748 w 236343"/>
                  <a:gd name="connsiteY5" fmla="*/ 47690 h 242205"/>
                  <a:gd name="connsiteX6" fmla="*/ 120635 w 236343"/>
                  <a:gd name="connsiteY6" fmla="*/ 22047 h 242205"/>
                  <a:gd name="connsiteX7" fmla="*/ 236343 w 236343"/>
                  <a:gd name="connsiteY7" fmla="*/ 22047 h 242205"/>
                  <a:gd name="connsiteX8" fmla="*/ 216954 w 236343"/>
                  <a:gd name="connsiteY8" fmla="*/ 46440 h 242205"/>
                  <a:gd name="connsiteX9" fmla="*/ 142526 w 236343"/>
                  <a:gd name="connsiteY9" fmla="*/ 43938 h 242205"/>
                  <a:gd name="connsiteX10" fmla="*/ 133144 w 236343"/>
                  <a:gd name="connsiteY10" fmla="*/ 58323 h 242205"/>
                  <a:gd name="connsiteX11" fmla="*/ 83108 w 236343"/>
                  <a:gd name="connsiteY11" fmla="*/ 87719 h 242205"/>
                  <a:gd name="connsiteX12" fmla="*/ 45581 w 236343"/>
                  <a:gd name="connsiteY12" fmla="*/ 102730 h 242205"/>
                  <a:gd name="connsiteX13" fmla="*/ 54963 w 236343"/>
                  <a:gd name="connsiteY13" fmla="*/ 195922 h 242205"/>
                  <a:gd name="connsiteX14" fmla="*/ 79981 w 236343"/>
                  <a:gd name="connsiteY14" fmla="*/ 220940 h 242205"/>
                  <a:gd name="connsiteX15" fmla="*/ 58090 w 236343"/>
                  <a:gd name="connsiteY15" fmla="*/ 242205 h 242205"/>
                  <a:gd name="connsiteX16" fmla="*/ 58090 w 236343"/>
                  <a:gd name="connsiteY16" fmla="*/ 242205 h 242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36343" h="242205">
                    <a:moveTo>
                      <a:pt x="58090" y="242205"/>
                    </a:moveTo>
                    <a:lnTo>
                      <a:pt x="33072" y="217187"/>
                    </a:lnTo>
                    <a:cubicBezTo>
                      <a:pt x="-6957" y="177158"/>
                      <a:pt x="-11335" y="115239"/>
                      <a:pt x="23690" y="80214"/>
                    </a:cubicBezTo>
                    <a:cubicBezTo>
                      <a:pt x="38701" y="65203"/>
                      <a:pt x="58715" y="57072"/>
                      <a:pt x="81232" y="56447"/>
                    </a:cubicBezTo>
                    <a:cubicBezTo>
                      <a:pt x="96868" y="55822"/>
                      <a:pt x="102497" y="53945"/>
                      <a:pt x="103123" y="49567"/>
                    </a:cubicBezTo>
                    <a:cubicBezTo>
                      <a:pt x="103123" y="48941"/>
                      <a:pt x="103748" y="48316"/>
                      <a:pt x="103748" y="47690"/>
                    </a:cubicBezTo>
                    <a:cubicBezTo>
                      <a:pt x="107501" y="37683"/>
                      <a:pt x="113130" y="28927"/>
                      <a:pt x="120635" y="22047"/>
                    </a:cubicBezTo>
                    <a:cubicBezTo>
                      <a:pt x="150032" y="-7349"/>
                      <a:pt x="199442" y="-7349"/>
                      <a:pt x="236343" y="22047"/>
                    </a:cubicBezTo>
                    <a:lnTo>
                      <a:pt x="216954" y="46440"/>
                    </a:lnTo>
                    <a:cubicBezTo>
                      <a:pt x="192562" y="27051"/>
                      <a:pt x="160664" y="25800"/>
                      <a:pt x="142526" y="43938"/>
                    </a:cubicBezTo>
                    <a:cubicBezTo>
                      <a:pt x="138773" y="47690"/>
                      <a:pt x="135646" y="52694"/>
                      <a:pt x="133144" y="58323"/>
                    </a:cubicBezTo>
                    <a:cubicBezTo>
                      <a:pt x="125639" y="86468"/>
                      <a:pt x="94992" y="87094"/>
                      <a:pt x="83108" y="87719"/>
                    </a:cubicBezTo>
                    <a:cubicBezTo>
                      <a:pt x="67472" y="88345"/>
                      <a:pt x="54963" y="93349"/>
                      <a:pt x="45581" y="102730"/>
                    </a:cubicBezTo>
                    <a:cubicBezTo>
                      <a:pt x="22440" y="125872"/>
                      <a:pt x="26192" y="167777"/>
                      <a:pt x="54963" y="195922"/>
                    </a:cubicBezTo>
                    <a:lnTo>
                      <a:pt x="79981" y="220940"/>
                    </a:lnTo>
                    <a:lnTo>
                      <a:pt x="58090" y="242205"/>
                    </a:lnTo>
                    <a:lnTo>
                      <a:pt x="58090" y="242205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77" name="Forma Livre: Forma 276">
                <a:extLst>
                  <a:ext uri="{FF2B5EF4-FFF2-40B4-BE49-F238E27FC236}">
                    <a16:creationId xmlns:a16="http://schemas.microsoft.com/office/drawing/2014/main" id="{65A42472-D9B0-400C-AC6E-94EE053473CE}"/>
                  </a:ext>
                </a:extLst>
              </p:cNvPr>
              <p:cNvSpPr/>
              <p:nvPr/>
            </p:nvSpPr>
            <p:spPr>
              <a:xfrm>
                <a:off x="8483425" y="3773870"/>
                <a:ext cx="242520" cy="237045"/>
              </a:xfrm>
              <a:custGeom>
                <a:avLst/>
                <a:gdLst>
                  <a:gd name="connsiteX0" fmla="*/ 101949 w 242520"/>
                  <a:gd name="connsiteY0" fmla="*/ 237045 h 237045"/>
                  <a:gd name="connsiteX1" fmla="*/ 101949 w 242520"/>
                  <a:gd name="connsiteY1" fmla="*/ 237045 h 237045"/>
                  <a:gd name="connsiteX2" fmla="*/ 25018 w 242520"/>
                  <a:gd name="connsiteY2" fmla="*/ 203896 h 237045"/>
                  <a:gd name="connsiteX3" fmla="*/ 0 w 242520"/>
                  <a:gd name="connsiteY3" fmla="*/ 178878 h 237045"/>
                  <a:gd name="connsiteX4" fmla="*/ 21891 w 242520"/>
                  <a:gd name="connsiteY4" fmla="*/ 156988 h 237045"/>
                  <a:gd name="connsiteX5" fmla="*/ 46909 w 242520"/>
                  <a:gd name="connsiteY5" fmla="*/ 182006 h 237045"/>
                  <a:gd name="connsiteX6" fmla="*/ 101949 w 242520"/>
                  <a:gd name="connsiteY6" fmla="*/ 206398 h 237045"/>
                  <a:gd name="connsiteX7" fmla="*/ 101949 w 242520"/>
                  <a:gd name="connsiteY7" fmla="*/ 206398 h 237045"/>
                  <a:gd name="connsiteX8" fmla="*/ 140101 w 242520"/>
                  <a:gd name="connsiteY8" fmla="*/ 191387 h 237045"/>
                  <a:gd name="connsiteX9" fmla="*/ 155112 w 242520"/>
                  <a:gd name="connsiteY9" fmla="*/ 155111 h 237045"/>
                  <a:gd name="connsiteX10" fmla="*/ 184508 w 242520"/>
                  <a:gd name="connsiteY10" fmla="*/ 103824 h 237045"/>
                  <a:gd name="connsiteX11" fmla="*/ 198893 w 242520"/>
                  <a:gd name="connsiteY11" fmla="*/ 94443 h 237045"/>
                  <a:gd name="connsiteX12" fmla="*/ 196391 w 242520"/>
                  <a:gd name="connsiteY12" fmla="*/ 19389 h 237045"/>
                  <a:gd name="connsiteX13" fmla="*/ 220159 w 242520"/>
                  <a:gd name="connsiteY13" fmla="*/ 0 h 237045"/>
                  <a:gd name="connsiteX14" fmla="*/ 220784 w 242520"/>
                  <a:gd name="connsiteY14" fmla="*/ 115708 h 237045"/>
                  <a:gd name="connsiteX15" fmla="*/ 194515 w 242520"/>
                  <a:gd name="connsiteY15" fmla="*/ 132595 h 237045"/>
                  <a:gd name="connsiteX16" fmla="*/ 192639 w 242520"/>
                  <a:gd name="connsiteY16" fmla="*/ 133221 h 237045"/>
                  <a:gd name="connsiteX17" fmla="*/ 185759 w 242520"/>
                  <a:gd name="connsiteY17" fmla="*/ 153860 h 237045"/>
                  <a:gd name="connsiteX18" fmla="*/ 161992 w 242520"/>
                  <a:gd name="connsiteY18" fmla="*/ 212653 h 237045"/>
                  <a:gd name="connsiteX19" fmla="*/ 101949 w 242520"/>
                  <a:gd name="connsiteY19" fmla="*/ 237045 h 237045"/>
                  <a:gd name="connsiteX20" fmla="*/ 101949 w 242520"/>
                  <a:gd name="connsiteY20" fmla="*/ 237045 h 2370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42520" h="237045">
                    <a:moveTo>
                      <a:pt x="101949" y="237045"/>
                    </a:moveTo>
                    <a:lnTo>
                      <a:pt x="101949" y="237045"/>
                    </a:lnTo>
                    <a:cubicBezTo>
                      <a:pt x="74429" y="237045"/>
                      <a:pt x="46283" y="225162"/>
                      <a:pt x="25018" y="203896"/>
                    </a:cubicBezTo>
                    <a:lnTo>
                      <a:pt x="0" y="178878"/>
                    </a:lnTo>
                    <a:lnTo>
                      <a:pt x="21891" y="156988"/>
                    </a:lnTo>
                    <a:lnTo>
                      <a:pt x="46909" y="182006"/>
                    </a:lnTo>
                    <a:cubicBezTo>
                      <a:pt x="62545" y="197642"/>
                      <a:pt x="82560" y="206398"/>
                      <a:pt x="101949" y="206398"/>
                    </a:cubicBezTo>
                    <a:lnTo>
                      <a:pt x="101949" y="206398"/>
                    </a:lnTo>
                    <a:cubicBezTo>
                      <a:pt x="116959" y="206398"/>
                      <a:pt x="130719" y="200769"/>
                      <a:pt x="140101" y="191387"/>
                    </a:cubicBezTo>
                    <a:cubicBezTo>
                      <a:pt x="149483" y="182006"/>
                      <a:pt x="154486" y="169497"/>
                      <a:pt x="155112" y="155111"/>
                    </a:cubicBezTo>
                    <a:cubicBezTo>
                      <a:pt x="155737" y="141977"/>
                      <a:pt x="156362" y="111330"/>
                      <a:pt x="184508" y="103824"/>
                    </a:cubicBezTo>
                    <a:cubicBezTo>
                      <a:pt x="190137" y="101948"/>
                      <a:pt x="194515" y="98821"/>
                      <a:pt x="198893" y="94443"/>
                    </a:cubicBezTo>
                    <a:cubicBezTo>
                      <a:pt x="217031" y="76305"/>
                      <a:pt x="215780" y="43781"/>
                      <a:pt x="196391" y="19389"/>
                    </a:cubicBezTo>
                    <a:lnTo>
                      <a:pt x="220159" y="0"/>
                    </a:lnTo>
                    <a:cubicBezTo>
                      <a:pt x="249554" y="36901"/>
                      <a:pt x="250180" y="86312"/>
                      <a:pt x="220784" y="115708"/>
                    </a:cubicBezTo>
                    <a:cubicBezTo>
                      <a:pt x="213279" y="123214"/>
                      <a:pt x="204522" y="128842"/>
                      <a:pt x="194515" y="132595"/>
                    </a:cubicBezTo>
                    <a:cubicBezTo>
                      <a:pt x="193889" y="132595"/>
                      <a:pt x="193264" y="133221"/>
                      <a:pt x="192639" y="133221"/>
                    </a:cubicBezTo>
                    <a:cubicBezTo>
                      <a:pt x="188261" y="134472"/>
                      <a:pt x="186384" y="140100"/>
                      <a:pt x="185759" y="153860"/>
                    </a:cubicBezTo>
                    <a:cubicBezTo>
                      <a:pt x="185134" y="177002"/>
                      <a:pt x="176377" y="197642"/>
                      <a:pt x="161992" y="212653"/>
                    </a:cubicBezTo>
                    <a:cubicBezTo>
                      <a:pt x="146355" y="228289"/>
                      <a:pt x="125090" y="237045"/>
                      <a:pt x="101949" y="237045"/>
                    </a:cubicBezTo>
                    <a:lnTo>
                      <a:pt x="101949" y="237045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278" name="Forma Livre: Forma 277">
              <a:extLst>
                <a:ext uri="{FF2B5EF4-FFF2-40B4-BE49-F238E27FC236}">
                  <a16:creationId xmlns:a16="http://schemas.microsoft.com/office/drawing/2014/main" id="{FE46B385-27D6-4724-8F48-13D84EE237AD}"/>
                </a:ext>
              </a:extLst>
            </p:cNvPr>
            <p:cNvSpPr/>
            <p:nvPr/>
          </p:nvSpPr>
          <p:spPr>
            <a:xfrm>
              <a:off x="8545032" y="3626577"/>
              <a:ext cx="285830" cy="286143"/>
            </a:xfrm>
            <a:custGeom>
              <a:avLst/>
              <a:gdLst>
                <a:gd name="connsiteX0" fmla="*/ 16574 w 285830"/>
                <a:gd name="connsiteY0" fmla="*/ 286143 h 286143"/>
                <a:gd name="connsiteX1" fmla="*/ 4691 w 285830"/>
                <a:gd name="connsiteY1" fmla="*/ 281139 h 286143"/>
                <a:gd name="connsiteX2" fmla="*/ 4691 w 285830"/>
                <a:gd name="connsiteY2" fmla="*/ 257372 h 286143"/>
                <a:gd name="connsiteX3" fmla="*/ 257372 w 285830"/>
                <a:gd name="connsiteY3" fmla="*/ 4691 h 286143"/>
                <a:gd name="connsiteX4" fmla="*/ 281139 w 285830"/>
                <a:gd name="connsiteY4" fmla="*/ 4691 h 286143"/>
                <a:gd name="connsiteX5" fmla="*/ 281139 w 285830"/>
                <a:gd name="connsiteY5" fmla="*/ 28458 h 286143"/>
                <a:gd name="connsiteX6" fmla="*/ 28457 w 285830"/>
                <a:gd name="connsiteY6" fmla="*/ 281139 h 286143"/>
                <a:gd name="connsiteX7" fmla="*/ 16574 w 285830"/>
                <a:gd name="connsiteY7" fmla="*/ 286143 h 286143"/>
                <a:gd name="connsiteX8" fmla="*/ 16574 w 285830"/>
                <a:gd name="connsiteY8" fmla="*/ 286143 h 286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5830" h="286143">
                  <a:moveTo>
                    <a:pt x="16574" y="286143"/>
                  </a:moveTo>
                  <a:cubicBezTo>
                    <a:pt x="12196" y="286143"/>
                    <a:pt x="7818" y="284267"/>
                    <a:pt x="4691" y="281139"/>
                  </a:cubicBezTo>
                  <a:cubicBezTo>
                    <a:pt x="-1564" y="274885"/>
                    <a:pt x="-1564" y="264253"/>
                    <a:pt x="4691" y="257372"/>
                  </a:cubicBezTo>
                  <a:lnTo>
                    <a:pt x="257372" y="4691"/>
                  </a:lnTo>
                  <a:cubicBezTo>
                    <a:pt x="263626" y="-1564"/>
                    <a:pt x="274259" y="-1564"/>
                    <a:pt x="281139" y="4691"/>
                  </a:cubicBezTo>
                  <a:cubicBezTo>
                    <a:pt x="287394" y="10945"/>
                    <a:pt x="287394" y="21578"/>
                    <a:pt x="281139" y="28458"/>
                  </a:cubicBezTo>
                  <a:lnTo>
                    <a:pt x="28457" y="281139"/>
                  </a:lnTo>
                  <a:cubicBezTo>
                    <a:pt x="25330" y="284267"/>
                    <a:pt x="20952" y="286143"/>
                    <a:pt x="16574" y="286143"/>
                  </a:cubicBezTo>
                  <a:lnTo>
                    <a:pt x="16574" y="286143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79" name="Forma Livre: Forma 278">
              <a:extLst>
                <a:ext uri="{FF2B5EF4-FFF2-40B4-BE49-F238E27FC236}">
                  <a16:creationId xmlns:a16="http://schemas.microsoft.com/office/drawing/2014/main" id="{6594ACF4-C83D-4F31-B6E0-1B23D014E135}"/>
                </a:ext>
              </a:extLst>
            </p:cNvPr>
            <p:cNvSpPr/>
            <p:nvPr/>
          </p:nvSpPr>
          <p:spPr>
            <a:xfrm>
              <a:off x="8577242" y="3817651"/>
              <a:ext cx="62075" cy="63170"/>
            </a:xfrm>
            <a:custGeom>
              <a:avLst/>
              <a:gdLst>
                <a:gd name="connsiteX0" fmla="*/ 31272 w 62075"/>
                <a:gd name="connsiteY0" fmla="*/ 0 h 63170"/>
                <a:gd name="connsiteX1" fmla="*/ 9382 w 62075"/>
                <a:gd name="connsiteY1" fmla="*/ 9382 h 63170"/>
                <a:gd name="connsiteX2" fmla="*/ 9382 w 62075"/>
                <a:gd name="connsiteY2" fmla="*/ 53788 h 63170"/>
                <a:gd name="connsiteX3" fmla="*/ 31272 w 62075"/>
                <a:gd name="connsiteY3" fmla="*/ 63170 h 63170"/>
                <a:gd name="connsiteX4" fmla="*/ 53163 w 62075"/>
                <a:gd name="connsiteY4" fmla="*/ 53788 h 63170"/>
                <a:gd name="connsiteX5" fmla="*/ 53163 w 62075"/>
                <a:gd name="connsiteY5" fmla="*/ 9382 h 63170"/>
                <a:gd name="connsiteX6" fmla="*/ 31272 w 62075"/>
                <a:gd name="connsiteY6" fmla="*/ 0 h 63170"/>
                <a:gd name="connsiteX7" fmla="*/ 31272 w 62075"/>
                <a:gd name="connsiteY7" fmla="*/ 0 h 63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075" h="63170">
                  <a:moveTo>
                    <a:pt x="31272" y="0"/>
                  </a:moveTo>
                  <a:cubicBezTo>
                    <a:pt x="23142" y="0"/>
                    <a:pt x="15011" y="3127"/>
                    <a:pt x="9382" y="9382"/>
                  </a:cubicBezTo>
                  <a:cubicBezTo>
                    <a:pt x="-3127" y="21891"/>
                    <a:pt x="-3127" y="41280"/>
                    <a:pt x="9382" y="53788"/>
                  </a:cubicBezTo>
                  <a:cubicBezTo>
                    <a:pt x="15636" y="60043"/>
                    <a:pt x="23142" y="63170"/>
                    <a:pt x="31272" y="63170"/>
                  </a:cubicBezTo>
                  <a:cubicBezTo>
                    <a:pt x="39404" y="63170"/>
                    <a:pt x="47535" y="60043"/>
                    <a:pt x="53163" y="53788"/>
                  </a:cubicBezTo>
                  <a:cubicBezTo>
                    <a:pt x="65047" y="41905"/>
                    <a:pt x="65047" y="21891"/>
                    <a:pt x="53163" y="9382"/>
                  </a:cubicBezTo>
                  <a:cubicBezTo>
                    <a:pt x="46909" y="3127"/>
                    <a:pt x="38778" y="0"/>
                    <a:pt x="31272" y="0"/>
                  </a:cubicBezTo>
                  <a:lnTo>
                    <a:pt x="31272" y="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80" name="Forma Livre: Forma 279">
              <a:extLst>
                <a:ext uri="{FF2B5EF4-FFF2-40B4-BE49-F238E27FC236}">
                  <a16:creationId xmlns:a16="http://schemas.microsoft.com/office/drawing/2014/main" id="{FFC09996-400E-48C3-958A-CF115E1D5996}"/>
                </a:ext>
              </a:extLst>
            </p:cNvPr>
            <p:cNvSpPr/>
            <p:nvPr/>
          </p:nvSpPr>
          <p:spPr>
            <a:xfrm>
              <a:off x="8536119" y="3870345"/>
              <a:ext cx="50974" cy="51130"/>
            </a:xfrm>
            <a:custGeom>
              <a:avLst/>
              <a:gdLst>
                <a:gd name="connsiteX0" fmla="*/ 42374 w 50974"/>
                <a:gd name="connsiteY0" fmla="*/ 51130 h 51130"/>
                <a:gd name="connsiteX1" fmla="*/ 36745 w 50974"/>
                <a:gd name="connsiteY1" fmla="*/ 48629 h 51130"/>
                <a:gd name="connsiteX2" fmla="*/ 2345 w 50974"/>
                <a:gd name="connsiteY2" fmla="*/ 14229 h 51130"/>
                <a:gd name="connsiteX3" fmla="*/ 2345 w 50974"/>
                <a:gd name="connsiteY3" fmla="*/ 2345 h 51130"/>
                <a:gd name="connsiteX4" fmla="*/ 14229 w 50974"/>
                <a:gd name="connsiteY4" fmla="*/ 2345 h 51130"/>
                <a:gd name="connsiteX5" fmla="*/ 48629 w 50974"/>
                <a:gd name="connsiteY5" fmla="*/ 36745 h 51130"/>
                <a:gd name="connsiteX6" fmla="*/ 48629 w 50974"/>
                <a:gd name="connsiteY6" fmla="*/ 48629 h 51130"/>
                <a:gd name="connsiteX7" fmla="*/ 42374 w 50974"/>
                <a:gd name="connsiteY7" fmla="*/ 51130 h 51130"/>
                <a:gd name="connsiteX8" fmla="*/ 42374 w 50974"/>
                <a:gd name="connsiteY8" fmla="*/ 51130 h 51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974" h="51130">
                  <a:moveTo>
                    <a:pt x="42374" y="51130"/>
                  </a:moveTo>
                  <a:cubicBezTo>
                    <a:pt x="40498" y="51130"/>
                    <a:pt x="37996" y="50505"/>
                    <a:pt x="36745" y="48629"/>
                  </a:cubicBezTo>
                  <a:lnTo>
                    <a:pt x="2345" y="14229"/>
                  </a:lnTo>
                  <a:cubicBezTo>
                    <a:pt x="-782" y="11102"/>
                    <a:pt x="-782" y="5473"/>
                    <a:pt x="2345" y="2345"/>
                  </a:cubicBezTo>
                  <a:cubicBezTo>
                    <a:pt x="5473" y="-782"/>
                    <a:pt x="11102" y="-782"/>
                    <a:pt x="14229" y="2345"/>
                  </a:cubicBezTo>
                  <a:lnTo>
                    <a:pt x="48629" y="36745"/>
                  </a:lnTo>
                  <a:cubicBezTo>
                    <a:pt x="51756" y="39872"/>
                    <a:pt x="51756" y="45502"/>
                    <a:pt x="48629" y="48629"/>
                  </a:cubicBezTo>
                  <a:cubicBezTo>
                    <a:pt x="46752" y="49879"/>
                    <a:pt x="44876" y="51130"/>
                    <a:pt x="42374" y="51130"/>
                  </a:cubicBezTo>
                  <a:lnTo>
                    <a:pt x="42374" y="5113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81" name="Forma Livre: Forma 280">
              <a:extLst>
                <a:ext uri="{FF2B5EF4-FFF2-40B4-BE49-F238E27FC236}">
                  <a16:creationId xmlns:a16="http://schemas.microsoft.com/office/drawing/2014/main" id="{B6E4B9E5-6C00-427D-9194-EA129F91E358}"/>
                </a:ext>
              </a:extLst>
            </p:cNvPr>
            <p:cNvSpPr/>
            <p:nvPr/>
          </p:nvSpPr>
          <p:spPr>
            <a:xfrm>
              <a:off x="8753776" y="3652689"/>
              <a:ext cx="50973" cy="51130"/>
            </a:xfrm>
            <a:custGeom>
              <a:avLst/>
              <a:gdLst>
                <a:gd name="connsiteX0" fmla="*/ 42374 w 50973"/>
                <a:gd name="connsiteY0" fmla="*/ 51130 h 51130"/>
                <a:gd name="connsiteX1" fmla="*/ 36745 w 50973"/>
                <a:gd name="connsiteY1" fmla="*/ 48629 h 51130"/>
                <a:gd name="connsiteX2" fmla="*/ 2345 w 50973"/>
                <a:gd name="connsiteY2" fmla="*/ 14229 h 51130"/>
                <a:gd name="connsiteX3" fmla="*/ 2345 w 50973"/>
                <a:gd name="connsiteY3" fmla="*/ 2345 h 51130"/>
                <a:gd name="connsiteX4" fmla="*/ 14228 w 50973"/>
                <a:gd name="connsiteY4" fmla="*/ 2345 h 51130"/>
                <a:gd name="connsiteX5" fmla="*/ 48628 w 50973"/>
                <a:gd name="connsiteY5" fmla="*/ 36745 h 51130"/>
                <a:gd name="connsiteX6" fmla="*/ 48628 w 50973"/>
                <a:gd name="connsiteY6" fmla="*/ 48629 h 51130"/>
                <a:gd name="connsiteX7" fmla="*/ 42374 w 50973"/>
                <a:gd name="connsiteY7" fmla="*/ 51130 h 51130"/>
                <a:gd name="connsiteX8" fmla="*/ 42374 w 50973"/>
                <a:gd name="connsiteY8" fmla="*/ 51130 h 51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973" h="51130">
                  <a:moveTo>
                    <a:pt x="42374" y="51130"/>
                  </a:moveTo>
                  <a:cubicBezTo>
                    <a:pt x="40498" y="51130"/>
                    <a:pt x="37996" y="50505"/>
                    <a:pt x="36745" y="48629"/>
                  </a:cubicBezTo>
                  <a:lnTo>
                    <a:pt x="2345" y="14229"/>
                  </a:lnTo>
                  <a:cubicBezTo>
                    <a:pt x="-782" y="11102"/>
                    <a:pt x="-782" y="5473"/>
                    <a:pt x="2345" y="2345"/>
                  </a:cubicBezTo>
                  <a:cubicBezTo>
                    <a:pt x="5473" y="-782"/>
                    <a:pt x="11101" y="-782"/>
                    <a:pt x="14228" y="2345"/>
                  </a:cubicBezTo>
                  <a:lnTo>
                    <a:pt x="48628" y="36745"/>
                  </a:lnTo>
                  <a:cubicBezTo>
                    <a:pt x="51755" y="39872"/>
                    <a:pt x="51755" y="45501"/>
                    <a:pt x="48628" y="48629"/>
                  </a:cubicBezTo>
                  <a:cubicBezTo>
                    <a:pt x="46752" y="50505"/>
                    <a:pt x="44250" y="51130"/>
                    <a:pt x="42374" y="51130"/>
                  </a:cubicBezTo>
                  <a:lnTo>
                    <a:pt x="42374" y="5113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82" name="Forma Livre: Forma 281">
              <a:extLst>
                <a:ext uri="{FF2B5EF4-FFF2-40B4-BE49-F238E27FC236}">
                  <a16:creationId xmlns:a16="http://schemas.microsoft.com/office/drawing/2014/main" id="{B962DBB0-5919-4F77-93F5-7FE84B9A352B}"/>
                </a:ext>
              </a:extLst>
            </p:cNvPr>
            <p:cNvSpPr/>
            <p:nvPr/>
          </p:nvSpPr>
          <p:spPr>
            <a:xfrm>
              <a:off x="8773165" y="3633300"/>
              <a:ext cx="50974" cy="51130"/>
            </a:xfrm>
            <a:custGeom>
              <a:avLst/>
              <a:gdLst>
                <a:gd name="connsiteX0" fmla="*/ 42374 w 50974"/>
                <a:gd name="connsiteY0" fmla="*/ 51130 h 51130"/>
                <a:gd name="connsiteX1" fmla="*/ 36745 w 50974"/>
                <a:gd name="connsiteY1" fmla="*/ 48629 h 51130"/>
                <a:gd name="connsiteX2" fmla="*/ 2345 w 50974"/>
                <a:gd name="connsiteY2" fmla="*/ 14229 h 51130"/>
                <a:gd name="connsiteX3" fmla="*/ 2345 w 50974"/>
                <a:gd name="connsiteY3" fmla="*/ 2345 h 51130"/>
                <a:gd name="connsiteX4" fmla="*/ 14229 w 50974"/>
                <a:gd name="connsiteY4" fmla="*/ 2345 h 51130"/>
                <a:gd name="connsiteX5" fmla="*/ 48629 w 50974"/>
                <a:gd name="connsiteY5" fmla="*/ 36745 h 51130"/>
                <a:gd name="connsiteX6" fmla="*/ 48629 w 50974"/>
                <a:gd name="connsiteY6" fmla="*/ 48629 h 51130"/>
                <a:gd name="connsiteX7" fmla="*/ 42374 w 50974"/>
                <a:gd name="connsiteY7" fmla="*/ 51130 h 51130"/>
                <a:gd name="connsiteX8" fmla="*/ 42374 w 50974"/>
                <a:gd name="connsiteY8" fmla="*/ 51130 h 51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974" h="51130">
                  <a:moveTo>
                    <a:pt x="42374" y="51130"/>
                  </a:moveTo>
                  <a:cubicBezTo>
                    <a:pt x="40498" y="51130"/>
                    <a:pt x="37996" y="50505"/>
                    <a:pt x="36745" y="48629"/>
                  </a:cubicBezTo>
                  <a:lnTo>
                    <a:pt x="2345" y="14229"/>
                  </a:lnTo>
                  <a:cubicBezTo>
                    <a:pt x="-782" y="11102"/>
                    <a:pt x="-782" y="5473"/>
                    <a:pt x="2345" y="2345"/>
                  </a:cubicBezTo>
                  <a:cubicBezTo>
                    <a:pt x="5473" y="-782"/>
                    <a:pt x="11102" y="-782"/>
                    <a:pt x="14229" y="2345"/>
                  </a:cubicBezTo>
                  <a:lnTo>
                    <a:pt x="48629" y="36745"/>
                  </a:lnTo>
                  <a:cubicBezTo>
                    <a:pt x="51756" y="39872"/>
                    <a:pt x="51756" y="45501"/>
                    <a:pt x="48629" y="48629"/>
                  </a:cubicBezTo>
                  <a:cubicBezTo>
                    <a:pt x="46752" y="50505"/>
                    <a:pt x="44876" y="51130"/>
                    <a:pt x="42374" y="51130"/>
                  </a:cubicBezTo>
                  <a:lnTo>
                    <a:pt x="42374" y="5113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83" name="Forma Livre: Forma 282">
              <a:extLst>
                <a:ext uri="{FF2B5EF4-FFF2-40B4-BE49-F238E27FC236}">
                  <a16:creationId xmlns:a16="http://schemas.microsoft.com/office/drawing/2014/main" id="{1ACDE70A-E202-42D6-BF08-3542547795A0}"/>
                </a:ext>
              </a:extLst>
            </p:cNvPr>
            <p:cNvSpPr/>
            <p:nvPr/>
          </p:nvSpPr>
          <p:spPr>
            <a:xfrm>
              <a:off x="8791928" y="3615162"/>
              <a:ext cx="50974" cy="51130"/>
            </a:xfrm>
            <a:custGeom>
              <a:avLst/>
              <a:gdLst>
                <a:gd name="connsiteX0" fmla="*/ 42374 w 50974"/>
                <a:gd name="connsiteY0" fmla="*/ 51130 h 51130"/>
                <a:gd name="connsiteX1" fmla="*/ 36745 w 50974"/>
                <a:gd name="connsiteY1" fmla="*/ 48629 h 51130"/>
                <a:gd name="connsiteX2" fmla="*/ 2345 w 50974"/>
                <a:gd name="connsiteY2" fmla="*/ 14229 h 51130"/>
                <a:gd name="connsiteX3" fmla="*/ 2345 w 50974"/>
                <a:gd name="connsiteY3" fmla="*/ 2345 h 51130"/>
                <a:gd name="connsiteX4" fmla="*/ 14229 w 50974"/>
                <a:gd name="connsiteY4" fmla="*/ 2345 h 51130"/>
                <a:gd name="connsiteX5" fmla="*/ 48629 w 50974"/>
                <a:gd name="connsiteY5" fmla="*/ 36745 h 51130"/>
                <a:gd name="connsiteX6" fmla="*/ 48629 w 50974"/>
                <a:gd name="connsiteY6" fmla="*/ 48629 h 51130"/>
                <a:gd name="connsiteX7" fmla="*/ 42374 w 50974"/>
                <a:gd name="connsiteY7" fmla="*/ 51130 h 51130"/>
                <a:gd name="connsiteX8" fmla="*/ 42374 w 50974"/>
                <a:gd name="connsiteY8" fmla="*/ 51130 h 51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974" h="51130">
                  <a:moveTo>
                    <a:pt x="42374" y="51130"/>
                  </a:moveTo>
                  <a:cubicBezTo>
                    <a:pt x="40498" y="51130"/>
                    <a:pt x="37996" y="50505"/>
                    <a:pt x="36745" y="48629"/>
                  </a:cubicBezTo>
                  <a:lnTo>
                    <a:pt x="2345" y="14229"/>
                  </a:lnTo>
                  <a:cubicBezTo>
                    <a:pt x="-782" y="11102"/>
                    <a:pt x="-782" y="5473"/>
                    <a:pt x="2345" y="2345"/>
                  </a:cubicBezTo>
                  <a:cubicBezTo>
                    <a:pt x="5473" y="-782"/>
                    <a:pt x="11102" y="-782"/>
                    <a:pt x="14229" y="2345"/>
                  </a:cubicBezTo>
                  <a:lnTo>
                    <a:pt x="48629" y="36745"/>
                  </a:lnTo>
                  <a:cubicBezTo>
                    <a:pt x="51756" y="39872"/>
                    <a:pt x="51756" y="45501"/>
                    <a:pt x="48629" y="48629"/>
                  </a:cubicBezTo>
                  <a:cubicBezTo>
                    <a:pt x="46127" y="49879"/>
                    <a:pt x="44250" y="51130"/>
                    <a:pt x="42374" y="51130"/>
                  </a:cubicBezTo>
                  <a:lnTo>
                    <a:pt x="42374" y="5113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84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9478969" y="3610002"/>
            <a:ext cx="397785" cy="397785"/>
            <a:chOff x="9466632" y="3610002"/>
            <a:chExt cx="397785" cy="397785"/>
          </a:xfrm>
          <a:solidFill>
            <a:srgbClr val="B1B1A1"/>
          </a:solidFill>
        </p:grpSpPr>
        <p:sp>
          <p:nvSpPr>
            <p:cNvPr id="285" name="Forma Livre: Forma 284">
              <a:extLst>
                <a:ext uri="{FF2B5EF4-FFF2-40B4-BE49-F238E27FC236}">
                  <a16:creationId xmlns:a16="http://schemas.microsoft.com/office/drawing/2014/main" id="{15007F5B-A354-44BF-8B5D-41DA5E96D44D}"/>
                </a:ext>
              </a:extLst>
            </p:cNvPr>
            <p:cNvSpPr/>
            <p:nvPr/>
          </p:nvSpPr>
          <p:spPr>
            <a:xfrm>
              <a:off x="9466632" y="3610002"/>
              <a:ext cx="397785" cy="397785"/>
            </a:xfrm>
            <a:custGeom>
              <a:avLst/>
              <a:gdLst>
                <a:gd name="connsiteX0" fmla="*/ 380899 w 397785"/>
                <a:gd name="connsiteY0" fmla="*/ 397786 h 397785"/>
                <a:gd name="connsiteX1" fmla="*/ 16887 w 397785"/>
                <a:gd name="connsiteY1" fmla="*/ 397786 h 397785"/>
                <a:gd name="connsiteX2" fmla="*/ 0 w 397785"/>
                <a:gd name="connsiteY2" fmla="*/ 380899 h 397785"/>
                <a:gd name="connsiteX3" fmla="*/ 0 w 397785"/>
                <a:gd name="connsiteY3" fmla="*/ 16887 h 397785"/>
                <a:gd name="connsiteX4" fmla="*/ 16887 w 397785"/>
                <a:gd name="connsiteY4" fmla="*/ 0 h 397785"/>
                <a:gd name="connsiteX5" fmla="*/ 380899 w 397785"/>
                <a:gd name="connsiteY5" fmla="*/ 0 h 397785"/>
                <a:gd name="connsiteX6" fmla="*/ 397786 w 397785"/>
                <a:gd name="connsiteY6" fmla="*/ 16887 h 397785"/>
                <a:gd name="connsiteX7" fmla="*/ 397786 w 397785"/>
                <a:gd name="connsiteY7" fmla="*/ 380899 h 397785"/>
                <a:gd name="connsiteX8" fmla="*/ 380899 w 397785"/>
                <a:gd name="connsiteY8" fmla="*/ 397786 h 397785"/>
                <a:gd name="connsiteX9" fmla="*/ 380899 w 397785"/>
                <a:gd name="connsiteY9" fmla="*/ 397786 h 397785"/>
                <a:gd name="connsiteX10" fmla="*/ 33774 w 397785"/>
                <a:gd name="connsiteY10" fmla="*/ 364637 h 397785"/>
                <a:gd name="connsiteX11" fmla="*/ 364011 w 397785"/>
                <a:gd name="connsiteY11" fmla="*/ 364637 h 397785"/>
                <a:gd name="connsiteX12" fmla="*/ 364011 w 397785"/>
                <a:gd name="connsiteY12" fmla="*/ 34400 h 397785"/>
                <a:gd name="connsiteX13" fmla="*/ 33774 w 397785"/>
                <a:gd name="connsiteY13" fmla="*/ 34400 h 397785"/>
                <a:gd name="connsiteX14" fmla="*/ 33774 w 397785"/>
                <a:gd name="connsiteY14" fmla="*/ 364637 h 397785"/>
                <a:gd name="connsiteX15" fmla="*/ 33774 w 397785"/>
                <a:gd name="connsiteY15" fmla="*/ 364637 h 397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97785" h="397785">
                  <a:moveTo>
                    <a:pt x="380899" y="397786"/>
                  </a:moveTo>
                  <a:lnTo>
                    <a:pt x="16887" y="397786"/>
                  </a:lnTo>
                  <a:cubicBezTo>
                    <a:pt x="7505" y="397786"/>
                    <a:pt x="0" y="390281"/>
                    <a:pt x="0" y="380899"/>
                  </a:cubicBezTo>
                  <a:lnTo>
                    <a:pt x="0" y="16887"/>
                  </a:lnTo>
                  <a:cubicBezTo>
                    <a:pt x="0" y="7505"/>
                    <a:pt x="7505" y="0"/>
                    <a:pt x="16887" y="0"/>
                  </a:cubicBezTo>
                  <a:lnTo>
                    <a:pt x="380899" y="0"/>
                  </a:lnTo>
                  <a:cubicBezTo>
                    <a:pt x="390281" y="0"/>
                    <a:pt x="397786" y="7505"/>
                    <a:pt x="397786" y="16887"/>
                  </a:cubicBezTo>
                  <a:lnTo>
                    <a:pt x="397786" y="380899"/>
                  </a:lnTo>
                  <a:cubicBezTo>
                    <a:pt x="397160" y="390281"/>
                    <a:pt x="389654" y="397786"/>
                    <a:pt x="380899" y="397786"/>
                  </a:cubicBezTo>
                  <a:lnTo>
                    <a:pt x="380899" y="397786"/>
                  </a:lnTo>
                  <a:close/>
                  <a:moveTo>
                    <a:pt x="33774" y="364637"/>
                  </a:moveTo>
                  <a:lnTo>
                    <a:pt x="364011" y="364637"/>
                  </a:lnTo>
                  <a:lnTo>
                    <a:pt x="364011" y="34400"/>
                  </a:lnTo>
                  <a:lnTo>
                    <a:pt x="33774" y="34400"/>
                  </a:lnTo>
                  <a:lnTo>
                    <a:pt x="33774" y="364637"/>
                  </a:lnTo>
                  <a:lnTo>
                    <a:pt x="33774" y="364637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86" name="Forma Livre: Forma 285">
              <a:extLst>
                <a:ext uri="{FF2B5EF4-FFF2-40B4-BE49-F238E27FC236}">
                  <a16:creationId xmlns:a16="http://schemas.microsoft.com/office/drawing/2014/main" id="{804E2C9C-E91C-45F3-8284-B0C68711C7FB}"/>
                </a:ext>
              </a:extLst>
            </p:cNvPr>
            <p:cNvSpPr/>
            <p:nvPr/>
          </p:nvSpPr>
          <p:spPr>
            <a:xfrm>
              <a:off x="9471009" y="3749477"/>
              <a:ext cx="387778" cy="33774"/>
            </a:xfrm>
            <a:custGeom>
              <a:avLst/>
              <a:gdLst>
                <a:gd name="connsiteX0" fmla="*/ 370892 w 387778"/>
                <a:gd name="connsiteY0" fmla="*/ 33774 h 33774"/>
                <a:gd name="connsiteX1" fmla="*/ 16888 w 387778"/>
                <a:gd name="connsiteY1" fmla="*/ 33774 h 33774"/>
                <a:gd name="connsiteX2" fmla="*/ 0 w 387778"/>
                <a:gd name="connsiteY2" fmla="*/ 16887 h 33774"/>
                <a:gd name="connsiteX3" fmla="*/ 16888 w 387778"/>
                <a:gd name="connsiteY3" fmla="*/ 0 h 33774"/>
                <a:gd name="connsiteX4" fmla="*/ 370892 w 387778"/>
                <a:gd name="connsiteY4" fmla="*/ 0 h 33774"/>
                <a:gd name="connsiteX5" fmla="*/ 387779 w 387778"/>
                <a:gd name="connsiteY5" fmla="*/ 16887 h 33774"/>
                <a:gd name="connsiteX6" fmla="*/ 370892 w 387778"/>
                <a:gd name="connsiteY6" fmla="*/ 33774 h 33774"/>
                <a:gd name="connsiteX7" fmla="*/ 370892 w 387778"/>
                <a:gd name="connsiteY7" fmla="*/ 33774 h 33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7778" h="33774">
                  <a:moveTo>
                    <a:pt x="370892" y="33774"/>
                  </a:moveTo>
                  <a:lnTo>
                    <a:pt x="16888" y="33774"/>
                  </a:lnTo>
                  <a:cubicBezTo>
                    <a:pt x="7506" y="33774"/>
                    <a:pt x="0" y="26269"/>
                    <a:pt x="0" y="16887"/>
                  </a:cubicBezTo>
                  <a:cubicBezTo>
                    <a:pt x="0" y="7505"/>
                    <a:pt x="7506" y="0"/>
                    <a:pt x="16888" y="0"/>
                  </a:cubicBezTo>
                  <a:lnTo>
                    <a:pt x="370892" y="0"/>
                  </a:lnTo>
                  <a:cubicBezTo>
                    <a:pt x="380273" y="0"/>
                    <a:pt x="387779" y="7505"/>
                    <a:pt x="387779" y="16887"/>
                  </a:cubicBezTo>
                  <a:cubicBezTo>
                    <a:pt x="387153" y="26269"/>
                    <a:pt x="379648" y="33774"/>
                    <a:pt x="370892" y="33774"/>
                  </a:cubicBezTo>
                  <a:lnTo>
                    <a:pt x="370892" y="33774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87" name="Forma Livre: Forma 286">
              <a:extLst>
                <a:ext uri="{FF2B5EF4-FFF2-40B4-BE49-F238E27FC236}">
                  <a16:creationId xmlns:a16="http://schemas.microsoft.com/office/drawing/2014/main" id="{668A8DA9-7009-494F-979F-F15103921FF6}"/>
                </a:ext>
              </a:extLst>
            </p:cNvPr>
            <p:cNvSpPr/>
            <p:nvPr/>
          </p:nvSpPr>
          <p:spPr>
            <a:xfrm>
              <a:off x="9567954" y="3759485"/>
              <a:ext cx="16261" cy="227038"/>
            </a:xfrm>
            <a:custGeom>
              <a:avLst/>
              <a:gdLst>
                <a:gd name="connsiteX0" fmla="*/ 8131 w 16261"/>
                <a:gd name="connsiteY0" fmla="*/ 227038 h 227038"/>
                <a:gd name="connsiteX1" fmla="*/ 0 w 16261"/>
                <a:gd name="connsiteY1" fmla="*/ 218907 h 227038"/>
                <a:gd name="connsiteX2" fmla="*/ 0 w 16261"/>
                <a:gd name="connsiteY2" fmla="*/ 8131 h 227038"/>
                <a:gd name="connsiteX3" fmla="*/ 8131 w 16261"/>
                <a:gd name="connsiteY3" fmla="*/ 0 h 227038"/>
                <a:gd name="connsiteX4" fmla="*/ 16262 w 16261"/>
                <a:gd name="connsiteY4" fmla="*/ 8131 h 227038"/>
                <a:gd name="connsiteX5" fmla="*/ 16262 w 16261"/>
                <a:gd name="connsiteY5" fmla="*/ 218907 h 227038"/>
                <a:gd name="connsiteX6" fmla="*/ 8131 w 16261"/>
                <a:gd name="connsiteY6" fmla="*/ 227038 h 227038"/>
                <a:gd name="connsiteX7" fmla="*/ 8131 w 16261"/>
                <a:gd name="connsiteY7" fmla="*/ 227038 h 227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261" h="227038">
                  <a:moveTo>
                    <a:pt x="8131" y="227038"/>
                  </a:moveTo>
                  <a:cubicBezTo>
                    <a:pt x="3753" y="227038"/>
                    <a:pt x="0" y="223285"/>
                    <a:pt x="0" y="218907"/>
                  </a:cubicBezTo>
                  <a:lnTo>
                    <a:pt x="0" y="8131"/>
                  </a:lnTo>
                  <a:cubicBezTo>
                    <a:pt x="0" y="3753"/>
                    <a:pt x="3753" y="0"/>
                    <a:pt x="8131" y="0"/>
                  </a:cubicBezTo>
                  <a:cubicBezTo>
                    <a:pt x="12509" y="0"/>
                    <a:pt x="16262" y="3753"/>
                    <a:pt x="16262" y="8131"/>
                  </a:cubicBezTo>
                  <a:lnTo>
                    <a:pt x="16262" y="218907"/>
                  </a:lnTo>
                  <a:cubicBezTo>
                    <a:pt x="16262" y="223285"/>
                    <a:pt x="12509" y="227038"/>
                    <a:pt x="8131" y="227038"/>
                  </a:cubicBezTo>
                  <a:lnTo>
                    <a:pt x="8131" y="227038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88" name="Forma Livre: Forma 287">
              <a:extLst>
                <a:ext uri="{FF2B5EF4-FFF2-40B4-BE49-F238E27FC236}">
                  <a16:creationId xmlns:a16="http://schemas.microsoft.com/office/drawing/2014/main" id="{C934FB16-D614-467E-9C16-D163369B23A8}"/>
                </a:ext>
              </a:extLst>
            </p:cNvPr>
            <p:cNvSpPr/>
            <p:nvPr/>
          </p:nvSpPr>
          <p:spPr>
            <a:xfrm>
              <a:off x="9659270" y="3759485"/>
              <a:ext cx="16262" cy="227038"/>
            </a:xfrm>
            <a:custGeom>
              <a:avLst/>
              <a:gdLst>
                <a:gd name="connsiteX0" fmla="*/ 8131 w 16262"/>
                <a:gd name="connsiteY0" fmla="*/ 227038 h 227038"/>
                <a:gd name="connsiteX1" fmla="*/ 0 w 16262"/>
                <a:gd name="connsiteY1" fmla="*/ 218907 h 227038"/>
                <a:gd name="connsiteX2" fmla="*/ 0 w 16262"/>
                <a:gd name="connsiteY2" fmla="*/ 8131 h 227038"/>
                <a:gd name="connsiteX3" fmla="*/ 8131 w 16262"/>
                <a:gd name="connsiteY3" fmla="*/ 0 h 227038"/>
                <a:gd name="connsiteX4" fmla="*/ 16262 w 16262"/>
                <a:gd name="connsiteY4" fmla="*/ 8131 h 227038"/>
                <a:gd name="connsiteX5" fmla="*/ 16262 w 16262"/>
                <a:gd name="connsiteY5" fmla="*/ 218907 h 227038"/>
                <a:gd name="connsiteX6" fmla="*/ 8131 w 16262"/>
                <a:gd name="connsiteY6" fmla="*/ 227038 h 227038"/>
                <a:gd name="connsiteX7" fmla="*/ 8131 w 16262"/>
                <a:gd name="connsiteY7" fmla="*/ 227038 h 227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262" h="227038">
                  <a:moveTo>
                    <a:pt x="8131" y="227038"/>
                  </a:moveTo>
                  <a:cubicBezTo>
                    <a:pt x="3753" y="227038"/>
                    <a:pt x="0" y="223285"/>
                    <a:pt x="0" y="218907"/>
                  </a:cubicBezTo>
                  <a:lnTo>
                    <a:pt x="0" y="8131"/>
                  </a:lnTo>
                  <a:cubicBezTo>
                    <a:pt x="0" y="3753"/>
                    <a:pt x="3753" y="0"/>
                    <a:pt x="8131" y="0"/>
                  </a:cubicBezTo>
                  <a:cubicBezTo>
                    <a:pt x="12509" y="0"/>
                    <a:pt x="16262" y="3753"/>
                    <a:pt x="16262" y="8131"/>
                  </a:cubicBezTo>
                  <a:lnTo>
                    <a:pt x="16262" y="218907"/>
                  </a:lnTo>
                  <a:cubicBezTo>
                    <a:pt x="16262" y="223285"/>
                    <a:pt x="12509" y="227038"/>
                    <a:pt x="8131" y="227038"/>
                  </a:cubicBezTo>
                  <a:lnTo>
                    <a:pt x="8131" y="227038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89" name="Forma Livre: Forma 288">
              <a:extLst>
                <a:ext uri="{FF2B5EF4-FFF2-40B4-BE49-F238E27FC236}">
                  <a16:creationId xmlns:a16="http://schemas.microsoft.com/office/drawing/2014/main" id="{FD59E453-9CC7-4EAD-AF4A-0548288ECC2D}"/>
                </a:ext>
              </a:extLst>
            </p:cNvPr>
            <p:cNvSpPr/>
            <p:nvPr/>
          </p:nvSpPr>
          <p:spPr>
            <a:xfrm>
              <a:off x="9750586" y="3759485"/>
              <a:ext cx="16261" cy="227038"/>
            </a:xfrm>
            <a:custGeom>
              <a:avLst/>
              <a:gdLst>
                <a:gd name="connsiteX0" fmla="*/ 8130 w 16261"/>
                <a:gd name="connsiteY0" fmla="*/ 227038 h 227038"/>
                <a:gd name="connsiteX1" fmla="*/ 0 w 16261"/>
                <a:gd name="connsiteY1" fmla="*/ 218907 h 227038"/>
                <a:gd name="connsiteX2" fmla="*/ 0 w 16261"/>
                <a:gd name="connsiteY2" fmla="*/ 8131 h 227038"/>
                <a:gd name="connsiteX3" fmla="*/ 8130 w 16261"/>
                <a:gd name="connsiteY3" fmla="*/ 0 h 227038"/>
                <a:gd name="connsiteX4" fmla="*/ 16262 w 16261"/>
                <a:gd name="connsiteY4" fmla="*/ 8131 h 227038"/>
                <a:gd name="connsiteX5" fmla="*/ 16262 w 16261"/>
                <a:gd name="connsiteY5" fmla="*/ 218907 h 227038"/>
                <a:gd name="connsiteX6" fmla="*/ 8130 w 16261"/>
                <a:gd name="connsiteY6" fmla="*/ 227038 h 227038"/>
                <a:gd name="connsiteX7" fmla="*/ 8130 w 16261"/>
                <a:gd name="connsiteY7" fmla="*/ 227038 h 227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261" h="227038">
                  <a:moveTo>
                    <a:pt x="8130" y="227038"/>
                  </a:moveTo>
                  <a:cubicBezTo>
                    <a:pt x="3753" y="227038"/>
                    <a:pt x="0" y="223285"/>
                    <a:pt x="0" y="218907"/>
                  </a:cubicBezTo>
                  <a:lnTo>
                    <a:pt x="0" y="8131"/>
                  </a:lnTo>
                  <a:cubicBezTo>
                    <a:pt x="0" y="3753"/>
                    <a:pt x="3753" y="0"/>
                    <a:pt x="8130" y="0"/>
                  </a:cubicBezTo>
                  <a:cubicBezTo>
                    <a:pt x="12509" y="0"/>
                    <a:pt x="16262" y="3753"/>
                    <a:pt x="16262" y="8131"/>
                  </a:cubicBezTo>
                  <a:lnTo>
                    <a:pt x="16262" y="218907"/>
                  </a:lnTo>
                  <a:cubicBezTo>
                    <a:pt x="16262" y="223285"/>
                    <a:pt x="12509" y="227038"/>
                    <a:pt x="8130" y="227038"/>
                  </a:cubicBezTo>
                  <a:lnTo>
                    <a:pt x="8130" y="227038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90" name="Forma Livre: Forma 289">
              <a:extLst>
                <a:ext uri="{FF2B5EF4-FFF2-40B4-BE49-F238E27FC236}">
                  <a16:creationId xmlns:a16="http://schemas.microsoft.com/office/drawing/2014/main" id="{1507BF17-ED37-42B8-8DC8-80DBFC50D138}"/>
                </a:ext>
              </a:extLst>
            </p:cNvPr>
            <p:cNvSpPr/>
            <p:nvPr/>
          </p:nvSpPr>
          <p:spPr>
            <a:xfrm>
              <a:off x="9551067" y="3766990"/>
              <a:ext cx="50035" cy="125089"/>
            </a:xfrm>
            <a:custGeom>
              <a:avLst/>
              <a:gdLst>
                <a:gd name="connsiteX0" fmla="*/ 50036 w 50035"/>
                <a:gd name="connsiteY0" fmla="*/ 125090 h 125089"/>
                <a:gd name="connsiteX1" fmla="*/ 0 w 50035"/>
                <a:gd name="connsiteY1" fmla="*/ 125090 h 125089"/>
                <a:gd name="connsiteX2" fmla="*/ 0 w 50035"/>
                <a:gd name="connsiteY2" fmla="*/ 0 h 125089"/>
                <a:gd name="connsiteX3" fmla="*/ 50036 w 50035"/>
                <a:gd name="connsiteY3" fmla="*/ 0 h 125089"/>
                <a:gd name="connsiteX4" fmla="*/ 50036 w 50035"/>
                <a:gd name="connsiteY4" fmla="*/ 125090 h 125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035" h="125089">
                  <a:moveTo>
                    <a:pt x="50036" y="125090"/>
                  </a:moveTo>
                  <a:lnTo>
                    <a:pt x="0" y="125090"/>
                  </a:lnTo>
                  <a:lnTo>
                    <a:pt x="0" y="0"/>
                  </a:lnTo>
                  <a:lnTo>
                    <a:pt x="50036" y="0"/>
                  </a:lnTo>
                  <a:lnTo>
                    <a:pt x="50036" y="12509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91" name="Forma Livre: Forma 290">
              <a:extLst>
                <a:ext uri="{FF2B5EF4-FFF2-40B4-BE49-F238E27FC236}">
                  <a16:creationId xmlns:a16="http://schemas.microsoft.com/office/drawing/2014/main" id="{8CDC65F8-5F41-4337-A8A5-074CB17AAC3C}"/>
                </a:ext>
              </a:extLst>
            </p:cNvPr>
            <p:cNvSpPr/>
            <p:nvPr/>
          </p:nvSpPr>
          <p:spPr>
            <a:xfrm>
              <a:off x="9642383" y="3766990"/>
              <a:ext cx="50035" cy="125089"/>
            </a:xfrm>
            <a:custGeom>
              <a:avLst/>
              <a:gdLst>
                <a:gd name="connsiteX0" fmla="*/ 50036 w 50035"/>
                <a:gd name="connsiteY0" fmla="*/ 125090 h 125089"/>
                <a:gd name="connsiteX1" fmla="*/ 0 w 50035"/>
                <a:gd name="connsiteY1" fmla="*/ 125090 h 125089"/>
                <a:gd name="connsiteX2" fmla="*/ 0 w 50035"/>
                <a:gd name="connsiteY2" fmla="*/ 0 h 125089"/>
                <a:gd name="connsiteX3" fmla="*/ 50036 w 50035"/>
                <a:gd name="connsiteY3" fmla="*/ 0 h 125089"/>
                <a:gd name="connsiteX4" fmla="*/ 50036 w 50035"/>
                <a:gd name="connsiteY4" fmla="*/ 125090 h 125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035" h="125089">
                  <a:moveTo>
                    <a:pt x="50036" y="125090"/>
                  </a:moveTo>
                  <a:lnTo>
                    <a:pt x="0" y="125090"/>
                  </a:lnTo>
                  <a:lnTo>
                    <a:pt x="0" y="0"/>
                  </a:lnTo>
                  <a:lnTo>
                    <a:pt x="50036" y="0"/>
                  </a:lnTo>
                  <a:lnTo>
                    <a:pt x="50036" y="12509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92" name="Forma Livre: Forma 291">
              <a:extLst>
                <a:ext uri="{FF2B5EF4-FFF2-40B4-BE49-F238E27FC236}">
                  <a16:creationId xmlns:a16="http://schemas.microsoft.com/office/drawing/2014/main" id="{E1F55CA9-50AA-4296-95B2-F39F852A2C4A}"/>
                </a:ext>
              </a:extLst>
            </p:cNvPr>
            <p:cNvSpPr/>
            <p:nvPr/>
          </p:nvSpPr>
          <p:spPr>
            <a:xfrm>
              <a:off x="9733698" y="3766990"/>
              <a:ext cx="50035" cy="125089"/>
            </a:xfrm>
            <a:custGeom>
              <a:avLst/>
              <a:gdLst>
                <a:gd name="connsiteX0" fmla="*/ 50036 w 50035"/>
                <a:gd name="connsiteY0" fmla="*/ 125090 h 125089"/>
                <a:gd name="connsiteX1" fmla="*/ 0 w 50035"/>
                <a:gd name="connsiteY1" fmla="*/ 125090 h 125089"/>
                <a:gd name="connsiteX2" fmla="*/ 0 w 50035"/>
                <a:gd name="connsiteY2" fmla="*/ 0 h 125089"/>
                <a:gd name="connsiteX3" fmla="*/ 50036 w 50035"/>
                <a:gd name="connsiteY3" fmla="*/ 0 h 125089"/>
                <a:gd name="connsiteX4" fmla="*/ 50036 w 50035"/>
                <a:gd name="connsiteY4" fmla="*/ 125090 h 125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035" h="125089">
                  <a:moveTo>
                    <a:pt x="50036" y="125090"/>
                  </a:moveTo>
                  <a:lnTo>
                    <a:pt x="0" y="125090"/>
                  </a:lnTo>
                  <a:lnTo>
                    <a:pt x="0" y="0"/>
                  </a:lnTo>
                  <a:lnTo>
                    <a:pt x="50036" y="0"/>
                  </a:lnTo>
                  <a:lnTo>
                    <a:pt x="50036" y="12509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93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2342593" y="5733218"/>
            <a:ext cx="397003" cy="277258"/>
            <a:chOff x="2330256" y="5733218"/>
            <a:chExt cx="397003" cy="277258"/>
          </a:xfrm>
          <a:solidFill>
            <a:srgbClr val="B1B1A1"/>
          </a:solidFill>
        </p:grpSpPr>
        <p:sp>
          <p:nvSpPr>
            <p:cNvPr id="294" name="Forma Livre: Forma 293">
              <a:extLst>
                <a:ext uri="{FF2B5EF4-FFF2-40B4-BE49-F238E27FC236}">
                  <a16:creationId xmlns:a16="http://schemas.microsoft.com/office/drawing/2014/main" id="{66B26A45-EE8A-4505-80AC-E39502F1F48C}"/>
                </a:ext>
              </a:extLst>
            </p:cNvPr>
            <p:cNvSpPr/>
            <p:nvPr/>
          </p:nvSpPr>
          <p:spPr>
            <a:xfrm>
              <a:off x="2402339" y="5772806"/>
              <a:ext cx="324920" cy="203896"/>
            </a:xfrm>
            <a:custGeom>
              <a:avLst/>
              <a:gdLst>
                <a:gd name="connsiteX0" fmla="*/ 162460 w 324920"/>
                <a:gd name="connsiteY0" fmla="*/ 203897 h 203896"/>
                <a:gd name="connsiteX1" fmla="*/ 2345 w 324920"/>
                <a:gd name="connsiteY1" fmla="*/ 110705 h 203896"/>
                <a:gd name="connsiteX2" fmla="*/ 2345 w 324920"/>
                <a:gd name="connsiteY2" fmla="*/ 93192 h 203896"/>
                <a:gd name="connsiteX3" fmla="*/ 162460 w 324920"/>
                <a:gd name="connsiteY3" fmla="*/ 0 h 203896"/>
                <a:gd name="connsiteX4" fmla="*/ 322575 w 324920"/>
                <a:gd name="connsiteY4" fmla="*/ 93192 h 203896"/>
                <a:gd name="connsiteX5" fmla="*/ 322575 w 324920"/>
                <a:gd name="connsiteY5" fmla="*/ 110705 h 203896"/>
                <a:gd name="connsiteX6" fmla="*/ 162460 w 324920"/>
                <a:gd name="connsiteY6" fmla="*/ 203897 h 203896"/>
                <a:gd name="connsiteX7" fmla="*/ 162460 w 324920"/>
                <a:gd name="connsiteY7" fmla="*/ 203897 h 203896"/>
                <a:gd name="connsiteX8" fmla="*/ 38622 w 324920"/>
                <a:gd name="connsiteY8" fmla="*/ 101948 h 203896"/>
                <a:gd name="connsiteX9" fmla="*/ 162460 w 324920"/>
                <a:gd name="connsiteY9" fmla="*/ 168246 h 203896"/>
                <a:gd name="connsiteX10" fmla="*/ 286299 w 324920"/>
                <a:gd name="connsiteY10" fmla="*/ 101948 h 203896"/>
                <a:gd name="connsiteX11" fmla="*/ 162460 w 324920"/>
                <a:gd name="connsiteY11" fmla="*/ 35651 h 203896"/>
                <a:gd name="connsiteX12" fmla="*/ 38622 w 324920"/>
                <a:gd name="connsiteY12" fmla="*/ 101948 h 203896"/>
                <a:gd name="connsiteX13" fmla="*/ 38622 w 324920"/>
                <a:gd name="connsiteY13" fmla="*/ 101948 h 203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24920" h="203896">
                  <a:moveTo>
                    <a:pt x="162460" y="203897"/>
                  </a:moveTo>
                  <a:cubicBezTo>
                    <a:pt x="96163" y="203897"/>
                    <a:pt x="34869" y="168246"/>
                    <a:pt x="2345" y="110705"/>
                  </a:cubicBezTo>
                  <a:cubicBezTo>
                    <a:pt x="-782" y="105075"/>
                    <a:pt x="-782" y="98821"/>
                    <a:pt x="2345" y="93192"/>
                  </a:cubicBezTo>
                  <a:cubicBezTo>
                    <a:pt x="34869" y="35651"/>
                    <a:pt x="96163" y="0"/>
                    <a:pt x="162460" y="0"/>
                  </a:cubicBezTo>
                  <a:cubicBezTo>
                    <a:pt x="228758" y="0"/>
                    <a:pt x="290052" y="35651"/>
                    <a:pt x="322575" y="93192"/>
                  </a:cubicBezTo>
                  <a:cubicBezTo>
                    <a:pt x="325703" y="98821"/>
                    <a:pt x="325703" y="105075"/>
                    <a:pt x="322575" y="110705"/>
                  </a:cubicBezTo>
                  <a:cubicBezTo>
                    <a:pt x="290052" y="168246"/>
                    <a:pt x="228758" y="203897"/>
                    <a:pt x="162460" y="203897"/>
                  </a:cubicBezTo>
                  <a:lnTo>
                    <a:pt x="162460" y="203897"/>
                  </a:lnTo>
                  <a:close/>
                  <a:moveTo>
                    <a:pt x="38622" y="101948"/>
                  </a:moveTo>
                  <a:cubicBezTo>
                    <a:pt x="66141" y="143228"/>
                    <a:pt x="112424" y="168246"/>
                    <a:pt x="162460" y="168246"/>
                  </a:cubicBezTo>
                  <a:cubicBezTo>
                    <a:pt x="212496" y="168246"/>
                    <a:pt x="258780" y="143228"/>
                    <a:pt x="286299" y="101948"/>
                  </a:cubicBezTo>
                  <a:cubicBezTo>
                    <a:pt x="258780" y="60669"/>
                    <a:pt x="212496" y="35651"/>
                    <a:pt x="162460" y="35651"/>
                  </a:cubicBezTo>
                  <a:cubicBezTo>
                    <a:pt x="112424" y="35025"/>
                    <a:pt x="66141" y="60669"/>
                    <a:pt x="38622" y="101948"/>
                  </a:cubicBezTo>
                  <a:lnTo>
                    <a:pt x="38622" y="101948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95" name="Forma Livre: Forma 294">
              <a:extLst>
                <a:ext uri="{FF2B5EF4-FFF2-40B4-BE49-F238E27FC236}">
                  <a16:creationId xmlns:a16="http://schemas.microsoft.com/office/drawing/2014/main" id="{AA7EAF19-8751-4F91-A354-90806872D9FF}"/>
                </a:ext>
              </a:extLst>
            </p:cNvPr>
            <p:cNvSpPr/>
            <p:nvPr/>
          </p:nvSpPr>
          <p:spPr>
            <a:xfrm>
              <a:off x="2330256" y="5788775"/>
              <a:ext cx="109922" cy="172291"/>
            </a:xfrm>
            <a:custGeom>
              <a:avLst/>
              <a:gdLst>
                <a:gd name="connsiteX0" fmla="*/ 17513 w 109922"/>
                <a:gd name="connsiteY0" fmla="*/ 172292 h 172291"/>
                <a:gd name="connsiteX1" fmla="*/ 8131 w 109922"/>
                <a:gd name="connsiteY1" fmla="*/ 169790 h 172291"/>
                <a:gd name="connsiteX2" fmla="*/ 0 w 109922"/>
                <a:gd name="connsiteY2" fmla="*/ 154779 h 172291"/>
                <a:gd name="connsiteX3" fmla="*/ 0 w 109922"/>
                <a:gd name="connsiteY3" fmla="*/ 17806 h 172291"/>
                <a:gd name="connsiteX4" fmla="*/ 8131 w 109922"/>
                <a:gd name="connsiteY4" fmla="*/ 2795 h 172291"/>
                <a:gd name="connsiteX5" fmla="*/ 25018 w 109922"/>
                <a:gd name="connsiteY5" fmla="*/ 1544 h 172291"/>
                <a:gd name="connsiteX6" fmla="*/ 107577 w 109922"/>
                <a:gd name="connsiteY6" fmla="*/ 77223 h 172291"/>
                <a:gd name="connsiteX7" fmla="*/ 107577 w 109922"/>
                <a:gd name="connsiteY7" fmla="*/ 94736 h 172291"/>
                <a:gd name="connsiteX8" fmla="*/ 25018 w 109922"/>
                <a:gd name="connsiteY8" fmla="*/ 170415 h 172291"/>
                <a:gd name="connsiteX9" fmla="*/ 17513 w 109922"/>
                <a:gd name="connsiteY9" fmla="*/ 172292 h 172291"/>
                <a:gd name="connsiteX10" fmla="*/ 17513 w 109922"/>
                <a:gd name="connsiteY10" fmla="*/ 172292 h 172291"/>
                <a:gd name="connsiteX11" fmla="*/ 35651 w 109922"/>
                <a:gd name="connsiteY11" fmla="*/ 48452 h 172291"/>
                <a:gd name="connsiteX12" fmla="*/ 35651 w 109922"/>
                <a:gd name="connsiteY12" fmla="*/ 123506 h 172291"/>
                <a:gd name="connsiteX13" fmla="*/ 71301 w 109922"/>
                <a:gd name="connsiteY13" fmla="*/ 85979 h 172291"/>
                <a:gd name="connsiteX14" fmla="*/ 35651 w 109922"/>
                <a:gd name="connsiteY14" fmla="*/ 48452 h 172291"/>
                <a:gd name="connsiteX15" fmla="*/ 35651 w 109922"/>
                <a:gd name="connsiteY15" fmla="*/ 48452 h 172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9922" h="172291">
                  <a:moveTo>
                    <a:pt x="17513" y="172292"/>
                  </a:moveTo>
                  <a:cubicBezTo>
                    <a:pt x="14385" y="172292"/>
                    <a:pt x="10633" y="171666"/>
                    <a:pt x="8131" y="169790"/>
                  </a:cubicBezTo>
                  <a:cubicBezTo>
                    <a:pt x="3127" y="166662"/>
                    <a:pt x="0" y="161033"/>
                    <a:pt x="0" y="154779"/>
                  </a:cubicBezTo>
                  <a:lnTo>
                    <a:pt x="0" y="17806"/>
                  </a:lnTo>
                  <a:cubicBezTo>
                    <a:pt x="0" y="11551"/>
                    <a:pt x="3127" y="5922"/>
                    <a:pt x="8131" y="2795"/>
                  </a:cubicBezTo>
                  <a:cubicBezTo>
                    <a:pt x="13134" y="-333"/>
                    <a:pt x="20014" y="-958"/>
                    <a:pt x="25018" y="1544"/>
                  </a:cubicBezTo>
                  <a:cubicBezTo>
                    <a:pt x="60043" y="17806"/>
                    <a:pt x="88188" y="44074"/>
                    <a:pt x="107577" y="77223"/>
                  </a:cubicBezTo>
                  <a:cubicBezTo>
                    <a:pt x="110705" y="82852"/>
                    <a:pt x="110705" y="89106"/>
                    <a:pt x="107577" y="94736"/>
                  </a:cubicBezTo>
                  <a:cubicBezTo>
                    <a:pt x="88814" y="127884"/>
                    <a:pt x="60043" y="154153"/>
                    <a:pt x="25018" y="170415"/>
                  </a:cubicBezTo>
                  <a:cubicBezTo>
                    <a:pt x="23142" y="171666"/>
                    <a:pt x="20640" y="172292"/>
                    <a:pt x="17513" y="172292"/>
                  </a:cubicBezTo>
                  <a:lnTo>
                    <a:pt x="17513" y="172292"/>
                  </a:lnTo>
                  <a:close/>
                  <a:moveTo>
                    <a:pt x="35651" y="48452"/>
                  </a:moveTo>
                  <a:lnTo>
                    <a:pt x="35651" y="123506"/>
                  </a:lnTo>
                  <a:cubicBezTo>
                    <a:pt x="49411" y="113499"/>
                    <a:pt x="61920" y="100365"/>
                    <a:pt x="71301" y="85979"/>
                  </a:cubicBezTo>
                  <a:cubicBezTo>
                    <a:pt x="61920" y="71594"/>
                    <a:pt x="49411" y="58460"/>
                    <a:pt x="35651" y="48452"/>
                  </a:cubicBezTo>
                  <a:lnTo>
                    <a:pt x="35651" y="48452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96" name="Forma Livre: Forma 295">
              <a:extLst>
                <a:ext uri="{FF2B5EF4-FFF2-40B4-BE49-F238E27FC236}">
                  <a16:creationId xmlns:a16="http://schemas.microsoft.com/office/drawing/2014/main" id="{5CFD715F-BE7B-4E05-80AF-2DD1CF7403DD}"/>
                </a:ext>
              </a:extLst>
            </p:cNvPr>
            <p:cNvSpPr/>
            <p:nvPr/>
          </p:nvSpPr>
          <p:spPr>
            <a:xfrm>
              <a:off x="2614210" y="5854740"/>
              <a:ext cx="27519" cy="27519"/>
            </a:xfrm>
            <a:custGeom>
              <a:avLst/>
              <a:gdLst>
                <a:gd name="connsiteX0" fmla="*/ 13760 w 27519"/>
                <a:gd name="connsiteY0" fmla="*/ 0 h 27519"/>
                <a:gd name="connsiteX1" fmla="*/ 0 w 27519"/>
                <a:gd name="connsiteY1" fmla="*/ 13760 h 27519"/>
                <a:gd name="connsiteX2" fmla="*/ 13760 w 27519"/>
                <a:gd name="connsiteY2" fmla="*/ 27520 h 27519"/>
                <a:gd name="connsiteX3" fmla="*/ 27520 w 27519"/>
                <a:gd name="connsiteY3" fmla="*/ 13760 h 27519"/>
                <a:gd name="connsiteX4" fmla="*/ 13760 w 27519"/>
                <a:gd name="connsiteY4" fmla="*/ 0 h 27519"/>
                <a:gd name="connsiteX5" fmla="*/ 13760 w 27519"/>
                <a:gd name="connsiteY5" fmla="*/ 0 h 27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519" h="27519">
                  <a:moveTo>
                    <a:pt x="13760" y="0"/>
                  </a:moveTo>
                  <a:cubicBezTo>
                    <a:pt x="6254" y="0"/>
                    <a:pt x="0" y="6254"/>
                    <a:pt x="0" y="13760"/>
                  </a:cubicBezTo>
                  <a:cubicBezTo>
                    <a:pt x="0" y="21265"/>
                    <a:pt x="6254" y="27520"/>
                    <a:pt x="13760" y="27520"/>
                  </a:cubicBezTo>
                  <a:cubicBezTo>
                    <a:pt x="21265" y="27520"/>
                    <a:pt x="27520" y="21265"/>
                    <a:pt x="27520" y="13760"/>
                  </a:cubicBezTo>
                  <a:cubicBezTo>
                    <a:pt x="27520" y="6254"/>
                    <a:pt x="21265" y="0"/>
                    <a:pt x="13760" y="0"/>
                  </a:cubicBezTo>
                  <a:lnTo>
                    <a:pt x="13760" y="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97" name="Forma Livre: Forma 296">
              <a:extLst>
                <a:ext uri="{FF2B5EF4-FFF2-40B4-BE49-F238E27FC236}">
                  <a16:creationId xmlns:a16="http://schemas.microsoft.com/office/drawing/2014/main" id="{5BF17FFF-0F12-49CD-922F-BDA7AD20812A}"/>
                </a:ext>
              </a:extLst>
            </p:cNvPr>
            <p:cNvSpPr/>
            <p:nvPr/>
          </p:nvSpPr>
          <p:spPr>
            <a:xfrm>
              <a:off x="2435331" y="5733218"/>
              <a:ext cx="202270" cy="87747"/>
            </a:xfrm>
            <a:custGeom>
              <a:avLst/>
              <a:gdLst>
                <a:gd name="connsiteX0" fmla="*/ 42531 w 202270"/>
                <a:gd name="connsiteY0" fmla="*/ 87747 h 87747"/>
                <a:gd name="connsiteX1" fmla="*/ 35025 w 202270"/>
                <a:gd name="connsiteY1" fmla="*/ 82744 h 87747"/>
                <a:gd name="connsiteX2" fmla="*/ 15636 w 202270"/>
                <a:gd name="connsiteY2" fmla="*/ 52722 h 87747"/>
                <a:gd name="connsiteX3" fmla="*/ 3127 w 202270"/>
                <a:gd name="connsiteY3" fmla="*/ 40213 h 87747"/>
                <a:gd name="connsiteX4" fmla="*/ 0 w 202270"/>
                <a:gd name="connsiteY4" fmla="*/ 33333 h 87747"/>
                <a:gd name="connsiteX5" fmla="*/ 3753 w 202270"/>
                <a:gd name="connsiteY5" fmla="*/ 27079 h 87747"/>
                <a:gd name="connsiteX6" fmla="*/ 101948 w 202270"/>
                <a:gd name="connsiteY6" fmla="*/ 810 h 87747"/>
                <a:gd name="connsiteX7" fmla="*/ 200769 w 202270"/>
                <a:gd name="connsiteY7" fmla="*/ 57726 h 87747"/>
                <a:gd name="connsiteX8" fmla="*/ 198893 w 202270"/>
                <a:gd name="connsiteY8" fmla="*/ 69609 h 87747"/>
                <a:gd name="connsiteX9" fmla="*/ 187009 w 202270"/>
                <a:gd name="connsiteY9" fmla="*/ 67733 h 87747"/>
                <a:gd name="connsiteX10" fmla="*/ 99446 w 202270"/>
                <a:gd name="connsiteY10" fmla="*/ 17697 h 87747"/>
                <a:gd name="connsiteX11" fmla="*/ 21265 w 202270"/>
                <a:gd name="connsiteY11" fmla="*/ 35209 h 87747"/>
                <a:gd name="connsiteX12" fmla="*/ 27520 w 202270"/>
                <a:gd name="connsiteY12" fmla="*/ 42090 h 87747"/>
                <a:gd name="connsiteX13" fmla="*/ 49411 w 202270"/>
                <a:gd name="connsiteY13" fmla="*/ 75864 h 87747"/>
                <a:gd name="connsiteX14" fmla="*/ 45032 w 202270"/>
                <a:gd name="connsiteY14" fmla="*/ 87122 h 87747"/>
                <a:gd name="connsiteX15" fmla="*/ 42531 w 202270"/>
                <a:gd name="connsiteY15" fmla="*/ 87747 h 87747"/>
                <a:gd name="connsiteX16" fmla="*/ 42531 w 202270"/>
                <a:gd name="connsiteY16" fmla="*/ 87747 h 87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2270" h="87747">
                  <a:moveTo>
                    <a:pt x="42531" y="87747"/>
                  </a:moveTo>
                  <a:cubicBezTo>
                    <a:pt x="39403" y="87747"/>
                    <a:pt x="36276" y="85871"/>
                    <a:pt x="35025" y="82744"/>
                  </a:cubicBezTo>
                  <a:cubicBezTo>
                    <a:pt x="30022" y="72111"/>
                    <a:pt x="23767" y="61478"/>
                    <a:pt x="15636" y="52722"/>
                  </a:cubicBezTo>
                  <a:cubicBezTo>
                    <a:pt x="11884" y="48344"/>
                    <a:pt x="7505" y="43966"/>
                    <a:pt x="3127" y="40213"/>
                  </a:cubicBezTo>
                  <a:cubicBezTo>
                    <a:pt x="1251" y="38337"/>
                    <a:pt x="0" y="35835"/>
                    <a:pt x="0" y="33333"/>
                  </a:cubicBezTo>
                  <a:cubicBezTo>
                    <a:pt x="0" y="30832"/>
                    <a:pt x="1251" y="28330"/>
                    <a:pt x="3753" y="27079"/>
                  </a:cubicBezTo>
                  <a:cubicBezTo>
                    <a:pt x="32523" y="6439"/>
                    <a:pt x="67549" y="-2943"/>
                    <a:pt x="101948" y="810"/>
                  </a:cubicBezTo>
                  <a:cubicBezTo>
                    <a:pt x="141352" y="5188"/>
                    <a:pt x="177002" y="25828"/>
                    <a:pt x="200769" y="57726"/>
                  </a:cubicBezTo>
                  <a:cubicBezTo>
                    <a:pt x="203271" y="61478"/>
                    <a:pt x="202646" y="66482"/>
                    <a:pt x="198893" y="69609"/>
                  </a:cubicBezTo>
                  <a:cubicBezTo>
                    <a:pt x="195140" y="72111"/>
                    <a:pt x="190137" y="71486"/>
                    <a:pt x="187009" y="67733"/>
                  </a:cubicBezTo>
                  <a:cubicBezTo>
                    <a:pt x="166370" y="39588"/>
                    <a:pt x="134472" y="21450"/>
                    <a:pt x="99446" y="17697"/>
                  </a:cubicBezTo>
                  <a:cubicBezTo>
                    <a:pt x="71927" y="14570"/>
                    <a:pt x="45032" y="20824"/>
                    <a:pt x="21265" y="35209"/>
                  </a:cubicBezTo>
                  <a:cubicBezTo>
                    <a:pt x="23767" y="37711"/>
                    <a:pt x="25643" y="39588"/>
                    <a:pt x="27520" y="42090"/>
                  </a:cubicBezTo>
                  <a:cubicBezTo>
                    <a:pt x="36276" y="52097"/>
                    <a:pt x="43781" y="63980"/>
                    <a:pt x="49411" y="75864"/>
                  </a:cubicBezTo>
                  <a:cubicBezTo>
                    <a:pt x="51287" y="80242"/>
                    <a:pt x="49411" y="85245"/>
                    <a:pt x="45032" y="87122"/>
                  </a:cubicBezTo>
                  <a:cubicBezTo>
                    <a:pt x="45032" y="87747"/>
                    <a:pt x="43781" y="87747"/>
                    <a:pt x="42531" y="87747"/>
                  </a:cubicBezTo>
                  <a:lnTo>
                    <a:pt x="42531" y="87747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98" name="Forma Livre: Forma 297">
              <a:extLst>
                <a:ext uri="{FF2B5EF4-FFF2-40B4-BE49-F238E27FC236}">
                  <a16:creationId xmlns:a16="http://schemas.microsoft.com/office/drawing/2014/main" id="{32376FE1-ECB1-45A3-8E68-DDD9E75C8FB2}"/>
                </a:ext>
              </a:extLst>
            </p:cNvPr>
            <p:cNvSpPr/>
            <p:nvPr/>
          </p:nvSpPr>
          <p:spPr>
            <a:xfrm>
              <a:off x="2498345" y="5940572"/>
              <a:ext cx="74584" cy="63649"/>
            </a:xfrm>
            <a:custGeom>
              <a:avLst/>
              <a:gdLst>
                <a:gd name="connsiteX0" fmla="*/ 24549 w 74584"/>
                <a:gd name="connsiteY0" fmla="*/ 63650 h 63649"/>
                <a:gd name="connsiteX1" fmla="*/ 7036 w 74584"/>
                <a:gd name="connsiteY1" fmla="*/ 61148 h 63649"/>
                <a:gd name="connsiteX2" fmla="*/ 2033 w 74584"/>
                <a:gd name="connsiteY2" fmla="*/ 56770 h 63649"/>
                <a:gd name="connsiteX3" fmla="*/ 2033 w 74584"/>
                <a:gd name="connsiteY3" fmla="*/ 49890 h 63649"/>
                <a:gd name="connsiteX4" fmla="*/ 2658 w 74584"/>
                <a:gd name="connsiteY4" fmla="*/ 48013 h 63649"/>
                <a:gd name="connsiteX5" fmla="*/ 3909 w 74584"/>
                <a:gd name="connsiteY5" fmla="*/ 46137 h 63649"/>
                <a:gd name="connsiteX6" fmla="*/ 1407 w 74584"/>
                <a:gd name="connsiteY6" fmla="*/ 12988 h 63649"/>
                <a:gd name="connsiteX7" fmla="*/ 1407 w 74584"/>
                <a:gd name="connsiteY7" fmla="*/ 3607 h 63649"/>
                <a:gd name="connsiteX8" fmla="*/ 10789 w 74584"/>
                <a:gd name="connsiteY8" fmla="*/ 479 h 63649"/>
                <a:gd name="connsiteX9" fmla="*/ 63327 w 74584"/>
                <a:gd name="connsiteY9" fmla="*/ 8610 h 63649"/>
                <a:gd name="connsiteX10" fmla="*/ 70832 w 74584"/>
                <a:gd name="connsiteY10" fmla="*/ 12988 h 63649"/>
                <a:gd name="connsiteX11" fmla="*/ 74585 w 74584"/>
                <a:gd name="connsiteY11" fmla="*/ 26748 h 63649"/>
                <a:gd name="connsiteX12" fmla="*/ 24549 w 74584"/>
                <a:gd name="connsiteY12" fmla="*/ 63650 h 63649"/>
                <a:gd name="connsiteX13" fmla="*/ 24549 w 74584"/>
                <a:gd name="connsiteY13" fmla="*/ 63650 h 63649"/>
                <a:gd name="connsiteX14" fmla="*/ 20796 w 74584"/>
                <a:gd name="connsiteY14" fmla="*/ 46762 h 63649"/>
                <a:gd name="connsiteX15" fmla="*/ 56447 w 74584"/>
                <a:gd name="connsiteY15" fmla="*/ 25497 h 63649"/>
                <a:gd name="connsiteX16" fmla="*/ 56447 w 74584"/>
                <a:gd name="connsiteY16" fmla="*/ 23621 h 63649"/>
                <a:gd name="connsiteX17" fmla="*/ 22047 w 74584"/>
                <a:gd name="connsiteY17" fmla="*/ 19243 h 63649"/>
                <a:gd name="connsiteX18" fmla="*/ 20796 w 74584"/>
                <a:gd name="connsiteY18" fmla="*/ 46762 h 63649"/>
                <a:gd name="connsiteX19" fmla="*/ 20796 w 74584"/>
                <a:gd name="connsiteY19" fmla="*/ 46762 h 63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74584" h="63649">
                  <a:moveTo>
                    <a:pt x="24549" y="63650"/>
                  </a:moveTo>
                  <a:cubicBezTo>
                    <a:pt x="18920" y="63650"/>
                    <a:pt x="12665" y="63024"/>
                    <a:pt x="7036" y="61148"/>
                  </a:cubicBezTo>
                  <a:cubicBezTo>
                    <a:pt x="4535" y="60522"/>
                    <a:pt x="2658" y="58646"/>
                    <a:pt x="2033" y="56770"/>
                  </a:cubicBezTo>
                  <a:cubicBezTo>
                    <a:pt x="782" y="54268"/>
                    <a:pt x="782" y="51766"/>
                    <a:pt x="2033" y="49890"/>
                  </a:cubicBezTo>
                  <a:cubicBezTo>
                    <a:pt x="2033" y="49890"/>
                    <a:pt x="2658" y="48639"/>
                    <a:pt x="2658" y="48013"/>
                  </a:cubicBezTo>
                  <a:cubicBezTo>
                    <a:pt x="3284" y="47388"/>
                    <a:pt x="3284" y="46762"/>
                    <a:pt x="3909" y="46137"/>
                  </a:cubicBezTo>
                  <a:cubicBezTo>
                    <a:pt x="8287" y="33628"/>
                    <a:pt x="7662" y="21119"/>
                    <a:pt x="1407" y="12988"/>
                  </a:cubicBezTo>
                  <a:cubicBezTo>
                    <a:pt x="-469" y="9861"/>
                    <a:pt x="-469" y="6108"/>
                    <a:pt x="1407" y="3607"/>
                  </a:cubicBezTo>
                  <a:cubicBezTo>
                    <a:pt x="3284" y="479"/>
                    <a:pt x="7036" y="-772"/>
                    <a:pt x="10789" y="479"/>
                  </a:cubicBezTo>
                  <a:cubicBezTo>
                    <a:pt x="27676" y="5483"/>
                    <a:pt x="45189" y="7985"/>
                    <a:pt x="63327" y="8610"/>
                  </a:cubicBezTo>
                  <a:cubicBezTo>
                    <a:pt x="66454" y="8610"/>
                    <a:pt x="68956" y="10486"/>
                    <a:pt x="70832" y="12988"/>
                  </a:cubicBezTo>
                  <a:cubicBezTo>
                    <a:pt x="73334" y="17367"/>
                    <a:pt x="74585" y="22370"/>
                    <a:pt x="74585" y="26748"/>
                  </a:cubicBezTo>
                  <a:cubicBezTo>
                    <a:pt x="73334" y="46762"/>
                    <a:pt x="51443" y="63650"/>
                    <a:pt x="24549" y="63650"/>
                  </a:cubicBezTo>
                  <a:lnTo>
                    <a:pt x="24549" y="63650"/>
                  </a:lnTo>
                  <a:close/>
                  <a:moveTo>
                    <a:pt x="20796" y="46762"/>
                  </a:moveTo>
                  <a:cubicBezTo>
                    <a:pt x="38934" y="48013"/>
                    <a:pt x="56447" y="38006"/>
                    <a:pt x="56447" y="25497"/>
                  </a:cubicBezTo>
                  <a:cubicBezTo>
                    <a:pt x="56447" y="24872"/>
                    <a:pt x="56447" y="24246"/>
                    <a:pt x="56447" y="23621"/>
                  </a:cubicBezTo>
                  <a:cubicBezTo>
                    <a:pt x="44563" y="22995"/>
                    <a:pt x="33305" y="21744"/>
                    <a:pt x="22047" y="19243"/>
                  </a:cubicBezTo>
                  <a:cubicBezTo>
                    <a:pt x="23923" y="27999"/>
                    <a:pt x="23298" y="37381"/>
                    <a:pt x="20796" y="46762"/>
                  </a:cubicBezTo>
                  <a:lnTo>
                    <a:pt x="20796" y="46762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99" name="Forma Livre: Forma 298">
              <a:extLst>
                <a:ext uri="{FF2B5EF4-FFF2-40B4-BE49-F238E27FC236}">
                  <a16:creationId xmlns:a16="http://schemas.microsoft.com/office/drawing/2014/main" id="{AA7AB2F0-F895-415C-BEEB-A444C0EC8012}"/>
                </a:ext>
              </a:extLst>
            </p:cNvPr>
            <p:cNvSpPr/>
            <p:nvPr/>
          </p:nvSpPr>
          <p:spPr>
            <a:xfrm>
              <a:off x="2557137" y="5937899"/>
              <a:ext cx="77842" cy="72577"/>
            </a:xfrm>
            <a:custGeom>
              <a:avLst/>
              <a:gdLst>
                <a:gd name="connsiteX0" fmla="*/ 27676 w 77842"/>
                <a:gd name="connsiteY0" fmla="*/ 72577 h 72577"/>
                <a:gd name="connsiteX1" fmla="*/ 22047 w 77842"/>
                <a:gd name="connsiteY1" fmla="*/ 70701 h 72577"/>
                <a:gd name="connsiteX2" fmla="*/ 19545 w 77842"/>
                <a:gd name="connsiteY2" fmla="*/ 64447 h 72577"/>
                <a:gd name="connsiteX3" fmla="*/ 19545 w 77842"/>
                <a:gd name="connsiteY3" fmla="*/ 62570 h 72577"/>
                <a:gd name="connsiteX4" fmla="*/ 19545 w 77842"/>
                <a:gd name="connsiteY4" fmla="*/ 60068 h 72577"/>
                <a:gd name="connsiteX5" fmla="*/ 3909 w 77842"/>
                <a:gd name="connsiteY5" fmla="*/ 30672 h 72577"/>
                <a:gd name="connsiteX6" fmla="*/ 156 w 77842"/>
                <a:gd name="connsiteY6" fmla="*/ 21916 h 72577"/>
                <a:gd name="connsiteX7" fmla="*/ 7036 w 77842"/>
                <a:gd name="connsiteY7" fmla="*/ 15036 h 72577"/>
                <a:gd name="connsiteX8" fmla="*/ 57698 w 77842"/>
                <a:gd name="connsiteY8" fmla="*/ 651 h 72577"/>
                <a:gd name="connsiteX9" fmla="*/ 66454 w 77842"/>
                <a:gd name="connsiteY9" fmla="*/ 1902 h 72577"/>
                <a:gd name="connsiteX10" fmla="*/ 75210 w 77842"/>
                <a:gd name="connsiteY10" fmla="*/ 13160 h 72577"/>
                <a:gd name="connsiteX11" fmla="*/ 72708 w 77842"/>
                <a:gd name="connsiteY11" fmla="*/ 44432 h 72577"/>
                <a:gd name="connsiteX12" fmla="*/ 46440 w 77842"/>
                <a:gd name="connsiteY12" fmla="*/ 67574 h 72577"/>
                <a:gd name="connsiteX13" fmla="*/ 29552 w 77842"/>
                <a:gd name="connsiteY13" fmla="*/ 72577 h 72577"/>
                <a:gd name="connsiteX14" fmla="*/ 27676 w 77842"/>
                <a:gd name="connsiteY14" fmla="*/ 72577 h 72577"/>
                <a:gd name="connsiteX15" fmla="*/ 27676 w 77842"/>
                <a:gd name="connsiteY15" fmla="*/ 72577 h 72577"/>
                <a:gd name="connsiteX16" fmla="*/ 25800 w 77842"/>
                <a:gd name="connsiteY16" fmla="*/ 28796 h 72577"/>
                <a:gd name="connsiteX17" fmla="*/ 35807 w 77842"/>
                <a:gd name="connsiteY17" fmla="*/ 54440 h 72577"/>
                <a:gd name="connsiteX18" fmla="*/ 38934 w 77842"/>
                <a:gd name="connsiteY18" fmla="*/ 53189 h 72577"/>
                <a:gd name="connsiteX19" fmla="*/ 57698 w 77842"/>
                <a:gd name="connsiteY19" fmla="*/ 36927 h 72577"/>
                <a:gd name="connsiteX20" fmla="*/ 59574 w 77842"/>
                <a:gd name="connsiteY20" fmla="*/ 20665 h 72577"/>
                <a:gd name="connsiteX21" fmla="*/ 58949 w 77842"/>
                <a:gd name="connsiteY21" fmla="*/ 18789 h 72577"/>
                <a:gd name="connsiteX22" fmla="*/ 25800 w 77842"/>
                <a:gd name="connsiteY22" fmla="*/ 28796 h 72577"/>
                <a:gd name="connsiteX23" fmla="*/ 25800 w 77842"/>
                <a:gd name="connsiteY23" fmla="*/ 28796 h 72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77842" h="72577">
                  <a:moveTo>
                    <a:pt x="27676" y="72577"/>
                  </a:moveTo>
                  <a:cubicBezTo>
                    <a:pt x="25800" y="72577"/>
                    <a:pt x="23923" y="71952"/>
                    <a:pt x="22047" y="70701"/>
                  </a:cubicBezTo>
                  <a:cubicBezTo>
                    <a:pt x="20171" y="68825"/>
                    <a:pt x="18920" y="66949"/>
                    <a:pt x="19545" y="64447"/>
                  </a:cubicBezTo>
                  <a:cubicBezTo>
                    <a:pt x="19545" y="64447"/>
                    <a:pt x="19545" y="63196"/>
                    <a:pt x="19545" y="62570"/>
                  </a:cubicBezTo>
                  <a:cubicBezTo>
                    <a:pt x="19545" y="61945"/>
                    <a:pt x="19545" y="60694"/>
                    <a:pt x="19545" y="60068"/>
                  </a:cubicBezTo>
                  <a:cubicBezTo>
                    <a:pt x="18920" y="46934"/>
                    <a:pt x="12665" y="35676"/>
                    <a:pt x="3909" y="30672"/>
                  </a:cubicBezTo>
                  <a:cubicBezTo>
                    <a:pt x="782" y="28796"/>
                    <a:pt x="-469" y="25043"/>
                    <a:pt x="156" y="21916"/>
                  </a:cubicBezTo>
                  <a:cubicBezTo>
                    <a:pt x="782" y="18163"/>
                    <a:pt x="3909" y="15662"/>
                    <a:pt x="7036" y="15036"/>
                  </a:cubicBezTo>
                  <a:cubicBezTo>
                    <a:pt x="24549" y="12534"/>
                    <a:pt x="41436" y="8156"/>
                    <a:pt x="57698" y="651"/>
                  </a:cubicBezTo>
                  <a:cubicBezTo>
                    <a:pt x="60825" y="-600"/>
                    <a:pt x="63952" y="25"/>
                    <a:pt x="66454" y="1902"/>
                  </a:cubicBezTo>
                  <a:cubicBezTo>
                    <a:pt x="70207" y="5029"/>
                    <a:pt x="73334" y="8782"/>
                    <a:pt x="75210" y="13160"/>
                  </a:cubicBezTo>
                  <a:cubicBezTo>
                    <a:pt x="79588" y="23167"/>
                    <a:pt x="78337" y="33800"/>
                    <a:pt x="72708" y="44432"/>
                  </a:cubicBezTo>
                  <a:cubicBezTo>
                    <a:pt x="67079" y="54440"/>
                    <a:pt x="57698" y="62570"/>
                    <a:pt x="46440" y="67574"/>
                  </a:cubicBezTo>
                  <a:cubicBezTo>
                    <a:pt x="40811" y="70076"/>
                    <a:pt x="35182" y="71326"/>
                    <a:pt x="29552" y="72577"/>
                  </a:cubicBezTo>
                  <a:cubicBezTo>
                    <a:pt x="28302" y="72577"/>
                    <a:pt x="27676" y="72577"/>
                    <a:pt x="27676" y="72577"/>
                  </a:cubicBezTo>
                  <a:lnTo>
                    <a:pt x="27676" y="72577"/>
                  </a:lnTo>
                  <a:close/>
                  <a:moveTo>
                    <a:pt x="25800" y="28796"/>
                  </a:moveTo>
                  <a:cubicBezTo>
                    <a:pt x="30803" y="35676"/>
                    <a:pt x="34556" y="44432"/>
                    <a:pt x="35807" y="54440"/>
                  </a:cubicBezTo>
                  <a:cubicBezTo>
                    <a:pt x="37058" y="53814"/>
                    <a:pt x="38309" y="53814"/>
                    <a:pt x="38934" y="53189"/>
                  </a:cubicBezTo>
                  <a:cubicBezTo>
                    <a:pt x="47065" y="49436"/>
                    <a:pt x="53945" y="43807"/>
                    <a:pt x="57698" y="36927"/>
                  </a:cubicBezTo>
                  <a:cubicBezTo>
                    <a:pt x="60825" y="31298"/>
                    <a:pt x="62076" y="25043"/>
                    <a:pt x="59574" y="20665"/>
                  </a:cubicBezTo>
                  <a:cubicBezTo>
                    <a:pt x="59574" y="20040"/>
                    <a:pt x="58949" y="19414"/>
                    <a:pt x="58949" y="18789"/>
                  </a:cubicBezTo>
                  <a:cubicBezTo>
                    <a:pt x="47691" y="22542"/>
                    <a:pt x="37058" y="26294"/>
                    <a:pt x="25800" y="28796"/>
                  </a:cubicBezTo>
                  <a:lnTo>
                    <a:pt x="25800" y="28796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00" name="Forma Livre: Forma 299">
              <a:extLst>
                <a:ext uri="{FF2B5EF4-FFF2-40B4-BE49-F238E27FC236}">
                  <a16:creationId xmlns:a16="http://schemas.microsoft.com/office/drawing/2014/main" id="{BFDB8917-A379-4D1D-9C77-3EC1D7FD85E4}"/>
                </a:ext>
              </a:extLst>
            </p:cNvPr>
            <p:cNvSpPr/>
            <p:nvPr/>
          </p:nvSpPr>
          <p:spPr>
            <a:xfrm>
              <a:off x="2574181" y="5787657"/>
              <a:ext cx="143540" cy="174034"/>
            </a:xfrm>
            <a:custGeom>
              <a:avLst/>
              <a:gdLst>
                <a:gd name="connsiteX0" fmla="*/ 33149 w 143540"/>
                <a:gd name="connsiteY0" fmla="*/ 174034 h 174034"/>
                <a:gd name="connsiteX1" fmla="*/ 26269 w 143540"/>
                <a:gd name="connsiteY1" fmla="*/ 170282 h 174034"/>
                <a:gd name="connsiteX2" fmla="*/ 0 w 143540"/>
                <a:gd name="connsiteY2" fmla="*/ 88973 h 174034"/>
                <a:gd name="connsiteX3" fmla="*/ 29396 w 143540"/>
                <a:gd name="connsiteY3" fmla="*/ 3287 h 174034"/>
                <a:gd name="connsiteX4" fmla="*/ 38152 w 143540"/>
                <a:gd name="connsiteY4" fmla="*/ 159 h 174034"/>
                <a:gd name="connsiteX5" fmla="*/ 142602 w 143540"/>
                <a:gd name="connsiteY5" fmla="*/ 82093 h 174034"/>
                <a:gd name="connsiteX6" fmla="*/ 142602 w 143540"/>
                <a:gd name="connsiteY6" fmla="*/ 90224 h 174034"/>
                <a:gd name="connsiteX7" fmla="*/ 35025 w 143540"/>
                <a:gd name="connsiteY7" fmla="*/ 172783 h 174034"/>
                <a:gd name="connsiteX8" fmla="*/ 33149 w 143540"/>
                <a:gd name="connsiteY8" fmla="*/ 174034 h 174034"/>
                <a:gd name="connsiteX9" fmla="*/ 33149 w 143540"/>
                <a:gd name="connsiteY9" fmla="*/ 174034 h 174034"/>
                <a:gd name="connsiteX10" fmla="*/ 38778 w 143540"/>
                <a:gd name="connsiteY10" fmla="*/ 18923 h 174034"/>
                <a:gd name="connsiteX11" fmla="*/ 15636 w 143540"/>
                <a:gd name="connsiteY11" fmla="*/ 89599 h 174034"/>
                <a:gd name="connsiteX12" fmla="*/ 35651 w 143540"/>
                <a:gd name="connsiteY12" fmla="*/ 156522 h 174034"/>
                <a:gd name="connsiteX13" fmla="*/ 125090 w 143540"/>
                <a:gd name="connsiteY13" fmla="*/ 87722 h 174034"/>
                <a:gd name="connsiteX14" fmla="*/ 38778 w 143540"/>
                <a:gd name="connsiteY14" fmla="*/ 18923 h 174034"/>
                <a:gd name="connsiteX15" fmla="*/ 38778 w 143540"/>
                <a:gd name="connsiteY15" fmla="*/ 18923 h 174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3540" h="174034">
                  <a:moveTo>
                    <a:pt x="33149" y="174034"/>
                  </a:moveTo>
                  <a:cubicBezTo>
                    <a:pt x="30647" y="174034"/>
                    <a:pt x="28145" y="172783"/>
                    <a:pt x="26269" y="170282"/>
                  </a:cubicBezTo>
                  <a:cubicBezTo>
                    <a:pt x="8756" y="144638"/>
                    <a:pt x="0" y="117744"/>
                    <a:pt x="0" y="88973"/>
                  </a:cubicBezTo>
                  <a:cubicBezTo>
                    <a:pt x="0" y="58951"/>
                    <a:pt x="10007" y="29556"/>
                    <a:pt x="29396" y="3287"/>
                  </a:cubicBezTo>
                  <a:cubicBezTo>
                    <a:pt x="31272" y="785"/>
                    <a:pt x="35025" y="-466"/>
                    <a:pt x="38152" y="159"/>
                  </a:cubicBezTo>
                  <a:cubicBezTo>
                    <a:pt x="81934" y="12668"/>
                    <a:pt x="120086" y="42690"/>
                    <a:pt x="142602" y="82093"/>
                  </a:cubicBezTo>
                  <a:cubicBezTo>
                    <a:pt x="143853" y="84595"/>
                    <a:pt x="143853" y="87722"/>
                    <a:pt x="142602" y="90224"/>
                  </a:cubicBezTo>
                  <a:cubicBezTo>
                    <a:pt x="119461" y="130878"/>
                    <a:pt x="80058" y="160900"/>
                    <a:pt x="35025" y="172783"/>
                  </a:cubicBezTo>
                  <a:cubicBezTo>
                    <a:pt x="34400" y="174034"/>
                    <a:pt x="33774" y="174034"/>
                    <a:pt x="33149" y="174034"/>
                  </a:cubicBezTo>
                  <a:lnTo>
                    <a:pt x="33149" y="174034"/>
                  </a:lnTo>
                  <a:close/>
                  <a:moveTo>
                    <a:pt x="38778" y="18923"/>
                  </a:moveTo>
                  <a:cubicBezTo>
                    <a:pt x="23767" y="40814"/>
                    <a:pt x="15636" y="65206"/>
                    <a:pt x="15636" y="89599"/>
                  </a:cubicBezTo>
                  <a:cubicBezTo>
                    <a:pt x="15636" y="112740"/>
                    <a:pt x="22516" y="135256"/>
                    <a:pt x="35651" y="156522"/>
                  </a:cubicBezTo>
                  <a:cubicBezTo>
                    <a:pt x="72552" y="145264"/>
                    <a:pt x="104450" y="120246"/>
                    <a:pt x="125090" y="87722"/>
                  </a:cubicBezTo>
                  <a:cubicBezTo>
                    <a:pt x="105701" y="54574"/>
                    <a:pt x="75054" y="30181"/>
                    <a:pt x="38778" y="18923"/>
                  </a:cubicBezTo>
                  <a:lnTo>
                    <a:pt x="38778" y="18923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01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4384059" y="5666979"/>
            <a:ext cx="379647" cy="417926"/>
            <a:chOff x="4371722" y="5666979"/>
            <a:chExt cx="379647" cy="417926"/>
          </a:xfrm>
          <a:solidFill>
            <a:srgbClr val="B1B1A1"/>
          </a:solidFill>
        </p:grpSpPr>
        <p:sp>
          <p:nvSpPr>
            <p:cNvPr id="302" name="Forma Livre: Forma 301">
              <a:extLst>
                <a:ext uri="{FF2B5EF4-FFF2-40B4-BE49-F238E27FC236}">
                  <a16:creationId xmlns:a16="http://schemas.microsoft.com/office/drawing/2014/main" id="{B83B4F79-26FE-4A21-9E25-ACFCE2A1C08B}"/>
                </a:ext>
              </a:extLst>
            </p:cNvPr>
            <p:cNvSpPr/>
            <p:nvPr/>
          </p:nvSpPr>
          <p:spPr>
            <a:xfrm>
              <a:off x="4371722" y="5776559"/>
              <a:ext cx="296463" cy="308346"/>
            </a:xfrm>
            <a:custGeom>
              <a:avLst/>
              <a:gdLst>
                <a:gd name="connsiteX0" fmla="*/ 239547 w 296463"/>
                <a:gd name="connsiteY0" fmla="*/ 308346 h 308346"/>
                <a:gd name="connsiteX1" fmla="*/ 56290 w 296463"/>
                <a:gd name="connsiteY1" fmla="*/ 308346 h 308346"/>
                <a:gd name="connsiteX2" fmla="*/ 0 w 296463"/>
                <a:gd name="connsiteY2" fmla="*/ 252056 h 308346"/>
                <a:gd name="connsiteX3" fmla="*/ 0 w 296463"/>
                <a:gd name="connsiteY3" fmla="*/ 16887 h 308346"/>
                <a:gd name="connsiteX4" fmla="*/ 16887 w 296463"/>
                <a:gd name="connsiteY4" fmla="*/ 0 h 308346"/>
                <a:gd name="connsiteX5" fmla="*/ 279576 w 296463"/>
                <a:gd name="connsiteY5" fmla="*/ 0 h 308346"/>
                <a:gd name="connsiteX6" fmla="*/ 296463 w 296463"/>
                <a:gd name="connsiteY6" fmla="*/ 16887 h 308346"/>
                <a:gd name="connsiteX7" fmla="*/ 296463 w 296463"/>
                <a:gd name="connsiteY7" fmla="*/ 252056 h 308346"/>
                <a:gd name="connsiteX8" fmla="*/ 239547 w 296463"/>
                <a:gd name="connsiteY8" fmla="*/ 308346 h 308346"/>
                <a:gd name="connsiteX9" fmla="*/ 239547 w 296463"/>
                <a:gd name="connsiteY9" fmla="*/ 308346 h 308346"/>
                <a:gd name="connsiteX10" fmla="*/ 33149 w 296463"/>
                <a:gd name="connsiteY10" fmla="*/ 33149 h 308346"/>
                <a:gd name="connsiteX11" fmla="*/ 33149 w 296463"/>
                <a:gd name="connsiteY11" fmla="*/ 252056 h 308346"/>
                <a:gd name="connsiteX12" fmla="*/ 56290 w 296463"/>
                <a:gd name="connsiteY12" fmla="*/ 275198 h 308346"/>
                <a:gd name="connsiteX13" fmla="*/ 239547 w 296463"/>
                <a:gd name="connsiteY13" fmla="*/ 275198 h 308346"/>
                <a:gd name="connsiteX14" fmla="*/ 262689 w 296463"/>
                <a:gd name="connsiteY14" fmla="*/ 252056 h 308346"/>
                <a:gd name="connsiteX15" fmla="*/ 262689 w 296463"/>
                <a:gd name="connsiteY15" fmla="*/ 33149 h 308346"/>
                <a:gd name="connsiteX16" fmla="*/ 33149 w 296463"/>
                <a:gd name="connsiteY16" fmla="*/ 33149 h 308346"/>
                <a:gd name="connsiteX17" fmla="*/ 33149 w 296463"/>
                <a:gd name="connsiteY17" fmla="*/ 33149 h 30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96463" h="308346">
                  <a:moveTo>
                    <a:pt x="239547" y="308346"/>
                  </a:moveTo>
                  <a:lnTo>
                    <a:pt x="56290" y="308346"/>
                  </a:lnTo>
                  <a:cubicBezTo>
                    <a:pt x="25018" y="308346"/>
                    <a:pt x="0" y="283328"/>
                    <a:pt x="0" y="252056"/>
                  </a:cubicBezTo>
                  <a:lnTo>
                    <a:pt x="0" y="16887"/>
                  </a:lnTo>
                  <a:cubicBezTo>
                    <a:pt x="0" y="7505"/>
                    <a:pt x="7505" y="0"/>
                    <a:pt x="16887" y="0"/>
                  </a:cubicBezTo>
                  <a:lnTo>
                    <a:pt x="279576" y="0"/>
                  </a:lnTo>
                  <a:cubicBezTo>
                    <a:pt x="288958" y="0"/>
                    <a:pt x="296463" y="7505"/>
                    <a:pt x="296463" y="16887"/>
                  </a:cubicBezTo>
                  <a:lnTo>
                    <a:pt x="296463" y="252056"/>
                  </a:lnTo>
                  <a:cubicBezTo>
                    <a:pt x="295837" y="283328"/>
                    <a:pt x="270819" y="308346"/>
                    <a:pt x="239547" y="308346"/>
                  </a:cubicBezTo>
                  <a:lnTo>
                    <a:pt x="239547" y="308346"/>
                  </a:lnTo>
                  <a:close/>
                  <a:moveTo>
                    <a:pt x="33149" y="33149"/>
                  </a:moveTo>
                  <a:lnTo>
                    <a:pt x="33149" y="252056"/>
                  </a:lnTo>
                  <a:cubicBezTo>
                    <a:pt x="33149" y="264565"/>
                    <a:pt x="43156" y="275198"/>
                    <a:pt x="56290" y="275198"/>
                  </a:cubicBezTo>
                  <a:lnTo>
                    <a:pt x="239547" y="275198"/>
                  </a:lnTo>
                  <a:cubicBezTo>
                    <a:pt x="252056" y="275198"/>
                    <a:pt x="262689" y="265190"/>
                    <a:pt x="262689" y="252056"/>
                  </a:cubicBezTo>
                  <a:lnTo>
                    <a:pt x="262689" y="33149"/>
                  </a:lnTo>
                  <a:lnTo>
                    <a:pt x="33149" y="33149"/>
                  </a:lnTo>
                  <a:lnTo>
                    <a:pt x="33149" y="33149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03" name="Forma Livre: Forma 302">
              <a:extLst>
                <a:ext uri="{FF2B5EF4-FFF2-40B4-BE49-F238E27FC236}">
                  <a16:creationId xmlns:a16="http://schemas.microsoft.com/office/drawing/2014/main" id="{1F1AAF8F-DA0D-4CFA-BFFC-53D2768FCBAD}"/>
                </a:ext>
              </a:extLst>
            </p:cNvPr>
            <p:cNvSpPr/>
            <p:nvPr/>
          </p:nvSpPr>
          <p:spPr>
            <a:xfrm>
              <a:off x="4636912" y="5826595"/>
              <a:ext cx="114457" cy="184507"/>
            </a:xfrm>
            <a:custGeom>
              <a:avLst/>
              <a:gdLst>
                <a:gd name="connsiteX0" fmla="*/ 75054 w 114457"/>
                <a:gd name="connsiteY0" fmla="*/ 184508 h 184507"/>
                <a:gd name="connsiteX1" fmla="*/ 16887 w 114457"/>
                <a:gd name="connsiteY1" fmla="*/ 184508 h 184507"/>
                <a:gd name="connsiteX2" fmla="*/ 0 w 114457"/>
                <a:gd name="connsiteY2" fmla="*/ 167620 h 184507"/>
                <a:gd name="connsiteX3" fmla="*/ 16887 w 114457"/>
                <a:gd name="connsiteY3" fmla="*/ 150733 h 184507"/>
                <a:gd name="connsiteX4" fmla="*/ 75054 w 114457"/>
                <a:gd name="connsiteY4" fmla="*/ 150733 h 184507"/>
                <a:gd name="connsiteX5" fmla="*/ 81308 w 114457"/>
                <a:gd name="connsiteY5" fmla="*/ 144479 h 184507"/>
                <a:gd name="connsiteX6" fmla="*/ 81308 w 114457"/>
                <a:gd name="connsiteY6" fmla="*/ 40029 h 184507"/>
                <a:gd name="connsiteX7" fmla="*/ 75054 w 114457"/>
                <a:gd name="connsiteY7" fmla="*/ 33774 h 184507"/>
                <a:gd name="connsiteX8" fmla="*/ 16887 w 114457"/>
                <a:gd name="connsiteY8" fmla="*/ 33774 h 184507"/>
                <a:gd name="connsiteX9" fmla="*/ 0 w 114457"/>
                <a:gd name="connsiteY9" fmla="*/ 16887 h 184507"/>
                <a:gd name="connsiteX10" fmla="*/ 16887 w 114457"/>
                <a:gd name="connsiteY10" fmla="*/ 0 h 184507"/>
                <a:gd name="connsiteX11" fmla="*/ 75054 w 114457"/>
                <a:gd name="connsiteY11" fmla="*/ 0 h 184507"/>
                <a:gd name="connsiteX12" fmla="*/ 114457 w 114457"/>
                <a:gd name="connsiteY12" fmla="*/ 39403 h 184507"/>
                <a:gd name="connsiteX13" fmla="*/ 114457 w 114457"/>
                <a:gd name="connsiteY13" fmla="*/ 143853 h 184507"/>
                <a:gd name="connsiteX14" fmla="*/ 75054 w 114457"/>
                <a:gd name="connsiteY14" fmla="*/ 184508 h 184507"/>
                <a:gd name="connsiteX15" fmla="*/ 75054 w 114457"/>
                <a:gd name="connsiteY15" fmla="*/ 184508 h 184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4457" h="184507">
                  <a:moveTo>
                    <a:pt x="75054" y="184508"/>
                  </a:moveTo>
                  <a:lnTo>
                    <a:pt x="16887" y="184508"/>
                  </a:lnTo>
                  <a:cubicBezTo>
                    <a:pt x="7505" y="184508"/>
                    <a:pt x="0" y="177002"/>
                    <a:pt x="0" y="167620"/>
                  </a:cubicBezTo>
                  <a:cubicBezTo>
                    <a:pt x="0" y="158239"/>
                    <a:pt x="7505" y="150733"/>
                    <a:pt x="16887" y="150733"/>
                  </a:cubicBezTo>
                  <a:lnTo>
                    <a:pt x="75054" y="150733"/>
                  </a:lnTo>
                  <a:cubicBezTo>
                    <a:pt x="78806" y="150733"/>
                    <a:pt x="81308" y="148231"/>
                    <a:pt x="81308" y="144479"/>
                  </a:cubicBezTo>
                  <a:lnTo>
                    <a:pt x="81308" y="40029"/>
                  </a:lnTo>
                  <a:cubicBezTo>
                    <a:pt x="81308" y="36276"/>
                    <a:pt x="78806" y="33774"/>
                    <a:pt x="75054" y="33774"/>
                  </a:cubicBezTo>
                  <a:lnTo>
                    <a:pt x="16887" y="33774"/>
                  </a:lnTo>
                  <a:cubicBezTo>
                    <a:pt x="7505" y="33774"/>
                    <a:pt x="0" y="26269"/>
                    <a:pt x="0" y="16887"/>
                  </a:cubicBezTo>
                  <a:cubicBezTo>
                    <a:pt x="0" y="7505"/>
                    <a:pt x="7505" y="0"/>
                    <a:pt x="16887" y="0"/>
                  </a:cubicBezTo>
                  <a:lnTo>
                    <a:pt x="75054" y="0"/>
                  </a:lnTo>
                  <a:cubicBezTo>
                    <a:pt x="96945" y="0"/>
                    <a:pt x="114457" y="17513"/>
                    <a:pt x="114457" y="39403"/>
                  </a:cubicBezTo>
                  <a:lnTo>
                    <a:pt x="114457" y="143853"/>
                  </a:lnTo>
                  <a:cubicBezTo>
                    <a:pt x="114457" y="166995"/>
                    <a:pt x="96945" y="184508"/>
                    <a:pt x="75054" y="184508"/>
                  </a:cubicBezTo>
                  <a:lnTo>
                    <a:pt x="75054" y="184508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304" name="Gráfico 2">
              <a:extLst>
                <a:ext uri="{FF2B5EF4-FFF2-40B4-BE49-F238E27FC236}">
                  <a16:creationId xmlns:a16="http://schemas.microsoft.com/office/drawing/2014/main" id="{A4E24395-F85F-4E15-8BC9-B92D577D4DAD}"/>
                </a:ext>
              </a:extLst>
            </p:cNvPr>
            <p:cNvGrpSpPr/>
            <p:nvPr/>
          </p:nvGrpSpPr>
          <p:grpSpPr>
            <a:xfrm>
              <a:off x="4461250" y="5666979"/>
              <a:ext cx="116781" cy="97696"/>
              <a:chOff x="4461250" y="5666979"/>
              <a:chExt cx="116781" cy="97696"/>
            </a:xfrm>
            <a:grpFill/>
          </p:grpSpPr>
          <p:sp>
            <p:nvSpPr>
              <p:cNvPr id="305" name="Forma Livre: Forma 304">
                <a:extLst>
                  <a:ext uri="{FF2B5EF4-FFF2-40B4-BE49-F238E27FC236}">
                    <a16:creationId xmlns:a16="http://schemas.microsoft.com/office/drawing/2014/main" id="{BBABA477-33E6-4D60-9C26-4A5E72CC77EF}"/>
                  </a:ext>
                </a:extLst>
              </p:cNvPr>
              <p:cNvSpPr/>
              <p:nvPr/>
            </p:nvSpPr>
            <p:spPr>
              <a:xfrm>
                <a:off x="4548813" y="5666979"/>
                <a:ext cx="29218" cy="97696"/>
              </a:xfrm>
              <a:custGeom>
                <a:avLst/>
                <a:gdLst>
                  <a:gd name="connsiteX0" fmla="*/ 14297 w 29218"/>
                  <a:gd name="connsiteY0" fmla="*/ 97696 h 97696"/>
                  <a:gd name="connsiteX1" fmla="*/ 9293 w 29218"/>
                  <a:gd name="connsiteY1" fmla="*/ 95820 h 97696"/>
                  <a:gd name="connsiteX2" fmla="*/ 8042 w 29218"/>
                  <a:gd name="connsiteY2" fmla="*/ 83936 h 97696"/>
                  <a:gd name="connsiteX3" fmla="*/ 6791 w 29218"/>
                  <a:gd name="connsiteY3" fmla="*/ 52038 h 97696"/>
                  <a:gd name="connsiteX4" fmla="*/ 8042 w 29218"/>
                  <a:gd name="connsiteY4" fmla="*/ 3253 h 97696"/>
                  <a:gd name="connsiteX5" fmla="*/ 19925 w 29218"/>
                  <a:gd name="connsiteY5" fmla="*/ 2002 h 97696"/>
                  <a:gd name="connsiteX6" fmla="*/ 21176 w 29218"/>
                  <a:gd name="connsiteY6" fmla="*/ 13886 h 97696"/>
                  <a:gd name="connsiteX7" fmla="*/ 22427 w 29218"/>
                  <a:gd name="connsiteY7" fmla="*/ 45784 h 97696"/>
                  <a:gd name="connsiteX8" fmla="*/ 21176 w 29218"/>
                  <a:gd name="connsiteY8" fmla="*/ 94569 h 97696"/>
                  <a:gd name="connsiteX9" fmla="*/ 14297 w 29218"/>
                  <a:gd name="connsiteY9" fmla="*/ 97696 h 97696"/>
                  <a:gd name="connsiteX10" fmla="*/ 14297 w 29218"/>
                  <a:gd name="connsiteY10" fmla="*/ 97696 h 976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218" h="97696">
                    <a:moveTo>
                      <a:pt x="14297" y="97696"/>
                    </a:moveTo>
                    <a:cubicBezTo>
                      <a:pt x="12420" y="97696"/>
                      <a:pt x="10544" y="97071"/>
                      <a:pt x="9293" y="95820"/>
                    </a:cubicBezTo>
                    <a:cubicBezTo>
                      <a:pt x="5540" y="92692"/>
                      <a:pt x="4915" y="87689"/>
                      <a:pt x="8042" y="83936"/>
                    </a:cubicBezTo>
                    <a:cubicBezTo>
                      <a:pt x="15547" y="74554"/>
                      <a:pt x="12420" y="66424"/>
                      <a:pt x="6791" y="52038"/>
                    </a:cubicBezTo>
                    <a:cubicBezTo>
                      <a:pt x="1162" y="38278"/>
                      <a:pt x="-5718" y="20766"/>
                      <a:pt x="8042" y="3253"/>
                    </a:cubicBezTo>
                    <a:cubicBezTo>
                      <a:pt x="11169" y="-500"/>
                      <a:pt x="16173" y="-1125"/>
                      <a:pt x="19925" y="2002"/>
                    </a:cubicBezTo>
                    <a:cubicBezTo>
                      <a:pt x="23678" y="5130"/>
                      <a:pt x="24304" y="10133"/>
                      <a:pt x="21176" y="13886"/>
                    </a:cubicBezTo>
                    <a:cubicBezTo>
                      <a:pt x="13671" y="23267"/>
                      <a:pt x="16798" y="31399"/>
                      <a:pt x="22427" y="45784"/>
                    </a:cubicBezTo>
                    <a:cubicBezTo>
                      <a:pt x="28056" y="59544"/>
                      <a:pt x="34936" y="77056"/>
                      <a:pt x="21176" y="94569"/>
                    </a:cubicBezTo>
                    <a:cubicBezTo>
                      <a:pt x="19300" y="97071"/>
                      <a:pt x="16798" y="97696"/>
                      <a:pt x="14297" y="97696"/>
                    </a:cubicBezTo>
                    <a:lnTo>
                      <a:pt x="14297" y="97696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06" name="Forma Livre: Forma 305">
                <a:extLst>
                  <a:ext uri="{FF2B5EF4-FFF2-40B4-BE49-F238E27FC236}">
                    <a16:creationId xmlns:a16="http://schemas.microsoft.com/office/drawing/2014/main" id="{8F41BF53-C538-4328-B248-045482A1B43F}"/>
                  </a:ext>
                </a:extLst>
              </p:cNvPr>
              <p:cNvSpPr/>
              <p:nvPr/>
            </p:nvSpPr>
            <p:spPr>
              <a:xfrm>
                <a:off x="4505031" y="5666979"/>
                <a:ext cx="29218" cy="97696"/>
              </a:xfrm>
              <a:custGeom>
                <a:avLst/>
                <a:gdLst>
                  <a:gd name="connsiteX0" fmla="*/ 14297 w 29218"/>
                  <a:gd name="connsiteY0" fmla="*/ 97696 h 97696"/>
                  <a:gd name="connsiteX1" fmla="*/ 9293 w 29218"/>
                  <a:gd name="connsiteY1" fmla="*/ 95820 h 97696"/>
                  <a:gd name="connsiteX2" fmla="*/ 8042 w 29218"/>
                  <a:gd name="connsiteY2" fmla="*/ 83936 h 97696"/>
                  <a:gd name="connsiteX3" fmla="*/ 6791 w 29218"/>
                  <a:gd name="connsiteY3" fmla="*/ 52038 h 97696"/>
                  <a:gd name="connsiteX4" fmla="*/ 8042 w 29218"/>
                  <a:gd name="connsiteY4" fmla="*/ 3253 h 97696"/>
                  <a:gd name="connsiteX5" fmla="*/ 19925 w 29218"/>
                  <a:gd name="connsiteY5" fmla="*/ 2002 h 97696"/>
                  <a:gd name="connsiteX6" fmla="*/ 21176 w 29218"/>
                  <a:gd name="connsiteY6" fmla="*/ 13886 h 97696"/>
                  <a:gd name="connsiteX7" fmla="*/ 22427 w 29218"/>
                  <a:gd name="connsiteY7" fmla="*/ 45784 h 97696"/>
                  <a:gd name="connsiteX8" fmla="*/ 21176 w 29218"/>
                  <a:gd name="connsiteY8" fmla="*/ 94569 h 97696"/>
                  <a:gd name="connsiteX9" fmla="*/ 14297 w 29218"/>
                  <a:gd name="connsiteY9" fmla="*/ 97696 h 97696"/>
                  <a:gd name="connsiteX10" fmla="*/ 14297 w 29218"/>
                  <a:gd name="connsiteY10" fmla="*/ 97696 h 976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218" h="97696">
                    <a:moveTo>
                      <a:pt x="14297" y="97696"/>
                    </a:moveTo>
                    <a:cubicBezTo>
                      <a:pt x="12420" y="97696"/>
                      <a:pt x="10544" y="97071"/>
                      <a:pt x="9293" y="95820"/>
                    </a:cubicBezTo>
                    <a:cubicBezTo>
                      <a:pt x="5540" y="92692"/>
                      <a:pt x="4915" y="87689"/>
                      <a:pt x="8042" y="83936"/>
                    </a:cubicBezTo>
                    <a:cubicBezTo>
                      <a:pt x="15547" y="74554"/>
                      <a:pt x="12420" y="66424"/>
                      <a:pt x="6791" y="52038"/>
                    </a:cubicBezTo>
                    <a:cubicBezTo>
                      <a:pt x="1162" y="38278"/>
                      <a:pt x="-5718" y="20766"/>
                      <a:pt x="8042" y="3253"/>
                    </a:cubicBezTo>
                    <a:cubicBezTo>
                      <a:pt x="11169" y="-500"/>
                      <a:pt x="16173" y="-1125"/>
                      <a:pt x="19925" y="2002"/>
                    </a:cubicBezTo>
                    <a:cubicBezTo>
                      <a:pt x="23678" y="5130"/>
                      <a:pt x="24304" y="10133"/>
                      <a:pt x="21176" y="13886"/>
                    </a:cubicBezTo>
                    <a:cubicBezTo>
                      <a:pt x="13671" y="23267"/>
                      <a:pt x="16798" y="31399"/>
                      <a:pt x="22427" y="45784"/>
                    </a:cubicBezTo>
                    <a:cubicBezTo>
                      <a:pt x="28056" y="59544"/>
                      <a:pt x="34936" y="77056"/>
                      <a:pt x="21176" y="94569"/>
                    </a:cubicBezTo>
                    <a:cubicBezTo>
                      <a:pt x="19300" y="97071"/>
                      <a:pt x="16798" y="97696"/>
                      <a:pt x="14297" y="97696"/>
                    </a:cubicBezTo>
                    <a:lnTo>
                      <a:pt x="14297" y="97696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07" name="Forma Livre: Forma 306">
                <a:extLst>
                  <a:ext uri="{FF2B5EF4-FFF2-40B4-BE49-F238E27FC236}">
                    <a16:creationId xmlns:a16="http://schemas.microsoft.com/office/drawing/2014/main" id="{7D3AA43D-C54A-4811-BA10-D0298D7A90A8}"/>
                  </a:ext>
                </a:extLst>
              </p:cNvPr>
              <p:cNvSpPr/>
              <p:nvPr/>
            </p:nvSpPr>
            <p:spPr>
              <a:xfrm>
                <a:off x="4461250" y="5666979"/>
                <a:ext cx="29218" cy="97696"/>
              </a:xfrm>
              <a:custGeom>
                <a:avLst/>
                <a:gdLst>
                  <a:gd name="connsiteX0" fmla="*/ 14296 w 29218"/>
                  <a:gd name="connsiteY0" fmla="*/ 97696 h 97696"/>
                  <a:gd name="connsiteX1" fmla="*/ 9293 w 29218"/>
                  <a:gd name="connsiteY1" fmla="*/ 95820 h 97696"/>
                  <a:gd name="connsiteX2" fmla="*/ 8042 w 29218"/>
                  <a:gd name="connsiteY2" fmla="*/ 83936 h 97696"/>
                  <a:gd name="connsiteX3" fmla="*/ 6791 w 29218"/>
                  <a:gd name="connsiteY3" fmla="*/ 52038 h 97696"/>
                  <a:gd name="connsiteX4" fmla="*/ 8042 w 29218"/>
                  <a:gd name="connsiteY4" fmla="*/ 3253 h 97696"/>
                  <a:gd name="connsiteX5" fmla="*/ 19925 w 29218"/>
                  <a:gd name="connsiteY5" fmla="*/ 2002 h 97696"/>
                  <a:gd name="connsiteX6" fmla="*/ 21176 w 29218"/>
                  <a:gd name="connsiteY6" fmla="*/ 13886 h 97696"/>
                  <a:gd name="connsiteX7" fmla="*/ 22427 w 29218"/>
                  <a:gd name="connsiteY7" fmla="*/ 45784 h 97696"/>
                  <a:gd name="connsiteX8" fmla="*/ 21176 w 29218"/>
                  <a:gd name="connsiteY8" fmla="*/ 94569 h 97696"/>
                  <a:gd name="connsiteX9" fmla="*/ 14296 w 29218"/>
                  <a:gd name="connsiteY9" fmla="*/ 97696 h 97696"/>
                  <a:gd name="connsiteX10" fmla="*/ 14296 w 29218"/>
                  <a:gd name="connsiteY10" fmla="*/ 97696 h 976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218" h="97696">
                    <a:moveTo>
                      <a:pt x="14296" y="97696"/>
                    </a:moveTo>
                    <a:cubicBezTo>
                      <a:pt x="12420" y="97696"/>
                      <a:pt x="10544" y="97071"/>
                      <a:pt x="9293" y="95820"/>
                    </a:cubicBezTo>
                    <a:cubicBezTo>
                      <a:pt x="5540" y="92692"/>
                      <a:pt x="4915" y="87689"/>
                      <a:pt x="8042" y="83936"/>
                    </a:cubicBezTo>
                    <a:cubicBezTo>
                      <a:pt x="15547" y="74554"/>
                      <a:pt x="12420" y="66424"/>
                      <a:pt x="6791" y="52038"/>
                    </a:cubicBezTo>
                    <a:cubicBezTo>
                      <a:pt x="1162" y="38278"/>
                      <a:pt x="-5718" y="20766"/>
                      <a:pt x="8042" y="3253"/>
                    </a:cubicBezTo>
                    <a:cubicBezTo>
                      <a:pt x="11169" y="-500"/>
                      <a:pt x="16173" y="-1125"/>
                      <a:pt x="19925" y="2002"/>
                    </a:cubicBezTo>
                    <a:cubicBezTo>
                      <a:pt x="23678" y="5130"/>
                      <a:pt x="24304" y="10133"/>
                      <a:pt x="21176" y="13886"/>
                    </a:cubicBezTo>
                    <a:cubicBezTo>
                      <a:pt x="13671" y="23267"/>
                      <a:pt x="16798" y="31399"/>
                      <a:pt x="22427" y="45784"/>
                    </a:cubicBezTo>
                    <a:cubicBezTo>
                      <a:pt x="28056" y="59544"/>
                      <a:pt x="34936" y="77056"/>
                      <a:pt x="21176" y="94569"/>
                    </a:cubicBezTo>
                    <a:cubicBezTo>
                      <a:pt x="19300" y="97071"/>
                      <a:pt x="16798" y="97696"/>
                      <a:pt x="14296" y="97696"/>
                    </a:cubicBezTo>
                    <a:lnTo>
                      <a:pt x="14296" y="97696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308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5463906" y="5672108"/>
            <a:ext cx="259543" cy="400287"/>
            <a:chOff x="5451569" y="5672108"/>
            <a:chExt cx="259543" cy="400287"/>
          </a:xfrm>
          <a:solidFill>
            <a:srgbClr val="B1B1A1"/>
          </a:solidFill>
        </p:grpSpPr>
        <p:sp>
          <p:nvSpPr>
            <p:cNvPr id="309" name="Forma Livre: Forma 308">
              <a:extLst>
                <a:ext uri="{FF2B5EF4-FFF2-40B4-BE49-F238E27FC236}">
                  <a16:creationId xmlns:a16="http://schemas.microsoft.com/office/drawing/2014/main" id="{EBB724C8-A5AC-492A-AAC8-D0C675F3B209}"/>
                </a:ext>
              </a:extLst>
            </p:cNvPr>
            <p:cNvSpPr/>
            <p:nvPr/>
          </p:nvSpPr>
          <p:spPr>
            <a:xfrm>
              <a:off x="5451569" y="5672108"/>
              <a:ext cx="259543" cy="293335"/>
            </a:xfrm>
            <a:custGeom>
              <a:avLst/>
              <a:gdLst>
                <a:gd name="connsiteX0" fmla="*/ 129772 w 259543"/>
                <a:gd name="connsiteY0" fmla="*/ 293335 h 293335"/>
                <a:gd name="connsiteX1" fmla="*/ 26573 w 259543"/>
                <a:gd name="connsiteY1" fmla="*/ 248303 h 293335"/>
                <a:gd name="connsiteX2" fmla="*/ 14689 w 259543"/>
                <a:gd name="connsiteY2" fmla="*/ 89439 h 293335"/>
                <a:gd name="connsiteX3" fmla="*/ 47213 w 259543"/>
                <a:gd name="connsiteY3" fmla="*/ 9382 h 293335"/>
                <a:gd name="connsiteX4" fmla="*/ 62224 w 259543"/>
                <a:gd name="connsiteY4" fmla="*/ 0 h 293335"/>
                <a:gd name="connsiteX5" fmla="*/ 197321 w 259543"/>
                <a:gd name="connsiteY5" fmla="*/ 0 h 293335"/>
                <a:gd name="connsiteX6" fmla="*/ 212332 w 259543"/>
                <a:gd name="connsiteY6" fmla="*/ 9382 h 293335"/>
                <a:gd name="connsiteX7" fmla="*/ 244855 w 259543"/>
                <a:gd name="connsiteY7" fmla="*/ 89439 h 293335"/>
                <a:gd name="connsiteX8" fmla="*/ 232971 w 259543"/>
                <a:gd name="connsiteY8" fmla="*/ 248303 h 293335"/>
                <a:gd name="connsiteX9" fmla="*/ 129772 w 259543"/>
                <a:gd name="connsiteY9" fmla="*/ 293335 h 293335"/>
                <a:gd name="connsiteX10" fmla="*/ 129772 w 259543"/>
                <a:gd name="connsiteY10" fmla="*/ 293335 h 293335"/>
                <a:gd name="connsiteX11" fmla="*/ 72856 w 259543"/>
                <a:gd name="connsiteY11" fmla="*/ 33149 h 293335"/>
                <a:gd name="connsiteX12" fmla="*/ 45962 w 259543"/>
                <a:gd name="connsiteY12" fmla="*/ 100697 h 293335"/>
                <a:gd name="connsiteX13" fmla="*/ 52842 w 259543"/>
                <a:gd name="connsiteY13" fmla="*/ 227663 h 293335"/>
                <a:gd name="connsiteX14" fmla="*/ 129772 w 259543"/>
                <a:gd name="connsiteY14" fmla="*/ 260187 h 293335"/>
                <a:gd name="connsiteX15" fmla="*/ 206702 w 259543"/>
                <a:gd name="connsiteY15" fmla="*/ 227663 h 293335"/>
                <a:gd name="connsiteX16" fmla="*/ 213582 w 259543"/>
                <a:gd name="connsiteY16" fmla="*/ 100072 h 293335"/>
                <a:gd name="connsiteX17" fmla="*/ 186688 w 259543"/>
                <a:gd name="connsiteY17" fmla="*/ 33149 h 293335"/>
                <a:gd name="connsiteX18" fmla="*/ 72856 w 259543"/>
                <a:gd name="connsiteY18" fmla="*/ 33149 h 293335"/>
                <a:gd name="connsiteX19" fmla="*/ 72856 w 259543"/>
                <a:gd name="connsiteY19" fmla="*/ 33149 h 293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59543" h="293335">
                  <a:moveTo>
                    <a:pt x="129772" y="293335"/>
                  </a:moveTo>
                  <a:cubicBezTo>
                    <a:pt x="85365" y="293335"/>
                    <a:pt x="49715" y="277699"/>
                    <a:pt x="26573" y="248303"/>
                  </a:cubicBezTo>
                  <a:cubicBezTo>
                    <a:pt x="-4074" y="209526"/>
                    <a:pt x="-8452" y="151359"/>
                    <a:pt x="14689" y="89439"/>
                  </a:cubicBezTo>
                  <a:cubicBezTo>
                    <a:pt x="22195" y="65672"/>
                    <a:pt x="32828" y="38778"/>
                    <a:pt x="47213" y="9382"/>
                  </a:cubicBezTo>
                  <a:cubicBezTo>
                    <a:pt x="49715" y="3753"/>
                    <a:pt x="55969" y="0"/>
                    <a:pt x="62224" y="0"/>
                  </a:cubicBezTo>
                  <a:lnTo>
                    <a:pt x="197321" y="0"/>
                  </a:lnTo>
                  <a:cubicBezTo>
                    <a:pt x="203575" y="0"/>
                    <a:pt x="209830" y="3753"/>
                    <a:pt x="212332" y="9382"/>
                  </a:cubicBezTo>
                  <a:cubicBezTo>
                    <a:pt x="226717" y="38778"/>
                    <a:pt x="237350" y="65046"/>
                    <a:pt x="244855" y="89439"/>
                  </a:cubicBezTo>
                  <a:cubicBezTo>
                    <a:pt x="267996" y="151359"/>
                    <a:pt x="263618" y="209526"/>
                    <a:pt x="232971" y="248303"/>
                  </a:cubicBezTo>
                  <a:cubicBezTo>
                    <a:pt x="209830" y="277699"/>
                    <a:pt x="174179" y="293335"/>
                    <a:pt x="129772" y="293335"/>
                  </a:cubicBezTo>
                  <a:lnTo>
                    <a:pt x="129772" y="293335"/>
                  </a:lnTo>
                  <a:close/>
                  <a:moveTo>
                    <a:pt x="72856" y="33149"/>
                  </a:moveTo>
                  <a:cubicBezTo>
                    <a:pt x="61598" y="57541"/>
                    <a:pt x="52842" y="80057"/>
                    <a:pt x="45962" y="100697"/>
                  </a:cubicBezTo>
                  <a:cubicBezTo>
                    <a:pt x="26573" y="151984"/>
                    <a:pt x="29075" y="198268"/>
                    <a:pt x="52842" y="227663"/>
                  </a:cubicBezTo>
                  <a:cubicBezTo>
                    <a:pt x="69729" y="248929"/>
                    <a:pt x="95998" y="260187"/>
                    <a:pt x="129772" y="260187"/>
                  </a:cubicBezTo>
                  <a:cubicBezTo>
                    <a:pt x="163546" y="260187"/>
                    <a:pt x="189815" y="248929"/>
                    <a:pt x="206702" y="227663"/>
                  </a:cubicBezTo>
                  <a:cubicBezTo>
                    <a:pt x="229844" y="198268"/>
                    <a:pt x="232346" y="151359"/>
                    <a:pt x="213582" y="100072"/>
                  </a:cubicBezTo>
                  <a:cubicBezTo>
                    <a:pt x="206702" y="78806"/>
                    <a:pt x="197946" y="56916"/>
                    <a:pt x="186688" y="33149"/>
                  </a:cubicBezTo>
                  <a:lnTo>
                    <a:pt x="72856" y="33149"/>
                  </a:lnTo>
                  <a:lnTo>
                    <a:pt x="72856" y="33149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10" name="Forma Livre: Forma 309">
              <a:extLst>
                <a:ext uri="{FF2B5EF4-FFF2-40B4-BE49-F238E27FC236}">
                  <a16:creationId xmlns:a16="http://schemas.microsoft.com/office/drawing/2014/main" id="{91C1DA52-3852-4969-807B-857933F983ED}"/>
                </a:ext>
              </a:extLst>
            </p:cNvPr>
            <p:cNvSpPr/>
            <p:nvPr/>
          </p:nvSpPr>
          <p:spPr>
            <a:xfrm>
              <a:off x="5559450" y="5932921"/>
              <a:ext cx="33774" cy="139475"/>
            </a:xfrm>
            <a:custGeom>
              <a:avLst/>
              <a:gdLst>
                <a:gd name="connsiteX0" fmla="*/ 16887 w 33774"/>
                <a:gd name="connsiteY0" fmla="*/ 139475 h 139475"/>
                <a:gd name="connsiteX1" fmla="*/ 0 w 33774"/>
                <a:gd name="connsiteY1" fmla="*/ 122588 h 139475"/>
                <a:gd name="connsiteX2" fmla="*/ 0 w 33774"/>
                <a:gd name="connsiteY2" fmla="*/ 16887 h 139475"/>
                <a:gd name="connsiteX3" fmla="*/ 16887 w 33774"/>
                <a:gd name="connsiteY3" fmla="*/ 0 h 139475"/>
                <a:gd name="connsiteX4" fmla="*/ 33774 w 33774"/>
                <a:gd name="connsiteY4" fmla="*/ 16887 h 139475"/>
                <a:gd name="connsiteX5" fmla="*/ 33774 w 33774"/>
                <a:gd name="connsiteY5" fmla="*/ 122588 h 139475"/>
                <a:gd name="connsiteX6" fmla="*/ 16887 w 33774"/>
                <a:gd name="connsiteY6" fmla="*/ 139475 h 139475"/>
                <a:gd name="connsiteX7" fmla="*/ 16887 w 33774"/>
                <a:gd name="connsiteY7" fmla="*/ 139475 h 139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774" h="139475">
                  <a:moveTo>
                    <a:pt x="16887" y="139475"/>
                  </a:moveTo>
                  <a:cubicBezTo>
                    <a:pt x="7505" y="139475"/>
                    <a:pt x="0" y="131970"/>
                    <a:pt x="0" y="122588"/>
                  </a:cubicBezTo>
                  <a:lnTo>
                    <a:pt x="0" y="16887"/>
                  </a:lnTo>
                  <a:cubicBezTo>
                    <a:pt x="0" y="7505"/>
                    <a:pt x="7505" y="0"/>
                    <a:pt x="16887" y="0"/>
                  </a:cubicBezTo>
                  <a:cubicBezTo>
                    <a:pt x="26269" y="0"/>
                    <a:pt x="33774" y="7505"/>
                    <a:pt x="33774" y="16887"/>
                  </a:cubicBezTo>
                  <a:lnTo>
                    <a:pt x="33774" y="122588"/>
                  </a:lnTo>
                  <a:cubicBezTo>
                    <a:pt x="33774" y="131970"/>
                    <a:pt x="26269" y="139475"/>
                    <a:pt x="16887" y="139475"/>
                  </a:cubicBezTo>
                  <a:lnTo>
                    <a:pt x="16887" y="139475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11" name="Forma Livre: Forma 310">
              <a:extLst>
                <a:ext uri="{FF2B5EF4-FFF2-40B4-BE49-F238E27FC236}">
                  <a16:creationId xmlns:a16="http://schemas.microsoft.com/office/drawing/2014/main" id="{BCBCCB77-A7A1-454A-A6F8-4BD6A2DCE51E}"/>
                </a:ext>
              </a:extLst>
            </p:cNvPr>
            <p:cNvSpPr/>
            <p:nvPr/>
          </p:nvSpPr>
          <p:spPr>
            <a:xfrm>
              <a:off x="5506912" y="6038622"/>
              <a:ext cx="139475" cy="33774"/>
            </a:xfrm>
            <a:custGeom>
              <a:avLst/>
              <a:gdLst>
                <a:gd name="connsiteX0" fmla="*/ 121963 w 139475"/>
                <a:gd name="connsiteY0" fmla="*/ 33774 h 33774"/>
                <a:gd name="connsiteX1" fmla="*/ 16887 w 139475"/>
                <a:gd name="connsiteY1" fmla="*/ 33774 h 33774"/>
                <a:gd name="connsiteX2" fmla="*/ 0 w 139475"/>
                <a:gd name="connsiteY2" fmla="*/ 16887 h 33774"/>
                <a:gd name="connsiteX3" fmla="*/ 16887 w 139475"/>
                <a:gd name="connsiteY3" fmla="*/ 0 h 33774"/>
                <a:gd name="connsiteX4" fmla="*/ 122588 w 139475"/>
                <a:gd name="connsiteY4" fmla="*/ 0 h 33774"/>
                <a:gd name="connsiteX5" fmla="*/ 139475 w 139475"/>
                <a:gd name="connsiteY5" fmla="*/ 16887 h 33774"/>
                <a:gd name="connsiteX6" fmla="*/ 121963 w 139475"/>
                <a:gd name="connsiteY6" fmla="*/ 33774 h 33774"/>
                <a:gd name="connsiteX7" fmla="*/ 121963 w 139475"/>
                <a:gd name="connsiteY7" fmla="*/ 33774 h 33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9475" h="33774">
                  <a:moveTo>
                    <a:pt x="121963" y="33774"/>
                  </a:moveTo>
                  <a:lnTo>
                    <a:pt x="16887" y="33774"/>
                  </a:lnTo>
                  <a:cubicBezTo>
                    <a:pt x="7505" y="33774"/>
                    <a:pt x="0" y="26269"/>
                    <a:pt x="0" y="16887"/>
                  </a:cubicBezTo>
                  <a:cubicBezTo>
                    <a:pt x="0" y="7505"/>
                    <a:pt x="7505" y="0"/>
                    <a:pt x="16887" y="0"/>
                  </a:cubicBezTo>
                  <a:lnTo>
                    <a:pt x="122588" y="0"/>
                  </a:lnTo>
                  <a:cubicBezTo>
                    <a:pt x="131970" y="0"/>
                    <a:pt x="139475" y="7505"/>
                    <a:pt x="139475" y="16887"/>
                  </a:cubicBezTo>
                  <a:cubicBezTo>
                    <a:pt x="138850" y="26269"/>
                    <a:pt x="131344" y="33774"/>
                    <a:pt x="121963" y="33774"/>
                  </a:cubicBezTo>
                  <a:lnTo>
                    <a:pt x="121963" y="33774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12" name="Forma Livre: Forma 311">
              <a:extLst>
                <a:ext uri="{FF2B5EF4-FFF2-40B4-BE49-F238E27FC236}">
                  <a16:creationId xmlns:a16="http://schemas.microsoft.com/office/drawing/2014/main" id="{88A4001A-809D-40BF-8F65-1413788324A6}"/>
                </a:ext>
              </a:extLst>
            </p:cNvPr>
            <p:cNvSpPr/>
            <p:nvPr/>
          </p:nvSpPr>
          <p:spPr>
            <a:xfrm>
              <a:off x="5462505" y="5825969"/>
              <a:ext cx="235794" cy="16261"/>
            </a:xfrm>
            <a:custGeom>
              <a:avLst/>
              <a:gdLst>
                <a:gd name="connsiteX0" fmla="*/ 227663 w 235794"/>
                <a:gd name="connsiteY0" fmla="*/ 16262 h 16261"/>
                <a:gd name="connsiteX1" fmla="*/ 8131 w 235794"/>
                <a:gd name="connsiteY1" fmla="*/ 16262 h 16261"/>
                <a:gd name="connsiteX2" fmla="*/ 0 w 235794"/>
                <a:gd name="connsiteY2" fmla="*/ 8131 h 16261"/>
                <a:gd name="connsiteX3" fmla="*/ 8131 w 235794"/>
                <a:gd name="connsiteY3" fmla="*/ 0 h 16261"/>
                <a:gd name="connsiteX4" fmla="*/ 227663 w 235794"/>
                <a:gd name="connsiteY4" fmla="*/ 0 h 16261"/>
                <a:gd name="connsiteX5" fmla="*/ 235794 w 235794"/>
                <a:gd name="connsiteY5" fmla="*/ 8131 h 16261"/>
                <a:gd name="connsiteX6" fmla="*/ 227663 w 235794"/>
                <a:gd name="connsiteY6" fmla="*/ 16262 h 16261"/>
                <a:gd name="connsiteX7" fmla="*/ 227663 w 235794"/>
                <a:gd name="connsiteY7" fmla="*/ 16262 h 16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5794" h="16261">
                  <a:moveTo>
                    <a:pt x="227663" y="16262"/>
                  </a:moveTo>
                  <a:lnTo>
                    <a:pt x="8131" y="16262"/>
                  </a:lnTo>
                  <a:cubicBezTo>
                    <a:pt x="3753" y="16262"/>
                    <a:pt x="0" y="12509"/>
                    <a:pt x="0" y="8131"/>
                  </a:cubicBezTo>
                  <a:cubicBezTo>
                    <a:pt x="0" y="3753"/>
                    <a:pt x="3753" y="0"/>
                    <a:pt x="8131" y="0"/>
                  </a:cubicBezTo>
                  <a:lnTo>
                    <a:pt x="227663" y="0"/>
                  </a:lnTo>
                  <a:cubicBezTo>
                    <a:pt x="232042" y="0"/>
                    <a:pt x="235794" y="3753"/>
                    <a:pt x="235794" y="8131"/>
                  </a:cubicBezTo>
                  <a:cubicBezTo>
                    <a:pt x="235794" y="12509"/>
                    <a:pt x="232042" y="16262"/>
                    <a:pt x="227663" y="16262"/>
                  </a:cubicBezTo>
                  <a:lnTo>
                    <a:pt x="227663" y="16262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13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6410514" y="5713262"/>
            <a:ext cx="423429" cy="325985"/>
            <a:chOff x="6398177" y="5713262"/>
            <a:chExt cx="423429" cy="325985"/>
          </a:xfrm>
          <a:solidFill>
            <a:srgbClr val="B1B1A1"/>
          </a:solidFill>
        </p:grpSpPr>
        <p:grpSp>
          <p:nvGrpSpPr>
            <p:cNvPr id="314" name="Gráfico 2">
              <a:extLst>
                <a:ext uri="{FF2B5EF4-FFF2-40B4-BE49-F238E27FC236}">
                  <a16:creationId xmlns:a16="http://schemas.microsoft.com/office/drawing/2014/main" id="{A4E24395-F85F-4E15-8BC9-B92D577D4DAD}"/>
                </a:ext>
              </a:extLst>
            </p:cNvPr>
            <p:cNvGrpSpPr/>
            <p:nvPr/>
          </p:nvGrpSpPr>
          <p:grpSpPr>
            <a:xfrm>
              <a:off x="6534614" y="5713262"/>
              <a:ext cx="114905" cy="97070"/>
              <a:chOff x="6534614" y="5713262"/>
              <a:chExt cx="114905" cy="97070"/>
            </a:xfrm>
            <a:grpFill/>
          </p:grpSpPr>
          <p:sp>
            <p:nvSpPr>
              <p:cNvPr id="315" name="Forma Livre: Forma 314">
                <a:extLst>
                  <a:ext uri="{FF2B5EF4-FFF2-40B4-BE49-F238E27FC236}">
                    <a16:creationId xmlns:a16="http://schemas.microsoft.com/office/drawing/2014/main" id="{2F45C10B-8ECE-425F-BDA6-B7F732F34F93}"/>
                  </a:ext>
                </a:extLst>
              </p:cNvPr>
              <p:cNvSpPr/>
              <p:nvPr/>
            </p:nvSpPr>
            <p:spPr>
              <a:xfrm>
                <a:off x="6620301" y="5713262"/>
                <a:ext cx="29218" cy="97070"/>
              </a:xfrm>
              <a:custGeom>
                <a:avLst/>
                <a:gdLst>
                  <a:gd name="connsiteX0" fmla="*/ 14296 w 29218"/>
                  <a:gd name="connsiteY0" fmla="*/ 97071 h 97070"/>
                  <a:gd name="connsiteX1" fmla="*/ 9293 w 29218"/>
                  <a:gd name="connsiteY1" fmla="*/ 95194 h 97070"/>
                  <a:gd name="connsiteX2" fmla="*/ 8042 w 29218"/>
                  <a:gd name="connsiteY2" fmla="*/ 83311 h 97070"/>
                  <a:gd name="connsiteX3" fmla="*/ 6791 w 29218"/>
                  <a:gd name="connsiteY3" fmla="*/ 51413 h 97070"/>
                  <a:gd name="connsiteX4" fmla="*/ 8042 w 29218"/>
                  <a:gd name="connsiteY4" fmla="*/ 3253 h 97070"/>
                  <a:gd name="connsiteX5" fmla="*/ 19926 w 29218"/>
                  <a:gd name="connsiteY5" fmla="*/ 2002 h 97070"/>
                  <a:gd name="connsiteX6" fmla="*/ 21176 w 29218"/>
                  <a:gd name="connsiteY6" fmla="*/ 13886 h 97070"/>
                  <a:gd name="connsiteX7" fmla="*/ 22427 w 29218"/>
                  <a:gd name="connsiteY7" fmla="*/ 45784 h 97070"/>
                  <a:gd name="connsiteX8" fmla="*/ 21176 w 29218"/>
                  <a:gd name="connsiteY8" fmla="*/ 93943 h 97070"/>
                  <a:gd name="connsiteX9" fmla="*/ 14296 w 29218"/>
                  <a:gd name="connsiteY9" fmla="*/ 97071 h 97070"/>
                  <a:gd name="connsiteX10" fmla="*/ 14296 w 29218"/>
                  <a:gd name="connsiteY10" fmla="*/ 97071 h 97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218" h="97070">
                    <a:moveTo>
                      <a:pt x="14296" y="97071"/>
                    </a:moveTo>
                    <a:cubicBezTo>
                      <a:pt x="12420" y="97071"/>
                      <a:pt x="10544" y="96445"/>
                      <a:pt x="9293" y="95194"/>
                    </a:cubicBezTo>
                    <a:cubicBezTo>
                      <a:pt x="5540" y="92067"/>
                      <a:pt x="4915" y="87064"/>
                      <a:pt x="8042" y="83311"/>
                    </a:cubicBezTo>
                    <a:cubicBezTo>
                      <a:pt x="15547" y="73929"/>
                      <a:pt x="12420" y="65173"/>
                      <a:pt x="6791" y="51413"/>
                    </a:cubicBezTo>
                    <a:cubicBezTo>
                      <a:pt x="1162" y="37653"/>
                      <a:pt x="-5718" y="20140"/>
                      <a:pt x="8042" y="3253"/>
                    </a:cubicBezTo>
                    <a:cubicBezTo>
                      <a:pt x="11169" y="-499"/>
                      <a:pt x="16173" y="-1125"/>
                      <a:pt x="19926" y="2002"/>
                    </a:cubicBezTo>
                    <a:cubicBezTo>
                      <a:pt x="23678" y="5129"/>
                      <a:pt x="24304" y="10133"/>
                      <a:pt x="21176" y="13886"/>
                    </a:cubicBezTo>
                    <a:cubicBezTo>
                      <a:pt x="13671" y="23268"/>
                      <a:pt x="16798" y="32024"/>
                      <a:pt x="22427" y="45784"/>
                    </a:cubicBezTo>
                    <a:cubicBezTo>
                      <a:pt x="28056" y="59544"/>
                      <a:pt x="34936" y="77056"/>
                      <a:pt x="21176" y="93943"/>
                    </a:cubicBezTo>
                    <a:cubicBezTo>
                      <a:pt x="19300" y="96445"/>
                      <a:pt x="16798" y="97071"/>
                      <a:pt x="14296" y="97071"/>
                    </a:cubicBezTo>
                    <a:lnTo>
                      <a:pt x="14296" y="97071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16" name="Forma Livre: Forma 315">
                <a:extLst>
                  <a:ext uri="{FF2B5EF4-FFF2-40B4-BE49-F238E27FC236}">
                    <a16:creationId xmlns:a16="http://schemas.microsoft.com/office/drawing/2014/main" id="{FBA08924-544D-4120-AC9E-6988C9704687}"/>
                  </a:ext>
                </a:extLst>
              </p:cNvPr>
              <p:cNvSpPr/>
              <p:nvPr/>
            </p:nvSpPr>
            <p:spPr>
              <a:xfrm>
                <a:off x="6577770" y="5713262"/>
                <a:ext cx="29218" cy="97070"/>
              </a:xfrm>
              <a:custGeom>
                <a:avLst/>
                <a:gdLst>
                  <a:gd name="connsiteX0" fmla="*/ 14297 w 29218"/>
                  <a:gd name="connsiteY0" fmla="*/ 97071 h 97070"/>
                  <a:gd name="connsiteX1" fmla="*/ 9293 w 29218"/>
                  <a:gd name="connsiteY1" fmla="*/ 95194 h 97070"/>
                  <a:gd name="connsiteX2" fmla="*/ 8042 w 29218"/>
                  <a:gd name="connsiteY2" fmla="*/ 83311 h 97070"/>
                  <a:gd name="connsiteX3" fmla="*/ 6791 w 29218"/>
                  <a:gd name="connsiteY3" fmla="*/ 51413 h 97070"/>
                  <a:gd name="connsiteX4" fmla="*/ 8042 w 29218"/>
                  <a:gd name="connsiteY4" fmla="*/ 3253 h 97070"/>
                  <a:gd name="connsiteX5" fmla="*/ 19926 w 29218"/>
                  <a:gd name="connsiteY5" fmla="*/ 2002 h 97070"/>
                  <a:gd name="connsiteX6" fmla="*/ 21177 w 29218"/>
                  <a:gd name="connsiteY6" fmla="*/ 13886 h 97070"/>
                  <a:gd name="connsiteX7" fmla="*/ 22427 w 29218"/>
                  <a:gd name="connsiteY7" fmla="*/ 45784 h 97070"/>
                  <a:gd name="connsiteX8" fmla="*/ 21177 w 29218"/>
                  <a:gd name="connsiteY8" fmla="*/ 93943 h 97070"/>
                  <a:gd name="connsiteX9" fmla="*/ 14297 w 29218"/>
                  <a:gd name="connsiteY9" fmla="*/ 97071 h 97070"/>
                  <a:gd name="connsiteX10" fmla="*/ 14297 w 29218"/>
                  <a:gd name="connsiteY10" fmla="*/ 97071 h 97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218" h="97070">
                    <a:moveTo>
                      <a:pt x="14297" y="97071"/>
                    </a:moveTo>
                    <a:cubicBezTo>
                      <a:pt x="12420" y="97071"/>
                      <a:pt x="10544" y="96445"/>
                      <a:pt x="9293" y="95194"/>
                    </a:cubicBezTo>
                    <a:cubicBezTo>
                      <a:pt x="5540" y="92067"/>
                      <a:pt x="4915" y="87064"/>
                      <a:pt x="8042" y="83311"/>
                    </a:cubicBezTo>
                    <a:cubicBezTo>
                      <a:pt x="15547" y="73929"/>
                      <a:pt x="12420" y="65173"/>
                      <a:pt x="6791" y="51413"/>
                    </a:cubicBezTo>
                    <a:cubicBezTo>
                      <a:pt x="1162" y="37653"/>
                      <a:pt x="-5718" y="20140"/>
                      <a:pt x="8042" y="3253"/>
                    </a:cubicBezTo>
                    <a:cubicBezTo>
                      <a:pt x="11169" y="-499"/>
                      <a:pt x="16173" y="-1125"/>
                      <a:pt x="19926" y="2002"/>
                    </a:cubicBezTo>
                    <a:cubicBezTo>
                      <a:pt x="23678" y="5129"/>
                      <a:pt x="24304" y="10133"/>
                      <a:pt x="21177" y="13886"/>
                    </a:cubicBezTo>
                    <a:cubicBezTo>
                      <a:pt x="13671" y="23268"/>
                      <a:pt x="16798" y="32024"/>
                      <a:pt x="22427" y="45784"/>
                    </a:cubicBezTo>
                    <a:cubicBezTo>
                      <a:pt x="28056" y="59544"/>
                      <a:pt x="34936" y="77056"/>
                      <a:pt x="21177" y="93943"/>
                    </a:cubicBezTo>
                    <a:cubicBezTo>
                      <a:pt x="19300" y="96445"/>
                      <a:pt x="16798" y="97071"/>
                      <a:pt x="14297" y="97071"/>
                    </a:cubicBezTo>
                    <a:lnTo>
                      <a:pt x="14297" y="97071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17" name="Forma Livre: Forma 316">
                <a:extLst>
                  <a:ext uri="{FF2B5EF4-FFF2-40B4-BE49-F238E27FC236}">
                    <a16:creationId xmlns:a16="http://schemas.microsoft.com/office/drawing/2014/main" id="{B0B26B34-8A61-419F-B8E3-F55D0DBCF936}"/>
                  </a:ext>
                </a:extLst>
              </p:cNvPr>
              <p:cNvSpPr/>
              <p:nvPr/>
            </p:nvSpPr>
            <p:spPr>
              <a:xfrm>
                <a:off x="6534614" y="5713262"/>
                <a:ext cx="29218" cy="97070"/>
              </a:xfrm>
              <a:custGeom>
                <a:avLst/>
                <a:gdLst>
                  <a:gd name="connsiteX0" fmla="*/ 14297 w 29218"/>
                  <a:gd name="connsiteY0" fmla="*/ 97071 h 97070"/>
                  <a:gd name="connsiteX1" fmla="*/ 9293 w 29218"/>
                  <a:gd name="connsiteY1" fmla="*/ 95194 h 97070"/>
                  <a:gd name="connsiteX2" fmla="*/ 8042 w 29218"/>
                  <a:gd name="connsiteY2" fmla="*/ 83311 h 97070"/>
                  <a:gd name="connsiteX3" fmla="*/ 6791 w 29218"/>
                  <a:gd name="connsiteY3" fmla="*/ 51413 h 97070"/>
                  <a:gd name="connsiteX4" fmla="*/ 8042 w 29218"/>
                  <a:gd name="connsiteY4" fmla="*/ 3253 h 97070"/>
                  <a:gd name="connsiteX5" fmla="*/ 19925 w 29218"/>
                  <a:gd name="connsiteY5" fmla="*/ 2002 h 97070"/>
                  <a:gd name="connsiteX6" fmla="*/ 21176 w 29218"/>
                  <a:gd name="connsiteY6" fmla="*/ 13886 h 97070"/>
                  <a:gd name="connsiteX7" fmla="*/ 22427 w 29218"/>
                  <a:gd name="connsiteY7" fmla="*/ 45784 h 97070"/>
                  <a:gd name="connsiteX8" fmla="*/ 21176 w 29218"/>
                  <a:gd name="connsiteY8" fmla="*/ 93943 h 97070"/>
                  <a:gd name="connsiteX9" fmla="*/ 14297 w 29218"/>
                  <a:gd name="connsiteY9" fmla="*/ 97071 h 97070"/>
                  <a:gd name="connsiteX10" fmla="*/ 14297 w 29218"/>
                  <a:gd name="connsiteY10" fmla="*/ 97071 h 97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218" h="97070">
                    <a:moveTo>
                      <a:pt x="14297" y="97071"/>
                    </a:moveTo>
                    <a:cubicBezTo>
                      <a:pt x="12420" y="97071"/>
                      <a:pt x="10544" y="96445"/>
                      <a:pt x="9293" y="95194"/>
                    </a:cubicBezTo>
                    <a:cubicBezTo>
                      <a:pt x="5540" y="92067"/>
                      <a:pt x="4915" y="87064"/>
                      <a:pt x="8042" y="83311"/>
                    </a:cubicBezTo>
                    <a:cubicBezTo>
                      <a:pt x="15547" y="73929"/>
                      <a:pt x="12420" y="65173"/>
                      <a:pt x="6791" y="51413"/>
                    </a:cubicBezTo>
                    <a:cubicBezTo>
                      <a:pt x="1162" y="37653"/>
                      <a:pt x="-5718" y="20140"/>
                      <a:pt x="8042" y="3253"/>
                    </a:cubicBezTo>
                    <a:cubicBezTo>
                      <a:pt x="11169" y="-499"/>
                      <a:pt x="16173" y="-1125"/>
                      <a:pt x="19925" y="2002"/>
                    </a:cubicBezTo>
                    <a:cubicBezTo>
                      <a:pt x="23678" y="5129"/>
                      <a:pt x="24304" y="10133"/>
                      <a:pt x="21176" y="13886"/>
                    </a:cubicBezTo>
                    <a:cubicBezTo>
                      <a:pt x="13671" y="23268"/>
                      <a:pt x="16798" y="32024"/>
                      <a:pt x="22427" y="45784"/>
                    </a:cubicBezTo>
                    <a:cubicBezTo>
                      <a:pt x="28056" y="59544"/>
                      <a:pt x="34936" y="77056"/>
                      <a:pt x="21176" y="93943"/>
                    </a:cubicBezTo>
                    <a:cubicBezTo>
                      <a:pt x="19300" y="96445"/>
                      <a:pt x="16798" y="97071"/>
                      <a:pt x="14297" y="97071"/>
                    </a:cubicBezTo>
                    <a:lnTo>
                      <a:pt x="14297" y="97071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318" name="Gráfico 2">
              <a:extLst>
                <a:ext uri="{FF2B5EF4-FFF2-40B4-BE49-F238E27FC236}">
                  <a16:creationId xmlns:a16="http://schemas.microsoft.com/office/drawing/2014/main" id="{A4E24395-F85F-4E15-8BC9-B92D577D4DAD}"/>
                </a:ext>
              </a:extLst>
            </p:cNvPr>
            <p:cNvGrpSpPr/>
            <p:nvPr/>
          </p:nvGrpSpPr>
          <p:grpSpPr>
            <a:xfrm>
              <a:off x="6406308" y="5839729"/>
              <a:ext cx="415298" cy="193263"/>
              <a:chOff x="6406308" y="5839729"/>
              <a:chExt cx="415298" cy="193263"/>
            </a:xfrm>
            <a:grpFill/>
          </p:grpSpPr>
          <p:sp>
            <p:nvSpPr>
              <p:cNvPr id="319" name="Forma Livre: Forma 318">
                <a:extLst>
                  <a:ext uri="{FF2B5EF4-FFF2-40B4-BE49-F238E27FC236}">
                    <a16:creationId xmlns:a16="http://schemas.microsoft.com/office/drawing/2014/main" id="{078CB942-0B39-4162-8D22-8E55EA64BDE0}"/>
                  </a:ext>
                </a:extLst>
              </p:cNvPr>
              <p:cNvSpPr/>
              <p:nvPr/>
            </p:nvSpPr>
            <p:spPr>
              <a:xfrm>
                <a:off x="6406308" y="5839729"/>
                <a:ext cx="353378" cy="193263"/>
              </a:xfrm>
              <a:custGeom>
                <a:avLst/>
                <a:gdLst>
                  <a:gd name="connsiteX0" fmla="*/ 176377 w 353378"/>
                  <a:gd name="connsiteY0" fmla="*/ 193264 h 193263"/>
                  <a:gd name="connsiteX1" fmla="*/ 0 w 353378"/>
                  <a:gd name="connsiteY1" fmla="*/ 16887 h 193263"/>
                  <a:gd name="connsiteX2" fmla="*/ 16887 w 353378"/>
                  <a:gd name="connsiteY2" fmla="*/ 0 h 193263"/>
                  <a:gd name="connsiteX3" fmla="*/ 336492 w 353378"/>
                  <a:gd name="connsiteY3" fmla="*/ 0 h 193263"/>
                  <a:gd name="connsiteX4" fmla="*/ 353379 w 353378"/>
                  <a:gd name="connsiteY4" fmla="*/ 16887 h 193263"/>
                  <a:gd name="connsiteX5" fmla="*/ 176377 w 353378"/>
                  <a:gd name="connsiteY5" fmla="*/ 193264 h 193263"/>
                  <a:gd name="connsiteX6" fmla="*/ 176377 w 353378"/>
                  <a:gd name="connsiteY6" fmla="*/ 193264 h 193263"/>
                  <a:gd name="connsiteX7" fmla="*/ 34400 w 353378"/>
                  <a:gd name="connsiteY7" fmla="*/ 33149 h 193263"/>
                  <a:gd name="connsiteX8" fmla="*/ 176377 w 353378"/>
                  <a:gd name="connsiteY8" fmla="*/ 159490 h 193263"/>
                  <a:gd name="connsiteX9" fmla="*/ 318354 w 353378"/>
                  <a:gd name="connsiteY9" fmla="*/ 33149 h 193263"/>
                  <a:gd name="connsiteX10" fmla="*/ 34400 w 353378"/>
                  <a:gd name="connsiteY10" fmla="*/ 33149 h 193263"/>
                  <a:gd name="connsiteX11" fmla="*/ 34400 w 353378"/>
                  <a:gd name="connsiteY11" fmla="*/ 33149 h 193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53378" h="193263">
                    <a:moveTo>
                      <a:pt x="176377" y="193264"/>
                    </a:moveTo>
                    <a:cubicBezTo>
                      <a:pt x="79432" y="193264"/>
                      <a:pt x="0" y="114457"/>
                      <a:pt x="0" y="16887"/>
                    </a:cubicBezTo>
                    <a:cubicBezTo>
                      <a:pt x="0" y="7505"/>
                      <a:pt x="7505" y="0"/>
                      <a:pt x="16887" y="0"/>
                    </a:cubicBezTo>
                    <a:lnTo>
                      <a:pt x="336492" y="0"/>
                    </a:lnTo>
                    <a:cubicBezTo>
                      <a:pt x="345874" y="0"/>
                      <a:pt x="353379" y="7505"/>
                      <a:pt x="353379" y="16887"/>
                    </a:cubicBezTo>
                    <a:cubicBezTo>
                      <a:pt x="352754" y="113832"/>
                      <a:pt x="273321" y="193264"/>
                      <a:pt x="176377" y="193264"/>
                    </a:cubicBezTo>
                    <a:lnTo>
                      <a:pt x="176377" y="193264"/>
                    </a:lnTo>
                    <a:close/>
                    <a:moveTo>
                      <a:pt x="34400" y="33149"/>
                    </a:moveTo>
                    <a:cubicBezTo>
                      <a:pt x="42531" y="104450"/>
                      <a:pt x="103199" y="159490"/>
                      <a:pt x="176377" y="159490"/>
                    </a:cubicBezTo>
                    <a:cubicBezTo>
                      <a:pt x="249554" y="159490"/>
                      <a:pt x="310223" y="104450"/>
                      <a:pt x="318354" y="33149"/>
                    </a:cubicBezTo>
                    <a:lnTo>
                      <a:pt x="34400" y="33149"/>
                    </a:lnTo>
                    <a:lnTo>
                      <a:pt x="34400" y="33149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20" name="Forma Livre: Forma 319">
                <a:extLst>
                  <a:ext uri="{FF2B5EF4-FFF2-40B4-BE49-F238E27FC236}">
                    <a16:creationId xmlns:a16="http://schemas.microsoft.com/office/drawing/2014/main" id="{326BCE7B-8087-410E-BE50-853B342E3D5E}"/>
                  </a:ext>
                </a:extLst>
              </p:cNvPr>
              <p:cNvSpPr/>
              <p:nvPr/>
            </p:nvSpPr>
            <p:spPr>
              <a:xfrm>
                <a:off x="6719033" y="5874129"/>
                <a:ext cx="102573" cy="102573"/>
              </a:xfrm>
              <a:custGeom>
                <a:avLst/>
                <a:gdLst>
                  <a:gd name="connsiteX0" fmla="*/ 51287 w 102573"/>
                  <a:gd name="connsiteY0" fmla="*/ 102574 h 102573"/>
                  <a:gd name="connsiteX1" fmla="*/ 0 w 102573"/>
                  <a:gd name="connsiteY1" fmla="*/ 51287 h 102573"/>
                  <a:gd name="connsiteX2" fmla="*/ 51287 w 102573"/>
                  <a:gd name="connsiteY2" fmla="*/ 0 h 102573"/>
                  <a:gd name="connsiteX3" fmla="*/ 102574 w 102573"/>
                  <a:gd name="connsiteY3" fmla="*/ 51287 h 102573"/>
                  <a:gd name="connsiteX4" fmla="*/ 51287 w 102573"/>
                  <a:gd name="connsiteY4" fmla="*/ 102574 h 102573"/>
                  <a:gd name="connsiteX5" fmla="*/ 51287 w 102573"/>
                  <a:gd name="connsiteY5" fmla="*/ 102574 h 102573"/>
                  <a:gd name="connsiteX6" fmla="*/ 51287 w 102573"/>
                  <a:gd name="connsiteY6" fmla="*/ 33774 h 102573"/>
                  <a:gd name="connsiteX7" fmla="*/ 33774 w 102573"/>
                  <a:gd name="connsiteY7" fmla="*/ 51287 h 102573"/>
                  <a:gd name="connsiteX8" fmla="*/ 51287 w 102573"/>
                  <a:gd name="connsiteY8" fmla="*/ 68799 h 102573"/>
                  <a:gd name="connsiteX9" fmla="*/ 68799 w 102573"/>
                  <a:gd name="connsiteY9" fmla="*/ 51287 h 102573"/>
                  <a:gd name="connsiteX10" fmla="*/ 51287 w 102573"/>
                  <a:gd name="connsiteY10" fmla="*/ 33774 h 102573"/>
                  <a:gd name="connsiteX11" fmla="*/ 51287 w 102573"/>
                  <a:gd name="connsiteY11" fmla="*/ 33774 h 102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2573" h="102573">
                    <a:moveTo>
                      <a:pt x="51287" y="102574"/>
                    </a:moveTo>
                    <a:cubicBezTo>
                      <a:pt x="23142" y="102574"/>
                      <a:pt x="0" y="79432"/>
                      <a:pt x="0" y="51287"/>
                    </a:cubicBezTo>
                    <a:cubicBezTo>
                      <a:pt x="0" y="23142"/>
                      <a:pt x="23142" y="0"/>
                      <a:pt x="51287" y="0"/>
                    </a:cubicBezTo>
                    <a:cubicBezTo>
                      <a:pt x="79432" y="0"/>
                      <a:pt x="102574" y="23142"/>
                      <a:pt x="102574" y="51287"/>
                    </a:cubicBezTo>
                    <a:cubicBezTo>
                      <a:pt x="102574" y="79432"/>
                      <a:pt x="79432" y="102574"/>
                      <a:pt x="51287" y="102574"/>
                    </a:cubicBezTo>
                    <a:lnTo>
                      <a:pt x="51287" y="102574"/>
                    </a:lnTo>
                    <a:close/>
                    <a:moveTo>
                      <a:pt x="51287" y="33774"/>
                    </a:moveTo>
                    <a:cubicBezTo>
                      <a:pt x="41280" y="33774"/>
                      <a:pt x="33774" y="41905"/>
                      <a:pt x="33774" y="51287"/>
                    </a:cubicBezTo>
                    <a:cubicBezTo>
                      <a:pt x="33774" y="61294"/>
                      <a:pt x="41905" y="68799"/>
                      <a:pt x="51287" y="68799"/>
                    </a:cubicBezTo>
                    <a:cubicBezTo>
                      <a:pt x="61294" y="68799"/>
                      <a:pt x="68799" y="60669"/>
                      <a:pt x="68799" y="51287"/>
                    </a:cubicBezTo>
                    <a:cubicBezTo>
                      <a:pt x="68799" y="41905"/>
                      <a:pt x="61294" y="33774"/>
                      <a:pt x="51287" y="33774"/>
                    </a:cubicBezTo>
                    <a:lnTo>
                      <a:pt x="51287" y="33774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321" name="Forma Livre: Forma 320">
              <a:extLst>
                <a:ext uri="{FF2B5EF4-FFF2-40B4-BE49-F238E27FC236}">
                  <a16:creationId xmlns:a16="http://schemas.microsoft.com/office/drawing/2014/main" id="{B64FED30-62BD-458E-BCBB-62A09BF4871D}"/>
                </a:ext>
              </a:extLst>
            </p:cNvPr>
            <p:cNvSpPr/>
            <p:nvPr/>
          </p:nvSpPr>
          <p:spPr>
            <a:xfrm>
              <a:off x="6398177" y="6005473"/>
              <a:ext cx="394033" cy="33774"/>
            </a:xfrm>
            <a:custGeom>
              <a:avLst/>
              <a:gdLst>
                <a:gd name="connsiteX0" fmla="*/ 377146 w 394033"/>
                <a:gd name="connsiteY0" fmla="*/ 33774 h 33774"/>
                <a:gd name="connsiteX1" fmla="*/ 16887 w 394033"/>
                <a:gd name="connsiteY1" fmla="*/ 33774 h 33774"/>
                <a:gd name="connsiteX2" fmla="*/ 0 w 394033"/>
                <a:gd name="connsiteY2" fmla="*/ 16887 h 33774"/>
                <a:gd name="connsiteX3" fmla="*/ 16887 w 394033"/>
                <a:gd name="connsiteY3" fmla="*/ 0 h 33774"/>
                <a:gd name="connsiteX4" fmla="*/ 377146 w 394033"/>
                <a:gd name="connsiteY4" fmla="*/ 0 h 33774"/>
                <a:gd name="connsiteX5" fmla="*/ 394033 w 394033"/>
                <a:gd name="connsiteY5" fmla="*/ 16887 h 33774"/>
                <a:gd name="connsiteX6" fmla="*/ 377146 w 394033"/>
                <a:gd name="connsiteY6" fmla="*/ 33774 h 33774"/>
                <a:gd name="connsiteX7" fmla="*/ 377146 w 394033"/>
                <a:gd name="connsiteY7" fmla="*/ 33774 h 33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4033" h="33774">
                  <a:moveTo>
                    <a:pt x="377146" y="33774"/>
                  </a:moveTo>
                  <a:lnTo>
                    <a:pt x="16887" y="33774"/>
                  </a:lnTo>
                  <a:cubicBezTo>
                    <a:pt x="7505" y="33774"/>
                    <a:pt x="0" y="26269"/>
                    <a:pt x="0" y="16887"/>
                  </a:cubicBezTo>
                  <a:cubicBezTo>
                    <a:pt x="0" y="7505"/>
                    <a:pt x="7505" y="0"/>
                    <a:pt x="16887" y="0"/>
                  </a:cubicBezTo>
                  <a:lnTo>
                    <a:pt x="377146" y="0"/>
                  </a:lnTo>
                  <a:cubicBezTo>
                    <a:pt x="386528" y="0"/>
                    <a:pt x="394033" y="7505"/>
                    <a:pt x="394033" y="16887"/>
                  </a:cubicBezTo>
                  <a:cubicBezTo>
                    <a:pt x="393408" y="26269"/>
                    <a:pt x="385902" y="33774"/>
                    <a:pt x="377146" y="33774"/>
                  </a:cubicBezTo>
                  <a:lnTo>
                    <a:pt x="377146" y="33774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22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3370178" y="5667730"/>
            <a:ext cx="381063" cy="408418"/>
            <a:chOff x="3357841" y="5667730"/>
            <a:chExt cx="381063" cy="408418"/>
          </a:xfrm>
          <a:solidFill>
            <a:srgbClr val="B1B1A1"/>
          </a:solidFill>
        </p:grpSpPr>
        <p:sp>
          <p:nvSpPr>
            <p:cNvPr id="323" name="Forma Livre: Forma 322">
              <a:extLst>
                <a:ext uri="{FF2B5EF4-FFF2-40B4-BE49-F238E27FC236}">
                  <a16:creationId xmlns:a16="http://schemas.microsoft.com/office/drawing/2014/main" id="{284CC5E5-31E6-4A8D-867F-282A7E0B872F}"/>
                </a:ext>
              </a:extLst>
            </p:cNvPr>
            <p:cNvSpPr/>
            <p:nvPr/>
          </p:nvSpPr>
          <p:spPr>
            <a:xfrm>
              <a:off x="3357841" y="5867874"/>
              <a:ext cx="178288" cy="208274"/>
            </a:xfrm>
            <a:custGeom>
              <a:avLst/>
              <a:gdLst>
                <a:gd name="connsiteX0" fmla="*/ 88842 w 178288"/>
                <a:gd name="connsiteY0" fmla="*/ 208275 h 208274"/>
                <a:gd name="connsiteX1" fmla="*/ 88842 w 178288"/>
                <a:gd name="connsiteY1" fmla="*/ 208275 h 208274"/>
                <a:gd name="connsiteX2" fmla="*/ 28 w 178288"/>
                <a:gd name="connsiteY2" fmla="*/ 88814 h 208274"/>
                <a:gd name="connsiteX3" fmla="*/ 88216 w 178288"/>
                <a:gd name="connsiteY3" fmla="*/ 0 h 208274"/>
                <a:gd name="connsiteX4" fmla="*/ 90093 w 178288"/>
                <a:gd name="connsiteY4" fmla="*/ 0 h 208274"/>
                <a:gd name="connsiteX5" fmla="*/ 178281 w 178288"/>
                <a:gd name="connsiteY5" fmla="*/ 89439 h 208274"/>
                <a:gd name="connsiteX6" fmla="*/ 88842 w 178288"/>
                <a:gd name="connsiteY6" fmla="*/ 208275 h 208274"/>
                <a:gd name="connsiteX7" fmla="*/ 88842 w 178288"/>
                <a:gd name="connsiteY7" fmla="*/ 208275 h 208274"/>
                <a:gd name="connsiteX8" fmla="*/ 88842 w 178288"/>
                <a:gd name="connsiteY8" fmla="*/ 208275 h 208274"/>
                <a:gd name="connsiteX9" fmla="*/ 88842 w 178288"/>
                <a:gd name="connsiteY9" fmla="*/ 33149 h 208274"/>
                <a:gd name="connsiteX10" fmla="*/ 33177 w 178288"/>
                <a:gd name="connsiteY10" fmla="*/ 88188 h 208274"/>
                <a:gd name="connsiteX11" fmla="*/ 88842 w 178288"/>
                <a:gd name="connsiteY11" fmla="*/ 174501 h 208274"/>
                <a:gd name="connsiteX12" fmla="*/ 144507 w 178288"/>
                <a:gd name="connsiteY12" fmla="*/ 88188 h 208274"/>
                <a:gd name="connsiteX13" fmla="*/ 88842 w 178288"/>
                <a:gd name="connsiteY13" fmla="*/ 33149 h 208274"/>
                <a:gd name="connsiteX14" fmla="*/ 88842 w 178288"/>
                <a:gd name="connsiteY14" fmla="*/ 33149 h 208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8288" h="208274">
                  <a:moveTo>
                    <a:pt x="88842" y="208275"/>
                  </a:moveTo>
                  <a:cubicBezTo>
                    <a:pt x="88216" y="208275"/>
                    <a:pt x="88216" y="208275"/>
                    <a:pt x="88842" y="208275"/>
                  </a:cubicBezTo>
                  <a:cubicBezTo>
                    <a:pt x="30050" y="206398"/>
                    <a:pt x="28" y="129468"/>
                    <a:pt x="28" y="88814"/>
                  </a:cubicBezTo>
                  <a:cubicBezTo>
                    <a:pt x="-1223" y="43156"/>
                    <a:pt x="39431" y="2502"/>
                    <a:pt x="88216" y="0"/>
                  </a:cubicBezTo>
                  <a:cubicBezTo>
                    <a:pt x="88842" y="0"/>
                    <a:pt x="89467" y="0"/>
                    <a:pt x="90093" y="0"/>
                  </a:cubicBezTo>
                  <a:cubicBezTo>
                    <a:pt x="138878" y="2502"/>
                    <a:pt x="178906" y="43156"/>
                    <a:pt x="178281" y="89439"/>
                  </a:cubicBezTo>
                  <a:cubicBezTo>
                    <a:pt x="177656" y="129468"/>
                    <a:pt x="147009" y="206398"/>
                    <a:pt x="88842" y="208275"/>
                  </a:cubicBezTo>
                  <a:cubicBezTo>
                    <a:pt x="88842" y="208275"/>
                    <a:pt x="88842" y="208275"/>
                    <a:pt x="88842" y="208275"/>
                  </a:cubicBezTo>
                  <a:lnTo>
                    <a:pt x="88842" y="208275"/>
                  </a:lnTo>
                  <a:close/>
                  <a:moveTo>
                    <a:pt x="88842" y="33149"/>
                  </a:moveTo>
                  <a:cubicBezTo>
                    <a:pt x="58820" y="35025"/>
                    <a:pt x="32551" y="60669"/>
                    <a:pt x="33177" y="88188"/>
                  </a:cubicBezTo>
                  <a:cubicBezTo>
                    <a:pt x="33177" y="118210"/>
                    <a:pt x="55693" y="173250"/>
                    <a:pt x="88842" y="174501"/>
                  </a:cubicBezTo>
                  <a:cubicBezTo>
                    <a:pt x="121365" y="172624"/>
                    <a:pt x="144507" y="117584"/>
                    <a:pt x="144507" y="88188"/>
                  </a:cubicBezTo>
                  <a:cubicBezTo>
                    <a:pt x="144507" y="60669"/>
                    <a:pt x="118863" y="35651"/>
                    <a:pt x="88842" y="33149"/>
                  </a:cubicBezTo>
                  <a:lnTo>
                    <a:pt x="88842" y="33149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24" name="Forma Livre: Forma 323">
              <a:extLst>
                <a:ext uri="{FF2B5EF4-FFF2-40B4-BE49-F238E27FC236}">
                  <a16:creationId xmlns:a16="http://schemas.microsoft.com/office/drawing/2014/main" id="{0A2E9632-C907-45FD-AAC4-55FF2DBA901C}"/>
                </a:ext>
              </a:extLst>
            </p:cNvPr>
            <p:cNvSpPr/>
            <p:nvPr/>
          </p:nvSpPr>
          <p:spPr>
            <a:xfrm>
              <a:off x="3399715" y="5667730"/>
              <a:ext cx="94501" cy="230827"/>
            </a:xfrm>
            <a:custGeom>
              <a:avLst/>
              <a:gdLst>
                <a:gd name="connsiteX0" fmla="*/ 71986 w 94501"/>
                <a:gd name="connsiteY0" fmla="*/ 230791 h 230827"/>
                <a:gd name="connsiteX1" fmla="*/ 71986 w 94501"/>
                <a:gd name="connsiteY1" fmla="*/ 230791 h 230827"/>
                <a:gd name="connsiteX2" fmla="*/ 55099 w 94501"/>
                <a:gd name="connsiteY2" fmla="*/ 213904 h 230827"/>
                <a:gd name="connsiteX3" fmla="*/ 60728 w 94501"/>
                <a:gd name="connsiteY3" fmla="*/ 41905 h 230827"/>
                <a:gd name="connsiteX4" fmla="*/ 58851 w 94501"/>
                <a:gd name="connsiteY4" fmla="*/ 38152 h 230827"/>
                <a:gd name="connsiteX5" fmla="*/ 46968 w 94501"/>
                <a:gd name="connsiteY5" fmla="*/ 33774 h 230827"/>
                <a:gd name="connsiteX6" fmla="*/ 46968 w 94501"/>
                <a:gd name="connsiteY6" fmla="*/ 33774 h 230827"/>
                <a:gd name="connsiteX7" fmla="*/ 35084 w 94501"/>
                <a:gd name="connsiteY7" fmla="*/ 38152 h 230827"/>
                <a:gd name="connsiteX8" fmla="*/ 33208 w 94501"/>
                <a:gd name="connsiteY8" fmla="*/ 41905 h 230827"/>
                <a:gd name="connsiteX9" fmla="*/ 38837 w 94501"/>
                <a:gd name="connsiteY9" fmla="*/ 213904 h 230827"/>
                <a:gd name="connsiteX10" fmla="*/ 22575 w 94501"/>
                <a:gd name="connsiteY10" fmla="*/ 230791 h 230827"/>
                <a:gd name="connsiteX11" fmla="*/ 5688 w 94501"/>
                <a:gd name="connsiteY11" fmla="*/ 214529 h 230827"/>
                <a:gd name="connsiteX12" fmla="*/ 59 w 94501"/>
                <a:gd name="connsiteY12" fmla="*/ 42530 h 230827"/>
                <a:gd name="connsiteX13" fmla="*/ 11317 w 94501"/>
                <a:gd name="connsiteY13" fmla="*/ 14385 h 230827"/>
                <a:gd name="connsiteX14" fmla="*/ 47593 w 94501"/>
                <a:gd name="connsiteY14" fmla="*/ 0 h 230827"/>
                <a:gd name="connsiteX15" fmla="*/ 47593 w 94501"/>
                <a:gd name="connsiteY15" fmla="*/ 0 h 230827"/>
                <a:gd name="connsiteX16" fmla="*/ 83244 w 94501"/>
                <a:gd name="connsiteY16" fmla="*/ 14385 h 230827"/>
                <a:gd name="connsiteX17" fmla="*/ 94502 w 94501"/>
                <a:gd name="connsiteY17" fmla="*/ 42530 h 230827"/>
                <a:gd name="connsiteX18" fmla="*/ 88873 w 94501"/>
                <a:gd name="connsiteY18" fmla="*/ 214529 h 230827"/>
                <a:gd name="connsiteX19" fmla="*/ 71986 w 94501"/>
                <a:gd name="connsiteY19" fmla="*/ 230791 h 230827"/>
                <a:gd name="connsiteX20" fmla="*/ 71986 w 94501"/>
                <a:gd name="connsiteY20" fmla="*/ 230791 h 230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4501" h="230827">
                  <a:moveTo>
                    <a:pt x="71986" y="230791"/>
                  </a:moveTo>
                  <a:cubicBezTo>
                    <a:pt x="71360" y="230791"/>
                    <a:pt x="71360" y="230791"/>
                    <a:pt x="71986" y="230791"/>
                  </a:cubicBezTo>
                  <a:cubicBezTo>
                    <a:pt x="61979" y="230791"/>
                    <a:pt x="55099" y="222660"/>
                    <a:pt x="55099" y="213904"/>
                  </a:cubicBezTo>
                  <a:lnTo>
                    <a:pt x="60728" y="41905"/>
                  </a:lnTo>
                  <a:cubicBezTo>
                    <a:pt x="60728" y="40029"/>
                    <a:pt x="59477" y="38778"/>
                    <a:pt x="58851" y="38152"/>
                  </a:cubicBezTo>
                  <a:cubicBezTo>
                    <a:pt x="56350" y="35651"/>
                    <a:pt x="51972" y="33774"/>
                    <a:pt x="46968" y="33774"/>
                  </a:cubicBezTo>
                  <a:lnTo>
                    <a:pt x="46968" y="33774"/>
                  </a:lnTo>
                  <a:cubicBezTo>
                    <a:pt x="41964" y="33774"/>
                    <a:pt x="37586" y="35651"/>
                    <a:pt x="35084" y="38152"/>
                  </a:cubicBezTo>
                  <a:cubicBezTo>
                    <a:pt x="34459" y="38778"/>
                    <a:pt x="33208" y="40654"/>
                    <a:pt x="33208" y="41905"/>
                  </a:cubicBezTo>
                  <a:lnTo>
                    <a:pt x="38837" y="213904"/>
                  </a:lnTo>
                  <a:cubicBezTo>
                    <a:pt x="38837" y="223285"/>
                    <a:pt x="31957" y="230791"/>
                    <a:pt x="22575" y="230791"/>
                  </a:cubicBezTo>
                  <a:cubicBezTo>
                    <a:pt x="13819" y="231416"/>
                    <a:pt x="5688" y="223911"/>
                    <a:pt x="5688" y="214529"/>
                  </a:cubicBezTo>
                  <a:lnTo>
                    <a:pt x="59" y="42530"/>
                  </a:lnTo>
                  <a:cubicBezTo>
                    <a:pt x="-566" y="32523"/>
                    <a:pt x="3812" y="22516"/>
                    <a:pt x="11317" y="14385"/>
                  </a:cubicBezTo>
                  <a:cubicBezTo>
                    <a:pt x="20074" y="5004"/>
                    <a:pt x="33208" y="0"/>
                    <a:pt x="47593" y="0"/>
                  </a:cubicBezTo>
                  <a:lnTo>
                    <a:pt x="47593" y="0"/>
                  </a:lnTo>
                  <a:cubicBezTo>
                    <a:pt x="61353" y="0"/>
                    <a:pt x="74488" y="5004"/>
                    <a:pt x="83244" y="14385"/>
                  </a:cubicBezTo>
                  <a:cubicBezTo>
                    <a:pt x="90749" y="22516"/>
                    <a:pt x="94502" y="32523"/>
                    <a:pt x="94502" y="42530"/>
                  </a:cubicBezTo>
                  <a:lnTo>
                    <a:pt x="88873" y="214529"/>
                  </a:lnTo>
                  <a:cubicBezTo>
                    <a:pt x="88247" y="223911"/>
                    <a:pt x="80742" y="230791"/>
                    <a:pt x="71986" y="230791"/>
                  </a:cubicBezTo>
                  <a:lnTo>
                    <a:pt x="71986" y="230791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25" name="Forma Livre: Forma 324">
              <a:extLst>
                <a:ext uri="{FF2B5EF4-FFF2-40B4-BE49-F238E27FC236}">
                  <a16:creationId xmlns:a16="http://schemas.microsoft.com/office/drawing/2014/main" id="{2DEE6A28-0545-45A3-8D8D-1277AC48A2C0}"/>
                </a:ext>
              </a:extLst>
            </p:cNvPr>
            <p:cNvSpPr/>
            <p:nvPr/>
          </p:nvSpPr>
          <p:spPr>
            <a:xfrm>
              <a:off x="3602360" y="5667730"/>
              <a:ext cx="93876" cy="230827"/>
            </a:xfrm>
            <a:custGeom>
              <a:avLst/>
              <a:gdLst>
                <a:gd name="connsiteX0" fmla="*/ 71986 w 93876"/>
                <a:gd name="connsiteY0" fmla="*/ 230791 h 230827"/>
                <a:gd name="connsiteX1" fmla="*/ 71986 w 93876"/>
                <a:gd name="connsiteY1" fmla="*/ 230791 h 230827"/>
                <a:gd name="connsiteX2" fmla="*/ 55099 w 93876"/>
                <a:gd name="connsiteY2" fmla="*/ 213904 h 230827"/>
                <a:gd name="connsiteX3" fmla="*/ 60728 w 93876"/>
                <a:gd name="connsiteY3" fmla="*/ 41905 h 230827"/>
                <a:gd name="connsiteX4" fmla="*/ 58851 w 93876"/>
                <a:gd name="connsiteY4" fmla="*/ 38152 h 230827"/>
                <a:gd name="connsiteX5" fmla="*/ 46968 w 93876"/>
                <a:gd name="connsiteY5" fmla="*/ 33774 h 230827"/>
                <a:gd name="connsiteX6" fmla="*/ 46968 w 93876"/>
                <a:gd name="connsiteY6" fmla="*/ 33774 h 230827"/>
                <a:gd name="connsiteX7" fmla="*/ 35084 w 93876"/>
                <a:gd name="connsiteY7" fmla="*/ 38152 h 230827"/>
                <a:gd name="connsiteX8" fmla="*/ 33208 w 93876"/>
                <a:gd name="connsiteY8" fmla="*/ 41905 h 230827"/>
                <a:gd name="connsiteX9" fmla="*/ 38837 w 93876"/>
                <a:gd name="connsiteY9" fmla="*/ 213904 h 230827"/>
                <a:gd name="connsiteX10" fmla="*/ 22575 w 93876"/>
                <a:gd name="connsiteY10" fmla="*/ 230791 h 230827"/>
                <a:gd name="connsiteX11" fmla="*/ 5688 w 93876"/>
                <a:gd name="connsiteY11" fmla="*/ 214529 h 230827"/>
                <a:gd name="connsiteX12" fmla="*/ 59 w 93876"/>
                <a:gd name="connsiteY12" fmla="*/ 42530 h 230827"/>
                <a:gd name="connsiteX13" fmla="*/ 11317 w 93876"/>
                <a:gd name="connsiteY13" fmla="*/ 14385 h 230827"/>
                <a:gd name="connsiteX14" fmla="*/ 46968 w 93876"/>
                <a:gd name="connsiteY14" fmla="*/ 0 h 230827"/>
                <a:gd name="connsiteX15" fmla="*/ 46968 w 93876"/>
                <a:gd name="connsiteY15" fmla="*/ 0 h 230827"/>
                <a:gd name="connsiteX16" fmla="*/ 82618 w 93876"/>
                <a:gd name="connsiteY16" fmla="*/ 14385 h 230827"/>
                <a:gd name="connsiteX17" fmla="*/ 93876 w 93876"/>
                <a:gd name="connsiteY17" fmla="*/ 42530 h 230827"/>
                <a:gd name="connsiteX18" fmla="*/ 88247 w 93876"/>
                <a:gd name="connsiteY18" fmla="*/ 214529 h 230827"/>
                <a:gd name="connsiteX19" fmla="*/ 71986 w 93876"/>
                <a:gd name="connsiteY19" fmla="*/ 230791 h 230827"/>
                <a:gd name="connsiteX20" fmla="*/ 71986 w 93876"/>
                <a:gd name="connsiteY20" fmla="*/ 230791 h 230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3876" h="230827">
                  <a:moveTo>
                    <a:pt x="71986" y="230791"/>
                  </a:moveTo>
                  <a:cubicBezTo>
                    <a:pt x="71986" y="230791"/>
                    <a:pt x="71986" y="230791"/>
                    <a:pt x="71986" y="230791"/>
                  </a:cubicBezTo>
                  <a:cubicBezTo>
                    <a:pt x="61979" y="230791"/>
                    <a:pt x="55099" y="222660"/>
                    <a:pt x="55099" y="213904"/>
                  </a:cubicBezTo>
                  <a:lnTo>
                    <a:pt x="60728" y="41905"/>
                  </a:lnTo>
                  <a:cubicBezTo>
                    <a:pt x="60728" y="40029"/>
                    <a:pt x="59477" y="38778"/>
                    <a:pt x="58851" y="38152"/>
                  </a:cubicBezTo>
                  <a:cubicBezTo>
                    <a:pt x="56350" y="35651"/>
                    <a:pt x="51971" y="33774"/>
                    <a:pt x="46968" y="33774"/>
                  </a:cubicBezTo>
                  <a:lnTo>
                    <a:pt x="46968" y="33774"/>
                  </a:lnTo>
                  <a:cubicBezTo>
                    <a:pt x="41964" y="33774"/>
                    <a:pt x="37586" y="35651"/>
                    <a:pt x="35084" y="38152"/>
                  </a:cubicBezTo>
                  <a:cubicBezTo>
                    <a:pt x="34459" y="38778"/>
                    <a:pt x="33208" y="40654"/>
                    <a:pt x="33208" y="41905"/>
                  </a:cubicBezTo>
                  <a:lnTo>
                    <a:pt x="38837" y="213904"/>
                  </a:lnTo>
                  <a:cubicBezTo>
                    <a:pt x="38837" y="223285"/>
                    <a:pt x="31957" y="230791"/>
                    <a:pt x="22575" y="230791"/>
                  </a:cubicBezTo>
                  <a:cubicBezTo>
                    <a:pt x="13194" y="231416"/>
                    <a:pt x="5688" y="223911"/>
                    <a:pt x="5688" y="214529"/>
                  </a:cubicBezTo>
                  <a:lnTo>
                    <a:pt x="59" y="42530"/>
                  </a:lnTo>
                  <a:cubicBezTo>
                    <a:pt x="-566" y="32523"/>
                    <a:pt x="3812" y="22516"/>
                    <a:pt x="11317" y="14385"/>
                  </a:cubicBezTo>
                  <a:cubicBezTo>
                    <a:pt x="20074" y="5004"/>
                    <a:pt x="33208" y="0"/>
                    <a:pt x="46968" y="0"/>
                  </a:cubicBezTo>
                  <a:lnTo>
                    <a:pt x="46968" y="0"/>
                  </a:lnTo>
                  <a:cubicBezTo>
                    <a:pt x="60728" y="0"/>
                    <a:pt x="73862" y="5004"/>
                    <a:pt x="82618" y="14385"/>
                  </a:cubicBezTo>
                  <a:cubicBezTo>
                    <a:pt x="90124" y="22516"/>
                    <a:pt x="93876" y="31898"/>
                    <a:pt x="93876" y="42530"/>
                  </a:cubicBezTo>
                  <a:lnTo>
                    <a:pt x="88247" y="214529"/>
                  </a:lnTo>
                  <a:cubicBezTo>
                    <a:pt x="88873" y="223911"/>
                    <a:pt x="81367" y="230791"/>
                    <a:pt x="71986" y="230791"/>
                  </a:cubicBezTo>
                  <a:lnTo>
                    <a:pt x="71986" y="230791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26" name="Forma Livre: Forma 325">
              <a:extLst>
                <a:ext uri="{FF2B5EF4-FFF2-40B4-BE49-F238E27FC236}">
                  <a16:creationId xmlns:a16="http://schemas.microsoft.com/office/drawing/2014/main" id="{901C47A1-E5CF-46A3-ACB4-F2D511AE83D9}"/>
                </a:ext>
              </a:extLst>
            </p:cNvPr>
            <p:cNvSpPr/>
            <p:nvPr/>
          </p:nvSpPr>
          <p:spPr>
            <a:xfrm>
              <a:off x="3558638" y="5874754"/>
              <a:ext cx="180266" cy="201394"/>
            </a:xfrm>
            <a:custGeom>
              <a:avLst/>
              <a:gdLst>
                <a:gd name="connsiteX0" fmla="*/ 164493 w 180266"/>
                <a:gd name="connsiteY0" fmla="*/ 201395 h 201394"/>
                <a:gd name="connsiteX1" fmla="*/ 147606 w 180266"/>
                <a:gd name="connsiteY1" fmla="*/ 184508 h 201394"/>
                <a:gd name="connsiteX2" fmla="*/ 147606 w 180266"/>
                <a:gd name="connsiteY2" fmla="*/ 90065 h 201394"/>
                <a:gd name="connsiteX3" fmla="*/ 90690 w 180266"/>
                <a:gd name="connsiteY3" fmla="*/ 33149 h 201394"/>
                <a:gd name="connsiteX4" fmla="*/ 33774 w 180266"/>
                <a:gd name="connsiteY4" fmla="*/ 90065 h 201394"/>
                <a:gd name="connsiteX5" fmla="*/ 33774 w 180266"/>
                <a:gd name="connsiteY5" fmla="*/ 184508 h 201394"/>
                <a:gd name="connsiteX6" fmla="*/ 16887 w 180266"/>
                <a:gd name="connsiteY6" fmla="*/ 201395 h 201394"/>
                <a:gd name="connsiteX7" fmla="*/ 0 w 180266"/>
                <a:gd name="connsiteY7" fmla="*/ 184508 h 201394"/>
                <a:gd name="connsiteX8" fmla="*/ 0 w 180266"/>
                <a:gd name="connsiteY8" fmla="*/ 90065 h 201394"/>
                <a:gd name="connsiteX9" fmla="*/ 90065 w 180266"/>
                <a:gd name="connsiteY9" fmla="*/ 0 h 201394"/>
                <a:gd name="connsiteX10" fmla="*/ 180130 w 180266"/>
                <a:gd name="connsiteY10" fmla="*/ 90065 h 201394"/>
                <a:gd name="connsiteX11" fmla="*/ 180130 w 180266"/>
                <a:gd name="connsiteY11" fmla="*/ 184508 h 201394"/>
                <a:gd name="connsiteX12" fmla="*/ 164493 w 180266"/>
                <a:gd name="connsiteY12" fmla="*/ 201395 h 201394"/>
                <a:gd name="connsiteX13" fmla="*/ 164493 w 180266"/>
                <a:gd name="connsiteY13" fmla="*/ 201395 h 201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0266" h="201394">
                  <a:moveTo>
                    <a:pt x="164493" y="201395"/>
                  </a:moveTo>
                  <a:cubicBezTo>
                    <a:pt x="155112" y="201395"/>
                    <a:pt x="147606" y="193889"/>
                    <a:pt x="147606" y="184508"/>
                  </a:cubicBezTo>
                  <a:lnTo>
                    <a:pt x="147606" y="90065"/>
                  </a:lnTo>
                  <a:cubicBezTo>
                    <a:pt x="147606" y="58792"/>
                    <a:pt x="121963" y="33149"/>
                    <a:pt x="90690" y="33149"/>
                  </a:cubicBezTo>
                  <a:cubicBezTo>
                    <a:pt x="59418" y="33149"/>
                    <a:pt x="33774" y="58792"/>
                    <a:pt x="33774" y="90065"/>
                  </a:cubicBezTo>
                  <a:lnTo>
                    <a:pt x="33774" y="184508"/>
                  </a:lnTo>
                  <a:cubicBezTo>
                    <a:pt x="33774" y="193889"/>
                    <a:pt x="26269" y="201395"/>
                    <a:pt x="16887" y="201395"/>
                  </a:cubicBezTo>
                  <a:cubicBezTo>
                    <a:pt x="7505" y="201395"/>
                    <a:pt x="0" y="193889"/>
                    <a:pt x="0" y="184508"/>
                  </a:cubicBezTo>
                  <a:lnTo>
                    <a:pt x="0" y="90065"/>
                  </a:lnTo>
                  <a:cubicBezTo>
                    <a:pt x="0" y="40029"/>
                    <a:pt x="40654" y="0"/>
                    <a:pt x="90065" y="0"/>
                  </a:cubicBezTo>
                  <a:cubicBezTo>
                    <a:pt x="140101" y="0"/>
                    <a:pt x="180130" y="40654"/>
                    <a:pt x="180130" y="90065"/>
                  </a:cubicBezTo>
                  <a:lnTo>
                    <a:pt x="180130" y="184508"/>
                  </a:lnTo>
                  <a:cubicBezTo>
                    <a:pt x="181380" y="193889"/>
                    <a:pt x="173875" y="201395"/>
                    <a:pt x="164493" y="201395"/>
                  </a:cubicBezTo>
                  <a:lnTo>
                    <a:pt x="164493" y="201395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27" name="Forma Livre: Forma 326">
              <a:extLst>
                <a:ext uri="{FF2B5EF4-FFF2-40B4-BE49-F238E27FC236}">
                  <a16:creationId xmlns:a16="http://schemas.microsoft.com/office/drawing/2014/main" id="{7B21076A-9997-4AB9-A6A7-FD428E555B5E}"/>
                </a:ext>
              </a:extLst>
            </p:cNvPr>
            <p:cNvSpPr/>
            <p:nvPr/>
          </p:nvSpPr>
          <p:spPr>
            <a:xfrm>
              <a:off x="3608048" y="5972949"/>
              <a:ext cx="33774" cy="103199"/>
            </a:xfrm>
            <a:custGeom>
              <a:avLst/>
              <a:gdLst>
                <a:gd name="connsiteX0" fmla="*/ 16887 w 33774"/>
                <a:gd name="connsiteY0" fmla="*/ 103199 h 103199"/>
                <a:gd name="connsiteX1" fmla="*/ 0 w 33774"/>
                <a:gd name="connsiteY1" fmla="*/ 86312 h 103199"/>
                <a:gd name="connsiteX2" fmla="*/ 0 w 33774"/>
                <a:gd name="connsiteY2" fmla="*/ 16887 h 103199"/>
                <a:gd name="connsiteX3" fmla="*/ 16887 w 33774"/>
                <a:gd name="connsiteY3" fmla="*/ 0 h 103199"/>
                <a:gd name="connsiteX4" fmla="*/ 33774 w 33774"/>
                <a:gd name="connsiteY4" fmla="*/ 16887 h 103199"/>
                <a:gd name="connsiteX5" fmla="*/ 33774 w 33774"/>
                <a:gd name="connsiteY5" fmla="*/ 86938 h 103199"/>
                <a:gd name="connsiteX6" fmla="*/ 16887 w 33774"/>
                <a:gd name="connsiteY6" fmla="*/ 103199 h 103199"/>
                <a:gd name="connsiteX7" fmla="*/ 16887 w 33774"/>
                <a:gd name="connsiteY7" fmla="*/ 103199 h 103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774" h="103199">
                  <a:moveTo>
                    <a:pt x="16887" y="103199"/>
                  </a:moveTo>
                  <a:cubicBezTo>
                    <a:pt x="7505" y="103199"/>
                    <a:pt x="0" y="95694"/>
                    <a:pt x="0" y="86312"/>
                  </a:cubicBezTo>
                  <a:lnTo>
                    <a:pt x="0" y="16887"/>
                  </a:lnTo>
                  <a:cubicBezTo>
                    <a:pt x="0" y="7505"/>
                    <a:pt x="7505" y="0"/>
                    <a:pt x="16887" y="0"/>
                  </a:cubicBezTo>
                  <a:cubicBezTo>
                    <a:pt x="26269" y="0"/>
                    <a:pt x="33774" y="7505"/>
                    <a:pt x="33774" y="16887"/>
                  </a:cubicBezTo>
                  <a:lnTo>
                    <a:pt x="33774" y="86938"/>
                  </a:lnTo>
                  <a:cubicBezTo>
                    <a:pt x="33774" y="95694"/>
                    <a:pt x="26269" y="103199"/>
                    <a:pt x="16887" y="103199"/>
                  </a:cubicBezTo>
                  <a:lnTo>
                    <a:pt x="16887" y="103199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28" name="Forma Livre: Forma 327">
              <a:extLst>
                <a:ext uri="{FF2B5EF4-FFF2-40B4-BE49-F238E27FC236}">
                  <a16:creationId xmlns:a16="http://schemas.microsoft.com/office/drawing/2014/main" id="{BFA9E76B-2AE2-4234-8174-70C5D1B94FC7}"/>
                </a:ext>
              </a:extLst>
            </p:cNvPr>
            <p:cNvSpPr/>
            <p:nvPr/>
          </p:nvSpPr>
          <p:spPr>
            <a:xfrm>
              <a:off x="3657459" y="5972949"/>
              <a:ext cx="33774" cy="103199"/>
            </a:xfrm>
            <a:custGeom>
              <a:avLst/>
              <a:gdLst>
                <a:gd name="connsiteX0" fmla="*/ 16887 w 33774"/>
                <a:gd name="connsiteY0" fmla="*/ 103199 h 103199"/>
                <a:gd name="connsiteX1" fmla="*/ 0 w 33774"/>
                <a:gd name="connsiteY1" fmla="*/ 86312 h 103199"/>
                <a:gd name="connsiteX2" fmla="*/ 0 w 33774"/>
                <a:gd name="connsiteY2" fmla="*/ 16887 h 103199"/>
                <a:gd name="connsiteX3" fmla="*/ 16887 w 33774"/>
                <a:gd name="connsiteY3" fmla="*/ 0 h 103199"/>
                <a:gd name="connsiteX4" fmla="*/ 33774 w 33774"/>
                <a:gd name="connsiteY4" fmla="*/ 16887 h 103199"/>
                <a:gd name="connsiteX5" fmla="*/ 33774 w 33774"/>
                <a:gd name="connsiteY5" fmla="*/ 86938 h 103199"/>
                <a:gd name="connsiteX6" fmla="*/ 16887 w 33774"/>
                <a:gd name="connsiteY6" fmla="*/ 103199 h 103199"/>
                <a:gd name="connsiteX7" fmla="*/ 16887 w 33774"/>
                <a:gd name="connsiteY7" fmla="*/ 103199 h 103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774" h="103199">
                  <a:moveTo>
                    <a:pt x="16887" y="103199"/>
                  </a:moveTo>
                  <a:cubicBezTo>
                    <a:pt x="7505" y="103199"/>
                    <a:pt x="0" y="95694"/>
                    <a:pt x="0" y="86312"/>
                  </a:cubicBezTo>
                  <a:lnTo>
                    <a:pt x="0" y="16887"/>
                  </a:lnTo>
                  <a:cubicBezTo>
                    <a:pt x="0" y="7505"/>
                    <a:pt x="7505" y="0"/>
                    <a:pt x="16887" y="0"/>
                  </a:cubicBezTo>
                  <a:cubicBezTo>
                    <a:pt x="26269" y="0"/>
                    <a:pt x="33774" y="7505"/>
                    <a:pt x="33774" y="16887"/>
                  </a:cubicBezTo>
                  <a:lnTo>
                    <a:pt x="33774" y="86938"/>
                  </a:lnTo>
                  <a:cubicBezTo>
                    <a:pt x="33149" y="95694"/>
                    <a:pt x="25643" y="103199"/>
                    <a:pt x="16887" y="103199"/>
                  </a:cubicBezTo>
                  <a:lnTo>
                    <a:pt x="16887" y="103199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29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7420615" y="5683366"/>
            <a:ext cx="450323" cy="394033"/>
            <a:chOff x="7408278" y="5683366"/>
            <a:chExt cx="450323" cy="394033"/>
          </a:xfrm>
          <a:solidFill>
            <a:srgbClr val="B1B1A1"/>
          </a:solidFill>
        </p:grpSpPr>
        <p:sp>
          <p:nvSpPr>
            <p:cNvPr id="330" name="Forma Livre: Forma 329">
              <a:extLst>
                <a:ext uri="{FF2B5EF4-FFF2-40B4-BE49-F238E27FC236}">
                  <a16:creationId xmlns:a16="http://schemas.microsoft.com/office/drawing/2014/main" id="{BCCD7CD7-EA45-46F3-9E49-216603B3E82B}"/>
                </a:ext>
              </a:extLst>
            </p:cNvPr>
            <p:cNvSpPr/>
            <p:nvPr/>
          </p:nvSpPr>
          <p:spPr>
            <a:xfrm>
              <a:off x="7467070" y="5792820"/>
              <a:ext cx="333989" cy="284579"/>
            </a:xfrm>
            <a:custGeom>
              <a:avLst/>
              <a:gdLst>
                <a:gd name="connsiteX0" fmla="*/ 299590 w 333989"/>
                <a:gd name="connsiteY0" fmla="*/ 284579 h 284579"/>
                <a:gd name="connsiteX1" fmla="*/ 33149 w 333989"/>
                <a:gd name="connsiteY1" fmla="*/ 284579 h 284579"/>
                <a:gd name="connsiteX2" fmla="*/ 0 w 333989"/>
                <a:gd name="connsiteY2" fmla="*/ 251431 h 284579"/>
                <a:gd name="connsiteX3" fmla="*/ 0 w 333989"/>
                <a:gd name="connsiteY3" fmla="*/ 16887 h 284579"/>
                <a:gd name="connsiteX4" fmla="*/ 16887 w 333989"/>
                <a:gd name="connsiteY4" fmla="*/ 0 h 284579"/>
                <a:gd name="connsiteX5" fmla="*/ 33774 w 333989"/>
                <a:gd name="connsiteY5" fmla="*/ 16887 h 284579"/>
                <a:gd name="connsiteX6" fmla="*/ 33774 w 333989"/>
                <a:gd name="connsiteY6" fmla="*/ 251431 h 284579"/>
                <a:gd name="connsiteX7" fmla="*/ 300215 w 333989"/>
                <a:gd name="connsiteY7" fmla="*/ 251431 h 284579"/>
                <a:gd name="connsiteX8" fmla="*/ 300215 w 333989"/>
                <a:gd name="connsiteY8" fmla="*/ 16887 h 284579"/>
                <a:gd name="connsiteX9" fmla="*/ 317103 w 333989"/>
                <a:gd name="connsiteY9" fmla="*/ 0 h 284579"/>
                <a:gd name="connsiteX10" fmla="*/ 333990 w 333989"/>
                <a:gd name="connsiteY10" fmla="*/ 16887 h 284579"/>
                <a:gd name="connsiteX11" fmla="*/ 333990 w 333989"/>
                <a:gd name="connsiteY11" fmla="*/ 251431 h 284579"/>
                <a:gd name="connsiteX12" fmla="*/ 299590 w 333989"/>
                <a:gd name="connsiteY12" fmla="*/ 284579 h 284579"/>
                <a:gd name="connsiteX13" fmla="*/ 299590 w 333989"/>
                <a:gd name="connsiteY13" fmla="*/ 284579 h 284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3989" h="284579">
                  <a:moveTo>
                    <a:pt x="299590" y="284579"/>
                  </a:moveTo>
                  <a:lnTo>
                    <a:pt x="33149" y="284579"/>
                  </a:lnTo>
                  <a:cubicBezTo>
                    <a:pt x="15011" y="284579"/>
                    <a:pt x="0" y="269568"/>
                    <a:pt x="0" y="251431"/>
                  </a:cubicBezTo>
                  <a:lnTo>
                    <a:pt x="0" y="16887"/>
                  </a:lnTo>
                  <a:cubicBezTo>
                    <a:pt x="0" y="7505"/>
                    <a:pt x="7505" y="0"/>
                    <a:pt x="16887" y="0"/>
                  </a:cubicBezTo>
                  <a:cubicBezTo>
                    <a:pt x="26269" y="0"/>
                    <a:pt x="33774" y="7505"/>
                    <a:pt x="33774" y="16887"/>
                  </a:cubicBezTo>
                  <a:lnTo>
                    <a:pt x="33774" y="251431"/>
                  </a:lnTo>
                  <a:lnTo>
                    <a:pt x="300215" y="251431"/>
                  </a:lnTo>
                  <a:lnTo>
                    <a:pt x="300215" y="16887"/>
                  </a:lnTo>
                  <a:cubicBezTo>
                    <a:pt x="300215" y="7505"/>
                    <a:pt x="307721" y="0"/>
                    <a:pt x="317103" y="0"/>
                  </a:cubicBezTo>
                  <a:cubicBezTo>
                    <a:pt x="326485" y="0"/>
                    <a:pt x="333990" y="7505"/>
                    <a:pt x="333990" y="16887"/>
                  </a:cubicBezTo>
                  <a:lnTo>
                    <a:pt x="333990" y="251431"/>
                  </a:lnTo>
                  <a:cubicBezTo>
                    <a:pt x="332739" y="269568"/>
                    <a:pt x="317728" y="284579"/>
                    <a:pt x="299590" y="284579"/>
                  </a:cubicBezTo>
                  <a:lnTo>
                    <a:pt x="299590" y="284579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331" name="Gráfico 2">
              <a:extLst>
                <a:ext uri="{FF2B5EF4-FFF2-40B4-BE49-F238E27FC236}">
                  <a16:creationId xmlns:a16="http://schemas.microsoft.com/office/drawing/2014/main" id="{A4E24395-F85F-4E15-8BC9-B92D577D4DAD}"/>
                </a:ext>
              </a:extLst>
            </p:cNvPr>
            <p:cNvGrpSpPr/>
            <p:nvPr/>
          </p:nvGrpSpPr>
          <p:grpSpPr>
            <a:xfrm>
              <a:off x="7408278" y="5834100"/>
              <a:ext cx="450323" cy="33774"/>
              <a:chOff x="7408278" y="5834100"/>
              <a:chExt cx="450323" cy="33774"/>
            </a:xfrm>
            <a:grpFill/>
          </p:grpSpPr>
          <p:sp>
            <p:nvSpPr>
              <p:cNvPr id="332" name="Forma Livre: Forma 331">
                <a:extLst>
                  <a:ext uri="{FF2B5EF4-FFF2-40B4-BE49-F238E27FC236}">
                    <a16:creationId xmlns:a16="http://schemas.microsoft.com/office/drawing/2014/main" id="{276BF760-F125-4BBB-9858-A103404E33F8}"/>
                  </a:ext>
                </a:extLst>
              </p:cNvPr>
              <p:cNvSpPr/>
              <p:nvPr/>
            </p:nvSpPr>
            <p:spPr>
              <a:xfrm>
                <a:off x="7408278" y="5834100"/>
                <a:ext cx="83810" cy="33774"/>
              </a:xfrm>
              <a:custGeom>
                <a:avLst/>
                <a:gdLst>
                  <a:gd name="connsiteX0" fmla="*/ 66923 w 83810"/>
                  <a:gd name="connsiteY0" fmla="*/ 33774 h 33774"/>
                  <a:gd name="connsiteX1" fmla="*/ 16887 w 83810"/>
                  <a:gd name="connsiteY1" fmla="*/ 33774 h 33774"/>
                  <a:gd name="connsiteX2" fmla="*/ 0 w 83810"/>
                  <a:gd name="connsiteY2" fmla="*/ 16887 h 33774"/>
                  <a:gd name="connsiteX3" fmla="*/ 16887 w 83810"/>
                  <a:gd name="connsiteY3" fmla="*/ 0 h 33774"/>
                  <a:gd name="connsiteX4" fmla="*/ 66923 w 83810"/>
                  <a:gd name="connsiteY4" fmla="*/ 0 h 33774"/>
                  <a:gd name="connsiteX5" fmla="*/ 83810 w 83810"/>
                  <a:gd name="connsiteY5" fmla="*/ 16887 h 33774"/>
                  <a:gd name="connsiteX6" fmla="*/ 66923 w 83810"/>
                  <a:gd name="connsiteY6" fmla="*/ 33774 h 33774"/>
                  <a:gd name="connsiteX7" fmla="*/ 66923 w 83810"/>
                  <a:gd name="connsiteY7" fmla="*/ 33774 h 33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3810" h="33774">
                    <a:moveTo>
                      <a:pt x="66923" y="33774"/>
                    </a:moveTo>
                    <a:lnTo>
                      <a:pt x="16887" y="33774"/>
                    </a:lnTo>
                    <a:cubicBezTo>
                      <a:pt x="7505" y="33774"/>
                      <a:pt x="0" y="26269"/>
                      <a:pt x="0" y="16887"/>
                    </a:cubicBezTo>
                    <a:cubicBezTo>
                      <a:pt x="0" y="7505"/>
                      <a:pt x="7505" y="0"/>
                      <a:pt x="16887" y="0"/>
                    </a:cubicBezTo>
                    <a:lnTo>
                      <a:pt x="66923" y="0"/>
                    </a:lnTo>
                    <a:cubicBezTo>
                      <a:pt x="76305" y="0"/>
                      <a:pt x="83810" y="7505"/>
                      <a:pt x="83810" y="16887"/>
                    </a:cubicBezTo>
                    <a:cubicBezTo>
                      <a:pt x="83185" y="26269"/>
                      <a:pt x="75680" y="33774"/>
                      <a:pt x="66923" y="33774"/>
                    </a:cubicBezTo>
                    <a:lnTo>
                      <a:pt x="66923" y="33774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33" name="Forma Livre: Forma 332">
                <a:extLst>
                  <a:ext uri="{FF2B5EF4-FFF2-40B4-BE49-F238E27FC236}">
                    <a16:creationId xmlns:a16="http://schemas.microsoft.com/office/drawing/2014/main" id="{4153979E-CEB0-4732-A97B-38B92CCFED4D}"/>
                  </a:ext>
                </a:extLst>
              </p:cNvPr>
              <p:cNvSpPr/>
              <p:nvPr/>
            </p:nvSpPr>
            <p:spPr>
              <a:xfrm>
                <a:off x="7774791" y="5834100"/>
                <a:ext cx="83810" cy="33774"/>
              </a:xfrm>
              <a:custGeom>
                <a:avLst/>
                <a:gdLst>
                  <a:gd name="connsiteX0" fmla="*/ 66923 w 83810"/>
                  <a:gd name="connsiteY0" fmla="*/ 33774 h 33774"/>
                  <a:gd name="connsiteX1" fmla="*/ 16887 w 83810"/>
                  <a:gd name="connsiteY1" fmla="*/ 33774 h 33774"/>
                  <a:gd name="connsiteX2" fmla="*/ 0 w 83810"/>
                  <a:gd name="connsiteY2" fmla="*/ 16887 h 33774"/>
                  <a:gd name="connsiteX3" fmla="*/ 16887 w 83810"/>
                  <a:gd name="connsiteY3" fmla="*/ 0 h 33774"/>
                  <a:gd name="connsiteX4" fmla="*/ 66923 w 83810"/>
                  <a:gd name="connsiteY4" fmla="*/ 0 h 33774"/>
                  <a:gd name="connsiteX5" fmla="*/ 83810 w 83810"/>
                  <a:gd name="connsiteY5" fmla="*/ 16887 h 33774"/>
                  <a:gd name="connsiteX6" fmla="*/ 66923 w 83810"/>
                  <a:gd name="connsiteY6" fmla="*/ 33774 h 33774"/>
                  <a:gd name="connsiteX7" fmla="*/ 66923 w 83810"/>
                  <a:gd name="connsiteY7" fmla="*/ 33774 h 33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3810" h="33774">
                    <a:moveTo>
                      <a:pt x="66923" y="33774"/>
                    </a:moveTo>
                    <a:lnTo>
                      <a:pt x="16887" y="33774"/>
                    </a:lnTo>
                    <a:cubicBezTo>
                      <a:pt x="7505" y="33774"/>
                      <a:pt x="0" y="26269"/>
                      <a:pt x="0" y="16887"/>
                    </a:cubicBezTo>
                    <a:cubicBezTo>
                      <a:pt x="0" y="7505"/>
                      <a:pt x="7505" y="0"/>
                      <a:pt x="16887" y="0"/>
                    </a:cubicBezTo>
                    <a:lnTo>
                      <a:pt x="66923" y="0"/>
                    </a:lnTo>
                    <a:cubicBezTo>
                      <a:pt x="76305" y="0"/>
                      <a:pt x="83810" y="7505"/>
                      <a:pt x="83810" y="16887"/>
                    </a:cubicBezTo>
                    <a:cubicBezTo>
                      <a:pt x="83184" y="26269"/>
                      <a:pt x="76305" y="33774"/>
                      <a:pt x="66923" y="33774"/>
                    </a:cubicBezTo>
                    <a:lnTo>
                      <a:pt x="66923" y="33774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334" name="Forma Livre: Forma 333">
              <a:extLst>
                <a:ext uri="{FF2B5EF4-FFF2-40B4-BE49-F238E27FC236}">
                  <a16:creationId xmlns:a16="http://schemas.microsoft.com/office/drawing/2014/main" id="{40BB802F-181C-4BBB-893B-CE5F48E88B2D}"/>
                </a:ext>
              </a:extLst>
            </p:cNvPr>
            <p:cNvSpPr/>
            <p:nvPr/>
          </p:nvSpPr>
          <p:spPr>
            <a:xfrm>
              <a:off x="7448307" y="5788442"/>
              <a:ext cx="369640" cy="33774"/>
            </a:xfrm>
            <a:custGeom>
              <a:avLst/>
              <a:gdLst>
                <a:gd name="connsiteX0" fmla="*/ 352753 w 369640"/>
                <a:gd name="connsiteY0" fmla="*/ 33774 h 33774"/>
                <a:gd name="connsiteX1" fmla="*/ 16887 w 369640"/>
                <a:gd name="connsiteY1" fmla="*/ 33774 h 33774"/>
                <a:gd name="connsiteX2" fmla="*/ 0 w 369640"/>
                <a:gd name="connsiteY2" fmla="*/ 16887 h 33774"/>
                <a:gd name="connsiteX3" fmla="*/ 16887 w 369640"/>
                <a:gd name="connsiteY3" fmla="*/ 0 h 33774"/>
                <a:gd name="connsiteX4" fmla="*/ 352753 w 369640"/>
                <a:gd name="connsiteY4" fmla="*/ 0 h 33774"/>
                <a:gd name="connsiteX5" fmla="*/ 369641 w 369640"/>
                <a:gd name="connsiteY5" fmla="*/ 16887 h 33774"/>
                <a:gd name="connsiteX6" fmla="*/ 352753 w 369640"/>
                <a:gd name="connsiteY6" fmla="*/ 33774 h 33774"/>
                <a:gd name="connsiteX7" fmla="*/ 352753 w 369640"/>
                <a:gd name="connsiteY7" fmla="*/ 33774 h 33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9640" h="33774">
                  <a:moveTo>
                    <a:pt x="352753" y="33774"/>
                  </a:moveTo>
                  <a:lnTo>
                    <a:pt x="16887" y="33774"/>
                  </a:lnTo>
                  <a:cubicBezTo>
                    <a:pt x="7505" y="33774"/>
                    <a:pt x="0" y="26269"/>
                    <a:pt x="0" y="16887"/>
                  </a:cubicBezTo>
                  <a:cubicBezTo>
                    <a:pt x="0" y="7505"/>
                    <a:pt x="7505" y="0"/>
                    <a:pt x="16887" y="0"/>
                  </a:cubicBezTo>
                  <a:lnTo>
                    <a:pt x="352753" y="0"/>
                  </a:lnTo>
                  <a:cubicBezTo>
                    <a:pt x="362135" y="0"/>
                    <a:pt x="369641" y="7505"/>
                    <a:pt x="369641" y="16887"/>
                  </a:cubicBezTo>
                  <a:cubicBezTo>
                    <a:pt x="369641" y="26269"/>
                    <a:pt x="362135" y="33774"/>
                    <a:pt x="352753" y="33774"/>
                  </a:cubicBezTo>
                  <a:lnTo>
                    <a:pt x="352753" y="33774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35" name="Forma Livre: Forma 334">
              <a:extLst>
                <a:ext uri="{FF2B5EF4-FFF2-40B4-BE49-F238E27FC236}">
                  <a16:creationId xmlns:a16="http://schemas.microsoft.com/office/drawing/2014/main" id="{BE370615-BB4E-4216-8B55-60731223A568}"/>
                </a:ext>
              </a:extLst>
            </p:cNvPr>
            <p:cNvSpPr/>
            <p:nvPr/>
          </p:nvSpPr>
          <p:spPr>
            <a:xfrm>
              <a:off x="7463996" y="5721519"/>
              <a:ext cx="338887" cy="97570"/>
            </a:xfrm>
            <a:custGeom>
              <a:avLst/>
              <a:gdLst>
                <a:gd name="connsiteX0" fmla="*/ 322053 w 338887"/>
                <a:gd name="connsiteY0" fmla="*/ 97570 h 97570"/>
                <a:gd name="connsiteX1" fmla="*/ 309544 w 338887"/>
                <a:gd name="connsiteY1" fmla="*/ 91941 h 97570"/>
                <a:gd name="connsiteX2" fmla="*/ 169444 w 338887"/>
                <a:gd name="connsiteY2" fmla="*/ 33149 h 97570"/>
                <a:gd name="connsiteX3" fmla="*/ 29343 w 338887"/>
                <a:gd name="connsiteY3" fmla="*/ 91941 h 97570"/>
                <a:gd name="connsiteX4" fmla="*/ 5576 w 338887"/>
                <a:gd name="connsiteY4" fmla="*/ 93192 h 97570"/>
                <a:gd name="connsiteX5" fmla="*/ 4325 w 338887"/>
                <a:gd name="connsiteY5" fmla="*/ 69425 h 97570"/>
                <a:gd name="connsiteX6" fmla="*/ 169444 w 338887"/>
                <a:gd name="connsiteY6" fmla="*/ 0 h 97570"/>
                <a:gd name="connsiteX7" fmla="*/ 334562 w 338887"/>
                <a:gd name="connsiteY7" fmla="*/ 69425 h 97570"/>
                <a:gd name="connsiteX8" fmla="*/ 333311 w 338887"/>
                <a:gd name="connsiteY8" fmla="*/ 93192 h 97570"/>
                <a:gd name="connsiteX9" fmla="*/ 322053 w 338887"/>
                <a:gd name="connsiteY9" fmla="*/ 97570 h 97570"/>
                <a:gd name="connsiteX10" fmla="*/ 322053 w 338887"/>
                <a:gd name="connsiteY10" fmla="*/ 97570 h 97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8887" h="97570">
                  <a:moveTo>
                    <a:pt x="322053" y="97570"/>
                  </a:moveTo>
                  <a:cubicBezTo>
                    <a:pt x="317675" y="97570"/>
                    <a:pt x="313297" y="95694"/>
                    <a:pt x="309544" y="91941"/>
                  </a:cubicBezTo>
                  <a:cubicBezTo>
                    <a:pt x="275144" y="55040"/>
                    <a:pt x="223858" y="33149"/>
                    <a:pt x="169444" y="33149"/>
                  </a:cubicBezTo>
                  <a:cubicBezTo>
                    <a:pt x="114404" y="33149"/>
                    <a:pt x="63117" y="54414"/>
                    <a:pt x="29343" y="91941"/>
                  </a:cubicBezTo>
                  <a:cubicBezTo>
                    <a:pt x="23089" y="98821"/>
                    <a:pt x="12456" y="98821"/>
                    <a:pt x="5576" y="93192"/>
                  </a:cubicBezTo>
                  <a:cubicBezTo>
                    <a:pt x="-1304" y="86938"/>
                    <a:pt x="-1929" y="76305"/>
                    <a:pt x="4325" y="69425"/>
                  </a:cubicBezTo>
                  <a:cubicBezTo>
                    <a:pt x="44979" y="25644"/>
                    <a:pt x="105022" y="0"/>
                    <a:pt x="169444" y="0"/>
                  </a:cubicBezTo>
                  <a:cubicBezTo>
                    <a:pt x="233865" y="0"/>
                    <a:pt x="293908" y="25018"/>
                    <a:pt x="334562" y="69425"/>
                  </a:cubicBezTo>
                  <a:cubicBezTo>
                    <a:pt x="340816" y="76305"/>
                    <a:pt x="340191" y="86938"/>
                    <a:pt x="333311" y="93192"/>
                  </a:cubicBezTo>
                  <a:cubicBezTo>
                    <a:pt x="330184" y="96319"/>
                    <a:pt x="325806" y="97570"/>
                    <a:pt x="322053" y="97570"/>
                  </a:cubicBezTo>
                  <a:lnTo>
                    <a:pt x="322053" y="9757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36" name="Forma Livre: Forma 335">
              <a:extLst>
                <a:ext uri="{FF2B5EF4-FFF2-40B4-BE49-F238E27FC236}">
                  <a16:creationId xmlns:a16="http://schemas.microsoft.com/office/drawing/2014/main" id="{44307F19-6486-41C5-B8C8-26E3067A9B9E}"/>
                </a:ext>
              </a:extLst>
            </p:cNvPr>
            <p:cNvSpPr/>
            <p:nvPr/>
          </p:nvSpPr>
          <p:spPr>
            <a:xfrm>
              <a:off x="7604043" y="5683366"/>
              <a:ext cx="58792" cy="58792"/>
            </a:xfrm>
            <a:custGeom>
              <a:avLst/>
              <a:gdLst>
                <a:gd name="connsiteX0" fmla="*/ 29396 w 58792"/>
                <a:gd name="connsiteY0" fmla="*/ 0 h 58792"/>
                <a:gd name="connsiteX1" fmla="*/ 0 w 58792"/>
                <a:gd name="connsiteY1" fmla="*/ 29396 h 58792"/>
                <a:gd name="connsiteX2" fmla="*/ 29396 w 58792"/>
                <a:gd name="connsiteY2" fmla="*/ 58792 h 58792"/>
                <a:gd name="connsiteX3" fmla="*/ 58792 w 58792"/>
                <a:gd name="connsiteY3" fmla="*/ 29396 h 58792"/>
                <a:gd name="connsiteX4" fmla="*/ 29396 w 58792"/>
                <a:gd name="connsiteY4" fmla="*/ 0 h 58792"/>
                <a:gd name="connsiteX5" fmla="*/ 29396 w 58792"/>
                <a:gd name="connsiteY5" fmla="*/ 0 h 58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792" h="58792">
                  <a:moveTo>
                    <a:pt x="29396" y="0"/>
                  </a:moveTo>
                  <a:cubicBezTo>
                    <a:pt x="13135" y="0"/>
                    <a:pt x="0" y="13134"/>
                    <a:pt x="0" y="29396"/>
                  </a:cubicBezTo>
                  <a:cubicBezTo>
                    <a:pt x="0" y="45658"/>
                    <a:pt x="13135" y="58792"/>
                    <a:pt x="29396" y="58792"/>
                  </a:cubicBezTo>
                  <a:cubicBezTo>
                    <a:pt x="45658" y="58792"/>
                    <a:pt x="58792" y="45658"/>
                    <a:pt x="58792" y="29396"/>
                  </a:cubicBezTo>
                  <a:cubicBezTo>
                    <a:pt x="58167" y="13134"/>
                    <a:pt x="45658" y="0"/>
                    <a:pt x="29396" y="0"/>
                  </a:cubicBezTo>
                  <a:lnTo>
                    <a:pt x="29396" y="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37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8487341" y="5672108"/>
            <a:ext cx="345203" cy="399661"/>
            <a:chOff x="8475004" y="5672108"/>
            <a:chExt cx="345203" cy="399661"/>
          </a:xfrm>
          <a:solidFill>
            <a:srgbClr val="B1B1A1"/>
          </a:solidFill>
        </p:grpSpPr>
        <p:sp>
          <p:nvSpPr>
            <p:cNvPr id="338" name="Forma Livre: Forma 337">
              <a:extLst>
                <a:ext uri="{FF2B5EF4-FFF2-40B4-BE49-F238E27FC236}">
                  <a16:creationId xmlns:a16="http://schemas.microsoft.com/office/drawing/2014/main" id="{64F94CF3-E8E6-4EAE-96B3-90D1DF1ADF43}"/>
                </a:ext>
              </a:extLst>
            </p:cNvPr>
            <p:cNvSpPr/>
            <p:nvPr/>
          </p:nvSpPr>
          <p:spPr>
            <a:xfrm>
              <a:off x="8668559" y="5778435"/>
              <a:ext cx="58791" cy="58792"/>
            </a:xfrm>
            <a:custGeom>
              <a:avLst/>
              <a:gdLst>
                <a:gd name="connsiteX0" fmla="*/ 29396 w 58791"/>
                <a:gd name="connsiteY0" fmla="*/ 0 h 58792"/>
                <a:gd name="connsiteX1" fmla="*/ 0 w 58791"/>
                <a:gd name="connsiteY1" fmla="*/ 29396 h 58792"/>
                <a:gd name="connsiteX2" fmla="*/ 29396 w 58791"/>
                <a:gd name="connsiteY2" fmla="*/ 58792 h 58792"/>
                <a:gd name="connsiteX3" fmla="*/ 58792 w 58791"/>
                <a:gd name="connsiteY3" fmla="*/ 29396 h 58792"/>
                <a:gd name="connsiteX4" fmla="*/ 29396 w 58791"/>
                <a:gd name="connsiteY4" fmla="*/ 0 h 58792"/>
                <a:gd name="connsiteX5" fmla="*/ 29396 w 58791"/>
                <a:gd name="connsiteY5" fmla="*/ 0 h 58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791" h="58792">
                  <a:moveTo>
                    <a:pt x="29396" y="0"/>
                  </a:moveTo>
                  <a:cubicBezTo>
                    <a:pt x="13134" y="0"/>
                    <a:pt x="0" y="13134"/>
                    <a:pt x="0" y="29396"/>
                  </a:cubicBezTo>
                  <a:cubicBezTo>
                    <a:pt x="0" y="45658"/>
                    <a:pt x="13134" y="58792"/>
                    <a:pt x="29396" y="58792"/>
                  </a:cubicBezTo>
                  <a:cubicBezTo>
                    <a:pt x="45657" y="58792"/>
                    <a:pt x="58792" y="45658"/>
                    <a:pt x="58792" y="29396"/>
                  </a:cubicBezTo>
                  <a:cubicBezTo>
                    <a:pt x="58792" y="13134"/>
                    <a:pt x="45657" y="0"/>
                    <a:pt x="29396" y="0"/>
                  </a:cubicBezTo>
                  <a:lnTo>
                    <a:pt x="29396" y="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39" name="Forma Livre: Forma 338">
              <a:extLst>
                <a:ext uri="{FF2B5EF4-FFF2-40B4-BE49-F238E27FC236}">
                  <a16:creationId xmlns:a16="http://schemas.microsoft.com/office/drawing/2014/main" id="{43F3E78B-BD7A-49EA-B86F-0A150D2338A4}"/>
                </a:ext>
              </a:extLst>
            </p:cNvPr>
            <p:cNvSpPr/>
            <p:nvPr/>
          </p:nvSpPr>
          <p:spPr>
            <a:xfrm>
              <a:off x="8558479" y="5830972"/>
              <a:ext cx="58792" cy="58792"/>
            </a:xfrm>
            <a:custGeom>
              <a:avLst/>
              <a:gdLst>
                <a:gd name="connsiteX0" fmla="*/ 29397 w 58792"/>
                <a:gd name="connsiteY0" fmla="*/ 0 h 58792"/>
                <a:gd name="connsiteX1" fmla="*/ 0 w 58792"/>
                <a:gd name="connsiteY1" fmla="*/ 29396 h 58792"/>
                <a:gd name="connsiteX2" fmla="*/ 29397 w 58792"/>
                <a:gd name="connsiteY2" fmla="*/ 58792 h 58792"/>
                <a:gd name="connsiteX3" fmla="*/ 58792 w 58792"/>
                <a:gd name="connsiteY3" fmla="*/ 29396 h 58792"/>
                <a:gd name="connsiteX4" fmla="*/ 29397 w 58792"/>
                <a:gd name="connsiteY4" fmla="*/ 0 h 58792"/>
                <a:gd name="connsiteX5" fmla="*/ 29397 w 58792"/>
                <a:gd name="connsiteY5" fmla="*/ 0 h 58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792" h="58792">
                  <a:moveTo>
                    <a:pt x="29397" y="0"/>
                  </a:moveTo>
                  <a:cubicBezTo>
                    <a:pt x="13135" y="0"/>
                    <a:pt x="0" y="13135"/>
                    <a:pt x="0" y="29396"/>
                  </a:cubicBezTo>
                  <a:cubicBezTo>
                    <a:pt x="0" y="45658"/>
                    <a:pt x="13135" y="58792"/>
                    <a:pt x="29397" y="58792"/>
                  </a:cubicBezTo>
                  <a:cubicBezTo>
                    <a:pt x="45658" y="58792"/>
                    <a:pt x="58792" y="45658"/>
                    <a:pt x="58792" y="29396"/>
                  </a:cubicBezTo>
                  <a:cubicBezTo>
                    <a:pt x="58792" y="13135"/>
                    <a:pt x="45033" y="0"/>
                    <a:pt x="29397" y="0"/>
                  </a:cubicBezTo>
                  <a:lnTo>
                    <a:pt x="29397" y="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40" name="Forma Livre: Forma 339">
              <a:extLst>
                <a:ext uri="{FF2B5EF4-FFF2-40B4-BE49-F238E27FC236}">
                  <a16:creationId xmlns:a16="http://schemas.microsoft.com/office/drawing/2014/main" id="{95212434-28F2-458D-9FDF-D7F07CEA71C2}"/>
                </a:ext>
              </a:extLst>
            </p:cNvPr>
            <p:cNvSpPr/>
            <p:nvPr/>
          </p:nvSpPr>
          <p:spPr>
            <a:xfrm>
              <a:off x="8639787" y="5906026"/>
              <a:ext cx="58792" cy="58792"/>
            </a:xfrm>
            <a:custGeom>
              <a:avLst/>
              <a:gdLst>
                <a:gd name="connsiteX0" fmla="*/ 29397 w 58792"/>
                <a:gd name="connsiteY0" fmla="*/ 0 h 58792"/>
                <a:gd name="connsiteX1" fmla="*/ 0 w 58792"/>
                <a:gd name="connsiteY1" fmla="*/ 29396 h 58792"/>
                <a:gd name="connsiteX2" fmla="*/ 29397 w 58792"/>
                <a:gd name="connsiteY2" fmla="*/ 58792 h 58792"/>
                <a:gd name="connsiteX3" fmla="*/ 58792 w 58792"/>
                <a:gd name="connsiteY3" fmla="*/ 29396 h 58792"/>
                <a:gd name="connsiteX4" fmla="*/ 29397 w 58792"/>
                <a:gd name="connsiteY4" fmla="*/ 0 h 58792"/>
                <a:gd name="connsiteX5" fmla="*/ 29397 w 58792"/>
                <a:gd name="connsiteY5" fmla="*/ 0 h 58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792" h="58792">
                  <a:moveTo>
                    <a:pt x="29397" y="0"/>
                  </a:moveTo>
                  <a:cubicBezTo>
                    <a:pt x="13135" y="0"/>
                    <a:pt x="0" y="13135"/>
                    <a:pt x="0" y="29396"/>
                  </a:cubicBezTo>
                  <a:cubicBezTo>
                    <a:pt x="0" y="45658"/>
                    <a:pt x="13135" y="58792"/>
                    <a:pt x="29397" y="58792"/>
                  </a:cubicBezTo>
                  <a:cubicBezTo>
                    <a:pt x="45658" y="58792"/>
                    <a:pt x="58792" y="45658"/>
                    <a:pt x="58792" y="29396"/>
                  </a:cubicBezTo>
                  <a:cubicBezTo>
                    <a:pt x="58792" y="13135"/>
                    <a:pt x="45033" y="0"/>
                    <a:pt x="29397" y="0"/>
                  </a:cubicBezTo>
                  <a:lnTo>
                    <a:pt x="29397" y="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41" name="Forma Livre: Forma 340">
              <a:extLst>
                <a:ext uri="{FF2B5EF4-FFF2-40B4-BE49-F238E27FC236}">
                  <a16:creationId xmlns:a16="http://schemas.microsoft.com/office/drawing/2014/main" id="{C101733F-B4CC-4E8A-89F8-DC26CC3BEBF8}"/>
                </a:ext>
              </a:extLst>
            </p:cNvPr>
            <p:cNvSpPr/>
            <p:nvPr/>
          </p:nvSpPr>
          <p:spPr>
            <a:xfrm>
              <a:off x="8642289" y="5843481"/>
              <a:ext cx="28770" cy="28770"/>
            </a:xfrm>
            <a:custGeom>
              <a:avLst/>
              <a:gdLst>
                <a:gd name="connsiteX0" fmla="*/ 14386 w 28770"/>
                <a:gd name="connsiteY0" fmla="*/ 0 h 28770"/>
                <a:gd name="connsiteX1" fmla="*/ 0 w 28770"/>
                <a:gd name="connsiteY1" fmla="*/ 14386 h 28770"/>
                <a:gd name="connsiteX2" fmla="*/ 14386 w 28770"/>
                <a:gd name="connsiteY2" fmla="*/ 28771 h 28770"/>
                <a:gd name="connsiteX3" fmla="*/ 28771 w 28770"/>
                <a:gd name="connsiteY3" fmla="*/ 14386 h 28770"/>
                <a:gd name="connsiteX4" fmla="*/ 14386 w 28770"/>
                <a:gd name="connsiteY4" fmla="*/ 0 h 28770"/>
                <a:gd name="connsiteX5" fmla="*/ 14386 w 28770"/>
                <a:gd name="connsiteY5" fmla="*/ 0 h 28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770" h="28770">
                  <a:moveTo>
                    <a:pt x="14386" y="0"/>
                  </a:moveTo>
                  <a:cubicBezTo>
                    <a:pt x="6254" y="0"/>
                    <a:pt x="0" y="6254"/>
                    <a:pt x="0" y="14386"/>
                  </a:cubicBezTo>
                  <a:cubicBezTo>
                    <a:pt x="0" y="22516"/>
                    <a:pt x="6254" y="28771"/>
                    <a:pt x="14386" y="28771"/>
                  </a:cubicBezTo>
                  <a:cubicBezTo>
                    <a:pt x="22516" y="28771"/>
                    <a:pt x="28771" y="22516"/>
                    <a:pt x="28771" y="14386"/>
                  </a:cubicBezTo>
                  <a:cubicBezTo>
                    <a:pt x="28771" y="6254"/>
                    <a:pt x="21891" y="0"/>
                    <a:pt x="14386" y="0"/>
                  </a:cubicBezTo>
                  <a:lnTo>
                    <a:pt x="14386" y="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42" name="Forma Livre: Forma 341">
              <a:extLst>
                <a:ext uri="{FF2B5EF4-FFF2-40B4-BE49-F238E27FC236}">
                  <a16:creationId xmlns:a16="http://schemas.microsoft.com/office/drawing/2014/main" id="{34B46324-EEC8-446D-AF24-D696968C994E}"/>
                </a:ext>
              </a:extLst>
            </p:cNvPr>
            <p:cNvSpPr/>
            <p:nvPr/>
          </p:nvSpPr>
          <p:spPr>
            <a:xfrm>
              <a:off x="8596006" y="5778435"/>
              <a:ext cx="28810" cy="28770"/>
            </a:xfrm>
            <a:custGeom>
              <a:avLst/>
              <a:gdLst>
                <a:gd name="connsiteX0" fmla="*/ 14386 w 28810"/>
                <a:gd name="connsiteY0" fmla="*/ 0 h 28770"/>
                <a:gd name="connsiteX1" fmla="*/ 0 w 28810"/>
                <a:gd name="connsiteY1" fmla="*/ 14385 h 28770"/>
                <a:gd name="connsiteX2" fmla="*/ 14386 w 28810"/>
                <a:gd name="connsiteY2" fmla="*/ 28771 h 28770"/>
                <a:gd name="connsiteX3" fmla="*/ 28771 w 28810"/>
                <a:gd name="connsiteY3" fmla="*/ 14385 h 28770"/>
                <a:gd name="connsiteX4" fmla="*/ 14386 w 28810"/>
                <a:gd name="connsiteY4" fmla="*/ 0 h 28770"/>
                <a:gd name="connsiteX5" fmla="*/ 14386 w 28810"/>
                <a:gd name="connsiteY5" fmla="*/ 0 h 28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810" h="28770">
                  <a:moveTo>
                    <a:pt x="14386" y="0"/>
                  </a:moveTo>
                  <a:cubicBezTo>
                    <a:pt x="6254" y="0"/>
                    <a:pt x="0" y="6254"/>
                    <a:pt x="0" y="14385"/>
                  </a:cubicBezTo>
                  <a:cubicBezTo>
                    <a:pt x="0" y="22516"/>
                    <a:pt x="6254" y="28771"/>
                    <a:pt x="14386" y="28771"/>
                  </a:cubicBezTo>
                  <a:cubicBezTo>
                    <a:pt x="22517" y="28771"/>
                    <a:pt x="28771" y="22516"/>
                    <a:pt x="28771" y="14385"/>
                  </a:cubicBezTo>
                  <a:cubicBezTo>
                    <a:pt x="29397" y="6880"/>
                    <a:pt x="22517" y="0"/>
                    <a:pt x="14386" y="0"/>
                  </a:cubicBezTo>
                  <a:lnTo>
                    <a:pt x="14386" y="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43" name="Forma Livre: Forma 342">
              <a:extLst>
                <a:ext uri="{FF2B5EF4-FFF2-40B4-BE49-F238E27FC236}">
                  <a16:creationId xmlns:a16="http://schemas.microsoft.com/office/drawing/2014/main" id="{971A9B97-514C-4B39-9301-7B54E478105F}"/>
                </a:ext>
              </a:extLst>
            </p:cNvPr>
            <p:cNvSpPr/>
            <p:nvPr/>
          </p:nvSpPr>
          <p:spPr>
            <a:xfrm>
              <a:off x="8475004" y="5672108"/>
              <a:ext cx="345203" cy="399661"/>
            </a:xfrm>
            <a:custGeom>
              <a:avLst/>
              <a:gdLst>
                <a:gd name="connsiteX0" fmla="*/ 172915 w 345203"/>
                <a:gd name="connsiteY0" fmla="*/ 399662 h 399661"/>
                <a:gd name="connsiteX1" fmla="*/ 157278 w 345203"/>
                <a:gd name="connsiteY1" fmla="*/ 389655 h 399661"/>
                <a:gd name="connsiteX2" fmla="*/ 78472 w 345203"/>
                <a:gd name="connsiteY2" fmla="*/ 213278 h 399661"/>
                <a:gd name="connsiteX3" fmla="*/ 2793 w 345203"/>
                <a:gd name="connsiteY3" fmla="*/ 75054 h 399661"/>
                <a:gd name="connsiteX4" fmla="*/ 7171 w 345203"/>
                <a:gd name="connsiteY4" fmla="*/ 52538 h 399661"/>
                <a:gd name="connsiteX5" fmla="*/ 172289 w 345203"/>
                <a:gd name="connsiteY5" fmla="*/ 0 h 399661"/>
                <a:gd name="connsiteX6" fmla="*/ 338033 w 345203"/>
                <a:gd name="connsiteY6" fmla="*/ 52538 h 399661"/>
                <a:gd name="connsiteX7" fmla="*/ 342411 w 345203"/>
                <a:gd name="connsiteY7" fmla="*/ 75054 h 399661"/>
                <a:gd name="connsiteX8" fmla="*/ 266732 w 345203"/>
                <a:gd name="connsiteY8" fmla="*/ 213278 h 399661"/>
                <a:gd name="connsiteX9" fmla="*/ 187926 w 345203"/>
                <a:gd name="connsiteY9" fmla="*/ 389655 h 399661"/>
                <a:gd name="connsiteX10" fmla="*/ 172915 w 345203"/>
                <a:gd name="connsiteY10" fmla="*/ 399662 h 399661"/>
                <a:gd name="connsiteX11" fmla="*/ 172915 w 345203"/>
                <a:gd name="connsiteY11" fmla="*/ 399662 h 399661"/>
                <a:gd name="connsiteX12" fmla="*/ 40320 w 345203"/>
                <a:gd name="connsiteY12" fmla="*/ 71301 h 399661"/>
                <a:gd name="connsiteX13" fmla="*/ 109119 w 345203"/>
                <a:gd name="connsiteY13" fmla="*/ 198893 h 399661"/>
                <a:gd name="connsiteX14" fmla="*/ 173540 w 345203"/>
                <a:gd name="connsiteY14" fmla="*/ 340870 h 399661"/>
                <a:gd name="connsiteX15" fmla="*/ 237962 w 345203"/>
                <a:gd name="connsiteY15" fmla="*/ 198893 h 399661"/>
                <a:gd name="connsiteX16" fmla="*/ 306761 w 345203"/>
                <a:gd name="connsiteY16" fmla="*/ 71301 h 399661"/>
                <a:gd name="connsiteX17" fmla="*/ 173540 w 345203"/>
                <a:gd name="connsiteY17" fmla="*/ 33774 h 399661"/>
                <a:gd name="connsiteX18" fmla="*/ 40320 w 345203"/>
                <a:gd name="connsiteY18" fmla="*/ 71301 h 399661"/>
                <a:gd name="connsiteX19" fmla="*/ 40320 w 345203"/>
                <a:gd name="connsiteY19" fmla="*/ 71301 h 399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45203" h="399661">
                  <a:moveTo>
                    <a:pt x="172915" y="399662"/>
                  </a:moveTo>
                  <a:cubicBezTo>
                    <a:pt x="166035" y="399662"/>
                    <a:pt x="160406" y="395909"/>
                    <a:pt x="157278" y="389655"/>
                  </a:cubicBezTo>
                  <a:cubicBezTo>
                    <a:pt x="137890" y="343371"/>
                    <a:pt x="107868" y="274572"/>
                    <a:pt x="78472" y="213278"/>
                  </a:cubicBezTo>
                  <a:cubicBezTo>
                    <a:pt x="51577" y="158239"/>
                    <a:pt x="25309" y="110079"/>
                    <a:pt x="2793" y="75054"/>
                  </a:cubicBezTo>
                  <a:cubicBezTo>
                    <a:pt x="-2211" y="67548"/>
                    <a:pt x="-335" y="57541"/>
                    <a:pt x="7171" y="52538"/>
                  </a:cubicBezTo>
                  <a:cubicBezTo>
                    <a:pt x="55956" y="18138"/>
                    <a:pt x="112872" y="0"/>
                    <a:pt x="172289" y="0"/>
                  </a:cubicBezTo>
                  <a:cubicBezTo>
                    <a:pt x="231707" y="0"/>
                    <a:pt x="289248" y="18138"/>
                    <a:pt x="338033" y="52538"/>
                  </a:cubicBezTo>
                  <a:cubicBezTo>
                    <a:pt x="345538" y="57541"/>
                    <a:pt x="347415" y="67548"/>
                    <a:pt x="342411" y="75054"/>
                  </a:cubicBezTo>
                  <a:cubicBezTo>
                    <a:pt x="319895" y="110079"/>
                    <a:pt x="293627" y="157613"/>
                    <a:pt x="266732" y="213278"/>
                  </a:cubicBezTo>
                  <a:cubicBezTo>
                    <a:pt x="236710" y="274572"/>
                    <a:pt x="207314" y="343371"/>
                    <a:pt x="187926" y="389655"/>
                  </a:cubicBezTo>
                  <a:cubicBezTo>
                    <a:pt x="186049" y="395909"/>
                    <a:pt x="179794" y="399662"/>
                    <a:pt x="172915" y="399662"/>
                  </a:cubicBezTo>
                  <a:lnTo>
                    <a:pt x="172915" y="399662"/>
                  </a:lnTo>
                  <a:close/>
                  <a:moveTo>
                    <a:pt x="40320" y="71301"/>
                  </a:moveTo>
                  <a:cubicBezTo>
                    <a:pt x="61584" y="105701"/>
                    <a:pt x="84726" y="149482"/>
                    <a:pt x="109119" y="198893"/>
                  </a:cubicBezTo>
                  <a:cubicBezTo>
                    <a:pt x="132260" y="246427"/>
                    <a:pt x="155402" y="298339"/>
                    <a:pt x="173540" y="340870"/>
                  </a:cubicBezTo>
                  <a:cubicBezTo>
                    <a:pt x="191678" y="298339"/>
                    <a:pt x="214819" y="246427"/>
                    <a:pt x="237962" y="198893"/>
                  </a:cubicBezTo>
                  <a:cubicBezTo>
                    <a:pt x="261728" y="149482"/>
                    <a:pt x="285495" y="105701"/>
                    <a:pt x="306761" y="71301"/>
                  </a:cubicBezTo>
                  <a:cubicBezTo>
                    <a:pt x="266732" y="46909"/>
                    <a:pt x="221074" y="33774"/>
                    <a:pt x="173540" y="33774"/>
                  </a:cubicBezTo>
                  <a:cubicBezTo>
                    <a:pt x="126006" y="33774"/>
                    <a:pt x="80348" y="46283"/>
                    <a:pt x="40320" y="71301"/>
                  </a:cubicBezTo>
                  <a:lnTo>
                    <a:pt x="40320" y="71301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44" name="Forma Livre: Forma 343">
              <a:extLst>
                <a:ext uri="{FF2B5EF4-FFF2-40B4-BE49-F238E27FC236}">
                  <a16:creationId xmlns:a16="http://schemas.microsoft.com/office/drawing/2014/main" id="{27124D9A-B5D8-48E5-A515-05E899B9C34A}"/>
                </a:ext>
              </a:extLst>
            </p:cNvPr>
            <p:cNvSpPr/>
            <p:nvPr/>
          </p:nvSpPr>
          <p:spPr>
            <a:xfrm>
              <a:off x="8503333" y="5728862"/>
              <a:ext cx="292098" cy="65834"/>
            </a:xfrm>
            <a:custGeom>
              <a:avLst/>
              <a:gdLst>
                <a:gd name="connsiteX0" fmla="*/ 275304 w 292098"/>
                <a:gd name="connsiteY0" fmla="*/ 65835 h 65834"/>
                <a:gd name="connsiteX1" fmla="*/ 267173 w 292098"/>
                <a:gd name="connsiteY1" fmla="*/ 63959 h 65834"/>
                <a:gd name="connsiteX2" fmla="*/ 24499 w 292098"/>
                <a:gd name="connsiteY2" fmla="*/ 62708 h 65834"/>
                <a:gd name="connsiteX3" fmla="*/ 1982 w 292098"/>
                <a:gd name="connsiteY3" fmla="*/ 55828 h 65834"/>
                <a:gd name="connsiteX4" fmla="*/ 8863 w 292098"/>
                <a:gd name="connsiteY4" fmla="*/ 33311 h 65834"/>
                <a:gd name="connsiteX5" fmla="*/ 283435 w 292098"/>
                <a:gd name="connsiteY5" fmla="*/ 35188 h 65834"/>
                <a:gd name="connsiteX6" fmla="*/ 289689 w 292098"/>
                <a:gd name="connsiteY6" fmla="*/ 57704 h 65834"/>
                <a:gd name="connsiteX7" fmla="*/ 275304 w 292098"/>
                <a:gd name="connsiteY7" fmla="*/ 65835 h 65834"/>
                <a:gd name="connsiteX8" fmla="*/ 275304 w 292098"/>
                <a:gd name="connsiteY8" fmla="*/ 65835 h 65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2098" h="65834">
                  <a:moveTo>
                    <a:pt x="275304" y="65835"/>
                  </a:moveTo>
                  <a:cubicBezTo>
                    <a:pt x="272802" y="65835"/>
                    <a:pt x="269675" y="65210"/>
                    <a:pt x="267173" y="63959"/>
                  </a:cubicBezTo>
                  <a:cubicBezTo>
                    <a:pt x="193370" y="23304"/>
                    <a:pt x="98927" y="22679"/>
                    <a:pt x="24499" y="62708"/>
                  </a:cubicBezTo>
                  <a:cubicBezTo>
                    <a:pt x="16368" y="67086"/>
                    <a:pt x="6361" y="63959"/>
                    <a:pt x="1982" y="55828"/>
                  </a:cubicBezTo>
                  <a:cubicBezTo>
                    <a:pt x="-2396" y="47697"/>
                    <a:pt x="732" y="37690"/>
                    <a:pt x="8863" y="33311"/>
                  </a:cubicBezTo>
                  <a:cubicBezTo>
                    <a:pt x="93299" y="-11721"/>
                    <a:pt x="199625" y="-11095"/>
                    <a:pt x="283435" y="35188"/>
                  </a:cubicBezTo>
                  <a:cubicBezTo>
                    <a:pt x="291566" y="39566"/>
                    <a:pt x="294693" y="49573"/>
                    <a:pt x="289689" y="57704"/>
                  </a:cubicBezTo>
                  <a:cubicBezTo>
                    <a:pt x="287188" y="62708"/>
                    <a:pt x="281559" y="65835"/>
                    <a:pt x="275304" y="65835"/>
                  </a:cubicBezTo>
                  <a:lnTo>
                    <a:pt x="275304" y="65835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45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9527753" y="5643193"/>
            <a:ext cx="300215" cy="457347"/>
            <a:chOff x="9515416" y="5643193"/>
            <a:chExt cx="300215" cy="457347"/>
          </a:xfrm>
          <a:solidFill>
            <a:srgbClr val="B1B1A1"/>
          </a:solidFill>
        </p:grpSpPr>
        <p:sp>
          <p:nvSpPr>
            <p:cNvPr id="346" name="Forma Livre: Forma 345">
              <a:extLst>
                <a:ext uri="{FF2B5EF4-FFF2-40B4-BE49-F238E27FC236}">
                  <a16:creationId xmlns:a16="http://schemas.microsoft.com/office/drawing/2014/main" id="{06118ED8-FE96-4E13-B39B-AACB0AD063E9}"/>
                </a:ext>
              </a:extLst>
            </p:cNvPr>
            <p:cNvSpPr/>
            <p:nvPr/>
          </p:nvSpPr>
          <p:spPr>
            <a:xfrm>
              <a:off x="9555236" y="5860171"/>
              <a:ext cx="208682" cy="240370"/>
            </a:xfrm>
            <a:custGeom>
              <a:avLst/>
              <a:gdLst>
                <a:gd name="connsiteX0" fmla="*/ 103408 w 208682"/>
                <a:gd name="connsiteY0" fmla="*/ 240371 h 240370"/>
                <a:gd name="connsiteX1" fmla="*/ 103408 w 208682"/>
                <a:gd name="connsiteY1" fmla="*/ 240371 h 240370"/>
                <a:gd name="connsiteX2" fmla="*/ 88398 w 208682"/>
                <a:gd name="connsiteY2" fmla="*/ 230363 h 240370"/>
                <a:gd name="connsiteX3" fmla="*/ 46493 w 208682"/>
                <a:gd name="connsiteY3" fmla="*/ 135921 h 240370"/>
                <a:gd name="connsiteX4" fmla="*/ 1461 w 208682"/>
                <a:gd name="connsiteY4" fmla="*/ 35223 h 240370"/>
                <a:gd name="connsiteX5" fmla="*/ 9591 w 208682"/>
                <a:gd name="connsiteY5" fmla="*/ 13333 h 240370"/>
                <a:gd name="connsiteX6" fmla="*/ 31482 w 208682"/>
                <a:gd name="connsiteY6" fmla="*/ 21463 h 240370"/>
                <a:gd name="connsiteX7" fmla="*/ 102783 w 208682"/>
                <a:gd name="connsiteY7" fmla="*/ 182204 h 240370"/>
                <a:gd name="connsiteX8" fmla="*/ 129052 w 208682"/>
                <a:gd name="connsiteY8" fmla="*/ 122161 h 240370"/>
                <a:gd name="connsiteX9" fmla="*/ 176586 w 208682"/>
                <a:gd name="connsiteY9" fmla="*/ 10205 h 240370"/>
                <a:gd name="connsiteX10" fmla="*/ 198477 w 208682"/>
                <a:gd name="connsiteY10" fmla="*/ 1449 h 240370"/>
                <a:gd name="connsiteX11" fmla="*/ 207233 w 208682"/>
                <a:gd name="connsiteY11" fmla="*/ 23340 h 240370"/>
                <a:gd name="connsiteX12" fmla="*/ 159699 w 208682"/>
                <a:gd name="connsiteY12" fmla="*/ 135921 h 240370"/>
                <a:gd name="connsiteX13" fmla="*/ 118419 w 208682"/>
                <a:gd name="connsiteY13" fmla="*/ 230989 h 240370"/>
                <a:gd name="connsiteX14" fmla="*/ 103408 w 208682"/>
                <a:gd name="connsiteY14" fmla="*/ 240371 h 240370"/>
                <a:gd name="connsiteX15" fmla="*/ 103408 w 208682"/>
                <a:gd name="connsiteY15" fmla="*/ 240371 h 240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8682" h="240370">
                  <a:moveTo>
                    <a:pt x="103408" y="240371"/>
                  </a:moveTo>
                  <a:lnTo>
                    <a:pt x="103408" y="240371"/>
                  </a:lnTo>
                  <a:cubicBezTo>
                    <a:pt x="96529" y="240371"/>
                    <a:pt x="90899" y="236618"/>
                    <a:pt x="88398" y="230363"/>
                  </a:cubicBezTo>
                  <a:lnTo>
                    <a:pt x="46493" y="135921"/>
                  </a:lnTo>
                  <a:lnTo>
                    <a:pt x="1461" y="35223"/>
                  </a:lnTo>
                  <a:cubicBezTo>
                    <a:pt x="-2293" y="27092"/>
                    <a:pt x="1461" y="17085"/>
                    <a:pt x="9591" y="13333"/>
                  </a:cubicBezTo>
                  <a:cubicBezTo>
                    <a:pt x="17722" y="9580"/>
                    <a:pt x="27729" y="13333"/>
                    <a:pt x="31482" y="21463"/>
                  </a:cubicBezTo>
                  <a:lnTo>
                    <a:pt x="102783" y="182204"/>
                  </a:lnTo>
                  <a:lnTo>
                    <a:pt x="129052" y="122161"/>
                  </a:lnTo>
                  <a:lnTo>
                    <a:pt x="176586" y="10205"/>
                  </a:lnTo>
                  <a:cubicBezTo>
                    <a:pt x="180339" y="1449"/>
                    <a:pt x="189721" y="-2304"/>
                    <a:pt x="198477" y="1449"/>
                  </a:cubicBezTo>
                  <a:cubicBezTo>
                    <a:pt x="207233" y="5201"/>
                    <a:pt x="210986" y="14583"/>
                    <a:pt x="207233" y="23340"/>
                  </a:cubicBezTo>
                  <a:lnTo>
                    <a:pt x="159699" y="135921"/>
                  </a:lnTo>
                  <a:lnTo>
                    <a:pt x="118419" y="230989"/>
                  </a:lnTo>
                  <a:cubicBezTo>
                    <a:pt x="115917" y="236618"/>
                    <a:pt x="110288" y="240371"/>
                    <a:pt x="103408" y="240371"/>
                  </a:cubicBezTo>
                  <a:lnTo>
                    <a:pt x="103408" y="240371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47" name="Forma Livre: Forma 346">
              <a:extLst>
                <a:ext uri="{FF2B5EF4-FFF2-40B4-BE49-F238E27FC236}">
                  <a16:creationId xmlns:a16="http://schemas.microsoft.com/office/drawing/2014/main" id="{F5390DD4-8FC3-496B-A7A4-D014250EEA16}"/>
                </a:ext>
              </a:extLst>
            </p:cNvPr>
            <p:cNvSpPr/>
            <p:nvPr/>
          </p:nvSpPr>
          <p:spPr>
            <a:xfrm>
              <a:off x="9515416" y="5724021"/>
              <a:ext cx="173324" cy="183882"/>
            </a:xfrm>
            <a:custGeom>
              <a:avLst/>
              <a:gdLst>
                <a:gd name="connsiteX0" fmla="*/ 91942 w 173324"/>
                <a:gd name="connsiteY0" fmla="*/ 183882 h 183882"/>
                <a:gd name="connsiteX1" fmla="*/ 0 w 173324"/>
                <a:gd name="connsiteY1" fmla="*/ 91941 h 183882"/>
                <a:gd name="connsiteX2" fmla="*/ 91942 w 173324"/>
                <a:gd name="connsiteY2" fmla="*/ 0 h 183882"/>
                <a:gd name="connsiteX3" fmla="*/ 149483 w 173324"/>
                <a:gd name="connsiteY3" fmla="*/ 20014 h 183882"/>
                <a:gd name="connsiteX4" fmla="*/ 151984 w 173324"/>
                <a:gd name="connsiteY4" fmla="*/ 43156 h 183882"/>
                <a:gd name="connsiteX5" fmla="*/ 128843 w 173324"/>
                <a:gd name="connsiteY5" fmla="*/ 45658 h 183882"/>
                <a:gd name="connsiteX6" fmla="*/ 91942 w 173324"/>
                <a:gd name="connsiteY6" fmla="*/ 32523 h 183882"/>
                <a:gd name="connsiteX7" fmla="*/ 33149 w 173324"/>
                <a:gd name="connsiteY7" fmla="*/ 91315 h 183882"/>
                <a:gd name="connsiteX8" fmla="*/ 91942 w 173324"/>
                <a:gd name="connsiteY8" fmla="*/ 150108 h 183882"/>
                <a:gd name="connsiteX9" fmla="*/ 141977 w 173324"/>
                <a:gd name="connsiteY9" fmla="*/ 121963 h 183882"/>
                <a:gd name="connsiteX10" fmla="*/ 165119 w 173324"/>
                <a:gd name="connsiteY10" fmla="*/ 116333 h 183882"/>
                <a:gd name="connsiteX11" fmla="*/ 170748 w 173324"/>
                <a:gd name="connsiteY11" fmla="*/ 139475 h 183882"/>
                <a:gd name="connsiteX12" fmla="*/ 91942 w 173324"/>
                <a:gd name="connsiteY12" fmla="*/ 183882 h 183882"/>
                <a:gd name="connsiteX13" fmla="*/ 91942 w 173324"/>
                <a:gd name="connsiteY13" fmla="*/ 183882 h 183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73324" h="183882">
                  <a:moveTo>
                    <a:pt x="91942" y="183882"/>
                  </a:moveTo>
                  <a:cubicBezTo>
                    <a:pt x="41280" y="183882"/>
                    <a:pt x="0" y="142602"/>
                    <a:pt x="0" y="91941"/>
                  </a:cubicBezTo>
                  <a:cubicBezTo>
                    <a:pt x="0" y="41280"/>
                    <a:pt x="41280" y="0"/>
                    <a:pt x="91942" y="0"/>
                  </a:cubicBezTo>
                  <a:cubicBezTo>
                    <a:pt x="112581" y="0"/>
                    <a:pt x="133221" y="6880"/>
                    <a:pt x="149483" y="20014"/>
                  </a:cubicBezTo>
                  <a:cubicBezTo>
                    <a:pt x="156988" y="25643"/>
                    <a:pt x="157614" y="36276"/>
                    <a:pt x="151984" y="43156"/>
                  </a:cubicBezTo>
                  <a:cubicBezTo>
                    <a:pt x="146355" y="50036"/>
                    <a:pt x="135723" y="51287"/>
                    <a:pt x="128843" y="45658"/>
                  </a:cubicBezTo>
                  <a:cubicBezTo>
                    <a:pt x="118210" y="37527"/>
                    <a:pt x="105701" y="32523"/>
                    <a:pt x="91942" y="32523"/>
                  </a:cubicBezTo>
                  <a:cubicBezTo>
                    <a:pt x="59418" y="32523"/>
                    <a:pt x="33149" y="58792"/>
                    <a:pt x="33149" y="91315"/>
                  </a:cubicBezTo>
                  <a:cubicBezTo>
                    <a:pt x="33149" y="123839"/>
                    <a:pt x="59418" y="150108"/>
                    <a:pt x="91942" y="150108"/>
                  </a:cubicBezTo>
                  <a:cubicBezTo>
                    <a:pt x="112581" y="150108"/>
                    <a:pt x="131344" y="139475"/>
                    <a:pt x="141977" y="121963"/>
                  </a:cubicBezTo>
                  <a:cubicBezTo>
                    <a:pt x="146981" y="113832"/>
                    <a:pt x="156988" y="111330"/>
                    <a:pt x="165119" y="116333"/>
                  </a:cubicBezTo>
                  <a:cubicBezTo>
                    <a:pt x="173250" y="121337"/>
                    <a:pt x="175752" y="131344"/>
                    <a:pt x="170748" y="139475"/>
                  </a:cubicBezTo>
                  <a:cubicBezTo>
                    <a:pt x="153861" y="167620"/>
                    <a:pt x="124465" y="183882"/>
                    <a:pt x="91942" y="183882"/>
                  </a:cubicBezTo>
                  <a:lnTo>
                    <a:pt x="91942" y="183882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48" name="Forma Livre: Forma 347">
              <a:extLst>
                <a:ext uri="{FF2B5EF4-FFF2-40B4-BE49-F238E27FC236}">
                  <a16:creationId xmlns:a16="http://schemas.microsoft.com/office/drawing/2014/main" id="{C4575ACB-151D-41D7-9F9D-D8DB044D7881}"/>
                </a:ext>
              </a:extLst>
            </p:cNvPr>
            <p:cNvSpPr/>
            <p:nvPr/>
          </p:nvSpPr>
          <p:spPr>
            <a:xfrm>
              <a:off x="9631750" y="5708384"/>
              <a:ext cx="183881" cy="183882"/>
            </a:xfrm>
            <a:custGeom>
              <a:avLst/>
              <a:gdLst>
                <a:gd name="connsiteX0" fmla="*/ 91941 w 183881"/>
                <a:gd name="connsiteY0" fmla="*/ 183882 h 183882"/>
                <a:gd name="connsiteX1" fmla="*/ 0 w 183881"/>
                <a:gd name="connsiteY1" fmla="*/ 91941 h 183882"/>
                <a:gd name="connsiteX2" fmla="*/ 91941 w 183881"/>
                <a:gd name="connsiteY2" fmla="*/ 0 h 183882"/>
                <a:gd name="connsiteX3" fmla="*/ 183881 w 183881"/>
                <a:gd name="connsiteY3" fmla="*/ 91941 h 183882"/>
                <a:gd name="connsiteX4" fmla="*/ 91941 w 183881"/>
                <a:gd name="connsiteY4" fmla="*/ 183882 h 183882"/>
                <a:gd name="connsiteX5" fmla="*/ 91941 w 183881"/>
                <a:gd name="connsiteY5" fmla="*/ 183882 h 183882"/>
                <a:gd name="connsiteX6" fmla="*/ 91941 w 183881"/>
                <a:gd name="connsiteY6" fmla="*/ 33774 h 183882"/>
                <a:gd name="connsiteX7" fmla="*/ 33774 w 183881"/>
                <a:gd name="connsiteY7" fmla="*/ 91941 h 183882"/>
                <a:gd name="connsiteX8" fmla="*/ 91941 w 183881"/>
                <a:gd name="connsiteY8" fmla="*/ 150733 h 183882"/>
                <a:gd name="connsiteX9" fmla="*/ 150733 w 183881"/>
                <a:gd name="connsiteY9" fmla="*/ 91941 h 183882"/>
                <a:gd name="connsiteX10" fmla="*/ 91941 w 183881"/>
                <a:gd name="connsiteY10" fmla="*/ 33774 h 183882"/>
                <a:gd name="connsiteX11" fmla="*/ 91941 w 183881"/>
                <a:gd name="connsiteY11" fmla="*/ 33774 h 183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3881" h="183882">
                  <a:moveTo>
                    <a:pt x="91941" y="183882"/>
                  </a:moveTo>
                  <a:cubicBezTo>
                    <a:pt x="41279" y="183882"/>
                    <a:pt x="0" y="142602"/>
                    <a:pt x="0" y="91941"/>
                  </a:cubicBezTo>
                  <a:cubicBezTo>
                    <a:pt x="0" y="41280"/>
                    <a:pt x="41279" y="0"/>
                    <a:pt x="91941" y="0"/>
                  </a:cubicBezTo>
                  <a:cubicBezTo>
                    <a:pt x="142602" y="0"/>
                    <a:pt x="183881" y="41280"/>
                    <a:pt x="183881" y="91941"/>
                  </a:cubicBezTo>
                  <a:cubicBezTo>
                    <a:pt x="183881" y="143228"/>
                    <a:pt x="142602" y="183882"/>
                    <a:pt x="91941" y="183882"/>
                  </a:cubicBezTo>
                  <a:lnTo>
                    <a:pt x="91941" y="183882"/>
                  </a:lnTo>
                  <a:close/>
                  <a:moveTo>
                    <a:pt x="91941" y="33774"/>
                  </a:moveTo>
                  <a:cubicBezTo>
                    <a:pt x="59418" y="33774"/>
                    <a:pt x="33774" y="60043"/>
                    <a:pt x="33774" y="91941"/>
                  </a:cubicBezTo>
                  <a:cubicBezTo>
                    <a:pt x="33774" y="124465"/>
                    <a:pt x="60043" y="150733"/>
                    <a:pt x="91941" y="150733"/>
                  </a:cubicBezTo>
                  <a:cubicBezTo>
                    <a:pt x="124464" y="150733"/>
                    <a:pt x="150733" y="124465"/>
                    <a:pt x="150733" y="91941"/>
                  </a:cubicBezTo>
                  <a:cubicBezTo>
                    <a:pt x="150108" y="60043"/>
                    <a:pt x="123838" y="33774"/>
                    <a:pt x="91941" y="33774"/>
                  </a:cubicBezTo>
                  <a:lnTo>
                    <a:pt x="91941" y="33774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49" name="Forma Livre: Forma 348">
              <a:extLst>
                <a:ext uri="{FF2B5EF4-FFF2-40B4-BE49-F238E27FC236}">
                  <a16:creationId xmlns:a16="http://schemas.microsoft.com/office/drawing/2014/main" id="{770C5F15-1AE2-4BE9-9822-F2946974C393}"/>
                </a:ext>
              </a:extLst>
            </p:cNvPr>
            <p:cNvSpPr/>
            <p:nvPr/>
          </p:nvSpPr>
          <p:spPr>
            <a:xfrm>
              <a:off x="9575802" y="5643193"/>
              <a:ext cx="171696" cy="107721"/>
            </a:xfrm>
            <a:custGeom>
              <a:avLst/>
              <a:gdLst>
                <a:gd name="connsiteX0" fmla="*/ 17170 w 171696"/>
                <a:gd name="connsiteY0" fmla="*/ 107722 h 107721"/>
                <a:gd name="connsiteX1" fmla="*/ 283 w 171696"/>
                <a:gd name="connsiteY1" fmla="*/ 92085 h 107721"/>
                <a:gd name="connsiteX2" fmla="*/ 20923 w 171696"/>
                <a:gd name="connsiteY2" fmla="*/ 29540 h 107721"/>
                <a:gd name="connsiteX3" fmla="*/ 79715 w 171696"/>
                <a:gd name="connsiteY3" fmla="*/ 144 h 107721"/>
                <a:gd name="connsiteX4" fmla="*/ 142260 w 171696"/>
                <a:gd name="connsiteY4" fmla="*/ 20784 h 107721"/>
                <a:gd name="connsiteX5" fmla="*/ 171657 w 171696"/>
                <a:gd name="connsiteY5" fmla="*/ 79576 h 107721"/>
                <a:gd name="connsiteX6" fmla="*/ 156020 w 171696"/>
                <a:gd name="connsiteY6" fmla="*/ 97089 h 107721"/>
                <a:gd name="connsiteX7" fmla="*/ 138508 w 171696"/>
                <a:gd name="connsiteY7" fmla="*/ 81453 h 107721"/>
                <a:gd name="connsiteX8" fmla="*/ 120369 w 171696"/>
                <a:gd name="connsiteY8" fmla="*/ 45177 h 107721"/>
                <a:gd name="connsiteX9" fmla="*/ 82217 w 171696"/>
                <a:gd name="connsiteY9" fmla="*/ 32668 h 107721"/>
                <a:gd name="connsiteX10" fmla="*/ 45941 w 171696"/>
                <a:gd name="connsiteY10" fmla="*/ 50806 h 107721"/>
                <a:gd name="connsiteX11" fmla="*/ 33432 w 171696"/>
                <a:gd name="connsiteY11" fmla="*/ 88958 h 107721"/>
                <a:gd name="connsiteX12" fmla="*/ 17796 w 171696"/>
                <a:gd name="connsiteY12" fmla="*/ 106471 h 107721"/>
                <a:gd name="connsiteX13" fmla="*/ 17170 w 171696"/>
                <a:gd name="connsiteY13" fmla="*/ 107722 h 107721"/>
                <a:gd name="connsiteX14" fmla="*/ 17170 w 171696"/>
                <a:gd name="connsiteY14" fmla="*/ 107722 h 107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1696" h="107721">
                  <a:moveTo>
                    <a:pt x="17170" y="107722"/>
                  </a:moveTo>
                  <a:cubicBezTo>
                    <a:pt x="8414" y="107722"/>
                    <a:pt x="909" y="100842"/>
                    <a:pt x="283" y="92085"/>
                  </a:cubicBezTo>
                  <a:cubicBezTo>
                    <a:pt x="-1593" y="68944"/>
                    <a:pt x="5913" y="47053"/>
                    <a:pt x="20923" y="29540"/>
                  </a:cubicBezTo>
                  <a:cubicBezTo>
                    <a:pt x="35934" y="12028"/>
                    <a:pt x="57199" y="2021"/>
                    <a:pt x="79715" y="144"/>
                  </a:cubicBezTo>
                  <a:cubicBezTo>
                    <a:pt x="102857" y="-1106"/>
                    <a:pt x="124748" y="5773"/>
                    <a:pt x="142260" y="20784"/>
                  </a:cubicBezTo>
                  <a:cubicBezTo>
                    <a:pt x="159773" y="35795"/>
                    <a:pt x="169780" y="57060"/>
                    <a:pt x="171657" y="79576"/>
                  </a:cubicBezTo>
                  <a:cubicBezTo>
                    <a:pt x="172282" y="88958"/>
                    <a:pt x="165402" y="96464"/>
                    <a:pt x="156020" y="97089"/>
                  </a:cubicBezTo>
                  <a:cubicBezTo>
                    <a:pt x="146639" y="97715"/>
                    <a:pt x="139133" y="90834"/>
                    <a:pt x="138508" y="81453"/>
                  </a:cubicBezTo>
                  <a:cubicBezTo>
                    <a:pt x="137257" y="67693"/>
                    <a:pt x="131002" y="54558"/>
                    <a:pt x="120369" y="45177"/>
                  </a:cubicBezTo>
                  <a:cubicBezTo>
                    <a:pt x="109737" y="35795"/>
                    <a:pt x="96603" y="31417"/>
                    <a:pt x="82217" y="32668"/>
                  </a:cubicBezTo>
                  <a:cubicBezTo>
                    <a:pt x="68458" y="33919"/>
                    <a:pt x="55323" y="40173"/>
                    <a:pt x="45941" y="50806"/>
                  </a:cubicBezTo>
                  <a:cubicBezTo>
                    <a:pt x="36559" y="61439"/>
                    <a:pt x="32181" y="75198"/>
                    <a:pt x="33432" y="88958"/>
                  </a:cubicBezTo>
                  <a:cubicBezTo>
                    <a:pt x="34058" y="98340"/>
                    <a:pt x="27177" y="105845"/>
                    <a:pt x="17796" y="106471"/>
                  </a:cubicBezTo>
                  <a:cubicBezTo>
                    <a:pt x="18422" y="107722"/>
                    <a:pt x="17796" y="107722"/>
                    <a:pt x="17170" y="107722"/>
                  </a:cubicBezTo>
                  <a:lnTo>
                    <a:pt x="17170" y="107722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50" name="Forma Livre: Forma 349">
              <a:extLst>
                <a:ext uri="{FF2B5EF4-FFF2-40B4-BE49-F238E27FC236}">
                  <a16:creationId xmlns:a16="http://schemas.microsoft.com/office/drawing/2014/main" id="{A2070E1C-5CFF-4C99-AC2E-770DB514BF3B}"/>
                </a:ext>
              </a:extLst>
            </p:cNvPr>
            <p:cNvSpPr/>
            <p:nvPr/>
          </p:nvSpPr>
          <p:spPr>
            <a:xfrm>
              <a:off x="9592236" y="5870891"/>
              <a:ext cx="148452" cy="80793"/>
            </a:xfrm>
            <a:custGeom>
              <a:avLst/>
              <a:gdLst>
                <a:gd name="connsiteX0" fmla="*/ 8242 w 148452"/>
                <a:gd name="connsiteY0" fmla="*/ 80794 h 80793"/>
                <a:gd name="connsiteX1" fmla="*/ 736 w 148452"/>
                <a:gd name="connsiteY1" fmla="*/ 75790 h 80793"/>
                <a:gd name="connsiteX2" fmla="*/ 4488 w 148452"/>
                <a:gd name="connsiteY2" fmla="*/ 64532 h 80793"/>
                <a:gd name="connsiteX3" fmla="*/ 136459 w 148452"/>
                <a:gd name="connsiteY3" fmla="*/ 736 h 80793"/>
                <a:gd name="connsiteX4" fmla="*/ 147716 w 148452"/>
                <a:gd name="connsiteY4" fmla="*/ 4489 h 80793"/>
                <a:gd name="connsiteX5" fmla="*/ 143964 w 148452"/>
                <a:gd name="connsiteY5" fmla="*/ 15747 h 80793"/>
                <a:gd name="connsiteX6" fmla="*/ 11994 w 148452"/>
                <a:gd name="connsiteY6" fmla="*/ 79543 h 80793"/>
                <a:gd name="connsiteX7" fmla="*/ 8242 w 148452"/>
                <a:gd name="connsiteY7" fmla="*/ 80794 h 80793"/>
                <a:gd name="connsiteX8" fmla="*/ 8242 w 148452"/>
                <a:gd name="connsiteY8" fmla="*/ 80794 h 80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8452" h="80793">
                  <a:moveTo>
                    <a:pt x="8242" y="80794"/>
                  </a:moveTo>
                  <a:cubicBezTo>
                    <a:pt x="5115" y="80794"/>
                    <a:pt x="1987" y="78917"/>
                    <a:pt x="736" y="75790"/>
                  </a:cubicBezTo>
                  <a:cubicBezTo>
                    <a:pt x="-1140" y="71412"/>
                    <a:pt x="736" y="66408"/>
                    <a:pt x="4488" y="64532"/>
                  </a:cubicBezTo>
                  <a:lnTo>
                    <a:pt x="136459" y="736"/>
                  </a:lnTo>
                  <a:cubicBezTo>
                    <a:pt x="140837" y="-1140"/>
                    <a:pt x="145841" y="736"/>
                    <a:pt x="147716" y="4489"/>
                  </a:cubicBezTo>
                  <a:cubicBezTo>
                    <a:pt x="149593" y="8867"/>
                    <a:pt x="147716" y="13871"/>
                    <a:pt x="143964" y="15747"/>
                  </a:cubicBezTo>
                  <a:lnTo>
                    <a:pt x="11994" y="79543"/>
                  </a:lnTo>
                  <a:cubicBezTo>
                    <a:pt x="10743" y="80794"/>
                    <a:pt x="9492" y="80794"/>
                    <a:pt x="8242" y="80794"/>
                  </a:cubicBezTo>
                  <a:lnTo>
                    <a:pt x="8242" y="80794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51" name="Forma Livre: Forma 350">
              <a:extLst>
                <a:ext uri="{FF2B5EF4-FFF2-40B4-BE49-F238E27FC236}">
                  <a16:creationId xmlns:a16="http://schemas.microsoft.com/office/drawing/2014/main" id="{0EEBABBA-4CA0-4508-980D-0CD0E1618626}"/>
                </a:ext>
              </a:extLst>
            </p:cNvPr>
            <p:cNvSpPr/>
            <p:nvPr/>
          </p:nvSpPr>
          <p:spPr>
            <a:xfrm>
              <a:off x="9597865" y="5908417"/>
              <a:ext cx="148453" cy="80793"/>
            </a:xfrm>
            <a:custGeom>
              <a:avLst/>
              <a:gdLst>
                <a:gd name="connsiteX0" fmla="*/ 8241 w 148453"/>
                <a:gd name="connsiteY0" fmla="*/ 80794 h 80793"/>
                <a:gd name="connsiteX1" fmla="*/ 736 w 148453"/>
                <a:gd name="connsiteY1" fmla="*/ 75790 h 80793"/>
                <a:gd name="connsiteX2" fmla="*/ 4489 w 148453"/>
                <a:gd name="connsiteY2" fmla="*/ 64532 h 80793"/>
                <a:gd name="connsiteX3" fmla="*/ 136458 w 148453"/>
                <a:gd name="connsiteY3" fmla="*/ 736 h 80793"/>
                <a:gd name="connsiteX4" fmla="*/ 147717 w 148453"/>
                <a:gd name="connsiteY4" fmla="*/ 4489 h 80793"/>
                <a:gd name="connsiteX5" fmla="*/ 143964 w 148453"/>
                <a:gd name="connsiteY5" fmla="*/ 15747 h 80793"/>
                <a:gd name="connsiteX6" fmla="*/ 11995 w 148453"/>
                <a:gd name="connsiteY6" fmla="*/ 79543 h 80793"/>
                <a:gd name="connsiteX7" fmla="*/ 8241 w 148453"/>
                <a:gd name="connsiteY7" fmla="*/ 80794 h 80793"/>
                <a:gd name="connsiteX8" fmla="*/ 8241 w 148453"/>
                <a:gd name="connsiteY8" fmla="*/ 80794 h 80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8453" h="80793">
                  <a:moveTo>
                    <a:pt x="8241" y="80794"/>
                  </a:moveTo>
                  <a:cubicBezTo>
                    <a:pt x="5114" y="80794"/>
                    <a:pt x="1987" y="78917"/>
                    <a:pt x="736" y="75790"/>
                  </a:cubicBezTo>
                  <a:cubicBezTo>
                    <a:pt x="-1140" y="71412"/>
                    <a:pt x="736" y="66408"/>
                    <a:pt x="4489" y="64532"/>
                  </a:cubicBezTo>
                  <a:lnTo>
                    <a:pt x="136458" y="736"/>
                  </a:lnTo>
                  <a:cubicBezTo>
                    <a:pt x="140837" y="-1140"/>
                    <a:pt x="145840" y="736"/>
                    <a:pt x="147717" y="4489"/>
                  </a:cubicBezTo>
                  <a:cubicBezTo>
                    <a:pt x="149593" y="8867"/>
                    <a:pt x="147717" y="13871"/>
                    <a:pt x="143964" y="15747"/>
                  </a:cubicBezTo>
                  <a:lnTo>
                    <a:pt x="11995" y="79543"/>
                  </a:lnTo>
                  <a:cubicBezTo>
                    <a:pt x="10743" y="80794"/>
                    <a:pt x="9493" y="80794"/>
                    <a:pt x="8241" y="80794"/>
                  </a:cubicBezTo>
                  <a:lnTo>
                    <a:pt x="8241" y="80794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52" name="Forma Livre: Forma 351">
              <a:extLst>
                <a:ext uri="{FF2B5EF4-FFF2-40B4-BE49-F238E27FC236}">
                  <a16:creationId xmlns:a16="http://schemas.microsoft.com/office/drawing/2014/main" id="{12647884-D8B8-430D-B95E-00771E753425}"/>
                </a:ext>
              </a:extLst>
            </p:cNvPr>
            <p:cNvSpPr/>
            <p:nvPr/>
          </p:nvSpPr>
          <p:spPr>
            <a:xfrm>
              <a:off x="9654781" y="5872141"/>
              <a:ext cx="65268" cy="118320"/>
            </a:xfrm>
            <a:custGeom>
              <a:avLst/>
              <a:gdLst>
                <a:gd name="connsiteX0" fmla="*/ 57026 w 65268"/>
                <a:gd name="connsiteY0" fmla="*/ 118320 h 118320"/>
                <a:gd name="connsiteX1" fmla="*/ 49521 w 65268"/>
                <a:gd name="connsiteY1" fmla="*/ 113317 h 118320"/>
                <a:gd name="connsiteX2" fmla="*/ 736 w 65268"/>
                <a:gd name="connsiteY2" fmla="*/ 11994 h 118320"/>
                <a:gd name="connsiteX3" fmla="*/ 4488 w 65268"/>
                <a:gd name="connsiteY3" fmla="*/ 736 h 118320"/>
                <a:gd name="connsiteX4" fmla="*/ 15747 w 65268"/>
                <a:gd name="connsiteY4" fmla="*/ 4489 h 118320"/>
                <a:gd name="connsiteX5" fmla="*/ 64532 w 65268"/>
                <a:gd name="connsiteY5" fmla="*/ 105811 h 118320"/>
                <a:gd name="connsiteX6" fmla="*/ 60779 w 65268"/>
                <a:gd name="connsiteY6" fmla="*/ 117070 h 118320"/>
                <a:gd name="connsiteX7" fmla="*/ 57026 w 65268"/>
                <a:gd name="connsiteY7" fmla="*/ 118320 h 118320"/>
                <a:gd name="connsiteX8" fmla="*/ 57026 w 65268"/>
                <a:gd name="connsiteY8" fmla="*/ 118320 h 118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5268" h="118320">
                  <a:moveTo>
                    <a:pt x="57026" y="118320"/>
                  </a:moveTo>
                  <a:cubicBezTo>
                    <a:pt x="53899" y="118320"/>
                    <a:pt x="50772" y="116444"/>
                    <a:pt x="49521" y="113317"/>
                  </a:cubicBezTo>
                  <a:lnTo>
                    <a:pt x="736" y="11994"/>
                  </a:lnTo>
                  <a:cubicBezTo>
                    <a:pt x="-1140" y="7616"/>
                    <a:pt x="736" y="2612"/>
                    <a:pt x="4488" y="736"/>
                  </a:cubicBezTo>
                  <a:cubicBezTo>
                    <a:pt x="8867" y="-1140"/>
                    <a:pt x="13870" y="736"/>
                    <a:pt x="15747" y="4489"/>
                  </a:cubicBezTo>
                  <a:lnTo>
                    <a:pt x="64532" y="105811"/>
                  </a:lnTo>
                  <a:cubicBezTo>
                    <a:pt x="66408" y="110190"/>
                    <a:pt x="64532" y="115193"/>
                    <a:pt x="60779" y="117070"/>
                  </a:cubicBezTo>
                  <a:cubicBezTo>
                    <a:pt x="59528" y="118320"/>
                    <a:pt x="58278" y="118320"/>
                    <a:pt x="57026" y="118320"/>
                  </a:cubicBezTo>
                  <a:lnTo>
                    <a:pt x="57026" y="11832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53" name="Forma Livre: Forma 352">
              <a:extLst>
                <a:ext uri="{FF2B5EF4-FFF2-40B4-BE49-F238E27FC236}">
                  <a16:creationId xmlns:a16="http://schemas.microsoft.com/office/drawing/2014/main" id="{177F6355-D812-4CCD-8B6B-2569DC901752}"/>
                </a:ext>
              </a:extLst>
            </p:cNvPr>
            <p:cNvSpPr/>
            <p:nvPr/>
          </p:nvSpPr>
          <p:spPr>
            <a:xfrm>
              <a:off x="9612251" y="5882149"/>
              <a:ext cx="80278" cy="148967"/>
            </a:xfrm>
            <a:custGeom>
              <a:avLst/>
              <a:gdLst>
                <a:gd name="connsiteX0" fmla="*/ 72037 w 80278"/>
                <a:gd name="connsiteY0" fmla="*/ 148967 h 148967"/>
                <a:gd name="connsiteX1" fmla="*/ 64532 w 80278"/>
                <a:gd name="connsiteY1" fmla="*/ 143964 h 148967"/>
                <a:gd name="connsiteX2" fmla="*/ 736 w 80278"/>
                <a:gd name="connsiteY2" fmla="*/ 11994 h 148967"/>
                <a:gd name="connsiteX3" fmla="*/ 4489 w 80278"/>
                <a:gd name="connsiteY3" fmla="*/ 736 h 148967"/>
                <a:gd name="connsiteX4" fmla="*/ 15746 w 80278"/>
                <a:gd name="connsiteY4" fmla="*/ 4489 h 148967"/>
                <a:gd name="connsiteX5" fmla="*/ 79543 w 80278"/>
                <a:gd name="connsiteY5" fmla="*/ 136458 h 148967"/>
                <a:gd name="connsiteX6" fmla="*/ 75790 w 80278"/>
                <a:gd name="connsiteY6" fmla="*/ 147717 h 148967"/>
                <a:gd name="connsiteX7" fmla="*/ 72037 w 80278"/>
                <a:gd name="connsiteY7" fmla="*/ 148967 h 148967"/>
                <a:gd name="connsiteX8" fmla="*/ 72037 w 80278"/>
                <a:gd name="connsiteY8" fmla="*/ 148967 h 1489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0278" h="148967">
                  <a:moveTo>
                    <a:pt x="72037" y="148967"/>
                  </a:moveTo>
                  <a:cubicBezTo>
                    <a:pt x="68910" y="148967"/>
                    <a:pt x="65782" y="147091"/>
                    <a:pt x="64532" y="143964"/>
                  </a:cubicBezTo>
                  <a:lnTo>
                    <a:pt x="736" y="11994"/>
                  </a:lnTo>
                  <a:cubicBezTo>
                    <a:pt x="-1140" y="7616"/>
                    <a:pt x="736" y="2613"/>
                    <a:pt x="4489" y="736"/>
                  </a:cubicBezTo>
                  <a:cubicBezTo>
                    <a:pt x="8867" y="-1140"/>
                    <a:pt x="13871" y="736"/>
                    <a:pt x="15746" y="4489"/>
                  </a:cubicBezTo>
                  <a:lnTo>
                    <a:pt x="79543" y="136458"/>
                  </a:lnTo>
                  <a:cubicBezTo>
                    <a:pt x="81419" y="140837"/>
                    <a:pt x="79543" y="145840"/>
                    <a:pt x="75790" y="147717"/>
                  </a:cubicBezTo>
                  <a:cubicBezTo>
                    <a:pt x="73913" y="148342"/>
                    <a:pt x="72663" y="148967"/>
                    <a:pt x="72037" y="148967"/>
                  </a:cubicBezTo>
                  <a:lnTo>
                    <a:pt x="72037" y="148967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54" name="Forma Livre: Forma 353">
              <a:extLst>
                <a:ext uri="{FF2B5EF4-FFF2-40B4-BE49-F238E27FC236}">
                  <a16:creationId xmlns:a16="http://schemas.microsoft.com/office/drawing/2014/main" id="{133398CB-2157-4891-B1CE-66DF268CE7BE}"/>
                </a:ext>
              </a:extLst>
            </p:cNvPr>
            <p:cNvSpPr/>
            <p:nvPr/>
          </p:nvSpPr>
          <p:spPr>
            <a:xfrm>
              <a:off x="9621632" y="5965959"/>
              <a:ext cx="92787" cy="53899"/>
            </a:xfrm>
            <a:custGeom>
              <a:avLst/>
              <a:gdLst>
                <a:gd name="connsiteX0" fmla="*/ 8241 w 92787"/>
                <a:gd name="connsiteY0" fmla="*/ 53899 h 53899"/>
                <a:gd name="connsiteX1" fmla="*/ 736 w 92787"/>
                <a:gd name="connsiteY1" fmla="*/ 48896 h 53899"/>
                <a:gd name="connsiteX2" fmla="*/ 4489 w 92787"/>
                <a:gd name="connsiteY2" fmla="*/ 37638 h 53899"/>
                <a:gd name="connsiteX3" fmla="*/ 80793 w 92787"/>
                <a:gd name="connsiteY3" fmla="*/ 736 h 53899"/>
                <a:gd name="connsiteX4" fmla="*/ 92052 w 92787"/>
                <a:gd name="connsiteY4" fmla="*/ 4489 h 53899"/>
                <a:gd name="connsiteX5" fmla="*/ 88299 w 92787"/>
                <a:gd name="connsiteY5" fmla="*/ 15747 h 53899"/>
                <a:gd name="connsiteX6" fmla="*/ 11994 w 92787"/>
                <a:gd name="connsiteY6" fmla="*/ 52648 h 53899"/>
                <a:gd name="connsiteX7" fmla="*/ 8241 w 92787"/>
                <a:gd name="connsiteY7" fmla="*/ 53899 h 53899"/>
                <a:gd name="connsiteX8" fmla="*/ 8241 w 92787"/>
                <a:gd name="connsiteY8" fmla="*/ 53899 h 53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2787" h="53899">
                  <a:moveTo>
                    <a:pt x="8241" y="53899"/>
                  </a:moveTo>
                  <a:cubicBezTo>
                    <a:pt x="5114" y="53899"/>
                    <a:pt x="1987" y="52023"/>
                    <a:pt x="736" y="48896"/>
                  </a:cubicBezTo>
                  <a:cubicBezTo>
                    <a:pt x="-1140" y="44518"/>
                    <a:pt x="736" y="39514"/>
                    <a:pt x="4489" y="37638"/>
                  </a:cubicBezTo>
                  <a:lnTo>
                    <a:pt x="80793" y="736"/>
                  </a:lnTo>
                  <a:cubicBezTo>
                    <a:pt x="85172" y="-1140"/>
                    <a:pt x="90175" y="736"/>
                    <a:pt x="92052" y="4489"/>
                  </a:cubicBezTo>
                  <a:cubicBezTo>
                    <a:pt x="93928" y="8867"/>
                    <a:pt x="92052" y="13871"/>
                    <a:pt x="88299" y="15747"/>
                  </a:cubicBezTo>
                  <a:lnTo>
                    <a:pt x="11994" y="52648"/>
                  </a:lnTo>
                  <a:cubicBezTo>
                    <a:pt x="10743" y="53899"/>
                    <a:pt x="9492" y="53899"/>
                    <a:pt x="8241" y="53899"/>
                  </a:cubicBezTo>
                  <a:lnTo>
                    <a:pt x="8241" y="53899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55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10503999" y="5676397"/>
            <a:ext cx="391595" cy="391620"/>
            <a:chOff x="10491662" y="5676397"/>
            <a:chExt cx="391595" cy="391620"/>
          </a:xfrm>
          <a:solidFill>
            <a:srgbClr val="B1B1A1"/>
          </a:solidFill>
        </p:grpSpPr>
        <p:sp>
          <p:nvSpPr>
            <p:cNvPr id="356" name="Forma Livre: Forma 355">
              <a:extLst>
                <a:ext uri="{FF2B5EF4-FFF2-40B4-BE49-F238E27FC236}">
                  <a16:creationId xmlns:a16="http://schemas.microsoft.com/office/drawing/2014/main" id="{181DC7DB-1964-4B30-B260-C0D28D1F2388}"/>
                </a:ext>
              </a:extLst>
            </p:cNvPr>
            <p:cNvSpPr/>
            <p:nvPr/>
          </p:nvSpPr>
          <p:spPr>
            <a:xfrm>
              <a:off x="10491662" y="5760922"/>
              <a:ext cx="307236" cy="307095"/>
            </a:xfrm>
            <a:custGeom>
              <a:avLst/>
              <a:gdLst>
                <a:gd name="connsiteX0" fmla="*/ 26975 w 307236"/>
                <a:gd name="connsiteY0" fmla="*/ 307095 h 307095"/>
                <a:gd name="connsiteX1" fmla="*/ 26975 w 307236"/>
                <a:gd name="connsiteY1" fmla="*/ 307095 h 307095"/>
                <a:gd name="connsiteX2" fmla="*/ 4459 w 307236"/>
                <a:gd name="connsiteY2" fmla="*/ 295837 h 307095"/>
                <a:gd name="connsiteX3" fmla="*/ 3833 w 307236"/>
                <a:gd name="connsiteY3" fmla="*/ 262689 h 307095"/>
                <a:gd name="connsiteX4" fmla="*/ 28851 w 307236"/>
                <a:gd name="connsiteY4" fmla="*/ 201394 h 307095"/>
                <a:gd name="connsiteX5" fmla="*/ 31979 w 307236"/>
                <a:gd name="connsiteY5" fmla="*/ 196391 h 307095"/>
                <a:gd name="connsiteX6" fmla="*/ 33229 w 307236"/>
                <a:gd name="connsiteY6" fmla="*/ 190136 h 307095"/>
                <a:gd name="connsiteX7" fmla="*/ 56371 w 307236"/>
                <a:gd name="connsiteY7" fmla="*/ 134472 h 307095"/>
                <a:gd name="connsiteX8" fmla="*/ 63876 w 307236"/>
                <a:gd name="connsiteY8" fmla="*/ 126340 h 307095"/>
                <a:gd name="connsiteX9" fmla="*/ 64502 w 307236"/>
                <a:gd name="connsiteY9" fmla="*/ 115708 h 307095"/>
                <a:gd name="connsiteX10" fmla="*/ 83890 w 307236"/>
                <a:gd name="connsiteY10" fmla="*/ 68174 h 307095"/>
                <a:gd name="connsiteX11" fmla="*/ 95149 w 307236"/>
                <a:gd name="connsiteY11" fmla="*/ 58167 h 307095"/>
                <a:gd name="connsiteX12" fmla="*/ 97651 w 307236"/>
                <a:gd name="connsiteY12" fmla="*/ 57541 h 307095"/>
                <a:gd name="connsiteX13" fmla="*/ 97651 w 307236"/>
                <a:gd name="connsiteY13" fmla="*/ 57541 h 307095"/>
                <a:gd name="connsiteX14" fmla="*/ 95774 w 307236"/>
                <a:gd name="connsiteY14" fmla="*/ 41280 h 307095"/>
                <a:gd name="connsiteX15" fmla="*/ 102029 w 307236"/>
                <a:gd name="connsiteY15" fmla="*/ 26269 h 307095"/>
                <a:gd name="connsiteX16" fmla="*/ 137680 w 307236"/>
                <a:gd name="connsiteY16" fmla="*/ 0 h 307095"/>
                <a:gd name="connsiteX17" fmla="*/ 167075 w 307236"/>
                <a:gd name="connsiteY17" fmla="*/ 13134 h 307095"/>
                <a:gd name="connsiteX18" fmla="*/ 294042 w 307236"/>
                <a:gd name="connsiteY18" fmla="*/ 140100 h 307095"/>
                <a:gd name="connsiteX19" fmla="*/ 306551 w 307236"/>
                <a:gd name="connsiteY19" fmla="*/ 176376 h 307095"/>
                <a:gd name="connsiteX20" fmla="*/ 280907 w 307236"/>
                <a:gd name="connsiteY20" fmla="*/ 205147 h 307095"/>
                <a:gd name="connsiteX21" fmla="*/ 44488 w 307236"/>
                <a:gd name="connsiteY21" fmla="*/ 302717 h 307095"/>
                <a:gd name="connsiteX22" fmla="*/ 26975 w 307236"/>
                <a:gd name="connsiteY22" fmla="*/ 307095 h 307095"/>
                <a:gd name="connsiteX23" fmla="*/ 26975 w 307236"/>
                <a:gd name="connsiteY23" fmla="*/ 307095 h 307095"/>
                <a:gd name="connsiteX24" fmla="*/ 26975 w 307236"/>
                <a:gd name="connsiteY24" fmla="*/ 273947 h 307095"/>
                <a:gd name="connsiteX25" fmla="*/ 26975 w 307236"/>
                <a:gd name="connsiteY25" fmla="*/ 290834 h 307095"/>
                <a:gd name="connsiteX26" fmla="*/ 26975 w 307236"/>
                <a:gd name="connsiteY26" fmla="*/ 273947 h 307095"/>
                <a:gd name="connsiteX27" fmla="*/ 26975 w 307236"/>
                <a:gd name="connsiteY27" fmla="*/ 273947 h 307095"/>
                <a:gd name="connsiteX28" fmla="*/ 26975 w 307236"/>
                <a:gd name="connsiteY28" fmla="*/ 273947 h 307095"/>
                <a:gd name="connsiteX29" fmla="*/ 51993 w 307236"/>
                <a:gd name="connsiteY29" fmla="*/ 233918 h 307095"/>
                <a:gd name="connsiteX30" fmla="*/ 36982 w 307236"/>
                <a:gd name="connsiteY30" fmla="*/ 270194 h 307095"/>
                <a:gd name="connsiteX31" fmla="*/ 268398 w 307236"/>
                <a:gd name="connsiteY31" fmla="*/ 174500 h 307095"/>
                <a:gd name="connsiteX32" fmla="*/ 274027 w 307236"/>
                <a:gd name="connsiteY32" fmla="*/ 170122 h 307095"/>
                <a:gd name="connsiteX33" fmla="*/ 270275 w 307236"/>
                <a:gd name="connsiteY33" fmla="*/ 163867 h 307095"/>
                <a:gd name="connsiteX34" fmla="*/ 143308 w 307236"/>
                <a:gd name="connsiteY34" fmla="*/ 36901 h 307095"/>
                <a:gd name="connsiteX35" fmla="*/ 132050 w 307236"/>
                <a:gd name="connsiteY35" fmla="*/ 39403 h 307095"/>
                <a:gd name="connsiteX36" fmla="*/ 129549 w 307236"/>
                <a:gd name="connsiteY36" fmla="*/ 45658 h 307095"/>
                <a:gd name="connsiteX37" fmla="*/ 188341 w 307236"/>
                <a:gd name="connsiteY37" fmla="*/ 123213 h 307095"/>
                <a:gd name="connsiteX38" fmla="*/ 187090 w 307236"/>
                <a:gd name="connsiteY38" fmla="*/ 145104 h 307095"/>
                <a:gd name="connsiteX39" fmla="*/ 165199 w 307236"/>
                <a:gd name="connsiteY39" fmla="*/ 146355 h 307095"/>
                <a:gd name="connsiteX40" fmla="*/ 106407 w 307236"/>
                <a:gd name="connsiteY40" fmla="*/ 101322 h 307095"/>
                <a:gd name="connsiteX41" fmla="*/ 98901 w 307236"/>
                <a:gd name="connsiteY41" fmla="*/ 120086 h 307095"/>
                <a:gd name="connsiteX42" fmla="*/ 138930 w 307236"/>
                <a:gd name="connsiteY42" fmla="*/ 172624 h 307095"/>
                <a:gd name="connsiteX43" fmla="*/ 137680 w 307236"/>
                <a:gd name="connsiteY43" fmla="*/ 194515 h 307095"/>
                <a:gd name="connsiteX44" fmla="*/ 115789 w 307236"/>
                <a:gd name="connsiteY44" fmla="*/ 195766 h 307095"/>
                <a:gd name="connsiteX45" fmla="*/ 79513 w 307236"/>
                <a:gd name="connsiteY45" fmla="*/ 167620 h 307095"/>
                <a:gd name="connsiteX46" fmla="*/ 68254 w 307236"/>
                <a:gd name="connsiteY46" fmla="*/ 193889 h 307095"/>
                <a:gd name="connsiteX47" fmla="*/ 89520 w 307236"/>
                <a:gd name="connsiteY47" fmla="*/ 221409 h 307095"/>
                <a:gd name="connsiteX48" fmla="*/ 88269 w 307236"/>
                <a:gd name="connsiteY48" fmla="*/ 243300 h 307095"/>
                <a:gd name="connsiteX49" fmla="*/ 66378 w 307236"/>
                <a:gd name="connsiteY49" fmla="*/ 244551 h 307095"/>
                <a:gd name="connsiteX50" fmla="*/ 51993 w 307236"/>
                <a:gd name="connsiteY50" fmla="*/ 233918 h 307095"/>
                <a:gd name="connsiteX51" fmla="*/ 51993 w 307236"/>
                <a:gd name="connsiteY51" fmla="*/ 233918 h 307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307236" h="307095">
                  <a:moveTo>
                    <a:pt x="26975" y="307095"/>
                  </a:moveTo>
                  <a:lnTo>
                    <a:pt x="26975" y="307095"/>
                  </a:lnTo>
                  <a:cubicBezTo>
                    <a:pt x="17593" y="307095"/>
                    <a:pt x="9463" y="302717"/>
                    <a:pt x="4459" y="295837"/>
                  </a:cubicBezTo>
                  <a:cubicBezTo>
                    <a:pt x="706" y="289583"/>
                    <a:pt x="-3046" y="278950"/>
                    <a:pt x="3833" y="262689"/>
                  </a:cubicBezTo>
                  <a:lnTo>
                    <a:pt x="28851" y="201394"/>
                  </a:lnTo>
                  <a:cubicBezTo>
                    <a:pt x="29477" y="199518"/>
                    <a:pt x="30727" y="197642"/>
                    <a:pt x="31979" y="196391"/>
                  </a:cubicBezTo>
                  <a:cubicBezTo>
                    <a:pt x="31979" y="194515"/>
                    <a:pt x="32604" y="192013"/>
                    <a:pt x="33229" y="190136"/>
                  </a:cubicBezTo>
                  <a:lnTo>
                    <a:pt x="56371" y="134472"/>
                  </a:lnTo>
                  <a:cubicBezTo>
                    <a:pt x="57622" y="130719"/>
                    <a:pt x="60124" y="128217"/>
                    <a:pt x="63876" y="126340"/>
                  </a:cubicBezTo>
                  <a:cubicBezTo>
                    <a:pt x="62626" y="122588"/>
                    <a:pt x="63251" y="118835"/>
                    <a:pt x="64502" y="115708"/>
                  </a:cubicBezTo>
                  <a:lnTo>
                    <a:pt x="83890" y="68174"/>
                  </a:lnTo>
                  <a:cubicBezTo>
                    <a:pt x="85767" y="63170"/>
                    <a:pt x="90145" y="60043"/>
                    <a:pt x="95149" y="58167"/>
                  </a:cubicBezTo>
                  <a:cubicBezTo>
                    <a:pt x="95774" y="58167"/>
                    <a:pt x="96399" y="57541"/>
                    <a:pt x="97651" y="57541"/>
                  </a:cubicBezTo>
                  <a:lnTo>
                    <a:pt x="97651" y="57541"/>
                  </a:lnTo>
                  <a:cubicBezTo>
                    <a:pt x="93898" y="52538"/>
                    <a:pt x="93272" y="46283"/>
                    <a:pt x="95774" y="41280"/>
                  </a:cubicBezTo>
                  <a:lnTo>
                    <a:pt x="102029" y="26269"/>
                  </a:lnTo>
                  <a:cubicBezTo>
                    <a:pt x="108908" y="10007"/>
                    <a:pt x="122043" y="0"/>
                    <a:pt x="137680" y="0"/>
                  </a:cubicBezTo>
                  <a:cubicBezTo>
                    <a:pt x="148312" y="0"/>
                    <a:pt x="158944" y="5004"/>
                    <a:pt x="167075" y="13134"/>
                  </a:cubicBezTo>
                  <a:lnTo>
                    <a:pt x="294042" y="140100"/>
                  </a:lnTo>
                  <a:cubicBezTo>
                    <a:pt x="304674" y="150733"/>
                    <a:pt x="309052" y="163867"/>
                    <a:pt x="306551" y="176376"/>
                  </a:cubicBezTo>
                  <a:cubicBezTo>
                    <a:pt x="304049" y="188885"/>
                    <a:pt x="294667" y="199518"/>
                    <a:pt x="280907" y="205147"/>
                  </a:cubicBezTo>
                  <a:lnTo>
                    <a:pt x="44488" y="302717"/>
                  </a:lnTo>
                  <a:cubicBezTo>
                    <a:pt x="38233" y="305844"/>
                    <a:pt x="32604" y="307095"/>
                    <a:pt x="26975" y="307095"/>
                  </a:cubicBezTo>
                  <a:lnTo>
                    <a:pt x="26975" y="307095"/>
                  </a:lnTo>
                  <a:close/>
                  <a:moveTo>
                    <a:pt x="26975" y="273947"/>
                  </a:moveTo>
                  <a:lnTo>
                    <a:pt x="26975" y="290834"/>
                  </a:lnTo>
                  <a:lnTo>
                    <a:pt x="26975" y="273947"/>
                  </a:lnTo>
                  <a:lnTo>
                    <a:pt x="26975" y="273947"/>
                  </a:lnTo>
                  <a:lnTo>
                    <a:pt x="26975" y="273947"/>
                  </a:lnTo>
                  <a:close/>
                  <a:moveTo>
                    <a:pt x="51993" y="233918"/>
                  </a:moveTo>
                  <a:lnTo>
                    <a:pt x="36982" y="270194"/>
                  </a:lnTo>
                  <a:lnTo>
                    <a:pt x="268398" y="174500"/>
                  </a:lnTo>
                  <a:cubicBezTo>
                    <a:pt x="272151" y="173249"/>
                    <a:pt x="274027" y="170748"/>
                    <a:pt x="274027" y="170122"/>
                  </a:cubicBezTo>
                  <a:cubicBezTo>
                    <a:pt x="274027" y="168871"/>
                    <a:pt x="273402" y="166369"/>
                    <a:pt x="270275" y="163867"/>
                  </a:cubicBezTo>
                  <a:lnTo>
                    <a:pt x="143308" y="36901"/>
                  </a:lnTo>
                  <a:cubicBezTo>
                    <a:pt x="137054" y="30647"/>
                    <a:pt x="134552" y="33149"/>
                    <a:pt x="132050" y="39403"/>
                  </a:cubicBezTo>
                  <a:lnTo>
                    <a:pt x="129549" y="45658"/>
                  </a:lnTo>
                  <a:lnTo>
                    <a:pt x="188341" y="123213"/>
                  </a:lnTo>
                  <a:cubicBezTo>
                    <a:pt x="193344" y="130093"/>
                    <a:pt x="192719" y="139475"/>
                    <a:pt x="187090" y="145104"/>
                  </a:cubicBezTo>
                  <a:cubicBezTo>
                    <a:pt x="181461" y="150733"/>
                    <a:pt x="172079" y="151358"/>
                    <a:pt x="165199" y="146355"/>
                  </a:cubicBezTo>
                  <a:lnTo>
                    <a:pt x="106407" y="101322"/>
                  </a:lnTo>
                  <a:lnTo>
                    <a:pt x="98901" y="120086"/>
                  </a:lnTo>
                  <a:lnTo>
                    <a:pt x="138930" y="172624"/>
                  </a:lnTo>
                  <a:cubicBezTo>
                    <a:pt x="143934" y="179504"/>
                    <a:pt x="143308" y="188885"/>
                    <a:pt x="137680" y="194515"/>
                  </a:cubicBezTo>
                  <a:cubicBezTo>
                    <a:pt x="132050" y="200144"/>
                    <a:pt x="122669" y="200769"/>
                    <a:pt x="115789" y="195766"/>
                  </a:cubicBezTo>
                  <a:lnTo>
                    <a:pt x="79513" y="167620"/>
                  </a:lnTo>
                  <a:lnTo>
                    <a:pt x="68254" y="193889"/>
                  </a:lnTo>
                  <a:lnTo>
                    <a:pt x="89520" y="221409"/>
                  </a:lnTo>
                  <a:cubicBezTo>
                    <a:pt x="94524" y="228289"/>
                    <a:pt x="93898" y="237671"/>
                    <a:pt x="88269" y="243300"/>
                  </a:cubicBezTo>
                  <a:cubicBezTo>
                    <a:pt x="82640" y="248929"/>
                    <a:pt x="73258" y="249554"/>
                    <a:pt x="66378" y="244551"/>
                  </a:cubicBezTo>
                  <a:lnTo>
                    <a:pt x="51993" y="233918"/>
                  </a:lnTo>
                  <a:lnTo>
                    <a:pt x="51993" y="233918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57" name="Forma Livre: Forma 356">
              <a:extLst>
                <a:ext uri="{FF2B5EF4-FFF2-40B4-BE49-F238E27FC236}">
                  <a16:creationId xmlns:a16="http://schemas.microsoft.com/office/drawing/2014/main" id="{EE0D9902-78F7-40F1-BD43-45763CBC86EF}"/>
                </a:ext>
              </a:extLst>
            </p:cNvPr>
            <p:cNvSpPr/>
            <p:nvPr/>
          </p:nvSpPr>
          <p:spPr>
            <a:xfrm>
              <a:off x="10701379" y="5700566"/>
              <a:ext cx="158753" cy="159176"/>
            </a:xfrm>
            <a:custGeom>
              <a:avLst/>
              <a:gdLst>
                <a:gd name="connsiteX0" fmla="*/ 21780 w 158753"/>
                <a:gd name="connsiteY0" fmla="*/ 159177 h 159176"/>
                <a:gd name="connsiteX1" fmla="*/ 5518 w 158753"/>
                <a:gd name="connsiteY1" fmla="*/ 152922 h 159176"/>
                <a:gd name="connsiteX2" fmla="*/ 74943 w 158753"/>
                <a:gd name="connsiteY2" fmla="*/ 14073 h 159176"/>
                <a:gd name="connsiteX3" fmla="*/ 144368 w 158753"/>
                <a:gd name="connsiteY3" fmla="*/ 14073 h 159176"/>
                <a:gd name="connsiteX4" fmla="*/ 158753 w 158753"/>
                <a:gd name="connsiteY4" fmla="*/ 48472 h 159176"/>
                <a:gd name="connsiteX5" fmla="*/ 144368 w 158753"/>
                <a:gd name="connsiteY5" fmla="*/ 82872 h 159176"/>
                <a:gd name="connsiteX6" fmla="*/ 21780 w 158753"/>
                <a:gd name="connsiteY6" fmla="*/ 159177 h 159176"/>
                <a:gd name="connsiteX7" fmla="*/ 21780 w 158753"/>
                <a:gd name="connsiteY7" fmla="*/ 159177 h 159176"/>
                <a:gd name="connsiteX8" fmla="*/ 109343 w 158753"/>
                <a:gd name="connsiteY8" fmla="*/ 32836 h 159176"/>
                <a:gd name="connsiteX9" fmla="*/ 98085 w 158753"/>
                <a:gd name="connsiteY9" fmla="*/ 37214 h 159176"/>
                <a:gd name="connsiteX10" fmla="*/ 40544 w 158753"/>
                <a:gd name="connsiteY10" fmla="*/ 117272 h 159176"/>
                <a:gd name="connsiteX11" fmla="*/ 120601 w 158753"/>
                <a:gd name="connsiteY11" fmla="*/ 59105 h 159176"/>
                <a:gd name="connsiteX12" fmla="*/ 124979 w 158753"/>
                <a:gd name="connsiteY12" fmla="*/ 47847 h 159176"/>
                <a:gd name="connsiteX13" fmla="*/ 120601 w 158753"/>
                <a:gd name="connsiteY13" fmla="*/ 36589 h 159176"/>
                <a:gd name="connsiteX14" fmla="*/ 109343 w 158753"/>
                <a:gd name="connsiteY14" fmla="*/ 32836 h 159176"/>
                <a:gd name="connsiteX15" fmla="*/ 109343 w 158753"/>
                <a:gd name="connsiteY15" fmla="*/ 32836 h 159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8753" h="159176">
                  <a:moveTo>
                    <a:pt x="21780" y="159177"/>
                  </a:moveTo>
                  <a:cubicBezTo>
                    <a:pt x="13649" y="159177"/>
                    <a:pt x="8020" y="155424"/>
                    <a:pt x="5518" y="152922"/>
                  </a:cubicBezTo>
                  <a:cubicBezTo>
                    <a:pt x="-23878" y="123526"/>
                    <a:pt x="73692" y="15324"/>
                    <a:pt x="74943" y="14073"/>
                  </a:cubicBezTo>
                  <a:cubicBezTo>
                    <a:pt x="93707" y="-4691"/>
                    <a:pt x="125605" y="-4691"/>
                    <a:pt x="144368" y="14073"/>
                  </a:cubicBezTo>
                  <a:cubicBezTo>
                    <a:pt x="153750" y="23454"/>
                    <a:pt x="158753" y="35338"/>
                    <a:pt x="158753" y="48472"/>
                  </a:cubicBezTo>
                  <a:cubicBezTo>
                    <a:pt x="158753" y="61607"/>
                    <a:pt x="153750" y="74116"/>
                    <a:pt x="144368" y="82872"/>
                  </a:cubicBezTo>
                  <a:cubicBezTo>
                    <a:pt x="138739" y="87876"/>
                    <a:pt x="54303" y="159177"/>
                    <a:pt x="21780" y="159177"/>
                  </a:cubicBezTo>
                  <a:lnTo>
                    <a:pt x="21780" y="159177"/>
                  </a:lnTo>
                  <a:close/>
                  <a:moveTo>
                    <a:pt x="109343" y="32836"/>
                  </a:moveTo>
                  <a:cubicBezTo>
                    <a:pt x="104965" y="32836"/>
                    <a:pt x="101212" y="34712"/>
                    <a:pt x="98085" y="37214"/>
                  </a:cubicBezTo>
                  <a:cubicBezTo>
                    <a:pt x="87452" y="47847"/>
                    <a:pt x="55554" y="90378"/>
                    <a:pt x="40544" y="117272"/>
                  </a:cubicBezTo>
                  <a:cubicBezTo>
                    <a:pt x="66812" y="102261"/>
                    <a:pt x="109343" y="70363"/>
                    <a:pt x="120601" y="59105"/>
                  </a:cubicBezTo>
                  <a:cubicBezTo>
                    <a:pt x="123728" y="55978"/>
                    <a:pt x="124979" y="52225"/>
                    <a:pt x="124979" y="47847"/>
                  </a:cubicBezTo>
                  <a:cubicBezTo>
                    <a:pt x="124979" y="43469"/>
                    <a:pt x="123103" y="39716"/>
                    <a:pt x="120601" y="36589"/>
                  </a:cubicBezTo>
                  <a:cubicBezTo>
                    <a:pt x="117474" y="34712"/>
                    <a:pt x="113721" y="32836"/>
                    <a:pt x="109343" y="32836"/>
                  </a:cubicBezTo>
                  <a:lnTo>
                    <a:pt x="109343" y="32836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358" name="Gráfico 2">
              <a:extLst>
                <a:ext uri="{FF2B5EF4-FFF2-40B4-BE49-F238E27FC236}">
                  <a16:creationId xmlns:a16="http://schemas.microsoft.com/office/drawing/2014/main" id="{A4E24395-F85F-4E15-8BC9-B92D577D4DAD}"/>
                </a:ext>
              </a:extLst>
            </p:cNvPr>
            <p:cNvGrpSpPr/>
            <p:nvPr/>
          </p:nvGrpSpPr>
          <p:grpSpPr>
            <a:xfrm>
              <a:off x="10672682" y="5676397"/>
              <a:ext cx="210576" cy="209614"/>
              <a:chOff x="10672682" y="5676397"/>
              <a:chExt cx="210576" cy="209614"/>
            </a:xfrm>
            <a:grpFill/>
          </p:grpSpPr>
          <p:sp>
            <p:nvSpPr>
              <p:cNvPr id="359" name="Forma Livre: Forma 358">
                <a:extLst>
                  <a:ext uri="{FF2B5EF4-FFF2-40B4-BE49-F238E27FC236}">
                    <a16:creationId xmlns:a16="http://schemas.microsoft.com/office/drawing/2014/main" id="{AC055BCB-39D3-4CE7-B2D9-CFBE6C52EC84}"/>
                  </a:ext>
                </a:extLst>
              </p:cNvPr>
              <p:cNvSpPr/>
              <p:nvPr/>
            </p:nvSpPr>
            <p:spPr>
              <a:xfrm>
                <a:off x="10720368" y="5797735"/>
                <a:ext cx="162889" cy="88277"/>
              </a:xfrm>
              <a:custGeom>
                <a:avLst/>
                <a:gdLst>
                  <a:gd name="connsiteX0" fmla="*/ 71590 w 162889"/>
                  <a:gd name="connsiteY0" fmla="*/ 88278 h 88277"/>
                  <a:gd name="connsiteX1" fmla="*/ 289 w 162889"/>
                  <a:gd name="connsiteY1" fmla="*/ 64510 h 88277"/>
                  <a:gd name="connsiteX2" fmla="*/ 112870 w 162889"/>
                  <a:gd name="connsiteY2" fmla="*/ 715 h 88277"/>
                  <a:gd name="connsiteX3" fmla="*/ 162281 w 162889"/>
                  <a:gd name="connsiteY3" fmla="*/ 35114 h 88277"/>
                  <a:gd name="connsiteX4" fmla="*/ 155400 w 162889"/>
                  <a:gd name="connsiteY4" fmla="*/ 67012 h 88277"/>
                  <a:gd name="connsiteX5" fmla="*/ 127881 w 162889"/>
                  <a:gd name="connsiteY5" fmla="*/ 84525 h 88277"/>
                  <a:gd name="connsiteX6" fmla="*/ 71590 w 162889"/>
                  <a:gd name="connsiteY6" fmla="*/ 88278 h 88277"/>
                  <a:gd name="connsiteX7" fmla="*/ 71590 w 162889"/>
                  <a:gd name="connsiteY7" fmla="*/ 88278 h 88277"/>
                  <a:gd name="connsiteX8" fmla="*/ 56579 w 162889"/>
                  <a:gd name="connsiteY8" fmla="*/ 55129 h 88277"/>
                  <a:gd name="connsiteX9" fmla="*/ 72216 w 162889"/>
                  <a:gd name="connsiteY9" fmla="*/ 55129 h 88277"/>
                  <a:gd name="connsiteX10" fmla="*/ 122252 w 162889"/>
                  <a:gd name="connsiteY10" fmla="*/ 52627 h 88277"/>
                  <a:gd name="connsiteX11" fmla="*/ 128506 w 162889"/>
                  <a:gd name="connsiteY11" fmla="*/ 48874 h 88277"/>
                  <a:gd name="connsiteX12" fmla="*/ 129757 w 162889"/>
                  <a:gd name="connsiteY12" fmla="*/ 41994 h 88277"/>
                  <a:gd name="connsiteX13" fmla="*/ 118499 w 162889"/>
                  <a:gd name="connsiteY13" fmla="*/ 34489 h 88277"/>
                  <a:gd name="connsiteX14" fmla="*/ 56579 w 162889"/>
                  <a:gd name="connsiteY14" fmla="*/ 55129 h 88277"/>
                  <a:gd name="connsiteX15" fmla="*/ 56579 w 162889"/>
                  <a:gd name="connsiteY15" fmla="*/ 55129 h 88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62889" h="88277">
                    <a:moveTo>
                      <a:pt x="71590" y="88278"/>
                    </a:moveTo>
                    <a:cubicBezTo>
                      <a:pt x="22180" y="88278"/>
                      <a:pt x="3416" y="82023"/>
                      <a:pt x="289" y="64510"/>
                    </a:cubicBezTo>
                    <a:cubicBezTo>
                      <a:pt x="-6591" y="26983"/>
                      <a:pt x="111619" y="715"/>
                      <a:pt x="112870" y="715"/>
                    </a:cubicBezTo>
                    <a:cubicBezTo>
                      <a:pt x="136637" y="-3663"/>
                      <a:pt x="158527" y="12598"/>
                      <a:pt x="162281" y="35114"/>
                    </a:cubicBezTo>
                    <a:cubicBezTo>
                      <a:pt x="164156" y="46372"/>
                      <a:pt x="161654" y="57630"/>
                      <a:pt x="155400" y="67012"/>
                    </a:cubicBezTo>
                    <a:cubicBezTo>
                      <a:pt x="149146" y="76394"/>
                      <a:pt x="139138" y="82648"/>
                      <a:pt x="127881" y="84525"/>
                    </a:cubicBezTo>
                    <a:cubicBezTo>
                      <a:pt x="119750" y="87027"/>
                      <a:pt x="95357" y="88278"/>
                      <a:pt x="71590" y="88278"/>
                    </a:cubicBezTo>
                    <a:lnTo>
                      <a:pt x="71590" y="88278"/>
                    </a:lnTo>
                    <a:close/>
                    <a:moveTo>
                      <a:pt x="56579" y="55129"/>
                    </a:moveTo>
                    <a:cubicBezTo>
                      <a:pt x="60957" y="55129"/>
                      <a:pt x="65961" y="55129"/>
                      <a:pt x="72216" y="55129"/>
                    </a:cubicBezTo>
                    <a:cubicBezTo>
                      <a:pt x="95357" y="55129"/>
                      <a:pt x="117248" y="53252"/>
                      <a:pt x="122252" y="52627"/>
                    </a:cubicBezTo>
                    <a:cubicBezTo>
                      <a:pt x="124754" y="52001"/>
                      <a:pt x="126629" y="50751"/>
                      <a:pt x="128506" y="48874"/>
                    </a:cubicBezTo>
                    <a:cubicBezTo>
                      <a:pt x="129757" y="46998"/>
                      <a:pt x="130382" y="44496"/>
                      <a:pt x="129757" y="41994"/>
                    </a:cubicBezTo>
                    <a:cubicBezTo>
                      <a:pt x="129131" y="36991"/>
                      <a:pt x="124128" y="33238"/>
                      <a:pt x="118499" y="34489"/>
                    </a:cubicBezTo>
                    <a:cubicBezTo>
                      <a:pt x="109117" y="35740"/>
                      <a:pt x="79095" y="45747"/>
                      <a:pt x="56579" y="55129"/>
                    </a:cubicBezTo>
                    <a:lnTo>
                      <a:pt x="56579" y="55129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60" name="Forma Livre: Forma 359">
                <a:extLst>
                  <a:ext uri="{FF2B5EF4-FFF2-40B4-BE49-F238E27FC236}">
                    <a16:creationId xmlns:a16="http://schemas.microsoft.com/office/drawing/2014/main" id="{143B8CAF-25D7-4FCF-A437-8ADA52B38144}"/>
                  </a:ext>
                </a:extLst>
              </p:cNvPr>
              <p:cNvSpPr/>
              <p:nvPr/>
            </p:nvSpPr>
            <p:spPr>
              <a:xfrm>
                <a:off x="10672682" y="5676397"/>
                <a:ext cx="87988" cy="162706"/>
              </a:xfrm>
              <a:custGeom>
                <a:avLst/>
                <a:gdLst>
                  <a:gd name="connsiteX0" fmla="*/ 27961 w 87988"/>
                  <a:gd name="connsiteY0" fmla="*/ 162706 h 162706"/>
                  <a:gd name="connsiteX1" fmla="*/ 27961 w 87988"/>
                  <a:gd name="connsiteY1" fmla="*/ 162706 h 162706"/>
                  <a:gd name="connsiteX2" fmla="*/ 24208 w 87988"/>
                  <a:gd name="connsiteY2" fmla="*/ 162706 h 162706"/>
                  <a:gd name="connsiteX3" fmla="*/ 3569 w 87988"/>
                  <a:gd name="connsiteY3" fmla="*/ 35114 h 162706"/>
                  <a:gd name="connsiteX4" fmla="*/ 52979 w 87988"/>
                  <a:gd name="connsiteY4" fmla="*/ 715 h 162706"/>
                  <a:gd name="connsiteX5" fmla="*/ 80499 w 87988"/>
                  <a:gd name="connsiteY5" fmla="*/ 18227 h 162706"/>
                  <a:gd name="connsiteX6" fmla="*/ 87379 w 87988"/>
                  <a:gd name="connsiteY6" fmla="*/ 50125 h 162706"/>
                  <a:gd name="connsiteX7" fmla="*/ 27961 w 87988"/>
                  <a:gd name="connsiteY7" fmla="*/ 162706 h 162706"/>
                  <a:gd name="connsiteX8" fmla="*/ 27961 w 87988"/>
                  <a:gd name="connsiteY8" fmla="*/ 162706 h 162706"/>
                  <a:gd name="connsiteX9" fmla="*/ 46099 w 87988"/>
                  <a:gd name="connsiteY9" fmla="*/ 33238 h 162706"/>
                  <a:gd name="connsiteX10" fmla="*/ 36717 w 87988"/>
                  <a:gd name="connsiteY10" fmla="*/ 40744 h 162706"/>
                  <a:gd name="connsiteX11" fmla="*/ 34215 w 87988"/>
                  <a:gd name="connsiteY11" fmla="*/ 106416 h 162706"/>
                  <a:gd name="connsiteX12" fmla="*/ 54856 w 87988"/>
                  <a:gd name="connsiteY12" fmla="*/ 43871 h 162706"/>
                  <a:gd name="connsiteX13" fmla="*/ 53605 w 87988"/>
                  <a:gd name="connsiteY13" fmla="*/ 36991 h 162706"/>
                  <a:gd name="connsiteX14" fmla="*/ 47351 w 87988"/>
                  <a:gd name="connsiteY14" fmla="*/ 33238 h 162706"/>
                  <a:gd name="connsiteX15" fmla="*/ 46099 w 87988"/>
                  <a:gd name="connsiteY15" fmla="*/ 33238 h 162706"/>
                  <a:gd name="connsiteX16" fmla="*/ 46099 w 87988"/>
                  <a:gd name="connsiteY16" fmla="*/ 33238 h 1627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87988" h="162706">
                    <a:moveTo>
                      <a:pt x="27961" y="162706"/>
                    </a:moveTo>
                    <a:lnTo>
                      <a:pt x="27961" y="162706"/>
                    </a:lnTo>
                    <a:cubicBezTo>
                      <a:pt x="26710" y="162706"/>
                      <a:pt x="25460" y="162706"/>
                      <a:pt x="24208" y="162706"/>
                    </a:cubicBezTo>
                    <a:cubicBezTo>
                      <a:pt x="-12693" y="155826"/>
                      <a:pt x="3569" y="36365"/>
                      <a:pt x="3569" y="35114"/>
                    </a:cubicBezTo>
                    <a:cubicBezTo>
                      <a:pt x="7947" y="12598"/>
                      <a:pt x="29212" y="-3663"/>
                      <a:pt x="52979" y="715"/>
                    </a:cubicBezTo>
                    <a:cubicBezTo>
                      <a:pt x="64237" y="2591"/>
                      <a:pt x="74244" y="8845"/>
                      <a:pt x="80499" y="18227"/>
                    </a:cubicBezTo>
                    <a:cubicBezTo>
                      <a:pt x="86753" y="27609"/>
                      <a:pt x="89255" y="38867"/>
                      <a:pt x="87379" y="50125"/>
                    </a:cubicBezTo>
                    <a:cubicBezTo>
                      <a:pt x="88005" y="51376"/>
                      <a:pt x="62361" y="162706"/>
                      <a:pt x="27961" y="162706"/>
                    </a:cubicBezTo>
                    <a:lnTo>
                      <a:pt x="27961" y="162706"/>
                    </a:lnTo>
                    <a:close/>
                    <a:moveTo>
                      <a:pt x="46099" y="33238"/>
                    </a:moveTo>
                    <a:cubicBezTo>
                      <a:pt x="41721" y="33238"/>
                      <a:pt x="37969" y="36365"/>
                      <a:pt x="36717" y="40744"/>
                    </a:cubicBezTo>
                    <a:cubicBezTo>
                      <a:pt x="34842" y="50751"/>
                      <a:pt x="33590" y="82023"/>
                      <a:pt x="34215" y="106416"/>
                    </a:cubicBezTo>
                    <a:cubicBezTo>
                      <a:pt x="43597" y="83899"/>
                      <a:pt x="52979" y="53878"/>
                      <a:pt x="54856" y="43871"/>
                    </a:cubicBezTo>
                    <a:cubicBezTo>
                      <a:pt x="55481" y="41369"/>
                      <a:pt x="54856" y="38867"/>
                      <a:pt x="53605" y="36991"/>
                    </a:cubicBezTo>
                    <a:cubicBezTo>
                      <a:pt x="52354" y="35114"/>
                      <a:pt x="49852" y="33238"/>
                      <a:pt x="47351" y="33238"/>
                    </a:cubicBezTo>
                    <a:cubicBezTo>
                      <a:pt x="46724" y="33238"/>
                      <a:pt x="46724" y="33238"/>
                      <a:pt x="46099" y="33238"/>
                    </a:cubicBezTo>
                    <a:lnTo>
                      <a:pt x="46099" y="33238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361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1315813" y="5644353"/>
            <a:ext cx="402527" cy="455562"/>
            <a:chOff x="1303476" y="5644353"/>
            <a:chExt cx="402527" cy="455562"/>
          </a:xfrm>
          <a:solidFill>
            <a:srgbClr val="B1B1A1"/>
          </a:solidFill>
        </p:grpSpPr>
        <p:sp>
          <p:nvSpPr>
            <p:cNvPr id="362" name="Forma Livre: Forma 361">
              <a:extLst>
                <a:ext uri="{FF2B5EF4-FFF2-40B4-BE49-F238E27FC236}">
                  <a16:creationId xmlns:a16="http://schemas.microsoft.com/office/drawing/2014/main" id="{C7E4B549-D35F-435C-9896-819D62D585FF}"/>
                </a:ext>
              </a:extLst>
            </p:cNvPr>
            <p:cNvSpPr/>
            <p:nvPr/>
          </p:nvSpPr>
          <p:spPr>
            <a:xfrm>
              <a:off x="1303476" y="5656861"/>
              <a:ext cx="351926" cy="443054"/>
            </a:xfrm>
            <a:custGeom>
              <a:avLst/>
              <a:gdLst>
                <a:gd name="connsiteX0" fmla="*/ 269360 w 351926"/>
                <a:gd name="connsiteY0" fmla="*/ 443055 h 443054"/>
                <a:gd name="connsiteX1" fmla="*/ 250597 w 351926"/>
                <a:gd name="connsiteY1" fmla="*/ 443055 h 443054"/>
                <a:gd name="connsiteX2" fmla="*/ 236837 w 351926"/>
                <a:gd name="connsiteY2" fmla="*/ 435549 h 443054"/>
                <a:gd name="connsiteX3" fmla="*/ 235586 w 351926"/>
                <a:gd name="connsiteY3" fmla="*/ 419913 h 443054"/>
                <a:gd name="connsiteX4" fmla="*/ 264357 w 351926"/>
                <a:gd name="connsiteY4" fmla="*/ 353615 h 443054"/>
                <a:gd name="connsiteX5" fmla="*/ 225579 w 351926"/>
                <a:gd name="connsiteY5" fmla="*/ 290445 h 443054"/>
                <a:gd name="connsiteX6" fmla="*/ 223077 w 351926"/>
                <a:gd name="connsiteY6" fmla="*/ 267929 h 443054"/>
                <a:gd name="connsiteX7" fmla="*/ 213070 w 351926"/>
                <a:gd name="connsiteY7" fmla="*/ 264176 h 443054"/>
                <a:gd name="connsiteX8" fmla="*/ 188677 w 351926"/>
                <a:gd name="connsiteY8" fmla="*/ 400524 h 443054"/>
                <a:gd name="connsiteX9" fmla="*/ 193055 w 351926"/>
                <a:gd name="connsiteY9" fmla="*/ 422415 h 443054"/>
                <a:gd name="connsiteX10" fmla="*/ 189928 w 351926"/>
                <a:gd name="connsiteY10" fmla="*/ 436800 h 443054"/>
                <a:gd name="connsiteX11" fmla="*/ 176794 w 351926"/>
                <a:gd name="connsiteY11" fmla="*/ 443055 h 443054"/>
                <a:gd name="connsiteX12" fmla="*/ 153652 w 351926"/>
                <a:gd name="connsiteY12" fmla="*/ 443055 h 443054"/>
                <a:gd name="connsiteX13" fmla="*/ 136765 w 351926"/>
                <a:gd name="connsiteY13" fmla="*/ 427418 h 443054"/>
                <a:gd name="connsiteX14" fmla="*/ 92983 w 351926"/>
                <a:gd name="connsiteY14" fmla="*/ 289194 h 443054"/>
                <a:gd name="connsiteX15" fmla="*/ 52329 w 351926"/>
                <a:gd name="connsiteY15" fmla="*/ 206635 h 443054"/>
                <a:gd name="connsiteX16" fmla="*/ 46700 w 351926"/>
                <a:gd name="connsiteY16" fmla="*/ 165981 h 443054"/>
                <a:gd name="connsiteX17" fmla="*/ 43573 w 351926"/>
                <a:gd name="connsiteY17" fmla="*/ 140337 h 443054"/>
                <a:gd name="connsiteX18" fmla="*/ 38569 w 351926"/>
                <a:gd name="connsiteY18" fmla="*/ 137835 h 443054"/>
                <a:gd name="connsiteX19" fmla="*/ 6671 w 351926"/>
                <a:gd name="connsiteY19" fmla="*/ 109065 h 443054"/>
                <a:gd name="connsiteX20" fmla="*/ 2919 w 351926"/>
                <a:gd name="connsiteY20" fmla="*/ 72789 h 443054"/>
                <a:gd name="connsiteX21" fmla="*/ 15428 w 351926"/>
                <a:gd name="connsiteY21" fmla="*/ 60905 h 443054"/>
                <a:gd name="connsiteX22" fmla="*/ 43573 w 351926"/>
                <a:gd name="connsiteY22" fmla="*/ 26506 h 443054"/>
                <a:gd name="connsiteX23" fmla="*/ 43573 w 351926"/>
                <a:gd name="connsiteY23" fmla="*/ 27131 h 443054"/>
                <a:gd name="connsiteX24" fmla="*/ 114874 w 351926"/>
                <a:gd name="connsiteY24" fmla="*/ 862 h 443054"/>
                <a:gd name="connsiteX25" fmla="*/ 131136 w 351926"/>
                <a:gd name="connsiteY25" fmla="*/ 3989 h 443054"/>
                <a:gd name="connsiteX26" fmla="*/ 141143 w 351926"/>
                <a:gd name="connsiteY26" fmla="*/ 23378 h 443054"/>
                <a:gd name="connsiteX27" fmla="*/ 134889 w 351926"/>
                <a:gd name="connsiteY27" fmla="*/ 43393 h 443054"/>
                <a:gd name="connsiteX28" fmla="*/ 146772 w 351926"/>
                <a:gd name="connsiteY28" fmla="*/ 78418 h 443054"/>
                <a:gd name="connsiteX29" fmla="*/ 148648 w 351926"/>
                <a:gd name="connsiteY29" fmla="*/ 114694 h 443054"/>
                <a:gd name="connsiteX30" fmla="*/ 204313 w 351926"/>
                <a:gd name="connsiteY30" fmla="*/ 91552 h 443054"/>
                <a:gd name="connsiteX31" fmla="*/ 227455 w 351926"/>
                <a:gd name="connsiteY31" fmla="*/ 88425 h 443054"/>
                <a:gd name="connsiteX32" fmla="*/ 338160 w 351926"/>
                <a:gd name="connsiteY32" fmla="*/ 165355 h 443054"/>
                <a:gd name="connsiteX33" fmla="*/ 348167 w 351926"/>
                <a:gd name="connsiteY33" fmla="*/ 220395 h 443054"/>
                <a:gd name="connsiteX34" fmla="*/ 332531 w 351926"/>
                <a:gd name="connsiteY34" fmla="*/ 317339 h 443054"/>
                <a:gd name="connsiteX35" fmla="*/ 335032 w 351926"/>
                <a:gd name="connsiteY35" fmla="*/ 334227 h 443054"/>
                <a:gd name="connsiteX36" fmla="*/ 333781 w 351926"/>
                <a:gd name="connsiteY36" fmla="*/ 337354 h 443054"/>
                <a:gd name="connsiteX37" fmla="*/ 331905 w 351926"/>
                <a:gd name="connsiteY37" fmla="*/ 342357 h 443054"/>
                <a:gd name="connsiteX38" fmla="*/ 284996 w 351926"/>
                <a:gd name="connsiteY38" fmla="*/ 431797 h 443054"/>
                <a:gd name="connsiteX39" fmla="*/ 269360 w 351926"/>
                <a:gd name="connsiteY39" fmla="*/ 443055 h 443054"/>
                <a:gd name="connsiteX40" fmla="*/ 269360 w 351926"/>
                <a:gd name="connsiteY40" fmla="*/ 443055 h 443054"/>
                <a:gd name="connsiteX41" fmla="*/ 213070 w 351926"/>
                <a:gd name="connsiteY41" fmla="*/ 231027 h 443054"/>
                <a:gd name="connsiteX42" fmla="*/ 251222 w 351926"/>
                <a:gd name="connsiteY42" fmla="*/ 248540 h 443054"/>
                <a:gd name="connsiteX43" fmla="*/ 256226 w 351926"/>
                <a:gd name="connsiteY43" fmla="*/ 261049 h 443054"/>
                <a:gd name="connsiteX44" fmla="*/ 258102 w 351926"/>
                <a:gd name="connsiteY44" fmla="*/ 284191 h 443054"/>
                <a:gd name="connsiteX45" fmla="*/ 295629 w 351926"/>
                <a:gd name="connsiteY45" fmla="*/ 337979 h 443054"/>
                <a:gd name="connsiteX46" fmla="*/ 296880 w 351926"/>
                <a:gd name="connsiteY46" fmla="*/ 339230 h 443054"/>
                <a:gd name="connsiteX47" fmla="*/ 300007 w 351926"/>
                <a:gd name="connsiteY47" fmla="*/ 332976 h 443054"/>
                <a:gd name="connsiteX48" fmla="*/ 300633 w 351926"/>
                <a:gd name="connsiteY48" fmla="*/ 331099 h 443054"/>
                <a:gd name="connsiteX49" fmla="*/ 318771 w 351926"/>
                <a:gd name="connsiteY49" fmla="*/ 206635 h 443054"/>
                <a:gd name="connsiteX50" fmla="*/ 289375 w 351926"/>
                <a:gd name="connsiteY50" fmla="*/ 155974 h 443054"/>
                <a:gd name="connsiteX51" fmla="*/ 227455 w 351926"/>
                <a:gd name="connsiteY51" fmla="*/ 123450 h 443054"/>
                <a:gd name="connsiteX52" fmla="*/ 213070 w 351926"/>
                <a:gd name="connsiteY52" fmla="*/ 125326 h 443054"/>
                <a:gd name="connsiteX53" fmla="*/ 151150 w 351926"/>
                <a:gd name="connsiteY53" fmla="*/ 157850 h 443054"/>
                <a:gd name="connsiteX54" fmla="*/ 136139 w 351926"/>
                <a:gd name="connsiteY54" fmla="*/ 163479 h 443054"/>
                <a:gd name="connsiteX55" fmla="*/ 123630 w 351926"/>
                <a:gd name="connsiteY55" fmla="*/ 153472 h 443054"/>
                <a:gd name="connsiteX56" fmla="*/ 114249 w 351926"/>
                <a:gd name="connsiteY56" fmla="*/ 79669 h 443054"/>
                <a:gd name="connsiteX57" fmla="*/ 103616 w 351926"/>
                <a:gd name="connsiteY57" fmla="*/ 58403 h 443054"/>
                <a:gd name="connsiteX58" fmla="*/ 97362 w 351926"/>
                <a:gd name="connsiteY58" fmla="*/ 46520 h 443054"/>
                <a:gd name="connsiteX59" fmla="*/ 97362 w 351926"/>
                <a:gd name="connsiteY59" fmla="*/ 43393 h 443054"/>
                <a:gd name="connsiteX60" fmla="*/ 61086 w 351926"/>
                <a:gd name="connsiteY60" fmla="*/ 56527 h 443054"/>
                <a:gd name="connsiteX61" fmla="*/ 47326 w 351926"/>
                <a:gd name="connsiteY61" fmla="*/ 76541 h 443054"/>
                <a:gd name="connsiteX62" fmla="*/ 36068 w 351926"/>
                <a:gd name="connsiteY62" fmla="*/ 90301 h 443054"/>
                <a:gd name="connsiteX63" fmla="*/ 37944 w 351926"/>
                <a:gd name="connsiteY63" fmla="*/ 95305 h 443054"/>
                <a:gd name="connsiteX64" fmla="*/ 41697 w 351926"/>
                <a:gd name="connsiteY64" fmla="*/ 102185 h 443054"/>
                <a:gd name="connsiteX65" fmla="*/ 54831 w 351926"/>
                <a:gd name="connsiteY65" fmla="*/ 109065 h 443054"/>
                <a:gd name="connsiteX66" fmla="*/ 63587 w 351926"/>
                <a:gd name="connsiteY66" fmla="*/ 113443 h 443054"/>
                <a:gd name="connsiteX67" fmla="*/ 81725 w 351926"/>
                <a:gd name="connsiteY67" fmla="*/ 164104 h 443054"/>
                <a:gd name="connsiteX68" fmla="*/ 86729 w 351926"/>
                <a:gd name="connsiteY68" fmla="*/ 200380 h 443054"/>
                <a:gd name="connsiteX69" fmla="*/ 118001 w 351926"/>
                <a:gd name="connsiteY69" fmla="*/ 266678 h 443054"/>
                <a:gd name="connsiteX70" fmla="*/ 153027 w 351926"/>
                <a:gd name="connsiteY70" fmla="*/ 336103 h 443054"/>
                <a:gd name="connsiteX71" fmla="*/ 206815 w 351926"/>
                <a:gd name="connsiteY71" fmla="*/ 232904 h 443054"/>
                <a:gd name="connsiteX72" fmla="*/ 213070 w 351926"/>
                <a:gd name="connsiteY72" fmla="*/ 231027 h 443054"/>
                <a:gd name="connsiteX73" fmla="*/ 213070 w 351926"/>
                <a:gd name="connsiteY73" fmla="*/ 231027 h 443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351926" h="443054">
                  <a:moveTo>
                    <a:pt x="269360" y="443055"/>
                  </a:moveTo>
                  <a:lnTo>
                    <a:pt x="250597" y="443055"/>
                  </a:lnTo>
                  <a:cubicBezTo>
                    <a:pt x="244968" y="443055"/>
                    <a:pt x="239964" y="439927"/>
                    <a:pt x="236837" y="435549"/>
                  </a:cubicBezTo>
                  <a:cubicBezTo>
                    <a:pt x="233710" y="430546"/>
                    <a:pt x="233084" y="424917"/>
                    <a:pt x="235586" y="419913"/>
                  </a:cubicBezTo>
                  <a:lnTo>
                    <a:pt x="264357" y="353615"/>
                  </a:lnTo>
                  <a:cubicBezTo>
                    <a:pt x="246219" y="335478"/>
                    <a:pt x="230582" y="314837"/>
                    <a:pt x="225579" y="290445"/>
                  </a:cubicBezTo>
                  <a:cubicBezTo>
                    <a:pt x="224328" y="282940"/>
                    <a:pt x="223077" y="275434"/>
                    <a:pt x="223077" y="267929"/>
                  </a:cubicBezTo>
                  <a:cubicBezTo>
                    <a:pt x="219324" y="265427"/>
                    <a:pt x="216197" y="264176"/>
                    <a:pt x="213070" y="264176"/>
                  </a:cubicBezTo>
                  <a:cubicBezTo>
                    <a:pt x="194306" y="267303"/>
                    <a:pt x="176168" y="322969"/>
                    <a:pt x="188677" y="400524"/>
                  </a:cubicBezTo>
                  <a:cubicBezTo>
                    <a:pt x="189928" y="408030"/>
                    <a:pt x="191179" y="415535"/>
                    <a:pt x="193055" y="422415"/>
                  </a:cubicBezTo>
                  <a:cubicBezTo>
                    <a:pt x="194306" y="427418"/>
                    <a:pt x="193055" y="432422"/>
                    <a:pt x="189928" y="436800"/>
                  </a:cubicBezTo>
                  <a:cubicBezTo>
                    <a:pt x="186801" y="440553"/>
                    <a:pt x="181797" y="443055"/>
                    <a:pt x="176794" y="443055"/>
                  </a:cubicBezTo>
                  <a:lnTo>
                    <a:pt x="153652" y="443055"/>
                  </a:lnTo>
                  <a:cubicBezTo>
                    <a:pt x="144896" y="443055"/>
                    <a:pt x="137390" y="436175"/>
                    <a:pt x="136765" y="427418"/>
                  </a:cubicBezTo>
                  <a:cubicBezTo>
                    <a:pt x="134263" y="384263"/>
                    <a:pt x="111747" y="306081"/>
                    <a:pt x="92983" y="289194"/>
                  </a:cubicBezTo>
                  <a:cubicBezTo>
                    <a:pt x="74845" y="270431"/>
                    <a:pt x="60460" y="241035"/>
                    <a:pt x="52329" y="206635"/>
                  </a:cubicBezTo>
                  <a:cubicBezTo>
                    <a:pt x="49202" y="193501"/>
                    <a:pt x="47951" y="179115"/>
                    <a:pt x="46700" y="165981"/>
                  </a:cubicBezTo>
                  <a:cubicBezTo>
                    <a:pt x="46075" y="157225"/>
                    <a:pt x="44824" y="145966"/>
                    <a:pt x="43573" y="140337"/>
                  </a:cubicBezTo>
                  <a:lnTo>
                    <a:pt x="38569" y="137835"/>
                  </a:lnTo>
                  <a:cubicBezTo>
                    <a:pt x="18555" y="128454"/>
                    <a:pt x="14802" y="125952"/>
                    <a:pt x="6671" y="109065"/>
                  </a:cubicBezTo>
                  <a:cubicBezTo>
                    <a:pt x="1668" y="98432"/>
                    <a:pt x="-3336" y="84672"/>
                    <a:pt x="2919" y="72789"/>
                  </a:cubicBezTo>
                  <a:cubicBezTo>
                    <a:pt x="6046" y="66534"/>
                    <a:pt x="11050" y="62781"/>
                    <a:pt x="15428" y="60905"/>
                  </a:cubicBezTo>
                  <a:cubicBezTo>
                    <a:pt x="19806" y="47145"/>
                    <a:pt x="29813" y="34636"/>
                    <a:pt x="43573" y="26506"/>
                  </a:cubicBezTo>
                  <a:lnTo>
                    <a:pt x="43573" y="27131"/>
                  </a:lnTo>
                  <a:cubicBezTo>
                    <a:pt x="52329" y="22127"/>
                    <a:pt x="71718" y="15873"/>
                    <a:pt x="114874" y="862"/>
                  </a:cubicBezTo>
                  <a:cubicBezTo>
                    <a:pt x="120503" y="-1014"/>
                    <a:pt x="126758" y="237"/>
                    <a:pt x="131136" y="3989"/>
                  </a:cubicBezTo>
                  <a:cubicBezTo>
                    <a:pt x="138641" y="10869"/>
                    <a:pt x="140518" y="18375"/>
                    <a:pt x="141143" y="23378"/>
                  </a:cubicBezTo>
                  <a:cubicBezTo>
                    <a:pt x="141143" y="30884"/>
                    <a:pt x="138641" y="37764"/>
                    <a:pt x="134889" y="43393"/>
                  </a:cubicBezTo>
                  <a:cubicBezTo>
                    <a:pt x="142394" y="53400"/>
                    <a:pt x="146772" y="65909"/>
                    <a:pt x="146772" y="78418"/>
                  </a:cubicBezTo>
                  <a:cubicBezTo>
                    <a:pt x="146772" y="88425"/>
                    <a:pt x="147398" y="102810"/>
                    <a:pt x="148648" y="114694"/>
                  </a:cubicBezTo>
                  <a:cubicBezTo>
                    <a:pt x="163659" y="105312"/>
                    <a:pt x="181797" y="97807"/>
                    <a:pt x="204313" y="91552"/>
                  </a:cubicBezTo>
                  <a:cubicBezTo>
                    <a:pt x="211819" y="89676"/>
                    <a:pt x="219324" y="88425"/>
                    <a:pt x="227455" y="88425"/>
                  </a:cubicBezTo>
                  <a:cubicBezTo>
                    <a:pt x="276866" y="88425"/>
                    <a:pt x="318145" y="129705"/>
                    <a:pt x="338160" y="165355"/>
                  </a:cubicBezTo>
                  <a:cubicBezTo>
                    <a:pt x="347541" y="182243"/>
                    <a:pt x="357549" y="205384"/>
                    <a:pt x="348167" y="220395"/>
                  </a:cubicBezTo>
                  <a:cubicBezTo>
                    <a:pt x="323149" y="262300"/>
                    <a:pt x="320647" y="302954"/>
                    <a:pt x="332531" y="317339"/>
                  </a:cubicBezTo>
                  <a:cubicBezTo>
                    <a:pt x="336283" y="322343"/>
                    <a:pt x="336909" y="328597"/>
                    <a:pt x="335032" y="334227"/>
                  </a:cubicBezTo>
                  <a:lnTo>
                    <a:pt x="333781" y="337354"/>
                  </a:lnTo>
                  <a:cubicBezTo>
                    <a:pt x="333781" y="339230"/>
                    <a:pt x="333156" y="340481"/>
                    <a:pt x="331905" y="342357"/>
                  </a:cubicBezTo>
                  <a:lnTo>
                    <a:pt x="284996" y="431797"/>
                  </a:lnTo>
                  <a:cubicBezTo>
                    <a:pt x="281244" y="439927"/>
                    <a:pt x="275615" y="443055"/>
                    <a:pt x="269360" y="443055"/>
                  </a:cubicBezTo>
                  <a:lnTo>
                    <a:pt x="269360" y="443055"/>
                  </a:lnTo>
                  <a:close/>
                  <a:moveTo>
                    <a:pt x="213070" y="231027"/>
                  </a:moveTo>
                  <a:cubicBezTo>
                    <a:pt x="226204" y="231027"/>
                    <a:pt x="238713" y="236656"/>
                    <a:pt x="251222" y="248540"/>
                  </a:cubicBezTo>
                  <a:cubicBezTo>
                    <a:pt x="254975" y="251667"/>
                    <a:pt x="256851" y="256671"/>
                    <a:pt x="256226" y="261049"/>
                  </a:cubicBezTo>
                  <a:cubicBezTo>
                    <a:pt x="256226" y="268554"/>
                    <a:pt x="256851" y="276685"/>
                    <a:pt x="258102" y="284191"/>
                  </a:cubicBezTo>
                  <a:cubicBezTo>
                    <a:pt x="262480" y="306081"/>
                    <a:pt x="284996" y="327346"/>
                    <a:pt x="295629" y="337979"/>
                  </a:cubicBezTo>
                  <a:cubicBezTo>
                    <a:pt x="296254" y="338605"/>
                    <a:pt x="296254" y="338605"/>
                    <a:pt x="296880" y="339230"/>
                  </a:cubicBezTo>
                  <a:lnTo>
                    <a:pt x="300007" y="332976"/>
                  </a:lnTo>
                  <a:cubicBezTo>
                    <a:pt x="300007" y="332350"/>
                    <a:pt x="300007" y="331725"/>
                    <a:pt x="300633" y="331099"/>
                  </a:cubicBezTo>
                  <a:cubicBezTo>
                    <a:pt x="285622" y="301703"/>
                    <a:pt x="291876" y="252918"/>
                    <a:pt x="318771" y="206635"/>
                  </a:cubicBezTo>
                  <a:cubicBezTo>
                    <a:pt x="318145" y="199755"/>
                    <a:pt x="310014" y="177864"/>
                    <a:pt x="289375" y="155974"/>
                  </a:cubicBezTo>
                  <a:cubicBezTo>
                    <a:pt x="278116" y="143465"/>
                    <a:pt x="254975" y="123450"/>
                    <a:pt x="227455" y="123450"/>
                  </a:cubicBezTo>
                  <a:cubicBezTo>
                    <a:pt x="222451" y="123450"/>
                    <a:pt x="218073" y="124075"/>
                    <a:pt x="213070" y="125326"/>
                  </a:cubicBezTo>
                  <a:cubicBezTo>
                    <a:pt x="183674" y="132832"/>
                    <a:pt x="162408" y="144090"/>
                    <a:pt x="151150" y="157850"/>
                  </a:cubicBezTo>
                  <a:cubicBezTo>
                    <a:pt x="147398" y="162228"/>
                    <a:pt x="141769" y="164104"/>
                    <a:pt x="136139" y="163479"/>
                  </a:cubicBezTo>
                  <a:cubicBezTo>
                    <a:pt x="130510" y="162853"/>
                    <a:pt x="125507" y="159101"/>
                    <a:pt x="123630" y="153472"/>
                  </a:cubicBezTo>
                  <a:cubicBezTo>
                    <a:pt x="114249" y="132207"/>
                    <a:pt x="114249" y="80294"/>
                    <a:pt x="114249" y="79669"/>
                  </a:cubicBezTo>
                  <a:cubicBezTo>
                    <a:pt x="114249" y="71538"/>
                    <a:pt x="110496" y="64032"/>
                    <a:pt x="103616" y="58403"/>
                  </a:cubicBezTo>
                  <a:cubicBezTo>
                    <a:pt x="99863" y="55276"/>
                    <a:pt x="97362" y="50898"/>
                    <a:pt x="97362" y="46520"/>
                  </a:cubicBezTo>
                  <a:cubicBezTo>
                    <a:pt x="97362" y="45269"/>
                    <a:pt x="97362" y="44018"/>
                    <a:pt x="97362" y="43393"/>
                  </a:cubicBezTo>
                  <a:cubicBezTo>
                    <a:pt x="79849" y="49647"/>
                    <a:pt x="64838" y="54651"/>
                    <a:pt x="61086" y="56527"/>
                  </a:cubicBezTo>
                  <a:cubicBezTo>
                    <a:pt x="52955" y="61531"/>
                    <a:pt x="47951" y="68411"/>
                    <a:pt x="47326" y="76541"/>
                  </a:cubicBezTo>
                  <a:cubicBezTo>
                    <a:pt x="46700" y="82796"/>
                    <a:pt x="42322" y="88425"/>
                    <a:pt x="36068" y="90301"/>
                  </a:cubicBezTo>
                  <a:cubicBezTo>
                    <a:pt x="36693" y="91552"/>
                    <a:pt x="37318" y="93429"/>
                    <a:pt x="37944" y="95305"/>
                  </a:cubicBezTo>
                  <a:cubicBezTo>
                    <a:pt x="39195" y="98432"/>
                    <a:pt x="41071" y="101559"/>
                    <a:pt x="41697" y="102185"/>
                  </a:cubicBezTo>
                  <a:cubicBezTo>
                    <a:pt x="42948" y="103436"/>
                    <a:pt x="48577" y="105938"/>
                    <a:pt x="54831" y="109065"/>
                  </a:cubicBezTo>
                  <a:lnTo>
                    <a:pt x="63587" y="113443"/>
                  </a:lnTo>
                  <a:cubicBezTo>
                    <a:pt x="77347" y="120323"/>
                    <a:pt x="79224" y="137835"/>
                    <a:pt x="81725" y="164104"/>
                  </a:cubicBezTo>
                  <a:cubicBezTo>
                    <a:pt x="82976" y="175988"/>
                    <a:pt x="84227" y="189748"/>
                    <a:pt x="86729" y="200380"/>
                  </a:cubicBezTo>
                  <a:cubicBezTo>
                    <a:pt x="93609" y="228526"/>
                    <a:pt x="104867" y="252918"/>
                    <a:pt x="118001" y="266678"/>
                  </a:cubicBezTo>
                  <a:cubicBezTo>
                    <a:pt x="131761" y="279187"/>
                    <a:pt x="143645" y="306707"/>
                    <a:pt x="153027" y="336103"/>
                  </a:cubicBezTo>
                  <a:cubicBezTo>
                    <a:pt x="156154" y="283565"/>
                    <a:pt x="172416" y="239158"/>
                    <a:pt x="206815" y="232904"/>
                  </a:cubicBezTo>
                  <a:cubicBezTo>
                    <a:pt x="208066" y="231027"/>
                    <a:pt x="210568" y="231027"/>
                    <a:pt x="213070" y="231027"/>
                  </a:cubicBezTo>
                  <a:lnTo>
                    <a:pt x="213070" y="231027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63" name="Forma Livre: Forma 362">
              <a:extLst>
                <a:ext uri="{FF2B5EF4-FFF2-40B4-BE49-F238E27FC236}">
                  <a16:creationId xmlns:a16="http://schemas.microsoft.com/office/drawing/2014/main" id="{FCE52551-5595-4A3E-9F2F-559CD80C479E}"/>
                </a:ext>
              </a:extLst>
            </p:cNvPr>
            <p:cNvSpPr/>
            <p:nvPr/>
          </p:nvSpPr>
          <p:spPr>
            <a:xfrm>
              <a:off x="1417725" y="6048003"/>
              <a:ext cx="63795" cy="51912"/>
            </a:xfrm>
            <a:custGeom>
              <a:avLst/>
              <a:gdLst>
                <a:gd name="connsiteX0" fmla="*/ 46283 w 63795"/>
                <a:gd name="connsiteY0" fmla="*/ 51912 h 51912"/>
                <a:gd name="connsiteX1" fmla="*/ 16887 w 63795"/>
                <a:gd name="connsiteY1" fmla="*/ 51912 h 51912"/>
                <a:gd name="connsiteX2" fmla="*/ 625 w 63795"/>
                <a:gd name="connsiteY2" fmla="*/ 38153 h 51912"/>
                <a:gd name="connsiteX3" fmla="*/ 0 w 63795"/>
                <a:gd name="connsiteY3" fmla="*/ 31898 h 51912"/>
                <a:gd name="connsiteX4" fmla="*/ 31898 w 63795"/>
                <a:gd name="connsiteY4" fmla="*/ 0 h 51912"/>
                <a:gd name="connsiteX5" fmla="*/ 63796 w 63795"/>
                <a:gd name="connsiteY5" fmla="*/ 31898 h 51912"/>
                <a:gd name="connsiteX6" fmla="*/ 63170 w 63795"/>
                <a:gd name="connsiteY6" fmla="*/ 38153 h 51912"/>
                <a:gd name="connsiteX7" fmla="*/ 46283 w 63795"/>
                <a:gd name="connsiteY7" fmla="*/ 51912 h 51912"/>
                <a:gd name="connsiteX8" fmla="*/ 46283 w 63795"/>
                <a:gd name="connsiteY8" fmla="*/ 51912 h 51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3795" h="51912">
                  <a:moveTo>
                    <a:pt x="46283" y="51912"/>
                  </a:moveTo>
                  <a:lnTo>
                    <a:pt x="16887" y="51912"/>
                  </a:lnTo>
                  <a:cubicBezTo>
                    <a:pt x="8756" y="51912"/>
                    <a:pt x="1876" y="46283"/>
                    <a:pt x="625" y="38153"/>
                  </a:cubicBezTo>
                  <a:cubicBezTo>
                    <a:pt x="0" y="36276"/>
                    <a:pt x="0" y="34400"/>
                    <a:pt x="0" y="31898"/>
                  </a:cubicBezTo>
                  <a:cubicBezTo>
                    <a:pt x="0" y="14385"/>
                    <a:pt x="14385" y="0"/>
                    <a:pt x="31898" y="0"/>
                  </a:cubicBezTo>
                  <a:cubicBezTo>
                    <a:pt x="49410" y="0"/>
                    <a:pt x="63796" y="14385"/>
                    <a:pt x="63796" y="31898"/>
                  </a:cubicBezTo>
                  <a:cubicBezTo>
                    <a:pt x="63796" y="33774"/>
                    <a:pt x="63796" y="36276"/>
                    <a:pt x="63170" y="38153"/>
                  </a:cubicBezTo>
                  <a:cubicBezTo>
                    <a:pt x="61294" y="46283"/>
                    <a:pt x="54414" y="51912"/>
                    <a:pt x="46283" y="51912"/>
                  </a:cubicBezTo>
                  <a:lnTo>
                    <a:pt x="46283" y="51912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64" name="Forma Livre: Forma 363">
              <a:extLst>
                <a:ext uri="{FF2B5EF4-FFF2-40B4-BE49-F238E27FC236}">
                  <a16:creationId xmlns:a16="http://schemas.microsoft.com/office/drawing/2014/main" id="{EF38A4A2-AEFC-4287-AE05-504E41F6EED4}"/>
                </a:ext>
              </a:extLst>
            </p:cNvPr>
            <p:cNvSpPr/>
            <p:nvPr/>
          </p:nvSpPr>
          <p:spPr>
            <a:xfrm>
              <a:off x="1522801" y="6048003"/>
              <a:ext cx="63795" cy="51912"/>
            </a:xfrm>
            <a:custGeom>
              <a:avLst/>
              <a:gdLst>
                <a:gd name="connsiteX0" fmla="*/ 46283 w 63795"/>
                <a:gd name="connsiteY0" fmla="*/ 51912 h 51912"/>
                <a:gd name="connsiteX1" fmla="*/ 16887 w 63795"/>
                <a:gd name="connsiteY1" fmla="*/ 51912 h 51912"/>
                <a:gd name="connsiteX2" fmla="*/ 625 w 63795"/>
                <a:gd name="connsiteY2" fmla="*/ 38153 h 51912"/>
                <a:gd name="connsiteX3" fmla="*/ 0 w 63795"/>
                <a:gd name="connsiteY3" fmla="*/ 31898 h 51912"/>
                <a:gd name="connsiteX4" fmla="*/ 31898 w 63795"/>
                <a:gd name="connsiteY4" fmla="*/ 0 h 51912"/>
                <a:gd name="connsiteX5" fmla="*/ 63796 w 63795"/>
                <a:gd name="connsiteY5" fmla="*/ 31898 h 51912"/>
                <a:gd name="connsiteX6" fmla="*/ 63170 w 63795"/>
                <a:gd name="connsiteY6" fmla="*/ 38153 h 51912"/>
                <a:gd name="connsiteX7" fmla="*/ 46283 w 63795"/>
                <a:gd name="connsiteY7" fmla="*/ 51912 h 51912"/>
                <a:gd name="connsiteX8" fmla="*/ 46283 w 63795"/>
                <a:gd name="connsiteY8" fmla="*/ 51912 h 51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3795" h="51912">
                  <a:moveTo>
                    <a:pt x="46283" y="51912"/>
                  </a:moveTo>
                  <a:lnTo>
                    <a:pt x="16887" y="51912"/>
                  </a:lnTo>
                  <a:cubicBezTo>
                    <a:pt x="8756" y="51912"/>
                    <a:pt x="1876" y="46283"/>
                    <a:pt x="625" y="38153"/>
                  </a:cubicBezTo>
                  <a:cubicBezTo>
                    <a:pt x="0" y="36276"/>
                    <a:pt x="0" y="34400"/>
                    <a:pt x="0" y="31898"/>
                  </a:cubicBezTo>
                  <a:cubicBezTo>
                    <a:pt x="0" y="14385"/>
                    <a:pt x="14385" y="0"/>
                    <a:pt x="31898" y="0"/>
                  </a:cubicBezTo>
                  <a:cubicBezTo>
                    <a:pt x="49411" y="0"/>
                    <a:pt x="63796" y="14385"/>
                    <a:pt x="63796" y="31898"/>
                  </a:cubicBezTo>
                  <a:cubicBezTo>
                    <a:pt x="63796" y="34400"/>
                    <a:pt x="63796" y="36276"/>
                    <a:pt x="63170" y="38153"/>
                  </a:cubicBezTo>
                  <a:cubicBezTo>
                    <a:pt x="61294" y="46283"/>
                    <a:pt x="54414" y="51912"/>
                    <a:pt x="46283" y="51912"/>
                  </a:cubicBezTo>
                  <a:lnTo>
                    <a:pt x="46283" y="51912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65" name="Forma Livre: Forma 364">
              <a:extLst>
                <a:ext uri="{FF2B5EF4-FFF2-40B4-BE49-F238E27FC236}">
                  <a16:creationId xmlns:a16="http://schemas.microsoft.com/office/drawing/2014/main" id="{6C03649D-7890-4556-90DC-FC855F5B53B5}"/>
                </a:ext>
              </a:extLst>
            </p:cNvPr>
            <p:cNvSpPr/>
            <p:nvPr/>
          </p:nvSpPr>
          <p:spPr>
            <a:xfrm>
              <a:off x="1619103" y="5644353"/>
              <a:ext cx="86901" cy="244160"/>
            </a:xfrm>
            <a:custGeom>
              <a:avLst/>
              <a:gdLst>
                <a:gd name="connsiteX0" fmla="*/ 17529 w 86901"/>
                <a:gd name="connsiteY0" fmla="*/ 244161 h 244160"/>
                <a:gd name="connsiteX1" fmla="*/ 8773 w 86901"/>
                <a:gd name="connsiteY1" fmla="*/ 241659 h 244160"/>
                <a:gd name="connsiteX2" fmla="*/ 3144 w 86901"/>
                <a:gd name="connsiteY2" fmla="*/ 218518 h 244160"/>
                <a:gd name="connsiteX3" fmla="*/ 42547 w 86901"/>
                <a:gd name="connsiteY3" fmla="*/ 151594 h 244160"/>
                <a:gd name="connsiteX4" fmla="*/ 31915 w 86901"/>
                <a:gd name="connsiteY4" fmla="*/ 112191 h 244160"/>
                <a:gd name="connsiteX5" fmla="*/ 11900 w 86901"/>
                <a:gd name="connsiteY5" fmla="*/ 91552 h 244160"/>
                <a:gd name="connsiteX6" fmla="*/ 18780 w 86901"/>
                <a:gd name="connsiteY6" fmla="*/ 12119 h 244160"/>
                <a:gd name="connsiteX7" fmla="*/ 81325 w 86901"/>
                <a:gd name="connsiteY7" fmla="*/ 12745 h 244160"/>
                <a:gd name="connsiteX8" fmla="*/ 82576 w 86901"/>
                <a:gd name="connsiteY8" fmla="*/ 36512 h 244160"/>
                <a:gd name="connsiteX9" fmla="*/ 58809 w 86901"/>
                <a:gd name="connsiteY9" fmla="*/ 38388 h 244160"/>
                <a:gd name="connsiteX10" fmla="*/ 40671 w 86901"/>
                <a:gd name="connsiteY10" fmla="*/ 37137 h 244160"/>
                <a:gd name="connsiteX11" fmla="*/ 38795 w 86901"/>
                <a:gd name="connsiteY11" fmla="*/ 72162 h 244160"/>
                <a:gd name="connsiteX12" fmla="*/ 53805 w 86901"/>
                <a:gd name="connsiteY12" fmla="*/ 87173 h 244160"/>
                <a:gd name="connsiteX13" fmla="*/ 71318 w 86901"/>
                <a:gd name="connsiteY13" fmla="*/ 167856 h 244160"/>
                <a:gd name="connsiteX14" fmla="*/ 31289 w 86901"/>
                <a:gd name="connsiteY14" fmla="*/ 236030 h 244160"/>
                <a:gd name="connsiteX15" fmla="*/ 17529 w 86901"/>
                <a:gd name="connsiteY15" fmla="*/ 244161 h 244160"/>
                <a:gd name="connsiteX16" fmla="*/ 17529 w 86901"/>
                <a:gd name="connsiteY16" fmla="*/ 244161 h 244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6901" h="244160">
                  <a:moveTo>
                    <a:pt x="17529" y="244161"/>
                  </a:moveTo>
                  <a:cubicBezTo>
                    <a:pt x="14402" y="244161"/>
                    <a:pt x="11900" y="243536"/>
                    <a:pt x="8773" y="241659"/>
                  </a:cubicBezTo>
                  <a:cubicBezTo>
                    <a:pt x="642" y="236655"/>
                    <a:pt x="-1860" y="226648"/>
                    <a:pt x="3144" y="218518"/>
                  </a:cubicBezTo>
                  <a:cubicBezTo>
                    <a:pt x="3144" y="217892"/>
                    <a:pt x="26911" y="179114"/>
                    <a:pt x="42547" y="151594"/>
                  </a:cubicBezTo>
                  <a:cubicBezTo>
                    <a:pt x="53805" y="131580"/>
                    <a:pt x="48176" y="126577"/>
                    <a:pt x="31915" y="112191"/>
                  </a:cubicBezTo>
                  <a:cubicBezTo>
                    <a:pt x="25660" y="106562"/>
                    <a:pt x="18155" y="99682"/>
                    <a:pt x="11900" y="91552"/>
                  </a:cubicBezTo>
                  <a:cubicBezTo>
                    <a:pt x="-8740" y="62781"/>
                    <a:pt x="17" y="29007"/>
                    <a:pt x="18780" y="12119"/>
                  </a:cubicBezTo>
                  <a:cubicBezTo>
                    <a:pt x="36918" y="-4143"/>
                    <a:pt x="61936" y="-4143"/>
                    <a:pt x="81325" y="12745"/>
                  </a:cubicBezTo>
                  <a:cubicBezTo>
                    <a:pt x="88205" y="18999"/>
                    <a:pt x="88831" y="29632"/>
                    <a:pt x="82576" y="36512"/>
                  </a:cubicBezTo>
                  <a:cubicBezTo>
                    <a:pt x="76322" y="43392"/>
                    <a:pt x="65689" y="44017"/>
                    <a:pt x="58809" y="38388"/>
                  </a:cubicBezTo>
                  <a:cubicBezTo>
                    <a:pt x="51929" y="32759"/>
                    <a:pt x="46300" y="32134"/>
                    <a:pt x="40671" y="37137"/>
                  </a:cubicBezTo>
                  <a:cubicBezTo>
                    <a:pt x="33791" y="43392"/>
                    <a:pt x="28787" y="58402"/>
                    <a:pt x="38795" y="72162"/>
                  </a:cubicBezTo>
                  <a:cubicBezTo>
                    <a:pt x="42547" y="77166"/>
                    <a:pt x="48176" y="82170"/>
                    <a:pt x="53805" y="87173"/>
                  </a:cubicBezTo>
                  <a:cubicBezTo>
                    <a:pt x="70067" y="102184"/>
                    <a:pt x="95711" y="124700"/>
                    <a:pt x="71318" y="167856"/>
                  </a:cubicBezTo>
                  <a:cubicBezTo>
                    <a:pt x="55682" y="196001"/>
                    <a:pt x="31915" y="235405"/>
                    <a:pt x="31289" y="236030"/>
                  </a:cubicBezTo>
                  <a:cubicBezTo>
                    <a:pt x="28787" y="241034"/>
                    <a:pt x="23158" y="244161"/>
                    <a:pt x="17529" y="244161"/>
                  </a:cubicBezTo>
                  <a:lnTo>
                    <a:pt x="17529" y="244161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66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10547236" y="3604999"/>
            <a:ext cx="305861" cy="407793"/>
            <a:chOff x="10534899" y="3604999"/>
            <a:chExt cx="305861" cy="407793"/>
          </a:xfrm>
          <a:solidFill>
            <a:srgbClr val="B1B1A1"/>
          </a:solidFill>
        </p:grpSpPr>
        <p:grpSp>
          <p:nvGrpSpPr>
            <p:cNvPr id="367" name="Gráfico 2">
              <a:extLst>
                <a:ext uri="{FF2B5EF4-FFF2-40B4-BE49-F238E27FC236}">
                  <a16:creationId xmlns:a16="http://schemas.microsoft.com/office/drawing/2014/main" id="{A4E24395-F85F-4E15-8BC9-B92D577D4DAD}"/>
                </a:ext>
              </a:extLst>
            </p:cNvPr>
            <p:cNvGrpSpPr/>
            <p:nvPr/>
          </p:nvGrpSpPr>
          <p:grpSpPr>
            <a:xfrm>
              <a:off x="10534899" y="3604999"/>
              <a:ext cx="305844" cy="375894"/>
              <a:chOff x="10534899" y="3604999"/>
              <a:chExt cx="305844" cy="375894"/>
            </a:xfrm>
            <a:grpFill/>
          </p:grpSpPr>
          <p:sp>
            <p:nvSpPr>
              <p:cNvPr id="368" name="Forma Livre: Forma 367">
                <a:extLst>
                  <a:ext uri="{FF2B5EF4-FFF2-40B4-BE49-F238E27FC236}">
                    <a16:creationId xmlns:a16="http://schemas.microsoft.com/office/drawing/2014/main" id="{BE357471-60B2-48C0-A2BC-74B43F27EEAC}"/>
                  </a:ext>
                </a:extLst>
              </p:cNvPr>
              <p:cNvSpPr/>
              <p:nvPr/>
            </p:nvSpPr>
            <p:spPr>
              <a:xfrm>
                <a:off x="10543030" y="3614380"/>
                <a:ext cx="116401" cy="116333"/>
              </a:xfrm>
              <a:custGeom>
                <a:avLst/>
                <a:gdLst>
                  <a:gd name="connsiteX0" fmla="*/ 108203 w 116401"/>
                  <a:gd name="connsiteY0" fmla="*/ 116333 h 116333"/>
                  <a:gd name="connsiteX1" fmla="*/ 8131 w 116401"/>
                  <a:gd name="connsiteY1" fmla="*/ 116333 h 116333"/>
                  <a:gd name="connsiteX2" fmla="*/ 0 w 116401"/>
                  <a:gd name="connsiteY2" fmla="*/ 108203 h 116333"/>
                  <a:gd name="connsiteX3" fmla="*/ 8131 w 116401"/>
                  <a:gd name="connsiteY3" fmla="*/ 100072 h 116333"/>
                  <a:gd name="connsiteX4" fmla="*/ 100072 w 116401"/>
                  <a:gd name="connsiteY4" fmla="*/ 100072 h 116333"/>
                  <a:gd name="connsiteX5" fmla="*/ 100072 w 116401"/>
                  <a:gd name="connsiteY5" fmla="*/ 8131 h 116333"/>
                  <a:gd name="connsiteX6" fmla="*/ 108203 w 116401"/>
                  <a:gd name="connsiteY6" fmla="*/ 0 h 116333"/>
                  <a:gd name="connsiteX7" fmla="*/ 116333 w 116401"/>
                  <a:gd name="connsiteY7" fmla="*/ 8131 h 116333"/>
                  <a:gd name="connsiteX8" fmla="*/ 116333 w 116401"/>
                  <a:gd name="connsiteY8" fmla="*/ 108203 h 116333"/>
                  <a:gd name="connsiteX9" fmla="*/ 108203 w 116401"/>
                  <a:gd name="connsiteY9" fmla="*/ 116333 h 116333"/>
                  <a:gd name="connsiteX10" fmla="*/ 108203 w 116401"/>
                  <a:gd name="connsiteY10" fmla="*/ 116333 h 1163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6401" h="116333">
                    <a:moveTo>
                      <a:pt x="108203" y="116333"/>
                    </a:moveTo>
                    <a:lnTo>
                      <a:pt x="8131" y="116333"/>
                    </a:lnTo>
                    <a:cubicBezTo>
                      <a:pt x="3753" y="116333"/>
                      <a:pt x="0" y="112581"/>
                      <a:pt x="0" y="108203"/>
                    </a:cubicBezTo>
                    <a:cubicBezTo>
                      <a:pt x="0" y="103824"/>
                      <a:pt x="3753" y="100072"/>
                      <a:pt x="8131" y="100072"/>
                    </a:cubicBezTo>
                    <a:lnTo>
                      <a:pt x="100072" y="100072"/>
                    </a:lnTo>
                    <a:lnTo>
                      <a:pt x="100072" y="8131"/>
                    </a:lnTo>
                    <a:cubicBezTo>
                      <a:pt x="100072" y="3753"/>
                      <a:pt x="103824" y="0"/>
                      <a:pt x="108203" y="0"/>
                    </a:cubicBezTo>
                    <a:cubicBezTo>
                      <a:pt x="112581" y="0"/>
                      <a:pt x="116333" y="3753"/>
                      <a:pt x="116333" y="8131"/>
                    </a:cubicBezTo>
                    <a:lnTo>
                      <a:pt x="116333" y="108203"/>
                    </a:lnTo>
                    <a:cubicBezTo>
                      <a:pt x="116959" y="112581"/>
                      <a:pt x="113206" y="116333"/>
                      <a:pt x="108203" y="116333"/>
                    </a:cubicBezTo>
                    <a:lnTo>
                      <a:pt x="108203" y="116333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69" name="Forma Livre: Forma 368">
                <a:extLst>
                  <a:ext uri="{FF2B5EF4-FFF2-40B4-BE49-F238E27FC236}">
                    <a16:creationId xmlns:a16="http://schemas.microsoft.com/office/drawing/2014/main" id="{FF25B05C-2665-4285-9F32-21EFE849AA94}"/>
                  </a:ext>
                </a:extLst>
              </p:cNvPr>
              <p:cNvSpPr/>
              <p:nvPr/>
            </p:nvSpPr>
            <p:spPr>
              <a:xfrm>
                <a:off x="10534899" y="3604999"/>
                <a:ext cx="305844" cy="375894"/>
              </a:xfrm>
              <a:custGeom>
                <a:avLst/>
                <a:gdLst>
                  <a:gd name="connsiteX0" fmla="*/ 16888 w 305844"/>
                  <a:gd name="connsiteY0" fmla="*/ 375895 h 375894"/>
                  <a:gd name="connsiteX1" fmla="*/ 0 w 305844"/>
                  <a:gd name="connsiteY1" fmla="*/ 359008 h 375894"/>
                  <a:gd name="connsiteX2" fmla="*/ 0 w 305844"/>
                  <a:gd name="connsiteY2" fmla="*/ 116959 h 375894"/>
                  <a:gd name="connsiteX3" fmla="*/ 5004 w 305844"/>
                  <a:gd name="connsiteY3" fmla="*/ 105075 h 375894"/>
                  <a:gd name="connsiteX4" fmla="*/ 105076 w 305844"/>
                  <a:gd name="connsiteY4" fmla="*/ 5004 h 375894"/>
                  <a:gd name="connsiteX5" fmla="*/ 116959 w 305844"/>
                  <a:gd name="connsiteY5" fmla="*/ 0 h 375894"/>
                  <a:gd name="connsiteX6" fmla="*/ 288958 w 305844"/>
                  <a:gd name="connsiteY6" fmla="*/ 0 h 375894"/>
                  <a:gd name="connsiteX7" fmla="*/ 305845 w 305844"/>
                  <a:gd name="connsiteY7" fmla="*/ 16887 h 375894"/>
                  <a:gd name="connsiteX8" fmla="*/ 305845 w 305844"/>
                  <a:gd name="connsiteY8" fmla="*/ 75054 h 375894"/>
                  <a:gd name="connsiteX9" fmla="*/ 288958 w 305844"/>
                  <a:gd name="connsiteY9" fmla="*/ 91941 h 375894"/>
                  <a:gd name="connsiteX10" fmla="*/ 272070 w 305844"/>
                  <a:gd name="connsiteY10" fmla="*/ 75054 h 375894"/>
                  <a:gd name="connsiteX11" fmla="*/ 272070 w 305844"/>
                  <a:gd name="connsiteY11" fmla="*/ 33149 h 375894"/>
                  <a:gd name="connsiteX12" fmla="*/ 123214 w 305844"/>
                  <a:gd name="connsiteY12" fmla="*/ 33149 h 375894"/>
                  <a:gd name="connsiteX13" fmla="*/ 33149 w 305844"/>
                  <a:gd name="connsiteY13" fmla="*/ 123214 h 375894"/>
                  <a:gd name="connsiteX14" fmla="*/ 33149 w 305844"/>
                  <a:gd name="connsiteY14" fmla="*/ 358382 h 375894"/>
                  <a:gd name="connsiteX15" fmla="*/ 16888 w 305844"/>
                  <a:gd name="connsiteY15" fmla="*/ 375895 h 375894"/>
                  <a:gd name="connsiteX16" fmla="*/ 16888 w 305844"/>
                  <a:gd name="connsiteY16" fmla="*/ 375895 h 3758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05844" h="375894">
                    <a:moveTo>
                      <a:pt x="16888" y="375895"/>
                    </a:moveTo>
                    <a:cubicBezTo>
                      <a:pt x="7506" y="375895"/>
                      <a:pt x="0" y="368389"/>
                      <a:pt x="0" y="359008"/>
                    </a:cubicBezTo>
                    <a:lnTo>
                      <a:pt x="0" y="116959"/>
                    </a:lnTo>
                    <a:cubicBezTo>
                      <a:pt x="0" y="112581"/>
                      <a:pt x="1877" y="108203"/>
                      <a:pt x="5004" y="105075"/>
                    </a:cubicBezTo>
                    <a:lnTo>
                      <a:pt x="105076" y="5004"/>
                    </a:lnTo>
                    <a:cubicBezTo>
                      <a:pt x="108203" y="1876"/>
                      <a:pt x="112581" y="0"/>
                      <a:pt x="116959" y="0"/>
                    </a:cubicBezTo>
                    <a:lnTo>
                      <a:pt x="288958" y="0"/>
                    </a:lnTo>
                    <a:cubicBezTo>
                      <a:pt x="298340" y="0"/>
                      <a:pt x="305845" y="7505"/>
                      <a:pt x="305845" y="16887"/>
                    </a:cubicBezTo>
                    <a:lnTo>
                      <a:pt x="305845" y="75054"/>
                    </a:lnTo>
                    <a:cubicBezTo>
                      <a:pt x="305845" y="84436"/>
                      <a:pt x="298340" y="91941"/>
                      <a:pt x="288958" y="91941"/>
                    </a:cubicBezTo>
                    <a:cubicBezTo>
                      <a:pt x="279576" y="91941"/>
                      <a:pt x="272070" y="84436"/>
                      <a:pt x="272070" y="75054"/>
                    </a:cubicBezTo>
                    <a:lnTo>
                      <a:pt x="272070" y="33149"/>
                    </a:lnTo>
                    <a:lnTo>
                      <a:pt x="123214" y="33149"/>
                    </a:lnTo>
                    <a:lnTo>
                      <a:pt x="33149" y="123214"/>
                    </a:lnTo>
                    <a:lnTo>
                      <a:pt x="33149" y="358382"/>
                    </a:lnTo>
                    <a:cubicBezTo>
                      <a:pt x="33149" y="368389"/>
                      <a:pt x="25644" y="375895"/>
                      <a:pt x="16888" y="375895"/>
                    </a:cubicBezTo>
                    <a:lnTo>
                      <a:pt x="16888" y="375895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370" name="Gráfico 2">
              <a:extLst>
                <a:ext uri="{FF2B5EF4-FFF2-40B4-BE49-F238E27FC236}">
                  <a16:creationId xmlns:a16="http://schemas.microsoft.com/office/drawing/2014/main" id="{A4E24395-F85F-4E15-8BC9-B92D577D4DAD}"/>
                </a:ext>
              </a:extLst>
            </p:cNvPr>
            <p:cNvGrpSpPr/>
            <p:nvPr/>
          </p:nvGrpSpPr>
          <p:grpSpPr>
            <a:xfrm>
              <a:off x="10580540" y="3716475"/>
              <a:ext cx="260220" cy="296317"/>
              <a:chOff x="10580540" y="3716475"/>
              <a:chExt cx="260220" cy="296317"/>
            </a:xfrm>
            <a:grpFill/>
          </p:grpSpPr>
          <p:grpSp>
            <p:nvGrpSpPr>
              <p:cNvPr id="371" name="Gráfico 2">
                <a:extLst>
                  <a:ext uri="{FF2B5EF4-FFF2-40B4-BE49-F238E27FC236}">
                    <a16:creationId xmlns:a16="http://schemas.microsoft.com/office/drawing/2014/main" id="{A4E24395-F85F-4E15-8BC9-B92D577D4DAD}"/>
                  </a:ext>
                </a:extLst>
              </p:cNvPr>
              <p:cNvGrpSpPr/>
              <p:nvPr/>
            </p:nvGrpSpPr>
            <p:grpSpPr>
              <a:xfrm>
                <a:off x="10580540" y="3770743"/>
                <a:ext cx="120745" cy="242048"/>
                <a:chOff x="10580540" y="3770743"/>
                <a:chExt cx="120745" cy="242048"/>
              </a:xfrm>
              <a:grpFill/>
            </p:grpSpPr>
            <p:sp>
              <p:nvSpPr>
                <p:cNvPr id="372" name="Forma Livre: Forma 371">
                  <a:extLst>
                    <a:ext uri="{FF2B5EF4-FFF2-40B4-BE49-F238E27FC236}">
                      <a16:creationId xmlns:a16="http://schemas.microsoft.com/office/drawing/2014/main" id="{FBA78513-3557-4E62-947C-7E429986DABF}"/>
                    </a:ext>
                  </a:extLst>
                </p:cNvPr>
                <p:cNvSpPr/>
                <p:nvPr/>
              </p:nvSpPr>
              <p:spPr>
                <a:xfrm>
                  <a:off x="10580540" y="3912094"/>
                  <a:ext cx="120745" cy="100697"/>
                </a:xfrm>
                <a:custGeom>
                  <a:avLst/>
                  <a:gdLst>
                    <a:gd name="connsiteX0" fmla="*/ 38169 w 120745"/>
                    <a:gd name="connsiteY0" fmla="*/ 100698 h 100697"/>
                    <a:gd name="connsiteX1" fmla="*/ 642 w 120745"/>
                    <a:gd name="connsiteY1" fmla="*/ 73803 h 100697"/>
                    <a:gd name="connsiteX2" fmla="*/ 48176 w 120745"/>
                    <a:gd name="connsiteY2" fmla="*/ 8756 h 100697"/>
                    <a:gd name="connsiteX3" fmla="*/ 82576 w 120745"/>
                    <a:gd name="connsiteY3" fmla="*/ 0 h 100697"/>
                    <a:gd name="connsiteX4" fmla="*/ 120103 w 120745"/>
                    <a:gd name="connsiteY4" fmla="*/ 26894 h 100697"/>
                    <a:gd name="connsiteX5" fmla="*/ 72569 w 120745"/>
                    <a:gd name="connsiteY5" fmla="*/ 91941 h 100697"/>
                    <a:gd name="connsiteX6" fmla="*/ 38169 w 120745"/>
                    <a:gd name="connsiteY6" fmla="*/ 100698 h 100697"/>
                    <a:gd name="connsiteX7" fmla="*/ 38169 w 120745"/>
                    <a:gd name="connsiteY7" fmla="*/ 100698 h 100697"/>
                    <a:gd name="connsiteX8" fmla="*/ 33791 w 120745"/>
                    <a:gd name="connsiteY8" fmla="*/ 67548 h 100697"/>
                    <a:gd name="connsiteX9" fmla="*/ 37544 w 120745"/>
                    <a:gd name="connsiteY9" fmla="*/ 67548 h 100697"/>
                    <a:gd name="connsiteX10" fmla="*/ 57558 w 120745"/>
                    <a:gd name="connsiteY10" fmla="*/ 62545 h 100697"/>
                    <a:gd name="connsiteX11" fmla="*/ 86329 w 120745"/>
                    <a:gd name="connsiteY11" fmla="*/ 33774 h 100697"/>
                    <a:gd name="connsiteX12" fmla="*/ 81951 w 120745"/>
                    <a:gd name="connsiteY12" fmla="*/ 33774 h 100697"/>
                    <a:gd name="connsiteX13" fmla="*/ 61937 w 120745"/>
                    <a:gd name="connsiteY13" fmla="*/ 38778 h 100697"/>
                    <a:gd name="connsiteX14" fmla="*/ 33166 w 120745"/>
                    <a:gd name="connsiteY14" fmla="*/ 67548 h 100697"/>
                    <a:gd name="connsiteX15" fmla="*/ 33791 w 120745"/>
                    <a:gd name="connsiteY15" fmla="*/ 67548 h 100697"/>
                    <a:gd name="connsiteX16" fmla="*/ 33791 w 120745"/>
                    <a:gd name="connsiteY16" fmla="*/ 67548 h 1006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20745" h="100697">
                      <a:moveTo>
                        <a:pt x="38169" y="100698"/>
                      </a:moveTo>
                      <a:cubicBezTo>
                        <a:pt x="18155" y="100698"/>
                        <a:pt x="3770" y="90690"/>
                        <a:pt x="642" y="73803"/>
                      </a:cubicBezTo>
                      <a:cubicBezTo>
                        <a:pt x="-4361" y="48160"/>
                        <a:pt x="20657" y="21265"/>
                        <a:pt x="48176" y="8756"/>
                      </a:cubicBezTo>
                      <a:cubicBezTo>
                        <a:pt x="60060" y="3127"/>
                        <a:pt x="71944" y="0"/>
                        <a:pt x="82576" y="0"/>
                      </a:cubicBezTo>
                      <a:cubicBezTo>
                        <a:pt x="102591" y="0"/>
                        <a:pt x="116976" y="10007"/>
                        <a:pt x="120103" y="26894"/>
                      </a:cubicBezTo>
                      <a:cubicBezTo>
                        <a:pt x="125107" y="52538"/>
                        <a:pt x="100089" y="79432"/>
                        <a:pt x="72569" y="91941"/>
                      </a:cubicBezTo>
                      <a:cubicBezTo>
                        <a:pt x="60685" y="97570"/>
                        <a:pt x="48802" y="100698"/>
                        <a:pt x="38169" y="100698"/>
                      </a:cubicBezTo>
                      <a:lnTo>
                        <a:pt x="38169" y="100698"/>
                      </a:lnTo>
                      <a:close/>
                      <a:moveTo>
                        <a:pt x="33791" y="67548"/>
                      </a:moveTo>
                      <a:cubicBezTo>
                        <a:pt x="34417" y="67548"/>
                        <a:pt x="35667" y="67548"/>
                        <a:pt x="37544" y="67548"/>
                      </a:cubicBezTo>
                      <a:cubicBezTo>
                        <a:pt x="43173" y="67548"/>
                        <a:pt x="50678" y="65672"/>
                        <a:pt x="57558" y="62545"/>
                      </a:cubicBezTo>
                      <a:cubicBezTo>
                        <a:pt x="76948" y="53163"/>
                        <a:pt x="86329" y="38778"/>
                        <a:pt x="86329" y="33774"/>
                      </a:cubicBezTo>
                      <a:cubicBezTo>
                        <a:pt x="86329" y="34400"/>
                        <a:pt x="84453" y="33774"/>
                        <a:pt x="81951" y="33774"/>
                      </a:cubicBezTo>
                      <a:cubicBezTo>
                        <a:pt x="76321" y="33774"/>
                        <a:pt x="68816" y="35651"/>
                        <a:pt x="61937" y="38778"/>
                      </a:cubicBezTo>
                      <a:cubicBezTo>
                        <a:pt x="42548" y="48160"/>
                        <a:pt x="33166" y="62545"/>
                        <a:pt x="33166" y="67548"/>
                      </a:cubicBezTo>
                      <a:cubicBezTo>
                        <a:pt x="33791" y="67548"/>
                        <a:pt x="33791" y="67548"/>
                        <a:pt x="33791" y="67548"/>
                      </a:cubicBezTo>
                      <a:lnTo>
                        <a:pt x="33791" y="67548"/>
                      </a:lnTo>
                      <a:close/>
                    </a:path>
                  </a:pathLst>
                </a:custGeom>
                <a:grpFill/>
                <a:ln w="62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373" name="Forma Livre: Forma 372">
                  <a:extLst>
                    <a:ext uri="{FF2B5EF4-FFF2-40B4-BE49-F238E27FC236}">
                      <a16:creationId xmlns:a16="http://schemas.microsoft.com/office/drawing/2014/main" id="{0398D33C-C70B-42A1-9998-C973CD49F9A4}"/>
                    </a:ext>
                  </a:extLst>
                </p:cNvPr>
                <p:cNvSpPr/>
                <p:nvPr/>
              </p:nvSpPr>
              <p:spPr>
                <a:xfrm>
                  <a:off x="10667494" y="3770743"/>
                  <a:ext cx="33774" cy="171372"/>
                </a:xfrm>
                <a:custGeom>
                  <a:avLst/>
                  <a:gdLst>
                    <a:gd name="connsiteX0" fmla="*/ 33148 w 33774"/>
                    <a:gd name="connsiteY0" fmla="*/ 171373 h 171372"/>
                    <a:gd name="connsiteX1" fmla="*/ 0 w 33774"/>
                    <a:gd name="connsiteY1" fmla="*/ 171373 h 171372"/>
                    <a:gd name="connsiteX2" fmla="*/ 0 w 33774"/>
                    <a:gd name="connsiteY2" fmla="*/ 0 h 171372"/>
                    <a:gd name="connsiteX3" fmla="*/ 33774 w 33774"/>
                    <a:gd name="connsiteY3" fmla="*/ 0 h 171372"/>
                    <a:gd name="connsiteX4" fmla="*/ 33148 w 33774"/>
                    <a:gd name="connsiteY4" fmla="*/ 171373 h 1713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774" h="171372">
                      <a:moveTo>
                        <a:pt x="33148" y="171373"/>
                      </a:moveTo>
                      <a:lnTo>
                        <a:pt x="0" y="171373"/>
                      </a:lnTo>
                      <a:lnTo>
                        <a:pt x="0" y="0"/>
                      </a:lnTo>
                      <a:lnTo>
                        <a:pt x="33774" y="0"/>
                      </a:lnTo>
                      <a:lnTo>
                        <a:pt x="33148" y="171373"/>
                      </a:lnTo>
                      <a:close/>
                    </a:path>
                  </a:pathLst>
                </a:custGeom>
                <a:grpFill/>
                <a:ln w="62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grpSp>
            <p:nvGrpSpPr>
              <p:cNvPr id="374" name="Gráfico 2">
                <a:extLst>
                  <a:ext uri="{FF2B5EF4-FFF2-40B4-BE49-F238E27FC236}">
                    <a16:creationId xmlns:a16="http://schemas.microsoft.com/office/drawing/2014/main" id="{A4E24395-F85F-4E15-8BC9-B92D577D4DAD}"/>
                  </a:ext>
                </a:extLst>
              </p:cNvPr>
              <p:cNvGrpSpPr/>
              <p:nvPr/>
            </p:nvGrpSpPr>
            <p:grpSpPr>
              <a:xfrm>
                <a:off x="10720015" y="3732590"/>
                <a:ext cx="120745" cy="242674"/>
                <a:chOff x="10720015" y="3732590"/>
                <a:chExt cx="120745" cy="242674"/>
              </a:xfrm>
              <a:grpFill/>
            </p:grpSpPr>
            <p:sp>
              <p:nvSpPr>
                <p:cNvPr id="375" name="Forma Livre: Forma 374">
                  <a:extLst>
                    <a:ext uri="{FF2B5EF4-FFF2-40B4-BE49-F238E27FC236}">
                      <a16:creationId xmlns:a16="http://schemas.microsoft.com/office/drawing/2014/main" id="{B0DBDED2-5231-4854-AF90-654576828AD8}"/>
                    </a:ext>
                  </a:extLst>
                </p:cNvPr>
                <p:cNvSpPr/>
                <p:nvPr/>
              </p:nvSpPr>
              <p:spPr>
                <a:xfrm>
                  <a:off x="10720015" y="3874567"/>
                  <a:ext cx="120745" cy="100697"/>
                </a:xfrm>
                <a:custGeom>
                  <a:avLst/>
                  <a:gdLst>
                    <a:gd name="connsiteX0" fmla="*/ 38169 w 120745"/>
                    <a:gd name="connsiteY0" fmla="*/ 100698 h 100697"/>
                    <a:gd name="connsiteX1" fmla="*/ 642 w 120745"/>
                    <a:gd name="connsiteY1" fmla="*/ 73803 h 100697"/>
                    <a:gd name="connsiteX2" fmla="*/ 48176 w 120745"/>
                    <a:gd name="connsiteY2" fmla="*/ 8756 h 100697"/>
                    <a:gd name="connsiteX3" fmla="*/ 82576 w 120745"/>
                    <a:gd name="connsiteY3" fmla="*/ 0 h 100697"/>
                    <a:gd name="connsiteX4" fmla="*/ 120103 w 120745"/>
                    <a:gd name="connsiteY4" fmla="*/ 26894 h 100697"/>
                    <a:gd name="connsiteX5" fmla="*/ 72569 w 120745"/>
                    <a:gd name="connsiteY5" fmla="*/ 91941 h 100697"/>
                    <a:gd name="connsiteX6" fmla="*/ 38169 w 120745"/>
                    <a:gd name="connsiteY6" fmla="*/ 100698 h 100697"/>
                    <a:gd name="connsiteX7" fmla="*/ 38169 w 120745"/>
                    <a:gd name="connsiteY7" fmla="*/ 100698 h 100697"/>
                    <a:gd name="connsiteX8" fmla="*/ 33791 w 120745"/>
                    <a:gd name="connsiteY8" fmla="*/ 66923 h 100697"/>
                    <a:gd name="connsiteX9" fmla="*/ 37544 w 120745"/>
                    <a:gd name="connsiteY9" fmla="*/ 66923 h 100697"/>
                    <a:gd name="connsiteX10" fmla="*/ 57558 w 120745"/>
                    <a:gd name="connsiteY10" fmla="*/ 61920 h 100697"/>
                    <a:gd name="connsiteX11" fmla="*/ 86329 w 120745"/>
                    <a:gd name="connsiteY11" fmla="*/ 33149 h 100697"/>
                    <a:gd name="connsiteX12" fmla="*/ 81951 w 120745"/>
                    <a:gd name="connsiteY12" fmla="*/ 33149 h 100697"/>
                    <a:gd name="connsiteX13" fmla="*/ 61936 w 120745"/>
                    <a:gd name="connsiteY13" fmla="*/ 38153 h 100697"/>
                    <a:gd name="connsiteX14" fmla="*/ 33165 w 120745"/>
                    <a:gd name="connsiteY14" fmla="*/ 66923 h 100697"/>
                    <a:gd name="connsiteX15" fmla="*/ 33791 w 120745"/>
                    <a:gd name="connsiteY15" fmla="*/ 66923 h 100697"/>
                    <a:gd name="connsiteX16" fmla="*/ 33791 w 120745"/>
                    <a:gd name="connsiteY16" fmla="*/ 66923 h 1006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20745" h="100697">
                      <a:moveTo>
                        <a:pt x="38169" y="100698"/>
                      </a:moveTo>
                      <a:cubicBezTo>
                        <a:pt x="18155" y="100698"/>
                        <a:pt x="3770" y="90690"/>
                        <a:pt x="642" y="73803"/>
                      </a:cubicBezTo>
                      <a:cubicBezTo>
                        <a:pt x="-4361" y="48160"/>
                        <a:pt x="20657" y="21265"/>
                        <a:pt x="48176" y="8756"/>
                      </a:cubicBezTo>
                      <a:cubicBezTo>
                        <a:pt x="60060" y="3127"/>
                        <a:pt x="71944" y="0"/>
                        <a:pt x="82576" y="0"/>
                      </a:cubicBezTo>
                      <a:cubicBezTo>
                        <a:pt x="102590" y="0"/>
                        <a:pt x="116976" y="10007"/>
                        <a:pt x="120103" y="26894"/>
                      </a:cubicBezTo>
                      <a:cubicBezTo>
                        <a:pt x="125107" y="52538"/>
                        <a:pt x="100089" y="79432"/>
                        <a:pt x="72569" y="91941"/>
                      </a:cubicBezTo>
                      <a:cubicBezTo>
                        <a:pt x="60685" y="97570"/>
                        <a:pt x="48802" y="100698"/>
                        <a:pt x="38169" y="100698"/>
                      </a:cubicBezTo>
                      <a:lnTo>
                        <a:pt x="38169" y="100698"/>
                      </a:lnTo>
                      <a:close/>
                      <a:moveTo>
                        <a:pt x="33791" y="66923"/>
                      </a:moveTo>
                      <a:cubicBezTo>
                        <a:pt x="34417" y="66923"/>
                        <a:pt x="35667" y="66923"/>
                        <a:pt x="37544" y="66923"/>
                      </a:cubicBezTo>
                      <a:cubicBezTo>
                        <a:pt x="43173" y="66923"/>
                        <a:pt x="50678" y="65047"/>
                        <a:pt x="57558" y="61920"/>
                      </a:cubicBezTo>
                      <a:cubicBezTo>
                        <a:pt x="76947" y="52538"/>
                        <a:pt x="86329" y="38153"/>
                        <a:pt x="86329" y="33149"/>
                      </a:cubicBezTo>
                      <a:cubicBezTo>
                        <a:pt x="85703" y="33774"/>
                        <a:pt x="84453" y="33149"/>
                        <a:pt x="81951" y="33149"/>
                      </a:cubicBezTo>
                      <a:cubicBezTo>
                        <a:pt x="76322" y="33149"/>
                        <a:pt x="68817" y="35025"/>
                        <a:pt x="61936" y="38153"/>
                      </a:cubicBezTo>
                      <a:cubicBezTo>
                        <a:pt x="42547" y="47534"/>
                        <a:pt x="33165" y="61920"/>
                        <a:pt x="33165" y="66923"/>
                      </a:cubicBezTo>
                      <a:cubicBezTo>
                        <a:pt x="33165" y="66923"/>
                        <a:pt x="33791" y="66923"/>
                        <a:pt x="33791" y="66923"/>
                      </a:cubicBezTo>
                      <a:lnTo>
                        <a:pt x="33791" y="66923"/>
                      </a:lnTo>
                      <a:close/>
                    </a:path>
                  </a:pathLst>
                </a:custGeom>
                <a:grpFill/>
                <a:ln w="62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376" name="Forma Livre: Forma 375">
                  <a:extLst>
                    <a:ext uri="{FF2B5EF4-FFF2-40B4-BE49-F238E27FC236}">
                      <a16:creationId xmlns:a16="http://schemas.microsoft.com/office/drawing/2014/main" id="{59A0567E-0391-4094-A941-88B47CDC0152}"/>
                    </a:ext>
                  </a:extLst>
                </p:cNvPr>
                <p:cNvSpPr/>
                <p:nvPr/>
              </p:nvSpPr>
              <p:spPr>
                <a:xfrm>
                  <a:off x="10806969" y="3732590"/>
                  <a:ext cx="33149" cy="171998"/>
                </a:xfrm>
                <a:custGeom>
                  <a:avLst/>
                  <a:gdLst>
                    <a:gd name="connsiteX0" fmla="*/ 33149 w 33149"/>
                    <a:gd name="connsiteY0" fmla="*/ 171999 h 171998"/>
                    <a:gd name="connsiteX1" fmla="*/ 0 w 33149"/>
                    <a:gd name="connsiteY1" fmla="*/ 171999 h 171998"/>
                    <a:gd name="connsiteX2" fmla="*/ 0 w 33149"/>
                    <a:gd name="connsiteY2" fmla="*/ 0 h 171998"/>
                    <a:gd name="connsiteX3" fmla="*/ 33149 w 33149"/>
                    <a:gd name="connsiteY3" fmla="*/ 0 h 171998"/>
                    <a:gd name="connsiteX4" fmla="*/ 33149 w 33149"/>
                    <a:gd name="connsiteY4" fmla="*/ 171999 h 1719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149" h="171998">
                      <a:moveTo>
                        <a:pt x="33149" y="171999"/>
                      </a:moveTo>
                      <a:lnTo>
                        <a:pt x="0" y="171999"/>
                      </a:lnTo>
                      <a:lnTo>
                        <a:pt x="0" y="0"/>
                      </a:lnTo>
                      <a:lnTo>
                        <a:pt x="33149" y="0"/>
                      </a:lnTo>
                      <a:lnTo>
                        <a:pt x="33149" y="171999"/>
                      </a:lnTo>
                      <a:close/>
                    </a:path>
                  </a:pathLst>
                </a:custGeom>
                <a:grpFill/>
                <a:ln w="62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sp>
            <p:nvSpPr>
              <p:cNvPr id="377" name="Forma Livre: Forma 376">
                <a:extLst>
                  <a:ext uri="{FF2B5EF4-FFF2-40B4-BE49-F238E27FC236}">
                    <a16:creationId xmlns:a16="http://schemas.microsoft.com/office/drawing/2014/main" id="{86C6C642-693D-4744-A810-E18777A4E065}"/>
                  </a:ext>
                </a:extLst>
              </p:cNvPr>
              <p:cNvSpPr/>
              <p:nvPr/>
            </p:nvSpPr>
            <p:spPr>
              <a:xfrm>
                <a:off x="10668120" y="3716475"/>
                <a:ext cx="172623" cy="128696"/>
              </a:xfrm>
              <a:custGeom>
                <a:avLst/>
                <a:gdLst>
                  <a:gd name="connsiteX0" fmla="*/ 16262 w 172623"/>
                  <a:gd name="connsiteY0" fmla="*/ 128696 h 128696"/>
                  <a:gd name="connsiteX1" fmla="*/ 6254 w 172623"/>
                  <a:gd name="connsiteY1" fmla="*/ 125569 h 128696"/>
                  <a:gd name="connsiteX2" fmla="*/ 0 w 172623"/>
                  <a:gd name="connsiteY2" fmla="*/ 112435 h 128696"/>
                  <a:gd name="connsiteX3" fmla="*/ 0 w 172623"/>
                  <a:gd name="connsiteY3" fmla="*/ 54268 h 128696"/>
                  <a:gd name="connsiteX4" fmla="*/ 12509 w 172623"/>
                  <a:gd name="connsiteY4" fmla="*/ 38006 h 128696"/>
                  <a:gd name="connsiteX5" fmla="*/ 151984 w 172623"/>
                  <a:gd name="connsiteY5" fmla="*/ 479 h 128696"/>
                  <a:gd name="connsiteX6" fmla="*/ 166369 w 172623"/>
                  <a:gd name="connsiteY6" fmla="*/ 3606 h 128696"/>
                  <a:gd name="connsiteX7" fmla="*/ 172624 w 172623"/>
                  <a:gd name="connsiteY7" fmla="*/ 16741 h 128696"/>
                  <a:gd name="connsiteX8" fmla="*/ 172624 w 172623"/>
                  <a:gd name="connsiteY8" fmla="*/ 74908 h 128696"/>
                  <a:gd name="connsiteX9" fmla="*/ 160115 w 172623"/>
                  <a:gd name="connsiteY9" fmla="*/ 91169 h 128696"/>
                  <a:gd name="connsiteX10" fmla="*/ 20640 w 172623"/>
                  <a:gd name="connsiteY10" fmla="*/ 128696 h 128696"/>
                  <a:gd name="connsiteX11" fmla="*/ 16262 w 172623"/>
                  <a:gd name="connsiteY11" fmla="*/ 128696 h 128696"/>
                  <a:gd name="connsiteX12" fmla="*/ 16262 w 172623"/>
                  <a:gd name="connsiteY12" fmla="*/ 128696 h 128696"/>
                  <a:gd name="connsiteX13" fmla="*/ 33149 w 172623"/>
                  <a:gd name="connsiteY13" fmla="*/ 66777 h 128696"/>
                  <a:gd name="connsiteX14" fmla="*/ 33149 w 172623"/>
                  <a:gd name="connsiteY14" fmla="*/ 90544 h 128696"/>
                  <a:gd name="connsiteX15" fmla="*/ 138849 w 172623"/>
                  <a:gd name="connsiteY15" fmla="*/ 61774 h 128696"/>
                  <a:gd name="connsiteX16" fmla="*/ 138849 w 172623"/>
                  <a:gd name="connsiteY16" fmla="*/ 38006 h 128696"/>
                  <a:gd name="connsiteX17" fmla="*/ 33149 w 172623"/>
                  <a:gd name="connsiteY17" fmla="*/ 66777 h 128696"/>
                  <a:gd name="connsiteX18" fmla="*/ 33149 w 172623"/>
                  <a:gd name="connsiteY18" fmla="*/ 66777 h 1286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72623" h="128696">
                    <a:moveTo>
                      <a:pt x="16262" y="128696"/>
                    </a:moveTo>
                    <a:cubicBezTo>
                      <a:pt x="12509" y="128696"/>
                      <a:pt x="9382" y="127446"/>
                      <a:pt x="6254" y="125569"/>
                    </a:cubicBezTo>
                    <a:cubicBezTo>
                      <a:pt x="1877" y="122442"/>
                      <a:pt x="0" y="117438"/>
                      <a:pt x="0" y="112435"/>
                    </a:cubicBezTo>
                    <a:lnTo>
                      <a:pt x="0" y="54268"/>
                    </a:lnTo>
                    <a:cubicBezTo>
                      <a:pt x="0" y="46763"/>
                      <a:pt x="5004" y="39883"/>
                      <a:pt x="12509" y="38006"/>
                    </a:cubicBezTo>
                    <a:lnTo>
                      <a:pt x="151984" y="479"/>
                    </a:lnTo>
                    <a:cubicBezTo>
                      <a:pt x="156988" y="-772"/>
                      <a:pt x="162617" y="479"/>
                      <a:pt x="166369" y="3606"/>
                    </a:cubicBezTo>
                    <a:cubicBezTo>
                      <a:pt x="170748" y="6734"/>
                      <a:pt x="172624" y="11738"/>
                      <a:pt x="172624" y="16741"/>
                    </a:cubicBezTo>
                    <a:lnTo>
                      <a:pt x="172624" y="74908"/>
                    </a:lnTo>
                    <a:cubicBezTo>
                      <a:pt x="172624" y="82413"/>
                      <a:pt x="167621" y="89293"/>
                      <a:pt x="160115" y="91169"/>
                    </a:cubicBezTo>
                    <a:lnTo>
                      <a:pt x="20640" y="128696"/>
                    </a:lnTo>
                    <a:cubicBezTo>
                      <a:pt x="19389" y="128696"/>
                      <a:pt x="17513" y="128696"/>
                      <a:pt x="16262" y="128696"/>
                    </a:cubicBezTo>
                    <a:lnTo>
                      <a:pt x="16262" y="128696"/>
                    </a:lnTo>
                    <a:close/>
                    <a:moveTo>
                      <a:pt x="33149" y="66777"/>
                    </a:moveTo>
                    <a:lnTo>
                      <a:pt x="33149" y="90544"/>
                    </a:lnTo>
                    <a:lnTo>
                      <a:pt x="138849" y="61774"/>
                    </a:lnTo>
                    <a:lnTo>
                      <a:pt x="138849" y="38006"/>
                    </a:lnTo>
                    <a:lnTo>
                      <a:pt x="33149" y="66777"/>
                    </a:lnTo>
                    <a:lnTo>
                      <a:pt x="33149" y="66777"/>
                    </a:lnTo>
                    <a:close/>
                  </a:path>
                </a:pathLst>
              </a:custGeom>
              <a:grpFill/>
              <a:ln w="6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sp>
        <p:nvSpPr>
          <p:cNvPr id="378" name="Forma Livre: Forma 377">
            <a:extLst>
              <a:ext uri="{FF2B5EF4-FFF2-40B4-BE49-F238E27FC236}">
                <a16:creationId xmlns:a16="http://schemas.microsoft.com/office/drawing/2014/main" id="{9530E039-A737-4B57-BB93-5D6CE7A2B275}"/>
              </a:ext>
            </a:extLst>
          </p:cNvPr>
          <p:cNvSpPr/>
          <p:nvPr/>
        </p:nvSpPr>
        <p:spPr>
          <a:xfrm>
            <a:off x="8455713" y="1571038"/>
            <a:ext cx="410940" cy="355255"/>
          </a:xfrm>
          <a:custGeom>
            <a:avLst/>
            <a:gdLst>
              <a:gd name="connsiteX0" fmla="*/ 207669 w 410940"/>
              <a:gd name="connsiteY0" fmla="*/ 355255 h 355255"/>
              <a:gd name="connsiteX1" fmla="*/ 199538 w 410940"/>
              <a:gd name="connsiteY1" fmla="*/ 353379 h 355255"/>
              <a:gd name="connsiteX2" fmla="*/ 197662 w 410940"/>
              <a:gd name="connsiteY2" fmla="*/ 352128 h 355255"/>
              <a:gd name="connsiteX3" fmla="*/ 192658 w 410940"/>
              <a:gd name="connsiteY3" fmla="*/ 348375 h 355255"/>
              <a:gd name="connsiteX4" fmla="*/ 128863 w 410940"/>
              <a:gd name="connsiteY4" fmla="*/ 302717 h 355255"/>
              <a:gd name="connsiteX5" fmla="*/ 5649 w 410940"/>
              <a:gd name="connsiteY5" fmla="*/ 166995 h 355255"/>
              <a:gd name="connsiteX6" fmla="*/ 20 w 410940"/>
              <a:gd name="connsiteY6" fmla="*/ 130093 h 355255"/>
              <a:gd name="connsiteX7" fmla="*/ 36921 w 410940"/>
              <a:gd name="connsiteY7" fmla="*/ 36276 h 355255"/>
              <a:gd name="connsiteX8" fmla="*/ 116979 w 410940"/>
              <a:gd name="connsiteY8" fmla="*/ 1876 h 355255"/>
              <a:gd name="connsiteX9" fmla="*/ 116979 w 410940"/>
              <a:gd name="connsiteY9" fmla="*/ 1876 h 355255"/>
              <a:gd name="connsiteX10" fmla="*/ 204542 w 410940"/>
              <a:gd name="connsiteY10" fmla="*/ 40029 h 355255"/>
              <a:gd name="connsiteX11" fmla="*/ 290854 w 410940"/>
              <a:gd name="connsiteY11" fmla="*/ 0 h 355255"/>
              <a:gd name="connsiteX12" fmla="*/ 293356 w 410940"/>
              <a:gd name="connsiteY12" fmla="*/ 0 h 355255"/>
              <a:gd name="connsiteX13" fmla="*/ 410940 w 410940"/>
              <a:gd name="connsiteY13" fmla="*/ 125090 h 355255"/>
              <a:gd name="connsiteX14" fmla="*/ 405936 w 410940"/>
              <a:gd name="connsiteY14" fmla="*/ 163868 h 355255"/>
              <a:gd name="connsiteX15" fmla="*/ 286476 w 410940"/>
              <a:gd name="connsiteY15" fmla="*/ 301467 h 355255"/>
              <a:gd name="connsiteX16" fmla="*/ 217676 w 410940"/>
              <a:gd name="connsiteY16" fmla="*/ 353379 h 355255"/>
              <a:gd name="connsiteX17" fmla="*/ 207669 w 410940"/>
              <a:gd name="connsiteY17" fmla="*/ 355255 h 355255"/>
              <a:gd name="connsiteX18" fmla="*/ 207669 w 410940"/>
              <a:gd name="connsiteY18" fmla="*/ 355255 h 355255"/>
              <a:gd name="connsiteX19" fmla="*/ 117604 w 410940"/>
              <a:gd name="connsiteY19" fmla="*/ 35025 h 355255"/>
              <a:gd name="connsiteX20" fmla="*/ 60063 w 410940"/>
              <a:gd name="connsiteY20" fmla="*/ 59418 h 355255"/>
              <a:gd name="connsiteX21" fmla="*/ 33169 w 410940"/>
              <a:gd name="connsiteY21" fmla="*/ 129468 h 355255"/>
              <a:gd name="connsiteX22" fmla="*/ 37547 w 410940"/>
              <a:gd name="connsiteY22" fmla="*/ 158239 h 355255"/>
              <a:gd name="connsiteX23" fmla="*/ 149502 w 410940"/>
              <a:gd name="connsiteY23" fmla="*/ 276449 h 355255"/>
              <a:gd name="connsiteX24" fmla="*/ 208295 w 410940"/>
              <a:gd name="connsiteY24" fmla="*/ 318979 h 355255"/>
              <a:gd name="connsiteX25" fmla="*/ 264585 w 410940"/>
              <a:gd name="connsiteY25" fmla="*/ 275823 h 355255"/>
              <a:gd name="connsiteX26" fmla="*/ 372788 w 410940"/>
              <a:gd name="connsiteY26" fmla="*/ 156362 h 355255"/>
              <a:gd name="connsiteX27" fmla="*/ 377166 w 410940"/>
              <a:gd name="connsiteY27" fmla="*/ 125715 h 355255"/>
              <a:gd name="connsiteX28" fmla="*/ 292730 w 410940"/>
              <a:gd name="connsiteY28" fmla="*/ 33149 h 355255"/>
              <a:gd name="connsiteX29" fmla="*/ 290854 w 410940"/>
              <a:gd name="connsiteY29" fmla="*/ 33149 h 355255"/>
              <a:gd name="connsiteX30" fmla="*/ 218928 w 410940"/>
              <a:gd name="connsiteY30" fmla="*/ 76305 h 355255"/>
              <a:gd name="connsiteX31" fmla="*/ 204542 w 410940"/>
              <a:gd name="connsiteY31" fmla="*/ 84436 h 355255"/>
              <a:gd name="connsiteX32" fmla="*/ 204542 w 410940"/>
              <a:gd name="connsiteY32" fmla="*/ 84436 h 355255"/>
              <a:gd name="connsiteX33" fmla="*/ 190156 w 410940"/>
              <a:gd name="connsiteY33" fmla="*/ 76305 h 355255"/>
              <a:gd name="connsiteX34" fmla="*/ 117604 w 410940"/>
              <a:gd name="connsiteY34" fmla="*/ 35025 h 355255"/>
              <a:gd name="connsiteX35" fmla="*/ 117604 w 410940"/>
              <a:gd name="connsiteY35" fmla="*/ 35025 h 355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410940" h="355255">
                <a:moveTo>
                  <a:pt x="207669" y="355255"/>
                </a:moveTo>
                <a:cubicBezTo>
                  <a:pt x="205167" y="355255"/>
                  <a:pt x="202040" y="354630"/>
                  <a:pt x="199538" y="353379"/>
                </a:cubicBezTo>
                <a:cubicBezTo>
                  <a:pt x="198913" y="352753"/>
                  <a:pt x="198288" y="352753"/>
                  <a:pt x="197662" y="352128"/>
                </a:cubicBezTo>
                <a:lnTo>
                  <a:pt x="192658" y="348375"/>
                </a:lnTo>
                <a:cubicBezTo>
                  <a:pt x="179524" y="339619"/>
                  <a:pt x="149502" y="318354"/>
                  <a:pt x="128863" y="302717"/>
                </a:cubicBezTo>
                <a:cubicBezTo>
                  <a:pt x="51932" y="242674"/>
                  <a:pt x="13155" y="200144"/>
                  <a:pt x="5649" y="166995"/>
                </a:cubicBezTo>
                <a:cubicBezTo>
                  <a:pt x="1896" y="156362"/>
                  <a:pt x="20" y="143228"/>
                  <a:pt x="20" y="130093"/>
                </a:cubicBezTo>
                <a:cubicBezTo>
                  <a:pt x="-606" y="94443"/>
                  <a:pt x="13155" y="60669"/>
                  <a:pt x="36921" y="36276"/>
                </a:cubicBezTo>
                <a:cubicBezTo>
                  <a:pt x="58812" y="14385"/>
                  <a:pt x="86957" y="1876"/>
                  <a:pt x="116979" y="1876"/>
                </a:cubicBezTo>
                <a:lnTo>
                  <a:pt x="116979" y="1876"/>
                </a:lnTo>
                <a:cubicBezTo>
                  <a:pt x="150754" y="1876"/>
                  <a:pt x="182026" y="15636"/>
                  <a:pt x="204542" y="40029"/>
                </a:cubicBezTo>
                <a:cubicBezTo>
                  <a:pt x="226433" y="15011"/>
                  <a:pt x="257080" y="0"/>
                  <a:pt x="290854" y="0"/>
                </a:cubicBezTo>
                <a:lnTo>
                  <a:pt x="293356" y="0"/>
                </a:lnTo>
                <a:cubicBezTo>
                  <a:pt x="357152" y="0"/>
                  <a:pt x="410315" y="56290"/>
                  <a:pt x="410940" y="125090"/>
                </a:cubicBezTo>
                <a:cubicBezTo>
                  <a:pt x="410940" y="138224"/>
                  <a:pt x="409064" y="151359"/>
                  <a:pt x="405936" y="163868"/>
                </a:cubicBezTo>
                <a:cubicBezTo>
                  <a:pt x="399682" y="195140"/>
                  <a:pt x="360279" y="240798"/>
                  <a:pt x="286476" y="301467"/>
                </a:cubicBezTo>
                <a:cubicBezTo>
                  <a:pt x="257705" y="325234"/>
                  <a:pt x="234564" y="342746"/>
                  <a:pt x="217676" y="353379"/>
                </a:cubicBezTo>
                <a:cubicBezTo>
                  <a:pt x="213924" y="354630"/>
                  <a:pt x="210797" y="355255"/>
                  <a:pt x="207669" y="355255"/>
                </a:cubicBezTo>
                <a:lnTo>
                  <a:pt x="207669" y="355255"/>
                </a:lnTo>
                <a:close/>
                <a:moveTo>
                  <a:pt x="117604" y="35025"/>
                </a:moveTo>
                <a:cubicBezTo>
                  <a:pt x="95714" y="35025"/>
                  <a:pt x="75700" y="43781"/>
                  <a:pt x="60063" y="59418"/>
                </a:cubicBezTo>
                <a:cubicBezTo>
                  <a:pt x="42551" y="77556"/>
                  <a:pt x="32544" y="103199"/>
                  <a:pt x="33169" y="129468"/>
                </a:cubicBezTo>
                <a:cubicBezTo>
                  <a:pt x="33169" y="139475"/>
                  <a:pt x="35045" y="148857"/>
                  <a:pt x="37547" y="158239"/>
                </a:cubicBezTo>
                <a:cubicBezTo>
                  <a:pt x="41300" y="173249"/>
                  <a:pt x="59438" y="206398"/>
                  <a:pt x="149502" y="276449"/>
                </a:cubicBezTo>
                <a:cubicBezTo>
                  <a:pt x="167640" y="290208"/>
                  <a:pt x="193910" y="308972"/>
                  <a:pt x="208295" y="318979"/>
                </a:cubicBezTo>
                <a:cubicBezTo>
                  <a:pt x="223306" y="308972"/>
                  <a:pt x="242069" y="294587"/>
                  <a:pt x="264585" y="275823"/>
                </a:cubicBezTo>
                <a:cubicBezTo>
                  <a:pt x="352148" y="203897"/>
                  <a:pt x="369661" y="170122"/>
                  <a:pt x="372788" y="156362"/>
                </a:cubicBezTo>
                <a:cubicBezTo>
                  <a:pt x="375915" y="145730"/>
                  <a:pt x="377166" y="135722"/>
                  <a:pt x="377166" y="125715"/>
                </a:cubicBezTo>
                <a:cubicBezTo>
                  <a:pt x="376541" y="75054"/>
                  <a:pt x="338388" y="33149"/>
                  <a:pt x="292730" y="33149"/>
                </a:cubicBezTo>
                <a:cubicBezTo>
                  <a:pt x="292730" y="33149"/>
                  <a:pt x="290854" y="33149"/>
                  <a:pt x="290854" y="33149"/>
                </a:cubicBezTo>
                <a:cubicBezTo>
                  <a:pt x="260833" y="33774"/>
                  <a:pt x="233938" y="50036"/>
                  <a:pt x="218928" y="76305"/>
                </a:cubicBezTo>
                <a:cubicBezTo>
                  <a:pt x="215800" y="81308"/>
                  <a:pt x="210797" y="84436"/>
                  <a:pt x="204542" y="84436"/>
                </a:cubicBezTo>
                <a:cubicBezTo>
                  <a:pt x="204542" y="84436"/>
                  <a:pt x="204542" y="84436"/>
                  <a:pt x="204542" y="84436"/>
                </a:cubicBezTo>
                <a:cubicBezTo>
                  <a:pt x="198913" y="84436"/>
                  <a:pt x="193284" y="81308"/>
                  <a:pt x="190156" y="76305"/>
                </a:cubicBezTo>
                <a:cubicBezTo>
                  <a:pt x="173895" y="50661"/>
                  <a:pt x="147001" y="35025"/>
                  <a:pt x="117604" y="35025"/>
                </a:cubicBezTo>
                <a:lnTo>
                  <a:pt x="117604" y="35025"/>
                </a:lnTo>
                <a:close/>
              </a:path>
            </a:pathLst>
          </a:custGeom>
          <a:solidFill>
            <a:srgbClr val="B1B1A1"/>
          </a:solidFill>
          <a:ln w="6251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grpSp>
        <p:nvGrpSpPr>
          <p:cNvPr id="379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6425525" y="1549593"/>
            <a:ext cx="393428" cy="397965"/>
            <a:chOff x="6413188" y="1549593"/>
            <a:chExt cx="393428" cy="397965"/>
          </a:xfrm>
          <a:solidFill>
            <a:srgbClr val="B1B1A1"/>
          </a:solidFill>
        </p:grpSpPr>
        <p:sp>
          <p:nvSpPr>
            <p:cNvPr id="380" name="Forma Livre: Forma 379">
              <a:extLst>
                <a:ext uri="{FF2B5EF4-FFF2-40B4-BE49-F238E27FC236}">
                  <a16:creationId xmlns:a16="http://schemas.microsoft.com/office/drawing/2014/main" id="{10E085D7-7F4E-4460-ABA3-8D4BB21C6787}"/>
                </a:ext>
              </a:extLst>
            </p:cNvPr>
            <p:cNvSpPr/>
            <p:nvPr/>
          </p:nvSpPr>
          <p:spPr>
            <a:xfrm>
              <a:off x="6413188" y="1549593"/>
              <a:ext cx="393428" cy="341674"/>
            </a:xfrm>
            <a:custGeom>
              <a:avLst/>
              <a:gdLst>
                <a:gd name="connsiteX0" fmla="*/ 113206 w 393428"/>
                <a:gd name="connsiteY0" fmla="*/ 341675 h 341674"/>
                <a:gd name="connsiteX1" fmla="*/ 0 w 393428"/>
                <a:gd name="connsiteY1" fmla="*/ 220963 h 341674"/>
                <a:gd name="connsiteX2" fmla="*/ 5004 w 393428"/>
                <a:gd name="connsiteY2" fmla="*/ 183436 h 341674"/>
                <a:gd name="connsiteX3" fmla="*/ 119461 w 393428"/>
                <a:gd name="connsiteY3" fmla="*/ 52092 h 341674"/>
                <a:gd name="connsiteX4" fmla="*/ 185133 w 393428"/>
                <a:gd name="connsiteY4" fmla="*/ 2681 h 341674"/>
                <a:gd name="connsiteX5" fmla="*/ 202020 w 393428"/>
                <a:gd name="connsiteY5" fmla="*/ 2056 h 341674"/>
                <a:gd name="connsiteX6" fmla="*/ 203896 w 393428"/>
                <a:gd name="connsiteY6" fmla="*/ 3307 h 341674"/>
                <a:gd name="connsiteX7" fmla="*/ 208900 w 393428"/>
                <a:gd name="connsiteY7" fmla="*/ 7060 h 341674"/>
                <a:gd name="connsiteX8" fmla="*/ 269568 w 393428"/>
                <a:gd name="connsiteY8" fmla="*/ 50841 h 341674"/>
                <a:gd name="connsiteX9" fmla="*/ 387779 w 393428"/>
                <a:gd name="connsiteY9" fmla="*/ 180935 h 341674"/>
                <a:gd name="connsiteX10" fmla="*/ 393407 w 393428"/>
                <a:gd name="connsiteY10" fmla="*/ 216585 h 341674"/>
                <a:gd name="connsiteX11" fmla="*/ 358382 w 393428"/>
                <a:gd name="connsiteY11" fmla="*/ 306650 h 341674"/>
                <a:gd name="connsiteX12" fmla="*/ 281452 w 393428"/>
                <a:gd name="connsiteY12" fmla="*/ 339799 h 341674"/>
                <a:gd name="connsiteX13" fmla="*/ 281452 w 393428"/>
                <a:gd name="connsiteY13" fmla="*/ 339799 h 341674"/>
                <a:gd name="connsiteX14" fmla="*/ 198267 w 393428"/>
                <a:gd name="connsiteY14" fmla="*/ 303523 h 341674"/>
                <a:gd name="connsiteX15" fmla="*/ 115708 w 393428"/>
                <a:gd name="connsiteY15" fmla="*/ 341675 h 341674"/>
                <a:gd name="connsiteX16" fmla="*/ 113206 w 393428"/>
                <a:gd name="connsiteY16" fmla="*/ 341675 h 341674"/>
                <a:gd name="connsiteX17" fmla="*/ 113206 w 393428"/>
                <a:gd name="connsiteY17" fmla="*/ 341675 h 341674"/>
                <a:gd name="connsiteX18" fmla="*/ 193889 w 393428"/>
                <a:gd name="connsiteY18" fmla="*/ 36456 h 341674"/>
                <a:gd name="connsiteX19" fmla="*/ 140726 w 393428"/>
                <a:gd name="connsiteY19" fmla="*/ 77735 h 341674"/>
                <a:gd name="connsiteX20" fmla="*/ 37527 w 393428"/>
                <a:gd name="connsiteY20" fmla="*/ 191567 h 341674"/>
                <a:gd name="connsiteX21" fmla="*/ 33149 w 393428"/>
                <a:gd name="connsiteY21" fmla="*/ 220338 h 341674"/>
                <a:gd name="connsiteX22" fmla="*/ 113206 w 393428"/>
                <a:gd name="connsiteY22" fmla="*/ 307901 h 341674"/>
                <a:gd name="connsiteX23" fmla="*/ 114457 w 393428"/>
                <a:gd name="connsiteY23" fmla="*/ 307901 h 341674"/>
                <a:gd name="connsiteX24" fmla="*/ 182631 w 393428"/>
                <a:gd name="connsiteY24" fmla="*/ 266621 h 341674"/>
                <a:gd name="connsiteX25" fmla="*/ 197017 w 393428"/>
                <a:gd name="connsiteY25" fmla="*/ 258490 h 341674"/>
                <a:gd name="connsiteX26" fmla="*/ 197017 w 393428"/>
                <a:gd name="connsiteY26" fmla="*/ 258490 h 341674"/>
                <a:gd name="connsiteX27" fmla="*/ 211402 w 393428"/>
                <a:gd name="connsiteY27" fmla="*/ 266621 h 341674"/>
                <a:gd name="connsiteX28" fmla="*/ 279576 w 393428"/>
                <a:gd name="connsiteY28" fmla="*/ 306024 h 341674"/>
                <a:gd name="connsiteX29" fmla="*/ 333990 w 393428"/>
                <a:gd name="connsiteY29" fmla="*/ 282883 h 341674"/>
                <a:gd name="connsiteX30" fmla="*/ 359633 w 393428"/>
                <a:gd name="connsiteY30" fmla="*/ 216585 h 341674"/>
                <a:gd name="connsiteX31" fmla="*/ 355255 w 393428"/>
                <a:gd name="connsiteY31" fmla="*/ 189065 h 341674"/>
                <a:gd name="connsiteX32" fmla="*/ 248929 w 393428"/>
                <a:gd name="connsiteY32" fmla="*/ 76485 h 341674"/>
                <a:gd name="connsiteX33" fmla="*/ 193889 w 393428"/>
                <a:gd name="connsiteY33" fmla="*/ 36456 h 341674"/>
                <a:gd name="connsiteX34" fmla="*/ 193889 w 393428"/>
                <a:gd name="connsiteY34" fmla="*/ 36456 h 341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393428" h="341674">
                  <a:moveTo>
                    <a:pt x="113206" y="341675"/>
                  </a:moveTo>
                  <a:cubicBezTo>
                    <a:pt x="51912" y="341675"/>
                    <a:pt x="625" y="287886"/>
                    <a:pt x="0" y="220963"/>
                  </a:cubicBezTo>
                  <a:cubicBezTo>
                    <a:pt x="0" y="208454"/>
                    <a:pt x="1251" y="195320"/>
                    <a:pt x="5004" y="183436"/>
                  </a:cubicBezTo>
                  <a:cubicBezTo>
                    <a:pt x="11258" y="153415"/>
                    <a:pt x="48785" y="109633"/>
                    <a:pt x="119461" y="52092"/>
                  </a:cubicBezTo>
                  <a:cubicBezTo>
                    <a:pt x="146981" y="29576"/>
                    <a:pt x="168871" y="12689"/>
                    <a:pt x="185133" y="2681"/>
                  </a:cubicBezTo>
                  <a:cubicBezTo>
                    <a:pt x="190136" y="-446"/>
                    <a:pt x="197017" y="-1071"/>
                    <a:pt x="202020" y="2056"/>
                  </a:cubicBezTo>
                  <a:cubicBezTo>
                    <a:pt x="202645" y="2681"/>
                    <a:pt x="203271" y="2681"/>
                    <a:pt x="203896" y="3307"/>
                  </a:cubicBezTo>
                  <a:lnTo>
                    <a:pt x="208900" y="7060"/>
                  </a:lnTo>
                  <a:cubicBezTo>
                    <a:pt x="221409" y="15816"/>
                    <a:pt x="250180" y="35830"/>
                    <a:pt x="269568" y="50841"/>
                  </a:cubicBezTo>
                  <a:cubicBezTo>
                    <a:pt x="343371" y="108382"/>
                    <a:pt x="380898" y="149037"/>
                    <a:pt x="387779" y="180935"/>
                  </a:cubicBezTo>
                  <a:cubicBezTo>
                    <a:pt x="391531" y="191567"/>
                    <a:pt x="393407" y="204076"/>
                    <a:pt x="393407" y="216585"/>
                  </a:cubicBezTo>
                  <a:cubicBezTo>
                    <a:pt x="394033" y="250359"/>
                    <a:pt x="380898" y="283508"/>
                    <a:pt x="358382" y="306650"/>
                  </a:cubicBezTo>
                  <a:cubicBezTo>
                    <a:pt x="337743" y="327915"/>
                    <a:pt x="310223" y="339799"/>
                    <a:pt x="281452" y="339799"/>
                  </a:cubicBezTo>
                  <a:lnTo>
                    <a:pt x="281452" y="339799"/>
                  </a:lnTo>
                  <a:cubicBezTo>
                    <a:pt x="248929" y="339799"/>
                    <a:pt x="219533" y="326664"/>
                    <a:pt x="198267" y="303523"/>
                  </a:cubicBezTo>
                  <a:cubicBezTo>
                    <a:pt x="177002" y="327290"/>
                    <a:pt x="147606" y="341050"/>
                    <a:pt x="115708" y="341675"/>
                  </a:cubicBezTo>
                  <a:lnTo>
                    <a:pt x="113206" y="341675"/>
                  </a:lnTo>
                  <a:lnTo>
                    <a:pt x="113206" y="341675"/>
                  </a:lnTo>
                  <a:close/>
                  <a:moveTo>
                    <a:pt x="193889" y="36456"/>
                  </a:moveTo>
                  <a:cubicBezTo>
                    <a:pt x="179504" y="46463"/>
                    <a:pt x="161991" y="60223"/>
                    <a:pt x="140726" y="77735"/>
                  </a:cubicBezTo>
                  <a:cubicBezTo>
                    <a:pt x="56916" y="146535"/>
                    <a:pt x="40029" y="178433"/>
                    <a:pt x="37527" y="191567"/>
                  </a:cubicBezTo>
                  <a:cubicBezTo>
                    <a:pt x="34400" y="201574"/>
                    <a:pt x="33149" y="210956"/>
                    <a:pt x="33149" y="220338"/>
                  </a:cubicBezTo>
                  <a:cubicBezTo>
                    <a:pt x="33774" y="268497"/>
                    <a:pt x="69425" y="307901"/>
                    <a:pt x="113206" y="307901"/>
                  </a:cubicBezTo>
                  <a:lnTo>
                    <a:pt x="114457" y="307901"/>
                  </a:lnTo>
                  <a:cubicBezTo>
                    <a:pt x="142602" y="307275"/>
                    <a:pt x="168246" y="292265"/>
                    <a:pt x="182631" y="266621"/>
                  </a:cubicBezTo>
                  <a:cubicBezTo>
                    <a:pt x="185759" y="261617"/>
                    <a:pt x="190762" y="258490"/>
                    <a:pt x="197017" y="258490"/>
                  </a:cubicBezTo>
                  <a:cubicBezTo>
                    <a:pt x="197017" y="258490"/>
                    <a:pt x="197017" y="258490"/>
                    <a:pt x="197017" y="258490"/>
                  </a:cubicBezTo>
                  <a:cubicBezTo>
                    <a:pt x="202645" y="258490"/>
                    <a:pt x="208275" y="261617"/>
                    <a:pt x="211402" y="266621"/>
                  </a:cubicBezTo>
                  <a:cubicBezTo>
                    <a:pt x="226413" y="291014"/>
                    <a:pt x="252056" y="306024"/>
                    <a:pt x="279576" y="306024"/>
                  </a:cubicBezTo>
                  <a:cubicBezTo>
                    <a:pt x="300216" y="306024"/>
                    <a:pt x="319604" y="297894"/>
                    <a:pt x="333990" y="282883"/>
                  </a:cubicBezTo>
                  <a:cubicBezTo>
                    <a:pt x="350877" y="265996"/>
                    <a:pt x="360259" y="241603"/>
                    <a:pt x="359633" y="216585"/>
                  </a:cubicBezTo>
                  <a:cubicBezTo>
                    <a:pt x="359633" y="207203"/>
                    <a:pt x="358382" y="197822"/>
                    <a:pt x="355255" y="189065"/>
                  </a:cubicBezTo>
                  <a:cubicBezTo>
                    <a:pt x="352128" y="174680"/>
                    <a:pt x="333990" y="143408"/>
                    <a:pt x="248929" y="76485"/>
                  </a:cubicBezTo>
                  <a:cubicBezTo>
                    <a:pt x="232042" y="63976"/>
                    <a:pt x="207024" y="46463"/>
                    <a:pt x="193889" y="36456"/>
                  </a:cubicBezTo>
                  <a:lnTo>
                    <a:pt x="193889" y="36456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81" name="Forma Livre: Forma 380">
              <a:extLst>
                <a:ext uri="{FF2B5EF4-FFF2-40B4-BE49-F238E27FC236}">
                  <a16:creationId xmlns:a16="http://schemas.microsoft.com/office/drawing/2014/main" id="{5E155A7A-7FCF-4983-ACA1-15C93EA163C5}"/>
                </a:ext>
              </a:extLst>
            </p:cNvPr>
            <p:cNvSpPr/>
            <p:nvPr/>
          </p:nvSpPr>
          <p:spPr>
            <a:xfrm>
              <a:off x="6516802" y="1829348"/>
              <a:ext cx="186786" cy="118209"/>
            </a:xfrm>
            <a:custGeom>
              <a:avLst/>
              <a:gdLst>
                <a:gd name="connsiteX0" fmla="*/ 169082 w 186786"/>
                <a:gd name="connsiteY0" fmla="*/ 118210 h 118209"/>
                <a:gd name="connsiteX1" fmla="*/ 16473 w 186786"/>
                <a:gd name="connsiteY1" fmla="*/ 118210 h 118209"/>
                <a:gd name="connsiteX2" fmla="*/ 211 w 186786"/>
                <a:gd name="connsiteY2" fmla="*/ 104450 h 118209"/>
                <a:gd name="connsiteX3" fmla="*/ 11469 w 186786"/>
                <a:gd name="connsiteY3" fmla="*/ 85687 h 118209"/>
                <a:gd name="connsiteX4" fmla="*/ 77141 w 186786"/>
                <a:gd name="connsiteY4" fmla="*/ 12509 h 118209"/>
                <a:gd name="connsiteX5" fmla="*/ 93403 w 186786"/>
                <a:gd name="connsiteY5" fmla="*/ 0 h 118209"/>
                <a:gd name="connsiteX6" fmla="*/ 93403 w 186786"/>
                <a:gd name="connsiteY6" fmla="*/ 0 h 118209"/>
                <a:gd name="connsiteX7" fmla="*/ 109665 w 186786"/>
                <a:gd name="connsiteY7" fmla="*/ 12509 h 118209"/>
                <a:gd name="connsiteX8" fmla="*/ 175337 w 186786"/>
                <a:gd name="connsiteY8" fmla="*/ 85687 h 118209"/>
                <a:gd name="connsiteX9" fmla="*/ 186595 w 186786"/>
                <a:gd name="connsiteY9" fmla="*/ 104450 h 118209"/>
                <a:gd name="connsiteX10" fmla="*/ 169082 w 186786"/>
                <a:gd name="connsiteY10" fmla="*/ 118210 h 118209"/>
                <a:gd name="connsiteX11" fmla="*/ 169082 w 186786"/>
                <a:gd name="connsiteY11" fmla="*/ 118210 h 118209"/>
                <a:gd name="connsiteX12" fmla="*/ 73389 w 186786"/>
                <a:gd name="connsiteY12" fmla="*/ 85061 h 118209"/>
                <a:gd name="connsiteX13" fmla="*/ 112792 w 186786"/>
                <a:gd name="connsiteY13" fmla="*/ 85061 h 118209"/>
                <a:gd name="connsiteX14" fmla="*/ 93403 w 186786"/>
                <a:gd name="connsiteY14" fmla="*/ 60043 h 118209"/>
                <a:gd name="connsiteX15" fmla="*/ 73389 w 186786"/>
                <a:gd name="connsiteY15" fmla="*/ 85061 h 118209"/>
                <a:gd name="connsiteX16" fmla="*/ 73389 w 186786"/>
                <a:gd name="connsiteY16" fmla="*/ 85061 h 118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86786" h="118209">
                  <a:moveTo>
                    <a:pt x="169082" y="118210"/>
                  </a:moveTo>
                  <a:lnTo>
                    <a:pt x="16473" y="118210"/>
                  </a:lnTo>
                  <a:cubicBezTo>
                    <a:pt x="8342" y="118210"/>
                    <a:pt x="1462" y="112581"/>
                    <a:pt x="211" y="104450"/>
                  </a:cubicBezTo>
                  <a:cubicBezTo>
                    <a:pt x="-1040" y="96319"/>
                    <a:pt x="3338" y="88814"/>
                    <a:pt x="11469" y="85687"/>
                  </a:cubicBezTo>
                  <a:cubicBezTo>
                    <a:pt x="43367" y="74428"/>
                    <a:pt x="68385" y="47534"/>
                    <a:pt x="77141" y="12509"/>
                  </a:cubicBezTo>
                  <a:cubicBezTo>
                    <a:pt x="79018" y="5004"/>
                    <a:pt x="85898" y="0"/>
                    <a:pt x="93403" y="0"/>
                  </a:cubicBezTo>
                  <a:lnTo>
                    <a:pt x="93403" y="0"/>
                  </a:lnTo>
                  <a:cubicBezTo>
                    <a:pt x="100909" y="0"/>
                    <a:pt x="107789" y="5004"/>
                    <a:pt x="109665" y="12509"/>
                  </a:cubicBezTo>
                  <a:cubicBezTo>
                    <a:pt x="118421" y="46909"/>
                    <a:pt x="142814" y="74428"/>
                    <a:pt x="175337" y="85687"/>
                  </a:cubicBezTo>
                  <a:cubicBezTo>
                    <a:pt x="182842" y="88188"/>
                    <a:pt x="187846" y="96319"/>
                    <a:pt x="186595" y="104450"/>
                  </a:cubicBezTo>
                  <a:cubicBezTo>
                    <a:pt x="184093" y="112581"/>
                    <a:pt x="177213" y="118210"/>
                    <a:pt x="169082" y="118210"/>
                  </a:cubicBezTo>
                  <a:lnTo>
                    <a:pt x="169082" y="118210"/>
                  </a:lnTo>
                  <a:close/>
                  <a:moveTo>
                    <a:pt x="73389" y="85061"/>
                  </a:moveTo>
                  <a:lnTo>
                    <a:pt x="112792" y="85061"/>
                  </a:lnTo>
                  <a:cubicBezTo>
                    <a:pt x="105287" y="77556"/>
                    <a:pt x="99032" y="68799"/>
                    <a:pt x="93403" y="60043"/>
                  </a:cubicBezTo>
                  <a:cubicBezTo>
                    <a:pt x="87149" y="69425"/>
                    <a:pt x="80894" y="77556"/>
                    <a:pt x="73389" y="85061"/>
                  </a:cubicBezTo>
                  <a:lnTo>
                    <a:pt x="73389" y="85061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82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7456891" y="1544143"/>
            <a:ext cx="377771" cy="409043"/>
            <a:chOff x="7444554" y="1544143"/>
            <a:chExt cx="377771" cy="409043"/>
          </a:xfrm>
          <a:solidFill>
            <a:srgbClr val="B1B1A1"/>
          </a:solidFill>
        </p:grpSpPr>
        <p:sp>
          <p:nvSpPr>
            <p:cNvPr id="383" name="Forma Livre: Forma 382">
              <a:extLst>
                <a:ext uri="{FF2B5EF4-FFF2-40B4-BE49-F238E27FC236}">
                  <a16:creationId xmlns:a16="http://schemas.microsoft.com/office/drawing/2014/main" id="{B3EB272F-C3B8-4E8F-9EC8-2A3E916FB3F3}"/>
                </a:ext>
              </a:extLst>
            </p:cNvPr>
            <p:cNvSpPr/>
            <p:nvPr/>
          </p:nvSpPr>
          <p:spPr>
            <a:xfrm>
              <a:off x="7540662" y="1834977"/>
              <a:ext cx="186786" cy="118209"/>
            </a:xfrm>
            <a:custGeom>
              <a:avLst/>
              <a:gdLst>
                <a:gd name="connsiteX0" fmla="*/ 169082 w 186786"/>
                <a:gd name="connsiteY0" fmla="*/ 118210 h 118209"/>
                <a:gd name="connsiteX1" fmla="*/ 16473 w 186786"/>
                <a:gd name="connsiteY1" fmla="*/ 118210 h 118209"/>
                <a:gd name="connsiteX2" fmla="*/ 211 w 186786"/>
                <a:gd name="connsiteY2" fmla="*/ 104450 h 118209"/>
                <a:gd name="connsiteX3" fmla="*/ 11469 w 186786"/>
                <a:gd name="connsiteY3" fmla="*/ 85687 h 118209"/>
                <a:gd name="connsiteX4" fmla="*/ 77141 w 186786"/>
                <a:gd name="connsiteY4" fmla="*/ 12509 h 118209"/>
                <a:gd name="connsiteX5" fmla="*/ 93403 w 186786"/>
                <a:gd name="connsiteY5" fmla="*/ 0 h 118209"/>
                <a:gd name="connsiteX6" fmla="*/ 93403 w 186786"/>
                <a:gd name="connsiteY6" fmla="*/ 0 h 118209"/>
                <a:gd name="connsiteX7" fmla="*/ 109665 w 186786"/>
                <a:gd name="connsiteY7" fmla="*/ 12509 h 118209"/>
                <a:gd name="connsiteX8" fmla="*/ 175337 w 186786"/>
                <a:gd name="connsiteY8" fmla="*/ 85687 h 118209"/>
                <a:gd name="connsiteX9" fmla="*/ 186595 w 186786"/>
                <a:gd name="connsiteY9" fmla="*/ 104450 h 118209"/>
                <a:gd name="connsiteX10" fmla="*/ 169082 w 186786"/>
                <a:gd name="connsiteY10" fmla="*/ 118210 h 118209"/>
                <a:gd name="connsiteX11" fmla="*/ 169082 w 186786"/>
                <a:gd name="connsiteY11" fmla="*/ 118210 h 118209"/>
                <a:gd name="connsiteX12" fmla="*/ 72763 w 186786"/>
                <a:gd name="connsiteY12" fmla="*/ 85061 h 118209"/>
                <a:gd name="connsiteX13" fmla="*/ 112167 w 186786"/>
                <a:gd name="connsiteY13" fmla="*/ 85061 h 118209"/>
                <a:gd name="connsiteX14" fmla="*/ 92778 w 186786"/>
                <a:gd name="connsiteY14" fmla="*/ 60043 h 118209"/>
                <a:gd name="connsiteX15" fmla="*/ 72763 w 186786"/>
                <a:gd name="connsiteY15" fmla="*/ 85061 h 118209"/>
                <a:gd name="connsiteX16" fmla="*/ 72763 w 186786"/>
                <a:gd name="connsiteY16" fmla="*/ 85061 h 118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86786" h="118209">
                  <a:moveTo>
                    <a:pt x="169082" y="118210"/>
                  </a:moveTo>
                  <a:lnTo>
                    <a:pt x="16473" y="118210"/>
                  </a:lnTo>
                  <a:cubicBezTo>
                    <a:pt x="8342" y="118210"/>
                    <a:pt x="1462" y="112581"/>
                    <a:pt x="211" y="104450"/>
                  </a:cubicBezTo>
                  <a:cubicBezTo>
                    <a:pt x="-1040" y="96319"/>
                    <a:pt x="3338" y="88814"/>
                    <a:pt x="11469" y="85687"/>
                  </a:cubicBezTo>
                  <a:cubicBezTo>
                    <a:pt x="43367" y="74429"/>
                    <a:pt x="68385" y="47534"/>
                    <a:pt x="77141" y="12509"/>
                  </a:cubicBezTo>
                  <a:cubicBezTo>
                    <a:pt x="79018" y="5004"/>
                    <a:pt x="85898" y="0"/>
                    <a:pt x="93403" y="0"/>
                  </a:cubicBezTo>
                  <a:lnTo>
                    <a:pt x="93403" y="0"/>
                  </a:lnTo>
                  <a:cubicBezTo>
                    <a:pt x="100908" y="0"/>
                    <a:pt x="107789" y="5004"/>
                    <a:pt x="109665" y="12509"/>
                  </a:cubicBezTo>
                  <a:cubicBezTo>
                    <a:pt x="118421" y="46909"/>
                    <a:pt x="142814" y="74429"/>
                    <a:pt x="175337" y="85687"/>
                  </a:cubicBezTo>
                  <a:cubicBezTo>
                    <a:pt x="182842" y="88188"/>
                    <a:pt x="187846" y="96319"/>
                    <a:pt x="186595" y="104450"/>
                  </a:cubicBezTo>
                  <a:cubicBezTo>
                    <a:pt x="184093" y="112581"/>
                    <a:pt x="177214" y="118210"/>
                    <a:pt x="169082" y="118210"/>
                  </a:cubicBezTo>
                  <a:lnTo>
                    <a:pt x="169082" y="118210"/>
                  </a:lnTo>
                  <a:close/>
                  <a:moveTo>
                    <a:pt x="72763" y="85061"/>
                  </a:moveTo>
                  <a:lnTo>
                    <a:pt x="112167" y="85061"/>
                  </a:lnTo>
                  <a:cubicBezTo>
                    <a:pt x="104661" y="77556"/>
                    <a:pt x="98407" y="68799"/>
                    <a:pt x="92778" y="60043"/>
                  </a:cubicBezTo>
                  <a:cubicBezTo>
                    <a:pt x="87149" y="68799"/>
                    <a:pt x="80269" y="77556"/>
                    <a:pt x="72763" y="85061"/>
                  </a:cubicBezTo>
                  <a:lnTo>
                    <a:pt x="72763" y="85061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84" name="Forma Livre: Forma 383">
              <a:extLst>
                <a:ext uri="{FF2B5EF4-FFF2-40B4-BE49-F238E27FC236}">
                  <a16:creationId xmlns:a16="http://schemas.microsoft.com/office/drawing/2014/main" id="{39D3EB47-F141-4E92-ABAA-EE41D41D5D2C}"/>
                </a:ext>
              </a:extLst>
            </p:cNvPr>
            <p:cNvSpPr/>
            <p:nvPr/>
          </p:nvSpPr>
          <p:spPr>
            <a:xfrm>
              <a:off x="7444554" y="1544143"/>
              <a:ext cx="377771" cy="347124"/>
            </a:xfrm>
            <a:custGeom>
              <a:avLst/>
              <a:gdLst>
                <a:gd name="connsiteX0" fmla="*/ 268943 w 377771"/>
                <a:gd name="connsiteY0" fmla="*/ 347124 h 347124"/>
                <a:gd name="connsiteX1" fmla="*/ 188886 w 377771"/>
                <a:gd name="connsiteY1" fmla="*/ 312725 h 347124"/>
                <a:gd name="connsiteX2" fmla="*/ 108828 w 377771"/>
                <a:gd name="connsiteY2" fmla="*/ 347124 h 347124"/>
                <a:gd name="connsiteX3" fmla="*/ 0 w 377771"/>
                <a:gd name="connsiteY3" fmla="*/ 240798 h 347124"/>
                <a:gd name="connsiteX4" fmla="*/ 85061 w 377771"/>
                <a:gd name="connsiteY4" fmla="*/ 136973 h 347124"/>
                <a:gd name="connsiteX5" fmla="*/ 80058 w 377771"/>
                <a:gd name="connsiteY5" fmla="*/ 106326 h 347124"/>
                <a:gd name="connsiteX6" fmla="*/ 188886 w 377771"/>
                <a:gd name="connsiteY6" fmla="*/ 0 h 347124"/>
                <a:gd name="connsiteX7" fmla="*/ 297714 w 377771"/>
                <a:gd name="connsiteY7" fmla="*/ 106326 h 347124"/>
                <a:gd name="connsiteX8" fmla="*/ 292711 w 377771"/>
                <a:gd name="connsiteY8" fmla="*/ 137599 h 347124"/>
                <a:gd name="connsiteX9" fmla="*/ 377772 w 377771"/>
                <a:gd name="connsiteY9" fmla="*/ 241423 h 347124"/>
                <a:gd name="connsiteX10" fmla="*/ 268943 w 377771"/>
                <a:gd name="connsiteY10" fmla="*/ 347124 h 347124"/>
                <a:gd name="connsiteX11" fmla="*/ 268943 w 377771"/>
                <a:gd name="connsiteY11" fmla="*/ 347124 h 347124"/>
                <a:gd name="connsiteX12" fmla="*/ 188886 w 377771"/>
                <a:gd name="connsiteY12" fmla="*/ 268318 h 347124"/>
                <a:gd name="connsiteX13" fmla="*/ 188886 w 377771"/>
                <a:gd name="connsiteY13" fmla="*/ 268318 h 347124"/>
                <a:gd name="connsiteX14" fmla="*/ 203271 w 377771"/>
                <a:gd name="connsiteY14" fmla="*/ 276449 h 347124"/>
                <a:gd name="connsiteX15" fmla="*/ 268943 w 377771"/>
                <a:gd name="connsiteY15" fmla="*/ 313976 h 347124"/>
                <a:gd name="connsiteX16" fmla="*/ 344622 w 377771"/>
                <a:gd name="connsiteY16" fmla="*/ 240798 h 347124"/>
                <a:gd name="connsiteX17" fmla="*/ 268943 w 377771"/>
                <a:gd name="connsiteY17" fmla="*/ 167620 h 347124"/>
                <a:gd name="connsiteX18" fmla="*/ 253933 w 377771"/>
                <a:gd name="connsiteY18" fmla="*/ 159490 h 347124"/>
                <a:gd name="connsiteX19" fmla="*/ 253933 w 377771"/>
                <a:gd name="connsiteY19" fmla="*/ 142602 h 347124"/>
                <a:gd name="connsiteX20" fmla="*/ 263940 w 377771"/>
                <a:gd name="connsiteY20" fmla="*/ 106326 h 347124"/>
                <a:gd name="connsiteX21" fmla="*/ 188260 w 377771"/>
                <a:gd name="connsiteY21" fmla="*/ 33149 h 347124"/>
                <a:gd name="connsiteX22" fmla="*/ 112581 w 377771"/>
                <a:gd name="connsiteY22" fmla="*/ 106326 h 347124"/>
                <a:gd name="connsiteX23" fmla="*/ 122588 w 377771"/>
                <a:gd name="connsiteY23" fmla="*/ 142602 h 347124"/>
                <a:gd name="connsiteX24" fmla="*/ 122588 w 377771"/>
                <a:gd name="connsiteY24" fmla="*/ 159490 h 347124"/>
                <a:gd name="connsiteX25" fmla="*/ 106326 w 377771"/>
                <a:gd name="connsiteY25" fmla="*/ 167620 h 347124"/>
                <a:gd name="connsiteX26" fmla="*/ 31898 w 377771"/>
                <a:gd name="connsiteY26" fmla="*/ 240798 h 347124"/>
                <a:gd name="connsiteX27" fmla="*/ 107577 w 377771"/>
                <a:gd name="connsiteY27" fmla="*/ 313976 h 347124"/>
                <a:gd name="connsiteX28" fmla="*/ 173250 w 377771"/>
                <a:gd name="connsiteY28" fmla="*/ 276449 h 347124"/>
                <a:gd name="connsiteX29" fmla="*/ 188886 w 377771"/>
                <a:gd name="connsiteY29" fmla="*/ 268318 h 347124"/>
                <a:gd name="connsiteX30" fmla="*/ 188886 w 377771"/>
                <a:gd name="connsiteY30" fmla="*/ 268318 h 347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77771" h="347124">
                  <a:moveTo>
                    <a:pt x="268943" y="347124"/>
                  </a:moveTo>
                  <a:cubicBezTo>
                    <a:pt x="238296" y="347124"/>
                    <a:pt x="208900" y="333990"/>
                    <a:pt x="188886" y="312725"/>
                  </a:cubicBezTo>
                  <a:cubicBezTo>
                    <a:pt x="168246" y="334615"/>
                    <a:pt x="139475" y="347124"/>
                    <a:pt x="108828" y="347124"/>
                  </a:cubicBezTo>
                  <a:cubicBezTo>
                    <a:pt x="48785" y="347124"/>
                    <a:pt x="0" y="299590"/>
                    <a:pt x="0" y="240798"/>
                  </a:cubicBezTo>
                  <a:cubicBezTo>
                    <a:pt x="0" y="190137"/>
                    <a:pt x="36276" y="147606"/>
                    <a:pt x="85061" y="136973"/>
                  </a:cubicBezTo>
                  <a:cubicBezTo>
                    <a:pt x="81934" y="126966"/>
                    <a:pt x="80058" y="116334"/>
                    <a:pt x="80058" y="106326"/>
                  </a:cubicBezTo>
                  <a:cubicBezTo>
                    <a:pt x="80058" y="47534"/>
                    <a:pt x="128843" y="0"/>
                    <a:pt x="188886" y="0"/>
                  </a:cubicBezTo>
                  <a:cubicBezTo>
                    <a:pt x="248929" y="0"/>
                    <a:pt x="297714" y="47534"/>
                    <a:pt x="297714" y="106326"/>
                  </a:cubicBezTo>
                  <a:cubicBezTo>
                    <a:pt x="297714" y="116959"/>
                    <a:pt x="295838" y="127592"/>
                    <a:pt x="292711" y="137599"/>
                  </a:cubicBezTo>
                  <a:cubicBezTo>
                    <a:pt x="341495" y="148231"/>
                    <a:pt x="377772" y="190762"/>
                    <a:pt x="377772" y="241423"/>
                  </a:cubicBezTo>
                  <a:cubicBezTo>
                    <a:pt x="377772" y="299590"/>
                    <a:pt x="328986" y="347124"/>
                    <a:pt x="268943" y="347124"/>
                  </a:cubicBezTo>
                  <a:lnTo>
                    <a:pt x="268943" y="347124"/>
                  </a:lnTo>
                  <a:close/>
                  <a:moveTo>
                    <a:pt x="188886" y="268318"/>
                  </a:moveTo>
                  <a:lnTo>
                    <a:pt x="188886" y="268318"/>
                  </a:lnTo>
                  <a:cubicBezTo>
                    <a:pt x="194515" y="268318"/>
                    <a:pt x="200144" y="271445"/>
                    <a:pt x="203271" y="276449"/>
                  </a:cubicBezTo>
                  <a:cubicBezTo>
                    <a:pt x="216406" y="299590"/>
                    <a:pt x="242049" y="313976"/>
                    <a:pt x="268943" y="313976"/>
                  </a:cubicBezTo>
                  <a:cubicBezTo>
                    <a:pt x="310849" y="313976"/>
                    <a:pt x="344622" y="281452"/>
                    <a:pt x="344622" y="240798"/>
                  </a:cubicBezTo>
                  <a:cubicBezTo>
                    <a:pt x="344622" y="200769"/>
                    <a:pt x="310849" y="167620"/>
                    <a:pt x="268943" y="167620"/>
                  </a:cubicBezTo>
                  <a:cubicBezTo>
                    <a:pt x="262689" y="167620"/>
                    <a:pt x="257059" y="164493"/>
                    <a:pt x="253933" y="159490"/>
                  </a:cubicBezTo>
                  <a:cubicBezTo>
                    <a:pt x="250805" y="154486"/>
                    <a:pt x="250805" y="147606"/>
                    <a:pt x="253933" y="142602"/>
                  </a:cubicBezTo>
                  <a:cubicBezTo>
                    <a:pt x="260813" y="131344"/>
                    <a:pt x="263940" y="118835"/>
                    <a:pt x="263940" y="106326"/>
                  </a:cubicBezTo>
                  <a:cubicBezTo>
                    <a:pt x="263940" y="66298"/>
                    <a:pt x="230166" y="33149"/>
                    <a:pt x="188260" y="33149"/>
                  </a:cubicBezTo>
                  <a:cubicBezTo>
                    <a:pt x="146981" y="33149"/>
                    <a:pt x="112581" y="65672"/>
                    <a:pt x="112581" y="106326"/>
                  </a:cubicBezTo>
                  <a:cubicBezTo>
                    <a:pt x="112581" y="118835"/>
                    <a:pt x="116334" y="131970"/>
                    <a:pt x="122588" y="142602"/>
                  </a:cubicBezTo>
                  <a:cubicBezTo>
                    <a:pt x="125716" y="147606"/>
                    <a:pt x="125716" y="153861"/>
                    <a:pt x="122588" y="159490"/>
                  </a:cubicBezTo>
                  <a:cubicBezTo>
                    <a:pt x="119461" y="165119"/>
                    <a:pt x="112581" y="168246"/>
                    <a:pt x="106326" y="167620"/>
                  </a:cubicBezTo>
                  <a:cubicBezTo>
                    <a:pt x="65672" y="167620"/>
                    <a:pt x="31898" y="200144"/>
                    <a:pt x="31898" y="240798"/>
                  </a:cubicBezTo>
                  <a:cubicBezTo>
                    <a:pt x="31898" y="280827"/>
                    <a:pt x="65672" y="313976"/>
                    <a:pt x="107577" y="313976"/>
                  </a:cubicBezTo>
                  <a:cubicBezTo>
                    <a:pt x="134472" y="313976"/>
                    <a:pt x="160115" y="299590"/>
                    <a:pt x="173250" y="276449"/>
                  </a:cubicBezTo>
                  <a:cubicBezTo>
                    <a:pt x="177628" y="271445"/>
                    <a:pt x="182631" y="268318"/>
                    <a:pt x="188886" y="268318"/>
                  </a:cubicBezTo>
                  <a:lnTo>
                    <a:pt x="188886" y="268318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sp>
        <p:nvSpPr>
          <p:cNvPr id="385" name="Forma Livre: Forma 384">
            <a:extLst>
              <a:ext uri="{FF2B5EF4-FFF2-40B4-BE49-F238E27FC236}">
                <a16:creationId xmlns:a16="http://schemas.microsoft.com/office/drawing/2014/main" id="{FA07A492-08E4-44CD-A533-A25150E13BB1}"/>
              </a:ext>
            </a:extLst>
          </p:cNvPr>
          <p:cNvSpPr/>
          <p:nvPr/>
        </p:nvSpPr>
        <p:spPr>
          <a:xfrm>
            <a:off x="9519466" y="1536325"/>
            <a:ext cx="316790" cy="425618"/>
          </a:xfrm>
          <a:custGeom>
            <a:avLst/>
            <a:gdLst>
              <a:gd name="connsiteX0" fmla="*/ 158395 w 316790"/>
              <a:gd name="connsiteY0" fmla="*/ 425618 h 425618"/>
              <a:gd name="connsiteX1" fmla="*/ 158395 w 316790"/>
              <a:gd name="connsiteY1" fmla="*/ 425618 h 425618"/>
              <a:gd name="connsiteX2" fmla="*/ 144635 w 316790"/>
              <a:gd name="connsiteY2" fmla="*/ 418738 h 425618"/>
              <a:gd name="connsiteX3" fmla="*/ 3284 w 316790"/>
              <a:gd name="connsiteY3" fmla="*/ 222347 h 425618"/>
              <a:gd name="connsiteX4" fmla="*/ 3284 w 316790"/>
              <a:gd name="connsiteY4" fmla="*/ 202958 h 425618"/>
              <a:gd name="connsiteX5" fmla="*/ 144635 w 316790"/>
              <a:gd name="connsiteY5" fmla="*/ 6567 h 425618"/>
              <a:gd name="connsiteX6" fmla="*/ 171530 w 316790"/>
              <a:gd name="connsiteY6" fmla="*/ 6567 h 425618"/>
              <a:gd name="connsiteX7" fmla="*/ 313507 w 316790"/>
              <a:gd name="connsiteY7" fmla="*/ 202958 h 425618"/>
              <a:gd name="connsiteX8" fmla="*/ 313507 w 316790"/>
              <a:gd name="connsiteY8" fmla="*/ 222347 h 425618"/>
              <a:gd name="connsiteX9" fmla="*/ 172155 w 316790"/>
              <a:gd name="connsiteY9" fmla="*/ 418738 h 425618"/>
              <a:gd name="connsiteX10" fmla="*/ 158395 w 316790"/>
              <a:gd name="connsiteY10" fmla="*/ 425618 h 425618"/>
              <a:gd name="connsiteX11" fmla="*/ 158395 w 316790"/>
              <a:gd name="connsiteY11" fmla="*/ 425618 h 425618"/>
              <a:gd name="connsiteX12" fmla="*/ 37058 w 316790"/>
              <a:gd name="connsiteY12" fmla="*/ 212340 h 425618"/>
              <a:gd name="connsiteX13" fmla="*/ 158395 w 316790"/>
              <a:gd name="connsiteY13" fmla="*/ 379960 h 425618"/>
              <a:gd name="connsiteX14" fmla="*/ 279732 w 316790"/>
              <a:gd name="connsiteY14" fmla="*/ 212340 h 425618"/>
              <a:gd name="connsiteX15" fmla="*/ 158395 w 316790"/>
              <a:gd name="connsiteY15" fmla="*/ 44720 h 425618"/>
              <a:gd name="connsiteX16" fmla="*/ 37058 w 316790"/>
              <a:gd name="connsiteY16" fmla="*/ 212340 h 425618"/>
              <a:gd name="connsiteX17" fmla="*/ 37058 w 316790"/>
              <a:gd name="connsiteY17" fmla="*/ 212340 h 425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316790" h="425618">
                <a:moveTo>
                  <a:pt x="158395" y="425618"/>
                </a:moveTo>
                <a:lnTo>
                  <a:pt x="158395" y="425618"/>
                </a:lnTo>
                <a:cubicBezTo>
                  <a:pt x="152766" y="425618"/>
                  <a:pt x="147763" y="423116"/>
                  <a:pt x="144635" y="418738"/>
                </a:cubicBezTo>
                <a:lnTo>
                  <a:pt x="3284" y="222347"/>
                </a:lnTo>
                <a:cubicBezTo>
                  <a:pt x="-1095" y="216718"/>
                  <a:pt x="-1095" y="208587"/>
                  <a:pt x="3284" y="202958"/>
                </a:cubicBezTo>
                <a:lnTo>
                  <a:pt x="144635" y="6567"/>
                </a:lnTo>
                <a:cubicBezTo>
                  <a:pt x="150890" y="-2189"/>
                  <a:pt x="165275" y="-2189"/>
                  <a:pt x="171530" y="6567"/>
                </a:cubicBezTo>
                <a:lnTo>
                  <a:pt x="313507" y="202958"/>
                </a:lnTo>
                <a:cubicBezTo>
                  <a:pt x="317884" y="208587"/>
                  <a:pt x="317884" y="216718"/>
                  <a:pt x="313507" y="222347"/>
                </a:cubicBezTo>
                <a:lnTo>
                  <a:pt x="172155" y="418738"/>
                </a:lnTo>
                <a:cubicBezTo>
                  <a:pt x="168403" y="423116"/>
                  <a:pt x="163399" y="425618"/>
                  <a:pt x="158395" y="425618"/>
                </a:cubicBezTo>
                <a:lnTo>
                  <a:pt x="158395" y="425618"/>
                </a:lnTo>
                <a:close/>
                <a:moveTo>
                  <a:pt x="37058" y="212340"/>
                </a:moveTo>
                <a:lnTo>
                  <a:pt x="158395" y="379960"/>
                </a:lnTo>
                <a:lnTo>
                  <a:pt x="279732" y="212340"/>
                </a:lnTo>
                <a:lnTo>
                  <a:pt x="158395" y="44720"/>
                </a:lnTo>
                <a:lnTo>
                  <a:pt x="37058" y="212340"/>
                </a:lnTo>
                <a:lnTo>
                  <a:pt x="37058" y="212340"/>
                </a:lnTo>
                <a:close/>
              </a:path>
            </a:pathLst>
          </a:custGeom>
          <a:solidFill>
            <a:srgbClr val="B1B1A1"/>
          </a:solidFill>
          <a:ln w="6251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grpSp>
        <p:nvGrpSpPr>
          <p:cNvPr id="386" name="Gráfico 2">
            <a:extLst>
              <a:ext uri="{FF2B5EF4-FFF2-40B4-BE49-F238E27FC236}">
                <a16:creationId xmlns:a16="http://schemas.microsoft.com/office/drawing/2014/main" id="{A4E24395-F85F-4E15-8BC9-B92D577D4DAD}"/>
              </a:ext>
            </a:extLst>
          </p:cNvPr>
          <p:cNvGrpSpPr/>
          <p:nvPr/>
        </p:nvGrpSpPr>
        <p:grpSpPr>
          <a:xfrm>
            <a:off x="10509454" y="1531165"/>
            <a:ext cx="381153" cy="434530"/>
            <a:chOff x="10497117" y="1531165"/>
            <a:chExt cx="381153" cy="434530"/>
          </a:xfrm>
          <a:solidFill>
            <a:srgbClr val="B1B1A1"/>
          </a:solidFill>
        </p:grpSpPr>
        <p:sp>
          <p:nvSpPr>
            <p:cNvPr id="387" name="Forma Livre: Forma 386">
              <a:extLst>
                <a:ext uri="{FF2B5EF4-FFF2-40B4-BE49-F238E27FC236}">
                  <a16:creationId xmlns:a16="http://schemas.microsoft.com/office/drawing/2014/main" id="{8730CA43-865B-4768-8278-6550E1FAC488}"/>
                </a:ext>
              </a:extLst>
            </p:cNvPr>
            <p:cNvSpPr/>
            <p:nvPr/>
          </p:nvSpPr>
          <p:spPr>
            <a:xfrm>
              <a:off x="10497372" y="1531165"/>
              <a:ext cx="380898" cy="434530"/>
            </a:xfrm>
            <a:custGeom>
              <a:avLst/>
              <a:gdLst>
                <a:gd name="connsiteX0" fmla="*/ 190137 w 380898"/>
                <a:gd name="connsiteY0" fmla="*/ 434531 h 434530"/>
                <a:gd name="connsiteX1" fmla="*/ 182006 w 380898"/>
                <a:gd name="connsiteY1" fmla="*/ 432029 h 434530"/>
                <a:gd name="connsiteX2" fmla="*/ 8131 w 380898"/>
                <a:gd name="connsiteY2" fmla="*/ 331957 h 434530"/>
                <a:gd name="connsiteX3" fmla="*/ 0 w 380898"/>
                <a:gd name="connsiteY3" fmla="*/ 317572 h 434530"/>
                <a:gd name="connsiteX4" fmla="*/ 0 w 380898"/>
                <a:gd name="connsiteY4" fmla="*/ 116803 h 434530"/>
                <a:gd name="connsiteX5" fmla="*/ 8131 w 380898"/>
                <a:gd name="connsiteY5" fmla="*/ 102417 h 434530"/>
                <a:gd name="connsiteX6" fmla="*/ 182006 w 380898"/>
                <a:gd name="connsiteY6" fmla="*/ 2345 h 434530"/>
                <a:gd name="connsiteX7" fmla="*/ 198893 w 380898"/>
                <a:gd name="connsiteY7" fmla="*/ 2345 h 434530"/>
                <a:gd name="connsiteX8" fmla="*/ 372768 w 380898"/>
                <a:gd name="connsiteY8" fmla="*/ 102417 h 434530"/>
                <a:gd name="connsiteX9" fmla="*/ 380899 w 380898"/>
                <a:gd name="connsiteY9" fmla="*/ 116803 h 434530"/>
                <a:gd name="connsiteX10" fmla="*/ 380899 w 380898"/>
                <a:gd name="connsiteY10" fmla="*/ 317572 h 434530"/>
                <a:gd name="connsiteX11" fmla="*/ 372768 w 380898"/>
                <a:gd name="connsiteY11" fmla="*/ 331957 h 434530"/>
                <a:gd name="connsiteX12" fmla="*/ 198893 w 380898"/>
                <a:gd name="connsiteY12" fmla="*/ 432029 h 434530"/>
                <a:gd name="connsiteX13" fmla="*/ 190137 w 380898"/>
                <a:gd name="connsiteY13" fmla="*/ 434531 h 434530"/>
                <a:gd name="connsiteX14" fmla="*/ 190137 w 380898"/>
                <a:gd name="connsiteY14" fmla="*/ 434531 h 434530"/>
                <a:gd name="connsiteX15" fmla="*/ 33149 w 380898"/>
                <a:gd name="connsiteY15" fmla="*/ 308190 h 434530"/>
                <a:gd name="connsiteX16" fmla="*/ 190137 w 380898"/>
                <a:gd name="connsiteY16" fmla="*/ 398880 h 434530"/>
                <a:gd name="connsiteX17" fmla="*/ 347124 w 380898"/>
                <a:gd name="connsiteY17" fmla="*/ 308190 h 434530"/>
                <a:gd name="connsiteX18" fmla="*/ 347124 w 380898"/>
                <a:gd name="connsiteY18" fmla="*/ 126810 h 434530"/>
                <a:gd name="connsiteX19" fmla="*/ 190137 w 380898"/>
                <a:gd name="connsiteY19" fmla="*/ 36120 h 434530"/>
                <a:gd name="connsiteX20" fmla="*/ 33149 w 380898"/>
                <a:gd name="connsiteY20" fmla="*/ 126810 h 434530"/>
                <a:gd name="connsiteX21" fmla="*/ 33149 w 380898"/>
                <a:gd name="connsiteY21" fmla="*/ 308190 h 434530"/>
                <a:gd name="connsiteX22" fmla="*/ 33149 w 380898"/>
                <a:gd name="connsiteY22" fmla="*/ 308190 h 434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80898" h="434530">
                  <a:moveTo>
                    <a:pt x="190137" y="434531"/>
                  </a:moveTo>
                  <a:cubicBezTo>
                    <a:pt x="187009" y="434531"/>
                    <a:pt x="184508" y="433905"/>
                    <a:pt x="182006" y="432029"/>
                  </a:cubicBezTo>
                  <a:lnTo>
                    <a:pt x="8131" y="331957"/>
                  </a:lnTo>
                  <a:cubicBezTo>
                    <a:pt x="3127" y="328830"/>
                    <a:pt x="0" y="323201"/>
                    <a:pt x="0" y="317572"/>
                  </a:cubicBezTo>
                  <a:lnTo>
                    <a:pt x="0" y="116803"/>
                  </a:lnTo>
                  <a:cubicBezTo>
                    <a:pt x="0" y="110548"/>
                    <a:pt x="3127" y="105545"/>
                    <a:pt x="8131" y="102417"/>
                  </a:cubicBezTo>
                  <a:lnTo>
                    <a:pt x="182006" y="2345"/>
                  </a:lnTo>
                  <a:cubicBezTo>
                    <a:pt x="187009" y="-782"/>
                    <a:pt x="193264" y="-782"/>
                    <a:pt x="198893" y="2345"/>
                  </a:cubicBezTo>
                  <a:lnTo>
                    <a:pt x="372768" y="102417"/>
                  </a:lnTo>
                  <a:cubicBezTo>
                    <a:pt x="377772" y="105545"/>
                    <a:pt x="380899" y="111174"/>
                    <a:pt x="380899" y="116803"/>
                  </a:cubicBezTo>
                  <a:lnTo>
                    <a:pt x="380899" y="317572"/>
                  </a:lnTo>
                  <a:cubicBezTo>
                    <a:pt x="380899" y="323826"/>
                    <a:pt x="377772" y="328830"/>
                    <a:pt x="372768" y="331957"/>
                  </a:cubicBezTo>
                  <a:lnTo>
                    <a:pt x="198893" y="432029"/>
                  </a:lnTo>
                  <a:cubicBezTo>
                    <a:pt x="195766" y="433905"/>
                    <a:pt x="193264" y="434531"/>
                    <a:pt x="190137" y="434531"/>
                  </a:cubicBezTo>
                  <a:lnTo>
                    <a:pt x="190137" y="434531"/>
                  </a:lnTo>
                  <a:close/>
                  <a:moveTo>
                    <a:pt x="33149" y="308190"/>
                  </a:moveTo>
                  <a:lnTo>
                    <a:pt x="190137" y="398880"/>
                  </a:lnTo>
                  <a:lnTo>
                    <a:pt x="347124" y="308190"/>
                  </a:lnTo>
                  <a:lnTo>
                    <a:pt x="347124" y="126810"/>
                  </a:lnTo>
                  <a:lnTo>
                    <a:pt x="190137" y="36120"/>
                  </a:lnTo>
                  <a:lnTo>
                    <a:pt x="33149" y="126810"/>
                  </a:lnTo>
                  <a:lnTo>
                    <a:pt x="33149" y="308190"/>
                  </a:lnTo>
                  <a:lnTo>
                    <a:pt x="33149" y="308190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88" name="Forma Livre: Forma 387">
              <a:extLst>
                <a:ext uri="{FF2B5EF4-FFF2-40B4-BE49-F238E27FC236}">
                  <a16:creationId xmlns:a16="http://schemas.microsoft.com/office/drawing/2014/main" id="{6A764E4C-0058-4E74-983A-DA09668F7AAB}"/>
                </a:ext>
              </a:extLst>
            </p:cNvPr>
            <p:cNvSpPr/>
            <p:nvPr/>
          </p:nvSpPr>
          <p:spPr>
            <a:xfrm>
              <a:off x="10497117" y="1632076"/>
              <a:ext cx="379532" cy="133476"/>
            </a:xfrm>
            <a:custGeom>
              <a:avLst/>
              <a:gdLst>
                <a:gd name="connsiteX0" fmla="*/ 190392 w 379532"/>
                <a:gd name="connsiteY0" fmla="*/ 133476 h 133476"/>
                <a:gd name="connsiteX1" fmla="*/ 182261 w 379532"/>
                <a:gd name="connsiteY1" fmla="*/ 130974 h 133476"/>
                <a:gd name="connsiteX2" fmla="*/ 8386 w 379532"/>
                <a:gd name="connsiteY2" fmla="*/ 30902 h 133476"/>
                <a:gd name="connsiteX3" fmla="*/ 2132 w 379532"/>
                <a:gd name="connsiteY3" fmla="*/ 8386 h 133476"/>
                <a:gd name="connsiteX4" fmla="*/ 24648 w 379532"/>
                <a:gd name="connsiteY4" fmla="*/ 2132 h 133476"/>
                <a:gd name="connsiteX5" fmla="*/ 189766 w 379532"/>
                <a:gd name="connsiteY5" fmla="*/ 97825 h 133476"/>
                <a:gd name="connsiteX6" fmla="*/ 354885 w 379532"/>
                <a:gd name="connsiteY6" fmla="*/ 2132 h 133476"/>
                <a:gd name="connsiteX7" fmla="*/ 377401 w 379532"/>
                <a:gd name="connsiteY7" fmla="*/ 8386 h 133476"/>
                <a:gd name="connsiteX8" fmla="*/ 371147 w 379532"/>
                <a:gd name="connsiteY8" fmla="*/ 30902 h 133476"/>
                <a:gd name="connsiteX9" fmla="*/ 197272 w 379532"/>
                <a:gd name="connsiteY9" fmla="*/ 130974 h 133476"/>
                <a:gd name="connsiteX10" fmla="*/ 190392 w 379532"/>
                <a:gd name="connsiteY10" fmla="*/ 133476 h 133476"/>
                <a:gd name="connsiteX11" fmla="*/ 190392 w 379532"/>
                <a:gd name="connsiteY11" fmla="*/ 133476 h 133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79532" h="133476">
                  <a:moveTo>
                    <a:pt x="190392" y="133476"/>
                  </a:moveTo>
                  <a:cubicBezTo>
                    <a:pt x="187264" y="133476"/>
                    <a:pt x="184763" y="132851"/>
                    <a:pt x="182261" y="130974"/>
                  </a:cubicBezTo>
                  <a:lnTo>
                    <a:pt x="8386" y="30902"/>
                  </a:lnTo>
                  <a:cubicBezTo>
                    <a:pt x="255" y="26524"/>
                    <a:pt x="-2246" y="15892"/>
                    <a:pt x="2132" y="8386"/>
                  </a:cubicBezTo>
                  <a:cubicBezTo>
                    <a:pt x="6509" y="255"/>
                    <a:pt x="17143" y="-2246"/>
                    <a:pt x="24648" y="2132"/>
                  </a:cubicBezTo>
                  <a:lnTo>
                    <a:pt x="189766" y="97825"/>
                  </a:lnTo>
                  <a:lnTo>
                    <a:pt x="354885" y="2132"/>
                  </a:lnTo>
                  <a:cubicBezTo>
                    <a:pt x="363016" y="-2246"/>
                    <a:pt x="373023" y="255"/>
                    <a:pt x="377401" y="8386"/>
                  </a:cubicBezTo>
                  <a:cubicBezTo>
                    <a:pt x="381779" y="16517"/>
                    <a:pt x="379278" y="26524"/>
                    <a:pt x="371147" y="30902"/>
                  </a:cubicBezTo>
                  <a:lnTo>
                    <a:pt x="197272" y="130974"/>
                  </a:lnTo>
                  <a:cubicBezTo>
                    <a:pt x="196021" y="132851"/>
                    <a:pt x="193519" y="133476"/>
                    <a:pt x="190392" y="133476"/>
                  </a:cubicBezTo>
                  <a:lnTo>
                    <a:pt x="190392" y="133476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89" name="Forma Livre: Forma 388">
              <a:extLst>
                <a:ext uri="{FF2B5EF4-FFF2-40B4-BE49-F238E27FC236}">
                  <a16:creationId xmlns:a16="http://schemas.microsoft.com/office/drawing/2014/main" id="{0ECE5E06-8C46-4576-867F-07368F95E62D}"/>
                </a:ext>
              </a:extLst>
            </p:cNvPr>
            <p:cNvSpPr/>
            <p:nvPr/>
          </p:nvSpPr>
          <p:spPr>
            <a:xfrm>
              <a:off x="10670621" y="1734905"/>
              <a:ext cx="33774" cy="230790"/>
            </a:xfrm>
            <a:custGeom>
              <a:avLst/>
              <a:gdLst>
                <a:gd name="connsiteX0" fmla="*/ 16887 w 33774"/>
                <a:gd name="connsiteY0" fmla="*/ 230791 h 230790"/>
                <a:gd name="connsiteX1" fmla="*/ 0 w 33774"/>
                <a:gd name="connsiteY1" fmla="*/ 213904 h 230790"/>
                <a:gd name="connsiteX2" fmla="*/ 0 w 33774"/>
                <a:gd name="connsiteY2" fmla="*/ 16887 h 230790"/>
                <a:gd name="connsiteX3" fmla="*/ 16887 w 33774"/>
                <a:gd name="connsiteY3" fmla="*/ 0 h 230790"/>
                <a:gd name="connsiteX4" fmla="*/ 33774 w 33774"/>
                <a:gd name="connsiteY4" fmla="*/ 16887 h 230790"/>
                <a:gd name="connsiteX5" fmla="*/ 33774 w 33774"/>
                <a:gd name="connsiteY5" fmla="*/ 214529 h 230790"/>
                <a:gd name="connsiteX6" fmla="*/ 16887 w 33774"/>
                <a:gd name="connsiteY6" fmla="*/ 230791 h 230790"/>
                <a:gd name="connsiteX7" fmla="*/ 16887 w 33774"/>
                <a:gd name="connsiteY7" fmla="*/ 230791 h 230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774" h="230790">
                  <a:moveTo>
                    <a:pt x="16887" y="230791"/>
                  </a:moveTo>
                  <a:cubicBezTo>
                    <a:pt x="7505" y="230791"/>
                    <a:pt x="0" y="223285"/>
                    <a:pt x="0" y="213904"/>
                  </a:cubicBezTo>
                  <a:lnTo>
                    <a:pt x="0" y="16887"/>
                  </a:lnTo>
                  <a:cubicBezTo>
                    <a:pt x="0" y="7505"/>
                    <a:pt x="7505" y="0"/>
                    <a:pt x="16887" y="0"/>
                  </a:cubicBezTo>
                  <a:cubicBezTo>
                    <a:pt x="26269" y="0"/>
                    <a:pt x="33774" y="7505"/>
                    <a:pt x="33774" y="16887"/>
                  </a:cubicBezTo>
                  <a:lnTo>
                    <a:pt x="33774" y="214529"/>
                  </a:lnTo>
                  <a:cubicBezTo>
                    <a:pt x="33774" y="223285"/>
                    <a:pt x="26269" y="230791"/>
                    <a:pt x="16887" y="230791"/>
                  </a:cubicBezTo>
                  <a:lnTo>
                    <a:pt x="16887" y="230791"/>
                  </a:ln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90" name="Forma Livre: Forma 389">
              <a:extLst>
                <a:ext uri="{FF2B5EF4-FFF2-40B4-BE49-F238E27FC236}">
                  <a16:creationId xmlns:a16="http://schemas.microsoft.com/office/drawing/2014/main" id="{E76EF0E4-5403-42E1-9C6C-C788B646ED2E}"/>
                </a:ext>
              </a:extLst>
            </p:cNvPr>
            <p:cNvSpPr/>
            <p:nvPr/>
          </p:nvSpPr>
          <p:spPr>
            <a:xfrm>
              <a:off x="10660614" y="1622324"/>
              <a:ext cx="51286" cy="33774"/>
            </a:xfrm>
            <a:custGeom>
              <a:avLst/>
              <a:gdLst>
                <a:gd name="connsiteX0" fmla="*/ 51287 w 51286"/>
                <a:gd name="connsiteY0" fmla="*/ 16887 h 33774"/>
                <a:gd name="connsiteX1" fmla="*/ 25643 w 51286"/>
                <a:gd name="connsiteY1" fmla="*/ 33774 h 33774"/>
                <a:gd name="connsiteX2" fmla="*/ 0 w 51286"/>
                <a:gd name="connsiteY2" fmla="*/ 16887 h 33774"/>
                <a:gd name="connsiteX3" fmla="*/ 25643 w 51286"/>
                <a:gd name="connsiteY3" fmla="*/ 0 h 33774"/>
                <a:gd name="connsiteX4" fmla="*/ 51287 w 51286"/>
                <a:gd name="connsiteY4" fmla="*/ 16887 h 33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286" h="33774">
                  <a:moveTo>
                    <a:pt x="51287" y="16887"/>
                  </a:moveTo>
                  <a:cubicBezTo>
                    <a:pt x="51287" y="26269"/>
                    <a:pt x="39403" y="33774"/>
                    <a:pt x="25643" y="33774"/>
                  </a:cubicBezTo>
                  <a:cubicBezTo>
                    <a:pt x="11258" y="33774"/>
                    <a:pt x="0" y="26269"/>
                    <a:pt x="0" y="16887"/>
                  </a:cubicBezTo>
                  <a:cubicBezTo>
                    <a:pt x="0" y="7505"/>
                    <a:pt x="11883" y="0"/>
                    <a:pt x="25643" y="0"/>
                  </a:cubicBezTo>
                  <a:cubicBezTo>
                    <a:pt x="40028" y="0"/>
                    <a:pt x="51287" y="7505"/>
                    <a:pt x="51287" y="16887"/>
                  </a:cubicBez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91" name="Forma Livre: Forma 390">
              <a:extLst>
                <a:ext uri="{FF2B5EF4-FFF2-40B4-BE49-F238E27FC236}">
                  <a16:creationId xmlns:a16="http://schemas.microsoft.com/office/drawing/2014/main" id="{B104923F-4032-4DD2-A5EB-53DFD73A89EC}"/>
                </a:ext>
              </a:extLst>
            </p:cNvPr>
            <p:cNvSpPr/>
            <p:nvPr/>
          </p:nvSpPr>
          <p:spPr>
            <a:xfrm>
              <a:off x="10553079" y="1724812"/>
              <a:ext cx="35566" cy="45203"/>
            </a:xfrm>
            <a:custGeom>
              <a:avLst/>
              <a:gdLst>
                <a:gd name="connsiteX0" fmla="*/ 25601 w 35566"/>
                <a:gd name="connsiteY0" fmla="*/ 44493 h 45203"/>
                <a:gd name="connsiteX1" fmla="*/ 1835 w 35566"/>
                <a:gd name="connsiteY1" fmla="*/ 28231 h 45203"/>
                <a:gd name="connsiteX2" fmla="*/ 9965 w 35566"/>
                <a:gd name="connsiteY2" fmla="*/ 711 h 45203"/>
                <a:gd name="connsiteX3" fmla="*/ 33732 w 35566"/>
                <a:gd name="connsiteY3" fmla="*/ 16973 h 45203"/>
                <a:gd name="connsiteX4" fmla="*/ 25601 w 35566"/>
                <a:gd name="connsiteY4" fmla="*/ 44493 h 45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566" h="45203">
                  <a:moveTo>
                    <a:pt x="25601" y="44493"/>
                  </a:moveTo>
                  <a:cubicBezTo>
                    <a:pt x="16846" y="47620"/>
                    <a:pt x="6212" y="40114"/>
                    <a:pt x="1835" y="28231"/>
                  </a:cubicBezTo>
                  <a:cubicBezTo>
                    <a:pt x="-2544" y="16347"/>
                    <a:pt x="1209" y="3838"/>
                    <a:pt x="9965" y="711"/>
                  </a:cubicBezTo>
                  <a:cubicBezTo>
                    <a:pt x="18721" y="-2416"/>
                    <a:pt x="29355" y="5089"/>
                    <a:pt x="33732" y="16973"/>
                  </a:cubicBezTo>
                  <a:cubicBezTo>
                    <a:pt x="38110" y="29482"/>
                    <a:pt x="34358" y="41365"/>
                    <a:pt x="25601" y="44493"/>
                  </a:cubicBez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92" name="Forma Livre: Forma 391">
              <a:extLst>
                <a:ext uri="{FF2B5EF4-FFF2-40B4-BE49-F238E27FC236}">
                  <a16:creationId xmlns:a16="http://schemas.microsoft.com/office/drawing/2014/main" id="{F9522E27-CAF1-4BA8-BF6B-A9B58D608753}"/>
                </a:ext>
              </a:extLst>
            </p:cNvPr>
            <p:cNvSpPr/>
            <p:nvPr/>
          </p:nvSpPr>
          <p:spPr>
            <a:xfrm>
              <a:off x="10606868" y="1753583"/>
              <a:ext cx="35566" cy="45203"/>
            </a:xfrm>
            <a:custGeom>
              <a:avLst/>
              <a:gdLst>
                <a:gd name="connsiteX0" fmla="*/ 25602 w 35566"/>
                <a:gd name="connsiteY0" fmla="*/ 44493 h 45203"/>
                <a:gd name="connsiteX1" fmla="*/ 1834 w 35566"/>
                <a:gd name="connsiteY1" fmla="*/ 28231 h 45203"/>
                <a:gd name="connsiteX2" fmla="*/ 9965 w 35566"/>
                <a:gd name="connsiteY2" fmla="*/ 711 h 45203"/>
                <a:gd name="connsiteX3" fmla="*/ 33732 w 35566"/>
                <a:gd name="connsiteY3" fmla="*/ 16973 h 45203"/>
                <a:gd name="connsiteX4" fmla="*/ 25602 w 35566"/>
                <a:gd name="connsiteY4" fmla="*/ 44493 h 45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566" h="45203">
                  <a:moveTo>
                    <a:pt x="25602" y="44493"/>
                  </a:moveTo>
                  <a:cubicBezTo>
                    <a:pt x="16845" y="47620"/>
                    <a:pt x="6212" y="40114"/>
                    <a:pt x="1834" y="28231"/>
                  </a:cubicBezTo>
                  <a:cubicBezTo>
                    <a:pt x="-2544" y="16347"/>
                    <a:pt x="1209" y="3838"/>
                    <a:pt x="9965" y="711"/>
                  </a:cubicBezTo>
                  <a:cubicBezTo>
                    <a:pt x="18721" y="-2416"/>
                    <a:pt x="29354" y="5089"/>
                    <a:pt x="33732" y="16973"/>
                  </a:cubicBezTo>
                  <a:cubicBezTo>
                    <a:pt x="38111" y="28856"/>
                    <a:pt x="34357" y="41365"/>
                    <a:pt x="25602" y="44493"/>
                  </a:cubicBez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93" name="Forma Livre: Forma 392">
              <a:extLst>
                <a:ext uri="{FF2B5EF4-FFF2-40B4-BE49-F238E27FC236}">
                  <a16:creationId xmlns:a16="http://schemas.microsoft.com/office/drawing/2014/main" id="{240D00F4-CA87-4161-878A-E7E8023AD31D}"/>
                </a:ext>
              </a:extLst>
            </p:cNvPr>
            <p:cNvSpPr/>
            <p:nvPr/>
          </p:nvSpPr>
          <p:spPr>
            <a:xfrm>
              <a:off x="10553079" y="1799241"/>
              <a:ext cx="35566" cy="45203"/>
            </a:xfrm>
            <a:custGeom>
              <a:avLst/>
              <a:gdLst>
                <a:gd name="connsiteX0" fmla="*/ 25601 w 35566"/>
                <a:gd name="connsiteY0" fmla="*/ 44493 h 45203"/>
                <a:gd name="connsiteX1" fmla="*/ 1835 w 35566"/>
                <a:gd name="connsiteY1" fmla="*/ 28231 h 45203"/>
                <a:gd name="connsiteX2" fmla="*/ 9965 w 35566"/>
                <a:gd name="connsiteY2" fmla="*/ 711 h 45203"/>
                <a:gd name="connsiteX3" fmla="*/ 33732 w 35566"/>
                <a:gd name="connsiteY3" fmla="*/ 16973 h 45203"/>
                <a:gd name="connsiteX4" fmla="*/ 25601 w 35566"/>
                <a:gd name="connsiteY4" fmla="*/ 44493 h 45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566" h="45203">
                  <a:moveTo>
                    <a:pt x="25601" y="44493"/>
                  </a:moveTo>
                  <a:cubicBezTo>
                    <a:pt x="16846" y="47620"/>
                    <a:pt x="6212" y="40114"/>
                    <a:pt x="1835" y="28231"/>
                  </a:cubicBezTo>
                  <a:cubicBezTo>
                    <a:pt x="-2544" y="16347"/>
                    <a:pt x="1209" y="3838"/>
                    <a:pt x="9965" y="711"/>
                  </a:cubicBezTo>
                  <a:cubicBezTo>
                    <a:pt x="18721" y="-2416"/>
                    <a:pt x="29355" y="5089"/>
                    <a:pt x="33732" y="16973"/>
                  </a:cubicBezTo>
                  <a:cubicBezTo>
                    <a:pt x="38110" y="29482"/>
                    <a:pt x="34358" y="41365"/>
                    <a:pt x="25601" y="44493"/>
                  </a:cubicBez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94" name="Forma Livre: Forma 393">
              <a:extLst>
                <a:ext uri="{FF2B5EF4-FFF2-40B4-BE49-F238E27FC236}">
                  <a16:creationId xmlns:a16="http://schemas.microsoft.com/office/drawing/2014/main" id="{7D10959B-AA0D-499B-8609-7E4BBF0B3B58}"/>
                </a:ext>
              </a:extLst>
            </p:cNvPr>
            <p:cNvSpPr/>
            <p:nvPr/>
          </p:nvSpPr>
          <p:spPr>
            <a:xfrm>
              <a:off x="10606868" y="1828011"/>
              <a:ext cx="35566" cy="45203"/>
            </a:xfrm>
            <a:custGeom>
              <a:avLst/>
              <a:gdLst>
                <a:gd name="connsiteX0" fmla="*/ 25602 w 35566"/>
                <a:gd name="connsiteY0" fmla="*/ 44493 h 45203"/>
                <a:gd name="connsiteX1" fmla="*/ 1834 w 35566"/>
                <a:gd name="connsiteY1" fmla="*/ 28231 h 45203"/>
                <a:gd name="connsiteX2" fmla="*/ 9965 w 35566"/>
                <a:gd name="connsiteY2" fmla="*/ 711 h 45203"/>
                <a:gd name="connsiteX3" fmla="*/ 33732 w 35566"/>
                <a:gd name="connsiteY3" fmla="*/ 16973 h 45203"/>
                <a:gd name="connsiteX4" fmla="*/ 25602 w 35566"/>
                <a:gd name="connsiteY4" fmla="*/ 44493 h 45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566" h="45203">
                  <a:moveTo>
                    <a:pt x="25602" y="44493"/>
                  </a:moveTo>
                  <a:cubicBezTo>
                    <a:pt x="16845" y="47620"/>
                    <a:pt x="6212" y="40114"/>
                    <a:pt x="1834" y="28231"/>
                  </a:cubicBezTo>
                  <a:cubicBezTo>
                    <a:pt x="-2544" y="16347"/>
                    <a:pt x="1209" y="3838"/>
                    <a:pt x="9965" y="711"/>
                  </a:cubicBezTo>
                  <a:cubicBezTo>
                    <a:pt x="18721" y="-2416"/>
                    <a:pt x="29354" y="5089"/>
                    <a:pt x="33732" y="16973"/>
                  </a:cubicBezTo>
                  <a:cubicBezTo>
                    <a:pt x="38111" y="28856"/>
                    <a:pt x="34357" y="41365"/>
                    <a:pt x="25602" y="44493"/>
                  </a:cubicBez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95" name="Forma Livre: Forma 394">
              <a:extLst>
                <a:ext uri="{FF2B5EF4-FFF2-40B4-BE49-F238E27FC236}">
                  <a16:creationId xmlns:a16="http://schemas.microsoft.com/office/drawing/2014/main" id="{369CB427-101C-4E60-9434-1A113E8C8F2B}"/>
                </a:ext>
              </a:extLst>
            </p:cNvPr>
            <p:cNvSpPr/>
            <p:nvPr/>
          </p:nvSpPr>
          <p:spPr>
            <a:xfrm>
              <a:off x="10715654" y="1843413"/>
              <a:ext cx="40578" cy="47548"/>
            </a:xfrm>
            <a:custGeom>
              <a:avLst/>
              <a:gdLst>
                <a:gd name="connsiteX0" fmla="*/ 35025 w 40578"/>
                <a:gd name="connsiteY0" fmla="*/ 2196 h 47548"/>
                <a:gd name="connsiteX1" fmla="*/ 34399 w 40578"/>
                <a:gd name="connsiteY1" fmla="*/ 33469 h 47548"/>
                <a:gd name="connsiteX2" fmla="*/ 5629 w 40578"/>
                <a:gd name="connsiteY2" fmla="*/ 45352 h 47548"/>
                <a:gd name="connsiteX3" fmla="*/ 5629 w 40578"/>
                <a:gd name="connsiteY3" fmla="*/ 14080 h 47548"/>
                <a:gd name="connsiteX4" fmla="*/ 35025 w 40578"/>
                <a:gd name="connsiteY4" fmla="*/ 2196 h 47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578" h="47548">
                  <a:moveTo>
                    <a:pt x="35025" y="2196"/>
                  </a:moveTo>
                  <a:cubicBezTo>
                    <a:pt x="42530" y="7200"/>
                    <a:pt x="42530" y="20960"/>
                    <a:pt x="34399" y="33469"/>
                  </a:cubicBezTo>
                  <a:cubicBezTo>
                    <a:pt x="26269" y="45352"/>
                    <a:pt x="13760" y="50981"/>
                    <a:pt x="5629" y="45352"/>
                  </a:cubicBezTo>
                  <a:cubicBezTo>
                    <a:pt x="-1876" y="40349"/>
                    <a:pt x="-1876" y="25963"/>
                    <a:pt x="5629" y="14080"/>
                  </a:cubicBezTo>
                  <a:cubicBezTo>
                    <a:pt x="14385" y="2196"/>
                    <a:pt x="26894" y="-3433"/>
                    <a:pt x="35025" y="2196"/>
                  </a:cubicBez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96" name="Forma Livre: Forma 395">
              <a:extLst>
                <a:ext uri="{FF2B5EF4-FFF2-40B4-BE49-F238E27FC236}">
                  <a16:creationId xmlns:a16="http://schemas.microsoft.com/office/drawing/2014/main" id="{45B15895-A5AA-41CB-B6F5-D8DB63297B68}"/>
                </a:ext>
              </a:extLst>
            </p:cNvPr>
            <p:cNvSpPr/>
            <p:nvPr/>
          </p:nvSpPr>
          <p:spPr>
            <a:xfrm>
              <a:off x="10752555" y="1779260"/>
              <a:ext cx="40028" cy="47280"/>
            </a:xfrm>
            <a:custGeom>
              <a:avLst/>
              <a:gdLst>
                <a:gd name="connsiteX0" fmla="*/ 34400 w 40028"/>
                <a:gd name="connsiteY0" fmla="*/ 1928 h 47280"/>
                <a:gd name="connsiteX1" fmla="*/ 34400 w 40028"/>
                <a:gd name="connsiteY1" fmla="*/ 33201 h 47280"/>
                <a:gd name="connsiteX2" fmla="*/ 5629 w 40028"/>
                <a:gd name="connsiteY2" fmla="*/ 45084 h 47280"/>
                <a:gd name="connsiteX3" fmla="*/ 5629 w 40028"/>
                <a:gd name="connsiteY3" fmla="*/ 13812 h 47280"/>
                <a:gd name="connsiteX4" fmla="*/ 34400 w 40028"/>
                <a:gd name="connsiteY4" fmla="*/ 1928 h 47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28" h="47280">
                  <a:moveTo>
                    <a:pt x="34400" y="1928"/>
                  </a:moveTo>
                  <a:cubicBezTo>
                    <a:pt x="41905" y="6932"/>
                    <a:pt x="41905" y="20692"/>
                    <a:pt x="34400" y="33201"/>
                  </a:cubicBezTo>
                  <a:cubicBezTo>
                    <a:pt x="26269" y="45084"/>
                    <a:pt x="13760" y="50713"/>
                    <a:pt x="5629" y="45084"/>
                  </a:cubicBezTo>
                  <a:cubicBezTo>
                    <a:pt x="-1876" y="40081"/>
                    <a:pt x="-1876" y="26321"/>
                    <a:pt x="5629" y="13812"/>
                  </a:cubicBezTo>
                  <a:cubicBezTo>
                    <a:pt x="13760" y="1928"/>
                    <a:pt x="26895" y="-3075"/>
                    <a:pt x="34400" y="1928"/>
                  </a:cubicBez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97" name="Forma Livre: Forma 396">
              <a:extLst>
                <a:ext uri="{FF2B5EF4-FFF2-40B4-BE49-F238E27FC236}">
                  <a16:creationId xmlns:a16="http://schemas.microsoft.com/office/drawing/2014/main" id="{1D1C4404-FD86-4549-8E2C-A962A9C46510}"/>
                </a:ext>
              </a:extLst>
            </p:cNvPr>
            <p:cNvSpPr/>
            <p:nvPr/>
          </p:nvSpPr>
          <p:spPr>
            <a:xfrm>
              <a:off x="10788831" y="1714839"/>
              <a:ext cx="40578" cy="47280"/>
            </a:xfrm>
            <a:custGeom>
              <a:avLst/>
              <a:gdLst>
                <a:gd name="connsiteX0" fmla="*/ 35025 w 40578"/>
                <a:gd name="connsiteY0" fmla="*/ 1928 h 47280"/>
                <a:gd name="connsiteX1" fmla="*/ 34400 w 40578"/>
                <a:gd name="connsiteY1" fmla="*/ 33201 h 47280"/>
                <a:gd name="connsiteX2" fmla="*/ 5629 w 40578"/>
                <a:gd name="connsiteY2" fmla="*/ 45084 h 47280"/>
                <a:gd name="connsiteX3" fmla="*/ 5629 w 40578"/>
                <a:gd name="connsiteY3" fmla="*/ 13812 h 47280"/>
                <a:gd name="connsiteX4" fmla="*/ 35025 w 40578"/>
                <a:gd name="connsiteY4" fmla="*/ 1928 h 47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578" h="47280">
                  <a:moveTo>
                    <a:pt x="35025" y="1928"/>
                  </a:moveTo>
                  <a:cubicBezTo>
                    <a:pt x="42530" y="6932"/>
                    <a:pt x="42530" y="20692"/>
                    <a:pt x="34400" y="33201"/>
                  </a:cubicBezTo>
                  <a:cubicBezTo>
                    <a:pt x="26269" y="45084"/>
                    <a:pt x="13760" y="50713"/>
                    <a:pt x="5629" y="45084"/>
                  </a:cubicBezTo>
                  <a:cubicBezTo>
                    <a:pt x="-1876" y="40081"/>
                    <a:pt x="-1876" y="25695"/>
                    <a:pt x="5629" y="13812"/>
                  </a:cubicBezTo>
                  <a:cubicBezTo>
                    <a:pt x="14385" y="1928"/>
                    <a:pt x="26894" y="-3075"/>
                    <a:pt x="35025" y="1928"/>
                  </a:cubicBezTo>
                  <a:close/>
                </a:path>
              </a:pathLst>
            </a:custGeom>
            <a:grpFill/>
            <a:ln w="6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</p:spTree>
    <p:extLst>
      <p:ext uri="{BB962C8B-B14F-4D97-AF65-F5344CB8AC3E}">
        <p14:creationId xmlns:p14="http://schemas.microsoft.com/office/powerpoint/2010/main" val="744485972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vre: Forma 4">
            <a:extLst>
              <a:ext uri="{FF2B5EF4-FFF2-40B4-BE49-F238E27FC236}">
                <a16:creationId xmlns:a16="http://schemas.microsoft.com/office/drawing/2014/main" id="{30A71874-6CBC-45F6-82B8-96BB401BCF5A}"/>
              </a:ext>
            </a:extLst>
          </p:cNvPr>
          <p:cNvSpPr/>
          <p:nvPr/>
        </p:nvSpPr>
        <p:spPr>
          <a:xfrm>
            <a:off x="5419478" y="3644272"/>
            <a:ext cx="317358" cy="354990"/>
          </a:xfrm>
          <a:custGeom>
            <a:avLst/>
            <a:gdLst>
              <a:gd name="connsiteX0" fmla="*/ 33241 w 317358"/>
              <a:gd name="connsiteY0" fmla="*/ 354990 h 354990"/>
              <a:gd name="connsiteX1" fmla="*/ 0 w 317358"/>
              <a:gd name="connsiteY1" fmla="*/ 317359 h 354990"/>
              <a:gd name="connsiteX2" fmla="*/ 0 w 317358"/>
              <a:gd name="connsiteY2" fmla="*/ 37631 h 354990"/>
              <a:gd name="connsiteX3" fmla="*/ 33241 w 317358"/>
              <a:gd name="connsiteY3" fmla="*/ 0 h 354990"/>
              <a:gd name="connsiteX4" fmla="*/ 54566 w 317358"/>
              <a:gd name="connsiteY4" fmla="*/ 6272 h 354990"/>
              <a:gd name="connsiteX5" fmla="*/ 296661 w 317358"/>
              <a:gd name="connsiteY5" fmla="*/ 146136 h 354990"/>
              <a:gd name="connsiteX6" fmla="*/ 317359 w 317358"/>
              <a:gd name="connsiteY6" fmla="*/ 177495 h 354990"/>
              <a:gd name="connsiteX7" fmla="*/ 296661 w 317358"/>
              <a:gd name="connsiteY7" fmla="*/ 208855 h 354990"/>
              <a:gd name="connsiteX8" fmla="*/ 54566 w 317358"/>
              <a:gd name="connsiteY8" fmla="*/ 348718 h 354990"/>
              <a:gd name="connsiteX9" fmla="*/ 33241 w 317358"/>
              <a:gd name="connsiteY9" fmla="*/ 354990 h 354990"/>
              <a:gd name="connsiteX10" fmla="*/ 33241 w 317358"/>
              <a:gd name="connsiteY10" fmla="*/ 354990 h 354990"/>
              <a:gd name="connsiteX11" fmla="*/ 33868 w 317358"/>
              <a:gd name="connsiteY11" fmla="*/ 33241 h 354990"/>
              <a:gd name="connsiteX12" fmla="*/ 33241 w 317358"/>
              <a:gd name="connsiteY12" fmla="*/ 37631 h 354990"/>
              <a:gd name="connsiteX13" fmla="*/ 33241 w 317358"/>
              <a:gd name="connsiteY13" fmla="*/ 317359 h 354990"/>
              <a:gd name="connsiteX14" fmla="*/ 33868 w 317358"/>
              <a:gd name="connsiteY14" fmla="*/ 321749 h 354990"/>
              <a:gd name="connsiteX15" fmla="*/ 38259 w 317358"/>
              <a:gd name="connsiteY15" fmla="*/ 319867 h 354990"/>
              <a:gd name="connsiteX16" fmla="*/ 280354 w 317358"/>
              <a:gd name="connsiteY16" fmla="*/ 180004 h 354990"/>
              <a:gd name="connsiteX17" fmla="*/ 284117 w 317358"/>
              <a:gd name="connsiteY17" fmla="*/ 176868 h 354990"/>
              <a:gd name="connsiteX18" fmla="*/ 280354 w 317358"/>
              <a:gd name="connsiteY18" fmla="*/ 174359 h 354990"/>
              <a:gd name="connsiteX19" fmla="*/ 38259 w 317358"/>
              <a:gd name="connsiteY19" fmla="*/ 34495 h 354990"/>
              <a:gd name="connsiteX20" fmla="*/ 33868 w 317358"/>
              <a:gd name="connsiteY20" fmla="*/ 33241 h 354990"/>
              <a:gd name="connsiteX21" fmla="*/ 33868 w 317358"/>
              <a:gd name="connsiteY21" fmla="*/ 33241 h 35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317358" h="354990">
                <a:moveTo>
                  <a:pt x="33241" y="354990"/>
                </a:moveTo>
                <a:cubicBezTo>
                  <a:pt x="13798" y="354990"/>
                  <a:pt x="0" y="339310"/>
                  <a:pt x="0" y="317359"/>
                </a:cubicBezTo>
                <a:lnTo>
                  <a:pt x="0" y="37631"/>
                </a:lnTo>
                <a:cubicBezTo>
                  <a:pt x="0" y="15053"/>
                  <a:pt x="13798" y="0"/>
                  <a:pt x="33241" y="0"/>
                </a:cubicBezTo>
                <a:cubicBezTo>
                  <a:pt x="40140" y="0"/>
                  <a:pt x="47667" y="1881"/>
                  <a:pt x="54566" y="6272"/>
                </a:cubicBezTo>
                <a:lnTo>
                  <a:pt x="296661" y="146136"/>
                </a:lnTo>
                <a:cubicBezTo>
                  <a:pt x="309832" y="153662"/>
                  <a:pt x="317359" y="164951"/>
                  <a:pt x="317359" y="177495"/>
                </a:cubicBezTo>
                <a:cubicBezTo>
                  <a:pt x="317359" y="190039"/>
                  <a:pt x="309832" y="201328"/>
                  <a:pt x="296661" y="208855"/>
                </a:cubicBezTo>
                <a:lnTo>
                  <a:pt x="54566" y="348718"/>
                </a:lnTo>
                <a:cubicBezTo>
                  <a:pt x="47667" y="353109"/>
                  <a:pt x="40140" y="354990"/>
                  <a:pt x="33241" y="354990"/>
                </a:cubicBezTo>
                <a:lnTo>
                  <a:pt x="33241" y="354990"/>
                </a:lnTo>
                <a:close/>
                <a:moveTo>
                  <a:pt x="33868" y="33241"/>
                </a:moveTo>
                <a:cubicBezTo>
                  <a:pt x="33868" y="33868"/>
                  <a:pt x="33241" y="35123"/>
                  <a:pt x="33241" y="37631"/>
                </a:cubicBezTo>
                <a:lnTo>
                  <a:pt x="33241" y="317359"/>
                </a:lnTo>
                <a:cubicBezTo>
                  <a:pt x="33241" y="319867"/>
                  <a:pt x="33868" y="321122"/>
                  <a:pt x="33868" y="321749"/>
                </a:cubicBezTo>
                <a:cubicBezTo>
                  <a:pt x="34495" y="321749"/>
                  <a:pt x="35750" y="321122"/>
                  <a:pt x="38259" y="319867"/>
                </a:cubicBezTo>
                <a:lnTo>
                  <a:pt x="280354" y="180004"/>
                </a:lnTo>
                <a:cubicBezTo>
                  <a:pt x="282863" y="178749"/>
                  <a:pt x="283490" y="177495"/>
                  <a:pt x="284117" y="176868"/>
                </a:cubicBezTo>
                <a:cubicBezTo>
                  <a:pt x="283490" y="176868"/>
                  <a:pt x="282863" y="175613"/>
                  <a:pt x="280354" y="174359"/>
                </a:cubicBezTo>
                <a:lnTo>
                  <a:pt x="38259" y="34495"/>
                </a:lnTo>
                <a:cubicBezTo>
                  <a:pt x="35750" y="33868"/>
                  <a:pt x="34495" y="33868"/>
                  <a:pt x="33868" y="33241"/>
                </a:cubicBezTo>
                <a:lnTo>
                  <a:pt x="33868" y="33241"/>
                </a:lnTo>
                <a:close/>
              </a:path>
            </a:pathLst>
          </a:custGeom>
          <a:solidFill>
            <a:srgbClr val="B1B1A1"/>
          </a:solidFill>
          <a:ln w="6269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6" name="Forma Livre: Forma 5">
            <a:extLst>
              <a:ext uri="{FF2B5EF4-FFF2-40B4-BE49-F238E27FC236}">
                <a16:creationId xmlns:a16="http://schemas.microsoft.com/office/drawing/2014/main" id="{E156D72C-F23B-444C-B56E-BC34AE004BAD}"/>
              </a:ext>
            </a:extLst>
          </p:cNvPr>
          <p:cNvSpPr/>
          <p:nvPr/>
        </p:nvSpPr>
        <p:spPr>
          <a:xfrm>
            <a:off x="8440030" y="3641763"/>
            <a:ext cx="397011" cy="357498"/>
          </a:xfrm>
          <a:custGeom>
            <a:avLst/>
            <a:gdLst>
              <a:gd name="connsiteX0" fmla="*/ 365652 w 397011"/>
              <a:gd name="connsiteY0" fmla="*/ 357499 h 357498"/>
              <a:gd name="connsiteX1" fmla="*/ 365652 w 397011"/>
              <a:gd name="connsiteY1" fmla="*/ 357499 h 357498"/>
              <a:gd name="connsiteX2" fmla="*/ 344955 w 397011"/>
              <a:gd name="connsiteY2" fmla="*/ 350599 h 357498"/>
              <a:gd name="connsiteX3" fmla="*/ 285372 w 397011"/>
              <a:gd name="connsiteY3" fmla="*/ 311714 h 357498"/>
              <a:gd name="connsiteX4" fmla="*/ 285372 w 397011"/>
              <a:gd name="connsiteY4" fmla="*/ 319240 h 357498"/>
              <a:gd name="connsiteX5" fmla="*/ 254012 w 397011"/>
              <a:gd name="connsiteY5" fmla="*/ 356871 h 357498"/>
              <a:gd name="connsiteX6" fmla="*/ 233315 w 397011"/>
              <a:gd name="connsiteY6" fmla="*/ 349972 h 357498"/>
              <a:gd name="connsiteX7" fmla="*/ 18189 w 397011"/>
              <a:gd name="connsiteY7" fmla="*/ 210109 h 357498"/>
              <a:gd name="connsiteX8" fmla="*/ 0 w 397011"/>
              <a:gd name="connsiteY8" fmla="*/ 178749 h 357498"/>
              <a:gd name="connsiteX9" fmla="*/ 18189 w 397011"/>
              <a:gd name="connsiteY9" fmla="*/ 147390 h 357498"/>
              <a:gd name="connsiteX10" fmla="*/ 233315 w 397011"/>
              <a:gd name="connsiteY10" fmla="*/ 7526 h 357498"/>
              <a:gd name="connsiteX11" fmla="*/ 254012 w 397011"/>
              <a:gd name="connsiteY11" fmla="*/ 627 h 357498"/>
              <a:gd name="connsiteX12" fmla="*/ 285372 w 397011"/>
              <a:gd name="connsiteY12" fmla="*/ 38258 h 357498"/>
              <a:gd name="connsiteX13" fmla="*/ 285372 w 397011"/>
              <a:gd name="connsiteY13" fmla="*/ 45785 h 357498"/>
              <a:gd name="connsiteX14" fmla="*/ 344955 w 397011"/>
              <a:gd name="connsiteY14" fmla="*/ 6899 h 357498"/>
              <a:gd name="connsiteX15" fmla="*/ 365652 w 397011"/>
              <a:gd name="connsiteY15" fmla="*/ 0 h 357498"/>
              <a:gd name="connsiteX16" fmla="*/ 397011 w 397011"/>
              <a:gd name="connsiteY16" fmla="*/ 37631 h 357498"/>
              <a:gd name="connsiteX17" fmla="*/ 397011 w 397011"/>
              <a:gd name="connsiteY17" fmla="*/ 317358 h 357498"/>
              <a:gd name="connsiteX18" fmla="*/ 390112 w 397011"/>
              <a:gd name="connsiteY18" fmla="*/ 342446 h 357498"/>
              <a:gd name="connsiteX19" fmla="*/ 365652 w 397011"/>
              <a:gd name="connsiteY19" fmla="*/ 357499 h 357498"/>
              <a:gd name="connsiteX20" fmla="*/ 365652 w 397011"/>
              <a:gd name="connsiteY20" fmla="*/ 357499 h 357498"/>
              <a:gd name="connsiteX21" fmla="*/ 251503 w 397011"/>
              <a:gd name="connsiteY21" fmla="*/ 37004 h 357498"/>
              <a:gd name="connsiteX22" fmla="*/ 251503 w 397011"/>
              <a:gd name="connsiteY22" fmla="*/ 37004 h 357498"/>
              <a:gd name="connsiteX23" fmla="*/ 36377 w 397011"/>
              <a:gd name="connsiteY23" fmla="*/ 176868 h 357498"/>
              <a:gd name="connsiteX24" fmla="*/ 33241 w 397011"/>
              <a:gd name="connsiteY24" fmla="*/ 180004 h 357498"/>
              <a:gd name="connsiteX25" fmla="*/ 36377 w 397011"/>
              <a:gd name="connsiteY25" fmla="*/ 183140 h 357498"/>
              <a:gd name="connsiteX26" fmla="*/ 251503 w 397011"/>
              <a:gd name="connsiteY26" fmla="*/ 323003 h 357498"/>
              <a:gd name="connsiteX27" fmla="*/ 252130 w 397011"/>
              <a:gd name="connsiteY27" fmla="*/ 323003 h 357498"/>
              <a:gd name="connsiteX28" fmla="*/ 252130 w 397011"/>
              <a:gd name="connsiteY28" fmla="*/ 319240 h 357498"/>
              <a:gd name="connsiteX29" fmla="*/ 252130 w 397011"/>
              <a:gd name="connsiteY29" fmla="*/ 280981 h 357498"/>
              <a:gd name="connsiteX30" fmla="*/ 260911 w 397011"/>
              <a:gd name="connsiteY30" fmla="*/ 266556 h 357498"/>
              <a:gd name="connsiteX31" fmla="*/ 277845 w 397011"/>
              <a:gd name="connsiteY31" fmla="*/ 267183 h 357498"/>
              <a:gd name="connsiteX32" fmla="*/ 363144 w 397011"/>
              <a:gd name="connsiteY32" fmla="*/ 322376 h 357498"/>
              <a:gd name="connsiteX33" fmla="*/ 363771 w 397011"/>
              <a:gd name="connsiteY33" fmla="*/ 322376 h 357498"/>
              <a:gd name="connsiteX34" fmla="*/ 363771 w 397011"/>
              <a:gd name="connsiteY34" fmla="*/ 319240 h 357498"/>
              <a:gd name="connsiteX35" fmla="*/ 363771 w 397011"/>
              <a:gd name="connsiteY35" fmla="*/ 39513 h 357498"/>
              <a:gd name="connsiteX36" fmla="*/ 363771 w 397011"/>
              <a:gd name="connsiteY36" fmla="*/ 35750 h 357498"/>
              <a:gd name="connsiteX37" fmla="*/ 363144 w 397011"/>
              <a:gd name="connsiteY37" fmla="*/ 35750 h 357498"/>
              <a:gd name="connsiteX38" fmla="*/ 277845 w 397011"/>
              <a:gd name="connsiteY38" fmla="*/ 90943 h 357498"/>
              <a:gd name="connsiteX39" fmla="*/ 260911 w 397011"/>
              <a:gd name="connsiteY39" fmla="*/ 91570 h 357498"/>
              <a:gd name="connsiteX40" fmla="*/ 252130 w 397011"/>
              <a:gd name="connsiteY40" fmla="*/ 77144 h 357498"/>
              <a:gd name="connsiteX41" fmla="*/ 252130 w 397011"/>
              <a:gd name="connsiteY41" fmla="*/ 38886 h 357498"/>
              <a:gd name="connsiteX42" fmla="*/ 251503 w 397011"/>
              <a:gd name="connsiteY42" fmla="*/ 37004 h 357498"/>
              <a:gd name="connsiteX43" fmla="*/ 251503 w 397011"/>
              <a:gd name="connsiteY43" fmla="*/ 37004 h 357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397011" h="357498">
                <a:moveTo>
                  <a:pt x="365652" y="357499"/>
                </a:moveTo>
                <a:lnTo>
                  <a:pt x="365652" y="357499"/>
                </a:lnTo>
                <a:cubicBezTo>
                  <a:pt x="358753" y="357499"/>
                  <a:pt x="351854" y="354990"/>
                  <a:pt x="344955" y="350599"/>
                </a:cubicBezTo>
                <a:lnTo>
                  <a:pt x="285372" y="311714"/>
                </a:lnTo>
                <a:lnTo>
                  <a:pt x="285372" y="319240"/>
                </a:lnTo>
                <a:cubicBezTo>
                  <a:pt x="285372" y="344955"/>
                  <a:pt x="269065" y="356871"/>
                  <a:pt x="254012" y="356871"/>
                </a:cubicBezTo>
                <a:cubicBezTo>
                  <a:pt x="247113" y="356871"/>
                  <a:pt x="240214" y="354363"/>
                  <a:pt x="233315" y="349972"/>
                </a:cubicBezTo>
                <a:lnTo>
                  <a:pt x="18189" y="210109"/>
                </a:lnTo>
                <a:cubicBezTo>
                  <a:pt x="6272" y="202583"/>
                  <a:pt x="0" y="191293"/>
                  <a:pt x="0" y="178749"/>
                </a:cubicBezTo>
                <a:cubicBezTo>
                  <a:pt x="0" y="166833"/>
                  <a:pt x="6899" y="155543"/>
                  <a:pt x="18189" y="147390"/>
                </a:cubicBezTo>
                <a:lnTo>
                  <a:pt x="233315" y="7526"/>
                </a:lnTo>
                <a:cubicBezTo>
                  <a:pt x="240214" y="3136"/>
                  <a:pt x="247113" y="627"/>
                  <a:pt x="254012" y="627"/>
                </a:cubicBezTo>
                <a:cubicBezTo>
                  <a:pt x="269065" y="627"/>
                  <a:pt x="285372" y="12544"/>
                  <a:pt x="285372" y="38258"/>
                </a:cubicBezTo>
                <a:lnTo>
                  <a:pt x="285372" y="45785"/>
                </a:lnTo>
                <a:lnTo>
                  <a:pt x="344955" y="6899"/>
                </a:lnTo>
                <a:cubicBezTo>
                  <a:pt x="351854" y="2509"/>
                  <a:pt x="358753" y="0"/>
                  <a:pt x="365652" y="0"/>
                </a:cubicBezTo>
                <a:cubicBezTo>
                  <a:pt x="380705" y="0"/>
                  <a:pt x="397011" y="11917"/>
                  <a:pt x="397011" y="37631"/>
                </a:cubicBezTo>
                <a:lnTo>
                  <a:pt x="397011" y="317358"/>
                </a:lnTo>
                <a:cubicBezTo>
                  <a:pt x="397011" y="327394"/>
                  <a:pt x="394503" y="336174"/>
                  <a:pt x="390112" y="342446"/>
                </a:cubicBezTo>
                <a:cubicBezTo>
                  <a:pt x="383840" y="353108"/>
                  <a:pt x="375060" y="357499"/>
                  <a:pt x="365652" y="357499"/>
                </a:cubicBezTo>
                <a:lnTo>
                  <a:pt x="365652" y="357499"/>
                </a:lnTo>
                <a:close/>
                <a:moveTo>
                  <a:pt x="251503" y="37004"/>
                </a:moveTo>
                <a:cubicBezTo>
                  <a:pt x="251503" y="37004"/>
                  <a:pt x="251503" y="37004"/>
                  <a:pt x="251503" y="37004"/>
                </a:cubicBezTo>
                <a:lnTo>
                  <a:pt x="36377" y="176868"/>
                </a:lnTo>
                <a:cubicBezTo>
                  <a:pt x="33868" y="178749"/>
                  <a:pt x="33241" y="180004"/>
                  <a:pt x="33241" y="180004"/>
                </a:cubicBezTo>
                <a:cubicBezTo>
                  <a:pt x="33241" y="180004"/>
                  <a:pt x="33868" y="181258"/>
                  <a:pt x="36377" y="183140"/>
                </a:cubicBezTo>
                <a:lnTo>
                  <a:pt x="251503" y="323003"/>
                </a:lnTo>
                <a:cubicBezTo>
                  <a:pt x="251503" y="323003"/>
                  <a:pt x="251503" y="323003"/>
                  <a:pt x="252130" y="323003"/>
                </a:cubicBezTo>
                <a:cubicBezTo>
                  <a:pt x="252130" y="322376"/>
                  <a:pt x="252130" y="321122"/>
                  <a:pt x="252130" y="319240"/>
                </a:cubicBezTo>
                <a:lnTo>
                  <a:pt x="252130" y="280981"/>
                </a:lnTo>
                <a:cubicBezTo>
                  <a:pt x="252130" y="274709"/>
                  <a:pt x="255266" y="269065"/>
                  <a:pt x="260911" y="266556"/>
                </a:cubicBezTo>
                <a:cubicBezTo>
                  <a:pt x="266556" y="263420"/>
                  <a:pt x="272828" y="264047"/>
                  <a:pt x="277845" y="267183"/>
                </a:cubicBezTo>
                <a:lnTo>
                  <a:pt x="363144" y="322376"/>
                </a:lnTo>
                <a:cubicBezTo>
                  <a:pt x="363144" y="322376"/>
                  <a:pt x="363144" y="322376"/>
                  <a:pt x="363771" y="322376"/>
                </a:cubicBezTo>
                <a:cubicBezTo>
                  <a:pt x="363771" y="321749"/>
                  <a:pt x="363771" y="320494"/>
                  <a:pt x="363771" y="319240"/>
                </a:cubicBezTo>
                <a:lnTo>
                  <a:pt x="363771" y="39513"/>
                </a:lnTo>
                <a:cubicBezTo>
                  <a:pt x="363771" y="38258"/>
                  <a:pt x="363771" y="37004"/>
                  <a:pt x="363771" y="35750"/>
                </a:cubicBezTo>
                <a:cubicBezTo>
                  <a:pt x="363771" y="35750"/>
                  <a:pt x="363771" y="35750"/>
                  <a:pt x="363144" y="35750"/>
                </a:cubicBezTo>
                <a:lnTo>
                  <a:pt x="277845" y="90943"/>
                </a:lnTo>
                <a:cubicBezTo>
                  <a:pt x="272828" y="94079"/>
                  <a:pt x="265929" y="94706"/>
                  <a:pt x="260911" y="91570"/>
                </a:cubicBezTo>
                <a:cubicBezTo>
                  <a:pt x="255266" y="88434"/>
                  <a:pt x="252130" y="82789"/>
                  <a:pt x="252130" y="77144"/>
                </a:cubicBezTo>
                <a:lnTo>
                  <a:pt x="252130" y="38886"/>
                </a:lnTo>
                <a:cubicBezTo>
                  <a:pt x="252130" y="38886"/>
                  <a:pt x="252130" y="37631"/>
                  <a:pt x="251503" y="37004"/>
                </a:cubicBezTo>
                <a:lnTo>
                  <a:pt x="251503" y="37004"/>
                </a:lnTo>
                <a:close/>
              </a:path>
            </a:pathLst>
          </a:custGeom>
          <a:solidFill>
            <a:srgbClr val="B1B1A1"/>
          </a:solidFill>
          <a:ln w="6269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7" name="Forma Livre: Forma 6">
            <a:extLst>
              <a:ext uri="{FF2B5EF4-FFF2-40B4-BE49-F238E27FC236}">
                <a16:creationId xmlns:a16="http://schemas.microsoft.com/office/drawing/2014/main" id="{274C70AE-A306-4455-9D33-50F35E230B42}"/>
              </a:ext>
            </a:extLst>
          </p:cNvPr>
          <p:cNvSpPr/>
          <p:nvPr/>
        </p:nvSpPr>
        <p:spPr>
          <a:xfrm>
            <a:off x="9478657" y="3645526"/>
            <a:ext cx="353108" cy="353108"/>
          </a:xfrm>
          <a:custGeom>
            <a:avLst/>
            <a:gdLst>
              <a:gd name="connsiteX0" fmla="*/ 302306 w 353108"/>
              <a:gd name="connsiteY0" fmla="*/ 353108 h 353108"/>
              <a:gd name="connsiteX1" fmla="*/ 50802 w 353108"/>
              <a:gd name="connsiteY1" fmla="*/ 353108 h 353108"/>
              <a:gd name="connsiteX2" fmla="*/ 0 w 353108"/>
              <a:gd name="connsiteY2" fmla="*/ 302306 h 353108"/>
              <a:gd name="connsiteX3" fmla="*/ 0 w 353108"/>
              <a:gd name="connsiteY3" fmla="*/ 50802 h 353108"/>
              <a:gd name="connsiteX4" fmla="*/ 50802 w 353108"/>
              <a:gd name="connsiteY4" fmla="*/ 0 h 353108"/>
              <a:gd name="connsiteX5" fmla="*/ 302306 w 353108"/>
              <a:gd name="connsiteY5" fmla="*/ 0 h 353108"/>
              <a:gd name="connsiteX6" fmla="*/ 353109 w 353108"/>
              <a:gd name="connsiteY6" fmla="*/ 50802 h 353108"/>
              <a:gd name="connsiteX7" fmla="*/ 353109 w 353108"/>
              <a:gd name="connsiteY7" fmla="*/ 302306 h 353108"/>
              <a:gd name="connsiteX8" fmla="*/ 302306 w 353108"/>
              <a:gd name="connsiteY8" fmla="*/ 353108 h 353108"/>
              <a:gd name="connsiteX9" fmla="*/ 302306 w 353108"/>
              <a:gd name="connsiteY9" fmla="*/ 353108 h 353108"/>
              <a:gd name="connsiteX10" fmla="*/ 50802 w 353108"/>
              <a:gd name="connsiteY10" fmla="*/ 33241 h 353108"/>
              <a:gd name="connsiteX11" fmla="*/ 33241 w 353108"/>
              <a:gd name="connsiteY11" fmla="*/ 50802 h 353108"/>
              <a:gd name="connsiteX12" fmla="*/ 33241 w 353108"/>
              <a:gd name="connsiteY12" fmla="*/ 302306 h 353108"/>
              <a:gd name="connsiteX13" fmla="*/ 50802 w 353108"/>
              <a:gd name="connsiteY13" fmla="*/ 319867 h 353108"/>
              <a:gd name="connsiteX14" fmla="*/ 302306 w 353108"/>
              <a:gd name="connsiteY14" fmla="*/ 319867 h 353108"/>
              <a:gd name="connsiteX15" fmla="*/ 319867 w 353108"/>
              <a:gd name="connsiteY15" fmla="*/ 302306 h 353108"/>
              <a:gd name="connsiteX16" fmla="*/ 319867 w 353108"/>
              <a:gd name="connsiteY16" fmla="*/ 50802 h 353108"/>
              <a:gd name="connsiteX17" fmla="*/ 302306 w 353108"/>
              <a:gd name="connsiteY17" fmla="*/ 33241 h 353108"/>
              <a:gd name="connsiteX18" fmla="*/ 50802 w 353108"/>
              <a:gd name="connsiteY18" fmla="*/ 33241 h 353108"/>
              <a:gd name="connsiteX19" fmla="*/ 50802 w 353108"/>
              <a:gd name="connsiteY19" fmla="*/ 33241 h 3531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353108" h="353108">
                <a:moveTo>
                  <a:pt x="302306" y="353108"/>
                </a:moveTo>
                <a:lnTo>
                  <a:pt x="50802" y="353108"/>
                </a:lnTo>
                <a:cubicBezTo>
                  <a:pt x="22579" y="353108"/>
                  <a:pt x="0" y="330530"/>
                  <a:pt x="0" y="302306"/>
                </a:cubicBezTo>
                <a:lnTo>
                  <a:pt x="0" y="50802"/>
                </a:lnTo>
                <a:cubicBezTo>
                  <a:pt x="0" y="22579"/>
                  <a:pt x="22579" y="0"/>
                  <a:pt x="50802" y="0"/>
                </a:cubicBezTo>
                <a:lnTo>
                  <a:pt x="302306" y="0"/>
                </a:lnTo>
                <a:cubicBezTo>
                  <a:pt x="330529" y="0"/>
                  <a:pt x="353109" y="22579"/>
                  <a:pt x="353109" y="50802"/>
                </a:cubicBezTo>
                <a:lnTo>
                  <a:pt x="353109" y="302306"/>
                </a:lnTo>
                <a:cubicBezTo>
                  <a:pt x="353109" y="330530"/>
                  <a:pt x="330529" y="353108"/>
                  <a:pt x="302306" y="353108"/>
                </a:cubicBezTo>
                <a:lnTo>
                  <a:pt x="302306" y="353108"/>
                </a:lnTo>
                <a:close/>
                <a:moveTo>
                  <a:pt x="50802" y="33241"/>
                </a:moveTo>
                <a:cubicBezTo>
                  <a:pt x="40767" y="33241"/>
                  <a:pt x="33241" y="41395"/>
                  <a:pt x="33241" y="50802"/>
                </a:cubicBezTo>
                <a:lnTo>
                  <a:pt x="33241" y="302306"/>
                </a:lnTo>
                <a:cubicBezTo>
                  <a:pt x="33241" y="312341"/>
                  <a:pt x="41394" y="319867"/>
                  <a:pt x="50802" y="319867"/>
                </a:cubicBezTo>
                <a:lnTo>
                  <a:pt x="302306" y="319867"/>
                </a:lnTo>
                <a:cubicBezTo>
                  <a:pt x="312341" y="319867"/>
                  <a:pt x="319867" y="311714"/>
                  <a:pt x="319867" y="302306"/>
                </a:cubicBezTo>
                <a:lnTo>
                  <a:pt x="319867" y="50802"/>
                </a:lnTo>
                <a:cubicBezTo>
                  <a:pt x="319867" y="40767"/>
                  <a:pt x="311714" y="33241"/>
                  <a:pt x="302306" y="33241"/>
                </a:cubicBezTo>
                <a:lnTo>
                  <a:pt x="50802" y="33241"/>
                </a:lnTo>
                <a:lnTo>
                  <a:pt x="50802" y="33241"/>
                </a:lnTo>
                <a:close/>
              </a:path>
            </a:pathLst>
          </a:custGeom>
          <a:solidFill>
            <a:srgbClr val="B1B1A1"/>
          </a:solidFill>
          <a:ln w="6269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grpSp>
        <p:nvGrpSpPr>
          <p:cNvPr id="8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6457479" y="3644899"/>
            <a:ext cx="277845" cy="353735"/>
            <a:chOff x="6457479" y="3644899"/>
            <a:chExt cx="277845" cy="353735"/>
          </a:xfrm>
          <a:solidFill>
            <a:srgbClr val="B1B1A1"/>
          </a:solidFill>
        </p:grpSpPr>
        <p:sp>
          <p:nvSpPr>
            <p:cNvPr id="9" name="Forma Livre: Forma 8">
              <a:extLst>
                <a:ext uri="{FF2B5EF4-FFF2-40B4-BE49-F238E27FC236}">
                  <a16:creationId xmlns:a16="http://schemas.microsoft.com/office/drawing/2014/main" id="{1AB415CA-0883-4AA8-ADF1-3972C831AA0A}"/>
                </a:ext>
              </a:extLst>
            </p:cNvPr>
            <p:cNvSpPr/>
            <p:nvPr/>
          </p:nvSpPr>
          <p:spPr>
            <a:xfrm>
              <a:off x="6457479" y="3644899"/>
              <a:ext cx="123556" cy="353735"/>
            </a:xfrm>
            <a:custGeom>
              <a:avLst/>
              <a:gdLst>
                <a:gd name="connsiteX0" fmla="*/ 85298 w 123556"/>
                <a:gd name="connsiteY0" fmla="*/ 353735 h 353735"/>
                <a:gd name="connsiteX1" fmla="*/ 38259 w 123556"/>
                <a:gd name="connsiteY1" fmla="*/ 353735 h 353735"/>
                <a:gd name="connsiteX2" fmla="*/ 0 w 123556"/>
                <a:gd name="connsiteY2" fmla="*/ 315477 h 353735"/>
                <a:gd name="connsiteX3" fmla="*/ 0 w 123556"/>
                <a:gd name="connsiteY3" fmla="*/ 38258 h 353735"/>
                <a:gd name="connsiteX4" fmla="*/ 38259 w 123556"/>
                <a:gd name="connsiteY4" fmla="*/ 0 h 353735"/>
                <a:gd name="connsiteX5" fmla="*/ 85298 w 123556"/>
                <a:gd name="connsiteY5" fmla="*/ 0 h 353735"/>
                <a:gd name="connsiteX6" fmla="*/ 123557 w 123556"/>
                <a:gd name="connsiteY6" fmla="*/ 38258 h 353735"/>
                <a:gd name="connsiteX7" fmla="*/ 123557 w 123556"/>
                <a:gd name="connsiteY7" fmla="*/ 315477 h 353735"/>
                <a:gd name="connsiteX8" fmla="*/ 85298 w 123556"/>
                <a:gd name="connsiteY8" fmla="*/ 353735 h 353735"/>
                <a:gd name="connsiteX9" fmla="*/ 85298 w 123556"/>
                <a:gd name="connsiteY9" fmla="*/ 353735 h 353735"/>
                <a:gd name="connsiteX10" fmla="*/ 38259 w 123556"/>
                <a:gd name="connsiteY10" fmla="*/ 33868 h 353735"/>
                <a:gd name="connsiteX11" fmla="*/ 33241 w 123556"/>
                <a:gd name="connsiteY11" fmla="*/ 38886 h 353735"/>
                <a:gd name="connsiteX12" fmla="*/ 33241 w 123556"/>
                <a:gd name="connsiteY12" fmla="*/ 315477 h 353735"/>
                <a:gd name="connsiteX13" fmla="*/ 38259 w 123556"/>
                <a:gd name="connsiteY13" fmla="*/ 320494 h 353735"/>
                <a:gd name="connsiteX14" fmla="*/ 85298 w 123556"/>
                <a:gd name="connsiteY14" fmla="*/ 320494 h 353735"/>
                <a:gd name="connsiteX15" fmla="*/ 90316 w 123556"/>
                <a:gd name="connsiteY15" fmla="*/ 315477 h 353735"/>
                <a:gd name="connsiteX16" fmla="*/ 90316 w 123556"/>
                <a:gd name="connsiteY16" fmla="*/ 38258 h 353735"/>
                <a:gd name="connsiteX17" fmla="*/ 85298 w 123556"/>
                <a:gd name="connsiteY17" fmla="*/ 33241 h 353735"/>
                <a:gd name="connsiteX18" fmla="*/ 38259 w 123556"/>
                <a:gd name="connsiteY18" fmla="*/ 33241 h 353735"/>
                <a:gd name="connsiteX19" fmla="*/ 38259 w 123556"/>
                <a:gd name="connsiteY19" fmla="*/ 33868 h 353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3556" h="353735">
                  <a:moveTo>
                    <a:pt x="85298" y="353735"/>
                  </a:moveTo>
                  <a:lnTo>
                    <a:pt x="38259" y="353735"/>
                  </a:lnTo>
                  <a:cubicBezTo>
                    <a:pt x="16934" y="353735"/>
                    <a:pt x="0" y="336802"/>
                    <a:pt x="0" y="315477"/>
                  </a:cubicBezTo>
                  <a:lnTo>
                    <a:pt x="0" y="38258"/>
                  </a:lnTo>
                  <a:cubicBezTo>
                    <a:pt x="0" y="16934"/>
                    <a:pt x="16934" y="0"/>
                    <a:pt x="38259" y="0"/>
                  </a:cubicBezTo>
                  <a:lnTo>
                    <a:pt x="85298" y="0"/>
                  </a:lnTo>
                  <a:cubicBezTo>
                    <a:pt x="106622" y="0"/>
                    <a:pt x="123557" y="16934"/>
                    <a:pt x="123557" y="38258"/>
                  </a:cubicBezTo>
                  <a:lnTo>
                    <a:pt x="123557" y="315477"/>
                  </a:lnTo>
                  <a:cubicBezTo>
                    <a:pt x="123557" y="336802"/>
                    <a:pt x="106622" y="353735"/>
                    <a:pt x="85298" y="353735"/>
                  </a:cubicBezTo>
                  <a:lnTo>
                    <a:pt x="85298" y="353735"/>
                  </a:lnTo>
                  <a:close/>
                  <a:moveTo>
                    <a:pt x="38259" y="33868"/>
                  </a:moveTo>
                  <a:cubicBezTo>
                    <a:pt x="35750" y="33868"/>
                    <a:pt x="33241" y="36377"/>
                    <a:pt x="33241" y="38886"/>
                  </a:cubicBezTo>
                  <a:lnTo>
                    <a:pt x="33241" y="315477"/>
                  </a:lnTo>
                  <a:cubicBezTo>
                    <a:pt x="33241" y="317986"/>
                    <a:pt x="35750" y="320494"/>
                    <a:pt x="38259" y="320494"/>
                  </a:cubicBezTo>
                  <a:lnTo>
                    <a:pt x="85298" y="320494"/>
                  </a:lnTo>
                  <a:cubicBezTo>
                    <a:pt x="87807" y="320494"/>
                    <a:pt x="90316" y="317986"/>
                    <a:pt x="90316" y="315477"/>
                  </a:cubicBezTo>
                  <a:lnTo>
                    <a:pt x="90316" y="38258"/>
                  </a:lnTo>
                  <a:cubicBezTo>
                    <a:pt x="90316" y="35750"/>
                    <a:pt x="87807" y="33241"/>
                    <a:pt x="85298" y="33241"/>
                  </a:cubicBezTo>
                  <a:lnTo>
                    <a:pt x="38259" y="33241"/>
                  </a:lnTo>
                  <a:lnTo>
                    <a:pt x="38259" y="33868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0" name="Forma Livre: Forma 9">
              <a:extLst>
                <a:ext uri="{FF2B5EF4-FFF2-40B4-BE49-F238E27FC236}">
                  <a16:creationId xmlns:a16="http://schemas.microsoft.com/office/drawing/2014/main" id="{704C90C9-87F1-4385-BDD0-3AF904175FAC}"/>
                </a:ext>
              </a:extLst>
            </p:cNvPr>
            <p:cNvSpPr/>
            <p:nvPr/>
          </p:nvSpPr>
          <p:spPr>
            <a:xfrm>
              <a:off x="6611768" y="3644899"/>
              <a:ext cx="123556" cy="353735"/>
            </a:xfrm>
            <a:custGeom>
              <a:avLst/>
              <a:gdLst>
                <a:gd name="connsiteX0" fmla="*/ 85298 w 123556"/>
                <a:gd name="connsiteY0" fmla="*/ 353735 h 353735"/>
                <a:gd name="connsiteX1" fmla="*/ 38258 w 123556"/>
                <a:gd name="connsiteY1" fmla="*/ 353735 h 353735"/>
                <a:gd name="connsiteX2" fmla="*/ 0 w 123556"/>
                <a:gd name="connsiteY2" fmla="*/ 315477 h 353735"/>
                <a:gd name="connsiteX3" fmla="*/ 0 w 123556"/>
                <a:gd name="connsiteY3" fmla="*/ 38258 h 353735"/>
                <a:gd name="connsiteX4" fmla="*/ 38258 w 123556"/>
                <a:gd name="connsiteY4" fmla="*/ 0 h 353735"/>
                <a:gd name="connsiteX5" fmla="*/ 85298 w 123556"/>
                <a:gd name="connsiteY5" fmla="*/ 0 h 353735"/>
                <a:gd name="connsiteX6" fmla="*/ 123556 w 123556"/>
                <a:gd name="connsiteY6" fmla="*/ 38258 h 353735"/>
                <a:gd name="connsiteX7" fmla="*/ 123556 w 123556"/>
                <a:gd name="connsiteY7" fmla="*/ 315477 h 353735"/>
                <a:gd name="connsiteX8" fmla="*/ 85298 w 123556"/>
                <a:gd name="connsiteY8" fmla="*/ 353735 h 353735"/>
                <a:gd name="connsiteX9" fmla="*/ 85298 w 123556"/>
                <a:gd name="connsiteY9" fmla="*/ 353735 h 353735"/>
                <a:gd name="connsiteX10" fmla="*/ 38258 w 123556"/>
                <a:gd name="connsiteY10" fmla="*/ 33868 h 353735"/>
                <a:gd name="connsiteX11" fmla="*/ 33241 w 123556"/>
                <a:gd name="connsiteY11" fmla="*/ 38886 h 353735"/>
                <a:gd name="connsiteX12" fmla="*/ 33241 w 123556"/>
                <a:gd name="connsiteY12" fmla="*/ 315477 h 353735"/>
                <a:gd name="connsiteX13" fmla="*/ 38258 w 123556"/>
                <a:gd name="connsiteY13" fmla="*/ 320494 h 353735"/>
                <a:gd name="connsiteX14" fmla="*/ 85298 w 123556"/>
                <a:gd name="connsiteY14" fmla="*/ 320494 h 353735"/>
                <a:gd name="connsiteX15" fmla="*/ 90315 w 123556"/>
                <a:gd name="connsiteY15" fmla="*/ 315477 h 353735"/>
                <a:gd name="connsiteX16" fmla="*/ 90315 w 123556"/>
                <a:gd name="connsiteY16" fmla="*/ 38258 h 353735"/>
                <a:gd name="connsiteX17" fmla="*/ 85298 w 123556"/>
                <a:gd name="connsiteY17" fmla="*/ 33241 h 353735"/>
                <a:gd name="connsiteX18" fmla="*/ 38258 w 123556"/>
                <a:gd name="connsiteY18" fmla="*/ 33241 h 353735"/>
                <a:gd name="connsiteX19" fmla="*/ 38258 w 123556"/>
                <a:gd name="connsiteY19" fmla="*/ 33868 h 353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3556" h="353735">
                  <a:moveTo>
                    <a:pt x="85298" y="353735"/>
                  </a:moveTo>
                  <a:lnTo>
                    <a:pt x="38258" y="353735"/>
                  </a:lnTo>
                  <a:cubicBezTo>
                    <a:pt x="16934" y="353735"/>
                    <a:pt x="0" y="336802"/>
                    <a:pt x="0" y="315477"/>
                  </a:cubicBezTo>
                  <a:lnTo>
                    <a:pt x="0" y="38258"/>
                  </a:lnTo>
                  <a:cubicBezTo>
                    <a:pt x="0" y="16934"/>
                    <a:pt x="16934" y="0"/>
                    <a:pt x="38258" y="0"/>
                  </a:cubicBezTo>
                  <a:lnTo>
                    <a:pt x="85298" y="0"/>
                  </a:lnTo>
                  <a:cubicBezTo>
                    <a:pt x="106622" y="0"/>
                    <a:pt x="123556" y="16934"/>
                    <a:pt x="123556" y="38258"/>
                  </a:cubicBezTo>
                  <a:lnTo>
                    <a:pt x="123556" y="315477"/>
                  </a:lnTo>
                  <a:cubicBezTo>
                    <a:pt x="123556" y="336802"/>
                    <a:pt x="105995" y="353735"/>
                    <a:pt x="85298" y="353735"/>
                  </a:cubicBezTo>
                  <a:lnTo>
                    <a:pt x="85298" y="353735"/>
                  </a:lnTo>
                  <a:close/>
                  <a:moveTo>
                    <a:pt x="38258" y="33868"/>
                  </a:moveTo>
                  <a:cubicBezTo>
                    <a:pt x="35750" y="33868"/>
                    <a:pt x="33241" y="36377"/>
                    <a:pt x="33241" y="38886"/>
                  </a:cubicBezTo>
                  <a:lnTo>
                    <a:pt x="33241" y="315477"/>
                  </a:lnTo>
                  <a:cubicBezTo>
                    <a:pt x="33241" y="317986"/>
                    <a:pt x="35750" y="320494"/>
                    <a:pt x="38258" y="320494"/>
                  </a:cubicBezTo>
                  <a:lnTo>
                    <a:pt x="85298" y="320494"/>
                  </a:lnTo>
                  <a:cubicBezTo>
                    <a:pt x="87807" y="320494"/>
                    <a:pt x="90315" y="317986"/>
                    <a:pt x="90315" y="315477"/>
                  </a:cubicBezTo>
                  <a:lnTo>
                    <a:pt x="90315" y="38258"/>
                  </a:lnTo>
                  <a:cubicBezTo>
                    <a:pt x="90315" y="35750"/>
                    <a:pt x="87807" y="33241"/>
                    <a:pt x="85298" y="33241"/>
                  </a:cubicBezTo>
                  <a:lnTo>
                    <a:pt x="38258" y="33241"/>
                  </a:lnTo>
                  <a:lnTo>
                    <a:pt x="38258" y="33868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1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7431506" y="3638000"/>
            <a:ext cx="370669" cy="366906"/>
            <a:chOff x="7431506" y="3638000"/>
            <a:chExt cx="370669" cy="366906"/>
          </a:xfrm>
          <a:solidFill>
            <a:srgbClr val="B1B1A1"/>
          </a:solidFill>
        </p:grpSpPr>
        <p:sp>
          <p:nvSpPr>
            <p:cNvPr id="12" name="Forma Livre: Forma 11">
              <a:extLst>
                <a:ext uri="{FF2B5EF4-FFF2-40B4-BE49-F238E27FC236}">
                  <a16:creationId xmlns:a16="http://schemas.microsoft.com/office/drawing/2014/main" id="{BC4278D3-021A-4F09-BB7E-E14AEF827543}"/>
                </a:ext>
              </a:extLst>
            </p:cNvPr>
            <p:cNvSpPr/>
            <p:nvPr/>
          </p:nvSpPr>
          <p:spPr>
            <a:xfrm>
              <a:off x="7484818" y="3644899"/>
              <a:ext cx="317358" cy="354362"/>
            </a:xfrm>
            <a:custGeom>
              <a:avLst/>
              <a:gdLst>
                <a:gd name="connsiteX0" fmla="*/ 284118 w 317358"/>
                <a:gd name="connsiteY0" fmla="*/ 354363 h 354362"/>
                <a:gd name="connsiteX1" fmla="*/ 284118 w 317358"/>
                <a:gd name="connsiteY1" fmla="*/ 354363 h 354362"/>
                <a:gd name="connsiteX2" fmla="*/ 262793 w 317358"/>
                <a:gd name="connsiteY2" fmla="*/ 348091 h 354362"/>
                <a:gd name="connsiteX3" fmla="*/ 20698 w 317358"/>
                <a:gd name="connsiteY3" fmla="*/ 208854 h 354362"/>
                <a:gd name="connsiteX4" fmla="*/ 0 w 317358"/>
                <a:gd name="connsiteY4" fmla="*/ 177495 h 354362"/>
                <a:gd name="connsiteX5" fmla="*/ 20698 w 317358"/>
                <a:gd name="connsiteY5" fmla="*/ 146135 h 354362"/>
                <a:gd name="connsiteX6" fmla="*/ 262793 w 317358"/>
                <a:gd name="connsiteY6" fmla="*/ 6272 h 354362"/>
                <a:gd name="connsiteX7" fmla="*/ 284118 w 317358"/>
                <a:gd name="connsiteY7" fmla="*/ 0 h 354362"/>
                <a:gd name="connsiteX8" fmla="*/ 317358 w 317358"/>
                <a:gd name="connsiteY8" fmla="*/ 37631 h 354362"/>
                <a:gd name="connsiteX9" fmla="*/ 317358 w 317358"/>
                <a:gd name="connsiteY9" fmla="*/ 317358 h 354362"/>
                <a:gd name="connsiteX10" fmla="*/ 309205 w 317358"/>
                <a:gd name="connsiteY10" fmla="*/ 343700 h 354362"/>
                <a:gd name="connsiteX11" fmla="*/ 284118 w 317358"/>
                <a:gd name="connsiteY11" fmla="*/ 354363 h 354362"/>
                <a:gd name="connsiteX12" fmla="*/ 284118 w 317358"/>
                <a:gd name="connsiteY12" fmla="*/ 354363 h 354362"/>
                <a:gd name="connsiteX13" fmla="*/ 33868 w 317358"/>
                <a:gd name="connsiteY13" fmla="*/ 177495 h 354362"/>
                <a:gd name="connsiteX14" fmla="*/ 37631 w 317358"/>
                <a:gd name="connsiteY14" fmla="*/ 180004 h 354362"/>
                <a:gd name="connsiteX15" fmla="*/ 279727 w 317358"/>
                <a:gd name="connsiteY15" fmla="*/ 319867 h 354362"/>
                <a:gd name="connsiteX16" fmla="*/ 284118 w 317358"/>
                <a:gd name="connsiteY16" fmla="*/ 321749 h 354362"/>
                <a:gd name="connsiteX17" fmla="*/ 284745 w 317358"/>
                <a:gd name="connsiteY17" fmla="*/ 317358 h 354362"/>
                <a:gd name="connsiteX18" fmla="*/ 284745 w 317358"/>
                <a:gd name="connsiteY18" fmla="*/ 37631 h 354362"/>
                <a:gd name="connsiteX19" fmla="*/ 284118 w 317358"/>
                <a:gd name="connsiteY19" fmla="*/ 32614 h 354362"/>
                <a:gd name="connsiteX20" fmla="*/ 280355 w 317358"/>
                <a:gd name="connsiteY20" fmla="*/ 34495 h 354362"/>
                <a:gd name="connsiteX21" fmla="*/ 38259 w 317358"/>
                <a:gd name="connsiteY21" fmla="*/ 174359 h 354362"/>
                <a:gd name="connsiteX22" fmla="*/ 33868 w 317358"/>
                <a:gd name="connsiteY22" fmla="*/ 177495 h 354362"/>
                <a:gd name="connsiteX23" fmla="*/ 33868 w 317358"/>
                <a:gd name="connsiteY23" fmla="*/ 177495 h 354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17358" h="354362">
                  <a:moveTo>
                    <a:pt x="284118" y="354363"/>
                  </a:moveTo>
                  <a:lnTo>
                    <a:pt x="284118" y="354363"/>
                  </a:lnTo>
                  <a:cubicBezTo>
                    <a:pt x="277219" y="354363"/>
                    <a:pt x="269692" y="352481"/>
                    <a:pt x="262793" y="348091"/>
                  </a:cubicBezTo>
                  <a:lnTo>
                    <a:pt x="20698" y="208854"/>
                  </a:lnTo>
                  <a:cubicBezTo>
                    <a:pt x="7526" y="201328"/>
                    <a:pt x="0" y="190039"/>
                    <a:pt x="0" y="177495"/>
                  </a:cubicBezTo>
                  <a:cubicBezTo>
                    <a:pt x="0" y="164951"/>
                    <a:pt x="7526" y="153662"/>
                    <a:pt x="20698" y="146135"/>
                  </a:cubicBezTo>
                  <a:lnTo>
                    <a:pt x="262793" y="6272"/>
                  </a:lnTo>
                  <a:cubicBezTo>
                    <a:pt x="269692" y="1881"/>
                    <a:pt x="277219" y="0"/>
                    <a:pt x="284118" y="0"/>
                  </a:cubicBezTo>
                  <a:cubicBezTo>
                    <a:pt x="303561" y="0"/>
                    <a:pt x="317358" y="15680"/>
                    <a:pt x="317358" y="37631"/>
                  </a:cubicBezTo>
                  <a:lnTo>
                    <a:pt x="317358" y="317358"/>
                  </a:lnTo>
                  <a:cubicBezTo>
                    <a:pt x="317358" y="327394"/>
                    <a:pt x="314222" y="336802"/>
                    <a:pt x="309205" y="343700"/>
                  </a:cubicBezTo>
                  <a:cubicBezTo>
                    <a:pt x="302933" y="350599"/>
                    <a:pt x="294153" y="354363"/>
                    <a:pt x="284118" y="354363"/>
                  </a:cubicBezTo>
                  <a:lnTo>
                    <a:pt x="284118" y="354363"/>
                  </a:lnTo>
                  <a:close/>
                  <a:moveTo>
                    <a:pt x="33868" y="177495"/>
                  </a:moveTo>
                  <a:cubicBezTo>
                    <a:pt x="34495" y="177495"/>
                    <a:pt x="35123" y="178749"/>
                    <a:pt x="37631" y="180004"/>
                  </a:cubicBezTo>
                  <a:lnTo>
                    <a:pt x="279727" y="319867"/>
                  </a:lnTo>
                  <a:cubicBezTo>
                    <a:pt x="282236" y="321122"/>
                    <a:pt x="283491" y="321749"/>
                    <a:pt x="284118" y="321749"/>
                  </a:cubicBezTo>
                  <a:cubicBezTo>
                    <a:pt x="284118" y="321122"/>
                    <a:pt x="284745" y="319867"/>
                    <a:pt x="284745" y="317358"/>
                  </a:cubicBezTo>
                  <a:lnTo>
                    <a:pt x="284745" y="37631"/>
                  </a:lnTo>
                  <a:cubicBezTo>
                    <a:pt x="284745" y="35123"/>
                    <a:pt x="284118" y="33241"/>
                    <a:pt x="284118" y="32614"/>
                  </a:cubicBezTo>
                  <a:cubicBezTo>
                    <a:pt x="284118" y="33241"/>
                    <a:pt x="282236" y="33241"/>
                    <a:pt x="280355" y="34495"/>
                  </a:cubicBezTo>
                  <a:lnTo>
                    <a:pt x="38259" y="174359"/>
                  </a:lnTo>
                  <a:cubicBezTo>
                    <a:pt x="35123" y="175613"/>
                    <a:pt x="34495" y="176868"/>
                    <a:pt x="33868" y="177495"/>
                  </a:cubicBezTo>
                  <a:lnTo>
                    <a:pt x="33868" y="177495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3" name="Forma Livre: Forma 12">
              <a:extLst>
                <a:ext uri="{FF2B5EF4-FFF2-40B4-BE49-F238E27FC236}">
                  <a16:creationId xmlns:a16="http://schemas.microsoft.com/office/drawing/2014/main" id="{BDF73855-A3CD-47E9-B842-7DB6594CFC33}"/>
                </a:ext>
              </a:extLst>
            </p:cNvPr>
            <p:cNvSpPr/>
            <p:nvPr/>
          </p:nvSpPr>
          <p:spPr>
            <a:xfrm>
              <a:off x="7431506" y="3638000"/>
              <a:ext cx="33868" cy="366906"/>
            </a:xfrm>
            <a:custGeom>
              <a:avLst/>
              <a:gdLst>
                <a:gd name="connsiteX0" fmla="*/ 16934 w 33868"/>
                <a:gd name="connsiteY0" fmla="*/ 366906 h 366906"/>
                <a:gd name="connsiteX1" fmla="*/ 0 w 33868"/>
                <a:gd name="connsiteY1" fmla="*/ 349973 h 366906"/>
                <a:gd name="connsiteX2" fmla="*/ 0 w 33868"/>
                <a:gd name="connsiteY2" fmla="*/ 16934 h 366906"/>
                <a:gd name="connsiteX3" fmla="*/ 16934 w 33868"/>
                <a:gd name="connsiteY3" fmla="*/ 0 h 366906"/>
                <a:gd name="connsiteX4" fmla="*/ 33868 w 33868"/>
                <a:gd name="connsiteY4" fmla="*/ 16934 h 366906"/>
                <a:gd name="connsiteX5" fmla="*/ 33868 w 33868"/>
                <a:gd name="connsiteY5" fmla="*/ 349973 h 366906"/>
                <a:gd name="connsiteX6" fmla="*/ 16934 w 33868"/>
                <a:gd name="connsiteY6" fmla="*/ 366906 h 366906"/>
                <a:gd name="connsiteX7" fmla="*/ 16934 w 33868"/>
                <a:gd name="connsiteY7" fmla="*/ 366906 h 366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868" h="366906">
                  <a:moveTo>
                    <a:pt x="16934" y="366906"/>
                  </a:moveTo>
                  <a:cubicBezTo>
                    <a:pt x="7526" y="366906"/>
                    <a:pt x="0" y="359380"/>
                    <a:pt x="0" y="349973"/>
                  </a:cubicBezTo>
                  <a:lnTo>
                    <a:pt x="0" y="16934"/>
                  </a:lnTo>
                  <a:cubicBezTo>
                    <a:pt x="0" y="7526"/>
                    <a:pt x="7526" y="0"/>
                    <a:pt x="16934" y="0"/>
                  </a:cubicBezTo>
                  <a:cubicBezTo>
                    <a:pt x="26342" y="0"/>
                    <a:pt x="33868" y="7526"/>
                    <a:pt x="33868" y="16934"/>
                  </a:cubicBezTo>
                  <a:lnTo>
                    <a:pt x="33868" y="349973"/>
                  </a:lnTo>
                  <a:cubicBezTo>
                    <a:pt x="33868" y="359380"/>
                    <a:pt x="26342" y="366906"/>
                    <a:pt x="16934" y="366906"/>
                  </a:cubicBezTo>
                  <a:lnTo>
                    <a:pt x="16934" y="366906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sp>
        <p:nvSpPr>
          <p:cNvPr id="14" name="Forma Livre: Forma 13">
            <a:extLst>
              <a:ext uri="{FF2B5EF4-FFF2-40B4-BE49-F238E27FC236}">
                <a16:creationId xmlns:a16="http://schemas.microsoft.com/office/drawing/2014/main" id="{D6A5B3DD-A36F-49A1-B707-4FFB442005DC}"/>
              </a:ext>
            </a:extLst>
          </p:cNvPr>
          <p:cNvSpPr/>
          <p:nvPr/>
        </p:nvSpPr>
        <p:spPr>
          <a:xfrm>
            <a:off x="10480281" y="3644899"/>
            <a:ext cx="397012" cy="354989"/>
          </a:xfrm>
          <a:custGeom>
            <a:avLst/>
            <a:gdLst>
              <a:gd name="connsiteX0" fmla="*/ 143000 w 397012"/>
              <a:gd name="connsiteY0" fmla="*/ 354363 h 354989"/>
              <a:gd name="connsiteX1" fmla="*/ 118539 w 397012"/>
              <a:gd name="connsiteY1" fmla="*/ 341819 h 354989"/>
              <a:gd name="connsiteX2" fmla="*/ 111640 w 397012"/>
              <a:gd name="connsiteY2" fmla="*/ 316731 h 354989"/>
              <a:gd name="connsiteX3" fmla="*/ 111640 w 397012"/>
              <a:gd name="connsiteY3" fmla="*/ 309205 h 354989"/>
              <a:gd name="connsiteX4" fmla="*/ 52057 w 397012"/>
              <a:gd name="connsiteY4" fmla="*/ 348091 h 354989"/>
              <a:gd name="connsiteX5" fmla="*/ 31360 w 397012"/>
              <a:gd name="connsiteY5" fmla="*/ 354990 h 354989"/>
              <a:gd name="connsiteX6" fmla="*/ 0 w 397012"/>
              <a:gd name="connsiteY6" fmla="*/ 317358 h 354989"/>
              <a:gd name="connsiteX7" fmla="*/ 0 w 397012"/>
              <a:gd name="connsiteY7" fmla="*/ 37631 h 354989"/>
              <a:gd name="connsiteX8" fmla="*/ 31360 w 397012"/>
              <a:gd name="connsiteY8" fmla="*/ 0 h 354989"/>
              <a:gd name="connsiteX9" fmla="*/ 52057 w 397012"/>
              <a:gd name="connsiteY9" fmla="*/ 6899 h 354989"/>
              <a:gd name="connsiteX10" fmla="*/ 111640 w 397012"/>
              <a:gd name="connsiteY10" fmla="*/ 45785 h 354989"/>
              <a:gd name="connsiteX11" fmla="*/ 111640 w 397012"/>
              <a:gd name="connsiteY11" fmla="*/ 38258 h 354989"/>
              <a:gd name="connsiteX12" fmla="*/ 143000 w 397012"/>
              <a:gd name="connsiteY12" fmla="*/ 627 h 354989"/>
              <a:gd name="connsiteX13" fmla="*/ 163697 w 397012"/>
              <a:gd name="connsiteY13" fmla="*/ 7526 h 354989"/>
              <a:gd name="connsiteX14" fmla="*/ 378823 w 397012"/>
              <a:gd name="connsiteY14" fmla="*/ 147390 h 354989"/>
              <a:gd name="connsiteX15" fmla="*/ 397012 w 397012"/>
              <a:gd name="connsiteY15" fmla="*/ 178749 h 354989"/>
              <a:gd name="connsiteX16" fmla="*/ 378823 w 397012"/>
              <a:gd name="connsiteY16" fmla="*/ 210109 h 354989"/>
              <a:gd name="connsiteX17" fmla="*/ 163697 w 397012"/>
              <a:gd name="connsiteY17" fmla="*/ 349972 h 354989"/>
              <a:gd name="connsiteX18" fmla="*/ 143000 w 397012"/>
              <a:gd name="connsiteY18" fmla="*/ 354363 h 354989"/>
              <a:gd name="connsiteX19" fmla="*/ 143000 w 397012"/>
              <a:gd name="connsiteY19" fmla="*/ 354363 h 354989"/>
              <a:gd name="connsiteX20" fmla="*/ 128574 w 397012"/>
              <a:gd name="connsiteY20" fmla="*/ 262166 h 354989"/>
              <a:gd name="connsiteX21" fmla="*/ 136728 w 397012"/>
              <a:gd name="connsiteY21" fmla="*/ 264047 h 354989"/>
              <a:gd name="connsiteX22" fmla="*/ 145509 w 397012"/>
              <a:gd name="connsiteY22" fmla="*/ 278472 h 354989"/>
              <a:gd name="connsiteX23" fmla="*/ 145509 w 397012"/>
              <a:gd name="connsiteY23" fmla="*/ 316731 h 354989"/>
              <a:gd name="connsiteX24" fmla="*/ 145509 w 397012"/>
              <a:gd name="connsiteY24" fmla="*/ 320494 h 354989"/>
              <a:gd name="connsiteX25" fmla="*/ 146136 w 397012"/>
              <a:gd name="connsiteY25" fmla="*/ 320494 h 354989"/>
              <a:gd name="connsiteX26" fmla="*/ 361263 w 397012"/>
              <a:gd name="connsiteY26" fmla="*/ 180631 h 354989"/>
              <a:gd name="connsiteX27" fmla="*/ 364398 w 397012"/>
              <a:gd name="connsiteY27" fmla="*/ 177495 h 354989"/>
              <a:gd name="connsiteX28" fmla="*/ 361263 w 397012"/>
              <a:gd name="connsiteY28" fmla="*/ 174359 h 354989"/>
              <a:gd name="connsiteX29" fmla="*/ 146136 w 397012"/>
              <a:gd name="connsiteY29" fmla="*/ 34495 h 354989"/>
              <a:gd name="connsiteX30" fmla="*/ 145509 w 397012"/>
              <a:gd name="connsiteY30" fmla="*/ 34495 h 354989"/>
              <a:gd name="connsiteX31" fmla="*/ 145509 w 397012"/>
              <a:gd name="connsiteY31" fmla="*/ 38258 h 354989"/>
              <a:gd name="connsiteX32" fmla="*/ 145509 w 397012"/>
              <a:gd name="connsiteY32" fmla="*/ 76517 h 354989"/>
              <a:gd name="connsiteX33" fmla="*/ 136728 w 397012"/>
              <a:gd name="connsiteY33" fmla="*/ 90943 h 354989"/>
              <a:gd name="connsiteX34" fmla="*/ 119794 w 397012"/>
              <a:gd name="connsiteY34" fmla="*/ 90315 h 354989"/>
              <a:gd name="connsiteX35" fmla="*/ 34495 w 397012"/>
              <a:gd name="connsiteY35" fmla="*/ 35123 h 354989"/>
              <a:gd name="connsiteX36" fmla="*/ 33868 w 397012"/>
              <a:gd name="connsiteY36" fmla="*/ 35123 h 354989"/>
              <a:gd name="connsiteX37" fmla="*/ 33868 w 397012"/>
              <a:gd name="connsiteY37" fmla="*/ 38886 h 354989"/>
              <a:gd name="connsiteX38" fmla="*/ 33868 w 397012"/>
              <a:gd name="connsiteY38" fmla="*/ 318613 h 354989"/>
              <a:gd name="connsiteX39" fmla="*/ 33868 w 397012"/>
              <a:gd name="connsiteY39" fmla="*/ 321749 h 354989"/>
              <a:gd name="connsiteX40" fmla="*/ 34495 w 397012"/>
              <a:gd name="connsiteY40" fmla="*/ 321749 h 354989"/>
              <a:gd name="connsiteX41" fmla="*/ 119794 w 397012"/>
              <a:gd name="connsiteY41" fmla="*/ 266556 h 354989"/>
              <a:gd name="connsiteX42" fmla="*/ 128574 w 397012"/>
              <a:gd name="connsiteY42" fmla="*/ 262166 h 354989"/>
              <a:gd name="connsiteX43" fmla="*/ 128574 w 397012"/>
              <a:gd name="connsiteY43" fmla="*/ 262166 h 354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397012" h="354989">
                <a:moveTo>
                  <a:pt x="143000" y="354363"/>
                </a:moveTo>
                <a:cubicBezTo>
                  <a:pt x="133592" y="354363"/>
                  <a:pt x="124811" y="349972"/>
                  <a:pt x="118539" y="341819"/>
                </a:cubicBezTo>
                <a:cubicBezTo>
                  <a:pt x="114149" y="335547"/>
                  <a:pt x="111640" y="326766"/>
                  <a:pt x="111640" y="316731"/>
                </a:cubicBezTo>
                <a:lnTo>
                  <a:pt x="111640" y="309205"/>
                </a:lnTo>
                <a:lnTo>
                  <a:pt x="52057" y="348091"/>
                </a:lnTo>
                <a:cubicBezTo>
                  <a:pt x="45158" y="352481"/>
                  <a:pt x="38259" y="354990"/>
                  <a:pt x="31360" y="354990"/>
                </a:cubicBezTo>
                <a:cubicBezTo>
                  <a:pt x="16308" y="354990"/>
                  <a:pt x="0" y="343073"/>
                  <a:pt x="0" y="317358"/>
                </a:cubicBezTo>
                <a:lnTo>
                  <a:pt x="0" y="37631"/>
                </a:lnTo>
                <a:cubicBezTo>
                  <a:pt x="0" y="11917"/>
                  <a:pt x="16308" y="0"/>
                  <a:pt x="31360" y="0"/>
                </a:cubicBezTo>
                <a:cubicBezTo>
                  <a:pt x="38259" y="0"/>
                  <a:pt x="45158" y="2509"/>
                  <a:pt x="52057" y="6899"/>
                </a:cubicBezTo>
                <a:lnTo>
                  <a:pt x="111640" y="45785"/>
                </a:lnTo>
                <a:lnTo>
                  <a:pt x="111640" y="38258"/>
                </a:lnTo>
                <a:cubicBezTo>
                  <a:pt x="111640" y="12544"/>
                  <a:pt x="127947" y="627"/>
                  <a:pt x="143000" y="627"/>
                </a:cubicBezTo>
                <a:cubicBezTo>
                  <a:pt x="149899" y="627"/>
                  <a:pt x="156798" y="3136"/>
                  <a:pt x="163697" y="7526"/>
                </a:cubicBezTo>
                <a:lnTo>
                  <a:pt x="378823" y="147390"/>
                </a:lnTo>
                <a:cubicBezTo>
                  <a:pt x="390740" y="154916"/>
                  <a:pt x="397012" y="166206"/>
                  <a:pt x="397012" y="178749"/>
                </a:cubicBezTo>
                <a:cubicBezTo>
                  <a:pt x="397012" y="190666"/>
                  <a:pt x="390113" y="201956"/>
                  <a:pt x="378823" y="210109"/>
                </a:cubicBezTo>
                <a:lnTo>
                  <a:pt x="163697" y="349972"/>
                </a:lnTo>
                <a:cubicBezTo>
                  <a:pt x="157426" y="352481"/>
                  <a:pt x="149899" y="354363"/>
                  <a:pt x="143000" y="354363"/>
                </a:cubicBezTo>
                <a:lnTo>
                  <a:pt x="143000" y="354363"/>
                </a:lnTo>
                <a:close/>
                <a:moveTo>
                  <a:pt x="128574" y="262166"/>
                </a:moveTo>
                <a:cubicBezTo>
                  <a:pt x="131083" y="262166"/>
                  <a:pt x="134219" y="262793"/>
                  <a:pt x="136728" y="264047"/>
                </a:cubicBezTo>
                <a:cubicBezTo>
                  <a:pt x="142373" y="267183"/>
                  <a:pt x="145509" y="272828"/>
                  <a:pt x="145509" y="278472"/>
                </a:cubicBezTo>
                <a:lnTo>
                  <a:pt x="145509" y="316731"/>
                </a:lnTo>
                <a:cubicBezTo>
                  <a:pt x="145509" y="317986"/>
                  <a:pt x="145509" y="319240"/>
                  <a:pt x="145509" y="320494"/>
                </a:cubicBezTo>
                <a:cubicBezTo>
                  <a:pt x="145509" y="320494"/>
                  <a:pt x="145509" y="320494"/>
                  <a:pt x="146136" y="320494"/>
                </a:cubicBezTo>
                <a:lnTo>
                  <a:pt x="361263" y="180631"/>
                </a:lnTo>
                <a:cubicBezTo>
                  <a:pt x="363771" y="178749"/>
                  <a:pt x="364398" y="177495"/>
                  <a:pt x="364398" y="177495"/>
                </a:cubicBezTo>
                <a:cubicBezTo>
                  <a:pt x="364398" y="177495"/>
                  <a:pt x="363771" y="176240"/>
                  <a:pt x="361263" y="174359"/>
                </a:cubicBezTo>
                <a:lnTo>
                  <a:pt x="146136" y="34495"/>
                </a:lnTo>
                <a:cubicBezTo>
                  <a:pt x="146136" y="34495"/>
                  <a:pt x="146136" y="34495"/>
                  <a:pt x="145509" y="34495"/>
                </a:cubicBezTo>
                <a:cubicBezTo>
                  <a:pt x="145509" y="35123"/>
                  <a:pt x="145509" y="36377"/>
                  <a:pt x="145509" y="38258"/>
                </a:cubicBezTo>
                <a:lnTo>
                  <a:pt x="145509" y="76517"/>
                </a:lnTo>
                <a:cubicBezTo>
                  <a:pt x="145509" y="82789"/>
                  <a:pt x="142373" y="88434"/>
                  <a:pt x="136728" y="90943"/>
                </a:cubicBezTo>
                <a:cubicBezTo>
                  <a:pt x="131083" y="94079"/>
                  <a:pt x="124811" y="93451"/>
                  <a:pt x="119794" y="90315"/>
                </a:cubicBezTo>
                <a:lnTo>
                  <a:pt x="34495" y="35123"/>
                </a:lnTo>
                <a:cubicBezTo>
                  <a:pt x="34495" y="35123"/>
                  <a:pt x="34495" y="35123"/>
                  <a:pt x="33868" y="35123"/>
                </a:cubicBezTo>
                <a:cubicBezTo>
                  <a:pt x="33868" y="35750"/>
                  <a:pt x="33868" y="37004"/>
                  <a:pt x="33868" y="38886"/>
                </a:cubicBezTo>
                <a:lnTo>
                  <a:pt x="33868" y="318613"/>
                </a:lnTo>
                <a:cubicBezTo>
                  <a:pt x="33868" y="319867"/>
                  <a:pt x="33868" y="321122"/>
                  <a:pt x="33868" y="321749"/>
                </a:cubicBezTo>
                <a:cubicBezTo>
                  <a:pt x="33868" y="321749"/>
                  <a:pt x="33868" y="321749"/>
                  <a:pt x="34495" y="321749"/>
                </a:cubicBezTo>
                <a:lnTo>
                  <a:pt x="119794" y="266556"/>
                </a:lnTo>
                <a:cubicBezTo>
                  <a:pt x="122302" y="262793"/>
                  <a:pt x="125438" y="262166"/>
                  <a:pt x="128574" y="262166"/>
                </a:cubicBezTo>
                <a:lnTo>
                  <a:pt x="128574" y="262166"/>
                </a:lnTo>
                <a:close/>
              </a:path>
            </a:pathLst>
          </a:custGeom>
          <a:solidFill>
            <a:srgbClr val="B1B1A1"/>
          </a:solidFill>
          <a:ln w="6269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grpSp>
        <p:nvGrpSpPr>
          <p:cNvPr id="15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1323295" y="3625456"/>
            <a:ext cx="356871" cy="391994"/>
            <a:chOff x="1323295" y="3625456"/>
            <a:chExt cx="356871" cy="391994"/>
          </a:xfrm>
          <a:solidFill>
            <a:srgbClr val="B1B1A1"/>
          </a:solidFill>
        </p:grpSpPr>
        <p:grpSp>
          <p:nvGrpSpPr>
            <p:cNvPr id="16" name="Gráfico 2">
              <a:extLst>
                <a:ext uri="{FF2B5EF4-FFF2-40B4-BE49-F238E27FC236}">
                  <a16:creationId xmlns:a16="http://schemas.microsoft.com/office/drawing/2014/main" id="{F5ABA5BB-819F-4501-AD77-3F762FEA4CEA}"/>
                </a:ext>
              </a:extLst>
            </p:cNvPr>
            <p:cNvGrpSpPr/>
            <p:nvPr/>
          </p:nvGrpSpPr>
          <p:grpSpPr>
            <a:xfrm>
              <a:off x="1323295" y="3625456"/>
              <a:ext cx="107876" cy="391994"/>
              <a:chOff x="1323295" y="3625456"/>
              <a:chExt cx="107876" cy="391994"/>
            </a:xfrm>
            <a:grpFill/>
          </p:grpSpPr>
          <p:sp>
            <p:nvSpPr>
              <p:cNvPr id="17" name="Forma Livre: Forma 16">
                <a:extLst>
                  <a:ext uri="{FF2B5EF4-FFF2-40B4-BE49-F238E27FC236}">
                    <a16:creationId xmlns:a16="http://schemas.microsoft.com/office/drawing/2014/main" id="{6E3956AD-4A11-4F47-80C5-A52A73B17383}"/>
                  </a:ext>
                </a:extLst>
              </p:cNvPr>
              <p:cNvSpPr/>
              <p:nvPr/>
            </p:nvSpPr>
            <p:spPr>
              <a:xfrm>
                <a:off x="1360300" y="3625456"/>
                <a:ext cx="33868" cy="175613"/>
              </a:xfrm>
              <a:custGeom>
                <a:avLst/>
                <a:gdLst>
                  <a:gd name="connsiteX0" fmla="*/ 16934 w 33868"/>
                  <a:gd name="connsiteY0" fmla="*/ 175613 h 175613"/>
                  <a:gd name="connsiteX1" fmla="*/ 0 w 33868"/>
                  <a:gd name="connsiteY1" fmla="*/ 158679 h 175613"/>
                  <a:gd name="connsiteX2" fmla="*/ 0 w 33868"/>
                  <a:gd name="connsiteY2" fmla="*/ 16934 h 175613"/>
                  <a:gd name="connsiteX3" fmla="*/ 16934 w 33868"/>
                  <a:gd name="connsiteY3" fmla="*/ 0 h 175613"/>
                  <a:gd name="connsiteX4" fmla="*/ 33868 w 33868"/>
                  <a:gd name="connsiteY4" fmla="*/ 16934 h 175613"/>
                  <a:gd name="connsiteX5" fmla="*/ 33868 w 33868"/>
                  <a:gd name="connsiteY5" fmla="*/ 159306 h 175613"/>
                  <a:gd name="connsiteX6" fmla="*/ 16934 w 33868"/>
                  <a:gd name="connsiteY6" fmla="*/ 175613 h 175613"/>
                  <a:gd name="connsiteX7" fmla="*/ 16934 w 33868"/>
                  <a:gd name="connsiteY7" fmla="*/ 175613 h 175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868" h="175613">
                    <a:moveTo>
                      <a:pt x="16934" y="175613"/>
                    </a:moveTo>
                    <a:cubicBezTo>
                      <a:pt x="7526" y="175613"/>
                      <a:pt x="0" y="168087"/>
                      <a:pt x="0" y="158679"/>
                    </a:cubicBezTo>
                    <a:lnTo>
                      <a:pt x="0" y="16934"/>
                    </a:lnTo>
                    <a:cubicBezTo>
                      <a:pt x="0" y="7526"/>
                      <a:pt x="7526" y="0"/>
                      <a:pt x="16934" y="0"/>
                    </a:cubicBezTo>
                    <a:cubicBezTo>
                      <a:pt x="26342" y="0"/>
                      <a:pt x="33868" y="7526"/>
                      <a:pt x="33868" y="16934"/>
                    </a:cubicBezTo>
                    <a:lnTo>
                      <a:pt x="33868" y="159306"/>
                    </a:lnTo>
                    <a:cubicBezTo>
                      <a:pt x="33868" y="168087"/>
                      <a:pt x="26342" y="175613"/>
                      <a:pt x="16934" y="175613"/>
                    </a:cubicBezTo>
                    <a:lnTo>
                      <a:pt x="16934" y="175613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8" name="Forma Livre: Forma 17">
                <a:extLst>
                  <a:ext uri="{FF2B5EF4-FFF2-40B4-BE49-F238E27FC236}">
                    <a16:creationId xmlns:a16="http://schemas.microsoft.com/office/drawing/2014/main" id="{324F4C8D-6BBF-4EE7-BC94-D9EEF7A9D096}"/>
                  </a:ext>
                </a:extLst>
              </p:cNvPr>
              <p:cNvSpPr/>
              <p:nvPr/>
            </p:nvSpPr>
            <p:spPr>
              <a:xfrm>
                <a:off x="1360300" y="3861907"/>
                <a:ext cx="33868" cy="155543"/>
              </a:xfrm>
              <a:custGeom>
                <a:avLst/>
                <a:gdLst>
                  <a:gd name="connsiteX0" fmla="*/ 16934 w 33868"/>
                  <a:gd name="connsiteY0" fmla="*/ 155543 h 155543"/>
                  <a:gd name="connsiteX1" fmla="*/ 0 w 33868"/>
                  <a:gd name="connsiteY1" fmla="*/ 138609 h 155543"/>
                  <a:gd name="connsiteX2" fmla="*/ 0 w 33868"/>
                  <a:gd name="connsiteY2" fmla="*/ 16934 h 155543"/>
                  <a:gd name="connsiteX3" fmla="*/ 16934 w 33868"/>
                  <a:gd name="connsiteY3" fmla="*/ 0 h 155543"/>
                  <a:gd name="connsiteX4" fmla="*/ 33868 w 33868"/>
                  <a:gd name="connsiteY4" fmla="*/ 16934 h 155543"/>
                  <a:gd name="connsiteX5" fmla="*/ 33868 w 33868"/>
                  <a:gd name="connsiteY5" fmla="*/ 139236 h 155543"/>
                  <a:gd name="connsiteX6" fmla="*/ 16934 w 33868"/>
                  <a:gd name="connsiteY6" fmla="*/ 155543 h 155543"/>
                  <a:gd name="connsiteX7" fmla="*/ 16934 w 33868"/>
                  <a:gd name="connsiteY7" fmla="*/ 155543 h 1555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868" h="155543">
                    <a:moveTo>
                      <a:pt x="16934" y="155543"/>
                    </a:moveTo>
                    <a:cubicBezTo>
                      <a:pt x="7526" y="155543"/>
                      <a:pt x="0" y="148017"/>
                      <a:pt x="0" y="138609"/>
                    </a:cubicBezTo>
                    <a:lnTo>
                      <a:pt x="0" y="16934"/>
                    </a:lnTo>
                    <a:cubicBezTo>
                      <a:pt x="0" y="7526"/>
                      <a:pt x="7526" y="0"/>
                      <a:pt x="16934" y="0"/>
                    </a:cubicBezTo>
                    <a:cubicBezTo>
                      <a:pt x="26342" y="0"/>
                      <a:pt x="33868" y="7526"/>
                      <a:pt x="33868" y="16934"/>
                    </a:cubicBezTo>
                    <a:lnTo>
                      <a:pt x="33868" y="139236"/>
                    </a:lnTo>
                    <a:cubicBezTo>
                      <a:pt x="33868" y="148017"/>
                      <a:pt x="26342" y="155543"/>
                      <a:pt x="16934" y="155543"/>
                    </a:cubicBezTo>
                    <a:lnTo>
                      <a:pt x="16934" y="155543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9" name="Forma Livre: Forma 18">
                <a:extLst>
                  <a:ext uri="{FF2B5EF4-FFF2-40B4-BE49-F238E27FC236}">
                    <a16:creationId xmlns:a16="http://schemas.microsoft.com/office/drawing/2014/main" id="{CFE1EF1B-FEB1-428B-9249-C2908E15007B}"/>
                  </a:ext>
                </a:extLst>
              </p:cNvPr>
              <p:cNvSpPr/>
              <p:nvPr/>
            </p:nvSpPr>
            <p:spPr>
              <a:xfrm>
                <a:off x="1323295" y="3782254"/>
                <a:ext cx="107876" cy="107876"/>
              </a:xfrm>
              <a:custGeom>
                <a:avLst/>
                <a:gdLst>
                  <a:gd name="connsiteX0" fmla="*/ 53938 w 107876"/>
                  <a:gd name="connsiteY0" fmla="*/ 107877 h 107876"/>
                  <a:gd name="connsiteX1" fmla="*/ 0 w 107876"/>
                  <a:gd name="connsiteY1" fmla="*/ 53939 h 107876"/>
                  <a:gd name="connsiteX2" fmla="*/ 53938 w 107876"/>
                  <a:gd name="connsiteY2" fmla="*/ 0 h 107876"/>
                  <a:gd name="connsiteX3" fmla="*/ 107877 w 107876"/>
                  <a:gd name="connsiteY3" fmla="*/ 53939 h 107876"/>
                  <a:gd name="connsiteX4" fmla="*/ 53938 w 107876"/>
                  <a:gd name="connsiteY4" fmla="*/ 107877 h 107876"/>
                  <a:gd name="connsiteX5" fmla="*/ 53938 w 107876"/>
                  <a:gd name="connsiteY5" fmla="*/ 107877 h 107876"/>
                  <a:gd name="connsiteX6" fmla="*/ 53938 w 107876"/>
                  <a:gd name="connsiteY6" fmla="*/ 32614 h 107876"/>
                  <a:gd name="connsiteX7" fmla="*/ 33241 w 107876"/>
                  <a:gd name="connsiteY7" fmla="*/ 53311 h 107876"/>
                  <a:gd name="connsiteX8" fmla="*/ 53938 w 107876"/>
                  <a:gd name="connsiteY8" fmla="*/ 74009 h 107876"/>
                  <a:gd name="connsiteX9" fmla="*/ 74636 w 107876"/>
                  <a:gd name="connsiteY9" fmla="*/ 53311 h 107876"/>
                  <a:gd name="connsiteX10" fmla="*/ 53938 w 107876"/>
                  <a:gd name="connsiteY10" fmla="*/ 32614 h 107876"/>
                  <a:gd name="connsiteX11" fmla="*/ 53938 w 107876"/>
                  <a:gd name="connsiteY11" fmla="*/ 32614 h 1078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7876" h="107876">
                    <a:moveTo>
                      <a:pt x="53938" y="107877"/>
                    </a:moveTo>
                    <a:cubicBezTo>
                      <a:pt x="23833" y="107877"/>
                      <a:pt x="0" y="83417"/>
                      <a:pt x="0" y="53939"/>
                    </a:cubicBezTo>
                    <a:cubicBezTo>
                      <a:pt x="0" y="23834"/>
                      <a:pt x="24460" y="0"/>
                      <a:pt x="53938" y="0"/>
                    </a:cubicBezTo>
                    <a:cubicBezTo>
                      <a:pt x="84044" y="0"/>
                      <a:pt x="107877" y="24461"/>
                      <a:pt x="107877" y="53939"/>
                    </a:cubicBezTo>
                    <a:cubicBezTo>
                      <a:pt x="107877" y="83417"/>
                      <a:pt x="84044" y="107877"/>
                      <a:pt x="53938" y="107877"/>
                    </a:cubicBezTo>
                    <a:lnTo>
                      <a:pt x="53938" y="107877"/>
                    </a:lnTo>
                    <a:close/>
                    <a:moveTo>
                      <a:pt x="53938" y="32614"/>
                    </a:moveTo>
                    <a:cubicBezTo>
                      <a:pt x="42649" y="32614"/>
                      <a:pt x="33241" y="42022"/>
                      <a:pt x="33241" y="53311"/>
                    </a:cubicBezTo>
                    <a:cubicBezTo>
                      <a:pt x="33241" y="64601"/>
                      <a:pt x="42649" y="74009"/>
                      <a:pt x="53938" y="74009"/>
                    </a:cubicBezTo>
                    <a:cubicBezTo>
                      <a:pt x="65228" y="74009"/>
                      <a:pt x="74636" y="64601"/>
                      <a:pt x="74636" y="53311"/>
                    </a:cubicBezTo>
                    <a:cubicBezTo>
                      <a:pt x="74636" y="42022"/>
                      <a:pt x="65228" y="32614"/>
                      <a:pt x="53938" y="32614"/>
                    </a:cubicBezTo>
                    <a:lnTo>
                      <a:pt x="53938" y="32614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20" name="Gráfico 2">
              <a:extLst>
                <a:ext uri="{FF2B5EF4-FFF2-40B4-BE49-F238E27FC236}">
                  <a16:creationId xmlns:a16="http://schemas.microsoft.com/office/drawing/2014/main" id="{F5ABA5BB-819F-4501-AD77-3F762FEA4CEA}"/>
                </a:ext>
              </a:extLst>
            </p:cNvPr>
            <p:cNvGrpSpPr/>
            <p:nvPr/>
          </p:nvGrpSpPr>
          <p:grpSpPr>
            <a:xfrm>
              <a:off x="1448106" y="3626083"/>
              <a:ext cx="107876" cy="391366"/>
              <a:chOff x="1448106" y="3626083"/>
              <a:chExt cx="107876" cy="391366"/>
            </a:xfrm>
            <a:grpFill/>
          </p:grpSpPr>
          <p:sp>
            <p:nvSpPr>
              <p:cNvPr id="21" name="Forma Livre: Forma 20">
                <a:extLst>
                  <a:ext uri="{FF2B5EF4-FFF2-40B4-BE49-F238E27FC236}">
                    <a16:creationId xmlns:a16="http://schemas.microsoft.com/office/drawing/2014/main" id="{651CC09A-87E3-4FE9-B2DE-9058F83955EF}"/>
                  </a:ext>
                </a:extLst>
              </p:cNvPr>
              <p:cNvSpPr/>
              <p:nvPr/>
            </p:nvSpPr>
            <p:spPr>
              <a:xfrm>
                <a:off x="1485111" y="3626083"/>
                <a:ext cx="33868" cy="252757"/>
              </a:xfrm>
              <a:custGeom>
                <a:avLst/>
                <a:gdLst>
                  <a:gd name="connsiteX0" fmla="*/ 16934 w 33868"/>
                  <a:gd name="connsiteY0" fmla="*/ 252758 h 252757"/>
                  <a:gd name="connsiteX1" fmla="*/ 0 w 33868"/>
                  <a:gd name="connsiteY1" fmla="*/ 235824 h 252757"/>
                  <a:gd name="connsiteX2" fmla="*/ 0 w 33868"/>
                  <a:gd name="connsiteY2" fmla="*/ 16934 h 252757"/>
                  <a:gd name="connsiteX3" fmla="*/ 16934 w 33868"/>
                  <a:gd name="connsiteY3" fmla="*/ 0 h 252757"/>
                  <a:gd name="connsiteX4" fmla="*/ 33868 w 33868"/>
                  <a:gd name="connsiteY4" fmla="*/ 16934 h 252757"/>
                  <a:gd name="connsiteX5" fmla="*/ 33868 w 33868"/>
                  <a:gd name="connsiteY5" fmla="*/ 235824 h 252757"/>
                  <a:gd name="connsiteX6" fmla="*/ 16934 w 33868"/>
                  <a:gd name="connsiteY6" fmla="*/ 252758 h 252757"/>
                  <a:gd name="connsiteX7" fmla="*/ 16934 w 33868"/>
                  <a:gd name="connsiteY7" fmla="*/ 252758 h 2527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868" h="252757">
                    <a:moveTo>
                      <a:pt x="16934" y="252758"/>
                    </a:moveTo>
                    <a:cubicBezTo>
                      <a:pt x="7526" y="252758"/>
                      <a:pt x="0" y="245231"/>
                      <a:pt x="0" y="235824"/>
                    </a:cubicBezTo>
                    <a:lnTo>
                      <a:pt x="0" y="16934"/>
                    </a:lnTo>
                    <a:cubicBezTo>
                      <a:pt x="0" y="7526"/>
                      <a:pt x="7526" y="0"/>
                      <a:pt x="16934" y="0"/>
                    </a:cubicBezTo>
                    <a:cubicBezTo>
                      <a:pt x="26342" y="0"/>
                      <a:pt x="33868" y="7526"/>
                      <a:pt x="33868" y="16934"/>
                    </a:cubicBezTo>
                    <a:lnTo>
                      <a:pt x="33868" y="235824"/>
                    </a:lnTo>
                    <a:cubicBezTo>
                      <a:pt x="33241" y="245231"/>
                      <a:pt x="25715" y="252758"/>
                      <a:pt x="16934" y="252758"/>
                    </a:cubicBezTo>
                    <a:lnTo>
                      <a:pt x="16934" y="252758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2" name="Forma Livre: Forma 21">
                <a:extLst>
                  <a:ext uri="{FF2B5EF4-FFF2-40B4-BE49-F238E27FC236}">
                    <a16:creationId xmlns:a16="http://schemas.microsoft.com/office/drawing/2014/main" id="{43606C8F-2174-4A2F-AB93-EAE5332DC68B}"/>
                  </a:ext>
                </a:extLst>
              </p:cNvPr>
              <p:cNvSpPr/>
              <p:nvPr/>
            </p:nvSpPr>
            <p:spPr>
              <a:xfrm>
                <a:off x="1485111" y="3927762"/>
                <a:ext cx="33868" cy="89688"/>
              </a:xfrm>
              <a:custGeom>
                <a:avLst/>
                <a:gdLst>
                  <a:gd name="connsiteX0" fmla="*/ 16934 w 33868"/>
                  <a:gd name="connsiteY0" fmla="*/ 89688 h 89688"/>
                  <a:gd name="connsiteX1" fmla="*/ 0 w 33868"/>
                  <a:gd name="connsiteY1" fmla="*/ 72754 h 89688"/>
                  <a:gd name="connsiteX2" fmla="*/ 0 w 33868"/>
                  <a:gd name="connsiteY2" fmla="*/ 16934 h 89688"/>
                  <a:gd name="connsiteX3" fmla="*/ 16934 w 33868"/>
                  <a:gd name="connsiteY3" fmla="*/ 0 h 89688"/>
                  <a:gd name="connsiteX4" fmla="*/ 33868 w 33868"/>
                  <a:gd name="connsiteY4" fmla="*/ 16934 h 89688"/>
                  <a:gd name="connsiteX5" fmla="*/ 33868 w 33868"/>
                  <a:gd name="connsiteY5" fmla="*/ 72754 h 89688"/>
                  <a:gd name="connsiteX6" fmla="*/ 16934 w 33868"/>
                  <a:gd name="connsiteY6" fmla="*/ 89688 h 89688"/>
                  <a:gd name="connsiteX7" fmla="*/ 16934 w 33868"/>
                  <a:gd name="connsiteY7" fmla="*/ 89688 h 89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868" h="89688">
                    <a:moveTo>
                      <a:pt x="16934" y="89688"/>
                    </a:moveTo>
                    <a:cubicBezTo>
                      <a:pt x="7526" y="89688"/>
                      <a:pt x="0" y="82162"/>
                      <a:pt x="0" y="72754"/>
                    </a:cubicBezTo>
                    <a:lnTo>
                      <a:pt x="0" y="16934"/>
                    </a:lnTo>
                    <a:cubicBezTo>
                      <a:pt x="0" y="7526"/>
                      <a:pt x="7526" y="0"/>
                      <a:pt x="16934" y="0"/>
                    </a:cubicBezTo>
                    <a:cubicBezTo>
                      <a:pt x="26342" y="0"/>
                      <a:pt x="33868" y="7526"/>
                      <a:pt x="33868" y="16934"/>
                    </a:cubicBezTo>
                    <a:lnTo>
                      <a:pt x="33868" y="72754"/>
                    </a:lnTo>
                    <a:cubicBezTo>
                      <a:pt x="33241" y="82162"/>
                      <a:pt x="25715" y="89688"/>
                      <a:pt x="16934" y="89688"/>
                    </a:cubicBezTo>
                    <a:lnTo>
                      <a:pt x="16934" y="89688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3" name="Forma Livre: Forma 22">
                <a:extLst>
                  <a:ext uri="{FF2B5EF4-FFF2-40B4-BE49-F238E27FC236}">
                    <a16:creationId xmlns:a16="http://schemas.microsoft.com/office/drawing/2014/main" id="{5191BB97-270C-4802-8D43-DE523CB02FB6}"/>
                  </a:ext>
                </a:extLst>
              </p:cNvPr>
              <p:cNvSpPr/>
              <p:nvPr/>
            </p:nvSpPr>
            <p:spPr>
              <a:xfrm>
                <a:off x="1448106" y="3848736"/>
                <a:ext cx="107876" cy="107876"/>
              </a:xfrm>
              <a:custGeom>
                <a:avLst/>
                <a:gdLst>
                  <a:gd name="connsiteX0" fmla="*/ 53938 w 107876"/>
                  <a:gd name="connsiteY0" fmla="*/ 107877 h 107876"/>
                  <a:gd name="connsiteX1" fmla="*/ 0 w 107876"/>
                  <a:gd name="connsiteY1" fmla="*/ 53938 h 107876"/>
                  <a:gd name="connsiteX2" fmla="*/ 53938 w 107876"/>
                  <a:gd name="connsiteY2" fmla="*/ 0 h 107876"/>
                  <a:gd name="connsiteX3" fmla="*/ 107877 w 107876"/>
                  <a:gd name="connsiteY3" fmla="*/ 53938 h 107876"/>
                  <a:gd name="connsiteX4" fmla="*/ 53938 w 107876"/>
                  <a:gd name="connsiteY4" fmla="*/ 107877 h 107876"/>
                  <a:gd name="connsiteX5" fmla="*/ 53938 w 107876"/>
                  <a:gd name="connsiteY5" fmla="*/ 107877 h 107876"/>
                  <a:gd name="connsiteX6" fmla="*/ 53938 w 107876"/>
                  <a:gd name="connsiteY6" fmla="*/ 32614 h 107876"/>
                  <a:gd name="connsiteX7" fmla="*/ 33241 w 107876"/>
                  <a:gd name="connsiteY7" fmla="*/ 53311 h 107876"/>
                  <a:gd name="connsiteX8" fmla="*/ 53938 w 107876"/>
                  <a:gd name="connsiteY8" fmla="*/ 74008 h 107876"/>
                  <a:gd name="connsiteX9" fmla="*/ 74636 w 107876"/>
                  <a:gd name="connsiteY9" fmla="*/ 53311 h 107876"/>
                  <a:gd name="connsiteX10" fmla="*/ 53938 w 107876"/>
                  <a:gd name="connsiteY10" fmla="*/ 32614 h 107876"/>
                  <a:gd name="connsiteX11" fmla="*/ 53938 w 107876"/>
                  <a:gd name="connsiteY11" fmla="*/ 32614 h 1078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7876" h="107876">
                    <a:moveTo>
                      <a:pt x="53938" y="107877"/>
                    </a:moveTo>
                    <a:cubicBezTo>
                      <a:pt x="23833" y="107877"/>
                      <a:pt x="0" y="83416"/>
                      <a:pt x="0" y="53938"/>
                    </a:cubicBezTo>
                    <a:cubicBezTo>
                      <a:pt x="0" y="23833"/>
                      <a:pt x="24460" y="0"/>
                      <a:pt x="53938" y="0"/>
                    </a:cubicBezTo>
                    <a:cubicBezTo>
                      <a:pt x="83416" y="0"/>
                      <a:pt x="107877" y="24460"/>
                      <a:pt x="107877" y="53938"/>
                    </a:cubicBezTo>
                    <a:cubicBezTo>
                      <a:pt x="107877" y="83416"/>
                      <a:pt x="83416" y="107877"/>
                      <a:pt x="53938" y="107877"/>
                    </a:cubicBezTo>
                    <a:lnTo>
                      <a:pt x="53938" y="107877"/>
                    </a:lnTo>
                    <a:close/>
                    <a:moveTo>
                      <a:pt x="53938" y="32614"/>
                    </a:moveTo>
                    <a:cubicBezTo>
                      <a:pt x="42649" y="32614"/>
                      <a:pt x="33241" y="42022"/>
                      <a:pt x="33241" y="53311"/>
                    </a:cubicBezTo>
                    <a:cubicBezTo>
                      <a:pt x="33241" y="64601"/>
                      <a:pt x="42649" y="74008"/>
                      <a:pt x="53938" y="74008"/>
                    </a:cubicBezTo>
                    <a:cubicBezTo>
                      <a:pt x="65228" y="74008"/>
                      <a:pt x="74636" y="64601"/>
                      <a:pt x="74636" y="53311"/>
                    </a:cubicBezTo>
                    <a:cubicBezTo>
                      <a:pt x="74636" y="42022"/>
                      <a:pt x="65228" y="32614"/>
                      <a:pt x="53938" y="32614"/>
                    </a:cubicBezTo>
                    <a:lnTo>
                      <a:pt x="53938" y="32614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24" name="Gráfico 2">
              <a:extLst>
                <a:ext uri="{FF2B5EF4-FFF2-40B4-BE49-F238E27FC236}">
                  <a16:creationId xmlns:a16="http://schemas.microsoft.com/office/drawing/2014/main" id="{F5ABA5BB-819F-4501-AD77-3F762FEA4CEA}"/>
                </a:ext>
              </a:extLst>
            </p:cNvPr>
            <p:cNvGrpSpPr/>
            <p:nvPr/>
          </p:nvGrpSpPr>
          <p:grpSpPr>
            <a:xfrm>
              <a:off x="1572290" y="3626083"/>
              <a:ext cx="107876" cy="391366"/>
              <a:chOff x="1572290" y="3626083"/>
              <a:chExt cx="107876" cy="391366"/>
            </a:xfrm>
            <a:grpFill/>
          </p:grpSpPr>
          <p:sp>
            <p:nvSpPr>
              <p:cNvPr id="25" name="Forma Livre: Forma 24">
                <a:extLst>
                  <a:ext uri="{FF2B5EF4-FFF2-40B4-BE49-F238E27FC236}">
                    <a16:creationId xmlns:a16="http://schemas.microsoft.com/office/drawing/2014/main" id="{D988C038-A037-43E9-BDFA-02F15B8D7669}"/>
                  </a:ext>
                </a:extLst>
              </p:cNvPr>
              <p:cNvSpPr/>
              <p:nvPr/>
            </p:nvSpPr>
            <p:spPr>
              <a:xfrm>
                <a:off x="1609294" y="3626083"/>
                <a:ext cx="33868" cy="94705"/>
              </a:xfrm>
              <a:custGeom>
                <a:avLst/>
                <a:gdLst>
                  <a:gd name="connsiteX0" fmla="*/ 16934 w 33868"/>
                  <a:gd name="connsiteY0" fmla="*/ 94706 h 94705"/>
                  <a:gd name="connsiteX1" fmla="*/ 0 w 33868"/>
                  <a:gd name="connsiteY1" fmla="*/ 77772 h 94705"/>
                  <a:gd name="connsiteX2" fmla="*/ 0 w 33868"/>
                  <a:gd name="connsiteY2" fmla="*/ 16934 h 94705"/>
                  <a:gd name="connsiteX3" fmla="*/ 16934 w 33868"/>
                  <a:gd name="connsiteY3" fmla="*/ 0 h 94705"/>
                  <a:gd name="connsiteX4" fmla="*/ 33868 w 33868"/>
                  <a:gd name="connsiteY4" fmla="*/ 16934 h 94705"/>
                  <a:gd name="connsiteX5" fmla="*/ 33868 w 33868"/>
                  <a:gd name="connsiteY5" fmla="*/ 77772 h 94705"/>
                  <a:gd name="connsiteX6" fmla="*/ 16934 w 33868"/>
                  <a:gd name="connsiteY6" fmla="*/ 94706 h 94705"/>
                  <a:gd name="connsiteX7" fmla="*/ 16934 w 33868"/>
                  <a:gd name="connsiteY7" fmla="*/ 94706 h 94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868" h="94705">
                    <a:moveTo>
                      <a:pt x="16934" y="94706"/>
                    </a:moveTo>
                    <a:cubicBezTo>
                      <a:pt x="7526" y="94706"/>
                      <a:pt x="0" y="87179"/>
                      <a:pt x="0" y="77772"/>
                    </a:cubicBezTo>
                    <a:lnTo>
                      <a:pt x="0" y="16934"/>
                    </a:lnTo>
                    <a:cubicBezTo>
                      <a:pt x="0" y="7526"/>
                      <a:pt x="7526" y="0"/>
                      <a:pt x="16934" y="0"/>
                    </a:cubicBezTo>
                    <a:cubicBezTo>
                      <a:pt x="26342" y="0"/>
                      <a:pt x="33868" y="7526"/>
                      <a:pt x="33868" y="16934"/>
                    </a:cubicBezTo>
                    <a:lnTo>
                      <a:pt x="33868" y="77772"/>
                    </a:lnTo>
                    <a:cubicBezTo>
                      <a:pt x="33868" y="87179"/>
                      <a:pt x="26342" y="94706"/>
                      <a:pt x="16934" y="94706"/>
                    </a:cubicBezTo>
                    <a:lnTo>
                      <a:pt x="16934" y="94706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6" name="Forma Livre: Forma 25">
                <a:extLst>
                  <a:ext uri="{FF2B5EF4-FFF2-40B4-BE49-F238E27FC236}">
                    <a16:creationId xmlns:a16="http://schemas.microsoft.com/office/drawing/2014/main" id="{2657EB68-72F4-4014-8C18-5BC8F94F6B4D}"/>
                  </a:ext>
                </a:extLst>
              </p:cNvPr>
              <p:cNvSpPr/>
              <p:nvPr/>
            </p:nvSpPr>
            <p:spPr>
              <a:xfrm>
                <a:off x="1609294" y="3767828"/>
                <a:ext cx="33868" cy="249621"/>
              </a:xfrm>
              <a:custGeom>
                <a:avLst/>
                <a:gdLst>
                  <a:gd name="connsiteX0" fmla="*/ 16934 w 33868"/>
                  <a:gd name="connsiteY0" fmla="*/ 249622 h 249621"/>
                  <a:gd name="connsiteX1" fmla="*/ 0 w 33868"/>
                  <a:gd name="connsiteY1" fmla="*/ 232688 h 249621"/>
                  <a:gd name="connsiteX2" fmla="*/ 0 w 33868"/>
                  <a:gd name="connsiteY2" fmla="*/ 16934 h 249621"/>
                  <a:gd name="connsiteX3" fmla="*/ 16934 w 33868"/>
                  <a:gd name="connsiteY3" fmla="*/ 0 h 249621"/>
                  <a:gd name="connsiteX4" fmla="*/ 33868 w 33868"/>
                  <a:gd name="connsiteY4" fmla="*/ 16934 h 249621"/>
                  <a:gd name="connsiteX5" fmla="*/ 33868 w 33868"/>
                  <a:gd name="connsiteY5" fmla="*/ 233315 h 249621"/>
                  <a:gd name="connsiteX6" fmla="*/ 16934 w 33868"/>
                  <a:gd name="connsiteY6" fmla="*/ 249622 h 249621"/>
                  <a:gd name="connsiteX7" fmla="*/ 16934 w 33868"/>
                  <a:gd name="connsiteY7" fmla="*/ 249622 h 2496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868" h="249621">
                    <a:moveTo>
                      <a:pt x="16934" y="249622"/>
                    </a:moveTo>
                    <a:cubicBezTo>
                      <a:pt x="7526" y="249622"/>
                      <a:pt x="0" y="242096"/>
                      <a:pt x="0" y="232688"/>
                    </a:cubicBezTo>
                    <a:lnTo>
                      <a:pt x="0" y="16934"/>
                    </a:lnTo>
                    <a:cubicBezTo>
                      <a:pt x="0" y="7526"/>
                      <a:pt x="7526" y="0"/>
                      <a:pt x="16934" y="0"/>
                    </a:cubicBezTo>
                    <a:cubicBezTo>
                      <a:pt x="26342" y="0"/>
                      <a:pt x="33868" y="7526"/>
                      <a:pt x="33868" y="16934"/>
                    </a:cubicBezTo>
                    <a:lnTo>
                      <a:pt x="33868" y="233315"/>
                    </a:lnTo>
                    <a:cubicBezTo>
                      <a:pt x="33868" y="242096"/>
                      <a:pt x="26342" y="249622"/>
                      <a:pt x="16934" y="249622"/>
                    </a:cubicBezTo>
                    <a:lnTo>
                      <a:pt x="16934" y="249622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7" name="Forma Livre: Forma 26">
                <a:extLst>
                  <a:ext uri="{FF2B5EF4-FFF2-40B4-BE49-F238E27FC236}">
                    <a16:creationId xmlns:a16="http://schemas.microsoft.com/office/drawing/2014/main" id="{0BC0F7E5-FBFB-4208-BF18-DB1BD5C5CA51}"/>
                  </a:ext>
                </a:extLst>
              </p:cNvPr>
              <p:cNvSpPr/>
              <p:nvPr/>
            </p:nvSpPr>
            <p:spPr>
              <a:xfrm>
                <a:off x="1572290" y="3687548"/>
                <a:ext cx="107876" cy="107876"/>
              </a:xfrm>
              <a:custGeom>
                <a:avLst/>
                <a:gdLst>
                  <a:gd name="connsiteX0" fmla="*/ 53938 w 107876"/>
                  <a:gd name="connsiteY0" fmla="*/ 107877 h 107876"/>
                  <a:gd name="connsiteX1" fmla="*/ 0 w 107876"/>
                  <a:gd name="connsiteY1" fmla="*/ 53938 h 107876"/>
                  <a:gd name="connsiteX2" fmla="*/ 53938 w 107876"/>
                  <a:gd name="connsiteY2" fmla="*/ 0 h 107876"/>
                  <a:gd name="connsiteX3" fmla="*/ 107877 w 107876"/>
                  <a:gd name="connsiteY3" fmla="*/ 53938 h 107876"/>
                  <a:gd name="connsiteX4" fmla="*/ 53938 w 107876"/>
                  <a:gd name="connsiteY4" fmla="*/ 107877 h 107876"/>
                  <a:gd name="connsiteX5" fmla="*/ 53938 w 107876"/>
                  <a:gd name="connsiteY5" fmla="*/ 107877 h 107876"/>
                  <a:gd name="connsiteX6" fmla="*/ 53938 w 107876"/>
                  <a:gd name="connsiteY6" fmla="*/ 33241 h 107876"/>
                  <a:gd name="connsiteX7" fmla="*/ 33241 w 107876"/>
                  <a:gd name="connsiteY7" fmla="*/ 53938 h 107876"/>
                  <a:gd name="connsiteX8" fmla="*/ 53938 w 107876"/>
                  <a:gd name="connsiteY8" fmla="*/ 74636 h 107876"/>
                  <a:gd name="connsiteX9" fmla="*/ 74636 w 107876"/>
                  <a:gd name="connsiteY9" fmla="*/ 53938 h 107876"/>
                  <a:gd name="connsiteX10" fmla="*/ 53938 w 107876"/>
                  <a:gd name="connsiteY10" fmla="*/ 33241 h 107876"/>
                  <a:gd name="connsiteX11" fmla="*/ 53938 w 107876"/>
                  <a:gd name="connsiteY11" fmla="*/ 33241 h 1078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7876" h="107876">
                    <a:moveTo>
                      <a:pt x="53938" y="107877"/>
                    </a:moveTo>
                    <a:cubicBezTo>
                      <a:pt x="23833" y="107877"/>
                      <a:pt x="0" y="83416"/>
                      <a:pt x="0" y="53938"/>
                    </a:cubicBezTo>
                    <a:cubicBezTo>
                      <a:pt x="0" y="23833"/>
                      <a:pt x="24460" y="0"/>
                      <a:pt x="53938" y="0"/>
                    </a:cubicBezTo>
                    <a:cubicBezTo>
                      <a:pt x="83416" y="0"/>
                      <a:pt x="107877" y="24460"/>
                      <a:pt x="107877" y="53938"/>
                    </a:cubicBezTo>
                    <a:cubicBezTo>
                      <a:pt x="107877" y="84044"/>
                      <a:pt x="84044" y="107877"/>
                      <a:pt x="53938" y="107877"/>
                    </a:cubicBezTo>
                    <a:lnTo>
                      <a:pt x="53938" y="107877"/>
                    </a:lnTo>
                    <a:close/>
                    <a:moveTo>
                      <a:pt x="53938" y="33241"/>
                    </a:moveTo>
                    <a:cubicBezTo>
                      <a:pt x="42649" y="33241"/>
                      <a:pt x="33241" y="42649"/>
                      <a:pt x="33241" y="53938"/>
                    </a:cubicBezTo>
                    <a:cubicBezTo>
                      <a:pt x="33241" y="65228"/>
                      <a:pt x="42649" y="74636"/>
                      <a:pt x="53938" y="74636"/>
                    </a:cubicBezTo>
                    <a:cubicBezTo>
                      <a:pt x="65228" y="74636"/>
                      <a:pt x="74636" y="65228"/>
                      <a:pt x="74636" y="53938"/>
                    </a:cubicBezTo>
                    <a:cubicBezTo>
                      <a:pt x="74636" y="42649"/>
                      <a:pt x="65228" y="33241"/>
                      <a:pt x="53938" y="33241"/>
                    </a:cubicBezTo>
                    <a:lnTo>
                      <a:pt x="53938" y="33241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28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2395165" y="3636745"/>
            <a:ext cx="257148" cy="369415"/>
            <a:chOff x="2395165" y="3636745"/>
            <a:chExt cx="257148" cy="369415"/>
          </a:xfrm>
          <a:solidFill>
            <a:srgbClr val="B1B1A1"/>
          </a:solidFill>
        </p:grpSpPr>
        <p:sp>
          <p:nvSpPr>
            <p:cNvPr id="29" name="Forma Livre: Forma 28">
              <a:extLst>
                <a:ext uri="{FF2B5EF4-FFF2-40B4-BE49-F238E27FC236}">
                  <a16:creationId xmlns:a16="http://schemas.microsoft.com/office/drawing/2014/main" id="{1AE31903-D5D1-4E8D-B9BC-9FBF214D73E8}"/>
                </a:ext>
              </a:extLst>
            </p:cNvPr>
            <p:cNvSpPr/>
            <p:nvPr/>
          </p:nvSpPr>
          <p:spPr>
            <a:xfrm>
              <a:off x="2455375" y="3636745"/>
              <a:ext cx="135473" cy="252130"/>
            </a:xfrm>
            <a:custGeom>
              <a:avLst/>
              <a:gdLst>
                <a:gd name="connsiteX0" fmla="*/ 67737 w 135473"/>
                <a:gd name="connsiteY0" fmla="*/ 252131 h 252130"/>
                <a:gd name="connsiteX1" fmla="*/ 0 w 135473"/>
                <a:gd name="connsiteY1" fmla="*/ 184394 h 252130"/>
                <a:gd name="connsiteX2" fmla="*/ 0 w 135473"/>
                <a:gd name="connsiteY2" fmla="*/ 67737 h 252130"/>
                <a:gd name="connsiteX3" fmla="*/ 67737 w 135473"/>
                <a:gd name="connsiteY3" fmla="*/ 0 h 252130"/>
                <a:gd name="connsiteX4" fmla="*/ 135473 w 135473"/>
                <a:gd name="connsiteY4" fmla="*/ 67737 h 252130"/>
                <a:gd name="connsiteX5" fmla="*/ 135473 w 135473"/>
                <a:gd name="connsiteY5" fmla="*/ 184394 h 252130"/>
                <a:gd name="connsiteX6" fmla="*/ 67737 w 135473"/>
                <a:gd name="connsiteY6" fmla="*/ 252131 h 252130"/>
                <a:gd name="connsiteX7" fmla="*/ 67737 w 135473"/>
                <a:gd name="connsiteY7" fmla="*/ 252131 h 252130"/>
                <a:gd name="connsiteX8" fmla="*/ 67737 w 135473"/>
                <a:gd name="connsiteY8" fmla="*/ 31987 h 252130"/>
                <a:gd name="connsiteX9" fmla="*/ 31360 w 135473"/>
                <a:gd name="connsiteY9" fmla="*/ 68364 h 252130"/>
                <a:gd name="connsiteX10" fmla="*/ 31360 w 135473"/>
                <a:gd name="connsiteY10" fmla="*/ 185021 h 252130"/>
                <a:gd name="connsiteX11" fmla="*/ 67737 w 135473"/>
                <a:gd name="connsiteY11" fmla="*/ 221398 h 252130"/>
                <a:gd name="connsiteX12" fmla="*/ 104114 w 135473"/>
                <a:gd name="connsiteY12" fmla="*/ 185021 h 252130"/>
                <a:gd name="connsiteX13" fmla="*/ 104114 w 135473"/>
                <a:gd name="connsiteY13" fmla="*/ 68364 h 252130"/>
                <a:gd name="connsiteX14" fmla="*/ 67737 w 135473"/>
                <a:gd name="connsiteY14" fmla="*/ 31987 h 252130"/>
                <a:gd name="connsiteX15" fmla="*/ 67737 w 135473"/>
                <a:gd name="connsiteY15" fmla="*/ 31987 h 252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5473" h="252130">
                  <a:moveTo>
                    <a:pt x="67737" y="252131"/>
                  </a:moveTo>
                  <a:cubicBezTo>
                    <a:pt x="30732" y="252131"/>
                    <a:pt x="0" y="222026"/>
                    <a:pt x="0" y="184394"/>
                  </a:cubicBezTo>
                  <a:lnTo>
                    <a:pt x="0" y="67737"/>
                  </a:lnTo>
                  <a:cubicBezTo>
                    <a:pt x="0" y="30732"/>
                    <a:pt x="30105" y="0"/>
                    <a:pt x="67737" y="0"/>
                  </a:cubicBezTo>
                  <a:cubicBezTo>
                    <a:pt x="104741" y="0"/>
                    <a:pt x="135473" y="30105"/>
                    <a:pt x="135473" y="67737"/>
                  </a:cubicBezTo>
                  <a:lnTo>
                    <a:pt x="135473" y="184394"/>
                  </a:lnTo>
                  <a:cubicBezTo>
                    <a:pt x="135473" y="222026"/>
                    <a:pt x="105368" y="252131"/>
                    <a:pt x="67737" y="252131"/>
                  </a:cubicBezTo>
                  <a:lnTo>
                    <a:pt x="67737" y="252131"/>
                  </a:lnTo>
                  <a:close/>
                  <a:moveTo>
                    <a:pt x="67737" y="31987"/>
                  </a:moveTo>
                  <a:cubicBezTo>
                    <a:pt x="47667" y="31987"/>
                    <a:pt x="31360" y="48294"/>
                    <a:pt x="31360" y="68364"/>
                  </a:cubicBezTo>
                  <a:lnTo>
                    <a:pt x="31360" y="185021"/>
                  </a:lnTo>
                  <a:cubicBezTo>
                    <a:pt x="31360" y="205091"/>
                    <a:pt x="47667" y="221398"/>
                    <a:pt x="67737" y="221398"/>
                  </a:cubicBezTo>
                  <a:cubicBezTo>
                    <a:pt x="87807" y="221398"/>
                    <a:pt x="104114" y="205091"/>
                    <a:pt x="104114" y="185021"/>
                  </a:cubicBezTo>
                  <a:lnTo>
                    <a:pt x="104114" y="68364"/>
                  </a:lnTo>
                  <a:cubicBezTo>
                    <a:pt x="104741" y="48294"/>
                    <a:pt x="87807" y="31987"/>
                    <a:pt x="67737" y="31987"/>
                  </a:cubicBezTo>
                  <a:lnTo>
                    <a:pt x="67737" y="31987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0" name="Forma Livre: Forma 29">
              <a:extLst>
                <a:ext uri="{FF2B5EF4-FFF2-40B4-BE49-F238E27FC236}">
                  <a16:creationId xmlns:a16="http://schemas.microsoft.com/office/drawing/2014/main" id="{60BCDCB7-0341-4E39-8D54-422A6224EB41}"/>
                </a:ext>
              </a:extLst>
            </p:cNvPr>
            <p:cNvSpPr/>
            <p:nvPr/>
          </p:nvSpPr>
          <p:spPr>
            <a:xfrm>
              <a:off x="2395165" y="3767828"/>
              <a:ext cx="257148" cy="183766"/>
            </a:xfrm>
            <a:custGeom>
              <a:avLst/>
              <a:gdLst>
                <a:gd name="connsiteX0" fmla="*/ 140491 w 257148"/>
                <a:gd name="connsiteY0" fmla="*/ 183767 h 183766"/>
                <a:gd name="connsiteX1" fmla="*/ 115403 w 257148"/>
                <a:gd name="connsiteY1" fmla="*/ 183767 h 183766"/>
                <a:gd name="connsiteX2" fmla="*/ 0 w 257148"/>
                <a:gd name="connsiteY2" fmla="*/ 68364 h 183766"/>
                <a:gd name="connsiteX3" fmla="*/ 0 w 257148"/>
                <a:gd name="connsiteY3" fmla="*/ 15680 h 183766"/>
                <a:gd name="connsiteX4" fmla="*/ 15680 w 257148"/>
                <a:gd name="connsiteY4" fmla="*/ 0 h 183766"/>
                <a:gd name="connsiteX5" fmla="*/ 31360 w 257148"/>
                <a:gd name="connsiteY5" fmla="*/ 15680 h 183766"/>
                <a:gd name="connsiteX6" fmla="*/ 31360 w 257148"/>
                <a:gd name="connsiteY6" fmla="*/ 68364 h 183766"/>
                <a:gd name="connsiteX7" fmla="*/ 116030 w 257148"/>
                <a:gd name="connsiteY7" fmla="*/ 153035 h 183766"/>
                <a:gd name="connsiteX8" fmla="*/ 141118 w 257148"/>
                <a:gd name="connsiteY8" fmla="*/ 153035 h 183766"/>
                <a:gd name="connsiteX9" fmla="*/ 225789 w 257148"/>
                <a:gd name="connsiteY9" fmla="*/ 68364 h 183766"/>
                <a:gd name="connsiteX10" fmla="*/ 225789 w 257148"/>
                <a:gd name="connsiteY10" fmla="*/ 15680 h 183766"/>
                <a:gd name="connsiteX11" fmla="*/ 241468 w 257148"/>
                <a:gd name="connsiteY11" fmla="*/ 0 h 183766"/>
                <a:gd name="connsiteX12" fmla="*/ 257148 w 257148"/>
                <a:gd name="connsiteY12" fmla="*/ 15680 h 183766"/>
                <a:gd name="connsiteX13" fmla="*/ 257148 w 257148"/>
                <a:gd name="connsiteY13" fmla="*/ 68364 h 183766"/>
                <a:gd name="connsiteX14" fmla="*/ 140491 w 257148"/>
                <a:gd name="connsiteY14" fmla="*/ 183767 h 183766"/>
                <a:gd name="connsiteX15" fmla="*/ 140491 w 257148"/>
                <a:gd name="connsiteY15" fmla="*/ 183767 h 183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57148" h="183766">
                  <a:moveTo>
                    <a:pt x="140491" y="183767"/>
                  </a:moveTo>
                  <a:lnTo>
                    <a:pt x="115403" y="183767"/>
                  </a:lnTo>
                  <a:cubicBezTo>
                    <a:pt x="52057" y="183767"/>
                    <a:pt x="0" y="131710"/>
                    <a:pt x="0" y="68364"/>
                  </a:cubicBezTo>
                  <a:lnTo>
                    <a:pt x="0" y="15680"/>
                  </a:lnTo>
                  <a:cubicBezTo>
                    <a:pt x="0" y="6899"/>
                    <a:pt x="6899" y="0"/>
                    <a:pt x="15680" y="0"/>
                  </a:cubicBezTo>
                  <a:cubicBezTo>
                    <a:pt x="24460" y="0"/>
                    <a:pt x="31360" y="6899"/>
                    <a:pt x="31360" y="15680"/>
                  </a:cubicBezTo>
                  <a:lnTo>
                    <a:pt x="31360" y="68364"/>
                  </a:lnTo>
                  <a:cubicBezTo>
                    <a:pt x="31360" y="114776"/>
                    <a:pt x="68991" y="153035"/>
                    <a:pt x="116030" y="153035"/>
                  </a:cubicBezTo>
                  <a:lnTo>
                    <a:pt x="141118" y="153035"/>
                  </a:lnTo>
                  <a:cubicBezTo>
                    <a:pt x="187530" y="153035"/>
                    <a:pt x="225789" y="115403"/>
                    <a:pt x="225789" y="68364"/>
                  </a:cubicBezTo>
                  <a:lnTo>
                    <a:pt x="225789" y="15680"/>
                  </a:lnTo>
                  <a:cubicBezTo>
                    <a:pt x="225789" y="6899"/>
                    <a:pt x="232688" y="0"/>
                    <a:pt x="241468" y="0"/>
                  </a:cubicBezTo>
                  <a:cubicBezTo>
                    <a:pt x="250249" y="0"/>
                    <a:pt x="257148" y="6899"/>
                    <a:pt x="257148" y="15680"/>
                  </a:cubicBezTo>
                  <a:lnTo>
                    <a:pt x="257148" y="68364"/>
                  </a:lnTo>
                  <a:cubicBezTo>
                    <a:pt x="255894" y="131710"/>
                    <a:pt x="204464" y="183767"/>
                    <a:pt x="140491" y="183767"/>
                  </a:cubicBezTo>
                  <a:lnTo>
                    <a:pt x="140491" y="183767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1" name="Forma Livre: Forma 30">
              <a:extLst>
                <a:ext uri="{FF2B5EF4-FFF2-40B4-BE49-F238E27FC236}">
                  <a16:creationId xmlns:a16="http://schemas.microsoft.com/office/drawing/2014/main" id="{715E537B-66E0-4E6F-9B6D-4641BA916BFE}"/>
                </a:ext>
              </a:extLst>
            </p:cNvPr>
            <p:cNvSpPr/>
            <p:nvPr/>
          </p:nvSpPr>
          <p:spPr>
            <a:xfrm>
              <a:off x="2508059" y="3922117"/>
              <a:ext cx="31359" cy="84043"/>
            </a:xfrm>
            <a:custGeom>
              <a:avLst/>
              <a:gdLst>
                <a:gd name="connsiteX0" fmla="*/ 15680 w 31359"/>
                <a:gd name="connsiteY0" fmla="*/ 84043 h 84043"/>
                <a:gd name="connsiteX1" fmla="*/ 0 w 31359"/>
                <a:gd name="connsiteY1" fmla="*/ 68364 h 84043"/>
                <a:gd name="connsiteX2" fmla="*/ 0 w 31359"/>
                <a:gd name="connsiteY2" fmla="*/ 15680 h 84043"/>
                <a:gd name="connsiteX3" fmla="*/ 15680 w 31359"/>
                <a:gd name="connsiteY3" fmla="*/ 0 h 84043"/>
                <a:gd name="connsiteX4" fmla="*/ 31360 w 31359"/>
                <a:gd name="connsiteY4" fmla="*/ 15680 h 84043"/>
                <a:gd name="connsiteX5" fmla="*/ 31360 w 31359"/>
                <a:gd name="connsiteY5" fmla="*/ 68364 h 84043"/>
                <a:gd name="connsiteX6" fmla="*/ 15680 w 31359"/>
                <a:gd name="connsiteY6" fmla="*/ 84043 h 84043"/>
                <a:gd name="connsiteX7" fmla="*/ 15680 w 31359"/>
                <a:gd name="connsiteY7" fmla="*/ 84043 h 84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359" h="84043">
                  <a:moveTo>
                    <a:pt x="15680" y="84043"/>
                  </a:moveTo>
                  <a:cubicBezTo>
                    <a:pt x="6899" y="84043"/>
                    <a:pt x="0" y="77144"/>
                    <a:pt x="0" y="68364"/>
                  </a:cubicBezTo>
                  <a:lnTo>
                    <a:pt x="0" y="15680"/>
                  </a:lnTo>
                  <a:cubicBezTo>
                    <a:pt x="0" y="6899"/>
                    <a:pt x="6899" y="0"/>
                    <a:pt x="15680" y="0"/>
                  </a:cubicBezTo>
                  <a:cubicBezTo>
                    <a:pt x="24460" y="0"/>
                    <a:pt x="31360" y="6899"/>
                    <a:pt x="31360" y="15680"/>
                  </a:cubicBezTo>
                  <a:lnTo>
                    <a:pt x="31360" y="68364"/>
                  </a:lnTo>
                  <a:cubicBezTo>
                    <a:pt x="31360" y="77144"/>
                    <a:pt x="24460" y="84043"/>
                    <a:pt x="15680" y="84043"/>
                  </a:cubicBezTo>
                  <a:lnTo>
                    <a:pt x="15680" y="84043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2" name="Forma Livre: Forma 31">
              <a:extLst>
                <a:ext uri="{FF2B5EF4-FFF2-40B4-BE49-F238E27FC236}">
                  <a16:creationId xmlns:a16="http://schemas.microsoft.com/office/drawing/2014/main" id="{22274D2A-1896-4F77-881F-B389D303FDFB}"/>
                </a:ext>
              </a:extLst>
            </p:cNvPr>
            <p:cNvSpPr/>
            <p:nvPr/>
          </p:nvSpPr>
          <p:spPr>
            <a:xfrm>
              <a:off x="2435932" y="3974801"/>
              <a:ext cx="175613" cy="31359"/>
            </a:xfrm>
            <a:custGeom>
              <a:avLst/>
              <a:gdLst>
                <a:gd name="connsiteX0" fmla="*/ 159934 w 175613"/>
                <a:gd name="connsiteY0" fmla="*/ 31360 h 31359"/>
                <a:gd name="connsiteX1" fmla="*/ 15680 w 175613"/>
                <a:gd name="connsiteY1" fmla="*/ 31360 h 31359"/>
                <a:gd name="connsiteX2" fmla="*/ 0 w 175613"/>
                <a:gd name="connsiteY2" fmla="*/ 15680 h 31359"/>
                <a:gd name="connsiteX3" fmla="*/ 15680 w 175613"/>
                <a:gd name="connsiteY3" fmla="*/ 0 h 31359"/>
                <a:gd name="connsiteX4" fmla="*/ 159934 w 175613"/>
                <a:gd name="connsiteY4" fmla="*/ 0 h 31359"/>
                <a:gd name="connsiteX5" fmla="*/ 175613 w 175613"/>
                <a:gd name="connsiteY5" fmla="*/ 15680 h 31359"/>
                <a:gd name="connsiteX6" fmla="*/ 159934 w 175613"/>
                <a:gd name="connsiteY6" fmla="*/ 31360 h 31359"/>
                <a:gd name="connsiteX7" fmla="*/ 159934 w 175613"/>
                <a:gd name="connsiteY7" fmla="*/ 31360 h 31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5613" h="31359">
                  <a:moveTo>
                    <a:pt x="159934" y="31360"/>
                  </a:moveTo>
                  <a:lnTo>
                    <a:pt x="15680" y="31360"/>
                  </a:lnTo>
                  <a:cubicBezTo>
                    <a:pt x="6899" y="31360"/>
                    <a:pt x="0" y="24461"/>
                    <a:pt x="0" y="15680"/>
                  </a:cubicBezTo>
                  <a:cubicBezTo>
                    <a:pt x="0" y="6899"/>
                    <a:pt x="6899" y="0"/>
                    <a:pt x="15680" y="0"/>
                  </a:cubicBezTo>
                  <a:lnTo>
                    <a:pt x="159934" y="0"/>
                  </a:lnTo>
                  <a:cubicBezTo>
                    <a:pt x="168714" y="0"/>
                    <a:pt x="175613" y="6899"/>
                    <a:pt x="175613" y="15680"/>
                  </a:cubicBezTo>
                  <a:cubicBezTo>
                    <a:pt x="175613" y="24461"/>
                    <a:pt x="168714" y="31360"/>
                    <a:pt x="159934" y="31360"/>
                  </a:cubicBezTo>
                  <a:lnTo>
                    <a:pt x="159934" y="31360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3" name="Forma Livre: Forma 32">
              <a:extLst>
                <a:ext uri="{FF2B5EF4-FFF2-40B4-BE49-F238E27FC236}">
                  <a16:creationId xmlns:a16="http://schemas.microsoft.com/office/drawing/2014/main" id="{D6291608-29A8-475B-BD4B-193B1A9F4D4B}"/>
                </a:ext>
              </a:extLst>
            </p:cNvPr>
            <p:cNvSpPr/>
            <p:nvPr/>
          </p:nvSpPr>
          <p:spPr>
            <a:xfrm>
              <a:off x="2416489" y="3780999"/>
              <a:ext cx="57701" cy="16306"/>
            </a:xfrm>
            <a:custGeom>
              <a:avLst/>
              <a:gdLst>
                <a:gd name="connsiteX0" fmla="*/ 49548 w 57701"/>
                <a:gd name="connsiteY0" fmla="*/ 16307 h 16306"/>
                <a:gd name="connsiteX1" fmla="*/ 8153 w 57701"/>
                <a:gd name="connsiteY1" fmla="*/ 16307 h 16306"/>
                <a:gd name="connsiteX2" fmla="*/ 0 w 57701"/>
                <a:gd name="connsiteY2" fmla="*/ 8153 h 16306"/>
                <a:gd name="connsiteX3" fmla="*/ 8153 w 57701"/>
                <a:gd name="connsiteY3" fmla="*/ 0 h 16306"/>
                <a:gd name="connsiteX4" fmla="*/ 49548 w 57701"/>
                <a:gd name="connsiteY4" fmla="*/ 0 h 16306"/>
                <a:gd name="connsiteX5" fmla="*/ 57702 w 57701"/>
                <a:gd name="connsiteY5" fmla="*/ 8153 h 16306"/>
                <a:gd name="connsiteX6" fmla="*/ 49548 w 57701"/>
                <a:gd name="connsiteY6" fmla="*/ 16307 h 16306"/>
                <a:gd name="connsiteX7" fmla="*/ 49548 w 57701"/>
                <a:gd name="connsiteY7" fmla="*/ 16307 h 1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7701" h="16306">
                  <a:moveTo>
                    <a:pt x="49548" y="16307"/>
                  </a:moveTo>
                  <a:lnTo>
                    <a:pt x="8153" y="16307"/>
                  </a:lnTo>
                  <a:cubicBezTo>
                    <a:pt x="3763" y="16307"/>
                    <a:pt x="0" y="12544"/>
                    <a:pt x="0" y="8153"/>
                  </a:cubicBezTo>
                  <a:cubicBezTo>
                    <a:pt x="0" y="3763"/>
                    <a:pt x="3763" y="0"/>
                    <a:pt x="8153" y="0"/>
                  </a:cubicBezTo>
                  <a:lnTo>
                    <a:pt x="49548" y="0"/>
                  </a:lnTo>
                  <a:cubicBezTo>
                    <a:pt x="53938" y="0"/>
                    <a:pt x="57702" y="3763"/>
                    <a:pt x="57702" y="8153"/>
                  </a:cubicBezTo>
                  <a:cubicBezTo>
                    <a:pt x="57702" y="12544"/>
                    <a:pt x="53938" y="16307"/>
                    <a:pt x="49548" y="16307"/>
                  </a:cubicBezTo>
                  <a:lnTo>
                    <a:pt x="49548" y="16307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4" name="Forma Livre: Forma 33">
              <a:extLst>
                <a:ext uri="{FF2B5EF4-FFF2-40B4-BE49-F238E27FC236}">
                  <a16:creationId xmlns:a16="http://schemas.microsoft.com/office/drawing/2014/main" id="{33FE8D3D-D82E-46A8-801A-19FEC12D4702}"/>
                </a:ext>
              </a:extLst>
            </p:cNvPr>
            <p:cNvSpPr/>
            <p:nvPr/>
          </p:nvSpPr>
          <p:spPr>
            <a:xfrm>
              <a:off x="2575168" y="3780999"/>
              <a:ext cx="57701" cy="16306"/>
            </a:xfrm>
            <a:custGeom>
              <a:avLst/>
              <a:gdLst>
                <a:gd name="connsiteX0" fmla="*/ 49548 w 57701"/>
                <a:gd name="connsiteY0" fmla="*/ 16307 h 16306"/>
                <a:gd name="connsiteX1" fmla="*/ 8153 w 57701"/>
                <a:gd name="connsiteY1" fmla="*/ 16307 h 16306"/>
                <a:gd name="connsiteX2" fmla="*/ 0 w 57701"/>
                <a:gd name="connsiteY2" fmla="*/ 8153 h 16306"/>
                <a:gd name="connsiteX3" fmla="*/ 8153 w 57701"/>
                <a:gd name="connsiteY3" fmla="*/ 0 h 16306"/>
                <a:gd name="connsiteX4" fmla="*/ 49548 w 57701"/>
                <a:gd name="connsiteY4" fmla="*/ 0 h 16306"/>
                <a:gd name="connsiteX5" fmla="*/ 57702 w 57701"/>
                <a:gd name="connsiteY5" fmla="*/ 8153 h 16306"/>
                <a:gd name="connsiteX6" fmla="*/ 49548 w 57701"/>
                <a:gd name="connsiteY6" fmla="*/ 16307 h 16306"/>
                <a:gd name="connsiteX7" fmla="*/ 49548 w 57701"/>
                <a:gd name="connsiteY7" fmla="*/ 16307 h 1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7701" h="16306">
                  <a:moveTo>
                    <a:pt x="49548" y="16307"/>
                  </a:moveTo>
                  <a:lnTo>
                    <a:pt x="8153" y="16307"/>
                  </a:lnTo>
                  <a:cubicBezTo>
                    <a:pt x="3763" y="16307"/>
                    <a:pt x="0" y="12544"/>
                    <a:pt x="0" y="8153"/>
                  </a:cubicBezTo>
                  <a:cubicBezTo>
                    <a:pt x="0" y="3763"/>
                    <a:pt x="3763" y="0"/>
                    <a:pt x="8153" y="0"/>
                  </a:cubicBezTo>
                  <a:lnTo>
                    <a:pt x="49548" y="0"/>
                  </a:lnTo>
                  <a:cubicBezTo>
                    <a:pt x="53938" y="0"/>
                    <a:pt x="57702" y="3763"/>
                    <a:pt x="57702" y="8153"/>
                  </a:cubicBezTo>
                  <a:cubicBezTo>
                    <a:pt x="57702" y="12544"/>
                    <a:pt x="54566" y="16307"/>
                    <a:pt x="49548" y="16307"/>
                  </a:cubicBezTo>
                  <a:lnTo>
                    <a:pt x="49548" y="16307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5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4361408" y="3625456"/>
            <a:ext cx="392307" cy="392621"/>
            <a:chOff x="4361408" y="3625456"/>
            <a:chExt cx="392307" cy="392621"/>
          </a:xfrm>
          <a:solidFill>
            <a:srgbClr val="B1B1A1"/>
          </a:solidFill>
        </p:grpSpPr>
        <p:sp>
          <p:nvSpPr>
            <p:cNvPr id="36" name="Forma Livre: Forma 35">
              <a:extLst>
                <a:ext uri="{FF2B5EF4-FFF2-40B4-BE49-F238E27FC236}">
                  <a16:creationId xmlns:a16="http://schemas.microsoft.com/office/drawing/2014/main" id="{7CCA70E3-CF6B-4D2C-B4DA-AA59E5D7A165}"/>
                </a:ext>
              </a:extLst>
            </p:cNvPr>
            <p:cNvSpPr/>
            <p:nvPr/>
          </p:nvSpPr>
          <p:spPr>
            <a:xfrm>
              <a:off x="4361408" y="3625456"/>
              <a:ext cx="392307" cy="392621"/>
            </a:xfrm>
            <a:custGeom>
              <a:avLst/>
              <a:gdLst>
                <a:gd name="connsiteX0" fmla="*/ 196311 w 392307"/>
                <a:gd name="connsiteY0" fmla="*/ 392621 h 392621"/>
                <a:gd name="connsiteX1" fmla="*/ 57701 w 392307"/>
                <a:gd name="connsiteY1" fmla="*/ 334920 h 392621"/>
                <a:gd name="connsiteX2" fmla="*/ 0 w 392307"/>
                <a:gd name="connsiteY2" fmla="*/ 196311 h 392621"/>
                <a:gd name="connsiteX3" fmla="*/ 57701 w 392307"/>
                <a:gd name="connsiteY3" fmla="*/ 57701 h 392621"/>
                <a:gd name="connsiteX4" fmla="*/ 196311 w 392307"/>
                <a:gd name="connsiteY4" fmla="*/ 0 h 392621"/>
                <a:gd name="connsiteX5" fmla="*/ 334920 w 392307"/>
                <a:gd name="connsiteY5" fmla="*/ 57701 h 392621"/>
                <a:gd name="connsiteX6" fmla="*/ 334920 w 392307"/>
                <a:gd name="connsiteY6" fmla="*/ 334920 h 392621"/>
                <a:gd name="connsiteX7" fmla="*/ 196311 w 392307"/>
                <a:gd name="connsiteY7" fmla="*/ 392621 h 392621"/>
                <a:gd name="connsiteX8" fmla="*/ 196311 w 392307"/>
                <a:gd name="connsiteY8" fmla="*/ 392621 h 392621"/>
                <a:gd name="connsiteX9" fmla="*/ 196311 w 392307"/>
                <a:gd name="connsiteY9" fmla="*/ 33868 h 392621"/>
                <a:gd name="connsiteX10" fmla="*/ 81535 w 392307"/>
                <a:gd name="connsiteY10" fmla="*/ 81535 h 392621"/>
                <a:gd name="connsiteX11" fmla="*/ 33868 w 392307"/>
                <a:gd name="connsiteY11" fmla="*/ 196938 h 392621"/>
                <a:gd name="connsiteX12" fmla="*/ 81535 w 392307"/>
                <a:gd name="connsiteY12" fmla="*/ 312341 h 392621"/>
                <a:gd name="connsiteX13" fmla="*/ 196311 w 392307"/>
                <a:gd name="connsiteY13" fmla="*/ 360007 h 392621"/>
                <a:gd name="connsiteX14" fmla="*/ 311714 w 392307"/>
                <a:gd name="connsiteY14" fmla="*/ 312341 h 392621"/>
                <a:gd name="connsiteX15" fmla="*/ 311714 w 392307"/>
                <a:gd name="connsiteY15" fmla="*/ 82162 h 392621"/>
                <a:gd name="connsiteX16" fmla="*/ 196311 w 392307"/>
                <a:gd name="connsiteY16" fmla="*/ 33868 h 392621"/>
                <a:gd name="connsiteX17" fmla="*/ 196311 w 392307"/>
                <a:gd name="connsiteY17" fmla="*/ 33868 h 392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92307" h="392621">
                  <a:moveTo>
                    <a:pt x="196311" y="392621"/>
                  </a:moveTo>
                  <a:cubicBezTo>
                    <a:pt x="144254" y="392621"/>
                    <a:pt x="94706" y="371924"/>
                    <a:pt x="57701" y="334920"/>
                  </a:cubicBezTo>
                  <a:cubicBezTo>
                    <a:pt x="20697" y="297915"/>
                    <a:pt x="0" y="248368"/>
                    <a:pt x="0" y="196311"/>
                  </a:cubicBezTo>
                  <a:cubicBezTo>
                    <a:pt x="0" y="143627"/>
                    <a:pt x="20697" y="94706"/>
                    <a:pt x="57701" y="57701"/>
                  </a:cubicBezTo>
                  <a:cubicBezTo>
                    <a:pt x="94706" y="20697"/>
                    <a:pt x="144254" y="0"/>
                    <a:pt x="196311" y="0"/>
                  </a:cubicBezTo>
                  <a:cubicBezTo>
                    <a:pt x="248368" y="0"/>
                    <a:pt x="297915" y="20697"/>
                    <a:pt x="334920" y="57701"/>
                  </a:cubicBezTo>
                  <a:cubicBezTo>
                    <a:pt x="411437" y="134219"/>
                    <a:pt x="411437" y="258402"/>
                    <a:pt x="334920" y="334920"/>
                  </a:cubicBezTo>
                  <a:cubicBezTo>
                    <a:pt x="297915" y="371924"/>
                    <a:pt x="248368" y="392621"/>
                    <a:pt x="196311" y="392621"/>
                  </a:cubicBezTo>
                  <a:lnTo>
                    <a:pt x="196311" y="392621"/>
                  </a:lnTo>
                  <a:close/>
                  <a:moveTo>
                    <a:pt x="196311" y="33868"/>
                  </a:moveTo>
                  <a:cubicBezTo>
                    <a:pt x="153035" y="33868"/>
                    <a:pt x="112267" y="50802"/>
                    <a:pt x="81535" y="81535"/>
                  </a:cubicBezTo>
                  <a:cubicBezTo>
                    <a:pt x="50802" y="112267"/>
                    <a:pt x="33868" y="153035"/>
                    <a:pt x="33868" y="196938"/>
                  </a:cubicBezTo>
                  <a:cubicBezTo>
                    <a:pt x="33868" y="240214"/>
                    <a:pt x="50802" y="281609"/>
                    <a:pt x="81535" y="312341"/>
                  </a:cubicBezTo>
                  <a:cubicBezTo>
                    <a:pt x="112267" y="343073"/>
                    <a:pt x="153035" y="360007"/>
                    <a:pt x="196311" y="360007"/>
                  </a:cubicBezTo>
                  <a:cubicBezTo>
                    <a:pt x="239587" y="360007"/>
                    <a:pt x="280982" y="343073"/>
                    <a:pt x="311714" y="312341"/>
                  </a:cubicBezTo>
                  <a:cubicBezTo>
                    <a:pt x="375060" y="248995"/>
                    <a:pt x="375060" y="145508"/>
                    <a:pt x="311714" y="82162"/>
                  </a:cubicBezTo>
                  <a:cubicBezTo>
                    <a:pt x="280354" y="50802"/>
                    <a:pt x="239587" y="33868"/>
                    <a:pt x="196311" y="33868"/>
                  </a:cubicBezTo>
                  <a:lnTo>
                    <a:pt x="196311" y="33868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7" name="Forma Livre: Forma 36">
              <a:extLst>
                <a:ext uri="{FF2B5EF4-FFF2-40B4-BE49-F238E27FC236}">
                  <a16:creationId xmlns:a16="http://schemas.microsoft.com/office/drawing/2014/main" id="{6BA1EF4A-E008-4A72-BAF8-4EBA433D2FE6}"/>
                </a:ext>
              </a:extLst>
            </p:cNvPr>
            <p:cNvSpPr/>
            <p:nvPr/>
          </p:nvSpPr>
          <p:spPr>
            <a:xfrm>
              <a:off x="4509111" y="3772532"/>
              <a:ext cx="97841" cy="98155"/>
            </a:xfrm>
            <a:custGeom>
              <a:avLst/>
              <a:gdLst>
                <a:gd name="connsiteX0" fmla="*/ 48607 w 97841"/>
                <a:gd name="connsiteY0" fmla="*/ 98156 h 98155"/>
                <a:gd name="connsiteX1" fmla="*/ 14112 w 97841"/>
                <a:gd name="connsiteY1" fmla="*/ 83730 h 98155"/>
                <a:gd name="connsiteX2" fmla="*/ 14112 w 97841"/>
                <a:gd name="connsiteY2" fmla="*/ 14112 h 98155"/>
                <a:gd name="connsiteX3" fmla="*/ 83730 w 97841"/>
                <a:gd name="connsiteY3" fmla="*/ 14112 h 98155"/>
                <a:gd name="connsiteX4" fmla="*/ 83730 w 97841"/>
                <a:gd name="connsiteY4" fmla="*/ 83730 h 98155"/>
                <a:gd name="connsiteX5" fmla="*/ 48607 w 97841"/>
                <a:gd name="connsiteY5" fmla="*/ 98156 h 98155"/>
                <a:gd name="connsiteX6" fmla="*/ 48607 w 97841"/>
                <a:gd name="connsiteY6" fmla="*/ 98156 h 98155"/>
                <a:gd name="connsiteX7" fmla="*/ 48607 w 97841"/>
                <a:gd name="connsiteY7" fmla="*/ 33555 h 98155"/>
                <a:gd name="connsiteX8" fmla="*/ 37318 w 97841"/>
                <a:gd name="connsiteY8" fmla="*/ 37945 h 98155"/>
                <a:gd name="connsiteX9" fmla="*/ 37318 w 97841"/>
                <a:gd name="connsiteY9" fmla="*/ 59897 h 98155"/>
                <a:gd name="connsiteX10" fmla="*/ 59269 w 97841"/>
                <a:gd name="connsiteY10" fmla="*/ 59897 h 98155"/>
                <a:gd name="connsiteX11" fmla="*/ 59269 w 97841"/>
                <a:gd name="connsiteY11" fmla="*/ 37945 h 98155"/>
                <a:gd name="connsiteX12" fmla="*/ 48607 w 97841"/>
                <a:gd name="connsiteY12" fmla="*/ 33555 h 98155"/>
                <a:gd name="connsiteX13" fmla="*/ 48607 w 97841"/>
                <a:gd name="connsiteY13" fmla="*/ 33555 h 98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41" h="98155">
                  <a:moveTo>
                    <a:pt x="48607" y="98156"/>
                  </a:moveTo>
                  <a:cubicBezTo>
                    <a:pt x="35436" y="98156"/>
                    <a:pt x="23520" y="93138"/>
                    <a:pt x="14112" y="83730"/>
                  </a:cubicBezTo>
                  <a:cubicBezTo>
                    <a:pt x="-4704" y="64287"/>
                    <a:pt x="-4704" y="33555"/>
                    <a:pt x="14112" y="14112"/>
                  </a:cubicBezTo>
                  <a:cubicBezTo>
                    <a:pt x="32300" y="-4704"/>
                    <a:pt x="64914" y="-4704"/>
                    <a:pt x="83730" y="14112"/>
                  </a:cubicBezTo>
                  <a:cubicBezTo>
                    <a:pt x="102546" y="32928"/>
                    <a:pt x="102546" y="64287"/>
                    <a:pt x="83730" y="83730"/>
                  </a:cubicBezTo>
                  <a:cubicBezTo>
                    <a:pt x="73695" y="93138"/>
                    <a:pt x="61151" y="98156"/>
                    <a:pt x="48607" y="98156"/>
                  </a:cubicBezTo>
                  <a:lnTo>
                    <a:pt x="48607" y="98156"/>
                  </a:lnTo>
                  <a:close/>
                  <a:moveTo>
                    <a:pt x="48607" y="33555"/>
                  </a:moveTo>
                  <a:cubicBezTo>
                    <a:pt x="44217" y="33555"/>
                    <a:pt x="40454" y="35436"/>
                    <a:pt x="37318" y="37945"/>
                  </a:cubicBezTo>
                  <a:cubicBezTo>
                    <a:pt x="31046" y="44217"/>
                    <a:pt x="31046" y="54252"/>
                    <a:pt x="37318" y="59897"/>
                  </a:cubicBezTo>
                  <a:cubicBezTo>
                    <a:pt x="42962" y="65542"/>
                    <a:pt x="53625" y="65542"/>
                    <a:pt x="59269" y="59897"/>
                  </a:cubicBezTo>
                  <a:cubicBezTo>
                    <a:pt x="65541" y="53625"/>
                    <a:pt x="65541" y="43590"/>
                    <a:pt x="59269" y="37945"/>
                  </a:cubicBezTo>
                  <a:cubicBezTo>
                    <a:pt x="56761" y="35436"/>
                    <a:pt x="52370" y="33555"/>
                    <a:pt x="48607" y="33555"/>
                  </a:cubicBezTo>
                  <a:lnTo>
                    <a:pt x="48607" y="33555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8" name="Forma Livre: Forma 37">
              <a:extLst>
                <a:ext uri="{FF2B5EF4-FFF2-40B4-BE49-F238E27FC236}">
                  <a16:creationId xmlns:a16="http://schemas.microsoft.com/office/drawing/2014/main" id="{1183B0B0-E7A9-47E0-BA00-E3F41093B8A7}"/>
                </a:ext>
              </a:extLst>
            </p:cNvPr>
            <p:cNvSpPr/>
            <p:nvPr/>
          </p:nvSpPr>
          <p:spPr>
            <a:xfrm>
              <a:off x="4423656" y="3687705"/>
              <a:ext cx="120734" cy="120890"/>
            </a:xfrm>
            <a:custGeom>
              <a:avLst/>
              <a:gdLst>
                <a:gd name="connsiteX0" fmla="*/ 112111 w 120734"/>
                <a:gd name="connsiteY0" fmla="*/ 120891 h 120890"/>
                <a:gd name="connsiteX1" fmla="*/ 106466 w 120734"/>
                <a:gd name="connsiteY1" fmla="*/ 118382 h 120890"/>
                <a:gd name="connsiteX2" fmla="*/ 2352 w 120734"/>
                <a:gd name="connsiteY2" fmla="*/ 14269 h 120890"/>
                <a:gd name="connsiteX3" fmla="*/ 2352 w 120734"/>
                <a:gd name="connsiteY3" fmla="*/ 2352 h 120890"/>
                <a:gd name="connsiteX4" fmla="*/ 14269 w 120734"/>
                <a:gd name="connsiteY4" fmla="*/ 2352 h 120890"/>
                <a:gd name="connsiteX5" fmla="*/ 118382 w 120734"/>
                <a:gd name="connsiteY5" fmla="*/ 106466 h 120890"/>
                <a:gd name="connsiteX6" fmla="*/ 118382 w 120734"/>
                <a:gd name="connsiteY6" fmla="*/ 118382 h 120890"/>
                <a:gd name="connsiteX7" fmla="*/ 112111 w 120734"/>
                <a:gd name="connsiteY7" fmla="*/ 120891 h 120890"/>
                <a:gd name="connsiteX8" fmla="*/ 112111 w 120734"/>
                <a:gd name="connsiteY8" fmla="*/ 120891 h 120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0734" h="120890">
                  <a:moveTo>
                    <a:pt x="112111" y="120891"/>
                  </a:moveTo>
                  <a:cubicBezTo>
                    <a:pt x="110229" y="120891"/>
                    <a:pt x="107720" y="120264"/>
                    <a:pt x="106466" y="118382"/>
                  </a:cubicBezTo>
                  <a:lnTo>
                    <a:pt x="2352" y="14269"/>
                  </a:lnTo>
                  <a:cubicBezTo>
                    <a:pt x="-784" y="11133"/>
                    <a:pt x="-784" y="5488"/>
                    <a:pt x="2352" y="2352"/>
                  </a:cubicBezTo>
                  <a:cubicBezTo>
                    <a:pt x="5488" y="-784"/>
                    <a:pt x="11133" y="-784"/>
                    <a:pt x="14269" y="2352"/>
                  </a:cubicBezTo>
                  <a:lnTo>
                    <a:pt x="118382" y="106466"/>
                  </a:lnTo>
                  <a:cubicBezTo>
                    <a:pt x="121518" y="109602"/>
                    <a:pt x="121518" y="115246"/>
                    <a:pt x="118382" y="118382"/>
                  </a:cubicBezTo>
                  <a:cubicBezTo>
                    <a:pt x="115874" y="119637"/>
                    <a:pt x="113992" y="120891"/>
                    <a:pt x="112111" y="120891"/>
                  </a:cubicBezTo>
                  <a:lnTo>
                    <a:pt x="112111" y="120891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9" name="Forma Livre: Forma 38">
              <a:extLst>
                <a:ext uri="{FF2B5EF4-FFF2-40B4-BE49-F238E27FC236}">
                  <a16:creationId xmlns:a16="http://schemas.microsoft.com/office/drawing/2014/main" id="{B6460462-1622-4D81-9037-F954C06CB8C8}"/>
                </a:ext>
              </a:extLst>
            </p:cNvPr>
            <p:cNvSpPr/>
            <p:nvPr/>
          </p:nvSpPr>
          <p:spPr>
            <a:xfrm>
              <a:off x="4572300" y="3836349"/>
              <a:ext cx="120734" cy="120891"/>
            </a:xfrm>
            <a:custGeom>
              <a:avLst/>
              <a:gdLst>
                <a:gd name="connsiteX0" fmla="*/ 112110 w 120734"/>
                <a:gd name="connsiteY0" fmla="*/ 120891 h 120891"/>
                <a:gd name="connsiteX1" fmla="*/ 106466 w 120734"/>
                <a:gd name="connsiteY1" fmla="*/ 118382 h 120891"/>
                <a:gd name="connsiteX2" fmla="*/ 2352 w 120734"/>
                <a:gd name="connsiteY2" fmla="*/ 14269 h 120891"/>
                <a:gd name="connsiteX3" fmla="*/ 2352 w 120734"/>
                <a:gd name="connsiteY3" fmla="*/ 2352 h 120891"/>
                <a:gd name="connsiteX4" fmla="*/ 14269 w 120734"/>
                <a:gd name="connsiteY4" fmla="*/ 2352 h 120891"/>
                <a:gd name="connsiteX5" fmla="*/ 118382 w 120734"/>
                <a:gd name="connsiteY5" fmla="*/ 106466 h 120891"/>
                <a:gd name="connsiteX6" fmla="*/ 118382 w 120734"/>
                <a:gd name="connsiteY6" fmla="*/ 118382 h 120891"/>
                <a:gd name="connsiteX7" fmla="*/ 112110 w 120734"/>
                <a:gd name="connsiteY7" fmla="*/ 120891 h 120891"/>
                <a:gd name="connsiteX8" fmla="*/ 112110 w 120734"/>
                <a:gd name="connsiteY8" fmla="*/ 120891 h 120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0734" h="120891">
                  <a:moveTo>
                    <a:pt x="112110" y="120891"/>
                  </a:moveTo>
                  <a:cubicBezTo>
                    <a:pt x="110229" y="120891"/>
                    <a:pt x="107720" y="120264"/>
                    <a:pt x="106466" y="118382"/>
                  </a:cubicBezTo>
                  <a:lnTo>
                    <a:pt x="2352" y="14269"/>
                  </a:lnTo>
                  <a:cubicBezTo>
                    <a:pt x="-784" y="11133"/>
                    <a:pt x="-784" y="5488"/>
                    <a:pt x="2352" y="2352"/>
                  </a:cubicBezTo>
                  <a:cubicBezTo>
                    <a:pt x="5488" y="-784"/>
                    <a:pt x="11133" y="-784"/>
                    <a:pt x="14269" y="2352"/>
                  </a:cubicBezTo>
                  <a:lnTo>
                    <a:pt x="118382" y="106466"/>
                  </a:lnTo>
                  <a:cubicBezTo>
                    <a:pt x="121518" y="109602"/>
                    <a:pt x="121518" y="115246"/>
                    <a:pt x="118382" y="118382"/>
                  </a:cubicBezTo>
                  <a:cubicBezTo>
                    <a:pt x="116501" y="120264"/>
                    <a:pt x="114619" y="120891"/>
                    <a:pt x="112110" y="120891"/>
                  </a:cubicBezTo>
                  <a:lnTo>
                    <a:pt x="112110" y="120891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0" name="Forma Livre: Forma 39">
              <a:extLst>
                <a:ext uri="{FF2B5EF4-FFF2-40B4-BE49-F238E27FC236}">
                  <a16:creationId xmlns:a16="http://schemas.microsoft.com/office/drawing/2014/main" id="{E8410588-322F-4BCB-BA5C-1203BA80154A}"/>
                </a:ext>
              </a:extLst>
            </p:cNvPr>
            <p:cNvSpPr/>
            <p:nvPr/>
          </p:nvSpPr>
          <p:spPr>
            <a:xfrm>
              <a:off x="4513536" y="3638348"/>
              <a:ext cx="46342" cy="161466"/>
            </a:xfrm>
            <a:custGeom>
              <a:avLst/>
              <a:gdLst>
                <a:gd name="connsiteX0" fmla="*/ 37910 w 46342"/>
                <a:gd name="connsiteY0" fmla="*/ 161467 h 161466"/>
                <a:gd name="connsiteX1" fmla="*/ 29756 w 46342"/>
                <a:gd name="connsiteY1" fmla="*/ 154568 h 161466"/>
                <a:gd name="connsiteX2" fmla="*/ 279 w 46342"/>
                <a:gd name="connsiteY2" fmla="*/ 10314 h 161466"/>
                <a:gd name="connsiteX3" fmla="*/ 6551 w 46342"/>
                <a:gd name="connsiteY3" fmla="*/ 279 h 161466"/>
                <a:gd name="connsiteX4" fmla="*/ 16586 w 46342"/>
                <a:gd name="connsiteY4" fmla="*/ 6551 h 161466"/>
                <a:gd name="connsiteX5" fmla="*/ 46064 w 46342"/>
                <a:gd name="connsiteY5" fmla="*/ 150805 h 161466"/>
                <a:gd name="connsiteX6" fmla="*/ 39792 w 46342"/>
                <a:gd name="connsiteY6" fmla="*/ 160839 h 161466"/>
                <a:gd name="connsiteX7" fmla="*/ 37910 w 46342"/>
                <a:gd name="connsiteY7" fmla="*/ 161467 h 161466"/>
                <a:gd name="connsiteX8" fmla="*/ 37910 w 46342"/>
                <a:gd name="connsiteY8" fmla="*/ 161467 h 161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342" h="161466">
                  <a:moveTo>
                    <a:pt x="37910" y="161467"/>
                  </a:moveTo>
                  <a:cubicBezTo>
                    <a:pt x="34147" y="161467"/>
                    <a:pt x="30384" y="158958"/>
                    <a:pt x="29756" y="154568"/>
                  </a:cubicBezTo>
                  <a:lnTo>
                    <a:pt x="279" y="10314"/>
                  </a:lnTo>
                  <a:cubicBezTo>
                    <a:pt x="-976" y="5923"/>
                    <a:pt x="2160" y="1533"/>
                    <a:pt x="6551" y="279"/>
                  </a:cubicBezTo>
                  <a:cubicBezTo>
                    <a:pt x="10941" y="-976"/>
                    <a:pt x="15331" y="2160"/>
                    <a:pt x="16586" y="6551"/>
                  </a:cubicBezTo>
                  <a:lnTo>
                    <a:pt x="46064" y="150805"/>
                  </a:lnTo>
                  <a:cubicBezTo>
                    <a:pt x="47318" y="155195"/>
                    <a:pt x="44182" y="159585"/>
                    <a:pt x="39792" y="160839"/>
                  </a:cubicBezTo>
                  <a:cubicBezTo>
                    <a:pt x="39164" y="161467"/>
                    <a:pt x="38537" y="161467"/>
                    <a:pt x="37910" y="161467"/>
                  </a:cubicBezTo>
                  <a:lnTo>
                    <a:pt x="37910" y="161467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1" name="Forma Livre: Forma 40">
              <a:extLst>
                <a:ext uri="{FF2B5EF4-FFF2-40B4-BE49-F238E27FC236}">
                  <a16:creationId xmlns:a16="http://schemas.microsoft.com/office/drawing/2014/main" id="{8085EB66-19C9-4DF6-B31B-E71F00565DAB}"/>
                </a:ext>
              </a:extLst>
            </p:cNvPr>
            <p:cNvSpPr/>
            <p:nvPr/>
          </p:nvSpPr>
          <p:spPr>
            <a:xfrm>
              <a:off x="4556185" y="3844694"/>
              <a:ext cx="46342" cy="161466"/>
            </a:xfrm>
            <a:custGeom>
              <a:avLst/>
              <a:gdLst>
                <a:gd name="connsiteX0" fmla="*/ 37910 w 46342"/>
                <a:gd name="connsiteY0" fmla="*/ 161467 h 161466"/>
                <a:gd name="connsiteX1" fmla="*/ 29757 w 46342"/>
                <a:gd name="connsiteY1" fmla="*/ 154568 h 161466"/>
                <a:gd name="connsiteX2" fmla="*/ 279 w 46342"/>
                <a:gd name="connsiteY2" fmla="*/ 10314 h 161466"/>
                <a:gd name="connsiteX3" fmla="*/ 6551 w 46342"/>
                <a:gd name="connsiteY3" fmla="*/ 279 h 161466"/>
                <a:gd name="connsiteX4" fmla="*/ 16586 w 46342"/>
                <a:gd name="connsiteY4" fmla="*/ 6551 h 161466"/>
                <a:gd name="connsiteX5" fmla="*/ 46064 w 46342"/>
                <a:gd name="connsiteY5" fmla="*/ 150804 h 161466"/>
                <a:gd name="connsiteX6" fmla="*/ 39792 w 46342"/>
                <a:gd name="connsiteY6" fmla="*/ 160840 h 161466"/>
                <a:gd name="connsiteX7" fmla="*/ 37910 w 46342"/>
                <a:gd name="connsiteY7" fmla="*/ 161467 h 161466"/>
                <a:gd name="connsiteX8" fmla="*/ 37910 w 46342"/>
                <a:gd name="connsiteY8" fmla="*/ 161467 h 161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342" h="161466">
                  <a:moveTo>
                    <a:pt x="37910" y="161467"/>
                  </a:moveTo>
                  <a:cubicBezTo>
                    <a:pt x="34147" y="161467"/>
                    <a:pt x="30384" y="158958"/>
                    <a:pt x="29757" y="154568"/>
                  </a:cubicBezTo>
                  <a:lnTo>
                    <a:pt x="279" y="10314"/>
                  </a:lnTo>
                  <a:cubicBezTo>
                    <a:pt x="-976" y="5923"/>
                    <a:pt x="2160" y="1533"/>
                    <a:pt x="6551" y="279"/>
                  </a:cubicBezTo>
                  <a:cubicBezTo>
                    <a:pt x="10941" y="-975"/>
                    <a:pt x="15331" y="2160"/>
                    <a:pt x="16586" y="6551"/>
                  </a:cubicBezTo>
                  <a:lnTo>
                    <a:pt x="46064" y="150804"/>
                  </a:lnTo>
                  <a:cubicBezTo>
                    <a:pt x="47318" y="155195"/>
                    <a:pt x="44182" y="159585"/>
                    <a:pt x="39792" y="160840"/>
                  </a:cubicBezTo>
                  <a:cubicBezTo>
                    <a:pt x="39165" y="161467"/>
                    <a:pt x="38537" y="161467"/>
                    <a:pt x="37910" y="161467"/>
                  </a:cubicBezTo>
                  <a:lnTo>
                    <a:pt x="37910" y="161467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42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3390906" y="3635880"/>
            <a:ext cx="296509" cy="370907"/>
            <a:chOff x="3390906" y="3635880"/>
            <a:chExt cx="296509" cy="370907"/>
          </a:xfrm>
          <a:solidFill>
            <a:srgbClr val="B1B1A1"/>
          </a:solidFill>
        </p:grpSpPr>
        <p:grpSp>
          <p:nvGrpSpPr>
            <p:cNvPr id="43" name="Gráfico 2">
              <a:extLst>
                <a:ext uri="{FF2B5EF4-FFF2-40B4-BE49-F238E27FC236}">
                  <a16:creationId xmlns:a16="http://schemas.microsoft.com/office/drawing/2014/main" id="{F5ABA5BB-819F-4501-AD77-3F762FEA4CEA}"/>
                </a:ext>
              </a:extLst>
            </p:cNvPr>
            <p:cNvGrpSpPr/>
            <p:nvPr/>
          </p:nvGrpSpPr>
          <p:grpSpPr>
            <a:xfrm>
              <a:off x="3410586" y="3637373"/>
              <a:ext cx="257148" cy="369415"/>
              <a:chOff x="3410586" y="3637373"/>
              <a:chExt cx="257148" cy="369415"/>
            </a:xfrm>
            <a:grpFill/>
          </p:grpSpPr>
          <p:sp>
            <p:nvSpPr>
              <p:cNvPr id="44" name="Forma Livre: Forma 43">
                <a:extLst>
                  <a:ext uri="{FF2B5EF4-FFF2-40B4-BE49-F238E27FC236}">
                    <a16:creationId xmlns:a16="http://schemas.microsoft.com/office/drawing/2014/main" id="{7A443CB1-B798-469A-A9E4-2A55B8FD5EFE}"/>
                  </a:ext>
                </a:extLst>
              </p:cNvPr>
              <p:cNvSpPr/>
              <p:nvPr/>
            </p:nvSpPr>
            <p:spPr>
              <a:xfrm>
                <a:off x="3470797" y="3637373"/>
                <a:ext cx="135473" cy="252130"/>
              </a:xfrm>
              <a:custGeom>
                <a:avLst/>
                <a:gdLst>
                  <a:gd name="connsiteX0" fmla="*/ 67737 w 135473"/>
                  <a:gd name="connsiteY0" fmla="*/ 252131 h 252130"/>
                  <a:gd name="connsiteX1" fmla="*/ 0 w 135473"/>
                  <a:gd name="connsiteY1" fmla="*/ 184394 h 252130"/>
                  <a:gd name="connsiteX2" fmla="*/ 0 w 135473"/>
                  <a:gd name="connsiteY2" fmla="*/ 67737 h 252130"/>
                  <a:gd name="connsiteX3" fmla="*/ 67737 w 135473"/>
                  <a:gd name="connsiteY3" fmla="*/ 0 h 252130"/>
                  <a:gd name="connsiteX4" fmla="*/ 135473 w 135473"/>
                  <a:gd name="connsiteY4" fmla="*/ 67737 h 252130"/>
                  <a:gd name="connsiteX5" fmla="*/ 135473 w 135473"/>
                  <a:gd name="connsiteY5" fmla="*/ 184394 h 252130"/>
                  <a:gd name="connsiteX6" fmla="*/ 67737 w 135473"/>
                  <a:gd name="connsiteY6" fmla="*/ 252131 h 252130"/>
                  <a:gd name="connsiteX7" fmla="*/ 67737 w 135473"/>
                  <a:gd name="connsiteY7" fmla="*/ 252131 h 252130"/>
                  <a:gd name="connsiteX8" fmla="*/ 67737 w 135473"/>
                  <a:gd name="connsiteY8" fmla="*/ 31360 h 252130"/>
                  <a:gd name="connsiteX9" fmla="*/ 31360 w 135473"/>
                  <a:gd name="connsiteY9" fmla="*/ 67737 h 252130"/>
                  <a:gd name="connsiteX10" fmla="*/ 31360 w 135473"/>
                  <a:gd name="connsiteY10" fmla="*/ 184394 h 252130"/>
                  <a:gd name="connsiteX11" fmla="*/ 67737 w 135473"/>
                  <a:gd name="connsiteY11" fmla="*/ 220771 h 252130"/>
                  <a:gd name="connsiteX12" fmla="*/ 104114 w 135473"/>
                  <a:gd name="connsiteY12" fmla="*/ 184394 h 252130"/>
                  <a:gd name="connsiteX13" fmla="*/ 104114 w 135473"/>
                  <a:gd name="connsiteY13" fmla="*/ 67737 h 252130"/>
                  <a:gd name="connsiteX14" fmla="*/ 67737 w 135473"/>
                  <a:gd name="connsiteY14" fmla="*/ 31360 h 252130"/>
                  <a:gd name="connsiteX15" fmla="*/ 67737 w 135473"/>
                  <a:gd name="connsiteY15" fmla="*/ 31360 h 252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5473" h="252130">
                    <a:moveTo>
                      <a:pt x="67737" y="252131"/>
                    </a:moveTo>
                    <a:cubicBezTo>
                      <a:pt x="30732" y="252131"/>
                      <a:pt x="0" y="222026"/>
                      <a:pt x="0" y="184394"/>
                    </a:cubicBezTo>
                    <a:lnTo>
                      <a:pt x="0" y="67737"/>
                    </a:lnTo>
                    <a:cubicBezTo>
                      <a:pt x="0" y="30732"/>
                      <a:pt x="30105" y="0"/>
                      <a:pt x="67737" y="0"/>
                    </a:cubicBezTo>
                    <a:cubicBezTo>
                      <a:pt x="105368" y="0"/>
                      <a:pt x="135473" y="30105"/>
                      <a:pt x="135473" y="67737"/>
                    </a:cubicBezTo>
                    <a:lnTo>
                      <a:pt x="135473" y="184394"/>
                    </a:lnTo>
                    <a:cubicBezTo>
                      <a:pt x="135473" y="222026"/>
                      <a:pt x="105368" y="252131"/>
                      <a:pt x="67737" y="252131"/>
                    </a:cubicBezTo>
                    <a:lnTo>
                      <a:pt x="67737" y="252131"/>
                    </a:lnTo>
                    <a:close/>
                    <a:moveTo>
                      <a:pt x="67737" y="31360"/>
                    </a:moveTo>
                    <a:cubicBezTo>
                      <a:pt x="47667" y="31360"/>
                      <a:pt x="31360" y="47667"/>
                      <a:pt x="31360" y="67737"/>
                    </a:cubicBezTo>
                    <a:lnTo>
                      <a:pt x="31360" y="184394"/>
                    </a:lnTo>
                    <a:cubicBezTo>
                      <a:pt x="31360" y="204464"/>
                      <a:pt x="47667" y="220771"/>
                      <a:pt x="67737" y="220771"/>
                    </a:cubicBezTo>
                    <a:cubicBezTo>
                      <a:pt x="87807" y="220771"/>
                      <a:pt x="104114" y="204464"/>
                      <a:pt x="104114" y="184394"/>
                    </a:cubicBezTo>
                    <a:lnTo>
                      <a:pt x="104114" y="67737"/>
                    </a:lnTo>
                    <a:cubicBezTo>
                      <a:pt x="104114" y="47667"/>
                      <a:pt x="87807" y="31360"/>
                      <a:pt x="67737" y="31360"/>
                    </a:cubicBezTo>
                    <a:lnTo>
                      <a:pt x="67737" y="31360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5" name="Forma Livre: Forma 44">
                <a:extLst>
                  <a:ext uri="{FF2B5EF4-FFF2-40B4-BE49-F238E27FC236}">
                    <a16:creationId xmlns:a16="http://schemas.microsoft.com/office/drawing/2014/main" id="{A1E010EB-8A51-4758-A5CF-52402819BA4E}"/>
                  </a:ext>
                </a:extLst>
              </p:cNvPr>
              <p:cNvSpPr/>
              <p:nvPr/>
            </p:nvSpPr>
            <p:spPr>
              <a:xfrm>
                <a:off x="3410586" y="3768456"/>
                <a:ext cx="257148" cy="183766"/>
              </a:xfrm>
              <a:custGeom>
                <a:avLst/>
                <a:gdLst>
                  <a:gd name="connsiteX0" fmla="*/ 140491 w 257148"/>
                  <a:gd name="connsiteY0" fmla="*/ 183767 h 183766"/>
                  <a:gd name="connsiteX1" fmla="*/ 115403 w 257148"/>
                  <a:gd name="connsiteY1" fmla="*/ 183767 h 183766"/>
                  <a:gd name="connsiteX2" fmla="*/ 0 w 257148"/>
                  <a:gd name="connsiteY2" fmla="*/ 68364 h 183766"/>
                  <a:gd name="connsiteX3" fmla="*/ 0 w 257148"/>
                  <a:gd name="connsiteY3" fmla="*/ 15680 h 183766"/>
                  <a:gd name="connsiteX4" fmla="*/ 15680 w 257148"/>
                  <a:gd name="connsiteY4" fmla="*/ 0 h 183766"/>
                  <a:gd name="connsiteX5" fmla="*/ 31360 w 257148"/>
                  <a:gd name="connsiteY5" fmla="*/ 15680 h 183766"/>
                  <a:gd name="connsiteX6" fmla="*/ 31360 w 257148"/>
                  <a:gd name="connsiteY6" fmla="*/ 68364 h 183766"/>
                  <a:gd name="connsiteX7" fmla="*/ 116030 w 257148"/>
                  <a:gd name="connsiteY7" fmla="*/ 153034 h 183766"/>
                  <a:gd name="connsiteX8" fmla="*/ 141118 w 257148"/>
                  <a:gd name="connsiteY8" fmla="*/ 153034 h 183766"/>
                  <a:gd name="connsiteX9" fmla="*/ 225789 w 257148"/>
                  <a:gd name="connsiteY9" fmla="*/ 68364 h 183766"/>
                  <a:gd name="connsiteX10" fmla="*/ 225789 w 257148"/>
                  <a:gd name="connsiteY10" fmla="*/ 15680 h 183766"/>
                  <a:gd name="connsiteX11" fmla="*/ 241468 w 257148"/>
                  <a:gd name="connsiteY11" fmla="*/ 0 h 183766"/>
                  <a:gd name="connsiteX12" fmla="*/ 257148 w 257148"/>
                  <a:gd name="connsiteY12" fmla="*/ 15680 h 183766"/>
                  <a:gd name="connsiteX13" fmla="*/ 257148 w 257148"/>
                  <a:gd name="connsiteY13" fmla="*/ 68364 h 183766"/>
                  <a:gd name="connsiteX14" fmla="*/ 140491 w 257148"/>
                  <a:gd name="connsiteY14" fmla="*/ 183767 h 183766"/>
                  <a:gd name="connsiteX15" fmla="*/ 140491 w 257148"/>
                  <a:gd name="connsiteY15" fmla="*/ 183767 h 1837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57148" h="183766">
                    <a:moveTo>
                      <a:pt x="140491" y="183767"/>
                    </a:moveTo>
                    <a:lnTo>
                      <a:pt x="115403" y="183767"/>
                    </a:lnTo>
                    <a:cubicBezTo>
                      <a:pt x="52057" y="183767"/>
                      <a:pt x="0" y="131710"/>
                      <a:pt x="0" y="68364"/>
                    </a:cubicBezTo>
                    <a:lnTo>
                      <a:pt x="0" y="15680"/>
                    </a:lnTo>
                    <a:cubicBezTo>
                      <a:pt x="0" y="6899"/>
                      <a:pt x="6899" y="0"/>
                      <a:pt x="15680" y="0"/>
                    </a:cubicBezTo>
                    <a:cubicBezTo>
                      <a:pt x="24460" y="0"/>
                      <a:pt x="31360" y="6899"/>
                      <a:pt x="31360" y="15680"/>
                    </a:cubicBezTo>
                    <a:lnTo>
                      <a:pt x="31360" y="68364"/>
                    </a:lnTo>
                    <a:cubicBezTo>
                      <a:pt x="31360" y="114776"/>
                      <a:pt x="68991" y="153034"/>
                      <a:pt x="116030" y="153034"/>
                    </a:cubicBezTo>
                    <a:lnTo>
                      <a:pt x="141118" y="153034"/>
                    </a:lnTo>
                    <a:cubicBezTo>
                      <a:pt x="187530" y="153034"/>
                      <a:pt x="225789" y="115403"/>
                      <a:pt x="225789" y="68364"/>
                    </a:cubicBezTo>
                    <a:lnTo>
                      <a:pt x="225789" y="15680"/>
                    </a:lnTo>
                    <a:cubicBezTo>
                      <a:pt x="225789" y="6899"/>
                      <a:pt x="232688" y="0"/>
                      <a:pt x="241468" y="0"/>
                    </a:cubicBezTo>
                    <a:cubicBezTo>
                      <a:pt x="250249" y="0"/>
                      <a:pt x="257148" y="6899"/>
                      <a:pt x="257148" y="15680"/>
                    </a:cubicBezTo>
                    <a:lnTo>
                      <a:pt x="257148" y="68364"/>
                    </a:lnTo>
                    <a:cubicBezTo>
                      <a:pt x="255894" y="131710"/>
                      <a:pt x="204464" y="183767"/>
                      <a:pt x="140491" y="183767"/>
                    </a:cubicBezTo>
                    <a:lnTo>
                      <a:pt x="140491" y="183767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6" name="Forma Livre: Forma 45">
                <a:extLst>
                  <a:ext uri="{FF2B5EF4-FFF2-40B4-BE49-F238E27FC236}">
                    <a16:creationId xmlns:a16="http://schemas.microsoft.com/office/drawing/2014/main" id="{0F91A7A9-ACC2-41ED-B331-B72B3CCF7C65}"/>
                  </a:ext>
                </a:extLst>
              </p:cNvPr>
              <p:cNvSpPr/>
              <p:nvPr/>
            </p:nvSpPr>
            <p:spPr>
              <a:xfrm>
                <a:off x="3523481" y="3922744"/>
                <a:ext cx="31359" cy="84043"/>
              </a:xfrm>
              <a:custGeom>
                <a:avLst/>
                <a:gdLst>
                  <a:gd name="connsiteX0" fmla="*/ 15680 w 31359"/>
                  <a:gd name="connsiteY0" fmla="*/ 84044 h 84043"/>
                  <a:gd name="connsiteX1" fmla="*/ 0 w 31359"/>
                  <a:gd name="connsiteY1" fmla="*/ 68364 h 84043"/>
                  <a:gd name="connsiteX2" fmla="*/ 0 w 31359"/>
                  <a:gd name="connsiteY2" fmla="*/ 15680 h 84043"/>
                  <a:gd name="connsiteX3" fmla="*/ 15680 w 31359"/>
                  <a:gd name="connsiteY3" fmla="*/ 0 h 84043"/>
                  <a:gd name="connsiteX4" fmla="*/ 31360 w 31359"/>
                  <a:gd name="connsiteY4" fmla="*/ 15680 h 84043"/>
                  <a:gd name="connsiteX5" fmla="*/ 31360 w 31359"/>
                  <a:gd name="connsiteY5" fmla="*/ 68364 h 84043"/>
                  <a:gd name="connsiteX6" fmla="*/ 15680 w 31359"/>
                  <a:gd name="connsiteY6" fmla="*/ 84044 h 84043"/>
                  <a:gd name="connsiteX7" fmla="*/ 15680 w 31359"/>
                  <a:gd name="connsiteY7" fmla="*/ 84044 h 84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359" h="84043">
                    <a:moveTo>
                      <a:pt x="15680" y="84044"/>
                    </a:moveTo>
                    <a:cubicBezTo>
                      <a:pt x="6899" y="84044"/>
                      <a:pt x="0" y="77144"/>
                      <a:pt x="0" y="68364"/>
                    </a:cubicBezTo>
                    <a:lnTo>
                      <a:pt x="0" y="15680"/>
                    </a:lnTo>
                    <a:cubicBezTo>
                      <a:pt x="0" y="6899"/>
                      <a:pt x="6899" y="0"/>
                      <a:pt x="15680" y="0"/>
                    </a:cubicBezTo>
                    <a:cubicBezTo>
                      <a:pt x="24460" y="0"/>
                      <a:pt x="31360" y="6899"/>
                      <a:pt x="31360" y="15680"/>
                    </a:cubicBezTo>
                    <a:lnTo>
                      <a:pt x="31360" y="68364"/>
                    </a:lnTo>
                    <a:cubicBezTo>
                      <a:pt x="31360" y="77144"/>
                      <a:pt x="24460" y="84044"/>
                      <a:pt x="15680" y="84044"/>
                    </a:cubicBezTo>
                    <a:lnTo>
                      <a:pt x="15680" y="84044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7" name="Forma Livre: Forma 46">
                <a:extLst>
                  <a:ext uri="{FF2B5EF4-FFF2-40B4-BE49-F238E27FC236}">
                    <a16:creationId xmlns:a16="http://schemas.microsoft.com/office/drawing/2014/main" id="{6C38D3E3-ACC5-48C9-9FAC-D095A001F5D7}"/>
                  </a:ext>
                </a:extLst>
              </p:cNvPr>
              <p:cNvSpPr/>
              <p:nvPr/>
            </p:nvSpPr>
            <p:spPr>
              <a:xfrm>
                <a:off x="3451354" y="3975429"/>
                <a:ext cx="175613" cy="31359"/>
              </a:xfrm>
              <a:custGeom>
                <a:avLst/>
                <a:gdLst>
                  <a:gd name="connsiteX0" fmla="*/ 159934 w 175613"/>
                  <a:gd name="connsiteY0" fmla="*/ 31360 h 31359"/>
                  <a:gd name="connsiteX1" fmla="*/ 15680 w 175613"/>
                  <a:gd name="connsiteY1" fmla="*/ 31360 h 31359"/>
                  <a:gd name="connsiteX2" fmla="*/ 0 w 175613"/>
                  <a:gd name="connsiteY2" fmla="*/ 15680 h 31359"/>
                  <a:gd name="connsiteX3" fmla="*/ 15680 w 175613"/>
                  <a:gd name="connsiteY3" fmla="*/ 0 h 31359"/>
                  <a:gd name="connsiteX4" fmla="*/ 159934 w 175613"/>
                  <a:gd name="connsiteY4" fmla="*/ 0 h 31359"/>
                  <a:gd name="connsiteX5" fmla="*/ 175613 w 175613"/>
                  <a:gd name="connsiteY5" fmla="*/ 15680 h 31359"/>
                  <a:gd name="connsiteX6" fmla="*/ 159934 w 175613"/>
                  <a:gd name="connsiteY6" fmla="*/ 31360 h 31359"/>
                  <a:gd name="connsiteX7" fmla="*/ 159934 w 175613"/>
                  <a:gd name="connsiteY7" fmla="*/ 31360 h 31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5613" h="31359">
                    <a:moveTo>
                      <a:pt x="159934" y="31360"/>
                    </a:moveTo>
                    <a:lnTo>
                      <a:pt x="15680" y="31360"/>
                    </a:lnTo>
                    <a:cubicBezTo>
                      <a:pt x="6899" y="31360"/>
                      <a:pt x="0" y="24460"/>
                      <a:pt x="0" y="15680"/>
                    </a:cubicBezTo>
                    <a:cubicBezTo>
                      <a:pt x="0" y="6899"/>
                      <a:pt x="6899" y="0"/>
                      <a:pt x="15680" y="0"/>
                    </a:cubicBezTo>
                    <a:lnTo>
                      <a:pt x="159934" y="0"/>
                    </a:lnTo>
                    <a:cubicBezTo>
                      <a:pt x="168714" y="0"/>
                      <a:pt x="175613" y="6899"/>
                      <a:pt x="175613" y="15680"/>
                    </a:cubicBezTo>
                    <a:cubicBezTo>
                      <a:pt x="175613" y="24460"/>
                      <a:pt x="168714" y="31360"/>
                      <a:pt x="159934" y="31360"/>
                    </a:cubicBezTo>
                    <a:lnTo>
                      <a:pt x="159934" y="31360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8" name="Forma Livre: Forma 47">
                <a:extLst>
                  <a:ext uri="{FF2B5EF4-FFF2-40B4-BE49-F238E27FC236}">
                    <a16:creationId xmlns:a16="http://schemas.microsoft.com/office/drawing/2014/main" id="{051749AF-F25B-4135-9943-7FDA88D0CFE4}"/>
                  </a:ext>
                </a:extLst>
              </p:cNvPr>
              <p:cNvSpPr/>
              <p:nvPr/>
            </p:nvSpPr>
            <p:spPr>
              <a:xfrm>
                <a:off x="3431284" y="3781627"/>
                <a:ext cx="57770" cy="16306"/>
              </a:xfrm>
              <a:custGeom>
                <a:avLst/>
                <a:gdLst>
                  <a:gd name="connsiteX0" fmla="*/ 49548 w 57770"/>
                  <a:gd name="connsiteY0" fmla="*/ 16307 h 16306"/>
                  <a:gd name="connsiteX1" fmla="*/ 8154 w 57770"/>
                  <a:gd name="connsiteY1" fmla="*/ 16307 h 16306"/>
                  <a:gd name="connsiteX2" fmla="*/ 0 w 57770"/>
                  <a:gd name="connsiteY2" fmla="*/ 8153 h 16306"/>
                  <a:gd name="connsiteX3" fmla="*/ 8154 w 57770"/>
                  <a:gd name="connsiteY3" fmla="*/ 0 h 16306"/>
                  <a:gd name="connsiteX4" fmla="*/ 49548 w 57770"/>
                  <a:gd name="connsiteY4" fmla="*/ 0 h 16306"/>
                  <a:gd name="connsiteX5" fmla="*/ 57702 w 57770"/>
                  <a:gd name="connsiteY5" fmla="*/ 8153 h 16306"/>
                  <a:gd name="connsiteX6" fmla="*/ 49548 w 57770"/>
                  <a:gd name="connsiteY6" fmla="*/ 16307 h 16306"/>
                  <a:gd name="connsiteX7" fmla="*/ 49548 w 57770"/>
                  <a:gd name="connsiteY7" fmla="*/ 16307 h 163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7770" h="16306">
                    <a:moveTo>
                      <a:pt x="49548" y="16307"/>
                    </a:moveTo>
                    <a:lnTo>
                      <a:pt x="8154" y="16307"/>
                    </a:lnTo>
                    <a:cubicBezTo>
                      <a:pt x="3763" y="16307"/>
                      <a:pt x="0" y="12544"/>
                      <a:pt x="0" y="8153"/>
                    </a:cubicBezTo>
                    <a:cubicBezTo>
                      <a:pt x="0" y="3763"/>
                      <a:pt x="3763" y="0"/>
                      <a:pt x="8154" y="0"/>
                    </a:cubicBezTo>
                    <a:lnTo>
                      <a:pt x="49548" y="0"/>
                    </a:lnTo>
                    <a:cubicBezTo>
                      <a:pt x="53938" y="0"/>
                      <a:pt x="57702" y="3763"/>
                      <a:pt x="57702" y="8153"/>
                    </a:cubicBezTo>
                    <a:cubicBezTo>
                      <a:pt x="58329" y="12544"/>
                      <a:pt x="54566" y="16307"/>
                      <a:pt x="49548" y="16307"/>
                    </a:cubicBezTo>
                    <a:lnTo>
                      <a:pt x="49548" y="16307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9" name="Forma Livre: Forma 48">
                <a:extLst>
                  <a:ext uri="{FF2B5EF4-FFF2-40B4-BE49-F238E27FC236}">
                    <a16:creationId xmlns:a16="http://schemas.microsoft.com/office/drawing/2014/main" id="{54C931D7-A526-4F93-8F1B-16FAC22A4D99}"/>
                  </a:ext>
                </a:extLst>
              </p:cNvPr>
              <p:cNvSpPr/>
              <p:nvPr/>
            </p:nvSpPr>
            <p:spPr>
              <a:xfrm>
                <a:off x="3590590" y="3781627"/>
                <a:ext cx="57701" cy="16306"/>
              </a:xfrm>
              <a:custGeom>
                <a:avLst/>
                <a:gdLst>
                  <a:gd name="connsiteX0" fmla="*/ 49548 w 57701"/>
                  <a:gd name="connsiteY0" fmla="*/ 16307 h 16306"/>
                  <a:gd name="connsiteX1" fmla="*/ 8153 w 57701"/>
                  <a:gd name="connsiteY1" fmla="*/ 16307 h 16306"/>
                  <a:gd name="connsiteX2" fmla="*/ 0 w 57701"/>
                  <a:gd name="connsiteY2" fmla="*/ 8153 h 16306"/>
                  <a:gd name="connsiteX3" fmla="*/ 8153 w 57701"/>
                  <a:gd name="connsiteY3" fmla="*/ 0 h 16306"/>
                  <a:gd name="connsiteX4" fmla="*/ 49548 w 57701"/>
                  <a:gd name="connsiteY4" fmla="*/ 0 h 16306"/>
                  <a:gd name="connsiteX5" fmla="*/ 57701 w 57701"/>
                  <a:gd name="connsiteY5" fmla="*/ 8153 h 16306"/>
                  <a:gd name="connsiteX6" fmla="*/ 49548 w 57701"/>
                  <a:gd name="connsiteY6" fmla="*/ 16307 h 16306"/>
                  <a:gd name="connsiteX7" fmla="*/ 49548 w 57701"/>
                  <a:gd name="connsiteY7" fmla="*/ 16307 h 163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7701" h="16306">
                    <a:moveTo>
                      <a:pt x="49548" y="16307"/>
                    </a:moveTo>
                    <a:lnTo>
                      <a:pt x="8153" y="16307"/>
                    </a:lnTo>
                    <a:cubicBezTo>
                      <a:pt x="3763" y="16307"/>
                      <a:pt x="0" y="12544"/>
                      <a:pt x="0" y="8153"/>
                    </a:cubicBezTo>
                    <a:cubicBezTo>
                      <a:pt x="0" y="3763"/>
                      <a:pt x="3763" y="0"/>
                      <a:pt x="8153" y="0"/>
                    </a:cubicBezTo>
                    <a:lnTo>
                      <a:pt x="49548" y="0"/>
                    </a:lnTo>
                    <a:cubicBezTo>
                      <a:pt x="53938" y="0"/>
                      <a:pt x="57701" y="3763"/>
                      <a:pt x="57701" y="8153"/>
                    </a:cubicBezTo>
                    <a:cubicBezTo>
                      <a:pt x="57701" y="12544"/>
                      <a:pt x="54565" y="16307"/>
                      <a:pt x="49548" y="16307"/>
                    </a:cubicBezTo>
                    <a:lnTo>
                      <a:pt x="49548" y="16307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50" name="Forma Livre: Forma 49">
              <a:extLst>
                <a:ext uri="{FF2B5EF4-FFF2-40B4-BE49-F238E27FC236}">
                  <a16:creationId xmlns:a16="http://schemas.microsoft.com/office/drawing/2014/main" id="{CD3B451D-A07C-43DD-B4E9-CF5B747E0C74}"/>
                </a:ext>
              </a:extLst>
            </p:cNvPr>
            <p:cNvSpPr/>
            <p:nvPr/>
          </p:nvSpPr>
          <p:spPr>
            <a:xfrm>
              <a:off x="3390906" y="3635880"/>
              <a:ext cx="296509" cy="305679"/>
            </a:xfrm>
            <a:custGeom>
              <a:avLst/>
              <a:gdLst>
                <a:gd name="connsiteX0" fmla="*/ 16545 w 296509"/>
                <a:gd name="connsiteY0" fmla="*/ 305680 h 305679"/>
                <a:gd name="connsiteX1" fmla="*/ 5256 w 296509"/>
                <a:gd name="connsiteY1" fmla="*/ 301289 h 305679"/>
                <a:gd name="connsiteX2" fmla="*/ 4628 w 296509"/>
                <a:gd name="connsiteY2" fmla="*/ 277456 h 305679"/>
                <a:gd name="connsiteX3" fmla="*/ 267421 w 296509"/>
                <a:gd name="connsiteY3" fmla="*/ 5256 h 305679"/>
                <a:gd name="connsiteX4" fmla="*/ 291254 w 296509"/>
                <a:gd name="connsiteY4" fmla="*/ 4628 h 305679"/>
                <a:gd name="connsiteX5" fmla="*/ 291882 w 296509"/>
                <a:gd name="connsiteY5" fmla="*/ 28462 h 305679"/>
                <a:gd name="connsiteX6" fmla="*/ 29089 w 296509"/>
                <a:gd name="connsiteY6" fmla="*/ 300662 h 305679"/>
                <a:gd name="connsiteX7" fmla="*/ 16545 w 296509"/>
                <a:gd name="connsiteY7" fmla="*/ 305680 h 305679"/>
                <a:gd name="connsiteX8" fmla="*/ 16545 w 296509"/>
                <a:gd name="connsiteY8" fmla="*/ 305680 h 305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6509" h="305679">
                  <a:moveTo>
                    <a:pt x="16545" y="305680"/>
                  </a:moveTo>
                  <a:cubicBezTo>
                    <a:pt x="12155" y="305680"/>
                    <a:pt x="8392" y="304425"/>
                    <a:pt x="5256" y="301289"/>
                  </a:cubicBezTo>
                  <a:cubicBezTo>
                    <a:pt x="-1644" y="295018"/>
                    <a:pt x="-1644" y="284355"/>
                    <a:pt x="4628" y="277456"/>
                  </a:cubicBezTo>
                  <a:lnTo>
                    <a:pt x="267421" y="5256"/>
                  </a:lnTo>
                  <a:cubicBezTo>
                    <a:pt x="273693" y="-1644"/>
                    <a:pt x="284355" y="-1644"/>
                    <a:pt x="291254" y="4628"/>
                  </a:cubicBezTo>
                  <a:cubicBezTo>
                    <a:pt x="298154" y="10900"/>
                    <a:pt x="298154" y="21563"/>
                    <a:pt x="291882" y="28462"/>
                  </a:cubicBezTo>
                  <a:lnTo>
                    <a:pt x="29089" y="300662"/>
                  </a:lnTo>
                  <a:cubicBezTo>
                    <a:pt x="25326" y="303798"/>
                    <a:pt x="20935" y="305680"/>
                    <a:pt x="16545" y="305680"/>
                  </a:cubicBezTo>
                  <a:lnTo>
                    <a:pt x="16545" y="305680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51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7499870" y="4649031"/>
            <a:ext cx="201328" cy="405165"/>
            <a:chOff x="7499870" y="4649031"/>
            <a:chExt cx="201328" cy="405165"/>
          </a:xfrm>
          <a:solidFill>
            <a:srgbClr val="B1B1A1"/>
          </a:solidFill>
        </p:grpSpPr>
        <p:sp>
          <p:nvSpPr>
            <p:cNvPr id="52" name="Forma Livre: Forma 51">
              <a:extLst>
                <a:ext uri="{FF2B5EF4-FFF2-40B4-BE49-F238E27FC236}">
                  <a16:creationId xmlns:a16="http://schemas.microsoft.com/office/drawing/2014/main" id="{B30C6126-BBC7-4074-8217-5C65D623DE69}"/>
                </a:ext>
              </a:extLst>
            </p:cNvPr>
            <p:cNvSpPr/>
            <p:nvPr/>
          </p:nvSpPr>
          <p:spPr>
            <a:xfrm>
              <a:off x="7499870" y="4649031"/>
              <a:ext cx="193174" cy="405165"/>
            </a:xfrm>
            <a:custGeom>
              <a:avLst/>
              <a:gdLst>
                <a:gd name="connsiteX0" fmla="*/ 96588 w 193174"/>
                <a:gd name="connsiteY0" fmla="*/ 33241 h 405165"/>
                <a:gd name="connsiteX1" fmla="*/ 136728 w 193174"/>
                <a:gd name="connsiteY1" fmla="*/ 73381 h 405165"/>
                <a:gd name="connsiteX2" fmla="*/ 136728 w 193174"/>
                <a:gd name="connsiteY2" fmla="*/ 259657 h 405165"/>
                <a:gd name="connsiteX3" fmla="*/ 159934 w 193174"/>
                <a:gd name="connsiteY3" fmla="*/ 308578 h 405165"/>
                <a:gd name="connsiteX4" fmla="*/ 96588 w 193174"/>
                <a:gd name="connsiteY4" fmla="*/ 371924 h 405165"/>
                <a:gd name="connsiteX5" fmla="*/ 33241 w 193174"/>
                <a:gd name="connsiteY5" fmla="*/ 308578 h 405165"/>
                <a:gd name="connsiteX6" fmla="*/ 56447 w 193174"/>
                <a:gd name="connsiteY6" fmla="*/ 259657 h 405165"/>
                <a:gd name="connsiteX7" fmla="*/ 56447 w 193174"/>
                <a:gd name="connsiteY7" fmla="*/ 73381 h 405165"/>
                <a:gd name="connsiteX8" fmla="*/ 96588 w 193174"/>
                <a:gd name="connsiteY8" fmla="*/ 33241 h 405165"/>
                <a:gd name="connsiteX9" fmla="*/ 96588 w 193174"/>
                <a:gd name="connsiteY9" fmla="*/ 0 h 405165"/>
                <a:gd name="connsiteX10" fmla="*/ 23206 w 193174"/>
                <a:gd name="connsiteY10" fmla="*/ 73381 h 405165"/>
                <a:gd name="connsiteX11" fmla="*/ 23206 w 193174"/>
                <a:gd name="connsiteY11" fmla="*/ 245859 h 405165"/>
                <a:gd name="connsiteX12" fmla="*/ 0 w 193174"/>
                <a:gd name="connsiteY12" fmla="*/ 308578 h 405165"/>
                <a:gd name="connsiteX13" fmla="*/ 96588 w 193174"/>
                <a:gd name="connsiteY13" fmla="*/ 405165 h 405165"/>
                <a:gd name="connsiteX14" fmla="*/ 193175 w 193174"/>
                <a:gd name="connsiteY14" fmla="*/ 308578 h 405165"/>
                <a:gd name="connsiteX15" fmla="*/ 169969 w 193174"/>
                <a:gd name="connsiteY15" fmla="*/ 245859 h 405165"/>
                <a:gd name="connsiteX16" fmla="*/ 169969 w 193174"/>
                <a:gd name="connsiteY16" fmla="*/ 73381 h 405165"/>
                <a:gd name="connsiteX17" fmla="*/ 96588 w 193174"/>
                <a:gd name="connsiteY17" fmla="*/ 0 h 405165"/>
                <a:gd name="connsiteX18" fmla="*/ 96588 w 193174"/>
                <a:gd name="connsiteY18" fmla="*/ 0 h 405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3174" h="405165">
                  <a:moveTo>
                    <a:pt x="96588" y="33241"/>
                  </a:moveTo>
                  <a:cubicBezTo>
                    <a:pt x="119166" y="33241"/>
                    <a:pt x="136728" y="51430"/>
                    <a:pt x="136728" y="73381"/>
                  </a:cubicBezTo>
                  <a:lnTo>
                    <a:pt x="136728" y="259657"/>
                  </a:lnTo>
                  <a:cubicBezTo>
                    <a:pt x="151153" y="271574"/>
                    <a:pt x="159934" y="289135"/>
                    <a:pt x="159934" y="308578"/>
                  </a:cubicBezTo>
                  <a:cubicBezTo>
                    <a:pt x="159934" y="343700"/>
                    <a:pt x="131710" y="371924"/>
                    <a:pt x="96588" y="371924"/>
                  </a:cubicBezTo>
                  <a:cubicBezTo>
                    <a:pt x="61465" y="371924"/>
                    <a:pt x="33241" y="343700"/>
                    <a:pt x="33241" y="308578"/>
                  </a:cubicBezTo>
                  <a:cubicBezTo>
                    <a:pt x="33241" y="288508"/>
                    <a:pt x="42022" y="270947"/>
                    <a:pt x="56447" y="259657"/>
                  </a:cubicBezTo>
                  <a:lnTo>
                    <a:pt x="56447" y="73381"/>
                  </a:lnTo>
                  <a:cubicBezTo>
                    <a:pt x="56447" y="50803"/>
                    <a:pt x="74008" y="33241"/>
                    <a:pt x="96588" y="33241"/>
                  </a:cubicBezTo>
                  <a:moveTo>
                    <a:pt x="96588" y="0"/>
                  </a:moveTo>
                  <a:cubicBezTo>
                    <a:pt x="55820" y="0"/>
                    <a:pt x="23206" y="33241"/>
                    <a:pt x="23206" y="73381"/>
                  </a:cubicBezTo>
                  <a:lnTo>
                    <a:pt x="23206" y="245859"/>
                  </a:lnTo>
                  <a:cubicBezTo>
                    <a:pt x="8153" y="263420"/>
                    <a:pt x="0" y="285372"/>
                    <a:pt x="0" y="308578"/>
                  </a:cubicBezTo>
                  <a:cubicBezTo>
                    <a:pt x="0" y="361889"/>
                    <a:pt x="43276" y="405165"/>
                    <a:pt x="96588" y="405165"/>
                  </a:cubicBezTo>
                  <a:cubicBezTo>
                    <a:pt x="149899" y="405165"/>
                    <a:pt x="193175" y="361889"/>
                    <a:pt x="193175" y="308578"/>
                  </a:cubicBezTo>
                  <a:cubicBezTo>
                    <a:pt x="193175" y="285372"/>
                    <a:pt x="185021" y="262793"/>
                    <a:pt x="169969" y="245859"/>
                  </a:cubicBezTo>
                  <a:lnTo>
                    <a:pt x="169969" y="73381"/>
                  </a:lnTo>
                  <a:cubicBezTo>
                    <a:pt x="169969" y="32614"/>
                    <a:pt x="136728" y="0"/>
                    <a:pt x="96588" y="0"/>
                  </a:cubicBezTo>
                  <a:lnTo>
                    <a:pt x="96588" y="0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53" name="Gráfico 2">
              <a:extLst>
                <a:ext uri="{FF2B5EF4-FFF2-40B4-BE49-F238E27FC236}">
                  <a16:creationId xmlns:a16="http://schemas.microsoft.com/office/drawing/2014/main" id="{F5ABA5BB-819F-4501-AD77-3F762FEA4CEA}"/>
                </a:ext>
              </a:extLst>
            </p:cNvPr>
            <p:cNvGrpSpPr/>
            <p:nvPr/>
          </p:nvGrpSpPr>
          <p:grpSpPr>
            <a:xfrm>
              <a:off x="7661059" y="4728685"/>
              <a:ext cx="40139" cy="162442"/>
              <a:chOff x="7661059" y="4728685"/>
              <a:chExt cx="40139" cy="162442"/>
            </a:xfrm>
            <a:grpFill/>
          </p:grpSpPr>
          <p:sp>
            <p:nvSpPr>
              <p:cNvPr id="54" name="Forma Livre: Forma 53">
                <a:extLst>
                  <a:ext uri="{FF2B5EF4-FFF2-40B4-BE49-F238E27FC236}">
                    <a16:creationId xmlns:a16="http://schemas.microsoft.com/office/drawing/2014/main" id="{278F3F42-CACC-4157-A0E9-83F3FBA9D990}"/>
                  </a:ext>
                </a:extLst>
              </p:cNvPr>
              <p:cNvSpPr/>
              <p:nvPr/>
            </p:nvSpPr>
            <p:spPr>
              <a:xfrm>
                <a:off x="7661059" y="4728685"/>
                <a:ext cx="40139" cy="16306"/>
              </a:xfrm>
              <a:custGeom>
                <a:avLst/>
                <a:gdLst>
                  <a:gd name="connsiteX0" fmla="*/ 40140 w 40139"/>
                  <a:gd name="connsiteY0" fmla="*/ 16307 h 16306"/>
                  <a:gd name="connsiteX1" fmla="*/ 0 w 40139"/>
                  <a:gd name="connsiteY1" fmla="*/ 16307 h 16306"/>
                  <a:gd name="connsiteX2" fmla="*/ 0 w 40139"/>
                  <a:gd name="connsiteY2" fmla="*/ 0 h 16306"/>
                  <a:gd name="connsiteX3" fmla="*/ 40140 w 40139"/>
                  <a:gd name="connsiteY3" fmla="*/ 0 h 16306"/>
                  <a:gd name="connsiteX4" fmla="*/ 40140 w 40139"/>
                  <a:gd name="connsiteY4" fmla="*/ 16307 h 163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139" h="16306">
                    <a:moveTo>
                      <a:pt x="40140" y="16307"/>
                    </a:moveTo>
                    <a:lnTo>
                      <a:pt x="0" y="16307"/>
                    </a:lnTo>
                    <a:lnTo>
                      <a:pt x="0" y="0"/>
                    </a:lnTo>
                    <a:lnTo>
                      <a:pt x="40140" y="0"/>
                    </a:lnTo>
                    <a:lnTo>
                      <a:pt x="40140" y="16307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55" name="Forma Livre: Forma 54">
                <a:extLst>
                  <a:ext uri="{FF2B5EF4-FFF2-40B4-BE49-F238E27FC236}">
                    <a16:creationId xmlns:a16="http://schemas.microsoft.com/office/drawing/2014/main" id="{2268FF58-A7A8-4553-A54C-2DE009E3EB0C}"/>
                  </a:ext>
                </a:extLst>
              </p:cNvPr>
              <p:cNvSpPr/>
              <p:nvPr/>
            </p:nvSpPr>
            <p:spPr>
              <a:xfrm>
                <a:off x="7661059" y="4765062"/>
                <a:ext cx="40139" cy="16307"/>
              </a:xfrm>
              <a:custGeom>
                <a:avLst/>
                <a:gdLst>
                  <a:gd name="connsiteX0" fmla="*/ 40140 w 40139"/>
                  <a:gd name="connsiteY0" fmla="*/ 16307 h 16307"/>
                  <a:gd name="connsiteX1" fmla="*/ 0 w 40139"/>
                  <a:gd name="connsiteY1" fmla="*/ 16307 h 16307"/>
                  <a:gd name="connsiteX2" fmla="*/ 0 w 40139"/>
                  <a:gd name="connsiteY2" fmla="*/ 0 h 16307"/>
                  <a:gd name="connsiteX3" fmla="*/ 40140 w 40139"/>
                  <a:gd name="connsiteY3" fmla="*/ 0 h 16307"/>
                  <a:gd name="connsiteX4" fmla="*/ 40140 w 40139"/>
                  <a:gd name="connsiteY4" fmla="*/ 16307 h 16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139" h="16307">
                    <a:moveTo>
                      <a:pt x="40140" y="16307"/>
                    </a:moveTo>
                    <a:lnTo>
                      <a:pt x="0" y="16307"/>
                    </a:lnTo>
                    <a:lnTo>
                      <a:pt x="0" y="0"/>
                    </a:lnTo>
                    <a:lnTo>
                      <a:pt x="40140" y="0"/>
                    </a:lnTo>
                    <a:lnTo>
                      <a:pt x="40140" y="16307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56" name="Forma Livre: Forma 55">
                <a:extLst>
                  <a:ext uri="{FF2B5EF4-FFF2-40B4-BE49-F238E27FC236}">
                    <a16:creationId xmlns:a16="http://schemas.microsoft.com/office/drawing/2014/main" id="{75D2B201-9DA8-4488-9D33-559B835FC1C9}"/>
                  </a:ext>
                </a:extLst>
              </p:cNvPr>
              <p:cNvSpPr/>
              <p:nvPr/>
            </p:nvSpPr>
            <p:spPr>
              <a:xfrm>
                <a:off x="7661059" y="4801439"/>
                <a:ext cx="40139" cy="16934"/>
              </a:xfrm>
              <a:custGeom>
                <a:avLst/>
                <a:gdLst>
                  <a:gd name="connsiteX0" fmla="*/ 40140 w 40139"/>
                  <a:gd name="connsiteY0" fmla="*/ 16934 h 16934"/>
                  <a:gd name="connsiteX1" fmla="*/ 0 w 40139"/>
                  <a:gd name="connsiteY1" fmla="*/ 16934 h 16934"/>
                  <a:gd name="connsiteX2" fmla="*/ 0 w 40139"/>
                  <a:gd name="connsiteY2" fmla="*/ 0 h 16934"/>
                  <a:gd name="connsiteX3" fmla="*/ 40140 w 40139"/>
                  <a:gd name="connsiteY3" fmla="*/ 0 h 16934"/>
                  <a:gd name="connsiteX4" fmla="*/ 40140 w 40139"/>
                  <a:gd name="connsiteY4" fmla="*/ 16934 h 16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139" h="16934">
                    <a:moveTo>
                      <a:pt x="40140" y="16934"/>
                    </a:moveTo>
                    <a:lnTo>
                      <a:pt x="0" y="16934"/>
                    </a:lnTo>
                    <a:lnTo>
                      <a:pt x="0" y="0"/>
                    </a:lnTo>
                    <a:lnTo>
                      <a:pt x="40140" y="0"/>
                    </a:lnTo>
                    <a:lnTo>
                      <a:pt x="40140" y="16934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57" name="Forma Livre: Forma 56">
                <a:extLst>
                  <a:ext uri="{FF2B5EF4-FFF2-40B4-BE49-F238E27FC236}">
                    <a16:creationId xmlns:a16="http://schemas.microsoft.com/office/drawing/2014/main" id="{42BD19AE-0422-4D4C-8972-111330D010A6}"/>
                  </a:ext>
                </a:extLst>
              </p:cNvPr>
              <p:cNvSpPr/>
              <p:nvPr/>
            </p:nvSpPr>
            <p:spPr>
              <a:xfrm>
                <a:off x="7661059" y="4837816"/>
                <a:ext cx="40139" cy="16933"/>
              </a:xfrm>
              <a:custGeom>
                <a:avLst/>
                <a:gdLst>
                  <a:gd name="connsiteX0" fmla="*/ 40140 w 40139"/>
                  <a:gd name="connsiteY0" fmla="*/ 16934 h 16933"/>
                  <a:gd name="connsiteX1" fmla="*/ 0 w 40139"/>
                  <a:gd name="connsiteY1" fmla="*/ 16934 h 16933"/>
                  <a:gd name="connsiteX2" fmla="*/ 0 w 40139"/>
                  <a:gd name="connsiteY2" fmla="*/ 0 h 16933"/>
                  <a:gd name="connsiteX3" fmla="*/ 40140 w 40139"/>
                  <a:gd name="connsiteY3" fmla="*/ 0 h 16933"/>
                  <a:gd name="connsiteX4" fmla="*/ 40140 w 40139"/>
                  <a:gd name="connsiteY4" fmla="*/ 16934 h 16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139" h="16933">
                    <a:moveTo>
                      <a:pt x="40140" y="16934"/>
                    </a:moveTo>
                    <a:lnTo>
                      <a:pt x="0" y="16934"/>
                    </a:lnTo>
                    <a:lnTo>
                      <a:pt x="0" y="0"/>
                    </a:lnTo>
                    <a:lnTo>
                      <a:pt x="40140" y="0"/>
                    </a:lnTo>
                    <a:lnTo>
                      <a:pt x="40140" y="16934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58" name="Forma Livre: Forma 57">
                <a:extLst>
                  <a:ext uri="{FF2B5EF4-FFF2-40B4-BE49-F238E27FC236}">
                    <a16:creationId xmlns:a16="http://schemas.microsoft.com/office/drawing/2014/main" id="{C274F145-05B7-4BE4-A4E2-C502E0EAEAF4}"/>
                  </a:ext>
                </a:extLst>
              </p:cNvPr>
              <p:cNvSpPr/>
              <p:nvPr/>
            </p:nvSpPr>
            <p:spPr>
              <a:xfrm>
                <a:off x="7661059" y="4874193"/>
                <a:ext cx="40139" cy="16934"/>
              </a:xfrm>
              <a:custGeom>
                <a:avLst/>
                <a:gdLst>
                  <a:gd name="connsiteX0" fmla="*/ 40140 w 40139"/>
                  <a:gd name="connsiteY0" fmla="*/ 16934 h 16934"/>
                  <a:gd name="connsiteX1" fmla="*/ 0 w 40139"/>
                  <a:gd name="connsiteY1" fmla="*/ 16934 h 16934"/>
                  <a:gd name="connsiteX2" fmla="*/ 0 w 40139"/>
                  <a:gd name="connsiteY2" fmla="*/ 0 h 16934"/>
                  <a:gd name="connsiteX3" fmla="*/ 40140 w 40139"/>
                  <a:gd name="connsiteY3" fmla="*/ 0 h 16934"/>
                  <a:gd name="connsiteX4" fmla="*/ 40140 w 40139"/>
                  <a:gd name="connsiteY4" fmla="*/ 16934 h 16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139" h="16934">
                    <a:moveTo>
                      <a:pt x="40140" y="16934"/>
                    </a:moveTo>
                    <a:lnTo>
                      <a:pt x="0" y="16934"/>
                    </a:lnTo>
                    <a:lnTo>
                      <a:pt x="0" y="0"/>
                    </a:lnTo>
                    <a:lnTo>
                      <a:pt x="40140" y="0"/>
                    </a:lnTo>
                    <a:lnTo>
                      <a:pt x="40140" y="16934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59" name="Forma Livre: Forma 58">
              <a:extLst>
                <a:ext uri="{FF2B5EF4-FFF2-40B4-BE49-F238E27FC236}">
                  <a16:creationId xmlns:a16="http://schemas.microsoft.com/office/drawing/2014/main" id="{285C4B60-A916-42CE-A5B9-0CEC84332B21}"/>
                </a:ext>
              </a:extLst>
            </p:cNvPr>
            <p:cNvSpPr/>
            <p:nvPr/>
          </p:nvSpPr>
          <p:spPr>
            <a:xfrm>
              <a:off x="7560708" y="4729312"/>
              <a:ext cx="71499" cy="263420"/>
            </a:xfrm>
            <a:custGeom>
              <a:avLst/>
              <a:gdLst>
                <a:gd name="connsiteX0" fmla="*/ 48294 w 71499"/>
                <a:gd name="connsiteY0" fmla="*/ 0 h 263420"/>
                <a:gd name="connsiteX1" fmla="*/ 23206 w 71499"/>
                <a:gd name="connsiteY1" fmla="*/ 0 h 263420"/>
                <a:gd name="connsiteX2" fmla="*/ 23206 w 71499"/>
                <a:gd name="connsiteY2" fmla="*/ 191921 h 263420"/>
                <a:gd name="connsiteX3" fmla="*/ 13171 w 71499"/>
                <a:gd name="connsiteY3" fmla="*/ 200074 h 263420"/>
                <a:gd name="connsiteX4" fmla="*/ 0 w 71499"/>
                <a:gd name="connsiteY4" fmla="*/ 227671 h 263420"/>
                <a:gd name="connsiteX5" fmla="*/ 35750 w 71499"/>
                <a:gd name="connsiteY5" fmla="*/ 263420 h 263420"/>
                <a:gd name="connsiteX6" fmla="*/ 71500 w 71499"/>
                <a:gd name="connsiteY6" fmla="*/ 227671 h 263420"/>
                <a:gd name="connsiteX7" fmla="*/ 58329 w 71499"/>
                <a:gd name="connsiteY7" fmla="*/ 200074 h 263420"/>
                <a:gd name="connsiteX8" fmla="*/ 48294 w 71499"/>
                <a:gd name="connsiteY8" fmla="*/ 191921 h 263420"/>
                <a:gd name="connsiteX9" fmla="*/ 48294 w 71499"/>
                <a:gd name="connsiteY9" fmla="*/ 0 h 263420"/>
                <a:gd name="connsiteX10" fmla="*/ 48294 w 71499"/>
                <a:gd name="connsiteY10" fmla="*/ 0 h 263420"/>
                <a:gd name="connsiteX11" fmla="*/ 50175 w 71499"/>
                <a:gd name="connsiteY11" fmla="*/ 238960 h 263420"/>
                <a:gd name="connsiteX12" fmla="*/ 39513 w 71499"/>
                <a:gd name="connsiteY12" fmla="*/ 226416 h 263420"/>
                <a:gd name="connsiteX13" fmla="*/ 50175 w 71499"/>
                <a:gd name="connsiteY13" fmla="*/ 213872 h 263420"/>
                <a:gd name="connsiteX14" fmla="*/ 60838 w 71499"/>
                <a:gd name="connsiteY14" fmla="*/ 226416 h 263420"/>
                <a:gd name="connsiteX15" fmla="*/ 50175 w 71499"/>
                <a:gd name="connsiteY15" fmla="*/ 238960 h 263420"/>
                <a:gd name="connsiteX16" fmla="*/ 50175 w 71499"/>
                <a:gd name="connsiteY16" fmla="*/ 238960 h 263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1499" h="263420">
                  <a:moveTo>
                    <a:pt x="48294" y="0"/>
                  </a:moveTo>
                  <a:lnTo>
                    <a:pt x="23206" y="0"/>
                  </a:lnTo>
                  <a:lnTo>
                    <a:pt x="23206" y="191921"/>
                  </a:lnTo>
                  <a:lnTo>
                    <a:pt x="13171" y="200074"/>
                  </a:lnTo>
                  <a:cubicBezTo>
                    <a:pt x="5017" y="206973"/>
                    <a:pt x="0" y="217008"/>
                    <a:pt x="0" y="227671"/>
                  </a:cubicBezTo>
                  <a:cubicBezTo>
                    <a:pt x="0" y="247113"/>
                    <a:pt x="16307" y="263420"/>
                    <a:pt x="35750" y="263420"/>
                  </a:cubicBezTo>
                  <a:cubicBezTo>
                    <a:pt x="55193" y="263420"/>
                    <a:pt x="71500" y="247740"/>
                    <a:pt x="71500" y="227671"/>
                  </a:cubicBezTo>
                  <a:cubicBezTo>
                    <a:pt x="71500" y="217008"/>
                    <a:pt x="66482" y="206973"/>
                    <a:pt x="58329" y="200074"/>
                  </a:cubicBezTo>
                  <a:lnTo>
                    <a:pt x="48294" y="191921"/>
                  </a:lnTo>
                  <a:lnTo>
                    <a:pt x="48294" y="0"/>
                  </a:lnTo>
                  <a:lnTo>
                    <a:pt x="48294" y="0"/>
                  </a:lnTo>
                  <a:close/>
                  <a:moveTo>
                    <a:pt x="50175" y="238960"/>
                  </a:moveTo>
                  <a:cubicBezTo>
                    <a:pt x="43903" y="238960"/>
                    <a:pt x="39513" y="233315"/>
                    <a:pt x="39513" y="226416"/>
                  </a:cubicBezTo>
                  <a:cubicBezTo>
                    <a:pt x="39513" y="219517"/>
                    <a:pt x="44530" y="213872"/>
                    <a:pt x="50175" y="213872"/>
                  </a:cubicBezTo>
                  <a:cubicBezTo>
                    <a:pt x="56447" y="213872"/>
                    <a:pt x="60838" y="219517"/>
                    <a:pt x="60838" y="226416"/>
                  </a:cubicBezTo>
                  <a:cubicBezTo>
                    <a:pt x="60838" y="233315"/>
                    <a:pt x="56447" y="238960"/>
                    <a:pt x="50175" y="238960"/>
                  </a:cubicBezTo>
                  <a:lnTo>
                    <a:pt x="50175" y="238960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60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6401032" y="4686036"/>
            <a:ext cx="390739" cy="330529"/>
            <a:chOff x="6401032" y="4686036"/>
            <a:chExt cx="390739" cy="330529"/>
          </a:xfrm>
          <a:solidFill>
            <a:srgbClr val="B1B1A1"/>
          </a:solidFill>
        </p:grpSpPr>
        <p:sp>
          <p:nvSpPr>
            <p:cNvPr id="61" name="Forma Livre: Forma 60">
              <a:extLst>
                <a:ext uri="{FF2B5EF4-FFF2-40B4-BE49-F238E27FC236}">
                  <a16:creationId xmlns:a16="http://schemas.microsoft.com/office/drawing/2014/main" id="{03EE52AA-C9FB-43EA-AD1F-CD569EE8A1AA}"/>
                </a:ext>
              </a:extLst>
            </p:cNvPr>
            <p:cNvSpPr/>
            <p:nvPr/>
          </p:nvSpPr>
          <p:spPr>
            <a:xfrm>
              <a:off x="6405422" y="4686036"/>
              <a:ext cx="348717" cy="33868"/>
            </a:xfrm>
            <a:custGeom>
              <a:avLst/>
              <a:gdLst>
                <a:gd name="connsiteX0" fmla="*/ 331784 w 348717"/>
                <a:gd name="connsiteY0" fmla="*/ 33868 h 33868"/>
                <a:gd name="connsiteX1" fmla="*/ 16934 w 348717"/>
                <a:gd name="connsiteY1" fmla="*/ 33868 h 33868"/>
                <a:gd name="connsiteX2" fmla="*/ 0 w 348717"/>
                <a:gd name="connsiteY2" fmla="*/ 16934 h 33868"/>
                <a:gd name="connsiteX3" fmla="*/ 16934 w 348717"/>
                <a:gd name="connsiteY3" fmla="*/ 0 h 33868"/>
                <a:gd name="connsiteX4" fmla="*/ 331784 w 348717"/>
                <a:gd name="connsiteY4" fmla="*/ 0 h 33868"/>
                <a:gd name="connsiteX5" fmla="*/ 348718 w 348717"/>
                <a:gd name="connsiteY5" fmla="*/ 16934 h 33868"/>
                <a:gd name="connsiteX6" fmla="*/ 331784 w 348717"/>
                <a:gd name="connsiteY6" fmla="*/ 33868 h 33868"/>
                <a:gd name="connsiteX7" fmla="*/ 331784 w 348717"/>
                <a:gd name="connsiteY7" fmla="*/ 33868 h 33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8717" h="33868">
                  <a:moveTo>
                    <a:pt x="331784" y="33868"/>
                  </a:moveTo>
                  <a:lnTo>
                    <a:pt x="16934" y="33868"/>
                  </a:lnTo>
                  <a:cubicBezTo>
                    <a:pt x="7526" y="33868"/>
                    <a:pt x="0" y="26342"/>
                    <a:pt x="0" y="16934"/>
                  </a:cubicBezTo>
                  <a:cubicBezTo>
                    <a:pt x="0" y="7526"/>
                    <a:pt x="7526" y="0"/>
                    <a:pt x="16934" y="0"/>
                  </a:cubicBezTo>
                  <a:lnTo>
                    <a:pt x="331784" y="0"/>
                  </a:lnTo>
                  <a:cubicBezTo>
                    <a:pt x="341192" y="0"/>
                    <a:pt x="348718" y="7526"/>
                    <a:pt x="348718" y="16934"/>
                  </a:cubicBezTo>
                  <a:cubicBezTo>
                    <a:pt x="348718" y="26342"/>
                    <a:pt x="341192" y="33868"/>
                    <a:pt x="331784" y="33868"/>
                  </a:cubicBezTo>
                  <a:lnTo>
                    <a:pt x="331784" y="33868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62" name="Forma Livre: Forma 61">
              <a:extLst>
                <a:ext uri="{FF2B5EF4-FFF2-40B4-BE49-F238E27FC236}">
                  <a16:creationId xmlns:a16="http://schemas.microsoft.com/office/drawing/2014/main" id="{9932B1B4-C1B2-4303-99A6-8B8A0E3DAEFE}"/>
                </a:ext>
              </a:extLst>
            </p:cNvPr>
            <p:cNvSpPr/>
            <p:nvPr/>
          </p:nvSpPr>
          <p:spPr>
            <a:xfrm>
              <a:off x="6434901" y="4744991"/>
              <a:ext cx="356871" cy="33868"/>
            </a:xfrm>
            <a:custGeom>
              <a:avLst/>
              <a:gdLst>
                <a:gd name="connsiteX0" fmla="*/ 339938 w 356871"/>
                <a:gd name="connsiteY0" fmla="*/ 33868 h 33868"/>
                <a:gd name="connsiteX1" fmla="*/ 16934 w 356871"/>
                <a:gd name="connsiteY1" fmla="*/ 33868 h 33868"/>
                <a:gd name="connsiteX2" fmla="*/ 0 w 356871"/>
                <a:gd name="connsiteY2" fmla="*/ 16934 h 33868"/>
                <a:gd name="connsiteX3" fmla="*/ 16934 w 356871"/>
                <a:gd name="connsiteY3" fmla="*/ 0 h 33868"/>
                <a:gd name="connsiteX4" fmla="*/ 339938 w 356871"/>
                <a:gd name="connsiteY4" fmla="*/ 0 h 33868"/>
                <a:gd name="connsiteX5" fmla="*/ 356871 w 356871"/>
                <a:gd name="connsiteY5" fmla="*/ 16934 h 33868"/>
                <a:gd name="connsiteX6" fmla="*/ 339938 w 356871"/>
                <a:gd name="connsiteY6" fmla="*/ 33868 h 33868"/>
                <a:gd name="connsiteX7" fmla="*/ 339938 w 356871"/>
                <a:gd name="connsiteY7" fmla="*/ 33868 h 33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6871" h="33868">
                  <a:moveTo>
                    <a:pt x="339938" y="33868"/>
                  </a:moveTo>
                  <a:lnTo>
                    <a:pt x="16934" y="33868"/>
                  </a:lnTo>
                  <a:cubicBezTo>
                    <a:pt x="7526" y="33868"/>
                    <a:pt x="0" y="26342"/>
                    <a:pt x="0" y="16934"/>
                  </a:cubicBezTo>
                  <a:cubicBezTo>
                    <a:pt x="0" y="7526"/>
                    <a:pt x="7526" y="0"/>
                    <a:pt x="16934" y="0"/>
                  </a:cubicBezTo>
                  <a:lnTo>
                    <a:pt x="339938" y="0"/>
                  </a:lnTo>
                  <a:cubicBezTo>
                    <a:pt x="349345" y="0"/>
                    <a:pt x="356871" y="7526"/>
                    <a:pt x="356871" y="16934"/>
                  </a:cubicBezTo>
                  <a:cubicBezTo>
                    <a:pt x="356871" y="26970"/>
                    <a:pt x="349345" y="33868"/>
                    <a:pt x="339938" y="33868"/>
                  </a:cubicBezTo>
                  <a:lnTo>
                    <a:pt x="339938" y="33868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63" name="Forma Livre: Forma 62">
              <a:extLst>
                <a:ext uri="{FF2B5EF4-FFF2-40B4-BE49-F238E27FC236}">
                  <a16:creationId xmlns:a16="http://schemas.microsoft.com/office/drawing/2014/main" id="{82A7D1D5-6313-41A6-AC12-70C9DB560B0B}"/>
                </a:ext>
              </a:extLst>
            </p:cNvPr>
            <p:cNvSpPr/>
            <p:nvPr/>
          </p:nvSpPr>
          <p:spPr>
            <a:xfrm>
              <a:off x="6417966" y="4804575"/>
              <a:ext cx="336174" cy="33868"/>
            </a:xfrm>
            <a:custGeom>
              <a:avLst/>
              <a:gdLst>
                <a:gd name="connsiteX0" fmla="*/ 319240 w 336174"/>
                <a:gd name="connsiteY0" fmla="*/ 33868 h 33868"/>
                <a:gd name="connsiteX1" fmla="*/ 16934 w 336174"/>
                <a:gd name="connsiteY1" fmla="*/ 33868 h 33868"/>
                <a:gd name="connsiteX2" fmla="*/ 0 w 336174"/>
                <a:gd name="connsiteY2" fmla="*/ 16934 h 33868"/>
                <a:gd name="connsiteX3" fmla="*/ 16934 w 336174"/>
                <a:gd name="connsiteY3" fmla="*/ 0 h 33868"/>
                <a:gd name="connsiteX4" fmla="*/ 319240 w 336174"/>
                <a:gd name="connsiteY4" fmla="*/ 0 h 33868"/>
                <a:gd name="connsiteX5" fmla="*/ 336174 w 336174"/>
                <a:gd name="connsiteY5" fmla="*/ 16934 h 33868"/>
                <a:gd name="connsiteX6" fmla="*/ 319240 w 336174"/>
                <a:gd name="connsiteY6" fmla="*/ 33868 h 33868"/>
                <a:gd name="connsiteX7" fmla="*/ 319240 w 336174"/>
                <a:gd name="connsiteY7" fmla="*/ 33868 h 33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6174" h="33868">
                  <a:moveTo>
                    <a:pt x="319240" y="33868"/>
                  </a:moveTo>
                  <a:lnTo>
                    <a:pt x="16934" y="33868"/>
                  </a:lnTo>
                  <a:cubicBezTo>
                    <a:pt x="7526" y="33868"/>
                    <a:pt x="0" y="26342"/>
                    <a:pt x="0" y="16934"/>
                  </a:cubicBezTo>
                  <a:cubicBezTo>
                    <a:pt x="0" y="7526"/>
                    <a:pt x="7526" y="0"/>
                    <a:pt x="16934" y="0"/>
                  </a:cubicBezTo>
                  <a:lnTo>
                    <a:pt x="319240" y="0"/>
                  </a:lnTo>
                  <a:cubicBezTo>
                    <a:pt x="328648" y="0"/>
                    <a:pt x="336174" y="7526"/>
                    <a:pt x="336174" y="16934"/>
                  </a:cubicBezTo>
                  <a:cubicBezTo>
                    <a:pt x="336174" y="26342"/>
                    <a:pt x="328648" y="33868"/>
                    <a:pt x="319240" y="33868"/>
                  </a:cubicBezTo>
                  <a:lnTo>
                    <a:pt x="319240" y="33868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64" name="Forma Livre: Forma 63">
              <a:extLst>
                <a:ext uri="{FF2B5EF4-FFF2-40B4-BE49-F238E27FC236}">
                  <a16:creationId xmlns:a16="http://schemas.microsoft.com/office/drawing/2014/main" id="{7BFD7DD5-801D-4569-BF49-C9CB976E2762}"/>
                </a:ext>
              </a:extLst>
            </p:cNvPr>
            <p:cNvSpPr/>
            <p:nvPr/>
          </p:nvSpPr>
          <p:spPr>
            <a:xfrm>
              <a:off x="6401032" y="4864158"/>
              <a:ext cx="231433" cy="33868"/>
            </a:xfrm>
            <a:custGeom>
              <a:avLst/>
              <a:gdLst>
                <a:gd name="connsiteX0" fmla="*/ 214499 w 231433"/>
                <a:gd name="connsiteY0" fmla="*/ 33868 h 33868"/>
                <a:gd name="connsiteX1" fmla="*/ 16934 w 231433"/>
                <a:gd name="connsiteY1" fmla="*/ 33868 h 33868"/>
                <a:gd name="connsiteX2" fmla="*/ 0 w 231433"/>
                <a:gd name="connsiteY2" fmla="*/ 16934 h 33868"/>
                <a:gd name="connsiteX3" fmla="*/ 16934 w 231433"/>
                <a:gd name="connsiteY3" fmla="*/ 0 h 33868"/>
                <a:gd name="connsiteX4" fmla="*/ 214499 w 231433"/>
                <a:gd name="connsiteY4" fmla="*/ 0 h 33868"/>
                <a:gd name="connsiteX5" fmla="*/ 231434 w 231433"/>
                <a:gd name="connsiteY5" fmla="*/ 16934 h 33868"/>
                <a:gd name="connsiteX6" fmla="*/ 214499 w 231433"/>
                <a:gd name="connsiteY6" fmla="*/ 33868 h 33868"/>
                <a:gd name="connsiteX7" fmla="*/ 214499 w 231433"/>
                <a:gd name="connsiteY7" fmla="*/ 33868 h 33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1433" h="33868">
                  <a:moveTo>
                    <a:pt x="214499" y="33868"/>
                  </a:moveTo>
                  <a:lnTo>
                    <a:pt x="16934" y="33868"/>
                  </a:lnTo>
                  <a:cubicBezTo>
                    <a:pt x="7526" y="33868"/>
                    <a:pt x="0" y="26342"/>
                    <a:pt x="0" y="16934"/>
                  </a:cubicBezTo>
                  <a:cubicBezTo>
                    <a:pt x="0" y="7526"/>
                    <a:pt x="7526" y="0"/>
                    <a:pt x="16934" y="0"/>
                  </a:cubicBezTo>
                  <a:lnTo>
                    <a:pt x="214499" y="0"/>
                  </a:lnTo>
                  <a:cubicBezTo>
                    <a:pt x="223907" y="0"/>
                    <a:pt x="231434" y="7526"/>
                    <a:pt x="231434" y="16934"/>
                  </a:cubicBezTo>
                  <a:cubicBezTo>
                    <a:pt x="231434" y="26342"/>
                    <a:pt x="223907" y="33868"/>
                    <a:pt x="214499" y="33868"/>
                  </a:cubicBezTo>
                  <a:lnTo>
                    <a:pt x="214499" y="33868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65" name="Forma Livre: Forma 64">
              <a:extLst>
                <a:ext uri="{FF2B5EF4-FFF2-40B4-BE49-F238E27FC236}">
                  <a16:creationId xmlns:a16="http://schemas.microsoft.com/office/drawing/2014/main" id="{ED89AF14-1300-479F-AB95-A2DF9995C212}"/>
                </a:ext>
              </a:extLst>
            </p:cNvPr>
            <p:cNvSpPr/>
            <p:nvPr/>
          </p:nvSpPr>
          <p:spPr>
            <a:xfrm>
              <a:off x="6451835" y="4923114"/>
              <a:ext cx="143626" cy="33868"/>
            </a:xfrm>
            <a:custGeom>
              <a:avLst/>
              <a:gdLst>
                <a:gd name="connsiteX0" fmla="*/ 126692 w 143626"/>
                <a:gd name="connsiteY0" fmla="*/ 33868 h 33868"/>
                <a:gd name="connsiteX1" fmla="*/ 16934 w 143626"/>
                <a:gd name="connsiteY1" fmla="*/ 33868 h 33868"/>
                <a:gd name="connsiteX2" fmla="*/ 0 w 143626"/>
                <a:gd name="connsiteY2" fmla="*/ 16934 h 33868"/>
                <a:gd name="connsiteX3" fmla="*/ 16934 w 143626"/>
                <a:gd name="connsiteY3" fmla="*/ 0 h 33868"/>
                <a:gd name="connsiteX4" fmla="*/ 126692 w 143626"/>
                <a:gd name="connsiteY4" fmla="*/ 0 h 33868"/>
                <a:gd name="connsiteX5" fmla="*/ 143626 w 143626"/>
                <a:gd name="connsiteY5" fmla="*/ 16934 h 33868"/>
                <a:gd name="connsiteX6" fmla="*/ 126692 w 143626"/>
                <a:gd name="connsiteY6" fmla="*/ 33868 h 33868"/>
                <a:gd name="connsiteX7" fmla="*/ 126692 w 143626"/>
                <a:gd name="connsiteY7" fmla="*/ 33868 h 33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3626" h="33868">
                  <a:moveTo>
                    <a:pt x="126692" y="33868"/>
                  </a:moveTo>
                  <a:lnTo>
                    <a:pt x="16934" y="33868"/>
                  </a:lnTo>
                  <a:cubicBezTo>
                    <a:pt x="7526" y="33868"/>
                    <a:pt x="0" y="26342"/>
                    <a:pt x="0" y="16934"/>
                  </a:cubicBezTo>
                  <a:cubicBezTo>
                    <a:pt x="0" y="7526"/>
                    <a:pt x="7526" y="0"/>
                    <a:pt x="16934" y="0"/>
                  </a:cubicBezTo>
                  <a:lnTo>
                    <a:pt x="126692" y="0"/>
                  </a:lnTo>
                  <a:cubicBezTo>
                    <a:pt x="136100" y="0"/>
                    <a:pt x="143626" y="7526"/>
                    <a:pt x="143626" y="16934"/>
                  </a:cubicBezTo>
                  <a:cubicBezTo>
                    <a:pt x="142999" y="26969"/>
                    <a:pt x="135473" y="33868"/>
                    <a:pt x="126692" y="33868"/>
                  </a:cubicBezTo>
                  <a:lnTo>
                    <a:pt x="126692" y="33868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66" name="Forma Livre: Forma 65">
              <a:extLst>
                <a:ext uri="{FF2B5EF4-FFF2-40B4-BE49-F238E27FC236}">
                  <a16:creationId xmlns:a16="http://schemas.microsoft.com/office/drawing/2014/main" id="{D0B04495-872A-4541-BDFF-01CC0A911B74}"/>
                </a:ext>
              </a:extLst>
            </p:cNvPr>
            <p:cNvSpPr/>
            <p:nvPr/>
          </p:nvSpPr>
          <p:spPr>
            <a:xfrm>
              <a:off x="6502637" y="4982697"/>
              <a:ext cx="74008" cy="33868"/>
            </a:xfrm>
            <a:custGeom>
              <a:avLst/>
              <a:gdLst>
                <a:gd name="connsiteX0" fmla="*/ 57074 w 74008"/>
                <a:gd name="connsiteY0" fmla="*/ 33868 h 33868"/>
                <a:gd name="connsiteX1" fmla="*/ 16934 w 74008"/>
                <a:gd name="connsiteY1" fmla="*/ 33868 h 33868"/>
                <a:gd name="connsiteX2" fmla="*/ 0 w 74008"/>
                <a:gd name="connsiteY2" fmla="*/ 16934 h 33868"/>
                <a:gd name="connsiteX3" fmla="*/ 16934 w 74008"/>
                <a:gd name="connsiteY3" fmla="*/ 0 h 33868"/>
                <a:gd name="connsiteX4" fmla="*/ 57074 w 74008"/>
                <a:gd name="connsiteY4" fmla="*/ 0 h 33868"/>
                <a:gd name="connsiteX5" fmla="*/ 74008 w 74008"/>
                <a:gd name="connsiteY5" fmla="*/ 16934 h 33868"/>
                <a:gd name="connsiteX6" fmla="*/ 57074 w 74008"/>
                <a:gd name="connsiteY6" fmla="*/ 33868 h 33868"/>
                <a:gd name="connsiteX7" fmla="*/ 57074 w 74008"/>
                <a:gd name="connsiteY7" fmla="*/ 33868 h 33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4008" h="33868">
                  <a:moveTo>
                    <a:pt x="57074" y="33868"/>
                  </a:moveTo>
                  <a:lnTo>
                    <a:pt x="16934" y="33868"/>
                  </a:lnTo>
                  <a:cubicBezTo>
                    <a:pt x="7526" y="33868"/>
                    <a:pt x="0" y="26342"/>
                    <a:pt x="0" y="16934"/>
                  </a:cubicBezTo>
                  <a:cubicBezTo>
                    <a:pt x="0" y="7526"/>
                    <a:pt x="7526" y="0"/>
                    <a:pt x="16934" y="0"/>
                  </a:cubicBezTo>
                  <a:lnTo>
                    <a:pt x="57074" y="0"/>
                  </a:lnTo>
                  <a:cubicBezTo>
                    <a:pt x="66482" y="0"/>
                    <a:pt x="74008" y="7526"/>
                    <a:pt x="74008" y="16934"/>
                  </a:cubicBezTo>
                  <a:cubicBezTo>
                    <a:pt x="74008" y="26342"/>
                    <a:pt x="66482" y="33868"/>
                    <a:pt x="57074" y="33868"/>
                  </a:cubicBezTo>
                  <a:lnTo>
                    <a:pt x="57074" y="33868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67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5370558" y="4696071"/>
            <a:ext cx="414572" cy="309832"/>
            <a:chOff x="5370558" y="4696071"/>
            <a:chExt cx="414572" cy="309832"/>
          </a:xfrm>
          <a:solidFill>
            <a:srgbClr val="B1B1A1"/>
          </a:solidFill>
        </p:grpSpPr>
        <p:grpSp>
          <p:nvGrpSpPr>
            <p:cNvPr id="68" name="Gráfico 2">
              <a:extLst>
                <a:ext uri="{FF2B5EF4-FFF2-40B4-BE49-F238E27FC236}">
                  <a16:creationId xmlns:a16="http://schemas.microsoft.com/office/drawing/2014/main" id="{F5ABA5BB-819F-4501-AD77-3F762FEA4CEA}"/>
                </a:ext>
              </a:extLst>
            </p:cNvPr>
            <p:cNvGrpSpPr/>
            <p:nvPr/>
          </p:nvGrpSpPr>
          <p:grpSpPr>
            <a:xfrm>
              <a:off x="5370558" y="4913079"/>
              <a:ext cx="414572" cy="92824"/>
              <a:chOff x="5370558" y="4913079"/>
              <a:chExt cx="414572" cy="92824"/>
            </a:xfrm>
            <a:grpFill/>
          </p:grpSpPr>
          <p:sp>
            <p:nvSpPr>
              <p:cNvPr id="69" name="Forma Livre: Forma 68">
                <a:extLst>
                  <a:ext uri="{FF2B5EF4-FFF2-40B4-BE49-F238E27FC236}">
                    <a16:creationId xmlns:a16="http://schemas.microsoft.com/office/drawing/2014/main" id="{72343541-021B-4871-87F0-D66BFD1A2214}"/>
                  </a:ext>
                </a:extLst>
              </p:cNvPr>
              <p:cNvSpPr/>
              <p:nvPr/>
            </p:nvSpPr>
            <p:spPr>
              <a:xfrm>
                <a:off x="5370558" y="4913079"/>
                <a:ext cx="414572" cy="33868"/>
              </a:xfrm>
              <a:custGeom>
                <a:avLst/>
                <a:gdLst>
                  <a:gd name="connsiteX0" fmla="*/ 397639 w 414572"/>
                  <a:gd name="connsiteY0" fmla="*/ 33868 h 33868"/>
                  <a:gd name="connsiteX1" fmla="*/ 16934 w 414572"/>
                  <a:gd name="connsiteY1" fmla="*/ 33868 h 33868"/>
                  <a:gd name="connsiteX2" fmla="*/ 0 w 414572"/>
                  <a:gd name="connsiteY2" fmla="*/ 16934 h 33868"/>
                  <a:gd name="connsiteX3" fmla="*/ 16934 w 414572"/>
                  <a:gd name="connsiteY3" fmla="*/ 0 h 33868"/>
                  <a:gd name="connsiteX4" fmla="*/ 397639 w 414572"/>
                  <a:gd name="connsiteY4" fmla="*/ 0 h 33868"/>
                  <a:gd name="connsiteX5" fmla="*/ 414573 w 414572"/>
                  <a:gd name="connsiteY5" fmla="*/ 16934 h 33868"/>
                  <a:gd name="connsiteX6" fmla="*/ 397639 w 414572"/>
                  <a:gd name="connsiteY6" fmla="*/ 33868 h 33868"/>
                  <a:gd name="connsiteX7" fmla="*/ 397639 w 414572"/>
                  <a:gd name="connsiteY7" fmla="*/ 33868 h 338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4572" h="33868">
                    <a:moveTo>
                      <a:pt x="397639" y="33868"/>
                    </a:moveTo>
                    <a:lnTo>
                      <a:pt x="16934" y="33868"/>
                    </a:lnTo>
                    <a:cubicBezTo>
                      <a:pt x="7526" y="33868"/>
                      <a:pt x="0" y="26342"/>
                      <a:pt x="0" y="16934"/>
                    </a:cubicBezTo>
                    <a:cubicBezTo>
                      <a:pt x="0" y="7526"/>
                      <a:pt x="7526" y="0"/>
                      <a:pt x="16934" y="0"/>
                    </a:cubicBezTo>
                    <a:lnTo>
                      <a:pt x="397639" y="0"/>
                    </a:lnTo>
                    <a:cubicBezTo>
                      <a:pt x="407047" y="0"/>
                      <a:pt x="414573" y="7526"/>
                      <a:pt x="414573" y="16934"/>
                    </a:cubicBezTo>
                    <a:cubicBezTo>
                      <a:pt x="414573" y="26342"/>
                      <a:pt x="407047" y="33868"/>
                      <a:pt x="397639" y="33868"/>
                    </a:cubicBezTo>
                    <a:lnTo>
                      <a:pt x="397639" y="33868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70" name="Forma Livre: Forma 69">
                <a:extLst>
                  <a:ext uri="{FF2B5EF4-FFF2-40B4-BE49-F238E27FC236}">
                    <a16:creationId xmlns:a16="http://schemas.microsoft.com/office/drawing/2014/main" id="{9C6CF008-1284-4631-93D7-34EE1B199F74}"/>
                  </a:ext>
                </a:extLst>
              </p:cNvPr>
              <p:cNvSpPr/>
              <p:nvPr/>
            </p:nvSpPr>
            <p:spPr>
              <a:xfrm>
                <a:off x="5370558" y="4972035"/>
                <a:ext cx="414572" cy="33868"/>
              </a:xfrm>
              <a:custGeom>
                <a:avLst/>
                <a:gdLst>
                  <a:gd name="connsiteX0" fmla="*/ 397639 w 414572"/>
                  <a:gd name="connsiteY0" fmla="*/ 33868 h 33868"/>
                  <a:gd name="connsiteX1" fmla="*/ 16934 w 414572"/>
                  <a:gd name="connsiteY1" fmla="*/ 33868 h 33868"/>
                  <a:gd name="connsiteX2" fmla="*/ 0 w 414572"/>
                  <a:gd name="connsiteY2" fmla="*/ 16934 h 33868"/>
                  <a:gd name="connsiteX3" fmla="*/ 16934 w 414572"/>
                  <a:gd name="connsiteY3" fmla="*/ 0 h 33868"/>
                  <a:gd name="connsiteX4" fmla="*/ 397639 w 414572"/>
                  <a:gd name="connsiteY4" fmla="*/ 0 h 33868"/>
                  <a:gd name="connsiteX5" fmla="*/ 414573 w 414572"/>
                  <a:gd name="connsiteY5" fmla="*/ 16934 h 33868"/>
                  <a:gd name="connsiteX6" fmla="*/ 397639 w 414572"/>
                  <a:gd name="connsiteY6" fmla="*/ 33868 h 33868"/>
                  <a:gd name="connsiteX7" fmla="*/ 397639 w 414572"/>
                  <a:gd name="connsiteY7" fmla="*/ 33868 h 338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4572" h="33868">
                    <a:moveTo>
                      <a:pt x="397639" y="33868"/>
                    </a:moveTo>
                    <a:lnTo>
                      <a:pt x="16934" y="33868"/>
                    </a:lnTo>
                    <a:cubicBezTo>
                      <a:pt x="7526" y="33868"/>
                      <a:pt x="0" y="26342"/>
                      <a:pt x="0" y="16934"/>
                    </a:cubicBezTo>
                    <a:cubicBezTo>
                      <a:pt x="0" y="7526"/>
                      <a:pt x="7526" y="0"/>
                      <a:pt x="16934" y="0"/>
                    </a:cubicBezTo>
                    <a:lnTo>
                      <a:pt x="397639" y="0"/>
                    </a:lnTo>
                    <a:cubicBezTo>
                      <a:pt x="407047" y="0"/>
                      <a:pt x="414573" y="7526"/>
                      <a:pt x="414573" y="16934"/>
                    </a:cubicBezTo>
                    <a:cubicBezTo>
                      <a:pt x="414573" y="26969"/>
                      <a:pt x="407047" y="33868"/>
                      <a:pt x="397639" y="33868"/>
                    </a:cubicBezTo>
                    <a:lnTo>
                      <a:pt x="397639" y="33868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71" name="Forma Livre: Forma 70">
              <a:extLst>
                <a:ext uri="{FF2B5EF4-FFF2-40B4-BE49-F238E27FC236}">
                  <a16:creationId xmlns:a16="http://schemas.microsoft.com/office/drawing/2014/main" id="{DBB765BC-4F6B-4998-9BDC-3A87C15220BF}"/>
                </a:ext>
              </a:extLst>
            </p:cNvPr>
            <p:cNvSpPr/>
            <p:nvPr/>
          </p:nvSpPr>
          <p:spPr>
            <a:xfrm>
              <a:off x="5371185" y="4696071"/>
              <a:ext cx="413318" cy="195056"/>
            </a:xfrm>
            <a:custGeom>
              <a:avLst/>
              <a:gdLst>
                <a:gd name="connsiteX0" fmla="*/ 16934 w 413318"/>
                <a:gd name="connsiteY0" fmla="*/ 195057 h 195056"/>
                <a:gd name="connsiteX1" fmla="*/ 0 w 413318"/>
                <a:gd name="connsiteY1" fmla="*/ 178122 h 195056"/>
                <a:gd name="connsiteX2" fmla="*/ 85925 w 413318"/>
                <a:gd name="connsiteY2" fmla="*/ 91570 h 195056"/>
                <a:gd name="connsiteX3" fmla="*/ 195684 w 413318"/>
                <a:gd name="connsiteY3" fmla="*/ 0 h 195056"/>
                <a:gd name="connsiteX4" fmla="*/ 299170 w 413318"/>
                <a:gd name="connsiteY4" fmla="*/ 69618 h 195056"/>
                <a:gd name="connsiteX5" fmla="*/ 315477 w 413318"/>
                <a:gd name="connsiteY5" fmla="*/ 68364 h 195056"/>
                <a:gd name="connsiteX6" fmla="*/ 413319 w 413318"/>
                <a:gd name="connsiteY6" fmla="*/ 166206 h 195056"/>
                <a:gd name="connsiteX7" fmla="*/ 396385 w 413318"/>
                <a:gd name="connsiteY7" fmla="*/ 183140 h 195056"/>
                <a:gd name="connsiteX8" fmla="*/ 379450 w 413318"/>
                <a:gd name="connsiteY8" fmla="*/ 166206 h 195056"/>
                <a:gd name="connsiteX9" fmla="*/ 314850 w 413318"/>
                <a:gd name="connsiteY9" fmla="*/ 101605 h 195056"/>
                <a:gd name="connsiteX10" fmla="*/ 292898 w 413318"/>
                <a:gd name="connsiteY10" fmla="*/ 105368 h 195056"/>
                <a:gd name="connsiteX11" fmla="*/ 275337 w 413318"/>
                <a:gd name="connsiteY11" fmla="*/ 111640 h 195056"/>
                <a:gd name="connsiteX12" fmla="*/ 270947 w 413318"/>
                <a:gd name="connsiteY12" fmla="*/ 93452 h 195056"/>
                <a:gd name="connsiteX13" fmla="*/ 195057 w 413318"/>
                <a:gd name="connsiteY13" fmla="*/ 33241 h 195056"/>
                <a:gd name="connsiteX14" fmla="*/ 116658 w 413318"/>
                <a:gd name="connsiteY14" fmla="*/ 109758 h 195056"/>
                <a:gd name="connsiteX15" fmla="*/ 116030 w 413318"/>
                <a:gd name="connsiteY15" fmla="*/ 129829 h 195056"/>
                <a:gd name="connsiteX16" fmla="*/ 96588 w 413318"/>
                <a:gd name="connsiteY16" fmla="*/ 125438 h 195056"/>
                <a:gd name="connsiteX17" fmla="*/ 85925 w 413318"/>
                <a:gd name="connsiteY17" fmla="*/ 124184 h 195056"/>
                <a:gd name="connsiteX18" fmla="*/ 32614 w 413318"/>
                <a:gd name="connsiteY18" fmla="*/ 177495 h 195056"/>
                <a:gd name="connsiteX19" fmla="*/ 16934 w 413318"/>
                <a:gd name="connsiteY19" fmla="*/ 195057 h 195056"/>
                <a:gd name="connsiteX20" fmla="*/ 16934 w 413318"/>
                <a:gd name="connsiteY20" fmla="*/ 195057 h 195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13318" h="195056">
                  <a:moveTo>
                    <a:pt x="16934" y="195057"/>
                  </a:moveTo>
                  <a:cubicBezTo>
                    <a:pt x="7526" y="195057"/>
                    <a:pt x="0" y="187530"/>
                    <a:pt x="0" y="178122"/>
                  </a:cubicBezTo>
                  <a:cubicBezTo>
                    <a:pt x="0" y="130456"/>
                    <a:pt x="38259" y="92197"/>
                    <a:pt x="85925" y="91570"/>
                  </a:cubicBezTo>
                  <a:cubicBezTo>
                    <a:pt x="95333" y="39513"/>
                    <a:pt x="141118" y="0"/>
                    <a:pt x="195684" y="0"/>
                  </a:cubicBezTo>
                  <a:cubicBezTo>
                    <a:pt x="242096" y="0"/>
                    <a:pt x="282236" y="28224"/>
                    <a:pt x="299170" y="69618"/>
                  </a:cubicBezTo>
                  <a:cubicBezTo>
                    <a:pt x="304815" y="68364"/>
                    <a:pt x="309832" y="68364"/>
                    <a:pt x="315477" y="68364"/>
                  </a:cubicBezTo>
                  <a:cubicBezTo>
                    <a:pt x="369416" y="68364"/>
                    <a:pt x="413319" y="112267"/>
                    <a:pt x="413319" y="166206"/>
                  </a:cubicBezTo>
                  <a:cubicBezTo>
                    <a:pt x="413319" y="175613"/>
                    <a:pt x="405793" y="183140"/>
                    <a:pt x="396385" y="183140"/>
                  </a:cubicBezTo>
                  <a:cubicBezTo>
                    <a:pt x="386977" y="183140"/>
                    <a:pt x="379450" y="175613"/>
                    <a:pt x="379450" y="166206"/>
                  </a:cubicBezTo>
                  <a:cubicBezTo>
                    <a:pt x="379450" y="130456"/>
                    <a:pt x="350600" y="101605"/>
                    <a:pt x="314850" y="101605"/>
                  </a:cubicBezTo>
                  <a:cubicBezTo>
                    <a:pt x="307324" y="101605"/>
                    <a:pt x="300425" y="102859"/>
                    <a:pt x="292898" y="105368"/>
                  </a:cubicBezTo>
                  <a:lnTo>
                    <a:pt x="275337" y="111640"/>
                  </a:lnTo>
                  <a:lnTo>
                    <a:pt x="270947" y="93452"/>
                  </a:lnTo>
                  <a:cubicBezTo>
                    <a:pt x="262793" y="57702"/>
                    <a:pt x="231434" y="33241"/>
                    <a:pt x="195057" y="33241"/>
                  </a:cubicBezTo>
                  <a:cubicBezTo>
                    <a:pt x="153035" y="33241"/>
                    <a:pt x="117912" y="67737"/>
                    <a:pt x="116658" y="109758"/>
                  </a:cubicBezTo>
                  <a:lnTo>
                    <a:pt x="116030" y="129829"/>
                  </a:lnTo>
                  <a:lnTo>
                    <a:pt x="96588" y="125438"/>
                  </a:lnTo>
                  <a:cubicBezTo>
                    <a:pt x="92825" y="124811"/>
                    <a:pt x="89689" y="124184"/>
                    <a:pt x="85925" y="124184"/>
                  </a:cubicBezTo>
                  <a:cubicBezTo>
                    <a:pt x="56447" y="124184"/>
                    <a:pt x="32614" y="148017"/>
                    <a:pt x="32614" y="177495"/>
                  </a:cubicBezTo>
                  <a:cubicBezTo>
                    <a:pt x="33241" y="188157"/>
                    <a:pt x="26342" y="195057"/>
                    <a:pt x="16934" y="195057"/>
                  </a:cubicBezTo>
                  <a:lnTo>
                    <a:pt x="16934" y="195057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72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2316766" y="4676628"/>
            <a:ext cx="413318" cy="341191"/>
            <a:chOff x="2316766" y="4676628"/>
            <a:chExt cx="413318" cy="341191"/>
          </a:xfrm>
          <a:solidFill>
            <a:srgbClr val="B1B1A1"/>
          </a:solidFill>
        </p:grpSpPr>
        <p:sp>
          <p:nvSpPr>
            <p:cNvPr id="73" name="Forma Livre: Forma 72">
              <a:extLst>
                <a:ext uri="{FF2B5EF4-FFF2-40B4-BE49-F238E27FC236}">
                  <a16:creationId xmlns:a16="http://schemas.microsoft.com/office/drawing/2014/main" id="{0C31A466-AA0C-4927-846A-99E56AAC4E93}"/>
                </a:ext>
              </a:extLst>
            </p:cNvPr>
            <p:cNvSpPr/>
            <p:nvPr/>
          </p:nvSpPr>
          <p:spPr>
            <a:xfrm>
              <a:off x="2316766" y="4676628"/>
              <a:ext cx="413318" cy="264674"/>
            </a:xfrm>
            <a:custGeom>
              <a:avLst/>
              <a:gdLst>
                <a:gd name="connsiteX0" fmla="*/ 319240 w 413318"/>
                <a:gd name="connsiteY0" fmla="*/ 264675 h 264674"/>
                <a:gd name="connsiteX1" fmla="*/ 84671 w 413318"/>
                <a:gd name="connsiteY1" fmla="*/ 264675 h 264674"/>
                <a:gd name="connsiteX2" fmla="*/ 60837 w 413318"/>
                <a:gd name="connsiteY2" fmla="*/ 260911 h 264674"/>
                <a:gd name="connsiteX3" fmla="*/ 0 w 413318"/>
                <a:gd name="connsiteY3" fmla="*/ 178122 h 264674"/>
                <a:gd name="connsiteX4" fmla="*/ 85925 w 413318"/>
                <a:gd name="connsiteY4" fmla="*/ 91570 h 264674"/>
                <a:gd name="connsiteX5" fmla="*/ 195684 w 413318"/>
                <a:gd name="connsiteY5" fmla="*/ 0 h 264674"/>
                <a:gd name="connsiteX6" fmla="*/ 299170 w 413318"/>
                <a:gd name="connsiteY6" fmla="*/ 69618 h 264674"/>
                <a:gd name="connsiteX7" fmla="*/ 315477 w 413318"/>
                <a:gd name="connsiteY7" fmla="*/ 68364 h 264674"/>
                <a:gd name="connsiteX8" fmla="*/ 413319 w 413318"/>
                <a:gd name="connsiteY8" fmla="*/ 166206 h 264674"/>
                <a:gd name="connsiteX9" fmla="*/ 344955 w 413318"/>
                <a:gd name="connsiteY9" fmla="*/ 259657 h 264674"/>
                <a:gd name="connsiteX10" fmla="*/ 319240 w 413318"/>
                <a:gd name="connsiteY10" fmla="*/ 264675 h 264674"/>
                <a:gd name="connsiteX11" fmla="*/ 319240 w 413318"/>
                <a:gd name="connsiteY11" fmla="*/ 264675 h 264674"/>
                <a:gd name="connsiteX12" fmla="*/ 86552 w 413318"/>
                <a:gd name="connsiteY12" fmla="*/ 125438 h 264674"/>
                <a:gd name="connsiteX13" fmla="*/ 33241 w 413318"/>
                <a:gd name="connsiteY13" fmla="*/ 178749 h 264674"/>
                <a:gd name="connsiteX14" fmla="*/ 70872 w 413318"/>
                <a:gd name="connsiteY14" fmla="*/ 229552 h 264674"/>
                <a:gd name="connsiteX15" fmla="*/ 84671 w 413318"/>
                <a:gd name="connsiteY15" fmla="*/ 232061 h 264674"/>
                <a:gd name="connsiteX16" fmla="*/ 319240 w 413318"/>
                <a:gd name="connsiteY16" fmla="*/ 232061 h 264674"/>
                <a:gd name="connsiteX17" fmla="*/ 333666 w 413318"/>
                <a:gd name="connsiteY17" fmla="*/ 229552 h 264674"/>
                <a:gd name="connsiteX18" fmla="*/ 380078 w 413318"/>
                <a:gd name="connsiteY18" fmla="*/ 167460 h 264674"/>
                <a:gd name="connsiteX19" fmla="*/ 315477 w 413318"/>
                <a:gd name="connsiteY19" fmla="*/ 102859 h 264674"/>
                <a:gd name="connsiteX20" fmla="*/ 293525 w 413318"/>
                <a:gd name="connsiteY20" fmla="*/ 106622 h 264674"/>
                <a:gd name="connsiteX21" fmla="*/ 275964 w 413318"/>
                <a:gd name="connsiteY21" fmla="*/ 112894 h 264674"/>
                <a:gd name="connsiteX22" fmla="*/ 271574 w 413318"/>
                <a:gd name="connsiteY22" fmla="*/ 94706 h 264674"/>
                <a:gd name="connsiteX23" fmla="*/ 195684 w 413318"/>
                <a:gd name="connsiteY23" fmla="*/ 34495 h 264674"/>
                <a:gd name="connsiteX24" fmla="*/ 117285 w 413318"/>
                <a:gd name="connsiteY24" fmla="*/ 111013 h 264674"/>
                <a:gd name="connsiteX25" fmla="*/ 116657 w 413318"/>
                <a:gd name="connsiteY25" fmla="*/ 131083 h 264674"/>
                <a:gd name="connsiteX26" fmla="*/ 97215 w 413318"/>
                <a:gd name="connsiteY26" fmla="*/ 126693 h 264674"/>
                <a:gd name="connsiteX27" fmla="*/ 86552 w 413318"/>
                <a:gd name="connsiteY27" fmla="*/ 125438 h 264674"/>
                <a:gd name="connsiteX28" fmla="*/ 86552 w 413318"/>
                <a:gd name="connsiteY28" fmla="*/ 125438 h 264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13318" h="264674">
                  <a:moveTo>
                    <a:pt x="319240" y="264675"/>
                  </a:moveTo>
                  <a:lnTo>
                    <a:pt x="84671" y="264675"/>
                  </a:lnTo>
                  <a:cubicBezTo>
                    <a:pt x="76517" y="264675"/>
                    <a:pt x="68991" y="263420"/>
                    <a:pt x="60837" y="260911"/>
                  </a:cubicBezTo>
                  <a:cubicBezTo>
                    <a:pt x="25088" y="250249"/>
                    <a:pt x="0" y="216381"/>
                    <a:pt x="0" y="178122"/>
                  </a:cubicBezTo>
                  <a:cubicBezTo>
                    <a:pt x="0" y="130456"/>
                    <a:pt x="38259" y="92197"/>
                    <a:pt x="85925" y="91570"/>
                  </a:cubicBezTo>
                  <a:cubicBezTo>
                    <a:pt x="95333" y="39513"/>
                    <a:pt x="141118" y="0"/>
                    <a:pt x="195684" y="0"/>
                  </a:cubicBezTo>
                  <a:cubicBezTo>
                    <a:pt x="242096" y="0"/>
                    <a:pt x="282236" y="28224"/>
                    <a:pt x="299170" y="69618"/>
                  </a:cubicBezTo>
                  <a:cubicBezTo>
                    <a:pt x="304815" y="68991"/>
                    <a:pt x="309832" y="68364"/>
                    <a:pt x="315477" y="68364"/>
                  </a:cubicBezTo>
                  <a:cubicBezTo>
                    <a:pt x="369415" y="68364"/>
                    <a:pt x="413319" y="112267"/>
                    <a:pt x="413319" y="166206"/>
                  </a:cubicBezTo>
                  <a:cubicBezTo>
                    <a:pt x="413319" y="209481"/>
                    <a:pt x="385722" y="246486"/>
                    <a:pt x="344955" y="259657"/>
                  </a:cubicBezTo>
                  <a:cubicBezTo>
                    <a:pt x="336801" y="262793"/>
                    <a:pt x="328021" y="264675"/>
                    <a:pt x="319240" y="264675"/>
                  </a:cubicBezTo>
                  <a:lnTo>
                    <a:pt x="319240" y="264675"/>
                  </a:lnTo>
                  <a:close/>
                  <a:moveTo>
                    <a:pt x="86552" y="125438"/>
                  </a:moveTo>
                  <a:cubicBezTo>
                    <a:pt x="57074" y="125438"/>
                    <a:pt x="33241" y="149271"/>
                    <a:pt x="33241" y="178749"/>
                  </a:cubicBezTo>
                  <a:cubicBezTo>
                    <a:pt x="33241" y="201956"/>
                    <a:pt x="48921" y="222653"/>
                    <a:pt x="70872" y="229552"/>
                  </a:cubicBezTo>
                  <a:cubicBezTo>
                    <a:pt x="75263" y="230806"/>
                    <a:pt x="80280" y="232061"/>
                    <a:pt x="84671" y="232061"/>
                  </a:cubicBezTo>
                  <a:lnTo>
                    <a:pt x="319240" y="232061"/>
                  </a:lnTo>
                  <a:cubicBezTo>
                    <a:pt x="324258" y="232061"/>
                    <a:pt x="329275" y="231433"/>
                    <a:pt x="333666" y="229552"/>
                  </a:cubicBezTo>
                  <a:cubicBezTo>
                    <a:pt x="361889" y="220771"/>
                    <a:pt x="380078" y="195684"/>
                    <a:pt x="380078" y="167460"/>
                  </a:cubicBezTo>
                  <a:cubicBezTo>
                    <a:pt x="380078" y="131710"/>
                    <a:pt x="351227" y="102859"/>
                    <a:pt x="315477" y="102859"/>
                  </a:cubicBezTo>
                  <a:cubicBezTo>
                    <a:pt x="307951" y="102859"/>
                    <a:pt x="301052" y="104114"/>
                    <a:pt x="293525" y="106622"/>
                  </a:cubicBezTo>
                  <a:lnTo>
                    <a:pt x="275964" y="112894"/>
                  </a:lnTo>
                  <a:lnTo>
                    <a:pt x="271574" y="94706"/>
                  </a:lnTo>
                  <a:cubicBezTo>
                    <a:pt x="263420" y="58956"/>
                    <a:pt x="232061" y="34495"/>
                    <a:pt x="195684" y="34495"/>
                  </a:cubicBezTo>
                  <a:cubicBezTo>
                    <a:pt x="153662" y="34495"/>
                    <a:pt x="118539" y="68991"/>
                    <a:pt x="117285" y="111013"/>
                  </a:cubicBezTo>
                  <a:lnTo>
                    <a:pt x="116657" y="131083"/>
                  </a:lnTo>
                  <a:lnTo>
                    <a:pt x="97215" y="126693"/>
                  </a:lnTo>
                  <a:cubicBezTo>
                    <a:pt x="93451" y="125438"/>
                    <a:pt x="89688" y="125438"/>
                    <a:pt x="86552" y="125438"/>
                  </a:cubicBezTo>
                  <a:lnTo>
                    <a:pt x="86552" y="125438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74" name="Gráfico 2">
              <a:extLst>
                <a:ext uri="{FF2B5EF4-FFF2-40B4-BE49-F238E27FC236}">
                  <a16:creationId xmlns:a16="http://schemas.microsoft.com/office/drawing/2014/main" id="{F5ABA5BB-819F-4501-AD77-3F762FEA4CEA}"/>
                </a:ext>
              </a:extLst>
            </p:cNvPr>
            <p:cNvGrpSpPr/>
            <p:nvPr/>
          </p:nvGrpSpPr>
          <p:grpSpPr>
            <a:xfrm>
              <a:off x="2397046" y="4970780"/>
              <a:ext cx="47039" cy="47039"/>
              <a:chOff x="2397046" y="4970780"/>
              <a:chExt cx="47039" cy="47039"/>
            </a:xfrm>
            <a:grpFill/>
          </p:grpSpPr>
          <p:sp>
            <p:nvSpPr>
              <p:cNvPr id="75" name="Forma Livre: Forma 74">
                <a:extLst>
                  <a:ext uri="{FF2B5EF4-FFF2-40B4-BE49-F238E27FC236}">
                    <a16:creationId xmlns:a16="http://schemas.microsoft.com/office/drawing/2014/main" id="{5C437B75-5FAF-4AC0-8FCF-D2A592C20F3C}"/>
                  </a:ext>
                </a:extLst>
              </p:cNvPr>
              <p:cNvSpPr/>
              <p:nvPr/>
            </p:nvSpPr>
            <p:spPr>
              <a:xfrm>
                <a:off x="2412726" y="4970780"/>
                <a:ext cx="16306" cy="47039"/>
              </a:xfrm>
              <a:custGeom>
                <a:avLst/>
                <a:gdLst>
                  <a:gd name="connsiteX0" fmla="*/ 8153 w 16306"/>
                  <a:gd name="connsiteY0" fmla="*/ 47039 h 47039"/>
                  <a:gd name="connsiteX1" fmla="*/ 0 w 16306"/>
                  <a:gd name="connsiteY1" fmla="*/ 38886 h 47039"/>
                  <a:gd name="connsiteX2" fmla="*/ 0 w 16306"/>
                  <a:gd name="connsiteY2" fmla="*/ 8154 h 47039"/>
                  <a:gd name="connsiteX3" fmla="*/ 8153 w 16306"/>
                  <a:gd name="connsiteY3" fmla="*/ 0 h 47039"/>
                  <a:gd name="connsiteX4" fmla="*/ 16307 w 16306"/>
                  <a:gd name="connsiteY4" fmla="*/ 8154 h 47039"/>
                  <a:gd name="connsiteX5" fmla="*/ 16307 w 16306"/>
                  <a:gd name="connsiteY5" fmla="*/ 38886 h 47039"/>
                  <a:gd name="connsiteX6" fmla="*/ 8153 w 16306"/>
                  <a:gd name="connsiteY6" fmla="*/ 47039 h 47039"/>
                  <a:gd name="connsiteX7" fmla="*/ 8153 w 16306"/>
                  <a:gd name="connsiteY7" fmla="*/ 47039 h 470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306" h="47039">
                    <a:moveTo>
                      <a:pt x="8153" y="47039"/>
                    </a:moveTo>
                    <a:cubicBezTo>
                      <a:pt x="3763" y="47039"/>
                      <a:pt x="0" y="43276"/>
                      <a:pt x="0" y="38886"/>
                    </a:cubicBezTo>
                    <a:lnTo>
                      <a:pt x="0" y="8154"/>
                    </a:lnTo>
                    <a:cubicBezTo>
                      <a:pt x="0" y="3763"/>
                      <a:pt x="3763" y="0"/>
                      <a:pt x="8153" y="0"/>
                    </a:cubicBezTo>
                    <a:cubicBezTo>
                      <a:pt x="12544" y="0"/>
                      <a:pt x="16307" y="3763"/>
                      <a:pt x="16307" y="8154"/>
                    </a:cubicBezTo>
                    <a:lnTo>
                      <a:pt x="16307" y="38886"/>
                    </a:lnTo>
                    <a:cubicBezTo>
                      <a:pt x="16307" y="43276"/>
                      <a:pt x="12544" y="47039"/>
                      <a:pt x="8153" y="47039"/>
                    </a:cubicBezTo>
                    <a:lnTo>
                      <a:pt x="8153" y="47039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76" name="Forma Livre: Forma 75">
                <a:extLst>
                  <a:ext uri="{FF2B5EF4-FFF2-40B4-BE49-F238E27FC236}">
                    <a16:creationId xmlns:a16="http://schemas.microsoft.com/office/drawing/2014/main" id="{5B0A322B-EA23-4B25-9E6F-9A8F90A768B9}"/>
                  </a:ext>
                </a:extLst>
              </p:cNvPr>
              <p:cNvSpPr/>
              <p:nvPr/>
            </p:nvSpPr>
            <p:spPr>
              <a:xfrm>
                <a:off x="2397046" y="4985833"/>
                <a:ext cx="47039" cy="16306"/>
              </a:xfrm>
              <a:custGeom>
                <a:avLst/>
                <a:gdLst>
                  <a:gd name="connsiteX0" fmla="*/ 38886 w 47039"/>
                  <a:gd name="connsiteY0" fmla="*/ 16307 h 16306"/>
                  <a:gd name="connsiteX1" fmla="*/ 8153 w 47039"/>
                  <a:gd name="connsiteY1" fmla="*/ 16307 h 16306"/>
                  <a:gd name="connsiteX2" fmla="*/ 0 w 47039"/>
                  <a:gd name="connsiteY2" fmla="*/ 8153 h 16306"/>
                  <a:gd name="connsiteX3" fmla="*/ 8153 w 47039"/>
                  <a:gd name="connsiteY3" fmla="*/ 0 h 16306"/>
                  <a:gd name="connsiteX4" fmla="*/ 38886 w 47039"/>
                  <a:gd name="connsiteY4" fmla="*/ 0 h 16306"/>
                  <a:gd name="connsiteX5" fmla="*/ 47039 w 47039"/>
                  <a:gd name="connsiteY5" fmla="*/ 8153 h 16306"/>
                  <a:gd name="connsiteX6" fmla="*/ 38886 w 47039"/>
                  <a:gd name="connsiteY6" fmla="*/ 16307 h 16306"/>
                  <a:gd name="connsiteX7" fmla="*/ 38886 w 47039"/>
                  <a:gd name="connsiteY7" fmla="*/ 16307 h 163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7039" h="16306">
                    <a:moveTo>
                      <a:pt x="38886" y="16307"/>
                    </a:moveTo>
                    <a:lnTo>
                      <a:pt x="8153" y="16307"/>
                    </a:lnTo>
                    <a:cubicBezTo>
                      <a:pt x="3763" y="16307"/>
                      <a:pt x="0" y="12544"/>
                      <a:pt x="0" y="8153"/>
                    </a:cubicBezTo>
                    <a:cubicBezTo>
                      <a:pt x="0" y="3763"/>
                      <a:pt x="3763" y="0"/>
                      <a:pt x="8153" y="0"/>
                    </a:cubicBezTo>
                    <a:lnTo>
                      <a:pt x="38886" y="0"/>
                    </a:lnTo>
                    <a:cubicBezTo>
                      <a:pt x="43276" y="0"/>
                      <a:pt x="47039" y="3763"/>
                      <a:pt x="47039" y="8153"/>
                    </a:cubicBezTo>
                    <a:cubicBezTo>
                      <a:pt x="47039" y="12544"/>
                      <a:pt x="43903" y="16307"/>
                      <a:pt x="38886" y="16307"/>
                    </a:cubicBezTo>
                    <a:lnTo>
                      <a:pt x="38886" y="16307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77" name="Gráfico 2">
              <a:extLst>
                <a:ext uri="{FF2B5EF4-FFF2-40B4-BE49-F238E27FC236}">
                  <a16:creationId xmlns:a16="http://schemas.microsoft.com/office/drawing/2014/main" id="{F5ABA5BB-819F-4501-AD77-3F762FEA4CEA}"/>
                </a:ext>
              </a:extLst>
            </p:cNvPr>
            <p:cNvGrpSpPr/>
            <p:nvPr/>
          </p:nvGrpSpPr>
          <p:grpSpPr>
            <a:xfrm>
              <a:off x="2489243" y="4970780"/>
              <a:ext cx="47039" cy="47039"/>
              <a:chOff x="2489243" y="4970780"/>
              <a:chExt cx="47039" cy="47039"/>
            </a:xfrm>
            <a:grpFill/>
          </p:grpSpPr>
          <p:sp>
            <p:nvSpPr>
              <p:cNvPr id="78" name="Forma Livre: Forma 77">
                <a:extLst>
                  <a:ext uri="{FF2B5EF4-FFF2-40B4-BE49-F238E27FC236}">
                    <a16:creationId xmlns:a16="http://schemas.microsoft.com/office/drawing/2014/main" id="{800E2CE5-9044-4497-BCE0-B1EE5F8D4751}"/>
                  </a:ext>
                </a:extLst>
              </p:cNvPr>
              <p:cNvSpPr/>
              <p:nvPr/>
            </p:nvSpPr>
            <p:spPr>
              <a:xfrm>
                <a:off x="2504296" y="4970780"/>
                <a:ext cx="16306" cy="47039"/>
              </a:xfrm>
              <a:custGeom>
                <a:avLst/>
                <a:gdLst>
                  <a:gd name="connsiteX0" fmla="*/ 8153 w 16306"/>
                  <a:gd name="connsiteY0" fmla="*/ 47039 h 47039"/>
                  <a:gd name="connsiteX1" fmla="*/ 0 w 16306"/>
                  <a:gd name="connsiteY1" fmla="*/ 38886 h 47039"/>
                  <a:gd name="connsiteX2" fmla="*/ 0 w 16306"/>
                  <a:gd name="connsiteY2" fmla="*/ 8154 h 47039"/>
                  <a:gd name="connsiteX3" fmla="*/ 8153 w 16306"/>
                  <a:gd name="connsiteY3" fmla="*/ 0 h 47039"/>
                  <a:gd name="connsiteX4" fmla="*/ 16307 w 16306"/>
                  <a:gd name="connsiteY4" fmla="*/ 8154 h 47039"/>
                  <a:gd name="connsiteX5" fmla="*/ 16307 w 16306"/>
                  <a:gd name="connsiteY5" fmla="*/ 38886 h 47039"/>
                  <a:gd name="connsiteX6" fmla="*/ 8153 w 16306"/>
                  <a:gd name="connsiteY6" fmla="*/ 47039 h 47039"/>
                  <a:gd name="connsiteX7" fmla="*/ 8153 w 16306"/>
                  <a:gd name="connsiteY7" fmla="*/ 47039 h 470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306" h="47039">
                    <a:moveTo>
                      <a:pt x="8153" y="47039"/>
                    </a:moveTo>
                    <a:cubicBezTo>
                      <a:pt x="3763" y="47039"/>
                      <a:pt x="0" y="43276"/>
                      <a:pt x="0" y="38886"/>
                    </a:cubicBezTo>
                    <a:lnTo>
                      <a:pt x="0" y="8154"/>
                    </a:lnTo>
                    <a:cubicBezTo>
                      <a:pt x="0" y="3763"/>
                      <a:pt x="3763" y="0"/>
                      <a:pt x="8153" y="0"/>
                    </a:cubicBezTo>
                    <a:cubicBezTo>
                      <a:pt x="12544" y="0"/>
                      <a:pt x="16307" y="3763"/>
                      <a:pt x="16307" y="8154"/>
                    </a:cubicBezTo>
                    <a:lnTo>
                      <a:pt x="16307" y="38886"/>
                    </a:lnTo>
                    <a:cubicBezTo>
                      <a:pt x="16307" y="43276"/>
                      <a:pt x="12544" y="47039"/>
                      <a:pt x="8153" y="47039"/>
                    </a:cubicBezTo>
                    <a:lnTo>
                      <a:pt x="8153" y="47039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79" name="Forma Livre: Forma 78">
                <a:extLst>
                  <a:ext uri="{FF2B5EF4-FFF2-40B4-BE49-F238E27FC236}">
                    <a16:creationId xmlns:a16="http://schemas.microsoft.com/office/drawing/2014/main" id="{F7B274D1-0A9D-42E7-92B3-F8C62644919F}"/>
                  </a:ext>
                </a:extLst>
              </p:cNvPr>
              <p:cNvSpPr/>
              <p:nvPr/>
            </p:nvSpPr>
            <p:spPr>
              <a:xfrm>
                <a:off x="2489243" y="4985833"/>
                <a:ext cx="47039" cy="16306"/>
              </a:xfrm>
              <a:custGeom>
                <a:avLst/>
                <a:gdLst>
                  <a:gd name="connsiteX0" fmla="*/ 38886 w 47039"/>
                  <a:gd name="connsiteY0" fmla="*/ 16307 h 16306"/>
                  <a:gd name="connsiteX1" fmla="*/ 8153 w 47039"/>
                  <a:gd name="connsiteY1" fmla="*/ 16307 h 16306"/>
                  <a:gd name="connsiteX2" fmla="*/ 0 w 47039"/>
                  <a:gd name="connsiteY2" fmla="*/ 8153 h 16306"/>
                  <a:gd name="connsiteX3" fmla="*/ 8153 w 47039"/>
                  <a:gd name="connsiteY3" fmla="*/ 0 h 16306"/>
                  <a:gd name="connsiteX4" fmla="*/ 38886 w 47039"/>
                  <a:gd name="connsiteY4" fmla="*/ 0 h 16306"/>
                  <a:gd name="connsiteX5" fmla="*/ 47039 w 47039"/>
                  <a:gd name="connsiteY5" fmla="*/ 8153 h 16306"/>
                  <a:gd name="connsiteX6" fmla="*/ 38886 w 47039"/>
                  <a:gd name="connsiteY6" fmla="*/ 16307 h 16306"/>
                  <a:gd name="connsiteX7" fmla="*/ 38886 w 47039"/>
                  <a:gd name="connsiteY7" fmla="*/ 16307 h 163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7039" h="16306">
                    <a:moveTo>
                      <a:pt x="38886" y="16307"/>
                    </a:moveTo>
                    <a:lnTo>
                      <a:pt x="8153" y="16307"/>
                    </a:lnTo>
                    <a:cubicBezTo>
                      <a:pt x="3763" y="16307"/>
                      <a:pt x="0" y="12544"/>
                      <a:pt x="0" y="8153"/>
                    </a:cubicBezTo>
                    <a:cubicBezTo>
                      <a:pt x="0" y="3763"/>
                      <a:pt x="3763" y="0"/>
                      <a:pt x="8153" y="0"/>
                    </a:cubicBezTo>
                    <a:lnTo>
                      <a:pt x="38886" y="0"/>
                    </a:lnTo>
                    <a:cubicBezTo>
                      <a:pt x="43276" y="0"/>
                      <a:pt x="47039" y="3763"/>
                      <a:pt x="47039" y="8153"/>
                    </a:cubicBezTo>
                    <a:cubicBezTo>
                      <a:pt x="47039" y="12544"/>
                      <a:pt x="43276" y="16307"/>
                      <a:pt x="38886" y="16307"/>
                    </a:cubicBezTo>
                    <a:lnTo>
                      <a:pt x="38886" y="16307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80" name="Gráfico 2">
              <a:extLst>
                <a:ext uri="{FF2B5EF4-FFF2-40B4-BE49-F238E27FC236}">
                  <a16:creationId xmlns:a16="http://schemas.microsoft.com/office/drawing/2014/main" id="{F5ABA5BB-819F-4501-AD77-3F762FEA4CEA}"/>
                </a:ext>
              </a:extLst>
            </p:cNvPr>
            <p:cNvGrpSpPr/>
            <p:nvPr/>
          </p:nvGrpSpPr>
          <p:grpSpPr>
            <a:xfrm>
              <a:off x="2580813" y="4970780"/>
              <a:ext cx="47039" cy="47039"/>
              <a:chOff x="2580813" y="4970780"/>
              <a:chExt cx="47039" cy="47039"/>
            </a:xfrm>
            <a:grpFill/>
          </p:grpSpPr>
          <p:sp>
            <p:nvSpPr>
              <p:cNvPr id="81" name="Forma Livre: Forma 80">
                <a:extLst>
                  <a:ext uri="{FF2B5EF4-FFF2-40B4-BE49-F238E27FC236}">
                    <a16:creationId xmlns:a16="http://schemas.microsoft.com/office/drawing/2014/main" id="{159BED93-F360-414B-8FD0-D9C756C5E5D3}"/>
                  </a:ext>
                </a:extLst>
              </p:cNvPr>
              <p:cNvSpPr/>
              <p:nvPr/>
            </p:nvSpPr>
            <p:spPr>
              <a:xfrm>
                <a:off x="2595866" y="4970780"/>
                <a:ext cx="16306" cy="47039"/>
              </a:xfrm>
              <a:custGeom>
                <a:avLst/>
                <a:gdLst>
                  <a:gd name="connsiteX0" fmla="*/ 8153 w 16306"/>
                  <a:gd name="connsiteY0" fmla="*/ 47039 h 47039"/>
                  <a:gd name="connsiteX1" fmla="*/ 0 w 16306"/>
                  <a:gd name="connsiteY1" fmla="*/ 38886 h 47039"/>
                  <a:gd name="connsiteX2" fmla="*/ 0 w 16306"/>
                  <a:gd name="connsiteY2" fmla="*/ 8154 h 47039"/>
                  <a:gd name="connsiteX3" fmla="*/ 8153 w 16306"/>
                  <a:gd name="connsiteY3" fmla="*/ 0 h 47039"/>
                  <a:gd name="connsiteX4" fmla="*/ 16307 w 16306"/>
                  <a:gd name="connsiteY4" fmla="*/ 8154 h 47039"/>
                  <a:gd name="connsiteX5" fmla="*/ 16307 w 16306"/>
                  <a:gd name="connsiteY5" fmla="*/ 38886 h 47039"/>
                  <a:gd name="connsiteX6" fmla="*/ 8153 w 16306"/>
                  <a:gd name="connsiteY6" fmla="*/ 47039 h 47039"/>
                  <a:gd name="connsiteX7" fmla="*/ 8153 w 16306"/>
                  <a:gd name="connsiteY7" fmla="*/ 47039 h 470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306" h="47039">
                    <a:moveTo>
                      <a:pt x="8153" y="47039"/>
                    </a:moveTo>
                    <a:cubicBezTo>
                      <a:pt x="3763" y="47039"/>
                      <a:pt x="0" y="43276"/>
                      <a:pt x="0" y="38886"/>
                    </a:cubicBezTo>
                    <a:lnTo>
                      <a:pt x="0" y="8154"/>
                    </a:lnTo>
                    <a:cubicBezTo>
                      <a:pt x="0" y="3763"/>
                      <a:pt x="3763" y="0"/>
                      <a:pt x="8153" y="0"/>
                    </a:cubicBezTo>
                    <a:cubicBezTo>
                      <a:pt x="12544" y="0"/>
                      <a:pt x="16307" y="3763"/>
                      <a:pt x="16307" y="8154"/>
                    </a:cubicBezTo>
                    <a:lnTo>
                      <a:pt x="16307" y="38886"/>
                    </a:lnTo>
                    <a:cubicBezTo>
                      <a:pt x="16307" y="43276"/>
                      <a:pt x="12544" y="47039"/>
                      <a:pt x="8153" y="47039"/>
                    </a:cubicBezTo>
                    <a:lnTo>
                      <a:pt x="8153" y="47039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82" name="Forma Livre: Forma 81">
                <a:extLst>
                  <a:ext uri="{FF2B5EF4-FFF2-40B4-BE49-F238E27FC236}">
                    <a16:creationId xmlns:a16="http://schemas.microsoft.com/office/drawing/2014/main" id="{0ABC26CB-2D7F-42A7-80DC-7CE71280AE64}"/>
                  </a:ext>
                </a:extLst>
              </p:cNvPr>
              <p:cNvSpPr/>
              <p:nvPr/>
            </p:nvSpPr>
            <p:spPr>
              <a:xfrm>
                <a:off x="2580813" y="4985833"/>
                <a:ext cx="47039" cy="16306"/>
              </a:xfrm>
              <a:custGeom>
                <a:avLst/>
                <a:gdLst>
                  <a:gd name="connsiteX0" fmla="*/ 38886 w 47039"/>
                  <a:gd name="connsiteY0" fmla="*/ 16307 h 16306"/>
                  <a:gd name="connsiteX1" fmla="*/ 8153 w 47039"/>
                  <a:gd name="connsiteY1" fmla="*/ 16307 h 16306"/>
                  <a:gd name="connsiteX2" fmla="*/ 0 w 47039"/>
                  <a:gd name="connsiteY2" fmla="*/ 8153 h 16306"/>
                  <a:gd name="connsiteX3" fmla="*/ 8153 w 47039"/>
                  <a:gd name="connsiteY3" fmla="*/ 0 h 16306"/>
                  <a:gd name="connsiteX4" fmla="*/ 38886 w 47039"/>
                  <a:gd name="connsiteY4" fmla="*/ 0 h 16306"/>
                  <a:gd name="connsiteX5" fmla="*/ 47039 w 47039"/>
                  <a:gd name="connsiteY5" fmla="*/ 8153 h 16306"/>
                  <a:gd name="connsiteX6" fmla="*/ 38886 w 47039"/>
                  <a:gd name="connsiteY6" fmla="*/ 16307 h 16306"/>
                  <a:gd name="connsiteX7" fmla="*/ 38886 w 47039"/>
                  <a:gd name="connsiteY7" fmla="*/ 16307 h 163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7039" h="16306">
                    <a:moveTo>
                      <a:pt x="38886" y="16307"/>
                    </a:moveTo>
                    <a:lnTo>
                      <a:pt x="8153" y="16307"/>
                    </a:lnTo>
                    <a:cubicBezTo>
                      <a:pt x="3763" y="16307"/>
                      <a:pt x="0" y="12544"/>
                      <a:pt x="0" y="8153"/>
                    </a:cubicBezTo>
                    <a:cubicBezTo>
                      <a:pt x="0" y="3763"/>
                      <a:pt x="3763" y="0"/>
                      <a:pt x="8153" y="0"/>
                    </a:cubicBezTo>
                    <a:lnTo>
                      <a:pt x="38886" y="0"/>
                    </a:lnTo>
                    <a:cubicBezTo>
                      <a:pt x="43276" y="0"/>
                      <a:pt x="47039" y="3763"/>
                      <a:pt x="47039" y="8153"/>
                    </a:cubicBezTo>
                    <a:cubicBezTo>
                      <a:pt x="47039" y="12544"/>
                      <a:pt x="43276" y="16307"/>
                      <a:pt x="38886" y="16307"/>
                    </a:cubicBezTo>
                    <a:lnTo>
                      <a:pt x="38886" y="16307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83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4308724" y="4686036"/>
            <a:ext cx="497362" cy="331156"/>
            <a:chOff x="4308724" y="4686036"/>
            <a:chExt cx="497362" cy="331156"/>
          </a:xfrm>
          <a:solidFill>
            <a:srgbClr val="B1B1A1"/>
          </a:solidFill>
        </p:grpSpPr>
        <p:sp>
          <p:nvSpPr>
            <p:cNvPr id="84" name="Forma Livre: Forma 83">
              <a:extLst>
                <a:ext uri="{FF2B5EF4-FFF2-40B4-BE49-F238E27FC236}">
                  <a16:creationId xmlns:a16="http://schemas.microsoft.com/office/drawing/2014/main" id="{DD535A23-A551-4C39-BA0A-9DCD2E89022F}"/>
                </a:ext>
              </a:extLst>
            </p:cNvPr>
            <p:cNvSpPr/>
            <p:nvPr/>
          </p:nvSpPr>
          <p:spPr>
            <a:xfrm>
              <a:off x="4308724" y="4752518"/>
              <a:ext cx="413318" cy="264674"/>
            </a:xfrm>
            <a:custGeom>
              <a:avLst/>
              <a:gdLst>
                <a:gd name="connsiteX0" fmla="*/ 319240 w 413318"/>
                <a:gd name="connsiteY0" fmla="*/ 264675 h 264674"/>
                <a:gd name="connsiteX1" fmla="*/ 84671 w 413318"/>
                <a:gd name="connsiteY1" fmla="*/ 264675 h 264674"/>
                <a:gd name="connsiteX2" fmla="*/ 60837 w 413318"/>
                <a:gd name="connsiteY2" fmla="*/ 260912 h 264674"/>
                <a:gd name="connsiteX3" fmla="*/ 0 w 413318"/>
                <a:gd name="connsiteY3" fmla="*/ 178122 h 264674"/>
                <a:gd name="connsiteX4" fmla="*/ 85925 w 413318"/>
                <a:gd name="connsiteY4" fmla="*/ 91570 h 264674"/>
                <a:gd name="connsiteX5" fmla="*/ 195684 w 413318"/>
                <a:gd name="connsiteY5" fmla="*/ 0 h 264674"/>
                <a:gd name="connsiteX6" fmla="*/ 299170 w 413318"/>
                <a:gd name="connsiteY6" fmla="*/ 69618 h 264674"/>
                <a:gd name="connsiteX7" fmla="*/ 315477 w 413318"/>
                <a:gd name="connsiteY7" fmla="*/ 68364 h 264674"/>
                <a:gd name="connsiteX8" fmla="*/ 413319 w 413318"/>
                <a:gd name="connsiteY8" fmla="*/ 166206 h 264674"/>
                <a:gd name="connsiteX9" fmla="*/ 344955 w 413318"/>
                <a:gd name="connsiteY9" fmla="*/ 259657 h 264674"/>
                <a:gd name="connsiteX10" fmla="*/ 319240 w 413318"/>
                <a:gd name="connsiteY10" fmla="*/ 264675 h 264674"/>
                <a:gd name="connsiteX11" fmla="*/ 319240 w 413318"/>
                <a:gd name="connsiteY11" fmla="*/ 264675 h 264674"/>
                <a:gd name="connsiteX12" fmla="*/ 85925 w 413318"/>
                <a:gd name="connsiteY12" fmla="*/ 125438 h 264674"/>
                <a:gd name="connsiteX13" fmla="*/ 32614 w 413318"/>
                <a:gd name="connsiteY13" fmla="*/ 178749 h 264674"/>
                <a:gd name="connsiteX14" fmla="*/ 70245 w 413318"/>
                <a:gd name="connsiteY14" fmla="*/ 229552 h 264674"/>
                <a:gd name="connsiteX15" fmla="*/ 84044 w 413318"/>
                <a:gd name="connsiteY15" fmla="*/ 232061 h 264674"/>
                <a:gd name="connsiteX16" fmla="*/ 318613 w 413318"/>
                <a:gd name="connsiteY16" fmla="*/ 232061 h 264674"/>
                <a:gd name="connsiteX17" fmla="*/ 333038 w 413318"/>
                <a:gd name="connsiteY17" fmla="*/ 229552 h 264674"/>
                <a:gd name="connsiteX18" fmla="*/ 379450 w 413318"/>
                <a:gd name="connsiteY18" fmla="*/ 167460 h 264674"/>
                <a:gd name="connsiteX19" fmla="*/ 314850 w 413318"/>
                <a:gd name="connsiteY19" fmla="*/ 102859 h 264674"/>
                <a:gd name="connsiteX20" fmla="*/ 292898 w 413318"/>
                <a:gd name="connsiteY20" fmla="*/ 106622 h 264674"/>
                <a:gd name="connsiteX21" fmla="*/ 275337 w 413318"/>
                <a:gd name="connsiteY21" fmla="*/ 112894 h 264674"/>
                <a:gd name="connsiteX22" fmla="*/ 270947 w 413318"/>
                <a:gd name="connsiteY22" fmla="*/ 94706 h 264674"/>
                <a:gd name="connsiteX23" fmla="*/ 195056 w 413318"/>
                <a:gd name="connsiteY23" fmla="*/ 34495 h 264674"/>
                <a:gd name="connsiteX24" fmla="*/ 116657 w 413318"/>
                <a:gd name="connsiteY24" fmla="*/ 111013 h 264674"/>
                <a:gd name="connsiteX25" fmla="*/ 116030 w 413318"/>
                <a:gd name="connsiteY25" fmla="*/ 131083 h 264674"/>
                <a:gd name="connsiteX26" fmla="*/ 96587 w 413318"/>
                <a:gd name="connsiteY26" fmla="*/ 126693 h 264674"/>
                <a:gd name="connsiteX27" fmla="*/ 85925 w 413318"/>
                <a:gd name="connsiteY27" fmla="*/ 125438 h 264674"/>
                <a:gd name="connsiteX28" fmla="*/ 85925 w 413318"/>
                <a:gd name="connsiteY28" fmla="*/ 125438 h 264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13318" h="264674">
                  <a:moveTo>
                    <a:pt x="319240" y="264675"/>
                  </a:moveTo>
                  <a:lnTo>
                    <a:pt x="84671" y="264675"/>
                  </a:lnTo>
                  <a:cubicBezTo>
                    <a:pt x="76517" y="264675"/>
                    <a:pt x="68991" y="263420"/>
                    <a:pt x="60837" y="260912"/>
                  </a:cubicBezTo>
                  <a:cubicBezTo>
                    <a:pt x="25088" y="250249"/>
                    <a:pt x="0" y="216381"/>
                    <a:pt x="0" y="178122"/>
                  </a:cubicBezTo>
                  <a:cubicBezTo>
                    <a:pt x="0" y="130456"/>
                    <a:pt x="38258" y="92197"/>
                    <a:pt x="85925" y="91570"/>
                  </a:cubicBezTo>
                  <a:cubicBezTo>
                    <a:pt x="95333" y="39513"/>
                    <a:pt x="141118" y="0"/>
                    <a:pt x="195684" y="0"/>
                  </a:cubicBezTo>
                  <a:cubicBezTo>
                    <a:pt x="242096" y="0"/>
                    <a:pt x="282236" y="28224"/>
                    <a:pt x="299170" y="69618"/>
                  </a:cubicBezTo>
                  <a:cubicBezTo>
                    <a:pt x="304815" y="68991"/>
                    <a:pt x="309832" y="68364"/>
                    <a:pt x="315477" y="68364"/>
                  </a:cubicBezTo>
                  <a:cubicBezTo>
                    <a:pt x="369415" y="68364"/>
                    <a:pt x="413319" y="112267"/>
                    <a:pt x="413319" y="166206"/>
                  </a:cubicBezTo>
                  <a:cubicBezTo>
                    <a:pt x="413319" y="209482"/>
                    <a:pt x="385722" y="246486"/>
                    <a:pt x="344955" y="259657"/>
                  </a:cubicBezTo>
                  <a:cubicBezTo>
                    <a:pt x="336802" y="263420"/>
                    <a:pt x="328021" y="264675"/>
                    <a:pt x="319240" y="264675"/>
                  </a:cubicBezTo>
                  <a:lnTo>
                    <a:pt x="319240" y="264675"/>
                  </a:lnTo>
                  <a:close/>
                  <a:moveTo>
                    <a:pt x="85925" y="125438"/>
                  </a:moveTo>
                  <a:cubicBezTo>
                    <a:pt x="56447" y="125438"/>
                    <a:pt x="32614" y="149271"/>
                    <a:pt x="32614" y="178749"/>
                  </a:cubicBezTo>
                  <a:cubicBezTo>
                    <a:pt x="32614" y="201956"/>
                    <a:pt x="48294" y="222653"/>
                    <a:pt x="70245" y="229552"/>
                  </a:cubicBezTo>
                  <a:cubicBezTo>
                    <a:pt x="75263" y="230806"/>
                    <a:pt x="79653" y="232061"/>
                    <a:pt x="84044" y="232061"/>
                  </a:cubicBezTo>
                  <a:lnTo>
                    <a:pt x="318613" y="232061"/>
                  </a:lnTo>
                  <a:cubicBezTo>
                    <a:pt x="323630" y="232061"/>
                    <a:pt x="328648" y="231434"/>
                    <a:pt x="333038" y="229552"/>
                  </a:cubicBezTo>
                  <a:cubicBezTo>
                    <a:pt x="361262" y="220771"/>
                    <a:pt x="379450" y="195684"/>
                    <a:pt x="379450" y="167460"/>
                  </a:cubicBezTo>
                  <a:cubicBezTo>
                    <a:pt x="379450" y="131710"/>
                    <a:pt x="350599" y="102859"/>
                    <a:pt x="314850" y="102859"/>
                  </a:cubicBezTo>
                  <a:cubicBezTo>
                    <a:pt x="307324" y="102859"/>
                    <a:pt x="300424" y="104114"/>
                    <a:pt x="292898" y="106622"/>
                  </a:cubicBezTo>
                  <a:lnTo>
                    <a:pt x="275337" y="112894"/>
                  </a:lnTo>
                  <a:lnTo>
                    <a:pt x="270947" y="94706"/>
                  </a:lnTo>
                  <a:cubicBezTo>
                    <a:pt x="262793" y="58956"/>
                    <a:pt x="231433" y="34495"/>
                    <a:pt x="195056" y="34495"/>
                  </a:cubicBezTo>
                  <a:cubicBezTo>
                    <a:pt x="153035" y="34495"/>
                    <a:pt x="117912" y="68991"/>
                    <a:pt x="116657" y="111013"/>
                  </a:cubicBezTo>
                  <a:lnTo>
                    <a:pt x="116030" y="131083"/>
                  </a:lnTo>
                  <a:lnTo>
                    <a:pt x="96587" y="126693"/>
                  </a:lnTo>
                  <a:cubicBezTo>
                    <a:pt x="93451" y="126066"/>
                    <a:pt x="89688" y="125438"/>
                    <a:pt x="85925" y="125438"/>
                  </a:cubicBezTo>
                  <a:lnTo>
                    <a:pt x="85925" y="125438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85" name="Forma Livre: Forma 84">
              <a:extLst>
                <a:ext uri="{FF2B5EF4-FFF2-40B4-BE49-F238E27FC236}">
                  <a16:creationId xmlns:a16="http://schemas.microsoft.com/office/drawing/2014/main" id="{C7122AB9-2152-47C6-A43E-8C4879897FCF}"/>
                </a:ext>
              </a:extLst>
            </p:cNvPr>
            <p:cNvSpPr/>
            <p:nvPr/>
          </p:nvSpPr>
          <p:spPr>
            <a:xfrm>
              <a:off x="4520087" y="4686036"/>
              <a:ext cx="285998" cy="230179"/>
            </a:xfrm>
            <a:custGeom>
              <a:avLst/>
              <a:gdLst>
                <a:gd name="connsiteX0" fmla="*/ 203837 w 285998"/>
                <a:gd name="connsiteY0" fmla="*/ 230179 h 230179"/>
                <a:gd name="connsiteX1" fmla="*/ 181885 w 285998"/>
                <a:gd name="connsiteY1" fmla="*/ 230179 h 230179"/>
                <a:gd name="connsiteX2" fmla="*/ 181885 w 285998"/>
                <a:gd name="connsiteY2" fmla="*/ 196938 h 230179"/>
                <a:gd name="connsiteX3" fmla="*/ 203837 w 285998"/>
                <a:gd name="connsiteY3" fmla="*/ 196938 h 230179"/>
                <a:gd name="connsiteX4" fmla="*/ 215126 w 285998"/>
                <a:gd name="connsiteY4" fmla="*/ 195056 h 230179"/>
                <a:gd name="connsiteX5" fmla="*/ 252758 w 285998"/>
                <a:gd name="connsiteY5" fmla="*/ 144254 h 230179"/>
                <a:gd name="connsiteX6" fmla="*/ 200074 w 285998"/>
                <a:gd name="connsiteY6" fmla="*/ 91570 h 230179"/>
                <a:gd name="connsiteX7" fmla="*/ 182512 w 285998"/>
                <a:gd name="connsiteY7" fmla="*/ 94706 h 230179"/>
                <a:gd name="connsiteX8" fmla="*/ 164951 w 285998"/>
                <a:gd name="connsiteY8" fmla="*/ 100978 h 230179"/>
                <a:gd name="connsiteX9" fmla="*/ 160561 w 285998"/>
                <a:gd name="connsiteY9" fmla="*/ 82789 h 230179"/>
                <a:gd name="connsiteX10" fmla="*/ 97842 w 285998"/>
                <a:gd name="connsiteY10" fmla="*/ 33241 h 230179"/>
                <a:gd name="connsiteX11" fmla="*/ 33241 w 285998"/>
                <a:gd name="connsiteY11" fmla="*/ 96587 h 230179"/>
                <a:gd name="connsiteX12" fmla="*/ 0 w 285998"/>
                <a:gd name="connsiteY12" fmla="*/ 95960 h 230179"/>
                <a:gd name="connsiteX13" fmla="*/ 97842 w 285998"/>
                <a:gd name="connsiteY13" fmla="*/ 0 h 230179"/>
                <a:gd name="connsiteX14" fmla="*/ 187530 w 285998"/>
                <a:gd name="connsiteY14" fmla="*/ 59583 h 230179"/>
                <a:gd name="connsiteX15" fmla="*/ 200074 w 285998"/>
                <a:gd name="connsiteY15" fmla="*/ 58956 h 230179"/>
                <a:gd name="connsiteX16" fmla="*/ 285999 w 285998"/>
                <a:gd name="connsiteY16" fmla="*/ 144881 h 230179"/>
                <a:gd name="connsiteX17" fmla="*/ 225789 w 285998"/>
                <a:gd name="connsiteY17" fmla="*/ 227043 h 230179"/>
                <a:gd name="connsiteX18" fmla="*/ 203837 w 285998"/>
                <a:gd name="connsiteY18" fmla="*/ 230179 h 230179"/>
                <a:gd name="connsiteX19" fmla="*/ 203837 w 285998"/>
                <a:gd name="connsiteY19" fmla="*/ 230179 h 230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85998" h="230179">
                  <a:moveTo>
                    <a:pt x="203837" y="230179"/>
                  </a:moveTo>
                  <a:lnTo>
                    <a:pt x="181885" y="230179"/>
                  </a:lnTo>
                  <a:lnTo>
                    <a:pt x="181885" y="196938"/>
                  </a:lnTo>
                  <a:lnTo>
                    <a:pt x="203837" y="196938"/>
                  </a:lnTo>
                  <a:cubicBezTo>
                    <a:pt x="207600" y="196938"/>
                    <a:pt x="211363" y="196311"/>
                    <a:pt x="215126" y="195056"/>
                  </a:cubicBezTo>
                  <a:cubicBezTo>
                    <a:pt x="238333" y="187530"/>
                    <a:pt x="252758" y="167460"/>
                    <a:pt x="252758" y="144254"/>
                  </a:cubicBezTo>
                  <a:cubicBezTo>
                    <a:pt x="252758" y="115403"/>
                    <a:pt x="228925" y="91570"/>
                    <a:pt x="200074" y="91570"/>
                  </a:cubicBezTo>
                  <a:cubicBezTo>
                    <a:pt x="193802" y="91570"/>
                    <a:pt x="188157" y="92824"/>
                    <a:pt x="182512" y="94706"/>
                  </a:cubicBezTo>
                  <a:lnTo>
                    <a:pt x="164951" y="100978"/>
                  </a:lnTo>
                  <a:lnTo>
                    <a:pt x="160561" y="82789"/>
                  </a:lnTo>
                  <a:cubicBezTo>
                    <a:pt x="153662" y="53311"/>
                    <a:pt x="127947" y="33241"/>
                    <a:pt x="97842" y="33241"/>
                  </a:cubicBezTo>
                  <a:cubicBezTo>
                    <a:pt x="63346" y="33241"/>
                    <a:pt x="33868" y="61465"/>
                    <a:pt x="33241" y="96587"/>
                  </a:cubicBezTo>
                  <a:lnTo>
                    <a:pt x="0" y="95960"/>
                  </a:lnTo>
                  <a:cubicBezTo>
                    <a:pt x="1254" y="43276"/>
                    <a:pt x="45157" y="0"/>
                    <a:pt x="97842" y="0"/>
                  </a:cubicBezTo>
                  <a:cubicBezTo>
                    <a:pt x="137355" y="0"/>
                    <a:pt x="172477" y="23833"/>
                    <a:pt x="187530" y="59583"/>
                  </a:cubicBezTo>
                  <a:cubicBezTo>
                    <a:pt x="191920" y="58956"/>
                    <a:pt x="195683" y="58956"/>
                    <a:pt x="200074" y="58956"/>
                  </a:cubicBezTo>
                  <a:cubicBezTo>
                    <a:pt x="247740" y="58956"/>
                    <a:pt x="285999" y="97842"/>
                    <a:pt x="285999" y="144881"/>
                  </a:cubicBezTo>
                  <a:cubicBezTo>
                    <a:pt x="285999" y="182512"/>
                    <a:pt x="261538" y="215753"/>
                    <a:pt x="225789" y="227043"/>
                  </a:cubicBezTo>
                  <a:cubicBezTo>
                    <a:pt x="219517" y="228925"/>
                    <a:pt x="211363" y="230179"/>
                    <a:pt x="203837" y="230179"/>
                  </a:cubicBezTo>
                  <a:lnTo>
                    <a:pt x="203837" y="230179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86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3332188" y="4645895"/>
            <a:ext cx="413318" cy="402029"/>
            <a:chOff x="3332188" y="4645895"/>
            <a:chExt cx="413318" cy="402029"/>
          </a:xfrm>
          <a:solidFill>
            <a:srgbClr val="B1B1A1"/>
          </a:solidFill>
        </p:grpSpPr>
        <p:sp>
          <p:nvSpPr>
            <p:cNvPr id="87" name="Forma Livre: Forma 86">
              <a:extLst>
                <a:ext uri="{FF2B5EF4-FFF2-40B4-BE49-F238E27FC236}">
                  <a16:creationId xmlns:a16="http://schemas.microsoft.com/office/drawing/2014/main" id="{4439EA5F-7101-4092-909F-3A2708DBCB14}"/>
                </a:ext>
              </a:extLst>
            </p:cNvPr>
            <p:cNvSpPr/>
            <p:nvPr/>
          </p:nvSpPr>
          <p:spPr>
            <a:xfrm>
              <a:off x="3332188" y="4645895"/>
              <a:ext cx="413318" cy="264674"/>
            </a:xfrm>
            <a:custGeom>
              <a:avLst/>
              <a:gdLst>
                <a:gd name="connsiteX0" fmla="*/ 319240 w 413318"/>
                <a:gd name="connsiteY0" fmla="*/ 264675 h 264674"/>
                <a:gd name="connsiteX1" fmla="*/ 84671 w 413318"/>
                <a:gd name="connsiteY1" fmla="*/ 264675 h 264674"/>
                <a:gd name="connsiteX2" fmla="*/ 60838 w 413318"/>
                <a:gd name="connsiteY2" fmla="*/ 260912 h 264674"/>
                <a:gd name="connsiteX3" fmla="*/ 0 w 413318"/>
                <a:gd name="connsiteY3" fmla="*/ 178122 h 264674"/>
                <a:gd name="connsiteX4" fmla="*/ 85925 w 413318"/>
                <a:gd name="connsiteY4" fmla="*/ 91570 h 264674"/>
                <a:gd name="connsiteX5" fmla="*/ 195684 w 413318"/>
                <a:gd name="connsiteY5" fmla="*/ 0 h 264674"/>
                <a:gd name="connsiteX6" fmla="*/ 299170 w 413318"/>
                <a:gd name="connsiteY6" fmla="*/ 69618 h 264674"/>
                <a:gd name="connsiteX7" fmla="*/ 315477 w 413318"/>
                <a:gd name="connsiteY7" fmla="*/ 68364 h 264674"/>
                <a:gd name="connsiteX8" fmla="*/ 413319 w 413318"/>
                <a:gd name="connsiteY8" fmla="*/ 166206 h 264674"/>
                <a:gd name="connsiteX9" fmla="*/ 344955 w 413318"/>
                <a:gd name="connsiteY9" fmla="*/ 259657 h 264674"/>
                <a:gd name="connsiteX10" fmla="*/ 319240 w 413318"/>
                <a:gd name="connsiteY10" fmla="*/ 264675 h 264674"/>
                <a:gd name="connsiteX11" fmla="*/ 319240 w 413318"/>
                <a:gd name="connsiteY11" fmla="*/ 264675 h 264674"/>
                <a:gd name="connsiteX12" fmla="*/ 85925 w 413318"/>
                <a:gd name="connsiteY12" fmla="*/ 125438 h 264674"/>
                <a:gd name="connsiteX13" fmla="*/ 32614 w 413318"/>
                <a:gd name="connsiteY13" fmla="*/ 178749 h 264674"/>
                <a:gd name="connsiteX14" fmla="*/ 70245 w 413318"/>
                <a:gd name="connsiteY14" fmla="*/ 229552 h 264674"/>
                <a:gd name="connsiteX15" fmla="*/ 84044 w 413318"/>
                <a:gd name="connsiteY15" fmla="*/ 232061 h 264674"/>
                <a:gd name="connsiteX16" fmla="*/ 318613 w 413318"/>
                <a:gd name="connsiteY16" fmla="*/ 232061 h 264674"/>
                <a:gd name="connsiteX17" fmla="*/ 333038 w 413318"/>
                <a:gd name="connsiteY17" fmla="*/ 229552 h 264674"/>
                <a:gd name="connsiteX18" fmla="*/ 378823 w 413318"/>
                <a:gd name="connsiteY18" fmla="*/ 167460 h 264674"/>
                <a:gd name="connsiteX19" fmla="*/ 314223 w 413318"/>
                <a:gd name="connsiteY19" fmla="*/ 102859 h 264674"/>
                <a:gd name="connsiteX20" fmla="*/ 292271 w 413318"/>
                <a:gd name="connsiteY20" fmla="*/ 106622 h 264674"/>
                <a:gd name="connsiteX21" fmla="*/ 274710 w 413318"/>
                <a:gd name="connsiteY21" fmla="*/ 112894 h 264674"/>
                <a:gd name="connsiteX22" fmla="*/ 270319 w 413318"/>
                <a:gd name="connsiteY22" fmla="*/ 94706 h 264674"/>
                <a:gd name="connsiteX23" fmla="*/ 194429 w 413318"/>
                <a:gd name="connsiteY23" fmla="*/ 34495 h 264674"/>
                <a:gd name="connsiteX24" fmla="*/ 116030 w 413318"/>
                <a:gd name="connsiteY24" fmla="*/ 111013 h 264674"/>
                <a:gd name="connsiteX25" fmla="*/ 115403 w 413318"/>
                <a:gd name="connsiteY25" fmla="*/ 131083 h 264674"/>
                <a:gd name="connsiteX26" fmla="*/ 95960 w 413318"/>
                <a:gd name="connsiteY26" fmla="*/ 126693 h 264674"/>
                <a:gd name="connsiteX27" fmla="*/ 85925 w 413318"/>
                <a:gd name="connsiteY27" fmla="*/ 125438 h 264674"/>
                <a:gd name="connsiteX28" fmla="*/ 85925 w 413318"/>
                <a:gd name="connsiteY28" fmla="*/ 125438 h 264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13318" h="264674">
                  <a:moveTo>
                    <a:pt x="319240" y="264675"/>
                  </a:moveTo>
                  <a:lnTo>
                    <a:pt x="84671" y="264675"/>
                  </a:lnTo>
                  <a:cubicBezTo>
                    <a:pt x="76517" y="264675"/>
                    <a:pt x="68991" y="263420"/>
                    <a:pt x="60838" y="260912"/>
                  </a:cubicBezTo>
                  <a:cubicBezTo>
                    <a:pt x="25088" y="250249"/>
                    <a:pt x="0" y="216381"/>
                    <a:pt x="0" y="178122"/>
                  </a:cubicBezTo>
                  <a:cubicBezTo>
                    <a:pt x="0" y="130456"/>
                    <a:pt x="38259" y="92197"/>
                    <a:pt x="85925" y="91570"/>
                  </a:cubicBezTo>
                  <a:cubicBezTo>
                    <a:pt x="95333" y="39513"/>
                    <a:pt x="141118" y="0"/>
                    <a:pt x="195684" y="0"/>
                  </a:cubicBezTo>
                  <a:cubicBezTo>
                    <a:pt x="242096" y="0"/>
                    <a:pt x="282236" y="28224"/>
                    <a:pt x="299170" y="69618"/>
                  </a:cubicBezTo>
                  <a:cubicBezTo>
                    <a:pt x="304815" y="68364"/>
                    <a:pt x="309832" y="68364"/>
                    <a:pt x="315477" y="68364"/>
                  </a:cubicBezTo>
                  <a:cubicBezTo>
                    <a:pt x="369415" y="68364"/>
                    <a:pt x="413319" y="112267"/>
                    <a:pt x="413319" y="166206"/>
                  </a:cubicBezTo>
                  <a:cubicBezTo>
                    <a:pt x="413319" y="209482"/>
                    <a:pt x="385722" y="246486"/>
                    <a:pt x="344955" y="259657"/>
                  </a:cubicBezTo>
                  <a:cubicBezTo>
                    <a:pt x="336802" y="263420"/>
                    <a:pt x="328021" y="264675"/>
                    <a:pt x="319240" y="264675"/>
                  </a:cubicBezTo>
                  <a:lnTo>
                    <a:pt x="319240" y="264675"/>
                  </a:lnTo>
                  <a:close/>
                  <a:moveTo>
                    <a:pt x="85925" y="125438"/>
                  </a:moveTo>
                  <a:cubicBezTo>
                    <a:pt x="56447" y="125438"/>
                    <a:pt x="32614" y="149271"/>
                    <a:pt x="32614" y="178749"/>
                  </a:cubicBezTo>
                  <a:cubicBezTo>
                    <a:pt x="32614" y="201956"/>
                    <a:pt x="48294" y="222653"/>
                    <a:pt x="70245" y="229552"/>
                  </a:cubicBezTo>
                  <a:cubicBezTo>
                    <a:pt x="75263" y="230806"/>
                    <a:pt x="79026" y="232061"/>
                    <a:pt x="84044" y="232061"/>
                  </a:cubicBezTo>
                  <a:lnTo>
                    <a:pt x="318613" y="232061"/>
                  </a:lnTo>
                  <a:cubicBezTo>
                    <a:pt x="323631" y="232061"/>
                    <a:pt x="328648" y="231434"/>
                    <a:pt x="333038" y="229552"/>
                  </a:cubicBezTo>
                  <a:cubicBezTo>
                    <a:pt x="361262" y="220771"/>
                    <a:pt x="378823" y="195684"/>
                    <a:pt x="378823" y="167460"/>
                  </a:cubicBezTo>
                  <a:cubicBezTo>
                    <a:pt x="378823" y="131710"/>
                    <a:pt x="349972" y="102859"/>
                    <a:pt x="314223" y="102859"/>
                  </a:cubicBezTo>
                  <a:cubicBezTo>
                    <a:pt x="306696" y="102859"/>
                    <a:pt x="299797" y="104114"/>
                    <a:pt x="292271" y="106622"/>
                  </a:cubicBezTo>
                  <a:lnTo>
                    <a:pt x="274710" y="112894"/>
                  </a:lnTo>
                  <a:lnTo>
                    <a:pt x="270319" y="94706"/>
                  </a:lnTo>
                  <a:cubicBezTo>
                    <a:pt x="262166" y="58956"/>
                    <a:pt x="230806" y="34495"/>
                    <a:pt x="194429" y="34495"/>
                  </a:cubicBezTo>
                  <a:cubicBezTo>
                    <a:pt x="152407" y="34495"/>
                    <a:pt x="117285" y="68991"/>
                    <a:pt x="116030" y="111013"/>
                  </a:cubicBezTo>
                  <a:lnTo>
                    <a:pt x="115403" y="131083"/>
                  </a:lnTo>
                  <a:lnTo>
                    <a:pt x="95960" y="126693"/>
                  </a:lnTo>
                  <a:cubicBezTo>
                    <a:pt x="93451" y="126066"/>
                    <a:pt x="89688" y="125438"/>
                    <a:pt x="85925" y="125438"/>
                  </a:cubicBezTo>
                  <a:lnTo>
                    <a:pt x="85925" y="125438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88" name="Gráfico 2">
              <a:extLst>
                <a:ext uri="{FF2B5EF4-FFF2-40B4-BE49-F238E27FC236}">
                  <a16:creationId xmlns:a16="http://schemas.microsoft.com/office/drawing/2014/main" id="{F5ABA5BB-819F-4501-AD77-3F762FEA4CEA}"/>
                </a:ext>
              </a:extLst>
            </p:cNvPr>
            <p:cNvGrpSpPr/>
            <p:nvPr/>
          </p:nvGrpSpPr>
          <p:grpSpPr>
            <a:xfrm>
              <a:off x="3412468" y="4940048"/>
              <a:ext cx="47039" cy="47039"/>
              <a:chOff x="3412468" y="4940048"/>
              <a:chExt cx="47039" cy="47039"/>
            </a:xfrm>
            <a:grpFill/>
          </p:grpSpPr>
          <p:sp>
            <p:nvSpPr>
              <p:cNvPr id="89" name="Forma Livre: Forma 88">
                <a:extLst>
                  <a:ext uri="{FF2B5EF4-FFF2-40B4-BE49-F238E27FC236}">
                    <a16:creationId xmlns:a16="http://schemas.microsoft.com/office/drawing/2014/main" id="{3367E738-36AB-428F-9479-6ABE1EAE2F65}"/>
                  </a:ext>
                </a:extLst>
              </p:cNvPr>
              <p:cNvSpPr/>
              <p:nvPr/>
            </p:nvSpPr>
            <p:spPr>
              <a:xfrm>
                <a:off x="3427521" y="4940048"/>
                <a:ext cx="16375" cy="47039"/>
              </a:xfrm>
              <a:custGeom>
                <a:avLst/>
                <a:gdLst>
                  <a:gd name="connsiteX0" fmla="*/ 8153 w 16375"/>
                  <a:gd name="connsiteY0" fmla="*/ 47039 h 47039"/>
                  <a:gd name="connsiteX1" fmla="*/ 0 w 16375"/>
                  <a:gd name="connsiteY1" fmla="*/ 38886 h 47039"/>
                  <a:gd name="connsiteX2" fmla="*/ 0 w 16375"/>
                  <a:gd name="connsiteY2" fmla="*/ 8153 h 47039"/>
                  <a:gd name="connsiteX3" fmla="*/ 8153 w 16375"/>
                  <a:gd name="connsiteY3" fmla="*/ 0 h 47039"/>
                  <a:gd name="connsiteX4" fmla="*/ 16307 w 16375"/>
                  <a:gd name="connsiteY4" fmla="*/ 8153 h 47039"/>
                  <a:gd name="connsiteX5" fmla="*/ 16307 w 16375"/>
                  <a:gd name="connsiteY5" fmla="*/ 38886 h 47039"/>
                  <a:gd name="connsiteX6" fmla="*/ 8153 w 16375"/>
                  <a:gd name="connsiteY6" fmla="*/ 47039 h 47039"/>
                  <a:gd name="connsiteX7" fmla="*/ 8153 w 16375"/>
                  <a:gd name="connsiteY7" fmla="*/ 47039 h 470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375" h="47039">
                    <a:moveTo>
                      <a:pt x="8153" y="47039"/>
                    </a:moveTo>
                    <a:cubicBezTo>
                      <a:pt x="3763" y="47039"/>
                      <a:pt x="0" y="43276"/>
                      <a:pt x="0" y="38886"/>
                    </a:cubicBezTo>
                    <a:lnTo>
                      <a:pt x="0" y="8153"/>
                    </a:lnTo>
                    <a:cubicBezTo>
                      <a:pt x="0" y="3763"/>
                      <a:pt x="3763" y="0"/>
                      <a:pt x="8153" y="0"/>
                    </a:cubicBezTo>
                    <a:cubicBezTo>
                      <a:pt x="12544" y="0"/>
                      <a:pt x="16307" y="3763"/>
                      <a:pt x="16307" y="8153"/>
                    </a:cubicBezTo>
                    <a:lnTo>
                      <a:pt x="16307" y="38886"/>
                    </a:lnTo>
                    <a:cubicBezTo>
                      <a:pt x="16934" y="43276"/>
                      <a:pt x="13171" y="47039"/>
                      <a:pt x="8153" y="47039"/>
                    </a:cubicBezTo>
                    <a:lnTo>
                      <a:pt x="8153" y="47039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90" name="Forma Livre: Forma 89">
                <a:extLst>
                  <a:ext uri="{FF2B5EF4-FFF2-40B4-BE49-F238E27FC236}">
                    <a16:creationId xmlns:a16="http://schemas.microsoft.com/office/drawing/2014/main" id="{9694DB73-9F83-45ED-8D79-350CA764512A}"/>
                  </a:ext>
                </a:extLst>
              </p:cNvPr>
              <p:cNvSpPr/>
              <p:nvPr/>
            </p:nvSpPr>
            <p:spPr>
              <a:xfrm>
                <a:off x="3412468" y="4955728"/>
                <a:ext cx="47039" cy="16306"/>
              </a:xfrm>
              <a:custGeom>
                <a:avLst/>
                <a:gdLst>
                  <a:gd name="connsiteX0" fmla="*/ 38886 w 47039"/>
                  <a:gd name="connsiteY0" fmla="*/ 16307 h 16306"/>
                  <a:gd name="connsiteX1" fmla="*/ 8154 w 47039"/>
                  <a:gd name="connsiteY1" fmla="*/ 16307 h 16306"/>
                  <a:gd name="connsiteX2" fmla="*/ 0 w 47039"/>
                  <a:gd name="connsiteY2" fmla="*/ 8153 h 16306"/>
                  <a:gd name="connsiteX3" fmla="*/ 8154 w 47039"/>
                  <a:gd name="connsiteY3" fmla="*/ 0 h 16306"/>
                  <a:gd name="connsiteX4" fmla="*/ 38886 w 47039"/>
                  <a:gd name="connsiteY4" fmla="*/ 0 h 16306"/>
                  <a:gd name="connsiteX5" fmla="*/ 47039 w 47039"/>
                  <a:gd name="connsiteY5" fmla="*/ 8153 h 16306"/>
                  <a:gd name="connsiteX6" fmla="*/ 38886 w 47039"/>
                  <a:gd name="connsiteY6" fmla="*/ 16307 h 16306"/>
                  <a:gd name="connsiteX7" fmla="*/ 38886 w 47039"/>
                  <a:gd name="connsiteY7" fmla="*/ 16307 h 163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7039" h="16306">
                    <a:moveTo>
                      <a:pt x="38886" y="16307"/>
                    </a:moveTo>
                    <a:lnTo>
                      <a:pt x="8154" y="16307"/>
                    </a:lnTo>
                    <a:cubicBezTo>
                      <a:pt x="3763" y="16307"/>
                      <a:pt x="0" y="12544"/>
                      <a:pt x="0" y="8153"/>
                    </a:cubicBezTo>
                    <a:cubicBezTo>
                      <a:pt x="0" y="3763"/>
                      <a:pt x="3763" y="0"/>
                      <a:pt x="8154" y="0"/>
                    </a:cubicBezTo>
                    <a:lnTo>
                      <a:pt x="38886" y="0"/>
                    </a:lnTo>
                    <a:cubicBezTo>
                      <a:pt x="43276" y="0"/>
                      <a:pt x="47039" y="3763"/>
                      <a:pt x="47039" y="8153"/>
                    </a:cubicBezTo>
                    <a:cubicBezTo>
                      <a:pt x="47039" y="12544"/>
                      <a:pt x="43276" y="16307"/>
                      <a:pt x="38886" y="16307"/>
                    </a:cubicBezTo>
                    <a:lnTo>
                      <a:pt x="38886" y="16307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91" name="Gráfico 2">
              <a:extLst>
                <a:ext uri="{FF2B5EF4-FFF2-40B4-BE49-F238E27FC236}">
                  <a16:creationId xmlns:a16="http://schemas.microsoft.com/office/drawing/2014/main" id="{F5ABA5BB-819F-4501-AD77-3F762FEA4CEA}"/>
                </a:ext>
              </a:extLst>
            </p:cNvPr>
            <p:cNvGrpSpPr/>
            <p:nvPr/>
          </p:nvGrpSpPr>
          <p:grpSpPr>
            <a:xfrm>
              <a:off x="3504038" y="4940048"/>
              <a:ext cx="47107" cy="47039"/>
              <a:chOff x="3504038" y="4940048"/>
              <a:chExt cx="47107" cy="47039"/>
            </a:xfrm>
            <a:grpFill/>
          </p:grpSpPr>
          <p:sp>
            <p:nvSpPr>
              <p:cNvPr id="92" name="Forma Livre: Forma 91">
                <a:extLst>
                  <a:ext uri="{FF2B5EF4-FFF2-40B4-BE49-F238E27FC236}">
                    <a16:creationId xmlns:a16="http://schemas.microsoft.com/office/drawing/2014/main" id="{40663271-A265-4A7D-96C9-7E00C49AEE31}"/>
                  </a:ext>
                </a:extLst>
              </p:cNvPr>
              <p:cNvSpPr/>
              <p:nvPr/>
            </p:nvSpPr>
            <p:spPr>
              <a:xfrm>
                <a:off x="3519718" y="4940048"/>
                <a:ext cx="16306" cy="47039"/>
              </a:xfrm>
              <a:custGeom>
                <a:avLst/>
                <a:gdLst>
                  <a:gd name="connsiteX0" fmla="*/ 8154 w 16306"/>
                  <a:gd name="connsiteY0" fmla="*/ 47039 h 47039"/>
                  <a:gd name="connsiteX1" fmla="*/ 0 w 16306"/>
                  <a:gd name="connsiteY1" fmla="*/ 38886 h 47039"/>
                  <a:gd name="connsiteX2" fmla="*/ 0 w 16306"/>
                  <a:gd name="connsiteY2" fmla="*/ 8153 h 47039"/>
                  <a:gd name="connsiteX3" fmla="*/ 8154 w 16306"/>
                  <a:gd name="connsiteY3" fmla="*/ 0 h 47039"/>
                  <a:gd name="connsiteX4" fmla="*/ 16307 w 16306"/>
                  <a:gd name="connsiteY4" fmla="*/ 8153 h 47039"/>
                  <a:gd name="connsiteX5" fmla="*/ 16307 w 16306"/>
                  <a:gd name="connsiteY5" fmla="*/ 38886 h 47039"/>
                  <a:gd name="connsiteX6" fmla="*/ 8154 w 16306"/>
                  <a:gd name="connsiteY6" fmla="*/ 47039 h 47039"/>
                  <a:gd name="connsiteX7" fmla="*/ 8154 w 16306"/>
                  <a:gd name="connsiteY7" fmla="*/ 47039 h 470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306" h="47039">
                    <a:moveTo>
                      <a:pt x="8154" y="47039"/>
                    </a:moveTo>
                    <a:cubicBezTo>
                      <a:pt x="3763" y="47039"/>
                      <a:pt x="0" y="43276"/>
                      <a:pt x="0" y="38886"/>
                    </a:cubicBezTo>
                    <a:lnTo>
                      <a:pt x="0" y="8153"/>
                    </a:lnTo>
                    <a:cubicBezTo>
                      <a:pt x="0" y="3763"/>
                      <a:pt x="3763" y="0"/>
                      <a:pt x="8154" y="0"/>
                    </a:cubicBezTo>
                    <a:cubicBezTo>
                      <a:pt x="12544" y="0"/>
                      <a:pt x="16307" y="3763"/>
                      <a:pt x="16307" y="8153"/>
                    </a:cubicBezTo>
                    <a:lnTo>
                      <a:pt x="16307" y="38886"/>
                    </a:lnTo>
                    <a:cubicBezTo>
                      <a:pt x="16307" y="43276"/>
                      <a:pt x="12544" y="47039"/>
                      <a:pt x="8154" y="47039"/>
                    </a:cubicBezTo>
                    <a:lnTo>
                      <a:pt x="8154" y="47039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93" name="Forma Livre: Forma 92">
                <a:extLst>
                  <a:ext uri="{FF2B5EF4-FFF2-40B4-BE49-F238E27FC236}">
                    <a16:creationId xmlns:a16="http://schemas.microsoft.com/office/drawing/2014/main" id="{598DD1F2-C5B8-4365-AD8B-066D758ED58E}"/>
                  </a:ext>
                </a:extLst>
              </p:cNvPr>
              <p:cNvSpPr/>
              <p:nvPr/>
            </p:nvSpPr>
            <p:spPr>
              <a:xfrm>
                <a:off x="3504038" y="4955728"/>
                <a:ext cx="47107" cy="16306"/>
              </a:xfrm>
              <a:custGeom>
                <a:avLst/>
                <a:gdLst>
                  <a:gd name="connsiteX0" fmla="*/ 38886 w 47107"/>
                  <a:gd name="connsiteY0" fmla="*/ 16307 h 16306"/>
                  <a:gd name="connsiteX1" fmla="*/ 8154 w 47107"/>
                  <a:gd name="connsiteY1" fmla="*/ 16307 h 16306"/>
                  <a:gd name="connsiteX2" fmla="*/ 0 w 47107"/>
                  <a:gd name="connsiteY2" fmla="*/ 8153 h 16306"/>
                  <a:gd name="connsiteX3" fmla="*/ 8154 w 47107"/>
                  <a:gd name="connsiteY3" fmla="*/ 0 h 16306"/>
                  <a:gd name="connsiteX4" fmla="*/ 38886 w 47107"/>
                  <a:gd name="connsiteY4" fmla="*/ 0 h 16306"/>
                  <a:gd name="connsiteX5" fmla="*/ 47039 w 47107"/>
                  <a:gd name="connsiteY5" fmla="*/ 8153 h 16306"/>
                  <a:gd name="connsiteX6" fmla="*/ 38886 w 47107"/>
                  <a:gd name="connsiteY6" fmla="*/ 16307 h 16306"/>
                  <a:gd name="connsiteX7" fmla="*/ 38886 w 47107"/>
                  <a:gd name="connsiteY7" fmla="*/ 16307 h 163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7107" h="16306">
                    <a:moveTo>
                      <a:pt x="38886" y="16307"/>
                    </a:moveTo>
                    <a:lnTo>
                      <a:pt x="8154" y="16307"/>
                    </a:lnTo>
                    <a:cubicBezTo>
                      <a:pt x="3763" y="16307"/>
                      <a:pt x="0" y="12544"/>
                      <a:pt x="0" y="8153"/>
                    </a:cubicBezTo>
                    <a:cubicBezTo>
                      <a:pt x="0" y="3763"/>
                      <a:pt x="3763" y="0"/>
                      <a:pt x="8154" y="0"/>
                    </a:cubicBezTo>
                    <a:lnTo>
                      <a:pt x="38886" y="0"/>
                    </a:lnTo>
                    <a:cubicBezTo>
                      <a:pt x="43276" y="0"/>
                      <a:pt x="47039" y="3763"/>
                      <a:pt x="47039" y="8153"/>
                    </a:cubicBezTo>
                    <a:cubicBezTo>
                      <a:pt x="47667" y="12544"/>
                      <a:pt x="43903" y="16307"/>
                      <a:pt x="38886" y="16307"/>
                    </a:cubicBezTo>
                    <a:lnTo>
                      <a:pt x="38886" y="16307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94" name="Gráfico 2">
              <a:extLst>
                <a:ext uri="{FF2B5EF4-FFF2-40B4-BE49-F238E27FC236}">
                  <a16:creationId xmlns:a16="http://schemas.microsoft.com/office/drawing/2014/main" id="{F5ABA5BB-819F-4501-AD77-3F762FEA4CEA}"/>
                </a:ext>
              </a:extLst>
            </p:cNvPr>
            <p:cNvGrpSpPr/>
            <p:nvPr/>
          </p:nvGrpSpPr>
          <p:grpSpPr>
            <a:xfrm>
              <a:off x="3596235" y="4940048"/>
              <a:ext cx="47039" cy="47039"/>
              <a:chOff x="3596235" y="4940048"/>
              <a:chExt cx="47039" cy="47039"/>
            </a:xfrm>
            <a:grpFill/>
          </p:grpSpPr>
          <p:sp>
            <p:nvSpPr>
              <p:cNvPr id="95" name="Forma Livre: Forma 94">
                <a:extLst>
                  <a:ext uri="{FF2B5EF4-FFF2-40B4-BE49-F238E27FC236}">
                    <a16:creationId xmlns:a16="http://schemas.microsoft.com/office/drawing/2014/main" id="{7A2E2F78-2C02-45D8-AA3C-ABADB0512E75}"/>
                  </a:ext>
                </a:extLst>
              </p:cNvPr>
              <p:cNvSpPr/>
              <p:nvPr/>
            </p:nvSpPr>
            <p:spPr>
              <a:xfrm>
                <a:off x="3611287" y="4940048"/>
                <a:ext cx="16306" cy="47039"/>
              </a:xfrm>
              <a:custGeom>
                <a:avLst/>
                <a:gdLst>
                  <a:gd name="connsiteX0" fmla="*/ 8153 w 16306"/>
                  <a:gd name="connsiteY0" fmla="*/ 47039 h 47039"/>
                  <a:gd name="connsiteX1" fmla="*/ 0 w 16306"/>
                  <a:gd name="connsiteY1" fmla="*/ 38886 h 47039"/>
                  <a:gd name="connsiteX2" fmla="*/ 0 w 16306"/>
                  <a:gd name="connsiteY2" fmla="*/ 8153 h 47039"/>
                  <a:gd name="connsiteX3" fmla="*/ 8153 w 16306"/>
                  <a:gd name="connsiteY3" fmla="*/ 0 h 47039"/>
                  <a:gd name="connsiteX4" fmla="*/ 16307 w 16306"/>
                  <a:gd name="connsiteY4" fmla="*/ 8153 h 47039"/>
                  <a:gd name="connsiteX5" fmla="*/ 16307 w 16306"/>
                  <a:gd name="connsiteY5" fmla="*/ 38886 h 47039"/>
                  <a:gd name="connsiteX6" fmla="*/ 8153 w 16306"/>
                  <a:gd name="connsiteY6" fmla="*/ 47039 h 47039"/>
                  <a:gd name="connsiteX7" fmla="*/ 8153 w 16306"/>
                  <a:gd name="connsiteY7" fmla="*/ 47039 h 470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306" h="47039">
                    <a:moveTo>
                      <a:pt x="8153" y="47039"/>
                    </a:moveTo>
                    <a:cubicBezTo>
                      <a:pt x="3763" y="47039"/>
                      <a:pt x="0" y="43276"/>
                      <a:pt x="0" y="38886"/>
                    </a:cubicBezTo>
                    <a:lnTo>
                      <a:pt x="0" y="8153"/>
                    </a:lnTo>
                    <a:cubicBezTo>
                      <a:pt x="0" y="3763"/>
                      <a:pt x="3763" y="0"/>
                      <a:pt x="8153" y="0"/>
                    </a:cubicBezTo>
                    <a:cubicBezTo>
                      <a:pt x="12544" y="0"/>
                      <a:pt x="16307" y="3763"/>
                      <a:pt x="16307" y="8153"/>
                    </a:cubicBezTo>
                    <a:lnTo>
                      <a:pt x="16307" y="38886"/>
                    </a:lnTo>
                    <a:cubicBezTo>
                      <a:pt x="16307" y="43276"/>
                      <a:pt x="12544" y="47039"/>
                      <a:pt x="8153" y="47039"/>
                    </a:cubicBezTo>
                    <a:lnTo>
                      <a:pt x="8153" y="47039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96" name="Forma Livre: Forma 95">
                <a:extLst>
                  <a:ext uri="{FF2B5EF4-FFF2-40B4-BE49-F238E27FC236}">
                    <a16:creationId xmlns:a16="http://schemas.microsoft.com/office/drawing/2014/main" id="{2563DA97-41CB-4968-80C6-4B34CCBC2A0B}"/>
                  </a:ext>
                </a:extLst>
              </p:cNvPr>
              <p:cNvSpPr/>
              <p:nvPr/>
            </p:nvSpPr>
            <p:spPr>
              <a:xfrm>
                <a:off x="3596235" y="4955728"/>
                <a:ext cx="47039" cy="16306"/>
              </a:xfrm>
              <a:custGeom>
                <a:avLst/>
                <a:gdLst>
                  <a:gd name="connsiteX0" fmla="*/ 38886 w 47039"/>
                  <a:gd name="connsiteY0" fmla="*/ 16307 h 16306"/>
                  <a:gd name="connsiteX1" fmla="*/ 8153 w 47039"/>
                  <a:gd name="connsiteY1" fmla="*/ 16307 h 16306"/>
                  <a:gd name="connsiteX2" fmla="*/ 0 w 47039"/>
                  <a:gd name="connsiteY2" fmla="*/ 8153 h 16306"/>
                  <a:gd name="connsiteX3" fmla="*/ 8153 w 47039"/>
                  <a:gd name="connsiteY3" fmla="*/ 0 h 16306"/>
                  <a:gd name="connsiteX4" fmla="*/ 38886 w 47039"/>
                  <a:gd name="connsiteY4" fmla="*/ 0 h 16306"/>
                  <a:gd name="connsiteX5" fmla="*/ 47039 w 47039"/>
                  <a:gd name="connsiteY5" fmla="*/ 8153 h 16306"/>
                  <a:gd name="connsiteX6" fmla="*/ 38886 w 47039"/>
                  <a:gd name="connsiteY6" fmla="*/ 16307 h 16306"/>
                  <a:gd name="connsiteX7" fmla="*/ 38886 w 47039"/>
                  <a:gd name="connsiteY7" fmla="*/ 16307 h 163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7039" h="16306">
                    <a:moveTo>
                      <a:pt x="38886" y="16307"/>
                    </a:moveTo>
                    <a:lnTo>
                      <a:pt x="8153" y="16307"/>
                    </a:lnTo>
                    <a:cubicBezTo>
                      <a:pt x="3763" y="16307"/>
                      <a:pt x="0" y="12544"/>
                      <a:pt x="0" y="8153"/>
                    </a:cubicBezTo>
                    <a:cubicBezTo>
                      <a:pt x="0" y="3763"/>
                      <a:pt x="3763" y="0"/>
                      <a:pt x="8153" y="0"/>
                    </a:cubicBezTo>
                    <a:lnTo>
                      <a:pt x="38886" y="0"/>
                    </a:lnTo>
                    <a:cubicBezTo>
                      <a:pt x="43276" y="0"/>
                      <a:pt x="47039" y="3763"/>
                      <a:pt x="47039" y="8153"/>
                    </a:cubicBezTo>
                    <a:cubicBezTo>
                      <a:pt x="47039" y="12544"/>
                      <a:pt x="43276" y="16307"/>
                      <a:pt x="38886" y="16307"/>
                    </a:cubicBezTo>
                    <a:lnTo>
                      <a:pt x="38886" y="16307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97" name="Gráfico 2">
              <a:extLst>
                <a:ext uri="{FF2B5EF4-FFF2-40B4-BE49-F238E27FC236}">
                  <a16:creationId xmlns:a16="http://schemas.microsoft.com/office/drawing/2014/main" id="{F5ABA5BB-819F-4501-AD77-3F762FEA4CEA}"/>
                </a:ext>
              </a:extLst>
            </p:cNvPr>
            <p:cNvGrpSpPr/>
            <p:nvPr/>
          </p:nvGrpSpPr>
          <p:grpSpPr>
            <a:xfrm>
              <a:off x="3447591" y="5000886"/>
              <a:ext cx="47039" cy="47039"/>
              <a:chOff x="3447591" y="5000886"/>
              <a:chExt cx="47039" cy="47039"/>
            </a:xfrm>
            <a:grpFill/>
          </p:grpSpPr>
          <p:sp>
            <p:nvSpPr>
              <p:cNvPr id="98" name="Forma Livre: Forma 97">
                <a:extLst>
                  <a:ext uri="{FF2B5EF4-FFF2-40B4-BE49-F238E27FC236}">
                    <a16:creationId xmlns:a16="http://schemas.microsoft.com/office/drawing/2014/main" id="{2475AC9F-F9E3-4334-8E71-4D9599F2FB2A}"/>
                  </a:ext>
                </a:extLst>
              </p:cNvPr>
              <p:cNvSpPr/>
              <p:nvPr/>
            </p:nvSpPr>
            <p:spPr>
              <a:xfrm>
                <a:off x="3463270" y="5000886"/>
                <a:ext cx="16306" cy="47039"/>
              </a:xfrm>
              <a:custGeom>
                <a:avLst/>
                <a:gdLst>
                  <a:gd name="connsiteX0" fmla="*/ 8154 w 16306"/>
                  <a:gd name="connsiteY0" fmla="*/ 47039 h 47039"/>
                  <a:gd name="connsiteX1" fmla="*/ 0 w 16306"/>
                  <a:gd name="connsiteY1" fmla="*/ 38886 h 47039"/>
                  <a:gd name="connsiteX2" fmla="*/ 0 w 16306"/>
                  <a:gd name="connsiteY2" fmla="*/ 8153 h 47039"/>
                  <a:gd name="connsiteX3" fmla="*/ 8154 w 16306"/>
                  <a:gd name="connsiteY3" fmla="*/ 0 h 47039"/>
                  <a:gd name="connsiteX4" fmla="*/ 16307 w 16306"/>
                  <a:gd name="connsiteY4" fmla="*/ 8153 h 47039"/>
                  <a:gd name="connsiteX5" fmla="*/ 16307 w 16306"/>
                  <a:gd name="connsiteY5" fmla="*/ 38886 h 47039"/>
                  <a:gd name="connsiteX6" fmla="*/ 8154 w 16306"/>
                  <a:gd name="connsiteY6" fmla="*/ 47039 h 47039"/>
                  <a:gd name="connsiteX7" fmla="*/ 8154 w 16306"/>
                  <a:gd name="connsiteY7" fmla="*/ 47039 h 470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306" h="47039">
                    <a:moveTo>
                      <a:pt x="8154" y="47039"/>
                    </a:moveTo>
                    <a:cubicBezTo>
                      <a:pt x="3763" y="47039"/>
                      <a:pt x="0" y="43276"/>
                      <a:pt x="0" y="38886"/>
                    </a:cubicBezTo>
                    <a:lnTo>
                      <a:pt x="0" y="8153"/>
                    </a:lnTo>
                    <a:cubicBezTo>
                      <a:pt x="0" y="3763"/>
                      <a:pt x="3763" y="0"/>
                      <a:pt x="8154" y="0"/>
                    </a:cubicBezTo>
                    <a:cubicBezTo>
                      <a:pt x="12544" y="0"/>
                      <a:pt x="16307" y="3763"/>
                      <a:pt x="16307" y="8153"/>
                    </a:cubicBezTo>
                    <a:lnTo>
                      <a:pt x="16307" y="38886"/>
                    </a:lnTo>
                    <a:cubicBezTo>
                      <a:pt x="16307" y="43903"/>
                      <a:pt x="12544" y="47039"/>
                      <a:pt x="8154" y="47039"/>
                    </a:cubicBezTo>
                    <a:lnTo>
                      <a:pt x="8154" y="47039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99" name="Forma Livre: Forma 98">
                <a:extLst>
                  <a:ext uri="{FF2B5EF4-FFF2-40B4-BE49-F238E27FC236}">
                    <a16:creationId xmlns:a16="http://schemas.microsoft.com/office/drawing/2014/main" id="{AA6A8DD4-62E8-4F39-BD20-89E6E0C297FB}"/>
                  </a:ext>
                </a:extLst>
              </p:cNvPr>
              <p:cNvSpPr/>
              <p:nvPr/>
            </p:nvSpPr>
            <p:spPr>
              <a:xfrm>
                <a:off x="3447591" y="5016565"/>
                <a:ext cx="47039" cy="16306"/>
              </a:xfrm>
              <a:custGeom>
                <a:avLst/>
                <a:gdLst>
                  <a:gd name="connsiteX0" fmla="*/ 38886 w 47039"/>
                  <a:gd name="connsiteY0" fmla="*/ 16307 h 16306"/>
                  <a:gd name="connsiteX1" fmla="*/ 8154 w 47039"/>
                  <a:gd name="connsiteY1" fmla="*/ 16307 h 16306"/>
                  <a:gd name="connsiteX2" fmla="*/ 0 w 47039"/>
                  <a:gd name="connsiteY2" fmla="*/ 8153 h 16306"/>
                  <a:gd name="connsiteX3" fmla="*/ 8154 w 47039"/>
                  <a:gd name="connsiteY3" fmla="*/ 0 h 16306"/>
                  <a:gd name="connsiteX4" fmla="*/ 38886 w 47039"/>
                  <a:gd name="connsiteY4" fmla="*/ 0 h 16306"/>
                  <a:gd name="connsiteX5" fmla="*/ 47039 w 47039"/>
                  <a:gd name="connsiteY5" fmla="*/ 8153 h 16306"/>
                  <a:gd name="connsiteX6" fmla="*/ 38886 w 47039"/>
                  <a:gd name="connsiteY6" fmla="*/ 16307 h 16306"/>
                  <a:gd name="connsiteX7" fmla="*/ 38886 w 47039"/>
                  <a:gd name="connsiteY7" fmla="*/ 16307 h 163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7039" h="16306">
                    <a:moveTo>
                      <a:pt x="38886" y="16307"/>
                    </a:moveTo>
                    <a:lnTo>
                      <a:pt x="8154" y="16307"/>
                    </a:lnTo>
                    <a:cubicBezTo>
                      <a:pt x="3763" y="16307"/>
                      <a:pt x="0" y="12544"/>
                      <a:pt x="0" y="8153"/>
                    </a:cubicBezTo>
                    <a:cubicBezTo>
                      <a:pt x="0" y="3763"/>
                      <a:pt x="3763" y="0"/>
                      <a:pt x="8154" y="0"/>
                    </a:cubicBezTo>
                    <a:lnTo>
                      <a:pt x="38886" y="0"/>
                    </a:lnTo>
                    <a:cubicBezTo>
                      <a:pt x="43276" y="0"/>
                      <a:pt x="47039" y="3763"/>
                      <a:pt x="47039" y="8153"/>
                    </a:cubicBezTo>
                    <a:cubicBezTo>
                      <a:pt x="47039" y="12544"/>
                      <a:pt x="43903" y="16307"/>
                      <a:pt x="38886" y="16307"/>
                    </a:cubicBezTo>
                    <a:lnTo>
                      <a:pt x="38886" y="16307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100" name="Gráfico 2">
              <a:extLst>
                <a:ext uri="{FF2B5EF4-FFF2-40B4-BE49-F238E27FC236}">
                  <a16:creationId xmlns:a16="http://schemas.microsoft.com/office/drawing/2014/main" id="{F5ABA5BB-819F-4501-AD77-3F762FEA4CEA}"/>
                </a:ext>
              </a:extLst>
            </p:cNvPr>
            <p:cNvGrpSpPr/>
            <p:nvPr/>
          </p:nvGrpSpPr>
          <p:grpSpPr>
            <a:xfrm>
              <a:off x="3539788" y="5000886"/>
              <a:ext cx="47039" cy="47039"/>
              <a:chOff x="3539788" y="5000886"/>
              <a:chExt cx="47039" cy="47039"/>
            </a:xfrm>
            <a:grpFill/>
          </p:grpSpPr>
          <p:sp>
            <p:nvSpPr>
              <p:cNvPr id="101" name="Forma Livre: Forma 100">
                <a:extLst>
                  <a:ext uri="{FF2B5EF4-FFF2-40B4-BE49-F238E27FC236}">
                    <a16:creationId xmlns:a16="http://schemas.microsoft.com/office/drawing/2014/main" id="{C63E572F-9910-4425-B80B-2C20A82485D1}"/>
                  </a:ext>
                </a:extLst>
              </p:cNvPr>
              <p:cNvSpPr/>
              <p:nvPr/>
            </p:nvSpPr>
            <p:spPr>
              <a:xfrm>
                <a:off x="3554840" y="5000886"/>
                <a:ext cx="16306" cy="47039"/>
              </a:xfrm>
              <a:custGeom>
                <a:avLst/>
                <a:gdLst>
                  <a:gd name="connsiteX0" fmla="*/ 8153 w 16306"/>
                  <a:gd name="connsiteY0" fmla="*/ 47039 h 47039"/>
                  <a:gd name="connsiteX1" fmla="*/ 0 w 16306"/>
                  <a:gd name="connsiteY1" fmla="*/ 38886 h 47039"/>
                  <a:gd name="connsiteX2" fmla="*/ 0 w 16306"/>
                  <a:gd name="connsiteY2" fmla="*/ 8153 h 47039"/>
                  <a:gd name="connsiteX3" fmla="*/ 8153 w 16306"/>
                  <a:gd name="connsiteY3" fmla="*/ 0 h 47039"/>
                  <a:gd name="connsiteX4" fmla="*/ 16307 w 16306"/>
                  <a:gd name="connsiteY4" fmla="*/ 8153 h 47039"/>
                  <a:gd name="connsiteX5" fmla="*/ 16307 w 16306"/>
                  <a:gd name="connsiteY5" fmla="*/ 38886 h 47039"/>
                  <a:gd name="connsiteX6" fmla="*/ 8153 w 16306"/>
                  <a:gd name="connsiteY6" fmla="*/ 47039 h 47039"/>
                  <a:gd name="connsiteX7" fmla="*/ 8153 w 16306"/>
                  <a:gd name="connsiteY7" fmla="*/ 47039 h 470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306" h="47039">
                    <a:moveTo>
                      <a:pt x="8153" y="47039"/>
                    </a:moveTo>
                    <a:cubicBezTo>
                      <a:pt x="3763" y="47039"/>
                      <a:pt x="0" y="43276"/>
                      <a:pt x="0" y="38886"/>
                    </a:cubicBezTo>
                    <a:lnTo>
                      <a:pt x="0" y="8153"/>
                    </a:lnTo>
                    <a:cubicBezTo>
                      <a:pt x="0" y="3763"/>
                      <a:pt x="3763" y="0"/>
                      <a:pt x="8153" y="0"/>
                    </a:cubicBezTo>
                    <a:cubicBezTo>
                      <a:pt x="12544" y="0"/>
                      <a:pt x="16307" y="3763"/>
                      <a:pt x="16307" y="8153"/>
                    </a:cubicBezTo>
                    <a:lnTo>
                      <a:pt x="16307" y="38886"/>
                    </a:lnTo>
                    <a:cubicBezTo>
                      <a:pt x="16307" y="43903"/>
                      <a:pt x="12544" y="47039"/>
                      <a:pt x="8153" y="47039"/>
                    </a:cubicBezTo>
                    <a:lnTo>
                      <a:pt x="8153" y="47039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02" name="Forma Livre: Forma 101">
                <a:extLst>
                  <a:ext uri="{FF2B5EF4-FFF2-40B4-BE49-F238E27FC236}">
                    <a16:creationId xmlns:a16="http://schemas.microsoft.com/office/drawing/2014/main" id="{42B05EC2-1298-4DEA-BAAF-25C6814C85D3}"/>
                  </a:ext>
                </a:extLst>
              </p:cNvPr>
              <p:cNvSpPr/>
              <p:nvPr/>
            </p:nvSpPr>
            <p:spPr>
              <a:xfrm>
                <a:off x="3539788" y="5016565"/>
                <a:ext cx="47039" cy="16306"/>
              </a:xfrm>
              <a:custGeom>
                <a:avLst/>
                <a:gdLst>
                  <a:gd name="connsiteX0" fmla="*/ 38886 w 47039"/>
                  <a:gd name="connsiteY0" fmla="*/ 16307 h 16306"/>
                  <a:gd name="connsiteX1" fmla="*/ 8153 w 47039"/>
                  <a:gd name="connsiteY1" fmla="*/ 16307 h 16306"/>
                  <a:gd name="connsiteX2" fmla="*/ 0 w 47039"/>
                  <a:gd name="connsiteY2" fmla="*/ 8153 h 16306"/>
                  <a:gd name="connsiteX3" fmla="*/ 8153 w 47039"/>
                  <a:gd name="connsiteY3" fmla="*/ 0 h 16306"/>
                  <a:gd name="connsiteX4" fmla="*/ 38886 w 47039"/>
                  <a:gd name="connsiteY4" fmla="*/ 0 h 16306"/>
                  <a:gd name="connsiteX5" fmla="*/ 47039 w 47039"/>
                  <a:gd name="connsiteY5" fmla="*/ 8153 h 16306"/>
                  <a:gd name="connsiteX6" fmla="*/ 38886 w 47039"/>
                  <a:gd name="connsiteY6" fmla="*/ 16307 h 16306"/>
                  <a:gd name="connsiteX7" fmla="*/ 38886 w 47039"/>
                  <a:gd name="connsiteY7" fmla="*/ 16307 h 163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7039" h="16306">
                    <a:moveTo>
                      <a:pt x="38886" y="16307"/>
                    </a:moveTo>
                    <a:lnTo>
                      <a:pt x="8153" y="16307"/>
                    </a:lnTo>
                    <a:cubicBezTo>
                      <a:pt x="3763" y="16307"/>
                      <a:pt x="0" y="12544"/>
                      <a:pt x="0" y="8153"/>
                    </a:cubicBezTo>
                    <a:cubicBezTo>
                      <a:pt x="0" y="3763"/>
                      <a:pt x="3763" y="0"/>
                      <a:pt x="8153" y="0"/>
                    </a:cubicBezTo>
                    <a:lnTo>
                      <a:pt x="38886" y="0"/>
                    </a:lnTo>
                    <a:cubicBezTo>
                      <a:pt x="43276" y="0"/>
                      <a:pt x="47039" y="3763"/>
                      <a:pt x="47039" y="8153"/>
                    </a:cubicBezTo>
                    <a:cubicBezTo>
                      <a:pt x="47039" y="12544"/>
                      <a:pt x="43276" y="16307"/>
                      <a:pt x="38886" y="16307"/>
                    </a:cubicBezTo>
                    <a:lnTo>
                      <a:pt x="38886" y="16307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103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8441027" y="4674746"/>
            <a:ext cx="395386" cy="354362"/>
            <a:chOff x="8441027" y="4674746"/>
            <a:chExt cx="395386" cy="354362"/>
          </a:xfrm>
          <a:solidFill>
            <a:srgbClr val="B1B1A1"/>
          </a:solidFill>
        </p:grpSpPr>
        <p:sp>
          <p:nvSpPr>
            <p:cNvPr id="104" name="Forma Livre: Forma 103">
              <a:extLst>
                <a:ext uri="{FF2B5EF4-FFF2-40B4-BE49-F238E27FC236}">
                  <a16:creationId xmlns:a16="http://schemas.microsoft.com/office/drawing/2014/main" id="{AFED9DDF-45FD-4C32-B675-09141DB8A9DC}"/>
                </a:ext>
              </a:extLst>
            </p:cNvPr>
            <p:cNvSpPr/>
            <p:nvPr/>
          </p:nvSpPr>
          <p:spPr>
            <a:xfrm>
              <a:off x="8441027" y="4843460"/>
              <a:ext cx="146391" cy="149898"/>
            </a:xfrm>
            <a:custGeom>
              <a:avLst/>
              <a:gdLst>
                <a:gd name="connsiteX0" fmla="*/ 56076 w 146391"/>
                <a:gd name="connsiteY0" fmla="*/ 149899 h 149898"/>
                <a:gd name="connsiteX1" fmla="*/ 6528 w 146391"/>
                <a:gd name="connsiteY1" fmla="*/ 117912 h 149898"/>
                <a:gd name="connsiteX2" fmla="*/ 5274 w 146391"/>
                <a:gd name="connsiteY2" fmla="*/ 57702 h 149898"/>
                <a:gd name="connsiteX3" fmla="*/ 47296 w 146391"/>
                <a:gd name="connsiteY3" fmla="*/ 14425 h 149898"/>
                <a:gd name="connsiteX4" fmla="*/ 129457 w 146391"/>
                <a:gd name="connsiteY4" fmla="*/ 0 h 149898"/>
                <a:gd name="connsiteX5" fmla="*/ 129457 w 146391"/>
                <a:gd name="connsiteY5" fmla="*/ 0 h 149898"/>
                <a:gd name="connsiteX6" fmla="*/ 146392 w 146391"/>
                <a:gd name="connsiteY6" fmla="*/ 16307 h 149898"/>
                <a:gd name="connsiteX7" fmla="*/ 130085 w 146391"/>
                <a:gd name="connsiteY7" fmla="*/ 33241 h 149898"/>
                <a:gd name="connsiteX8" fmla="*/ 61094 w 146391"/>
                <a:gd name="connsiteY8" fmla="*/ 45158 h 149898"/>
                <a:gd name="connsiteX9" fmla="*/ 36634 w 146391"/>
                <a:gd name="connsiteY9" fmla="*/ 70245 h 149898"/>
                <a:gd name="connsiteX10" fmla="*/ 37261 w 146391"/>
                <a:gd name="connsiteY10" fmla="*/ 104741 h 149898"/>
                <a:gd name="connsiteX11" fmla="*/ 64857 w 146391"/>
                <a:gd name="connsiteY11" fmla="*/ 115403 h 149898"/>
                <a:gd name="connsiteX12" fmla="*/ 68620 w 146391"/>
                <a:gd name="connsiteY12" fmla="*/ 111013 h 149898"/>
                <a:gd name="connsiteX13" fmla="*/ 50431 w 146391"/>
                <a:gd name="connsiteY13" fmla="*/ 100978 h 149898"/>
                <a:gd name="connsiteX14" fmla="*/ 59212 w 146391"/>
                <a:gd name="connsiteY14" fmla="*/ 79026 h 149898"/>
                <a:gd name="connsiteX15" fmla="*/ 82418 w 146391"/>
                <a:gd name="connsiteY15" fmla="*/ 78399 h 149898"/>
                <a:gd name="connsiteX16" fmla="*/ 98726 w 146391"/>
                <a:gd name="connsiteY16" fmla="*/ 94079 h 149898"/>
                <a:gd name="connsiteX17" fmla="*/ 78655 w 146391"/>
                <a:gd name="connsiteY17" fmla="*/ 145508 h 149898"/>
                <a:gd name="connsiteX18" fmla="*/ 56076 w 146391"/>
                <a:gd name="connsiteY18" fmla="*/ 149899 h 149898"/>
                <a:gd name="connsiteX19" fmla="*/ 56076 w 146391"/>
                <a:gd name="connsiteY19" fmla="*/ 149899 h 149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46391" h="149898">
                  <a:moveTo>
                    <a:pt x="56076" y="149899"/>
                  </a:moveTo>
                  <a:cubicBezTo>
                    <a:pt x="35379" y="149899"/>
                    <a:pt x="15309" y="137982"/>
                    <a:pt x="6528" y="117912"/>
                  </a:cubicBezTo>
                  <a:cubicBezTo>
                    <a:pt x="-1625" y="98469"/>
                    <a:pt x="-2253" y="77144"/>
                    <a:pt x="5274" y="57702"/>
                  </a:cubicBezTo>
                  <a:cubicBezTo>
                    <a:pt x="12800" y="38259"/>
                    <a:pt x="27853" y="22579"/>
                    <a:pt x="47296" y="14425"/>
                  </a:cubicBezTo>
                  <a:cubicBezTo>
                    <a:pt x="67993" y="5645"/>
                    <a:pt x="98098" y="0"/>
                    <a:pt x="129457" y="0"/>
                  </a:cubicBezTo>
                  <a:lnTo>
                    <a:pt x="129457" y="0"/>
                  </a:lnTo>
                  <a:cubicBezTo>
                    <a:pt x="138865" y="0"/>
                    <a:pt x="146392" y="7526"/>
                    <a:pt x="146392" y="16307"/>
                  </a:cubicBezTo>
                  <a:cubicBezTo>
                    <a:pt x="146392" y="25715"/>
                    <a:pt x="138865" y="33241"/>
                    <a:pt x="130085" y="33241"/>
                  </a:cubicBezTo>
                  <a:cubicBezTo>
                    <a:pt x="103743" y="33241"/>
                    <a:pt x="78028" y="37631"/>
                    <a:pt x="61094" y="45158"/>
                  </a:cubicBezTo>
                  <a:cubicBezTo>
                    <a:pt x="49804" y="50175"/>
                    <a:pt x="41024" y="58956"/>
                    <a:pt x="36634" y="70245"/>
                  </a:cubicBezTo>
                  <a:cubicBezTo>
                    <a:pt x="32243" y="81535"/>
                    <a:pt x="32243" y="94079"/>
                    <a:pt x="37261" y="104741"/>
                  </a:cubicBezTo>
                  <a:cubicBezTo>
                    <a:pt x="41651" y="114776"/>
                    <a:pt x="54194" y="119794"/>
                    <a:pt x="64857" y="115403"/>
                  </a:cubicBezTo>
                  <a:cubicBezTo>
                    <a:pt x="66738" y="114776"/>
                    <a:pt x="67993" y="112894"/>
                    <a:pt x="68620" y="111013"/>
                  </a:cubicBezTo>
                  <a:cubicBezTo>
                    <a:pt x="61094" y="112267"/>
                    <a:pt x="53567" y="108504"/>
                    <a:pt x="50431" y="100978"/>
                  </a:cubicBezTo>
                  <a:cubicBezTo>
                    <a:pt x="46668" y="92824"/>
                    <a:pt x="50431" y="82789"/>
                    <a:pt x="59212" y="79026"/>
                  </a:cubicBezTo>
                  <a:cubicBezTo>
                    <a:pt x="66738" y="75890"/>
                    <a:pt x="74892" y="75890"/>
                    <a:pt x="82418" y="78399"/>
                  </a:cubicBezTo>
                  <a:cubicBezTo>
                    <a:pt x="89945" y="81535"/>
                    <a:pt x="95590" y="87180"/>
                    <a:pt x="98726" y="94079"/>
                  </a:cubicBezTo>
                  <a:cubicBezTo>
                    <a:pt x="107506" y="113522"/>
                    <a:pt x="98098" y="136728"/>
                    <a:pt x="78655" y="145508"/>
                  </a:cubicBezTo>
                  <a:cubicBezTo>
                    <a:pt x="71129" y="148644"/>
                    <a:pt x="63602" y="149899"/>
                    <a:pt x="56076" y="149899"/>
                  </a:cubicBezTo>
                  <a:lnTo>
                    <a:pt x="56076" y="149899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05" name="Forma Livre: Forma 104">
              <a:extLst>
                <a:ext uri="{FF2B5EF4-FFF2-40B4-BE49-F238E27FC236}">
                  <a16:creationId xmlns:a16="http://schemas.microsoft.com/office/drawing/2014/main" id="{1E9C0097-E32D-4899-820F-3AF5DD747FEE}"/>
                </a:ext>
              </a:extLst>
            </p:cNvPr>
            <p:cNvSpPr/>
            <p:nvPr/>
          </p:nvSpPr>
          <p:spPr>
            <a:xfrm>
              <a:off x="8482678" y="4674746"/>
              <a:ext cx="353735" cy="201955"/>
            </a:xfrm>
            <a:custGeom>
              <a:avLst/>
              <a:gdLst>
                <a:gd name="connsiteX0" fmla="*/ 336175 w 353735"/>
                <a:gd name="connsiteY0" fmla="*/ 201955 h 201955"/>
                <a:gd name="connsiteX1" fmla="*/ 100978 w 353735"/>
                <a:gd name="connsiteY1" fmla="*/ 201955 h 201955"/>
                <a:gd name="connsiteX2" fmla="*/ 0 w 353735"/>
                <a:gd name="connsiteY2" fmla="*/ 104114 h 201955"/>
                <a:gd name="connsiteX3" fmla="*/ 28851 w 353735"/>
                <a:gd name="connsiteY3" fmla="*/ 32614 h 201955"/>
                <a:gd name="connsiteX4" fmla="*/ 113522 w 353735"/>
                <a:gd name="connsiteY4" fmla="*/ 0 h 201955"/>
                <a:gd name="connsiteX5" fmla="*/ 187530 w 353735"/>
                <a:gd name="connsiteY5" fmla="*/ 74008 h 201955"/>
                <a:gd name="connsiteX6" fmla="*/ 136101 w 353735"/>
                <a:gd name="connsiteY6" fmla="*/ 125438 h 201955"/>
                <a:gd name="connsiteX7" fmla="*/ 98469 w 353735"/>
                <a:gd name="connsiteY7" fmla="*/ 87807 h 201955"/>
                <a:gd name="connsiteX8" fmla="*/ 115403 w 353735"/>
                <a:gd name="connsiteY8" fmla="*/ 70872 h 201955"/>
                <a:gd name="connsiteX9" fmla="*/ 132338 w 353735"/>
                <a:gd name="connsiteY9" fmla="*/ 87807 h 201955"/>
                <a:gd name="connsiteX10" fmla="*/ 136728 w 353735"/>
                <a:gd name="connsiteY10" fmla="*/ 92197 h 201955"/>
                <a:gd name="connsiteX11" fmla="*/ 154917 w 353735"/>
                <a:gd name="connsiteY11" fmla="*/ 74008 h 201955"/>
                <a:gd name="connsiteX12" fmla="*/ 114149 w 353735"/>
                <a:gd name="connsiteY12" fmla="*/ 33241 h 201955"/>
                <a:gd name="connsiteX13" fmla="*/ 53311 w 353735"/>
                <a:gd name="connsiteY13" fmla="*/ 55820 h 201955"/>
                <a:gd name="connsiteX14" fmla="*/ 33868 w 353735"/>
                <a:gd name="connsiteY14" fmla="*/ 104114 h 201955"/>
                <a:gd name="connsiteX15" fmla="*/ 101605 w 353735"/>
                <a:gd name="connsiteY15" fmla="*/ 168714 h 201955"/>
                <a:gd name="connsiteX16" fmla="*/ 336802 w 353735"/>
                <a:gd name="connsiteY16" fmla="*/ 168714 h 201955"/>
                <a:gd name="connsiteX17" fmla="*/ 353736 w 353735"/>
                <a:gd name="connsiteY17" fmla="*/ 185648 h 201955"/>
                <a:gd name="connsiteX18" fmla="*/ 336175 w 353735"/>
                <a:gd name="connsiteY18" fmla="*/ 201955 h 201955"/>
                <a:gd name="connsiteX19" fmla="*/ 336175 w 353735"/>
                <a:gd name="connsiteY19" fmla="*/ 201955 h 201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53735" h="201955">
                  <a:moveTo>
                    <a:pt x="336175" y="201955"/>
                  </a:moveTo>
                  <a:lnTo>
                    <a:pt x="100978" y="201955"/>
                  </a:lnTo>
                  <a:cubicBezTo>
                    <a:pt x="34495" y="201955"/>
                    <a:pt x="0" y="152407"/>
                    <a:pt x="0" y="104114"/>
                  </a:cubicBezTo>
                  <a:cubicBezTo>
                    <a:pt x="0" y="77144"/>
                    <a:pt x="10036" y="51429"/>
                    <a:pt x="28851" y="32614"/>
                  </a:cubicBezTo>
                  <a:cubicBezTo>
                    <a:pt x="43276" y="17561"/>
                    <a:pt x="69619" y="0"/>
                    <a:pt x="113522" y="0"/>
                  </a:cubicBezTo>
                  <a:cubicBezTo>
                    <a:pt x="154290" y="0"/>
                    <a:pt x="187530" y="33241"/>
                    <a:pt x="187530" y="74008"/>
                  </a:cubicBezTo>
                  <a:cubicBezTo>
                    <a:pt x="187530" y="102232"/>
                    <a:pt x="164324" y="125438"/>
                    <a:pt x="136101" y="125438"/>
                  </a:cubicBezTo>
                  <a:cubicBezTo>
                    <a:pt x="115403" y="125438"/>
                    <a:pt x="98469" y="108504"/>
                    <a:pt x="98469" y="87807"/>
                  </a:cubicBezTo>
                  <a:cubicBezTo>
                    <a:pt x="98469" y="78399"/>
                    <a:pt x="105995" y="70872"/>
                    <a:pt x="115403" y="70872"/>
                  </a:cubicBezTo>
                  <a:cubicBezTo>
                    <a:pt x="124811" y="70872"/>
                    <a:pt x="132338" y="78399"/>
                    <a:pt x="132338" y="87807"/>
                  </a:cubicBezTo>
                  <a:cubicBezTo>
                    <a:pt x="132338" y="90315"/>
                    <a:pt x="134219" y="92197"/>
                    <a:pt x="136728" y="92197"/>
                  </a:cubicBezTo>
                  <a:cubicBezTo>
                    <a:pt x="146763" y="92197"/>
                    <a:pt x="154917" y="84043"/>
                    <a:pt x="154917" y="74008"/>
                  </a:cubicBezTo>
                  <a:cubicBezTo>
                    <a:pt x="154917" y="51429"/>
                    <a:pt x="136728" y="33241"/>
                    <a:pt x="114149" y="33241"/>
                  </a:cubicBezTo>
                  <a:cubicBezTo>
                    <a:pt x="89062" y="33241"/>
                    <a:pt x="67737" y="40767"/>
                    <a:pt x="53311" y="55820"/>
                  </a:cubicBezTo>
                  <a:cubicBezTo>
                    <a:pt x="40767" y="68364"/>
                    <a:pt x="33868" y="85925"/>
                    <a:pt x="33868" y="104114"/>
                  </a:cubicBezTo>
                  <a:cubicBezTo>
                    <a:pt x="33868" y="136100"/>
                    <a:pt x="54566" y="168714"/>
                    <a:pt x="101605" y="168714"/>
                  </a:cubicBezTo>
                  <a:lnTo>
                    <a:pt x="336802" y="168714"/>
                  </a:lnTo>
                  <a:cubicBezTo>
                    <a:pt x="346210" y="168714"/>
                    <a:pt x="353736" y="176240"/>
                    <a:pt x="353736" y="185648"/>
                  </a:cubicBezTo>
                  <a:cubicBezTo>
                    <a:pt x="352482" y="194429"/>
                    <a:pt x="344955" y="201955"/>
                    <a:pt x="336175" y="201955"/>
                  </a:cubicBezTo>
                  <a:lnTo>
                    <a:pt x="336175" y="201955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06" name="Forma Livre: Forma 105">
              <a:extLst>
                <a:ext uri="{FF2B5EF4-FFF2-40B4-BE49-F238E27FC236}">
                  <a16:creationId xmlns:a16="http://schemas.microsoft.com/office/drawing/2014/main" id="{3E71170F-2F34-4B5B-BE4C-2C20307ED762}"/>
                </a:ext>
              </a:extLst>
            </p:cNvPr>
            <p:cNvSpPr/>
            <p:nvPr/>
          </p:nvSpPr>
          <p:spPr>
            <a:xfrm>
              <a:off x="8562959" y="4903671"/>
              <a:ext cx="194429" cy="125438"/>
            </a:xfrm>
            <a:custGeom>
              <a:avLst/>
              <a:gdLst>
                <a:gd name="connsiteX0" fmla="*/ 51429 w 194429"/>
                <a:gd name="connsiteY0" fmla="*/ 125438 h 125438"/>
                <a:gd name="connsiteX1" fmla="*/ 0 w 194429"/>
                <a:gd name="connsiteY1" fmla="*/ 74008 h 125438"/>
                <a:gd name="connsiteX2" fmla="*/ 74009 w 194429"/>
                <a:gd name="connsiteY2" fmla="*/ 0 h 125438"/>
                <a:gd name="connsiteX3" fmla="*/ 177495 w 194429"/>
                <a:gd name="connsiteY3" fmla="*/ 0 h 125438"/>
                <a:gd name="connsiteX4" fmla="*/ 194429 w 194429"/>
                <a:gd name="connsiteY4" fmla="*/ 16934 h 125438"/>
                <a:gd name="connsiteX5" fmla="*/ 177495 w 194429"/>
                <a:gd name="connsiteY5" fmla="*/ 33868 h 125438"/>
                <a:gd name="connsiteX6" fmla="*/ 74009 w 194429"/>
                <a:gd name="connsiteY6" fmla="*/ 33868 h 125438"/>
                <a:gd name="connsiteX7" fmla="*/ 33241 w 194429"/>
                <a:gd name="connsiteY7" fmla="*/ 74635 h 125438"/>
                <a:gd name="connsiteX8" fmla="*/ 51429 w 194429"/>
                <a:gd name="connsiteY8" fmla="*/ 92824 h 125438"/>
                <a:gd name="connsiteX9" fmla="*/ 55193 w 194429"/>
                <a:gd name="connsiteY9" fmla="*/ 88434 h 125438"/>
                <a:gd name="connsiteX10" fmla="*/ 72127 w 194429"/>
                <a:gd name="connsiteY10" fmla="*/ 71500 h 125438"/>
                <a:gd name="connsiteX11" fmla="*/ 89061 w 194429"/>
                <a:gd name="connsiteY11" fmla="*/ 88434 h 125438"/>
                <a:gd name="connsiteX12" fmla="*/ 51429 w 194429"/>
                <a:gd name="connsiteY12" fmla="*/ 125438 h 125438"/>
                <a:gd name="connsiteX13" fmla="*/ 51429 w 194429"/>
                <a:gd name="connsiteY13" fmla="*/ 125438 h 125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4429" h="125438">
                  <a:moveTo>
                    <a:pt x="51429" y="125438"/>
                  </a:moveTo>
                  <a:cubicBezTo>
                    <a:pt x="23206" y="125438"/>
                    <a:pt x="0" y="102232"/>
                    <a:pt x="0" y="74008"/>
                  </a:cubicBezTo>
                  <a:cubicBezTo>
                    <a:pt x="0" y="33241"/>
                    <a:pt x="33241" y="0"/>
                    <a:pt x="74009" y="0"/>
                  </a:cubicBezTo>
                  <a:lnTo>
                    <a:pt x="177495" y="0"/>
                  </a:lnTo>
                  <a:cubicBezTo>
                    <a:pt x="186903" y="0"/>
                    <a:pt x="194429" y="7526"/>
                    <a:pt x="194429" y="16934"/>
                  </a:cubicBezTo>
                  <a:cubicBezTo>
                    <a:pt x="194429" y="26342"/>
                    <a:pt x="186903" y="33868"/>
                    <a:pt x="177495" y="33868"/>
                  </a:cubicBezTo>
                  <a:lnTo>
                    <a:pt x="74009" y="33868"/>
                  </a:lnTo>
                  <a:cubicBezTo>
                    <a:pt x="51429" y="33868"/>
                    <a:pt x="33241" y="52057"/>
                    <a:pt x="33241" y="74635"/>
                  </a:cubicBezTo>
                  <a:cubicBezTo>
                    <a:pt x="33241" y="84671"/>
                    <a:pt x="41394" y="92824"/>
                    <a:pt x="51429" y="92824"/>
                  </a:cubicBezTo>
                  <a:cubicBezTo>
                    <a:pt x="53938" y="92824"/>
                    <a:pt x="55193" y="90943"/>
                    <a:pt x="55193" y="88434"/>
                  </a:cubicBezTo>
                  <a:cubicBezTo>
                    <a:pt x="55193" y="79026"/>
                    <a:pt x="62719" y="71500"/>
                    <a:pt x="72127" y="71500"/>
                  </a:cubicBezTo>
                  <a:cubicBezTo>
                    <a:pt x="81535" y="71500"/>
                    <a:pt x="89061" y="79026"/>
                    <a:pt x="89061" y="88434"/>
                  </a:cubicBezTo>
                  <a:cubicBezTo>
                    <a:pt x="89061" y="108504"/>
                    <a:pt x="72127" y="125438"/>
                    <a:pt x="51429" y="125438"/>
                  </a:cubicBezTo>
                  <a:lnTo>
                    <a:pt x="51429" y="125438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sp>
        <p:nvSpPr>
          <p:cNvPr id="107" name="Forma Livre: Forma 106">
            <a:extLst>
              <a:ext uri="{FF2B5EF4-FFF2-40B4-BE49-F238E27FC236}">
                <a16:creationId xmlns:a16="http://schemas.microsoft.com/office/drawing/2014/main" id="{A973E8CE-9FE7-47BC-98CE-F9A2CA2579A4}"/>
              </a:ext>
            </a:extLst>
          </p:cNvPr>
          <p:cNvSpPr/>
          <p:nvPr/>
        </p:nvSpPr>
        <p:spPr>
          <a:xfrm>
            <a:off x="9462978" y="4683527"/>
            <a:ext cx="383453" cy="336801"/>
          </a:xfrm>
          <a:custGeom>
            <a:avLst/>
            <a:gdLst>
              <a:gd name="connsiteX0" fmla="*/ 131710 w 383453"/>
              <a:gd name="connsiteY0" fmla="*/ 0 h 336801"/>
              <a:gd name="connsiteX1" fmla="*/ 125438 w 383453"/>
              <a:gd name="connsiteY1" fmla="*/ 1881 h 336801"/>
              <a:gd name="connsiteX2" fmla="*/ 121675 w 383453"/>
              <a:gd name="connsiteY2" fmla="*/ 6272 h 336801"/>
              <a:gd name="connsiteX3" fmla="*/ 37004 w 383453"/>
              <a:gd name="connsiteY3" fmla="*/ 90316 h 336801"/>
              <a:gd name="connsiteX4" fmla="*/ 18816 w 383453"/>
              <a:gd name="connsiteY4" fmla="*/ 75890 h 336801"/>
              <a:gd name="connsiteX5" fmla="*/ 0 w 383453"/>
              <a:gd name="connsiteY5" fmla="*/ 94706 h 336801"/>
              <a:gd name="connsiteX6" fmla="*/ 0 w 383453"/>
              <a:gd name="connsiteY6" fmla="*/ 317986 h 336801"/>
              <a:gd name="connsiteX7" fmla="*/ 18816 w 383453"/>
              <a:gd name="connsiteY7" fmla="*/ 336802 h 336801"/>
              <a:gd name="connsiteX8" fmla="*/ 37631 w 383453"/>
              <a:gd name="connsiteY8" fmla="*/ 317986 h 336801"/>
              <a:gd name="connsiteX9" fmla="*/ 37631 w 383453"/>
              <a:gd name="connsiteY9" fmla="*/ 143627 h 336801"/>
              <a:gd name="connsiteX10" fmla="*/ 123556 w 383453"/>
              <a:gd name="connsiteY10" fmla="*/ 228925 h 336801"/>
              <a:gd name="connsiteX11" fmla="*/ 131083 w 383453"/>
              <a:gd name="connsiteY11" fmla="*/ 232061 h 336801"/>
              <a:gd name="connsiteX12" fmla="*/ 135473 w 383453"/>
              <a:gd name="connsiteY12" fmla="*/ 231434 h 336801"/>
              <a:gd name="connsiteX13" fmla="*/ 137355 w 383453"/>
              <a:gd name="connsiteY13" fmla="*/ 230179 h 336801"/>
              <a:gd name="connsiteX14" fmla="*/ 374433 w 383453"/>
              <a:gd name="connsiteY14" fmla="*/ 180631 h 336801"/>
              <a:gd name="connsiteX15" fmla="*/ 383213 w 383453"/>
              <a:gd name="connsiteY15" fmla="*/ 167460 h 336801"/>
              <a:gd name="connsiteX16" fmla="*/ 383213 w 383453"/>
              <a:gd name="connsiteY16" fmla="*/ 65228 h 336801"/>
              <a:gd name="connsiteX17" fmla="*/ 374433 w 383453"/>
              <a:gd name="connsiteY17" fmla="*/ 52057 h 336801"/>
              <a:gd name="connsiteX18" fmla="*/ 133592 w 383453"/>
              <a:gd name="connsiteY18" fmla="*/ 1881 h 336801"/>
              <a:gd name="connsiteX19" fmla="*/ 131710 w 383453"/>
              <a:gd name="connsiteY19" fmla="*/ 0 h 336801"/>
              <a:gd name="connsiteX20" fmla="*/ 131710 w 383453"/>
              <a:gd name="connsiteY20" fmla="*/ 0 h 336801"/>
              <a:gd name="connsiteX21" fmla="*/ 140491 w 383453"/>
              <a:gd name="connsiteY21" fmla="*/ 206346 h 336801"/>
              <a:gd name="connsiteX22" fmla="*/ 140491 w 383453"/>
              <a:gd name="connsiteY22" fmla="*/ 24461 h 336801"/>
              <a:gd name="connsiteX23" fmla="*/ 180003 w 383453"/>
              <a:gd name="connsiteY23" fmla="*/ 32614 h 336801"/>
              <a:gd name="connsiteX24" fmla="*/ 180003 w 383453"/>
              <a:gd name="connsiteY24" fmla="*/ 197565 h 336801"/>
              <a:gd name="connsiteX25" fmla="*/ 140491 w 383453"/>
              <a:gd name="connsiteY25" fmla="*/ 206346 h 336801"/>
              <a:gd name="connsiteX26" fmla="*/ 140491 w 383453"/>
              <a:gd name="connsiteY26" fmla="*/ 206346 h 336801"/>
              <a:gd name="connsiteX27" fmla="*/ 228298 w 383453"/>
              <a:gd name="connsiteY27" fmla="*/ 187530 h 336801"/>
              <a:gd name="connsiteX28" fmla="*/ 228298 w 383453"/>
              <a:gd name="connsiteY28" fmla="*/ 42649 h 336801"/>
              <a:gd name="connsiteX29" fmla="*/ 270946 w 383453"/>
              <a:gd name="connsiteY29" fmla="*/ 51430 h 336801"/>
              <a:gd name="connsiteX30" fmla="*/ 270946 w 383453"/>
              <a:gd name="connsiteY30" fmla="*/ 178749 h 336801"/>
              <a:gd name="connsiteX31" fmla="*/ 228298 w 383453"/>
              <a:gd name="connsiteY31" fmla="*/ 187530 h 336801"/>
              <a:gd name="connsiteX32" fmla="*/ 228298 w 383453"/>
              <a:gd name="connsiteY32" fmla="*/ 187530 h 336801"/>
              <a:gd name="connsiteX33" fmla="*/ 115403 w 383453"/>
              <a:gd name="connsiteY33" fmla="*/ 188785 h 336801"/>
              <a:gd name="connsiteX34" fmla="*/ 42649 w 383453"/>
              <a:gd name="connsiteY34" fmla="*/ 116658 h 336801"/>
              <a:gd name="connsiteX35" fmla="*/ 115403 w 383453"/>
              <a:gd name="connsiteY35" fmla="*/ 44531 h 336801"/>
              <a:gd name="connsiteX36" fmla="*/ 115403 w 383453"/>
              <a:gd name="connsiteY36" fmla="*/ 188785 h 336801"/>
              <a:gd name="connsiteX37" fmla="*/ 115403 w 383453"/>
              <a:gd name="connsiteY37" fmla="*/ 188785 h 336801"/>
              <a:gd name="connsiteX38" fmla="*/ 319240 w 383453"/>
              <a:gd name="connsiteY38" fmla="*/ 168714 h 336801"/>
              <a:gd name="connsiteX39" fmla="*/ 319240 w 383453"/>
              <a:gd name="connsiteY39" fmla="*/ 62092 h 336801"/>
              <a:gd name="connsiteX40" fmla="*/ 360008 w 383453"/>
              <a:gd name="connsiteY40" fmla="*/ 70872 h 336801"/>
              <a:gd name="connsiteX41" fmla="*/ 360008 w 383453"/>
              <a:gd name="connsiteY41" fmla="*/ 160561 h 336801"/>
              <a:gd name="connsiteX42" fmla="*/ 319240 w 383453"/>
              <a:gd name="connsiteY42" fmla="*/ 168714 h 336801"/>
              <a:gd name="connsiteX43" fmla="*/ 319240 w 383453"/>
              <a:gd name="connsiteY43" fmla="*/ 168714 h 336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383453" h="336801">
                <a:moveTo>
                  <a:pt x="131710" y="0"/>
                </a:moveTo>
                <a:cubicBezTo>
                  <a:pt x="129828" y="0"/>
                  <a:pt x="127320" y="627"/>
                  <a:pt x="125438" y="1881"/>
                </a:cubicBezTo>
                <a:cubicBezTo>
                  <a:pt x="123556" y="3136"/>
                  <a:pt x="122302" y="4390"/>
                  <a:pt x="121675" y="6272"/>
                </a:cubicBezTo>
                <a:lnTo>
                  <a:pt x="37004" y="90316"/>
                </a:lnTo>
                <a:cubicBezTo>
                  <a:pt x="35123" y="82162"/>
                  <a:pt x="27597" y="75890"/>
                  <a:pt x="18816" y="75890"/>
                </a:cubicBezTo>
                <a:cubicBezTo>
                  <a:pt x="8781" y="75890"/>
                  <a:pt x="0" y="84044"/>
                  <a:pt x="0" y="94706"/>
                </a:cubicBezTo>
                <a:lnTo>
                  <a:pt x="0" y="317986"/>
                </a:lnTo>
                <a:cubicBezTo>
                  <a:pt x="0" y="328021"/>
                  <a:pt x="8154" y="336802"/>
                  <a:pt x="18816" y="336802"/>
                </a:cubicBezTo>
                <a:cubicBezTo>
                  <a:pt x="28851" y="336802"/>
                  <a:pt x="37631" y="328648"/>
                  <a:pt x="37631" y="317986"/>
                </a:cubicBezTo>
                <a:lnTo>
                  <a:pt x="37631" y="143627"/>
                </a:lnTo>
                <a:lnTo>
                  <a:pt x="123556" y="228925"/>
                </a:lnTo>
                <a:cubicBezTo>
                  <a:pt x="125438" y="230806"/>
                  <a:pt x="128574" y="232061"/>
                  <a:pt x="131083" y="232061"/>
                </a:cubicBezTo>
                <a:cubicBezTo>
                  <a:pt x="132337" y="232061"/>
                  <a:pt x="134219" y="232061"/>
                  <a:pt x="135473" y="231434"/>
                </a:cubicBezTo>
                <a:cubicBezTo>
                  <a:pt x="136100" y="231434"/>
                  <a:pt x="136728" y="230806"/>
                  <a:pt x="137355" y="230179"/>
                </a:cubicBezTo>
                <a:lnTo>
                  <a:pt x="374433" y="180631"/>
                </a:lnTo>
                <a:cubicBezTo>
                  <a:pt x="380705" y="179377"/>
                  <a:pt x="384468" y="173732"/>
                  <a:pt x="383213" y="167460"/>
                </a:cubicBezTo>
                <a:cubicBezTo>
                  <a:pt x="376314" y="133592"/>
                  <a:pt x="376314" y="99096"/>
                  <a:pt x="383213" y="65228"/>
                </a:cubicBezTo>
                <a:cubicBezTo>
                  <a:pt x="384468" y="58956"/>
                  <a:pt x="380705" y="53311"/>
                  <a:pt x="374433" y="52057"/>
                </a:cubicBezTo>
                <a:lnTo>
                  <a:pt x="133592" y="1881"/>
                </a:lnTo>
                <a:cubicBezTo>
                  <a:pt x="132964" y="0"/>
                  <a:pt x="132337" y="0"/>
                  <a:pt x="131710" y="0"/>
                </a:cubicBezTo>
                <a:lnTo>
                  <a:pt x="131710" y="0"/>
                </a:lnTo>
                <a:close/>
                <a:moveTo>
                  <a:pt x="140491" y="206346"/>
                </a:moveTo>
                <a:cubicBezTo>
                  <a:pt x="129201" y="146135"/>
                  <a:pt x="129201" y="85298"/>
                  <a:pt x="140491" y="24461"/>
                </a:cubicBezTo>
                <a:lnTo>
                  <a:pt x="180003" y="32614"/>
                </a:lnTo>
                <a:cubicBezTo>
                  <a:pt x="169969" y="87180"/>
                  <a:pt x="169969" y="142999"/>
                  <a:pt x="180003" y="197565"/>
                </a:cubicBezTo>
                <a:lnTo>
                  <a:pt x="140491" y="206346"/>
                </a:lnTo>
                <a:lnTo>
                  <a:pt x="140491" y="206346"/>
                </a:lnTo>
                <a:close/>
                <a:moveTo>
                  <a:pt x="228298" y="187530"/>
                </a:moveTo>
                <a:cubicBezTo>
                  <a:pt x="219517" y="139863"/>
                  <a:pt x="219517" y="90316"/>
                  <a:pt x="228298" y="42649"/>
                </a:cubicBezTo>
                <a:lnTo>
                  <a:pt x="270946" y="51430"/>
                </a:lnTo>
                <a:cubicBezTo>
                  <a:pt x="263420" y="93452"/>
                  <a:pt x="263420" y="136728"/>
                  <a:pt x="270946" y="178749"/>
                </a:cubicBezTo>
                <a:lnTo>
                  <a:pt x="228298" y="187530"/>
                </a:lnTo>
                <a:lnTo>
                  <a:pt x="228298" y="187530"/>
                </a:lnTo>
                <a:close/>
                <a:moveTo>
                  <a:pt x="115403" y="188785"/>
                </a:moveTo>
                <a:lnTo>
                  <a:pt x="42649" y="116658"/>
                </a:lnTo>
                <a:lnTo>
                  <a:pt x="115403" y="44531"/>
                </a:lnTo>
                <a:cubicBezTo>
                  <a:pt x="107877" y="92197"/>
                  <a:pt x="108504" y="140491"/>
                  <a:pt x="115403" y="188785"/>
                </a:cubicBezTo>
                <a:lnTo>
                  <a:pt x="115403" y="188785"/>
                </a:lnTo>
                <a:close/>
                <a:moveTo>
                  <a:pt x="319240" y="168714"/>
                </a:moveTo>
                <a:cubicBezTo>
                  <a:pt x="312968" y="133592"/>
                  <a:pt x="312968" y="97215"/>
                  <a:pt x="319240" y="62092"/>
                </a:cubicBezTo>
                <a:lnTo>
                  <a:pt x="360008" y="70872"/>
                </a:lnTo>
                <a:cubicBezTo>
                  <a:pt x="354990" y="100978"/>
                  <a:pt x="354990" y="131083"/>
                  <a:pt x="360008" y="160561"/>
                </a:cubicBezTo>
                <a:lnTo>
                  <a:pt x="319240" y="168714"/>
                </a:lnTo>
                <a:lnTo>
                  <a:pt x="319240" y="168714"/>
                </a:lnTo>
                <a:close/>
              </a:path>
            </a:pathLst>
          </a:custGeom>
          <a:solidFill>
            <a:srgbClr val="B1B1A1"/>
          </a:solidFill>
          <a:ln w="6269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grpSp>
        <p:nvGrpSpPr>
          <p:cNvPr id="108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10482163" y="4654676"/>
            <a:ext cx="393876" cy="393875"/>
            <a:chOff x="10482163" y="4654676"/>
            <a:chExt cx="393876" cy="393875"/>
          </a:xfrm>
          <a:solidFill>
            <a:srgbClr val="B1B1A1"/>
          </a:solidFill>
        </p:grpSpPr>
        <p:sp>
          <p:nvSpPr>
            <p:cNvPr id="109" name="Forma Livre: Forma 108">
              <a:extLst>
                <a:ext uri="{FF2B5EF4-FFF2-40B4-BE49-F238E27FC236}">
                  <a16:creationId xmlns:a16="http://schemas.microsoft.com/office/drawing/2014/main" id="{C9135D4B-B3D0-4D35-AD42-C593E79B2810}"/>
                </a:ext>
              </a:extLst>
            </p:cNvPr>
            <p:cNvSpPr/>
            <p:nvPr/>
          </p:nvSpPr>
          <p:spPr>
            <a:xfrm>
              <a:off x="10482163" y="4654676"/>
              <a:ext cx="393876" cy="393875"/>
            </a:xfrm>
            <a:custGeom>
              <a:avLst/>
              <a:gdLst>
                <a:gd name="connsiteX0" fmla="*/ 196938 w 393876"/>
                <a:gd name="connsiteY0" fmla="*/ 393876 h 393875"/>
                <a:gd name="connsiteX1" fmla="*/ 0 w 393876"/>
                <a:gd name="connsiteY1" fmla="*/ 196938 h 393875"/>
                <a:gd name="connsiteX2" fmla="*/ 196938 w 393876"/>
                <a:gd name="connsiteY2" fmla="*/ 0 h 393875"/>
                <a:gd name="connsiteX3" fmla="*/ 393876 w 393876"/>
                <a:gd name="connsiteY3" fmla="*/ 196938 h 393875"/>
                <a:gd name="connsiteX4" fmla="*/ 196938 w 393876"/>
                <a:gd name="connsiteY4" fmla="*/ 393876 h 393875"/>
                <a:gd name="connsiteX5" fmla="*/ 196938 w 393876"/>
                <a:gd name="connsiteY5" fmla="*/ 393876 h 393875"/>
                <a:gd name="connsiteX6" fmla="*/ 196938 w 393876"/>
                <a:gd name="connsiteY6" fmla="*/ 35123 h 393875"/>
                <a:gd name="connsiteX7" fmla="*/ 35123 w 393876"/>
                <a:gd name="connsiteY7" fmla="*/ 196938 h 393875"/>
                <a:gd name="connsiteX8" fmla="*/ 196938 w 393876"/>
                <a:gd name="connsiteY8" fmla="*/ 358753 h 393875"/>
                <a:gd name="connsiteX9" fmla="*/ 358753 w 393876"/>
                <a:gd name="connsiteY9" fmla="*/ 196938 h 393875"/>
                <a:gd name="connsiteX10" fmla="*/ 196938 w 393876"/>
                <a:gd name="connsiteY10" fmla="*/ 35123 h 393875"/>
                <a:gd name="connsiteX11" fmla="*/ 196938 w 393876"/>
                <a:gd name="connsiteY11" fmla="*/ 35123 h 39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93876" h="393875">
                  <a:moveTo>
                    <a:pt x="196938" y="393876"/>
                  </a:moveTo>
                  <a:cubicBezTo>
                    <a:pt x="88434" y="393876"/>
                    <a:pt x="0" y="305442"/>
                    <a:pt x="0" y="196938"/>
                  </a:cubicBezTo>
                  <a:cubicBezTo>
                    <a:pt x="0" y="88434"/>
                    <a:pt x="88434" y="0"/>
                    <a:pt x="196938" y="0"/>
                  </a:cubicBezTo>
                  <a:cubicBezTo>
                    <a:pt x="305442" y="0"/>
                    <a:pt x="393876" y="88434"/>
                    <a:pt x="393876" y="196938"/>
                  </a:cubicBezTo>
                  <a:cubicBezTo>
                    <a:pt x="393876" y="305442"/>
                    <a:pt x="305442" y="393876"/>
                    <a:pt x="196938" y="393876"/>
                  </a:cubicBezTo>
                  <a:lnTo>
                    <a:pt x="196938" y="393876"/>
                  </a:lnTo>
                  <a:close/>
                  <a:moveTo>
                    <a:pt x="196938" y="35123"/>
                  </a:moveTo>
                  <a:cubicBezTo>
                    <a:pt x="107877" y="35123"/>
                    <a:pt x="35123" y="107877"/>
                    <a:pt x="35123" y="196938"/>
                  </a:cubicBezTo>
                  <a:cubicBezTo>
                    <a:pt x="35123" y="285999"/>
                    <a:pt x="107877" y="358753"/>
                    <a:pt x="196938" y="358753"/>
                  </a:cubicBezTo>
                  <a:cubicBezTo>
                    <a:pt x="285999" y="358753"/>
                    <a:pt x="358753" y="285999"/>
                    <a:pt x="358753" y="196938"/>
                  </a:cubicBezTo>
                  <a:cubicBezTo>
                    <a:pt x="358753" y="107877"/>
                    <a:pt x="285999" y="35123"/>
                    <a:pt x="196938" y="35123"/>
                  </a:cubicBezTo>
                  <a:lnTo>
                    <a:pt x="196938" y="35123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10" name="Forma Livre: Forma 109">
              <a:extLst>
                <a:ext uri="{FF2B5EF4-FFF2-40B4-BE49-F238E27FC236}">
                  <a16:creationId xmlns:a16="http://schemas.microsoft.com/office/drawing/2014/main" id="{043E406D-92D1-418E-A4AB-98CA079B13EC}"/>
                </a:ext>
              </a:extLst>
            </p:cNvPr>
            <p:cNvSpPr/>
            <p:nvPr/>
          </p:nvSpPr>
          <p:spPr>
            <a:xfrm>
              <a:off x="10692899" y="4795167"/>
              <a:ext cx="164324" cy="112894"/>
            </a:xfrm>
            <a:custGeom>
              <a:avLst/>
              <a:gdLst>
                <a:gd name="connsiteX0" fmla="*/ 0 w 164324"/>
                <a:gd name="connsiteY0" fmla="*/ 0 h 112894"/>
                <a:gd name="connsiteX1" fmla="*/ 0 w 164324"/>
                <a:gd name="connsiteY1" fmla="*/ 15053 h 112894"/>
                <a:gd name="connsiteX2" fmla="*/ 35750 w 164324"/>
                <a:gd name="connsiteY2" fmla="*/ 56447 h 112894"/>
                <a:gd name="connsiteX3" fmla="*/ 0 w 164324"/>
                <a:gd name="connsiteY3" fmla="*/ 97842 h 112894"/>
                <a:gd name="connsiteX4" fmla="*/ 0 w 164324"/>
                <a:gd name="connsiteY4" fmla="*/ 112894 h 112894"/>
                <a:gd name="connsiteX5" fmla="*/ 164324 w 164324"/>
                <a:gd name="connsiteY5" fmla="*/ 56447 h 112894"/>
                <a:gd name="connsiteX6" fmla="*/ 0 w 164324"/>
                <a:gd name="connsiteY6" fmla="*/ 0 h 112894"/>
                <a:gd name="connsiteX7" fmla="*/ 0 w 164324"/>
                <a:gd name="connsiteY7" fmla="*/ 0 h 112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4324" h="112894">
                  <a:moveTo>
                    <a:pt x="0" y="0"/>
                  </a:moveTo>
                  <a:lnTo>
                    <a:pt x="0" y="15053"/>
                  </a:lnTo>
                  <a:cubicBezTo>
                    <a:pt x="20071" y="18189"/>
                    <a:pt x="35750" y="35750"/>
                    <a:pt x="35750" y="56447"/>
                  </a:cubicBezTo>
                  <a:cubicBezTo>
                    <a:pt x="35750" y="77772"/>
                    <a:pt x="20071" y="94706"/>
                    <a:pt x="0" y="97842"/>
                  </a:cubicBezTo>
                  <a:lnTo>
                    <a:pt x="0" y="112894"/>
                  </a:lnTo>
                  <a:lnTo>
                    <a:pt x="164324" y="56447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11" name="Forma Livre: Forma 110">
              <a:extLst>
                <a:ext uri="{FF2B5EF4-FFF2-40B4-BE49-F238E27FC236}">
                  <a16:creationId xmlns:a16="http://schemas.microsoft.com/office/drawing/2014/main" id="{6826841E-95E1-4785-BAFB-460BCBE4AB15}"/>
                </a:ext>
              </a:extLst>
            </p:cNvPr>
            <p:cNvSpPr/>
            <p:nvPr/>
          </p:nvSpPr>
          <p:spPr>
            <a:xfrm>
              <a:off x="10614500" y="4780114"/>
              <a:ext cx="142999" cy="142999"/>
            </a:xfrm>
            <a:custGeom>
              <a:avLst/>
              <a:gdLst>
                <a:gd name="connsiteX0" fmla="*/ 71500 w 142999"/>
                <a:gd name="connsiteY0" fmla="*/ 142999 h 142999"/>
                <a:gd name="connsiteX1" fmla="*/ 0 w 142999"/>
                <a:gd name="connsiteY1" fmla="*/ 71500 h 142999"/>
                <a:gd name="connsiteX2" fmla="*/ 71500 w 142999"/>
                <a:gd name="connsiteY2" fmla="*/ 0 h 142999"/>
                <a:gd name="connsiteX3" fmla="*/ 143000 w 142999"/>
                <a:gd name="connsiteY3" fmla="*/ 71500 h 142999"/>
                <a:gd name="connsiteX4" fmla="*/ 71500 w 142999"/>
                <a:gd name="connsiteY4" fmla="*/ 142999 h 142999"/>
                <a:gd name="connsiteX5" fmla="*/ 71500 w 142999"/>
                <a:gd name="connsiteY5" fmla="*/ 142999 h 142999"/>
                <a:gd name="connsiteX6" fmla="*/ 71500 w 142999"/>
                <a:gd name="connsiteY6" fmla="*/ 35123 h 142999"/>
                <a:gd name="connsiteX7" fmla="*/ 35123 w 142999"/>
                <a:gd name="connsiteY7" fmla="*/ 71500 h 142999"/>
                <a:gd name="connsiteX8" fmla="*/ 71500 w 142999"/>
                <a:gd name="connsiteY8" fmla="*/ 107877 h 142999"/>
                <a:gd name="connsiteX9" fmla="*/ 107877 w 142999"/>
                <a:gd name="connsiteY9" fmla="*/ 71500 h 142999"/>
                <a:gd name="connsiteX10" fmla="*/ 71500 w 142999"/>
                <a:gd name="connsiteY10" fmla="*/ 35123 h 142999"/>
                <a:gd name="connsiteX11" fmla="*/ 71500 w 142999"/>
                <a:gd name="connsiteY11" fmla="*/ 35123 h 142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2999" h="142999">
                  <a:moveTo>
                    <a:pt x="71500" y="142999"/>
                  </a:moveTo>
                  <a:cubicBezTo>
                    <a:pt x="31987" y="142999"/>
                    <a:pt x="0" y="111013"/>
                    <a:pt x="0" y="71500"/>
                  </a:cubicBezTo>
                  <a:cubicBezTo>
                    <a:pt x="0" y="31987"/>
                    <a:pt x="31987" y="0"/>
                    <a:pt x="71500" y="0"/>
                  </a:cubicBezTo>
                  <a:cubicBezTo>
                    <a:pt x="111013" y="0"/>
                    <a:pt x="143000" y="31987"/>
                    <a:pt x="143000" y="71500"/>
                  </a:cubicBezTo>
                  <a:cubicBezTo>
                    <a:pt x="143000" y="111013"/>
                    <a:pt x="111013" y="142999"/>
                    <a:pt x="71500" y="142999"/>
                  </a:cubicBezTo>
                  <a:lnTo>
                    <a:pt x="71500" y="142999"/>
                  </a:lnTo>
                  <a:close/>
                  <a:moveTo>
                    <a:pt x="71500" y="35123"/>
                  </a:moveTo>
                  <a:cubicBezTo>
                    <a:pt x="51430" y="35123"/>
                    <a:pt x="35123" y="51430"/>
                    <a:pt x="35123" y="71500"/>
                  </a:cubicBezTo>
                  <a:cubicBezTo>
                    <a:pt x="35123" y="91570"/>
                    <a:pt x="51430" y="107877"/>
                    <a:pt x="71500" y="107877"/>
                  </a:cubicBezTo>
                  <a:cubicBezTo>
                    <a:pt x="91570" y="107877"/>
                    <a:pt x="107877" y="91570"/>
                    <a:pt x="107877" y="71500"/>
                  </a:cubicBezTo>
                  <a:cubicBezTo>
                    <a:pt x="107877" y="51430"/>
                    <a:pt x="91570" y="35123"/>
                    <a:pt x="71500" y="35123"/>
                  </a:cubicBezTo>
                  <a:lnTo>
                    <a:pt x="71500" y="35123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12" name="Forma Livre: Forma 111">
              <a:extLst>
                <a:ext uri="{FF2B5EF4-FFF2-40B4-BE49-F238E27FC236}">
                  <a16:creationId xmlns:a16="http://schemas.microsoft.com/office/drawing/2014/main" id="{E096D0D0-E05B-41A4-9751-650F27F429FB}"/>
                </a:ext>
              </a:extLst>
            </p:cNvPr>
            <p:cNvSpPr/>
            <p:nvPr/>
          </p:nvSpPr>
          <p:spPr>
            <a:xfrm>
              <a:off x="10670320" y="4663457"/>
              <a:ext cx="17561" cy="63346"/>
            </a:xfrm>
            <a:custGeom>
              <a:avLst/>
              <a:gdLst>
                <a:gd name="connsiteX0" fmla="*/ 8781 w 17561"/>
                <a:gd name="connsiteY0" fmla="*/ 63346 h 63346"/>
                <a:gd name="connsiteX1" fmla="*/ 0 w 17561"/>
                <a:gd name="connsiteY1" fmla="*/ 54566 h 63346"/>
                <a:gd name="connsiteX2" fmla="*/ 0 w 17561"/>
                <a:gd name="connsiteY2" fmla="*/ 8781 h 63346"/>
                <a:gd name="connsiteX3" fmla="*/ 8781 w 17561"/>
                <a:gd name="connsiteY3" fmla="*/ 0 h 63346"/>
                <a:gd name="connsiteX4" fmla="*/ 17562 w 17561"/>
                <a:gd name="connsiteY4" fmla="*/ 8781 h 63346"/>
                <a:gd name="connsiteX5" fmla="*/ 17562 w 17561"/>
                <a:gd name="connsiteY5" fmla="*/ 54566 h 63346"/>
                <a:gd name="connsiteX6" fmla="*/ 8781 w 17561"/>
                <a:gd name="connsiteY6" fmla="*/ 63346 h 63346"/>
                <a:gd name="connsiteX7" fmla="*/ 8781 w 17561"/>
                <a:gd name="connsiteY7" fmla="*/ 63346 h 63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561" h="63346">
                  <a:moveTo>
                    <a:pt x="8781" y="63346"/>
                  </a:moveTo>
                  <a:cubicBezTo>
                    <a:pt x="3763" y="63346"/>
                    <a:pt x="0" y="59583"/>
                    <a:pt x="0" y="54566"/>
                  </a:cubicBezTo>
                  <a:lnTo>
                    <a:pt x="0" y="8781"/>
                  </a:lnTo>
                  <a:cubicBezTo>
                    <a:pt x="0" y="3763"/>
                    <a:pt x="3763" y="0"/>
                    <a:pt x="8781" y="0"/>
                  </a:cubicBezTo>
                  <a:cubicBezTo>
                    <a:pt x="13798" y="0"/>
                    <a:pt x="17562" y="3763"/>
                    <a:pt x="17562" y="8781"/>
                  </a:cubicBezTo>
                  <a:lnTo>
                    <a:pt x="17562" y="54566"/>
                  </a:lnTo>
                  <a:cubicBezTo>
                    <a:pt x="17562" y="59583"/>
                    <a:pt x="13798" y="63346"/>
                    <a:pt x="8781" y="63346"/>
                  </a:cubicBezTo>
                  <a:lnTo>
                    <a:pt x="8781" y="63346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13" name="Forma Livre: Forma 112">
              <a:extLst>
                <a:ext uri="{FF2B5EF4-FFF2-40B4-BE49-F238E27FC236}">
                  <a16:creationId xmlns:a16="http://schemas.microsoft.com/office/drawing/2014/main" id="{36C303DD-9094-4B05-99D1-D62D15F35258}"/>
                </a:ext>
              </a:extLst>
            </p:cNvPr>
            <p:cNvSpPr/>
            <p:nvPr/>
          </p:nvSpPr>
          <p:spPr>
            <a:xfrm>
              <a:off x="10670320" y="4976425"/>
              <a:ext cx="17561" cy="63346"/>
            </a:xfrm>
            <a:custGeom>
              <a:avLst/>
              <a:gdLst>
                <a:gd name="connsiteX0" fmla="*/ 8781 w 17561"/>
                <a:gd name="connsiteY0" fmla="*/ 63346 h 63346"/>
                <a:gd name="connsiteX1" fmla="*/ 0 w 17561"/>
                <a:gd name="connsiteY1" fmla="*/ 54566 h 63346"/>
                <a:gd name="connsiteX2" fmla="*/ 0 w 17561"/>
                <a:gd name="connsiteY2" fmla="*/ 8781 h 63346"/>
                <a:gd name="connsiteX3" fmla="*/ 8781 w 17561"/>
                <a:gd name="connsiteY3" fmla="*/ 0 h 63346"/>
                <a:gd name="connsiteX4" fmla="*/ 17562 w 17561"/>
                <a:gd name="connsiteY4" fmla="*/ 8781 h 63346"/>
                <a:gd name="connsiteX5" fmla="*/ 17562 w 17561"/>
                <a:gd name="connsiteY5" fmla="*/ 54566 h 63346"/>
                <a:gd name="connsiteX6" fmla="*/ 8781 w 17561"/>
                <a:gd name="connsiteY6" fmla="*/ 63346 h 63346"/>
                <a:gd name="connsiteX7" fmla="*/ 8781 w 17561"/>
                <a:gd name="connsiteY7" fmla="*/ 63346 h 63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561" h="63346">
                  <a:moveTo>
                    <a:pt x="8781" y="63346"/>
                  </a:moveTo>
                  <a:cubicBezTo>
                    <a:pt x="3763" y="63346"/>
                    <a:pt x="0" y="59583"/>
                    <a:pt x="0" y="54566"/>
                  </a:cubicBezTo>
                  <a:lnTo>
                    <a:pt x="0" y="8781"/>
                  </a:lnTo>
                  <a:cubicBezTo>
                    <a:pt x="0" y="3763"/>
                    <a:pt x="3763" y="0"/>
                    <a:pt x="8781" y="0"/>
                  </a:cubicBezTo>
                  <a:cubicBezTo>
                    <a:pt x="13798" y="0"/>
                    <a:pt x="17562" y="3763"/>
                    <a:pt x="17562" y="8781"/>
                  </a:cubicBezTo>
                  <a:lnTo>
                    <a:pt x="17562" y="54566"/>
                  </a:lnTo>
                  <a:cubicBezTo>
                    <a:pt x="17562" y="59583"/>
                    <a:pt x="13798" y="63346"/>
                    <a:pt x="8781" y="63346"/>
                  </a:cubicBezTo>
                  <a:lnTo>
                    <a:pt x="8781" y="63346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14" name="Forma Livre: Forma 113">
              <a:extLst>
                <a:ext uri="{FF2B5EF4-FFF2-40B4-BE49-F238E27FC236}">
                  <a16:creationId xmlns:a16="http://schemas.microsoft.com/office/drawing/2014/main" id="{8D405012-70F6-4EAD-8815-9F0BD0861E9B}"/>
                </a:ext>
              </a:extLst>
            </p:cNvPr>
            <p:cNvSpPr/>
            <p:nvPr/>
          </p:nvSpPr>
          <p:spPr>
            <a:xfrm>
              <a:off x="10803912" y="4842833"/>
              <a:ext cx="63346" cy="17561"/>
            </a:xfrm>
            <a:custGeom>
              <a:avLst/>
              <a:gdLst>
                <a:gd name="connsiteX0" fmla="*/ 54565 w 63346"/>
                <a:gd name="connsiteY0" fmla="*/ 17561 h 17561"/>
                <a:gd name="connsiteX1" fmla="*/ 8780 w 63346"/>
                <a:gd name="connsiteY1" fmla="*/ 17561 h 17561"/>
                <a:gd name="connsiteX2" fmla="*/ 0 w 63346"/>
                <a:gd name="connsiteY2" fmla="*/ 8780 h 17561"/>
                <a:gd name="connsiteX3" fmla="*/ 8780 w 63346"/>
                <a:gd name="connsiteY3" fmla="*/ 0 h 17561"/>
                <a:gd name="connsiteX4" fmla="*/ 54565 w 63346"/>
                <a:gd name="connsiteY4" fmla="*/ 0 h 17561"/>
                <a:gd name="connsiteX5" fmla="*/ 63346 w 63346"/>
                <a:gd name="connsiteY5" fmla="*/ 8780 h 17561"/>
                <a:gd name="connsiteX6" fmla="*/ 54565 w 63346"/>
                <a:gd name="connsiteY6" fmla="*/ 17561 h 17561"/>
                <a:gd name="connsiteX7" fmla="*/ 54565 w 63346"/>
                <a:gd name="connsiteY7" fmla="*/ 17561 h 17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3346" h="17561">
                  <a:moveTo>
                    <a:pt x="54565" y="17561"/>
                  </a:moveTo>
                  <a:lnTo>
                    <a:pt x="8780" y="17561"/>
                  </a:lnTo>
                  <a:cubicBezTo>
                    <a:pt x="3763" y="17561"/>
                    <a:pt x="0" y="13798"/>
                    <a:pt x="0" y="8780"/>
                  </a:cubicBezTo>
                  <a:cubicBezTo>
                    <a:pt x="0" y="3763"/>
                    <a:pt x="3763" y="0"/>
                    <a:pt x="8780" y="0"/>
                  </a:cubicBezTo>
                  <a:lnTo>
                    <a:pt x="54565" y="0"/>
                  </a:lnTo>
                  <a:cubicBezTo>
                    <a:pt x="59583" y="0"/>
                    <a:pt x="63346" y="3763"/>
                    <a:pt x="63346" y="8780"/>
                  </a:cubicBezTo>
                  <a:cubicBezTo>
                    <a:pt x="63346" y="13798"/>
                    <a:pt x="59583" y="17561"/>
                    <a:pt x="54565" y="17561"/>
                  </a:cubicBezTo>
                  <a:lnTo>
                    <a:pt x="54565" y="17561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15" name="Forma Livre: Forma 114">
              <a:extLst>
                <a:ext uri="{FF2B5EF4-FFF2-40B4-BE49-F238E27FC236}">
                  <a16:creationId xmlns:a16="http://schemas.microsoft.com/office/drawing/2014/main" id="{C9ECDBF5-296F-4897-B964-86142C757377}"/>
                </a:ext>
              </a:extLst>
            </p:cNvPr>
            <p:cNvSpPr/>
            <p:nvPr/>
          </p:nvSpPr>
          <p:spPr>
            <a:xfrm>
              <a:off x="10490944" y="4842833"/>
              <a:ext cx="63346" cy="17561"/>
            </a:xfrm>
            <a:custGeom>
              <a:avLst/>
              <a:gdLst>
                <a:gd name="connsiteX0" fmla="*/ 54565 w 63346"/>
                <a:gd name="connsiteY0" fmla="*/ 17561 h 17561"/>
                <a:gd name="connsiteX1" fmla="*/ 8781 w 63346"/>
                <a:gd name="connsiteY1" fmla="*/ 17561 h 17561"/>
                <a:gd name="connsiteX2" fmla="*/ 0 w 63346"/>
                <a:gd name="connsiteY2" fmla="*/ 8780 h 17561"/>
                <a:gd name="connsiteX3" fmla="*/ 8781 w 63346"/>
                <a:gd name="connsiteY3" fmla="*/ 0 h 17561"/>
                <a:gd name="connsiteX4" fmla="*/ 54565 w 63346"/>
                <a:gd name="connsiteY4" fmla="*/ 0 h 17561"/>
                <a:gd name="connsiteX5" fmla="*/ 63346 w 63346"/>
                <a:gd name="connsiteY5" fmla="*/ 8780 h 17561"/>
                <a:gd name="connsiteX6" fmla="*/ 54565 w 63346"/>
                <a:gd name="connsiteY6" fmla="*/ 17561 h 17561"/>
                <a:gd name="connsiteX7" fmla="*/ 54565 w 63346"/>
                <a:gd name="connsiteY7" fmla="*/ 17561 h 17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3346" h="17561">
                  <a:moveTo>
                    <a:pt x="54565" y="17561"/>
                  </a:moveTo>
                  <a:lnTo>
                    <a:pt x="8781" y="17561"/>
                  </a:lnTo>
                  <a:cubicBezTo>
                    <a:pt x="3763" y="17561"/>
                    <a:pt x="0" y="13798"/>
                    <a:pt x="0" y="8780"/>
                  </a:cubicBezTo>
                  <a:cubicBezTo>
                    <a:pt x="0" y="3763"/>
                    <a:pt x="3763" y="0"/>
                    <a:pt x="8781" y="0"/>
                  </a:cubicBezTo>
                  <a:lnTo>
                    <a:pt x="54565" y="0"/>
                  </a:lnTo>
                  <a:cubicBezTo>
                    <a:pt x="59583" y="0"/>
                    <a:pt x="63346" y="3763"/>
                    <a:pt x="63346" y="8780"/>
                  </a:cubicBezTo>
                  <a:cubicBezTo>
                    <a:pt x="63346" y="13798"/>
                    <a:pt x="59583" y="17561"/>
                    <a:pt x="54565" y="17561"/>
                  </a:cubicBezTo>
                  <a:lnTo>
                    <a:pt x="54565" y="17561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16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6400405" y="1648551"/>
            <a:ext cx="391994" cy="228297"/>
            <a:chOff x="6400405" y="1648551"/>
            <a:chExt cx="391994" cy="228297"/>
          </a:xfrm>
          <a:solidFill>
            <a:srgbClr val="B1B1A1"/>
          </a:solidFill>
        </p:grpSpPr>
        <p:sp>
          <p:nvSpPr>
            <p:cNvPr id="117" name="Forma Livre: Forma 116">
              <a:extLst>
                <a:ext uri="{FF2B5EF4-FFF2-40B4-BE49-F238E27FC236}">
                  <a16:creationId xmlns:a16="http://schemas.microsoft.com/office/drawing/2014/main" id="{F9B622DA-4FFB-4585-A2F5-88CDBED3D7E6}"/>
                </a:ext>
              </a:extLst>
            </p:cNvPr>
            <p:cNvSpPr/>
            <p:nvPr/>
          </p:nvSpPr>
          <p:spPr>
            <a:xfrm>
              <a:off x="6400405" y="1648551"/>
              <a:ext cx="361261" cy="228297"/>
            </a:xfrm>
            <a:custGeom>
              <a:avLst/>
              <a:gdLst>
                <a:gd name="connsiteX0" fmla="*/ 344328 w 361261"/>
                <a:gd name="connsiteY0" fmla="*/ 228298 h 228297"/>
                <a:gd name="connsiteX1" fmla="*/ 16934 w 361261"/>
                <a:gd name="connsiteY1" fmla="*/ 228298 h 228297"/>
                <a:gd name="connsiteX2" fmla="*/ 0 w 361261"/>
                <a:gd name="connsiteY2" fmla="*/ 211363 h 228297"/>
                <a:gd name="connsiteX3" fmla="*/ 0 w 361261"/>
                <a:gd name="connsiteY3" fmla="*/ 16934 h 228297"/>
                <a:gd name="connsiteX4" fmla="*/ 16934 w 361261"/>
                <a:gd name="connsiteY4" fmla="*/ 0 h 228297"/>
                <a:gd name="connsiteX5" fmla="*/ 344328 w 361261"/>
                <a:gd name="connsiteY5" fmla="*/ 0 h 228297"/>
                <a:gd name="connsiteX6" fmla="*/ 361262 w 361261"/>
                <a:gd name="connsiteY6" fmla="*/ 16934 h 228297"/>
                <a:gd name="connsiteX7" fmla="*/ 361262 w 361261"/>
                <a:gd name="connsiteY7" fmla="*/ 211363 h 228297"/>
                <a:gd name="connsiteX8" fmla="*/ 344328 w 361261"/>
                <a:gd name="connsiteY8" fmla="*/ 228298 h 228297"/>
                <a:gd name="connsiteX9" fmla="*/ 344328 w 361261"/>
                <a:gd name="connsiteY9" fmla="*/ 228298 h 228297"/>
                <a:gd name="connsiteX10" fmla="*/ 33868 w 361261"/>
                <a:gd name="connsiteY10" fmla="*/ 195056 h 228297"/>
                <a:gd name="connsiteX11" fmla="*/ 327394 w 361261"/>
                <a:gd name="connsiteY11" fmla="*/ 195056 h 228297"/>
                <a:gd name="connsiteX12" fmla="*/ 327394 w 361261"/>
                <a:gd name="connsiteY12" fmla="*/ 33868 h 228297"/>
                <a:gd name="connsiteX13" fmla="*/ 33868 w 361261"/>
                <a:gd name="connsiteY13" fmla="*/ 33868 h 228297"/>
                <a:gd name="connsiteX14" fmla="*/ 33868 w 361261"/>
                <a:gd name="connsiteY14" fmla="*/ 195056 h 228297"/>
                <a:gd name="connsiteX15" fmla="*/ 33868 w 361261"/>
                <a:gd name="connsiteY15" fmla="*/ 195056 h 228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61261" h="228297">
                  <a:moveTo>
                    <a:pt x="344328" y="228298"/>
                  </a:moveTo>
                  <a:lnTo>
                    <a:pt x="16934" y="228298"/>
                  </a:lnTo>
                  <a:cubicBezTo>
                    <a:pt x="7526" y="228298"/>
                    <a:pt x="0" y="220771"/>
                    <a:pt x="0" y="211363"/>
                  </a:cubicBezTo>
                  <a:lnTo>
                    <a:pt x="0" y="16934"/>
                  </a:lnTo>
                  <a:cubicBezTo>
                    <a:pt x="0" y="7526"/>
                    <a:pt x="7526" y="0"/>
                    <a:pt x="16934" y="0"/>
                  </a:cubicBezTo>
                  <a:lnTo>
                    <a:pt x="344328" y="0"/>
                  </a:lnTo>
                  <a:cubicBezTo>
                    <a:pt x="353735" y="0"/>
                    <a:pt x="361262" y="7526"/>
                    <a:pt x="361262" y="16934"/>
                  </a:cubicBezTo>
                  <a:lnTo>
                    <a:pt x="361262" y="211363"/>
                  </a:lnTo>
                  <a:cubicBezTo>
                    <a:pt x="360635" y="221398"/>
                    <a:pt x="353108" y="228298"/>
                    <a:pt x="344328" y="228298"/>
                  </a:cubicBezTo>
                  <a:lnTo>
                    <a:pt x="344328" y="228298"/>
                  </a:lnTo>
                  <a:close/>
                  <a:moveTo>
                    <a:pt x="33868" y="195056"/>
                  </a:moveTo>
                  <a:lnTo>
                    <a:pt x="327394" y="195056"/>
                  </a:lnTo>
                  <a:lnTo>
                    <a:pt x="327394" y="33868"/>
                  </a:lnTo>
                  <a:lnTo>
                    <a:pt x="33868" y="33868"/>
                  </a:lnTo>
                  <a:lnTo>
                    <a:pt x="33868" y="195056"/>
                  </a:lnTo>
                  <a:lnTo>
                    <a:pt x="33868" y="195056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18" name="Forma Livre: Forma 117">
              <a:extLst>
                <a:ext uri="{FF2B5EF4-FFF2-40B4-BE49-F238E27FC236}">
                  <a16:creationId xmlns:a16="http://schemas.microsoft.com/office/drawing/2014/main" id="{280E81FC-52F0-4C3B-A884-3D9B4D4C33A6}"/>
                </a:ext>
              </a:extLst>
            </p:cNvPr>
            <p:cNvSpPr/>
            <p:nvPr/>
          </p:nvSpPr>
          <p:spPr>
            <a:xfrm>
              <a:off x="6758531" y="1702489"/>
              <a:ext cx="33868" cy="121047"/>
            </a:xfrm>
            <a:custGeom>
              <a:avLst/>
              <a:gdLst>
                <a:gd name="connsiteX0" fmla="*/ 16934 w 33868"/>
                <a:gd name="connsiteY0" fmla="*/ 121048 h 121047"/>
                <a:gd name="connsiteX1" fmla="*/ 0 w 33868"/>
                <a:gd name="connsiteY1" fmla="*/ 104114 h 121047"/>
                <a:gd name="connsiteX2" fmla="*/ 0 w 33868"/>
                <a:gd name="connsiteY2" fmla="*/ 16934 h 121047"/>
                <a:gd name="connsiteX3" fmla="*/ 16934 w 33868"/>
                <a:gd name="connsiteY3" fmla="*/ 0 h 121047"/>
                <a:gd name="connsiteX4" fmla="*/ 33868 w 33868"/>
                <a:gd name="connsiteY4" fmla="*/ 16934 h 121047"/>
                <a:gd name="connsiteX5" fmla="*/ 33868 w 33868"/>
                <a:gd name="connsiteY5" fmla="*/ 104114 h 121047"/>
                <a:gd name="connsiteX6" fmla="*/ 16934 w 33868"/>
                <a:gd name="connsiteY6" fmla="*/ 121048 h 121047"/>
                <a:gd name="connsiteX7" fmla="*/ 16934 w 33868"/>
                <a:gd name="connsiteY7" fmla="*/ 121048 h 121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868" h="121047">
                  <a:moveTo>
                    <a:pt x="16934" y="121048"/>
                  </a:moveTo>
                  <a:cubicBezTo>
                    <a:pt x="7526" y="121048"/>
                    <a:pt x="0" y="113522"/>
                    <a:pt x="0" y="104114"/>
                  </a:cubicBezTo>
                  <a:lnTo>
                    <a:pt x="0" y="16934"/>
                  </a:lnTo>
                  <a:cubicBezTo>
                    <a:pt x="0" y="7526"/>
                    <a:pt x="7526" y="0"/>
                    <a:pt x="16934" y="0"/>
                  </a:cubicBezTo>
                  <a:cubicBezTo>
                    <a:pt x="26342" y="0"/>
                    <a:pt x="33868" y="7526"/>
                    <a:pt x="33868" y="16934"/>
                  </a:cubicBezTo>
                  <a:lnTo>
                    <a:pt x="33868" y="104114"/>
                  </a:lnTo>
                  <a:cubicBezTo>
                    <a:pt x="33241" y="113522"/>
                    <a:pt x="25715" y="121048"/>
                    <a:pt x="16934" y="121048"/>
                  </a:cubicBezTo>
                  <a:lnTo>
                    <a:pt x="16934" y="121048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119" name="Gráfico 2">
              <a:extLst>
                <a:ext uri="{FF2B5EF4-FFF2-40B4-BE49-F238E27FC236}">
                  <a16:creationId xmlns:a16="http://schemas.microsoft.com/office/drawing/2014/main" id="{F5ABA5BB-819F-4501-AD77-3F762FEA4CEA}"/>
                </a:ext>
              </a:extLst>
            </p:cNvPr>
            <p:cNvGrpSpPr/>
            <p:nvPr/>
          </p:nvGrpSpPr>
          <p:grpSpPr>
            <a:xfrm>
              <a:off x="6464379" y="1702489"/>
              <a:ext cx="233314" cy="121047"/>
              <a:chOff x="6464379" y="1702489"/>
              <a:chExt cx="233314" cy="121047"/>
            </a:xfrm>
            <a:grpFill/>
          </p:grpSpPr>
          <p:sp>
            <p:nvSpPr>
              <p:cNvPr id="120" name="Forma Livre: Forma 119">
                <a:extLst>
                  <a:ext uri="{FF2B5EF4-FFF2-40B4-BE49-F238E27FC236}">
                    <a16:creationId xmlns:a16="http://schemas.microsoft.com/office/drawing/2014/main" id="{552628D9-9AA8-40D0-AA61-689FA61B07B5}"/>
                  </a:ext>
                </a:extLst>
              </p:cNvPr>
              <p:cNvSpPr/>
              <p:nvPr/>
            </p:nvSpPr>
            <p:spPr>
              <a:xfrm>
                <a:off x="6464379" y="1702489"/>
                <a:ext cx="33868" cy="121047"/>
              </a:xfrm>
              <a:custGeom>
                <a:avLst/>
                <a:gdLst>
                  <a:gd name="connsiteX0" fmla="*/ 16934 w 33868"/>
                  <a:gd name="connsiteY0" fmla="*/ 121048 h 121047"/>
                  <a:gd name="connsiteX1" fmla="*/ 0 w 33868"/>
                  <a:gd name="connsiteY1" fmla="*/ 104114 h 121047"/>
                  <a:gd name="connsiteX2" fmla="*/ 0 w 33868"/>
                  <a:gd name="connsiteY2" fmla="*/ 16934 h 121047"/>
                  <a:gd name="connsiteX3" fmla="*/ 16934 w 33868"/>
                  <a:gd name="connsiteY3" fmla="*/ 0 h 121047"/>
                  <a:gd name="connsiteX4" fmla="*/ 33868 w 33868"/>
                  <a:gd name="connsiteY4" fmla="*/ 16934 h 121047"/>
                  <a:gd name="connsiteX5" fmla="*/ 33868 w 33868"/>
                  <a:gd name="connsiteY5" fmla="*/ 104114 h 121047"/>
                  <a:gd name="connsiteX6" fmla="*/ 16934 w 33868"/>
                  <a:gd name="connsiteY6" fmla="*/ 121048 h 121047"/>
                  <a:gd name="connsiteX7" fmla="*/ 16934 w 33868"/>
                  <a:gd name="connsiteY7" fmla="*/ 121048 h 1210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868" h="121047">
                    <a:moveTo>
                      <a:pt x="16934" y="121048"/>
                    </a:moveTo>
                    <a:cubicBezTo>
                      <a:pt x="7526" y="121048"/>
                      <a:pt x="0" y="113522"/>
                      <a:pt x="0" y="104114"/>
                    </a:cubicBezTo>
                    <a:lnTo>
                      <a:pt x="0" y="16934"/>
                    </a:lnTo>
                    <a:cubicBezTo>
                      <a:pt x="0" y="7526"/>
                      <a:pt x="7526" y="0"/>
                      <a:pt x="16934" y="0"/>
                    </a:cubicBezTo>
                    <a:cubicBezTo>
                      <a:pt x="26342" y="0"/>
                      <a:pt x="33868" y="7526"/>
                      <a:pt x="33868" y="16934"/>
                    </a:cubicBezTo>
                    <a:lnTo>
                      <a:pt x="33868" y="104114"/>
                    </a:lnTo>
                    <a:cubicBezTo>
                      <a:pt x="33241" y="113522"/>
                      <a:pt x="25715" y="121048"/>
                      <a:pt x="16934" y="121048"/>
                    </a:cubicBezTo>
                    <a:lnTo>
                      <a:pt x="16934" y="121048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21" name="Forma Livre: Forma 120">
                <a:extLst>
                  <a:ext uri="{FF2B5EF4-FFF2-40B4-BE49-F238E27FC236}">
                    <a16:creationId xmlns:a16="http://schemas.microsoft.com/office/drawing/2014/main" id="{EADE60F7-57F0-4FA8-A692-464F6B97CA34}"/>
                  </a:ext>
                </a:extLst>
              </p:cNvPr>
              <p:cNvSpPr/>
              <p:nvPr/>
            </p:nvSpPr>
            <p:spPr>
              <a:xfrm>
                <a:off x="6530861" y="1702489"/>
                <a:ext cx="33868" cy="121047"/>
              </a:xfrm>
              <a:custGeom>
                <a:avLst/>
                <a:gdLst>
                  <a:gd name="connsiteX0" fmla="*/ 16934 w 33868"/>
                  <a:gd name="connsiteY0" fmla="*/ 121048 h 121047"/>
                  <a:gd name="connsiteX1" fmla="*/ 0 w 33868"/>
                  <a:gd name="connsiteY1" fmla="*/ 104114 h 121047"/>
                  <a:gd name="connsiteX2" fmla="*/ 0 w 33868"/>
                  <a:gd name="connsiteY2" fmla="*/ 16934 h 121047"/>
                  <a:gd name="connsiteX3" fmla="*/ 16934 w 33868"/>
                  <a:gd name="connsiteY3" fmla="*/ 0 h 121047"/>
                  <a:gd name="connsiteX4" fmla="*/ 33868 w 33868"/>
                  <a:gd name="connsiteY4" fmla="*/ 16934 h 121047"/>
                  <a:gd name="connsiteX5" fmla="*/ 33868 w 33868"/>
                  <a:gd name="connsiteY5" fmla="*/ 104114 h 121047"/>
                  <a:gd name="connsiteX6" fmla="*/ 16934 w 33868"/>
                  <a:gd name="connsiteY6" fmla="*/ 121048 h 121047"/>
                  <a:gd name="connsiteX7" fmla="*/ 16934 w 33868"/>
                  <a:gd name="connsiteY7" fmla="*/ 121048 h 1210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868" h="121047">
                    <a:moveTo>
                      <a:pt x="16934" y="121048"/>
                    </a:moveTo>
                    <a:cubicBezTo>
                      <a:pt x="7526" y="121048"/>
                      <a:pt x="0" y="113522"/>
                      <a:pt x="0" y="104114"/>
                    </a:cubicBezTo>
                    <a:lnTo>
                      <a:pt x="0" y="16934"/>
                    </a:lnTo>
                    <a:cubicBezTo>
                      <a:pt x="0" y="7526"/>
                      <a:pt x="7526" y="0"/>
                      <a:pt x="16934" y="0"/>
                    </a:cubicBezTo>
                    <a:cubicBezTo>
                      <a:pt x="26342" y="0"/>
                      <a:pt x="33868" y="7526"/>
                      <a:pt x="33868" y="16934"/>
                    </a:cubicBezTo>
                    <a:lnTo>
                      <a:pt x="33868" y="104114"/>
                    </a:lnTo>
                    <a:cubicBezTo>
                      <a:pt x="33241" y="113522"/>
                      <a:pt x="26342" y="121048"/>
                      <a:pt x="16934" y="121048"/>
                    </a:cubicBezTo>
                    <a:lnTo>
                      <a:pt x="16934" y="121048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22" name="Forma Livre: Forma 121">
                <a:extLst>
                  <a:ext uri="{FF2B5EF4-FFF2-40B4-BE49-F238E27FC236}">
                    <a16:creationId xmlns:a16="http://schemas.microsoft.com/office/drawing/2014/main" id="{FB29885F-AB76-4249-98E0-39913A3FF867}"/>
                  </a:ext>
                </a:extLst>
              </p:cNvPr>
              <p:cNvSpPr/>
              <p:nvPr/>
            </p:nvSpPr>
            <p:spPr>
              <a:xfrm>
                <a:off x="6597343" y="1702489"/>
                <a:ext cx="33868" cy="121047"/>
              </a:xfrm>
              <a:custGeom>
                <a:avLst/>
                <a:gdLst>
                  <a:gd name="connsiteX0" fmla="*/ 16934 w 33868"/>
                  <a:gd name="connsiteY0" fmla="*/ 121048 h 121047"/>
                  <a:gd name="connsiteX1" fmla="*/ 0 w 33868"/>
                  <a:gd name="connsiteY1" fmla="*/ 104114 h 121047"/>
                  <a:gd name="connsiteX2" fmla="*/ 0 w 33868"/>
                  <a:gd name="connsiteY2" fmla="*/ 16934 h 121047"/>
                  <a:gd name="connsiteX3" fmla="*/ 16934 w 33868"/>
                  <a:gd name="connsiteY3" fmla="*/ 0 h 121047"/>
                  <a:gd name="connsiteX4" fmla="*/ 33868 w 33868"/>
                  <a:gd name="connsiteY4" fmla="*/ 16934 h 121047"/>
                  <a:gd name="connsiteX5" fmla="*/ 33868 w 33868"/>
                  <a:gd name="connsiteY5" fmla="*/ 104114 h 121047"/>
                  <a:gd name="connsiteX6" fmla="*/ 16934 w 33868"/>
                  <a:gd name="connsiteY6" fmla="*/ 121048 h 121047"/>
                  <a:gd name="connsiteX7" fmla="*/ 16934 w 33868"/>
                  <a:gd name="connsiteY7" fmla="*/ 121048 h 1210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868" h="121047">
                    <a:moveTo>
                      <a:pt x="16934" y="121048"/>
                    </a:moveTo>
                    <a:cubicBezTo>
                      <a:pt x="7526" y="121048"/>
                      <a:pt x="0" y="113522"/>
                      <a:pt x="0" y="104114"/>
                    </a:cubicBezTo>
                    <a:lnTo>
                      <a:pt x="0" y="16934"/>
                    </a:lnTo>
                    <a:cubicBezTo>
                      <a:pt x="0" y="7526"/>
                      <a:pt x="7526" y="0"/>
                      <a:pt x="16934" y="0"/>
                    </a:cubicBezTo>
                    <a:cubicBezTo>
                      <a:pt x="26342" y="0"/>
                      <a:pt x="33868" y="7526"/>
                      <a:pt x="33868" y="16934"/>
                    </a:cubicBezTo>
                    <a:lnTo>
                      <a:pt x="33868" y="104114"/>
                    </a:lnTo>
                    <a:cubicBezTo>
                      <a:pt x="33868" y="113522"/>
                      <a:pt x="26342" y="121048"/>
                      <a:pt x="16934" y="121048"/>
                    </a:cubicBezTo>
                    <a:lnTo>
                      <a:pt x="16934" y="121048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23" name="Forma Livre: Forma 122">
                <a:extLst>
                  <a:ext uri="{FF2B5EF4-FFF2-40B4-BE49-F238E27FC236}">
                    <a16:creationId xmlns:a16="http://schemas.microsoft.com/office/drawing/2014/main" id="{5190FDBE-EAA4-4119-B56F-0FF7CED1BC06}"/>
                  </a:ext>
                </a:extLst>
              </p:cNvPr>
              <p:cNvSpPr/>
              <p:nvPr/>
            </p:nvSpPr>
            <p:spPr>
              <a:xfrm>
                <a:off x="6663825" y="1702489"/>
                <a:ext cx="33868" cy="121047"/>
              </a:xfrm>
              <a:custGeom>
                <a:avLst/>
                <a:gdLst>
                  <a:gd name="connsiteX0" fmla="*/ 16934 w 33868"/>
                  <a:gd name="connsiteY0" fmla="*/ 121048 h 121047"/>
                  <a:gd name="connsiteX1" fmla="*/ 0 w 33868"/>
                  <a:gd name="connsiteY1" fmla="*/ 104114 h 121047"/>
                  <a:gd name="connsiteX2" fmla="*/ 0 w 33868"/>
                  <a:gd name="connsiteY2" fmla="*/ 16934 h 121047"/>
                  <a:gd name="connsiteX3" fmla="*/ 16934 w 33868"/>
                  <a:gd name="connsiteY3" fmla="*/ 0 h 121047"/>
                  <a:gd name="connsiteX4" fmla="*/ 33868 w 33868"/>
                  <a:gd name="connsiteY4" fmla="*/ 16934 h 121047"/>
                  <a:gd name="connsiteX5" fmla="*/ 33868 w 33868"/>
                  <a:gd name="connsiteY5" fmla="*/ 104114 h 121047"/>
                  <a:gd name="connsiteX6" fmla="*/ 16934 w 33868"/>
                  <a:gd name="connsiteY6" fmla="*/ 121048 h 121047"/>
                  <a:gd name="connsiteX7" fmla="*/ 16934 w 33868"/>
                  <a:gd name="connsiteY7" fmla="*/ 121048 h 1210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868" h="121047">
                    <a:moveTo>
                      <a:pt x="16934" y="121048"/>
                    </a:moveTo>
                    <a:cubicBezTo>
                      <a:pt x="7526" y="121048"/>
                      <a:pt x="0" y="113522"/>
                      <a:pt x="0" y="104114"/>
                    </a:cubicBezTo>
                    <a:lnTo>
                      <a:pt x="0" y="16934"/>
                    </a:lnTo>
                    <a:cubicBezTo>
                      <a:pt x="0" y="7526"/>
                      <a:pt x="7526" y="0"/>
                      <a:pt x="16934" y="0"/>
                    </a:cubicBezTo>
                    <a:cubicBezTo>
                      <a:pt x="26342" y="0"/>
                      <a:pt x="33868" y="7526"/>
                      <a:pt x="33868" y="16934"/>
                    </a:cubicBezTo>
                    <a:lnTo>
                      <a:pt x="33868" y="104114"/>
                    </a:lnTo>
                    <a:cubicBezTo>
                      <a:pt x="33868" y="113522"/>
                      <a:pt x="26342" y="121048"/>
                      <a:pt x="16934" y="121048"/>
                    </a:cubicBezTo>
                    <a:lnTo>
                      <a:pt x="16934" y="121048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124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7420845" y="1648551"/>
            <a:ext cx="391994" cy="228297"/>
            <a:chOff x="7420845" y="1648551"/>
            <a:chExt cx="391994" cy="228297"/>
          </a:xfrm>
          <a:solidFill>
            <a:srgbClr val="B1B1A1"/>
          </a:solidFill>
        </p:grpSpPr>
        <p:sp>
          <p:nvSpPr>
            <p:cNvPr id="125" name="Forma Livre: Forma 124">
              <a:extLst>
                <a:ext uri="{FF2B5EF4-FFF2-40B4-BE49-F238E27FC236}">
                  <a16:creationId xmlns:a16="http://schemas.microsoft.com/office/drawing/2014/main" id="{C3BEF57F-9410-4676-AB9D-17F5C08F40D8}"/>
                </a:ext>
              </a:extLst>
            </p:cNvPr>
            <p:cNvSpPr/>
            <p:nvPr/>
          </p:nvSpPr>
          <p:spPr>
            <a:xfrm>
              <a:off x="7420845" y="1648551"/>
              <a:ext cx="361261" cy="228297"/>
            </a:xfrm>
            <a:custGeom>
              <a:avLst/>
              <a:gdLst>
                <a:gd name="connsiteX0" fmla="*/ 344328 w 361261"/>
                <a:gd name="connsiteY0" fmla="*/ 228298 h 228297"/>
                <a:gd name="connsiteX1" fmla="*/ 16934 w 361261"/>
                <a:gd name="connsiteY1" fmla="*/ 228298 h 228297"/>
                <a:gd name="connsiteX2" fmla="*/ 0 w 361261"/>
                <a:gd name="connsiteY2" fmla="*/ 211363 h 228297"/>
                <a:gd name="connsiteX3" fmla="*/ 0 w 361261"/>
                <a:gd name="connsiteY3" fmla="*/ 16934 h 228297"/>
                <a:gd name="connsiteX4" fmla="*/ 16934 w 361261"/>
                <a:gd name="connsiteY4" fmla="*/ 0 h 228297"/>
                <a:gd name="connsiteX5" fmla="*/ 344328 w 361261"/>
                <a:gd name="connsiteY5" fmla="*/ 0 h 228297"/>
                <a:gd name="connsiteX6" fmla="*/ 361262 w 361261"/>
                <a:gd name="connsiteY6" fmla="*/ 16934 h 228297"/>
                <a:gd name="connsiteX7" fmla="*/ 361262 w 361261"/>
                <a:gd name="connsiteY7" fmla="*/ 211363 h 228297"/>
                <a:gd name="connsiteX8" fmla="*/ 344328 w 361261"/>
                <a:gd name="connsiteY8" fmla="*/ 228298 h 228297"/>
                <a:gd name="connsiteX9" fmla="*/ 344328 w 361261"/>
                <a:gd name="connsiteY9" fmla="*/ 228298 h 228297"/>
                <a:gd name="connsiteX10" fmla="*/ 33868 w 361261"/>
                <a:gd name="connsiteY10" fmla="*/ 195056 h 228297"/>
                <a:gd name="connsiteX11" fmla="*/ 327393 w 361261"/>
                <a:gd name="connsiteY11" fmla="*/ 195056 h 228297"/>
                <a:gd name="connsiteX12" fmla="*/ 327393 w 361261"/>
                <a:gd name="connsiteY12" fmla="*/ 33868 h 228297"/>
                <a:gd name="connsiteX13" fmla="*/ 33868 w 361261"/>
                <a:gd name="connsiteY13" fmla="*/ 33868 h 228297"/>
                <a:gd name="connsiteX14" fmla="*/ 33868 w 361261"/>
                <a:gd name="connsiteY14" fmla="*/ 195056 h 228297"/>
                <a:gd name="connsiteX15" fmla="*/ 33868 w 361261"/>
                <a:gd name="connsiteY15" fmla="*/ 195056 h 228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61261" h="228297">
                  <a:moveTo>
                    <a:pt x="344328" y="228298"/>
                  </a:moveTo>
                  <a:lnTo>
                    <a:pt x="16934" y="228298"/>
                  </a:lnTo>
                  <a:cubicBezTo>
                    <a:pt x="7526" y="228298"/>
                    <a:pt x="0" y="220771"/>
                    <a:pt x="0" y="211363"/>
                  </a:cubicBezTo>
                  <a:lnTo>
                    <a:pt x="0" y="16934"/>
                  </a:lnTo>
                  <a:cubicBezTo>
                    <a:pt x="0" y="7526"/>
                    <a:pt x="7526" y="0"/>
                    <a:pt x="16934" y="0"/>
                  </a:cubicBezTo>
                  <a:lnTo>
                    <a:pt x="344328" y="0"/>
                  </a:lnTo>
                  <a:cubicBezTo>
                    <a:pt x="353736" y="0"/>
                    <a:pt x="361262" y="7526"/>
                    <a:pt x="361262" y="16934"/>
                  </a:cubicBezTo>
                  <a:lnTo>
                    <a:pt x="361262" y="211363"/>
                  </a:lnTo>
                  <a:cubicBezTo>
                    <a:pt x="361262" y="221398"/>
                    <a:pt x="353736" y="228298"/>
                    <a:pt x="344328" y="228298"/>
                  </a:cubicBezTo>
                  <a:lnTo>
                    <a:pt x="344328" y="228298"/>
                  </a:lnTo>
                  <a:close/>
                  <a:moveTo>
                    <a:pt x="33868" y="195056"/>
                  </a:moveTo>
                  <a:lnTo>
                    <a:pt x="327393" y="195056"/>
                  </a:lnTo>
                  <a:lnTo>
                    <a:pt x="327393" y="33868"/>
                  </a:lnTo>
                  <a:lnTo>
                    <a:pt x="33868" y="33868"/>
                  </a:lnTo>
                  <a:lnTo>
                    <a:pt x="33868" y="195056"/>
                  </a:lnTo>
                  <a:lnTo>
                    <a:pt x="33868" y="195056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26" name="Forma Livre: Forma 125">
              <a:extLst>
                <a:ext uri="{FF2B5EF4-FFF2-40B4-BE49-F238E27FC236}">
                  <a16:creationId xmlns:a16="http://schemas.microsoft.com/office/drawing/2014/main" id="{C3F7E56B-C588-4F3D-B8E3-C7653002F5F5}"/>
                </a:ext>
              </a:extLst>
            </p:cNvPr>
            <p:cNvSpPr/>
            <p:nvPr/>
          </p:nvSpPr>
          <p:spPr>
            <a:xfrm>
              <a:off x="7778970" y="1702489"/>
              <a:ext cx="33868" cy="121047"/>
            </a:xfrm>
            <a:custGeom>
              <a:avLst/>
              <a:gdLst>
                <a:gd name="connsiteX0" fmla="*/ 16934 w 33868"/>
                <a:gd name="connsiteY0" fmla="*/ 121048 h 121047"/>
                <a:gd name="connsiteX1" fmla="*/ 0 w 33868"/>
                <a:gd name="connsiteY1" fmla="*/ 104114 h 121047"/>
                <a:gd name="connsiteX2" fmla="*/ 0 w 33868"/>
                <a:gd name="connsiteY2" fmla="*/ 16934 h 121047"/>
                <a:gd name="connsiteX3" fmla="*/ 16934 w 33868"/>
                <a:gd name="connsiteY3" fmla="*/ 0 h 121047"/>
                <a:gd name="connsiteX4" fmla="*/ 33868 w 33868"/>
                <a:gd name="connsiteY4" fmla="*/ 16934 h 121047"/>
                <a:gd name="connsiteX5" fmla="*/ 33868 w 33868"/>
                <a:gd name="connsiteY5" fmla="*/ 104114 h 121047"/>
                <a:gd name="connsiteX6" fmla="*/ 16934 w 33868"/>
                <a:gd name="connsiteY6" fmla="*/ 121048 h 121047"/>
                <a:gd name="connsiteX7" fmla="*/ 16934 w 33868"/>
                <a:gd name="connsiteY7" fmla="*/ 121048 h 121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868" h="121047">
                  <a:moveTo>
                    <a:pt x="16934" y="121048"/>
                  </a:moveTo>
                  <a:cubicBezTo>
                    <a:pt x="7526" y="121048"/>
                    <a:pt x="0" y="113522"/>
                    <a:pt x="0" y="104114"/>
                  </a:cubicBezTo>
                  <a:lnTo>
                    <a:pt x="0" y="16934"/>
                  </a:lnTo>
                  <a:cubicBezTo>
                    <a:pt x="0" y="7526"/>
                    <a:pt x="7526" y="0"/>
                    <a:pt x="16934" y="0"/>
                  </a:cubicBezTo>
                  <a:cubicBezTo>
                    <a:pt x="26342" y="0"/>
                    <a:pt x="33868" y="7526"/>
                    <a:pt x="33868" y="16934"/>
                  </a:cubicBezTo>
                  <a:lnTo>
                    <a:pt x="33868" y="104114"/>
                  </a:lnTo>
                  <a:cubicBezTo>
                    <a:pt x="33868" y="113522"/>
                    <a:pt x="26342" y="121048"/>
                    <a:pt x="16934" y="121048"/>
                  </a:cubicBezTo>
                  <a:lnTo>
                    <a:pt x="16934" y="121048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127" name="Gráfico 2">
              <a:extLst>
                <a:ext uri="{FF2B5EF4-FFF2-40B4-BE49-F238E27FC236}">
                  <a16:creationId xmlns:a16="http://schemas.microsoft.com/office/drawing/2014/main" id="{F5ABA5BB-819F-4501-AD77-3F762FEA4CEA}"/>
                </a:ext>
              </a:extLst>
            </p:cNvPr>
            <p:cNvGrpSpPr/>
            <p:nvPr/>
          </p:nvGrpSpPr>
          <p:grpSpPr>
            <a:xfrm>
              <a:off x="7484818" y="1702489"/>
              <a:ext cx="166832" cy="121047"/>
              <a:chOff x="7484818" y="1702489"/>
              <a:chExt cx="166832" cy="121047"/>
            </a:xfrm>
            <a:grpFill/>
          </p:grpSpPr>
          <p:sp>
            <p:nvSpPr>
              <p:cNvPr id="128" name="Forma Livre: Forma 127">
                <a:extLst>
                  <a:ext uri="{FF2B5EF4-FFF2-40B4-BE49-F238E27FC236}">
                    <a16:creationId xmlns:a16="http://schemas.microsoft.com/office/drawing/2014/main" id="{2A87CF23-29F8-4F78-BD9F-A23B83E3E903}"/>
                  </a:ext>
                </a:extLst>
              </p:cNvPr>
              <p:cNvSpPr/>
              <p:nvPr/>
            </p:nvSpPr>
            <p:spPr>
              <a:xfrm>
                <a:off x="7484818" y="1702489"/>
                <a:ext cx="33868" cy="121047"/>
              </a:xfrm>
              <a:custGeom>
                <a:avLst/>
                <a:gdLst>
                  <a:gd name="connsiteX0" fmla="*/ 16934 w 33868"/>
                  <a:gd name="connsiteY0" fmla="*/ 121048 h 121047"/>
                  <a:gd name="connsiteX1" fmla="*/ 0 w 33868"/>
                  <a:gd name="connsiteY1" fmla="*/ 104114 h 121047"/>
                  <a:gd name="connsiteX2" fmla="*/ 0 w 33868"/>
                  <a:gd name="connsiteY2" fmla="*/ 16934 h 121047"/>
                  <a:gd name="connsiteX3" fmla="*/ 16934 w 33868"/>
                  <a:gd name="connsiteY3" fmla="*/ 0 h 121047"/>
                  <a:gd name="connsiteX4" fmla="*/ 33868 w 33868"/>
                  <a:gd name="connsiteY4" fmla="*/ 16934 h 121047"/>
                  <a:gd name="connsiteX5" fmla="*/ 33868 w 33868"/>
                  <a:gd name="connsiteY5" fmla="*/ 104114 h 121047"/>
                  <a:gd name="connsiteX6" fmla="*/ 16934 w 33868"/>
                  <a:gd name="connsiteY6" fmla="*/ 121048 h 121047"/>
                  <a:gd name="connsiteX7" fmla="*/ 16934 w 33868"/>
                  <a:gd name="connsiteY7" fmla="*/ 121048 h 1210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868" h="121047">
                    <a:moveTo>
                      <a:pt x="16934" y="121048"/>
                    </a:moveTo>
                    <a:cubicBezTo>
                      <a:pt x="7526" y="121048"/>
                      <a:pt x="0" y="113522"/>
                      <a:pt x="0" y="104114"/>
                    </a:cubicBezTo>
                    <a:lnTo>
                      <a:pt x="0" y="16934"/>
                    </a:lnTo>
                    <a:cubicBezTo>
                      <a:pt x="0" y="7526"/>
                      <a:pt x="7526" y="0"/>
                      <a:pt x="16934" y="0"/>
                    </a:cubicBezTo>
                    <a:cubicBezTo>
                      <a:pt x="26342" y="0"/>
                      <a:pt x="33868" y="7526"/>
                      <a:pt x="33868" y="16934"/>
                    </a:cubicBezTo>
                    <a:lnTo>
                      <a:pt x="33868" y="104114"/>
                    </a:lnTo>
                    <a:cubicBezTo>
                      <a:pt x="33868" y="113522"/>
                      <a:pt x="26342" y="121048"/>
                      <a:pt x="16934" y="121048"/>
                    </a:cubicBezTo>
                    <a:lnTo>
                      <a:pt x="16934" y="121048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29" name="Forma Livre: Forma 128">
                <a:extLst>
                  <a:ext uri="{FF2B5EF4-FFF2-40B4-BE49-F238E27FC236}">
                    <a16:creationId xmlns:a16="http://schemas.microsoft.com/office/drawing/2014/main" id="{71C13BF6-7D08-4B62-9184-0C24BCB60442}"/>
                  </a:ext>
                </a:extLst>
              </p:cNvPr>
              <p:cNvSpPr/>
              <p:nvPr/>
            </p:nvSpPr>
            <p:spPr>
              <a:xfrm>
                <a:off x="7551300" y="1702489"/>
                <a:ext cx="33868" cy="121047"/>
              </a:xfrm>
              <a:custGeom>
                <a:avLst/>
                <a:gdLst>
                  <a:gd name="connsiteX0" fmla="*/ 16934 w 33868"/>
                  <a:gd name="connsiteY0" fmla="*/ 121048 h 121047"/>
                  <a:gd name="connsiteX1" fmla="*/ 0 w 33868"/>
                  <a:gd name="connsiteY1" fmla="*/ 104114 h 121047"/>
                  <a:gd name="connsiteX2" fmla="*/ 0 w 33868"/>
                  <a:gd name="connsiteY2" fmla="*/ 16934 h 121047"/>
                  <a:gd name="connsiteX3" fmla="*/ 16934 w 33868"/>
                  <a:gd name="connsiteY3" fmla="*/ 0 h 121047"/>
                  <a:gd name="connsiteX4" fmla="*/ 33868 w 33868"/>
                  <a:gd name="connsiteY4" fmla="*/ 16934 h 121047"/>
                  <a:gd name="connsiteX5" fmla="*/ 33868 w 33868"/>
                  <a:gd name="connsiteY5" fmla="*/ 104114 h 121047"/>
                  <a:gd name="connsiteX6" fmla="*/ 16934 w 33868"/>
                  <a:gd name="connsiteY6" fmla="*/ 121048 h 121047"/>
                  <a:gd name="connsiteX7" fmla="*/ 16934 w 33868"/>
                  <a:gd name="connsiteY7" fmla="*/ 121048 h 1210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868" h="121047">
                    <a:moveTo>
                      <a:pt x="16934" y="121048"/>
                    </a:moveTo>
                    <a:cubicBezTo>
                      <a:pt x="7526" y="121048"/>
                      <a:pt x="0" y="113522"/>
                      <a:pt x="0" y="104114"/>
                    </a:cubicBezTo>
                    <a:lnTo>
                      <a:pt x="0" y="16934"/>
                    </a:lnTo>
                    <a:cubicBezTo>
                      <a:pt x="0" y="7526"/>
                      <a:pt x="7526" y="0"/>
                      <a:pt x="16934" y="0"/>
                    </a:cubicBezTo>
                    <a:cubicBezTo>
                      <a:pt x="26342" y="0"/>
                      <a:pt x="33868" y="7526"/>
                      <a:pt x="33868" y="16934"/>
                    </a:cubicBezTo>
                    <a:lnTo>
                      <a:pt x="33868" y="104114"/>
                    </a:lnTo>
                    <a:cubicBezTo>
                      <a:pt x="33868" y="113522"/>
                      <a:pt x="26342" y="121048"/>
                      <a:pt x="16934" y="121048"/>
                    </a:cubicBezTo>
                    <a:lnTo>
                      <a:pt x="16934" y="121048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30" name="Forma Livre: Forma 129">
                <a:extLst>
                  <a:ext uri="{FF2B5EF4-FFF2-40B4-BE49-F238E27FC236}">
                    <a16:creationId xmlns:a16="http://schemas.microsoft.com/office/drawing/2014/main" id="{4E6B2E22-8895-4BE4-9D86-46B7AF61E86B}"/>
                  </a:ext>
                </a:extLst>
              </p:cNvPr>
              <p:cNvSpPr/>
              <p:nvPr/>
            </p:nvSpPr>
            <p:spPr>
              <a:xfrm>
                <a:off x="7617782" y="1702489"/>
                <a:ext cx="33868" cy="121047"/>
              </a:xfrm>
              <a:custGeom>
                <a:avLst/>
                <a:gdLst>
                  <a:gd name="connsiteX0" fmla="*/ 16934 w 33868"/>
                  <a:gd name="connsiteY0" fmla="*/ 121048 h 121047"/>
                  <a:gd name="connsiteX1" fmla="*/ 0 w 33868"/>
                  <a:gd name="connsiteY1" fmla="*/ 104114 h 121047"/>
                  <a:gd name="connsiteX2" fmla="*/ 0 w 33868"/>
                  <a:gd name="connsiteY2" fmla="*/ 16934 h 121047"/>
                  <a:gd name="connsiteX3" fmla="*/ 16934 w 33868"/>
                  <a:gd name="connsiteY3" fmla="*/ 0 h 121047"/>
                  <a:gd name="connsiteX4" fmla="*/ 33868 w 33868"/>
                  <a:gd name="connsiteY4" fmla="*/ 16934 h 121047"/>
                  <a:gd name="connsiteX5" fmla="*/ 33868 w 33868"/>
                  <a:gd name="connsiteY5" fmla="*/ 104114 h 121047"/>
                  <a:gd name="connsiteX6" fmla="*/ 16934 w 33868"/>
                  <a:gd name="connsiteY6" fmla="*/ 121048 h 121047"/>
                  <a:gd name="connsiteX7" fmla="*/ 16934 w 33868"/>
                  <a:gd name="connsiteY7" fmla="*/ 121048 h 1210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868" h="121047">
                    <a:moveTo>
                      <a:pt x="16934" y="121048"/>
                    </a:moveTo>
                    <a:cubicBezTo>
                      <a:pt x="7526" y="121048"/>
                      <a:pt x="0" y="113522"/>
                      <a:pt x="0" y="104114"/>
                    </a:cubicBezTo>
                    <a:lnTo>
                      <a:pt x="0" y="16934"/>
                    </a:lnTo>
                    <a:cubicBezTo>
                      <a:pt x="0" y="7526"/>
                      <a:pt x="7526" y="0"/>
                      <a:pt x="16934" y="0"/>
                    </a:cubicBezTo>
                    <a:cubicBezTo>
                      <a:pt x="26342" y="0"/>
                      <a:pt x="33868" y="7526"/>
                      <a:pt x="33868" y="16934"/>
                    </a:cubicBezTo>
                    <a:lnTo>
                      <a:pt x="33868" y="104114"/>
                    </a:lnTo>
                    <a:cubicBezTo>
                      <a:pt x="33868" y="113522"/>
                      <a:pt x="26342" y="121048"/>
                      <a:pt x="16934" y="121048"/>
                    </a:cubicBezTo>
                    <a:lnTo>
                      <a:pt x="16934" y="121048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131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8442539" y="1648551"/>
            <a:ext cx="391994" cy="228297"/>
            <a:chOff x="8442539" y="1648551"/>
            <a:chExt cx="391994" cy="228297"/>
          </a:xfrm>
          <a:solidFill>
            <a:srgbClr val="B1B1A1"/>
          </a:solidFill>
        </p:grpSpPr>
        <p:sp>
          <p:nvSpPr>
            <p:cNvPr id="132" name="Forma Livre: Forma 131">
              <a:extLst>
                <a:ext uri="{FF2B5EF4-FFF2-40B4-BE49-F238E27FC236}">
                  <a16:creationId xmlns:a16="http://schemas.microsoft.com/office/drawing/2014/main" id="{BF9CB1B5-5755-412C-BC43-E93DD1F94B2D}"/>
                </a:ext>
              </a:extLst>
            </p:cNvPr>
            <p:cNvSpPr/>
            <p:nvPr/>
          </p:nvSpPr>
          <p:spPr>
            <a:xfrm>
              <a:off x="8442539" y="1648551"/>
              <a:ext cx="361261" cy="228297"/>
            </a:xfrm>
            <a:custGeom>
              <a:avLst/>
              <a:gdLst>
                <a:gd name="connsiteX0" fmla="*/ 343700 w 361261"/>
                <a:gd name="connsiteY0" fmla="*/ 228298 h 228297"/>
                <a:gd name="connsiteX1" fmla="*/ 16934 w 361261"/>
                <a:gd name="connsiteY1" fmla="*/ 228298 h 228297"/>
                <a:gd name="connsiteX2" fmla="*/ 0 w 361261"/>
                <a:gd name="connsiteY2" fmla="*/ 211363 h 228297"/>
                <a:gd name="connsiteX3" fmla="*/ 0 w 361261"/>
                <a:gd name="connsiteY3" fmla="*/ 16934 h 228297"/>
                <a:gd name="connsiteX4" fmla="*/ 16934 w 361261"/>
                <a:gd name="connsiteY4" fmla="*/ 0 h 228297"/>
                <a:gd name="connsiteX5" fmla="*/ 344327 w 361261"/>
                <a:gd name="connsiteY5" fmla="*/ 0 h 228297"/>
                <a:gd name="connsiteX6" fmla="*/ 361262 w 361261"/>
                <a:gd name="connsiteY6" fmla="*/ 16934 h 228297"/>
                <a:gd name="connsiteX7" fmla="*/ 361262 w 361261"/>
                <a:gd name="connsiteY7" fmla="*/ 211363 h 228297"/>
                <a:gd name="connsiteX8" fmla="*/ 343700 w 361261"/>
                <a:gd name="connsiteY8" fmla="*/ 228298 h 228297"/>
                <a:gd name="connsiteX9" fmla="*/ 343700 w 361261"/>
                <a:gd name="connsiteY9" fmla="*/ 228298 h 228297"/>
                <a:gd name="connsiteX10" fmla="*/ 33241 w 361261"/>
                <a:gd name="connsiteY10" fmla="*/ 195056 h 228297"/>
                <a:gd name="connsiteX11" fmla="*/ 326766 w 361261"/>
                <a:gd name="connsiteY11" fmla="*/ 195056 h 228297"/>
                <a:gd name="connsiteX12" fmla="*/ 326766 w 361261"/>
                <a:gd name="connsiteY12" fmla="*/ 33868 h 228297"/>
                <a:gd name="connsiteX13" fmla="*/ 33241 w 361261"/>
                <a:gd name="connsiteY13" fmla="*/ 33868 h 228297"/>
                <a:gd name="connsiteX14" fmla="*/ 33241 w 361261"/>
                <a:gd name="connsiteY14" fmla="*/ 195056 h 228297"/>
                <a:gd name="connsiteX15" fmla="*/ 33241 w 361261"/>
                <a:gd name="connsiteY15" fmla="*/ 195056 h 228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61261" h="228297">
                  <a:moveTo>
                    <a:pt x="343700" y="228298"/>
                  </a:moveTo>
                  <a:lnTo>
                    <a:pt x="16934" y="228298"/>
                  </a:lnTo>
                  <a:cubicBezTo>
                    <a:pt x="7526" y="228298"/>
                    <a:pt x="0" y="220771"/>
                    <a:pt x="0" y="211363"/>
                  </a:cubicBezTo>
                  <a:lnTo>
                    <a:pt x="0" y="16934"/>
                  </a:lnTo>
                  <a:cubicBezTo>
                    <a:pt x="0" y="7526"/>
                    <a:pt x="7526" y="0"/>
                    <a:pt x="16934" y="0"/>
                  </a:cubicBezTo>
                  <a:lnTo>
                    <a:pt x="344327" y="0"/>
                  </a:lnTo>
                  <a:cubicBezTo>
                    <a:pt x="353735" y="0"/>
                    <a:pt x="361262" y="7526"/>
                    <a:pt x="361262" y="16934"/>
                  </a:cubicBezTo>
                  <a:lnTo>
                    <a:pt x="361262" y="211363"/>
                  </a:lnTo>
                  <a:cubicBezTo>
                    <a:pt x="360635" y="221398"/>
                    <a:pt x="353108" y="228298"/>
                    <a:pt x="343700" y="228298"/>
                  </a:cubicBezTo>
                  <a:lnTo>
                    <a:pt x="343700" y="228298"/>
                  </a:lnTo>
                  <a:close/>
                  <a:moveTo>
                    <a:pt x="33241" y="195056"/>
                  </a:moveTo>
                  <a:lnTo>
                    <a:pt x="326766" y="195056"/>
                  </a:lnTo>
                  <a:lnTo>
                    <a:pt x="326766" y="33868"/>
                  </a:lnTo>
                  <a:lnTo>
                    <a:pt x="33241" y="33868"/>
                  </a:lnTo>
                  <a:lnTo>
                    <a:pt x="33241" y="195056"/>
                  </a:lnTo>
                  <a:lnTo>
                    <a:pt x="33241" y="195056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33" name="Forma Livre: Forma 132">
              <a:extLst>
                <a:ext uri="{FF2B5EF4-FFF2-40B4-BE49-F238E27FC236}">
                  <a16:creationId xmlns:a16="http://schemas.microsoft.com/office/drawing/2014/main" id="{6CFFCF16-F665-4E58-92F9-9A362C6E5DCA}"/>
                </a:ext>
              </a:extLst>
            </p:cNvPr>
            <p:cNvSpPr/>
            <p:nvPr/>
          </p:nvSpPr>
          <p:spPr>
            <a:xfrm>
              <a:off x="8800664" y="1702489"/>
              <a:ext cx="33868" cy="121047"/>
            </a:xfrm>
            <a:custGeom>
              <a:avLst/>
              <a:gdLst>
                <a:gd name="connsiteX0" fmla="*/ 16934 w 33868"/>
                <a:gd name="connsiteY0" fmla="*/ 121048 h 121047"/>
                <a:gd name="connsiteX1" fmla="*/ 0 w 33868"/>
                <a:gd name="connsiteY1" fmla="*/ 104114 h 121047"/>
                <a:gd name="connsiteX2" fmla="*/ 0 w 33868"/>
                <a:gd name="connsiteY2" fmla="*/ 16934 h 121047"/>
                <a:gd name="connsiteX3" fmla="*/ 16934 w 33868"/>
                <a:gd name="connsiteY3" fmla="*/ 0 h 121047"/>
                <a:gd name="connsiteX4" fmla="*/ 33868 w 33868"/>
                <a:gd name="connsiteY4" fmla="*/ 16934 h 121047"/>
                <a:gd name="connsiteX5" fmla="*/ 33868 w 33868"/>
                <a:gd name="connsiteY5" fmla="*/ 104114 h 121047"/>
                <a:gd name="connsiteX6" fmla="*/ 16934 w 33868"/>
                <a:gd name="connsiteY6" fmla="*/ 121048 h 121047"/>
                <a:gd name="connsiteX7" fmla="*/ 16934 w 33868"/>
                <a:gd name="connsiteY7" fmla="*/ 121048 h 121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868" h="121047">
                  <a:moveTo>
                    <a:pt x="16934" y="121048"/>
                  </a:moveTo>
                  <a:cubicBezTo>
                    <a:pt x="7526" y="121048"/>
                    <a:pt x="0" y="113522"/>
                    <a:pt x="0" y="104114"/>
                  </a:cubicBezTo>
                  <a:lnTo>
                    <a:pt x="0" y="16934"/>
                  </a:lnTo>
                  <a:cubicBezTo>
                    <a:pt x="0" y="7526"/>
                    <a:pt x="7526" y="0"/>
                    <a:pt x="16934" y="0"/>
                  </a:cubicBezTo>
                  <a:cubicBezTo>
                    <a:pt x="26342" y="0"/>
                    <a:pt x="33868" y="7526"/>
                    <a:pt x="33868" y="16934"/>
                  </a:cubicBezTo>
                  <a:lnTo>
                    <a:pt x="33868" y="104114"/>
                  </a:lnTo>
                  <a:cubicBezTo>
                    <a:pt x="33241" y="113522"/>
                    <a:pt x="25715" y="121048"/>
                    <a:pt x="16934" y="121048"/>
                  </a:cubicBezTo>
                  <a:lnTo>
                    <a:pt x="16934" y="121048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134" name="Gráfico 2">
              <a:extLst>
                <a:ext uri="{FF2B5EF4-FFF2-40B4-BE49-F238E27FC236}">
                  <a16:creationId xmlns:a16="http://schemas.microsoft.com/office/drawing/2014/main" id="{F5ABA5BB-819F-4501-AD77-3F762FEA4CEA}"/>
                </a:ext>
              </a:extLst>
            </p:cNvPr>
            <p:cNvGrpSpPr/>
            <p:nvPr/>
          </p:nvGrpSpPr>
          <p:grpSpPr>
            <a:xfrm>
              <a:off x="8505885" y="1702489"/>
              <a:ext cx="100977" cy="121047"/>
              <a:chOff x="8505885" y="1702489"/>
              <a:chExt cx="100977" cy="121047"/>
            </a:xfrm>
            <a:grpFill/>
          </p:grpSpPr>
          <p:sp>
            <p:nvSpPr>
              <p:cNvPr id="135" name="Forma Livre: Forma 134">
                <a:extLst>
                  <a:ext uri="{FF2B5EF4-FFF2-40B4-BE49-F238E27FC236}">
                    <a16:creationId xmlns:a16="http://schemas.microsoft.com/office/drawing/2014/main" id="{ACA31867-1959-4A14-8141-17F7AFC2E983}"/>
                  </a:ext>
                </a:extLst>
              </p:cNvPr>
              <p:cNvSpPr/>
              <p:nvPr/>
            </p:nvSpPr>
            <p:spPr>
              <a:xfrm>
                <a:off x="8505885" y="1702489"/>
                <a:ext cx="33868" cy="121047"/>
              </a:xfrm>
              <a:custGeom>
                <a:avLst/>
                <a:gdLst>
                  <a:gd name="connsiteX0" fmla="*/ 16934 w 33868"/>
                  <a:gd name="connsiteY0" fmla="*/ 121048 h 121047"/>
                  <a:gd name="connsiteX1" fmla="*/ 0 w 33868"/>
                  <a:gd name="connsiteY1" fmla="*/ 104114 h 121047"/>
                  <a:gd name="connsiteX2" fmla="*/ 0 w 33868"/>
                  <a:gd name="connsiteY2" fmla="*/ 16934 h 121047"/>
                  <a:gd name="connsiteX3" fmla="*/ 16934 w 33868"/>
                  <a:gd name="connsiteY3" fmla="*/ 0 h 121047"/>
                  <a:gd name="connsiteX4" fmla="*/ 33868 w 33868"/>
                  <a:gd name="connsiteY4" fmla="*/ 16934 h 121047"/>
                  <a:gd name="connsiteX5" fmla="*/ 33868 w 33868"/>
                  <a:gd name="connsiteY5" fmla="*/ 104114 h 121047"/>
                  <a:gd name="connsiteX6" fmla="*/ 16934 w 33868"/>
                  <a:gd name="connsiteY6" fmla="*/ 121048 h 121047"/>
                  <a:gd name="connsiteX7" fmla="*/ 16934 w 33868"/>
                  <a:gd name="connsiteY7" fmla="*/ 121048 h 1210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868" h="121047">
                    <a:moveTo>
                      <a:pt x="16934" y="121048"/>
                    </a:moveTo>
                    <a:cubicBezTo>
                      <a:pt x="7526" y="121048"/>
                      <a:pt x="0" y="113522"/>
                      <a:pt x="0" y="104114"/>
                    </a:cubicBezTo>
                    <a:lnTo>
                      <a:pt x="0" y="16934"/>
                    </a:lnTo>
                    <a:cubicBezTo>
                      <a:pt x="0" y="7526"/>
                      <a:pt x="7526" y="0"/>
                      <a:pt x="16934" y="0"/>
                    </a:cubicBezTo>
                    <a:cubicBezTo>
                      <a:pt x="26342" y="0"/>
                      <a:pt x="33868" y="7526"/>
                      <a:pt x="33868" y="16934"/>
                    </a:cubicBezTo>
                    <a:lnTo>
                      <a:pt x="33868" y="104114"/>
                    </a:lnTo>
                    <a:cubicBezTo>
                      <a:pt x="33868" y="113522"/>
                      <a:pt x="26342" y="121048"/>
                      <a:pt x="16934" y="121048"/>
                    </a:cubicBezTo>
                    <a:lnTo>
                      <a:pt x="16934" y="121048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36" name="Forma Livre: Forma 135">
                <a:extLst>
                  <a:ext uri="{FF2B5EF4-FFF2-40B4-BE49-F238E27FC236}">
                    <a16:creationId xmlns:a16="http://schemas.microsoft.com/office/drawing/2014/main" id="{2BE65CC9-A00B-41DC-BC3E-0024E39089EC}"/>
                  </a:ext>
                </a:extLst>
              </p:cNvPr>
              <p:cNvSpPr/>
              <p:nvPr/>
            </p:nvSpPr>
            <p:spPr>
              <a:xfrm>
                <a:off x="8572994" y="1702489"/>
                <a:ext cx="33868" cy="121047"/>
              </a:xfrm>
              <a:custGeom>
                <a:avLst/>
                <a:gdLst>
                  <a:gd name="connsiteX0" fmla="*/ 16935 w 33868"/>
                  <a:gd name="connsiteY0" fmla="*/ 121048 h 121047"/>
                  <a:gd name="connsiteX1" fmla="*/ 0 w 33868"/>
                  <a:gd name="connsiteY1" fmla="*/ 104114 h 121047"/>
                  <a:gd name="connsiteX2" fmla="*/ 0 w 33868"/>
                  <a:gd name="connsiteY2" fmla="*/ 16934 h 121047"/>
                  <a:gd name="connsiteX3" fmla="*/ 16935 w 33868"/>
                  <a:gd name="connsiteY3" fmla="*/ 0 h 121047"/>
                  <a:gd name="connsiteX4" fmla="*/ 33868 w 33868"/>
                  <a:gd name="connsiteY4" fmla="*/ 16934 h 121047"/>
                  <a:gd name="connsiteX5" fmla="*/ 33868 w 33868"/>
                  <a:gd name="connsiteY5" fmla="*/ 104114 h 121047"/>
                  <a:gd name="connsiteX6" fmla="*/ 16935 w 33868"/>
                  <a:gd name="connsiteY6" fmla="*/ 121048 h 121047"/>
                  <a:gd name="connsiteX7" fmla="*/ 16935 w 33868"/>
                  <a:gd name="connsiteY7" fmla="*/ 121048 h 1210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868" h="121047">
                    <a:moveTo>
                      <a:pt x="16935" y="121048"/>
                    </a:moveTo>
                    <a:cubicBezTo>
                      <a:pt x="7527" y="121048"/>
                      <a:pt x="0" y="113522"/>
                      <a:pt x="0" y="104114"/>
                    </a:cubicBezTo>
                    <a:lnTo>
                      <a:pt x="0" y="16934"/>
                    </a:lnTo>
                    <a:cubicBezTo>
                      <a:pt x="0" y="7526"/>
                      <a:pt x="7527" y="0"/>
                      <a:pt x="16935" y="0"/>
                    </a:cubicBezTo>
                    <a:cubicBezTo>
                      <a:pt x="26342" y="0"/>
                      <a:pt x="33868" y="7526"/>
                      <a:pt x="33868" y="16934"/>
                    </a:cubicBezTo>
                    <a:lnTo>
                      <a:pt x="33868" y="104114"/>
                    </a:lnTo>
                    <a:cubicBezTo>
                      <a:pt x="33241" y="113522"/>
                      <a:pt x="25715" y="121048"/>
                      <a:pt x="16935" y="121048"/>
                    </a:cubicBezTo>
                    <a:lnTo>
                      <a:pt x="16935" y="121048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137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9459215" y="1648551"/>
            <a:ext cx="391994" cy="228297"/>
            <a:chOff x="9459215" y="1648551"/>
            <a:chExt cx="391994" cy="228297"/>
          </a:xfrm>
          <a:solidFill>
            <a:srgbClr val="B1B1A1"/>
          </a:solidFill>
        </p:grpSpPr>
        <p:sp>
          <p:nvSpPr>
            <p:cNvPr id="138" name="Forma Livre: Forma 137">
              <a:extLst>
                <a:ext uri="{FF2B5EF4-FFF2-40B4-BE49-F238E27FC236}">
                  <a16:creationId xmlns:a16="http://schemas.microsoft.com/office/drawing/2014/main" id="{7F6BC842-ABD8-41A5-A888-802C77CDEEB8}"/>
                </a:ext>
              </a:extLst>
            </p:cNvPr>
            <p:cNvSpPr/>
            <p:nvPr/>
          </p:nvSpPr>
          <p:spPr>
            <a:xfrm>
              <a:off x="9459215" y="1648551"/>
              <a:ext cx="361261" cy="228297"/>
            </a:xfrm>
            <a:custGeom>
              <a:avLst/>
              <a:gdLst>
                <a:gd name="connsiteX0" fmla="*/ 344328 w 361261"/>
                <a:gd name="connsiteY0" fmla="*/ 228298 h 228297"/>
                <a:gd name="connsiteX1" fmla="*/ 16934 w 361261"/>
                <a:gd name="connsiteY1" fmla="*/ 228298 h 228297"/>
                <a:gd name="connsiteX2" fmla="*/ 0 w 361261"/>
                <a:gd name="connsiteY2" fmla="*/ 211363 h 228297"/>
                <a:gd name="connsiteX3" fmla="*/ 0 w 361261"/>
                <a:gd name="connsiteY3" fmla="*/ 16934 h 228297"/>
                <a:gd name="connsiteX4" fmla="*/ 16934 w 361261"/>
                <a:gd name="connsiteY4" fmla="*/ 0 h 228297"/>
                <a:gd name="connsiteX5" fmla="*/ 344328 w 361261"/>
                <a:gd name="connsiteY5" fmla="*/ 0 h 228297"/>
                <a:gd name="connsiteX6" fmla="*/ 361262 w 361261"/>
                <a:gd name="connsiteY6" fmla="*/ 16934 h 228297"/>
                <a:gd name="connsiteX7" fmla="*/ 361262 w 361261"/>
                <a:gd name="connsiteY7" fmla="*/ 211363 h 228297"/>
                <a:gd name="connsiteX8" fmla="*/ 344328 w 361261"/>
                <a:gd name="connsiteY8" fmla="*/ 228298 h 228297"/>
                <a:gd name="connsiteX9" fmla="*/ 344328 w 361261"/>
                <a:gd name="connsiteY9" fmla="*/ 228298 h 228297"/>
                <a:gd name="connsiteX10" fmla="*/ 33868 w 361261"/>
                <a:gd name="connsiteY10" fmla="*/ 195056 h 228297"/>
                <a:gd name="connsiteX11" fmla="*/ 327393 w 361261"/>
                <a:gd name="connsiteY11" fmla="*/ 195056 h 228297"/>
                <a:gd name="connsiteX12" fmla="*/ 327393 w 361261"/>
                <a:gd name="connsiteY12" fmla="*/ 33868 h 228297"/>
                <a:gd name="connsiteX13" fmla="*/ 33868 w 361261"/>
                <a:gd name="connsiteY13" fmla="*/ 33868 h 228297"/>
                <a:gd name="connsiteX14" fmla="*/ 33868 w 361261"/>
                <a:gd name="connsiteY14" fmla="*/ 195056 h 228297"/>
                <a:gd name="connsiteX15" fmla="*/ 33868 w 361261"/>
                <a:gd name="connsiteY15" fmla="*/ 195056 h 228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61261" h="228297">
                  <a:moveTo>
                    <a:pt x="344328" y="228298"/>
                  </a:moveTo>
                  <a:lnTo>
                    <a:pt x="16934" y="228298"/>
                  </a:lnTo>
                  <a:cubicBezTo>
                    <a:pt x="7526" y="228298"/>
                    <a:pt x="0" y="220771"/>
                    <a:pt x="0" y="211363"/>
                  </a:cubicBezTo>
                  <a:lnTo>
                    <a:pt x="0" y="16934"/>
                  </a:lnTo>
                  <a:cubicBezTo>
                    <a:pt x="0" y="7526"/>
                    <a:pt x="7526" y="0"/>
                    <a:pt x="16934" y="0"/>
                  </a:cubicBezTo>
                  <a:lnTo>
                    <a:pt x="344328" y="0"/>
                  </a:lnTo>
                  <a:cubicBezTo>
                    <a:pt x="353736" y="0"/>
                    <a:pt x="361262" y="7526"/>
                    <a:pt x="361262" y="16934"/>
                  </a:cubicBezTo>
                  <a:lnTo>
                    <a:pt x="361262" y="211363"/>
                  </a:lnTo>
                  <a:cubicBezTo>
                    <a:pt x="360635" y="221398"/>
                    <a:pt x="353108" y="228298"/>
                    <a:pt x="344328" y="228298"/>
                  </a:cubicBezTo>
                  <a:lnTo>
                    <a:pt x="344328" y="228298"/>
                  </a:lnTo>
                  <a:close/>
                  <a:moveTo>
                    <a:pt x="33868" y="195056"/>
                  </a:moveTo>
                  <a:lnTo>
                    <a:pt x="327393" y="195056"/>
                  </a:lnTo>
                  <a:lnTo>
                    <a:pt x="327393" y="33868"/>
                  </a:lnTo>
                  <a:lnTo>
                    <a:pt x="33868" y="33868"/>
                  </a:lnTo>
                  <a:lnTo>
                    <a:pt x="33868" y="195056"/>
                  </a:lnTo>
                  <a:lnTo>
                    <a:pt x="33868" y="195056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39" name="Forma Livre: Forma 138">
              <a:extLst>
                <a:ext uri="{FF2B5EF4-FFF2-40B4-BE49-F238E27FC236}">
                  <a16:creationId xmlns:a16="http://schemas.microsoft.com/office/drawing/2014/main" id="{80E2A6E8-5BE7-4C01-A9FF-4CCCCA3571FA}"/>
                </a:ext>
              </a:extLst>
            </p:cNvPr>
            <p:cNvSpPr/>
            <p:nvPr/>
          </p:nvSpPr>
          <p:spPr>
            <a:xfrm>
              <a:off x="9817340" y="1702489"/>
              <a:ext cx="33868" cy="121047"/>
            </a:xfrm>
            <a:custGeom>
              <a:avLst/>
              <a:gdLst>
                <a:gd name="connsiteX0" fmla="*/ 16934 w 33868"/>
                <a:gd name="connsiteY0" fmla="*/ 121048 h 121047"/>
                <a:gd name="connsiteX1" fmla="*/ 0 w 33868"/>
                <a:gd name="connsiteY1" fmla="*/ 104114 h 121047"/>
                <a:gd name="connsiteX2" fmla="*/ 0 w 33868"/>
                <a:gd name="connsiteY2" fmla="*/ 16934 h 121047"/>
                <a:gd name="connsiteX3" fmla="*/ 16934 w 33868"/>
                <a:gd name="connsiteY3" fmla="*/ 0 h 121047"/>
                <a:gd name="connsiteX4" fmla="*/ 33868 w 33868"/>
                <a:gd name="connsiteY4" fmla="*/ 16934 h 121047"/>
                <a:gd name="connsiteX5" fmla="*/ 33868 w 33868"/>
                <a:gd name="connsiteY5" fmla="*/ 104114 h 121047"/>
                <a:gd name="connsiteX6" fmla="*/ 16934 w 33868"/>
                <a:gd name="connsiteY6" fmla="*/ 121048 h 121047"/>
                <a:gd name="connsiteX7" fmla="*/ 16934 w 33868"/>
                <a:gd name="connsiteY7" fmla="*/ 121048 h 121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868" h="121047">
                  <a:moveTo>
                    <a:pt x="16934" y="121048"/>
                  </a:moveTo>
                  <a:cubicBezTo>
                    <a:pt x="7526" y="121048"/>
                    <a:pt x="0" y="113522"/>
                    <a:pt x="0" y="104114"/>
                  </a:cubicBezTo>
                  <a:lnTo>
                    <a:pt x="0" y="16934"/>
                  </a:lnTo>
                  <a:cubicBezTo>
                    <a:pt x="0" y="7526"/>
                    <a:pt x="7526" y="0"/>
                    <a:pt x="16934" y="0"/>
                  </a:cubicBezTo>
                  <a:cubicBezTo>
                    <a:pt x="26342" y="0"/>
                    <a:pt x="33868" y="7526"/>
                    <a:pt x="33868" y="16934"/>
                  </a:cubicBezTo>
                  <a:lnTo>
                    <a:pt x="33868" y="104114"/>
                  </a:lnTo>
                  <a:cubicBezTo>
                    <a:pt x="33241" y="113522"/>
                    <a:pt x="25715" y="121048"/>
                    <a:pt x="16934" y="121048"/>
                  </a:cubicBezTo>
                  <a:lnTo>
                    <a:pt x="16934" y="121048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40" name="Forma Livre: Forma 139">
              <a:extLst>
                <a:ext uri="{FF2B5EF4-FFF2-40B4-BE49-F238E27FC236}">
                  <a16:creationId xmlns:a16="http://schemas.microsoft.com/office/drawing/2014/main" id="{77ED5D2A-8F5B-4F01-A576-EDF155DC5593}"/>
                </a:ext>
              </a:extLst>
            </p:cNvPr>
            <p:cNvSpPr/>
            <p:nvPr/>
          </p:nvSpPr>
          <p:spPr>
            <a:xfrm>
              <a:off x="9523188" y="1702489"/>
              <a:ext cx="33868" cy="121047"/>
            </a:xfrm>
            <a:custGeom>
              <a:avLst/>
              <a:gdLst>
                <a:gd name="connsiteX0" fmla="*/ 16935 w 33868"/>
                <a:gd name="connsiteY0" fmla="*/ 121048 h 121047"/>
                <a:gd name="connsiteX1" fmla="*/ 0 w 33868"/>
                <a:gd name="connsiteY1" fmla="*/ 104114 h 121047"/>
                <a:gd name="connsiteX2" fmla="*/ 0 w 33868"/>
                <a:gd name="connsiteY2" fmla="*/ 16934 h 121047"/>
                <a:gd name="connsiteX3" fmla="*/ 16935 w 33868"/>
                <a:gd name="connsiteY3" fmla="*/ 0 h 121047"/>
                <a:gd name="connsiteX4" fmla="*/ 33868 w 33868"/>
                <a:gd name="connsiteY4" fmla="*/ 16934 h 121047"/>
                <a:gd name="connsiteX5" fmla="*/ 33868 w 33868"/>
                <a:gd name="connsiteY5" fmla="*/ 104114 h 121047"/>
                <a:gd name="connsiteX6" fmla="*/ 16935 w 33868"/>
                <a:gd name="connsiteY6" fmla="*/ 121048 h 121047"/>
                <a:gd name="connsiteX7" fmla="*/ 16935 w 33868"/>
                <a:gd name="connsiteY7" fmla="*/ 121048 h 121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868" h="121047">
                  <a:moveTo>
                    <a:pt x="16935" y="121048"/>
                  </a:moveTo>
                  <a:cubicBezTo>
                    <a:pt x="7527" y="121048"/>
                    <a:pt x="0" y="113522"/>
                    <a:pt x="0" y="104114"/>
                  </a:cubicBezTo>
                  <a:lnTo>
                    <a:pt x="0" y="16934"/>
                  </a:lnTo>
                  <a:cubicBezTo>
                    <a:pt x="0" y="7526"/>
                    <a:pt x="7527" y="0"/>
                    <a:pt x="16935" y="0"/>
                  </a:cubicBezTo>
                  <a:cubicBezTo>
                    <a:pt x="26342" y="0"/>
                    <a:pt x="33868" y="7526"/>
                    <a:pt x="33868" y="16934"/>
                  </a:cubicBezTo>
                  <a:lnTo>
                    <a:pt x="33868" y="104114"/>
                  </a:lnTo>
                  <a:cubicBezTo>
                    <a:pt x="33241" y="113522"/>
                    <a:pt x="25715" y="121048"/>
                    <a:pt x="16935" y="121048"/>
                  </a:cubicBezTo>
                  <a:lnTo>
                    <a:pt x="16935" y="121048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41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8413854" y="2568540"/>
            <a:ext cx="448588" cy="449167"/>
            <a:chOff x="8413854" y="2568540"/>
            <a:chExt cx="448588" cy="449167"/>
          </a:xfrm>
          <a:solidFill>
            <a:srgbClr val="B1B1A1"/>
          </a:solidFill>
        </p:grpSpPr>
        <p:grpSp>
          <p:nvGrpSpPr>
            <p:cNvPr id="142" name="Gráfico 2">
              <a:extLst>
                <a:ext uri="{FF2B5EF4-FFF2-40B4-BE49-F238E27FC236}">
                  <a16:creationId xmlns:a16="http://schemas.microsoft.com/office/drawing/2014/main" id="{F5ABA5BB-819F-4501-AD77-3F762FEA4CEA}"/>
                </a:ext>
              </a:extLst>
            </p:cNvPr>
            <p:cNvGrpSpPr/>
            <p:nvPr/>
          </p:nvGrpSpPr>
          <p:grpSpPr>
            <a:xfrm>
              <a:off x="8524073" y="2688353"/>
              <a:ext cx="241468" cy="232767"/>
              <a:chOff x="8524073" y="2688353"/>
              <a:chExt cx="241468" cy="232767"/>
            </a:xfrm>
            <a:grpFill/>
          </p:grpSpPr>
          <p:sp>
            <p:nvSpPr>
              <p:cNvPr id="143" name="Forma Livre: Forma 142">
                <a:extLst>
                  <a:ext uri="{FF2B5EF4-FFF2-40B4-BE49-F238E27FC236}">
                    <a16:creationId xmlns:a16="http://schemas.microsoft.com/office/drawing/2014/main" id="{21FF959D-1B78-4708-A825-70B7088A60AE}"/>
                  </a:ext>
                </a:extLst>
              </p:cNvPr>
              <p:cNvSpPr/>
              <p:nvPr/>
            </p:nvSpPr>
            <p:spPr>
              <a:xfrm>
                <a:off x="8524073" y="2688353"/>
                <a:ext cx="104740" cy="87280"/>
              </a:xfrm>
              <a:custGeom>
                <a:avLst/>
                <a:gdLst>
                  <a:gd name="connsiteX0" fmla="*/ 13798 w 104740"/>
                  <a:gd name="connsiteY0" fmla="*/ 48373 h 87280"/>
                  <a:gd name="connsiteX1" fmla="*/ 23206 w 104740"/>
                  <a:gd name="connsiteY1" fmla="*/ 63426 h 87280"/>
                  <a:gd name="connsiteX2" fmla="*/ 41394 w 104740"/>
                  <a:gd name="connsiteY2" fmla="*/ 65308 h 87280"/>
                  <a:gd name="connsiteX3" fmla="*/ 43903 w 104740"/>
                  <a:gd name="connsiteY3" fmla="*/ 43983 h 87280"/>
                  <a:gd name="connsiteX4" fmla="*/ 50802 w 104740"/>
                  <a:gd name="connsiteY4" fmla="*/ 9488 h 87280"/>
                  <a:gd name="connsiteX5" fmla="*/ 95960 w 104740"/>
                  <a:gd name="connsiteY5" fmla="*/ 10742 h 87280"/>
                  <a:gd name="connsiteX6" fmla="*/ 104741 w 104740"/>
                  <a:gd name="connsiteY6" fmla="*/ 25167 h 87280"/>
                  <a:gd name="connsiteX7" fmla="*/ 90315 w 104740"/>
                  <a:gd name="connsiteY7" fmla="*/ 35202 h 87280"/>
                  <a:gd name="connsiteX8" fmla="*/ 83416 w 104740"/>
                  <a:gd name="connsiteY8" fmla="*/ 23286 h 87280"/>
                  <a:gd name="connsiteX9" fmla="*/ 66482 w 104740"/>
                  <a:gd name="connsiteY9" fmla="*/ 22032 h 87280"/>
                  <a:gd name="connsiteX10" fmla="*/ 65227 w 104740"/>
                  <a:gd name="connsiteY10" fmla="*/ 43356 h 87280"/>
                  <a:gd name="connsiteX11" fmla="*/ 57701 w 104740"/>
                  <a:gd name="connsiteY11" fmla="*/ 77851 h 87280"/>
                  <a:gd name="connsiteX12" fmla="*/ 11289 w 104740"/>
                  <a:gd name="connsiteY12" fmla="*/ 75970 h 87280"/>
                  <a:gd name="connsiteX13" fmla="*/ 0 w 104740"/>
                  <a:gd name="connsiteY13" fmla="*/ 59036 h 87280"/>
                  <a:gd name="connsiteX14" fmla="*/ 13798 w 104740"/>
                  <a:gd name="connsiteY14" fmla="*/ 48373 h 87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4740" h="87280">
                    <a:moveTo>
                      <a:pt x="13798" y="48373"/>
                    </a:moveTo>
                    <a:cubicBezTo>
                      <a:pt x="15052" y="52764"/>
                      <a:pt x="18816" y="59036"/>
                      <a:pt x="23206" y="63426"/>
                    </a:cubicBezTo>
                    <a:cubicBezTo>
                      <a:pt x="30105" y="70325"/>
                      <a:pt x="37004" y="69698"/>
                      <a:pt x="41394" y="65308"/>
                    </a:cubicBezTo>
                    <a:cubicBezTo>
                      <a:pt x="47039" y="59663"/>
                      <a:pt x="46412" y="54018"/>
                      <a:pt x="43903" y="43983"/>
                    </a:cubicBezTo>
                    <a:cubicBezTo>
                      <a:pt x="40140" y="27676"/>
                      <a:pt x="43903" y="16387"/>
                      <a:pt x="50802" y="9488"/>
                    </a:cubicBezTo>
                    <a:cubicBezTo>
                      <a:pt x="62719" y="-2429"/>
                      <a:pt x="80280" y="-4311"/>
                      <a:pt x="95960" y="10742"/>
                    </a:cubicBezTo>
                    <a:cubicBezTo>
                      <a:pt x="100978" y="15760"/>
                      <a:pt x="104114" y="21404"/>
                      <a:pt x="104741" y="25167"/>
                    </a:cubicBezTo>
                    <a:lnTo>
                      <a:pt x="90315" y="35202"/>
                    </a:lnTo>
                    <a:cubicBezTo>
                      <a:pt x="89688" y="32066"/>
                      <a:pt x="87807" y="27676"/>
                      <a:pt x="83416" y="23286"/>
                    </a:cubicBezTo>
                    <a:cubicBezTo>
                      <a:pt x="77144" y="17014"/>
                      <a:pt x="70872" y="17641"/>
                      <a:pt x="66482" y="22032"/>
                    </a:cubicBezTo>
                    <a:cubicBezTo>
                      <a:pt x="62091" y="26422"/>
                      <a:pt x="62091" y="30812"/>
                      <a:pt x="65227" y="43356"/>
                    </a:cubicBezTo>
                    <a:cubicBezTo>
                      <a:pt x="68991" y="59036"/>
                      <a:pt x="65227" y="70325"/>
                      <a:pt x="57701" y="77851"/>
                    </a:cubicBezTo>
                    <a:cubicBezTo>
                      <a:pt x="43903" y="91023"/>
                      <a:pt x="25088" y="90395"/>
                      <a:pt x="11289" y="75970"/>
                    </a:cubicBezTo>
                    <a:cubicBezTo>
                      <a:pt x="5644" y="70325"/>
                      <a:pt x="1254" y="62799"/>
                      <a:pt x="0" y="59036"/>
                    </a:cubicBezTo>
                    <a:lnTo>
                      <a:pt x="13798" y="48373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44" name="Forma Livre: Forma 143">
                <a:extLst>
                  <a:ext uri="{FF2B5EF4-FFF2-40B4-BE49-F238E27FC236}">
                    <a16:creationId xmlns:a16="http://schemas.microsoft.com/office/drawing/2014/main" id="{D4669B45-9C18-4214-AEAA-99CD757AE811}"/>
                  </a:ext>
                </a:extLst>
              </p:cNvPr>
              <p:cNvSpPr/>
              <p:nvPr/>
            </p:nvSpPr>
            <p:spPr>
              <a:xfrm>
                <a:off x="8562959" y="2732963"/>
                <a:ext cx="106622" cy="105368"/>
              </a:xfrm>
              <a:custGeom>
                <a:avLst/>
                <a:gdLst>
                  <a:gd name="connsiteX0" fmla="*/ 33868 w 106622"/>
                  <a:gd name="connsiteY0" fmla="*/ 57702 h 105368"/>
                  <a:gd name="connsiteX1" fmla="*/ 13798 w 106622"/>
                  <a:gd name="connsiteY1" fmla="*/ 71500 h 105368"/>
                  <a:gd name="connsiteX2" fmla="*/ 0 w 106622"/>
                  <a:gd name="connsiteY2" fmla="*/ 57702 h 105368"/>
                  <a:gd name="connsiteX3" fmla="*/ 89689 w 106622"/>
                  <a:gd name="connsiteY3" fmla="*/ 0 h 105368"/>
                  <a:gd name="connsiteX4" fmla="*/ 106622 w 106622"/>
                  <a:gd name="connsiteY4" fmla="*/ 16934 h 105368"/>
                  <a:gd name="connsiteX5" fmla="*/ 47039 w 106622"/>
                  <a:gd name="connsiteY5" fmla="*/ 105368 h 105368"/>
                  <a:gd name="connsiteX6" fmla="*/ 33241 w 106622"/>
                  <a:gd name="connsiteY6" fmla="*/ 91570 h 105368"/>
                  <a:gd name="connsiteX7" fmla="*/ 47039 w 106622"/>
                  <a:gd name="connsiteY7" fmla="*/ 71500 h 105368"/>
                  <a:gd name="connsiteX8" fmla="*/ 33868 w 106622"/>
                  <a:gd name="connsiteY8" fmla="*/ 57702 h 105368"/>
                  <a:gd name="connsiteX9" fmla="*/ 57074 w 106622"/>
                  <a:gd name="connsiteY9" fmla="*/ 58956 h 105368"/>
                  <a:gd name="connsiteX10" fmla="*/ 70245 w 106622"/>
                  <a:gd name="connsiteY10" fmla="*/ 40767 h 105368"/>
                  <a:gd name="connsiteX11" fmla="*/ 84671 w 106622"/>
                  <a:gd name="connsiteY11" fmla="*/ 21325 h 105368"/>
                  <a:gd name="connsiteX12" fmla="*/ 84044 w 106622"/>
                  <a:gd name="connsiteY12" fmla="*/ 20697 h 105368"/>
                  <a:gd name="connsiteX13" fmla="*/ 64601 w 106622"/>
                  <a:gd name="connsiteY13" fmla="*/ 35123 h 105368"/>
                  <a:gd name="connsiteX14" fmla="*/ 46412 w 106622"/>
                  <a:gd name="connsiteY14" fmla="*/ 47667 h 105368"/>
                  <a:gd name="connsiteX15" fmla="*/ 57074 w 106622"/>
                  <a:gd name="connsiteY15" fmla="*/ 58956 h 1053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06622" h="105368">
                    <a:moveTo>
                      <a:pt x="33868" y="57702"/>
                    </a:moveTo>
                    <a:lnTo>
                      <a:pt x="13798" y="71500"/>
                    </a:lnTo>
                    <a:lnTo>
                      <a:pt x="0" y="57702"/>
                    </a:lnTo>
                    <a:lnTo>
                      <a:pt x="89689" y="0"/>
                    </a:lnTo>
                    <a:lnTo>
                      <a:pt x="106622" y="16934"/>
                    </a:lnTo>
                    <a:lnTo>
                      <a:pt x="47039" y="105368"/>
                    </a:lnTo>
                    <a:lnTo>
                      <a:pt x="33241" y="91570"/>
                    </a:lnTo>
                    <a:lnTo>
                      <a:pt x="47039" y="71500"/>
                    </a:lnTo>
                    <a:lnTo>
                      <a:pt x="33868" y="57702"/>
                    </a:lnTo>
                    <a:close/>
                    <a:moveTo>
                      <a:pt x="57074" y="58956"/>
                    </a:moveTo>
                    <a:lnTo>
                      <a:pt x="70245" y="40767"/>
                    </a:lnTo>
                    <a:cubicBezTo>
                      <a:pt x="74009" y="35750"/>
                      <a:pt x="80281" y="26969"/>
                      <a:pt x="84671" y="21325"/>
                    </a:cubicBezTo>
                    <a:lnTo>
                      <a:pt x="84044" y="20697"/>
                    </a:lnTo>
                    <a:cubicBezTo>
                      <a:pt x="78399" y="25088"/>
                      <a:pt x="69618" y="31360"/>
                      <a:pt x="64601" y="35123"/>
                    </a:cubicBezTo>
                    <a:lnTo>
                      <a:pt x="46412" y="47667"/>
                    </a:lnTo>
                    <a:lnTo>
                      <a:pt x="57074" y="58956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45" name="Forma Livre: Forma 144">
                <a:extLst>
                  <a:ext uri="{FF2B5EF4-FFF2-40B4-BE49-F238E27FC236}">
                    <a16:creationId xmlns:a16="http://schemas.microsoft.com/office/drawing/2014/main" id="{DCB0A817-2C27-419B-8B4B-6B1BB10D66DD}"/>
                  </a:ext>
                </a:extLst>
              </p:cNvPr>
              <p:cNvSpPr/>
              <p:nvPr/>
            </p:nvSpPr>
            <p:spPr>
              <a:xfrm>
                <a:off x="8618779" y="2772477"/>
                <a:ext cx="87806" cy="106622"/>
              </a:xfrm>
              <a:custGeom>
                <a:avLst/>
                <a:gdLst>
                  <a:gd name="connsiteX0" fmla="*/ 73381 w 87806"/>
                  <a:gd name="connsiteY0" fmla="*/ 0 h 106622"/>
                  <a:gd name="connsiteX1" fmla="*/ 87807 w 87806"/>
                  <a:gd name="connsiteY1" fmla="*/ 14425 h 106622"/>
                  <a:gd name="connsiteX2" fmla="*/ 26342 w 87806"/>
                  <a:gd name="connsiteY2" fmla="*/ 75890 h 106622"/>
                  <a:gd name="connsiteX3" fmla="*/ 45157 w 87806"/>
                  <a:gd name="connsiteY3" fmla="*/ 94706 h 106622"/>
                  <a:gd name="connsiteX4" fmla="*/ 33241 w 87806"/>
                  <a:gd name="connsiteY4" fmla="*/ 106622 h 106622"/>
                  <a:gd name="connsiteX5" fmla="*/ 0 w 87806"/>
                  <a:gd name="connsiteY5" fmla="*/ 73381 h 106622"/>
                  <a:gd name="connsiteX6" fmla="*/ 73381 w 87806"/>
                  <a:gd name="connsiteY6" fmla="*/ 0 h 106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7806" h="106622">
                    <a:moveTo>
                      <a:pt x="73381" y="0"/>
                    </a:moveTo>
                    <a:lnTo>
                      <a:pt x="87807" y="14425"/>
                    </a:lnTo>
                    <a:lnTo>
                      <a:pt x="26342" y="75890"/>
                    </a:lnTo>
                    <a:lnTo>
                      <a:pt x="45157" y="94706"/>
                    </a:lnTo>
                    <a:lnTo>
                      <a:pt x="33241" y="106622"/>
                    </a:lnTo>
                    <a:lnTo>
                      <a:pt x="0" y="73381"/>
                    </a:lnTo>
                    <a:lnTo>
                      <a:pt x="73381" y="0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46" name="Forma Livre: Forma 145">
                <a:extLst>
                  <a:ext uri="{FF2B5EF4-FFF2-40B4-BE49-F238E27FC236}">
                    <a16:creationId xmlns:a16="http://schemas.microsoft.com/office/drawing/2014/main" id="{93D1B74E-26CB-4D49-83A0-35244141936F}"/>
                  </a:ext>
                </a:extLst>
              </p:cNvPr>
              <p:cNvSpPr/>
              <p:nvPr/>
            </p:nvSpPr>
            <p:spPr>
              <a:xfrm>
                <a:off x="8659546" y="2813871"/>
                <a:ext cx="105995" cy="107249"/>
              </a:xfrm>
              <a:custGeom>
                <a:avLst/>
                <a:gdLst>
                  <a:gd name="connsiteX0" fmla="*/ 63973 w 105995"/>
                  <a:gd name="connsiteY0" fmla="*/ 72754 h 107249"/>
                  <a:gd name="connsiteX1" fmla="*/ 47039 w 105995"/>
                  <a:gd name="connsiteY1" fmla="*/ 55820 h 107249"/>
                  <a:gd name="connsiteX2" fmla="*/ 26969 w 105995"/>
                  <a:gd name="connsiteY2" fmla="*/ 75890 h 107249"/>
                  <a:gd name="connsiteX3" fmla="*/ 45784 w 105995"/>
                  <a:gd name="connsiteY3" fmla="*/ 94706 h 107249"/>
                  <a:gd name="connsiteX4" fmla="*/ 33241 w 105995"/>
                  <a:gd name="connsiteY4" fmla="*/ 107249 h 107249"/>
                  <a:gd name="connsiteX5" fmla="*/ 0 w 105995"/>
                  <a:gd name="connsiteY5" fmla="*/ 74008 h 107249"/>
                  <a:gd name="connsiteX6" fmla="*/ 74008 w 105995"/>
                  <a:gd name="connsiteY6" fmla="*/ 0 h 107249"/>
                  <a:gd name="connsiteX7" fmla="*/ 105995 w 105995"/>
                  <a:gd name="connsiteY7" fmla="*/ 31987 h 107249"/>
                  <a:gd name="connsiteX8" fmla="*/ 93452 w 105995"/>
                  <a:gd name="connsiteY8" fmla="*/ 44530 h 107249"/>
                  <a:gd name="connsiteX9" fmla="*/ 75890 w 105995"/>
                  <a:gd name="connsiteY9" fmla="*/ 26969 h 107249"/>
                  <a:gd name="connsiteX10" fmla="*/ 58956 w 105995"/>
                  <a:gd name="connsiteY10" fmla="*/ 43903 h 107249"/>
                  <a:gd name="connsiteX11" fmla="*/ 75890 w 105995"/>
                  <a:gd name="connsiteY11" fmla="*/ 60837 h 107249"/>
                  <a:gd name="connsiteX12" fmla="*/ 63973 w 105995"/>
                  <a:gd name="connsiteY12" fmla="*/ 72754 h 107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5995" h="107249">
                    <a:moveTo>
                      <a:pt x="63973" y="72754"/>
                    </a:moveTo>
                    <a:lnTo>
                      <a:pt x="47039" y="55820"/>
                    </a:lnTo>
                    <a:lnTo>
                      <a:pt x="26969" y="75890"/>
                    </a:lnTo>
                    <a:lnTo>
                      <a:pt x="45784" y="94706"/>
                    </a:lnTo>
                    <a:lnTo>
                      <a:pt x="33241" y="107249"/>
                    </a:lnTo>
                    <a:lnTo>
                      <a:pt x="0" y="74008"/>
                    </a:lnTo>
                    <a:lnTo>
                      <a:pt x="74008" y="0"/>
                    </a:lnTo>
                    <a:lnTo>
                      <a:pt x="105995" y="31987"/>
                    </a:lnTo>
                    <a:lnTo>
                      <a:pt x="93452" y="44530"/>
                    </a:lnTo>
                    <a:lnTo>
                      <a:pt x="75890" y="26969"/>
                    </a:lnTo>
                    <a:lnTo>
                      <a:pt x="58956" y="43903"/>
                    </a:lnTo>
                    <a:lnTo>
                      <a:pt x="75890" y="60837"/>
                    </a:lnTo>
                    <a:lnTo>
                      <a:pt x="63973" y="72754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147" name="Forma Livre: Forma 146">
              <a:extLst>
                <a:ext uri="{FF2B5EF4-FFF2-40B4-BE49-F238E27FC236}">
                  <a16:creationId xmlns:a16="http://schemas.microsoft.com/office/drawing/2014/main" id="{92470D28-0B61-4461-A458-CED9C99BC096}"/>
                </a:ext>
              </a:extLst>
            </p:cNvPr>
            <p:cNvSpPr/>
            <p:nvPr/>
          </p:nvSpPr>
          <p:spPr>
            <a:xfrm>
              <a:off x="8485187" y="2640139"/>
              <a:ext cx="64600" cy="65227"/>
            </a:xfrm>
            <a:custGeom>
              <a:avLst/>
              <a:gdLst>
                <a:gd name="connsiteX0" fmla="*/ 32614 w 64600"/>
                <a:gd name="connsiteY0" fmla="*/ 65228 h 65227"/>
                <a:gd name="connsiteX1" fmla="*/ 9408 w 64600"/>
                <a:gd name="connsiteY1" fmla="*/ 55820 h 65227"/>
                <a:gd name="connsiteX2" fmla="*/ 0 w 64600"/>
                <a:gd name="connsiteY2" fmla="*/ 32614 h 65227"/>
                <a:gd name="connsiteX3" fmla="*/ 9408 w 64600"/>
                <a:gd name="connsiteY3" fmla="*/ 9408 h 65227"/>
                <a:gd name="connsiteX4" fmla="*/ 55193 w 64600"/>
                <a:gd name="connsiteY4" fmla="*/ 9408 h 65227"/>
                <a:gd name="connsiteX5" fmla="*/ 64601 w 64600"/>
                <a:gd name="connsiteY5" fmla="*/ 32614 h 65227"/>
                <a:gd name="connsiteX6" fmla="*/ 55193 w 64600"/>
                <a:gd name="connsiteY6" fmla="*/ 55820 h 65227"/>
                <a:gd name="connsiteX7" fmla="*/ 32614 w 64600"/>
                <a:gd name="connsiteY7" fmla="*/ 65228 h 65227"/>
                <a:gd name="connsiteX8" fmla="*/ 32614 w 64600"/>
                <a:gd name="connsiteY8" fmla="*/ 65228 h 65227"/>
                <a:gd name="connsiteX9" fmla="*/ 32614 w 64600"/>
                <a:gd name="connsiteY9" fmla="*/ 16934 h 65227"/>
                <a:gd name="connsiteX10" fmla="*/ 21325 w 64600"/>
                <a:gd name="connsiteY10" fmla="*/ 21324 h 65227"/>
                <a:gd name="connsiteX11" fmla="*/ 16935 w 64600"/>
                <a:gd name="connsiteY11" fmla="*/ 32614 h 65227"/>
                <a:gd name="connsiteX12" fmla="*/ 21325 w 64600"/>
                <a:gd name="connsiteY12" fmla="*/ 43903 h 65227"/>
                <a:gd name="connsiteX13" fmla="*/ 43903 w 64600"/>
                <a:gd name="connsiteY13" fmla="*/ 43903 h 65227"/>
                <a:gd name="connsiteX14" fmla="*/ 48294 w 64600"/>
                <a:gd name="connsiteY14" fmla="*/ 32614 h 65227"/>
                <a:gd name="connsiteX15" fmla="*/ 43903 w 64600"/>
                <a:gd name="connsiteY15" fmla="*/ 21324 h 65227"/>
                <a:gd name="connsiteX16" fmla="*/ 32614 w 64600"/>
                <a:gd name="connsiteY16" fmla="*/ 16934 h 65227"/>
                <a:gd name="connsiteX17" fmla="*/ 32614 w 64600"/>
                <a:gd name="connsiteY17" fmla="*/ 16934 h 65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4600" h="65227">
                  <a:moveTo>
                    <a:pt x="32614" y="65228"/>
                  </a:moveTo>
                  <a:cubicBezTo>
                    <a:pt x="23834" y="65228"/>
                    <a:pt x="15680" y="62092"/>
                    <a:pt x="9408" y="55820"/>
                  </a:cubicBezTo>
                  <a:cubicBezTo>
                    <a:pt x="3136" y="49548"/>
                    <a:pt x="0" y="41395"/>
                    <a:pt x="0" y="32614"/>
                  </a:cubicBezTo>
                  <a:cubicBezTo>
                    <a:pt x="0" y="23833"/>
                    <a:pt x="3136" y="15680"/>
                    <a:pt x="9408" y="9408"/>
                  </a:cubicBezTo>
                  <a:cubicBezTo>
                    <a:pt x="21325" y="-3136"/>
                    <a:pt x="43276" y="-3136"/>
                    <a:pt x="55193" y="9408"/>
                  </a:cubicBezTo>
                  <a:cubicBezTo>
                    <a:pt x="61465" y="15680"/>
                    <a:pt x="64601" y="23833"/>
                    <a:pt x="64601" y="32614"/>
                  </a:cubicBezTo>
                  <a:cubicBezTo>
                    <a:pt x="64601" y="41395"/>
                    <a:pt x="61465" y="49548"/>
                    <a:pt x="55193" y="55820"/>
                  </a:cubicBezTo>
                  <a:cubicBezTo>
                    <a:pt x="48921" y="61465"/>
                    <a:pt x="40767" y="65228"/>
                    <a:pt x="32614" y="65228"/>
                  </a:cubicBezTo>
                  <a:lnTo>
                    <a:pt x="32614" y="65228"/>
                  </a:lnTo>
                  <a:close/>
                  <a:moveTo>
                    <a:pt x="32614" y="16934"/>
                  </a:moveTo>
                  <a:cubicBezTo>
                    <a:pt x="28224" y="16934"/>
                    <a:pt x="24461" y="18816"/>
                    <a:pt x="21325" y="21324"/>
                  </a:cubicBezTo>
                  <a:cubicBezTo>
                    <a:pt x="18189" y="24460"/>
                    <a:pt x="16935" y="28224"/>
                    <a:pt x="16935" y="32614"/>
                  </a:cubicBezTo>
                  <a:cubicBezTo>
                    <a:pt x="16935" y="37004"/>
                    <a:pt x="18816" y="40767"/>
                    <a:pt x="21325" y="43903"/>
                  </a:cubicBezTo>
                  <a:cubicBezTo>
                    <a:pt x="27597" y="49548"/>
                    <a:pt x="37631" y="50175"/>
                    <a:pt x="43903" y="43903"/>
                  </a:cubicBezTo>
                  <a:cubicBezTo>
                    <a:pt x="47039" y="40767"/>
                    <a:pt x="48294" y="37004"/>
                    <a:pt x="48294" y="32614"/>
                  </a:cubicBezTo>
                  <a:cubicBezTo>
                    <a:pt x="48294" y="28224"/>
                    <a:pt x="46412" y="24460"/>
                    <a:pt x="43903" y="21324"/>
                  </a:cubicBezTo>
                  <a:cubicBezTo>
                    <a:pt x="40767" y="18188"/>
                    <a:pt x="36377" y="16934"/>
                    <a:pt x="32614" y="16934"/>
                  </a:cubicBezTo>
                  <a:lnTo>
                    <a:pt x="32614" y="16934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48" name="Forma Livre: Forma 147">
              <a:extLst>
                <a:ext uri="{FF2B5EF4-FFF2-40B4-BE49-F238E27FC236}">
                  <a16:creationId xmlns:a16="http://schemas.microsoft.com/office/drawing/2014/main" id="{A55A489A-5130-4448-8D50-1332FF928D5F}"/>
                </a:ext>
              </a:extLst>
            </p:cNvPr>
            <p:cNvSpPr/>
            <p:nvPr/>
          </p:nvSpPr>
          <p:spPr>
            <a:xfrm>
              <a:off x="8413854" y="2568540"/>
              <a:ext cx="448588" cy="449167"/>
            </a:xfrm>
            <a:custGeom>
              <a:avLst/>
              <a:gdLst>
                <a:gd name="connsiteX0" fmla="*/ 287087 w 448588"/>
                <a:gd name="connsiteY0" fmla="*/ 449168 h 449167"/>
                <a:gd name="connsiteX1" fmla="*/ 275170 w 448588"/>
                <a:gd name="connsiteY1" fmla="*/ 444150 h 449167"/>
                <a:gd name="connsiteX2" fmla="*/ 4851 w 448588"/>
                <a:gd name="connsiteY2" fmla="*/ 173831 h 449167"/>
                <a:gd name="connsiteX3" fmla="*/ 461 w 448588"/>
                <a:gd name="connsiteY3" fmla="*/ 157524 h 449167"/>
                <a:gd name="connsiteX4" fmla="*/ 31193 w 448588"/>
                <a:gd name="connsiteY4" fmla="*/ 43375 h 449167"/>
                <a:gd name="connsiteX5" fmla="*/ 43110 w 448588"/>
                <a:gd name="connsiteY5" fmla="*/ 31459 h 449167"/>
                <a:gd name="connsiteX6" fmla="*/ 157259 w 448588"/>
                <a:gd name="connsiteY6" fmla="*/ 727 h 449167"/>
                <a:gd name="connsiteX7" fmla="*/ 173566 w 448588"/>
                <a:gd name="connsiteY7" fmla="*/ 5117 h 449167"/>
                <a:gd name="connsiteX8" fmla="*/ 443885 w 448588"/>
                <a:gd name="connsiteY8" fmla="*/ 275436 h 449167"/>
                <a:gd name="connsiteX9" fmla="*/ 443885 w 448588"/>
                <a:gd name="connsiteY9" fmla="*/ 299269 h 449167"/>
                <a:gd name="connsiteX10" fmla="*/ 299004 w 448588"/>
                <a:gd name="connsiteY10" fmla="*/ 444150 h 449167"/>
                <a:gd name="connsiteX11" fmla="*/ 287087 w 448588"/>
                <a:gd name="connsiteY11" fmla="*/ 449168 h 449167"/>
                <a:gd name="connsiteX12" fmla="*/ 287087 w 448588"/>
                <a:gd name="connsiteY12" fmla="*/ 449168 h 449167"/>
                <a:gd name="connsiteX13" fmla="*/ 35584 w 448588"/>
                <a:gd name="connsiteY13" fmla="*/ 157524 h 449167"/>
                <a:gd name="connsiteX14" fmla="*/ 287087 w 448588"/>
                <a:gd name="connsiteY14" fmla="*/ 409028 h 449167"/>
                <a:gd name="connsiteX15" fmla="*/ 408762 w 448588"/>
                <a:gd name="connsiteY15" fmla="*/ 287353 h 449167"/>
                <a:gd name="connsiteX16" fmla="*/ 157259 w 448588"/>
                <a:gd name="connsiteY16" fmla="*/ 35849 h 449167"/>
                <a:gd name="connsiteX17" fmla="*/ 61298 w 448588"/>
                <a:gd name="connsiteY17" fmla="*/ 61564 h 449167"/>
                <a:gd name="connsiteX18" fmla="*/ 35584 w 448588"/>
                <a:gd name="connsiteY18" fmla="*/ 157524 h 449167"/>
                <a:gd name="connsiteX19" fmla="*/ 35584 w 448588"/>
                <a:gd name="connsiteY19" fmla="*/ 157524 h 449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48588" h="449167">
                  <a:moveTo>
                    <a:pt x="287087" y="449168"/>
                  </a:moveTo>
                  <a:cubicBezTo>
                    <a:pt x="282697" y="449168"/>
                    <a:pt x="278306" y="447286"/>
                    <a:pt x="275170" y="444150"/>
                  </a:cubicBezTo>
                  <a:lnTo>
                    <a:pt x="4851" y="173831"/>
                  </a:lnTo>
                  <a:cubicBezTo>
                    <a:pt x="461" y="169441"/>
                    <a:pt x="-794" y="163796"/>
                    <a:pt x="461" y="157524"/>
                  </a:cubicBezTo>
                  <a:lnTo>
                    <a:pt x="31193" y="43375"/>
                  </a:lnTo>
                  <a:cubicBezTo>
                    <a:pt x="32448" y="37731"/>
                    <a:pt x="37465" y="33340"/>
                    <a:pt x="43110" y="31459"/>
                  </a:cubicBezTo>
                  <a:lnTo>
                    <a:pt x="157259" y="727"/>
                  </a:lnTo>
                  <a:cubicBezTo>
                    <a:pt x="162903" y="-1155"/>
                    <a:pt x="169175" y="727"/>
                    <a:pt x="173566" y="5117"/>
                  </a:cubicBezTo>
                  <a:lnTo>
                    <a:pt x="443885" y="275436"/>
                  </a:lnTo>
                  <a:cubicBezTo>
                    <a:pt x="450157" y="281708"/>
                    <a:pt x="450157" y="292370"/>
                    <a:pt x="443885" y="299269"/>
                  </a:cubicBezTo>
                  <a:lnTo>
                    <a:pt x="299004" y="444150"/>
                  </a:lnTo>
                  <a:cubicBezTo>
                    <a:pt x="295868" y="447286"/>
                    <a:pt x="291477" y="449168"/>
                    <a:pt x="287087" y="449168"/>
                  </a:cubicBezTo>
                  <a:lnTo>
                    <a:pt x="287087" y="449168"/>
                  </a:lnTo>
                  <a:close/>
                  <a:moveTo>
                    <a:pt x="35584" y="157524"/>
                  </a:moveTo>
                  <a:lnTo>
                    <a:pt x="287087" y="409028"/>
                  </a:lnTo>
                  <a:lnTo>
                    <a:pt x="408762" y="287353"/>
                  </a:lnTo>
                  <a:lnTo>
                    <a:pt x="157259" y="35849"/>
                  </a:lnTo>
                  <a:lnTo>
                    <a:pt x="61298" y="61564"/>
                  </a:lnTo>
                  <a:lnTo>
                    <a:pt x="35584" y="157524"/>
                  </a:lnTo>
                  <a:lnTo>
                    <a:pt x="35584" y="157524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49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9430530" y="2568540"/>
            <a:ext cx="448588" cy="449167"/>
            <a:chOff x="9430530" y="2568540"/>
            <a:chExt cx="448588" cy="449167"/>
          </a:xfrm>
          <a:solidFill>
            <a:srgbClr val="B1B1A1"/>
          </a:solidFill>
        </p:grpSpPr>
        <p:grpSp>
          <p:nvGrpSpPr>
            <p:cNvPr id="150" name="Gráfico 2">
              <a:extLst>
                <a:ext uri="{FF2B5EF4-FFF2-40B4-BE49-F238E27FC236}">
                  <a16:creationId xmlns:a16="http://schemas.microsoft.com/office/drawing/2014/main" id="{F5ABA5BB-819F-4501-AD77-3F762FEA4CEA}"/>
                </a:ext>
              </a:extLst>
            </p:cNvPr>
            <p:cNvGrpSpPr/>
            <p:nvPr/>
          </p:nvGrpSpPr>
          <p:grpSpPr>
            <a:xfrm>
              <a:off x="9541377" y="2679025"/>
              <a:ext cx="243350" cy="244604"/>
              <a:chOff x="9541377" y="2679025"/>
              <a:chExt cx="243350" cy="244604"/>
            </a:xfrm>
            <a:grpFill/>
          </p:grpSpPr>
          <p:sp>
            <p:nvSpPr>
              <p:cNvPr id="151" name="Forma Livre: Forma 150">
                <a:extLst>
                  <a:ext uri="{FF2B5EF4-FFF2-40B4-BE49-F238E27FC236}">
                    <a16:creationId xmlns:a16="http://schemas.microsoft.com/office/drawing/2014/main" id="{55AF734E-0922-4F3C-8928-0A7722405BB0}"/>
                  </a:ext>
                </a:extLst>
              </p:cNvPr>
              <p:cNvSpPr/>
              <p:nvPr/>
            </p:nvSpPr>
            <p:spPr>
              <a:xfrm>
                <a:off x="9541377" y="2679025"/>
                <a:ext cx="105995" cy="88433"/>
              </a:xfrm>
              <a:custGeom>
                <a:avLst/>
                <a:gdLst>
                  <a:gd name="connsiteX0" fmla="*/ 74009 w 105995"/>
                  <a:gd name="connsiteY0" fmla="*/ 0 h 88433"/>
                  <a:gd name="connsiteX1" fmla="*/ 105995 w 105995"/>
                  <a:gd name="connsiteY1" fmla="*/ 31987 h 88433"/>
                  <a:gd name="connsiteX2" fmla="*/ 93452 w 105995"/>
                  <a:gd name="connsiteY2" fmla="*/ 44530 h 88433"/>
                  <a:gd name="connsiteX3" fmla="*/ 75890 w 105995"/>
                  <a:gd name="connsiteY3" fmla="*/ 26969 h 88433"/>
                  <a:gd name="connsiteX4" fmla="*/ 57074 w 105995"/>
                  <a:gd name="connsiteY4" fmla="*/ 45785 h 88433"/>
                  <a:gd name="connsiteX5" fmla="*/ 74009 w 105995"/>
                  <a:gd name="connsiteY5" fmla="*/ 62719 h 88433"/>
                  <a:gd name="connsiteX6" fmla="*/ 62092 w 105995"/>
                  <a:gd name="connsiteY6" fmla="*/ 74636 h 88433"/>
                  <a:gd name="connsiteX7" fmla="*/ 45157 w 105995"/>
                  <a:gd name="connsiteY7" fmla="*/ 57701 h 88433"/>
                  <a:gd name="connsiteX8" fmla="*/ 14426 w 105995"/>
                  <a:gd name="connsiteY8" fmla="*/ 88434 h 88433"/>
                  <a:gd name="connsiteX9" fmla="*/ 0 w 105995"/>
                  <a:gd name="connsiteY9" fmla="*/ 74008 h 88433"/>
                  <a:gd name="connsiteX10" fmla="*/ 74009 w 105995"/>
                  <a:gd name="connsiteY10" fmla="*/ 0 h 88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5995" h="88433">
                    <a:moveTo>
                      <a:pt x="74009" y="0"/>
                    </a:moveTo>
                    <a:lnTo>
                      <a:pt x="105995" y="31987"/>
                    </a:lnTo>
                    <a:lnTo>
                      <a:pt x="93452" y="44530"/>
                    </a:lnTo>
                    <a:lnTo>
                      <a:pt x="75890" y="26969"/>
                    </a:lnTo>
                    <a:lnTo>
                      <a:pt x="57074" y="45785"/>
                    </a:lnTo>
                    <a:lnTo>
                      <a:pt x="74009" y="62719"/>
                    </a:lnTo>
                    <a:lnTo>
                      <a:pt x="62092" y="74636"/>
                    </a:lnTo>
                    <a:lnTo>
                      <a:pt x="45157" y="57701"/>
                    </a:lnTo>
                    <a:lnTo>
                      <a:pt x="14426" y="88434"/>
                    </a:lnTo>
                    <a:lnTo>
                      <a:pt x="0" y="74008"/>
                    </a:lnTo>
                    <a:lnTo>
                      <a:pt x="74009" y="0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52" name="Forma Livre: Forma 151">
                <a:extLst>
                  <a:ext uri="{FF2B5EF4-FFF2-40B4-BE49-F238E27FC236}">
                    <a16:creationId xmlns:a16="http://schemas.microsoft.com/office/drawing/2014/main" id="{75D775F1-2ECA-4EB1-B876-5E5381767B29}"/>
                  </a:ext>
                </a:extLst>
              </p:cNvPr>
              <p:cNvSpPr/>
              <p:nvPr/>
            </p:nvSpPr>
            <p:spPr>
              <a:xfrm>
                <a:off x="9584026" y="2722929"/>
                <a:ext cx="104808" cy="116030"/>
              </a:xfrm>
              <a:custGeom>
                <a:avLst/>
                <a:gdLst>
                  <a:gd name="connsiteX0" fmla="*/ 73381 w 104808"/>
                  <a:gd name="connsiteY0" fmla="*/ 0 h 116030"/>
                  <a:gd name="connsiteX1" fmla="*/ 90315 w 104808"/>
                  <a:gd name="connsiteY1" fmla="*/ 14425 h 116030"/>
                  <a:gd name="connsiteX2" fmla="*/ 104741 w 104808"/>
                  <a:gd name="connsiteY2" fmla="*/ 39513 h 116030"/>
                  <a:gd name="connsiteX3" fmla="*/ 95333 w 104808"/>
                  <a:gd name="connsiteY3" fmla="*/ 60837 h 116030"/>
                  <a:gd name="connsiteX4" fmla="*/ 65227 w 104808"/>
                  <a:gd name="connsiteY4" fmla="*/ 67737 h 116030"/>
                  <a:gd name="connsiteX5" fmla="*/ 65227 w 104808"/>
                  <a:gd name="connsiteY5" fmla="*/ 67737 h 116030"/>
                  <a:gd name="connsiteX6" fmla="*/ 59583 w 104808"/>
                  <a:gd name="connsiteY6" fmla="*/ 91570 h 116030"/>
                  <a:gd name="connsiteX7" fmla="*/ 44530 w 104808"/>
                  <a:gd name="connsiteY7" fmla="*/ 116030 h 116030"/>
                  <a:gd name="connsiteX8" fmla="*/ 29478 w 104808"/>
                  <a:gd name="connsiteY8" fmla="*/ 100978 h 116030"/>
                  <a:gd name="connsiteX9" fmla="*/ 43276 w 104808"/>
                  <a:gd name="connsiteY9" fmla="*/ 79653 h 116030"/>
                  <a:gd name="connsiteX10" fmla="*/ 46412 w 104808"/>
                  <a:gd name="connsiteY10" fmla="*/ 59583 h 116030"/>
                  <a:gd name="connsiteX11" fmla="*/ 43903 w 104808"/>
                  <a:gd name="connsiteY11" fmla="*/ 57701 h 116030"/>
                  <a:gd name="connsiteX12" fmla="*/ 14425 w 104808"/>
                  <a:gd name="connsiteY12" fmla="*/ 87179 h 116030"/>
                  <a:gd name="connsiteX13" fmla="*/ 0 w 104808"/>
                  <a:gd name="connsiteY13" fmla="*/ 72754 h 116030"/>
                  <a:gd name="connsiteX14" fmla="*/ 73381 w 104808"/>
                  <a:gd name="connsiteY14" fmla="*/ 0 h 116030"/>
                  <a:gd name="connsiteX15" fmla="*/ 55192 w 104808"/>
                  <a:gd name="connsiteY15" fmla="*/ 46412 h 116030"/>
                  <a:gd name="connsiteX16" fmla="*/ 57701 w 104808"/>
                  <a:gd name="connsiteY16" fmla="*/ 48921 h 116030"/>
                  <a:gd name="connsiteX17" fmla="*/ 79026 w 104808"/>
                  <a:gd name="connsiteY17" fmla="*/ 47039 h 116030"/>
                  <a:gd name="connsiteX18" fmla="*/ 80907 w 104808"/>
                  <a:gd name="connsiteY18" fmla="*/ 26969 h 116030"/>
                  <a:gd name="connsiteX19" fmla="*/ 77144 w 104808"/>
                  <a:gd name="connsiteY19" fmla="*/ 23833 h 116030"/>
                  <a:gd name="connsiteX20" fmla="*/ 55192 w 104808"/>
                  <a:gd name="connsiteY20" fmla="*/ 46412 h 1160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04808" h="116030">
                    <a:moveTo>
                      <a:pt x="73381" y="0"/>
                    </a:moveTo>
                    <a:cubicBezTo>
                      <a:pt x="79026" y="3763"/>
                      <a:pt x="85298" y="8781"/>
                      <a:pt x="90315" y="14425"/>
                    </a:cubicBezTo>
                    <a:cubicBezTo>
                      <a:pt x="98469" y="22579"/>
                      <a:pt x="104114" y="30732"/>
                      <a:pt x="104741" y="39513"/>
                    </a:cubicBezTo>
                    <a:cubicBezTo>
                      <a:pt x="105368" y="48294"/>
                      <a:pt x="101605" y="54565"/>
                      <a:pt x="95333" y="60837"/>
                    </a:cubicBezTo>
                    <a:cubicBezTo>
                      <a:pt x="87179" y="68991"/>
                      <a:pt x="76517" y="72127"/>
                      <a:pt x="65227" y="67737"/>
                    </a:cubicBezTo>
                    <a:lnTo>
                      <a:pt x="65227" y="67737"/>
                    </a:lnTo>
                    <a:cubicBezTo>
                      <a:pt x="68363" y="74636"/>
                      <a:pt x="65855" y="82162"/>
                      <a:pt x="59583" y="91570"/>
                    </a:cubicBezTo>
                    <a:cubicBezTo>
                      <a:pt x="52683" y="100978"/>
                      <a:pt x="45784" y="112267"/>
                      <a:pt x="44530" y="116030"/>
                    </a:cubicBezTo>
                    <a:lnTo>
                      <a:pt x="29478" y="100978"/>
                    </a:lnTo>
                    <a:cubicBezTo>
                      <a:pt x="30732" y="97842"/>
                      <a:pt x="36377" y="89061"/>
                      <a:pt x="43276" y="79653"/>
                    </a:cubicBezTo>
                    <a:cubicBezTo>
                      <a:pt x="50802" y="68991"/>
                      <a:pt x="51429" y="64601"/>
                      <a:pt x="46412" y="59583"/>
                    </a:cubicBezTo>
                    <a:lnTo>
                      <a:pt x="43903" y="57701"/>
                    </a:lnTo>
                    <a:lnTo>
                      <a:pt x="14425" y="87179"/>
                    </a:lnTo>
                    <a:lnTo>
                      <a:pt x="0" y="72754"/>
                    </a:lnTo>
                    <a:lnTo>
                      <a:pt x="73381" y="0"/>
                    </a:lnTo>
                    <a:close/>
                    <a:moveTo>
                      <a:pt x="55192" y="46412"/>
                    </a:moveTo>
                    <a:lnTo>
                      <a:pt x="57701" y="48921"/>
                    </a:lnTo>
                    <a:cubicBezTo>
                      <a:pt x="63973" y="55193"/>
                      <a:pt x="72754" y="53938"/>
                      <a:pt x="79026" y="47039"/>
                    </a:cubicBezTo>
                    <a:cubicBezTo>
                      <a:pt x="85298" y="40767"/>
                      <a:pt x="87179" y="33868"/>
                      <a:pt x="80907" y="26969"/>
                    </a:cubicBezTo>
                    <a:cubicBezTo>
                      <a:pt x="79653" y="25715"/>
                      <a:pt x="77771" y="24460"/>
                      <a:pt x="77144" y="23833"/>
                    </a:cubicBezTo>
                    <a:lnTo>
                      <a:pt x="55192" y="46412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53" name="Forma Livre: Forma 152">
                <a:extLst>
                  <a:ext uri="{FF2B5EF4-FFF2-40B4-BE49-F238E27FC236}">
                    <a16:creationId xmlns:a16="http://schemas.microsoft.com/office/drawing/2014/main" id="{2CE5453E-4390-4D4E-8818-2CD1A45F317C}"/>
                  </a:ext>
                </a:extLst>
              </p:cNvPr>
              <p:cNvSpPr/>
              <p:nvPr/>
            </p:nvSpPr>
            <p:spPr>
              <a:xfrm>
                <a:off x="9635455" y="2773104"/>
                <a:ext cx="105995" cy="107249"/>
              </a:xfrm>
              <a:custGeom>
                <a:avLst/>
                <a:gdLst>
                  <a:gd name="connsiteX0" fmla="*/ 63973 w 105995"/>
                  <a:gd name="connsiteY0" fmla="*/ 72754 h 107249"/>
                  <a:gd name="connsiteX1" fmla="*/ 47039 w 105995"/>
                  <a:gd name="connsiteY1" fmla="*/ 55820 h 107249"/>
                  <a:gd name="connsiteX2" fmla="*/ 26970 w 105995"/>
                  <a:gd name="connsiteY2" fmla="*/ 75890 h 107249"/>
                  <a:gd name="connsiteX3" fmla="*/ 45785 w 105995"/>
                  <a:gd name="connsiteY3" fmla="*/ 94706 h 107249"/>
                  <a:gd name="connsiteX4" fmla="*/ 33241 w 105995"/>
                  <a:gd name="connsiteY4" fmla="*/ 107249 h 107249"/>
                  <a:gd name="connsiteX5" fmla="*/ 0 w 105995"/>
                  <a:gd name="connsiteY5" fmla="*/ 74008 h 107249"/>
                  <a:gd name="connsiteX6" fmla="*/ 74009 w 105995"/>
                  <a:gd name="connsiteY6" fmla="*/ 0 h 107249"/>
                  <a:gd name="connsiteX7" fmla="*/ 105995 w 105995"/>
                  <a:gd name="connsiteY7" fmla="*/ 31987 h 107249"/>
                  <a:gd name="connsiteX8" fmla="*/ 93452 w 105995"/>
                  <a:gd name="connsiteY8" fmla="*/ 44530 h 107249"/>
                  <a:gd name="connsiteX9" fmla="*/ 75890 w 105995"/>
                  <a:gd name="connsiteY9" fmla="*/ 26969 h 107249"/>
                  <a:gd name="connsiteX10" fmla="*/ 58956 w 105995"/>
                  <a:gd name="connsiteY10" fmla="*/ 43903 h 107249"/>
                  <a:gd name="connsiteX11" fmla="*/ 75890 w 105995"/>
                  <a:gd name="connsiteY11" fmla="*/ 60837 h 107249"/>
                  <a:gd name="connsiteX12" fmla="*/ 63973 w 105995"/>
                  <a:gd name="connsiteY12" fmla="*/ 72754 h 107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5995" h="107249">
                    <a:moveTo>
                      <a:pt x="63973" y="72754"/>
                    </a:moveTo>
                    <a:lnTo>
                      <a:pt x="47039" y="55820"/>
                    </a:lnTo>
                    <a:lnTo>
                      <a:pt x="26970" y="75890"/>
                    </a:lnTo>
                    <a:lnTo>
                      <a:pt x="45785" y="94706"/>
                    </a:lnTo>
                    <a:lnTo>
                      <a:pt x="33241" y="107249"/>
                    </a:lnTo>
                    <a:lnTo>
                      <a:pt x="0" y="74008"/>
                    </a:lnTo>
                    <a:lnTo>
                      <a:pt x="74009" y="0"/>
                    </a:lnTo>
                    <a:lnTo>
                      <a:pt x="105995" y="31987"/>
                    </a:lnTo>
                    <a:lnTo>
                      <a:pt x="93452" y="44530"/>
                    </a:lnTo>
                    <a:lnTo>
                      <a:pt x="75890" y="26969"/>
                    </a:lnTo>
                    <a:lnTo>
                      <a:pt x="58956" y="43903"/>
                    </a:lnTo>
                    <a:lnTo>
                      <a:pt x="75890" y="60837"/>
                    </a:lnTo>
                    <a:lnTo>
                      <a:pt x="63973" y="72754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54" name="Forma Livre: Forma 153">
                <a:extLst>
                  <a:ext uri="{FF2B5EF4-FFF2-40B4-BE49-F238E27FC236}">
                    <a16:creationId xmlns:a16="http://schemas.microsoft.com/office/drawing/2014/main" id="{45ED0335-7114-4D36-A0A6-0B99B4604B2B}"/>
                  </a:ext>
                </a:extLst>
              </p:cNvPr>
              <p:cNvSpPr/>
              <p:nvPr/>
            </p:nvSpPr>
            <p:spPr>
              <a:xfrm>
                <a:off x="9678731" y="2816380"/>
                <a:ext cx="105995" cy="107249"/>
              </a:xfrm>
              <a:custGeom>
                <a:avLst/>
                <a:gdLst>
                  <a:gd name="connsiteX0" fmla="*/ 63973 w 105995"/>
                  <a:gd name="connsiteY0" fmla="*/ 72754 h 107249"/>
                  <a:gd name="connsiteX1" fmla="*/ 47039 w 105995"/>
                  <a:gd name="connsiteY1" fmla="*/ 55820 h 107249"/>
                  <a:gd name="connsiteX2" fmla="*/ 26969 w 105995"/>
                  <a:gd name="connsiteY2" fmla="*/ 75890 h 107249"/>
                  <a:gd name="connsiteX3" fmla="*/ 45784 w 105995"/>
                  <a:gd name="connsiteY3" fmla="*/ 94706 h 107249"/>
                  <a:gd name="connsiteX4" fmla="*/ 33241 w 105995"/>
                  <a:gd name="connsiteY4" fmla="*/ 107250 h 107249"/>
                  <a:gd name="connsiteX5" fmla="*/ 0 w 105995"/>
                  <a:gd name="connsiteY5" fmla="*/ 74008 h 107249"/>
                  <a:gd name="connsiteX6" fmla="*/ 74008 w 105995"/>
                  <a:gd name="connsiteY6" fmla="*/ 0 h 107249"/>
                  <a:gd name="connsiteX7" fmla="*/ 105995 w 105995"/>
                  <a:gd name="connsiteY7" fmla="*/ 31987 h 107249"/>
                  <a:gd name="connsiteX8" fmla="*/ 93452 w 105995"/>
                  <a:gd name="connsiteY8" fmla="*/ 44531 h 107249"/>
                  <a:gd name="connsiteX9" fmla="*/ 75890 w 105995"/>
                  <a:gd name="connsiteY9" fmla="*/ 26969 h 107249"/>
                  <a:gd name="connsiteX10" fmla="*/ 58956 w 105995"/>
                  <a:gd name="connsiteY10" fmla="*/ 43903 h 107249"/>
                  <a:gd name="connsiteX11" fmla="*/ 75890 w 105995"/>
                  <a:gd name="connsiteY11" fmla="*/ 60837 h 107249"/>
                  <a:gd name="connsiteX12" fmla="*/ 63973 w 105995"/>
                  <a:gd name="connsiteY12" fmla="*/ 72754 h 107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5995" h="107249">
                    <a:moveTo>
                      <a:pt x="63973" y="72754"/>
                    </a:moveTo>
                    <a:lnTo>
                      <a:pt x="47039" y="55820"/>
                    </a:lnTo>
                    <a:lnTo>
                      <a:pt x="26969" y="75890"/>
                    </a:lnTo>
                    <a:lnTo>
                      <a:pt x="45784" y="94706"/>
                    </a:lnTo>
                    <a:lnTo>
                      <a:pt x="33241" y="107250"/>
                    </a:lnTo>
                    <a:lnTo>
                      <a:pt x="0" y="74008"/>
                    </a:lnTo>
                    <a:lnTo>
                      <a:pt x="74008" y="0"/>
                    </a:lnTo>
                    <a:lnTo>
                      <a:pt x="105995" y="31987"/>
                    </a:lnTo>
                    <a:lnTo>
                      <a:pt x="93452" y="44531"/>
                    </a:lnTo>
                    <a:lnTo>
                      <a:pt x="75890" y="26969"/>
                    </a:lnTo>
                    <a:lnTo>
                      <a:pt x="58956" y="43903"/>
                    </a:lnTo>
                    <a:lnTo>
                      <a:pt x="75890" y="60837"/>
                    </a:lnTo>
                    <a:lnTo>
                      <a:pt x="63973" y="72754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155" name="Forma Livre: Forma 154">
              <a:extLst>
                <a:ext uri="{FF2B5EF4-FFF2-40B4-BE49-F238E27FC236}">
                  <a16:creationId xmlns:a16="http://schemas.microsoft.com/office/drawing/2014/main" id="{05CC4123-2C5E-4B34-BE98-927E0B8E9B0E}"/>
                </a:ext>
              </a:extLst>
            </p:cNvPr>
            <p:cNvSpPr/>
            <p:nvPr/>
          </p:nvSpPr>
          <p:spPr>
            <a:xfrm>
              <a:off x="9501863" y="2640139"/>
              <a:ext cx="64600" cy="65227"/>
            </a:xfrm>
            <a:custGeom>
              <a:avLst/>
              <a:gdLst>
                <a:gd name="connsiteX0" fmla="*/ 32614 w 64600"/>
                <a:gd name="connsiteY0" fmla="*/ 65228 h 65227"/>
                <a:gd name="connsiteX1" fmla="*/ 9408 w 64600"/>
                <a:gd name="connsiteY1" fmla="*/ 55820 h 65227"/>
                <a:gd name="connsiteX2" fmla="*/ 0 w 64600"/>
                <a:gd name="connsiteY2" fmla="*/ 32614 h 65227"/>
                <a:gd name="connsiteX3" fmla="*/ 9408 w 64600"/>
                <a:gd name="connsiteY3" fmla="*/ 9408 h 65227"/>
                <a:gd name="connsiteX4" fmla="*/ 55193 w 64600"/>
                <a:gd name="connsiteY4" fmla="*/ 9408 h 65227"/>
                <a:gd name="connsiteX5" fmla="*/ 64601 w 64600"/>
                <a:gd name="connsiteY5" fmla="*/ 32614 h 65227"/>
                <a:gd name="connsiteX6" fmla="*/ 55193 w 64600"/>
                <a:gd name="connsiteY6" fmla="*/ 55820 h 65227"/>
                <a:gd name="connsiteX7" fmla="*/ 32614 w 64600"/>
                <a:gd name="connsiteY7" fmla="*/ 65228 h 65227"/>
                <a:gd name="connsiteX8" fmla="*/ 32614 w 64600"/>
                <a:gd name="connsiteY8" fmla="*/ 65228 h 65227"/>
                <a:gd name="connsiteX9" fmla="*/ 32614 w 64600"/>
                <a:gd name="connsiteY9" fmla="*/ 16934 h 65227"/>
                <a:gd name="connsiteX10" fmla="*/ 21325 w 64600"/>
                <a:gd name="connsiteY10" fmla="*/ 21324 h 65227"/>
                <a:gd name="connsiteX11" fmla="*/ 16935 w 64600"/>
                <a:gd name="connsiteY11" fmla="*/ 32614 h 65227"/>
                <a:gd name="connsiteX12" fmla="*/ 21325 w 64600"/>
                <a:gd name="connsiteY12" fmla="*/ 43903 h 65227"/>
                <a:gd name="connsiteX13" fmla="*/ 43903 w 64600"/>
                <a:gd name="connsiteY13" fmla="*/ 43903 h 65227"/>
                <a:gd name="connsiteX14" fmla="*/ 48294 w 64600"/>
                <a:gd name="connsiteY14" fmla="*/ 32614 h 65227"/>
                <a:gd name="connsiteX15" fmla="*/ 43903 w 64600"/>
                <a:gd name="connsiteY15" fmla="*/ 21324 h 65227"/>
                <a:gd name="connsiteX16" fmla="*/ 32614 w 64600"/>
                <a:gd name="connsiteY16" fmla="*/ 16934 h 65227"/>
                <a:gd name="connsiteX17" fmla="*/ 32614 w 64600"/>
                <a:gd name="connsiteY17" fmla="*/ 16934 h 65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4600" h="65227">
                  <a:moveTo>
                    <a:pt x="32614" y="65228"/>
                  </a:moveTo>
                  <a:cubicBezTo>
                    <a:pt x="23834" y="65228"/>
                    <a:pt x="15680" y="62092"/>
                    <a:pt x="9408" y="55820"/>
                  </a:cubicBezTo>
                  <a:cubicBezTo>
                    <a:pt x="3136" y="49548"/>
                    <a:pt x="0" y="41395"/>
                    <a:pt x="0" y="32614"/>
                  </a:cubicBezTo>
                  <a:cubicBezTo>
                    <a:pt x="0" y="23833"/>
                    <a:pt x="3136" y="15680"/>
                    <a:pt x="9408" y="9408"/>
                  </a:cubicBezTo>
                  <a:cubicBezTo>
                    <a:pt x="21325" y="-3136"/>
                    <a:pt x="43276" y="-3136"/>
                    <a:pt x="55193" y="9408"/>
                  </a:cubicBezTo>
                  <a:cubicBezTo>
                    <a:pt x="61465" y="15680"/>
                    <a:pt x="64601" y="23833"/>
                    <a:pt x="64601" y="32614"/>
                  </a:cubicBezTo>
                  <a:cubicBezTo>
                    <a:pt x="64601" y="41395"/>
                    <a:pt x="61465" y="49548"/>
                    <a:pt x="55193" y="55820"/>
                  </a:cubicBezTo>
                  <a:cubicBezTo>
                    <a:pt x="49548" y="61465"/>
                    <a:pt x="41395" y="65228"/>
                    <a:pt x="32614" y="65228"/>
                  </a:cubicBezTo>
                  <a:lnTo>
                    <a:pt x="32614" y="65228"/>
                  </a:lnTo>
                  <a:close/>
                  <a:moveTo>
                    <a:pt x="32614" y="16934"/>
                  </a:moveTo>
                  <a:cubicBezTo>
                    <a:pt x="28224" y="16934"/>
                    <a:pt x="24461" y="18816"/>
                    <a:pt x="21325" y="21324"/>
                  </a:cubicBezTo>
                  <a:cubicBezTo>
                    <a:pt x="18189" y="24460"/>
                    <a:pt x="16935" y="28224"/>
                    <a:pt x="16935" y="32614"/>
                  </a:cubicBezTo>
                  <a:cubicBezTo>
                    <a:pt x="16935" y="37004"/>
                    <a:pt x="18816" y="40767"/>
                    <a:pt x="21325" y="43903"/>
                  </a:cubicBezTo>
                  <a:cubicBezTo>
                    <a:pt x="27597" y="49548"/>
                    <a:pt x="37631" y="50175"/>
                    <a:pt x="43903" y="43903"/>
                  </a:cubicBezTo>
                  <a:cubicBezTo>
                    <a:pt x="47039" y="40767"/>
                    <a:pt x="48294" y="37004"/>
                    <a:pt x="48294" y="32614"/>
                  </a:cubicBezTo>
                  <a:cubicBezTo>
                    <a:pt x="48294" y="28224"/>
                    <a:pt x="46412" y="24460"/>
                    <a:pt x="43903" y="21324"/>
                  </a:cubicBezTo>
                  <a:cubicBezTo>
                    <a:pt x="40767" y="18188"/>
                    <a:pt x="36377" y="16934"/>
                    <a:pt x="32614" y="16934"/>
                  </a:cubicBezTo>
                  <a:lnTo>
                    <a:pt x="32614" y="16934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56" name="Forma Livre: Forma 155">
              <a:extLst>
                <a:ext uri="{FF2B5EF4-FFF2-40B4-BE49-F238E27FC236}">
                  <a16:creationId xmlns:a16="http://schemas.microsoft.com/office/drawing/2014/main" id="{517A1C87-13E3-41CF-9341-B6FF04CA20F2}"/>
                </a:ext>
              </a:extLst>
            </p:cNvPr>
            <p:cNvSpPr/>
            <p:nvPr/>
          </p:nvSpPr>
          <p:spPr>
            <a:xfrm>
              <a:off x="9430530" y="2568540"/>
              <a:ext cx="448588" cy="449167"/>
            </a:xfrm>
            <a:custGeom>
              <a:avLst/>
              <a:gdLst>
                <a:gd name="connsiteX0" fmla="*/ 287087 w 448588"/>
                <a:gd name="connsiteY0" fmla="*/ 449168 h 449167"/>
                <a:gd name="connsiteX1" fmla="*/ 275170 w 448588"/>
                <a:gd name="connsiteY1" fmla="*/ 444150 h 449167"/>
                <a:gd name="connsiteX2" fmla="*/ 4851 w 448588"/>
                <a:gd name="connsiteY2" fmla="*/ 173831 h 449167"/>
                <a:gd name="connsiteX3" fmla="*/ 461 w 448588"/>
                <a:gd name="connsiteY3" fmla="*/ 157524 h 449167"/>
                <a:gd name="connsiteX4" fmla="*/ 31194 w 448588"/>
                <a:gd name="connsiteY4" fmla="*/ 43375 h 449167"/>
                <a:gd name="connsiteX5" fmla="*/ 43110 w 448588"/>
                <a:gd name="connsiteY5" fmla="*/ 31459 h 449167"/>
                <a:gd name="connsiteX6" fmla="*/ 157259 w 448588"/>
                <a:gd name="connsiteY6" fmla="*/ 727 h 449167"/>
                <a:gd name="connsiteX7" fmla="*/ 173566 w 448588"/>
                <a:gd name="connsiteY7" fmla="*/ 5117 h 449167"/>
                <a:gd name="connsiteX8" fmla="*/ 443885 w 448588"/>
                <a:gd name="connsiteY8" fmla="*/ 275436 h 449167"/>
                <a:gd name="connsiteX9" fmla="*/ 443885 w 448588"/>
                <a:gd name="connsiteY9" fmla="*/ 299269 h 449167"/>
                <a:gd name="connsiteX10" fmla="*/ 299004 w 448588"/>
                <a:gd name="connsiteY10" fmla="*/ 444150 h 449167"/>
                <a:gd name="connsiteX11" fmla="*/ 287087 w 448588"/>
                <a:gd name="connsiteY11" fmla="*/ 449168 h 449167"/>
                <a:gd name="connsiteX12" fmla="*/ 287087 w 448588"/>
                <a:gd name="connsiteY12" fmla="*/ 449168 h 449167"/>
                <a:gd name="connsiteX13" fmla="*/ 35584 w 448588"/>
                <a:gd name="connsiteY13" fmla="*/ 157524 h 449167"/>
                <a:gd name="connsiteX14" fmla="*/ 287087 w 448588"/>
                <a:gd name="connsiteY14" fmla="*/ 409028 h 449167"/>
                <a:gd name="connsiteX15" fmla="*/ 408762 w 448588"/>
                <a:gd name="connsiteY15" fmla="*/ 287353 h 449167"/>
                <a:gd name="connsiteX16" fmla="*/ 157259 w 448588"/>
                <a:gd name="connsiteY16" fmla="*/ 35849 h 449167"/>
                <a:gd name="connsiteX17" fmla="*/ 61298 w 448588"/>
                <a:gd name="connsiteY17" fmla="*/ 61564 h 449167"/>
                <a:gd name="connsiteX18" fmla="*/ 35584 w 448588"/>
                <a:gd name="connsiteY18" fmla="*/ 157524 h 449167"/>
                <a:gd name="connsiteX19" fmla="*/ 35584 w 448588"/>
                <a:gd name="connsiteY19" fmla="*/ 157524 h 449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48588" h="449167">
                  <a:moveTo>
                    <a:pt x="287087" y="449168"/>
                  </a:moveTo>
                  <a:cubicBezTo>
                    <a:pt x="282697" y="449168"/>
                    <a:pt x="278306" y="447286"/>
                    <a:pt x="275170" y="444150"/>
                  </a:cubicBezTo>
                  <a:lnTo>
                    <a:pt x="4851" y="173831"/>
                  </a:lnTo>
                  <a:cubicBezTo>
                    <a:pt x="461" y="169441"/>
                    <a:pt x="-794" y="163796"/>
                    <a:pt x="461" y="157524"/>
                  </a:cubicBezTo>
                  <a:lnTo>
                    <a:pt x="31194" y="43375"/>
                  </a:lnTo>
                  <a:cubicBezTo>
                    <a:pt x="32448" y="37731"/>
                    <a:pt x="37466" y="33340"/>
                    <a:pt x="43110" y="31459"/>
                  </a:cubicBezTo>
                  <a:lnTo>
                    <a:pt x="157259" y="727"/>
                  </a:lnTo>
                  <a:cubicBezTo>
                    <a:pt x="162904" y="-1155"/>
                    <a:pt x="169176" y="727"/>
                    <a:pt x="173566" y="5117"/>
                  </a:cubicBezTo>
                  <a:lnTo>
                    <a:pt x="443885" y="275436"/>
                  </a:lnTo>
                  <a:cubicBezTo>
                    <a:pt x="450157" y="281708"/>
                    <a:pt x="450157" y="292370"/>
                    <a:pt x="443885" y="299269"/>
                  </a:cubicBezTo>
                  <a:lnTo>
                    <a:pt x="299004" y="444150"/>
                  </a:lnTo>
                  <a:cubicBezTo>
                    <a:pt x="295868" y="447286"/>
                    <a:pt x="291478" y="449168"/>
                    <a:pt x="287087" y="449168"/>
                  </a:cubicBezTo>
                  <a:lnTo>
                    <a:pt x="287087" y="449168"/>
                  </a:lnTo>
                  <a:close/>
                  <a:moveTo>
                    <a:pt x="35584" y="157524"/>
                  </a:moveTo>
                  <a:lnTo>
                    <a:pt x="287087" y="409028"/>
                  </a:lnTo>
                  <a:lnTo>
                    <a:pt x="408762" y="287353"/>
                  </a:lnTo>
                  <a:lnTo>
                    <a:pt x="157259" y="35849"/>
                  </a:lnTo>
                  <a:lnTo>
                    <a:pt x="61298" y="61564"/>
                  </a:lnTo>
                  <a:lnTo>
                    <a:pt x="35584" y="157524"/>
                  </a:lnTo>
                  <a:lnTo>
                    <a:pt x="35584" y="157524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57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6395996" y="2625695"/>
            <a:ext cx="401050" cy="336192"/>
            <a:chOff x="6395996" y="2625695"/>
            <a:chExt cx="401050" cy="336192"/>
          </a:xfrm>
          <a:solidFill>
            <a:srgbClr val="B1B1A1"/>
          </a:solidFill>
        </p:grpSpPr>
        <p:sp>
          <p:nvSpPr>
            <p:cNvPr id="158" name="Forma Livre: Forma 157">
              <a:extLst>
                <a:ext uri="{FF2B5EF4-FFF2-40B4-BE49-F238E27FC236}">
                  <a16:creationId xmlns:a16="http://schemas.microsoft.com/office/drawing/2014/main" id="{50D010BB-13EA-456D-BF79-6F4CA6CB6DD0}"/>
                </a:ext>
              </a:extLst>
            </p:cNvPr>
            <p:cNvSpPr/>
            <p:nvPr/>
          </p:nvSpPr>
          <p:spPr>
            <a:xfrm>
              <a:off x="6450580" y="2852757"/>
              <a:ext cx="109130" cy="109131"/>
            </a:xfrm>
            <a:custGeom>
              <a:avLst/>
              <a:gdLst>
                <a:gd name="connsiteX0" fmla="*/ 54566 w 109130"/>
                <a:gd name="connsiteY0" fmla="*/ 109131 h 109131"/>
                <a:gd name="connsiteX1" fmla="*/ 0 w 109130"/>
                <a:gd name="connsiteY1" fmla="*/ 54566 h 109131"/>
                <a:gd name="connsiteX2" fmla="*/ 54566 w 109130"/>
                <a:gd name="connsiteY2" fmla="*/ 0 h 109131"/>
                <a:gd name="connsiteX3" fmla="*/ 109131 w 109130"/>
                <a:gd name="connsiteY3" fmla="*/ 54566 h 109131"/>
                <a:gd name="connsiteX4" fmla="*/ 54566 w 109130"/>
                <a:gd name="connsiteY4" fmla="*/ 109131 h 109131"/>
                <a:gd name="connsiteX5" fmla="*/ 54566 w 109130"/>
                <a:gd name="connsiteY5" fmla="*/ 109131 h 109131"/>
                <a:gd name="connsiteX6" fmla="*/ 54566 w 109130"/>
                <a:gd name="connsiteY6" fmla="*/ 33868 h 109131"/>
                <a:gd name="connsiteX7" fmla="*/ 33241 w 109130"/>
                <a:gd name="connsiteY7" fmla="*/ 55193 h 109131"/>
                <a:gd name="connsiteX8" fmla="*/ 54566 w 109130"/>
                <a:gd name="connsiteY8" fmla="*/ 76517 h 109131"/>
                <a:gd name="connsiteX9" fmla="*/ 75890 w 109130"/>
                <a:gd name="connsiteY9" fmla="*/ 55193 h 109131"/>
                <a:gd name="connsiteX10" fmla="*/ 54566 w 109130"/>
                <a:gd name="connsiteY10" fmla="*/ 33868 h 109131"/>
                <a:gd name="connsiteX11" fmla="*/ 54566 w 109130"/>
                <a:gd name="connsiteY11" fmla="*/ 33868 h 109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9130" h="109131">
                  <a:moveTo>
                    <a:pt x="54566" y="109131"/>
                  </a:moveTo>
                  <a:cubicBezTo>
                    <a:pt x="24460" y="109131"/>
                    <a:pt x="0" y="84671"/>
                    <a:pt x="0" y="54566"/>
                  </a:cubicBezTo>
                  <a:cubicBezTo>
                    <a:pt x="0" y="24460"/>
                    <a:pt x="24460" y="0"/>
                    <a:pt x="54566" y="0"/>
                  </a:cubicBezTo>
                  <a:cubicBezTo>
                    <a:pt x="84671" y="0"/>
                    <a:pt x="109131" y="24460"/>
                    <a:pt x="109131" y="54566"/>
                  </a:cubicBezTo>
                  <a:cubicBezTo>
                    <a:pt x="109131" y="84671"/>
                    <a:pt x="84671" y="109131"/>
                    <a:pt x="54566" y="109131"/>
                  </a:cubicBezTo>
                  <a:lnTo>
                    <a:pt x="54566" y="109131"/>
                  </a:lnTo>
                  <a:close/>
                  <a:moveTo>
                    <a:pt x="54566" y="33868"/>
                  </a:moveTo>
                  <a:cubicBezTo>
                    <a:pt x="42649" y="33868"/>
                    <a:pt x="33241" y="43276"/>
                    <a:pt x="33241" y="55193"/>
                  </a:cubicBezTo>
                  <a:cubicBezTo>
                    <a:pt x="33241" y="67109"/>
                    <a:pt x="42649" y="76517"/>
                    <a:pt x="54566" y="76517"/>
                  </a:cubicBezTo>
                  <a:cubicBezTo>
                    <a:pt x="66482" y="76517"/>
                    <a:pt x="75890" y="67109"/>
                    <a:pt x="75890" y="55193"/>
                  </a:cubicBezTo>
                  <a:cubicBezTo>
                    <a:pt x="75890" y="43276"/>
                    <a:pt x="65855" y="33868"/>
                    <a:pt x="54566" y="33868"/>
                  </a:cubicBezTo>
                  <a:lnTo>
                    <a:pt x="54566" y="33868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59" name="Forma Livre: Forma 158">
              <a:extLst>
                <a:ext uri="{FF2B5EF4-FFF2-40B4-BE49-F238E27FC236}">
                  <a16:creationId xmlns:a16="http://schemas.microsoft.com/office/drawing/2014/main" id="{355D7298-A751-4A92-8159-44B45A0256BA}"/>
                </a:ext>
              </a:extLst>
            </p:cNvPr>
            <p:cNvSpPr/>
            <p:nvPr/>
          </p:nvSpPr>
          <p:spPr>
            <a:xfrm>
              <a:off x="6637483" y="2852757"/>
              <a:ext cx="109131" cy="109131"/>
            </a:xfrm>
            <a:custGeom>
              <a:avLst/>
              <a:gdLst>
                <a:gd name="connsiteX0" fmla="*/ 54566 w 109131"/>
                <a:gd name="connsiteY0" fmla="*/ 109131 h 109131"/>
                <a:gd name="connsiteX1" fmla="*/ 0 w 109131"/>
                <a:gd name="connsiteY1" fmla="*/ 54566 h 109131"/>
                <a:gd name="connsiteX2" fmla="*/ 54566 w 109131"/>
                <a:gd name="connsiteY2" fmla="*/ 0 h 109131"/>
                <a:gd name="connsiteX3" fmla="*/ 109131 w 109131"/>
                <a:gd name="connsiteY3" fmla="*/ 54566 h 109131"/>
                <a:gd name="connsiteX4" fmla="*/ 54566 w 109131"/>
                <a:gd name="connsiteY4" fmla="*/ 109131 h 109131"/>
                <a:gd name="connsiteX5" fmla="*/ 54566 w 109131"/>
                <a:gd name="connsiteY5" fmla="*/ 109131 h 109131"/>
                <a:gd name="connsiteX6" fmla="*/ 54566 w 109131"/>
                <a:gd name="connsiteY6" fmla="*/ 33868 h 109131"/>
                <a:gd name="connsiteX7" fmla="*/ 33241 w 109131"/>
                <a:gd name="connsiteY7" fmla="*/ 55193 h 109131"/>
                <a:gd name="connsiteX8" fmla="*/ 54566 w 109131"/>
                <a:gd name="connsiteY8" fmla="*/ 76517 h 109131"/>
                <a:gd name="connsiteX9" fmla="*/ 75890 w 109131"/>
                <a:gd name="connsiteY9" fmla="*/ 55193 h 109131"/>
                <a:gd name="connsiteX10" fmla="*/ 54566 w 109131"/>
                <a:gd name="connsiteY10" fmla="*/ 33868 h 109131"/>
                <a:gd name="connsiteX11" fmla="*/ 54566 w 109131"/>
                <a:gd name="connsiteY11" fmla="*/ 33868 h 109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9131" h="109131">
                  <a:moveTo>
                    <a:pt x="54566" y="109131"/>
                  </a:moveTo>
                  <a:cubicBezTo>
                    <a:pt x="24461" y="109131"/>
                    <a:pt x="0" y="84671"/>
                    <a:pt x="0" y="54566"/>
                  </a:cubicBezTo>
                  <a:cubicBezTo>
                    <a:pt x="0" y="24460"/>
                    <a:pt x="24461" y="0"/>
                    <a:pt x="54566" y="0"/>
                  </a:cubicBezTo>
                  <a:cubicBezTo>
                    <a:pt x="84671" y="0"/>
                    <a:pt x="109131" y="24460"/>
                    <a:pt x="109131" y="54566"/>
                  </a:cubicBezTo>
                  <a:cubicBezTo>
                    <a:pt x="109131" y="84671"/>
                    <a:pt x="84671" y="109131"/>
                    <a:pt x="54566" y="109131"/>
                  </a:cubicBezTo>
                  <a:lnTo>
                    <a:pt x="54566" y="109131"/>
                  </a:lnTo>
                  <a:close/>
                  <a:moveTo>
                    <a:pt x="54566" y="33868"/>
                  </a:moveTo>
                  <a:cubicBezTo>
                    <a:pt x="42649" y="33868"/>
                    <a:pt x="33241" y="43276"/>
                    <a:pt x="33241" y="55193"/>
                  </a:cubicBezTo>
                  <a:cubicBezTo>
                    <a:pt x="33241" y="67109"/>
                    <a:pt x="42649" y="76517"/>
                    <a:pt x="54566" y="76517"/>
                  </a:cubicBezTo>
                  <a:cubicBezTo>
                    <a:pt x="66482" y="76517"/>
                    <a:pt x="75890" y="67109"/>
                    <a:pt x="75890" y="55193"/>
                  </a:cubicBezTo>
                  <a:cubicBezTo>
                    <a:pt x="75890" y="43276"/>
                    <a:pt x="65855" y="33868"/>
                    <a:pt x="54566" y="33868"/>
                  </a:cubicBezTo>
                  <a:lnTo>
                    <a:pt x="54566" y="33868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60" name="Forma Livre: Forma 159">
              <a:extLst>
                <a:ext uri="{FF2B5EF4-FFF2-40B4-BE49-F238E27FC236}">
                  <a16:creationId xmlns:a16="http://schemas.microsoft.com/office/drawing/2014/main" id="{494F9049-3DC4-44CD-A499-EAE5DFF7B06B}"/>
                </a:ext>
              </a:extLst>
            </p:cNvPr>
            <p:cNvSpPr/>
            <p:nvPr/>
          </p:nvSpPr>
          <p:spPr>
            <a:xfrm>
              <a:off x="6531488" y="2890388"/>
              <a:ext cx="139863" cy="33868"/>
            </a:xfrm>
            <a:custGeom>
              <a:avLst/>
              <a:gdLst>
                <a:gd name="connsiteX0" fmla="*/ 122930 w 139863"/>
                <a:gd name="connsiteY0" fmla="*/ 33868 h 33868"/>
                <a:gd name="connsiteX1" fmla="*/ 16934 w 139863"/>
                <a:gd name="connsiteY1" fmla="*/ 33868 h 33868"/>
                <a:gd name="connsiteX2" fmla="*/ 0 w 139863"/>
                <a:gd name="connsiteY2" fmla="*/ 16934 h 33868"/>
                <a:gd name="connsiteX3" fmla="*/ 16934 w 139863"/>
                <a:gd name="connsiteY3" fmla="*/ 0 h 33868"/>
                <a:gd name="connsiteX4" fmla="*/ 122930 w 139863"/>
                <a:gd name="connsiteY4" fmla="*/ 0 h 33868"/>
                <a:gd name="connsiteX5" fmla="*/ 139864 w 139863"/>
                <a:gd name="connsiteY5" fmla="*/ 16934 h 33868"/>
                <a:gd name="connsiteX6" fmla="*/ 122930 w 139863"/>
                <a:gd name="connsiteY6" fmla="*/ 33868 h 33868"/>
                <a:gd name="connsiteX7" fmla="*/ 122930 w 139863"/>
                <a:gd name="connsiteY7" fmla="*/ 33868 h 33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9863" h="33868">
                  <a:moveTo>
                    <a:pt x="122930" y="33868"/>
                  </a:moveTo>
                  <a:lnTo>
                    <a:pt x="16934" y="33868"/>
                  </a:lnTo>
                  <a:cubicBezTo>
                    <a:pt x="7526" y="33868"/>
                    <a:pt x="0" y="26342"/>
                    <a:pt x="0" y="16934"/>
                  </a:cubicBezTo>
                  <a:cubicBezTo>
                    <a:pt x="0" y="7526"/>
                    <a:pt x="7526" y="0"/>
                    <a:pt x="16934" y="0"/>
                  </a:cubicBezTo>
                  <a:lnTo>
                    <a:pt x="122930" y="0"/>
                  </a:lnTo>
                  <a:cubicBezTo>
                    <a:pt x="132337" y="0"/>
                    <a:pt x="139864" y="7526"/>
                    <a:pt x="139864" y="16934"/>
                  </a:cubicBezTo>
                  <a:cubicBezTo>
                    <a:pt x="139236" y="26342"/>
                    <a:pt x="132337" y="33868"/>
                    <a:pt x="122930" y="33868"/>
                  </a:cubicBezTo>
                  <a:lnTo>
                    <a:pt x="122930" y="33868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61" name="Forma Livre: Forma 160">
              <a:extLst>
                <a:ext uri="{FF2B5EF4-FFF2-40B4-BE49-F238E27FC236}">
                  <a16:creationId xmlns:a16="http://schemas.microsoft.com/office/drawing/2014/main" id="{49ABCA77-1FED-46F1-80CE-8F44E12FCF10}"/>
                </a:ext>
              </a:extLst>
            </p:cNvPr>
            <p:cNvSpPr/>
            <p:nvPr/>
          </p:nvSpPr>
          <p:spPr>
            <a:xfrm>
              <a:off x="6395996" y="2625695"/>
              <a:ext cx="143331" cy="259675"/>
            </a:xfrm>
            <a:custGeom>
              <a:avLst/>
              <a:gdLst>
                <a:gd name="connsiteX0" fmla="*/ 115422 w 143331"/>
                <a:gd name="connsiteY0" fmla="*/ 259676 h 259675"/>
                <a:gd name="connsiteX1" fmla="*/ 110404 w 143331"/>
                <a:gd name="connsiteY1" fmla="*/ 259048 h 259675"/>
                <a:gd name="connsiteX2" fmla="*/ 99115 w 143331"/>
                <a:gd name="connsiteY2" fmla="*/ 238351 h 259675"/>
                <a:gd name="connsiteX3" fmla="*/ 108523 w 143331"/>
                <a:gd name="connsiteY3" fmla="*/ 208246 h 259675"/>
                <a:gd name="connsiteX4" fmla="*/ 53957 w 143331"/>
                <a:gd name="connsiteY4" fmla="*/ 44549 h 259675"/>
                <a:gd name="connsiteX5" fmla="*/ 11935 w 143331"/>
                <a:gd name="connsiteY5" fmla="*/ 32633 h 259675"/>
                <a:gd name="connsiteX6" fmla="*/ 646 w 143331"/>
                <a:gd name="connsiteY6" fmla="*/ 11935 h 259675"/>
                <a:gd name="connsiteX7" fmla="*/ 21343 w 143331"/>
                <a:gd name="connsiteY7" fmla="*/ 646 h 259675"/>
                <a:gd name="connsiteX8" fmla="*/ 72146 w 143331"/>
                <a:gd name="connsiteY8" fmla="*/ 15071 h 259675"/>
                <a:gd name="connsiteX9" fmla="*/ 83435 w 143331"/>
                <a:gd name="connsiteY9" fmla="*/ 25733 h 259675"/>
                <a:gd name="connsiteX10" fmla="*/ 142391 w 143331"/>
                <a:gd name="connsiteY10" fmla="*/ 203229 h 259675"/>
                <a:gd name="connsiteX11" fmla="*/ 142391 w 143331"/>
                <a:gd name="connsiteY11" fmla="*/ 213264 h 259675"/>
                <a:gd name="connsiteX12" fmla="*/ 131729 w 143331"/>
                <a:gd name="connsiteY12" fmla="*/ 248386 h 259675"/>
                <a:gd name="connsiteX13" fmla="*/ 115422 w 143331"/>
                <a:gd name="connsiteY13" fmla="*/ 259676 h 259675"/>
                <a:gd name="connsiteX14" fmla="*/ 115422 w 143331"/>
                <a:gd name="connsiteY14" fmla="*/ 259676 h 259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43331" h="259675">
                  <a:moveTo>
                    <a:pt x="115422" y="259676"/>
                  </a:moveTo>
                  <a:cubicBezTo>
                    <a:pt x="113540" y="259676"/>
                    <a:pt x="112286" y="259676"/>
                    <a:pt x="110404" y="259048"/>
                  </a:cubicBezTo>
                  <a:cubicBezTo>
                    <a:pt x="101624" y="256540"/>
                    <a:pt x="96606" y="247132"/>
                    <a:pt x="99115" y="238351"/>
                  </a:cubicBezTo>
                  <a:lnTo>
                    <a:pt x="108523" y="208246"/>
                  </a:lnTo>
                  <a:lnTo>
                    <a:pt x="53957" y="44549"/>
                  </a:lnTo>
                  <a:lnTo>
                    <a:pt x="11935" y="32633"/>
                  </a:lnTo>
                  <a:cubicBezTo>
                    <a:pt x="3155" y="30124"/>
                    <a:pt x="-1863" y="20716"/>
                    <a:pt x="646" y="11935"/>
                  </a:cubicBezTo>
                  <a:cubicBezTo>
                    <a:pt x="3155" y="3155"/>
                    <a:pt x="12562" y="-1863"/>
                    <a:pt x="21343" y="646"/>
                  </a:cubicBezTo>
                  <a:lnTo>
                    <a:pt x="72146" y="15071"/>
                  </a:lnTo>
                  <a:cubicBezTo>
                    <a:pt x="77163" y="16326"/>
                    <a:pt x="81553" y="20716"/>
                    <a:pt x="83435" y="25733"/>
                  </a:cubicBezTo>
                  <a:lnTo>
                    <a:pt x="142391" y="203229"/>
                  </a:lnTo>
                  <a:cubicBezTo>
                    <a:pt x="143646" y="206364"/>
                    <a:pt x="143646" y="210128"/>
                    <a:pt x="142391" y="213264"/>
                  </a:cubicBezTo>
                  <a:lnTo>
                    <a:pt x="131729" y="248386"/>
                  </a:lnTo>
                  <a:cubicBezTo>
                    <a:pt x="128593" y="255285"/>
                    <a:pt x="122321" y="259676"/>
                    <a:pt x="115422" y="259676"/>
                  </a:cubicBezTo>
                  <a:lnTo>
                    <a:pt x="115422" y="259676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62" name="Forma Livre: Forma 161">
              <a:extLst>
                <a:ext uri="{FF2B5EF4-FFF2-40B4-BE49-F238E27FC236}">
                  <a16:creationId xmlns:a16="http://schemas.microsoft.com/office/drawing/2014/main" id="{2BB1645A-1802-4B6C-8A63-7F96A3E9A288}"/>
                </a:ext>
              </a:extLst>
            </p:cNvPr>
            <p:cNvSpPr/>
            <p:nvPr/>
          </p:nvSpPr>
          <p:spPr>
            <a:xfrm>
              <a:off x="6464749" y="2685297"/>
              <a:ext cx="332297" cy="164951"/>
            </a:xfrm>
            <a:custGeom>
              <a:avLst/>
              <a:gdLst>
                <a:gd name="connsiteX0" fmla="*/ 269322 w 332297"/>
                <a:gd name="connsiteY0" fmla="*/ 164951 h 164951"/>
                <a:gd name="connsiteX1" fmla="*/ 57331 w 332297"/>
                <a:gd name="connsiteY1" fmla="*/ 164951 h 164951"/>
                <a:gd name="connsiteX2" fmla="*/ 41651 w 332297"/>
                <a:gd name="connsiteY2" fmla="*/ 153035 h 164951"/>
                <a:gd name="connsiteX3" fmla="*/ 884 w 332297"/>
                <a:gd name="connsiteY3" fmla="*/ 21952 h 164951"/>
                <a:gd name="connsiteX4" fmla="*/ 3393 w 332297"/>
                <a:gd name="connsiteY4" fmla="*/ 6899 h 164951"/>
                <a:gd name="connsiteX5" fmla="*/ 16564 w 332297"/>
                <a:gd name="connsiteY5" fmla="*/ 0 h 164951"/>
                <a:gd name="connsiteX6" fmla="*/ 315734 w 332297"/>
                <a:gd name="connsiteY6" fmla="*/ 0 h 164951"/>
                <a:gd name="connsiteX7" fmla="*/ 328905 w 332297"/>
                <a:gd name="connsiteY7" fmla="*/ 6899 h 164951"/>
                <a:gd name="connsiteX8" fmla="*/ 331414 w 332297"/>
                <a:gd name="connsiteY8" fmla="*/ 21324 h 164951"/>
                <a:gd name="connsiteX9" fmla="*/ 297546 w 332297"/>
                <a:gd name="connsiteY9" fmla="*/ 139236 h 164951"/>
                <a:gd name="connsiteX10" fmla="*/ 269322 w 332297"/>
                <a:gd name="connsiteY10" fmla="*/ 164951 h 164951"/>
                <a:gd name="connsiteX11" fmla="*/ 269322 w 332297"/>
                <a:gd name="connsiteY11" fmla="*/ 164951 h 164951"/>
                <a:gd name="connsiteX12" fmla="*/ 69248 w 332297"/>
                <a:gd name="connsiteY12" fmla="*/ 131710 h 164951"/>
                <a:gd name="connsiteX13" fmla="*/ 265559 w 332297"/>
                <a:gd name="connsiteY13" fmla="*/ 131710 h 164951"/>
                <a:gd name="connsiteX14" fmla="*/ 293782 w 332297"/>
                <a:gd name="connsiteY14" fmla="*/ 33868 h 164951"/>
                <a:gd name="connsiteX15" fmla="*/ 39143 w 332297"/>
                <a:gd name="connsiteY15" fmla="*/ 33868 h 164951"/>
                <a:gd name="connsiteX16" fmla="*/ 69248 w 332297"/>
                <a:gd name="connsiteY16" fmla="*/ 131710 h 164951"/>
                <a:gd name="connsiteX17" fmla="*/ 69248 w 332297"/>
                <a:gd name="connsiteY17" fmla="*/ 131710 h 164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32297" h="164951">
                  <a:moveTo>
                    <a:pt x="269322" y="164951"/>
                  </a:moveTo>
                  <a:lnTo>
                    <a:pt x="57331" y="164951"/>
                  </a:lnTo>
                  <a:cubicBezTo>
                    <a:pt x="49805" y="164951"/>
                    <a:pt x="43533" y="159934"/>
                    <a:pt x="41651" y="153035"/>
                  </a:cubicBezTo>
                  <a:lnTo>
                    <a:pt x="884" y="21952"/>
                  </a:lnTo>
                  <a:cubicBezTo>
                    <a:pt x="-998" y="16934"/>
                    <a:pt x="257" y="11289"/>
                    <a:pt x="3393" y="6899"/>
                  </a:cubicBezTo>
                  <a:cubicBezTo>
                    <a:pt x="6529" y="2509"/>
                    <a:pt x="11546" y="0"/>
                    <a:pt x="16564" y="0"/>
                  </a:cubicBezTo>
                  <a:lnTo>
                    <a:pt x="315734" y="0"/>
                  </a:lnTo>
                  <a:cubicBezTo>
                    <a:pt x="320751" y="0"/>
                    <a:pt x="325769" y="2509"/>
                    <a:pt x="328905" y="6899"/>
                  </a:cubicBezTo>
                  <a:cubicBezTo>
                    <a:pt x="332041" y="11289"/>
                    <a:pt x="333295" y="16307"/>
                    <a:pt x="331414" y="21324"/>
                  </a:cubicBezTo>
                  <a:lnTo>
                    <a:pt x="297546" y="139236"/>
                  </a:lnTo>
                  <a:cubicBezTo>
                    <a:pt x="296918" y="154289"/>
                    <a:pt x="284374" y="164951"/>
                    <a:pt x="269322" y="164951"/>
                  </a:cubicBezTo>
                  <a:lnTo>
                    <a:pt x="269322" y="164951"/>
                  </a:lnTo>
                  <a:close/>
                  <a:moveTo>
                    <a:pt x="69248" y="131710"/>
                  </a:moveTo>
                  <a:lnTo>
                    <a:pt x="265559" y="131710"/>
                  </a:lnTo>
                  <a:lnTo>
                    <a:pt x="293782" y="33868"/>
                  </a:lnTo>
                  <a:lnTo>
                    <a:pt x="39143" y="33868"/>
                  </a:lnTo>
                  <a:lnTo>
                    <a:pt x="69248" y="131710"/>
                  </a:lnTo>
                  <a:lnTo>
                    <a:pt x="69248" y="131710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63" name="Forma Livre: Forma 162">
              <a:extLst>
                <a:ext uri="{FF2B5EF4-FFF2-40B4-BE49-F238E27FC236}">
                  <a16:creationId xmlns:a16="http://schemas.microsoft.com/office/drawing/2014/main" id="{298B1C1A-84ED-48FE-AA04-D5E8C923B520}"/>
                </a:ext>
              </a:extLst>
            </p:cNvPr>
            <p:cNvSpPr/>
            <p:nvPr/>
          </p:nvSpPr>
          <p:spPr>
            <a:xfrm>
              <a:off x="6526470" y="2737981"/>
              <a:ext cx="210736" cy="16306"/>
            </a:xfrm>
            <a:custGeom>
              <a:avLst/>
              <a:gdLst>
                <a:gd name="connsiteX0" fmla="*/ 202583 w 210736"/>
                <a:gd name="connsiteY0" fmla="*/ 16307 h 16306"/>
                <a:gd name="connsiteX1" fmla="*/ 8153 w 210736"/>
                <a:gd name="connsiteY1" fmla="*/ 16307 h 16306"/>
                <a:gd name="connsiteX2" fmla="*/ 0 w 210736"/>
                <a:gd name="connsiteY2" fmla="*/ 8153 h 16306"/>
                <a:gd name="connsiteX3" fmla="*/ 8153 w 210736"/>
                <a:gd name="connsiteY3" fmla="*/ 0 h 16306"/>
                <a:gd name="connsiteX4" fmla="*/ 202583 w 210736"/>
                <a:gd name="connsiteY4" fmla="*/ 0 h 16306"/>
                <a:gd name="connsiteX5" fmla="*/ 210736 w 210736"/>
                <a:gd name="connsiteY5" fmla="*/ 8153 h 16306"/>
                <a:gd name="connsiteX6" fmla="*/ 202583 w 210736"/>
                <a:gd name="connsiteY6" fmla="*/ 16307 h 16306"/>
                <a:gd name="connsiteX7" fmla="*/ 202583 w 210736"/>
                <a:gd name="connsiteY7" fmla="*/ 16307 h 1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0736" h="16306">
                  <a:moveTo>
                    <a:pt x="202583" y="16307"/>
                  </a:moveTo>
                  <a:lnTo>
                    <a:pt x="8153" y="16307"/>
                  </a:lnTo>
                  <a:cubicBezTo>
                    <a:pt x="3763" y="16307"/>
                    <a:pt x="0" y="12544"/>
                    <a:pt x="0" y="8153"/>
                  </a:cubicBezTo>
                  <a:cubicBezTo>
                    <a:pt x="0" y="3763"/>
                    <a:pt x="3763" y="0"/>
                    <a:pt x="8153" y="0"/>
                  </a:cubicBezTo>
                  <a:lnTo>
                    <a:pt x="202583" y="0"/>
                  </a:lnTo>
                  <a:cubicBezTo>
                    <a:pt x="206973" y="0"/>
                    <a:pt x="210736" y="3763"/>
                    <a:pt x="210736" y="8153"/>
                  </a:cubicBezTo>
                  <a:cubicBezTo>
                    <a:pt x="210736" y="12544"/>
                    <a:pt x="206973" y="16307"/>
                    <a:pt x="202583" y="16307"/>
                  </a:cubicBezTo>
                  <a:lnTo>
                    <a:pt x="202583" y="16307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64" name="Forma Livre: Forma 163">
              <a:extLst>
                <a:ext uri="{FF2B5EF4-FFF2-40B4-BE49-F238E27FC236}">
                  <a16:creationId xmlns:a16="http://schemas.microsoft.com/office/drawing/2014/main" id="{CCB5B353-013D-45B9-8953-493E33D3C5B5}"/>
                </a:ext>
              </a:extLst>
            </p:cNvPr>
            <p:cNvSpPr/>
            <p:nvPr/>
          </p:nvSpPr>
          <p:spPr>
            <a:xfrm>
              <a:off x="6539641" y="2780003"/>
              <a:ext cx="184462" cy="16306"/>
            </a:xfrm>
            <a:custGeom>
              <a:avLst/>
              <a:gdLst>
                <a:gd name="connsiteX0" fmla="*/ 176240 w 184462"/>
                <a:gd name="connsiteY0" fmla="*/ 16307 h 16306"/>
                <a:gd name="connsiteX1" fmla="*/ 8153 w 184462"/>
                <a:gd name="connsiteY1" fmla="*/ 16307 h 16306"/>
                <a:gd name="connsiteX2" fmla="*/ 0 w 184462"/>
                <a:gd name="connsiteY2" fmla="*/ 8154 h 16306"/>
                <a:gd name="connsiteX3" fmla="*/ 8153 w 184462"/>
                <a:gd name="connsiteY3" fmla="*/ 0 h 16306"/>
                <a:gd name="connsiteX4" fmla="*/ 176240 w 184462"/>
                <a:gd name="connsiteY4" fmla="*/ 0 h 16306"/>
                <a:gd name="connsiteX5" fmla="*/ 184394 w 184462"/>
                <a:gd name="connsiteY5" fmla="*/ 8154 h 16306"/>
                <a:gd name="connsiteX6" fmla="*/ 176240 w 184462"/>
                <a:gd name="connsiteY6" fmla="*/ 16307 h 16306"/>
                <a:gd name="connsiteX7" fmla="*/ 176240 w 184462"/>
                <a:gd name="connsiteY7" fmla="*/ 16307 h 1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4462" h="16306">
                  <a:moveTo>
                    <a:pt x="176240" y="16307"/>
                  </a:moveTo>
                  <a:lnTo>
                    <a:pt x="8153" y="16307"/>
                  </a:lnTo>
                  <a:cubicBezTo>
                    <a:pt x="3763" y="16307"/>
                    <a:pt x="0" y="12544"/>
                    <a:pt x="0" y="8154"/>
                  </a:cubicBezTo>
                  <a:cubicBezTo>
                    <a:pt x="0" y="3763"/>
                    <a:pt x="3763" y="0"/>
                    <a:pt x="8153" y="0"/>
                  </a:cubicBezTo>
                  <a:lnTo>
                    <a:pt x="176240" y="0"/>
                  </a:lnTo>
                  <a:cubicBezTo>
                    <a:pt x="180631" y="0"/>
                    <a:pt x="184394" y="3763"/>
                    <a:pt x="184394" y="8154"/>
                  </a:cubicBezTo>
                  <a:cubicBezTo>
                    <a:pt x="185021" y="12544"/>
                    <a:pt x="181258" y="16307"/>
                    <a:pt x="176240" y="16307"/>
                  </a:cubicBezTo>
                  <a:lnTo>
                    <a:pt x="176240" y="16307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65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5384356" y="569783"/>
            <a:ext cx="386993" cy="323003"/>
            <a:chOff x="5384356" y="569783"/>
            <a:chExt cx="386993" cy="323003"/>
          </a:xfrm>
          <a:solidFill>
            <a:srgbClr val="B1B1A1"/>
          </a:solidFill>
        </p:grpSpPr>
        <p:sp>
          <p:nvSpPr>
            <p:cNvPr id="166" name="Forma Livre: Forma 165">
              <a:extLst>
                <a:ext uri="{FF2B5EF4-FFF2-40B4-BE49-F238E27FC236}">
                  <a16:creationId xmlns:a16="http://schemas.microsoft.com/office/drawing/2014/main" id="{FC0B3C60-BFC6-4593-97FE-4F183C15D435}"/>
                </a:ext>
              </a:extLst>
            </p:cNvPr>
            <p:cNvSpPr/>
            <p:nvPr/>
          </p:nvSpPr>
          <p:spPr>
            <a:xfrm>
              <a:off x="5482825" y="621212"/>
              <a:ext cx="16306" cy="262792"/>
            </a:xfrm>
            <a:custGeom>
              <a:avLst/>
              <a:gdLst>
                <a:gd name="connsiteX0" fmla="*/ 8153 w 16306"/>
                <a:gd name="connsiteY0" fmla="*/ 262793 h 262792"/>
                <a:gd name="connsiteX1" fmla="*/ 0 w 16306"/>
                <a:gd name="connsiteY1" fmla="*/ 254639 h 262792"/>
                <a:gd name="connsiteX2" fmla="*/ 0 w 16306"/>
                <a:gd name="connsiteY2" fmla="*/ 8153 h 262792"/>
                <a:gd name="connsiteX3" fmla="*/ 8153 w 16306"/>
                <a:gd name="connsiteY3" fmla="*/ 0 h 262792"/>
                <a:gd name="connsiteX4" fmla="*/ 16307 w 16306"/>
                <a:gd name="connsiteY4" fmla="*/ 8153 h 262792"/>
                <a:gd name="connsiteX5" fmla="*/ 16307 w 16306"/>
                <a:gd name="connsiteY5" fmla="*/ 254012 h 262792"/>
                <a:gd name="connsiteX6" fmla="*/ 8153 w 16306"/>
                <a:gd name="connsiteY6" fmla="*/ 262793 h 262792"/>
                <a:gd name="connsiteX7" fmla="*/ 8153 w 16306"/>
                <a:gd name="connsiteY7" fmla="*/ 262793 h 26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306" h="262792">
                  <a:moveTo>
                    <a:pt x="8153" y="262793"/>
                  </a:moveTo>
                  <a:cubicBezTo>
                    <a:pt x="3763" y="262793"/>
                    <a:pt x="0" y="259030"/>
                    <a:pt x="0" y="254639"/>
                  </a:cubicBezTo>
                  <a:lnTo>
                    <a:pt x="0" y="8153"/>
                  </a:lnTo>
                  <a:cubicBezTo>
                    <a:pt x="0" y="3763"/>
                    <a:pt x="3763" y="0"/>
                    <a:pt x="8153" y="0"/>
                  </a:cubicBezTo>
                  <a:cubicBezTo>
                    <a:pt x="12544" y="0"/>
                    <a:pt x="16307" y="3763"/>
                    <a:pt x="16307" y="8153"/>
                  </a:cubicBezTo>
                  <a:lnTo>
                    <a:pt x="16307" y="254012"/>
                  </a:lnTo>
                  <a:cubicBezTo>
                    <a:pt x="16307" y="259030"/>
                    <a:pt x="12544" y="262793"/>
                    <a:pt x="8153" y="262793"/>
                  </a:cubicBezTo>
                  <a:lnTo>
                    <a:pt x="8153" y="262793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67" name="Forma Livre: Forma 166">
              <a:extLst>
                <a:ext uri="{FF2B5EF4-FFF2-40B4-BE49-F238E27FC236}">
                  <a16:creationId xmlns:a16="http://schemas.microsoft.com/office/drawing/2014/main" id="{723E9526-51B7-451D-9D41-7EF7F3726105}"/>
                </a:ext>
              </a:extLst>
            </p:cNvPr>
            <p:cNvSpPr/>
            <p:nvPr/>
          </p:nvSpPr>
          <p:spPr>
            <a:xfrm>
              <a:off x="5526728" y="661352"/>
              <a:ext cx="181885" cy="181885"/>
            </a:xfrm>
            <a:custGeom>
              <a:avLst/>
              <a:gdLst>
                <a:gd name="connsiteX0" fmla="*/ 90943 w 181885"/>
                <a:gd name="connsiteY0" fmla="*/ 181885 h 181885"/>
                <a:gd name="connsiteX1" fmla="*/ 0 w 181885"/>
                <a:gd name="connsiteY1" fmla="*/ 90943 h 181885"/>
                <a:gd name="connsiteX2" fmla="*/ 90943 w 181885"/>
                <a:gd name="connsiteY2" fmla="*/ 0 h 181885"/>
                <a:gd name="connsiteX3" fmla="*/ 181885 w 181885"/>
                <a:gd name="connsiteY3" fmla="*/ 90943 h 181885"/>
                <a:gd name="connsiteX4" fmla="*/ 90943 w 181885"/>
                <a:gd name="connsiteY4" fmla="*/ 181885 h 181885"/>
                <a:gd name="connsiteX5" fmla="*/ 90943 w 181885"/>
                <a:gd name="connsiteY5" fmla="*/ 181885 h 181885"/>
                <a:gd name="connsiteX6" fmla="*/ 90943 w 181885"/>
                <a:gd name="connsiteY6" fmla="*/ 16934 h 181885"/>
                <a:gd name="connsiteX7" fmla="*/ 16934 w 181885"/>
                <a:gd name="connsiteY7" fmla="*/ 90943 h 181885"/>
                <a:gd name="connsiteX8" fmla="*/ 90943 w 181885"/>
                <a:gd name="connsiteY8" fmla="*/ 164951 h 181885"/>
                <a:gd name="connsiteX9" fmla="*/ 164951 w 181885"/>
                <a:gd name="connsiteY9" fmla="*/ 90943 h 181885"/>
                <a:gd name="connsiteX10" fmla="*/ 90943 w 181885"/>
                <a:gd name="connsiteY10" fmla="*/ 16934 h 181885"/>
                <a:gd name="connsiteX11" fmla="*/ 90943 w 181885"/>
                <a:gd name="connsiteY11" fmla="*/ 16934 h 181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1885" h="181885">
                  <a:moveTo>
                    <a:pt x="90943" y="181885"/>
                  </a:moveTo>
                  <a:cubicBezTo>
                    <a:pt x="40767" y="181885"/>
                    <a:pt x="0" y="141118"/>
                    <a:pt x="0" y="90943"/>
                  </a:cubicBezTo>
                  <a:cubicBezTo>
                    <a:pt x="0" y="40767"/>
                    <a:pt x="40767" y="0"/>
                    <a:pt x="90943" y="0"/>
                  </a:cubicBezTo>
                  <a:cubicBezTo>
                    <a:pt x="141118" y="0"/>
                    <a:pt x="181885" y="40767"/>
                    <a:pt x="181885" y="90943"/>
                  </a:cubicBezTo>
                  <a:cubicBezTo>
                    <a:pt x="181885" y="141118"/>
                    <a:pt x="141118" y="181885"/>
                    <a:pt x="90943" y="181885"/>
                  </a:cubicBezTo>
                  <a:lnTo>
                    <a:pt x="90943" y="181885"/>
                  </a:lnTo>
                  <a:close/>
                  <a:moveTo>
                    <a:pt x="90943" y="16934"/>
                  </a:moveTo>
                  <a:cubicBezTo>
                    <a:pt x="50175" y="16934"/>
                    <a:pt x="16934" y="50175"/>
                    <a:pt x="16934" y="90943"/>
                  </a:cubicBezTo>
                  <a:cubicBezTo>
                    <a:pt x="16934" y="131710"/>
                    <a:pt x="50175" y="164951"/>
                    <a:pt x="90943" y="164951"/>
                  </a:cubicBezTo>
                  <a:cubicBezTo>
                    <a:pt x="131710" y="164951"/>
                    <a:pt x="164951" y="131710"/>
                    <a:pt x="164951" y="90943"/>
                  </a:cubicBezTo>
                  <a:cubicBezTo>
                    <a:pt x="164951" y="50175"/>
                    <a:pt x="131710" y="16934"/>
                    <a:pt x="90943" y="16934"/>
                  </a:cubicBezTo>
                  <a:lnTo>
                    <a:pt x="90943" y="16934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68" name="Forma Livre: Forma 167">
              <a:extLst>
                <a:ext uri="{FF2B5EF4-FFF2-40B4-BE49-F238E27FC236}">
                  <a16:creationId xmlns:a16="http://schemas.microsoft.com/office/drawing/2014/main" id="{8A0EE069-A7A9-4151-ACC2-47843B94984B}"/>
                </a:ext>
              </a:extLst>
            </p:cNvPr>
            <p:cNvSpPr/>
            <p:nvPr/>
          </p:nvSpPr>
          <p:spPr>
            <a:xfrm>
              <a:off x="5384356" y="569783"/>
              <a:ext cx="386993" cy="323003"/>
            </a:xfrm>
            <a:custGeom>
              <a:avLst/>
              <a:gdLst>
                <a:gd name="connsiteX0" fmla="*/ 348091 w 386993"/>
                <a:gd name="connsiteY0" fmla="*/ 323003 h 323003"/>
                <a:gd name="connsiteX1" fmla="*/ 39513 w 386993"/>
                <a:gd name="connsiteY1" fmla="*/ 323003 h 323003"/>
                <a:gd name="connsiteX2" fmla="*/ 0 w 386993"/>
                <a:gd name="connsiteY2" fmla="*/ 283490 h 323003"/>
                <a:gd name="connsiteX3" fmla="*/ 0 w 386993"/>
                <a:gd name="connsiteY3" fmla="*/ 81535 h 323003"/>
                <a:gd name="connsiteX4" fmla="*/ 39513 w 386993"/>
                <a:gd name="connsiteY4" fmla="*/ 42022 h 323003"/>
                <a:gd name="connsiteX5" fmla="*/ 139863 w 386993"/>
                <a:gd name="connsiteY5" fmla="*/ 42022 h 323003"/>
                <a:gd name="connsiteX6" fmla="*/ 167460 w 386993"/>
                <a:gd name="connsiteY6" fmla="*/ 6272 h 323003"/>
                <a:gd name="connsiteX7" fmla="*/ 180631 w 386993"/>
                <a:gd name="connsiteY7" fmla="*/ 0 h 323003"/>
                <a:gd name="connsiteX8" fmla="*/ 284744 w 386993"/>
                <a:gd name="connsiteY8" fmla="*/ 0 h 323003"/>
                <a:gd name="connsiteX9" fmla="*/ 297916 w 386993"/>
                <a:gd name="connsiteY9" fmla="*/ 6272 h 323003"/>
                <a:gd name="connsiteX10" fmla="*/ 325512 w 386993"/>
                <a:gd name="connsiteY10" fmla="*/ 42022 h 323003"/>
                <a:gd name="connsiteX11" fmla="*/ 347463 w 386993"/>
                <a:gd name="connsiteY11" fmla="*/ 42022 h 323003"/>
                <a:gd name="connsiteX12" fmla="*/ 386977 w 386993"/>
                <a:gd name="connsiteY12" fmla="*/ 81535 h 323003"/>
                <a:gd name="connsiteX13" fmla="*/ 386977 w 386993"/>
                <a:gd name="connsiteY13" fmla="*/ 283490 h 323003"/>
                <a:gd name="connsiteX14" fmla="*/ 348091 w 386993"/>
                <a:gd name="connsiteY14" fmla="*/ 323003 h 323003"/>
                <a:gd name="connsiteX15" fmla="*/ 348091 w 386993"/>
                <a:gd name="connsiteY15" fmla="*/ 323003 h 323003"/>
                <a:gd name="connsiteX16" fmla="*/ 39513 w 386993"/>
                <a:gd name="connsiteY16" fmla="*/ 75263 h 323003"/>
                <a:gd name="connsiteX17" fmla="*/ 33241 w 386993"/>
                <a:gd name="connsiteY17" fmla="*/ 81535 h 323003"/>
                <a:gd name="connsiteX18" fmla="*/ 33241 w 386993"/>
                <a:gd name="connsiteY18" fmla="*/ 283490 h 323003"/>
                <a:gd name="connsiteX19" fmla="*/ 39513 w 386993"/>
                <a:gd name="connsiteY19" fmla="*/ 289762 h 323003"/>
                <a:gd name="connsiteX20" fmla="*/ 348091 w 386993"/>
                <a:gd name="connsiteY20" fmla="*/ 289762 h 323003"/>
                <a:gd name="connsiteX21" fmla="*/ 354363 w 386993"/>
                <a:gd name="connsiteY21" fmla="*/ 283490 h 323003"/>
                <a:gd name="connsiteX22" fmla="*/ 354363 w 386993"/>
                <a:gd name="connsiteY22" fmla="*/ 81535 h 323003"/>
                <a:gd name="connsiteX23" fmla="*/ 348091 w 386993"/>
                <a:gd name="connsiteY23" fmla="*/ 75263 h 323003"/>
                <a:gd name="connsiteX24" fmla="*/ 317986 w 386993"/>
                <a:gd name="connsiteY24" fmla="*/ 75263 h 323003"/>
                <a:gd name="connsiteX25" fmla="*/ 304815 w 386993"/>
                <a:gd name="connsiteY25" fmla="*/ 68991 h 323003"/>
                <a:gd name="connsiteX26" fmla="*/ 277218 w 386993"/>
                <a:gd name="connsiteY26" fmla="*/ 33241 h 323003"/>
                <a:gd name="connsiteX27" fmla="*/ 189412 w 386993"/>
                <a:gd name="connsiteY27" fmla="*/ 33241 h 323003"/>
                <a:gd name="connsiteX28" fmla="*/ 161815 w 386993"/>
                <a:gd name="connsiteY28" fmla="*/ 68991 h 323003"/>
                <a:gd name="connsiteX29" fmla="*/ 148644 w 386993"/>
                <a:gd name="connsiteY29" fmla="*/ 75263 h 323003"/>
                <a:gd name="connsiteX30" fmla="*/ 39513 w 386993"/>
                <a:gd name="connsiteY30" fmla="*/ 75263 h 323003"/>
                <a:gd name="connsiteX31" fmla="*/ 39513 w 386993"/>
                <a:gd name="connsiteY31" fmla="*/ 75263 h 323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86993" h="323003">
                  <a:moveTo>
                    <a:pt x="348091" y="323003"/>
                  </a:moveTo>
                  <a:lnTo>
                    <a:pt x="39513" y="323003"/>
                  </a:lnTo>
                  <a:cubicBezTo>
                    <a:pt x="17561" y="323003"/>
                    <a:pt x="0" y="305442"/>
                    <a:pt x="0" y="283490"/>
                  </a:cubicBezTo>
                  <a:lnTo>
                    <a:pt x="0" y="81535"/>
                  </a:lnTo>
                  <a:cubicBezTo>
                    <a:pt x="0" y="59583"/>
                    <a:pt x="17561" y="42022"/>
                    <a:pt x="39513" y="42022"/>
                  </a:cubicBezTo>
                  <a:lnTo>
                    <a:pt x="139863" y="42022"/>
                  </a:lnTo>
                  <a:lnTo>
                    <a:pt x="167460" y="6272"/>
                  </a:lnTo>
                  <a:cubicBezTo>
                    <a:pt x="170596" y="2509"/>
                    <a:pt x="175613" y="0"/>
                    <a:pt x="180631" y="0"/>
                  </a:cubicBezTo>
                  <a:lnTo>
                    <a:pt x="284744" y="0"/>
                  </a:lnTo>
                  <a:cubicBezTo>
                    <a:pt x="289762" y="0"/>
                    <a:pt x="294780" y="2509"/>
                    <a:pt x="297916" y="6272"/>
                  </a:cubicBezTo>
                  <a:lnTo>
                    <a:pt x="325512" y="42022"/>
                  </a:lnTo>
                  <a:lnTo>
                    <a:pt x="347463" y="42022"/>
                  </a:lnTo>
                  <a:cubicBezTo>
                    <a:pt x="369415" y="42022"/>
                    <a:pt x="386977" y="59583"/>
                    <a:pt x="386977" y="81535"/>
                  </a:cubicBezTo>
                  <a:lnTo>
                    <a:pt x="386977" y="283490"/>
                  </a:lnTo>
                  <a:cubicBezTo>
                    <a:pt x="387604" y="305442"/>
                    <a:pt x="370043" y="323003"/>
                    <a:pt x="348091" y="323003"/>
                  </a:cubicBezTo>
                  <a:lnTo>
                    <a:pt x="348091" y="323003"/>
                  </a:lnTo>
                  <a:close/>
                  <a:moveTo>
                    <a:pt x="39513" y="75263"/>
                  </a:moveTo>
                  <a:cubicBezTo>
                    <a:pt x="35750" y="75263"/>
                    <a:pt x="33241" y="78399"/>
                    <a:pt x="33241" y="81535"/>
                  </a:cubicBezTo>
                  <a:lnTo>
                    <a:pt x="33241" y="283490"/>
                  </a:lnTo>
                  <a:cubicBezTo>
                    <a:pt x="33241" y="287253"/>
                    <a:pt x="36377" y="289762"/>
                    <a:pt x="39513" y="289762"/>
                  </a:cubicBezTo>
                  <a:lnTo>
                    <a:pt x="348091" y="289762"/>
                  </a:lnTo>
                  <a:cubicBezTo>
                    <a:pt x="351854" y="289762"/>
                    <a:pt x="354363" y="286626"/>
                    <a:pt x="354363" y="283490"/>
                  </a:cubicBezTo>
                  <a:lnTo>
                    <a:pt x="354363" y="81535"/>
                  </a:lnTo>
                  <a:cubicBezTo>
                    <a:pt x="354363" y="77772"/>
                    <a:pt x="351227" y="75263"/>
                    <a:pt x="348091" y="75263"/>
                  </a:cubicBezTo>
                  <a:lnTo>
                    <a:pt x="317986" y="75263"/>
                  </a:lnTo>
                  <a:cubicBezTo>
                    <a:pt x="312968" y="75263"/>
                    <a:pt x="307951" y="72754"/>
                    <a:pt x="304815" y="68991"/>
                  </a:cubicBezTo>
                  <a:lnTo>
                    <a:pt x="277218" y="33241"/>
                  </a:lnTo>
                  <a:lnTo>
                    <a:pt x="189412" y="33241"/>
                  </a:lnTo>
                  <a:lnTo>
                    <a:pt x="161815" y="68991"/>
                  </a:lnTo>
                  <a:cubicBezTo>
                    <a:pt x="158679" y="72754"/>
                    <a:pt x="153662" y="75263"/>
                    <a:pt x="148644" y="75263"/>
                  </a:cubicBezTo>
                  <a:lnTo>
                    <a:pt x="39513" y="75263"/>
                  </a:lnTo>
                  <a:lnTo>
                    <a:pt x="39513" y="75263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69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6399151" y="564138"/>
            <a:ext cx="394503" cy="334292"/>
            <a:chOff x="6399151" y="564138"/>
            <a:chExt cx="394503" cy="334292"/>
          </a:xfrm>
          <a:solidFill>
            <a:srgbClr val="B1B1A1"/>
          </a:solidFill>
        </p:grpSpPr>
        <p:sp>
          <p:nvSpPr>
            <p:cNvPr id="170" name="Forma Livre: Forma 169">
              <a:extLst>
                <a:ext uri="{FF2B5EF4-FFF2-40B4-BE49-F238E27FC236}">
                  <a16:creationId xmlns:a16="http://schemas.microsoft.com/office/drawing/2014/main" id="{27AF2A11-944F-4F29-9B8C-9A9833900AC4}"/>
                </a:ext>
              </a:extLst>
            </p:cNvPr>
            <p:cNvSpPr/>
            <p:nvPr/>
          </p:nvSpPr>
          <p:spPr>
            <a:xfrm>
              <a:off x="6399151" y="564138"/>
              <a:ext cx="394503" cy="334292"/>
            </a:xfrm>
            <a:custGeom>
              <a:avLst/>
              <a:gdLst>
                <a:gd name="connsiteX0" fmla="*/ 377569 w 394503"/>
                <a:gd name="connsiteY0" fmla="*/ 334293 h 334292"/>
                <a:gd name="connsiteX1" fmla="*/ 16934 w 394503"/>
                <a:gd name="connsiteY1" fmla="*/ 334293 h 334292"/>
                <a:gd name="connsiteX2" fmla="*/ 0 w 394503"/>
                <a:gd name="connsiteY2" fmla="*/ 317359 h 334292"/>
                <a:gd name="connsiteX3" fmla="*/ 0 w 394503"/>
                <a:gd name="connsiteY3" fmla="*/ 16934 h 334292"/>
                <a:gd name="connsiteX4" fmla="*/ 16934 w 394503"/>
                <a:gd name="connsiteY4" fmla="*/ 0 h 334292"/>
                <a:gd name="connsiteX5" fmla="*/ 377569 w 394503"/>
                <a:gd name="connsiteY5" fmla="*/ 0 h 334292"/>
                <a:gd name="connsiteX6" fmla="*/ 394503 w 394503"/>
                <a:gd name="connsiteY6" fmla="*/ 16934 h 334292"/>
                <a:gd name="connsiteX7" fmla="*/ 394503 w 394503"/>
                <a:gd name="connsiteY7" fmla="*/ 317359 h 334292"/>
                <a:gd name="connsiteX8" fmla="*/ 377569 w 394503"/>
                <a:gd name="connsiteY8" fmla="*/ 334293 h 334292"/>
                <a:gd name="connsiteX9" fmla="*/ 377569 w 394503"/>
                <a:gd name="connsiteY9" fmla="*/ 334293 h 334292"/>
                <a:gd name="connsiteX10" fmla="*/ 33241 w 394503"/>
                <a:gd name="connsiteY10" fmla="*/ 301052 h 334292"/>
                <a:gd name="connsiteX11" fmla="*/ 360635 w 394503"/>
                <a:gd name="connsiteY11" fmla="*/ 301052 h 334292"/>
                <a:gd name="connsiteX12" fmla="*/ 360635 w 394503"/>
                <a:gd name="connsiteY12" fmla="*/ 33868 h 334292"/>
                <a:gd name="connsiteX13" fmla="*/ 33241 w 394503"/>
                <a:gd name="connsiteY13" fmla="*/ 33868 h 334292"/>
                <a:gd name="connsiteX14" fmla="*/ 33241 w 394503"/>
                <a:gd name="connsiteY14" fmla="*/ 301052 h 334292"/>
                <a:gd name="connsiteX15" fmla="*/ 33241 w 394503"/>
                <a:gd name="connsiteY15" fmla="*/ 301052 h 334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94503" h="334292">
                  <a:moveTo>
                    <a:pt x="377569" y="334293"/>
                  </a:moveTo>
                  <a:lnTo>
                    <a:pt x="16934" y="334293"/>
                  </a:lnTo>
                  <a:cubicBezTo>
                    <a:pt x="7526" y="334293"/>
                    <a:pt x="0" y="326766"/>
                    <a:pt x="0" y="317359"/>
                  </a:cubicBezTo>
                  <a:lnTo>
                    <a:pt x="0" y="16934"/>
                  </a:lnTo>
                  <a:cubicBezTo>
                    <a:pt x="0" y="7526"/>
                    <a:pt x="7526" y="0"/>
                    <a:pt x="16934" y="0"/>
                  </a:cubicBezTo>
                  <a:lnTo>
                    <a:pt x="377569" y="0"/>
                  </a:lnTo>
                  <a:cubicBezTo>
                    <a:pt x="386977" y="0"/>
                    <a:pt x="394503" y="7526"/>
                    <a:pt x="394503" y="16934"/>
                  </a:cubicBezTo>
                  <a:lnTo>
                    <a:pt x="394503" y="317359"/>
                  </a:lnTo>
                  <a:cubicBezTo>
                    <a:pt x="394503" y="326766"/>
                    <a:pt x="386977" y="334293"/>
                    <a:pt x="377569" y="334293"/>
                  </a:cubicBezTo>
                  <a:lnTo>
                    <a:pt x="377569" y="334293"/>
                  </a:lnTo>
                  <a:close/>
                  <a:moveTo>
                    <a:pt x="33241" y="301052"/>
                  </a:moveTo>
                  <a:lnTo>
                    <a:pt x="360635" y="301052"/>
                  </a:lnTo>
                  <a:lnTo>
                    <a:pt x="360635" y="33868"/>
                  </a:lnTo>
                  <a:lnTo>
                    <a:pt x="33241" y="33868"/>
                  </a:lnTo>
                  <a:lnTo>
                    <a:pt x="33241" y="301052"/>
                  </a:lnTo>
                  <a:lnTo>
                    <a:pt x="33241" y="301052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71" name="Forma Livre: Forma 170">
              <a:extLst>
                <a:ext uri="{FF2B5EF4-FFF2-40B4-BE49-F238E27FC236}">
                  <a16:creationId xmlns:a16="http://schemas.microsoft.com/office/drawing/2014/main" id="{4A530CBA-0C42-4201-9EC7-EDD47C226E00}"/>
                </a:ext>
              </a:extLst>
            </p:cNvPr>
            <p:cNvSpPr/>
            <p:nvPr/>
          </p:nvSpPr>
          <p:spPr>
            <a:xfrm>
              <a:off x="6399540" y="670760"/>
              <a:ext cx="382871" cy="167459"/>
            </a:xfrm>
            <a:custGeom>
              <a:avLst/>
              <a:gdLst>
                <a:gd name="connsiteX0" fmla="*/ 366517 w 382871"/>
                <a:gd name="connsiteY0" fmla="*/ 167460 h 167459"/>
                <a:gd name="connsiteX1" fmla="*/ 355855 w 382871"/>
                <a:gd name="connsiteY1" fmla="*/ 163697 h 167459"/>
                <a:gd name="connsiteX2" fmla="*/ 288746 w 382871"/>
                <a:gd name="connsiteY2" fmla="*/ 106622 h 167459"/>
                <a:gd name="connsiteX3" fmla="*/ 205329 w 382871"/>
                <a:gd name="connsiteY3" fmla="*/ 161815 h 167459"/>
                <a:gd name="connsiteX4" fmla="*/ 99961 w 382871"/>
                <a:gd name="connsiteY4" fmla="*/ 48294 h 167459"/>
                <a:gd name="connsiteX5" fmla="*/ 29089 w 382871"/>
                <a:gd name="connsiteY5" fmla="*/ 121675 h 167459"/>
                <a:gd name="connsiteX6" fmla="*/ 5256 w 382871"/>
                <a:gd name="connsiteY6" fmla="*/ 122302 h 167459"/>
                <a:gd name="connsiteX7" fmla="*/ 4628 w 382871"/>
                <a:gd name="connsiteY7" fmla="*/ 98469 h 167459"/>
                <a:gd name="connsiteX8" fmla="*/ 99961 w 382871"/>
                <a:gd name="connsiteY8" fmla="*/ 0 h 167459"/>
                <a:gd name="connsiteX9" fmla="*/ 210347 w 382871"/>
                <a:gd name="connsiteY9" fmla="*/ 118539 h 167459"/>
                <a:gd name="connsiteX10" fmla="*/ 291255 w 382871"/>
                <a:gd name="connsiteY10" fmla="*/ 64601 h 167459"/>
                <a:gd name="connsiteX11" fmla="*/ 377180 w 382871"/>
                <a:gd name="connsiteY11" fmla="*/ 138609 h 167459"/>
                <a:gd name="connsiteX12" fmla="*/ 379061 w 382871"/>
                <a:gd name="connsiteY12" fmla="*/ 161815 h 167459"/>
                <a:gd name="connsiteX13" fmla="*/ 366517 w 382871"/>
                <a:gd name="connsiteY13" fmla="*/ 167460 h 167459"/>
                <a:gd name="connsiteX14" fmla="*/ 366517 w 382871"/>
                <a:gd name="connsiteY14" fmla="*/ 167460 h 16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871" h="167459">
                  <a:moveTo>
                    <a:pt x="366517" y="167460"/>
                  </a:moveTo>
                  <a:cubicBezTo>
                    <a:pt x="362754" y="167460"/>
                    <a:pt x="358991" y="166206"/>
                    <a:pt x="355855" y="163697"/>
                  </a:cubicBezTo>
                  <a:lnTo>
                    <a:pt x="288746" y="106622"/>
                  </a:lnTo>
                  <a:lnTo>
                    <a:pt x="205329" y="161815"/>
                  </a:lnTo>
                  <a:lnTo>
                    <a:pt x="99961" y="48294"/>
                  </a:lnTo>
                  <a:lnTo>
                    <a:pt x="29089" y="121675"/>
                  </a:lnTo>
                  <a:cubicBezTo>
                    <a:pt x="22817" y="128574"/>
                    <a:pt x="12155" y="128574"/>
                    <a:pt x="5256" y="122302"/>
                  </a:cubicBezTo>
                  <a:cubicBezTo>
                    <a:pt x="-1644" y="116030"/>
                    <a:pt x="-1644" y="105368"/>
                    <a:pt x="4628" y="98469"/>
                  </a:cubicBezTo>
                  <a:lnTo>
                    <a:pt x="99961" y="0"/>
                  </a:lnTo>
                  <a:lnTo>
                    <a:pt x="210347" y="118539"/>
                  </a:lnTo>
                  <a:lnTo>
                    <a:pt x="291255" y="64601"/>
                  </a:lnTo>
                  <a:lnTo>
                    <a:pt x="377180" y="138609"/>
                  </a:lnTo>
                  <a:cubicBezTo>
                    <a:pt x="384079" y="144881"/>
                    <a:pt x="384706" y="154916"/>
                    <a:pt x="379061" y="161815"/>
                  </a:cubicBezTo>
                  <a:cubicBezTo>
                    <a:pt x="375298" y="165578"/>
                    <a:pt x="370908" y="167460"/>
                    <a:pt x="366517" y="167460"/>
                  </a:cubicBezTo>
                  <a:lnTo>
                    <a:pt x="366517" y="167460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72" name="Forma Livre: Forma 171">
              <a:extLst>
                <a:ext uri="{FF2B5EF4-FFF2-40B4-BE49-F238E27FC236}">
                  <a16:creationId xmlns:a16="http://schemas.microsoft.com/office/drawing/2014/main" id="{2CB98569-2686-4040-9447-BF4FBCFEA13D}"/>
                </a:ext>
              </a:extLst>
            </p:cNvPr>
            <p:cNvSpPr/>
            <p:nvPr/>
          </p:nvSpPr>
          <p:spPr>
            <a:xfrm>
              <a:off x="6556575" y="610550"/>
              <a:ext cx="119166" cy="119166"/>
            </a:xfrm>
            <a:custGeom>
              <a:avLst/>
              <a:gdLst>
                <a:gd name="connsiteX0" fmla="*/ 59583 w 119166"/>
                <a:gd name="connsiteY0" fmla="*/ 119166 h 119166"/>
                <a:gd name="connsiteX1" fmla="*/ 0 w 119166"/>
                <a:gd name="connsiteY1" fmla="*/ 59583 h 119166"/>
                <a:gd name="connsiteX2" fmla="*/ 59583 w 119166"/>
                <a:gd name="connsiteY2" fmla="*/ 0 h 119166"/>
                <a:gd name="connsiteX3" fmla="*/ 119166 w 119166"/>
                <a:gd name="connsiteY3" fmla="*/ 59583 h 119166"/>
                <a:gd name="connsiteX4" fmla="*/ 59583 w 119166"/>
                <a:gd name="connsiteY4" fmla="*/ 119166 h 119166"/>
                <a:gd name="connsiteX5" fmla="*/ 59583 w 119166"/>
                <a:gd name="connsiteY5" fmla="*/ 119166 h 119166"/>
                <a:gd name="connsiteX6" fmla="*/ 59583 w 119166"/>
                <a:gd name="connsiteY6" fmla="*/ 33241 h 119166"/>
                <a:gd name="connsiteX7" fmla="*/ 33241 w 119166"/>
                <a:gd name="connsiteY7" fmla="*/ 59583 h 119166"/>
                <a:gd name="connsiteX8" fmla="*/ 59583 w 119166"/>
                <a:gd name="connsiteY8" fmla="*/ 85925 h 119166"/>
                <a:gd name="connsiteX9" fmla="*/ 85925 w 119166"/>
                <a:gd name="connsiteY9" fmla="*/ 59583 h 119166"/>
                <a:gd name="connsiteX10" fmla="*/ 59583 w 119166"/>
                <a:gd name="connsiteY10" fmla="*/ 33241 h 119166"/>
                <a:gd name="connsiteX11" fmla="*/ 59583 w 119166"/>
                <a:gd name="connsiteY11" fmla="*/ 33241 h 119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166" h="119166">
                  <a:moveTo>
                    <a:pt x="59583" y="119166"/>
                  </a:moveTo>
                  <a:cubicBezTo>
                    <a:pt x="26970" y="119166"/>
                    <a:pt x="0" y="92197"/>
                    <a:pt x="0" y="59583"/>
                  </a:cubicBezTo>
                  <a:cubicBezTo>
                    <a:pt x="0" y="26969"/>
                    <a:pt x="26970" y="0"/>
                    <a:pt x="59583" y="0"/>
                  </a:cubicBezTo>
                  <a:cubicBezTo>
                    <a:pt x="92197" y="0"/>
                    <a:pt x="119166" y="26969"/>
                    <a:pt x="119166" y="59583"/>
                  </a:cubicBezTo>
                  <a:cubicBezTo>
                    <a:pt x="119166" y="92197"/>
                    <a:pt x="92825" y="119166"/>
                    <a:pt x="59583" y="119166"/>
                  </a:cubicBezTo>
                  <a:lnTo>
                    <a:pt x="59583" y="119166"/>
                  </a:lnTo>
                  <a:close/>
                  <a:moveTo>
                    <a:pt x="59583" y="33241"/>
                  </a:moveTo>
                  <a:cubicBezTo>
                    <a:pt x="45158" y="33241"/>
                    <a:pt x="33241" y="45158"/>
                    <a:pt x="33241" y="59583"/>
                  </a:cubicBezTo>
                  <a:cubicBezTo>
                    <a:pt x="33241" y="74009"/>
                    <a:pt x="45158" y="85925"/>
                    <a:pt x="59583" y="85925"/>
                  </a:cubicBezTo>
                  <a:cubicBezTo>
                    <a:pt x="74009" y="85925"/>
                    <a:pt x="85925" y="74009"/>
                    <a:pt x="85925" y="59583"/>
                  </a:cubicBezTo>
                  <a:cubicBezTo>
                    <a:pt x="85925" y="45158"/>
                    <a:pt x="74009" y="33241"/>
                    <a:pt x="59583" y="33241"/>
                  </a:cubicBezTo>
                  <a:lnTo>
                    <a:pt x="59583" y="33241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73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1305107" y="561629"/>
            <a:ext cx="393875" cy="338683"/>
            <a:chOff x="1305107" y="561629"/>
            <a:chExt cx="393875" cy="338683"/>
          </a:xfrm>
          <a:solidFill>
            <a:srgbClr val="B1B1A1"/>
          </a:solidFill>
        </p:grpSpPr>
        <p:sp>
          <p:nvSpPr>
            <p:cNvPr id="174" name="Forma Livre: Forma 173">
              <a:extLst>
                <a:ext uri="{FF2B5EF4-FFF2-40B4-BE49-F238E27FC236}">
                  <a16:creationId xmlns:a16="http://schemas.microsoft.com/office/drawing/2014/main" id="{191E2C95-7374-4E41-A13C-E57C5AC2DFF6}"/>
                </a:ext>
              </a:extLst>
            </p:cNvPr>
            <p:cNvSpPr/>
            <p:nvPr/>
          </p:nvSpPr>
          <p:spPr>
            <a:xfrm>
              <a:off x="1305107" y="621839"/>
              <a:ext cx="303560" cy="278472"/>
            </a:xfrm>
            <a:custGeom>
              <a:avLst/>
              <a:gdLst>
                <a:gd name="connsiteX0" fmla="*/ 270319 w 303560"/>
                <a:gd name="connsiteY0" fmla="*/ 278473 h 278472"/>
                <a:gd name="connsiteX1" fmla="*/ 33241 w 303560"/>
                <a:gd name="connsiteY1" fmla="*/ 278473 h 278472"/>
                <a:gd name="connsiteX2" fmla="*/ 0 w 303560"/>
                <a:gd name="connsiteY2" fmla="*/ 245232 h 278472"/>
                <a:gd name="connsiteX3" fmla="*/ 0 w 303560"/>
                <a:gd name="connsiteY3" fmla="*/ 33241 h 278472"/>
                <a:gd name="connsiteX4" fmla="*/ 33241 w 303560"/>
                <a:gd name="connsiteY4" fmla="*/ 0 h 278472"/>
                <a:gd name="connsiteX5" fmla="*/ 270319 w 303560"/>
                <a:gd name="connsiteY5" fmla="*/ 0 h 278472"/>
                <a:gd name="connsiteX6" fmla="*/ 303560 w 303560"/>
                <a:gd name="connsiteY6" fmla="*/ 33241 h 278472"/>
                <a:gd name="connsiteX7" fmla="*/ 303560 w 303560"/>
                <a:gd name="connsiteY7" fmla="*/ 245232 h 278472"/>
                <a:gd name="connsiteX8" fmla="*/ 270319 w 303560"/>
                <a:gd name="connsiteY8" fmla="*/ 278473 h 278472"/>
                <a:gd name="connsiteX9" fmla="*/ 270319 w 303560"/>
                <a:gd name="connsiteY9" fmla="*/ 278473 h 278472"/>
                <a:gd name="connsiteX10" fmla="*/ 33241 w 303560"/>
                <a:gd name="connsiteY10" fmla="*/ 33241 h 278472"/>
                <a:gd name="connsiteX11" fmla="*/ 33241 w 303560"/>
                <a:gd name="connsiteY11" fmla="*/ 245232 h 278472"/>
                <a:gd name="connsiteX12" fmla="*/ 270319 w 303560"/>
                <a:gd name="connsiteY12" fmla="*/ 245232 h 278472"/>
                <a:gd name="connsiteX13" fmla="*/ 270319 w 303560"/>
                <a:gd name="connsiteY13" fmla="*/ 33241 h 278472"/>
                <a:gd name="connsiteX14" fmla="*/ 33241 w 303560"/>
                <a:gd name="connsiteY14" fmla="*/ 33241 h 278472"/>
                <a:gd name="connsiteX15" fmla="*/ 33241 w 303560"/>
                <a:gd name="connsiteY15" fmla="*/ 33241 h 278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3560" h="278472">
                  <a:moveTo>
                    <a:pt x="270319" y="278473"/>
                  </a:moveTo>
                  <a:lnTo>
                    <a:pt x="33241" y="278473"/>
                  </a:lnTo>
                  <a:cubicBezTo>
                    <a:pt x="15053" y="278473"/>
                    <a:pt x="0" y="263420"/>
                    <a:pt x="0" y="245232"/>
                  </a:cubicBezTo>
                  <a:lnTo>
                    <a:pt x="0" y="33241"/>
                  </a:lnTo>
                  <a:cubicBezTo>
                    <a:pt x="0" y="15053"/>
                    <a:pt x="15053" y="0"/>
                    <a:pt x="33241" y="0"/>
                  </a:cubicBezTo>
                  <a:lnTo>
                    <a:pt x="270319" y="0"/>
                  </a:lnTo>
                  <a:cubicBezTo>
                    <a:pt x="288508" y="0"/>
                    <a:pt x="303560" y="15053"/>
                    <a:pt x="303560" y="33241"/>
                  </a:cubicBezTo>
                  <a:lnTo>
                    <a:pt x="303560" y="245232"/>
                  </a:lnTo>
                  <a:cubicBezTo>
                    <a:pt x="303560" y="263420"/>
                    <a:pt x="289135" y="278473"/>
                    <a:pt x="270319" y="278473"/>
                  </a:cubicBezTo>
                  <a:lnTo>
                    <a:pt x="270319" y="278473"/>
                  </a:lnTo>
                  <a:close/>
                  <a:moveTo>
                    <a:pt x="33241" y="33241"/>
                  </a:moveTo>
                  <a:lnTo>
                    <a:pt x="33241" y="245232"/>
                  </a:lnTo>
                  <a:lnTo>
                    <a:pt x="270319" y="245232"/>
                  </a:lnTo>
                  <a:lnTo>
                    <a:pt x="270319" y="33241"/>
                  </a:lnTo>
                  <a:lnTo>
                    <a:pt x="33241" y="33241"/>
                  </a:lnTo>
                  <a:lnTo>
                    <a:pt x="33241" y="33241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75" name="Forma Livre: Forma 174">
              <a:extLst>
                <a:ext uri="{FF2B5EF4-FFF2-40B4-BE49-F238E27FC236}">
                  <a16:creationId xmlns:a16="http://schemas.microsoft.com/office/drawing/2014/main" id="{E8C9EE8D-DE3D-469C-A3C9-D158A8FF6B4E}"/>
                </a:ext>
              </a:extLst>
            </p:cNvPr>
            <p:cNvSpPr/>
            <p:nvPr/>
          </p:nvSpPr>
          <p:spPr>
            <a:xfrm>
              <a:off x="1574172" y="653271"/>
              <a:ext cx="124810" cy="215054"/>
            </a:xfrm>
            <a:custGeom>
              <a:avLst/>
              <a:gdLst>
                <a:gd name="connsiteX0" fmla="*/ 107877 w 124810"/>
                <a:gd name="connsiteY0" fmla="*/ 215055 h 215054"/>
                <a:gd name="connsiteX1" fmla="*/ 100351 w 124810"/>
                <a:gd name="connsiteY1" fmla="*/ 213173 h 215054"/>
                <a:gd name="connsiteX2" fmla="*/ 9408 w 124810"/>
                <a:gd name="connsiteY2" fmla="*/ 168015 h 215054"/>
                <a:gd name="connsiteX3" fmla="*/ 0 w 124810"/>
                <a:gd name="connsiteY3" fmla="*/ 152963 h 215054"/>
                <a:gd name="connsiteX4" fmla="*/ 0 w 124810"/>
                <a:gd name="connsiteY4" fmla="*/ 62020 h 215054"/>
                <a:gd name="connsiteX5" fmla="*/ 9408 w 124810"/>
                <a:gd name="connsiteY5" fmla="*/ 46967 h 215054"/>
                <a:gd name="connsiteX6" fmla="*/ 100351 w 124810"/>
                <a:gd name="connsiteY6" fmla="*/ 1810 h 215054"/>
                <a:gd name="connsiteX7" fmla="*/ 116657 w 124810"/>
                <a:gd name="connsiteY7" fmla="*/ 2437 h 215054"/>
                <a:gd name="connsiteX8" fmla="*/ 124811 w 124810"/>
                <a:gd name="connsiteY8" fmla="*/ 16862 h 215054"/>
                <a:gd name="connsiteX9" fmla="*/ 124811 w 124810"/>
                <a:gd name="connsiteY9" fmla="*/ 198120 h 215054"/>
                <a:gd name="connsiteX10" fmla="*/ 116657 w 124810"/>
                <a:gd name="connsiteY10" fmla="*/ 212546 h 215054"/>
                <a:gd name="connsiteX11" fmla="*/ 107877 w 124810"/>
                <a:gd name="connsiteY11" fmla="*/ 215055 h 215054"/>
                <a:gd name="connsiteX12" fmla="*/ 107877 w 124810"/>
                <a:gd name="connsiteY12" fmla="*/ 215055 h 215054"/>
                <a:gd name="connsiteX13" fmla="*/ 33241 w 124810"/>
                <a:gd name="connsiteY13" fmla="*/ 142928 h 215054"/>
                <a:gd name="connsiteX14" fmla="*/ 90943 w 124810"/>
                <a:gd name="connsiteY14" fmla="*/ 171778 h 215054"/>
                <a:gd name="connsiteX15" fmla="*/ 90943 w 124810"/>
                <a:gd name="connsiteY15" fmla="*/ 43832 h 215054"/>
                <a:gd name="connsiteX16" fmla="*/ 33241 w 124810"/>
                <a:gd name="connsiteY16" fmla="*/ 72682 h 215054"/>
                <a:gd name="connsiteX17" fmla="*/ 33241 w 124810"/>
                <a:gd name="connsiteY17" fmla="*/ 142928 h 215054"/>
                <a:gd name="connsiteX18" fmla="*/ 33241 w 124810"/>
                <a:gd name="connsiteY18" fmla="*/ 142928 h 215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4810" h="215054">
                  <a:moveTo>
                    <a:pt x="107877" y="215055"/>
                  </a:moveTo>
                  <a:cubicBezTo>
                    <a:pt x="105368" y="215055"/>
                    <a:pt x="102859" y="214427"/>
                    <a:pt x="100351" y="213173"/>
                  </a:cubicBezTo>
                  <a:lnTo>
                    <a:pt x="9408" y="168015"/>
                  </a:lnTo>
                  <a:cubicBezTo>
                    <a:pt x="3763" y="165507"/>
                    <a:pt x="0" y="159235"/>
                    <a:pt x="0" y="152963"/>
                  </a:cubicBezTo>
                  <a:lnTo>
                    <a:pt x="0" y="62020"/>
                  </a:lnTo>
                  <a:cubicBezTo>
                    <a:pt x="0" y="55748"/>
                    <a:pt x="3763" y="50103"/>
                    <a:pt x="9408" y="46967"/>
                  </a:cubicBezTo>
                  <a:lnTo>
                    <a:pt x="100351" y="1810"/>
                  </a:lnTo>
                  <a:cubicBezTo>
                    <a:pt x="105368" y="-699"/>
                    <a:pt x="111640" y="-699"/>
                    <a:pt x="116657" y="2437"/>
                  </a:cubicBezTo>
                  <a:cubicBezTo>
                    <a:pt x="121675" y="5573"/>
                    <a:pt x="124811" y="10590"/>
                    <a:pt x="124811" y="16862"/>
                  </a:cubicBezTo>
                  <a:lnTo>
                    <a:pt x="124811" y="198120"/>
                  </a:lnTo>
                  <a:cubicBezTo>
                    <a:pt x="124811" y="203765"/>
                    <a:pt x="121675" y="209410"/>
                    <a:pt x="116657" y="212546"/>
                  </a:cubicBezTo>
                  <a:cubicBezTo>
                    <a:pt x="113522" y="214427"/>
                    <a:pt x="111013" y="215055"/>
                    <a:pt x="107877" y="215055"/>
                  </a:cubicBezTo>
                  <a:lnTo>
                    <a:pt x="107877" y="215055"/>
                  </a:lnTo>
                  <a:close/>
                  <a:moveTo>
                    <a:pt x="33241" y="142928"/>
                  </a:moveTo>
                  <a:lnTo>
                    <a:pt x="90943" y="171778"/>
                  </a:lnTo>
                  <a:lnTo>
                    <a:pt x="90943" y="43832"/>
                  </a:lnTo>
                  <a:lnTo>
                    <a:pt x="33241" y="72682"/>
                  </a:lnTo>
                  <a:lnTo>
                    <a:pt x="33241" y="142928"/>
                  </a:lnTo>
                  <a:lnTo>
                    <a:pt x="33241" y="142928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76" name="Forma Livre: Forma 175">
              <a:extLst>
                <a:ext uri="{FF2B5EF4-FFF2-40B4-BE49-F238E27FC236}">
                  <a16:creationId xmlns:a16="http://schemas.microsoft.com/office/drawing/2014/main" id="{FB1E1714-33E0-4142-A1E1-954F5C4AF639}"/>
                </a:ext>
              </a:extLst>
            </p:cNvPr>
            <p:cNvSpPr/>
            <p:nvPr/>
          </p:nvSpPr>
          <p:spPr>
            <a:xfrm>
              <a:off x="1374098" y="788045"/>
              <a:ext cx="164951" cy="33868"/>
            </a:xfrm>
            <a:custGeom>
              <a:avLst/>
              <a:gdLst>
                <a:gd name="connsiteX0" fmla="*/ 148017 w 164951"/>
                <a:gd name="connsiteY0" fmla="*/ 33868 h 33868"/>
                <a:gd name="connsiteX1" fmla="*/ 16934 w 164951"/>
                <a:gd name="connsiteY1" fmla="*/ 33868 h 33868"/>
                <a:gd name="connsiteX2" fmla="*/ 0 w 164951"/>
                <a:gd name="connsiteY2" fmla="*/ 16934 h 33868"/>
                <a:gd name="connsiteX3" fmla="*/ 16934 w 164951"/>
                <a:gd name="connsiteY3" fmla="*/ 0 h 33868"/>
                <a:gd name="connsiteX4" fmla="*/ 148017 w 164951"/>
                <a:gd name="connsiteY4" fmla="*/ 0 h 33868"/>
                <a:gd name="connsiteX5" fmla="*/ 164951 w 164951"/>
                <a:gd name="connsiteY5" fmla="*/ 16934 h 33868"/>
                <a:gd name="connsiteX6" fmla="*/ 148017 w 164951"/>
                <a:gd name="connsiteY6" fmla="*/ 33868 h 33868"/>
                <a:gd name="connsiteX7" fmla="*/ 148017 w 164951"/>
                <a:gd name="connsiteY7" fmla="*/ 33868 h 33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4951" h="33868">
                  <a:moveTo>
                    <a:pt x="148017" y="33868"/>
                  </a:moveTo>
                  <a:lnTo>
                    <a:pt x="16934" y="33868"/>
                  </a:lnTo>
                  <a:cubicBezTo>
                    <a:pt x="7526" y="33868"/>
                    <a:pt x="0" y="26342"/>
                    <a:pt x="0" y="16934"/>
                  </a:cubicBezTo>
                  <a:cubicBezTo>
                    <a:pt x="0" y="7526"/>
                    <a:pt x="7526" y="0"/>
                    <a:pt x="16934" y="0"/>
                  </a:cubicBezTo>
                  <a:lnTo>
                    <a:pt x="148017" y="0"/>
                  </a:lnTo>
                  <a:cubicBezTo>
                    <a:pt x="157425" y="0"/>
                    <a:pt x="164951" y="7526"/>
                    <a:pt x="164951" y="16934"/>
                  </a:cubicBezTo>
                  <a:cubicBezTo>
                    <a:pt x="164324" y="26342"/>
                    <a:pt x="157425" y="33868"/>
                    <a:pt x="148017" y="33868"/>
                  </a:cubicBezTo>
                  <a:lnTo>
                    <a:pt x="148017" y="33868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77" name="Forma Livre: Forma 176">
              <a:extLst>
                <a:ext uri="{FF2B5EF4-FFF2-40B4-BE49-F238E27FC236}">
                  <a16:creationId xmlns:a16="http://schemas.microsoft.com/office/drawing/2014/main" id="{77B4371D-69C3-4F92-B661-5BA51E81AC56}"/>
                </a:ext>
              </a:extLst>
            </p:cNvPr>
            <p:cNvSpPr/>
            <p:nvPr/>
          </p:nvSpPr>
          <p:spPr>
            <a:xfrm>
              <a:off x="1344620" y="561629"/>
              <a:ext cx="210772" cy="84043"/>
            </a:xfrm>
            <a:custGeom>
              <a:avLst/>
              <a:gdLst>
                <a:gd name="connsiteX0" fmla="*/ 194429 w 210772"/>
                <a:gd name="connsiteY0" fmla="*/ 84044 h 84043"/>
                <a:gd name="connsiteX1" fmla="*/ 177495 w 210772"/>
                <a:gd name="connsiteY1" fmla="*/ 67109 h 84043"/>
                <a:gd name="connsiteX2" fmla="*/ 144254 w 210772"/>
                <a:gd name="connsiteY2" fmla="*/ 33868 h 84043"/>
                <a:gd name="connsiteX3" fmla="*/ 16934 w 210772"/>
                <a:gd name="connsiteY3" fmla="*/ 33868 h 84043"/>
                <a:gd name="connsiteX4" fmla="*/ 0 w 210772"/>
                <a:gd name="connsiteY4" fmla="*/ 16934 h 84043"/>
                <a:gd name="connsiteX5" fmla="*/ 16934 w 210772"/>
                <a:gd name="connsiteY5" fmla="*/ 0 h 84043"/>
                <a:gd name="connsiteX6" fmla="*/ 144254 w 210772"/>
                <a:gd name="connsiteY6" fmla="*/ 0 h 84043"/>
                <a:gd name="connsiteX7" fmla="*/ 210736 w 210772"/>
                <a:gd name="connsiteY7" fmla="*/ 66482 h 84043"/>
                <a:gd name="connsiteX8" fmla="*/ 194429 w 210772"/>
                <a:gd name="connsiteY8" fmla="*/ 84044 h 84043"/>
                <a:gd name="connsiteX9" fmla="*/ 194429 w 210772"/>
                <a:gd name="connsiteY9" fmla="*/ 84044 h 84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0772" h="84043">
                  <a:moveTo>
                    <a:pt x="194429" y="84044"/>
                  </a:moveTo>
                  <a:cubicBezTo>
                    <a:pt x="185021" y="84044"/>
                    <a:pt x="177495" y="76517"/>
                    <a:pt x="177495" y="67109"/>
                  </a:cubicBezTo>
                  <a:cubicBezTo>
                    <a:pt x="177495" y="48921"/>
                    <a:pt x="162442" y="33868"/>
                    <a:pt x="144254" y="33868"/>
                  </a:cubicBezTo>
                  <a:lnTo>
                    <a:pt x="16934" y="33868"/>
                  </a:lnTo>
                  <a:cubicBezTo>
                    <a:pt x="7526" y="33868"/>
                    <a:pt x="0" y="26342"/>
                    <a:pt x="0" y="16934"/>
                  </a:cubicBezTo>
                  <a:cubicBezTo>
                    <a:pt x="0" y="7526"/>
                    <a:pt x="7526" y="0"/>
                    <a:pt x="16934" y="0"/>
                  </a:cubicBezTo>
                  <a:lnTo>
                    <a:pt x="144254" y="0"/>
                  </a:lnTo>
                  <a:cubicBezTo>
                    <a:pt x="181258" y="0"/>
                    <a:pt x="210736" y="30105"/>
                    <a:pt x="210736" y="66482"/>
                  </a:cubicBezTo>
                  <a:cubicBezTo>
                    <a:pt x="211363" y="76517"/>
                    <a:pt x="203837" y="84044"/>
                    <a:pt x="194429" y="84044"/>
                  </a:cubicBezTo>
                  <a:lnTo>
                    <a:pt x="194429" y="84044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78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4385241" y="534033"/>
            <a:ext cx="344955" cy="395130"/>
            <a:chOff x="4385241" y="534033"/>
            <a:chExt cx="344955" cy="395130"/>
          </a:xfrm>
          <a:solidFill>
            <a:srgbClr val="B1B1A1"/>
          </a:solidFill>
        </p:grpSpPr>
        <p:sp>
          <p:nvSpPr>
            <p:cNvPr id="179" name="Forma Livre: Forma 178">
              <a:extLst>
                <a:ext uri="{FF2B5EF4-FFF2-40B4-BE49-F238E27FC236}">
                  <a16:creationId xmlns:a16="http://schemas.microsoft.com/office/drawing/2014/main" id="{3C22C8A2-5954-4513-8CB5-A75020A89B11}"/>
                </a:ext>
              </a:extLst>
            </p:cNvPr>
            <p:cNvSpPr/>
            <p:nvPr/>
          </p:nvSpPr>
          <p:spPr>
            <a:xfrm>
              <a:off x="4484964" y="633756"/>
              <a:ext cx="145508" cy="145508"/>
            </a:xfrm>
            <a:custGeom>
              <a:avLst/>
              <a:gdLst>
                <a:gd name="connsiteX0" fmla="*/ 72754 w 145508"/>
                <a:gd name="connsiteY0" fmla="*/ 145508 h 145508"/>
                <a:gd name="connsiteX1" fmla="*/ 0 w 145508"/>
                <a:gd name="connsiteY1" fmla="*/ 72754 h 145508"/>
                <a:gd name="connsiteX2" fmla="*/ 72754 w 145508"/>
                <a:gd name="connsiteY2" fmla="*/ 0 h 145508"/>
                <a:gd name="connsiteX3" fmla="*/ 145508 w 145508"/>
                <a:gd name="connsiteY3" fmla="*/ 72754 h 145508"/>
                <a:gd name="connsiteX4" fmla="*/ 72754 w 145508"/>
                <a:gd name="connsiteY4" fmla="*/ 145508 h 145508"/>
                <a:gd name="connsiteX5" fmla="*/ 72754 w 145508"/>
                <a:gd name="connsiteY5" fmla="*/ 145508 h 145508"/>
                <a:gd name="connsiteX6" fmla="*/ 72754 w 145508"/>
                <a:gd name="connsiteY6" fmla="*/ 33241 h 145508"/>
                <a:gd name="connsiteX7" fmla="*/ 33241 w 145508"/>
                <a:gd name="connsiteY7" fmla="*/ 72754 h 145508"/>
                <a:gd name="connsiteX8" fmla="*/ 72754 w 145508"/>
                <a:gd name="connsiteY8" fmla="*/ 112267 h 145508"/>
                <a:gd name="connsiteX9" fmla="*/ 112267 w 145508"/>
                <a:gd name="connsiteY9" fmla="*/ 72754 h 145508"/>
                <a:gd name="connsiteX10" fmla="*/ 72754 w 145508"/>
                <a:gd name="connsiteY10" fmla="*/ 33241 h 145508"/>
                <a:gd name="connsiteX11" fmla="*/ 72754 w 145508"/>
                <a:gd name="connsiteY11" fmla="*/ 33241 h 145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5508" h="145508">
                  <a:moveTo>
                    <a:pt x="72754" y="145508"/>
                  </a:moveTo>
                  <a:cubicBezTo>
                    <a:pt x="32614" y="145508"/>
                    <a:pt x="0" y="112894"/>
                    <a:pt x="0" y="72754"/>
                  </a:cubicBezTo>
                  <a:cubicBezTo>
                    <a:pt x="0" y="32614"/>
                    <a:pt x="32614" y="0"/>
                    <a:pt x="72754" y="0"/>
                  </a:cubicBezTo>
                  <a:cubicBezTo>
                    <a:pt x="112894" y="0"/>
                    <a:pt x="145508" y="32614"/>
                    <a:pt x="145508" y="72754"/>
                  </a:cubicBezTo>
                  <a:cubicBezTo>
                    <a:pt x="145508" y="112894"/>
                    <a:pt x="112894" y="145508"/>
                    <a:pt x="72754" y="145508"/>
                  </a:cubicBezTo>
                  <a:lnTo>
                    <a:pt x="72754" y="145508"/>
                  </a:lnTo>
                  <a:close/>
                  <a:moveTo>
                    <a:pt x="72754" y="33241"/>
                  </a:moveTo>
                  <a:cubicBezTo>
                    <a:pt x="50803" y="33241"/>
                    <a:pt x="33241" y="50802"/>
                    <a:pt x="33241" y="72754"/>
                  </a:cubicBezTo>
                  <a:cubicBezTo>
                    <a:pt x="33241" y="94706"/>
                    <a:pt x="50803" y="112267"/>
                    <a:pt x="72754" y="112267"/>
                  </a:cubicBezTo>
                  <a:cubicBezTo>
                    <a:pt x="94706" y="112267"/>
                    <a:pt x="112267" y="94706"/>
                    <a:pt x="112267" y="72754"/>
                  </a:cubicBezTo>
                  <a:cubicBezTo>
                    <a:pt x="112267" y="50802"/>
                    <a:pt x="94079" y="33241"/>
                    <a:pt x="72754" y="33241"/>
                  </a:cubicBezTo>
                  <a:lnTo>
                    <a:pt x="72754" y="33241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80" name="Forma Livre: Forma 179">
              <a:extLst>
                <a:ext uri="{FF2B5EF4-FFF2-40B4-BE49-F238E27FC236}">
                  <a16:creationId xmlns:a16="http://schemas.microsoft.com/office/drawing/2014/main" id="{A75367BA-57C1-4C07-86C8-F26069D3F063}"/>
                </a:ext>
              </a:extLst>
            </p:cNvPr>
            <p:cNvSpPr/>
            <p:nvPr/>
          </p:nvSpPr>
          <p:spPr>
            <a:xfrm>
              <a:off x="4385241" y="534033"/>
              <a:ext cx="344955" cy="344954"/>
            </a:xfrm>
            <a:custGeom>
              <a:avLst/>
              <a:gdLst>
                <a:gd name="connsiteX0" fmla="*/ 172478 w 344955"/>
                <a:gd name="connsiteY0" fmla="*/ 344955 h 344954"/>
                <a:gd name="connsiteX1" fmla="*/ 0 w 344955"/>
                <a:gd name="connsiteY1" fmla="*/ 172477 h 344954"/>
                <a:gd name="connsiteX2" fmla="*/ 172478 w 344955"/>
                <a:gd name="connsiteY2" fmla="*/ 0 h 344954"/>
                <a:gd name="connsiteX3" fmla="*/ 344955 w 344955"/>
                <a:gd name="connsiteY3" fmla="*/ 172477 h 344954"/>
                <a:gd name="connsiteX4" fmla="*/ 172478 w 344955"/>
                <a:gd name="connsiteY4" fmla="*/ 344955 h 344954"/>
                <a:gd name="connsiteX5" fmla="*/ 172478 w 344955"/>
                <a:gd name="connsiteY5" fmla="*/ 344955 h 344954"/>
                <a:gd name="connsiteX6" fmla="*/ 172478 w 344955"/>
                <a:gd name="connsiteY6" fmla="*/ 33241 h 344954"/>
                <a:gd name="connsiteX7" fmla="*/ 33241 w 344955"/>
                <a:gd name="connsiteY7" fmla="*/ 172477 h 344954"/>
                <a:gd name="connsiteX8" fmla="*/ 172478 w 344955"/>
                <a:gd name="connsiteY8" fmla="*/ 311714 h 344954"/>
                <a:gd name="connsiteX9" fmla="*/ 311714 w 344955"/>
                <a:gd name="connsiteY9" fmla="*/ 172477 h 344954"/>
                <a:gd name="connsiteX10" fmla="*/ 172478 w 344955"/>
                <a:gd name="connsiteY10" fmla="*/ 33241 h 344954"/>
                <a:gd name="connsiteX11" fmla="*/ 172478 w 344955"/>
                <a:gd name="connsiteY11" fmla="*/ 33241 h 344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4955" h="344954">
                  <a:moveTo>
                    <a:pt x="172478" y="344955"/>
                  </a:moveTo>
                  <a:cubicBezTo>
                    <a:pt x="77145" y="344955"/>
                    <a:pt x="0" y="267183"/>
                    <a:pt x="0" y="172477"/>
                  </a:cubicBezTo>
                  <a:cubicBezTo>
                    <a:pt x="0" y="77772"/>
                    <a:pt x="77772" y="0"/>
                    <a:pt x="172478" y="0"/>
                  </a:cubicBezTo>
                  <a:cubicBezTo>
                    <a:pt x="267810" y="0"/>
                    <a:pt x="344955" y="77772"/>
                    <a:pt x="344955" y="172477"/>
                  </a:cubicBezTo>
                  <a:cubicBezTo>
                    <a:pt x="344955" y="267183"/>
                    <a:pt x="267183" y="344955"/>
                    <a:pt x="172478" y="344955"/>
                  </a:cubicBezTo>
                  <a:lnTo>
                    <a:pt x="172478" y="344955"/>
                  </a:lnTo>
                  <a:close/>
                  <a:moveTo>
                    <a:pt x="172478" y="33241"/>
                  </a:moveTo>
                  <a:cubicBezTo>
                    <a:pt x="95333" y="33241"/>
                    <a:pt x="33241" y="95960"/>
                    <a:pt x="33241" y="172477"/>
                  </a:cubicBezTo>
                  <a:cubicBezTo>
                    <a:pt x="33241" y="249622"/>
                    <a:pt x="95960" y="311714"/>
                    <a:pt x="172478" y="311714"/>
                  </a:cubicBezTo>
                  <a:cubicBezTo>
                    <a:pt x="249622" y="311714"/>
                    <a:pt x="311714" y="248995"/>
                    <a:pt x="311714" y="172477"/>
                  </a:cubicBezTo>
                  <a:cubicBezTo>
                    <a:pt x="311714" y="95333"/>
                    <a:pt x="248995" y="33241"/>
                    <a:pt x="172478" y="33241"/>
                  </a:cubicBezTo>
                  <a:lnTo>
                    <a:pt x="172478" y="33241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81" name="Forma Livre: Forma 180">
              <a:extLst>
                <a:ext uri="{FF2B5EF4-FFF2-40B4-BE49-F238E27FC236}">
                  <a16:creationId xmlns:a16="http://schemas.microsoft.com/office/drawing/2014/main" id="{7DED768D-704B-48B4-82B4-0AF4B2BF6B99}"/>
                </a:ext>
              </a:extLst>
            </p:cNvPr>
            <p:cNvSpPr/>
            <p:nvPr/>
          </p:nvSpPr>
          <p:spPr>
            <a:xfrm>
              <a:off x="4450541" y="833888"/>
              <a:ext cx="214982" cy="95274"/>
            </a:xfrm>
            <a:custGeom>
              <a:avLst/>
              <a:gdLst>
                <a:gd name="connsiteX0" fmla="*/ 198121 w 214982"/>
                <a:gd name="connsiteY0" fmla="*/ 95275 h 95274"/>
                <a:gd name="connsiteX1" fmla="*/ 16862 w 214982"/>
                <a:gd name="connsiteY1" fmla="*/ 95275 h 95274"/>
                <a:gd name="connsiteX2" fmla="*/ 2437 w 214982"/>
                <a:gd name="connsiteY2" fmla="*/ 87122 h 95274"/>
                <a:gd name="connsiteX3" fmla="*/ 1810 w 214982"/>
                <a:gd name="connsiteY3" fmla="*/ 70815 h 95274"/>
                <a:gd name="connsiteX4" fmla="*/ 32542 w 214982"/>
                <a:gd name="connsiteY4" fmla="*/ 9350 h 95274"/>
                <a:gd name="connsiteX5" fmla="*/ 53867 w 214982"/>
                <a:gd name="connsiteY5" fmla="*/ 1196 h 95274"/>
                <a:gd name="connsiteX6" fmla="*/ 161116 w 214982"/>
                <a:gd name="connsiteY6" fmla="*/ 1196 h 95274"/>
                <a:gd name="connsiteX7" fmla="*/ 182441 w 214982"/>
                <a:gd name="connsiteY7" fmla="*/ 9350 h 95274"/>
                <a:gd name="connsiteX8" fmla="*/ 213173 w 214982"/>
                <a:gd name="connsiteY8" fmla="*/ 71442 h 95274"/>
                <a:gd name="connsiteX9" fmla="*/ 212546 w 214982"/>
                <a:gd name="connsiteY9" fmla="*/ 87749 h 95274"/>
                <a:gd name="connsiteX10" fmla="*/ 198121 w 214982"/>
                <a:gd name="connsiteY10" fmla="*/ 95275 h 95274"/>
                <a:gd name="connsiteX11" fmla="*/ 198121 w 214982"/>
                <a:gd name="connsiteY11" fmla="*/ 95275 h 95274"/>
                <a:gd name="connsiteX12" fmla="*/ 43831 w 214982"/>
                <a:gd name="connsiteY12" fmla="*/ 62034 h 95274"/>
                <a:gd name="connsiteX13" fmla="*/ 171778 w 214982"/>
                <a:gd name="connsiteY13" fmla="*/ 62034 h 95274"/>
                <a:gd name="connsiteX14" fmla="*/ 159235 w 214982"/>
                <a:gd name="connsiteY14" fmla="*/ 37573 h 95274"/>
                <a:gd name="connsiteX15" fmla="*/ 55748 w 214982"/>
                <a:gd name="connsiteY15" fmla="*/ 37573 h 95274"/>
                <a:gd name="connsiteX16" fmla="*/ 43831 w 214982"/>
                <a:gd name="connsiteY16" fmla="*/ 62034 h 95274"/>
                <a:gd name="connsiteX17" fmla="*/ 43831 w 214982"/>
                <a:gd name="connsiteY17" fmla="*/ 62034 h 95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4982" h="95274">
                  <a:moveTo>
                    <a:pt x="198121" y="95275"/>
                  </a:moveTo>
                  <a:lnTo>
                    <a:pt x="16862" y="95275"/>
                  </a:lnTo>
                  <a:cubicBezTo>
                    <a:pt x="11218" y="95275"/>
                    <a:pt x="5573" y="92139"/>
                    <a:pt x="2437" y="87122"/>
                  </a:cubicBezTo>
                  <a:cubicBezTo>
                    <a:pt x="-699" y="82104"/>
                    <a:pt x="-699" y="75832"/>
                    <a:pt x="1810" y="70815"/>
                  </a:cubicBezTo>
                  <a:lnTo>
                    <a:pt x="32542" y="9350"/>
                  </a:lnTo>
                  <a:cubicBezTo>
                    <a:pt x="36305" y="1196"/>
                    <a:pt x="45713" y="-1940"/>
                    <a:pt x="53867" y="1196"/>
                  </a:cubicBezTo>
                  <a:cubicBezTo>
                    <a:pt x="87735" y="15622"/>
                    <a:pt x="127248" y="14995"/>
                    <a:pt x="161116" y="1196"/>
                  </a:cubicBezTo>
                  <a:cubicBezTo>
                    <a:pt x="169270" y="-1940"/>
                    <a:pt x="178677" y="1196"/>
                    <a:pt x="182441" y="9350"/>
                  </a:cubicBezTo>
                  <a:lnTo>
                    <a:pt x="213173" y="71442"/>
                  </a:lnTo>
                  <a:cubicBezTo>
                    <a:pt x="215682" y="76459"/>
                    <a:pt x="215682" y="82731"/>
                    <a:pt x="212546" y="87749"/>
                  </a:cubicBezTo>
                  <a:cubicBezTo>
                    <a:pt x="209410" y="92139"/>
                    <a:pt x="203765" y="95275"/>
                    <a:pt x="198121" y="95275"/>
                  </a:cubicBezTo>
                  <a:lnTo>
                    <a:pt x="198121" y="95275"/>
                  </a:lnTo>
                  <a:close/>
                  <a:moveTo>
                    <a:pt x="43831" y="62034"/>
                  </a:moveTo>
                  <a:lnTo>
                    <a:pt x="171778" y="62034"/>
                  </a:lnTo>
                  <a:lnTo>
                    <a:pt x="159235" y="37573"/>
                  </a:lnTo>
                  <a:cubicBezTo>
                    <a:pt x="125994" y="48236"/>
                    <a:pt x="89616" y="48236"/>
                    <a:pt x="55748" y="37573"/>
                  </a:cubicBezTo>
                  <a:lnTo>
                    <a:pt x="43831" y="62034"/>
                  </a:lnTo>
                  <a:lnTo>
                    <a:pt x="43831" y="62034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82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10479654" y="532151"/>
            <a:ext cx="399521" cy="397638"/>
            <a:chOff x="10479654" y="532151"/>
            <a:chExt cx="399521" cy="397638"/>
          </a:xfrm>
          <a:solidFill>
            <a:srgbClr val="B1B1A1"/>
          </a:solidFill>
        </p:grpSpPr>
        <p:sp>
          <p:nvSpPr>
            <p:cNvPr id="183" name="Forma Livre: Forma 182">
              <a:extLst>
                <a:ext uri="{FF2B5EF4-FFF2-40B4-BE49-F238E27FC236}">
                  <a16:creationId xmlns:a16="http://schemas.microsoft.com/office/drawing/2014/main" id="{15C1A019-25B8-4401-8730-3562B4A8D5BE}"/>
                </a:ext>
              </a:extLst>
            </p:cNvPr>
            <p:cNvSpPr/>
            <p:nvPr/>
          </p:nvSpPr>
          <p:spPr>
            <a:xfrm>
              <a:off x="10479654" y="532778"/>
              <a:ext cx="163069" cy="163069"/>
            </a:xfrm>
            <a:custGeom>
              <a:avLst/>
              <a:gdLst>
                <a:gd name="connsiteX0" fmla="*/ 16935 w 163069"/>
                <a:gd name="connsiteY0" fmla="*/ 163070 h 163069"/>
                <a:gd name="connsiteX1" fmla="*/ 0 w 163069"/>
                <a:gd name="connsiteY1" fmla="*/ 146135 h 163069"/>
                <a:gd name="connsiteX2" fmla="*/ 0 w 163069"/>
                <a:gd name="connsiteY2" fmla="*/ 16934 h 163069"/>
                <a:gd name="connsiteX3" fmla="*/ 16935 w 163069"/>
                <a:gd name="connsiteY3" fmla="*/ 0 h 163069"/>
                <a:gd name="connsiteX4" fmla="*/ 146136 w 163069"/>
                <a:gd name="connsiteY4" fmla="*/ 0 h 163069"/>
                <a:gd name="connsiteX5" fmla="*/ 163070 w 163069"/>
                <a:gd name="connsiteY5" fmla="*/ 16934 h 163069"/>
                <a:gd name="connsiteX6" fmla="*/ 146136 w 163069"/>
                <a:gd name="connsiteY6" fmla="*/ 33868 h 163069"/>
                <a:gd name="connsiteX7" fmla="*/ 33241 w 163069"/>
                <a:gd name="connsiteY7" fmla="*/ 33868 h 163069"/>
                <a:gd name="connsiteX8" fmla="*/ 33241 w 163069"/>
                <a:gd name="connsiteY8" fmla="*/ 146763 h 163069"/>
                <a:gd name="connsiteX9" fmla="*/ 16935 w 163069"/>
                <a:gd name="connsiteY9" fmla="*/ 163070 h 163069"/>
                <a:gd name="connsiteX10" fmla="*/ 16935 w 163069"/>
                <a:gd name="connsiteY10" fmla="*/ 163070 h 163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3069" h="163069">
                  <a:moveTo>
                    <a:pt x="16935" y="163070"/>
                  </a:moveTo>
                  <a:cubicBezTo>
                    <a:pt x="7527" y="163070"/>
                    <a:pt x="0" y="155543"/>
                    <a:pt x="0" y="146135"/>
                  </a:cubicBezTo>
                  <a:lnTo>
                    <a:pt x="0" y="16934"/>
                  </a:lnTo>
                  <a:cubicBezTo>
                    <a:pt x="0" y="7526"/>
                    <a:pt x="7527" y="0"/>
                    <a:pt x="16935" y="0"/>
                  </a:cubicBezTo>
                  <a:lnTo>
                    <a:pt x="146136" y="0"/>
                  </a:lnTo>
                  <a:cubicBezTo>
                    <a:pt x="155544" y="0"/>
                    <a:pt x="163070" y="7526"/>
                    <a:pt x="163070" y="16934"/>
                  </a:cubicBezTo>
                  <a:cubicBezTo>
                    <a:pt x="163070" y="26342"/>
                    <a:pt x="155544" y="33868"/>
                    <a:pt x="146136" y="33868"/>
                  </a:cubicBezTo>
                  <a:lnTo>
                    <a:pt x="33241" y="33868"/>
                  </a:lnTo>
                  <a:lnTo>
                    <a:pt x="33241" y="146763"/>
                  </a:lnTo>
                  <a:cubicBezTo>
                    <a:pt x="33868" y="155543"/>
                    <a:pt x="26342" y="163070"/>
                    <a:pt x="16935" y="163070"/>
                  </a:cubicBezTo>
                  <a:lnTo>
                    <a:pt x="16935" y="163070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84" name="Forma Livre: Forma 183">
              <a:extLst>
                <a:ext uri="{FF2B5EF4-FFF2-40B4-BE49-F238E27FC236}">
                  <a16:creationId xmlns:a16="http://schemas.microsoft.com/office/drawing/2014/main" id="{8BC30DD6-5D7E-4723-B018-845FEAB2C68E}"/>
                </a:ext>
              </a:extLst>
            </p:cNvPr>
            <p:cNvSpPr/>
            <p:nvPr/>
          </p:nvSpPr>
          <p:spPr>
            <a:xfrm>
              <a:off x="10714850" y="532151"/>
              <a:ext cx="163069" cy="163696"/>
            </a:xfrm>
            <a:custGeom>
              <a:avLst/>
              <a:gdLst>
                <a:gd name="connsiteX0" fmla="*/ 146763 w 163069"/>
                <a:gd name="connsiteY0" fmla="*/ 163697 h 163696"/>
                <a:gd name="connsiteX1" fmla="*/ 129829 w 163069"/>
                <a:gd name="connsiteY1" fmla="*/ 146763 h 163696"/>
                <a:gd name="connsiteX2" fmla="*/ 129829 w 163069"/>
                <a:gd name="connsiteY2" fmla="*/ 33868 h 163696"/>
                <a:gd name="connsiteX3" fmla="*/ 16935 w 163069"/>
                <a:gd name="connsiteY3" fmla="*/ 33868 h 163696"/>
                <a:gd name="connsiteX4" fmla="*/ 0 w 163069"/>
                <a:gd name="connsiteY4" fmla="*/ 16934 h 163696"/>
                <a:gd name="connsiteX5" fmla="*/ 16935 w 163069"/>
                <a:gd name="connsiteY5" fmla="*/ 0 h 163696"/>
                <a:gd name="connsiteX6" fmla="*/ 146136 w 163069"/>
                <a:gd name="connsiteY6" fmla="*/ 0 h 163696"/>
                <a:gd name="connsiteX7" fmla="*/ 163070 w 163069"/>
                <a:gd name="connsiteY7" fmla="*/ 16934 h 163696"/>
                <a:gd name="connsiteX8" fmla="*/ 163070 w 163069"/>
                <a:gd name="connsiteY8" fmla="*/ 146135 h 163696"/>
                <a:gd name="connsiteX9" fmla="*/ 146763 w 163069"/>
                <a:gd name="connsiteY9" fmla="*/ 163697 h 163696"/>
                <a:gd name="connsiteX10" fmla="*/ 146763 w 163069"/>
                <a:gd name="connsiteY10" fmla="*/ 163697 h 163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3069" h="163696">
                  <a:moveTo>
                    <a:pt x="146763" y="163697"/>
                  </a:moveTo>
                  <a:cubicBezTo>
                    <a:pt x="137355" y="163697"/>
                    <a:pt x="129829" y="156171"/>
                    <a:pt x="129829" y="146763"/>
                  </a:cubicBezTo>
                  <a:lnTo>
                    <a:pt x="129829" y="33868"/>
                  </a:lnTo>
                  <a:lnTo>
                    <a:pt x="16935" y="33868"/>
                  </a:lnTo>
                  <a:cubicBezTo>
                    <a:pt x="7527" y="33868"/>
                    <a:pt x="0" y="26342"/>
                    <a:pt x="0" y="16934"/>
                  </a:cubicBezTo>
                  <a:cubicBezTo>
                    <a:pt x="0" y="7526"/>
                    <a:pt x="7527" y="0"/>
                    <a:pt x="16935" y="0"/>
                  </a:cubicBezTo>
                  <a:lnTo>
                    <a:pt x="146136" y="0"/>
                  </a:lnTo>
                  <a:cubicBezTo>
                    <a:pt x="155544" y="0"/>
                    <a:pt x="163070" y="7526"/>
                    <a:pt x="163070" y="16934"/>
                  </a:cubicBezTo>
                  <a:lnTo>
                    <a:pt x="163070" y="146135"/>
                  </a:lnTo>
                  <a:cubicBezTo>
                    <a:pt x="163070" y="156171"/>
                    <a:pt x="156171" y="163697"/>
                    <a:pt x="146763" y="163697"/>
                  </a:cubicBezTo>
                  <a:lnTo>
                    <a:pt x="146763" y="163697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85" name="Forma Livre: Forma 184">
              <a:extLst>
                <a:ext uri="{FF2B5EF4-FFF2-40B4-BE49-F238E27FC236}">
                  <a16:creationId xmlns:a16="http://schemas.microsoft.com/office/drawing/2014/main" id="{8CD51366-465F-4EBE-A0B2-9B2755043A15}"/>
                </a:ext>
              </a:extLst>
            </p:cNvPr>
            <p:cNvSpPr/>
            <p:nvPr/>
          </p:nvSpPr>
          <p:spPr>
            <a:xfrm>
              <a:off x="10479654" y="766721"/>
              <a:ext cx="163696" cy="163069"/>
            </a:xfrm>
            <a:custGeom>
              <a:avLst/>
              <a:gdLst>
                <a:gd name="connsiteX0" fmla="*/ 146136 w 163696"/>
                <a:gd name="connsiteY0" fmla="*/ 163070 h 163069"/>
                <a:gd name="connsiteX1" fmla="*/ 16935 w 163696"/>
                <a:gd name="connsiteY1" fmla="*/ 163070 h 163069"/>
                <a:gd name="connsiteX2" fmla="*/ 0 w 163696"/>
                <a:gd name="connsiteY2" fmla="*/ 146135 h 163069"/>
                <a:gd name="connsiteX3" fmla="*/ 0 w 163696"/>
                <a:gd name="connsiteY3" fmla="*/ 16934 h 163069"/>
                <a:gd name="connsiteX4" fmla="*/ 16935 w 163696"/>
                <a:gd name="connsiteY4" fmla="*/ 0 h 163069"/>
                <a:gd name="connsiteX5" fmla="*/ 33868 w 163696"/>
                <a:gd name="connsiteY5" fmla="*/ 16934 h 163069"/>
                <a:gd name="connsiteX6" fmla="*/ 33868 w 163696"/>
                <a:gd name="connsiteY6" fmla="*/ 129828 h 163069"/>
                <a:gd name="connsiteX7" fmla="*/ 146763 w 163696"/>
                <a:gd name="connsiteY7" fmla="*/ 129828 h 163069"/>
                <a:gd name="connsiteX8" fmla="*/ 163697 w 163696"/>
                <a:gd name="connsiteY8" fmla="*/ 146763 h 163069"/>
                <a:gd name="connsiteX9" fmla="*/ 146136 w 163696"/>
                <a:gd name="connsiteY9" fmla="*/ 163070 h 163069"/>
                <a:gd name="connsiteX10" fmla="*/ 146136 w 163696"/>
                <a:gd name="connsiteY10" fmla="*/ 163070 h 163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3696" h="163069">
                  <a:moveTo>
                    <a:pt x="146136" y="163070"/>
                  </a:moveTo>
                  <a:lnTo>
                    <a:pt x="16935" y="163070"/>
                  </a:lnTo>
                  <a:cubicBezTo>
                    <a:pt x="7527" y="163070"/>
                    <a:pt x="0" y="155543"/>
                    <a:pt x="0" y="146135"/>
                  </a:cubicBezTo>
                  <a:lnTo>
                    <a:pt x="0" y="16934"/>
                  </a:lnTo>
                  <a:cubicBezTo>
                    <a:pt x="0" y="7526"/>
                    <a:pt x="7527" y="0"/>
                    <a:pt x="16935" y="0"/>
                  </a:cubicBezTo>
                  <a:cubicBezTo>
                    <a:pt x="26342" y="0"/>
                    <a:pt x="33868" y="7526"/>
                    <a:pt x="33868" y="16934"/>
                  </a:cubicBezTo>
                  <a:lnTo>
                    <a:pt x="33868" y="129828"/>
                  </a:lnTo>
                  <a:lnTo>
                    <a:pt x="146763" y="129828"/>
                  </a:lnTo>
                  <a:cubicBezTo>
                    <a:pt x="156171" y="129828"/>
                    <a:pt x="163697" y="137355"/>
                    <a:pt x="163697" y="146763"/>
                  </a:cubicBezTo>
                  <a:cubicBezTo>
                    <a:pt x="163070" y="155543"/>
                    <a:pt x="155544" y="163070"/>
                    <a:pt x="146136" y="163070"/>
                  </a:cubicBezTo>
                  <a:lnTo>
                    <a:pt x="146136" y="163070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86" name="Forma Livre: Forma 185">
              <a:extLst>
                <a:ext uri="{FF2B5EF4-FFF2-40B4-BE49-F238E27FC236}">
                  <a16:creationId xmlns:a16="http://schemas.microsoft.com/office/drawing/2014/main" id="{148ACE10-0E9E-43BD-B941-B7A7044E72EE}"/>
                </a:ext>
              </a:extLst>
            </p:cNvPr>
            <p:cNvSpPr/>
            <p:nvPr/>
          </p:nvSpPr>
          <p:spPr>
            <a:xfrm>
              <a:off x="10715477" y="766093"/>
              <a:ext cx="163697" cy="163696"/>
            </a:xfrm>
            <a:custGeom>
              <a:avLst/>
              <a:gdLst>
                <a:gd name="connsiteX0" fmla="*/ 146136 w 163697"/>
                <a:gd name="connsiteY0" fmla="*/ 163697 h 163696"/>
                <a:gd name="connsiteX1" fmla="*/ 16935 w 163697"/>
                <a:gd name="connsiteY1" fmla="*/ 163697 h 163696"/>
                <a:gd name="connsiteX2" fmla="*/ 0 w 163697"/>
                <a:gd name="connsiteY2" fmla="*/ 146763 h 163696"/>
                <a:gd name="connsiteX3" fmla="*/ 16935 w 163697"/>
                <a:gd name="connsiteY3" fmla="*/ 129828 h 163696"/>
                <a:gd name="connsiteX4" fmla="*/ 129829 w 163697"/>
                <a:gd name="connsiteY4" fmla="*/ 129828 h 163696"/>
                <a:gd name="connsiteX5" fmla="*/ 129829 w 163697"/>
                <a:gd name="connsiteY5" fmla="*/ 16934 h 163696"/>
                <a:gd name="connsiteX6" fmla="*/ 146763 w 163697"/>
                <a:gd name="connsiteY6" fmla="*/ 0 h 163696"/>
                <a:gd name="connsiteX7" fmla="*/ 163697 w 163697"/>
                <a:gd name="connsiteY7" fmla="*/ 16934 h 163696"/>
                <a:gd name="connsiteX8" fmla="*/ 163697 w 163697"/>
                <a:gd name="connsiteY8" fmla="*/ 146135 h 163696"/>
                <a:gd name="connsiteX9" fmla="*/ 146136 w 163697"/>
                <a:gd name="connsiteY9" fmla="*/ 163697 h 163696"/>
                <a:gd name="connsiteX10" fmla="*/ 146136 w 163697"/>
                <a:gd name="connsiteY10" fmla="*/ 163697 h 163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3697" h="163696">
                  <a:moveTo>
                    <a:pt x="146136" y="163697"/>
                  </a:moveTo>
                  <a:lnTo>
                    <a:pt x="16935" y="163697"/>
                  </a:lnTo>
                  <a:cubicBezTo>
                    <a:pt x="7527" y="163697"/>
                    <a:pt x="0" y="156170"/>
                    <a:pt x="0" y="146763"/>
                  </a:cubicBezTo>
                  <a:cubicBezTo>
                    <a:pt x="0" y="137355"/>
                    <a:pt x="7527" y="129828"/>
                    <a:pt x="16935" y="129828"/>
                  </a:cubicBezTo>
                  <a:lnTo>
                    <a:pt x="129829" y="129828"/>
                  </a:lnTo>
                  <a:lnTo>
                    <a:pt x="129829" y="16934"/>
                  </a:lnTo>
                  <a:cubicBezTo>
                    <a:pt x="129829" y="7526"/>
                    <a:pt x="137355" y="0"/>
                    <a:pt x="146763" y="0"/>
                  </a:cubicBezTo>
                  <a:cubicBezTo>
                    <a:pt x="156171" y="0"/>
                    <a:pt x="163697" y="7526"/>
                    <a:pt x="163697" y="16934"/>
                  </a:cubicBezTo>
                  <a:lnTo>
                    <a:pt x="163697" y="146135"/>
                  </a:lnTo>
                  <a:cubicBezTo>
                    <a:pt x="162443" y="156170"/>
                    <a:pt x="155544" y="163697"/>
                    <a:pt x="146136" y="163697"/>
                  </a:cubicBezTo>
                  <a:lnTo>
                    <a:pt x="146136" y="163697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87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2326801" y="562884"/>
            <a:ext cx="393248" cy="337428"/>
            <a:chOff x="2326801" y="562884"/>
            <a:chExt cx="393248" cy="337428"/>
          </a:xfrm>
          <a:solidFill>
            <a:srgbClr val="B1B1A1"/>
          </a:solidFill>
        </p:grpSpPr>
        <p:sp>
          <p:nvSpPr>
            <p:cNvPr id="188" name="Forma Livre: Forma 187">
              <a:extLst>
                <a:ext uri="{FF2B5EF4-FFF2-40B4-BE49-F238E27FC236}">
                  <a16:creationId xmlns:a16="http://schemas.microsoft.com/office/drawing/2014/main" id="{4BDCAFCC-E59B-43B8-BF87-D41C578B70EB}"/>
                </a:ext>
              </a:extLst>
            </p:cNvPr>
            <p:cNvSpPr/>
            <p:nvPr/>
          </p:nvSpPr>
          <p:spPr>
            <a:xfrm>
              <a:off x="2326801" y="682677"/>
              <a:ext cx="303560" cy="217635"/>
            </a:xfrm>
            <a:custGeom>
              <a:avLst/>
              <a:gdLst>
                <a:gd name="connsiteX0" fmla="*/ 270319 w 303560"/>
                <a:gd name="connsiteY0" fmla="*/ 217635 h 217635"/>
                <a:gd name="connsiteX1" fmla="*/ 33241 w 303560"/>
                <a:gd name="connsiteY1" fmla="*/ 217635 h 217635"/>
                <a:gd name="connsiteX2" fmla="*/ 0 w 303560"/>
                <a:gd name="connsiteY2" fmla="*/ 184394 h 217635"/>
                <a:gd name="connsiteX3" fmla="*/ 0 w 303560"/>
                <a:gd name="connsiteY3" fmla="*/ 33241 h 217635"/>
                <a:gd name="connsiteX4" fmla="*/ 33241 w 303560"/>
                <a:gd name="connsiteY4" fmla="*/ 0 h 217635"/>
                <a:gd name="connsiteX5" fmla="*/ 270319 w 303560"/>
                <a:gd name="connsiteY5" fmla="*/ 0 h 217635"/>
                <a:gd name="connsiteX6" fmla="*/ 303560 w 303560"/>
                <a:gd name="connsiteY6" fmla="*/ 33241 h 217635"/>
                <a:gd name="connsiteX7" fmla="*/ 303560 w 303560"/>
                <a:gd name="connsiteY7" fmla="*/ 185021 h 217635"/>
                <a:gd name="connsiteX8" fmla="*/ 270319 w 303560"/>
                <a:gd name="connsiteY8" fmla="*/ 217635 h 217635"/>
                <a:gd name="connsiteX9" fmla="*/ 270319 w 303560"/>
                <a:gd name="connsiteY9" fmla="*/ 217635 h 217635"/>
                <a:gd name="connsiteX10" fmla="*/ 33241 w 303560"/>
                <a:gd name="connsiteY10" fmla="*/ 33241 h 217635"/>
                <a:gd name="connsiteX11" fmla="*/ 33241 w 303560"/>
                <a:gd name="connsiteY11" fmla="*/ 185021 h 217635"/>
                <a:gd name="connsiteX12" fmla="*/ 270319 w 303560"/>
                <a:gd name="connsiteY12" fmla="*/ 185021 h 217635"/>
                <a:gd name="connsiteX13" fmla="*/ 270319 w 303560"/>
                <a:gd name="connsiteY13" fmla="*/ 33241 h 217635"/>
                <a:gd name="connsiteX14" fmla="*/ 33241 w 303560"/>
                <a:gd name="connsiteY14" fmla="*/ 33241 h 217635"/>
                <a:gd name="connsiteX15" fmla="*/ 33241 w 303560"/>
                <a:gd name="connsiteY15" fmla="*/ 33241 h 217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3560" h="217635">
                  <a:moveTo>
                    <a:pt x="270319" y="217635"/>
                  </a:moveTo>
                  <a:lnTo>
                    <a:pt x="33241" y="217635"/>
                  </a:lnTo>
                  <a:cubicBezTo>
                    <a:pt x="15053" y="217635"/>
                    <a:pt x="0" y="202583"/>
                    <a:pt x="0" y="184394"/>
                  </a:cubicBezTo>
                  <a:lnTo>
                    <a:pt x="0" y="33241"/>
                  </a:lnTo>
                  <a:cubicBezTo>
                    <a:pt x="0" y="15053"/>
                    <a:pt x="15053" y="0"/>
                    <a:pt x="33241" y="0"/>
                  </a:cubicBezTo>
                  <a:lnTo>
                    <a:pt x="270319" y="0"/>
                  </a:lnTo>
                  <a:cubicBezTo>
                    <a:pt x="288508" y="0"/>
                    <a:pt x="303560" y="15053"/>
                    <a:pt x="303560" y="33241"/>
                  </a:cubicBezTo>
                  <a:lnTo>
                    <a:pt x="303560" y="185021"/>
                  </a:lnTo>
                  <a:cubicBezTo>
                    <a:pt x="303560" y="203210"/>
                    <a:pt x="288508" y="217635"/>
                    <a:pt x="270319" y="217635"/>
                  </a:cubicBezTo>
                  <a:lnTo>
                    <a:pt x="270319" y="217635"/>
                  </a:lnTo>
                  <a:close/>
                  <a:moveTo>
                    <a:pt x="33241" y="33241"/>
                  </a:moveTo>
                  <a:lnTo>
                    <a:pt x="33241" y="185021"/>
                  </a:lnTo>
                  <a:lnTo>
                    <a:pt x="270319" y="185021"/>
                  </a:lnTo>
                  <a:lnTo>
                    <a:pt x="270319" y="33241"/>
                  </a:lnTo>
                  <a:lnTo>
                    <a:pt x="33241" y="33241"/>
                  </a:lnTo>
                  <a:lnTo>
                    <a:pt x="33241" y="33241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89" name="Forma Livre: Forma 188">
              <a:extLst>
                <a:ext uri="{FF2B5EF4-FFF2-40B4-BE49-F238E27FC236}">
                  <a16:creationId xmlns:a16="http://schemas.microsoft.com/office/drawing/2014/main" id="{6542634C-8859-4B2C-9B54-915350D3FD29}"/>
                </a:ext>
              </a:extLst>
            </p:cNvPr>
            <p:cNvSpPr/>
            <p:nvPr/>
          </p:nvSpPr>
          <p:spPr>
            <a:xfrm>
              <a:off x="2595238" y="684003"/>
              <a:ext cx="124810" cy="215054"/>
            </a:xfrm>
            <a:custGeom>
              <a:avLst/>
              <a:gdLst>
                <a:gd name="connsiteX0" fmla="*/ 107877 w 124810"/>
                <a:gd name="connsiteY0" fmla="*/ 215055 h 215054"/>
                <a:gd name="connsiteX1" fmla="*/ 100351 w 124810"/>
                <a:gd name="connsiteY1" fmla="*/ 213173 h 215054"/>
                <a:gd name="connsiteX2" fmla="*/ 9408 w 124810"/>
                <a:gd name="connsiteY2" fmla="*/ 168015 h 215054"/>
                <a:gd name="connsiteX3" fmla="*/ 0 w 124810"/>
                <a:gd name="connsiteY3" fmla="*/ 152963 h 215054"/>
                <a:gd name="connsiteX4" fmla="*/ 0 w 124810"/>
                <a:gd name="connsiteY4" fmla="*/ 62020 h 215054"/>
                <a:gd name="connsiteX5" fmla="*/ 9408 w 124810"/>
                <a:gd name="connsiteY5" fmla="*/ 46967 h 215054"/>
                <a:gd name="connsiteX6" fmla="*/ 100351 w 124810"/>
                <a:gd name="connsiteY6" fmla="*/ 1810 h 215054"/>
                <a:gd name="connsiteX7" fmla="*/ 116658 w 124810"/>
                <a:gd name="connsiteY7" fmla="*/ 2437 h 215054"/>
                <a:gd name="connsiteX8" fmla="*/ 124811 w 124810"/>
                <a:gd name="connsiteY8" fmla="*/ 16862 h 215054"/>
                <a:gd name="connsiteX9" fmla="*/ 124811 w 124810"/>
                <a:gd name="connsiteY9" fmla="*/ 198120 h 215054"/>
                <a:gd name="connsiteX10" fmla="*/ 116658 w 124810"/>
                <a:gd name="connsiteY10" fmla="*/ 212546 h 215054"/>
                <a:gd name="connsiteX11" fmla="*/ 107877 w 124810"/>
                <a:gd name="connsiteY11" fmla="*/ 215055 h 215054"/>
                <a:gd name="connsiteX12" fmla="*/ 107877 w 124810"/>
                <a:gd name="connsiteY12" fmla="*/ 215055 h 215054"/>
                <a:gd name="connsiteX13" fmla="*/ 33868 w 124810"/>
                <a:gd name="connsiteY13" fmla="*/ 142300 h 215054"/>
                <a:gd name="connsiteX14" fmla="*/ 91570 w 124810"/>
                <a:gd name="connsiteY14" fmla="*/ 171151 h 215054"/>
                <a:gd name="connsiteX15" fmla="*/ 91570 w 124810"/>
                <a:gd name="connsiteY15" fmla="*/ 43831 h 215054"/>
                <a:gd name="connsiteX16" fmla="*/ 33868 w 124810"/>
                <a:gd name="connsiteY16" fmla="*/ 72682 h 215054"/>
                <a:gd name="connsiteX17" fmla="*/ 33868 w 124810"/>
                <a:gd name="connsiteY17" fmla="*/ 142300 h 215054"/>
                <a:gd name="connsiteX18" fmla="*/ 33868 w 124810"/>
                <a:gd name="connsiteY18" fmla="*/ 142300 h 215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4810" h="215054">
                  <a:moveTo>
                    <a:pt x="107877" y="215055"/>
                  </a:moveTo>
                  <a:cubicBezTo>
                    <a:pt x="105368" y="215055"/>
                    <a:pt x="102859" y="214427"/>
                    <a:pt x="100351" y="213173"/>
                  </a:cubicBezTo>
                  <a:lnTo>
                    <a:pt x="9408" y="168015"/>
                  </a:lnTo>
                  <a:cubicBezTo>
                    <a:pt x="3763" y="165507"/>
                    <a:pt x="0" y="159235"/>
                    <a:pt x="0" y="152963"/>
                  </a:cubicBezTo>
                  <a:lnTo>
                    <a:pt x="0" y="62020"/>
                  </a:lnTo>
                  <a:cubicBezTo>
                    <a:pt x="0" y="55748"/>
                    <a:pt x="3763" y="50103"/>
                    <a:pt x="9408" y="46967"/>
                  </a:cubicBezTo>
                  <a:lnTo>
                    <a:pt x="100351" y="1810"/>
                  </a:lnTo>
                  <a:cubicBezTo>
                    <a:pt x="105368" y="-699"/>
                    <a:pt x="111640" y="-699"/>
                    <a:pt x="116658" y="2437"/>
                  </a:cubicBezTo>
                  <a:cubicBezTo>
                    <a:pt x="121675" y="5573"/>
                    <a:pt x="124811" y="10590"/>
                    <a:pt x="124811" y="16862"/>
                  </a:cubicBezTo>
                  <a:lnTo>
                    <a:pt x="124811" y="198120"/>
                  </a:lnTo>
                  <a:cubicBezTo>
                    <a:pt x="124811" y="203765"/>
                    <a:pt x="121675" y="209410"/>
                    <a:pt x="116658" y="212546"/>
                  </a:cubicBezTo>
                  <a:cubicBezTo>
                    <a:pt x="114149" y="213800"/>
                    <a:pt x="111013" y="215055"/>
                    <a:pt x="107877" y="215055"/>
                  </a:cubicBezTo>
                  <a:lnTo>
                    <a:pt x="107877" y="215055"/>
                  </a:lnTo>
                  <a:close/>
                  <a:moveTo>
                    <a:pt x="33868" y="142300"/>
                  </a:moveTo>
                  <a:lnTo>
                    <a:pt x="91570" y="171151"/>
                  </a:lnTo>
                  <a:lnTo>
                    <a:pt x="91570" y="43831"/>
                  </a:lnTo>
                  <a:lnTo>
                    <a:pt x="33868" y="72682"/>
                  </a:lnTo>
                  <a:lnTo>
                    <a:pt x="33868" y="142300"/>
                  </a:lnTo>
                  <a:lnTo>
                    <a:pt x="33868" y="142300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90" name="Forma Livre: Forma 189">
              <a:extLst>
                <a:ext uri="{FF2B5EF4-FFF2-40B4-BE49-F238E27FC236}">
                  <a16:creationId xmlns:a16="http://schemas.microsoft.com/office/drawing/2014/main" id="{0EAD9631-5A16-4386-99B3-074B6499BF41}"/>
                </a:ext>
              </a:extLst>
            </p:cNvPr>
            <p:cNvSpPr/>
            <p:nvPr/>
          </p:nvSpPr>
          <p:spPr>
            <a:xfrm>
              <a:off x="2334954" y="562884"/>
              <a:ext cx="146762" cy="146762"/>
            </a:xfrm>
            <a:custGeom>
              <a:avLst/>
              <a:gdLst>
                <a:gd name="connsiteX0" fmla="*/ 73381 w 146762"/>
                <a:gd name="connsiteY0" fmla="*/ 146763 h 146762"/>
                <a:gd name="connsiteX1" fmla="*/ 0 w 146762"/>
                <a:gd name="connsiteY1" fmla="*/ 73381 h 146762"/>
                <a:gd name="connsiteX2" fmla="*/ 73381 w 146762"/>
                <a:gd name="connsiteY2" fmla="*/ 0 h 146762"/>
                <a:gd name="connsiteX3" fmla="*/ 146763 w 146762"/>
                <a:gd name="connsiteY3" fmla="*/ 73381 h 146762"/>
                <a:gd name="connsiteX4" fmla="*/ 73381 w 146762"/>
                <a:gd name="connsiteY4" fmla="*/ 146763 h 146762"/>
                <a:gd name="connsiteX5" fmla="*/ 73381 w 146762"/>
                <a:gd name="connsiteY5" fmla="*/ 146763 h 146762"/>
                <a:gd name="connsiteX6" fmla="*/ 73381 w 146762"/>
                <a:gd name="connsiteY6" fmla="*/ 32614 h 146762"/>
                <a:gd name="connsiteX7" fmla="*/ 33241 w 146762"/>
                <a:gd name="connsiteY7" fmla="*/ 72754 h 146762"/>
                <a:gd name="connsiteX8" fmla="*/ 73381 w 146762"/>
                <a:gd name="connsiteY8" fmla="*/ 112894 h 146762"/>
                <a:gd name="connsiteX9" fmla="*/ 113522 w 146762"/>
                <a:gd name="connsiteY9" fmla="*/ 72754 h 146762"/>
                <a:gd name="connsiteX10" fmla="*/ 73381 w 146762"/>
                <a:gd name="connsiteY10" fmla="*/ 32614 h 146762"/>
                <a:gd name="connsiteX11" fmla="*/ 73381 w 146762"/>
                <a:gd name="connsiteY11" fmla="*/ 32614 h 146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6762" h="146762">
                  <a:moveTo>
                    <a:pt x="73381" y="146763"/>
                  </a:moveTo>
                  <a:cubicBezTo>
                    <a:pt x="32614" y="146763"/>
                    <a:pt x="0" y="113522"/>
                    <a:pt x="0" y="73381"/>
                  </a:cubicBezTo>
                  <a:cubicBezTo>
                    <a:pt x="0" y="32614"/>
                    <a:pt x="33241" y="0"/>
                    <a:pt x="73381" y="0"/>
                  </a:cubicBezTo>
                  <a:cubicBezTo>
                    <a:pt x="114149" y="0"/>
                    <a:pt x="146763" y="33241"/>
                    <a:pt x="146763" y="73381"/>
                  </a:cubicBezTo>
                  <a:cubicBezTo>
                    <a:pt x="146763" y="113522"/>
                    <a:pt x="113522" y="146763"/>
                    <a:pt x="73381" y="146763"/>
                  </a:cubicBezTo>
                  <a:lnTo>
                    <a:pt x="73381" y="146763"/>
                  </a:lnTo>
                  <a:close/>
                  <a:moveTo>
                    <a:pt x="73381" y="32614"/>
                  </a:moveTo>
                  <a:cubicBezTo>
                    <a:pt x="51430" y="32614"/>
                    <a:pt x="33241" y="50802"/>
                    <a:pt x="33241" y="72754"/>
                  </a:cubicBezTo>
                  <a:cubicBezTo>
                    <a:pt x="33241" y="94706"/>
                    <a:pt x="51430" y="112894"/>
                    <a:pt x="73381" y="112894"/>
                  </a:cubicBezTo>
                  <a:cubicBezTo>
                    <a:pt x="95333" y="112894"/>
                    <a:pt x="113522" y="94706"/>
                    <a:pt x="113522" y="72754"/>
                  </a:cubicBezTo>
                  <a:cubicBezTo>
                    <a:pt x="113522" y="50802"/>
                    <a:pt x="95333" y="32614"/>
                    <a:pt x="73381" y="32614"/>
                  </a:cubicBezTo>
                  <a:lnTo>
                    <a:pt x="73381" y="32614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91" name="Forma Livre: Forma 190">
              <a:extLst>
                <a:ext uri="{FF2B5EF4-FFF2-40B4-BE49-F238E27FC236}">
                  <a16:creationId xmlns:a16="http://schemas.microsoft.com/office/drawing/2014/main" id="{18C413C5-F9C9-4E3E-A48D-E8E8B7D1B76E}"/>
                </a:ext>
              </a:extLst>
            </p:cNvPr>
            <p:cNvSpPr/>
            <p:nvPr/>
          </p:nvSpPr>
          <p:spPr>
            <a:xfrm>
              <a:off x="2457256" y="562884"/>
              <a:ext cx="146762" cy="146762"/>
            </a:xfrm>
            <a:custGeom>
              <a:avLst/>
              <a:gdLst>
                <a:gd name="connsiteX0" fmla="*/ 73381 w 146762"/>
                <a:gd name="connsiteY0" fmla="*/ 146763 h 146762"/>
                <a:gd name="connsiteX1" fmla="*/ 0 w 146762"/>
                <a:gd name="connsiteY1" fmla="*/ 73381 h 146762"/>
                <a:gd name="connsiteX2" fmla="*/ 73381 w 146762"/>
                <a:gd name="connsiteY2" fmla="*/ 0 h 146762"/>
                <a:gd name="connsiteX3" fmla="*/ 146763 w 146762"/>
                <a:gd name="connsiteY3" fmla="*/ 73381 h 146762"/>
                <a:gd name="connsiteX4" fmla="*/ 73381 w 146762"/>
                <a:gd name="connsiteY4" fmla="*/ 146763 h 146762"/>
                <a:gd name="connsiteX5" fmla="*/ 73381 w 146762"/>
                <a:gd name="connsiteY5" fmla="*/ 146763 h 146762"/>
                <a:gd name="connsiteX6" fmla="*/ 73381 w 146762"/>
                <a:gd name="connsiteY6" fmla="*/ 32614 h 146762"/>
                <a:gd name="connsiteX7" fmla="*/ 33241 w 146762"/>
                <a:gd name="connsiteY7" fmla="*/ 72754 h 146762"/>
                <a:gd name="connsiteX8" fmla="*/ 73381 w 146762"/>
                <a:gd name="connsiteY8" fmla="*/ 112894 h 146762"/>
                <a:gd name="connsiteX9" fmla="*/ 113522 w 146762"/>
                <a:gd name="connsiteY9" fmla="*/ 72754 h 146762"/>
                <a:gd name="connsiteX10" fmla="*/ 73381 w 146762"/>
                <a:gd name="connsiteY10" fmla="*/ 32614 h 146762"/>
                <a:gd name="connsiteX11" fmla="*/ 73381 w 146762"/>
                <a:gd name="connsiteY11" fmla="*/ 32614 h 146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6762" h="146762">
                  <a:moveTo>
                    <a:pt x="73381" y="146763"/>
                  </a:moveTo>
                  <a:cubicBezTo>
                    <a:pt x="32614" y="146763"/>
                    <a:pt x="0" y="113522"/>
                    <a:pt x="0" y="73381"/>
                  </a:cubicBezTo>
                  <a:cubicBezTo>
                    <a:pt x="0" y="32614"/>
                    <a:pt x="33241" y="0"/>
                    <a:pt x="73381" y="0"/>
                  </a:cubicBezTo>
                  <a:cubicBezTo>
                    <a:pt x="114149" y="0"/>
                    <a:pt x="146763" y="33241"/>
                    <a:pt x="146763" y="73381"/>
                  </a:cubicBezTo>
                  <a:cubicBezTo>
                    <a:pt x="146763" y="113522"/>
                    <a:pt x="113522" y="146763"/>
                    <a:pt x="73381" y="146763"/>
                  </a:cubicBezTo>
                  <a:lnTo>
                    <a:pt x="73381" y="146763"/>
                  </a:lnTo>
                  <a:close/>
                  <a:moveTo>
                    <a:pt x="73381" y="32614"/>
                  </a:moveTo>
                  <a:cubicBezTo>
                    <a:pt x="51430" y="32614"/>
                    <a:pt x="33241" y="50802"/>
                    <a:pt x="33241" y="72754"/>
                  </a:cubicBezTo>
                  <a:cubicBezTo>
                    <a:pt x="33241" y="94706"/>
                    <a:pt x="51430" y="112894"/>
                    <a:pt x="73381" y="112894"/>
                  </a:cubicBezTo>
                  <a:cubicBezTo>
                    <a:pt x="95333" y="112894"/>
                    <a:pt x="113522" y="94706"/>
                    <a:pt x="113522" y="72754"/>
                  </a:cubicBezTo>
                  <a:cubicBezTo>
                    <a:pt x="113522" y="50802"/>
                    <a:pt x="95333" y="32614"/>
                    <a:pt x="73381" y="32614"/>
                  </a:cubicBezTo>
                  <a:lnTo>
                    <a:pt x="73381" y="32614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sp>
        <p:nvSpPr>
          <p:cNvPr id="192" name="Forma Livre: Forma 191">
            <a:extLst>
              <a:ext uri="{FF2B5EF4-FFF2-40B4-BE49-F238E27FC236}">
                <a16:creationId xmlns:a16="http://schemas.microsoft.com/office/drawing/2014/main" id="{D9B965D9-8A81-4435-893A-6ECDF596D4ED}"/>
              </a:ext>
            </a:extLst>
          </p:cNvPr>
          <p:cNvSpPr/>
          <p:nvPr/>
        </p:nvSpPr>
        <p:spPr>
          <a:xfrm>
            <a:off x="1377108" y="4636601"/>
            <a:ext cx="248620" cy="430766"/>
          </a:xfrm>
          <a:custGeom>
            <a:avLst/>
            <a:gdLst>
              <a:gd name="connsiteX0" fmla="*/ 61591 w 248620"/>
              <a:gd name="connsiteY0" fmla="*/ 430767 h 430766"/>
              <a:gd name="connsiteX1" fmla="*/ 54065 w 248620"/>
              <a:gd name="connsiteY1" fmla="*/ 428885 h 430766"/>
              <a:gd name="connsiteX2" fmla="*/ 45284 w 248620"/>
              <a:gd name="connsiteY2" fmla="*/ 409442 h 430766"/>
              <a:gd name="connsiteX3" fmla="*/ 85424 w 248620"/>
              <a:gd name="connsiteY3" fmla="*/ 267070 h 430766"/>
              <a:gd name="connsiteX4" fmla="*/ 17060 w 248620"/>
              <a:gd name="connsiteY4" fmla="*/ 267070 h 430766"/>
              <a:gd name="connsiteX5" fmla="*/ 2008 w 248620"/>
              <a:gd name="connsiteY5" fmla="*/ 258289 h 430766"/>
              <a:gd name="connsiteX6" fmla="*/ 3262 w 248620"/>
              <a:gd name="connsiteY6" fmla="*/ 240728 h 430766"/>
              <a:gd name="connsiteX7" fmla="*/ 173858 w 248620"/>
              <a:gd name="connsiteY7" fmla="*/ 6786 h 430766"/>
              <a:gd name="connsiteX8" fmla="*/ 194555 w 248620"/>
              <a:gd name="connsiteY8" fmla="*/ 1768 h 430766"/>
              <a:gd name="connsiteX9" fmla="*/ 203336 w 248620"/>
              <a:gd name="connsiteY9" fmla="*/ 21211 h 430766"/>
              <a:gd name="connsiteX10" fmla="*/ 163196 w 248620"/>
              <a:gd name="connsiteY10" fmla="*/ 163583 h 430766"/>
              <a:gd name="connsiteX11" fmla="*/ 231560 w 248620"/>
              <a:gd name="connsiteY11" fmla="*/ 163583 h 430766"/>
              <a:gd name="connsiteX12" fmla="*/ 246612 w 248620"/>
              <a:gd name="connsiteY12" fmla="*/ 172364 h 430766"/>
              <a:gd name="connsiteX13" fmla="*/ 245358 w 248620"/>
              <a:gd name="connsiteY13" fmla="*/ 189925 h 430766"/>
              <a:gd name="connsiteX14" fmla="*/ 74762 w 248620"/>
              <a:gd name="connsiteY14" fmla="*/ 423868 h 430766"/>
              <a:gd name="connsiteX15" fmla="*/ 61591 w 248620"/>
              <a:gd name="connsiteY15" fmla="*/ 430767 h 430766"/>
              <a:gd name="connsiteX16" fmla="*/ 61591 w 248620"/>
              <a:gd name="connsiteY16" fmla="*/ 430767 h 430766"/>
              <a:gd name="connsiteX17" fmla="*/ 50302 w 248620"/>
              <a:gd name="connsiteY17" fmla="*/ 233202 h 430766"/>
              <a:gd name="connsiteX18" fmla="*/ 108003 w 248620"/>
              <a:gd name="connsiteY18" fmla="*/ 233202 h 430766"/>
              <a:gd name="connsiteX19" fmla="*/ 121174 w 248620"/>
              <a:gd name="connsiteY19" fmla="*/ 239473 h 430766"/>
              <a:gd name="connsiteX20" fmla="*/ 123683 w 248620"/>
              <a:gd name="connsiteY20" fmla="*/ 253899 h 430766"/>
              <a:gd name="connsiteX21" fmla="*/ 102986 w 248620"/>
              <a:gd name="connsiteY21" fmla="*/ 328535 h 430766"/>
              <a:gd name="connsiteX22" fmla="*/ 199573 w 248620"/>
              <a:gd name="connsiteY22" fmla="*/ 195570 h 430766"/>
              <a:gd name="connsiteX23" fmla="*/ 141871 w 248620"/>
              <a:gd name="connsiteY23" fmla="*/ 195570 h 430766"/>
              <a:gd name="connsiteX24" fmla="*/ 128700 w 248620"/>
              <a:gd name="connsiteY24" fmla="*/ 189298 h 430766"/>
              <a:gd name="connsiteX25" fmla="*/ 126192 w 248620"/>
              <a:gd name="connsiteY25" fmla="*/ 174873 h 430766"/>
              <a:gd name="connsiteX26" fmla="*/ 146889 w 248620"/>
              <a:gd name="connsiteY26" fmla="*/ 100237 h 430766"/>
              <a:gd name="connsiteX27" fmla="*/ 50302 w 248620"/>
              <a:gd name="connsiteY27" fmla="*/ 233202 h 430766"/>
              <a:gd name="connsiteX28" fmla="*/ 50302 w 248620"/>
              <a:gd name="connsiteY28" fmla="*/ 233202 h 4307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248620" h="430766">
                <a:moveTo>
                  <a:pt x="61591" y="430767"/>
                </a:moveTo>
                <a:cubicBezTo>
                  <a:pt x="59082" y="430767"/>
                  <a:pt x="56573" y="430140"/>
                  <a:pt x="54065" y="428885"/>
                </a:cubicBezTo>
                <a:cubicBezTo>
                  <a:pt x="46538" y="425122"/>
                  <a:pt x="43402" y="416968"/>
                  <a:pt x="45284" y="409442"/>
                </a:cubicBezTo>
                <a:lnTo>
                  <a:pt x="85424" y="267070"/>
                </a:lnTo>
                <a:lnTo>
                  <a:pt x="17060" y="267070"/>
                </a:lnTo>
                <a:cubicBezTo>
                  <a:pt x="10789" y="267070"/>
                  <a:pt x="5144" y="263307"/>
                  <a:pt x="2008" y="258289"/>
                </a:cubicBezTo>
                <a:cubicBezTo>
                  <a:pt x="-1128" y="252644"/>
                  <a:pt x="-501" y="245745"/>
                  <a:pt x="3262" y="240728"/>
                </a:cubicBezTo>
                <a:lnTo>
                  <a:pt x="173858" y="6786"/>
                </a:lnTo>
                <a:cubicBezTo>
                  <a:pt x="178876" y="514"/>
                  <a:pt x="187029" y="-1995"/>
                  <a:pt x="194555" y="1768"/>
                </a:cubicBezTo>
                <a:cubicBezTo>
                  <a:pt x="202082" y="5531"/>
                  <a:pt x="205218" y="13685"/>
                  <a:pt x="203336" y="21211"/>
                </a:cubicBezTo>
                <a:lnTo>
                  <a:pt x="163196" y="163583"/>
                </a:lnTo>
                <a:lnTo>
                  <a:pt x="231560" y="163583"/>
                </a:lnTo>
                <a:cubicBezTo>
                  <a:pt x="237832" y="163583"/>
                  <a:pt x="243476" y="167346"/>
                  <a:pt x="246612" y="172364"/>
                </a:cubicBezTo>
                <a:cubicBezTo>
                  <a:pt x="249748" y="178009"/>
                  <a:pt x="249121" y="184908"/>
                  <a:pt x="245358" y="189925"/>
                </a:cubicBezTo>
                <a:lnTo>
                  <a:pt x="74762" y="423868"/>
                </a:lnTo>
                <a:cubicBezTo>
                  <a:pt x="72253" y="428258"/>
                  <a:pt x="66609" y="430767"/>
                  <a:pt x="61591" y="430767"/>
                </a:cubicBezTo>
                <a:lnTo>
                  <a:pt x="61591" y="430767"/>
                </a:lnTo>
                <a:close/>
                <a:moveTo>
                  <a:pt x="50302" y="233202"/>
                </a:moveTo>
                <a:lnTo>
                  <a:pt x="108003" y="233202"/>
                </a:lnTo>
                <a:cubicBezTo>
                  <a:pt x="113021" y="233202"/>
                  <a:pt x="118038" y="235710"/>
                  <a:pt x="121174" y="239473"/>
                </a:cubicBezTo>
                <a:cubicBezTo>
                  <a:pt x="124310" y="243864"/>
                  <a:pt x="125564" y="248881"/>
                  <a:pt x="123683" y="253899"/>
                </a:cubicBezTo>
                <a:lnTo>
                  <a:pt x="102986" y="328535"/>
                </a:lnTo>
                <a:lnTo>
                  <a:pt x="199573" y="195570"/>
                </a:lnTo>
                <a:lnTo>
                  <a:pt x="141871" y="195570"/>
                </a:lnTo>
                <a:cubicBezTo>
                  <a:pt x="136854" y="195570"/>
                  <a:pt x="131836" y="193061"/>
                  <a:pt x="128700" y="189298"/>
                </a:cubicBezTo>
                <a:cubicBezTo>
                  <a:pt x="125564" y="184908"/>
                  <a:pt x="124310" y="179890"/>
                  <a:pt x="126192" y="174873"/>
                </a:cubicBezTo>
                <a:lnTo>
                  <a:pt x="146889" y="100237"/>
                </a:lnTo>
                <a:lnTo>
                  <a:pt x="50302" y="233202"/>
                </a:lnTo>
                <a:lnTo>
                  <a:pt x="50302" y="233202"/>
                </a:lnTo>
                <a:close/>
              </a:path>
            </a:pathLst>
          </a:custGeom>
          <a:solidFill>
            <a:srgbClr val="B1B1A1"/>
          </a:solidFill>
          <a:ln w="6269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grpSp>
        <p:nvGrpSpPr>
          <p:cNvPr id="193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1290642" y="2610034"/>
            <a:ext cx="421768" cy="375687"/>
            <a:chOff x="1290642" y="2610034"/>
            <a:chExt cx="421768" cy="375687"/>
          </a:xfrm>
          <a:solidFill>
            <a:srgbClr val="B1B1A1"/>
          </a:solidFill>
        </p:grpSpPr>
        <p:sp>
          <p:nvSpPr>
            <p:cNvPr id="194" name="Forma Livre: Forma 193">
              <a:extLst>
                <a:ext uri="{FF2B5EF4-FFF2-40B4-BE49-F238E27FC236}">
                  <a16:creationId xmlns:a16="http://schemas.microsoft.com/office/drawing/2014/main" id="{F1F319F7-E812-402E-BBBD-47262BF632AE}"/>
                </a:ext>
              </a:extLst>
            </p:cNvPr>
            <p:cNvSpPr/>
            <p:nvPr/>
          </p:nvSpPr>
          <p:spPr>
            <a:xfrm>
              <a:off x="1438699" y="2610034"/>
              <a:ext cx="206345" cy="206345"/>
            </a:xfrm>
            <a:custGeom>
              <a:avLst/>
              <a:gdLst>
                <a:gd name="connsiteX0" fmla="*/ 103486 w 206345"/>
                <a:gd name="connsiteY0" fmla="*/ 206346 h 206345"/>
                <a:gd name="connsiteX1" fmla="*/ 30105 w 206345"/>
                <a:gd name="connsiteY1" fmla="*/ 176240 h 206345"/>
                <a:gd name="connsiteX2" fmla="*/ 0 w 206345"/>
                <a:gd name="connsiteY2" fmla="*/ 102859 h 206345"/>
                <a:gd name="connsiteX3" fmla="*/ 30105 w 206345"/>
                <a:gd name="connsiteY3" fmla="*/ 30105 h 206345"/>
                <a:gd name="connsiteX4" fmla="*/ 103486 w 206345"/>
                <a:gd name="connsiteY4" fmla="*/ 0 h 206345"/>
                <a:gd name="connsiteX5" fmla="*/ 176241 w 206345"/>
                <a:gd name="connsiteY5" fmla="*/ 30105 h 206345"/>
                <a:gd name="connsiteX6" fmla="*/ 206346 w 206345"/>
                <a:gd name="connsiteY6" fmla="*/ 103486 h 206345"/>
                <a:gd name="connsiteX7" fmla="*/ 176241 w 206345"/>
                <a:gd name="connsiteY7" fmla="*/ 176868 h 206345"/>
                <a:gd name="connsiteX8" fmla="*/ 103486 w 206345"/>
                <a:gd name="connsiteY8" fmla="*/ 206346 h 206345"/>
                <a:gd name="connsiteX9" fmla="*/ 103486 w 206345"/>
                <a:gd name="connsiteY9" fmla="*/ 206346 h 206345"/>
                <a:gd name="connsiteX10" fmla="*/ 103486 w 206345"/>
                <a:gd name="connsiteY10" fmla="*/ 16307 h 206345"/>
                <a:gd name="connsiteX11" fmla="*/ 42022 w 206345"/>
                <a:gd name="connsiteY11" fmla="*/ 41394 h 206345"/>
                <a:gd name="connsiteX12" fmla="*/ 16307 w 206345"/>
                <a:gd name="connsiteY12" fmla="*/ 102859 h 206345"/>
                <a:gd name="connsiteX13" fmla="*/ 42022 w 206345"/>
                <a:gd name="connsiteY13" fmla="*/ 164324 h 206345"/>
                <a:gd name="connsiteX14" fmla="*/ 103486 w 206345"/>
                <a:gd name="connsiteY14" fmla="*/ 189412 h 206345"/>
                <a:gd name="connsiteX15" fmla="*/ 164951 w 206345"/>
                <a:gd name="connsiteY15" fmla="*/ 164324 h 206345"/>
                <a:gd name="connsiteX16" fmla="*/ 190039 w 206345"/>
                <a:gd name="connsiteY16" fmla="*/ 102859 h 206345"/>
                <a:gd name="connsiteX17" fmla="*/ 164951 w 206345"/>
                <a:gd name="connsiteY17" fmla="*/ 41394 h 206345"/>
                <a:gd name="connsiteX18" fmla="*/ 103486 w 206345"/>
                <a:gd name="connsiteY18" fmla="*/ 16307 h 206345"/>
                <a:gd name="connsiteX19" fmla="*/ 103486 w 206345"/>
                <a:gd name="connsiteY19" fmla="*/ 16307 h 206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06345" h="206345">
                  <a:moveTo>
                    <a:pt x="103486" y="206346"/>
                  </a:moveTo>
                  <a:cubicBezTo>
                    <a:pt x="75890" y="206346"/>
                    <a:pt x="50175" y="195683"/>
                    <a:pt x="30105" y="176240"/>
                  </a:cubicBezTo>
                  <a:cubicBezTo>
                    <a:pt x="10662" y="156798"/>
                    <a:pt x="0" y="130456"/>
                    <a:pt x="0" y="102859"/>
                  </a:cubicBezTo>
                  <a:cubicBezTo>
                    <a:pt x="0" y="75263"/>
                    <a:pt x="10662" y="49548"/>
                    <a:pt x="30105" y="30105"/>
                  </a:cubicBezTo>
                  <a:cubicBezTo>
                    <a:pt x="49548" y="10662"/>
                    <a:pt x="75890" y="0"/>
                    <a:pt x="103486" y="0"/>
                  </a:cubicBezTo>
                  <a:cubicBezTo>
                    <a:pt x="131083" y="0"/>
                    <a:pt x="156798" y="10662"/>
                    <a:pt x="176241" y="30105"/>
                  </a:cubicBezTo>
                  <a:cubicBezTo>
                    <a:pt x="195684" y="49548"/>
                    <a:pt x="206346" y="75263"/>
                    <a:pt x="206346" y="103486"/>
                  </a:cubicBezTo>
                  <a:cubicBezTo>
                    <a:pt x="206346" y="131083"/>
                    <a:pt x="195684" y="156798"/>
                    <a:pt x="176241" y="176868"/>
                  </a:cubicBezTo>
                  <a:cubicBezTo>
                    <a:pt x="156798" y="195683"/>
                    <a:pt x="131083" y="206346"/>
                    <a:pt x="103486" y="206346"/>
                  </a:cubicBezTo>
                  <a:lnTo>
                    <a:pt x="103486" y="206346"/>
                  </a:lnTo>
                  <a:close/>
                  <a:moveTo>
                    <a:pt x="103486" y="16307"/>
                  </a:moveTo>
                  <a:cubicBezTo>
                    <a:pt x="80280" y="16307"/>
                    <a:pt x="58329" y="25088"/>
                    <a:pt x="42022" y="41394"/>
                  </a:cubicBezTo>
                  <a:cubicBezTo>
                    <a:pt x="25715" y="57701"/>
                    <a:pt x="16307" y="79653"/>
                    <a:pt x="16307" y="102859"/>
                  </a:cubicBezTo>
                  <a:cubicBezTo>
                    <a:pt x="16307" y="126065"/>
                    <a:pt x="25088" y="148017"/>
                    <a:pt x="42022" y="164324"/>
                  </a:cubicBezTo>
                  <a:cubicBezTo>
                    <a:pt x="58329" y="180631"/>
                    <a:pt x="80280" y="189412"/>
                    <a:pt x="103486" y="189412"/>
                  </a:cubicBezTo>
                  <a:cubicBezTo>
                    <a:pt x="126693" y="189412"/>
                    <a:pt x="148644" y="180631"/>
                    <a:pt x="164951" y="164324"/>
                  </a:cubicBezTo>
                  <a:cubicBezTo>
                    <a:pt x="181258" y="148017"/>
                    <a:pt x="190039" y="126065"/>
                    <a:pt x="190039" y="102859"/>
                  </a:cubicBezTo>
                  <a:cubicBezTo>
                    <a:pt x="190039" y="79653"/>
                    <a:pt x="181258" y="57701"/>
                    <a:pt x="164951" y="41394"/>
                  </a:cubicBezTo>
                  <a:cubicBezTo>
                    <a:pt x="148017" y="25715"/>
                    <a:pt x="126693" y="16307"/>
                    <a:pt x="103486" y="16307"/>
                  </a:cubicBezTo>
                  <a:lnTo>
                    <a:pt x="103486" y="16307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95" name="Forma Livre: Forma 194">
              <a:extLst>
                <a:ext uri="{FF2B5EF4-FFF2-40B4-BE49-F238E27FC236}">
                  <a16:creationId xmlns:a16="http://schemas.microsoft.com/office/drawing/2014/main" id="{D9948413-C367-4421-B8F9-4D923A37BBD2}"/>
                </a:ext>
              </a:extLst>
            </p:cNvPr>
            <p:cNvSpPr/>
            <p:nvPr/>
          </p:nvSpPr>
          <p:spPr>
            <a:xfrm>
              <a:off x="1492951" y="2663659"/>
              <a:ext cx="98468" cy="98782"/>
            </a:xfrm>
            <a:custGeom>
              <a:avLst/>
              <a:gdLst>
                <a:gd name="connsiteX0" fmla="*/ 81848 w 98468"/>
                <a:gd name="connsiteY0" fmla="*/ 98783 h 98782"/>
                <a:gd name="connsiteX1" fmla="*/ 69932 w 98468"/>
                <a:gd name="connsiteY1" fmla="*/ 93765 h 98782"/>
                <a:gd name="connsiteX2" fmla="*/ 4704 w 98468"/>
                <a:gd name="connsiteY2" fmla="*/ 28537 h 98782"/>
                <a:gd name="connsiteX3" fmla="*/ 4704 w 98468"/>
                <a:gd name="connsiteY3" fmla="*/ 4704 h 98782"/>
                <a:gd name="connsiteX4" fmla="*/ 28537 w 98468"/>
                <a:gd name="connsiteY4" fmla="*/ 4704 h 98782"/>
                <a:gd name="connsiteX5" fmla="*/ 93765 w 98468"/>
                <a:gd name="connsiteY5" fmla="*/ 69932 h 98782"/>
                <a:gd name="connsiteX6" fmla="*/ 93765 w 98468"/>
                <a:gd name="connsiteY6" fmla="*/ 93765 h 98782"/>
                <a:gd name="connsiteX7" fmla="*/ 81848 w 98468"/>
                <a:gd name="connsiteY7" fmla="*/ 98783 h 98782"/>
                <a:gd name="connsiteX8" fmla="*/ 81848 w 98468"/>
                <a:gd name="connsiteY8" fmla="*/ 98783 h 98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8468" h="98782">
                  <a:moveTo>
                    <a:pt x="81848" y="98783"/>
                  </a:moveTo>
                  <a:cubicBezTo>
                    <a:pt x="77458" y="98783"/>
                    <a:pt x="73068" y="96901"/>
                    <a:pt x="69932" y="93765"/>
                  </a:cubicBezTo>
                  <a:lnTo>
                    <a:pt x="4704" y="28537"/>
                  </a:lnTo>
                  <a:cubicBezTo>
                    <a:pt x="-1568" y="22265"/>
                    <a:pt x="-1568" y="11603"/>
                    <a:pt x="4704" y="4704"/>
                  </a:cubicBezTo>
                  <a:cubicBezTo>
                    <a:pt x="10976" y="-1568"/>
                    <a:pt x="21638" y="-1568"/>
                    <a:pt x="28537" y="4704"/>
                  </a:cubicBezTo>
                  <a:lnTo>
                    <a:pt x="93765" y="69932"/>
                  </a:lnTo>
                  <a:cubicBezTo>
                    <a:pt x="100037" y="76204"/>
                    <a:pt x="100037" y="86866"/>
                    <a:pt x="93765" y="93765"/>
                  </a:cubicBezTo>
                  <a:cubicBezTo>
                    <a:pt x="90002" y="96901"/>
                    <a:pt x="85612" y="98783"/>
                    <a:pt x="81848" y="98783"/>
                  </a:cubicBezTo>
                  <a:lnTo>
                    <a:pt x="81848" y="98783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96" name="Forma Livre: Forma 195">
              <a:extLst>
                <a:ext uri="{FF2B5EF4-FFF2-40B4-BE49-F238E27FC236}">
                  <a16:creationId xmlns:a16="http://schemas.microsoft.com/office/drawing/2014/main" id="{77778CDA-D4A6-459D-A688-32BE35C51B0C}"/>
                </a:ext>
              </a:extLst>
            </p:cNvPr>
            <p:cNvSpPr/>
            <p:nvPr/>
          </p:nvSpPr>
          <p:spPr>
            <a:xfrm>
              <a:off x="1492951" y="2663659"/>
              <a:ext cx="98468" cy="98782"/>
            </a:xfrm>
            <a:custGeom>
              <a:avLst/>
              <a:gdLst>
                <a:gd name="connsiteX0" fmla="*/ 16621 w 98468"/>
                <a:gd name="connsiteY0" fmla="*/ 98783 h 98782"/>
                <a:gd name="connsiteX1" fmla="*/ 4704 w 98468"/>
                <a:gd name="connsiteY1" fmla="*/ 93765 h 98782"/>
                <a:gd name="connsiteX2" fmla="*/ 4704 w 98468"/>
                <a:gd name="connsiteY2" fmla="*/ 69932 h 98782"/>
                <a:gd name="connsiteX3" fmla="*/ 69932 w 98468"/>
                <a:gd name="connsiteY3" fmla="*/ 4704 h 98782"/>
                <a:gd name="connsiteX4" fmla="*/ 93765 w 98468"/>
                <a:gd name="connsiteY4" fmla="*/ 4704 h 98782"/>
                <a:gd name="connsiteX5" fmla="*/ 93765 w 98468"/>
                <a:gd name="connsiteY5" fmla="*/ 28537 h 98782"/>
                <a:gd name="connsiteX6" fmla="*/ 28537 w 98468"/>
                <a:gd name="connsiteY6" fmla="*/ 93765 h 98782"/>
                <a:gd name="connsiteX7" fmla="*/ 16621 w 98468"/>
                <a:gd name="connsiteY7" fmla="*/ 98783 h 98782"/>
                <a:gd name="connsiteX8" fmla="*/ 16621 w 98468"/>
                <a:gd name="connsiteY8" fmla="*/ 98783 h 98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8468" h="98782">
                  <a:moveTo>
                    <a:pt x="16621" y="98783"/>
                  </a:moveTo>
                  <a:cubicBezTo>
                    <a:pt x="12230" y="98783"/>
                    <a:pt x="7840" y="96901"/>
                    <a:pt x="4704" y="93765"/>
                  </a:cubicBezTo>
                  <a:cubicBezTo>
                    <a:pt x="-1568" y="87493"/>
                    <a:pt x="-1568" y="76831"/>
                    <a:pt x="4704" y="69932"/>
                  </a:cubicBezTo>
                  <a:lnTo>
                    <a:pt x="69932" y="4704"/>
                  </a:lnTo>
                  <a:cubicBezTo>
                    <a:pt x="76204" y="-1568"/>
                    <a:pt x="86866" y="-1568"/>
                    <a:pt x="93765" y="4704"/>
                  </a:cubicBezTo>
                  <a:cubicBezTo>
                    <a:pt x="100037" y="10976"/>
                    <a:pt x="100037" y="21638"/>
                    <a:pt x="93765" y="28537"/>
                  </a:cubicBezTo>
                  <a:lnTo>
                    <a:pt x="28537" y="93765"/>
                  </a:lnTo>
                  <a:cubicBezTo>
                    <a:pt x="24774" y="96901"/>
                    <a:pt x="21011" y="98783"/>
                    <a:pt x="16621" y="98783"/>
                  </a:cubicBezTo>
                  <a:lnTo>
                    <a:pt x="16621" y="98783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97" name="Forma Livre: Forma 196">
              <a:extLst>
                <a:ext uri="{FF2B5EF4-FFF2-40B4-BE49-F238E27FC236}">
                  <a16:creationId xmlns:a16="http://schemas.microsoft.com/office/drawing/2014/main" id="{2A841326-7D83-4B74-BF49-635C3501DDD7}"/>
                </a:ext>
              </a:extLst>
            </p:cNvPr>
            <p:cNvSpPr/>
            <p:nvPr/>
          </p:nvSpPr>
          <p:spPr>
            <a:xfrm>
              <a:off x="1290642" y="2635709"/>
              <a:ext cx="156225" cy="250915"/>
            </a:xfrm>
            <a:custGeom>
              <a:avLst/>
              <a:gdLst>
                <a:gd name="connsiteX0" fmla="*/ 139276 w 156225"/>
                <a:gd name="connsiteY0" fmla="*/ 250916 h 250915"/>
                <a:gd name="connsiteX1" fmla="*/ 122969 w 156225"/>
                <a:gd name="connsiteY1" fmla="*/ 238372 h 250915"/>
                <a:gd name="connsiteX2" fmla="*/ 67149 w 156225"/>
                <a:gd name="connsiteY2" fmla="*/ 35790 h 250915"/>
                <a:gd name="connsiteX3" fmla="*/ 15719 w 156225"/>
                <a:gd name="connsiteY3" fmla="*/ 33281 h 250915"/>
                <a:gd name="connsiteX4" fmla="*/ 40 w 156225"/>
                <a:gd name="connsiteY4" fmla="*/ 15719 h 250915"/>
                <a:gd name="connsiteX5" fmla="*/ 17601 w 156225"/>
                <a:gd name="connsiteY5" fmla="*/ 40 h 250915"/>
                <a:gd name="connsiteX6" fmla="*/ 81574 w 156225"/>
                <a:gd name="connsiteY6" fmla="*/ 2548 h 250915"/>
                <a:gd name="connsiteX7" fmla="*/ 96627 w 156225"/>
                <a:gd name="connsiteY7" fmla="*/ 14465 h 250915"/>
                <a:gd name="connsiteX8" fmla="*/ 155583 w 156225"/>
                <a:gd name="connsiteY8" fmla="*/ 228964 h 250915"/>
                <a:gd name="connsiteX9" fmla="*/ 143666 w 156225"/>
                <a:gd name="connsiteY9" fmla="*/ 249662 h 250915"/>
                <a:gd name="connsiteX10" fmla="*/ 139276 w 156225"/>
                <a:gd name="connsiteY10" fmla="*/ 250916 h 250915"/>
                <a:gd name="connsiteX11" fmla="*/ 139276 w 156225"/>
                <a:gd name="connsiteY11" fmla="*/ 250916 h 250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6225" h="250915">
                  <a:moveTo>
                    <a:pt x="139276" y="250916"/>
                  </a:moveTo>
                  <a:cubicBezTo>
                    <a:pt x="131750" y="250916"/>
                    <a:pt x="125478" y="245898"/>
                    <a:pt x="122969" y="238372"/>
                  </a:cubicBezTo>
                  <a:lnTo>
                    <a:pt x="67149" y="35790"/>
                  </a:lnTo>
                  <a:lnTo>
                    <a:pt x="15719" y="33281"/>
                  </a:lnTo>
                  <a:cubicBezTo>
                    <a:pt x="6311" y="32654"/>
                    <a:pt x="-588" y="25127"/>
                    <a:pt x="40" y="15719"/>
                  </a:cubicBezTo>
                  <a:cubicBezTo>
                    <a:pt x="667" y="6311"/>
                    <a:pt x="8193" y="-587"/>
                    <a:pt x="17601" y="40"/>
                  </a:cubicBezTo>
                  <a:lnTo>
                    <a:pt x="81574" y="2548"/>
                  </a:lnTo>
                  <a:cubicBezTo>
                    <a:pt x="89101" y="2548"/>
                    <a:pt x="94745" y="7566"/>
                    <a:pt x="96627" y="14465"/>
                  </a:cubicBezTo>
                  <a:lnTo>
                    <a:pt x="155583" y="228964"/>
                  </a:lnTo>
                  <a:cubicBezTo>
                    <a:pt x="158092" y="237745"/>
                    <a:pt x="153074" y="247153"/>
                    <a:pt x="143666" y="249662"/>
                  </a:cubicBezTo>
                  <a:cubicBezTo>
                    <a:pt x="142412" y="250916"/>
                    <a:pt x="140530" y="250916"/>
                    <a:pt x="139276" y="250916"/>
                  </a:cubicBezTo>
                  <a:lnTo>
                    <a:pt x="139276" y="250916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98" name="Forma Livre: Forma 197">
              <a:extLst>
                <a:ext uri="{FF2B5EF4-FFF2-40B4-BE49-F238E27FC236}">
                  <a16:creationId xmlns:a16="http://schemas.microsoft.com/office/drawing/2014/main" id="{765B7B48-DC89-4C6B-9326-C2B1D2AC4B4E}"/>
                </a:ext>
              </a:extLst>
            </p:cNvPr>
            <p:cNvSpPr/>
            <p:nvPr/>
          </p:nvSpPr>
          <p:spPr>
            <a:xfrm>
              <a:off x="1423646" y="2894152"/>
              <a:ext cx="91569" cy="91569"/>
            </a:xfrm>
            <a:custGeom>
              <a:avLst/>
              <a:gdLst>
                <a:gd name="connsiteX0" fmla="*/ 45785 w 91569"/>
                <a:gd name="connsiteY0" fmla="*/ 91570 h 91569"/>
                <a:gd name="connsiteX1" fmla="*/ 0 w 91569"/>
                <a:gd name="connsiteY1" fmla="*/ 45785 h 91569"/>
                <a:gd name="connsiteX2" fmla="*/ 45785 w 91569"/>
                <a:gd name="connsiteY2" fmla="*/ 0 h 91569"/>
                <a:gd name="connsiteX3" fmla="*/ 91570 w 91569"/>
                <a:gd name="connsiteY3" fmla="*/ 45785 h 91569"/>
                <a:gd name="connsiteX4" fmla="*/ 45785 w 91569"/>
                <a:gd name="connsiteY4" fmla="*/ 91570 h 91569"/>
                <a:gd name="connsiteX5" fmla="*/ 45785 w 91569"/>
                <a:gd name="connsiteY5" fmla="*/ 91570 h 91569"/>
                <a:gd name="connsiteX6" fmla="*/ 45785 w 91569"/>
                <a:gd name="connsiteY6" fmla="*/ 33241 h 91569"/>
                <a:gd name="connsiteX7" fmla="*/ 33241 w 91569"/>
                <a:gd name="connsiteY7" fmla="*/ 45785 h 91569"/>
                <a:gd name="connsiteX8" fmla="*/ 45785 w 91569"/>
                <a:gd name="connsiteY8" fmla="*/ 58329 h 91569"/>
                <a:gd name="connsiteX9" fmla="*/ 58329 w 91569"/>
                <a:gd name="connsiteY9" fmla="*/ 45785 h 91569"/>
                <a:gd name="connsiteX10" fmla="*/ 45785 w 91569"/>
                <a:gd name="connsiteY10" fmla="*/ 33241 h 91569"/>
                <a:gd name="connsiteX11" fmla="*/ 45785 w 91569"/>
                <a:gd name="connsiteY11" fmla="*/ 33241 h 91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1569" h="91569">
                  <a:moveTo>
                    <a:pt x="45785" y="91570"/>
                  </a:moveTo>
                  <a:cubicBezTo>
                    <a:pt x="20697" y="91570"/>
                    <a:pt x="0" y="70872"/>
                    <a:pt x="0" y="45785"/>
                  </a:cubicBezTo>
                  <a:cubicBezTo>
                    <a:pt x="0" y="20697"/>
                    <a:pt x="20697" y="0"/>
                    <a:pt x="45785" y="0"/>
                  </a:cubicBezTo>
                  <a:cubicBezTo>
                    <a:pt x="70873" y="0"/>
                    <a:pt x="91570" y="20697"/>
                    <a:pt x="91570" y="45785"/>
                  </a:cubicBezTo>
                  <a:cubicBezTo>
                    <a:pt x="91570" y="70872"/>
                    <a:pt x="71500" y="91570"/>
                    <a:pt x="45785" y="91570"/>
                  </a:cubicBezTo>
                  <a:lnTo>
                    <a:pt x="45785" y="91570"/>
                  </a:lnTo>
                  <a:close/>
                  <a:moveTo>
                    <a:pt x="45785" y="33241"/>
                  </a:moveTo>
                  <a:cubicBezTo>
                    <a:pt x="38886" y="33241"/>
                    <a:pt x="33241" y="38886"/>
                    <a:pt x="33241" y="45785"/>
                  </a:cubicBezTo>
                  <a:cubicBezTo>
                    <a:pt x="33241" y="52684"/>
                    <a:pt x="38886" y="58329"/>
                    <a:pt x="45785" y="58329"/>
                  </a:cubicBezTo>
                  <a:cubicBezTo>
                    <a:pt x="52684" y="58329"/>
                    <a:pt x="58329" y="52684"/>
                    <a:pt x="58329" y="45785"/>
                  </a:cubicBezTo>
                  <a:cubicBezTo>
                    <a:pt x="58329" y="38886"/>
                    <a:pt x="52684" y="33241"/>
                    <a:pt x="45785" y="33241"/>
                  </a:cubicBezTo>
                  <a:lnTo>
                    <a:pt x="45785" y="33241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99" name="Forma Livre: Forma 198">
              <a:extLst>
                <a:ext uri="{FF2B5EF4-FFF2-40B4-BE49-F238E27FC236}">
                  <a16:creationId xmlns:a16="http://schemas.microsoft.com/office/drawing/2014/main" id="{2993654D-298E-45BA-BEA6-8641E2E369A9}"/>
                </a:ext>
              </a:extLst>
            </p:cNvPr>
            <p:cNvSpPr/>
            <p:nvPr/>
          </p:nvSpPr>
          <p:spPr>
            <a:xfrm>
              <a:off x="1562882" y="2894152"/>
              <a:ext cx="91569" cy="91569"/>
            </a:xfrm>
            <a:custGeom>
              <a:avLst/>
              <a:gdLst>
                <a:gd name="connsiteX0" fmla="*/ 45785 w 91569"/>
                <a:gd name="connsiteY0" fmla="*/ 91570 h 91569"/>
                <a:gd name="connsiteX1" fmla="*/ 0 w 91569"/>
                <a:gd name="connsiteY1" fmla="*/ 45785 h 91569"/>
                <a:gd name="connsiteX2" fmla="*/ 45785 w 91569"/>
                <a:gd name="connsiteY2" fmla="*/ 0 h 91569"/>
                <a:gd name="connsiteX3" fmla="*/ 91570 w 91569"/>
                <a:gd name="connsiteY3" fmla="*/ 45785 h 91569"/>
                <a:gd name="connsiteX4" fmla="*/ 45785 w 91569"/>
                <a:gd name="connsiteY4" fmla="*/ 91570 h 91569"/>
                <a:gd name="connsiteX5" fmla="*/ 45785 w 91569"/>
                <a:gd name="connsiteY5" fmla="*/ 91570 h 91569"/>
                <a:gd name="connsiteX6" fmla="*/ 45785 w 91569"/>
                <a:gd name="connsiteY6" fmla="*/ 33241 h 91569"/>
                <a:gd name="connsiteX7" fmla="*/ 33241 w 91569"/>
                <a:gd name="connsiteY7" fmla="*/ 45785 h 91569"/>
                <a:gd name="connsiteX8" fmla="*/ 45785 w 91569"/>
                <a:gd name="connsiteY8" fmla="*/ 58329 h 91569"/>
                <a:gd name="connsiteX9" fmla="*/ 58329 w 91569"/>
                <a:gd name="connsiteY9" fmla="*/ 45785 h 91569"/>
                <a:gd name="connsiteX10" fmla="*/ 45785 w 91569"/>
                <a:gd name="connsiteY10" fmla="*/ 33241 h 91569"/>
                <a:gd name="connsiteX11" fmla="*/ 45785 w 91569"/>
                <a:gd name="connsiteY11" fmla="*/ 33241 h 91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1569" h="91569">
                  <a:moveTo>
                    <a:pt x="45785" y="91570"/>
                  </a:moveTo>
                  <a:cubicBezTo>
                    <a:pt x="20697" y="91570"/>
                    <a:pt x="0" y="70872"/>
                    <a:pt x="0" y="45785"/>
                  </a:cubicBezTo>
                  <a:cubicBezTo>
                    <a:pt x="0" y="20697"/>
                    <a:pt x="20697" y="0"/>
                    <a:pt x="45785" y="0"/>
                  </a:cubicBezTo>
                  <a:cubicBezTo>
                    <a:pt x="70873" y="0"/>
                    <a:pt x="91570" y="20697"/>
                    <a:pt x="91570" y="45785"/>
                  </a:cubicBezTo>
                  <a:cubicBezTo>
                    <a:pt x="91570" y="70872"/>
                    <a:pt x="70873" y="91570"/>
                    <a:pt x="45785" y="91570"/>
                  </a:cubicBezTo>
                  <a:lnTo>
                    <a:pt x="45785" y="91570"/>
                  </a:lnTo>
                  <a:close/>
                  <a:moveTo>
                    <a:pt x="45785" y="33241"/>
                  </a:moveTo>
                  <a:cubicBezTo>
                    <a:pt x="38886" y="33241"/>
                    <a:pt x="33241" y="38886"/>
                    <a:pt x="33241" y="45785"/>
                  </a:cubicBezTo>
                  <a:cubicBezTo>
                    <a:pt x="33241" y="52684"/>
                    <a:pt x="38886" y="58329"/>
                    <a:pt x="45785" y="58329"/>
                  </a:cubicBezTo>
                  <a:cubicBezTo>
                    <a:pt x="52684" y="58329"/>
                    <a:pt x="58329" y="52684"/>
                    <a:pt x="58329" y="45785"/>
                  </a:cubicBezTo>
                  <a:cubicBezTo>
                    <a:pt x="57702" y="38886"/>
                    <a:pt x="52684" y="33241"/>
                    <a:pt x="45785" y="33241"/>
                  </a:cubicBezTo>
                  <a:lnTo>
                    <a:pt x="45785" y="33241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00" name="Forma Livre: Forma 199">
              <a:extLst>
                <a:ext uri="{FF2B5EF4-FFF2-40B4-BE49-F238E27FC236}">
                  <a16:creationId xmlns:a16="http://schemas.microsoft.com/office/drawing/2014/main" id="{E5A12C3D-A012-48E6-B946-22A089E68637}"/>
                </a:ext>
              </a:extLst>
            </p:cNvPr>
            <p:cNvSpPr/>
            <p:nvPr/>
          </p:nvSpPr>
          <p:spPr>
            <a:xfrm>
              <a:off x="1370356" y="2699722"/>
              <a:ext cx="342054" cy="186902"/>
            </a:xfrm>
            <a:custGeom>
              <a:avLst/>
              <a:gdLst>
                <a:gd name="connsiteX0" fmla="*/ 283469 w 342054"/>
                <a:gd name="connsiteY0" fmla="*/ 186903 h 186902"/>
                <a:gd name="connsiteX1" fmla="*/ 59562 w 342054"/>
                <a:gd name="connsiteY1" fmla="*/ 186903 h 186902"/>
                <a:gd name="connsiteX2" fmla="*/ 43255 w 342054"/>
                <a:gd name="connsiteY2" fmla="*/ 174986 h 186902"/>
                <a:gd name="connsiteX3" fmla="*/ 606 w 342054"/>
                <a:gd name="connsiteY3" fmla="*/ 20697 h 186902"/>
                <a:gd name="connsiteX4" fmla="*/ 3114 w 342054"/>
                <a:gd name="connsiteY4" fmla="*/ 6272 h 186902"/>
                <a:gd name="connsiteX5" fmla="*/ 16285 w 342054"/>
                <a:gd name="connsiteY5" fmla="*/ 0 h 186902"/>
                <a:gd name="connsiteX6" fmla="*/ 77123 w 342054"/>
                <a:gd name="connsiteY6" fmla="*/ 0 h 186902"/>
                <a:gd name="connsiteX7" fmla="*/ 77123 w 342054"/>
                <a:gd name="connsiteY7" fmla="*/ 33241 h 186902"/>
                <a:gd name="connsiteX8" fmla="*/ 38864 w 342054"/>
                <a:gd name="connsiteY8" fmla="*/ 33241 h 186902"/>
                <a:gd name="connsiteX9" fmla="*/ 72105 w 342054"/>
                <a:gd name="connsiteY9" fmla="*/ 154289 h 186902"/>
                <a:gd name="connsiteX10" fmla="*/ 270298 w 342054"/>
                <a:gd name="connsiteY10" fmla="*/ 154289 h 186902"/>
                <a:gd name="connsiteX11" fmla="*/ 303539 w 342054"/>
                <a:gd name="connsiteY11" fmla="*/ 33241 h 186902"/>
                <a:gd name="connsiteX12" fmla="*/ 265907 w 342054"/>
                <a:gd name="connsiteY12" fmla="*/ 33241 h 186902"/>
                <a:gd name="connsiteX13" fmla="*/ 265907 w 342054"/>
                <a:gd name="connsiteY13" fmla="*/ 0 h 186902"/>
                <a:gd name="connsiteX14" fmla="*/ 325491 w 342054"/>
                <a:gd name="connsiteY14" fmla="*/ 0 h 186902"/>
                <a:gd name="connsiteX15" fmla="*/ 338662 w 342054"/>
                <a:gd name="connsiteY15" fmla="*/ 6272 h 186902"/>
                <a:gd name="connsiteX16" fmla="*/ 341170 w 342054"/>
                <a:gd name="connsiteY16" fmla="*/ 20697 h 186902"/>
                <a:gd name="connsiteX17" fmla="*/ 298521 w 342054"/>
                <a:gd name="connsiteY17" fmla="*/ 174986 h 186902"/>
                <a:gd name="connsiteX18" fmla="*/ 283469 w 342054"/>
                <a:gd name="connsiteY18" fmla="*/ 186903 h 186902"/>
                <a:gd name="connsiteX19" fmla="*/ 283469 w 342054"/>
                <a:gd name="connsiteY19" fmla="*/ 186903 h 186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42054" h="186902">
                  <a:moveTo>
                    <a:pt x="283469" y="186903"/>
                  </a:moveTo>
                  <a:lnTo>
                    <a:pt x="59562" y="186903"/>
                  </a:lnTo>
                  <a:cubicBezTo>
                    <a:pt x="52035" y="186903"/>
                    <a:pt x="45763" y="181885"/>
                    <a:pt x="43255" y="174986"/>
                  </a:cubicBezTo>
                  <a:lnTo>
                    <a:pt x="606" y="20697"/>
                  </a:lnTo>
                  <a:cubicBezTo>
                    <a:pt x="-649" y="15680"/>
                    <a:pt x="-21" y="10035"/>
                    <a:pt x="3114" y="6272"/>
                  </a:cubicBezTo>
                  <a:cubicBezTo>
                    <a:pt x="6250" y="1881"/>
                    <a:pt x="11268" y="0"/>
                    <a:pt x="16285" y="0"/>
                  </a:cubicBezTo>
                  <a:lnTo>
                    <a:pt x="77123" y="0"/>
                  </a:lnTo>
                  <a:lnTo>
                    <a:pt x="77123" y="33241"/>
                  </a:lnTo>
                  <a:lnTo>
                    <a:pt x="38864" y="33241"/>
                  </a:lnTo>
                  <a:lnTo>
                    <a:pt x="72105" y="154289"/>
                  </a:lnTo>
                  <a:lnTo>
                    <a:pt x="270298" y="154289"/>
                  </a:lnTo>
                  <a:lnTo>
                    <a:pt x="303539" y="33241"/>
                  </a:lnTo>
                  <a:lnTo>
                    <a:pt x="265907" y="33241"/>
                  </a:lnTo>
                  <a:lnTo>
                    <a:pt x="265907" y="0"/>
                  </a:lnTo>
                  <a:lnTo>
                    <a:pt x="325491" y="0"/>
                  </a:lnTo>
                  <a:cubicBezTo>
                    <a:pt x="330508" y="0"/>
                    <a:pt x="335526" y="2509"/>
                    <a:pt x="338662" y="6272"/>
                  </a:cubicBezTo>
                  <a:cubicBezTo>
                    <a:pt x="341797" y="10662"/>
                    <a:pt x="343052" y="15680"/>
                    <a:pt x="341170" y="20697"/>
                  </a:cubicBezTo>
                  <a:lnTo>
                    <a:pt x="298521" y="174986"/>
                  </a:lnTo>
                  <a:cubicBezTo>
                    <a:pt x="297267" y="181885"/>
                    <a:pt x="290995" y="186903"/>
                    <a:pt x="283469" y="186903"/>
                  </a:cubicBezTo>
                  <a:lnTo>
                    <a:pt x="283469" y="186903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01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7420845" y="2651429"/>
            <a:ext cx="393248" cy="284117"/>
            <a:chOff x="7420845" y="2651429"/>
            <a:chExt cx="393248" cy="284117"/>
          </a:xfrm>
          <a:solidFill>
            <a:srgbClr val="B1B1A1"/>
          </a:solidFill>
        </p:grpSpPr>
        <p:sp>
          <p:nvSpPr>
            <p:cNvPr id="202" name="Forma Livre: Forma 201">
              <a:extLst>
                <a:ext uri="{FF2B5EF4-FFF2-40B4-BE49-F238E27FC236}">
                  <a16:creationId xmlns:a16="http://schemas.microsoft.com/office/drawing/2014/main" id="{DF6A2F29-B3E3-43E3-B857-2F11C1D69E05}"/>
                </a:ext>
              </a:extLst>
            </p:cNvPr>
            <p:cNvSpPr/>
            <p:nvPr/>
          </p:nvSpPr>
          <p:spPr>
            <a:xfrm>
              <a:off x="7420845" y="2651429"/>
              <a:ext cx="393248" cy="284117"/>
            </a:xfrm>
            <a:custGeom>
              <a:avLst/>
              <a:gdLst>
                <a:gd name="connsiteX0" fmla="*/ 346836 w 393248"/>
                <a:gd name="connsiteY0" fmla="*/ 284118 h 284117"/>
                <a:gd name="connsiteX1" fmla="*/ 46412 w 393248"/>
                <a:gd name="connsiteY1" fmla="*/ 284118 h 284117"/>
                <a:gd name="connsiteX2" fmla="*/ 0 w 393248"/>
                <a:gd name="connsiteY2" fmla="*/ 237705 h 284117"/>
                <a:gd name="connsiteX3" fmla="*/ 0 w 393248"/>
                <a:gd name="connsiteY3" fmla="*/ 47039 h 284117"/>
                <a:gd name="connsiteX4" fmla="*/ 46412 w 393248"/>
                <a:gd name="connsiteY4" fmla="*/ 0 h 284117"/>
                <a:gd name="connsiteX5" fmla="*/ 346836 w 393248"/>
                <a:gd name="connsiteY5" fmla="*/ 0 h 284117"/>
                <a:gd name="connsiteX6" fmla="*/ 393248 w 393248"/>
                <a:gd name="connsiteY6" fmla="*/ 47039 h 284117"/>
                <a:gd name="connsiteX7" fmla="*/ 393248 w 393248"/>
                <a:gd name="connsiteY7" fmla="*/ 237705 h 284117"/>
                <a:gd name="connsiteX8" fmla="*/ 346836 w 393248"/>
                <a:gd name="connsiteY8" fmla="*/ 284118 h 284117"/>
                <a:gd name="connsiteX9" fmla="*/ 346836 w 393248"/>
                <a:gd name="connsiteY9" fmla="*/ 284118 h 284117"/>
                <a:gd name="connsiteX10" fmla="*/ 45785 w 393248"/>
                <a:gd name="connsiteY10" fmla="*/ 33241 h 284117"/>
                <a:gd name="connsiteX11" fmla="*/ 32614 w 393248"/>
                <a:gd name="connsiteY11" fmla="*/ 46412 h 284117"/>
                <a:gd name="connsiteX12" fmla="*/ 32614 w 393248"/>
                <a:gd name="connsiteY12" fmla="*/ 237078 h 284117"/>
                <a:gd name="connsiteX13" fmla="*/ 45785 w 393248"/>
                <a:gd name="connsiteY13" fmla="*/ 250249 h 284117"/>
                <a:gd name="connsiteX14" fmla="*/ 346209 w 393248"/>
                <a:gd name="connsiteY14" fmla="*/ 250249 h 284117"/>
                <a:gd name="connsiteX15" fmla="*/ 359380 w 393248"/>
                <a:gd name="connsiteY15" fmla="*/ 237078 h 284117"/>
                <a:gd name="connsiteX16" fmla="*/ 359380 w 393248"/>
                <a:gd name="connsiteY16" fmla="*/ 46412 h 284117"/>
                <a:gd name="connsiteX17" fmla="*/ 346209 w 393248"/>
                <a:gd name="connsiteY17" fmla="*/ 33241 h 284117"/>
                <a:gd name="connsiteX18" fmla="*/ 45785 w 393248"/>
                <a:gd name="connsiteY18" fmla="*/ 33241 h 284117"/>
                <a:gd name="connsiteX19" fmla="*/ 45785 w 393248"/>
                <a:gd name="connsiteY19" fmla="*/ 33241 h 284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93248" h="284117">
                  <a:moveTo>
                    <a:pt x="346836" y="284118"/>
                  </a:moveTo>
                  <a:lnTo>
                    <a:pt x="46412" y="284118"/>
                  </a:lnTo>
                  <a:cubicBezTo>
                    <a:pt x="20697" y="284118"/>
                    <a:pt x="0" y="263420"/>
                    <a:pt x="0" y="237705"/>
                  </a:cubicBezTo>
                  <a:lnTo>
                    <a:pt x="0" y="47039"/>
                  </a:lnTo>
                  <a:cubicBezTo>
                    <a:pt x="0" y="21325"/>
                    <a:pt x="20697" y="0"/>
                    <a:pt x="46412" y="0"/>
                  </a:cubicBezTo>
                  <a:lnTo>
                    <a:pt x="346836" y="0"/>
                  </a:lnTo>
                  <a:cubicBezTo>
                    <a:pt x="372552" y="0"/>
                    <a:pt x="393248" y="20697"/>
                    <a:pt x="393248" y="47039"/>
                  </a:cubicBezTo>
                  <a:lnTo>
                    <a:pt x="393248" y="237705"/>
                  </a:lnTo>
                  <a:cubicBezTo>
                    <a:pt x="393248" y="263420"/>
                    <a:pt x="372552" y="284118"/>
                    <a:pt x="346836" y="284118"/>
                  </a:cubicBezTo>
                  <a:lnTo>
                    <a:pt x="346836" y="284118"/>
                  </a:lnTo>
                  <a:close/>
                  <a:moveTo>
                    <a:pt x="45785" y="33241"/>
                  </a:moveTo>
                  <a:cubicBezTo>
                    <a:pt x="38258" y="33241"/>
                    <a:pt x="32614" y="39513"/>
                    <a:pt x="32614" y="46412"/>
                  </a:cubicBezTo>
                  <a:lnTo>
                    <a:pt x="32614" y="237078"/>
                  </a:lnTo>
                  <a:cubicBezTo>
                    <a:pt x="32614" y="244604"/>
                    <a:pt x="38886" y="250249"/>
                    <a:pt x="45785" y="250249"/>
                  </a:cubicBezTo>
                  <a:lnTo>
                    <a:pt x="346209" y="250249"/>
                  </a:lnTo>
                  <a:cubicBezTo>
                    <a:pt x="353736" y="250249"/>
                    <a:pt x="359380" y="243977"/>
                    <a:pt x="359380" y="237078"/>
                  </a:cubicBezTo>
                  <a:lnTo>
                    <a:pt x="359380" y="46412"/>
                  </a:lnTo>
                  <a:cubicBezTo>
                    <a:pt x="359380" y="38886"/>
                    <a:pt x="353108" y="33241"/>
                    <a:pt x="346209" y="33241"/>
                  </a:cubicBezTo>
                  <a:lnTo>
                    <a:pt x="45785" y="33241"/>
                  </a:lnTo>
                  <a:lnTo>
                    <a:pt x="45785" y="33241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03" name="Forma Livre: Forma 202">
              <a:extLst>
                <a:ext uri="{FF2B5EF4-FFF2-40B4-BE49-F238E27FC236}">
                  <a16:creationId xmlns:a16="http://schemas.microsoft.com/office/drawing/2014/main" id="{5BB2DA2F-05BA-4B9F-B6B6-07524E61B89A}"/>
                </a:ext>
              </a:extLst>
            </p:cNvPr>
            <p:cNvSpPr/>
            <p:nvPr/>
          </p:nvSpPr>
          <p:spPr>
            <a:xfrm>
              <a:off x="7487327" y="2773731"/>
              <a:ext cx="65227" cy="40140"/>
            </a:xfrm>
            <a:custGeom>
              <a:avLst/>
              <a:gdLst>
                <a:gd name="connsiteX0" fmla="*/ 65228 w 65227"/>
                <a:gd name="connsiteY0" fmla="*/ 0 h 40140"/>
                <a:gd name="connsiteX1" fmla="*/ 0 w 65227"/>
                <a:gd name="connsiteY1" fmla="*/ 0 h 40140"/>
                <a:gd name="connsiteX2" fmla="*/ 0 w 65227"/>
                <a:gd name="connsiteY2" fmla="*/ 40140 h 40140"/>
                <a:gd name="connsiteX3" fmla="*/ 65228 w 65227"/>
                <a:gd name="connsiteY3" fmla="*/ 40140 h 40140"/>
                <a:gd name="connsiteX4" fmla="*/ 65228 w 65227"/>
                <a:gd name="connsiteY4" fmla="*/ 0 h 40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227" h="40140">
                  <a:moveTo>
                    <a:pt x="65228" y="0"/>
                  </a:moveTo>
                  <a:lnTo>
                    <a:pt x="0" y="0"/>
                  </a:lnTo>
                  <a:lnTo>
                    <a:pt x="0" y="40140"/>
                  </a:lnTo>
                  <a:lnTo>
                    <a:pt x="65228" y="40140"/>
                  </a:lnTo>
                  <a:lnTo>
                    <a:pt x="65228" y="0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204" name="Gráfico 2">
              <a:extLst>
                <a:ext uri="{FF2B5EF4-FFF2-40B4-BE49-F238E27FC236}">
                  <a16:creationId xmlns:a16="http://schemas.microsoft.com/office/drawing/2014/main" id="{F5ABA5BB-819F-4501-AD77-3F762FEA4CEA}"/>
                </a:ext>
              </a:extLst>
            </p:cNvPr>
            <p:cNvGrpSpPr/>
            <p:nvPr/>
          </p:nvGrpSpPr>
          <p:grpSpPr>
            <a:xfrm>
              <a:off x="7630953" y="2699722"/>
              <a:ext cx="126692" cy="127946"/>
              <a:chOff x="7630953" y="2699722"/>
              <a:chExt cx="126692" cy="127946"/>
            </a:xfrm>
            <a:grpFill/>
          </p:grpSpPr>
          <p:sp>
            <p:nvSpPr>
              <p:cNvPr id="205" name="Forma Livre: Forma 204">
                <a:extLst>
                  <a:ext uri="{FF2B5EF4-FFF2-40B4-BE49-F238E27FC236}">
                    <a16:creationId xmlns:a16="http://schemas.microsoft.com/office/drawing/2014/main" id="{C84AF906-C2D1-4C91-AC32-ADE60A1B5203}"/>
                  </a:ext>
                </a:extLst>
              </p:cNvPr>
              <p:cNvSpPr/>
              <p:nvPr/>
            </p:nvSpPr>
            <p:spPr>
              <a:xfrm>
                <a:off x="7630953" y="2699722"/>
                <a:ext cx="126692" cy="127946"/>
              </a:xfrm>
              <a:custGeom>
                <a:avLst/>
                <a:gdLst>
                  <a:gd name="connsiteX0" fmla="*/ 63346 w 126692"/>
                  <a:gd name="connsiteY0" fmla="*/ 127947 h 127946"/>
                  <a:gd name="connsiteX1" fmla="*/ 0 w 126692"/>
                  <a:gd name="connsiteY1" fmla="*/ 63974 h 127946"/>
                  <a:gd name="connsiteX2" fmla="*/ 63346 w 126692"/>
                  <a:gd name="connsiteY2" fmla="*/ 0 h 127946"/>
                  <a:gd name="connsiteX3" fmla="*/ 126692 w 126692"/>
                  <a:gd name="connsiteY3" fmla="*/ 63974 h 127946"/>
                  <a:gd name="connsiteX4" fmla="*/ 63346 w 126692"/>
                  <a:gd name="connsiteY4" fmla="*/ 127947 h 127946"/>
                  <a:gd name="connsiteX5" fmla="*/ 63346 w 126692"/>
                  <a:gd name="connsiteY5" fmla="*/ 127947 h 127946"/>
                  <a:gd name="connsiteX6" fmla="*/ 63346 w 126692"/>
                  <a:gd name="connsiteY6" fmla="*/ 16934 h 127946"/>
                  <a:gd name="connsiteX7" fmla="*/ 16934 w 126692"/>
                  <a:gd name="connsiteY7" fmla="*/ 63974 h 127946"/>
                  <a:gd name="connsiteX8" fmla="*/ 63346 w 126692"/>
                  <a:gd name="connsiteY8" fmla="*/ 111013 h 127946"/>
                  <a:gd name="connsiteX9" fmla="*/ 109758 w 126692"/>
                  <a:gd name="connsiteY9" fmla="*/ 63974 h 127946"/>
                  <a:gd name="connsiteX10" fmla="*/ 63346 w 126692"/>
                  <a:gd name="connsiteY10" fmla="*/ 16934 h 127946"/>
                  <a:gd name="connsiteX11" fmla="*/ 63346 w 126692"/>
                  <a:gd name="connsiteY11" fmla="*/ 16934 h 127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6692" h="127946">
                    <a:moveTo>
                      <a:pt x="63346" y="127947"/>
                    </a:moveTo>
                    <a:cubicBezTo>
                      <a:pt x="28224" y="127947"/>
                      <a:pt x="0" y="99096"/>
                      <a:pt x="0" y="63974"/>
                    </a:cubicBezTo>
                    <a:cubicBezTo>
                      <a:pt x="0" y="28851"/>
                      <a:pt x="28224" y="0"/>
                      <a:pt x="63346" y="0"/>
                    </a:cubicBezTo>
                    <a:cubicBezTo>
                      <a:pt x="98469" y="0"/>
                      <a:pt x="126692" y="28851"/>
                      <a:pt x="126692" y="63974"/>
                    </a:cubicBezTo>
                    <a:cubicBezTo>
                      <a:pt x="126692" y="99096"/>
                      <a:pt x="98469" y="127947"/>
                      <a:pt x="63346" y="127947"/>
                    </a:cubicBezTo>
                    <a:lnTo>
                      <a:pt x="63346" y="127947"/>
                    </a:lnTo>
                    <a:close/>
                    <a:moveTo>
                      <a:pt x="63346" y="16934"/>
                    </a:moveTo>
                    <a:cubicBezTo>
                      <a:pt x="37631" y="16934"/>
                      <a:pt x="16934" y="38259"/>
                      <a:pt x="16934" y="63974"/>
                    </a:cubicBezTo>
                    <a:cubicBezTo>
                      <a:pt x="16934" y="89688"/>
                      <a:pt x="37631" y="111013"/>
                      <a:pt x="63346" y="111013"/>
                    </a:cubicBezTo>
                    <a:cubicBezTo>
                      <a:pt x="89061" y="111013"/>
                      <a:pt x="109758" y="89688"/>
                      <a:pt x="109758" y="63974"/>
                    </a:cubicBezTo>
                    <a:cubicBezTo>
                      <a:pt x="109758" y="38259"/>
                      <a:pt x="89061" y="16934"/>
                      <a:pt x="63346" y="16934"/>
                    </a:cubicBezTo>
                    <a:lnTo>
                      <a:pt x="63346" y="16934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06" name="Forma Livre: Forma 205">
                <a:extLst>
                  <a:ext uri="{FF2B5EF4-FFF2-40B4-BE49-F238E27FC236}">
                    <a16:creationId xmlns:a16="http://schemas.microsoft.com/office/drawing/2014/main" id="{6860FAB2-E136-4B28-B476-D0AC13095116}"/>
                  </a:ext>
                </a:extLst>
              </p:cNvPr>
              <p:cNvSpPr/>
              <p:nvPr/>
            </p:nvSpPr>
            <p:spPr>
              <a:xfrm>
                <a:off x="7662940" y="2701604"/>
                <a:ext cx="62719" cy="124183"/>
              </a:xfrm>
              <a:custGeom>
                <a:avLst/>
                <a:gdLst>
                  <a:gd name="connsiteX0" fmla="*/ 31360 w 62719"/>
                  <a:gd name="connsiteY0" fmla="*/ 124184 h 124183"/>
                  <a:gd name="connsiteX1" fmla="*/ 0 w 62719"/>
                  <a:gd name="connsiteY1" fmla="*/ 62092 h 124183"/>
                  <a:gd name="connsiteX2" fmla="*/ 31360 w 62719"/>
                  <a:gd name="connsiteY2" fmla="*/ 0 h 124183"/>
                  <a:gd name="connsiteX3" fmla="*/ 62719 w 62719"/>
                  <a:gd name="connsiteY3" fmla="*/ 62092 h 124183"/>
                  <a:gd name="connsiteX4" fmla="*/ 31360 w 62719"/>
                  <a:gd name="connsiteY4" fmla="*/ 124184 h 124183"/>
                  <a:gd name="connsiteX5" fmla="*/ 31360 w 62719"/>
                  <a:gd name="connsiteY5" fmla="*/ 124184 h 124183"/>
                  <a:gd name="connsiteX6" fmla="*/ 31360 w 62719"/>
                  <a:gd name="connsiteY6" fmla="*/ 16934 h 124183"/>
                  <a:gd name="connsiteX7" fmla="*/ 16934 w 62719"/>
                  <a:gd name="connsiteY7" fmla="*/ 62719 h 124183"/>
                  <a:gd name="connsiteX8" fmla="*/ 31360 w 62719"/>
                  <a:gd name="connsiteY8" fmla="*/ 108504 h 124183"/>
                  <a:gd name="connsiteX9" fmla="*/ 45785 w 62719"/>
                  <a:gd name="connsiteY9" fmla="*/ 62719 h 124183"/>
                  <a:gd name="connsiteX10" fmla="*/ 31360 w 62719"/>
                  <a:gd name="connsiteY10" fmla="*/ 16934 h 124183"/>
                  <a:gd name="connsiteX11" fmla="*/ 31360 w 62719"/>
                  <a:gd name="connsiteY11" fmla="*/ 16934 h 124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2719" h="124183">
                    <a:moveTo>
                      <a:pt x="31360" y="124184"/>
                    </a:moveTo>
                    <a:cubicBezTo>
                      <a:pt x="10662" y="124184"/>
                      <a:pt x="0" y="92824"/>
                      <a:pt x="0" y="62092"/>
                    </a:cubicBezTo>
                    <a:cubicBezTo>
                      <a:pt x="0" y="31360"/>
                      <a:pt x="10662" y="0"/>
                      <a:pt x="31360" y="0"/>
                    </a:cubicBezTo>
                    <a:cubicBezTo>
                      <a:pt x="52057" y="0"/>
                      <a:pt x="62719" y="31360"/>
                      <a:pt x="62719" y="62092"/>
                    </a:cubicBezTo>
                    <a:cubicBezTo>
                      <a:pt x="62719" y="93452"/>
                      <a:pt x="52057" y="124184"/>
                      <a:pt x="31360" y="124184"/>
                    </a:cubicBezTo>
                    <a:lnTo>
                      <a:pt x="31360" y="124184"/>
                    </a:lnTo>
                    <a:close/>
                    <a:moveTo>
                      <a:pt x="31360" y="16934"/>
                    </a:moveTo>
                    <a:cubicBezTo>
                      <a:pt x="26969" y="16934"/>
                      <a:pt x="16934" y="32614"/>
                      <a:pt x="16934" y="62719"/>
                    </a:cubicBezTo>
                    <a:cubicBezTo>
                      <a:pt x="16934" y="92197"/>
                      <a:pt x="26969" y="108504"/>
                      <a:pt x="31360" y="108504"/>
                    </a:cubicBezTo>
                    <a:cubicBezTo>
                      <a:pt x="35750" y="108504"/>
                      <a:pt x="45785" y="92824"/>
                      <a:pt x="45785" y="62719"/>
                    </a:cubicBezTo>
                    <a:cubicBezTo>
                      <a:pt x="45785" y="32614"/>
                      <a:pt x="35750" y="16934"/>
                      <a:pt x="31360" y="16934"/>
                    </a:cubicBezTo>
                    <a:lnTo>
                      <a:pt x="31360" y="16934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07" name="Forma Livre: Forma 206">
                <a:extLst>
                  <a:ext uri="{FF2B5EF4-FFF2-40B4-BE49-F238E27FC236}">
                    <a16:creationId xmlns:a16="http://schemas.microsoft.com/office/drawing/2014/main" id="{D1BE4AA3-59C2-4E14-BA52-517C9FF1F1C5}"/>
                  </a:ext>
                </a:extLst>
              </p:cNvPr>
              <p:cNvSpPr/>
              <p:nvPr/>
            </p:nvSpPr>
            <p:spPr>
              <a:xfrm>
                <a:off x="7630953" y="2755542"/>
                <a:ext cx="126133" cy="16306"/>
              </a:xfrm>
              <a:custGeom>
                <a:avLst/>
                <a:gdLst>
                  <a:gd name="connsiteX0" fmla="*/ 117911 w 126133"/>
                  <a:gd name="connsiteY0" fmla="*/ 16307 h 16306"/>
                  <a:gd name="connsiteX1" fmla="*/ 8153 w 126133"/>
                  <a:gd name="connsiteY1" fmla="*/ 16307 h 16306"/>
                  <a:gd name="connsiteX2" fmla="*/ 0 w 126133"/>
                  <a:gd name="connsiteY2" fmla="*/ 8154 h 16306"/>
                  <a:gd name="connsiteX3" fmla="*/ 8153 w 126133"/>
                  <a:gd name="connsiteY3" fmla="*/ 0 h 16306"/>
                  <a:gd name="connsiteX4" fmla="*/ 117911 w 126133"/>
                  <a:gd name="connsiteY4" fmla="*/ 0 h 16306"/>
                  <a:gd name="connsiteX5" fmla="*/ 126065 w 126133"/>
                  <a:gd name="connsiteY5" fmla="*/ 8154 h 16306"/>
                  <a:gd name="connsiteX6" fmla="*/ 117911 w 126133"/>
                  <a:gd name="connsiteY6" fmla="*/ 16307 h 16306"/>
                  <a:gd name="connsiteX7" fmla="*/ 117911 w 126133"/>
                  <a:gd name="connsiteY7" fmla="*/ 16307 h 163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6133" h="16306">
                    <a:moveTo>
                      <a:pt x="117911" y="16307"/>
                    </a:moveTo>
                    <a:lnTo>
                      <a:pt x="8153" y="16307"/>
                    </a:lnTo>
                    <a:cubicBezTo>
                      <a:pt x="3763" y="16307"/>
                      <a:pt x="0" y="12544"/>
                      <a:pt x="0" y="8154"/>
                    </a:cubicBezTo>
                    <a:cubicBezTo>
                      <a:pt x="0" y="3763"/>
                      <a:pt x="3763" y="0"/>
                      <a:pt x="8153" y="0"/>
                    </a:cubicBezTo>
                    <a:lnTo>
                      <a:pt x="117911" y="0"/>
                    </a:lnTo>
                    <a:cubicBezTo>
                      <a:pt x="122302" y="0"/>
                      <a:pt x="126065" y="3763"/>
                      <a:pt x="126065" y="8154"/>
                    </a:cubicBezTo>
                    <a:cubicBezTo>
                      <a:pt x="126692" y="13171"/>
                      <a:pt x="122929" y="16307"/>
                      <a:pt x="117911" y="16307"/>
                    </a:cubicBezTo>
                    <a:lnTo>
                      <a:pt x="117911" y="16307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grpSp>
            <p:nvGrpSpPr>
              <p:cNvPr id="208" name="Gráfico 2">
                <a:extLst>
                  <a:ext uri="{FF2B5EF4-FFF2-40B4-BE49-F238E27FC236}">
                    <a16:creationId xmlns:a16="http://schemas.microsoft.com/office/drawing/2014/main" id="{F5ABA5BB-819F-4501-AD77-3F762FEA4CEA}"/>
                  </a:ext>
                </a:extLst>
              </p:cNvPr>
              <p:cNvGrpSpPr/>
              <p:nvPr/>
            </p:nvGrpSpPr>
            <p:grpSpPr>
              <a:xfrm>
                <a:off x="7640361" y="2729828"/>
                <a:ext cx="107876" cy="68363"/>
                <a:chOff x="7640361" y="2729828"/>
                <a:chExt cx="107876" cy="68363"/>
              </a:xfrm>
              <a:grpFill/>
            </p:grpSpPr>
            <p:sp>
              <p:nvSpPr>
                <p:cNvPr id="209" name="Forma Livre: Forma 208">
                  <a:extLst>
                    <a:ext uri="{FF2B5EF4-FFF2-40B4-BE49-F238E27FC236}">
                      <a16:creationId xmlns:a16="http://schemas.microsoft.com/office/drawing/2014/main" id="{98D0973B-B03A-4303-A235-61030AABAAF8}"/>
                    </a:ext>
                  </a:extLst>
                </p:cNvPr>
                <p:cNvSpPr/>
                <p:nvPr/>
              </p:nvSpPr>
              <p:spPr>
                <a:xfrm>
                  <a:off x="7640361" y="2729828"/>
                  <a:ext cx="107876" cy="16306"/>
                </a:xfrm>
                <a:custGeom>
                  <a:avLst/>
                  <a:gdLst>
                    <a:gd name="connsiteX0" fmla="*/ 99723 w 107876"/>
                    <a:gd name="connsiteY0" fmla="*/ 16307 h 16306"/>
                    <a:gd name="connsiteX1" fmla="*/ 8153 w 107876"/>
                    <a:gd name="connsiteY1" fmla="*/ 16307 h 16306"/>
                    <a:gd name="connsiteX2" fmla="*/ 0 w 107876"/>
                    <a:gd name="connsiteY2" fmla="*/ 8154 h 16306"/>
                    <a:gd name="connsiteX3" fmla="*/ 8153 w 107876"/>
                    <a:gd name="connsiteY3" fmla="*/ 0 h 16306"/>
                    <a:gd name="connsiteX4" fmla="*/ 99723 w 107876"/>
                    <a:gd name="connsiteY4" fmla="*/ 0 h 16306"/>
                    <a:gd name="connsiteX5" fmla="*/ 107877 w 107876"/>
                    <a:gd name="connsiteY5" fmla="*/ 8154 h 16306"/>
                    <a:gd name="connsiteX6" fmla="*/ 99723 w 107876"/>
                    <a:gd name="connsiteY6" fmla="*/ 16307 h 16306"/>
                    <a:gd name="connsiteX7" fmla="*/ 99723 w 107876"/>
                    <a:gd name="connsiteY7" fmla="*/ 16307 h 163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7876" h="16306">
                      <a:moveTo>
                        <a:pt x="99723" y="16307"/>
                      </a:moveTo>
                      <a:lnTo>
                        <a:pt x="8153" y="16307"/>
                      </a:lnTo>
                      <a:cubicBezTo>
                        <a:pt x="3763" y="16307"/>
                        <a:pt x="0" y="12544"/>
                        <a:pt x="0" y="8154"/>
                      </a:cubicBezTo>
                      <a:cubicBezTo>
                        <a:pt x="0" y="3763"/>
                        <a:pt x="3763" y="0"/>
                        <a:pt x="8153" y="0"/>
                      </a:cubicBezTo>
                      <a:lnTo>
                        <a:pt x="99723" y="0"/>
                      </a:lnTo>
                      <a:cubicBezTo>
                        <a:pt x="104114" y="0"/>
                        <a:pt x="107877" y="3763"/>
                        <a:pt x="107877" y="8154"/>
                      </a:cubicBezTo>
                      <a:cubicBezTo>
                        <a:pt x="107877" y="12544"/>
                        <a:pt x="104114" y="16307"/>
                        <a:pt x="99723" y="16307"/>
                      </a:cubicBezTo>
                      <a:lnTo>
                        <a:pt x="99723" y="16307"/>
                      </a:lnTo>
                      <a:close/>
                    </a:path>
                  </a:pathLst>
                </a:custGeom>
                <a:grpFill/>
                <a:ln w="62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210" name="Forma Livre: Forma 209">
                  <a:extLst>
                    <a:ext uri="{FF2B5EF4-FFF2-40B4-BE49-F238E27FC236}">
                      <a16:creationId xmlns:a16="http://schemas.microsoft.com/office/drawing/2014/main" id="{DC6FCF1F-9DBE-4F18-95B3-F58C3754ECE0}"/>
                    </a:ext>
                  </a:extLst>
                </p:cNvPr>
                <p:cNvSpPr/>
                <p:nvPr/>
              </p:nvSpPr>
              <p:spPr>
                <a:xfrm>
                  <a:off x="7640361" y="2781884"/>
                  <a:ext cx="107876" cy="16306"/>
                </a:xfrm>
                <a:custGeom>
                  <a:avLst/>
                  <a:gdLst>
                    <a:gd name="connsiteX0" fmla="*/ 99723 w 107876"/>
                    <a:gd name="connsiteY0" fmla="*/ 16307 h 16306"/>
                    <a:gd name="connsiteX1" fmla="*/ 8153 w 107876"/>
                    <a:gd name="connsiteY1" fmla="*/ 16307 h 16306"/>
                    <a:gd name="connsiteX2" fmla="*/ 0 w 107876"/>
                    <a:gd name="connsiteY2" fmla="*/ 8153 h 16306"/>
                    <a:gd name="connsiteX3" fmla="*/ 8153 w 107876"/>
                    <a:gd name="connsiteY3" fmla="*/ 0 h 16306"/>
                    <a:gd name="connsiteX4" fmla="*/ 99723 w 107876"/>
                    <a:gd name="connsiteY4" fmla="*/ 0 h 16306"/>
                    <a:gd name="connsiteX5" fmla="*/ 107877 w 107876"/>
                    <a:gd name="connsiteY5" fmla="*/ 8153 h 16306"/>
                    <a:gd name="connsiteX6" fmla="*/ 99723 w 107876"/>
                    <a:gd name="connsiteY6" fmla="*/ 16307 h 16306"/>
                    <a:gd name="connsiteX7" fmla="*/ 99723 w 107876"/>
                    <a:gd name="connsiteY7" fmla="*/ 16307 h 163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7876" h="16306">
                      <a:moveTo>
                        <a:pt x="99723" y="16307"/>
                      </a:moveTo>
                      <a:lnTo>
                        <a:pt x="8153" y="16307"/>
                      </a:lnTo>
                      <a:cubicBezTo>
                        <a:pt x="3763" y="16307"/>
                        <a:pt x="0" y="12544"/>
                        <a:pt x="0" y="8153"/>
                      </a:cubicBezTo>
                      <a:cubicBezTo>
                        <a:pt x="0" y="3763"/>
                        <a:pt x="3763" y="0"/>
                        <a:pt x="8153" y="0"/>
                      </a:cubicBezTo>
                      <a:lnTo>
                        <a:pt x="99723" y="0"/>
                      </a:lnTo>
                      <a:cubicBezTo>
                        <a:pt x="104114" y="0"/>
                        <a:pt x="107877" y="3763"/>
                        <a:pt x="107877" y="8153"/>
                      </a:cubicBezTo>
                      <a:cubicBezTo>
                        <a:pt x="107877" y="12544"/>
                        <a:pt x="104114" y="16307"/>
                        <a:pt x="99723" y="16307"/>
                      </a:cubicBezTo>
                      <a:lnTo>
                        <a:pt x="99723" y="16307"/>
                      </a:lnTo>
                      <a:close/>
                    </a:path>
                  </a:pathLst>
                </a:custGeom>
                <a:grpFill/>
                <a:ln w="62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</p:grpSp>
        <p:sp>
          <p:nvSpPr>
            <p:cNvPr id="211" name="Forma Livre: Forma 210">
              <a:extLst>
                <a:ext uri="{FF2B5EF4-FFF2-40B4-BE49-F238E27FC236}">
                  <a16:creationId xmlns:a16="http://schemas.microsoft.com/office/drawing/2014/main" id="{0DD37F36-172D-4E6B-AC0F-FF9DBD1E500E}"/>
                </a:ext>
              </a:extLst>
            </p:cNvPr>
            <p:cNvSpPr/>
            <p:nvPr/>
          </p:nvSpPr>
          <p:spPr>
            <a:xfrm>
              <a:off x="7480428" y="2851503"/>
              <a:ext cx="274082" cy="16306"/>
            </a:xfrm>
            <a:custGeom>
              <a:avLst/>
              <a:gdLst>
                <a:gd name="connsiteX0" fmla="*/ 265929 w 274082"/>
                <a:gd name="connsiteY0" fmla="*/ 16307 h 16306"/>
                <a:gd name="connsiteX1" fmla="*/ 8153 w 274082"/>
                <a:gd name="connsiteY1" fmla="*/ 16307 h 16306"/>
                <a:gd name="connsiteX2" fmla="*/ 0 w 274082"/>
                <a:gd name="connsiteY2" fmla="*/ 8153 h 16306"/>
                <a:gd name="connsiteX3" fmla="*/ 8153 w 274082"/>
                <a:gd name="connsiteY3" fmla="*/ 0 h 16306"/>
                <a:gd name="connsiteX4" fmla="*/ 265929 w 274082"/>
                <a:gd name="connsiteY4" fmla="*/ 0 h 16306"/>
                <a:gd name="connsiteX5" fmla="*/ 274082 w 274082"/>
                <a:gd name="connsiteY5" fmla="*/ 8153 h 16306"/>
                <a:gd name="connsiteX6" fmla="*/ 265929 w 274082"/>
                <a:gd name="connsiteY6" fmla="*/ 16307 h 16306"/>
                <a:gd name="connsiteX7" fmla="*/ 265929 w 274082"/>
                <a:gd name="connsiteY7" fmla="*/ 16307 h 1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4082" h="16306">
                  <a:moveTo>
                    <a:pt x="265929" y="16307"/>
                  </a:moveTo>
                  <a:lnTo>
                    <a:pt x="8153" y="16307"/>
                  </a:lnTo>
                  <a:cubicBezTo>
                    <a:pt x="3763" y="16307"/>
                    <a:pt x="0" y="12544"/>
                    <a:pt x="0" y="8153"/>
                  </a:cubicBezTo>
                  <a:cubicBezTo>
                    <a:pt x="0" y="3763"/>
                    <a:pt x="3763" y="0"/>
                    <a:pt x="8153" y="0"/>
                  </a:cubicBezTo>
                  <a:lnTo>
                    <a:pt x="265929" y="0"/>
                  </a:lnTo>
                  <a:cubicBezTo>
                    <a:pt x="270319" y="0"/>
                    <a:pt x="274082" y="3763"/>
                    <a:pt x="274082" y="8153"/>
                  </a:cubicBezTo>
                  <a:cubicBezTo>
                    <a:pt x="274082" y="12544"/>
                    <a:pt x="270319" y="16307"/>
                    <a:pt x="265929" y="16307"/>
                  </a:cubicBezTo>
                  <a:lnTo>
                    <a:pt x="265929" y="16307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12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10452701" y="2568498"/>
            <a:ext cx="452171" cy="451719"/>
            <a:chOff x="10452701" y="2568498"/>
            <a:chExt cx="452171" cy="451719"/>
          </a:xfrm>
          <a:solidFill>
            <a:srgbClr val="B1B1A1"/>
          </a:solidFill>
        </p:grpSpPr>
        <p:sp>
          <p:nvSpPr>
            <p:cNvPr id="213" name="Forma Livre: Forma 212">
              <a:extLst>
                <a:ext uri="{FF2B5EF4-FFF2-40B4-BE49-F238E27FC236}">
                  <a16:creationId xmlns:a16="http://schemas.microsoft.com/office/drawing/2014/main" id="{C2EF5763-E1B9-43F4-856D-487C72DA1D5A}"/>
                </a:ext>
              </a:extLst>
            </p:cNvPr>
            <p:cNvSpPr/>
            <p:nvPr/>
          </p:nvSpPr>
          <p:spPr>
            <a:xfrm>
              <a:off x="10485230" y="2732365"/>
              <a:ext cx="262205" cy="262137"/>
            </a:xfrm>
            <a:custGeom>
              <a:avLst/>
              <a:gdLst>
                <a:gd name="connsiteX0" fmla="*/ 240283 w 262205"/>
                <a:gd name="connsiteY0" fmla="*/ 262137 h 262137"/>
                <a:gd name="connsiteX1" fmla="*/ 212687 w 262205"/>
                <a:gd name="connsiteY1" fmla="*/ 255238 h 262137"/>
                <a:gd name="connsiteX2" fmla="*/ 197634 w 262205"/>
                <a:gd name="connsiteY2" fmla="*/ 250848 h 262137"/>
                <a:gd name="connsiteX3" fmla="*/ 197634 w 262205"/>
                <a:gd name="connsiteY3" fmla="*/ 250848 h 262137"/>
                <a:gd name="connsiteX4" fmla="*/ 182581 w 262205"/>
                <a:gd name="connsiteY4" fmla="*/ 255238 h 262137"/>
                <a:gd name="connsiteX5" fmla="*/ 145577 w 262205"/>
                <a:gd name="connsiteY5" fmla="*/ 260883 h 262137"/>
                <a:gd name="connsiteX6" fmla="*/ 116099 w 262205"/>
                <a:gd name="connsiteY6" fmla="*/ 237677 h 262137"/>
                <a:gd name="connsiteX7" fmla="*/ 104810 w 262205"/>
                <a:gd name="connsiteY7" fmla="*/ 225760 h 262137"/>
                <a:gd name="connsiteX8" fmla="*/ 89758 w 262205"/>
                <a:gd name="connsiteY8" fmla="*/ 221997 h 262137"/>
                <a:gd name="connsiteX9" fmla="*/ 54634 w 262205"/>
                <a:gd name="connsiteY9" fmla="*/ 207572 h 262137"/>
                <a:gd name="connsiteX10" fmla="*/ 40209 w 262205"/>
                <a:gd name="connsiteY10" fmla="*/ 172449 h 262137"/>
                <a:gd name="connsiteX11" fmla="*/ 36446 w 262205"/>
                <a:gd name="connsiteY11" fmla="*/ 157396 h 262137"/>
                <a:gd name="connsiteX12" fmla="*/ 24530 w 262205"/>
                <a:gd name="connsiteY12" fmla="*/ 146107 h 262137"/>
                <a:gd name="connsiteX13" fmla="*/ 1323 w 262205"/>
                <a:gd name="connsiteY13" fmla="*/ 116629 h 262137"/>
                <a:gd name="connsiteX14" fmla="*/ 6968 w 262205"/>
                <a:gd name="connsiteY14" fmla="*/ 79625 h 262137"/>
                <a:gd name="connsiteX15" fmla="*/ 11359 w 262205"/>
                <a:gd name="connsiteY15" fmla="*/ 64572 h 262137"/>
                <a:gd name="connsiteX16" fmla="*/ 6968 w 262205"/>
                <a:gd name="connsiteY16" fmla="*/ 49520 h 262137"/>
                <a:gd name="connsiteX17" fmla="*/ 1323 w 262205"/>
                <a:gd name="connsiteY17" fmla="*/ 12515 h 262137"/>
                <a:gd name="connsiteX18" fmla="*/ 22021 w 262205"/>
                <a:gd name="connsiteY18" fmla="*/ 599 h 262137"/>
                <a:gd name="connsiteX19" fmla="*/ 33937 w 262205"/>
                <a:gd name="connsiteY19" fmla="*/ 21296 h 262137"/>
                <a:gd name="connsiteX20" fmla="*/ 38327 w 262205"/>
                <a:gd name="connsiteY20" fmla="*/ 38230 h 262137"/>
                <a:gd name="connsiteX21" fmla="*/ 45226 w 262205"/>
                <a:gd name="connsiteY21" fmla="*/ 65199 h 262137"/>
                <a:gd name="connsiteX22" fmla="*/ 38327 w 262205"/>
                <a:gd name="connsiteY22" fmla="*/ 92169 h 262137"/>
                <a:gd name="connsiteX23" fmla="*/ 33937 w 262205"/>
                <a:gd name="connsiteY23" fmla="*/ 109103 h 262137"/>
                <a:gd name="connsiteX24" fmla="*/ 45854 w 262205"/>
                <a:gd name="connsiteY24" fmla="*/ 121019 h 262137"/>
                <a:gd name="connsiteX25" fmla="*/ 65297 w 262205"/>
                <a:gd name="connsiteY25" fmla="*/ 141717 h 262137"/>
                <a:gd name="connsiteX26" fmla="*/ 72823 w 262205"/>
                <a:gd name="connsiteY26" fmla="*/ 168059 h 262137"/>
                <a:gd name="connsiteX27" fmla="*/ 77841 w 262205"/>
                <a:gd name="connsiteY27" fmla="*/ 184993 h 262137"/>
                <a:gd name="connsiteX28" fmla="*/ 94775 w 262205"/>
                <a:gd name="connsiteY28" fmla="*/ 190010 h 262137"/>
                <a:gd name="connsiteX29" fmla="*/ 121117 w 262205"/>
                <a:gd name="connsiteY29" fmla="*/ 197537 h 262137"/>
                <a:gd name="connsiteX30" fmla="*/ 141814 w 262205"/>
                <a:gd name="connsiteY30" fmla="*/ 216979 h 262137"/>
                <a:gd name="connsiteX31" fmla="*/ 153731 w 262205"/>
                <a:gd name="connsiteY31" fmla="*/ 228896 h 262137"/>
                <a:gd name="connsiteX32" fmla="*/ 170665 w 262205"/>
                <a:gd name="connsiteY32" fmla="*/ 224506 h 262137"/>
                <a:gd name="connsiteX33" fmla="*/ 197634 w 262205"/>
                <a:gd name="connsiteY33" fmla="*/ 217607 h 262137"/>
                <a:gd name="connsiteX34" fmla="*/ 197634 w 262205"/>
                <a:gd name="connsiteY34" fmla="*/ 217607 h 262137"/>
                <a:gd name="connsiteX35" fmla="*/ 224604 w 262205"/>
                <a:gd name="connsiteY35" fmla="*/ 224506 h 262137"/>
                <a:gd name="connsiteX36" fmla="*/ 241537 w 262205"/>
                <a:gd name="connsiteY36" fmla="*/ 228896 h 262137"/>
                <a:gd name="connsiteX37" fmla="*/ 261607 w 262205"/>
                <a:gd name="connsiteY37" fmla="*/ 240813 h 262137"/>
                <a:gd name="connsiteX38" fmla="*/ 249691 w 262205"/>
                <a:gd name="connsiteY38" fmla="*/ 260883 h 262137"/>
                <a:gd name="connsiteX39" fmla="*/ 240283 w 262205"/>
                <a:gd name="connsiteY39" fmla="*/ 262137 h 262137"/>
                <a:gd name="connsiteX40" fmla="*/ 240283 w 262205"/>
                <a:gd name="connsiteY40" fmla="*/ 262137 h 262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62205" h="262137">
                  <a:moveTo>
                    <a:pt x="240283" y="262137"/>
                  </a:moveTo>
                  <a:cubicBezTo>
                    <a:pt x="230248" y="262137"/>
                    <a:pt x="220840" y="258374"/>
                    <a:pt x="212687" y="255238"/>
                  </a:cubicBezTo>
                  <a:cubicBezTo>
                    <a:pt x="207042" y="253357"/>
                    <a:pt x="201397" y="250848"/>
                    <a:pt x="197634" y="250848"/>
                  </a:cubicBezTo>
                  <a:lnTo>
                    <a:pt x="197634" y="250848"/>
                  </a:lnTo>
                  <a:cubicBezTo>
                    <a:pt x="193871" y="250848"/>
                    <a:pt x="188226" y="253357"/>
                    <a:pt x="182581" y="255238"/>
                  </a:cubicBezTo>
                  <a:cubicBezTo>
                    <a:pt x="171919" y="259001"/>
                    <a:pt x="159376" y="264019"/>
                    <a:pt x="145577" y="260883"/>
                  </a:cubicBezTo>
                  <a:cubicBezTo>
                    <a:pt x="131779" y="257120"/>
                    <a:pt x="122998" y="246458"/>
                    <a:pt x="116099" y="237677"/>
                  </a:cubicBezTo>
                  <a:cubicBezTo>
                    <a:pt x="112336" y="232659"/>
                    <a:pt x="107945" y="228269"/>
                    <a:pt x="104810" y="225760"/>
                  </a:cubicBezTo>
                  <a:cubicBezTo>
                    <a:pt x="101674" y="223879"/>
                    <a:pt x="95402" y="223251"/>
                    <a:pt x="89758" y="221997"/>
                  </a:cubicBezTo>
                  <a:cubicBezTo>
                    <a:pt x="78468" y="220115"/>
                    <a:pt x="64670" y="218234"/>
                    <a:pt x="54634" y="207572"/>
                  </a:cubicBezTo>
                  <a:cubicBezTo>
                    <a:pt x="44599" y="197537"/>
                    <a:pt x="42090" y="183111"/>
                    <a:pt x="40209" y="172449"/>
                  </a:cubicBezTo>
                  <a:cubicBezTo>
                    <a:pt x="39582" y="166804"/>
                    <a:pt x="38327" y="160532"/>
                    <a:pt x="36446" y="157396"/>
                  </a:cubicBezTo>
                  <a:cubicBezTo>
                    <a:pt x="34564" y="154260"/>
                    <a:pt x="29547" y="149870"/>
                    <a:pt x="24530" y="146107"/>
                  </a:cubicBezTo>
                  <a:cubicBezTo>
                    <a:pt x="15749" y="139208"/>
                    <a:pt x="5087" y="130427"/>
                    <a:pt x="1323" y="116629"/>
                  </a:cubicBezTo>
                  <a:cubicBezTo>
                    <a:pt x="-2440" y="102831"/>
                    <a:pt x="2578" y="89660"/>
                    <a:pt x="6968" y="79625"/>
                  </a:cubicBezTo>
                  <a:cubicBezTo>
                    <a:pt x="8850" y="73980"/>
                    <a:pt x="11359" y="68335"/>
                    <a:pt x="11359" y="64572"/>
                  </a:cubicBezTo>
                  <a:cubicBezTo>
                    <a:pt x="11359" y="60809"/>
                    <a:pt x="8850" y="55164"/>
                    <a:pt x="6968" y="49520"/>
                  </a:cubicBezTo>
                  <a:cubicBezTo>
                    <a:pt x="3205" y="38857"/>
                    <a:pt x="-1813" y="25686"/>
                    <a:pt x="1323" y="12515"/>
                  </a:cubicBezTo>
                  <a:cubicBezTo>
                    <a:pt x="3832" y="3735"/>
                    <a:pt x="12613" y="-1910"/>
                    <a:pt x="22021" y="599"/>
                  </a:cubicBezTo>
                  <a:cubicBezTo>
                    <a:pt x="30801" y="3108"/>
                    <a:pt x="36446" y="11888"/>
                    <a:pt x="33937" y="21296"/>
                  </a:cubicBezTo>
                  <a:cubicBezTo>
                    <a:pt x="33310" y="24432"/>
                    <a:pt x="35819" y="31958"/>
                    <a:pt x="38327" y="38230"/>
                  </a:cubicBezTo>
                  <a:cubicBezTo>
                    <a:pt x="41463" y="46384"/>
                    <a:pt x="45226" y="55792"/>
                    <a:pt x="45226" y="65199"/>
                  </a:cubicBezTo>
                  <a:cubicBezTo>
                    <a:pt x="45226" y="75234"/>
                    <a:pt x="41463" y="84015"/>
                    <a:pt x="38327" y="92169"/>
                  </a:cubicBezTo>
                  <a:cubicBezTo>
                    <a:pt x="35819" y="98440"/>
                    <a:pt x="33310" y="105967"/>
                    <a:pt x="33937" y="109103"/>
                  </a:cubicBezTo>
                  <a:cubicBezTo>
                    <a:pt x="34564" y="112239"/>
                    <a:pt x="40836" y="117256"/>
                    <a:pt x="45854" y="121019"/>
                  </a:cubicBezTo>
                  <a:cubicBezTo>
                    <a:pt x="52753" y="126664"/>
                    <a:pt x="60279" y="132936"/>
                    <a:pt x="65297" y="141717"/>
                  </a:cubicBezTo>
                  <a:cubicBezTo>
                    <a:pt x="70314" y="149870"/>
                    <a:pt x="71569" y="159905"/>
                    <a:pt x="72823" y="168059"/>
                  </a:cubicBezTo>
                  <a:cubicBezTo>
                    <a:pt x="74078" y="174958"/>
                    <a:pt x="75332" y="182484"/>
                    <a:pt x="77841" y="184993"/>
                  </a:cubicBezTo>
                  <a:cubicBezTo>
                    <a:pt x="80350" y="187502"/>
                    <a:pt x="87876" y="188756"/>
                    <a:pt x="94775" y="190010"/>
                  </a:cubicBezTo>
                  <a:cubicBezTo>
                    <a:pt x="102928" y="191265"/>
                    <a:pt x="112963" y="193146"/>
                    <a:pt x="121117" y="197537"/>
                  </a:cubicBezTo>
                  <a:cubicBezTo>
                    <a:pt x="129897" y="202554"/>
                    <a:pt x="136169" y="210081"/>
                    <a:pt x="141814" y="216979"/>
                  </a:cubicBezTo>
                  <a:cubicBezTo>
                    <a:pt x="145577" y="221997"/>
                    <a:pt x="150595" y="228269"/>
                    <a:pt x="153731" y="228896"/>
                  </a:cubicBezTo>
                  <a:cubicBezTo>
                    <a:pt x="156867" y="229523"/>
                    <a:pt x="164393" y="227015"/>
                    <a:pt x="170665" y="224506"/>
                  </a:cubicBezTo>
                  <a:cubicBezTo>
                    <a:pt x="178818" y="221370"/>
                    <a:pt x="187599" y="217607"/>
                    <a:pt x="197634" y="217607"/>
                  </a:cubicBezTo>
                  <a:lnTo>
                    <a:pt x="197634" y="217607"/>
                  </a:lnTo>
                  <a:cubicBezTo>
                    <a:pt x="207669" y="217607"/>
                    <a:pt x="216450" y="221370"/>
                    <a:pt x="224604" y="224506"/>
                  </a:cubicBezTo>
                  <a:cubicBezTo>
                    <a:pt x="230875" y="227015"/>
                    <a:pt x="237774" y="229523"/>
                    <a:pt x="241537" y="228896"/>
                  </a:cubicBezTo>
                  <a:cubicBezTo>
                    <a:pt x="250318" y="226387"/>
                    <a:pt x="259726" y="232032"/>
                    <a:pt x="261607" y="240813"/>
                  </a:cubicBezTo>
                  <a:cubicBezTo>
                    <a:pt x="264116" y="249593"/>
                    <a:pt x="258471" y="259001"/>
                    <a:pt x="249691" y="260883"/>
                  </a:cubicBezTo>
                  <a:cubicBezTo>
                    <a:pt x="246555" y="261510"/>
                    <a:pt x="243419" y="262137"/>
                    <a:pt x="240283" y="262137"/>
                  </a:cubicBezTo>
                  <a:lnTo>
                    <a:pt x="240283" y="262137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14" name="Forma Livre: Forma 213">
              <a:extLst>
                <a:ext uri="{FF2B5EF4-FFF2-40B4-BE49-F238E27FC236}">
                  <a16:creationId xmlns:a16="http://schemas.microsoft.com/office/drawing/2014/main" id="{865D9A37-0BE0-4B6A-867E-A20A08629A9C}"/>
                </a:ext>
              </a:extLst>
            </p:cNvPr>
            <p:cNvSpPr/>
            <p:nvPr/>
          </p:nvSpPr>
          <p:spPr>
            <a:xfrm>
              <a:off x="10617664" y="2599930"/>
              <a:ext cx="262206" cy="262234"/>
            </a:xfrm>
            <a:custGeom>
              <a:avLst/>
              <a:gdLst>
                <a:gd name="connsiteX0" fmla="*/ 244576 w 262206"/>
                <a:gd name="connsiteY0" fmla="*/ 262234 h 262234"/>
                <a:gd name="connsiteX1" fmla="*/ 240186 w 262206"/>
                <a:gd name="connsiteY1" fmla="*/ 261607 h 262234"/>
                <a:gd name="connsiteX2" fmla="*/ 228269 w 262206"/>
                <a:gd name="connsiteY2" fmla="*/ 240910 h 262234"/>
                <a:gd name="connsiteX3" fmla="*/ 223879 w 262206"/>
                <a:gd name="connsiteY3" fmla="*/ 223976 h 262234"/>
                <a:gd name="connsiteX4" fmla="*/ 216979 w 262206"/>
                <a:gd name="connsiteY4" fmla="*/ 197007 h 262234"/>
                <a:gd name="connsiteX5" fmla="*/ 223879 w 262206"/>
                <a:gd name="connsiteY5" fmla="*/ 170038 h 262234"/>
                <a:gd name="connsiteX6" fmla="*/ 228269 w 262206"/>
                <a:gd name="connsiteY6" fmla="*/ 153103 h 262234"/>
                <a:gd name="connsiteX7" fmla="*/ 216352 w 262206"/>
                <a:gd name="connsiteY7" fmla="*/ 141187 h 262234"/>
                <a:gd name="connsiteX8" fmla="*/ 196909 w 262206"/>
                <a:gd name="connsiteY8" fmla="*/ 120489 h 262234"/>
                <a:gd name="connsiteX9" fmla="*/ 189383 w 262206"/>
                <a:gd name="connsiteY9" fmla="*/ 94147 h 262234"/>
                <a:gd name="connsiteX10" fmla="*/ 184366 w 262206"/>
                <a:gd name="connsiteY10" fmla="*/ 77213 h 262234"/>
                <a:gd name="connsiteX11" fmla="*/ 167432 w 262206"/>
                <a:gd name="connsiteY11" fmla="*/ 72196 h 262234"/>
                <a:gd name="connsiteX12" fmla="*/ 141089 w 262206"/>
                <a:gd name="connsiteY12" fmla="*/ 64669 h 262234"/>
                <a:gd name="connsiteX13" fmla="*/ 120393 w 262206"/>
                <a:gd name="connsiteY13" fmla="*/ 45226 h 262234"/>
                <a:gd name="connsiteX14" fmla="*/ 108476 w 262206"/>
                <a:gd name="connsiteY14" fmla="*/ 33310 h 262234"/>
                <a:gd name="connsiteX15" fmla="*/ 91541 w 262206"/>
                <a:gd name="connsiteY15" fmla="*/ 37700 h 262234"/>
                <a:gd name="connsiteX16" fmla="*/ 64572 w 262206"/>
                <a:gd name="connsiteY16" fmla="*/ 44599 h 262234"/>
                <a:gd name="connsiteX17" fmla="*/ 37603 w 262206"/>
                <a:gd name="connsiteY17" fmla="*/ 37700 h 262234"/>
                <a:gd name="connsiteX18" fmla="*/ 20669 w 262206"/>
                <a:gd name="connsiteY18" fmla="*/ 33310 h 262234"/>
                <a:gd name="connsiteX19" fmla="*/ 598 w 262206"/>
                <a:gd name="connsiteY19" fmla="*/ 21393 h 262234"/>
                <a:gd name="connsiteX20" fmla="*/ 12515 w 262206"/>
                <a:gd name="connsiteY20" fmla="*/ 1323 h 262234"/>
                <a:gd name="connsiteX21" fmla="*/ 49520 w 262206"/>
                <a:gd name="connsiteY21" fmla="*/ 6968 h 262234"/>
                <a:gd name="connsiteX22" fmla="*/ 64572 w 262206"/>
                <a:gd name="connsiteY22" fmla="*/ 11358 h 262234"/>
                <a:gd name="connsiteX23" fmla="*/ 79625 w 262206"/>
                <a:gd name="connsiteY23" fmla="*/ 6968 h 262234"/>
                <a:gd name="connsiteX24" fmla="*/ 116629 w 262206"/>
                <a:gd name="connsiteY24" fmla="*/ 1323 h 262234"/>
                <a:gd name="connsiteX25" fmla="*/ 146107 w 262206"/>
                <a:gd name="connsiteY25" fmla="*/ 24529 h 262234"/>
                <a:gd name="connsiteX26" fmla="*/ 157396 w 262206"/>
                <a:gd name="connsiteY26" fmla="*/ 36446 h 262234"/>
                <a:gd name="connsiteX27" fmla="*/ 172449 w 262206"/>
                <a:gd name="connsiteY27" fmla="*/ 40209 h 262234"/>
                <a:gd name="connsiteX28" fmla="*/ 207571 w 262206"/>
                <a:gd name="connsiteY28" fmla="*/ 54634 h 262234"/>
                <a:gd name="connsiteX29" fmla="*/ 221997 w 262206"/>
                <a:gd name="connsiteY29" fmla="*/ 89757 h 262234"/>
                <a:gd name="connsiteX30" fmla="*/ 225760 w 262206"/>
                <a:gd name="connsiteY30" fmla="*/ 104810 h 262234"/>
                <a:gd name="connsiteX31" fmla="*/ 237677 w 262206"/>
                <a:gd name="connsiteY31" fmla="*/ 116099 h 262234"/>
                <a:gd name="connsiteX32" fmla="*/ 260883 w 262206"/>
                <a:gd name="connsiteY32" fmla="*/ 145577 h 262234"/>
                <a:gd name="connsiteX33" fmla="*/ 255239 w 262206"/>
                <a:gd name="connsiteY33" fmla="*/ 182581 h 262234"/>
                <a:gd name="connsiteX34" fmla="*/ 250848 w 262206"/>
                <a:gd name="connsiteY34" fmla="*/ 197634 h 262234"/>
                <a:gd name="connsiteX35" fmla="*/ 255239 w 262206"/>
                <a:gd name="connsiteY35" fmla="*/ 212686 h 262234"/>
                <a:gd name="connsiteX36" fmla="*/ 260883 w 262206"/>
                <a:gd name="connsiteY36" fmla="*/ 249691 h 262234"/>
                <a:gd name="connsiteX37" fmla="*/ 244576 w 262206"/>
                <a:gd name="connsiteY37" fmla="*/ 262234 h 262234"/>
                <a:gd name="connsiteX38" fmla="*/ 244576 w 262206"/>
                <a:gd name="connsiteY38" fmla="*/ 262234 h 262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62206" h="262234">
                  <a:moveTo>
                    <a:pt x="244576" y="262234"/>
                  </a:moveTo>
                  <a:cubicBezTo>
                    <a:pt x="243322" y="262234"/>
                    <a:pt x="241440" y="262234"/>
                    <a:pt x="240186" y="261607"/>
                  </a:cubicBezTo>
                  <a:cubicBezTo>
                    <a:pt x="231405" y="259099"/>
                    <a:pt x="225760" y="250318"/>
                    <a:pt x="228269" y="240910"/>
                  </a:cubicBezTo>
                  <a:cubicBezTo>
                    <a:pt x="228896" y="237774"/>
                    <a:pt x="226387" y="230248"/>
                    <a:pt x="223879" y="223976"/>
                  </a:cubicBezTo>
                  <a:cubicBezTo>
                    <a:pt x="220743" y="215822"/>
                    <a:pt x="216979" y="206415"/>
                    <a:pt x="216979" y="197007"/>
                  </a:cubicBezTo>
                  <a:cubicBezTo>
                    <a:pt x="216979" y="186972"/>
                    <a:pt x="220743" y="178191"/>
                    <a:pt x="223879" y="170038"/>
                  </a:cubicBezTo>
                  <a:cubicBezTo>
                    <a:pt x="226387" y="163766"/>
                    <a:pt x="228896" y="156239"/>
                    <a:pt x="228269" y="153103"/>
                  </a:cubicBezTo>
                  <a:cubicBezTo>
                    <a:pt x="227642" y="149967"/>
                    <a:pt x="221370" y="144950"/>
                    <a:pt x="216352" y="141187"/>
                  </a:cubicBezTo>
                  <a:cubicBezTo>
                    <a:pt x="209453" y="135542"/>
                    <a:pt x="201927" y="129270"/>
                    <a:pt x="196909" y="120489"/>
                  </a:cubicBezTo>
                  <a:cubicBezTo>
                    <a:pt x="191892" y="112336"/>
                    <a:pt x="190638" y="102301"/>
                    <a:pt x="189383" y="94147"/>
                  </a:cubicBezTo>
                  <a:cubicBezTo>
                    <a:pt x="188129" y="87248"/>
                    <a:pt x="186875" y="79722"/>
                    <a:pt x="184366" y="77213"/>
                  </a:cubicBezTo>
                  <a:cubicBezTo>
                    <a:pt x="181857" y="74704"/>
                    <a:pt x="174331" y="73450"/>
                    <a:pt x="167432" y="72196"/>
                  </a:cubicBezTo>
                  <a:cubicBezTo>
                    <a:pt x="159278" y="70941"/>
                    <a:pt x="149243" y="69060"/>
                    <a:pt x="141089" y="64669"/>
                  </a:cubicBezTo>
                  <a:cubicBezTo>
                    <a:pt x="132309" y="59652"/>
                    <a:pt x="126037" y="52126"/>
                    <a:pt x="120393" y="45226"/>
                  </a:cubicBezTo>
                  <a:cubicBezTo>
                    <a:pt x="116629" y="40209"/>
                    <a:pt x="111612" y="33937"/>
                    <a:pt x="108476" y="33310"/>
                  </a:cubicBezTo>
                  <a:cubicBezTo>
                    <a:pt x="105340" y="32683"/>
                    <a:pt x="97813" y="35192"/>
                    <a:pt x="91541" y="37700"/>
                  </a:cubicBezTo>
                  <a:cubicBezTo>
                    <a:pt x="83388" y="40836"/>
                    <a:pt x="73980" y="44599"/>
                    <a:pt x="64572" y="44599"/>
                  </a:cubicBezTo>
                  <a:cubicBezTo>
                    <a:pt x="54537" y="44599"/>
                    <a:pt x="45757" y="40836"/>
                    <a:pt x="37603" y="37700"/>
                  </a:cubicBezTo>
                  <a:cubicBezTo>
                    <a:pt x="31331" y="35192"/>
                    <a:pt x="23805" y="32683"/>
                    <a:pt x="20669" y="33310"/>
                  </a:cubicBezTo>
                  <a:cubicBezTo>
                    <a:pt x="11888" y="35819"/>
                    <a:pt x="2480" y="30174"/>
                    <a:pt x="598" y="21393"/>
                  </a:cubicBezTo>
                  <a:cubicBezTo>
                    <a:pt x="-1910" y="12613"/>
                    <a:pt x="3734" y="3205"/>
                    <a:pt x="12515" y="1323"/>
                  </a:cubicBezTo>
                  <a:cubicBezTo>
                    <a:pt x="26314" y="-2440"/>
                    <a:pt x="39485" y="2578"/>
                    <a:pt x="49520" y="6968"/>
                  </a:cubicBezTo>
                  <a:cubicBezTo>
                    <a:pt x="55165" y="8849"/>
                    <a:pt x="60809" y="11358"/>
                    <a:pt x="64572" y="11358"/>
                  </a:cubicBezTo>
                  <a:cubicBezTo>
                    <a:pt x="68335" y="11358"/>
                    <a:pt x="73980" y="8849"/>
                    <a:pt x="79625" y="6968"/>
                  </a:cubicBezTo>
                  <a:cubicBezTo>
                    <a:pt x="90287" y="3205"/>
                    <a:pt x="103458" y="-1813"/>
                    <a:pt x="116629" y="1323"/>
                  </a:cubicBezTo>
                  <a:cubicBezTo>
                    <a:pt x="130427" y="5086"/>
                    <a:pt x="139208" y="15749"/>
                    <a:pt x="146107" y="24529"/>
                  </a:cubicBezTo>
                  <a:cubicBezTo>
                    <a:pt x="149870" y="29547"/>
                    <a:pt x="154260" y="33937"/>
                    <a:pt x="157396" y="36446"/>
                  </a:cubicBezTo>
                  <a:cubicBezTo>
                    <a:pt x="160532" y="38327"/>
                    <a:pt x="166804" y="38955"/>
                    <a:pt x="172449" y="40209"/>
                  </a:cubicBezTo>
                  <a:cubicBezTo>
                    <a:pt x="183739" y="42090"/>
                    <a:pt x="197537" y="43972"/>
                    <a:pt x="207571" y="54634"/>
                  </a:cubicBezTo>
                  <a:cubicBezTo>
                    <a:pt x="217607" y="64669"/>
                    <a:pt x="220115" y="79095"/>
                    <a:pt x="221997" y="89757"/>
                  </a:cubicBezTo>
                  <a:cubicBezTo>
                    <a:pt x="222624" y="95402"/>
                    <a:pt x="223879" y="101674"/>
                    <a:pt x="225760" y="104810"/>
                  </a:cubicBezTo>
                  <a:cubicBezTo>
                    <a:pt x="227642" y="107946"/>
                    <a:pt x="232659" y="112336"/>
                    <a:pt x="237677" y="116099"/>
                  </a:cubicBezTo>
                  <a:cubicBezTo>
                    <a:pt x="246458" y="122998"/>
                    <a:pt x="257120" y="131779"/>
                    <a:pt x="260883" y="145577"/>
                  </a:cubicBezTo>
                  <a:cubicBezTo>
                    <a:pt x="264646" y="159375"/>
                    <a:pt x="259629" y="172546"/>
                    <a:pt x="255239" y="182581"/>
                  </a:cubicBezTo>
                  <a:cubicBezTo>
                    <a:pt x="253357" y="188226"/>
                    <a:pt x="250848" y="193871"/>
                    <a:pt x="250848" y="197634"/>
                  </a:cubicBezTo>
                  <a:cubicBezTo>
                    <a:pt x="250848" y="201397"/>
                    <a:pt x="253357" y="207042"/>
                    <a:pt x="255239" y="212686"/>
                  </a:cubicBezTo>
                  <a:cubicBezTo>
                    <a:pt x="259002" y="223349"/>
                    <a:pt x="264019" y="236520"/>
                    <a:pt x="260883" y="249691"/>
                  </a:cubicBezTo>
                  <a:cubicBezTo>
                    <a:pt x="259002" y="257217"/>
                    <a:pt x="252103" y="262234"/>
                    <a:pt x="244576" y="262234"/>
                  </a:cubicBezTo>
                  <a:lnTo>
                    <a:pt x="244576" y="262234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15" name="Forma Livre: Forma 214">
              <a:extLst>
                <a:ext uri="{FF2B5EF4-FFF2-40B4-BE49-F238E27FC236}">
                  <a16:creationId xmlns:a16="http://schemas.microsoft.com/office/drawing/2014/main" id="{1AF1110E-A64E-4014-B5D9-ED6502226811}"/>
                </a:ext>
              </a:extLst>
            </p:cNvPr>
            <p:cNvSpPr/>
            <p:nvPr/>
          </p:nvSpPr>
          <p:spPr>
            <a:xfrm>
              <a:off x="10452701" y="2568498"/>
              <a:ext cx="452171" cy="451719"/>
            </a:xfrm>
            <a:custGeom>
              <a:avLst/>
              <a:gdLst>
                <a:gd name="connsiteX0" fmla="*/ 334903 w 452171"/>
                <a:gd name="connsiteY0" fmla="*/ 451719 h 451719"/>
                <a:gd name="connsiteX1" fmla="*/ 287237 w 452171"/>
                <a:gd name="connsiteY1" fmla="*/ 431649 h 451719"/>
                <a:gd name="connsiteX2" fmla="*/ 20054 w 452171"/>
                <a:gd name="connsiteY2" fmla="*/ 164466 h 451719"/>
                <a:gd name="connsiteX3" fmla="*/ 16291 w 452171"/>
                <a:gd name="connsiteY3" fmla="*/ 76659 h 451719"/>
                <a:gd name="connsiteX4" fmla="*/ 77128 w 452171"/>
                <a:gd name="connsiteY4" fmla="*/ 15822 h 451719"/>
                <a:gd name="connsiteX5" fmla="*/ 164935 w 452171"/>
                <a:gd name="connsiteY5" fmla="*/ 19585 h 451719"/>
                <a:gd name="connsiteX6" fmla="*/ 432118 w 452171"/>
                <a:gd name="connsiteY6" fmla="*/ 286768 h 451719"/>
                <a:gd name="connsiteX7" fmla="*/ 435881 w 452171"/>
                <a:gd name="connsiteY7" fmla="*/ 374575 h 451719"/>
                <a:gd name="connsiteX8" fmla="*/ 375043 w 452171"/>
                <a:gd name="connsiteY8" fmla="*/ 435412 h 451719"/>
                <a:gd name="connsiteX9" fmla="*/ 334903 w 452171"/>
                <a:gd name="connsiteY9" fmla="*/ 451719 h 451719"/>
                <a:gd name="connsiteX10" fmla="*/ 334903 w 452171"/>
                <a:gd name="connsiteY10" fmla="*/ 451719 h 451719"/>
                <a:gd name="connsiteX11" fmla="*/ 117895 w 452171"/>
                <a:gd name="connsiteY11" fmla="*/ 32129 h 451719"/>
                <a:gd name="connsiteX12" fmla="*/ 100961 w 452171"/>
                <a:gd name="connsiteY12" fmla="*/ 39028 h 451719"/>
                <a:gd name="connsiteX13" fmla="*/ 40123 w 452171"/>
                <a:gd name="connsiteY13" fmla="*/ 99865 h 451719"/>
                <a:gd name="connsiteX14" fmla="*/ 43887 w 452171"/>
                <a:gd name="connsiteY14" fmla="*/ 140633 h 451719"/>
                <a:gd name="connsiteX15" fmla="*/ 311070 w 452171"/>
                <a:gd name="connsiteY15" fmla="*/ 407816 h 451719"/>
                <a:gd name="connsiteX16" fmla="*/ 334903 w 452171"/>
                <a:gd name="connsiteY16" fmla="*/ 418478 h 451719"/>
                <a:gd name="connsiteX17" fmla="*/ 351838 w 452171"/>
                <a:gd name="connsiteY17" fmla="*/ 411579 h 451719"/>
                <a:gd name="connsiteX18" fmla="*/ 412675 w 452171"/>
                <a:gd name="connsiteY18" fmla="*/ 350742 h 451719"/>
                <a:gd name="connsiteX19" fmla="*/ 408912 w 452171"/>
                <a:gd name="connsiteY19" fmla="*/ 309974 h 451719"/>
                <a:gd name="connsiteX20" fmla="*/ 141729 w 452171"/>
                <a:gd name="connsiteY20" fmla="*/ 42791 h 451719"/>
                <a:gd name="connsiteX21" fmla="*/ 117895 w 452171"/>
                <a:gd name="connsiteY21" fmla="*/ 32129 h 451719"/>
                <a:gd name="connsiteX22" fmla="*/ 117895 w 452171"/>
                <a:gd name="connsiteY22" fmla="*/ 32129 h 451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52171" h="451719">
                  <a:moveTo>
                    <a:pt x="334903" y="451719"/>
                  </a:moveTo>
                  <a:cubicBezTo>
                    <a:pt x="317342" y="451719"/>
                    <a:pt x="300408" y="444193"/>
                    <a:pt x="287237" y="431649"/>
                  </a:cubicBezTo>
                  <a:lnTo>
                    <a:pt x="20054" y="164466"/>
                  </a:lnTo>
                  <a:cubicBezTo>
                    <a:pt x="-5034" y="139378"/>
                    <a:pt x="-6916" y="99865"/>
                    <a:pt x="16291" y="76659"/>
                  </a:cubicBezTo>
                  <a:lnTo>
                    <a:pt x="77128" y="15822"/>
                  </a:lnTo>
                  <a:cubicBezTo>
                    <a:pt x="99707" y="-6757"/>
                    <a:pt x="141102" y="-4876"/>
                    <a:pt x="164935" y="19585"/>
                  </a:cubicBezTo>
                  <a:lnTo>
                    <a:pt x="432118" y="286768"/>
                  </a:lnTo>
                  <a:cubicBezTo>
                    <a:pt x="457205" y="311856"/>
                    <a:pt x="459087" y="351369"/>
                    <a:pt x="435881" y="374575"/>
                  </a:cubicBezTo>
                  <a:lnTo>
                    <a:pt x="375043" y="435412"/>
                  </a:lnTo>
                  <a:cubicBezTo>
                    <a:pt x="365009" y="445447"/>
                    <a:pt x="350583" y="451719"/>
                    <a:pt x="334903" y="451719"/>
                  </a:cubicBezTo>
                  <a:lnTo>
                    <a:pt x="334903" y="451719"/>
                  </a:lnTo>
                  <a:close/>
                  <a:moveTo>
                    <a:pt x="117895" y="32129"/>
                  </a:moveTo>
                  <a:cubicBezTo>
                    <a:pt x="112878" y="32129"/>
                    <a:pt x="106606" y="33383"/>
                    <a:pt x="100961" y="39028"/>
                  </a:cubicBezTo>
                  <a:lnTo>
                    <a:pt x="40123" y="99865"/>
                  </a:lnTo>
                  <a:cubicBezTo>
                    <a:pt x="30089" y="109900"/>
                    <a:pt x="31343" y="128716"/>
                    <a:pt x="43887" y="140633"/>
                  </a:cubicBezTo>
                  <a:lnTo>
                    <a:pt x="311070" y="407816"/>
                  </a:lnTo>
                  <a:cubicBezTo>
                    <a:pt x="317969" y="414715"/>
                    <a:pt x="326123" y="418478"/>
                    <a:pt x="334903" y="418478"/>
                  </a:cubicBezTo>
                  <a:cubicBezTo>
                    <a:pt x="339921" y="418478"/>
                    <a:pt x="346193" y="417224"/>
                    <a:pt x="351838" y="411579"/>
                  </a:cubicBezTo>
                  <a:lnTo>
                    <a:pt x="412675" y="350742"/>
                  </a:lnTo>
                  <a:cubicBezTo>
                    <a:pt x="422710" y="340706"/>
                    <a:pt x="421456" y="321891"/>
                    <a:pt x="408912" y="309974"/>
                  </a:cubicBezTo>
                  <a:lnTo>
                    <a:pt x="141729" y="42791"/>
                  </a:lnTo>
                  <a:cubicBezTo>
                    <a:pt x="135457" y="35892"/>
                    <a:pt x="126676" y="32129"/>
                    <a:pt x="117895" y="32129"/>
                  </a:cubicBezTo>
                  <a:lnTo>
                    <a:pt x="117895" y="32129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216" name="Gráfico 2">
              <a:extLst>
                <a:ext uri="{FF2B5EF4-FFF2-40B4-BE49-F238E27FC236}">
                  <a16:creationId xmlns:a16="http://schemas.microsoft.com/office/drawing/2014/main" id="{F5ABA5BB-819F-4501-AD77-3F762FEA4CEA}"/>
                </a:ext>
              </a:extLst>
            </p:cNvPr>
            <p:cNvGrpSpPr/>
            <p:nvPr/>
          </p:nvGrpSpPr>
          <p:grpSpPr>
            <a:xfrm>
              <a:off x="10508504" y="2634885"/>
              <a:ext cx="324885" cy="331393"/>
              <a:chOff x="10508504" y="2634885"/>
              <a:chExt cx="324885" cy="331393"/>
            </a:xfrm>
            <a:grpFill/>
          </p:grpSpPr>
          <p:sp>
            <p:nvSpPr>
              <p:cNvPr id="217" name="Forma Livre: Forma 216">
                <a:extLst>
                  <a:ext uri="{FF2B5EF4-FFF2-40B4-BE49-F238E27FC236}">
                    <a16:creationId xmlns:a16="http://schemas.microsoft.com/office/drawing/2014/main" id="{F3BEE947-4642-4055-8E3A-A2F3A3EE2941}"/>
                  </a:ext>
                </a:extLst>
              </p:cNvPr>
              <p:cNvSpPr/>
              <p:nvPr/>
            </p:nvSpPr>
            <p:spPr>
              <a:xfrm>
                <a:off x="10508504" y="2634885"/>
                <a:ext cx="99096" cy="81101"/>
              </a:xfrm>
              <a:custGeom>
                <a:avLst/>
                <a:gdLst>
                  <a:gd name="connsiteX0" fmla="*/ 14426 w 99096"/>
                  <a:gd name="connsiteY0" fmla="*/ 45394 h 81101"/>
                  <a:gd name="connsiteX1" fmla="*/ 23207 w 99096"/>
                  <a:gd name="connsiteY1" fmla="*/ 59193 h 81101"/>
                  <a:gd name="connsiteX2" fmla="*/ 40140 w 99096"/>
                  <a:gd name="connsiteY2" fmla="*/ 61074 h 81101"/>
                  <a:gd name="connsiteX3" fmla="*/ 42649 w 99096"/>
                  <a:gd name="connsiteY3" fmla="*/ 41004 h 81101"/>
                  <a:gd name="connsiteX4" fmla="*/ 48921 w 99096"/>
                  <a:gd name="connsiteY4" fmla="*/ 9017 h 81101"/>
                  <a:gd name="connsiteX5" fmla="*/ 90943 w 99096"/>
                  <a:gd name="connsiteY5" fmla="*/ 10272 h 81101"/>
                  <a:gd name="connsiteX6" fmla="*/ 99096 w 99096"/>
                  <a:gd name="connsiteY6" fmla="*/ 23443 h 81101"/>
                  <a:gd name="connsiteX7" fmla="*/ 85299 w 99096"/>
                  <a:gd name="connsiteY7" fmla="*/ 32851 h 81101"/>
                  <a:gd name="connsiteX8" fmla="*/ 79027 w 99096"/>
                  <a:gd name="connsiteY8" fmla="*/ 21561 h 81101"/>
                  <a:gd name="connsiteX9" fmla="*/ 63347 w 99096"/>
                  <a:gd name="connsiteY9" fmla="*/ 20307 h 81101"/>
                  <a:gd name="connsiteX10" fmla="*/ 62092 w 99096"/>
                  <a:gd name="connsiteY10" fmla="*/ 40377 h 81101"/>
                  <a:gd name="connsiteX11" fmla="*/ 54566 w 99096"/>
                  <a:gd name="connsiteY11" fmla="*/ 72364 h 81101"/>
                  <a:gd name="connsiteX12" fmla="*/ 10663 w 99096"/>
                  <a:gd name="connsiteY12" fmla="*/ 70482 h 81101"/>
                  <a:gd name="connsiteX13" fmla="*/ 0 w 99096"/>
                  <a:gd name="connsiteY13" fmla="*/ 54802 h 81101"/>
                  <a:gd name="connsiteX14" fmla="*/ 14426 w 99096"/>
                  <a:gd name="connsiteY14" fmla="*/ 45394 h 81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9096" h="81101">
                    <a:moveTo>
                      <a:pt x="14426" y="45394"/>
                    </a:moveTo>
                    <a:cubicBezTo>
                      <a:pt x="15680" y="49785"/>
                      <a:pt x="19444" y="55429"/>
                      <a:pt x="23207" y="59193"/>
                    </a:cubicBezTo>
                    <a:cubicBezTo>
                      <a:pt x="29478" y="65465"/>
                      <a:pt x="35750" y="65465"/>
                      <a:pt x="40140" y="61074"/>
                    </a:cubicBezTo>
                    <a:cubicBezTo>
                      <a:pt x="45158" y="56057"/>
                      <a:pt x="44531" y="50412"/>
                      <a:pt x="42649" y="41004"/>
                    </a:cubicBezTo>
                    <a:cubicBezTo>
                      <a:pt x="38886" y="25951"/>
                      <a:pt x="42649" y="15289"/>
                      <a:pt x="48921" y="9017"/>
                    </a:cubicBezTo>
                    <a:cubicBezTo>
                      <a:pt x="60211" y="-2272"/>
                      <a:pt x="76518" y="-4154"/>
                      <a:pt x="90943" y="10272"/>
                    </a:cubicBezTo>
                    <a:cubicBezTo>
                      <a:pt x="95333" y="14662"/>
                      <a:pt x="98469" y="20307"/>
                      <a:pt x="99096" y="23443"/>
                    </a:cubicBezTo>
                    <a:lnTo>
                      <a:pt x="85299" y="32851"/>
                    </a:lnTo>
                    <a:cubicBezTo>
                      <a:pt x="84671" y="29715"/>
                      <a:pt x="82790" y="25324"/>
                      <a:pt x="79027" y="21561"/>
                    </a:cubicBezTo>
                    <a:cubicBezTo>
                      <a:pt x="73382" y="15917"/>
                      <a:pt x="67110" y="16544"/>
                      <a:pt x="63347" y="20307"/>
                    </a:cubicBezTo>
                    <a:cubicBezTo>
                      <a:pt x="58956" y="24697"/>
                      <a:pt x="58956" y="28460"/>
                      <a:pt x="62092" y="40377"/>
                    </a:cubicBezTo>
                    <a:cubicBezTo>
                      <a:pt x="65855" y="55429"/>
                      <a:pt x="62092" y="65465"/>
                      <a:pt x="54566" y="72364"/>
                    </a:cubicBezTo>
                    <a:cubicBezTo>
                      <a:pt x="42022" y="84907"/>
                      <a:pt x="24461" y="83653"/>
                      <a:pt x="10663" y="70482"/>
                    </a:cubicBezTo>
                    <a:cubicBezTo>
                      <a:pt x="5018" y="64837"/>
                      <a:pt x="1255" y="57938"/>
                      <a:pt x="0" y="54802"/>
                    </a:cubicBezTo>
                    <a:lnTo>
                      <a:pt x="14426" y="45394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18" name="Forma Livre: Forma 217">
                <a:extLst>
                  <a:ext uri="{FF2B5EF4-FFF2-40B4-BE49-F238E27FC236}">
                    <a16:creationId xmlns:a16="http://schemas.microsoft.com/office/drawing/2014/main" id="{86E5763F-738A-4023-8DEE-1A684096C951}"/>
                  </a:ext>
                </a:extLst>
              </p:cNvPr>
              <p:cNvSpPr/>
              <p:nvPr/>
            </p:nvSpPr>
            <p:spPr>
              <a:xfrm>
                <a:off x="10551781" y="2667736"/>
                <a:ext cx="96655" cy="81534"/>
              </a:xfrm>
              <a:custGeom>
                <a:avLst/>
                <a:gdLst>
                  <a:gd name="connsiteX0" fmla="*/ 67737 w 96655"/>
                  <a:gd name="connsiteY0" fmla="*/ 0 h 81534"/>
                  <a:gd name="connsiteX1" fmla="*/ 83417 w 96655"/>
                  <a:gd name="connsiteY1" fmla="*/ 12544 h 81534"/>
                  <a:gd name="connsiteX2" fmla="*/ 96588 w 96655"/>
                  <a:gd name="connsiteY2" fmla="*/ 36377 h 81534"/>
                  <a:gd name="connsiteX3" fmla="*/ 87180 w 96655"/>
                  <a:gd name="connsiteY3" fmla="*/ 57702 h 81534"/>
                  <a:gd name="connsiteX4" fmla="*/ 64601 w 96655"/>
                  <a:gd name="connsiteY4" fmla="*/ 68364 h 81534"/>
                  <a:gd name="connsiteX5" fmla="*/ 41394 w 96655"/>
                  <a:gd name="connsiteY5" fmla="*/ 58329 h 81534"/>
                  <a:gd name="connsiteX6" fmla="*/ 38886 w 96655"/>
                  <a:gd name="connsiteY6" fmla="*/ 55820 h 81534"/>
                  <a:gd name="connsiteX7" fmla="*/ 13171 w 96655"/>
                  <a:gd name="connsiteY7" fmla="*/ 81535 h 81534"/>
                  <a:gd name="connsiteX8" fmla="*/ 0 w 96655"/>
                  <a:gd name="connsiteY8" fmla="*/ 68364 h 81534"/>
                  <a:gd name="connsiteX9" fmla="*/ 67737 w 96655"/>
                  <a:gd name="connsiteY9" fmla="*/ 0 h 81534"/>
                  <a:gd name="connsiteX10" fmla="*/ 49548 w 96655"/>
                  <a:gd name="connsiteY10" fmla="*/ 44531 h 81534"/>
                  <a:gd name="connsiteX11" fmla="*/ 51430 w 96655"/>
                  <a:gd name="connsiteY11" fmla="*/ 47039 h 81534"/>
                  <a:gd name="connsiteX12" fmla="*/ 72127 w 96655"/>
                  <a:gd name="connsiteY12" fmla="*/ 45785 h 81534"/>
                  <a:gd name="connsiteX13" fmla="*/ 74009 w 96655"/>
                  <a:gd name="connsiteY13" fmla="*/ 26342 h 81534"/>
                  <a:gd name="connsiteX14" fmla="*/ 70246 w 96655"/>
                  <a:gd name="connsiteY14" fmla="*/ 23833 h 81534"/>
                  <a:gd name="connsiteX15" fmla="*/ 49548 w 96655"/>
                  <a:gd name="connsiteY15" fmla="*/ 44531 h 81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96655" h="81534">
                    <a:moveTo>
                      <a:pt x="67737" y="0"/>
                    </a:moveTo>
                    <a:cubicBezTo>
                      <a:pt x="72127" y="3136"/>
                      <a:pt x="77772" y="7526"/>
                      <a:pt x="83417" y="12544"/>
                    </a:cubicBezTo>
                    <a:cubicBezTo>
                      <a:pt x="91570" y="20697"/>
                      <a:pt x="96588" y="28224"/>
                      <a:pt x="96588" y="36377"/>
                    </a:cubicBezTo>
                    <a:cubicBezTo>
                      <a:pt x="97215" y="43903"/>
                      <a:pt x="93452" y="51430"/>
                      <a:pt x="87180" y="57702"/>
                    </a:cubicBezTo>
                    <a:cubicBezTo>
                      <a:pt x="79654" y="65228"/>
                      <a:pt x="72127" y="68364"/>
                      <a:pt x="64601" y="68364"/>
                    </a:cubicBezTo>
                    <a:cubicBezTo>
                      <a:pt x="55820" y="68991"/>
                      <a:pt x="47039" y="63974"/>
                      <a:pt x="41394" y="58329"/>
                    </a:cubicBezTo>
                    <a:cubicBezTo>
                      <a:pt x="40767" y="57702"/>
                      <a:pt x="39513" y="56447"/>
                      <a:pt x="38886" y="55820"/>
                    </a:cubicBezTo>
                    <a:lnTo>
                      <a:pt x="13171" y="81535"/>
                    </a:lnTo>
                    <a:lnTo>
                      <a:pt x="0" y="68364"/>
                    </a:lnTo>
                    <a:lnTo>
                      <a:pt x="67737" y="0"/>
                    </a:lnTo>
                    <a:close/>
                    <a:moveTo>
                      <a:pt x="49548" y="44531"/>
                    </a:moveTo>
                    <a:cubicBezTo>
                      <a:pt x="50175" y="45158"/>
                      <a:pt x="50802" y="45785"/>
                      <a:pt x="51430" y="47039"/>
                    </a:cubicBezTo>
                    <a:cubicBezTo>
                      <a:pt x="58329" y="53938"/>
                      <a:pt x="65855" y="52057"/>
                      <a:pt x="72127" y="45785"/>
                    </a:cubicBezTo>
                    <a:cubicBezTo>
                      <a:pt x="78399" y="39513"/>
                      <a:pt x="80281" y="32614"/>
                      <a:pt x="74009" y="26342"/>
                    </a:cubicBezTo>
                    <a:cubicBezTo>
                      <a:pt x="72754" y="25088"/>
                      <a:pt x="71500" y="23833"/>
                      <a:pt x="70246" y="23833"/>
                    </a:cubicBezTo>
                    <a:lnTo>
                      <a:pt x="49548" y="44531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19" name="Forma Livre: Forma 218">
                <a:extLst>
                  <a:ext uri="{FF2B5EF4-FFF2-40B4-BE49-F238E27FC236}">
                    <a16:creationId xmlns:a16="http://schemas.microsoft.com/office/drawing/2014/main" id="{444C83E5-A052-41DC-8071-47FA42345F72}"/>
                  </a:ext>
                </a:extLst>
              </p:cNvPr>
              <p:cNvSpPr/>
              <p:nvPr/>
            </p:nvSpPr>
            <p:spPr>
              <a:xfrm>
                <a:off x="10596939" y="2713521"/>
                <a:ext cx="99095" cy="100350"/>
              </a:xfrm>
              <a:custGeom>
                <a:avLst/>
                <a:gdLst>
                  <a:gd name="connsiteX0" fmla="*/ 60210 w 99095"/>
                  <a:gd name="connsiteY0" fmla="*/ 67737 h 100350"/>
                  <a:gd name="connsiteX1" fmla="*/ 44530 w 99095"/>
                  <a:gd name="connsiteY1" fmla="*/ 52057 h 100350"/>
                  <a:gd name="connsiteX2" fmla="*/ 25715 w 99095"/>
                  <a:gd name="connsiteY2" fmla="*/ 70872 h 100350"/>
                  <a:gd name="connsiteX3" fmla="*/ 43276 w 99095"/>
                  <a:gd name="connsiteY3" fmla="*/ 88434 h 100350"/>
                  <a:gd name="connsiteX4" fmla="*/ 31360 w 99095"/>
                  <a:gd name="connsiteY4" fmla="*/ 100351 h 100350"/>
                  <a:gd name="connsiteX5" fmla="*/ 0 w 99095"/>
                  <a:gd name="connsiteY5" fmla="*/ 68991 h 100350"/>
                  <a:gd name="connsiteX6" fmla="*/ 68991 w 99095"/>
                  <a:gd name="connsiteY6" fmla="*/ 0 h 100350"/>
                  <a:gd name="connsiteX7" fmla="*/ 99096 w 99095"/>
                  <a:gd name="connsiteY7" fmla="*/ 30105 h 100350"/>
                  <a:gd name="connsiteX8" fmla="*/ 87179 w 99095"/>
                  <a:gd name="connsiteY8" fmla="*/ 42022 h 100350"/>
                  <a:gd name="connsiteX9" fmla="*/ 70872 w 99095"/>
                  <a:gd name="connsiteY9" fmla="*/ 25715 h 100350"/>
                  <a:gd name="connsiteX10" fmla="*/ 55192 w 99095"/>
                  <a:gd name="connsiteY10" fmla="*/ 41394 h 100350"/>
                  <a:gd name="connsiteX11" fmla="*/ 70872 w 99095"/>
                  <a:gd name="connsiteY11" fmla="*/ 57074 h 100350"/>
                  <a:gd name="connsiteX12" fmla="*/ 60210 w 99095"/>
                  <a:gd name="connsiteY12" fmla="*/ 67737 h 100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9095" h="100350">
                    <a:moveTo>
                      <a:pt x="60210" y="67737"/>
                    </a:moveTo>
                    <a:lnTo>
                      <a:pt x="44530" y="52057"/>
                    </a:lnTo>
                    <a:lnTo>
                      <a:pt x="25715" y="70872"/>
                    </a:lnTo>
                    <a:lnTo>
                      <a:pt x="43276" y="88434"/>
                    </a:lnTo>
                    <a:lnTo>
                      <a:pt x="31360" y="100351"/>
                    </a:lnTo>
                    <a:lnTo>
                      <a:pt x="0" y="68991"/>
                    </a:lnTo>
                    <a:lnTo>
                      <a:pt x="68991" y="0"/>
                    </a:lnTo>
                    <a:lnTo>
                      <a:pt x="99096" y="30105"/>
                    </a:lnTo>
                    <a:lnTo>
                      <a:pt x="87179" y="42022"/>
                    </a:lnTo>
                    <a:lnTo>
                      <a:pt x="70872" y="25715"/>
                    </a:lnTo>
                    <a:lnTo>
                      <a:pt x="55192" y="41394"/>
                    </a:lnTo>
                    <a:lnTo>
                      <a:pt x="70872" y="57074"/>
                    </a:lnTo>
                    <a:lnTo>
                      <a:pt x="60210" y="67737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20" name="Forma Livre: Forma 219">
                <a:extLst>
                  <a:ext uri="{FF2B5EF4-FFF2-40B4-BE49-F238E27FC236}">
                    <a16:creationId xmlns:a16="http://schemas.microsoft.com/office/drawing/2014/main" id="{2504FFA7-75D7-45E5-BF6C-C0F77299BE51}"/>
                  </a:ext>
                </a:extLst>
              </p:cNvPr>
              <p:cNvSpPr/>
              <p:nvPr/>
            </p:nvSpPr>
            <p:spPr>
              <a:xfrm>
                <a:off x="10649782" y="2766707"/>
                <a:ext cx="90155" cy="87931"/>
              </a:xfrm>
              <a:custGeom>
                <a:avLst/>
                <a:gdLst>
                  <a:gd name="connsiteX0" fmla="*/ 22420 w 90155"/>
                  <a:gd name="connsiteY0" fmla="*/ 87931 h 87931"/>
                  <a:gd name="connsiteX1" fmla="*/ 10503 w 90155"/>
                  <a:gd name="connsiteY1" fmla="*/ 79150 h 87931"/>
                  <a:gd name="connsiteX2" fmla="*/ 18656 w 90155"/>
                  <a:gd name="connsiteY2" fmla="*/ 18940 h 87931"/>
                  <a:gd name="connsiteX3" fmla="*/ 82630 w 90155"/>
                  <a:gd name="connsiteY3" fmla="*/ 10787 h 87931"/>
                  <a:gd name="connsiteX4" fmla="*/ 90156 w 90155"/>
                  <a:gd name="connsiteY4" fmla="*/ 22076 h 87931"/>
                  <a:gd name="connsiteX5" fmla="*/ 76358 w 90155"/>
                  <a:gd name="connsiteY5" fmla="*/ 30857 h 87931"/>
                  <a:gd name="connsiteX6" fmla="*/ 71340 w 90155"/>
                  <a:gd name="connsiteY6" fmla="*/ 23331 h 87931"/>
                  <a:gd name="connsiteX7" fmla="*/ 33082 w 90155"/>
                  <a:gd name="connsiteY7" fmla="*/ 32738 h 87931"/>
                  <a:gd name="connsiteX8" fmla="*/ 24301 w 90155"/>
                  <a:gd name="connsiteY8" fmla="*/ 70370 h 87931"/>
                  <a:gd name="connsiteX9" fmla="*/ 31828 w 90155"/>
                  <a:gd name="connsiteY9" fmla="*/ 76015 h 87931"/>
                  <a:gd name="connsiteX10" fmla="*/ 22420 w 90155"/>
                  <a:gd name="connsiteY10" fmla="*/ 87931 h 879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0155" h="87931">
                    <a:moveTo>
                      <a:pt x="22420" y="87931"/>
                    </a:moveTo>
                    <a:cubicBezTo>
                      <a:pt x="19284" y="86677"/>
                      <a:pt x="14893" y="83541"/>
                      <a:pt x="10503" y="79150"/>
                    </a:cubicBezTo>
                    <a:cubicBezTo>
                      <a:pt x="-7059" y="61589"/>
                      <a:pt x="-1414" y="38383"/>
                      <a:pt x="18656" y="18940"/>
                    </a:cubicBezTo>
                    <a:cubicBezTo>
                      <a:pt x="44371" y="-6775"/>
                      <a:pt x="69459" y="-3011"/>
                      <a:pt x="82630" y="10787"/>
                    </a:cubicBezTo>
                    <a:cubicBezTo>
                      <a:pt x="87647" y="15804"/>
                      <a:pt x="89529" y="19567"/>
                      <a:pt x="90156" y="22076"/>
                    </a:cubicBezTo>
                    <a:lnTo>
                      <a:pt x="76358" y="30857"/>
                    </a:lnTo>
                    <a:cubicBezTo>
                      <a:pt x="75731" y="28348"/>
                      <a:pt x="74476" y="26466"/>
                      <a:pt x="71340" y="23331"/>
                    </a:cubicBezTo>
                    <a:cubicBezTo>
                      <a:pt x="63814" y="15804"/>
                      <a:pt x="50643" y="15177"/>
                      <a:pt x="33082" y="32738"/>
                    </a:cubicBezTo>
                    <a:cubicBezTo>
                      <a:pt x="16775" y="49045"/>
                      <a:pt x="16148" y="62216"/>
                      <a:pt x="24301" y="70370"/>
                    </a:cubicBezTo>
                    <a:cubicBezTo>
                      <a:pt x="26810" y="72879"/>
                      <a:pt x="29946" y="74760"/>
                      <a:pt x="31828" y="76015"/>
                    </a:cubicBezTo>
                    <a:lnTo>
                      <a:pt x="22420" y="87931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21" name="Forma Livre: Forma 220">
                <a:extLst>
                  <a:ext uri="{FF2B5EF4-FFF2-40B4-BE49-F238E27FC236}">
                    <a16:creationId xmlns:a16="http://schemas.microsoft.com/office/drawing/2014/main" id="{961F5E1D-8343-4655-848F-AFA907F7B2C1}"/>
                  </a:ext>
                </a:extLst>
              </p:cNvPr>
              <p:cNvSpPr/>
              <p:nvPr/>
            </p:nvSpPr>
            <p:spPr>
              <a:xfrm>
                <a:off x="10679101" y="2794428"/>
                <a:ext cx="82161" cy="82162"/>
              </a:xfrm>
              <a:custGeom>
                <a:avLst/>
                <a:gdLst>
                  <a:gd name="connsiteX0" fmla="*/ 82162 w 82161"/>
                  <a:gd name="connsiteY0" fmla="*/ 13171 h 82162"/>
                  <a:gd name="connsiteX1" fmla="*/ 13171 w 82161"/>
                  <a:gd name="connsiteY1" fmla="*/ 82162 h 82162"/>
                  <a:gd name="connsiteX2" fmla="*/ 0 w 82161"/>
                  <a:gd name="connsiteY2" fmla="*/ 68991 h 82162"/>
                  <a:gd name="connsiteX3" fmla="*/ 68991 w 82161"/>
                  <a:gd name="connsiteY3" fmla="*/ 0 h 82162"/>
                  <a:gd name="connsiteX4" fmla="*/ 82162 w 82161"/>
                  <a:gd name="connsiteY4" fmla="*/ 13171 h 82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61" h="82162">
                    <a:moveTo>
                      <a:pt x="82162" y="13171"/>
                    </a:moveTo>
                    <a:lnTo>
                      <a:pt x="13171" y="82162"/>
                    </a:lnTo>
                    <a:lnTo>
                      <a:pt x="0" y="68991"/>
                    </a:lnTo>
                    <a:lnTo>
                      <a:pt x="68991" y="0"/>
                    </a:lnTo>
                    <a:lnTo>
                      <a:pt x="82162" y="13171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22" name="Forma Livre: Forma 221">
                <a:extLst>
                  <a:ext uri="{FF2B5EF4-FFF2-40B4-BE49-F238E27FC236}">
                    <a16:creationId xmlns:a16="http://schemas.microsoft.com/office/drawing/2014/main" id="{896ABC51-5482-4F76-A94C-36FB57A41EA1}"/>
                  </a:ext>
                </a:extLst>
              </p:cNvPr>
              <p:cNvSpPr/>
              <p:nvPr/>
            </p:nvSpPr>
            <p:spPr>
              <a:xfrm>
                <a:off x="10698544" y="2828924"/>
                <a:ext cx="100350" cy="98468"/>
              </a:xfrm>
              <a:custGeom>
                <a:avLst/>
                <a:gdLst>
                  <a:gd name="connsiteX0" fmla="*/ 31987 w 100350"/>
                  <a:gd name="connsiteY0" fmla="*/ 54565 h 98468"/>
                  <a:gd name="connsiteX1" fmla="*/ 13171 w 100350"/>
                  <a:gd name="connsiteY1" fmla="*/ 67109 h 98468"/>
                  <a:gd name="connsiteX2" fmla="*/ 0 w 100350"/>
                  <a:gd name="connsiteY2" fmla="*/ 53938 h 98468"/>
                  <a:gd name="connsiteX3" fmla="*/ 84044 w 100350"/>
                  <a:gd name="connsiteY3" fmla="*/ 0 h 98468"/>
                  <a:gd name="connsiteX4" fmla="*/ 100351 w 100350"/>
                  <a:gd name="connsiteY4" fmla="*/ 16307 h 98468"/>
                  <a:gd name="connsiteX5" fmla="*/ 44530 w 100350"/>
                  <a:gd name="connsiteY5" fmla="*/ 98469 h 98468"/>
                  <a:gd name="connsiteX6" fmla="*/ 31360 w 100350"/>
                  <a:gd name="connsiteY6" fmla="*/ 85298 h 98468"/>
                  <a:gd name="connsiteX7" fmla="*/ 43903 w 100350"/>
                  <a:gd name="connsiteY7" fmla="*/ 66482 h 98468"/>
                  <a:gd name="connsiteX8" fmla="*/ 31987 w 100350"/>
                  <a:gd name="connsiteY8" fmla="*/ 54565 h 98468"/>
                  <a:gd name="connsiteX9" fmla="*/ 53938 w 100350"/>
                  <a:gd name="connsiteY9" fmla="*/ 55820 h 98468"/>
                  <a:gd name="connsiteX10" fmla="*/ 65855 w 100350"/>
                  <a:gd name="connsiteY10" fmla="*/ 38886 h 98468"/>
                  <a:gd name="connsiteX11" fmla="*/ 79026 w 100350"/>
                  <a:gd name="connsiteY11" fmla="*/ 20697 h 98468"/>
                  <a:gd name="connsiteX12" fmla="*/ 78399 w 100350"/>
                  <a:gd name="connsiteY12" fmla="*/ 20697 h 98468"/>
                  <a:gd name="connsiteX13" fmla="*/ 60210 w 100350"/>
                  <a:gd name="connsiteY13" fmla="*/ 33868 h 98468"/>
                  <a:gd name="connsiteX14" fmla="*/ 43276 w 100350"/>
                  <a:gd name="connsiteY14" fmla="*/ 45785 h 98468"/>
                  <a:gd name="connsiteX15" fmla="*/ 53938 w 100350"/>
                  <a:gd name="connsiteY15" fmla="*/ 55820 h 98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00350" h="98468">
                    <a:moveTo>
                      <a:pt x="31987" y="54565"/>
                    </a:moveTo>
                    <a:lnTo>
                      <a:pt x="13171" y="67109"/>
                    </a:lnTo>
                    <a:lnTo>
                      <a:pt x="0" y="53938"/>
                    </a:lnTo>
                    <a:lnTo>
                      <a:pt x="84044" y="0"/>
                    </a:lnTo>
                    <a:lnTo>
                      <a:pt x="100351" y="16307"/>
                    </a:lnTo>
                    <a:lnTo>
                      <a:pt x="44530" y="98469"/>
                    </a:lnTo>
                    <a:lnTo>
                      <a:pt x="31360" y="85298"/>
                    </a:lnTo>
                    <a:lnTo>
                      <a:pt x="43903" y="66482"/>
                    </a:lnTo>
                    <a:lnTo>
                      <a:pt x="31987" y="54565"/>
                    </a:lnTo>
                    <a:close/>
                    <a:moveTo>
                      <a:pt x="53938" y="55820"/>
                    </a:moveTo>
                    <a:lnTo>
                      <a:pt x="65855" y="38886"/>
                    </a:lnTo>
                    <a:cubicBezTo>
                      <a:pt x="69618" y="33868"/>
                      <a:pt x="75263" y="26342"/>
                      <a:pt x="79026" y="20697"/>
                    </a:cubicBezTo>
                    <a:lnTo>
                      <a:pt x="78399" y="20697"/>
                    </a:lnTo>
                    <a:cubicBezTo>
                      <a:pt x="73381" y="24460"/>
                      <a:pt x="65228" y="30732"/>
                      <a:pt x="60210" y="33868"/>
                    </a:cubicBezTo>
                    <a:lnTo>
                      <a:pt x="43276" y="45785"/>
                    </a:lnTo>
                    <a:lnTo>
                      <a:pt x="53938" y="55820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23" name="Forma Livre: Forma 222">
                <a:extLst>
                  <a:ext uri="{FF2B5EF4-FFF2-40B4-BE49-F238E27FC236}">
                    <a16:creationId xmlns:a16="http://schemas.microsoft.com/office/drawing/2014/main" id="{D2430E0B-B4AE-418F-BF36-13B26018B26D}"/>
                  </a:ext>
                </a:extLst>
              </p:cNvPr>
              <p:cNvSpPr/>
              <p:nvPr/>
            </p:nvSpPr>
            <p:spPr>
              <a:xfrm>
                <a:off x="10751228" y="2866555"/>
                <a:ext cx="82161" cy="99723"/>
              </a:xfrm>
              <a:custGeom>
                <a:avLst/>
                <a:gdLst>
                  <a:gd name="connsiteX0" fmla="*/ 68991 w 82161"/>
                  <a:gd name="connsiteY0" fmla="*/ 0 h 99723"/>
                  <a:gd name="connsiteX1" fmla="*/ 82162 w 82161"/>
                  <a:gd name="connsiteY1" fmla="*/ 13171 h 99723"/>
                  <a:gd name="connsiteX2" fmla="*/ 24461 w 82161"/>
                  <a:gd name="connsiteY2" fmla="*/ 70872 h 99723"/>
                  <a:gd name="connsiteX3" fmla="*/ 42021 w 82161"/>
                  <a:gd name="connsiteY3" fmla="*/ 88434 h 99723"/>
                  <a:gd name="connsiteX4" fmla="*/ 30733 w 82161"/>
                  <a:gd name="connsiteY4" fmla="*/ 99723 h 99723"/>
                  <a:gd name="connsiteX5" fmla="*/ 0 w 82161"/>
                  <a:gd name="connsiteY5" fmla="*/ 68991 h 99723"/>
                  <a:gd name="connsiteX6" fmla="*/ 68991 w 82161"/>
                  <a:gd name="connsiteY6" fmla="*/ 0 h 99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2161" h="99723">
                    <a:moveTo>
                      <a:pt x="68991" y="0"/>
                    </a:moveTo>
                    <a:lnTo>
                      <a:pt x="82162" y="13171"/>
                    </a:lnTo>
                    <a:lnTo>
                      <a:pt x="24461" y="70872"/>
                    </a:lnTo>
                    <a:lnTo>
                      <a:pt x="42021" y="88434"/>
                    </a:lnTo>
                    <a:lnTo>
                      <a:pt x="30733" y="99723"/>
                    </a:lnTo>
                    <a:lnTo>
                      <a:pt x="0" y="68991"/>
                    </a:lnTo>
                    <a:lnTo>
                      <a:pt x="68991" y="0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224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3338459" y="523371"/>
            <a:ext cx="400147" cy="416454"/>
            <a:chOff x="3338459" y="523371"/>
            <a:chExt cx="400147" cy="416454"/>
          </a:xfrm>
          <a:solidFill>
            <a:srgbClr val="B1B1A1"/>
          </a:solidFill>
        </p:grpSpPr>
        <p:sp>
          <p:nvSpPr>
            <p:cNvPr id="225" name="Forma Livre: Forma 224">
              <a:extLst>
                <a:ext uri="{FF2B5EF4-FFF2-40B4-BE49-F238E27FC236}">
                  <a16:creationId xmlns:a16="http://schemas.microsoft.com/office/drawing/2014/main" id="{05CCC86E-C2E5-4FC5-97EE-C51F41BC123B}"/>
                </a:ext>
              </a:extLst>
            </p:cNvPr>
            <p:cNvSpPr/>
            <p:nvPr/>
          </p:nvSpPr>
          <p:spPr>
            <a:xfrm>
              <a:off x="3339087" y="568528"/>
              <a:ext cx="399520" cy="326139"/>
            </a:xfrm>
            <a:custGeom>
              <a:avLst/>
              <a:gdLst>
                <a:gd name="connsiteX0" fmla="*/ 366279 w 399520"/>
                <a:gd name="connsiteY0" fmla="*/ 326139 h 326139"/>
                <a:gd name="connsiteX1" fmla="*/ 33241 w 399520"/>
                <a:gd name="connsiteY1" fmla="*/ 326139 h 326139"/>
                <a:gd name="connsiteX2" fmla="*/ 0 w 399520"/>
                <a:gd name="connsiteY2" fmla="*/ 292898 h 326139"/>
                <a:gd name="connsiteX3" fmla="*/ 0 w 399520"/>
                <a:gd name="connsiteY3" fmla="*/ 33241 h 326139"/>
                <a:gd name="connsiteX4" fmla="*/ 33241 w 399520"/>
                <a:gd name="connsiteY4" fmla="*/ 0 h 326139"/>
                <a:gd name="connsiteX5" fmla="*/ 366279 w 399520"/>
                <a:gd name="connsiteY5" fmla="*/ 0 h 326139"/>
                <a:gd name="connsiteX6" fmla="*/ 399520 w 399520"/>
                <a:gd name="connsiteY6" fmla="*/ 33241 h 326139"/>
                <a:gd name="connsiteX7" fmla="*/ 399520 w 399520"/>
                <a:gd name="connsiteY7" fmla="*/ 292898 h 326139"/>
                <a:gd name="connsiteX8" fmla="*/ 366279 w 399520"/>
                <a:gd name="connsiteY8" fmla="*/ 326139 h 326139"/>
                <a:gd name="connsiteX9" fmla="*/ 366279 w 399520"/>
                <a:gd name="connsiteY9" fmla="*/ 326139 h 326139"/>
                <a:gd name="connsiteX10" fmla="*/ 33241 w 399520"/>
                <a:gd name="connsiteY10" fmla="*/ 33241 h 326139"/>
                <a:gd name="connsiteX11" fmla="*/ 33241 w 399520"/>
                <a:gd name="connsiteY11" fmla="*/ 292898 h 326139"/>
                <a:gd name="connsiteX12" fmla="*/ 366279 w 399520"/>
                <a:gd name="connsiteY12" fmla="*/ 292898 h 326139"/>
                <a:gd name="connsiteX13" fmla="*/ 366279 w 399520"/>
                <a:gd name="connsiteY13" fmla="*/ 33241 h 326139"/>
                <a:gd name="connsiteX14" fmla="*/ 33241 w 399520"/>
                <a:gd name="connsiteY14" fmla="*/ 33241 h 326139"/>
                <a:gd name="connsiteX15" fmla="*/ 33241 w 399520"/>
                <a:gd name="connsiteY15" fmla="*/ 33241 h 326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99520" h="326139">
                  <a:moveTo>
                    <a:pt x="366279" y="326139"/>
                  </a:moveTo>
                  <a:lnTo>
                    <a:pt x="33241" y="326139"/>
                  </a:lnTo>
                  <a:cubicBezTo>
                    <a:pt x="15053" y="326139"/>
                    <a:pt x="0" y="311087"/>
                    <a:pt x="0" y="292898"/>
                  </a:cubicBezTo>
                  <a:lnTo>
                    <a:pt x="0" y="33241"/>
                  </a:lnTo>
                  <a:cubicBezTo>
                    <a:pt x="0" y="15053"/>
                    <a:pt x="15053" y="0"/>
                    <a:pt x="33241" y="0"/>
                  </a:cubicBezTo>
                  <a:lnTo>
                    <a:pt x="366279" y="0"/>
                  </a:lnTo>
                  <a:cubicBezTo>
                    <a:pt x="384468" y="0"/>
                    <a:pt x="399520" y="15053"/>
                    <a:pt x="399520" y="33241"/>
                  </a:cubicBezTo>
                  <a:lnTo>
                    <a:pt x="399520" y="292898"/>
                  </a:lnTo>
                  <a:cubicBezTo>
                    <a:pt x="399520" y="311087"/>
                    <a:pt x="384468" y="326139"/>
                    <a:pt x="366279" y="326139"/>
                  </a:cubicBezTo>
                  <a:lnTo>
                    <a:pt x="366279" y="326139"/>
                  </a:lnTo>
                  <a:close/>
                  <a:moveTo>
                    <a:pt x="33241" y="33241"/>
                  </a:moveTo>
                  <a:lnTo>
                    <a:pt x="33241" y="292898"/>
                  </a:lnTo>
                  <a:lnTo>
                    <a:pt x="366279" y="292898"/>
                  </a:lnTo>
                  <a:lnTo>
                    <a:pt x="366279" y="33241"/>
                  </a:lnTo>
                  <a:lnTo>
                    <a:pt x="33241" y="33241"/>
                  </a:lnTo>
                  <a:lnTo>
                    <a:pt x="33241" y="33241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226" name="Gráfico 2">
              <a:extLst>
                <a:ext uri="{FF2B5EF4-FFF2-40B4-BE49-F238E27FC236}">
                  <a16:creationId xmlns:a16="http://schemas.microsoft.com/office/drawing/2014/main" id="{F5ABA5BB-819F-4501-AD77-3F762FEA4CEA}"/>
                </a:ext>
              </a:extLst>
            </p:cNvPr>
            <p:cNvGrpSpPr/>
            <p:nvPr/>
          </p:nvGrpSpPr>
          <p:grpSpPr>
            <a:xfrm>
              <a:off x="3394279" y="626857"/>
              <a:ext cx="288507" cy="209481"/>
              <a:chOff x="3394279" y="626857"/>
              <a:chExt cx="288507" cy="209481"/>
            </a:xfrm>
            <a:grpFill/>
          </p:grpSpPr>
          <p:grpSp>
            <p:nvGrpSpPr>
              <p:cNvPr id="227" name="Gráfico 2">
                <a:extLst>
                  <a:ext uri="{FF2B5EF4-FFF2-40B4-BE49-F238E27FC236}">
                    <a16:creationId xmlns:a16="http://schemas.microsoft.com/office/drawing/2014/main" id="{F5ABA5BB-819F-4501-AD77-3F762FEA4CEA}"/>
                  </a:ext>
                </a:extLst>
              </p:cNvPr>
              <p:cNvGrpSpPr/>
              <p:nvPr/>
            </p:nvGrpSpPr>
            <p:grpSpPr>
              <a:xfrm>
                <a:off x="3647664" y="626857"/>
                <a:ext cx="35122" cy="209481"/>
                <a:chOff x="3647664" y="626857"/>
                <a:chExt cx="35122" cy="209481"/>
              </a:xfrm>
              <a:grpFill/>
            </p:grpSpPr>
            <p:sp>
              <p:nvSpPr>
                <p:cNvPr id="228" name="Forma Livre: Forma 227">
                  <a:extLst>
                    <a:ext uri="{FF2B5EF4-FFF2-40B4-BE49-F238E27FC236}">
                      <a16:creationId xmlns:a16="http://schemas.microsoft.com/office/drawing/2014/main" id="{B71ED194-8B56-4DE2-8032-2C9E691A89BB}"/>
                    </a:ext>
                  </a:extLst>
                </p:cNvPr>
                <p:cNvSpPr/>
                <p:nvPr/>
              </p:nvSpPr>
              <p:spPr>
                <a:xfrm>
                  <a:off x="3647664" y="626857"/>
                  <a:ext cx="35122" cy="31359"/>
                </a:xfrm>
                <a:custGeom>
                  <a:avLst/>
                  <a:gdLst>
                    <a:gd name="connsiteX0" fmla="*/ 35123 w 35122"/>
                    <a:gd name="connsiteY0" fmla="*/ 0 h 31359"/>
                    <a:gd name="connsiteX1" fmla="*/ 0 w 35122"/>
                    <a:gd name="connsiteY1" fmla="*/ 0 h 31359"/>
                    <a:gd name="connsiteX2" fmla="*/ 0 w 35122"/>
                    <a:gd name="connsiteY2" fmla="*/ 31360 h 31359"/>
                    <a:gd name="connsiteX3" fmla="*/ 35123 w 35122"/>
                    <a:gd name="connsiteY3" fmla="*/ 31360 h 31359"/>
                    <a:gd name="connsiteX4" fmla="*/ 35123 w 35122"/>
                    <a:gd name="connsiteY4" fmla="*/ 0 h 313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122" h="31359">
                      <a:moveTo>
                        <a:pt x="35123" y="0"/>
                      </a:moveTo>
                      <a:lnTo>
                        <a:pt x="0" y="0"/>
                      </a:lnTo>
                      <a:lnTo>
                        <a:pt x="0" y="31360"/>
                      </a:lnTo>
                      <a:lnTo>
                        <a:pt x="35123" y="31360"/>
                      </a:lnTo>
                      <a:lnTo>
                        <a:pt x="35123" y="0"/>
                      </a:lnTo>
                      <a:close/>
                    </a:path>
                  </a:pathLst>
                </a:custGeom>
                <a:grpFill/>
                <a:ln w="62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229" name="Forma Livre: Forma 228">
                  <a:extLst>
                    <a:ext uri="{FF2B5EF4-FFF2-40B4-BE49-F238E27FC236}">
                      <a16:creationId xmlns:a16="http://schemas.microsoft.com/office/drawing/2014/main" id="{1F8A1DAF-2284-48DB-96F2-D58B7464BD82}"/>
                    </a:ext>
                  </a:extLst>
                </p:cNvPr>
                <p:cNvSpPr/>
                <p:nvPr/>
              </p:nvSpPr>
              <p:spPr>
                <a:xfrm>
                  <a:off x="3647664" y="686440"/>
                  <a:ext cx="35122" cy="30732"/>
                </a:xfrm>
                <a:custGeom>
                  <a:avLst/>
                  <a:gdLst>
                    <a:gd name="connsiteX0" fmla="*/ 35123 w 35122"/>
                    <a:gd name="connsiteY0" fmla="*/ 0 h 30732"/>
                    <a:gd name="connsiteX1" fmla="*/ 0 w 35122"/>
                    <a:gd name="connsiteY1" fmla="*/ 0 h 30732"/>
                    <a:gd name="connsiteX2" fmla="*/ 0 w 35122"/>
                    <a:gd name="connsiteY2" fmla="*/ 30732 h 30732"/>
                    <a:gd name="connsiteX3" fmla="*/ 35123 w 35122"/>
                    <a:gd name="connsiteY3" fmla="*/ 30732 h 30732"/>
                    <a:gd name="connsiteX4" fmla="*/ 35123 w 35122"/>
                    <a:gd name="connsiteY4" fmla="*/ 0 h 307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122" h="30732">
                      <a:moveTo>
                        <a:pt x="35123" y="0"/>
                      </a:moveTo>
                      <a:lnTo>
                        <a:pt x="0" y="0"/>
                      </a:lnTo>
                      <a:lnTo>
                        <a:pt x="0" y="30732"/>
                      </a:lnTo>
                      <a:lnTo>
                        <a:pt x="35123" y="30732"/>
                      </a:lnTo>
                      <a:lnTo>
                        <a:pt x="35123" y="0"/>
                      </a:lnTo>
                      <a:close/>
                    </a:path>
                  </a:pathLst>
                </a:custGeom>
                <a:grpFill/>
                <a:ln w="62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230" name="Forma Livre: Forma 229">
                  <a:extLst>
                    <a:ext uri="{FF2B5EF4-FFF2-40B4-BE49-F238E27FC236}">
                      <a16:creationId xmlns:a16="http://schemas.microsoft.com/office/drawing/2014/main" id="{6277C69D-B8A3-4F63-81E8-089551A7F65C}"/>
                    </a:ext>
                  </a:extLst>
                </p:cNvPr>
                <p:cNvSpPr/>
                <p:nvPr/>
              </p:nvSpPr>
              <p:spPr>
                <a:xfrm>
                  <a:off x="3647664" y="745396"/>
                  <a:ext cx="35122" cy="31359"/>
                </a:xfrm>
                <a:custGeom>
                  <a:avLst/>
                  <a:gdLst>
                    <a:gd name="connsiteX0" fmla="*/ 35123 w 35122"/>
                    <a:gd name="connsiteY0" fmla="*/ 0 h 31359"/>
                    <a:gd name="connsiteX1" fmla="*/ 0 w 35122"/>
                    <a:gd name="connsiteY1" fmla="*/ 0 h 31359"/>
                    <a:gd name="connsiteX2" fmla="*/ 0 w 35122"/>
                    <a:gd name="connsiteY2" fmla="*/ 31360 h 31359"/>
                    <a:gd name="connsiteX3" fmla="*/ 35123 w 35122"/>
                    <a:gd name="connsiteY3" fmla="*/ 31360 h 31359"/>
                    <a:gd name="connsiteX4" fmla="*/ 35123 w 35122"/>
                    <a:gd name="connsiteY4" fmla="*/ 0 h 313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122" h="31359">
                      <a:moveTo>
                        <a:pt x="35123" y="0"/>
                      </a:moveTo>
                      <a:lnTo>
                        <a:pt x="0" y="0"/>
                      </a:lnTo>
                      <a:lnTo>
                        <a:pt x="0" y="31360"/>
                      </a:lnTo>
                      <a:lnTo>
                        <a:pt x="35123" y="31360"/>
                      </a:lnTo>
                      <a:lnTo>
                        <a:pt x="35123" y="0"/>
                      </a:lnTo>
                      <a:close/>
                    </a:path>
                  </a:pathLst>
                </a:custGeom>
                <a:grpFill/>
                <a:ln w="62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231" name="Forma Livre: Forma 230">
                  <a:extLst>
                    <a:ext uri="{FF2B5EF4-FFF2-40B4-BE49-F238E27FC236}">
                      <a16:creationId xmlns:a16="http://schemas.microsoft.com/office/drawing/2014/main" id="{96811451-21AE-4925-AEC3-FC748F491AC1}"/>
                    </a:ext>
                  </a:extLst>
                </p:cNvPr>
                <p:cNvSpPr/>
                <p:nvPr/>
              </p:nvSpPr>
              <p:spPr>
                <a:xfrm>
                  <a:off x="3647664" y="804979"/>
                  <a:ext cx="35122" cy="31359"/>
                </a:xfrm>
                <a:custGeom>
                  <a:avLst/>
                  <a:gdLst>
                    <a:gd name="connsiteX0" fmla="*/ 35123 w 35122"/>
                    <a:gd name="connsiteY0" fmla="*/ 0 h 31359"/>
                    <a:gd name="connsiteX1" fmla="*/ 0 w 35122"/>
                    <a:gd name="connsiteY1" fmla="*/ 0 h 31359"/>
                    <a:gd name="connsiteX2" fmla="*/ 0 w 35122"/>
                    <a:gd name="connsiteY2" fmla="*/ 31360 h 31359"/>
                    <a:gd name="connsiteX3" fmla="*/ 35123 w 35122"/>
                    <a:gd name="connsiteY3" fmla="*/ 31360 h 31359"/>
                    <a:gd name="connsiteX4" fmla="*/ 35123 w 35122"/>
                    <a:gd name="connsiteY4" fmla="*/ 0 h 313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122" h="31359">
                      <a:moveTo>
                        <a:pt x="35123" y="0"/>
                      </a:moveTo>
                      <a:lnTo>
                        <a:pt x="0" y="0"/>
                      </a:lnTo>
                      <a:lnTo>
                        <a:pt x="0" y="31360"/>
                      </a:lnTo>
                      <a:lnTo>
                        <a:pt x="35123" y="31360"/>
                      </a:lnTo>
                      <a:lnTo>
                        <a:pt x="35123" y="0"/>
                      </a:lnTo>
                      <a:close/>
                    </a:path>
                  </a:pathLst>
                </a:custGeom>
                <a:grpFill/>
                <a:ln w="62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grpSp>
            <p:nvGrpSpPr>
              <p:cNvPr id="232" name="Gráfico 2">
                <a:extLst>
                  <a:ext uri="{FF2B5EF4-FFF2-40B4-BE49-F238E27FC236}">
                    <a16:creationId xmlns:a16="http://schemas.microsoft.com/office/drawing/2014/main" id="{F5ABA5BB-819F-4501-AD77-3F762FEA4CEA}"/>
                  </a:ext>
                </a:extLst>
              </p:cNvPr>
              <p:cNvGrpSpPr/>
              <p:nvPr/>
            </p:nvGrpSpPr>
            <p:grpSpPr>
              <a:xfrm>
                <a:off x="3394279" y="626857"/>
                <a:ext cx="35749" cy="209481"/>
                <a:chOff x="3394279" y="626857"/>
                <a:chExt cx="35749" cy="209481"/>
              </a:xfrm>
              <a:grpFill/>
            </p:grpSpPr>
            <p:sp>
              <p:nvSpPr>
                <p:cNvPr id="233" name="Forma Livre: Forma 232">
                  <a:extLst>
                    <a:ext uri="{FF2B5EF4-FFF2-40B4-BE49-F238E27FC236}">
                      <a16:creationId xmlns:a16="http://schemas.microsoft.com/office/drawing/2014/main" id="{3AD0EF8A-6BED-4ADD-8348-1E1C01E4BE31}"/>
                    </a:ext>
                  </a:extLst>
                </p:cNvPr>
                <p:cNvSpPr/>
                <p:nvPr/>
              </p:nvSpPr>
              <p:spPr>
                <a:xfrm>
                  <a:off x="3394279" y="626857"/>
                  <a:ext cx="35749" cy="31359"/>
                </a:xfrm>
                <a:custGeom>
                  <a:avLst/>
                  <a:gdLst>
                    <a:gd name="connsiteX0" fmla="*/ 35750 w 35749"/>
                    <a:gd name="connsiteY0" fmla="*/ 0 h 31359"/>
                    <a:gd name="connsiteX1" fmla="*/ 0 w 35749"/>
                    <a:gd name="connsiteY1" fmla="*/ 0 h 31359"/>
                    <a:gd name="connsiteX2" fmla="*/ 0 w 35749"/>
                    <a:gd name="connsiteY2" fmla="*/ 31360 h 31359"/>
                    <a:gd name="connsiteX3" fmla="*/ 35750 w 35749"/>
                    <a:gd name="connsiteY3" fmla="*/ 31360 h 31359"/>
                    <a:gd name="connsiteX4" fmla="*/ 35750 w 35749"/>
                    <a:gd name="connsiteY4" fmla="*/ 0 h 313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749" h="31359">
                      <a:moveTo>
                        <a:pt x="35750" y="0"/>
                      </a:moveTo>
                      <a:lnTo>
                        <a:pt x="0" y="0"/>
                      </a:lnTo>
                      <a:lnTo>
                        <a:pt x="0" y="31360"/>
                      </a:lnTo>
                      <a:lnTo>
                        <a:pt x="35750" y="31360"/>
                      </a:lnTo>
                      <a:lnTo>
                        <a:pt x="35750" y="0"/>
                      </a:lnTo>
                      <a:close/>
                    </a:path>
                  </a:pathLst>
                </a:custGeom>
                <a:grpFill/>
                <a:ln w="62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234" name="Forma Livre: Forma 233">
                  <a:extLst>
                    <a:ext uri="{FF2B5EF4-FFF2-40B4-BE49-F238E27FC236}">
                      <a16:creationId xmlns:a16="http://schemas.microsoft.com/office/drawing/2014/main" id="{BF6A2D15-9B5A-4091-BCA1-2FFA5E93EAE7}"/>
                    </a:ext>
                  </a:extLst>
                </p:cNvPr>
                <p:cNvSpPr/>
                <p:nvPr/>
              </p:nvSpPr>
              <p:spPr>
                <a:xfrm>
                  <a:off x="3394279" y="686440"/>
                  <a:ext cx="35749" cy="30732"/>
                </a:xfrm>
                <a:custGeom>
                  <a:avLst/>
                  <a:gdLst>
                    <a:gd name="connsiteX0" fmla="*/ 35750 w 35749"/>
                    <a:gd name="connsiteY0" fmla="*/ 0 h 30732"/>
                    <a:gd name="connsiteX1" fmla="*/ 0 w 35749"/>
                    <a:gd name="connsiteY1" fmla="*/ 0 h 30732"/>
                    <a:gd name="connsiteX2" fmla="*/ 0 w 35749"/>
                    <a:gd name="connsiteY2" fmla="*/ 30732 h 30732"/>
                    <a:gd name="connsiteX3" fmla="*/ 35750 w 35749"/>
                    <a:gd name="connsiteY3" fmla="*/ 30732 h 30732"/>
                    <a:gd name="connsiteX4" fmla="*/ 35750 w 35749"/>
                    <a:gd name="connsiteY4" fmla="*/ 0 h 307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749" h="30732">
                      <a:moveTo>
                        <a:pt x="35750" y="0"/>
                      </a:moveTo>
                      <a:lnTo>
                        <a:pt x="0" y="0"/>
                      </a:lnTo>
                      <a:lnTo>
                        <a:pt x="0" y="30732"/>
                      </a:lnTo>
                      <a:lnTo>
                        <a:pt x="35750" y="30732"/>
                      </a:lnTo>
                      <a:lnTo>
                        <a:pt x="35750" y="0"/>
                      </a:lnTo>
                      <a:close/>
                    </a:path>
                  </a:pathLst>
                </a:custGeom>
                <a:grpFill/>
                <a:ln w="62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235" name="Forma Livre: Forma 234">
                  <a:extLst>
                    <a:ext uri="{FF2B5EF4-FFF2-40B4-BE49-F238E27FC236}">
                      <a16:creationId xmlns:a16="http://schemas.microsoft.com/office/drawing/2014/main" id="{9892BB64-F523-4FA0-A8C1-9CFC452D5A17}"/>
                    </a:ext>
                  </a:extLst>
                </p:cNvPr>
                <p:cNvSpPr/>
                <p:nvPr/>
              </p:nvSpPr>
              <p:spPr>
                <a:xfrm>
                  <a:off x="3394279" y="745396"/>
                  <a:ext cx="35749" cy="31359"/>
                </a:xfrm>
                <a:custGeom>
                  <a:avLst/>
                  <a:gdLst>
                    <a:gd name="connsiteX0" fmla="*/ 35750 w 35749"/>
                    <a:gd name="connsiteY0" fmla="*/ 0 h 31359"/>
                    <a:gd name="connsiteX1" fmla="*/ 0 w 35749"/>
                    <a:gd name="connsiteY1" fmla="*/ 0 h 31359"/>
                    <a:gd name="connsiteX2" fmla="*/ 0 w 35749"/>
                    <a:gd name="connsiteY2" fmla="*/ 31360 h 31359"/>
                    <a:gd name="connsiteX3" fmla="*/ 35750 w 35749"/>
                    <a:gd name="connsiteY3" fmla="*/ 31360 h 31359"/>
                    <a:gd name="connsiteX4" fmla="*/ 35750 w 35749"/>
                    <a:gd name="connsiteY4" fmla="*/ 0 h 313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749" h="31359">
                      <a:moveTo>
                        <a:pt x="35750" y="0"/>
                      </a:moveTo>
                      <a:lnTo>
                        <a:pt x="0" y="0"/>
                      </a:lnTo>
                      <a:lnTo>
                        <a:pt x="0" y="31360"/>
                      </a:lnTo>
                      <a:lnTo>
                        <a:pt x="35750" y="31360"/>
                      </a:lnTo>
                      <a:lnTo>
                        <a:pt x="35750" y="0"/>
                      </a:lnTo>
                      <a:close/>
                    </a:path>
                  </a:pathLst>
                </a:custGeom>
                <a:grpFill/>
                <a:ln w="62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236" name="Forma Livre: Forma 235">
                  <a:extLst>
                    <a:ext uri="{FF2B5EF4-FFF2-40B4-BE49-F238E27FC236}">
                      <a16:creationId xmlns:a16="http://schemas.microsoft.com/office/drawing/2014/main" id="{1448650C-E4F6-4C2F-A46E-8229E107595B}"/>
                    </a:ext>
                  </a:extLst>
                </p:cNvPr>
                <p:cNvSpPr/>
                <p:nvPr/>
              </p:nvSpPr>
              <p:spPr>
                <a:xfrm>
                  <a:off x="3394279" y="804979"/>
                  <a:ext cx="35749" cy="31359"/>
                </a:xfrm>
                <a:custGeom>
                  <a:avLst/>
                  <a:gdLst>
                    <a:gd name="connsiteX0" fmla="*/ 35750 w 35749"/>
                    <a:gd name="connsiteY0" fmla="*/ 0 h 31359"/>
                    <a:gd name="connsiteX1" fmla="*/ 0 w 35749"/>
                    <a:gd name="connsiteY1" fmla="*/ 0 h 31359"/>
                    <a:gd name="connsiteX2" fmla="*/ 0 w 35749"/>
                    <a:gd name="connsiteY2" fmla="*/ 31360 h 31359"/>
                    <a:gd name="connsiteX3" fmla="*/ 35750 w 35749"/>
                    <a:gd name="connsiteY3" fmla="*/ 31360 h 31359"/>
                    <a:gd name="connsiteX4" fmla="*/ 35750 w 35749"/>
                    <a:gd name="connsiteY4" fmla="*/ 0 h 313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749" h="31359">
                      <a:moveTo>
                        <a:pt x="35750" y="0"/>
                      </a:moveTo>
                      <a:lnTo>
                        <a:pt x="0" y="0"/>
                      </a:lnTo>
                      <a:lnTo>
                        <a:pt x="0" y="31360"/>
                      </a:lnTo>
                      <a:lnTo>
                        <a:pt x="35750" y="31360"/>
                      </a:lnTo>
                      <a:lnTo>
                        <a:pt x="35750" y="0"/>
                      </a:lnTo>
                      <a:close/>
                    </a:path>
                  </a:pathLst>
                </a:custGeom>
                <a:grpFill/>
                <a:ln w="62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</p:grpSp>
        <p:sp>
          <p:nvSpPr>
            <p:cNvPr id="237" name="Forma Livre: Forma 236">
              <a:extLst>
                <a:ext uri="{FF2B5EF4-FFF2-40B4-BE49-F238E27FC236}">
                  <a16:creationId xmlns:a16="http://schemas.microsoft.com/office/drawing/2014/main" id="{0DD878ED-A8C0-4AE3-A93A-79B18D49A3FE}"/>
                </a:ext>
              </a:extLst>
            </p:cNvPr>
            <p:cNvSpPr/>
            <p:nvPr/>
          </p:nvSpPr>
          <p:spPr>
            <a:xfrm>
              <a:off x="3338459" y="523371"/>
              <a:ext cx="33868" cy="416454"/>
            </a:xfrm>
            <a:custGeom>
              <a:avLst/>
              <a:gdLst>
                <a:gd name="connsiteX0" fmla="*/ 16934 w 33868"/>
                <a:gd name="connsiteY0" fmla="*/ 416455 h 416454"/>
                <a:gd name="connsiteX1" fmla="*/ 0 w 33868"/>
                <a:gd name="connsiteY1" fmla="*/ 399521 h 416454"/>
                <a:gd name="connsiteX2" fmla="*/ 0 w 33868"/>
                <a:gd name="connsiteY2" fmla="*/ 16934 h 416454"/>
                <a:gd name="connsiteX3" fmla="*/ 16934 w 33868"/>
                <a:gd name="connsiteY3" fmla="*/ 0 h 416454"/>
                <a:gd name="connsiteX4" fmla="*/ 33868 w 33868"/>
                <a:gd name="connsiteY4" fmla="*/ 16934 h 416454"/>
                <a:gd name="connsiteX5" fmla="*/ 33868 w 33868"/>
                <a:gd name="connsiteY5" fmla="*/ 399521 h 416454"/>
                <a:gd name="connsiteX6" fmla="*/ 16934 w 33868"/>
                <a:gd name="connsiteY6" fmla="*/ 416455 h 416454"/>
                <a:gd name="connsiteX7" fmla="*/ 16934 w 33868"/>
                <a:gd name="connsiteY7" fmla="*/ 416455 h 416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868" h="416454">
                  <a:moveTo>
                    <a:pt x="16934" y="416455"/>
                  </a:moveTo>
                  <a:cubicBezTo>
                    <a:pt x="7526" y="416455"/>
                    <a:pt x="0" y="408928"/>
                    <a:pt x="0" y="399521"/>
                  </a:cubicBezTo>
                  <a:lnTo>
                    <a:pt x="0" y="16934"/>
                  </a:lnTo>
                  <a:cubicBezTo>
                    <a:pt x="0" y="7526"/>
                    <a:pt x="7526" y="0"/>
                    <a:pt x="16934" y="0"/>
                  </a:cubicBezTo>
                  <a:cubicBezTo>
                    <a:pt x="26342" y="0"/>
                    <a:pt x="33868" y="7526"/>
                    <a:pt x="33868" y="16934"/>
                  </a:cubicBezTo>
                  <a:lnTo>
                    <a:pt x="33868" y="399521"/>
                  </a:lnTo>
                  <a:cubicBezTo>
                    <a:pt x="33868" y="408928"/>
                    <a:pt x="26342" y="416455"/>
                    <a:pt x="16934" y="416455"/>
                  </a:cubicBezTo>
                  <a:lnTo>
                    <a:pt x="16934" y="416455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38" name="Forma Livre: Forma 237">
              <a:extLst>
                <a:ext uri="{FF2B5EF4-FFF2-40B4-BE49-F238E27FC236}">
                  <a16:creationId xmlns:a16="http://schemas.microsoft.com/office/drawing/2014/main" id="{2C4B54FF-5052-413C-8690-AF63394D857E}"/>
                </a:ext>
              </a:extLst>
            </p:cNvPr>
            <p:cNvSpPr/>
            <p:nvPr/>
          </p:nvSpPr>
          <p:spPr>
            <a:xfrm>
              <a:off x="3704739" y="523371"/>
              <a:ext cx="33868" cy="416454"/>
            </a:xfrm>
            <a:custGeom>
              <a:avLst/>
              <a:gdLst>
                <a:gd name="connsiteX0" fmla="*/ 16934 w 33868"/>
                <a:gd name="connsiteY0" fmla="*/ 416455 h 416454"/>
                <a:gd name="connsiteX1" fmla="*/ 0 w 33868"/>
                <a:gd name="connsiteY1" fmla="*/ 399521 h 416454"/>
                <a:gd name="connsiteX2" fmla="*/ 0 w 33868"/>
                <a:gd name="connsiteY2" fmla="*/ 16934 h 416454"/>
                <a:gd name="connsiteX3" fmla="*/ 16934 w 33868"/>
                <a:gd name="connsiteY3" fmla="*/ 0 h 416454"/>
                <a:gd name="connsiteX4" fmla="*/ 33868 w 33868"/>
                <a:gd name="connsiteY4" fmla="*/ 16934 h 416454"/>
                <a:gd name="connsiteX5" fmla="*/ 33868 w 33868"/>
                <a:gd name="connsiteY5" fmla="*/ 399521 h 416454"/>
                <a:gd name="connsiteX6" fmla="*/ 16934 w 33868"/>
                <a:gd name="connsiteY6" fmla="*/ 416455 h 416454"/>
                <a:gd name="connsiteX7" fmla="*/ 16934 w 33868"/>
                <a:gd name="connsiteY7" fmla="*/ 416455 h 416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868" h="416454">
                  <a:moveTo>
                    <a:pt x="16934" y="416455"/>
                  </a:moveTo>
                  <a:cubicBezTo>
                    <a:pt x="7526" y="416455"/>
                    <a:pt x="0" y="408928"/>
                    <a:pt x="0" y="399521"/>
                  </a:cubicBezTo>
                  <a:lnTo>
                    <a:pt x="0" y="16934"/>
                  </a:lnTo>
                  <a:cubicBezTo>
                    <a:pt x="0" y="7526"/>
                    <a:pt x="7526" y="0"/>
                    <a:pt x="16934" y="0"/>
                  </a:cubicBezTo>
                  <a:cubicBezTo>
                    <a:pt x="26342" y="0"/>
                    <a:pt x="33868" y="7526"/>
                    <a:pt x="33868" y="16934"/>
                  </a:cubicBezTo>
                  <a:lnTo>
                    <a:pt x="33868" y="399521"/>
                  </a:lnTo>
                  <a:cubicBezTo>
                    <a:pt x="33868" y="408928"/>
                    <a:pt x="26342" y="416455"/>
                    <a:pt x="16934" y="416455"/>
                  </a:cubicBezTo>
                  <a:lnTo>
                    <a:pt x="16934" y="416455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39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2312336" y="2610034"/>
            <a:ext cx="420514" cy="375687"/>
            <a:chOff x="2312336" y="2610034"/>
            <a:chExt cx="420514" cy="375687"/>
          </a:xfrm>
          <a:solidFill>
            <a:srgbClr val="B1B1A1"/>
          </a:solidFill>
        </p:grpSpPr>
        <p:sp>
          <p:nvSpPr>
            <p:cNvPr id="240" name="Forma Livre: Forma 239">
              <a:extLst>
                <a:ext uri="{FF2B5EF4-FFF2-40B4-BE49-F238E27FC236}">
                  <a16:creationId xmlns:a16="http://schemas.microsoft.com/office/drawing/2014/main" id="{2EECD031-8725-4455-A855-70F1511F55B5}"/>
                </a:ext>
              </a:extLst>
            </p:cNvPr>
            <p:cNvSpPr/>
            <p:nvPr/>
          </p:nvSpPr>
          <p:spPr>
            <a:xfrm>
              <a:off x="2460392" y="2610034"/>
              <a:ext cx="206345" cy="206345"/>
            </a:xfrm>
            <a:custGeom>
              <a:avLst/>
              <a:gdLst>
                <a:gd name="connsiteX0" fmla="*/ 103487 w 206345"/>
                <a:gd name="connsiteY0" fmla="*/ 206346 h 206345"/>
                <a:gd name="connsiteX1" fmla="*/ 30105 w 206345"/>
                <a:gd name="connsiteY1" fmla="*/ 176240 h 206345"/>
                <a:gd name="connsiteX2" fmla="*/ 30105 w 206345"/>
                <a:gd name="connsiteY2" fmla="*/ 30105 h 206345"/>
                <a:gd name="connsiteX3" fmla="*/ 103487 w 206345"/>
                <a:gd name="connsiteY3" fmla="*/ 0 h 206345"/>
                <a:gd name="connsiteX4" fmla="*/ 176241 w 206345"/>
                <a:gd name="connsiteY4" fmla="*/ 30105 h 206345"/>
                <a:gd name="connsiteX5" fmla="*/ 206346 w 206345"/>
                <a:gd name="connsiteY5" fmla="*/ 103486 h 206345"/>
                <a:gd name="connsiteX6" fmla="*/ 176241 w 206345"/>
                <a:gd name="connsiteY6" fmla="*/ 176868 h 206345"/>
                <a:gd name="connsiteX7" fmla="*/ 103487 w 206345"/>
                <a:gd name="connsiteY7" fmla="*/ 206346 h 206345"/>
                <a:gd name="connsiteX8" fmla="*/ 103487 w 206345"/>
                <a:gd name="connsiteY8" fmla="*/ 206346 h 206345"/>
                <a:gd name="connsiteX9" fmla="*/ 103487 w 206345"/>
                <a:gd name="connsiteY9" fmla="*/ 16307 h 206345"/>
                <a:gd name="connsiteX10" fmla="*/ 42022 w 206345"/>
                <a:gd name="connsiteY10" fmla="*/ 41394 h 206345"/>
                <a:gd name="connsiteX11" fmla="*/ 42022 w 206345"/>
                <a:gd name="connsiteY11" fmla="*/ 163697 h 206345"/>
                <a:gd name="connsiteX12" fmla="*/ 103487 w 206345"/>
                <a:gd name="connsiteY12" fmla="*/ 188784 h 206345"/>
                <a:gd name="connsiteX13" fmla="*/ 164951 w 206345"/>
                <a:gd name="connsiteY13" fmla="*/ 163697 h 206345"/>
                <a:gd name="connsiteX14" fmla="*/ 190666 w 206345"/>
                <a:gd name="connsiteY14" fmla="*/ 102232 h 206345"/>
                <a:gd name="connsiteX15" fmla="*/ 164951 w 206345"/>
                <a:gd name="connsiteY15" fmla="*/ 40767 h 206345"/>
                <a:gd name="connsiteX16" fmla="*/ 103487 w 206345"/>
                <a:gd name="connsiteY16" fmla="*/ 16307 h 206345"/>
                <a:gd name="connsiteX17" fmla="*/ 103487 w 206345"/>
                <a:gd name="connsiteY17" fmla="*/ 16307 h 206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06345" h="206345">
                  <a:moveTo>
                    <a:pt x="103487" y="206346"/>
                  </a:moveTo>
                  <a:cubicBezTo>
                    <a:pt x="75890" y="206346"/>
                    <a:pt x="50175" y="195683"/>
                    <a:pt x="30105" y="176240"/>
                  </a:cubicBezTo>
                  <a:cubicBezTo>
                    <a:pt x="-10035" y="136100"/>
                    <a:pt x="-10035" y="70245"/>
                    <a:pt x="30105" y="30105"/>
                  </a:cubicBezTo>
                  <a:cubicBezTo>
                    <a:pt x="49548" y="10662"/>
                    <a:pt x="75890" y="0"/>
                    <a:pt x="103487" y="0"/>
                  </a:cubicBezTo>
                  <a:cubicBezTo>
                    <a:pt x="131083" y="0"/>
                    <a:pt x="156798" y="10662"/>
                    <a:pt x="176241" y="30105"/>
                  </a:cubicBezTo>
                  <a:cubicBezTo>
                    <a:pt x="195684" y="49548"/>
                    <a:pt x="206346" y="75263"/>
                    <a:pt x="206346" y="103486"/>
                  </a:cubicBezTo>
                  <a:cubicBezTo>
                    <a:pt x="206346" y="131083"/>
                    <a:pt x="195684" y="156798"/>
                    <a:pt x="176241" y="176868"/>
                  </a:cubicBezTo>
                  <a:cubicBezTo>
                    <a:pt x="156798" y="195683"/>
                    <a:pt x="131083" y="206346"/>
                    <a:pt x="103487" y="206346"/>
                  </a:cubicBezTo>
                  <a:lnTo>
                    <a:pt x="103487" y="206346"/>
                  </a:lnTo>
                  <a:close/>
                  <a:moveTo>
                    <a:pt x="103487" y="16307"/>
                  </a:moveTo>
                  <a:cubicBezTo>
                    <a:pt x="80280" y="16307"/>
                    <a:pt x="58329" y="25088"/>
                    <a:pt x="42022" y="41394"/>
                  </a:cubicBezTo>
                  <a:cubicBezTo>
                    <a:pt x="8154" y="75263"/>
                    <a:pt x="8154" y="130456"/>
                    <a:pt x="42022" y="163697"/>
                  </a:cubicBezTo>
                  <a:cubicBezTo>
                    <a:pt x="58329" y="180004"/>
                    <a:pt x="80280" y="188784"/>
                    <a:pt x="103487" y="188784"/>
                  </a:cubicBezTo>
                  <a:cubicBezTo>
                    <a:pt x="126693" y="188784"/>
                    <a:pt x="148644" y="180004"/>
                    <a:pt x="164951" y="163697"/>
                  </a:cubicBezTo>
                  <a:cubicBezTo>
                    <a:pt x="181258" y="147390"/>
                    <a:pt x="190666" y="125438"/>
                    <a:pt x="190666" y="102232"/>
                  </a:cubicBezTo>
                  <a:cubicBezTo>
                    <a:pt x="190666" y="79026"/>
                    <a:pt x="181885" y="57074"/>
                    <a:pt x="164951" y="40767"/>
                  </a:cubicBezTo>
                  <a:cubicBezTo>
                    <a:pt x="148017" y="25715"/>
                    <a:pt x="126065" y="16307"/>
                    <a:pt x="103487" y="16307"/>
                  </a:cubicBezTo>
                  <a:lnTo>
                    <a:pt x="103487" y="16307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41" name="Forma Livre: Forma 240">
              <a:extLst>
                <a:ext uri="{FF2B5EF4-FFF2-40B4-BE49-F238E27FC236}">
                  <a16:creationId xmlns:a16="http://schemas.microsoft.com/office/drawing/2014/main" id="{7D95E1FE-3E1E-4731-9950-0EBA41E6C7CF}"/>
                </a:ext>
              </a:extLst>
            </p:cNvPr>
            <p:cNvSpPr/>
            <p:nvPr/>
          </p:nvSpPr>
          <p:spPr>
            <a:xfrm>
              <a:off x="2312336" y="2635709"/>
              <a:ext cx="156225" cy="250915"/>
            </a:xfrm>
            <a:custGeom>
              <a:avLst/>
              <a:gdLst>
                <a:gd name="connsiteX0" fmla="*/ 139276 w 156225"/>
                <a:gd name="connsiteY0" fmla="*/ 250916 h 250915"/>
                <a:gd name="connsiteX1" fmla="*/ 122969 w 156225"/>
                <a:gd name="connsiteY1" fmla="*/ 238372 h 250915"/>
                <a:gd name="connsiteX2" fmla="*/ 67149 w 156225"/>
                <a:gd name="connsiteY2" fmla="*/ 35790 h 250915"/>
                <a:gd name="connsiteX3" fmla="*/ 15719 w 156225"/>
                <a:gd name="connsiteY3" fmla="*/ 33281 h 250915"/>
                <a:gd name="connsiteX4" fmla="*/ 40 w 156225"/>
                <a:gd name="connsiteY4" fmla="*/ 15719 h 250915"/>
                <a:gd name="connsiteX5" fmla="*/ 17601 w 156225"/>
                <a:gd name="connsiteY5" fmla="*/ 40 h 250915"/>
                <a:gd name="connsiteX6" fmla="*/ 81574 w 156225"/>
                <a:gd name="connsiteY6" fmla="*/ 2548 h 250915"/>
                <a:gd name="connsiteX7" fmla="*/ 96627 w 156225"/>
                <a:gd name="connsiteY7" fmla="*/ 14465 h 250915"/>
                <a:gd name="connsiteX8" fmla="*/ 155583 w 156225"/>
                <a:gd name="connsiteY8" fmla="*/ 228964 h 250915"/>
                <a:gd name="connsiteX9" fmla="*/ 143666 w 156225"/>
                <a:gd name="connsiteY9" fmla="*/ 249662 h 250915"/>
                <a:gd name="connsiteX10" fmla="*/ 139276 w 156225"/>
                <a:gd name="connsiteY10" fmla="*/ 250916 h 250915"/>
                <a:gd name="connsiteX11" fmla="*/ 139276 w 156225"/>
                <a:gd name="connsiteY11" fmla="*/ 250916 h 250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6225" h="250915">
                  <a:moveTo>
                    <a:pt x="139276" y="250916"/>
                  </a:moveTo>
                  <a:cubicBezTo>
                    <a:pt x="131750" y="250916"/>
                    <a:pt x="125478" y="245898"/>
                    <a:pt x="122969" y="238372"/>
                  </a:cubicBezTo>
                  <a:lnTo>
                    <a:pt x="67149" y="35790"/>
                  </a:lnTo>
                  <a:lnTo>
                    <a:pt x="15719" y="33281"/>
                  </a:lnTo>
                  <a:cubicBezTo>
                    <a:pt x="6311" y="32654"/>
                    <a:pt x="-588" y="25127"/>
                    <a:pt x="40" y="15719"/>
                  </a:cubicBezTo>
                  <a:cubicBezTo>
                    <a:pt x="667" y="6311"/>
                    <a:pt x="8193" y="-587"/>
                    <a:pt x="17601" y="40"/>
                  </a:cubicBezTo>
                  <a:lnTo>
                    <a:pt x="81574" y="2548"/>
                  </a:lnTo>
                  <a:cubicBezTo>
                    <a:pt x="89101" y="2548"/>
                    <a:pt x="94745" y="7566"/>
                    <a:pt x="96627" y="14465"/>
                  </a:cubicBezTo>
                  <a:lnTo>
                    <a:pt x="155583" y="228964"/>
                  </a:lnTo>
                  <a:cubicBezTo>
                    <a:pt x="158092" y="237745"/>
                    <a:pt x="153074" y="247153"/>
                    <a:pt x="143666" y="249662"/>
                  </a:cubicBezTo>
                  <a:cubicBezTo>
                    <a:pt x="141785" y="250916"/>
                    <a:pt x="140530" y="250916"/>
                    <a:pt x="139276" y="250916"/>
                  </a:cubicBezTo>
                  <a:lnTo>
                    <a:pt x="139276" y="250916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42" name="Forma Livre: Forma 241">
              <a:extLst>
                <a:ext uri="{FF2B5EF4-FFF2-40B4-BE49-F238E27FC236}">
                  <a16:creationId xmlns:a16="http://schemas.microsoft.com/office/drawing/2014/main" id="{506E1345-9F56-404A-888B-69B09D63D8A0}"/>
                </a:ext>
              </a:extLst>
            </p:cNvPr>
            <p:cNvSpPr/>
            <p:nvPr/>
          </p:nvSpPr>
          <p:spPr>
            <a:xfrm>
              <a:off x="2445340" y="2894152"/>
              <a:ext cx="91569" cy="91569"/>
            </a:xfrm>
            <a:custGeom>
              <a:avLst/>
              <a:gdLst>
                <a:gd name="connsiteX0" fmla="*/ 45785 w 91569"/>
                <a:gd name="connsiteY0" fmla="*/ 91570 h 91569"/>
                <a:gd name="connsiteX1" fmla="*/ 0 w 91569"/>
                <a:gd name="connsiteY1" fmla="*/ 45785 h 91569"/>
                <a:gd name="connsiteX2" fmla="*/ 45785 w 91569"/>
                <a:gd name="connsiteY2" fmla="*/ 0 h 91569"/>
                <a:gd name="connsiteX3" fmla="*/ 91570 w 91569"/>
                <a:gd name="connsiteY3" fmla="*/ 45785 h 91569"/>
                <a:gd name="connsiteX4" fmla="*/ 45785 w 91569"/>
                <a:gd name="connsiteY4" fmla="*/ 91570 h 91569"/>
                <a:gd name="connsiteX5" fmla="*/ 45785 w 91569"/>
                <a:gd name="connsiteY5" fmla="*/ 91570 h 91569"/>
                <a:gd name="connsiteX6" fmla="*/ 45785 w 91569"/>
                <a:gd name="connsiteY6" fmla="*/ 33241 h 91569"/>
                <a:gd name="connsiteX7" fmla="*/ 33241 w 91569"/>
                <a:gd name="connsiteY7" fmla="*/ 45785 h 91569"/>
                <a:gd name="connsiteX8" fmla="*/ 45785 w 91569"/>
                <a:gd name="connsiteY8" fmla="*/ 58329 h 91569"/>
                <a:gd name="connsiteX9" fmla="*/ 58329 w 91569"/>
                <a:gd name="connsiteY9" fmla="*/ 45785 h 91569"/>
                <a:gd name="connsiteX10" fmla="*/ 45785 w 91569"/>
                <a:gd name="connsiteY10" fmla="*/ 33241 h 91569"/>
                <a:gd name="connsiteX11" fmla="*/ 45785 w 91569"/>
                <a:gd name="connsiteY11" fmla="*/ 33241 h 91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1569" h="91569">
                  <a:moveTo>
                    <a:pt x="45785" y="91570"/>
                  </a:moveTo>
                  <a:cubicBezTo>
                    <a:pt x="20697" y="91570"/>
                    <a:pt x="0" y="70872"/>
                    <a:pt x="0" y="45785"/>
                  </a:cubicBezTo>
                  <a:cubicBezTo>
                    <a:pt x="0" y="20697"/>
                    <a:pt x="20697" y="0"/>
                    <a:pt x="45785" y="0"/>
                  </a:cubicBezTo>
                  <a:cubicBezTo>
                    <a:pt x="70872" y="0"/>
                    <a:pt x="91570" y="20697"/>
                    <a:pt x="91570" y="45785"/>
                  </a:cubicBezTo>
                  <a:cubicBezTo>
                    <a:pt x="91570" y="70872"/>
                    <a:pt x="70872" y="91570"/>
                    <a:pt x="45785" y="91570"/>
                  </a:cubicBezTo>
                  <a:lnTo>
                    <a:pt x="45785" y="91570"/>
                  </a:lnTo>
                  <a:close/>
                  <a:moveTo>
                    <a:pt x="45785" y="33241"/>
                  </a:moveTo>
                  <a:cubicBezTo>
                    <a:pt x="38886" y="33241"/>
                    <a:pt x="33241" y="38886"/>
                    <a:pt x="33241" y="45785"/>
                  </a:cubicBezTo>
                  <a:cubicBezTo>
                    <a:pt x="33241" y="52684"/>
                    <a:pt x="38886" y="58329"/>
                    <a:pt x="45785" y="58329"/>
                  </a:cubicBezTo>
                  <a:cubicBezTo>
                    <a:pt x="52684" y="58329"/>
                    <a:pt x="58329" y="52684"/>
                    <a:pt x="58329" y="45785"/>
                  </a:cubicBezTo>
                  <a:cubicBezTo>
                    <a:pt x="58329" y="38886"/>
                    <a:pt x="52684" y="33241"/>
                    <a:pt x="45785" y="33241"/>
                  </a:cubicBezTo>
                  <a:lnTo>
                    <a:pt x="45785" y="33241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43" name="Forma Livre: Forma 242">
              <a:extLst>
                <a:ext uri="{FF2B5EF4-FFF2-40B4-BE49-F238E27FC236}">
                  <a16:creationId xmlns:a16="http://schemas.microsoft.com/office/drawing/2014/main" id="{4F64C36F-906B-4F38-AD6B-2F2DB9267445}"/>
                </a:ext>
              </a:extLst>
            </p:cNvPr>
            <p:cNvSpPr/>
            <p:nvPr/>
          </p:nvSpPr>
          <p:spPr>
            <a:xfrm>
              <a:off x="2583949" y="2894152"/>
              <a:ext cx="91569" cy="91569"/>
            </a:xfrm>
            <a:custGeom>
              <a:avLst/>
              <a:gdLst>
                <a:gd name="connsiteX0" fmla="*/ 45785 w 91569"/>
                <a:gd name="connsiteY0" fmla="*/ 91570 h 91569"/>
                <a:gd name="connsiteX1" fmla="*/ 0 w 91569"/>
                <a:gd name="connsiteY1" fmla="*/ 45785 h 91569"/>
                <a:gd name="connsiteX2" fmla="*/ 45785 w 91569"/>
                <a:gd name="connsiteY2" fmla="*/ 0 h 91569"/>
                <a:gd name="connsiteX3" fmla="*/ 91570 w 91569"/>
                <a:gd name="connsiteY3" fmla="*/ 45785 h 91569"/>
                <a:gd name="connsiteX4" fmla="*/ 45785 w 91569"/>
                <a:gd name="connsiteY4" fmla="*/ 91570 h 91569"/>
                <a:gd name="connsiteX5" fmla="*/ 45785 w 91569"/>
                <a:gd name="connsiteY5" fmla="*/ 91570 h 91569"/>
                <a:gd name="connsiteX6" fmla="*/ 45785 w 91569"/>
                <a:gd name="connsiteY6" fmla="*/ 33241 h 91569"/>
                <a:gd name="connsiteX7" fmla="*/ 33241 w 91569"/>
                <a:gd name="connsiteY7" fmla="*/ 45785 h 91569"/>
                <a:gd name="connsiteX8" fmla="*/ 45785 w 91569"/>
                <a:gd name="connsiteY8" fmla="*/ 58329 h 91569"/>
                <a:gd name="connsiteX9" fmla="*/ 58329 w 91569"/>
                <a:gd name="connsiteY9" fmla="*/ 45785 h 91569"/>
                <a:gd name="connsiteX10" fmla="*/ 45785 w 91569"/>
                <a:gd name="connsiteY10" fmla="*/ 33241 h 91569"/>
                <a:gd name="connsiteX11" fmla="*/ 45785 w 91569"/>
                <a:gd name="connsiteY11" fmla="*/ 33241 h 91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1569" h="91569">
                  <a:moveTo>
                    <a:pt x="45785" y="91570"/>
                  </a:moveTo>
                  <a:cubicBezTo>
                    <a:pt x="20697" y="91570"/>
                    <a:pt x="0" y="70872"/>
                    <a:pt x="0" y="45785"/>
                  </a:cubicBezTo>
                  <a:cubicBezTo>
                    <a:pt x="0" y="20697"/>
                    <a:pt x="20697" y="0"/>
                    <a:pt x="45785" y="0"/>
                  </a:cubicBezTo>
                  <a:cubicBezTo>
                    <a:pt x="70873" y="0"/>
                    <a:pt x="91570" y="20697"/>
                    <a:pt x="91570" y="45785"/>
                  </a:cubicBezTo>
                  <a:cubicBezTo>
                    <a:pt x="91570" y="70872"/>
                    <a:pt x="71500" y="91570"/>
                    <a:pt x="45785" y="91570"/>
                  </a:cubicBezTo>
                  <a:lnTo>
                    <a:pt x="45785" y="91570"/>
                  </a:lnTo>
                  <a:close/>
                  <a:moveTo>
                    <a:pt x="45785" y="33241"/>
                  </a:moveTo>
                  <a:cubicBezTo>
                    <a:pt x="38886" y="33241"/>
                    <a:pt x="33241" y="38886"/>
                    <a:pt x="33241" y="45785"/>
                  </a:cubicBezTo>
                  <a:cubicBezTo>
                    <a:pt x="33241" y="52684"/>
                    <a:pt x="38886" y="58329"/>
                    <a:pt x="45785" y="58329"/>
                  </a:cubicBezTo>
                  <a:cubicBezTo>
                    <a:pt x="52684" y="58329"/>
                    <a:pt x="58329" y="52684"/>
                    <a:pt x="58329" y="45785"/>
                  </a:cubicBezTo>
                  <a:cubicBezTo>
                    <a:pt x="58329" y="38886"/>
                    <a:pt x="52684" y="33241"/>
                    <a:pt x="45785" y="33241"/>
                  </a:cubicBezTo>
                  <a:lnTo>
                    <a:pt x="45785" y="33241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44" name="Forma Livre: Forma 243">
              <a:extLst>
                <a:ext uri="{FF2B5EF4-FFF2-40B4-BE49-F238E27FC236}">
                  <a16:creationId xmlns:a16="http://schemas.microsoft.com/office/drawing/2014/main" id="{D6430489-9024-4137-86EB-DA4935790511}"/>
                </a:ext>
              </a:extLst>
            </p:cNvPr>
            <p:cNvSpPr/>
            <p:nvPr/>
          </p:nvSpPr>
          <p:spPr>
            <a:xfrm>
              <a:off x="2391423" y="2699722"/>
              <a:ext cx="341427" cy="186902"/>
            </a:xfrm>
            <a:custGeom>
              <a:avLst/>
              <a:gdLst>
                <a:gd name="connsiteX0" fmla="*/ 283469 w 341427"/>
                <a:gd name="connsiteY0" fmla="*/ 186903 h 186902"/>
                <a:gd name="connsiteX1" fmla="*/ 59562 w 341427"/>
                <a:gd name="connsiteY1" fmla="*/ 186903 h 186902"/>
                <a:gd name="connsiteX2" fmla="*/ 43255 w 341427"/>
                <a:gd name="connsiteY2" fmla="*/ 174986 h 186902"/>
                <a:gd name="connsiteX3" fmla="*/ 606 w 341427"/>
                <a:gd name="connsiteY3" fmla="*/ 20697 h 186902"/>
                <a:gd name="connsiteX4" fmla="*/ 3114 w 341427"/>
                <a:gd name="connsiteY4" fmla="*/ 6272 h 186902"/>
                <a:gd name="connsiteX5" fmla="*/ 16286 w 341427"/>
                <a:gd name="connsiteY5" fmla="*/ 0 h 186902"/>
                <a:gd name="connsiteX6" fmla="*/ 76496 w 341427"/>
                <a:gd name="connsiteY6" fmla="*/ 0 h 186902"/>
                <a:gd name="connsiteX7" fmla="*/ 76496 w 341427"/>
                <a:gd name="connsiteY7" fmla="*/ 33241 h 186902"/>
                <a:gd name="connsiteX8" fmla="*/ 38237 w 341427"/>
                <a:gd name="connsiteY8" fmla="*/ 33241 h 186902"/>
                <a:gd name="connsiteX9" fmla="*/ 71478 w 341427"/>
                <a:gd name="connsiteY9" fmla="*/ 154289 h 186902"/>
                <a:gd name="connsiteX10" fmla="*/ 269671 w 341427"/>
                <a:gd name="connsiteY10" fmla="*/ 154289 h 186902"/>
                <a:gd name="connsiteX11" fmla="*/ 302912 w 341427"/>
                <a:gd name="connsiteY11" fmla="*/ 33241 h 186902"/>
                <a:gd name="connsiteX12" fmla="*/ 265280 w 341427"/>
                <a:gd name="connsiteY12" fmla="*/ 33241 h 186902"/>
                <a:gd name="connsiteX13" fmla="*/ 265280 w 341427"/>
                <a:gd name="connsiteY13" fmla="*/ 0 h 186902"/>
                <a:gd name="connsiteX14" fmla="*/ 324863 w 341427"/>
                <a:gd name="connsiteY14" fmla="*/ 0 h 186902"/>
                <a:gd name="connsiteX15" fmla="*/ 338034 w 341427"/>
                <a:gd name="connsiteY15" fmla="*/ 6272 h 186902"/>
                <a:gd name="connsiteX16" fmla="*/ 340543 w 341427"/>
                <a:gd name="connsiteY16" fmla="*/ 20697 h 186902"/>
                <a:gd name="connsiteX17" fmla="*/ 297894 w 341427"/>
                <a:gd name="connsiteY17" fmla="*/ 174986 h 186902"/>
                <a:gd name="connsiteX18" fmla="*/ 283469 w 341427"/>
                <a:gd name="connsiteY18" fmla="*/ 186903 h 186902"/>
                <a:gd name="connsiteX19" fmla="*/ 283469 w 341427"/>
                <a:gd name="connsiteY19" fmla="*/ 186903 h 186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41427" h="186902">
                  <a:moveTo>
                    <a:pt x="283469" y="186903"/>
                  </a:moveTo>
                  <a:lnTo>
                    <a:pt x="59562" y="186903"/>
                  </a:lnTo>
                  <a:cubicBezTo>
                    <a:pt x="52035" y="186903"/>
                    <a:pt x="45763" y="181885"/>
                    <a:pt x="43255" y="174986"/>
                  </a:cubicBezTo>
                  <a:lnTo>
                    <a:pt x="606" y="20697"/>
                  </a:lnTo>
                  <a:cubicBezTo>
                    <a:pt x="-649" y="15680"/>
                    <a:pt x="-21" y="10035"/>
                    <a:pt x="3114" y="6272"/>
                  </a:cubicBezTo>
                  <a:cubicBezTo>
                    <a:pt x="6250" y="1881"/>
                    <a:pt x="11268" y="0"/>
                    <a:pt x="16286" y="0"/>
                  </a:cubicBezTo>
                  <a:lnTo>
                    <a:pt x="76496" y="0"/>
                  </a:lnTo>
                  <a:lnTo>
                    <a:pt x="76496" y="33241"/>
                  </a:lnTo>
                  <a:lnTo>
                    <a:pt x="38237" y="33241"/>
                  </a:lnTo>
                  <a:lnTo>
                    <a:pt x="71478" y="154289"/>
                  </a:lnTo>
                  <a:lnTo>
                    <a:pt x="269671" y="154289"/>
                  </a:lnTo>
                  <a:lnTo>
                    <a:pt x="302912" y="33241"/>
                  </a:lnTo>
                  <a:lnTo>
                    <a:pt x="265280" y="33241"/>
                  </a:lnTo>
                  <a:lnTo>
                    <a:pt x="265280" y="0"/>
                  </a:lnTo>
                  <a:lnTo>
                    <a:pt x="324863" y="0"/>
                  </a:lnTo>
                  <a:cubicBezTo>
                    <a:pt x="329881" y="0"/>
                    <a:pt x="334898" y="2509"/>
                    <a:pt x="338034" y="6272"/>
                  </a:cubicBezTo>
                  <a:cubicBezTo>
                    <a:pt x="341170" y="10662"/>
                    <a:pt x="342425" y="15680"/>
                    <a:pt x="340543" y="20697"/>
                  </a:cubicBezTo>
                  <a:lnTo>
                    <a:pt x="297894" y="174986"/>
                  </a:lnTo>
                  <a:cubicBezTo>
                    <a:pt x="297894" y="181885"/>
                    <a:pt x="290995" y="186903"/>
                    <a:pt x="283469" y="186903"/>
                  </a:cubicBezTo>
                  <a:lnTo>
                    <a:pt x="283469" y="186903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245" name="Gráfico 2">
              <a:extLst>
                <a:ext uri="{FF2B5EF4-FFF2-40B4-BE49-F238E27FC236}">
                  <a16:creationId xmlns:a16="http://schemas.microsoft.com/office/drawing/2014/main" id="{F5ABA5BB-819F-4501-AD77-3F762FEA4CEA}"/>
                </a:ext>
              </a:extLst>
            </p:cNvPr>
            <p:cNvGrpSpPr/>
            <p:nvPr/>
          </p:nvGrpSpPr>
          <p:grpSpPr>
            <a:xfrm>
              <a:off x="2514105" y="2658328"/>
              <a:ext cx="98294" cy="94235"/>
              <a:chOff x="2514105" y="2658328"/>
              <a:chExt cx="98294" cy="94235"/>
            </a:xfrm>
            <a:grpFill/>
          </p:grpSpPr>
          <p:sp>
            <p:nvSpPr>
              <p:cNvPr id="246" name="Forma Livre: Forma 245">
                <a:extLst>
                  <a:ext uri="{FF2B5EF4-FFF2-40B4-BE49-F238E27FC236}">
                    <a16:creationId xmlns:a16="http://schemas.microsoft.com/office/drawing/2014/main" id="{E1240D3E-ED44-4AEB-82A4-223ECF572C56}"/>
                  </a:ext>
                </a:extLst>
              </p:cNvPr>
              <p:cNvSpPr/>
              <p:nvPr/>
            </p:nvSpPr>
            <p:spPr>
              <a:xfrm>
                <a:off x="2521230" y="2665227"/>
                <a:ext cx="84670" cy="80280"/>
              </a:xfrm>
              <a:custGeom>
                <a:avLst/>
                <a:gdLst>
                  <a:gd name="connsiteX0" fmla="*/ 42649 w 84670"/>
                  <a:gd name="connsiteY0" fmla="*/ 0 h 80280"/>
                  <a:gd name="connsiteX1" fmla="*/ 32614 w 84670"/>
                  <a:gd name="connsiteY1" fmla="*/ 30732 h 80280"/>
                  <a:gd name="connsiteX2" fmla="*/ 0 w 84670"/>
                  <a:gd name="connsiteY2" fmla="*/ 30732 h 80280"/>
                  <a:gd name="connsiteX3" fmla="*/ 26342 w 84670"/>
                  <a:gd name="connsiteY3" fmla="*/ 49548 h 80280"/>
                  <a:gd name="connsiteX4" fmla="*/ 16307 w 84670"/>
                  <a:gd name="connsiteY4" fmla="*/ 80280 h 80280"/>
                  <a:gd name="connsiteX5" fmla="*/ 42649 w 84670"/>
                  <a:gd name="connsiteY5" fmla="*/ 61465 h 80280"/>
                  <a:gd name="connsiteX6" fmla="*/ 68364 w 84670"/>
                  <a:gd name="connsiteY6" fmla="*/ 80280 h 80280"/>
                  <a:gd name="connsiteX7" fmla="*/ 58329 w 84670"/>
                  <a:gd name="connsiteY7" fmla="*/ 49548 h 80280"/>
                  <a:gd name="connsiteX8" fmla="*/ 84671 w 84670"/>
                  <a:gd name="connsiteY8" fmla="*/ 30732 h 80280"/>
                  <a:gd name="connsiteX9" fmla="*/ 52684 w 84670"/>
                  <a:gd name="connsiteY9" fmla="*/ 30732 h 80280"/>
                  <a:gd name="connsiteX10" fmla="*/ 42649 w 84670"/>
                  <a:gd name="connsiteY10" fmla="*/ 0 h 80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4670" h="80280">
                    <a:moveTo>
                      <a:pt x="42649" y="0"/>
                    </a:moveTo>
                    <a:lnTo>
                      <a:pt x="32614" y="30732"/>
                    </a:lnTo>
                    <a:lnTo>
                      <a:pt x="0" y="30732"/>
                    </a:lnTo>
                    <a:lnTo>
                      <a:pt x="26342" y="49548"/>
                    </a:lnTo>
                    <a:lnTo>
                      <a:pt x="16307" y="80280"/>
                    </a:lnTo>
                    <a:lnTo>
                      <a:pt x="42649" y="61465"/>
                    </a:lnTo>
                    <a:lnTo>
                      <a:pt x="68364" y="80280"/>
                    </a:lnTo>
                    <a:lnTo>
                      <a:pt x="58329" y="49548"/>
                    </a:lnTo>
                    <a:lnTo>
                      <a:pt x="84671" y="30732"/>
                    </a:lnTo>
                    <a:lnTo>
                      <a:pt x="52684" y="30732"/>
                    </a:lnTo>
                    <a:lnTo>
                      <a:pt x="42649" y="0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47" name="Forma Livre: Forma 246">
                <a:extLst>
                  <a:ext uri="{FF2B5EF4-FFF2-40B4-BE49-F238E27FC236}">
                    <a16:creationId xmlns:a16="http://schemas.microsoft.com/office/drawing/2014/main" id="{384BFA88-96B1-4880-9BF3-426C02852BF3}"/>
                  </a:ext>
                </a:extLst>
              </p:cNvPr>
              <p:cNvSpPr/>
              <p:nvPr/>
            </p:nvSpPr>
            <p:spPr>
              <a:xfrm>
                <a:off x="2514105" y="2658328"/>
                <a:ext cx="98294" cy="94235"/>
              </a:xfrm>
              <a:custGeom>
                <a:avLst/>
                <a:gdLst>
                  <a:gd name="connsiteX0" fmla="*/ 23432 w 98294"/>
                  <a:gd name="connsiteY0" fmla="*/ 94079 h 94235"/>
                  <a:gd name="connsiteX1" fmla="*/ 19042 w 98294"/>
                  <a:gd name="connsiteY1" fmla="*/ 92824 h 94235"/>
                  <a:gd name="connsiteX2" fmla="*/ 16533 w 98294"/>
                  <a:gd name="connsiteY2" fmla="*/ 85298 h 94235"/>
                  <a:gd name="connsiteX3" fmla="*/ 24687 w 98294"/>
                  <a:gd name="connsiteY3" fmla="*/ 59583 h 94235"/>
                  <a:gd name="connsiteX4" fmla="*/ 2735 w 98294"/>
                  <a:gd name="connsiteY4" fmla="*/ 43276 h 94235"/>
                  <a:gd name="connsiteX5" fmla="*/ 226 w 98294"/>
                  <a:gd name="connsiteY5" fmla="*/ 35750 h 94235"/>
                  <a:gd name="connsiteX6" fmla="*/ 7125 w 98294"/>
                  <a:gd name="connsiteY6" fmla="*/ 30732 h 94235"/>
                  <a:gd name="connsiteX7" fmla="*/ 34094 w 98294"/>
                  <a:gd name="connsiteY7" fmla="*/ 30732 h 94235"/>
                  <a:gd name="connsiteX8" fmla="*/ 42248 w 98294"/>
                  <a:gd name="connsiteY8" fmla="*/ 5018 h 94235"/>
                  <a:gd name="connsiteX9" fmla="*/ 49147 w 98294"/>
                  <a:gd name="connsiteY9" fmla="*/ 0 h 94235"/>
                  <a:gd name="connsiteX10" fmla="*/ 49147 w 98294"/>
                  <a:gd name="connsiteY10" fmla="*/ 0 h 94235"/>
                  <a:gd name="connsiteX11" fmla="*/ 56046 w 98294"/>
                  <a:gd name="connsiteY11" fmla="*/ 5018 h 94235"/>
                  <a:gd name="connsiteX12" fmla="*/ 64200 w 98294"/>
                  <a:gd name="connsiteY12" fmla="*/ 30732 h 94235"/>
                  <a:gd name="connsiteX13" fmla="*/ 91169 w 98294"/>
                  <a:gd name="connsiteY13" fmla="*/ 30732 h 94235"/>
                  <a:gd name="connsiteX14" fmla="*/ 98068 w 98294"/>
                  <a:gd name="connsiteY14" fmla="*/ 35750 h 94235"/>
                  <a:gd name="connsiteX15" fmla="*/ 95559 w 98294"/>
                  <a:gd name="connsiteY15" fmla="*/ 43276 h 94235"/>
                  <a:gd name="connsiteX16" fmla="*/ 73608 w 98294"/>
                  <a:gd name="connsiteY16" fmla="*/ 59583 h 94235"/>
                  <a:gd name="connsiteX17" fmla="*/ 81761 w 98294"/>
                  <a:gd name="connsiteY17" fmla="*/ 85298 h 94235"/>
                  <a:gd name="connsiteX18" fmla="*/ 79252 w 98294"/>
                  <a:gd name="connsiteY18" fmla="*/ 92824 h 94235"/>
                  <a:gd name="connsiteX19" fmla="*/ 71099 w 98294"/>
                  <a:gd name="connsiteY19" fmla="*/ 92824 h 94235"/>
                  <a:gd name="connsiteX20" fmla="*/ 49147 w 98294"/>
                  <a:gd name="connsiteY20" fmla="*/ 77145 h 94235"/>
                  <a:gd name="connsiteX21" fmla="*/ 27195 w 98294"/>
                  <a:gd name="connsiteY21" fmla="*/ 92824 h 94235"/>
                  <a:gd name="connsiteX22" fmla="*/ 23432 w 98294"/>
                  <a:gd name="connsiteY22" fmla="*/ 94079 h 94235"/>
                  <a:gd name="connsiteX23" fmla="*/ 23432 w 98294"/>
                  <a:gd name="connsiteY23" fmla="*/ 94079 h 94235"/>
                  <a:gd name="connsiteX24" fmla="*/ 29077 w 98294"/>
                  <a:gd name="connsiteY24" fmla="*/ 44531 h 94235"/>
                  <a:gd name="connsiteX25" fmla="*/ 37858 w 98294"/>
                  <a:gd name="connsiteY25" fmla="*/ 50802 h 94235"/>
                  <a:gd name="connsiteX26" fmla="*/ 40366 w 98294"/>
                  <a:gd name="connsiteY26" fmla="*/ 58329 h 94235"/>
                  <a:gd name="connsiteX27" fmla="*/ 37230 w 98294"/>
                  <a:gd name="connsiteY27" fmla="*/ 68364 h 94235"/>
                  <a:gd name="connsiteX28" fmla="*/ 46011 w 98294"/>
                  <a:gd name="connsiteY28" fmla="*/ 62092 h 94235"/>
                  <a:gd name="connsiteX29" fmla="*/ 54165 w 98294"/>
                  <a:gd name="connsiteY29" fmla="*/ 62092 h 94235"/>
                  <a:gd name="connsiteX30" fmla="*/ 62945 w 98294"/>
                  <a:gd name="connsiteY30" fmla="*/ 68364 h 94235"/>
                  <a:gd name="connsiteX31" fmla="*/ 59809 w 98294"/>
                  <a:gd name="connsiteY31" fmla="*/ 58329 h 94235"/>
                  <a:gd name="connsiteX32" fmla="*/ 62318 w 98294"/>
                  <a:gd name="connsiteY32" fmla="*/ 50802 h 94235"/>
                  <a:gd name="connsiteX33" fmla="*/ 71099 w 98294"/>
                  <a:gd name="connsiteY33" fmla="*/ 44531 h 94235"/>
                  <a:gd name="connsiteX34" fmla="*/ 60436 w 98294"/>
                  <a:gd name="connsiteY34" fmla="*/ 44531 h 94235"/>
                  <a:gd name="connsiteX35" fmla="*/ 53537 w 98294"/>
                  <a:gd name="connsiteY35" fmla="*/ 39513 h 94235"/>
                  <a:gd name="connsiteX36" fmla="*/ 50401 w 98294"/>
                  <a:gd name="connsiteY36" fmla="*/ 29478 h 94235"/>
                  <a:gd name="connsiteX37" fmla="*/ 47266 w 98294"/>
                  <a:gd name="connsiteY37" fmla="*/ 39513 h 94235"/>
                  <a:gd name="connsiteX38" fmla="*/ 40366 w 98294"/>
                  <a:gd name="connsiteY38" fmla="*/ 44531 h 94235"/>
                  <a:gd name="connsiteX39" fmla="*/ 29077 w 98294"/>
                  <a:gd name="connsiteY39" fmla="*/ 44531 h 94235"/>
                  <a:gd name="connsiteX40" fmla="*/ 29077 w 98294"/>
                  <a:gd name="connsiteY40" fmla="*/ 44531 h 94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98294" h="94235">
                    <a:moveTo>
                      <a:pt x="23432" y="94079"/>
                    </a:moveTo>
                    <a:cubicBezTo>
                      <a:pt x="22178" y="94079"/>
                      <a:pt x="20296" y="93451"/>
                      <a:pt x="19042" y="92824"/>
                    </a:cubicBezTo>
                    <a:cubicBezTo>
                      <a:pt x="16533" y="90943"/>
                      <a:pt x="15279" y="87807"/>
                      <a:pt x="16533" y="85298"/>
                    </a:cubicBezTo>
                    <a:lnTo>
                      <a:pt x="24687" y="59583"/>
                    </a:lnTo>
                    <a:lnTo>
                      <a:pt x="2735" y="43276"/>
                    </a:lnTo>
                    <a:cubicBezTo>
                      <a:pt x="226" y="41395"/>
                      <a:pt x="-401" y="38259"/>
                      <a:pt x="226" y="35750"/>
                    </a:cubicBezTo>
                    <a:cubicBezTo>
                      <a:pt x="853" y="32614"/>
                      <a:pt x="3989" y="30732"/>
                      <a:pt x="7125" y="30732"/>
                    </a:cubicBezTo>
                    <a:lnTo>
                      <a:pt x="34094" y="30732"/>
                    </a:lnTo>
                    <a:lnTo>
                      <a:pt x="42248" y="5018"/>
                    </a:lnTo>
                    <a:cubicBezTo>
                      <a:pt x="42875" y="1882"/>
                      <a:pt x="46011" y="0"/>
                      <a:pt x="49147" y="0"/>
                    </a:cubicBezTo>
                    <a:lnTo>
                      <a:pt x="49147" y="0"/>
                    </a:lnTo>
                    <a:cubicBezTo>
                      <a:pt x="52283" y="0"/>
                      <a:pt x="54792" y="1882"/>
                      <a:pt x="56046" y="5018"/>
                    </a:cubicBezTo>
                    <a:lnTo>
                      <a:pt x="64200" y="30732"/>
                    </a:lnTo>
                    <a:lnTo>
                      <a:pt x="91169" y="30732"/>
                    </a:lnTo>
                    <a:cubicBezTo>
                      <a:pt x="94305" y="30732"/>
                      <a:pt x="96814" y="32614"/>
                      <a:pt x="98068" y="35750"/>
                    </a:cubicBezTo>
                    <a:cubicBezTo>
                      <a:pt x="98695" y="38886"/>
                      <a:pt x="98068" y="42022"/>
                      <a:pt x="95559" y="43276"/>
                    </a:cubicBezTo>
                    <a:lnTo>
                      <a:pt x="73608" y="59583"/>
                    </a:lnTo>
                    <a:lnTo>
                      <a:pt x="81761" y="85298"/>
                    </a:lnTo>
                    <a:cubicBezTo>
                      <a:pt x="82388" y="88434"/>
                      <a:pt x="81761" y="91570"/>
                      <a:pt x="79252" y="92824"/>
                    </a:cubicBezTo>
                    <a:cubicBezTo>
                      <a:pt x="76743" y="94706"/>
                      <a:pt x="73608" y="94706"/>
                      <a:pt x="71099" y="92824"/>
                    </a:cubicBezTo>
                    <a:lnTo>
                      <a:pt x="49147" y="77145"/>
                    </a:lnTo>
                    <a:lnTo>
                      <a:pt x="27195" y="92824"/>
                    </a:lnTo>
                    <a:cubicBezTo>
                      <a:pt x="26568" y="93451"/>
                      <a:pt x="24687" y="94079"/>
                      <a:pt x="23432" y="94079"/>
                    </a:cubicBezTo>
                    <a:lnTo>
                      <a:pt x="23432" y="94079"/>
                    </a:lnTo>
                    <a:close/>
                    <a:moveTo>
                      <a:pt x="29077" y="44531"/>
                    </a:moveTo>
                    <a:lnTo>
                      <a:pt x="37858" y="50802"/>
                    </a:lnTo>
                    <a:cubicBezTo>
                      <a:pt x="40366" y="52684"/>
                      <a:pt x="40994" y="55820"/>
                      <a:pt x="40366" y="58329"/>
                    </a:cubicBezTo>
                    <a:lnTo>
                      <a:pt x="37230" y="68364"/>
                    </a:lnTo>
                    <a:lnTo>
                      <a:pt x="46011" y="62092"/>
                    </a:lnTo>
                    <a:cubicBezTo>
                      <a:pt x="48520" y="60210"/>
                      <a:pt x="51656" y="60210"/>
                      <a:pt x="54165" y="62092"/>
                    </a:cubicBezTo>
                    <a:lnTo>
                      <a:pt x="62945" y="68364"/>
                    </a:lnTo>
                    <a:lnTo>
                      <a:pt x="59809" y="58329"/>
                    </a:lnTo>
                    <a:cubicBezTo>
                      <a:pt x="59182" y="55193"/>
                      <a:pt x="59809" y="52057"/>
                      <a:pt x="62318" y="50802"/>
                    </a:cubicBezTo>
                    <a:lnTo>
                      <a:pt x="71099" y="44531"/>
                    </a:lnTo>
                    <a:lnTo>
                      <a:pt x="60436" y="44531"/>
                    </a:lnTo>
                    <a:cubicBezTo>
                      <a:pt x="57301" y="44531"/>
                      <a:pt x="54792" y="42649"/>
                      <a:pt x="53537" y="39513"/>
                    </a:cubicBezTo>
                    <a:lnTo>
                      <a:pt x="50401" y="29478"/>
                    </a:lnTo>
                    <a:lnTo>
                      <a:pt x="47266" y="39513"/>
                    </a:lnTo>
                    <a:cubicBezTo>
                      <a:pt x="46638" y="42649"/>
                      <a:pt x="43502" y="44531"/>
                      <a:pt x="40366" y="44531"/>
                    </a:cubicBezTo>
                    <a:lnTo>
                      <a:pt x="29077" y="44531"/>
                    </a:lnTo>
                    <a:lnTo>
                      <a:pt x="29077" y="44531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248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3322113" y="2575225"/>
            <a:ext cx="433428" cy="435584"/>
            <a:chOff x="3322113" y="2575225"/>
            <a:chExt cx="433428" cy="435584"/>
          </a:xfrm>
          <a:solidFill>
            <a:srgbClr val="B1B1A1"/>
          </a:solidFill>
        </p:grpSpPr>
        <p:sp>
          <p:nvSpPr>
            <p:cNvPr id="249" name="Forma Livre: Forma 248">
              <a:extLst>
                <a:ext uri="{FF2B5EF4-FFF2-40B4-BE49-F238E27FC236}">
                  <a16:creationId xmlns:a16="http://schemas.microsoft.com/office/drawing/2014/main" id="{AB146090-2EAA-4179-BD0A-D4DCCCAEF745}"/>
                </a:ext>
              </a:extLst>
            </p:cNvPr>
            <p:cNvSpPr/>
            <p:nvPr/>
          </p:nvSpPr>
          <p:spPr>
            <a:xfrm>
              <a:off x="3322113" y="2660797"/>
              <a:ext cx="156225" cy="250915"/>
            </a:xfrm>
            <a:custGeom>
              <a:avLst/>
              <a:gdLst>
                <a:gd name="connsiteX0" fmla="*/ 139276 w 156225"/>
                <a:gd name="connsiteY0" fmla="*/ 250916 h 250915"/>
                <a:gd name="connsiteX1" fmla="*/ 122969 w 156225"/>
                <a:gd name="connsiteY1" fmla="*/ 238372 h 250915"/>
                <a:gd name="connsiteX2" fmla="*/ 67149 w 156225"/>
                <a:gd name="connsiteY2" fmla="*/ 35790 h 250915"/>
                <a:gd name="connsiteX3" fmla="*/ 15719 w 156225"/>
                <a:gd name="connsiteY3" fmla="*/ 33281 h 250915"/>
                <a:gd name="connsiteX4" fmla="*/ 40 w 156225"/>
                <a:gd name="connsiteY4" fmla="*/ 15719 h 250915"/>
                <a:gd name="connsiteX5" fmla="*/ 17601 w 156225"/>
                <a:gd name="connsiteY5" fmla="*/ 40 h 250915"/>
                <a:gd name="connsiteX6" fmla="*/ 81574 w 156225"/>
                <a:gd name="connsiteY6" fmla="*/ 2548 h 250915"/>
                <a:gd name="connsiteX7" fmla="*/ 96627 w 156225"/>
                <a:gd name="connsiteY7" fmla="*/ 14465 h 250915"/>
                <a:gd name="connsiteX8" fmla="*/ 155583 w 156225"/>
                <a:gd name="connsiteY8" fmla="*/ 228964 h 250915"/>
                <a:gd name="connsiteX9" fmla="*/ 143666 w 156225"/>
                <a:gd name="connsiteY9" fmla="*/ 249662 h 250915"/>
                <a:gd name="connsiteX10" fmla="*/ 139276 w 156225"/>
                <a:gd name="connsiteY10" fmla="*/ 250916 h 250915"/>
                <a:gd name="connsiteX11" fmla="*/ 139276 w 156225"/>
                <a:gd name="connsiteY11" fmla="*/ 250916 h 250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6225" h="250915">
                  <a:moveTo>
                    <a:pt x="139276" y="250916"/>
                  </a:moveTo>
                  <a:cubicBezTo>
                    <a:pt x="131750" y="250916"/>
                    <a:pt x="125478" y="245898"/>
                    <a:pt x="122969" y="238372"/>
                  </a:cubicBezTo>
                  <a:lnTo>
                    <a:pt x="67149" y="35790"/>
                  </a:lnTo>
                  <a:lnTo>
                    <a:pt x="15719" y="33281"/>
                  </a:lnTo>
                  <a:cubicBezTo>
                    <a:pt x="6311" y="32654"/>
                    <a:pt x="-588" y="25127"/>
                    <a:pt x="40" y="15719"/>
                  </a:cubicBezTo>
                  <a:cubicBezTo>
                    <a:pt x="667" y="6311"/>
                    <a:pt x="8193" y="-587"/>
                    <a:pt x="17601" y="40"/>
                  </a:cubicBezTo>
                  <a:lnTo>
                    <a:pt x="81574" y="2548"/>
                  </a:lnTo>
                  <a:cubicBezTo>
                    <a:pt x="88474" y="2548"/>
                    <a:pt x="94745" y="7566"/>
                    <a:pt x="96627" y="14465"/>
                  </a:cubicBezTo>
                  <a:lnTo>
                    <a:pt x="155583" y="228964"/>
                  </a:lnTo>
                  <a:cubicBezTo>
                    <a:pt x="158092" y="237745"/>
                    <a:pt x="153074" y="247153"/>
                    <a:pt x="143666" y="249662"/>
                  </a:cubicBezTo>
                  <a:cubicBezTo>
                    <a:pt x="142412" y="250916"/>
                    <a:pt x="140530" y="250916"/>
                    <a:pt x="139276" y="250916"/>
                  </a:cubicBezTo>
                  <a:lnTo>
                    <a:pt x="139276" y="250916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50" name="Forma Livre: Forma 249">
              <a:extLst>
                <a:ext uri="{FF2B5EF4-FFF2-40B4-BE49-F238E27FC236}">
                  <a16:creationId xmlns:a16="http://schemas.microsoft.com/office/drawing/2014/main" id="{3FF9E14D-CEAF-401F-9F7D-1D3E6ECF064F}"/>
                </a:ext>
              </a:extLst>
            </p:cNvPr>
            <p:cNvSpPr/>
            <p:nvPr/>
          </p:nvSpPr>
          <p:spPr>
            <a:xfrm>
              <a:off x="3455744" y="2919239"/>
              <a:ext cx="91569" cy="91569"/>
            </a:xfrm>
            <a:custGeom>
              <a:avLst/>
              <a:gdLst>
                <a:gd name="connsiteX0" fmla="*/ 45785 w 91569"/>
                <a:gd name="connsiteY0" fmla="*/ 91570 h 91569"/>
                <a:gd name="connsiteX1" fmla="*/ 0 w 91569"/>
                <a:gd name="connsiteY1" fmla="*/ 45785 h 91569"/>
                <a:gd name="connsiteX2" fmla="*/ 45785 w 91569"/>
                <a:gd name="connsiteY2" fmla="*/ 0 h 91569"/>
                <a:gd name="connsiteX3" fmla="*/ 91570 w 91569"/>
                <a:gd name="connsiteY3" fmla="*/ 45785 h 91569"/>
                <a:gd name="connsiteX4" fmla="*/ 45785 w 91569"/>
                <a:gd name="connsiteY4" fmla="*/ 91570 h 91569"/>
                <a:gd name="connsiteX5" fmla="*/ 45785 w 91569"/>
                <a:gd name="connsiteY5" fmla="*/ 91570 h 91569"/>
                <a:gd name="connsiteX6" fmla="*/ 45785 w 91569"/>
                <a:gd name="connsiteY6" fmla="*/ 33241 h 91569"/>
                <a:gd name="connsiteX7" fmla="*/ 33241 w 91569"/>
                <a:gd name="connsiteY7" fmla="*/ 45785 h 91569"/>
                <a:gd name="connsiteX8" fmla="*/ 45785 w 91569"/>
                <a:gd name="connsiteY8" fmla="*/ 58329 h 91569"/>
                <a:gd name="connsiteX9" fmla="*/ 58329 w 91569"/>
                <a:gd name="connsiteY9" fmla="*/ 45785 h 91569"/>
                <a:gd name="connsiteX10" fmla="*/ 45785 w 91569"/>
                <a:gd name="connsiteY10" fmla="*/ 33241 h 91569"/>
                <a:gd name="connsiteX11" fmla="*/ 45785 w 91569"/>
                <a:gd name="connsiteY11" fmla="*/ 33241 h 91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1569" h="91569">
                  <a:moveTo>
                    <a:pt x="45785" y="91570"/>
                  </a:moveTo>
                  <a:cubicBezTo>
                    <a:pt x="20697" y="91570"/>
                    <a:pt x="0" y="70872"/>
                    <a:pt x="0" y="45785"/>
                  </a:cubicBezTo>
                  <a:cubicBezTo>
                    <a:pt x="0" y="20697"/>
                    <a:pt x="20697" y="0"/>
                    <a:pt x="45785" y="0"/>
                  </a:cubicBezTo>
                  <a:cubicBezTo>
                    <a:pt x="70872" y="0"/>
                    <a:pt x="91570" y="20697"/>
                    <a:pt x="91570" y="45785"/>
                  </a:cubicBezTo>
                  <a:cubicBezTo>
                    <a:pt x="91570" y="70872"/>
                    <a:pt x="70872" y="91570"/>
                    <a:pt x="45785" y="91570"/>
                  </a:cubicBezTo>
                  <a:lnTo>
                    <a:pt x="45785" y="91570"/>
                  </a:lnTo>
                  <a:close/>
                  <a:moveTo>
                    <a:pt x="45785" y="33241"/>
                  </a:moveTo>
                  <a:cubicBezTo>
                    <a:pt x="38886" y="33241"/>
                    <a:pt x="33241" y="38886"/>
                    <a:pt x="33241" y="45785"/>
                  </a:cubicBezTo>
                  <a:cubicBezTo>
                    <a:pt x="33241" y="52684"/>
                    <a:pt x="38886" y="58329"/>
                    <a:pt x="45785" y="58329"/>
                  </a:cubicBezTo>
                  <a:cubicBezTo>
                    <a:pt x="52684" y="58329"/>
                    <a:pt x="58329" y="52684"/>
                    <a:pt x="58329" y="45785"/>
                  </a:cubicBezTo>
                  <a:cubicBezTo>
                    <a:pt x="58329" y="38886"/>
                    <a:pt x="52057" y="33241"/>
                    <a:pt x="45785" y="33241"/>
                  </a:cubicBezTo>
                  <a:lnTo>
                    <a:pt x="45785" y="33241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51" name="Forma Livre: Forma 250">
              <a:extLst>
                <a:ext uri="{FF2B5EF4-FFF2-40B4-BE49-F238E27FC236}">
                  <a16:creationId xmlns:a16="http://schemas.microsoft.com/office/drawing/2014/main" id="{9552FB75-D50B-4673-A6BC-D9684DFCDFE1}"/>
                </a:ext>
              </a:extLst>
            </p:cNvPr>
            <p:cNvSpPr/>
            <p:nvPr/>
          </p:nvSpPr>
          <p:spPr>
            <a:xfrm>
              <a:off x="3594353" y="2919239"/>
              <a:ext cx="91569" cy="91569"/>
            </a:xfrm>
            <a:custGeom>
              <a:avLst/>
              <a:gdLst>
                <a:gd name="connsiteX0" fmla="*/ 45785 w 91569"/>
                <a:gd name="connsiteY0" fmla="*/ 91570 h 91569"/>
                <a:gd name="connsiteX1" fmla="*/ 0 w 91569"/>
                <a:gd name="connsiteY1" fmla="*/ 45785 h 91569"/>
                <a:gd name="connsiteX2" fmla="*/ 45785 w 91569"/>
                <a:gd name="connsiteY2" fmla="*/ 0 h 91569"/>
                <a:gd name="connsiteX3" fmla="*/ 91570 w 91569"/>
                <a:gd name="connsiteY3" fmla="*/ 45785 h 91569"/>
                <a:gd name="connsiteX4" fmla="*/ 45785 w 91569"/>
                <a:gd name="connsiteY4" fmla="*/ 91570 h 91569"/>
                <a:gd name="connsiteX5" fmla="*/ 45785 w 91569"/>
                <a:gd name="connsiteY5" fmla="*/ 91570 h 91569"/>
                <a:gd name="connsiteX6" fmla="*/ 45785 w 91569"/>
                <a:gd name="connsiteY6" fmla="*/ 33241 h 91569"/>
                <a:gd name="connsiteX7" fmla="*/ 33241 w 91569"/>
                <a:gd name="connsiteY7" fmla="*/ 45785 h 91569"/>
                <a:gd name="connsiteX8" fmla="*/ 45785 w 91569"/>
                <a:gd name="connsiteY8" fmla="*/ 58329 h 91569"/>
                <a:gd name="connsiteX9" fmla="*/ 58329 w 91569"/>
                <a:gd name="connsiteY9" fmla="*/ 45785 h 91569"/>
                <a:gd name="connsiteX10" fmla="*/ 45785 w 91569"/>
                <a:gd name="connsiteY10" fmla="*/ 33241 h 91569"/>
                <a:gd name="connsiteX11" fmla="*/ 45785 w 91569"/>
                <a:gd name="connsiteY11" fmla="*/ 33241 h 91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1569" h="91569">
                  <a:moveTo>
                    <a:pt x="45785" y="91570"/>
                  </a:moveTo>
                  <a:cubicBezTo>
                    <a:pt x="20697" y="91570"/>
                    <a:pt x="0" y="70872"/>
                    <a:pt x="0" y="45785"/>
                  </a:cubicBezTo>
                  <a:cubicBezTo>
                    <a:pt x="0" y="20697"/>
                    <a:pt x="20697" y="0"/>
                    <a:pt x="45785" y="0"/>
                  </a:cubicBezTo>
                  <a:cubicBezTo>
                    <a:pt x="70873" y="0"/>
                    <a:pt x="91570" y="20697"/>
                    <a:pt x="91570" y="45785"/>
                  </a:cubicBezTo>
                  <a:cubicBezTo>
                    <a:pt x="91570" y="70872"/>
                    <a:pt x="70873" y="91570"/>
                    <a:pt x="45785" y="91570"/>
                  </a:cubicBezTo>
                  <a:lnTo>
                    <a:pt x="45785" y="91570"/>
                  </a:lnTo>
                  <a:close/>
                  <a:moveTo>
                    <a:pt x="45785" y="33241"/>
                  </a:moveTo>
                  <a:cubicBezTo>
                    <a:pt x="38886" y="33241"/>
                    <a:pt x="33241" y="38886"/>
                    <a:pt x="33241" y="45785"/>
                  </a:cubicBezTo>
                  <a:cubicBezTo>
                    <a:pt x="33241" y="52684"/>
                    <a:pt x="38886" y="58329"/>
                    <a:pt x="45785" y="58329"/>
                  </a:cubicBezTo>
                  <a:cubicBezTo>
                    <a:pt x="52684" y="58329"/>
                    <a:pt x="58329" y="52684"/>
                    <a:pt x="58329" y="45785"/>
                  </a:cubicBezTo>
                  <a:cubicBezTo>
                    <a:pt x="58329" y="38886"/>
                    <a:pt x="52684" y="33241"/>
                    <a:pt x="45785" y="33241"/>
                  </a:cubicBezTo>
                  <a:lnTo>
                    <a:pt x="45785" y="33241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52" name="Forma Livre: Forma 251">
              <a:extLst>
                <a:ext uri="{FF2B5EF4-FFF2-40B4-BE49-F238E27FC236}">
                  <a16:creationId xmlns:a16="http://schemas.microsoft.com/office/drawing/2014/main" id="{70CB4630-934F-4202-9308-98DB81AE932A}"/>
                </a:ext>
              </a:extLst>
            </p:cNvPr>
            <p:cNvSpPr/>
            <p:nvPr/>
          </p:nvSpPr>
          <p:spPr>
            <a:xfrm>
              <a:off x="3401827" y="2724810"/>
              <a:ext cx="341427" cy="186902"/>
            </a:xfrm>
            <a:custGeom>
              <a:avLst/>
              <a:gdLst>
                <a:gd name="connsiteX0" fmla="*/ 283469 w 341427"/>
                <a:gd name="connsiteY0" fmla="*/ 186903 h 186902"/>
                <a:gd name="connsiteX1" fmla="*/ 59562 w 341427"/>
                <a:gd name="connsiteY1" fmla="*/ 186903 h 186902"/>
                <a:gd name="connsiteX2" fmla="*/ 43255 w 341427"/>
                <a:gd name="connsiteY2" fmla="*/ 174986 h 186902"/>
                <a:gd name="connsiteX3" fmla="*/ 606 w 341427"/>
                <a:gd name="connsiteY3" fmla="*/ 20697 h 186902"/>
                <a:gd name="connsiteX4" fmla="*/ 3114 w 341427"/>
                <a:gd name="connsiteY4" fmla="*/ 6272 h 186902"/>
                <a:gd name="connsiteX5" fmla="*/ 16286 w 341427"/>
                <a:gd name="connsiteY5" fmla="*/ 0 h 186902"/>
                <a:gd name="connsiteX6" fmla="*/ 76496 w 341427"/>
                <a:gd name="connsiteY6" fmla="*/ 0 h 186902"/>
                <a:gd name="connsiteX7" fmla="*/ 93430 w 341427"/>
                <a:gd name="connsiteY7" fmla="*/ 16934 h 186902"/>
                <a:gd name="connsiteX8" fmla="*/ 76496 w 341427"/>
                <a:gd name="connsiteY8" fmla="*/ 33868 h 186902"/>
                <a:gd name="connsiteX9" fmla="*/ 38237 w 341427"/>
                <a:gd name="connsiteY9" fmla="*/ 33868 h 186902"/>
                <a:gd name="connsiteX10" fmla="*/ 71478 w 341427"/>
                <a:gd name="connsiteY10" fmla="*/ 154916 h 186902"/>
                <a:gd name="connsiteX11" fmla="*/ 269671 w 341427"/>
                <a:gd name="connsiteY11" fmla="*/ 154916 h 186902"/>
                <a:gd name="connsiteX12" fmla="*/ 302912 w 341427"/>
                <a:gd name="connsiteY12" fmla="*/ 33868 h 186902"/>
                <a:gd name="connsiteX13" fmla="*/ 196916 w 341427"/>
                <a:gd name="connsiteY13" fmla="*/ 33868 h 186902"/>
                <a:gd name="connsiteX14" fmla="*/ 179982 w 341427"/>
                <a:gd name="connsiteY14" fmla="*/ 16934 h 186902"/>
                <a:gd name="connsiteX15" fmla="*/ 196916 w 341427"/>
                <a:gd name="connsiteY15" fmla="*/ 0 h 186902"/>
                <a:gd name="connsiteX16" fmla="*/ 324863 w 341427"/>
                <a:gd name="connsiteY16" fmla="*/ 0 h 186902"/>
                <a:gd name="connsiteX17" fmla="*/ 338034 w 341427"/>
                <a:gd name="connsiteY17" fmla="*/ 6272 h 186902"/>
                <a:gd name="connsiteX18" fmla="*/ 340543 w 341427"/>
                <a:gd name="connsiteY18" fmla="*/ 20697 h 186902"/>
                <a:gd name="connsiteX19" fmla="*/ 297894 w 341427"/>
                <a:gd name="connsiteY19" fmla="*/ 174986 h 186902"/>
                <a:gd name="connsiteX20" fmla="*/ 283469 w 341427"/>
                <a:gd name="connsiteY20" fmla="*/ 186903 h 186902"/>
                <a:gd name="connsiteX21" fmla="*/ 283469 w 341427"/>
                <a:gd name="connsiteY21" fmla="*/ 186903 h 186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41427" h="186902">
                  <a:moveTo>
                    <a:pt x="283469" y="186903"/>
                  </a:moveTo>
                  <a:lnTo>
                    <a:pt x="59562" y="186903"/>
                  </a:lnTo>
                  <a:cubicBezTo>
                    <a:pt x="52035" y="186903"/>
                    <a:pt x="45763" y="181885"/>
                    <a:pt x="43255" y="174986"/>
                  </a:cubicBezTo>
                  <a:lnTo>
                    <a:pt x="606" y="20697"/>
                  </a:lnTo>
                  <a:cubicBezTo>
                    <a:pt x="-649" y="15680"/>
                    <a:pt x="-21" y="10035"/>
                    <a:pt x="3114" y="6272"/>
                  </a:cubicBezTo>
                  <a:cubicBezTo>
                    <a:pt x="6250" y="1881"/>
                    <a:pt x="11268" y="0"/>
                    <a:pt x="16286" y="0"/>
                  </a:cubicBezTo>
                  <a:lnTo>
                    <a:pt x="76496" y="0"/>
                  </a:lnTo>
                  <a:cubicBezTo>
                    <a:pt x="85904" y="0"/>
                    <a:pt x="93430" y="7526"/>
                    <a:pt x="93430" y="16934"/>
                  </a:cubicBezTo>
                  <a:cubicBezTo>
                    <a:pt x="93430" y="26342"/>
                    <a:pt x="85904" y="33868"/>
                    <a:pt x="76496" y="33868"/>
                  </a:cubicBezTo>
                  <a:lnTo>
                    <a:pt x="38237" y="33868"/>
                  </a:lnTo>
                  <a:lnTo>
                    <a:pt x="71478" y="154916"/>
                  </a:lnTo>
                  <a:lnTo>
                    <a:pt x="269671" y="154916"/>
                  </a:lnTo>
                  <a:lnTo>
                    <a:pt x="302912" y="33868"/>
                  </a:lnTo>
                  <a:lnTo>
                    <a:pt x="196916" y="33868"/>
                  </a:lnTo>
                  <a:cubicBezTo>
                    <a:pt x="187509" y="33868"/>
                    <a:pt x="179982" y="26342"/>
                    <a:pt x="179982" y="16934"/>
                  </a:cubicBezTo>
                  <a:cubicBezTo>
                    <a:pt x="179982" y="7526"/>
                    <a:pt x="187509" y="0"/>
                    <a:pt x="196916" y="0"/>
                  </a:cubicBezTo>
                  <a:lnTo>
                    <a:pt x="324863" y="0"/>
                  </a:lnTo>
                  <a:cubicBezTo>
                    <a:pt x="329881" y="0"/>
                    <a:pt x="334898" y="2509"/>
                    <a:pt x="338034" y="6272"/>
                  </a:cubicBezTo>
                  <a:cubicBezTo>
                    <a:pt x="341170" y="10662"/>
                    <a:pt x="342425" y="15680"/>
                    <a:pt x="340543" y="20697"/>
                  </a:cubicBezTo>
                  <a:lnTo>
                    <a:pt x="297894" y="174986"/>
                  </a:lnTo>
                  <a:cubicBezTo>
                    <a:pt x="297267" y="181885"/>
                    <a:pt x="290995" y="186903"/>
                    <a:pt x="283469" y="186903"/>
                  </a:cubicBezTo>
                  <a:lnTo>
                    <a:pt x="283469" y="186903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53" name="Forma Livre: Forma 252">
              <a:extLst>
                <a:ext uri="{FF2B5EF4-FFF2-40B4-BE49-F238E27FC236}">
                  <a16:creationId xmlns:a16="http://schemas.microsoft.com/office/drawing/2014/main" id="{920A1C8F-FBD2-4391-A09C-CA5AE6EF2B6D}"/>
                </a:ext>
              </a:extLst>
            </p:cNvPr>
            <p:cNvSpPr/>
            <p:nvPr/>
          </p:nvSpPr>
          <p:spPr>
            <a:xfrm>
              <a:off x="3671184" y="2575225"/>
              <a:ext cx="84357" cy="135159"/>
            </a:xfrm>
            <a:custGeom>
              <a:avLst/>
              <a:gdLst>
                <a:gd name="connsiteX0" fmla="*/ 16621 w 84357"/>
                <a:gd name="connsiteY0" fmla="*/ 135160 h 135159"/>
                <a:gd name="connsiteX1" fmla="*/ 4704 w 84357"/>
                <a:gd name="connsiteY1" fmla="*/ 130142 h 135159"/>
                <a:gd name="connsiteX2" fmla="*/ 4704 w 84357"/>
                <a:gd name="connsiteY2" fmla="*/ 106309 h 135159"/>
                <a:gd name="connsiteX3" fmla="*/ 43590 w 84357"/>
                <a:gd name="connsiteY3" fmla="*/ 67423 h 135159"/>
                <a:gd name="connsiteX4" fmla="*/ 4704 w 84357"/>
                <a:gd name="connsiteY4" fmla="*/ 28537 h 135159"/>
                <a:gd name="connsiteX5" fmla="*/ 4704 w 84357"/>
                <a:gd name="connsiteY5" fmla="*/ 4704 h 135159"/>
                <a:gd name="connsiteX6" fmla="*/ 28537 w 84357"/>
                <a:gd name="connsiteY6" fmla="*/ 4704 h 135159"/>
                <a:gd name="connsiteX7" fmla="*/ 79340 w 84357"/>
                <a:gd name="connsiteY7" fmla="*/ 54879 h 135159"/>
                <a:gd name="connsiteX8" fmla="*/ 84357 w 84357"/>
                <a:gd name="connsiteY8" fmla="*/ 66796 h 135159"/>
                <a:gd name="connsiteX9" fmla="*/ 79340 w 84357"/>
                <a:gd name="connsiteY9" fmla="*/ 78713 h 135159"/>
                <a:gd name="connsiteX10" fmla="*/ 28537 w 84357"/>
                <a:gd name="connsiteY10" fmla="*/ 128888 h 135159"/>
                <a:gd name="connsiteX11" fmla="*/ 16621 w 84357"/>
                <a:gd name="connsiteY11" fmla="*/ 135160 h 135159"/>
                <a:gd name="connsiteX12" fmla="*/ 16621 w 84357"/>
                <a:gd name="connsiteY12" fmla="*/ 135160 h 135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4357" h="135159">
                  <a:moveTo>
                    <a:pt x="16621" y="135160"/>
                  </a:moveTo>
                  <a:cubicBezTo>
                    <a:pt x="12230" y="135160"/>
                    <a:pt x="7840" y="133278"/>
                    <a:pt x="4704" y="130142"/>
                  </a:cubicBezTo>
                  <a:cubicBezTo>
                    <a:pt x="-1568" y="123870"/>
                    <a:pt x="-1568" y="113208"/>
                    <a:pt x="4704" y="106309"/>
                  </a:cubicBezTo>
                  <a:lnTo>
                    <a:pt x="43590" y="67423"/>
                  </a:lnTo>
                  <a:lnTo>
                    <a:pt x="4704" y="28537"/>
                  </a:lnTo>
                  <a:cubicBezTo>
                    <a:pt x="-1568" y="22265"/>
                    <a:pt x="-1568" y="11603"/>
                    <a:pt x="4704" y="4704"/>
                  </a:cubicBezTo>
                  <a:cubicBezTo>
                    <a:pt x="10976" y="-1568"/>
                    <a:pt x="21638" y="-1568"/>
                    <a:pt x="28537" y="4704"/>
                  </a:cubicBezTo>
                  <a:lnTo>
                    <a:pt x="79340" y="54879"/>
                  </a:lnTo>
                  <a:cubicBezTo>
                    <a:pt x="82476" y="58015"/>
                    <a:pt x="84357" y="62406"/>
                    <a:pt x="84357" y="66796"/>
                  </a:cubicBezTo>
                  <a:cubicBezTo>
                    <a:pt x="84357" y="71186"/>
                    <a:pt x="82476" y="75577"/>
                    <a:pt x="79340" y="78713"/>
                  </a:cubicBezTo>
                  <a:lnTo>
                    <a:pt x="28537" y="128888"/>
                  </a:lnTo>
                  <a:cubicBezTo>
                    <a:pt x="25401" y="133905"/>
                    <a:pt x="21011" y="135160"/>
                    <a:pt x="16621" y="135160"/>
                  </a:cubicBezTo>
                  <a:lnTo>
                    <a:pt x="16621" y="135160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54" name="Forma Livre: Forma 253">
              <a:extLst>
                <a:ext uri="{FF2B5EF4-FFF2-40B4-BE49-F238E27FC236}">
                  <a16:creationId xmlns:a16="http://schemas.microsoft.com/office/drawing/2014/main" id="{49B386F7-6649-4790-872F-0A489636DAF6}"/>
                </a:ext>
              </a:extLst>
            </p:cNvPr>
            <p:cNvSpPr/>
            <p:nvPr/>
          </p:nvSpPr>
          <p:spPr>
            <a:xfrm>
              <a:off x="3488358" y="2625087"/>
              <a:ext cx="257191" cy="238959"/>
            </a:xfrm>
            <a:custGeom>
              <a:avLst/>
              <a:gdLst>
                <a:gd name="connsiteX0" fmla="*/ 16934 w 257191"/>
                <a:gd name="connsiteY0" fmla="*/ 238960 h 238959"/>
                <a:gd name="connsiteX1" fmla="*/ 0 w 257191"/>
                <a:gd name="connsiteY1" fmla="*/ 222026 h 238959"/>
                <a:gd name="connsiteX2" fmla="*/ 219517 w 257191"/>
                <a:gd name="connsiteY2" fmla="*/ 0 h 238959"/>
                <a:gd name="connsiteX3" fmla="*/ 242096 w 257191"/>
                <a:gd name="connsiteY3" fmla="*/ 1254 h 238959"/>
                <a:gd name="connsiteX4" fmla="*/ 257148 w 257191"/>
                <a:gd name="connsiteY4" fmla="*/ 19443 h 238959"/>
                <a:gd name="connsiteX5" fmla="*/ 238960 w 257191"/>
                <a:gd name="connsiteY5" fmla="*/ 34495 h 238959"/>
                <a:gd name="connsiteX6" fmla="*/ 220144 w 257191"/>
                <a:gd name="connsiteY6" fmla="*/ 33241 h 238959"/>
                <a:gd name="connsiteX7" fmla="*/ 33868 w 257191"/>
                <a:gd name="connsiteY7" fmla="*/ 222026 h 238959"/>
                <a:gd name="connsiteX8" fmla="*/ 16934 w 257191"/>
                <a:gd name="connsiteY8" fmla="*/ 238960 h 238959"/>
                <a:gd name="connsiteX9" fmla="*/ 16934 w 257191"/>
                <a:gd name="connsiteY9" fmla="*/ 238960 h 238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7191" h="238959">
                  <a:moveTo>
                    <a:pt x="16934" y="238960"/>
                  </a:moveTo>
                  <a:cubicBezTo>
                    <a:pt x="7526" y="238960"/>
                    <a:pt x="0" y="231433"/>
                    <a:pt x="0" y="222026"/>
                  </a:cubicBezTo>
                  <a:cubicBezTo>
                    <a:pt x="0" y="99723"/>
                    <a:pt x="98469" y="0"/>
                    <a:pt x="219517" y="0"/>
                  </a:cubicBezTo>
                  <a:cubicBezTo>
                    <a:pt x="227043" y="0"/>
                    <a:pt x="234569" y="627"/>
                    <a:pt x="242096" y="1254"/>
                  </a:cubicBezTo>
                  <a:cubicBezTo>
                    <a:pt x="251504" y="2509"/>
                    <a:pt x="257775" y="10662"/>
                    <a:pt x="257148" y="19443"/>
                  </a:cubicBezTo>
                  <a:cubicBezTo>
                    <a:pt x="255894" y="28851"/>
                    <a:pt x="247740" y="35123"/>
                    <a:pt x="238960" y="34495"/>
                  </a:cubicBezTo>
                  <a:cubicBezTo>
                    <a:pt x="232688" y="33868"/>
                    <a:pt x="226416" y="33241"/>
                    <a:pt x="220144" y="33241"/>
                  </a:cubicBezTo>
                  <a:cubicBezTo>
                    <a:pt x="117285" y="33241"/>
                    <a:pt x="33868" y="117912"/>
                    <a:pt x="33868" y="222026"/>
                  </a:cubicBezTo>
                  <a:cubicBezTo>
                    <a:pt x="33868" y="231433"/>
                    <a:pt x="26342" y="238960"/>
                    <a:pt x="16934" y="238960"/>
                  </a:cubicBezTo>
                  <a:lnTo>
                    <a:pt x="16934" y="238960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55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4346316" y="2592161"/>
            <a:ext cx="422395" cy="402340"/>
            <a:chOff x="4346316" y="2592161"/>
            <a:chExt cx="422395" cy="402340"/>
          </a:xfrm>
          <a:solidFill>
            <a:srgbClr val="B1B1A1"/>
          </a:solidFill>
        </p:grpSpPr>
        <p:sp>
          <p:nvSpPr>
            <p:cNvPr id="256" name="Forma Livre: Forma 255">
              <a:extLst>
                <a:ext uri="{FF2B5EF4-FFF2-40B4-BE49-F238E27FC236}">
                  <a16:creationId xmlns:a16="http://schemas.microsoft.com/office/drawing/2014/main" id="{23B15767-5951-467E-AF7A-EAAE2A8865D6}"/>
                </a:ext>
              </a:extLst>
            </p:cNvPr>
            <p:cNvSpPr/>
            <p:nvPr/>
          </p:nvSpPr>
          <p:spPr>
            <a:xfrm>
              <a:off x="4346316" y="2644490"/>
              <a:ext cx="156225" cy="250915"/>
            </a:xfrm>
            <a:custGeom>
              <a:avLst/>
              <a:gdLst>
                <a:gd name="connsiteX0" fmla="*/ 139276 w 156225"/>
                <a:gd name="connsiteY0" fmla="*/ 250916 h 250915"/>
                <a:gd name="connsiteX1" fmla="*/ 122969 w 156225"/>
                <a:gd name="connsiteY1" fmla="*/ 238372 h 250915"/>
                <a:gd name="connsiteX2" fmla="*/ 67149 w 156225"/>
                <a:gd name="connsiteY2" fmla="*/ 35789 h 250915"/>
                <a:gd name="connsiteX3" fmla="*/ 15719 w 156225"/>
                <a:gd name="connsiteY3" fmla="*/ 33281 h 250915"/>
                <a:gd name="connsiteX4" fmla="*/ 40 w 156225"/>
                <a:gd name="connsiteY4" fmla="*/ 15719 h 250915"/>
                <a:gd name="connsiteX5" fmla="*/ 17601 w 156225"/>
                <a:gd name="connsiteY5" fmla="*/ 40 h 250915"/>
                <a:gd name="connsiteX6" fmla="*/ 81574 w 156225"/>
                <a:gd name="connsiteY6" fmla="*/ 2548 h 250915"/>
                <a:gd name="connsiteX7" fmla="*/ 96627 w 156225"/>
                <a:gd name="connsiteY7" fmla="*/ 14465 h 250915"/>
                <a:gd name="connsiteX8" fmla="*/ 155583 w 156225"/>
                <a:gd name="connsiteY8" fmla="*/ 228964 h 250915"/>
                <a:gd name="connsiteX9" fmla="*/ 143666 w 156225"/>
                <a:gd name="connsiteY9" fmla="*/ 249661 h 250915"/>
                <a:gd name="connsiteX10" fmla="*/ 139276 w 156225"/>
                <a:gd name="connsiteY10" fmla="*/ 250916 h 250915"/>
                <a:gd name="connsiteX11" fmla="*/ 139276 w 156225"/>
                <a:gd name="connsiteY11" fmla="*/ 250916 h 250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6225" h="250915">
                  <a:moveTo>
                    <a:pt x="139276" y="250916"/>
                  </a:moveTo>
                  <a:cubicBezTo>
                    <a:pt x="131750" y="250916"/>
                    <a:pt x="125478" y="245898"/>
                    <a:pt x="122969" y="238372"/>
                  </a:cubicBezTo>
                  <a:lnTo>
                    <a:pt x="67149" y="35789"/>
                  </a:lnTo>
                  <a:lnTo>
                    <a:pt x="15719" y="33281"/>
                  </a:lnTo>
                  <a:cubicBezTo>
                    <a:pt x="6311" y="32653"/>
                    <a:pt x="-588" y="25127"/>
                    <a:pt x="40" y="15719"/>
                  </a:cubicBezTo>
                  <a:cubicBezTo>
                    <a:pt x="667" y="6311"/>
                    <a:pt x="7566" y="-588"/>
                    <a:pt x="17601" y="40"/>
                  </a:cubicBezTo>
                  <a:lnTo>
                    <a:pt x="81574" y="2548"/>
                  </a:lnTo>
                  <a:cubicBezTo>
                    <a:pt x="89101" y="2548"/>
                    <a:pt x="94745" y="7566"/>
                    <a:pt x="96627" y="14465"/>
                  </a:cubicBezTo>
                  <a:lnTo>
                    <a:pt x="155583" y="228964"/>
                  </a:lnTo>
                  <a:cubicBezTo>
                    <a:pt x="158092" y="237745"/>
                    <a:pt x="153074" y="247153"/>
                    <a:pt x="143666" y="249661"/>
                  </a:cubicBezTo>
                  <a:cubicBezTo>
                    <a:pt x="142412" y="250916"/>
                    <a:pt x="140530" y="250916"/>
                    <a:pt x="139276" y="250916"/>
                  </a:cubicBezTo>
                  <a:lnTo>
                    <a:pt x="139276" y="250916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57" name="Forma Livre: Forma 256">
              <a:extLst>
                <a:ext uri="{FF2B5EF4-FFF2-40B4-BE49-F238E27FC236}">
                  <a16:creationId xmlns:a16="http://schemas.microsoft.com/office/drawing/2014/main" id="{A51CC6D3-2024-47DE-B9B8-24F4F664ECFF}"/>
                </a:ext>
              </a:extLst>
            </p:cNvPr>
            <p:cNvSpPr/>
            <p:nvPr/>
          </p:nvSpPr>
          <p:spPr>
            <a:xfrm>
              <a:off x="4479320" y="2902932"/>
              <a:ext cx="91569" cy="91569"/>
            </a:xfrm>
            <a:custGeom>
              <a:avLst/>
              <a:gdLst>
                <a:gd name="connsiteX0" fmla="*/ 45785 w 91569"/>
                <a:gd name="connsiteY0" fmla="*/ 91570 h 91569"/>
                <a:gd name="connsiteX1" fmla="*/ 0 w 91569"/>
                <a:gd name="connsiteY1" fmla="*/ 45785 h 91569"/>
                <a:gd name="connsiteX2" fmla="*/ 45785 w 91569"/>
                <a:gd name="connsiteY2" fmla="*/ 0 h 91569"/>
                <a:gd name="connsiteX3" fmla="*/ 91570 w 91569"/>
                <a:gd name="connsiteY3" fmla="*/ 45785 h 91569"/>
                <a:gd name="connsiteX4" fmla="*/ 45785 w 91569"/>
                <a:gd name="connsiteY4" fmla="*/ 91570 h 91569"/>
                <a:gd name="connsiteX5" fmla="*/ 45785 w 91569"/>
                <a:gd name="connsiteY5" fmla="*/ 91570 h 91569"/>
                <a:gd name="connsiteX6" fmla="*/ 45785 w 91569"/>
                <a:gd name="connsiteY6" fmla="*/ 33241 h 91569"/>
                <a:gd name="connsiteX7" fmla="*/ 33241 w 91569"/>
                <a:gd name="connsiteY7" fmla="*/ 45785 h 91569"/>
                <a:gd name="connsiteX8" fmla="*/ 45785 w 91569"/>
                <a:gd name="connsiteY8" fmla="*/ 58329 h 91569"/>
                <a:gd name="connsiteX9" fmla="*/ 58329 w 91569"/>
                <a:gd name="connsiteY9" fmla="*/ 45785 h 91569"/>
                <a:gd name="connsiteX10" fmla="*/ 45785 w 91569"/>
                <a:gd name="connsiteY10" fmla="*/ 33241 h 91569"/>
                <a:gd name="connsiteX11" fmla="*/ 45785 w 91569"/>
                <a:gd name="connsiteY11" fmla="*/ 33241 h 91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1569" h="91569">
                  <a:moveTo>
                    <a:pt x="45785" y="91570"/>
                  </a:moveTo>
                  <a:cubicBezTo>
                    <a:pt x="20697" y="91570"/>
                    <a:pt x="0" y="70873"/>
                    <a:pt x="0" y="45785"/>
                  </a:cubicBezTo>
                  <a:cubicBezTo>
                    <a:pt x="0" y="20697"/>
                    <a:pt x="20697" y="0"/>
                    <a:pt x="45785" y="0"/>
                  </a:cubicBezTo>
                  <a:cubicBezTo>
                    <a:pt x="70873" y="0"/>
                    <a:pt x="91570" y="20697"/>
                    <a:pt x="91570" y="45785"/>
                  </a:cubicBezTo>
                  <a:cubicBezTo>
                    <a:pt x="91570" y="70873"/>
                    <a:pt x="71500" y="91570"/>
                    <a:pt x="45785" y="91570"/>
                  </a:cubicBezTo>
                  <a:lnTo>
                    <a:pt x="45785" y="91570"/>
                  </a:lnTo>
                  <a:close/>
                  <a:moveTo>
                    <a:pt x="45785" y="33241"/>
                  </a:moveTo>
                  <a:cubicBezTo>
                    <a:pt x="38886" y="33241"/>
                    <a:pt x="33241" y="38886"/>
                    <a:pt x="33241" y="45785"/>
                  </a:cubicBezTo>
                  <a:cubicBezTo>
                    <a:pt x="33241" y="52684"/>
                    <a:pt x="38886" y="58329"/>
                    <a:pt x="45785" y="58329"/>
                  </a:cubicBezTo>
                  <a:cubicBezTo>
                    <a:pt x="52684" y="58329"/>
                    <a:pt x="58329" y="52684"/>
                    <a:pt x="58329" y="45785"/>
                  </a:cubicBezTo>
                  <a:cubicBezTo>
                    <a:pt x="58329" y="38886"/>
                    <a:pt x="52684" y="33241"/>
                    <a:pt x="45785" y="33241"/>
                  </a:cubicBezTo>
                  <a:lnTo>
                    <a:pt x="45785" y="33241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58" name="Forma Livre: Forma 257">
              <a:extLst>
                <a:ext uri="{FF2B5EF4-FFF2-40B4-BE49-F238E27FC236}">
                  <a16:creationId xmlns:a16="http://schemas.microsoft.com/office/drawing/2014/main" id="{0E268993-45EB-43A0-BDB3-BCCCC9C3C68D}"/>
                </a:ext>
              </a:extLst>
            </p:cNvPr>
            <p:cNvSpPr/>
            <p:nvPr/>
          </p:nvSpPr>
          <p:spPr>
            <a:xfrm>
              <a:off x="4618556" y="2902932"/>
              <a:ext cx="91570" cy="91569"/>
            </a:xfrm>
            <a:custGeom>
              <a:avLst/>
              <a:gdLst>
                <a:gd name="connsiteX0" fmla="*/ 45785 w 91570"/>
                <a:gd name="connsiteY0" fmla="*/ 91570 h 91569"/>
                <a:gd name="connsiteX1" fmla="*/ 0 w 91570"/>
                <a:gd name="connsiteY1" fmla="*/ 45785 h 91569"/>
                <a:gd name="connsiteX2" fmla="*/ 45785 w 91570"/>
                <a:gd name="connsiteY2" fmla="*/ 0 h 91569"/>
                <a:gd name="connsiteX3" fmla="*/ 91570 w 91570"/>
                <a:gd name="connsiteY3" fmla="*/ 45785 h 91569"/>
                <a:gd name="connsiteX4" fmla="*/ 45785 w 91570"/>
                <a:gd name="connsiteY4" fmla="*/ 91570 h 91569"/>
                <a:gd name="connsiteX5" fmla="*/ 45785 w 91570"/>
                <a:gd name="connsiteY5" fmla="*/ 91570 h 91569"/>
                <a:gd name="connsiteX6" fmla="*/ 45785 w 91570"/>
                <a:gd name="connsiteY6" fmla="*/ 33241 h 91569"/>
                <a:gd name="connsiteX7" fmla="*/ 33241 w 91570"/>
                <a:gd name="connsiteY7" fmla="*/ 45785 h 91569"/>
                <a:gd name="connsiteX8" fmla="*/ 45785 w 91570"/>
                <a:gd name="connsiteY8" fmla="*/ 58329 h 91569"/>
                <a:gd name="connsiteX9" fmla="*/ 58329 w 91570"/>
                <a:gd name="connsiteY9" fmla="*/ 45785 h 91569"/>
                <a:gd name="connsiteX10" fmla="*/ 45785 w 91570"/>
                <a:gd name="connsiteY10" fmla="*/ 33241 h 91569"/>
                <a:gd name="connsiteX11" fmla="*/ 45785 w 91570"/>
                <a:gd name="connsiteY11" fmla="*/ 33241 h 91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1570" h="91569">
                  <a:moveTo>
                    <a:pt x="45785" y="91570"/>
                  </a:moveTo>
                  <a:cubicBezTo>
                    <a:pt x="20698" y="91570"/>
                    <a:pt x="0" y="70873"/>
                    <a:pt x="0" y="45785"/>
                  </a:cubicBezTo>
                  <a:cubicBezTo>
                    <a:pt x="0" y="20697"/>
                    <a:pt x="20698" y="0"/>
                    <a:pt x="45785" y="0"/>
                  </a:cubicBezTo>
                  <a:cubicBezTo>
                    <a:pt x="70873" y="0"/>
                    <a:pt x="91570" y="20697"/>
                    <a:pt x="91570" y="45785"/>
                  </a:cubicBezTo>
                  <a:cubicBezTo>
                    <a:pt x="91570" y="70873"/>
                    <a:pt x="70873" y="91570"/>
                    <a:pt x="45785" y="91570"/>
                  </a:cubicBezTo>
                  <a:lnTo>
                    <a:pt x="45785" y="91570"/>
                  </a:lnTo>
                  <a:close/>
                  <a:moveTo>
                    <a:pt x="45785" y="33241"/>
                  </a:moveTo>
                  <a:cubicBezTo>
                    <a:pt x="38886" y="33241"/>
                    <a:pt x="33241" y="38886"/>
                    <a:pt x="33241" y="45785"/>
                  </a:cubicBezTo>
                  <a:cubicBezTo>
                    <a:pt x="33241" y="52684"/>
                    <a:pt x="38886" y="58329"/>
                    <a:pt x="45785" y="58329"/>
                  </a:cubicBezTo>
                  <a:cubicBezTo>
                    <a:pt x="52684" y="58329"/>
                    <a:pt x="58329" y="52684"/>
                    <a:pt x="58329" y="45785"/>
                  </a:cubicBezTo>
                  <a:cubicBezTo>
                    <a:pt x="58329" y="38886"/>
                    <a:pt x="52057" y="33241"/>
                    <a:pt x="45785" y="33241"/>
                  </a:cubicBezTo>
                  <a:lnTo>
                    <a:pt x="45785" y="33241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59" name="Forma Livre: Forma 258">
              <a:extLst>
                <a:ext uri="{FF2B5EF4-FFF2-40B4-BE49-F238E27FC236}">
                  <a16:creationId xmlns:a16="http://schemas.microsoft.com/office/drawing/2014/main" id="{59460B4C-7247-44CB-9622-83CBB51B5652}"/>
                </a:ext>
              </a:extLst>
            </p:cNvPr>
            <p:cNvSpPr/>
            <p:nvPr/>
          </p:nvSpPr>
          <p:spPr>
            <a:xfrm>
              <a:off x="4426030" y="2708503"/>
              <a:ext cx="342681" cy="186902"/>
            </a:xfrm>
            <a:custGeom>
              <a:avLst/>
              <a:gdLst>
                <a:gd name="connsiteX0" fmla="*/ 283469 w 342681"/>
                <a:gd name="connsiteY0" fmla="*/ 186903 h 186902"/>
                <a:gd name="connsiteX1" fmla="*/ 59562 w 342681"/>
                <a:gd name="connsiteY1" fmla="*/ 186903 h 186902"/>
                <a:gd name="connsiteX2" fmla="*/ 43255 w 342681"/>
                <a:gd name="connsiteY2" fmla="*/ 174986 h 186902"/>
                <a:gd name="connsiteX3" fmla="*/ 606 w 342681"/>
                <a:gd name="connsiteY3" fmla="*/ 20697 h 186902"/>
                <a:gd name="connsiteX4" fmla="*/ 3114 w 342681"/>
                <a:gd name="connsiteY4" fmla="*/ 6272 h 186902"/>
                <a:gd name="connsiteX5" fmla="*/ 16286 w 342681"/>
                <a:gd name="connsiteY5" fmla="*/ 0 h 186902"/>
                <a:gd name="connsiteX6" fmla="*/ 132943 w 342681"/>
                <a:gd name="connsiteY6" fmla="*/ 0 h 186902"/>
                <a:gd name="connsiteX7" fmla="*/ 149877 w 342681"/>
                <a:gd name="connsiteY7" fmla="*/ 16934 h 186902"/>
                <a:gd name="connsiteX8" fmla="*/ 132943 w 342681"/>
                <a:gd name="connsiteY8" fmla="*/ 33868 h 186902"/>
                <a:gd name="connsiteX9" fmla="*/ 38237 w 342681"/>
                <a:gd name="connsiteY9" fmla="*/ 33868 h 186902"/>
                <a:gd name="connsiteX10" fmla="*/ 71478 w 342681"/>
                <a:gd name="connsiteY10" fmla="*/ 154916 h 186902"/>
                <a:gd name="connsiteX11" fmla="*/ 270298 w 342681"/>
                <a:gd name="connsiteY11" fmla="*/ 154916 h 186902"/>
                <a:gd name="connsiteX12" fmla="*/ 303539 w 342681"/>
                <a:gd name="connsiteY12" fmla="*/ 33868 h 186902"/>
                <a:gd name="connsiteX13" fmla="*/ 238938 w 342681"/>
                <a:gd name="connsiteY13" fmla="*/ 33868 h 186902"/>
                <a:gd name="connsiteX14" fmla="*/ 222004 w 342681"/>
                <a:gd name="connsiteY14" fmla="*/ 16934 h 186902"/>
                <a:gd name="connsiteX15" fmla="*/ 238938 w 342681"/>
                <a:gd name="connsiteY15" fmla="*/ 0 h 186902"/>
                <a:gd name="connsiteX16" fmla="*/ 326118 w 342681"/>
                <a:gd name="connsiteY16" fmla="*/ 0 h 186902"/>
                <a:gd name="connsiteX17" fmla="*/ 339289 w 342681"/>
                <a:gd name="connsiteY17" fmla="*/ 6272 h 186902"/>
                <a:gd name="connsiteX18" fmla="*/ 341798 w 342681"/>
                <a:gd name="connsiteY18" fmla="*/ 20697 h 186902"/>
                <a:gd name="connsiteX19" fmla="*/ 299148 w 342681"/>
                <a:gd name="connsiteY19" fmla="*/ 174986 h 186902"/>
                <a:gd name="connsiteX20" fmla="*/ 283469 w 342681"/>
                <a:gd name="connsiteY20" fmla="*/ 186903 h 186902"/>
                <a:gd name="connsiteX21" fmla="*/ 283469 w 342681"/>
                <a:gd name="connsiteY21" fmla="*/ 186903 h 186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42681" h="186902">
                  <a:moveTo>
                    <a:pt x="283469" y="186903"/>
                  </a:moveTo>
                  <a:lnTo>
                    <a:pt x="59562" y="186903"/>
                  </a:lnTo>
                  <a:cubicBezTo>
                    <a:pt x="52035" y="186903"/>
                    <a:pt x="45764" y="181885"/>
                    <a:pt x="43255" y="174986"/>
                  </a:cubicBezTo>
                  <a:lnTo>
                    <a:pt x="606" y="20697"/>
                  </a:lnTo>
                  <a:cubicBezTo>
                    <a:pt x="-649" y="15680"/>
                    <a:pt x="-21" y="10035"/>
                    <a:pt x="3114" y="6272"/>
                  </a:cubicBezTo>
                  <a:cubicBezTo>
                    <a:pt x="6250" y="1882"/>
                    <a:pt x="11268" y="0"/>
                    <a:pt x="16286" y="0"/>
                  </a:cubicBezTo>
                  <a:lnTo>
                    <a:pt x="132943" y="0"/>
                  </a:lnTo>
                  <a:cubicBezTo>
                    <a:pt x="142351" y="0"/>
                    <a:pt x="149877" y="7526"/>
                    <a:pt x="149877" y="16934"/>
                  </a:cubicBezTo>
                  <a:cubicBezTo>
                    <a:pt x="149877" y="26342"/>
                    <a:pt x="142351" y="33868"/>
                    <a:pt x="132943" y="33868"/>
                  </a:cubicBezTo>
                  <a:lnTo>
                    <a:pt x="38237" y="33868"/>
                  </a:lnTo>
                  <a:lnTo>
                    <a:pt x="71478" y="154916"/>
                  </a:lnTo>
                  <a:lnTo>
                    <a:pt x="270298" y="154916"/>
                  </a:lnTo>
                  <a:lnTo>
                    <a:pt x="303539" y="33868"/>
                  </a:lnTo>
                  <a:lnTo>
                    <a:pt x="238938" y="33868"/>
                  </a:lnTo>
                  <a:cubicBezTo>
                    <a:pt x="229530" y="33868"/>
                    <a:pt x="222004" y="26342"/>
                    <a:pt x="222004" y="16934"/>
                  </a:cubicBezTo>
                  <a:cubicBezTo>
                    <a:pt x="222004" y="7526"/>
                    <a:pt x="229530" y="0"/>
                    <a:pt x="238938" y="0"/>
                  </a:cubicBezTo>
                  <a:lnTo>
                    <a:pt x="326118" y="0"/>
                  </a:lnTo>
                  <a:cubicBezTo>
                    <a:pt x="331135" y="0"/>
                    <a:pt x="336153" y="2509"/>
                    <a:pt x="339289" y="6272"/>
                  </a:cubicBezTo>
                  <a:cubicBezTo>
                    <a:pt x="342425" y="10662"/>
                    <a:pt x="343679" y="15680"/>
                    <a:pt x="341798" y="20697"/>
                  </a:cubicBezTo>
                  <a:lnTo>
                    <a:pt x="299148" y="174986"/>
                  </a:lnTo>
                  <a:cubicBezTo>
                    <a:pt x="297267" y="181885"/>
                    <a:pt x="290995" y="186903"/>
                    <a:pt x="283469" y="186903"/>
                  </a:cubicBezTo>
                  <a:lnTo>
                    <a:pt x="283469" y="186903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60" name="Forma Livre: Forma 259">
              <a:extLst>
                <a:ext uri="{FF2B5EF4-FFF2-40B4-BE49-F238E27FC236}">
                  <a16:creationId xmlns:a16="http://schemas.microsoft.com/office/drawing/2014/main" id="{BB1828F2-2F0A-4224-AC1F-9FFA5AADE0B5}"/>
                </a:ext>
              </a:extLst>
            </p:cNvPr>
            <p:cNvSpPr/>
            <p:nvPr/>
          </p:nvSpPr>
          <p:spPr>
            <a:xfrm>
              <a:off x="4527927" y="2764010"/>
              <a:ext cx="134846" cy="83730"/>
            </a:xfrm>
            <a:custGeom>
              <a:avLst/>
              <a:gdLst>
                <a:gd name="connsiteX0" fmla="*/ 67423 w 134846"/>
                <a:gd name="connsiteY0" fmla="*/ 83730 h 83730"/>
                <a:gd name="connsiteX1" fmla="*/ 55506 w 134846"/>
                <a:gd name="connsiteY1" fmla="*/ 78712 h 83730"/>
                <a:gd name="connsiteX2" fmla="*/ 4704 w 134846"/>
                <a:gd name="connsiteY2" fmla="*/ 28537 h 83730"/>
                <a:gd name="connsiteX3" fmla="*/ 4704 w 134846"/>
                <a:gd name="connsiteY3" fmla="*/ 4704 h 83730"/>
                <a:gd name="connsiteX4" fmla="*/ 28537 w 134846"/>
                <a:gd name="connsiteY4" fmla="*/ 4704 h 83730"/>
                <a:gd name="connsiteX5" fmla="*/ 67423 w 134846"/>
                <a:gd name="connsiteY5" fmla="*/ 43590 h 83730"/>
                <a:gd name="connsiteX6" fmla="*/ 106309 w 134846"/>
                <a:gd name="connsiteY6" fmla="*/ 4704 h 83730"/>
                <a:gd name="connsiteX7" fmla="*/ 130142 w 134846"/>
                <a:gd name="connsiteY7" fmla="*/ 4704 h 83730"/>
                <a:gd name="connsiteX8" fmla="*/ 130142 w 134846"/>
                <a:gd name="connsiteY8" fmla="*/ 28537 h 83730"/>
                <a:gd name="connsiteX9" fmla="*/ 79967 w 134846"/>
                <a:gd name="connsiteY9" fmla="*/ 78712 h 83730"/>
                <a:gd name="connsiteX10" fmla="*/ 67423 w 134846"/>
                <a:gd name="connsiteY10" fmla="*/ 83730 h 83730"/>
                <a:gd name="connsiteX11" fmla="*/ 67423 w 134846"/>
                <a:gd name="connsiteY11" fmla="*/ 83730 h 83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4846" h="83730">
                  <a:moveTo>
                    <a:pt x="67423" y="83730"/>
                  </a:moveTo>
                  <a:cubicBezTo>
                    <a:pt x="63033" y="83730"/>
                    <a:pt x="58642" y="81848"/>
                    <a:pt x="55506" y="78712"/>
                  </a:cubicBezTo>
                  <a:lnTo>
                    <a:pt x="4704" y="28537"/>
                  </a:lnTo>
                  <a:cubicBezTo>
                    <a:pt x="-1568" y="22265"/>
                    <a:pt x="-1568" y="11603"/>
                    <a:pt x="4704" y="4704"/>
                  </a:cubicBezTo>
                  <a:cubicBezTo>
                    <a:pt x="10976" y="-1568"/>
                    <a:pt x="21638" y="-1568"/>
                    <a:pt x="28537" y="4704"/>
                  </a:cubicBezTo>
                  <a:lnTo>
                    <a:pt x="67423" y="43590"/>
                  </a:lnTo>
                  <a:lnTo>
                    <a:pt x="106309" y="4704"/>
                  </a:lnTo>
                  <a:cubicBezTo>
                    <a:pt x="112580" y="-1568"/>
                    <a:pt x="123243" y="-1568"/>
                    <a:pt x="130142" y="4704"/>
                  </a:cubicBezTo>
                  <a:cubicBezTo>
                    <a:pt x="136414" y="10976"/>
                    <a:pt x="136414" y="21638"/>
                    <a:pt x="130142" y="28537"/>
                  </a:cubicBezTo>
                  <a:lnTo>
                    <a:pt x="79967" y="78712"/>
                  </a:lnTo>
                  <a:cubicBezTo>
                    <a:pt x="76203" y="82476"/>
                    <a:pt x="71813" y="83730"/>
                    <a:pt x="67423" y="83730"/>
                  </a:cubicBezTo>
                  <a:lnTo>
                    <a:pt x="67423" y="83730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61" name="Forma Livre: Forma 260">
              <a:extLst>
                <a:ext uri="{FF2B5EF4-FFF2-40B4-BE49-F238E27FC236}">
                  <a16:creationId xmlns:a16="http://schemas.microsoft.com/office/drawing/2014/main" id="{ABB321AB-A536-42EE-A31B-099A1A47779D}"/>
                </a:ext>
              </a:extLst>
            </p:cNvPr>
            <p:cNvSpPr/>
            <p:nvPr/>
          </p:nvSpPr>
          <p:spPr>
            <a:xfrm>
              <a:off x="4577788" y="2592161"/>
              <a:ext cx="172161" cy="246170"/>
            </a:xfrm>
            <a:custGeom>
              <a:avLst/>
              <a:gdLst>
                <a:gd name="connsiteX0" fmla="*/ 17562 w 172161"/>
                <a:gd name="connsiteY0" fmla="*/ 246170 h 246170"/>
                <a:gd name="connsiteX1" fmla="*/ 1254 w 172161"/>
                <a:gd name="connsiteY1" fmla="*/ 231118 h 246170"/>
                <a:gd name="connsiteX2" fmla="*/ 0 w 172161"/>
                <a:gd name="connsiteY2" fmla="*/ 208539 h 246170"/>
                <a:gd name="connsiteX3" fmla="*/ 149899 w 172161"/>
                <a:gd name="connsiteY3" fmla="*/ 939 h 246170"/>
                <a:gd name="connsiteX4" fmla="*/ 171223 w 172161"/>
                <a:gd name="connsiteY4" fmla="*/ 11601 h 246170"/>
                <a:gd name="connsiteX5" fmla="*/ 160561 w 172161"/>
                <a:gd name="connsiteY5" fmla="*/ 32925 h 246170"/>
                <a:gd name="connsiteX6" fmla="*/ 33241 w 172161"/>
                <a:gd name="connsiteY6" fmla="*/ 209166 h 246170"/>
                <a:gd name="connsiteX7" fmla="*/ 34495 w 172161"/>
                <a:gd name="connsiteY7" fmla="*/ 227982 h 246170"/>
                <a:gd name="connsiteX8" fmla="*/ 19443 w 172161"/>
                <a:gd name="connsiteY8" fmla="*/ 246170 h 246170"/>
                <a:gd name="connsiteX9" fmla="*/ 17562 w 172161"/>
                <a:gd name="connsiteY9" fmla="*/ 246170 h 246170"/>
                <a:gd name="connsiteX10" fmla="*/ 17562 w 172161"/>
                <a:gd name="connsiteY10" fmla="*/ 246170 h 246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2161" h="246170">
                  <a:moveTo>
                    <a:pt x="17562" y="246170"/>
                  </a:moveTo>
                  <a:cubicBezTo>
                    <a:pt x="9408" y="246170"/>
                    <a:pt x="1882" y="239898"/>
                    <a:pt x="1254" y="231118"/>
                  </a:cubicBezTo>
                  <a:cubicBezTo>
                    <a:pt x="627" y="223591"/>
                    <a:pt x="0" y="216065"/>
                    <a:pt x="0" y="208539"/>
                  </a:cubicBezTo>
                  <a:cubicBezTo>
                    <a:pt x="0" y="114460"/>
                    <a:pt x="60211" y="31044"/>
                    <a:pt x="149899" y="939"/>
                  </a:cubicBezTo>
                  <a:cubicBezTo>
                    <a:pt x="158680" y="-2197"/>
                    <a:pt x="168087" y="2820"/>
                    <a:pt x="171223" y="11601"/>
                  </a:cubicBezTo>
                  <a:cubicBezTo>
                    <a:pt x="174359" y="20381"/>
                    <a:pt x="169342" y="29789"/>
                    <a:pt x="160561" y="32925"/>
                  </a:cubicBezTo>
                  <a:cubicBezTo>
                    <a:pt x="84044" y="58640"/>
                    <a:pt x="33241" y="129513"/>
                    <a:pt x="33241" y="209166"/>
                  </a:cubicBezTo>
                  <a:cubicBezTo>
                    <a:pt x="33241" y="215438"/>
                    <a:pt x="33868" y="221710"/>
                    <a:pt x="34495" y="227982"/>
                  </a:cubicBezTo>
                  <a:cubicBezTo>
                    <a:pt x="35123" y="237390"/>
                    <a:pt x="28851" y="245543"/>
                    <a:pt x="19443" y="246170"/>
                  </a:cubicBezTo>
                  <a:cubicBezTo>
                    <a:pt x="18189" y="246170"/>
                    <a:pt x="18189" y="246170"/>
                    <a:pt x="17562" y="246170"/>
                  </a:cubicBezTo>
                  <a:lnTo>
                    <a:pt x="17562" y="246170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62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5356132" y="2618051"/>
            <a:ext cx="443053" cy="350109"/>
            <a:chOff x="5356132" y="2618051"/>
            <a:chExt cx="443053" cy="350109"/>
          </a:xfrm>
          <a:solidFill>
            <a:srgbClr val="B1B1A1"/>
          </a:solidFill>
        </p:grpSpPr>
        <p:sp>
          <p:nvSpPr>
            <p:cNvPr id="263" name="Forma Livre: Forma 262">
              <a:extLst>
                <a:ext uri="{FF2B5EF4-FFF2-40B4-BE49-F238E27FC236}">
                  <a16:creationId xmlns:a16="http://schemas.microsoft.com/office/drawing/2014/main" id="{75441515-76A2-42BD-AEA9-D0EFBFCC2E19}"/>
                </a:ext>
              </a:extLst>
            </p:cNvPr>
            <p:cNvSpPr/>
            <p:nvPr/>
          </p:nvSpPr>
          <p:spPr>
            <a:xfrm>
              <a:off x="5457132" y="2682161"/>
              <a:ext cx="342054" cy="186902"/>
            </a:xfrm>
            <a:custGeom>
              <a:avLst/>
              <a:gdLst>
                <a:gd name="connsiteX0" fmla="*/ 283469 w 342054"/>
                <a:gd name="connsiteY0" fmla="*/ 186903 h 186902"/>
                <a:gd name="connsiteX1" fmla="*/ 59562 w 342054"/>
                <a:gd name="connsiteY1" fmla="*/ 186903 h 186902"/>
                <a:gd name="connsiteX2" fmla="*/ 43255 w 342054"/>
                <a:gd name="connsiteY2" fmla="*/ 174986 h 186902"/>
                <a:gd name="connsiteX3" fmla="*/ 606 w 342054"/>
                <a:gd name="connsiteY3" fmla="*/ 20697 h 186902"/>
                <a:gd name="connsiteX4" fmla="*/ 3114 w 342054"/>
                <a:gd name="connsiteY4" fmla="*/ 6272 h 186902"/>
                <a:gd name="connsiteX5" fmla="*/ 16286 w 342054"/>
                <a:gd name="connsiteY5" fmla="*/ 0 h 186902"/>
                <a:gd name="connsiteX6" fmla="*/ 325491 w 342054"/>
                <a:gd name="connsiteY6" fmla="*/ 0 h 186902"/>
                <a:gd name="connsiteX7" fmla="*/ 338661 w 342054"/>
                <a:gd name="connsiteY7" fmla="*/ 6272 h 186902"/>
                <a:gd name="connsiteX8" fmla="*/ 341170 w 342054"/>
                <a:gd name="connsiteY8" fmla="*/ 20697 h 186902"/>
                <a:gd name="connsiteX9" fmla="*/ 298521 w 342054"/>
                <a:gd name="connsiteY9" fmla="*/ 174986 h 186902"/>
                <a:gd name="connsiteX10" fmla="*/ 283469 w 342054"/>
                <a:gd name="connsiteY10" fmla="*/ 186903 h 186902"/>
                <a:gd name="connsiteX11" fmla="*/ 283469 w 342054"/>
                <a:gd name="connsiteY11" fmla="*/ 186903 h 186902"/>
                <a:gd name="connsiteX12" fmla="*/ 72733 w 342054"/>
                <a:gd name="connsiteY12" fmla="*/ 153662 h 186902"/>
                <a:gd name="connsiteX13" fmla="*/ 270925 w 342054"/>
                <a:gd name="connsiteY13" fmla="*/ 153662 h 186902"/>
                <a:gd name="connsiteX14" fmla="*/ 304166 w 342054"/>
                <a:gd name="connsiteY14" fmla="*/ 32614 h 186902"/>
                <a:gd name="connsiteX15" fmla="*/ 38864 w 342054"/>
                <a:gd name="connsiteY15" fmla="*/ 32614 h 186902"/>
                <a:gd name="connsiteX16" fmla="*/ 72733 w 342054"/>
                <a:gd name="connsiteY16" fmla="*/ 153662 h 186902"/>
                <a:gd name="connsiteX17" fmla="*/ 72733 w 342054"/>
                <a:gd name="connsiteY17" fmla="*/ 153662 h 186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42054" h="186902">
                  <a:moveTo>
                    <a:pt x="283469" y="186903"/>
                  </a:moveTo>
                  <a:lnTo>
                    <a:pt x="59562" y="186903"/>
                  </a:lnTo>
                  <a:cubicBezTo>
                    <a:pt x="52035" y="186903"/>
                    <a:pt x="45763" y="181885"/>
                    <a:pt x="43255" y="174986"/>
                  </a:cubicBezTo>
                  <a:lnTo>
                    <a:pt x="606" y="20697"/>
                  </a:lnTo>
                  <a:cubicBezTo>
                    <a:pt x="-649" y="15680"/>
                    <a:pt x="-22" y="10035"/>
                    <a:pt x="3114" y="6272"/>
                  </a:cubicBezTo>
                  <a:cubicBezTo>
                    <a:pt x="6250" y="1881"/>
                    <a:pt x="11268" y="0"/>
                    <a:pt x="16286" y="0"/>
                  </a:cubicBezTo>
                  <a:lnTo>
                    <a:pt x="325491" y="0"/>
                  </a:lnTo>
                  <a:cubicBezTo>
                    <a:pt x="330508" y="0"/>
                    <a:pt x="335525" y="2509"/>
                    <a:pt x="338661" y="6272"/>
                  </a:cubicBezTo>
                  <a:cubicBezTo>
                    <a:pt x="341797" y="10662"/>
                    <a:pt x="343052" y="15680"/>
                    <a:pt x="341170" y="20697"/>
                  </a:cubicBezTo>
                  <a:lnTo>
                    <a:pt x="298521" y="174986"/>
                  </a:lnTo>
                  <a:cubicBezTo>
                    <a:pt x="297894" y="181885"/>
                    <a:pt x="290995" y="186903"/>
                    <a:pt x="283469" y="186903"/>
                  </a:cubicBezTo>
                  <a:lnTo>
                    <a:pt x="283469" y="186903"/>
                  </a:lnTo>
                  <a:close/>
                  <a:moveTo>
                    <a:pt x="72733" y="153662"/>
                  </a:moveTo>
                  <a:lnTo>
                    <a:pt x="270925" y="153662"/>
                  </a:lnTo>
                  <a:lnTo>
                    <a:pt x="304166" y="32614"/>
                  </a:lnTo>
                  <a:lnTo>
                    <a:pt x="38864" y="32614"/>
                  </a:lnTo>
                  <a:lnTo>
                    <a:pt x="72733" y="153662"/>
                  </a:lnTo>
                  <a:lnTo>
                    <a:pt x="72733" y="153662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64" name="Forma Livre: Forma 263">
              <a:extLst>
                <a:ext uri="{FF2B5EF4-FFF2-40B4-BE49-F238E27FC236}">
                  <a16:creationId xmlns:a16="http://schemas.microsoft.com/office/drawing/2014/main" id="{4873CF5A-F56A-4FF2-B3A4-2A67F31A3E5A}"/>
                </a:ext>
              </a:extLst>
            </p:cNvPr>
            <p:cNvSpPr/>
            <p:nvPr/>
          </p:nvSpPr>
          <p:spPr>
            <a:xfrm>
              <a:off x="5377417" y="2618051"/>
              <a:ext cx="156225" cy="251013"/>
            </a:xfrm>
            <a:custGeom>
              <a:avLst/>
              <a:gdLst>
                <a:gd name="connsiteX0" fmla="*/ 139276 w 156225"/>
                <a:gd name="connsiteY0" fmla="*/ 251013 h 251013"/>
                <a:gd name="connsiteX1" fmla="*/ 122969 w 156225"/>
                <a:gd name="connsiteY1" fmla="*/ 238470 h 251013"/>
                <a:gd name="connsiteX2" fmla="*/ 67149 w 156225"/>
                <a:gd name="connsiteY2" fmla="*/ 35887 h 251013"/>
                <a:gd name="connsiteX3" fmla="*/ 15719 w 156225"/>
                <a:gd name="connsiteY3" fmla="*/ 33378 h 251013"/>
                <a:gd name="connsiteX4" fmla="*/ 40 w 156225"/>
                <a:gd name="connsiteY4" fmla="*/ 15817 h 251013"/>
                <a:gd name="connsiteX5" fmla="*/ 17601 w 156225"/>
                <a:gd name="connsiteY5" fmla="*/ 137 h 251013"/>
                <a:gd name="connsiteX6" fmla="*/ 81574 w 156225"/>
                <a:gd name="connsiteY6" fmla="*/ 2646 h 251013"/>
                <a:gd name="connsiteX7" fmla="*/ 96627 w 156225"/>
                <a:gd name="connsiteY7" fmla="*/ 14562 h 251013"/>
                <a:gd name="connsiteX8" fmla="*/ 155583 w 156225"/>
                <a:gd name="connsiteY8" fmla="*/ 229062 h 251013"/>
                <a:gd name="connsiteX9" fmla="*/ 143666 w 156225"/>
                <a:gd name="connsiteY9" fmla="*/ 249759 h 251013"/>
                <a:gd name="connsiteX10" fmla="*/ 139276 w 156225"/>
                <a:gd name="connsiteY10" fmla="*/ 251013 h 251013"/>
                <a:gd name="connsiteX11" fmla="*/ 139276 w 156225"/>
                <a:gd name="connsiteY11" fmla="*/ 251013 h 251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6225" h="251013">
                  <a:moveTo>
                    <a:pt x="139276" y="251013"/>
                  </a:moveTo>
                  <a:cubicBezTo>
                    <a:pt x="131750" y="251013"/>
                    <a:pt x="125478" y="245996"/>
                    <a:pt x="122969" y="238470"/>
                  </a:cubicBezTo>
                  <a:lnTo>
                    <a:pt x="67149" y="35887"/>
                  </a:lnTo>
                  <a:lnTo>
                    <a:pt x="15719" y="33378"/>
                  </a:lnTo>
                  <a:cubicBezTo>
                    <a:pt x="6311" y="32751"/>
                    <a:pt x="-587" y="25225"/>
                    <a:pt x="40" y="15817"/>
                  </a:cubicBezTo>
                  <a:cubicBezTo>
                    <a:pt x="667" y="6409"/>
                    <a:pt x="7566" y="-1117"/>
                    <a:pt x="17601" y="137"/>
                  </a:cubicBezTo>
                  <a:lnTo>
                    <a:pt x="81574" y="2646"/>
                  </a:lnTo>
                  <a:cubicBezTo>
                    <a:pt x="89101" y="2646"/>
                    <a:pt x="94746" y="7663"/>
                    <a:pt x="96627" y="14562"/>
                  </a:cubicBezTo>
                  <a:lnTo>
                    <a:pt x="155583" y="229062"/>
                  </a:lnTo>
                  <a:cubicBezTo>
                    <a:pt x="158092" y="237842"/>
                    <a:pt x="153074" y="247250"/>
                    <a:pt x="143666" y="249759"/>
                  </a:cubicBezTo>
                  <a:cubicBezTo>
                    <a:pt x="142412" y="251013"/>
                    <a:pt x="141157" y="251013"/>
                    <a:pt x="139276" y="251013"/>
                  </a:cubicBezTo>
                  <a:lnTo>
                    <a:pt x="139276" y="251013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65" name="Forma Livre: Forma 264">
              <a:extLst>
                <a:ext uri="{FF2B5EF4-FFF2-40B4-BE49-F238E27FC236}">
                  <a16:creationId xmlns:a16="http://schemas.microsoft.com/office/drawing/2014/main" id="{3D143DBC-81F6-44F4-ABBD-9BCE91B84C31}"/>
                </a:ext>
              </a:extLst>
            </p:cNvPr>
            <p:cNvSpPr/>
            <p:nvPr/>
          </p:nvSpPr>
          <p:spPr>
            <a:xfrm>
              <a:off x="5511049" y="2876590"/>
              <a:ext cx="91569" cy="91569"/>
            </a:xfrm>
            <a:custGeom>
              <a:avLst/>
              <a:gdLst>
                <a:gd name="connsiteX0" fmla="*/ 45785 w 91569"/>
                <a:gd name="connsiteY0" fmla="*/ 91570 h 91569"/>
                <a:gd name="connsiteX1" fmla="*/ 0 w 91569"/>
                <a:gd name="connsiteY1" fmla="*/ 45785 h 91569"/>
                <a:gd name="connsiteX2" fmla="*/ 45785 w 91569"/>
                <a:gd name="connsiteY2" fmla="*/ 0 h 91569"/>
                <a:gd name="connsiteX3" fmla="*/ 91570 w 91569"/>
                <a:gd name="connsiteY3" fmla="*/ 45785 h 91569"/>
                <a:gd name="connsiteX4" fmla="*/ 45785 w 91569"/>
                <a:gd name="connsiteY4" fmla="*/ 91570 h 91569"/>
                <a:gd name="connsiteX5" fmla="*/ 45785 w 91569"/>
                <a:gd name="connsiteY5" fmla="*/ 91570 h 91569"/>
                <a:gd name="connsiteX6" fmla="*/ 45785 w 91569"/>
                <a:gd name="connsiteY6" fmla="*/ 33241 h 91569"/>
                <a:gd name="connsiteX7" fmla="*/ 33241 w 91569"/>
                <a:gd name="connsiteY7" fmla="*/ 45785 h 91569"/>
                <a:gd name="connsiteX8" fmla="*/ 45785 w 91569"/>
                <a:gd name="connsiteY8" fmla="*/ 58329 h 91569"/>
                <a:gd name="connsiteX9" fmla="*/ 58329 w 91569"/>
                <a:gd name="connsiteY9" fmla="*/ 45785 h 91569"/>
                <a:gd name="connsiteX10" fmla="*/ 45785 w 91569"/>
                <a:gd name="connsiteY10" fmla="*/ 33241 h 91569"/>
                <a:gd name="connsiteX11" fmla="*/ 45785 w 91569"/>
                <a:gd name="connsiteY11" fmla="*/ 33241 h 91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1569" h="91569">
                  <a:moveTo>
                    <a:pt x="45785" y="91570"/>
                  </a:moveTo>
                  <a:cubicBezTo>
                    <a:pt x="20697" y="91570"/>
                    <a:pt x="0" y="70872"/>
                    <a:pt x="0" y="45785"/>
                  </a:cubicBezTo>
                  <a:cubicBezTo>
                    <a:pt x="0" y="20697"/>
                    <a:pt x="20697" y="0"/>
                    <a:pt x="45785" y="0"/>
                  </a:cubicBezTo>
                  <a:cubicBezTo>
                    <a:pt x="70872" y="0"/>
                    <a:pt x="91570" y="20697"/>
                    <a:pt x="91570" y="45785"/>
                  </a:cubicBezTo>
                  <a:cubicBezTo>
                    <a:pt x="91570" y="71500"/>
                    <a:pt x="70872" y="91570"/>
                    <a:pt x="45785" y="91570"/>
                  </a:cubicBezTo>
                  <a:lnTo>
                    <a:pt x="45785" y="91570"/>
                  </a:lnTo>
                  <a:close/>
                  <a:moveTo>
                    <a:pt x="45785" y="33241"/>
                  </a:moveTo>
                  <a:cubicBezTo>
                    <a:pt x="38886" y="33241"/>
                    <a:pt x="33241" y="38886"/>
                    <a:pt x="33241" y="45785"/>
                  </a:cubicBezTo>
                  <a:cubicBezTo>
                    <a:pt x="33241" y="52684"/>
                    <a:pt x="38886" y="58329"/>
                    <a:pt x="45785" y="58329"/>
                  </a:cubicBezTo>
                  <a:cubicBezTo>
                    <a:pt x="52684" y="58329"/>
                    <a:pt x="58329" y="52684"/>
                    <a:pt x="58329" y="45785"/>
                  </a:cubicBezTo>
                  <a:cubicBezTo>
                    <a:pt x="58329" y="38886"/>
                    <a:pt x="52684" y="33241"/>
                    <a:pt x="45785" y="33241"/>
                  </a:cubicBezTo>
                  <a:lnTo>
                    <a:pt x="45785" y="33241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66" name="Forma Livre: Forma 265">
              <a:extLst>
                <a:ext uri="{FF2B5EF4-FFF2-40B4-BE49-F238E27FC236}">
                  <a16:creationId xmlns:a16="http://schemas.microsoft.com/office/drawing/2014/main" id="{1A08914A-0A4E-4FD2-AA5A-E3BAEE1E721F}"/>
                </a:ext>
              </a:extLst>
            </p:cNvPr>
            <p:cNvSpPr/>
            <p:nvPr/>
          </p:nvSpPr>
          <p:spPr>
            <a:xfrm>
              <a:off x="5649658" y="2876590"/>
              <a:ext cx="91569" cy="91569"/>
            </a:xfrm>
            <a:custGeom>
              <a:avLst/>
              <a:gdLst>
                <a:gd name="connsiteX0" fmla="*/ 45785 w 91569"/>
                <a:gd name="connsiteY0" fmla="*/ 91570 h 91569"/>
                <a:gd name="connsiteX1" fmla="*/ 0 w 91569"/>
                <a:gd name="connsiteY1" fmla="*/ 45785 h 91569"/>
                <a:gd name="connsiteX2" fmla="*/ 45785 w 91569"/>
                <a:gd name="connsiteY2" fmla="*/ 0 h 91569"/>
                <a:gd name="connsiteX3" fmla="*/ 91570 w 91569"/>
                <a:gd name="connsiteY3" fmla="*/ 45785 h 91569"/>
                <a:gd name="connsiteX4" fmla="*/ 45785 w 91569"/>
                <a:gd name="connsiteY4" fmla="*/ 91570 h 91569"/>
                <a:gd name="connsiteX5" fmla="*/ 45785 w 91569"/>
                <a:gd name="connsiteY5" fmla="*/ 91570 h 91569"/>
                <a:gd name="connsiteX6" fmla="*/ 45785 w 91569"/>
                <a:gd name="connsiteY6" fmla="*/ 33241 h 91569"/>
                <a:gd name="connsiteX7" fmla="*/ 33241 w 91569"/>
                <a:gd name="connsiteY7" fmla="*/ 45785 h 91569"/>
                <a:gd name="connsiteX8" fmla="*/ 45785 w 91569"/>
                <a:gd name="connsiteY8" fmla="*/ 58329 h 91569"/>
                <a:gd name="connsiteX9" fmla="*/ 58329 w 91569"/>
                <a:gd name="connsiteY9" fmla="*/ 45785 h 91569"/>
                <a:gd name="connsiteX10" fmla="*/ 45785 w 91569"/>
                <a:gd name="connsiteY10" fmla="*/ 33241 h 91569"/>
                <a:gd name="connsiteX11" fmla="*/ 45785 w 91569"/>
                <a:gd name="connsiteY11" fmla="*/ 33241 h 91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1569" h="91569">
                  <a:moveTo>
                    <a:pt x="45785" y="91570"/>
                  </a:moveTo>
                  <a:cubicBezTo>
                    <a:pt x="20697" y="91570"/>
                    <a:pt x="0" y="70872"/>
                    <a:pt x="0" y="45785"/>
                  </a:cubicBezTo>
                  <a:cubicBezTo>
                    <a:pt x="0" y="20697"/>
                    <a:pt x="20697" y="0"/>
                    <a:pt x="45785" y="0"/>
                  </a:cubicBezTo>
                  <a:cubicBezTo>
                    <a:pt x="70872" y="0"/>
                    <a:pt x="91570" y="20697"/>
                    <a:pt x="91570" y="45785"/>
                  </a:cubicBezTo>
                  <a:cubicBezTo>
                    <a:pt x="91570" y="71500"/>
                    <a:pt x="70872" y="91570"/>
                    <a:pt x="45785" y="91570"/>
                  </a:cubicBezTo>
                  <a:lnTo>
                    <a:pt x="45785" y="91570"/>
                  </a:lnTo>
                  <a:close/>
                  <a:moveTo>
                    <a:pt x="45785" y="33241"/>
                  </a:moveTo>
                  <a:cubicBezTo>
                    <a:pt x="38886" y="33241"/>
                    <a:pt x="33241" y="38886"/>
                    <a:pt x="33241" y="45785"/>
                  </a:cubicBezTo>
                  <a:cubicBezTo>
                    <a:pt x="33241" y="52684"/>
                    <a:pt x="38886" y="58329"/>
                    <a:pt x="45785" y="58329"/>
                  </a:cubicBezTo>
                  <a:cubicBezTo>
                    <a:pt x="52684" y="58329"/>
                    <a:pt x="58329" y="52684"/>
                    <a:pt x="58329" y="45785"/>
                  </a:cubicBezTo>
                  <a:cubicBezTo>
                    <a:pt x="58329" y="38886"/>
                    <a:pt x="52684" y="33241"/>
                    <a:pt x="45785" y="33241"/>
                  </a:cubicBezTo>
                  <a:lnTo>
                    <a:pt x="45785" y="33241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67" name="Forma Livre: Forma 266">
              <a:extLst>
                <a:ext uri="{FF2B5EF4-FFF2-40B4-BE49-F238E27FC236}">
                  <a16:creationId xmlns:a16="http://schemas.microsoft.com/office/drawing/2014/main" id="{6D5747BA-4287-4354-956F-80F022B6EACC}"/>
                </a:ext>
              </a:extLst>
            </p:cNvPr>
            <p:cNvSpPr/>
            <p:nvPr/>
          </p:nvSpPr>
          <p:spPr>
            <a:xfrm>
              <a:off x="5409444" y="2781884"/>
              <a:ext cx="226415" cy="33868"/>
            </a:xfrm>
            <a:custGeom>
              <a:avLst/>
              <a:gdLst>
                <a:gd name="connsiteX0" fmla="*/ 209482 w 226415"/>
                <a:gd name="connsiteY0" fmla="*/ 33868 h 33868"/>
                <a:gd name="connsiteX1" fmla="*/ 16934 w 226415"/>
                <a:gd name="connsiteY1" fmla="*/ 33868 h 33868"/>
                <a:gd name="connsiteX2" fmla="*/ 0 w 226415"/>
                <a:gd name="connsiteY2" fmla="*/ 16934 h 33868"/>
                <a:gd name="connsiteX3" fmla="*/ 16934 w 226415"/>
                <a:gd name="connsiteY3" fmla="*/ 0 h 33868"/>
                <a:gd name="connsiteX4" fmla="*/ 209482 w 226415"/>
                <a:gd name="connsiteY4" fmla="*/ 0 h 33868"/>
                <a:gd name="connsiteX5" fmla="*/ 226416 w 226415"/>
                <a:gd name="connsiteY5" fmla="*/ 16934 h 33868"/>
                <a:gd name="connsiteX6" fmla="*/ 209482 w 226415"/>
                <a:gd name="connsiteY6" fmla="*/ 33868 h 33868"/>
                <a:gd name="connsiteX7" fmla="*/ 209482 w 226415"/>
                <a:gd name="connsiteY7" fmla="*/ 33868 h 33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6415" h="33868">
                  <a:moveTo>
                    <a:pt x="209482" y="33868"/>
                  </a:moveTo>
                  <a:lnTo>
                    <a:pt x="16934" y="33868"/>
                  </a:lnTo>
                  <a:cubicBezTo>
                    <a:pt x="7526" y="33868"/>
                    <a:pt x="0" y="26342"/>
                    <a:pt x="0" y="16934"/>
                  </a:cubicBezTo>
                  <a:cubicBezTo>
                    <a:pt x="0" y="7526"/>
                    <a:pt x="7526" y="0"/>
                    <a:pt x="16934" y="0"/>
                  </a:cubicBezTo>
                  <a:lnTo>
                    <a:pt x="209482" y="0"/>
                  </a:lnTo>
                  <a:cubicBezTo>
                    <a:pt x="218889" y="0"/>
                    <a:pt x="226416" y="7526"/>
                    <a:pt x="226416" y="16934"/>
                  </a:cubicBezTo>
                  <a:cubicBezTo>
                    <a:pt x="226416" y="26342"/>
                    <a:pt x="218889" y="33868"/>
                    <a:pt x="209482" y="33868"/>
                  </a:cubicBezTo>
                  <a:lnTo>
                    <a:pt x="209482" y="33868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68" name="Forma Livre: Forma 267">
              <a:extLst>
                <a:ext uri="{FF2B5EF4-FFF2-40B4-BE49-F238E27FC236}">
                  <a16:creationId xmlns:a16="http://schemas.microsoft.com/office/drawing/2014/main" id="{BCD30949-2D2A-47BE-BD9D-84724863BFAF}"/>
                </a:ext>
              </a:extLst>
            </p:cNvPr>
            <p:cNvSpPr/>
            <p:nvPr/>
          </p:nvSpPr>
          <p:spPr>
            <a:xfrm>
              <a:off x="5356132" y="2729828"/>
              <a:ext cx="309832" cy="33868"/>
            </a:xfrm>
            <a:custGeom>
              <a:avLst/>
              <a:gdLst>
                <a:gd name="connsiteX0" fmla="*/ 292898 w 309832"/>
                <a:gd name="connsiteY0" fmla="*/ 33868 h 33868"/>
                <a:gd name="connsiteX1" fmla="*/ 16934 w 309832"/>
                <a:gd name="connsiteY1" fmla="*/ 33868 h 33868"/>
                <a:gd name="connsiteX2" fmla="*/ 0 w 309832"/>
                <a:gd name="connsiteY2" fmla="*/ 16934 h 33868"/>
                <a:gd name="connsiteX3" fmla="*/ 16934 w 309832"/>
                <a:gd name="connsiteY3" fmla="*/ 0 h 33868"/>
                <a:gd name="connsiteX4" fmla="*/ 292898 w 309832"/>
                <a:gd name="connsiteY4" fmla="*/ 0 h 33868"/>
                <a:gd name="connsiteX5" fmla="*/ 309832 w 309832"/>
                <a:gd name="connsiteY5" fmla="*/ 16934 h 33868"/>
                <a:gd name="connsiteX6" fmla="*/ 292898 w 309832"/>
                <a:gd name="connsiteY6" fmla="*/ 33868 h 33868"/>
                <a:gd name="connsiteX7" fmla="*/ 292898 w 309832"/>
                <a:gd name="connsiteY7" fmla="*/ 33868 h 33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9832" h="33868">
                  <a:moveTo>
                    <a:pt x="292898" y="33868"/>
                  </a:moveTo>
                  <a:lnTo>
                    <a:pt x="16934" y="33868"/>
                  </a:lnTo>
                  <a:cubicBezTo>
                    <a:pt x="7526" y="33868"/>
                    <a:pt x="0" y="26342"/>
                    <a:pt x="0" y="16934"/>
                  </a:cubicBezTo>
                  <a:cubicBezTo>
                    <a:pt x="0" y="7526"/>
                    <a:pt x="7526" y="0"/>
                    <a:pt x="16934" y="0"/>
                  </a:cubicBezTo>
                  <a:lnTo>
                    <a:pt x="292898" y="0"/>
                  </a:lnTo>
                  <a:cubicBezTo>
                    <a:pt x="302306" y="0"/>
                    <a:pt x="309832" y="7526"/>
                    <a:pt x="309832" y="16934"/>
                  </a:cubicBezTo>
                  <a:cubicBezTo>
                    <a:pt x="309832" y="26342"/>
                    <a:pt x="302306" y="33868"/>
                    <a:pt x="292898" y="33868"/>
                  </a:cubicBezTo>
                  <a:lnTo>
                    <a:pt x="292898" y="33868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69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2355505" y="5671980"/>
            <a:ext cx="335393" cy="405165"/>
            <a:chOff x="2355505" y="5671980"/>
            <a:chExt cx="335393" cy="405165"/>
          </a:xfrm>
          <a:solidFill>
            <a:srgbClr val="B1B1A1"/>
          </a:solidFill>
        </p:grpSpPr>
        <p:sp>
          <p:nvSpPr>
            <p:cNvPr id="270" name="Forma Livre: Forma 269">
              <a:extLst>
                <a:ext uri="{FF2B5EF4-FFF2-40B4-BE49-F238E27FC236}">
                  <a16:creationId xmlns:a16="http://schemas.microsoft.com/office/drawing/2014/main" id="{3D792BCF-3DE5-43E9-851B-B90B96EF0FC1}"/>
                </a:ext>
              </a:extLst>
            </p:cNvPr>
            <p:cNvSpPr/>
            <p:nvPr/>
          </p:nvSpPr>
          <p:spPr>
            <a:xfrm>
              <a:off x="2355505" y="5671980"/>
              <a:ext cx="335393" cy="351226"/>
            </a:xfrm>
            <a:custGeom>
              <a:avLst/>
              <a:gdLst>
                <a:gd name="connsiteX0" fmla="*/ 167606 w 335393"/>
                <a:gd name="connsiteY0" fmla="*/ 33241 h 351226"/>
                <a:gd name="connsiteX1" fmla="*/ 219036 w 335393"/>
                <a:gd name="connsiteY1" fmla="*/ 99096 h 351226"/>
                <a:gd name="connsiteX2" fmla="*/ 270465 w 335393"/>
                <a:gd name="connsiteY2" fmla="*/ 164951 h 351226"/>
                <a:gd name="connsiteX3" fmla="*/ 225935 w 335393"/>
                <a:gd name="connsiteY3" fmla="*/ 164951 h 351226"/>
                <a:gd name="connsiteX4" fmla="*/ 226562 w 335393"/>
                <a:gd name="connsiteY4" fmla="*/ 165578 h 351226"/>
                <a:gd name="connsiteX5" fmla="*/ 286145 w 335393"/>
                <a:gd name="connsiteY5" fmla="*/ 241468 h 351226"/>
                <a:gd name="connsiteX6" fmla="*/ 241615 w 335393"/>
                <a:gd name="connsiteY6" fmla="*/ 241468 h 351226"/>
                <a:gd name="connsiteX7" fmla="*/ 301198 w 335393"/>
                <a:gd name="connsiteY7" fmla="*/ 317985 h 351226"/>
                <a:gd name="connsiteX8" fmla="*/ 166979 w 335393"/>
                <a:gd name="connsiteY8" fmla="*/ 317985 h 351226"/>
                <a:gd name="connsiteX9" fmla="*/ 32760 w 335393"/>
                <a:gd name="connsiteY9" fmla="*/ 317985 h 351226"/>
                <a:gd name="connsiteX10" fmla="*/ 92343 w 335393"/>
                <a:gd name="connsiteY10" fmla="*/ 241468 h 351226"/>
                <a:gd name="connsiteX11" fmla="*/ 47813 w 335393"/>
                <a:gd name="connsiteY11" fmla="*/ 241468 h 351226"/>
                <a:gd name="connsiteX12" fmla="*/ 107396 w 335393"/>
                <a:gd name="connsiteY12" fmla="*/ 165578 h 351226"/>
                <a:gd name="connsiteX13" fmla="*/ 108023 w 335393"/>
                <a:gd name="connsiteY13" fmla="*/ 164951 h 351226"/>
                <a:gd name="connsiteX14" fmla="*/ 63492 w 335393"/>
                <a:gd name="connsiteY14" fmla="*/ 164951 h 351226"/>
                <a:gd name="connsiteX15" fmla="*/ 114922 w 335393"/>
                <a:gd name="connsiteY15" fmla="*/ 99096 h 351226"/>
                <a:gd name="connsiteX16" fmla="*/ 167606 w 335393"/>
                <a:gd name="connsiteY16" fmla="*/ 33241 h 351226"/>
                <a:gd name="connsiteX17" fmla="*/ 167606 w 335393"/>
                <a:gd name="connsiteY17" fmla="*/ 0 h 351226"/>
                <a:gd name="connsiteX18" fmla="*/ 141264 w 335393"/>
                <a:gd name="connsiteY18" fmla="*/ 12544 h 351226"/>
                <a:gd name="connsiteX19" fmla="*/ 89834 w 335393"/>
                <a:gd name="connsiteY19" fmla="*/ 78399 h 351226"/>
                <a:gd name="connsiteX20" fmla="*/ 38405 w 335393"/>
                <a:gd name="connsiteY20" fmla="*/ 144254 h 351226"/>
                <a:gd name="connsiteX21" fmla="*/ 34642 w 335393"/>
                <a:gd name="connsiteY21" fmla="*/ 179376 h 351226"/>
                <a:gd name="connsiteX22" fmla="*/ 45304 w 335393"/>
                <a:gd name="connsiteY22" fmla="*/ 191920 h 351226"/>
                <a:gd name="connsiteX23" fmla="*/ 22725 w 335393"/>
                <a:gd name="connsiteY23" fmla="*/ 220771 h 351226"/>
                <a:gd name="connsiteX24" fmla="*/ 18962 w 335393"/>
                <a:gd name="connsiteY24" fmla="*/ 255894 h 351226"/>
                <a:gd name="connsiteX25" fmla="*/ 29624 w 335393"/>
                <a:gd name="connsiteY25" fmla="*/ 268438 h 351226"/>
                <a:gd name="connsiteX26" fmla="*/ 7045 w 335393"/>
                <a:gd name="connsiteY26" fmla="*/ 297288 h 351226"/>
                <a:gd name="connsiteX27" fmla="*/ 3282 w 335393"/>
                <a:gd name="connsiteY27" fmla="*/ 332411 h 351226"/>
                <a:gd name="connsiteX28" fmla="*/ 33387 w 335393"/>
                <a:gd name="connsiteY28" fmla="*/ 351227 h 351226"/>
                <a:gd name="connsiteX29" fmla="*/ 167606 w 335393"/>
                <a:gd name="connsiteY29" fmla="*/ 351227 h 351226"/>
                <a:gd name="connsiteX30" fmla="*/ 301825 w 335393"/>
                <a:gd name="connsiteY30" fmla="*/ 351227 h 351226"/>
                <a:gd name="connsiteX31" fmla="*/ 331930 w 335393"/>
                <a:gd name="connsiteY31" fmla="*/ 332411 h 351226"/>
                <a:gd name="connsiteX32" fmla="*/ 328167 w 335393"/>
                <a:gd name="connsiteY32" fmla="*/ 297288 h 351226"/>
                <a:gd name="connsiteX33" fmla="*/ 305588 w 335393"/>
                <a:gd name="connsiteY33" fmla="*/ 268438 h 351226"/>
                <a:gd name="connsiteX34" fmla="*/ 316250 w 335393"/>
                <a:gd name="connsiteY34" fmla="*/ 255894 h 351226"/>
                <a:gd name="connsiteX35" fmla="*/ 312487 w 335393"/>
                <a:gd name="connsiteY35" fmla="*/ 220771 h 351226"/>
                <a:gd name="connsiteX36" fmla="*/ 289908 w 335393"/>
                <a:gd name="connsiteY36" fmla="*/ 191920 h 351226"/>
                <a:gd name="connsiteX37" fmla="*/ 300571 w 335393"/>
                <a:gd name="connsiteY37" fmla="*/ 179376 h 351226"/>
                <a:gd name="connsiteX38" fmla="*/ 296807 w 335393"/>
                <a:gd name="connsiteY38" fmla="*/ 144254 h 351226"/>
                <a:gd name="connsiteX39" fmla="*/ 245378 w 335393"/>
                <a:gd name="connsiteY39" fmla="*/ 78399 h 351226"/>
                <a:gd name="connsiteX40" fmla="*/ 193948 w 335393"/>
                <a:gd name="connsiteY40" fmla="*/ 12544 h 351226"/>
                <a:gd name="connsiteX41" fmla="*/ 167606 w 335393"/>
                <a:gd name="connsiteY41" fmla="*/ 0 h 351226"/>
                <a:gd name="connsiteX42" fmla="*/ 167606 w 335393"/>
                <a:gd name="connsiteY42" fmla="*/ 0 h 351226"/>
                <a:gd name="connsiteX43" fmla="*/ 167606 w 335393"/>
                <a:gd name="connsiteY43" fmla="*/ 0 h 351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35393" h="351226">
                  <a:moveTo>
                    <a:pt x="167606" y="33241"/>
                  </a:moveTo>
                  <a:lnTo>
                    <a:pt x="219036" y="99096"/>
                  </a:lnTo>
                  <a:lnTo>
                    <a:pt x="270465" y="164951"/>
                  </a:lnTo>
                  <a:lnTo>
                    <a:pt x="225935" y="164951"/>
                  </a:lnTo>
                  <a:lnTo>
                    <a:pt x="226562" y="165578"/>
                  </a:lnTo>
                  <a:lnTo>
                    <a:pt x="286145" y="241468"/>
                  </a:lnTo>
                  <a:lnTo>
                    <a:pt x="241615" y="241468"/>
                  </a:lnTo>
                  <a:lnTo>
                    <a:pt x="301198" y="317985"/>
                  </a:lnTo>
                  <a:lnTo>
                    <a:pt x="166979" y="317985"/>
                  </a:lnTo>
                  <a:lnTo>
                    <a:pt x="32760" y="317985"/>
                  </a:lnTo>
                  <a:lnTo>
                    <a:pt x="92343" y="241468"/>
                  </a:lnTo>
                  <a:lnTo>
                    <a:pt x="47813" y="241468"/>
                  </a:lnTo>
                  <a:lnTo>
                    <a:pt x="107396" y="165578"/>
                  </a:lnTo>
                  <a:lnTo>
                    <a:pt x="108023" y="164951"/>
                  </a:lnTo>
                  <a:lnTo>
                    <a:pt x="63492" y="164951"/>
                  </a:lnTo>
                  <a:lnTo>
                    <a:pt x="114922" y="99096"/>
                  </a:lnTo>
                  <a:lnTo>
                    <a:pt x="167606" y="33241"/>
                  </a:lnTo>
                  <a:moveTo>
                    <a:pt x="167606" y="0"/>
                  </a:moveTo>
                  <a:cubicBezTo>
                    <a:pt x="157571" y="0"/>
                    <a:pt x="147536" y="4390"/>
                    <a:pt x="141264" y="12544"/>
                  </a:cubicBezTo>
                  <a:lnTo>
                    <a:pt x="89834" y="78399"/>
                  </a:lnTo>
                  <a:lnTo>
                    <a:pt x="38405" y="144254"/>
                  </a:lnTo>
                  <a:cubicBezTo>
                    <a:pt x="30251" y="154289"/>
                    <a:pt x="28997" y="168087"/>
                    <a:pt x="34642" y="179376"/>
                  </a:cubicBezTo>
                  <a:cubicBezTo>
                    <a:pt x="37150" y="184394"/>
                    <a:pt x="40914" y="188784"/>
                    <a:pt x="45304" y="191920"/>
                  </a:cubicBezTo>
                  <a:lnTo>
                    <a:pt x="22725" y="220771"/>
                  </a:lnTo>
                  <a:cubicBezTo>
                    <a:pt x="14572" y="230806"/>
                    <a:pt x="13317" y="244604"/>
                    <a:pt x="18962" y="255894"/>
                  </a:cubicBezTo>
                  <a:cubicBezTo>
                    <a:pt x="21471" y="260911"/>
                    <a:pt x="25234" y="265302"/>
                    <a:pt x="29624" y="268438"/>
                  </a:cubicBezTo>
                  <a:lnTo>
                    <a:pt x="7045" y="297288"/>
                  </a:lnTo>
                  <a:cubicBezTo>
                    <a:pt x="-481" y="307323"/>
                    <a:pt x="-2363" y="321121"/>
                    <a:pt x="3282" y="332411"/>
                  </a:cubicBezTo>
                  <a:cubicBezTo>
                    <a:pt x="8927" y="343700"/>
                    <a:pt x="20216" y="351227"/>
                    <a:pt x="33387" y="351227"/>
                  </a:cubicBezTo>
                  <a:lnTo>
                    <a:pt x="167606" y="351227"/>
                  </a:lnTo>
                  <a:lnTo>
                    <a:pt x="301825" y="351227"/>
                  </a:lnTo>
                  <a:cubicBezTo>
                    <a:pt x="314369" y="351227"/>
                    <a:pt x="326285" y="343700"/>
                    <a:pt x="331930" y="332411"/>
                  </a:cubicBezTo>
                  <a:cubicBezTo>
                    <a:pt x="337575" y="321121"/>
                    <a:pt x="336320" y="307323"/>
                    <a:pt x="328167" y="297288"/>
                  </a:cubicBezTo>
                  <a:lnTo>
                    <a:pt x="305588" y="268438"/>
                  </a:lnTo>
                  <a:cubicBezTo>
                    <a:pt x="309978" y="265302"/>
                    <a:pt x="313742" y="260911"/>
                    <a:pt x="316250" y="255894"/>
                  </a:cubicBezTo>
                  <a:cubicBezTo>
                    <a:pt x="321895" y="244604"/>
                    <a:pt x="320641" y="230806"/>
                    <a:pt x="312487" y="220771"/>
                  </a:cubicBezTo>
                  <a:lnTo>
                    <a:pt x="289908" y="191920"/>
                  </a:lnTo>
                  <a:cubicBezTo>
                    <a:pt x="294299" y="188784"/>
                    <a:pt x="298062" y="184394"/>
                    <a:pt x="300571" y="179376"/>
                  </a:cubicBezTo>
                  <a:cubicBezTo>
                    <a:pt x="306215" y="168087"/>
                    <a:pt x="304961" y="154289"/>
                    <a:pt x="296807" y="144254"/>
                  </a:cubicBezTo>
                  <a:lnTo>
                    <a:pt x="245378" y="78399"/>
                  </a:lnTo>
                  <a:lnTo>
                    <a:pt x="193948" y="12544"/>
                  </a:lnTo>
                  <a:cubicBezTo>
                    <a:pt x="187676" y="4390"/>
                    <a:pt x="178268" y="0"/>
                    <a:pt x="167606" y="0"/>
                  </a:cubicBezTo>
                  <a:lnTo>
                    <a:pt x="167606" y="0"/>
                  </a:lnTo>
                  <a:lnTo>
                    <a:pt x="167606" y="0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71" name="Forma Livre: Forma 270">
              <a:extLst>
                <a:ext uri="{FF2B5EF4-FFF2-40B4-BE49-F238E27FC236}">
                  <a16:creationId xmlns:a16="http://schemas.microsoft.com/office/drawing/2014/main" id="{3A917F13-8E11-44D5-87C7-9CFC237C224F}"/>
                </a:ext>
              </a:extLst>
            </p:cNvPr>
            <p:cNvSpPr/>
            <p:nvPr/>
          </p:nvSpPr>
          <p:spPr>
            <a:xfrm>
              <a:off x="2479208" y="5998746"/>
              <a:ext cx="88433" cy="78398"/>
            </a:xfrm>
            <a:custGeom>
              <a:avLst/>
              <a:gdLst>
                <a:gd name="connsiteX0" fmla="*/ 70873 w 88433"/>
                <a:gd name="connsiteY0" fmla="*/ 78399 h 78398"/>
                <a:gd name="connsiteX1" fmla="*/ 16934 w 88433"/>
                <a:gd name="connsiteY1" fmla="*/ 78399 h 78398"/>
                <a:gd name="connsiteX2" fmla="*/ 0 w 88433"/>
                <a:gd name="connsiteY2" fmla="*/ 61465 h 78398"/>
                <a:gd name="connsiteX3" fmla="*/ 0 w 88433"/>
                <a:gd name="connsiteY3" fmla="*/ 16934 h 78398"/>
                <a:gd name="connsiteX4" fmla="*/ 16934 w 88433"/>
                <a:gd name="connsiteY4" fmla="*/ 0 h 78398"/>
                <a:gd name="connsiteX5" fmla="*/ 33868 w 88433"/>
                <a:gd name="connsiteY5" fmla="*/ 16934 h 78398"/>
                <a:gd name="connsiteX6" fmla="*/ 33868 w 88433"/>
                <a:gd name="connsiteY6" fmla="*/ 44530 h 78398"/>
                <a:gd name="connsiteX7" fmla="*/ 54566 w 88433"/>
                <a:gd name="connsiteY7" fmla="*/ 44530 h 78398"/>
                <a:gd name="connsiteX8" fmla="*/ 54566 w 88433"/>
                <a:gd name="connsiteY8" fmla="*/ 16934 h 78398"/>
                <a:gd name="connsiteX9" fmla="*/ 71500 w 88433"/>
                <a:gd name="connsiteY9" fmla="*/ 0 h 78398"/>
                <a:gd name="connsiteX10" fmla="*/ 88434 w 88433"/>
                <a:gd name="connsiteY10" fmla="*/ 16934 h 78398"/>
                <a:gd name="connsiteX11" fmla="*/ 88434 w 88433"/>
                <a:gd name="connsiteY11" fmla="*/ 61465 h 78398"/>
                <a:gd name="connsiteX12" fmla="*/ 70873 w 88433"/>
                <a:gd name="connsiteY12" fmla="*/ 78399 h 78398"/>
                <a:gd name="connsiteX13" fmla="*/ 70873 w 88433"/>
                <a:gd name="connsiteY13" fmla="*/ 78399 h 78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8433" h="78398">
                  <a:moveTo>
                    <a:pt x="70873" y="78399"/>
                  </a:moveTo>
                  <a:lnTo>
                    <a:pt x="16934" y="78399"/>
                  </a:lnTo>
                  <a:cubicBezTo>
                    <a:pt x="7526" y="78399"/>
                    <a:pt x="0" y="70872"/>
                    <a:pt x="0" y="61465"/>
                  </a:cubicBezTo>
                  <a:lnTo>
                    <a:pt x="0" y="16934"/>
                  </a:lnTo>
                  <a:cubicBezTo>
                    <a:pt x="0" y="7526"/>
                    <a:pt x="7526" y="0"/>
                    <a:pt x="16934" y="0"/>
                  </a:cubicBezTo>
                  <a:cubicBezTo>
                    <a:pt x="26342" y="0"/>
                    <a:pt x="33868" y="7526"/>
                    <a:pt x="33868" y="16934"/>
                  </a:cubicBezTo>
                  <a:lnTo>
                    <a:pt x="33868" y="44530"/>
                  </a:lnTo>
                  <a:lnTo>
                    <a:pt x="54566" y="44530"/>
                  </a:lnTo>
                  <a:lnTo>
                    <a:pt x="54566" y="16934"/>
                  </a:lnTo>
                  <a:cubicBezTo>
                    <a:pt x="54566" y="7526"/>
                    <a:pt x="62092" y="0"/>
                    <a:pt x="71500" y="0"/>
                  </a:cubicBezTo>
                  <a:cubicBezTo>
                    <a:pt x="80908" y="0"/>
                    <a:pt x="88434" y="7526"/>
                    <a:pt x="88434" y="16934"/>
                  </a:cubicBezTo>
                  <a:lnTo>
                    <a:pt x="88434" y="61465"/>
                  </a:lnTo>
                  <a:cubicBezTo>
                    <a:pt x="87807" y="70872"/>
                    <a:pt x="80280" y="78399"/>
                    <a:pt x="70873" y="78399"/>
                  </a:cubicBezTo>
                  <a:lnTo>
                    <a:pt x="70873" y="78399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72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5394077" y="5698321"/>
            <a:ext cx="368670" cy="368788"/>
            <a:chOff x="5394077" y="5698321"/>
            <a:chExt cx="368670" cy="368788"/>
          </a:xfrm>
          <a:solidFill>
            <a:srgbClr val="B1B1A1"/>
          </a:solidFill>
        </p:grpSpPr>
        <p:sp>
          <p:nvSpPr>
            <p:cNvPr id="273" name="Forma Livre: Forma 272">
              <a:extLst>
                <a:ext uri="{FF2B5EF4-FFF2-40B4-BE49-F238E27FC236}">
                  <a16:creationId xmlns:a16="http://schemas.microsoft.com/office/drawing/2014/main" id="{DA88E099-9AEC-4AE6-956C-38BDBC26E4A3}"/>
                </a:ext>
              </a:extLst>
            </p:cNvPr>
            <p:cNvSpPr/>
            <p:nvPr/>
          </p:nvSpPr>
          <p:spPr>
            <a:xfrm>
              <a:off x="5405485" y="5698321"/>
              <a:ext cx="357263" cy="357498"/>
            </a:xfrm>
            <a:custGeom>
              <a:avLst/>
              <a:gdLst>
                <a:gd name="connsiteX0" fmla="*/ 127516 w 357263"/>
                <a:gd name="connsiteY0" fmla="*/ 357499 h 357498"/>
                <a:gd name="connsiteX1" fmla="*/ 127516 w 357263"/>
                <a:gd name="connsiteY1" fmla="*/ 357499 h 357498"/>
                <a:gd name="connsiteX2" fmla="*/ 29674 w 357263"/>
                <a:gd name="connsiteY2" fmla="*/ 335547 h 357498"/>
                <a:gd name="connsiteX3" fmla="*/ 21520 w 357263"/>
                <a:gd name="connsiteY3" fmla="*/ 327394 h 357498"/>
                <a:gd name="connsiteX4" fmla="*/ 67305 w 357263"/>
                <a:gd name="connsiteY4" fmla="*/ 67109 h 357498"/>
                <a:gd name="connsiteX5" fmla="*/ 229748 w 357263"/>
                <a:gd name="connsiteY5" fmla="*/ 0 h 357498"/>
                <a:gd name="connsiteX6" fmla="*/ 327589 w 357263"/>
                <a:gd name="connsiteY6" fmla="*/ 21952 h 357498"/>
                <a:gd name="connsiteX7" fmla="*/ 335743 w 357263"/>
                <a:gd name="connsiteY7" fmla="*/ 30105 h 357498"/>
                <a:gd name="connsiteX8" fmla="*/ 289958 w 357263"/>
                <a:gd name="connsiteY8" fmla="*/ 290390 h 357498"/>
                <a:gd name="connsiteX9" fmla="*/ 127516 w 357263"/>
                <a:gd name="connsiteY9" fmla="*/ 357499 h 357498"/>
                <a:gd name="connsiteX10" fmla="*/ 127516 w 357263"/>
                <a:gd name="connsiteY10" fmla="*/ 357499 h 357498"/>
                <a:gd name="connsiteX11" fmla="*/ 49117 w 357263"/>
                <a:gd name="connsiteY11" fmla="*/ 307951 h 357498"/>
                <a:gd name="connsiteX12" fmla="*/ 127516 w 357263"/>
                <a:gd name="connsiteY12" fmla="*/ 324258 h 357498"/>
                <a:gd name="connsiteX13" fmla="*/ 127516 w 357263"/>
                <a:gd name="connsiteY13" fmla="*/ 324258 h 357498"/>
                <a:gd name="connsiteX14" fmla="*/ 266752 w 357263"/>
                <a:gd name="connsiteY14" fmla="*/ 266556 h 357498"/>
                <a:gd name="connsiteX15" fmla="*/ 308147 w 357263"/>
                <a:gd name="connsiteY15" fmla="*/ 49548 h 357498"/>
                <a:gd name="connsiteX16" fmla="*/ 229748 w 357263"/>
                <a:gd name="connsiteY16" fmla="*/ 33241 h 357498"/>
                <a:gd name="connsiteX17" fmla="*/ 90511 w 357263"/>
                <a:gd name="connsiteY17" fmla="*/ 90943 h 357498"/>
                <a:gd name="connsiteX18" fmla="*/ 49117 w 357263"/>
                <a:gd name="connsiteY18" fmla="*/ 307951 h 357498"/>
                <a:gd name="connsiteX19" fmla="*/ 49117 w 357263"/>
                <a:gd name="connsiteY19" fmla="*/ 307951 h 357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57263" h="357498">
                  <a:moveTo>
                    <a:pt x="127516" y="357499"/>
                  </a:moveTo>
                  <a:cubicBezTo>
                    <a:pt x="127516" y="357499"/>
                    <a:pt x="127516" y="357499"/>
                    <a:pt x="127516" y="357499"/>
                  </a:cubicBezTo>
                  <a:cubicBezTo>
                    <a:pt x="93647" y="357499"/>
                    <a:pt x="59779" y="349973"/>
                    <a:pt x="29674" y="335547"/>
                  </a:cubicBezTo>
                  <a:cubicBezTo>
                    <a:pt x="25911" y="333666"/>
                    <a:pt x="23402" y="331157"/>
                    <a:pt x="21520" y="327394"/>
                  </a:cubicBezTo>
                  <a:cubicBezTo>
                    <a:pt x="-19247" y="239587"/>
                    <a:pt x="-1058" y="134846"/>
                    <a:pt x="67305" y="67109"/>
                  </a:cubicBezTo>
                  <a:cubicBezTo>
                    <a:pt x="110581" y="23834"/>
                    <a:pt x="168283" y="0"/>
                    <a:pt x="229748" y="0"/>
                  </a:cubicBezTo>
                  <a:cubicBezTo>
                    <a:pt x="263616" y="0"/>
                    <a:pt x="297484" y="7526"/>
                    <a:pt x="327589" y="21952"/>
                  </a:cubicBezTo>
                  <a:cubicBezTo>
                    <a:pt x="331353" y="23834"/>
                    <a:pt x="333861" y="26342"/>
                    <a:pt x="335743" y="30105"/>
                  </a:cubicBezTo>
                  <a:cubicBezTo>
                    <a:pt x="376510" y="117912"/>
                    <a:pt x="358322" y="222653"/>
                    <a:pt x="289958" y="290390"/>
                  </a:cubicBezTo>
                  <a:cubicBezTo>
                    <a:pt x="246055" y="333666"/>
                    <a:pt x="188353" y="357499"/>
                    <a:pt x="127516" y="357499"/>
                  </a:cubicBezTo>
                  <a:lnTo>
                    <a:pt x="127516" y="357499"/>
                  </a:lnTo>
                  <a:close/>
                  <a:moveTo>
                    <a:pt x="49117" y="307951"/>
                  </a:moveTo>
                  <a:cubicBezTo>
                    <a:pt x="73577" y="318613"/>
                    <a:pt x="100546" y="324258"/>
                    <a:pt x="127516" y="324258"/>
                  </a:cubicBezTo>
                  <a:cubicBezTo>
                    <a:pt x="127516" y="324258"/>
                    <a:pt x="127516" y="324258"/>
                    <a:pt x="127516" y="324258"/>
                  </a:cubicBezTo>
                  <a:cubicBezTo>
                    <a:pt x="180200" y="324258"/>
                    <a:pt x="229120" y="303560"/>
                    <a:pt x="266752" y="266556"/>
                  </a:cubicBezTo>
                  <a:cubicBezTo>
                    <a:pt x="323826" y="209482"/>
                    <a:pt x="340133" y="122930"/>
                    <a:pt x="308147" y="49548"/>
                  </a:cubicBezTo>
                  <a:cubicBezTo>
                    <a:pt x="283686" y="38886"/>
                    <a:pt x="256717" y="33241"/>
                    <a:pt x="229748" y="33241"/>
                  </a:cubicBezTo>
                  <a:cubicBezTo>
                    <a:pt x="177064" y="33241"/>
                    <a:pt x="128143" y="53939"/>
                    <a:pt x="90511" y="90943"/>
                  </a:cubicBezTo>
                  <a:cubicBezTo>
                    <a:pt x="33437" y="148017"/>
                    <a:pt x="17130" y="234570"/>
                    <a:pt x="49117" y="307951"/>
                  </a:cubicBezTo>
                  <a:lnTo>
                    <a:pt x="49117" y="307951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74" name="Forma Livre: Forma 273">
              <a:extLst>
                <a:ext uri="{FF2B5EF4-FFF2-40B4-BE49-F238E27FC236}">
                  <a16:creationId xmlns:a16="http://schemas.microsoft.com/office/drawing/2014/main" id="{DA5A8CCB-7CBA-42EB-9174-F0844DA3F864}"/>
                </a:ext>
              </a:extLst>
            </p:cNvPr>
            <p:cNvSpPr/>
            <p:nvPr/>
          </p:nvSpPr>
          <p:spPr>
            <a:xfrm>
              <a:off x="5442214" y="5726702"/>
              <a:ext cx="291957" cy="292114"/>
            </a:xfrm>
            <a:custGeom>
              <a:avLst/>
              <a:gdLst>
                <a:gd name="connsiteX0" fmla="*/ 7997 w 291957"/>
                <a:gd name="connsiteY0" fmla="*/ 292114 h 292114"/>
                <a:gd name="connsiteX1" fmla="*/ 2352 w 291957"/>
                <a:gd name="connsiteY1" fmla="*/ 289605 h 292114"/>
                <a:gd name="connsiteX2" fmla="*/ 2352 w 291957"/>
                <a:gd name="connsiteY2" fmla="*/ 277689 h 292114"/>
                <a:gd name="connsiteX3" fmla="*/ 277689 w 291957"/>
                <a:gd name="connsiteY3" fmla="*/ 2352 h 292114"/>
                <a:gd name="connsiteX4" fmla="*/ 289605 w 291957"/>
                <a:gd name="connsiteY4" fmla="*/ 2352 h 292114"/>
                <a:gd name="connsiteX5" fmla="*/ 289605 w 291957"/>
                <a:gd name="connsiteY5" fmla="*/ 14269 h 292114"/>
                <a:gd name="connsiteX6" fmla="*/ 14269 w 291957"/>
                <a:gd name="connsiteY6" fmla="*/ 289605 h 292114"/>
                <a:gd name="connsiteX7" fmla="*/ 7997 w 291957"/>
                <a:gd name="connsiteY7" fmla="*/ 292114 h 292114"/>
                <a:gd name="connsiteX8" fmla="*/ 7997 w 291957"/>
                <a:gd name="connsiteY8" fmla="*/ 292114 h 292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1957" h="292114">
                  <a:moveTo>
                    <a:pt x="7997" y="292114"/>
                  </a:moveTo>
                  <a:cubicBezTo>
                    <a:pt x="6115" y="292114"/>
                    <a:pt x="3606" y="291487"/>
                    <a:pt x="2352" y="289605"/>
                  </a:cubicBezTo>
                  <a:cubicBezTo>
                    <a:pt x="-784" y="286469"/>
                    <a:pt x="-784" y="280825"/>
                    <a:pt x="2352" y="277689"/>
                  </a:cubicBezTo>
                  <a:lnTo>
                    <a:pt x="277689" y="2352"/>
                  </a:lnTo>
                  <a:cubicBezTo>
                    <a:pt x="280825" y="-784"/>
                    <a:pt x="286469" y="-784"/>
                    <a:pt x="289605" y="2352"/>
                  </a:cubicBezTo>
                  <a:cubicBezTo>
                    <a:pt x="292741" y="5488"/>
                    <a:pt x="292741" y="11133"/>
                    <a:pt x="289605" y="14269"/>
                  </a:cubicBezTo>
                  <a:lnTo>
                    <a:pt x="14269" y="289605"/>
                  </a:lnTo>
                  <a:cubicBezTo>
                    <a:pt x="12387" y="291487"/>
                    <a:pt x="10505" y="292114"/>
                    <a:pt x="7997" y="292114"/>
                  </a:cubicBezTo>
                  <a:lnTo>
                    <a:pt x="7997" y="292114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75" name="Forma Livre: Forma 274">
              <a:extLst>
                <a:ext uri="{FF2B5EF4-FFF2-40B4-BE49-F238E27FC236}">
                  <a16:creationId xmlns:a16="http://schemas.microsoft.com/office/drawing/2014/main" id="{EC9D5CDB-D7C3-4DA4-B5D5-A08FAB172DC6}"/>
                </a:ext>
              </a:extLst>
            </p:cNvPr>
            <p:cNvSpPr/>
            <p:nvPr/>
          </p:nvSpPr>
          <p:spPr>
            <a:xfrm>
              <a:off x="5394077" y="6002823"/>
              <a:ext cx="63973" cy="64287"/>
            </a:xfrm>
            <a:custGeom>
              <a:avLst/>
              <a:gdLst>
                <a:gd name="connsiteX0" fmla="*/ 16621 w 63973"/>
                <a:gd name="connsiteY0" fmla="*/ 64287 h 64287"/>
                <a:gd name="connsiteX1" fmla="*/ 4704 w 63973"/>
                <a:gd name="connsiteY1" fmla="*/ 59269 h 64287"/>
                <a:gd name="connsiteX2" fmla="*/ 4704 w 63973"/>
                <a:gd name="connsiteY2" fmla="*/ 35436 h 64287"/>
                <a:gd name="connsiteX3" fmla="*/ 35436 w 63973"/>
                <a:gd name="connsiteY3" fmla="*/ 4704 h 64287"/>
                <a:gd name="connsiteX4" fmla="*/ 59270 w 63973"/>
                <a:gd name="connsiteY4" fmla="*/ 4704 h 64287"/>
                <a:gd name="connsiteX5" fmla="*/ 59270 w 63973"/>
                <a:gd name="connsiteY5" fmla="*/ 28537 h 64287"/>
                <a:gd name="connsiteX6" fmla="*/ 28537 w 63973"/>
                <a:gd name="connsiteY6" fmla="*/ 59269 h 64287"/>
                <a:gd name="connsiteX7" fmla="*/ 16621 w 63973"/>
                <a:gd name="connsiteY7" fmla="*/ 64287 h 64287"/>
                <a:gd name="connsiteX8" fmla="*/ 16621 w 63973"/>
                <a:gd name="connsiteY8" fmla="*/ 64287 h 6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3973" h="64287">
                  <a:moveTo>
                    <a:pt x="16621" y="64287"/>
                  </a:moveTo>
                  <a:cubicBezTo>
                    <a:pt x="12230" y="64287"/>
                    <a:pt x="7840" y="62405"/>
                    <a:pt x="4704" y="59269"/>
                  </a:cubicBezTo>
                  <a:cubicBezTo>
                    <a:pt x="-1568" y="52997"/>
                    <a:pt x="-1568" y="42335"/>
                    <a:pt x="4704" y="35436"/>
                  </a:cubicBezTo>
                  <a:lnTo>
                    <a:pt x="35436" y="4704"/>
                  </a:lnTo>
                  <a:cubicBezTo>
                    <a:pt x="41708" y="-1568"/>
                    <a:pt x="52370" y="-1568"/>
                    <a:pt x="59270" y="4704"/>
                  </a:cubicBezTo>
                  <a:cubicBezTo>
                    <a:pt x="65542" y="10976"/>
                    <a:pt x="65542" y="21638"/>
                    <a:pt x="59270" y="28537"/>
                  </a:cubicBezTo>
                  <a:lnTo>
                    <a:pt x="28537" y="59269"/>
                  </a:lnTo>
                  <a:cubicBezTo>
                    <a:pt x="24774" y="62405"/>
                    <a:pt x="21011" y="64287"/>
                    <a:pt x="16621" y="64287"/>
                  </a:cubicBezTo>
                  <a:lnTo>
                    <a:pt x="16621" y="64287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276" name="Gráfico 2">
              <a:extLst>
                <a:ext uri="{FF2B5EF4-FFF2-40B4-BE49-F238E27FC236}">
                  <a16:creationId xmlns:a16="http://schemas.microsoft.com/office/drawing/2014/main" id="{F5ABA5BB-819F-4501-AD77-3F762FEA4CEA}"/>
                </a:ext>
              </a:extLst>
            </p:cNvPr>
            <p:cNvGrpSpPr/>
            <p:nvPr/>
          </p:nvGrpSpPr>
          <p:grpSpPr>
            <a:xfrm>
              <a:off x="5495996" y="5724663"/>
              <a:ext cx="240214" cy="240213"/>
              <a:chOff x="5495996" y="5724663"/>
              <a:chExt cx="240214" cy="240213"/>
            </a:xfrm>
            <a:grpFill/>
          </p:grpSpPr>
          <p:sp>
            <p:nvSpPr>
              <p:cNvPr id="277" name="Forma Livre: Forma 276">
                <a:extLst>
                  <a:ext uri="{FF2B5EF4-FFF2-40B4-BE49-F238E27FC236}">
                    <a16:creationId xmlns:a16="http://schemas.microsoft.com/office/drawing/2014/main" id="{529AAF1E-938A-4A7E-9ACA-A16276595F7D}"/>
                  </a:ext>
                </a:extLst>
              </p:cNvPr>
              <p:cNvSpPr/>
              <p:nvPr/>
            </p:nvSpPr>
            <p:spPr>
              <a:xfrm>
                <a:off x="5590074" y="5861391"/>
                <a:ext cx="146135" cy="22579"/>
              </a:xfrm>
              <a:custGeom>
                <a:avLst/>
                <a:gdLst>
                  <a:gd name="connsiteX0" fmla="*/ 137355 w 146135"/>
                  <a:gd name="connsiteY0" fmla="*/ 22579 h 22579"/>
                  <a:gd name="connsiteX1" fmla="*/ 137355 w 146135"/>
                  <a:gd name="connsiteY1" fmla="*/ 22579 h 22579"/>
                  <a:gd name="connsiteX2" fmla="*/ 8153 w 146135"/>
                  <a:gd name="connsiteY2" fmla="*/ 16934 h 22579"/>
                  <a:gd name="connsiteX3" fmla="*/ 0 w 146135"/>
                  <a:gd name="connsiteY3" fmla="*/ 8154 h 22579"/>
                  <a:gd name="connsiteX4" fmla="*/ 8781 w 146135"/>
                  <a:gd name="connsiteY4" fmla="*/ 0 h 22579"/>
                  <a:gd name="connsiteX5" fmla="*/ 137982 w 146135"/>
                  <a:gd name="connsiteY5" fmla="*/ 5645 h 22579"/>
                  <a:gd name="connsiteX6" fmla="*/ 146135 w 146135"/>
                  <a:gd name="connsiteY6" fmla="*/ 14426 h 22579"/>
                  <a:gd name="connsiteX7" fmla="*/ 137355 w 146135"/>
                  <a:gd name="connsiteY7" fmla="*/ 22579 h 22579"/>
                  <a:gd name="connsiteX8" fmla="*/ 137355 w 146135"/>
                  <a:gd name="connsiteY8" fmla="*/ 22579 h 22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6135" h="22579">
                    <a:moveTo>
                      <a:pt x="137355" y="22579"/>
                    </a:moveTo>
                    <a:cubicBezTo>
                      <a:pt x="137355" y="22579"/>
                      <a:pt x="137355" y="22579"/>
                      <a:pt x="137355" y="22579"/>
                    </a:cubicBezTo>
                    <a:lnTo>
                      <a:pt x="8153" y="16934"/>
                    </a:lnTo>
                    <a:cubicBezTo>
                      <a:pt x="3763" y="16934"/>
                      <a:pt x="0" y="12544"/>
                      <a:pt x="0" y="8154"/>
                    </a:cubicBezTo>
                    <a:cubicBezTo>
                      <a:pt x="0" y="3763"/>
                      <a:pt x="3763" y="0"/>
                      <a:pt x="8781" y="0"/>
                    </a:cubicBezTo>
                    <a:lnTo>
                      <a:pt x="137982" y="5645"/>
                    </a:lnTo>
                    <a:cubicBezTo>
                      <a:pt x="142372" y="5645"/>
                      <a:pt x="146135" y="10035"/>
                      <a:pt x="146135" y="14426"/>
                    </a:cubicBezTo>
                    <a:cubicBezTo>
                      <a:pt x="145508" y="18816"/>
                      <a:pt x="141745" y="22579"/>
                      <a:pt x="137355" y="22579"/>
                    </a:cubicBezTo>
                    <a:lnTo>
                      <a:pt x="137355" y="22579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78" name="Forma Livre: Forma 277">
                <a:extLst>
                  <a:ext uri="{FF2B5EF4-FFF2-40B4-BE49-F238E27FC236}">
                    <a16:creationId xmlns:a16="http://schemas.microsoft.com/office/drawing/2014/main" id="{0218FDE0-A2B2-4097-9D98-B56A9FB75AF3}"/>
                  </a:ext>
                </a:extLst>
              </p:cNvPr>
              <p:cNvSpPr/>
              <p:nvPr/>
            </p:nvSpPr>
            <p:spPr>
              <a:xfrm>
                <a:off x="5509167" y="5940417"/>
                <a:ext cx="180631" cy="24460"/>
              </a:xfrm>
              <a:custGeom>
                <a:avLst/>
                <a:gdLst>
                  <a:gd name="connsiteX0" fmla="*/ 172477 w 180631"/>
                  <a:gd name="connsiteY0" fmla="*/ 24460 h 24460"/>
                  <a:gd name="connsiteX1" fmla="*/ 172477 w 180631"/>
                  <a:gd name="connsiteY1" fmla="*/ 24460 h 24460"/>
                  <a:gd name="connsiteX2" fmla="*/ 8154 w 180631"/>
                  <a:gd name="connsiteY2" fmla="*/ 16934 h 24460"/>
                  <a:gd name="connsiteX3" fmla="*/ 0 w 180631"/>
                  <a:gd name="connsiteY3" fmla="*/ 8153 h 24460"/>
                  <a:gd name="connsiteX4" fmla="*/ 8781 w 180631"/>
                  <a:gd name="connsiteY4" fmla="*/ 0 h 24460"/>
                  <a:gd name="connsiteX5" fmla="*/ 172477 w 180631"/>
                  <a:gd name="connsiteY5" fmla="*/ 7526 h 24460"/>
                  <a:gd name="connsiteX6" fmla="*/ 180631 w 180631"/>
                  <a:gd name="connsiteY6" fmla="*/ 16307 h 24460"/>
                  <a:gd name="connsiteX7" fmla="*/ 172477 w 180631"/>
                  <a:gd name="connsiteY7" fmla="*/ 24460 h 24460"/>
                  <a:gd name="connsiteX8" fmla="*/ 172477 w 180631"/>
                  <a:gd name="connsiteY8" fmla="*/ 24460 h 24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80631" h="24460">
                    <a:moveTo>
                      <a:pt x="172477" y="24460"/>
                    </a:moveTo>
                    <a:cubicBezTo>
                      <a:pt x="172477" y="24460"/>
                      <a:pt x="172477" y="24460"/>
                      <a:pt x="172477" y="24460"/>
                    </a:cubicBezTo>
                    <a:lnTo>
                      <a:pt x="8154" y="16934"/>
                    </a:lnTo>
                    <a:cubicBezTo>
                      <a:pt x="3763" y="16934"/>
                      <a:pt x="0" y="12544"/>
                      <a:pt x="0" y="8153"/>
                    </a:cubicBezTo>
                    <a:cubicBezTo>
                      <a:pt x="0" y="3763"/>
                      <a:pt x="3763" y="0"/>
                      <a:pt x="8781" y="0"/>
                    </a:cubicBezTo>
                    <a:lnTo>
                      <a:pt x="172477" y="7526"/>
                    </a:lnTo>
                    <a:cubicBezTo>
                      <a:pt x="176868" y="7526"/>
                      <a:pt x="180631" y="11916"/>
                      <a:pt x="180631" y="16307"/>
                    </a:cubicBezTo>
                    <a:cubicBezTo>
                      <a:pt x="180631" y="20697"/>
                      <a:pt x="176868" y="24460"/>
                      <a:pt x="172477" y="24460"/>
                    </a:cubicBezTo>
                    <a:lnTo>
                      <a:pt x="172477" y="24460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79" name="Forma Livre: Forma 278">
                <a:extLst>
                  <a:ext uri="{FF2B5EF4-FFF2-40B4-BE49-F238E27FC236}">
                    <a16:creationId xmlns:a16="http://schemas.microsoft.com/office/drawing/2014/main" id="{DB459112-867C-4CB0-8D83-CB2D32309A66}"/>
                  </a:ext>
                </a:extLst>
              </p:cNvPr>
              <p:cNvSpPr/>
              <p:nvPr/>
            </p:nvSpPr>
            <p:spPr>
              <a:xfrm>
                <a:off x="5577531" y="5724663"/>
                <a:ext cx="22578" cy="146135"/>
              </a:xfrm>
              <a:custGeom>
                <a:avLst/>
                <a:gdLst>
                  <a:gd name="connsiteX0" fmla="*/ 13798 w 22578"/>
                  <a:gd name="connsiteY0" fmla="*/ 146135 h 146135"/>
                  <a:gd name="connsiteX1" fmla="*/ 5645 w 22578"/>
                  <a:gd name="connsiteY1" fmla="*/ 137982 h 146135"/>
                  <a:gd name="connsiteX2" fmla="*/ 0 w 22578"/>
                  <a:gd name="connsiteY2" fmla="*/ 8781 h 146135"/>
                  <a:gd name="connsiteX3" fmla="*/ 8153 w 22578"/>
                  <a:gd name="connsiteY3" fmla="*/ 0 h 146135"/>
                  <a:gd name="connsiteX4" fmla="*/ 8781 w 22578"/>
                  <a:gd name="connsiteY4" fmla="*/ 0 h 146135"/>
                  <a:gd name="connsiteX5" fmla="*/ 16934 w 22578"/>
                  <a:gd name="connsiteY5" fmla="*/ 8153 h 146135"/>
                  <a:gd name="connsiteX6" fmla="*/ 22579 w 22578"/>
                  <a:gd name="connsiteY6" fmla="*/ 137355 h 146135"/>
                  <a:gd name="connsiteX7" fmla="*/ 13798 w 22578"/>
                  <a:gd name="connsiteY7" fmla="*/ 146135 h 146135"/>
                  <a:gd name="connsiteX8" fmla="*/ 13798 w 22578"/>
                  <a:gd name="connsiteY8" fmla="*/ 146135 h 146135"/>
                  <a:gd name="connsiteX9" fmla="*/ 13798 w 22578"/>
                  <a:gd name="connsiteY9" fmla="*/ 146135 h 146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578" h="146135">
                    <a:moveTo>
                      <a:pt x="13798" y="146135"/>
                    </a:moveTo>
                    <a:cubicBezTo>
                      <a:pt x="9408" y="146135"/>
                      <a:pt x="5645" y="142372"/>
                      <a:pt x="5645" y="137982"/>
                    </a:cubicBezTo>
                    <a:lnTo>
                      <a:pt x="0" y="8781"/>
                    </a:lnTo>
                    <a:cubicBezTo>
                      <a:pt x="0" y="4390"/>
                      <a:pt x="3136" y="0"/>
                      <a:pt x="8153" y="0"/>
                    </a:cubicBezTo>
                    <a:cubicBezTo>
                      <a:pt x="8153" y="0"/>
                      <a:pt x="8153" y="0"/>
                      <a:pt x="8781" y="0"/>
                    </a:cubicBezTo>
                    <a:cubicBezTo>
                      <a:pt x="13171" y="0"/>
                      <a:pt x="16934" y="3763"/>
                      <a:pt x="16934" y="8153"/>
                    </a:cubicBezTo>
                    <a:lnTo>
                      <a:pt x="22579" y="137355"/>
                    </a:lnTo>
                    <a:cubicBezTo>
                      <a:pt x="22579" y="141745"/>
                      <a:pt x="18816" y="145508"/>
                      <a:pt x="13798" y="146135"/>
                    </a:cubicBezTo>
                    <a:cubicBezTo>
                      <a:pt x="13798" y="146135"/>
                      <a:pt x="13798" y="146135"/>
                      <a:pt x="13798" y="146135"/>
                    </a:cubicBezTo>
                    <a:lnTo>
                      <a:pt x="13798" y="146135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80" name="Forma Livre: Forma 279">
                <a:extLst>
                  <a:ext uri="{FF2B5EF4-FFF2-40B4-BE49-F238E27FC236}">
                    <a16:creationId xmlns:a16="http://schemas.microsoft.com/office/drawing/2014/main" id="{71A36CFE-1E8B-4129-9146-575BD962A82E}"/>
                  </a:ext>
                </a:extLst>
              </p:cNvPr>
              <p:cNvSpPr/>
              <p:nvPr/>
            </p:nvSpPr>
            <p:spPr>
              <a:xfrm>
                <a:off x="5495996" y="5770448"/>
                <a:ext cx="24460" cy="180631"/>
              </a:xfrm>
              <a:custGeom>
                <a:avLst/>
                <a:gdLst>
                  <a:gd name="connsiteX0" fmla="*/ 15680 w 24460"/>
                  <a:gd name="connsiteY0" fmla="*/ 180631 h 180631"/>
                  <a:gd name="connsiteX1" fmla="*/ 7526 w 24460"/>
                  <a:gd name="connsiteY1" fmla="*/ 172477 h 180631"/>
                  <a:gd name="connsiteX2" fmla="*/ 0 w 24460"/>
                  <a:gd name="connsiteY2" fmla="*/ 8781 h 180631"/>
                  <a:gd name="connsiteX3" fmla="*/ 8153 w 24460"/>
                  <a:gd name="connsiteY3" fmla="*/ 0 h 180631"/>
                  <a:gd name="connsiteX4" fmla="*/ 8781 w 24460"/>
                  <a:gd name="connsiteY4" fmla="*/ 0 h 180631"/>
                  <a:gd name="connsiteX5" fmla="*/ 16934 w 24460"/>
                  <a:gd name="connsiteY5" fmla="*/ 8154 h 180631"/>
                  <a:gd name="connsiteX6" fmla="*/ 24461 w 24460"/>
                  <a:gd name="connsiteY6" fmla="*/ 171850 h 180631"/>
                  <a:gd name="connsiteX7" fmla="*/ 15680 w 24460"/>
                  <a:gd name="connsiteY7" fmla="*/ 180631 h 180631"/>
                  <a:gd name="connsiteX8" fmla="*/ 15680 w 24460"/>
                  <a:gd name="connsiteY8" fmla="*/ 180631 h 180631"/>
                  <a:gd name="connsiteX9" fmla="*/ 15680 w 24460"/>
                  <a:gd name="connsiteY9" fmla="*/ 180631 h 1806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4460" h="180631">
                    <a:moveTo>
                      <a:pt x="15680" y="180631"/>
                    </a:moveTo>
                    <a:cubicBezTo>
                      <a:pt x="11289" y="180631"/>
                      <a:pt x="7526" y="176868"/>
                      <a:pt x="7526" y="172477"/>
                    </a:cubicBezTo>
                    <a:lnTo>
                      <a:pt x="0" y="8781"/>
                    </a:lnTo>
                    <a:cubicBezTo>
                      <a:pt x="0" y="4390"/>
                      <a:pt x="3136" y="0"/>
                      <a:pt x="8153" y="0"/>
                    </a:cubicBezTo>
                    <a:cubicBezTo>
                      <a:pt x="8153" y="0"/>
                      <a:pt x="8153" y="0"/>
                      <a:pt x="8781" y="0"/>
                    </a:cubicBezTo>
                    <a:cubicBezTo>
                      <a:pt x="13171" y="0"/>
                      <a:pt x="16934" y="3763"/>
                      <a:pt x="16934" y="8154"/>
                    </a:cubicBezTo>
                    <a:lnTo>
                      <a:pt x="24461" y="171850"/>
                    </a:lnTo>
                    <a:cubicBezTo>
                      <a:pt x="24461" y="176868"/>
                      <a:pt x="20697" y="180631"/>
                      <a:pt x="15680" y="180631"/>
                    </a:cubicBezTo>
                    <a:cubicBezTo>
                      <a:pt x="16307" y="180631"/>
                      <a:pt x="15680" y="180631"/>
                      <a:pt x="15680" y="180631"/>
                    </a:cubicBezTo>
                    <a:lnTo>
                      <a:pt x="15680" y="180631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281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1295072" y="1584577"/>
            <a:ext cx="413945" cy="356871"/>
            <a:chOff x="1295072" y="1584577"/>
            <a:chExt cx="413945" cy="356871"/>
          </a:xfrm>
          <a:solidFill>
            <a:srgbClr val="B1B1A1"/>
          </a:solidFill>
        </p:grpSpPr>
        <p:sp>
          <p:nvSpPr>
            <p:cNvPr id="282" name="Forma Livre: Forma 281">
              <a:extLst>
                <a:ext uri="{FF2B5EF4-FFF2-40B4-BE49-F238E27FC236}">
                  <a16:creationId xmlns:a16="http://schemas.microsoft.com/office/drawing/2014/main" id="{AD656A78-2280-4D26-99F5-FE3FBE8A69F2}"/>
                </a:ext>
              </a:extLst>
            </p:cNvPr>
            <p:cNvSpPr/>
            <p:nvPr/>
          </p:nvSpPr>
          <p:spPr>
            <a:xfrm>
              <a:off x="1295072" y="1584577"/>
              <a:ext cx="413945" cy="276591"/>
            </a:xfrm>
            <a:custGeom>
              <a:avLst/>
              <a:gdLst>
                <a:gd name="connsiteX0" fmla="*/ 325512 w 413945"/>
                <a:gd name="connsiteY0" fmla="*/ 276591 h 276591"/>
                <a:gd name="connsiteX1" fmla="*/ 285999 w 413945"/>
                <a:gd name="connsiteY1" fmla="*/ 276591 h 276591"/>
                <a:gd name="connsiteX2" fmla="*/ 269065 w 413945"/>
                <a:gd name="connsiteY2" fmla="*/ 259657 h 276591"/>
                <a:gd name="connsiteX3" fmla="*/ 285999 w 413945"/>
                <a:gd name="connsiteY3" fmla="*/ 242723 h 276591"/>
                <a:gd name="connsiteX4" fmla="*/ 325512 w 413945"/>
                <a:gd name="connsiteY4" fmla="*/ 242723 h 276591"/>
                <a:gd name="connsiteX5" fmla="*/ 358753 w 413945"/>
                <a:gd name="connsiteY5" fmla="*/ 227670 h 276591"/>
                <a:gd name="connsiteX6" fmla="*/ 380078 w 413945"/>
                <a:gd name="connsiteY6" fmla="*/ 180631 h 276591"/>
                <a:gd name="connsiteX7" fmla="*/ 318613 w 413945"/>
                <a:gd name="connsiteY7" fmla="*/ 119166 h 276591"/>
                <a:gd name="connsiteX8" fmla="*/ 299797 w 413945"/>
                <a:gd name="connsiteY8" fmla="*/ 122302 h 276591"/>
                <a:gd name="connsiteX9" fmla="*/ 285372 w 413945"/>
                <a:gd name="connsiteY9" fmla="*/ 120421 h 276591"/>
                <a:gd name="connsiteX10" fmla="*/ 277846 w 413945"/>
                <a:gd name="connsiteY10" fmla="*/ 107877 h 276591"/>
                <a:gd name="connsiteX11" fmla="*/ 195056 w 413945"/>
                <a:gd name="connsiteY11" fmla="*/ 32614 h 276591"/>
                <a:gd name="connsiteX12" fmla="*/ 111640 w 413945"/>
                <a:gd name="connsiteY12" fmla="*/ 116030 h 276591"/>
                <a:gd name="connsiteX13" fmla="*/ 113522 w 413945"/>
                <a:gd name="connsiteY13" fmla="*/ 132337 h 276591"/>
                <a:gd name="connsiteX14" fmla="*/ 110386 w 413945"/>
                <a:gd name="connsiteY14" fmla="*/ 146135 h 276591"/>
                <a:gd name="connsiteX15" fmla="*/ 97215 w 413945"/>
                <a:gd name="connsiteY15" fmla="*/ 152407 h 276591"/>
                <a:gd name="connsiteX16" fmla="*/ 78399 w 413945"/>
                <a:gd name="connsiteY16" fmla="*/ 152407 h 276591"/>
                <a:gd name="connsiteX17" fmla="*/ 33241 w 413945"/>
                <a:gd name="connsiteY17" fmla="*/ 197565 h 276591"/>
                <a:gd name="connsiteX18" fmla="*/ 78399 w 413945"/>
                <a:gd name="connsiteY18" fmla="*/ 242723 h 276591"/>
                <a:gd name="connsiteX19" fmla="*/ 127947 w 413945"/>
                <a:gd name="connsiteY19" fmla="*/ 242723 h 276591"/>
                <a:gd name="connsiteX20" fmla="*/ 144881 w 413945"/>
                <a:gd name="connsiteY20" fmla="*/ 259657 h 276591"/>
                <a:gd name="connsiteX21" fmla="*/ 127947 w 413945"/>
                <a:gd name="connsiteY21" fmla="*/ 276591 h 276591"/>
                <a:gd name="connsiteX22" fmla="*/ 78399 w 413945"/>
                <a:gd name="connsiteY22" fmla="*/ 276591 h 276591"/>
                <a:gd name="connsiteX23" fmla="*/ 0 w 413945"/>
                <a:gd name="connsiteY23" fmla="*/ 198192 h 276591"/>
                <a:gd name="connsiteX24" fmla="*/ 78399 w 413945"/>
                <a:gd name="connsiteY24" fmla="*/ 119793 h 276591"/>
                <a:gd name="connsiteX25" fmla="*/ 78399 w 413945"/>
                <a:gd name="connsiteY25" fmla="*/ 119793 h 276591"/>
                <a:gd name="connsiteX26" fmla="*/ 78399 w 413945"/>
                <a:gd name="connsiteY26" fmla="*/ 116658 h 276591"/>
                <a:gd name="connsiteX27" fmla="*/ 195056 w 413945"/>
                <a:gd name="connsiteY27" fmla="*/ 0 h 276591"/>
                <a:gd name="connsiteX28" fmla="*/ 307951 w 413945"/>
                <a:gd name="connsiteY28" fmla="*/ 86552 h 276591"/>
                <a:gd name="connsiteX29" fmla="*/ 318613 w 413945"/>
                <a:gd name="connsiteY29" fmla="*/ 85925 h 276591"/>
                <a:gd name="connsiteX30" fmla="*/ 413946 w 413945"/>
                <a:gd name="connsiteY30" fmla="*/ 181258 h 276591"/>
                <a:gd name="connsiteX31" fmla="*/ 382586 w 413945"/>
                <a:gd name="connsiteY31" fmla="*/ 251504 h 276591"/>
                <a:gd name="connsiteX32" fmla="*/ 325512 w 413945"/>
                <a:gd name="connsiteY32" fmla="*/ 276591 h 276591"/>
                <a:gd name="connsiteX33" fmla="*/ 325512 w 413945"/>
                <a:gd name="connsiteY33" fmla="*/ 276591 h 276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413945" h="276591">
                  <a:moveTo>
                    <a:pt x="325512" y="276591"/>
                  </a:moveTo>
                  <a:lnTo>
                    <a:pt x="285999" y="276591"/>
                  </a:lnTo>
                  <a:cubicBezTo>
                    <a:pt x="276591" y="276591"/>
                    <a:pt x="269065" y="269065"/>
                    <a:pt x="269065" y="259657"/>
                  </a:cubicBezTo>
                  <a:cubicBezTo>
                    <a:pt x="269065" y="250249"/>
                    <a:pt x="276591" y="242723"/>
                    <a:pt x="285999" y="242723"/>
                  </a:cubicBezTo>
                  <a:lnTo>
                    <a:pt x="325512" y="242723"/>
                  </a:lnTo>
                  <a:cubicBezTo>
                    <a:pt x="338056" y="242723"/>
                    <a:pt x="349972" y="237705"/>
                    <a:pt x="358753" y="227670"/>
                  </a:cubicBezTo>
                  <a:cubicBezTo>
                    <a:pt x="373179" y="214499"/>
                    <a:pt x="380078" y="198192"/>
                    <a:pt x="380078" y="180631"/>
                  </a:cubicBezTo>
                  <a:cubicBezTo>
                    <a:pt x="380078" y="146763"/>
                    <a:pt x="352481" y="119166"/>
                    <a:pt x="318613" y="119166"/>
                  </a:cubicBezTo>
                  <a:cubicBezTo>
                    <a:pt x="312341" y="119166"/>
                    <a:pt x="306069" y="120421"/>
                    <a:pt x="299797" y="122302"/>
                  </a:cubicBezTo>
                  <a:cubicBezTo>
                    <a:pt x="294780" y="124184"/>
                    <a:pt x="289762" y="122929"/>
                    <a:pt x="285372" y="120421"/>
                  </a:cubicBezTo>
                  <a:cubicBezTo>
                    <a:pt x="280981" y="117912"/>
                    <a:pt x="278473" y="112894"/>
                    <a:pt x="277846" y="107877"/>
                  </a:cubicBezTo>
                  <a:cubicBezTo>
                    <a:pt x="273455" y="65228"/>
                    <a:pt x="237705" y="32614"/>
                    <a:pt x="195056" y="32614"/>
                  </a:cubicBezTo>
                  <a:cubicBezTo>
                    <a:pt x="149271" y="32614"/>
                    <a:pt x="111640" y="70245"/>
                    <a:pt x="111640" y="116030"/>
                  </a:cubicBezTo>
                  <a:cubicBezTo>
                    <a:pt x="111640" y="121675"/>
                    <a:pt x="112267" y="126693"/>
                    <a:pt x="113522" y="132337"/>
                  </a:cubicBezTo>
                  <a:cubicBezTo>
                    <a:pt x="114776" y="137355"/>
                    <a:pt x="113522" y="142372"/>
                    <a:pt x="110386" y="146135"/>
                  </a:cubicBezTo>
                  <a:cubicBezTo>
                    <a:pt x="107250" y="149899"/>
                    <a:pt x="102232" y="152407"/>
                    <a:pt x="97215" y="152407"/>
                  </a:cubicBezTo>
                  <a:lnTo>
                    <a:pt x="78399" y="152407"/>
                  </a:lnTo>
                  <a:cubicBezTo>
                    <a:pt x="53311" y="152407"/>
                    <a:pt x="33241" y="172477"/>
                    <a:pt x="33241" y="197565"/>
                  </a:cubicBezTo>
                  <a:cubicBezTo>
                    <a:pt x="33241" y="222653"/>
                    <a:pt x="53311" y="242723"/>
                    <a:pt x="78399" y="242723"/>
                  </a:cubicBezTo>
                  <a:lnTo>
                    <a:pt x="127947" y="242723"/>
                  </a:lnTo>
                  <a:cubicBezTo>
                    <a:pt x="137355" y="242723"/>
                    <a:pt x="144881" y="250249"/>
                    <a:pt x="144881" y="259657"/>
                  </a:cubicBezTo>
                  <a:cubicBezTo>
                    <a:pt x="144881" y="269065"/>
                    <a:pt x="137355" y="276591"/>
                    <a:pt x="127947" y="276591"/>
                  </a:cubicBezTo>
                  <a:lnTo>
                    <a:pt x="78399" y="276591"/>
                  </a:lnTo>
                  <a:cubicBezTo>
                    <a:pt x="35123" y="276591"/>
                    <a:pt x="0" y="241468"/>
                    <a:pt x="0" y="198192"/>
                  </a:cubicBezTo>
                  <a:cubicBezTo>
                    <a:pt x="0" y="154916"/>
                    <a:pt x="35123" y="119793"/>
                    <a:pt x="78399" y="119793"/>
                  </a:cubicBezTo>
                  <a:lnTo>
                    <a:pt x="78399" y="119793"/>
                  </a:lnTo>
                  <a:cubicBezTo>
                    <a:pt x="78399" y="118539"/>
                    <a:pt x="78399" y="117912"/>
                    <a:pt x="78399" y="116658"/>
                  </a:cubicBezTo>
                  <a:cubicBezTo>
                    <a:pt x="78399" y="52057"/>
                    <a:pt x="130456" y="0"/>
                    <a:pt x="195056" y="0"/>
                  </a:cubicBezTo>
                  <a:cubicBezTo>
                    <a:pt x="248995" y="0"/>
                    <a:pt x="294780" y="36377"/>
                    <a:pt x="307951" y="86552"/>
                  </a:cubicBezTo>
                  <a:cubicBezTo>
                    <a:pt x="311714" y="85925"/>
                    <a:pt x="314850" y="85925"/>
                    <a:pt x="318613" y="85925"/>
                  </a:cubicBezTo>
                  <a:cubicBezTo>
                    <a:pt x="371297" y="85925"/>
                    <a:pt x="413946" y="128574"/>
                    <a:pt x="413946" y="181258"/>
                  </a:cubicBezTo>
                  <a:cubicBezTo>
                    <a:pt x="413946" y="208227"/>
                    <a:pt x="402657" y="233315"/>
                    <a:pt x="382586" y="251504"/>
                  </a:cubicBezTo>
                  <a:cubicBezTo>
                    <a:pt x="368788" y="267183"/>
                    <a:pt x="347464" y="276591"/>
                    <a:pt x="325512" y="276591"/>
                  </a:cubicBezTo>
                  <a:lnTo>
                    <a:pt x="325512" y="276591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283" name="Gráfico 2">
              <a:extLst>
                <a:ext uri="{FF2B5EF4-FFF2-40B4-BE49-F238E27FC236}">
                  <a16:creationId xmlns:a16="http://schemas.microsoft.com/office/drawing/2014/main" id="{F5ABA5BB-819F-4501-AD77-3F762FEA4CEA}"/>
                </a:ext>
              </a:extLst>
            </p:cNvPr>
            <p:cNvGrpSpPr/>
            <p:nvPr/>
          </p:nvGrpSpPr>
          <p:grpSpPr>
            <a:xfrm>
              <a:off x="1388377" y="1694336"/>
              <a:ext cx="226436" cy="247113"/>
              <a:chOff x="1388377" y="1694336"/>
              <a:chExt cx="226436" cy="247113"/>
            </a:xfrm>
            <a:grpFill/>
          </p:grpSpPr>
          <p:sp>
            <p:nvSpPr>
              <p:cNvPr id="284" name="Forma Livre: Forma 283">
                <a:extLst>
                  <a:ext uri="{FF2B5EF4-FFF2-40B4-BE49-F238E27FC236}">
                    <a16:creationId xmlns:a16="http://schemas.microsoft.com/office/drawing/2014/main" id="{63AE5FE7-A9DF-4559-8B0E-0F9488DC0329}"/>
                  </a:ext>
                </a:extLst>
              </p:cNvPr>
              <p:cNvSpPr/>
              <p:nvPr/>
            </p:nvSpPr>
            <p:spPr>
              <a:xfrm>
                <a:off x="1388377" y="1694806"/>
                <a:ext cx="226436" cy="103789"/>
              </a:xfrm>
              <a:custGeom>
                <a:avLst/>
                <a:gdLst>
                  <a:gd name="connsiteX0" fmla="*/ 209628 w 226436"/>
                  <a:gd name="connsiteY0" fmla="*/ 103643 h 103789"/>
                  <a:gd name="connsiteX1" fmla="*/ 199593 w 226436"/>
                  <a:gd name="connsiteY1" fmla="*/ 100507 h 103789"/>
                  <a:gd name="connsiteX2" fmla="*/ 113040 w 226436"/>
                  <a:gd name="connsiteY2" fmla="*/ 37788 h 103789"/>
                  <a:gd name="connsiteX3" fmla="*/ 26488 w 226436"/>
                  <a:gd name="connsiteY3" fmla="*/ 100507 h 103789"/>
                  <a:gd name="connsiteX4" fmla="*/ 3282 w 226436"/>
                  <a:gd name="connsiteY4" fmla="*/ 96744 h 103789"/>
                  <a:gd name="connsiteX5" fmla="*/ 7045 w 226436"/>
                  <a:gd name="connsiteY5" fmla="*/ 73538 h 103789"/>
                  <a:gd name="connsiteX6" fmla="*/ 103633 w 226436"/>
                  <a:gd name="connsiteY6" fmla="*/ 3293 h 103789"/>
                  <a:gd name="connsiteX7" fmla="*/ 123076 w 226436"/>
                  <a:gd name="connsiteY7" fmla="*/ 3293 h 103789"/>
                  <a:gd name="connsiteX8" fmla="*/ 219663 w 226436"/>
                  <a:gd name="connsiteY8" fmla="*/ 73538 h 103789"/>
                  <a:gd name="connsiteX9" fmla="*/ 223426 w 226436"/>
                  <a:gd name="connsiteY9" fmla="*/ 96744 h 103789"/>
                  <a:gd name="connsiteX10" fmla="*/ 209628 w 226436"/>
                  <a:gd name="connsiteY10" fmla="*/ 103643 h 103789"/>
                  <a:gd name="connsiteX11" fmla="*/ 209628 w 226436"/>
                  <a:gd name="connsiteY11" fmla="*/ 103643 h 103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6436" h="103789">
                    <a:moveTo>
                      <a:pt x="209628" y="103643"/>
                    </a:moveTo>
                    <a:cubicBezTo>
                      <a:pt x="206492" y="103643"/>
                      <a:pt x="202729" y="102389"/>
                      <a:pt x="199593" y="100507"/>
                    </a:cubicBezTo>
                    <a:lnTo>
                      <a:pt x="113040" y="37788"/>
                    </a:lnTo>
                    <a:lnTo>
                      <a:pt x="26488" y="100507"/>
                    </a:lnTo>
                    <a:cubicBezTo>
                      <a:pt x="18962" y="106152"/>
                      <a:pt x="8927" y="104270"/>
                      <a:pt x="3282" y="96744"/>
                    </a:cubicBezTo>
                    <a:cubicBezTo>
                      <a:pt x="-2363" y="89218"/>
                      <a:pt x="-481" y="79183"/>
                      <a:pt x="7045" y="73538"/>
                    </a:cubicBezTo>
                    <a:lnTo>
                      <a:pt x="103633" y="3293"/>
                    </a:lnTo>
                    <a:cubicBezTo>
                      <a:pt x="109277" y="-1098"/>
                      <a:pt x="117431" y="-1098"/>
                      <a:pt x="123076" y="3293"/>
                    </a:cubicBezTo>
                    <a:lnTo>
                      <a:pt x="219663" y="73538"/>
                    </a:lnTo>
                    <a:cubicBezTo>
                      <a:pt x="227189" y="79183"/>
                      <a:pt x="228444" y="89218"/>
                      <a:pt x="223426" y="96744"/>
                    </a:cubicBezTo>
                    <a:cubicBezTo>
                      <a:pt x="219663" y="101134"/>
                      <a:pt x="214645" y="103643"/>
                      <a:pt x="209628" y="103643"/>
                    </a:cubicBezTo>
                    <a:lnTo>
                      <a:pt x="209628" y="103643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85" name="Forma Livre: Forma 284">
                <a:extLst>
                  <a:ext uri="{FF2B5EF4-FFF2-40B4-BE49-F238E27FC236}">
                    <a16:creationId xmlns:a16="http://schemas.microsoft.com/office/drawing/2014/main" id="{856F8C17-D8BA-42CF-BD7F-692141D184E8}"/>
                  </a:ext>
                </a:extLst>
              </p:cNvPr>
              <p:cNvSpPr/>
              <p:nvPr/>
            </p:nvSpPr>
            <p:spPr>
              <a:xfrm>
                <a:off x="1485111" y="1694336"/>
                <a:ext cx="33868" cy="247113"/>
              </a:xfrm>
              <a:custGeom>
                <a:avLst/>
                <a:gdLst>
                  <a:gd name="connsiteX0" fmla="*/ 16934 w 33868"/>
                  <a:gd name="connsiteY0" fmla="*/ 247113 h 247113"/>
                  <a:gd name="connsiteX1" fmla="*/ 0 w 33868"/>
                  <a:gd name="connsiteY1" fmla="*/ 230179 h 247113"/>
                  <a:gd name="connsiteX2" fmla="*/ 0 w 33868"/>
                  <a:gd name="connsiteY2" fmla="*/ 16934 h 247113"/>
                  <a:gd name="connsiteX3" fmla="*/ 16934 w 33868"/>
                  <a:gd name="connsiteY3" fmla="*/ 0 h 247113"/>
                  <a:gd name="connsiteX4" fmla="*/ 33868 w 33868"/>
                  <a:gd name="connsiteY4" fmla="*/ 16934 h 247113"/>
                  <a:gd name="connsiteX5" fmla="*/ 33868 w 33868"/>
                  <a:gd name="connsiteY5" fmla="*/ 230179 h 247113"/>
                  <a:gd name="connsiteX6" fmla="*/ 16934 w 33868"/>
                  <a:gd name="connsiteY6" fmla="*/ 247113 h 247113"/>
                  <a:gd name="connsiteX7" fmla="*/ 16934 w 33868"/>
                  <a:gd name="connsiteY7" fmla="*/ 247113 h 247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868" h="247113">
                    <a:moveTo>
                      <a:pt x="16934" y="247113"/>
                    </a:moveTo>
                    <a:cubicBezTo>
                      <a:pt x="7526" y="247113"/>
                      <a:pt x="0" y="239587"/>
                      <a:pt x="0" y="230179"/>
                    </a:cubicBezTo>
                    <a:lnTo>
                      <a:pt x="0" y="16934"/>
                    </a:lnTo>
                    <a:cubicBezTo>
                      <a:pt x="0" y="7526"/>
                      <a:pt x="7526" y="0"/>
                      <a:pt x="16934" y="0"/>
                    </a:cubicBezTo>
                    <a:cubicBezTo>
                      <a:pt x="26342" y="0"/>
                      <a:pt x="33868" y="7526"/>
                      <a:pt x="33868" y="16934"/>
                    </a:cubicBezTo>
                    <a:lnTo>
                      <a:pt x="33868" y="230179"/>
                    </a:lnTo>
                    <a:cubicBezTo>
                      <a:pt x="33241" y="240214"/>
                      <a:pt x="25715" y="247113"/>
                      <a:pt x="16934" y="247113"/>
                    </a:cubicBezTo>
                    <a:lnTo>
                      <a:pt x="16934" y="247113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286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3330933" y="1577678"/>
            <a:ext cx="413945" cy="362516"/>
            <a:chOff x="3330933" y="1577678"/>
            <a:chExt cx="413945" cy="362516"/>
          </a:xfrm>
          <a:solidFill>
            <a:srgbClr val="B1B1A1"/>
          </a:solidFill>
        </p:grpSpPr>
        <p:sp>
          <p:nvSpPr>
            <p:cNvPr id="287" name="Forma Livre: Forma 286">
              <a:extLst>
                <a:ext uri="{FF2B5EF4-FFF2-40B4-BE49-F238E27FC236}">
                  <a16:creationId xmlns:a16="http://schemas.microsoft.com/office/drawing/2014/main" id="{4CA65F6F-2B5B-45B9-9DB7-9A4213B21D7D}"/>
                </a:ext>
              </a:extLst>
            </p:cNvPr>
            <p:cNvSpPr/>
            <p:nvPr/>
          </p:nvSpPr>
          <p:spPr>
            <a:xfrm>
              <a:off x="3440064" y="1733221"/>
              <a:ext cx="206972" cy="206972"/>
            </a:xfrm>
            <a:custGeom>
              <a:avLst/>
              <a:gdLst>
                <a:gd name="connsiteX0" fmla="*/ 103486 w 206972"/>
                <a:gd name="connsiteY0" fmla="*/ 206973 h 206972"/>
                <a:gd name="connsiteX1" fmla="*/ 0 w 206972"/>
                <a:gd name="connsiteY1" fmla="*/ 103486 h 206972"/>
                <a:gd name="connsiteX2" fmla="*/ 103486 w 206972"/>
                <a:gd name="connsiteY2" fmla="*/ 0 h 206972"/>
                <a:gd name="connsiteX3" fmla="*/ 206973 w 206972"/>
                <a:gd name="connsiteY3" fmla="*/ 103486 h 206972"/>
                <a:gd name="connsiteX4" fmla="*/ 103486 w 206972"/>
                <a:gd name="connsiteY4" fmla="*/ 206973 h 206972"/>
                <a:gd name="connsiteX5" fmla="*/ 103486 w 206972"/>
                <a:gd name="connsiteY5" fmla="*/ 206973 h 206972"/>
                <a:gd name="connsiteX6" fmla="*/ 103486 w 206972"/>
                <a:gd name="connsiteY6" fmla="*/ 16934 h 206972"/>
                <a:gd name="connsiteX7" fmla="*/ 16934 w 206972"/>
                <a:gd name="connsiteY7" fmla="*/ 103486 h 206972"/>
                <a:gd name="connsiteX8" fmla="*/ 103486 w 206972"/>
                <a:gd name="connsiteY8" fmla="*/ 190039 h 206972"/>
                <a:gd name="connsiteX9" fmla="*/ 190039 w 206972"/>
                <a:gd name="connsiteY9" fmla="*/ 103486 h 206972"/>
                <a:gd name="connsiteX10" fmla="*/ 103486 w 206972"/>
                <a:gd name="connsiteY10" fmla="*/ 16934 h 206972"/>
                <a:gd name="connsiteX11" fmla="*/ 103486 w 206972"/>
                <a:gd name="connsiteY11" fmla="*/ 16934 h 206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972" h="206972">
                  <a:moveTo>
                    <a:pt x="103486" y="206973"/>
                  </a:moveTo>
                  <a:cubicBezTo>
                    <a:pt x="46412" y="206973"/>
                    <a:pt x="0" y="160561"/>
                    <a:pt x="0" y="103486"/>
                  </a:cubicBezTo>
                  <a:cubicBezTo>
                    <a:pt x="0" y="46412"/>
                    <a:pt x="46412" y="0"/>
                    <a:pt x="103486" y="0"/>
                  </a:cubicBezTo>
                  <a:cubicBezTo>
                    <a:pt x="160561" y="0"/>
                    <a:pt x="206973" y="46412"/>
                    <a:pt x="206973" y="103486"/>
                  </a:cubicBezTo>
                  <a:cubicBezTo>
                    <a:pt x="206973" y="160561"/>
                    <a:pt x="160561" y="206973"/>
                    <a:pt x="103486" y="206973"/>
                  </a:cubicBezTo>
                  <a:lnTo>
                    <a:pt x="103486" y="206973"/>
                  </a:lnTo>
                  <a:close/>
                  <a:moveTo>
                    <a:pt x="103486" y="16934"/>
                  </a:moveTo>
                  <a:cubicBezTo>
                    <a:pt x="55820" y="16934"/>
                    <a:pt x="16934" y="55820"/>
                    <a:pt x="16934" y="103486"/>
                  </a:cubicBezTo>
                  <a:cubicBezTo>
                    <a:pt x="16934" y="151153"/>
                    <a:pt x="55820" y="190039"/>
                    <a:pt x="103486" y="190039"/>
                  </a:cubicBezTo>
                  <a:cubicBezTo>
                    <a:pt x="151153" y="190039"/>
                    <a:pt x="190039" y="151153"/>
                    <a:pt x="190039" y="103486"/>
                  </a:cubicBezTo>
                  <a:cubicBezTo>
                    <a:pt x="190039" y="55820"/>
                    <a:pt x="151153" y="16934"/>
                    <a:pt x="103486" y="16934"/>
                  </a:cubicBezTo>
                  <a:lnTo>
                    <a:pt x="103486" y="16934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88" name="Forma Livre: Forma 287">
              <a:extLst>
                <a:ext uri="{FF2B5EF4-FFF2-40B4-BE49-F238E27FC236}">
                  <a16:creationId xmlns:a16="http://schemas.microsoft.com/office/drawing/2014/main" id="{D75AC766-7722-4851-9462-9946235EE840}"/>
                </a:ext>
              </a:extLst>
            </p:cNvPr>
            <p:cNvSpPr/>
            <p:nvPr/>
          </p:nvSpPr>
          <p:spPr>
            <a:xfrm>
              <a:off x="3480205" y="1819774"/>
              <a:ext cx="126065" cy="33868"/>
            </a:xfrm>
            <a:custGeom>
              <a:avLst/>
              <a:gdLst>
                <a:gd name="connsiteX0" fmla="*/ 109131 w 126065"/>
                <a:gd name="connsiteY0" fmla="*/ 33868 h 33868"/>
                <a:gd name="connsiteX1" fmla="*/ 16934 w 126065"/>
                <a:gd name="connsiteY1" fmla="*/ 33868 h 33868"/>
                <a:gd name="connsiteX2" fmla="*/ 0 w 126065"/>
                <a:gd name="connsiteY2" fmla="*/ 16934 h 33868"/>
                <a:gd name="connsiteX3" fmla="*/ 16934 w 126065"/>
                <a:gd name="connsiteY3" fmla="*/ 0 h 33868"/>
                <a:gd name="connsiteX4" fmla="*/ 109131 w 126065"/>
                <a:gd name="connsiteY4" fmla="*/ 0 h 33868"/>
                <a:gd name="connsiteX5" fmla="*/ 126065 w 126065"/>
                <a:gd name="connsiteY5" fmla="*/ 16934 h 33868"/>
                <a:gd name="connsiteX6" fmla="*/ 109131 w 126065"/>
                <a:gd name="connsiteY6" fmla="*/ 33868 h 33868"/>
                <a:gd name="connsiteX7" fmla="*/ 109131 w 126065"/>
                <a:gd name="connsiteY7" fmla="*/ 33868 h 33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6065" h="33868">
                  <a:moveTo>
                    <a:pt x="109131" y="33868"/>
                  </a:moveTo>
                  <a:lnTo>
                    <a:pt x="16934" y="33868"/>
                  </a:lnTo>
                  <a:cubicBezTo>
                    <a:pt x="7526" y="33868"/>
                    <a:pt x="0" y="26342"/>
                    <a:pt x="0" y="16934"/>
                  </a:cubicBezTo>
                  <a:cubicBezTo>
                    <a:pt x="0" y="7526"/>
                    <a:pt x="7526" y="0"/>
                    <a:pt x="16934" y="0"/>
                  </a:cubicBezTo>
                  <a:lnTo>
                    <a:pt x="109131" y="0"/>
                  </a:lnTo>
                  <a:cubicBezTo>
                    <a:pt x="118539" y="0"/>
                    <a:pt x="126065" y="7526"/>
                    <a:pt x="126065" y="16934"/>
                  </a:cubicBezTo>
                  <a:cubicBezTo>
                    <a:pt x="126065" y="26342"/>
                    <a:pt x="118539" y="33868"/>
                    <a:pt x="109131" y="33868"/>
                  </a:cubicBezTo>
                  <a:lnTo>
                    <a:pt x="109131" y="33868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89" name="Forma Livre: Forma 288">
              <a:extLst>
                <a:ext uri="{FF2B5EF4-FFF2-40B4-BE49-F238E27FC236}">
                  <a16:creationId xmlns:a16="http://schemas.microsoft.com/office/drawing/2014/main" id="{DDF1C12B-BCD2-4D3F-B072-260053634928}"/>
                </a:ext>
              </a:extLst>
            </p:cNvPr>
            <p:cNvSpPr/>
            <p:nvPr/>
          </p:nvSpPr>
          <p:spPr>
            <a:xfrm>
              <a:off x="3526617" y="1773362"/>
              <a:ext cx="33868" cy="126065"/>
            </a:xfrm>
            <a:custGeom>
              <a:avLst/>
              <a:gdLst>
                <a:gd name="connsiteX0" fmla="*/ 16934 w 33868"/>
                <a:gd name="connsiteY0" fmla="*/ 126065 h 126065"/>
                <a:gd name="connsiteX1" fmla="*/ 0 w 33868"/>
                <a:gd name="connsiteY1" fmla="*/ 109131 h 126065"/>
                <a:gd name="connsiteX2" fmla="*/ 0 w 33868"/>
                <a:gd name="connsiteY2" fmla="*/ 16934 h 126065"/>
                <a:gd name="connsiteX3" fmla="*/ 16934 w 33868"/>
                <a:gd name="connsiteY3" fmla="*/ 0 h 126065"/>
                <a:gd name="connsiteX4" fmla="*/ 33868 w 33868"/>
                <a:gd name="connsiteY4" fmla="*/ 16934 h 126065"/>
                <a:gd name="connsiteX5" fmla="*/ 33868 w 33868"/>
                <a:gd name="connsiteY5" fmla="*/ 109131 h 126065"/>
                <a:gd name="connsiteX6" fmla="*/ 16934 w 33868"/>
                <a:gd name="connsiteY6" fmla="*/ 126065 h 126065"/>
                <a:gd name="connsiteX7" fmla="*/ 16934 w 33868"/>
                <a:gd name="connsiteY7" fmla="*/ 126065 h 126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868" h="126065">
                  <a:moveTo>
                    <a:pt x="16934" y="126065"/>
                  </a:moveTo>
                  <a:cubicBezTo>
                    <a:pt x="7526" y="126065"/>
                    <a:pt x="0" y="118539"/>
                    <a:pt x="0" y="109131"/>
                  </a:cubicBezTo>
                  <a:lnTo>
                    <a:pt x="0" y="16934"/>
                  </a:lnTo>
                  <a:cubicBezTo>
                    <a:pt x="0" y="7526"/>
                    <a:pt x="7526" y="0"/>
                    <a:pt x="16934" y="0"/>
                  </a:cubicBezTo>
                  <a:cubicBezTo>
                    <a:pt x="26342" y="0"/>
                    <a:pt x="33868" y="7526"/>
                    <a:pt x="33868" y="16934"/>
                  </a:cubicBezTo>
                  <a:lnTo>
                    <a:pt x="33868" y="109131"/>
                  </a:lnTo>
                  <a:cubicBezTo>
                    <a:pt x="33241" y="119166"/>
                    <a:pt x="26342" y="126065"/>
                    <a:pt x="16934" y="126065"/>
                  </a:cubicBezTo>
                  <a:lnTo>
                    <a:pt x="16934" y="126065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90" name="Forma Livre: Forma 289">
              <a:extLst>
                <a:ext uri="{FF2B5EF4-FFF2-40B4-BE49-F238E27FC236}">
                  <a16:creationId xmlns:a16="http://schemas.microsoft.com/office/drawing/2014/main" id="{B1569ED2-B91A-457D-B3B7-4034465E7A9C}"/>
                </a:ext>
              </a:extLst>
            </p:cNvPr>
            <p:cNvSpPr/>
            <p:nvPr/>
          </p:nvSpPr>
          <p:spPr>
            <a:xfrm>
              <a:off x="3330933" y="1577678"/>
              <a:ext cx="413945" cy="276591"/>
            </a:xfrm>
            <a:custGeom>
              <a:avLst/>
              <a:gdLst>
                <a:gd name="connsiteX0" fmla="*/ 326139 w 413945"/>
                <a:gd name="connsiteY0" fmla="*/ 276591 h 276591"/>
                <a:gd name="connsiteX1" fmla="*/ 307324 w 413945"/>
                <a:gd name="connsiteY1" fmla="*/ 276591 h 276591"/>
                <a:gd name="connsiteX2" fmla="*/ 307324 w 413945"/>
                <a:gd name="connsiteY2" fmla="*/ 243350 h 276591"/>
                <a:gd name="connsiteX3" fmla="*/ 326139 w 413945"/>
                <a:gd name="connsiteY3" fmla="*/ 243350 h 276591"/>
                <a:gd name="connsiteX4" fmla="*/ 359380 w 413945"/>
                <a:gd name="connsiteY4" fmla="*/ 228297 h 276591"/>
                <a:gd name="connsiteX5" fmla="*/ 380705 w 413945"/>
                <a:gd name="connsiteY5" fmla="*/ 181258 h 276591"/>
                <a:gd name="connsiteX6" fmla="*/ 318613 w 413945"/>
                <a:gd name="connsiteY6" fmla="*/ 119793 h 276591"/>
                <a:gd name="connsiteX7" fmla="*/ 299797 w 413945"/>
                <a:gd name="connsiteY7" fmla="*/ 122929 h 276591"/>
                <a:gd name="connsiteX8" fmla="*/ 285372 w 413945"/>
                <a:gd name="connsiteY8" fmla="*/ 121048 h 276591"/>
                <a:gd name="connsiteX9" fmla="*/ 277846 w 413945"/>
                <a:gd name="connsiteY9" fmla="*/ 108504 h 276591"/>
                <a:gd name="connsiteX10" fmla="*/ 195056 w 413945"/>
                <a:gd name="connsiteY10" fmla="*/ 33241 h 276591"/>
                <a:gd name="connsiteX11" fmla="*/ 111640 w 413945"/>
                <a:gd name="connsiteY11" fmla="*/ 116657 h 276591"/>
                <a:gd name="connsiteX12" fmla="*/ 113522 w 413945"/>
                <a:gd name="connsiteY12" fmla="*/ 132964 h 276591"/>
                <a:gd name="connsiteX13" fmla="*/ 110386 w 413945"/>
                <a:gd name="connsiteY13" fmla="*/ 146763 h 276591"/>
                <a:gd name="connsiteX14" fmla="*/ 97215 w 413945"/>
                <a:gd name="connsiteY14" fmla="*/ 153035 h 276591"/>
                <a:gd name="connsiteX15" fmla="*/ 78399 w 413945"/>
                <a:gd name="connsiteY15" fmla="*/ 153035 h 276591"/>
                <a:gd name="connsiteX16" fmla="*/ 33241 w 413945"/>
                <a:gd name="connsiteY16" fmla="*/ 198192 h 276591"/>
                <a:gd name="connsiteX17" fmla="*/ 78399 w 413945"/>
                <a:gd name="connsiteY17" fmla="*/ 243350 h 276591"/>
                <a:gd name="connsiteX18" fmla="*/ 116658 w 413945"/>
                <a:gd name="connsiteY18" fmla="*/ 243350 h 276591"/>
                <a:gd name="connsiteX19" fmla="*/ 116658 w 413945"/>
                <a:gd name="connsiteY19" fmla="*/ 276591 h 276591"/>
                <a:gd name="connsiteX20" fmla="*/ 78399 w 413945"/>
                <a:gd name="connsiteY20" fmla="*/ 276591 h 276591"/>
                <a:gd name="connsiteX21" fmla="*/ 0 w 413945"/>
                <a:gd name="connsiteY21" fmla="*/ 198192 h 276591"/>
                <a:gd name="connsiteX22" fmla="*/ 78399 w 413945"/>
                <a:gd name="connsiteY22" fmla="*/ 119793 h 276591"/>
                <a:gd name="connsiteX23" fmla="*/ 78399 w 413945"/>
                <a:gd name="connsiteY23" fmla="*/ 119793 h 276591"/>
                <a:gd name="connsiteX24" fmla="*/ 78399 w 413945"/>
                <a:gd name="connsiteY24" fmla="*/ 116657 h 276591"/>
                <a:gd name="connsiteX25" fmla="*/ 195056 w 413945"/>
                <a:gd name="connsiteY25" fmla="*/ 0 h 276591"/>
                <a:gd name="connsiteX26" fmla="*/ 307951 w 413945"/>
                <a:gd name="connsiteY26" fmla="*/ 86552 h 276591"/>
                <a:gd name="connsiteX27" fmla="*/ 318613 w 413945"/>
                <a:gd name="connsiteY27" fmla="*/ 85925 h 276591"/>
                <a:gd name="connsiteX28" fmla="*/ 413946 w 413945"/>
                <a:gd name="connsiteY28" fmla="*/ 181258 h 276591"/>
                <a:gd name="connsiteX29" fmla="*/ 382586 w 413945"/>
                <a:gd name="connsiteY29" fmla="*/ 251503 h 276591"/>
                <a:gd name="connsiteX30" fmla="*/ 326139 w 413945"/>
                <a:gd name="connsiteY30" fmla="*/ 276591 h 276591"/>
                <a:gd name="connsiteX31" fmla="*/ 326139 w 413945"/>
                <a:gd name="connsiteY31" fmla="*/ 276591 h 276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13945" h="276591">
                  <a:moveTo>
                    <a:pt x="326139" y="276591"/>
                  </a:moveTo>
                  <a:lnTo>
                    <a:pt x="307324" y="276591"/>
                  </a:lnTo>
                  <a:lnTo>
                    <a:pt x="307324" y="243350"/>
                  </a:lnTo>
                  <a:lnTo>
                    <a:pt x="326139" y="243350"/>
                  </a:lnTo>
                  <a:cubicBezTo>
                    <a:pt x="338683" y="243350"/>
                    <a:pt x="351227" y="237705"/>
                    <a:pt x="359380" y="228297"/>
                  </a:cubicBezTo>
                  <a:cubicBezTo>
                    <a:pt x="373806" y="215126"/>
                    <a:pt x="380705" y="198819"/>
                    <a:pt x="380705" y="181258"/>
                  </a:cubicBezTo>
                  <a:cubicBezTo>
                    <a:pt x="380705" y="147390"/>
                    <a:pt x="353109" y="119793"/>
                    <a:pt x="318613" y="119793"/>
                  </a:cubicBezTo>
                  <a:cubicBezTo>
                    <a:pt x="312341" y="119793"/>
                    <a:pt x="306069" y="121048"/>
                    <a:pt x="299797" y="122929"/>
                  </a:cubicBezTo>
                  <a:cubicBezTo>
                    <a:pt x="294780" y="124811"/>
                    <a:pt x="289762" y="123557"/>
                    <a:pt x="285372" y="121048"/>
                  </a:cubicBezTo>
                  <a:cubicBezTo>
                    <a:pt x="280982" y="118539"/>
                    <a:pt x="278473" y="113521"/>
                    <a:pt x="277846" y="108504"/>
                  </a:cubicBezTo>
                  <a:cubicBezTo>
                    <a:pt x="273455" y="65855"/>
                    <a:pt x="237705" y="33241"/>
                    <a:pt x="195056" y="33241"/>
                  </a:cubicBezTo>
                  <a:cubicBezTo>
                    <a:pt x="149272" y="33241"/>
                    <a:pt x="111640" y="70872"/>
                    <a:pt x="111640" y="116657"/>
                  </a:cubicBezTo>
                  <a:cubicBezTo>
                    <a:pt x="111640" y="122302"/>
                    <a:pt x="112267" y="127320"/>
                    <a:pt x="113522" y="132964"/>
                  </a:cubicBezTo>
                  <a:cubicBezTo>
                    <a:pt x="114776" y="137982"/>
                    <a:pt x="113522" y="142999"/>
                    <a:pt x="110386" y="146763"/>
                  </a:cubicBezTo>
                  <a:cubicBezTo>
                    <a:pt x="107250" y="150526"/>
                    <a:pt x="102232" y="153035"/>
                    <a:pt x="97215" y="153035"/>
                  </a:cubicBezTo>
                  <a:lnTo>
                    <a:pt x="78399" y="153035"/>
                  </a:lnTo>
                  <a:cubicBezTo>
                    <a:pt x="53311" y="153035"/>
                    <a:pt x="33241" y="173105"/>
                    <a:pt x="33241" y="198192"/>
                  </a:cubicBezTo>
                  <a:cubicBezTo>
                    <a:pt x="33241" y="223280"/>
                    <a:pt x="53311" y="243350"/>
                    <a:pt x="78399" y="243350"/>
                  </a:cubicBezTo>
                  <a:lnTo>
                    <a:pt x="116658" y="243350"/>
                  </a:lnTo>
                  <a:lnTo>
                    <a:pt x="116658" y="276591"/>
                  </a:lnTo>
                  <a:lnTo>
                    <a:pt x="78399" y="276591"/>
                  </a:lnTo>
                  <a:cubicBezTo>
                    <a:pt x="35123" y="276591"/>
                    <a:pt x="0" y="241468"/>
                    <a:pt x="0" y="198192"/>
                  </a:cubicBezTo>
                  <a:cubicBezTo>
                    <a:pt x="0" y="154916"/>
                    <a:pt x="35123" y="119793"/>
                    <a:pt x="78399" y="119793"/>
                  </a:cubicBezTo>
                  <a:lnTo>
                    <a:pt x="78399" y="119793"/>
                  </a:lnTo>
                  <a:cubicBezTo>
                    <a:pt x="78399" y="118539"/>
                    <a:pt x="78399" y="117912"/>
                    <a:pt x="78399" y="116657"/>
                  </a:cubicBezTo>
                  <a:cubicBezTo>
                    <a:pt x="78399" y="52057"/>
                    <a:pt x="130456" y="0"/>
                    <a:pt x="195056" y="0"/>
                  </a:cubicBezTo>
                  <a:cubicBezTo>
                    <a:pt x="248995" y="0"/>
                    <a:pt x="294780" y="36377"/>
                    <a:pt x="307951" y="86552"/>
                  </a:cubicBezTo>
                  <a:cubicBezTo>
                    <a:pt x="311714" y="85925"/>
                    <a:pt x="314850" y="85925"/>
                    <a:pt x="318613" y="85925"/>
                  </a:cubicBezTo>
                  <a:cubicBezTo>
                    <a:pt x="371297" y="85925"/>
                    <a:pt x="413946" y="128574"/>
                    <a:pt x="413946" y="181258"/>
                  </a:cubicBezTo>
                  <a:cubicBezTo>
                    <a:pt x="413946" y="208227"/>
                    <a:pt x="402657" y="233315"/>
                    <a:pt x="382586" y="251503"/>
                  </a:cubicBezTo>
                  <a:cubicBezTo>
                    <a:pt x="369416" y="267183"/>
                    <a:pt x="348091" y="276591"/>
                    <a:pt x="326139" y="276591"/>
                  </a:cubicBezTo>
                  <a:lnTo>
                    <a:pt x="326139" y="276591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91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5370558" y="1577678"/>
            <a:ext cx="413945" cy="362516"/>
            <a:chOff x="5370558" y="1577678"/>
            <a:chExt cx="413945" cy="362516"/>
          </a:xfrm>
          <a:solidFill>
            <a:srgbClr val="B1B1A1"/>
          </a:solidFill>
        </p:grpSpPr>
        <p:sp>
          <p:nvSpPr>
            <p:cNvPr id="292" name="Forma Livre: Forma 291">
              <a:extLst>
                <a:ext uri="{FF2B5EF4-FFF2-40B4-BE49-F238E27FC236}">
                  <a16:creationId xmlns:a16="http://schemas.microsoft.com/office/drawing/2014/main" id="{48BFFFEC-0CF1-4EDF-8EFB-E3B6E292901C}"/>
                </a:ext>
              </a:extLst>
            </p:cNvPr>
            <p:cNvSpPr/>
            <p:nvPr/>
          </p:nvSpPr>
          <p:spPr>
            <a:xfrm>
              <a:off x="5479689" y="1733221"/>
              <a:ext cx="206972" cy="206972"/>
            </a:xfrm>
            <a:custGeom>
              <a:avLst/>
              <a:gdLst>
                <a:gd name="connsiteX0" fmla="*/ 103486 w 206972"/>
                <a:gd name="connsiteY0" fmla="*/ 206973 h 206972"/>
                <a:gd name="connsiteX1" fmla="*/ 0 w 206972"/>
                <a:gd name="connsiteY1" fmla="*/ 103486 h 206972"/>
                <a:gd name="connsiteX2" fmla="*/ 103486 w 206972"/>
                <a:gd name="connsiteY2" fmla="*/ 0 h 206972"/>
                <a:gd name="connsiteX3" fmla="*/ 206973 w 206972"/>
                <a:gd name="connsiteY3" fmla="*/ 103486 h 206972"/>
                <a:gd name="connsiteX4" fmla="*/ 103486 w 206972"/>
                <a:gd name="connsiteY4" fmla="*/ 206973 h 206972"/>
                <a:gd name="connsiteX5" fmla="*/ 103486 w 206972"/>
                <a:gd name="connsiteY5" fmla="*/ 206973 h 206972"/>
                <a:gd name="connsiteX6" fmla="*/ 103486 w 206972"/>
                <a:gd name="connsiteY6" fmla="*/ 16934 h 206972"/>
                <a:gd name="connsiteX7" fmla="*/ 16934 w 206972"/>
                <a:gd name="connsiteY7" fmla="*/ 103486 h 206972"/>
                <a:gd name="connsiteX8" fmla="*/ 103486 w 206972"/>
                <a:gd name="connsiteY8" fmla="*/ 190039 h 206972"/>
                <a:gd name="connsiteX9" fmla="*/ 190039 w 206972"/>
                <a:gd name="connsiteY9" fmla="*/ 103486 h 206972"/>
                <a:gd name="connsiteX10" fmla="*/ 103486 w 206972"/>
                <a:gd name="connsiteY10" fmla="*/ 16934 h 206972"/>
                <a:gd name="connsiteX11" fmla="*/ 103486 w 206972"/>
                <a:gd name="connsiteY11" fmla="*/ 16934 h 206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972" h="206972">
                  <a:moveTo>
                    <a:pt x="103486" y="206973"/>
                  </a:moveTo>
                  <a:cubicBezTo>
                    <a:pt x="46412" y="206973"/>
                    <a:pt x="0" y="160561"/>
                    <a:pt x="0" y="103486"/>
                  </a:cubicBezTo>
                  <a:cubicBezTo>
                    <a:pt x="0" y="46412"/>
                    <a:pt x="46412" y="0"/>
                    <a:pt x="103486" y="0"/>
                  </a:cubicBezTo>
                  <a:cubicBezTo>
                    <a:pt x="160561" y="0"/>
                    <a:pt x="206973" y="46412"/>
                    <a:pt x="206973" y="103486"/>
                  </a:cubicBezTo>
                  <a:cubicBezTo>
                    <a:pt x="206973" y="160561"/>
                    <a:pt x="160561" y="206973"/>
                    <a:pt x="103486" y="206973"/>
                  </a:cubicBezTo>
                  <a:lnTo>
                    <a:pt x="103486" y="206973"/>
                  </a:lnTo>
                  <a:close/>
                  <a:moveTo>
                    <a:pt x="103486" y="16934"/>
                  </a:moveTo>
                  <a:cubicBezTo>
                    <a:pt x="55820" y="16934"/>
                    <a:pt x="16934" y="55820"/>
                    <a:pt x="16934" y="103486"/>
                  </a:cubicBezTo>
                  <a:cubicBezTo>
                    <a:pt x="16934" y="151153"/>
                    <a:pt x="55820" y="190039"/>
                    <a:pt x="103486" y="190039"/>
                  </a:cubicBezTo>
                  <a:cubicBezTo>
                    <a:pt x="151153" y="190039"/>
                    <a:pt x="190039" y="151153"/>
                    <a:pt x="190039" y="103486"/>
                  </a:cubicBezTo>
                  <a:cubicBezTo>
                    <a:pt x="190039" y="55820"/>
                    <a:pt x="151153" y="16934"/>
                    <a:pt x="103486" y="16934"/>
                  </a:cubicBezTo>
                  <a:lnTo>
                    <a:pt x="103486" y="16934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93" name="Forma Livre: Forma 292">
              <a:extLst>
                <a:ext uri="{FF2B5EF4-FFF2-40B4-BE49-F238E27FC236}">
                  <a16:creationId xmlns:a16="http://schemas.microsoft.com/office/drawing/2014/main" id="{80F50D50-D85F-4B5A-8607-36DBFBE9AD51}"/>
                </a:ext>
              </a:extLst>
            </p:cNvPr>
            <p:cNvSpPr/>
            <p:nvPr/>
          </p:nvSpPr>
          <p:spPr>
            <a:xfrm>
              <a:off x="5533941" y="1787235"/>
              <a:ext cx="98469" cy="99020"/>
            </a:xfrm>
            <a:custGeom>
              <a:avLst/>
              <a:gdLst>
                <a:gd name="connsiteX0" fmla="*/ 81848 w 98469"/>
                <a:gd name="connsiteY0" fmla="*/ 99021 h 99020"/>
                <a:gd name="connsiteX1" fmla="*/ 69932 w 98469"/>
                <a:gd name="connsiteY1" fmla="*/ 94003 h 99020"/>
                <a:gd name="connsiteX2" fmla="*/ 4704 w 98469"/>
                <a:gd name="connsiteY2" fmla="*/ 28775 h 99020"/>
                <a:gd name="connsiteX3" fmla="*/ 4704 w 98469"/>
                <a:gd name="connsiteY3" fmla="*/ 4942 h 99020"/>
                <a:gd name="connsiteX4" fmla="*/ 28537 w 98469"/>
                <a:gd name="connsiteY4" fmla="*/ 4942 h 99020"/>
                <a:gd name="connsiteX5" fmla="*/ 93765 w 98469"/>
                <a:gd name="connsiteY5" fmla="*/ 70170 h 99020"/>
                <a:gd name="connsiteX6" fmla="*/ 93765 w 98469"/>
                <a:gd name="connsiteY6" fmla="*/ 94003 h 99020"/>
                <a:gd name="connsiteX7" fmla="*/ 81848 w 98469"/>
                <a:gd name="connsiteY7" fmla="*/ 99021 h 99020"/>
                <a:gd name="connsiteX8" fmla="*/ 81848 w 98469"/>
                <a:gd name="connsiteY8" fmla="*/ 99021 h 99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8469" h="99020">
                  <a:moveTo>
                    <a:pt x="81848" y="99021"/>
                  </a:moveTo>
                  <a:cubicBezTo>
                    <a:pt x="77458" y="99021"/>
                    <a:pt x="73068" y="97139"/>
                    <a:pt x="69932" y="94003"/>
                  </a:cubicBezTo>
                  <a:lnTo>
                    <a:pt x="4704" y="28775"/>
                  </a:lnTo>
                  <a:cubicBezTo>
                    <a:pt x="-1568" y="22503"/>
                    <a:pt x="-1568" y="11841"/>
                    <a:pt x="4704" y="4942"/>
                  </a:cubicBezTo>
                  <a:cubicBezTo>
                    <a:pt x="10976" y="-1957"/>
                    <a:pt x="21638" y="-1330"/>
                    <a:pt x="28537" y="4942"/>
                  </a:cubicBezTo>
                  <a:lnTo>
                    <a:pt x="93765" y="70170"/>
                  </a:lnTo>
                  <a:cubicBezTo>
                    <a:pt x="100037" y="76442"/>
                    <a:pt x="100037" y="87104"/>
                    <a:pt x="93765" y="94003"/>
                  </a:cubicBezTo>
                  <a:cubicBezTo>
                    <a:pt x="90002" y="97139"/>
                    <a:pt x="86239" y="99021"/>
                    <a:pt x="81848" y="99021"/>
                  </a:cubicBezTo>
                  <a:lnTo>
                    <a:pt x="81848" y="99021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94" name="Forma Livre: Forma 293">
              <a:extLst>
                <a:ext uri="{FF2B5EF4-FFF2-40B4-BE49-F238E27FC236}">
                  <a16:creationId xmlns:a16="http://schemas.microsoft.com/office/drawing/2014/main" id="{9DEA47AF-060E-402B-8802-1E4FB8B7FE8C}"/>
                </a:ext>
              </a:extLst>
            </p:cNvPr>
            <p:cNvSpPr/>
            <p:nvPr/>
          </p:nvSpPr>
          <p:spPr>
            <a:xfrm>
              <a:off x="5533941" y="1787474"/>
              <a:ext cx="98469" cy="98782"/>
            </a:xfrm>
            <a:custGeom>
              <a:avLst/>
              <a:gdLst>
                <a:gd name="connsiteX0" fmla="*/ 16621 w 98469"/>
                <a:gd name="connsiteY0" fmla="*/ 98783 h 98782"/>
                <a:gd name="connsiteX1" fmla="*/ 4704 w 98469"/>
                <a:gd name="connsiteY1" fmla="*/ 93765 h 98782"/>
                <a:gd name="connsiteX2" fmla="*/ 4704 w 98469"/>
                <a:gd name="connsiteY2" fmla="*/ 69932 h 98782"/>
                <a:gd name="connsiteX3" fmla="*/ 69932 w 98469"/>
                <a:gd name="connsiteY3" fmla="*/ 4704 h 98782"/>
                <a:gd name="connsiteX4" fmla="*/ 93765 w 98469"/>
                <a:gd name="connsiteY4" fmla="*/ 4704 h 98782"/>
                <a:gd name="connsiteX5" fmla="*/ 93765 w 98469"/>
                <a:gd name="connsiteY5" fmla="*/ 28537 h 98782"/>
                <a:gd name="connsiteX6" fmla="*/ 28537 w 98469"/>
                <a:gd name="connsiteY6" fmla="*/ 93765 h 98782"/>
                <a:gd name="connsiteX7" fmla="*/ 16621 w 98469"/>
                <a:gd name="connsiteY7" fmla="*/ 98783 h 98782"/>
                <a:gd name="connsiteX8" fmla="*/ 16621 w 98469"/>
                <a:gd name="connsiteY8" fmla="*/ 98783 h 98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8469" h="98782">
                  <a:moveTo>
                    <a:pt x="16621" y="98783"/>
                  </a:moveTo>
                  <a:cubicBezTo>
                    <a:pt x="12230" y="98783"/>
                    <a:pt x="7840" y="96901"/>
                    <a:pt x="4704" y="93765"/>
                  </a:cubicBezTo>
                  <a:cubicBezTo>
                    <a:pt x="-1568" y="87493"/>
                    <a:pt x="-1568" y="76831"/>
                    <a:pt x="4704" y="69932"/>
                  </a:cubicBezTo>
                  <a:lnTo>
                    <a:pt x="69932" y="4704"/>
                  </a:lnTo>
                  <a:cubicBezTo>
                    <a:pt x="76204" y="-1568"/>
                    <a:pt x="86866" y="-1568"/>
                    <a:pt x="93765" y="4704"/>
                  </a:cubicBezTo>
                  <a:cubicBezTo>
                    <a:pt x="100037" y="10976"/>
                    <a:pt x="100037" y="21638"/>
                    <a:pt x="93765" y="28537"/>
                  </a:cubicBezTo>
                  <a:lnTo>
                    <a:pt x="28537" y="93765"/>
                  </a:lnTo>
                  <a:cubicBezTo>
                    <a:pt x="25401" y="96901"/>
                    <a:pt x="21011" y="98783"/>
                    <a:pt x="16621" y="98783"/>
                  </a:cubicBezTo>
                  <a:lnTo>
                    <a:pt x="16621" y="98783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95" name="Forma Livre: Forma 294">
              <a:extLst>
                <a:ext uri="{FF2B5EF4-FFF2-40B4-BE49-F238E27FC236}">
                  <a16:creationId xmlns:a16="http://schemas.microsoft.com/office/drawing/2014/main" id="{A140B149-247B-4C7E-8677-5F97B084B579}"/>
                </a:ext>
              </a:extLst>
            </p:cNvPr>
            <p:cNvSpPr/>
            <p:nvPr/>
          </p:nvSpPr>
          <p:spPr>
            <a:xfrm>
              <a:off x="5370558" y="1577678"/>
              <a:ext cx="413945" cy="276591"/>
            </a:xfrm>
            <a:custGeom>
              <a:avLst/>
              <a:gdLst>
                <a:gd name="connsiteX0" fmla="*/ 326139 w 413945"/>
                <a:gd name="connsiteY0" fmla="*/ 276591 h 276591"/>
                <a:gd name="connsiteX1" fmla="*/ 307324 w 413945"/>
                <a:gd name="connsiteY1" fmla="*/ 276591 h 276591"/>
                <a:gd name="connsiteX2" fmla="*/ 307324 w 413945"/>
                <a:gd name="connsiteY2" fmla="*/ 243350 h 276591"/>
                <a:gd name="connsiteX3" fmla="*/ 326139 w 413945"/>
                <a:gd name="connsiteY3" fmla="*/ 243350 h 276591"/>
                <a:gd name="connsiteX4" fmla="*/ 359380 w 413945"/>
                <a:gd name="connsiteY4" fmla="*/ 228297 h 276591"/>
                <a:gd name="connsiteX5" fmla="*/ 380705 w 413945"/>
                <a:gd name="connsiteY5" fmla="*/ 181258 h 276591"/>
                <a:gd name="connsiteX6" fmla="*/ 318613 w 413945"/>
                <a:gd name="connsiteY6" fmla="*/ 119793 h 276591"/>
                <a:gd name="connsiteX7" fmla="*/ 299797 w 413945"/>
                <a:gd name="connsiteY7" fmla="*/ 122929 h 276591"/>
                <a:gd name="connsiteX8" fmla="*/ 285372 w 413945"/>
                <a:gd name="connsiteY8" fmla="*/ 121048 h 276591"/>
                <a:gd name="connsiteX9" fmla="*/ 277845 w 413945"/>
                <a:gd name="connsiteY9" fmla="*/ 108504 h 276591"/>
                <a:gd name="connsiteX10" fmla="*/ 195056 w 413945"/>
                <a:gd name="connsiteY10" fmla="*/ 33241 h 276591"/>
                <a:gd name="connsiteX11" fmla="*/ 111640 w 413945"/>
                <a:gd name="connsiteY11" fmla="*/ 116657 h 276591"/>
                <a:gd name="connsiteX12" fmla="*/ 113521 w 413945"/>
                <a:gd name="connsiteY12" fmla="*/ 132964 h 276591"/>
                <a:gd name="connsiteX13" fmla="*/ 110385 w 413945"/>
                <a:gd name="connsiteY13" fmla="*/ 146763 h 276591"/>
                <a:gd name="connsiteX14" fmla="*/ 97215 w 413945"/>
                <a:gd name="connsiteY14" fmla="*/ 153035 h 276591"/>
                <a:gd name="connsiteX15" fmla="*/ 78399 w 413945"/>
                <a:gd name="connsiteY15" fmla="*/ 153035 h 276591"/>
                <a:gd name="connsiteX16" fmla="*/ 33241 w 413945"/>
                <a:gd name="connsiteY16" fmla="*/ 198192 h 276591"/>
                <a:gd name="connsiteX17" fmla="*/ 78399 w 413945"/>
                <a:gd name="connsiteY17" fmla="*/ 243350 h 276591"/>
                <a:gd name="connsiteX18" fmla="*/ 116657 w 413945"/>
                <a:gd name="connsiteY18" fmla="*/ 243350 h 276591"/>
                <a:gd name="connsiteX19" fmla="*/ 116657 w 413945"/>
                <a:gd name="connsiteY19" fmla="*/ 276591 h 276591"/>
                <a:gd name="connsiteX20" fmla="*/ 78399 w 413945"/>
                <a:gd name="connsiteY20" fmla="*/ 276591 h 276591"/>
                <a:gd name="connsiteX21" fmla="*/ 0 w 413945"/>
                <a:gd name="connsiteY21" fmla="*/ 198192 h 276591"/>
                <a:gd name="connsiteX22" fmla="*/ 78399 w 413945"/>
                <a:gd name="connsiteY22" fmla="*/ 119793 h 276591"/>
                <a:gd name="connsiteX23" fmla="*/ 78399 w 413945"/>
                <a:gd name="connsiteY23" fmla="*/ 119793 h 276591"/>
                <a:gd name="connsiteX24" fmla="*/ 78399 w 413945"/>
                <a:gd name="connsiteY24" fmla="*/ 116657 h 276591"/>
                <a:gd name="connsiteX25" fmla="*/ 195056 w 413945"/>
                <a:gd name="connsiteY25" fmla="*/ 0 h 276591"/>
                <a:gd name="connsiteX26" fmla="*/ 307951 w 413945"/>
                <a:gd name="connsiteY26" fmla="*/ 86552 h 276591"/>
                <a:gd name="connsiteX27" fmla="*/ 318613 w 413945"/>
                <a:gd name="connsiteY27" fmla="*/ 85925 h 276591"/>
                <a:gd name="connsiteX28" fmla="*/ 413946 w 413945"/>
                <a:gd name="connsiteY28" fmla="*/ 181258 h 276591"/>
                <a:gd name="connsiteX29" fmla="*/ 382586 w 413945"/>
                <a:gd name="connsiteY29" fmla="*/ 251503 h 276591"/>
                <a:gd name="connsiteX30" fmla="*/ 326139 w 413945"/>
                <a:gd name="connsiteY30" fmla="*/ 276591 h 276591"/>
                <a:gd name="connsiteX31" fmla="*/ 326139 w 413945"/>
                <a:gd name="connsiteY31" fmla="*/ 276591 h 276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13945" h="276591">
                  <a:moveTo>
                    <a:pt x="326139" y="276591"/>
                  </a:moveTo>
                  <a:lnTo>
                    <a:pt x="307324" y="276591"/>
                  </a:lnTo>
                  <a:lnTo>
                    <a:pt x="307324" y="243350"/>
                  </a:lnTo>
                  <a:lnTo>
                    <a:pt x="326139" y="243350"/>
                  </a:lnTo>
                  <a:cubicBezTo>
                    <a:pt x="338683" y="243350"/>
                    <a:pt x="351227" y="237705"/>
                    <a:pt x="359380" y="228297"/>
                  </a:cubicBezTo>
                  <a:cubicBezTo>
                    <a:pt x="373806" y="215126"/>
                    <a:pt x="380705" y="198819"/>
                    <a:pt x="380705" y="181258"/>
                  </a:cubicBezTo>
                  <a:cubicBezTo>
                    <a:pt x="380705" y="147390"/>
                    <a:pt x="353108" y="119793"/>
                    <a:pt x="318613" y="119793"/>
                  </a:cubicBezTo>
                  <a:cubicBezTo>
                    <a:pt x="312341" y="119793"/>
                    <a:pt x="306069" y="121048"/>
                    <a:pt x="299797" y="122929"/>
                  </a:cubicBezTo>
                  <a:cubicBezTo>
                    <a:pt x="294780" y="124811"/>
                    <a:pt x="289762" y="123557"/>
                    <a:pt x="285372" y="121048"/>
                  </a:cubicBezTo>
                  <a:cubicBezTo>
                    <a:pt x="280981" y="118539"/>
                    <a:pt x="278473" y="113521"/>
                    <a:pt x="277845" y="108504"/>
                  </a:cubicBezTo>
                  <a:cubicBezTo>
                    <a:pt x="273455" y="65855"/>
                    <a:pt x="237705" y="33241"/>
                    <a:pt x="195056" y="33241"/>
                  </a:cubicBezTo>
                  <a:cubicBezTo>
                    <a:pt x="149271" y="33241"/>
                    <a:pt x="111640" y="70872"/>
                    <a:pt x="111640" y="116657"/>
                  </a:cubicBezTo>
                  <a:cubicBezTo>
                    <a:pt x="111640" y="122302"/>
                    <a:pt x="112267" y="127320"/>
                    <a:pt x="113521" y="132964"/>
                  </a:cubicBezTo>
                  <a:cubicBezTo>
                    <a:pt x="114776" y="137982"/>
                    <a:pt x="113521" y="142999"/>
                    <a:pt x="110385" y="146763"/>
                  </a:cubicBezTo>
                  <a:cubicBezTo>
                    <a:pt x="107249" y="150526"/>
                    <a:pt x="102232" y="153035"/>
                    <a:pt x="97215" y="153035"/>
                  </a:cubicBezTo>
                  <a:lnTo>
                    <a:pt x="78399" y="153035"/>
                  </a:lnTo>
                  <a:cubicBezTo>
                    <a:pt x="53311" y="153035"/>
                    <a:pt x="33241" y="173105"/>
                    <a:pt x="33241" y="198192"/>
                  </a:cubicBezTo>
                  <a:cubicBezTo>
                    <a:pt x="33241" y="223280"/>
                    <a:pt x="53311" y="243350"/>
                    <a:pt x="78399" y="243350"/>
                  </a:cubicBezTo>
                  <a:lnTo>
                    <a:pt x="116657" y="243350"/>
                  </a:lnTo>
                  <a:lnTo>
                    <a:pt x="116657" y="276591"/>
                  </a:lnTo>
                  <a:lnTo>
                    <a:pt x="78399" y="276591"/>
                  </a:lnTo>
                  <a:cubicBezTo>
                    <a:pt x="35123" y="276591"/>
                    <a:pt x="0" y="241468"/>
                    <a:pt x="0" y="198192"/>
                  </a:cubicBezTo>
                  <a:cubicBezTo>
                    <a:pt x="0" y="154916"/>
                    <a:pt x="35123" y="119793"/>
                    <a:pt x="78399" y="119793"/>
                  </a:cubicBezTo>
                  <a:lnTo>
                    <a:pt x="78399" y="119793"/>
                  </a:lnTo>
                  <a:cubicBezTo>
                    <a:pt x="78399" y="118539"/>
                    <a:pt x="78399" y="117912"/>
                    <a:pt x="78399" y="116657"/>
                  </a:cubicBezTo>
                  <a:cubicBezTo>
                    <a:pt x="78399" y="52057"/>
                    <a:pt x="130456" y="0"/>
                    <a:pt x="195056" y="0"/>
                  </a:cubicBezTo>
                  <a:cubicBezTo>
                    <a:pt x="248995" y="0"/>
                    <a:pt x="294780" y="36377"/>
                    <a:pt x="307951" y="86552"/>
                  </a:cubicBezTo>
                  <a:cubicBezTo>
                    <a:pt x="311714" y="85925"/>
                    <a:pt x="314850" y="85925"/>
                    <a:pt x="318613" y="85925"/>
                  </a:cubicBezTo>
                  <a:cubicBezTo>
                    <a:pt x="371297" y="85925"/>
                    <a:pt x="413946" y="128574"/>
                    <a:pt x="413946" y="181258"/>
                  </a:cubicBezTo>
                  <a:cubicBezTo>
                    <a:pt x="413946" y="208227"/>
                    <a:pt x="402657" y="233315"/>
                    <a:pt x="382586" y="251503"/>
                  </a:cubicBezTo>
                  <a:cubicBezTo>
                    <a:pt x="369416" y="267183"/>
                    <a:pt x="348091" y="276591"/>
                    <a:pt x="326139" y="276591"/>
                  </a:cubicBezTo>
                  <a:lnTo>
                    <a:pt x="326139" y="276591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96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4350118" y="1577678"/>
            <a:ext cx="413945" cy="362516"/>
            <a:chOff x="4350118" y="1577678"/>
            <a:chExt cx="413945" cy="362516"/>
          </a:xfrm>
          <a:solidFill>
            <a:srgbClr val="B1B1A1"/>
          </a:solidFill>
        </p:grpSpPr>
        <p:sp>
          <p:nvSpPr>
            <p:cNvPr id="297" name="Forma Livre: Forma 296">
              <a:extLst>
                <a:ext uri="{FF2B5EF4-FFF2-40B4-BE49-F238E27FC236}">
                  <a16:creationId xmlns:a16="http://schemas.microsoft.com/office/drawing/2014/main" id="{503B8AC5-A4C3-4809-9344-C378DA9C7E83}"/>
                </a:ext>
              </a:extLst>
            </p:cNvPr>
            <p:cNvSpPr/>
            <p:nvPr/>
          </p:nvSpPr>
          <p:spPr>
            <a:xfrm>
              <a:off x="4458622" y="1733221"/>
              <a:ext cx="206972" cy="206972"/>
            </a:xfrm>
            <a:custGeom>
              <a:avLst/>
              <a:gdLst>
                <a:gd name="connsiteX0" fmla="*/ 103486 w 206972"/>
                <a:gd name="connsiteY0" fmla="*/ 206973 h 206972"/>
                <a:gd name="connsiteX1" fmla="*/ 0 w 206972"/>
                <a:gd name="connsiteY1" fmla="*/ 103486 h 206972"/>
                <a:gd name="connsiteX2" fmla="*/ 103486 w 206972"/>
                <a:gd name="connsiteY2" fmla="*/ 0 h 206972"/>
                <a:gd name="connsiteX3" fmla="*/ 206973 w 206972"/>
                <a:gd name="connsiteY3" fmla="*/ 103486 h 206972"/>
                <a:gd name="connsiteX4" fmla="*/ 103486 w 206972"/>
                <a:gd name="connsiteY4" fmla="*/ 206973 h 206972"/>
                <a:gd name="connsiteX5" fmla="*/ 103486 w 206972"/>
                <a:gd name="connsiteY5" fmla="*/ 206973 h 206972"/>
                <a:gd name="connsiteX6" fmla="*/ 103486 w 206972"/>
                <a:gd name="connsiteY6" fmla="*/ 16934 h 206972"/>
                <a:gd name="connsiteX7" fmla="*/ 16934 w 206972"/>
                <a:gd name="connsiteY7" fmla="*/ 103486 h 206972"/>
                <a:gd name="connsiteX8" fmla="*/ 103486 w 206972"/>
                <a:gd name="connsiteY8" fmla="*/ 190039 h 206972"/>
                <a:gd name="connsiteX9" fmla="*/ 190039 w 206972"/>
                <a:gd name="connsiteY9" fmla="*/ 103486 h 206972"/>
                <a:gd name="connsiteX10" fmla="*/ 103486 w 206972"/>
                <a:gd name="connsiteY10" fmla="*/ 16934 h 206972"/>
                <a:gd name="connsiteX11" fmla="*/ 103486 w 206972"/>
                <a:gd name="connsiteY11" fmla="*/ 16934 h 206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972" h="206972">
                  <a:moveTo>
                    <a:pt x="103486" y="206973"/>
                  </a:moveTo>
                  <a:cubicBezTo>
                    <a:pt x="46412" y="206973"/>
                    <a:pt x="0" y="160561"/>
                    <a:pt x="0" y="103486"/>
                  </a:cubicBezTo>
                  <a:cubicBezTo>
                    <a:pt x="0" y="46412"/>
                    <a:pt x="46412" y="0"/>
                    <a:pt x="103486" y="0"/>
                  </a:cubicBezTo>
                  <a:cubicBezTo>
                    <a:pt x="160561" y="0"/>
                    <a:pt x="206973" y="46412"/>
                    <a:pt x="206973" y="103486"/>
                  </a:cubicBezTo>
                  <a:cubicBezTo>
                    <a:pt x="206973" y="160561"/>
                    <a:pt x="160561" y="206973"/>
                    <a:pt x="103486" y="206973"/>
                  </a:cubicBezTo>
                  <a:lnTo>
                    <a:pt x="103486" y="206973"/>
                  </a:lnTo>
                  <a:close/>
                  <a:moveTo>
                    <a:pt x="103486" y="16934"/>
                  </a:moveTo>
                  <a:cubicBezTo>
                    <a:pt x="55820" y="16934"/>
                    <a:pt x="16934" y="55820"/>
                    <a:pt x="16934" y="103486"/>
                  </a:cubicBezTo>
                  <a:cubicBezTo>
                    <a:pt x="16934" y="151153"/>
                    <a:pt x="55820" y="190039"/>
                    <a:pt x="103486" y="190039"/>
                  </a:cubicBezTo>
                  <a:cubicBezTo>
                    <a:pt x="151153" y="190039"/>
                    <a:pt x="190039" y="151153"/>
                    <a:pt x="190039" y="103486"/>
                  </a:cubicBezTo>
                  <a:cubicBezTo>
                    <a:pt x="190666" y="55820"/>
                    <a:pt x="151780" y="16934"/>
                    <a:pt x="103486" y="16934"/>
                  </a:cubicBezTo>
                  <a:lnTo>
                    <a:pt x="103486" y="16934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98" name="Forma Livre: Forma 297">
              <a:extLst>
                <a:ext uri="{FF2B5EF4-FFF2-40B4-BE49-F238E27FC236}">
                  <a16:creationId xmlns:a16="http://schemas.microsoft.com/office/drawing/2014/main" id="{E4D8D848-9DF3-444E-A65F-F3F3F9CABA29}"/>
                </a:ext>
              </a:extLst>
            </p:cNvPr>
            <p:cNvSpPr/>
            <p:nvPr/>
          </p:nvSpPr>
          <p:spPr>
            <a:xfrm>
              <a:off x="4499390" y="1819774"/>
              <a:ext cx="126065" cy="33868"/>
            </a:xfrm>
            <a:custGeom>
              <a:avLst/>
              <a:gdLst>
                <a:gd name="connsiteX0" fmla="*/ 109131 w 126065"/>
                <a:gd name="connsiteY0" fmla="*/ 33868 h 33868"/>
                <a:gd name="connsiteX1" fmla="*/ 16934 w 126065"/>
                <a:gd name="connsiteY1" fmla="*/ 33868 h 33868"/>
                <a:gd name="connsiteX2" fmla="*/ 0 w 126065"/>
                <a:gd name="connsiteY2" fmla="*/ 16934 h 33868"/>
                <a:gd name="connsiteX3" fmla="*/ 16934 w 126065"/>
                <a:gd name="connsiteY3" fmla="*/ 0 h 33868"/>
                <a:gd name="connsiteX4" fmla="*/ 109131 w 126065"/>
                <a:gd name="connsiteY4" fmla="*/ 0 h 33868"/>
                <a:gd name="connsiteX5" fmla="*/ 126065 w 126065"/>
                <a:gd name="connsiteY5" fmla="*/ 16934 h 33868"/>
                <a:gd name="connsiteX6" fmla="*/ 109131 w 126065"/>
                <a:gd name="connsiteY6" fmla="*/ 33868 h 33868"/>
                <a:gd name="connsiteX7" fmla="*/ 109131 w 126065"/>
                <a:gd name="connsiteY7" fmla="*/ 33868 h 33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6065" h="33868">
                  <a:moveTo>
                    <a:pt x="109131" y="33868"/>
                  </a:moveTo>
                  <a:lnTo>
                    <a:pt x="16934" y="33868"/>
                  </a:lnTo>
                  <a:cubicBezTo>
                    <a:pt x="7526" y="33868"/>
                    <a:pt x="0" y="26342"/>
                    <a:pt x="0" y="16934"/>
                  </a:cubicBezTo>
                  <a:cubicBezTo>
                    <a:pt x="0" y="7526"/>
                    <a:pt x="7526" y="0"/>
                    <a:pt x="16934" y="0"/>
                  </a:cubicBezTo>
                  <a:lnTo>
                    <a:pt x="109131" y="0"/>
                  </a:lnTo>
                  <a:cubicBezTo>
                    <a:pt x="118539" y="0"/>
                    <a:pt x="126065" y="7526"/>
                    <a:pt x="126065" y="16934"/>
                  </a:cubicBezTo>
                  <a:cubicBezTo>
                    <a:pt x="126065" y="26342"/>
                    <a:pt x="117912" y="33868"/>
                    <a:pt x="109131" y="33868"/>
                  </a:cubicBezTo>
                  <a:lnTo>
                    <a:pt x="109131" y="33868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99" name="Forma Livre: Forma 298">
              <a:extLst>
                <a:ext uri="{FF2B5EF4-FFF2-40B4-BE49-F238E27FC236}">
                  <a16:creationId xmlns:a16="http://schemas.microsoft.com/office/drawing/2014/main" id="{96DAD9CB-8E4F-495B-801B-1EFEAA757EC1}"/>
                </a:ext>
              </a:extLst>
            </p:cNvPr>
            <p:cNvSpPr/>
            <p:nvPr/>
          </p:nvSpPr>
          <p:spPr>
            <a:xfrm>
              <a:off x="4350118" y="1577678"/>
              <a:ext cx="413945" cy="276591"/>
            </a:xfrm>
            <a:custGeom>
              <a:avLst/>
              <a:gdLst>
                <a:gd name="connsiteX0" fmla="*/ 326139 w 413945"/>
                <a:gd name="connsiteY0" fmla="*/ 276591 h 276591"/>
                <a:gd name="connsiteX1" fmla="*/ 307324 w 413945"/>
                <a:gd name="connsiteY1" fmla="*/ 276591 h 276591"/>
                <a:gd name="connsiteX2" fmla="*/ 307324 w 413945"/>
                <a:gd name="connsiteY2" fmla="*/ 243350 h 276591"/>
                <a:gd name="connsiteX3" fmla="*/ 326139 w 413945"/>
                <a:gd name="connsiteY3" fmla="*/ 243350 h 276591"/>
                <a:gd name="connsiteX4" fmla="*/ 359380 w 413945"/>
                <a:gd name="connsiteY4" fmla="*/ 228297 h 276591"/>
                <a:gd name="connsiteX5" fmla="*/ 380705 w 413945"/>
                <a:gd name="connsiteY5" fmla="*/ 181258 h 276591"/>
                <a:gd name="connsiteX6" fmla="*/ 318613 w 413945"/>
                <a:gd name="connsiteY6" fmla="*/ 119793 h 276591"/>
                <a:gd name="connsiteX7" fmla="*/ 299797 w 413945"/>
                <a:gd name="connsiteY7" fmla="*/ 122929 h 276591"/>
                <a:gd name="connsiteX8" fmla="*/ 285372 w 413945"/>
                <a:gd name="connsiteY8" fmla="*/ 121048 h 276591"/>
                <a:gd name="connsiteX9" fmla="*/ 277845 w 413945"/>
                <a:gd name="connsiteY9" fmla="*/ 108504 h 276591"/>
                <a:gd name="connsiteX10" fmla="*/ 195057 w 413945"/>
                <a:gd name="connsiteY10" fmla="*/ 33241 h 276591"/>
                <a:gd name="connsiteX11" fmla="*/ 111640 w 413945"/>
                <a:gd name="connsiteY11" fmla="*/ 116657 h 276591"/>
                <a:gd name="connsiteX12" fmla="*/ 113522 w 413945"/>
                <a:gd name="connsiteY12" fmla="*/ 132964 h 276591"/>
                <a:gd name="connsiteX13" fmla="*/ 110386 w 413945"/>
                <a:gd name="connsiteY13" fmla="*/ 146763 h 276591"/>
                <a:gd name="connsiteX14" fmla="*/ 97215 w 413945"/>
                <a:gd name="connsiteY14" fmla="*/ 153035 h 276591"/>
                <a:gd name="connsiteX15" fmla="*/ 78399 w 413945"/>
                <a:gd name="connsiteY15" fmla="*/ 153035 h 276591"/>
                <a:gd name="connsiteX16" fmla="*/ 33241 w 413945"/>
                <a:gd name="connsiteY16" fmla="*/ 198192 h 276591"/>
                <a:gd name="connsiteX17" fmla="*/ 78399 w 413945"/>
                <a:gd name="connsiteY17" fmla="*/ 243350 h 276591"/>
                <a:gd name="connsiteX18" fmla="*/ 116658 w 413945"/>
                <a:gd name="connsiteY18" fmla="*/ 243350 h 276591"/>
                <a:gd name="connsiteX19" fmla="*/ 116658 w 413945"/>
                <a:gd name="connsiteY19" fmla="*/ 276591 h 276591"/>
                <a:gd name="connsiteX20" fmla="*/ 78399 w 413945"/>
                <a:gd name="connsiteY20" fmla="*/ 276591 h 276591"/>
                <a:gd name="connsiteX21" fmla="*/ 0 w 413945"/>
                <a:gd name="connsiteY21" fmla="*/ 198192 h 276591"/>
                <a:gd name="connsiteX22" fmla="*/ 78399 w 413945"/>
                <a:gd name="connsiteY22" fmla="*/ 119793 h 276591"/>
                <a:gd name="connsiteX23" fmla="*/ 78399 w 413945"/>
                <a:gd name="connsiteY23" fmla="*/ 119793 h 276591"/>
                <a:gd name="connsiteX24" fmla="*/ 78399 w 413945"/>
                <a:gd name="connsiteY24" fmla="*/ 116657 h 276591"/>
                <a:gd name="connsiteX25" fmla="*/ 195057 w 413945"/>
                <a:gd name="connsiteY25" fmla="*/ 0 h 276591"/>
                <a:gd name="connsiteX26" fmla="*/ 307951 w 413945"/>
                <a:gd name="connsiteY26" fmla="*/ 86552 h 276591"/>
                <a:gd name="connsiteX27" fmla="*/ 318613 w 413945"/>
                <a:gd name="connsiteY27" fmla="*/ 85925 h 276591"/>
                <a:gd name="connsiteX28" fmla="*/ 413946 w 413945"/>
                <a:gd name="connsiteY28" fmla="*/ 181258 h 276591"/>
                <a:gd name="connsiteX29" fmla="*/ 382586 w 413945"/>
                <a:gd name="connsiteY29" fmla="*/ 251503 h 276591"/>
                <a:gd name="connsiteX30" fmla="*/ 326139 w 413945"/>
                <a:gd name="connsiteY30" fmla="*/ 276591 h 276591"/>
                <a:gd name="connsiteX31" fmla="*/ 326139 w 413945"/>
                <a:gd name="connsiteY31" fmla="*/ 276591 h 276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13945" h="276591">
                  <a:moveTo>
                    <a:pt x="326139" y="276591"/>
                  </a:moveTo>
                  <a:lnTo>
                    <a:pt x="307324" y="276591"/>
                  </a:lnTo>
                  <a:lnTo>
                    <a:pt x="307324" y="243350"/>
                  </a:lnTo>
                  <a:lnTo>
                    <a:pt x="326139" y="243350"/>
                  </a:lnTo>
                  <a:cubicBezTo>
                    <a:pt x="338683" y="243350"/>
                    <a:pt x="350600" y="238332"/>
                    <a:pt x="359380" y="228297"/>
                  </a:cubicBezTo>
                  <a:cubicBezTo>
                    <a:pt x="373806" y="215126"/>
                    <a:pt x="380705" y="198819"/>
                    <a:pt x="380705" y="181258"/>
                  </a:cubicBezTo>
                  <a:cubicBezTo>
                    <a:pt x="380705" y="147390"/>
                    <a:pt x="353108" y="119793"/>
                    <a:pt x="318613" y="119793"/>
                  </a:cubicBezTo>
                  <a:cubicBezTo>
                    <a:pt x="312341" y="119793"/>
                    <a:pt x="306069" y="121048"/>
                    <a:pt x="299797" y="122929"/>
                  </a:cubicBezTo>
                  <a:cubicBezTo>
                    <a:pt x="294780" y="124811"/>
                    <a:pt x="289762" y="123557"/>
                    <a:pt x="285372" y="121048"/>
                  </a:cubicBezTo>
                  <a:cubicBezTo>
                    <a:pt x="280981" y="118539"/>
                    <a:pt x="278473" y="113521"/>
                    <a:pt x="277845" y="108504"/>
                  </a:cubicBezTo>
                  <a:cubicBezTo>
                    <a:pt x="273455" y="65855"/>
                    <a:pt x="237705" y="33241"/>
                    <a:pt x="195057" y="33241"/>
                  </a:cubicBezTo>
                  <a:cubicBezTo>
                    <a:pt x="149272" y="33241"/>
                    <a:pt x="111640" y="70872"/>
                    <a:pt x="111640" y="116657"/>
                  </a:cubicBezTo>
                  <a:cubicBezTo>
                    <a:pt x="111640" y="122302"/>
                    <a:pt x="112267" y="127320"/>
                    <a:pt x="113522" y="132964"/>
                  </a:cubicBezTo>
                  <a:cubicBezTo>
                    <a:pt x="114776" y="137982"/>
                    <a:pt x="113522" y="142999"/>
                    <a:pt x="110386" y="146763"/>
                  </a:cubicBezTo>
                  <a:cubicBezTo>
                    <a:pt x="107250" y="150526"/>
                    <a:pt x="102232" y="153035"/>
                    <a:pt x="97215" y="153035"/>
                  </a:cubicBezTo>
                  <a:lnTo>
                    <a:pt x="78399" y="153035"/>
                  </a:lnTo>
                  <a:cubicBezTo>
                    <a:pt x="53311" y="153035"/>
                    <a:pt x="33241" y="173105"/>
                    <a:pt x="33241" y="198192"/>
                  </a:cubicBezTo>
                  <a:cubicBezTo>
                    <a:pt x="33241" y="223280"/>
                    <a:pt x="53311" y="243350"/>
                    <a:pt x="78399" y="243350"/>
                  </a:cubicBezTo>
                  <a:lnTo>
                    <a:pt x="116658" y="243350"/>
                  </a:lnTo>
                  <a:lnTo>
                    <a:pt x="116658" y="276591"/>
                  </a:lnTo>
                  <a:lnTo>
                    <a:pt x="78399" y="276591"/>
                  </a:lnTo>
                  <a:cubicBezTo>
                    <a:pt x="35123" y="276591"/>
                    <a:pt x="0" y="241468"/>
                    <a:pt x="0" y="198192"/>
                  </a:cubicBezTo>
                  <a:cubicBezTo>
                    <a:pt x="0" y="154916"/>
                    <a:pt x="35123" y="119793"/>
                    <a:pt x="78399" y="119793"/>
                  </a:cubicBezTo>
                  <a:lnTo>
                    <a:pt x="78399" y="119793"/>
                  </a:lnTo>
                  <a:cubicBezTo>
                    <a:pt x="78399" y="118539"/>
                    <a:pt x="78399" y="117912"/>
                    <a:pt x="78399" y="116657"/>
                  </a:cubicBezTo>
                  <a:cubicBezTo>
                    <a:pt x="78399" y="52057"/>
                    <a:pt x="130456" y="0"/>
                    <a:pt x="195057" y="0"/>
                  </a:cubicBezTo>
                  <a:cubicBezTo>
                    <a:pt x="248995" y="0"/>
                    <a:pt x="294780" y="36377"/>
                    <a:pt x="307951" y="86552"/>
                  </a:cubicBezTo>
                  <a:cubicBezTo>
                    <a:pt x="311714" y="85925"/>
                    <a:pt x="314850" y="85925"/>
                    <a:pt x="318613" y="85925"/>
                  </a:cubicBezTo>
                  <a:cubicBezTo>
                    <a:pt x="371297" y="85925"/>
                    <a:pt x="413946" y="128574"/>
                    <a:pt x="413946" y="181258"/>
                  </a:cubicBezTo>
                  <a:cubicBezTo>
                    <a:pt x="413946" y="207600"/>
                    <a:pt x="402657" y="233315"/>
                    <a:pt x="382586" y="251503"/>
                  </a:cubicBezTo>
                  <a:cubicBezTo>
                    <a:pt x="369416" y="267183"/>
                    <a:pt x="348091" y="276591"/>
                    <a:pt x="326139" y="276591"/>
                  </a:cubicBezTo>
                  <a:lnTo>
                    <a:pt x="326139" y="276591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00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8440657" y="537169"/>
            <a:ext cx="395130" cy="388231"/>
            <a:chOff x="8440657" y="537169"/>
            <a:chExt cx="395130" cy="388231"/>
          </a:xfrm>
          <a:solidFill>
            <a:srgbClr val="B1B1A1"/>
          </a:solidFill>
        </p:grpSpPr>
        <p:sp>
          <p:nvSpPr>
            <p:cNvPr id="301" name="Forma Livre: Forma 300">
              <a:extLst>
                <a:ext uri="{FF2B5EF4-FFF2-40B4-BE49-F238E27FC236}">
                  <a16:creationId xmlns:a16="http://schemas.microsoft.com/office/drawing/2014/main" id="{4986BC1C-3D2E-4836-A3B1-EEC52B7406C2}"/>
                </a:ext>
              </a:extLst>
            </p:cNvPr>
            <p:cNvSpPr/>
            <p:nvPr/>
          </p:nvSpPr>
          <p:spPr>
            <a:xfrm>
              <a:off x="8440657" y="537169"/>
              <a:ext cx="395130" cy="388231"/>
            </a:xfrm>
            <a:custGeom>
              <a:avLst/>
              <a:gdLst>
                <a:gd name="connsiteX0" fmla="*/ 378196 w 395130"/>
                <a:gd name="connsiteY0" fmla="*/ 388231 h 388231"/>
                <a:gd name="connsiteX1" fmla="*/ 16934 w 395130"/>
                <a:gd name="connsiteY1" fmla="*/ 388231 h 388231"/>
                <a:gd name="connsiteX2" fmla="*/ 0 w 395130"/>
                <a:gd name="connsiteY2" fmla="*/ 371297 h 388231"/>
                <a:gd name="connsiteX3" fmla="*/ 0 w 395130"/>
                <a:gd name="connsiteY3" fmla="*/ 16934 h 388231"/>
                <a:gd name="connsiteX4" fmla="*/ 16934 w 395130"/>
                <a:gd name="connsiteY4" fmla="*/ 0 h 388231"/>
                <a:gd name="connsiteX5" fmla="*/ 378196 w 395130"/>
                <a:gd name="connsiteY5" fmla="*/ 0 h 388231"/>
                <a:gd name="connsiteX6" fmla="*/ 395130 w 395130"/>
                <a:gd name="connsiteY6" fmla="*/ 16934 h 388231"/>
                <a:gd name="connsiteX7" fmla="*/ 395130 w 395130"/>
                <a:gd name="connsiteY7" fmla="*/ 371924 h 388231"/>
                <a:gd name="connsiteX8" fmla="*/ 378196 w 395130"/>
                <a:gd name="connsiteY8" fmla="*/ 388231 h 388231"/>
                <a:gd name="connsiteX9" fmla="*/ 378196 w 395130"/>
                <a:gd name="connsiteY9" fmla="*/ 388231 h 388231"/>
                <a:gd name="connsiteX10" fmla="*/ 33868 w 395130"/>
                <a:gd name="connsiteY10" fmla="*/ 354990 h 388231"/>
                <a:gd name="connsiteX11" fmla="*/ 361889 w 395130"/>
                <a:gd name="connsiteY11" fmla="*/ 354990 h 388231"/>
                <a:gd name="connsiteX12" fmla="*/ 361889 w 395130"/>
                <a:gd name="connsiteY12" fmla="*/ 33241 h 388231"/>
                <a:gd name="connsiteX13" fmla="*/ 33868 w 395130"/>
                <a:gd name="connsiteY13" fmla="*/ 33241 h 388231"/>
                <a:gd name="connsiteX14" fmla="*/ 33868 w 395130"/>
                <a:gd name="connsiteY14" fmla="*/ 354990 h 388231"/>
                <a:gd name="connsiteX15" fmla="*/ 33868 w 395130"/>
                <a:gd name="connsiteY15" fmla="*/ 354990 h 388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95130" h="388231">
                  <a:moveTo>
                    <a:pt x="378196" y="388231"/>
                  </a:moveTo>
                  <a:lnTo>
                    <a:pt x="16934" y="388231"/>
                  </a:lnTo>
                  <a:cubicBezTo>
                    <a:pt x="7526" y="388231"/>
                    <a:pt x="0" y="380705"/>
                    <a:pt x="0" y="371297"/>
                  </a:cubicBezTo>
                  <a:lnTo>
                    <a:pt x="0" y="16934"/>
                  </a:lnTo>
                  <a:cubicBezTo>
                    <a:pt x="0" y="7526"/>
                    <a:pt x="7526" y="0"/>
                    <a:pt x="16934" y="0"/>
                  </a:cubicBezTo>
                  <a:lnTo>
                    <a:pt x="378196" y="0"/>
                  </a:lnTo>
                  <a:cubicBezTo>
                    <a:pt x="387604" y="0"/>
                    <a:pt x="395130" y="7526"/>
                    <a:pt x="395130" y="16934"/>
                  </a:cubicBezTo>
                  <a:lnTo>
                    <a:pt x="395130" y="371924"/>
                  </a:lnTo>
                  <a:cubicBezTo>
                    <a:pt x="395130" y="380705"/>
                    <a:pt x="387604" y="388231"/>
                    <a:pt x="378196" y="388231"/>
                  </a:cubicBezTo>
                  <a:lnTo>
                    <a:pt x="378196" y="388231"/>
                  </a:lnTo>
                  <a:close/>
                  <a:moveTo>
                    <a:pt x="33868" y="354990"/>
                  </a:moveTo>
                  <a:lnTo>
                    <a:pt x="361889" y="354990"/>
                  </a:lnTo>
                  <a:lnTo>
                    <a:pt x="361889" y="33241"/>
                  </a:lnTo>
                  <a:lnTo>
                    <a:pt x="33868" y="33241"/>
                  </a:lnTo>
                  <a:lnTo>
                    <a:pt x="33868" y="354990"/>
                  </a:lnTo>
                  <a:lnTo>
                    <a:pt x="33868" y="354990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02" name="Forma Livre: Forma 301">
              <a:extLst>
                <a:ext uri="{FF2B5EF4-FFF2-40B4-BE49-F238E27FC236}">
                  <a16:creationId xmlns:a16="http://schemas.microsoft.com/office/drawing/2014/main" id="{924A93B7-46A1-4879-B664-E9EAB75F300F}"/>
                </a:ext>
              </a:extLst>
            </p:cNvPr>
            <p:cNvSpPr/>
            <p:nvPr/>
          </p:nvSpPr>
          <p:spPr>
            <a:xfrm>
              <a:off x="8503376" y="599888"/>
              <a:ext cx="269760" cy="209481"/>
            </a:xfrm>
            <a:custGeom>
              <a:avLst/>
              <a:gdLst>
                <a:gd name="connsiteX0" fmla="*/ 261538 w 269760"/>
                <a:gd name="connsiteY0" fmla="*/ 209482 h 209481"/>
                <a:gd name="connsiteX1" fmla="*/ 8154 w 269760"/>
                <a:gd name="connsiteY1" fmla="*/ 209482 h 209481"/>
                <a:gd name="connsiteX2" fmla="*/ 0 w 269760"/>
                <a:gd name="connsiteY2" fmla="*/ 201328 h 209481"/>
                <a:gd name="connsiteX3" fmla="*/ 0 w 269760"/>
                <a:gd name="connsiteY3" fmla="*/ 8153 h 209481"/>
                <a:gd name="connsiteX4" fmla="*/ 8154 w 269760"/>
                <a:gd name="connsiteY4" fmla="*/ 0 h 209481"/>
                <a:gd name="connsiteX5" fmla="*/ 261538 w 269760"/>
                <a:gd name="connsiteY5" fmla="*/ 0 h 209481"/>
                <a:gd name="connsiteX6" fmla="*/ 269692 w 269760"/>
                <a:gd name="connsiteY6" fmla="*/ 8153 h 209481"/>
                <a:gd name="connsiteX7" fmla="*/ 269692 w 269760"/>
                <a:gd name="connsiteY7" fmla="*/ 201328 h 209481"/>
                <a:gd name="connsiteX8" fmla="*/ 261538 w 269760"/>
                <a:gd name="connsiteY8" fmla="*/ 209482 h 209481"/>
                <a:gd name="connsiteX9" fmla="*/ 261538 w 269760"/>
                <a:gd name="connsiteY9" fmla="*/ 209482 h 209481"/>
                <a:gd name="connsiteX10" fmla="*/ 16307 w 269760"/>
                <a:gd name="connsiteY10" fmla="*/ 193175 h 209481"/>
                <a:gd name="connsiteX11" fmla="*/ 253385 w 269760"/>
                <a:gd name="connsiteY11" fmla="*/ 193175 h 209481"/>
                <a:gd name="connsiteX12" fmla="*/ 253385 w 269760"/>
                <a:gd name="connsiteY12" fmla="*/ 16307 h 209481"/>
                <a:gd name="connsiteX13" fmla="*/ 16307 w 269760"/>
                <a:gd name="connsiteY13" fmla="*/ 16307 h 209481"/>
                <a:gd name="connsiteX14" fmla="*/ 16307 w 269760"/>
                <a:gd name="connsiteY14" fmla="*/ 193175 h 209481"/>
                <a:gd name="connsiteX15" fmla="*/ 16307 w 269760"/>
                <a:gd name="connsiteY15" fmla="*/ 193175 h 209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9760" h="209481">
                  <a:moveTo>
                    <a:pt x="261538" y="209482"/>
                  </a:moveTo>
                  <a:lnTo>
                    <a:pt x="8154" y="209482"/>
                  </a:lnTo>
                  <a:cubicBezTo>
                    <a:pt x="3763" y="209482"/>
                    <a:pt x="0" y="205719"/>
                    <a:pt x="0" y="201328"/>
                  </a:cubicBezTo>
                  <a:lnTo>
                    <a:pt x="0" y="8153"/>
                  </a:lnTo>
                  <a:cubicBezTo>
                    <a:pt x="0" y="3763"/>
                    <a:pt x="3763" y="0"/>
                    <a:pt x="8154" y="0"/>
                  </a:cubicBezTo>
                  <a:lnTo>
                    <a:pt x="261538" y="0"/>
                  </a:lnTo>
                  <a:cubicBezTo>
                    <a:pt x="265929" y="0"/>
                    <a:pt x="269692" y="3763"/>
                    <a:pt x="269692" y="8153"/>
                  </a:cubicBezTo>
                  <a:lnTo>
                    <a:pt x="269692" y="201328"/>
                  </a:lnTo>
                  <a:cubicBezTo>
                    <a:pt x="270319" y="205719"/>
                    <a:pt x="266556" y="209482"/>
                    <a:pt x="261538" y="209482"/>
                  </a:cubicBezTo>
                  <a:lnTo>
                    <a:pt x="261538" y="209482"/>
                  </a:lnTo>
                  <a:close/>
                  <a:moveTo>
                    <a:pt x="16307" y="193175"/>
                  </a:moveTo>
                  <a:lnTo>
                    <a:pt x="253385" y="193175"/>
                  </a:lnTo>
                  <a:lnTo>
                    <a:pt x="253385" y="16307"/>
                  </a:lnTo>
                  <a:lnTo>
                    <a:pt x="16307" y="16307"/>
                  </a:lnTo>
                  <a:lnTo>
                    <a:pt x="16307" y="193175"/>
                  </a:lnTo>
                  <a:lnTo>
                    <a:pt x="16307" y="193175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03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9447925" y="529015"/>
            <a:ext cx="414572" cy="405165"/>
            <a:chOff x="9447925" y="529015"/>
            <a:chExt cx="414572" cy="405165"/>
          </a:xfrm>
          <a:solidFill>
            <a:srgbClr val="B1B1A1"/>
          </a:solidFill>
        </p:grpSpPr>
        <p:sp>
          <p:nvSpPr>
            <p:cNvPr id="304" name="Forma Livre: Forma 303">
              <a:extLst>
                <a:ext uri="{FF2B5EF4-FFF2-40B4-BE49-F238E27FC236}">
                  <a16:creationId xmlns:a16="http://schemas.microsoft.com/office/drawing/2014/main" id="{FB248F52-420C-4281-BF23-4C623729D63B}"/>
                </a:ext>
              </a:extLst>
            </p:cNvPr>
            <p:cNvSpPr/>
            <p:nvPr/>
          </p:nvSpPr>
          <p:spPr>
            <a:xfrm>
              <a:off x="9447925" y="623094"/>
              <a:ext cx="316104" cy="311086"/>
            </a:xfrm>
            <a:custGeom>
              <a:avLst/>
              <a:gdLst>
                <a:gd name="connsiteX0" fmla="*/ 299170 w 316104"/>
                <a:gd name="connsiteY0" fmla="*/ 311087 h 311086"/>
                <a:gd name="connsiteX1" fmla="*/ 16935 w 316104"/>
                <a:gd name="connsiteY1" fmla="*/ 311087 h 311086"/>
                <a:gd name="connsiteX2" fmla="*/ 0 w 316104"/>
                <a:gd name="connsiteY2" fmla="*/ 294152 h 311086"/>
                <a:gd name="connsiteX3" fmla="*/ 0 w 316104"/>
                <a:gd name="connsiteY3" fmla="*/ 16934 h 311086"/>
                <a:gd name="connsiteX4" fmla="*/ 16935 w 316104"/>
                <a:gd name="connsiteY4" fmla="*/ 0 h 311086"/>
                <a:gd name="connsiteX5" fmla="*/ 299170 w 316104"/>
                <a:gd name="connsiteY5" fmla="*/ 0 h 311086"/>
                <a:gd name="connsiteX6" fmla="*/ 316104 w 316104"/>
                <a:gd name="connsiteY6" fmla="*/ 16934 h 311086"/>
                <a:gd name="connsiteX7" fmla="*/ 316104 w 316104"/>
                <a:gd name="connsiteY7" fmla="*/ 294152 h 311086"/>
                <a:gd name="connsiteX8" fmla="*/ 299170 w 316104"/>
                <a:gd name="connsiteY8" fmla="*/ 311087 h 311086"/>
                <a:gd name="connsiteX9" fmla="*/ 299170 w 316104"/>
                <a:gd name="connsiteY9" fmla="*/ 311087 h 311086"/>
                <a:gd name="connsiteX10" fmla="*/ 33868 w 316104"/>
                <a:gd name="connsiteY10" fmla="*/ 277846 h 311086"/>
                <a:gd name="connsiteX11" fmla="*/ 282863 w 316104"/>
                <a:gd name="connsiteY11" fmla="*/ 277846 h 311086"/>
                <a:gd name="connsiteX12" fmla="*/ 282863 w 316104"/>
                <a:gd name="connsiteY12" fmla="*/ 33868 h 311086"/>
                <a:gd name="connsiteX13" fmla="*/ 33868 w 316104"/>
                <a:gd name="connsiteY13" fmla="*/ 33868 h 311086"/>
                <a:gd name="connsiteX14" fmla="*/ 33868 w 316104"/>
                <a:gd name="connsiteY14" fmla="*/ 277846 h 311086"/>
                <a:gd name="connsiteX15" fmla="*/ 33868 w 316104"/>
                <a:gd name="connsiteY15" fmla="*/ 277846 h 311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16104" h="311086">
                  <a:moveTo>
                    <a:pt x="299170" y="311087"/>
                  </a:moveTo>
                  <a:lnTo>
                    <a:pt x="16935" y="311087"/>
                  </a:lnTo>
                  <a:cubicBezTo>
                    <a:pt x="7527" y="311087"/>
                    <a:pt x="0" y="303560"/>
                    <a:pt x="0" y="294152"/>
                  </a:cubicBezTo>
                  <a:lnTo>
                    <a:pt x="0" y="16934"/>
                  </a:lnTo>
                  <a:cubicBezTo>
                    <a:pt x="0" y="7526"/>
                    <a:pt x="7527" y="0"/>
                    <a:pt x="16935" y="0"/>
                  </a:cubicBezTo>
                  <a:lnTo>
                    <a:pt x="299170" y="0"/>
                  </a:lnTo>
                  <a:cubicBezTo>
                    <a:pt x="308578" y="0"/>
                    <a:pt x="316104" y="7526"/>
                    <a:pt x="316104" y="16934"/>
                  </a:cubicBezTo>
                  <a:lnTo>
                    <a:pt x="316104" y="294152"/>
                  </a:lnTo>
                  <a:cubicBezTo>
                    <a:pt x="315477" y="303560"/>
                    <a:pt x="308578" y="311087"/>
                    <a:pt x="299170" y="311087"/>
                  </a:cubicBezTo>
                  <a:lnTo>
                    <a:pt x="299170" y="311087"/>
                  </a:lnTo>
                  <a:close/>
                  <a:moveTo>
                    <a:pt x="33868" y="277846"/>
                  </a:moveTo>
                  <a:lnTo>
                    <a:pt x="282863" y="277846"/>
                  </a:lnTo>
                  <a:lnTo>
                    <a:pt x="282863" y="33868"/>
                  </a:lnTo>
                  <a:lnTo>
                    <a:pt x="33868" y="33868"/>
                  </a:lnTo>
                  <a:lnTo>
                    <a:pt x="33868" y="277846"/>
                  </a:lnTo>
                  <a:lnTo>
                    <a:pt x="33868" y="277846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05" name="Forma Livre: Forma 304">
              <a:extLst>
                <a:ext uri="{FF2B5EF4-FFF2-40B4-BE49-F238E27FC236}">
                  <a16:creationId xmlns:a16="http://schemas.microsoft.com/office/drawing/2014/main" id="{9FDCDCF8-AD27-4E12-AB2D-99C758D98130}"/>
                </a:ext>
              </a:extLst>
            </p:cNvPr>
            <p:cNvSpPr/>
            <p:nvPr/>
          </p:nvSpPr>
          <p:spPr>
            <a:xfrm>
              <a:off x="9597197" y="579818"/>
              <a:ext cx="213940" cy="166832"/>
            </a:xfrm>
            <a:custGeom>
              <a:avLst/>
              <a:gdLst>
                <a:gd name="connsiteX0" fmla="*/ 205718 w 213940"/>
                <a:gd name="connsiteY0" fmla="*/ 166833 h 166832"/>
                <a:gd name="connsiteX1" fmla="*/ 149899 w 213940"/>
                <a:gd name="connsiteY1" fmla="*/ 166833 h 166832"/>
                <a:gd name="connsiteX2" fmla="*/ 141745 w 213940"/>
                <a:gd name="connsiteY2" fmla="*/ 158679 h 166832"/>
                <a:gd name="connsiteX3" fmla="*/ 149899 w 213940"/>
                <a:gd name="connsiteY3" fmla="*/ 150526 h 166832"/>
                <a:gd name="connsiteX4" fmla="*/ 197565 w 213940"/>
                <a:gd name="connsiteY4" fmla="*/ 150526 h 166832"/>
                <a:gd name="connsiteX5" fmla="*/ 197565 w 213940"/>
                <a:gd name="connsiteY5" fmla="*/ 16307 h 166832"/>
                <a:gd name="connsiteX6" fmla="*/ 16307 w 213940"/>
                <a:gd name="connsiteY6" fmla="*/ 16307 h 166832"/>
                <a:gd name="connsiteX7" fmla="*/ 16307 w 213940"/>
                <a:gd name="connsiteY7" fmla="*/ 60838 h 166832"/>
                <a:gd name="connsiteX8" fmla="*/ 8153 w 213940"/>
                <a:gd name="connsiteY8" fmla="*/ 68991 h 166832"/>
                <a:gd name="connsiteX9" fmla="*/ 0 w 213940"/>
                <a:gd name="connsiteY9" fmla="*/ 60838 h 166832"/>
                <a:gd name="connsiteX10" fmla="*/ 0 w 213940"/>
                <a:gd name="connsiteY10" fmla="*/ 8153 h 166832"/>
                <a:gd name="connsiteX11" fmla="*/ 8153 w 213940"/>
                <a:gd name="connsiteY11" fmla="*/ 0 h 166832"/>
                <a:gd name="connsiteX12" fmla="*/ 205718 w 213940"/>
                <a:gd name="connsiteY12" fmla="*/ 0 h 166832"/>
                <a:gd name="connsiteX13" fmla="*/ 213872 w 213940"/>
                <a:gd name="connsiteY13" fmla="*/ 8153 h 166832"/>
                <a:gd name="connsiteX14" fmla="*/ 213872 w 213940"/>
                <a:gd name="connsiteY14" fmla="*/ 159306 h 166832"/>
                <a:gd name="connsiteX15" fmla="*/ 205718 w 213940"/>
                <a:gd name="connsiteY15" fmla="*/ 166833 h 166832"/>
                <a:gd name="connsiteX16" fmla="*/ 205718 w 213940"/>
                <a:gd name="connsiteY16" fmla="*/ 166833 h 166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13940" h="166832">
                  <a:moveTo>
                    <a:pt x="205718" y="166833"/>
                  </a:moveTo>
                  <a:lnTo>
                    <a:pt x="149899" y="166833"/>
                  </a:lnTo>
                  <a:cubicBezTo>
                    <a:pt x="145508" y="166833"/>
                    <a:pt x="141745" y="163070"/>
                    <a:pt x="141745" y="158679"/>
                  </a:cubicBezTo>
                  <a:cubicBezTo>
                    <a:pt x="141745" y="154289"/>
                    <a:pt x="145508" y="150526"/>
                    <a:pt x="149899" y="150526"/>
                  </a:cubicBezTo>
                  <a:lnTo>
                    <a:pt x="197565" y="150526"/>
                  </a:lnTo>
                  <a:lnTo>
                    <a:pt x="197565" y="16307"/>
                  </a:lnTo>
                  <a:lnTo>
                    <a:pt x="16307" y="16307"/>
                  </a:lnTo>
                  <a:lnTo>
                    <a:pt x="16307" y="60838"/>
                  </a:lnTo>
                  <a:cubicBezTo>
                    <a:pt x="16307" y="65228"/>
                    <a:pt x="12544" y="68991"/>
                    <a:pt x="8153" y="68991"/>
                  </a:cubicBezTo>
                  <a:cubicBezTo>
                    <a:pt x="3763" y="68991"/>
                    <a:pt x="0" y="65228"/>
                    <a:pt x="0" y="60838"/>
                  </a:cubicBezTo>
                  <a:lnTo>
                    <a:pt x="0" y="8153"/>
                  </a:lnTo>
                  <a:cubicBezTo>
                    <a:pt x="0" y="3763"/>
                    <a:pt x="3763" y="0"/>
                    <a:pt x="8153" y="0"/>
                  </a:cubicBezTo>
                  <a:lnTo>
                    <a:pt x="205718" y="0"/>
                  </a:lnTo>
                  <a:cubicBezTo>
                    <a:pt x="210109" y="0"/>
                    <a:pt x="213872" y="3763"/>
                    <a:pt x="213872" y="8153"/>
                  </a:cubicBezTo>
                  <a:lnTo>
                    <a:pt x="213872" y="159306"/>
                  </a:lnTo>
                  <a:cubicBezTo>
                    <a:pt x="214499" y="163070"/>
                    <a:pt x="210736" y="166833"/>
                    <a:pt x="205718" y="166833"/>
                  </a:cubicBezTo>
                  <a:lnTo>
                    <a:pt x="205718" y="166833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06" name="Forma Livre: Forma 305">
              <a:extLst>
                <a:ext uri="{FF2B5EF4-FFF2-40B4-BE49-F238E27FC236}">
                  <a16:creationId xmlns:a16="http://schemas.microsoft.com/office/drawing/2014/main" id="{43DF4105-A0F9-409D-82DC-DFAB107BF732}"/>
                </a:ext>
              </a:extLst>
            </p:cNvPr>
            <p:cNvSpPr/>
            <p:nvPr/>
          </p:nvSpPr>
          <p:spPr>
            <a:xfrm>
              <a:off x="9546394" y="529015"/>
              <a:ext cx="316103" cy="310459"/>
            </a:xfrm>
            <a:custGeom>
              <a:avLst/>
              <a:gdLst>
                <a:gd name="connsiteX0" fmla="*/ 298543 w 316103"/>
                <a:gd name="connsiteY0" fmla="*/ 310459 h 310459"/>
                <a:gd name="connsiteX1" fmla="*/ 200701 w 316103"/>
                <a:gd name="connsiteY1" fmla="*/ 310459 h 310459"/>
                <a:gd name="connsiteX2" fmla="*/ 200701 w 316103"/>
                <a:gd name="connsiteY2" fmla="*/ 277218 h 310459"/>
                <a:gd name="connsiteX3" fmla="*/ 282236 w 316103"/>
                <a:gd name="connsiteY3" fmla="*/ 277218 h 310459"/>
                <a:gd name="connsiteX4" fmla="*/ 282236 w 316103"/>
                <a:gd name="connsiteY4" fmla="*/ 33241 h 310459"/>
                <a:gd name="connsiteX5" fmla="*/ 33241 w 316103"/>
                <a:gd name="connsiteY5" fmla="*/ 33241 h 310459"/>
                <a:gd name="connsiteX6" fmla="*/ 33241 w 316103"/>
                <a:gd name="connsiteY6" fmla="*/ 111013 h 310459"/>
                <a:gd name="connsiteX7" fmla="*/ 0 w 316103"/>
                <a:gd name="connsiteY7" fmla="*/ 111013 h 310459"/>
                <a:gd name="connsiteX8" fmla="*/ 0 w 316103"/>
                <a:gd name="connsiteY8" fmla="*/ 16934 h 310459"/>
                <a:gd name="connsiteX9" fmla="*/ 16934 w 316103"/>
                <a:gd name="connsiteY9" fmla="*/ 0 h 310459"/>
                <a:gd name="connsiteX10" fmla="*/ 299170 w 316103"/>
                <a:gd name="connsiteY10" fmla="*/ 0 h 310459"/>
                <a:gd name="connsiteX11" fmla="*/ 316104 w 316103"/>
                <a:gd name="connsiteY11" fmla="*/ 16934 h 310459"/>
                <a:gd name="connsiteX12" fmla="*/ 316104 w 316103"/>
                <a:gd name="connsiteY12" fmla="*/ 294152 h 310459"/>
                <a:gd name="connsiteX13" fmla="*/ 298543 w 316103"/>
                <a:gd name="connsiteY13" fmla="*/ 310459 h 310459"/>
                <a:gd name="connsiteX14" fmla="*/ 298543 w 316103"/>
                <a:gd name="connsiteY14" fmla="*/ 310459 h 310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16103" h="310459">
                  <a:moveTo>
                    <a:pt x="298543" y="310459"/>
                  </a:moveTo>
                  <a:lnTo>
                    <a:pt x="200701" y="310459"/>
                  </a:lnTo>
                  <a:lnTo>
                    <a:pt x="200701" y="277218"/>
                  </a:lnTo>
                  <a:lnTo>
                    <a:pt x="282236" y="277218"/>
                  </a:lnTo>
                  <a:lnTo>
                    <a:pt x="282236" y="33241"/>
                  </a:lnTo>
                  <a:lnTo>
                    <a:pt x="33241" y="33241"/>
                  </a:lnTo>
                  <a:lnTo>
                    <a:pt x="33241" y="111013"/>
                  </a:lnTo>
                  <a:lnTo>
                    <a:pt x="0" y="111013"/>
                  </a:lnTo>
                  <a:lnTo>
                    <a:pt x="0" y="16934"/>
                  </a:lnTo>
                  <a:cubicBezTo>
                    <a:pt x="0" y="7526"/>
                    <a:pt x="7526" y="0"/>
                    <a:pt x="16934" y="0"/>
                  </a:cubicBezTo>
                  <a:lnTo>
                    <a:pt x="299170" y="0"/>
                  </a:lnTo>
                  <a:cubicBezTo>
                    <a:pt x="308578" y="0"/>
                    <a:pt x="316104" y="7526"/>
                    <a:pt x="316104" y="16934"/>
                  </a:cubicBezTo>
                  <a:lnTo>
                    <a:pt x="316104" y="294152"/>
                  </a:lnTo>
                  <a:cubicBezTo>
                    <a:pt x="315477" y="302933"/>
                    <a:pt x="307951" y="310459"/>
                    <a:pt x="298543" y="310459"/>
                  </a:cubicBezTo>
                  <a:lnTo>
                    <a:pt x="298543" y="310459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07" name="Forma Livre: Forma 306">
              <a:extLst>
                <a:ext uri="{FF2B5EF4-FFF2-40B4-BE49-F238E27FC236}">
                  <a16:creationId xmlns:a16="http://schemas.microsoft.com/office/drawing/2014/main" id="{98878472-E40C-4EF5-B12A-0626917D7380}"/>
                </a:ext>
              </a:extLst>
            </p:cNvPr>
            <p:cNvSpPr/>
            <p:nvPr/>
          </p:nvSpPr>
          <p:spPr>
            <a:xfrm>
              <a:off x="9498727" y="673896"/>
              <a:ext cx="213941" cy="167459"/>
            </a:xfrm>
            <a:custGeom>
              <a:avLst/>
              <a:gdLst>
                <a:gd name="connsiteX0" fmla="*/ 206346 w 213941"/>
                <a:gd name="connsiteY0" fmla="*/ 167460 h 167459"/>
                <a:gd name="connsiteX1" fmla="*/ 8154 w 213941"/>
                <a:gd name="connsiteY1" fmla="*/ 167460 h 167459"/>
                <a:gd name="connsiteX2" fmla="*/ 0 w 213941"/>
                <a:gd name="connsiteY2" fmla="*/ 159306 h 167459"/>
                <a:gd name="connsiteX3" fmla="*/ 0 w 213941"/>
                <a:gd name="connsiteY3" fmla="*/ 8153 h 167459"/>
                <a:gd name="connsiteX4" fmla="*/ 8154 w 213941"/>
                <a:gd name="connsiteY4" fmla="*/ 0 h 167459"/>
                <a:gd name="connsiteX5" fmla="*/ 205719 w 213941"/>
                <a:gd name="connsiteY5" fmla="*/ 0 h 167459"/>
                <a:gd name="connsiteX6" fmla="*/ 213873 w 213941"/>
                <a:gd name="connsiteY6" fmla="*/ 8153 h 167459"/>
                <a:gd name="connsiteX7" fmla="*/ 213873 w 213941"/>
                <a:gd name="connsiteY7" fmla="*/ 159306 h 167459"/>
                <a:gd name="connsiteX8" fmla="*/ 206346 w 213941"/>
                <a:gd name="connsiteY8" fmla="*/ 167460 h 167459"/>
                <a:gd name="connsiteX9" fmla="*/ 206346 w 213941"/>
                <a:gd name="connsiteY9" fmla="*/ 167460 h 167459"/>
                <a:gd name="connsiteX10" fmla="*/ 16935 w 213941"/>
                <a:gd name="connsiteY10" fmla="*/ 151153 h 167459"/>
                <a:gd name="connsiteX11" fmla="*/ 198193 w 213941"/>
                <a:gd name="connsiteY11" fmla="*/ 151153 h 167459"/>
                <a:gd name="connsiteX12" fmla="*/ 198193 w 213941"/>
                <a:gd name="connsiteY12" fmla="*/ 16934 h 167459"/>
                <a:gd name="connsiteX13" fmla="*/ 16935 w 213941"/>
                <a:gd name="connsiteY13" fmla="*/ 16934 h 167459"/>
                <a:gd name="connsiteX14" fmla="*/ 16935 w 213941"/>
                <a:gd name="connsiteY14" fmla="*/ 151153 h 167459"/>
                <a:gd name="connsiteX15" fmla="*/ 16935 w 213941"/>
                <a:gd name="connsiteY15" fmla="*/ 151153 h 16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13941" h="167459">
                  <a:moveTo>
                    <a:pt x="206346" y="167460"/>
                  </a:moveTo>
                  <a:lnTo>
                    <a:pt x="8154" y="167460"/>
                  </a:lnTo>
                  <a:cubicBezTo>
                    <a:pt x="3764" y="167460"/>
                    <a:pt x="0" y="163697"/>
                    <a:pt x="0" y="159306"/>
                  </a:cubicBezTo>
                  <a:lnTo>
                    <a:pt x="0" y="8153"/>
                  </a:lnTo>
                  <a:cubicBezTo>
                    <a:pt x="0" y="3763"/>
                    <a:pt x="3764" y="0"/>
                    <a:pt x="8154" y="0"/>
                  </a:cubicBezTo>
                  <a:lnTo>
                    <a:pt x="205719" y="0"/>
                  </a:lnTo>
                  <a:cubicBezTo>
                    <a:pt x="210109" y="0"/>
                    <a:pt x="213873" y="3763"/>
                    <a:pt x="213873" y="8153"/>
                  </a:cubicBezTo>
                  <a:lnTo>
                    <a:pt x="213873" y="159306"/>
                  </a:lnTo>
                  <a:cubicBezTo>
                    <a:pt x="214500" y="163697"/>
                    <a:pt x="210737" y="167460"/>
                    <a:pt x="206346" y="167460"/>
                  </a:cubicBezTo>
                  <a:lnTo>
                    <a:pt x="206346" y="167460"/>
                  </a:lnTo>
                  <a:close/>
                  <a:moveTo>
                    <a:pt x="16935" y="151153"/>
                  </a:moveTo>
                  <a:lnTo>
                    <a:pt x="198193" y="151153"/>
                  </a:lnTo>
                  <a:lnTo>
                    <a:pt x="198193" y="16934"/>
                  </a:lnTo>
                  <a:lnTo>
                    <a:pt x="16935" y="16934"/>
                  </a:lnTo>
                  <a:lnTo>
                    <a:pt x="16935" y="151153"/>
                  </a:lnTo>
                  <a:lnTo>
                    <a:pt x="16935" y="151153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08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7432761" y="539050"/>
            <a:ext cx="368788" cy="393875"/>
            <a:chOff x="7432761" y="539050"/>
            <a:chExt cx="368788" cy="393875"/>
          </a:xfrm>
          <a:solidFill>
            <a:srgbClr val="B1B1A1"/>
          </a:solidFill>
        </p:grpSpPr>
        <p:sp>
          <p:nvSpPr>
            <p:cNvPr id="309" name="Forma Livre: Forma 308">
              <a:extLst>
                <a:ext uri="{FF2B5EF4-FFF2-40B4-BE49-F238E27FC236}">
                  <a16:creationId xmlns:a16="http://schemas.microsoft.com/office/drawing/2014/main" id="{356648BD-814A-4BC5-A588-7122E5893D49}"/>
                </a:ext>
              </a:extLst>
            </p:cNvPr>
            <p:cNvSpPr/>
            <p:nvPr/>
          </p:nvSpPr>
          <p:spPr>
            <a:xfrm>
              <a:off x="7432761" y="619958"/>
              <a:ext cx="368788" cy="312968"/>
            </a:xfrm>
            <a:custGeom>
              <a:avLst/>
              <a:gdLst>
                <a:gd name="connsiteX0" fmla="*/ 351854 w 368788"/>
                <a:gd name="connsiteY0" fmla="*/ 312968 h 312968"/>
                <a:gd name="connsiteX1" fmla="*/ 16934 w 368788"/>
                <a:gd name="connsiteY1" fmla="*/ 312968 h 312968"/>
                <a:gd name="connsiteX2" fmla="*/ 0 w 368788"/>
                <a:gd name="connsiteY2" fmla="*/ 296034 h 312968"/>
                <a:gd name="connsiteX3" fmla="*/ 0 w 368788"/>
                <a:gd name="connsiteY3" fmla="*/ 16934 h 312968"/>
                <a:gd name="connsiteX4" fmla="*/ 16934 w 368788"/>
                <a:gd name="connsiteY4" fmla="*/ 0 h 312968"/>
                <a:gd name="connsiteX5" fmla="*/ 351854 w 368788"/>
                <a:gd name="connsiteY5" fmla="*/ 0 h 312968"/>
                <a:gd name="connsiteX6" fmla="*/ 368788 w 368788"/>
                <a:gd name="connsiteY6" fmla="*/ 16934 h 312968"/>
                <a:gd name="connsiteX7" fmla="*/ 368788 w 368788"/>
                <a:gd name="connsiteY7" fmla="*/ 296034 h 312968"/>
                <a:gd name="connsiteX8" fmla="*/ 351854 w 368788"/>
                <a:gd name="connsiteY8" fmla="*/ 312968 h 312968"/>
                <a:gd name="connsiteX9" fmla="*/ 351854 w 368788"/>
                <a:gd name="connsiteY9" fmla="*/ 312968 h 312968"/>
                <a:gd name="connsiteX10" fmla="*/ 33868 w 368788"/>
                <a:gd name="connsiteY10" fmla="*/ 279100 h 312968"/>
                <a:gd name="connsiteX11" fmla="*/ 335547 w 368788"/>
                <a:gd name="connsiteY11" fmla="*/ 279100 h 312968"/>
                <a:gd name="connsiteX12" fmla="*/ 335547 w 368788"/>
                <a:gd name="connsiteY12" fmla="*/ 33868 h 312968"/>
                <a:gd name="connsiteX13" fmla="*/ 33868 w 368788"/>
                <a:gd name="connsiteY13" fmla="*/ 33868 h 312968"/>
                <a:gd name="connsiteX14" fmla="*/ 33868 w 368788"/>
                <a:gd name="connsiteY14" fmla="*/ 279100 h 312968"/>
                <a:gd name="connsiteX15" fmla="*/ 33868 w 368788"/>
                <a:gd name="connsiteY15" fmla="*/ 279100 h 312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68788" h="312968">
                  <a:moveTo>
                    <a:pt x="351854" y="312968"/>
                  </a:moveTo>
                  <a:lnTo>
                    <a:pt x="16934" y="312968"/>
                  </a:lnTo>
                  <a:cubicBezTo>
                    <a:pt x="7526" y="312968"/>
                    <a:pt x="0" y="305442"/>
                    <a:pt x="0" y="296034"/>
                  </a:cubicBezTo>
                  <a:lnTo>
                    <a:pt x="0" y="16934"/>
                  </a:lnTo>
                  <a:cubicBezTo>
                    <a:pt x="0" y="7526"/>
                    <a:pt x="7526" y="0"/>
                    <a:pt x="16934" y="0"/>
                  </a:cubicBezTo>
                  <a:lnTo>
                    <a:pt x="351854" y="0"/>
                  </a:lnTo>
                  <a:cubicBezTo>
                    <a:pt x="361262" y="0"/>
                    <a:pt x="368788" y="7526"/>
                    <a:pt x="368788" y="16934"/>
                  </a:cubicBezTo>
                  <a:lnTo>
                    <a:pt x="368788" y="296034"/>
                  </a:lnTo>
                  <a:cubicBezTo>
                    <a:pt x="368161" y="305442"/>
                    <a:pt x="361262" y="312968"/>
                    <a:pt x="351854" y="312968"/>
                  </a:cubicBezTo>
                  <a:lnTo>
                    <a:pt x="351854" y="312968"/>
                  </a:lnTo>
                  <a:close/>
                  <a:moveTo>
                    <a:pt x="33868" y="279100"/>
                  </a:moveTo>
                  <a:lnTo>
                    <a:pt x="335547" y="279100"/>
                  </a:lnTo>
                  <a:lnTo>
                    <a:pt x="335547" y="33868"/>
                  </a:lnTo>
                  <a:lnTo>
                    <a:pt x="33868" y="33868"/>
                  </a:lnTo>
                  <a:lnTo>
                    <a:pt x="33868" y="279100"/>
                  </a:lnTo>
                  <a:lnTo>
                    <a:pt x="33868" y="279100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10" name="Forma Livre: Forma 309">
              <a:extLst>
                <a:ext uri="{FF2B5EF4-FFF2-40B4-BE49-F238E27FC236}">
                  <a16:creationId xmlns:a16="http://schemas.microsoft.com/office/drawing/2014/main" id="{31A56B1B-C296-4783-A810-97BB59DA07E7}"/>
                </a:ext>
              </a:extLst>
            </p:cNvPr>
            <p:cNvSpPr/>
            <p:nvPr/>
          </p:nvSpPr>
          <p:spPr>
            <a:xfrm>
              <a:off x="7491717" y="678914"/>
              <a:ext cx="251503" cy="195683"/>
            </a:xfrm>
            <a:custGeom>
              <a:avLst/>
              <a:gdLst>
                <a:gd name="connsiteX0" fmla="*/ 242723 w 251503"/>
                <a:gd name="connsiteY0" fmla="*/ 195684 h 195683"/>
                <a:gd name="connsiteX1" fmla="*/ 8153 w 251503"/>
                <a:gd name="connsiteY1" fmla="*/ 195684 h 195683"/>
                <a:gd name="connsiteX2" fmla="*/ 0 w 251503"/>
                <a:gd name="connsiteY2" fmla="*/ 187530 h 195683"/>
                <a:gd name="connsiteX3" fmla="*/ 0 w 251503"/>
                <a:gd name="connsiteY3" fmla="*/ 8153 h 195683"/>
                <a:gd name="connsiteX4" fmla="*/ 8153 w 251503"/>
                <a:gd name="connsiteY4" fmla="*/ 0 h 195683"/>
                <a:gd name="connsiteX5" fmla="*/ 243350 w 251503"/>
                <a:gd name="connsiteY5" fmla="*/ 0 h 195683"/>
                <a:gd name="connsiteX6" fmla="*/ 251504 w 251503"/>
                <a:gd name="connsiteY6" fmla="*/ 8153 h 195683"/>
                <a:gd name="connsiteX7" fmla="*/ 251504 w 251503"/>
                <a:gd name="connsiteY7" fmla="*/ 187530 h 195683"/>
                <a:gd name="connsiteX8" fmla="*/ 242723 w 251503"/>
                <a:gd name="connsiteY8" fmla="*/ 195684 h 195683"/>
                <a:gd name="connsiteX9" fmla="*/ 242723 w 251503"/>
                <a:gd name="connsiteY9" fmla="*/ 195684 h 195683"/>
                <a:gd name="connsiteX10" fmla="*/ 16307 w 251503"/>
                <a:gd name="connsiteY10" fmla="*/ 178749 h 195683"/>
                <a:gd name="connsiteX11" fmla="*/ 234569 w 251503"/>
                <a:gd name="connsiteY11" fmla="*/ 178749 h 195683"/>
                <a:gd name="connsiteX12" fmla="*/ 234569 w 251503"/>
                <a:gd name="connsiteY12" fmla="*/ 16307 h 195683"/>
                <a:gd name="connsiteX13" fmla="*/ 16307 w 251503"/>
                <a:gd name="connsiteY13" fmla="*/ 16307 h 195683"/>
                <a:gd name="connsiteX14" fmla="*/ 16307 w 251503"/>
                <a:gd name="connsiteY14" fmla="*/ 178749 h 195683"/>
                <a:gd name="connsiteX15" fmla="*/ 16307 w 251503"/>
                <a:gd name="connsiteY15" fmla="*/ 178749 h 195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51503" h="195683">
                  <a:moveTo>
                    <a:pt x="242723" y="195684"/>
                  </a:moveTo>
                  <a:lnTo>
                    <a:pt x="8153" y="195684"/>
                  </a:lnTo>
                  <a:cubicBezTo>
                    <a:pt x="3763" y="195684"/>
                    <a:pt x="0" y="191920"/>
                    <a:pt x="0" y="187530"/>
                  </a:cubicBezTo>
                  <a:lnTo>
                    <a:pt x="0" y="8153"/>
                  </a:lnTo>
                  <a:cubicBezTo>
                    <a:pt x="0" y="3763"/>
                    <a:pt x="3763" y="0"/>
                    <a:pt x="8153" y="0"/>
                  </a:cubicBezTo>
                  <a:lnTo>
                    <a:pt x="243350" y="0"/>
                  </a:lnTo>
                  <a:cubicBezTo>
                    <a:pt x="247740" y="0"/>
                    <a:pt x="251504" y="3763"/>
                    <a:pt x="251504" y="8153"/>
                  </a:cubicBezTo>
                  <a:lnTo>
                    <a:pt x="251504" y="187530"/>
                  </a:lnTo>
                  <a:cubicBezTo>
                    <a:pt x="251504" y="191920"/>
                    <a:pt x="247740" y="195684"/>
                    <a:pt x="242723" y="195684"/>
                  </a:cubicBezTo>
                  <a:lnTo>
                    <a:pt x="242723" y="195684"/>
                  </a:lnTo>
                  <a:close/>
                  <a:moveTo>
                    <a:pt x="16307" y="178749"/>
                  </a:moveTo>
                  <a:lnTo>
                    <a:pt x="234569" y="178749"/>
                  </a:lnTo>
                  <a:lnTo>
                    <a:pt x="234569" y="16307"/>
                  </a:lnTo>
                  <a:lnTo>
                    <a:pt x="16307" y="16307"/>
                  </a:lnTo>
                  <a:lnTo>
                    <a:pt x="16307" y="178749"/>
                  </a:lnTo>
                  <a:lnTo>
                    <a:pt x="16307" y="178749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11" name="Forma Livre: Forma 310">
              <a:extLst>
                <a:ext uri="{FF2B5EF4-FFF2-40B4-BE49-F238E27FC236}">
                  <a16:creationId xmlns:a16="http://schemas.microsoft.com/office/drawing/2014/main" id="{C37FE464-7DED-4FCC-B8C1-DCA3992A5450}"/>
                </a:ext>
              </a:extLst>
            </p:cNvPr>
            <p:cNvSpPr/>
            <p:nvPr/>
          </p:nvSpPr>
          <p:spPr>
            <a:xfrm>
              <a:off x="7462866" y="577936"/>
              <a:ext cx="308578" cy="16306"/>
            </a:xfrm>
            <a:custGeom>
              <a:avLst/>
              <a:gdLst>
                <a:gd name="connsiteX0" fmla="*/ 300425 w 308578"/>
                <a:gd name="connsiteY0" fmla="*/ 16307 h 16306"/>
                <a:gd name="connsiteX1" fmla="*/ 8154 w 308578"/>
                <a:gd name="connsiteY1" fmla="*/ 16307 h 16306"/>
                <a:gd name="connsiteX2" fmla="*/ 0 w 308578"/>
                <a:gd name="connsiteY2" fmla="*/ 8153 h 16306"/>
                <a:gd name="connsiteX3" fmla="*/ 8154 w 308578"/>
                <a:gd name="connsiteY3" fmla="*/ 0 h 16306"/>
                <a:gd name="connsiteX4" fmla="*/ 300425 w 308578"/>
                <a:gd name="connsiteY4" fmla="*/ 0 h 16306"/>
                <a:gd name="connsiteX5" fmla="*/ 308578 w 308578"/>
                <a:gd name="connsiteY5" fmla="*/ 8153 h 16306"/>
                <a:gd name="connsiteX6" fmla="*/ 300425 w 308578"/>
                <a:gd name="connsiteY6" fmla="*/ 16307 h 16306"/>
                <a:gd name="connsiteX7" fmla="*/ 300425 w 308578"/>
                <a:gd name="connsiteY7" fmla="*/ 16307 h 1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8578" h="16306">
                  <a:moveTo>
                    <a:pt x="300425" y="16307"/>
                  </a:moveTo>
                  <a:lnTo>
                    <a:pt x="8154" y="16307"/>
                  </a:lnTo>
                  <a:cubicBezTo>
                    <a:pt x="3763" y="16307"/>
                    <a:pt x="0" y="12544"/>
                    <a:pt x="0" y="8153"/>
                  </a:cubicBezTo>
                  <a:cubicBezTo>
                    <a:pt x="0" y="3763"/>
                    <a:pt x="3763" y="0"/>
                    <a:pt x="8154" y="0"/>
                  </a:cubicBezTo>
                  <a:lnTo>
                    <a:pt x="300425" y="0"/>
                  </a:lnTo>
                  <a:cubicBezTo>
                    <a:pt x="304815" y="0"/>
                    <a:pt x="308578" y="3763"/>
                    <a:pt x="308578" y="8153"/>
                  </a:cubicBezTo>
                  <a:cubicBezTo>
                    <a:pt x="308578" y="12544"/>
                    <a:pt x="304815" y="16307"/>
                    <a:pt x="300425" y="16307"/>
                  </a:cubicBezTo>
                  <a:lnTo>
                    <a:pt x="300425" y="16307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12" name="Forma Livre: Forma 311">
              <a:extLst>
                <a:ext uri="{FF2B5EF4-FFF2-40B4-BE49-F238E27FC236}">
                  <a16:creationId xmlns:a16="http://schemas.microsoft.com/office/drawing/2014/main" id="{48DE2FE5-0E97-447C-94B6-83F3AC6BCEB1}"/>
                </a:ext>
              </a:extLst>
            </p:cNvPr>
            <p:cNvSpPr/>
            <p:nvPr/>
          </p:nvSpPr>
          <p:spPr>
            <a:xfrm>
              <a:off x="7496107" y="539050"/>
              <a:ext cx="242095" cy="16306"/>
            </a:xfrm>
            <a:custGeom>
              <a:avLst/>
              <a:gdLst>
                <a:gd name="connsiteX0" fmla="*/ 233942 w 242095"/>
                <a:gd name="connsiteY0" fmla="*/ 16307 h 16306"/>
                <a:gd name="connsiteX1" fmla="*/ 8153 w 242095"/>
                <a:gd name="connsiteY1" fmla="*/ 16307 h 16306"/>
                <a:gd name="connsiteX2" fmla="*/ 0 w 242095"/>
                <a:gd name="connsiteY2" fmla="*/ 8153 h 16306"/>
                <a:gd name="connsiteX3" fmla="*/ 8153 w 242095"/>
                <a:gd name="connsiteY3" fmla="*/ 0 h 16306"/>
                <a:gd name="connsiteX4" fmla="*/ 233942 w 242095"/>
                <a:gd name="connsiteY4" fmla="*/ 0 h 16306"/>
                <a:gd name="connsiteX5" fmla="*/ 242096 w 242095"/>
                <a:gd name="connsiteY5" fmla="*/ 8153 h 16306"/>
                <a:gd name="connsiteX6" fmla="*/ 233942 w 242095"/>
                <a:gd name="connsiteY6" fmla="*/ 16307 h 16306"/>
                <a:gd name="connsiteX7" fmla="*/ 233942 w 242095"/>
                <a:gd name="connsiteY7" fmla="*/ 16307 h 1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2095" h="16306">
                  <a:moveTo>
                    <a:pt x="233942" y="16307"/>
                  </a:moveTo>
                  <a:lnTo>
                    <a:pt x="8153" y="16307"/>
                  </a:lnTo>
                  <a:cubicBezTo>
                    <a:pt x="3763" y="16307"/>
                    <a:pt x="0" y="12544"/>
                    <a:pt x="0" y="8153"/>
                  </a:cubicBezTo>
                  <a:cubicBezTo>
                    <a:pt x="0" y="3763"/>
                    <a:pt x="3763" y="0"/>
                    <a:pt x="8153" y="0"/>
                  </a:cubicBezTo>
                  <a:lnTo>
                    <a:pt x="233942" y="0"/>
                  </a:lnTo>
                  <a:cubicBezTo>
                    <a:pt x="238333" y="0"/>
                    <a:pt x="242096" y="3763"/>
                    <a:pt x="242096" y="8153"/>
                  </a:cubicBezTo>
                  <a:cubicBezTo>
                    <a:pt x="242096" y="12544"/>
                    <a:pt x="238333" y="16307"/>
                    <a:pt x="233942" y="16307"/>
                  </a:cubicBezTo>
                  <a:lnTo>
                    <a:pt x="233942" y="16307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13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2316138" y="1584577"/>
            <a:ext cx="413945" cy="357498"/>
            <a:chOff x="2316138" y="1584577"/>
            <a:chExt cx="413945" cy="357498"/>
          </a:xfrm>
          <a:solidFill>
            <a:srgbClr val="B1B1A1"/>
          </a:solidFill>
        </p:grpSpPr>
        <p:sp>
          <p:nvSpPr>
            <p:cNvPr id="314" name="Forma Livre: Forma 313">
              <a:extLst>
                <a:ext uri="{FF2B5EF4-FFF2-40B4-BE49-F238E27FC236}">
                  <a16:creationId xmlns:a16="http://schemas.microsoft.com/office/drawing/2014/main" id="{DF823002-E171-4338-AD9A-B313A74673A3}"/>
                </a:ext>
              </a:extLst>
            </p:cNvPr>
            <p:cNvSpPr/>
            <p:nvPr/>
          </p:nvSpPr>
          <p:spPr>
            <a:xfrm>
              <a:off x="2316138" y="1584577"/>
              <a:ext cx="413945" cy="276591"/>
            </a:xfrm>
            <a:custGeom>
              <a:avLst/>
              <a:gdLst>
                <a:gd name="connsiteX0" fmla="*/ 325512 w 413945"/>
                <a:gd name="connsiteY0" fmla="*/ 276591 h 276591"/>
                <a:gd name="connsiteX1" fmla="*/ 306696 w 413945"/>
                <a:gd name="connsiteY1" fmla="*/ 276591 h 276591"/>
                <a:gd name="connsiteX2" fmla="*/ 306696 w 413945"/>
                <a:gd name="connsiteY2" fmla="*/ 243350 h 276591"/>
                <a:gd name="connsiteX3" fmla="*/ 325512 w 413945"/>
                <a:gd name="connsiteY3" fmla="*/ 243350 h 276591"/>
                <a:gd name="connsiteX4" fmla="*/ 358753 w 413945"/>
                <a:gd name="connsiteY4" fmla="*/ 228298 h 276591"/>
                <a:gd name="connsiteX5" fmla="*/ 380078 w 413945"/>
                <a:gd name="connsiteY5" fmla="*/ 181258 h 276591"/>
                <a:gd name="connsiteX6" fmla="*/ 318613 w 413945"/>
                <a:gd name="connsiteY6" fmla="*/ 119793 h 276591"/>
                <a:gd name="connsiteX7" fmla="*/ 299797 w 413945"/>
                <a:gd name="connsiteY7" fmla="*/ 122929 h 276591"/>
                <a:gd name="connsiteX8" fmla="*/ 285372 w 413945"/>
                <a:gd name="connsiteY8" fmla="*/ 121048 h 276591"/>
                <a:gd name="connsiteX9" fmla="*/ 277846 w 413945"/>
                <a:gd name="connsiteY9" fmla="*/ 108504 h 276591"/>
                <a:gd name="connsiteX10" fmla="*/ 195056 w 413945"/>
                <a:gd name="connsiteY10" fmla="*/ 33241 h 276591"/>
                <a:gd name="connsiteX11" fmla="*/ 111640 w 413945"/>
                <a:gd name="connsiteY11" fmla="*/ 116658 h 276591"/>
                <a:gd name="connsiteX12" fmla="*/ 113522 w 413945"/>
                <a:gd name="connsiteY12" fmla="*/ 132964 h 276591"/>
                <a:gd name="connsiteX13" fmla="*/ 110386 w 413945"/>
                <a:gd name="connsiteY13" fmla="*/ 146763 h 276591"/>
                <a:gd name="connsiteX14" fmla="*/ 97215 w 413945"/>
                <a:gd name="connsiteY14" fmla="*/ 153035 h 276591"/>
                <a:gd name="connsiteX15" fmla="*/ 78399 w 413945"/>
                <a:gd name="connsiteY15" fmla="*/ 153035 h 276591"/>
                <a:gd name="connsiteX16" fmla="*/ 33241 w 413945"/>
                <a:gd name="connsiteY16" fmla="*/ 198192 h 276591"/>
                <a:gd name="connsiteX17" fmla="*/ 78399 w 413945"/>
                <a:gd name="connsiteY17" fmla="*/ 243350 h 276591"/>
                <a:gd name="connsiteX18" fmla="*/ 116658 w 413945"/>
                <a:gd name="connsiteY18" fmla="*/ 243350 h 276591"/>
                <a:gd name="connsiteX19" fmla="*/ 116658 w 413945"/>
                <a:gd name="connsiteY19" fmla="*/ 276591 h 276591"/>
                <a:gd name="connsiteX20" fmla="*/ 78399 w 413945"/>
                <a:gd name="connsiteY20" fmla="*/ 276591 h 276591"/>
                <a:gd name="connsiteX21" fmla="*/ 0 w 413945"/>
                <a:gd name="connsiteY21" fmla="*/ 198192 h 276591"/>
                <a:gd name="connsiteX22" fmla="*/ 78399 w 413945"/>
                <a:gd name="connsiteY22" fmla="*/ 119793 h 276591"/>
                <a:gd name="connsiteX23" fmla="*/ 78399 w 413945"/>
                <a:gd name="connsiteY23" fmla="*/ 119793 h 276591"/>
                <a:gd name="connsiteX24" fmla="*/ 78399 w 413945"/>
                <a:gd name="connsiteY24" fmla="*/ 116658 h 276591"/>
                <a:gd name="connsiteX25" fmla="*/ 195056 w 413945"/>
                <a:gd name="connsiteY25" fmla="*/ 0 h 276591"/>
                <a:gd name="connsiteX26" fmla="*/ 307951 w 413945"/>
                <a:gd name="connsiteY26" fmla="*/ 86552 h 276591"/>
                <a:gd name="connsiteX27" fmla="*/ 318613 w 413945"/>
                <a:gd name="connsiteY27" fmla="*/ 85925 h 276591"/>
                <a:gd name="connsiteX28" fmla="*/ 413946 w 413945"/>
                <a:gd name="connsiteY28" fmla="*/ 181258 h 276591"/>
                <a:gd name="connsiteX29" fmla="*/ 382586 w 413945"/>
                <a:gd name="connsiteY29" fmla="*/ 251504 h 276591"/>
                <a:gd name="connsiteX30" fmla="*/ 325512 w 413945"/>
                <a:gd name="connsiteY30" fmla="*/ 276591 h 276591"/>
                <a:gd name="connsiteX31" fmla="*/ 325512 w 413945"/>
                <a:gd name="connsiteY31" fmla="*/ 276591 h 276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13945" h="276591">
                  <a:moveTo>
                    <a:pt x="325512" y="276591"/>
                  </a:moveTo>
                  <a:lnTo>
                    <a:pt x="306696" y="276591"/>
                  </a:lnTo>
                  <a:lnTo>
                    <a:pt x="306696" y="243350"/>
                  </a:lnTo>
                  <a:lnTo>
                    <a:pt x="325512" y="243350"/>
                  </a:lnTo>
                  <a:cubicBezTo>
                    <a:pt x="338056" y="243350"/>
                    <a:pt x="350600" y="237705"/>
                    <a:pt x="358753" y="228298"/>
                  </a:cubicBezTo>
                  <a:cubicBezTo>
                    <a:pt x="373179" y="215126"/>
                    <a:pt x="380078" y="198819"/>
                    <a:pt x="380078" y="181258"/>
                  </a:cubicBezTo>
                  <a:cubicBezTo>
                    <a:pt x="380078" y="147390"/>
                    <a:pt x="352481" y="119793"/>
                    <a:pt x="318613" y="119793"/>
                  </a:cubicBezTo>
                  <a:cubicBezTo>
                    <a:pt x="312341" y="119793"/>
                    <a:pt x="306069" y="121048"/>
                    <a:pt x="299797" y="122929"/>
                  </a:cubicBezTo>
                  <a:cubicBezTo>
                    <a:pt x="294780" y="124811"/>
                    <a:pt x="289762" y="123557"/>
                    <a:pt x="285372" y="121048"/>
                  </a:cubicBezTo>
                  <a:cubicBezTo>
                    <a:pt x="280982" y="118539"/>
                    <a:pt x="278473" y="113522"/>
                    <a:pt x="277846" y="108504"/>
                  </a:cubicBezTo>
                  <a:cubicBezTo>
                    <a:pt x="273455" y="65855"/>
                    <a:pt x="237705" y="33241"/>
                    <a:pt x="195056" y="33241"/>
                  </a:cubicBezTo>
                  <a:cubicBezTo>
                    <a:pt x="149271" y="33241"/>
                    <a:pt x="111640" y="70873"/>
                    <a:pt x="111640" y="116658"/>
                  </a:cubicBezTo>
                  <a:cubicBezTo>
                    <a:pt x="111640" y="122302"/>
                    <a:pt x="112267" y="127320"/>
                    <a:pt x="113522" y="132964"/>
                  </a:cubicBezTo>
                  <a:cubicBezTo>
                    <a:pt x="114776" y="137982"/>
                    <a:pt x="113522" y="143000"/>
                    <a:pt x="110386" y="146763"/>
                  </a:cubicBezTo>
                  <a:cubicBezTo>
                    <a:pt x="107250" y="150526"/>
                    <a:pt x="102232" y="153035"/>
                    <a:pt x="97215" y="153035"/>
                  </a:cubicBezTo>
                  <a:lnTo>
                    <a:pt x="78399" y="153035"/>
                  </a:lnTo>
                  <a:cubicBezTo>
                    <a:pt x="53311" y="153035"/>
                    <a:pt x="33241" y="173105"/>
                    <a:pt x="33241" y="198192"/>
                  </a:cubicBezTo>
                  <a:cubicBezTo>
                    <a:pt x="33241" y="223280"/>
                    <a:pt x="53311" y="243350"/>
                    <a:pt x="78399" y="243350"/>
                  </a:cubicBezTo>
                  <a:lnTo>
                    <a:pt x="116658" y="243350"/>
                  </a:lnTo>
                  <a:lnTo>
                    <a:pt x="116658" y="276591"/>
                  </a:lnTo>
                  <a:lnTo>
                    <a:pt x="78399" y="276591"/>
                  </a:lnTo>
                  <a:cubicBezTo>
                    <a:pt x="35123" y="276591"/>
                    <a:pt x="0" y="241468"/>
                    <a:pt x="0" y="198192"/>
                  </a:cubicBezTo>
                  <a:cubicBezTo>
                    <a:pt x="0" y="154916"/>
                    <a:pt x="35123" y="119793"/>
                    <a:pt x="78399" y="119793"/>
                  </a:cubicBezTo>
                  <a:lnTo>
                    <a:pt x="78399" y="119793"/>
                  </a:lnTo>
                  <a:cubicBezTo>
                    <a:pt x="78399" y="118539"/>
                    <a:pt x="78399" y="117912"/>
                    <a:pt x="78399" y="116658"/>
                  </a:cubicBezTo>
                  <a:cubicBezTo>
                    <a:pt x="78399" y="52057"/>
                    <a:pt x="130456" y="0"/>
                    <a:pt x="195056" y="0"/>
                  </a:cubicBezTo>
                  <a:cubicBezTo>
                    <a:pt x="248995" y="0"/>
                    <a:pt x="294780" y="36377"/>
                    <a:pt x="307951" y="86552"/>
                  </a:cubicBezTo>
                  <a:cubicBezTo>
                    <a:pt x="311714" y="85925"/>
                    <a:pt x="314850" y="85925"/>
                    <a:pt x="318613" y="85925"/>
                  </a:cubicBezTo>
                  <a:cubicBezTo>
                    <a:pt x="371297" y="85925"/>
                    <a:pt x="413946" y="128574"/>
                    <a:pt x="413946" y="181258"/>
                  </a:cubicBezTo>
                  <a:cubicBezTo>
                    <a:pt x="413946" y="208227"/>
                    <a:pt x="402656" y="233315"/>
                    <a:pt x="382586" y="251504"/>
                  </a:cubicBezTo>
                  <a:cubicBezTo>
                    <a:pt x="368788" y="266556"/>
                    <a:pt x="348091" y="276591"/>
                    <a:pt x="325512" y="276591"/>
                  </a:cubicBezTo>
                  <a:lnTo>
                    <a:pt x="325512" y="276591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15" name="Forma Livre: Forma 314">
              <a:extLst>
                <a:ext uri="{FF2B5EF4-FFF2-40B4-BE49-F238E27FC236}">
                  <a16:creationId xmlns:a16="http://schemas.microsoft.com/office/drawing/2014/main" id="{3F8257DC-73F7-41C2-A369-699371CB709B}"/>
                </a:ext>
              </a:extLst>
            </p:cNvPr>
            <p:cNvSpPr/>
            <p:nvPr/>
          </p:nvSpPr>
          <p:spPr>
            <a:xfrm>
              <a:off x="2443458" y="1823537"/>
              <a:ext cx="168113" cy="118539"/>
            </a:xfrm>
            <a:custGeom>
              <a:avLst/>
              <a:gdLst>
                <a:gd name="connsiteX0" fmla="*/ 144881 w 168113"/>
                <a:gd name="connsiteY0" fmla="*/ 118539 h 118539"/>
                <a:gd name="connsiteX1" fmla="*/ 23206 w 168113"/>
                <a:gd name="connsiteY1" fmla="*/ 118539 h 118539"/>
                <a:gd name="connsiteX2" fmla="*/ 0 w 168113"/>
                <a:gd name="connsiteY2" fmla="*/ 95333 h 118539"/>
                <a:gd name="connsiteX3" fmla="*/ 0 w 168113"/>
                <a:gd name="connsiteY3" fmla="*/ 23206 h 118539"/>
                <a:gd name="connsiteX4" fmla="*/ 23206 w 168113"/>
                <a:gd name="connsiteY4" fmla="*/ 0 h 118539"/>
                <a:gd name="connsiteX5" fmla="*/ 144881 w 168113"/>
                <a:gd name="connsiteY5" fmla="*/ 0 h 118539"/>
                <a:gd name="connsiteX6" fmla="*/ 168087 w 168113"/>
                <a:gd name="connsiteY6" fmla="*/ 23206 h 118539"/>
                <a:gd name="connsiteX7" fmla="*/ 168087 w 168113"/>
                <a:gd name="connsiteY7" fmla="*/ 95333 h 118539"/>
                <a:gd name="connsiteX8" fmla="*/ 144881 w 168113"/>
                <a:gd name="connsiteY8" fmla="*/ 118539 h 118539"/>
                <a:gd name="connsiteX9" fmla="*/ 144881 w 168113"/>
                <a:gd name="connsiteY9" fmla="*/ 118539 h 118539"/>
                <a:gd name="connsiteX10" fmla="*/ 33241 w 168113"/>
                <a:gd name="connsiteY10" fmla="*/ 85298 h 118539"/>
                <a:gd name="connsiteX11" fmla="*/ 134846 w 168113"/>
                <a:gd name="connsiteY11" fmla="*/ 85298 h 118539"/>
                <a:gd name="connsiteX12" fmla="*/ 134846 w 168113"/>
                <a:gd name="connsiteY12" fmla="*/ 33241 h 118539"/>
                <a:gd name="connsiteX13" fmla="*/ 33241 w 168113"/>
                <a:gd name="connsiteY13" fmla="*/ 33241 h 118539"/>
                <a:gd name="connsiteX14" fmla="*/ 33241 w 168113"/>
                <a:gd name="connsiteY14" fmla="*/ 85298 h 118539"/>
                <a:gd name="connsiteX15" fmla="*/ 33241 w 168113"/>
                <a:gd name="connsiteY15" fmla="*/ 85298 h 118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68113" h="118539">
                  <a:moveTo>
                    <a:pt x="144881" y="118539"/>
                  </a:moveTo>
                  <a:lnTo>
                    <a:pt x="23206" y="118539"/>
                  </a:lnTo>
                  <a:cubicBezTo>
                    <a:pt x="10035" y="118539"/>
                    <a:pt x="0" y="107877"/>
                    <a:pt x="0" y="95333"/>
                  </a:cubicBezTo>
                  <a:lnTo>
                    <a:pt x="0" y="23206"/>
                  </a:lnTo>
                  <a:cubicBezTo>
                    <a:pt x="0" y="10035"/>
                    <a:pt x="10662" y="0"/>
                    <a:pt x="23206" y="0"/>
                  </a:cubicBezTo>
                  <a:lnTo>
                    <a:pt x="144881" y="0"/>
                  </a:lnTo>
                  <a:cubicBezTo>
                    <a:pt x="158052" y="0"/>
                    <a:pt x="168087" y="10662"/>
                    <a:pt x="168087" y="23206"/>
                  </a:cubicBezTo>
                  <a:lnTo>
                    <a:pt x="168087" y="95333"/>
                  </a:lnTo>
                  <a:cubicBezTo>
                    <a:pt x="168714" y="108504"/>
                    <a:pt x="158052" y="118539"/>
                    <a:pt x="144881" y="118539"/>
                  </a:cubicBezTo>
                  <a:lnTo>
                    <a:pt x="144881" y="118539"/>
                  </a:lnTo>
                  <a:close/>
                  <a:moveTo>
                    <a:pt x="33241" y="85298"/>
                  </a:moveTo>
                  <a:lnTo>
                    <a:pt x="134846" y="85298"/>
                  </a:lnTo>
                  <a:lnTo>
                    <a:pt x="134846" y="33241"/>
                  </a:lnTo>
                  <a:lnTo>
                    <a:pt x="33241" y="33241"/>
                  </a:lnTo>
                  <a:lnTo>
                    <a:pt x="33241" y="85298"/>
                  </a:lnTo>
                  <a:lnTo>
                    <a:pt x="33241" y="85298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16" name="Forma Livre: Forma 315">
              <a:extLst>
                <a:ext uri="{FF2B5EF4-FFF2-40B4-BE49-F238E27FC236}">
                  <a16:creationId xmlns:a16="http://schemas.microsoft.com/office/drawing/2014/main" id="{CFD7588F-7D7F-4FDC-8363-0CBF96C2930D}"/>
                </a:ext>
              </a:extLst>
            </p:cNvPr>
            <p:cNvSpPr/>
            <p:nvPr/>
          </p:nvSpPr>
          <p:spPr>
            <a:xfrm>
              <a:off x="2466664" y="1758936"/>
              <a:ext cx="120457" cy="95960"/>
            </a:xfrm>
            <a:custGeom>
              <a:avLst/>
              <a:gdLst>
                <a:gd name="connsiteX0" fmla="*/ 104741 w 120457"/>
                <a:gd name="connsiteY0" fmla="*/ 95960 h 95960"/>
                <a:gd name="connsiteX1" fmla="*/ 87807 w 120457"/>
                <a:gd name="connsiteY1" fmla="*/ 79026 h 95960"/>
                <a:gd name="connsiteX2" fmla="*/ 87807 w 120457"/>
                <a:gd name="connsiteY2" fmla="*/ 60210 h 95960"/>
                <a:gd name="connsiteX3" fmla="*/ 60837 w 120457"/>
                <a:gd name="connsiteY3" fmla="*/ 33241 h 95960"/>
                <a:gd name="connsiteX4" fmla="*/ 33868 w 120457"/>
                <a:gd name="connsiteY4" fmla="*/ 60210 h 95960"/>
                <a:gd name="connsiteX5" fmla="*/ 33868 w 120457"/>
                <a:gd name="connsiteY5" fmla="*/ 79026 h 95960"/>
                <a:gd name="connsiteX6" fmla="*/ 16934 w 120457"/>
                <a:gd name="connsiteY6" fmla="*/ 95960 h 95960"/>
                <a:gd name="connsiteX7" fmla="*/ 0 w 120457"/>
                <a:gd name="connsiteY7" fmla="*/ 79026 h 95960"/>
                <a:gd name="connsiteX8" fmla="*/ 0 w 120457"/>
                <a:gd name="connsiteY8" fmla="*/ 60210 h 95960"/>
                <a:gd name="connsiteX9" fmla="*/ 60210 w 120457"/>
                <a:gd name="connsiteY9" fmla="*/ 0 h 95960"/>
                <a:gd name="connsiteX10" fmla="*/ 120421 w 120457"/>
                <a:gd name="connsiteY10" fmla="*/ 60210 h 95960"/>
                <a:gd name="connsiteX11" fmla="*/ 120421 w 120457"/>
                <a:gd name="connsiteY11" fmla="*/ 79026 h 95960"/>
                <a:gd name="connsiteX12" fmla="*/ 104741 w 120457"/>
                <a:gd name="connsiteY12" fmla="*/ 95960 h 95960"/>
                <a:gd name="connsiteX13" fmla="*/ 104741 w 120457"/>
                <a:gd name="connsiteY13" fmla="*/ 95960 h 95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0457" h="95960">
                  <a:moveTo>
                    <a:pt x="104741" y="95960"/>
                  </a:moveTo>
                  <a:cubicBezTo>
                    <a:pt x="95333" y="95960"/>
                    <a:pt x="87807" y="88434"/>
                    <a:pt x="87807" y="79026"/>
                  </a:cubicBezTo>
                  <a:lnTo>
                    <a:pt x="87807" y="60210"/>
                  </a:lnTo>
                  <a:cubicBezTo>
                    <a:pt x="87807" y="45785"/>
                    <a:pt x="75890" y="33241"/>
                    <a:pt x="60837" y="33241"/>
                  </a:cubicBezTo>
                  <a:cubicBezTo>
                    <a:pt x="46412" y="33241"/>
                    <a:pt x="33868" y="45158"/>
                    <a:pt x="33868" y="60210"/>
                  </a:cubicBezTo>
                  <a:lnTo>
                    <a:pt x="33868" y="79026"/>
                  </a:lnTo>
                  <a:cubicBezTo>
                    <a:pt x="33868" y="88434"/>
                    <a:pt x="26342" y="95960"/>
                    <a:pt x="16934" y="95960"/>
                  </a:cubicBezTo>
                  <a:cubicBezTo>
                    <a:pt x="7526" y="95960"/>
                    <a:pt x="0" y="88434"/>
                    <a:pt x="0" y="79026"/>
                  </a:cubicBezTo>
                  <a:lnTo>
                    <a:pt x="0" y="60210"/>
                  </a:lnTo>
                  <a:cubicBezTo>
                    <a:pt x="0" y="26969"/>
                    <a:pt x="26969" y="0"/>
                    <a:pt x="60210" y="0"/>
                  </a:cubicBezTo>
                  <a:cubicBezTo>
                    <a:pt x="93451" y="0"/>
                    <a:pt x="120421" y="26969"/>
                    <a:pt x="120421" y="60210"/>
                  </a:cubicBezTo>
                  <a:lnTo>
                    <a:pt x="120421" y="79026"/>
                  </a:lnTo>
                  <a:cubicBezTo>
                    <a:pt x="121048" y="88434"/>
                    <a:pt x="113522" y="95960"/>
                    <a:pt x="104741" y="95960"/>
                  </a:cubicBezTo>
                  <a:lnTo>
                    <a:pt x="104741" y="95960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17" name="Forma Livre: Forma 316">
              <a:extLst>
                <a:ext uri="{FF2B5EF4-FFF2-40B4-BE49-F238E27FC236}">
                  <a16:creationId xmlns:a16="http://schemas.microsoft.com/office/drawing/2014/main" id="{84CD18FF-DBCA-488D-B069-C4486FA64B52}"/>
                </a:ext>
              </a:extLst>
            </p:cNvPr>
            <p:cNvSpPr/>
            <p:nvPr/>
          </p:nvSpPr>
          <p:spPr>
            <a:xfrm>
              <a:off x="2513704" y="1859914"/>
              <a:ext cx="28850" cy="42021"/>
            </a:xfrm>
            <a:custGeom>
              <a:avLst/>
              <a:gdLst>
                <a:gd name="connsiteX0" fmla="*/ 13798 w 28850"/>
                <a:gd name="connsiteY0" fmla="*/ 0 h 42021"/>
                <a:gd name="connsiteX1" fmla="*/ 0 w 28850"/>
                <a:gd name="connsiteY1" fmla="*/ 13798 h 42021"/>
                <a:gd name="connsiteX2" fmla="*/ 7526 w 28850"/>
                <a:gd name="connsiteY2" fmla="*/ 26342 h 42021"/>
                <a:gd name="connsiteX3" fmla="*/ 7526 w 28850"/>
                <a:gd name="connsiteY3" fmla="*/ 42022 h 42021"/>
                <a:gd name="connsiteX4" fmla="*/ 21324 w 28850"/>
                <a:gd name="connsiteY4" fmla="*/ 42022 h 42021"/>
                <a:gd name="connsiteX5" fmla="*/ 21324 w 28850"/>
                <a:gd name="connsiteY5" fmla="*/ 26342 h 42021"/>
                <a:gd name="connsiteX6" fmla="*/ 28851 w 28850"/>
                <a:gd name="connsiteY6" fmla="*/ 13798 h 42021"/>
                <a:gd name="connsiteX7" fmla="*/ 13798 w 28850"/>
                <a:gd name="connsiteY7" fmla="*/ 0 h 42021"/>
                <a:gd name="connsiteX8" fmla="*/ 13798 w 28850"/>
                <a:gd name="connsiteY8" fmla="*/ 0 h 42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850" h="42021">
                  <a:moveTo>
                    <a:pt x="13798" y="0"/>
                  </a:moveTo>
                  <a:cubicBezTo>
                    <a:pt x="6272" y="0"/>
                    <a:pt x="0" y="6272"/>
                    <a:pt x="0" y="13798"/>
                  </a:cubicBezTo>
                  <a:cubicBezTo>
                    <a:pt x="0" y="19443"/>
                    <a:pt x="3136" y="23833"/>
                    <a:pt x="7526" y="26342"/>
                  </a:cubicBezTo>
                  <a:lnTo>
                    <a:pt x="7526" y="42022"/>
                  </a:lnTo>
                  <a:lnTo>
                    <a:pt x="21324" y="42022"/>
                  </a:lnTo>
                  <a:lnTo>
                    <a:pt x="21324" y="26342"/>
                  </a:lnTo>
                  <a:cubicBezTo>
                    <a:pt x="25715" y="23833"/>
                    <a:pt x="28851" y="19443"/>
                    <a:pt x="28851" y="13798"/>
                  </a:cubicBezTo>
                  <a:cubicBezTo>
                    <a:pt x="28224" y="6272"/>
                    <a:pt x="21952" y="0"/>
                    <a:pt x="13798" y="0"/>
                  </a:cubicBezTo>
                  <a:lnTo>
                    <a:pt x="13798" y="0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18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10482790" y="1648551"/>
            <a:ext cx="391994" cy="228297"/>
            <a:chOff x="10482790" y="1648551"/>
            <a:chExt cx="391994" cy="228297"/>
          </a:xfrm>
          <a:solidFill>
            <a:srgbClr val="B1B1A1"/>
          </a:solidFill>
        </p:grpSpPr>
        <p:sp>
          <p:nvSpPr>
            <p:cNvPr id="319" name="Forma Livre: Forma 318">
              <a:extLst>
                <a:ext uri="{FF2B5EF4-FFF2-40B4-BE49-F238E27FC236}">
                  <a16:creationId xmlns:a16="http://schemas.microsoft.com/office/drawing/2014/main" id="{4CA19540-47AB-4EAC-B796-1C9200969889}"/>
                </a:ext>
              </a:extLst>
            </p:cNvPr>
            <p:cNvSpPr/>
            <p:nvPr/>
          </p:nvSpPr>
          <p:spPr>
            <a:xfrm>
              <a:off x="10482790" y="1648551"/>
              <a:ext cx="361261" cy="228297"/>
            </a:xfrm>
            <a:custGeom>
              <a:avLst/>
              <a:gdLst>
                <a:gd name="connsiteX0" fmla="*/ 344328 w 361261"/>
                <a:gd name="connsiteY0" fmla="*/ 228298 h 228297"/>
                <a:gd name="connsiteX1" fmla="*/ 16935 w 361261"/>
                <a:gd name="connsiteY1" fmla="*/ 228298 h 228297"/>
                <a:gd name="connsiteX2" fmla="*/ 0 w 361261"/>
                <a:gd name="connsiteY2" fmla="*/ 211363 h 228297"/>
                <a:gd name="connsiteX3" fmla="*/ 0 w 361261"/>
                <a:gd name="connsiteY3" fmla="*/ 16934 h 228297"/>
                <a:gd name="connsiteX4" fmla="*/ 16935 w 361261"/>
                <a:gd name="connsiteY4" fmla="*/ 0 h 228297"/>
                <a:gd name="connsiteX5" fmla="*/ 344328 w 361261"/>
                <a:gd name="connsiteY5" fmla="*/ 0 h 228297"/>
                <a:gd name="connsiteX6" fmla="*/ 361262 w 361261"/>
                <a:gd name="connsiteY6" fmla="*/ 16934 h 228297"/>
                <a:gd name="connsiteX7" fmla="*/ 361262 w 361261"/>
                <a:gd name="connsiteY7" fmla="*/ 211363 h 228297"/>
                <a:gd name="connsiteX8" fmla="*/ 344328 w 361261"/>
                <a:gd name="connsiteY8" fmla="*/ 228298 h 228297"/>
                <a:gd name="connsiteX9" fmla="*/ 344328 w 361261"/>
                <a:gd name="connsiteY9" fmla="*/ 228298 h 228297"/>
                <a:gd name="connsiteX10" fmla="*/ 33868 w 361261"/>
                <a:gd name="connsiteY10" fmla="*/ 195056 h 228297"/>
                <a:gd name="connsiteX11" fmla="*/ 327394 w 361261"/>
                <a:gd name="connsiteY11" fmla="*/ 195056 h 228297"/>
                <a:gd name="connsiteX12" fmla="*/ 327394 w 361261"/>
                <a:gd name="connsiteY12" fmla="*/ 33868 h 228297"/>
                <a:gd name="connsiteX13" fmla="*/ 33868 w 361261"/>
                <a:gd name="connsiteY13" fmla="*/ 33868 h 228297"/>
                <a:gd name="connsiteX14" fmla="*/ 33868 w 361261"/>
                <a:gd name="connsiteY14" fmla="*/ 195056 h 228297"/>
                <a:gd name="connsiteX15" fmla="*/ 33868 w 361261"/>
                <a:gd name="connsiteY15" fmla="*/ 195056 h 228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61261" h="228297">
                  <a:moveTo>
                    <a:pt x="344328" y="228298"/>
                  </a:moveTo>
                  <a:lnTo>
                    <a:pt x="16935" y="228298"/>
                  </a:lnTo>
                  <a:cubicBezTo>
                    <a:pt x="7527" y="228298"/>
                    <a:pt x="0" y="220771"/>
                    <a:pt x="0" y="211363"/>
                  </a:cubicBezTo>
                  <a:lnTo>
                    <a:pt x="0" y="16934"/>
                  </a:lnTo>
                  <a:cubicBezTo>
                    <a:pt x="0" y="7526"/>
                    <a:pt x="7527" y="0"/>
                    <a:pt x="16935" y="0"/>
                  </a:cubicBezTo>
                  <a:lnTo>
                    <a:pt x="344328" y="0"/>
                  </a:lnTo>
                  <a:cubicBezTo>
                    <a:pt x="353736" y="0"/>
                    <a:pt x="361262" y="7526"/>
                    <a:pt x="361262" y="16934"/>
                  </a:cubicBezTo>
                  <a:lnTo>
                    <a:pt x="361262" y="211363"/>
                  </a:lnTo>
                  <a:cubicBezTo>
                    <a:pt x="361262" y="221398"/>
                    <a:pt x="353736" y="228298"/>
                    <a:pt x="344328" y="228298"/>
                  </a:cubicBezTo>
                  <a:lnTo>
                    <a:pt x="344328" y="228298"/>
                  </a:lnTo>
                  <a:close/>
                  <a:moveTo>
                    <a:pt x="33868" y="195056"/>
                  </a:moveTo>
                  <a:lnTo>
                    <a:pt x="327394" y="195056"/>
                  </a:lnTo>
                  <a:lnTo>
                    <a:pt x="327394" y="33868"/>
                  </a:lnTo>
                  <a:lnTo>
                    <a:pt x="33868" y="33868"/>
                  </a:lnTo>
                  <a:lnTo>
                    <a:pt x="33868" y="195056"/>
                  </a:lnTo>
                  <a:lnTo>
                    <a:pt x="33868" y="195056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20" name="Forma Livre: Forma 319">
              <a:extLst>
                <a:ext uri="{FF2B5EF4-FFF2-40B4-BE49-F238E27FC236}">
                  <a16:creationId xmlns:a16="http://schemas.microsoft.com/office/drawing/2014/main" id="{7CB48ED4-EC8F-4206-9857-D4DDF378C007}"/>
                </a:ext>
              </a:extLst>
            </p:cNvPr>
            <p:cNvSpPr/>
            <p:nvPr/>
          </p:nvSpPr>
          <p:spPr>
            <a:xfrm>
              <a:off x="10840916" y="1702489"/>
              <a:ext cx="33868" cy="121047"/>
            </a:xfrm>
            <a:custGeom>
              <a:avLst/>
              <a:gdLst>
                <a:gd name="connsiteX0" fmla="*/ 16935 w 33868"/>
                <a:gd name="connsiteY0" fmla="*/ 121048 h 121047"/>
                <a:gd name="connsiteX1" fmla="*/ 0 w 33868"/>
                <a:gd name="connsiteY1" fmla="*/ 104114 h 121047"/>
                <a:gd name="connsiteX2" fmla="*/ 0 w 33868"/>
                <a:gd name="connsiteY2" fmla="*/ 16934 h 121047"/>
                <a:gd name="connsiteX3" fmla="*/ 16935 w 33868"/>
                <a:gd name="connsiteY3" fmla="*/ 0 h 121047"/>
                <a:gd name="connsiteX4" fmla="*/ 33868 w 33868"/>
                <a:gd name="connsiteY4" fmla="*/ 16934 h 121047"/>
                <a:gd name="connsiteX5" fmla="*/ 33868 w 33868"/>
                <a:gd name="connsiteY5" fmla="*/ 104114 h 121047"/>
                <a:gd name="connsiteX6" fmla="*/ 16935 w 33868"/>
                <a:gd name="connsiteY6" fmla="*/ 121048 h 121047"/>
                <a:gd name="connsiteX7" fmla="*/ 16935 w 33868"/>
                <a:gd name="connsiteY7" fmla="*/ 121048 h 121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868" h="121047">
                  <a:moveTo>
                    <a:pt x="16935" y="121048"/>
                  </a:moveTo>
                  <a:cubicBezTo>
                    <a:pt x="7527" y="121048"/>
                    <a:pt x="0" y="113522"/>
                    <a:pt x="0" y="104114"/>
                  </a:cubicBezTo>
                  <a:lnTo>
                    <a:pt x="0" y="16934"/>
                  </a:lnTo>
                  <a:cubicBezTo>
                    <a:pt x="0" y="7526"/>
                    <a:pt x="7527" y="0"/>
                    <a:pt x="16935" y="0"/>
                  </a:cubicBezTo>
                  <a:cubicBezTo>
                    <a:pt x="26342" y="0"/>
                    <a:pt x="33868" y="7526"/>
                    <a:pt x="33868" y="16934"/>
                  </a:cubicBezTo>
                  <a:lnTo>
                    <a:pt x="33868" y="104114"/>
                  </a:lnTo>
                  <a:cubicBezTo>
                    <a:pt x="33868" y="113522"/>
                    <a:pt x="26342" y="121048"/>
                    <a:pt x="16935" y="121048"/>
                  </a:cubicBezTo>
                  <a:lnTo>
                    <a:pt x="16935" y="121048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321" name="Gráfico 2">
              <a:extLst>
                <a:ext uri="{FF2B5EF4-FFF2-40B4-BE49-F238E27FC236}">
                  <a16:creationId xmlns:a16="http://schemas.microsoft.com/office/drawing/2014/main" id="{F5ABA5BB-819F-4501-AD77-3F762FEA4CEA}"/>
                </a:ext>
              </a:extLst>
            </p:cNvPr>
            <p:cNvGrpSpPr/>
            <p:nvPr/>
          </p:nvGrpSpPr>
          <p:grpSpPr>
            <a:xfrm>
              <a:off x="10606033" y="1713465"/>
              <a:ext cx="99096" cy="98782"/>
              <a:chOff x="10606033" y="1713465"/>
              <a:chExt cx="99096" cy="98782"/>
            </a:xfrm>
            <a:grpFill/>
          </p:grpSpPr>
          <p:sp>
            <p:nvSpPr>
              <p:cNvPr id="322" name="Forma Livre: Forma 321">
                <a:extLst>
                  <a:ext uri="{FF2B5EF4-FFF2-40B4-BE49-F238E27FC236}">
                    <a16:creationId xmlns:a16="http://schemas.microsoft.com/office/drawing/2014/main" id="{EEA9693D-B21B-46F7-AAA1-5EC2E12D42E8}"/>
                  </a:ext>
                </a:extLst>
              </p:cNvPr>
              <p:cNvSpPr/>
              <p:nvPr/>
            </p:nvSpPr>
            <p:spPr>
              <a:xfrm>
                <a:off x="10606033" y="1713465"/>
                <a:ext cx="98468" cy="98782"/>
              </a:xfrm>
              <a:custGeom>
                <a:avLst/>
                <a:gdLst>
                  <a:gd name="connsiteX0" fmla="*/ 81849 w 98468"/>
                  <a:gd name="connsiteY0" fmla="*/ 98783 h 98782"/>
                  <a:gd name="connsiteX1" fmla="*/ 69932 w 98468"/>
                  <a:gd name="connsiteY1" fmla="*/ 93765 h 98782"/>
                  <a:gd name="connsiteX2" fmla="*/ 4704 w 98468"/>
                  <a:gd name="connsiteY2" fmla="*/ 28537 h 98782"/>
                  <a:gd name="connsiteX3" fmla="*/ 4704 w 98468"/>
                  <a:gd name="connsiteY3" fmla="*/ 4704 h 98782"/>
                  <a:gd name="connsiteX4" fmla="*/ 28537 w 98468"/>
                  <a:gd name="connsiteY4" fmla="*/ 4704 h 98782"/>
                  <a:gd name="connsiteX5" fmla="*/ 93765 w 98468"/>
                  <a:gd name="connsiteY5" fmla="*/ 69932 h 98782"/>
                  <a:gd name="connsiteX6" fmla="*/ 93765 w 98468"/>
                  <a:gd name="connsiteY6" fmla="*/ 93765 h 98782"/>
                  <a:gd name="connsiteX7" fmla="*/ 81849 w 98468"/>
                  <a:gd name="connsiteY7" fmla="*/ 98783 h 98782"/>
                  <a:gd name="connsiteX8" fmla="*/ 81849 w 98468"/>
                  <a:gd name="connsiteY8" fmla="*/ 98783 h 987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8468" h="98782">
                    <a:moveTo>
                      <a:pt x="81849" y="98783"/>
                    </a:moveTo>
                    <a:cubicBezTo>
                      <a:pt x="77458" y="98783"/>
                      <a:pt x="73068" y="96901"/>
                      <a:pt x="69932" y="93765"/>
                    </a:cubicBezTo>
                    <a:lnTo>
                      <a:pt x="4704" y="28537"/>
                    </a:lnTo>
                    <a:cubicBezTo>
                      <a:pt x="-1568" y="22265"/>
                      <a:pt x="-1568" y="11603"/>
                      <a:pt x="4704" y="4704"/>
                    </a:cubicBezTo>
                    <a:cubicBezTo>
                      <a:pt x="10976" y="-1568"/>
                      <a:pt x="21638" y="-1568"/>
                      <a:pt x="28537" y="4704"/>
                    </a:cubicBezTo>
                    <a:lnTo>
                      <a:pt x="93765" y="69932"/>
                    </a:lnTo>
                    <a:cubicBezTo>
                      <a:pt x="100037" y="76204"/>
                      <a:pt x="100037" y="86866"/>
                      <a:pt x="93765" y="93765"/>
                    </a:cubicBezTo>
                    <a:cubicBezTo>
                      <a:pt x="90629" y="97528"/>
                      <a:pt x="86239" y="98783"/>
                      <a:pt x="81849" y="98783"/>
                    </a:cubicBezTo>
                    <a:lnTo>
                      <a:pt x="81849" y="98783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23" name="Forma Livre: Forma 322">
                <a:extLst>
                  <a:ext uri="{FF2B5EF4-FFF2-40B4-BE49-F238E27FC236}">
                    <a16:creationId xmlns:a16="http://schemas.microsoft.com/office/drawing/2014/main" id="{1A1DFEE3-E391-4F83-A58B-56EB03A1807D}"/>
                  </a:ext>
                </a:extLst>
              </p:cNvPr>
              <p:cNvSpPr/>
              <p:nvPr/>
            </p:nvSpPr>
            <p:spPr>
              <a:xfrm>
                <a:off x="10606660" y="1713465"/>
                <a:ext cx="98469" cy="98782"/>
              </a:xfrm>
              <a:custGeom>
                <a:avLst/>
                <a:gdLst>
                  <a:gd name="connsiteX0" fmla="*/ 16621 w 98469"/>
                  <a:gd name="connsiteY0" fmla="*/ 98783 h 98782"/>
                  <a:gd name="connsiteX1" fmla="*/ 4704 w 98469"/>
                  <a:gd name="connsiteY1" fmla="*/ 93765 h 98782"/>
                  <a:gd name="connsiteX2" fmla="*/ 4704 w 98469"/>
                  <a:gd name="connsiteY2" fmla="*/ 69932 h 98782"/>
                  <a:gd name="connsiteX3" fmla="*/ 69932 w 98469"/>
                  <a:gd name="connsiteY3" fmla="*/ 4704 h 98782"/>
                  <a:gd name="connsiteX4" fmla="*/ 93765 w 98469"/>
                  <a:gd name="connsiteY4" fmla="*/ 4704 h 98782"/>
                  <a:gd name="connsiteX5" fmla="*/ 93765 w 98469"/>
                  <a:gd name="connsiteY5" fmla="*/ 28537 h 98782"/>
                  <a:gd name="connsiteX6" fmla="*/ 28537 w 98469"/>
                  <a:gd name="connsiteY6" fmla="*/ 93765 h 98782"/>
                  <a:gd name="connsiteX7" fmla="*/ 16621 w 98469"/>
                  <a:gd name="connsiteY7" fmla="*/ 98783 h 98782"/>
                  <a:gd name="connsiteX8" fmla="*/ 16621 w 98469"/>
                  <a:gd name="connsiteY8" fmla="*/ 98783 h 987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8469" h="98782">
                    <a:moveTo>
                      <a:pt x="16621" y="98783"/>
                    </a:moveTo>
                    <a:cubicBezTo>
                      <a:pt x="12231" y="98783"/>
                      <a:pt x="7840" y="96901"/>
                      <a:pt x="4704" y="93765"/>
                    </a:cubicBezTo>
                    <a:cubicBezTo>
                      <a:pt x="-1568" y="87493"/>
                      <a:pt x="-1568" y="76831"/>
                      <a:pt x="4704" y="69932"/>
                    </a:cubicBezTo>
                    <a:lnTo>
                      <a:pt x="69932" y="4704"/>
                    </a:lnTo>
                    <a:cubicBezTo>
                      <a:pt x="76204" y="-1568"/>
                      <a:pt x="86866" y="-1568"/>
                      <a:pt x="93765" y="4704"/>
                    </a:cubicBezTo>
                    <a:cubicBezTo>
                      <a:pt x="100037" y="10976"/>
                      <a:pt x="100037" y="21638"/>
                      <a:pt x="93765" y="28537"/>
                    </a:cubicBezTo>
                    <a:lnTo>
                      <a:pt x="28537" y="93765"/>
                    </a:lnTo>
                    <a:cubicBezTo>
                      <a:pt x="24774" y="97528"/>
                      <a:pt x="20384" y="98783"/>
                      <a:pt x="16621" y="98783"/>
                    </a:cubicBezTo>
                    <a:lnTo>
                      <a:pt x="16621" y="98783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324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6381856" y="5693565"/>
            <a:ext cx="429092" cy="393614"/>
            <a:chOff x="6381856" y="5693565"/>
            <a:chExt cx="429092" cy="393614"/>
          </a:xfrm>
          <a:solidFill>
            <a:srgbClr val="B1B1A1"/>
          </a:solidFill>
        </p:grpSpPr>
        <p:sp>
          <p:nvSpPr>
            <p:cNvPr id="325" name="Forma Livre: Forma 324">
              <a:extLst>
                <a:ext uri="{FF2B5EF4-FFF2-40B4-BE49-F238E27FC236}">
                  <a16:creationId xmlns:a16="http://schemas.microsoft.com/office/drawing/2014/main" id="{458A47CE-3AEE-4CFC-8457-55CE4B344F39}"/>
                </a:ext>
              </a:extLst>
            </p:cNvPr>
            <p:cNvSpPr/>
            <p:nvPr/>
          </p:nvSpPr>
          <p:spPr>
            <a:xfrm>
              <a:off x="6408469" y="5769170"/>
              <a:ext cx="181730" cy="318010"/>
            </a:xfrm>
            <a:custGeom>
              <a:avLst/>
              <a:gdLst>
                <a:gd name="connsiteX0" fmla="*/ 127409 w 181730"/>
                <a:gd name="connsiteY0" fmla="*/ 318010 h 318010"/>
                <a:gd name="connsiteX1" fmla="*/ 127409 w 181730"/>
                <a:gd name="connsiteY1" fmla="*/ 318010 h 318010"/>
                <a:gd name="connsiteX2" fmla="*/ 91659 w 181730"/>
                <a:gd name="connsiteY2" fmla="*/ 301076 h 318010"/>
                <a:gd name="connsiteX3" fmla="*/ 52146 w 181730"/>
                <a:gd name="connsiteY3" fmla="*/ 253409 h 318010"/>
                <a:gd name="connsiteX4" fmla="*/ 9497 w 181730"/>
                <a:gd name="connsiteY4" fmla="*/ 166857 h 318010"/>
                <a:gd name="connsiteX5" fmla="*/ 1344 w 181730"/>
                <a:gd name="connsiteY5" fmla="*/ 131735 h 318010"/>
                <a:gd name="connsiteX6" fmla="*/ 23296 w 181730"/>
                <a:gd name="connsiteY6" fmla="*/ 68388 h 318010"/>
                <a:gd name="connsiteX7" fmla="*/ 97304 w 181730"/>
                <a:gd name="connsiteY7" fmla="*/ 6924 h 318010"/>
                <a:gd name="connsiteX8" fmla="*/ 160023 w 181730"/>
                <a:gd name="connsiteY8" fmla="*/ 30130 h 318010"/>
                <a:gd name="connsiteX9" fmla="*/ 164414 w 181730"/>
                <a:gd name="connsiteY9" fmla="*/ 43301 h 318010"/>
                <a:gd name="connsiteX10" fmla="*/ 164414 w 181730"/>
                <a:gd name="connsiteY10" fmla="*/ 111037 h 318010"/>
                <a:gd name="connsiteX11" fmla="*/ 150615 w 181730"/>
                <a:gd name="connsiteY11" fmla="*/ 151177 h 318010"/>
                <a:gd name="connsiteX12" fmla="*/ 154378 w 181730"/>
                <a:gd name="connsiteY12" fmla="*/ 195081 h 318010"/>
                <a:gd name="connsiteX13" fmla="*/ 175703 w 181730"/>
                <a:gd name="connsiteY13" fmla="*/ 236475 h 318010"/>
                <a:gd name="connsiteX14" fmla="*/ 164414 w 181730"/>
                <a:gd name="connsiteY14" fmla="*/ 300449 h 318010"/>
                <a:gd name="connsiteX15" fmla="*/ 154378 w 181730"/>
                <a:gd name="connsiteY15" fmla="*/ 308602 h 318010"/>
                <a:gd name="connsiteX16" fmla="*/ 127409 w 181730"/>
                <a:gd name="connsiteY16" fmla="*/ 318010 h 318010"/>
                <a:gd name="connsiteX17" fmla="*/ 127409 w 181730"/>
                <a:gd name="connsiteY17" fmla="*/ 318010 h 318010"/>
                <a:gd name="connsiteX18" fmla="*/ 118629 w 181730"/>
                <a:gd name="connsiteY18" fmla="*/ 32011 h 318010"/>
                <a:gd name="connsiteX19" fmla="*/ 116120 w 181730"/>
                <a:gd name="connsiteY19" fmla="*/ 32638 h 318010"/>
                <a:gd name="connsiteX20" fmla="*/ 41484 w 181730"/>
                <a:gd name="connsiteY20" fmla="*/ 94103 h 318010"/>
                <a:gd name="connsiteX21" fmla="*/ 30822 w 181730"/>
                <a:gd name="connsiteY21" fmla="*/ 125463 h 318010"/>
                <a:gd name="connsiteX22" fmla="*/ 38975 w 181730"/>
                <a:gd name="connsiteY22" fmla="*/ 160585 h 318010"/>
                <a:gd name="connsiteX23" fmla="*/ 74725 w 181730"/>
                <a:gd name="connsiteY23" fmla="*/ 233967 h 318010"/>
                <a:gd name="connsiteX24" fmla="*/ 114238 w 181730"/>
                <a:gd name="connsiteY24" fmla="*/ 281633 h 318010"/>
                <a:gd name="connsiteX25" fmla="*/ 126155 w 181730"/>
                <a:gd name="connsiteY25" fmla="*/ 287278 h 318010"/>
                <a:gd name="connsiteX26" fmla="*/ 126155 w 181730"/>
                <a:gd name="connsiteY26" fmla="*/ 287278 h 318010"/>
                <a:gd name="connsiteX27" fmla="*/ 133054 w 181730"/>
                <a:gd name="connsiteY27" fmla="*/ 284769 h 318010"/>
                <a:gd name="connsiteX28" fmla="*/ 143089 w 181730"/>
                <a:gd name="connsiteY28" fmla="*/ 276616 h 318010"/>
                <a:gd name="connsiteX29" fmla="*/ 146225 w 181730"/>
                <a:gd name="connsiteY29" fmla="*/ 251528 h 318010"/>
                <a:gd name="connsiteX30" fmla="*/ 124901 w 181730"/>
                <a:gd name="connsiteY30" fmla="*/ 210134 h 318010"/>
                <a:gd name="connsiteX31" fmla="*/ 119256 w 181730"/>
                <a:gd name="connsiteY31" fmla="*/ 142397 h 318010"/>
                <a:gd name="connsiteX32" fmla="*/ 133054 w 181730"/>
                <a:gd name="connsiteY32" fmla="*/ 102257 h 318010"/>
                <a:gd name="connsiteX33" fmla="*/ 133054 w 181730"/>
                <a:gd name="connsiteY33" fmla="*/ 54590 h 318010"/>
                <a:gd name="connsiteX34" fmla="*/ 128664 w 181730"/>
                <a:gd name="connsiteY34" fmla="*/ 41419 h 318010"/>
                <a:gd name="connsiteX35" fmla="*/ 118629 w 181730"/>
                <a:gd name="connsiteY35" fmla="*/ 32011 h 318010"/>
                <a:gd name="connsiteX36" fmla="*/ 118629 w 181730"/>
                <a:gd name="connsiteY36" fmla="*/ 32011 h 318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81730" h="318010">
                  <a:moveTo>
                    <a:pt x="127409" y="318010"/>
                  </a:moveTo>
                  <a:lnTo>
                    <a:pt x="127409" y="318010"/>
                  </a:lnTo>
                  <a:cubicBezTo>
                    <a:pt x="113611" y="318010"/>
                    <a:pt x="100440" y="311738"/>
                    <a:pt x="91659" y="301076"/>
                  </a:cubicBezTo>
                  <a:lnTo>
                    <a:pt x="52146" y="253409"/>
                  </a:lnTo>
                  <a:cubicBezTo>
                    <a:pt x="39602" y="238357"/>
                    <a:pt x="13888" y="185673"/>
                    <a:pt x="9497" y="166857"/>
                  </a:cubicBezTo>
                  <a:lnTo>
                    <a:pt x="1344" y="131735"/>
                  </a:lnTo>
                  <a:cubicBezTo>
                    <a:pt x="-3674" y="107901"/>
                    <a:pt x="5734" y="81559"/>
                    <a:pt x="23296" y="68388"/>
                  </a:cubicBezTo>
                  <a:lnTo>
                    <a:pt x="97304" y="6924"/>
                  </a:lnTo>
                  <a:cubicBezTo>
                    <a:pt x="119883" y="-9383"/>
                    <a:pt x="151870" y="5042"/>
                    <a:pt x="160023" y="30130"/>
                  </a:cubicBezTo>
                  <a:lnTo>
                    <a:pt x="164414" y="43301"/>
                  </a:lnTo>
                  <a:cubicBezTo>
                    <a:pt x="170685" y="62744"/>
                    <a:pt x="170685" y="92221"/>
                    <a:pt x="164414" y="111037"/>
                  </a:cubicBezTo>
                  <a:lnTo>
                    <a:pt x="150615" y="151177"/>
                  </a:lnTo>
                  <a:cubicBezTo>
                    <a:pt x="146852" y="162467"/>
                    <a:pt x="148106" y="183791"/>
                    <a:pt x="154378" y="195081"/>
                  </a:cubicBezTo>
                  <a:lnTo>
                    <a:pt x="175703" y="236475"/>
                  </a:lnTo>
                  <a:cubicBezTo>
                    <a:pt x="186992" y="258427"/>
                    <a:pt x="181975" y="286651"/>
                    <a:pt x="164414" y="300449"/>
                  </a:cubicBezTo>
                  <a:lnTo>
                    <a:pt x="154378" y="308602"/>
                  </a:lnTo>
                  <a:cubicBezTo>
                    <a:pt x="146225" y="314874"/>
                    <a:pt x="137444" y="318010"/>
                    <a:pt x="127409" y="318010"/>
                  </a:cubicBezTo>
                  <a:lnTo>
                    <a:pt x="127409" y="318010"/>
                  </a:lnTo>
                  <a:close/>
                  <a:moveTo>
                    <a:pt x="118629" y="32011"/>
                  </a:moveTo>
                  <a:cubicBezTo>
                    <a:pt x="117374" y="32011"/>
                    <a:pt x="116747" y="32011"/>
                    <a:pt x="116120" y="32638"/>
                  </a:cubicBezTo>
                  <a:lnTo>
                    <a:pt x="41484" y="94103"/>
                  </a:lnTo>
                  <a:cubicBezTo>
                    <a:pt x="33958" y="99748"/>
                    <a:pt x="28313" y="114173"/>
                    <a:pt x="30822" y="125463"/>
                  </a:cubicBezTo>
                  <a:lnTo>
                    <a:pt x="38975" y="160585"/>
                  </a:lnTo>
                  <a:cubicBezTo>
                    <a:pt x="42111" y="174384"/>
                    <a:pt x="65317" y="222677"/>
                    <a:pt x="74725" y="233967"/>
                  </a:cubicBezTo>
                  <a:lnTo>
                    <a:pt x="114238" y="281633"/>
                  </a:lnTo>
                  <a:cubicBezTo>
                    <a:pt x="117374" y="285396"/>
                    <a:pt x="121765" y="287278"/>
                    <a:pt x="126155" y="287278"/>
                  </a:cubicBezTo>
                  <a:lnTo>
                    <a:pt x="126155" y="287278"/>
                  </a:lnTo>
                  <a:cubicBezTo>
                    <a:pt x="128037" y="287278"/>
                    <a:pt x="130545" y="286651"/>
                    <a:pt x="133054" y="284769"/>
                  </a:cubicBezTo>
                  <a:lnTo>
                    <a:pt x="143089" y="276616"/>
                  </a:lnTo>
                  <a:cubicBezTo>
                    <a:pt x="148734" y="272225"/>
                    <a:pt x="151242" y="260309"/>
                    <a:pt x="146225" y="251528"/>
                  </a:cubicBezTo>
                  <a:lnTo>
                    <a:pt x="124901" y="210134"/>
                  </a:lnTo>
                  <a:cubicBezTo>
                    <a:pt x="114865" y="191318"/>
                    <a:pt x="112984" y="161840"/>
                    <a:pt x="119256" y="142397"/>
                  </a:cubicBezTo>
                  <a:lnTo>
                    <a:pt x="133054" y="102257"/>
                  </a:lnTo>
                  <a:cubicBezTo>
                    <a:pt x="137444" y="89713"/>
                    <a:pt x="137444" y="67134"/>
                    <a:pt x="133054" y="54590"/>
                  </a:cubicBezTo>
                  <a:lnTo>
                    <a:pt x="128664" y="41419"/>
                  </a:lnTo>
                  <a:cubicBezTo>
                    <a:pt x="128664" y="35147"/>
                    <a:pt x="123019" y="32011"/>
                    <a:pt x="118629" y="32011"/>
                  </a:cubicBezTo>
                  <a:lnTo>
                    <a:pt x="118629" y="32011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26" name="Forma Livre: Forma 325">
              <a:extLst>
                <a:ext uri="{FF2B5EF4-FFF2-40B4-BE49-F238E27FC236}">
                  <a16:creationId xmlns:a16="http://schemas.microsoft.com/office/drawing/2014/main" id="{E5475A87-D3CC-4BCF-AA19-705AA1E31CD9}"/>
                </a:ext>
              </a:extLst>
            </p:cNvPr>
            <p:cNvSpPr/>
            <p:nvPr/>
          </p:nvSpPr>
          <p:spPr>
            <a:xfrm>
              <a:off x="6494475" y="5693565"/>
              <a:ext cx="51446" cy="57197"/>
            </a:xfrm>
            <a:custGeom>
              <a:avLst/>
              <a:gdLst>
                <a:gd name="connsiteX0" fmla="*/ 50811 w 51446"/>
                <a:gd name="connsiteY0" fmla="*/ 23572 h 57197"/>
                <a:gd name="connsiteX1" fmla="*/ 31368 w 51446"/>
                <a:gd name="connsiteY1" fmla="*/ 56814 h 57197"/>
                <a:gd name="connsiteX2" fmla="*/ 636 w 51446"/>
                <a:gd name="connsiteY2" fmla="*/ 33607 h 57197"/>
                <a:gd name="connsiteX3" fmla="*/ 20079 w 51446"/>
                <a:gd name="connsiteY3" fmla="*/ 366 h 57197"/>
                <a:gd name="connsiteX4" fmla="*/ 50811 w 51446"/>
                <a:gd name="connsiteY4" fmla="*/ 23572 h 57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446" h="57197">
                  <a:moveTo>
                    <a:pt x="50811" y="23572"/>
                  </a:moveTo>
                  <a:cubicBezTo>
                    <a:pt x="53947" y="39252"/>
                    <a:pt x="45166" y="53678"/>
                    <a:pt x="31368" y="56814"/>
                  </a:cubicBezTo>
                  <a:cubicBezTo>
                    <a:pt x="17570" y="59322"/>
                    <a:pt x="3772" y="49287"/>
                    <a:pt x="636" y="33607"/>
                  </a:cubicBezTo>
                  <a:cubicBezTo>
                    <a:pt x="-2500" y="17928"/>
                    <a:pt x="6280" y="3502"/>
                    <a:pt x="20079" y="366"/>
                  </a:cubicBezTo>
                  <a:cubicBezTo>
                    <a:pt x="33877" y="-2143"/>
                    <a:pt x="47675" y="8520"/>
                    <a:pt x="50811" y="23572"/>
                  </a:cubicBez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27" name="Forma Livre: Forma 326">
              <a:extLst>
                <a:ext uri="{FF2B5EF4-FFF2-40B4-BE49-F238E27FC236}">
                  <a16:creationId xmlns:a16="http://schemas.microsoft.com/office/drawing/2014/main" id="{CE0C4EBA-7C7B-4EE6-841C-EFC3FF88561E}"/>
                </a:ext>
              </a:extLst>
            </p:cNvPr>
            <p:cNvSpPr/>
            <p:nvPr/>
          </p:nvSpPr>
          <p:spPr>
            <a:xfrm>
              <a:off x="6447588" y="5726919"/>
              <a:ext cx="43615" cy="49601"/>
            </a:xfrm>
            <a:custGeom>
              <a:avLst/>
              <a:gdLst>
                <a:gd name="connsiteX0" fmla="*/ 43132 w 43615"/>
                <a:gd name="connsiteY0" fmla="*/ 20324 h 49601"/>
                <a:gd name="connsiteX1" fmla="*/ 26825 w 43615"/>
                <a:gd name="connsiteY1" fmla="*/ 49174 h 49601"/>
                <a:gd name="connsiteX2" fmla="*/ 483 w 43615"/>
                <a:gd name="connsiteY2" fmla="*/ 29104 h 49601"/>
                <a:gd name="connsiteX3" fmla="*/ 16791 w 43615"/>
                <a:gd name="connsiteY3" fmla="*/ 254 h 49601"/>
                <a:gd name="connsiteX4" fmla="*/ 43132 w 43615"/>
                <a:gd name="connsiteY4" fmla="*/ 20324 h 49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615" h="49601">
                  <a:moveTo>
                    <a:pt x="43132" y="20324"/>
                  </a:moveTo>
                  <a:cubicBezTo>
                    <a:pt x="45641" y="33495"/>
                    <a:pt x="38115" y="46665"/>
                    <a:pt x="26825" y="49174"/>
                  </a:cubicBezTo>
                  <a:cubicBezTo>
                    <a:pt x="14909" y="51683"/>
                    <a:pt x="2992" y="42902"/>
                    <a:pt x="483" y="29104"/>
                  </a:cubicBezTo>
                  <a:cubicBezTo>
                    <a:pt x="-2025" y="15933"/>
                    <a:pt x="5501" y="2762"/>
                    <a:pt x="16791" y="254"/>
                  </a:cubicBezTo>
                  <a:cubicBezTo>
                    <a:pt x="28080" y="-1628"/>
                    <a:pt x="39996" y="7152"/>
                    <a:pt x="43132" y="20324"/>
                  </a:cubicBez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28" name="Forma Livre: Forma 327">
              <a:extLst>
                <a:ext uri="{FF2B5EF4-FFF2-40B4-BE49-F238E27FC236}">
                  <a16:creationId xmlns:a16="http://schemas.microsoft.com/office/drawing/2014/main" id="{22B6A9C1-DED0-436D-B176-98B61C8B2A62}"/>
                </a:ext>
              </a:extLst>
            </p:cNvPr>
            <p:cNvSpPr/>
            <p:nvPr/>
          </p:nvSpPr>
          <p:spPr>
            <a:xfrm>
              <a:off x="6412431" y="5767652"/>
              <a:ext cx="38666" cy="43850"/>
            </a:xfrm>
            <a:custGeom>
              <a:avLst/>
              <a:gdLst>
                <a:gd name="connsiteX0" fmla="*/ 38149 w 38666"/>
                <a:gd name="connsiteY0" fmla="*/ 17849 h 43850"/>
                <a:gd name="connsiteX1" fmla="*/ 23724 w 38666"/>
                <a:gd name="connsiteY1" fmla="*/ 43563 h 43850"/>
                <a:gd name="connsiteX2" fmla="*/ 518 w 38666"/>
                <a:gd name="connsiteY2" fmla="*/ 26002 h 43850"/>
                <a:gd name="connsiteX3" fmla="*/ 14943 w 38666"/>
                <a:gd name="connsiteY3" fmla="*/ 287 h 43850"/>
                <a:gd name="connsiteX4" fmla="*/ 38149 w 38666"/>
                <a:gd name="connsiteY4" fmla="*/ 17849 h 4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666" h="43850">
                  <a:moveTo>
                    <a:pt x="38149" y="17849"/>
                  </a:moveTo>
                  <a:cubicBezTo>
                    <a:pt x="40658" y="29765"/>
                    <a:pt x="33759" y="41055"/>
                    <a:pt x="23724" y="43563"/>
                  </a:cubicBezTo>
                  <a:cubicBezTo>
                    <a:pt x="13062" y="45445"/>
                    <a:pt x="2399" y="37919"/>
                    <a:pt x="518" y="26002"/>
                  </a:cubicBezTo>
                  <a:cubicBezTo>
                    <a:pt x="-1991" y="14086"/>
                    <a:pt x="4908" y="2796"/>
                    <a:pt x="14943" y="287"/>
                  </a:cubicBezTo>
                  <a:cubicBezTo>
                    <a:pt x="24978" y="-1594"/>
                    <a:pt x="35640" y="5932"/>
                    <a:pt x="38149" y="17849"/>
                  </a:cubicBez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29" name="Forma Livre: Forma 328">
              <a:extLst>
                <a:ext uri="{FF2B5EF4-FFF2-40B4-BE49-F238E27FC236}">
                  <a16:creationId xmlns:a16="http://schemas.microsoft.com/office/drawing/2014/main" id="{84160197-7A03-4770-AF79-4A90B445D55C}"/>
                </a:ext>
              </a:extLst>
            </p:cNvPr>
            <p:cNvSpPr/>
            <p:nvPr/>
          </p:nvSpPr>
          <p:spPr>
            <a:xfrm>
              <a:off x="6381856" y="5810907"/>
              <a:ext cx="34589" cy="38876"/>
            </a:xfrm>
            <a:custGeom>
              <a:avLst/>
              <a:gdLst>
                <a:gd name="connsiteX0" fmla="*/ 34229 w 34589"/>
                <a:gd name="connsiteY0" fmla="*/ 15989 h 38876"/>
                <a:gd name="connsiteX1" fmla="*/ 21058 w 34589"/>
                <a:gd name="connsiteY1" fmla="*/ 38568 h 38876"/>
                <a:gd name="connsiteX2" fmla="*/ 360 w 34589"/>
                <a:gd name="connsiteY2" fmla="*/ 22888 h 38876"/>
                <a:gd name="connsiteX3" fmla="*/ 13532 w 34589"/>
                <a:gd name="connsiteY3" fmla="*/ 309 h 38876"/>
                <a:gd name="connsiteX4" fmla="*/ 34229 w 34589"/>
                <a:gd name="connsiteY4" fmla="*/ 15989 h 3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589" h="38876">
                  <a:moveTo>
                    <a:pt x="34229" y="15989"/>
                  </a:moveTo>
                  <a:cubicBezTo>
                    <a:pt x="36110" y="26651"/>
                    <a:pt x="30466" y="36686"/>
                    <a:pt x="21058" y="38568"/>
                  </a:cubicBezTo>
                  <a:cubicBezTo>
                    <a:pt x="11650" y="40449"/>
                    <a:pt x="2242" y="33550"/>
                    <a:pt x="360" y="22888"/>
                  </a:cubicBezTo>
                  <a:cubicBezTo>
                    <a:pt x="-1521" y="12226"/>
                    <a:pt x="4124" y="2191"/>
                    <a:pt x="13532" y="309"/>
                  </a:cubicBezTo>
                  <a:cubicBezTo>
                    <a:pt x="22312" y="-1573"/>
                    <a:pt x="31720" y="5327"/>
                    <a:pt x="34229" y="15989"/>
                  </a:cubicBez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30" name="Forma Livre: Forma 329">
              <a:extLst>
                <a:ext uri="{FF2B5EF4-FFF2-40B4-BE49-F238E27FC236}">
                  <a16:creationId xmlns:a16="http://schemas.microsoft.com/office/drawing/2014/main" id="{5AA0E836-84FA-41EF-A37A-941ADBC50E31}"/>
                </a:ext>
              </a:extLst>
            </p:cNvPr>
            <p:cNvSpPr/>
            <p:nvPr/>
          </p:nvSpPr>
          <p:spPr>
            <a:xfrm>
              <a:off x="6602604" y="5769194"/>
              <a:ext cx="182091" cy="317985"/>
            </a:xfrm>
            <a:custGeom>
              <a:avLst/>
              <a:gdLst>
                <a:gd name="connsiteX0" fmla="*/ 54322 w 182091"/>
                <a:gd name="connsiteY0" fmla="*/ 317985 h 317985"/>
                <a:gd name="connsiteX1" fmla="*/ 27352 w 182091"/>
                <a:gd name="connsiteY1" fmla="*/ 308578 h 317985"/>
                <a:gd name="connsiteX2" fmla="*/ 17318 w 182091"/>
                <a:gd name="connsiteY2" fmla="*/ 300424 h 317985"/>
                <a:gd name="connsiteX3" fmla="*/ 6028 w 182091"/>
                <a:gd name="connsiteY3" fmla="*/ 236451 h 317985"/>
                <a:gd name="connsiteX4" fmla="*/ 27352 w 182091"/>
                <a:gd name="connsiteY4" fmla="*/ 195056 h 317985"/>
                <a:gd name="connsiteX5" fmla="*/ 31116 w 182091"/>
                <a:gd name="connsiteY5" fmla="*/ 151153 h 317985"/>
                <a:gd name="connsiteX6" fmla="*/ 17318 w 182091"/>
                <a:gd name="connsiteY6" fmla="*/ 111012 h 317985"/>
                <a:gd name="connsiteX7" fmla="*/ 17318 w 182091"/>
                <a:gd name="connsiteY7" fmla="*/ 43276 h 317985"/>
                <a:gd name="connsiteX8" fmla="*/ 21708 w 182091"/>
                <a:gd name="connsiteY8" fmla="*/ 30105 h 317985"/>
                <a:gd name="connsiteX9" fmla="*/ 63102 w 182091"/>
                <a:gd name="connsiteY9" fmla="*/ 0 h 317985"/>
                <a:gd name="connsiteX10" fmla="*/ 83800 w 182091"/>
                <a:gd name="connsiteY10" fmla="*/ 6899 h 317985"/>
                <a:gd name="connsiteX11" fmla="*/ 159690 w 182091"/>
                <a:gd name="connsiteY11" fmla="*/ 69618 h 317985"/>
                <a:gd name="connsiteX12" fmla="*/ 181014 w 182091"/>
                <a:gd name="connsiteY12" fmla="*/ 131710 h 317985"/>
                <a:gd name="connsiteX13" fmla="*/ 172234 w 182091"/>
                <a:gd name="connsiteY13" fmla="*/ 167460 h 317985"/>
                <a:gd name="connsiteX14" fmla="*/ 129585 w 182091"/>
                <a:gd name="connsiteY14" fmla="*/ 253385 h 317985"/>
                <a:gd name="connsiteX15" fmla="*/ 90072 w 182091"/>
                <a:gd name="connsiteY15" fmla="*/ 300424 h 317985"/>
                <a:gd name="connsiteX16" fmla="*/ 54322 w 182091"/>
                <a:gd name="connsiteY16" fmla="*/ 317985 h 317985"/>
                <a:gd name="connsiteX17" fmla="*/ 54322 w 182091"/>
                <a:gd name="connsiteY17" fmla="*/ 317985 h 317985"/>
                <a:gd name="connsiteX18" fmla="*/ 63102 w 182091"/>
                <a:gd name="connsiteY18" fmla="*/ 31987 h 317985"/>
                <a:gd name="connsiteX19" fmla="*/ 51813 w 182091"/>
                <a:gd name="connsiteY19" fmla="*/ 40767 h 317985"/>
                <a:gd name="connsiteX20" fmla="*/ 47423 w 182091"/>
                <a:gd name="connsiteY20" fmla="*/ 53938 h 317985"/>
                <a:gd name="connsiteX21" fmla="*/ 47423 w 182091"/>
                <a:gd name="connsiteY21" fmla="*/ 101605 h 317985"/>
                <a:gd name="connsiteX22" fmla="*/ 61221 w 182091"/>
                <a:gd name="connsiteY22" fmla="*/ 141745 h 317985"/>
                <a:gd name="connsiteX23" fmla="*/ 55576 w 182091"/>
                <a:gd name="connsiteY23" fmla="*/ 209481 h 317985"/>
                <a:gd name="connsiteX24" fmla="*/ 34252 w 182091"/>
                <a:gd name="connsiteY24" fmla="*/ 250876 h 317985"/>
                <a:gd name="connsiteX25" fmla="*/ 37388 w 182091"/>
                <a:gd name="connsiteY25" fmla="*/ 275964 h 317985"/>
                <a:gd name="connsiteX26" fmla="*/ 47423 w 182091"/>
                <a:gd name="connsiteY26" fmla="*/ 284117 h 317985"/>
                <a:gd name="connsiteX27" fmla="*/ 54322 w 182091"/>
                <a:gd name="connsiteY27" fmla="*/ 286626 h 317985"/>
                <a:gd name="connsiteX28" fmla="*/ 66238 w 182091"/>
                <a:gd name="connsiteY28" fmla="*/ 280981 h 317985"/>
                <a:gd name="connsiteX29" fmla="*/ 105751 w 182091"/>
                <a:gd name="connsiteY29" fmla="*/ 233942 h 317985"/>
                <a:gd name="connsiteX30" fmla="*/ 141501 w 182091"/>
                <a:gd name="connsiteY30" fmla="*/ 161188 h 317985"/>
                <a:gd name="connsiteX31" fmla="*/ 150282 w 182091"/>
                <a:gd name="connsiteY31" fmla="*/ 125438 h 317985"/>
                <a:gd name="connsiteX32" fmla="*/ 140247 w 182091"/>
                <a:gd name="connsiteY32" fmla="*/ 94706 h 317985"/>
                <a:gd name="connsiteX33" fmla="*/ 64357 w 182091"/>
                <a:gd name="connsiteY33" fmla="*/ 31987 h 317985"/>
                <a:gd name="connsiteX34" fmla="*/ 63102 w 182091"/>
                <a:gd name="connsiteY34" fmla="*/ 31987 h 317985"/>
                <a:gd name="connsiteX35" fmla="*/ 63102 w 182091"/>
                <a:gd name="connsiteY35" fmla="*/ 31987 h 317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82091" h="317985">
                  <a:moveTo>
                    <a:pt x="54322" y="317985"/>
                  </a:moveTo>
                  <a:cubicBezTo>
                    <a:pt x="44287" y="317985"/>
                    <a:pt x="34879" y="314849"/>
                    <a:pt x="27352" y="308578"/>
                  </a:cubicBezTo>
                  <a:lnTo>
                    <a:pt x="17318" y="300424"/>
                  </a:lnTo>
                  <a:cubicBezTo>
                    <a:pt x="-244" y="285999"/>
                    <a:pt x="-5262" y="257775"/>
                    <a:pt x="6028" y="236451"/>
                  </a:cubicBezTo>
                  <a:lnTo>
                    <a:pt x="27352" y="195056"/>
                  </a:lnTo>
                  <a:cubicBezTo>
                    <a:pt x="32997" y="183767"/>
                    <a:pt x="34879" y="163070"/>
                    <a:pt x="31116" y="151153"/>
                  </a:cubicBezTo>
                  <a:lnTo>
                    <a:pt x="17318" y="111012"/>
                  </a:lnTo>
                  <a:cubicBezTo>
                    <a:pt x="11046" y="92197"/>
                    <a:pt x="11046" y="62719"/>
                    <a:pt x="17318" y="43276"/>
                  </a:cubicBezTo>
                  <a:lnTo>
                    <a:pt x="21708" y="30105"/>
                  </a:lnTo>
                  <a:cubicBezTo>
                    <a:pt x="27352" y="12544"/>
                    <a:pt x="44914" y="0"/>
                    <a:pt x="63102" y="0"/>
                  </a:cubicBezTo>
                  <a:cubicBezTo>
                    <a:pt x="70629" y="0"/>
                    <a:pt x="78155" y="2509"/>
                    <a:pt x="83800" y="6899"/>
                  </a:cubicBezTo>
                  <a:lnTo>
                    <a:pt x="159690" y="69618"/>
                  </a:lnTo>
                  <a:cubicBezTo>
                    <a:pt x="175997" y="81535"/>
                    <a:pt x="185405" y="108504"/>
                    <a:pt x="181014" y="131710"/>
                  </a:cubicBezTo>
                  <a:lnTo>
                    <a:pt x="172234" y="167460"/>
                  </a:lnTo>
                  <a:cubicBezTo>
                    <a:pt x="168470" y="185648"/>
                    <a:pt x="142756" y="238332"/>
                    <a:pt x="129585" y="253385"/>
                  </a:cubicBezTo>
                  <a:lnTo>
                    <a:pt x="90072" y="300424"/>
                  </a:lnTo>
                  <a:cubicBezTo>
                    <a:pt x="81291" y="311714"/>
                    <a:pt x="68120" y="317985"/>
                    <a:pt x="54322" y="317985"/>
                  </a:cubicBezTo>
                  <a:lnTo>
                    <a:pt x="54322" y="317985"/>
                  </a:lnTo>
                  <a:close/>
                  <a:moveTo>
                    <a:pt x="63102" y="31987"/>
                  </a:moveTo>
                  <a:cubicBezTo>
                    <a:pt x="58712" y="31987"/>
                    <a:pt x="53068" y="35750"/>
                    <a:pt x="51813" y="40767"/>
                  </a:cubicBezTo>
                  <a:lnTo>
                    <a:pt x="47423" y="53938"/>
                  </a:lnTo>
                  <a:cubicBezTo>
                    <a:pt x="43032" y="67109"/>
                    <a:pt x="43032" y="89688"/>
                    <a:pt x="47423" y="101605"/>
                  </a:cubicBezTo>
                  <a:lnTo>
                    <a:pt x="61221" y="141745"/>
                  </a:lnTo>
                  <a:cubicBezTo>
                    <a:pt x="68120" y="161188"/>
                    <a:pt x="65611" y="190666"/>
                    <a:pt x="55576" y="209481"/>
                  </a:cubicBezTo>
                  <a:lnTo>
                    <a:pt x="34252" y="250876"/>
                  </a:lnTo>
                  <a:cubicBezTo>
                    <a:pt x="29234" y="260284"/>
                    <a:pt x="32370" y="271574"/>
                    <a:pt x="37388" y="275964"/>
                  </a:cubicBezTo>
                  <a:lnTo>
                    <a:pt x="47423" y="284117"/>
                  </a:lnTo>
                  <a:cubicBezTo>
                    <a:pt x="49932" y="285999"/>
                    <a:pt x="52440" y="286626"/>
                    <a:pt x="54322" y="286626"/>
                  </a:cubicBezTo>
                  <a:cubicBezTo>
                    <a:pt x="58712" y="286626"/>
                    <a:pt x="63102" y="284744"/>
                    <a:pt x="66238" y="280981"/>
                  </a:cubicBezTo>
                  <a:lnTo>
                    <a:pt x="105751" y="233942"/>
                  </a:lnTo>
                  <a:cubicBezTo>
                    <a:pt x="115159" y="222653"/>
                    <a:pt x="138992" y="174986"/>
                    <a:pt x="141501" y="161188"/>
                  </a:cubicBezTo>
                  <a:lnTo>
                    <a:pt x="150282" y="125438"/>
                  </a:lnTo>
                  <a:cubicBezTo>
                    <a:pt x="152791" y="114148"/>
                    <a:pt x="147146" y="99723"/>
                    <a:pt x="140247" y="94706"/>
                  </a:cubicBezTo>
                  <a:lnTo>
                    <a:pt x="64357" y="31987"/>
                  </a:lnTo>
                  <a:cubicBezTo>
                    <a:pt x="64984" y="31987"/>
                    <a:pt x="63729" y="31987"/>
                    <a:pt x="63102" y="31987"/>
                  </a:cubicBezTo>
                  <a:lnTo>
                    <a:pt x="63102" y="31987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31" name="Forma Livre: Forma 330">
              <a:extLst>
                <a:ext uri="{FF2B5EF4-FFF2-40B4-BE49-F238E27FC236}">
                  <a16:creationId xmlns:a16="http://schemas.microsoft.com/office/drawing/2014/main" id="{596C3349-F839-442B-A4EC-6A77FD766F85}"/>
                </a:ext>
              </a:extLst>
            </p:cNvPr>
            <p:cNvSpPr/>
            <p:nvPr/>
          </p:nvSpPr>
          <p:spPr>
            <a:xfrm>
              <a:off x="6646881" y="5693565"/>
              <a:ext cx="50821" cy="57197"/>
            </a:xfrm>
            <a:custGeom>
              <a:avLst/>
              <a:gdLst>
                <a:gd name="connsiteX0" fmla="*/ 637 w 50821"/>
                <a:gd name="connsiteY0" fmla="*/ 23572 h 57197"/>
                <a:gd name="connsiteX1" fmla="*/ 19453 w 50821"/>
                <a:gd name="connsiteY1" fmla="*/ 56814 h 57197"/>
                <a:gd name="connsiteX2" fmla="*/ 50185 w 50821"/>
                <a:gd name="connsiteY2" fmla="*/ 33607 h 57197"/>
                <a:gd name="connsiteX3" fmla="*/ 30743 w 50821"/>
                <a:gd name="connsiteY3" fmla="*/ 366 h 57197"/>
                <a:gd name="connsiteX4" fmla="*/ 637 w 50821"/>
                <a:gd name="connsiteY4" fmla="*/ 23572 h 57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21" h="57197">
                  <a:moveTo>
                    <a:pt x="637" y="23572"/>
                  </a:moveTo>
                  <a:cubicBezTo>
                    <a:pt x="-2499" y="39252"/>
                    <a:pt x="6282" y="53678"/>
                    <a:pt x="19453" y="56814"/>
                  </a:cubicBezTo>
                  <a:cubicBezTo>
                    <a:pt x="33251" y="59322"/>
                    <a:pt x="47050" y="49287"/>
                    <a:pt x="50185" y="33607"/>
                  </a:cubicBezTo>
                  <a:cubicBezTo>
                    <a:pt x="53321" y="17928"/>
                    <a:pt x="44541" y="3502"/>
                    <a:pt x="30743" y="366"/>
                  </a:cubicBezTo>
                  <a:cubicBezTo>
                    <a:pt x="17571" y="-2143"/>
                    <a:pt x="3773" y="8520"/>
                    <a:pt x="637" y="23572"/>
                  </a:cubicBez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32" name="Forma Livre: Forma 331">
              <a:extLst>
                <a:ext uri="{FF2B5EF4-FFF2-40B4-BE49-F238E27FC236}">
                  <a16:creationId xmlns:a16="http://schemas.microsoft.com/office/drawing/2014/main" id="{A68290FC-E203-486C-9A43-56FEC071A51E}"/>
                </a:ext>
              </a:extLst>
            </p:cNvPr>
            <p:cNvSpPr/>
            <p:nvPr/>
          </p:nvSpPr>
          <p:spPr>
            <a:xfrm>
              <a:off x="6701571" y="5726919"/>
              <a:ext cx="43644" cy="49601"/>
            </a:xfrm>
            <a:custGeom>
              <a:avLst/>
              <a:gdLst>
                <a:gd name="connsiteX0" fmla="*/ 513 w 43644"/>
                <a:gd name="connsiteY0" fmla="*/ 20324 h 49601"/>
                <a:gd name="connsiteX1" fmla="*/ 16820 w 43644"/>
                <a:gd name="connsiteY1" fmla="*/ 49174 h 49601"/>
                <a:gd name="connsiteX2" fmla="*/ 43162 w 43644"/>
                <a:gd name="connsiteY2" fmla="*/ 29104 h 49601"/>
                <a:gd name="connsiteX3" fmla="*/ 26855 w 43644"/>
                <a:gd name="connsiteY3" fmla="*/ 254 h 49601"/>
                <a:gd name="connsiteX4" fmla="*/ 513 w 43644"/>
                <a:gd name="connsiteY4" fmla="*/ 20324 h 49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644" h="49601">
                  <a:moveTo>
                    <a:pt x="513" y="20324"/>
                  </a:moveTo>
                  <a:cubicBezTo>
                    <a:pt x="-1996" y="33495"/>
                    <a:pt x="4903" y="46665"/>
                    <a:pt x="16820" y="49174"/>
                  </a:cubicBezTo>
                  <a:cubicBezTo>
                    <a:pt x="28736" y="51683"/>
                    <a:pt x="40653" y="42902"/>
                    <a:pt x="43162" y="29104"/>
                  </a:cubicBezTo>
                  <a:cubicBezTo>
                    <a:pt x="45670" y="15933"/>
                    <a:pt x="38144" y="2762"/>
                    <a:pt x="26855" y="254"/>
                  </a:cubicBezTo>
                  <a:cubicBezTo>
                    <a:pt x="15565" y="-1628"/>
                    <a:pt x="3649" y="7152"/>
                    <a:pt x="513" y="20324"/>
                  </a:cubicBez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33" name="Forma Livre: Forma 332">
              <a:extLst>
                <a:ext uri="{FF2B5EF4-FFF2-40B4-BE49-F238E27FC236}">
                  <a16:creationId xmlns:a16="http://schemas.microsoft.com/office/drawing/2014/main" id="{4DABC0EF-7704-4674-9A05-1E1EC6CC9BA7}"/>
                </a:ext>
              </a:extLst>
            </p:cNvPr>
            <p:cNvSpPr/>
            <p:nvPr/>
          </p:nvSpPr>
          <p:spPr>
            <a:xfrm>
              <a:off x="6741706" y="5767652"/>
              <a:ext cx="38666" cy="43850"/>
            </a:xfrm>
            <a:custGeom>
              <a:avLst/>
              <a:gdLst>
                <a:gd name="connsiteX0" fmla="*/ 518 w 38666"/>
                <a:gd name="connsiteY0" fmla="*/ 17849 h 43850"/>
                <a:gd name="connsiteX1" fmla="*/ 14943 w 38666"/>
                <a:gd name="connsiteY1" fmla="*/ 43563 h 43850"/>
                <a:gd name="connsiteX2" fmla="*/ 38149 w 38666"/>
                <a:gd name="connsiteY2" fmla="*/ 26002 h 43850"/>
                <a:gd name="connsiteX3" fmla="*/ 23724 w 38666"/>
                <a:gd name="connsiteY3" fmla="*/ 287 h 43850"/>
                <a:gd name="connsiteX4" fmla="*/ 518 w 38666"/>
                <a:gd name="connsiteY4" fmla="*/ 17849 h 4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666" h="43850">
                  <a:moveTo>
                    <a:pt x="518" y="17849"/>
                  </a:moveTo>
                  <a:cubicBezTo>
                    <a:pt x="-1991" y="29765"/>
                    <a:pt x="4908" y="41055"/>
                    <a:pt x="14943" y="43563"/>
                  </a:cubicBezTo>
                  <a:cubicBezTo>
                    <a:pt x="25605" y="45445"/>
                    <a:pt x="36268" y="37919"/>
                    <a:pt x="38149" y="26002"/>
                  </a:cubicBezTo>
                  <a:cubicBezTo>
                    <a:pt x="40658" y="14086"/>
                    <a:pt x="33759" y="2796"/>
                    <a:pt x="23724" y="287"/>
                  </a:cubicBezTo>
                  <a:cubicBezTo>
                    <a:pt x="13689" y="-1594"/>
                    <a:pt x="3026" y="5932"/>
                    <a:pt x="518" y="17849"/>
                  </a:cubicBez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34" name="Forma Livre: Forma 333">
              <a:extLst>
                <a:ext uri="{FF2B5EF4-FFF2-40B4-BE49-F238E27FC236}">
                  <a16:creationId xmlns:a16="http://schemas.microsoft.com/office/drawing/2014/main" id="{0346E1D2-2EAB-4AF2-A17C-B330C1865D50}"/>
                </a:ext>
              </a:extLst>
            </p:cNvPr>
            <p:cNvSpPr/>
            <p:nvPr/>
          </p:nvSpPr>
          <p:spPr>
            <a:xfrm>
              <a:off x="6776359" y="5810907"/>
              <a:ext cx="34589" cy="38876"/>
            </a:xfrm>
            <a:custGeom>
              <a:avLst/>
              <a:gdLst>
                <a:gd name="connsiteX0" fmla="*/ 360 w 34589"/>
                <a:gd name="connsiteY0" fmla="*/ 15989 h 38876"/>
                <a:gd name="connsiteX1" fmla="*/ 13531 w 34589"/>
                <a:gd name="connsiteY1" fmla="*/ 38568 h 38876"/>
                <a:gd name="connsiteX2" fmla="*/ 34229 w 34589"/>
                <a:gd name="connsiteY2" fmla="*/ 22888 h 38876"/>
                <a:gd name="connsiteX3" fmla="*/ 21058 w 34589"/>
                <a:gd name="connsiteY3" fmla="*/ 309 h 38876"/>
                <a:gd name="connsiteX4" fmla="*/ 360 w 34589"/>
                <a:gd name="connsiteY4" fmla="*/ 15989 h 38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589" h="38876">
                  <a:moveTo>
                    <a:pt x="360" y="15989"/>
                  </a:moveTo>
                  <a:cubicBezTo>
                    <a:pt x="-1521" y="26651"/>
                    <a:pt x="4123" y="36686"/>
                    <a:pt x="13531" y="38568"/>
                  </a:cubicBezTo>
                  <a:cubicBezTo>
                    <a:pt x="22939" y="40449"/>
                    <a:pt x="32347" y="33550"/>
                    <a:pt x="34229" y="22888"/>
                  </a:cubicBezTo>
                  <a:cubicBezTo>
                    <a:pt x="36110" y="12226"/>
                    <a:pt x="30466" y="2191"/>
                    <a:pt x="21058" y="309"/>
                  </a:cubicBezTo>
                  <a:cubicBezTo>
                    <a:pt x="12277" y="-1573"/>
                    <a:pt x="2869" y="5327"/>
                    <a:pt x="360" y="15989"/>
                  </a:cubicBez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35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9456998" y="5703193"/>
            <a:ext cx="396251" cy="359526"/>
            <a:chOff x="9456998" y="5703193"/>
            <a:chExt cx="396251" cy="359526"/>
          </a:xfrm>
          <a:solidFill>
            <a:srgbClr val="B1B1A1"/>
          </a:solidFill>
        </p:grpSpPr>
        <p:sp>
          <p:nvSpPr>
            <p:cNvPr id="336" name="Forma Livre: Forma 335">
              <a:extLst>
                <a:ext uri="{FF2B5EF4-FFF2-40B4-BE49-F238E27FC236}">
                  <a16:creationId xmlns:a16="http://schemas.microsoft.com/office/drawing/2014/main" id="{B6845A00-A14F-4200-B8F3-E200260769C4}"/>
                </a:ext>
              </a:extLst>
            </p:cNvPr>
            <p:cNvSpPr/>
            <p:nvPr/>
          </p:nvSpPr>
          <p:spPr>
            <a:xfrm>
              <a:off x="9510017" y="5772957"/>
              <a:ext cx="289761" cy="289762"/>
            </a:xfrm>
            <a:custGeom>
              <a:avLst/>
              <a:gdLst>
                <a:gd name="connsiteX0" fmla="*/ 144881 w 289761"/>
                <a:gd name="connsiteY0" fmla="*/ 289762 h 289762"/>
                <a:gd name="connsiteX1" fmla="*/ 0 w 289761"/>
                <a:gd name="connsiteY1" fmla="*/ 144881 h 289762"/>
                <a:gd name="connsiteX2" fmla="*/ 144881 w 289761"/>
                <a:gd name="connsiteY2" fmla="*/ 0 h 289762"/>
                <a:gd name="connsiteX3" fmla="*/ 289762 w 289761"/>
                <a:gd name="connsiteY3" fmla="*/ 144881 h 289762"/>
                <a:gd name="connsiteX4" fmla="*/ 144881 w 289761"/>
                <a:gd name="connsiteY4" fmla="*/ 289762 h 289762"/>
                <a:gd name="connsiteX5" fmla="*/ 144881 w 289761"/>
                <a:gd name="connsiteY5" fmla="*/ 289762 h 289762"/>
                <a:gd name="connsiteX6" fmla="*/ 144881 w 289761"/>
                <a:gd name="connsiteY6" fmla="*/ 33241 h 289762"/>
                <a:gd name="connsiteX7" fmla="*/ 33241 w 289761"/>
                <a:gd name="connsiteY7" fmla="*/ 144881 h 289762"/>
                <a:gd name="connsiteX8" fmla="*/ 144881 w 289761"/>
                <a:gd name="connsiteY8" fmla="*/ 256521 h 289762"/>
                <a:gd name="connsiteX9" fmla="*/ 256521 w 289761"/>
                <a:gd name="connsiteY9" fmla="*/ 144881 h 289762"/>
                <a:gd name="connsiteX10" fmla="*/ 144881 w 289761"/>
                <a:gd name="connsiteY10" fmla="*/ 33241 h 289762"/>
                <a:gd name="connsiteX11" fmla="*/ 144881 w 289761"/>
                <a:gd name="connsiteY11" fmla="*/ 33241 h 289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9761" h="289762">
                  <a:moveTo>
                    <a:pt x="144881" y="289762"/>
                  </a:moveTo>
                  <a:cubicBezTo>
                    <a:pt x="65228" y="289762"/>
                    <a:pt x="0" y="224534"/>
                    <a:pt x="0" y="144881"/>
                  </a:cubicBezTo>
                  <a:cubicBezTo>
                    <a:pt x="0" y="65228"/>
                    <a:pt x="65228" y="0"/>
                    <a:pt x="144881" y="0"/>
                  </a:cubicBezTo>
                  <a:cubicBezTo>
                    <a:pt x="224535" y="0"/>
                    <a:pt x="289762" y="65228"/>
                    <a:pt x="289762" y="144881"/>
                  </a:cubicBezTo>
                  <a:cubicBezTo>
                    <a:pt x="289762" y="224534"/>
                    <a:pt x="225162" y="289762"/>
                    <a:pt x="144881" y="289762"/>
                  </a:cubicBezTo>
                  <a:lnTo>
                    <a:pt x="144881" y="289762"/>
                  </a:lnTo>
                  <a:close/>
                  <a:moveTo>
                    <a:pt x="144881" y="33241"/>
                  </a:moveTo>
                  <a:cubicBezTo>
                    <a:pt x="83417" y="33241"/>
                    <a:pt x="33241" y="83416"/>
                    <a:pt x="33241" y="144881"/>
                  </a:cubicBezTo>
                  <a:cubicBezTo>
                    <a:pt x="33241" y="206346"/>
                    <a:pt x="83417" y="256521"/>
                    <a:pt x="144881" y="256521"/>
                  </a:cubicBezTo>
                  <a:cubicBezTo>
                    <a:pt x="206346" y="256521"/>
                    <a:pt x="256521" y="206346"/>
                    <a:pt x="256521" y="144881"/>
                  </a:cubicBezTo>
                  <a:cubicBezTo>
                    <a:pt x="256521" y="83416"/>
                    <a:pt x="206346" y="33241"/>
                    <a:pt x="144881" y="33241"/>
                  </a:cubicBezTo>
                  <a:lnTo>
                    <a:pt x="144881" y="33241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37" name="Forma Livre: Forma 336">
              <a:extLst>
                <a:ext uri="{FF2B5EF4-FFF2-40B4-BE49-F238E27FC236}">
                  <a16:creationId xmlns:a16="http://schemas.microsoft.com/office/drawing/2014/main" id="{ED5F17E2-7425-40AE-B812-6B3957BEFE93}"/>
                </a:ext>
              </a:extLst>
            </p:cNvPr>
            <p:cNvSpPr/>
            <p:nvPr/>
          </p:nvSpPr>
          <p:spPr>
            <a:xfrm>
              <a:off x="9637964" y="5772330"/>
              <a:ext cx="33868" cy="290389"/>
            </a:xfrm>
            <a:custGeom>
              <a:avLst/>
              <a:gdLst>
                <a:gd name="connsiteX0" fmla="*/ 16934 w 33868"/>
                <a:gd name="connsiteY0" fmla="*/ 290389 h 290389"/>
                <a:gd name="connsiteX1" fmla="*/ 0 w 33868"/>
                <a:gd name="connsiteY1" fmla="*/ 273455 h 290389"/>
                <a:gd name="connsiteX2" fmla="*/ 0 w 33868"/>
                <a:gd name="connsiteY2" fmla="*/ 16934 h 290389"/>
                <a:gd name="connsiteX3" fmla="*/ 16934 w 33868"/>
                <a:gd name="connsiteY3" fmla="*/ 0 h 290389"/>
                <a:gd name="connsiteX4" fmla="*/ 33868 w 33868"/>
                <a:gd name="connsiteY4" fmla="*/ 16934 h 290389"/>
                <a:gd name="connsiteX5" fmla="*/ 33868 w 33868"/>
                <a:gd name="connsiteY5" fmla="*/ 273455 h 290389"/>
                <a:gd name="connsiteX6" fmla="*/ 16934 w 33868"/>
                <a:gd name="connsiteY6" fmla="*/ 290389 h 290389"/>
                <a:gd name="connsiteX7" fmla="*/ 16934 w 33868"/>
                <a:gd name="connsiteY7" fmla="*/ 290389 h 290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868" h="290389">
                  <a:moveTo>
                    <a:pt x="16934" y="290389"/>
                  </a:moveTo>
                  <a:cubicBezTo>
                    <a:pt x="7526" y="290389"/>
                    <a:pt x="0" y="282863"/>
                    <a:pt x="0" y="273455"/>
                  </a:cubicBezTo>
                  <a:lnTo>
                    <a:pt x="0" y="16934"/>
                  </a:lnTo>
                  <a:cubicBezTo>
                    <a:pt x="0" y="7526"/>
                    <a:pt x="7526" y="0"/>
                    <a:pt x="16934" y="0"/>
                  </a:cubicBezTo>
                  <a:cubicBezTo>
                    <a:pt x="26342" y="0"/>
                    <a:pt x="33868" y="7526"/>
                    <a:pt x="33868" y="16934"/>
                  </a:cubicBezTo>
                  <a:lnTo>
                    <a:pt x="33868" y="273455"/>
                  </a:lnTo>
                  <a:cubicBezTo>
                    <a:pt x="33868" y="282863"/>
                    <a:pt x="26342" y="290389"/>
                    <a:pt x="16934" y="290389"/>
                  </a:cubicBezTo>
                  <a:lnTo>
                    <a:pt x="16934" y="290389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338" name="Gráfico 2">
              <a:extLst>
                <a:ext uri="{FF2B5EF4-FFF2-40B4-BE49-F238E27FC236}">
                  <a16:creationId xmlns:a16="http://schemas.microsoft.com/office/drawing/2014/main" id="{F5ABA5BB-819F-4501-AD77-3F762FEA4CEA}"/>
                </a:ext>
              </a:extLst>
            </p:cNvPr>
            <p:cNvGrpSpPr/>
            <p:nvPr/>
          </p:nvGrpSpPr>
          <p:grpSpPr>
            <a:xfrm>
              <a:off x="9456998" y="5784664"/>
              <a:ext cx="396251" cy="272410"/>
              <a:chOff x="9456998" y="5784664"/>
              <a:chExt cx="396251" cy="272410"/>
            </a:xfrm>
            <a:grpFill/>
          </p:grpSpPr>
          <p:grpSp>
            <p:nvGrpSpPr>
              <p:cNvPr id="339" name="Gráfico 2">
                <a:extLst>
                  <a:ext uri="{FF2B5EF4-FFF2-40B4-BE49-F238E27FC236}">
                    <a16:creationId xmlns:a16="http://schemas.microsoft.com/office/drawing/2014/main" id="{F5ABA5BB-819F-4501-AD77-3F762FEA4CEA}"/>
                  </a:ext>
                </a:extLst>
              </p:cNvPr>
              <p:cNvGrpSpPr/>
              <p:nvPr/>
            </p:nvGrpSpPr>
            <p:grpSpPr>
              <a:xfrm>
                <a:off x="9456998" y="5784664"/>
                <a:ext cx="118456" cy="272410"/>
                <a:chOff x="9456998" y="5784664"/>
                <a:chExt cx="118456" cy="272410"/>
              </a:xfrm>
              <a:grpFill/>
            </p:grpSpPr>
            <p:grpSp>
              <p:nvGrpSpPr>
                <p:cNvPr id="340" name="Gráfico 2">
                  <a:extLst>
                    <a:ext uri="{FF2B5EF4-FFF2-40B4-BE49-F238E27FC236}">
                      <a16:creationId xmlns:a16="http://schemas.microsoft.com/office/drawing/2014/main" id="{F5ABA5BB-819F-4501-AD77-3F762FEA4CEA}"/>
                    </a:ext>
                  </a:extLst>
                </p:cNvPr>
                <p:cNvGrpSpPr/>
                <p:nvPr/>
              </p:nvGrpSpPr>
              <p:grpSpPr>
                <a:xfrm>
                  <a:off x="9489110" y="5784664"/>
                  <a:ext cx="86345" cy="272410"/>
                  <a:chOff x="9489110" y="5784664"/>
                  <a:chExt cx="86345" cy="272410"/>
                </a:xfrm>
                <a:grpFill/>
              </p:grpSpPr>
              <p:sp>
                <p:nvSpPr>
                  <p:cNvPr id="341" name="Forma Livre: Forma 340">
                    <a:extLst>
                      <a:ext uri="{FF2B5EF4-FFF2-40B4-BE49-F238E27FC236}">
                        <a16:creationId xmlns:a16="http://schemas.microsoft.com/office/drawing/2014/main" id="{81F6EBCE-F4ED-4587-9D37-B548A16093E8}"/>
                      </a:ext>
                    </a:extLst>
                  </p:cNvPr>
                  <p:cNvSpPr/>
                  <p:nvPr/>
                </p:nvSpPr>
                <p:spPr>
                  <a:xfrm>
                    <a:off x="9489110" y="5784664"/>
                    <a:ext cx="79445" cy="54148"/>
                  </a:xfrm>
                  <a:custGeom>
                    <a:avLst/>
                    <a:gdLst>
                      <a:gd name="connsiteX0" fmla="*/ 62929 w 79445"/>
                      <a:gd name="connsiteY0" fmla="*/ 54149 h 54148"/>
                      <a:gd name="connsiteX1" fmla="*/ 56030 w 79445"/>
                      <a:gd name="connsiteY1" fmla="*/ 52894 h 54148"/>
                      <a:gd name="connsiteX2" fmla="*/ 9617 w 79445"/>
                      <a:gd name="connsiteY2" fmla="*/ 31570 h 54148"/>
                      <a:gd name="connsiteX3" fmla="*/ 1464 w 79445"/>
                      <a:gd name="connsiteY3" fmla="*/ 9618 h 54148"/>
                      <a:gd name="connsiteX4" fmla="*/ 23416 w 79445"/>
                      <a:gd name="connsiteY4" fmla="*/ 1464 h 54148"/>
                      <a:gd name="connsiteX5" fmla="*/ 69828 w 79445"/>
                      <a:gd name="connsiteY5" fmla="*/ 22789 h 54148"/>
                      <a:gd name="connsiteX6" fmla="*/ 77981 w 79445"/>
                      <a:gd name="connsiteY6" fmla="*/ 44741 h 54148"/>
                      <a:gd name="connsiteX7" fmla="*/ 62929 w 79445"/>
                      <a:gd name="connsiteY7" fmla="*/ 54149 h 54148"/>
                      <a:gd name="connsiteX8" fmla="*/ 62929 w 79445"/>
                      <a:gd name="connsiteY8" fmla="*/ 54149 h 541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79445" h="54148">
                        <a:moveTo>
                          <a:pt x="62929" y="54149"/>
                        </a:moveTo>
                        <a:cubicBezTo>
                          <a:pt x="60420" y="54149"/>
                          <a:pt x="57912" y="53522"/>
                          <a:pt x="56030" y="52894"/>
                        </a:cubicBezTo>
                        <a:lnTo>
                          <a:pt x="9617" y="31570"/>
                        </a:lnTo>
                        <a:cubicBezTo>
                          <a:pt x="1464" y="27806"/>
                          <a:pt x="-2299" y="17772"/>
                          <a:pt x="1464" y="9618"/>
                        </a:cubicBezTo>
                        <a:cubicBezTo>
                          <a:pt x="5227" y="1464"/>
                          <a:pt x="15262" y="-2299"/>
                          <a:pt x="23416" y="1464"/>
                        </a:cubicBezTo>
                        <a:lnTo>
                          <a:pt x="69828" y="22789"/>
                        </a:lnTo>
                        <a:cubicBezTo>
                          <a:pt x="77981" y="26552"/>
                          <a:pt x="81744" y="36587"/>
                          <a:pt x="77981" y="44741"/>
                        </a:cubicBezTo>
                        <a:cubicBezTo>
                          <a:pt x="75472" y="51013"/>
                          <a:pt x="69201" y="54149"/>
                          <a:pt x="62929" y="54149"/>
                        </a:cubicBezTo>
                        <a:lnTo>
                          <a:pt x="62929" y="54149"/>
                        </a:lnTo>
                        <a:close/>
                      </a:path>
                    </a:pathLst>
                  </a:custGeom>
                  <a:grpFill/>
                  <a:ln w="626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BR"/>
                  </a:p>
                </p:txBody>
              </p:sp>
              <p:sp>
                <p:nvSpPr>
                  <p:cNvPr id="342" name="Forma Livre: Forma 341">
                    <a:extLst>
                      <a:ext uri="{FF2B5EF4-FFF2-40B4-BE49-F238E27FC236}">
                        <a16:creationId xmlns:a16="http://schemas.microsoft.com/office/drawing/2014/main" id="{1AABC165-1AD5-42AE-9767-83E025DAFE63}"/>
                      </a:ext>
                    </a:extLst>
                  </p:cNvPr>
                  <p:cNvSpPr/>
                  <p:nvPr/>
                </p:nvSpPr>
                <p:spPr>
                  <a:xfrm>
                    <a:off x="9496009" y="6002926"/>
                    <a:ext cx="79446" cy="54148"/>
                  </a:xfrm>
                  <a:custGeom>
                    <a:avLst/>
                    <a:gdLst>
                      <a:gd name="connsiteX0" fmla="*/ 16517 w 79446"/>
                      <a:gd name="connsiteY0" fmla="*/ 54148 h 54148"/>
                      <a:gd name="connsiteX1" fmla="*/ 1464 w 79446"/>
                      <a:gd name="connsiteY1" fmla="*/ 44740 h 54148"/>
                      <a:gd name="connsiteX2" fmla="*/ 9618 w 79446"/>
                      <a:gd name="connsiteY2" fmla="*/ 22789 h 54148"/>
                      <a:gd name="connsiteX3" fmla="*/ 56030 w 79446"/>
                      <a:gd name="connsiteY3" fmla="*/ 1465 h 54148"/>
                      <a:gd name="connsiteX4" fmla="*/ 77981 w 79446"/>
                      <a:gd name="connsiteY4" fmla="*/ 9618 h 54148"/>
                      <a:gd name="connsiteX5" fmla="*/ 69828 w 79446"/>
                      <a:gd name="connsiteY5" fmla="*/ 31570 h 54148"/>
                      <a:gd name="connsiteX6" fmla="*/ 23416 w 79446"/>
                      <a:gd name="connsiteY6" fmla="*/ 52894 h 54148"/>
                      <a:gd name="connsiteX7" fmla="*/ 16517 w 79446"/>
                      <a:gd name="connsiteY7" fmla="*/ 54148 h 54148"/>
                      <a:gd name="connsiteX8" fmla="*/ 16517 w 79446"/>
                      <a:gd name="connsiteY8" fmla="*/ 54148 h 541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79446" h="54148">
                        <a:moveTo>
                          <a:pt x="16517" y="54148"/>
                        </a:moveTo>
                        <a:cubicBezTo>
                          <a:pt x="10245" y="54148"/>
                          <a:pt x="3973" y="50385"/>
                          <a:pt x="1464" y="44740"/>
                        </a:cubicBezTo>
                        <a:cubicBezTo>
                          <a:pt x="-2299" y="36587"/>
                          <a:pt x="1464" y="26552"/>
                          <a:pt x="9618" y="22789"/>
                        </a:cubicBezTo>
                        <a:lnTo>
                          <a:pt x="56030" y="1465"/>
                        </a:lnTo>
                        <a:cubicBezTo>
                          <a:pt x="64183" y="-2299"/>
                          <a:pt x="74218" y="1465"/>
                          <a:pt x="77981" y="9618"/>
                        </a:cubicBezTo>
                        <a:cubicBezTo>
                          <a:pt x="81745" y="17771"/>
                          <a:pt x="77981" y="27806"/>
                          <a:pt x="69828" y="31570"/>
                        </a:cubicBezTo>
                        <a:lnTo>
                          <a:pt x="23416" y="52894"/>
                        </a:lnTo>
                        <a:cubicBezTo>
                          <a:pt x="21534" y="53521"/>
                          <a:pt x="19026" y="54148"/>
                          <a:pt x="16517" y="54148"/>
                        </a:cubicBezTo>
                        <a:lnTo>
                          <a:pt x="16517" y="54148"/>
                        </a:lnTo>
                        <a:close/>
                      </a:path>
                    </a:pathLst>
                  </a:custGeom>
                  <a:grpFill/>
                  <a:ln w="626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BR"/>
                  </a:p>
                </p:txBody>
              </p:sp>
            </p:grpSp>
            <p:sp>
              <p:nvSpPr>
                <p:cNvPr id="343" name="Forma Livre: Forma 342">
                  <a:extLst>
                    <a:ext uri="{FF2B5EF4-FFF2-40B4-BE49-F238E27FC236}">
                      <a16:creationId xmlns:a16="http://schemas.microsoft.com/office/drawing/2014/main" id="{073269CA-D466-49ED-88A5-4A24610C7EC7}"/>
                    </a:ext>
                  </a:extLst>
                </p:cNvPr>
                <p:cNvSpPr/>
                <p:nvPr/>
              </p:nvSpPr>
              <p:spPr>
                <a:xfrm>
                  <a:off x="9456998" y="5859175"/>
                  <a:ext cx="83459" cy="43611"/>
                </a:xfrm>
                <a:custGeom>
                  <a:avLst/>
                  <a:gdLst>
                    <a:gd name="connsiteX0" fmla="*/ 66817 w 83459"/>
                    <a:gd name="connsiteY0" fmla="*/ 43611 h 43611"/>
                    <a:gd name="connsiteX1" fmla="*/ 63681 w 83459"/>
                    <a:gd name="connsiteY1" fmla="*/ 42984 h 43611"/>
                    <a:gd name="connsiteX2" fmla="*/ 13506 w 83459"/>
                    <a:gd name="connsiteY2" fmla="*/ 32949 h 43611"/>
                    <a:gd name="connsiteX3" fmla="*/ 335 w 83459"/>
                    <a:gd name="connsiteY3" fmla="*/ 13506 h 43611"/>
                    <a:gd name="connsiteX4" fmla="*/ 19778 w 83459"/>
                    <a:gd name="connsiteY4" fmla="*/ 335 h 43611"/>
                    <a:gd name="connsiteX5" fmla="*/ 69953 w 83459"/>
                    <a:gd name="connsiteY5" fmla="*/ 10370 h 43611"/>
                    <a:gd name="connsiteX6" fmla="*/ 83124 w 83459"/>
                    <a:gd name="connsiteY6" fmla="*/ 29813 h 43611"/>
                    <a:gd name="connsiteX7" fmla="*/ 66817 w 83459"/>
                    <a:gd name="connsiteY7" fmla="*/ 43611 h 43611"/>
                    <a:gd name="connsiteX8" fmla="*/ 66817 w 83459"/>
                    <a:gd name="connsiteY8" fmla="*/ 43611 h 436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3459" h="43611">
                      <a:moveTo>
                        <a:pt x="66817" y="43611"/>
                      </a:moveTo>
                      <a:cubicBezTo>
                        <a:pt x="65563" y="43611"/>
                        <a:pt x="64936" y="43611"/>
                        <a:pt x="63681" y="42984"/>
                      </a:cubicBezTo>
                      <a:lnTo>
                        <a:pt x="13506" y="32949"/>
                      </a:lnTo>
                      <a:cubicBezTo>
                        <a:pt x="4726" y="31067"/>
                        <a:pt x="-1546" y="22287"/>
                        <a:pt x="335" y="13506"/>
                      </a:cubicBezTo>
                      <a:cubicBezTo>
                        <a:pt x="2217" y="4725"/>
                        <a:pt x="10997" y="-1547"/>
                        <a:pt x="19778" y="335"/>
                      </a:cubicBezTo>
                      <a:lnTo>
                        <a:pt x="69953" y="10370"/>
                      </a:lnTo>
                      <a:cubicBezTo>
                        <a:pt x="78734" y="12252"/>
                        <a:pt x="85006" y="21032"/>
                        <a:pt x="83124" y="29813"/>
                      </a:cubicBezTo>
                      <a:cubicBezTo>
                        <a:pt x="81870" y="38594"/>
                        <a:pt x="74971" y="43611"/>
                        <a:pt x="66817" y="43611"/>
                      </a:cubicBezTo>
                      <a:lnTo>
                        <a:pt x="66817" y="43611"/>
                      </a:lnTo>
                      <a:close/>
                    </a:path>
                  </a:pathLst>
                </a:custGeom>
                <a:grpFill/>
                <a:ln w="62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344" name="Forma Livre: Forma 343">
                  <a:extLst>
                    <a:ext uri="{FF2B5EF4-FFF2-40B4-BE49-F238E27FC236}">
                      <a16:creationId xmlns:a16="http://schemas.microsoft.com/office/drawing/2014/main" id="{5452B7E3-6412-4E86-995E-83F0C30194A1}"/>
                    </a:ext>
                  </a:extLst>
                </p:cNvPr>
                <p:cNvSpPr/>
                <p:nvPr/>
              </p:nvSpPr>
              <p:spPr>
                <a:xfrm>
                  <a:off x="9457173" y="5937749"/>
                  <a:ext cx="83735" cy="40926"/>
                </a:xfrm>
                <a:custGeom>
                  <a:avLst/>
                  <a:gdLst>
                    <a:gd name="connsiteX0" fmla="*/ 16467 w 83735"/>
                    <a:gd name="connsiteY0" fmla="*/ 40927 h 40926"/>
                    <a:gd name="connsiteX1" fmla="*/ 160 w 83735"/>
                    <a:gd name="connsiteY1" fmla="*/ 26502 h 40926"/>
                    <a:gd name="connsiteX2" fmla="*/ 13958 w 83735"/>
                    <a:gd name="connsiteY2" fmla="*/ 7686 h 40926"/>
                    <a:gd name="connsiteX3" fmla="*/ 64761 w 83735"/>
                    <a:gd name="connsiteY3" fmla="*/ 159 h 40926"/>
                    <a:gd name="connsiteX4" fmla="*/ 83576 w 83735"/>
                    <a:gd name="connsiteY4" fmla="*/ 14585 h 40926"/>
                    <a:gd name="connsiteX5" fmla="*/ 69151 w 83735"/>
                    <a:gd name="connsiteY5" fmla="*/ 33400 h 40926"/>
                    <a:gd name="connsiteX6" fmla="*/ 18348 w 83735"/>
                    <a:gd name="connsiteY6" fmla="*/ 40927 h 40926"/>
                    <a:gd name="connsiteX7" fmla="*/ 16467 w 83735"/>
                    <a:gd name="connsiteY7" fmla="*/ 40927 h 40926"/>
                    <a:gd name="connsiteX8" fmla="*/ 16467 w 83735"/>
                    <a:gd name="connsiteY8" fmla="*/ 40927 h 409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3735" h="40926">
                      <a:moveTo>
                        <a:pt x="16467" y="40927"/>
                      </a:moveTo>
                      <a:cubicBezTo>
                        <a:pt x="8314" y="40927"/>
                        <a:pt x="1415" y="34655"/>
                        <a:pt x="160" y="26502"/>
                      </a:cubicBezTo>
                      <a:cubicBezTo>
                        <a:pt x="-1094" y="17094"/>
                        <a:pt x="5178" y="8940"/>
                        <a:pt x="13958" y="7686"/>
                      </a:cubicBezTo>
                      <a:lnTo>
                        <a:pt x="64761" y="159"/>
                      </a:lnTo>
                      <a:cubicBezTo>
                        <a:pt x="74169" y="-1095"/>
                        <a:pt x="82322" y="5177"/>
                        <a:pt x="83576" y="14585"/>
                      </a:cubicBezTo>
                      <a:cubicBezTo>
                        <a:pt x="84831" y="23993"/>
                        <a:pt x="78559" y="32146"/>
                        <a:pt x="69151" y="33400"/>
                      </a:cubicBezTo>
                      <a:lnTo>
                        <a:pt x="18348" y="40927"/>
                      </a:lnTo>
                      <a:cubicBezTo>
                        <a:pt x="17721" y="40927"/>
                        <a:pt x="17094" y="40927"/>
                        <a:pt x="16467" y="40927"/>
                      </a:cubicBezTo>
                      <a:lnTo>
                        <a:pt x="16467" y="40927"/>
                      </a:lnTo>
                      <a:close/>
                    </a:path>
                  </a:pathLst>
                </a:custGeom>
                <a:grpFill/>
                <a:ln w="62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grpSp>
            <p:nvGrpSpPr>
              <p:cNvPr id="345" name="Gráfico 2">
                <a:extLst>
                  <a:ext uri="{FF2B5EF4-FFF2-40B4-BE49-F238E27FC236}">
                    <a16:creationId xmlns:a16="http://schemas.microsoft.com/office/drawing/2014/main" id="{F5ABA5BB-819F-4501-AD77-3F762FEA4CEA}"/>
                  </a:ext>
                </a:extLst>
              </p:cNvPr>
              <p:cNvGrpSpPr/>
              <p:nvPr/>
            </p:nvGrpSpPr>
            <p:grpSpPr>
              <a:xfrm>
                <a:off x="9734341" y="5784664"/>
                <a:ext cx="118908" cy="272410"/>
                <a:chOff x="9734341" y="5784664"/>
                <a:chExt cx="118908" cy="272410"/>
              </a:xfrm>
              <a:grpFill/>
            </p:grpSpPr>
            <p:grpSp>
              <p:nvGrpSpPr>
                <p:cNvPr id="346" name="Gráfico 2">
                  <a:extLst>
                    <a:ext uri="{FF2B5EF4-FFF2-40B4-BE49-F238E27FC236}">
                      <a16:creationId xmlns:a16="http://schemas.microsoft.com/office/drawing/2014/main" id="{F5ABA5BB-819F-4501-AD77-3F762FEA4CEA}"/>
                    </a:ext>
                  </a:extLst>
                </p:cNvPr>
                <p:cNvGrpSpPr/>
                <p:nvPr/>
              </p:nvGrpSpPr>
              <p:grpSpPr>
                <a:xfrm>
                  <a:off x="9734341" y="5784664"/>
                  <a:ext cx="86972" cy="272410"/>
                  <a:chOff x="9734341" y="5784664"/>
                  <a:chExt cx="86972" cy="272410"/>
                </a:xfrm>
                <a:grpFill/>
              </p:grpSpPr>
              <p:sp>
                <p:nvSpPr>
                  <p:cNvPr id="347" name="Forma Livre: Forma 346">
                    <a:extLst>
                      <a:ext uri="{FF2B5EF4-FFF2-40B4-BE49-F238E27FC236}">
                        <a16:creationId xmlns:a16="http://schemas.microsoft.com/office/drawing/2014/main" id="{052B1442-E5F0-440A-B419-D84FAC1EE012}"/>
                      </a:ext>
                    </a:extLst>
                  </p:cNvPr>
                  <p:cNvSpPr/>
                  <p:nvPr/>
                </p:nvSpPr>
                <p:spPr>
                  <a:xfrm>
                    <a:off x="9741867" y="5784664"/>
                    <a:ext cx="79446" cy="54148"/>
                  </a:xfrm>
                  <a:custGeom>
                    <a:avLst/>
                    <a:gdLst>
                      <a:gd name="connsiteX0" fmla="*/ 16517 w 79446"/>
                      <a:gd name="connsiteY0" fmla="*/ 54149 h 54148"/>
                      <a:gd name="connsiteX1" fmla="*/ 1464 w 79446"/>
                      <a:gd name="connsiteY1" fmla="*/ 44741 h 54148"/>
                      <a:gd name="connsiteX2" fmla="*/ 9618 w 79446"/>
                      <a:gd name="connsiteY2" fmla="*/ 22789 h 54148"/>
                      <a:gd name="connsiteX3" fmla="*/ 56030 w 79446"/>
                      <a:gd name="connsiteY3" fmla="*/ 1464 h 54148"/>
                      <a:gd name="connsiteX4" fmla="*/ 77982 w 79446"/>
                      <a:gd name="connsiteY4" fmla="*/ 9618 h 54148"/>
                      <a:gd name="connsiteX5" fmla="*/ 69828 w 79446"/>
                      <a:gd name="connsiteY5" fmla="*/ 31570 h 54148"/>
                      <a:gd name="connsiteX6" fmla="*/ 23416 w 79446"/>
                      <a:gd name="connsiteY6" fmla="*/ 52894 h 54148"/>
                      <a:gd name="connsiteX7" fmla="*/ 16517 w 79446"/>
                      <a:gd name="connsiteY7" fmla="*/ 54149 h 54148"/>
                      <a:gd name="connsiteX8" fmla="*/ 16517 w 79446"/>
                      <a:gd name="connsiteY8" fmla="*/ 54149 h 541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79446" h="54148">
                        <a:moveTo>
                          <a:pt x="16517" y="54149"/>
                        </a:moveTo>
                        <a:cubicBezTo>
                          <a:pt x="10245" y="54149"/>
                          <a:pt x="3973" y="50386"/>
                          <a:pt x="1464" y="44741"/>
                        </a:cubicBezTo>
                        <a:cubicBezTo>
                          <a:pt x="-2299" y="36587"/>
                          <a:pt x="1464" y="26552"/>
                          <a:pt x="9618" y="22789"/>
                        </a:cubicBezTo>
                        <a:lnTo>
                          <a:pt x="56030" y="1464"/>
                        </a:lnTo>
                        <a:cubicBezTo>
                          <a:pt x="64183" y="-2299"/>
                          <a:pt x="74219" y="1464"/>
                          <a:pt x="77982" y="9618"/>
                        </a:cubicBezTo>
                        <a:cubicBezTo>
                          <a:pt x="81745" y="17772"/>
                          <a:pt x="77982" y="27806"/>
                          <a:pt x="69828" y="31570"/>
                        </a:cubicBezTo>
                        <a:lnTo>
                          <a:pt x="23416" y="52894"/>
                        </a:lnTo>
                        <a:cubicBezTo>
                          <a:pt x="20908" y="54149"/>
                          <a:pt x="18399" y="54149"/>
                          <a:pt x="16517" y="54149"/>
                        </a:cubicBezTo>
                        <a:lnTo>
                          <a:pt x="16517" y="54149"/>
                        </a:lnTo>
                        <a:close/>
                      </a:path>
                    </a:pathLst>
                  </a:custGeom>
                  <a:grpFill/>
                  <a:ln w="626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BR"/>
                  </a:p>
                </p:txBody>
              </p:sp>
              <p:sp>
                <p:nvSpPr>
                  <p:cNvPr id="348" name="Forma Livre: Forma 347">
                    <a:extLst>
                      <a:ext uri="{FF2B5EF4-FFF2-40B4-BE49-F238E27FC236}">
                        <a16:creationId xmlns:a16="http://schemas.microsoft.com/office/drawing/2014/main" id="{4C8EFAA3-45B3-43A3-BBC2-EBBF3FDDF22E}"/>
                      </a:ext>
                    </a:extLst>
                  </p:cNvPr>
                  <p:cNvSpPr/>
                  <p:nvPr/>
                </p:nvSpPr>
                <p:spPr>
                  <a:xfrm>
                    <a:off x="9734341" y="6002926"/>
                    <a:ext cx="79446" cy="54148"/>
                  </a:xfrm>
                  <a:custGeom>
                    <a:avLst/>
                    <a:gdLst>
                      <a:gd name="connsiteX0" fmla="*/ 62929 w 79446"/>
                      <a:gd name="connsiteY0" fmla="*/ 54148 h 54148"/>
                      <a:gd name="connsiteX1" fmla="*/ 56030 w 79446"/>
                      <a:gd name="connsiteY1" fmla="*/ 52894 h 54148"/>
                      <a:gd name="connsiteX2" fmla="*/ 9618 w 79446"/>
                      <a:gd name="connsiteY2" fmla="*/ 31570 h 54148"/>
                      <a:gd name="connsiteX3" fmla="*/ 1464 w 79446"/>
                      <a:gd name="connsiteY3" fmla="*/ 9618 h 54148"/>
                      <a:gd name="connsiteX4" fmla="*/ 23416 w 79446"/>
                      <a:gd name="connsiteY4" fmla="*/ 1465 h 54148"/>
                      <a:gd name="connsiteX5" fmla="*/ 69828 w 79446"/>
                      <a:gd name="connsiteY5" fmla="*/ 22789 h 54148"/>
                      <a:gd name="connsiteX6" fmla="*/ 77981 w 79446"/>
                      <a:gd name="connsiteY6" fmla="*/ 44740 h 54148"/>
                      <a:gd name="connsiteX7" fmla="*/ 62929 w 79446"/>
                      <a:gd name="connsiteY7" fmla="*/ 54148 h 54148"/>
                      <a:gd name="connsiteX8" fmla="*/ 62929 w 79446"/>
                      <a:gd name="connsiteY8" fmla="*/ 54148 h 541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79446" h="54148">
                        <a:moveTo>
                          <a:pt x="62929" y="54148"/>
                        </a:moveTo>
                        <a:cubicBezTo>
                          <a:pt x="60420" y="54148"/>
                          <a:pt x="57912" y="53521"/>
                          <a:pt x="56030" y="52894"/>
                        </a:cubicBezTo>
                        <a:lnTo>
                          <a:pt x="9618" y="31570"/>
                        </a:lnTo>
                        <a:cubicBezTo>
                          <a:pt x="1464" y="27806"/>
                          <a:pt x="-2299" y="17771"/>
                          <a:pt x="1464" y="9618"/>
                        </a:cubicBezTo>
                        <a:cubicBezTo>
                          <a:pt x="5227" y="1465"/>
                          <a:pt x="15262" y="-2299"/>
                          <a:pt x="23416" y="1465"/>
                        </a:cubicBezTo>
                        <a:lnTo>
                          <a:pt x="69828" y="22789"/>
                        </a:lnTo>
                        <a:cubicBezTo>
                          <a:pt x="77981" y="26552"/>
                          <a:pt x="81745" y="36587"/>
                          <a:pt x="77981" y="44740"/>
                        </a:cubicBezTo>
                        <a:cubicBezTo>
                          <a:pt x="75473" y="50385"/>
                          <a:pt x="69201" y="54148"/>
                          <a:pt x="62929" y="54148"/>
                        </a:cubicBezTo>
                        <a:lnTo>
                          <a:pt x="62929" y="54148"/>
                        </a:lnTo>
                        <a:close/>
                      </a:path>
                    </a:pathLst>
                  </a:custGeom>
                  <a:grpFill/>
                  <a:ln w="626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pt-BR"/>
                  </a:p>
                </p:txBody>
              </p:sp>
            </p:grpSp>
            <p:sp>
              <p:nvSpPr>
                <p:cNvPr id="349" name="Forma Livre: Forma 348">
                  <a:extLst>
                    <a:ext uri="{FF2B5EF4-FFF2-40B4-BE49-F238E27FC236}">
                      <a16:creationId xmlns:a16="http://schemas.microsoft.com/office/drawing/2014/main" id="{9D35938F-282A-490E-955D-225C58352C85}"/>
                    </a:ext>
                  </a:extLst>
                </p:cNvPr>
                <p:cNvSpPr/>
                <p:nvPr/>
              </p:nvSpPr>
              <p:spPr>
                <a:xfrm>
                  <a:off x="9769314" y="5859776"/>
                  <a:ext cx="83510" cy="43009"/>
                </a:xfrm>
                <a:custGeom>
                  <a:avLst/>
                  <a:gdLst>
                    <a:gd name="connsiteX0" fmla="*/ 16667 w 83510"/>
                    <a:gd name="connsiteY0" fmla="*/ 43010 h 43009"/>
                    <a:gd name="connsiteX1" fmla="*/ 361 w 83510"/>
                    <a:gd name="connsiteY1" fmla="*/ 29838 h 43009"/>
                    <a:gd name="connsiteX2" fmla="*/ 13531 w 83510"/>
                    <a:gd name="connsiteY2" fmla="*/ 10396 h 43009"/>
                    <a:gd name="connsiteX3" fmla="*/ 63707 w 83510"/>
                    <a:gd name="connsiteY3" fmla="*/ 361 h 43009"/>
                    <a:gd name="connsiteX4" fmla="*/ 83149 w 83510"/>
                    <a:gd name="connsiteY4" fmla="*/ 13531 h 43009"/>
                    <a:gd name="connsiteX5" fmla="*/ 69979 w 83510"/>
                    <a:gd name="connsiteY5" fmla="*/ 32974 h 43009"/>
                    <a:gd name="connsiteX6" fmla="*/ 19803 w 83510"/>
                    <a:gd name="connsiteY6" fmla="*/ 43010 h 43009"/>
                    <a:gd name="connsiteX7" fmla="*/ 16667 w 83510"/>
                    <a:gd name="connsiteY7" fmla="*/ 43010 h 43009"/>
                    <a:gd name="connsiteX8" fmla="*/ 16667 w 83510"/>
                    <a:gd name="connsiteY8" fmla="*/ 43010 h 430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3510" h="43009">
                      <a:moveTo>
                        <a:pt x="16667" y="43010"/>
                      </a:moveTo>
                      <a:cubicBezTo>
                        <a:pt x="9141" y="43010"/>
                        <a:pt x="2242" y="37365"/>
                        <a:pt x="361" y="29838"/>
                      </a:cubicBezTo>
                      <a:cubicBezTo>
                        <a:pt x="-1521" y="21058"/>
                        <a:pt x="4124" y="12277"/>
                        <a:pt x="13531" y="10396"/>
                      </a:cubicBezTo>
                      <a:lnTo>
                        <a:pt x="63707" y="361"/>
                      </a:lnTo>
                      <a:cubicBezTo>
                        <a:pt x="72488" y="-1521"/>
                        <a:pt x="81268" y="4124"/>
                        <a:pt x="83149" y="13531"/>
                      </a:cubicBezTo>
                      <a:cubicBezTo>
                        <a:pt x="85031" y="22312"/>
                        <a:pt x="79387" y="31093"/>
                        <a:pt x="69979" y="32974"/>
                      </a:cubicBezTo>
                      <a:lnTo>
                        <a:pt x="19803" y="43010"/>
                      </a:lnTo>
                      <a:cubicBezTo>
                        <a:pt x="19176" y="43010"/>
                        <a:pt x="17921" y="43010"/>
                        <a:pt x="16667" y="43010"/>
                      </a:cubicBezTo>
                      <a:lnTo>
                        <a:pt x="16667" y="43010"/>
                      </a:lnTo>
                      <a:close/>
                    </a:path>
                  </a:pathLst>
                </a:custGeom>
                <a:grpFill/>
                <a:ln w="62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350" name="Forma Livre: Forma 349">
                  <a:extLst>
                    <a:ext uri="{FF2B5EF4-FFF2-40B4-BE49-F238E27FC236}">
                      <a16:creationId xmlns:a16="http://schemas.microsoft.com/office/drawing/2014/main" id="{F557C4D1-21B4-4643-A56C-719DDE85A1A6}"/>
                    </a:ext>
                  </a:extLst>
                </p:cNvPr>
                <p:cNvSpPr/>
                <p:nvPr/>
              </p:nvSpPr>
              <p:spPr>
                <a:xfrm>
                  <a:off x="9768888" y="5937749"/>
                  <a:ext cx="84362" cy="40926"/>
                </a:xfrm>
                <a:custGeom>
                  <a:avLst/>
                  <a:gdLst>
                    <a:gd name="connsiteX0" fmla="*/ 67896 w 84362"/>
                    <a:gd name="connsiteY0" fmla="*/ 40927 h 40926"/>
                    <a:gd name="connsiteX1" fmla="*/ 65387 w 84362"/>
                    <a:gd name="connsiteY1" fmla="*/ 40927 h 40926"/>
                    <a:gd name="connsiteX2" fmla="*/ 14584 w 84362"/>
                    <a:gd name="connsiteY2" fmla="*/ 33400 h 40926"/>
                    <a:gd name="connsiteX3" fmla="*/ 160 w 84362"/>
                    <a:gd name="connsiteY3" fmla="*/ 14585 h 40926"/>
                    <a:gd name="connsiteX4" fmla="*/ 18975 w 84362"/>
                    <a:gd name="connsiteY4" fmla="*/ 159 h 40926"/>
                    <a:gd name="connsiteX5" fmla="*/ 69778 w 84362"/>
                    <a:gd name="connsiteY5" fmla="*/ 7686 h 40926"/>
                    <a:gd name="connsiteX6" fmla="*/ 84203 w 84362"/>
                    <a:gd name="connsiteY6" fmla="*/ 26502 h 40926"/>
                    <a:gd name="connsiteX7" fmla="*/ 67896 w 84362"/>
                    <a:gd name="connsiteY7" fmla="*/ 40927 h 40926"/>
                    <a:gd name="connsiteX8" fmla="*/ 67896 w 84362"/>
                    <a:gd name="connsiteY8" fmla="*/ 40927 h 409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4362" h="40926">
                      <a:moveTo>
                        <a:pt x="67896" y="40927"/>
                      </a:moveTo>
                      <a:cubicBezTo>
                        <a:pt x="67269" y="40927"/>
                        <a:pt x="66015" y="40927"/>
                        <a:pt x="65387" y="40927"/>
                      </a:cubicBezTo>
                      <a:lnTo>
                        <a:pt x="14584" y="33400"/>
                      </a:lnTo>
                      <a:cubicBezTo>
                        <a:pt x="5177" y="32146"/>
                        <a:pt x="-1095" y="23366"/>
                        <a:pt x="160" y="14585"/>
                      </a:cubicBezTo>
                      <a:cubicBezTo>
                        <a:pt x="1414" y="5177"/>
                        <a:pt x="10194" y="-1095"/>
                        <a:pt x="18975" y="159"/>
                      </a:cubicBezTo>
                      <a:lnTo>
                        <a:pt x="69778" y="7686"/>
                      </a:lnTo>
                      <a:cubicBezTo>
                        <a:pt x="79185" y="8940"/>
                        <a:pt x="85457" y="17721"/>
                        <a:pt x="84203" y="26502"/>
                      </a:cubicBezTo>
                      <a:cubicBezTo>
                        <a:pt x="82948" y="34655"/>
                        <a:pt x="76049" y="40927"/>
                        <a:pt x="67896" y="40927"/>
                      </a:cubicBezTo>
                      <a:lnTo>
                        <a:pt x="67896" y="40927"/>
                      </a:lnTo>
                      <a:close/>
                    </a:path>
                  </a:pathLst>
                </a:custGeom>
                <a:grpFill/>
                <a:ln w="62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</p:grpSp>
        <p:sp>
          <p:nvSpPr>
            <p:cNvPr id="351" name="Forma Livre: Forma 350">
              <a:extLst>
                <a:ext uri="{FF2B5EF4-FFF2-40B4-BE49-F238E27FC236}">
                  <a16:creationId xmlns:a16="http://schemas.microsoft.com/office/drawing/2014/main" id="{37369356-68C8-4AED-9C1F-B6C6F163F64E}"/>
                </a:ext>
              </a:extLst>
            </p:cNvPr>
            <p:cNvSpPr/>
            <p:nvPr/>
          </p:nvSpPr>
          <p:spPr>
            <a:xfrm>
              <a:off x="9578381" y="5723401"/>
              <a:ext cx="153034" cy="78407"/>
            </a:xfrm>
            <a:custGeom>
              <a:avLst/>
              <a:gdLst>
                <a:gd name="connsiteX0" fmla="*/ 153035 w 153034"/>
                <a:gd name="connsiteY0" fmla="*/ 78407 h 78407"/>
                <a:gd name="connsiteX1" fmla="*/ 119793 w 153034"/>
                <a:gd name="connsiteY1" fmla="*/ 78407 h 78407"/>
                <a:gd name="connsiteX2" fmla="*/ 76517 w 153034"/>
                <a:gd name="connsiteY2" fmla="*/ 33250 h 78407"/>
                <a:gd name="connsiteX3" fmla="*/ 33241 w 153034"/>
                <a:gd name="connsiteY3" fmla="*/ 78407 h 78407"/>
                <a:gd name="connsiteX4" fmla="*/ 0 w 153034"/>
                <a:gd name="connsiteY4" fmla="*/ 78407 h 78407"/>
                <a:gd name="connsiteX5" fmla="*/ 76517 w 153034"/>
                <a:gd name="connsiteY5" fmla="*/ 8 h 78407"/>
                <a:gd name="connsiteX6" fmla="*/ 153035 w 153034"/>
                <a:gd name="connsiteY6" fmla="*/ 78407 h 78407"/>
                <a:gd name="connsiteX7" fmla="*/ 153035 w 153034"/>
                <a:gd name="connsiteY7" fmla="*/ 78407 h 78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3034" h="78407">
                  <a:moveTo>
                    <a:pt x="153035" y="78407"/>
                  </a:moveTo>
                  <a:lnTo>
                    <a:pt x="119793" y="78407"/>
                  </a:lnTo>
                  <a:cubicBezTo>
                    <a:pt x="119793" y="53319"/>
                    <a:pt x="100351" y="33250"/>
                    <a:pt x="76517" y="33250"/>
                  </a:cubicBezTo>
                  <a:cubicBezTo>
                    <a:pt x="52684" y="33250"/>
                    <a:pt x="33241" y="53319"/>
                    <a:pt x="33241" y="78407"/>
                  </a:cubicBezTo>
                  <a:lnTo>
                    <a:pt x="0" y="78407"/>
                  </a:lnTo>
                  <a:cubicBezTo>
                    <a:pt x="0" y="35131"/>
                    <a:pt x="34495" y="8"/>
                    <a:pt x="76517" y="8"/>
                  </a:cubicBezTo>
                  <a:cubicBezTo>
                    <a:pt x="119166" y="-619"/>
                    <a:pt x="153035" y="34504"/>
                    <a:pt x="153035" y="78407"/>
                  </a:cubicBezTo>
                  <a:lnTo>
                    <a:pt x="153035" y="78407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352" name="Gráfico 2">
              <a:extLst>
                <a:ext uri="{FF2B5EF4-FFF2-40B4-BE49-F238E27FC236}">
                  <a16:creationId xmlns:a16="http://schemas.microsoft.com/office/drawing/2014/main" id="{F5ABA5BB-819F-4501-AD77-3F762FEA4CEA}"/>
                </a:ext>
              </a:extLst>
            </p:cNvPr>
            <p:cNvGrpSpPr/>
            <p:nvPr/>
          </p:nvGrpSpPr>
          <p:grpSpPr>
            <a:xfrm>
              <a:off x="9577607" y="5703193"/>
              <a:ext cx="154936" cy="54711"/>
              <a:chOff x="9577607" y="5703193"/>
              <a:chExt cx="154936" cy="54711"/>
            </a:xfrm>
            <a:grpFill/>
          </p:grpSpPr>
          <p:sp>
            <p:nvSpPr>
              <p:cNvPr id="353" name="Forma Livre: Forma 352">
                <a:extLst>
                  <a:ext uri="{FF2B5EF4-FFF2-40B4-BE49-F238E27FC236}">
                    <a16:creationId xmlns:a16="http://schemas.microsoft.com/office/drawing/2014/main" id="{76AF5C53-3B50-42BD-A7B4-4B391BADC10B}"/>
                  </a:ext>
                </a:extLst>
              </p:cNvPr>
              <p:cNvSpPr/>
              <p:nvPr/>
            </p:nvSpPr>
            <p:spPr>
              <a:xfrm>
                <a:off x="9577607" y="5703193"/>
                <a:ext cx="49212" cy="54711"/>
              </a:xfrm>
              <a:custGeom>
                <a:avLst/>
                <a:gdLst>
                  <a:gd name="connsiteX0" fmla="*/ 32133 w 49212"/>
                  <a:gd name="connsiteY0" fmla="*/ 54712 h 54711"/>
                  <a:gd name="connsiteX1" fmla="*/ 18962 w 49212"/>
                  <a:gd name="connsiteY1" fmla="*/ 47813 h 54711"/>
                  <a:gd name="connsiteX2" fmla="*/ 3282 w 49212"/>
                  <a:gd name="connsiteY2" fmla="*/ 26488 h 54711"/>
                  <a:gd name="connsiteX3" fmla="*/ 7045 w 49212"/>
                  <a:gd name="connsiteY3" fmla="*/ 3282 h 54711"/>
                  <a:gd name="connsiteX4" fmla="*/ 30251 w 49212"/>
                  <a:gd name="connsiteY4" fmla="*/ 7045 h 54711"/>
                  <a:gd name="connsiteX5" fmla="*/ 45931 w 49212"/>
                  <a:gd name="connsiteY5" fmla="*/ 28370 h 54711"/>
                  <a:gd name="connsiteX6" fmla="*/ 42168 w 49212"/>
                  <a:gd name="connsiteY6" fmla="*/ 51576 h 54711"/>
                  <a:gd name="connsiteX7" fmla="*/ 32133 w 49212"/>
                  <a:gd name="connsiteY7" fmla="*/ 54712 h 54711"/>
                  <a:gd name="connsiteX8" fmla="*/ 32133 w 49212"/>
                  <a:gd name="connsiteY8" fmla="*/ 54712 h 547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9212" h="54711">
                    <a:moveTo>
                      <a:pt x="32133" y="54712"/>
                    </a:moveTo>
                    <a:cubicBezTo>
                      <a:pt x="27115" y="54712"/>
                      <a:pt x="22098" y="52203"/>
                      <a:pt x="18962" y="47813"/>
                    </a:cubicBezTo>
                    <a:lnTo>
                      <a:pt x="3282" y="26488"/>
                    </a:lnTo>
                    <a:cubicBezTo>
                      <a:pt x="-2363" y="18962"/>
                      <a:pt x="-481" y="8927"/>
                      <a:pt x="7045" y="3282"/>
                    </a:cubicBezTo>
                    <a:cubicBezTo>
                      <a:pt x="14571" y="-2363"/>
                      <a:pt x="24606" y="-481"/>
                      <a:pt x="30251" y="7045"/>
                    </a:cubicBezTo>
                    <a:lnTo>
                      <a:pt x="45931" y="28370"/>
                    </a:lnTo>
                    <a:cubicBezTo>
                      <a:pt x="51576" y="35896"/>
                      <a:pt x="49694" y="45931"/>
                      <a:pt x="42168" y="51576"/>
                    </a:cubicBezTo>
                    <a:cubicBezTo>
                      <a:pt x="39032" y="53457"/>
                      <a:pt x="35269" y="54712"/>
                      <a:pt x="32133" y="54712"/>
                    </a:cubicBezTo>
                    <a:lnTo>
                      <a:pt x="32133" y="54712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54" name="Forma Livre: Forma 353">
                <a:extLst>
                  <a:ext uri="{FF2B5EF4-FFF2-40B4-BE49-F238E27FC236}">
                    <a16:creationId xmlns:a16="http://schemas.microsoft.com/office/drawing/2014/main" id="{8DD3C395-94B7-4D10-8AF4-BFE3A81CBE4B}"/>
                  </a:ext>
                </a:extLst>
              </p:cNvPr>
              <p:cNvSpPr/>
              <p:nvPr/>
            </p:nvSpPr>
            <p:spPr>
              <a:xfrm>
                <a:off x="9683874" y="5703464"/>
                <a:ext cx="48670" cy="54440"/>
              </a:xfrm>
              <a:custGeom>
                <a:avLst/>
                <a:gdLst>
                  <a:gd name="connsiteX0" fmla="*/ 16809 w 48670"/>
                  <a:gd name="connsiteY0" fmla="*/ 54440 h 54440"/>
                  <a:gd name="connsiteX1" fmla="*/ 6774 w 48670"/>
                  <a:gd name="connsiteY1" fmla="*/ 51304 h 54440"/>
                  <a:gd name="connsiteX2" fmla="*/ 3010 w 48670"/>
                  <a:gd name="connsiteY2" fmla="*/ 28098 h 54440"/>
                  <a:gd name="connsiteX3" fmla="*/ 18690 w 48670"/>
                  <a:gd name="connsiteY3" fmla="*/ 6774 h 54440"/>
                  <a:gd name="connsiteX4" fmla="*/ 41897 w 48670"/>
                  <a:gd name="connsiteY4" fmla="*/ 3011 h 54440"/>
                  <a:gd name="connsiteX5" fmla="*/ 45660 w 48670"/>
                  <a:gd name="connsiteY5" fmla="*/ 26216 h 54440"/>
                  <a:gd name="connsiteX6" fmla="*/ 29980 w 48670"/>
                  <a:gd name="connsiteY6" fmla="*/ 47541 h 54440"/>
                  <a:gd name="connsiteX7" fmla="*/ 16809 w 48670"/>
                  <a:gd name="connsiteY7" fmla="*/ 54440 h 54440"/>
                  <a:gd name="connsiteX8" fmla="*/ 16809 w 48670"/>
                  <a:gd name="connsiteY8" fmla="*/ 54440 h 54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670" h="54440">
                    <a:moveTo>
                      <a:pt x="16809" y="54440"/>
                    </a:moveTo>
                    <a:cubicBezTo>
                      <a:pt x="13673" y="54440"/>
                      <a:pt x="9910" y="53186"/>
                      <a:pt x="6774" y="51304"/>
                    </a:cubicBezTo>
                    <a:cubicBezTo>
                      <a:pt x="-753" y="45660"/>
                      <a:pt x="-2007" y="35624"/>
                      <a:pt x="3010" y="28098"/>
                    </a:cubicBezTo>
                    <a:lnTo>
                      <a:pt x="18690" y="6774"/>
                    </a:lnTo>
                    <a:cubicBezTo>
                      <a:pt x="24335" y="-753"/>
                      <a:pt x="34370" y="-2007"/>
                      <a:pt x="41897" y="3011"/>
                    </a:cubicBezTo>
                    <a:cubicBezTo>
                      <a:pt x="49423" y="8655"/>
                      <a:pt x="50677" y="18690"/>
                      <a:pt x="45660" y="26216"/>
                    </a:cubicBezTo>
                    <a:lnTo>
                      <a:pt x="29980" y="47541"/>
                    </a:lnTo>
                    <a:cubicBezTo>
                      <a:pt x="26844" y="51932"/>
                      <a:pt x="21826" y="54440"/>
                      <a:pt x="16809" y="54440"/>
                    </a:cubicBezTo>
                    <a:lnTo>
                      <a:pt x="16809" y="54440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355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4380851" y="5674645"/>
            <a:ext cx="353735" cy="418806"/>
            <a:chOff x="4380851" y="5674645"/>
            <a:chExt cx="353735" cy="418806"/>
          </a:xfrm>
          <a:solidFill>
            <a:srgbClr val="B1B1A1"/>
          </a:solidFill>
        </p:grpSpPr>
        <p:grpSp>
          <p:nvGrpSpPr>
            <p:cNvPr id="356" name="Gráfico 2">
              <a:extLst>
                <a:ext uri="{FF2B5EF4-FFF2-40B4-BE49-F238E27FC236}">
                  <a16:creationId xmlns:a16="http://schemas.microsoft.com/office/drawing/2014/main" id="{F5ABA5BB-819F-4501-AD77-3F762FEA4CEA}"/>
                </a:ext>
              </a:extLst>
            </p:cNvPr>
            <p:cNvGrpSpPr/>
            <p:nvPr/>
          </p:nvGrpSpPr>
          <p:grpSpPr>
            <a:xfrm>
              <a:off x="4380851" y="5905294"/>
              <a:ext cx="353735" cy="188157"/>
              <a:chOff x="4380851" y="5905294"/>
              <a:chExt cx="353735" cy="188157"/>
            </a:xfrm>
            <a:grpFill/>
          </p:grpSpPr>
          <p:sp>
            <p:nvSpPr>
              <p:cNvPr id="357" name="Forma Livre: Forma 356">
                <a:extLst>
                  <a:ext uri="{FF2B5EF4-FFF2-40B4-BE49-F238E27FC236}">
                    <a16:creationId xmlns:a16="http://schemas.microsoft.com/office/drawing/2014/main" id="{0049FB5E-C136-4DD4-B78B-92CE129E81F8}"/>
                  </a:ext>
                </a:extLst>
              </p:cNvPr>
              <p:cNvSpPr/>
              <p:nvPr/>
            </p:nvSpPr>
            <p:spPr>
              <a:xfrm>
                <a:off x="4380851" y="5905294"/>
                <a:ext cx="193174" cy="188157"/>
              </a:xfrm>
              <a:custGeom>
                <a:avLst/>
                <a:gdLst>
                  <a:gd name="connsiteX0" fmla="*/ 171223 w 193174"/>
                  <a:gd name="connsiteY0" fmla="*/ 188157 h 188157"/>
                  <a:gd name="connsiteX1" fmla="*/ 0 w 193174"/>
                  <a:gd name="connsiteY1" fmla="*/ 16934 h 188157"/>
                  <a:gd name="connsiteX2" fmla="*/ 16307 w 193174"/>
                  <a:gd name="connsiteY2" fmla="*/ 0 h 188157"/>
                  <a:gd name="connsiteX3" fmla="*/ 21952 w 193174"/>
                  <a:gd name="connsiteY3" fmla="*/ 0 h 188157"/>
                  <a:gd name="connsiteX4" fmla="*/ 193175 w 193174"/>
                  <a:gd name="connsiteY4" fmla="*/ 171223 h 188157"/>
                  <a:gd name="connsiteX5" fmla="*/ 176868 w 193174"/>
                  <a:gd name="connsiteY5" fmla="*/ 188157 h 188157"/>
                  <a:gd name="connsiteX6" fmla="*/ 171223 w 193174"/>
                  <a:gd name="connsiteY6" fmla="*/ 188157 h 188157"/>
                  <a:gd name="connsiteX7" fmla="*/ 171223 w 193174"/>
                  <a:gd name="connsiteY7" fmla="*/ 188157 h 188157"/>
                  <a:gd name="connsiteX8" fmla="*/ 33868 w 193174"/>
                  <a:gd name="connsiteY8" fmla="*/ 34495 h 188157"/>
                  <a:gd name="connsiteX9" fmla="*/ 158052 w 193174"/>
                  <a:gd name="connsiteY9" fmla="*/ 154916 h 188157"/>
                  <a:gd name="connsiteX10" fmla="*/ 33868 w 193174"/>
                  <a:gd name="connsiteY10" fmla="*/ 34495 h 188157"/>
                  <a:gd name="connsiteX11" fmla="*/ 33868 w 193174"/>
                  <a:gd name="connsiteY11" fmla="*/ 34495 h 188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93174" h="188157">
                    <a:moveTo>
                      <a:pt x="171223" y="188157"/>
                    </a:moveTo>
                    <a:cubicBezTo>
                      <a:pt x="77144" y="188157"/>
                      <a:pt x="0" y="111640"/>
                      <a:pt x="0" y="16934"/>
                    </a:cubicBezTo>
                    <a:cubicBezTo>
                      <a:pt x="0" y="8154"/>
                      <a:pt x="6899" y="627"/>
                      <a:pt x="16307" y="0"/>
                    </a:cubicBezTo>
                    <a:cubicBezTo>
                      <a:pt x="18816" y="0"/>
                      <a:pt x="20697" y="0"/>
                      <a:pt x="21952" y="0"/>
                    </a:cubicBezTo>
                    <a:cubicBezTo>
                      <a:pt x="116030" y="0"/>
                      <a:pt x="193175" y="76517"/>
                      <a:pt x="193175" y="171223"/>
                    </a:cubicBezTo>
                    <a:cubicBezTo>
                      <a:pt x="193175" y="180004"/>
                      <a:pt x="185648" y="187530"/>
                      <a:pt x="176868" y="188157"/>
                    </a:cubicBezTo>
                    <a:cubicBezTo>
                      <a:pt x="173732" y="188157"/>
                      <a:pt x="172477" y="188157"/>
                      <a:pt x="171223" y="188157"/>
                    </a:cubicBezTo>
                    <a:lnTo>
                      <a:pt x="171223" y="188157"/>
                    </a:lnTo>
                    <a:close/>
                    <a:moveTo>
                      <a:pt x="33868" y="34495"/>
                    </a:moveTo>
                    <a:cubicBezTo>
                      <a:pt x="42022" y="98469"/>
                      <a:pt x="93451" y="148644"/>
                      <a:pt x="158052" y="154916"/>
                    </a:cubicBezTo>
                    <a:cubicBezTo>
                      <a:pt x="150526" y="90316"/>
                      <a:pt x="98469" y="40140"/>
                      <a:pt x="33868" y="34495"/>
                    </a:cubicBezTo>
                    <a:lnTo>
                      <a:pt x="33868" y="34495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58" name="Forma Livre: Forma 357">
                <a:extLst>
                  <a:ext uri="{FF2B5EF4-FFF2-40B4-BE49-F238E27FC236}">
                    <a16:creationId xmlns:a16="http://schemas.microsoft.com/office/drawing/2014/main" id="{ECE4CFC2-4045-4D16-90A9-395D08FF8A4E}"/>
                  </a:ext>
                </a:extLst>
              </p:cNvPr>
              <p:cNvSpPr/>
              <p:nvPr/>
            </p:nvSpPr>
            <p:spPr>
              <a:xfrm>
                <a:off x="4542039" y="5905294"/>
                <a:ext cx="192547" cy="188157"/>
              </a:xfrm>
              <a:custGeom>
                <a:avLst/>
                <a:gdLst>
                  <a:gd name="connsiteX0" fmla="*/ 21324 w 192547"/>
                  <a:gd name="connsiteY0" fmla="*/ 188157 h 188157"/>
                  <a:gd name="connsiteX1" fmla="*/ 17561 w 192547"/>
                  <a:gd name="connsiteY1" fmla="*/ 188157 h 188157"/>
                  <a:gd name="connsiteX2" fmla="*/ 0 w 192547"/>
                  <a:gd name="connsiteY2" fmla="*/ 171223 h 188157"/>
                  <a:gd name="connsiteX3" fmla="*/ 171223 w 192547"/>
                  <a:gd name="connsiteY3" fmla="*/ 0 h 188157"/>
                  <a:gd name="connsiteX4" fmla="*/ 174986 w 192547"/>
                  <a:gd name="connsiteY4" fmla="*/ 0 h 188157"/>
                  <a:gd name="connsiteX5" fmla="*/ 192547 w 192547"/>
                  <a:gd name="connsiteY5" fmla="*/ 16934 h 188157"/>
                  <a:gd name="connsiteX6" fmla="*/ 21324 w 192547"/>
                  <a:gd name="connsiteY6" fmla="*/ 188157 h 188157"/>
                  <a:gd name="connsiteX7" fmla="*/ 21324 w 192547"/>
                  <a:gd name="connsiteY7" fmla="*/ 188157 h 188157"/>
                  <a:gd name="connsiteX8" fmla="*/ 158052 w 192547"/>
                  <a:gd name="connsiteY8" fmla="*/ 34495 h 188157"/>
                  <a:gd name="connsiteX9" fmla="*/ 33868 w 192547"/>
                  <a:gd name="connsiteY9" fmla="*/ 154916 h 188157"/>
                  <a:gd name="connsiteX10" fmla="*/ 158052 w 192547"/>
                  <a:gd name="connsiteY10" fmla="*/ 34495 h 188157"/>
                  <a:gd name="connsiteX11" fmla="*/ 158052 w 192547"/>
                  <a:gd name="connsiteY11" fmla="*/ 34495 h 188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92547" h="188157">
                    <a:moveTo>
                      <a:pt x="21324" y="188157"/>
                    </a:moveTo>
                    <a:cubicBezTo>
                      <a:pt x="20070" y="188157"/>
                      <a:pt x="18816" y="188157"/>
                      <a:pt x="17561" y="188157"/>
                    </a:cubicBezTo>
                    <a:cubicBezTo>
                      <a:pt x="8780" y="188157"/>
                      <a:pt x="0" y="180631"/>
                      <a:pt x="0" y="171223"/>
                    </a:cubicBezTo>
                    <a:cubicBezTo>
                      <a:pt x="0" y="77145"/>
                      <a:pt x="77144" y="0"/>
                      <a:pt x="171223" y="0"/>
                    </a:cubicBezTo>
                    <a:cubicBezTo>
                      <a:pt x="172477" y="0"/>
                      <a:pt x="173732" y="0"/>
                      <a:pt x="174986" y="0"/>
                    </a:cubicBezTo>
                    <a:cubicBezTo>
                      <a:pt x="183767" y="0"/>
                      <a:pt x="192547" y="7526"/>
                      <a:pt x="192547" y="16934"/>
                    </a:cubicBezTo>
                    <a:cubicBezTo>
                      <a:pt x="191920" y="111640"/>
                      <a:pt x="115403" y="188157"/>
                      <a:pt x="21324" y="188157"/>
                    </a:cubicBezTo>
                    <a:lnTo>
                      <a:pt x="21324" y="188157"/>
                    </a:lnTo>
                    <a:close/>
                    <a:moveTo>
                      <a:pt x="158052" y="34495"/>
                    </a:moveTo>
                    <a:cubicBezTo>
                      <a:pt x="93451" y="40140"/>
                      <a:pt x="42021" y="90943"/>
                      <a:pt x="33868" y="154916"/>
                    </a:cubicBezTo>
                    <a:cubicBezTo>
                      <a:pt x="98469" y="148644"/>
                      <a:pt x="149898" y="97842"/>
                      <a:pt x="158052" y="34495"/>
                    </a:cubicBezTo>
                    <a:lnTo>
                      <a:pt x="158052" y="34495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359" name="Forma Livre: Forma 358">
              <a:extLst>
                <a:ext uri="{FF2B5EF4-FFF2-40B4-BE49-F238E27FC236}">
                  <a16:creationId xmlns:a16="http://schemas.microsoft.com/office/drawing/2014/main" id="{6C35DB4A-FDEB-4E2B-8DFF-89609D0C32A9}"/>
                </a:ext>
              </a:extLst>
            </p:cNvPr>
            <p:cNvSpPr/>
            <p:nvPr/>
          </p:nvSpPr>
          <p:spPr>
            <a:xfrm>
              <a:off x="4540784" y="5880207"/>
              <a:ext cx="33868" cy="213244"/>
            </a:xfrm>
            <a:custGeom>
              <a:avLst/>
              <a:gdLst>
                <a:gd name="connsiteX0" fmla="*/ 16934 w 33868"/>
                <a:gd name="connsiteY0" fmla="*/ 213245 h 213244"/>
                <a:gd name="connsiteX1" fmla="*/ 0 w 33868"/>
                <a:gd name="connsiteY1" fmla="*/ 196311 h 213244"/>
                <a:gd name="connsiteX2" fmla="*/ 0 w 33868"/>
                <a:gd name="connsiteY2" fmla="*/ 16934 h 213244"/>
                <a:gd name="connsiteX3" fmla="*/ 16934 w 33868"/>
                <a:gd name="connsiteY3" fmla="*/ 0 h 213244"/>
                <a:gd name="connsiteX4" fmla="*/ 33868 w 33868"/>
                <a:gd name="connsiteY4" fmla="*/ 16934 h 213244"/>
                <a:gd name="connsiteX5" fmla="*/ 33868 w 33868"/>
                <a:gd name="connsiteY5" fmla="*/ 196311 h 213244"/>
                <a:gd name="connsiteX6" fmla="*/ 16934 w 33868"/>
                <a:gd name="connsiteY6" fmla="*/ 213245 h 213244"/>
                <a:gd name="connsiteX7" fmla="*/ 16934 w 33868"/>
                <a:gd name="connsiteY7" fmla="*/ 213245 h 213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868" h="213244">
                  <a:moveTo>
                    <a:pt x="16934" y="213245"/>
                  </a:moveTo>
                  <a:cubicBezTo>
                    <a:pt x="7526" y="213245"/>
                    <a:pt x="0" y="205719"/>
                    <a:pt x="0" y="196311"/>
                  </a:cubicBezTo>
                  <a:lnTo>
                    <a:pt x="0" y="16934"/>
                  </a:lnTo>
                  <a:cubicBezTo>
                    <a:pt x="0" y="7526"/>
                    <a:pt x="7526" y="0"/>
                    <a:pt x="16934" y="0"/>
                  </a:cubicBezTo>
                  <a:cubicBezTo>
                    <a:pt x="26342" y="0"/>
                    <a:pt x="33868" y="7526"/>
                    <a:pt x="33868" y="16934"/>
                  </a:cubicBezTo>
                  <a:lnTo>
                    <a:pt x="33868" y="196311"/>
                  </a:lnTo>
                  <a:cubicBezTo>
                    <a:pt x="33241" y="205719"/>
                    <a:pt x="25715" y="213245"/>
                    <a:pt x="16934" y="213245"/>
                  </a:cubicBezTo>
                  <a:lnTo>
                    <a:pt x="16934" y="213245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60" name="Forma Livre: Forma 359">
              <a:extLst>
                <a:ext uri="{FF2B5EF4-FFF2-40B4-BE49-F238E27FC236}">
                  <a16:creationId xmlns:a16="http://schemas.microsoft.com/office/drawing/2014/main" id="{24BEB89E-18FB-4254-A3F3-5A7C39D32060}"/>
                </a:ext>
              </a:extLst>
            </p:cNvPr>
            <p:cNvSpPr/>
            <p:nvPr/>
          </p:nvSpPr>
          <p:spPr>
            <a:xfrm>
              <a:off x="4402802" y="5708659"/>
              <a:ext cx="309832" cy="200398"/>
            </a:xfrm>
            <a:custGeom>
              <a:avLst/>
              <a:gdLst>
                <a:gd name="connsiteX0" fmla="*/ 154916 w 309832"/>
                <a:gd name="connsiteY0" fmla="*/ 200399 h 200398"/>
                <a:gd name="connsiteX1" fmla="*/ 0 w 309832"/>
                <a:gd name="connsiteY1" fmla="*/ 45482 h 200398"/>
                <a:gd name="connsiteX2" fmla="*/ 0 w 309832"/>
                <a:gd name="connsiteY2" fmla="*/ 19768 h 200398"/>
                <a:gd name="connsiteX3" fmla="*/ 13171 w 309832"/>
                <a:gd name="connsiteY3" fmla="*/ 3461 h 200398"/>
                <a:gd name="connsiteX4" fmla="*/ 154916 w 309832"/>
                <a:gd name="connsiteY4" fmla="*/ 45482 h 200398"/>
                <a:gd name="connsiteX5" fmla="*/ 296661 w 309832"/>
                <a:gd name="connsiteY5" fmla="*/ 3461 h 200398"/>
                <a:gd name="connsiteX6" fmla="*/ 309832 w 309832"/>
                <a:gd name="connsiteY6" fmla="*/ 19768 h 200398"/>
                <a:gd name="connsiteX7" fmla="*/ 309832 w 309832"/>
                <a:gd name="connsiteY7" fmla="*/ 45482 h 200398"/>
                <a:gd name="connsiteX8" fmla="*/ 154916 w 309832"/>
                <a:gd name="connsiteY8" fmla="*/ 200399 h 200398"/>
                <a:gd name="connsiteX9" fmla="*/ 154916 w 309832"/>
                <a:gd name="connsiteY9" fmla="*/ 200399 h 200398"/>
                <a:gd name="connsiteX10" fmla="*/ 32614 w 309832"/>
                <a:gd name="connsiteY10" fmla="*/ 33566 h 200398"/>
                <a:gd name="connsiteX11" fmla="*/ 32614 w 309832"/>
                <a:gd name="connsiteY11" fmla="*/ 44855 h 200398"/>
                <a:gd name="connsiteX12" fmla="*/ 154289 w 309832"/>
                <a:gd name="connsiteY12" fmla="*/ 166530 h 200398"/>
                <a:gd name="connsiteX13" fmla="*/ 275964 w 309832"/>
                <a:gd name="connsiteY13" fmla="*/ 44855 h 200398"/>
                <a:gd name="connsiteX14" fmla="*/ 275964 w 309832"/>
                <a:gd name="connsiteY14" fmla="*/ 33566 h 200398"/>
                <a:gd name="connsiteX15" fmla="*/ 167460 w 309832"/>
                <a:gd name="connsiteY15" fmla="*/ 80605 h 200398"/>
                <a:gd name="connsiteX16" fmla="*/ 141118 w 309832"/>
                <a:gd name="connsiteY16" fmla="*/ 80605 h 200398"/>
                <a:gd name="connsiteX17" fmla="*/ 32614 w 309832"/>
                <a:gd name="connsiteY17" fmla="*/ 33566 h 200398"/>
                <a:gd name="connsiteX18" fmla="*/ 32614 w 309832"/>
                <a:gd name="connsiteY18" fmla="*/ 33566 h 200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09832" h="200398">
                  <a:moveTo>
                    <a:pt x="154916" y="200399"/>
                  </a:moveTo>
                  <a:cubicBezTo>
                    <a:pt x="69618" y="200399"/>
                    <a:pt x="0" y="130780"/>
                    <a:pt x="0" y="45482"/>
                  </a:cubicBezTo>
                  <a:lnTo>
                    <a:pt x="0" y="19768"/>
                  </a:lnTo>
                  <a:cubicBezTo>
                    <a:pt x="0" y="11614"/>
                    <a:pt x="5645" y="5342"/>
                    <a:pt x="13171" y="3461"/>
                  </a:cubicBezTo>
                  <a:cubicBezTo>
                    <a:pt x="65228" y="-7829"/>
                    <a:pt x="118539" y="9105"/>
                    <a:pt x="154916" y="45482"/>
                  </a:cubicBezTo>
                  <a:cubicBezTo>
                    <a:pt x="191293" y="9105"/>
                    <a:pt x="243977" y="-7829"/>
                    <a:pt x="296661" y="3461"/>
                  </a:cubicBezTo>
                  <a:cubicBezTo>
                    <a:pt x="304188" y="5342"/>
                    <a:pt x="309832" y="11614"/>
                    <a:pt x="309832" y="19768"/>
                  </a:cubicBezTo>
                  <a:lnTo>
                    <a:pt x="309832" y="45482"/>
                  </a:lnTo>
                  <a:cubicBezTo>
                    <a:pt x="309832" y="130780"/>
                    <a:pt x="240214" y="200399"/>
                    <a:pt x="154916" y="200399"/>
                  </a:cubicBezTo>
                  <a:lnTo>
                    <a:pt x="154916" y="200399"/>
                  </a:lnTo>
                  <a:close/>
                  <a:moveTo>
                    <a:pt x="32614" y="33566"/>
                  </a:moveTo>
                  <a:lnTo>
                    <a:pt x="32614" y="44855"/>
                  </a:lnTo>
                  <a:cubicBezTo>
                    <a:pt x="32614" y="111964"/>
                    <a:pt x="87179" y="166530"/>
                    <a:pt x="154289" y="166530"/>
                  </a:cubicBezTo>
                  <a:cubicBezTo>
                    <a:pt x="221398" y="166530"/>
                    <a:pt x="275964" y="111964"/>
                    <a:pt x="275964" y="44855"/>
                  </a:cubicBezTo>
                  <a:lnTo>
                    <a:pt x="275964" y="33566"/>
                  </a:lnTo>
                  <a:cubicBezTo>
                    <a:pt x="233315" y="29176"/>
                    <a:pt x="193175" y="47364"/>
                    <a:pt x="167460" y="80605"/>
                  </a:cubicBezTo>
                  <a:cubicBezTo>
                    <a:pt x="161188" y="88759"/>
                    <a:pt x="147390" y="88759"/>
                    <a:pt x="141118" y="80605"/>
                  </a:cubicBezTo>
                  <a:cubicBezTo>
                    <a:pt x="115403" y="47364"/>
                    <a:pt x="75263" y="29803"/>
                    <a:pt x="32614" y="33566"/>
                  </a:cubicBezTo>
                  <a:lnTo>
                    <a:pt x="32614" y="33566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61" name="Forma Livre: Forma 360">
              <a:extLst>
                <a:ext uri="{FF2B5EF4-FFF2-40B4-BE49-F238E27FC236}">
                  <a16:creationId xmlns:a16="http://schemas.microsoft.com/office/drawing/2014/main" id="{7288087B-C331-4AF7-AB16-2C424522C062}"/>
                </a:ext>
              </a:extLst>
            </p:cNvPr>
            <p:cNvSpPr/>
            <p:nvPr/>
          </p:nvSpPr>
          <p:spPr>
            <a:xfrm>
              <a:off x="4470058" y="5674645"/>
              <a:ext cx="174055" cy="119636"/>
            </a:xfrm>
            <a:custGeom>
              <a:avLst/>
              <a:gdLst>
                <a:gd name="connsiteX0" fmla="*/ 87660 w 174055"/>
                <a:gd name="connsiteY0" fmla="*/ 119637 h 119636"/>
                <a:gd name="connsiteX1" fmla="*/ 75744 w 174055"/>
                <a:gd name="connsiteY1" fmla="*/ 113992 h 119636"/>
                <a:gd name="connsiteX2" fmla="*/ 10516 w 174055"/>
                <a:gd name="connsiteY2" fmla="*/ 70089 h 119636"/>
                <a:gd name="connsiteX3" fmla="*/ 481 w 174055"/>
                <a:gd name="connsiteY3" fmla="*/ 60054 h 119636"/>
                <a:gd name="connsiteX4" fmla="*/ 3617 w 174055"/>
                <a:gd name="connsiteY4" fmla="*/ 46255 h 119636"/>
                <a:gd name="connsiteX5" fmla="*/ 79507 w 174055"/>
                <a:gd name="connsiteY5" fmla="*/ 471 h 119636"/>
                <a:gd name="connsiteX6" fmla="*/ 87033 w 174055"/>
                <a:gd name="connsiteY6" fmla="*/ 471 h 119636"/>
                <a:gd name="connsiteX7" fmla="*/ 169822 w 174055"/>
                <a:gd name="connsiteY7" fmla="*/ 46882 h 119636"/>
                <a:gd name="connsiteX8" fmla="*/ 173585 w 174055"/>
                <a:gd name="connsiteY8" fmla="*/ 60681 h 119636"/>
                <a:gd name="connsiteX9" fmla="*/ 163550 w 174055"/>
                <a:gd name="connsiteY9" fmla="*/ 70716 h 119636"/>
                <a:gd name="connsiteX10" fmla="*/ 99577 w 174055"/>
                <a:gd name="connsiteY10" fmla="*/ 114619 h 119636"/>
                <a:gd name="connsiteX11" fmla="*/ 87660 w 174055"/>
                <a:gd name="connsiteY11" fmla="*/ 119637 h 119636"/>
                <a:gd name="connsiteX12" fmla="*/ 87660 w 174055"/>
                <a:gd name="connsiteY12" fmla="*/ 119637 h 119636"/>
                <a:gd name="connsiteX13" fmla="*/ 42503 w 174055"/>
                <a:gd name="connsiteY13" fmla="*/ 50646 h 119636"/>
                <a:gd name="connsiteX14" fmla="*/ 87660 w 174055"/>
                <a:gd name="connsiteY14" fmla="*/ 82632 h 119636"/>
                <a:gd name="connsiteX15" fmla="*/ 131564 w 174055"/>
                <a:gd name="connsiteY15" fmla="*/ 51273 h 119636"/>
                <a:gd name="connsiteX16" fmla="*/ 84524 w 174055"/>
                <a:gd name="connsiteY16" fmla="*/ 29321 h 119636"/>
                <a:gd name="connsiteX17" fmla="*/ 42503 w 174055"/>
                <a:gd name="connsiteY17" fmla="*/ 50646 h 119636"/>
                <a:gd name="connsiteX18" fmla="*/ 42503 w 174055"/>
                <a:gd name="connsiteY18" fmla="*/ 50646 h 119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74055" h="119636">
                  <a:moveTo>
                    <a:pt x="87660" y="119637"/>
                  </a:moveTo>
                  <a:cubicBezTo>
                    <a:pt x="83270" y="119637"/>
                    <a:pt x="78880" y="117755"/>
                    <a:pt x="75744" y="113992"/>
                  </a:cubicBezTo>
                  <a:cubicBezTo>
                    <a:pt x="59437" y="92667"/>
                    <a:pt x="36231" y="76988"/>
                    <a:pt x="10516" y="70089"/>
                  </a:cubicBezTo>
                  <a:cubicBezTo>
                    <a:pt x="5498" y="68834"/>
                    <a:pt x="1735" y="65071"/>
                    <a:pt x="481" y="60054"/>
                  </a:cubicBezTo>
                  <a:cubicBezTo>
                    <a:pt x="-774" y="55036"/>
                    <a:pt x="481" y="50018"/>
                    <a:pt x="3617" y="46255"/>
                  </a:cubicBezTo>
                  <a:cubicBezTo>
                    <a:pt x="23060" y="24931"/>
                    <a:pt x="49402" y="9251"/>
                    <a:pt x="79507" y="471"/>
                  </a:cubicBezTo>
                  <a:cubicBezTo>
                    <a:pt x="82016" y="-157"/>
                    <a:pt x="84524" y="-157"/>
                    <a:pt x="87033" y="471"/>
                  </a:cubicBezTo>
                  <a:cubicBezTo>
                    <a:pt x="119647" y="8624"/>
                    <a:pt x="148498" y="24931"/>
                    <a:pt x="169822" y="46882"/>
                  </a:cubicBezTo>
                  <a:cubicBezTo>
                    <a:pt x="173585" y="50646"/>
                    <a:pt x="174840" y="55663"/>
                    <a:pt x="173585" y="60681"/>
                  </a:cubicBezTo>
                  <a:cubicBezTo>
                    <a:pt x="172331" y="65698"/>
                    <a:pt x="168568" y="69462"/>
                    <a:pt x="163550" y="70716"/>
                  </a:cubicBezTo>
                  <a:cubicBezTo>
                    <a:pt x="137836" y="78242"/>
                    <a:pt x="115257" y="93295"/>
                    <a:pt x="99577" y="114619"/>
                  </a:cubicBezTo>
                  <a:cubicBezTo>
                    <a:pt x="96441" y="117755"/>
                    <a:pt x="92050" y="119637"/>
                    <a:pt x="87660" y="119637"/>
                  </a:cubicBezTo>
                  <a:lnTo>
                    <a:pt x="87660" y="119637"/>
                  </a:lnTo>
                  <a:close/>
                  <a:moveTo>
                    <a:pt x="42503" y="50646"/>
                  </a:moveTo>
                  <a:cubicBezTo>
                    <a:pt x="59437" y="58799"/>
                    <a:pt x="74489" y="69462"/>
                    <a:pt x="87660" y="82632"/>
                  </a:cubicBezTo>
                  <a:cubicBezTo>
                    <a:pt x="100204" y="69462"/>
                    <a:pt x="115257" y="59426"/>
                    <a:pt x="131564" y="51273"/>
                  </a:cubicBezTo>
                  <a:cubicBezTo>
                    <a:pt x="117765" y="41865"/>
                    <a:pt x="102086" y="34339"/>
                    <a:pt x="84524" y="29321"/>
                  </a:cubicBezTo>
                  <a:cubicBezTo>
                    <a:pt x="68845" y="34339"/>
                    <a:pt x="54419" y="41238"/>
                    <a:pt x="42503" y="50646"/>
                  </a:cubicBezTo>
                  <a:lnTo>
                    <a:pt x="42503" y="50646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62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1298208" y="5674488"/>
            <a:ext cx="407046" cy="416454"/>
            <a:chOff x="1298208" y="5674488"/>
            <a:chExt cx="407046" cy="416454"/>
          </a:xfrm>
          <a:solidFill>
            <a:srgbClr val="B1B1A1"/>
          </a:solidFill>
        </p:grpSpPr>
        <p:sp>
          <p:nvSpPr>
            <p:cNvPr id="363" name="Forma Livre: Forma 362">
              <a:extLst>
                <a:ext uri="{FF2B5EF4-FFF2-40B4-BE49-F238E27FC236}">
                  <a16:creationId xmlns:a16="http://schemas.microsoft.com/office/drawing/2014/main" id="{32D8A5DB-2B16-452E-98A0-40D7478E53EB}"/>
                </a:ext>
              </a:extLst>
            </p:cNvPr>
            <p:cNvSpPr/>
            <p:nvPr/>
          </p:nvSpPr>
          <p:spPr>
            <a:xfrm>
              <a:off x="1443089" y="5969268"/>
              <a:ext cx="117911" cy="121675"/>
            </a:xfrm>
            <a:custGeom>
              <a:avLst/>
              <a:gdLst>
                <a:gd name="connsiteX0" fmla="*/ 100351 w 117911"/>
                <a:gd name="connsiteY0" fmla="*/ 121675 h 121675"/>
                <a:gd name="connsiteX1" fmla="*/ 16934 w 117911"/>
                <a:gd name="connsiteY1" fmla="*/ 121675 h 121675"/>
                <a:gd name="connsiteX2" fmla="*/ 0 w 117911"/>
                <a:gd name="connsiteY2" fmla="*/ 104741 h 121675"/>
                <a:gd name="connsiteX3" fmla="*/ 0 w 117911"/>
                <a:gd name="connsiteY3" fmla="*/ 33868 h 121675"/>
                <a:gd name="connsiteX4" fmla="*/ 16934 w 117911"/>
                <a:gd name="connsiteY4" fmla="*/ 16934 h 121675"/>
                <a:gd name="connsiteX5" fmla="*/ 33868 w 117911"/>
                <a:gd name="connsiteY5" fmla="*/ 33868 h 121675"/>
                <a:gd name="connsiteX6" fmla="*/ 33868 w 117911"/>
                <a:gd name="connsiteY6" fmla="*/ 87807 h 121675"/>
                <a:gd name="connsiteX7" fmla="*/ 84044 w 117911"/>
                <a:gd name="connsiteY7" fmla="*/ 87807 h 121675"/>
                <a:gd name="connsiteX8" fmla="*/ 84044 w 117911"/>
                <a:gd name="connsiteY8" fmla="*/ 16934 h 121675"/>
                <a:gd name="connsiteX9" fmla="*/ 100978 w 117911"/>
                <a:gd name="connsiteY9" fmla="*/ 0 h 121675"/>
                <a:gd name="connsiteX10" fmla="*/ 117912 w 117911"/>
                <a:gd name="connsiteY10" fmla="*/ 16934 h 121675"/>
                <a:gd name="connsiteX11" fmla="*/ 117912 w 117911"/>
                <a:gd name="connsiteY11" fmla="*/ 104114 h 121675"/>
                <a:gd name="connsiteX12" fmla="*/ 100351 w 117911"/>
                <a:gd name="connsiteY12" fmla="*/ 121675 h 121675"/>
                <a:gd name="connsiteX13" fmla="*/ 100351 w 117911"/>
                <a:gd name="connsiteY13" fmla="*/ 121675 h 121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7911" h="121675">
                  <a:moveTo>
                    <a:pt x="100351" y="121675"/>
                  </a:moveTo>
                  <a:lnTo>
                    <a:pt x="16934" y="121675"/>
                  </a:lnTo>
                  <a:cubicBezTo>
                    <a:pt x="7526" y="121675"/>
                    <a:pt x="0" y="114149"/>
                    <a:pt x="0" y="104741"/>
                  </a:cubicBezTo>
                  <a:lnTo>
                    <a:pt x="0" y="33868"/>
                  </a:lnTo>
                  <a:cubicBezTo>
                    <a:pt x="0" y="24461"/>
                    <a:pt x="7526" y="16934"/>
                    <a:pt x="16934" y="16934"/>
                  </a:cubicBezTo>
                  <a:cubicBezTo>
                    <a:pt x="26342" y="16934"/>
                    <a:pt x="33868" y="24461"/>
                    <a:pt x="33868" y="33868"/>
                  </a:cubicBezTo>
                  <a:lnTo>
                    <a:pt x="33868" y="87807"/>
                  </a:lnTo>
                  <a:lnTo>
                    <a:pt x="84044" y="87807"/>
                  </a:lnTo>
                  <a:lnTo>
                    <a:pt x="84044" y="16934"/>
                  </a:lnTo>
                  <a:cubicBezTo>
                    <a:pt x="84044" y="7526"/>
                    <a:pt x="91570" y="0"/>
                    <a:pt x="100978" y="0"/>
                  </a:cubicBezTo>
                  <a:cubicBezTo>
                    <a:pt x="110386" y="0"/>
                    <a:pt x="117912" y="7526"/>
                    <a:pt x="117912" y="16934"/>
                  </a:cubicBezTo>
                  <a:lnTo>
                    <a:pt x="117912" y="104114"/>
                  </a:lnTo>
                  <a:cubicBezTo>
                    <a:pt x="117285" y="114149"/>
                    <a:pt x="109758" y="121675"/>
                    <a:pt x="100351" y="121675"/>
                  </a:cubicBezTo>
                  <a:lnTo>
                    <a:pt x="100351" y="121675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64" name="Forma Livre: Forma 363">
              <a:extLst>
                <a:ext uri="{FF2B5EF4-FFF2-40B4-BE49-F238E27FC236}">
                  <a16:creationId xmlns:a16="http://schemas.microsoft.com/office/drawing/2014/main" id="{1983A7D8-D59A-484B-8A00-15EE99ED3DB5}"/>
                </a:ext>
              </a:extLst>
            </p:cNvPr>
            <p:cNvSpPr/>
            <p:nvPr/>
          </p:nvSpPr>
          <p:spPr>
            <a:xfrm>
              <a:off x="1298208" y="5674488"/>
              <a:ext cx="407046" cy="338055"/>
            </a:xfrm>
            <a:custGeom>
              <a:avLst/>
              <a:gdLst>
                <a:gd name="connsiteX0" fmla="*/ 137355 w 407046"/>
                <a:gd name="connsiteY0" fmla="*/ 338056 h 338055"/>
                <a:gd name="connsiteX1" fmla="*/ 43903 w 407046"/>
                <a:gd name="connsiteY1" fmla="*/ 243977 h 338055"/>
                <a:gd name="connsiteX2" fmla="*/ 49548 w 407046"/>
                <a:gd name="connsiteY2" fmla="*/ 212618 h 338055"/>
                <a:gd name="connsiteX3" fmla="*/ 0 w 407046"/>
                <a:gd name="connsiteY3" fmla="*/ 142999 h 338055"/>
                <a:gd name="connsiteX4" fmla="*/ 53311 w 407046"/>
                <a:gd name="connsiteY4" fmla="*/ 72754 h 338055"/>
                <a:gd name="connsiteX5" fmla="*/ 141118 w 407046"/>
                <a:gd name="connsiteY5" fmla="*/ 10662 h 338055"/>
                <a:gd name="connsiteX6" fmla="*/ 192548 w 407046"/>
                <a:gd name="connsiteY6" fmla="*/ 26342 h 338055"/>
                <a:gd name="connsiteX7" fmla="*/ 248995 w 407046"/>
                <a:gd name="connsiteY7" fmla="*/ 0 h 338055"/>
                <a:gd name="connsiteX8" fmla="*/ 299170 w 407046"/>
                <a:gd name="connsiteY8" fmla="*/ 20070 h 338055"/>
                <a:gd name="connsiteX9" fmla="*/ 314850 w 407046"/>
                <a:gd name="connsiteY9" fmla="*/ 18189 h 338055"/>
                <a:gd name="connsiteX10" fmla="*/ 388231 w 407046"/>
                <a:gd name="connsiteY10" fmla="*/ 91570 h 338055"/>
                <a:gd name="connsiteX11" fmla="*/ 386977 w 407046"/>
                <a:gd name="connsiteY11" fmla="*/ 105368 h 338055"/>
                <a:gd name="connsiteX12" fmla="*/ 407047 w 407046"/>
                <a:gd name="connsiteY12" fmla="*/ 163070 h 338055"/>
                <a:gd name="connsiteX13" fmla="*/ 375687 w 407046"/>
                <a:gd name="connsiteY13" fmla="*/ 232688 h 338055"/>
                <a:gd name="connsiteX14" fmla="*/ 381332 w 407046"/>
                <a:gd name="connsiteY14" fmla="*/ 260284 h 338055"/>
                <a:gd name="connsiteX15" fmla="*/ 307951 w 407046"/>
                <a:gd name="connsiteY15" fmla="*/ 333666 h 338055"/>
                <a:gd name="connsiteX16" fmla="*/ 260911 w 407046"/>
                <a:gd name="connsiteY16" fmla="*/ 316104 h 338055"/>
                <a:gd name="connsiteX17" fmla="*/ 204464 w 407046"/>
                <a:gd name="connsiteY17" fmla="*/ 308578 h 338055"/>
                <a:gd name="connsiteX18" fmla="*/ 137355 w 407046"/>
                <a:gd name="connsiteY18" fmla="*/ 338056 h 338055"/>
                <a:gd name="connsiteX19" fmla="*/ 137355 w 407046"/>
                <a:gd name="connsiteY19" fmla="*/ 338056 h 338055"/>
                <a:gd name="connsiteX20" fmla="*/ 74636 w 407046"/>
                <a:gd name="connsiteY20" fmla="*/ 183140 h 338055"/>
                <a:gd name="connsiteX21" fmla="*/ 89688 w 407046"/>
                <a:gd name="connsiteY21" fmla="*/ 191921 h 338055"/>
                <a:gd name="connsiteX22" fmla="*/ 88434 w 407046"/>
                <a:gd name="connsiteY22" fmla="*/ 209482 h 338055"/>
                <a:gd name="connsiteX23" fmla="*/ 77144 w 407046"/>
                <a:gd name="connsiteY23" fmla="*/ 243977 h 338055"/>
                <a:gd name="connsiteX24" fmla="*/ 137355 w 407046"/>
                <a:gd name="connsiteY24" fmla="*/ 304188 h 338055"/>
                <a:gd name="connsiteX25" fmla="*/ 188157 w 407046"/>
                <a:gd name="connsiteY25" fmla="*/ 276591 h 338055"/>
                <a:gd name="connsiteX26" fmla="*/ 200074 w 407046"/>
                <a:gd name="connsiteY26" fmla="*/ 269065 h 338055"/>
                <a:gd name="connsiteX27" fmla="*/ 213245 w 407046"/>
                <a:gd name="connsiteY27" fmla="*/ 274082 h 338055"/>
                <a:gd name="connsiteX28" fmla="*/ 258403 w 407046"/>
                <a:gd name="connsiteY28" fmla="*/ 282236 h 338055"/>
                <a:gd name="connsiteX29" fmla="*/ 277846 w 407046"/>
                <a:gd name="connsiteY29" fmla="*/ 286626 h 338055"/>
                <a:gd name="connsiteX30" fmla="*/ 307951 w 407046"/>
                <a:gd name="connsiteY30" fmla="*/ 300425 h 338055"/>
                <a:gd name="connsiteX31" fmla="*/ 348091 w 407046"/>
                <a:gd name="connsiteY31" fmla="*/ 260284 h 338055"/>
                <a:gd name="connsiteX32" fmla="*/ 341192 w 407046"/>
                <a:gd name="connsiteY32" fmla="*/ 237705 h 338055"/>
                <a:gd name="connsiteX33" fmla="*/ 338683 w 407046"/>
                <a:gd name="connsiteY33" fmla="*/ 225162 h 338055"/>
                <a:gd name="connsiteX34" fmla="*/ 346209 w 407046"/>
                <a:gd name="connsiteY34" fmla="*/ 214499 h 338055"/>
                <a:gd name="connsiteX35" fmla="*/ 374433 w 407046"/>
                <a:gd name="connsiteY35" fmla="*/ 163697 h 338055"/>
                <a:gd name="connsiteX36" fmla="*/ 357499 w 407046"/>
                <a:gd name="connsiteY36" fmla="*/ 121675 h 338055"/>
                <a:gd name="connsiteX37" fmla="*/ 353736 w 407046"/>
                <a:gd name="connsiteY37" fmla="*/ 104741 h 338055"/>
                <a:gd name="connsiteX38" fmla="*/ 356244 w 407046"/>
                <a:gd name="connsiteY38" fmla="*/ 91570 h 338055"/>
                <a:gd name="connsiteX39" fmla="*/ 316104 w 407046"/>
                <a:gd name="connsiteY39" fmla="*/ 51430 h 338055"/>
                <a:gd name="connsiteX40" fmla="*/ 301052 w 407046"/>
                <a:gd name="connsiteY40" fmla="*/ 54566 h 338055"/>
                <a:gd name="connsiteX41" fmla="*/ 281609 w 407046"/>
                <a:gd name="connsiteY41" fmla="*/ 48921 h 338055"/>
                <a:gd name="connsiteX42" fmla="*/ 249622 w 407046"/>
                <a:gd name="connsiteY42" fmla="*/ 33241 h 338055"/>
                <a:gd name="connsiteX43" fmla="*/ 212618 w 407046"/>
                <a:gd name="connsiteY43" fmla="*/ 58329 h 338055"/>
                <a:gd name="connsiteX44" fmla="*/ 200074 w 407046"/>
                <a:gd name="connsiteY44" fmla="*/ 68364 h 338055"/>
                <a:gd name="connsiteX45" fmla="*/ 185021 w 407046"/>
                <a:gd name="connsiteY45" fmla="*/ 63346 h 338055"/>
                <a:gd name="connsiteX46" fmla="*/ 141118 w 407046"/>
                <a:gd name="connsiteY46" fmla="*/ 44531 h 338055"/>
                <a:gd name="connsiteX47" fmla="*/ 82162 w 407046"/>
                <a:gd name="connsiteY47" fmla="*/ 90943 h 338055"/>
                <a:gd name="connsiteX48" fmla="*/ 67737 w 407046"/>
                <a:gd name="connsiteY48" fmla="*/ 103486 h 338055"/>
                <a:gd name="connsiteX49" fmla="*/ 32614 w 407046"/>
                <a:gd name="connsiteY49" fmla="*/ 142999 h 338055"/>
                <a:gd name="connsiteX50" fmla="*/ 72127 w 407046"/>
                <a:gd name="connsiteY50" fmla="*/ 183140 h 338055"/>
                <a:gd name="connsiteX51" fmla="*/ 74636 w 407046"/>
                <a:gd name="connsiteY51" fmla="*/ 183140 h 338055"/>
                <a:gd name="connsiteX52" fmla="*/ 74636 w 407046"/>
                <a:gd name="connsiteY52" fmla="*/ 183140 h 33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407046" h="338055">
                  <a:moveTo>
                    <a:pt x="137355" y="338056"/>
                  </a:moveTo>
                  <a:cubicBezTo>
                    <a:pt x="85925" y="338056"/>
                    <a:pt x="43903" y="296034"/>
                    <a:pt x="43903" y="243977"/>
                  </a:cubicBezTo>
                  <a:cubicBezTo>
                    <a:pt x="43903" y="233315"/>
                    <a:pt x="45785" y="222653"/>
                    <a:pt x="49548" y="212618"/>
                  </a:cubicBezTo>
                  <a:cubicBezTo>
                    <a:pt x="20697" y="202583"/>
                    <a:pt x="0" y="174986"/>
                    <a:pt x="0" y="142999"/>
                  </a:cubicBezTo>
                  <a:cubicBezTo>
                    <a:pt x="0" y="109758"/>
                    <a:pt x="22579" y="81535"/>
                    <a:pt x="53311" y="72754"/>
                  </a:cubicBezTo>
                  <a:cubicBezTo>
                    <a:pt x="66482" y="35750"/>
                    <a:pt x="101605" y="10662"/>
                    <a:pt x="141118" y="10662"/>
                  </a:cubicBezTo>
                  <a:cubicBezTo>
                    <a:pt x="159934" y="10662"/>
                    <a:pt x="177495" y="16307"/>
                    <a:pt x="192548" y="26342"/>
                  </a:cubicBezTo>
                  <a:cubicBezTo>
                    <a:pt x="206346" y="9408"/>
                    <a:pt x="227043" y="0"/>
                    <a:pt x="248995" y="0"/>
                  </a:cubicBezTo>
                  <a:cubicBezTo>
                    <a:pt x="267810" y="0"/>
                    <a:pt x="285999" y="7526"/>
                    <a:pt x="299170" y="20070"/>
                  </a:cubicBezTo>
                  <a:cubicBezTo>
                    <a:pt x="304188" y="18816"/>
                    <a:pt x="309832" y="18189"/>
                    <a:pt x="314850" y="18189"/>
                  </a:cubicBezTo>
                  <a:cubicBezTo>
                    <a:pt x="355617" y="18189"/>
                    <a:pt x="388231" y="51430"/>
                    <a:pt x="388231" y="91570"/>
                  </a:cubicBezTo>
                  <a:cubicBezTo>
                    <a:pt x="388231" y="95960"/>
                    <a:pt x="387604" y="100978"/>
                    <a:pt x="386977" y="105368"/>
                  </a:cubicBezTo>
                  <a:cubicBezTo>
                    <a:pt x="400148" y="121675"/>
                    <a:pt x="407047" y="141745"/>
                    <a:pt x="407047" y="163070"/>
                  </a:cubicBezTo>
                  <a:cubicBezTo>
                    <a:pt x="407047" y="190039"/>
                    <a:pt x="395757" y="215126"/>
                    <a:pt x="375687" y="232688"/>
                  </a:cubicBezTo>
                  <a:cubicBezTo>
                    <a:pt x="379450" y="241468"/>
                    <a:pt x="381332" y="250876"/>
                    <a:pt x="381332" y="260284"/>
                  </a:cubicBezTo>
                  <a:cubicBezTo>
                    <a:pt x="381332" y="301052"/>
                    <a:pt x="348091" y="333666"/>
                    <a:pt x="307951" y="333666"/>
                  </a:cubicBezTo>
                  <a:cubicBezTo>
                    <a:pt x="291017" y="333666"/>
                    <a:pt x="274082" y="327394"/>
                    <a:pt x="260911" y="316104"/>
                  </a:cubicBezTo>
                  <a:cubicBezTo>
                    <a:pt x="241468" y="321122"/>
                    <a:pt x="220771" y="318613"/>
                    <a:pt x="204464" y="308578"/>
                  </a:cubicBezTo>
                  <a:cubicBezTo>
                    <a:pt x="187530" y="327394"/>
                    <a:pt x="163070" y="338056"/>
                    <a:pt x="137355" y="338056"/>
                  </a:cubicBezTo>
                  <a:lnTo>
                    <a:pt x="137355" y="338056"/>
                  </a:lnTo>
                  <a:close/>
                  <a:moveTo>
                    <a:pt x="74636" y="183140"/>
                  </a:moveTo>
                  <a:cubicBezTo>
                    <a:pt x="80908" y="183140"/>
                    <a:pt x="86552" y="186903"/>
                    <a:pt x="89688" y="191921"/>
                  </a:cubicBezTo>
                  <a:cubicBezTo>
                    <a:pt x="92824" y="197565"/>
                    <a:pt x="92197" y="203837"/>
                    <a:pt x="88434" y="209482"/>
                  </a:cubicBezTo>
                  <a:cubicBezTo>
                    <a:pt x="81535" y="219517"/>
                    <a:pt x="77144" y="231434"/>
                    <a:pt x="77144" y="243977"/>
                  </a:cubicBezTo>
                  <a:cubicBezTo>
                    <a:pt x="77144" y="277218"/>
                    <a:pt x="104114" y="304188"/>
                    <a:pt x="137355" y="304188"/>
                  </a:cubicBezTo>
                  <a:cubicBezTo>
                    <a:pt x="157425" y="304188"/>
                    <a:pt x="176868" y="294153"/>
                    <a:pt x="188157" y="276591"/>
                  </a:cubicBezTo>
                  <a:cubicBezTo>
                    <a:pt x="190666" y="272201"/>
                    <a:pt x="195684" y="269692"/>
                    <a:pt x="200074" y="269065"/>
                  </a:cubicBezTo>
                  <a:cubicBezTo>
                    <a:pt x="205091" y="268438"/>
                    <a:pt x="210109" y="270319"/>
                    <a:pt x="213245" y="274082"/>
                  </a:cubicBezTo>
                  <a:cubicBezTo>
                    <a:pt x="224534" y="285372"/>
                    <a:pt x="242723" y="289135"/>
                    <a:pt x="258403" y="282236"/>
                  </a:cubicBezTo>
                  <a:cubicBezTo>
                    <a:pt x="265302" y="279100"/>
                    <a:pt x="272828" y="280981"/>
                    <a:pt x="277846" y="286626"/>
                  </a:cubicBezTo>
                  <a:cubicBezTo>
                    <a:pt x="285372" y="295407"/>
                    <a:pt x="296661" y="300425"/>
                    <a:pt x="307951" y="300425"/>
                  </a:cubicBezTo>
                  <a:cubicBezTo>
                    <a:pt x="329902" y="300425"/>
                    <a:pt x="348091" y="282236"/>
                    <a:pt x="348091" y="260284"/>
                  </a:cubicBezTo>
                  <a:cubicBezTo>
                    <a:pt x="348091" y="252131"/>
                    <a:pt x="345582" y="243977"/>
                    <a:pt x="341192" y="237705"/>
                  </a:cubicBezTo>
                  <a:cubicBezTo>
                    <a:pt x="338683" y="233942"/>
                    <a:pt x="337429" y="229552"/>
                    <a:pt x="338683" y="225162"/>
                  </a:cubicBezTo>
                  <a:cubicBezTo>
                    <a:pt x="339310" y="220771"/>
                    <a:pt x="342446" y="217008"/>
                    <a:pt x="346209" y="214499"/>
                  </a:cubicBezTo>
                  <a:cubicBezTo>
                    <a:pt x="363771" y="203210"/>
                    <a:pt x="374433" y="184394"/>
                    <a:pt x="374433" y="163697"/>
                  </a:cubicBezTo>
                  <a:cubicBezTo>
                    <a:pt x="374433" y="148017"/>
                    <a:pt x="368161" y="132965"/>
                    <a:pt x="357499" y="121675"/>
                  </a:cubicBezTo>
                  <a:cubicBezTo>
                    <a:pt x="353108" y="117285"/>
                    <a:pt x="351854" y="110386"/>
                    <a:pt x="353736" y="104741"/>
                  </a:cubicBezTo>
                  <a:cubicBezTo>
                    <a:pt x="355617" y="99723"/>
                    <a:pt x="356244" y="95960"/>
                    <a:pt x="356244" y="91570"/>
                  </a:cubicBezTo>
                  <a:cubicBezTo>
                    <a:pt x="356244" y="69618"/>
                    <a:pt x="338056" y="51430"/>
                    <a:pt x="316104" y="51430"/>
                  </a:cubicBezTo>
                  <a:cubicBezTo>
                    <a:pt x="311087" y="51430"/>
                    <a:pt x="306069" y="52684"/>
                    <a:pt x="301052" y="54566"/>
                  </a:cubicBezTo>
                  <a:cubicBezTo>
                    <a:pt x="294152" y="57075"/>
                    <a:pt x="285999" y="55193"/>
                    <a:pt x="281609" y="48921"/>
                  </a:cubicBezTo>
                  <a:cubicBezTo>
                    <a:pt x="274082" y="38886"/>
                    <a:pt x="262166" y="33241"/>
                    <a:pt x="249622" y="33241"/>
                  </a:cubicBezTo>
                  <a:cubicBezTo>
                    <a:pt x="233315" y="33241"/>
                    <a:pt x="218890" y="43276"/>
                    <a:pt x="212618" y="58329"/>
                  </a:cubicBezTo>
                  <a:cubicBezTo>
                    <a:pt x="210736" y="63346"/>
                    <a:pt x="205719" y="67109"/>
                    <a:pt x="200074" y="68364"/>
                  </a:cubicBezTo>
                  <a:cubicBezTo>
                    <a:pt x="194429" y="69618"/>
                    <a:pt x="188784" y="67737"/>
                    <a:pt x="185021" y="63346"/>
                  </a:cubicBezTo>
                  <a:cubicBezTo>
                    <a:pt x="173732" y="51430"/>
                    <a:pt x="158052" y="44531"/>
                    <a:pt x="141118" y="44531"/>
                  </a:cubicBezTo>
                  <a:cubicBezTo>
                    <a:pt x="112894" y="44531"/>
                    <a:pt x="89061" y="63974"/>
                    <a:pt x="82162" y="90943"/>
                  </a:cubicBezTo>
                  <a:cubicBezTo>
                    <a:pt x="80280" y="97842"/>
                    <a:pt x="74636" y="102859"/>
                    <a:pt x="67737" y="103486"/>
                  </a:cubicBezTo>
                  <a:cubicBezTo>
                    <a:pt x="47667" y="105995"/>
                    <a:pt x="32614" y="122930"/>
                    <a:pt x="32614" y="142999"/>
                  </a:cubicBezTo>
                  <a:cubicBezTo>
                    <a:pt x="32614" y="164951"/>
                    <a:pt x="50175" y="183140"/>
                    <a:pt x="72127" y="183140"/>
                  </a:cubicBezTo>
                  <a:cubicBezTo>
                    <a:pt x="73381" y="183140"/>
                    <a:pt x="74009" y="183140"/>
                    <a:pt x="74636" y="183140"/>
                  </a:cubicBezTo>
                  <a:lnTo>
                    <a:pt x="74636" y="183140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sp>
        <p:nvSpPr>
          <p:cNvPr id="365" name="Forma Livre: Forma 364">
            <a:extLst>
              <a:ext uri="{FF2B5EF4-FFF2-40B4-BE49-F238E27FC236}">
                <a16:creationId xmlns:a16="http://schemas.microsoft.com/office/drawing/2014/main" id="{2B14D896-E534-47CB-A76E-3EFE0F93B839}"/>
              </a:ext>
            </a:extLst>
          </p:cNvPr>
          <p:cNvSpPr/>
          <p:nvPr/>
        </p:nvSpPr>
        <p:spPr>
          <a:xfrm>
            <a:off x="3386126" y="5682015"/>
            <a:ext cx="305441" cy="400147"/>
          </a:xfrm>
          <a:custGeom>
            <a:avLst/>
            <a:gdLst>
              <a:gd name="connsiteX0" fmla="*/ 185021 w 305441"/>
              <a:gd name="connsiteY0" fmla="*/ 400148 h 400147"/>
              <a:gd name="connsiteX1" fmla="*/ 118539 w 305441"/>
              <a:gd name="connsiteY1" fmla="*/ 400148 h 400147"/>
              <a:gd name="connsiteX2" fmla="*/ 101605 w 305441"/>
              <a:gd name="connsiteY2" fmla="*/ 383213 h 400147"/>
              <a:gd name="connsiteX3" fmla="*/ 101605 w 305441"/>
              <a:gd name="connsiteY3" fmla="*/ 269065 h 400147"/>
              <a:gd name="connsiteX4" fmla="*/ 41395 w 305441"/>
              <a:gd name="connsiteY4" fmla="*/ 269065 h 400147"/>
              <a:gd name="connsiteX5" fmla="*/ 0 w 305441"/>
              <a:gd name="connsiteY5" fmla="*/ 227670 h 400147"/>
              <a:gd name="connsiteX6" fmla="*/ 0 w 305441"/>
              <a:gd name="connsiteY6" fmla="*/ 132337 h 400147"/>
              <a:gd name="connsiteX7" fmla="*/ 41395 w 305441"/>
              <a:gd name="connsiteY7" fmla="*/ 90943 h 400147"/>
              <a:gd name="connsiteX8" fmla="*/ 82789 w 305441"/>
              <a:gd name="connsiteY8" fmla="*/ 132337 h 400147"/>
              <a:gd name="connsiteX9" fmla="*/ 82789 w 305441"/>
              <a:gd name="connsiteY9" fmla="*/ 185648 h 400147"/>
              <a:gd name="connsiteX10" fmla="*/ 101605 w 305441"/>
              <a:gd name="connsiteY10" fmla="*/ 185648 h 400147"/>
              <a:gd name="connsiteX11" fmla="*/ 101605 w 305441"/>
              <a:gd name="connsiteY11" fmla="*/ 50175 h 400147"/>
              <a:gd name="connsiteX12" fmla="*/ 151780 w 305441"/>
              <a:gd name="connsiteY12" fmla="*/ 0 h 400147"/>
              <a:gd name="connsiteX13" fmla="*/ 201955 w 305441"/>
              <a:gd name="connsiteY13" fmla="*/ 50175 h 400147"/>
              <a:gd name="connsiteX14" fmla="*/ 201955 w 305441"/>
              <a:gd name="connsiteY14" fmla="*/ 121048 h 400147"/>
              <a:gd name="connsiteX15" fmla="*/ 222653 w 305441"/>
              <a:gd name="connsiteY15" fmla="*/ 121048 h 400147"/>
              <a:gd name="connsiteX16" fmla="*/ 222653 w 305441"/>
              <a:gd name="connsiteY16" fmla="*/ 67737 h 400147"/>
              <a:gd name="connsiteX17" fmla="*/ 264047 w 305441"/>
              <a:gd name="connsiteY17" fmla="*/ 26342 h 400147"/>
              <a:gd name="connsiteX18" fmla="*/ 305442 w 305441"/>
              <a:gd name="connsiteY18" fmla="*/ 67737 h 400147"/>
              <a:gd name="connsiteX19" fmla="*/ 305442 w 305441"/>
              <a:gd name="connsiteY19" fmla="*/ 163070 h 400147"/>
              <a:gd name="connsiteX20" fmla="*/ 304815 w 305441"/>
              <a:gd name="connsiteY20" fmla="*/ 171850 h 400147"/>
              <a:gd name="connsiteX21" fmla="*/ 264047 w 305441"/>
              <a:gd name="connsiteY21" fmla="*/ 205091 h 400147"/>
              <a:gd name="connsiteX22" fmla="*/ 201955 w 305441"/>
              <a:gd name="connsiteY22" fmla="*/ 205091 h 400147"/>
              <a:gd name="connsiteX23" fmla="*/ 201955 w 305441"/>
              <a:gd name="connsiteY23" fmla="*/ 383841 h 400147"/>
              <a:gd name="connsiteX24" fmla="*/ 185021 w 305441"/>
              <a:gd name="connsiteY24" fmla="*/ 400148 h 400147"/>
              <a:gd name="connsiteX25" fmla="*/ 185021 w 305441"/>
              <a:gd name="connsiteY25" fmla="*/ 400148 h 400147"/>
              <a:gd name="connsiteX26" fmla="*/ 134846 w 305441"/>
              <a:gd name="connsiteY26" fmla="*/ 366907 h 400147"/>
              <a:gd name="connsiteX27" fmla="*/ 168087 w 305441"/>
              <a:gd name="connsiteY27" fmla="*/ 366907 h 400147"/>
              <a:gd name="connsiteX28" fmla="*/ 168087 w 305441"/>
              <a:gd name="connsiteY28" fmla="*/ 188157 h 400147"/>
              <a:gd name="connsiteX29" fmla="*/ 185021 w 305441"/>
              <a:gd name="connsiteY29" fmla="*/ 171223 h 400147"/>
              <a:gd name="connsiteX30" fmla="*/ 264047 w 305441"/>
              <a:gd name="connsiteY30" fmla="*/ 171223 h 400147"/>
              <a:gd name="connsiteX31" fmla="*/ 272201 w 305441"/>
              <a:gd name="connsiteY31" fmla="*/ 164324 h 400147"/>
              <a:gd name="connsiteX32" fmla="*/ 272201 w 305441"/>
              <a:gd name="connsiteY32" fmla="*/ 162443 h 400147"/>
              <a:gd name="connsiteX33" fmla="*/ 272201 w 305441"/>
              <a:gd name="connsiteY33" fmla="*/ 67109 h 400147"/>
              <a:gd name="connsiteX34" fmla="*/ 264047 w 305441"/>
              <a:gd name="connsiteY34" fmla="*/ 58956 h 400147"/>
              <a:gd name="connsiteX35" fmla="*/ 255894 w 305441"/>
              <a:gd name="connsiteY35" fmla="*/ 67109 h 400147"/>
              <a:gd name="connsiteX36" fmla="*/ 255894 w 305441"/>
              <a:gd name="connsiteY36" fmla="*/ 137355 h 400147"/>
              <a:gd name="connsiteX37" fmla="*/ 238960 w 305441"/>
              <a:gd name="connsiteY37" fmla="*/ 154289 h 400147"/>
              <a:gd name="connsiteX38" fmla="*/ 185021 w 305441"/>
              <a:gd name="connsiteY38" fmla="*/ 154289 h 400147"/>
              <a:gd name="connsiteX39" fmla="*/ 168087 w 305441"/>
              <a:gd name="connsiteY39" fmla="*/ 137355 h 400147"/>
              <a:gd name="connsiteX40" fmla="*/ 168087 w 305441"/>
              <a:gd name="connsiteY40" fmla="*/ 50175 h 400147"/>
              <a:gd name="connsiteX41" fmla="*/ 151153 w 305441"/>
              <a:gd name="connsiteY41" fmla="*/ 33241 h 400147"/>
              <a:gd name="connsiteX42" fmla="*/ 134219 w 305441"/>
              <a:gd name="connsiteY42" fmla="*/ 50175 h 400147"/>
              <a:gd name="connsiteX43" fmla="*/ 134219 w 305441"/>
              <a:gd name="connsiteY43" fmla="*/ 201956 h 400147"/>
              <a:gd name="connsiteX44" fmla="*/ 117285 w 305441"/>
              <a:gd name="connsiteY44" fmla="*/ 218890 h 400147"/>
              <a:gd name="connsiteX45" fmla="*/ 65228 w 305441"/>
              <a:gd name="connsiteY45" fmla="*/ 218890 h 400147"/>
              <a:gd name="connsiteX46" fmla="*/ 48294 w 305441"/>
              <a:gd name="connsiteY46" fmla="*/ 201956 h 400147"/>
              <a:gd name="connsiteX47" fmla="*/ 48294 w 305441"/>
              <a:gd name="connsiteY47" fmla="*/ 131710 h 400147"/>
              <a:gd name="connsiteX48" fmla="*/ 40140 w 305441"/>
              <a:gd name="connsiteY48" fmla="*/ 123557 h 400147"/>
              <a:gd name="connsiteX49" fmla="*/ 31987 w 305441"/>
              <a:gd name="connsiteY49" fmla="*/ 131710 h 400147"/>
              <a:gd name="connsiteX50" fmla="*/ 31987 w 305441"/>
              <a:gd name="connsiteY50" fmla="*/ 227043 h 400147"/>
              <a:gd name="connsiteX51" fmla="*/ 40140 w 305441"/>
              <a:gd name="connsiteY51" fmla="*/ 235197 h 400147"/>
              <a:gd name="connsiteX52" fmla="*/ 117285 w 305441"/>
              <a:gd name="connsiteY52" fmla="*/ 235197 h 400147"/>
              <a:gd name="connsiteX53" fmla="*/ 134219 w 305441"/>
              <a:gd name="connsiteY53" fmla="*/ 252131 h 400147"/>
              <a:gd name="connsiteX54" fmla="*/ 134219 w 305441"/>
              <a:gd name="connsiteY54" fmla="*/ 366907 h 400147"/>
              <a:gd name="connsiteX55" fmla="*/ 134846 w 305441"/>
              <a:gd name="connsiteY55" fmla="*/ 366907 h 4001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305441" h="400147">
                <a:moveTo>
                  <a:pt x="185021" y="400148"/>
                </a:moveTo>
                <a:lnTo>
                  <a:pt x="118539" y="400148"/>
                </a:lnTo>
                <a:cubicBezTo>
                  <a:pt x="109131" y="400148"/>
                  <a:pt x="101605" y="392621"/>
                  <a:pt x="101605" y="383213"/>
                </a:cubicBezTo>
                <a:lnTo>
                  <a:pt x="101605" y="269065"/>
                </a:lnTo>
                <a:lnTo>
                  <a:pt x="41395" y="269065"/>
                </a:lnTo>
                <a:cubicBezTo>
                  <a:pt x="18188" y="269065"/>
                  <a:pt x="0" y="250249"/>
                  <a:pt x="0" y="227670"/>
                </a:cubicBezTo>
                <a:lnTo>
                  <a:pt x="0" y="132337"/>
                </a:lnTo>
                <a:cubicBezTo>
                  <a:pt x="0" y="109131"/>
                  <a:pt x="18816" y="90943"/>
                  <a:pt x="41395" y="90943"/>
                </a:cubicBezTo>
                <a:cubicBezTo>
                  <a:pt x="64601" y="90943"/>
                  <a:pt x="82789" y="109758"/>
                  <a:pt x="82789" y="132337"/>
                </a:cubicBezTo>
                <a:lnTo>
                  <a:pt x="82789" y="185648"/>
                </a:lnTo>
                <a:lnTo>
                  <a:pt x="101605" y="185648"/>
                </a:lnTo>
                <a:lnTo>
                  <a:pt x="101605" y="50175"/>
                </a:lnTo>
                <a:cubicBezTo>
                  <a:pt x="101605" y="22579"/>
                  <a:pt x="124184" y="0"/>
                  <a:pt x="151780" y="0"/>
                </a:cubicBezTo>
                <a:cubicBezTo>
                  <a:pt x="179377" y="0"/>
                  <a:pt x="201955" y="22579"/>
                  <a:pt x="201955" y="50175"/>
                </a:cubicBezTo>
                <a:lnTo>
                  <a:pt x="201955" y="121048"/>
                </a:lnTo>
                <a:lnTo>
                  <a:pt x="222653" y="121048"/>
                </a:lnTo>
                <a:lnTo>
                  <a:pt x="222653" y="67737"/>
                </a:lnTo>
                <a:cubicBezTo>
                  <a:pt x="222653" y="44530"/>
                  <a:pt x="241468" y="26342"/>
                  <a:pt x="264047" y="26342"/>
                </a:cubicBezTo>
                <a:cubicBezTo>
                  <a:pt x="287253" y="26342"/>
                  <a:pt x="305442" y="45158"/>
                  <a:pt x="305442" y="67737"/>
                </a:cubicBezTo>
                <a:lnTo>
                  <a:pt x="305442" y="163070"/>
                </a:lnTo>
                <a:cubicBezTo>
                  <a:pt x="305442" y="166206"/>
                  <a:pt x="305442" y="168714"/>
                  <a:pt x="304815" y="171850"/>
                </a:cubicBezTo>
                <a:cubicBezTo>
                  <a:pt x="301052" y="191293"/>
                  <a:pt x="283490" y="205091"/>
                  <a:pt x="264047" y="205091"/>
                </a:cubicBezTo>
                <a:lnTo>
                  <a:pt x="201955" y="205091"/>
                </a:lnTo>
                <a:lnTo>
                  <a:pt x="201955" y="383841"/>
                </a:lnTo>
                <a:cubicBezTo>
                  <a:pt x="201328" y="393249"/>
                  <a:pt x="193802" y="400148"/>
                  <a:pt x="185021" y="400148"/>
                </a:cubicBezTo>
                <a:lnTo>
                  <a:pt x="185021" y="400148"/>
                </a:lnTo>
                <a:close/>
                <a:moveTo>
                  <a:pt x="134846" y="366907"/>
                </a:moveTo>
                <a:lnTo>
                  <a:pt x="168087" y="366907"/>
                </a:lnTo>
                <a:lnTo>
                  <a:pt x="168087" y="188157"/>
                </a:lnTo>
                <a:cubicBezTo>
                  <a:pt x="168087" y="178749"/>
                  <a:pt x="175613" y="171223"/>
                  <a:pt x="185021" y="171223"/>
                </a:cubicBezTo>
                <a:lnTo>
                  <a:pt x="264047" y="171223"/>
                </a:lnTo>
                <a:cubicBezTo>
                  <a:pt x="267810" y="171223"/>
                  <a:pt x="271574" y="168714"/>
                  <a:pt x="272201" y="164324"/>
                </a:cubicBezTo>
                <a:lnTo>
                  <a:pt x="272201" y="162443"/>
                </a:lnTo>
                <a:lnTo>
                  <a:pt x="272201" y="67109"/>
                </a:lnTo>
                <a:cubicBezTo>
                  <a:pt x="272201" y="62719"/>
                  <a:pt x="268438" y="58956"/>
                  <a:pt x="264047" y="58956"/>
                </a:cubicBezTo>
                <a:cubicBezTo>
                  <a:pt x="259657" y="58956"/>
                  <a:pt x="255894" y="62719"/>
                  <a:pt x="255894" y="67109"/>
                </a:cubicBezTo>
                <a:lnTo>
                  <a:pt x="255894" y="137355"/>
                </a:lnTo>
                <a:cubicBezTo>
                  <a:pt x="255894" y="146763"/>
                  <a:pt x="248368" y="154289"/>
                  <a:pt x="238960" y="154289"/>
                </a:cubicBezTo>
                <a:lnTo>
                  <a:pt x="185021" y="154289"/>
                </a:lnTo>
                <a:cubicBezTo>
                  <a:pt x="175613" y="154289"/>
                  <a:pt x="168087" y="146763"/>
                  <a:pt x="168087" y="137355"/>
                </a:cubicBezTo>
                <a:lnTo>
                  <a:pt x="168087" y="50175"/>
                </a:lnTo>
                <a:cubicBezTo>
                  <a:pt x="168087" y="40767"/>
                  <a:pt x="160561" y="33241"/>
                  <a:pt x="151153" y="33241"/>
                </a:cubicBezTo>
                <a:cubicBezTo>
                  <a:pt x="141745" y="33241"/>
                  <a:pt x="134219" y="40767"/>
                  <a:pt x="134219" y="50175"/>
                </a:cubicBezTo>
                <a:lnTo>
                  <a:pt x="134219" y="201956"/>
                </a:lnTo>
                <a:cubicBezTo>
                  <a:pt x="134219" y="211363"/>
                  <a:pt x="126692" y="218890"/>
                  <a:pt x="117285" y="218890"/>
                </a:cubicBezTo>
                <a:lnTo>
                  <a:pt x="65228" y="218890"/>
                </a:lnTo>
                <a:cubicBezTo>
                  <a:pt x="55820" y="218890"/>
                  <a:pt x="48294" y="211363"/>
                  <a:pt x="48294" y="201956"/>
                </a:cubicBezTo>
                <a:lnTo>
                  <a:pt x="48294" y="131710"/>
                </a:lnTo>
                <a:cubicBezTo>
                  <a:pt x="48294" y="127320"/>
                  <a:pt x="44531" y="123557"/>
                  <a:pt x="40140" y="123557"/>
                </a:cubicBezTo>
                <a:cubicBezTo>
                  <a:pt x="35750" y="123557"/>
                  <a:pt x="31987" y="127320"/>
                  <a:pt x="31987" y="131710"/>
                </a:cubicBezTo>
                <a:lnTo>
                  <a:pt x="31987" y="227043"/>
                </a:lnTo>
                <a:cubicBezTo>
                  <a:pt x="31987" y="231434"/>
                  <a:pt x="35750" y="235197"/>
                  <a:pt x="40140" y="235197"/>
                </a:cubicBezTo>
                <a:lnTo>
                  <a:pt x="117285" y="235197"/>
                </a:lnTo>
                <a:cubicBezTo>
                  <a:pt x="126692" y="235197"/>
                  <a:pt x="134219" y="242723"/>
                  <a:pt x="134219" y="252131"/>
                </a:cubicBezTo>
                <a:lnTo>
                  <a:pt x="134219" y="366907"/>
                </a:lnTo>
                <a:lnTo>
                  <a:pt x="134846" y="366907"/>
                </a:lnTo>
                <a:close/>
              </a:path>
            </a:pathLst>
          </a:custGeom>
          <a:solidFill>
            <a:srgbClr val="B1B1A1"/>
          </a:solidFill>
          <a:ln w="6269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grpSp>
        <p:nvGrpSpPr>
          <p:cNvPr id="366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10460591" y="5702661"/>
            <a:ext cx="436828" cy="368838"/>
            <a:chOff x="10460591" y="5702661"/>
            <a:chExt cx="436828" cy="368838"/>
          </a:xfrm>
          <a:solidFill>
            <a:srgbClr val="B1B1A1"/>
          </a:solidFill>
        </p:grpSpPr>
        <p:grpSp>
          <p:nvGrpSpPr>
            <p:cNvPr id="367" name="Gráfico 2">
              <a:extLst>
                <a:ext uri="{FF2B5EF4-FFF2-40B4-BE49-F238E27FC236}">
                  <a16:creationId xmlns:a16="http://schemas.microsoft.com/office/drawing/2014/main" id="{F5ABA5BB-819F-4501-AD77-3F762FEA4CEA}"/>
                </a:ext>
              </a:extLst>
            </p:cNvPr>
            <p:cNvGrpSpPr/>
            <p:nvPr/>
          </p:nvGrpSpPr>
          <p:grpSpPr>
            <a:xfrm>
              <a:off x="10460591" y="5719654"/>
              <a:ext cx="436828" cy="351845"/>
              <a:chOff x="10460591" y="5719654"/>
              <a:chExt cx="436828" cy="351845"/>
            </a:xfrm>
            <a:grpFill/>
          </p:grpSpPr>
          <p:grpSp>
            <p:nvGrpSpPr>
              <p:cNvPr id="368" name="Gráfico 2">
                <a:extLst>
                  <a:ext uri="{FF2B5EF4-FFF2-40B4-BE49-F238E27FC236}">
                    <a16:creationId xmlns:a16="http://schemas.microsoft.com/office/drawing/2014/main" id="{F5ABA5BB-819F-4501-AD77-3F762FEA4CEA}"/>
                  </a:ext>
                </a:extLst>
              </p:cNvPr>
              <p:cNvGrpSpPr/>
              <p:nvPr/>
            </p:nvGrpSpPr>
            <p:grpSpPr>
              <a:xfrm>
                <a:off x="10460591" y="5719654"/>
                <a:ext cx="233795" cy="351845"/>
                <a:chOff x="10460591" y="5719654"/>
                <a:chExt cx="233795" cy="351845"/>
              </a:xfrm>
              <a:grpFill/>
            </p:grpSpPr>
            <p:sp>
              <p:nvSpPr>
                <p:cNvPr id="369" name="Forma Livre: Forma 368">
                  <a:extLst>
                    <a:ext uri="{FF2B5EF4-FFF2-40B4-BE49-F238E27FC236}">
                      <a16:creationId xmlns:a16="http://schemas.microsoft.com/office/drawing/2014/main" id="{9C591947-68EC-42C3-ACA3-D49B6322DE95}"/>
                    </a:ext>
                  </a:extLst>
                </p:cNvPr>
                <p:cNvSpPr/>
                <p:nvPr/>
              </p:nvSpPr>
              <p:spPr>
                <a:xfrm>
                  <a:off x="10460591" y="5719654"/>
                  <a:ext cx="233182" cy="227662"/>
                </a:xfrm>
                <a:custGeom>
                  <a:avLst/>
                  <a:gdLst>
                    <a:gd name="connsiteX0" fmla="*/ 162689 w 233182"/>
                    <a:gd name="connsiteY0" fmla="*/ 227662 h 227662"/>
                    <a:gd name="connsiteX1" fmla="*/ 162689 w 233182"/>
                    <a:gd name="connsiteY1" fmla="*/ 227662 h 227662"/>
                    <a:gd name="connsiteX2" fmla="*/ 874 w 233182"/>
                    <a:gd name="connsiteY2" fmla="*/ 66474 h 227662"/>
                    <a:gd name="connsiteX3" fmla="*/ 1502 w 233182"/>
                    <a:gd name="connsiteY3" fmla="*/ 26334 h 227662"/>
                    <a:gd name="connsiteX4" fmla="*/ 10910 w 233182"/>
                    <a:gd name="connsiteY4" fmla="*/ 13163 h 227662"/>
                    <a:gd name="connsiteX5" fmla="*/ 57321 w 233182"/>
                    <a:gd name="connsiteY5" fmla="*/ 619 h 227662"/>
                    <a:gd name="connsiteX6" fmla="*/ 232308 w 233182"/>
                    <a:gd name="connsiteY6" fmla="*/ 161180 h 227662"/>
                    <a:gd name="connsiteX7" fmla="*/ 231680 w 233182"/>
                    <a:gd name="connsiteY7" fmla="*/ 201320 h 227662"/>
                    <a:gd name="connsiteX8" fmla="*/ 222273 w 233182"/>
                    <a:gd name="connsiteY8" fmla="*/ 214491 h 227662"/>
                    <a:gd name="connsiteX9" fmla="*/ 175860 w 233182"/>
                    <a:gd name="connsiteY9" fmla="*/ 227035 h 227662"/>
                    <a:gd name="connsiteX10" fmla="*/ 162689 w 233182"/>
                    <a:gd name="connsiteY10" fmla="*/ 227662 h 227662"/>
                    <a:gd name="connsiteX11" fmla="*/ 162689 w 233182"/>
                    <a:gd name="connsiteY11" fmla="*/ 227662 h 227662"/>
                    <a:gd name="connsiteX12" fmla="*/ 34115 w 233182"/>
                    <a:gd name="connsiteY12" fmla="*/ 39505 h 227662"/>
                    <a:gd name="connsiteX13" fmla="*/ 34742 w 233182"/>
                    <a:gd name="connsiteY13" fmla="*/ 62711 h 227662"/>
                    <a:gd name="connsiteX14" fmla="*/ 163317 w 233182"/>
                    <a:gd name="connsiteY14" fmla="*/ 193794 h 227662"/>
                    <a:gd name="connsiteX15" fmla="*/ 163317 w 233182"/>
                    <a:gd name="connsiteY15" fmla="*/ 193794 h 227662"/>
                    <a:gd name="connsiteX16" fmla="*/ 173979 w 233182"/>
                    <a:gd name="connsiteY16" fmla="*/ 193167 h 227662"/>
                    <a:gd name="connsiteX17" fmla="*/ 200948 w 233182"/>
                    <a:gd name="connsiteY17" fmla="*/ 187522 h 227662"/>
                    <a:gd name="connsiteX18" fmla="*/ 200321 w 233182"/>
                    <a:gd name="connsiteY18" fmla="*/ 164316 h 227662"/>
                    <a:gd name="connsiteX19" fmla="*/ 61712 w 233182"/>
                    <a:gd name="connsiteY19" fmla="*/ 33861 h 227662"/>
                    <a:gd name="connsiteX20" fmla="*/ 34115 w 233182"/>
                    <a:gd name="connsiteY20" fmla="*/ 39505 h 227662"/>
                    <a:gd name="connsiteX21" fmla="*/ 34115 w 233182"/>
                    <a:gd name="connsiteY21" fmla="*/ 39505 h 227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233182" h="227662">
                      <a:moveTo>
                        <a:pt x="162689" y="227662"/>
                      </a:moveTo>
                      <a:lnTo>
                        <a:pt x="162689" y="227662"/>
                      </a:lnTo>
                      <a:cubicBezTo>
                        <a:pt x="80528" y="227662"/>
                        <a:pt x="9655" y="156790"/>
                        <a:pt x="874" y="66474"/>
                      </a:cubicBezTo>
                      <a:cubicBezTo>
                        <a:pt x="-380" y="53303"/>
                        <a:pt x="-380" y="40132"/>
                        <a:pt x="1502" y="26334"/>
                      </a:cubicBezTo>
                      <a:cubicBezTo>
                        <a:pt x="2129" y="20689"/>
                        <a:pt x="5892" y="15672"/>
                        <a:pt x="10910" y="13163"/>
                      </a:cubicBezTo>
                      <a:cubicBezTo>
                        <a:pt x="25962" y="6264"/>
                        <a:pt x="41641" y="2501"/>
                        <a:pt x="57321" y="619"/>
                      </a:cubicBezTo>
                      <a:cubicBezTo>
                        <a:pt x="145128" y="-7534"/>
                        <a:pt x="223527" y="65847"/>
                        <a:pt x="232308" y="161180"/>
                      </a:cubicBezTo>
                      <a:cubicBezTo>
                        <a:pt x="233562" y="173724"/>
                        <a:pt x="233562" y="187522"/>
                        <a:pt x="231680" y="201320"/>
                      </a:cubicBezTo>
                      <a:cubicBezTo>
                        <a:pt x="231053" y="206965"/>
                        <a:pt x="227290" y="211983"/>
                        <a:pt x="222273" y="214491"/>
                      </a:cubicBezTo>
                      <a:cubicBezTo>
                        <a:pt x="207220" y="221390"/>
                        <a:pt x="191540" y="225154"/>
                        <a:pt x="175860" y="227035"/>
                      </a:cubicBezTo>
                      <a:cubicBezTo>
                        <a:pt x="172097" y="227035"/>
                        <a:pt x="167080" y="227662"/>
                        <a:pt x="162689" y="227662"/>
                      </a:cubicBezTo>
                      <a:lnTo>
                        <a:pt x="162689" y="227662"/>
                      </a:lnTo>
                      <a:close/>
                      <a:moveTo>
                        <a:pt x="34115" y="39505"/>
                      </a:moveTo>
                      <a:cubicBezTo>
                        <a:pt x="33488" y="47658"/>
                        <a:pt x="33488" y="55185"/>
                        <a:pt x="34742" y="62711"/>
                      </a:cubicBezTo>
                      <a:cubicBezTo>
                        <a:pt x="41641" y="136093"/>
                        <a:pt x="98089" y="193794"/>
                        <a:pt x="163317" y="193794"/>
                      </a:cubicBezTo>
                      <a:lnTo>
                        <a:pt x="163317" y="193794"/>
                      </a:lnTo>
                      <a:cubicBezTo>
                        <a:pt x="166452" y="193794"/>
                        <a:pt x="170215" y="193794"/>
                        <a:pt x="173979" y="193167"/>
                      </a:cubicBezTo>
                      <a:cubicBezTo>
                        <a:pt x="183387" y="192540"/>
                        <a:pt x="192167" y="190031"/>
                        <a:pt x="200948" y="187522"/>
                      </a:cubicBezTo>
                      <a:cubicBezTo>
                        <a:pt x="201575" y="179369"/>
                        <a:pt x="201575" y="171843"/>
                        <a:pt x="200321" y="164316"/>
                      </a:cubicBezTo>
                      <a:cubicBezTo>
                        <a:pt x="193422" y="87172"/>
                        <a:pt x="130703" y="26961"/>
                        <a:pt x="61712" y="33861"/>
                      </a:cubicBezTo>
                      <a:cubicBezTo>
                        <a:pt x="51677" y="34488"/>
                        <a:pt x="42896" y="36369"/>
                        <a:pt x="34115" y="39505"/>
                      </a:cubicBezTo>
                      <a:lnTo>
                        <a:pt x="34115" y="39505"/>
                      </a:lnTo>
                      <a:close/>
                    </a:path>
                  </a:pathLst>
                </a:custGeom>
                <a:grpFill/>
                <a:ln w="62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370" name="Forma Livre: Forma 369">
                  <a:extLst>
                    <a:ext uri="{FF2B5EF4-FFF2-40B4-BE49-F238E27FC236}">
                      <a16:creationId xmlns:a16="http://schemas.microsoft.com/office/drawing/2014/main" id="{99F53205-227B-408A-863E-C8DA8BF20D38}"/>
                    </a:ext>
                  </a:extLst>
                </p:cNvPr>
                <p:cNvSpPr/>
                <p:nvPr/>
              </p:nvSpPr>
              <p:spPr>
                <a:xfrm>
                  <a:off x="10513916" y="5828150"/>
                  <a:ext cx="180470" cy="243349"/>
                </a:xfrm>
                <a:custGeom>
                  <a:avLst/>
                  <a:gdLst>
                    <a:gd name="connsiteX0" fmla="*/ 24694 w 180470"/>
                    <a:gd name="connsiteY0" fmla="*/ 243350 h 243349"/>
                    <a:gd name="connsiteX1" fmla="*/ 9014 w 180470"/>
                    <a:gd name="connsiteY1" fmla="*/ 231434 h 243349"/>
                    <a:gd name="connsiteX2" fmla="*/ 861 w 180470"/>
                    <a:gd name="connsiteY2" fmla="*/ 190666 h 243349"/>
                    <a:gd name="connsiteX3" fmla="*/ 35356 w 180470"/>
                    <a:gd name="connsiteY3" fmla="*/ 63346 h 243349"/>
                    <a:gd name="connsiteX4" fmla="*/ 143233 w 180470"/>
                    <a:gd name="connsiteY4" fmla="*/ 627 h 243349"/>
                    <a:gd name="connsiteX5" fmla="*/ 155777 w 180470"/>
                    <a:gd name="connsiteY5" fmla="*/ 0 h 243349"/>
                    <a:gd name="connsiteX6" fmla="*/ 171457 w 180470"/>
                    <a:gd name="connsiteY6" fmla="*/ 11289 h 243349"/>
                    <a:gd name="connsiteX7" fmla="*/ 179610 w 180470"/>
                    <a:gd name="connsiteY7" fmla="*/ 52057 h 243349"/>
                    <a:gd name="connsiteX8" fmla="*/ 145114 w 180470"/>
                    <a:gd name="connsiteY8" fmla="*/ 179377 h 243349"/>
                    <a:gd name="connsiteX9" fmla="*/ 37238 w 180470"/>
                    <a:gd name="connsiteY9" fmla="*/ 242096 h 243349"/>
                    <a:gd name="connsiteX10" fmla="*/ 24694 w 180470"/>
                    <a:gd name="connsiteY10" fmla="*/ 243350 h 243349"/>
                    <a:gd name="connsiteX11" fmla="*/ 24694 w 180470"/>
                    <a:gd name="connsiteY11" fmla="*/ 243350 h 243349"/>
                    <a:gd name="connsiteX12" fmla="*/ 143233 w 180470"/>
                    <a:gd name="connsiteY12" fmla="*/ 34495 h 243349"/>
                    <a:gd name="connsiteX13" fmla="*/ 61698 w 180470"/>
                    <a:gd name="connsiteY13" fmla="*/ 83416 h 243349"/>
                    <a:gd name="connsiteX14" fmla="*/ 33475 w 180470"/>
                    <a:gd name="connsiteY14" fmla="*/ 188157 h 243349"/>
                    <a:gd name="connsiteX15" fmla="*/ 37238 w 180470"/>
                    <a:gd name="connsiteY15" fmla="*/ 209482 h 243349"/>
                    <a:gd name="connsiteX16" fmla="*/ 118773 w 180470"/>
                    <a:gd name="connsiteY16" fmla="*/ 160561 h 243349"/>
                    <a:gd name="connsiteX17" fmla="*/ 146996 w 180470"/>
                    <a:gd name="connsiteY17" fmla="*/ 55820 h 243349"/>
                    <a:gd name="connsiteX18" fmla="*/ 143233 w 180470"/>
                    <a:gd name="connsiteY18" fmla="*/ 34495 h 243349"/>
                    <a:gd name="connsiteX19" fmla="*/ 143233 w 180470"/>
                    <a:gd name="connsiteY19" fmla="*/ 34495 h 2433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80470" h="243349">
                      <a:moveTo>
                        <a:pt x="24694" y="243350"/>
                      </a:moveTo>
                      <a:cubicBezTo>
                        <a:pt x="17168" y="243350"/>
                        <a:pt x="10896" y="238332"/>
                        <a:pt x="9014" y="231434"/>
                      </a:cubicBezTo>
                      <a:cubicBezTo>
                        <a:pt x="4624" y="218262"/>
                        <a:pt x="2115" y="204464"/>
                        <a:pt x="861" y="190666"/>
                      </a:cubicBezTo>
                      <a:cubicBezTo>
                        <a:pt x="-3530" y="144254"/>
                        <a:pt x="9014" y="99096"/>
                        <a:pt x="35356" y="63346"/>
                      </a:cubicBezTo>
                      <a:cubicBezTo>
                        <a:pt x="62326" y="26969"/>
                        <a:pt x="100584" y="5017"/>
                        <a:pt x="143233" y="627"/>
                      </a:cubicBezTo>
                      <a:cubicBezTo>
                        <a:pt x="147623" y="0"/>
                        <a:pt x="152014" y="0"/>
                        <a:pt x="155777" y="0"/>
                      </a:cubicBezTo>
                      <a:cubicBezTo>
                        <a:pt x="163303" y="0"/>
                        <a:pt x="169575" y="4390"/>
                        <a:pt x="171457" y="11289"/>
                      </a:cubicBezTo>
                      <a:cubicBezTo>
                        <a:pt x="175847" y="24461"/>
                        <a:pt x="178356" y="38259"/>
                        <a:pt x="179610" y="52057"/>
                      </a:cubicBezTo>
                      <a:cubicBezTo>
                        <a:pt x="184001" y="98469"/>
                        <a:pt x="171457" y="143627"/>
                        <a:pt x="145114" y="179377"/>
                      </a:cubicBezTo>
                      <a:cubicBezTo>
                        <a:pt x="118146" y="215754"/>
                        <a:pt x="79887" y="237705"/>
                        <a:pt x="37238" y="242096"/>
                      </a:cubicBezTo>
                      <a:cubicBezTo>
                        <a:pt x="32848" y="243350"/>
                        <a:pt x="28457" y="243350"/>
                        <a:pt x="24694" y="243350"/>
                      </a:cubicBezTo>
                      <a:lnTo>
                        <a:pt x="24694" y="243350"/>
                      </a:lnTo>
                      <a:close/>
                      <a:moveTo>
                        <a:pt x="143233" y="34495"/>
                      </a:moveTo>
                      <a:cubicBezTo>
                        <a:pt x="111247" y="38259"/>
                        <a:pt x="82395" y="55820"/>
                        <a:pt x="61698" y="83416"/>
                      </a:cubicBezTo>
                      <a:cubicBezTo>
                        <a:pt x="39747" y="112894"/>
                        <a:pt x="30339" y="149899"/>
                        <a:pt x="33475" y="188157"/>
                      </a:cubicBezTo>
                      <a:cubicBezTo>
                        <a:pt x="34102" y="195057"/>
                        <a:pt x="35356" y="202583"/>
                        <a:pt x="37238" y="209482"/>
                      </a:cubicBezTo>
                      <a:cubicBezTo>
                        <a:pt x="69224" y="205719"/>
                        <a:pt x="98075" y="188157"/>
                        <a:pt x="118773" y="160561"/>
                      </a:cubicBezTo>
                      <a:cubicBezTo>
                        <a:pt x="140724" y="131083"/>
                        <a:pt x="150132" y="94079"/>
                        <a:pt x="146996" y="55820"/>
                      </a:cubicBezTo>
                      <a:cubicBezTo>
                        <a:pt x="146369" y="48921"/>
                        <a:pt x="145114" y="41395"/>
                        <a:pt x="143233" y="34495"/>
                      </a:cubicBezTo>
                      <a:lnTo>
                        <a:pt x="143233" y="34495"/>
                      </a:lnTo>
                      <a:close/>
                    </a:path>
                  </a:pathLst>
                </a:custGeom>
                <a:grpFill/>
                <a:ln w="62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grpSp>
            <p:nvGrpSpPr>
              <p:cNvPr id="371" name="Gráfico 2">
                <a:extLst>
                  <a:ext uri="{FF2B5EF4-FFF2-40B4-BE49-F238E27FC236}">
                    <a16:creationId xmlns:a16="http://schemas.microsoft.com/office/drawing/2014/main" id="{F5ABA5BB-819F-4501-AD77-3F762FEA4CEA}"/>
                  </a:ext>
                </a:extLst>
              </p:cNvPr>
              <p:cNvGrpSpPr/>
              <p:nvPr/>
            </p:nvGrpSpPr>
            <p:grpSpPr>
              <a:xfrm>
                <a:off x="10663242" y="5719654"/>
                <a:ext cx="234177" cy="351845"/>
                <a:chOff x="10663242" y="5719654"/>
                <a:chExt cx="234177" cy="351845"/>
              </a:xfrm>
              <a:grpFill/>
            </p:grpSpPr>
            <p:sp>
              <p:nvSpPr>
                <p:cNvPr id="372" name="Forma Livre: Forma 371">
                  <a:extLst>
                    <a:ext uri="{FF2B5EF4-FFF2-40B4-BE49-F238E27FC236}">
                      <a16:creationId xmlns:a16="http://schemas.microsoft.com/office/drawing/2014/main" id="{B5BD0408-6268-4932-A811-4794D02B0962}"/>
                    </a:ext>
                  </a:extLst>
                </p:cNvPr>
                <p:cNvSpPr/>
                <p:nvPr/>
              </p:nvSpPr>
              <p:spPr>
                <a:xfrm>
                  <a:off x="10664428" y="5719654"/>
                  <a:ext cx="232991" cy="227662"/>
                </a:xfrm>
                <a:custGeom>
                  <a:avLst/>
                  <a:gdLst>
                    <a:gd name="connsiteX0" fmla="*/ 70493 w 232991"/>
                    <a:gd name="connsiteY0" fmla="*/ 227662 h 227662"/>
                    <a:gd name="connsiteX1" fmla="*/ 57321 w 232991"/>
                    <a:gd name="connsiteY1" fmla="*/ 227035 h 227662"/>
                    <a:gd name="connsiteX2" fmla="*/ 10910 w 232991"/>
                    <a:gd name="connsiteY2" fmla="*/ 214491 h 227662"/>
                    <a:gd name="connsiteX3" fmla="*/ 1502 w 232991"/>
                    <a:gd name="connsiteY3" fmla="*/ 201320 h 227662"/>
                    <a:gd name="connsiteX4" fmla="*/ 874 w 232991"/>
                    <a:gd name="connsiteY4" fmla="*/ 161180 h 227662"/>
                    <a:gd name="connsiteX5" fmla="*/ 175860 w 232991"/>
                    <a:gd name="connsiteY5" fmla="*/ 619 h 227662"/>
                    <a:gd name="connsiteX6" fmla="*/ 222273 w 232991"/>
                    <a:gd name="connsiteY6" fmla="*/ 13163 h 227662"/>
                    <a:gd name="connsiteX7" fmla="*/ 231680 w 232991"/>
                    <a:gd name="connsiteY7" fmla="*/ 26334 h 227662"/>
                    <a:gd name="connsiteX8" fmla="*/ 232308 w 232991"/>
                    <a:gd name="connsiteY8" fmla="*/ 66474 h 227662"/>
                    <a:gd name="connsiteX9" fmla="*/ 70493 w 232991"/>
                    <a:gd name="connsiteY9" fmla="*/ 227662 h 227662"/>
                    <a:gd name="connsiteX10" fmla="*/ 70493 w 232991"/>
                    <a:gd name="connsiteY10" fmla="*/ 227662 h 227662"/>
                    <a:gd name="connsiteX11" fmla="*/ 32861 w 232991"/>
                    <a:gd name="connsiteY11" fmla="*/ 187522 h 227662"/>
                    <a:gd name="connsiteX12" fmla="*/ 59830 w 232991"/>
                    <a:gd name="connsiteY12" fmla="*/ 193794 h 227662"/>
                    <a:gd name="connsiteX13" fmla="*/ 198439 w 232991"/>
                    <a:gd name="connsiteY13" fmla="*/ 63338 h 227662"/>
                    <a:gd name="connsiteX14" fmla="*/ 199067 w 232991"/>
                    <a:gd name="connsiteY14" fmla="*/ 40132 h 227662"/>
                    <a:gd name="connsiteX15" fmla="*/ 172097 w 232991"/>
                    <a:gd name="connsiteY15" fmla="*/ 33861 h 227662"/>
                    <a:gd name="connsiteX16" fmla="*/ 33488 w 232991"/>
                    <a:gd name="connsiteY16" fmla="*/ 164316 h 227662"/>
                    <a:gd name="connsiteX17" fmla="*/ 32861 w 232991"/>
                    <a:gd name="connsiteY17" fmla="*/ 187522 h 227662"/>
                    <a:gd name="connsiteX18" fmla="*/ 32861 w 232991"/>
                    <a:gd name="connsiteY18" fmla="*/ 187522 h 227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232991" h="227662">
                      <a:moveTo>
                        <a:pt x="70493" y="227662"/>
                      </a:moveTo>
                      <a:cubicBezTo>
                        <a:pt x="66102" y="227662"/>
                        <a:pt x="61712" y="227662"/>
                        <a:pt x="57321" y="227035"/>
                      </a:cubicBezTo>
                      <a:cubicBezTo>
                        <a:pt x="41014" y="225781"/>
                        <a:pt x="25335" y="221390"/>
                        <a:pt x="10910" y="214491"/>
                      </a:cubicBezTo>
                      <a:cubicBezTo>
                        <a:pt x="5892" y="211983"/>
                        <a:pt x="2129" y="206965"/>
                        <a:pt x="1502" y="201320"/>
                      </a:cubicBezTo>
                      <a:cubicBezTo>
                        <a:pt x="-380" y="187522"/>
                        <a:pt x="-380" y="174351"/>
                        <a:pt x="874" y="161180"/>
                      </a:cubicBezTo>
                      <a:cubicBezTo>
                        <a:pt x="9655" y="65847"/>
                        <a:pt x="87427" y="-7534"/>
                        <a:pt x="175860" y="619"/>
                      </a:cubicBezTo>
                      <a:cubicBezTo>
                        <a:pt x="192167" y="1874"/>
                        <a:pt x="207847" y="6264"/>
                        <a:pt x="222273" y="13163"/>
                      </a:cubicBezTo>
                      <a:cubicBezTo>
                        <a:pt x="227917" y="15672"/>
                        <a:pt x="231053" y="20689"/>
                        <a:pt x="231680" y="26334"/>
                      </a:cubicBezTo>
                      <a:cubicBezTo>
                        <a:pt x="232935" y="40132"/>
                        <a:pt x="233562" y="53303"/>
                        <a:pt x="232308" y="66474"/>
                      </a:cubicBezTo>
                      <a:cubicBezTo>
                        <a:pt x="223527" y="156790"/>
                        <a:pt x="152655" y="227662"/>
                        <a:pt x="70493" y="227662"/>
                      </a:cubicBezTo>
                      <a:lnTo>
                        <a:pt x="70493" y="227662"/>
                      </a:lnTo>
                      <a:close/>
                      <a:moveTo>
                        <a:pt x="32861" y="187522"/>
                      </a:moveTo>
                      <a:cubicBezTo>
                        <a:pt x="41641" y="190658"/>
                        <a:pt x="51049" y="192540"/>
                        <a:pt x="59830" y="193794"/>
                      </a:cubicBezTo>
                      <a:cubicBezTo>
                        <a:pt x="129448" y="200066"/>
                        <a:pt x="191540" y="140483"/>
                        <a:pt x="198439" y="63338"/>
                      </a:cubicBezTo>
                      <a:cubicBezTo>
                        <a:pt x="199067" y="55812"/>
                        <a:pt x="199067" y="47658"/>
                        <a:pt x="199067" y="40132"/>
                      </a:cubicBezTo>
                      <a:cubicBezTo>
                        <a:pt x="190286" y="36997"/>
                        <a:pt x="180878" y="35115"/>
                        <a:pt x="172097" y="33861"/>
                      </a:cubicBezTo>
                      <a:cubicBezTo>
                        <a:pt x="102479" y="27589"/>
                        <a:pt x="40387" y="87172"/>
                        <a:pt x="33488" y="164316"/>
                      </a:cubicBezTo>
                      <a:cubicBezTo>
                        <a:pt x="32233" y="171843"/>
                        <a:pt x="32233" y="179996"/>
                        <a:pt x="32861" y="187522"/>
                      </a:cubicBezTo>
                      <a:lnTo>
                        <a:pt x="32861" y="187522"/>
                      </a:lnTo>
                      <a:close/>
                    </a:path>
                  </a:pathLst>
                </a:custGeom>
                <a:grpFill/>
                <a:ln w="62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373" name="Forma Livre: Forma 372">
                  <a:extLst>
                    <a:ext uri="{FF2B5EF4-FFF2-40B4-BE49-F238E27FC236}">
                      <a16:creationId xmlns:a16="http://schemas.microsoft.com/office/drawing/2014/main" id="{D8A71DD8-B76D-409A-8652-FDFBF8DF2885}"/>
                    </a:ext>
                  </a:extLst>
                </p:cNvPr>
                <p:cNvSpPr/>
                <p:nvPr/>
              </p:nvSpPr>
              <p:spPr>
                <a:xfrm>
                  <a:off x="10663242" y="5828150"/>
                  <a:ext cx="180415" cy="243349"/>
                </a:xfrm>
                <a:custGeom>
                  <a:avLst/>
                  <a:gdLst>
                    <a:gd name="connsiteX0" fmla="*/ 156350 w 180415"/>
                    <a:gd name="connsiteY0" fmla="*/ 243350 h 243349"/>
                    <a:gd name="connsiteX1" fmla="*/ 156350 w 180415"/>
                    <a:gd name="connsiteY1" fmla="*/ 243350 h 243349"/>
                    <a:gd name="connsiteX2" fmla="*/ 143806 w 180415"/>
                    <a:gd name="connsiteY2" fmla="*/ 242723 h 243349"/>
                    <a:gd name="connsiteX3" fmla="*/ 806 w 180415"/>
                    <a:gd name="connsiteY3" fmla="*/ 52684 h 243349"/>
                    <a:gd name="connsiteX4" fmla="*/ 8960 w 180415"/>
                    <a:gd name="connsiteY4" fmla="*/ 11917 h 243349"/>
                    <a:gd name="connsiteX5" fmla="*/ 24639 w 180415"/>
                    <a:gd name="connsiteY5" fmla="*/ 0 h 243349"/>
                    <a:gd name="connsiteX6" fmla="*/ 37183 w 180415"/>
                    <a:gd name="connsiteY6" fmla="*/ 627 h 243349"/>
                    <a:gd name="connsiteX7" fmla="*/ 145060 w 180415"/>
                    <a:gd name="connsiteY7" fmla="*/ 63346 h 243349"/>
                    <a:gd name="connsiteX8" fmla="*/ 179555 w 180415"/>
                    <a:gd name="connsiteY8" fmla="*/ 190666 h 243349"/>
                    <a:gd name="connsiteX9" fmla="*/ 171402 w 180415"/>
                    <a:gd name="connsiteY9" fmla="*/ 231434 h 243349"/>
                    <a:gd name="connsiteX10" fmla="*/ 156350 w 180415"/>
                    <a:gd name="connsiteY10" fmla="*/ 243350 h 243349"/>
                    <a:gd name="connsiteX11" fmla="*/ 156350 w 180415"/>
                    <a:gd name="connsiteY11" fmla="*/ 243350 h 243349"/>
                    <a:gd name="connsiteX12" fmla="*/ 37810 w 180415"/>
                    <a:gd name="connsiteY12" fmla="*/ 34495 h 243349"/>
                    <a:gd name="connsiteX13" fmla="*/ 34047 w 180415"/>
                    <a:gd name="connsiteY13" fmla="*/ 55820 h 243349"/>
                    <a:gd name="connsiteX14" fmla="*/ 143806 w 180415"/>
                    <a:gd name="connsiteY14" fmla="*/ 209482 h 243349"/>
                    <a:gd name="connsiteX15" fmla="*/ 147569 w 180415"/>
                    <a:gd name="connsiteY15" fmla="*/ 188157 h 243349"/>
                    <a:gd name="connsiteX16" fmla="*/ 119345 w 180415"/>
                    <a:gd name="connsiteY16" fmla="*/ 83416 h 243349"/>
                    <a:gd name="connsiteX17" fmla="*/ 37810 w 180415"/>
                    <a:gd name="connsiteY17" fmla="*/ 34495 h 243349"/>
                    <a:gd name="connsiteX18" fmla="*/ 37810 w 180415"/>
                    <a:gd name="connsiteY18" fmla="*/ 34495 h 2433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80415" h="243349">
                      <a:moveTo>
                        <a:pt x="156350" y="243350"/>
                      </a:moveTo>
                      <a:lnTo>
                        <a:pt x="156350" y="243350"/>
                      </a:lnTo>
                      <a:cubicBezTo>
                        <a:pt x="151959" y="243350"/>
                        <a:pt x="147569" y="243350"/>
                        <a:pt x="143806" y="242723"/>
                      </a:cubicBezTo>
                      <a:cubicBezTo>
                        <a:pt x="55999" y="234570"/>
                        <a:pt x="-7975" y="149271"/>
                        <a:pt x="806" y="52684"/>
                      </a:cubicBezTo>
                      <a:cubicBezTo>
                        <a:pt x="2060" y="38886"/>
                        <a:pt x="4569" y="25715"/>
                        <a:pt x="8960" y="11917"/>
                      </a:cubicBezTo>
                      <a:cubicBezTo>
                        <a:pt x="11468" y="5017"/>
                        <a:pt x="17740" y="0"/>
                        <a:pt x="24639" y="0"/>
                      </a:cubicBezTo>
                      <a:cubicBezTo>
                        <a:pt x="29030" y="0"/>
                        <a:pt x="33420" y="0"/>
                        <a:pt x="37183" y="627"/>
                      </a:cubicBezTo>
                      <a:cubicBezTo>
                        <a:pt x="79832" y="4390"/>
                        <a:pt x="118090" y="26969"/>
                        <a:pt x="145060" y="63346"/>
                      </a:cubicBezTo>
                      <a:cubicBezTo>
                        <a:pt x="171402" y="99096"/>
                        <a:pt x="183945" y="144254"/>
                        <a:pt x="179555" y="190666"/>
                      </a:cubicBezTo>
                      <a:cubicBezTo>
                        <a:pt x="178301" y="203837"/>
                        <a:pt x="175792" y="217635"/>
                        <a:pt x="171402" y="231434"/>
                      </a:cubicBezTo>
                      <a:cubicBezTo>
                        <a:pt x="170147" y="238332"/>
                        <a:pt x="163876" y="243350"/>
                        <a:pt x="156350" y="243350"/>
                      </a:cubicBezTo>
                      <a:lnTo>
                        <a:pt x="156350" y="243350"/>
                      </a:lnTo>
                      <a:close/>
                      <a:moveTo>
                        <a:pt x="37810" y="34495"/>
                      </a:moveTo>
                      <a:cubicBezTo>
                        <a:pt x="35928" y="41395"/>
                        <a:pt x="34674" y="48921"/>
                        <a:pt x="34047" y="55820"/>
                      </a:cubicBezTo>
                      <a:cubicBezTo>
                        <a:pt x="27148" y="132965"/>
                        <a:pt x="76069" y="201328"/>
                        <a:pt x="143806" y="209482"/>
                      </a:cubicBezTo>
                      <a:cubicBezTo>
                        <a:pt x="145687" y="202583"/>
                        <a:pt x="146942" y="195057"/>
                        <a:pt x="147569" y="188157"/>
                      </a:cubicBezTo>
                      <a:cubicBezTo>
                        <a:pt x="151332" y="149899"/>
                        <a:pt x="141297" y="112894"/>
                        <a:pt x="119345" y="83416"/>
                      </a:cubicBezTo>
                      <a:cubicBezTo>
                        <a:pt x="98648" y="55193"/>
                        <a:pt x="69797" y="38259"/>
                        <a:pt x="37810" y="34495"/>
                      </a:cubicBezTo>
                      <a:lnTo>
                        <a:pt x="37810" y="34495"/>
                      </a:lnTo>
                      <a:close/>
                    </a:path>
                  </a:pathLst>
                </a:custGeom>
                <a:grpFill/>
                <a:ln w="626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</p:grpSp>
        <p:sp>
          <p:nvSpPr>
            <p:cNvPr id="374" name="Forma Livre: Forma 373">
              <a:extLst>
                <a:ext uri="{FF2B5EF4-FFF2-40B4-BE49-F238E27FC236}">
                  <a16:creationId xmlns:a16="http://schemas.microsoft.com/office/drawing/2014/main" id="{9292D750-8946-4E54-83AE-05FD96F42CBB}"/>
                </a:ext>
              </a:extLst>
            </p:cNvPr>
            <p:cNvSpPr/>
            <p:nvPr/>
          </p:nvSpPr>
          <p:spPr>
            <a:xfrm>
              <a:off x="10650250" y="5777348"/>
              <a:ext cx="57701" cy="57701"/>
            </a:xfrm>
            <a:custGeom>
              <a:avLst/>
              <a:gdLst>
                <a:gd name="connsiteX0" fmla="*/ 28851 w 57701"/>
                <a:gd name="connsiteY0" fmla="*/ 0 h 57701"/>
                <a:gd name="connsiteX1" fmla="*/ 0 w 57701"/>
                <a:gd name="connsiteY1" fmla="*/ 28851 h 57701"/>
                <a:gd name="connsiteX2" fmla="*/ 28851 w 57701"/>
                <a:gd name="connsiteY2" fmla="*/ 57702 h 57701"/>
                <a:gd name="connsiteX3" fmla="*/ 57701 w 57701"/>
                <a:gd name="connsiteY3" fmla="*/ 28851 h 57701"/>
                <a:gd name="connsiteX4" fmla="*/ 28851 w 57701"/>
                <a:gd name="connsiteY4" fmla="*/ 0 h 57701"/>
                <a:gd name="connsiteX5" fmla="*/ 28851 w 57701"/>
                <a:gd name="connsiteY5" fmla="*/ 0 h 57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701" h="57701">
                  <a:moveTo>
                    <a:pt x="28851" y="0"/>
                  </a:moveTo>
                  <a:cubicBezTo>
                    <a:pt x="13171" y="0"/>
                    <a:pt x="0" y="12544"/>
                    <a:pt x="0" y="28851"/>
                  </a:cubicBezTo>
                  <a:cubicBezTo>
                    <a:pt x="0" y="44530"/>
                    <a:pt x="13171" y="57702"/>
                    <a:pt x="28851" y="57702"/>
                  </a:cubicBezTo>
                  <a:cubicBezTo>
                    <a:pt x="44530" y="57702"/>
                    <a:pt x="57701" y="45158"/>
                    <a:pt x="57701" y="28851"/>
                  </a:cubicBezTo>
                  <a:cubicBezTo>
                    <a:pt x="57701" y="13171"/>
                    <a:pt x="44530" y="0"/>
                    <a:pt x="28851" y="0"/>
                  </a:cubicBezTo>
                  <a:lnTo>
                    <a:pt x="28851" y="0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375" name="Gráfico 2">
              <a:extLst>
                <a:ext uri="{FF2B5EF4-FFF2-40B4-BE49-F238E27FC236}">
                  <a16:creationId xmlns:a16="http://schemas.microsoft.com/office/drawing/2014/main" id="{F5ABA5BB-819F-4501-AD77-3F762FEA4CEA}"/>
                </a:ext>
              </a:extLst>
            </p:cNvPr>
            <p:cNvGrpSpPr/>
            <p:nvPr/>
          </p:nvGrpSpPr>
          <p:grpSpPr>
            <a:xfrm>
              <a:off x="10601905" y="5702661"/>
              <a:ext cx="154390" cy="98519"/>
              <a:chOff x="10601905" y="5702661"/>
              <a:chExt cx="154390" cy="98519"/>
            </a:xfrm>
            <a:grpFill/>
          </p:grpSpPr>
          <p:sp>
            <p:nvSpPr>
              <p:cNvPr id="376" name="Forma Livre: Forma 375">
                <a:extLst>
                  <a:ext uri="{FF2B5EF4-FFF2-40B4-BE49-F238E27FC236}">
                    <a16:creationId xmlns:a16="http://schemas.microsoft.com/office/drawing/2014/main" id="{5249D7F1-1271-4CE1-B9F4-297A2B85EB94}"/>
                  </a:ext>
                </a:extLst>
              </p:cNvPr>
              <p:cNvSpPr/>
              <p:nvPr/>
            </p:nvSpPr>
            <p:spPr>
              <a:xfrm>
                <a:off x="10674956" y="5702661"/>
                <a:ext cx="81339" cy="98519"/>
              </a:xfrm>
              <a:custGeom>
                <a:avLst/>
                <a:gdLst>
                  <a:gd name="connsiteX0" fmla="*/ 8535 w 81339"/>
                  <a:gd name="connsiteY0" fmla="*/ 98520 h 98519"/>
                  <a:gd name="connsiteX1" fmla="*/ 5399 w 81339"/>
                  <a:gd name="connsiteY1" fmla="*/ 97893 h 98519"/>
                  <a:gd name="connsiteX2" fmla="*/ 382 w 81339"/>
                  <a:gd name="connsiteY2" fmla="*/ 87231 h 98519"/>
                  <a:gd name="connsiteX3" fmla="*/ 68745 w 81339"/>
                  <a:gd name="connsiteY3" fmla="*/ 1305 h 98519"/>
                  <a:gd name="connsiteX4" fmla="*/ 80035 w 81339"/>
                  <a:gd name="connsiteY4" fmla="*/ 3814 h 98519"/>
                  <a:gd name="connsiteX5" fmla="*/ 77526 w 81339"/>
                  <a:gd name="connsiteY5" fmla="*/ 15104 h 98519"/>
                  <a:gd name="connsiteX6" fmla="*/ 16061 w 81339"/>
                  <a:gd name="connsiteY6" fmla="*/ 92875 h 98519"/>
                  <a:gd name="connsiteX7" fmla="*/ 8535 w 81339"/>
                  <a:gd name="connsiteY7" fmla="*/ 98520 h 98519"/>
                  <a:gd name="connsiteX8" fmla="*/ 8535 w 81339"/>
                  <a:gd name="connsiteY8" fmla="*/ 98520 h 985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1339" h="98519">
                    <a:moveTo>
                      <a:pt x="8535" y="98520"/>
                    </a:moveTo>
                    <a:cubicBezTo>
                      <a:pt x="7281" y="98520"/>
                      <a:pt x="6654" y="98520"/>
                      <a:pt x="5399" y="97893"/>
                    </a:cubicBezTo>
                    <a:cubicBezTo>
                      <a:pt x="1009" y="96011"/>
                      <a:pt x="-873" y="91621"/>
                      <a:pt x="382" y="87231"/>
                    </a:cubicBezTo>
                    <a:cubicBezTo>
                      <a:pt x="13553" y="50854"/>
                      <a:pt x="38013" y="20121"/>
                      <a:pt x="68745" y="1305"/>
                    </a:cubicBezTo>
                    <a:cubicBezTo>
                      <a:pt x="72509" y="-1204"/>
                      <a:pt x="77526" y="51"/>
                      <a:pt x="80035" y="3814"/>
                    </a:cubicBezTo>
                    <a:cubicBezTo>
                      <a:pt x="82544" y="7577"/>
                      <a:pt x="81289" y="12595"/>
                      <a:pt x="77526" y="15104"/>
                    </a:cubicBezTo>
                    <a:cubicBezTo>
                      <a:pt x="49929" y="32665"/>
                      <a:pt x="27977" y="59634"/>
                      <a:pt x="16061" y="92875"/>
                    </a:cubicBezTo>
                    <a:cubicBezTo>
                      <a:pt x="15434" y="96011"/>
                      <a:pt x="12298" y="98520"/>
                      <a:pt x="8535" y="98520"/>
                    </a:cubicBezTo>
                    <a:lnTo>
                      <a:pt x="8535" y="98520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77" name="Forma Livre: Forma 376">
                <a:extLst>
                  <a:ext uri="{FF2B5EF4-FFF2-40B4-BE49-F238E27FC236}">
                    <a16:creationId xmlns:a16="http://schemas.microsoft.com/office/drawing/2014/main" id="{76498794-CB57-43D2-8669-A229628AE5DB}"/>
                  </a:ext>
                </a:extLst>
              </p:cNvPr>
              <p:cNvSpPr/>
              <p:nvPr/>
            </p:nvSpPr>
            <p:spPr>
              <a:xfrm>
                <a:off x="10601905" y="5702661"/>
                <a:ext cx="81339" cy="98519"/>
              </a:xfrm>
              <a:custGeom>
                <a:avLst/>
                <a:gdLst>
                  <a:gd name="connsiteX0" fmla="*/ 72805 w 81339"/>
                  <a:gd name="connsiteY0" fmla="*/ 98520 h 98519"/>
                  <a:gd name="connsiteX1" fmla="*/ 65279 w 81339"/>
                  <a:gd name="connsiteY1" fmla="*/ 92875 h 98519"/>
                  <a:gd name="connsiteX2" fmla="*/ 3814 w 81339"/>
                  <a:gd name="connsiteY2" fmla="*/ 15104 h 98519"/>
                  <a:gd name="connsiteX3" fmla="*/ 1305 w 81339"/>
                  <a:gd name="connsiteY3" fmla="*/ 3814 h 98519"/>
                  <a:gd name="connsiteX4" fmla="*/ 12594 w 81339"/>
                  <a:gd name="connsiteY4" fmla="*/ 1305 h 98519"/>
                  <a:gd name="connsiteX5" fmla="*/ 80958 w 81339"/>
                  <a:gd name="connsiteY5" fmla="*/ 87231 h 98519"/>
                  <a:gd name="connsiteX6" fmla="*/ 75941 w 81339"/>
                  <a:gd name="connsiteY6" fmla="*/ 97893 h 98519"/>
                  <a:gd name="connsiteX7" fmla="*/ 72805 w 81339"/>
                  <a:gd name="connsiteY7" fmla="*/ 98520 h 98519"/>
                  <a:gd name="connsiteX8" fmla="*/ 72805 w 81339"/>
                  <a:gd name="connsiteY8" fmla="*/ 98520 h 985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1339" h="98519">
                    <a:moveTo>
                      <a:pt x="72805" y="98520"/>
                    </a:moveTo>
                    <a:cubicBezTo>
                      <a:pt x="69669" y="98520"/>
                      <a:pt x="65906" y="96638"/>
                      <a:pt x="65279" y="92875"/>
                    </a:cubicBezTo>
                    <a:cubicBezTo>
                      <a:pt x="53362" y="60261"/>
                      <a:pt x="31410" y="32665"/>
                      <a:pt x="3814" y="15104"/>
                    </a:cubicBezTo>
                    <a:cubicBezTo>
                      <a:pt x="51" y="12595"/>
                      <a:pt x="-1204" y="7577"/>
                      <a:pt x="1305" y="3814"/>
                    </a:cubicBezTo>
                    <a:cubicBezTo>
                      <a:pt x="3814" y="51"/>
                      <a:pt x="8831" y="-1204"/>
                      <a:pt x="12594" y="1305"/>
                    </a:cubicBezTo>
                    <a:cubicBezTo>
                      <a:pt x="43327" y="20748"/>
                      <a:pt x="67787" y="50854"/>
                      <a:pt x="80958" y="87231"/>
                    </a:cubicBezTo>
                    <a:cubicBezTo>
                      <a:pt x="82212" y="91621"/>
                      <a:pt x="80331" y="96011"/>
                      <a:pt x="75941" y="97893"/>
                    </a:cubicBezTo>
                    <a:cubicBezTo>
                      <a:pt x="74686" y="97893"/>
                      <a:pt x="73432" y="98520"/>
                      <a:pt x="72805" y="98520"/>
                    </a:cubicBezTo>
                    <a:lnTo>
                      <a:pt x="72805" y="98520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sp>
        <p:nvSpPr>
          <p:cNvPr id="378" name="Forma Livre: Forma 377">
            <a:extLst>
              <a:ext uri="{FF2B5EF4-FFF2-40B4-BE49-F238E27FC236}">
                <a16:creationId xmlns:a16="http://schemas.microsoft.com/office/drawing/2014/main" id="{766ED867-5FAD-4382-8CB8-C0023559E208}"/>
              </a:ext>
            </a:extLst>
          </p:cNvPr>
          <p:cNvSpPr/>
          <p:nvPr/>
        </p:nvSpPr>
        <p:spPr>
          <a:xfrm>
            <a:off x="8429367" y="5673861"/>
            <a:ext cx="418336" cy="418336"/>
          </a:xfrm>
          <a:custGeom>
            <a:avLst/>
            <a:gdLst>
              <a:gd name="connsiteX0" fmla="*/ 145509 w 418336"/>
              <a:gd name="connsiteY0" fmla="*/ 418336 h 418336"/>
              <a:gd name="connsiteX1" fmla="*/ 92825 w 418336"/>
              <a:gd name="connsiteY1" fmla="*/ 396385 h 418336"/>
              <a:gd name="connsiteX2" fmla="*/ 71500 w 418336"/>
              <a:gd name="connsiteY2" fmla="*/ 346836 h 418336"/>
              <a:gd name="connsiteX3" fmla="*/ 21952 w 418336"/>
              <a:gd name="connsiteY3" fmla="*/ 324885 h 418336"/>
              <a:gd name="connsiteX4" fmla="*/ 0 w 418336"/>
              <a:gd name="connsiteY4" fmla="*/ 272201 h 418336"/>
              <a:gd name="connsiteX5" fmla="*/ 21952 w 418336"/>
              <a:gd name="connsiteY5" fmla="*/ 219517 h 418336"/>
              <a:gd name="connsiteX6" fmla="*/ 74636 w 418336"/>
              <a:gd name="connsiteY6" fmla="*/ 197565 h 418336"/>
              <a:gd name="connsiteX7" fmla="*/ 110386 w 418336"/>
              <a:gd name="connsiteY7" fmla="*/ 206973 h 418336"/>
              <a:gd name="connsiteX8" fmla="*/ 206973 w 418336"/>
              <a:gd name="connsiteY8" fmla="*/ 110385 h 418336"/>
              <a:gd name="connsiteX9" fmla="*/ 219517 w 418336"/>
              <a:gd name="connsiteY9" fmla="*/ 21952 h 418336"/>
              <a:gd name="connsiteX10" fmla="*/ 272201 w 418336"/>
              <a:gd name="connsiteY10" fmla="*/ 0 h 418336"/>
              <a:gd name="connsiteX11" fmla="*/ 324885 w 418336"/>
              <a:gd name="connsiteY11" fmla="*/ 21952 h 418336"/>
              <a:gd name="connsiteX12" fmla="*/ 346837 w 418336"/>
              <a:gd name="connsiteY12" fmla="*/ 71500 h 418336"/>
              <a:gd name="connsiteX13" fmla="*/ 396385 w 418336"/>
              <a:gd name="connsiteY13" fmla="*/ 93451 h 418336"/>
              <a:gd name="connsiteX14" fmla="*/ 418337 w 418336"/>
              <a:gd name="connsiteY14" fmla="*/ 146135 h 418336"/>
              <a:gd name="connsiteX15" fmla="*/ 396385 w 418336"/>
              <a:gd name="connsiteY15" fmla="*/ 198820 h 418336"/>
              <a:gd name="connsiteX16" fmla="*/ 343701 w 418336"/>
              <a:gd name="connsiteY16" fmla="*/ 220771 h 418336"/>
              <a:gd name="connsiteX17" fmla="*/ 343701 w 418336"/>
              <a:gd name="connsiteY17" fmla="*/ 220771 h 418336"/>
              <a:gd name="connsiteX18" fmla="*/ 307951 w 418336"/>
              <a:gd name="connsiteY18" fmla="*/ 211363 h 418336"/>
              <a:gd name="connsiteX19" fmla="*/ 211364 w 418336"/>
              <a:gd name="connsiteY19" fmla="*/ 307951 h 418336"/>
              <a:gd name="connsiteX20" fmla="*/ 198820 w 418336"/>
              <a:gd name="connsiteY20" fmla="*/ 396385 h 418336"/>
              <a:gd name="connsiteX21" fmla="*/ 145509 w 418336"/>
              <a:gd name="connsiteY21" fmla="*/ 418336 h 418336"/>
              <a:gd name="connsiteX22" fmla="*/ 145509 w 418336"/>
              <a:gd name="connsiteY22" fmla="*/ 418336 h 418336"/>
              <a:gd name="connsiteX23" fmla="*/ 89689 w 418336"/>
              <a:gd name="connsiteY23" fmla="*/ 311714 h 418336"/>
              <a:gd name="connsiteX24" fmla="*/ 101605 w 418336"/>
              <a:gd name="connsiteY24" fmla="*/ 316731 h 418336"/>
              <a:gd name="connsiteX25" fmla="*/ 105995 w 418336"/>
              <a:gd name="connsiteY25" fmla="*/ 333038 h 418336"/>
              <a:gd name="connsiteX26" fmla="*/ 116658 w 418336"/>
              <a:gd name="connsiteY26" fmla="*/ 373179 h 418336"/>
              <a:gd name="connsiteX27" fmla="*/ 175613 w 418336"/>
              <a:gd name="connsiteY27" fmla="*/ 373179 h 418336"/>
              <a:gd name="connsiteX28" fmla="*/ 177495 w 418336"/>
              <a:gd name="connsiteY28" fmla="*/ 316731 h 418336"/>
              <a:gd name="connsiteX29" fmla="*/ 178122 w 418336"/>
              <a:gd name="connsiteY29" fmla="*/ 294152 h 418336"/>
              <a:gd name="connsiteX30" fmla="*/ 294153 w 418336"/>
              <a:gd name="connsiteY30" fmla="*/ 178122 h 418336"/>
              <a:gd name="connsiteX31" fmla="*/ 316731 w 418336"/>
              <a:gd name="connsiteY31" fmla="*/ 177495 h 418336"/>
              <a:gd name="connsiteX32" fmla="*/ 373179 w 418336"/>
              <a:gd name="connsiteY32" fmla="*/ 175613 h 418336"/>
              <a:gd name="connsiteX33" fmla="*/ 385095 w 418336"/>
              <a:gd name="connsiteY33" fmla="*/ 146135 h 418336"/>
              <a:gd name="connsiteX34" fmla="*/ 373179 w 418336"/>
              <a:gd name="connsiteY34" fmla="*/ 116657 h 418336"/>
              <a:gd name="connsiteX35" fmla="*/ 333039 w 418336"/>
              <a:gd name="connsiteY35" fmla="*/ 105995 h 418336"/>
              <a:gd name="connsiteX36" fmla="*/ 316731 w 418336"/>
              <a:gd name="connsiteY36" fmla="*/ 101605 h 418336"/>
              <a:gd name="connsiteX37" fmla="*/ 312341 w 418336"/>
              <a:gd name="connsiteY37" fmla="*/ 85298 h 418336"/>
              <a:gd name="connsiteX38" fmla="*/ 301679 w 418336"/>
              <a:gd name="connsiteY38" fmla="*/ 45158 h 418336"/>
              <a:gd name="connsiteX39" fmla="*/ 242723 w 418336"/>
              <a:gd name="connsiteY39" fmla="*/ 45158 h 418336"/>
              <a:gd name="connsiteX40" fmla="*/ 240841 w 418336"/>
              <a:gd name="connsiteY40" fmla="*/ 101605 h 418336"/>
              <a:gd name="connsiteX41" fmla="*/ 240214 w 418336"/>
              <a:gd name="connsiteY41" fmla="*/ 124184 h 418336"/>
              <a:gd name="connsiteX42" fmla="*/ 124184 w 418336"/>
              <a:gd name="connsiteY42" fmla="*/ 240214 h 418336"/>
              <a:gd name="connsiteX43" fmla="*/ 101605 w 418336"/>
              <a:gd name="connsiteY43" fmla="*/ 240841 h 418336"/>
              <a:gd name="connsiteX44" fmla="*/ 45158 w 418336"/>
              <a:gd name="connsiteY44" fmla="*/ 242723 h 418336"/>
              <a:gd name="connsiteX45" fmla="*/ 33241 w 418336"/>
              <a:gd name="connsiteY45" fmla="*/ 272201 h 418336"/>
              <a:gd name="connsiteX46" fmla="*/ 45158 w 418336"/>
              <a:gd name="connsiteY46" fmla="*/ 301679 h 418336"/>
              <a:gd name="connsiteX47" fmla="*/ 85299 w 418336"/>
              <a:gd name="connsiteY47" fmla="*/ 312341 h 418336"/>
              <a:gd name="connsiteX48" fmla="*/ 89689 w 418336"/>
              <a:gd name="connsiteY48" fmla="*/ 311714 h 418336"/>
              <a:gd name="connsiteX49" fmla="*/ 89689 w 418336"/>
              <a:gd name="connsiteY49" fmla="*/ 311714 h 4183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418336" h="418336">
                <a:moveTo>
                  <a:pt x="145509" y="418336"/>
                </a:moveTo>
                <a:cubicBezTo>
                  <a:pt x="125438" y="418336"/>
                  <a:pt x="106622" y="410810"/>
                  <a:pt x="92825" y="396385"/>
                </a:cubicBezTo>
                <a:cubicBezTo>
                  <a:pt x="79654" y="383213"/>
                  <a:pt x="72127" y="365025"/>
                  <a:pt x="71500" y="346836"/>
                </a:cubicBezTo>
                <a:cubicBezTo>
                  <a:pt x="52684" y="346209"/>
                  <a:pt x="35123" y="338683"/>
                  <a:pt x="21952" y="324885"/>
                </a:cubicBezTo>
                <a:cubicBezTo>
                  <a:pt x="7527" y="310459"/>
                  <a:pt x="0" y="291644"/>
                  <a:pt x="0" y="272201"/>
                </a:cubicBezTo>
                <a:cubicBezTo>
                  <a:pt x="0" y="252758"/>
                  <a:pt x="7527" y="233315"/>
                  <a:pt x="21952" y="219517"/>
                </a:cubicBezTo>
                <a:cubicBezTo>
                  <a:pt x="35750" y="205719"/>
                  <a:pt x="54566" y="197565"/>
                  <a:pt x="74636" y="197565"/>
                </a:cubicBezTo>
                <a:cubicBezTo>
                  <a:pt x="87180" y="197565"/>
                  <a:pt x="99723" y="200701"/>
                  <a:pt x="110386" y="206973"/>
                </a:cubicBezTo>
                <a:lnTo>
                  <a:pt x="206973" y="110385"/>
                </a:lnTo>
                <a:cubicBezTo>
                  <a:pt x="191293" y="82162"/>
                  <a:pt x="195684" y="45158"/>
                  <a:pt x="219517" y="21952"/>
                </a:cubicBezTo>
                <a:cubicBezTo>
                  <a:pt x="233942" y="7526"/>
                  <a:pt x="252758" y="0"/>
                  <a:pt x="272201" y="0"/>
                </a:cubicBezTo>
                <a:cubicBezTo>
                  <a:pt x="292272" y="0"/>
                  <a:pt x="311087" y="7526"/>
                  <a:pt x="324885" y="21952"/>
                </a:cubicBezTo>
                <a:cubicBezTo>
                  <a:pt x="338056" y="35123"/>
                  <a:pt x="345583" y="53311"/>
                  <a:pt x="346837" y="71500"/>
                </a:cubicBezTo>
                <a:cubicBezTo>
                  <a:pt x="365653" y="72127"/>
                  <a:pt x="383214" y="79653"/>
                  <a:pt x="396385" y="93451"/>
                </a:cubicBezTo>
                <a:cubicBezTo>
                  <a:pt x="410810" y="107877"/>
                  <a:pt x="418337" y="126693"/>
                  <a:pt x="418337" y="146135"/>
                </a:cubicBezTo>
                <a:cubicBezTo>
                  <a:pt x="418337" y="166206"/>
                  <a:pt x="410810" y="185021"/>
                  <a:pt x="396385" y="198820"/>
                </a:cubicBezTo>
                <a:cubicBezTo>
                  <a:pt x="382586" y="212617"/>
                  <a:pt x="363771" y="220771"/>
                  <a:pt x="343701" y="220771"/>
                </a:cubicBezTo>
                <a:lnTo>
                  <a:pt x="343701" y="220771"/>
                </a:lnTo>
                <a:cubicBezTo>
                  <a:pt x="331157" y="220771"/>
                  <a:pt x="318613" y="217635"/>
                  <a:pt x="307951" y="211363"/>
                </a:cubicBezTo>
                <a:lnTo>
                  <a:pt x="211364" y="307951"/>
                </a:lnTo>
                <a:cubicBezTo>
                  <a:pt x="227044" y="336174"/>
                  <a:pt x="222653" y="373179"/>
                  <a:pt x="198820" y="396385"/>
                </a:cubicBezTo>
                <a:cubicBezTo>
                  <a:pt x="184394" y="410810"/>
                  <a:pt x="165579" y="418336"/>
                  <a:pt x="145509" y="418336"/>
                </a:cubicBezTo>
                <a:lnTo>
                  <a:pt x="145509" y="418336"/>
                </a:lnTo>
                <a:close/>
                <a:moveTo>
                  <a:pt x="89689" y="311714"/>
                </a:moveTo>
                <a:cubicBezTo>
                  <a:pt x="94079" y="311714"/>
                  <a:pt x="98469" y="313595"/>
                  <a:pt x="101605" y="316731"/>
                </a:cubicBezTo>
                <a:cubicBezTo>
                  <a:pt x="105995" y="321122"/>
                  <a:pt x="107250" y="327394"/>
                  <a:pt x="105995" y="333038"/>
                </a:cubicBezTo>
                <a:cubicBezTo>
                  <a:pt x="102232" y="347463"/>
                  <a:pt x="105995" y="363143"/>
                  <a:pt x="116658" y="373179"/>
                </a:cubicBezTo>
                <a:cubicBezTo>
                  <a:pt x="132338" y="388858"/>
                  <a:pt x="159934" y="388858"/>
                  <a:pt x="175613" y="373179"/>
                </a:cubicBezTo>
                <a:cubicBezTo>
                  <a:pt x="191293" y="357499"/>
                  <a:pt x="191921" y="333666"/>
                  <a:pt x="177495" y="316731"/>
                </a:cubicBezTo>
                <a:cubicBezTo>
                  <a:pt x="171850" y="309832"/>
                  <a:pt x="172477" y="300424"/>
                  <a:pt x="178122" y="294152"/>
                </a:cubicBezTo>
                <a:lnTo>
                  <a:pt x="294153" y="178122"/>
                </a:lnTo>
                <a:cubicBezTo>
                  <a:pt x="300425" y="171850"/>
                  <a:pt x="310459" y="171850"/>
                  <a:pt x="316731" y="177495"/>
                </a:cubicBezTo>
                <a:cubicBezTo>
                  <a:pt x="332411" y="191293"/>
                  <a:pt x="358127" y="190039"/>
                  <a:pt x="373179" y="175613"/>
                </a:cubicBezTo>
                <a:cubicBezTo>
                  <a:pt x="380705" y="167460"/>
                  <a:pt x="385095" y="157425"/>
                  <a:pt x="385095" y="146135"/>
                </a:cubicBezTo>
                <a:cubicBezTo>
                  <a:pt x="385095" y="134846"/>
                  <a:pt x="380705" y="124811"/>
                  <a:pt x="373179" y="116657"/>
                </a:cubicBezTo>
                <a:cubicBezTo>
                  <a:pt x="362517" y="105995"/>
                  <a:pt x="347464" y="102232"/>
                  <a:pt x="333039" y="105995"/>
                </a:cubicBezTo>
                <a:cubicBezTo>
                  <a:pt x="327394" y="107249"/>
                  <a:pt x="321122" y="105995"/>
                  <a:pt x="316731" y="101605"/>
                </a:cubicBezTo>
                <a:cubicBezTo>
                  <a:pt x="312341" y="97215"/>
                  <a:pt x="311087" y="90943"/>
                  <a:pt x="312341" y="85298"/>
                </a:cubicBezTo>
                <a:cubicBezTo>
                  <a:pt x="316104" y="70872"/>
                  <a:pt x="312341" y="55193"/>
                  <a:pt x="301679" y="45158"/>
                </a:cubicBezTo>
                <a:cubicBezTo>
                  <a:pt x="286000" y="29478"/>
                  <a:pt x="258403" y="29478"/>
                  <a:pt x="242723" y="45158"/>
                </a:cubicBezTo>
                <a:cubicBezTo>
                  <a:pt x="227671" y="60210"/>
                  <a:pt x="226416" y="85298"/>
                  <a:pt x="240841" y="101605"/>
                </a:cubicBezTo>
                <a:cubicBezTo>
                  <a:pt x="246486" y="108504"/>
                  <a:pt x="245859" y="117912"/>
                  <a:pt x="240214" y="124184"/>
                </a:cubicBezTo>
                <a:lnTo>
                  <a:pt x="124184" y="240214"/>
                </a:lnTo>
                <a:cubicBezTo>
                  <a:pt x="117912" y="246486"/>
                  <a:pt x="107877" y="246486"/>
                  <a:pt x="101605" y="240841"/>
                </a:cubicBezTo>
                <a:cubicBezTo>
                  <a:pt x="85926" y="227043"/>
                  <a:pt x="60211" y="228297"/>
                  <a:pt x="45158" y="242723"/>
                </a:cubicBezTo>
                <a:cubicBezTo>
                  <a:pt x="37631" y="250876"/>
                  <a:pt x="33241" y="260911"/>
                  <a:pt x="33241" y="272201"/>
                </a:cubicBezTo>
                <a:cubicBezTo>
                  <a:pt x="33241" y="283490"/>
                  <a:pt x="37631" y="293525"/>
                  <a:pt x="45158" y="301679"/>
                </a:cubicBezTo>
                <a:cubicBezTo>
                  <a:pt x="55820" y="312341"/>
                  <a:pt x="71500" y="316104"/>
                  <a:pt x="85299" y="312341"/>
                </a:cubicBezTo>
                <a:cubicBezTo>
                  <a:pt x="86553" y="311714"/>
                  <a:pt x="88435" y="311714"/>
                  <a:pt x="89689" y="311714"/>
                </a:cubicBezTo>
                <a:lnTo>
                  <a:pt x="89689" y="311714"/>
                </a:lnTo>
                <a:close/>
              </a:path>
            </a:pathLst>
          </a:custGeom>
          <a:solidFill>
            <a:srgbClr val="B1B1A1"/>
          </a:solidFill>
          <a:ln w="6269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grpSp>
        <p:nvGrpSpPr>
          <p:cNvPr id="379" name="Gráfico 2">
            <a:extLst>
              <a:ext uri="{FF2B5EF4-FFF2-40B4-BE49-F238E27FC236}">
                <a16:creationId xmlns:a16="http://schemas.microsoft.com/office/drawing/2014/main" id="{F5ABA5BB-819F-4501-AD77-3F762FEA4CEA}"/>
              </a:ext>
            </a:extLst>
          </p:cNvPr>
          <p:cNvGrpSpPr/>
          <p:nvPr/>
        </p:nvGrpSpPr>
        <p:grpSpPr>
          <a:xfrm>
            <a:off x="7406301" y="5701457"/>
            <a:ext cx="421981" cy="363143"/>
            <a:chOff x="7406301" y="5701457"/>
            <a:chExt cx="421981" cy="363143"/>
          </a:xfrm>
          <a:solidFill>
            <a:srgbClr val="B1B1A1"/>
          </a:solidFill>
        </p:grpSpPr>
        <p:grpSp>
          <p:nvGrpSpPr>
            <p:cNvPr id="380" name="Gráfico 2">
              <a:extLst>
                <a:ext uri="{FF2B5EF4-FFF2-40B4-BE49-F238E27FC236}">
                  <a16:creationId xmlns:a16="http://schemas.microsoft.com/office/drawing/2014/main" id="{F5ABA5BB-819F-4501-AD77-3F762FEA4CEA}"/>
                </a:ext>
              </a:extLst>
            </p:cNvPr>
            <p:cNvGrpSpPr/>
            <p:nvPr/>
          </p:nvGrpSpPr>
          <p:grpSpPr>
            <a:xfrm>
              <a:off x="7406301" y="5701457"/>
              <a:ext cx="421981" cy="270946"/>
              <a:chOff x="7406301" y="5701457"/>
              <a:chExt cx="421981" cy="270946"/>
            </a:xfrm>
            <a:grpFill/>
          </p:grpSpPr>
          <p:sp>
            <p:nvSpPr>
              <p:cNvPr id="381" name="Forma Livre: Forma 380">
                <a:extLst>
                  <a:ext uri="{FF2B5EF4-FFF2-40B4-BE49-F238E27FC236}">
                    <a16:creationId xmlns:a16="http://schemas.microsoft.com/office/drawing/2014/main" id="{57D59B2B-8ACE-4E69-BB08-2F43C5592560}"/>
                  </a:ext>
                </a:extLst>
              </p:cNvPr>
              <p:cNvSpPr/>
              <p:nvPr/>
            </p:nvSpPr>
            <p:spPr>
              <a:xfrm>
                <a:off x="7607984" y="5701457"/>
                <a:ext cx="142764" cy="178122"/>
              </a:xfrm>
              <a:custGeom>
                <a:avLst/>
                <a:gdLst>
                  <a:gd name="connsiteX0" fmla="*/ 70636 w 142764"/>
                  <a:gd name="connsiteY0" fmla="*/ 178122 h 178122"/>
                  <a:gd name="connsiteX1" fmla="*/ 54956 w 142764"/>
                  <a:gd name="connsiteY1" fmla="*/ 175613 h 178122"/>
                  <a:gd name="connsiteX2" fmla="*/ 390 w 142764"/>
                  <a:gd name="connsiteY2" fmla="*/ 80281 h 178122"/>
                  <a:gd name="connsiteX3" fmla="*/ 80671 w 142764"/>
                  <a:gd name="connsiteY3" fmla="*/ 0 h 178122"/>
                  <a:gd name="connsiteX4" fmla="*/ 80671 w 142764"/>
                  <a:gd name="connsiteY4" fmla="*/ 0 h 178122"/>
                  <a:gd name="connsiteX5" fmla="*/ 125201 w 142764"/>
                  <a:gd name="connsiteY5" fmla="*/ 20698 h 178122"/>
                  <a:gd name="connsiteX6" fmla="*/ 140254 w 142764"/>
                  <a:gd name="connsiteY6" fmla="*/ 100351 h 178122"/>
                  <a:gd name="connsiteX7" fmla="*/ 70636 w 142764"/>
                  <a:gd name="connsiteY7" fmla="*/ 178122 h 178122"/>
                  <a:gd name="connsiteX8" fmla="*/ 70636 w 142764"/>
                  <a:gd name="connsiteY8" fmla="*/ 178122 h 178122"/>
                  <a:gd name="connsiteX9" fmla="*/ 81925 w 142764"/>
                  <a:gd name="connsiteY9" fmla="*/ 30733 h 178122"/>
                  <a:gd name="connsiteX10" fmla="*/ 31750 w 142764"/>
                  <a:gd name="connsiteY10" fmla="*/ 82789 h 178122"/>
                  <a:gd name="connsiteX11" fmla="*/ 64991 w 142764"/>
                  <a:gd name="connsiteY11" fmla="*/ 145508 h 178122"/>
                  <a:gd name="connsiteX12" fmla="*/ 70636 w 142764"/>
                  <a:gd name="connsiteY12" fmla="*/ 146136 h 178122"/>
                  <a:gd name="connsiteX13" fmla="*/ 109521 w 142764"/>
                  <a:gd name="connsiteY13" fmla="*/ 93452 h 178122"/>
                  <a:gd name="connsiteX14" fmla="*/ 100741 w 142764"/>
                  <a:gd name="connsiteY14" fmla="*/ 40140 h 178122"/>
                  <a:gd name="connsiteX15" fmla="*/ 81925 w 142764"/>
                  <a:gd name="connsiteY15" fmla="*/ 30733 h 178122"/>
                  <a:gd name="connsiteX16" fmla="*/ 81925 w 142764"/>
                  <a:gd name="connsiteY16" fmla="*/ 30733 h 178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42764" h="178122">
                    <a:moveTo>
                      <a:pt x="70636" y="178122"/>
                    </a:moveTo>
                    <a:cubicBezTo>
                      <a:pt x="65618" y="178122"/>
                      <a:pt x="59974" y="177495"/>
                      <a:pt x="54956" y="175613"/>
                    </a:cubicBezTo>
                    <a:cubicBezTo>
                      <a:pt x="20461" y="163697"/>
                      <a:pt x="-3373" y="122302"/>
                      <a:pt x="390" y="80281"/>
                    </a:cubicBezTo>
                    <a:cubicBezTo>
                      <a:pt x="4154" y="36377"/>
                      <a:pt x="40531" y="627"/>
                      <a:pt x="80671" y="0"/>
                    </a:cubicBezTo>
                    <a:cubicBezTo>
                      <a:pt x="80671" y="0"/>
                      <a:pt x="80671" y="0"/>
                      <a:pt x="80671" y="0"/>
                    </a:cubicBezTo>
                    <a:cubicBezTo>
                      <a:pt x="98859" y="0"/>
                      <a:pt x="113912" y="7526"/>
                      <a:pt x="125201" y="20698"/>
                    </a:cubicBezTo>
                    <a:cubicBezTo>
                      <a:pt x="140881" y="39513"/>
                      <a:pt x="146526" y="69618"/>
                      <a:pt x="140254" y="100351"/>
                    </a:cubicBezTo>
                    <a:cubicBezTo>
                      <a:pt x="130846" y="146136"/>
                      <a:pt x="102622" y="178122"/>
                      <a:pt x="70636" y="178122"/>
                    </a:cubicBezTo>
                    <a:lnTo>
                      <a:pt x="70636" y="178122"/>
                    </a:lnTo>
                    <a:close/>
                    <a:moveTo>
                      <a:pt x="81925" y="30733"/>
                    </a:moveTo>
                    <a:cubicBezTo>
                      <a:pt x="56838" y="31360"/>
                      <a:pt x="33631" y="54566"/>
                      <a:pt x="31750" y="82789"/>
                    </a:cubicBezTo>
                    <a:cubicBezTo>
                      <a:pt x="29241" y="109758"/>
                      <a:pt x="44921" y="138609"/>
                      <a:pt x="64991" y="145508"/>
                    </a:cubicBezTo>
                    <a:cubicBezTo>
                      <a:pt x="66873" y="146136"/>
                      <a:pt x="68754" y="146136"/>
                      <a:pt x="70636" y="146136"/>
                    </a:cubicBezTo>
                    <a:cubicBezTo>
                      <a:pt x="84434" y="146136"/>
                      <a:pt x="102622" y="127947"/>
                      <a:pt x="109521" y="93452"/>
                    </a:cubicBezTo>
                    <a:cubicBezTo>
                      <a:pt x="113912" y="72127"/>
                      <a:pt x="110776" y="51430"/>
                      <a:pt x="100741" y="40140"/>
                    </a:cubicBezTo>
                    <a:cubicBezTo>
                      <a:pt x="95723" y="33868"/>
                      <a:pt x="89452" y="30733"/>
                      <a:pt x="81925" y="30733"/>
                    </a:cubicBezTo>
                    <a:lnTo>
                      <a:pt x="81925" y="30733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82" name="Forma Livre: Forma 381">
                <a:extLst>
                  <a:ext uri="{FF2B5EF4-FFF2-40B4-BE49-F238E27FC236}">
                    <a16:creationId xmlns:a16="http://schemas.microsoft.com/office/drawing/2014/main" id="{B2C5E575-7442-4320-9326-B89382B8FE27}"/>
                  </a:ext>
                </a:extLst>
              </p:cNvPr>
              <p:cNvSpPr/>
              <p:nvPr/>
            </p:nvSpPr>
            <p:spPr>
              <a:xfrm>
                <a:off x="7687444" y="5818742"/>
                <a:ext cx="140839" cy="153661"/>
              </a:xfrm>
              <a:custGeom>
                <a:avLst/>
                <a:gdLst>
                  <a:gd name="connsiteX0" fmla="*/ 58913 w 140839"/>
                  <a:gd name="connsiteY0" fmla="*/ 153662 h 153661"/>
                  <a:gd name="connsiteX1" fmla="*/ 27553 w 140839"/>
                  <a:gd name="connsiteY1" fmla="*/ 144881 h 153661"/>
                  <a:gd name="connsiteX2" fmla="*/ 13755 w 140839"/>
                  <a:gd name="connsiteY2" fmla="*/ 50175 h 153661"/>
                  <a:gd name="connsiteX3" fmla="*/ 91527 w 140839"/>
                  <a:gd name="connsiteY3" fmla="*/ 0 h 153661"/>
                  <a:gd name="connsiteX4" fmla="*/ 113478 w 140839"/>
                  <a:gd name="connsiteY4" fmla="*/ 5017 h 153661"/>
                  <a:gd name="connsiteX5" fmla="*/ 137939 w 140839"/>
                  <a:gd name="connsiteY5" fmla="*/ 35750 h 153661"/>
                  <a:gd name="connsiteX6" fmla="*/ 123513 w 140839"/>
                  <a:gd name="connsiteY6" fmla="*/ 112894 h 153661"/>
                  <a:gd name="connsiteX7" fmla="*/ 58913 w 140839"/>
                  <a:gd name="connsiteY7" fmla="*/ 153662 h 153661"/>
                  <a:gd name="connsiteX8" fmla="*/ 58913 w 140839"/>
                  <a:gd name="connsiteY8" fmla="*/ 153662 h 153661"/>
                  <a:gd name="connsiteX9" fmla="*/ 91527 w 140839"/>
                  <a:gd name="connsiteY9" fmla="*/ 31360 h 153661"/>
                  <a:gd name="connsiteX10" fmla="*/ 40724 w 140839"/>
                  <a:gd name="connsiteY10" fmla="*/ 66482 h 153661"/>
                  <a:gd name="connsiteX11" fmla="*/ 45114 w 140839"/>
                  <a:gd name="connsiteY11" fmla="*/ 118539 h 153661"/>
                  <a:gd name="connsiteX12" fmla="*/ 97799 w 140839"/>
                  <a:gd name="connsiteY12" fmla="*/ 96588 h 153661"/>
                  <a:gd name="connsiteX13" fmla="*/ 108461 w 140839"/>
                  <a:gd name="connsiteY13" fmla="*/ 44531 h 153661"/>
                  <a:gd name="connsiteX14" fmla="*/ 100307 w 140839"/>
                  <a:gd name="connsiteY14" fmla="*/ 33241 h 153661"/>
                  <a:gd name="connsiteX15" fmla="*/ 91527 w 140839"/>
                  <a:gd name="connsiteY15" fmla="*/ 31360 h 153661"/>
                  <a:gd name="connsiteX16" fmla="*/ 91527 w 140839"/>
                  <a:gd name="connsiteY16" fmla="*/ 31360 h 153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40839" h="153661">
                    <a:moveTo>
                      <a:pt x="58913" y="153662"/>
                    </a:moveTo>
                    <a:cubicBezTo>
                      <a:pt x="47623" y="153662"/>
                      <a:pt x="36961" y="150526"/>
                      <a:pt x="27553" y="144881"/>
                    </a:cubicBezTo>
                    <a:cubicBezTo>
                      <a:pt x="-3179" y="125438"/>
                      <a:pt x="-8824" y="86552"/>
                      <a:pt x="13755" y="50175"/>
                    </a:cubicBezTo>
                    <a:cubicBezTo>
                      <a:pt x="31944" y="20697"/>
                      <a:pt x="63930" y="0"/>
                      <a:pt x="91527" y="0"/>
                    </a:cubicBezTo>
                    <a:cubicBezTo>
                      <a:pt x="99680" y="0"/>
                      <a:pt x="106579" y="1881"/>
                      <a:pt x="113478" y="5017"/>
                    </a:cubicBezTo>
                    <a:cubicBezTo>
                      <a:pt x="125395" y="10662"/>
                      <a:pt x="134176" y="21325"/>
                      <a:pt x="137939" y="35750"/>
                    </a:cubicBezTo>
                    <a:cubicBezTo>
                      <a:pt x="144838" y="58956"/>
                      <a:pt x="139193" y="88434"/>
                      <a:pt x="123513" y="112894"/>
                    </a:cubicBezTo>
                    <a:cubicBezTo>
                      <a:pt x="107833" y="138609"/>
                      <a:pt x="84001" y="153662"/>
                      <a:pt x="58913" y="153662"/>
                    </a:cubicBezTo>
                    <a:lnTo>
                      <a:pt x="58913" y="153662"/>
                    </a:lnTo>
                    <a:close/>
                    <a:moveTo>
                      <a:pt x="91527" y="31360"/>
                    </a:moveTo>
                    <a:cubicBezTo>
                      <a:pt x="75220" y="31360"/>
                      <a:pt x="52641" y="47039"/>
                      <a:pt x="40724" y="66482"/>
                    </a:cubicBezTo>
                    <a:cubicBezTo>
                      <a:pt x="27553" y="87807"/>
                      <a:pt x="28808" y="108504"/>
                      <a:pt x="45114" y="118539"/>
                    </a:cubicBezTo>
                    <a:cubicBezTo>
                      <a:pt x="60794" y="128574"/>
                      <a:pt x="83373" y="119166"/>
                      <a:pt x="97799" y="96588"/>
                    </a:cubicBezTo>
                    <a:cubicBezTo>
                      <a:pt x="108461" y="79653"/>
                      <a:pt x="112851" y="58956"/>
                      <a:pt x="108461" y="44531"/>
                    </a:cubicBezTo>
                    <a:cubicBezTo>
                      <a:pt x="106579" y="38886"/>
                      <a:pt x="104070" y="35123"/>
                      <a:pt x="100307" y="33241"/>
                    </a:cubicBezTo>
                    <a:cubicBezTo>
                      <a:pt x="97172" y="31987"/>
                      <a:pt x="94663" y="31360"/>
                      <a:pt x="91527" y="31360"/>
                    </a:cubicBezTo>
                    <a:lnTo>
                      <a:pt x="91527" y="31360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83" name="Forma Livre: Forma 382">
                <a:extLst>
                  <a:ext uri="{FF2B5EF4-FFF2-40B4-BE49-F238E27FC236}">
                    <a16:creationId xmlns:a16="http://schemas.microsoft.com/office/drawing/2014/main" id="{AD3C6919-DFFF-4406-A704-F7995AE0E540}"/>
                  </a:ext>
                </a:extLst>
              </p:cNvPr>
              <p:cNvSpPr/>
              <p:nvPr/>
            </p:nvSpPr>
            <p:spPr>
              <a:xfrm>
                <a:off x="7483561" y="5701457"/>
                <a:ext cx="142756" cy="178122"/>
              </a:xfrm>
              <a:custGeom>
                <a:avLst/>
                <a:gdLst>
                  <a:gd name="connsiteX0" fmla="*/ 72130 w 142756"/>
                  <a:gd name="connsiteY0" fmla="*/ 178122 h 178122"/>
                  <a:gd name="connsiteX1" fmla="*/ 72130 w 142756"/>
                  <a:gd name="connsiteY1" fmla="*/ 178122 h 178122"/>
                  <a:gd name="connsiteX2" fmla="*/ 2511 w 142756"/>
                  <a:gd name="connsiteY2" fmla="*/ 100351 h 178122"/>
                  <a:gd name="connsiteX3" fmla="*/ 17564 w 142756"/>
                  <a:gd name="connsiteY3" fmla="*/ 20698 h 178122"/>
                  <a:gd name="connsiteX4" fmla="*/ 60840 w 142756"/>
                  <a:gd name="connsiteY4" fmla="*/ 0 h 178122"/>
                  <a:gd name="connsiteX5" fmla="*/ 142375 w 142756"/>
                  <a:gd name="connsiteY5" fmla="*/ 80281 h 178122"/>
                  <a:gd name="connsiteX6" fmla="*/ 87809 w 142756"/>
                  <a:gd name="connsiteY6" fmla="*/ 175613 h 178122"/>
                  <a:gd name="connsiteX7" fmla="*/ 72130 w 142756"/>
                  <a:gd name="connsiteY7" fmla="*/ 178122 h 178122"/>
                  <a:gd name="connsiteX8" fmla="*/ 72130 w 142756"/>
                  <a:gd name="connsiteY8" fmla="*/ 178122 h 178122"/>
                  <a:gd name="connsiteX9" fmla="*/ 61467 w 142756"/>
                  <a:gd name="connsiteY9" fmla="*/ 30733 h 178122"/>
                  <a:gd name="connsiteX10" fmla="*/ 42024 w 142756"/>
                  <a:gd name="connsiteY10" fmla="*/ 40140 h 178122"/>
                  <a:gd name="connsiteX11" fmla="*/ 33244 w 142756"/>
                  <a:gd name="connsiteY11" fmla="*/ 93452 h 178122"/>
                  <a:gd name="connsiteX12" fmla="*/ 72130 w 142756"/>
                  <a:gd name="connsiteY12" fmla="*/ 146136 h 178122"/>
                  <a:gd name="connsiteX13" fmla="*/ 77774 w 142756"/>
                  <a:gd name="connsiteY13" fmla="*/ 145508 h 178122"/>
                  <a:gd name="connsiteX14" fmla="*/ 111015 w 142756"/>
                  <a:gd name="connsiteY14" fmla="*/ 82789 h 178122"/>
                  <a:gd name="connsiteX15" fmla="*/ 61467 w 142756"/>
                  <a:gd name="connsiteY15" fmla="*/ 30733 h 178122"/>
                  <a:gd name="connsiteX16" fmla="*/ 61467 w 142756"/>
                  <a:gd name="connsiteY16" fmla="*/ 30733 h 178122"/>
                  <a:gd name="connsiteX17" fmla="*/ 61467 w 142756"/>
                  <a:gd name="connsiteY17" fmla="*/ 30733 h 178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2756" h="178122">
                    <a:moveTo>
                      <a:pt x="72130" y="178122"/>
                    </a:moveTo>
                    <a:cubicBezTo>
                      <a:pt x="72130" y="178122"/>
                      <a:pt x="72130" y="178122"/>
                      <a:pt x="72130" y="178122"/>
                    </a:cubicBezTo>
                    <a:cubicBezTo>
                      <a:pt x="40143" y="178122"/>
                      <a:pt x="11919" y="146136"/>
                      <a:pt x="2511" y="100351"/>
                    </a:cubicBezTo>
                    <a:cubicBezTo>
                      <a:pt x="-3761" y="69618"/>
                      <a:pt x="1884" y="39513"/>
                      <a:pt x="17564" y="20698"/>
                    </a:cubicBezTo>
                    <a:cubicBezTo>
                      <a:pt x="28853" y="7526"/>
                      <a:pt x="43906" y="0"/>
                      <a:pt x="60840" y="0"/>
                    </a:cubicBezTo>
                    <a:cubicBezTo>
                      <a:pt x="102862" y="627"/>
                      <a:pt x="138612" y="37004"/>
                      <a:pt x="142375" y="80281"/>
                    </a:cubicBezTo>
                    <a:cubicBezTo>
                      <a:pt x="146138" y="122302"/>
                      <a:pt x="121677" y="163697"/>
                      <a:pt x="87809" y="175613"/>
                    </a:cubicBezTo>
                    <a:cubicBezTo>
                      <a:pt x="82791" y="176868"/>
                      <a:pt x="77774" y="178122"/>
                      <a:pt x="72130" y="178122"/>
                    </a:cubicBezTo>
                    <a:lnTo>
                      <a:pt x="72130" y="178122"/>
                    </a:lnTo>
                    <a:close/>
                    <a:moveTo>
                      <a:pt x="61467" y="30733"/>
                    </a:moveTo>
                    <a:cubicBezTo>
                      <a:pt x="53314" y="30733"/>
                      <a:pt x="47042" y="33868"/>
                      <a:pt x="42024" y="40140"/>
                    </a:cubicBezTo>
                    <a:cubicBezTo>
                      <a:pt x="32616" y="52057"/>
                      <a:pt x="28853" y="72127"/>
                      <a:pt x="33244" y="93452"/>
                    </a:cubicBezTo>
                    <a:cubicBezTo>
                      <a:pt x="40143" y="127947"/>
                      <a:pt x="58331" y="146136"/>
                      <a:pt x="72130" y="146136"/>
                    </a:cubicBezTo>
                    <a:cubicBezTo>
                      <a:pt x="74011" y="146136"/>
                      <a:pt x="75893" y="146136"/>
                      <a:pt x="77774" y="145508"/>
                    </a:cubicBezTo>
                    <a:cubicBezTo>
                      <a:pt x="98471" y="138609"/>
                      <a:pt x="113524" y="109758"/>
                      <a:pt x="111015" y="82789"/>
                    </a:cubicBezTo>
                    <a:cubicBezTo>
                      <a:pt x="109134" y="55193"/>
                      <a:pt x="85927" y="31360"/>
                      <a:pt x="61467" y="30733"/>
                    </a:cubicBezTo>
                    <a:lnTo>
                      <a:pt x="61467" y="30733"/>
                    </a:lnTo>
                    <a:lnTo>
                      <a:pt x="61467" y="30733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84" name="Forma Livre: Forma 383">
                <a:extLst>
                  <a:ext uri="{FF2B5EF4-FFF2-40B4-BE49-F238E27FC236}">
                    <a16:creationId xmlns:a16="http://schemas.microsoft.com/office/drawing/2014/main" id="{28ED6D33-F090-49EB-9778-79C5C6F56043}"/>
                  </a:ext>
                </a:extLst>
              </p:cNvPr>
              <p:cNvSpPr/>
              <p:nvPr/>
            </p:nvSpPr>
            <p:spPr>
              <a:xfrm>
                <a:off x="7406301" y="5818742"/>
                <a:ext cx="141192" cy="153661"/>
              </a:xfrm>
              <a:custGeom>
                <a:avLst/>
                <a:gdLst>
                  <a:gd name="connsiteX0" fmla="*/ 81653 w 141192"/>
                  <a:gd name="connsiteY0" fmla="*/ 153662 h 153661"/>
                  <a:gd name="connsiteX1" fmla="*/ 81653 w 141192"/>
                  <a:gd name="connsiteY1" fmla="*/ 153662 h 153661"/>
                  <a:gd name="connsiteX2" fmla="*/ 17052 w 141192"/>
                  <a:gd name="connsiteY2" fmla="*/ 112894 h 153661"/>
                  <a:gd name="connsiteX3" fmla="*/ 2627 w 141192"/>
                  <a:gd name="connsiteY3" fmla="*/ 35750 h 153661"/>
                  <a:gd name="connsiteX4" fmla="*/ 27715 w 141192"/>
                  <a:gd name="connsiteY4" fmla="*/ 5017 h 153661"/>
                  <a:gd name="connsiteX5" fmla="*/ 49666 w 141192"/>
                  <a:gd name="connsiteY5" fmla="*/ 0 h 153661"/>
                  <a:gd name="connsiteX6" fmla="*/ 127438 w 141192"/>
                  <a:gd name="connsiteY6" fmla="*/ 50175 h 153661"/>
                  <a:gd name="connsiteX7" fmla="*/ 113640 w 141192"/>
                  <a:gd name="connsiteY7" fmla="*/ 144881 h 153661"/>
                  <a:gd name="connsiteX8" fmla="*/ 81653 w 141192"/>
                  <a:gd name="connsiteY8" fmla="*/ 153662 h 153661"/>
                  <a:gd name="connsiteX9" fmla="*/ 81653 w 141192"/>
                  <a:gd name="connsiteY9" fmla="*/ 153662 h 153661"/>
                  <a:gd name="connsiteX10" fmla="*/ 49039 w 141192"/>
                  <a:gd name="connsiteY10" fmla="*/ 31360 h 153661"/>
                  <a:gd name="connsiteX11" fmla="*/ 40885 w 141192"/>
                  <a:gd name="connsiteY11" fmla="*/ 33241 h 153661"/>
                  <a:gd name="connsiteX12" fmla="*/ 32732 w 141192"/>
                  <a:gd name="connsiteY12" fmla="*/ 44531 h 153661"/>
                  <a:gd name="connsiteX13" fmla="*/ 43394 w 141192"/>
                  <a:gd name="connsiteY13" fmla="*/ 96588 h 153661"/>
                  <a:gd name="connsiteX14" fmla="*/ 96078 w 141192"/>
                  <a:gd name="connsiteY14" fmla="*/ 118539 h 153661"/>
                  <a:gd name="connsiteX15" fmla="*/ 99841 w 141192"/>
                  <a:gd name="connsiteY15" fmla="*/ 66482 h 153661"/>
                  <a:gd name="connsiteX16" fmla="*/ 49039 w 141192"/>
                  <a:gd name="connsiteY16" fmla="*/ 31360 h 153661"/>
                  <a:gd name="connsiteX17" fmla="*/ 49039 w 141192"/>
                  <a:gd name="connsiteY17" fmla="*/ 31360 h 153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1192" h="153661">
                    <a:moveTo>
                      <a:pt x="81653" y="153662"/>
                    </a:moveTo>
                    <a:lnTo>
                      <a:pt x="81653" y="153662"/>
                    </a:lnTo>
                    <a:cubicBezTo>
                      <a:pt x="56565" y="153662"/>
                      <a:pt x="32732" y="138609"/>
                      <a:pt x="17052" y="112894"/>
                    </a:cubicBezTo>
                    <a:cubicBezTo>
                      <a:pt x="1372" y="88434"/>
                      <a:pt x="-3645" y="58956"/>
                      <a:pt x="2627" y="35750"/>
                    </a:cubicBezTo>
                    <a:cubicBezTo>
                      <a:pt x="7017" y="21325"/>
                      <a:pt x="15171" y="10662"/>
                      <a:pt x="27715" y="5017"/>
                    </a:cubicBezTo>
                    <a:cubicBezTo>
                      <a:pt x="33986" y="1881"/>
                      <a:pt x="41513" y="0"/>
                      <a:pt x="49666" y="0"/>
                    </a:cubicBezTo>
                    <a:cubicBezTo>
                      <a:pt x="77263" y="0"/>
                      <a:pt x="109249" y="20697"/>
                      <a:pt x="127438" y="50175"/>
                    </a:cubicBezTo>
                    <a:cubicBezTo>
                      <a:pt x="150017" y="86552"/>
                      <a:pt x="144372" y="125438"/>
                      <a:pt x="113640" y="144881"/>
                    </a:cubicBezTo>
                    <a:cubicBezTo>
                      <a:pt x="102977" y="150526"/>
                      <a:pt x="92315" y="153662"/>
                      <a:pt x="81653" y="153662"/>
                    </a:cubicBezTo>
                    <a:lnTo>
                      <a:pt x="81653" y="153662"/>
                    </a:lnTo>
                    <a:close/>
                    <a:moveTo>
                      <a:pt x="49039" y="31360"/>
                    </a:moveTo>
                    <a:cubicBezTo>
                      <a:pt x="45903" y="31360"/>
                      <a:pt x="43394" y="31987"/>
                      <a:pt x="40885" y="33241"/>
                    </a:cubicBezTo>
                    <a:cubicBezTo>
                      <a:pt x="37122" y="35123"/>
                      <a:pt x="33986" y="38886"/>
                      <a:pt x="32732" y="44531"/>
                    </a:cubicBezTo>
                    <a:cubicBezTo>
                      <a:pt x="28342" y="58956"/>
                      <a:pt x="32732" y="79653"/>
                      <a:pt x="43394" y="96588"/>
                    </a:cubicBezTo>
                    <a:cubicBezTo>
                      <a:pt x="57193" y="119166"/>
                      <a:pt x="80399" y="128574"/>
                      <a:pt x="96078" y="118539"/>
                    </a:cubicBezTo>
                    <a:cubicBezTo>
                      <a:pt x="111758" y="108504"/>
                      <a:pt x="113640" y="88434"/>
                      <a:pt x="99841" y="66482"/>
                    </a:cubicBezTo>
                    <a:cubicBezTo>
                      <a:pt x="87925" y="46412"/>
                      <a:pt x="65346" y="31360"/>
                      <a:pt x="49039" y="31360"/>
                    </a:cubicBezTo>
                    <a:lnTo>
                      <a:pt x="49039" y="31360"/>
                    </a:lnTo>
                    <a:close/>
                  </a:path>
                </a:pathLst>
              </a:custGeom>
              <a:grpFill/>
              <a:ln w="62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385" name="Forma Livre: Forma 384">
              <a:extLst>
                <a:ext uri="{FF2B5EF4-FFF2-40B4-BE49-F238E27FC236}">
                  <a16:creationId xmlns:a16="http://schemas.microsoft.com/office/drawing/2014/main" id="{66EE382B-93B2-450F-A8EB-4E037485ED16}"/>
                </a:ext>
              </a:extLst>
            </p:cNvPr>
            <p:cNvSpPr/>
            <p:nvPr/>
          </p:nvSpPr>
          <p:spPr>
            <a:xfrm>
              <a:off x="7476852" y="5885728"/>
              <a:ext cx="280384" cy="178872"/>
            </a:xfrm>
            <a:custGeom>
              <a:avLst/>
              <a:gdLst>
                <a:gd name="connsiteX0" fmla="*/ 140303 w 280384"/>
                <a:gd name="connsiteY0" fmla="*/ 178873 h 178872"/>
                <a:gd name="connsiteX1" fmla="*/ 140303 w 280384"/>
                <a:gd name="connsiteY1" fmla="*/ 178873 h 178872"/>
                <a:gd name="connsiteX2" fmla="*/ 117724 w 280384"/>
                <a:gd name="connsiteY2" fmla="*/ 178245 h 178872"/>
                <a:gd name="connsiteX3" fmla="*/ 4202 w 280384"/>
                <a:gd name="connsiteY3" fmla="*/ 153785 h 178872"/>
                <a:gd name="connsiteX4" fmla="*/ 3575 w 280384"/>
                <a:gd name="connsiteY4" fmla="*/ 122425 h 178872"/>
                <a:gd name="connsiteX5" fmla="*/ 140303 w 280384"/>
                <a:gd name="connsiteY5" fmla="*/ 123 h 178872"/>
                <a:gd name="connsiteX6" fmla="*/ 277030 w 280384"/>
                <a:gd name="connsiteY6" fmla="*/ 123052 h 178872"/>
                <a:gd name="connsiteX7" fmla="*/ 275776 w 280384"/>
                <a:gd name="connsiteY7" fmla="*/ 153785 h 178872"/>
                <a:gd name="connsiteX8" fmla="*/ 162255 w 280384"/>
                <a:gd name="connsiteY8" fmla="*/ 178245 h 178872"/>
                <a:gd name="connsiteX9" fmla="*/ 140303 w 280384"/>
                <a:gd name="connsiteY9" fmla="*/ 178873 h 178872"/>
                <a:gd name="connsiteX10" fmla="*/ 140303 w 280384"/>
                <a:gd name="connsiteY10" fmla="*/ 178873 h 178872"/>
                <a:gd name="connsiteX11" fmla="*/ 140303 w 280384"/>
                <a:gd name="connsiteY11" fmla="*/ 178873 h 178872"/>
                <a:gd name="connsiteX12" fmla="*/ 31172 w 280384"/>
                <a:gd name="connsiteY12" fmla="*/ 137478 h 178872"/>
                <a:gd name="connsiteX13" fmla="*/ 118351 w 280384"/>
                <a:gd name="connsiteY13" fmla="*/ 146886 h 178872"/>
                <a:gd name="connsiteX14" fmla="*/ 139675 w 280384"/>
                <a:gd name="connsiteY14" fmla="*/ 147513 h 178872"/>
                <a:gd name="connsiteX15" fmla="*/ 161000 w 280384"/>
                <a:gd name="connsiteY15" fmla="*/ 146886 h 178872"/>
                <a:gd name="connsiteX16" fmla="*/ 248180 w 280384"/>
                <a:gd name="connsiteY16" fmla="*/ 137478 h 178872"/>
                <a:gd name="connsiteX17" fmla="*/ 247553 w 280384"/>
                <a:gd name="connsiteY17" fmla="*/ 134969 h 178872"/>
                <a:gd name="connsiteX18" fmla="*/ 140930 w 280384"/>
                <a:gd name="connsiteY18" fmla="*/ 31483 h 178872"/>
                <a:gd name="connsiteX19" fmla="*/ 138421 w 280384"/>
                <a:gd name="connsiteY19" fmla="*/ 31483 h 178872"/>
                <a:gd name="connsiteX20" fmla="*/ 31799 w 280384"/>
                <a:gd name="connsiteY20" fmla="*/ 134342 h 178872"/>
                <a:gd name="connsiteX21" fmla="*/ 31172 w 280384"/>
                <a:gd name="connsiteY21" fmla="*/ 137478 h 178872"/>
                <a:gd name="connsiteX22" fmla="*/ 31172 w 280384"/>
                <a:gd name="connsiteY22" fmla="*/ 137478 h 178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80384" h="178872">
                  <a:moveTo>
                    <a:pt x="140303" y="178873"/>
                  </a:moveTo>
                  <a:cubicBezTo>
                    <a:pt x="140303" y="178873"/>
                    <a:pt x="139675" y="178873"/>
                    <a:pt x="140303" y="178873"/>
                  </a:cubicBezTo>
                  <a:lnTo>
                    <a:pt x="117724" y="178245"/>
                  </a:lnTo>
                  <a:cubicBezTo>
                    <a:pt x="53123" y="175737"/>
                    <a:pt x="17373" y="175110"/>
                    <a:pt x="4202" y="153785"/>
                  </a:cubicBezTo>
                  <a:cubicBezTo>
                    <a:pt x="439" y="147513"/>
                    <a:pt x="-2697" y="137478"/>
                    <a:pt x="3575" y="122425"/>
                  </a:cubicBezTo>
                  <a:cubicBezTo>
                    <a:pt x="19882" y="79776"/>
                    <a:pt x="87619" y="-3640"/>
                    <a:pt x="140303" y="123"/>
                  </a:cubicBezTo>
                  <a:cubicBezTo>
                    <a:pt x="193614" y="-3013"/>
                    <a:pt x="260724" y="79776"/>
                    <a:pt x="277030" y="123052"/>
                  </a:cubicBezTo>
                  <a:cubicBezTo>
                    <a:pt x="283302" y="136851"/>
                    <a:pt x="279539" y="147513"/>
                    <a:pt x="275776" y="153785"/>
                  </a:cubicBezTo>
                  <a:cubicBezTo>
                    <a:pt x="262605" y="174482"/>
                    <a:pt x="226855" y="175737"/>
                    <a:pt x="162255" y="178245"/>
                  </a:cubicBezTo>
                  <a:lnTo>
                    <a:pt x="140303" y="178873"/>
                  </a:lnTo>
                  <a:cubicBezTo>
                    <a:pt x="140930" y="178873"/>
                    <a:pt x="140303" y="178873"/>
                    <a:pt x="140303" y="178873"/>
                  </a:cubicBezTo>
                  <a:lnTo>
                    <a:pt x="140303" y="178873"/>
                  </a:lnTo>
                  <a:close/>
                  <a:moveTo>
                    <a:pt x="31172" y="137478"/>
                  </a:moveTo>
                  <a:cubicBezTo>
                    <a:pt x="39952" y="143750"/>
                    <a:pt x="83228" y="145631"/>
                    <a:pt x="118351" y="146886"/>
                  </a:cubicBezTo>
                  <a:lnTo>
                    <a:pt x="139675" y="147513"/>
                  </a:lnTo>
                  <a:lnTo>
                    <a:pt x="161000" y="146886"/>
                  </a:lnTo>
                  <a:cubicBezTo>
                    <a:pt x="196123" y="145631"/>
                    <a:pt x="239399" y="144377"/>
                    <a:pt x="248180" y="137478"/>
                  </a:cubicBezTo>
                  <a:cubicBezTo>
                    <a:pt x="248180" y="136851"/>
                    <a:pt x="247553" y="136224"/>
                    <a:pt x="247553" y="134969"/>
                  </a:cubicBezTo>
                  <a:cubicBezTo>
                    <a:pt x="231873" y="94829"/>
                    <a:pt x="174798" y="28974"/>
                    <a:pt x="140930" y="31483"/>
                  </a:cubicBezTo>
                  <a:cubicBezTo>
                    <a:pt x="140303" y="31483"/>
                    <a:pt x="139048" y="31483"/>
                    <a:pt x="138421" y="31483"/>
                  </a:cubicBezTo>
                  <a:cubicBezTo>
                    <a:pt x="105807" y="29601"/>
                    <a:pt x="47479" y="94829"/>
                    <a:pt x="31799" y="134342"/>
                  </a:cubicBezTo>
                  <a:cubicBezTo>
                    <a:pt x="31799" y="135596"/>
                    <a:pt x="31799" y="136851"/>
                    <a:pt x="31172" y="137478"/>
                  </a:cubicBezTo>
                  <a:lnTo>
                    <a:pt x="31172" y="137478"/>
                  </a:lnTo>
                  <a:close/>
                </a:path>
              </a:pathLst>
            </a:custGeom>
            <a:grpFill/>
            <a:ln w="62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</p:spTree>
    <p:extLst>
      <p:ext uri="{BB962C8B-B14F-4D97-AF65-F5344CB8AC3E}">
        <p14:creationId xmlns:p14="http://schemas.microsoft.com/office/powerpoint/2010/main" val="1340707909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2339278" y="4671660"/>
            <a:ext cx="392156" cy="406622"/>
            <a:chOff x="2339278" y="4671660"/>
            <a:chExt cx="392156" cy="406622"/>
          </a:xfrm>
          <a:solidFill>
            <a:srgbClr val="B1B1A1"/>
          </a:solidFill>
        </p:grpSpPr>
        <p:sp>
          <p:nvSpPr>
            <p:cNvPr id="6" name="Forma Livre: Forma 5">
              <a:extLst>
                <a:ext uri="{FF2B5EF4-FFF2-40B4-BE49-F238E27FC236}">
                  <a16:creationId xmlns:a16="http://schemas.microsoft.com/office/drawing/2014/main" id="{63EBF3ED-C070-42B2-A686-EEE59CA15CF0}"/>
                </a:ext>
              </a:extLst>
            </p:cNvPr>
            <p:cNvSpPr/>
            <p:nvPr/>
          </p:nvSpPr>
          <p:spPr>
            <a:xfrm>
              <a:off x="2339278" y="4690573"/>
              <a:ext cx="385785" cy="387709"/>
            </a:xfrm>
            <a:custGeom>
              <a:avLst/>
              <a:gdLst>
                <a:gd name="connsiteX0" fmla="*/ 305789 w 385785"/>
                <a:gd name="connsiteY0" fmla="*/ 387710 h 387709"/>
                <a:gd name="connsiteX1" fmla="*/ 95228 w 385785"/>
                <a:gd name="connsiteY1" fmla="*/ 293777 h 387709"/>
                <a:gd name="connsiteX2" fmla="*/ 93967 w 385785"/>
                <a:gd name="connsiteY2" fmla="*/ 292516 h 387709"/>
                <a:gd name="connsiteX3" fmla="*/ 34 w 385785"/>
                <a:gd name="connsiteY3" fmla="*/ 76281 h 387709"/>
                <a:gd name="connsiteX4" fmla="*/ 34 w 385785"/>
                <a:gd name="connsiteY4" fmla="*/ 70607 h 387709"/>
                <a:gd name="connsiteX5" fmla="*/ 3186 w 385785"/>
                <a:gd name="connsiteY5" fmla="*/ 66194 h 387709"/>
                <a:gd name="connsiteX6" fmla="*/ 19577 w 385785"/>
                <a:gd name="connsiteY6" fmla="*/ 47912 h 387709"/>
                <a:gd name="connsiteX7" fmla="*/ 90184 w 385785"/>
                <a:gd name="connsiteY7" fmla="*/ 1891 h 387709"/>
                <a:gd name="connsiteX8" fmla="*/ 100901 w 385785"/>
                <a:gd name="connsiteY8" fmla="*/ 0 h 387709"/>
                <a:gd name="connsiteX9" fmla="*/ 134944 w 385785"/>
                <a:gd name="connsiteY9" fmla="*/ 18913 h 387709"/>
                <a:gd name="connsiteX10" fmla="*/ 163944 w 385785"/>
                <a:gd name="connsiteY10" fmla="*/ 108433 h 387709"/>
                <a:gd name="connsiteX11" fmla="*/ 151335 w 385785"/>
                <a:gd name="connsiteY11" fmla="*/ 146258 h 387709"/>
                <a:gd name="connsiteX12" fmla="*/ 121705 w 385785"/>
                <a:gd name="connsiteY12" fmla="*/ 165171 h 387709"/>
                <a:gd name="connsiteX13" fmla="*/ 125488 w 385785"/>
                <a:gd name="connsiteY13" fmla="*/ 175257 h 387709"/>
                <a:gd name="connsiteX14" fmla="*/ 164574 w 385785"/>
                <a:gd name="connsiteY14" fmla="*/ 221278 h 387709"/>
                <a:gd name="connsiteX15" fmla="*/ 210595 w 385785"/>
                <a:gd name="connsiteY15" fmla="*/ 260364 h 387709"/>
                <a:gd name="connsiteX16" fmla="*/ 220051 w 385785"/>
                <a:gd name="connsiteY16" fmla="*/ 264147 h 387709"/>
                <a:gd name="connsiteX17" fmla="*/ 221943 w 385785"/>
                <a:gd name="connsiteY17" fmla="*/ 264147 h 387709"/>
                <a:gd name="connsiteX18" fmla="*/ 239594 w 385785"/>
                <a:gd name="connsiteY18" fmla="*/ 235148 h 387709"/>
                <a:gd name="connsiteX19" fmla="*/ 270485 w 385785"/>
                <a:gd name="connsiteY19" fmla="*/ 221909 h 387709"/>
                <a:gd name="connsiteX20" fmla="*/ 276789 w 385785"/>
                <a:gd name="connsiteY20" fmla="*/ 222539 h 387709"/>
                <a:gd name="connsiteX21" fmla="*/ 368201 w 385785"/>
                <a:gd name="connsiteY21" fmla="*/ 252169 h 387709"/>
                <a:gd name="connsiteX22" fmla="*/ 383961 w 385785"/>
                <a:gd name="connsiteY22" fmla="*/ 296929 h 387709"/>
                <a:gd name="connsiteX23" fmla="*/ 337940 w 385785"/>
                <a:gd name="connsiteY23" fmla="*/ 367536 h 387709"/>
                <a:gd name="connsiteX24" fmla="*/ 319658 w 385785"/>
                <a:gd name="connsiteY24" fmla="*/ 383927 h 387709"/>
                <a:gd name="connsiteX25" fmla="*/ 315245 w 385785"/>
                <a:gd name="connsiteY25" fmla="*/ 387079 h 387709"/>
                <a:gd name="connsiteX26" fmla="*/ 305789 w 385785"/>
                <a:gd name="connsiteY26" fmla="*/ 387710 h 387709"/>
                <a:gd name="connsiteX27" fmla="*/ 305789 w 385785"/>
                <a:gd name="connsiteY27" fmla="*/ 387710 h 387709"/>
                <a:gd name="connsiteX28" fmla="*/ 34077 w 385785"/>
                <a:gd name="connsiteY28" fmla="*/ 82585 h 387709"/>
                <a:gd name="connsiteX29" fmla="*/ 117923 w 385785"/>
                <a:gd name="connsiteY29" fmla="*/ 268560 h 387709"/>
                <a:gd name="connsiteX30" fmla="*/ 119814 w 385785"/>
                <a:gd name="connsiteY30" fmla="*/ 270451 h 387709"/>
                <a:gd name="connsiteX31" fmla="*/ 305789 w 385785"/>
                <a:gd name="connsiteY31" fmla="*/ 353667 h 387709"/>
                <a:gd name="connsiteX32" fmla="*/ 317136 w 385785"/>
                <a:gd name="connsiteY32" fmla="*/ 343580 h 387709"/>
                <a:gd name="connsiteX33" fmla="*/ 355592 w 385785"/>
                <a:gd name="connsiteY33" fmla="*/ 284320 h 387709"/>
                <a:gd name="connsiteX34" fmla="*/ 354331 w 385785"/>
                <a:gd name="connsiteY34" fmla="*/ 280538 h 387709"/>
                <a:gd name="connsiteX35" fmla="*/ 272376 w 385785"/>
                <a:gd name="connsiteY35" fmla="*/ 254690 h 387709"/>
                <a:gd name="connsiteX36" fmla="*/ 268594 w 385785"/>
                <a:gd name="connsiteY36" fmla="*/ 255321 h 387709"/>
                <a:gd name="connsiteX37" fmla="*/ 251572 w 385785"/>
                <a:gd name="connsiteY37" fmla="*/ 281799 h 387709"/>
                <a:gd name="connsiteX38" fmla="*/ 193574 w 385785"/>
                <a:gd name="connsiteY38" fmla="*/ 286842 h 387709"/>
                <a:gd name="connsiteX39" fmla="*/ 143770 w 385785"/>
                <a:gd name="connsiteY39" fmla="*/ 244604 h 387709"/>
                <a:gd name="connsiteX40" fmla="*/ 100901 w 385785"/>
                <a:gd name="connsiteY40" fmla="*/ 194800 h 387709"/>
                <a:gd name="connsiteX41" fmla="*/ 91445 w 385785"/>
                <a:gd name="connsiteY41" fmla="*/ 158236 h 387709"/>
                <a:gd name="connsiteX42" fmla="*/ 105945 w 385785"/>
                <a:gd name="connsiteY42" fmla="*/ 136802 h 387709"/>
                <a:gd name="connsiteX43" fmla="*/ 132423 w 385785"/>
                <a:gd name="connsiteY43" fmla="*/ 119780 h 387709"/>
                <a:gd name="connsiteX44" fmla="*/ 133053 w 385785"/>
                <a:gd name="connsiteY44" fmla="*/ 115367 h 387709"/>
                <a:gd name="connsiteX45" fmla="*/ 106575 w 385785"/>
                <a:gd name="connsiteY45" fmla="*/ 34043 h 387709"/>
                <a:gd name="connsiteX46" fmla="*/ 102162 w 385785"/>
                <a:gd name="connsiteY46" fmla="*/ 32782 h 387709"/>
                <a:gd name="connsiteX47" fmla="*/ 44163 w 385785"/>
                <a:gd name="connsiteY47" fmla="*/ 71238 h 387709"/>
                <a:gd name="connsiteX48" fmla="*/ 34077 w 385785"/>
                <a:gd name="connsiteY48" fmla="*/ 82585 h 387709"/>
                <a:gd name="connsiteX49" fmla="*/ 34077 w 385785"/>
                <a:gd name="connsiteY49" fmla="*/ 82585 h 387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385785" h="387709">
                  <a:moveTo>
                    <a:pt x="305789" y="387710"/>
                  </a:moveTo>
                  <a:cubicBezTo>
                    <a:pt x="231399" y="387710"/>
                    <a:pt x="155118" y="353667"/>
                    <a:pt x="95228" y="293777"/>
                  </a:cubicBezTo>
                  <a:lnTo>
                    <a:pt x="93967" y="292516"/>
                  </a:lnTo>
                  <a:cubicBezTo>
                    <a:pt x="32816" y="231365"/>
                    <a:pt x="-1227" y="152562"/>
                    <a:pt x="34" y="76281"/>
                  </a:cubicBezTo>
                  <a:lnTo>
                    <a:pt x="34" y="70607"/>
                  </a:lnTo>
                  <a:lnTo>
                    <a:pt x="3186" y="66194"/>
                  </a:lnTo>
                  <a:cubicBezTo>
                    <a:pt x="8229" y="59259"/>
                    <a:pt x="13903" y="53586"/>
                    <a:pt x="19577" y="47912"/>
                  </a:cubicBezTo>
                  <a:cubicBezTo>
                    <a:pt x="39750" y="27738"/>
                    <a:pt x="63706" y="11978"/>
                    <a:pt x="90184" y="1891"/>
                  </a:cubicBezTo>
                  <a:cubicBezTo>
                    <a:pt x="93336" y="630"/>
                    <a:pt x="97119" y="0"/>
                    <a:pt x="100901" y="0"/>
                  </a:cubicBezTo>
                  <a:cubicBezTo>
                    <a:pt x="109727" y="0"/>
                    <a:pt x="129901" y="4413"/>
                    <a:pt x="134944" y="18913"/>
                  </a:cubicBezTo>
                  <a:cubicBezTo>
                    <a:pt x="143770" y="44130"/>
                    <a:pt x="155748" y="76912"/>
                    <a:pt x="163944" y="108433"/>
                  </a:cubicBezTo>
                  <a:cubicBezTo>
                    <a:pt x="166465" y="117889"/>
                    <a:pt x="163313" y="138693"/>
                    <a:pt x="151335" y="146258"/>
                  </a:cubicBezTo>
                  <a:lnTo>
                    <a:pt x="121705" y="165171"/>
                  </a:lnTo>
                  <a:cubicBezTo>
                    <a:pt x="121705" y="165171"/>
                    <a:pt x="121705" y="170214"/>
                    <a:pt x="125488" y="175257"/>
                  </a:cubicBezTo>
                  <a:cubicBezTo>
                    <a:pt x="136835" y="191018"/>
                    <a:pt x="150074" y="206148"/>
                    <a:pt x="164574" y="221278"/>
                  </a:cubicBezTo>
                  <a:cubicBezTo>
                    <a:pt x="179074" y="235778"/>
                    <a:pt x="194834" y="249017"/>
                    <a:pt x="210595" y="260364"/>
                  </a:cubicBezTo>
                  <a:cubicBezTo>
                    <a:pt x="213747" y="262886"/>
                    <a:pt x="216899" y="264147"/>
                    <a:pt x="220051" y="264147"/>
                  </a:cubicBezTo>
                  <a:cubicBezTo>
                    <a:pt x="220682" y="264147"/>
                    <a:pt x="221312" y="264147"/>
                    <a:pt x="221943" y="264147"/>
                  </a:cubicBezTo>
                  <a:lnTo>
                    <a:pt x="239594" y="235148"/>
                  </a:lnTo>
                  <a:cubicBezTo>
                    <a:pt x="247790" y="222539"/>
                    <a:pt x="267963" y="221909"/>
                    <a:pt x="270485" y="221909"/>
                  </a:cubicBezTo>
                  <a:cubicBezTo>
                    <a:pt x="273007" y="221909"/>
                    <a:pt x="274898" y="221909"/>
                    <a:pt x="276789" y="222539"/>
                  </a:cubicBezTo>
                  <a:cubicBezTo>
                    <a:pt x="315875" y="231365"/>
                    <a:pt x="338571" y="238930"/>
                    <a:pt x="368201" y="252169"/>
                  </a:cubicBezTo>
                  <a:cubicBezTo>
                    <a:pt x="381439" y="257843"/>
                    <a:pt x="389635" y="281799"/>
                    <a:pt x="383961" y="296929"/>
                  </a:cubicBezTo>
                  <a:cubicBezTo>
                    <a:pt x="373874" y="323407"/>
                    <a:pt x="358114" y="347363"/>
                    <a:pt x="337940" y="367536"/>
                  </a:cubicBezTo>
                  <a:cubicBezTo>
                    <a:pt x="332266" y="373210"/>
                    <a:pt x="325962" y="378884"/>
                    <a:pt x="319658" y="383927"/>
                  </a:cubicBezTo>
                  <a:lnTo>
                    <a:pt x="315245" y="387079"/>
                  </a:lnTo>
                  <a:lnTo>
                    <a:pt x="305789" y="387710"/>
                  </a:lnTo>
                  <a:lnTo>
                    <a:pt x="305789" y="387710"/>
                  </a:lnTo>
                  <a:close/>
                  <a:moveTo>
                    <a:pt x="34077" y="82585"/>
                  </a:moveTo>
                  <a:cubicBezTo>
                    <a:pt x="34077" y="146888"/>
                    <a:pt x="65598" y="216235"/>
                    <a:pt x="117923" y="268560"/>
                  </a:cubicBezTo>
                  <a:lnTo>
                    <a:pt x="119814" y="270451"/>
                  </a:lnTo>
                  <a:cubicBezTo>
                    <a:pt x="172770" y="323407"/>
                    <a:pt x="240225" y="353667"/>
                    <a:pt x="305789" y="353667"/>
                  </a:cubicBezTo>
                  <a:cubicBezTo>
                    <a:pt x="309571" y="350515"/>
                    <a:pt x="313354" y="346732"/>
                    <a:pt x="317136" y="343580"/>
                  </a:cubicBezTo>
                  <a:cubicBezTo>
                    <a:pt x="334158" y="326559"/>
                    <a:pt x="346766" y="307016"/>
                    <a:pt x="355592" y="284320"/>
                  </a:cubicBezTo>
                  <a:cubicBezTo>
                    <a:pt x="355592" y="284320"/>
                    <a:pt x="354962" y="282429"/>
                    <a:pt x="354331" y="280538"/>
                  </a:cubicBezTo>
                  <a:cubicBezTo>
                    <a:pt x="328484" y="269191"/>
                    <a:pt x="307050" y="262256"/>
                    <a:pt x="272376" y="254690"/>
                  </a:cubicBezTo>
                  <a:cubicBezTo>
                    <a:pt x="271746" y="254690"/>
                    <a:pt x="269855" y="255321"/>
                    <a:pt x="268594" y="255321"/>
                  </a:cubicBezTo>
                  <a:lnTo>
                    <a:pt x="251572" y="281799"/>
                  </a:lnTo>
                  <a:cubicBezTo>
                    <a:pt x="240855" y="298820"/>
                    <a:pt x="213747" y="301342"/>
                    <a:pt x="193574" y="286842"/>
                  </a:cubicBezTo>
                  <a:cubicBezTo>
                    <a:pt x="176552" y="274864"/>
                    <a:pt x="160161" y="260364"/>
                    <a:pt x="143770" y="244604"/>
                  </a:cubicBezTo>
                  <a:cubicBezTo>
                    <a:pt x="128010" y="228213"/>
                    <a:pt x="113510" y="211192"/>
                    <a:pt x="100901" y="194800"/>
                  </a:cubicBezTo>
                  <a:cubicBezTo>
                    <a:pt x="92706" y="183453"/>
                    <a:pt x="89554" y="170214"/>
                    <a:pt x="91445" y="158236"/>
                  </a:cubicBezTo>
                  <a:cubicBezTo>
                    <a:pt x="93336" y="148780"/>
                    <a:pt x="98380" y="141214"/>
                    <a:pt x="105945" y="136802"/>
                  </a:cubicBezTo>
                  <a:lnTo>
                    <a:pt x="132423" y="119780"/>
                  </a:lnTo>
                  <a:cubicBezTo>
                    <a:pt x="133053" y="118519"/>
                    <a:pt x="133053" y="115998"/>
                    <a:pt x="133053" y="115367"/>
                  </a:cubicBezTo>
                  <a:cubicBezTo>
                    <a:pt x="125488" y="88259"/>
                    <a:pt x="115401" y="57999"/>
                    <a:pt x="106575" y="34043"/>
                  </a:cubicBezTo>
                  <a:cubicBezTo>
                    <a:pt x="105314" y="33412"/>
                    <a:pt x="103423" y="32782"/>
                    <a:pt x="102162" y="32782"/>
                  </a:cubicBezTo>
                  <a:cubicBezTo>
                    <a:pt x="80728" y="40977"/>
                    <a:pt x="61185" y="54216"/>
                    <a:pt x="44163" y="71238"/>
                  </a:cubicBezTo>
                  <a:cubicBezTo>
                    <a:pt x="40381" y="75020"/>
                    <a:pt x="37229" y="78803"/>
                    <a:pt x="34077" y="82585"/>
                  </a:cubicBezTo>
                  <a:lnTo>
                    <a:pt x="34077" y="82585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7" name="Forma Livre: Forma 6">
              <a:extLst>
                <a:ext uri="{FF2B5EF4-FFF2-40B4-BE49-F238E27FC236}">
                  <a16:creationId xmlns:a16="http://schemas.microsoft.com/office/drawing/2014/main" id="{A2E71EC3-4A9F-4931-8CAC-9CBF9C0E3361}"/>
                </a:ext>
              </a:extLst>
            </p:cNvPr>
            <p:cNvSpPr/>
            <p:nvPr/>
          </p:nvSpPr>
          <p:spPr>
            <a:xfrm>
              <a:off x="2524656" y="4671660"/>
              <a:ext cx="206778" cy="206778"/>
            </a:xfrm>
            <a:custGeom>
              <a:avLst/>
              <a:gdLst>
                <a:gd name="connsiteX0" fmla="*/ 103389 w 206778"/>
                <a:gd name="connsiteY0" fmla="*/ 206779 h 206778"/>
                <a:gd name="connsiteX1" fmla="*/ 0 w 206778"/>
                <a:gd name="connsiteY1" fmla="*/ 103389 h 206778"/>
                <a:gd name="connsiteX2" fmla="*/ 103389 w 206778"/>
                <a:gd name="connsiteY2" fmla="*/ 0 h 206778"/>
                <a:gd name="connsiteX3" fmla="*/ 206779 w 206778"/>
                <a:gd name="connsiteY3" fmla="*/ 103389 h 206778"/>
                <a:gd name="connsiteX4" fmla="*/ 103389 w 206778"/>
                <a:gd name="connsiteY4" fmla="*/ 206779 h 206778"/>
                <a:gd name="connsiteX5" fmla="*/ 103389 w 206778"/>
                <a:gd name="connsiteY5" fmla="*/ 206779 h 206778"/>
                <a:gd name="connsiteX6" fmla="*/ 103389 w 206778"/>
                <a:gd name="connsiteY6" fmla="*/ 16391 h 206778"/>
                <a:gd name="connsiteX7" fmla="*/ 16391 w 206778"/>
                <a:gd name="connsiteY7" fmla="*/ 103389 h 206778"/>
                <a:gd name="connsiteX8" fmla="*/ 103389 w 206778"/>
                <a:gd name="connsiteY8" fmla="*/ 190388 h 206778"/>
                <a:gd name="connsiteX9" fmla="*/ 190388 w 206778"/>
                <a:gd name="connsiteY9" fmla="*/ 103389 h 206778"/>
                <a:gd name="connsiteX10" fmla="*/ 103389 w 206778"/>
                <a:gd name="connsiteY10" fmla="*/ 16391 h 206778"/>
                <a:gd name="connsiteX11" fmla="*/ 103389 w 206778"/>
                <a:gd name="connsiteY11" fmla="*/ 16391 h 206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778" h="206778">
                  <a:moveTo>
                    <a:pt x="103389" y="206779"/>
                  </a:moveTo>
                  <a:cubicBezTo>
                    <a:pt x="46651" y="206779"/>
                    <a:pt x="0" y="160127"/>
                    <a:pt x="0" y="103389"/>
                  </a:cubicBezTo>
                  <a:cubicBezTo>
                    <a:pt x="0" y="46021"/>
                    <a:pt x="46651" y="0"/>
                    <a:pt x="103389" y="0"/>
                  </a:cubicBezTo>
                  <a:cubicBezTo>
                    <a:pt x="160758" y="0"/>
                    <a:pt x="206779" y="46651"/>
                    <a:pt x="206779" y="103389"/>
                  </a:cubicBezTo>
                  <a:cubicBezTo>
                    <a:pt x="206779" y="160127"/>
                    <a:pt x="160127" y="206779"/>
                    <a:pt x="103389" y="206779"/>
                  </a:cubicBezTo>
                  <a:lnTo>
                    <a:pt x="103389" y="206779"/>
                  </a:lnTo>
                  <a:close/>
                  <a:moveTo>
                    <a:pt x="103389" y="16391"/>
                  </a:moveTo>
                  <a:cubicBezTo>
                    <a:pt x="55477" y="16391"/>
                    <a:pt x="16391" y="55477"/>
                    <a:pt x="16391" y="103389"/>
                  </a:cubicBezTo>
                  <a:cubicBezTo>
                    <a:pt x="16391" y="151301"/>
                    <a:pt x="55477" y="190388"/>
                    <a:pt x="103389" y="190388"/>
                  </a:cubicBezTo>
                  <a:cubicBezTo>
                    <a:pt x="151301" y="190388"/>
                    <a:pt x="190388" y="151301"/>
                    <a:pt x="190388" y="103389"/>
                  </a:cubicBezTo>
                  <a:cubicBezTo>
                    <a:pt x="189757" y="55477"/>
                    <a:pt x="151301" y="16391"/>
                    <a:pt x="103389" y="16391"/>
                  </a:cubicBezTo>
                  <a:lnTo>
                    <a:pt x="103389" y="1639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8" name="Forma Livre: Forma 7">
              <a:extLst>
                <a:ext uri="{FF2B5EF4-FFF2-40B4-BE49-F238E27FC236}">
                  <a16:creationId xmlns:a16="http://schemas.microsoft.com/office/drawing/2014/main" id="{BD20611F-6D2A-4575-8791-745019328384}"/>
                </a:ext>
              </a:extLst>
            </p:cNvPr>
            <p:cNvSpPr/>
            <p:nvPr/>
          </p:nvSpPr>
          <p:spPr>
            <a:xfrm>
              <a:off x="2611654" y="4712638"/>
              <a:ext cx="32781" cy="124823"/>
            </a:xfrm>
            <a:custGeom>
              <a:avLst/>
              <a:gdLst>
                <a:gd name="connsiteX0" fmla="*/ 16391 w 32781"/>
                <a:gd name="connsiteY0" fmla="*/ 124824 h 124823"/>
                <a:gd name="connsiteX1" fmla="*/ 0 w 32781"/>
                <a:gd name="connsiteY1" fmla="*/ 108433 h 124823"/>
                <a:gd name="connsiteX2" fmla="*/ 0 w 32781"/>
                <a:gd name="connsiteY2" fmla="*/ 16391 h 124823"/>
                <a:gd name="connsiteX3" fmla="*/ 16391 w 32781"/>
                <a:gd name="connsiteY3" fmla="*/ 0 h 124823"/>
                <a:gd name="connsiteX4" fmla="*/ 32782 w 32781"/>
                <a:gd name="connsiteY4" fmla="*/ 16391 h 124823"/>
                <a:gd name="connsiteX5" fmla="*/ 32782 w 32781"/>
                <a:gd name="connsiteY5" fmla="*/ 108433 h 124823"/>
                <a:gd name="connsiteX6" fmla="*/ 16391 w 32781"/>
                <a:gd name="connsiteY6" fmla="*/ 124824 h 124823"/>
                <a:gd name="connsiteX7" fmla="*/ 16391 w 32781"/>
                <a:gd name="connsiteY7" fmla="*/ 124824 h 124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781" h="124823">
                  <a:moveTo>
                    <a:pt x="16391" y="124824"/>
                  </a:moveTo>
                  <a:cubicBezTo>
                    <a:pt x="6935" y="124824"/>
                    <a:pt x="0" y="117258"/>
                    <a:pt x="0" y="108433"/>
                  </a:cubicBezTo>
                  <a:lnTo>
                    <a:pt x="0" y="16391"/>
                  </a:lnTo>
                  <a:cubicBezTo>
                    <a:pt x="0" y="6934"/>
                    <a:pt x="7565" y="0"/>
                    <a:pt x="16391" y="0"/>
                  </a:cubicBezTo>
                  <a:cubicBezTo>
                    <a:pt x="25847" y="0"/>
                    <a:pt x="32782" y="7565"/>
                    <a:pt x="32782" y="16391"/>
                  </a:cubicBezTo>
                  <a:lnTo>
                    <a:pt x="32782" y="108433"/>
                  </a:lnTo>
                  <a:cubicBezTo>
                    <a:pt x="32782" y="117258"/>
                    <a:pt x="25217" y="124824"/>
                    <a:pt x="16391" y="124824"/>
                  </a:cubicBezTo>
                  <a:lnTo>
                    <a:pt x="16391" y="124824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9" name="Forma Livre: Forma 8">
              <a:extLst>
                <a:ext uri="{FF2B5EF4-FFF2-40B4-BE49-F238E27FC236}">
                  <a16:creationId xmlns:a16="http://schemas.microsoft.com/office/drawing/2014/main" id="{AF9BD528-566C-4137-9673-1B3F1446874B}"/>
                </a:ext>
              </a:extLst>
            </p:cNvPr>
            <p:cNvSpPr/>
            <p:nvPr/>
          </p:nvSpPr>
          <p:spPr>
            <a:xfrm>
              <a:off x="2565633" y="4758658"/>
              <a:ext cx="124823" cy="32782"/>
            </a:xfrm>
            <a:custGeom>
              <a:avLst/>
              <a:gdLst>
                <a:gd name="connsiteX0" fmla="*/ 108433 w 124823"/>
                <a:gd name="connsiteY0" fmla="*/ 32782 h 32782"/>
                <a:gd name="connsiteX1" fmla="*/ 16391 w 124823"/>
                <a:gd name="connsiteY1" fmla="*/ 32782 h 32782"/>
                <a:gd name="connsiteX2" fmla="*/ 0 w 124823"/>
                <a:gd name="connsiteY2" fmla="*/ 16391 h 32782"/>
                <a:gd name="connsiteX3" fmla="*/ 16391 w 124823"/>
                <a:gd name="connsiteY3" fmla="*/ 0 h 32782"/>
                <a:gd name="connsiteX4" fmla="*/ 108433 w 124823"/>
                <a:gd name="connsiteY4" fmla="*/ 0 h 32782"/>
                <a:gd name="connsiteX5" fmla="*/ 124824 w 124823"/>
                <a:gd name="connsiteY5" fmla="*/ 16391 h 32782"/>
                <a:gd name="connsiteX6" fmla="*/ 108433 w 124823"/>
                <a:gd name="connsiteY6" fmla="*/ 32782 h 32782"/>
                <a:gd name="connsiteX7" fmla="*/ 108433 w 124823"/>
                <a:gd name="connsiteY7" fmla="*/ 32782 h 32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4823" h="32782">
                  <a:moveTo>
                    <a:pt x="108433" y="32782"/>
                  </a:moveTo>
                  <a:lnTo>
                    <a:pt x="16391" y="32782"/>
                  </a:lnTo>
                  <a:cubicBezTo>
                    <a:pt x="6935" y="32782"/>
                    <a:pt x="0" y="25217"/>
                    <a:pt x="0" y="16391"/>
                  </a:cubicBezTo>
                  <a:cubicBezTo>
                    <a:pt x="0" y="6934"/>
                    <a:pt x="7565" y="0"/>
                    <a:pt x="16391" y="0"/>
                  </a:cubicBezTo>
                  <a:lnTo>
                    <a:pt x="108433" y="0"/>
                  </a:lnTo>
                  <a:cubicBezTo>
                    <a:pt x="117889" y="0"/>
                    <a:pt x="124824" y="7565"/>
                    <a:pt x="124824" y="16391"/>
                  </a:cubicBezTo>
                  <a:cubicBezTo>
                    <a:pt x="124824" y="25217"/>
                    <a:pt x="117259" y="32782"/>
                    <a:pt x="108433" y="32782"/>
                  </a:cubicBezTo>
                  <a:lnTo>
                    <a:pt x="108433" y="32782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0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4373021" y="4671660"/>
            <a:ext cx="391532" cy="406622"/>
            <a:chOff x="4373021" y="4671660"/>
            <a:chExt cx="391532" cy="406622"/>
          </a:xfrm>
          <a:solidFill>
            <a:srgbClr val="B1B1A1"/>
          </a:solidFill>
        </p:grpSpPr>
        <p:sp>
          <p:nvSpPr>
            <p:cNvPr id="11" name="Forma Livre: Forma 10">
              <a:extLst>
                <a:ext uri="{FF2B5EF4-FFF2-40B4-BE49-F238E27FC236}">
                  <a16:creationId xmlns:a16="http://schemas.microsoft.com/office/drawing/2014/main" id="{E12027E0-F2C8-4F58-AD40-95DD5306C739}"/>
                </a:ext>
              </a:extLst>
            </p:cNvPr>
            <p:cNvSpPr/>
            <p:nvPr/>
          </p:nvSpPr>
          <p:spPr>
            <a:xfrm>
              <a:off x="4373021" y="4690573"/>
              <a:ext cx="385785" cy="387709"/>
            </a:xfrm>
            <a:custGeom>
              <a:avLst/>
              <a:gdLst>
                <a:gd name="connsiteX0" fmla="*/ 305789 w 385785"/>
                <a:gd name="connsiteY0" fmla="*/ 387710 h 387709"/>
                <a:gd name="connsiteX1" fmla="*/ 95227 w 385785"/>
                <a:gd name="connsiteY1" fmla="*/ 293777 h 387709"/>
                <a:gd name="connsiteX2" fmla="*/ 93967 w 385785"/>
                <a:gd name="connsiteY2" fmla="*/ 292516 h 387709"/>
                <a:gd name="connsiteX3" fmla="*/ 34 w 385785"/>
                <a:gd name="connsiteY3" fmla="*/ 76281 h 387709"/>
                <a:gd name="connsiteX4" fmla="*/ 34 w 385785"/>
                <a:gd name="connsiteY4" fmla="*/ 70607 h 387709"/>
                <a:gd name="connsiteX5" fmla="*/ 3186 w 385785"/>
                <a:gd name="connsiteY5" fmla="*/ 66194 h 387709"/>
                <a:gd name="connsiteX6" fmla="*/ 19577 w 385785"/>
                <a:gd name="connsiteY6" fmla="*/ 47912 h 387709"/>
                <a:gd name="connsiteX7" fmla="*/ 90184 w 385785"/>
                <a:gd name="connsiteY7" fmla="*/ 1891 h 387709"/>
                <a:gd name="connsiteX8" fmla="*/ 100901 w 385785"/>
                <a:gd name="connsiteY8" fmla="*/ 0 h 387709"/>
                <a:gd name="connsiteX9" fmla="*/ 134944 w 385785"/>
                <a:gd name="connsiteY9" fmla="*/ 18913 h 387709"/>
                <a:gd name="connsiteX10" fmla="*/ 163944 w 385785"/>
                <a:gd name="connsiteY10" fmla="*/ 108433 h 387709"/>
                <a:gd name="connsiteX11" fmla="*/ 151335 w 385785"/>
                <a:gd name="connsiteY11" fmla="*/ 146258 h 387709"/>
                <a:gd name="connsiteX12" fmla="*/ 121705 w 385785"/>
                <a:gd name="connsiteY12" fmla="*/ 165171 h 387709"/>
                <a:gd name="connsiteX13" fmla="*/ 125488 w 385785"/>
                <a:gd name="connsiteY13" fmla="*/ 175257 h 387709"/>
                <a:gd name="connsiteX14" fmla="*/ 164574 w 385785"/>
                <a:gd name="connsiteY14" fmla="*/ 221278 h 387709"/>
                <a:gd name="connsiteX15" fmla="*/ 210595 w 385785"/>
                <a:gd name="connsiteY15" fmla="*/ 260364 h 387709"/>
                <a:gd name="connsiteX16" fmla="*/ 220051 w 385785"/>
                <a:gd name="connsiteY16" fmla="*/ 264147 h 387709"/>
                <a:gd name="connsiteX17" fmla="*/ 221943 w 385785"/>
                <a:gd name="connsiteY17" fmla="*/ 264147 h 387709"/>
                <a:gd name="connsiteX18" fmla="*/ 239594 w 385785"/>
                <a:gd name="connsiteY18" fmla="*/ 235148 h 387709"/>
                <a:gd name="connsiteX19" fmla="*/ 270485 w 385785"/>
                <a:gd name="connsiteY19" fmla="*/ 221909 h 387709"/>
                <a:gd name="connsiteX20" fmla="*/ 276789 w 385785"/>
                <a:gd name="connsiteY20" fmla="*/ 222539 h 387709"/>
                <a:gd name="connsiteX21" fmla="*/ 368200 w 385785"/>
                <a:gd name="connsiteY21" fmla="*/ 252169 h 387709"/>
                <a:gd name="connsiteX22" fmla="*/ 383961 w 385785"/>
                <a:gd name="connsiteY22" fmla="*/ 296929 h 387709"/>
                <a:gd name="connsiteX23" fmla="*/ 337940 w 385785"/>
                <a:gd name="connsiteY23" fmla="*/ 367536 h 387709"/>
                <a:gd name="connsiteX24" fmla="*/ 319658 w 385785"/>
                <a:gd name="connsiteY24" fmla="*/ 383927 h 387709"/>
                <a:gd name="connsiteX25" fmla="*/ 315245 w 385785"/>
                <a:gd name="connsiteY25" fmla="*/ 387079 h 387709"/>
                <a:gd name="connsiteX26" fmla="*/ 305789 w 385785"/>
                <a:gd name="connsiteY26" fmla="*/ 387710 h 387709"/>
                <a:gd name="connsiteX27" fmla="*/ 305789 w 385785"/>
                <a:gd name="connsiteY27" fmla="*/ 387710 h 387709"/>
                <a:gd name="connsiteX28" fmla="*/ 33446 w 385785"/>
                <a:gd name="connsiteY28" fmla="*/ 82585 h 387709"/>
                <a:gd name="connsiteX29" fmla="*/ 117292 w 385785"/>
                <a:gd name="connsiteY29" fmla="*/ 268560 h 387709"/>
                <a:gd name="connsiteX30" fmla="*/ 119183 w 385785"/>
                <a:gd name="connsiteY30" fmla="*/ 270451 h 387709"/>
                <a:gd name="connsiteX31" fmla="*/ 305158 w 385785"/>
                <a:gd name="connsiteY31" fmla="*/ 353667 h 387709"/>
                <a:gd name="connsiteX32" fmla="*/ 316506 w 385785"/>
                <a:gd name="connsiteY32" fmla="*/ 343580 h 387709"/>
                <a:gd name="connsiteX33" fmla="*/ 354962 w 385785"/>
                <a:gd name="connsiteY33" fmla="*/ 284320 h 387709"/>
                <a:gd name="connsiteX34" fmla="*/ 353701 w 385785"/>
                <a:gd name="connsiteY34" fmla="*/ 280538 h 387709"/>
                <a:gd name="connsiteX35" fmla="*/ 271746 w 385785"/>
                <a:gd name="connsiteY35" fmla="*/ 254690 h 387709"/>
                <a:gd name="connsiteX36" fmla="*/ 267963 w 385785"/>
                <a:gd name="connsiteY36" fmla="*/ 255321 h 387709"/>
                <a:gd name="connsiteX37" fmla="*/ 250942 w 385785"/>
                <a:gd name="connsiteY37" fmla="*/ 281799 h 387709"/>
                <a:gd name="connsiteX38" fmla="*/ 192943 w 385785"/>
                <a:gd name="connsiteY38" fmla="*/ 286842 h 387709"/>
                <a:gd name="connsiteX39" fmla="*/ 143140 w 385785"/>
                <a:gd name="connsiteY39" fmla="*/ 244604 h 387709"/>
                <a:gd name="connsiteX40" fmla="*/ 100271 w 385785"/>
                <a:gd name="connsiteY40" fmla="*/ 194800 h 387709"/>
                <a:gd name="connsiteX41" fmla="*/ 90815 w 385785"/>
                <a:gd name="connsiteY41" fmla="*/ 158236 h 387709"/>
                <a:gd name="connsiteX42" fmla="*/ 105314 w 385785"/>
                <a:gd name="connsiteY42" fmla="*/ 136802 h 387709"/>
                <a:gd name="connsiteX43" fmla="*/ 131792 w 385785"/>
                <a:gd name="connsiteY43" fmla="*/ 119780 h 387709"/>
                <a:gd name="connsiteX44" fmla="*/ 132423 w 385785"/>
                <a:gd name="connsiteY44" fmla="*/ 115367 h 387709"/>
                <a:gd name="connsiteX45" fmla="*/ 105945 w 385785"/>
                <a:gd name="connsiteY45" fmla="*/ 34043 h 387709"/>
                <a:gd name="connsiteX46" fmla="*/ 101532 w 385785"/>
                <a:gd name="connsiteY46" fmla="*/ 32782 h 387709"/>
                <a:gd name="connsiteX47" fmla="*/ 43533 w 385785"/>
                <a:gd name="connsiteY47" fmla="*/ 71238 h 387709"/>
                <a:gd name="connsiteX48" fmla="*/ 33446 w 385785"/>
                <a:gd name="connsiteY48" fmla="*/ 82585 h 387709"/>
                <a:gd name="connsiteX49" fmla="*/ 33446 w 385785"/>
                <a:gd name="connsiteY49" fmla="*/ 82585 h 387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385785" h="387709">
                  <a:moveTo>
                    <a:pt x="305789" y="387710"/>
                  </a:moveTo>
                  <a:cubicBezTo>
                    <a:pt x="231399" y="387710"/>
                    <a:pt x="155118" y="353667"/>
                    <a:pt x="95227" y="293777"/>
                  </a:cubicBezTo>
                  <a:lnTo>
                    <a:pt x="93967" y="292516"/>
                  </a:lnTo>
                  <a:cubicBezTo>
                    <a:pt x="32816" y="231365"/>
                    <a:pt x="-1227" y="152562"/>
                    <a:pt x="34" y="76281"/>
                  </a:cubicBezTo>
                  <a:lnTo>
                    <a:pt x="34" y="70607"/>
                  </a:lnTo>
                  <a:lnTo>
                    <a:pt x="3186" y="66194"/>
                  </a:lnTo>
                  <a:cubicBezTo>
                    <a:pt x="8229" y="59259"/>
                    <a:pt x="13903" y="53586"/>
                    <a:pt x="19577" y="47912"/>
                  </a:cubicBezTo>
                  <a:cubicBezTo>
                    <a:pt x="39750" y="27738"/>
                    <a:pt x="63706" y="11978"/>
                    <a:pt x="90184" y="1891"/>
                  </a:cubicBezTo>
                  <a:cubicBezTo>
                    <a:pt x="93336" y="630"/>
                    <a:pt x="97119" y="0"/>
                    <a:pt x="100901" y="0"/>
                  </a:cubicBezTo>
                  <a:cubicBezTo>
                    <a:pt x="109727" y="0"/>
                    <a:pt x="129901" y="4413"/>
                    <a:pt x="134944" y="18913"/>
                  </a:cubicBezTo>
                  <a:cubicBezTo>
                    <a:pt x="143770" y="44130"/>
                    <a:pt x="155748" y="76912"/>
                    <a:pt x="163944" y="108433"/>
                  </a:cubicBezTo>
                  <a:cubicBezTo>
                    <a:pt x="166465" y="117889"/>
                    <a:pt x="163313" y="138693"/>
                    <a:pt x="151335" y="146258"/>
                  </a:cubicBezTo>
                  <a:lnTo>
                    <a:pt x="121705" y="165171"/>
                  </a:lnTo>
                  <a:cubicBezTo>
                    <a:pt x="121705" y="165171"/>
                    <a:pt x="121705" y="170214"/>
                    <a:pt x="125488" y="175257"/>
                  </a:cubicBezTo>
                  <a:cubicBezTo>
                    <a:pt x="136836" y="191018"/>
                    <a:pt x="150074" y="206148"/>
                    <a:pt x="164574" y="221278"/>
                  </a:cubicBezTo>
                  <a:cubicBezTo>
                    <a:pt x="179074" y="235778"/>
                    <a:pt x="194834" y="249017"/>
                    <a:pt x="210595" y="260364"/>
                  </a:cubicBezTo>
                  <a:cubicBezTo>
                    <a:pt x="213747" y="262886"/>
                    <a:pt x="216899" y="264147"/>
                    <a:pt x="220051" y="264147"/>
                  </a:cubicBezTo>
                  <a:cubicBezTo>
                    <a:pt x="220682" y="264147"/>
                    <a:pt x="221312" y="264147"/>
                    <a:pt x="221943" y="264147"/>
                  </a:cubicBezTo>
                  <a:lnTo>
                    <a:pt x="239594" y="235148"/>
                  </a:lnTo>
                  <a:cubicBezTo>
                    <a:pt x="247790" y="222539"/>
                    <a:pt x="267963" y="221909"/>
                    <a:pt x="270485" y="221909"/>
                  </a:cubicBezTo>
                  <a:cubicBezTo>
                    <a:pt x="273007" y="221909"/>
                    <a:pt x="274898" y="221909"/>
                    <a:pt x="276789" y="222539"/>
                  </a:cubicBezTo>
                  <a:cubicBezTo>
                    <a:pt x="315875" y="231365"/>
                    <a:pt x="338571" y="238930"/>
                    <a:pt x="368200" y="252169"/>
                  </a:cubicBezTo>
                  <a:cubicBezTo>
                    <a:pt x="381439" y="257843"/>
                    <a:pt x="389635" y="281799"/>
                    <a:pt x="383961" y="296929"/>
                  </a:cubicBezTo>
                  <a:cubicBezTo>
                    <a:pt x="373874" y="323407"/>
                    <a:pt x="358114" y="347363"/>
                    <a:pt x="337940" y="367536"/>
                  </a:cubicBezTo>
                  <a:cubicBezTo>
                    <a:pt x="332267" y="373210"/>
                    <a:pt x="325962" y="378884"/>
                    <a:pt x="319658" y="383927"/>
                  </a:cubicBezTo>
                  <a:lnTo>
                    <a:pt x="315245" y="387079"/>
                  </a:lnTo>
                  <a:lnTo>
                    <a:pt x="305789" y="387710"/>
                  </a:lnTo>
                  <a:lnTo>
                    <a:pt x="305789" y="387710"/>
                  </a:lnTo>
                  <a:close/>
                  <a:moveTo>
                    <a:pt x="33446" y="82585"/>
                  </a:moveTo>
                  <a:cubicBezTo>
                    <a:pt x="33446" y="146888"/>
                    <a:pt x="64967" y="216235"/>
                    <a:pt x="117292" y="268560"/>
                  </a:cubicBezTo>
                  <a:lnTo>
                    <a:pt x="119183" y="270451"/>
                  </a:lnTo>
                  <a:cubicBezTo>
                    <a:pt x="172139" y="323407"/>
                    <a:pt x="239594" y="353667"/>
                    <a:pt x="305158" y="353667"/>
                  </a:cubicBezTo>
                  <a:cubicBezTo>
                    <a:pt x="308941" y="350515"/>
                    <a:pt x="312723" y="346732"/>
                    <a:pt x="316506" y="343580"/>
                  </a:cubicBezTo>
                  <a:cubicBezTo>
                    <a:pt x="333527" y="326559"/>
                    <a:pt x="346136" y="307016"/>
                    <a:pt x="354962" y="284320"/>
                  </a:cubicBezTo>
                  <a:cubicBezTo>
                    <a:pt x="354962" y="284320"/>
                    <a:pt x="354331" y="282429"/>
                    <a:pt x="353701" y="280538"/>
                  </a:cubicBezTo>
                  <a:cubicBezTo>
                    <a:pt x="327854" y="269191"/>
                    <a:pt x="306419" y="262256"/>
                    <a:pt x="271746" y="254690"/>
                  </a:cubicBezTo>
                  <a:cubicBezTo>
                    <a:pt x="271116" y="254690"/>
                    <a:pt x="269224" y="255321"/>
                    <a:pt x="267963" y="255321"/>
                  </a:cubicBezTo>
                  <a:lnTo>
                    <a:pt x="250942" y="281799"/>
                  </a:lnTo>
                  <a:cubicBezTo>
                    <a:pt x="240225" y="298820"/>
                    <a:pt x="213117" y="301342"/>
                    <a:pt x="192943" y="286842"/>
                  </a:cubicBezTo>
                  <a:cubicBezTo>
                    <a:pt x="175921" y="274864"/>
                    <a:pt x="159531" y="260364"/>
                    <a:pt x="143140" y="244604"/>
                  </a:cubicBezTo>
                  <a:cubicBezTo>
                    <a:pt x="127379" y="228213"/>
                    <a:pt x="112879" y="211192"/>
                    <a:pt x="100271" y="194800"/>
                  </a:cubicBezTo>
                  <a:cubicBezTo>
                    <a:pt x="92075" y="183453"/>
                    <a:pt x="88923" y="170214"/>
                    <a:pt x="90815" y="158236"/>
                  </a:cubicBezTo>
                  <a:cubicBezTo>
                    <a:pt x="92706" y="148780"/>
                    <a:pt x="97749" y="141214"/>
                    <a:pt x="105314" y="136802"/>
                  </a:cubicBezTo>
                  <a:lnTo>
                    <a:pt x="131792" y="119780"/>
                  </a:lnTo>
                  <a:cubicBezTo>
                    <a:pt x="132423" y="118519"/>
                    <a:pt x="132423" y="115998"/>
                    <a:pt x="132423" y="115367"/>
                  </a:cubicBezTo>
                  <a:cubicBezTo>
                    <a:pt x="124857" y="88259"/>
                    <a:pt x="114771" y="57999"/>
                    <a:pt x="105945" y="34043"/>
                  </a:cubicBezTo>
                  <a:cubicBezTo>
                    <a:pt x="104684" y="33412"/>
                    <a:pt x="102793" y="32782"/>
                    <a:pt x="101532" y="32782"/>
                  </a:cubicBezTo>
                  <a:cubicBezTo>
                    <a:pt x="80097" y="40977"/>
                    <a:pt x="60554" y="54216"/>
                    <a:pt x="43533" y="71238"/>
                  </a:cubicBezTo>
                  <a:cubicBezTo>
                    <a:pt x="40381" y="75020"/>
                    <a:pt x="37229" y="78803"/>
                    <a:pt x="33446" y="82585"/>
                  </a:cubicBezTo>
                  <a:lnTo>
                    <a:pt x="33446" y="82585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2" name="Forma Livre: Forma 11">
              <a:extLst>
                <a:ext uri="{FF2B5EF4-FFF2-40B4-BE49-F238E27FC236}">
                  <a16:creationId xmlns:a16="http://schemas.microsoft.com/office/drawing/2014/main" id="{EE92C748-AC92-4CDB-B492-B04B29027BBB}"/>
                </a:ext>
              </a:extLst>
            </p:cNvPr>
            <p:cNvSpPr/>
            <p:nvPr/>
          </p:nvSpPr>
          <p:spPr>
            <a:xfrm>
              <a:off x="4557768" y="4671660"/>
              <a:ext cx="206784" cy="206778"/>
            </a:xfrm>
            <a:custGeom>
              <a:avLst/>
              <a:gdLst>
                <a:gd name="connsiteX0" fmla="*/ 103389 w 206784"/>
                <a:gd name="connsiteY0" fmla="*/ 206779 h 206778"/>
                <a:gd name="connsiteX1" fmla="*/ 0 w 206784"/>
                <a:gd name="connsiteY1" fmla="*/ 103389 h 206778"/>
                <a:gd name="connsiteX2" fmla="*/ 103389 w 206784"/>
                <a:gd name="connsiteY2" fmla="*/ 0 h 206778"/>
                <a:gd name="connsiteX3" fmla="*/ 206779 w 206784"/>
                <a:gd name="connsiteY3" fmla="*/ 103389 h 206778"/>
                <a:gd name="connsiteX4" fmla="*/ 103389 w 206784"/>
                <a:gd name="connsiteY4" fmla="*/ 206779 h 206778"/>
                <a:gd name="connsiteX5" fmla="*/ 103389 w 206784"/>
                <a:gd name="connsiteY5" fmla="*/ 206779 h 206778"/>
                <a:gd name="connsiteX6" fmla="*/ 103389 w 206784"/>
                <a:gd name="connsiteY6" fmla="*/ 16391 h 206778"/>
                <a:gd name="connsiteX7" fmla="*/ 16391 w 206784"/>
                <a:gd name="connsiteY7" fmla="*/ 103389 h 206778"/>
                <a:gd name="connsiteX8" fmla="*/ 103389 w 206784"/>
                <a:gd name="connsiteY8" fmla="*/ 190388 h 206778"/>
                <a:gd name="connsiteX9" fmla="*/ 190388 w 206784"/>
                <a:gd name="connsiteY9" fmla="*/ 103389 h 206778"/>
                <a:gd name="connsiteX10" fmla="*/ 103389 w 206784"/>
                <a:gd name="connsiteY10" fmla="*/ 16391 h 206778"/>
                <a:gd name="connsiteX11" fmla="*/ 103389 w 206784"/>
                <a:gd name="connsiteY11" fmla="*/ 16391 h 206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784" h="206778">
                  <a:moveTo>
                    <a:pt x="103389" y="206779"/>
                  </a:moveTo>
                  <a:cubicBezTo>
                    <a:pt x="46651" y="206779"/>
                    <a:pt x="0" y="160127"/>
                    <a:pt x="0" y="103389"/>
                  </a:cubicBezTo>
                  <a:cubicBezTo>
                    <a:pt x="0" y="46021"/>
                    <a:pt x="46651" y="0"/>
                    <a:pt x="103389" y="0"/>
                  </a:cubicBezTo>
                  <a:cubicBezTo>
                    <a:pt x="160758" y="0"/>
                    <a:pt x="206779" y="46651"/>
                    <a:pt x="206779" y="103389"/>
                  </a:cubicBezTo>
                  <a:cubicBezTo>
                    <a:pt x="207409" y="160127"/>
                    <a:pt x="160758" y="206779"/>
                    <a:pt x="103389" y="206779"/>
                  </a:cubicBezTo>
                  <a:lnTo>
                    <a:pt x="103389" y="206779"/>
                  </a:lnTo>
                  <a:close/>
                  <a:moveTo>
                    <a:pt x="103389" y="16391"/>
                  </a:moveTo>
                  <a:cubicBezTo>
                    <a:pt x="55477" y="16391"/>
                    <a:pt x="16391" y="55477"/>
                    <a:pt x="16391" y="103389"/>
                  </a:cubicBezTo>
                  <a:cubicBezTo>
                    <a:pt x="16391" y="151301"/>
                    <a:pt x="55477" y="190388"/>
                    <a:pt x="103389" y="190388"/>
                  </a:cubicBezTo>
                  <a:cubicBezTo>
                    <a:pt x="151301" y="190388"/>
                    <a:pt x="190388" y="151301"/>
                    <a:pt x="190388" y="103389"/>
                  </a:cubicBezTo>
                  <a:cubicBezTo>
                    <a:pt x="190388" y="55477"/>
                    <a:pt x="151301" y="16391"/>
                    <a:pt x="103389" y="16391"/>
                  </a:cubicBezTo>
                  <a:lnTo>
                    <a:pt x="103389" y="1639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3" name="Forma Livre: Forma 12">
              <a:extLst>
                <a:ext uri="{FF2B5EF4-FFF2-40B4-BE49-F238E27FC236}">
                  <a16:creationId xmlns:a16="http://schemas.microsoft.com/office/drawing/2014/main" id="{BDD74055-DFB5-41D1-8579-317EBCD3ED32}"/>
                </a:ext>
              </a:extLst>
            </p:cNvPr>
            <p:cNvSpPr/>
            <p:nvPr/>
          </p:nvSpPr>
          <p:spPr>
            <a:xfrm>
              <a:off x="4612300" y="4726191"/>
              <a:ext cx="97715" cy="98031"/>
            </a:xfrm>
            <a:custGeom>
              <a:avLst/>
              <a:gdLst>
                <a:gd name="connsiteX0" fmla="*/ 16706 w 97715"/>
                <a:gd name="connsiteY0" fmla="*/ 98031 h 98031"/>
                <a:gd name="connsiteX1" fmla="*/ 4728 w 97715"/>
                <a:gd name="connsiteY1" fmla="*/ 92987 h 98031"/>
                <a:gd name="connsiteX2" fmla="*/ 4728 w 97715"/>
                <a:gd name="connsiteY2" fmla="*/ 69662 h 98031"/>
                <a:gd name="connsiteX3" fmla="*/ 69662 w 97715"/>
                <a:gd name="connsiteY3" fmla="*/ 4728 h 98031"/>
                <a:gd name="connsiteX4" fmla="*/ 92987 w 97715"/>
                <a:gd name="connsiteY4" fmla="*/ 4728 h 98031"/>
                <a:gd name="connsiteX5" fmla="*/ 92987 w 97715"/>
                <a:gd name="connsiteY5" fmla="*/ 28054 h 98031"/>
                <a:gd name="connsiteX6" fmla="*/ 28053 w 97715"/>
                <a:gd name="connsiteY6" fmla="*/ 92987 h 98031"/>
                <a:gd name="connsiteX7" fmla="*/ 16706 w 97715"/>
                <a:gd name="connsiteY7" fmla="*/ 98031 h 98031"/>
                <a:gd name="connsiteX8" fmla="*/ 16706 w 97715"/>
                <a:gd name="connsiteY8" fmla="*/ 98031 h 98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7715" h="98031">
                  <a:moveTo>
                    <a:pt x="16706" y="98031"/>
                  </a:moveTo>
                  <a:cubicBezTo>
                    <a:pt x="12293" y="98031"/>
                    <a:pt x="7880" y="96139"/>
                    <a:pt x="4728" y="92987"/>
                  </a:cubicBezTo>
                  <a:cubicBezTo>
                    <a:pt x="-1576" y="86683"/>
                    <a:pt x="-1576" y="75966"/>
                    <a:pt x="4728" y="69662"/>
                  </a:cubicBezTo>
                  <a:lnTo>
                    <a:pt x="69662" y="4728"/>
                  </a:lnTo>
                  <a:cubicBezTo>
                    <a:pt x="75966" y="-1576"/>
                    <a:pt x="86683" y="-1576"/>
                    <a:pt x="92987" y="4728"/>
                  </a:cubicBezTo>
                  <a:cubicBezTo>
                    <a:pt x="99292" y="11032"/>
                    <a:pt x="99292" y="21750"/>
                    <a:pt x="92987" y="28054"/>
                  </a:cubicBezTo>
                  <a:lnTo>
                    <a:pt x="28053" y="92987"/>
                  </a:lnTo>
                  <a:cubicBezTo>
                    <a:pt x="24901" y="96139"/>
                    <a:pt x="21119" y="98031"/>
                    <a:pt x="16706" y="98031"/>
                  </a:cubicBezTo>
                  <a:lnTo>
                    <a:pt x="16706" y="9803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4" name="Forma Livre: Forma 13">
              <a:extLst>
                <a:ext uri="{FF2B5EF4-FFF2-40B4-BE49-F238E27FC236}">
                  <a16:creationId xmlns:a16="http://schemas.microsoft.com/office/drawing/2014/main" id="{2349B30F-03FB-4A93-BB04-890D148FF73D}"/>
                </a:ext>
              </a:extLst>
            </p:cNvPr>
            <p:cNvSpPr/>
            <p:nvPr/>
          </p:nvSpPr>
          <p:spPr>
            <a:xfrm>
              <a:off x="4612300" y="4726191"/>
              <a:ext cx="97715" cy="98031"/>
            </a:xfrm>
            <a:custGeom>
              <a:avLst/>
              <a:gdLst>
                <a:gd name="connsiteX0" fmla="*/ 81639 w 97715"/>
                <a:gd name="connsiteY0" fmla="*/ 98031 h 98031"/>
                <a:gd name="connsiteX1" fmla="*/ 69662 w 97715"/>
                <a:gd name="connsiteY1" fmla="*/ 92987 h 98031"/>
                <a:gd name="connsiteX2" fmla="*/ 4728 w 97715"/>
                <a:gd name="connsiteY2" fmla="*/ 28054 h 98031"/>
                <a:gd name="connsiteX3" fmla="*/ 4728 w 97715"/>
                <a:gd name="connsiteY3" fmla="*/ 4728 h 98031"/>
                <a:gd name="connsiteX4" fmla="*/ 28053 w 97715"/>
                <a:gd name="connsiteY4" fmla="*/ 4728 h 98031"/>
                <a:gd name="connsiteX5" fmla="*/ 92987 w 97715"/>
                <a:gd name="connsiteY5" fmla="*/ 69662 h 98031"/>
                <a:gd name="connsiteX6" fmla="*/ 92987 w 97715"/>
                <a:gd name="connsiteY6" fmla="*/ 92987 h 98031"/>
                <a:gd name="connsiteX7" fmla="*/ 81639 w 97715"/>
                <a:gd name="connsiteY7" fmla="*/ 98031 h 98031"/>
                <a:gd name="connsiteX8" fmla="*/ 81639 w 97715"/>
                <a:gd name="connsiteY8" fmla="*/ 98031 h 98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7715" h="98031">
                  <a:moveTo>
                    <a:pt x="81639" y="98031"/>
                  </a:moveTo>
                  <a:cubicBezTo>
                    <a:pt x="77227" y="98031"/>
                    <a:pt x="72814" y="96139"/>
                    <a:pt x="69662" y="92987"/>
                  </a:cubicBezTo>
                  <a:lnTo>
                    <a:pt x="4728" y="28054"/>
                  </a:lnTo>
                  <a:cubicBezTo>
                    <a:pt x="-1576" y="21750"/>
                    <a:pt x="-1576" y="11032"/>
                    <a:pt x="4728" y="4728"/>
                  </a:cubicBezTo>
                  <a:cubicBezTo>
                    <a:pt x="11032" y="-1576"/>
                    <a:pt x="21749" y="-1576"/>
                    <a:pt x="28053" y="4728"/>
                  </a:cubicBezTo>
                  <a:lnTo>
                    <a:pt x="92987" y="69662"/>
                  </a:lnTo>
                  <a:cubicBezTo>
                    <a:pt x="99292" y="75966"/>
                    <a:pt x="99292" y="86683"/>
                    <a:pt x="92987" y="92987"/>
                  </a:cubicBezTo>
                  <a:cubicBezTo>
                    <a:pt x="90465" y="96139"/>
                    <a:pt x="86052" y="98031"/>
                    <a:pt x="81639" y="98031"/>
                  </a:cubicBezTo>
                  <a:lnTo>
                    <a:pt x="81639" y="9803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5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3359932" y="4671660"/>
            <a:ext cx="391526" cy="406622"/>
            <a:chOff x="3359932" y="4671660"/>
            <a:chExt cx="391526" cy="406622"/>
          </a:xfrm>
          <a:solidFill>
            <a:srgbClr val="B1B1A1"/>
          </a:solidFill>
        </p:grpSpPr>
        <p:sp>
          <p:nvSpPr>
            <p:cNvPr id="16" name="Forma Livre: Forma 15">
              <a:extLst>
                <a:ext uri="{FF2B5EF4-FFF2-40B4-BE49-F238E27FC236}">
                  <a16:creationId xmlns:a16="http://schemas.microsoft.com/office/drawing/2014/main" id="{D0E8C68E-E0D8-4119-BD82-D0781F398BF0}"/>
                </a:ext>
              </a:extLst>
            </p:cNvPr>
            <p:cNvSpPr/>
            <p:nvPr/>
          </p:nvSpPr>
          <p:spPr>
            <a:xfrm>
              <a:off x="3359932" y="4690573"/>
              <a:ext cx="385785" cy="387709"/>
            </a:xfrm>
            <a:custGeom>
              <a:avLst/>
              <a:gdLst>
                <a:gd name="connsiteX0" fmla="*/ 305789 w 385785"/>
                <a:gd name="connsiteY0" fmla="*/ 387710 h 387709"/>
                <a:gd name="connsiteX1" fmla="*/ 95228 w 385785"/>
                <a:gd name="connsiteY1" fmla="*/ 293777 h 387709"/>
                <a:gd name="connsiteX2" fmla="*/ 93967 w 385785"/>
                <a:gd name="connsiteY2" fmla="*/ 292516 h 387709"/>
                <a:gd name="connsiteX3" fmla="*/ 34 w 385785"/>
                <a:gd name="connsiteY3" fmla="*/ 76281 h 387709"/>
                <a:gd name="connsiteX4" fmla="*/ 34 w 385785"/>
                <a:gd name="connsiteY4" fmla="*/ 70607 h 387709"/>
                <a:gd name="connsiteX5" fmla="*/ 3186 w 385785"/>
                <a:gd name="connsiteY5" fmla="*/ 66194 h 387709"/>
                <a:gd name="connsiteX6" fmla="*/ 19577 w 385785"/>
                <a:gd name="connsiteY6" fmla="*/ 47912 h 387709"/>
                <a:gd name="connsiteX7" fmla="*/ 90184 w 385785"/>
                <a:gd name="connsiteY7" fmla="*/ 1891 h 387709"/>
                <a:gd name="connsiteX8" fmla="*/ 100901 w 385785"/>
                <a:gd name="connsiteY8" fmla="*/ 0 h 387709"/>
                <a:gd name="connsiteX9" fmla="*/ 134944 w 385785"/>
                <a:gd name="connsiteY9" fmla="*/ 18913 h 387709"/>
                <a:gd name="connsiteX10" fmla="*/ 163944 w 385785"/>
                <a:gd name="connsiteY10" fmla="*/ 108433 h 387709"/>
                <a:gd name="connsiteX11" fmla="*/ 151335 w 385785"/>
                <a:gd name="connsiteY11" fmla="*/ 146258 h 387709"/>
                <a:gd name="connsiteX12" fmla="*/ 121705 w 385785"/>
                <a:gd name="connsiteY12" fmla="*/ 165171 h 387709"/>
                <a:gd name="connsiteX13" fmla="*/ 125488 w 385785"/>
                <a:gd name="connsiteY13" fmla="*/ 175257 h 387709"/>
                <a:gd name="connsiteX14" fmla="*/ 164574 w 385785"/>
                <a:gd name="connsiteY14" fmla="*/ 221278 h 387709"/>
                <a:gd name="connsiteX15" fmla="*/ 210595 w 385785"/>
                <a:gd name="connsiteY15" fmla="*/ 260364 h 387709"/>
                <a:gd name="connsiteX16" fmla="*/ 220051 w 385785"/>
                <a:gd name="connsiteY16" fmla="*/ 264147 h 387709"/>
                <a:gd name="connsiteX17" fmla="*/ 221943 w 385785"/>
                <a:gd name="connsiteY17" fmla="*/ 264147 h 387709"/>
                <a:gd name="connsiteX18" fmla="*/ 239594 w 385785"/>
                <a:gd name="connsiteY18" fmla="*/ 235148 h 387709"/>
                <a:gd name="connsiteX19" fmla="*/ 270485 w 385785"/>
                <a:gd name="connsiteY19" fmla="*/ 221909 h 387709"/>
                <a:gd name="connsiteX20" fmla="*/ 276789 w 385785"/>
                <a:gd name="connsiteY20" fmla="*/ 222539 h 387709"/>
                <a:gd name="connsiteX21" fmla="*/ 368201 w 385785"/>
                <a:gd name="connsiteY21" fmla="*/ 252169 h 387709"/>
                <a:gd name="connsiteX22" fmla="*/ 383961 w 385785"/>
                <a:gd name="connsiteY22" fmla="*/ 296929 h 387709"/>
                <a:gd name="connsiteX23" fmla="*/ 337940 w 385785"/>
                <a:gd name="connsiteY23" fmla="*/ 367536 h 387709"/>
                <a:gd name="connsiteX24" fmla="*/ 319658 w 385785"/>
                <a:gd name="connsiteY24" fmla="*/ 383927 h 387709"/>
                <a:gd name="connsiteX25" fmla="*/ 315245 w 385785"/>
                <a:gd name="connsiteY25" fmla="*/ 387079 h 387709"/>
                <a:gd name="connsiteX26" fmla="*/ 305789 w 385785"/>
                <a:gd name="connsiteY26" fmla="*/ 387710 h 387709"/>
                <a:gd name="connsiteX27" fmla="*/ 305789 w 385785"/>
                <a:gd name="connsiteY27" fmla="*/ 387710 h 387709"/>
                <a:gd name="connsiteX28" fmla="*/ 33446 w 385785"/>
                <a:gd name="connsiteY28" fmla="*/ 82585 h 387709"/>
                <a:gd name="connsiteX29" fmla="*/ 117292 w 385785"/>
                <a:gd name="connsiteY29" fmla="*/ 268560 h 387709"/>
                <a:gd name="connsiteX30" fmla="*/ 119184 w 385785"/>
                <a:gd name="connsiteY30" fmla="*/ 270451 h 387709"/>
                <a:gd name="connsiteX31" fmla="*/ 305158 w 385785"/>
                <a:gd name="connsiteY31" fmla="*/ 353667 h 387709"/>
                <a:gd name="connsiteX32" fmla="*/ 316506 w 385785"/>
                <a:gd name="connsiteY32" fmla="*/ 343580 h 387709"/>
                <a:gd name="connsiteX33" fmla="*/ 354962 w 385785"/>
                <a:gd name="connsiteY33" fmla="*/ 284320 h 387709"/>
                <a:gd name="connsiteX34" fmla="*/ 353701 w 385785"/>
                <a:gd name="connsiteY34" fmla="*/ 280538 h 387709"/>
                <a:gd name="connsiteX35" fmla="*/ 271746 w 385785"/>
                <a:gd name="connsiteY35" fmla="*/ 254690 h 387709"/>
                <a:gd name="connsiteX36" fmla="*/ 267963 w 385785"/>
                <a:gd name="connsiteY36" fmla="*/ 255321 h 387709"/>
                <a:gd name="connsiteX37" fmla="*/ 250942 w 385785"/>
                <a:gd name="connsiteY37" fmla="*/ 281799 h 387709"/>
                <a:gd name="connsiteX38" fmla="*/ 192943 w 385785"/>
                <a:gd name="connsiteY38" fmla="*/ 286842 h 387709"/>
                <a:gd name="connsiteX39" fmla="*/ 143140 w 385785"/>
                <a:gd name="connsiteY39" fmla="*/ 244604 h 387709"/>
                <a:gd name="connsiteX40" fmla="*/ 100271 w 385785"/>
                <a:gd name="connsiteY40" fmla="*/ 194800 h 387709"/>
                <a:gd name="connsiteX41" fmla="*/ 90815 w 385785"/>
                <a:gd name="connsiteY41" fmla="*/ 158236 h 387709"/>
                <a:gd name="connsiteX42" fmla="*/ 105314 w 385785"/>
                <a:gd name="connsiteY42" fmla="*/ 136802 h 387709"/>
                <a:gd name="connsiteX43" fmla="*/ 131792 w 385785"/>
                <a:gd name="connsiteY43" fmla="*/ 119780 h 387709"/>
                <a:gd name="connsiteX44" fmla="*/ 132423 w 385785"/>
                <a:gd name="connsiteY44" fmla="*/ 115367 h 387709"/>
                <a:gd name="connsiteX45" fmla="*/ 105945 w 385785"/>
                <a:gd name="connsiteY45" fmla="*/ 34043 h 387709"/>
                <a:gd name="connsiteX46" fmla="*/ 101532 w 385785"/>
                <a:gd name="connsiteY46" fmla="*/ 32782 h 387709"/>
                <a:gd name="connsiteX47" fmla="*/ 43533 w 385785"/>
                <a:gd name="connsiteY47" fmla="*/ 71238 h 387709"/>
                <a:gd name="connsiteX48" fmla="*/ 33446 w 385785"/>
                <a:gd name="connsiteY48" fmla="*/ 82585 h 387709"/>
                <a:gd name="connsiteX49" fmla="*/ 33446 w 385785"/>
                <a:gd name="connsiteY49" fmla="*/ 82585 h 387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385785" h="387709">
                  <a:moveTo>
                    <a:pt x="305789" y="387710"/>
                  </a:moveTo>
                  <a:cubicBezTo>
                    <a:pt x="231399" y="387710"/>
                    <a:pt x="155118" y="353667"/>
                    <a:pt x="95228" y="293777"/>
                  </a:cubicBezTo>
                  <a:lnTo>
                    <a:pt x="93967" y="292516"/>
                  </a:lnTo>
                  <a:cubicBezTo>
                    <a:pt x="32816" y="231365"/>
                    <a:pt x="-1227" y="152562"/>
                    <a:pt x="34" y="76281"/>
                  </a:cubicBezTo>
                  <a:lnTo>
                    <a:pt x="34" y="70607"/>
                  </a:lnTo>
                  <a:lnTo>
                    <a:pt x="3186" y="66194"/>
                  </a:lnTo>
                  <a:cubicBezTo>
                    <a:pt x="8229" y="59259"/>
                    <a:pt x="13903" y="53586"/>
                    <a:pt x="19577" y="47912"/>
                  </a:cubicBezTo>
                  <a:cubicBezTo>
                    <a:pt x="39750" y="27738"/>
                    <a:pt x="63707" y="11978"/>
                    <a:pt x="90184" y="1891"/>
                  </a:cubicBezTo>
                  <a:cubicBezTo>
                    <a:pt x="93336" y="630"/>
                    <a:pt x="97119" y="0"/>
                    <a:pt x="100901" y="0"/>
                  </a:cubicBezTo>
                  <a:cubicBezTo>
                    <a:pt x="109727" y="0"/>
                    <a:pt x="129901" y="4413"/>
                    <a:pt x="134944" y="18913"/>
                  </a:cubicBezTo>
                  <a:cubicBezTo>
                    <a:pt x="143770" y="44130"/>
                    <a:pt x="155748" y="76912"/>
                    <a:pt x="163944" y="108433"/>
                  </a:cubicBezTo>
                  <a:cubicBezTo>
                    <a:pt x="166465" y="117889"/>
                    <a:pt x="163313" y="138693"/>
                    <a:pt x="151335" y="146258"/>
                  </a:cubicBezTo>
                  <a:lnTo>
                    <a:pt x="121705" y="165171"/>
                  </a:lnTo>
                  <a:cubicBezTo>
                    <a:pt x="121705" y="165171"/>
                    <a:pt x="121705" y="170214"/>
                    <a:pt x="125488" y="175257"/>
                  </a:cubicBezTo>
                  <a:cubicBezTo>
                    <a:pt x="136836" y="191018"/>
                    <a:pt x="150074" y="206148"/>
                    <a:pt x="164574" y="221278"/>
                  </a:cubicBezTo>
                  <a:cubicBezTo>
                    <a:pt x="179074" y="235778"/>
                    <a:pt x="194834" y="249017"/>
                    <a:pt x="210595" y="260364"/>
                  </a:cubicBezTo>
                  <a:cubicBezTo>
                    <a:pt x="213747" y="262886"/>
                    <a:pt x="216899" y="264147"/>
                    <a:pt x="220051" y="264147"/>
                  </a:cubicBezTo>
                  <a:cubicBezTo>
                    <a:pt x="220682" y="264147"/>
                    <a:pt x="221312" y="264147"/>
                    <a:pt x="221943" y="264147"/>
                  </a:cubicBezTo>
                  <a:lnTo>
                    <a:pt x="239594" y="235148"/>
                  </a:lnTo>
                  <a:cubicBezTo>
                    <a:pt x="247790" y="222539"/>
                    <a:pt x="267963" y="221909"/>
                    <a:pt x="270485" y="221909"/>
                  </a:cubicBezTo>
                  <a:cubicBezTo>
                    <a:pt x="273007" y="221909"/>
                    <a:pt x="274898" y="221909"/>
                    <a:pt x="276789" y="222539"/>
                  </a:cubicBezTo>
                  <a:cubicBezTo>
                    <a:pt x="315876" y="231365"/>
                    <a:pt x="338571" y="238930"/>
                    <a:pt x="368201" y="252169"/>
                  </a:cubicBezTo>
                  <a:cubicBezTo>
                    <a:pt x="381439" y="257843"/>
                    <a:pt x="389635" y="281799"/>
                    <a:pt x="383961" y="296929"/>
                  </a:cubicBezTo>
                  <a:cubicBezTo>
                    <a:pt x="373874" y="323407"/>
                    <a:pt x="358114" y="347363"/>
                    <a:pt x="337940" y="367536"/>
                  </a:cubicBezTo>
                  <a:cubicBezTo>
                    <a:pt x="332267" y="373210"/>
                    <a:pt x="325962" y="378884"/>
                    <a:pt x="319658" y="383927"/>
                  </a:cubicBezTo>
                  <a:lnTo>
                    <a:pt x="315245" y="387079"/>
                  </a:lnTo>
                  <a:lnTo>
                    <a:pt x="305789" y="387710"/>
                  </a:lnTo>
                  <a:lnTo>
                    <a:pt x="305789" y="387710"/>
                  </a:lnTo>
                  <a:close/>
                  <a:moveTo>
                    <a:pt x="33446" y="82585"/>
                  </a:moveTo>
                  <a:cubicBezTo>
                    <a:pt x="33446" y="146888"/>
                    <a:pt x="64967" y="216235"/>
                    <a:pt x="117292" y="268560"/>
                  </a:cubicBezTo>
                  <a:lnTo>
                    <a:pt x="119184" y="270451"/>
                  </a:lnTo>
                  <a:cubicBezTo>
                    <a:pt x="172139" y="323407"/>
                    <a:pt x="239594" y="353667"/>
                    <a:pt x="305158" y="353667"/>
                  </a:cubicBezTo>
                  <a:cubicBezTo>
                    <a:pt x="308941" y="350515"/>
                    <a:pt x="312723" y="346732"/>
                    <a:pt x="316506" y="343580"/>
                  </a:cubicBezTo>
                  <a:cubicBezTo>
                    <a:pt x="333527" y="326559"/>
                    <a:pt x="346136" y="307016"/>
                    <a:pt x="354962" y="284320"/>
                  </a:cubicBezTo>
                  <a:cubicBezTo>
                    <a:pt x="354962" y="284320"/>
                    <a:pt x="354331" y="282429"/>
                    <a:pt x="353701" y="280538"/>
                  </a:cubicBezTo>
                  <a:cubicBezTo>
                    <a:pt x="327854" y="269191"/>
                    <a:pt x="306419" y="262256"/>
                    <a:pt x="271746" y="254690"/>
                  </a:cubicBezTo>
                  <a:cubicBezTo>
                    <a:pt x="271116" y="254690"/>
                    <a:pt x="269224" y="255321"/>
                    <a:pt x="267963" y="255321"/>
                  </a:cubicBezTo>
                  <a:lnTo>
                    <a:pt x="250942" y="281799"/>
                  </a:lnTo>
                  <a:cubicBezTo>
                    <a:pt x="240225" y="298820"/>
                    <a:pt x="213117" y="301342"/>
                    <a:pt x="192943" y="286842"/>
                  </a:cubicBezTo>
                  <a:cubicBezTo>
                    <a:pt x="175922" y="274864"/>
                    <a:pt x="159531" y="260364"/>
                    <a:pt x="143140" y="244604"/>
                  </a:cubicBezTo>
                  <a:cubicBezTo>
                    <a:pt x="127379" y="228213"/>
                    <a:pt x="112879" y="211192"/>
                    <a:pt x="100271" y="194800"/>
                  </a:cubicBezTo>
                  <a:cubicBezTo>
                    <a:pt x="92076" y="183453"/>
                    <a:pt x="88923" y="170214"/>
                    <a:pt x="90815" y="158236"/>
                  </a:cubicBezTo>
                  <a:cubicBezTo>
                    <a:pt x="92706" y="148780"/>
                    <a:pt x="97749" y="141214"/>
                    <a:pt x="105314" y="136802"/>
                  </a:cubicBezTo>
                  <a:lnTo>
                    <a:pt x="131792" y="119780"/>
                  </a:lnTo>
                  <a:cubicBezTo>
                    <a:pt x="132423" y="118519"/>
                    <a:pt x="132423" y="115998"/>
                    <a:pt x="132423" y="115367"/>
                  </a:cubicBezTo>
                  <a:cubicBezTo>
                    <a:pt x="124857" y="88259"/>
                    <a:pt x="114771" y="57999"/>
                    <a:pt x="105945" y="34043"/>
                  </a:cubicBezTo>
                  <a:cubicBezTo>
                    <a:pt x="104684" y="33412"/>
                    <a:pt x="102793" y="32782"/>
                    <a:pt x="101532" y="32782"/>
                  </a:cubicBezTo>
                  <a:cubicBezTo>
                    <a:pt x="80098" y="40977"/>
                    <a:pt x="60554" y="54216"/>
                    <a:pt x="43533" y="71238"/>
                  </a:cubicBezTo>
                  <a:cubicBezTo>
                    <a:pt x="40381" y="75020"/>
                    <a:pt x="36598" y="78803"/>
                    <a:pt x="33446" y="82585"/>
                  </a:cubicBezTo>
                  <a:lnTo>
                    <a:pt x="33446" y="82585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7" name="Forma Livre: Forma 16">
              <a:extLst>
                <a:ext uri="{FF2B5EF4-FFF2-40B4-BE49-F238E27FC236}">
                  <a16:creationId xmlns:a16="http://schemas.microsoft.com/office/drawing/2014/main" id="{4D1C4C48-021C-4F2F-9FC9-8D5564628736}"/>
                </a:ext>
              </a:extLst>
            </p:cNvPr>
            <p:cNvSpPr/>
            <p:nvPr/>
          </p:nvSpPr>
          <p:spPr>
            <a:xfrm>
              <a:off x="3544679" y="4671660"/>
              <a:ext cx="206778" cy="206778"/>
            </a:xfrm>
            <a:custGeom>
              <a:avLst/>
              <a:gdLst>
                <a:gd name="connsiteX0" fmla="*/ 103389 w 206778"/>
                <a:gd name="connsiteY0" fmla="*/ 206779 h 206778"/>
                <a:gd name="connsiteX1" fmla="*/ 0 w 206778"/>
                <a:gd name="connsiteY1" fmla="*/ 103389 h 206778"/>
                <a:gd name="connsiteX2" fmla="*/ 103389 w 206778"/>
                <a:gd name="connsiteY2" fmla="*/ 0 h 206778"/>
                <a:gd name="connsiteX3" fmla="*/ 206779 w 206778"/>
                <a:gd name="connsiteY3" fmla="*/ 103389 h 206778"/>
                <a:gd name="connsiteX4" fmla="*/ 103389 w 206778"/>
                <a:gd name="connsiteY4" fmla="*/ 206779 h 206778"/>
                <a:gd name="connsiteX5" fmla="*/ 103389 w 206778"/>
                <a:gd name="connsiteY5" fmla="*/ 206779 h 206778"/>
                <a:gd name="connsiteX6" fmla="*/ 103389 w 206778"/>
                <a:gd name="connsiteY6" fmla="*/ 16391 h 206778"/>
                <a:gd name="connsiteX7" fmla="*/ 16391 w 206778"/>
                <a:gd name="connsiteY7" fmla="*/ 103389 h 206778"/>
                <a:gd name="connsiteX8" fmla="*/ 103389 w 206778"/>
                <a:gd name="connsiteY8" fmla="*/ 190388 h 206778"/>
                <a:gd name="connsiteX9" fmla="*/ 190388 w 206778"/>
                <a:gd name="connsiteY9" fmla="*/ 103389 h 206778"/>
                <a:gd name="connsiteX10" fmla="*/ 103389 w 206778"/>
                <a:gd name="connsiteY10" fmla="*/ 16391 h 206778"/>
                <a:gd name="connsiteX11" fmla="*/ 103389 w 206778"/>
                <a:gd name="connsiteY11" fmla="*/ 16391 h 206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778" h="206778">
                  <a:moveTo>
                    <a:pt x="103389" y="206779"/>
                  </a:moveTo>
                  <a:cubicBezTo>
                    <a:pt x="46651" y="206779"/>
                    <a:pt x="0" y="160127"/>
                    <a:pt x="0" y="103389"/>
                  </a:cubicBezTo>
                  <a:cubicBezTo>
                    <a:pt x="0" y="46021"/>
                    <a:pt x="46651" y="0"/>
                    <a:pt x="103389" y="0"/>
                  </a:cubicBezTo>
                  <a:cubicBezTo>
                    <a:pt x="160758" y="0"/>
                    <a:pt x="206779" y="46651"/>
                    <a:pt x="206779" y="103389"/>
                  </a:cubicBezTo>
                  <a:cubicBezTo>
                    <a:pt x="206779" y="160127"/>
                    <a:pt x="160758" y="206779"/>
                    <a:pt x="103389" y="206779"/>
                  </a:cubicBezTo>
                  <a:lnTo>
                    <a:pt x="103389" y="206779"/>
                  </a:lnTo>
                  <a:close/>
                  <a:moveTo>
                    <a:pt x="103389" y="16391"/>
                  </a:moveTo>
                  <a:cubicBezTo>
                    <a:pt x="55477" y="16391"/>
                    <a:pt x="16391" y="55477"/>
                    <a:pt x="16391" y="103389"/>
                  </a:cubicBezTo>
                  <a:cubicBezTo>
                    <a:pt x="16391" y="151301"/>
                    <a:pt x="55477" y="190388"/>
                    <a:pt x="103389" y="190388"/>
                  </a:cubicBezTo>
                  <a:cubicBezTo>
                    <a:pt x="151301" y="190388"/>
                    <a:pt x="190388" y="151301"/>
                    <a:pt x="190388" y="103389"/>
                  </a:cubicBezTo>
                  <a:cubicBezTo>
                    <a:pt x="190388" y="55477"/>
                    <a:pt x="151301" y="16391"/>
                    <a:pt x="103389" y="16391"/>
                  </a:cubicBezTo>
                  <a:lnTo>
                    <a:pt x="103389" y="1639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8" name="Forma Livre: Forma 17">
              <a:extLst>
                <a:ext uri="{FF2B5EF4-FFF2-40B4-BE49-F238E27FC236}">
                  <a16:creationId xmlns:a16="http://schemas.microsoft.com/office/drawing/2014/main" id="{B37C3EB0-F88B-470A-AF24-F5EAE8053F11}"/>
                </a:ext>
              </a:extLst>
            </p:cNvPr>
            <p:cNvSpPr/>
            <p:nvPr/>
          </p:nvSpPr>
          <p:spPr>
            <a:xfrm>
              <a:off x="3585657" y="4758658"/>
              <a:ext cx="124860" cy="32782"/>
            </a:xfrm>
            <a:custGeom>
              <a:avLst/>
              <a:gdLst>
                <a:gd name="connsiteX0" fmla="*/ 108433 w 124860"/>
                <a:gd name="connsiteY0" fmla="*/ 32782 h 32782"/>
                <a:gd name="connsiteX1" fmla="*/ 16391 w 124860"/>
                <a:gd name="connsiteY1" fmla="*/ 32782 h 32782"/>
                <a:gd name="connsiteX2" fmla="*/ 0 w 124860"/>
                <a:gd name="connsiteY2" fmla="*/ 16391 h 32782"/>
                <a:gd name="connsiteX3" fmla="*/ 16391 w 124860"/>
                <a:gd name="connsiteY3" fmla="*/ 0 h 32782"/>
                <a:gd name="connsiteX4" fmla="*/ 108433 w 124860"/>
                <a:gd name="connsiteY4" fmla="*/ 0 h 32782"/>
                <a:gd name="connsiteX5" fmla="*/ 124824 w 124860"/>
                <a:gd name="connsiteY5" fmla="*/ 16391 h 32782"/>
                <a:gd name="connsiteX6" fmla="*/ 108433 w 124860"/>
                <a:gd name="connsiteY6" fmla="*/ 32782 h 32782"/>
                <a:gd name="connsiteX7" fmla="*/ 108433 w 124860"/>
                <a:gd name="connsiteY7" fmla="*/ 32782 h 32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4860" h="32782">
                  <a:moveTo>
                    <a:pt x="108433" y="32782"/>
                  </a:moveTo>
                  <a:lnTo>
                    <a:pt x="16391" y="32782"/>
                  </a:lnTo>
                  <a:cubicBezTo>
                    <a:pt x="6935" y="32782"/>
                    <a:pt x="0" y="25217"/>
                    <a:pt x="0" y="16391"/>
                  </a:cubicBezTo>
                  <a:cubicBezTo>
                    <a:pt x="0" y="6934"/>
                    <a:pt x="7565" y="0"/>
                    <a:pt x="16391" y="0"/>
                  </a:cubicBezTo>
                  <a:lnTo>
                    <a:pt x="108433" y="0"/>
                  </a:lnTo>
                  <a:cubicBezTo>
                    <a:pt x="117889" y="0"/>
                    <a:pt x="124824" y="7565"/>
                    <a:pt x="124824" y="16391"/>
                  </a:cubicBezTo>
                  <a:cubicBezTo>
                    <a:pt x="125454" y="25217"/>
                    <a:pt x="117889" y="32782"/>
                    <a:pt x="108433" y="32782"/>
                  </a:cubicBezTo>
                  <a:lnTo>
                    <a:pt x="108433" y="32782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9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1321776" y="4673551"/>
            <a:ext cx="385785" cy="394644"/>
            <a:chOff x="1321776" y="4673551"/>
            <a:chExt cx="385785" cy="394644"/>
          </a:xfrm>
          <a:solidFill>
            <a:srgbClr val="B1B1A1"/>
          </a:solidFill>
        </p:grpSpPr>
        <p:sp>
          <p:nvSpPr>
            <p:cNvPr id="20" name="Forma Livre: Forma 19">
              <a:extLst>
                <a:ext uri="{FF2B5EF4-FFF2-40B4-BE49-F238E27FC236}">
                  <a16:creationId xmlns:a16="http://schemas.microsoft.com/office/drawing/2014/main" id="{1A306AEA-9B22-439A-8CD6-40E281BBB64E}"/>
                </a:ext>
              </a:extLst>
            </p:cNvPr>
            <p:cNvSpPr/>
            <p:nvPr/>
          </p:nvSpPr>
          <p:spPr>
            <a:xfrm>
              <a:off x="1321776" y="4680486"/>
              <a:ext cx="385785" cy="387709"/>
            </a:xfrm>
            <a:custGeom>
              <a:avLst/>
              <a:gdLst>
                <a:gd name="connsiteX0" fmla="*/ 305789 w 385785"/>
                <a:gd name="connsiteY0" fmla="*/ 387710 h 387709"/>
                <a:gd name="connsiteX1" fmla="*/ 95228 w 385785"/>
                <a:gd name="connsiteY1" fmla="*/ 293777 h 387709"/>
                <a:gd name="connsiteX2" fmla="*/ 93967 w 385785"/>
                <a:gd name="connsiteY2" fmla="*/ 292516 h 387709"/>
                <a:gd name="connsiteX3" fmla="*/ 34 w 385785"/>
                <a:gd name="connsiteY3" fmla="*/ 76281 h 387709"/>
                <a:gd name="connsiteX4" fmla="*/ 34 w 385785"/>
                <a:gd name="connsiteY4" fmla="*/ 70607 h 387709"/>
                <a:gd name="connsiteX5" fmla="*/ 3186 w 385785"/>
                <a:gd name="connsiteY5" fmla="*/ 66194 h 387709"/>
                <a:gd name="connsiteX6" fmla="*/ 19577 w 385785"/>
                <a:gd name="connsiteY6" fmla="*/ 47912 h 387709"/>
                <a:gd name="connsiteX7" fmla="*/ 90184 w 385785"/>
                <a:gd name="connsiteY7" fmla="*/ 1892 h 387709"/>
                <a:gd name="connsiteX8" fmla="*/ 100901 w 385785"/>
                <a:gd name="connsiteY8" fmla="*/ 0 h 387709"/>
                <a:gd name="connsiteX9" fmla="*/ 134944 w 385785"/>
                <a:gd name="connsiteY9" fmla="*/ 18913 h 387709"/>
                <a:gd name="connsiteX10" fmla="*/ 163944 w 385785"/>
                <a:gd name="connsiteY10" fmla="*/ 108433 h 387709"/>
                <a:gd name="connsiteX11" fmla="*/ 151335 w 385785"/>
                <a:gd name="connsiteY11" fmla="*/ 146258 h 387709"/>
                <a:gd name="connsiteX12" fmla="*/ 121705 w 385785"/>
                <a:gd name="connsiteY12" fmla="*/ 165171 h 387709"/>
                <a:gd name="connsiteX13" fmla="*/ 125488 w 385785"/>
                <a:gd name="connsiteY13" fmla="*/ 175258 h 387709"/>
                <a:gd name="connsiteX14" fmla="*/ 164574 w 385785"/>
                <a:gd name="connsiteY14" fmla="*/ 221279 h 387709"/>
                <a:gd name="connsiteX15" fmla="*/ 210595 w 385785"/>
                <a:gd name="connsiteY15" fmla="*/ 260365 h 387709"/>
                <a:gd name="connsiteX16" fmla="*/ 220051 w 385785"/>
                <a:gd name="connsiteY16" fmla="*/ 264147 h 387709"/>
                <a:gd name="connsiteX17" fmla="*/ 221943 w 385785"/>
                <a:gd name="connsiteY17" fmla="*/ 264147 h 387709"/>
                <a:gd name="connsiteX18" fmla="*/ 239594 w 385785"/>
                <a:gd name="connsiteY18" fmla="*/ 235148 h 387709"/>
                <a:gd name="connsiteX19" fmla="*/ 270485 w 385785"/>
                <a:gd name="connsiteY19" fmla="*/ 221909 h 387709"/>
                <a:gd name="connsiteX20" fmla="*/ 276789 w 385785"/>
                <a:gd name="connsiteY20" fmla="*/ 222539 h 387709"/>
                <a:gd name="connsiteX21" fmla="*/ 368201 w 385785"/>
                <a:gd name="connsiteY21" fmla="*/ 252169 h 387709"/>
                <a:gd name="connsiteX22" fmla="*/ 383961 w 385785"/>
                <a:gd name="connsiteY22" fmla="*/ 296929 h 387709"/>
                <a:gd name="connsiteX23" fmla="*/ 337940 w 385785"/>
                <a:gd name="connsiteY23" fmla="*/ 367537 h 387709"/>
                <a:gd name="connsiteX24" fmla="*/ 319658 w 385785"/>
                <a:gd name="connsiteY24" fmla="*/ 383928 h 387709"/>
                <a:gd name="connsiteX25" fmla="*/ 315245 w 385785"/>
                <a:gd name="connsiteY25" fmla="*/ 387080 h 387709"/>
                <a:gd name="connsiteX26" fmla="*/ 305789 w 385785"/>
                <a:gd name="connsiteY26" fmla="*/ 387710 h 387709"/>
                <a:gd name="connsiteX27" fmla="*/ 305789 w 385785"/>
                <a:gd name="connsiteY27" fmla="*/ 387710 h 387709"/>
                <a:gd name="connsiteX28" fmla="*/ 33446 w 385785"/>
                <a:gd name="connsiteY28" fmla="*/ 82586 h 387709"/>
                <a:gd name="connsiteX29" fmla="*/ 117292 w 385785"/>
                <a:gd name="connsiteY29" fmla="*/ 268560 h 387709"/>
                <a:gd name="connsiteX30" fmla="*/ 119184 w 385785"/>
                <a:gd name="connsiteY30" fmla="*/ 270451 h 387709"/>
                <a:gd name="connsiteX31" fmla="*/ 305158 w 385785"/>
                <a:gd name="connsiteY31" fmla="*/ 353667 h 387709"/>
                <a:gd name="connsiteX32" fmla="*/ 316506 w 385785"/>
                <a:gd name="connsiteY32" fmla="*/ 343580 h 387709"/>
                <a:gd name="connsiteX33" fmla="*/ 354962 w 385785"/>
                <a:gd name="connsiteY33" fmla="*/ 284321 h 387709"/>
                <a:gd name="connsiteX34" fmla="*/ 353701 w 385785"/>
                <a:gd name="connsiteY34" fmla="*/ 280538 h 387709"/>
                <a:gd name="connsiteX35" fmla="*/ 271746 w 385785"/>
                <a:gd name="connsiteY35" fmla="*/ 254691 h 387709"/>
                <a:gd name="connsiteX36" fmla="*/ 267963 w 385785"/>
                <a:gd name="connsiteY36" fmla="*/ 255321 h 387709"/>
                <a:gd name="connsiteX37" fmla="*/ 250942 w 385785"/>
                <a:gd name="connsiteY37" fmla="*/ 281799 h 387709"/>
                <a:gd name="connsiteX38" fmla="*/ 192943 w 385785"/>
                <a:gd name="connsiteY38" fmla="*/ 286842 h 387709"/>
                <a:gd name="connsiteX39" fmla="*/ 143140 w 385785"/>
                <a:gd name="connsiteY39" fmla="*/ 244604 h 387709"/>
                <a:gd name="connsiteX40" fmla="*/ 100271 w 385785"/>
                <a:gd name="connsiteY40" fmla="*/ 194801 h 387709"/>
                <a:gd name="connsiteX41" fmla="*/ 90815 w 385785"/>
                <a:gd name="connsiteY41" fmla="*/ 158236 h 387709"/>
                <a:gd name="connsiteX42" fmla="*/ 105314 w 385785"/>
                <a:gd name="connsiteY42" fmla="*/ 136802 h 387709"/>
                <a:gd name="connsiteX43" fmla="*/ 131792 w 385785"/>
                <a:gd name="connsiteY43" fmla="*/ 119780 h 387709"/>
                <a:gd name="connsiteX44" fmla="*/ 132423 w 385785"/>
                <a:gd name="connsiteY44" fmla="*/ 115368 h 387709"/>
                <a:gd name="connsiteX45" fmla="*/ 105945 w 385785"/>
                <a:gd name="connsiteY45" fmla="*/ 34043 h 387709"/>
                <a:gd name="connsiteX46" fmla="*/ 101532 w 385785"/>
                <a:gd name="connsiteY46" fmla="*/ 32782 h 387709"/>
                <a:gd name="connsiteX47" fmla="*/ 43533 w 385785"/>
                <a:gd name="connsiteY47" fmla="*/ 71238 h 387709"/>
                <a:gd name="connsiteX48" fmla="*/ 33446 w 385785"/>
                <a:gd name="connsiteY48" fmla="*/ 82586 h 387709"/>
                <a:gd name="connsiteX49" fmla="*/ 33446 w 385785"/>
                <a:gd name="connsiteY49" fmla="*/ 82586 h 387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385785" h="387709">
                  <a:moveTo>
                    <a:pt x="305789" y="387710"/>
                  </a:moveTo>
                  <a:cubicBezTo>
                    <a:pt x="231399" y="387710"/>
                    <a:pt x="155118" y="353667"/>
                    <a:pt x="95228" y="293777"/>
                  </a:cubicBezTo>
                  <a:lnTo>
                    <a:pt x="93967" y="292516"/>
                  </a:lnTo>
                  <a:cubicBezTo>
                    <a:pt x="32816" y="231365"/>
                    <a:pt x="-1227" y="152562"/>
                    <a:pt x="34" y="76281"/>
                  </a:cubicBezTo>
                  <a:lnTo>
                    <a:pt x="34" y="70607"/>
                  </a:lnTo>
                  <a:lnTo>
                    <a:pt x="3186" y="66194"/>
                  </a:lnTo>
                  <a:cubicBezTo>
                    <a:pt x="8229" y="59260"/>
                    <a:pt x="13903" y="53586"/>
                    <a:pt x="19577" y="47912"/>
                  </a:cubicBezTo>
                  <a:cubicBezTo>
                    <a:pt x="39750" y="27739"/>
                    <a:pt x="63706" y="11978"/>
                    <a:pt x="90184" y="1892"/>
                  </a:cubicBezTo>
                  <a:cubicBezTo>
                    <a:pt x="93336" y="631"/>
                    <a:pt x="97119" y="0"/>
                    <a:pt x="100901" y="0"/>
                  </a:cubicBezTo>
                  <a:cubicBezTo>
                    <a:pt x="109727" y="0"/>
                    <a:pt x="129901" y="4413"/>
                    <a:pt x="134944" y="18913"/>
                  </a:cubicBezTo>
                  <a:cubicBezTo>
                    <a:pt x="143770" y="44130"/>
                    <a:pt x="155748" y="76912"/>
                    <a:pt x="163944" y="108433"/>
                  </a:cubicBezTo>
                  <a:cubicBezTo>
                    <a:pt x="166465" y="117889"/>
                    <a:pt x="163313" y="138693"/>
                    <a:pt x="151335" y="146258"/>
                  </a:cubicBezTo>
                  <a:lnTo>
                    <a:pt x="121705" y="165171"/>
                  </a:lnTo>
                  <a:cubicBezTo>
                    <a:pt x="121705" y="165171"/>
                    <a:pt x="121705" y="170214"/>
                    <a:pt x="125488" y="175258"/>
                  </a:cubicBezTo>
                  <a:cubicBezTo>
                    <a:pt x="136836" y="191018"/>
                    <a:pt x="150074" y="206148"/>
                    <a:pt x="164574" y="221279"/>
                  </a:cubicBezTo>
                  <a:cubicBezTo>
                    <a:pt x="179074" y="235778"/>
                    <a:pt x="194834" y="249017"/>
                    <a:pt x="210595" y="260365"/>
                  </a:cubicBezTo>
                  <a:cubicBezTo>
                    <a:pt x="213747" y="262886"/>
                    <a:pt x="216899" y="264147"/>
                    <a:pt x="220051" y="264147"/>
                  </a:cubicBezTo>
                  <a:cubicBezTo>
                    <a:pt x="220682" y="264147"/>
                    <a:pt x="221312" y="264147"/>
                    <a:pt x="221943" y="264147"/>
                  </a:cubicBezTo>
                  <a:lnTo>
                    <a:pt x="239594" y="235148"/>
                  </a:lnTo>
                  <a:cubicBezTo>
                    <a:pt x="247790" y="222539"/>
                    <a:pt x="267963" y="221909"/>
                    <a:pt x="270485" y="221909"/>
                  </a:cubicBezTo>
                  <a:cubicBezTo>
                    <a:pt x="273007" y="221909"/>
                    <a:pt x="274898" y="221909"/>
                    <a:pt x="276789" y="222539"/>
                  </a:cubicBezTo>
                  <a:cubicBezTo>
                    <a:pt x="315876" y="231365"/>
                    <a:pt x="338571" y="238930"/>
                    <a:pt x="368201" y="252169"/>
                  </a:cubicBezTo>
                  <a:cubicBezTo>
                    <a:pt x="381439" y="257843"/>
                    <a:pt x="389635" y="281799"/>
                    <a:pt x="383961" y="296929"/>
                  </a:cubicBezTo>
                  <a:cubicBezTo>
                    <a:pt x="373874" y="323407"/>
                    <a:pt x="358114" y="347363"/>
                    <a:pt x="337940" y="367537"/>
                  </a:cubicBezTo>
                  <a:cubicBezTo>
                    <a:pt x="332267" y="373210"/>
                    <a:pt x="325962" y="378884"/>
                    <a:pt x="319658" y="383928"/>
                  </a:cubicBezTo>
                  <a:lnTo>
                    <a:pt x="315245" y="387080"/>
                  </a:lnTo>
                  <a:lnTo>
                    <a:pt x="305789" y="387710"/>
                  </a:lnTo>
                  <a:lnTo>
                    <a:pt x="305789" y="387710"/>
                  </a:lnTo>
                  <a:close/>
                  <a:moveTo>
                    <a:pt x="33446" y="82586"/>
                  </a:moveTo>
                  <a:cubicBezTo>
                    <a:pt x="33446" y="146889"/>
                    <a:pt x="64967" y="216235"/>
                    <a:pt x="117292" y="268560"/>
                  </a:cubicBezTo>
                  <a:lnTo>
                    <a:pt x="119184" y="270451"/>
                  </a:lnTo>
                  <a:cubicBezTo>
                    <a:pt x="172139" y="323407"/>
                    <a:pt x="239594" y="353667"/>
                    <a:pt x="305158" y="353667"/>
                  </a:cubicBezTo>
                  <a:cubicBezTo>
                    <a:pt x="308941" y="350515"/>
                    <a:pt x="312723" y="346732"/>
                    <a:pt x="316506" y="343580"/>
                  </a:cubicBezTo>
                  <a:cubicBezTo>
                    <a:pt x="333527" y="326559"/>
                    <a:pt x="346136" y="307016"/>
                    <a:pt x="354962" y="284321"/>
                  </a:cubicBezTo>
                  <a:cubicBezTo>
                    <a:pt x="354962" y="284321"/>
                    <a:pt x="354331" y="282430"/>
                    <a:pt x="353701" y="280538"/>
                  </a:cubicBezTo>
                  <a:cubicBezTo>
                    <a:pt x="327854" y="269191"/>
                    <a:pt x="306419" y="262256"/>
                    <a:pt x="271746" y="254691"/>
                  </a:cubicBezTo>
                  <a:cubicBezTo>
                    <a:pt x="271116" y="254691"/>
                    <a:pt x="269224" y="255321"/>
                    <a:pt x="267963" y="255321"/>
                  </a:cubicBezTo>
                  <a:lnTo>
                    <a:pt x="250942" y="281799"/>
                  </a:lnTo>
                  <a:cubicBezTo>
                    <a:pt x="240225" y="298820"/>
                    <a:pt x="213117" y="301342"/>
                    <a:pt x="192943" y="286842"/>
                  </a:cubicBezTo>
                  <a:cubicBezTo>
                    <a:pt x="175922" y="274864"/>
                    <a:pt x="159531" y="260365"/>
                    <a:pt x="143140" y="244604"/>
                  </a:cubicBezTo>
                  <a:cubicBezTo>
                    <a:pt x="127379" y="228213"/>
                    <a:pt x="112879" y="211192"/>
                    <a:pt x="100271" y="194801"/>
                  </a:cubicBezTo>
                  <a:cubicBezTo>
                    <a:pt x="92076" y="183453"/>
                    <a:pt x="88923" y="170214"/>
                    <a:pt x="90815" y="158236"/>
                  </a:cubicBezTo>
                  <a:cubicBezTo>
                    <a:pt x="92706" y="148780"/>
                    <a:pt x="97749" y="141215"/>
                    <a:pt x="105314" y="136802"/>
                  </a:cubicBezTo>
                  <a:lnTo>
                    <a:pt x="131792" y="119780"/>
                  </a:lnTo>
                  <a:cubicBezTo>
                    <a:pt x="132423" y="118520"/>
                    <a:pt x="132423" y="115998"/>
                    <a:pt x="132423" y="115368"/>
                  </a:cubicBezTo>
                  <a:cubicBezTo>
                    <a:pt x="124857" y="88259"/>
                    <a:pt x="114771" y="57999"/>
                    <a:pt x="105945" y="34043"/>
                  </a:cubicBezTo>
                  <a:cubicBezTo>
                    <a:pt x="104684" y="33413"/>
                    <a:pt x="102793" y="32782"/>
                    <a:pt x="101532" y="32782"/>
                  </a:cubicBezTo>
                  <a:cubicBezTo>
                    <a:pt x="80097" y="40977"/>
                    <a:pt x="60554" y="54217"/>
                    <a:pt x="43533" y="71238"/>
                  </a:cubicBezTo>
                  <a:cubicBezTo>
                    <a:pt x="40381" y="75020"/>
                    <a:pt x="36598" y="78803"/>
                    <a:pt x="33446" y="82586"/>
                  </a:cubicBezTo>
                  <a:lnTo>
                    <a:pt x="33446" y="82586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1" name="Forma Livre: Forma 20">
              <a:extLst>
                <a:ext uri="{FF2B5EF4-FFF2-40B4-BE49-F238E27FC236}">
                  <a16:creationId xmlns:a16="http://schemas.microsoft.com/office/drawing/2014/main" id="{C101BF5B-E9B9-4782-A834-7AD5B6A38024}"/>
                </a:ext>
              </a:extLst>
            </p:cNvPr>
            <p:cNvSpPr/>
            <p:nvPr/>
          </p:nvSpPr>
          <p:spPr>
            <a:xfrm>
              <a:off x="1512827" y="4744159"/>
              <a:ext cx="187235" cy="131127"/>
            </a:xfrm>
            <a:custGeom>
              <a:avLst/>
              <a:gdLst>
                <a:gd name="connsiteX0" fmla="*/ 162019 w 187235"/>
                <a:gd name="connsiteY0" fmla="*/ 131128 h 131127"/>
                <a:gd name="connsiteX1" fmla="*/ 24586 w 187235"/>
                <a:gd name="connsiteY1" fmla="*/ 131128 h 131127"/>
                <a:gd name="connsiteX2" fmla="*/ 0 w 187235"/>
                <a:gd name="connsiteY2" fmla="*/ 106541 h 131127"/>
                <a:gd name="connsiteX3" fmla="*/ 0 w 187235"/>
                <a:gd name="connsiteY3" fmla="*/ 24586 h 131127"/>
                <a:gd name="connsiteX4" fmla="*/ 24586 w 187235"/>
                <a:gd name="connsiteY4" fmla="*/ 0 h 131127"/>
                <a:gd name="connsiteX5" fmla="*/ 162649 w 187235"/>
                <a:gd name="connsiteY5" fmla="*/ 0 h 131127"/>
                <a:gd name="connsiteX6" fmla="*/ 187235 w 187235"/>
                <a:gd name="connsiteY6" fmla="*/ 24586 h 131127"/>
                <a:gd name="connsiteX7" fmla="*/ 187235 w 187235"/>
                <a:gd name="connsiteY7" fmla="*/ 106541 h 131127"/>
                <a:gd name="connsiteX8" fmla="*/ 162019 w 187235"/>
                <a:gd name="connsiteY8" fmla="*/ 131128 h 131127"/>
                <a:gd name="connsiteX9" fmla="*/ 162019 w 187235"/>
                <a:gd name="connsiteY9" fmla="*/ 131128 h 131127"/>
                <a:gd name="connsiteX10" fmla="*/ 33412 w 187235"/>
                <a:gd name="connsiteY10" fmla="*/ 97715 h 131127"/>
                <a:gd name="connsiteX11" fmla="*/ 153193 w 187235"/>
                <a:gd name="connsiteY11" fmla="*/ 97715 h 131127"/>
                <a:gd name="connsiteX12" fmla="*/ 153193 w 187235"/>
                <a:gd name="connsiteY12" fmla="*/ 34043 h 131127"/>
                <a:gd name="connsiteX13" fmla="*/ 33412 w 187235"/>
                <a:gd name="connsiteY13" fmla="*/ 34043 h 131127"/>
                <a:gd name="connsiteX14" fmla="*/ 33412 w 187235"/>
                <a:gd name="connsiteY14" fmla="*/ 97715 h 131127"/>
                <a:gd name="connsiteX15" fmla="*/ 33412 w 187235"/>
                <a:gd name="connsiteY15" fmla="*/ 97715 h 131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7235" h="131127">
                  <a:moveTo>
                    <a:pt x="162019" y="131128"/>
                  </a:moveTo>
                  <a:lnTo>
                    <a:pt x="24586" y="131128"/>
                  </a:lnTo>
                  <a:cubicBezTo>
                    <a:pt x="11348" y="131128"/>
                    <a:pt x="0" y="120411"/>
                    <a:pt x="0" y="106541"/>
                  </a:cubicBezTo>
                  <a:lnTo>
                    <a:pt x="0" y="24586"/>
                  </a:lnTo>
                  <a:cubicBezTo>
                    <a:pt x="0" y="11348"/>
                    <a:pt x="10717" y="0"/>
                    <a:pt x="24586" y="0"/>
                  </a:cubicBezTo>
                  <a:lnTo>
                    <a:pt x="162649" y="0"/>
                  </a:lnTo>
                  <a:cubicBezTo>
                    <a:pt x="175888" y="0"/>
                    <a:pt x="187235" y="10717"/>
                    <a:pt x="187235" y="24586"/>
                  </a:cubicBezTo>
                  <a:lnTo>
                    <a:pt x="187235" y="106541"/>
                  </a:lnTo>
                  <a:cubicBezTo>
                    <a:pt x="186605" y="120411"/>
                    <a:pt x="175257" y="131128"/>
                    <a:pt x="162019" y="131128"/>
                  </a:cubicBezTo>
                  <a:lnTo>
                    <a:pt x="162019" y="131128"/>
                  </a:lnTo>
                  <a:close/>
                  <a:moveTo>
                    <a:pt x="33412" y="97715"/>
                  </a:moveTo>
                  <a:lnTo>
                    <a:pt x="153193" y="97715"/>
                  </a:lnTo>
                  <a:lnTo>
                    <a:pt x="153193" y="34043"/>
                  </a:lnTo>
                  <a:lnTo>
                    <a:pt x="33412" y="34043"/>
                  </a:lnTo>
                  <a:lnTo>
                    <a:pt x="33412" y="97715"/>
                  </a:lnTo>
                  <a:lnTo>
                    <a:pt x="33412" y="97715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2" name="Forma Livre: Forma 21">
              <a:extLst>
                <a:ext uri="{FF2B5EF4-FFF2-40B4-BE49-F238E27FC236}">
                  <a16:creationId xmlns:a16="http://schemas.microsoft.com/office/drawing/2014/main" id="{389B290A-7EC2-4DC0-8AC4-8224BF509C03}"/>
                </a:ext>
              </a:extLst>
            </p:cNvPr>
            <p:cNvSpPr/>
            <p:nvPr/>
          </p:nvSpPr>
          <p:spPr>
            <a:xfrm>
              <a:off x="1541827" y="4673551"/>
              <a:ext cx="131127" cy="102758"/>
            </a:xfrm>
            <a:custGeom>
              <a:avLst/>
              <a:gdLst>
                <a:gd name="connsiteX0" fmla="*/ 113476 w 131127"/>
                <a:gd name="connsiteY0" fmla="*/ 102759 h 102758"/>
                <a:gd name="connsiteX1" fmla="*/ 97085 w 131127"/>
                <a:gd name="connsiteY1" fmla="*/ 86368 h 102758"/>
                <a:gd name="connsiteX2" fmla="*/ 97085 w 131127"/>
                <a:gd name="connsiteY2" fmla="*/ 65564 h 102758"/>
                <a:gd name="connsiteX3" fmla="*/ 64934 w 131127"/>
                <a:gd name="connsiteY3" fmla="*/ 33412 h 102758"/>
                <a:gd name="connsiteX4" fmla="*/ 32782 w 131127"/>
                <a:gd name="connsiteY4" fmla="*/ 65564 h 102758"/>
                <a:gd name="connsiteX5" fmla="*/ 32782 w 131127"/>
                <a:gd name="connsiteY5" fmla="*/ 86368 h 102758"/>
                <a:gd name="connsiteX6" fmla="*/ 16391 w 131127"/>
                <a:gd name="connsiteY6" fmla="*/ 102759 h 102758"/>
                <a:gd name="connsiteX7" fmla="*/ 0 w 131127"/>
                <a:gd name="connsiteY7" fmla="*/ 86368 h 102758"/>
                <a:gd name="connsiteX8" fmla="*/ 0 w 131127"/>
                <a:gd name="connsiteY8" fmla="*/ 65564 h 102758"/>
                <a:gd name="connsiteX9" fmla="*/ 65564 w 131127"/>
                <a:gd name="connsiteY9" fmla="*/ 0 h 102758"/>
                <a:gd name="connsiteX10" fmla="*/ 131128 w 131127"/>
                <a:gd name="connsiteY10" fmla="*/ 65564 h 102758"/>
                <a:gd name="connsiteX11" fmla="*/ 131128 w 131127"/>
                <a:gd name="connsiteY11" fmla="*/ 86368 h 102758"/>
                <a:gd name="connsiteX12" fmla="*/ 113476 w 131127"/>
                <a:gd name="connsiteY12" fmla="*/ 102759 h 102758"/>
                <a:gd name="connsiteX13" fmla="*/ 113476 w 131127"/>
                <a:gd name="connsiteY13" fmla="*/ 102759 h 102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1127" h="102758">
                  <a:moveTo>
                    <a:pt x="113476" y="102759"/>
                  </a:moveTo>
                  <a:cubicBezTo>
                    <a:pt x="104020" y="102759"/>
                    <a:pt x="97085" y="95194"/>
                    <a:pt x="97085" y="86368"/>
                  </a:cubicBezTo>
                  <a:lnTo>
                    <a:pt x="97085" y="65564"/>
                  </a:lnTo>
                  <a:cubicBezTo>
                    <a:pt x="97085" y="47912"/>
                    <a:pt x="82585" y="33412"/>
                    <a:pt x="64934" y="33412"/>
                  </a:cubicBezTo>
                  <a:cubicBezTo>
                    <a:pt x="47282" y="33412"/>
                    <a:pt x="32782" y="47912"/>
                    <a:pt x="32782" y="65564"/>
                  </a:cubicBezTo>
                  <a:lnTo>
                    <a:pt x="32782" y="86368"/>
                  </a:lnTo>
                  <a:cubicBezTo>
                    <a:pt x="32782" y="95824"/>
                    <a:pt x="25217" y="102759"/>
                    <a:pt x="16391" y="102759"/>
                  </a:cubicBezTo>
                  <a:cubicBezTo>
                    <a:pt x="6935" y="102759"/>
                    <a:pt x="0" y="95194"/>
                    <a:pt x="0" y="86368"/>
                  </a:cubicBezTo>
                  <a:lnTo>
                    <a:pt x="0" y="65564"/>
                  </a:lnTo>
                  <a:cubicBezTo>
                    <a:pt x="0" y="28999"/>
                    <a:pt x="29630" y="0"/>
                    <a:pt x="65564" y="0"/>
                  </a:cubicBezTo>
                  <a:cubicBezTo>
                    <a:pt x="101498" y="0"/>
                    <a:pt x="131128" y="29630"/>
                    <a:pt x="131128" y="65564"/>
                  </a:cubicBezTo>
                  <a:lnTo>
                    <a:pt x="131128" y="86368"/>
                  </a:lnTo>
                  <a:cubicBezTo>
                    <a:pt x="129867" y="95194"/>
                    <a:pt x="122302" y="102759"/>
                    <a:pt x="113476" y="102759"/>
                  </a:cubicBezTo>
                  <a:lnTo>
                    <a:pt x="113476" y="102759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3" name="Forma Livre: Forma 22">
              <a:extLst>
                <a:ext uri="{FF2B5EF4-FFF2-40B4-BE49-F238E27FC236}">
                  <a16:creationId xmlns:a16="http://schemas.microsoft.com/office/drawing/2014/main" id="{C2BFF3B5-E1CE-40BB-9914-40F579CC69B3}"/>
                </a:ext>
              </a:extLst>
            </p:cNvPr>
            <p:cNvSpPr/>
            <p:nvPr/>
          </p:nvSpPr>
          <p:spPr>
            <a:xfrm>
              <a:off x="1590369" y="4783875"/>
              <a:ext cx="31521" cy="47281"/>
            </a:xfrm>
            <a:custGeom>
              <a:avLst/>
              <a:gdLst>
                <a:gd name="connsiteX0" fmla="*/ 15761 w 31521"/>
                <a:gd name="connsiteY0" fmla="*/ 0 h 47281"/>
                <a:gd name="connsiteX1" fmla="*/ 0 w 31521"/>
                <a:gd name="connsiteY1" fmla="*/ 15761 h 47281"/>
                <a:gd name="connsiteX2" fmla="*/ 8195 w 31521"/>
                <a:gd name="connsiteY2" fmla="*/ 29630 h 47281"/>
                <a:gd name="connsiteX3" fmla="*/ 8195 w 31521"/>
                <a:gd name="connsiteY3" fmla="*/ 47282 h 47281"/>
                <a:gd name="connsiteX4" fmla="*/ 23326 w 31521"/>
                <a:gd name="connsiteY4" fmla="*/ 47282 h 47281"/>
                <a:gd name="connsiteX5" fmla="*/ 23326 w 31521"/>
                <a:gd name="connsiteY5" fmla="*/ 29630 h 47281"/>
                <a:gd name="connsiteX6" fmla="*/ 31521 w 31521"/>
                <a:gd name="connsiteY6" fmla="*/ 15761 h 47281"/>
                <a:gd name="connsiteX7" fmla="*/ 15761 w 31521"/>
                <a:gd name="connsiteY7" fmla="*/ 0 h 47281"/>
                <a:gd name="connsiteX8" fmla="*/ 15761 w 31521"/>
                <a:gd name="connsiteY8" fmla="*/ 0 h 47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521" h="47281">
                  <a:moveTo>
                    <a:pt x="15761" y="0"/>
                  </a:moveTo>
                  <a:cubicBezTo>
                    <a:pt x="6935" y="0"/>
                    <a:pt x="0" y="6934"/>
                    <a:pt x="0" y="15761"/>
                  </a:cubicBezTo>
                  <a:cubicBezTo>
                    <a:pt x="0" y="22065"/>
                    <a:pt x="3152" y="27108"/>
                    <a:pt x="8195" y="29630"/>
                  </a:cubicBezTo>
                  <a:lnTo>
                    <a:pt x="8195" y="47282"/>
                  </a:lnTo>
                  <a:lnTo>
                    <a:pt x="23326" y="47282"/>
                  </a:lnTo>
                  <a:lnTo>
                    <a:pt x="23326" y="29630"/>
                  </a:lnTo>
                  <a:cubicBezTo>
                    <a:pt x="28369" y="27108"/>
                    <a:pt x="31521" y="21435"/>
                    <a:pt x="31521" y="15761"/>
                  </a:cubicBezTo>
                  <a:cubicBezTo>
                    <a:pt x="31521" y="7565"/>
                    <a:pt x="24586" y="0"/>
                    <a:pt x="15761" y="0"/>
                  </a:cubicBezTo>
                  <a:lnTo>
                    <a:pt x="15761" y="0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4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7439979" y="4664095"/>
            <a:ext cx="412376" cy="412296"/>
            <a:chOff x="7439979" y="4664095"/>
            <a:chExt cx="412376" cy="412296"/>
          </a:xfrm>
          <a:solidFill>
            <a:srgbClr val="B1B1A1"/>
          </a:solidFill>
        </p:grpSpPr>
        <p:sp>
          <p:nvSpPr>
            <p:cNvPr id="25" name="Forma Livre: Forma 24">
              <a:extLst>
                <a:ext uri="{FF2B5EF4-FFF2-40B4-BE49-F238E27FC236}">
                  <a16:creationId xmlns:a16="http://schemas.microsoft.com/office/drawing/2014/main" id="{B5989BA9-208C-4574-9C9E-FCD3306BEA56}"/>
                </a:ext>
              </a:extLst>
            </p:cNvPr>
            <p:cNvSpPr/>
            <p:nvPr/>
          </p:nvSpPr>
          <p:spPr>
            <a:xfrm>
              <a:off x="7439979" y="4717051"/>
              <a:ext cx="358731" cy="359340"/>
            </a:xfrm>
            <a:custGeom>
              <a:avLst/>
              <a:gdLst>
                <a:gd name="connsiteX0" fmla="*/ 281879 w 358731"/>
                <a:gd name="connsiteY0" fmla="*/ 359341 h 359340"/>
                <a:gd name="connsiteX1" fmla="*/ 87709 w 358731"/>
                <a:gd name="connsiteY1" fmla="*/ 272973 h 359340"/>
                <a:gd name="connsiteX2" fmla="*/ 86448 w 358731"/>
                <a:gd name="connsiteY2" fmla="*/ 271712 h 359340"/>
                <a:gd name="connsiteX3" fmla="*/ 80 w 358731"/>
                <a:gd name="connsiteY3" fmla="*/ 71868 h 359340"/>
                <a:gd name="connsiteX4" fmla="*/ 80 w 358731"/>
                <a:gd name="connsiteY4" fmla="*/ 66194 h 359340"/>
                <a:gd name="connsiteX5" fmla="*/ 3863 w 358731"/>
                <a:gd name="connsiteY5" fmla="*/ 61781 h 359340"/>
                <a:gd name="connsiteX6" fmla="*/ 18993 w 358731"/>
                <a:gd name="connsiteY6" fmla="*/ 44760 h 359340"/>
                <a:gd name="connsiteX7" fmla="*/ 84557 w 358731"/>
                <a:gd name="connsiteY7" fmla="*/ 1891 h 359340"/>
                <a:gd name="connsiteX8" fmla="*/ 95274 w 358731"/>
                <a:gd name="connsiteY8" fmla="*/ 0 h 359340"/>
                <a:gd name="connsiteX9" fmla="*/ 128056 w 358731"/>
                <a:gd name="connsiteY9" fmla="*/ 18282 h 359340"/>
                <a:gd name="connsiteX10" fmla="*/ 154534 w 358731"/>
                <a:gd name="connsiteY10" fmla="*/ 100868 h 359340"/>
                <a:gd name="connsiteX11" fmla="*/ 142556 w 358731"/>
                <a:gd name="connsiteY11" fmla="*/ 137432 h 359340"/>
                <a:gd name="connsiteX12" fmla="*/ 116709 w 358731"/>
                <a:gd name="connsiteY12" fmla="*/ 153823 h 359340"/>
                <a:gd name="connsiteX13" fmla="*/ 119861 w 358731"/>
                <a:gd name="connsiteY13" fmla="*/ 162018 h 359340"/>
                <a:gd name="connsiteX14" fmla="*/ 155795 w 358731"/>
                <a:gd name="connsiteY14" fmla="*/ 204257 h 359340"/>
                <a:gd name="connsiteX15" fmla="*/ 197403 w 358731"/>
                <a:gd name="connsiteY15" fmla="*/ 240191 h 359340"/>
                <a:gd name="connsiteX16" fmla="*/ 204968 w 358731"/>
                <a:gd name="connsiteY16" fmla="*/ 243343 h 359340"/>
                <a:gd name="connsiteX17" fmla="*/ 204968 w 358731"/>
                <a:gd name="connsiteY17" fmla="*/ 243343 h 359340"/>
                <a:gd name="connsiteX18" fmla="*/ 221359 w 358731"/>
                <a:gd name="connsiteY18" fmla="*/ 217496 h 359340"/>
                <a:gd name="connsiteX19" fmla="*/ 250989 w 358731"/>
                <a:gd name="connsiteY19" fmla="*/ 204887 h 359340"/>
                <a:gd name="connsiteX20" fmla="*/ 257293 w 358731"/>
                <a:gd name="connsiteY20" fmla="*/ 205518 h 359340"/>
                <a:gd name="connsiteX21" fmla="*/ 341770 w 358731"/>
                <a:gd name="connsiteY21" fmla="*/ 232626 h 359340"/>
                <a:gd name="connsiteX22" fmla="*/ 356900 w 358731"/>
                <a:gd name="connsiteY22" fmla="*/ 275494 h 359340"/>
                <a:gd name="connsiteX23" fmla="*/ 314661 w 358731"/>
                <a:gd name="connsiteY23" fmla="*/ 341058 h 359340"/>
                <a:gd name="connsiteX24" fmla="*/ 297640 w 358731"/>
                <a:gd name="connsiteY24" fmla="*/ 356189 h 359340"/>
                <a:gd name="connsiteX25" fmla="*/ 293227 w 358731"/>
                <a:gd name="connsiteY25" fmla="*/ 359341 h 359340"/>
                <a:gd name="connsiteX26" fmla="*/ 281879 w 358731"/>
                <a:gd name="connsiteY26" fmla="*/ 359341 h 359340"/>
                <a:gd name="connsiteX27" fmla="*/ 281879 w 358731"/>
                <a:gd name="connsiteY27" fmla="*/ 359341 h 359340"/>
                <a:gd name="connsiteX28" fmla="*/ 109774 w 358731"/>
                <a:gd name="connsiteY28" fmla="*/ 247756 h 359340"/>
                <a:gd name="connsiteX29" fmla="*/ 111665 w 358731"/>
                <a:gd name="connsiteY29" fmla="*/ 249647 h 359340"/>
                <a:gd name="connsiteX30" fmla="*/ 281249 w 358731"/>
                <a:gd name="connsiteY30" fmla="*/ 325928 h 359340"/>
                <a:gd name="connsiteX31" fmla="*/ 290705 w 358731"/>
                <a:gd name="connsiteY31" fmla="*/ 317102 h 359340"/>
                <a:gd name="connsiteX32" fmla="*/ 325379 w 358731"/>
                <a:gd name="connsiteY32" fmla="*/ 264147 h 359340"/>
                <a:gd name="connsiteX33" fmla="*/ 324748 w 358731"/>
                <a:gd name="connsiteY33" fmla="*/ 260995 h 359340"/>
                <a:gd name="connsiteX34" fmla="*/ 250358 w 358731"/>
                <a:gd name="connsiteY34" fmla="*/ 237669 h 359340"/>
                <a:gd name="connsiteX35" fmla="*/ 247836 w 358731"/>
                <a:gd name="connsiteY35" fmla="*/ 238300 h 359340"/>
                <a:gd name="connsiteX36" fmla="*/ 232706 w 358731"/>
                <a:gd name="connsiteY36" fmla="*/ 262256 h 359340"/>
                <a:gd name="connsiteX37" fmla="*/ 177229 w 358731"/>
                <a:gd name="connsiteY37" fmla="*/ 267299 h 359340"/>
                <a:gd name="connsiteX38" fmla="*/ 131208 w 358731"/>
                <a:gd name="connsiteY38" fmla="*/ 228213 h 359340"/>
                <a:gd name="connsiteX39" fmla="*/ 92122 w 358731"/>
                <a:gd name="connsiteY39" fmla="*/ 182192 h 359340"/>
                <a:gd name="connsiteX40" fmla="*/ 83296 w 358731"/>
                <a:gd name="connsiteY40" fmla="*/ 147519 h 359340"/>
                <a:gd name="connsiteX41" fmla="*/ 97165 w 358731"/>
                <a:gd name="connsiteY41" fmla="*/ 126715 h 359340"/>
                <a:gd name="connsiteX42" fmla="*/ 121122 w 358731"/>
                <a:gd name="connsiteY42" fmla="*/ 111584 h 359340"/>
                <a:gd name="connsiteX43" fmla="*/ 121752 w 358731"/>
                <a:gd name="connsiteY43" fmla="*/ 108432 h 359340"/>
                <a:gd name="connsiteX44" fmla="*/ 97796 w 358731"/>
                <a:gd name="connsiteY44" fmla="*/ 34673 h 359340"/>
                <a:gd name="connsiteX45" fmla="*/ 95274 w 358731"/>
                <a:gd name="connsiteY45" fmla="*/ 34043 h 359340"/>
                <a:gd name="connsiteX46" fmla="*/ 42319 w 358731"/>
                <a:gd name="connsiteY46" fmla="*/ 68716 h 359340"/>
                <a:gd name="connsiteX47" fmla="*/ 33493 w 358731"/>
                <a:gd name="connsiteY47" fmla="*/ 78172 h 359340"/>
                <a:gd name="connsiteX48" fmla="*/ 109774 w 358731"/>
                <a:gd name="connsiteY48" fmla="*/ 247756 h 359340"/>
                <a:gd name="connsiteX49" fmla="*/ 109774 w 358731"/>
                <a:gd name="connsiteY49" fmla="*/ 247756 h 35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358731" h="359340">
                  <a:moveTo>
                    <a:pt x="281879" y="359341"/>
                  </a:moveTo>
                  <a:cubicBezTo>
                    <a:pt x="213163" y="359341"/>
                    <a:pt x="142556" y="327820"/>
                    <a:pt x="87709" y="272973"/>
                  </a:cubicBezTo>
                  <a:lnTo>
                    <a:pt x="86448" y="271712"/>
                  </a:lnTo>
                  <a:cubicBezTo>
                    <a:pt x="29710" y="214344"/>
                    <a:pt x="-1811" y="141845"/>
                    <a:pt x="80" y="71868"/>
                  </a:cubicBezTo>
                  <a:lnTo>
                    <a:pt x="80" y="66194"/>
                  </a:lnTo>
                  <a:lnTo>
                    <a:pt x="3863" y="61781"/>
                  </a:lnTo>
                  <a:cubicBezTo>
                    <a:pt x="8906" y="55477"/>
                    <a:pt x="13950" y="49803"/>
                    <a:pt x="18993" y="44760"/>
                  </a:cubicBezTo>
                  <a:cubicBezTo>
                    <a:pt x="37906" y="25847"/>
                    <a:pt x="59971" y="11978"/>
                    <a:pt x="84557" y="1891"/>
                  </a:cubicBezTo>
                  <a:cubicBezTo>
                    <a:pt x="87709" y="630"/>
                    <a:pt x="91492" y="0"/>
                    <a:pt x="95274" y="0"/>
                  </a:cubicBezTo>
                  <a:cubicBezTo>
                    <a:pt x="104100" y="0"/>
                    <a:pt x="123013" y="4413"/>
                    <a:pt x="128056" y="18282"/>
                  </a:cubicBezTo>
                  <a:cubicBezTo>
                    <a:pt x="136252" y="41608"/>
                    <a:pt x="146969" y="71868"/>
                    <a:pt x="154534" y="100868"/>
                  </a:cubicBezTo>
                  <a:cubicBezTo>
                    <a:pt x="157055" y="109063"/>
                    <a:pt x="154534" y="129867"/>
                    <a:pt x="142556" y="137432"/>
                  </a:cubicBezTo>
                  <a:lnTo>
                    <a:pt x="116709" y="153823"/>
                  </a:lnTo>
                  <a:cubicBezTo>
                    <a:pt x="116709" y="155084"/>
                    <a:pt x="117339" y="158236"/>
                    <a:pt x="119861" y="162018"/>
                  </a:cubicBezTo>
                  <a:cubicBezTo>
                    <a:pt x="129947" y="176518"/>
                    <a:pt x="142556" y="190387"/>
                    <a:pt x="155795" y="204257"/>
                  </a:cubicBezTo>
                  <a:cubicBezTo>
                    <a:pt x="169664" y="217496"/>
                    <a:pt x="183533" y="229474"/>
                    <a:pt x="197403" y="240191"/>
                  </a:cubicBezTo>
                  <a:cubicBezTo>
                    <a:pt x="201185" y="243343"/>
                    <a:pt x="204337" y="243343"/>
                    <a:pt x="204968" y="243343"/>
                  </a:cubicBezTo>
                  <a:cubicBezTo>
                    <a:pt x="204968" y="243343"/>
                    <a:pt x="204968" y="243343"/>
                    <a:pt x="204968" y="243343"/>
                  </a:cubicBezTo>
                  <a:lnTo>
                    <a:pt x="221359" y="217496"/>
                  </a:lnTo>
                  <a:cubicBezTo>
                    <a:pt x="228924" y="205518"/>
                    <a:pt x="248467" y="204887"/>
                    <a:pt x="250989" y="204887"/>
                  </a:cubicBezTo>
                  <a:cubicBezTo>
                    <a:pt x="253510" y="204887"/>
                    <a:pt x="255402" y="204887"/>
                    <a:pt x="257293" y="205518"/>
                  </a:cubicBezTo>
                  <a:cubicBezTo>
                    <a:pt x="293227" y="213713"/>
                    <a:pt x="314661" y="220648"/>
                    <a:pt x="341770" y="232626"/>
                  </a:cubicBezTo>
                  <a:cubicBezTo>
                    <a:pt x="354378" y="238300"/>
                    <a:pt x="362573" y="260995"/>
                    <a:pt x="356900" y="275494"/>
                  </a:cubicBezTo>
                  <a:cubicBezTo>
                    <a:pt x="347444" y="300081"/>
                    <a:pt x="332943" y="322146"/>
                    <a:pt x="314661" y="341058"/>
                  </a:cubicBezTo>
                  <a:cubicBezTo>
                    <a:pt x="309618" y="346102"/>
                    <a:pt x="303944" y="351145"/>
                    <a:pt x="297640" y="356189"/>
                  </a:cubicBezTo>
                  <a:lnTo>
                    <a:pt x="293227" y="359341"/>
                  </a:lnTo>
                  <a:lnTo>
                    <a:pt x="281879" y="359341"/>
                  </a:lnTo>
                  <a:lnTo>
                    <a:pt x="281879" y="359341"/>
                  </a:lnTo>
                  <a:close/>
                  <a:moveTo>
                    <a:pt x="109774" y="247756"/>
                  </a:moveTo>
                  <a:lnTo>
                    <a:pt x="111665" y="249647"/>
                  </a:lnTo>
                  <a:cubicBezTo>
                    <a:pt x="159577" y="297559"/>
                    <a:pt x="221359" y="325928"/>
                    <a:pt x="281249" y="325928"/>
                  </a:cubicBezTo>
                  <a:cubicBezTo>
                    <a:pt x="284401" y="322776"/>
                    <a:pt x="288184" y="320255"/>
                    <a:pt x="290705" y="317102"/>
                  </a:cubicBezTo>
                  <a:cubicBezTo>
                    <a:pt x="305835" y="301972"/>
                    <a:pt x="317183" y="284320"/>
                    <a:pt x="325379" y="264147"/>
                  </a:cubicBezTo>
                  <a:cubicBezTo>
                    <a:pt x="325379" y="263517"/>
                    <a:pt x="324748" y="262256"/>
                    <a:pt x="324748" y="260995"/>
                  </a:cubicBezTo>
                  <a:cubicBezTo>
                    <a:pt x="301422" y="250908"/>
                    <a:pt x="281879" y="244604"/>
                    <a:pt x="250358" y="237669"/>
                  </a:cubicBezTo>
                  <a:cubicBezTo>
                    <a:pt x="249728" y="237669"/>
                    <a:pt x="249097" y="238300"/>
                    <a:pt x="247836" y="238300"/>
                  </a:cubicBezTo>
                  <a:lnTo>
                    <a:pt x="232706" y="262256"/>
                  </a:lnTo>
                  <a:cubicBezTo>
                    <a:pt x="222620" y="278016"/>
                    <a:pt x="196142" y="281168"/>
                    <a:pt x="177229" y="267299"/>
                  </a:cubicBezTo>
                  <a:cubicBezTo>
                    <a:pt x="162099" y="255951"/>
                    <a:pt x="146339" y="242713"/>
                    <a:pt x="131208" y="228213"/>
                  </a:cubicBezTo>
                  <a:cubicBezTo>
                    <a:pt x="116078" y="213083"/>
                    <a:pt x="103470" y="197322"/>
                    <a:pt x="92122" y="182192"/>
                  </a:cubicBezTo>
                  <a:cubicBezTo>
                    <a:pt x="84557" y="171475"/>
                    <a:pt x="81405" y="158866"/>
                    <a:pt x="83296" y="147519"/>
                  </a:cubicBezTo>
                  <a:cubicBezTo>
                    <a:pt x="85188" y="138693"/>
                    <a:pt x="90231" y="131128"/>
                    <a:pt x="97165" y="126715"/>
                  </a:cubicBezTo>
                  <a:lnTo>
                    <a:pt x="121122" y="111584"/>
                  </a:lnTo>
                  <a:cubicBezTo>
                    <a:pt x="121122" y="110324"/>
                    <a:pt x="121752" y="109063"/>
                    <a:pt x="121752" y="108432"/>
                  </a:cubicBezTo>
                  <a:cubicBezTo>
                    <a:pt x="115448" y="83846"/>
                    <a:pt x="105991" y="56738"/>
                    <a:pt x="97796" y="34673"/>
                  </a:cubicBezTo>
                  <a:cubicBezTo>
                    <a:pt x="97165" y="34673"/>
                    <a:pt x="95905" y="34043"/>
                    <a:pt x="95274" y="34043"/>
                  </a:cubicBezTo>
                  <a:cubicBezTo>
                    <a:pt x="75101" y="42238"/>
                    <a:pt x="57449" y="53586"/>
                    <a:pt x="42319" y="68716"/>
                  </a:cubicBezTo>
                  <a:cubicBezTo>
                    <a:pt x="39167" y="71868"/>
                    <a:pt x="36645" y="75020"/>
                    <a:pt x="33493" y="78172"/>
                  </a:cubicBezTo>
                  <a:cubicBezTo>
                    <a:pt x="33493" y="136801"/>
                    <a:pt x="61862" y="199844"/>
                    <a:pt x="109774" y="247756"/>
                  </a:cubicBezTo>
                  <a:lnTo>
                    <a:pt x="109774" y="247756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26" name="Gráfico 2">
              <a:extLst>
                <a:ext uri="{FF2B5EF4-FFF2-40B4-BE49-F238E27FC236}">
                  <a16:creationId xmlns:a16="http://schemas.microsoft.com/office/drawing/2014/main" id="{1EC2913E-D059-42A1-91F3-F6BAB2F166E6}"/>
                </a:ext>
              </a:extLst>
            </p:cNvPr>
            <p:cNvGrpSpPr/>
            <p:nvPr/>
          </p:nvGrpSpPr>
          <p:grpSpPr>
            <a:xfrm>
              <a:off x="7611535" y="4756767"/>
              <a:ext cx="176518" cy="121671"/>
              <a:chOff x="7611535" y="4756767"/>
              <a:chExt cx="176518" cy="121671"/>
            </a:xfrm>
            <a:grpFill/>
          </p:grpSpPr>
          <p:sp>
            <p:nvSpPr>
              <p:cNvPr id="27" name="Forma Livre: Forma 26">
                <a:extLst>
                  <a:ext uri="{FF2B5EF4-FFF2-40B4-BE49-F238E27FC236}">
                    <a16:creationId xmlns:a16="http://schemas.microsoft.com/office/drawing/2014/main" id="{BB279B1E-0802-49B7-9137-B0CB87384F3A}"/>
                  </a:ext>
                </a:extLst>
              </p:cNvPr>
              <p:cNvSpPr/>
              <p:nvPr/>
            </p:nvSpPr>
            <p:spPr>
              <a:xfrm>
                <a:off x="7611535" y="4757397"/>
                <a:ext cx="83215" cy="117258"/>
              </a:xfrm>
              <a:custGeom>
                <a:avLst/>
                <a:gdLst>
                  <a:gd name="connsiteX0" fmla="*/ 28999 w 83215"/>
                  <a:gd name="connsiteY0" fmla="*/ 98346 h 117258"/>
                  <a:gd name="connsiteX1" fmla="*/ 70607 w 83215"/>
                  <a:gd name="connsiteY1" fmla="*/ 98346 h 117258"/>
                  <a:gd name="connsiteX2" fmla="*/ 80063 w 83215"/>
                  <a:gd name="connsiteY2" fmla="*/ 100868 h 117258"/>
                  <a:gd name="connsiteX3" fmla="*/ 83215 w 83215"/>
                  <a:gd name="connsiteY3" fmla="*/ 107802 h 117258"/>
                  <a:gd name="connsiteX4" fmla="*/ 80694 w 83215"/>
                  <a:gd name="connsiteY4" fmla="*/ 114737 h 117258"/>
                  <a:gd name="connsiteX5" fmla="*/ 72499 w 83215"/>
                  <a:gd name="connsiteY5" fmla="*/ 117259 h 117258"/>
                  <a:gd name="connsiteX6" fmla="*/ 13239 w 83215"/>
                  <a:gd name="connsiteY6" fmla="*/ 117259 h 117258"/>
                  <a:gd name="connsiteX7" fmla="*/ 3782 w 83215"/>
                  <a:gd name="connsiteY7" fmla="*/ 114107 h 117258"/>
                  <a:gd name="connsiteX8" fmla="*/ 630 w 83215"/>
                  <a:gd name="connsiteY8" fmla="*/ 106542 h 117258"/>
                  <a:gd name="connsiteX9" fmla="*/ 2521 w 83215"/>
                  <a:gd name="connsiteY9" fmla="*/ 98976 h 117258"/>
                  <a:gd name="connsiteX10" fmla="*/ 6934 w 83215"/>
                  <a:gd name="connsiteY10" fmla="*/ 91411 h 117258"/>
                  <a:gd name="connsiteX11" fmla="*/ 26477 w 83215"/>
                  <a:gd name="connsiteY11" fmla="*/ 72499 h 117258"/>
                  <a:gd name="connsiteX12" fmla="*/ 38456 w 83215"/>
                  <a:gd name="connsiteY12" fmla="*/ 62412 h 117258"/>
                  <a:gd name="connsiteX13" fmla="*/ 49173 w 83215"/>
                  <a:gd name="connsiteY13" fmla="*/ 52956 h 117258"/>
                  <a:gd name="connsiteX14" fmla="*/ 56107 w 83215"/>
                  <a:gd name="connsiteY14" fmla="*/ 43499 h 117258"/>
                  <a:gd name="connsiteX15" fmla="*/ 58629 w 83215"/>
                  <a:gd name="connsiteY15" fmla="*/ 34043 h 117258"/>
                  <a:gd name="connsiteX16" fmla="*/ 56107 w 83215"/>
                  <a:gd name="connsiteY16" fmla="*/ 24587 h 117258"/>
                  <a:gd name="connsiteX17" fmla="*/ 49173 w 83215"/>
                  <a:gd name="connsiteY17" fmla="*/ 18282 h 117258"/>
                  <a:gd name="connsiteX18" fmla="*/ 39717 w 83215"/>
                  <a:gd name="connsiteY18" fmla="*/ 15761 h 117258"/>
                  <a:gd name="connsiteX19" fmla="*/ 23325 w 83215"/>
                  <a:gd name="connsiteY19" fmla="*/ 25217 h 117258"/>
                  <a:gd name="connsiteX20" fmla="*/ 20804 w 83215"/>
                  <a:gd name="connsiteY20" fmla="*/ 31521 h 117258"/>
                  <a:gd name="connsiteX21" fmla="*/ 16391 w 83215"/>
                  <a:gd name="connsiteY21" fmla="*/ 39717 h 117258"/>
                  <a:gd name="connsiteX22" fmla="*/ 9456 w 83215"/>
                  <a:gd name="connsiteY22" fmla="*/ 42869 h 117258"/>
                  <a:gd name="connsiteX23" fmla="*/ 2521 w 83215"/>
                  <a:gd name="connsiteY23" fmla="*/ 40347 h 117258"/>
                  <a:gd name="connsiteX24" fmla="*/ 0 w 83215"/>
                  <a:gd name="connsiteY24" fmla="*/ 33412 h 117258"/>
                  <a:gd name="connsiteX25" fmla="*/ 2521 w 83215"/>
                  <a:gd name="connsiteY25" fmla="*/ 22065 h 117258"/>
                  <a:gd name="connsiteX26" fmla="*/ 10087 w 83215"/>
                  <a:gd name="connsiteY26" fmla="*/ 11348 h 117258"/>
                  <a:gd name="connsiteX27" fmla="*/ 22695 w 83215"/>
                  <a:gd name="connsiteY27" fmla="*/ 3152 h 117258"/>
                  <a:gd name="connsiteX28" fmla="*/ 40347 w 83215"/>
                  <a:gd name="connsiteY28" fmla="*/ 0 h 117258"/>
                  <a:gd name="connsiteX29" fmla="*/ 61151 w 83215"/>
                  <a:gd name="connsiteY29" fmla="*/ 3783 h 117258"/>
                  <a:gd name="connsiteX30" fmla="*/ 71238 w 83215"/>
                  <a:gd name="connsiteY30" fmla="*/ 10717 h 117258"/>
                  <a:gd name="connsiteX31" fmla="*/ 77542 w 83215"/>
                  <a:gd name="connsiteY31" fmla="*/ 20804 h 117258"/>
                  <a:gd name="connsiteX32" fmla="*/ 80063 w 83215"/>
                  <a:gd name="connsiteY32" fmla="*/ 32782 h 117258"/>
                  <a:gd name="connsiteX33" fmla="*/ 75020 w 83215"/>
                  <a:gd name="connsiteY33" fmla="*/ 51064 h 117258"/>
                  <a:gd name="connsiteX34" fmla="*/ 64933 w 83215"/>
                  <a:gd name="connsiteY34" fmla="*/ 63673 h 117258"/>
                  <a:gd name="connsiteX35" fmla="*/ 47912 w 83215"/>
                  <a:gd name="connsiteY35" fmla="*/ 78173 h 117258"/>
                  <a:gd name="connsiteX36" fmla="*/ 31521 w 83215"/>
                  <a:gd name="connsiteY36" fmla="*/ 93302 h 117258"/>
                  <a:gd name="connsiteX37" fmla="*/ 28999 w 83215"/>
                  <a:gd name="connsiteY37" fmla="*/ 98346 h 117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83215" h="117258">
                    <a:moveTo>
                      <a:pt x="28999" y="98346"/>
                    </a:moveTo>
                    <a:lnTo>
                      <a:pt x="70607" y="98346"/>
                    </a:lnTo>
                    <a:cubicBezTo>
                      <a:pt x="75020" y="98346"/>
                      <a:pt x="78172" y="98976"/>
                      <a:pt x="80063" y="100868"/>
                    </a:cubicBezTo>
                    <a:cubicBezTo>
                      <a:pt x="81955" y="102759"/>
                      <a:pt x="83215" y="104650"/>
                      <a:pt x="83215" y="107802"/>
                    </a:cubicBezTo>
                    <a:cubicBezTo>
                      <a:pt x="83215" y="110324"/>
                      <a:pt x="82585" y="112846"/>
                      <a:pt x="80694" y="114737"/>
                    </a:cubicBezTo>
                    <a:cubicBezTo>
                      <a:pt x="78803" y="116628"/>
                      <a:pt x="76281" y="117259"/>
                      <a:pt x="72499" y="117259"/>
                    </a:cubicBezTo>
                    <a:lnTo>
                      <a:pt x="13239" y="117259"/>
                    </a:lnTo>
                    <a:cubicBezTo>
                      <a:pt x="9456" y="117259"/>
                      <a:pt x="6304" y="115998"/>
                      <a:pt x="3782" y="114107"/>
                    </a:cubicBezTo>
                    <a:cubicBezTo>
                      <a:pt x="1261" y="111585"/>
                      <a:pt x="630" y="109063"/>
                      <a:pt x="630" y="106542"/>
                    </a:cubicBezTo>
                    <a:cubicBezTo>
                      <a:pt x="630" y="104650"/>
                      <a:pt x="1261" y="102129"/>
                      <a:pt x="2521" y="98976"/>
                    </a:cubicBezTo>
                    <a:cubicBezTo>
                      <a:pt x="3782" y="95824"/>
                      <a:pt x="5674" y="93302"/>
                      <a:pt x="6934" y="91411"/>
                    </a:cubicBezTo>
                    <a:cubicBezTo>
                      <a:pt x="13869" y="83846"/>
                      <a:pt x="20173" y="77542"/>
                      <a:pt x="26477" y="72499"/>
                    </a:cubicBezTo>
                    <a:cubicBezTo>
                      <a:pt x="32151" y="67455"/>
                      <a:pt x="36564" y="63673"/>
                      <a:pt x="38456" y="62412"/>
                    </a:cubicBezTo>
                    <a:cubicBezTo>
                      <a:pt x="42869" y="59260"/>
                      <a:pt x="46651" y="56108"/>
                      <a:pt x="49173" y="52956"/>
                    </a:cubicBezTo>
                    <a:cubicBezTo>
                      <a:pt x="52325" y="49804"/>
                      <a:pt x="54216" y="46651"/>
                      <a:pt x="56107" y="43499"/>
                    </a:cubicBezTo>
                    <a:cubicBezTo>
                      <a:pt x="57368" y="40347"/>
                      <a:pt x="58629" y="37195"/>
                      <a:pt x="58629" y="34043"/>
                    </a:cubicBezTo>
                    <a:cubicBezTo>
                      <a:pt x="58629" y="30891"/>
                      <a:pt x="57999" y="27739"/>
                      <a:pt x="56107" y="24587"/>
                    </a:cubicBezTo>
                    <a:cubicBezTo>
                      <a:pt x="54216" y="22065"/>
                      <a:pt x="52325" y="19543"/>
                      <a:pt x="49173" y="18282"/>
                    </a:cubicBezTo>
                    <a:cubicBezTo>
                      <a:pt x="46651" y="17021"/>
                      <a:pt x="43499" y="15761"/>
                      <a:pt x="39717" y="15761"/>
                    </a:cubicBezTo>
                    <a:cubicBezTo>
                      <a:pt x="32782" y="15761"/>
                      <a:pt x="27108" y="18913"/>
                      <a:pt x="23325" y="25217"/>
                    </a:cubicBezTo>
                    <a:cubicBezTo>
                      <a:pt x="22695" y="25848"/>
                      <a:pt x="22065" y="28369"/>
                      <a:pt x="20804" y="31521"/>
                    </a:cubicBezTo>
                    <a:cubicBezTo>
                      <a:pt x="19543" y="35304"/>
                      <a:pt x="18282" y="37825"/>
                      <a:pt x="16391" y="39717"/>
                    </a:cubicBezTo>
                    <a:cubicBezTo>
                      <a:pt x="14500" y="41608"/>
                      <a:pt x="12608" y="42869"/>
                      <a:pt x="9456" y="42869"/>
                    </a:cubicBezTo>
                    <a:cubicBezTo>
                      <a:pt x="6934" y="42869"/>
                      <a:pt x="4413" y="42238"/>
                      <a:pt x="2521" y="40347"/>
                    </a:cubicBezTo>
                    <a:cubicBezTo>
                      <a:pt x="630" y="38456"/>
                      <a:pt x="0" y="35934"/>
                      <a:pt x="0" y="33412"/>
                    </a:cubicBezTo>
                    <a:cubicBezTo>
                      <a:pt x="0" y="29630"/>
                      <a:pt x="630" y="25848"/>
                      <a:pt x="2521" y="22065"/>
                    </a:cubicBezTo>
                    <a:cubicBezTo>
                      <a:pt x="4413" y="18282"/>
                      <a:pt x="6934" y="14500"/>
                      <a:pt x="10087" y="11348"/>
                    </a:cubicBezTo>
                    <a:cubicBezTo>
                      <a:pt x="13239" y="8195"/>
                      <a:pt x="17652" y="5674"/>
                      <a:pt x="22695" y="3152"/>
                    </a:cubicBezTo>
                    <a:cubicBezTo>
                      <a:pt x="27738" y="1261"/>
                      <a:pt x="33412" y="0"/>
                      <a:pt x="40347" y="0"/>
                    </a:cubicBezTo>
                    <a:cubicBezTo>
                      <a:pt x="48542" y="0"/>
                      <a:pt x="55477" y="1261"/>
                      <a:pt x="61151" y="3783"/>
                    </a:cubicBezTo>
                    <a:cubicBezTo>
                      <a:pt x="64933" y="5674"/>
                      <a:pt x="68086" y="7565"/>
                      <a:pt x="71238" y="10717"/>
                    </a:cubicBezTo>
                    <a:cubicBezTo>
                      <a:pt x="73759" y="13869"/>
                      <a:pt x="76281" y="17021"/>
                      <a:pt x="77542" y="20804"/>
                    </a:cubicBezTo>
                    <a:cubicBezTo>
                      <a:pt x="78803" y="24587"/>
                      <a:pt x="80063" y="29000"/>
                      <a:pt x="80063" y="32782"/>
                    </a:cubicBezTo>
                    <a:cubicBezTo>
                      <a:pt x="80063" y="39717"/>
                      <a:pt x="78172" y="45391"/>
                      <a:pt x="75020" y="51064"/>
                    </a:cubicBezTo>
                    <a:cubicBezTo>
                      <a:pt x="71868" y="56738"/>
                      <a:pt x="68086" y="60521"/>
                      <a:pt x="64933" y="63673"/>
                    </a:cubicBezTo>
                    <a:cubicBezTo>
                      <a:pt x="61781" y="66825"/>
                      <a:pt x="55477" y="71868"/>
                      <a:pt x="47912" y="78173"/>
                    </a:cubicBezTo>
                    <a:cubicBezTo>
                      <a:pt x="39717" y="84477"/>
                      <a:pt x="34043" y="90150"/>
                      <a:pt x="31521" y="93302"/>
                    </a:cubicBezTo>
                    <a:cubicBezTo>
                      <a:pt x="32151" y="94563"/>
                      <a:pt x="30260" y="96455"/>
                      <a:pt x="28999" y="98346"/>
                    </a:cubicBez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8" name="Forma Livre: Forma 27">
                <a:extLst>
                  <a:ext uri="{FF2B5EF4-FFF2-40B4-BE49-F238E27FC236}">
                    <a16:creationId xmlns:a16="http://schemas.microsoft.com/office/drawing/2014/main" id="{8AD860BE-2794-4F1A-84B6-B106E49B126E}"/>
                  </a:ext>
                </a:extLst>
              </p:cNvPr>
              <p:cNvSpPr/>
              <p:nvPr/>
            </p:nvSpPr>
            <p:spPr>
              <a:xfrm>
                <a:off x="7695381" y="4756767"/>
                <a:ext cx="92672" cy="121671"/>
              </a:xfrm>
              <a:custGeom>
                <a:avLst/>
                <a:gdLst>
                  <a:gd name="connsiteX0" fmla="*/ 55477 w 92672"/>
                  <a:gd name="connsiteY0" fmla="*/ 107802 h 121671"/>
                  <a:gd name="connsiteX1" fmla="*/ 55477 w 92672"/>
                  <a:gd name="connsiteY1" fmla="*/ 93302 h 121671"/>
                  <a:gd name="connsiteX2" fmla="*/ 15130 w 92672"/>
                  <a:gd name="connsiteY2" fmla="*/ 93302 h 121671"/>
                  <a:gd name="connsiteX3" fmla="*/ 3782 w 92672"/>
                  <a:gd name="connsiteY3" fmla="*/ 90150 h 121671"/>
                  <a:gd name="connsiteX4" fmla="*/ 0 w 92672"/>
                  <a:gd name="connsiteY4" fmla="*/ 80694 h 121671"/>
                  <a:gd name="connsiteX5" fmla="*/ 630 w 92672"/>
                  <a:gd name="connsiteY5" fmla="*/ 77542 h 121671"/>
                  <a:gd name="connsiteX6" fmla="*/ 2521 w 92672"/>
                  <a:gd name="connsiteY6" fmla="*/ 74390 h 121671"/>
                  <a:gd name="connsiteX7" fmla="*/ 5043 w 92672"/>
                  <a:gd name="connsiteY7" fmla="*/ 71238 h 121671"/>
                  <a:gd name="connsiteX8" fmla="*/ 8195 w 92672"/>
                  <a:gd name="connsiteY8" fmla="*/ 67455 h 121671"/>
                  <a:gd name="connsiteX9" fmla="*/ 50433 w 92672"/>
                  <a:gd name="connsiteY9" fmla="*/ 10717 h 121671"/>
                  <a:gd name="connsiteX10" fmla="*/ 57369 w 92672"/>
                  <a:gd name="connsiteY10" fmla="*/ 2521 h 121671"/>
                  <a:gd name="connsiteX11" fmla="*/ 63673 w 92672"/>
                  <a:gd name="connsiteY11" fmla="*/ 0 h 121671"/>
                  <a:gd name="connsiteX12" fmla="*/ 75650 w 92672"/>
                  <a:gd name="connsiteY12" fmla="*/ 13869 h 121671"/>
                  <a:gd name="connsiteX13" fmla="*/ 75650 w 92672"/>
                  <a:gd name="connsiteY13" fmla="*/ 75651 h 121671"/>
                  <a:gd name="connsiteX14" fmla="*/ 78802 w 92672"/>
                  <a:gd name="connsiteY14" fmla="*/ 75651 h 121671"/>
                  <a:gd name="connsiteX15" fmla="*/ 88890 w 92672"/>
                  <a:gd name="connsiteY15" fmla="*/ 77542 h 121671"/>
                  <a:gd name="connsiteX16" fmla="*/ 92672 w 92672"/>
                  <a:gd name="connsiteY16" fmla="*/ 85107 h 121671"/>
                  <a:gd name="connsiteX17" fmla="*/ 89520 w 92672"/>
                  <a:gd name="connsiteY17" fmla="*/ 92042 h 121671"/>
                  <a:gd name="connsiteX18" fmla="*/ 80694 w 92672"/>
                  <a:gd name="connsiteY18" fmla="*/ 93933 h 121671"/>
                  <a:gd name="connsiteX19" fmla="*/ 75650 w 92672"/>
                  <a:gd name="connsiteY19" fmla="*/ 93933 h 121671"/>
                  <a:gd name="connsiteX20" fmla="*/ 75650 w 92672"/>
                  <a:gd name="connsiteY20" fmla="*/ 109063 h 121671"/>
                  <a:gd name="connsiteX21" fmla="*/ 73129 w 92672"/>
                  <a:gd name="connsiteY21" fmla="*/ 118519 h 121671"/>
                  <a:gd name="connsiteX22" fmla="*/ 65564 w 92672"/>
                  <a:gd name="connsiteY22" fmla="*/ 121671 h 121671"/>
                  <a:gd name="connsiteX23" fmla="*/ 57999 w 92672"/>
                  <a:gd name="connsiteY23" fmla="*/ 118519 h 121671"/>
                  <a:gd name="connsiteX24" fmla="*/ 55477 w 92672"/>
                  <a:gd name="connsiteY24" fmla="*/ 107802 h 121671"/>
                  <a:gd name="connsiteX25" fmla="*/ 20804 w 92672"/>
                  <a:gd name="connsiteY25" fmla="*/ 75020 h 121671"/>
                  <a:gd name="connsiteX26" fmla="*/ 55477 w 92672"/>
                  <a:gd name="connsiteY26" fmla="*/ 75020 h 121671"/>
                  <a:gd name="connsiteX27" fmla="*/ 55477 w 92672"/>
                  <a:gd name="connsiteY27" fmla="*/ 28369 h 121671"/>
                  <a:gd name="connsiteX28" fmla="*/ 20804 w 92672"/>
                  <a:gd name="connsiteY28" fmla="*/ 75020 h 121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92672" h="121671">
                    <a:moveTo>
                      <a:pt x="55477" y="107802"/>
                    </a:moveTo>
                    <a:lnTo>
                      <a:pt x="55477" y="93302"/>
                    </a:lnTo>
                    <a:lnTo>
                      <a:pt x="15130" y="93302"/>
                    </a:lnTo>
                    <a:cubicBezTo>
                      <a:pt x="10087" y="93302"/>
                      <a:pt x="6304" y="92042"/>
                      <a:pt x="3782" y="90150"/>
                    </a:cubicBezTo>
                    <a:cubicBezTo>
                      <a:pt x="1261" y="87629"/>
                      <a:pt x="0" y="84476"/>
                      <a:pt x="0" y="80694"/>
                    </a:cubicBezTo>
                    <a:cubicBezTo>
                      <a:pt x="0" y="79433"/>
                      <a:pt x="0" y="78803"/>
                      <a:pt x="630" y="77542"/>
                    </a:cubicBezTo>
                    <a:cubicBezTo>
                      <a:pt x="1261" y="76281"/>
                      <a:pt x="1261" y="75651"/>
                      <a:pt x="2521" y="74390"/>
                    </a:cubicBezTo>
                    <a:cubicBezTo>
                      <a:pt x="3152" y="73129"/>
                      <a:pt x="3782" y="71868"/>
                      <a:pt x="5043" y="71238"/>
                    </a:cubicBezTo>
                    <a:cubicBezTo>
                      <a:pt x="5674" y="69977"/>
                      <a:pt x="6934" y="68716"/>
                      <a:pt x="8195" y="67455"/>
                    </a:cubicBezTo>
                    <a:lnTo>
                      <a:pt x="50433" y="10717"/>
                    </a:lnTo>
                    <a:cubicBezTo>
                      <a:pt x="52955" y="6934"/>
                      <a:pt x="55477" y="4413"/>
                      <a:pt x="57369" y="2521"/>
                    </a:cubicBezTo>
                    <a:cubicBezTo>
                      <a:pt x="59259" y="630"/>
                      <a:pt x="61151" y="0"/>
                      <a:pt x="63673" y="0"/>
                    </a:cubicBezTo>
                    <a:cubicBezTo>
                      <a:pt x="71868" y="0"/>
                      <a:pt x="75650" y="4413"/>
                      <a:pt x="75650" y="13869"/>
                    </a:cubicBezTo>
                    <a:lnTo>
                      <a:pt x="75650" y="75651"/>
                    </a:lnTo>
                    <a:lnTo>
                      <a:pt x="78802" y="75651"/>
                    </a:lnTo>
                    <a:cubicBezTo>
                      <a:pt x="83216" y="75651"/>
                      <a:pt x="86368" y="76281"/>
                      <a:pt x="88890" y="77542"/>
                    </a:cubicBezTo>
                    <a:cubicBezTo>
                      <a:pt x="91411" y="78803"/>
                      <a:pt x="92672" y="81324"/>
                      <a:pt x="92672" y="85107"/>
                    </a:cubicBezTo>
                    <a:cubicBezTo>
                      <a:pt x="92672" y="88259"/>
                      <a:pt x="91411" y="90150"/>
                      <a:pt x="89520" y="92042"/>
                    </a:cubicBezTo>
                    <a:cubicBezTo>
                      <a:pt x="87629" y="93302"/>
                      <a:pt x="84476" y="93933"/>
                      <a:pt x="80694" y="93933"/>
                    </a:cubicBezTo>
                    <a:lnTo>
                      <a:pt x="75650" y="93933"/>
                    </a:lnTo>
                    <a:lnTo>
                      <a:pt x="75650" y="109063"/>
                    </a:lnTo>
                    <a:cubicBezTo>
                      <a:pt x="75650" y="113476"/>
                      <a:pt x="75020" y="115998"/>
                      <a:pt x="73129" y="118519"/>
                    </a:cubicBezTo>
                    <a:cubicBezTo>
                      <a:pt x="71238" y="120411"/>
                      <a:pt x="68716" y="121671"/>
                      <a:pt x="65564" y="121671"/>
                    </a:cubicBezTo>
                    <a:cubicBezTo>
                      <a:pt x="62412" y="121671"/>
                      <a:pt x="59890" y="120411"/>
                      <a:pt x="57999" y="118519"/>
                    </a:cubicBezTo>
                    <a:cubicBezTo>
                      <a:pt x="56738" y="114737"/>
                      <a:pt x="55477" y="112215"/>
                      <a:pt x="55477" y="107802"/>
                    </a:cubicBezTo>
                    <a:close/>
                    <a:moveTo>
                      <a:pt x="20804" y="75020"/>
                    </a:moveTo>
                    <a:lnTo>
                      <a:pt x="55477" y="75020"/>
                    </a:lnTo>
                    <a:lnTo>
                      <a:pt x="55477" y="28369"/>
                    </a:lnTo>
                    <a:lnTo>
                      <a:pt x="20804" y="75020"/>
                    </a:ln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29" name="Forma Livre: Forma 28">
              <a:extLst>
                <a:ext uri="{FF2B5EF4-FFF2-40B4-BE49-F238E27FC236}">
                  <a16:creationId xmlns:a16="http://schemas.microsoft.com/office/drawing/2014/main" id="{356300CA-B326-457E-8BF0-F6E7FDF8EE86}"/>
                </a:ext>
              </a:extLst>
            </p:cNvPr>
            <p:cNvSpPr/>
            <p:nvPr/>
          </p:nvSpPr>
          <p:spPr>
            <a:xfrm>
              <a:off x="7570907" y="4664095"/>
              <a:ext cx="281448" cy="280538"/>
            </a:xfrm>
            <a:custGeom>
              <a:avLst/>
              <a:gdLst>
                <a:gd name="connsiteX0" fmla="*/ 242993 w 281448"/>
                <a:gd name="connsiteY0" fmla="*/ 280538 h 280538"/>
                <a:gd name="connsiteX1" fmla="*/ 234797 w 281448"/>
                <a:gd name="connsiteY1" fmla="*/ 278016 h 280538"/>
                <a:gd name="connsiteX2" fmla="*/ 228493 w 281448"/>
                <a:gd name="connsiteY2" fmla="*/ 255321 h 280538"/>
                <a:gd name="connsiteX3" fmla="*/ 248037 w 281448"/>
                <a:gd name="connsiteY3" fmla="*/ 181562 h 280538"/>
                <a:gd name="connsiteX4" fmla="*/ 99887 w 281448"/>
                <a:gd name="connsiteY4" fmla="*/ 33412 h 280538"/>
                <a:gd name="connsiteX5" fmla="*/ 24867 w 281448"/>
                <a:gd name="connsiteY5" fmla="*/ 53586 h 280538"/>
                <a:gd name="connsiteX6" fmla="*/ 2171 w 281448"/>
                <a:gd name="connsiteY6" fmla="*/ 47912 h 280538"/>
                <a:gd name="connsiteX7" fmla="*/ 7845 w 281448"/>
                <a:gd name="connsiteY7" fmla="*/ 25217 h 280538"/>
                <a:gd name="connsiteX8" fmla="*/ 99887 w 281448"/>
                <a:gd name="connsiteY8" fmla="*/ 0 h 280538"/>
                <a:gd name="connsiteX9" fmla="*/ 281449 w 281448"/>
                <a:gd name="connsiteY9" fmla="*/ 181562 h 280538"/>
                <a:gd name="connsiteX10" fmla="*/ 257493 w 281448"/>
                <a:gd name="connsiteY10" fmla="*/ 271712 h 280538"/>
                <a:gd name="connsiteX11" fmla="*/ 242993 w 281448"/>
                <a:gd name="connsiteY11" fmla="*/ 280538 h 280538"/>
                <a:gd name="connsiteX12" fmla="*/ 242993 w 281448"/>
                <a:gd name="connsiteY12" fmla="*/ 280538 h 280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1448" h="280538">
                  <a:moveTo>
                    <a:pt x="242993" y="280538"/>
                  </a:moveTo>
                  <a:cubicBezTo>
                    <a:pt x="240471" y="280538"/>
                    <a:pt x="237319" y="279908"/>
                    <a:pt x="234797" y="278016"/>
                  </a:cubicBezTo>
                  <a:cubicBezTo>
                    <a:pt x="226602" y="273604"/>
                    <a:pt x="224080" y="263517"/>
                    <a:pt x="228493" y="255321"/>
                  </a:cubicBezTo>
                  <a:cubicBezTo>
                    <a:pt x="241101" y="233256"/>
                    <a:pt x="248037" y="207409"/>
                    <a:pt x="248037" y="181562"/>
                  </a:cubicBezTo>
                  <a:cubicBezTo>
                    <a:pt x="248037" y="99607"/>
                    <a:pt x="181842" y="33412"/>
                    <a:pt x="99887" y="33412"/>
                  </a:cubicBezTo>
                  <a:cubicBezTo>
                    <a:pt x="73409" y="33412"/>
                    <a:pt x="47562" y="40347"/>
                    <a:pt x="24867" y="53586"/>
                  </a:cubicBezTo>
                  <a:cubicBezTo>
                    <a:pt x="16671" y="57999"/>
                    <a:pt x="6585" y="55477"/>
                    <a:pt x="2171" y="47912"/>
                  </a:cubicBezTo>
                  <a:cubicBezTo>
                    <a:pt x="-2242" y="39717"/>
                    <a:pt x="280" y="29630"/>
                    <a:pt x="7845" y="25217"/>
                  </a:cubicBezTo>
                  <a:cubicBezTo>
                    <a:pt x="35584" y="8826"/>
                    <a:pt x="67736" y="0"/>
                    <a:pt x="99887" y="0"/>
                  </a:cubicBezTo>
                  <a:cubicBezTo>
                    <a:pt x="200124" y="0"/>
                    <a:pt x="281449" y="81325"/>
                    <a:pt x="281449" y="181562"/>
                  </a:cubicBezTo>
                  <a:cubicBezTo>
                    <a:pt x="281449" y="213083"/>
                    <a:pt x="273254" y="244604"/>
                    <a:pt x="257493" y="271712"/>
                  </a:cubicBezTo>
                  <a:cubicBezTo>
                    <a:pt x="254341" y="277386"/>
                    <a:pt x="248667" y="280538"/>
                    <a:pt x="242993" y="280538"/>
                  </a:cubicBezTo>
                  <a:lnTo>
                    <a:pt x="242993" y="280538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0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5393043" y="4671660"/>
            <a:ext cx="391532" cy="406622"/>
            <a:chOff x="5393043" y="4671660"/>
            <a:chExt cx="391532" cy="406622"/>
          </a:xfrm>
          <a:solidFill>
            <a:srgbClr val="B1B1A1"/>
          </a:solidFill>
        </p:grpSpPr>
        <p:sp>
          <p:nvSpPr>
            <p:cNvPr id="31" name="Forma Livre: Forma 30">
              <a:extLst>
                <a:ext uri="{FF2B5EF4-FFF2-40B4-BE49-F238E27FC236}">
                  <a16:creationId xmlns:a16="http://schemas.microsoft.com/office/drawing/2014/main" id="{AA652705-24AF-42E8-9943-122891E73FFA}"/>
                </a:ext>
              </a:extLst>
            </p:cNvPr>
            <p:cNvSpPr/>
            <p:nvPr/>
          </p:nvSpPr>
          <p:spPr>
            <a:xfrm>
              <a:off x="5393043" y="4690573"/>
              <a:ext cx="385786" cy="387709"/>
            </a:xfrm>
            <a:custGeom>
              <a:avLst/>
              <a:gdLst>
                <a:gd name="connsiteX0" fmla="*/ 305789 w 385786"/>
                <a:gd name="connsiteY0" fmla="*/ 387710 h 387709"/>
                <a:gd name="connsiteX1" fmla="*/ 95228 w 385786"/>
                <a:gd name="connsiteY1" fmla="*/ 293777 h 387709"/>
                <a:gd name="connsiteX2" fmla="*/ 93968 w 385786"/>
                <a:gd name="connsiteY2" fmla="*/ 292516 h 387709"/>
                <a:gd name="connsiteX3" fmla="*/ 93968 w 385786"/>
                <a:gd name="connsiteY3" fmla="*/ 292516 h 387709"/>
                <a:gd name="connsiteX4" fmla="*/ 34 w 385786"/>
                <a:gd name="connsiteY4" fmla="*/ 76281 h 387709"/>
                <a:gd name="connsiteX5" fmla="*/ 34 w 385786"/>
                <a:gd name="connsiteY5" fmla="*/ 70607 h 387709"/>
                <a:gd name="connsiteX6" fmla="*/ 3187 w 385786"/>
                <a:gd name="connsiteY6" fmla="*/ 66194 h 387709"/>
                <a:gd name="connsiteX7" fmla="*/ 19577 w 385786"/>
                <a:gd name="connsiteY7" fmla="*/ 47912 h 387709"/>
                <a:gd name="connsiteX8" fmla="*/ 90185 w 385786"/>
                <a:gd name="connsiteY8" fmla="*/ 1891 h 387709"/>
                <a:gd name="connsiteX9" fmla="*/ 100902 w 385786"/>
                <a:gd name="connsiteY9" fmla="*/ 0 h 387709"/>
                <a:gd name="connsiteX10" fmla="*/ 134945 w 385786"/>
                <a:gd name="connsiteY10" fmla="*/ 18913 h 387709"/>
                <a:gd name="connsiteX11" fmla="*/ 163944 w 385786"/>
                <a:gd name="connsiteY11" fmla="*/ 108433 h 387709"/>
                <a:gd name="connsiteX12" fmla="*/ 151336 w 385786"/>
                <a:gd name="connsiteY12" fmla="*/ 146258 h 387709"/>
                <a:gd name="connsiteX13" fmla="*/ 121706 w 385786"/>
                <a:gd name="connsiteY13" fmla="*/ 165171 h 387709"/>
                <a:gd name="connsiteX14" fmla="*/ 125489 w 385786"/>
                <a:gd name="connsiteY14" fmla="*/ 175257 h 387709"/>
                <a:gd name="connsiteX15" fmla="*/ 164575 w 385786"/>
                <a:gd name="connsiteY15" fmla="*/ 221278 h 387709"/>
                <a:gd name="connsiteX16" fmla="*/ 210596 w 385786"/>
                <a:gd name="connsiteY16" fmla="*/ 260364 h 387709"/>
                <a:gd name="connsiteX17" fmla="*/ 220052 w 385786"/>
                <a:gd name="connsiteY17" fmla="*/ 264147 h 387709"/>
                <a:gd name="connsiteX18" fmla="*/ 230139 w 385786"/>
                <a:gd name="connsiteY18" fmla="*/ 249647 h 387709"/>
                <a:gd name="connsiteX19" fmla="*/ 239595 w 385786"/>
                <a:gd name="connsiteY19" fmla="*/ 235148 h 387709"/>
                <a:gd name="connsiteX20" fmla="*/ 270486 w 385786"/>
                <a:gd name="connsiteY20" fmla="*/ 221909 h 387709"/>
                <a:gd name="connsiteX21" fmla="*/ 276790 w 385786"/>
                <a:gd name="connsiteY21" fmla="*/ 222539 h 387709"/>
                <a:gd name="connsiteX22" fmla="*/ 368201 w 385786"/>
                <a:gd name="connsiteY22" fmla="*/ 252169 h 387709"/>
                <a:gd name="connsiteX23" fmla="*/ 383962 w 385786"/>
                <a:gd name="connsiteY23" fmla="*/ 296929 h 387709"/>
                <a:gd name="connsiteX24" fmla="*/ 337941 w 385786"/>
                <a:gd name="connsiteY24" fmla="*/ 367536 h 387709"/>
                <a:gd name="connsiteX25" fmla="*/ 319659 w 385786"/>
                <a:gd name="connsiteY25" fmla="*/ 383927 h 387709"/>
                <a:gd name="connsiteX26" fmla="*/ 315246 w 385786"/>
                <a:gd name="connsiteY26" fmla="*/ 387079 h 387709"/>
                <a:gd name="connsiteX27" fmla="*/ 305789 w 385786"/>
                <a:gd name="connsiteY27" fmla="*/ 387710 h 387709"/>
                <a:gd name="connsiteX28" fmla="*/ 305789 w 385786"/>
                <a:gd name="connsiteY28" fmla="*/ 387710 h 387709"/>
                <a:gd name="connsiteX29" fmla="*/ 33447 w 385786"/>
                <a:gd name="connsiteY29" fmla="*/ 82585 h 387709"/>
                <a:gd name="connsiteX30" fmla="*/ 117293 w 385786"/>
                <a:gd name="connsiteY30" fmla="*/ 268560 h 387709"/>
                <a:gd name="connsiteX31" fmla="*/ 119184 w 385786"/>
                <a:gd name="connsiteY31" fmla="*/ 270451 h 387709"/>
                <a:gd name="connsiteX32" fmla="*/ 305159 w 385786"/>
                <a:gd name="connsiteY32" fmla="*/ 354298 h 387709"/>
                <a:gd name="connsiteX33" fmla="*/ 316507 w 385786"/>
                <a:gd name="connsiteY33" fmla="*/ 344211 h 387709"/>
                <a:gd name="connsiteX34" fmla="*/ 354962 w 385786"/>
                <a:gd name="connsiteY34" fmla="*/ 284951 h 387709"/>
                <a:gd name="connsiteX35" fmla="*/ 353701 w 385786"/>
                <a:gd name="connsiteY35" fmla="*/ 281168 h 387709"/>
                <a:gd name="connsiteX36" fmla="*/ 271746 w 385786"/>
                <a:gd name="connsiteY36" fmla="*/ 255321 h 387709"/>
                <a:gd name="connsiteX37" fmla="*/ 267964 w 385786"/>
                <a:gd name="connsiteY37" fmla="*/ 255951 h 387709"/>
                <a:gd name="connsiteX38" fmla="*/ 250943 w 385786"/>
                <a:gd name="connsiteY38" fmla="*/ 282429 h 387709"/>
                <a:gd name="connsiteX39" fmla="*/ 192944 w 385786"/>
                <a:gd name="connsiteY39" fmla="*/ 287473 h 387709"/>
                <a:gd name="connsiteX40" fmla="*/ 143140 w 385786"/>
                <a:gd name="connsiteY40" fmla="*/ 245234 h 387709"/>
                <a:gd name="connsiteX41" fmla="*/ 100272 w 385786"/>
                <a:gd name="connsiteY41" fmla="*/ 195431 h 387709"/>
                <a:gd name="connsiteX42" fmla="*/ 90815 w 385786"/>
                <a:gd name="connsiteY42" fmla="*/ 158867 h 387709"/>
                <a:gd name="connsiteX43" fmla="*/ 105315 w 385786"/>
                <a:gd name="connsiteY43" fmla="*/ 137432 h 387709"/>
                <a:gd name="connsiteX44" fmla="*/ 131793 w 385786"/>
                <a:gd name="connsiteY44" fmla="*/ 120411 h 387709"/>
                <a:gd name="connsiteX45" fmla="*/ 132423 w 385786"/>
                <a:gd name="connsiteY45" fmla="*/ 115998 h 387709"/>
                <a:gd name="connsiteX46" fmla="*/ 105945 w 385786"/>
                <a:gd name="connsiteY46" fmla="*/ 34673 h 387709"/>
                <a:gd name="connsiteX47" fmla="*/ 101532 w 385786"/>
                <a:gd name="connsiteY47" fmla="*/ 33412 h 387709"/>
                <a:gd name="connsiteX48" fmla="*/ 43534 w 385786"/>
                <a:gd name="connsiteY48" fmla="*/ 71868 h 387709"/>
                <a:gd name="connsiteX49" fmla="*/ 33447 w 385786"/>
                <a:gd name="connsiteY49" fmla="*/ 82585 h 387709"/>
                <a:gd name="connsiteX50" fmla="*/ 33447 w 385786"/>
                <a:gd name="connsiteY50" fmla="*/ 82585 h 387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385786" h="387709">
                  <a:moveTo>
                    <a:pt x="305789" y="387710"/>
                  </a:moveTo>
                  <a:cubicBezTo>
                    <a:pt x="231400" y="387710"/>
                    <a:pt x="155118" y="353667"/>
                    <a:pt x="95228" y="293777"/>
                  </a:cubicBezTo>
                  <a:lnTo>
                    <a:pt x="93968" y="292516"/>
                  </a:lnTo>
                  <a:lnTo>
                    <a:pt x="93968" y="292516"/>
                  </a:lnTo>
                  <a:cubicBezTo>
                    <a:pt x="32186" y="230104"/>
                    <a:pt x="-1226" y="151932"/>
                    <a:pt x="34" y="76281"/>
                  </a:cubicBezTo>
                  <a:lnTo>
                    <a:pt x="34" y="70607"/>
                  </a:lnTo>
                  <a:lnTo>
                    <a:pt x="3187" y="66194"/>
                  </a:lnTo>
                  <a:cubicBezTo>
                    <a:pt x="8230" y="59259"/>
                    <a:pt x="13904" y="53586"/>
                    <a:pt x="19577" y="47912"/>
                  </a:cubicBezTo>
                  <a:cubicBezTo>
                    <a:pt x="39751" y="27738"/>
                    <a:pt x="63707" y="11978"/>
                    <a:pt x="90185" y="1891"/>
                  </a:cubicBezTo>
                  <a:cubicBezTo>
                    <a:pt x="93337" y="630"/>
                    <a:pt x="97120" y="0"/>
                    <a:pt x="100902" y="0"/>
                  </a:cubicBezTo>
                  <a:cubicBezTo>
                    <a:pt x="109728" y="0"/>
                    <a:pt x="129901" y="4413"/>
                    <a:pt x="134945" y="18913"/>
                  </a:cubicBezTo>
                  <a:cubicBezTo>
                    <a:pt x="143771" y="44130"/>
                    <a:pt x="155749" y="76912"/>
                    <a:pt x="163944" y="108433"/>
                  </a:cubicBezTo>
                  <a:cubicBezTo>
                    <a:pt x="166466" y="117258"/>
                    <a:pt x="163944" y="138693"/>
                    <a:pt x="151336" y="146258"/>
                  </a:cubicBezTo>
                  <a:lnTo>
                    <a:pt x="121706" y="165171"/>
                  </a:lnTo>
                  <a:cubicBezTo>
                    <a:pt x="121706" y="165171"/>
                    <a:pt x="121706" y="170214"/>
                    <a:pt x="125489" y="175257"/>
                  </a:cubicBezTo>
                  <a:cubicBezTo>
                    <a:pt x="136836" y="191018"/>
                    <a:pt x="150075" y="206148"/>
                    <a:pt x="164575" y="221278"/>
                  </a:cubicBezTo>
                  <a:cubicBezTo>
                    <a:pt x="179075" y="235778"/>
                    <a:pt x="194835" y="249017"/>
                    <a:pt x="210596" y="260364"/>
                  </a:cubicBezTo>
                  <a:cubicBezTo>
                    <a:pt x="213748" y="262886"/>
                    <a:pt x="216900" y="264147"/>
                    <a:pt x="220052" y="264147"/>
                  </a:cubicBezTo>
                  <a:lnTo>
                    <a:pt x="230139" y="249647"/>
                  </a:lnTo>
                  <a:lnTo>
                    <a:pt x="239595" y="235148"/>
                  </a:lnTo>
                  <a:cubicBezTo>
                    <a:pt x="247790" y="222539"/>
                    <a:pt x="267964" y="221909"/>
                    <a:pt x="270486" y="221909"/>
                  </a:cubicBezTo>
                  <a:cubicBezTo>
                    <a:pt x="273007" y="221909"/>
                    <a:pt x="274899" y="221909"/>
                    <a:pt x="276790" y="222539"/>
                  </a:cubicBezTo>
                  <a:cubicBezTo>
                    <a:pt x="315876" y="231365"/>
                    <a:pt x="338571" y="238930"/>
                    <a:pt x="368201" y="252169"/>
                  </a:cubicBezTo>
                  <a:cubicBezTo>
                    <a:pt x="381440" y="257843"/>
                    <a:pt x="389635" y="281799"/>
                    <a:pt x="383962" y="296929"/>
                  </a:cubicBezTo>
                  <a:cubicBezTo>
                    <a:pt x="373875" y="323407"/>
                    <a:pt x="358114" y="347363"/>
                    <a:pt x="337941" y="367536"/>
                  </a:cubicBezTo>
                  <a:cubicBezTo>
                    <a:pt x="332267" y="373210"/>
                    <a:pt x="325963" y="378884"/>
                    <a:pt x="319659" y="383927"/>
                  </a:cubicBezTo>
                  <a:lnTo>
                    <a:pt x="315246" y="387079"/>
                  </a:lnTo>
                  <a:lnTo>
                    <a:pt x="305789" y="387710"/>
                  </a:lnTo>
                  <a:lnTo>
                    <a:pt x="305789" y="387710"/>
                  </a:lnTo>
                  <a:close/>
                  <a:moveTo>
                    <a:pt x="33447" y="82585"/>
                  </a:moveTo>
                  <a:cubicBezTo>
                    <a:pt x="33447" y="146888"/>
                    <a:pt x="64968" y="216235"/>
                    <a:pt x="117293" y="268560"/>
                  </a:cubicBezTo>
                  <a:lnTo>
                    <a:pt x="119184" y="270451"/>
                  </a:lnTo>
                  <a:cubicBezTo>
                    <a:pt x="172140" y="323407"/>
                    <a:pt x="239595" y="353667"/>
                    <a:pt x="305159" y="354298"/>
                  </a:cubicBezTo>
                  <a:cubicBezTo>
                    <a:pt x="308941" y="351145"/>
                    <a:pt x="312724" y="347993"/>
                    <a:pt x="316507" y="344211"/>
                  </a:cubicBezTo>
                  <a:cubicBezTo>
                    <a:pt x="333528" y="327189"/>
                    <a:pt x="346137" y="307646"/>
                    <a:pt x="354962" y="284951"/>
                  </a:cubicBezTo>
                  <a:cubicBezTo>
                    <a:pt x="354962" y="284951"/>
                    <a:pt x="354332" y="283060"/>
                    <a:pt x="353701" y="281168"/>
                  </a:cubicBezTo>
                  <a:cubicBezTo>
                    <a:pt x="327854" y="269821"/>
                    <a:pt x="306420" y="262886"/>
                    <a:pt x="271746" y="255321"/>
                  </a:cubicBezTo>
                  <a:cubicBezTo>
                    <a:pt x="271116" y="255321"/>
                    <a:pt x="269225" y="255951"/>
                    <a:pt x="267964" y="255951"/>
                  </a:cubicBezTo>
                  <a:lnTo>
                    <a:pt x="250943" y="282429"/>
                  </a:lnTo>
                  <a:cubicBezTo>
                    <a:pt x="240856" y="299451"/>
                    <a:pt x="213117" y="301972"/>
                    <a:pt x="192944" y="287473"/>
                  </a:cubicBezTo>
                  <a:cubicBezTo>
                    <a:pt x="175922" y="275495"/>
                    <a:pt x="159531" y="260995"/>
                    <a:pt x="143140" y="245234"/>
                  </a:cubicBezTo>
                  <a:cubicBezTo>
                    <a:pt x="127380" y="228843"/>
                    <a:pt x="112880" y="212452"/>
                    <a:pt x="100272" y="195431"/>
                  </a:cubicBezTo>
                  <a:cubicBezTo>
                    <a:pt x="92076" y="184083"/>
                    <a:pt x="88924" y="170844"/>
                    <a:pt x="90815" y="158867"/>
                  </a:cubicBezTo>
                  <a:cubicBezTo>
                    <a:pt x="92707" y="149410"/>
                    <a:pt x="97750" y="141845"/>
                    <a:pt x="105315" y="137432"/>
                  </a:cubicBezTo>
                  <a:lnTo>
                    <a:pt x="131793" y="120411"/>
                  </a:lnTo>
                  <a:cubicBezTo>
                    <a:pt x="132423" y="119150"/>
                    <a:pt x="132423" y="116628"/>
                    <a:pt x="132423" y="115998"/>
                  </a:cubicBezTo>
                  <a:cubicBezTo>
                    <a:pt x="124858" y="88889"/>
                    <a:pt x="114771" y="58629"/>
                    <a:pt x="105945" y="34673"/>
                  </a:cubicBezTo>
                  <a:cubicBezTo>
                    <a:pt x="104684" y="34043"/>
                    <a:pt x="102793" y="33412"/>
                    <a:pt x="101532" y="33412"/>
                  </a:cubicBezTo>
                  <a:cubicBezTo>
                    <a:pt x="80098" y="41608"/>
                    <a:pt x="60555" y="54847"/>
                    <a:pt x="43534" y="71868"/>
                  </a:cubicBezTo>
                  <a:cubicBezTo>
                    <a:pt x="40382" y="75020"/>
                    <a:pt x="37230" y="78803"/>
                    <a:pt x="33447" y="82585"/>
                  </a:cubicBezTo>
                  <a:lnTo>
                    <a:pt x="33447" y="82585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2" name="Forma Livre: Forma 31">
              <a:extLst>
                <a:ext uri="{FF2B5EF4-FFF2-40B4-BE49-F238E27FC236}">
                  <a16:creationId xmlns:a16="http://schemas.microsoft.com/office/drawing/2014/main" id="{5AE1A9D6-05E5-4AEC-B821-BE3FF148DDF4}"/>
                </a:ext>
              </a:extLst>
            </p:cNvPr>
            <p:cNvSpPr/>
            <p:nvPr/>
          </p:nvSpPr>
          <p:spPr>
            <a:xfrm>
              <a:off x="5577792" y="4671660"/>
              <a:ext cx="206784" cy="206778"/>
            </a:xfrm>
            <a:custGeom>
              <a:avLst/>
              <a:gdLst>
                <a:gd name="connsiteX0" fmla="*/ 103389 w 206784"/>
                <a:gd name="connsiteY0" fmla="*/ 206779 h 206778"/>
                <a:gd name="connsiteX1" fmla="*/ 0 w 206784"/>
                <a:gd name="connsiteY1" fmla="*/ 103389 h 206778"/>
                <a:gd name="connsiteX2" fmla="*/ 103389 w 206784"/>
                <a:gd name="connsiteY2" fmla="*/ 0 h 206778"/>
                <a:gd name="connsiteX3" fmla="*/ 206779 w 206784"/>
                <a:gd name="connsiteY3" fmla="*/ 103389 h 206778"/>
                <a:gd name="connsiteX4" fmla="*/ 103389 w 206784"/>
                <a:gd name="connsiteY4" fmla="*/ 206779 h 206778"/>
                <a:gd name="connsiteX5" fmla="*/ 103389 w 206784"/>
                <a:gd name="connsiteY5" fmla="*/ 206779 h 206778"/>
                <a:gd name="connsiteX6" fmla="*/ 103389 w 206784"/>
                <a:gd name="connsiteY6" fmla="*/ 16391 h 206778"/>
                <a:gd name="connsiteX7" fmla="*/ 16391 w 206784"/>
                <a:gd name="connsiteY7" fmla="*/ 103389 h 206778"/>
                <a:gd name="connsiteX8" fmla="*/ 103389 w 206784"/>
                <a:gd name="connsiteY8" fmla="*/ 190388 h 206778"/>
                <a:gd name="connsiteX9" fmla="*/ 190388 w 206784"/>
                <a:gd name="connsiteY9" fmla="*/ 103389 h 206778"/>
                <a:gd name="connsiteX10" fmla="*/ 103389 w 206784"/>
                <a:gd name="connsiteY10" fmla="*/ 16391 h 206778"/>
                <a:gd name="connsiteX11" fmla="*/ 103389 w 206784"/>
                <a:gd name="connsiteY11" fmla="*/ 16391 h 206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784" h="206778">
                  <a:moveTo>
                    <a:pt x="103389" y="206779"/>
                  </a:moveTo>
                  <a:cubicBezTo>
                    <a:pt x="46651" y="206779"/>
                    <a:pt x="0" y="160127"/>
                    <a:pt x="0" y="103389"/>
                  </a:cubicBezTo>
                  <a:cubicBezTo>
                    <a:pt x="0" y="46021"/>
                    <a:pt x="46651" y="0"/>
                    <a:pt x="103389" y="0"/>
                  </a:cubicBezTo>
                  <a:cubicBezTo>
                    <a:pt x="160758" y="0"/>
                    <a:pt x="206779" y="46651"/>
                    <a:pt x="206779" y="103389"/>
                  </a:cubicBezTo>
                  <a:cubicBezTo>
                    <a:pt x="207409" y="160127"/>
                    <a:pt x="160758" y="206779"/>
                    <a:pt x="103389" y="206779"/>
                  </a:cubicBezTo>
                  <a:lnTo>
                    <a:pt x="103389" y="206779"/>
                  </a:lnTo>
                  <a:close/>
                  <a:moveTo>
                    <a:pt x="103389" y="16391"/>
                  </a:moveTo>
                  <a:cubicBezTo>
                    <a:pt x="55477" y="16391"/>
                    <a:pt x="16391" y="55477"/>
                    <a:pt x="16391" y="103389"/>
                  </a:cubicBezTo>
                  <a:cubicBezTo>
                    <a:pt x="16391" y="151301"/>
                    <a:pt x="55477" y="190388"/>
                    <a:pt x="103389" y="190388"/>
                  </a:cubicBezTo>
                  <a:cubicBezTo>
                    <a:pt x="151301" y="190388"/>
                    <a:pt x="190388" y="151301"/>
                    <a:pt x="190388" y="103389"/>
                  </a:cubicBezTo>
                  <a:cubicBezTo>
                    <a:pt x="190388" y="55477"/>
                    <a:pt x="151301" y="16391"/>
                    <a:pt x="103389" y="16391"/>
                  </a:cubicBezTo>
                  <a:lnTo>
                    <a:pt x="103389" y="1639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3" name="Forma Livre: Forma 32">
              <a:extLst>
                <a:ext uri="{FF2B5EF4-FFF2-40B4-BE49-F238E27FC236}">
                  <a16:creationId xmlns:a16="http://schemas.microsoft.com/office/drawing/2014/main" id="{D80C94F4-BF39-4357-A513-406B7AE82231}"/>
                </a:ext>
              </a:extLst>
            </p:cNvPr>
            <p:cNvSpPr/>
            <p:nvPr/>
          </p:nvSpPr>
          <p:spPr>
            <a:xfrm>
              <a:off x="5636421" y="4712007"/>
              <a:ext cx="87628" cy="133649"/>
            </a:xfrm>
            <a:custGeom>
              <a:avLst/>
              <a:gdLst>
                <a:gd name="connsiteX0" fmla="*/ 0 w 87628"/>
                <a:gd name="connsiteY0" fmla="*/ 37195 h 133649"/>
                <a:gd name="connsiteX1" fmla="*/ 5044 w 87628"/>
                <a:gd name="connsiteY1" fmla="*/ 20174 h 133649"/>
                <a:gd name="connsiteX2" fmla="*/ 20804 w 87628"/>
                <a:gd name="connsiteY2" fmla="*/ 5674 h 133649"/>
                <a:gd name="connsiteX3" fmla="*/ 44760 w 87628"/>
                <a:gd name="connsiteY3" fmla="*/ 0 h 133649"/>
                <a:gd name="connsiteX4" fmla="*/ 67455 w 87628"/>
                <a:gd name="connsiteY4" fmla="*/ 4413 h 133649"/>
                <a:gd name="connsiteX5" fmla="*/ 82586 w 87628"/>
                <a:gd name="connsiteY5" fmla="*/ 17021 h 133649"/>
                <a:gd name="connsiteX6" fmla="*/ 87629 w 87628"/>
                <a:gd name="connsiteY6" fmla="*/ 34673 h 133649"/>
                <a:gd name="connsiteX7" fmla="*/ 84477 w 87628"/>
                <a:gd name="connsiteY7" fmla="*/ 47912 h 133649"/>
                <a:gd name="connsiteX8" fmla="*/ 77542 w 87628"/>
                <a:gd name="connsiteY8" fmla="*/ 57369 h 133649"/>
                <a:gd name="connsiteX9" fmla="*/ 62412 w 87628"/>
                <a:gd name="connsiteY9" fmla="*/ 71238 h 133649"/>
                <a:gd name="connsiteX10" fmla="*/ 57369 w 87628"/>
                <a:gd name="connsiteY10" fmla="*/ 76281 h 133649"/>
                <a:gd name="connsiteX11" fmla="*/ 54847 w 87628"/>
                <a:gd name="connsiteY11" fmla="*/ 80064 h 133649"/>
                <a:gd name="connsiteX12" fmla="*/ 53586 w 87628"/>
                <a:gd name="connsiteY12" fmla="*/ 83216 h 133649"/>
                <a:gd name="connsiteX13" fmla="*/ 52325 w 87628"/>
                <a:gd name="connsiteY13" fmla="*/ 89520 h 133649"/>
                <a:gd name="connsiteX14" fmla="*/ 41608 w 87628"/>
                <a:gd name="connsiteY14" fmla="*/ 98976 h 133649"/>
                <a:gd name="connsiteX15" fmla="*/ 34043 w 87628"/>
                <a:gd name="connsiteY15" fmla="*/ 95824 h 133649"/>
                <a:gd name="connsiteX16" fmla="*/ 30891 w 87628"/>
                <a:gd name="connsiteY16" fmla="*/ 86999 h 133649"/>
                <a:gd name="connsiteX17" fmla="*/ 33413 w 87628"/>
                <a:gd name="connsiteY17" fmla="*/ 74390 h 133649"/>
                <a:gd name="connsiteX18" fmla="*/ 39717 w 87628"/>
                <a:gd name="connsiteY18" fmla="*/ 64934 h 133649"/>
                <a:gd name="connsiteX19" fmla="*/ 49804 w 87628"/>
                <a:gd name="connsiteY19" fmla="*/ 55477 h 133649"/>
                <a:gd name="connsiteX20" fmla="*/ 57999 w 87628"/>
                <a:gd name="connsiteY20" fmla="*/ 47912 h 133649"/>
                <a:gd name="connsiteX21" fmla="*/ 62412 w 87628"/>
                <a:gd name="connsiteY21" fmla="*/ 42238 h 133649"/>
                <a:gd name="connsiteX22" fmla="*/ 64303 w 87628"/>
                <a:gd name="connsiteY22" fmla="*/ 35304 h 133649"/>
                <a:gd name="connsiteX23" fmla="*/ 59260 w 87628"/>
                <a:gd name="connsiteY23" fmla="*/ 23326 h 133649"/>
                <a:gd name="connsiteX24" fmla="*/ 46021 w 87628"/>
                <a:gd name="connsiteY24" fmla="*/ 18282 h 133649"/>
                <a:gd name="connsiteX25" fmla="*/ 31521 w 87628"/>
                <a:gd name="connsiteY25" fmla="*/ 23326 h 133649"/>
                <a:gd name="connsiteX26" fmla="*/ 23956 w 87628"/>
                <a:gd name="connsiteY26" fmla="*/ 37825 h 133649"/>
                <a:gd name="connsiteX27" fmla="*/ 12608 w 87628"/>
                <a:gd name="connsiteY27" fmla="*/ 47912 h 133649"/>
                <a:gd name="connsiteX28" fmla="*/ 4413 w 87628"/>
                <a:gd name="connsiteY28" fmla="*/ 44130 h 133649"/>
                <a:gd name="connsiteX29" fmla="*/ 0 w 87628"/>
                <a:gd name="connsiteY29" fmla="*/ 37195 h 133649"/>
                <a:gd name="connsiteX30" fmla="*/ 42869 w 87628"/>
                <a:gd name="connsiteY30" fmla="*/ 133650 h 133649"/>
                <a:gd name="connsiteX31" fmla="*/ 33413 w 87628"/>
                <a:gd name="connsiteY31" fmla="*/ 130498 h 133649"/>
                <a:gd name="connsiteX32" fmla="*/ 29630 w 87628"/>
                <a:gd name="connsiteY32" fmla="*/ 121041 h 133649"/>
                <a:gd name="connsiteX33" fmla="*/ 33413 w 87628"/>
                <a:gd name="connsiteY33" fmla="*/ 111585 h 133649"/>
                <a:gd name="connsiteX34" fmla="*/ 42869 w 87628"/>
                <a:gd name="connsiteY34" fmla="*/ 107802 h 133649"/>
                <a:gd name="connsiteX35" fmla="*/ 52325 w 87628"/>
                <a:gd name="connsiteY35" fmla="*/ 111585 h 133649"/>
                <a:gd name="connsiteX36" fmla="*/ 56108 w 87628"/>
                <a:gd name="connsiteY36" fmla="*/ 121041 h 133649"/>
                <a:gd name="connsiteX37" fmla="*/ 52325 w 87628"/>
                <a:gd name="connsiteY37" fmla="*/ 130498 h 133649"/>
                <a:gd name="connsiteX38" fmla="*/ 42869 w 87628"/>
                <a:gd name="connsiteY38" fmla="*/ 133650 h 133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87628" h="133649">
                  <a:moveTo>
                    <a:pt x="0" y="37195"/>
                  </a:moveTo>
                  <a:cubicBezTo>
                    <a:pt x="0" y="31521"/>
                    <a:pt x="1892" y="25848"/>
                    <a:pt x="5044" y="20174"/>
                  </a:cubicBezTo>
                  <a:cubicBezTo>
                    <a:pt x="8826" y="14500"/>
                    <a:pt x="13869" y="9456"/>
                    <a:pt x="20804" y="5674"/>
                  </a:cubicBezTo>
                  <a:cubicBezTo>
                    <a:pt x="27739" y="1892"/>
                    <a:pt x="35934" y="0"/>
                    <a:pt x="44760" y="0"/>
                  </a:cubicBezTo>
                  <a:cubicBezTo>
                    <a:pt x="52956" y="0"/>
                    <a:pt x="60521" y="1892"/>
                    <a:pt x="67455" y="4413"/>
                  </a:cubicBezTo>
                  <a:cubicBezTo>
                    <a:pt x="73760" y="7565"/>
                    <a:pt x="78803" y="11978"/>
                    <a:pt x="82586" y="17021"/>
                  </a:cubicBezTo>
                  <a:cubicBezTo>
                    <a:pt x="86368" y="22695"/>
                    <a:pt x="87629" y="28369"/>
                    <a:pt x="87629" y="34673"/>
                  </a:cubicBezTo>
                  <a:cubicBezTo>
                    <a:pt x="87629" y="39717"/>
                    <a:pt x="86368" y="44130"/>
                    <a:pt x="84477" y="47912"/>
                  </a:cubicBezTo>
                  <a:cubicBezTo>
                    <a:pt x="82586" y="51695"/>
                    <a:pt x="80064" y="54847"/>
                    <a:pt x="77542" y="57369"/>
                  </a:cubicBezTo>
                  <a:cubicBezTo>
                    <a:pt x="75020" y="59890"/>
                    <a:pt x="69977" y="64934"/>
                    <a:pt x="62412" y="71238"/>
                  </a:cubicBezTo>
                  <a:cubicBezTo>
                    <a:pt x="60521" y="73129"/>
                    <a:pt x="58630" y="74390"/>
                    <a:pt x="57369" y="76281"/>
                  </a:cubicBezTo>
                  <a:cubicBezTo>
                    <a:pt x="56108" y="77542"/>
                    <a:pt x="55477" y="78803"/>
                    <a:pt x="54847" y="80064"/>
                  </a:cubicBezTo>
                  <a:cubicBezTo>
                    <a:pt x="54217" y="81325"/>
                    <a:pt x="53586" y="82586"/>
                    <a:pt x="53586" y="83216"/>
                  </a:cubicBezTo>
                  <a:cubicBezTo>
                    <a:pt x="52956" y="84477"/>
                    <a:pt x="52956" y="86368"/>
                    <a:pt x="52325" y="89520"/>
                  </a:cubicBezTo>
                  <a:cubicBezTo>
                    <a:pt x="51064" y="95824"/>
                    <a:pt x="47912" y="98976"/>
                    <a:pt x="41608" y="98976"/>
                  </a:cubicBezTo>
                  <a:cubicBezTo>
                    <a:pt x="38456" y="98976"/>
                    <a:pt x="35934" y="97715"/>
                    <a:pt x="34043" y="95824"/>
                  </a:cubicBezTo>
                  <a:cubicBezTo>
                    <a:pt x="32152" y="93933"/>
                    <a:pt x="30891" y="90781"/>
                    <a:pt x="30891" y="86999"/>
                  </a:cubicBezTo>
                  <a:cubicBezTo>
                    <a:pt x="30891" y="81955"/>
                    <a:pt x="31521" y="77542"/>
                    <a:pt x="33413" y="74390"/>
                  </a:cubicBezTo>
                  <a:cubicBezTo>
                    <a:pt x="34673" y="70607"/>
                    <a:pt x="37195" y="67455"/>
                    <a:pt x="39717" y="64934"/>
                  </a:cubicBezTo>
                  <a:cubicBezTo>
                    <a:pt x="42238" y="62412"/>
                    <a:pt x="45390" y="59260"/>
                    <a:pt x="49804" y="55477"/>
                  </a:cubicBezTo>
                  <a:cubicBezTo>
                    <a:pt x="53586" y="52325"/>
                    <a:pt x="56108" y="49804"/>
                    <a:pt x="57999" y="47912"/>
                  </a:cubicBezTo>
                  <a:cubicBezTo>
                    <a:pt x="59890" y="46021"/>
                    <a:pt x="61151" y="44130"/>
                    <a:pt x="62412" y="42238"/>
                  </a:cubicBezTo>
                  <a:cubicBezTo>
                    <a:pt x="63673" y="40347"/>
                    <a:pt x="64303" y="37825"/>
                    <a:pt x="64303" y="35304"/>
                  </a:cubicBezTo>
                  <a:cubicBezTo>
                    <a:pt x="64303" y="30891"/>
                    <a:pt x="62412" y="26478"/>
                    <a:pt x="59260" y="23326"/>
                  </a:cubicBezTo>
                  <a:cubicBezTo>
                    <a:pt x="55477" y="20174"/>
                    <a:pt x="51064" y="18282"/>
                    <a:pt x="46021" y="18282"/>
                  </a:cubicBezTo>
                  <a:cubicBezTo>
                    <a:pt x="39717" y="18282"/>
                    <a:pt x="34673" y="20174"/>
                    <a:pt x="31521" y="23326"/>
                  </a:cubicBezTo>
                  <a:cubicBezTo>
                    <a:pt x="28369" y="26478"/>
                    <a:pt x="25848" y="31521"/>
                    <a:pt x="23956" y="37825"/>
                  </a:cubicBezTo>
                  <a:cubicBezTo>
                    <a:pt x="22065" y="44760"/>
                    <a:pt x="18282" y="47912"/>
                    <a:pt x="12608" y="47912"/>
                  </a:cubicBezTo>
                  <a:cubicBezTo>
                    <a:pt x="9456" y="47912"/>
                    <a:pt x="6304" y="46651"/>
                    <a:pt x="4413" y="44130"/>
                  </a:cubicBezTo>
                  <a:cubicBezTo>
                    <a:pt x="1261" y="42238"/>
                    <a:pt x="0" y="39717"/>
                    <a:pt x="0" y="37195"/>
                  </a:cubicBezTo>
                  <a:close/>
                  <a:moveTo>
                    <a:pt x="42869" y="133650"/>
                  </a:moveTo>
                  <a:cubicBezTo>
                    <a:pt x="39086" y="133650"/>
                    <a:pt x="35934" y="132389"/>
                    <a:pt x="33413" y="130498"/>
                  </a:cubicBezTo>
                  <a:cubicBezTo>
                    <a:pt x="30891" y="127976"/>
                    <a:pt x="29630" y="124824"/>
                    <a:pt x="29630" y="121041"/>
                  </a:cubicBezTo>
                  <a:cubicBezTo>
                    <a:pt x="29630" y="117259"/>
                    <a:pt x="30891" y="114107"/>
                    <a:pt x="33413" y="111585"/>
                  </a:cubicBezTo>
                  <a:cubicBezTo>
                    <a:pt x="35934" y="109063"/>
                    <a:pt x="39086" y="107802"/>
                    <a:pt x="42869" y="107802"/>
                  </a:cubicBezTo>
                  <a:cubicBezTo>
                    <a:pt x="46651" y="107802"/>
                    <a:pt x="49804" y="109063"/>
                    <a:pt x="52325" y="111585"/>
                  </a:cubicBezTo>
                  <a:cubicBezTo>
                    <a:pt x="54847" y="114107"/>
                    <a:pt x="56108" y="117259"/>
                    <a:pt x="56108" y="121041"/>
                  </a:cubicBezTo>
                  <a:cubicBezTo>
                    <a:pt x="56108" y="125454"/>
                    <a:pt x="54847" y="128606"/>
                    <a:pt x="52325" y="130498"/>
                  </a:cubicBezTo>
                  <a:cubicBezTo>
                    <a:pt x="49173" y="132389"/>
                    <a:pt x="46021" y="133650"/>
                    <a:pt x="42869" y="133650"/>
                  </a:cubicBez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4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6421893" y="4671660"/>
            <a:ext cx="391532" cy="406622"/>
            <a:chOff x="6421893" y="4671660"/>
            <a:chExt cx="391532" cy="406622"/>
          </a:xfrm>
          <a:solidFill>
            <a:srgbClr val="B1B1A1"/>
          </a:solidFill>
        </p:grpSpPr>
        <p:sp>
          <p:nvSpPr>
            <p:cNvPr id="35" name="Forma Livre: Forma 34">
              <a:extLst>
                <a:ext uri="{FF2B5EF4-FFF2-40B4-BE49-F238E27FC236}">
                  <a16:creationId xmlns:a16="http://schemas.microsoft.com/office/drawing/2014/main" id="{A8AC6E72-2630-4759-960E-E9489F22F364}"/>
                </a:ext>
              </a:extLst>
            </p:cNvPr>
            <p:cNvSpPr/>
            <p:nvPr/>
          </p:nvSpPr>
          <p:spPr>
            <a:xfrm>
              <a:off x="6421893" y="4690573"/>
              <a:ext cx="385786" cy="387709"/>
            </a:xfrm>
            <a:custGeom>
              <a:avLst/>
              <a:gdLst>
                <a:gd name="connsiteX0" fmla="*/ 305789 w 385786"/>
                <a:gd name="connsiteY0" fmla="*/ 387710 h 387709"/>
                <a:gd name="connsiteX1" fmla="*/ 95228 w 385786"/>
                <a:gd name="connsiteY1" fmla="*/ 293777 h 387709"/>
                <a:gd name="connsiteX2" fmla="*/ 93967 w 385786"/>
                <a:gd name="connsiteY2" fmla="*/ 292516 h 387709"/>
                <a:gd name="connsiteX3" fmla="*/ 93967 w 385786"/>
                <a:gd name="connsiteY3" fmla="*/ 292516 h 387709"/>
                <a:gd name="connsiteX4" fmla="*/ 34 w 385786"/>
                <a:gd name="connsiteY4" fmla="*/ 76281 h 387709"/>
                <a:gd name="connsiteX5" fmla="*/ 34 w 385786"/>
                <a:gd name="connsiteY5" fmla="*/ 70607 h 387709"/>
                <a:gd name="connsiteX6" fmla="*/ 3187 w 385786"/>
                <a:gd name="connsiteY6" fmla="*/ 66194 h 387709"/>
                <a:gd name="connsiteX7" fmla="*/ 19577 w 385786"/>
                <a:gd name="connsiteY7" fmla="*/ 47912 h 387709"/>
                <a:gd name="connsiteX8" fmla="*/ 90185 w 385786"/>
                <a:gd name="connsiteY8" fmla="*/ 1891 h 387709"/>
                <a:gd name="connsiteX9" fmla="*/ 100902 w 385786"/>
                <a:gd name="connsiteY9" fmla="*/ 0 h 387709"/>
                <a:gd name="connsiteX10" fmla="*/ 134945 w 385786"/>
                <a:gd name="connsiteY10" fmla="*/ 18913 h 387709"/>
                <a:gd name="connsiteX11" fmla="*/ 163944 w 385786"/>
                <a:gd name="connsiteY11" fmla="*/ 108433 h 387709"/>
                <a:gd name="connsiteX12" fmla="*/ 151336 w 385786"/>
                <a:gd name="connsiteY12" fmla="*/ 146258 h 387709"/>
                <a:gd name="connsiteX13" fmla="*/ 121706 w 385786"/>
                <a:gd name="connsiteY13" fmla="*/ 165171 h 387709"/>
                <a:gd name="connsiteX14" fmla="*/ 125488 w 385786"/>
                <a:gd name="connsiteY14" fmla="*/ 175257 h 387709"/>
                <a:gd name="connsiteX15" fmla="*/ 164575 w 385786"/>
                <a:gd name="connsiteY15" fmla="*/ 221278 h 387709"/>
                <a:gd name="connsiteX16" fmla="*/ 210595 w 385786"/>
                <a:gd name="connsiteY16" fmla="*/ 260364 h 387709"/>
                <a:gd name="connsiteX17" fmla="*/ 220052 w 385786"/>
                <a:gd name="connsiteY17" fmla="*/ 264147 h 387709"/>
                <a:gd name="connsiteX18" fmla="*/ 230139 w 385786"/>
                <a:gd name="connsiteY18" fmla="*/ 249647 h 387709"/>
                <a:gd name="connsiteX19" fmla="*/ 239595 w 385786"/>
                <a:gd name="connsiteY19" fmla="*/ 235148 h 387709"/>
                <a:gd name="connsiteX20" fmla="*/ 270485 w 385786"/>
                <a:gd name="connsiteY20" fmla="*/ 221909 h 387709"/>
                <a:gd name="connsiteX21" fmla="*/ 276790 w 385786"/>
                <a:gd name="connsiteY21" fmla="*/ 222539 h 387709"/>
                <a:gd name="connsiteX22" fmla="*/ 368201 w 385786"/>
                <a:gd name="connsiteY22" fmla="*/ 252169 h 387709"/>
                <a:gd name="connsiteX23" fmla="*/ 383962 w 385786"/>
                <a:gd name="connsiteY23" fmla="*/ 296929 h 387709"/>
                <a:gd name="connsiteX24" fmla="*/ 337941 w 385786"/>
                <a:gd name="connsiteY24" fmla="*/ 367536 h 387709"/>
                <a:gd name="connsiteX25" fmla="*/ 319659 w 385786"/>
                <a:gd name="connsiteY25" fmla="*/ 383927 h 387709"/>
                <a:gd name="connsiteX26" fmla="*/ 315246 w 385786"/>
                <a:gd name="connsiteY26" fmla="*/ 387079 h 387709"/>
                <a:gd name="connsiteX27" fmla="*/ 305789 w 385786"/>
                <a:gd name="connsiteY27" fmla="*/ 387710 h 387709"/>
                <a:gd name="connsiteX28" fmla="*/ 305789 w 385786"/>
                <a:gd name="connsiteY28" fmla="*/ 387710 h 387709"/>
                <a:gd name="connsiteX29" fmla="*/ 33447 w 385786"/>
                <a:gd name="connsiteY29" fmla="*/ 82585 h 387709"/>
                <a:gd name="connsiteX30" fmla="*/ 117293 w 385786"/>
                <a:gd name="connsiteY30" fmla="*/ 268560 h 387709"/>
                <a:gd name="connsiteX31" fmla="*/ 119184 w 385786"/>
                <a:gd name="connsiteY31" fmla="*/ 270451 h 387709"/>
                <a:gd name="connsiteX32" fmla="*/ 305159 w 385786"/>
                <a:gd name="connsiteY32" fmla="*/ 354298 h 387709"/>
                <a:gd name="connsiteX33" fmla="*/ 316507 w 385786"/>
                <a:gd name="connsiteY33" fmla="*/ 344211 h 387709"/>
                <a:gd name="connsiteX34" fmla="*/ 354962 w 385786"/>
                <a:gd name="connsiteY34" fmla="*/ 284951 h 387709"/>
                <a:gd name="connsiteX35" fmla="*/ 353701 w 385786"/>
                <a:gd name="connsiteY35" fmla="*/ 281168 h 387709"/>
                <a:gd name="connsiteX36" fmla="*/ 271746 w 385786"/>
                <a:gd name="connsiteY36" fmla="*/ 255321 h 387709"/>
                <a:gd name="connsiteX37" fmla="*/ 267964 w 385786"/>
                <a:gd name="connsiteY37" fmla="*/ 255951 h 387709"/>
                <a:gd name="connsiteX38" fmla="*/ 250943 w 385786"/>
                <a:gd name="connsiteY38" fmla="*/ 282429 h 387709"/>
                <a:gd name="connsiteX39" fmla="*/ 192944 w 385786"/>
                <a:gd name="connsiteY39" fmla="*/ 287473 h 387709"/>
                <a:gd name="connsiteX40" fmla="*/ 143140 w 385786"/>
                <a:gd name="connsiteY40" fmla="*/ 245234 h 387709"/>
                <a:gd name="connsiteX41" fmla="*/ 100271 w 385786"/>
                <a:gd name="connsiteY41" fmla="*/ 195431 h 387709"/>
                <a:gd name="connsiteX42" fmla="*/ 90815 w 385786"/>
                <a:gd name="connsiteY42" fmla="*/ 158867 h 387709"/>
                <a:gd name="connsiteX43" fmla="*/ 105315 w 385786"/>
                <a:gd name="connsiteY43" fmla="*/ 137432 h 387709"/>
                <a:gd name="connsiteX44" fmla="*/ 131793 w 385786"/>
                <a:gd name="connsiteY44" fmla="*/ 120411 h 387709"/>
                <a:gd name="connsiteX45" fmla="*/ 132423 w 385786"/>
                <a:gd name="connsiteY45" fmla="*/ 115998 h 387709"/>
                <a:gd name="connsiteX46" fmla="*/ 105945 w 385786"/>
                <a:gd name="connsiteY46" fmla="*/ 34673 h 387709"/>
                <a:gd name="connsiteX47" fmla="*/ 101532 w 385786"/>
                <a:gd name="connsiteY47" fmla="*/ 33412 h 387709"/>
                <a:gd name="connsiteX48" fmla="*/ 43533 w 385786"/>
                <a:gd name="connsiteY48" fmla="*/ 71868 h 387709"/>
                <a:gd name="connsiteX49" fmla="*/ 33447 w 385786"/>
                <a:gd name="connsiteY49" fmla="*/ 82585 h 387709"/>
                <a:gd name="connsiteX50" fmla="*/ 33447 w 385786"/>
                <a:gd name="connsiteY50" fmla="*/ 82585 h 387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385786" h="387709">
                  <a:moveTo>
                    <a:pt x="305789" y="387710"/>
                  </a:moveTo>
                  <a:cubicBezTo>
                    <a:pt x="231400" y="387710"/>
                    <a:pt x="155118" y="353667"/>
                    <a:pt x="95228" y="293777"/>
                  </a:cubicBezTo>
                  <a:lnTo>
                    <a:pt x="93967" y="292516"/>
                  </a:lnTo>
                  <a:lnTo>
                    <a:pt x="93967" y="292516"/>
                  </a:lnTo>
                  <a:cubicBezTo>
                    <a:pt x="32186" y="230104"/>
                    <a:pt x="-1226" y="151932"/>
                    <a:pt x="34" y="76281"/>
                  </a:cubicBezTo>
                  <a:lnTo>
                    <a:pt x="34" y="70607"/>
                  </a:lnTo>
                  <a:lnTo>
                    <a:pt x="3187" y="66194"/>
                  </a:lnTo>
                  <a:cubicBezTo>
                    <a:pt x="8230" y="59259"/>
                    <a:pt x="13904" y="53586"/>
                    <a:pt x="19577" y="47912"/>
                  </a:cubicBezTo>
                  <a:cubicBezTo>
                    <a:pt x="39751" y="27738"/>
                    <a:pt x="63707" y="11978"/>
                    <a:pt x="90185" y="1891"/>
                  </a:cubicBezTo>
                  <a:cubicBezTo>
                    <a:pt x="93337" y="630"/>
                    <a:pt x="97119" y="0"/>
                    <a:pt x="100902" y="0"/>
                  </a:cubicBezTo>
                  <a:cubicBezTo>
                    <a:pt x="109728" y="0"/>
                    <a:pt x="129901" y="4413"/>
                    <a:pt x="134945" y="18913"/>
                  </a:cubicBezTo>
                  <a:cubicBezTo>
                    <a:pt x="143771" y="44130"/>
                    <a:pt x="155749" y="76912"/>
                    <a:pt x="163944" y="108433"/>
                  </a:cubicBezTo>
                  <a:cubicBezTo>
                    <a:pt x="166466" y="117258"/>
                    <a:pt x="163944" y="138693"/>
                    <a:pt x="151336" y="146258"/>
                  </a:cubicBezTo>
                  <a:lnTo>
                    <a:pt x="121706" y="165171"/>
                  </a:lnTo>
                  <a:cubicBezTo>
                    <a:pt x="121706" y="165171"/>
                    <a:pt x="121706" y="170214"/>
                    <a:pt x="125488" y="175257"/>
                  </a:cubicBezTo>
                  <a:cubicBezTo>
                    <a:pt x="136836" y="191018"/>
                    <a:pt x="150075" y="206148"/>
                    <a:pt x="164575" y="221278"/>
                  </a:cubicBezTo>
                  <a:cubicBezTo>
                    <a:pt x="179074" y="235778"/>
                    <a:pt x="194835" y="249017"/>
                    <a:pt x="210595" y="260364"/>
                  </a:cubicBezTo>
                  <a:cubicBezTo>
                    <a:pt x="213747" y="262886"/>
                    <a:pt x="216900" y="264147"/>
                    <a:pt x="220052" y="264147"/>
                  </a:cubicBezTo>
                  <a:lnTo>
                    <a:pt x="230139" y="249647"/>
                  </a:lnTo>
                  <a:lnTo>
                    <a:pt x="239595" y="235148"/>
                  </a:lnTo>
                  <a:cubicBezTo>
                    <a:pt x="247790" y="222539"/>
                    <a:pt x="267964" y="221909"/>
                    <a:pt x="270485" y="221909"/>
                  </a:cubicBezTo>
                  <a:cubicBezTo>
                    <a:pt x="273007" y="221909"/>
                    <a:pt x="274899" y="221909"/>
                    <a:pt x="276790" y="222539"/>
                  </a:cubicBezTo>
                  <a:cubicBezTo>
                    <a:pt x="315876" y="231365"/>
                    <a:pt x="338571" y="238930"/>
                    <a:pt x="368201" y="252169"/>
                  </a:cubicBezTo>
                  <a:cubicBezTo>
                    <a:pt x="381440" y="257843"/>
                    <a:pt x="389635" y="281799"/>
                    <a:pt x="383962" y="296929"/>
                  </a:cubicBezTo>
                  <a:cubicBezTo>
                    <a:pt x="373875" y="323407"/>
                    <a:pt x="358114" y="347363"/>
                    <a:pt x="337941" y="367536"/>
                  </a:cubicBezTo>
                  <a:cubicBezTo>
                    <a:pt x="332267" y="373210"/>
                    <a:pt x="325963" y="378884"/>
                    <a:pt x="319659" y="383927"/>
                  </a:cubicBezTo>
                  <a:lnTo>
                    <a:pt x="315246" y="387079"/>
                  </a:lnTo>
                  <a:lnTo>
                    <a:pt x="305789" y="387710"/>
                  </a:lnTo>
                  <a:lnTo>
                    <a:pt x="305789" y="387710"/>
                  </a:lnTo>
                  <a:close/>
                  <a:moveTo>
                    <a:pt x="33447" y="82585"/>
                  </a:moveTo>
                  <a:cubicBezTo>
                    <a:pt x="33447" y="146888"/>
                    <a:pt x="64968" y="216235"/>
                    <a:pt x="117293" y="268560"/>
                  </a:cubicBezTo>
                  <a:lnTo>
                    <a:pt x="119184" y="270451"/>
                  </a:lnTo>
                  <a:cubicBezTo>
                    <a:pt x="172140" y="323407"/>
                    <a:pt x="239595" y="353667"/>
                    <a:pt x="305159" y="354298"/>
                  </a:cubicBezTo>
                  <a:cubicBezTo>
                    <a:pt x="308941" y="351145"/>
                    <a:pt x="312724" y="347993"/>
                    <a:pt x="316507" y="344211"/>
                  </a:cubicBezTo>
                  <a:cubicBezTo>
                    <a:pt x="333528" y="327189"/>
                    <a:pt x="346136" y="307646"/>
                    <a:pt x="354962" y="284951"/>
                  </a:cubicBezTo>
                  <a:cubicBezTo>
                    <a:pt x="354962" y="284951"/>
                    <a:pt x="354332" y="283060"/>
                    <a:pt x="353701" y="281168"/>
                  </a:cubicBezTo>
                  <a:cubicBezTo>
                    <a:pt x="327854" y="269821"/>
                    <a:pt x="306420" y="262886"/>
                    <a:pt x="271746" y="255321"/>
                  </a:cubicBezTo>
                  <a:cubicBezTo>
                    <a:pt x="271116" y="255321"/>
                    <a:pt x="269225" y="255951"/>
                    <a:pt x="267964" y="255951"/>
                  </a:cubicBezTo>
                  <a:lnTo>
                    <a:pt x="250943" y="282429"/>
                  </a:lnTo>
                  <a:cubicBezTo>
                    <a:pt x="240856" y="299451"/>
                    <a:pt x="213117" y="301972"/>
                    <a:pt x="192944" y="287473"/>
                  </a:cubicBezTo>
                  <a:cubicBezTo>
                    <a:pt x="175922" y="275495"/>
                    <a:pt x="159531" y="260995"/>
                    <a:pt x="143140" y="245234"/>
                  </a:cubicBezTo>
                  <a:cubicBezTo>
                    <a:pt x="127380" y="228843"/>
                    <a:pt x="112880" y="212452"/>
                    <a:pt x="100271" y="195431"/>
                  </a:cubicBezTo>
                  <a:cubicBezTo>
                    <a:pt x="92076" y="184083"/>
                    <a:pt x="88924" y="170844"/>
                    <a:pt x="90815" y="158867"/>
                  </a:cubicBezTo>
                  <a:cubicBezTo>
                    <a:pt x="92707" y="149410"/>
                    <a:pt x="97750" y="141845"/>
                    <a:pt x="105315" y="137432"/>
                  </a:cubicBezTo>
                  <a:lnTo>
                    <a:pt x="131793" y="120411"/>
                  </a:lnTo>
                  <a:cubicBezTo>
                    <a:pt x="132423" y="119150"/>
                    <a:pt x="132423" y="116628"/>
                    <a:pt x="132423" y="115998"/>
                  </a:cubicBezTo>
                  <a:cubicBezTo>
                    <a:pt x="124858" y="88889"/>
                    <a:pt x="114771" y="58629"/>
                    <a:pt x="105945" y="34673"/>
                  </a:cubicBezTo>
                  <a:cubicBezTo>
                    <a:pt x="104684" y="34043"/>
                    <a:pt x="102793" y="33412"/>
                    <a:pt x="101532" y="33412"/>
                  </a:cubicBezTo>
                  <a:cubicBezTo>
                    <a:pt x="80098" y="41608"/>
                    <a:pt x="60555" y="54847"/>
                    <a:pt x="43533" y="71868"/>
                  </a:cubicBezTo>
                  <a:cubicBezTo>
                    <a:pt x="40381" y="75020"/>
                    <a:pt x="37229" y="78803"/>
                    <a:pt x="33447" y="82585"/>
                  </a:cubicBezTo>
                  <a:lnTo>
                    <a:pt x="33447" y="82585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6" name="Forma Livre: Forma 35">
              <a:extLst>
                <a:ext uri="{FF2B5EF4-FFF2-40B4-BE49-F238E27FC236}">
                  <a16:creationId xmlns:a16="http://schemas.microsoft.com/office/drawing/2014/main" id="{30B8333E-C356-48E3-B6D8-B65C2A8F8E49}"/>
                </a:ext>
              </a:extLst>
            </p:cNvPr>
            <p:cNvSpPr/>
            <p:nvPr/>
          </p:nvSpPr>
          <p:spPr>
            <a:xfrm>
              <a:off x="6606641" y="4671660"/>
              <a:ext cx="206784" cy="206778"/>
            </a:xfrm>
            <a:custGeom>
              <a:avLst/>
              <a:gdLst>
                <a:gd name="connsiteX0" fmla="*/ 103389 w 206784"/>
                <a:gd name="connsiteY0" fmla="*/ 206779 h 206778"/>
                <a:gd name="connsiteX1" fmla="*/ 0 w 206784"/>
                <a:gd name="connsiteY1" fmla="*/ 103389 h 206778"/>
                <a:gd name="connsiteX2" fmla="*/ 103389 w 206784"/>
                <a:gd name="connsiteY2" fmla="*/ 0 h 206778"/>
                <a:gd name="connsiteX3" fmla="*/ 206779 w 206784"/>
                <a:gd name="connsiteY3" fmla="*/ 103389 h 206778"/>
                <a:gd name="connsiteX4" fmla="*/ 103389 w 206784"/>
                <a:gd name="connsiteY4" fmla="*/ 206779 h 206778"/>
                <a:gd name="connsiteX5" fmla="*/ 103389 w 206784"/>
                <a:gd name="connsiteY5" fmla="*/ 206779 h 206778"/>
                <a:gd name="connsiteX6" fmla="*/ 103389 w 206784"/>
                <a:gd name="connsiteY6" fmla="*/ 16391 h 206778"/>
                <a:gd name="connsiteX7" fmla="*/ 16391 w 206784"/>
                <a:gd name="connsiteY7" fmla="*/ 103389 h 206778"/>
                <a:gd name="connsiteX8" fmla="*/ 103389 w 206784"/>
                <a:gd name="connsiteY8" fmla="*/ 190388 h 206778"/>
                <a:gd name="connsiteX9" fmla="*/ 190388 w 206784"/>
                <a:gd name="connsiteY9" fmla="*/ 103389 h 206778"/>
                <a:gd name="connsiteX10" fmla="*/ 103389 w 206784"/>
                <a:gd name="connsiteY10" fmla="*/ 16391 h 206778"/>
                <a:gd name="connsiteX11" fmla="*/ 103389 w 206784"/>
                <a:gd name="connsiteY11" fmla="*/ 16391 h 206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784" h="206778">
                  <a:moveTo>
                    <a:pt x="103389" y="206779"/>
                  </a:moveTo>
                  <a:cubicBezTo>
                    <a:pt x="46651" y="206779"/>
                    <a:pt x="0" y="160127"/>
                    <a:pt x="0" y="103389"/>
                  </a:cubicBezTo>
                  <a:cubicBezTo>
                    <a:pt x="0" y="46021"/>
                    <a:pt x="46651" y="0"/>
                    <a:pt x="103389" y="0"/>
                  </a:cubicBezTo>
                  <a:cubicBezTo>
                    <a:pt x="160758" y="0"/>
                    <a:pt x="206779" y="46651"/>
                    <a:pt x="206779" y="103389"/>
                  </a:cubicBezTo>
                  <a:cubicBezTo>
                    <a:pt x="207409" y="160127"/>
                    <a:pt x="160758" y="206779"/>
                    <a:pt x="103389" y="206779"/>
                  </a:cubicBezTo>
                  <a:lnTo>
                    <a:pt x="103389" y="206779"/>
                  </a:lnTo>
                  <a:close/>
                  <a:moveTo>
                    <a:pt x="103389" y="16391"/>
                  </a:moveTo>
                  <a:cubicBezTo>
                    <a:pt x="55477" y="16391"/>
                    <a:pt x="16391" y="55477"/>
                    <a:pt x="16391" y="103389"/>
                  </a:cubicBezTo>
                  <a:cubicBezTo>
                    <a:pt x="16391" y="151301"/>
                    <a:pt x="55477" y="190388"/>
                    <a:pt x="103389" y="190388"/>
                  </a:cubicBezTo>
                  <a:cubicBezTo>
                    <a:pt x="151301" y="190388"/>
                    <a:pt x="190388" y="151301"/>
                    <a:pt x="190388" y="103389"/>
                  </a:cubicBezTo>
                  <a:cubicBezTo>
                    <a:pt x="190388" y="55477"/>
                    <a:pt x="151301" y="16391"/>
                    <a:pt x="103389" y="16391"/>
                  </a:cubicBezTo>
                  <a:lnTo>
                    <a:pt x="103389" y="1639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7" name="Forma Livre: Forma 36">
              <a:extLst>
                <a:ext uri="{FF2B5EF4-FFF2-40B4-BE49-F238E27FC236}">
                  <a16:creationId xmlns:a16="http://schemas.microsoft.com/office/drawing/2014/main" id="{749A737A-8531-43B9-8A61-6136B88AB3AB}"/>
                </a:ext>
              </a:extLst>
            </p:cNvPr>
            <p:cNvSpPr/>
            <p:nvPr/>
          </p:nvSpPr>
          <p:spPr>
            <a:xfrm>
              <a:off x="6696161" y="4712007"/>
              <a:ext cx="27108" cy="133649"/>
            </a:xfrm>
            <a:custGeom>
              <a:avLst/>
              <a:gdLst>
                <a:gd name="connsiteX0" fmla="*/ 3782 w 27108"/>
                <a:gd name="connsiteY0" fmla="*/ 75651 h 133649"/>
                <a:gd name="connsiteX1" fmla="*/ 1261 w 27108"/>
                <a:gd name="connsiteY1" fmla="*/ 33413 h 133649"/>
                <a:gd name="connsiteX2" fmla="*/ 630 w 27108"/>
                <a:gd name="connsiteY2" fmla="*/ 15761 h 133649"/>
                <a:gd name="connsiteX3" fmla="*/ 4413 w 27108"/>
                <a:gd name="connsiteY3" fmla="*/ 4413 h 133649"/>
                <a:gd name="connsiteX4" fmla="*/ 14500 w 27108"/>
                <a:gd name="connsiteY4" fmla="*/ 0 h 133649"/>
                <a:gd name="connsiteX5" fmla="*/ 24586 w 27108"/>
                <a:gd name="connsiteY5" fmla="*/ 5044 h 133649"/>
                <a:gd name="connsiteX6" fmla="*/ 27108 w 27108"/>
                <a:gd name="connsiteY6" fmla="*/ 20174 h 133649"/>
                <a:gd name="connsiteX7" fmla="*/ 26478 w 27108"/>
                <a:gd name="connsiteY7" fmla="*/ 32152 h 133649"/>
                <a:gd name="connsiteX8" fmla="*/ 22695 w 27108"/>
                <a:gd name="connsiteY8" fmla="*/ 75651 h 133649"/>
                <a:gd name="connsiteX9" fmla="*/ 20174 w 27108"/>
                <a:gd name="connsiteY9" fmla="*/ 87629 h 133649"/>
                <a:gd name="connsiteX10" fmla="*/ 13239 w 27108"/>
                <a:gd name="connsiteY10" fmla="*/ 92042 h 133649"/>
                <a:gd name="connsiteX11" fmla="*/ 6934 w 27108"/>
                <a:gd name="connsiteY11" fmla="*/ 88259 h 133649"/>
                <a:gd name="connsiteX12" fmla="*/ 3782 w 27108"/>
                <a:gd name="connsiteY12" fmla="*/ 75651 h 133649"/>
                <a:gd name="connsiteX13" fmla="*/ 13239 w 27108"/>
                <a:gd name="connsiteY13" fmla="*/ 133650 h 133649"/>
                <a:gd name="connsiteX14" fmla="*/ 3782 w 27108"/>
                <a:gd name="connsiteY14" fmla="*/ 130498 h 133649"/>
                <a:gd name="connsiteX15" fmla="*/ 0 w 27108"/>
                <a:gd name="connsiteY15" fmla="*/ 121041 h 133649"/>
                <a:gd name="connsiteX16" fmla="*/ 3782 w 27108"/>
                <a:gd name="connsiteY16" fmla="*/ 111585 h 133649"/>
                <a:gd name="connsiteX17" fmla="*/ 13239 w 27108"/>
                <a:gd name="connsiteY17" fmla="*/ 107802 h 133649"/>
                <a:gd name="connsiteX18" fmla="*/ 22695 w 27108"/>
                <a:gd name="connsiteY18" fmla="*/ 111585 h 133649"/>
                <a:gd name="connsiteX19" fmla="*/ 26478 w 27108"/>
                <a:gd name="connsiteY19" fmla="*/ 121041 h 133649"/>
                <a:gd name="connsiteX20" fmla="*/ 22695 w 27108"/>
                <a:gd name="connsiteY20" fmla="*/ 130498 h 133649"/>
                <a:gd name="connsiteX21" fmla="*/ 13239 w 27108"/>
                <a:gd name="connsiteY21" fmla="*/ 133650 h 133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7108" h="133649">
                  <a:moveTo>
                    <a:pt x="3782" y="75651"/>
                  </a:moveTo>
                  <a:lnTo>
                    <a:pt x="1261" y="33413"/>
                  </a:lnTo>
                  <a:cubicBezTo>
                    <a:pt x="630" y="25217"/>
                    <a:pt x="630" y="19543"/>
                    <a:pt x="630" y="15761"/>
                  </a:cubicBezTo>
                  <a:cubicBezTo>
                    <a:pt x="630" y="10717"/>
                    <a:pt x="1891" y="6935"/>
                    <a:pt x="4413" y="4413"/>
                  </a:cubicBezTo>
                  <a:cubicBezTo>
                    <a:pt x="6934" y="1892"/>
                    <a:pt x="10087" y="0"/>
                    <a:pt x="14500" y="0"/>
                  </a:cubicBezTo>
                  <a:cubicBezTo>
                    <a:pt x="19543" y="0"/>
                    <a:pt x="22695" y="1892"/>
                    <a:pt x="24586" y="5044"/>
                  </a:cubicBezTo>
                  <a:cubicBezTo>
                    <a:pt x="26478" y="8826"/>
                    <a:pt x="27108" y="13869"/>
                    <a:pt x="27108" y="20174"/>
                  </a:cubicBezTo>
                  <a:cubicBezTo>
                    <a:pt x="27108" y="23956"/>
                    <a:pt x="27108" y="27739"/>
                    <a:pt x="26478" y="32152"/>
                  </a:cubicBezTo>
                  <a:lnTo>
                    <a:pt x="22695" y="75651"/>
                  </a:lnTo>
                  <a:cubicBezTo>
                    <a:pt x="22065" y="80694"/>
                    <a:pt x="21434" y="84477"/>
                    <a:pt x="20174" y="87629"/>
                  </a:cubicBezTo>
                  <a:cubicBezTo>
                    <a:pt x="18913" y="90151"/>
                    <a:pt x="16391" y="92042"/>
                    <a:pt x="13239" y="92042"/>
                  </a:cubicBezTo>
                  <a:cubicBezTo>
                    <a:pt x="10087" y="92042"/>
                    <a:pt x="7565" y="90781"/>
                    <a:pt x="6934" y="88259"/>
                  </a:cubicBezTo>
                  <a:cubicBezTo>
                    <a:pt x="5043" y="85107"/>
                    <a:pt x="4413" y="81325"/>
                    <a:pt x="3782" y="75651"/>
                  </a:cubicBezTo>
                  <a:close/>
                  <a:moveTo>
                    <a:pt x="13239" y="133650"/>
                  </a:moveTo>
                  <a:cubicBezTo>
                    <a:pt x="9456" y="133650"/>
                    <a:pt x="6304" y="132389"/>
                    <a:pt x="3782" y="130498"/>
                  </a:cubicBezTo>
                  <a:cubicBezTo>
                    <a:pt x="1261" y="127976"/>
                    <a:pt x="0" y="124824"/>
                    <a:pt x="0" y="121041"/>
                  </a:cubicBezTo>
                  <a:cubicBezTo>
                    <a:pt x="0" y="117259"/>
                    <a:pt x="1261" y="114107"/>
                    <a:pt x="3782" y="111585"/>
                  </a:cubicBezTo>
                  <a:cubicBezTo>
                    <a:pt x="6304" y="109063"/>
                    <a:pt x="9456" y="107802"/>
                    <a:pt x="13239" y="107802"/>
                  </a:cubicBezTo>
                  <a:cubicBezTo>
                    <a:pt x="17021" y="107802"/>
                    <a:pt x="20174" y="109063"/>
                    <a:pt x="22695" y="111585"/>
                  </a:cubicBezTo>
                  <a:cubicBezTo>
                    <a:pt x="25217" y="114107"/>
                    <a:pt x="26478" y="117259"/>
                    <a:pt x="26478" y="121041"/>
                  </a:cubicBezTo>
                  <a:cubicBezTo>
                    <a:pt x="26478" y="125454"/>
                    <a:pt x="25217" y="128606"/>
                    <a:pt x="22695" y="130498"/>
                  </a:cubicBezTo>
                  <a:cubicBezTo>
                    <a:pt x="20174" y="132389"/>
                    <a:pt x="17021" y="133650"/>
                    <a:pt x="13239" y="133650"/>
                  </a:cubicBez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8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8463832" y="4672921"/>
            <a:ext cx="394678" cy="395905"/>
            <a:chOff x="8463832" y="4672921"/>
            <a:chExt cx="394678" cy="395905"/>
          </a:xfrm>
          <a:solidFill>
            <a:srgbClr val="B1B1A1"/>
          </a:solidFill>
        </p:grpSpPr>
        <p:sp>
          <p:nvSpPr>
            <p:cNvPr id="39" name="Forma Livre: Forma 38">
              <a:extLst>
                <a:ext uri="{FF2B5EF4-FFF2-40B4-BE49-F238E27FC236}">
                  <a16:creationId xmlns:a16="http://schemas.microsoft.com/office/drawing/2014/main" id="{3CAE6999-E500-4031-997F-3DCB9AA56054}"/>
                </a:ext>
              </a:extLst>
            </p:cNvPr>
            <p:cNvSpPr/>
            <p:nvPr/>
          </p:nvSpPr>
          <p:spPr>
            <a:xfrm>
              <a:off x="8463832" y="4681116"/>
              <a:ext cx="385786" cy="387709"/>
            </a:xfrm>
            <a:custGeom>
              <a:avLst/>
              <a:gdLst>
                <a:gd name="connsiteX0" fmla="*/ 305789 w 385786"/>
                <a:gd name="connsiteY0" fmla="*/ 387710 h 387709"/>
                <a:gd name="connsiteX1" fmla="*/ 95227 w 385786"/>
                <a:gd name="connsiteY1" fmla="*/ 293777 h 387709"/>
                <a:gd name="connsiteX2" fmla="*/ 93967 w 385786"/>
                <a:gd name="connsiteY2" fmla="*/ 292516 h 387709"/>
                <a:gd name="connsiteX3" fmla="*/ 34 w 385786"/>
                <a:gd name="connsiteY3" fmla="*/ 76281 h 387709"/>
                <a:gd name="connsiteX4" fmla="*/ 34 w 385786"/>
                <a:gd name="connsiteY4" fmla="*/ 70607 h 387709"/>
                <a:gd name="connsiteX5" fmla="*/ 3186 w 385786"/>
                <a:gd name="connsiteY5" fmla="*/ 66194 h 387709"/>
                <a:gd name="connsiteX6" fmla="*/ 19577 w 385786"/>
                <a:gd name="connsiteY6" fmla="*/ 47912 h 387709"/>
                <a:gd name="connsiteX7" fmla="*/ 90185 w 385786"/>
                <a:gd name="connsiteY7" fmla="*/ 1891 h 387709"/>
                <a:gd name="connsiteX8" fmla="*/ 100901 w 385786"/>
                <a:gd name="connsiteY8" fmla="*/ 0 h 387709"/>
                <a:gd name="connsiteX9" fmla="*/ 134944 w 385786"/>
                <a:gd name="connsiteY9" fmla="*/ 18913 h 387709"/>
                <a:gd name="connsiteX10" fmla="*/ 163944 w 385786"/>
                <a:gd name="connsiteY10" fmla="*/ 108433 h 387709"/>
                <a:gd name="connsiteX11" fmla="*/ 151335 w 385786"/>
                <a:gd name="connsiteY11" fmla="*/ 146258 h 387709"/>
                <a:gd name="connsiteX12" fmla="*/ 121706 w 385786"/>
                <a:gd name="connsiteY12" fmla="*/ 165171 h 387709"/>
                <a:gd name="connsiteX13" fmla="*/ 125488 w 385786"/>
                <a:gd name="connsiteY13" fmla="*/ 175257 h 387709"/>
                <a:gd name="connsiteX14" fmla="*/ 164574 w 385786"/>
                <a:gd name="connsiteY14" fmla="*/ 221278 h 387709"/>
                <a:gd name="connsiteX15" fmla="*/ 210595 w 385786"/>
                <a:gd name="connsiteY15" fmla="*/ 260364 h 387709"/>
                <a:gd name="connsiteX16" fmla="*/ 220051 w 385786"/>
                <a:gd name="connsiteY16" fmla="*/ 264147 h 387709"/>
                <a:gd name="connsiteX17" fmla="*/ 221943 w 385786"/>
                <a:gd name="connsiteY17" fmla="*/ 264147 h 387709"/>
                <a:gd name="connsiteX18" fmla="*/ 239594 w 385786"/>
                <a:gd name="connsiteY18" fmla="*/ 235148 h 387709"/>
                <a:gd name="connsiteX19" fmla="*/ 270485 w 385786"/>
                <a:gd name="connsiteY19" fmla="*/ 221909 h 387709"/>
                <a:gd name="connsiteX20" fmla="*/ 276789 w 385786"/>
                <a:gd name="connsiteY20" fmla="*/ 222539 h 387709"/>
                <a:gd name="connsiteX21" fmla="*/ 368201 w 385786"/>
                <a:gd name="connsiteY21" fmla="*/ 252169 h 387709"/>
                <a:gd name="connsiteX22" fmla="*/ 383961 w 385786"/>
                <a:gd name="connsiteY22" fmla="*/ 296929 h 387709"/>
                <a:gd name="connsiteX23" fmla="*/ 337940 w 385786"/>
                <a:gd name="connsiteY23" fmla="*/ 367536 h 387709"/>
                <a:gd name="connsiteX24" fmla="*/ 319658 w 385786"/>
                <a:gd name="connsiteY24" fmla="*/ 383927 h 387709"/>
                <a:gd name="connsiteX25" fmla="*/ 315245 w 385786"/>
                <a:gd name="connsiteY25" fmla="*/ 387079 h 387709"/>
                <a:gd name="connsiteX26" fmla="*/ 305789 w 385786"/>
                <a:gd name="connsiteY26" fmla="*/ 387710 h 387709"/>
                <a:gd name="connsiteX27" fmla="*/ 305789 w 385786"/>
                <a:gd name="connsiteY27" fmla="*/ 387710 h 387709"/>
                <a:gd name="connsiteX28" fmla="*/ 33447 w 385786"/>
                <a:gd name="connsiteY28" fmla="*/ 83216 h 387709"/>
                <a:gd name="connsiteX29" fmla="*/ 117292 w 385786"/>
                <a:gd name="connsiteY29" fmla="*/ 269191 h 387709"/>
                <a:gd name="connsiteX30" fmla="*/ 119184 w 385786"/>
                <a:gd name="connsiteY30" fmla="*/ 271082 h 387709"/>
                <a:gd name="connsiteX31" fmla="*/ 305158 w 385786"/>
                <a:gd name="connsiteY31" fmla="*/ 354298 h 387709"/>
                <a:gd name="connsiteX32" fmla="*/ 316506 w 385786"/>
                <a:gd name="connsiteY32" fmla="*/ 344211 h 387709"/>
                <a:gd name="connsiteX33" fmla="*/ 354962 w 385786"/>
                <a:gd name="connsiteY33" fmla="*/ 284951 h 387709"/>
                <a:gd name="connsiteX34" fmla="*/ 353701 w 385786"/>
                <a:gd name="connsiteY34" fmla="*/ 281168 h 387709"/>
                <a:gd name="connsiteX35" fmla="*/ 271746 w 385786"/>
                <a:gd name="connsiteY35" fmla="*/ 255321 h 387709"/>
                <a:gd name="connsiteX36" fmla="*/ 267963 w 385786"/>
                <a:gd name="connsiteY36" fmla="*/ 255951 h 387709"/>
                <a:gd name="connsiteX37" fmla="*/ 250942 w 385786"/>
                <a:gd name="connsiteY37" fmla="*/ 282429 h 387709"/>
                <a:gd name="connsiteX38" fmla="*/ 192943 w 385786"/>
                <a:gd name="connsiteY38" fmla="*/ 287473 h 387709"/>
                <a:gd name="connsiteX39" fmla="*/ 143140 w 385786"/>
                <a:gd name="connsiteY39" fmla="*/ 245234 h 387709"/>
                <a:gd name="connsiteX40" fmla="*/ 100271 w 385786"/>
                <a:gd name="connsiteY40" fmla="*/ 195431 h 387709"/>
                <a:gd name="connsiteX41" fmla="*/ 90815 w 385786"/>
                <a:gd name="connsiteY41" fmla="*/ 158867 h 387709"/>
                <a:gd name="connsiteX42" fmla="*/ 105315 w 385786"/>
                <a:gd name="connsiteY42" fmla="*/ 137432 h 387709"/>
                <a:gd name="connsiteX43" fmla="*/ 131792 w 385786"/>
                <a:gd name="connsiteY43" fmla="*/ 120411 h 387709"/>
                <a:gd name="connsiteX44" fmla="*/ 132423 w 385786"/>
                <a:gd name="connsiteY44" fmla="*/ 115998 h 387709"/>
                <a:gd name="connsiteX45" fmla="*/ 105945 w 385786"/>
                <a:gd name="connsiteY45" fmla="*/ 34673 h 387709"/>
                <a:gd name="connsiteX46" fmla="*/ 101532 w 385786"/>
                <a:gd name="connsiteY46" fmla="*/ 33412 h 387709"/>
                <a:gd name="connsiteX47" fmla="*/ 43533 w 385786"/>
                <a:gd name="connsiteY47" fmla="*/ 71868 h 387709"/>
                <a:gd name="connsiteX48" fmla="*/ 33447 w 385786"/>
                <a:gd name="connsiteY48" fmla="*/ 83216 h 387709"/>
                <a:gd name="connsiteX49" fmla="*/ 33447 w 385786"/>
                <a:gd name="connsiteY49" fmla="*/ 83216 h 387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385786" h="387709">
                  <a:moveTo>
                    <a:pt x="305789" y="387710"/>
                  </a:moveTo>
                  <a:cubicBezTo>
                    <a:pt x="231399" y="387710"/>
                    <a:pt x="155118" y="353667"/>
                    <a:pt x="95227" y="293777"/>
                  </a:cubicBezTo>
                  <a:lnTo>
                    <a:pt x="93967" y="292516"/>
                  </a:lnTo>
                  <a:cubicBezTo>
                    <a:pt x="32816" y="231365"/>
                    <a:pt x="-1227" y="152562"/>
                    <a:pt x="34" y="76281"/>
                  </a:cubicBezTo>
                  <a:lnTo>
                    <a:pt x="34" y="70607"/>
                  </a:lnTo>
                  <a:lnTo>
                    <a:pt x="3186" y="66194"/>
                  </a:lnTo>
                  <a:cubicBezTo>
                    <a:pt x="8230" y="59259"/>
                    <a:pt x="13904" y="53586"/>
                    <a:pt x="19577" y="47912"/>
                  </a:cubicBezTo>
                  <a:cubicBezTo>
                    <a:pt x="39751" y="27738"/>
                    <a:pt x="63706" y="11978"/>
                    <a:pt x="90185" y="1891"/>
                  </a:cubicBezTo>
                  <a:cubicBezTo>
                    <a:pt x="93337" y="630"/>
                    <a:pt x="97119" y="0"/>
                    <a:pt x="100901" y="0"/>
                  </a:cubicBezTo>
                  <a:cubicBezTo>
                    <a:pt x="109727" y="0"/>
                    <a:pt x="129901" y="4413"/>
                    <a:pt x="134944" y="18913"/>
                  </a:cubicBezTo>
                  <a:cubicBezTo>
                    <a:pt x="143770" y="44130"/>
                    <a:pt x="155749" y="76912"/>
                    <a:pt x="163944" y="108433"/>
                  </a:cubicBezTo>
                  <a:cubicBezTo>
                    <a:pt x="166466" y="117889"/>
                    <a:pt x="163313" y="138693"/>
                    <a:pt x="151335" y="146258"/>
                  </a:cubicBezTo>
                  <a:lnTo>
                    <a:pt x="121706" y="165171"/>
                  </a:lnTo>
                  <a:cubicBezTo>
                    <a:pt x="121706" y="165171"/>
                    <a:pt x="121706" y="170214"/>
                    <a:pt x="125488" y="175257"/>
                  </a:cubicBezTo>
                  <a:cubicBezTo>
                    <a:pt x="136836" y="191018"/>
                    <a:pt x="150075" y="206148"/>
                    <a:pt x="164574" y="221278"/>
                  </a:cubicBezTo>
                  <a:cubicBezTo>
                    <a:pt x="179074" y="235778"/>
                    <a:pt x="194835" y="249017"/>
                    <a:pt x="210595" y="260364"/>
                  </a:cubicBezTo>
                  <a:cubicBezTo>
                    <a:pt x="213747" y="262886"/>
                    <a:pt x="216899" y="264147"/>
                    <a:pt x="220051" y="264147"/>
                  </a:cubicBezTo>
                  <a:cubicBezTo>
                    <a:pt x="220682" y="264147"/>
                    <a:pt x="221312" y="264147"/>
                    <a:pt x="221943" y="264147"/>
                  </a:cubicBezTo>
                  <a:lnTo>
                    <a:pt x="239594" y="235148"/>
                  </a:lnTo>
                  <a:cubicBezTo>
                    <a:pt x="247790" y="222539"/>
                    <a:pt x="267963" y="221909"/>
                    <a:pt x="270485" y="221909"/>
                  </a:cubicBezTo>
                  <a:cubicBezTo>
                    <a:pt x="273007" y="221909"/>
                    <a:pt x="274898" y="221909"/>
                    <a:pt x="276789" y="222539"/>
                  </a:cubicBezTo>
                  <a:cubicBezTo>
                    <a:pt x="315875" y="231365"/>
                    <a:pt x="338571" y="238930"/>
                    <a:pt x="368201" y="252169"/>
                  </a:cubicBezTo>
                  <a:cubicBezTo>
                    <a:pt x="381439" y="257843"/>
                    <a:pt x="389635" y="281799"/>
                    <a:pt x="383961" y="296929"/>
                  </a:cubicBezTo>
                  <a:cubicBezTo>
                    <a:pt x="373875" y="323407"/>
                    <a:pt x="358114" y="347363"/>
                    <a:pt x="337940" y="367536"/>
                  </a:cubicBezTo>
                  <a:cubicBezTo>
                    <a:pt x="332267" y="373210"/>
                    <a:pt x="325963" y="378884"/>
                    <a:pt x="319658" y="383927"/>
                  </a:cubicBezTo>
                  <a:lnTo>
                    <a:pt x="315245" y="387079"/>
                  </a:lnTo>
                  <a:lnTo>
                    <a:pt x="305789" y="387710"/>
                  </a:lnTo>
                  <a:lnTo>
                    <a:pt x="305789" y="387710"/>
                  </a:lnTo>
                  <a:close/>
                  <a:moveTo>
                    <a:pt x="33447" y="83216"/>
                  </a:moveTo>
                  <a:cubicBezTo>
                    <a:pt x="33447" y="147519"/>
                    <a:pt x="64968" y="216865"/>
                    <a:pt x="117292" y="269191"/>
                  </a:cubicBezTo>
                  <a:lnTo>
                    <a:pt x="119184" y="271082"/>
                  </a:lnTo>
                  <a:cubicBezTo>
                    <a:pt x="172139" y="324037"/>
                    <a:pt x="239594" y="354298"/>
                    <a:pt x="305158" y="354298"/>
                  </a:cubicBezTo>
                  <a:cubicBezTo>
                    <a:pt x="308941" y="351145"/>
                    <a:pt x="312723" y="347363"/>
                    <a:pt x="316506" y="344211"/>
                  </a:cubicBezTo>
                  <a:cubicBezTo>
                    <a:pt x="333527" y="327189"/>
                    <a:pt x="346136" y="307646"/>
                    <a:pt x="354962" y="284951"/>
                  </a:cubicBezTo>
                  <a:cubicBezTo>
                    <a:pt x="354962" y="284951"/>
                    <a:pt x="354332" y="283060"/>
                    <a:pt x="353701" y="281168"/>
                  </a:cubicBezTo>
                  <a:cubicBezTo>
                    <a:pt x="327854" y="269821"/>
                    <a:pt x="306419" y="262886"/>
                    <a:pt x="271746" y="255321"/>
                  </a:cubicBezTo>
                  <a:cubicBezTo>
                    <a:pt x="271115" y="255321"/>
                    <a:pt x="269225" y="255951"/>
                    <a:pt x="267963" y="255951"/>
                  </a:cubicBezTo>
                  <a:lnTo>
                    <a:pt x="250942" y="282429"/>
                  </a:lnTo>
                  <a:cubicBezTo>
                    <a:pt x="240225" y="299451"/>
                    <a:pt x="213117" y="301972"/>
                    <a:pt x="192943" y="287473"/>
                  </a:cubicBezTo>
                  <a:cubicBezTo>
                    <a:pt x="175922" y="275495"/>
                    <a:pt x="159531" y="260995"/>
                    <a:pt x="143140" y="245234"/>
                  </a:cubicBezTo>
                  <a:cubicBezTo>
                    <a:pt x="127380" y="228843"/>
                    <a:pt x="112880" y="211822"/>
                    <a:pt x="100271" y="195431"/>
                  </a:cubicBezTo>
                  <a:cubicBezTo>
                    <a:pt x="92075" y="184083"/>
                    <a:pt x="88923" y="170844"/>
                    <a:pt x="90815" y="158867"/>
                  </a:cubicBezTo>
                  <a:cubicBezTo>
                    <a:pt x="92706" y="149410"/>
                    <a:pt x="97749" y="141845"/>
                    <a:pt x="105315" y="137432"/>
                  </a:cubicBezTo>
                  <a:lnTo>
                    <a:pt x="131792" y="120411"/>
                  </a:lnTo>
                  <a:cubicBezTo>
                    <a:pt x="132423" y="119150"/>
                    <a:pt x="132423" y="116628"/>
                    <a:pt x="132423" y="115998"/>
                  </a:cubicBezTo>
                  <a:cubicBezTo>
                    <a:pt x="124858" y="88889"/>
                    <a:pt x="114771" y="58629"/>
                    <a:pt x="105945" y="34673"/>
                  </a:cubicBezTo>
                  <a:cubicBezTo>
                    <a:pt x="104684" y="34043"/>
                    <a:pt x="102793" y="33412"/>
                    <a:pt x="101532" y="33412"/>
                  </a:cubicBezTo>
                  <a:cubicBezTo>
                    <a:pt x="80098" y="41608"/>
                    <a:pt x="60554" y="54847"/>
                    <a:pt x="43533" y="71868"/>
                  </a:cubicBezTo>
                  <a:cubicBezTo>
                    <a:pt x="40381" y="75020"/>
                    <a:pt x="37229" y="78803"/>
                    <a:pt x="33447" y="83216"/>
                  </a:cubicBezTo>
                  <a:lnTo>
                    <a:pt x="33447" y="83216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0" name="Forma Livre: Forma 39">
              <a:extLst>
                <a:ext uri="{FF2B5EF4-FFF2-40B4-BE49-F238E27FC236}">
                  <a16:creationId xmlns:a16="http://schemas.microsoft.com/office/drawing/2014/main" id="{7ABE1F3C-E19A-428C-929A-886373C68726}"/>
                </a:ext>
              </a:extLst>
            </p:cNvPr>
            <p:cNvSpPr/>
            <p:nvPr/>
          </p:nvSpPr>
          <p:spPr>
            <a:xfrm>
              <a:off x="8647950" y="4672921"/>
              <a:ext cx="210560" cy="210560"/>
            </a:xfrm>
            <a:custGeom>
              <a:avLst/>
              <a:gdLst>
                <a:gd name="connsiteX0" fmla="*/ 194170 w 210560"/>
                <a:gd name="connsiteY0" fmla="*/ 210561 h 210560"/>
                <a:gd name="connsiteX1" fmla="*/ 177779 w 210560"/>
                <a:gd name="connsiteY1" fmla="*/ 194170 h 210560"/>
                <a:gd name="connsiteX2" fmla="*/ 16391 w 210560"/>
                <a:gd name="connsiteY2" fmla="*/ 32782 h 210560"/>
                <a:gd name="connsiteX3" fmla="*/ 0 w 210560"/>
                <a:gd name="connsiteY3" fmla="*/ 16391 h 210560"/>
                <a:gd name="connsiteX4" fmla="*/ 16391 w 210560"/>
                <a:gd name="connsiteY4" fmla="*/ 0 h 210560"/>
                <a:gd name="connsiteX5" fmla="*/ 210561 w 210560"/>
                <a:gd name="connsiteY5" fmla="*/ 194170 h 210560"/>
                <a:gd name="connsiteX6" fmla="*/ 194170 w 210560"/>
                <a:gd name="connsiteY6" fmla="*/ 210561 h 210560"/>
                <a:gd name="connsiteX7" fmla="*/ 194170 w 210560"/>
                <a:gd name="connsiteY7" fmla="*/ 210561 h 210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0560" h="210560">
                  <a:moveTo>
                    <a:pt x="194170" y="210561"/>
                  </a:moveTo>
                  <a:cubicBezTo>
                    <a:pt x="184713" y="210561"/>
                    <a:pt x="177779" y="202996"/>
                    <a:pt x="177779" y="194170"/>
                  </a:cubicBezTo>
                  <a:cubicBezTo>
                    <a:pt x="177779" y="105280"/>
                    <a:pt x="105280" y="32782"/>
                    <a:pt x="16391" y="32782"/>
                  </a:cubicBezTo>
                  <a:cubicBezTo>
                    <a:pt x="6934" y="32782"/>
                    <a:pt x="0" y="25217"/>
                    <a:pt x="0" y="16391"/>
                  </a:cubicBezTo>
                  <a:cubicBezTo>
                    <a:pt x="0" y="6934"/>
                    <a:pt x="7565" y="0"/>
                    <a:pt x="16391" y="0"/>
                  </a:cubicBezTo>
                  <a:cubicBezTo>
                    <a:pt x="123563" y="0"/>
                    <a:pt x="210561" y="86998"/>
                    <a:pt x="210561" y="194170"/>
                  </a:cubicBezTo>
                  <a:cubicBezTo>
                    <a:pt x="210561" y="202996"/>
                    <a:pt x="202996" y="210561"/>
                    <a:pt x="194170" y="210561"/>
                  </a:cubicBezTo>
                  <a:lnTo>
                    <a:pt x="194170" y="21056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1" name="Forma Livre: Forma 40">
              <a:extLst>
                <a:ext uri="{FF2B5EF4-FFF2-40B4-BE49-F238E27FC236}">
                  <a16:creationId xmlns:a16="http://schemas.microsoft.com/office/drawing/2014/main" id="{707918E8-F16C-400A-AB8E-90F8808B6B7B}"/>
                </a:ext>
              </a:extLst>
            </p:cNvPr>
            <p:cNvSpPr/>
            <p:nvPr/>
          </p:nvSpPr>
          <p:spPr>
            <a:xfrm>
              <a:off x="8647950" y="4725246"/>
              <a:ext cx="158866" cy="158235"/>
            </a:xfrm>
            <a:custGeom>
              <a:avLst/>
              <a:gdLst>
                <a:gd name="connsiteX0" fmla="*/ 141845 w 158866"/>
                <a:gd name="connsiteY0" fmla="*/ 158236 h 158235"/>
                <a:gd name="connsiteX1" fmla="*/ 125453 w 158866"/>
                <a:gd name="connsiteY1" fmla="*/ 141845 h 158235"/>
                <a:gd name="connsiteX2" fmla="*/ 16391 w 158866"/>
                <a:gd name="connsiteY2" fmla="*/ 32782 h 158235"/>
                <a:gd name="connsiteX3" fmla="*/ 0 w 158866"/>
                <a:gd name="connsiteY3" fmla="*/ 16391 h 158235"/>
                <a:gd name="connsiteX4" fmla="*/ 16391 w 158866"/>
                <a:gd name="connsiteY4" fmla="*/ 0 h 158235"/>
                <a:gd name="connsiteX5" fmla="*/ 158866 w 158866"/>
                <a:gd name="connsiteY5" fmla="*/ 142475 h 158235"/>
                <a:gd name="connsiteX6" fmla="*/ 141845 w 158866"/>
                <a:gd name="connsiteY6" fmla="*/ 158236 h 158235"/>
                <a:gd name="connsiteX7" fmla="*/ 141845 w 158866"/>
                <a:gd name="connsiteY7" fmla="*/ 158236 h 158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8866" h="158235">
                  <a:moveTo>
                    <a:pt x="141845" y="158236"/>
                  </a:moveTo>
                  <a:cubicBezTo>
                    <a:pt x="132389" y="158236"/>
                    <a:pt x="125453" y="150671"/>
                    <a:pt x="125453" y="141845"/>
                  </a:cubicBezTo>
                  <a:cubicBezTo>
                    <a:pt x="125453" y="81955"/>
                    <a:pt x="76281" y="32782"/>
                    <a:pt x="16391" y="32782"/>
                  </a:cubicBezTo>
                  <a:cubicBezTo>
                    <a:pt x="6934" y="32782"/>
                    <a:pt x="0" y="25217"/>
                    <a:pt x="0" y="16391"/>
                  </a:cubicBezTo>
                  <a:cubicBezTo>
                    <a:pt x="0" y="7565"/>
                    <a:pt x="7565" y="0"/>
                    <a:pt x="16391" y="0"/>
                  </a:cubicBezTo>
                  <a:cubicBezTo>
                    <a:pt x="94563" y="0"/>
                    <a:pt x="158866" y="63673"/>
                    <a:pt x="158866" y="142475"/>
                  </a:cubicBezTo>
                  <a:cubicBezTo>
                    <a:pt x="158236" y="150671"/>
                    <a:pt x="150670" y="158236"/>
                    <a:pt x="141845" y="158236"/>
                  </a:cubicBezTo>
                  <a:lnTo>
                    <a:pt x="141845" y="158236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2" name="Forma Livre: Forma 41">
              <a:extLst>
                <a:ext uri="{FF2B5EF4-FFF2-40B4-BE49-F238E27FC236}">
                  <a16:creationId xmlns:a16="http://schemas.microsoft.com/office/drawing/2014/main" id="{D00741E7-F975-445C-8C43-6609F42F9306}"/>
                </a:ext>
              </a:extLst>
            </p:cNvPr>
            <p:cNvSpPr/>
            <p:nvPr/>
          </p:nvSpPr>
          <p:spPr>
            <a:xfrm>
              <a:off x="8647950" y="4780723"/>
              <a:ext cx="103388" cy="102758"/>
            </a:xfrm>
            <a:custGeom>
              <a:avLst/>
              <a:gdLst>
                <a:gd name="connsiteX0" fmla="*/ 86998 w 103388"/>
                <a:gd name="connsiteY0" fmla="*/ 102759 h 102758"/>
                <a:gd name="connsiteX1" fmla="*/ 70607 w 103388"/>
                <a:gd name="connsiteY1" fmla="*/ 86368 h 102758"/>
                <a:gd name="connsiteX2" fmla="*/ 16391 w 103388"/>
                <a:gd name="connsiteY2" fmla="*/ 32782 h 102758"/>
                <a:gd name="connsiteX3" fmla="*/ 0 w 103388"/>
                <a:gd name="connsiteY3" fmla="*/ 16391 h 102758"/>
                <a:gd name="connsiteX4" fmla="*/ 16391 w 103388"/>
                <a:gd name="connsiteY4" fmla="*/ 0 h 102758"/>
                <a:gd name="connsiteX5" fmla="*/ 103389 w 103388"/>
                <a:gd name="connsiteY5" fmla="*/ 86998 h 102758"/>
                <a:gd name="connsiteX6" fmla="*/ 86998 w 103388"/>
                <a:gd name="connsiteY6" fmla="*/ 102759 h 102758"/>
                <a:gd name="connsiteX7" fmla="*/ 86998 w 103388"/>
                <a:gd name="connsiteY7" fmla="*/ 102759 h 102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3388" h="102758">
                  <a:moveTo>
                    <a:pt x="86998" y="102759"/>
                  </a:moveTo>
                  <a:cubicBezTo>
                    <a:pt x="77542" y="102759"/>
                    <a:pt x="70607" y="95194"/>
                    <a:pt x="70607" y="86368"/>
                  </a:cubicBezTo>
                  <a:cubicBezTo>
                    <a:pt x="70607" y="56738"/>
                    <a:pt x="46651" y="32782"/>
                    <a:pt x="16391" y="32782"/>
                  </a:cubicBezTo>
                  <a:cubicBezTo>
                    <a:pt x="6934" y="32782"/>
                    <a:pt x="0" y="25217"/>
                    <a:pt x="0" y="16391"/>
                  </a:cubicBezTo>
                  <a:cubicBezTo>
                    <a:pt x="0" y="6934"/>
                    <a:pt x="7565" y="0"/>
                    <a:pt x="16391" y="0"/>
                  </a:cubicBezTo>
                  <a:cubicBezTo>
                    <a:pt x="64303" y="0"/>
                    <a:pt x="103389" y="39086"/>
                    <a:pt x="103389" y="86998"/>
                  </a:cubicBezTo>
                  <a:cubicBezTo>
                    <a:pt x="103389" y="95194"/>
                    <a:pt x="95824" y="102759"/>
                    <a:pt x="86998" y="102759"/>
                  </a:cubicBezTo>
                  <a:lnTo>
                    <a:pt x="86998" y="102759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43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1319288" y="3640289"/>
            <a:ext cx="391965" cy="392122"/>
            <a:chOff x="1319288" y="3640289"/>
            <a:chExt cx="391965" cy="392122"/>
          </a:xfrm>
          <a:solidFill>
            <a:srgbClr val="B1B1A1"/>
          </a:solidFill>
        </p:grpSpPr>
        <p:sp>
          <p:nvSpPr>
            <p:cNvPr id="44" name="Forma Livre: Forma 43">
              <a:extLst>
                <a:ext uri="{FF2B5EF4-FFF2-40B4-BE49-F238E27FC236}">
                  <a16:creationId xmlns:a16="http://schemas.microsoft.com/office/drawing/2014/main" id="{FF8FE16C-9212-4D53-A5C8-7A656E685720}"/>
                </a:ext>
              </a:extLst>
            </p:cNvPr>
            <p:cNvSpPr/>
            <p:nvPr/>
          </p:nvSpPr>
          <p:spPr>
            <a:xfrm>
              <a:off x="1319288" y="3640289"/>
              <a:ext cx="391965" cy="392122"/>
            </a:xfrm>
            <a:custGeom>
              <a:avLst/>
              <a:gdLst>
                <a:gd name="connsiteX0" fmla="*/ 196061 w 391965"/>
                <a:gd name="connsiteY0" fmla="*/ 392123 h 392122"/>
                <a:gd name="connsiteX1" fmla="*/ 57368 w 391965"/>
                <a:gd name="connsiteY1" fmla="*/ 334754 h 392122"/>
                <a:gd name="connsiteX2" fmla="*/ 0 w 391965"/>
                <a:gd name="connsiteY2" fmla="*/ 196061 h 392122"/>
                <a:gd name="connsiteX3" fmla="*/ 57368 w 391965"/>
                <a:gd name="connsiteY3" fmla="*/ 57368 h 392122"/>
                <a:gd name="connsiteX4" fmla="*/ 196061 w 391965"/>
                <a:gd name="connsiteY4" fmla="*/ 0 h 392122"/>
                <a:gd name="connsiteX5" fmla="*/ 334754 w 391965"/>
                <a:gd name="connsiteY5" fmla="*/ 57368 h 392122"/>
                <a:gd name="connsiteX6" fmla="*/ 334754 w 391965"/>
                <a:gd name="connsiteY6" fmla="*/ 334754 h 392122"/>
                <a:gd name="connsiteX7" fmla="*/ 196061 w 391965"/>
                <a:gd name="connsiteY7" fmla="*/ 392123 h 392122"/>
                <a:gd name="connsiteX8" fmla="*/ 196061 w 391965"/>
                <a:gd name="connsiteY8" fmla="*/ 392123 h 392122"/>
                <a:gd name="connsiteX9" fmla="*/ 196061 w 391965"/>
                <a:gd name="connsiteY9" fmla="*/ 32782 h 392122"/>
                <a:gd name="connsiteX10" fmla="*/ 80694 w 391965"/>
                <a:gd name="connsiteY10" fmla="*/ 80694 h 392122"/>
                <a:gd name="connsiteX11" fmla="*/ 32782 w 391965"/>
                <a:gd name="connsiteY11" fmla="*/ 196061 h 392122"/>
                <a:gd name="connsiteX12" fmla="*/ 80694 w 391965"/>
                <a:gd name="connsiteY12" fmla="*/ 311429 h 392122"/>
                <a:gd name="connsiteX13" fmla="*/ 196061 w 391965"/>
                <a:gd name="connsiteY13" fmla="*/ 359341 h 392122"/>
                <a:gd name="connsiteX14" fmla="*/ 311429 w 391965"/>
                <a:gd name="connsiteY14" fmla="*/ 311429 h 392122"/>
                <a:gd name="connsiteX15" fmla="*/ 311429 w 391965"/>
                <a:gd name="connsiteY15" fmla="*/ 80694 h 392122"/>
                <a:gd name="connsiteX16" fmla="*/ 196061 w 391965"/>
                <a:gd name="connsiteY16" fmla="*/ 32782 h 392122"/>
                <a:gd name="connsiteX17" fmla="*/ 196061 w 391965"/>
                <a:gd name="connsiteY17" fmla="*/ 32782 h 392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91965" h="392122">
                  <a:moveTo>
                    <a:pt x="196061" y="392123"/>
                  </a:moveTo>
                  <a:cubicBezTo>
                    <a:pt x="143736" y="392123"/>
                    <a:pt x="94563" y="371949"/>
                    <a:pt x="57368" y="334754"/>
                  </a:cubicBezTo>
                  <a:cubicBezTo>
                    <a:pt x="20174" y="297559"/>
                    <a:pt x="0" y="248386"/>
                    <a:pt x="0" y="196061"/>
                  </a:cubicBezTo>
                  <a:cubicBezTo>
                    <a:pt x="0" y="143736"/>
                    <a:pt x="20174" y="94563"/>
                    <a:pt x="57368" y="57368"/>
                  </a:cubicBezTo>
                  <a:cubicBezTo>
                    <a:pt x="94563" y="20173"/>
                    <a:pt x="143736" y="0"/>
                    <a:pt x="196061" y="0"/>
                  </a:cubicBezTo>
                  <a:cubicBezTo>
                    <a:pt x="248386" y="0"/>
                    <a:pt x="297559" y="20173"/>
                    <a:pt x="334754" y="57368"/>
                  </a:cubicBezTo>
                  <a:cubicBezTo>
                    <a:pt x="411035" y="133649"/>
                    <a:pt x="411035" y="258473"/>
                    <a:pt x="334754" y="334754"/>
                  </a:cubicBezTo>
                  <a:cubicBezTo>
                    <a:pt x="298190" y="371949"/>
                    <a:pt x="249017" y="392123"/>
                    <a:pt x="196061" y="392123"/>
                  </a:cubicBezTo>
                  <a:lnTo>
                    <a:pt x="196061" y="392123"/>
                  </a:lnTo>
                  <a:close/>
                  <a:moveTo>
                    <a:pt x="196061" y="32782"/>
                  </a:moveTo>
                  <a:cubicBezTo>
                    <a:pt x="152562" y="32782"/>
                    <a:pt x="111585" y="49803"/>
                    <a:pt x="80694" y="80694"/>
                  </a:cubicBezTo>
                  <a:cubicBezTo>
                    <a:pt x="49803" y="111585"/>
                    <a:pt x="32782" y="152562"/>
                    <a:pt x="32782" y="196061"/>
                  </a:cubicBezTo>
                  <a:cubicBezTo>
                    <a:pt x="32782" y="239560"/>
                    <a:pt x="49803" y="280538"/>
                    <a:pt x="80694" y="311429"/>
                  </a:cubicBezTo>
                  <a:cubicBezTo>
                    <a:pt x="111585" y="342320"/>
                    <a:pt x="152562" y="359341"/>
                    <a:pt x="196061" y="359341"/>
                  </a:cubicBezTo>
                  <a:cubicBezTo>
                    <a:pt x="239561" y="359341"/>
                    <a:pt x="280538" y="342320"/>
                    <a:pt x="311429" y="311429"/>
                  </a:cubicBezTo>
                  <a:cubicBezTo>
                    <a:pt x="375101" y="247756"/>
                    <a:pt x="375101" y="144367"/>
                    <a:pt x="311429" y="80694"/>
                  </a:cubicBezTo>
                  <a:cubicBezTo>
                    <a:pt x="280538" y="49803"/>
                    <a:pt x="239561" y="32782"/>
                    <a:pt x="196061" y="32782"/>
                  </a:cubicBezTo>
                  <a:lnTo>
                    <a:pt x="196061" y="32782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5" name="Forma Livre: Forma 44">
              <a:extLst>
                <a:ext uri="{FF2B5EF4-FFF2-40B4-BE49-F238E27FC236}">
                  <a16:creationId xmlns:a16="http://schemas.microsoft.com/office/drawing/2014/main" id="{E5E8D49E-F42B-4773-9386-0E0F398D03E5}"/>
                </a:ext>
              </a:extLst>
            </p:cNvPr>
            <p:cNvSpPr/>
            <p:nvPr/>
          </p:nvSpPr>
          <p:spPr>
            <a:xfrm>
              <a:off x="1420289" y="3885523"/>
              <a:ext cx="189119" cy="57998"/>
            </a:xfrm>
            <a:custGeom>
              <a:avLst/>
              <a:gdLst>
                <a:gd name="connsiteX0" fmla="*/ 181428 w 189119"/>
                <a:gd name="connsiteY0" fmla="*/ 57999 h 57998"/>
                <a:gd name="connsiteX1" fmla="*/ 175124 w 189119"/>
                <a:gd name="connsiteY1" fmla="*/ 54847 h 57998"/>
                <a:gd name="connsiteX2" fmla="*/ 168819 w 189119"/>
                <a:gd name="connsiteY2" fmla="*/ 47912 h 57998"/>
                <a:gd name="connsiteX3" fmla="*/ 95060 w 189119"/>
                <a:gd name="connsiteY3" fmla="*/ 17021 h 57998"/>
                <a:gd name="connsiteX4" fmla="*/ 14996 w 189119"/>
                <a:gd name="connsiteY4" fmla="*/ 54216 h 57998"/>
                <a:gd name="connsiteX5" fmla="*/ 3018 w 189119"/>
                <a:gd name="connsiteY5" fmla="*/ 55477 h 57998"/>
                <a:gd name="connsiteX6" fmla="*/ 1757 w 189119"/>
                <a:gd name="connsiteY6" fmla="*/ 43499 h 57998"/>
                <a:gd name="connsiteX7" fmla="*/ 94430 w 189119"/>
                <a:gd name="connsiteY7" fmla="*/ 0 h 57998"/>
                <a:gd name="connsiteX8" fmla="*/ 180167 w 189119"/>
                <a:gd name="connsiteY8" fmla="*/ 35304 h 57998"/>
                <a:gd name="connsiteX9" fmla="*/ 187102 w 189119"/>
                <a:gd name="connsiteY9" fmla="*/ 42869 h 57998"/>
                <a:gd name="connsiteX10" fmla="*/ 185841 w 189119"/>
                <a:gd name="connsiteY10" fmla="*/ 54847 h 57998"/>
                <a:gd name="connsiteX11" fmla="*/ 181428 w 189119"/>
                <a:gd name="connsiteY11" fmla="*/ 57999 h 57998"/>
                <a:gd name="connsiteX12" fmla="*/ 181428 w 189119"/>
                <a:gd name="connsiteY12" fmla="*/ 57999 h 57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9119" h="57998">
                  <a:moveTo>
                    <a:pt x="181428" y="57999"/>
                  </a:moveTo>
                  <a:cubicBezTo>
                    <a:pt x="178906" y="57999"/>
                    <a:pt x="176384" y="56738"/>
                    <a:pt x="175124" y="54847"/>
                  </a:cubicBezTo>
                  <a:cubicBezTo>
                    <a:pt x="173232" y="52325"/>
                    <a:pt x="171341" y="50434"/>
                    <a:pt x="168819" y="47912"/>
                  </a:cubicBezTo>
                  <a:cubicBezTo>
                    <a:pt x="149276" y="28369"/>
                    <a:pt x="122799" y="17021"/>
                    <a:pt x="95060" y="17021"/>
                  </a:cubicBezTo>
                  <a:cubicBezTo>
                    <a:pt x="64169" y="17021"/>
                    <a:pt x="35170" y="30891"/>
                    <a:pt x="14996" y="54216"/>
                  </a:cubicBezTo>
                  <a:cubicBezTo>
                    <a:pt x="11844" y="57999"/>
                    <a:pt x="6801" y="57999"/>
                    <a:pt x="3018" y="55477"/>
                  </a:cubicBezTo>
                  <a:cubicBezTo>
                    <a:pt x="-764" y="52325"/>
                    <a:pt x="-764" y="47282"/>
                    <a:pt x="1757" y="43499"/>
                  </a:cubicBezTo>
                  <a:cubicBezTo>
                    <a:pt x="25083" y="15761"/>
                    <a:pt x="58495" y="0"/>
                    <a:pt x="94430" y="0"/>
                  </a:cubicBezTo>
                  <a:cubicBezTo>
                    <a:pt x="126581" y="0"/>
                    <a:pt x="157472" y="12608"/>
                    <a:pt x="180167" y="35304"/>
                  </a:cubicBezTo>
                  <a:cubicBezTo>
                    <a:pt x="182689" y="37825"/>
                    <a:pt x="185210" y="40347"/>
                    <a:pt x="187102" y="42869"/>
                  </a:cubicBezTo>
                  <a:cubicBezTo>
                    <a:pt x="190254" y="46651"/>
                    <a:pt x="189623" y="51695"/>
                    <a:pt x="185841" y="54847"/>
                  </a:cubicBezTo>
                  <a:cubicBezTo>
                    <a:pt x="185210" y="57368"/>
                    <a:pt x="183319" y="57999"/>
                    <a:pt x="181428" y="57999"/>
                  </a:cubicBezTo>
                  <a:lnTo>
                    <a:pt x="181428" y="57999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46" name="Gráfico 2">
              <a:extLst>
                <a:ext uri="{FF2B5EF4-FFF2-40B4-BE49-F238E27FC236}">
                  <a16:creationId xmlns:a16="http://schemas.microsoft.com/office/drawing/2014/main" id="{1EC2913E-D059-42A1-91F3-F6BAB2F166E6}"/>
                </a:ext>
              </a:extLst>
            </p:cNvPr>
            <p:cNvGrpSpPr/>
            <p:nvPr/>
          </p:nvGrpSpPr>
          <p:grpSpPr>
            <a:xfrm>
              <a:off x="1433394" y="3788438"/>
              <a:ext cx="164540" cy="50433"/>
              <a:chOff x="1433394" y="3788438"/>
              <a:chExt cx="164540" cy="50433"/>
            </a:xfrm>
            <a:grpFill/>
          </p:grpSpPr>
          <p:sp>
            <p:nvSpPr>
              <p:cNvPr id="47" name="Forma Livre: Forma 46">
                <a:extLst>
                  <a:ext uri="{FF2B5EF4-FFF2-40B4-BE49-F238E27FC236}">
                    <a16:creationId xmlns:a16="http://schemas.microsoft.com/office/drawing/2014/main" id="{DAD8621F-7A67-4D1F-BAA2-EDD143717643}"/>
                  </a:ext>
                </a:extLst>
              </p:cNvPr>
              <p:cNvSpPr/>
              <p:nvPr/>
            </p:nvSpPr>
            <p:spPr>
              <a:xfrm>
                <a:off x="1433394" y="3788438"/>
                <a:ext cx="50433" cy="50433"/>
              </a:xfrm>
              <a:custGeom>
                <a:avLst/>
                <a:gdLst>
                  <a:gd name="connsiteX0" fmla="*/ 25217 w 50433"/>
                  <a:gd name="connsiteY0" fmla="*/ 0 h 50433"/>
                  <a:gd name="connsiteX1" fmla="*/ 0 w 50433"/>
                  <a:gd name="connsiteY1" fmla="*/ 25217 h 50433"/>
                  <a:gd name="connsiteX2" fmla="*/ 25217 w 50433"/>
                  <a:gd name="connsiteY2" fmla="*/ 50434 h 50433"/>
                  <a:gd name="connsiteX3" fmla="*/ 50434 w 50433"/>
                  <a:gd name="connsiteY3" fmla="*/ 25217 h 50433"/>
                  <a:gd name="connsiteX4" fmla="*/ 25217 w 50433"/>
                  <a:gd name="connsiteY4" fmla="*/ 0 h 50433"/>
                  <a:gd name="connsiteX5" fmla="*/ 25217 w 50433"/>
                  <a:gd name="connsiteY5" fmla="*/ 0 h 50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433" h="50433">
                    <a:moveTo>
                      <a:pt x="25217" y="0"/>
                    </a:moveTo>
                    <a:cubicBezTo>
                      <a:pt x="11348" y="0"/>
                      <a:pt x="0" y="11348"/>
                      <a:pt x="0" y="25217"/>
                    </a:cubicBezTo>
                    <a:cubicBezTo>
                      <a:pt x="0" y="39086"/>
                      <a:pt x="11348" y="50434"/>
                      <a:pt x="25217" y="50434"/>
                    </a:cubicBezTo>
                    <a:cubicBezTo>
                      <a:pt x="39086" y="50434"/>
                      <a:pt x="50434" y="39086"/>
                      <a:pt x="50434" y="25217"/>
                    </a:cubicBezTo>
                    <a:cubicBezTo>
                      <a:pt x="50434" y="11348"/>
                      <a:pt x="39086" y="0"/>
                      <a:pt x="25217" y="0"/>
                    </a:cubicBezTo>
                    <a:lnTo>
                      <a:pt x="25217" y="0"/>
                    </a:ln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8" name="Forma Livre: Forma 47">
                <a:extLst>
                  <a:ext uri="{FF2B5EF4-FFF2-40B4-BE49-F238E27FC236}">
                    <a16:creationId xmlns:a16="http://schemas.microsoft.com/office/drawing/2014/main" id="{DC8E8CCF-4628-46EE-BD59-E07DA221F50C}"/>
                  </a:ext>
                </a:extLst>
              </p:cNvPr>
              <p:cNvSpPr/>
              <p:nvPr/>
            </p:nvSpPr>
            <p:spPr>
              <a:xfrm>
                <a:off x="1547501" y="3788438"/>
                <a:ext cx="50433" cy="50433"/>
              </a:xfrm>
              <a:custGeom>
                <a:avLst/>
                <a:gdLst>
                  <a:gd name="connsiteX0" fmla="*/ 25217 w 50433"/>
                  <a:gd name="connsiteY0" fmla="*/ 0 h 50433"/>
                  <a:gd name="connsiteX1" fmla="*/ 0 w 50433"/>
                  <a:gd name="connsiteY1" fmla="*/ 25217 h 50433"/>
                  <a:gd name="connsiteX2" fmla="*/ 25217 w 50433"/>
                  <a:gd name="connsiteY2" fmla="*/ 50434 h 50433"/>
                  <a:gd name="connsiteX3" fmla="*/ 50434 w 50433"/>
                  <a:gd name="connsiteY3" fmla="*/ 25217 h 50433"/>
                  <a:gd name="connsiteX4" fmla="*/ 25217 w 50433"/>
                  <a:gd name="connsiteY4" fmla="*/ 0 h 50433"/>
                  <a:gd name="connsiteX5" fmla="*/ 25217 w 50433"/>
                  <a:gd name="connsiteY5" fmla="*/ 0 h 50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433" h="50433">
                    <a:moveTo>
                      <a:pt x="25217" y="0"/>
                    </a:moveTo>
                    <a:cubicBezTo>
                      <a:pt x="11348" y="0"/>
                      <a:pt x="0" y="11348"/>
                      <a:pt x="0" y="25217"/>
                    </a:cubicBezTo>
                    <a:cubicBezTo>
                      <a:pt x="0" y="39086"/>
                      <a:pt x="11348" y="50434"/>
                      <a:pt x="25217" y="50434"/>
                    </a:cubicBezTo>
                    <a:cubicBezTo>
                      <a:pt x="39086" y="50434"/>
                      <a:pt x="50434" y="39086"/>
                      <a:pt x="50434" y="25217"/>
                    </a:cubicBezTo>
                    <a:cubicBezTo>
                      <a:pt x="49803" y="11348"/>
                      <a:pt x="39086" y="0"/>
                      <a:pt x="25217" y="0"/>
                    </a:cubicBezTo>
                    <a:lnTo>
                      <a:pt x="25217" y="0"/>
                    </a:ln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49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2343724" y="3640289"/>
            <a:ext cx="391965" cy="392122"/>
            <a:chOff x="2343724" y="3640289"/>
            <a:chExt cx="391965" cy="392122"/>
          </a:xfrm>
          <a:solidFill>
            <a:srgbClr val="B1B1A1"/>
          </a:solidFill>
        </p:grpSpPr>
        <p:sp>
          <p:nvSpPr>
            <p:cNvPr id="50" name="Forma Livre: Forma 49">
              <a:extLst>
                <a:ext uri="{FF2B5EF4-FFF2-40B4-BE49-F238E27FC236}">
                  <a16:creationId xmlns:a16="http://schemas.microsoft.com/office/drawing/2014/main" id="{988EB9A0-7768-46A7-8B5D-1569F576F0B9}"/>
                </a:ext>
              </a:extLst>
            </p:cNvPr>
            <p:cNvSpPr/>
            <p:nvPr/>
          </p:nvSpPr>
          <p:spPr>
            <a:xfrm>
              <a:off x="2343724" y="3640289"/>
              <a:ext cx="391965" cy="392122"/>
            </a:xfrm>
            <a:custGeom>
              <a:avLst/>
              <a:gdLst>
                <a:gd name="connsiteX0" fmla="*/ 196061 w 391965"/>
                <a:gd name="connsiteY0" fmla="*/ 392123 h 392122"/>
                <a:gd name="connsiteX1" fmla="*/ 57368 w 391965"/>
                <a:gd name="connsiteY1" fmla="*/ 334754 h 392122"/>
                <a:gd name="connsiteX2" fmla="*/ 0 w 391965"/>
                <a:gd name="connsiteY2" fmla="*/ 196061 h 392122"/>
                <a:gd name="connsiteX3" fmla="*/ 57368 w 391965"/>
                <a:gd name="connsiteY3" fmla="*/ 57368 h 392122"/>
                <a:gd name="connsiteX4" fmla="*/ 196061 w 391965"/>
                <a:gd name="connsiteY4" fmla="*/ 0 h 392122"/>
                <a:gd name="connsiteX5" fmla="*/ 334754 w 391965"/>
                <a:gd name="connsiteY5" fmla="*/ 57368 h 392122"/>
                <a:gd name="connsiteX6" fmla="*/ 334754 w 391965"/>
                <a:gd name="connsiteY6" fmla="*/ 334754 h 392122"/>
                <a:gd name="connsiteX7" fmla="*/ 196061 w 391965"/>
                <a:gd name="connsiteY7" fmla="*/ 392123 h 392122"/>
                <a:gd name="connsiteX8" fmla="*/ 196061 w 391965"/>
                <a:gd name="connsiteY8" fmla="*/ 392123 h 392122"/>
                <a:gd name="connsiteX9" fmla="*/ 196061 w 391965"/>
                <a:gd name="connsiteY9" fmla="*/ 32782 h 392122"/>
                <a:gd name="connsiteX10" fmla="*/ 80694 w 391965"/>
                <a:gd name="connsiteY10" fmla="*/ 80694 h 392122"/>
                <a:gd name="connsiteX11" fmla="*/ 32782 w 391965"/>
                <a:gd name="connsiteY11" fmla="*/ 196061 h 392122"/>
                <a:gd name="connsiteX12" fmla="*/ 80694 w 391965"/>
                <a:gd name="connsiteY12" fmla="*/ 311429 h 392122"/>
                <a:gd name="connsiteX13" fmla="*/ 196061 w 391965"/>
                <a:gd name="connsiteY13" fmla="*/ 359341 h 392122"/>
                <a:gd name="connsiteX14" fmla="*/ 311429 w 391965"/>
                <a:gd name="connsiteY14" fmla="*/ 311429 h 392122"/>
                <a:gd name="connsiteX15" fmla="*/ 311429 w 391965"/>
                <a:gd name="connsiteY15" fmla="*/ 80694 h 392122"/>
                <a:gd name="connsiteX16" fmla="*/ 196061 w 391965"/>
                <a:gd name="connsiteY16" fmla="*/ 32782 h 392122"/>
                <a:gd name="connsiteX17" fmla="*/ 196061 w 391965"/>
                <a:gd name="connsiteY17" fmla="*/ 32782 h 392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91965" h="392122">
                  <a:moveTo>
                    <a:pt x="196061" y="392123"/>
                  </a:moveTo>
                  <a:cubicBezTo>
                    <a:pt x="143736" y="392123"/>
                    <a:pt x="94563" y="371949"/>
                    <a:pt x="57368" y="334754"/>
                  </a:cubicBezTo>
                  <a:cubicBezTo>
                    <a:pt x="20174" y="297559"/>
                    <a:pt x="0" y="248386"/>
                    <a:pt x="0" y="196061"/>
                  </a:cubicBezTo>
                  <a:cubicBezTo>
                    <a:pt x="0" y="143736"/>
                    <a:pt x="20174" y="94563"/>
                    <a:pt x="57368" y="57368"/>
                  </a:cubicBezTo>
                  <a:cubicBezTo>
                    <a:pt x="94563" y="20173"/>
                    <a:pt x="143736" y="0"/>
                    <a:pt x="196061" y="0"/>
                  </a:cubicBezTo>
                  <a:cubicBezTo>
                    <a:pt x="248386" y="0"/>
                    <a:pt x="297559" y="20173"/>
                    <a:pt x="334754" y="57368"/>
                  </a:cubicBezTo>
                  <a:cubicBezTo>
                    <a:pt x="411035" y="133649"/>
                    <a:pt x="411035" y="258473"/>
                    <a:pt x="334754" y="334754"/>
                  </a:cubicBezTo>
                  <a:cubicBezTo>
                    <a:pt x="297559" y="371949"/>
                    <a:pt x="248386" y="392123"/>
                    <a:pt x="196061" y="392123"/>
                  </a:cubicBezTo>
                  <a:lnTo>
                    <a:pt x="196061" y="392123"/>
                  </a:lnTo>
                  <a:close/>
                  <a:moveTo>
                    <a:pt x="196061" y="32782"/>
                  </a:moveTo>
                  <a:cubicBezTo>
                    <a:pt x="152562" y="32782"/>
                    <a:pt x="111585" y="49803"/>
                    <a:pt x="80694" y="80694"/>
                  </a:cubicBezTo>
                  <a:cubicBezTo>
                    <a:pt x="49803" y="111585"/>
                    <a:pt x="32782" y="152562"/>
                    <a:pt x="32782" y="196061"/>
                  </a:cubicBezTo>
                  <a:cubicBezTo>
                    <a:pt x="32782" y="239560"/>
                    <a:pt x="49803" y="280538"/>
                    <a:pt x="80694" y="311429"/>
                  </a:cubicBezTo>
                  <a:cubicBezTo>
                    <a:pt x="111585" y="342320"/>
                    <a:pt x="152562" y="359341"/>
                    <a:pt x="196061" y="359341"/>
                  </a:cubicBezTo>
                  <a:cubicBezTo>
                    <a:pt x="239561" y="359341"/>
                    <a:pt x="280538" y="342320"/>
                    <a:pt x="311429" y="311429"/>
                  </a:cubicBezTo>
                  <a:cubicBezTo>
                    <a:pt x="375101" y="247756"/>
                    <a:pt x="375101" y="144367"/>
                    <a:pt x="311429" y="80694"/>
                  </a:cubicBezTo>
                  <a:cubicBezTo>
                    <a:pt x="280538" y="49803"/>
                    <a:pt x="239561" y="32782"/>
                    <a:pt x="196061" y="32782"/>
                  </a:cubicBezTo>
                  <a:lnTo>
                    <a:pt x="196061" y="32782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51" name="Gráfico 2">
              <a:extLst>
                <a:ext uri="{FF2B5EF4-FFF2-40B4-BE49-F238E27FC236}">
                  <a16:creationId xmlns:a16="http://schemas.microsoft.com/office/drawing/2014/main" id="{1EC2913E-D059-42A1-91F3-F6BAB2F166E6}"/>
                </a:ext>
              </a:extLst>
            </p:cNvPr>
            <p:cNvGrpSpPr/>
            <p:nvPr/>
          </p:nvGrpSpPr>
          <p:grpSpPr>
            <a:xfrm>
              <a:off x="2457831" y="3788438"/>
              <a:ext cx="163909" cy="50433"/>
              <a:chOff x="2457831" y="3788438"/>
              <a:chExt cx="163909" cy="50433"/>
            </a:xfrm>
            <a:grpFill/>
          </p:grpSpPr>
          <p:sp>
            <p:nvSpPr>
              <p:cNvPr id="52" name="Forma Livre: Forma 51">
                <a:extLst>
                  <a:ext uri="{FF2B5EF4-FFF2-40B4-BE49-F238E27FC236}">
                    <a16:creationId xmlns:a16="http://schemas.microsoft.com/office/drawing/2014/main" id="{9F2C1CB9-6EFE-4C77-8E39-4F2DD8E4F915}"/>
                  </a:ext>
                </a:extLst>
              </p:cNvPr>
              <p:cNvSpPr/>
              <p:nvPr/>
            </p:nvSpPr>
            <p:spPr>
              <a:xfrm>
                <a:off x="2457831" y="3788438"/>
                <a:ext cx="50433" cy="50433"/>
              </a:xfrm>
              <a:custGeom>
                <a:avLst/>
                <a:gdLst>
                  <a:gd name="connsiteX0" fmla="*/ 25217 w 50433"/>
                  <a:gd name="connsiteY0" fmla="*/ 0 h 50433"/>
                  <a:gd name="connsiteX1" fmla="*/ 0 w 50433"/>
                  <a:gd name="connsiteY1" fmla="*/ 25217 h 50433"/>
                  <a:gd name="connsiteX2" fmla="*/ 25217 w 50433"/>
                  <a:gd name="connsiteY2" fmla="*/ 50434 h 50433"/>
                  <a:gd name="connsiteX3" fmla="*/ 50434 w 50433"/>
                  <a:gd name="connsiteY3" fmla="*/ 25217 h 50433"/>
                  <a:gd name="connsiteX4" fmla="*/ 25217 w 50433"/>
                  <a:gd name="connsiteY4" fmla="*/ 0 h 50433"/>
                  <a:gd name="connsiteX5" fmla="*/ 25217 w 50433"/>
                  <a:gd name="connsiteY5" fmla="*/ 0 h 50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433" h="50433">
                    <a:moveTo>
                      <a:pt x="25217" y="0"/>
                    </a:moveTo>
                    <a:cubicBezTo>
                      <a:pt x="11348" y="0"/>
                      <a:pt x="0" y="11348"/>
                      <a:pt x="0" y="25217"/>
                    </a:cubicBezTo>
                    <a:cubicBezTo>
                      <a:pt x="0" y="39086"/>
                      <a:pt x="11348" y="50434"/>
                      <a:pt x="25217" y="50434"/>
                    </a:cubicBezTo>
                    <a:cubicBezTo>
                      <a:pt x="39086" y="50434"/>
                      <a:pt x="50434" y="39086"/>
                      <a:pt x="50434" y="25217"/>
                    </a:cubicBezTo>
                    <a:cubicBezTo>
                      <a:pt x="49803" y="11348"/>
                      <a:pt x="38456" y="0"/>
                      <a:pt x="25217" y="0"/>
                    </a:cubicBezTo>
                    <a:lnTo>
                      <a:pt x="25217" y="0"/>
                    </a:ln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53" name="Forma Livre: Forma 52">
                <a:extLst>
                  <a:ext uri="{FF2B5EF4-FFF2-40B4-BE49-F238E27FC236}">
                    <a16:creationId xmlns:a16="http://schemas.microsoft.com/office/drawing/2014/main" id="{2A974F84-B9A1-474B-B90F-FE5E6CA31421}"/>
                  </a:ext>
                </a:extLst>
              </p:cNvPr>
              <p:cNvSpPr/>
              <p:nvPr/>
            </p:nvSpPr>
            <p:spPr>
              <a:xfrm>
                <a:off x="2571307" y="3788438"/>
                <a:ext cx="50433" cy="50433"/>
              </a:xfrm>
              <a:custGeom>
                <a:avLst/>
                <a:gdLst>
                  <a:gd name="connsiteX0" fmla="*/ 25217 w 50433"/>
                  <a:gd name="connsiteY0" fmla="*/ 0 h 50433"/>
                  <a:gd name="connsiteX1" fmla="*/ 0 w 50433"/>
                  <a:gd name="connsiteY1" fmla="*/ 25217 h 50433"/>
                  <a:gd name="connsiteX2" fmla="*/ 25217 w 50433"/>
                  <a:gd name="connsiteY2" fmla="*/ 50434 h 50433"/>
                  <a:gd name="connsiteX3" fmla="*/ 50434 w 50433"/>
                  <a:gd name="connsiteY3" fmla="*/ 25217 h 50433"/>
                  <a:gd name="connsiteX4" fmla="*/ 25217 w 50433"/>
                  <a:gd name="connsiteY4" fmla="*/ 0 h 50433"/>
                  <a:gd name="connsiteX5" fmla="*/ 25217 w 50433"/>
                  <a:gd name="connsiteY5" fmla="*/ 0 h 50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433" h="50433">
                    <a:moveTo>
                      <a:pt x="25217" y="0"/>
                    </a:moveTo>
                    <a:cubicBezTo>
                      <a:pt x="11348" y="0"/>
                      <a:pt x="0" y="11348"/>
                      <a:pt x="0" y="25217"/>
                    </a:cubicBezTo>
                    <a:cubicBezTo>
                      <a:pt x="0" y="39086"/>
                      <a:pt x="11348" y="50434"/>
                      <a:pt x="25217" y="50434"/>
                    </a:cubicBezTo>
                    <a:cubicBezTo>
                      <a:pt x="39086" y="50434"/>
                      <a:pt x="50434" y="39086"/>
                      <a:pt x="50434" y="25217"/>
                    </a:cubicBezTo>
                    <a:cubicBezTo>
                      <a:pt x="50434" y="11348"/>
                      <a:pt x="39086" y="0"/>
                      <a:pt x="25217" y="0"/>
                    </a:cubicBezTo>
                    <a:lnTo>
                      <a:pt x="25217" y="0"/>
                    </a:ln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54" name="Forma Livre: Forma 53">
              <a:extLst>
                <a:ext uri="{FF2B5EF4-FFF2-40B4-BE49-F238E27FC236}">
                  <a16:creationId xmlns:a16="http://schemas.microsoft.com/office/drawing/2014/main" id="{2D2221FE-2EBF-411E-AA0B-467E446588C0}"/>
                </a:ext>
              </a:extLst>
            </p:cNvPr>
            <p:cNvSpPr/>
            <p:nvPr/>
          </p:nvSpPr>
          <p:spPr>
            <a:xfrm>
              <a:off x="2459969" y="3880152"/>
              <a:ext cx="177860" cy="69674"/>
            </a:xfrm>
            <a:custGeom>
              <a:avLst/>
              <a:gdLst>
                <a:gd name="connsiteX0" fmla="*/ 8579 w 177860"/>
                <a:gd name="connsiteY0" fmla="*/ 69674 h 69674"/>
                <a:gd name="connsiteX1" fmla="*/ 383 w 177860"/>
                <a:gd name="connsiteY1" fmla="*/ 64001 h 69674"/>
                <a:gd name="connsiteX2" fmla="*/ 5427 w 177860"/>
                <a:gd name="connsiteY2" fmla="*/ 53283 h 69674"/>
                <a:gd name="connsiteX3" fmla="*/ 166815 w 177860"/>
                <a:gd name="connsiteY3" fmla="*/ 328 h 69674"/>
                <a:gd name="connsiteX4" fmla="*/ 177532 w 177860"/>
                <a:gd name="connsiteY4" fmla="*/ 5371 h 69674"/>
                <a:gd name="connsiteX5" fmla="*/ 172489 w 177860"/>
                <a:gd name="connsiteY5" fmla="*/ 16089 h 69674"/>
                <a:gd name="connsiteX6" fmla="*/ 11101 w 177860"/>
                <a:gd name="connsiteY6" fmla="*/ 69044 h 69674"/>
                <a:gd name="connsiteX7" fmla="*/ 8579 w 177860"/>
                <a:gd name="connsiteY7" fmla="*/ 69674 h 69674"/>
                <a:gd name="connsiteX8" fmla="*/ 8579 w 177860"/>
                <a:gd name="connsiteY8" fmla="*/ 69674 h 69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7860" h="69674">
                  <a:moveTo>
                    <a:pt x="8579" y="69674"/>
                  </a:moveTo>
                  <a:cubicBezTo>
                    <a:pt x="4796" y="69674"/>
                    <a:pt x="1644" y="67153"/>
                    <a:pt x="383" y="64001"/>
                  </a:cubicBezTo>
                  <a:cubicBezTo>
                    <a:pt x="-877" y="59587"/>
                    <a:pt x="1014" y="55175"/>
                    <a:pt x="5427" y="53283"/>
                  </a:cubicBezTo>
                  <a:lnTo>
                    <a:pt x="166815" y="328"/>
                  </a:lnTo>
                  <a:cubicBezTo>
                    <a:pt x="171228" y="-933"/>
                    <a:pt x="175641" y="1589"/>
                    <a:pt x="177532" y="5371"/>
                  </a:cubicBezTo>
                  <a:cubicBezTo>
                    <a:pt x="178793" y="9784"/>
                    <a:pt x="176271" y="14197"/>
                    <a:pt x="172489" y="16089"/>
                  </a:cubicBezTo>
                  <a:lnTo>
                    <a:pt x="11101" y="69044"/>
                  </a:lnTo>
                  <a:cubicBezTo>
                    <a:pt x="10470" y="69044"/>
                    <a:pt x="9840" y="69674"/>
                    <a:pt x="8579" y="69674"/>
                  </a:cubicBezTo>
                  <a:lnTo>
                    <a:pt x="8579" y="69674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55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3363748" y="3640289"/>
            <a:ext cx="391965" cy="392122"/>
            <a:chOff x="3363748" y="3640289"/>
            <a:chExt cx="391965" cy="392122"/>
          </a:xfrm>
          <a:solidFill>
            <a:srgbClr val="B1B1A1"/>
          </a:solidFill>
        </p:grpSpPr>
        <p:sp>
          <p:nvSpPr>
            <p:cNvPr id="56" name="Forma Livre: Forma 55">
              <a:extLst>
                <a:ext uri="{FF2B5EF4-FFF2-40B4-BE49-F238E27FC236}">
                  <a16:creationId xmlns:a16="http://schemas.microsoft.com/office/drawing/2014/main" id="{D4DE849F-203C-4D96-84DB-1AFB9A865988}"/>
                </a:ext>
              </a:extLst>
            </p:cNvPr>
            <p:cNvSpPr/>
            <p:nvPr/>
          </p:nvSpPr>
          <p:spPr>
            <a:xfrm>
              <a:off x="3363748" y="3640289"/>
              <a:ext cx="391965" cy="392122"/>
            </a:xfrm>
            <a:custGeom>
              <a:avLst/>
              <a:gdLst>
                <a:gd name="connsiteX0" fmla="*/ 196061 w 391965"/>
                <a:gd name="connsiteY0" fmla="*/ 392123 h 392122"/>
                <a:gd name="connsiteX1" fmla="*/ 57368 w 391965"/>
                <a:gd name="connsiteY1" fmla="*/ 334754 h 392122"/>
                <a:gd name="connsiteX2" fmla="*/ 0 w 391965"/>
                <a:gd name="connsiteY2" fmla="*/ 196061 h 392122"/>
                <a:gd name="connsiteX3" fmla="*/ 57368 w 391965"/>
                <a:gd name="connsiteY3" fmla="*/ 57368 h 392122"/>
                <a:gd name="connsiteX4" fmla="*/ 196061 w 391965"/>
                <a:gd name="connsiteY4" fmla="*/ 0 h 392122"/>
                <a:gd name="connsiteX5" fmla="*/ 334754 w 391965"/>
                <a:gd name="connsiteY5" fmla="*/ 57368 h 392122"/>
                <a:gd name="connsiteX6" fmla="*/ 334754 w 391965"/>
                <a:gd name="connsiteY6" fmla="*/ 334754 h 392122"/>
                <a:gd name="connsiteX7" fmla="*/ 196061 w 391965"/>
                <a:gd name="connsiteY7" fmla="*/ 392123 h 392122"/>
                <a:gd name="connsiteX8" fmla="*/ 196061 w 391965"/>
                <a:gd name="connsiteY8" fmla="*/ 392123 h 392122"/>
                <a:gd name="connsiteX9" fmla="*/ 196061 w 391965"/>
                <a:gd name="connsiteY9" fmla="*/ 32782 h 392122"/>
                <a:gd name="connsiteX10" fmla="*/ 80694 w 391965"/>
                <a:gd name="connsiteY10" fmla="*/ 80694 h 392122"/>
                <a:gd name="connsiteX11" fmla="*/ 32782 w 391965"/>
                <a:gd name="connsiteY11" fmla="*/ 196061 h 392122"/>
                <a:gd name="connsiteX12" fmla="*/ 80694 w 391965"/>
                <a:gd name="connsiteY12" fmla="*/ 311429 h 392122"/>
                <a:gd name="connsiteX13" fmla="*/ 196061 w 391965"/>
                <a:gd name="connsiteY13" fmla="*/ 359341 h 392122"/>
                <a:gd name="connsiteX14" fmla="*/ 311429 w 391965"/>
                <a:gd name="connsiteY14" fmla="*/ 311429 h 392122"/>
                <a:gd name="connsiteX15" fmla="*/ 311429 w 391965"/>
                <a:gd name="connsiteY15" fmla="*/ 80694 h 392122"/>
                <a:gd name="connsiteX16" fmla="*/ 196061 w 391965"/>
                <a:gd name="connsiteY16" fmla="*/ 32782 h 392122"/>
                <a:gd name="connsiteX17" fmla="*/ 196061 w 391965"/>
                <a:gd name="connsiteY17" fmla="*/ 32782 h 392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91965" h="392122">
                  <a:moveTo>
                    <a:pt x="196061" y="392123"/>
                  </a:moveTo>
                  <a:cubicBezTo>
                    <a:pt x="143736" y="392123"/>
                    <a:pt x="94563" y="371949"/>
                    <a:pt x="57368" y="334754"/>
                  </a:cubicBezTo>
                  <a:cubicBezTo>
                    <a:pt x="20173" y="297559"/>
                    <a:pt x="0" y="248386"/>
                    <a:pt x="0" y="196061"/>
                  </a:cubicBezTo>
                  <a:cubicBezTo>
                    <a:pt x="0" y="143736"/>
                    <a:pt x="20173" y="94563"/>
                    <a:pt x="57368" y="57368"/>
                  </a:cubicBezTo>
                  <a:cubicBezTo>
                    <a:pt x="94563" y="20173"/>
                    <a:pt x="143736" y="0"/>
                    <a:pt x="196061" y="0"/>
                  </a:cubicBezTo>
                  <a:cubicBezTo>
                    <a:pt x="248386" y="0"/>
                    <a:pt x="297559" y="20173"/>
                    <a:pt x="334754" y="57368"/>
                  </a:cubicBezTo>
                  <a:cubicBezTo>
                    <a:pt x="411035" y="133649"/>
                    <a:pt x="411035" y="258473"/>
                    <a:pt x="334754" y="334754"/>
                  </a:cubicBezTo>
                  <a:cubicBezTo>
                    <a:pt x="298190" y="371949"/>
                    <a:pt x="249017" y="392123"/>
                    <a:pt x="196061" y="392123"/>
                  </a:cubicBezTo>
                  <a:lnTo>
                    <a:pt x="196061" y="392123"/>
                  </a:lnTo>
                  <a:close/>
                  <a:moveTo>
                    <a:pt x="196061" y="32782"/>
                  </a:moveTo>
                  <a:cubicBezTo>
                    <a:pt x="152562" y="32782"/>
                    <a:pt x="111585" y="49803"/>
                    <a:pt x="80694" y="80694"/>
                  </a:cubicBezTo>
                  <a:cubicBezTo>
                    <a:pt x="49803" y="111585"/>
                    <a:pt x="32782" y="152562"/>
                    <a:pt x="32782" y="196061"/>
                  </a:cubicBezTo>
                  <a:cubicBezTo>
                    <a:pt x="32782" y="239560"/>
                    <a:pt x="49803" y="280538"/>
                    <a:pt x="80694" y="311429"/>
                  </a:cubicBezTo>
                  <a:cubicBezTo>
                    <a:pt x="111585" y="342320"/>
                    <a:pt x="152562" y="359341"/>
                    <a:pt x="196061" y="359341"/>
                  </a:cubicBezTo>
                  <a:cubicBezTo>
                    <a:pt x="239561" y="359341"/>
                    <a:pt x="280538" y="342320"/>
                    <a:pt x="311429" y="311429"/>
                  </a:cubicBezTo>
                  <a:cubicBezTo>
                    <a:pt x="375101" y="247756"/>
                    <a:pt x="375101" y="144367"/>
                    <a:pt x="311429" y="80694"/>
                  </a:cubicBezTo>
                  <a:cubicBezTo>
                    <a:pt x="280538" y="49803"/>
                    <a:pt x="239561" y="32782"/>
                    <a:pt x="196061" y="32782"/>
                  </a:cubicBezTo>
                  <a:lnTo>
                    <a:pt x="196061" y="32782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57" name="Gráfico 2">
              <a:extLst>
                <a:ext uri="{FF2B5EF4-FFF2-40B4-BE49-F238E27FC236}">
                  <a16:creationId xmlns:a16="http://schemas.microsoft.com/office/drawing/2014/main" id="{1EC2913E-D059-42A1-91F3-F6BAB2F166E6}"/>
                </a:ext>
              </a:extLst>
            </p:cNvPr>
            <p:cNvGrpSpPr/>
            <p:nvPr/>
          </p:nvGrpSpPr>
          <p:grpSpPr>
            <a:xfrm>
              <a:off x="3477854" y="3788438"/>
              <a:ext cx="164540" cy="50433"/>
              <a:chOff x="3477854" y="3788438"/>
              <a:chExt cx="164540" cy="50433"/>
            </a:xfrm>
            <a:grpFill/>
          </p:grpSpPr>
          <p:sp>
            <p:nvSpPr>
              <p:cNvPr id="58" name="Forma Livre: Forma 57">
                <a:extLst>
                  <a:ext uri="{FF2B5EF4-FFF2-40B4-BE49-F238E27FC236}">
                    <a16:creationId xmlns:a16="http://schemas.microsoft.com/office/drawing/2014/main" id="{0ACA7814-134B-493B-BB0E-D734882E00F4}"/>
                  </a:ext>
                </a:extLst>
              </p:cNvPr>
              <p:cNvSpPr/>
              <p:nvPr/>
            </p:nvSpPr>
            <p:spPr>
              <a:xfrm>
                <a:off x="3477854" y="3788438"/>
                <a:ext cx="50433" cy="50433"/>
              </a:xfrm>
              <a:custGeom>
                <a:avLst/>
                <a:gdLst>
                  <a:gd name="connsiteX0" fmla="*/ 25217 w 50433"/>
                  <a:gd name="connsiteY0" fmla="*/ 0 h 50433"/>
                  <a:gd name="connsiteX1" fmla="*/ 0 w 50433"/>
                  <a:gd name="connsiteY1" fmla="*/ 25217 h 50433"/>
                  <a:gd name="connsiteX2" fmla="*/ 25217 w 50433"/>
                  <a:gd name="connsiteY2" fmla="*/ 50434 h 50433"/>
                  <a:gd name="connsiteX3" fmla="*/ 50434 w 50433"/>
                  <a:gd name="connsiteY3" fmla="*/ 25217 h 50433"/>
                  <a:gd name="connsiteX4" fmla="*/ 25217 w 50433"/>
                  <a:gd name="connsiteY4" fmla="*/ 0 h 50433"/>
                  <a:gd name="connsiteX5" fmla="*/ 25217 w 50433"/>
                  <a:gd name="connsiteY5" fmla="*/ 0 h 50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433" h="50433">
                    <a:moveTo>
                      <a:pt x="25217" y="0"/>
                    </a:moveTo>
                    <a:cubicBezTo>
                      <a:pt x="11348" y="0"/>
                      <a:pt x="0" y="11348"/>
                      <a:pt x="0" y="25217"/>
                    </a:cubicBezTo>
                    <a:cubicBezTo>
                      <a:pt x="0" y="39086"/>
                      <a:pt x="11348" y="50434"/>
                      <a:pt x="25217" y="50434"/>
                    </a:cubicBezTo>
                    <a:cubicBezTo>
                      <a:pt x="39086" y="50434"/>
                      <a:pt x="50434" y="39086"/>
                      <a:pt x="50434" y="25217"/>
                    </a:cubicBezTo>
                    <a:cubicBezTo>
                      <a:pt x="50434" y="11348"/>
                      <a:pt x="39086" y="0"/>
                      <a:pt x="25217" y="0"/>
                    </a:cubicBezTo>
                    <a:lnTo>
                      <a:pt x="25217" y="0"/>
                    </a:ln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59" name="Forma Livre: Forma 58">
                <a:extLst>
                  <a:ext uri="{FF2B5EF4-FFF2-40B4-BE49-F238E27FC236}">
                    <a16:creationId xmlns:a16="http://schemas.microsoft.com/office/drawing/2014/main" id="{50C1F42B-8531-4872-A645-D951CDBCF9DC}"/>
                  </a:ext>
                </a:extLst>
              </p:cNvPr>
              <p:cNvSpPr/>
              <p:nvPr/>
            </p:nvSpPr>
            <p:spPr>
              <a:xfrm>
                <a:off x="3591961" y="3788438"/>
                <a:ext cx="50433" cy="50433"/>
              </a:xfrm>
              <a:custGeom>
                <a:avLst/>
                <a:gdLst>
                  <a:gd name="connsiteX0" fmla="*/ 25217 w 50433"/>
                  <a:gd name="connsiteY0" fmla="*/ 0 h 50433"/>
                  <a:gd name="connsiteX1" fmla="*/ 0 w 50433"/>
                  <a:gd name="connsiteY1" fmla="*/ 25217 h 50433"/>
                  <a:gd name="connsiteX2" fmla="*/ 25217 w 50433"/>
                  <a:gd name="connsiteY2" fmla="*/ 50434 h 50433"/>
                  <a:gd name="connsiteX3" fmla="*/ 50434 w 50433"/>
                  <a:gd name="connsiteY3" fmla="*/ 25217 h 50433"/>
                  <a:gd name="connsiteX4" fmla="*/ 25217 w 50433"/>
                  <a:gd name="connsiteY4" fmla="*/ 0 h 50433"/>
                  <a:gd name="connsiteX5" fmla="*/ 25217 w 50433"/>
                  <a:gd name="connsiteY5" fmla="*/ 0 h 50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433" h="50433">
                    <a:moveTo>
                      <a:pt x="25217" y="0"/>
                    </a:moveTo>
                    <a:cubicBezTo>
                      <a:pt x="11348" y="0"/>
                      <a:pt x="0" y="11348"/>
                      <a:pt x="0" y="25217"/>
                    </a:cubicBezTo>
                    <a:cubicBezTo>
                      <a:pt x="0" y="39086"/>
                      <a:pt x="11348" y="50434"/>
                      <a:pt x="25217" y="50434"/>
                    </a:cubicBezTo>
                    <a:cubicBezTo>
                      <a:pt x="39086" y="50434"/>
                      <a:pt x="50434" y="39086"/>
                      <a:pt x="50434" y="25217"/>
                    </a:cubicBezTo>
                    <a:cubicBezTo>
                      <a:pt x="49804" y="11348"/>
                      <a:pt x="39086" y="0"/>
                      <a:pt x="25217" y="0"/>
                    </a:cubicBezTo>
                    <a:lnTo>
                      <a:pt x="25217" y="0"/>
                    </a:ln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60" name="Forma Livre: Forma 59">
              <a:extLst>
                <a:ext uri="{FF2B5EF4-FFF2-40B4-BE49-F238E27FC236}">
                  <a16:creationId xmlns:a16="http://schemas.microsoft.com/office/drawing/2014/main" id="{F5ECE2DE-506A-4D1C-9673-E693F0240B2E}"/>
                </a:ext>
              </a:extLst>
            </p:cNvPr>
            <p:cNvSpPr/>
            <p:nvPr/>
          </p:nvSpPr>
          <p:spPr>
            <a:xfrm>
              <a:off x="3490336" y="3895574"/>
              <a:ext cx="131381" cy="34708"/>
            </a:xfrm>
            <a:custGeom>
              <a:avLst/>
              <a:gdLst>
                <a:gd name="connsiteX0" fmla="*/ 32278 w 131381"/>
                <a:gd name="connsiteY0" fmla="*/ 34709 h 34708"/>
                <a:gd name="connsiteX1" fmla="*/ 3279 w 131381"/>
                <a:gd name="connsiteY1" fmla="*/ 23992 h 34708"/>
                <a:gd name="connsiteX2" fmla="*/ 2018 w 131381"/>
                <a:gd name="connsiteY2" fmla="*/ 12014 h 34708"/>
                <a:gd name="connsiteX3" fmla="*/ 13996 w 131381"/>
                <a:gd name="connsiteY3" fmla="*/ 10753 h 34708"/>
                <a:gd name="connsiteX4" fmla="*/ 62539 w 131381"/>
                <a:gd name="connsiteY4" fmla="*/ 9492 h 34708"/>
                <a:gd name="connsiteX5" fmla="*/ 128103 w 131381"/>
                <a:gd name="connsiteY5" fmla="*/ 10753 h 34708"/>
                <a:gd name="connsiteX6" fmla="*/ 129364 w 131381"/>
                <a:gd name="connsiteY6" fmla="*/ 22731 h 34708"/>
                <a:gd name="connsiteX7" fmla="*/ 117385 w 131381"/>
                <a:gd name="connsiteY7" fmla="*/ 23992 h 34708"/>
                <a:gd name="connsiteX8" fmla="*/ 68843 w 131381"/>
                <a:gd name="connsiteY8" fmla="*/ 25253 h 34708"/>
                <a:gd name="connsiteX9" fmla="*/ 32278 w 131381"/>
                <a:gd name="connsiteY9" fmla="*/ 34709 h 34708"/>
                <a:gd name="connsiteX10" fmla="*/ 32278 w 131381"/>
                <a:gd name="connsiteY10" fmla="*/ 34709 h 34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1381" h="34708">
                  <a:moveTo>
                    <a:pt x="32278" y="34709"/>
                  </a:moveTo>
                  <a:cubicBezTo>
                    <a:pt x="22822" y="34709"/>
                    <a:pt x="12735" y="32188"/>
                    <a:pt x="3279" y="23992"/>
                  </a:cubicBezTo>
                  <a:cubicBezTo>
                    <a:pt x="-503" y="20840"/>
                    <a:pt x="-1134" y="15796"/>
                    <a:pt x="2018" y="12014"/>
                  </a:cubicBezTo>
                  <a:cubicBezTo>
                    <a:pt x="5170" y="8232"/>
                    <a:pt x="10214" y="7601"/>
                    <a:pt x="13996" y="10753"/>
                  </a:cubicBezTo>
                  <a:cubicBezTo>
                    <a:pt x="28496" y="22731"/>
                    <a:pt x="41735" y="17688"/>
                    <a:pt x="62539" y="9492"/>
                  </a:cubicBezTo>
                  <a:cubicBezTo>
                    <a:pt x="82712" y="1297"/>
                    <a:pt x="104777" y="-7529"/>
                    <a:pt x="128103" y="10753"/>
                  </a:cubicBezTo>
                  <a:cubicBezTo>
                    <a:pt x="131885" y="13905"/>
                    <a:pt x="132516" y="18948"/>
                    <a:pt x="129364" y="22731"/>
                  </a:cubicBezTo>
                  <a:cubicBezTo>
                    <a:pt x="126212" y="26514"/>
                    <a:pt x="121168" y="27144"/>
                    <a:pt x="117385" y="23992"/>
                  </a:cubicBezTo>
                  <a:cubicBezTo>
                    <a:pt x="102886" y="12014"/>
                    <a:pt x="89647" y="17057"/>
                    <a:pt x="68843" y="25253"/>
                  </a:cubicBezTo>
                  <a:cubicBezTo>
                    <a:pt x="57495" y="29666"/>
                    <a:pt x="44887" y="34709"/>
                    <a:pt x="32278" y="34709"/>
                  </a:cubicBezTo>
                  <a:lnTo>
                    <a:pt x="32278" y="34709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61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4377625" y="3640289"/>
            <a:ext cx="391807" cy="392122"/>
            <a:chOff x="4377625" y="3640289"/>
            <a:chExt cx="391807" cy="392122"/>
          </a:xfrm>
          <a:solidFill>
            <a:srgbClr val="B1B1A1"/>
          </a:solidFill>
        </p:grpSpPr>
        <p:sp>
          <p:nvSpPr>
            <p:cNvPr id="62" name="Forma Livre: Forma 61">
              <a:extLst>
                <a:ext uri="{FF2B5EF4-FFF2-40B4-BE49-F238E27FC236}">
                  <a16:creationId xmlns:a16="http://schemas.microsoft.com/office/drawing/2014/main" id="{87CCC528-DE37-4ABF-A28A-54CAC2C93494}"/>
                </a:ext>
              </a:extLst>
            </p:cNvPr>
            <p:cNvSpPr/>
            <p:nvPr/>
          </p:nvSpPr>
          <p:spPr>
            <a:xfrm>
              <a:off x="4377625" y="3640289"/>
              <a:ext cx="391807" cy="392122"/>
            </a:xfrm>
            <a:custGeom>
              <a:avLst/>
              <a:gdLst>
                <a:gd name="connsiteX0" fmla="*/ 195904 w 391807"/>
                <a:gd name="connsiteY0" fmla="*/ 392123 h 392122"/>
                <a:gd name="connsiteX1" fmla="*/ 57211 w 391807"/>
                <a:gd name="connsiteY1" fmla="*/ 334754 h 392122"/>
                <a:gd name="connsiteX2" fmla="*/ 57211 w 391807"/>
                <a:gd name="connsiteY2" fmla="*/ 57368 h 392122"/>
                <a:gd name="connsiteX3" fmla="*/ 195904 w 391807"/>
                <a:gd name="connsiteY3" fmla="*/ 0 h 392122"/>
                <a:gd name="connsiteX4" fmla="*/ 334597 w 391807"/>
                <a:gd name="connsiteY4" fmla="*/ 57368 h 392122"/>
                <a:gd name="connsiteX5" fmla="*/ 334597 w 391807"/>
                <a:gd name="connsiteY5" fmla="*/ 334754 h 392122"/>
                <a:gd name="connsiteX6" fmla="*/ 195904 w 391807"/>
                <a:gd name="connsiteY6" fmla="*/ 392123 h 392122"/>
                <a:gd name="connsiteX7" fmla="*/ 195904 w 391807"/>
                <a:gd name="connsiteY7" fmla="*/ 392123 h 392122"/>
                <a:gd name="connsiteX8" fmla="*/ 195904 w 391807"/>
                <a:gd name="connsiteY8" fmla="*/ 32782 h 392122"/>
                <a:gd name="connsiteX9" fmla="*/ 80537 w 391807"/>
                <a:gd name="connsiteY9" fmla="*/ 80694 h 392122"/>
                <a:gd name="connsiteX10" fmla="*/ 80537 w 391807"/>
                <a:gd name="connsiteY10" fmla="*/ 311429 h 392122"/>
                <a:gd name="connsiteX11" fmla="*/ 195904 w 391807"/>
                <a:gd name="connsiteY11" fmla="*/ 359341 h 392122"/>
                <a:gd name="connsiteX12" fmla="*/ 311271 w 391807"/>
                <a:gd name="connsiteY12" fmla="*/ 311429 h 392122"/>
                <a:gd name="connsiteX13" fmla="*/ 311271 w 391807"/>
                <a:gd name="connsiteY13" fmla="*/ 80694 h 392122"/>
                <a:gd name="connsiteX14" fmla="*/ 195904 w 391807"/>
                <a:gd name="connsiteY14" fmla="*/ 32782 h 392122"/>
                <a:gd name="connsiteX15" fmla="*/ 195904 w 391807"/>
                <a:gd name="connsiteY15" fmla="*/ 32782 h 392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91807" h="392122">
                  <a:moveTo>
                    <a:pt x="195904" y="392123"/>
                  </a:moveTo>
                  <a:cubicBezTo>
                    <a:pt x="143579" y="392123"/>
                    <a:pt x="94406" y="371949"/>
                    <a:pt x="57211" y="334754"/>
                  </a:cubicBezTo>
                  <a:cubicBezTo>
                    <a:pt x="-19070" y="258473"/>
                    <a:pt x="-19070" y="133649"/>
                    <a:pt x="57211" y="57368"/>
                  </a:cubicBezTo>
                  <a:cubicBezTo>
                    <a:pt x="94406" y="20173"/>
                    <a:pt x="143579" y="0"/>
                    <a:pt x="195904" y="0"/>
                  </a:cubicBezTo>
                  <a:cubicBezTo>
                    <a:pt x="248229" y="0"/>
                    <a:pt x="297402" y="20173"/>
                    <a:pt x="334597" y="57368"/>
                  </a:cubicBezTo>
                  <a:cubicBezTo>
                    <a:pt x="410878" y="133649"/>
                    <a:pt x="410878" y="258473"/>
                    <a:pt x="334597" y="334754"/>
                  </a:cubicBezTo>
                  <a:cubicBezTo>
                    <a:pt x="297402" y="371949"/>
                    <a:pt x="248229" y="392123"/>
                    <a:pt x="195904" y="392123"/>
                  </a:cubicBezTo>
                  <a:lnTo>
                    <a:pt x="195904" y="392123"/>
                  </a:lnTo>
                  <a:close/>
                  <a:moveTo>
                    <a:pt x="195904" y="32782"/>
                  </a:moveTo>
                  <a:cubicBezTo>
                    <a:pt x="152405" y="32782"/>
                    <a:pt x="111427" y="49803"/>
                    <a:pt x="80537" y="80694"/>
                  </a:cubicBezTo>
                  <a:cubicBezTo>
                    <a:pt x="16864" y="144367"/>
                    <a:pt x="16864" y="247756"/>
                    <a:pt x="80537" y="311429"/>
                  </a:cubicBezTo>
                  <a:cubicBezTo>
                    <a:pt x="111427" y="342320"/>
                    <a:pt x="152405" y="359341"/>
                    <a:pt x="195904" y="359341"/>
                  </a:cubicBezTo>
                  <a:cubicBezTo>
                    <a:pt x="239403" y="359341"/>
                    <a:pt x="280381" y="342320"/>
                    <a:pt x="311271" y="311429"/>
                  </a:cubicBezTo>
                  <a:cubicBezTo>
                    <a:pt x="374944" y="247756"/>
                    <a:pt x="374944" y="144367"/>
                    <a:pt x="311271" y="80694"/>
                  </a:cubicBezTo>
                  <a:cubicBezTo>
                    <a:pt x="280381" y="49803"/>
                    <a:pt x="239403" y="32782"/>
                    <a:pt x="195904" y="32782"/>
                  </a:cubicBezTo>
                  <a:lnTo>
                    <a:pt x="195904" y="32782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63" name="Gráfico 2">
              <a:extLst>
                <a:ext uri="{FF2B5EF4-FFF2-40B4-BE49-F238E27FC236}">
                  <a16:creationId xmlns:a16="http://schemas.microsoft.com/office/drawing/2014/main" id="{1EC2913E-D059-42A1-91F3-F6BAB2F166E6}"/>
                </a:ext>
              </a:extLst>
            </p:cNvPr>
            <p:cNvGrpSpPr/>
            <p:nvPr/>
          </p:nvGrpSpPr>
          <p:grpSpPr>
            <a:xfrm>
              <a:off x="4490943" y="3788438"/>
              <a:ext cx="164540" cy="50433"/>
              <a:chOff x="4490943" y="3788438"/>
              <a:chExt cx="164540" cy="50433"/>
            </a:xfrm>
            <a:grpFill/>
          </p:grpSpPr>
          <p:sp>
            <p:nvSpPr>
              <p:cNvPr id="64" name="Forma Livre: Forma 63">
                <a:extLst>
                  <a:ext uri="{FF2B5EF4-FFF2-40B4-BE49-F238E27FC236}">
                    <a16:creationId xmlns:a16="http://schemas.microsoft.com/office/drawing/2014/main" id="{D2C2F450-A584-4AB5-A2AE-56FA6A4E2B81}"/>
                  </a:ext>
                </a:extLst>
              </p:cNvPr>
              <p:cNvSpPr/>
              <p:nvPr/>
            </p:nvSpPr>
            <p:spPr>
              <a:xfrm>
                <a:off x="4490943" y="3788438"/>
                <a:ext cx="50433" cy="50433"/>
              </a:xfrm>
              <a:custGeom>
                <a:avLst/>
                <a:gdLst>
                  <a:gd name="connsiteX0" fmla="*/ 25217 w 50433"/>
                  <a:gd name="connsiteY0" fmla="*/ 0 h 50433"/>
                  <a:gd name="connsiteX1" fmla="*/ 0 w 50433"/>
                  <a:gd name="connsiteY1" fmla="*/ 25217 h 50433"/>
                  <a:gd name="connsiteX2" fmla="*/ 25217 w 50433"/>
                  <a:gd name="connsiteY2" fmla="*/ 50434 h 50433"/>
                  <a:gd name="connsiteX3" fmla="*/ 50434 w 50433"/>
                  <a:gd name="connsiteY3" fmla="*/ 25217 h 50433"/>
                  <a:gd name="connsiteX4" fmla="*/ 25217 w 50433"/>
                  <a:gd name="connsiteY4" fmla="*/ 0 h 50433"/>
                  <a:gd name="connsiteX5" fmla="*/ 25217 w 50433"/>
                  <a:gd name="connsiteY5" fmla="*/ 0 h 50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433" h="50433">
                    <a:moveTo>
                      <a:pt x="25217" y="0"/>
                    </a:moveTo>
                    <a:cubicBezTo>
                      <a:pt x="11348" y="0"/>
                      <a:pt x="0" y="11348"/>
                      <a:pt x="0" y="25217"/>
                    </a:cubicBezTo>
                    <a:cubicBezTo>
                      <a:pt x="0" y="39086"/>
                      <a:pt x="11348" y="50434"/>
                      <a:pt x="25217" y="50434"/>
                    </a:cubicBezTo>
                    <a:cubicBezTo>
                      <a:pt x="39086" y="50434"/>
                      <a:pt x="50434" y="39086"/>
                      <a:pt x="50434" y="25217"/>
                    </a:cubicBezTo>
                    <a:cubicBezTo>
                      <a:pt x="50434" y="11348"/>
                      <a:pt x="39086" y="0"/>
                      <a:pt x="25217" y="0"/>
                    </a:cubicBezTo>
                    <a:lnTo>
                      <a:pt x="25217" y="0"/>
                    </a:ln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65" name="Forma Livre: Forma 64">
                <a:extLst>
                  <a:ext uri="{FF2B5EF4-FFF2-40B4-BE49-F238E27FC236}">
                    <a16:creationId xmlns:a16="http://schemas.microsoft.com/office/drawing/2014/main" id="{D151B3E0-F438-450D-9E0D-372BD7F04DB2}"/>
                  </a:ext>
                </a:extLst>
              </p:cNvPr>
              <p:cNvSpPr/>
              <p:nvPr/>
            </p:nvSpPr>
            <p:spPr>
              <a:xfrm>
                <a:off x="4605050" y="3788438"/>
                <a:ext cx="50433" cy="50433"/>
              </a:xfrm>
              <a:custGeom>
                <a:avLst/>
                <a:gdLst>
                  <a:gd name="connsiteX0" fmla="*/ 25217 w 50433"/>
                  <a:gd name="connsiteY0" fmla="*/ 0 h 50433"/>
                  <a:gd name="connsiteX1" fmla="*/ 0 w 50433"/>
                  <a:gd name="connsiteY1" fmla="*/ 25217 h 50433"/>
                  <a:gd name="connsiteX2" fmla="*/ 25217 w 50433"/>
                  <a:gd name="connsiteY2" fmla="*/ 50434 h 50433"/>
                  <a:gd name="connsiteX3" fmla="*/ 50434 w 50433"/>
                  <a:gd name="connsiteY3" fmla="*/ 25217 h 50433"/>
                  <a:gd name="connsiteX4" fmla="*/ 25217 w 50433"/>
                  <a:gd name="connsiteY4" fmla="*/ 0 h 50433"/>
                  <a:gd name="connsiteX5" fmla="*/ 25217 w 50433"/>
                  <a:gd name="connsiteY5" fmla="*/ 0 h 50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433" h="50433">
                    <a:moveTo>
                      <a:pt x="25217" y="0"/>
                    </a:moveTo>
                    <a:cubicBezTo>
                      <a:pt x="11348" y="0"/>
                      <a:pt x="0" y="11348"/>
                      <a:pt x="0" y="25217"/>
                    </a:cubicBezTo>
                    <a:cubicBezTo>
                      <a:pt x="0" y="39086"/>
                      <a:pt x="11348" y="50434"/>
                      <a:pt x="25217" y="50434"/>
                    </a:cubicBezTo>
                    <a:cubicBezTo>
                      <a:pt x="39086" y="50434"/>
                      <a:pt x="50434" y="39086"/>
                      <a:pt x="50434" y="25217"/>
                    </a:cubicBezTo>
                    <a:cubicBezTo>
                      <a:pt x="50434" y="11348"/>
                      <a:pt x="39086" y="0"/>
                      <a:pt x="25217" y="0"/>
                    </a:cubicBezTo>
                    <a:lnTo>
                      <a:pt x="25217" y="0"/>
                    </a:ln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66" name="Forma Livre: Forma 65">
              <a:extLst>
                <a:ext uri="{FF2B5EF4-FFF2-40B4-BE49-F238E27FC236}">
                  <a16:creationId xmlns:a16="http://schemas.microsoft.com/office/drawing/2014/main" id="{4594827E-FEEA-4866-92B9-954273E56151}"/>
                </a:ext>
              </a:extLst>
            </p:cNvPr>
            <p:cNvSpPr/>
            <p:nvPr/>
          </p:nvSpPr>
          <p:spPr>
            <a:xfrm>
              <a:off x="4529399" y="3889306"/>
              <a:ext cx="88889" cy="88259"/>
            </a:xfrm>
            <a:custGeom>
              <a:avLst/>
              <a:gdLst>
                <a:gd name="connsiteX0" fmla="*/ 44130 w 88889"/>
                <a:gd name="connsiteY0" fmla="*/ 88259 h 88259"/>
                <a:gd name="connsiteX1" fmla="*/ 0 w 88889"/>
                <a:gd name="connsiteY1" fmla="*/ 44130 h 88259"/>
                <a:gd name="connsiteX2" fmla="*/ 0 w 88889"/>
                <a:gd name="connsiteY2" fmla="*/ 8196 h 88259"/>
                <a:gd name="connsiteX3" fmla="*/ 8195 w 88889"/>
                <a:gd name="connsiteY3" fmla="*/ 0 h 88259"/>
                <a:gd name="connsiteX4" fmla="*/ 80694 w 88889"/>
                <a:gd name="connsiteY4" fmla="*/ 0 h 88259"/>
                <a:gd name="connsiteX5" fmla="*/ 88889 w 88889"/>
                <a:gd name="connsiteY5" fmla="*/ 8196 h 88259"/>
                <a:gd name="connsiteX6" fmla="*/ 88889 w 88889"/>
                <a:gd name="connsiteY6" fmla="*/ 44130 h 88259"/>
                <a:gd name="connsiteX7" fmla="*/ 44130 w 88889"/>
                <a:gd name="connsiteY7" fmla="*/ 88259 h 88259"/>
                <a:gd name="connsiteX8" fmla="*/ 44130 w 88889"/>
                <a:gd name="connsiteY8" fmla="*/ 88259 h 88259"/>
                <a:gd name="connsiteX9" fmla="*/ 16391 w 88889"/>
                <a:gd name="connsiteY9" fmla="*/ 15761 h 88259"/>
                <a:gd name="connsiteX10" fmla="*/ 16391 w 88889"/>
                <a:gd name="connsiteY10" fmla="*/ 43499 h 88259"/>
                <a:gd name="connsiteX11" fmla="*/ 44130 w 88889"/>
                <a:gd name="connsiteY11" fmla="*/ 71238 h 88259"/>
                <a:gd name="connsiteX12" fmla="*/ 71868 w 88889"/>
                <a:gd name="connsiteY12" fmla="*/ 43499 h 88259"/>
                <a:gd name="connsiteX13" fmla="*/ 71868 w 88889"/>
                <a:gd name="connsiteY13" fmla="*/ 15761 h 88259"/>
                <a:gd name="connsiteX14" fmla="*/ 16391 w 88889"/>
                <a:gd name="connsiteY14" fmla="*/ 15761 h 88259"/>
                <a:gd name="connsiteX15" fmla="*/ 16391 w 88889"/>
                <a:gd name="connsiteY15" fmla="*/ 15761 h 88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8889" h="88259">
                  <a:moveTo>
                    <a:pt x="44130" y="88259"/>
                  </a:moveTo>
                  <a:cubicBezTo>
                    <a:pt x="19543" y="88259"/>
                    <a:pt x="0" y="68086"/>
                    <a:pt x="0" y="44130"/>
                  </a:cubicBezTo>
                  <a:lnTo>
                    <a:pt x="0" y="8196"/>
                  </a:lnTo>
                  <a:cubicBezTo>
                    <a:pt x="0" y="3783"/>
                    <a:pt x="3782" y="0"/>
                    <a:pt x="8195" y="0"/>
                  </a:cubicBezTo>
                  <a:lnTo>
                    <a:pt x="80694" y="0"/>
                  </a:lnTo>
                  <a:cubicBezTo>
                    <a:pt x="85107" y="0"/>
                    <a:pt x="88889" y="3783"/>
                    <a:pt x="88889" y="8196"/>
                  </a:cubicBezTo>
                  <a:lnTo>
                    <a:pt x="88889" y="44130"/>
                  </a:lnTo>
                  <a:cubicBezTo>
                    <a:pt x="88259" y="68086"/>
                    <a:pt x="68716" y="88259"/>
                    <a:pt x="44130" y="88259"/>
                  </a:cubicBezTo>
                  <a:lnTo>
                    <a:pt x="44130" y="88259"/>
                  </a:lnTo>
                  <a:close/>
                  <a:moveTo>
                    <a:pt x="16391" y="15761"/>
                  </a:moveTo>
                  <a:lnTo>
                    <a:pt x="16391" y="43499"/>
                  </a:lnTo>
                  <a:cubicBezTo>
                    <a:pt x="16391" y="58630"/>
                    <a:pt x="28999" y="71238"/>
                    <a:pt x="44130" y="71238"/>
                  </a:cubicBezTo>
                  <a:cubicBezTo>
                    <a:pt x="59260" y="71238"/>
                    <a:pt x="71868" y="58630"/>
                    <a:pt x="71868" y="43499"/>
                  </a:cubicBezTo>
                  <a:lnTo>
                    <a:pt x="71868" y="15761"/>
                  </a:lnTo>
                  <a:lnTo>
                    <a:pt x="16391" y="15761"/>
                  </a:lnTo>
                  <a:lnTo>
                    <a:pt x="16391" y="1576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67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3372574" y="567609"/>
            <a:ext cx="375138" cy="350514"/>
            <a:chOff x="3372574" y="567609"/>
            <a:chExt cx="375138" cy="350514"/>
          </a:xfrm>
          <a:solidFill>
            <a:srgbClr val="B1B1A1"/>
          </a:solidFill>
        </p:grpSpPr>
        <p:sp>
          <p:nvSpPr>
            <p:cNvPr id="68" name="Forma Livre: Forma 67">
              <a:extLst>
                <a:ext uri="{FF2B5EF4-FFF2-40B4-BE49-F238E27FC236}">
                  <a16:creationId xmlns:a16="http://schemas.microsoft.com/office/drawing/2014/main" id="{7FE60618-5121-4240-8D73-4B459486F647}"/>
                </a:ext>
              </a:extLst>
            </p:cNvPr>
            <p:cNvSpPr/>
            <p:nvPr/>
          </p:nvSpPr>
          <p:spPr>
            <a:xfrm>
              <a:off x="3372574" y="567609"/>
              <a:ext cx="375138" cy="350514"/>
            </a:xfrm>
            <a:custGeom>
              <a:avLst/>
              <a:gdLst>
                <a:gd name="connsiteX0" fmla="*/ 358710 w 375138"/>
                <a:gd name="connsiteY0" fmla="*/ 350515 h 350514"/>
                <a:gd name="connsiteX1" fmla="*/ 16391 w 375138"/>
                <a:gd name="connsiteY1" fmla="*/ 350515 h 350514"/>
                <a:gd name="connsiteX2" fmla="*/ 0 w 375138"/>
                <a:gd name="connsiteY2" fmla="*/ 334124 h 350514"/>
                <a:gd name="connsiteX3" fmla="*/ 0 w 375138"/>
                <a:gd name="connsiteY3" fmla="*/ 33412 h 350514"/>
                <a:gd name="connsiteX4" fmla="*/ 33412 w 375138"/>
                <a:gd name="connsiteY4" fmla="*/ 0 h 350514"/>
                <a:gd name="connsiteX5" fmla="*/ 150040 w 375138"/>
                <a:gd name="connsiteY5" fmla="*/ 0 h 350514"/>
                <a:gd name="connsiteX6" fmla="*/ 183453 w 375138"/>
                <a:gd name="connsiteY6" fmla="*/ 33412 h 350514"/>
                <a:gd name="connsiteX7" fmla="*/ 183453 w 375138"/>
                <a:gd name="connsiteY7" fmla="*/ 45390 h 350514"/>
                <a:gd name="connsiteX8" fmla="*/ 358710 w 375138"/>
                <a:gd name="connsiteY8" fmla="*/ 45390 h 350514"/>
                <a:gd name="connsiteX9" fmla="*/ 375101 w 375138"/>
                <a:gd name="connsiteY9" fmla="*/ 61781 h 350514"/>
                <a:gd name="connsiteX10" fmla="*/ 375101 w 375138"/>
                <a:gd name="connsiteY10" fmla="*/ 334124 h 350514"/>
                <a:gd name="connsiteX11" fmla="*/ 358710 w 375138"/>
                <a:gd name="connsiteY11" fmla="*/ 350515 h 350514"/>
                <a:gd name="connsiteX12" fmla="*/ 358710 w 375138"/>
                <a:gd name="connsiteY12" fmla="*/ 350515 h 350514"/>
                <a:gd name="connsiteX13" fmla="*/ 33412 w 375138"/>
                <a:gd name="connsiteY13" fmla="*/ 317733 h 350514"/>
                <a:gd name="connsiteX14" fmla="*/ 342319 w 375138"/>
                <a:gd name="connsiteY14" fmla="*/ 317733 h 350514"/>
                <a:gd name="connsiteX15" fmla="*/ 342319 w 375138"/>
                <a:gd name="connsiteY15" fmla="*/ 78803 h 350514"/>
                <a:gd name="connsiteX16" fmla="*/ 167062 w 375138"/>
                <a:gd name="connsiteY16" fmla="*/ 78803 h 350514"/>
                <a:gd name="connsiteX17" fmla="*/ 150671 w 375138"/>
                <a:gd name="connsiteY17" fmla="*/ 62412 h 350514"/>
                <a:gd name="connsiteX18" fmla="*/ 150671 w 375138"/>
                <a:gd name="connsiteY18" fmla="*/ 33412 h 350514"/>
                <a:gd name="connsiteX19" fmla="*/ 34043 w 375138"/>
                <a:gd name="connsiteY19" fmla="*/ 33412 h 350514"/>
                <a:gd name="connsiteX20" fmla="*/ 34043 w 375138"/>
                <a:gd name="connsiteY20" fmla="*/ 317733 h 350514"/>
                <a:gd name="connsiteX21" fmla="*/ 33412 w 375138"/>
                <a:gd name="connsiteY21" fmla="*/ 317733 h 350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75138" h="350514">
                  <a:moveTo>
                    <a:pt x="358710" y="350515"/>
                  </a:moveTo>
                  <a:lnTo>
                    <a:pt x="16391" y="350515"/>
                  </a:lnTo>
                  <a:cubicBezTo>
                    <a:pt x="6935" y="350515"/>
                    <a:pt x="0" y="342950"/>
                    <a:pt x="0" y="334124"/>
                  </a:cubicBezTo>
                  <a:lnTo>
                    <a:pt x="0" y="33412"/>
                  </a:lnTo>
                  <a:cubicBezTo>
                    <a:pt x="0" y="15130"/>
                    <a:pt x="15130" y="0"/>
                    <a:pt x="33412" y="0"/>
                  </a:cubicBezTo>
                  <a:lnTo>
                    <a:pt x="150040" y="0"/>
                  </a:lnTo>
                  <a:cubicBezTo>
                    <a:pt x="168323" y="0"/>
                    <a:pt x="183453" y="15130"/>
                    <a:pt x="183453" y="33412"/>
                  </a:cubicBezTo>
                  <a:lnTo>
                    <a:pt x="183453" y="45390"/>
                  </a:lnTo>
                  <a:lnTo>
                    <a:pt x="358710" y="45390"/>
                  </a:lnTo>
                  <a:cubicBezTo>
                    <a:pt x="368167" y="45390"/>
                    <a:pt x="375101" y="52955"/>
                    <a:pt x="375101" y="61781"/>
                  </a:cubicBezTo>
                  <a:lnTo>
                    <a:pt x="375101" y="334124"/>
                  </a:lnTo>
                  <a:cubicBezTo>
                    <a:pt x="375732" y="343580"/>
                    <a:pt x="368167" y="350515"/>
                    <a:pt x="358710" y="350515"/>
                  </a:cubicBezTo>
                  <a:lnTo>
                    <a:pt x="358710" y="350515"/>
                  </a:lnTo>
                  <a:close/>
                  <a:moveTo>
                    <a:pt x="33412" y="317733"/>
                  </a:moveTo>
                  <a:lnTo>
                    <a:pt x="342319" y="317733"/>
                  </a:lnTo>
                  <a:lnTo>
                    <a:pt x="342319" y="78803"/>
                  </a:lnTo>
                  <a:lnTo>
                    <a:pt x="167062" y="78803"/>
                  </a:lnTo>
                  <a:cubicBezTo>
                    <a:pt x="157606" y="78803"/>
                    <a:pt x="150671" y="71238"/>
                    <a:pt x="150671" y="62412"/>
                  </a:cubicBezTo>
                  <a:lnTo>
                    <a:pt x="150671" y="33412"/>
                  </a:lnTo>
                  <a:lnTo>
                    <a:pt x="34043" y="33412"/>
                  </a:lnTo>
                  <a:lnTo>
                    <a:pt x="34043" y="317733"/>
                  </a:lnTo>
                  <a:lnTo>
                    <a:pt x="33412" y="317733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69" name="Forma Livre: Forma 68">
              <a:extLst>
                <a:ext uri="{FF2B5EF4-FFF2-40B4-BE49-F238E27FC236}">
                  <a16:creationId xmlns:a16="http://schemas.microsoft.com/office/drawing/2014/main" id="{F7276EF2-1E22-4360-AABE-ACC7F81FA281}"/>
                </a:ext>
              </a:extLst>
            </p:cNvPr>
            <p:cNvSpPr/>
            <p:nvPr/>
          </p:nvSpPr>
          <p:spPr>
            <a:xfrm>
              <a:off x="3372574" y="675412"/>
              <a:ext cx="374470" cy="32781"/>
            </a:xfrm>
            <a:custGeom>
              <a:avLst/>
              <a:gdLst>
                <a:gd name="connsiteX0" fmla="*/ 358080 w 374470"/>
                <a:gd name="connsiteY0" fmla="*/ 32782 h 32781"/>
                <a:gd name="connsiteX1" fmla="*/ 16391 w 374470"/>
                <a:gd name="connsiteY1" fmla="*/ 32782 h 32781"/>
                <a:gd name="connsiteX2" fmla="*/ 0 w 374470"/>
                <a:gd name="connsiteY2" fmla="*/ 16391 h 32781"/>
                <a:gd name="connsiteX3" fmla="*/ 16391 w 374470"/>
                <a:gd name="connsiteY3" fmla="*/ 0 h 32781"/>
                <a:gd name="connsiteX4" fmla="*/ 358080 w 374470"/>
                <a:gd name="connsiteY4" fmla="*/ 0 h 32781"/>
                <a:gd name="connsiteX5" fmla="*/ 374471 w 374470"/>
                <a:gd name="connsiteY5" fmla="*/ 16391 h 32781"/>
                <a:gd name="connsiteX6" fmla="*/ 358080 w 374470"/>
                <a:gd name="connsiteY6" fmla="*/ 32782 h 32781"/>
                <a:gd name="connsiteX7" fmla="*/ 358080 w 374470"/>
                <a:gd name="connsiteY7" fmla="*/ 32782 h 32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4470" h="32781">
                  <a:moveTo>
                    <a:pt x="358080" y="32782"/>
                  </a:moveTo>
                  <a:lnTo>
                    <a:pt x="16391" y="32782"/>
                  </a:lnTo>
                  <a:cubicBezTo>
                    <a:pt x="6935" y="32782"/>
                    <a:pt x="0" y="25217"/>
                    <a:pt x="0" y="16391"/>
                  </a:cubicBezTo>
                  <a:cubicBezTo>
                    <a:pt x="0" y="6935"/>
                    <a:pt x="7565" y="0"/>
                    <a:pt x="16391" y="0"/>
                  </a:cubicBezTo>
                  <a:lnTo>
                    <a:pt x="358080" y="0"/>
                  </a:lnTo>
                  <a:cubicBezTo>
                    <a:pt x="367536" y="0"/>
                    <a:pt x="374471" y="7565"/>
                    <a:pt x="374471" y="16391"/>
                  </a:cubicBezTo>
                  <a:cubicBezTo>
                    <a:pt x="374471" y="25847"/>
                    <a:pt x="366906" y="32782"/>
                    <a:pt x="358080" y="32782"/>
                  </a:cubicBezTo>
                  <a:lnTo>
                    <a:pt x="358080" y="32782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70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4344685" y="567609"/>
            <a:ext cx="457665" cy="350514"/>
            <a:chOff x="4344685" y="567609"/>
            <a:chExt cx="457665" cy="350514"/>
          </a:xfrm>
          <a:solidFill>
            <a:srgbClr val="B1B1A1"/>
          </a:solidFill>
        </p:grpSpPr>
        <p:sp>
          <p:nvSpPr>
            <p:cNvPr id="71" name="Forma Livre: Forma 70">
              <a:extLst>
                <a:ext uri="{FF2B5EF4-FFF2-40B4-BE49-F238E27FC236}">
                  <a16:creationId xmlns:a16="http://schemas.microsoft.com/office/drawing/2014/main" id="{3C1F6A73-7B2F-48E2-9F6B-C47F324A3CD8}"/>
                </a:ext>
              </a:extLst>
            </p:cNvPr>
            <p:cNvSpPr/>
            <p:nvPr/>
          </p:nvSpPr>
          <p:spPr>
            <a:xfrm>
              <a:off x="4357315" y="664694"/>
              <a:ext cx="445035" cy="253429"/>
            </a:xfrm>
            <a:custGeom>
              <a:avLst/>
              <a:gdLst>
                <a:gd name="connsiteX0" fmla="*/ 358689 w 445035"/>
                <a:gd name="connsiteY0" fmla="*/ 253430 h 253429"/>
                <a:gd name="connsiteX1" fmla="*/ 16369 w 445035"/>
                <a:gd name="connsiteY1" fmla="*/ 253430 h 253429"/>
                <a:gd name="connsiteX2" fmla="*/ 3131 w 445035"/>
                <a:gd name="connsiteY2" fmla="*/ 246495 h 253429"/>
                <a:gd name="connsiteX3" fmla="*/ 609 w 445035"/>
                <a:gd name="connsiteY3" fmla="*/ 231365 h 253429"/>
                <a:gd name="connsiteX4" fmla="*/ 70586 w 445035"/>
                <a:gd name="connsiteY4" fmla="*/ 11348 h 253429"/>
                <a:gd name="connsiteX5" fmla="*/ 86346 w 445035"/>
                <a:gd name="connsiteY5" fmla="*/ 0 h 253429"/>
                <a:gd name="connsiteX6" fmla="*/ 428666 w 445035"/>
                <a:gd name="connsiteY6" fmla="*/ 0 h 253429"/>
                <a:gd name="connsiteX7" fmla="*/ 441905 w 445035"/>
                <a:gd name="connsiteY7" fmla="*/ 6935 h 253429"/>
                <a:gd name="connsiteX8" fmla="*/ 444426 w 445035"/>
                <a:gd name="connsiteY8" fmla="*/ 22065 h 253429"/>
                <a:gd name="connsiteX9" fmla="*/ 374449 w 445035"/>
                <a:gd name="connsiteY9" fmla="*/ 242082 h 253429"/>
                <a:gd name="connsiteX10" fmla="*/ 358689 w 445035"/>
                <a:gd name="connsiteY10" fmla="*/ 253430 h 253429"/>
                <a:gd name="connsiteX11" fmla="*/ 358689 w 445035"/>
                <a:gd name="connsiteY11" fmla="*/ 253430 h 253429"/>
                <a:gd name="connsiteX12" fmla="*/ 39065 w 445035"/>
                <a:gd name="connsiteY12" fmla="*/ 220648 h 253429"/>
                <a:gd name="connsiteX13" fmla="*/ 346080 w 445035"/>
                <a:gd name="connsiteY13" fmla="*/ 220648 h 253429"/>
                <a:gd name="connsiteX14" fmla="*/ 405340 w 445035"/>
                <a:gd name="connsiteY14" fmla="*/ 34043 h 253429"/>
                <a:gd name="connsiteX15" fmla="*/ 98324 w 445035"/>
                <a:gd name="connsiteY15" fmla="*/ 34043 h 253429"/>
                <a:gd name="connsiteX16" fmla="*/ 39065 w 445035"/>
                <a:gd name="connsiteY16" fmla="*/ 220648 h 253429"/>
                <a:gd name="connsiteX17" fmla="*/ 39065 w 445035"/>
                <a:gd name="connsiteY17" fmla="*/ 220648 h 253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45035" h="253429">
                  <a:moveTo>
                    <a:pt x="358689" y="253430"/>
                  </a:moveTo>
                  <a:lnTo>
                    <a:pt x="16369" y="253430"/>
                  </a:lnTo>
                  <a:cubicBezTo>
                    <a:pt x="11326" y="253430"/>
                    <a:pt x="6283" y="250908"/>
                    <a:pt x="3131" y="246495"/>
                  </a:cubicBezTo>
                  <a:cubicBezTo>
                    <a:pt x="-22" y="242082"/>
                    <a:pt x="-652" y="236408"/>
                    <a:pt x="609" y="231365"/>
                  </a:cubicBezTo>
                  <a:lnTo>
                    <a:pt x="70586" y="11348"/>
                  </a:lnTo>
                  <a:cubicBezTo>
                    <a:pt x="72477" y="4413"/>
                    <a:pt x="79412" y="0"/>
                    <a:pt x="86346" y="0"/>
                  </a:cubicBezTo>
                  <a:lnTo>
                    <a:pt x="428666" y="0"/>
                  </a:lnTo>
                  <a:cubicBezTo>
                    <a:pt x="433709" y="0"/>
                    <a:pt x="438752" y="2522"/>
                    <a:pt x="441905" y="6935"/>
                  </a:cubicBezTo>
                  <a:cubicBezTo>
                    <a:pt x="445057" y="11348"/>
                    <a:pt x="445687" y="17021"/>
                    <a:pt x="444426" y="22065"/>
                  </a:cubicBezTo>
                  <a:lnTo>
                    <a:pt x="374449" y="242082"/>
                  </a:lnTo>
                  <a:cubicBezTo>
                    <a:pt x="371928" y="249017"/>
                    <a:pt x="365624" y="253430"/>
                    <a:pt x="358689" y="253430"/>
                  </a:cubicBezTo>
                  <a:lnTo>
                    <a:pt x="358689" y="253430"/>
                  </a:lnTo>
                  <a:close/>
                  <a:moveTo>
                    <a:pt x="39065" y="220648"/>
                  </a:moveTo>
                  <a:lnTo>
                    <a:pt x="346080" y="220648"/>
                  </a:lnTo>
                  <a:lnTo>
                    <a:pt x="405340" y="34043"/>
                  </a:lnTo>
                  <a:lnTo>
                    <a:pt x="98324" y="34043"/>
                  </a:lnTo>
                  <a:lnTo>
                    <a:pt x="39065" y="220648"/>
                  </a:lnTo>
                  <a:lnTo>
                    <a:pt x="39065" y="220648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72" name="Forma Livre: Forma 71">
              <a:extLst>
                <a:ext uri="{FF2B5EF4-FFF2-40B4-BE49-F238E27FC236}">
                  <a16:creationId xmlns:a16="http://schemas.microsoft.com/office/drawing/2014/main" id="{B25BE360-92E2-4439-BDCE-2C3932DE688E}"/>
                </a:ext>
              </a:extLst>
            </p:cNvPr>
            <p:cNvSpPr/>
            <p:nvPr/>
          </p:nvSpPr>
          <p:spPr>
            <a:xfrm>
              <a:off x="4344685" y="567609"/>
              <a:ext cx="375101" cy="350514"/>
            </a:xfrm>
            <a:custGeom>
              <a:avLst/>
              <a:gdLst>
                <a:gd name="connsiteX0" fmla="*/ 16391 w 375101"/>
                <a:gd name="connsiteY0" fmla="*/ 350515 h 350514"/>
                <a:gd name="connsiteX1" fmla="*/ 0 w 375101"/>
                <a:gd name="connsiteY1" fmla="*/ 334124 h 350514"/>
                <a:gd name="connsiteX2" fmla="*/ 0 w 375101"/>
                <a:gd name="connsiteY2" fmla="*/ 33412 h 350514"/>
                <a:gd name="connsiteX3" fmla="*/ 33412 w 375101"/>
                <a:gd name="connsiteY3" fmla="*/ 0 h 350514"/>
                <a:gd name="connsiteX4" fmla="*/ 150040 w 375101"/>
                <a:gd name="connsiteY4" fmla="*/ 0 h 350514"/>
                <a:gd name="connsiteX5" fmla="*/ 183453 w 375101"/>
                <a:gd name="connsiteY5" fmla="*/ 33412 h 350514"/>
                <a:gd name="connsiteX6" fmla="*/ 183453 w 375101"/>
                <a:gd name="connsiteY6" fmla="*/ 45390 h 350514"/>
                <a:gd name="connsiteX7" fmla="*/ 358710 w 375101"/>
                <a:gd name="connsiteY7" fmla="*/ 45390 h 350514"/>
                <a:gd name="connsiteX8" fmla="*/ 375101 w 375101"/>
                <a:gd name="connsiteY8" fmla="*/ 61781 h 350514"/>
                <a:gd name="connsiteX9" fmla="*/ 358710 w 375101"/>
                <a:gd name="connsiteY9" fmla="*/ 78172 h 350514"/>
                <a:gd name="connsiteX10" fmla="*/ 166431 w 375101"/>
                <a:gd name="connsiteY10" fmla="*/ 78172 h 350514"/>
                <a:gd name="connsiteX11" fmla="*/ 150040 w 375101"/>
                <a:gd name="connsiteY11" fmla="*/ 61781 h 350514"/>
                <a:gd name="connsiteX12" fmla="*/ 150040 w 375101"/>
                <a:gd name="connsiteY12" fmla="*/ 33412 h 350514"/>
                <a:gd name="connsiteX13" fmla="*/ 33412 w 375101"/>
                <a:gd name="connsiteY13" fmla="*/ 33412 h 350514"/>
                <a:gd name="connsiteX14" fmla="*/ 33412 w 375101"/>
                <a:gd name="connsiteY14" fmla="*/ 334124 h 350514"/>
                <a:gd name="connsiteX15" fmla="*/ 16391 w 375101"/>
                <a:gd name="connsiteY15" fmla="*/ 350515 h 350514"/>
                <a:gd name="connsiteX16" fmla="*/ 16391 w 375101"/>
                <a:gd name="connsiteY16" fmla="*/ 350515 h 350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75101" h="350514">
                  <a:moveTo>
                    <a:pt x="16391" y="350515"/>
                  </a:moveTo>
                  <a:cubicBezTo>
                    <a:pt x="6934" y="350515"/>
                    <a:pt x="0" y="342950"/>
                    <a:pt x="0" y="334124"/>
                  </a:cubicBezTo>
                  <a:lnTo>
                    <a:pt x="0" y="33412"/>
                  </a:lnTo>
                  <a:cubicBezTo>
                    <a:pt x="0" y="15130"/>
                    <a:pt x="15130" y="0"/>
                    <a:pt x="33412" y="0"/>
                  </a:cubicBezTo>
                  <a:lnTo>
                    <a:pt x="150040" y="0"/>
                  </a:lnTo>
                  <a:cubicBezTo>
                    <a:pt x="168323" y="0"/>
                    <a:pt x="183453" y="15130"/>
                    <a:pt x="183453" y="33412"/>
                  </a:cubicBezTo>
                  <a:lnTo>
                    <a:pt x="183453" y="45390"/>
                  </a:lnTo>
                  <a:lnTo>
                    <a:pt x="358710" y="45390"/>
                  </a:lnTo>
                  <a:cubicBezTo>
                    <a:pt x="368167" y="45390"/>
                    <a:pt x="375101" y="52955"/>
                    <a:pt x="375101" y="61781"/>
                  </a:cubicBezTo>
                  <a:cubicBezTo>
                    <a:pt x="375101" y="71238"/>
                    <a:pt x="367536" y="78172"/>
                    <a:pt x="358710" y="78172"/>
                  </a:cubicBezTo>
                  <a:lnTo>
                    <a:pt x="166431" y="78172"/>
                  </a:lnTo>
                  <a:cubicBezTo>
                    <a:pt x="156975" y="78172"/>
                    <a:pt x="150040" y="70607"/>
                    <a:pt x="150040" y="61781"/>
                  </a:cubicBezTo>
                  <a:lnTo>
                    <a:pt x="150040" y="33412"/>
                  </a:lnTo>
                  <a:lnTo>
                    <a:pt x="33412" y="33412"/>
                  </a:lnTo>
                  <a:lnTo>
                    <a:pt x="33412" y="334124"/>
                  </a:lnTo>
                  <a:cubicBezTo>
                    <a:pt x="32782" y="343580"/>
                    <a:pt x="25217" y="350515"/>
                    <a:pt x="16391" y="350515"/>
                  </a:cubicBezTo>
                  <a:lnTo>
                    <a:pt x="16391" y="350515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73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7411691" y="539240"/>
            <a:ext cx="460839" cy="399057"/>
            <a:chOff x="7411691" y="539240"/>
            <a:chExt cx="460839" cy="399057"/>
          </a:xfrm>
          <a:solidFill>
            <a:srgbClr val="B1B1A1"/>
          </a:solidFill>
        </p:grpSpPr>
        <p:sp>
          <p:nvSpPr>
            <p:cNvPr id="74" name="Forma Livre: Forma 73">
              <a:extLst>
                <a:ext uri="{FF2B5EF4-FFF2-40B4-BE49-F238E27FC236}">
                  <a16:creationId xmlns:a16="http://schemas.microsoft.com/office/drawing/2014/main" id="{537AC9C5-0624-4EB6-86C5-2D142848C971}"/>
                </a:ext>
              </a:extLst>
            </p:cNvPr>
            <p:cNvSpPr/>
            <p:nvPr/>
          </p:nvSpPr>
          <p:spPr>
            <a:xfrm>
              <a:off x="7411691" y="539240"/>
              <a:ext cx="375101" cy="351145"/>
            </a:xfrm>
            <a:custGeom>
              <a:avLst/>
              <a:gdLst>
                <a:gd name="connsiteX0" fmla="*/ 16391 w 375101"/>
                <a:gd name="connsiteY0" fmla="*/ 351145 h 351145"/>
                <a:gd name="connsiteX1" fmla="*/ 0 w 375101"/>
                <a:gd name="connsiteY1" fmla="*/ 334754 h 351145"/>
                <a:gd name="connsiteX2" fmla="*/ 0 w 375101"/>
                <a:gd name="connsiteY2" fmla="*/ 33412 h 351145"/>
                <a:gd name="connsiteX3" fmla="*/ 33412 w 375101"/>
                <a:gd name="connsiteY3" fmla="*/ 0 h 351145"/>
                <a:gd name="connsiteX4" fmla="*/ 150040 w 375101"/>
                <a:gd name="connsiteY4" fmla="*/ 0 h 351145"/>
                <a:gd name="connsiteX5" fmla="*/ 183453 w 375101"/>
                <a:gd name="connsiteY5" fmla="*/ 33412 h 351145"/>
                <a:gd name="connsiteX6" fmla="*/ 183453 w 375101"/>
                <a:gd name="connsiteY6" fmla="*/ 45390 h 351145"/>
                <a:gd name="connsiteX7" fmla="*/ 358710 w 375101"/>
                <a:gd name="connsiteY7" fmla="*/ 45390 h 351145"/>
                <a:gd name="connsiteX8" fmla="*/ 375101 w 375101"/>
                <a:gd name="connsiteY8" fmla="*/ 61781 h 351145"/>
                <a:gd name="connsiteX9" fmla="*/ 358710 w 375101"/>
                <a:gd name="connsiteY9" fmla="*/ 78172 h 351145"/>
                <a:gd name="connsiteX10" fmla="*/ 166431 w 375101"/>
                <a:gd name="connsiteY10" fmla="*/ 78172 h 351145"/>
                <a:gd name="connsiteX11" fmla="*/ 150040 w 375101"/>
                <a:gd name="connsiteY11" fmla="*/ 61781 h 351145"/>
                <a:gd name="connsiteX12" fmla="*/ 150040 w 375101"/>
                <a:gd name="connsiteY12" fmla="*/ 33412 h 351145"/>
                <a:gd name="connsiteX13" fmla="*/ 33412 w 375101"/>
                <a:gd name="connsiteY13" fmla="*/ 33412 h 351145"/>
                <a:gd name="connsiteX14" fmla="*/ 33412 w 375101"/>
                <a:gd name="connsiteY14" fmla="*/ 334124 h 351145"/>
                <a:gd name="connsiteX15" fmla="*/ 16391 w 375101"/>
                <a:gd name="connsiteY15" fmla="*/ 351145 h 351145"/>
                <a:gd name="connsiteX16" fmla="*/ 16391 w 375101"/>
                <a:gd name="connsiteY16" fmla="*/ 351145 h 351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75101" h="351145">
                  <a:moveTo>
                    <a:pt x="16391" y="351145"/>
                  </a:moveTo>
                  <a:cubicBezTo>
                    <a:pt x="6934" y="351145"/>
                    <a:pt x="0" y="343580"/>
                    <a:pt x="0" y="334754"/>
                  </a:cubicBezTo>
                  <a:lnTo>
                    <a:pt x="0" y="33412"/>
                  </a:lnTo>
                  <a:cubicBezTo>
                    <a:pt x="0" y="15130"/>
                    <a:pt x="15130" y="0"/>
                    <a:pt x="33412" y="0"/>
                  </a:cubicBezTo>
                  <a:lnTo>
                    <a:pt x="150040" y="0"/>
                  </a:lnTo>
                  <a:cubicBezTo>
                    <a:pt x="168323" y="0"/>
                    <a:pt x="183453" y="15130"/>
                    <a:pt x="183453" y="33412"/>
                  </a:cubicBezTo>
                  <a:lnTo>
                    <a:pt x="183453" y="45390"/>
                  </a:lnTo>
                  <a:lnTo>
                    <a:pt x="358710" y="45390"/>
                  </a:lnTo>
                  <a:cubicBezTo>
                    <a:pt x="368167" y="45390"/>
                    <a:pt x="375101" y="52955"/>
                    <a:pt x="375101" y="61781"/>
                  </a:cubicBezTo>
                  <a:cubicBezTo>
                    <a:pt x="375101" y="71238"/>
                    <a:pt x="367536" y="78172"/>
                    <a:pt x="358710" y="78172"/>
                  </a:cubicBezTo>
                  <a:lnTo>
                    <a:pt x="166431" y="78172"/>
                  </a:lnTo>
                  <a:cubicBezTo>
                    <a:pt x="156975" y="78172"/>
                    <a:pt x="150040" y="70607"/>
                    <a:pt x="150040" y="61781"/>
                  </a:cubicBezTo>
                  <a:lnTo>
                    <a:pt x="150040" y="33412"/>
                  </a:lnTo>
                  <a:lnTo>
                    <a:pt x="33412" y="33412"/>
                  </a:lnTo>
                  <a:lnTo>
                    <a:pt x="33412" y="334124"/>
                  </a:lnTo>
                  <a:cubicBezTo>
                    <a:pt x="32782" y="343580"/>
                    <a:pt x="25217" y="351145"/>
                    <a:pt x="16391" y="351145"/>
                  </a:cubicBezTo>
                  <a:lnTo>
                    <a:pt x="16391" y="351145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75" name="Forma Livre: Forma 74">
              <a:extLst>
                <a:ext uri="{FF2B5EF4-FFF2-40B4-BE49-F238E27FC236}">
                  <a16:creationId xmlns:a16="http://schemas.microsoft.com/office/drawing/2014/main" id="{0106402A-8D6B-4A12-96C1-952F750ED687}"/>
                </a:ext>
              </a:extLst>
            </p:cNvPr>
            <p:cNvSpPr/>
            <p:nvPr/>
          </p:nvSpPr>
          <p:spPr>
            <a:xfrm>
              <a:off x="7665751" y="731519"/>
              <a:ext cx="206778" cy="206778"/>
            </a:xfrm>
            <a:custGeom>
              <a:avLst/>
              <a:gdLst>
                <a:gd name="connsiteX0" fmla="*/ 103389 w 206778"/>
                <a:gd name="connsiteY0" fmla="*/ 206779 h 206778"/>
                <a:gd name="connsiteX1" fmla="*/ 0 w 206778"/>
                <a:gd name="connsiteY1" fmla="*/ 103389 h 206778"/>
                <a:gd name="connsiteX2" fmla="*/ 103389 w 206778"/>
                <a:gd name="connsiteY2" fmla="*/ 0 h 206778"/>
                <a:gd name="connsiteX3" fmla="*/ 206779 w 206778"/>
                <a:gd name="connsiteY3" fmla="*/ 103389 h 206778"/>
                <a:gd name="connsiteX4" fmla="*/ 103389 w 206778"/>
                <a:gd name="connsiteY4" fmla="*/ 206779 h 206778"/>
                <a:gd name="connsiteX5" fmla="*/ 103389 w 206778"/>
                <a:gd name="connsiteY5" fmla="*/ 206779 h 206778"/>
                <a:gd name="connsiteX6" fmla="*/ 103389 w 206778"/>
                <a:gd name="connsiteY6" fmla="*/ 16391 h 206778"/>
                <a:gd name="connsiteX7" fmla="*/ 16391 w 206778"/>
                <a:gd name="connsiteY7" fmla="*/ 103389 h 206778"/>
                <a:gd name="connsiteX8" fmla="*/ 103389 w 206778"/>
                <a:gd name="connsiteY8" fmla="*/ 190388 h 206778"/>
                <a:gd name="connsiteX9" fmla="*/ 190387 w 206778"/>
                <a:gd name="connsiteY9" fmla="*/ 103389 h 206778"/>
                <a:gd name="connsiteX10" fmla="*/ 103389 w 206778"/>
                <a:gd name="connsiteY10" fmla="*/ 16391 h 206778"/>
                <a:gd name="connsiteX11" fmla="*/ 103389 w 206778"/>
                <a:gd name="connsiteY11" fmla="*/ 16391 h 206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778" h="206778">
                  <a:moveTo>
                    <a:pt x="103389" y="206779"/>
                  </a:moveTo>
                  <a:cubicBezTo>
                    <a:pt x="46651" y="206779"/>
                    <a:pt x="0" y="160127"/>
                    <a:pt x="0" y="103389"/>
                  </a:cubicBezTo>
                  <a:cubicBezTo>
                    <a:pt x="0" y="46021"/>
                    <a:pt x="46651" y="0"/>
                    <a:pt x="103389" y="0"/>
                  </a:cubicBezTo>
                  <a:cubicBezTo>
                    <a:pt x="160758" y="0"/>
                    <a:pt x="206779" y="46651"/>
                    <a:pt x="206779" y="103389"/>
                  </a:cubicBezTo>
                  <a:cubicBezTo>
                    <a:pt x="206779" y="160127"/>
                    <a:pt x="160758" y="206779"/>
                    <a:pt x="103389" y="206779"/>
                  </a:cubicBezTo>
                  <a:lnTo>
                    <a:pt x="103389" y="206779"/>
                  </a:lnTo>
                  <a:close/>
                  <a:moveTo>
                    <a:pt x="103389" y="16391"/>
                  </a:moveTo>
                  <a:cubicBezTo>
                    <a:pt x="55477" y="16391"/>
                    <a:pt x="16391" y="55477"/>
                    <a:pt x="16391" y="103389"/>
                  </a:cubicBezTo>
                  <a:cubicBezTo>
                    <a:pt x="16391" y="151301"/>
                    <a:pt x="55477" y="190388"/>
                    <a:pt x="103389" y="190388"/>
                  </a:cubicBezTo>
                  <a:cubicBezTo>
                    <a:pt x="151301" y="190388"/>
                    <a:pt x="190387" y="151301"/>
                    <a:pt x="190387" y="103389"/>
                  </a:cubicBezTo>
                  <a:cubicBezTo>
                    <a:pt x="190387" y="55477"/>
                    <a:pt x="151301" y="16391"/>
                    <a:pt x="103389" y="16391"/>
                  </a:cubicBezTo>
                  <a:lnTo>
                    <a:pt x="103389" y="1639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76" name="Forma Livre: Forma 75">
              <a:extLst>
                <a:ext uri="{FF2B5EF4-FFF2-40B4-BE49-F238E27FC236}">
                  <a16:creationId xmlns:a16="http://schemas.microsoft.com/office/drawing/2014/main" id="{5035DEAC-DFFB-4E5A-B780-C3D60388959B}"/>
                </a:ext>
              </a:extLst>
            </p:cNvPr>
            <p:cNvSpPr/>
            <p:nvPr/>
          </p:nvSpPr>
          <p:spPr>
            <a:xfrm>
              <a:off x="7752750" y="771866"/>
              <a:ext cx="32818" cy="125454"/>
            </a:xfrm>
            <a:custGeom>
              <a:avLst/>
              <a:gdLst>
                <a:gd name="connsiteX0" fmla="*/ 16391 w 32818"/>
                <a:gd name="connsiteY0" fmla="*/ 125454 h 125454"/>
                <a:gd name="connsiteX1" fmla="*/ 0 w 32818"/>
                <a:gd name="connsiteY1" fmla="*/ 109063 h 125454"/>
                <a:gd name="connsiteX2" fmla="*/ 0 w 32818"/>
                <a:gd name="connsiteY2" fmla="*/ 16391 h 125454"/>
                <a:gd name="connsiteX3" fmla="*/ 16391 w 32818"/>
                <a:gd name="connsiteY3" fmla="*/ 0 h 125454"/>
                <a:gd name="connsiteX4" fmla="*/ 32782 w 32818"/>
                <a:gd name="connsiteY4" fmla="*/ 16391 h 125454"/>
                <a:gd name="connsiteX5" fmla="*/ 32782 w 32818"/>
                <a:gd name="connsiteY5" fmla="*/ 108433 h 125454"/>
                <a:gd name="connsiteX6" fmla="*/ 16391 w 32818"/>
                <a:gd name="connsiteY6" fmla="*/ 125454 h 125454"/>
                <a:gd name="connsiteX7" fmla="*/ 16391 w 32818"/>
                <a:gd name="connsiteY7" fmla="*/ 125454 h 125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818" h="125454">
                  <a:moveTo>
                    <a:pt x="16391" y="125454"/>
                  </a:moveTo>
                  <a:cubicBezTo>
                    <a:pt x="6934" y="125454"/>
                    <a:pt x="0" y="117889"/>
                    <a:pt x="0" y="109063"/>
                  </a:cubicBezTo>
                  <a:lnTo>
                    <a:pt x="0" y="16391"/>
                  </a:lnTo>
                  <a:cubicBezTo>
                    <a:pt x="0" y="6935"/>
                    <a:pt x="7565" y="0"/>
                    <a:pt x="16391" y="0"/>
                  </a:cubicBezTo>
                  <a:cubicBezTo>
                    <a:pt x="25217" y="0"/>
                    <a:pt x="32782" y="7565"/>
                    <a:pt x="32782" y="16391"/>
                  </a:cubicBezTo>
                  <a:lnTo>
                    <a:pt x="32782" y="108433"/>
                  </a:lnTo>
                  <a:cubicBezTo>
                    <a:pt x="33412" y="117889"/>
                    <a:pt x="25847" y="125454"/>
                    <a:pt x="16391" y="125454"/>
                  </a:cubicBezTo>
                  <a:lnTo>
                    <a:pt x="16391" y="125454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77" name="Forma Livre: Forma 76">
              <a:extLst>
                <a:ext uri="{FF2B5EF4-FFF2-40B4-BE49-F238E27FC236}">
                  <a16:creationId xmlns:a16="http://schemas.microsoft.com/office/drawing/2014/main" id="{A0422231-3F91-47FC-91B4-D1B5D0810F7E}"/>
                </a:ext>
              </a:extLst>
            </p:cNvPr>
            <p:cNvSpPr/>
            <p:nvPr/>
          </p:nvSpPr>
          <p:spPr>
            <a:xfrm>
              <a:off x="7706729" y="818517"/>
              <a:ext cx="124860" cy="32781"/>
            </a:xfrm>
            <a:custGeom>
              <a:avLst/>
              <a:gdLst>
                <a:gd name="connsiteX0" fmla="*/ 108432 w 124860"/>
                <a:gd name="connsiteY0" fmla="*/ 32782 h 32781"/>
                <a:gd name="connsiteX1" fmla="*/ 16391 w 124860"/>
                <a:gd name="connsiteY1" fmla="*/ 32782 h 32781"/>
                <a:gd name="connsiteX2" fmla="*/ 0 w 124860"/>
                <a:gd name="connsiteY2" fmla="*/ 16391 h 32781"/>
                <a:gd name="connsiteX3" fmla="*/ 16391 w 124860"/>
                <a:gd name="connsiteY3" fmla="*/ 0 h 32781"/>
                <a:gd name="connsiteX4" fmla="*/ 108432 w 124860"/>
                <a:gd name="connsiteY4" fmla="*/ 0 h 32781"/>
                <a:gd name="connsiteX5" fmla="*/ 124824 w 124860"/>
                <a:gd name="connsiteY5" fmla="*/ 16391 h 32781"/>
                <a:gd name="connsiteX6" fmla="*/ 108432 w 124860"/>
                <a:gd name="connsiteY6" fmla="*/ 32782 h 32781"/>
                <a:gd name="connsiteX7" fmla="*/ 108432 w 124860"/>
                <a:gd name="connsiteY7" fmla="*/ 32782 h 32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4860" h="32781">
                  <a:moveTo>
                    <a:pt x="108432" y="32782"/>
                  </a:moveTo>
                  <a:lnTo>
                    <a:pt x="16391" y="32782"/>
                  </a:lnTo>
                  <a:cubicBezTo>
                    <a:pt x="6934" y="32782"/>
                    <a:pt x="0" y="25217"/>
                    <a:pt x="0" y="16391"/>
                  </a:cubicBezTo>
                  <a:cubicBezTo>
                    <a:pt x="0" y="6935"/>
                    <a:pt x="7565" y="0"/>
                    <a:pt x="16391" y="0"/>
                  </a:cubicBezTo>
                  <a:lnTo>
                    <a:pt x="108432" y="0"/>
                  </a:lnTo>
                  <a:cubicBezTo>
                    <a:pt x="117889" y="0"/>
                    <a:pt x="124824" y="7565"/>
                    <a:pt x="124824" y="16391"/>
                  </a:cubicBezTo>
                  <a:cubicBezTo>
                    <a:pt x="125454" y="25217"/>
                    <a:pt x="117889" y="32782"/>
                    <a:pt x="108432" y="32782"/>
                  </a:cubicBezTo>
                  <a:lnTo>
                    <a:pt x="108432" y="32782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78" name="Forma Livre: Forma 77">
              <a:extLst>
                <a:ext uri="{FF2B5EF4-FFF2-40B4-BE49-F238E27FC236}">
                  <a16:creationId xmlns:a16="http://schemas.microsoft.com/office/drawing/2014/main" id="{A8E1C567-89D9-47B2-AE0B-F439C533E37B}"/>
                </a:ext>
              </a:extLst>
            </p:cNvPr>
            <p:cNvSpPr/>
            <p:nvPr/>
          </p:nvSpPr>
          <p:spPr>
            <a:xfrm>
              <a:off x="7424321" y="636956"/>
              <a:ext cx="445035" cy="253429"/>
            </a:xfrm>
            <a:custGeom>
              <a:avLst/>
              <a:gdLst>
                <a:gd name="connsiteX0" fmla="*/ 258452 w 445035"/>
                <a:gd name="connsiteY0" fmla="*/ 253430 h 253429"/>
                <a:gd name="connsiteX1" fmla="*/ 16369 w 445035"/>
                <a:gd name="connsiteY1" fmla="*/ 253430 h 253429"/>
                <a:gd name="connsiteX2" fmla="*/ 3131 w 445035"/>
                <a:gd name="connsiteY2" fmla="*/ 246495 h 253429"/>
                <a:gd name="connsiteX3" fmla="*/ 609 w 445035"/>
                <a:gd name="connsiteY3" fmla="*/ 231365 h 253429"/>
                <a:gd name="connsiteX4" fmla="*/ 70586 w 445035"/>
                <a:gd name="connsiteY4" fmla="*/ 11348 h 253429"/>
                <a:gd name="connsiteX5" fmla="*/ 86347 w 445035"/>
                <a:gd name="connsiteY5" fmla="*/ 0 h 253429"/>
                <a:gd name="connsiteX6" fmla="*/ 428665 w 445035"/>
                <a:gd name="connsiteY6" fmla="*/ 0 h 253429"/>
                <a:gd name="connsiteX7" fmla="*/ 441905 w 445035"/>
                <a:gd name="connsiteY7" fmla="*/ 6935 h 253429"/>
                <a:gd name="connsiteX8" fmla="*/ 444426 w 445035"/>
                <a:gd name="connsiteY8" fmla="*/ 22065 h 253429"/>
                <a:gd name="connsiteX9" fmla="*/ 412275 w 445035"/>
                <a:gd name="connsiteY9" fmla="*/ 122932 h 253429"/>
                <a:gd name="connsiteX10" fmla="*/ 380754 w 445035"/>
                <a:gd name="connsiteY10" fmla="*/ 112846 h 253429"/>
                <a:gd name="connsiteX11" fmla="*/ 405970 w 445035"/>
                <a:gd name="connsiteY11" fmla="*/ 34043 h 253429"/>
                <a:gd name="connsiteX12" fmla="*/ 98955 w 445035"/>
                <a:gd name="connsiteY12" fmla="*/ 34043 h 253429"/>
                <a:gd name="connsiteX13" fmla="*/ 39695 w 445035"/>
                <a:gd name="connsiteY13" fmla="*/ 220648 h 253429"/>
                <a:gd name="connsiteX14" fmla="*/ 259082 w 445035"/>
                <a:gd name="connsiteY14" fmla="*/ 220648 h 253429"/>
                <a:gd name="connsiteX15" fmla="*/ 259082 w 445035"/>
                <a:gd name="connsiteY15" fmla="*/ 253430 h 253429"/>
                <a:gd name="connsiteX16" fmla="*/ 258452 w 445035"/>
                <a:gd name="connsiteY16" fmla="*/ 253430 h 253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45035" h="253429">
                  <a:moveTo>
                    <a:pt x="258452" y="253430"/>
                  </a:moveTo>
                  <a:lnTo>
                    <a:pt x="16369" y="253430"/>
                  </a:lnTo>
                  <a:cubicBezTo>
                    <a:pt x="11326" y="253430"/>
                    <a:pt x="6283" y="250908"/>
                    <a:pt x="3131" y="246495"/>
                  </a:cubicBezTo>
                  <a:cubicBezTo>
                    <a:pt x="-21" y="242082"/>
                    <a:pt x="-652" y="236408"/>
                    <a:pt x="609" y="231365"/>
                  </a:cubicBezTo>
                  <a:lnTo>
                    <a:pt x="70586" y="11348"/>
                  </a:lnTo>
                  <a:cubicBezTo>
                    <a:pt x="73107" y="4413"/>
                    <a:pt x="79412" y="0"/>
                    <a:pt x="86347" y="0"/>
                  </a:cubicBezTo>
                  <a:lnTo>
                    <a:pt x="428665" y="0"/>
                  </a:lnTo>
                  <a:cubicBezTo>
                    <a:pt x="433709" y="0"/>
                    <a:pt x="438753" y="2522"/>
                    <a:pt x="441905" y="6935"/>
                  </a:cubicBezTo>
                  <a:cubicBezTo>
                    <a:pt x="445057" y="11348"/>
                    <a:pt x="445687" y="17021"/>
                    <a:pt x="444426" y="22065"/>
                  </a:cubicBezTo>
                  <a:lnTo>
                    <a:pt x="412275" y="122932"/>
                  </a:lnTo>
                  <a:lnTo>
                    <a:pt x="380754" y="112846"/>
                  </a:lnTo>
                  <a:lnTo>
                    <a:pt x="405970" y="34043"/>
                  </a:lnTo>
                  <a:lnTo>
                    <a:pt x="98955" y="34043"/>
                  </a:lnTo>
                  <a:lnTo>
                    <a:pt x="39695" y="220648"/>
                  </a:lnTo>
                  <a:lnTo>
                    <a:pt x="259082" y="220648"/>
                  </a:lnTo>
                  <a:lnTo>
                    <a:pt x="259082" y="253430"/>
                  </a:lnTo>
                  <a:lnTo>
                    <a:pt x="258452" y="253430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79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9444173" y="539240"/>
            <a:ext cx="461469" cy="399057"/>
            <a:chOff x="9444173" y="539240"/>
            <a:chExt cx="461469" cy="399057"/>
          </a:xfrm>
          <a:solidFill>
            <a:srgbClr val="B1B1A1"/>
          </a:solidFill>
        </p:grpSpPr>
        <p:sp>
          <p:nvSpPr>
            <p:cNvPr id="80" name="Forma Livre: Forma 79">
              <a:extLst>
                <a:ext uri="{FF2B5EF4-FFF2-40B4-BE49-F238E27FC236}">
                  <a16:creationId xmlns:a16="http://schemas.microsoft.com/office/drawing/2014/main" id="{2A49509D-20CD-4E26-B201-7A216C3F553A}"/>
                </a:ext>
              </a:extLst>
            </p:cNvPr>
            <p:cNvSpPr/>
            <p:nvPr/>
          </p:nvSpPr>
          <p:spPr>
            <a:xfrm>
              <a:off x="9444173" y="539240"/>
              <a:ext cx="375101" cy="351145"/>
            </a:xfrm>
            <a:custGeom>
              <a:avLst/>
              <a:gdLst>
                <a:gd name="connsiteX0" fmla="*/ 16391 w 375101"/>
                <a:gd name="connsiteY0" fmla="*/ 351145 h 351145"/>
                <a:gd name="connsiteX1" fmla="*/ 0 w 375101"/>
                <a:gd name="connsiteY1" fmla="*/ 334754 h 351145"/>
                <a:gd name="connsiteX2" fmla="*/ 0 w 375101"/>
                <a:gd name="connsiteY2" fmla="*/ 33412 h 351145"/>
                <a:gd name="connsiteX3" fmla="*/ 33413 w 375101"/>
                <a:gd name="connsiteY3" fmla="*/ 0 h 351145"/>
                <a:gd name="connsiteX4" fmla="*/ 150041 w 375101"/>
                <a:gd name="connsiteY4" fmla="*/ 0 h 351145"/>
                <a:gd name="connsiteX5" fmla="*/ 183453 w 375101"/>
                <a:gd name="connsiteY5" fmla="*/ 33412 h 351145"/>
                <a:gd name="connsiteX6" fmla="*/ 183453 w 375101"/>
                <a:gd name="connsiteY6" fmla="*/ 45390 h 351145"/>
                <a:gd name="connsiteX7" fmla="*/ 358711 w 375101"/>
                <a:gd name="connsiteY7" fmla="*/ 45390 h 351145"/>
                <a:gd name="connsiteX8" fmla="*/ 375101 w 375101"/>
                <a:gd name="connsiteY8" fmla="*/ 61781 h 351145"/>
                <a:gd name="connsiteX9" fmla="*/ 358711 w 375101"/>
                <a:gd name="connsiteY9" fmla="*/ 78172 h 351145"/>
                <a:gd name="connsiteX10" fmla="*/ 166432 w 375101"/>
                <a:gd name="connsiteY10" fmla="*/ 78172 h 351145"/>
                <a:gd name="connsiteX11" fmla="*/ 150041 w 375101"/>
                <a:gd name="connsiteY11" fmla="*/ 61781 h 351145"/>
                <a:gd name="connsiteX12" fmla="*/ 150041 w 375101"/>
                <a:gd name="connsiteY12" fmla="*/ 33412 h 351145"/>
                <a:gd name="connsiteX13" fmla="*/ 33413 w 375101"/>
                <a:gd name="connsiteY13" fmla="*/ 33412 h 351145"/>
                <a:gd name="connsiteX14" fmla="*/ 33413 w 375101"/>
                <a:gd name="connsiteY14" fmla="*/ 334124 h 351145"/>
                <a:gd name="connsiteX15" fmla="*/ 16391 w 375101"/>
                <a:gd name="connsiteY15" fmla="*/ 351145 h 351145"/>
                <a:gd name="connsiteX16" fmla="*/ 16391 w 375101"/>
                <a:gd name="connsiteY16" fmla="*/ 351145 h 351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75101" h="351145">
                  <a:moveTo>
                    <a:pt x="16391" y="351145"/>
                  </a:moveTo>
                  <a:cubicBezTo>
                    <a:pt x="6934" y="351145"/>
                    <a:pt x="0" y="343580"/>
                    <a:pt x="0" y="334754"/>
                  </a:cubicBezTo>
                  <a:lnTo>
                    <a:pt x="0" y="33412"/>
                  </a:lnTo>
                  <a:cubicBezTo>
                    <a:pt x="0" y="15130"/>
                    <a:pt x="15130" y="0"/>
                    <a:pt x="33413" y="0"/>
                  </a:cubicBezTo>
                  <a:lnTo>
                    <a:pt x="150041" y="0"/>
                  </a:lnTo>
                  <a:cubicBezTo>
                    <a:pt x="168323" y="0"/>
                    <a:pt x="183453" y="15130"/>
                    <a:pt x="183453" y="33412"/>
                  </a:cubicBezTo>
                  <a:lnTo>
                    <a:pt x="183453" y="45390"/>
                  </a:lnTo>
                  <a:lnTo>
                    <a:pt x="358711" y="45390"/>
                  </a:lnTo>
                  <a:cubicBezTo>
                    <a:pt x="368167" y="45390"/>
                    <a:pt x="375101" y="52955"/>
                    <a:pt x="375101" y="61781"/>
                  </a:cubicBezTo>
                  <a:cubicBezTo>
                    <a:pt x="375101" y="71238"/>
                    <a:pt x="367537" y="78172"/>
                    <a:pt x="358711" y="78172"/>
                  </a:cubicBezTo>
                  <a:lnTo>
                    <a:pt x="166432" y="78172"/>
                  </a:lnTo>
                  <a:cubicBezTo>
                    <a:pt x="156975" y="78172"/>
                    <a:pt x="150041" y="70607"/>
                    <a:pt x="150041" y="61781"/>
                  </a:cubicBezTo>
                  <a:lnTo>
                    <a:pt x="150041" y="33412"/>
                  </a:lnTo>
                  <a:lnTo>
                    <a:pt x="33413" y="33412"/>
                  </a:lnTo>
                  <a:lnTo>
                    <a:pt x="33413" y="334124"/>
                  </a:lnTo>
                  <a:cubicBezTo>
                    <a:pt x="33413" y="343580"/>
                    <a:pt x="25847" y="351145"/>
                    <a:pt x="16391" y="351145"/>
                  </a:cubicBezTo>
                  <a:lnTo>
                    <a:pt x="16391" y="351145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81" name="Forma Livre: Forma 80">
              <a:extLst>
                <a:ext uri="{FF2B5EF4-FFF2-40B4-BE49-F238E27FC236}">
                  <a16:creationId xmlns:a16="http://schemas.microsoft.com/office/drawing/2014/main" id="{0E1F5422-C980-429D-BC4F-E525B44E3C52}"/>
                </a:ext>
              </a:extLst>
            </p:cNvPr>
            <p:cNvSpPr/>
            <p:nvPr/>
          </p:nvSpPr>
          <p:spPr>
            <a:xfrm>
              <a:off x="9698864" y="731519"/>
              <a:ext cx="206778" cy="206778"/>
            </a:xfrm>
            <a:custGeom>
              <a:avLst/>
              <a:gdLst>
                <a:gd name="connsiteX0" fmla="*/ 103389 w 206778"/>
                <a:gd name="connsiteY0" fmla="*/ 206779 h 206778"/>
                <a:gd name="connsiteX1" fmla="*/ 0 w 206778"/>
                <a:gd name="connsiteY1" fmla="*/ 103389 h 206778"/>
                <a:gd name="connsiteX2" fmla="*/ 103389 w 206778"/>
                <a:gd name="connsiteY2" fmla="*/ 0 h 206778"/>
                <a:gd name="connsiteX3" fmla="*/ 206779 w 206778"/>
                <a:gd name="connsiteY3" fmla="*/ 103389 h 206778"/>
                <a:gd name="connsiteX4" fmla="*/ 103389 w 206778"/>
                <a:gd name="connsiteY4" fmla="*/ 206779 h 206778"/>
                <a:gd name="connsiteX5" fmla="*/ 103389 w 206778"/>
                <a:gd name="connsiteY5" fmla="*/ 206779 h 206778"/>
                <a:gd name="connsiteX6" fmla="*/ 103389 w 206778"/>
                <a:gd name="connsiteY6" fmla="*/ 16391 h 206778"/>
                <a:gd name="connsiteX7" fmla="*/ 16391 w 206778"/>
                <a:gd name="connsiteY7" fmla="*/ 103389 h 206778"/>
                <a:gd name="connsiteX8" fmla="*/ 103389 w 206778"/>
                <a:gd name="connsiteY8" fmla="*/ 190388 h 206778"/>
                <a:gd name="connsiteX9" fmla="*/ 190387 w 206778"/>
                <a:gd name="connsiteY9" fmla="*/ 103389 h 206778"/>
                <a:gd name="connsiteX10" fmla="*/ 103389 w 206778"/>
                <a:gd name="connsiteY10" fmla="*/ 16391 h 206778"/>
                <a:gd name="connsiteX11" fmla="*/ 103389 w 206778"/>
                <a:gd name="connsiteY11" fmla="*/ 16391 h 206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778" h="206778">
                  <a:moveTo>
                    <a:pt x="103389" y="206779"/>
                  </a:moveTo>
                  <a:cubicBezTo>
                    <a:pt x="46021" y="206779"/>
                    <a:pt x="0" y="160127"/>
                    <a:pt x="0" y="103389"/>
                  </a:cubicBezTo>
                  <a:cubicBezTo>
                    <a:pt x="0" y="46021"/>
                    <a:pt x="46651" y="0"/>
                    <a:pt x="103389" y="0"/>
                  </a:cubicBezTo>
                  <a:cubicBezTo>
                    <a:pt x="160758" y="0"/>
                    <a:pt x="206779" y="46651"/>
                    <a:pt x="206779" y="103389"/>
                  </a:cubicBezTo>
                  <a:cubicBezTo>
                    <a:pt x="206779" y="160127"/>
                    <a:pt x="160127" y="206779"/>
                    <a:pt x="103389" y="206779"/>
                  </a:cubicBezTo>
                  <a:lnTo>
                    <a:pt x="103389" y="206779"/>
                  </a:lnTo>
                  <a:close/>
                  <a:moveTo>
                    <a:pt x="103389" y="16391"/>
                  </a:moveTo>
                  <a:cubicBezTo>
                    <a:pt x="55477" y="16391"/>
                    <a:pt x="16391" y="55477"/>
                    <a:pt x="16391" y="103389"/>
                  </a:cubicBezTo>
                  <a:cubicBezTo>
                    <a:pt x="16391" y="151301"/>
                    <a:pt x="55477" y="190388"/>
                    <a:pt x="103389" y="190388"/>
                  </a:cubicBezTo>
                  <a:cubicBezTo>
                    <a:pt x="151301" y="190388"/>
                    <a:pt x="190387" y="151301"/>
                    <a:pt x="190387" y="103389"/>
                  </a:cubicBezTo>
                  <a:cubicBezTo>
                    <a:pt x="189757" y="55477"/>
                    <a:pt x="151301" y="16391"/>
                    <a:pt x="103389" y="16391"/>
                  </a:cubicBezTo>
                  <a:lnTo>
                    <a:pt x="103389" y="1639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82" name="Forma Livre: Forma 81">
              <a:extLst>
                <a:ext uri="{FF2B5EF4-FFF2-40B4-BE49-F238E27FC236}">
                  <a16:creationId xmlns:a16="http://schemas.microsoft.com/office/drawing/2014/main" id="{46CBEEA5-94DC-4706-A1F4-B239052DEAD3}"/>
                </a:ext>
              </a:extLst>
            </p:cNvPr>
            <p:cNvSpPr/>
            <p:nvPr/>
          </p:nvSpPr>
          <p:spPr>
            <a:xfrm>
              <a:off x="9752765" y="786051"/>
              <a:ext cx="97715" cy="98030"/>
            </a:xfrm>
            <a:custGeom>
              <a:avLst/>
              <a:gdLst>
                <a:gd name="connsiteX0" fmla="*/ 16706 w 97715"/>
                <a:gd name="connsiteY0" fmla="*/ 98031 h 98030"/>
                <a:gd name="connsiteX1" fmla="*/ 4728 w 97715"/>
                <a:gd name="connsiteY1" fmla="*/ 92987 h 98030"/>
                <a:gd name="connsiteX2" fmla="*/ 4728 w 97715"/>
                <a:gd name="connsiteY2" fmla="*/ 69662 h 98030"/>
                <a:gd name="connsiteX3" fmla="*/ 69661 w 97715"/>
                <a:gd name="connsiteY3" fmla="*/ 4728 h 98030"/>
                <a:gd name="connsiteX4" fmla="*/ 92987 w 97715"/>
                <a:gd name="connsiteY4" fmla="*/ 4728 h 98030"/>
                <a:gd name="connsiteX5" fmla="*/ 92987 w 97715"/>
                <a:gd name="connsiteY5" fmla="*/ 28054 h 98030"/>
                <a:gd name="connsiteX6" fmla="*/ 28053 w 97715"/>
                <a:gd name="connsiteY6" fmla="*/ 92987 h 98030"/>
                <a:gd name="connsiteX7" fmla="*/ 16706 w 97715"/>
                <a:gd name="connsiteY7" fmla="*/ 98031 h 98030"/>
                <a:gd name="connsiteX8" fmla="*/ 16706 w 97715"/>
                <a:gd name="connsiteY8" fmla="*/ 98031 h 98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7715" h="98030">
                  <a:moveTo>
                    <a:pt x="16706" y="98031"/>
                  </a:moveTo>
                  <a:cubicBezTo>
                    <a:pt x="12293" y="98031"/>
                    <a:pt x="7880" y="96139"/>
                    <a:pt x="4728" y="92987"/>
                  </a:cubicBezTo>
                  <a:cubicBezTo>
                    <a:pt x="-1576" y="86683"/>
                    <a:pt x="-1576" y="75966"/>
                    <a:pt x="4728" y="69662"/>
                  </a:cubicBezTo>
                  <a:lnTo>
                    <a:pt x="69661" y="4728"/>
                  </a:lnTo>
                  <a:cubicBezTo>
                    <a:pt x="75965" y="-1576"/>
                    <a:pt x="86683" y="-1576"/>
                    <a:pt x="92987" y="4728"/>
                  </a:cubicBezTo>
                  <a:cubicBezTo>
                    <a:pt x="99292" y="11032"/>
                    <a:pt x="99292" y="21750"/>
                    <a:pt x="92987" y="28054"/>
                  </a:cubicBezTo>
                  <a:lnTo>
                    <a:pt x="28053" y="92987"/>
                  </a:lnTo>
                  <a:cubicBezTo>
                    <a:pt x="25532" y="96139"/>
                    <a:pt x="21119" y="98031"/>
                    <a:pt x="16706" y="98031"/>
                  </a:cubicBezTo>
                  <a:lnTo>
                    <a:pt x="16706" y="9803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83" name="Forma Livre: Forma 82">
              <a:extLst>
                <a:ext uri="{FF2B5EF4-FFF2-40B4-BE49-F238E27FC236}">
                  <a16:creationId xmlns:a16="http://schemas.microsoft.com/office/drawing/2014/main" id="{0BA3B932-644E-4A13-B9EA-FEA878405C19}"/>
                </a:ext>
              </a:extLst>
            </p:cNvPr>
            <p:cNvSpPr/>
            <p:nvPr/>
          </p:nvSpPr>
          <p:spPr>
            <a:xfrm>
              <a:off x="9752765" y="786051"/>
              <a:ext cx="97715" cy="98030"/>
            </a:xfrm>
            <a:custGeom>
              <a:avLst/>
              <a:gdLst>
                <a:gd name="connsiteX0" fmla="*/ 81639 w 97715"/>
                <a:gd name="connsiteY0" fmla="*/ 98031 h 98030"/>
                <a:gd name="connsiteX1" fmla="*/ 69661 w 97715"/>
                <a:gd name="connsiteY1" fmla="*/ 92987 h 98030"/>
                <a:gd name="connsiteX2" fmla="*/ 4728 w 97715"/>
                <a:gd name="connsiteY2" fmla="*/ 28054 h 98030"/>
                <a:gd name="connsiteX3" fmla="*/ 4728 w 97715"/>
                <a:gd name="connsiteY3" fmla="*/ 4728 h 98030"/>
                <a:gd name="connsiteX4" fmla="*/ 28053 w 97715"/>
                <a:gd name="connsiteY4" fmla="*/ 4728 h 98030"/>
                <a:gd name="connsiteX5" fmla="*/ 92987 w 97715"/>
                <a:gd name="connsiteY5" fmla="*/ 69662 h 98030"/>
                <a:gd name="connsiteX6" fmla="*/ 92987 w 97715"/>
                <a:gd name="connsiteY6" fmla="*/ 92987 h 98030"/>
                <a:gd name="connsiteX7" fmla="*/ 81639 w 97715"/>
                <a:gd name="connsiteY7" fmla="*/ 98031 h 98030"/>
                <a:gd name="connsiteX8" fmla="*/ 81639 w 97715"/>
                <a:gd name="connsiteY8" fmla="*/ 98031 h 98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7715" h="98030">
                  <a:moveTo>
                    <a:pt x="81639" y="98031"/>
                  </a:moveTo>
                  <a:cubicBezTo>
                    <a:pt x="77227" y="98031"/>
                    <a:pt x="72813" y="96139"/>
                    <a:pt x="69661" y="92987"/>
                  </a:cubicBezTo>
                  <a:lnTo>
                    <a:pt x="4728" y="28054"/>
                  </a:lnTo>
                  <a:cubicBezTo>
                    <a:pt x="-1576" y="21750"/>
                    <a:pt x="-1576" y="11032"/>
                    <a:pt x="4728" y="4728"/>
                  </a:cubicBezTo>
                  <a:cubicBezTo>
                    <a:pt x="11032" y="-1576"/>
                    <a:pt x="21749" y="-1576"/>
                    <a:pt x="28053" y="4728"/>
                  </a:cubicBezTo>
                  <a:lnTo>
                    <a:pt x="92987" y="69662"/>
                  </a:lnTo>
                  <a:cubicBezTo>
                    <a:pt x="99292" y="75966"/>
                    <a:pt x="99292" y="86683"/>
                    <a:pt x="92987" y="92987"/>
                  </a:cubicBezTo>
                  <a:cubicBezTo>
                    <a:pt x="90465" y="96139"/>
                    <a:pt x="86052" y="98031"/>
                    <a:pt x="81639" y="98031"/>
                  </a:cubicBezTo>
                  <a:lnTo>
                    <a:pt x="81639" y="9803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84" name="Forma Livre: Forma 83">
              <a:extLst>
                <a:ext uri="{FF2B5EF4-FFF2-40B4-BE49-F238E27FC236}">
                  <a16:creationId xmlns:a16="http://schemas.microsoft.com/office/drawing/2014/main" id="{0D7551AF-3FA4-4CDF-AA80-7D6C5E95BC9B}"/>
                </a:ext>
              </a:extLst>
            </p:cNvPr>
            <p:cNvSpPr/>
            <p:nvPr/>
          </p:nvSpPr>
          <p:spPr>
            <a:xfrm>
              <a:off x="9456803" y="636956"/>
              <a:ext cx="445035" cy="253429"/>
            </a:xfrm>
            <a:custGeom>
              <a:avLst/>
              <a:gdLst>
                <a:gd name="connsiteX0" fmla="*/ 258452 w 445035"/>
                <a:gd name="connsiteY0" fmla="*/ 253430 h 253429"/>
                <a:gd name="connsiteX1" fmla="*/ 16369 w 445035"/>
                <a:gd name="connsiteY1" fmla="*/ 253430 h 253429"/>
                <a:gd name="connsiteX2" fmla="*/ 3130 w 445035"/>
                <a:gd name="connsiteY2" fmla="*/ 246495 h 253429"/>
                <a:gd name="connsiteX3" fmla="*/ 609 w 445035"/>
                <a:gd name="connsiteY3" fmla="*/ 231365 h 253429"/>
                <a:gd name="connsiteX4" fmla="*/ 70586 w 445035"/>
                <a:gd name="connsiteY4" fmla="*/ 11348 h 253429"/>
                <a:gd name="connsiteX5" fmla="*/ 86347 w 445035"/>
                <a:gd name="connsiteY5" fmla="*/ 0 h 253429"/>
                <a:gd name="connsiteX6" fmla="*/ 428666 w 445035"/>
                <a:gd name="connsiteY6" fmla="*/ 0 h 253429"/>
                <a:gd name="connsiteX7" fmla="*/ 441904 w 445035"/>
                <a:gd name="connsiteY7" fmla="*/ 6935 h 253429"/>
                <a:gd name="connsiteX8" fmla="*/ 444426 w 445035"/>
                <a:gd name="connsiteY8" fmla="*/ 22065 h 253429"/>
                <a:gd name="connsiteX9" fmla="*/ 412275 w 445035"/>
                <a:gd name="connsiteY9" fmla="*/ 122932 h 253429"/>
                <a:gd name="connsiteX10" fmla="*/ 380754 w 445035"/>
                <a:gd name="connsiteY10" fmla="*/ 112846 h 253429"/>
                <a:gd name="connsiteX11" fmla="*/ 405971 w 445035"/>
                <a:gd name="connsiteY11" fmla="*/ 34043 h 253429"/>
                <a:gd name="connsiteX12" fmla="*/ 98955 w 445035"/>
                <a:gd name="connsiteY12" fmla="*/ 34043 h 253429"/>
                <a:gd name="connsiteX13" fmla="*/ 39695 w 445035"/>
                <a:gd name="connsiteY13" fmla="*/ 220648 h 253429"/>
                <a:gd name="connsiteX14" fmla="*/ 259082 w 445035"/>
                <a:gd name="connsiteY14" fmla="*/ 220648 h 253429"/>
                <a:gd name="connsiteX15" fmla="*/ 259082 w 445035"/>
                <a:gd name="connsiteY15" fmla="*/ 253430 h 253429"/>
                <a:gd name="connsiteX16" fmla="*/ 258452 w 445035"/>
                <a:gd name="connsiteY16" fmla="*/ 253430 h 253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45035" h="253429">
                  <a:moveTo>
                    <a:pt x="258452" y="253430"/>
                  </a:moveTo>
                  <a:lnTo>
                    <a:pt x="16369" y="253430"/>
                  </a:lnTo>
                  <a:cubicBezTo>
                    <a:pt x="11326" y="253430"/>
                    <a:pt x="6283" y="250908"/>
                    <a:pt x="3130" y="246495"/>
                  </a:cubicBezTo>
                  <a:cubicBezTo>
                    <a:pt x="-22" y="242082"/>
                    <a:pt x="-652" y="236408"/>
                    <a:pt x="609" y="231365"/>
                  </a:cubicBezTo>
                  <a:lnTo>
                    <a:pt x="70586" y="11348"/>
                  </a:lnTo>
                  <a:cubicBezTo>
                    <a:pt x="72477" y="4413"/>
                    <a:pt x="79411" y="0"/>
                    <a:pt x="86347" y="0"/>
                  </a:cubicBezTo>
                  <a:lnTo>
                    <a:pt x="428666" y="0"/>
                  </a:lnTo>
                  <a:cubicBezTo>
                    <a:pt x="433709" y="0"/>
                    <a:pt x="438752" y="2522"/>
                    <a:pt x="441904" y="6935"/>
                  </a:cubicBezTo>
                  <a:cubicBezTo>
                    <a:pt x="445057" y="11348"/>
                    <a:pt x="445688" y="17021"/>
                    <a:pt x="444426" y="22065"/>
                  </a:cubicBezTo>
                  <a:lnTo>
                    <a:pt x="412275" y="122932"/>
                  </a:lnTo>
                  <a:lnTo>
                    <a:pt x="380754" y="112846"/>
                  </a:lnTo>
                  <a:lnTo>
                    <a:pt x="405971" y="34043"/>
                  </a:lnTo>
                  <a:lnTo>
                    <a:pt x="98955" y="34043"/>
                  </a:lnTo>
                  <a:lnTo>
                    <a:pt x="39695" y="220648"/>
                  </a:lnTo>
                  <a:lnTo>
                    <a:pt x="259082" y="220648"/>
                  </a:lnTo>
                  <a:lnTo>
                    <a:pt x="259082" y="253430"/>
                  </a:lnTo>
                  <a:lnTo>
                    <a:pt x="258452" y="253430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85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8426671" y="539240"/>
            <a:ext cx="460845" cy="399057"/>
            <a:chOff x="8426671" y="539240"/>
            <a:chExt cx="460845" cy="399057"/>
          </a:xfrm>
          <a:solidFill>
            <a:srgbClr val="B1B1A1"/>
          </a:solidFill>
        </p:grpSpPr>
        <p:sp>
          <p:nvSpPr>
            <p:cNvPr id="86" name="Forma Livre: Forma 85">
              <a:extLst>
                <a:ext uri="{FF2B5EF4-FFF2-40B4-BE49-F238E27FC236}">
                  <a16:creationId xmlns:a16="http://schemas.microsoft.com/office/drawing/2014/main" id="{CFF03A11-3814-4D31-BDC5-696C82DF40A6}"/>
                </a:ext>
              </a:extLst>
            </p:cNvPr>
            <p:cNvSpPr/>
            <p:nvPr/>
          </p:nvSpPr>
          <p:spPr>
            <a:xfrm>
              <a:off x="8426671" y="539240"/>
              <a:ext cx="375101" cy="351145"/>
            </a:xfrm>
            <a:custGeom>
              <a:avLst/>
              <a:gdLst>
                <a:gd name="connsiteX0" fmla="*/ 16392 w 375101"/>
                <a:gd name="connsiteY0" fmla="*/ 351145 h 351145"/>
                <a:gd name="connsiteX1" fmla="*/ 0 w 375101"/>
                <a:gd name="connsiteY1" fmla="*/ 334754 h 351145"/>
                <a:gd name="connsiteX2" fmla="*/ 0 w 375101"/>
                <a:gd name="connsiteY2" fmla="*/ 33412 h 351145"/>
                <a:gd name="connsiteX3" fmla="*/ 33413 w 375101"/>
                <a:gd name="connsiteY3" fmla="*/ 0 h 351145"/>
                <a:gd name="connsiteX4" fmla="*/ 150041 w 375101"/>
                <a:gd name="connsiteY4" fmla="*/ 0 h 351145"/>
                <a:gd name="connsiteX5" fmla="*/ 183454 w 375101"/>
                <a:gd name="connsiteY5" fmla="*/ 33412 h 351145"/>
                <a:gd name="connsiteX6" fmla="*/ 183454 w 375101"/>
                <a:gd name="connsiteY6" fmla="*/ 45390 h 351145"/>
                <a:gd name="connsiteX7" fmla="*/ 358711 w 375101"/>
                <a:gd name="connsiteY7" fmla="*/ 45390 h 351145"/>
                <a:gd name="connsiteX8" fmla="*/ 375101 w 375101"/>
                <a:gd name="connsiteY8" fmla="*/ 61781 h 351145"/>
                <a:gd name="connsiteX9" fmla="*/ 358711 w 375101"/>
                <a:gd name="connsiteY9" fmla="*/ 78172 h 351145"/>
                <a:gd name="connsiteX10" fmla="*/ 166432 w 375101"/>
                <a:gd name="connsiteY10" fmla="*/ 78172 h 351145"/>
                <a:gd name="connsiteX11" fmla="*/ 150041 w 375101"/>
                <a:gd name="connsiteY11" fmla="*/ 61781 h 351145"/>
                <a:gd name="connsiteX12" fmla="*/ 150041 w 375101"/>
                <a:gd name="connsiteY12" fmla="*/ 33412 h 351145"/>
                <a:gd name="connsiteX13" fmla="*/ 33413 w 375101"/>
                <a:gd name="connsiteY13" fmla="*/ 33412 h 351145"/>
                <a:gd name="connsiteX14" fmla="*/ 33413 w 375101"/>
                <a:gd name="connsiteY14" fmla="*/ 334124 h 351145"/>
                <a:gd name="connsiteX15" fmla="*/ 16392 w 375101"/>
                <a:gd name="connsiteY15" fmla="*/ 351145 h 351145"/>
                <a:gd name="connsiteX16" fmla="*/ 16392 w 375101"/>
                <a:gd name="connsiteY16" fmla="*/ 351145 h 351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75101" h="351145">
                  <a:moveTo>
                    <a:pt x="16392" y="351145"/>
                  </a:moveTo>
                  <a:cubicBezTo>
                    <a:pt x="6935" y="351145"/>
                    <a:pt x="0" y="343580"/>
                    <a:pt x="0" y="334754"/>
                  </a:cubicBezTo>
                  <a:lnTo>
                    <a:pt x="0" y="33412"/>
                  </a:lnTo>
                  <a:cubicBezTo>
                    <a:pt x="0" y="15130"/>
                    <a:pt x="15130" y="0"/>
                    <a:pt x="33413" y="0"/>
                  </a:cubicBezTo>
                  <a:lnTo>
                    <a:pt x="150041" y="0"/>
                  </a:lnTo>
                  <a:cubicBezTo>
                    <a:pt x="168323" y="0"/>
                    <a:pt x="183454" y="15130"/>
                    <a:pt x="183454" y="33412"/>
                  </a:cubicBezTo>
                  <a:lnTo>
                    <a:pt x="183454" y="45390"/>
                  </a:lnTo>
                  <a:lnTo>
                    <a:pt x="358711" y="45390"/>
                  </a:lnTo>
                  <a:cubicBezTo>
                    <a:pt x="368167" y="45390"/>
                    <a:pt x="375101" y="52955"/>
                    <a:pt x="375101" y="61781"/>
                  </a:cubicBezTo>
                  <a:cubicBezTo>
                    <a:pt x="375101" y="71238"/>
                    <a:pt x="367537" y="78172"/>
                    <a:pt x="358711" y="78172"/>
                  </a:cubicBezTo>
                  <a:lnTo>
                    <a:pt x="166432" y="78172"/>
                  </a:lnTo>
                  <a:cubicBezTo>
                    <a:pt x="156975" y="78172"/>
                    <a:pt x="150041" y="70607"/>
                    <a:pt x="150041" y="61781"/>
                  </a:cubicBezTo>
                  <a:lnTo>
                    <a:pt x="150041" y="33412"/>
                  </a:lnTo>
                  <a:lnTo>
                    <a:pt x="33413" y="33412"/>
                  </a:lnTo>
                  <a:lnTo>
                    <a:pt x="33413" y="334124"/>
                  </a:lnTo>
                  <a:cubicBezTo>
                    <a:pt x="33413" y="343580"/>
                    <a:pt x="25848" y="351145"/>
                    <a:pt x="16392" y="351145"/>
                  </a:cubicBezTo>
                  <a:lnTo>
                    <a:pt x="16392" y="351145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87" name="Forma Livre: Forma 86">
              <a:extLst>
                <a:ext uri="{FF2B5EF4-FFF2-40B4-BE49-F238E27FC236}">
                  <a16:creationId xmlns:a16="http://schemas.microsoft.com/office/drawing/2014/main" id="{5CC7252F-7723-4E8D-8B73-B62A0C57671F}"/>
                </a:ext>
              </a:extLst>
            </p:cNvPr>
            <p:cNvSpPr/>
            <p:nvPr/>
          </p:nvSpPr>
          <p:spPr>
            <a:xfrm>
              <a:off x="8680731" y="731519"/>
              <a:ext cx="206785" cy="206778"/>
            </a:xfrm>
            <a:custGeom>
              <a:avLst/>
              <a:gdLst>
                <a:gd name="connsiteX0" fmla="*/ 103389 w 206785"/>
                <a:gd name="connsiteY0" fmla="*/ 206779 h 206778"/>
                <a:gd name="connsiteX1" fmla="*/ 0 w 206785"/>
                <a:gd name="connsiteY1" fmla="*/ 103389 h 206778"/>
                <a:gd name="connsiteX2" fmla="*/ 103389 w 206785"/>
                <a:gd name="connsiteY2" fmla="*/ 0 h 206778"/>
                <a:gd name="connsiteX3" fmla="*/ 206779 w 206785"/>
                <a:gd name="connsiteY3" fmla="*/ 103389 h 206778"/>
                <a:gd name="connsiteX4" fmla="*/ 103389 w 206785"/>
                <a:gd name="connsiteY4" fmla="*/ 206779 h 206778"/>
                <a:gd name="connsiteX5" fmla="*/ 103389 w 206785"/>
                <a:gd name="connsiteY5" fmla="*/ 206779 h 206778"/>
                <a:gd name="connsiteX6" fmla="*/ 103389 w 206785"/>
                <a:gd name="connsiteY6" fmla="*/ 16391 h 206778"/>
                <a:gd name="connsiteX7" fmla="*/ 16391 w 206785"/>
                <a:gd name="connsiteY7" fmla="*/ 103389 h 206778"/>
                <a:gd name="connsiteX8" fmla="*/ 103389 w 206785"/>
                <a:gd name="connsiteY8" fmla="*/ 190388 h 206778"/>
                <a:gd name="connsiteX9" fmla="*/ 190387 w 206785"/>
                <a:gd name="connsiteY9" fmla="*/ 103389 h 206778"/>
                <a:gd name="connsiteX10" fmla="*/ 103389 w 206785"/>
                <a:gd name="connsiteY10" fmla="*/ 16391 h 206778"/>
                <a:gd name="connsiteX11" fmla="*/ 103389 w 206785"/>
                <a:gd name="connsiteY11" fmla="*/ 16391 h 206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785" h="206778">
                  <a:moveTo>
                    <a:pt x="103389" y="206779"/>
                  </a:moveTo>
                  <a:cubicBezTo>
                    <a:pt x="46651" y="206779"/>
                    <a:pt x="0" y="160127"/>
                    <a:pt x="0" y="103389"/>
                  </a:cubicBezTo>
                  <a:cubicBezTo>
                    <a:pt x="0" y="46021"/>
                    <a:pt x="46651" y="0"/>
                    <a:pt x="103389" y="0"/>
                  </a:cubicBezTo>
                  <a:cubicBezTo>
                    <a:pt x="160758" y="0"/>
                    <a:pt x="206779" y="46651"/>
                    <a:pt x="206779" y="103389"/>
                  </a:cubicBezTo>
                  <a:cubicBezTo>
                    <a:pt x="207409" y="160127"/>
                    <a:pt x="160758" y="206779"/>
                    <a:pt x="103389" y="206779"/>
                  </a:cubicBezTo>
                  <a:lnTo>
                    <a:pt x="103389" y="206779"/>
                  </a:lnTo>
                  <a:close/>
                  <a:moveTo>
                    <a:pt x="103389" y="16391"/>
                  </a:moveTo>
                  <a:cubicBezTo>
                    <a:pt x="55477" y="16391"/>
                    <a:pt x="16391" y="55477"/>
                    <a:pt x="16391" y="103389"/>
                  </a:cubicBezTo>
                  <a:cubicBezTo>
                    <a:pt x="16391" y="151301"/>
                    <a:pt x="55477" y="190388"/>
                    <a:pt x="103389" y="190388"/>
                  </a:cubicBezTo>
                  <a:cubicBezTo>
                    <a:pt x="151301" y="190388"/>
                    <a:pt x="190387" y="151301"/>
                    <a:pt x="190387" y="103389"/>
                  </a:cubicBezTo>
                  <a:cubicBezTo>
                    <a:pt x="190387" y="55477"/>
                    <a:pt x="151301" y="16391"/>
                    <a:pt x="103389" y="16391"/>
                  </a:cubicBezTo>
                  <a:lnTo>
                    <a:pt x="103389" y="1639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88" name="Forma Livre: Forma 87">
              <a:extLst>
                <a:ext uri="{FF2B5EF4-FFF2-40B4-BE49-F238E27FC236}">
                  <a16:creationId xmlns:a16="http://schemas.microsoft.com/office/drawing/2014/main" id="{21F50F19-3D1A-4075-8FFF-7C8B73E71782}"/>
                </a:ext>
              </a:extLst>
            </p:cNvPr>
            <p:cNvSpPr/>
            <p:nvPr/>
          </p:nvSpPr>
          <p:spPr>
            <a:xfrm>
              <a:off x="8721709" y="818517"/>
              <a:ext cx="124860" cy="32781"/>
            </a:xfrm>
            <a:custGeom>
              <a:avLst/>
              <a:gdLst>
                <a:gd name="connsiteX0" fmla="*/ 108432 w 124860"/>
                <a:gd name="connsiteY0" fmla="*/ 32782 h 32781"/>
                <a:gd name="connsiteX1" fmla="*/ 16391 w 124860"/>
                <a:gd name="connsiteY1" fmla="*/ 32782 h 32781"/>
                <a:gd name="connsiteX2" fmla="*/ 0 w 124860"/>
                <a:gd name="connsiteY2" fmla="*/ 16391 h 32781"/>
                <a:gd name="connsiteX3" fmla="*/ 16391 w 124860"/>
                <a:gd name="connsiteY3" fmla="*/ 0 h 32781"/>
                <a:gd name="connsiteX4" fmla="*/ 108432 w 124860"/>
                <a:gd name="connsiteY4" fmla="*/ 0 h 32781"/>
                <a:gd name="connsiteX5" fmla="*/ 124824 w 124860"/>
                <a:gd name="connsiteY5" fmla="*/ 16391 h 32781"/>
                <a:gd name="connsiteX6" fmla="*/ 108432 w 124860"/>
                <a:gd name="connsiteY6" fmla="*/ 32782 h 32781"/>
                <a:gd name="connsiteX7" fmla="*/ 108432 w 124860"/>
                <a:gd name="connsiteY7" fmla="*/ 32782 h 32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4860" h="32781">
                  <a:moveTo>
                    <a:pt x="108432" y="32782"/>
                  </a:moveTo>
                  <a:lnTo>
                    <a:pt x="16391" y="32782"/>
                  </a:lnTo>
                  <a:cubicBezTo>
                    <a:pt x="6934" y="32782"/>
                    <a:pt x="0" y="25217"/>
                    <a:pt x="0" y="16391"/>
                  </a:cubicBezTo>
                  <a:cubicBezTo>
                    <a:pt x="0" y="6935"/>
                    <a:pt x="7565" y="0"/>
                    <a:pt x="16391" y="0"/>
                  </a:cubicBezTo>
                  <a:lnTo>
                    <a:pt x="108432" y="0"/>
                  </a:lnTo>
                  <a:cubicBezTo>
                    <a:pt x="117889" y="0"/>
                    <a:pt x="124824" y="7565"/>
                    <a:pt x="124824" y="16391"/>
                  </a:cubicBezTo>
                  <a:cubicBezTo>
                    <a:pt x="125454" y="25217"/>
                    <a:pt x="117889" y="32782"/>
                    <a:pt x="108432" y="32782"/>
                  </a:cubicBezTo>
                  <a:lnTo>
                    <a:pt x="108432" y="32782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89" name="Forma Livre: Forma 88">
              <a:extLst>
                <a:ext uri="{FF2B5EF4-FFF2-40B4-BE49-F238E27FC236}">
                  <a16:creationId xmlns:a16="http://schemas.microsoft.com/office/drawing/2014/main" id="{31C8191A-EAF4-4AD3-992F-C5BA50B81C38}"/>
                </a:ext>
              </a:extLst>
            </p:cNvPr>
            <p:cNvSpPr/>
            <p:nvPr/>
          </p:nvSpPr>
          <p:spPr>
            <a:xfrm>
              <a:off x="8439301" y="636956"/>
              <a:ext cx="445035" cy="253429"/>
            </a:xfrm>
            <a:custGeom>
              <a:avLst/>
              <a:gdLst>
                <a:gd name="connsiteX0" fmla="*/ 258451 w 445035"/>
                <a:gd name="connsiteY0" fmla="*/ 253430 h 253429"/>
                <a:gd name="connsiteX1" fmla="*/ 16370 w 445035"/>
                <a:gd name="connsiteY1" fmla="*/ 253430 h 253429"/>
                <a:gd name="connsiteX2" fmla="*/ 3130 w 445035"/>
                <a:gd name="connsiteY2" fmla="*/ 246495 h 253429"/>
                <a:gd name="connsiteX3" fmla="*/ 609 w 445035"/>
                <a:gd name="connsiteY3" fmla="*/ 231365 h 253429"/>
                <a:gd name="connsiteX4" fmla="*/ 70586 w 445035"/>
                <a:gd name="connsiteY4" fmla="*/ 11348 h 253429"/>
                <a:gd name="connsiteX5" fmla="*/ 86346 w 445035"/>
                <a:gd name="connsiteY5" fmla="*/ 0 h 253429"/>
                <a:gd name="connsiteX6" fmla="*/ 428665 w 445035"/>
                <a:gd name="connsiteY6" fmla="*/ 0 h 253429"/>
                <a:gd name="connsiteX7" fmla="*/ 441905 w 445035"/>
                <a:gd name="connsiteY7" fmla="*/ 6935 h 253429"/>
                <a:gd name="connsiteX8" fmla="*/ 444426 w 445035"/>
                <a:gd name="connsiteY8" fmla="*/ 22065 h 253429"/>
                <a:gd name="connsiteX9" fmla="*/ 412275 w 445035"/>
                <a:gd name="connsiteY9" fmla="*/ 122932 h 253429"/>
                <a:gd name="connsiteX10" fmla="*/ 380754 w 445035"/>
                <a:gd name="connsiteY10" fmla="*/ 112846 h 253429"/>
                <a:gd name="connsiteX11" fmla="*/ 405970 w 445035"/>
                <a:gd name="connsiteY11" fmla="*/ 34043 h 253429"/>
                <a:gd name="connsiteX12" fmla="*/ 98955 w 445035"/>
                <a:gd name="connsiteY12" fmla="*/ 34043 h 253429"/>
                <a:gd name="connsiteX13" fmla="*/ 39695 w 445035"/>
                <a:gd name="connsiteY13" fmla="*/ 220648 h 253429"/>
                <a:gd name="connsiteX14" fmla="*/ 259082 w 445035"/>
                <a:gd name="connsiteY14" fmla="*/ 220648 h 253429"/>
                <a:gd name="connsiteX15" fmla="*/ 259082 w 445035"/>
                <a:gd name="connsiteY15" fmla="*/ 253430 h 253429"/>
                <a:gd name="connsiteX16" fmla="*/ 258451 w 445035"/>
                <a:gd name="connsiteY16" fmla="*/ 253430 h 253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45035" h="253429">
                  <a:moveTo>
                    <a:pt x="258451" y="253430"/>
                  </a:moveTo>
                  <a:lnTo>
                    <a:pt x="16370" y="253430"/>
                  </a:lnTo>
                  <a:cubicBezTo>
                    <a:pt x="11326" y="253430"/>
                    <a:pt x="6282" y="250908"/>
                    <a:pt x="3130" y="246495"/>
                  </a:cubicBezTo>
                  <a:cubicBezTo>
                    <a:pt x="-22" y="242082"/>
                    <a:pt x="-652" y="236408"/>
                    <a:pt x="609" y="231365"/>
                  </a:cubicBezTo>
                  <a:lnTo>
                    <a:pt x="70586" y="11348"/>
                  </a:lnTo>
                  <a:cubicBezTo>
                    <a:pt x="73108" y="4413"/>
                    <a:pt x="79412" y="0"/>
                    <a:pt x="86346" y="0"/>
                  </a:cubicBezTo>
                  <a:lnTo>
                    <a:pt x="428665" y="0"/>
                  </a:lnTo>
                  <a:cubicBezTo>
                    <a:pt x="433709" y="0"/>
                    <a:pt x="438753" y="2522"/>
                    <a:pt x="441905" y="6935"/>
                  </a:cubicBezTo>
                  <a:cubicBezTo>
                    <a:pt x="445057" y="11348"/>
                    <a:pt x="445687" y="17021"/>
                    <a:pt x="444426" y="22065"/>
                  </a:cubicBezTo>
                  <a:lnTo>
                    <a:pt x="412275" y="122932"/>
                  </a:lnTo>
                  <a:lnTo>
                    <a:pt x="380754" y="112846"/>
                  </a:lnTo>
                  <a:lnTo>
                    <a:pt x="405970" y="34043"/>
                  </a:lnTo>
                  <a:lnTo>
                    <a:pt x="98955" y="34043"/>
                  </a:lnTo>
                  <a:lnTo>
                    <a:pt x="39695" y="220648"/>
                  </a:lnTo>
                  <a:lnTo>
                    <a:pt x="259082" y="220648"/>
                  </a:lnTo>
                  <a:lnTo>
                    <a:pt x="259082" y="253430"/>
                  </a:lnTo>
                  <a:lnTo>
                    <a:pt x="258451" y="253430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90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1310462" y="2626569"/>
            <a:ext cx="410441" cy="354928"/>
            <a:chOff x="1310462" y="2626569"/>
            <a:chExt cx="410441" cy="354928"/>
          </a:xfrm>
          <a:solidFill>
            <a:srgbClr val="B1B1A1"/>
          </a:solidFill>
        </p:grpSpPr>
        <p:sp>
          <p:nvSpPr>
            <p:cNvPr id="91" name="Forma Livre: Forma 90">
              <a:extLst>
                <a:ext uri="{FF2B5EF4-FFF2-40B4-BE49-F238E27FC236}">
                  <a16:creationId xmlns:a16="http://schemas.microsoft.com/office/drawing/2014/main" id="{0B968F0D-F12B-472D-9EC9-597D2E02CFC6}"/>
                </a:ext>
              </a:extLst>
            </p:cNvPr>
            <p:cNvSpPr/>
            <p:nvPr/>
          </p:nvSpPr>
          <p:spPr>
            <a:xfrm>
              <a:off x="1310462" y="2626569"/>
              <a:ext cx="357596" cy="354928"/>
            </a:xfrm>
            <a:custGeom>
              <a:avLst/>
              <a:gdLst>
                <a:gd name="connsiteX0" fmla="*/ 86998 w 357596"/>
                <a:gd name="connsiteY0" fmla="*/ 354928 h 354928"/>
                <a:gd name="connsiteX1" fmla="*/ 76912 w 357596"/>
                <a:gd name="connsiteY1" fmla="*/ 351776 h 354928"/>
                <a:gd name="connsiteX2" fmla="*/ 0 w 357596"/>
                <a:gd name="connsiteY2" fmla="*/ 196061 h 354928"/>
                <a:gd name="connsiteX3" fmla="*/ 196061 w 357596"/>
                <a:gd name="connsiteY3" fmla="*/ 0 h 354928"/>
                <a:gd name="connsiteX4" fmla="*/ 354297 w 357596"/>
                <a:gd name="connsiteY4" fmla="*/ 80064 h 354928"/>
                <a:gd name="connsiteX5" fmla="*/ 350515 w 357596"/>
                <a:gd name="connsiteY5" fmla="*/ 103389 h 354928"/>
                <a:gd name="connsiteX6" fmla="*/ 327189 w 357596"/>
                <a:gd name="connsiteY6" fmla="*/ 99607 h 354928"/>
                <a:gd name="connsiteX7" fmla="*/ 196061 w 357596"/>
                <a:gd name="connsiteY7" fmla="*/ 32782 h 354928"/>
                <a:gd name="connsiteX8" fmla="*/ 33412 w 357596"/>
                <a:gd name="connsiteY8" fmla="*/ 195431 h 354928"/>
                <a:gd name="connsiteX9" fmla="*/ 34043 w 357596"/>
                <a:gd name="connsiteY9" fmla="*/ 208039 h 354928"/>
                <a:gd name="connsiteX10" fmla="*/ 191648 w 357596"/>
                <a:gd name="connsiteY10" fmla="*/ 78173 h 354928"/>
                <a:gd name="connsiteX11" fmla="*/ 305125 w 357596"/>
                <a:gd name="connsiteY11" fmla="*/ 125454 h 354928"/>
                <a:gd name="connsiteX12" fmla="*/ 305125 w 357596"/>
                <a:gd name="connsiteY12" fmla="*/ 148780 h 354928"/>
                <a:gd name="connsiteX13" fmla="*/ 281799 w 357596"/>
                <a:gd name="connsiteY13" fmla="*/ 148780 h 354928"/>
                <a:gd name="connsiteX14" fmla="*/ 191648 w 357596"/>
                <a:gd name="connsiteY14" fmla="*/ 111585 h 354928"/>
                <a:gd name="connsiteX15" fmla="*/ 64303 w 357596"/>
                <a:gd name="connsiteY15" fmla="*/ 238930 h 354928"/>
                <a:gd name="connsiteX16" fmla="*/ 99607 w 357596"/>
                <a:gd name="connsiteY16" fmla="*/ 326559 h 354928"/>
                <a:gd name="connsiteX17" fmla="*/ 100237 w 357596"/>
                <a:gd name="connsiteY17" fmla="*/ 349254 h 354928"/>
                <a:gd name="connsiteX18" fmla="*/ 86998 w 357596"/>
                <a:gd name="connsiteY18" fmla="*/ 354928 h 354928"/>
                <a:gd name="connsiteX19" fmla="*/ 86998 w 357596"/>
                <a:gd name="connsiteY19" fmla="*/ 354928 h 354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57596" h="354928">
                  <a:moveTo>
                    <a:pt x="86998" y="354928"/>
                  </a:moveTo>
                  <a:cubicBezTo>
                    <a:pt x="83216" y="354928"/>
                    <a:pt x="80064" y="353667"/>
                    <a:pt x="76912" y="351776"/>
                  </a:cubicBezTo>
                  <a:cubicBezTo>
                    <a:pt x="27739" y="314581"/>
                    <a:pt x="0" y="257843"/>
                    <a:pt x="0" y="196061"/>
                  </a:cubicBezTo>
                  <a:cubicBezTo>
                    <a:pt x="0" y="87629"/>
                    <a:pt x="88259" y="0"/>
                    <a:pt x="196061" y="0"/>
                  </a:cubicBezTo>
                  <a:cubicBezTo>
                    <a:pt x="257843" y="0"/>
                    <a:pt x="317103" y="30260"/>
                    <a:pt x="354297" y="80064"/>
                  </a:cubicBezTo>
                  <a:cubicBezTo>
                    <a:pt x="359971" y="87629"/>
                    <a:pt x="358080" y="97715"/>
                    <a:pt x="350515" y="103389"/>
                  </a:cubicBezTo>
                  <a:cubicBezTo>
                    <a:pt x="342950" y="109063"/>
                    <a:pt x="332863" y="107172"/>
                    <a:pt x="327189" y="99607"/>
                  </a:cubicBezTo>
                  <a:cubicBezTo>
                    <a:pt x="296299" y="57368"/>
                    <a:pt x="248386" y="32782"/>
                    <a:pt x="196061" y="32782"/>
                  </a:cubicBezTo>
                  <a:cubicBezTo>
                    <a:pt x="106541" y="32782"/>
                    <a:pt x="33412" y="105911"/>
                    <a:pt x="33412" y="195431"/>
                  </a:cubicBezTo>
                  <a:cubicBezTo>
                    <a:pt x="33412" y="199844"/>
                    <a:pt x="33412" y="203627"/>
                    <a:pt x="34043" y="208039"/>
                  </a:cubicBezTo>
                  <a:cubicBezTo>
                    <a:pt x="48543" y="134280"/>
                    <a:pt x="113476" y="78173"/>
                    <a:pt x="191648" y="78173"/>
                  </a:cubicBezTo>
                  <a:cubicBezTo>
                    <a:pt x="234517" y="78173"/>
                    <a:pt x="274864" y="94563"/>
                    <a:pt x="305125" y="125454"/>
                  </a:cubicBezTo>
                  <a:cubicBezTo>
                    <a:pt x="311429" y="131758"/>
                    <a:pt x="311429" y="142476"/>
                    <a:pt x="305125" y="148780"/>
                  </a:cubicBezTo>
                  <a:cubicBezTo>
                    <a:pt x="298820" y="155084"/>
                    <a:pt x="288103" y="155084"/>
                    <a:pt x="281799" y="148780"/>
                  </a:cubicBezTo>
                  <a:cubicBezTo>
                    <a:pt x="257843" y="124824"/>
                    <a:pt x="225691" y="111585"/>
                    <a:pt x="191648" y="111585"/>
                  </a:cubicBezTo>
                  <a:cubicBezTo>
                    <a:pt x="121672" y="111585"/>
                    <a:pt x="64303" y="168323"/>
                    <a:pt x="64303" y="238930"/>
                  </a:cubicBezTo>
                  <a:cubicBezTo>
                    <a:pt x="64303" y="271712"/>
                    <a:pt x="76912" y="302603"/>
                    <a:pt x="99607" y="326559"/>
                  </a:cubicBezTo>
                  <a:cubicBezTo>
                    <a:pt x="105911" y="332863"/>
                    <a:pt x="105911" y="342950"/>
                    <a:pt x="100237" y="349254"/>
                  </a:cubicBezTo>
                  <a:cubicBezTo>
                    <a:pt x="95824" y="353037"/>
                    <a:pt x="91411" y="354928"/>
                    <a:pt x="86998" y="354928"/>
                  </a:cubicBezTo>
                  <a:lnTo>
                    <a:pt x="86998" y="354928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92" name="Forma Livre: Forma 91">
              <a:extLst>
                <a:ext uri="{FF2B5EF4-FFF2-40B4-BE49-F238E27FC236}">
                  <a16:creationId xmlns:a16="http://schemas.microsoft.com/office/drawing/2014/main" id="{8E2B3F19-AA6A-4D7E-9CB2-60A0F30A6B6F}"/>
                </a:ext>
              </a:extLst>
            </p:cNvPr>
            <p:cNvSpPr/>
            <p:nvPr/>
          </p:nvSpPr>
          <p:spPr>
            <a:xfrm>
              <a:off x="1524805" y="2644852"/>
              <a:ext cx="196098" cy="196061"/>
            </a:xfrm>
            <a:custGeom>
              <a:avLst/>
              <a:gdLst>
                <a:gd name="connsiteX0" fmla="*/ 179670 w 196098"/>
                <a:gd name="connsiteY0" fmla="*/ 196061 h 196061"/>
                <a:gd name="connsiteX1" fmla="*/ 16391 w 196098"/>
                <a:gd name="connsiteY1" fmla="*/ 196061 h 196061"/>
                <a:gd name="connsiteX2" fmla="*/ 1261 w 196098"/>
                <a:gd name="connsiteY2" fmla="*/ 185975 h 196061"/>
                <a:gd name="connsiteX3" fmla="*/ 5043 w 196098"/>
                <a:gd name="connsiteY3" fmla="*/ 167692 h 196061"/>
                <a:gd name="connsiteX4" fmla="*/ 64303 w 196098"/>
                <a:gd name="connsiteY4" fmla="*/ 108433 h 196061"/>
                <a:gd name="connsiteX5" fmla="*/ 87629 w 196098"/>
                <a:gd name="connsiteY5" fmla="*/ 108433 h 196061"/>
                <a:gd name="connsiteX6" fmla="*/ 87629 w 196098"/>
                <a:gd name="connsiteY6" fmla="*/ 131758 h 196061"/>
                <a:gd name="connsiteX7" fmla="*/ 56738 w 196098"/>
                <a:gd name="connsiteY7" fmla="*/ 162649 h 196061"/>
                <a:gd name="connsiteX8" fmla="*/ 162649 w 196098"/>
                <a:gd name="connsiteY8" fmla="*/ 162649 h 196061"/>
                <a:gd name="connsiteX9" fmla="*/ 162649 w 196098"/>
                <a:gd name="connsiteY9" fmla="*/ 56738 h 196061"/>
                <a:gd name="connsiteX10" fmla="*/ 140584 w 196098"/>
                <a:gd name="connsiteY10" fmla="*/ 78803 h 196061"/>
                <a:gd name="connsiteX11" fmla="*/ 117259 w 196098"/>
                <a:gd name="connsiteY11" fmla="*/ 78803 h 196061"/>
                <a:gd name="connsiteX12" fmla="*/ 117259 w 196098"/>
                <a:gd name="connsiteY12" fmla="*/ 55477 h 196061"/>
                <a:gd name="connsiteX13" fmla="*/ 167692 w 196098"/>
                <a:gd name="connsiteY13" fmla="*/ 5043 h 196061"/>
                <a:gd name="connsiteX14" fmla="*/ 185975 w 196098"/>
                <a:gd name="connsiteY14" fmla="*/ 1261 h 196061"/>
                <a:gd name="connsiteX15" fmla="*/ 196061 w 196098"/>
                <a:gd name="connsiteY15" fmla="*/ 16391 h 196061"/>
                <a:gd name="connsiteX16" fmla="*/ 196061 w 196098"/>
                <a:gd name="connsiteY16" fmla="*/ 179671 h 196061"/>
                <a:gd name="connsiteX17" fmla="*/ 179670 w 196098"/>
                <a:gd name="connsiteY17" fmla="*/ 196061 h 196061"/>
                <a:gd name="connsiteX18" fmla="*/ 179670 w 196098"/>
                <a:gd name="connsiteY18" fmla="*/ 196061 h 196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6098" h="196061">
                  <a:moveTo>
                    <a:pt x="179670" y="196061"/>
                  </a:moveTo>
                  <a:lnTo>
                    <a:pt x="16391" y="196061"/>
                  </a:lnTo>
                  <a:cubicBezTo>
                    <a:pt x="9456" y="196061"/>
                    <a:pt x="3783" y="192279"/>
                    <a:pt x="1261" y="185975"/>
                  </a:cubicBezTo>
                  <a:cubicBezTo>
                    <a:pt x="-1261" y="179671"/>
                    <a:pt x="0" y="172736"/>
                    <a:pt x="5043" y="167692"/>
                  </a:cubicBezTo>
                  <a:lnTo>
                    <a:pt x="64303" y="108433"/>
                  </a:lnTo>
                  <a:cubicBezTo>
                    <a:pt x="70607" y="102128"/>
                    <a:pt x="81325" y="102128"/>
                    <a:pt x="87629" y="108433"/>
                  </a:cubicBezTo>
                  <a:cubicBezTo>
                    <a:pt x="93933" y="114737"/>
                    <a:pt x="93933" y="125454"/>
                    <a:pt x="87629" y="131758"/>
                  </a:cubicBezTo>
                  <a:lnTo>
                    <a:pt x="56738" y="162649"/>
                  </a:lnTo>
                  <a:lnTo>
                    <a:pt x="162649" y="162649"/>
                  </a:lnTo>
                  <a:lnTo>
                    <a:pt x="162649" y="56738"/>
                  </a:lnTo>
                  <a:lnTo>
                    <a:pt x="140584" y="78803"/>
                  </a:lnTo>
                  <a:cubicBezTo>
                    <a:pt x="134280" y="85107"/>
                    <a:pt x="123563" y="85107"/>
                    <a:pt x="117259" y="78803"/>
                  </a:cubicBezTo>
                  <a:cubicBezTo>
                    <a:pt x="110954" y="72499"/>
                    <a:pt x="110954" y="61781"/>
                    <a:pt x="117259" y="55477"/>
                  </a:cubicBezTo>
                  <a:lnTo>
                    <a:pt x="167692" y="5043"/>
                  </a:lnTo>
                  <a:cubicBezTo>
                    <a:pt x="172736" y="0"/>
                    <a:pt x="179670" y="-1261"/>
                    <a:pt x="185975" y="1261"/>
                  </a:cubicBezTo>
                  <a:cubicBezTo>
                    <a:pt x="192279" y="3782"/>
                    <a:pt x="196061" y="10087"/>
                    <a:pt x="196061" y="16391"/>
                  </a:cubicBezTo>
                  <a:lnTo>
                    <a:pt x="196061" y="179671"/>
                  </a:lnTo>
                  <a:cubicBezTo>
                    <a:pt x="196692" y="188496"/>
                    <a:pt x="189127" y="196061"/>
                    <a:pt x="179670" y="196061"/>
                  </a:cubicBezTo>
                  <a:lnTo>
                    <a:pt x="179670" y="19606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93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2388484" y="2608287"/>
            <a:ext cx="302602" cy="392122"/>
            <a:chOff x="2388484" y="2608287"/>
            <a:chExt cx="302602" cy="392122"/>
          </a:xfrm>
          <a:solidFill>
            <a:srgbClr val="B1B1A1"/>
          </a:solidFill>
        </p:grpSpPr>
        <p:sp>
          <p:nvSpPr>
            <p:cNvPr id="94" name="Forma Livre: Forma 93">
              <a:extLst>
                <a:ext uri="{FF2B5EF4-FFF2-40B4-BE49-F238E27FC236}">
                  <a16:creationId xmlns:a16="http://schemas.microsoft.com/office/drawing/2014/main" id="{0B6BEB5D-BDEC-48E5-86B7-596A778407AD}"/>
                </a:ext>
              </a:extLst>
            </p:cNvPr>
            <p:cNvSpPr/>
            <p:nvPr/>
          </p:nvSpPr>
          <p:spPr>
            <a:xfrm>
              <a:off x="2409288" y="2622156"/>
              <a:ext cx="32818" cy="365014"/>
            </a:xfrm>
            <a:custGeom>
              <a:avLst/>
              <a:gdLst>
                <a:gd name="connsiteX0" fmla="*/ 16391 w 32818"/>
                <a:gd name="connsiteY0" fmla="*/ 365015 h 365014"/>
                <a:gd name="connsiteX1" fmla="*/ 0 w 32818"/>
                <a:gd name="connsiteY1" fmla="*/ 348624 h 365014"/>
                <a:gd name="connsiteX2" fmla="*/ 0 w 32818"/>
                <a:gd name="connsiteY2" fmla="*/ 16391 h 365014"/>
                <a:gd name="connsiteX3" fmla="*/ 16391 w 32818"/>
                <a:gd name="connsiteY3" fmla="*/ 0 h 365014"/>
                <a:gd name="connsiteX4" fmla="*/ 32782 w 32818"/>
                <a:gd name="connsiteY4" fmla="*/ 16391 h 365014"/>
                <a:gd name="connsiteX5" fmla="*/ 32782 w 32818"/>
                <a:gd name="connsiteY5" fmla="*/ 348624 h 365014"/>
                <a:gd name="connsiteX6" fmla="*/ 16391 w 32818"/>
                <a:gd name="connsiteY6" fmla="*/ 365015 h 365014"/>
                <a:gd name="connsiteX7" fmla="*/ 16391 w 32818"/>
                <a:gd name="connsiteY7" fmla="*/ 365015 h 365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818" h="365014">
                  <a:moveTo>
                    <a:pt x="16391" y="365015"/>
                  </a:moveTo>
                  <a:cubicBezTo>
                    <a:pt x="6935" y="365015"/>
                    <a:pt x="0" y="357449"/>
                    <a:pt x="0" y="348624"/>
                  </a:cubicBezTo>
                  <a:lnTo>
                    <a:pt x="0" y="16391"/>
                  </a:lnTo>
                  <a:cubicBezTo>
                    <a:pt x="0" y="6935"/>
                    <a:pt x="7565" y="0"/>
                    <a:pt x="16391" y="0"/>
                  </a:cubicBezTo>
                  <a:cubicBezTo>
                    <a:pt x="25847" y="0"/>
                    <a:pt x="32782" y="7565"/>
                    <a:pt x="32782" y="16391"/>
                  </a:cubicBezTo>
                  <a:lnTo>
                    <a:pt x="32782" y="348624"/>
                  </a:lnTo>
                  <a:cubicBezTo>
                    <a:pt x="33412" y="357449"/>
                    <a:pt x="25847" y="365015"/>
                    <a:pt x="16391" y="365015"/>
                  </a:cubicBezTo>
                  <a:lnTo>
                    <a:pt x="16391" y="365015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95" name="Forma Livre: Forma 94">
              <a:extLst>
                <a:ext uri="{FF2B5EF4-FFF2-40B4-BE49-F238E27FC236}">
                  <a16:creationId xmlns:a16="http://schemas.microsoft.com/office/drawing/2014/main" id="{FF8E3CCC-055E-4C57-82E6-B58E0DE6FA14}"/>
                </a:ext>
              </a:extLst>
            </p:cNvPr>
            <p:cNvSpPr/>
            <p:nvPr/>
          </p:nvSpPr>
          <p:spPr>
            <a:xfrm>
              <a:off x="2468548" y="2622156"/>
              <a:ext cx="32781" cy="365014"/>
            </a:xfrm>
            <a:custGeom>
              <a:avLst/>
              <a:gdLst>
                <a:gd name="connsiteX0" fmla="*/ 16391 w 32781"/>
                <a:gd name="connsiteY0" fmla="*/ 365015 h 365014"/>
                <a:gd name="connsiteX1" fmla="*/ 0 w 32781"/>
                <a:gd name="connsiteY1" fmla="*/ 348624 h 365014"/>
                <a:gd name="connsiteX2" fmla="*/ 0 w 32781"/>
                <a:gd name="connsiteY2" fmla="*/ 16391 h 365014"/>
                <a:gd name="connsiteX3" fmla="*/ 16391 w 32781"/>
                <a:gd name="connsiteY3" fmla="*/ 0 h 365014"/>
                <a:gd name="connsiteX4" fmla="*/ 32782 w 32781"/>
                <a:gd name="connsiteY4" fmla="*/ 16391 h 365014"/>
                <a:gd name="connsiteX5" fmla="*/ 32782 w 32781"/>
                <a:gd name="connsiteY5" fmla="*/ 348624 h 365014"/>
                <a:gd name="connsiteX6" fmla="*/ 16391 w 32781"/>
                <a:gd name="connsiteY6" fmla="*/ 365015 h 365014"/>
                <a:gd name="connsiteX7" fmla="*/ 16391 w 32781"/>
                <a:gd name="connsiteY7" fmla="*/ 365015 h 365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781" h="365014">
                  <a:moveTo>
                    <a:pt x="16391" y="365015"/>
                  </a:moveTo>
                  <a:cubicBezTo>
                    <a:pt x="6935" y="365015"/>
                    <a:pt x="0" y="357449"/>
                    <a:pt x="0" y="348624"/>
                  </a:cubicBezTo>
                  <a:lnTo>
                    <a:pt x="0" y="16391"/>
                  </a:lnTo>
                  <a:cubicBezTo>
                    <a:pt x="0" y="6935"/>
                    <a:pt x="7565" y="0"/>
                    <a:pt x="16391" y="0"/>
                  </a:cubicBezTo>
                  <a:cubicBezTo>
                    <a:pt x="25847" y="0"/>
                    <a:pt x="32782" y="7565"/>
                    <a:pt x="32782" y="16391"/>
                  </a:cubicBezTo>
                  <a:lnTo>
                    <a:pt x="32782" y="348624"/>
                  </a:lnTo>
                  <a:cubicBezTo>
                    <a:pt x="32782" y="357449"/>
                    <a:pt x="25847" y="365015"/>
                    <a:pt x="16391" y="365015"/>
                  </a:cubicBezTo>
                  <a:lnTo>
                    <a:pt x="16391" y="365015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96" name="Forma Livre: Forma 95">
              <a:extLst>
                <a:ext uri="{FF2B5EF4-FFF2-40B4-BE49-F238E27FC236}">
                  <a16:creationId xmlns:a16="http://schemas.microsoft.com/office/drawing/2014/main" id="{E96B9BA3-FD7A-4F1B-B69A-83F0DBC130E5}"/>
                </a:ext>
              </a:extLst>
            </p:cNvPr>
            <p:cNvSpPr/>
            <p:nvPr/>
          </p:nvSpPr>
          <p:spPr>
            <a:xfrm>
              <a:off x="2388484" y="2608287"/>
              <a:ext cx="268560" cy="200474"/>
            </a:xfrm>
            <a:custGeom>
              <a:avLst/>
              <a:gdLst>
                <a:gd name="connsiteX0" fmla="*/ 159497 w 268560"/>
                <a:gd name="connsiteY0" fmla="*/ 200474 h 200474"/>
                <a:gd name="connsiteX1" fmla="*/ 102759 w 268560"/>
                <a:gd name="connsiteY1" fmla="*/ 200474 h 200474"/>
                <a:gd name="connsiteX2" fmla="*/ 86368 w 268560"/>
                <a:gd name="connsiteY2" fmla="*/ 184083 h 200474"/>
                <a:gd name="connsiteX3" fmla="*/ 102759 w 268560"/>
                <a:gd name="connsiteY3" fmla="*/ 167692 h 200474"/>
                <a:gd name="connsiteX4" fmla="*/ 159497 w 268560"/>
                <a:gd name="connsiteY4" fmla="*/ 167692 h 200474"/>
                <a:gd name="connsiteX5" fmla="*/ 235148 w 268560"/>
                <a:gd name="connsiteY5" fmla="*/ 100237 h 200474"/>
                <a:gd name="connsiteX6" fmla="*/ 159497 w 268560"/>
                <a:gd name="connsiteY6" fmla="*/ 32782 h 200474"/>
                <a:gd name="connsiteX7" fmla="*/ 16391 w 268560"/>
                <a:gd name="connsiteY7" fmla="*/ 32782 h 200474"/>
                <a:gd name="connsiteX8" fmla="*/ 0 w 268560"/>
                <a:gd name="connsiteY8" fmla="*/ 16391 h 200474"/>
                <a:gd name="connsiteX9" fmla="*/ 16391 w 268560"/>
                <a:gd name="connsiteY9" fmla="*/ 0 h 200474"/>
                <a:gd name="connsiteX10" fmla="*/ 159497 w 268560"/>
                <a:gd name="connsiteY10" fmla="*/ 0 h 200474"/>
                <a:gd name="connsiteX11" fmla="*/ 268560 w 268560"/>
                <a:gd name="connsiteY11" fmla="*/ 100868 h 200474"/>
                <a:gd name="connsiteX12" fmla="*/ 159497 w 268560"/>
                <a:gd name="connsiteY12" fmla="*/ 200474 h 200474"/>
                <a:gd name="connsiteX13" fmla="*/ 159497 w 268560"/>
                <a:gd name="connsiteY13" fmla="*/ 200474 h 200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68560" h="200474">
                  <a:moveTo>
                    <a:pt x="159497" y="200474"/>
                  </a:moveTo>
                  <a:lnTo>
                    <a:pt x="102759" y="200474"/>
                  </a:lnTo>
                  <a:cubicBezTo>
                    <a:pt x="93303" y="200474"/>
                    <a:pt x="86368" y="192909"/>
                    <a:pt x="86368" y="184083"/>
                  </a:cubicBezTo>
                  <a:cubicBezTo>
                    <a:pt x="86368" y="174627"/>
                    <a:pt x="93933" y="167692"/>
                    <a:pt x="102759" y="167692"/>
                  </a:cubicBezTo>
                  <a:lnTo>
                    <a:pt x="159497" y="167692"/>
                  </a:lnTo>
                  <a:cubicBezTo>
                    <a:pt x="201105" y="167692"/>
                    <a:pt x="235148" y="137432"/>
                    <a:pt x="235148" y="100237"/>
                  </a:cubicBezTo>
                  <a:cubicBezTo>
                    <a:pt x="235148" y="63042"/>
                    <a:pt x="201105" y="32782"/>
                    <a:pt x="159497" y="32782"/>
                  </a:cubicBezTo>
                  <a:lnTo>
                    <a:pt x="16391" y="32782"/>
                  </a:lnTo>
                  <a:cubicBezTo>
                    <a:pt x="6935" y="32782"/>
                    <a:pt x="0" y="25217"/>
                    <a:pt x="0" y="16391"/>
                  </a:cubicBezTo>
                  <a:cubicBezTo>
                    <a:pt x="0" y="6935"/>
                    <a:pt x="7565" y="0"/>
                    <a:pt x="16391" y="0"/>
                  </a:cubicBezTo>
                  <a:lnTo>
                    <a:pt x="159497" y="0"/>
                  </a:lnTo>
                  <a:cubicBezTo>
                    <a:pt x="219387" y="0"/>
                    <a:pt x="268560" y="45391"/>
                    <a:pt x="268560" y="100868"/>
                  </a:cubicBezTo>
                  <a:cubicBezTo>
                    <a:pt x="268560" y="155084"/>
                    <a:pt x="220018" y="200474"/>
                    <a:pt x="159497" y="200474"/>
                  </a:cubicBezTo>
                  <a:lnTo>
                    <a:pt x="159497" y="200474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97" name="Forma Livre: Forma 96">
              <a:extLst>
                <a:ext uri="{FF2B5EF4-FFF2-40B4-BE49-F238E27FC236}">
                  <a16:creationId xmlns:a16="http://schemas.microsoft.com/office/drawing/2014/main" id="{43AC49C3-DEFC-4965-9E14-940F27B4EF40}"/>
                </a:ext>
              </a:extLst>
            </p:cNvPr>
            <p:cNvSpPr/>
            <p:nvPr/>
          </p:nvSpPr>
          <p:spPr>
            <a:xfrm>
              <a:off x="2389115" y="2781023"/>
              <a:ext cx="301972" cy="219387"/>
            </a:xfrm>
            <a:custGeom>
              <a:avLst/>
              <a:gdLst>
                <a:gd name="connsiteX0" fmla="*/ 191648 w 301972"/>
                <a:gd name="connsiteY0" fmla="*/ 219387 h 219387"/>
                <a:gd name="connsiteX1" fmla="*/ 16391 w 301972"/>
                <a:gd name="connsiteY1" fmla="*/ 219387 h 219387"/>
                <a:gd name="connsiteX2" fmla="*/ 0 w 301972"/>
                <a:gd name="connsiteY2" fmla="*/ 202996 h 219387"/>
                <a:gd name="connsiteX3" fmla="*/ 16391 w 301972"/>
                <a:gd name="connsiteY3" fmla="*/ 186605 h 219387"/>
                <a:gd name="connsiteX4" fmla="*/ 191648 w 301972"/>
                <a:gd name="connsiteY4" fmla="*/ 186605 h 219387"/>
                <a:gd name="connsiteX5" fmla="*/ 268560 w 301972"/>
                <a:gd name="connsiteY5" fmla="*/ 109694 h 219387"/>
                <a:gd name="connsiteX6" fmla="*/ 191648 w 301972"/>
                <a:gd name="connsiteY6" fmla="*/ 32782 h 219387"/>
                <a:gd name="connsiteX7" fmla="*/ 102128 w 301972"/>
                <a:gd name="connsiteY7" fmla="*/ 32782 h 219387"/>
                <a:gd name="connsiteX8" fmla="*/ 85738 w 301972"/>
                <a:gd name="connsiteY8" fmla="*/ 16391 h 219387"/>
                <a:gd name="connsiteX9" fmla="*/ 102128 w 301972"/>
                <a:gd name="connsiteY9" fmla="*/ 0 h 219387"/>
                <a:gd name="connsiteX10" fmla="*/ 191648 w 301972"/>
                <a:gd name="connsiteY10" fmla="*/ 0 h 219387"/>
                <a:gd name="connsiteX11" fmla="*/ 301972 w 301972"/>
                <a:gd name="connsiteY11" fmla="*/ 110324 h 219387"/>
                <a:gd name="connsiteX12" fmla="*/ 191648 w 301972"/>
                <a:gd name="connsiteY12" fmla="*/ 219387 h 219387"/>
                <a:gd name="connsiteX13" fmla="*/ 191648 w 301972"/>
                <a:gd name="connsiteY13" fmla="*/ 219387 h 219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1972" h="219387">
                  <a:moveTo>
                    <a:pt x="191648" y="219387"/>
                  </a:moveTo>
                  <a:lnTo>
                    <a:pt x="16391" y="219387"/>
                  </a:lnTo>
                  <a:cubicBezTo>
                    <a:pt x="6935" y="219387"/>
                    <a:pt x="0" y="211822"/>
                    <a:pt x="0" y="202996"/>
                  </a:cubicBezTo>
                  <a:cubicBezTo>
                    <a:pt x="0" y="193540"/>
                    <a:pt x="7565" y="186605"/>
                    <a:pt x="16391" y="186605"/>
                  </a:cubicBezTo>
                  <a:lnTo>
                    <a:pt x="191648" y="186605"/>
                  </a:lnTo>
                  <a:cubicBezTo>
                    <a:pt x="233887" y="186605"/>
                    <a:pt x="268560" y="151932"/>
                    <a:pt x="268560" y="109694"/>
                  </a:cubicBezTo>
                  <a:cubicBezTo>
                    <a:pt x="268560" y="67455"/>
                    <a:pt x="233887" y="32782"/>
                    <a:pt x="191648" y="32782"/>
                  </a:cubicBezTo>
                  <a:lnTo>
                    <a:pt x="102128" y="32782"/>
                  </a:lnTo>
                  <a:cubicBezTo>
                    <a:pt x="92672" y="32782"/>
                    <a:pt x="85738" y="25217"/>
                    <a:pt x="85738" y="16391"/>
                  </a:cubicBezTo>
                  <a:cubicBezTo>
                    <a:pt x="85738" y="6935"/>
                    <a:pt x="93303" y="0"/>
                    <a:pt x="102128" y="0"/>
                  </a:cubicBezTo>
                  <a:lnTo>
                    <a:pt x="191648" y="0"/>
                  </a:lnTo>
                  <a:cubicBezTo>
                    <a:pt x="252169" y="0"/>
                    <a:pt x="301972" y="49173"/>
                    <a:pt x="301972" y="110324"/>
                  </a:cubicBezTo>
                  <a:cubicBezTo>
                    <a:pt x="301342" y="170214"/>
                    <a:pt x="252169" y="219387"/>
                    <a:pt x="191648" y="219387"/>
                  </a:cubicBezTo>
                  <a:lnTo>
                    <a:pt x="191648" y="219387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98" name="Forma Livre: Forma 97">
              <a:extLst>
                <a:ext uri="{FF2B5EF4-FFF2-40B4-BE49-F238E27FC236}">
                  <a16:creationId xmlns:a16="http://schemas.microsoft.com/office/drawing/2014/main" id="{EEAECA83-B36A-4D86-AE9C-00B6894ECAA9}"/>
                </a:ext>
              </a:extLst>
            </p:cNvPr>
            <p:cNvSpPr/>
            <p:nvPr/>
          </p:nvSpPr>
          <p:spPr>
            <a:xfrm>
              <a:off x="2389115" y="2608287"/>
              <a:ext cx="207408" cy="204887"/>
            </a:xfrm>
            <a:custGeom>
              <a:avLst/>
              <a:gdLst>
                <a:gd name="connsiteX0" fmla="*/ 102128 w 207408"/>
                <a:gd name="connsiteY0" fmla="*/ 203627 h 204887"/>
                <a:gd name="connsiteX1" fmla="*/ 85738 w 207408"/>
                <a:gd name="connsiteY1" fmla="*/ 189757 h 204887"/>
                <a:gd name="connsiteX2" fmla="*/ 99607 w 207408"/>
                <a:gd name="connsiteY2" fmla="*/ 170845 h 204887"/>
                <a:gd name="connsiteX3" fmla="*/ 119780 w 207408"/>
                <a:gd name="connsiteY3" fmla="*/ 167692 h 204887"/>
                <a:gd name="connsiteX4" fmla="*/ 122302 w 207408"/>
                <a:gd name="connsiteY4" fmla="*/ 167692 h 204887"/>
                <a:gd name="connsiteX5" fmla="*/ 173997 w 207408"/>
                <a:gd name="connsiteY5" fmla="*/ 100237 h 204887"/>
                <a:gd name="connsiteX6" fmla="*/ 122302 w 207408"/>
                <a:gd name="connsiteY6" fmla="*/ 32782 h 204887"/>
                <a:gd name="connsiteX7" fmla="*/ 16391 w 207408"/>
                <a:gd name="connsiteY7" fmla="*/ 32782 h 204887"/>
                <a:gd name="connsiteX8" fmla="*/ 0 w 207408"/>
                <a:gd name="connsiteY8" fmla="*/ 16391 h 204887"/>
                <a:gd name="connsiteX9" fmla="*/ 16391 w 207408"/>
                <a:gd name="connsiteY9" fmla="*/ 0 h 204887"/>
                <a:gd name="connsiteX10" fmla="*/ 122302 w 207408"/>
                <a:gd name="connsiteY10" fmla="*/ 0 h 204887"/>
                <a:gd name="connsiteX11" fmla="*/ 207409 w 207408"/>
                <a:gd name="connsiteY11" fmla="*/ 100868 h 204887"/>
                <a:gd name="connsiteX12" fmla="*/ 123563 w 207408"/>
                <a:gd name="connsiteY12" fmla="*/ 201735 h 204887"/>
                <a:gd name="connsiteX13" fmla="*/ 104650 w 207408"/>
                <a:gd name="connsiteY13" fmla="*/ 204887 h 204887"/>
                <a:gd name="connsiteX14" fmla="*/ 102128 w 207408"/>
                <a:gd name="connsiteY14" fmla="*/ 203627 h 204887"/>
                <a:gd name="connsiteX15" fmla="*/ 102128 w 207408"/>
                <a:gd name="connsiteY15" fmla="*/ 203627 h 20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7408" h="204887">
                  <a:moveTo>
                    <a:pt x="102128" y="203627"/>
                  </a:moveTo>
                  <a:cubicBezTo>
                    <a:pt x="93933" y="203627"/>
                    <a:pt x="86998" y="197953"/>
                    <a:pt x="85738" y="189757"/>
                  </a:cubicBezTo>
                  <a:cubicBezTo>
                    <a:pt x="84477" y="180931"/>
                    <a:pt x="90781" y="172105"/>
                    <a:pt x="99607" y="170845"/>
                  </a:cubicBezTo>
                  <a:lnTo>
                    <a:pt x="119780" y="167692"/>
                  </a:lnTo>
                  <a:cubicBezTo>
                    <a:pt x="120411" y="167692"/>
                    <a:pt x="121672" y="167692"/>
                    <a:pt x="122302" y="167692"/>
                  </a:cubicBezTo>
                  <a:cubicBezTo>
                    <a:pt x="150671" y="167692"/>
                    <a:pt x="173997" y="137432"/>
                    <a:pt x="173997" y="100237"/>
                  </a:cubicBezTo>
                  <a:cubicBezTo>
                    <a:pt x="173997" y="63042"/>
                    <a:pt x="150671" y="32782"/>
                    <a:pt x="122302" y="32782"/>
                  </a:cubicBezTo>
                  <a:lnTo>
                    <a:pt x="16391" y="32782"/>
                  </a:lnTo>
                  <a:cubicBezTo>
                    <a:pt x="6935" y="32782"/>
                    <a:pt x="0" y="25217"/>
                    <a:pt x="0" y="16391"/>
                  </a:cubicBezTo>
                  <a:cubicBezTo>
                    <a:pt x="0" y="6935"/>
                    <a:pt x="7565" y="0"/>
                    <a:pt x="16391" y="0"/>
                  </a:cubicBezTo>
                  <a:lnTo>
                    <a:pt x="122302" y="0"/>
                  </a:lnTo>
                  <a:cubicBezTo>
                    <a:pt x="169584" y="0"/>
                    <a:pt x="207409" y="45391"/>
                    <a:pt x="207409" y="100868"/>
                  </a:cubicBezTo>
                  <a:cubicBezTo>
                    <a:pt x="207409" y="155714"/>
                    <a:pt x="169584" y="201105"/>
                    <a:pt x="123563" y="201735"/>
                  </a:cubicBezTo>
                  <a:lnTo>
                    <a:pt x="104650" y="204887"/>
                  </a:lnTo>
                  <a:cubicBezTo>
                    <a:pt x="104020" y="203627"/>
                    <a:pt x="102759" y="203627"/>
                    <a:pt x="102128" y="203627"/>
                  </a:cubicBezTo>
                  <a:lnTo>
                    <a:pt x="102128" y="203627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99" name="Forma Livre: Forma 98">
              <a:extLst>
                <a:ext uri="{FF2B5EF4-FFF2-40B4-BE49-F238E27FC236}">
                  <a16:creationId xmlns:a16="http://schemas.microsoft.com/office/drawing/2014/main" id="{1E12EC91-E112-4A48-BA13-39E91D995177}"/>
                </a:ext>
              </a:extLst>
            </p:cNvPr>
            <p:cNvSpPr/>
            <p:nvPr/>
          </p:nvSpPr>
          <p:spPr>
            <a:xfrm>
              <a:off x="2389115" y="2781023"/>
              <a:ext cx="231995" cy="219387"/>
            </a:xfrm>
            <a:custGeom>
              <a:avLst/>
              <a:gdLst>
                <a:gd name="connsiteX0" fmla="*/ 146258 w 231995"/>
                <a:gd name="connsiteY0" fmla="*/ 219387 h 219387"/>
                <a:gd name="connsiteX1" fmla="*/ 16391 w 231995"/>
                <a:gd name="connsiteY1" fmla="*/ 219387 h 219387"/>
                <a:gd name="connsiteX2" fmla="*/ 0 w 231995"/>
                <a:gd name="connsiteY2" fmla="*/ 202996 h 219387"/>
                <a:gd name="connsiteX3" fmla="*/ 16391 w 231995"/>
                <a:gd name="connsiteY3" fmla="*/ 186605 h 219387"/>
                <a:gd name="connsiteX4" fmla="*/ 146258 w 231995"/>
                <a:gd name="connsiteY4" fmla="*/ 186605 h 219387"/>
                <a:gd name="connsiteX5" fmla="*/ 198583 w 231995"/>
                <a:gd name="connsiteY5" fmla="*/ 109694 h 219387"/>
                <a:gd name="connsiteX6" fmla="*/ 146258 w 231995"/>
                <a:gd name="connsiteY6" fmla="*/ 32782 h 219387"/>
                <a:gd name="connsiteX7" fmla="*/ 102128 w 231995"/>
                <a:gd name="connsiteY7" fmla="*/ 32782 h 219387"/>
                <a:gd name="connsiteX8" fmla="*/ 85738 w 231995"/>
                <a:gd name="connsiteY8" fmla="*/ 16391 h 219387"/>
                <a:gd name="connsiteX9" fmla="*/ 102128 w 231995"/>
                <a:gd name="connsiteY9" fmla="*/ 0 h 219387"/>
                <a:gd name="connsiteX10" fmla="*/ 146258 w 231995"/>
                <a:gd name="connsiteY10" fmla="*/ 0 h 219387"/>
                <a:gd name="connsiteX11" fmla="*/ 231996 w 231995"/>
                <a:gd name="connsiteY11" fmla="*/ 110324 h 219387"/>
                <a:gd name="connsiteX12" fmla="*/ 146258 w 231995"/>
                <a:gd name="connsiteY12" fmla="*/ 219387 h 219387"/>
                <a:gd name="connsiteX13" fmla="*/ 146258 w 231995"/>
                <a:gd name="connsiteY13" fmla="*/ 219387 h 219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31995" h="219387">
                  <a:moveTo>
                    <a:pt x="146258" y="219387"/>
                  </a:moveTo>
                  <a:lnTo>
                    <a:pt x="16391" y="219387"/>
                  </a:lnTo>
                  <a:cubicBezTo>
                    <a:pt x="6935" y="219387"/>
                    <a:pt x="0" y="211822"/>
                    <a:pt x="0" y="202996"/>
                  </a:cubicBezTo>
                  <a:cubicBezTo>
                    <a:pt x="0" y="193540"/>
                    <a:pt x="7565" y="186605"/>
                    <a:pt x="16391" y="186605"/>
                  </a:cubicBezTo>
                  <a:lnTo>
                    <a:pt x="146258" y="186605"/>
                  </a:lnTo>
                  <a:cubicBezTo>
                    <a:pt x="174627" y="186605"/>
                    <a:pt x="198583" y="151301"/>
                    <a:pt x="198583" y="109694"/>
                  </a:cubicBezTo>
                  <a:cubicBezTo>
                    <a:pt x="198583" y="68086"/>
                    <a:pt x="174627" y="32782"/>
                    <a:pt x="146258" y="32782"/>
                  </a:cubicBezTo>
                  <a:lnTo>
                    <a:pt x="102128" y="32782"/>
                  </a:lnTo>
                  <a:cubicBezTo>
                    <a:pt x="92672" y="32782"/>
                    <a:pt x="85738" y="25217"/>
                    <a:pt x="85738" y="16391"/>
                  </a:cubicBezTo>
                  <a:cubicBezTo>
                    <a:pt x="85738" y="6935"/>
                    <a:pt x="93303" y="0"/>
                    <a:pt x="102128" y="0"/>
                  </a:cubicBezTo>
                  <a:lnTo>
                    <a:pt x="146258" y="0"/>
                  </a:lnTo>
                  <a:cubicBezTo>
                    <a:pt x="193540" y="0"/>
                    <a:pt x="231996" y="49173"/>
                    <a:pt x="231996" y="110324"/>
                  </a:cubicBezTo>
                  <a:cubicBezTo>
                    <a:pt x="231996" y="170214"/>
                    <a:pt x="193540" y="219387"/>
                    <a:pt x="146258" y="219387"/>
                  </a:cubicBezTo>
                  <a:lnTo>
                    <a:pt x="146258" y="219387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00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3411030" y="2605135"/>
            <a:ext cx="298189" cy="397796"/>
            <a:chOff x="3411030" y="2605135"/>
            <a:chExt cx="298189" cy="397796"/>
          </a:xfrm>
          <a:solidFill>
            <a:srgbClr val="B1B1A1"/>
          </a:solidFill>
        </p:grpSpPr>
        <p:sp>
          <p:nvSpPr>
            <p:cNvPr id="101" name="Forma Livre: Forma 100">
              <a:extLst>
                <a:ext uri="{FF2B5EF4-FFF2-40B4-BE49-F238E27FC236}">
                  <a16:creationId xmlns:a16="http://schemas.microsoft.com/office/drawing/2014/main" id="{02D58028-881A-492B-9566-B44ED88A8F3D}"/>
                </a:ext>
              </a:extLst>
            </p:cNvPr>
            <p:cNvSpPr/>
            <p:nvPr/>
          </p:nvSpPr>
          <p:spPr>
            <a:xfrm>
              <a:off x="3459361" y="2611228"/>
              <a:ext cx="197744" cy="383508"/>
            </a:xfrm>
            <a:custGeom>
              <a:avLst/>
              <a:gdLst>
                <a:gd name="connsiteX0" fmla="*/ 16602 w 197744"/>
                <a:gd name="connsiteY0" fmla="*/ 383508 h 383508"/>
                <a:gd name="connsiteX1" fmla="*/ 9667 w 197744"/>
                <a:gd name="connsiteY1" fmla="*/ 381617 h 383508"/>
                <a:gd name="connsiteX2" fmla="*/ 1472 w 197744"/>
                <a:gd name="connsiteY2" fmla="*/ 359552 h 383508"/>
                <a:gd name="connsiteX3" fmla="*/ 166012 w 197744"/>
                <a:gd name="connsiteY3" fmla="*/ 9667 h 383508"/>
                <a:gd name="connsiteX4" fmla="*/ 188077 w 197744"/>
                <a:gd name="connsiteY4" fmla="*/ 1472 h 383508"/>
                <a:gd name="connsiteX5" fmla="*/ 196273 w 197744"/>
                <a:gd name="connsiteY5" fmla="*/ 23537 h 383508"/>
                <a:gd name="connsiteX6" fmla="*/ 31732 w 197744"/>
                <a:gd name="connsiteY6" fmla="*/ 373421 h 383508"/>
                <a:gd name="connsiteX7" fmla="*/ 16602 w 197744"/>
                <a:gd name="connsiteY7" fmla="*/ 383508 h 383508"/>
                <a:gd name="connsiteX8" fmla="*/ 16602 w 197744"/>
                <a:gd name="connsiteY8" fmla="*/ 383508 h 383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7744" h="383508">
                  <a:moveTo>
                    <a:pt x="16602" y="383508"/>
                  </a:moveTo>
                  <a:cubicBezTo>
                    <a:pt x="14080" y="383508"/>
                    <a:pt x="11559" y="382878"/>
                    <a:pt x="9667" y="381617"/>
                  </a:cubicBezTo>
                  <a:cubicBezTo>
                    <a:pt x="1472" y="377834"/>
                    <a:pt x="-2311" y="367748"/>
                    <a:pt x="1472" y="359552"/>
                  </a:cubicBezTo>
                  <a:lnTo>
                    <a:pt x="166012" y="9667"/>
                  </a:lnTo>
                  <a:cubicBezTo>
                    <a:pt x="169795" y="1472"/>
                    <a:pt x="179882" y="-2311"/>
                    <a:pt x="188077" y="1472"/>
                  </a:cubicBezTo>
                  <a:cubicBezTo>
                    <a:pt x="196273" y="5255"/>
                    <a:pt x="200055" y="15341"/>
                    <a:pt x="196273" y="23537"/>
                  </a:cubicBezTo>
                  <a:lnTo>
                    <a:pt x="31732" y="373421"/>
                  </a:lnTo>
                  <a:cubicBezTo>
                    <a:pt x="29211" y="379726"/>
                    <a:pt x="22906" y="383508"/>
                    <a:pt x="16602" y="383508"/>
                  </a:cubicBezTo>
                  <a:lnTo>
                    <a:pt x="16602" y="383508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02" name="Forma Livre: Forma 101">
              <a:extLst>
                <a:ext uri="{FF2B5EF4-FFF2-40B4-BE49-F238E27FC236}">
                  <a16:creationId xmlns:a16="http://schemas.microsoft.com/office/drawing/2014/main" id="{03F7D7F0-F21C-428E-8B93-342DA894F15D}"/>
                </a:ext>
              </a:extLst>
            </p:cNvPr>
            <p:cNvSpPr/>
            <p:nvPr/>
          </p:nvSpPr>
          <p:spPr>
            <a:xfrm>
              <a:off x="3575570" y="2605135"/>
              <a:ext cx="133649" cy="32782"/>
            </a:xfrm>
            <a:custGeom>
              <a:avLst/>
              <a:gdLst>
                <a:gd name="connsiteX0" fmla="*/ 117258 w 133649"/>
                <a:gd name="connsiteY0" fmla="*/ 32782 h 32782"/>
                <a:gd name="connsiteX1" fmla="*/ 16391 w 133649"/>
                <a:gd name="connsiteY1" fmla="*/ 32782 h 32782"/>
                <a:gd name="connsiteX2" fmla="*/ 0 w 133649"/>
                <a:gd name="connsiteY2" fmla="*/ 16391 h 32782"/>
                <a:gd name="connsiteX3" fmla="*/ 16391 w 133649"/>
                <a:gd name="connsiteY3" fmla="*/ 0 h 32782"/>
                <a:gd name="connsiteX4" fmla="*/ 117258 w 133649"/>
                <a:gd name="connsiteY4" fmla="*/ 0 h 32782"/>
                <a:gd name="connsiteX5" fmla="*/ 133649 w 133649"/>
                <a:gd name="connsiteY5" fmla="*/ 16391 h 32782"/>
                <a:gd name="connsiteX6" fmla="*/ 117258 w 133649"/>
                <a:gd name="connsiteY6" fmla="*/ 32782 h 32782"/>
                <a:gd name="connsiteX7" fmla="*/ 117258 w 133649"/>
                <a:gd name="connsiteY7" fmla="*/ 32782 h 32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3649" h="32782">
                  <a:moveTo>
                    <a:pt x="117258" y="32782"/>
                  </a:moveTo>
                  <a:lnTo>
                    <a:pt x="16391" y="32782"/>
                  </a:lnTo>
                  <a:cubicBezTo>
                    <a:pt x="6934" y="32782"/>
                    <a:pt x="0" y="25217"/>
                    <a:pt x="0" y="16391"/>
                  </a:cubicBezTo>
                  <a:cubicBezTo>
                    <a:pt x="0" y="6935"/>
                    <a:pt x="7565" y="0"/>
                    <a:pt x="16391" y="0"/>
                  </a:cubicBezTo>
                  <a:lnTo>
                    <a:pt x="117258" y="0"/>
                  </a:lnTo>
                  <a:cubicBezTo>
                    <a:pt x="126715" y="0"/>
                    <a:pt x="133649" y="7565"/>
                    <a:pt x="133649" y="16391"/>
                  </a:cubicBezTo>
                  <a:cubicBezTo>
                    <a:pt x="133649" y="25217"/>
                    <a:pt x="126715" y="32782"/>
                    <a:pt x="117258" y="32782"/>
                  </a:cubicBezTo>
                  <a:lnTo>
                    <a:pt x="117258" y="32782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03" name="Forma Livre: Forma 102">
              <a:extLst>
                <a:ext uri="{FF2B5EF4-FFF2-40B4-BE49-F238E27FC236}">
                  <a16:creationId xmlns:a16="http://schemas.microsoft.com/office/drawing/2014/main" id="{EA823E57-E11F-4D3F-B6DE-960B98E59F89}"/>
                </a:ext>
              </a:extLst>
            </p:cNvPr>
            <p:cNvSpPr/>
            <p:nvPr/>
          </p:nvSpPr>
          <p:spPr>
            <a:xfrm>
              <a:off x="3411030" y="2970150"/>
              <a:ext cx="133649" cy="32782"/>
            </a:xfrm>
            <a:custGeom>
              <a:avLst/>
              <a:gdLst>
                <a:gd name="connsiteX0" fmla="*/ 117259 w 133649"/>
                <a:gd name="connsiteY0" fmla="*/ 32782 h 32782"/>
                <a:gd name="connsiteX1" fmla="*/ 16391 w 133649"/>
                <a:gd name="connsiteY1" fmla="*/ 32782 h 32782"/>
                <a:gd name="connsiteX2" fmla="*/ 0 w 133649"/>
                <a:gd name="connsiteY2" fmla="*/ 16391 h 32782"/>
                <a:gd name="connsiteX3" fmla="*/ 16391 w 133649"/>
                <a:gd name="connsiteY3" fmla="*/ 0 h 32782"/>
                <a:gd name="connsiteX4" fmla="*/ 117259 w 133649"/>
                <a:gd name="connsiteY4" fmla="*/ 0 h 32782"/>
                <a:gd name="connsiteX5" fmla="*/ 133649 w 133649"/>
                <a:gd name="connsiteY5" fmla="*/ 16391 h 32782"/>
                <a:gd name="connsiteX6" fmla="*/ 117259 w 133649"/>
                <a:gd name="connsiteY6" fmla="*/ 32782 h 32782"/>
                <a:gd name="connsiteX7" fmla="*/ 117259 w 133649"/>
                <a:gd name="connsiteY7" fmla="*/ 32782 h 32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3649" h="32782">
                  <a:moveTo>
                    <a:pt x="117259" y="32782"/>
                  </a:moveTo>
                  <a:lnTo>
                    <a:pt x="16391" y="32782"/>
                  </a:lnTo>
                  <a:cubicBezTo>
                    <a:pt x="6935" y="32782"/>
                    <a:pt x="0" y="25217"/>
                    <a:pt x="0" y="16391"/>
                  </a:cubicBezTo>
                  <a:cubicBezTo>
                    <a:pt x="0" y="6935"/>
                    <a:pt x="7565" y="0"/>
                    <a:pt x="16391" y="0"/>
                  </a:cubicBezTo>
                  <a:lnTo>
                    <a:pt x="117259" y="0"/>
                  </a:lnTo>
                  <a:cubicBezTo>
                    <a:pt x="126715" y="0"/>
                    <a:pt x="133649" y="7565"/>
                    <a:pt x="133649" y="16391"/>
                  </a:cubicBezTo>
                  <a:cubicBezTo>
                    <a:pt x="133649" y="25217"/>
                    <a:pt x="126715" y="32782"/>
                    <a:pt x="117259" y="32782"/>
                  </a:cubicBezTo>
                  <a:lnTo>
                    <a:pt x="117259" y="32782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04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5386774" y="2596309"/>
            <a:ext cx="412296" cy="414817"/>
            <a:chOff x="5386774" y="2596309"/>
            <a:chExt cx="412296" cy="414817"/>
          </a:xfrm>
          <a:solidFill>
            <a:srgbClr val="B1B1A1"/>
          </a:solidFill>
        </p:grpSpPr>
        <p:grpSp>
          <p:nvGrpSpPr>
            <p:cNvPr id="105" name="Gráfico 2">
              <a:extLst>
                <a:ext uri="{FF2B5EF4-FFF2-40B4-BE49-F238E27FC236}">
                  <a16:creationId xmlns:a16="http://schemas.microsoft.com/office/drawing/2014/main" id="{1EC2913E-D059-42A1-91F3-F6BAB2F166E6}"/>
                </a:ext>
              </a:extLst>
            </p:cNvPr>
            <p:cNvGrpSpPr/>
            <p:nvPr/>
          </p:nvGrpSpPr>
          <p:grpSpPr>
            <a:xfrm>
              <a:off x="5568335" y="2695285"/>
              <a:ext cx="230734" cy="315841"/>
              <a:chOff x="5568335" y="2695285"/>
              <a:chExt cx="230734" cy="315841"/>
            </a:xfrm>
            <a:grpFill/>
          </p:grpSpPr>
          <p:sp>
            <p:nvSpPr>
              <p:cNvPr id="106" name="Forma Livre: Forma 105">
                <a:extLst>
                  <a:ext uri="{FF2B5EF4-FFF2-40B4-BE49-F238E27FC236}">
                    <a16:creationId xmlns:a16="http://schemas.microsoft.com/office/drawing/2014/main" id="{9FF37EFA-842B-4528-9D7C-787D126C72F7}"/>
                  </a:ext>
                </a:extLst>
              </p:cNvPr>
              <p:cNvSpPr/>
              <p:nvPr/>
            </p:nvSpPr>
            <p:spPr>
              <a:xfrm>
                <a:off x="5568335" y="2695285"/>
                <a:ext cx="230734" cy="315841"/>
              </a:xfrm>
              <a:custGeom>
                <a:avLst/>
                <a:gdLst>
                  <a:gd name="connsiteX0" fmla="*/ 214344 w 230734"/>
                  <a:gd name="connsiteY0" fmla="*/ 315842 h 315841"/>
                  <a:gd name="connsiteX1" fmla="*/ 16391 w 230734"/>
                  <a:gd name="connsiteY1" fmla="*/ 315842 h 315841"/>
                  <a:gd name="connsiteX2" fmla="*/ 0 w 230734"/>
                  <a:gd name="connsiteY2" fmla="*/ 299451 h 315841"/>
                  <a:gd name="connsiteX3" fmla="*/ 0 w 230734"/>
                  <a:gd name="connsiteY3" fmla="*/ 16391 h 315841"/>
                  <a:gd name="connsiteX4" fmla="*/ 16391 w 230734"/>
                  <a:gd name="connsiteY4" fmla="*/ 0 h 315841"/>
                  <a:gd name="connsiteX5" fmla="*/ 214344 w 230734"/>
                  <a:gd name="connsiteY5" fmla="*/ 0 h 315841"/>
                  <a:gd name="connsiteX6" fmla="*/ 230735 w 230734"/>
                  <a:gd name="connsiteY6" fmla="*/ 16391 h 315841"/>
                  <a:gd name="connsiteX7" fmla="*/ 230735 w 230734"/>
                  <a:gd name="connsiteY7" fmla="*/ 299451 h 315841"/>
                  <a:gd name="connsiteX8" fmla="*/ 214344 w 230734"/>
                  <a:gd name="connsiteY8" fmla="*/ 315842 h 315841"/>
                  <a:gd name="connsiteX9" fmla="*/ 214344 w 230734"/>
                  <a:gd name="connsiteY9" fmla="*/ 315842 h 315841"/>
                  <a:gd name="connsiteX10" fmla="*/ 32782 w 230734"/>
                  <a:gd name="connsiteY10" fmla="*/ 283060 h 315841"/>
                  <a:gd name="connsiteX11" fmla="*/ 197322 w 230734"/>
                  <a:gd name="connsiteY11" fmla="*/ 283060 h 315841"/>
                  <a:gd name="connsiteX12" fmla="*/ 197322 w 230734"/>
                  <a:gd name="connsiteY12" fmla="*/ 33412 h 315841"/>
                  <a:gd name="connsiteX13" fmla="*/ 32782 w 230734"/>
                  <a:gd name="connsiteY13" fmla="*/ 33412 h 315841"/>
                  <a:gd name="connsiteX14" fmla="*/ 32782 w 230734"/>
                  <a:gd name="connsiteY14" fmla="*/ 283060 h 315841"/>
                  <a:gd name="connsiteX15" fmla="*/ 32782 w 230734"/>
                  <a:gd name="connsiteY15" fmla="*/ 283060 h 315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30734" h="315841">
                    <a:moveTo>
                      <a:pt x="214344" y="315842"/>
                    </a:moveTo>
                    <a:lnTo>
                      <a:pt x="16391" y="315842"/>
                    </a:lnTo>
                    <a:cubicBezTo>
                      <a:pt x="6935" y="315842"/>
                      <a:pt x="0" y="308277"/>
                      <a:pt x="0" y="299451"/>
                    </a:cubicBezTo>
                    <a:lnTo>
                      <a:pt x="0" y="16391"/>
                    </a:lnTo>
                    <a:cubicBezTo>
                      <a:pt x="0" y="6934"/>
                      <a:pt x="7565" y="0"/>
                      <a:pt x="16391" y="0"/>
                    </a:cubicBezTo>
                    <a:lnTo>
                      <a:pt x="214344" y="0"/>
                    </a:lnTo>
                    <a:cubicBezTo>
                      <a:pt x="223800" y="0"/>
                      <a:pt x="230735" y="7565"/>
                      <a:pt x="230735" y="16391"/>
                    </a:cubicBezTo>
                    <a:lnTo>
                      <a:pt x="230735" y="299451"/>
                    </a:lnTo>
                    <a:cubicBezTo>
                      <a:pt x="230735" y="308907"/>
                      <a:pt x="223170" y="315842"/>
                      <a:pt x="214344" y="315842"/>
                    </a:cubicBezTo>
                    <a:lnTo>
                      <a:pt x="214344" y="315842"/>
                    </a:lnTo>
                    <a:close/>
                    <a:moveTo>
                      <a:pt x="32782" y="283060"/>
                    </a:moveTo>
                    <a:lnTo>
                      <a:pt x="197322" y="283060"/>
                    </a:lnTo>
                    <a:lnTo>
                      <a:pt x="197322" y="33412"/>
                    </a:lnTo>
                    <a:lnTo>
                      <a:pt x="32782" y="33412"/>
                    </a:lnTo>
                    <a:lnTo>
                      <a:pt x="32782" y="283060"/>
                    </a:lnTo>
                    <a:lnTo>
                      <a:pt x="32782" y="283060"/>
                    </a:ln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07" name="Forma Livre: Forma 106">
                <a:extLst>
                  <a:ext uri="{FF2B5EF4-FFF2-40B4-BE49-F238E27FC236}">
                    <a16:creationId xmlns:a16="http://schemas.microsoft.com/office/drawing/2014/main" id="{AA3AEF4D-DCD3-4958-82A5-979B1C73789F}"/>
                  </a:ext>
                </a:extLst>
              </p:cNvPr>
              <p:cNvSpPr/>
              <p:nvPr/>
            </p:nvSpPr>
            <p:spPr>
              <a:xfrm>
                <a:off x="5676138" y="2707894"/>
                <a:ext cx="16390" cy="290624"/>
              </a:xfrm>
              <a:custGeom>
                <a:avLst/>
                <a:gdLst>
                  <a:gd name="connsiteX0" fmla="*/ 8195 w 16390"/>
                  <a:gd name="connsiteY0" fmla="*/ 290625 h 290624"/>
                  <a:gd name="connsiteX1" fmla="*/ 0 w 16390"/>
                  <a:gd name="connsiteY1" fmla="*/ 282429 h 290624"/>
                  <a:gd name="connsiteX2" fmla="*/ 0 w 16390"/>
                  <a:gd name="connsiteY2" fmla="*/ 8195 h 290624"/>
                  <a:gd name="connsiteX3" fmla="*/ 8195 w 16390"/>
                  <a:gd name="connsiteY3" fmla="*/ 0 h 290624"/>
                  <a:gd name="connsiteX4" fmla="*/ 16391 w 16390"/>
                  <a:gd name="connsiteY4" fmla="*/ 8195 h 290624"/>
                  <a:gd name="connsiteX5" fmla="*/ 16391 w 16390"/>
                  <a:gd name="connsiteY5" fmla="*/ 282429 h 290624"/>
                  <a:gd name="connsiteX6" fmla="*/ 8195 w 16390"/>
                  <a:gd name="connsiteY6" fmla="*/ 290625 h 290624"/>
                  <a:gd name="connsiteX7" fmla="*/ 8195 w 16390"/>
                  <a:gd name="connsiteY7" fmla="*/ 290625 h 290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390" h="290624">
                    <a:moveTo>
                      <a:pt x="8195" y="290625"/>
                    </a:moveTo>
                    <a:cubicBezTo>
                      <a:pt x="3782" y="290625"/>
                      <a:pt x="0" y="286842"/>
                      <a:pt x="0" y="282429"/>
                    </a:cubicBezTo>
                    <a:lnTo>
                      <a:pt x="0" y="8195"/>
                    </a:lnTo>
                    <a:cubicBezTo>
                      <a:pt x="0" y="3782"/>
                      <a:pt x="3782" y="0"/>
                      <a:pt x="8195" y="0"/>
                    </a:cubicBezTo>
                    <a:cubicBezTo>
                      <a:pt x="12608" y="0"/>
                      <a:pt x="16391" y="3782"/>
                      <a:pt x="16391" y="8195"/>
                    </a:cubicBezTo>
                    <a:lnTo>
                      <a:pt x="16391" y="282429"/>
                    </a:lnTo>
                    <a:cubicBezTo>
                      <a:pt x="16391" y="286842"/>
                      <a:pt x="12608" y="290625"/>
                      <a:pt x="8195" y="290625"/>
                    </a:cubicBezTo>
                    <a:lnTo>
                      <a:pt x="8195" y="290625"/>
                    </a:ln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08" name="Forma Livre: Forma 107">
                <a:extLst>
                  <a:ext uri="{FF2B5EF4-FFF2-40B4-BE49-F238E27FC236}">
                    <a16:creationId xmlns:a16="http://schemas.microsoft.com/office/drawing/2014/main" id="{DDD6DAC1-1AAB-4D40-97A0-922711D445CF}"/>
                  </a:ext>
                </a:extLst>
              </p:cNvPr>
              <p:cNvSpPr/>
              <p:nvPr/>
            </p:nvSpPr>
            <p:spPr>
              <a:xfrm>
                <a:off x="5576531" y="2796153"/>
                <a:ext cx="215604" cy="16390"/>
              </a:xfrm>
              <a:custGeom>
                <a:avLst/>
                <a:gdLst>
                  <a:gd name="connsiteX0" fmla="*/ 207409 w 215604"/>
                  <a:gd name="connsiteY0" fmla="*/ 16391 h 16390"/>
                  <a:gd name="connsiteX1" fmla="*/ 8196 w 215604"/>
                  <a:gd name="connsiteY1" fmla="*/ 16391 h 16390"/>
                  <a:gd name="connsiteX2" fmla="*/ 0 w 215604"/>
                  <a:gd name="connsiteY2" fmla="*/ 8195 h 16390"/>
                  <a:gd name="connsiteX3" fmla="*/ 8196 w 215604"/>
                  <a:gd name="connsiteY3" fmla="*/ 0 h 16390"/>
                  <a:gd name="connsiteX4" fmla="*/ 207409 w 215604"/>
                  <a:gd name="connsiteY4" fmla="*/ 0 h 16390"/>
                  <a:gd name="connsiteX5" fmla="*/ 215605 w 215604"/>
                  <a:gd name="connsiteY5" fmla="*/ 8195 h 16390"/>
                  <a:gd name="connsiteX6" fmla="*/ 207409 w 215604"/>
                  <a:gd name="connsiteY6" fmla="*/ 16391 h 16390"/>
                  <a:gd name="connsiteX7" fmla="*/ 207409 w 215604"/>
                  <a:gd name="connsiteY7" fmla="*/ 16391 h 16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5604" h="16390">
                    <a:moveTo>
                      <a:pt x="207409" y="16391"/>
                    </a:moveTo>
                    <a:lnTo>
                      <a:pt x="8196" y="16391"/>
                    </a:lnTo>
                    <a:cubicBezTo>
                      <a:pt x="3783" y="16391"/>
                      <a:pt x="0" y="12608"/>
                      <a:pt x="0" y="8195"/>
                    </a:cubicBezTo>
                    <a:cubicBezTo>
                      <a:pt x="0" y="3782"/>
                      <a:pt x="3783" y="0"/>
                      <a:pt x="8196" y="0"/>
                    </a:cubicBezTo>
                    <a:lnTo>
                      <a:pt x="207409" y="0"/>
                    </a:lnTo>
                    <a:cubicBezTo>
                      <a:pt x="211822" y="0"/>
                      <a:pt x="215605" y="3782"/>
                      <a:pt x="215605" y="8195"/>
                    </a:cubicBezTo>
                    <a:cubicBezTo>
                      <a:pt x="215605" y="12608"/>
                      <a:pt x="211822" y="16391"/>
                      <a:pt x="207409" y="16391"/>
                    </a:cubicBezTo>
                    <a:lnTo>
                      <a:pt x="207409" y="16391"/>
                    </a:ln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09" name="Forma Livre: Forma 108">
                <a:extLst>
                  <a:ext uri="{FF2B5EF4-FFF2-40B4-BE49-F238E27FC236}">
                    <a16:creationId xmlns:a16="http://schemas.microsoft.com/office/drawing/2014/main" id="{A6ABBB9E-8FA7-4CFF-A312-5A497363EC12}"/>
                  </a:ext>
                </a:extLst>
              </p:cNvPr>
              <p:cNvSpPr/>
              <p:nvPr/>
            </p:nvSpPr>
            <p:spPr>
              <a:xfrm>
                <a:off x="5576531" y="2890716"/>
                <a:ext cx="215604" cy="16390"/>
              </a:xfrm>
              <a:custGeom>
                <a:avLst/>
                <a:gdLst>
                  <a:gd name="connsiteX0" fmla="*/ 207409 w 215604"/>
                  <a:gd name="connsiteY0" fmla="*/ 16391 h 16390"/>
                  <a:gd name="connsiteX1" fmla="*/ 8196 w 215604"/>
                  <a:gd name="connsiteY1" fmla="*/ 16391 h 16390"/>
                  <a:gd name="connsiteX2" fmla="*/ 0 w 215604"/>
                  <a:gd name="connsiteY2" fmla="*/ 8195 h 16390"/>
                  <a:gd name="connsiteX3" fmla="*/ 8196 w 215604"/>
                  <a:gd name="connsiteY3" fmla="*/ 0 h 16390"/>
                  <a:gd name="connsiteX4" fmla="*/ 207409 w 215604"/>
                  <a:gd name="connsiteY4" fmla="*/ 0 h 16390"/>
                  <a:gd name="connsiteX5" fmla="*/ 215605 w 215604"/>
                  <a:gd name="connsiteY5" fmla="*/ 8195 h 16390"/>
                  <a:gd name="connsiteX6" fmla="*/ 207409 w 215604"/>
                  <a:gd name="connsiteY6" fmla="*/ 16391 h 16390"/>
                  <a:gd name="connsiteX7" fmla="*/ 207409 w 215604"/>
                  <a:gd name="connsiteY7" fmla="*/ 16391 h 16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5604" h="16390">
                    <a:moveTo>
                      <a:pt x="207409" y="16391"/>
                    </a:moveTo>
                    <a:lnTo>
                      <a:pt x="8196" y="16391"/>
                    </a:lnTo>
                    <a:cubicBezTo>
                      <a:pt x="3783" y="16391"/>
                      <a:pt x="0" y="12608"/>
                      <a:pt x="0" y="8195"/>
                    </a:cubicBezTo>
                    <a:cubicBezTo>
                      <a:pt x="0" y="3782"/>
                      <a:pt x="3783" y="0"/>
                      <a:pt x="8196" y="0"/>
                    </a:cubicBezTo>
                    <a:lnTo>
                      <a:pt x="207409" y="0"/>
                    </a:lnTo>
                    <a:cubicBezTo>
                      <a:pt x="211822" y="0"/>
                      <a:pt x="215605" y="3782"/>
                      <a:pt x="215605" y="8195"/>
                    </a:cubicBezTo>
                    <a:cubicBezTo>
                      <a:pt x="215605" y="12608"/>
                      <a:pt x="211822" y="16391"/>
                      <a:pt x="207409" y="16391"/>
                    </a:cubicBezTo>
                    <a:lnTo>
                      <a:pt x="207409" y="16391"/>
                    </a:ln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110" name="Gráfico 2">
              <a:extLst>
                <a:ext uri="{FF2B5EF4-FFF2-40B4-BE49-F238E27FC236}">
                  <a16:creationId xmlns:a16="http://schemas.microsoft.com/office/drawing/2014/main" id="{1EC2913E-D059-42A1-91F3-F6BAB2F166E6}"/>
                </a:ext>
              </a:extLst>
            </p:cNvPr>
            <p:cNvGrpSpPr/>
            <p:nvPr/>
          </p:nvGrpSpPr>
          <p:grpSpPr>
            <a:xfrm>
              <a:off x="5386774" y="2596309"/>
              <a:ext cx="239560" cy="267299"/>
              <a:chOff x="5386774" y="2596309"/>
              <a:chExt cx="239560" cy="267299"/>
            </a:xfrm>
            <a:grpFill/>
          </p:grpSpPr>
          <p:sp>
            <p:nvSpPr>
              <p:cNvPr id="111" name="Forma Livre: Forma 110">
                <a:extLst>
                  <a:ext uri="{FF2B5EF4-FFF2-40B4-BE49-F238E27FC236}">
                    <a16:creationId xmlns:a16="http://schemas.microsoft.com/office/drawing/2014/main" id="{F9B419E2-FF7A-4159-A1AE-AE69BEE7A452}"/>
                  </a:ext>
                </a:extLst>
              </p:cNvPr>
              <p:cNvSpPr/>
              <p:nvPr/>
            </p:nvSpPr>
            <p:spPr>
              <a:xfrm>
                <a:off x="5459272" y="2830826"/>
                <a:ext cx="94563" cy="32781"/>
              </a:xfrm>
              <a:custGeom>
                <a:avLst/>
                <a:gdLst>
                  <a:gd name="connsiteX0" fmla="*/ 78173 w 94563"/>
                  <a:gd name="connsiteY0" fmla="*/ 32782 h 32781"/>
                  <a:gd name="connsiteX1" fmla="*/ 16391 w 94563"/>
                  <a:gd name="connsiteY1" fmla="*/ 32782 h 32781"/>
                  <a:gd name="connsiteX2" fmla="*/ 0 w 94563"/>
                  <a:gd name="connsiteY2" fmla="*/ 16391 h 32781"/>
                  <a:gd name="connsiteX3" fmla="*/ 16391 w 94563"/>
                  <a:gd name="connsiteY3" fmla="*/ 0 h 32781"/>
                  <a:gd name="connsiteX4" fmla="*/ 78173 w 94563"/>
                  <a:gd name="connsiteY4" fmla="*/ 0 h 32781"/>
                  <a:gd name="connsiteX5" fmla="*/ 94563 w 94563"/>
                  <a:gd name="connsiteY5" fmla="*/ 16391 h 32781"/>
                  <a:gd name="connsiteX6" fmla="*/ 78173 w 94563"/>
                  <a:gd name="connsiteY6" fmla="*/ 32782 h 32781"/>
                  <a:gd name="connsiteX7" fmla="*/ 78173 w 94563"/>
                  <a:gd name="connsiteY7" fmla="*/ 32782 h 32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4563" h="32781">
                    <a:moveTo>
                      <a:pt x="78173" y="32782"/>
                    </a:moveTo>
                    <a:lnTo>
                      <a:pt x="16391" y="32782"/>
                    </a:lnTo>
                    <a:cubicBezTo>
                      <a:pt x="6934" y="32782"/>
                      <a:pt x="0" y="25217"/>
                      <a:pt x="0" y="16391"/>
                    </a:cubicBezTo>
                    <a:cubicBezTo>
                      <a:pt x="0" y="6934"/>
                      <a:pt x="7565" y="0"/>
                      <a:pt x="16391" y="0"/>
                    </a:cubicBezTo>
                    <a:lnTo>
                      <a:pt x="78173" y="0"/>
                    </a:lnTo>
                    <a:cubicBezTo>
                      <a:pt x="87629" y="0"/>
                      <a:pt x="94563" y="7565"/>
                      <a:pt x="94563" y="16391"/>
                    </a:cubicBezTo>
                    <a:cubicBezTo>
                      <a:pt x="94563" y="25217"/>
                      <a:pt x="86998" y="32782"/>
                      <a:pt x="78173" y="32782"/>
                    </a:cubicBezTo>
                    <a:lnTo>
                      <a:pt x="78173" y="32782"/>
                    </a:ln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12" name="Forma Livre: Forma 111">
                <a:extLst>
                  <a:ext uri="{FF2B5EF4-FFF2-40B4-BE49-F238E27FC236}">
                    <a16:creationId xmlns:a16="http://schemas.microsoft.com/office/drawing/2014/main" id="{2F31CB67-4AE1-4475-AEEB-9DB496B4A9DE}"/>
                  </a:ext>
                </a:extLst>
              </p:cNvPr>
              <p:cNvSpPr/>
              <p:nvPr/>
            </p:nvSpPr>
            <p:spPr>
              <a:xfrm>
                <a:off x="5386774" y="2596309"/>
                <a:ext cx="32782" cy="69346"/>
              </a:xfrm>
              <a:custGeom>
                <a:avLst/>
                <a:gdLst>
                  <a:gd name="connsiteX0" fmla="*/ 16391 w 32782"/>
                  <a:gd name="connsiteY0" fmla="*/ 69346 h 69346"/>
                  <a:gd name="connsiteX1" fmla="*/ 0 w 32782"/>
                  <a:gd name="connsiteY1" fmla="*/ 52955 h 69346"/>
                  <a:gd name="connsiteX2" fmla="*/ 0 w 32782"/>
                  <a:gd name="connsiteY2" fmla="*/ 16391 h 69346"/>
                  <a:gd name="connsiteX3" fmla="*/ 16391 w 32782"/>
                  <a:gd name="connsiteY3" fmla="*/ 0 h 69346"/>
                  <a:gd name="connsiteX4" fmla="*/ 32782 w 32782"/>
                  <a:gd name="connsiteY4" fmla="*/ 16391 h 69346"/>
                  <a:gd name="connsiteX5" fmla="*/ 32782 w 32782"/>
                  <a:gd name="connsiteY5" fmla="*/ 52955 h 69346"/>
                  <a:gd name="connsiteX6" fmla="*/ 16391 w 32782"/>
                  <a:gd name="connsiteY6" fmla="*/ 69346 h 69346"/>
                  <a:gd name="connsiteX7" fmla="*/ 16391 w 32782"/>
                  <a:gd name="connsiteY7" fmla="*/ 69346 h 69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2782" h="69346">
                    <a:moveTo>
                      <a:pt x="16391" y="69346"/>
                    </a:moveTo>
                    <a:cubicBezTo>
                      <a:pt x="6934" y="69346"/>
                      <a:pt x="0" y="61781"/>
                      <a:pt x="0" y="52955"/>
                    </a:cubicBezTo>
                    <a:lnTo>
                      <a:pt x="0" y="16391"/>
                    </a:lnTo>
                    <a:cubicBezTo>
                      <a:pt x="0" y="6935"/>
                      <a:pt x="7565" y="0"/>
                      <a:pt x="16391" y="0"/>
                    </a:cubicBezTo>
                    <a:cubicBezTo>
                      <a:pt x="25847" y="0"/>
                      <a:pt x="32782" y="7565"/>
                      <a:pt x="32782" y="16391"/>
                    </a:cubicBezTo>
                    <a:lnTo>
                      <a:pt x="32782" y="52955"/>
                    </a:lnTo>
                    <a:cubicBezTo>
                      <a:pt x="32782" y="61781"/>
                      <a:pt x="25217" y="69346"/>
                      <a:pt x="16391" y="69346"/>
                    </a:cubicBezTo>
                    <a:lnTo>
                      <a:pt x="16391" y="69346"/>
                    </a:ln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13" name="Forma Livre: Forma 112">
                <a:extLst>
                  <a:ext uri="{FF2B5EF4-FFF2-40B4-BE49-F238E27FC236}">
                    <a16:creationId xmlns:a16="http://schemas.microsoft.com/office/drawing/2014/main" id="{3FA3682B-1BF4-4F4F-88AC-7052E3E0CA08}"/>
                  </a:ext>
                </a:extLst>
              </p:cNvPr>
              <p:cNvSpPr/>
              <p:nvPr/>
            </p:nvSpPr>
            <p:spPr>
              <a:xfrm>
                <a:off x="5593552" y="2596309"/>
                <a:ext cx="32782" cy="69346"/>
              </a:xfrm>
              <a:custGeom>
                <a:avLst/>
                <a:gdLst>
                  <a:gd name="connsiteX0" fmla="*/ 16391 w 32782"/>
                  <a:gd name="connsiteY0" fmla="*/ 69346 h 69346"/>
                  <a:gd name="connsiteX1" fmla="*/ 0 w 32782"/>
                  <a:gd name="connsiteY1" fmla="*/ 52955 h 69346"/>
                  <a:gd name="connsiteX2" fmla="*/ 0 w 32782"/>
                  <a:gd name="connsiteY2" fmla="*/ 16391 h 69346"/>
                  <a:gd name="connsiteX3" fmla="*/ 16391 w 32782"/>
                  <a:gd name="connsiteY3" fmla="*/ 0 h 69346"/>
                  <a:gd name="connsiteX4" fmla="*/ 32782 w 32782"/>
                  <a:gd name="connsiteY4" fmla="*/ 16391 h 69346"/>
                  <a:gd name="connsiteX5" fmla="*/ 32782 w 32782"/>
                  <a:gd name="connsiteY5" fmla="*/ 52955 h 69346"/>
                  <a:gd name="connsiteX6" fmla="*/ 16391 w 32782"/>
                  <a:gd name="connsiteY6" fmla="*/ 69346 h 69346"/>
                  <a:gd name="connsiteX7" fmla="*/ 16391 w 32782"/>
                  <a:gd name="connsiteY7" fmla="*/ 69346 h 69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2782" h="69346">
                    <a:moveTo>
                      <a:pt x="16391" y="69346"/>
                    </a:moveTo>
                    <a:cubicBezTo>
                      <a:pt x="6935" y="69346"/>
                      <a:pt x="0" y="61781"/>
                      <a:pt x="0" y="52955"/>
                    </a:cubicBezTo>
                    <a:lnTo>
                      <a:pt x="0" y="16391"/>
                    </a:lnTo>
                    <a:cubicBezTo>
                      <a:pt x="0" y="6935"/>
                      <a:pt x="7565" y="0"/>
                      <a:pt x="16391" y="0"/>
                    </a:cubicBezTo>
                    <a:cubicBezTo>
                      <a:pt x="25217" y="0"/>
                      <a:pt x="32782" y="7565"/>
                      <a:pt x="32782" y="16391"/>
                    </a:cubicBezTo>
                    <a:lnTo>
                      <a:pt x="32782" y="52955"/>
                    </a:lnTo>
                    <a:cubicBezTo>
                      <a:pt x="32782" y="61781"/>
                      <a:pt x="25217" y="69346"/>
                      <a:pt x="16391" y="69346"/>
                    </a:cubicBezTo>
                    <a:lnTo>
                      <a:pt x="16391" y="69346"/>
                    </a:ln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14" name="Forma Livre: Forma 113">
                <a:extLst>
                  <a:ext uri="{FF2B5EF4-FFF2-40B4-BE49-F238E27FC236}">
                    <a16:creationId xmlns:a16="http://schemas.microsoft.com/office/drawing/2014/main" id="{DB0F1296-D09D-495E-BAC1-D251C8DE70DF}"/>
                  </a:ext>
                </a:extLst>
              </p:cNvPr>
              <p:cNvSpPr/>
              <p:nvPr/>
            </p:nvSpPr>
            <p:spPr>
              <a:xfrm>
                <a:off x="5490163" y="2607657"/>
                <a:ext cx="32781" cy="250277"/>
              </a:xfrm>
              <a:custGeom>
                <a:avLst/>
                <a:gdLst>
                  <a:gd name="connsiteX0" fmla="*/ 16391 w 32781"/>
                  <a:gd name="connsiteY0" fmla="*/ 250278 h 250277"/>
                  <a:gd name="connsiteX1" fmla="*/ 0 w 32781"/>
                  <a:gd name="connsiteY1" fmla="*/ 233887 h 250277"/>
                  <a:gd name="connsiteX2" fmla="*/ 0 w 32781"/>
                  <a:gd name="connsiteY2" fmla="*/ 16391 h 250277"/>
                  <a:gd name="connsiteX3" fmla="*/ 16391 w 32781"/>
                  <a:gd name="connsiteY3" fmla="*/ 0 h 250277"/>
                  <a:gd name="connsiteX4" fmla="*/ 32782 w 32781"/>
                  <a:gd name="connsiteY4" fmla="*/ 16391 h 250277"/>
                  <a:gd name="connsiteX5" fmla="*/ 32782 w 32781"/>
                  <a:gd name="connsiteY5" fmla="*/ 233887 h 250277"/>
                  <a:gd name="connsiteX6" fmla="*/ 16391 w 32781"/>
                  <a:gd name="connsiteY6" fmla="*/ 250278 h 250277"/>
                  <a:gd name="connsiteX7" fmla="*/ 16391 w 32781"/>
                  <a:gd name="connsiteY7" fmla="*/ 250278 h 250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2781" h="250277">
                    <a:moveTo>
                      <a:pt x="16391" y="250278"/>
                    </a:moveTo>
                    <a:cubicBezTo>
                      <a:pt x="6934" y="250278"/>
                      <a:pt x="0" y="242713"/>
                      <a:pt x="0" y="233887"/>
                    </a:cubicBezTo>
                    <a:lnTo>
                      <a:pt x="0" y="16391"/>
                    </a:lnTo>
                    <a:cubicBezTo>
                      <a:pt x="0" y="6935"/>
                      <a:pt x="7565" y="0"/>
                      <a:pt x="16391" y="0"/>
                    </a:cubicBezTo>
                    <a:cubicBezTo>
                      <a:pt x="25847" y="0"/>
                      <a:pt x="32782" y="7565"/>
                      <a:pt x="32782" y="16391"/>
                    </a:cubicBezTo>
                    <a:lnTo>
                      <a:pt x="32782" y="233887"/>
                    </a:lnTo>
                    <a:cubicBezTo>
                      <a:pt x="32782" y="242713"/>
                      <a:pt x="25217" y="250278"/>
                      <a:pt x="16391" y="250278"/>
                    </a:cubicBezTo>
                    <a:lnTo>
                      <a:pt x="16391" y="250278"/>
                    </a:ln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15" name="Forma Livre: Forma 114">
                <a:extLst>
                  <a:ext uri="{FF2B5EF4-FFF2-40B4-BE49-F238E27FC236}">
                    <a16:creationId xmlns:a16="http://schemas.microsoft.com/office/drawing/2014/main" id="{5AF910E8-35AD-4BC1-AD0C-2370B5118C8B}"/>
                  </a:ext>
                </a:extLst>
              </p:cNvPr>
              <p:cNvSpPr/>
              <p:nvPr/>
            </p:nvSpPr>
            <p:spPr>
              <a:xfrm>
                <a:off x="5386774" y="2596309"/>
                <a:ext cx="239560" cy="32782"/>
              </a:xfrm>
              <a:custGeom>
                <a:avLst/>
                <a:gdLst>
                  <a:gd name="connsiteX0" fmla="*/ 223170 w 239560"/>
                  <a:gd name="connsiteY0" fmla="*/ 32782 h 32782"/>
                  <a:gd name="connsiteX1" fmla="*/ 16391 w 239560"/>
                  <a:gd name="connsiteY1" fmla="*/ 32782 h 32782"/>
                  <a:gd name="connsiteX2" fmla="*/ 0 w 239560"/>
                  <a:gd name="connsiteY2" fmla="*/ 16391 h 32782"/>
                  <a:gd name="connsiteX3" fmla="*/ 16391 w 239560"/>
                  <a:gd name="connsiteY3" fmla="*/ 0 h 32782"/>
                  <a:gd name="connsiteX4" fmla="*/ 223170 w 239560"/>
                  <a:gd name="connsiteY4" fmla="*/ 0 h 32782"/>
                  <a:gd name="connsiteX5" fmla="*/ 239561 w 239560"/>
                  <a:gd name="connsiteY5" fmla="*/ 16391 h 32782"/>
                  <a:gd name="connsiteX6" fmla="*/ 223170 w 239560"/>
                  <a:gd name="connsiteY6" fmla="*/ 32782 h 32782"/>
                  <a:gd name="connsiteX7" fmla="*/ 223170 w 239560"/>
                  <a:gd name="connsiteY7" fmla="*/ 32782 h 327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560" h="32782">
                    <a:moveTo>
                      <a:pt x="223170" y="32782"/>
                    </a:moveTo>
                    <a:lnTo>
                      <a:pt x="16391" y="32782"/>
                    </a:lnTo>
                    <a:cubicBezTo>
                      <a:pt x="6934" y="32782"/>
                      <a:pt x="0" y="25217"/>
                      <a:pt x="0" y="16391"/>
                    </a:cubicBezTo>
                    <a:cubicBezTo>
                      <a:pt x="0" y="6935"/>
                      <a:pt x="7565" y="0"/>
                      <a:pt x="16391" y="0"/>
                    </a:cubicBezTo>
                    <a:lnTo>
                      <a:pt x="223170" y="0"/>
                    </a:lnTo>
                    <a:cubicBezTo>
                      <a:pt x="232626" y="0"/>
                      <a:pt x="239561" y="7565"/>
                      <a:pt x="239561" y="16391"/>
                    </a:cubicBezTo>
                    <a:cubicBezTo>
                      <a:pt x="239561" y="25847"/>
                      <a:pt x="231995" y="32782"/>
                      <a:pt x="223170" y="32782"/>
                    </a:cubicBezTo>
                    <a:lnTo>
                      <a:pt x="223170" y="32782"/>
                    </a:ln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116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5396842" y="3634615"/>
            <a:ext cx="393402" cy="403470"/>
            <a:chOff x="5396842" y="3634615"/>
            <a:chExt cx="393402" cy="403470"/>
          </a:xfrm>
          <a:solidFill>
            <a:srgbClr val="B1B1A1"/>
          </a:solidFill>
        </p:grpSpPr>
        <p:sp>
          <p:nvSpPr>
            <p:cNvPr id="117" name="Forma Livre: Forma 116">
              <a:extLst>
                <a:ext uri="{FF2B5EF4-FFF2-40B4-BE49-F238E27FC236}">
                  <a16:creationId xmlns:a16="http://schemas.microsoft.com/office/drawing/2014/main" id="{22786885-2B83-4353-8AB7-D2CEB7A7D536}"/>
                </a:ext>
              </a:extLst>
            </p:cNvPr>
            <p:cNvSpPr/>
            <p:nvPr/>
          </p:nvSpPr>
          <p:spPr>
            <a:xfrm>
              <a:off x="5396842" y="3775174"/>
              <a:ext cx="192323" cy="262911"/>
            </a:xfrm>
            <a:custGeom>
              <a:avLst/>
              <a:gdLst>
                <a:gd name="connsiteX0" fmla="*/ 75039 w 192323"/>
                <a:gd name="connsiteY0" fmla="*/ 262912 h 262911"/>
                <a:gd name="connsiteX1" fmla="*/ 59278 w 192323"/>
                <a:gd name="connsiteY1" fmla="*/ 250934 h 262911"/>
                <a:gd name="connsiteX2" fmla="*/ 649 w 192323"/>
                <a:gd name="connsiteY2" fmla="*/ 51090 h 262911"/>
                <a:gd name="connsiteX3" fmla="*/ 11997 w 192323"/>
                <a:gd name="connsiteY3" fmla="*/ 30286 h 262911"/>
                <a:gd name="connsiteX4" fmla="*/ 112234 w 192323"/>
                <a:gd name="connsiteY4" fmla="*/ 656 h 262911"/>
                <a:gd name="connsiteX5" fmla="*/ 124843 w 192323"/>
                <a:gd name="connsiteY5" fmla="*/ 1917 h 262911"/>
                <a:gd name="connsiteX6" fmla="*/ 133038 w 192323"/>
                <a:gd name="connsiteY6" fmla="*/ 12004 h 262911"/>
                <a:gd name="connsiteX7" fmla="*/ 191667 w 192323"/>
                <a:gd name="connsiteY7" fmla="*/ 211847 h 262911"/>
                <a:gd name="connsiteX8" fmla="*/ 190406 w 192323"/>
                <a:gd name="connsiteY8" fmla="*/ 224456 h 262911"/>
                <a:gd name="connsiteX9" fmla="*/ 180320 w 192323"/>
                <a:gd name="connsiteY9" fmla="*/ 232652 h 262911"/>
                <a:gd name="connsiteX10" fmla="*/ 80082 w 192323"/>
                <a:gd name="connsiteY10" fmla="*/ 262281 h 262911"/>
                <a:gd name="connsiteX11" fmla="*/ 75039 w 192323"/>
                <a:gd name="connsiteY11" fmla="*/ 262912 h 262911"/>
                <a:gd name="connsiteX12" fmla="*/ 75039 w 192323"/>
                <a:gd name="connsiteY12" fmla="*/ 262912 h 262911"/>
                <a:gd name="connsiteX13" fmla="*/ 36583 w 192323"/>
                <a:gd name="connsiteY13" fmla="*/ 57394 h 262911"/>
                <a:gd name="connsiteX14" fmla="*/ 36583 w 192323"/>
                <a:gd name="connsiteY14" fmla="*/ 58024 h 262911"/>
                <a:gd name="connsiteX15" fmla="*/ 85756 w 192323"/>
                <a:gd name="connsiteY15" fmla="*/ 225086 h 262911"/>
                <a:gd name="connsiteX16" fmla="*/ 153842 w 192323"/>
                <a:gd name="connsiteY16" fmla="*/ 204913 h 262911"/>
                <a:gd name="connsiteX17" fmla="*/ 104038 w 192323"/>
                <a:gd name="connsiteY17" fmla="*/ 36590 h 262911"/>
                <a:gd name="connsiteX18" fmla="*/ 36583 w 192323"/>
                <a:gd name="connsiteY18" fmla="*/ 57394 h 262911"/>
                <a:gd name="connsiteX19" fmla="*/ 36583 w 192323"/>
                <a:gd name="connsiteY19" fmla="*/ 57394 h 262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2323" h="262911">
                  <a:moveTo>
                    <a:pt x="75039" y="262912"/>
                  </a:moveTo>
                  <a:cubicBezTo>
                    <a:pt x="68104" y="262912"/>
                    <a:pt x="61170" y="258499"/>
                    <a:pt x="59278" y="250934"/>
                  </a:cubicBezTo>
                  <a:lnTo>
                    <a:pt x="649" y="51090"/>
                  </a:lnTo>
                  <a:cubicBezTo>
                    <a:pt x="-1873" y="42264"/>
                    <a:pt x="3171" y="32808"/>
                    <a:pt x="11997" y="30286"/>
                  </a:cubicBezTo>
                  <a:lnTo>
                    <a:pt x="112234" y="656"/>
                  </a:lnTo>
                  <a:cubicBezTo>
                    <a:pt x="116647" y="-605"/>
                    <a:pt x="121060" y="26"/>
                    <a:pt x="124843" y="1917"/>
                  </a:cubicBezTo>
                  <a:cubicBezTo>
                    <a:pt x="128625" y="3808"/>
                    <a:pt x="131777" y="7591"/>
                    <a:pt x="133038" y="12004"/>
                  </a:cubicBezTo>
                  <a:lnTo>
                    <a:pt x="191667" y="211847"/>
                  </a:lnTo>
                  <a:cubicBezTo>
                    <a:pt x="192928" y="216260"/>
                    <a:pt x="192297" y="220673"/>
                    <a:pt x="190406" y="224456"/>
                  </a:cubicBezTo>
                  <a:cubicBezTo>
                    <a:pt x="188515" y="228239"/>
                    <a:pt x="184733" y="231391"/>
                    <a:pt x="180320" y="232652"/>
                  </a:cubicBezTo>
                  <a:lnTo>
                    <a:pt x="80082" y="262281"/>
                  </a:lnTo>
                  <a:cubicBezTo>
                    <a:pt x="78191" y="262281"/>
                    <a:pt x="76300" y="262912"/>
                    <a:pt x="75039" y="262912"/>
                  </a:cubicBezTo>
                  <a:lnTo>
                    <a:pt x="75039" y="262912"/>
                  </a:lnTo>
                  <a:close/>
                  <a:moveTo>
                    <a:pt x="36583" y="57394"/>
                  </a:moveTo>
                  <a:lnTo>
                    <a:pt x="36583" y="58024"/>
                  </a:lnTo>
                  <a:lnTo>
                    <a:pt x="85756" y="225086"/>
                  </a:lnTo>
                  <a:lnTo>
                    <a:pt x="153842" y="204913"/>
                  </a:lnTo>
                  <a:lnTo>
                    <a:pt x="104038" y="36590"/>
                  </a:lnTo>
                  <a:lnTo>
                    <a:pt x="36583" y="57394"/>
                  </a:lnTo>
                  <a:lnTo>
                    <a:pt x="36583" y="57394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18" name="Forma Livre: Forma 117">
              <a:extLst>
                <a:ext uri="{FF2B5EF4-FFF2-40B4-BE49-F238E27FC236}">
                  <a16:creationId xmlns:a16="http://schemas.microsoft.com/office/drawing/2014/main" id="{D33411AB-D18F-429C-9558-BAEE23840535}"/>
                </a:ext>
              </a:extLst>
            </p:cNvPr>
            <p:cNvSpPr/>
            <p:nvPr/>
          </p:nvSpPr>
          <p:spPr>
            <a:xfrm>
              <a:off x="5502062" y="3634615"/>
              <a:ext cx="288181" cy="324036"/>
            </a:xfrm>
            <a:custGeom>
              <a:avLst/>
              <a:gdLst>
                <a:gd name="connsiteX0" fmla="*/ 189836 w 288181"/>
                <a:gd name="connsiteY0" fmla="*/ 324037 h 324036"/>
                <a:gd name="connsiteX1" fmla="*/ 176597 w 288181"/>
                <a:gd name="connsiteY1" fmla="*/ 323407 h 324036"/>
                <a:gd name="connsiteX2" fmla="*/ 133728 w 288181"/>
                <a:gd name="connsiteY2" fmla="*/ 319624 h 324036"/>
                <a:gd name="connsiteX3" fmla="*/ 107881 w 288181"/>
                <a:gd name="connsiteY3" fmla="*/ 317102 h 324036"/>
                <a:gd name="connsiteX4" fmla="*/ 56817 w 288181"/>
                <a:gd name="connsiteY4" fmla="*/ 318363 h 324036"/>
                <a:gd name="connsiteX5" fmla="*/ 36643 w 288181"/>
                <a:gd name="connsiteY5" fmla="*/ 307016 h 324036"/>
                <a:gd name="connsiteX6" fmla="*/ 709 w 288181"/>
                <a:gd name="connsiteY6" fmla="*/ 185344 h 324036"/>
                <a:gd name="connsiteX7" fmla="*/ 6383 w 288181"/>
                <a:gd name="connsiteY7" fmla="*/ 167692 h 324036"/>
                <a:gd name="connsiteX8" fmla="*/ 77621 w 288181"/>
                <a:gd name="connsiteY8" fmla="*/ 88259 h 324036"/>
                <a:gd name="connsiteX9" fmla="*/ 81403 w 288181"/>
                <a:gd name="connsiteY9" fmla="*/ 33412 h 324036"/>
                <a:gd name="connsiteX10" fmla="*/ 87708 w 288181"/>
                <a:gd name="connsiteY10" fmla="*/ 13239 h 324036"/>
                <a:gd name="connsiteX11" fmla="*/ 123642 w 288181"/>
                <a:gd name="connsiteY11" fmla="*/ 0 h 324036"/>
                <a:gd name="connsiteX12" fmla="*/ 147598 w 288181"/>
                <a:gd name="connsiteY12" fmla="*/ 11348 h 324036"/>
                <a:gd name="connsiteX13" fmla="*/ 165249 w 288181"/>
                <a:gd name="connsiteY13" fmla="*/ 86368 h 324036"/>
                <a:gd name="connsiteX14" fmla="*/ 163358 w 288181"/>
                <a:gd name="connsiteY14" fmla="*/ 99607 h 324036"/>
                <a:gd name="connsiteX15" fmla="*/ 162097 w 288181"/>
                <a:gd name="connsiteY15" fmla="*/ 107802 h 324036"/>
                <a:gd name="connsiteX16" fmla="*/ 161467 w 288181"/>
                <a:gd name="connsiteY16" fmla="*/ 117258 h 324036"/>
                <a:gd name="connsiteX17" fmla="*/ 225770 w 288181"/>
                <a:gd name="connsiteY17" fmla="*/ 123563 h 324036"/>
                <a:gd name="connsiteX18" fmla="*/ 232705 w 288181"/>
                <a:gd name="connsiteY18" fmla="*/ 123563 h 324036"/>
                <a:gd name="connsiteX19" fmla="*/ 288182 w 288181"/>
                <a:gd name="connsiteY19" fmla="*/ 178410 h 324036"/>
                <a:gd name="connsiteX20" fmla="*/ 277465 w 288181"/>
                <a:gd name="connsiteY20" fmla="*/ 211192 h 324036"/>
                <a:gd name="connsiteX21" fmla="*/ 278095 w 288181"/>
                <a:gd name="connsiteY21" fmla="*/ 222539 h 324036"/>
                <a:gd name="connsiteX22" fmla="*/ 262335 w 288181"/>
                <a:gd name="connsiteY22" fmla="*/ 255321 h 324036"/>
                <a:gd name="connsiteX23" fmla="*/ 262335 w 288181"/>
                <a:gd name="connsiteY23" fmla="*/ 255951 h 324036"/>
                <a:gd name="connsiteX24" fmla="*/ 238378 w 288181"/>
                <a:gd name="connsiteY24" fmla="*/ 295038 h 324036"/>
                <a:gd name="connsiteX25" fmla="*/ 237118 w 288181"/>
                <a:gd name="connsiteY25" fmla="*/ 298820 h 324036"/>
                <a:gd name="connsiteX26" fmla="*/ 189836 w 288181"/>
                <a:gd name="connsiteY26" fmla="*/ 324037 h 324036"/>
                <a:gd name="connsiteX27" fmla="*/ 189836 w 288181"/>
                <a:gd name="connsiteY27" fmla="*/ 324037 h 324036"/>
                <a:gd name="connsiteX28" fmla="*/ 84555 w 288181"/>
                <a:gd name="connsiteY28" fmla="*/ 282429 h 324036"/>
                <a:gd name="connsiteX29" fmla="*/ 111033 w 288181"/>
                <a:gd name="connsiteY29" fmla="*/ 283690 h 324036"/>
                <a:gd name="connsiteX30" fmla="*/ 136880 w 288181"/>
                <a:gd name="connsiteY30" fmla="*/ 286212 h 324036"/>
                <a:gd name="connsiteX31" fmla="*/ 181010 w 288181"/>
                <a:gd name="connsiteY31" fmla="*/ 290625 h 324036"/>
                <a:gd name="connsiteX32" fmla="*/ 190466 w 288181"/>
                <a:gd name="connsiteY32" fmla="*/ 291255 h 324036"/>
                <a:gd name="connsiteX33" fmla="*/ 206857 w 288181"/>
                <a:gd name="connsiteY33" fmla="*/ 287473 h 324036"/>
                <a:gd name="connsiteX34" fmla="*/ 208118 w 288181"/>
                <a:gd name="connsiteY34" fmla="*/ 282429 h 324036"/>
                <a:gd name="connsiteX35" fmla="*/ 218835 w 288181"/>
                <a:gd name="connsiteY35" fmla="*/ 268560 h 324036"/>
                <a:gd name="connsiteX36" fmla="*/ 229553 w 288181"/>
                <a:gd name="connsiteY36" fmla="*/ 254690 h 324036"/>
                <a:gd name="connsiteX37" fmla="*/ 229553 w 288181"/>
                <a:gd name="connsiteY37" fmla="*/ 250908 h 324036"/>
                <a:gd name="connsiteX38" fmla="*/ 237748 w 288181"/>
                <a:gd name="connsiteY38" fmla="*/ 233887 h 324036"/>
                <a:gd name="connsiteX39" fmla="*/ 245313 w 288181"/>
                <a:gd name="connsiteY39" fmla="*/ 221278 h 324036"/>
                <a:gd name="connsiteX40" fmla="*/ 244052 w 288181"/>
                <a:gd name="connsiteY40" fmla="*/ 214344 h 324036"/>
                <a:gd name="connsiteX41" fmla="*/ 247835 w 288181"/>
                <a:gd name="connsiteY41" fmla="*/ 195431 h 324036"/>
                <a:gd name="connsiteX42" fmla="*/ 255400 w 288181"/>
                <a:gd name="connsiteY42" fmla="*/ 179670 h 324036"/>
                <a:gd name="connsiteX43" fmla="*/ 233335 w 288181"/>
                <a:gd name="connsiteY43" fmla="*/ 157606 h 324036"/>
                <a:gd name="connsiteX44" fmla="*/ 225770 w 288181"/>
                <a:gd name="connsiteY44" fmla="*/ 157606 h 324036"/>
                <a:gd name="connsiteX45" fmla="*/ 135620 w 288181"/>
                <a:gd name="connsiteY45" fmla="*/ 139954 h 324036"/>
                <a:gd name="connsiteX46" fmla="*/ 128685 w 288181"/>
                <a:gd name="connsiteY46" fmla="*/ 122302 h 324036"/>
                <a:gd name="connsiteX47" fmla="*/ 129315 w 288181"/>
                <a:gd name="connsiteY47" fmla="*/ 104650 h 324036"/>
                <a:gd name="connsiteX48" fmla="*/ 130576 w 288181"/>
                <a:gd name="connsiteY48" fmla="*/ 95194 h 324036"/>
                <a:gd name="connsiteX49" fmla="*/ 131837 w 288181"/>
                <a:gd name="connsiteY49" fmla="*/ 84477 h 324036"/>
                <a:gd name="connsiteX50" fmla="*/ 122381 w 288181"/>
                <a:gd name="connsiteY50" fmla="*/ 34673 h 324036"/>
                <a:gd name="connsiteX51" fmla="*/ 114816 w 288181"/>
                <a:gd name="connsiteY51" fmla="*/ 35934 h 324036"/>
                <a:gd name="connsiteX52" fmla="*/ 109142 w 288181"/>
                <a:gd name="connsiteY52" fmla="*/ 100237 h 324036"/>
                <a:gd name="connsiteX53" fmla="*/ 107881 w 288181"/>
                <a:gd name="connsiteY53" fmla="*/ 103389 h 324036"/>
                <a:gd name="connsiteX54" fmla="*/ 36013 w 288181"/>
                <a:gd name="connsiteY54" fmla="*/ 187236 h 324036"/>
                <a:gd name="connsiteX55" fmla="*/ 65012 w 288181"/>
                <a:gd name="connsiteY55" fmla="*/ 284320 h 324036"/>
                <a:gd name="connsiteX56" fmla="*/ 84555 w 288181"/>
                <a:gd name="connsiteY56" fmla="*/ 282429 h 324036"/>
                <a:gd name="connsiteX57" fmla="*/ 84555 w 288181"/>
                <a:gd name="connsiteY57" fmla="*/ 282429 h 324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88181" h="324036">
                  <a:moveTo>
                    <a:pt x="189836" y="324037"/>
                  </a:moveTo>
                  <a:cubicBezTo>
                    <a:pt x="185423" y="324037"/>
                    <a:pt x="180380" y="323407"/>
                    <a:pt x="176597" y="323407"/>
                  </a:cubicBezTo>
                  <a:cubicBezTo>
                    <a:pt x="166510" y="322146"/>
                    <a:pt x="151380" y="320885"/>
                    <a:pt x="133728" y="319624"/>
                  </a:cubicBezTo>
                  <a:lnTo>
                    <a:pt x="107881" y="317102"/>
                  </a:lnTo>
                  <a:cubicBezTo>
                    <a:pt x="80142" y="314581"/>
                    <a:pt x="64382" y="316472"/>
                    <a:pt x="56817" y="318363"/>
                  </a:cubicBezTo>
                  <a:cubicBezTo>
                    <a:pt x="47991" y="320255"/>
                    <a:pt x="39165" y="315211"/>
                    <a:pt x="36643" y="307016"/>
                  </a:cubicBezTo>
                  <a:lnTo>
                    <a:pt x="709" y="185344"/>
                  </a:lnTo>
                  <a:cubicBezTo>
                    <a:pt x="-1182" y="179040"/>
                    <a:pt x="709" y="172105"/>
                    <a:pt x="6383" y="167692"/>
                  </a:cubicBezTo>
                  <a:cubicBezTo>
                    <a:pt x="27817" y="150671"/>
                    <a:pt x="64382" y="110324"/>
                    <a:pt x="77621" y="88259"/>
                  </a:cubicBezTo>
                  <a:cubicBezTo>
                    <a:pt x="84555" y="64303"/>
                    <a:pt x="81403" y="34673"/>
                    <a:pt x="81403" y="33412"/>
                  </a:cubicBezTo>
                  <a:cubicBezTo>
                    <a:pt x="80773" y="25847"/>
                    <a:pt x="82664" y="18913"/>
                    <a:pt x="87708" y="13239"/>
                  </a:cubicBezTo>
                  <a:cubicBezTo>
                    <a:pt x="99055" y="630"/>
                    <a:pt x="121120" y="0"/>
                    <a:pt x="123642" y="0"/>
                  </a:cubicBezTo>
                  <a:cubicBezTo>
                    <a:pt x="132467" y="0"/>
                    <a:pt x="140663" y="3782"/>
                    <a:pt x="147598" y="11348"/>
                  </a:cubicBezTo>
                  <a:cubicBezTo>
                    <a:pt x="161467" y="26478"/>
                    <a:pt x="167771" y="53586"/>
                    <a:pt x="165249" y="86368"/>
                  </a:cubicBezTo>
                  <a:cubicBezTo>
                    <a:pt x="164619" y="90150"/>
                    <a:pt x="163989" y="94563"/>
                    <a:pt x="163358" y="99607"/>
                  </a:cubicBezTo>
                  <a:cubicBezTo>
                    <a:pt x="162728" y="102128"/>
                    <a:pt x="162728" y="104650"/>
                    <a:pt x="162097" y="107802"/>
                  </a:cubicBezTo>
                  <a:cubicBezTo>
                    <a:pt x="162097" y="110954"/>
                    <a:pt x="161467" y="114106"/>
                    <a:pt x="161467" y="117258"/>
                  </a:cubicBezTo>
                  <a:cubicBezTo>
                    <a:pt x="169032" y="120411"/>
                    <a:pt x="190466" y="123563"/>
                    <a:pt x="225770" y="123563"/>
                  </a:cubicBezTo>
                  <a:lnTo>
                    <a:pt x="232705" y="123563"/>
                  </a:lnTo>
                  <a:cubicBezTo>
                    <a:pt x="263595" y="123563"/>
                    <a:pt x="288182" y="148149"/>
                    <a:pt x="288182" y="178410"/>
                  </a:cubicBezTo>
                  <a:cubicBezTo>
                    <a:pt x="288182" y="190388"/>
                    <a:pt x="284400" y="201735"/>
                    <a:pt x="277465" y="211192"/>
                  </a:cubicBezTo>
                  <a:cubicBezTo>
                    <a:pt x="278095" y="214974"/>
                    <a:pt x="278726" y="218757"/>
                    <a:pt x="278095" y="222539"/>
                  </a:cubicBezTo>
                  <a:cubicBezTo>
                    <a:pt x="277465" y="235148"/>
                    <a:pt x="271791" y="247126"/>
                    <a:pt x="262335" y="255321"/>
                  </a:cubicBezTo>
                  <a:cubicBezTo>
                    <a:pt x="262335" y="255321"/>
                    <a:pt x="262335" y="255951"/>
                    <a:pt x="262335" y="255951"/>
                  </a:cubicBezTo>
                  <a:cubicBezTo>
                    <a:pt x="261704" y="272343"/>
                    <a:pt x="252248" y="286842"/>
                    <a:pt x="238378" y="295038"/>
                  </a:cubicBezTo>
                  <a:cubicBezTo>
                    <a:pt x="237748" y="296299"/>
                    <a:pt x="237748" y="297560"/>
                    <a:pt x="237118" y="298820"/>
                  </a:cubicBezTo>
                  <a:cubicBezTo>
                    <a:pt x="231444" y="315211"/>
                    <a:pt x="214422" y="324037"/>
                    <a:pt x="189836" y="324037"/>
                  </a:cubicBezTo>
                  <a:lnTo>
                    <a:pt x="189836" y="324037"/>
                  </a:lnTo>
                  <a:close/>
                  <a:moveTo>
                    <a:pt x="84555" y="282429"/>
                  </a:moveTo>
                  <a:cubicBezTo>
                    <a:pt x="92751" y="282429"/>
                    <a:pt x="101577" y="283060"/>
                    <a:pt x="111033" y="283690"/>
                  </a:cubicBezTo>
                  <a:lnTo>
                    <a:pt x="136880" y="286212"/>
                  </a:lnTo>
                  <a:cubicBezTo>
                    <a:pt x="155163" y="287473"/>
                    <a:pt x="170923" y="289364"/>
                    <a:pt x="181010" y="290625"/>
                  </a:cubicBezTo>
                  <a:cubicBezTo>
                    <a:pt x="183532" y="291255"/>
                    <a:pt x="186684" y="291255"/>
                    <a:pt x="190466" y="291255"/>
                  </a:cubicBezTo>
                  <a:cubicBezTo>
                    <a:pt x="201814" y="291255"/>
                    <a:pt x="206227" y="288733"/>
                    <a:pt x="206857" y="287473"/>
                  </a:cubicBezTo>
                  <a:cubicBezTo>
                    <a:pt x="207488" y="286212"/>
                    <a:pt x="208118" y="284320"/>
                    <a:pt x="208118" y="282429"/>
                  </a:cubicBezTo>
                  <a:cubicBezTo>
                    <a:pt x="208749" y="276125"/>
                    <a:pt x="213161" y="270451"/>
                    <a:pt x="218835" y="268560"/>
                  </a:cubicBezTo>
                  <a:cubicBezTo>
                    <a:pt x="225140" y="266038"/>
                    <a:pt x="229553" y="260995"/>
                    <a:pt x="229553" y="254690"/>
                  </a:cubicBezTo>
                  <a:cubicBezTo>
                    <a:pt x="229553" y="253430"/>
                    <a:pt x="229553" y="252169"/>
                    <a:pt x="229553" y="250908"/>
                  </a:cubicBezTo>
                  <a:cubicBezTo>
                    <a:pt x="228292" y="243974"/>
                    <a:pt x="231444" y="237039"/>
                    <a:pt x="237748" y="233887"/>
                  </a:cubicBezTo>
                  <a:cubicBezTo>
                    <a:pt x="242161" y="231365"/>
                    <a:pt x="245313" y="226321"/>
                    <a:pt x="245313" y="221278"/>
                  </a:cubicBezTo>
                  <a:cubicBezTo>
                    <a:pt x="245313" y="218757"/>
                    <a:pt x="245313" y="216235"/>
                    <a:pt x="244052" y="214344"/>
                  </a:cubicBezTo>
                  <a:cubicBezTo>
                    <a:pt x="240900" y="208039"/>
                    <a:pt x="242791" y="199844"/>
                    <a:pt x="247835" y="195431"/>
                  </a:cubicBezTo>
                  <a:cubicBezTo>
                    <a:pt x="252248" y="191018"/>
                    <a:pt x="255400" y="185344"/>
                    <a:pt x="255400" y="179670"/>
                  </a:cubicBezTo>
                  <a:cubicBezTo>
                    <a:pt x="255400" y="167692"/>
                    <a:pt x="245943" y="157606"/>
                    <a:pt x="233335" y="157606"/>
                  </a:cubicBezTo>
                  <a:cubicBezTo>
                    <a:pt x="233335" y="157606"/>
                    <a:pt x="230183" y="157606"/>
                    <a:pt x="225770" y="157606"/>
                  </a:cubicBezTo>
                  <a:cubicBezTo>
                    <a:pt x="152641" y="157606"/>
                    <a:pt x="139402" y="144367"/>
                    <a:pt x="135620" y="139954"/>
                  </a:cubicBezTo>
                  <a:cubicBezTo>
                    <a:pt x="130576" y="134910"/>
                    <a:pt x="128054" y="128606"/>
                    <a:pt x="128685" y="122302"/>
                  </a:cubicBezTo>
                  <a:cubicBezTo>
                    <a:pt x="128685" y="117258"/>
                    <a:pt x="128685" y="110954"/>
                    <a:pt x="129315" y="104650"/>
                  </a:cubicBezTo>
                  <a:cubicBezTo>
                    <a:pt x="129946" y="100868"/>
                    <a:pt x="129946" y="98346"/>
                    <a:pt x="130576" y="95194"/>
                  </a:cubicBezTo>
                  <a:cubicBezTo>
                    <a:pt x="131207" y="91411"/>
                    <a:pt x="131837" y="87629"/>
                    <a:pt x="131837" y="84477"/>
                  </a:cubicBezTo>
                  <a:cubicBezTo>
                    <a:pt x="134359" y="53586"/>
                    <a:pt x="126163" y="37825"/>
                    <a:pt x="122381" y="34673"/>
                  </a:cubicBezTo>
                  <a:cubicBezTo>
                    <a:pt x="119859" y="34673"/>
                    <a:pt x="117338" y="35304"/>
                    <a:pt x="114816" y="35934"/>
                  </a:cubicBezTo>
                  <a:cubicBezTo>
                    <a:pt x="115446" y="47912"/>
                    <a:pt x="116707" y="75651"/>
                    <a:pt x="109142" y="100237"/>
                  </a:cubicBezTo>
                  <a:cubicBezTo>
                    <a:pt x="108511" y="101498"/>
                    <a:pt x="108511" y="102128"/>
                    <a:pt x="107881" y="103389"/>
                  </a:cubicBezTo>
                  <a:cubicBezTo>
                    <a:pt x="95273" y="126715"/>
                    <a:pt x="60599" y="165171"/>
                    <a:pt x="36013" y="187236"/>
                  </a:cubicBezTo>
                  <a:lnTo>
                    <a:pt x="65012" y="284320"/>
                  </a:lnTo>
                  <a:cubicBezTo>
                    <a:pt x="70686" y="282429"/>
                    <a:pt x="77621" y="282429"/>
                    <a:pt x="84555" y="282429"/>
                  </a:cubicBezTo>
                  <a:lnTo>
                    <a:pt x="84555" y="282429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19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6431384" y="3663614"/>
            <a:ext cx="381888" cy="346102"/>
            <a:chOff x="6431384" y="3663614"/>
            <a:chExt cx="381888" cy="346102"/>
          </a:xfrm>
          <a:solidFill>
            <a:srgbClr val="B1B1A1"/>
          </a:solidFill>
        </p:grpSpPr>
        <p:sp>
          <p:nvSpPr>
            <p:cNvPr id="120" name="Forma Livre: Forma 119">
              <a:extLst>
                <a:ext uri="{FF2B5EF4-FFF2-40B4-BE49-F238E27FC236}">
                  <a16:creationId xmlns:a16="http://schemas.microsoft.com/office/drawing/2014/main" id="{A9282086-0E9B-4866-A487-C9312B0895AE}"/>
                </a:ext>
              </a:extLst>
            </p:cNvPr>
            <p:cNvSpPr/>
            <p:nvPr/>
          </p:nvSpPr>
          <p:spPr>
            <a:xfrm>
              <a:off x="6431384" y="3663614"/>
              <a:ext cx="137432" cy="242082"/>
            </a:xfrm>
            <a:custGeom>
              <a:avLst/>
              <a:gdLst>
                <a:gd name="connsiteX0" fmla="*/ 16391 w 137432"/>
                <a:gd name="connsiteY0" fmla="*/ 241452 h 242082"/>
                <a:gd name="connsiteX1" fmla="*/ 0 w 137432"/>
                <a:gd name="connsiteY1" fmla="*/ 225061 h 242082"/>
                <a:gd name="connsiteX2" fmla="*/ 0 w 137432"/>
                <a:gd name="connsiteY2" fmla="*/ 16391 h 242082"/>
                <a:gd name="connsiteX3" fmla="*/ 16391 w 137432"/>
                <a:gd name="connsiteY3" fmla="*/ 0 h 242082"/>
                <a:gd name="connsiteX4" fmla="*/ 121041 w 137432"/>
                <a:gd name="connsiteY4" fmla="*/ 0 h 242082"/>
                <a:gd name="connsiteX5" fmla="*/ 121041 w 137432"/>
                <a:gd name="connsiteY5" fmla="*/ 0 h 242082"/>
                <a:gd name="connsiteX6" fmla="*/ 137432 w 137432"/>
                <a:gd name="connsiteY6" fmla="*/ 16391 h 242082"/>
                <a:gd name="connsiteX7" fmla="*/ 137432 w 137432"/>
                <a:gd name="connsiteY7" fmla="*/ 225061 h 242082"/>
                <a:gd name="connsiteX8" fmla="*/ 132389 w 137432"/>
                <a:gd name="connsiteY8" fmla="*/ 237039 h 242082"/>
                <a:gd name="connsiteX9" fmla="*/ 120411 w 137432"/>
                <a:gd name="connsiteY9" fmla="*/ 242082 h 242082"/>
                <a:gd name="connsiteX10" fmla="*/ 16391 w 137432"/>
                <a:gd name="connsiteY10" fmla="*/ 241452 h 242082"/>
                <a:gd name="connsiteX11" fmla="*/ 16391 w 137432"/>
                <a:gd name="connsiteY11" fmla="*/ 241452 h 242082"/>
                <a:gd name="connsiteX12" fmla="*/ 16391 w 137432"/>
                <a:gd name="connsiteY12" fmla="*/ 241452 h 242082"/>
                <a:gd name="connsiteX13" fmla="*/ 32782 w 137432"/>
                <a:gd name="connsiteY13" fmla="*/ 32782 h 242082"/>
                <a:gd name="connsiteX14" fmla="*/ 32782 w 137432"/>
                <a:gd name="connsiteY14" fmla="*/ 208039 h 242082"/>
                <a:gd name="connsiteX15" fmla="*/ 104020 w 137432"/>
                <a:gd name="connsiteY15" fmla="*/ 208039 h 242082"/>
                <a:gd name="connsiteX16" fmla="*/ 104020 w 137432"/>
                <a:gd name="connsiteY16" fmla="*/ 32782 h 242082"/>
                <a:gd name="connsiteX17" fmla="*/ 32782 w 137432"/>
                <a:gd name="connsiteY17" fmla="*/ 32782 h 242082"/>
                <a:gd name="connsiteX18" fmla="*/ 32782 w 137432"/>
                <a:gd name="connsiteY18" fmla="*/ 32782 h 242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37432" h="242082">
                  <a:moveTo>
                    <a:pt x="16391" y="241452"/>
                  </a:moveTo>
                  <a:cubicBezTo>
                    <a:pt x="6934" y="241452"/>
                    <a:pt x="0" y="233887"/>
                    <a:pt x="0" y="225061"/>
                  </a:cubicBezTo>
                  <a:lnTo>
                    <a:pt x="0" y="16391"/>
                  </a:lnTo>
                  <a:cubicBezTo>
                    <a:pt x="0" y="6935"/>
                    <a:pt x="7565" y="0"/>
                    <a:pt x="16391" y="0"/>
                  </a:cubicBezTo>
                  <a:lnTo>
                    <a:pt x="121041" y="0"/>
                  </a:lnTo>
                  <a:lnTo>
                    <a:pt x="121041" y="0"/>
                  </a:lnTo>
                  <a:cubicBezTo>
                    <a:pt x="130498" y="0"/>
                    <a:pt x="137432" y="7565"/>
                    <a:pt x="137432" y="16391"/>
                  </a:cubicBezTo>
                  <a:lnTo>
                    <a:pt x="137432" y="225061"/>
                  </a:lnTo>
                  <a:cubicBezTo>
                    <a:pt x="137432" y="229474"/>
                    <a:pt x="135541" y="233887"/>
                    <a:pt x="132389" y="237039"/>
                  </a:cubicBezTo>
                  <a:cubicBezTo>
                    <a:pt x="129237" y="240191"/>
                    <a:pt x="124824" y="242082"/>
                    <a:pt x="120411" y="242082"/>
                  </a:cubicBezTo>
                  <a:lnTo>
                    <a:pt x="16391" y="241452"/>
                  </a:lnTo>
                  <a:lnTo>
                    <a:pt x="16391" y="241452"/>
                  </a:lnTo>
                  <a:lnTo>
                    <a:pt x="16391" y="241452"/>
                  </a:lnTo>
                  <a:close/>
                  <a:moveTo>
                    <a:pt x="32782" y="32782"/>
                  </a:moveTo>
                  <a:lnTo>
                    <a:pt x="32782" y="208039"/>
                  </a:lnTo>
                  <a:lnTo>
                    <a:pt x="104020" y="208039"/>
                  </a:lnTo>
                  <a:lnTo>
                    <a:pt x="104020" y="32782"/>
                  </a:lnTo>
                  <a:lnTo>
                    <a:pt x="32782" y="32782"/>
                  </a:lnTo>
                  <a:lnTo>
                    <a:pt x="32782" y="32782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21" name="Forma Livre: Forma 120">
              <a:extLst>
                <a:ext uri="{FF2B5EF4-FFF2-40B4-BE49-F238E27FC236}">
                  <a16:creationId xmlns:a16="http://schemas.microsoft.com/office/drawing/2014/main" id="{146EE0C9-65BC-4584-B1C5-B0DFE24DD270}"/>
                </a:ext>
              </a:extLst>
            </p:cNvPr>
            <p:cNvSpPr/>
            <p:nvPr/>
          </p:nvSpPr>
          <p:spPr>
            <a:xfrm>
              <a:off x="6534143" y="3675592"/>
              <a:ext cx="279129" cy="334123"/>
            </a:xfrm>
            <a:custGeom>
              <a:avLst/>
              <a:gdLst>
                <a:gd name="connsiteX0" fmla="*/ 151932 w 279129"/>
                <a:gd name="connsiteY0" fmla="*/ 334124 h 334123"/>
                <a:gd name="connsiteX1" fmla="*/ 151932 w 279129"/>
                <a:gd name="connsiteY1" fmla="*/ 334124 h 334123"/>
                <a:gd name="connsiteX2" fmla="*/ 120411 w 279129"/>
                <a:gd name="connsiteY2" fmla="*/ 312059 h 334123"/>
                <a:gd name="connsiteX3" fmla="*/ 101498 w 279129"/>
                <a:gd name="connsiteY3" fmla="*/ 260995 h 334123"/>
                <a:gd name="connsiteX4" fmla="*/ 10717 w 279129"/>
                <a:gd name="connsiteY4" fmla="*/ 204887 h 334123"/>
                <a:gd name="connsiteX5" fmla="*/ 0 w 279129"/>
                <a:gd name="connsiteY5" fmla="*/ 189757 h 334123"/>
                <a:gd name="connsiteX6" fmla="*/ 0 w 279129"/>
                <a:gd name="connsiteY6" fmla="*/ 62412 h 334123"/>
                <a:gd name="connsiteX7" fmla="*/ 15761 w 279129"/>
                <a:gd name="connsiteY7" fmla="*/ 46021 h 334123"/>
                <a:gd name="connsiteX8" fmla="*/ 42869 w 279129"/>
                <a:gd name="connsiteY8" fmla="*/ 40347 h 334123"/>
                <a:gd name="connsiteX9" fmla="*/ 64933 w 279129"/>
                <a:gd name="connsiteY9" fmla="*/ 32782 h 334123"/>
                <a:gd name="connsiteX10" fmla="*/ 89520 w 279129"/>
                <a:gd name="connsiteY10" fmla="*/ 23326 h 334123"/>
                <a:gd name="connsiteX11" fmla="*/ 129237 w 279129"/>
                <a:gd name="connsiteY11" fmla="*/ 7565 h 334123"/>
                <a:gd name="connsiteX12" fmla="*/ 141845 w 279129"/>
                <a:gd name="connsiteY12" fmla="*/ 3152 h 334123"/>
                <a:gd name="connsiteX13" fmla="*/ 163280 w 279129"/>
                <a:gd name="connsiteY13" fmla="*/ 0 h 334123"/>
                <a:gd name="connsiteX14" fmla="*/ 194170 w 279129"/>
                <a:gd name="connsiteY14" fmla="*/ 13869 h 334123"/>
                <a:gd name="connsiteX15" fmla="*/ 196061 w 279129"/>
                <a:gd name="connsiteY15" fmla="*/ 17021 h 334123"/>
                <a:gd name="connsiteX16" fmla="*/ 230104 w 279129"/>
                <a:gd name="connsiteY16" fmla="*/ 47912 h 334123"/>
                <a:gd name="connsiteX17" fmla="*/ 230104 w 279129"/>
                <a:gd name="connsiteY17" fmla="*/ 48542 h 334123"/>
                <a:gd name="connsiteX18" fmla="*/ 254691 w 279129"/>
                <a:gd name="connsiteY18" fmla="*/ 75651 h 334123"/>
                <a:gd name="connsiteX19" fmla="*/ 257212 w 279129"/>
                <a:gd name="connsiteY19" fmla="*/ 86998 h 334123"/>
                <a:gd name="connsiteX20" fmla="*/ 276756 w 279129"/>
                <a:gd name="connsiteY20" fmla="*/ 115367 h 334123"/>
                <a:gd name="connsiteX21" fmla="*/ 272343 w 279129"/>
                <a:gd name="connsiteY21" fmla="*/ 156975 h 334123"/>
                <a:gd name="connsiteX22" fmla="*/ 239561 w 279129"/>
                <a:gd name="connsiteY22" fmla="*/ 183453 h 334123"/>
                <a:gd name="connsiteX23" fmla="*/ 232626 w 279129"/>
                <a:gd name="connsiteY23" fmla="*/ 185344 h 334123"/>
                <a:gd name="connsiteX24" fmla="*/ 173366 w 279129"/>
                <a:gd name="connsiteY24" fmla="*/ 209931 h 334123"/>
                <a:gd name="connsiteX25" fmla="*/ 177149 w 279129"/>
                <a:gd name="connsiteY25" fmla="*/ 220017 h 334123"/>
                <a:gd name="connsiteX26" fmla="*/ 180301 w 279129"/>
                <a:gd name="connsiteY26" fmla="*/ 226321 h 334123"/>
                <a:gd name="connsiteX27" fmla="*/ 185344 w 279129"/>
                <a:gd name="connsiteY27" fmla="*/ 238300 h 334123"/>
                <a:gd name="connsiteX28" fmla="*/ 189757 w 279129"/>
                <a:gd name="connsiteY28" fmla="*/ 315211 h 334123"/>
                <a:gd name="connsiteX29" fmla="*/ 170214 w 279129"/>
                <a:gd name="connsiteY29" fmla="*/ 332863 h 334123"/>
                <a:gd name="connsiteX30" fmla="*/ 151932 w 279129"/>
                <a:gd name="connsiteY30" fmla="*/ 334124 h 334123"/>
                <a:gd name="connsiteX31" fmla="*/ 151932 w 279129"/>
                <a:gd name="connsiteY31" fmla="*/ 334124 h 334123"/>
                <a:gd name="connsiteX32" fmla="*/ 33412 w 279129"/>
                <a:gd name="connsiteY32" fmla="*/ 177779 h 334123"/>
                <a:gd name="connsiteX33" fmla="*/ 126085 w 279129"/>
                <a:gd name="connsiteY33" fmla="*/ 237669 h 334123"/>
                <a:gd name="connsiteX34" fmla="*/ 127976 w 279129"/>
                <a:gd name="connsiteY34" fmla="*/ 240191 h 334123"/>
                <a:gd name="connsiteX35" fmla="*/ 151932 w 279129"/>
                <a:gd name="connsiteY35" fmla="*/ 300081 h 334123"/>
                <a:gd name="connsiteX36" fmla="*/ 159497 w 279129"/>
                <a:gd name="connsiteY36" fmla="*/ 299451 h 334123"/>
                <a:gd name="connsiteX37" fmla="*/ 154454 w 279129"/>
                <a:gd name="connsiteY37" fmla="*/ 249017 h 334123"/>
                <a:gd name="connsiteX38" fmla="*/ 150040 w 279129"/>
                <a:gd name="connsiteY38" fmla="*/ 238930 h 334123"/>
                <a:gd name="connsiteX39" fmla="*/ 146258 w 279129"/>
                <a:gd name="connsiteY39" fmla="*/ 230735 h 334123"/>
                <a:gd name="connsiteX40" fmla="*/ 139954 w 279129"/>
                <a:gd name="connsiteY40" fmla="*/ 213083 h 334123"/>
                <a:gd name="connsiteX41" fmla="*/ 141845 w 279129"/>
                <a:gd name="connsiteY41" fmla="*/ 194800 h 334123"/>
                <a:gd name="connsiteX42" fmla="*/ 223800 w 279129"/>
                <a:gd name="connsiteY42" fmla="*/ 151932 h 334123"/>
                <a:gd name="connsiteX43" fmla="*/ 231365 w 279129"/>
                <a:gd name="connsiteY43" fmla="*/ 150040 h 334123"/>
                <a:gd name="connsiteX44" fmla="*/ 243974 w 279129"/>
                <a:gd name="connsiteY44" fmla="*/ 139954 h 334123"/>
                <a:gd name="connsiteX45" fmla="*/ 245865 w 279129"/>
                <a:gd name="connsiteY45" fmla="*/ 123563 h 334123"/>
                <a:gd name="connsiteX46" fmla="*/ 234517 w 279129"/>
                <a:gd name="connsiteY46" fmla="*/ 110324 h 334123"/>
                <a:gd name="connsiteX47" fmla="*/ 225061 w 279129"/>
                <a:gd name="connsiteY47" fmla="*/ 93302 h 334123"/>
                <a:gd name="connsiteX48" fmla="*/ 224430 w 279129"/>
                <a:gd name="connsiteY48" fmla="*/ 86368 h 334123"/>
                <a:gd name="connsiteX49" fmla="*/ 213083 w 279129"/>
                <a:gd name="connsiteY49" fmla="*/ 76281 h 334123"/>
                <a:gd name="connsiteX50" fmla="*/ 200474 w 279129"/>
                <a:gd name="connsiteY50" fmla="*/ 61781 h 334123"/>
                <a:gd name="connsiteX51" fmla="*/ 199844 w 279129"/>
                <a:gd name="connsiteY51" fmla="*/ 58629 h 334123"/>
                <a:gd name="connsiteX52" fmla="*/ 185344 w 279129"/>
                <a:gd name="connsiteY52" fmla="*/ 47912 h 334123"/>
                <a:gd name="connsiteX53" fmla="*/ 170844 w 279129"/>
                <a:gd name="connsiteY53" fmla="*/ 37825 h 334123"/>
                <a:gd name="connsiteX54" fmla="*/ 168323 w 279129"/>
                <a:gd name="connsiteY54" fmla="*/ 32782 h 334123"/>
                <a:gd name="connsiteX55" fmla="*/ 151932 w 279129"/>
                <a:gd name="connsiteY55" fmla="*/ 34043 h 334123"/>
                <a:gd name="connsiteX56" fmla="*/ 143106 w 279129"/>
                <a:gd name="connsiteY56" fmla="*/ 37195 h 334123"/>
                <a:gd name="connsiteX57" fmla="*/ 102129 w 279129"/>
                <a:gd name="connsiteY57" fmla="*/ 53586 h 334123"/>
                <a:gd name="connsiteX58" fmla="*/ 78173 w 279129"/>
                <a:gd name="connsiteY58" fmla="*/ 63042 h 334123"/>
                <a:gd name="connsiteX59" fmla="*/ 53586 w 279129"/>
                <a:gd name="connsiteY59" fmla="*/ 71868 h 334123"/>
                <a:gd name="connsiteX60" fmla="*/ 34043 w 279129"/>
                <a:gd name="connsiteY60" fmla="*/ 76912 h 334123"/>
                <a:gd name="connsiteX61" fmla="*/ 33412 w 279129"/>
                <a:gd name="connsiteY61" fmla="*/ 177779 h 334123"/>
                <a:gd name="connsiteX62" fmla="*/ 33412 w 279129"/>
                <a:gd name="connsiteY62" fmla="*/ 177779 h 334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279129" h="334123">
                  <a:moveTo>
                    <a:pt x="151932" y="334124"/>
                  </a:moveTo>
                  <a:lnTo>
                    <a:pt x="151932" y="334124"/>
                  </a:lnTo>
                  <a:cubicBezTo>
                    <a:pt x="126085" y="334124"/>
                    <a:pt x="121041" y="317102"/>
                    <a:pt x="120411" y="312059"/>
                  </a:cubicBezTo>
                  <a:cubicBezTo>
                    <a:pt x="120411" y="310798"/>
                    <a:pt x="114737" y="281799"/>
                    <a:pt x="101498" y="260995"/>
                  </a:cubicBezTo>
                  <a:cubicBezTo>
                    <a:pt x="82585" y="243343"/>
                    <a:pt x="35934" y="214974"/>
                    <a:pt x="10717" y="204887"/>
                  </a:cubicBezTo>
                  <a:cubicBezTo>
                    <a:pt x="4413" y="202365"/>
                    <a:pt x="630" y="196061"/>
                    <a:pt x="0" y="189757"/>
                  </a:cubicBezTo>
                  <a:lnTo>
                    <a:pt x="0" y="62412"/>
                  </a:lnTo>
                  <a:cubicBezTo>
                    <a:pt x="0" y="53586"/>
                    <a:pt x="6934" y="46021"/>
                    <a:pt x="15761" y="46021"/>
                  </a:cubicBezTo>
                  <a:cubicBezTo>
                    <a:pt x="20804" y="46021"/>
                    <a:pt x="29630" y="44760"/>
                    <a:pt x="42869" y="40347"/>
                  </a:cubicBezTo>
                  <a:cubicBezTo>
                    <a:pt x="49804" y="38456"/>
                    <a:pt x="56738" y="35934"/>
                    <a:pt x="64933" y="32782"/>
                  </a:cubicBezTo>
                  <a:lnTo>
                    <a:pt x="89520" y="23326"/>
                  </a:lnTo>
                  <a:cubicBezTo>
                    <a:pt x="105911" y="17021"/>
                    <a:pt x="120411" y="11348"/>
                    <a:pt x="129237" y="7565"/>
                  </a:cubicBezTo>
                  <a:cubicBezTo>
                    <a:pt x="133019" y="5674"/>
                    <a:pt x="137432" y="4413"/>
                    <a:pt x="141845" y="3152"/>
                  </a:cubicBezTo>
                  <a:cubicBezTo>
                    <a:pt x="149410" y="630"/>
                    <a:pt x="156345" y="0"/>
                    <a:pt x="163280" y="0"/>
                  </a:cubicBezTo>
                  <a:cubicBezTo>
                    <a:pt x="180301" y="0"/>
                    <a:pt x="189757" y="7565"/>
                    <a:pt x="194170" y="13869"/>
                  </a:cubicBezTo>
                  <a:cubicBezTo>
                    <a:pt x="194801" y="15130"/>
                    <a:pt x="195431" y="15761"/>
                    <a:pt x="196061" y="17021"/>
                  </a:cubicBezTo>
                  <a:cubicBezTo>
                    <a:pt x="211822" y="20804"/>
                    <a:pt x="224430" y="32151"/>
                    <a:pt x="230104" y="47912"/>
                  </a:cubicBezTo>
                  <a:cubicBezTo>
                    <a:pt x="230104" y="47912"/>
                    <a:pt x="230104" y="47912"/>
                    <a:pt x="230104" y="48542"/>
                  </a:cubicBezTo>
                  <a:cubicBezTo>
                    <a:pt x="241452" y="54216"/>
                    <a:pt x="250278" y="63673"/>
                    <a:pt x="254691" y="75651"/>
                  </a:cubicBezTo>
                  <a:cubicBezTo>
                    <a:pt x="255951" y="79433"/>
                    <a:pt x="256582" y="83216"/>
                    <a:pt x="257212" y="86998"/>
                  </a:cubicBezTo>
                  <a:cubicBezTo>
                    <a:pt x="266669" y="93933"/>
                    <a:pt x="273604" y="104020"/>
                    <a:pt x="276756" y="115367"/>
                  </a:cubicBezTo>
                  <a:cubicBezTo>
                    <a:pt x="281168" y="129237"/>
                    <a:pt x="279277" y="144367"/>
                    <a:pt x="272343" y="156975"/>
                  </a:cubicBezTo>
                  <a:cubicBezTo>
                    <a:pt x="265408" y="170214"/>
                    <a:pt x="253430" y="179040"/>
                    <a:pt x="239561" y="183453"/>
                  </a:cubicBezTo>
                  <a:lnTo>
                    <a:pt x="232626" y="185344"/>
                  </a:lnTo>
                  <a:cubicBezTo>
                    <a:pt x="199213" y="195431"/>
                    <a:pt x="179670" y="204887"/>
                    <a:pt x="173366" y="209931"/>
                  </a:cubicBezTo>
                  <a:cubicBezTo>
                    <a:pt x="174627" y="213083"/>
                    <a:pt x="175888" y="216235"/>
                    <a:pt x="177149" y="220017"/>
                  </a:cubicBezTo>
                  <a:cubicBezTo>
                    <a:pt x="177779" y="221909"/>
                    <a:pt x="179040" y="224430"/>
                    <a:pt x="180301" y="226321"/>
                  </a:cubicBezTo>
                  <a:cubicBezTo>
                    <a:pt x="182192" y="230735"/>
                    <a:pt x="184083" y="234517"/>
                    <a:pt x="185344" y="238300"/>
                  </a:cubicBezTo>
                  <a:cubicBezTo>
                    <a:pt x="197322" y="268560"/>
                    <a:pt x="198583" y="296299"/>
                    <a:pt x="189757" y="315211"/>
                  </a:cubicBezTo>
                  <a:cubicBezTo>
                    <a:pt x="185344" y="324037"/>
                    <a:pt x="178409" y="330341"/>
                    <a:pt x="170214" y="332863"/>
                  </a:cubicBezTo>
                  <a:cubicBezTo>
                    <a:pt x="167062" y="332233"/>
                    <a:pt x="159497" y="334124"/>
                    <a:pt x="151932" y="334124"/>
                  </a:cubicBezTo>
                  <a:lnTo>
                    <a:pt x="151932" y="334124"/>
                  </a:lnTo>
                  <a:close/>
                  <a:moveTo>
                    <a:pt x="33412" y="177779"/>
                  </a:moveTo>
                  <a:cubicBezTo>
                    <a:pt x="63673" y="191648"/>
                    <a:pt x="107172" y="218757"/>
                    <a:pt x="126085" y="237669"/>
                  </a:cubicBezTo>
                  <a:cubicBezTo>
                    <a:pt x="126715" y="238300"/>
                    <a:pt x="127345" y="239561"/>
                    <a:pt x="127976" y="240191"/>
                  </a:cubicBezTo>
                  <a:cubicBezTo>
                    <a:pt x="142475" y="261625"/>
                    <a:pt x="149410" y="288103"/>
                    <a:pt x="151932" y="300081"/>
                  </a:cubicBezTo>
                  <a:cubicBezTo>
                    <a:pt x="155084" y="300081"/>
                    <a:pt x="157606" y="299451"/>
                    <a:pt x="159497" y="299451"/>
                  </a:cubicBezTo>
                  <a:cubicBezTo>
                    <a:pt x="162649" y="295038"/>
                    <a:pt x="165801" y="278016"/>
                    <a:pt x="154454" y="249017"/>
                  </a:cubicBezTo>
                  <a:cubicBezTo>
                    <a:pt x="153193" y="245865"/>
                    <a:pt x="151932" y="242713"/>
                    <a:pt x="150040" y="238930"/>
                  </a:cubicBezTo>
                  <a:cubicBezTo>
                    <a:pt x="148780" y="236408"/>
                    <a:pt x="147519" y="233887"/>
                    <a:pt x="146258" y="230735"/>
                  </a:cubicBezTo>
                  <a:cubicBezTo>
                    <a:pt x="143736" y="223800"/>
                    <a:pt x="141845" y="218126"/>
                    <a:pt x="139954" y="213083"/>
                  </a:cubicBezTo>
                  <a:cubicBezTo>
                    <a:pt x="138063" y="207409"/>
                    <a:pt x="138693" y="200474"/>
                    <a:pt x="141845" y="194800"/>
                  </a:cubicBezTo>
                  <a:cubicBezTo>
                    <a:pt x="144997" y="189127"/>
                    <a:pt x="153193" y="172736"/>
                    <a:pt x="223800" y="151932"/>
                  </a:cubicBezTo>
                  <a:lnTo>
                    <a:pt x="231365" y="150040"/>
                  </a:lnTo>
                  <a:cubicBezTo>
                    <a:pt x="236408" y="148780"/>
                    <a:pt x="241452" y="144997"/>
                    <a:pt x="243974" y="139954"/>
                  </a:cubicBezTo>
                  <a:cubicBezTo>
                    <a:pt x="246495" y="134910"/>
                    <a:pt x="247126" y="129237"/>
                    <a:pt x="245865" y="123563"/>
                  </a:cubicBezTo>
                  <a:cubicBezTo>
                    <a:pt x="243974" y="117889"/>
                    <a:pt x="240191" y="112845"/>
                    <a:pt x="234517" y="110324"/>
                  </a:cubicBezTo>
                  <a:cubicBezTo>
                    <a:pt x="228213" y="107172"/>
                    <a:pt x="224430" y="100237"/>
                    <a:pt x="225061" y="93302"/>
                  </a:cubicBezTo>
                  <a:cubicBezTo>
                    <a:pt x="225691" y="90781"/>
                    <a:pt x="225061" y="88259"/>
                    <a:pt x="224430" y="86368"/>
                  </a:cubicBezTo>
                  <a:cubicBezTo>
                    <a:pt x="222539" y="81324"/>
                    <a:pt x="218757" y="78172"/>
                    <a:pt x="213083" y="76281"/>
                  </a:cubicBezTo>
                  <a:cubicBezTo>
                    <a:pt x="206148" y="74390"/>
                    <a:pt x="201105" y="68716"/>
                    <a:pt x="200474" y="61781"/>
                  </a:cubicBezTo>
                  <a:cubicBezTo>
                    <a:pt x="200474" y="60520"/>
                    <a:pt x="199844" y="59890"/>
                    <a:pt x="199844" y="58629"/>
                  </a:cubicBezTo>
                  <a:cubicBezTo>
                    <a:pt x="197322" y="52325"/>
                    <a:pt x="192279" y="48542"/>
                    <a:pt x="185344" y="47912"/>
                  </a:cubicBezTo>
                  <a:cubicBezTo>
                    <a:pt x="179040" y="47282"/>
                    <a:pt x="173366" y="43499"/>
                    <a:pt x="170844" y="37825"/>
                  </a:cubicBezTo>
                  <a:cubicBezTo>
                    <a:pt x="170214" y="35934"/>
                    <a:pt x="168953" y="34673"/>
                    <a:pt x="168323" y="32782"/>
                  </a:cubicBezTo>
                  <a:cubicBezTo>
                    <a:pt x="167692" y="32782"/>
                    <a:pt x="160127" y="31521"/>
                    <a:pt x="151932" y="34043"/>
                  </a:cubicBezTo>
                  <a:cubicBezTo>
                    <a:pt x="148780" y="34673"/>
                    <a:pt x="145627" y="35934"/>
                    <a:pt x="143106" y="37195"/>
                  </a:cubicBezTo>
                  <a:cubicBezTo>
                    <a:pt x="133650" y="41608"/>
                    <a:pt x="119150" y="47282"/>
                    <a:pt x="102129" y="53586"/>
                  </a:cubicBezTo>
                  <a:lnTo>
                    <a:pt x="78173" y="63042"/>
                  </a:lnTo>
                  <a:cubicBezTo>
                    <a:pt x="69346" y="66825"/>
                    <a:pt x="61151" y="69346"/>
                    <a:pt x="53586" y="71868"/>
                  </a:cubicBezTo>
                  <a:cubicBezTo>
                    <a:pt x="46651" y="73760"/>
                    <a:pt x="40347" y="75651"/>
                    <a:pt x="34043" y="76912"/>
                  </a:cubicBezTo>
                  <a:lnTo>
                    <a:pt x="33412" y="177779"/>
                  </a:lnTo>
                  <a:lnTo>
                    <a:pt x="33412" y="177779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22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7412303" y="3645332"/>
            <a:ext cx="466531" cy="382666"/>
            <a:chOff x="7412303" y="3645332"/>
            <a:chExt cx="466531" cy="382666"/>
          </a:xfrm>
          <a:solidFill>
            <a:srgbClr val="B1B1A1"/>
          </a:solidFill>
        </p:grpSpPr>
        <p:sp>
          <p:nvSpPr>
            <p:cNvPr id="123" name="Forma Livre: Forma 122">
              <a:extLst>
                <a:ext uri="{FF2B5EF4-FFF2-40B4-BE49-F238E27FC236}">
                  <a16:creationId xmlns:a16="http://schemas.microsoft.com/office/drawing/2014/main" id="{C269B1ED-E890-4E4E-948B-EF6A2550747E}"/>
                </a:ext>
              </a:extLst>
            </p:cNvPr>
            <p:cNvSpPr/>
            <p:nvPr/>
          </p:nvSpPr>
          <p:spPr>
            <a:xfrm>
              <a:off x="7412303" y="3777065"/>
              <a:ext cx="184120" cy="250933"/>
            </a:xfrm>
            <a:custGeom>
              <a:avLst/>
              <a:gdLst>
                <a:gd name="connsiteX0" fmla="*/ 72517 w 184120"/>
                <a:gd name="connsiteY0" fmla="*/ 250934 h 250933"/>
                <a:gd name="connsiteX1" fmla="*/ 56757 w 184120"/>
                <a:gd name="connsiteY1" fmla="*/ 238956 h 250933"/>
                <a:gd name="connsiteX2" fmla="*/ 649 w 184120"/>
                <a:gd name="connsiteY2" fmla="*/ 49198 h 250933"/>
                <a:gd name="connsiteX3" fmla="*/ 11997 w 184120"/>
                <a:gd name="connsiteY3" fmla="*/ 28394 h 250933"/>
                <a:gd name="connsiteX4" fmla="*/ 107190 w 184120"/>
                <a:gd name="connsiteY4" fmla="*/ 656 h 250933"/>
                <a:gd name="connsiteX5" fmla="*/ 119799 w 184120"/>
                <a:gd name="connsiteY5" fmla="*/ 1917 h 250933"/>
                <a:gd name="connsiteX6" fmla="*/ 127994 w 184120"/>
                <a:gd name="connsiteY6" fmla="*/ 12004 h 250933"/>
                <a:gd name="connsiteX7" fmla="*/ 183472 w 184120"/>
                <a:gd name="connsiteY7" fmla="*/ 201761 h 250933"/>
                <a:gd name="connsiteX8" fmla="*/ 172124 w 184120"/>
                <a:gd name="connsiteY8" fmla="*/ 222565 h 250933"/>
                <a:gd name="connsiteX9" fmla="*/ 76930 w 184120"/>
                <a:gd name="connsiteY9" fmla="*/ 250303 h 250933"/>
                <a:gd name="connsiteX10" fmla="*/ 72517 w 184120"/>
                <a:gd name="connsiteY10" fmla="*/ 250934 h 250933"/>
                <a:gd name="connsiteX11" fmla="*/ 72517 w 184120"/>
                <a:gd name="connsiteY11" fmla="*/ 250934 h 250933"/>
                <a:gd name="connsiteX12" fmla="*/ 37844 w 184120"/>
                <a:gd name="connsiteY12" fmla="*/ 56133 h 250933"/>
                <a:gd name="connsiteX13" fmla="*/ 84495 w 184120"/>
                <a:gd name="connsiteY13" fmla="*/ 213739 h 250933"/>
                <a:gd name="connsiteX14" fmla="*/ 147538 w 184120"/>
                <a:gd name="connsiteY14" fmla="*/ 195456 h 250933"/>
                <a:gd name="connsiteX15" fmla="*/ 100886 w 184120"/>
                <a:gd name="connsiteY15" fmla="*/ 37851 h 250933"/>
                <a:gd name="connsiteX16" fmla="*/ 37844 w 184120"/>
                <a:gd name="connsiteY16" fmla="*/ 56133 h 250933"/>
                <a:gd name="connsiteX17" fmla="*/ 37844 w 184120"/>
                <a:gd name="connsiteY17" fmla="*/ 56133 h 250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84120" h="250933">
                  <a:moveTo>
                    <a:pt x="72517" y="250934"/>
                  </a:moveTo>
                  <a:cubicBezTo>
                    <a:pt x="65583" y="250934"/>
                    <a:pt x="58648" y="246521"/>
                    <a:pt x="56757" y="238956"/>
                  </a:cubicBezTo>
                  <a:lnTo>
                    <a:pt x="649" y="49198"/>
                  </a:lnTo>
                  <a:cubicBezTo>
                    <a:pt x="-1873" y="40373"/>
                    <a:pt x="3171" y="30916"/>
                    <a:pt x="11997" y="28394"/>
                  </a:cubicBezTo>
                  <a:lnTo>
                    <a:pt x="107190" y="656"/>
                  </a:lnTo>
                  <a:cubicBezTo>
                    <a:pt x="111603" y="-605"/>
                    <a:pt x="116016" y="25"/>
                    <a:pt x="119799" y="1917"/>
                  </a:cubicBezTo>
                  <a:cubicBezTo>
                    <a:pt x="123582" y="3808"/>
                    <a:pt x="126734" y="7591"/>
                    <a:pt x="127994" y="12004"/>
                  </a:cubicBezTo>
                  <a:lnTo>
                    <a:pt x="183472" y="201761"/>
                  </a:lnTo>
                  <a:cubicBezTo>
                    <a:pt x="185993" y="210587"/>
                    <a:pt x="180950" y="220043"/>
                    <a:pt x="172124" y="222565"/>
                  </a:cubicBezTo>
                  <a:lnTo>
                    <a:pt x="76930" y="250303"/>
                  </a:lnTo>
                  <a:cubicBezTo>
                    <a:pt x="75669" y="250934"/>
                    <a:pt x="74408" y="250934"/>
                    <a:pt x="72517" y="250934"/>
                  </a:cubicBezTo>
                  <a:lnTo>
                    <a:pt x="72517" y="250934"/>
                  </a:lnTo>
                  <a:close/>
                  <a:moveTo>
                    <a:pt x="37844" y="56133"/>
                  </a:moveTo>
                  <a:lnTo>
                    <a:pt x="84495" y="213739"/>
                  </a:lnTo>
                  <a:lnTo>
                    <a:pt x="147538" y="195456"/>
                  </a:lnTo>
                  <a:lnTo>
                    <a:pt x="100886" y="37851"/>
                  </a:lnTo>
                  <a:lnTo>
                    <a:pt x="37844" y="56133"/>
                  </a:lnTo>
                  <a:lnTo>
                    <a:pt x="37844" y="56133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24" name="Forma Livre: Forma 123">
              <a:extLst>
                <a:ext uri="{FF2B5EF4-FFF2-40B4-BE49-F238E27FC236}">
                  <a16:creationId xmlns:a16="http://schemas.microsoft.com/office/drawing/2014/main" id="{4D0C7F14-BC59-4005-8B8C-26A4560D5A87}"/>
                </a:ext>
              </a:extLst>
            </p:cNvPr>
            <p:cNvSpPr/>
            <p:nvPr/>
          </p:nvSpPr>
          <p:spPr>
            <a:xfrm>
              <a:off x="7513110" y="3645332"/>
              <a:ext cx="365724" cy="307646"/>
            </a:xfrm>
            <a:custGeom>
              <a:avLst/>
              <a:gdLst>
                <a:gd name="connsiteX0" fmla="*/ 180380 w 365724"/>
                <a:gd name="connsiteY0" fmla="*/ 307646 h 307646"/>
                <a:gd name="connsiteX1" fmla="*/ 167771 w 365724"/>
                <a:gd name="connsiteY1" fmla="*/ 307016 h 307646"/>
                <a:gd name="connsiteX2" fmla="*/ 127424 w 365724"/>
                <a:gd name="connsiteY2" fmla="*/ 303233 h 307646"/>
                <a:gd name="connsiteX3" fmla="*/ 102838 w 365724"/>
                <a:gd name="connsiteY3" fmla="*/ 301342 h 307646"/>
                <a:gd name="connsiteX4" fmla="*/ 54926 w 365724"/>
                <a:gd name="connsiteY4" fmla="*/ 302603 h 307646"/>
                <a:gd name="connsiteX5" fmla="*/ 34752 w 365724"/>
                <a:gd name="connsiteY5" fmla="*/ 291255 h 307646"/>
                <a:gd name="connsiteX6" fmla="*/ 709 w 365724"/>
                <a:gd name="connsiteY6" fmla="*/ 175888 h 307646"/>
                <a:gd name="connsiteX7" fmla="*/ 6383 w 365724"/>
                <a:gd name="connsiteY7" fmla="*/ 158236 h 307646"/>
                <a:gd name="connsiteX8" fmla="*/ 73208 w 365724"/>
                <a:gd name="connsiteY8" fmla="*/ 83216 h 307646"/>
                <a:gd name="connsiteX9" fmla="*/ 76360 w 365724"/>
                <a:gd name="connsiteY9" fmla="*/ 32152 h 307646"/>
                <a:gd name="connsiteX10" fmla="*/ 82664 w 365724"/>
                <a:gd name="connsiteY10" fmla="*/ 12608 h 307646"/>
                <a:gd name="connsiteX11" fmla="*/ 117338 w 365724"/>
                <a:gd name="connsiteY11" fmla="*/ 0 h 307646"/>
                <a:gd name="connsiteX12" fmla="*/ 140663 w 365724"/>
                <a:gd name="connsiteY12" fmla="*/ 11348 h 307646"/>
                <a:gd name="connsiteX13" fmla="*/ 157684 w 365724"/>
                <a:gd name="connsiteY13" fmla="*/ 82585 h 307646"/>
                <a:gd name="connsiteX14" fmla="*/ 156423 w 365724"/>
                <a:gd name="connsiteY14" fmla="*/ 95194 h 307646"/>
                <a:gd name="connsiteX15" fmla="*/ 155163 w 365724"/>
                <a:gd name="connsiteY15" fmla="*/ 102759 h 307646"/>
                <a:gd name="connsiteX16" fmla="*/ 154532 w 365724"/>
                <a:gd name="connsiteY16" fmla="*/ 109063 h 307646"/>
                <a:gd name="connsiteX17" fmla="*/ 262965 w 365724"/>
                <a:gd name="connsiteY17" fmla="*/ 116628 h 307646"/>
                <a:gd name="connsiteX18" fmla="*/ 320964 w 365724"/>
                <a:gd name="connsiteY18" fmla="*/ 115367 h 307646"/>
                <a:gd name="connsiteX19" fmla="*/ 320964 w 365724"/>
                <a:gd name="connsiteY19" fmla="*/ 115367 h 307646"/>
                <a:gd name="connsiteX20" fmla="*/ 365724 w 365724"/>
                <a:gd name="connsiteY20" fmla="*/ 162649 h 307646"/>
                <a:gd name="connsiteX21" fmla="*/ 321595 w 365724"/>
                <a:gd name="connsiteY21" fmla="*/ 213083 h 307646"/>
                <a:gd name="connsiteX22" fmla="*/ 264226 w 365724"/>
                <a:gd name="connsiteY22" fmla="*/ 211822 h 307646"/>
                <a:gd name="connsiteX23" fmla="*/ 249726 w 365724"/>
                <a:gd name="connsiteY23" fmla="*/ 242713 h 307646"/>
                <a:gd name="connsiteX24" fmla="*/ 249726 w 365724"/>
                <a:gd name="connsiteY24" fmla="*/ 242713 h 307646"/>
                <a:gd name="connsiteX25" fmla="*/ 227031 w 365724"/>
                <a:gd name="connsiteY25" fmla="*/ 280538 h 307646"/>
                <a:gd name="connsiteX26" fmla="*/ 225770 w 365724"/>
                <a:gd name="connsiteY26" fmla="*/ 283690 h 307646"/>
                <a:gd name="connsiteX27" fmla="*/ 180380 w 365724"/>
                <a:gd name="connsiteY27" fmla="*/ 307646 h 307646"/>
                <a:gd name="connsiteX28" fmla="*/ 180380 w 365724"/>
                <a:gd name="connsiteY28" fmla="*/ 307646 h 307646"/>
                <a:gd name="connsiteX29" fmla="*/ 80773 w 365724"/>
                <a:gd name="connsiteY29" fmla="*/ 266669 h 307646"/>
                <a:gd name="connsiteX30" fmla="*/ 105990 w 365724"/>
                <a:gd name="connsiteY30" fmla="*/ 267930 h 307646"/>
                <a:gd name="connsiteX31" fmla="*/ 130576 w 365724"/>
                <a:gd name="connsiteY31" fmla="*/ 269821 h 307646"/>
                <a:gd name="connsiteX32" fmla="*/ 172815 w 365724"/>
                <a:gd name="connsiteY32" fmla="*/ 273603 h 307646"/>
                <a:gd name="connsiteX33" fmla="*/ 181640 w 365724"/>
                <a:gd name="connsiteY33" fmla="*/ 274234 h 307646"/>
                <a:gd name="connsiteX34" fmla="*/ 196140 w 365724"/>
                <a:gd name="connsiteY34" fmla="*/ 271082 h 307646"/>
                <a:gd name="connsiteX35" fmla="*/ 196771 w 365724"/>
                <a:gd name="connsiteY35" fmla="*/ 266669 h 307646"/>
                <a:gd name="connsiteX36" fmla="*/ 207487 w 365724"/>
                <a:gd name="connsiteY36" fmla="*/ 252799 h 307646"/>
                <a:gd name="connsiteX37" fmla="*/ 216944 w 365724"/>
                <a:gd name="connsiteY37" fmla="*/ 240191 h 307646"/>
                <a:gd name="connsiteX38" fmla="*/ 216944 w 365724"/>
                <a:gd name="connsiteY38" fmla="*/ 237039 h 307646"/>
                <a:gd name="connsiteX39" fmla="*/ 225140 w 365724"/>
                <a:gd name="connsiteY39" fmla="*/ 219387 h 307646"/>
                <a:gd name="connsiteX40" fmla="*/ 232074 w 365724"/>
                <a:gd name="connsiteY40" fmla="*/ 208040 h 307646"/>
                <a:gd name="connsiteX41" fmla="*/ 230814 w 365724"/>
                <a:gd name="connsiteY41" fmla="*/ 201735 h 307646"/>
                <a:gd name="connsiteX42" fmla="*/ 234596 w 365724"/>
                <a:gd name="connsiteY42" fmla="*/ 182823 h 307646"/>
                <a:gd name="connsiteX43" fmla="*/ 266747 w 365724"/>
                <a:gd name="connsiteY43" fmla="*/ 177149 h 307646"/>
                <a:gd name="connsiteX44" fmla="*/ 322855 w 365724"/>
                <a:gd name="connsiteY44" fmla="*/ 178410 h 307646"/>
                <a:gd name="connsiteX45" fmla="*/ 333572 w 365724"/>
                <a:gd name="connsiteY45" fmla="*/ 161388 h 307646"/>
                <a:gd name="connsiteX46" fmla="*/ 322225 w 365724"/>
                <a:gd name="connsiteY46" fmla="*/ 147519 h 307646"/>
                <a:gd name="connsiteX47" fmla="*/ 263595 w 365724"/>
                <a:gd name="connsiteY47" fmla="*/ 148780 h 307646"/>
                <a:gd name="connsiteX48" fmla="*/ 121750 w 365724"/>
                <a:gd name="connsiteY48" fmla="*/ 115998 h 307646"/>
                <a:gd name="connsiteX49" fmla="*/ 122381 w 365724"/>
                <a:gd name="connsiteY49" fmla="*/ 98346 h 307646"/>
                <a:gd name="connsiteX50" fmla="*/ 123642 w 365724"/>
                <a:gd name="connsiteY50" fmla="*/ 88890 h 307646"/>
                <a:gd name="connsiteX51" fmla="*/ 124902 w 365724"/>
                <a:gd name="connsiteY51" fmla="*/ 78803 h 307646"/>
                <a:gd name="connsiteX52" fmla="*/ 116077 w 365724"/>
                <a:gd name="connsiteY52" fmla="*/ 32152 h 307646"/>
                <a:gd name="connsiteX53" fmla="*/ 110403 w 365724"/>
                <a:gd name="connsiteY53" fmla="*/ 33413 h 307646"/>
                <a:gd name="connsiteX54" fmla="*/ 104729 w 365724"/>
                <a:gd name="connsiteY54" fmla="*/ 93933 h 307646"/>
                <a:gd name="connsiteX55" fmla="*/ 103468 w 365724"/>
                <a:gd name="connsiteY55" fmla="*/ 97085 h 307646"/>
                <a:gd name="connsiteX56" fmla="*/ 36013 w 365724"/>
                <a:gd name="connsiteY56" fmla="*/ 176519 h 307646"/>
                <a:gd name="connsiteX57" fmla="*/ 63121 w 365724"/>
                <a:gd name="connsiteY57" fmla="*/ 267299 h 307646"/>
                <a:gd name="connsiteX58" fmla="*/ 80773 w 365724"/>
                <a:gd name="connsiteY58" fmla="*/ 266669 h 307646"/>
                <a:gd name="connsiteX59" fmla="*/ 80773 w 365724"/>
                <a:gd name="connsiteY59" fmla="*/ 266669 h 307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365724" h="307646">
                  <a:moveTo>
                    <a:pt x="180380" y="307646"/>
                  </a:moveTo>
                  <a:cubicBezTo>
                    <a:pt x="175967" y="307646"/>
                    <a:pt x="171554" y="307016"/>
                    <a:pt x="167771" y="307016"/>
                  </a:cubicBezTo>
                  <a:cubicBezTo>
                    <a:pt x="158315" y="305755"/>
                    <a:pt x="143815" y="304494"/>
                    <a:pt x="127424" y="303233"/>
                  </a:cubicBezTo>
                  <a:lnTo>
                    <a:pt x="102838" y="301342"/>
                  </a:lnTo>
                  <a:cubicBezTo>
                    <a:pt x="76990" y="298820"/>
                    <a:pt x="61230" y="301342"/>
                    <a:pt x="54926" y="302603"/>
                  </a:cubicBezTo>
                  <a:cubicBezTo>
                    <a:pt x="46730" y="304494"/>
                    <a:pt x="37274" y="299451"/>
                    <a:pt x="34752" y="291255"/>
                  </a:cubicBezTo>
                  <a:lnTo>
                    <a:pt x="709" y="175888"/>
                  </a:lnTo>
                  <a:cubicBezTo>
                    <a:pt x="-1182" y="169584"/>
                    <a:pt x="709" y="162649"/>
                    <a:pt x="6383" y="158236"/>
                  </a:cubicBezTo>
                  <a:cubicBezTo>
                    <a:pt x="26557" y="142476"/>
                    <a:pt x="61230" y="104650"/>
                    <a:pt x="73208" y="83216"/>
                  </a:cubicBezTo>
                  <a:cubicBezTo>
                    <a:pt x="78251" y="64934"/>
                    <a:pt x="77621" y="41608"/>
                    <a:pt x="76360" y="32152"/>
                  </a:cubicBezTo>
                  <a:cubicBezTo>
                    <a:pt x="75729" y="25217"/>
                    <a:pt x="77621" y="18282"/>
                    <a:pt x="82664" y="12608"/>
                  </a:cubicBezTo>
                  <a:cubicBezTo>
                    <a:pt x="94012" y="0"/>
                    <a:pt x="114816" y="0"/>
                    <a:pt x="117338" y="0"/>
                  </a:cubicBezTo>
                  <a:cubicBezTo>
                    <a:pt x="125533" y="0"/>
                    <a:pt x="134359" y="3783"/>
                    <a:pt x="140663" y="11348"/>
                  </a:cubicBezTo>
                  <a:cubicBezTo>
                    <a:pt x="153902" y="25847"/>
                    <a:pt x="160206" y="51695"/>
                    <a:pt x="157684" y="82585"/>
                  </a:cubicBezTo>
                  <a:cubicBezTo>
                    <a:pt x="157054" y="86368"/>
                    <a:pt x="157054" y="90781"/>
                    <a:pt x="156423" y="95194"/>
                  </a:cubicBezTo>
                  <a:cubicBezTo>
                    <a:pt x="155793" y="97716"/>
                    <a:pt x="155793" y="100237"/>
                    <a:pt x="155163" y="102759"/>
                  </a:cubicBezTo>
                  <a:cubicBezTo>
                    <a:pt x="155163" y="105280"/>
                    <a:pt x="154532" y="107172"/>
                    <a:pt x="154532" y="109063"/>
                  </a:cubicBezTo>
                  <a:cubicBezTo>
                    <a:pt x="163358" y="111585"/>
                    <a:pt x="189836" y="116628"/>
                    <a:pt x="262965" y="116628"/>
                  </a:cubicBezTo>
                  <a:cubicBezTo>
                    <a:pt x="295116" y="116628"/>
                    <a:pt x="320964" y="115367"/>
                    <a:pt x="320964" y="115367"/>
                  </a:cubicBezTo>
                  <a:lnTo>
                    <a:pt x="320964" y="115367"/>
                  </a:lnTo>
                  <a:cubicBezTo>
                    <a:pt x="345550" y="115367"/>
                    <a:pt x="365724" y="137432"/>
                    <a:pt x="365724" y="162649"/>
                  </a:cubicBezTo>
                  <a:cubicBezTo>
                    <a:pt x="365724" y="186605"/>
                    <a:pt x="346811" y="213083"/>
                    <a:pt x="321595" y="213083"/>
                  </a:cubicBezTo>
                  <a:cubicBezTo>
                    <a:pt x="320964" y="213083"/>
                    <a:pt x="285660" y="211822"/>
                    <a:pt x="264226" y="211822"/>
                  </a:cubicBezTo>
                  <a:cubicBezTo>
                    <a:pt x="263595" y="223800"/>
                    <a:pt x="257921" y="234517"/>
                    <a:pt x="249726" y="242713"/>
                  </a:cubicBezTo>
                  <a:cubicBezTo>
                    <a:pt x="249726" y="242713"/>
                    <a:pt x="249726" y="242713"/>
                    <a:pt x="249726" y="242713"/>
                  </a:cubicBezTo>
                  <a:cubicBezTo>
                    <a:pt x="249096" y="258473"/>
                    <a:pt x="240270" y="272342"/>
                    <a:pt x="227031" y="280538"/>
                  </a:cubicBezTo>
                  <a:cubicBezTo>
                    <a:pt x="227031" y="281799"/>
                    <a:pt x="226400" y="282429"/>
                    <a:pt x="225770" y="283690"/>
                  </a:cubicBezTo>
                  <a:cubicBezTo>
                    <a:pt x="223248" y="292516"/>
                    <a:pt x="212531" y="307646"/>
                    <a:pt x="180380" y="307646"/>
                  </a:cubicBezTo>
                  <a:lnTo>
                    <a:pt x="180380" y="307646"/>
                  </a:lnTo>
                  <a:close/>
                  <a:moveTo>
                    <a:pt x="80773" y="266669"/>
                  </a:moveTo>
                  <a:cubicBezTo>
                    <a:pt x="88338" y="266669"/>
                    <a:pt x="97164" y="267299"/>
                    <a:pt x="105990" y="267930"/>
                  </a:cubicBezTo>
                  <a:lnTo>
                    <a:pt x="130576" y="269821"/>
                  </a:lnTo>
                  <a:cubicBezTo>
                    <a:pt x="147598" y="271082"/>
                    <a:pt x="162728" y="272342"/>
                    <a:pt x="172815" y="273603"/>
                  </a:cubicBezTo>
                  <a:cubicBezTo>
                    <a:pt x="175336" y="273603"/>
                    <a:pt x="178488" y="274234"/>
                    <a:pt x="181640" y="274234"/>
                  </a:cubicBezTo>
                  <a:cubicBezTo>
                    <a:pt x="191727" y="274234"/>
                    <a:pt x="196140" y="271712"/>
                    <a:pt x="196140" y="271082"/>
                  </a:cubicBezTo>
                  <a:cubicBezTo>
                    <a:pt x="196771" y="269821"/>
                    <a:pt x="196771" y="268560"/>
                    <a:pt x="196771" y="266669"/>
                  </a:cubicBezTo>
                  <a:cubicBezTo>
                    <a:pt x="197401" y="260365"/>
                    <a:pt x="201814" y="254691"/>
                    <a:pt x="207487" y="252799"/>
                  </a:cubicBezTo>
                  <a:cubicBezTo>
                    <a:pt x="213161" y="250908"/>
                    <a:pt x="216944" y="245865"/>
                    <a:pt x="216944" y="240191"/>
                  </a:cubicBezTo>
                  <a:cubicBezTo>
                    <a:pt x="216944" y="238930"/>
                    <a:pt x="216944" y="238300"/>
                    <a:pt x="216944" y="237039"/>
                  </a:cubicBezTo>
                  <a:cubicBezTo>
                    <a:pt x="215683" y="230104"/>
                    <a:pt x="218835" y="223170"/>
                    <a:pt x="225140" y="219387"/>
                  </a:cubicBezTo>
                  <a:cubicBezTo>
                    <a:pt x="229552" y="216865"/>
                    <a:pt x="232074" y="213083"/>
                    <a:pt x="232074" y="208040"/>
                  </a:cubicBezTo>
                  <a:cubicBezTo>
                    <a:pt x="232074" y="206148"/>
                    <a:pt x="232074" y="203627"/>
                    <a:pt x="230814" y="201735"/>
                  </a:cubicBezTo>
                  <a:cubicBezTo>
                    <a:pt x="227661" y="195431"/>
                    <a:pt x="229552" y="187235"/>
                    <a:pt x="234596" y="182823"/>
                  </a:cubicBezTo>
                  <a:cubicBezTo>
                    <a:pt x="240270" y="177779"/>
                    <a:pt x="245313" y="177149"/>
                    <a:pt x="266747" y="177149"/>
                  </a:cubicBezTo>
                  <a:cubicBezTo>
                    <a:pt x="289442" y="177149"/>
                    <a:pt x="322855" y="178410"/>
                    <a:pt x="322855" y="178410"/>
                  </a:cubicBezTo>
                  <a:cubicBezTo>
                    <a:pt x="326007" y="178410"/>
                    <a:pt x="333572" y="169584"/>
                    <a:pt x="333572" y="161388"/>
                  </a:cubicBezTo>
                  <a:cubicBezTo>
                    <a:pt x="333572" y="154454"/>
                    <a:pt x="327899" y="147519"/>
                    <a:pt x="322225" y="147519"/>
                  </a:cubicBezTo>
                  <a:cubicBezTo>
                    <a:pt x="322225" y="147519"/>
                    <a:pt x="295747" y="148780"/>
                    <a:pt x="263595" y="148780"/>
                  </a:cubicBezTo>
                  <a:cubicBezTo>
                    <a:pt x="144446" y="148780"/>
                    <a:pt x="122381" y="137432"/>
                    <a:pt x="121750" y="115998"/>
                  </a:cubicBezTo>
                  <a:cubicBezTo>
                    <a:pt x="121750" y="110954"/>
                    <a:pt x="121750" y="105280"/>
                    <a:pt x="122381" y="98346"/>
                  </a:cubicBezTo>
                  <a:cubicBezTo>
                    <a:pt x="123011" y="94563"/>
                    <a:pt x="123011" y="91411"/>
                    <a:pt x="123642" y="88890"/>
                  </a:cubicBezTo>
                  <a:cubicBezTo>
                    <a:pt x="124272" y="85107"/>
                    <a:pt x="124902" y="81955"/>
                    <a:pt x="124902" y="78803"/>
                  </a:cubicBezTo>
                  <a:cubicBezTo>
                    <a:pt x="127424" y="50434"/>
                    <a:pt x="119859" y="35934"/>
                    <a:pt x="116077" y="32152"/>
                  </a:cubicBezTo>
                  <a:cubicBezTo>
                    <a:pt x="114185" y="32152"/>
                    <a:pt x="112294" y="32782"/>
                    <a:pt x="110403" y="33413"/>
                  </a:cubicBezTo>
                  <a:cubicBezTo>
                    <a:pt x="111033" y="44760"/>
                    <a:pt x="111664" y="70607"/>
                    <a:pt x="104729" y="93933"/>
                  </a:cubicBezTo>
                  <a:cubicBezTo>
                    <a:pt x="104098" y="95194"/>
                    <a:pt x="104098" y="95824"/>
                    <a:pt x="103468" y="97085"/>
                  </a:cubicBezTo>
                  <a:cubicBezTo>
                    <a:pt x="91490" y="119150"/>
                    <a:pt x="59339" y="155714"/>
                    <a:pt x="36013" y="176519"/>
                  </a:cubicBezTo>
                  <a:lnTo>
                    <a:pt x="63121" y="267299"/>
                  </a:lnTo>
                  <a:cubicBezTo>
                    <a:pt x="68164" y="266669"/>
                    <a:pt x="73838" y="266669"/>
                    <a:pt x="80773" y="266669"/>
                  </a:cubicBezTo>
                  <a:lnTo>
                    <a:pt x="80773" y="266669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25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8546451" y="3623898"/>
            <a:ext cx="231365" cy="425535"/>
            <a:chOff x="8546451" y="3623898"/>
            <a:chExt cx="231365" cy="425535"/>
          </a:xfrm>
          <a:solidFill>
            <a:srgbClr val="B1B1A1"/>
          </a:solidFill>
        </p:grpSpPr>
        <p:sp>
          <p:nvSpPr>
            <p:cNvPr id="126" name="Forma Livre: Forma 125">
              <a:extLst>
                <a:ext uri="{FF2B5EF4-FFF2-40B4-BE49-F238E27FC236}">
                  <a16:creationId xmlns:a16="http://schemas.microsoft.com/office/drawing/2014/main" id="{BAE4D6D0-0B18-4F8A-80C6-4BE0066736F2}"/>
                </a:ext>
              </a:extLst>
            </p:cNvPr>
            <p:cNvSpPr/>
            <p:nvPr/>
          </p:nvSpPr>
          <p:spPr>
            <a:xfrm>
              <a:off x="8546451" y="3917044"/>
              <a:ext cx="231365" cy="132388"/>
            </a:xfrm>
            <a:custGeom>
              <a:avLst/>
              <a:gdLst>
                <a:gd name="connsiteX0" fmla="*/ 16392 w 231365"/>
                <a:gd name="connsiteY0" fmla="*/ 132389 h 132388"/>
                <a:gd name="connsiteX1" fmla="*/ 0 w 231365"/>
                <a:gd name="connsiteY1" fmla="*/ 115998 h 132388"/>
                <a:gd name="connsiteX2" fmla="*/ 0 w 231365"/>
                <a:gd name="connsiteY2" fmla="*/ 17021 h 132388"/>
                <a:gd name="connsiteX3" fmla="*/ 5044 w 231365"/>
                <a:gd name="connsiteY3" fmla="*/ 5043 h 132388"/>
                <a:gd name="connsiteX4" fmla="*/ 17022 w 231365"/>
                <a:gd name="connsiteY4" fmla="*/ 0 h 132388"/>
                <a:gd name="connsiteX5" fmla="*/ 214344 w 231365"/>
                <a:gd name="connsiteY5" fmla="*/ 0 h 132388"/>
                <a:gd name="connsiteX6" fmla="*/ 214344 w 231365"/>
                <a:gd name="connsiteY6" fmla="*/ 0 h 132388"/>
                <a:gd name="connsiteX7" fmla="*/ 226322 w 231365"/>
                <a:gd name="connsiteY7" fmla="*/ 5043 h 132388"/>
                <a:gd name="connsiteX8" fmla="*/ 231366 w 231365"/>
                <a:gd name="connsiteY8" fmla="*/ 17021 h 132388"/>
                <a:gd name="connsiteX9" fmla="*/ 231366 w 231365"/>
                <a:gd name="connsiteY9" fmla="*/ 115998 h 132388"/>
                <a:gd name="connsiteX10" fmla="*/ 214975 w 231365"/>
                <a:gd name="connsiteY10" fmla="*/ 132389 h 132388"/>
                <a:gd name="connsiteX11" fmla="*/ 16392 w 231365"/>
                <a:gd name="connsiteY11" fmla="*/ 132389 h 132388"/>
                <a:gd name="connsiteX12" fmla="*/ 16392 w 231365"/>
                <a:gd name="connsiteY12" fmla="*/ 132389 h 132388"/>
                <a:gd name="connsiteX13" fmla="*/ 16392 w 231365"/>
                <a:gd name="connsiteY13" fmla="*/ 132389 h 132388"/>
                <a:gd name="connsiteX14" fmla="*/ 32782 w 231365"/>
                <a:gd name="connsiteY14" fmla="*/ 33412 h 132388"/>
                <a:gd name="connsiteX15" fmla="*/ 32782 w 231365"/>
                <a:gd name="connsiteY15" fmla="*/ 98976 h 132388"/>
                <a:gd name="connsiteX16" fmla="*/ 197323 w 231365"/>
                <a:gd name="connsiteY16" fmla="*/ 98976 h 132388"/>
                <a:gd name="connsiteX17" fmla="*/ 197323 w 231365"/>
                <a:gd name="connsiteY17" fmla="*/ 33412 h 132388"/>
                <a:gd name="connsiteX18" fmla="*/ 32782 w 231365"/>
                <a:gd name="connsiteY18" fmla="*/ 33412 h 132388"/>
                <a:gd name="connsiteX19" fmla="*/ 32782 w 231365"/>
                <a:gd name="connsiteY19" fmla="*/ 33412 h 13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31365" h="132388">
                  <a:moveTo>
                    <a:pt x="16392" y="132389"/>
                  </a:moveTo>
                  <a:cubicBezTo>
                    <a:pt x="6935" y="132389"/>
                    <a:pt x="0" y="124824"/>
                    <a:pt x="0" y="115998"/>
                  </a:cubicBezTo>
                  <a:lnTo>
                    <a:pt x="0" y="17021"/>
                  </a:lnTo>
                  <a:cubicBezTo>
                    <a:pt x="0" y="12608"/>
                    <a:pt x="1892" y="8195"/>
                    <a:pt x="5044" y="5043"/>
                  </a:cubicBezTo>
                  <a:cubicBezTo>
                    <a:pt x="8196" y="1891"/>
                    <a:pt x="12608" y="0"/>
                    <a:pt x="17022" y="0"/>
                  </a:cubicBezTo>
                  <a:lnTo>
                    <a:pt x="214344" y="0"/>
                  </a:lnTo>
                  <a:lnTo>
                    <a:pt x="214344" y="0"/>
                  </a:lnTo>
                  <a:cubicBezTo>
                    <a:pt x="218757" y="0"/>
                    <a:pt x="223170" y="1891"/>
                    <a:pt x="226322" y="5043"/>
                  </a:cubicBezTo>
                  <a:cubicBezTo>
                    <a:pt x="229474" y="8195"/>
                    <a:pt x="231366" y="12608"/>
                    <a:pt x="231366" y="17021"/>
                  </a:cubicBezTo>
                  <a:lnTo>
                    <a:pt x="231366" y="115998"/>
                  </a:lnTo>
                  <a:cubicBezTo>
                    <a:pt x="231366" y="125454"/>
                    <a:pt x="223800" y="132389"/>
                    <a:pt x="214975" y="132389"/>
                  </a:cubicBezTo>
                  <a:lnTo>
                    <a:pt x="16392" y="132389"/>
                  </a:lnTo>
                  <a:lnTo>
                    <a:pt x="16392" y="132389"/>
                  </a:lnTo>
                  <a:lnTo>
                    <a:pt x="16392" y="132389"/>
                  </a:lnTo>
                  <a:close/>
                  <a:moveTo>
                    <a:pt x="32782" y="33412"/>
                  </a:moveTo>
                  <a:lnTo>
                    <a:pt x="32782" y="98976"/>
                  </a:lnTo>
                  <a:lnTo>
                    <a:pt x="197323" y="98976"/>
                  </a:lnTo>
                  <a:lnTo>
                    <a:pt x="197323" y="33412"/>
                  </a:lnTo>
                  <a:lnTo>
                    <a:pt x="32782" y="33412"/>
                  </a:lnTo>
                  <a:lnTo>
                    <a:pt x="32782" y="33412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27" name="Forma Livre: Forma 126">
              <a:extLst>
                <a:ext uri="{FF2B5EF4-FFF2-40B4-BE49-F238E27FC236}">
                  <a16:creationId xmlns:a16="http://schemas.microsoft.com/office/drawing/2014/main" id="{EE9CBAD0-61E5-4ECA-96F9-FD89F718C1CC}"/>
                </a:ext>
              </a:extLst>
            </p:cNvPr>
            <p:cNvSpPr/>
            <p:nvPr/>
          </p:nvSpPr>
          <p:spPr>
            <a:xfrm>
              <a:off x="8552755" y="3623898"/>
              <a:ext cx="214343" cy="332232"/>
            </a:xfrm>
            <a:custGeom>
              <a:avLst/>
              <a:gdLst>
                <a:gd name="connsiteX0" fmla="*/ 192910 w 214343"/>
                <a:gd name="connsiteY0" fmla="*/ 332233 h 332232"/>
                <a:gd name="connsiteX1" fmla="*/ 176518 w 214343"/>
                <a:gd name="connsiteY1" fmla="*/ 319624 h 332232"/>
                <a:gd name="connsiteX2" fmla="*/ 173366 w 214343"/>
                <a:gd name="connsiteY2" fmla="*/ 285581 h 332232"/>
                <a:gd name="connsiteX3" fmla="*/ 174628 w 214343"/>
                <a:gd name="connsiteY3" fmla="*/ 260364 h 332232"/>
                <a:gd name="connsiteX4" fmla="*/ 176518 w 214343"/>
                <a:gd name="connsiteY4" fmla="*/ 235778 h 332232"/>
                <a:gd name="connsiteX5" fmla="*/ 180301 w 214343"/>
                <a:gd name="connsiteY5" fmla="*/ 194170 h 332232"/>
                <a:gd name="connsiteX6" fmla="*/ 180932 w 214343"/>
                <a:gd name="connsiteY6" fmla="*/ 185344 h 332232"/>
                <a:gd name="connsiteX7" fmla="*/ 177780 w 214343"/>
                <a:gd name="connsiteY7" fmla="*/ 170844 h 332232"/>
                <a:gd name="connsiteX8" fmla="*/ 173366 w 214343"/>
                <a:gd name="connsiteY8" fmla="*/ 170214 h 332232"/>
                <a:gd name="connsiteX9" fmla="*/ 159497 w 214343"/>
                <a:gd name="connsiteY9" fmla="*/ 159497 h 332232"/>
                <a:gd name="connsiteX10" fmla="*/ 146889 w 214343"/>
                <a:gd name="connsiteY10" fmla="*/ 150040 h 332232"/>
                <a:gd name="connsiteX11" fmla="*/ 143737 w 214343"/>
                <a:gd name="connsiteY11" fmla="*/ 150040 h 332232"/>
                <a:gd name="connsiteX12" fmla="*/ 126085 w 214343"/>
                <a:gd name="connsiteY12" fmla="*/ 141845 h 332232"/>
                <a:gd name="connsiteX13" fmla="*/ 114737 w 214343"/>
                <a:gd name="connsiteY13" fmla="*/ 134911 h 332232"/>
                <a:gd name="connsiteX14" fmla="*/ 108433 w 214343"/>
                <a:gd name="connsiteY14" fmla="*/ 136171 h 332232"/>
                <a:gd name="connsiteX15" fmla="*/ 89520 w 214343"/>
                <a:gd name="connsiteY15" fmla="*/ 131758 h 332232"/>
                <a:gd name="connsiteX16" fmla="*/ 85107 w 214343"/>
                <a:gd name="connsiteY16" fmla="*/ 43499 h 332232"/>
                <a:gd name="connsiteX17" fmla="*/ 69346 w 214343"/>
                <a:gd name="connsiteY17" fmla="*/ 32782 h 332232"/>
                <a:gd name="connsiteX18" fmla="*/ 53586 w 214343"/>
                <a:gd name="connsiteY18" fmla="*/ 44130 h 332232"/>
                <a:gd name="connsiteX19" fmla="*/ 53586 w 214343"/>
                <a:gd name="connsiteY19" fmla="*/ 180931 h 332232"/>
                <a:gd name="connsiteX20" fmla="*/ 51695 w 214343"/>
                <a:gd name="connsiteY20" fmla="*/ 189127 h 332232"/>
                <a:gd name="connsiteX21" fmla="*/ 33413 w 214343"/>
                <a:gd name="connsiteY21" fmla="*/ 223170 h 332232"/>
                <a:gd name="connsiteX22" fmla="*/ 51695 w 214343"/>
                <a:gd name="connsiteY22" fmla="*/ 290625 h 332232"/>
                <a:gd name="connsiteX23" fmla="*/ 45391 w 214343"/>
                <a:gd name="connsiteY23" fmla="*/ 313320 h 332232"/>
                <a:gd name="connsiteX24" fmla="*/ 22696 w 214343"/>
                <a:gd name="connsiteY24" fmla="*/ 307016 h 332232"/>
                <a:gd name="connsiteX25" fmla="*/ 0 w 214343"/>
                <a:gd name="connsiteY25" fmla="*/ 220648 h 332232"/>
                <a:gd name="connsiteX26" fmla="*/ 1892 w 214343"/>
                <a:gd name="connsiteY26" fmla="*/ 211822 h 332232"/>
                <a:gd name="connsiteX27" fmla="*/ 20804 w 214343"/>
                <a:gd name="connsiteY27" fmla="*/ 177149 h 332232"/>
                <a:gd name="connsiteX28" fmla="*/ 20804 w 214343"/>
                <a:gd name="connsiteY28" fmla="*/ 44760 h 332232"/>
                <a:gd name="connsiteX29" fmla="*/ 69978 w 214343"/>
                <a:gd name="connsiteY29" fmla="*/ 0 h 332232"/>
                <a:gd name="connsiteX30" fmla="*/ 119150 w 214343"/>
                <a:gd name="connsiteY30" fmla="*/ 44760 h 332232"/>
                <a:gd name="connsiteX31" fmla="*/ 117889 w 214343"/>
                <a:gd name="connsiteY31" fmla="*/ 102129 h 332232"/>
                <a:gd name="connsiteX32" fmla="*/ 148780 w 214343"/>
                <a:gd name="connsiteY32" fmla="*/ 116628 h 332232"/>
                <a:gd name="connsiteX33" fmla="*/ 148780 w 214343"/>
                <a:gd name="connsiteY33" fmla="*/ 116628 h 332232"/>
                <a:gd name="connsiteX34" fmla="*/ 186606 w 214343"/>
                <a:gd name="connsiteY34" fmla="*/ 139323 h 332232"/>
                <a:gd name="connsiteX35" fmla="*/ 189758 w 214343"/>
                <a:gd name="connsiteY35" fmla="*/ 140584 h 332232"/>
                <a:gd name="connsiteX36" fmla="*/ 214344 w 214343"/>
                <a:gd name="connsiteY36" fmla="*/ 186605 h 332232"/>
                <a:gd name="connsiteX37" fmla="*/ 213713 w 214343"/>
                <a:gd name="connsiteY37" fmla="*/ 199213 h 332232"/>
                <a:gd name="connsiteX38" fmla="*/ 209931 w 214343"/>
                <a:gd name="connsiteY38" fmla="*/ 239561 h 332232"/>
                <a:gd name="connsiteX39" fmla="*/ 208039 w 214343"/>
                <a:gd name="connsiteY39" fmla="*/ 264147 h 332232"/>
                <a:gd name="connsiteX40" fmla="*/ 206779 w 214343"/>
                <a:gd name="connsiteY40" fmla="*/ 286212 h 332232"/>
                <a:gd name="connsiteX41" fmla="*/ 209301 w 214343"/>
                <a:gd name="connsiteY41" fmla="*/ 312059 h 332232"/>
                <a:gd name="connsiteX42" fmla="*/ 196692 w 214343"/>
                <a:gd name="connsiteY42" fmla="*/ 332233 h 332232"/>
                <a:gd name="connsiteX43" fmla="*/ 192910 w 214343"/>
                <a:gd name="connsiteY43" fmla="*/ 332233 h 332232"/>
                <a:gd name="connsiteX44" fmla="*/ 192910 w 214343"/>
                <a:gd name="connsiteY44" fmla="*/ 332233 h 332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214343" h="332232">
                  <a:moveTo>
                    <a:pt x="192910" y="332233"/>
                  </a:moveTo>
                  <a:cubicBezTo>
                    <a:pt x="185344" y="332233"/>
                    <a:pt x="178410" y="327189"/>
                    <a:pt x="176518" y="319624"/>
                  </a:cubicBezTo>
                  <a:cubicBezTo>
                    <a:pt x="173997" y="310168"/>
                    <a:pt x="173366" y="298820"/>
                    <a:pt x="173366" y="285581"/>
                  </a:cubicBezTo>
                  <a:cubicBezTo>
                    <a:pt x="173366" y="278016"/>
                    <a:pt x="173997" y="269191"/>
                    <a:pt x="174628" y="260364"/>
                  </a:cubicBezTo>
                  <a:lnTo>
                    <a:pt x="176518" y="235778"/>
                  </a:lnTo>
                  <a:cubicBezTo>
                    <a:pt x="177780" y="218757"/>
                    <a:pt x="179040" y="203626"/>
                    <a:pt x="180301" y="194170"/>
                  </a:cubicBezTo>
                  <a:cubicBezTo>
                    <a:pt x="180301" y="191649"/>
                    <a:pt x="180932" y="188497"/>
                    <a:pt x="180932" y="185344"/>
                  </a:cubicBezTo>
                  <a:cubicBezTo>
                    <a:pt x="180932" y="175257"/>
                    <a:pt x="178410" y="170844"/>
                    <a:pt x="177780" y="170844"/>
                  </a:cubicBezTo>
                  <a:cubicBezTo>
                    <a:pt x="176518" y="170214"/>
                    <a:pt x="175258" y="170214"/>
                    <a:pt x="173366" y="170214"/>
                  </a:cubicBezTo>
                  <a:cubicBezTo>
                    <a:pt x="167062" y="169584"/>
                    <a:pt x="161389" y="165171"/>
                    <a:pt x="159497" y="159497"/>
                  </a:cubicBezTo>
                  <a:cubicBezTo>
                    <a:pt x="157606" y="153823"/>
                    <a:pt x="152563" y="150040"/>
                    <a:pt x="146889" y="150040"/>
                  </a:cubicBezTo>
                  <a:cubicBezTo>
                    <a:pt x="145628" y="150040"/>
                    <a:pt x="144997" y="150040"/>
                    <a:pt x="143737" y="150040"/>
                  </a:cubicBezTo>
                  <a:cubicBezTo>
                    <a:pt x="136802" y="151301"/>
                    <a:pt x="129868" y="148149"/>
                    <a:pt x="126085" y="141845"/>
                  </a:cubicBezTo>
                  <a:cubicBezTo>
                    <a:pt x="123563" y="137432"/>
                    <a:pt x="119780" y="134911"/>
                    <a:pt x="114737" y="134911"/>
                  </a:cubicBezTo>
                  <a:cubicBezTo>
                    <a:pt x="112216" y="134911"/>
                    <a:pt x="110324" y="134911"/>
                    <a:pt x="108433" y="136171"/>
                  </a:cubicBezTo>
                  <a:cubicBezTo>
                    <a:pt x="102129" y="139323"/>
                    <a:pt x="93933" y="137432"/>
                    <a:pt x="89520" y="131758"/>
                  </a:cubicBezTo>
                  <a:cubicBezTo>
                    <a:pt x="84477" y="126085"/>
                    <a:pt x="82586" y="124193"/>
                    <a:pt x="85107" y="43499"/>
                  </a:cubicBezTo>
                  <a:cubicBezTo>
                    <a:pt x="85107" y="39086"/>
                    <a:pt x="76912" y="32782"/>
                    <a:pt x="69346" y="32782"/>
                  </a:cubicBezTo>
                  <a:cubicBezTo>
                    <a:pt x="61782" y="32782"/>
                    <a:pt x="53586" y="39717"/>
                    <a:pt x="53586" y="44130"/>
                  </a:cubicBezTo>
                  <a:lnTo>
                    <a:pt x="53586" y="180931"/>
                  </a:lnTo>
                  <a:cubicBezTo>
                    <a:pt x="53586" y="183453"/>
                    <a:pt x="52956" y="186605"/>
                    <a:pt x="51695" y="189127"/>
                  </a:cubicBezTo>
                  <a:lnTo>
                    <a:pt x="33413" y="223170"/>
                  </a:lnTo>
                  <a:cubicBezTo>
                    <a:pt x="34043" y="234517"/>
                    <a:pt x="37825" y="265408"/>
                    <a:pt x="51695" y="290625"/>
                  </a:cubicBezTo>
                  <a:cubicBezTo>
                    <a:pt x="56108" y="298820"/>
                    <a:pt x="52956" y="308907"/>
                    <a:pt x="45391" y="313320"/>
                  </a:cubicBezTo>
                  <a:cubicBezTo>
                    <a:pt x="37195" y="317733"/>
                    <a:pt x="27108" y="314581"/>
                    <a:pt x="22696" y="307016"/>
                  </a:cubicBezTo>
                  <a:cubicBezTo>
                    <a:pt x="1892" y="269191"/>
                    <a:pt x="0" y="222539"/>
                    <a:pt x="0" y="220648"/>
                  </a:cubicBezTo>
                  <a:cubicBezTo>
                    <a:pt x="0" y="217496"/>
                    <a:pt x="631" y="214974"/>
                    <a:pt x="1892" y="211822"/>
                  </a:cubicBezTo>
                  <a:lnTo>
                    <a:pt x="20804" y="177149"/>
                  </a:lnTo>
                  <a:lnTo>
                    <a:pt x="20804" y="44760"/>
                  </a:lnTo>
                  <a:cubicBezTo>
                    <a:pt x="20804" y="18282"/>
                    <a:pt x="46651" y="0"/>
                    <a:pt x="69978" y="0"/>
                  </a:cubicBezTo>
                  <a:cubicBezTo>
                    <a:pt x="93303" y="0"/>
                    <a:pt x="119150" y="18913"/>
                    <a:pt x="119150" y="44760"/>
                  </a:cubicBezTo>
                  <a:cubicBezTo>
                    <a:pt x="118520" y="64933"/>
                    <a:pt x="117889" y="87629"/>
                    <a:pt x="117889" y="102129"/>
                  </a:cubicBezTo>
                  <a:cubicBezTo>
                    <a:pt x="129868" y="102759"/>
                    <a:pt x="140585" y="108433"/>
                    <a:pt x="148780" y="116628"/>
                  </a:cubicBezTo>
                  <a:cubicBezTo>
                    <a:pt x="148780" y="116628"/>
                    <a:pt x="148780" y="116628"/>
                    <a:pt x="148780" y="116628"/>
                  </a:cubicBezTo>
                  <a:cubicBezTo>
                    <a:pt x="164541" y="117258"/>
                    <a:pt x="178410" y="126085"/>
                    <a:pt x="186606" y="139323"/>
                  </a:cubicBezTo>
                  <a:cubicBezTo>
                    <a:pt x="187866" y="139954"/>
                    <a:pt x="188496" y="139954"/>
                    <a:pt x="189758" y="140584"/>
                  </a:cubicBezTo>
                  <a:cubicBezTo>
                    <a:pt x="199214" y="143736"/>
                    <a:pt x="214344" y="154454"/>
                    <a:pt x="214344" y="186605"/>
                  </a:cubicBezTo>
                  <a:cubicBezTo>
                    <a:pt x="214344" y="191018"/>
                    <a:pt x="213713" y="195431"/>
                    <a:pt x="213713" y="199213"/>
                  </a:cubicBezTo>
                  <a:cubicBezTo>
                    <a:pt x="212453" y="208670"/>
                    <a:pt x="211192" y="223170"/>
                    <a:pt x="209931" y="239561"/>
                  </a:cubicBezTo>
                  <a:lnTo>
                    <a:pt x="208039" y="264147"/>
                  </a:lnTo>
                  <a:cubicBezTo>
                    <a:pt x="207409" y="272343"/>
                    <a:pt x="206779" y="279908"/>
                    <a:pt x="206779" y="286212"/>
                  </a:cubicBezTo>
                  <a:cubicBezTo>
                    <a:pt x="206779" y="299451"/>
                    <a:pt x="208039" y="307646"/>
                    <a:pt x="209301" y="312059"/>
                  </a:cubicBezTo>
                  <a:cubicBezTo>
                    <a:pt x="211192" y="320885"/>
                    <a:pt x="206149" y="329711"/>
                    <a:pt x="196692" y="332233"/>
                  </a:cubicBezTo>
                  <a:cubicBezTo>
                    <a:pt x="195431" y="332233"/>
                    <a:pt x="194170" y="332233"/>
                    <a:pt x="192910" y="332233"/>
                  </a:cubicBezTo>
                  <a:lnTo>
                    <a:pt x="192910" y="332233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28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8464812" y="2643906"/>
            <a:ext cx="392753" cy="319309"/>
            <a:chOff x="8464812" y="2643906"/>
            <a:chExt cx="392753" cy="319309"/>
          </a:xfrm>
          <a:solidFill>
            <a:srgbClr val="B1B1A1"/>
          </a:solidFill>
        </p:grpSpPr>
        <p:sp>
          <p:nvSpPr>
            <p:cNvPr id="129" name="Forma Livre: Forma 128">
              <a:extLst>
                <a:ext uri="{FF2B5EF4-FFF2-40B4-BE49-F238E27FC236}">
                  <a16:creationId xmlns:a16="http://schemas.microsoft.com/office/drawing/2014/main" id="{06FD175D-35F4-4E93-8FDC-6CA723879B00}"/>
                </a:ext>
              </a:extLst>
            </p:cNvPr>
            <p:cNvSpPr/>
            <p:nvPr/>
          </p:nvSpPr>
          <p:spPr>
            <a:xfrm>
              <a:off x="8464812" y="2643906"/>
              <a:ext cx="175888" cy="319309"/>
            </a:xfrm>
            <a:custGeom>
              <a:avLst/>
              <a:gdLst>
                <a:gd name="connsiteX0" fmla="*/ 159812 w 175888"/>
                <a:gd name="connsiteY0" fmla="*/ 319309 h 319309"/>
                <a:gd name="connsiteX1" fmla="*/ 147834 w 175888"/>
                <a:gd name="connsiteY1" fmla="*/ 314266 h 319309"/>
                <a:gd name="connsiteX2" fmla="*/ 4728 w 175888"/>
                <a:gd name="connsiteY2" fmla="*/ 171160 h 319309"/>
                <a:gd name="connsiteX3" fmla="*/ 4728 w 175888"/>
                <a:gd name="connsiteY3" fmla="*/ 147834 h 319309"/>
                <a:gd name="connsiteX4" fmla="*/ 147834 w 175888"/>
                <a:gd name="connsiteY4" fmla="*/ 4728 h 319309"/>
                <a:gd name="connsiteX5" fmla="*/ 171160 w 175888"/>
                <a:gd name="connsiteY5" fmla="*/ 4728 h 319309"/>
                <a:gd name="connsiteX6" fmla="*/ 171160 w 175888"/>
                <a:gd name="connsiteY6" fmla="*/ 28054 h 319309"/>
                <a:gd name="connsiteX7" fmla="*/ 40032 w 175888"/>
                <a:gd name="connsiteY7" fmla="*/ 159182 h 319309"/>
                <a:gd name="connsiteX8" fmla="*/ 171160 w 175888"/>
                <a:gd name="connsiteY8" fmla="*/ 290310 h 319309"/>
                <a:gd name="connsiteX9" fmla="*/ 171160 w 175888"/>
                <a:gd name="connsiteY9" fmla="*/ 313635 h 319309"/>
                <a:gd name="connsiteX10" fmla="*/ 159812 w 175888"/>
                <a:gd name="connsiteY10" fmla="*/ 319309 h 319309"/>
                <a:gd name="connsiteX11" fmla="*/ 159812 w 175888"/>
                <a:gd name="connsiteY11" fmla="*/ 319309 h 319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75888" h="319309">
                  <a:moveTo>
                    <a:pt x="159812" y="319309"/>
                  </a:moveTo>
                  <a:cubicBezTo>
                    <a:pt x="155399" y="319309"/>
                    <a:pt x="150986" y="317418"/>
                    <a:pt x="147834" y="314266"/>
                  </a:cubicBezTo>
                  <a:lnTo>
                    <a:pt x="4728" y="171160"/>
                  </a:lnTo>
                  <a:cubicBezTo>
                    <a:pt x="-1576" y="164856"/>
                    <a:pt x="-1576" y="154138"/>
                    <a:pt x="4728" y="147834"/>
                  </a:cubicBezTo>
                  <a:lnTo>
                    <a:pt x="147834" y="4728"/>
                  </a:lnTo>
                  <a:cubicBezTo>
                    <a:pt x="154138" y="-1576"/>
                    <a:pt x="164856" y="-1576"/>
                    <a:pt x="171160" y="4728"/>
                  </a:cubicBezTo>
                  <a:cubicBezTo>
                    <a:pt x="177464" y="11032"/>
                    <a:pt x="177464" y="21750"/>
                    <a:pt x="171160" y="28054"/>
                  </a:cubicBezTo>
                  <a:lnTo>
                    <a:pt x="40032" y="159182"/>
                  </a:lnTo>
                  <a:lnTo>
                    <a:pt x="171160" y="290310"/>
                  </a:lnTo>
                  <a:cubicBezTo>
                    <a:pt x="177464" y="296614"/>
                    <a:pt x="177464" y="307331"/>
                    <a:pt x="171160" y="313635"/>
                  </a:cubicBezTo>
                  <a:cubicBezTo>
                    <a:pt x="168008" y="318048"/>
                    <a:pt x="163594" y="319309"/>
                    <a:pt x="159812" y="319309"/>
                  </a:cubicBezTo>
                  <a:lnTo>
                    <a:pt x="159812" y="319309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30" name="Forma Livre: Forma 129">
              <a:extLst>
                <a:ext uri="{FF2B5EF4-FFF2-40B4-BE49-F238E27FC236}">
                  <a16:creationId xmlns:a16="http://schemas.microsoft.com/office/drawing/2014/main" id="{E2BDBD12-626C-4772-B25F-F9D3B394288F}"/>
                </a:ext>
              </a:extLst>
            </p:cNvPr>
            <p:cNvSpPr/>
            <p:nvPr/>
          </p:nvSpPr>
          <p:spPr>
            <a:xfrm>
              <a:off x="8681677" y="2644536"/>
              <a:ext cx="175888" cy="318678"/>
            </a:xfrm>
            <a:custGeom>
              <a:avLst/>
              <a:gdLst>
                <a:gd name="connsiteX0" fmla="*/ 16706 w 175888"/>
                <a:gd name="connsiteY0" fmla="*/ 318679 h 318678"/>
                <a:gd name="connsiteX1" fmla="*/ 4728 w 175888"/>
                <a:gd name="connsiteY1" fmla="*/ 313635 h 318678"/>
                <a:gd name="connsiteX2" fmla="*/ 4728 w 175888"/>
                <a:gd name="connsiteY2" fmla="*/ 290310 h 318678"/>
                <a:gd name="connsiteX3" fmla="*/ 135856 w 175888"/>
                <a:gd name="connsiteY3" fmla="*/ 159182 h 318678"/>
                <a:gd name="connsiteX4" fmla="*/ 4728 w 175888"/>
                <a:gd name="connsiteY4" fmla="*/ 28054 h 318678"/>
                <a:gd name="connsiteX5" fmla="*/ 4728 w 175888"/>
                <a:gd name="connsiteY5" fmla="*/ 4728 h 318678"/>
                <a:gd name="connsiteX6" fmla="*/ 28053 w 175888"/>
                <a:gd name="connsiteY6" fmla="*/ 4728 h 318678"/>
                <a:gd name="connsiteX7" fmla="*/ 171160 w 175888"/>
                <a:gd name="connsiteY7" fmla="*/ 147834 h 318678"/>
                <a:gd name="connsiteX8" fmla="*/ 171160 w 175888"/>
                <a:gd name="connsiteY8" fmla="*/ 171160 h 318678"/>
                <a:gd name="connsiteX9" fmla="*/ 28053 w 175888"/>
                <a:gd name="connsiteY9" fmla="*/ 314266 h 318678"/>
                <a:gd name="connsiteX10" fmla="*/ 16706 w 175888"/>
                <a:gd name="connsiteY10" fmla="*/ 318679 h 318678"/>
                <a:gd name="connsiteX11" fmla="*/ 16706 w 175888"/>
                <a:gd name="connsiteY11" fmla="*/ 318679 h 318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75888" h="318678">
                  <a:moveTo>
                    <a:pt x="16706" y="318679"/>
                  </a:moveTo>
                  <a:cubicBezTo>
                    <a:pt x="12293" y="318679"/>
                    <a:pt x="7880" y="316787"/>
                    <a:pt x="4728" y="313635"/>
                  </a:cubicBezTo>
                  <a:cubicBezTo>
                    <a:pt x="-1576" y="307331"/>
                    <a:pt x="-1576" y="296614"/>
                    <a:pt x="4728" y="290310"/>
                  </a:cubicBezTo>
                  <a:lnTo>
                    <a:pt x="135856" y="159182"/>
                  </a:lnTo>
                  <a:lnTo>
                    <a:pt x="4728" y="28054"/>
                  </a:lnTo>
                  <a:cubicBezTo>
                    <a:pt x="-1576" y="21750"/>
                    <a:pt x="-1576" y="11032"/>
                    <a:pt x="4728" y="4728"/>
                  </a:cubicBezTo>
                  <a:cubicBezTo>
                    <a:pt x="11032" y="-1576"/>
                    <a:pt x="21749" y="-1576"/>
                    <a:pt x="28053" y="4728"/>
                  </a:cubicBezTo>
                  <a:lnTo>
                    <a:pt x="171160" y="147834"/>
                  </a:lnTo>
                  <a:cubicBezTo>
                    <a:pt x="177464" y="154138"/>
                    <a:pt x="177464" y="164855"/>
                    <a:pt x="171160" y="171160"/>
                  </a:cubicBezTo>
                  <a:lnTo>
                    <a:pt x="28053" y="314266"/>
                  </a:lnTo>
                  <a:cubicBezTo>
                    <a:pt x="24901" y="317418"/>
                    <a:pt x="21119" y="318679"/>
                    <a:pt x="16706" y="318679"/>
                  </a:cubicBezTo>
                  <a:lnTo>
                    <a:pt x="16706" y="318679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31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9536845" y="3600572"/>
            <a:ext cx="268559" cy="454534"/>
            <a:chOff x="9536845" y="3600572"/>
            <a:chExt cx="268559" cy="454534"/>
          </a:xfrm>
          <a:solidFill>
            <a:srgbClr val="B1B1A1"/>
          </a:solidFill>
        </p:grpSpPr>
        <p:sp>
          <p:nvSpPr>
            <p:cNvPr id="132" name="Forma Livre: Forma 131">
              <a:extLst>
                <a:ext uri="{FF2B5EF4-FFF2-40B4-BE49-F238E27FC236}">
                  <a16:creationId xmlns:a16="http://schemas.microsoft.com/office/drawing/2014/main" id="{D1629B01-E622-4AB8-92F7-B1285C79272C}"/>
                </a:ext>
              </a:extLst>
            </p:cNvPr>
            <p:cNvSpPr/>
            <p:nvPr/>
          </p:nvSpPr>
          <p:spPr>
            <a:xfrm>
              <a:off x="9582866" y="3927762"/>
              <a:ext cx="221278" cy="127345"/>
            </a:xfrm>
            <a:custGeom>
              <a:avLst/>
              <a:gdLst>
                <a:gd name="connsiteX0" fmla="*/ 16391 w 221278"/>
                <a:gd name="connsiteY0" fmla="*/ 127345 h 127345"/>
                <a:gd name="connsiteX1" fmla="*/ 0 w 221278"/>
                <a:gd name="connsiteY1" fmla="*/ 110954 h 127345"/>
                <a:gd name="connsiteX2" fmla="*/ 0 w 221278"/>
                <a:gd name="connsiteY2" fmla="*/ 17021 h 127345"/>
                <a:gd name="connsiteX3" fmla="*/ 5044 w 221278"/>
                <a:gd name="connsiteY3" fmla="*/ 5043 h 127345"/>
                <a:gd name="connsiteX4" fmla="*/ 17022 w 221278"/>
                <a:gd name="connsiteY4" fmla="*/ 0 h 127345"/>
                <a:gd name="connsiteX5" fmla="*/ 204887 w 221278"/>
                <a:gd name="connsiteY5" fmla="*/ 0 h 127345"/>
                <a:gd name="connsiteX6" fmla="*/ 204887 w 221278"/>
                <a:gd name="connsiteY6" fmla="*/ 0 h 127345"/>
                <a:gd name="connsiteX7" fmla="*/ 221278 w 221278"/>
                <a:gd name="connsiteY7" fmla="*/ 16391 h 127345"/>
                <a:gd name="connsiteX8" fmla="*/ 221278 w 221278"/>
                <a:gd name="connsiteY8" fmla="*/ 110324 h 127345"/>
                <a:gd name="connsiteX9" fmla="*/ 204887 w 221278"/>
                <a:gd name="connsiteY9" fmla="*/ 126715 h 127345"/>
                <a:gd name="connsiteX10" fmla="*/ 16391 w 221278"/>
                <a:gd name="connsiteY10" fmla="*/ 127345 h 127345"/>
                <a:gd name="connsiteX11" fmla="*/ 16391 w 221278"/>
                <a:gd name="connsiteY11" fmla="*/ 127345 h 127345"/>
                <a:gd name="connsiteX12" fmla="*/ 16391 w 221278"/>
                <a:gd name="connsiteY12" fmla="*/ 127345 h 127345"/>
                <a:gd name="connsiteX13" fmla="*/ 32782 w 221278"/>
                <a:gd name="connsiteY13" fmla="*/ 33412 h 127345"/>
                <a:gd name="connsiteX14" fmla="*/ 32782 w 221278"/>
                <a:gd name="connsiteY14" fmla="*/ 93933 h 127345"/>
                <a:gd name="connsiteX15" fmla="*/ 187236 w 221278"/>
                <a:gd name="connsiteY15" fmla="*/ 93933 h 127345"/>
                <a:gd name="connsiteX16" fmla="*/ 187236 w 221278"/>
                <a:gd name="connsiteY16" fmla="*/ 33412 h 127345"/>
                <a:gd name="connsiteX17" fmla="*/ 32782 w 221278"/>
                <a:gd name="connsiteY17" fmla="*/ 33412 h 127345"/>
                <a:gd name="connsiteX18" fmla="*/ 32782 w 221278"/>
                <a:gd name="connsiteY18" fmla="*/ 33412 h 127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21278" h="127345">
                  <a:moveTo>
                    <a:pt x="16391" y="127345"/>
                  </a:moveTo>
                  <a:cubicBezTo>
                    <a:pt x="6934" y="127345"/>
                    <a:pt x="0" y="119780"/>
                    <a:pt x="0" y="110954"/>
                  </a:cubicBezTo>
                  <a:lnTo>
                    <a:pt x="0" y="17021"/>
                  </a:lnTo>
                  <a:cubicBezTo>
                    <a:pt x="0" y="12608"/>
                    <a:pt x="1892" y="8195"/>
                    <a:pt x="5044" y="5043"/>
                  </a:cubicBezTo>
                  <a:cubicBezTo>
                    <a:pt x="8196" y="1891"/>
                    <a:pt x="12608" y="0"/>
                    <a:pt x="17022" y="0"/>
                  </a:cubicBezTo>
                  <a:lnTo>
                    <a:pt x="204887" y="0"/>
                  </a:lnTo>
                  <a:lnTo>
                    <a:pt x="204887" y="0"/>
                  </a:lnTo>
                  <a:cubicBezTo>
                    <a:pt x="214344" y="0"/>
                    <a:pt x="221278" y="7565"/>
                    <a:pt x="221278" y="16391"/>
                  </a:cubicBezTo>
                  <a:lnTo>
                    <a:pt x="221278" y="110324"/>
                  </a:lnTo>
                  <a:cubicBezTo>
                    <a:pt x="221278" y="119780"/>
                    <a:pt x="213713" y="126715"/>
                    <a:pt x="204887" y="126715"/>
                  </a:cubicBezTo>
                  <a:lnTo>
                    <a:pt x="16391" y="127345"/>
                  </a:lnTo>
                  <a:lnTo>
                    <a:pt x="16391" y="127345"/>
                  </a:lnTo>
                  <a:lnTo>
                    <a:pt x="16391" y="127345"/>
                  </a:lnTo>
                  <a:close/>
                  <a:moveTo>
                    <a:pt x="32782" y="33412"/>
                  </a:moveTo>
                  <a:lnTo>
                    <a:pt x="32782" y="93933"/>
                  </a:lnTo>
                  <a:lnTo>
                    <a:pt x="187236" y="93933"/>
                  </a:lnTo>
                  <a:lnTo>
                    <a:pt x="187236" y="33412"/>
                  </a:lnTo>
                  <a:lnTo>
                    <a:pt x="32782" y="33412"/>
                  </a:lnTo>
                  <a:lnTo>
                    <a:pt x="32782" y="33412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33" name="Forma Livre: Forma 132">
              <a:extLst>
                <a:ext uri="{FF2B5EF4-FFF2-40B4-BE49-F238E27FC236}">
                  <a16:creationId xmlns:a16="http://schemas.microsoft.com/office/drawing/2014/main" id="{370DB092-21A3-4F40-BCBE-93CBB0DB63B1}"/>
                </a:ext>
              </a:extLst>
            </p:cNvPr>
            <p:cNvSpPr/>
            <p:nvPr/>
          </p:nvSpPr>
          <p:spPr>
            <a:xfrm>
              <a:off x="9536845" y="3600572"/>
              <a:ext cx="268559" cy="363753"/>
            </a:xfrm>
            <a:custGeom>
              <a:avLst/>
              <a:gdLst>
                <a:gd name="connsiteX0" fmla="*/ 133019 w 268559"/>
                <a:gd name="connsiteY0" fmla="*/ 33413 h 363753"/>
                <a:gd name="connsiteX1" fmla="*/ 148149 w 268559"/>
                <a:gd name="connsiteY1" fmla="*/ 48543 h 363753"/>
                <a:gd name="connsiteX2" fmla="*/ 148149 w 268559"/>
                <a:gd name="connsiteY2" fmla="*/ 165171 h 363753"/>
                <a:gd name="connsiteX3" fmla="*/ 162018 w 268559"/>
                <a:gd name="connsiteY3" fmla="*/ 165171 h 363753"/>
                <a:gd name="connsiteX4" fmla="*/ 162018 w 268559"/>
                <a:gd name="connsiteY4" fmla="*/ 78803 h 363753"/>
                <a:gd name="connsiteX5" fmla="*/ 177149 w 268559"/>
                <a:gd name="connsiteY5" fmla="*/ 63673 h 363753"/>
                <a:gd name="connsiteX6" fmla="*/ 192279 w 268559"/>
                <a:gd name="connsiteY6" fmla="*/ 78803 h 363753"/>
                <a:gd name="connsiteX7" fmla="*/ 192279 w 268559"/>
                <a:gd name="connsiteY7" fmla="*/ 165801 h 363753"/>
                <a:gd name="connsiteX8" fmla="*/ 206148 w 268559"/>
                <a:gd name="connsiteY8" fmla="*/ 168953 h 363753"/>
                <a:gd name="connsiteX9" fmla="*/ 206148 w 268559"/>
                <a:gd name="connsiteY9" fmla="*/ 106542 h 363753"/>
                <a:gd name="connsiteX10" fmla="*/ 221278 w 268559"/>
                <a:gd name="connsiteY10" fmla="*/ 91411 h 363753"/>
                <a:gd name="connsiteX11" fmla="*/ 236408 w 268559"/>
                <a:gd name="connsiteY11" fmla="*/ 106542 h 363753"/>
                <a:gd name="connsiteX12" fmla="*/ 236408 w 268559"/>
                <a:gd name="connsiteY12" fmla="*/ 207409 h 363753"/>
                <a:gd name="connsiteX13" fmla="*/ 236408 w 268559"/>
                <a:gd name="connsiteY13" fmla="*/ 234517 h 363753"/>
                <a:gd name="connsiteX14" fmla="*/ 236408 w 268559"/>
                <a:gd name="connsiteY14" fmla="*/ 306386 h 363753"/>
                <a:gd name="connsiteX15" fmla="*/ 228213 w 268559"/>
                <a:gd name="connsiteY15" fmla="*/ 329081 h 363753"/>
                <a:gd name="connsiteX16" fmla="*/ 82585 w 268559"/>
                <a:gd name="connsiteY16" fmla="*/ 329081 h 363753"/>
                <a:gd name="connsiteX17" fmla="*/ 76281 w 268559"/>
                <a:gd name="connsiteY17" fmla="*/ 318363 h 363753"/>
                <a:gd name="connsiteX18" fmla="*/ 35934 w 268559"/>
                <a:gd name="connsiteY18" fmla="*/ 247126 h 363753"/>
                <a:gd name="connsiteX19" fmla="*/ 34042 w 268559"/>
                <a:gd name="connsiteY19" fmla="*/ 239561 h 363753"/>
                <a:gd name="connsiteX20" fmla="*/ 34042 w 268559"/>
                <a:gd name="connsiteY20" fmla="*/ 171475 h 363753"/>
                <a:gd name="connsiteX21" fmla="*/ 48542 w 268559"/>
                <a:gd name="connsiteY21" fmla="*/ 156345 h 363753"/>
                <a:gd name="connsiteX22" fmla="*/ 63042 w 268559"/>
                <a:gd name="connsiteY22" fmla="*/ 171475 h 363753"/>
                <a:gd name="connsiteX23" fmla="*/ 63042 w 268559"/>
                <a:gd name="connsiteY23" fmla="*/ 199214 h 363753"/>
                <a:gd name="connsiteX24" fmla="*/ 74389 w 268559"/>
                <a:gd name="connsiteY24" fmla="*/ 215605 h 363753"/>
                <a:gd name="connsiteX25" fmla="*/ 74389 w 268559"/>
                <a:gd name="connsiteY25" fmla="*/ 70607 h 363753"/>
                <a:gd name="connsiteX26" fmla="*/ 89520 w 268559"/>
                <a:gd name="connsiteY26" fmla="*/ 55477 h 363753"/>
                <a:gd name="connsiteX27" fmla="*/ 104650 w 268559"/>
                <a:gd name="connsiteY27" fmla="*/ 70607 h 363753"/>
                <a:gd name="connsiteX28" fmla="*/ 104650 w 268559"/>
                <a:gd name="connsiteY28" fmla="*/ 168323 h 363753"/>
                <a:gd name="connsiteX29" fmla="*/ 118519 w 268559"/>
                <a:gd name="connsiteY29" fmla="*/ 165171 h 363753"/>
                <a:gd name="connsiteX30" fmla="*/ 118519 w 268559"/>
                <a:gd name="connsiteY30" fmla="*/ 47912 h 363753"/>
                <a:gd name="connsiteX31" fmla="*/ 133019 w 268559"/>
                <a:gd name="connsiteY31" fmla="*/ 33413 h 363753"/>
                <a:gd name="connsiteX32" fmla="*/ 133019 w 268559"/>
                <a:gd name="connsiteY32" fmla="*/ 0 h 363753"/>
                <a:gd name="connsiteX33" fmla="*/ 92042 w 268559"/>
                <a:gd name="connsiteY33" fmla="*/ 22695 h 363753"/>
                <a:gd name="connsiteX34" fmla="*/ 88889 w 268559"/>
                <a:gd name="connsiteY34" fmla="*/ 22695 h 363753"/>
                <a:gd name="connsiteX35" fmla="*/ 40346 w 268559"/>
                <a:gd name="connsiteY35" fmla="*/ 71238 h 363753"/>
                <a:gd name="connsiteX36" fmla="*/ 40346 w 268559"/>
                <a:gd name="connsiteY36" fmla="*/ 124193 h 363753"/>
                <a:gd name="connsiteX37" fmla="*/ 0 w 268559"/>
                <a:gd name="connsiteY37" fmla="*/ 172105 h 363753"/>
                <a:gd name="connsiteX38" fmla="*/ 0 w 268559"/>
                <a:gd name="connsiteY38" fmla="*/ 240191 h 363753"/>
                <a:gd name="connsiteX39" fmla="*/ 6304 w 268559"/>
                <a:gd name="connsiteY39" fmla="*/ 264777 h 363753"/>
                <a:gd name="connsiteX40" fmla="*/ 45390 w 268559"/>
                <a:gd name="connsiteY40" fmla="*/ 333494 h 363753"/>
                <a:gd name="connsiteX41" fmla="*/ 54846 w 268559"/>
                <a:gd name="connsiteY41" fmla="*/ 350515 h 363753"/>
                <a:gd name="connsiteX42" fmla="*/ 81324 w 268559"/>
                <a:gd name="connsiteY42" fmla="*/ 363754 h 363753"/>
                <a:gd name="connsiteX43" fmla="*/ 81324 w 268559"/>
                <a:gd name="connsiteY43" fmla="*/ 363754 h 363753"/>
                <a:gd name="connsiteX44" fmla="*/ 226952 w 268559"/>
                <a:gd name="connsiteY44" fmla="*/ 363754 h 363753"/>
                <a:gd name="connsiteX45" fmla="*/ 253430 w 268559"/>
                <a:gd name="connsiteY45" fmla="*/ 350515 h 363753"/>
                <a:gd name="connsiteX46" fmla="*/ 268560 w 268559"/>
                <a:gd name="connsiteY46" fmla="*/ 307646 h 363753"/>
                <a:gd name="connsiteX47" fmla="*/ 268560 w 268559"/>
                <a:gd name="connsiteY47" fmla="*/ 234517 h 363753"/>
                <a:gd name="connsiteX48" fmla="*/ 268560 w 268559"/>
                <a:gd name="connsiteY48" fmla="*/ 207409 h 363753"/>
                <a:gd name="connsiteX49" fmla="*/ 268560 w 268559"/>
                <a:gd name="connsiteY49" fmla="*/ 106542 h 363753"/>
                <a:gd name="connsiteX50" fmla="*/ 220017 w 268559"/>
                <a:gd name="connsiteY50" fmla="*/ 57999 h 363753"/>
                <a:gd name="connsiteX51" fmla="*/ 177149 w 268559"/>
                <a:gd name="connsiteY51" fmla="*/ 29630 h 363753"/>
                <a:gd name="connsiteX52" fmla="*/ 133019 w 268559"/>
                <a:gd name="connsiteY52" fmla="*/ 0 h 363753"/>
                <a:gd name="connsiteX53" fmla="*/ 133019 w 268559"/>
                <a:gd name="connsiteY53" fmla="*/ 0 h 363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268559" h="363753">
                  <a:moveTo>
                    <a:pt x="133019" y="33413"/>
                  </a:moveTo>
                  <a:cubicBezTo>
                    <a:pt x="141214" y="33413"/>
                    <a:pt x="148149" y="40347"/>
                    <a:pt x="148149" y="48543"/>
                  </a:cubicBezTo>
                  <a:lnTo>
                    <a:pt x="148149" y="165171"/>
                  </a:lnTo>
                  <a:lnTo>
                    <a:pt x="162018" y="165171"/>
                  </a:lnTo>
                  <a:lnTo>
                    <a:pt x="162018" y="78803"/>
                  </a:lnTo>
                  <a:cubicBezTo>
                    <a:pt x="162018" y="70607"/>
                    <a:pt x="168953" y="63673"/>
                    <a:pt x="177149" y="63673"/>
                  </a:cubicBezTo>
                  <a:cubicBezTo>
                    <a:pt x="185344" y="63673"/>
                    <a:pt x="192279" y="70607"/>
                    <a:pt x="192279" y="78803"/>
                  </a:cubicBezTo>
                  <a:lnTo>
                    <a:pt x="192279" y="165801"/>
                  </a:lnTo>
                  <a:cubicBezTo>
                    <a:pt x="197322" y="166432"/>
                    <a:pt x="201735" y="167062"/>
                    <a:pt x="206148" y="168953"/>
                  </a:cubicBezTo>
                  <a:lnTo>
                    <a:pt x="206148" y="106542"/>
                  </a:lnTo>
                  <a:cubicBezTo>
                    <a:pt x="206148" y="98346"/>
                    <a:pt x="213082" y="91411"/>
                    <a:pt x="221278" y="91411"/>
                  </a:cubicBezTo>
                  <a:cubicBezTo>
                    <a:pt x="229473" y="91411"/>
                    <a:pt x="236408" y="98346"/>
                    <a:pt x="236408" y="106542"/>
                  </a:cubicBezTo>
                  <a:lnTo>
                    <a:pt x="236408" y="207409"/>
                  </a:lnTo>
                  <a:lnTo>
                    <a:pt x="236408" y="234517"/>
                  </a:lnTo>
                  <a:lnTo>
                    <a:pt x="236408" y="306386"/>
                  </a:lnTo>
                  <a:cubicBezTo>
                    <a:pt x="236408" y="314581"/>
                    <a:pt x="233256" y="322776"/>
                    <a:pt x="228213" y="329081"/>
                  </a:cubicBezTo>
                  <a:lnTo>
                    <a:pt x="82585" y="329081"/>
                  </a:lnTo>
                  <a:cubicBezTo>
                    <a:pt x="80063" y="325929"/>
                    <a:pt x="78172" y="322146"/>
                    <a:pt x="76281" y="318363"/>
                  </a:cubicBezTo>
                  <a:lnTo>
                    <a:pt x="35934" y="247126"/>
                  </a:lnTo>
                  <a:cubicBezTo>
                    <a:pt x="34673" y="244604"/>
                    <a:pt x="34042" y="242082"/>
                    <a:pt x="34042" y="239561"/>
                  </a:cubicBezTo>
                  <a:lnTo>
                    <a:pt x="34042" y="171475"/>
                  </a:lnTo>
                  <a:cubicBezTo>
                    <a:pt x="34042" y="163280"/>
                    <a:pt x="40346" y="156345"/>
                    <a:pt x="48542" y="156345"/>
                  </a:cubicBezTo>
                  <a:cubicBezTo>
                    <a:pt x="56107" y="156345"/>
                    <a:pt x="63042" y="163280"/>
                    <a:pt x="63042" y="171475"/>
                  </a:cubicBezTo>
                  <a:lnTo>
                    <a:pt x="63042" y="199214"/>
                  </a:lnTo>
                  <a:lnTo>
                    <a:pt x="74389" y="215605"/>
                  </a:lnTo>
                  <a:lnTo>
                    <a:pt x="74389" y="70607"/>
                  </a:lnTo>
                  <a:cubicBezTo>
                    <a:pt x="74389" y="62412"/>
                    <a:pt x="81324" y="55477"/>
                    <a:pt x="89520" y="55477"/>
                  </a:cubicBezTo>
                  <a:cubicBezTo>
                    <a:pt x="97715" y="55477"/>
                    <a:pt x="104650" y="62412"/>
                    <a:pt x="104650" y="70607"/>
                  </a:cubicBezTo>
                  <a:lnTo>
                    <a:pt x="104650" y="168323"/>
                  </a:lnTo>
                  <a:cubicBezTo>
                    <a:pt x="109063" y="166432"/>
                    <a:pt x="113476" y="165801"/>
                    <a:pt x="118519" y="165171"/>
                  </a:cubicBezTo>
                  <a:lnTo>
                    <a:pt x="118519" y="47912"/>
                  </a:lnTo>
                  <a:cubicBezTo>
                    <a:pt x="118519" y="39717"/>
                    <a:pt x="124823" y="33413"/>
                    <a:pt x="133019" y="33413"/>
                  </a:cubicBezTo>
                  <a:moveTo>
                    <a:pt x="133019" y="0"/>
                  </a:moveTo>
                  <a:cubicBezTo>
                    <a:pt x="115997" y="0"/>
                    <a:pt x="100868" y="8826"/>
                    <a:pt x="92042" y="22695"/>
                  </a:cubicBezTo>
                  <a:cubicBezTo>
                    <a:pt x="90780" y="22695"/>
                    <a:pt x="90150" y="22695"/>
                    <a:pt x="88889" y="22695"/>
                  </a:cubicBezTo>
                  <a:cubicBezTo>
                    <a:pt x="62411" y="22695"/>
                    <a:pt x="40346" y="44130"/>
                    <a:pt x="40346" y="71238"/>
                  </a:cubicBezTo>
                  <a:lnTo>
                    <a:pt x="40346" y="124193"/>
                  </a:lnTo>
                  <a:cubicBezTo>
                    <a:pt x="17651" y="127976"/>
                    <a:pt x="0" y="148149"/>
                    <a:pt x="0" y="172105"/>
                  </a:cubicBezTo>
                  <a:lnTo>
                    <a:pt x="0" y="240191"/>
                  </a:lnTo>
                  <a:cubicBezTo>
                    <a:pt x="0" y="249017"/>
                    <a:pt x="2521" y="257212"/>
                    <a:pt x="6304" y="264777"/>
                  </a:cubicBezTo>
                  <a:lnTo>
                    <a:pt x="45390" y="333494"/>
                  </a:lnTo>
                  <a:cubicBezTo>
                    <a:pt x="47912" y="339167"/>
                    <a:pt x="51064" y="344841"/>
                    <a:pt x="54846" y="350515"/>
                  </a:cubicBezTo>
                  <a:cubicBezTo>
                    <a:pt x="61151" y="358711"/>
                    <a:pt x="71237" y="363754"/>
                    <a:pt x="81324" y="363754"/>
                  </a:cubicBezTo>
                  <a:lnTo>
                    <a:pt x="81324" y="363754"/>
                  </a:lnTo>
                  <a:lnTo>
                    <a:pt x="226952" y="363754"/>
                  </a:lnTo>
                  <a:cubicBezTo>
                    <a:pt x="237039" y="363754"/>
                    <a:pt x="247125" y="358711"/>
                    <a:pt x="253430" y="350515"/>
                  </a:cubicBezTo>
                  <a:cubicBezTo>
                    <a:pt x="262886" y="337907"/>
                    <a:pt x="268560" y="322776"/>
                    <a:pt x="268560" y="307646"/>
                  </a:cubicBezTo>
                  <a:lnTo>
                    <a:pt x="268560" y="234517"/>
                  </a:lnTo>
                  <a:lnTo>
                    <a:pt x="268560" y="207409"/>
                  </a:lnTo>
                  <a:lnTo>
                    <a:pt x="268560" y="106542"/>
                  </a:lnTo>
                  <a:cubicBezTo>
                    <a:pt x="268560" y="80064"/>
                    <a:pt x="247125" y="57999"/>
                    <a:pt x="220017" y="57999"/>
                  </a:cubicBezTo>
                  <a:cubicBezTo>
                    <a:pt x="212452" y="41608"/>
                    <a:pt x="196061" y="30260"/>
                    <a:pt x="177149" y="29630"/>
                  </a:cubicBezTo>
                  <a:cubicBezTo>
                    <a:pt x="170844" y="12608"/>
                    <a:pt x="153192" y="0"/>
                    <a:pt x="133019" y="0"/>
                  </a:cubicBezTo>
                  <a:lnTo>
                    <a:pt x="133019" y="0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34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10560021" y="3611920"/>
            <a:ext cx="268559" cy="431839"/>
            <a:chOff x="10560021" y="3611920"/>
            <a:chExt cx="268559" cy="431839"/>
          </a:xfrm>
          <a:solidFill>
            <a:srgbClr val="B1B1A1"/>
          </a:solidFill>
        </p:grpSpPr>
        <p:sp>
          <p:nvSpPr>
            <p:cNvPr id="135" name="Forma Livre: Forma 134">
              <a:extLst>
                <a:ext uri="{FF2B5EF4-FFF2-40B4-BE49-F238E27FC236}">
                  <a16:creationId xmlns:a16="http://schemas.microsoft.com/office/drawing/2014/main" id="{B6A4BE63-51B1-4B2B-9E73-EFAC2B72F2A3}"/>
                </a:ext>
              </a:extLst>
            </p:cNvPr>
            <p:cNvSpPr/>
            <p:nvPr/>
          </p:nvSpPr>
          <p:spPr>
            <a:xfrm>
              <a:off x="10605411" y="3916414"/>
              <a:ext cx="221278" cy="127345"/>
            </a:xfrm>
            <a:custGeom>
              <a:avLst/>
              <a:gdLst>
                <a:gd name="connsiteX0" fmla="*/ 16391 w 221278"/>
                <a:gd name="connsiteY0" fmla="*/ 127345 h 127345"/>
                <a:gd name="connsiteX1" fmla="*/ 0 w 221278"/>
                <a:gd name="connsiteY1" fmla="*/ 110954 h 127345"/>
                <a:gd name="connsiteX2" fmla="*/ 0 w 221278"/>
                <a:gd name="connsiteY2" fmla="*/ 17021 h 127345"/>
                <a:gd name="connsiteX3" fmla="*/ 5043 w 221278"/>
                <a:gd name="connsiteY3" fmla="*/ 5043 h 127345"/>
                <a:gd name="connsiteX4" fmla="*/ 17021 w 221278"/>
                <a:gd name="connsiteY4" fmla="*/ 0 h 127345"/>
                <a:gd name="connsiteX5" fmla="*/ 204887 w 221278"/>
                <a:gd name="connsiteY5" fmla="*/ 0 h 127345"/>
                <a:gd name="connsiteX6" fmla="*/ 204887 w 221278"/>
                <a:gd name="connsiteY6" fmla="*/ 0 h 127345"/>
                <a:gd name="connsiteX7" fmla="*/ 221278 w 221278"/>
                <a:gd name="connsiteY7" fmla="*/ 16391 h 127345"/>
                <a:gd name="connsiteX8" fmla="*/ 221278 w 221278"/>
                <a:gd name="connsiteY8" fmla="*/ 110324 h 127345"/>
                <a:gd name="connsiteX9" fmla="*/ 204887 w 221278"/>
                <a:gd name="connsiteY9" fmla="*/ 126715 h 127345"/>
                <a:gd name="connsiteX10" fmla="*/ 16391 w 221278"/>
                <a:gd name="connsiteY10" fmla="*/ 127345 h 127345"/>
                <a:gd name="connsiteX11" fmla="*/ 16391 w 221278"/>
                <a:gd name="connsiteY11" fmla="*/ 127345 h 127345"/>
                <a:gd name="connsiteX12" fmla="*/ 16391 w 221278"/>
                <a:gd name="connsiteY12" fmla="*/ 127345 h 127345"/>
                <a:gd name="connsiteX13" fmla="*/ 32782 w 221278"/>
                <a:gd name="connsiteY13" fmla="*/ 33412 h 127345"/>
                <a:gd name="connsiteX14" fmla="*/ 32782 w 221278"/>
                <a:gd name="connsiteY14" fmla="*/ 93933 h 127345"/>
                <a:gd name="connsiteX15" fmla="*/ 187235 w 221278"/>
                <a:gd name="connsiteY15" fmla="*/ 93933 h 127345"/>
                <a:gd name="connsiteX16" fmla="*/ 187235 w 221278"/>
                <a:gd name="connsiteY16" fmla="*/ 33412 h 127345"/>
                <a:gd name="connsiteX17" fmla="*/ 32782 w 221278"/>
                <a:gd name="connsiteY17" fmla="*/ 33412 h 127345"/>
                <a:gd name="connsiteX18" fmla="*/ 32782 w 221278"/>
                <a:gd name="connsiteY18" fmla="*/ 33412 h 127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21278" h="127345">
                  <a:moveTo>
                    <a:pt x="16391" y="127345"/>
                  </a:moveTo>
                  <a:cubicBezTo>
                    <a:pt x="6934" y="127345"/>
                    <a:pt x="0" y="119780"/>
                    <a:pt x="0" y="110954"/>
                  </a:cubicBezTo>
                  <a:lnTo>
                    <a:pt x="0" y="17021"/>
                  </a:lnTo>
                  <a:cubicBezTo>
                    <a:pt x="0" y="12608"/>
                    <a:pt x="1891" y="8195"/>
                    <a:pt x="5043" y="5043"/>
                  </a:cubicBezTo>
                  <a:cubicBezTo>
                    <a:pt x="8195" y="1891"/>
                    <a:pt x="12608" y="0"/>
                    <a:pt x="17021" y="0"/>
                  </a:cubicBezTo>
                  <a:lnTo>
                    <a:pt x="204887" y="0"/>
                  </a:lnTo>
                  <a:lnTo>
                    <a:pt x="204887" y="0"/>
                  </a:lnTo>
                  <a:cubicBezTo>
                    <a:pt x="214344" y="0"/>
                    <a:pt x="221278" y="7565"/>
                    <a:pt x="221278" y="16391"/>
                  </a:cubicBezTo>
                  <a:lnTo>
                    <a:pt x="221278" y="110324"/>
                  </a:lnTo>
                  <a:cubicBezTo>
                    <a:pt x="221278" y="119780"/>
                    <a:pt x="213713" y="126715"/>
                    <a:pt x="204887" y="126715"/>
                  </a:cubicBezTo>
                  <a:lnTo>
                    <a:pt x="16391" y="127345"/>
                  </a:lnTo>
                  <a:lnTo>
                    <a:pt x="16391" y="127345"/>
                  </a:lnTo>
                  <a:lnTo>
                    <a:pt x="16391" y="127345"/>
                  </a:lnTo>
                  <a:close/>
                  <a:moveTo>
                    <a:pt x="32782" y="33412"/>
                  </a:moveTo>
                  <a:lnTo>
                    <a:pt x="32782" y="93933"/>
                  </a:lnTo>
                  <a:lnTo>
                    <a:pt x="187235" y="93933"/>
                  </a:lnTo>
                  <a:lnTo>
                    <a:pt x="187235" y="33412"/>
                  </a:lnTo>
                  <a:lnTo>
                    <a:pt x="32782" y="33412"/>
                  </a:lnTo>
                  <a:lnTo>
                    <a:pt x="32782" y="33412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36" name="Forma Livre: Forma 135">
              <a:extLst>
                <a:ext uri="{FF2B5EF4-FFF2-40B4-BE49-F238E27FC236}">
                  <a16:creationId xmlns:a16="http://schemas.microsoft.com/office/drawing/2014/main" id="{6B24410F-2590-429C-9346-F511228139A3}"/>
                </a:ext>
              </a:extLst>
            </p:cNvPr>
            <p:cNvSpPr/>
            <p:nvPr/>
          </p:nvSpPr>
          <p:spPr>
            <a:xfrm>
              <a:off x="10560021" y="3611920"/>
              <a:ext cx="268559" cy="340427"/>
            </a:xfrm>
            <a:custGeom>
              <a:avLst/>
              <a:gdLst>
                <a:gd name="connsiteX0" fmla="*/ 88889 w 268559"/>
                <a:gd name="connsiteY0" fmla="*/ 33412 h 340427"/>
                <a:gd name="connsiteX1" fmla="*/ 104020 w 268559"/>
                <a:gd name="connsiteY1" fmla="*/ 48542 h 340427"/>
                <a:gd name="connsiteX2" fmla="*/ 104020 w 268559"/>
                <a:gd name="connsiteY2" fmla="*/ 146258 h 340427"/>
                <a:gd name="connsiteX3" fmla="*/ 117889 w 268559"/>
                <a:gd name="connsiteY3" fmla="*/ 143106 h 340427"/>
                <a:gd name="connsiteX4" fmla="*/ 117889 w 268559"/>
                <a:gd name="connsiteY4" fmla="*/ 133019 h 340427"/>
                <a:gd name="connsiteX5" fmla="*/ 133019 w 268559"/>
                <a:gd name="connsiteY5" fmla="*/ 117889 h 340427"/>
                <a:gd name="connsiteX6" fmla="*/ 148149 w 268559"/>
                <a:gd name="connsiteY6" fmla="*/ 133019 h 340427"/>
                <a:gd name="connsiteX7" fmla="*/ 148149 w 268559"/>
                <a:gd name="connsiteY7" fmla="*/ 142476 h 340427"/>
                <a:gd name="connsiteX8" fmla="*/ 162019 w 268559"/>
                <a:gd name="connsiteY8" fmla="*/ 142476 h 340427"/>
                <a:gd name="connsiteX9" fmla="*/ 162019 w 268559"/>
                <a:gd name="connsiteY9" fmla="*/ 137432 h 340427"/>
                <a:gd name="connsiteX10" fmla="*/ 177149 w 268559"/>
                <a:gd name="connsiteY10" fmla="*/ 122302 h 340427"/>
                <a:gd name="connsiteX11" fmla="*/ 192279 w 268559"/>
                <a:gd name="connsiteY11" fmla="*/ 137432 h 340427"/>
                <a:gd name="connsiteX12" fmla="*/ 192279 w 268559"/>
                <a:gd name="connsiteY12" fmla="*/ 143106 h 340427"/>
                <a:gd name="connsiteX13" fmla="*/ 206149 w 268559"/>
                <a:gd name="connsiteY13" fmla="*/ 146258 h 340427"/>
                <a:gd name="connsiteX14" fmla="*/ 221278 w 268559"/>
                <a:gd name="connsiteY14" fmla="*/ 131128 h 340427"/>
                <a:gd name="connsiteX15" fmla="*/ 236408 w 268559"/>
                <a:gd name="connsiteY15" fmla="*/ 146258 h 340427"/>
                <a:gd name="connsiteX16" fmla="*/ 236408 w 268559"/>
                <a:gd name="connsiteY16" fmla="*/ 184714 h 340427"/>
                <a:gd name="connsiteX17" fmla="*/ 236408 w 268559"/>
                <a:gd name="connsiteY17" fmla="*/ 211822 h 340427"/>
                <a:gd name="connsiteX18" fmla="*/ 236408 w 268559"/>
                <a:gd name="connsiteY18" fmla="*/ 283690 h 340427"/>
                <a:gd name="connsiteX19" fmla="*/ 228213 w 268559"/>
                <a:gd name="connsiteY19" fmla="*/ 306385 h 340427"/>
                <a:gd name="connsiteX20" fmla="*/ 82585 w 268559"/>
                <a:gd name="connsiteY20" fmla="*/ 306385 h 340427"/>
                <a:gd name="connsiteX21" fmla="*/ 76281 w 268559"/>
                <a:gd name="connsiteY21" fmla="*/ 295668 h 340427"/>
                <a:gd name="connsiteX22" fmla="*/ 35935 w 268559"/>
                <a:gd name="connsiteY22" fmla="*/ 224430 h 340427"/>
                <a:gd name="connsiteX23" fmla="*/ 34043 w 268559"/>
                <a:gd name="connsiteY23" fmla="*/ 216865 h 340427"/>
                <a:gd name="connsiteX24" fmla="*/ 34043 w 268559"/>
                <a:gd name="connsiteY24" fmla="*/ 148780 h 340427"/>
                <a:gd name="connsiteX25" fmla="*/ 48543 w 268559"/>
                <a:gd name="connsiteY25" fmla="*/ 133649 h 340427"/>
                <a:gd name="connsiteX26" fmla="*/ 63042 w 268559"/>
                <a:gd name="connsiteY26" fmla="*/ 148780 h 340427"/>
                <a:gd name="connsiteX27" fmla="*/ 63042 w 268559"/>
                <a:gd name="connsiteY27" fmla="*/ 176518 h 340427"/>
                <a:gd name="connsiteX28" fmla="*/ 74390 w 268559"/>
                <a:gd name="connsiteY28" fmla="*/ 192909 h 340427"/>
                <a:gd name="connsiteX29" fmla="*/ 74390 w 268559"/>
                <a:gd name="connsiteY29" fmla="*/ 47912 h 340427"/>
                <a:gd name="connsiteX30" fmla="*/ 88889 w 268559"/>
                <a:gd name="connsiteY30" fmla="*/ 33412 h 340427"/>
                <a:gd name="connsiteX31" fmla="*/ 88889 w 268559"/>
                <a:gd name="connsiteY31" fmla="*/ 0 h 340427"/>
                <a:gd name="connsiteX32" fmla="*/ 40347 w 268559"/>
                <a:gd name="connsiteY32" fmla="*/ 48542 h 340427"/>
                <a:gd name="connsiteX33" fmla="*/ 40347 w 268559"/>
                <a:gd name="connsiteY33" fmla="*/ 101498 h 340427"/>
                <a:gd name="connsiteX34" fmla="*/ 0 w 268559"/>
                <a:gd name="connsiteY34" fmla="*/ 149410 h 340427"/>
                <a:gd name="connsiteX35" fmla="*/ 0 w 268559"/>
                <a:gd name="connsiteY35" fmla="*/ 216865 h 340427"/>
                <a:gd name="connsiteX36" fmla="*/ 6304 w 268559"/>
                <a:gd name="connsiteY36" fmla="*/ 241452 h 340427"/>
                <a:gd name="connsiteX37" fmla="*/ 45391 w 268559"/>
                <a:gd name="connsiteY37" fmla="*/ 310168 h 340427"/>
                <a:gd name="connsiteX38" fmla="*/ 54847 w 268559"/>
                <a:gd name="connsiteY38" fmla="*/ 327189 h 340427"/>
                <a:gd name="connsiteX39" fmla="*/ 81325 w 268559"/>
                <a:gd name="connsiteY39" fmla="*/ 340428 h 340427"/>
                <a:gd name="connsiteX40" fmla="*/ 81325 w 268559"/>
                <a:gd name="connsiteY40" fmla="*/ 340428 h 340427"/>
                <a:gd name="connsiteX41" fmla="*/ 226952 w 268559"/>
                <a:gd name="connsiteY41" fmla="*/ 340428 h 340427"/>
                <a:gd name="connsiteX42" fmla="*/ 253430 w 268559"/>
                <a:gd name="connsiteY42" fmla="*/ 327189 h 340427"/>
                <a:gd name="connsiteX43" fmla="*/ 268560 w 268559"/>
                <a:gd name="connsiteY43" fmla="*/ 284321 h 340427"/>
                <a:gd name="connsiteX44" fmla="*/ 268560 w 268559"/>
                <a:gd name="connsiteY44" fmla="*/ 212452 h 340427"/>
                <a:gd name="connsiteX45" fmla="*/ 268560 w 268559"/>
                <a:gd name="connsiteY45" fmla="*/ 185344 h 340427"/>
                <a:gd name="connsiteX46" fmla="*/ 268560 w 268559"/>
                <a:gd name="connsiteY46" fmla="*/ 146889 h 340427"/>
                <a:gd name="connsiteX47" fmla="*/ 220018 w 268559"/>
                <a:gd name="connsiteY47" fmla="*/ 98346 h 340427"/>
                <a:gd name="connsiteX48" fmla="*/ 206779 w 268559"/>
                <a:gd name="connsiteY48" fmla="*/ 100237 h 340427"/>
                <a:gd name="connsiteX49" fmla="*/ 176518 w 268559"/>
                <a:gd name="connsiteY49" fmla="*/ 89520 h 340427"/>
                <a:gd name="connsiteX50" fmla="*/ 158867 w 268559"/>
                <a:gd name="connsiteY50" fmla="*/ 92672 h 340427"/>
                <a:gd name="connsiteX51" fmla="*/ 137432 w 268559"/>
                <a:gd name="connsiteY51" fmla="*/ 85107 h 340427"/>
                <a:gd name="connsiteX52" fmla="*/ 137432 w 268559"/>
                <a:gd name="connsiteY52" fmla="*/ 48542 h 340427"/>
                <a:gd name="connsiteX53" fmla="*/ 88889 w 268559"/>
                <a:gd name="connsiteY53" fmla="*/ 0 h 340427"/>
                <a:gd name="connsiteX54" fmla="*/ 88889 w 268559"/>
                <a:gd name="connsiteY54" fmla="*/ 0 h 340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268559" h="340427">
                  <a:moveTo>
                    <a:pt x="88889" y="33412"/>
                  </a:moveTo>
                  <a:cubicBezTo>
                    <a:pt x="97085" y="33412"/>
                    <a:pt x="104020" y="40347"/>
                    <a:pt x="104020" y="48542"/>
                  </a:cubicBezTo>
                  <a:lnTo>
                    <a:pt x="104020" y="146258"/>
                  </a:lnTo>
                  <a:cubicBezTo>
                    <a:pt x="108433" y="144367"/>
                    <a:pt x="112846" y="143736"/>
                    <a:pt x="117889" y="143106"/>
                  </a:cubicBezTo>
                  <a:lnTo>
                    <a:pt x="117889" y="133019"/>
                  </a:lnTo>
                  <a:cubicBezTo>
                    <a:pt x="117889" y="124824"/>
                    <a:pt x="124824" y="117889"/>
                    <a:pt x="133019" y="117889"/>
                  </a:cubicBezTo>
                  <a:cubicBezTo>
                    <a:pt x="141215" y="117889"/>
                    <a:pt x="148149" y="124824"/>
                    <a:pt x="148149" y="133019"/>
                  </a:cubicBezTo>
                  <a:lnTo>
                    <a:pt x="148149" y="142476"/>
                  </a:lnTo>
                  <a:lnTo>
                    <a:pt x="162019" y="142476"/>
                  </a:lnTo>
                  <a:lnTo>
                    <a:pt x="162019" y="137432"/>
                  </a:lnTo>
                  <a:cubicBezTo>
                    <a:pt x="162019" y="129236"/>
                    <a:pt x="168954" y="122302"/>
                    <a:pt x="177149" y="122302"/>
                  </a:cubicBezTo>
                  <a:cubicBezTo>
                    <a:pt x="185344" y="122302"/>
                    <a:pt x="192279" y="129236"/>
                    <a:pt x="192279" y="137432"/>
                  </a:cubicBezTo>
                  <a:lnTo>
                    <a:pt x="192279" y="143106"/>
                  </a:lnTo>
                  <a:cubicBezTo>
                    <a:pt x="197323" y="143736"/>
                    <a:pt x="201735" y="144367"/>
                    <a:pt x="206149" y="146258"/>
                  </a:cubicBezTo>
                  <a:cubicBezTo>
                    <a:pt x="206149" y="138063"/>
                    <a:pt x="213083" y="131128"/>
                    <a:pt x="221278" y="131128"/>
                  </a:cubicBezTo>
                  <a:cubicBezTo>
                    <a:pt x="229474" y="131128"/>
                    <a:pt x="236408" y="138063"/>
                    <a:pt x="236408" y="146258"/>
                  </a:cubicBezTo>
                  <a:lnTo>
                    <a:pt x="236408" y="184714"/>
                  </a:lnTo>
                  <a:lnTo>
                    <a:pt x="236408" y="211822"/>
                  </a:lnTo>
                  <a:lnTo>
                    <a:pt x="236408" y="283690"/>
                  </a:lnTo>
                  <a:cubicBezTo>
                    <a:pt x="236408" y="291886"/>
                    <a:pt x="233256" y="300081"/>
                    <a:pt x="228213" y="306385"/>
                  </a:cubicBezTo>
                  <a:lnTo>
                    <a:pt x="82585" y="306385"/>
                  </a:lnTo>
                  <a:cubicBezTo>
                    <a:pt x="80064" y="303233"/>
                    <a:pt x="78173" y="299451"/>
                    <a:pt x="76281" y="295668"/>
                  </a:cubicBezTo>
                  <a:lnTo>
                    <a:pt x="35935" y="224430"/>
                  </a:lnTo>
                  <a:cubicBezTo>
                    <a:pt x="34673" y="221909"/>
                    <a:pt x="34043" y="219387"/>
                    <a:pt x="34043" y="216865"/>
                  </a:cubicBezTo>
                  <a:lnTo>
                    <a:pt x="34043" y="148780"/>
                  </a:lnTo>
                  <a:cubicBezTo>
                    <a:pt x="34043" y="140584"/>
                    <a:pt x="40347" y="133649"/>
                    <a:pt x="48543" y="133649"/>
                  </a:cubicBezTo>
                  <a:cubicBezTo>
                    <a:pt x="56738" y="133649"/>
                    <a:pt x="63042" y="140584"/>
                    <a:pt x="63042" y="148780"/>
                  </a:cubicBezTo>
                  <a:lnTo>
                    <a:pt x="63042" y="176518"/>
                  </a:lnTo>
                  <a:lnTo>
                    <a:pt x="74390" y="192909"/>
                  </a:lnTo>
                  <a:lnTo>
                    <a:pt x="74390" y="47912"/>
                  </a:lnTo>
                  <a:cubicBezTo>
                    <a:pt x="73760" y="39717"/>
                    <a:pt x="80694" y="33412"/>
                    <a:pt x="88889" y="33412"/>
                  </a:cubicBezTo>
                  <a:moveTo>
                    <a:pt x="88889" y="0"/>
                  </a:moveTo>
                  <a:cubicBezTo>
                    <a:pt x="62412" y="0"/>
                    <a:pt x="40347" y="21434"/>
                    <a:pt x="40347" y="48542"/>
                  </a:cubicBezTo>
                  <a:lnTo>
                    <a:pt x="40347" y="101498"/>
                  </a:lnTo>
                  <a:cubicBezTo>
                    <a:pt x="17652" y="105280"/>
                    <a:pt x="0" y="125454"/>
                    <a:pt x="0" y="149410"/>
                  </a:cubicBezTo>
                  <a:lnTo>
                    <a:pt x="0" y="216865"/>
                  </a:lnTo>
                  <a:cubicBezTo>
                    <a:pt x="0" y="225691"/>
                    <a:pt x="2522" y="233887"/>
                    <a:pt x="6304" y="241452"/>
                  </a:cubicBezTo>
                  <a:lnTo>
                    <a:pt x="45391" y="310168"/>
                  </a:lnTo>
                  <a:cubicBezTo>
                    <a:pt x="47912" y="315842"/>
                    <a:pt x="51064" y="321515"/>
                    <a:pt x="54847" y="327189"/>
                  </a:cubicBezTo>
                  <a:cubicBezTo>
                    <a:pt x="61151" y="335385"/>
                    <a:pt x="71238" y="340428"/>
                    <a:pt x="81325" y="340428"/>
                  </a:cubicBezTo>
                  <a:lnTo>
                    <a:pt x="81325" y="340428"/>
                  </a:lnTo>
                  <a:lnTo>
                    <a:pt x="226952" y="340428"/>
                  </a:lnTo>
                  <a:cubicBezTo>
                    <a:pt x="237039" y="340428"/>
                    <a:pt x="247126" y="335385"/>
                    <a:pt x="253430" y="327189"/>
                  </a:cubicBezTo>
                  <a:cubicBezTo>
                    <a:pt x="262887" y="314581"/>
                    <a:pt x="268560" y="299451"/>
                    <a:pt x="268560" y="284321"/>
                  </a:cubicBezTo>
                  <a:lnTo>
                    <a:pt x="268560" y="212452"/>
                  </a:lnTo>
                  <a:lnTo>
                    <a:pt x="268560" y="185344"/>
                  </a:lnTo>
                  <a:lnTo>
                    <a:pt x="268560" y="146889"/>
                  </a:lnTo>
                  <a:cubicBezTo>
                    <a:pt x="268560" y="120411"/>
                    <a:pt x="247126" y="98346"/>
                    <a:pt x="220018" y="98346"/>
                  </a:cubicBezTo>
                  <a:cubicBezTo>
                    <a:pt x="215605" y="98346"/>
                    <a:pt x="210561" y="98976"/>
                    <a:pt x="206779" y="100237"/>
                  </a:cubicBezTo>
                  <a:cubicBezTo>
                    <a:pt x="198583" y="93302"/>
                    <a:pt x="187866" y="89520"/>
                    <a:pt x="176518" y="89520"/>
                  </a:cubicBezTo>
                  <a:cubicBezTo>
                    <a:pt x="170214" y="89520"/>
                    <a:pt x="163910" y="90781"/>
                    <a:pt x="158867" y="92672"/>
                  </a:cubicBezTo>
                  <a:cubicBezTo>
                    <a:pt x="152563" y="88890"/>
                    <a:pt x="144997" y="85738"/>
                    <a:pt x="137432" y="85107"/>
                  </a:cubicBezTo>
                  <a:lnTo>
                    <a:pt x="137432" y="48542"/>
                  </a:lnTo>
                  <a:cubicBezTo>
                    <a:pt x="137432" y="21434"/>
                    <a:pt x="115368" y="0"/>
                    <a:pt x="88889" y="0"/>
                  </a:cubicBezTo>
                  <a:lnTo>
                    <a:pt x="88889" y="0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37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9481368" y="4707594"/>
            <a:ext cx="395274" cy="309537"/>
            <a:chOff x="9481368" y="4707594"/>
            <a:chExt cx="395274" cy="309537"/>
          </a:xfrm>
          <a:solidFill>
            <a:srgbClr val="B1B1A1"/>
          </a:solidFill>
        </p:grpSpPr>
        <p:sp>
          <p:nvSpPr>
            <p:cNvPr id="138" name="Forma Livre: Forma 137">
              <a:extLst>
                <a:ext uri="{FF2B5EF4-FFF2-40B4-BE49-F238E27FC236}">
                  <a16:creationId xmlns:a16="http://schemas.microsoft.com/office/drawing/2014/main" id="{EE385494-122F-4FDD-A71B-6DEC862F00E0}"/>
                </a:ext>
              </a:extLst>
            </p:cNvPr>
            <p:cNvSpPr/>
            <p:nvPr/>
          </p:nvSpPr>
          <p:spPr>
            <a:xfrm>
              <a:off x="9542519" y="4707594"/>
              <a:ext cx="274864" cy="245234"/>
            </a:xfrm>
            <a:custGeom>
              <a:avLst/>
              <a:gdLst>
                <a:gd name="connsiteX0" fmla="*/ 257213 w 274864"/>
                <a:gd name="connsiteY0" fmla="*/ 245234 h 245234"/>
                <a:gd name="connsiteX1" fmla="*/ 240822 w 274864"/>
                <a:gd name="connsiteY1" fmla="*/ 228843 h 245234"/>
                <a:gd name="connsiteX2" fmla="*/ 240822 w 274864"/>
                <a:gd name="connsiteY2" fmla="*/ 137432 h 245234"/>
                <a:gd name="connsiteX3" fmla="*/ 136802 w 274864"/>
                <a:gd name="connsiteY3" fmla="*/ 33412 h 245234"/>
                <a:gd name="connsiteX4" fmla="*/ 32782 w 274864"/>
                <a:gd name="connsiteY4" fmla="*/ 137432 h 245234"/>
                <a:gd name="connsiteX5" fmla="*/ 32782 w 274864"/>
                <a:gd name="connsiteY5" fmla="*/ 228843 h 245234"/>
                <a:gd name="connsiteX6" fmla="*/ 16392 w 274864"/>
                <a:gd name="connsiteY6" fmla="*/ 245234 h 245234"/>
                <a:gd name="connsiteX7" fmla="*/ 0 w 274864"/>
                <a:gd name="connsiteY7" fmla="*/ 228843 h 245234"/>
                <a:gd name="connsiteX8" fmla="*/ 0 w 274864"/>
                <a:gd name="connsiteY8" fmla="*/ 137432 h 245234"/>
                <a:gd name="connsiteX9" fmla="*/ 137432 w 274864"/>
                <a:gd name="connsiteY9" fmla="*/ 0 h 245234"/>
                <a:gd name="connsiteX10" fmla="*/ 274865 w 274864"/>
                <a:gd name="connsiteY10" fmla="*/ 137432 h 245234"/>
                <a:gd name="connsiteX11" fmla="*/ 274865 w 274864"/>
                <a:gd name="connsiteY11" fmla="*/ 228843 h 245234"/>
                <a:gd name="connsiteX12" fmla="*/ 257213 w 274864"/>
                <a:gd name="connsiteY12" fmla="*/ 245234 h 245234"/>
                <a:gd name="connsiteX13" fmla="*/ 257213 w 274864"/>
                <a:gd name="connsiteY13" fmla="*/ 245234 h 245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4864" h="245234">
                  <a:moveTo>
                    <a:pt x="257213" y="245234"/>
                  </a:moveTo>
                  <a:cubicBezTo>
                    <a:pt x="247756" y="245234"/>
                    <a:pt x="240822" y="237669"/>
                    <a:pt x="240822" y="228843"/>
                  </a:cubicBezTo>
                  <a:lnTo>
                    <a:pt x="240822" y="137432"/>
                  </a:lnTo>
                  <a:cubicBezTo>
                    <a:pt x="240822" y="80063"/>
                    <a:pt x="194170" y="33412"/>
                    <a:pt x="136802" y="33412"/>
                  </a:cubicBezTo>
                  <a:cubicBezTo>
                    <a:pt x="79434" y="33412"/>
                    <a:pt x="32782" y="80063"/>
                    <a:pt x="32782" y="137432"/>
                  </a:cubicBezTo>
                  <a:lnTo>
                    <a:pt x="32782" y="228843"/>
                  </a:lnTo>
                  <a:cubicBezTo>
                    <a:pt x="32782" y="238300"/>
                    <a:pt x="25217" y="245234"/>
                    <a:pt x="16392" y="245234"/>
                  </a:cubicBezTo>
                  <a:cubicBezTo>
                    <a:pt x="7566" y="245234"/>
                    <a:pt x="0" y="237669"/>
                    <a:pt x="0" y="228843"/>
                  </a:cubicBezTo>
                  <a:lnTo>
                    <a:pt x="0" y="137432"/>
                  </a:lnTo>
                  <a:cubicBezTo>
                    <a:pt x="0" y="61781"/>
                    <a:pt x="61782" y="0"/>
                    <a:pt x="137432" y="0"/>
                  </a:cubicBezTo>
                  <a:cubicBezTo>
                    <a:pt x="213083" y="0"/>
                    <a:pt x="274865" y="61781"/>
                    <a:pt x="274865" y="137432"/>
                  </a:cubicBezTo>
                  <a:lnTo>
                    <a:pt x="274865" y="228843"/>
                  </a:lnTo>
                  <a:cubicBezTo>
                    <a:pt x="274234" y="237669"/>
                    <a:pt x="266669" y="245234"/>
                    <a:pt x="257213" y="245234"/>
                  </a:cubicBezTo>
                  <a:lnTo>
                    <a:pt x="257213" y="245234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139" name="Gráfico 2">
              <a:extLst>
                <a:ext uri="{FF2B5EF4-FFF2-40B4-BE49-F238E27FC236}">
                  <a16:creationId xmlns:a16="http://schemas.microsoft.com/office/drawing/2014/main" id="{1EC2913E-D059-42A1-91F3-F6BAB2F166E6}"/>
                </a:ext>
              </a:extLst>
            </p:cNvPr>
            <p:cNvGrpSpPr/>
            <p:nvPr/>
          </p:nvGrpSpPr>
          <p:grpSpPr>
            <a:xfrm>
              <a:off x="9481368" y="4814135"/>
              <a:ext cx="395274" cy="138692"/>
              <a:chOff x="9481368" y="4814135"/>
              <a:chExt cx="395274" cy="138692"/>
            </a:xfrm>
            <a:grpFill/>
          </p:grpSpPr>
          <p:sp>
            <p:nvSpPr>
              <p:cNvPr id="140" name="Forma Livre: Forma 139">
                <a:extLst>
                  <a:ext uri="{FF2B5EF4-FFF2-40B4-BE49-F238E27FC236}">
                    <a16:creationId xmlns:a16="http://schemas.microsoft.com/office/drawing/2014/main" id="{DF3A1A9A-D05E-43AF-B2B3-33B861AEDA3F}"/>
                  </a:ext>
                </a:extLst>
              </p:cNvPr>
              <p:cNvSpPr/>
              <p:nvPr/>
            </p:nvSpPr>
            <p:spPr>
              <a:xfrm>
                <a:off x="9786492" y="4815396"/>
                <a:ext cx="90149" cy="137432"/>
              </a:xfrm>
              <a:custGeom>
                <a:avLst/>
                <a:gdLst>
                  <a:gd name="connsiteX0" fmla="*/ 16391 w 90149"/>
                  <a:gd name="connsiteY0" fmla="*/ 137432 h 137432"/>
                  <a:gd name="connsiteX1" fmla="*/ 0 w 90149"/>
                  <a:gd name="connsiteY1" fmla="*/ 121041 h 137432"/>
                  <a:gd name="connsiteX2" fmla="*/ 16391 w 90149"/>
                  <a:gd name="connsiteY2" fmla="*/ 104650 h 137432"/>
                  <a:gd name="connsiteX3" fmla="*/ 56738 w 90149"/>
                  <a:gd name="connsiteY3" fmla="*/ 68716 h 137432"/>
                  <a:gd name="connsiteX4" fmla="*/ 16391 w 90149"/>
                  <a:gd name="connsiteY4" fmla="*/ 32782 h 137432"/>
                  <a:gd name="connsiteX5" fmla="*/ 0 w 90149"/>
                  <a:gd name="connsiteY5" fmla="*/ 16391 h 137432"/>
                  <a:gd name="connsiteX6" fmla="*/ 16391 w 90149"/>
                  <a:gd name="connsiteY6" fmla="*/ 0 h 137432"/>
                  <a:gd name="connsiteX7" fmla="*/ 90150 w 90149"/>
                  <a:gd name="connsiteY7" fmla="*/ 69346 h 137432"/>
                  <a:gd name="connsiteX8" fmla="*/ 16391 w 90149"/>
                  <a:gd name="connsiteY8" fmla="*/ 137432 h 137432"/>
                  <a:gd name="connsiteX9" fmla="*/ 16391 w 90149"/>
                  <a:gd name="connsiteY9" fmla="*/ 137432 h 137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0149" h="137432">
                    <a:moveTo>
                      <a:pt x="16391" y="137432"/>
                    </a:moveTo>
                    <a:cubicBezTo>
                      <a:pt x="6934" y="137432"/>
                      <a:pt x="0" y="129867"/>
                      <a:pt x="0" y="121041"/>
                    </a:cubicBezTo>
                    <a:cubicBezTo>
                      <a:pt x="0" y="111585"/>
                      <a:pt x="7565" y="104650"/>
                      <a:pt x="16391" y="104650"/>
                    </a:cubicBezTo>
                    <a:cubicBezTo>
                      <a:pt x="38456" y="104650"/>
                      <a:pt x="56738" y="88259"/>
                      <a:pt x="56738" y="68716"/>
                    </a:cubicBezTo>
                    <a:cubicBezTo>
                      <a:pt x="56738" y="48543"/>
                      <a:pt x="38456" y="32782"/>
                      <a:pt x="16391" y="32782"/>
                    </a:cubicBezTo>
                    <a:cubicBezTo>
                      <a:pt x="6934" y="32782"/>
                      <a:pt x="0" y="25217"/>
                      <a:pt x="0" y="16391"/>
                    </a:cubicBezTo>
                    <a:cubicBezTo>
                      <a:pt x="0" y="6934"/>
                      <a:pt x="7565" y="0"/>
                      <a:pt x="16391" y="0"/>
                    </a:cubicBezTo>
                    <a:cubicBezTo>
                      <a:pt x="56738" y="0"/>
                      <a:pt x="90150" y="30891"/>
                      <a:pt x="90150" y="69346"/>
                    </a:cubicBezTo>
                    <a:cubicBezTo>
                      <a:pt x="89520" y="106542"/>
                      <a:pt x="56738" y="137432"/>
                      <a:pt x="16391" y="137432"/>
                    </a:cubicBezTo>
                    <a:lnTo>
                      <a:pt x="16391" y="137432"/>
                    </a:ln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41" name="Forma Livre: Forma 140">
                <a:extLst>
                  <a:ext uri="{FF2B5EF4-FFF2-40B4-BE49-F238E27FC236}">
                    <a16:creationId xmlns:a16="http://schemas.microsoft.com/office/drawing/2014/main" id="{C3F76CD0-8866-474D-99EF-34FADA8BADF9}"/>
                  </a:ext>
                </a:extLst>
              </p:cNvPr>
              <p:cNvSpPr/>
              <p:nvPr/>
            </p:nvSpPr>
            <p:spPr>
              <a:xfrm>
                <a:off x="9481368" y="4814135"/>
                <a:ext cx="90187" cy="138692"/>
              </a:xfrm>
              <a:custGeom>
                <a:avLst/>
                <a:gdLst>
                  <a:gd name="connsiteX0" fmla="*/ 73759 w 90187"/>
                  <a:gd name="connsiteY0" fmla="*/ 138693 h 138692"/>
                  <a:gd name="connsiteX1" fmla="*/ 0 w 90187"/>
                  <a:gd name="connsiteY1" fmla="*/ 69346 h 138692"/>
                  <a:gd name="connsiteX2" fmla="*/ 73759 w 90187"/>
                  <a:gd name="connsiteY2" fmla="*/ 0 h 138692"/>
                  <a:gd name="connsiteX3" fmla="*/ 90151 w 90187"/>
                  <a:gd name="connsiteY3" fmla="*/ 16391 h 138692"/>
                  <a:gd name="connsiteX4" fmla="*/ 73759 w 90187"/>
                  <a:gd name="connsiteY4" fmla="*/ 32782 h 138692"/>
                  <a:gd name="connsiteX5" fmla="*/ 33413 w 90187"/>
                  <a:gd name="connsiteY5" fmla="*/ 68716 h 138692"/>
                  <a:gd name="connsiteX6" fmla="*/ 73759 w 90187"/>
                  <a:gd name="connsiteY6" fmla="*/ 104650 h 138692"/>
                  <a:gd name="connsiteX7" fmla="*/ 90151 w 90187"/>
                  <a:gd name="connsiteY7" fmla="*/ 121041 h 138692"/>
                  <a:gd name="connsiteX8" fmla="*/ 73759 w 90187"/>
                  <a:gd name="connsiteY8" fmla="*/ 138693 h 138692"/>
                  <a:gd name="connsiteX9" fmla="*/ 73759 w 90187"/>
                  <a:gd name="connsiteY9" fmla="*/ 138693 h 138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0187" h="138692">
                    <a:moveTo>
                      <a:pt x="73759" y="138693"/>
                    </a:moveTo>
                    <a:cubicBezTo>
                      <a:pt x="33413" y="138693"/>
                      <a:pt x="0" y="107802"/>
                      <a:pt x="0" y="69346"/>
                    </a:cubicBezTo>
                    <a:cubicBezTo>
                      <a:pt x="0" y="30891"/>
                      <a:pt x="32782" y="0"/>
                      <a:pt x="73759" y="0"/>
                    </a:cubicBezTo>
                    <a:cubicBezTo>
                      <a:pt x="83215" y="0"/>
                      <a:pt x="90151" y="7565"/>
                      <a:pt x="90151" y="16391"/>
                    </a:cubicBezTo>
                    <a:cubicBezTo>
                      <a:pt x="90151" y="25848"/>
                      <a:pt x="82585" y="32782"/>
                      <a:pt x="73759" y="32782"/>
                    </a:cubicBezTo>
                    <a:cubicBezTo>
                      <a:pt x="51694" y="32782"/>
                      <a:pt x="33413" y="49173"/>
                      <a:pt x="33413" y="68716"/>
                    </a:cubicBezTo>
                    <a:cubicBezTo>
                      <a:pt x="33413" y="88890"/>
                      <a:pt x="51694" y="104650"/>
                      <a:pt x="73759" y="104650"/>
                    </a:cubicBezTo>
                    <a:cubicBezTo>
                      <a:pt x="83215" y="104650"/>
                      <a:pt x="90151" y="112215"/>
                      <a:pt x="90151" y="121041"/>
                    </a:cubicBezTo>
                    <a:cubicBezTo>
                      <a:pt x="90781" y="131128"/>
                      <a:pt x="83215" y="138693"/>
                      <a:pt x="73759" y="138693"/>
                    </a:cubicBezTo>
                    <a:lnTo>
                      <a:pt x="73759" y="138693"/>
                    </a:ln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142" name="Forma Livre: Forma 141">
              <a:extLst>
                <a:ext uri="{FF2B5EF4-FFF2-40B4-BE49-F238E27FC236}">
                  <a16:creationId xmlns:a16="http://schemas.microsoft.com/office/drawing/2014/main" id="{E6704A90-F8B5-4ECE-BA6B-941683A41E08}"/>
                </a:ext>
              </a:extLst>
            </p:cNvPr>
            <p:cNvSpPr/>
            <p:nvPr/>
          </p:nvSpPr>
          <p:spPr>
            <a:xfrm>
              <a:off x="9710212" y="4924459"/>
              <a:ext cx="105910" cy="84476"/>
            </a:xfrm>
            <a:custGeom>
              <a:avLst/>
              <a:gdLst>
                <a:gd name="connsiteX0" fmla="*/ 20803 w 105910"/>
                <a:gd name="connsiteY0" fmla="*/ 84477 h 84476"/>
                <a:gd name="connsiteX1" fmla="*/ 16391 w 105910"/>
                <a:gd name="connsiteY1" fmla="*/ 84477 h 84476"/>
                <a:gd name="connsiteX2" fmla="*/ 0 w 105910"/>
                <a:gd name="connsiteY2" fmla="*/ 67455 h 84476"/>
                <a:gd name="connsiteX3" fmla="*/ 17021 w 105910"/>
                <a:gd name="connsiteY3" fmla="*/ 51064 h 84476"/>
                <a:gd name="connsiteX4" fmla="*/ 63673 w 105910"/>
                <a:gd name="connsiteY4" fmla="*/ 37825 h 84476"/>
                <a:gd name="connsiteX5" fmla="*/ 73129 w 105910"/>
                <a:gd name="connsiteY5" fmla="*/ 17021 h 84476"/>
                <a:gd name="connsiteX6" fmla="*/ 89520 w 105910"/>
                <a:gd name="connsiteY6" fmla="*/ 0 h 84476"/>
                <a:gd name="connsiteX7" fmla="*/ 89520 w 105910"/>
                <a:gd name="connsiteY7" fmla="*/ 0 h 84476"/>
                <a:gd name="connsiteX8" fmla="*/ 105911 w 105910"/>
                <a:gd name="connsiteY8" fmla="*/ 16391 h 84476"/>
                <a:gd name="connsiteX9" fmla="*/ 86368 w 105910"/>
                <a:gd name="connsiteY9" fmla="*/ 61781 h 84476"/>
                <a:gd name="connsiteX10" fmla="*/ 20803 w 105910"/>
                <a:gd name="connsiteY10" fmla="*/ 84477 h 84476"/>
                <a:gd name="connsiteX11" fmla="*/ 20803 w 105910"/>
                <a:gd name="connsiteY11" fmla="*/ 84477 h 8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910" h="84476">
                  <a:moveTo>
                    <a:pt x="20803" y="84477"/>
                  </a:moveTo>
                  <a:cubicBezTo>
                    <a:pt x="19543" y="84477"/>
                    <a:pt x="17651" y="84477"/>
                    <a:pt x="16391" y="84477"/>
                  </a:cubicBezTo>
                  <a:cubicBezTo>
                    <a:pt x="6934" y="84477"/>
                    <a:pt x="0" y="76281"/>
                    <a:pt x="0" y="67455"/>
                  </a:cubicBezTo>
                  <a:cubicBezTo>
                    <a:pt x="0" y="57999"/>
                    <a:pt x="7565" y="51064"/>
                    <a:pt x="17021" y="51064"/>
                  </a:cubicBezTo>
                  <a:cubicBezTo>
                    <a:pt x="38456" y="51695"/>
                    <a:pt x="54216" y="47282"/>
                    <a:pt x="63673" y="37825"/>
                  </a:cubicBezTo>
                  <a:cubicBezTo>
                    <a:pt x="73129" y="28369"/>
                    <a:pt x="73129" y="17021"/>
                    <a:pt x="73129" y="17021"/>
                  </a:cubicBezTo>
                  <a:cubicBezTo>
                    <a:pt x="73129" y="7565"/>
                    <a:pt x="80694" y="0"/>
                    <a:pt x="89520" y="0"/>
                  </a:cubicBezTo>
                  <a:cubicBezTo>
                    <a:pt x="89520" y="0"/>
                    <a:pt x="89520" y="0"/>
                    <a:pt x="89520" y="0"/>
                  </a:cubicBezTo>
                  <a:cubicBezTo>
                    <a:pt x="98346" y="0"/>
                    <a:pt x="105911" y="7565"/>
                    <a:pt x="105911" y="16391"/>
                  </a:cubicBezTo>
                  <a:cubicBezTo>
                    <a:pt x="105911" y="18913"/>
                    <a:pt x="105911" y="42238"/>
                    <a:pt x="86368" y="61781"/>
                  </a:cubicBezTo>
                  <a:cubicBezTo>
                    <a:pt x="71237" y="76912"/>
                    <a:pt x="49172" y="84477"/>
                    <a:pt x="20803" y="84477"/>
                  </a:cubicBezTo>
                  <a:lnTo>
                    <a:pt x="20803" y="84477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43" name="Forma Livre: Forma 142">
              <a:extLst>
                <a:ext uri="{FF2B5EF4-FFF2-40B4-BE49-F238E27FC236}">
                  <a16:creationId xmlns:a16="http://schemas.microsoft.com/office/drawing/2014/main" id="{AEA89237-8EA4-4FC7-8544-52FDF6E303EC}"/>
                </a:ext>
              </a:extLst>
            </p:cNvPr>
            <p:cNvSpPr/>
            <p:nvPr/>
          </p:nvSpPr>
          <p:spPr>
            <a:xfrm>
              <a:off x="9694451" y="4964176"/>
              <a:ext cx="52954" cy="52955"/>
            </a:xfrm>
            <a:custGeom>
              <a:avLst/>
              <a:gdLst>
                <a:gd name="connsiteX0" fmla="*/ 26477 w 52954"/>
                <a:gd name="connsiteY0" fmla="*/ 0 h 52955"/>
                <a:gd name="connsiteX1" fmla="*/ 0 w 52954"/>
                <a:gd name="connsiteY1" fmla="*/ 26478 h 52955"/>
                <a:gd name="connsiteX2" fmla="*/ 26477 w 52954"/>
                <a:gd name="connsiteY2" fmla="*/ 52956 h 52955"/>
                <a:gd name="connsiteX3" fmla="*/ 52955 w 52954"/>
                <a:gd name="connsiteY3" fmla="*/ 26478 h 52955"/>
                <a:gd name="connsiteX4" fmla="*/ 26477 w 52954"/>
                <a:gd name="connsiteY4" fmla="*/ 0 h 52955"/>
                <a:gd name="connsiteX5" fmla="*/ 26477 w 52954"/>
                <a:gd name="connsiteY5" fmla="*/ 0 h 52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954" h="52955">
                  <a:moveTo>
                    <a:pt x="26477" y="0"/>
                  </a:moveTo>
                  <a:cubicBezTo>
                    <a:pt x="11977" y="0"/>
                    <a:pt x="0" y="11978"/>
                    <a:pt x="0" y="26478"/>
                  </a:cubicBezTo>
                  <a:cubicBezTo>
                    <a:pt x="0" y="40977"/>
                    <a:pt x="11977" y="52956"/>
                    <a:pt x="26477" y="52956"/>
                  </a:cubicBezTo>
                  <a:cubicBezTo>
                    <a:pt x="40977" y="52956"/>
                    <a:pt x="52955" y="40977"/>
                    <a:pt x="52955" y="26478"/>
                  </a:cubicBezTo>
                  <a:cubicBezTo>
                    <a:pt x="52955" y="11978"/>
                    <a:pt x="40977" y="0"/>
                    <a:pt x="26477" y="0"/>
                  </a:cubicBezTo>
                  <a:lnTo>
                    <a:pt x="26477" y="0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44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2438288" y="1572503"/>
            <a:ext cx="200574" cy="407883"/>
            <a:chOff x="2438288" y="1572503"/>
            <a:chExt cx="200574" cy="407883"/>
          </a:xfrm>
          <a:solidFill>
            <a:srgbClr val="B1B1A1"/>
          </a:solidFill>
        </p:grpSpPr>
        <p:sp>
          <p:nvSpPr>
            <p:cNvPr id="145" name="Forma Livre: Forma 144">
              <a:extLst>
                <a:ext uri="{FF2B5EF4-FFF2-40B4-BE49-F238E27FC236}">
                  <a16:creationId xmlns:a16="http://schemas.microsoft.com/office/drawing/2014/main" id="{C4F26E00-C6F9-42D8-BE2A-79AF01D08573}"/>
                </a:ext>
              </a:extLst>
            </p:cNvPr>
            <p:cNvSpPr/>
            <p:nvPr/>
          </p:nvSpPr>
          <p:spPr>
            <a:xfrm>
              <a:off x="2438288" y="1661392"/>
              <a:ext cx="200574" cy="318993"/>
            </a:xfrm>
            <a:custGeom>
              <a:avLst/>
              <a:gdLst>
                <a:gd name="connsiteX0" fmla="*/ 101498 w 200574"/>
                <a:gd name="connsiteY0" fmla="*/ 318994 h 318993"/>
                <a:gd name="connsiteX1" fmla="*/ 0 w 200574"/>
                <a:gd name="connsiteY1" fmla="*/ 217496 h 318993"/>
                <a:gd name="connsiteX2" fmla="*/ 44130 w 200574"/>
                <a:gd name="connsiteY2" fmla="*/ 134280 h 318993"/>
                <a:gd name="connsiteX3" fmla="*/ 44130 w 200574"/>
                <a:gd name="connsiteY3" fmla="*/ 16391 h 318993"/>
                <a:gd name="connsiteX4" fmla="*/ 60521 w 200574"/>
                <a:gd name="connsiteY4" fmla="*/ 0 h 318993"/>
                <a:gd name="connsiteX5" fmla="*/ 76912 w 200574"/>
                <a:gd name="connsiteY5" fmla="*/ 16391 h 318993"/>
                <a:gd name="connsiteX6" fmla="*/ 76912 w 200574"/>
                <a:gd name="connsiteY6" fmla="*/ 143736 h 318993"/>
                <a:gd name="connsiteX7" fmla="*/ 68086 w 200574"/>
                <a:gd name="connsiteY7" fmla="*/ 158236 h 318993"/>
                <a:gd name="connsiteX8" fmla="*/ 32151 w 200574"/>
                <a:gd name="connsiteY8" fmla="*/ 217496 h 318993"/>
                <a:gd name="connsiteX9" fmla="*/ 100237 w 200574"/>
                <a:gd name="connsiteY9" fmla="*/ 285581 h 318993"/>
                <a:gd name="connsiteX10" fmla="*/ 168323 w 200574"/>
                <a:gd name="connsiteY10" fmla="*/ 217496 h 318993"/>
                <a:gd name="connsiteX11" fmla="*/ 132389 w 200574"/>
                <a:gd name="connsiteY11" fmla="*/ 158236 h 318993"/>
                <a:gd name="connsiteX12" fmla="*/ 123563 w 200574"/>
                <a:gd name="connsiteY12" fmla="*/ 143736 h 318993"/>
                <a:gd name="connsiteX13" fmla="*/ 123563 w 200574"/>
                <a:gd name="connsiteY13" fmla="*/ 16391 h 318993"/>
                <a:gd name="connsiteX14" fmla="*/ 139954 w 200574"/>
                <a:gd name="connsiteY14" fmla="*/ 0 h 318993"/>
                <a:gd name="connsiteX15" fmla="*/ 156345 w 200574"/>
                <a:gd name="connsiteY15" fmla="*/ 16391 h 318993"/>
                <a:gd name="connsiteX16" fmla="*/ 156345 w 200574"/>
                <a:gd name="connsiteY16" fmla="*/ 134280 h 318993"/>
                <a:gd name="connsiteX17" fmla="*/ 200474 w 200574"/>
                <a:gd name="connsiteY17" fmla="*/ 217496 h 318993"/>
                <a:gd name="connsiteX18" fmla="*/ 101498 w 200574"/>
                <a:gd name="connsiteY18" fmla="*/ 318994 h 318993"/>
                <a:gd name="connsiteX19" fmla="*/ 101498 w 200574"/>
                <a:gd name="connsiteY19" fmla="*/ 318994 h 318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00574" h="318993">
                  <a:moveTo>
                    <a:pt x="101498" y="318994"/>
                  </a:moveTo>
                  <a:cubicBezTo>
                    <a:pt x="45390" y="318994"/>
                    <a:pt x="0" y="273603"/>
                    <a:pt x="0" y="217496"/>
                  </a:cubicBezTo>
                  <a:cubicBezTo>
                    <a:pt x="0" y="184083"/>
                    <a:pt x="17021" y="153193"/>
                    <a:pt x="44130" y="134280"/>
                  </a:cubicBezTo>
                  <a:lnTo>
                    <a:pt x="44130" y="16391"/>
                  </a:lnTo>
                  <a:cubicBezTo>
                    <a:pt x="44130" y="6935"/>
                    <a:pt x="51695" y="0"/>
                    <a:pt x="60521" y="0"/>
                  </a:cubicBezTo>
                  <a:cubicBezTo>
                    <a:pt x="69977" y="0"/>
                    <a:pt x="76912" y="7565"/>
                    <a:pt x="76912" y="16391"/>
                  </a:cubicBezTo>
                  <a:lnTo>
                    <a:pt x="76912" y="143736"/>
                  </a:lnTo>
                  <a:cubicBezTo>
                    <a:pt x="76912" y="150041"/>
                    <a:pt x="73759" y="155714"/>
                    <a:pt x="68086" y="158236"/>
                  </a:cubicBezTo>
                  <a:cubicBezTo>
                    <a:pt x="46021" y="170214"/>
                    <a:pt x="32151" y="192909"/>
                    <a:pt x="32151" y="217496"/>
                  </a:cubicBezTo>
                  <a:cubicBezTo>
                    <a:pt x="32151" y="255321"/>
                    <a:pt x="62412" y="285581"/>
                    <a:pt x="100237" y="285581"/>
                  </a:cubicBezTo>
                  <a:cubicBezTo>
                    <a:pt x="138062" y="285581"/>
                    <a:pt x="168323" y="255321"/>
                    <a:pt x="168323" y="217496"/>
                  </a:cubicBezTo>
                  <a:cubicBezTo>
                    <a:pt x="168323" y="192909"/>
                    <a:pt x="154454" y="170214"/>
                    <a:pt x="132389" y="158236"/>
                  </a:cubicBezTo>
                  <a:cubicBezTo>
                    <a:pt x="127345" y="155084"/>
                    <a:pt x="123563" y="149410"/>
                    <a:pt x="123563" y="143736"/>
                  </a:cubicBezTo>
                  <a:lnTo>
                    <a:pt x="123563" y="16391"/>
                  </a:lnTo>
                  <a:cubicBezTo>
                    <a:pt x="123563" y="6935"/>
                    <a:pt x="131128" y="0"/>
                    <a:pt x="139954" y="0"/>
                  </a:cubicBezTo>
                  <a:cubicBezTo>
                    <a:pt x="149410" y="0"/>
                    <a:pt x="156345" y="7565"/>
                    <a:pt x="156345" y="16391"/>
                  </a:cubicBezTo>
                  <a:lnTo>
                    <a:pt x="156345" y="134280"/>
                  </a:lnTo>
                  <a:cubicBezTo>
                    <a:pt x="184083" y="153193"/>
                    <a:pt x="200474" y="184083"/>
                    <a:pt x="200474" y="217496"/>
                  </a:cubicBezTo>
                  <a:cubicBezTo>
                    <a:pt x="202996" y="273603"/>
                    <a:pt x="157606" y="318994"/>
                    <a:pt x="101498" y="318994"/>
                  </a:cubicBezTo>
                  <a:lnTo>
                    <a:pt x="101498" y="318994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146" name="Gráfico 2">
              <a:extLst>
                <a:ext uri="{FF2B5EF4-FFF2-40B4-BE49-F238E27FC236}">
                  <a16:creationId xmlns:a16="http://schemas.microsoft.com/office/drawing/2014/main" id="{1EC2913E-D059-42A1-91F3-F6BAB2F166E6}"/>
                </a:ext>
              </a:extLst>
            </p:cNvPr>
            <p:cNvGrpSpPr/>
            <p:nvPr/>
          </p:nvGrpSpPr>
          <p:grpSpPr>
            <a:xfrm>
              <a:off x="2461613" y="1661392"/>
              <a:ext cx="156381" cy="32781"/>
              <a:chOff x="2461613" y="1661392"/>
              <a:chExt cx="156381" cy="32781"/>
            </a:xfrm>
            <a:grpFill/>
          </p:grpSpPr>
          <p:sp>
            <p:nvSpPr>
              <p:cNvPr id="147" name="Forma Livre: Forma 146">
                <a:extLst>
                  <a:ext uri="{FF2B5EF4-FFF2-40B4-BE49-F238E27FC236}">
                    <a16:creationId xmlns:a16="http://schemas.microsoft.com/office/drawing/2014/main" id="{D3819CA8-D6AE-4838-854B-669206FDCD8E}"/>
                  </a:ext>
                </a:extLst>
              </p:cNvPr>
              <p:cNvSpPr/>
              <p:nvPr/>
            </p:nvSpPr>
            <p:spPr>
              <a:xfrm>
                <a:off x="2461613" y="1661392"/>
                <a:ext cx="49172" cy="32781"/>
              </a:xfrm>
              <a:custGeom>
                <a:avLst/>
                <a:gdLst>
                  <a:gd name="connsiteX0" fmla="*/ 32782 w 49172"/>
                  <a:gd name="connsiteY0" fmla="*/ 32782 h 32781"/>
                  <a:gd name="connsiteX1" fmla="*/ 16391 w 49172"/>
                  <a:gd name="connsiteY1" fmla="*/ 32782 h 32781"/>
                  <a:gd name="connsiteX2" fmla="*/ 0 w 49172"/>
                  <a:gd name="connsiteY2" fmla="*/ 16391 h 32781"/>
                  <a:gd name="connsiteX3" fmla="*/ 16391 w 49172"/>
                  <a:gd name="connsiteY3" fmla="*/ 0 h 32781"/>
                  <a:gd name="connsiteX4" fmla="*/ 32782 w 49172"/>
                  <a:gd name="connsiteY4" fmla="*/ 0 h 32781"/>
                  <a:gd name="connsiteX5" fmla="*/ 49173 w 49172"/>
                  <a:gd name="connsiteY5" fmla="*/ 16391 h 32781"/>
                  <a:gd name="connsiteX6" fmla="*/ 32782 w 49172"/>
                  <a:gd name="connsiteY6" fmla="*/ 32782 h 32781"/>
                  <a:gd name="connsiteX7" fmla="*/ 32782 w 49172"/>
                  <a:gd name="connsiteY7" fmla="*/ 32782 h 32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9172" h="32781">
                    <a:moveTo>
                      <a:pt x="32782" y="32782"/>
                    </a:moveTo>
                    <a:lnTo>
                      <a:pt x="16391" y="32782"/>
                    </a:lnTo>
                    <a:cubicBezTo>
                      <a:pt x="6935" y="32782"/>
                      <a:pt x="0" y="25217"/>
                      <a:pt x="0" y="16391"/>
                    </a:cubicBezTo>
                    <a:cubicBezTo>
                      <a:pt x="0" y="6935"/>
                      <a:pt x="7565" y="0"/>
                      <a:pt x="16391" y="0"/>
                    </a:cubicBezTo>
                    <a:lnTo>
                      <a:pt x="32782" y="0"/>
                    </a:lnTo>
                    <a:cubicBezTo>
                      <a:pt x="42238" y="0"/>
                      <a:pt x="49173" y="7565"/>
                      <a:pt x="49173" y="16391"/>
                    </a:cubicBezTo>
                    <a:cubicBezTo>
                      <a:pt x="49173" y="25217"/>
                      <a:pt x="42238" y="32782"/>
                      <a:pt x="32782" y="32782"/>
                    </a:cubicBezTo>
                    <a:lnTo>
                      <a:pt x="32782" y="32782"/>
                    </a:ln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48" name="Forma Livre: Forma 147">
                <a:extLst>
                  <a:ext uri="{FF2B5EF4-FFF2-40B4-BE49-F238E27FC236}">
                    <a16:creationId xmlns:a16="http://schemas.microsoft.com/office/drawing/2014/main" id="{B1B61A2F-2E04-4FC0-8B0F-127DC0FD2F62}"/>
                  </a:ext>
                </a:extLst>
              </p:cNvPr>
              <p:cNvSpPr/>
              <p:nvPr/>
            </p:nvSpPr>
            <p:spPr>
              <a:xfrm>
                <a:off x="2568785" y="1661392"/>
                <a:ext cx="49209" cy="32781"/>
              </a:xfrm>
              <a:custGeom>
                <a:avLst/>
                <a:gdLst>
                  <a:gd name="connsiteX0" fmla="*/ 32782 w 49209"/>
                  <a:gd name="connsiteY0" fmla="*/ 32782 h 32781"/>
                  <a:gd name="connsiteX1" fmla="*/ 16391 w 49209"/>
                  <a:gd name="connsiteY1" fmla="*/ 32782 h 32781"/>
                  <a:gd name="connsiteX2" fmla="*/ 0 w 49209"/>
                  <a:gd name="connsiteY2" fmla="*/ 16391 h 32781"/>
                  <a:gd name="connsiteX3" fmla="*/ 16391 w 49209"/>
                  <a:gd name="connsiteY3" fmla="*/ 0 h 32781"/>
                  <a:gd name="connsiteX4" fmla="*/ 32782 w 49209"/>
                  <a:gd name="connsiteY4" fmla="*/ 0 h 32781"/>
                  <a:gd name="connsiteX5" fmla="*/ 49173 w 49209"/>
                  <a:gd name="connsiteY5" fmla="*/ 16391 h 32781"/>
                  <a:gd name="connsiteX6" fmla="*/ 32782 w 49209"/>
                  <a:gd name="connsiteY6" fmla="*/ 32782 h 32781"/>
                  <a:gd name="connsiteX7" fmla="*/ 32782 w 49209"/>
                  <a:gd name="connsiteY7" fmla="*/ 32782 h 32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9209" h="32781">
                    <a:moveTo>
                      <a:pt x="32782" y="32782"/>
                    </a:moveTo>
                    <a:lnTo>
                      <a:pt x="16391" y="32782"/>
                    </a:lnTo>
                    <a:cubicBezTo>
                      <a:pt x="6935" y="32782"/>
                      <a:pt x="0" y="25217"/>
                      <a:pt x="0" y="16391"/>
                    </a:cubicBezTo>
                    <a:cubicBezTo>
                      <a:pt x="0" y="6935"/>
                      <a:pt x="7565" y="0"/>
                      <a:pt x="16391" y="0"/>
                    </a:cubicBezTo>
                    <a:lnTo>
                      <a:pt x="32782" y="0"/>
                    </a:lnTo>
                    <a:cubicBezTo>
                      <a:pt x="42238" y="0"/>
                      <a:pt x="49173" y="7565"/>
                      <a:pt x="49173" y="16391"/>
                    </a:cubicBezTo>
                    <a:cubicBezTo>
                      <a:pt x="49803" y="25217"/>
                      <a:pt x="42238" y="32782"/>
                      <a:pt x="32782" y="32782"/>
                    </a:cubicBezTo>
                    <a:lnTo>
                      <a:pt x="32782" y="32782"/>
                    </a:ln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149" name="Forma Livre: Forma 148">
              <a:extLst>
                <a:ext uri="{FF2B5EF4-FFF2-40B4-BE49-F238E27FC236}">
                  <a16:creationId xmlns:a16="http://schemas.microsoft.com/office/drawing/2014/main" id="{2D0C25A1-82BA-44E2-93E1-D4D2466DB573}"/>
                </a:ext>
              </a:extLst>
            </p:cNvPr>
            <p:cNvSpPr/>
            <p:nvPr/>
          </p:nvSpPr>
          <p:spPr>
            <a:xfrm>
              <a:off x="2542938" y="1572503"/>
              <a:ext cx="66824" cy="66824"/>
            </a:xfrm>
            <a:custGeom>
              <a:avLst/>
              <a:gdLst>
                <a:gd name="connsiteX0" fmla="*/ 33412 w 66824"/>
                <a:gd name="connsiteY0" fmla="*/ 66825 h 66824"/>
                <a:gd name="connsiteX1" fmla="*/ 0 w 66824"/>
                <a:gd name="connsiteY1" fmla="*/ 33412 h 66824"/>
                <a:gd name="connsiteX2" fmla="*/ 33412 w 66824"/>
                <a:gd name="connsiteY2" fmla="*/ 0 h 66824"/>
                <a:gd name="connsiteX3" fmla="*/ 66825 w 66824"/>
                <a:gd name="connsiteY3" fmla="*/ 33412 h 66824"/>
                <a:gd name="connsiteX4" fmla="*/ 33412 w 66824"/>
                <a:gd name="connsiteY4" fmla="*/ 66825 h 66824"/>
                <a:gd name="connsiteX5" fmla="*/ 33412 w 66824"/>
                <a:gd name="connsiteY5" fmla="*/ 66825 h 66824"/>
                <a:gd name="connsiteX6" fmla="*/ 33412 w 66824"/>
                <a:gd name="connsiteY6" fmla="*/ 17021 h 66824"/>
                <a:gd name="connsiteX7" fmla="*/ 17021 w 66824"/>
                <a:gd name="connsiteY7" fmla="*/ 33412 h 66824"/>
                <a:gd name="connsiteX8" fmla="*/ 33412 w 66824"/>
                <a:gd name="connsiteY8" fmla="*/ 49803 h 66824"/>
                <a:gd name="connsiteX9" fmla="*/ 49803 w 66824"/>
                <a:gd name="connsiteY9" fmla="*/ 33412 h 66824"/>
                <a:gd name="connsiteX10" fmla="*/ 33412 w 66824"/>
                <a:gd name="connsiteY10" fmla="*/ 17021 h 66824"/>
                <a:gd name="connsiteX11" fmla="*/ 33412 w 66824"/>
                <a:gd name="connsiteY11" fmla="*/ 17021 h 66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6824" h="66824">
                  <a:moveTo>
                    <a:pt x="33412" y="66825"/>
                  </a:moveTo>
                  <a:cubicBezTo>
                    <a:pt x="15130" y="66825"/>
                    <a:pt x="0" y="51695"/>
                    <a:pt x="0" y="33412"/>
                  </a:cubicBezTo>
                  <a:cubicBezTo>
                    <a:pt x="0" y="15130"/>
                    <a:pt x="15130" y="0"/>
                    <a:pt x="33412" y="0"/>
                  </a:cubicBezTo>
                  <a:cubicBezTo>
                    <a:pt x="51695" y="0"/>
                    <a:pt x="66825" y="15130"/>
                    <a:pt x="66825" y="33412"/>
                  </a:cubicBezTo>
                  <a:cubicBezTo>
                    <a:pt x="66825" y="51695"/>
                    <a:pt x="51695" y="66825"/>
                    <a:pt x="33412" y="66825"/>
                  </a:cubicBezTo>
                  <a:lnTo>
                    <a:pt x="33412" y="66825"/>
                  </a:lnTo>
                  <a:close/>
                  <a:moveTo>
                    <a:pt x="33412" y="17021"/>
                  </a:moveTo>
                  <a:cubicBezTo>
                    <a:pt x="23956" y="17021"/>
                    <a:pt x="17021" y="24586"/>
                    <a:pt x="17021" y="33412"/>
                  </a:cubicBezTo>
                  <a:cubicBezTo>
                    <a:pt x="17021" y="42869"/>
                    <a:pt x="24587" y="49803"/>
                    <a:pt x="33412" y="49803"/>
                  </a:cubicBezTo>
                  <a:cubicBezTo>
                    <a:pt x="42869" y="49803"/>
                    <a:pt x="49803" y="42238"/>
                    <a:pt x="49803" y="33412"/>
                  </a:cubicBezTo>
                  <a:cubicBezTo>
                    <a:pt x="50434" y="24586"/>
                    <a:pt x="42869" y="17021"/>
                    <a:pt x="33412" y="17021"/>
                  </a:cubicBezTo>
                  <a:lnTo>
                    <a:pt x="33412" y="1702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50" name="Forma Livre: Forma 149">
              <a:extLst>
                <a:ext uri="{FF2B5EF4-FFF2-40B4-BE49-F238E27FC236}">
                  <a16:creationId xmlns:a16="http://schemas.microsoft.com/office/drawing/2014/main" id="{128920ED-FE84-44E6-BA21-5C8CC578A1CD}"/>
                </a:ext>
              </a:extLst>
            </p:cNvPr>
            <p:cNvSpPr/>
            <p:nvPr/>
          </p:nvSpPr>
          <p:spPr>
            <a:xfrm>
              <a:off x="2515830" y="1628610"/>
              <a:ext cx="25216" cy="25216"/>
            </a:xfrm>
            <a:custGeom>
              <a:avLst/>
              <a:gdLst>
                <a:gd name="connsiteX0" fmla="*/ 12608 w 25216"/>
                <a:gd name="connsiteY0" fmla="*/ 0 h 25216"/>
                <a:gd name="connsiteX1" fmla="*/ 0 w 25216"/>
                <a:gd name="connsiteY1" fmla="*/ 12608 h 25216"/>
                <a:gd name="connsiteX2" fmla="*/ 12608 w 25216"/>
                <a:gd name="connsiteY2" fmla="*/ 25217 h 25216"/>
                <a:gd name="connsiteX3" fmla="*/ 25217 w 25216"/>
                <a:gd name="connsiteY3" fmla="*/ 12608 h 25216"/>
                <a:gd name="connsiteX4" fmla="*/ 12608 w 25216"/>
                <a:gd name="connsiteY4" fmla="*/ 0 h 25216"/>
                <a:gd name="connsiteX5" fmla="*/ 12608 w 25216"/>
                <a:gd name="connsiteY5" fmla="*/ 0 h 25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216" h="25216">
                  <a:moveTo>
                    <a:pt x="12608" y="0"/>
                  </a:moveTo>
                  <a:cubicBezTo>
                    <a:pt x="5674" y="0"/>
                    <a:pt x="0" y="5674"/>
                    <a:pt x="0" y="12608"/>
                  </a:cubicBezTo>
                  <a:cubicBezTo>
                    <a:pt x="0" y="19543"/>
                    <a:pt x="5674" y="25217"/>
                    <a:pt x="12608" y="25217"/>
                  </a:cubicBezTo>
                  <a:cubicBezTo>
                    <a:pt x="19543" y="25217"/>
                    <a:pt x="25217" y="19543"/>
                    <a:pt x="25217" y="12608"/>
                  </a:cubicBezTo>
                  <a:cubicBezTo>
                    <a:pt x="24586" y="5674"/>
                    <a:pt x="19543" y="0"/>
                    <a:pt x="12608" y="0"/>
                  </a:cubicBezTo>
                  <a:lnTo>
                    <a:pt x="12608" y="0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51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9481368" y="1591416"/>
            <a:ext cx="395274" cy="361862"/>
            <a:chOff x="9481368" y="1591416"/>
            <a:chExt cx="395274" cy="361862"/>
          </a:xfrm>
          <a:solidFill>
            <a:srgbClr val="B1B1A1"/>
          </a:solidFill>
        </p:grpSpPr>
        <p:sp>
          <p:nvSpPr>
            <p:cNvPr id="152" name="Forma Livre: Forma 151">
              <a:extLst>
                <a:ext uri="{FF2B5EF4-FFF2-40B4-BE49-F238E27FC236}">
                  <a16:creationId xmlns:a16="http://schemas.microsoft.com/office/drawing/2014/main" id="{BE65836C-B3DE-49DC-9DF6-8A79D237FB23}"/>
                </a:ext>
              </a:extLst>
            </p:cNvPr>
            <p:cNvSpPr/>
            <p:nvPr/>
          </p:nvSpPr>
          <p:spPr>
            <a:xfrm>
              <a:off x="9481368" y="1656349"/>
              <a:ext cx="395274" cy="296929"/>
            </a:xfrm>
            <a:custGeom>
              <a:avLst/>
              <a:gdLst>
                <a:gd name="connsiteX0" fmla="*/ 359971 w 395274"/>
                <a:gd name="connsiteY0" fmla="*/ 296929 h 296929"/>
                <a:gd name="connsiteX1" fmla="*/ 35304 w 395274"/>
                <a:gd name="connsiteY1" fmla="*/ 296929 h 296929"/>
                <a:gd name="connsiteX2" fmla="*/ 0 w 395274"/>
                <a:gd name="connsiteY2" fmla="*/ 261625 h 296929"/>
                <a:gd name="connsiteX3" fmla="*/ 0 w 395274"/>
                <a:gd name="connsiteY3" fmla="*/ 35304 h 296929"/>
                <a:gd name="connsiteX4" fmla="*/ 35304 w 395274"/>
                <a:gd name="connsiteY4" fmla="*/ 0 h 296929"/>
                <a:gd name="connsiteX5" fmla="*/ 359971 w 395274"/>
                <a:gd name="connsiteY5" fmla="*/ 0 h 296929"/>
                <a:gd name="connsiteX6" fmla="*/ 395275 w 395274"/>
                <a:gd name="connsiteY6" fmla="*/ 35304 h 296929"/>
                <a:gd name="connsiteX7" fmla="*/ 395275 w 395274"/>
                <a:gd name="connsiteY7" fmla="*/ 261625 h 296929"/>
                <a:gd name="connsiteX8" fmla="*/ 359971 w 395274"/>
                <a:gd name="connsiteY8" fmla="*/ 296929 h 296929"/>
                <a:gd name="connsiteX9" fmla="*/ 359971 w 395274"/>
                <a:gd name="connsiteY9" fmla="*/ 296929 h 296929"/>
                <a:gd name="connsiteX10" fmla="*/ 35304 w 395274"/>
                <a:gd name="connsiteY10" fmla="*/ 33412 h 296929"/>
                <a:gd name="connsiteX11" fmla="*/ 33413 w 395274"/>
                <a:gd name="connsiteY11" fmla="*/ 35304 h 296929"/>
                <a:gd name="connsiteX12" fmla="*/ 33413 w 395274"/>
                <a:gd name="connsiteY12" fmla="*/ 261625 h 296929"/>
                <a:gd name="connsiteX13" fmla="*/ 35304 w 395274"/>
                <a:gd name="connsiteY13" fmla="*/ 263517 h 296929"/>
                <a:gd name="connsiteX14" fmla="*/ 359971 w 395274"/>
                <a:gd name="connsiteY14" fmla="*/ 263517 h 296929"/>
                <a:gd name="connsiteX15" fmla="*/ 361863 w 395274"/>
                <a:gd name="connsiteY15" fmla="*/ 261625 h 296929"/>
                <a:gd name="connsiteX16" fmla="*/ 361863 w 395274"/>
                <a:gd name="connsiteY16" fmla="*/ 35304 h 296929"/>
                <a:gd name="connsiteX17" fmla="*/ 359971 w 395274"/>
                <a:gd name="connsiteY17" fmla="*/ 33412 h 296929"/>
                <a:gd name="connsiteX18" fmla="*/ 35304 w 395274"/>
                <a:gd name="connsiteY18" fmla="*/ 33412 h 296929"/>
                <a:gd name="connsiteX19" fmla="*/ 35304 w 395274"/>
                <a:gd name="connsiteY19" fmla="*/ 33412 h 296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95274" h="296929">
                  <a:moveTo>
                    <a:pt x="359971" y="296929"/>
                  </a:moveTo>
                  <a:lnTo>
                    <a:pt x="35304" y="296929"/>
                  </a:lnTo>
                  <a:cubicBezTo>
                    <a:pt x="15761" y="296929"/>
                    <a:pt x="0" y="281169"/>
                    <a:pt x="0" y="261625"/>
                  </a:cubicBezTo>
                  <a:lnTo>
                    <a:pt x="0" y="35304"/>
                  </a:lnTo>
                  <a:cubicBezTo>
                    <a:pt x="0" y="15761"/>
                    <a:pt x="15761" y="0"/>
                    <a:pt x="35304" y="0"/>
                  </a:cubicBezTo>
                  <a:lnTo>
                    <a:pt x="359971" y="0"/>
                  </a:lnTo>
                  <a:cubicBezTo>
                    <a:pt x="379514" y="0"/>
                    <a:pt x="395275" y="15761"/>
                    <a:pt x="395275" y="35304"/>
                  </a:cubicBezTo>
                  <a:lnTo>
                    <a:pt x="395275" y="261625"/>
                  </a:lnTo>
                  <a:cubicBezTo>
                    <a:pt x="394644" y="281169"/>
                    <a:pt x="378884" y="296929"/>
                    <a:pt x="359971" y="296929"/>
                  </a:cubicBezTo>
                  <a:lnTo>
                    <a:pt x="359971" y="296929"/>
                  </a:lnTo>
                  <a:close/>
                  <a:moveTo>
                    <a:pt x="35304" y="33412"/>
                  </a:moveTo>
                  <a:cubicBezTo>
                    <a:pt x="34673" y="33412"/>
                    <a:pt x="33413" y="34043"/>
                    <a:pt x="33413" y="35304"/>
                  </a:cubicBezTo>
                  <a:lnTo>
                    <a:pt x="33413" y="261625"/>
                  </a:lnTo>
                  <a:cubicBezTo>
                    <a:pt x="33413" y="262256"/>
                    <a:pt x="34043" y="263517"/>
                    <a:pt x="35304" y="263517"/>
                  </a:cubicBezTo>
                  <a:lnTo>
                    <a:pt x="359971" y="263517"/>
                  </a:lnTo>
                  <a:cubicBezTo>
                    <a:pt x="360601" y="263517"/>
                    <a:pt x="361863" y="262886"/>
                    <a:pt x="361863" y="261625"/>
                  </a:cubicBezTo>
                  <a:lnTo>
                    <a:pt x="361863" y="35304"/>
                  </a:lnTo>
                  <a:cubicBezTo>
                    <a:pt x="361863" y="34673"/>
                    <a:pt x="361232" y="33412"/>
                    <a:pt x="359971" y="33412"/>
                  </a:cubicBezTo>
                  <a:lnTo>
                    <a:pt x="35304" y="33412"/>
                  </a:lnTo>
                  <a:lnTo>
                    <a:pt x="35304" y="33412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53" name="Forma Livre: Forma 152">
              <a:extLst>
                <a:ext uri="{FF2B5EF4-FFF2-40B4-BE49-F238E27FC236}">
                  <a16:creationId xmlns:a16="http://schemas.microsoft.com/office/drawing/2014/main" id="{05E32D68-2583-4EC8-8514-A04CD3F37778}"/>
                </a:ext>
              </a:extLst>
            </p:cNvPr>
            <p:cNvSpPr/>
            <p:nvPr/>
          </p:nvSpPr>
          <p:spPr>
            <a:xfrm>
              <a:off x="9596104" y="1591416"/>
              <a:ext cx="167061" cy="93302"/>
            </a:xfrm>
            <a:custGeom>
              <a:avLst/>
              <a:gdLst>
                <a:gd name="connsiteX0" fmla="*/ 149411 w 167061"/>
                <a:gd name="connsiteY0" fmla="*/ 93302 h 93302"/>
                <a:gd name="connsiteX1" fmla="*/ 133020 w 167061"/>
                <a:gd name="connsiteY1" fmla="*/ 76912 h 93302"/>
                <a:gd name="connsiteX2" fmla="*/ 133020 w 167061"/>
                <a:gd name="connsiteY2" fmla="*/ 35304 h 93302"/>
                <a:gd name="connsiteX3" fmla="*/ 131128 w 167061"/>
                <a:gd name="connsiteY3" fmla="*/ 33412 h 93302"/>
                <a:gd name="connsiteX4" fmla="*/ 34673 w 167061"/>
                <a:gd name="connsiteY4" fmla="*/ 33412 h 93302"/>
                <a:gd name="connsiteX5" fmla="*/ 32782 w 167061"/>
                <a:gd name="connsiteY5" fmla="*/ 35304 h 93302"/>
                <a:gd name="connsiteX6" fmla="*/ 32782 w 167061"/>
                <a:gd name="connsiteY6" fmla="*/ 76912 h 93302"/>
                <a:gd name="connsiteX7" fmla="*/ 16392 w 167061"/>
                <a:gd name="connsiteY7" fmla="*/ 93302 h 93302"/>
                <a:gd name="connsiteX8" fmla="*/ 0 w 167061"/>
                <a:gd name="connsiteY8" fmla="*/ 76912 h 93302"/>
                <a:gd name="connsiteX9" fmla="*/ 0 w 167061"/>
                <a:gd name="connsiteY9" fmla="*/ 35304 h 93302"/>
                <a:gd name="connsiteX10" fmla="*/ 35304 w 167061"/>
                <a:gd name="connsiteY10" fmla="*/ 0 h 93302"/>
                <a:gd name="connsiteX11" fmla="*/ 131758 w 167061"/>
                <a:gd name="connsiteY11" fmla="*/ 0 h 93302"/>
                <a:gd name="connsiteX12" fmla="*/ 167062 w 167061"/>
                <a:gd name="connsiteY12" fmla="*/ 35304 h 93302"/>
                <a:gd name="connsiteX13" fmla="*/ 167062 w 167061"/>
                <a:gd name="connsiteY13" fmla="*/ 76912 h 93302"/>
                <a:gd name="connsiteX14" fmla="*/ 149411 w 167061"/>
                <a:gd name="connsiteY14" fmla="*/ 93302 h 93302"/>
                <a:gd name="connsiteX15" fmla="*/ 149411 w 167061"/>
                <a:gd name="connsiteY15" fmla="*/ 93302 h 93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67061" h="93302">
                  <a:moveTo>
                    <a:pt x="149411" y="93302"/>
                  </a:moveTo>
                  <a:cubicBezTo>
                    <a:pt x="139954" y="93302"/>
                    <a:pt x="133020" y="85737"/>
                    <a:pt x="133020" y="76912"/>
                  </a:cubicBezTo>
                  <a:lnTo>
                    <a:pt x="133020" y="35304"/>
                  </a:lnTo>
                  <a:cubicBezTo>
                    <a:pt x="133020" y="34673"/>
                    <a:pt x="132389" y="33412"/>
                    <a:pt x="131128" y="33412"/>
                  </a:cubicBezTo>
                  <a:lnTo>
                    <a:pt x="34673" y="33412"/>
                  </a:lnTo>
                  <a:cubicBezTo>
                    <a:pt x="34043" y="33412"/>
                    <a:pt x="32782" y="34043"/>
                    <a:pt x="32782" y="35304"/>
                  </a:cubicBezTo>
                  <a:lnTo>
                    <a:pt x="32782" y="76912"/>
                  </a:lnTo>
                  <a:cubicBezTo>
                    <a:pt x="32782" y="86368"/>
                    <a:pt x="25217" y="93302"/>
                    <a:pt x="16392" y="93302"/>
                  </a:cubicBezTo>
                  <a:cubicBezTo>
                    <a:pt x="6935" y="93302"/>
                    <a:pt x="0" y="85737"/>
                    <a:pt x="0" y="76912"/>
                  </a:cubicBezTo>
                  <a:lnTo>
                    <a:pt x="0" y="35304"/>
                  </a:lnTo>
                  <a:cubicBezTo>
                    <a:pt x="0" y="15761"/>
                    <a:pt x="15761" y="0"/>
                    <a:pt x="35304" y="0"/>
                  </a:cubicBezTo>
                  <a:lnTo>
                    <a:pt x="131758" y="0"/>
                  </a:lnTo>
                  <a:cubicBezTo>
                    <a:pt x="151301" y="0"/>
                    <a:pt x="167062" y="15761"/>
                    <a:pt x="167062" y="35304"/>
                  </a:cubicBezTo>
                  <a:lnTo>
                    <a:pt x="167062" y="76912"/>
                  </a:lnTo>
                  <a:cubicBezTo>
                    <a:pt x="165801" y="85737"/>
                    <a:pt x="158867" y="93302"/>
                    <a:pt x="149411" y="93302"/>
                  </a:cubicBezTo>
                  <a:lnTo>
                    <a:pt x="149411" y="93302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54" name="Forma Livre: Forma 153">
              <a:extLst>
                <a:ext uri="{FF2B5EF4-FFF2-40B4-BE49-F238E27FC236}">
                  <a16:creationId xmlns:a16="http://schemas.microsoft.com/office/drawing/2014/main" id="{69D95F45-0C48-4EE6-9E3F-AFD45F51BCB5}"/>
                </a:ext>
              </a:extLst>
            </p:cNvPr>
            <p:cNvSpPr/>
            <p:nvPr/>
          </p:nvSpPr>
          <p:spPr>
            <a:xfrm>
              <a:off x="9613757" y="1739565"/>
              <a:ext cx="130497" cy="130497"/>
            </a:xfrm>
            <a:custGeom>
              <a:avLst/>
              <a:gdLst>
                <a:gd name="connsiteX0" fmla="*/ 87629 w 130497"/>
                <a:gd name="connsiteY0" fmla="*/ 0 h 130497"/>
                <a:gd name="connsiteX1" fmla="*/ 42869 w 130497"/>
                <a:gd name="connsiteY1" fmla="*/ 0 h 130497"/>
                <a:gd name="connsiteX2" fmla="*/ 42869 w 130497"/>
                <a:gd name="connsiteY2" fmla="*/ 42869 h 130497"/>
                <a:gd name="connsiteX3" fmla="*/ 0 w 130497"/>
                <a:gd name="connsiteY3" fmla="*/ 42869 h 130497"/>
                <a:gd name="connsiteX4" fmla="*/ 0 w 130497"/>
                <a:gd name="connsiteY4" fmla="*/ 87629 h 130497"/>
                <a:gd name="connsiteX5" fmla="*/ 42869 w 130497"/>
                <a:gd name="connsiteY5" fmla="*/ 87629 h 130497"/>
                <a:gd name="connsiteX6" fmla="*/ 42869 w 130497"/>
                <a:gd name="connsiteY6" fmla="*/ 130497 h 130497"/>
                <a:gd name="connsiteX7" fmla="*/ 87629 w 130497"/>
                <a:gd name="connsiteY7" fmla="*/ 130497 h 130497"/>
                <a:gd name="connsiteX8" fmla="*/ 87629 w 130497"/>
                <a:gd name="connsiteY8" fmla="*/ 87629 h 130497"/>
                <a:gd name="connsiteX9" fmla="*/ 130497 w 130497"/>
                <a:gd name="connsiteY9" fmla="*/ 87629 h 130497"/>
                <a:gd name="connsiteX10" fmla="*/ 130497 w 130497"/>
                <a:gd name="connsiteY10" fmla="*/ 42869 h 130497"/>
                <a:gd name="connsiteX11" fmla="*/ 87629 w 130497"/>
                <a:gd name="connsiteY11" fmla="*/ 42869 h 130497"/>
                <a:gd name="connsiteX12" fmla="*/ 87629 w 130497"/>
                <a:gd name="connsiteY12" fmla="*/ 0 h 130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0497" h="130497">
                  <a:moveTo>
                    <a:pt x="87629" y="0"/>
                  </a:moveTo>
                  <a:lnTo>
                    <a:pt x="42869" y="0"/>
                  </a:lnTo>
                  <a:lnTo>
                    <a:pt x="42869" y="42869"/>
                  </a:lnTo>
                  <a:lnTo>
                    <a:pt x="0" y="42869"/>
                  </a:lnTo>
                  <a:lnTo>
                    <a:pt x="0" y="87629"/>
                  </a:lnTo>
                  <a:lnTo>
                    <a:pt x="42869" y="87629"/>
                  </a:lnTo>
                  <a:lnTo>
                    <a:pt x="42869" y="130497"/>
                  </a:lnTo>
                  <a:lnTo>
                    <a:pt x="87629" y="130497"/>
                  </a:lnTo>
                  <a:lnTo>
                    <a:pt x="87629" y="87629"/>
                  </a:lnTo>
                  <a:lnTo>
                    <a:pt x="130497" y="87629"/>
                  </a:lnTo>
                  <a:lnTo>
                    <a:pt x="130497" y="42869"/>
                  </a:lnTo>
                  <a:lnTo>
                    <a:pt x="87629" y="42869"/>
                  </a:lnTo>
                  <a:lnTo>
                    <a:pt x="87629" y="0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55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5346426" y="541447"/>
            <a:ext cx="493621" cy="403785"/>
            <a:chOff x="5346426" y="541447"/>
            <a:chExt cx="493621" cy="403785"/>
          </a:xfrm>
          <a:solidFill>
            <a:srgbClr val="B1B1A1"/>
          </a:solidFill>
        </p:grpSpPr>
        <p:sp>
          <p:nvSpPr>
            <p:cNvPr id="156" name="Forma Livre: Forma 155">
              <a:extLst>
                <a:ext uri="{FF2B5EF4-FFF2-40B4-BE49-F238E27FC236}">
                  <a16:creationId xmlns:a16="http://schemas.microsoft.com/office/drawing/2014/main" id="{D70C88A3-77D4-4755-8826-A26C7E697E28}"/>
                </a:ext>
              </a:extLst>
            </p:cNvPr>
            <p:cNvSpPr/>
            <p:nvPr/>
          </p:nvSpPr>
          <p:spPr>
            <a:xfrm>
              <a:off x="5359057" y="691803"/>
              <a:ext cx="445035" cy="253429"/>
            </a:xfrm>
            <a:custGeom>
              <a:avLst/>
              <a:gdLst>
                <a:gd name="connsiteX0" fmla="*/ 358689 w 445035"/>
                <a:gd name="connsiteY0" fmla="*/ 253430 h 253429"/>
                <a:gd name="connsiteX1" fmla="*/ 16369 w 445035"/>
                <a:gd name="connsiteY1" fmla="*/ 253430 h 253429"/>
                <a:gd name="connsiteX2" fmla="*/ 3130 w 445035"/>
                <a:gd name="connsiteY2" fmla="*/ 246495 h 253429"/>
                <a:gd name="connsiteX3" fmla="*/ 609 w 445035"/>
                <a:gd name="connsiteY3" fmla="*/ 231365 h 253429"/>
                <a:gd name="connsiteX4" fmla="*/ 70586 w 445035"/>
                <a:gd name="connsiteY4" fmla="*/ 11348 h 253429"/>
                <a:gd name="connsiteX5" fmla="*/ 86346 w 445035"/>
                <a:gd name="connsiteY5" fmla="*/ 0 h 253429"/>
                <a:gd name="connsiteX6" fmla="*/ 428666 w 445035"/>
                <a:gd name="connsiteY6" fmla="*/ 0 h 253429"/>
                <a:gd name="connsiteX7" fmla="*/ 441905 w 445035"/>
                <a:gd name="connsiteY7" fmla="*/ 6935 h 253429"/>
                <a:gd name="connsiteX8" fmla="*/ 444426 w 445035"/>
                <a:gd name="connsiteY8" fmla="*/ 22065 h 253429"/>
                <a:gd name="connsiteX9" fmla="*/ 374449 w 445035"/>
                <a:gd name="connsiteY9" fmla="*/ 242082 h 253429"/>
                <a:gd name="connsiteX10" fmla="*/ 358689 w 445035"/>
                <a:gd name="connsiteY10" fmla="*/ 253430 h 253429"/>
                <a:gd name="connsiteX11" fmla="*/ 358689 w 445035"/>
                <a:gd name="connsiteY11" fmla="*/ 253430 h 253429"/>
                <a:gd name="connsiteX12" fmla="*/ 39065 w 445035"/>
                <a:gd name="connsiteY12" fmla="*/ 220017 h 253429"/>
                <a:gd name="connsiteX13" fmla="*/ 346080 w 445035"/>
                <a:gd name="connsiteY13" fmla="*/ 220017 h 253429"/>
                <a:gd name="connsiteX14" fmla="*/ 405340 w 445035"/>
                <a:gd name="connsiteY14" fmla="*/ 33412 h 253429"/>
                <a:gd name="connsiteX15" fmla="*/ 98324 w 445035"/>
                <a:gd name="connsiteY15" fmla="*/ 33412 h 253429"/>
                <a:gd name="connsiteX16" fmla="*/ 39065 w 445035"/>
                <a:gd name="connsiteY16" fmla="*/ 220017 h 253429"/>
                <a:gd name="connsiteX17" fmla="*/ 39065 w 445035"/>
                <a:gd name="connsiteY17" fmla="*/ 220017 h 253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45035" h="253429">
                  <a:moveTo>
                    <a:pt x="358689" y="253430"/>
                  </a:moveTo>
                  <a:lnTo>
                    <a:pt x="16369" y="253430"/>
                  </a:lnTo>
                  <a:cubicBezTo>
                    <a:pt x="11326" y="253430"/>
                    <a:pt x="6282" y="250908"/>
                    <a:pt x="3130" y="246495"/>
                  </a:cubicBezTo>
                  <a:cubicBezTo>
                    <a:pt x="-22" y="242082"/>
                    <a:pt x="-652" y="236408"/>
                    <a:pt x="609" y="231365"/>
                  </a:cubicBezTo>
                  <a:lnTo>
                    <a:pt x="70586" y="11348"/>
                  </a:lnTo>
                  <a:cubicBezTo>
                    <a:pt x="73108" y="4413"/>
                    <a:pt x="79412" y="0"/>
                    <a:pt x="86346" y="0"/>
                  </a:cubicBezTo>
                  <a:lnTo>
                    <a:pt x="428666" y="0"/>
                  </a:lnTo>
                  <a:cubicBezTo>
                    <a:pt x="433709" y="0"/>
                    <a:pt x="438753" y="2522"/>
                    <a:pt x="441905" y="6935"/>
                  </a:cubicBezTo>
                  <a:cubicBezTo>
                    <a:pt x="445057" y="11348"/>
                    <a:pt x="445687" y="17021"/>
                    <a:pt x="444426" y="22065"/>
                  </a:cubicBezTo>
                  <a:lnTo>
                    <a:pt x="374449" y="242082"/>
                  </a:lnTo>
                  <a:cubicBezTo>
                    <a:pt x="372558" y="249017"/>
                    <a:pt x="365623" y="253430"/>
                    <a:pt x="358689" y="253430"/>
                  </a:cubicBezTo>
                  <a:lnTo>
                    <a:pt x="358689" y="253430"/>
                  </a:lnTo>
                  <a:close/>
                  <a:moveTo>
                    <a:pt x="39065" y="220017"/>
                  </a:moveTo>
                  <a:lnTo>
                    <a:pt x="346080" y="220017"/>
                  </a:lnTo>
                  <a:lnTo>
                    <a:pt x="405340" y="33412"/>
                  </a:lnTo>
                  <a:lnTo>
                    <a:pt x="98324" y="33412"/>
                  </a:lnTo>
                  <a:lnTo>
                    <a:pt x="39065" y="220017"/>
                  </a:lnTo>
                  <a:lnTo>
                    <a:pt x="39065" y="220017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57" name="Forma Livre: Forma 156">
              <a:extLst>
                <a:ext uri="{FF2B5EF4-FFF2-40B4-BE49-F238E27FC236}">
                  <a16:creationId xmlns:a16="http://schemas.microsoft.com/office/drawing/2014/main" id="{7E830154-370B-4E0B-9BCC-C54381DD408D}"/>
                </a:ext>
              </a:extLst>
            </p:cNvPr>
            <p:cNvSpPr/>
            <p:nvPr/>
          </p:nvSpPr>
          <p:spPr>
            <a:xfrm>
              <a:off x="5346426" y="594087"/>
              <a:ext cx="218756" cy="351145"/>
            </a:xfrm>
            <a:custGeom>
              <a:avLst/>
              <a:gdLst>
                <a:gd name="connsiteX0" fmla="*/ 16391 w 218756"/>
                <a:gd name="connsiteY0" fmla="*/ 351145 h 351145"/>
                <a:gd name="connsiteX1" fmla="*/ 0 w 218756"/>
                <a:gd name="connsiteY1" fmla="*/ 334754 h 351145"/>
                <a:gd name="connsiteX2" fmla="*/ 0 w 218756"/>
                <a:gd name="connsiteY2" fmla="*/ 33412 h 351145"/>
                <a:gd name="connsiteX3" fmla="*/ 33413 w 218756"/>
                <a:gd name="connsiteY3" fmla="*/ 0 h 351145"/>
                <a:gd name="connsiteX4" fmla="*/ 150041 w 218756"/>
                <a:gd name="connsiteY4" fmla="*/ 0 h 351145"/>
                <a:gd name="connsiteX5" fmla="*/ 183453 w 218756"/>
                <a:gd name="connsiteY5" fmla="*/ 33412 h 351145"/>
                <a:gd name="connsiteX6" fmla="*/ 183453 w 218756"/>
                <a:gd name="connsiteY6" fmla="*/ 45390 h 351145"/>
                <a:gd name="connsiteX7" fmla="*/ 202366 w 218756"/>
                <a:gd name="connsiteY7" fmla="*/ 45390 h 351145"/>
                <a:gd name="connsiteX8" fmla="*/ 218757 w 218756"/>
                <a:gd name="connsiteY8" fmla="*/ 61781 h 351145"/>
                <a:gd name="connsiteX9" fmla="*/ 202366 w 218756"/>
                <a:gd name="connsiteY9" fmla="*/ 78172 h 351145"/>
                <a:gd name="connsiteX10" fmla="*/ 166432 w 218756"/>
                <a:gd name="connsiteY10" fmla="*/ 78172 h 351145"/>
                <a:gd name="connsiteX11" fmla="*/ 150041 w 218756"/>
                <a:gd name="connsiteY11" fmla="*/ 61781 h 351145"/>
                <a:gd name="connsiteX12" fmla="*/ 150041 w 218756"/>
                <a:gd name="connsiteY12" fmla="*/ 32782 h 351145"/>
                <a:gd name="connsiteX13" fmla="*/ 33413 w 218756"/>
                <a:gd name="connsiteY13" fmla="*/ 32782 h 351145"/>
                <a:gd name="connsiteX14" fmla="*/ 33413 w 218756"/>
                <a:gd name="connsiteY14" fmla="*/ 334754 h 351145"/>
                <a:gd name="connsiteX15" fmla="*/ 16391 w 218756"/>
                <a:gd name="connsiteY15" fmla="*/ 351145 h 351145"/>
                <a:gd name="connsiteX16" fmla="*/ 16391 w 218756"/>
                <a:gd name="connsiteY16" fmla="*/ 351145 h 351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18756" h="351145">
                  <a:moveTo>
                    <a:pt x="16391" y="351145"/>
                  </a:moveTo>
                  <a:cubicBezTo>
                    <a:pt x="6935" y="351145"/>
                    <a:pt x="0" y="343580"/>
                    <a:pt x="0" y="334754"/>
                  </a:cubicBezTo>
                  <a:lnTo>
                    <a:pt x="0" y="33412"/>
                  </a:lnTo>
                  <a:cubicBezTo>
                    <a:pt x="0" y="15130"/>
                    <a:pt x="15130" y="0"/>
                    <a:pt x="33413" y="0"/>
                  </a:cubicBezTo>
                  <a:lnTo>
                    <a:pt x="150041" y="0"/>
                  </a:lnTo>
                  <a:cubicBezTo>
                    <a:pt x="168323" y="0"/>
                    <a:pt x="183453" y="15130"/>
                    <a:pt x="183453" y="33412"/>
                  </a:cubicBezTo>
                  <a:lnTo>
                    <a:pt x="183453" y="45390"/>
                  </a:lnTo>
                  <a:lnTo>
                    <a:pt x="202366" y="45390"/>
                  </a:lnTo>
                  <a:cubicBezTo>
                    <a:pt x="211822" y="45390"/>
                    <a:pt x="218757" y="52955"/>
                    <a:pt x="218757" y="61781"/>
                  </a:cubicBezTo>
                  <a:cubicBezTo>
                    <a:pt x="218757" y="71238"/>
                    <a:pt x="211192" y="78172"/>
                    <a:pt x="202366" y="78172"/>
                  </a:cubicBezTo>
                  <a:lnTo>
                    <a:pt x="166432" y="78172"/>
                  </a:lnTo>
                  <a:cubicBezTo>
                    <a:pt x="156975" y="78172"/>
                    <a:pt x="150041" y="70607"/>
                    <a:pt x="150041" y="61781"/>
                  </a:cubicBezTo>
                  <a:lnTo>
                    <a:pt x="150041" y="32782"/>
                  </a:lnTo>
                  <a:lnTo>
                    <a:pt x="33413" y="32782"/>
                  </a:lnTo>
                  <a:lnTo>
                    <a:pt x="33413" y="334754"/>
                  </a:lnTo>
                  <a:cubicBezTo>
                    <a:pt x="33413" y="343580"/>
                    <a:pt x="25848" y="351145"/>
                    <a:pt x="16391" y="351145"/>
                  </a:cubicBezTo>
                  <a:lnTo>
                    <a:pt x="16391" y="351145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58" name="Forma Livre: Forma 157">
              <a:extLst>
                <a:ext uri="{FF2B5EF4-FFF2-40B4-BE49-F238E27FC236}">
                  <a16:creationId xmlns:a16="http://schemas.microsoft.com/office/drawing/2014/main" id="{67F6869A-6C62-4220-8883-F71A8AF5660E}"/>
                </a:ext>
              </a:extLst>
            </p:cNvPr>
            <p:cNvSpPr/>
            <p:nvPr/>
          </p:nvSpPr>
          <p:spPr>
            <a:xfrm>
              <a:off x="5756517" y="541447"/>
              <a:ext cx="83530" cy="133334"/>
            </a:xfrm>
            <a:custGeom>
              <a:avLst/>
              <a:gdLst>
                <a:gd name="connsiteX0" fmla="*/ 16706 w 83530"/>
                <a:gd name="connsiteY0" fmla="*/ 133334 h 133334"/>
                <a:gd name="connsiteX1" fmla="*/ 4728 w 83530"/>
                <a:gd name="connsiteY1" fmla="*/ 128291 h 133334"/>
                <a:gd name="connsiteX2" fmla="*/ 4728 w 83530"/>
                <a:gd name="connsiteY2" fmla="*/ 104965 h 133334"/>
                <a:gd name="connsiteX3" fmla="*/ 43814 w 83530"/>
                <a:gd name="connsiteY3" fmla="*/ 66510 h 133334"/>
                <a:gd name="connsiteX4" fmla="*/ 4728 w 83530"/>
                <a:gd name="connsiteY4" fmla="*/ 28054 h 133334"/>
                <a:gd name="connsiteX5" fmla="*/ 4728 w 83530"/>
                <a:gd name="connsiteY5" fmla="*/ 4728 h 133334"/>
                <a:gd name="connsiteX6" fmla="*/ 28053 w 83530"/>
                <a:gd name="connsiteY6" fmla="*/ 4728 h 133334"/>
                <a:gd name="connsiteX7" fmla="*/ 78487 w 83530"/>
                <a:gd name="connsiteY7" fmla="*/ 55162 h 133334"/>
                <a:gd name="connsiteX8" fmla="*/ 83531 w 83530"/>
                <a:gd name="connsiteY8" fmla="*/ 67140 h 133334"/>
                <a:gd name="connsiteX9" fmla="*/ 78487 w 83530"/>
                <a:gd name="connsiteY9" fmla="*/ 79118 h 133334"/>
                <a:gd name="connsiteX10" fmla="*/ 28053 w 83530"/>
                <a:gd name="connsiteY10" fmla="*/ 129552 h 133334"/>
                <a:gd name="connsiteX11" fmla="*/ 16706 w 83530"/>
                <a:gd name="connsiteY11" fmla="*/ 133334 h 133334"/>
                <a:gd name="connsiteX12" fmla="*/ 16706 w 83530"/>
                <a:gd name="connsiteY12" fmla="*/ 133334 h 133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3530" h="133334">
                  <a:moveTo>
                    <a:pt x="16706" y="133334"/>
                  </a:moveTo>
                  <a:cubicBezTo>
                    <a:pt x="12293" y="133334"/>
                    <a:pt x="7880" y="131443"/>
                    <a:pt x="4728" y="128291"/>
                  </a:cubicBezTo>
                  <a:cubicBezTo>
                    <a:pt x="-1576" y="121987"/>
                    <a:pt x="-1576" y="111270"/>
                    <a:pt x="4728" y="104965"/>
                  </a:cubicBezTo>
                  <a:lnTo>
                    <a:pt x="43814" y="66510"/>
                  </a:lnTo>
                  <a:lnTo>
                    <a:pt x="4728" y="28054"/>
                  </a:lnTo>
                  <a:cubicBezTo>
                    <a:pt x="-1576" y="21750"/>
                    <a:pt x="-1576" y="11032"/>
                    <a:pt x="4728" y="4728"/>
                  </a:cubicBezTo>
                  <a:cubicBezTo>
                    <a:pt x="11032" y="-1576"/>
                    <a:pt x="21749" y="-1576"/>
                    <a:pt x="28053" y="4728"/>
                  </a:cubicBezTo>
                  <a:lnTo>
                    <a:pt x="78487" y="55162"/>
                  </a:lnTo>
                  <a:cubicBezTo>
                    <a:pt x="81639" y="58314"/>
                    <a:pt x="83531" y="62727"/>
                    <a:pt x="83531" y="67140"/>
                  </a:cubicBezTo>
                  <a:cubicBezTo>
                    <a:pt x="83531" y="71553"/>
                    <a:pt x="81639" y="75966"/>
                    <a:pt x="78487" y="79118"/>
                  </a:cubicBezTo>
                  <a:lnTo>
                    <a:pt x="28053" y="129552"/>
                  </a:lnTo>
                  <a:cubicBezTo>
                    <a:pt x="24901" y="132074"/>
                    <a:pt x="21119" y="133334"/>
                    <a:pt x="16706" y="133334"/>
                  </a:cubicBezTo>
                  <a:lnTo>
                    <a:pt x="16706" y="133334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59" name="Forma Livre: Forma 158">
              <a:extLst>
                <a:ext uri="{FF2B5EF4-FFF2-40B4-BE49-F238E27FC236}">
                  <a16:creationId xmlns:a16="http://schemas.microsoft.com/office/drawing/2014/main" id="{D0719F7E-3C0D-46E3-882B-463513FF8DF4}"/>
                </a:ext>
              </a:extLst>
            </p:cNvPr>
            <p:cNvSpPr/>
            <p:nvPr/>
          </p:nvSpPr>
          <p:spPr>
            <a:xfrm>
              <a:off x="5574009" y="589674"/>
              <a:ext cx="257885" cy="238930"/>
            </a:xfrm>
            <a:custGeom>
              <a:avLst/>
              <a:gdLst>
                <a:gd name="connsiteX0" fmla="*/ 16391 w 257885"/>
                <a:gd name="connsiteY0" fmla="*/ 238930 h 238930"/>
                <a:gd name="connsiteX1" fmla="*/ 0 w 257885"/>
                <a:gd name="connsiteY1" fmla="*/ 222539 h 238930"/>
                <a:gd name="connsiteX2" fmla="*/ 220017 w 257885"/>
                <a:gd name="connsiteY2" fmla="*/ 0 h 238930"/>
                <a:gd name="connsiteX3" fmla="*/ 242713 w 257885"/>
                <a:gd name="connsiteY3" fmla="*/ 1261 h 238930"/>
                <a:gd name="connsiteX4" fmla="*/ 257843 w 257885"/>
                <a:gd name="connsiteY4" fmla="*/ 19543 h 238930"/>
                <a:gd name="connsiteX5" fmla="*/ 239561 w 257885"/>
                <a:gd name="connsiteY5" fmla="*/ 34673 h 238930"/>
                <a:gd name="connsiteX6" fmla="*/ 220648 w 257885"/>
                <a:gd name="connsiteY6" fmla="*/ 33412 h 238930"/>
                <a:gd name="connsiteX7" fmla="*/ 34043 w 257885"/>
                <a:gd name="connsiteY7" fmla="*/ 222539 h 238930"/>
                <a:gd name="connsiteX8" fmla="*/ 16391 w 257885"/>
                <a:gd name="connsiteY8" fmla="*/ 238930 h 238930"/>
                <a:gd name="connsiteX9" fmla="*/ 16391 w 257885"/>
                <a:gd name="connsiteY9" fmla="*/ 238930 h 238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7885" h="238930">
                  <a:moveTo>
                    <a:pt x="16391" y="238930"/>
                  </a:moveTo>
                  <a:cubicBezTo>
                    <a:pt x="6934" y="238930"/>
                    <a:pt x="0" y="231365"/>
                    <a:pt x="0" y="222539"/>
                  </a:cubicBezTo>
                  <a:cubicBezTo>
                    <a:pt x="0" y="99607"/>
                    <a:pt x="98346" y="0"/>
                    <a:pt x="220017" y="0"/>
                  </a:cubicBezTo>
                  <a:cubicBezTo>
                    <a:pt x="227582" y="0"/>
                    <a:pt x="235148" y="630"/>
                    <a:pt x="242713" y="1261"/>
                  </a:cubicBezTo>
                  <a:cubicBezTo>
                    <a:pt x="252169" y="1891"/>
                    <a:pt x="258473" y="10087"/>
                    <a:pt x="257843" y="19543"/>
                  </a:cubicBezTo>
                  <a:cubicBezTo>
                    <a:pt x="257212" y="28999"/>
                    <a:pt x="248386" y="35304"/>
                    <a:pt x="239561" y="34673"/>
                  </a:cubicBezTo>
                  <a:cubicBezTo>
                    <a:pt x="233256" y="34043"/>
                    <a:pt x="226952" y="33412"/>
                    <a:pt x="220648" y="33412"/>
                  </a:cubicBezTo>
                  <a:cubicBezTo>
                    <a:pt x="117889" y="33412"/>
                    <a:pt x="34043" y="118519"/>
                    <a:pt x="34043" y="222539"/>
                  </a:cubicBezTo>
                  <a:cubicBezTo>
                    <a:pt x="32782" y="231365"/>
                    <a:pt x="25217" y="238930"/>
                    <a:pt x="16391" y="238930"/>
                  </a:cubicBezTo>
                  <a:lnTo>
                    <a:pt x="16391" y="238930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60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6387885" y="567609"/>
            <a:ext cx="468403" cy="350514"/>
            <a:chOff x="6387885" y="567609"/>
            <a:chExt cx="468403" cy="350514"/>
          </a:xfrm>
          <a:solidFill>
            <a:srgbClr val="B1B1A1"/>
          </a:solidFill>
        </p:grpSpPr>
        <p:sp>
          <p:nvSpPr>
            <p:cNvPr id="161" name="Forma Livre: Forma 160">
              <a:extLst>
                <a:ext uri="{FF2B5EF4-FFF2-40B4-BE49-F238E27FC236}">
                  <a16:creationId xmlns:a16="http://schemas.microsoft.com/office/drawing/2014/main" id="{303FBC3D-04D8-403D-9AB8-AD84363AA204}"/>
                </a:ext>
              </a:extLst>
            </p:cNvPr>
            <p:cNvSpPr/>
            <p:nvPr/>
          </p:nvSpPr>
          <p:spPr>
            <a:xfrm>
              <a:off x="6400515" y="665955"/>
              <a:ext cx="445035" cy="252169"/>
            </a:xfrm>
            <a:custGeom>
              <a:avLst/>
              <a:gdLst>
                <a:gd name="connsiteX0" fmla="*/ 358689 w 445035"/>
                <a:gd name="connsiteY0" fmla="*/ 252169 h 252169"/>
                <a:gd name="connsiteX1" fmla="*/ 16369 w 445035"/>
                <a:gd name="connsiteY1" fmla="*/ 252169 h 252169"/>
                <a:gd name="connsiteX2" fmla="*/ 3130 w 445035"/>
                <a:gd name="connsiteY2" fmla="*/ 245234 h 252169"/>
                <a:gd name="connsiteX3" fmla="*/ 609 w 445035"/>
                <a:gd name="connsiteY3" fmla="*/ 230104 h 252169"/>
                <a:gd name="connsiteX4" fmla="*/ 70586 w 445035"/>
                <a:gd name="connsiteY4" fmla="*/ 11348 h 252169"/>
                <a:gd name="connsiteX5" fmla="*/ 86346 w 445035"/>
                <a:gd name="connsiteY5" fmla="*/ 0 h 252169"/>
                <a:gd name="connsiteX6" fmla="*/ 428666 w 445035"/>
                <a:gd name="connsiteY6" fmla="*/ 0 h 252169"/>
                <a:gd name="connsiteX7" fmla="*/ 441905 w 445035"/>
                <a:gd name="connsiteY7" fmla="*/ 6935 h 252169"/>
                <a:gd name="connsiteX8" fmla="*/ 444426 w 445035"/>
                <a:gd name="connsiteY8" fmla="*/ 22065 h 252169"/>
                <a:gd name="connsiteX9" fmla="*/ 374449 w 445035"/>
                <a:gd name="connsiteY9" fmla="*/ 242082 h 252169"/>
                <a:gd name="connsiteX10" fmla="*/ 358689 w 445035"/>
                <a:gd name="connsiteY10" fmla="*/ 252169 h 252169"/>
                <a:gd name="connsiteX11" fmla="*/ 358689 w 445035"/>
                <a:gd name="connsiteY11" fmla="*/ 252169 h 252169"/>
                <a:gd name="connsiteX12" fmla="*/ 39065 w 445035"/>
                <a:gd name="connsiteY12" fmla="*/ 219387 h 252169"/>
                <a:gd name="connsiteX13" fmla="*/ 346080 w 445035"/>
                <a:gd name="connsiteY13" fmla="*/ 219387 h 252169"/>
                <a:gd name="connsiteX14" fmla="*/ 405340 w 445035"/>
                <a:gd name="connsiteY14" fmla="*/ 32782 h 252169"/>
                <a:gd name="connsiteX15" fmla="*/ 98324 w 445035"/>
                <a:gd name="connsiteY15" fmla="*/ 32782 h 252169"/>
                <a:gd name="connsiteX16" fmla="*/ 39065 w 445035"/>
                <a:gd name="connsiteY16" fmla="*/ 219387 h 252169"/>
                <a:gd name="connsiteX17" fmla="*/ 39065 w 445035"/>
                <a:gd name="connsiteY17" fmla="*/ 219387 h 252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45035" h="252169">
                  <a:moveTo>
                    <a:pt x="358689" y="252169"/>
                  </a:moveTo>
                  <a:lnTo>
                    <a:pt x="16369" y="252169"/>
                  </a:lnTo>
                  <a:cubicBezTo>
                    <a:pt x="11326" y="252169"/>
                    <a:pt x="6282" y="249647"/>
                    <a:pt x="3130" y="245234"/>
                  </a:cubicBezTo>
                  <a:cubicBezTo>
                    <a:pt x="-22" y="240821"/>
                    <a:pt x="-652" y="235148"/>
                    <a:pt x="609" y="230104"/>
                  </a:cubicBezTo>
                  <a:lnTo>
                    <a:pt x="70586" y="11348"/>
                  </a:lnTo>
                  <a:cubicBezTo>
                    <a:pt x="73108" y="4413"/>
                    <a:pt x="79412" y="0"/>
                    <a:pt x="86346" y="0"/>
                  </a:cubicBezTo>
                  <a:lnTo>
                    <a:pt x="428666" y="0"/>
                  </a:lnTo>
                  <a:cubicBezTo>
                    <a:pt x="433709" y="0"/>
                    <a:pt x="438753" y="2522"/>
                    <a:pt x="441905" y="6935"/>
                  </a:cubicBezTo>
                  <a:cubicBezTo>
                    <a:pt x="445057" y="11348"/>
                    <a:pt x="445687" y="17021"/>
                    <a:pt x="444426" y="22065"/>
                  </a:cubicBezTo>
                  <a:lnTo>
                    <a:pt x="374449" y="242082"/>
                  </a:lnTo>
                  <a:cubicBezTo>
                    <a:pt x="372558" y="247756"/>
                    <a:pt x="366254" y="252169"/>
                    <a:pt x="358689" y="252169"/>
                  </a:cubicBezTo>
                  <a:lnTo>
                    <a:pt x="358689" y="252169"/>
                  </a:lnTo>
                  <a:close/>
                  <a:moveTo>
                    <a:pt x="39065" y="219387"/>
                  </a:moveTo>
                  <a:lnTo>
                    <a:pt x="346080" y="219387"/>
                  </a:lnTo>
                  <a:lnTo>
                    <a:pt x="405340" y="32782"/>
                  </a:lnTo>
                  <a:lnTo>
                    <a:pt x="98324" y="32782"/>
                  </a:lnTo>
                  <a:lnTo>
                    <a:pt x="39065" y="219387"/>
                  </a:lnTo>
                  <a:lnTo>
                    <a:pt x="39065" y="219387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62" name="Forma Livre: Forma 161">
              <a:extLst>
                <a:ext uri="{FF2B5EF4-FFF2-40B4-BE49-F238E27FC236}">
                  <a16:creationId xmlns:a16="http://schemas.microsoft.com/office/drawing/2014/main" id="{E6DF5E8A-D185-4063-B1A1-08CA56B78CB4}"/>
                </a:ext>
              </a:extLst>
            </p:cNvPr>
            <p:cNvSpPr/>
            <p:nvPr/>
          </p:nvSpPr>
          <p:spPr>
            <a:xfrm>
              <a:off x="6387885" y="567609"/>
              <a:ext cx="218756" cy="350514"/>
            </a:xfrm>
            <a:custGeom>
              <a:avLst/>
              <a:gdLst>
                <a:gd name="connsiteX0" fmla="*/ 16391 w 218756"/>
                <a:gd name="connsiteY0" fmla="*/ 350515 h 350514"/>
                <a:gd name="connsiteX1" fmla="*/ 0 w 218756"/>
                <a:gd name="connsiteY1" fmla="*/ 334124 h 350514"/>
                <a:gd name="connsiteX2" fmla="*/ 0 w 218756"/>
                <a:gd name="connsiteY2" fmla="*/ 33412 h 350514"/>
                <a:gd name="connsiteX3" fmla="*/ 33412 w 218756"/>
                <a:gd name="connsiteY3" fmla="*/ 0 h 350514"/>
                <a:gd name="connsiteX4" fmla="*/ 150040 w 218756"/>
                <a:gd name="connsiteY4" fmla="*/ 0 h 350514"/>
                <a:gd name="connsiteX5" fmla="*/ 183453 w 218756"/>
                <a:gd name="connsiteY5" fmla="*/ 33412 h 350514"/>
                <a:gd name="connsiteX6" fmla="*/ 183453 w 218756"/>
                <a:gd name="connsiteY6" fmla="*/ 45390 h 350514"/>
                <a:gd name="connsiteX7" fmla="*/ 202366 w 218756"/>
                <a:gd name="connsiteY7" fmla="*/ 45390 h 350514"/>
                <a:gd name="connsiteX8" fmla="*/ 218757 w 218756"/>
                <a:gd name="connsiteY8" fmla="*/ 61781 h 350514"/>
                <a:gd name="connsiteX9" fmla="*/ 202366 w 218756"/>
                <a:gd name="connsiteY9" fmla="*/ 78172 h 350514"/>
                <a:gd name="connsiteX10" fmla="*/ 166432 w 218756"/>
                <a:gd name="connsiteY10" fmla="*/ 78172 h 350514"/>
                <a:gd name="connsiteX11" fmla="*/ 150040 w 218756"/>
                <a:gd name="connsiteY11" fmla="*/ 61781 h 350514"/>
                <a:gd name="connsiteX12" fmla="*/ 150040 w 218756"/>
                <a:gd name="connsiteY12" fmla="*/ 33412 h 350514"/>
                <a:gd name="connsiteX13" fmla="*/ 33412 w 218756"/>
                <a:gd name="connsiteY13" fmla="*/ 33412 h 350514"/>
                <a:gd name="connsiteX14" fmla="*/ 33412 w 218756"/>
                <a:gd name="connsiteY14" fmla="*/ 334124 h 350514"/>
                <a:gd name="connsiteX15" fmla="*/ 16391 w 218756"/>
                <a:gd name="connsiteY15" fmla="*/ 350515 h 350514"/>
                <a:gd name="connsiteX16" fmla="*/ 16391 w 218756"/>
                <a:gd name="connsiteY16" fmla="*/ 350515 h 350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18756" h="350514">
                  <a:moveTo>
                    <a:pt x="16391" y="350515"/>
                  </a:moveTo>
                  <a:cubicBezTo>
                    <a:pt x="6935" y="350515"/>
                    <a:pt x="0" y="342950"/>
                    <a:pt x="0" y="334124"/>
                  </a:cubicBezTo>
                  <a:lnTo>
                    <a:pt x="0" y="33412"/>
                  </a:lnTo>
                  <a:cubicBezTo>
                    <a:pt x="0" y="15130"/>
                    <a:pt x="15130" y="0"/>
                    <a:pt x="33412" y="0"/>
                  </a:cubicBezTo>
                  <a:lnTo>
                    <a:pt x="150040" y="0"/>
                  </a:lnTo>
                  <a:cubicBezTo>
                    <a:pt x="168323" y="0"/>
                    <a:pt x="183453" y="15130"/>
                    <a:pt x="183453" y="33412"/>
                  </a:cubicBezTo>
                  <a:lnTo>
                    <a:pt x="183453" y="45390"/>
                  </a:lnTo>
                  <a:lnTo>
                    <a:pt x="202366" y="45390"/>
                  </a:lnTo>
                  <a:cubicBezTo>
                    <a:pt x="211822" y="45390"/>
                    <a:pt x="218757" y="52955"/>
                    <a:pt x="218757" y="61781"/>
                  </a:cubicBezTo>
                  <a:cubicBezTo>
                    <a:pt x="218757" y="71238"/>
                    <a:pt x="211192" y="78172"/>
                    <a:pt x="202366" y="78172"/>
                  </a:cubicBezTo>
                  <a:lnTo>
                    <a:pt x="166432" y="78172"/>
                  </a:lnTo>
                  <a:cubicBezTo>
                    <a:pt x="156975" y="78172"/>
                    <a:pt x="150040" y="70607"/>
                    <a:pt x="150040" y="61781"/>
                  </a:cubicBezTo>
                  <a:lnTo>
                    <a:pt x="150040" y="33412"/>
                  </a:lnTo>
                  <a:lnTo>
                    <a:pt x="33412" y="33412"/>
                  </a:lnTo>
                  <a:lnTo>
                    <a:pt x="33412" y="334124"/>
                  </a:lnTo>
                  <a:cubicBezTo>
                    <a:pt x="33412" y="343580"/>
                    <a:pt x="25848" y="350515"/>
                    <a:pt x="16391" y="350515"/>
                  </a:cubicBezTo>
                  <a:lnTo>
                    <a:pt x="16391" y="350515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63" name="Forma Livre: Forma 162">
              <a:extLst>
                <a:ext uri="{FF2B5EF4-FFF2-40B4-BE49-F238E27FC236}">
                  <a16:creationId xmlns:a16="http://schemas.microsoft.com/office/drawing/2014/main" id="{D32356B6-DFF2-4371-BAB6-9F3AC3A76B38}"/>
                </a:ext>
              </a:extLst>
            </p:cNvPr>
            <p:cNvSpPr/>
            <p:nvPr/>
          </p:nvSpPr>
          <p:spPr>
            <a:xfrm>
              <a:off x="6568501" y="760203"/>
              <a:ext cx="133649" cy="83530"/>
            </a:xfrm>
            <a:custGeom>
              <a:avLst/>
              <a:gdLst>
                <a:gd name="connsiteX0" fmla="*/ 67140 w 133649"/>
                <a:gd name="connsiteY0" fmla="*/ 83531 h 83530"/>
                <a:gd name="connsiteX1" fmla="*/ 55162 w 133649"/>
                <a:gd name="connsiteY1" fmla="*/ 78488 h 83530"/>
                <a:gd name="connsiteX2" fmla="*/ 4728 w 133649"/>
                <a:gd name="connsiteY2" fmla="*/ 28054 h 83530"/>
                <a:gd name="connsiteX3" fmla="*/ 4728 w 133649"/>
                <a:gd name="connsiteY3" fmla="*/ 4728 h 83530"/>
                <a:gd name="connsiteX4" fmla="*/ 28054 w 133649"/>
                <a:gd name="connsiteY4" fmla="*/ 4728 h 83530"/>
                <a:gd name="connsiteX5" fmla="*/ 67140 w 133649"/>
                <a:gd name="connsiteY5" fmla="*/ 43814 h 83530"/>
                <a:gd name="connsiteX6" fmla="*/ 105596 w 133649"/>
                <a:gd name="connsiteY6" fmla="*/ 4728 h 83530"/>
                <a:gd name="connsiteX7" fmla="*/ 128921 w 133649"/>
                <a:gd name="connsiteY7" fmla="*/ 4728 h 83530"/>
                <a:gd name="connsiteX8" fmla="*/ 128921 w 133649"/>
                <a:gd name="connsiteY8" fmla="*/ 28054 h 83530"/>
                <a:gd name="connsiteX9" fmla="*/ 78488 w 133649"/>
                <a:gd name="connsiteY9" fmla="*/ 78488 h 83530"/>
                <a:gd name="connsiteX10" fmla="*/ 67140 w 133649"/>
                <a:gd name="connsiteY10" fmla="*/ 83531 h 83530"/>
                <a:gd name="connsiteX11" fmla="*/ 67140 w 133649"/>
                <a:gd name="connsiteY11" fmla="*/ 83531 h 83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3649" h="83530">
                  <a:moveTo>
                    <a:pt x="67140" y="83531"/>
                  </a:moveTo>
                  <a:cubicBezTo>
                    <a:pt x="62727" y="83531"/>
                    <a:pt x="58314" y="81640"/>
                    <a:pt x="55162" y="78488"/>
                  </a:cubicBezTo>
                  <a:lnTo>
                    <a:pt x="4728" y="28054"/>
                  </a:lnTo>
                  <a:cubicBezTo>
                    <a:pt x="-1576" y="21750"/>
                    <a:pt x="-1576" y="11032"/>
                    <a:pt x="4728" y="4728"/>
                  </a:cubicBezTo>
                  <a:cubicBezTo>
                    <a:pt x="11032" y="-1576"/>
                    <a:pt x="21750" y="-1576"/>
                    <a:pt x="28054" y="4728"/>
                  </a:cubicBezTo>
                  <a:lnTo>
                    <a:pt x="67140" y="43814"/>
                  </a:lnTo>
                  <a:lnTo>
                    <a:pt x="105596" y="4728"/>
                  </a:lnTo>
                  <a:cubicBezTo>
                    <a:pt x="111900" y="-1576"/>
                    <a:pt x="122617" y="-1576"/>
                    <a:pt x="128921" y="4728"/>
                  </a:cubicBezTo>
                  <a:cubicBezTo>
                    <a:pt x="135226" y="11032"/>
                    <a:pt x="135226" y="21750"/>
                    <a:pt x="128921" y="28054"/>
                  </a:cubicBezTo>
                  <a:lnTo>
                    <a:pt x="78488" y="78488"/>
                  </a:lnTo>
                  <a:cubicBezTo>
                    <a:pt x="75966" y="81640"/>
                    <a:pt x="71553" y="83531"/>
                    <a:pt x="67140" y="83531"/>
                  </a:cubicBezTo>
                  <a:lnTo>
                    <a:pt x="67140" y="8353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64" name="Forma Livre: Forma 163">
              <a:extLst>
                <a:ext uri="{FF2B5EF4-FFF2-40B4-BE49-F238E27FC236}">
                  <a16:creationId xmlns:a16="http://schemas.microsoft.com/office/drawing/2014/main" id="{185203CB-9631-4FA8-996A-2BAADC432108}"/>
                </a:ext>
              </a:extLst>
            </p:cNvPr>
            <p:cNvSpPr/>
            <p:nvPr/>
          </p:nvSpPr>
          <p:spPr>
            <a:xfrm>
              <a:off x="6617358" y="576435"/>
              <a:ext cx="238929" cy="257842"/>
            </a:xfrm>
            <a:custGeom>
              <a:avLst/>
              <a:gdLst>
                <a:gd name="connsiteX0" fmla="*/ 17652 w 238929"/>
                <a:gd name="connsiteY0" fmla="*/ 257843 h 257842"/>
                <a:gd name="connsiteX1" fmla="*/ 1261 w 238929"/>
                <a:gd name="connsiteY1" fmla="*/ 242713 h 257842"/>
                <a:gd name="connsiteX2" fmla="*/ 0 w 238929"/>
                <a:gd name="connsiteY2" fmla="*/ 220017 h 257842"/>
                <a:gd name="connsiteX3" fmla="*/ 222539 w 238929"/>
                <a:gd name="connsiteY3" fmla="*/ 0 h 257842"/>
                <a:gd name="connsiteX4" fmla="*/ 238930 w 238929"/>
                <a:gd name="connsiteY4" fmla="*/ 16391 h 257842"/>
                <a:gd name="connsiteX5" fmla="*/ 222539 w 238929"/>
                <a:gd name="connsiteY5" fmla="*/ 32782 h 257842"/>
                <a:gd name="connsiteX6" fmla="*/ 33412 w 238929"/>
                <a:gd name="connsiteY6" fmla="*/ 219387 h 257842"/>
                <a:gd name="connsiteX7" fmla="*/ 34043 w 238929"/>
                <a:gd name="connsiteY7" fmla="*/ 238300 h 257842"/>
                <a:gd name="connsiteX8" fmla="*/ 18913 w 238929"/>
                <a:gd name="connsiteY8" fmla="*/ 256582 h 257842"/>
                <a:gd name="connsiteX9" fmla="*/ 17652 w 238929"/>
                <a:gd name="connsiteY9" fmla="*/ 257843 h 257842"/>
                <a:gd name="connsiteX10" fmla="*/ 17652 w 238929"/>
                <a:gd name="connsiteY10" fmla="*/ 257843 h 257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929" h="257842">
                  <a:moveTo>
                    <a:pt x="17652" y="257843"/>
                  </a:moveTo>
                  <a:cubicBezTo>
                    <a:pt x="9456" y="257843"/>
                    <a:pt x="1891" y="251539"/>
                    <a:pt x="1261" y="242713"/>
                  </a:cubicBezTo>
                  <a:cubicBezTo>
                    <a:pt x="630" y="235148"/>
                    <a:pt x="0" y="227583"/>
                    <a:pt x="0" y="220017"/>
                  </a:cubicBezTo>
                  <a:cubicBezTo>
                    <a:pt x="0" y="98976"/>
                    <a:pt x="99607" y="0"/>
                    <a:pt x="222539" y="0"/>
                  </a:cubicBezTo>
                  <a:cubicBezTo>
                    <a:pt x="231995" y="0"/>
                    <a:pt x="238930" y="7565"/>
                    <a:pt x="238930" y="16391"/>
                  </a:cubicBezTo>
                  <a:cubicBezTo>
                    <a:pt x="238930" y="25847"/>
                    <a:pt x="231365" y="32782"/>
                    <a:pt x="222539" y="32782"/>
                  </a:cubicBezTo>
                  <a:cubicBezTo>
                    <a:pt x="118519" y="32782"/>
                    <a:pt x="33412" y="116628"/>
                    <a:pt x="33412" y="219387"/>
                  </a:cubicBezTo>
                  <a:cubicBezTo>
                    <a:pt x="33412" y="225691"/>
                    <a:pt x="34043" y="231996"/>
                    <a:pt x="34043" y="238300"/>
                  </a:cubicBezTo>
                  <a:cubicBezTo>
                    <a:pt x="34673" y="247756"/>
                    <a:pt x="28369" y="255952"/>
                    <a:pt x="18913" y="256582"/>
                  </a:cubicBezTo>
                  <a:cubicBezTo>
                    <a:pt x="18913" y="257843"/>
                    <a:pt x="18282" y="257843"/>
                    <a:pt x="17652" y="257843"/>
                  </a:cubicBezTo>
                  <a:lnTo>
                    <a:pt x="17652" y="257843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65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10466719" y="539240"/>
            <a:ext cx="461468" cy="399057"/>
            <a:chOff x="10466719" y="539240"/>
            <a:chExt cx="461468" cy="399057"/>
          </a:xfrm>
          <a:solidFill>
            <a:srgbClr val="B1B1A1"/>
          </a:solidFill>
        </p:grpSpPr>
        <p:sp>
          <p:nvSpPr>
            <p:cNvPr id="166" name="Forma Livre: Forma 165">
              <a:extLst>
                <a:ext uri="{FF2B5EF4-FFF2-40B4-BE49-F238E27FC236}">
                  <a16:creationId xmlns:a16="http://schemas.microsoft.com/office/drawing/2014/main" id="{D3DB806F-67B9-4AEF-B018-F7EFA5B81ED2}"/>
                </a:ext>
              </a:extLst>
            </p:cNvPr>
            <p:cNvSpPr/>
            <p:nvPr/>
          </p:nvSpPr>
          <p:spPr>
            <a:xfrm>
              <a:off x="10466719" y="539240"/>
              <a:ext cx="375101" cy="351145"/>
            </a:xfrm>
            <a:custGeom>
              <a:avLst/>
              <a:gdLst>
                <a:gd name="connsiteX0" fmla="*/ 16391 w 375101"/>
                <a:gd name="connsiteY0" fmla="*/ 351145 h 351145"/>
                <a:gd name="connsiteX1" fmla="*/ 0 w 375101"/>
                <a:gd name="connsiteY1" fmla="*/ 334754 h 351145"/>
                <a:gd name="connsiteX2" fmla="*/ 0 w 375101"/>
                <a:gd name="connsiteY2" fmla="*/ 33412 h 351145"/>
                <a:gd name="connsiteX3" fmla="*/ 33412 w 375101"/>
                <a:gd name="connsiteY3" fmla="*/ 0 h 351145"/>
                <a:gd name="connsiteX4" fmla="*/ 150040 w 375101"/>
                <a:gd name="connsiteY4" fmla="*/ 0 h 351145"/>
                <a:gd name="connsiteX5" fmla="*/ 183453 w 375101"/>
                <a:gd name="connsiteY5" fmla="*/ 33412 h 351145"/>
                <a:gd name="connsiteX6" fmla="*/ 183453 w 375101"/>
                <a:gd name="connsiteY6" fmla="*/ 45390 h 351145"/>
                <a:gd name="connsiteX7" fmla="*/ 358710 w 375101"/>
                <a:gd name="connsiteY7" fmla="*/ 45390 h 351145"/>
                <a:gd name="connsiteX8" fmla="*/ 375101 w 375101"/>
                <a:gd name="connsiteY8" fmla="*/ 61781 h 351145"/>
                <a:gd name="connsiteX9" fmla="*/ 358710 w 375101"/>
                <a:gd name="connsiteY9" fmla="*/ 78172 h 351145"/>
                <a:gd name="connsiteX10" fmla="*/ 166431 w 375101"/>
                <a:gd name="connsiteY10" fmla="*/ 78172 h 351145"/>
                <a:gd name="connsiteX11" fmla="*/ 150040 w 375101"/>
                <a:gd name="connsiteY11" fmla="*/ 61781 h 351145"/>
                <a:gd name="connsiteX12" fmla="*/ 150040 w 375101"/>
                <a:gd name="connsiteY12" fmla="*/ 33412 h 351145"/>
                <a:gd name="connsiteX13" fmla="*/ 33412 w 375101"/>
                <a:gd name="connsiteY13" fmla="*/ 33412 h 351145"/>
                <a:gd name="connsiteX14" fmla="*/ 33412 w 375101"/>
                <a:gd name="connsiteY14" fmla="*/ 334124 h 351145"/>
                <a:gd name="connsiteX15" fmla="*/ 16391 w 375101"/>
                <a:gd name="connsiteY15" fmla="*/ 351145 h 351145"/>
                <a:gd name="connsiteX16" fmla="*/ 16391 w 375101"/>
                <a:gd name="connsiteY16" fmla="*/ 351145 h 351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75101" h="351145">
                  <a:moveTo>
                    <a:pt x="16391" y="351145"/>
                  </a:moveTo>
                  <a:cubicBezTo>
                    <a:pt x="6934" y="351145"/>
                    <a:pt x="0" y="343580"/>
                    <a:pt x="0" y="334754"/>
                  </a:cubicBezTo>
                  <a:lnTo>
                    <a:pt x="0" y="33412"/>
                  </a:lnTo>
                  <a:cubicBezTo>
                    <a:pt x="0" y="15130"/>
                    <a:pt x="15130" y="0"/>
                    <a:pt x="33412" y="0"/>
                  </a:cubicBezTo>
                  <a:lnTo>
                    <a:pt x="150040" y="0"/>
                  </a:lnTo>
                  <a:cubicBezTo>
                    <a:pt x="168323" y="0"/>
                    <a:pt x="183453" y="15130"/>
                    <a:pt x="183453" y="33412"/>
                  </a:cubicBezTo>
                  <a:lnTo>
                    <a:pt x="183453" y="45390"/>
                  </a:lnTo>
                  <a:lnTo>
                    <a:pt x="358710" y="45390"/>
                  </a:lnTo>
                  <a:cubicBezTo>
                    <a:pt x="368166" y="45390"/>
                    <a:pt x="375101" y="52955"/>
                    <a:pt x="375101" y="61781"/>
                  </a:cubicBezTo>
                  <a:cubicBezTo>
                    <a:pt x="375101" y="71238"/>
                    <a:pt x="367536" y="78172"/>
                    <a:pt x="358710" y="78172"/>
                  </a:cubicBezTo>
                  <a:lnTo>
                    <a:pt x="166431" y="78172"/>
                  </a:lnTo>
                  <a:cubicBezTo>
                    <a:pt x="156975" y="78172"/>
                    <a:pt x="150040" y="70607"/>
                    <a:pt x="150040" y="61781"/>
                  </a:cubicBezTo>
                  <a:lnTo>
                    <a:pt x="150040" y="33412"/>
                  </a:lnTo>
                  <a:lnTo>
                    <a:pt x="33412" y="33412"/>
                  </a:lnTo>
                  <a:lnTo>
                    <a:pt x="33412" y="334124"/>
                  </a:lnTo>
                  <a:cubicBezTo>
                    <a:pt x="33412" y="343580"/>
                    <a:pt x="25847" y="351145"/>
                    <a:pt x="16391" y="351145"/>
                  </a:cubicBezTo>
                  <a:lnTo>
                    <a:pt x="16391" y="351145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67" name="Forma Livre: Forma 166">
              <a:extLst>
                <a:ext uri="{FF2B5EF4-FFF2-40B4-BE49-F238E27FC236}">
                  <a16:creationId xmlns:a16="http://schemas.microsoft.com/office/drawing/2014/main" id="{55385484-6DA6-4F4B-AEA1-7BDE63999DC5}"/>
                </a:ext>
              </a:extLst>
            </p:cNvPr>
            <p:cNvSpPr/>
            <p:nvPr/>
          </p:nvSpPr>
          <p:spPr>
            <a:xfrm>
              <a:off x="10479348" y="636956"/>
              <a:ext cx="445035" cy="253429"/>
            </a:xfrm>
            <a:custGeom>
              <a:avLst/>
              <a:gdLst>
                <a:gd name="connsiteX0" fmla="*/ 258452 w 445035"/>
                <a:gd name="connsiteY0" fmla="*/ 253430 h 253429"/>
                <a:gd name="connsiteX1" fmla="*/ 16370 w 445035"/>
                <a:gd name="connsiteY1" fmla="*/ 253430 h 253429"/>
                <a:gd name="connsiteX2" fmla="*/ 3131 w 445035"/>
                <a:gd name="connsiteY2" fmla="*/ 246495 h 253429"/>
                <a:gd name="connsiteX3" fmla="*/ 609 w 445035"/>
                <a:gd name="connsiteY3" fmla="*/ 231365 h 253429"/>
                <a:gd name="connsiteX4" fmla="*/ 70586 w 445035"/>
                <a:gd name="connsiteY4" fmla="*/ 11348 h 253429"/>
                <a:gd name="connsiteX5" fmla="*/ 86346 w 445035"/>
                <a:gd name="connsiteY5" fmla="*/ 0 h 253429"/>
                <a:gd name="connsiteX6" fmla="*/ 428666 w 445035"/>
                <a:gd name="connsiteY6" fmla="*/ 0 h 253429"/>
                <a:gd name="connsiteX7" fmla="*/ 441905 w 445035"/>
                <a:gd name="connsiteY7" fmla="*/ 6935 h 253429"/>
                <a:gd name="connsiteX8" fmla="*/ 444427 w 445035"/>
                <a:gd name="connsiteY8" fmla="*/ 22065 h 253429"/>
                <a:gd name="connsiteX9" fmla="*/ 412274 w 445035"/>
                <a:gd name="connsiteY9" fmla="*/ 122932 h 253429"/>
                <a:gd name="connsiteX10" fmla="*/ 380753 w 445035"/>
                <a:gd name="connsiteY10" fmla="*/ 112846 h 253429"/>
                <a:gd name="connsiteX11" fmla="*/ 405970 w 445035"/>
                <a:gd name="connsiteY11" fmla="*/ 34043 h 253429"/>
                <a:gd name="connsiteX12" fmla="*/ 98955 w 445035"/>
                <a:gd name="connsiteY12" fmla="*/ 34043 h 253429"/>
                <a:gd name="connsiteX13" fmla="*/ 39695 w 445035"/>
                <a:gd name="connsiteY13" fmla="*/ 220648 h 253429"/>
                <a:gd name="connsiteX14" fmla="*/ 259082 w 445035"/>
                <a:gd name="connsiteY14" fmla="*/ 220648 h 253429"/>
                <a:gd name="connsiteX15" fmla="*/ 259082 w 445035"/>
                <a:gd name="connsiteY15" fmla="*/ 253430 h 253429"/>
                <a:gd name="connsiteX16" fmla="*/ 258452 w 445035"/>
                <a:gd name="connsiteY16" fmla="*/ 253430 h 253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45035" h="253429">
                  <a:moveTo>
                    <a:pt x="258452" y="253430"/>
                  </a:moveTo>
                  <a:lnTo>
                    <a:pt x="16370" y="253430"/>
                  </a:lnTo>
                  <a:cubicBezTo>
                    <a:pt x="11326" y="253430"/>
                    <a:pt x="6283" y="250908"/>
                    <a:pt x="3131" y="246495"/>
                  </a:cubicBezTo>
                  <a:cubicBezTo>
                    <a:pt x="-21" y="242082"/>
                    <a:pt x="-652" y="236408"/>
                    <a:pt x="609" y="231365"/>
                  </a:cubicBezTo>
                  <a:lnTo>
                    <a:pt x="70586" y="11348"/>
                  </a:lnTo>
                  <a:cubicBezTo>
                    <a:pt x="72477" y="4413"/>
                    <a:pt x="79412" y="0"/>
                    <a:pt x="86346" y="0"/>
                  </a:cubicBezTo>
                  <a:lnTo>
                    <a:pt x="428666" y="0"/>
                  </a:lnTo>
                  <a:cubicBezTo>
                    <a:pt x="433709" y="0"/>
                    <a:pt x="438753" y="2522"/>
                    <a:pt x="441905" y="6935"/>
                  </a:cubicBezTo>
                  <a:cubicBezTo>
                    <a:pt x="445057" y="11348"/>
                    <a:pt x="445687" y="17021"/>
                    <a:pt x="444427" y="22065"/>
                  </a:cubicBezTo>
                  <a:lnTo>
                    <a:pt x="412274" y="122932"/>
                  </a:lnTo>
                  <a:lnTo>
                    <a:pt x="380753" y="112846"/>
                  </a:lnTo>
                  <a:lnTo>
                    <a:pt x="405970" y="34043"/>
                  </a:lnTo>
                  <a:lnTo>
                    <a:pt x="98955" y="34043"/>
                  </a:lnTo>
                  <a:lnTo>
                    <a:pt x="39695" y="220648"/>
                  </a:lnTo>
                  <a:lnTo>
                    <a:pt x="259082" y="220648"/>
                  </a:lnTo>
                  <a:lnTo>
                    <a:pt x="259082" y="253430"/>
                  </a:lnTo>
                  <a:lnTo>
                    <a:pt x="258452" y="253430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168" name="Gráfico 2">
              <a:extLst>
                <a:ext uri="{FF2B5EF4-FFF2-40B4-BE49-F238E27FC236}">
                  <a16:creationId xmlns:a16="http://schemas.microsoft.com/office/drawing/2014/main" id="{1EC2913E-D059-42A1-91F3-F6BAB2F166E6}"/>
                </a:ext>
              </a:extLst>
            </p:cNvPr>
            <p:cNvGrpSpPr/>
            <p:nvPr/>
          </p:nvGrpSpPr>
          <p:grpSpPr>
            <a:xfrm>
              <a:off x="10721409" y="731519"/>
              <a:ext cx="206778" cy="206778"/>
              <a:chOff x="10721409" y="731519"/>
              <a:chExt cx="206778" cy="206778"/>
            </a:xfrm>
            <a:grpFill/>
          </p:grpSpPr>
          <p:sp>
            <p:nvSpPr>
              <p:cNvPr id="169" name="Forma Livre: Forma 168">
                <a:extLst>
                  <a:ext uri="{FF2B5EF4-FFF2-40B4-BE49-F238E27FC236}">
                    <a16:creationId xmlns:a16="http://schemas.microsoft.com/office/drawing/2014/main" id="{CBF7749E-C0D1-4B5E-A61F-7F87581FEF31}"/>
                  </a:ext>
                </a:extLst>
              </p:cNvPr>
              <p:cNvSpPr/>
              <p:nvPr/>
            </p:nvSpPr>
            <p:spPr>
              <a:xfrm>
                <a:off x="10721409" y="731519"/>
                <a:ext cx="206778" cy="206778"/>
              </a:xfrm>
              <a:custGeom>
                <a:avLst/>
                <a:gdLst>
                  <a:gd name="connsiteX0" fmla="*/ 103389 w 206778"/>
                  <a:gd name="connsiteY0" fmla="*/ 206779 h 206778"/>
                  <a:gd name="connsiteX1" fmla="*/ 30260 w 206778"/>
                  <a:gd name="connsiteY1" fmla="*/ 176518 h 206778"/>
                  <a:gd name="connsiteX2" fmla="*/ 30260 w 206778"/>
                  <a:gd name="connsiteY2" fmla="*/ 30260 h 206778"/>
                  <a:gd name="connsiteX3" fmla="*/ 103389 w 206778"/>
                  <a:gd name="connsiteY3" fmla="*/ 0 h 206778"/>
                  <a:gd name="connsiteX4" fmla="*/ 176518 w 206778"/>
                  <a:gd name="connsiteY4" fmla="*/ 30260 h 206778"/>
                  <a:gd name="connsiteX5" fmla="*/ 206779 w 206778"/>
                  <a:gd name="connsiteY5" fmla="*/ 103389 h 206778"/>
                  <a:gd name="connsiteX6" fmla="*/ 176518 w 206778"/>
                  <a:gd name="connsiteY6" fmla="*/ 176518 h 206778"/>
                  <a:gd name="connsiteX7" fmla="*/ 103389 w 206778"/>
                  <a:gd name="connsiteY7" fmla="*/ 206779 h 206778"/>
                  <a:gd name="connsiteX8" fmla="*/ 103389 w 206778"/>
                  <a:gd name="connsiteY8" fmla="*/ 206779 h 206778"/>
                  <a:gd name="connsiteX9" fmla="*/ 103389 w 206778"/>
                  <a:gd name="connsiteY9" fmla="*/ 16391 h 206778"/>
                  <a:gd name="connsiteX10" fmla="*/ 42239 w 206778"/>
                  <a:gd name="connsiteY10" fmla="*/ 41608 h 206778"/>
                  <a:gd name="connsiteX11" fmla="*/ 42239 w 206778"/>
                  <a:gd name="connsiteY11" fmla="*/ 164540 h 206778"/>
                  <a:gd name="connsiteX12" fmla="*/ 103389 w 206778"/>
                  <a:gd name="connsiteY12" fmla="*/ 189757 h 206778"/>
                  <a:gd name="connsiteX13" fmla="*/ 164541 w 206778"/>
                  <a:gd name="connsiteY13" fmla="*/ 164540 h 206778"/>
                  <a:gd name="connsiteX14" fmla="*/ 189758 w 206778"/>
                  <a:gd name="connsiteY14" fmla="*/ 103389 h 206778"/>
                  <a:gd name="connsiteX15" fmla="*/ 164541 w 206778"/>
                  <a:gd name="connsiteY15" fmla="*/ 42238 h 206778"/>
                  <a:gd name="connsiteX16" fmla="*/ 103389 w 206778"/>
                  <a:gd name="connsiteY16" fmla="*/ 16391 h 206778"/>
                  <a:gd name="connsiteX17" fmla="*/ 103389 w 206778"/>
                  <a:gd name="connsiteY17" fmla="*/ 16391 h 206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06778" h="206778">
                    <a:moveTo>
                      <a:pt x="103389" y="206779"/>
                    </a:moveTo>
                    <a:cubicBezTo>
                      <a:pt x="75651" y="206779"/>
                      <a:pt x="49803" y="196061"/>
                      <a:pt x="30260" y="176518"/>
                    </a:cubicBezTo>
                    <a:cubicBezTo>
                      <a:pt x="-10087" y="136171"/>
                      <a:pt x="-10087" y="70607"/>
                      <a:pt x="30260" y="30260"/>
                    </a:cubicBezTo>
                    <a:cubicBezTo>
                      <a:pt x="49803" y="10717"/>
                      <a:pt x="75651" y="0"/>
                      <a:pt x="103389" y="0"/>
                    </a:cubicBezTo>
                    <a:cubicBezTo>
                      <a:pt x="131128" y="0"/>
                      <a:pt x="156975" y="10717"/>
                      <a:pt x="176518" y="30260"/>
                    </a:cubicBezTo>
                    <a:cubicBezTo>
                      <a:pt x="196062" y="49803"/>
                      <a:pt x="206779" y="75651"/>
                      <a:pt x="206779" y="103389"/>
                    </a:cubicBezTo>
                    <a:cubicBezTo>
                      <a:pt x="206779" y="131128"/>
                      <a:pt x="196062" y="156975"/>
                      <a:pt x="176518" y="176518"/>
                    </a:cubicBezTo>
                    <a:cubicBezTo>
                      <a:pt x="156975" y="196061"/>
                      <a:pt x="131128" y="206779"/>
                      <a:pt x="103389" y="206779"/>
                    </a:cubicBezTo>
                    <a:lnTo>
                      <a:pt x="103389" y="206779"/>
                    </a:lnTo>
                    <a:close/>
                    <a:moveTo>
                      <a:pt x="103389" y="16391"/>
                    </a:moveTo>
                    <a:cubicBezTo>
                      <a:pt x="80064" y="16391"/>
                      <a:pt x="58629" y="25217"/>
                      <a:pt x="42239" y="41608"/>
                    </a:cubicBezTo>
                    <a:cubicBezTo>
                      <a:pt x="8196" y="75651"/>
                      <a:pt x="8196" y="130497"/>
                      <a:pt x="42239" y="164540"/>
                    </a:cubicBezTo>
                    <a:cubicBezTo>
                      <a:pt x="58629" y="180931"/>
                      <a:pt x="80694" y="189757"/>
                      <a:pt x="103389" y="189757"/>
                    </a:cubicBezTo>
                    <a:cubicBezTo>
                      <a:pt x="126084" y="189757"/>
                      <a:pt x="148149" y="180931"/>
                      <a:pt x="164541" y="164540"/>
                    </a:cubicBezTo>
                    <a:cubicBezTo>
                      <a:pt x="180932" y="148149"/>
                      <a:pt x="189758" y="126085"/>
                      <a:pt x="189758" y="103389"/>
                    </a:cubicBezTo>
                    <a:cubicBezTo>
                      <a:pt x="189758" y="80064"/>
                      <a:pt x="180932" y="58629"/>
                      <a:pt x="164541" y="42238"/>
                    </a:cubicBezTo>
                    <a:cubicBezTo>
                      <a:pt x="148149" y="25217"/>
                      <a:pt x="126715" y="16391"/>
                      <a:pt x="103389" y="16391"/>
                    </a:cubicBezTo>
                    <a:lnTo>
                      <a:pt x="103389" y="16391"/>
                    </a:ln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grpSp>
            <p:nvGrpSpPr>
              <p:cNvPr id="170" name="Gráfico 2">
                <a:extLst>
                  <a:ext uri="{FF2B5EF4-FFF2-40B4-BE49-F238E27FC236}">
                    <a16:creationId xmlns:a16="http://schemas.microsoft.com/office/drawing/2014/main" id="{1EC2913E-D059-42A1-91F3-F6BAB2F166E6}"/>
                  </a:ext>
                </a:extLst>
              </p:cNvPr>
              <p:cNvGrpSpPr/>
              <p:nvPr/>
            </p:nvGrpSpPr>
            <p:grpSpPr>
              <a:xfrm>
                <a:off x="10774767" y="787627"/>
                <a:ext cx="97539" cy="94090"/>
                <a:chOff x="10774767" y="787627"/>
                <a:chExt cx="97539" cy="94090"/>
              </a:xfrm>
              <a:grpFill/>
            </p:grpSpPr>
            <p:sp>
              <p:nvSpPr>
                <p:cNvPr id="171" name="Forma Livre: Forma 170">
                  <a:extLst>
                    <a:ext uri="{FF2B5EF4-FFF2-40B4-BE49-F238E27FC236}">
                      <a16:creationId xmlns:a16="http://schemas.microsoft.com/office/drawing/2014/main" id="{CAFB2B35-DE06-4C65-B2EB-7B32A0269C7D}"/>
                    </a:ext>
                  </a:extLst>
                </p:cNvPr>
                <p:cNvSpPr/>
                <p:nvPr/>
              </p:nvSpPr>
              <p:spPr>
                <a:xfrm>
                  <a:off x="10782560" y="794561"/>
                  <a:ext cx="84476" cy="80063"/>
                </a:xfrm>
                <a:custGeom>
                  <a:avLst/>
                  <a:gdLst>
                    <a:gd name="connsiteX0" fmla="*/ 42238 w 84476"/>
                    <a:gd name="connsiteY0" fmla="*/ 0 h 80063"/>
                    <a:gd name="connsiteX1" fmla="*/ 32151 w 84476"/>
                    <a:gd name="connsiteY1" fmla="*/ 30260 h 80063"/>
                    <a:gd name="connsiteX2" fmla="*/ 0 w 84476"/>
                    <a:gd name="connsiteY2" fmla="*/ 30260 h 80063"/>
                    <a:gd name="connsiteX3" fmla="*/ 25847 w 84476"/>
                    <a:gd name="connsiteY3" fmla="*/ 49803 h 80063"/>
                    <a:gd name="connsiteX4" fmla="*/ 15761 w 84476"/>
                    <a:gd name="connsiteY4" fmla="*/ 80064 h 80063"/>
                    <a:gd name="connsiteX5" fmla="*/ 42238 w 84476"/>
                    <a:gd name="connsiteY5" fmla="*/ 61151 h 80063"/>
                    <a:gd name="connsiteX6" fmla="*/ 68085 w 84476"/>
                    <a:gd name="connsiteY6" fmla="*/ 80064 h 80063"/>
                    <a:gd name="connsiteX7" fmla="*/ 57999 w 84476"/>
                    <a:gd name="connsiteY7" fmla="*/ 49803 h 80063"/>
                    <a:gd name="connsiteX8" fmla="*/ 84477 w 84476"/>
                    <a:gd name="connsiteY8" fmla="*/ 30260 h 80063"/>
                    <a:gd name="connsiteX9" fmla="*/ 52325 w 84476"/>
                    <a:gd name="connsiteY9" fmla="*/ 30260 h 80063"/>
                    <a:gd name="connsiteX10" fmla="*/ 42238 w 84476"/>
                    <a:gd name="connsiteY10" fmla="*/ 0 h 800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84476" h="80063">
                      <a:moveTo>
                        <a:pt x="42238" y="0"/>
                      </a:moveTo>
                      <a:lnTo>
                        <a:pt x="32151" y="30260"/>
                      </a:lnTo>
                      <a:lnTo>
                        <a:pt x="0" y="30260"/>
                      </a:lnTo>
                      <a:lnTo>
                        <a:pt x="25847" y="49803"/>
                      </a:lnTo>
                      <a:lnTo>
                        <a:pt x="15761" y="80064"/>
                      </a:lnTo>
                      <a:lnTo>
                        <a:pt x="42238" y="61151"/>
                      </a:lnTo>
                      <a:lnTo>
                        <a:pt x="68085" y="80064"/>
                      </a:lnTo>
                      <a:lnTo>
                        <a:pt x="57999" y="49803"/>
                      </a:lnTo>
                      <a:lnTo>
                        <a:pt x="84477" y="30260"/>
                      </a:lnTo>
                      <a:lnTo>
                        <a:pt x="52325" y="30260"/>
                      </a:lnTo>
                      <a:lnTo>
                        <a:pt x="42238" y="0"/>
                      </a:lnTo>
                      <a:close/>
                    </a:path>
                  </a:pathLst>
                </a:custGeom>
                <a:grpFill/>
                <a:ln w="63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172" name="Forma Livre: Forma 171">
                  <a:extLst>
                    <a:ext uri="{FF2B5EF4-FFF2-40B4-BE49-F238E27FC236}">
                      <a16:creationId xmlns:a16="http://schemas.microsoft.com/office/drawing/2014/main" id="{1D5DDA9D-EFE4-40A5-A882-05C54AC433C4}"/>
                    </a:ext>
                  </a:extLst>
                </p:cNvPr>
                <p:cNvSpPr/>
                <p:nvPr/>
              </p:nvSpPr>
              <p:spPr>
                <a:xfrm>
                  <a:off x="10774767" y="787627"/>
                  <a:ext cx="97539" cy="94090"/>
                </a:xfrm>
                <a:custGeom>
                  <a:avLst/>
                  <a:gdLst>
                    <a:gd name="connsiteX0" fmla="*/ 75878 w 97539"/>
                    <a:gd name="connsiteY0" fmla="*/ 93933 h 94090"/>
                    <a:gd name="connsiteX1" fmla="*/ 71465 w 97539"/>
                    <a:gd name="connsiteY1" fmla="*/ 92672 h 94090"/>
                    <a:gd name="connsiteX2" fmla="*/ 49401 w 97539"/>
                    <a:gd name="connsiteY2" fmla="*/ 76912 h 94090"/>
                    <a:gd name="connsiteX3" fmla="*/ 27336 w 97539"/>
                    <a:gd name="connsiteY3" fmla="*/ 92672 h 94090"/>
                    <a:gd name="connsiteX4" fmla="*/ 19140 w 97539"/>
                    <a:gd name="connsiteY4" fmla="*/ 92672 h 94090"/>
                    <a:gd name="connsiteX5" fmla="*/ 16619 w 97539"/>
                    <a:gd name="connsiteY5" fmla="*/ 85107 h 94090"/>
                    <a:gd name="connsiteX6" fmla="*/ 24814 w 97539"/>
                    <a:gd name="connsiteY6" fmla="*/ 59260 h 94090"/>
                    <a:gd name="connsiteX7" fmla="*/ 2749 w 97539"/>
                    <a:gd name="connsiteY7" fmla="*/ 43499 h 94090"/>
                    <a:gd name="connsiteX8" fmla="*/ 227 w 97539"/>
                    <a:gd name="connsiteY8" fmla="*/ 35934 h 94090"/>
                    <a:gd name="connsiteX9" fmla="*/ 7163 w 97539"/>
                    <a:gd name="connsiteY9" fmla="*/ 30891 h 94090"/>
                    <a:gd name="connsiteX10" fmla="*/ 34270 w 97539"/>
                    <a:gd name="connsiteY10" fmla="*/ 30891 h 94090"/>
                    <a:gd name="connsiteX11" fmla="*/ 42466 w 97539"/>
                    <a:gd name="connsiteY11" fmla="*/ 5043 h 94090"/>
                    <a:gd name="connsiteX12" fmla="*/ 49401 w 97539"/>
                    <a:gd name="connsiteY12" fmla="*/ 0 h 94090"/>
                    <a:gd name="connsiteX13" fmla="*/ 49401 w 97539"/>
                    <a:gd name="connsiteY13" fmla="*/ 0 h 94090"/>
                    <a:gd name="connsiteX14" fmla="*/ 55705 w 97539"/>
                    <a:gd name="connsiteY14" fmla="*/ 5043 h 94090"/>
                    <a:gd name="connsiteX15" fmla="*/ 63901 w 97539"/>
                    <a:gd name="connsiteY15" fmla="*/ 30891 h 94090"/>
                    <a:gd name="connsiteX16" fmla="*/ 91008 w 97539"/>
                    <a:gd name="connsiteY16" fmla="*/ 30891 h 94090"/>
                    <a:gd name="connsiteX17" fmla="*/ 97313 w 97539"/>
                    <a:gd name="connsiteY17" fmla="*/ 35934 h 94090"/>
                    <a:gd name="connsiteX18" fmla="*/ 94791 w 97539"/>
                    <a:gd name="connsiteY18" fmla="*/ 43499 h 94090"/>
                    <a:gd name="connsiteX19" fmla="*/ 72726 w 97539"/>
                    <a:gd name="connsiteY19" fmla="*/ 59260 h 94090"/>
                    <a:gd name="connsiteX20" fmla="*/ 80922 w 97539"/>
                    <a:gd name="connsiteY20" fmla="*/ 85107 h 94090"/>
                    <a:gd name="connsiteX21" fmla="*/ 78400 w 97539"/>
                    <a:gd name="connsiteY21" fmla="*/ 92672 h 94090"/>
                    <a:gd name="connsiteX22" fmla="*/ 75878 w 97539"/>
                    <a:gd name="connsiteY22" fmla="*/ 93933 h 94090"/>
                    <a:gd name="connsiteX23" fmla="*/ 75878 w 97539"/>
                    <a:gd name="connsiteY23" fmla="*/ 93933 h 94090"/>
                    <a:gd name="connsiteX24" fmla="*/ 50031 w 97539"/>
                    <a:gd name="connsiteY24" fmla="*/ 61151 h 94090"/>
                    <a:gd name="connsiteX25" fmla="*/ 53813 w 97539"/>
                    <a:gd name="connsiteY25" fmla="*/ 62412 h 94090"/>
                    <a:gd name="connsiteX26" fmla="*/ 62639 w 97539"/>
                    <a:gd name="connsiteY26" fmla="*/ 68716 h 94090"/>
                    <a:gd name="connsiteX27" fmla="*/ 59487 w 97539"/>
                    <a:gd name="connsiteY27" fmla="*/ 58629 h 94090"/>
                    <a:gd name="connsiteX28" fmla="*/ 62009 w 97539"/>
                    <a:gd name="connsiteY28" fmla="*/ 51064 h 94090"/>
                    <a:gd name="connsiteX29" fmla="*/ 70835 w 97539"/>
                    <a:gd name="connsiteY29" fmla="*/ 44760 h 94090"/>
                    <a:gd name="connsiteX30" fmla="*/ 60117 w 97539"/>
                    <a:gd name="connsiteY30" fmla="*/ 44760 h 94090"/>
                    <a:gd name="connsiteX31" fmla="*/ 53183 w 97539"/>
                    <a:gd name="connsiteY31" fmla="*/ 39717 h 94090"/>
                    <a:gd name="connsiteX32" fmla="*/ 50031 w 97539"/>
                    <a:gd name="connsiteY32" fmla="*/ 29630 h 94090"/>
                    <a:gd name="connsiteX33" fmla="*/ 46879 w 97539"/>
                    <a:gd name="connsiteY33" fmla="*/ 39717 h 94090"/>
                    <a:gd name="connsiteX34" fmla="*/ 40575 w 97539"/>
                    <a:gd name="connsiteY34" fmla="*/ 44760 h 94090"/>
                    <a:gd name="connsiteX35" fmla="*/ 29858 w 97539"/>
                    <a:gd name="connsiteY35" fmla="*/ 44760 h 94090"/>
                    <a:gd name="connsiteX36" fmla="*/ 38684 w 97539"/>
                    <a:gd name="connsiteY36" fmla="*/ 51064 h 94090"/>
                    <a:gd name="connsiteX37" fmla="*/ 41205 w 97539"/>
                    <a:gd name="connsiteY37" fmla="*/ 58629 h 94090"/>
                    <a:gd name="connsiteX38" fmla="*/ 38053 w 97539"/>
                    <a:gd name="connsiteY38" fmla="*/ 68716 h 94090"/>
                    <a:gd name="connsiteX39" fmla="*/ 46879 w 97539"/>
                    <a:gd name="connsiteY39" fmla="*/ 62412 h 94090"/>
                    <a:gd name="connsiteX40" fmla="*/ 50031 w 97539"/>
                    <a:gd name="connsiteY40" fmla="*/ 61151 h 94090"/>
                    <a:gd name="connsiteX41" fmla="*/ 50031 w 97539"/>
                    <a:gd name="connsiteY41" fmla="*/ 61151 h 940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97539" h="94090">
                      <a:moveTo>
                        <a:pt x="75878" y="93933"/>
                      </a:moveTo>
                      <a:cubicBezTo>
                        <a:pt x="74617" y="93933"/>
                        <a:pt x="72726" y="93303"/>
                        <a:pt x="71465" y="92672"/>
                      </a:cubicBezTo>
                      <a:lnTo>
                        <a:pt x="49401" y="76912"/>
                      </a:lnTo>
                      <a:lnTo>
                        <a:pt x="27336" y="92672"/>
                      </a:lnTo>
                      <a:cubicBezTo>
                        <a:pt x="24814" y="94563"/>
                        <a:pt x="21662" y="94563"/>
                        <a:pt x="19140" y="92672"/>
                      </a:cubicBezTo>
                      <a:cubicBezTo>
                        <a:pt x="16619" y="90781"/>
                        <a:pt x="15988" y="87629"/>
                        <a:pt x="16619" y="85107"/>
                      </a:cubicBezTo>
                      <a:lnTo>
                        <a:pt x="24814" y="59260"/>
                      </a:lnTo>
                      <a:lnTo>
                        <a:pt x="2749" y="43499"/>
                      </a:lnTo>
                      <a:cubicBezTo>
                        <a:pt x="227" y="41608"/>
                        <a:pt x="-403" y="38456"/>
                        <a:pt x="227" y="35934"/>
                      </a:cubicBezTo>
                      <a:cubicBezTo>
                        <a:pt x="858" y="32782"/>
                        <a:pt x="4010" y="30891"/>
                        <a:pt x="7163" y="30891"/>
                      </a:cubicBezTo>
                      <a:lnTo>
                        <a:pt x="34270" y="30891"/>
                      </a:lnTo>
                      <a:lnTo>
                        <a:pt x="42466" y="5043"/>
                      </a:lnTo>
                      <a:cubicBezTo>
                        <a:pt x="43096" y="1891"/>
                        <a:pt x="46248" y="0"/>
                        <a:pt x="49401" y="0"/>
                      </a:cubicBezTo>
                      <a:lnTo>
                        <a:pt x="49401" y="0"/>
                      </a:lnTo>
                      <a:cubicBezTo>
                        <a:pt x="52553" y="0"/>
                        <a:pt x="55075" y="1891"/>
                        <a:pt x="55705" y="5043"/>
                      </a:cubicBezTo>
                      <a:lnTo>
                        <a:pt x="63901" y="30891"/>
                      </a:lnTo>
                      <a:lnTo>
                        <a:pt x="91008" y="30891"/>
                      </a:lnTo>
                      <a:cubicBezTo>
                        <a:pt x="94160" y="30891"/>
                        <a:pt x="96682" y="32782"/>
                        <a:pt x="97313" y="35934"/>
                      </a:cubicBezTo>
                      <a:cubicBezTo>
                        <a:pt x="97943" y="39086"/>
                        <a:pt x="97313" y="42238"/>
                        <a:pt x="94791" y="43499"/>
                      </a:cubicBezTo>
                      <a:lnTo>
                        <a:pt x="72726" y="59260"/>
                      </a:lnTo>
                      <a:lnTo>
                        <a:pt x="80922" y="85107"/>
                      </a:lnTo>
                      <a:cubicBezTo>
                        <a:pt x="82182" y="88259"/>
                        <a:pt x="80922" y="91411"/>
                        <a:pt x="78400" y="92672"/>
                      </a:cubicBezTo>
                      <a:cubicBezTo>
                        <a:pt x="79030" y="93933"/>
                        <a:pt x="77139" y="93933"/>
                        <a:pt x="75878" y="93933"/>
                      </a:cubicBezTo>
                      <a:lnTo>
                        <a:pt x="75878" y="93933"/>
                      </a:lnTo>
                      <a:close/>
                      <a:moveTo>
                        <a:pt x="50031" y="61151"/>
                      </a:moveTo>
                      <a:cubicBezTo>
                        <a:pt x="51292" y="61151"/>
                        <a:pt x="53183" y="61781"/>
                        <a:pt x="53813" y="62412"/>
                      </a:cubicBezTo>
                      <a:lnTo>
                        <a:pt x="62639" y="68716"/>
                      </a:lnTo>
                      <a:lnTo>
                        <a:pt x="59487" y="58629"/>
                      </a:lnTo>
                      <a:cubicBezTo>
                        <a:pt x="58857" y="55477"/>
                        <a:pt x="59487" y="52325"/>
                        <a:pt x="62009" y="51064"/>
                      </a:cubicBezTo>
                      <a:lnTo>
                        <a:pt x="70835" y="44760"/>
                      </a:lnTo>
                      <a:lnTo>
                        <a:pt x="60117" y="44760"/>
                      </a:lnTo>
                      <a:cubicBezTo>
                        <a:pt x="56965" y="44760"/>
                        <a:pt x="54444" y="42869"/>
                        <a:pt x="53183" y="39717"/>
                      </a:cubicBezTo>
                      <a:lnTo>
                        <a:pt x="50031" y="29630"/>
                      </a:lnTo>
                      <a:lnTo>
                        <a:pt x="46879" y="39717"/>
                      </a:lnTo>
                      <a:cubicBezTo>
                        <a:pt x="46248" y="42869"/>
                        <a:pt x="43096" y="44760"/>
                        <a:pt x="40575" y="44760"/>
                      </a:cubicBezTo>
                      <a:lnTo>
                        <a:pt x="29858" y="44760"/>
                      </a:lnTo>
                      <a:lnTo>
                        <a:pt x="38684" y="51064"/>
                      </a:lnTo>
                      <a:cubicBezTo>
                        <a:pt x="41205" y="52956"/>
                        <a:pt x="41836" y="56108"/>
                        <a:pt x="41205" y="58629"/>
                      </a:cubicBezTo>
                      <a:lnTo>
                        <a:pt x="38053" y="68716"/>
                      </a:lnTo>
                      <a:lnTo>
                        <a:pt x="46879" y="62412"/>
                      </a:lnTo>
                      <a:cubicBezTo>
                        <a:pt x="46879" y="61781"/>
                        <a:pt x="48140" y="61151"/>
                        <a:pt x="50031" y="61151"/>
                      </a:cubicBezTo>
                      <a:lnTo>
                        <a:pt x="50031" y="61151"/>
                      </a:lnTo>
                      <a:close/>
                    </a:path>
                  </a:pathLst>
                </a:custGeom>
                <a:grpFill/>
                <a:ln w="63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</p:grpSp>
      </p:grpSp>
      <p:grpSp>
        <p:nvGrpSpPr>
          <p:cNvPr id="173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7452668" y="1579437"/>
            <a:ext cx="387079" cy="385818"/>
            <a:chOff x="7452668" y="1579437"/>
            <a:chExt cx="387079" cy="385818"/>
          </a:xfrm>
          <a:solidFill>
            <a:srgbClr val="B1B1A1"/>
          </a:solidFill>
        </p:grpSpPr>
        <p:sp>
          <p:nvSpPr>
            <p:cNvPr id="174" name="Forma Livre: Forma 173">
              <a:extLst>
                <a:ext uri="{FF2B5EF4-FFF2-40B4-BE49-F238E27FC236}">
                  <a16:creationId xmlns:a16="http://schemas.microsoft.com/office/drawing/2014/main" id="{C594629B-DD09-4CFE-B1D9-E812535D1DC5}"/>
                </a:ext>
              </a:extLst>
            </p:cNvPr>
            <p:cNvSpPr/>
            <p:nvPr/>
          </p:nvSpPr>
          <p:spPr>
            <a:xfrm>
              <a:off x="7452668" y="1579437"/>
              <a:ext cx="254710" cy="241451"/>
            </a:xfrm>
            <a:custGeom>
              <a:avLst/>
              <a:gdLst>
                <a:gd name="connsiteX0" fmla="*/ 127976 w 254710"/>
                <a:gd name="connsiteY0" fmla="*/ 241452 h 241451"/>
                <a:gd name="connsiteX1" fmla="*/ 0 w 254710"/>
                <a:gd name="connsiteY1" fmla="*/ 113476 h 241451"/>
                <a:gd name="connsiteX2" fmla="*/ 0 w 254710"/>
                <a:gd name="connsiteY2" fmla="*/ 16391 h 241451"/>
                <a:gd name="connsiteX3" fmla="*/ 16391 w 254710"/>
                <a:gd name="connsiteY3" fmla="*/ 0 h 241451"/>
                <a:gd name="connsiteX4" fmla="*/ 32782 w 254710"/>
                <a:gd name="connsiteY4" fmla="*/ 16391 h 241451"/>
                <a:gd name="connsiteX5" fmla="*/ 32782 w 254710"/>
                <a:gd name="connsiteY5" fmla="*/ 113476 h 241451"/>
                <a:gd name="connsiteX6" fmla="*/ 127345 w 254710"/>
                <a:gd name="connsiteY6" fmla="*/ 208039 h 241451"/>
                <a:gd name="connsiteX7" fmla="*/ 221909 w 254710"/>
                <a:gd name="connsiteY7" fmla="*/ 113476 h 241451"/>
                <a:gd name="connsiteX8" fmla="*/ 221909 w 254710"/>
                <a:gd name="connsiteY8" fmla="*/ 16391 h 241451"/>
                <a:gd name="connsiteX9" fmla="*/ 238300 w 254710"/>
                <a:gd name="connsiteY9" fmla="*/ 0 h 241451"/>
                <a:gd name="connsiteX10" fmla="*/ 254690 w 254710"/>
                <a:gd name="connsiteY10" fmla="*/ 16391 h 241451"/>
                <a:gd name="connsiteX11" fmla="*/ 254690 w 254710"/>
                <a:gd name="connsiteY11" fmla="*/ 113476 h 241451"/>
                <a:gd name="connsiteX12" fmla="*/ 127976 w 254710"/>
                <a:gd name="connsiteY12" fmla="*/ 241452 h 241451"/>
                <a:gd name="connsiteX13" fmla="*/ 127976 w 254710"/>
                <a:gd name="connsiteY13" fmla="*/ 241452 h 241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54710" h="241451">
                  <a:moveTo>
                    <a:pt x="127976" y="241452"/>
                  </a:moveTo>
                  <a:cubicBezTo>
                    <a:pt x="57368" y="241452"/>
                    <a:pt x="0" y="184083"/>
                    <a:pt x="0" y="113476"/>
                  </a:cubicBezTo>
                  <a:lnTo>
                    <a:pt x="0" y="16391"/>
                  </a:lnTo>
                  <a:cubicBezTo>
                    <a:pt x="0" y="6935"/>
                    <a:pt x="7565" y="0"/>
                    <a:pt x="16391" y="0"/>
                  </a:cubicBezTo>
                  <a:cubicBezTo>
                    <a:pt x="25847" y="0"/>
                    <a:pt x="32782" y="7565"/>
                    <a:pt x="32782" y="16391"/>
                  </a:cubicBezTo>
                  <a:lnTo>
                    <a:pt x="32782" y="113476"/>
                  </a:lnTo>
                  <a:cubicBezTo>
                    <a:pt x="32782" y="165801"/>
                    <a:pt x="75020" y="208039"/>
                    <a:pt x="127345" y="208039"/>
                  </a:cubicBezTo>
                  <a:cubicBezTo>
                    <a:pt x="179670" y="208039"/>
                    <a:pt x="221909" y="165801"/>
                    <a:pt x="221909" y="113476"/>
                  </a:cubicBezTo>
                  <a:lnTo>
                    <a:pt x="221909" y="16391"/>
                  </a:lnTo>
                  <a:cubicBezTo>
                    <a:pt x="221909" y="6935"/>
                    <a:pt x="229474" y="0"/>
                    <a:pt x="238300" y="0"/>
                  </a:cubicBezTo>
                  <a:cubicBezTo>
                    <a:pt x="247756" y="0"/>
                    <a:pt x="254690" y="7565"/>
                    <a:pt x="254690" y="16391"/>
                  </a:cubicBezTo>
                  <a:lnTo>
                    <a:pt x="254690" y="113476"/>
                  </a:lnTo>
                  <a:cubicBezTo>
                    <a:pt x="255951" y="184714"/>
                    <a:pt x="198583" y="241452"/>
                    <a:pt x="127976" y="241452"/>
                  </a:cubicBezTo>
                  <a:lnTo>
                    <a:pt x="127976" y="241452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75" name="Forma Livre: Forma 174">
              <a:extLst>
                <a:ext uri="{FF2B5EF4-FFF2-40B4-BE49-F238E27FC236}">
                  <a16:creationId xmlns:a16="http://schemas.microsoft.com/office/drawing/2014/main" id="{BC5A631D-3D9C-49A8-8187-88002404CD08}"/>
                </a:ext>
              </a:extLst>
            </p:cNvPr>
            <p:cNvSpPr/>
            <p:nvPr/>
          </p:nvSpPr>
          <p:spPr>
            <a:xfrm>
              <a:off x="7563623" y="1791259"/>
              <a:ext cx="237060" cy="173996"/>
            </a:xfrm>
            <a:custGeom>
              <a:avLst/>
              <a:gdLst>
                <a:gd name="connsiteX0" fmla="*/ 119150 w 237060"/>
                <a:gd name="connsiteY0" fmla="*/ 173997 h 173996"/>
                <a:gd name="connsiteX1" fmla="*/ 0 w 237060"/>
                <a:gd name="connsiteY1" fmla="*/ 54847 h 173996"/>
                <a:gd name="connsiteX2" fmla="*/ 0 w 237060"/>
                <a:gd name="connsiteY2" fmla="*/ 16391 h 173996"/>
                <a:gd name="connsiteX3" fmla="*/ 16391 w 237060"/>
                <a:gd name="connsiteY3" fmla="*/ 0 h 173996"/>
                <a:gd name="connsiteX4" fmla="*/ 32782 w 237060"/>
                <a:gd name="connsiteY4" fmla="*/ 16391 h 173996"/>
                <a:gd name="connsiteX5" fmla="*/ 32782 w 237060"/>
                <a:gd name="connsiteY5" fmla="*/ 54847 h 173996"/>
                <a:gd name="connsiteX6" fmla="*/ 118519 w 237060"/>
                <a:gd name="connsiteY6" fmla="*/ 140584 h 173996"/>
                <a:gd name="connsiteX7" fmla="*/ 204257 w 237060"/>
                <a:gd name="connsiteY7" fmla="*/ 54847 h 173996"/>
                <a:gd name="connsiteX8" fmla="*/ 204257 w 237060"/>
                <a:gd name="connsiteY8" fmla="*/ 16391 h 173996"/>
                <a:gd name="connsiteX9" fmla="*/ 220648 w 237060"/>
                <a:gd name="connsiteY9" fmla="*/ 0 h 173996"/>
                <a:gd name="connsiteX10" fmla="*/ 237039 w 237060"/>
                <a:gd name="connsiteY10" fmla="*/ 16391 h 173996"/>
                <a:gd name="connsiteX11" fmla="*/ 237039 w 237060"/>
                <a:gd name="connsiteY11" fmla="*/ 54847 h 173996"/>
                <a:gd name="connsiteX12" fmla="*/ 119150 w 237060"/>
                <a:gd name="connsiteY12" fmla="*/ 173997 h 173996"/>
                <a:gd name="connsiteX13" fmla="*/ 119150 w 237060"/>
                <a:gd name="connsiteY13" fmla="*/ 173997 h 173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37060" h="173996">
                  <a:moveTo>
                    <a:pt x="119150" y="173997"/>
                  </a:moveTo>
                  <a:cubicBezTo>
                    <a:pt x="53586" y="173997"/>
                    <a:pt x="0" y="120411"/>
                    <a:pt x="0" y="54847"/>
                  </a:cubicBezTo>
                  <a:lnTo>
                    <a:pt x="0" y="16391"/>
                  </a:lnTo>
                  <a:cubicBezTo>
                    <a:pt x="0" y="6935"/>
                    <a:pt x="7565" y="0"/>
                    <a:pt x="16391" y="0"/>
                  </a:cubicBezTo>
                  <a:cubicBezTo>
                    <a:pt x="25848" y="0"/>
                    <a:pt x="32782" y="7565"/>
                    <a:pt x="32782" y="16391"/>
                  </a:cubicBezTo>
                  <a:lnTo>
                    <a:pt x="32782" y="54847"/>
                  </a:lnTo>
                  <a:cubicBezTo>
                    <a:pt x="32782" y="102128"/>
                    <a:pt x="71238" y="140584"/>
                    <a:pt x="118519" y="140584"/>
                  </a:cubicBezTo>
                  <a:cubicBezTo>
                    <a:pt x="165801" y="140584"/>
                    <a:pt x="204257" y="102128"/>
                    <a:pt x="204257" y="54847"/>
                  </a:cubicBezTo>
                  <a:lnTo>
                    <a:pt x="204257" y="16391"/>
                  </a:lnTo>
                  <a:cubicBezTo>
                    <a:pt x="204257" y="6935"/>
                    <a:pt x="211822" y="0"/>
                    <a:pt x="220648" y="0"/>
                  </a:cubicBezTo>
                  <a:cubicBezTo>
                    <a:pt x="230105" y="0"/>
                    <a:pt x="237039" y="7565"/>
                    <a:pt x="237039" y="16391"/>
                  </a:cubicBezTo>
                  <a:lnTo>
                    <a:pt x="237039" y="54847"/>
                  </a:lnTo>
                  <a:cubicBezTo>
                    <a:pt x="238300" y="121041"/>
                    <a:pt x="184714" y="173997"/>
                    <a:pt x="119150" y="173997"/>
                  </a:cubicBezTo>
                  <a:lnTo>
                    <a:pt x="119150" y="173997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76" name="Forma Livre: Forma 175">
              <a:extLst>
                <a:ext uri="{FF2B5EF4-FFF2-40B4-BE49-F238E27FC236}">
                  <a16:creationId xmlns:a16="http://schemas.microsoft.com/office/drawing/2014/main" id="{E40504EF-CDC9-4F01-8D76-E2DBCDB08404}"/>
                </a:ext>
              </a:extLst>
            </p:cNvPr>
            <p:cNvSpPr/>
            <p:nvPr/>
          </p:nvSpPr>
          <p:spPr>
            <a:xfrm>
              <a:off x="7728793" y="1697326"/>
              <a:ext cx="110954" cy="110954"/>
            </a:xfrm>
            <a:custGeom>
              <a:avLst/>
              <a:gdLst>
                <a:gd name="connsiteX0" fmla="*/ 55477 w 110954"/>
                <a:gd name="connsiteY0" fmla="*/ 110954 h 110954"/>
                <a:gd name="connsiteX1" fmla="*/ 0 w 110954"/>
                <a:gd name="connsiteY1" fmla="*/ 55477 h 110954"/>
                <a:gd name="connsiteX2" fmla="*/ 55477 w 110954"/>
                <a:gd name="connsiteY2" fmla="*/ 0 h 110954"/>
                <a:gd name="connsiteX3" fmla="*/ 110954 w 110954"/>
                <a:gd name="connsiteY3" fmla="*/ 55477 h 110954"/>
                <a:gd name="connsiteX4" fmla="*/ 55477 w 110954"/>
                <a:gd name="connsiteY4" fmla="*/ 110954 h 110954"/>
                <a:gd name="connsiteX5" fmla="*/ 55477 w 110954"/>
                <a:gd name="connsiteY5" fmla="*/ 110954 h 110954"/>
                <a:gd name="connsiteX6" fmla="*/ 55477 w 110954"/>
                <a:gd name="connsiteY6" fmla="*/ 33412 h 110954"/>
                <a:gd name="connsiteX7" fmla="*/ 33413 w 110954"/>
                <a:gd name="connsiteY7" fmla="*/ 55477 h 110954"/>
                <a:gd name="connsiteX8" fmla="*/ 55477 w 110954"/>
                <a:gd name="connsiteY8" fmla="*/ 77542 h 110954"/>
                <a:gd name="connsiteX9" fmla="*/ 77542 w 110954"/>
                <a:gd name="connsiteY9" fmla="*/ 55477 h 110954"/>
                <a:gd name="connsiteX10" fmla="*/ 55477 w 110954"/>
                <a:gd name="connsiteY10" fmla="*/ 33412 h 110954"/>
                <a:gd name="connsiteX11" fmla="*/ 55477 w 110954"/>
                <a:gd name="connsiteY11" fmla="*/ 33412 h 11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0954" h="110954">
                  <a:moveTo>
                    <a:pt x="55477" y="110954"/>
                  </a:moveTo>
                  <a:cubicBezTo>
                    <a:pt x="25217" y="110954"/>
                    <a:pt x="0" y="86368"/>
                    <a:pt x="0" y="55477"/>
                  </a:cubicBezTo>
                  <a:cubicBezTo>
                    <a:pt x="0" y="25217"/>
                    <a:pt x="24587" y="0"/>
                    <a:pt x="55477" y="0"/>
                  </a:cubicBezTo>
                  <a:cubicBezTo>
                    <a:pt x="85737" y="0"/>
                    <a:pt x="110954" y="24587"/>
                    <a:pt x="110954" y="55477"/>
                  </a:cubicBezTo>
                  <a:cubicBezTo>
                    <a:pt x="110324" y="85738"/>
                    <a:pt x="85737" y="110954"/>
                    <a:pt x="55477" y="110954"/>
                  </a:cubicBezTo>
                  <a:lnTo>
                    <a:pt x="55477" y="110954"/>
                  </a:lnTo>
                  <a:close/>
                  <a:moveTo>
                    <a:pt x="55477" y="33412"/>
                  </a:moveTo>
                  <a:cubicBezTo>
                    <a:pt x="43499" y="33412"/>
                    <a:pt x="33413" y="43499"/>
                    <a:pt x="33413" y="55477"/>
                  </a:cubicBezTo>
                  <a:cubicBezTo>
                    <a:pt x="33413" y="67455"/>
                    <a:pt x="43499" y="77542"/>
                    <a:pt x="55477" y="77542"/>
                  </a:cubicBezTo>
                  <a:cubicBezTo>
                    <a:pt x="67455" y="77542"/>
                    <a:pt x="77542" y="67455"/>
                    <a:pt x="77542" y="55477"/>
                  </a:cubicBezTo>
                  <a:cubicBezTo>
                    <a:pt x="76911" y="43499"/>
                    <a:pt x="67455" y="33412"/>
                    <a:pt x="55477" y="33412"/>
                  </a:cubicBezTo>
                  <a:lnTo>
                    <a:pt x="55477" y="33412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77" name="Forma Livre: Forma 176">
              <a:extLst>
                <a:ext uri="{FF2B5EF4-FFF2-40B4-BE49-F238E27FC236}">
                  <a16:creationId xmlns:a16="http://schemas.microsoft.com/office/drawing/2014/main" id="{F2C0AA31-EB24-481F-82A9-4FE87CCBD1D9}"/>
                </a:ext>
              </a:extLst>
            </p:cNvPr>
            <p:cNvSpPr/>
            <p:nvPr/>
          </p:nvSpPr>
          <p:spPr>
            <a:xfrm>
              <a:off x="7453299" y="1580068"/>
              <a:ext cx="51694" cy="32781"/>
            </a:xfrm>
            <a:custGeom>
              <a:avLst/>
              <a:gdLst>
                <a:gd name="connsiteX0" fmla="*/ 35304 w 51694"/>
                <a:gd name="connsiteY0" fmla="*/ 32782 h 32781"/>
                <a:gd name="connsiteX1" fmla="*/ 16391 w 51694"/>
                <a:gd name="connsiteY1" fmla="*/ 32782 h 32781"/>
                <a:gd name="connsiteX2" fmla="*/ 0 w 51694"/>
                <a:gd name="connsiteY2" fmla="*/ 16391 h 32781"/>
                <a:gd name="connsiteX3" fmla="*/ 16391 w 51694"/>
                <a:gd name="connsiteY3" fmla="*/ 0 h 32781"/>
                <a:gd name="connsiteX4" fmla="*/ 35304 w 51694"/>
                <a:gd name="connsiteY4" fmla="*/ 0 h 32781"/>
                <a:gd name="connsiteX5" fmla="*/ 51695 w 51694"/>
                <a:gd name="connsiteY5" fmla="*/ 16391 h 32781"/>
                <a:gd name="connsiteX6" fmla="*/ 35304 w 51694"/>
                <a:gd name="connsiteY6" fmla="*/ 32782 h 32781"/>
                <a:gd name="connsiteX7" fmla="*/ 35304 w 51694"/>
                <a:gd name="connsiteY7" fmla="*/ 32782 h 32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94" h="32781">
                  <a:moveTo>
                    <a:pt x="35304" y="32782"/>
                  </a:moveTo>
                  <a:lnTo>
                    <a:pt x="16391" y="32782"/>
                  </a:lnTo>
                  <a:cubicBezTo>
                    <a:pt x="6935" y="32782"/>
                    <a:pt x="0" y="25217"/>
                    <a:pt x="0" y="16391"/>
                  </a:cubicBezTo>
                  <a:cubicBezTo>
                    <a:pt x="0" y="6935"/>
                    <a:pt x="7565" y="0"/>
                    <a:pt x="16391" y="0"/>
                  </a:cubicBezTo>
                  <a:lnTo>
                    <a:pt x="35304" y="0"/>
                  </a:lnTo>
                  <a:cubicBezTo>
                    <a:pt x="44760" y="0"/>
                    <a:pt x="51695" y="7565"/>
                    <a:pt x="51695" y="16391"/>
                  </a:cubicBezTo>
                  <a:cubicBezTo>
                    <a:pt x="51695" y="25217"/>
                    <a:pt x="44130" y="32782"/>
                    <a:pt x="35304" y="32782"/>
                  </a:cubicBezTo>
                  <a:lnTo>
                    <a:pt x="35304" y="32782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78" name="Forma Livre: Forma 177">
              <a:extLst>
                <a:ext uri="{FF2B5EF4-FFF2-40B4-BE49-F238E27FC236}">
                  <a16:creationId xmlns:a16="http://schemas.microsoft.com/office/drawing/2014/main" id="{AE45FC9E-CCC9-43AF-9D90-FCE47C3323AA}"/>
                </a:ext>
              </a:extLst>
            </p:cNvPr>
            <p:cNvSpPr/>
            <p:nvPr/>
          </p:nvSpPr>
          <p:spPr>
            <a:xfrm>
              <a:off x="7656925" y="1580068"/>
              <a:ext cx="51694" cy="32781"/>
            </a:xfrm>
            <a:custGeom>
              <a:avLst/>
              <a:gdLst>
                <a:gd name="connsiteX0" fmla="*/ 35304 w 51694"/>
                <a:gd name="connsiteY0" fmla="*/ 32782 h 32781"/>
                <a:gd name="connsiteX1" fmla="*/ 16391 w 51694"/>
                <a:gd name="connsiteY1" fmla="*/ 32782 h 32781"/>
                <a:gd name="connsiteX2" fmla="*/ 0 w 51694"/>
                <a:gd name="connsiteY2" fmla="*/ 16391 h 32781"/>
                <a:gd name="connsiteX3" fmla="*/ 16391 w 51694"/>
                <a:gd name="connsiteY3" fmla="*/ 0 h 32781"/>
                <a:gd name="connsiteX4" fmla="*/ 35304 w 51694"/>
                <a:gd name="connsiteY4" fmla="*/ 0 h 32781"/>
                <a:gd name="connsiteX5" fmla="*/ 51695 w 51694"/>
                <a:gd name="connsiteY5" fmla="*/ 16391 h 32781"/>
                <a:gd name="connsiteX6" fmla="*/ 35304 w 51694"/>
                <a:gd name="connsiteY6" fmla="*/ 32782 h 32781"/>
                <a:gd name="connsiteX7" fmla="*/ 35304 w 51694"/>
                <a:gd name="connsiteY7" fmla="*/ 32782 h 32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694" h="32781">
                  <a:moveTo>
                    <a:pt x="35304" y="32782"/>
                  </a:moveTo>
                  <a:lnTo>
                    <a:pt x="16391" y="32782"/>
                  </a:lnTo>
                  <a:cubicBezTo>
                    <a:pt x="6935" y="32782"/>
                    <a:pt x="0" y="25217"/>
                    <a:pt x="0" y="16391"/>
                  </a:cubicBezTo>
                  <a:cubicBezTo>
                    <a:pt x="0" y="6935"/>
                    <a:pt x="7565" y="0"/>
                    <a:pt x="16391" y="0"/>
                  </a:cubicBezTo>
                  <a:lnTo>
                    <a:pt x="35304" y="0"/>
                  </a:lnTo>
                  <a:cubicBezTo>
                    <a:pt x="44760" y="0"/>
                    <a:pt x="51695" y="7565"/>
                    <a:pt x="51695" y="16391"/>
                  </a:cubicBezTo>
                  <a:cubicBezTo>
                    <a:pt x="51695" y="25217"/>
                    <a:pt x="44130" y="32782"/>
                    <a:pt x="35304" y="32782"/>
                  </a:cubicBezTo>
                  <a:lnTo>
                    <a:pt x="35304" y="32782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sp>
        <p:nvSpPr>
          <p:cNvPr id="179" name="Forma Livre: Forma 178">
            <a:extLst>
              <a:ext uri="{FF2B5EF4-FFF2-40B4-BE49-F238E27FC236}">
                <a16:creationId xmlns:a16="http://schemas.microsoft.com/office/drawing/2014/main" id="{950EDB77-2BCA-42D4-812F-52C6573A7872}"/>
              </a:ext>
            </a:extLst>
          </p:cNvPr>
          <p:cNvSpPr/>
          <p:nvPr/>
        </p:nvSpPr>
        <p:spPr>
          <a:xfrm>
            <a:off x="8464496" y="1576285"/>
            <a:ext cx="393383" cy="393383"/>
          </a:xfrm>
          <a:custGeom>
            <a:avLst/>
            <a:gdLst>
              <a:gd name="connsiteX0" fmla="*/ 254061 w 393383"/>
              <a:gd name="connsiteY0" fmla="*/ 393384 h 393383"/>
              <a:gd name="connsiteX1" fmla="*/ 139324 w 393383"/>
              <a:gd name="connsiteY1" fmla="*/ 393384 h 393383"/>
              <a:gd name="connsiteX2" fmla="*/ 122932 w 393383"/>
              <a:gd name="connsiteY2" fmla="*/ 376993 h 393383"/>
              <a:gd name="connsiteX3" fmla="*/ 122932 w 393383"/>
              <a:gd name="connsiteY3" fmla="*/ 270451 h 393383"/>
              <a:gd name="connsiteX4" fmla="*/ 16392 w 393383"/>
              <a:gd name="connsiteY4" fmla="*/ 270451 h 393383"/>
              <a:gd name="connsiteX5" fmla="*/ 0 w 393383"/>
              <a:gd name="connsiteY5" fmla="*/ 254060 h 393383"/>
              <a:gd name="connsiteX6" fmla="*/ 0 w 393383"/>
              <a:gd name="connsiteY6" fmla="*/ 139323 h 393383"/>
              <a:gd name="connsiteX7" fmla="*/ 16392 w 393383"/>
              <a:gd name="connsiteY7" fmla="*/ 122932 h 393383"/>
              <a:gd name="connsiteX8" fmla="*/ 122932 w 393383"/>
              <a:gd name="connsiteY8" fmla="*/ 122932 h 393383"/>
              <a:gd name="connsiteX9" fmla="*/ 122932 w 393383"/>
              <a:gd name="connsiteY9" fmla="*/ 16391 h 393383"/>
              <a:gd name="connsiteX10" fmla="*/ 139324 w 393383"/>
              <a:gd name="connsiteY10" fmla="*/ 0 h 393383"/>
              <a:gd name="connsiteX11" fmla="*/ 254061 w 393383"/>
              <a:gd name="connsiteY11" fmla="*/ 0 h 393383"/>
              <a:gd name="connsiteX12" fmla="*/ 270451 w 393383"/>
              <a:gd name="connsiteY12" fmla="*/ 16391 h 393383"/>
              <a:gd name="connsiteX13" fmla="*/ 270451 w 393383"/>
              <a:gd name="connsiteY13" fmla="*/ 122932 h 393383"/>
              <a:gd name="connsiteX14" fmla="*/ 376993 w 393383"/>
              <a:gd name="connsiteY14" fmla="*/ 122932 h 393383"/>
              <a:gd name="connsiteX15" fmla="*/ 393384 w 393383"/>
              <a:gd name="connsiteY15" fmla="*/ 139323 h 393383"/>
              <a:gd name="connsiteX16" fmla="*/ 393384 w 393383"/>
              <a:gd name="connsiteY16" fmla="*/ 254060 h 393383"/>
              <a:gd name="connsiteX17" fmla="*/ 376993 w 393383"/>
              <a:gd name="connsiteY17" fmla="*/ 270451 h 393383"/>
              <a:gd name="connsiteX18" fmla="*/ 270451 w 393383"/>
              <a:gd name="connsiteY18" fmla="*/ 270451 h 393383"/>
              <a:gd name="connsiteX19" fmla="*/ 270451 w 393383"/>
              <a:gd name="connsiteY19" fmla="*/ 376993 h 393383"/>
              <a:gd name="connsiteX20" fmla="*/ 254061 w 393383"/>
              <a:gd name="connsiteY20" fmla="*/ 393384 h 393383"/>
              <a:gd name="connsiteX21" fmla="*/ 254061 w 393383"/>
              <a:gd name="connsiteY21" fmla="*/ 393384 h 393383"/>
              <a:gd name="connsiteX22" fmla="*/ 155715 w 393383"/>
              <a:gd name="connsiteY22" fmla="*/ 359971 h 393383"/>
              <a:gd name="connsiteX23" fmla="*/ 237039 w 393383"/>
              <a:gd name="connsiteY23" fmla="*/ 359971 h 393383"/>
              <a:gd name="connsiteX24" fmla="*/ 237039 w 393383"/>
              <a:gd name="connsiteY24" fmla="*/ 253430 h 393383"/>
              <a:gd name="connsiteX25" fmla="*/ 253430 w 393383"/>
              <a:gd name="connsiteY25" fmla="*/ 237039 h 393383"/>
              <a:gd name="connsiteX26" fmla="*/ 359972 w 393383"/>
              <a:gd name="connsiteY26" fmla="*/ 237039 h 393383"/>
              <a:gd name="connsiteX27" fmla="*/ 359972 w 393383"/>
              <a:gd name="connsiteY27" fmla="*/ 155714 h 393383"/>
              <a:gd name="connsiteX28" fmla="*/ 253430 w 393383"/>
              <a:gd name="connsiteY28" fmla="*/ 155714 h 393383"/>
              <a:gd name="connsiteX29" fmla="*/ 237039 w 393383"/>
              <a:gd name="connsiteY29" fmla="*/ 139323 h 393383"/>
              <a:gd name="connsiteX30" fmla="*/ 237039 w 393383"/>
              <a:gd name="connsiteY30" fmla="*/ 32782 h 393383"/>
              <a:gd name="connsiteX31" fmla="*/ 155715 w 393383"/>
              <a:gd name="connsiteY31" fmla="*/ 32782 h 393383"/>
              <a:gd name="connsiteX32" fmla="*/ 155715 w 393383"/>
              <a:gd name="connsiteY32" fmla="*/ 139323 h 393383"/>
              <a:gd name="connsiteX33" fmla="*/ 139324 w 393383"/>
              <a:gd name="connsiteY33" fmla="*/ 155714 h 393383"/>
              <a:gd name="connsiteX34" fmla="*/ 32782 w 393383"/>
              <a:gd name="connsiteY34" fmla="*/ 155714 h 393383"/>
              <a:gd name="connsiteX35" fmla="*/ 32782 w 393383"/>
              <a:gd name="connsiteY35" fmla="*/ 237039 h 393383"/>
              <a:gd name="connsiteX36" fmla="*/ 139324 w 393383"/>
              <a:gd name="connsiteY36" fmla="*/ 237039 h 393383"/>
              <a:gd name="connsiteX37" fmla="*/ 155715 w 393383"/>
              <a:gd name="connsiteY37" fmla="*/ 253430 h 393383"/>
              <a:gd name="connsiteX38" fmla="*/ 155715 w 393383"/>
              <a:gd name="connsiteY38" fmla="*/ 359971 h 393383"/>
              <a:gd name="connsiteX39" fmla="*/ 155715 w 393383"/>
              <a:gd name="connsiteY39" fmla="*/ 359971 h 393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393383" h="393383">
                <a:moveTo>
                  <a:pt x="254061" y="393384"/>
                </a:moveTo>
                <a:lnTo>
                  <a:pt x="139324" y="393384"/>
                </a:lnTo>
                <a:cubicBezTo>
                  <a:pt x="129868" y="393384"/>
                  <a:pt x="122932" y="385819"/>
                  <a:pt x="122932" y="376993"/>
                </a:cubicBezTo>
                <a:lnTo>
                  <a:pt x="122932" y="270451"/>
                </a:lnTo>
                <a:lnTo>
                  <a:pt x="16392" y="270451"/>
                </a:lnTo>
                <a:cubicBezTo>
                  <a:pt x="6935" y="270451"/>
                  <a:pt x="0" y="262886"/>
                  <a:pt x="0" y="254060"/>
                </a:cubicBezTo>
                <a:lnTo>
                  <a:pt x="0" y="139323"/>
                </a:lnTo>
                <a:cubicBezTo>
                  <a:pt x="0" y="129867"/>
                  <a:pt x="7566" y="122932"/>
                  <a:pt x="16392" y="122932"/>
                </a:cubicBezTo>
                <a:lnTo>
                  <a:pt x="122932" y="122932"/>
                </a:lnTo>
                <a:lnTo>
                  <a:pt x="122932" y="16391"/>
                </a:lnTo>
                <a:cubicBezTo>
                  <a:pt x="122932" y="6935"/>
                  <a:pt x="130498" y="0"/>
                  <a:pt x="139324" y="0"/>
                </a:cubicBezTo>
                <a:lnTo>
                  <a:pt x="254061" y="0"/>
                </a:lnTo>
                <a:cubicBezTo>
                  <a:pt x="263517" y="0"/>
                  <a:pt x="270451" y="7565"/>
                  <a:pt x="270451" y="16391"/>
                </a:cubicBezTo>
                <a:lnTo>
                  <a:pt x="270451" y="122932"/>
                </a:lnTo>
                <a:lnTo>
                  <a:pt x="376993" y="122932"/>
                </a:lnTo>
                <a:cubicBezTo>
                  <a:pt x="386449" y="122932"/>
                  <a:pt x="393384" y="130497"/>
                  <a:pt x="393384" y="139323"/>
                </a:cubicBezTo>
                <a:lnTo>
                  <a:pt x="393384" y="254060"/>
                </a:lnTo>
                <a:cubicBezTo>
                  <a:pt x="393384" y="263517"/>
                  <a:pt x="385819" y="270451"/>
                  <a:pt x="376993" y="270451"/>
                </a:cubicBezTo>
                <a:lnTo>
                  <a:pt x="270451" y="270451"/>
                </a:lnTo>
                <a:lnTo>
                  <a:pt x="270451" y="376993"/>
                </a:lnTo>
                <a:cubicBezTo>
                  <a:pt x="271082" y="385819"/>
                  <a:pt x="263517" y="393384"/>
                  <a:pt x="254061" y="393384"/>
                </a:cubicBezTo>
                <a:lnTo>
                  <a:pt x="254061" y="393384"/>
                </a:lnTo>
                <a:close/>
                <a:moveTo>
                  <a:pt x="155715" y="359971"/>
                </a:moveTo>
                <a:lnTo>
                  <a:pt x="237039" y="359971"/>
                </a:lnTo>
                <a:lnTo>
                  <a:pt x="237039" y="253430"/>
                </a:lnTo>
                <a:cubicBezTo>
                  <a:pt x="237039" y="243974"/>
                  <a:pt x="244604" y="237039"/>
                  <a:pt x="253430" y="237039"/>
                </a:cubicBezTo>
                <a:lnTo>
                  <a:pt x="359972" y="237039"/>
                </a:lnTo>
                <a:lnTo>
                  <a:pt x="359972" y="155714"/>
                </a:lnTo>
                <a:lnTo>
                  <a:pt x="253430" y="155714"/>
                </a:lnTo>
                <a:cubicBezTo>
                  <a:pt x="243974" y="155714"/>
                  <a:pt x="237039" y="148149"/>
                  <a:pt x="237039" y="139323"/>
                </a:cubicBezTo>
                <a:lnTo>
                  <a:pt x="237039" y="32782"/>
                </a:lnTo>
                <a:lnTo>
                  <a:pt x="155715" y="32782"/>
                </a:lnTo>
                <a:lnTo>
                  <a:pt x="155715" y="139323"/>
                </a:lnTo>
                <a:cubicBezTo>
                  <a:pt x="155715" y="148780"/>
                  <a:pt x="148149" y="155714"/>
                  <a:pt x="139324" y="155714"/>
                </a:cubicBezTo>
                <a:lnTo>
                  <a:pt x="32782" y="155714"/>
                </a:lnTo>
                <a:lnTo>
                  <a:pt x="32782" y="237039"/>
                </a:lnTo>
                <a:lnTo>
                  <a:pt x="139324" y="237039"/>
                </a:lnTo>
                <a:cubicBezTo>
                  <a:pt x="148780" y="237039"/>
                  <a:pt x="155715" y="244604"/>
                  <a:pt x="155715" y="253430"/>
                </a:cubicBezTo>
                <a:lnTo>
                  <a:pt x="155715" y="359971"/>
                </a:lnTo>
                <a:lnTo>
                  <a:pt x="155715" y="359971"/>
                </a:lnTo>
                <a:close/>
              </a:path>
            </a:pathLst>
          </a:custGeom>
          <a:solidFill>
            <a:srgbClr val="B1B1A1"/>
          </a:solidFill>
          <a:ln w="6300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grpSp>
        <p:nvGrpSpPr>
          <p:cNvPr id="180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10503913" y="4672526"/>
            <a:ext cx="395312" cy="395669"/>
            <a:chOff x="10503913" y="4672526"/>
            <a:chExt cx="395312" cy="395669"/>
          </a:xfrm>
          <a:solidFill>
            <a:srgbClr val="B1B1A1"/>
          </a:solidFill>
        </p:grpSpPr>
        <p:sp>
          <p:nvSpPr>
            <p:cNvPr id="181" name="Forma Livre: Forma 180">
              <a:extLst>
                <a:ext uri="{FF2B5EF4-FFF2-40B4-BE49-F238E27FC236}">
                  <a16:creationId xmlns:a16="http://schemas.microsoft.com/office/drawing/2014/main" id="{F5F83DF4-BF6D-428D-82E9-521592B6F798}"/>
                </a:ext>
              </a:extLst>
            </p:cNvPr>
            <p:cNvSpPr/>
            <p:nvPr/>
          </p:nvSpPr>
          <p:spPr>
            <a:xfrm>
              <a:off x="10572864" y="4672526"/>
              <a:ext cx="130027" cy="395669"/>
            </a:xfrm>
            <a:custGeom>
              <a:avLst/>
              <a:gdLst>
                <a:gd name="connsiteX0" fmla="*/ 16787 w 130027"/>
                <a:gd name="connsiteY0" fmla="*/ 395670 h 395669"/>
                <a:gd name="connsiteX1" fmla="*/ 12373 w 130027"/>
                <a:gd name="connsiteY1" fmla="*/ 395040 h 395669"/>
                <a:gd name="connsiteX2" fmla="*/ 395 w 130027"/>
                <a:gd name="connsiteY2" fmla="*/ 374866 h 395669"/>
                <a:gd name="connsiteX3" fmla="*/ 97480 w 130027"/>
                <a:gd name="connsiteY3" fmla="*/ 12373 h 395669"/>
                <a:gd name="connsiteX4" fmla="*/ 117654 w 130027"/>
                <a:gd name="connsiteY4" fmla="*/ 395 h 395669"/>
                <a:gd name="connsiteX5" fmla="*/ 129632 w 130027"/>
                <a:gd name="connsiteY5" fmla="*/ 20569 h 395669"/>
                <a:gd name="connsiteX6" fmla="*/ 32547 w 130027"/>
                <a:gd name="connsiteY6" fmla="*/ 383062 h 395669"/>
                <a:gd name="connsiteX7" fmla="*/ 16787 w 130027"/>
                <a:gd name="connsiteY7" fmla="*/ 395670 h 395669"/>
                <a:gd name="connsiteX8" fmla="*/ 16787 w 130027"/>
                <a:gd name="connsiteY8" fmla="*/ 395670 h 39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0027" h="395669">
                  <a:moveTo>
                    <a:pt x="16787" y="395670"/>
                  </a:moveTo>
                  <a:cubicBezTo>
                    <a:pt x="15525" y="395670"/>
                    <a:pt x="13635" y="395670"/>
                    <a:pt x="12373" y="395040"/>
                  </a:cubicBezTo>
                  <a:cubicBezTo>
                    <a:pt x="3547" y="392518"/>
                    <a:pt x="-1496" y="383692"/>
                    <a:pt x="395" y="374866"/>
                  </a:cubicBezTo>
                  <a:lnTo>
                    <a:pt x="97480" y="12373"/>
                  </a:lnTo>
                  <a:cubicBezTo>
                    <a:pt x="100002" y="3547"/>
                    <a:pt x="108828" y="-1496"/>
                    <a:pt x="117654" y="395"/>
                  </a:cubicBezTo>
                  <a:cubicBezTo>
                    <a:pt x="126480" y="2917"/>
                    <a:pt x="131523" y="11743"/>
                    <a:pt x="129632" y="20569"/>
                  </a:cubicBezTo>
                  <a:lnTo>
                    <a:pt x="32547" y="383062"/>
                  </a:lnTo>
                  <a:cubicBezTo>
                    <a:pt x="30656" y="391257"/>
                    <a:pt x="24351" y="395670"/>
                    <a:pt x="16787" y="395670"/>
                  </a:cubicBezTo>
                  <a:lnTo>
                    <a:pt x="16787" y="395670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82" name="Forma Livre: Forma 181">
              <a:extLst>
                <a:ext uri="{FF2B5EF4-FFF2-40B4-BE49-F238E27FC236}">
                  <a16:creationId xmlns:a16="http://schemas.microsoft.com/office/drawing/2014/main" id="{0DB25360-042A-49DD-9EA5-FECD3EF63A55}"/>
                </a:ext>
              </a:extLst>
            </p:cNvPr>
            <p:cNvSpPr/>
            <p:nvPr/>
          </p:nvSpPr>
          <p:spPr>
            <a:xfrm>
              <a:off x="10699580" y="4672526"/>
              <a:ext cx="130027" cy="395669"/>
            </a:xfrm>
            <a:custGeom>
              <a:avLst/>
              <a:gdLst>
                <a:gd name="connsiteX0" fmla="*/ 16786 w 130027"/>
                <a:gd name="connsiteY0" fmla="*/ 395670 h 395669"/>
                <a:gd name="connsiteX1" fmla="*/ 12373 w 130027"/>
                <a:gd name="connsiteY1" fmla="*/ 395040 h 395669"/>
                <a:gd name="connsiteX2" fmla="*/ 395 w 130027"/>
                <a:gd name="connsiteY2" fmla="*/ 374866 h 395669"/>
                <a:gd name="connsiteX3" fmla="*/ 97480 w 130027"/>
                <a:gd name="connsiteY3" fmla="*/ 12373 h 395669"/>
                <a:gd name="connsiteX4" fmla="*/ 117654 w 130027"/>
                <a:gd name="connsiteY4" fmla="*/ 395 h 395669"/>
                <a:gd name="connsiteX5" fmla="*/ 129632 w 130027"/>
                <a:gd name="connsiteY5" fmla="*/ 20569 h 395669"/>
                <a:gd name="connsiteX6" fmla="*/ 32547 w 130027"/>
                <a:gd name="connsiteY6" fmla="*/ 383062 h 395669"/>
                <a:gd name="connsiteX7" fmla="*/ 16786 w 130027"/>
                <a:gd name="connsiteY7" fmla="*/ 395670 h 395669"/>
                <a:gd name="connsiteX8" fmla="*/ 16786 w 130027"/>
                <a:gd name="connsiteY8" fmla="*/ 395670 h 395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0027" h="395669">
                  <a:moveTo>
                    <a:pt x="16786" y="395670"/>
                  </a:moveTo>
                  <a:cubicBezTo>
                    <a:pt x="15525" y="395670"/>
                    <a:pt x="13634" y="395670"/>
                    <a:pt x="12373" y="395040"/>
                  </a:cubicBezTo>
                  <a:cubicBezTo>
                    <a:pt x="3547" y="392518"/>
                    <a:pt x="-1496" y="383692"/>
                    <a:pt x="395" y="374866"/>
                  </a:cubicBezTo>
                  <a:lnTo>
                    <a:pt x="97480" y="12373"/>
                  </a:lnTo>
                  <a:cubicBezTo>
                    <a:pt x="100002" y="3547"/>
                    <a:pt x="108828" y="-1496"/>
                    <a:pt x="117654" y="395"/>
                  </a:cubicBezTo>
                  <a:cubicBezTo>
                    <a:pt x="126480" y="2917"/>
                    <a:pt x="131523" y="11743"/>
                    <a:pt x="129632" y="20569"/>
                  </a:cubicBezTo>
                  <a:lnTo>
                    <a:pt x="32547" y="383062"/>
                  </a:lnTo>
                  <a:cubicBezTo>
                    <a:pt x="30655" y="391257"/>
                    <a:pt x="24351" y="395670"/>
                    <a:pt x="16786" y="395670"/>
                  </a:cubicBezTo>
                  <a:lnTo>
                    <a:pt x="16786" y="395670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83" name="Forma Livre: Forma 182">
              <a:extLst>
                <a:ext uri="{FF2B5EF4-FFF2-40B4-BE49-F238E27FC236}">
                  <a16:creationId xmlns:a16="http://schemas.microsoft.com/office/drawing/2014/main" id="{D3C12945-C91D-4761-B1BE-CF00E2A5D795}"/>
                </a:ext>
              </a:extLst>
            </p:cNvPr>
            <p:cNvSpPr/>
            <p:nvPr/>
          </p:nvSpPr>
          <p:spPr>
            <a:xfrm>
              <a:off x="10503913" y="4790810"/>
              <a:ext cx="395312" cy="32782"/>
            </a:xfrm>
            <a:custGeom>
              <a:avLst/>
              <a:gdLst>
                <a:gd name="connsiteX0" fmla="*/ 378885 w 395312"/>
                <a:gd name="connsiteY0" fmla="*/ 32782 h 32782"/>
                <a:gd name="connsiteX1" fmla="*/ 16392 w 395312"/>
                <a:gd name="connsiteY1" fmla="*/ 32782 h 32782"/>
                <a:gd name="connsiteX2" fmla="*/ 0 w 395312"/>
                <a:gd name="connsiteY2" fmla="*/ 16391 h 32782"/>
                <a:gd name="connsiteX3" fmla="*/ 16392 w 395312"/>
                <a:gd name="connsiteY3" fmla="*/ 0 h 32782"/>
                <a:gd name="connsiteX4" fmla="*/ 378885 w 395312"/>
                <a:gd name="connsiteY4" fmla="*/ 0 h 32782"/>
                <a:gd name="connsiteX5" fmla="*/ 395275 w 395312"/>
                <a:gd name="connsiteY5" fmla="*/ 16391 h 32782"/>
                <a:gd name="connsiteX6" fmla="*/ 378885 w 395312"/>
                <a:gd name="connsiteY6" fmla="*/ 32782 h 32782"/>
                <a:gd name="connsiteX7" fmla="*/ 378885 w 395312"/>
                <a:gd name="connsiteY7" fmla="*/ 32782 h 32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5312" h="32782">
                  <a:moveTo>
                    <a:pt x="378885" y="32782"/>
                  </a:moveTo>
                  <a:lnTo>
                    <a:pt x="16392" y="32782"/>
                  </a:lnTo>
                  <a:cubicBezTo>
                    <a:pt x="6935" y="32782"/>
                    <a:pt x="0" y="25217"/>
                    <a:pt x="0" y="16391"/>
                  </a:cubicBezTo>
                  <a:cubicBezTo>
                    <a:pt x="0" y="6935"/>
                    <a:pt x="7566" y="0"/>
                    <a:pt x="16392" y="0"/>
                  </a:cubicBezTo>
                  <a:lnTo>
                    <a:pt x="378885" y="0"/>
                  </a:lnTo>
                  <a:cubicBezTo>
                    <a:pt x="388341" y="0"/>
                    <a:pt x="395275" y="7565"/>
                    <a:pt x="395275" y="16391"/>
                  </a:cubicBezTo>
                  <a:cubicBezTo>
                    <a:pt x="395906" y="25217"/>
                    <a:pt x="388341" y="32782"/>
                    <a:pt x="378885" y="32782"/>
                  </a:cubicBezTo>
                  <a:lnTo>
                    <a:pt x="378885" y="32782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84" name="Forma Livre: Forma 183">
              <a:extLst>
                <a:ext uri="{FF2B5EF4-FFF2-40B4-BE49-F238E27FC236}">
                  <a16:creationId xmlns:a16="http://schemas.microsoft.com/office/drawing/2014/main" id="{5F379B33-3412-4DD4-97E1-106313FB87D5}"/>
                </a:ext>
              </a:extLst>
            </p:cNvPr>
            <p:cNvSpPr/>
            <p:nvPr/>
          </p:nvSpPr>
          <p:spPr>
            <a:xfrm>
              <a:off x="10503913" y="4917525"/>
              <a:ext cx="395312" cy="32782"/>
            </a:xfrm>
            <a:custGeom>
              <a:avLst/>
              <a:gdLst>
                <a:gd name="connsiteX0" fmla="*/ 378885 w 395312"/>
                <a:gd name="connsiteY0" fmla="*/ 32782 h 32782"/>
                <a:gd name="connsiteX1" fmla="*/ 16392 w 395312"/>
                <a:gd name="connsiteY1" fmla="*/ 32782 h 32782"/>
                <a:gd name="connsiteX2" fmla="*/ 0 w 395312"/>
                <a:gd name="connsiteY2" fmla="*/ 16391 h 32782"/>
                <a:gd name="connsiteX3" fmla="*/ 16392 w 395312"/>
                <a:gd name="connsiteY3" fmla="*/ 0 h 32782"/>
                <a:gd name="connsiteX4" fmla="*/ 378885 w 395312"/>
                <a:gd name="connsiteY4" fmla="*/ 0 h 32782"/>
                <a:gd name="connsiteX5" fmla="*/ 395275 w 395312"/>
                <a:gd name="connsiteY5" fmla="*/ 16391 h 32782"/>
                <a:gd name="connsiteX6" fmla="*/ 378885 w 395312"/>
                <a:gd name="connsiteY6" fmla="*/ 32782 h 32782"/>
                <a:gd name="connsiteX7" fmla="*/ 378885 w 395312"/>
                <a:gd name="connsiteY7" fmla="*/ 32782 h 32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5312" h="32782">
                  <a:moveTo>
                    <a:pt x="378885" y="32782"/>
                  </a:moveTo>
                  <a:lnTo>
                    <a:pt x="16392" y="32782"/>
                  </a:lnTo>
                  <a:cubicBezTo>
                    <a:pt x="6935" y="32782"/>
                    <a:pt x="0" y="25217"/>
                    <a:pt x="0" y="16391"/>
                  </a:cubicBezTo>
                  <a:cubicBezTo>
                    <a:pt x="0" y="6934"/>
                    <a:pt x="7566" y="0"/>
                    <a:pt x="16392" y="0"/>
                  </a:cubicBezTo>
                  <a:lnTo>
                    <a:pt x="378885" y="0"/>
                  </a:lnTo>
                  <a:cubicBezTo>
                    <a:pt x="388341" y="0"/>
                    <a:pt x="395275" y="7565"/>
                    <a:pt x="395275" y="16391"/>
                  </a:cubicBezTo>
                  <a:cubicBezTo>
                    <a:pt x="395906" y="25847"/>
                    <a:pt x="388341" y="32782"/>
                    <a:pt x="378885" y="32782"/>
                  </a:cubicBezTo>
                  <a:lnTo>
                    <a:pt x="378885" y="32782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85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1263653" y="5701140"/>
            <a:ext cx="503392" cy="399688"/>
            <a:chOff x="1263653" y="5701140"/>
            <a:chExt cx="503392" cy="399688"/>
          </a:xfrm>
          <a:solidFill>
            <a:srgbClr val="B1B1A1"/>
          </a:solidFill>
        </p:grpSpPr>
        <p:grpSp>
          <p:nvGrpSpPr>
            <p:cNvPr id="186" name="Gráfico 2">
              <a:extLst>
                <a:ext uri="{FF2B5EF4-FFF2-40B4-BE49-F238E27FC236}">
                  <a16:creationId xmlns:a16="http://schemas.microsoft.com/office/drawing/2014/main" id="{1EC2913E-D059-42A1-91F3-F6BAB2F166E6}"/>
                </a:ext>
              </a:extLst>
            </p:cNvPr>
            <p:cNvGrpSpPr/>
            <p:nvPr/>
          </p:nvGrpSpPr>
          <p:grpSpPr>
            <a:xfrm>
              <a:off x="1382330" y="5701140"/>
              <a:ext cx="266075" cy="399688"/>
              <a:chOff x="1382330" y="5701140"/>
              <a:chExt cx="266075" cy="399688"/>
            </a:xfrm>
            <a:grpFill/>
          </p:grpSpPr>
          <p:sp>
            <p:nvSpPr>
              <p:cNvPr id="187" name="Forma Livre: Forma 186">
                <a:extLst>
                  <a:ext uri="{FF2B5EF4-FFF2-40B4-BE49-F238E27FC236}">
                    <a16:creationId xmlns:a16="http://schemas.microsoft.com/office/drawing/2014/main" id="{FA21B644-13B0-4A47-B5CF-4CB6411256CF}"/>
                  </a:ext>
                </a:extLst>
              </p:cNvPr>
              <p:cNvSpPr/>
              <p:nvPr/>
            </p:nvSpPr>
            <p:spPr>
              <a:xfrm>
                <a:off x="1382330" y="5701140"/>
                <a:ext cx="266075" cy="399688"/>
              </a:xfrm>
              <a:custGeom>
                <a:avLst/>
                <a:gdLst>
                  <a:gd name="connsiteX0" fmla="*/ 249647 w 266075"/>
                  <a:gd name="connsiteY0" fmla="*/ 399688 h 399688"/>
                  <a:gd name="connsiteX1" fmla="*/ 16391 w 266075"/>
                  <a:gd name="connsiteY1" fmla="*/ 399688 h 399688"/>
                  <a:gd name="connsiteX2" fmla="*/ 0 w 266075"/>
                  <a:gd name="connsiteY2" fmla="*/ 383297 h 399688"/>
                  <a:gd name="connsiteX3" fmla="*/ 0 w 266075"/>
                  <a:gd name="connsiteY3" fmla="*/ 16391 h 399688"/>
                  <a:gd name="connsiteX4" fmla="*/ 16391 w 266075"/>
                  <a:gd name="connsiteY4" fmla="*/ 0 h 399688"/>
                  <a:gd name="connsiteX5" fmla="*/ 249647 w 266075"/>
                  <a:gd name="connsiteY5" fmla="*/ 0 h 399688"/>
                  <a:gd name="connsiteX6" fmla="*/ 266038 w 266075"/>
                  <a:gd name="connsiteY6" fmla="*/ 16391 h 399688"/>
                  <a:gd name="connsiteX7" fmla="*/ 266038 w 266075"/>
                  <a:gd name="connsiteY7" fmla="*/ 383297 h 399688"/>
                  <a:gd name="connsiteX8" fmla="*/ 249647 w 266075"/>
                  <a:gd name="connsiteY8" fmla="*/ 399688 h 399688"/>
                  <a:gd name="connsiteX9" fmla="*/ 249647 w 266075"/>
                  <a:gd name="connsiteY9" fmla="*/ 399688 h 399688"/>
                  <a:gd name="connsiteX10" fmla="*/ 33412 w 266075"/>
                  <a:gd name="connsiteY10" fmla="*/ 366275 h 399688"/>
                  <a:gd name="connsiteX11" fmla="*/ 233256 w 266075"/>
                  <a:gd name="connsiteY11" fmla="*/ 366275 h 399688"/>
                  <a:gd name="connsiteX12" fmla="*/ 233256 w 266075"/>
                  <a:gd name="connsiteY12" fmla="*/ 32782 h 399688"/>
                  <a:gd name="connsiteX13" fmla="*/ 33412 w 266075"/>
                  <a:gd name="connsiteY13" fmla="*/ 32782 h 399688"/>
                  <a:gd name="connsiteX14" fmla="*/ 33412 w 266075"/>
                  <a:gd name="connsiteY14" fmla="*/ 366275 h 399688"/>
                  <a:gd name="connsiteX15" fmla="*/ 33412 w 266075"/>
                  <a:gd name="connsiteY15" fmla="*/ 366275 h 399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66075" h="399688">
                    <a:moveTo>
                      <a:pt x="249647" y="399688"/>
                    </a:moveTo>
                    <a:lnTo>
                      <a:pt x="16391" y="399688"/>
                    </a:lnTo>
                    <a:cubicBezTo>
                      <a:pt x="6935" y="399688"/>
                      <a:pt x="0" y="392123"/>
                      <a:pt x="0" y="383297"/>
                    </a:cubicBezTo>
                    <a:lnTo>
                      <a:pt x="0" y="16391"/>
                    </a:lnTo>
                    <a:cubicBezTo>
                      <a:pt x="0" y="6934"/>
                      <a:pt x="7565" y="0"/>
                      <a:pt x="16391" y="0"/>
                    </a:cubicBezTo>
                    <a:lnTo>
                      <a:pt x="249647" y="0"/>
                    </a:lnTo>
                    <a:cubicBezTo>
                      <a:pt x="259104" y="0"/>
                      <a:pt x="266038" y="7565"/>
                      <a:pt x="266038" y="16391"/>
                    </a:cubicBezTo>
                    <a:lnTo>
                      <a:pt x="266038" y="383297"/>
                    </a:lnTo>
                    <a:cubicBezTo>
                      <a:pt x="266669" y="392123"/>
                      <a:pt x="259104" y="399688"/>
                      <a:pt x="249647" y="399688"/>
                    </a:cubicBezTo>
                    <a:lnTo>
                      <a:pt x="249647" y="399688"/>
                    </a:lnTo>
                    <a:close/>
                    <a:moveTo>
                      <a:pt x="33412" y="366275"/>
                    </a:moveTo>
                    <a:lnTo>
                      <a:pt x="233256" y="366275"/>
                    </a:lnTo>
                    <a:lnTo>
                      <a:pt x="233256" y="32782"/>
                    </a:lnTo>
                    <a:lnTo>
                      <a:pt x="33412" y="32782"/>
                    </a:lnTo>
                    <a:lnTo>
                      <a:pt x="33412" y="366275"/>
                    </a:lnTo>
                    <a:lnTo>
                      <a:pt x="33412" y="366275"/>
                    </a:ln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88" name="Forma Livre: Forma 187">
                <a:extLst>
                  <a:ext uri="{FF2B5EF4-FFF2-40B4-BE49-F238E27FC236}">
                    <a16:creationId xmlns:a16="http://schemas.microsoft.com/office/drawing/2014/main" id="{B0B711C7-1017-4CF4-BE17-322F8CF0E91F}"/>
                  </a:ext>
                </a:extLst>
              </p:cNvPr>
              <p:cNvSpPr/>
              <p:nvPr/>
            </p:nvSpPr>
            <p:spPr>
              <a:xfrm>
                <a:off x="1423938" y="5764813"/>
                <a:ext cx="182891" cy="227582"/>
              </a:xfrm>
              <a:custGeom>
                <a:avLst/>
                <a:gdLst>
                  <a:gd name="connsiteX0" fmla="*/ 175257 w 182891"/>
                  <a:gd name="connsiteY0" fmla="*/ 227583 h 227582"/>
                  <a:gd name="connsiteX1" fmla="*/ 8196 w 182891"/>
                  <a:gd name="connsiteY1" fmla="*/ 227583 h 227582"/>
                  <a:gd name="connsiteX2" fmla="*/ 0 w 182891"/>
                  <a:gd name="connsiteY2" fmla="*/ 219387 h 227582"/>
                  <a:gd name="connsiteX3" fmla="*/ 0 w 182891"/>
                  <a:gd name="connsiteY3" fmla="*/ 8196 h 227582"/>
                  <a:gd name="connsiteX4" fmla="*/ 8196 w 182891"/>
                  <a:gd name="connsiteY4" fmla="*/ 0 h 227582"/>
                  <a:gd name="connsiteX5" fmla="*/ 174627 w 182891"/>
                  <a:gd name="connsiteY5" fmla="*/ 0 h 227582"/>
                  <a:gd name="connsiteX6" fmla="*/ 182823 w 182891"/>
                  <a:gd name="connsiteY6" fmla="*/ 8196 h 227582"/>
                  <a:gd name="connsiteX7" fmla="*/ 182823 w 182891"/>
                  <a:gd name="connsiteY7" fmla="*/ 219387 h 227582"/>
                  <a:gd name="connsiteX8" fmla="*/ 175257 w 182891"/>
                  <a:gd name="connsiteY8" fmla="*/ 227583 h 227582"/>
                  <a:gd name="connsiteX9" fmla="*/ 175257 w 182891"/>
                  <a:gd name="connsiteY9" fmla="*/ 227583 h 227582"/>
                  <a:gd name="connsiteX10" fmla="*/ 16391 w 182891"/>
                  <a:gd name="connsiteY10" fmla="*/ 211192 h 227582"/>
                  <a:gd name="connsiteX11" fmla="*/ 166432 w 182891"/>
                  <a:gd name="connsiteY11" fmla="*/ 211192 h 227582"/>
                  <a:gd name="connsiteX12" fmla="*/ 166432 w 182891"/>
                  <a:gd name="connsiteY12" fmla="*/ 17021 h 227582"/>
                  <a:gd name="connsiteX13" fmla="*/ 16391 w 182891"/>
                  <a:gd name="connsiteY13" fmla="*/ 17021 h 227582"/>
                  <a:gd name="connsiteX14" fmla="*/ 16391 w 182891"/>
                  <a:gd name="connsiteY14" fmla="*/ 211192 h 227582"/>
                  <a:gd name="connsiteX15" fmla="*/ 16391 w 182891"/>
                  <a:gd name="connsiteY15" fmla="*/ 211192 h 2275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82891" h="227582">
                    <a:moveTo>
                      <a:pt x="175257" y="227583"/>
                    </a:moveTo>
                    <a:lnTo>
                      <a:pt x="8196" y="227583"/>
                    </a:lnTo>
                    <a:cubicBezTo>
                      <a:pt x="3783" y="227583"/>
                      <a:pt x="0" y="223800"/>
                      <a:pt x="0" y="219387"/>
                    </a:cubicBezTo>
                    <a:lnTo>
                      <a:pt x="0" y="8196"/>
                    </a:lnTo>
                    <a:cubicBezTo>
                      <a:pt x="0" y="3783"/>
                      <a:pt x="3783" y="0"/>
                      <a:pt x="8196" y="0"/>
                    </a:cubicBezTo>
                    <a:lnTo>
                      <a:pt x="174627" y="0"/>
                    </a:lnTo>
                    <a:cubicBezTo>
                      <a:pt x="179040" y="0"/>
                      <a:pt x="182823" y="3783"/>
                      <a:pt x="182823" y="8196"/>
                    </a:cubicBezTo>
                    <a:lnTo>
                      <a:pt x="182823" y="219387"/>
                    </a:lnTo>
                    <a:cubicBezTo>
                      <a:pt x="183453" y="223800"/>
                      <a:pt x="179670" y="227583"/>
                      <a:pt x="175257" y="227583"/>
                    </a:cubicBezTo>
                    <a:lnTo>
                      <a:pt x="175257" y="227583"/>
                    </a:lnTo>
                    <a:close/>
                    <a:moveTo>
                      <a:pt x="16391" y="211192"/>
                    </a:moveTo>
                    <a:lnTo>
                      <a:pt x="166432" y="211192"/>
                    </a:lnTo>
                    <a:lnTo>
                      <a:pt x="166432" y="17021"/>
                    </a:lnTo>
                    <a:lnTo>
                      <a:pt x="16391" y="17021"/>
                    </a:lnTo>
                    <a:lnTo>
                      <a:pt x="16391" y="211192"/>
                    </a:lnTo>
                    <a:lnTo>
                      <a:pt x="16391" y="211192"/>
                    </a:ln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89" name="Forma Livre: Forma 188">
                <a:extLst>
                  <a:ext uri="{FF2B5EF4-FFF2-40B4-BE49-F238E27FC236}">
                    <a16:creationId xmlns:a16="http://schemas.microsoft.com/office/drawing/2014/main" id="{5EB485D0-9DE4-4B67-B94C-33CA1CC329DA}"/>
                  </a:ext>
                </a:extLst>
              </p:cNvPr>
              <p:cNvSpPr/>
              <p:nvPr/>
            </p:nvSpPr>
            <p:spPr>
              <a:xfrm>
                <a:off x="1495806" y="6010047"/>
                <a:ext cx="39086" cy="39086"/>
              </a:xfrm>
              <a:custGeom>
                <a:avLst/>
                <a:gdLst>
                  <a:gd name="connsiteX0" fmla="*/ 39086 w 39086"/>
                  <a:gd name="connsiteY0" fmla="*/ 19543 h 39086"/>
                  <a:gd name="connsiteX1" fmla="*/ 19543 w 39086"/>
                  <a:gd name="connsiteY1" fmla="*/ 39086 h 39086"/>
                  <a:gd name="connsiteX2" fmla="*/ 0 w 39086"/>
                  <a:gd name="connsiteY2" fmla="*/ 19543 h 39086"/>
                  <a:gd name="connsiteX3" fmla="*/ 19543 w 39086"/>
                  <a:gd name="connsiteY3" fmla="*/ 0 h 39086"/>
                  <a:gd name="connsiteX4" fmla="*/ 39086 w 39086"/>
                  <a:gd name="connsiteY4" fmla="*/ 19543 h 39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086" h="39086">
                    <a:moveTo>
                      <a:pt x="39086" y="19543"/>
                    </a:moveTo>
                    <a:cubicBezTo>
                      <a:pt x="39086" y="30336"/>
                      <a:pt x="30336" y="39086"/>
                      <a:pt x="19543" y="39086"/>
                    </a:cubicBezTo>
                    <a:cubicBezTo>
                      <a:pt x="8750" y="39086"/>
                      <a:pt x="0" y="30336"/>
                      <a:pt x="0" y="19543"/>
                    </a:cubicBezTo>
                    <a:cubicBezTo>
                      <a:pt x="0" y="8749"/>
                      <a:pt x="8750" y="0"/>
                      <a:pt x="19543" y="0"/>
                    </a:cubicBezTo>
                    <a:cubicBezTo>
                      <a:pt x="30336" y="0"/>
                      <a:pt x="39086" y="8750"/>
                      <a:pt x="39086" y="19543"/>
                    </a:cubicBez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190" name="Gráfico 2">
              <a:extLst>
                <a:ext uri="{FF2B5EF4-FFF2-40B4-BE49-F238E27FC236}">
                  <a16:creationId xmlns:a16="http://schemas.microsoft.com/office/drawing/2014/main" id="{1EC2913E-D059-42A1-91F3-F6BAB2F166E6}"/>
                </a:ext>
              </a:extLst>
            </p:cNvPr>
            <p:cNvGrpSpPr/>
            <p:nvPr/>
          </p:nvGrpSpPr>
          <p:grpSpPr>
            <a:xfrm>
              <a:off x="1263653" y="5778367"/>
              <a:ext cx="503392" cy="244919"/>
              <a:chOff x="1263653" y="5778367"/>
              <a:chExt cx="503392" cy="244919"/>
            </a:xfrm>
            <a:grpFill/>
          </p:grpSpPr>
          <p:grpSp>
            <p:nvGrpSpPr>
              <p:cNvPr id="191" name="Gráfico 2">
                <a:extLst>
                  <a:ext uri="{FF2B5EF4-FFF2-40B4-BE49-F238E27FC236}">
                    <a16:creationId xmlns:a16="http://schemas.microsoft.com/office/drawing/2014/main" id="{1EC2913E-D059-42A1-91F3-F6BAB2F166E6}"/>
                  </a:ext>
                </a:extLst>
              </p:cNvPr>
              <p:cNvGrpSpPr/>
              <p:nvPr/>
            </p:nvGrpSpPr>
            <p:grpSpPr>
              <a:xfrm>
                <a:off x="1659401" y="5778997"/>
                <a:ext cx="107644" cy="244288"/>
                <a:chOff x="1659401" y="5778997"/>
                <a:chExt cx="107644" cy="244288"/>
              </a:xfrm>
              <a:grpFill/>
            </p:grpSpPr>
            <p:sp>
              <p:nvSpPr>
                <p:cNvPr id="192" name="Forma Livre: Forma 191">
                  <a:extLst>
                    <a:ext uri="{FF2B5EF4-FFF2-40B4-BE49-F238E27FC236}">
                      <a16:creationId xmlns:a16="http://schemas.microsoft.com/office/drawing/2014/main" id="{BE6FBB60-0A53-419F-A7A5-DA4FF206ABBD}"/>
                    </a:ext>
                  </a:extLst>
                </p:cNvPr>
                <p:cNvSpPr/>
                <p:nvPr/>
              </p:nvSpPr>
              <p:spPr>
                <a:xfrm>
                  <a:off x="1690291" y="5778997"/>
                  <a:ext cx="76753" cy="244288"/>
                </a:xfrm>
                <a:custGeom>
                  <a:avLst/>
                  <a:gdLst>
                    <a:gd name="connsiteX0" fmla="*/ 16706 w 76753"/>
                    <a:gd name="connsiteY0" fmla="*/ 244289 h 244288"/>
                    <a:gd name="connsiteX1" fmla="*/ 4728 w 76753"/>
                    <a:gd name="connsiteY1" fmla="*/ 239245 h 244288"/>
                    <a:gd name="connsiteX2" fmla="*/ 4728 w 76753"/>
                    <a:gd name="connsiteY2" fmla="*/ 215920 h 244288"/>
                    <a:gd name="connsiteX3" fmla="*/ 4728 w 76753"/>
                    <a:gd name="connsiteY3" fmla="*/ 28054 h 244288"/>
                    <a:gd name="connsiteX4" fmla="*/ 4728 w 76753"/>
                    <a:gd name="connsiteY4" fmla="*/ 4728 h 244288"/>
                    <a:gd name="connsiteX5" fmla="*/ 28054 w 76753"/>
                    <a:gd name="connsiteY5" fmla="*/ 4728 h 244288"/>
                    <a:gd name="connsiteX6" fmla="*/ 28054 w 76753"/>
                    <a:gd name="connsiteY6" fmla="*/ 239876 h 244288"/>
                    <a:gd name="connsiteX7" fmla="*/ 16706 w 76753"/>
                    <a:gd name="connsiteY7" fmla="*/ 244289 h 244288"/>
                    <a:gd name="connsiteX8" fmla="*/ 16706 w 76753"/>
                    <a:gd name="connsiteY8" fmla="*/ 244289 h 2442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6753" h="244288">
                      <a:moveTo>
                        <a:pt x="16706" y="244289"/>
                      </a:moveTo>
                      <a:cubicBezTo>
                        <a:pt x="12293" y="244289"/>
                        <a:pt x="7880" y="242398"/>
                        <a:pt x="4728" y="239245"/>
                      </a:cubicBezTo>
                      <a:cubicBezTo>
                        <a:pt x="-1576" y="232941"/>
                        <a:pt x="-1576" y="222224"/>
                        <a:pt x="4728" y="215920"/>
                      </a:cubicBezTo>
                      <a:cubicBezTo>
                        <a:pt x="56423" y="164225"/>
                        <a:pt x="56423" y="79749"/>
                        <a:pt x="4728" y="28054"/>
                      </a:cubicBezTo>
                      <a:cubicBezTo>
                        <a:pt x="-1576" y="21750"/>
                        <a:pt x="-1576" y="11032"/>
                        <a:pt x="4728" y="4728"/>
                      </a:cubicBezTo>
                      <a:cubicBezTo>
                        <a:pt x="11032" y="-1576"/>
                        <a:pt x="21750" y="-1576"/>
                        <a:pt x="28054" y="4728"/>
                      </a:cubicBezTo>
                      <a:cubicBezTo>
                        <a:pt x="92987" y="69662"/>
                        <a:pt x="92987" y="174942"/>
                        <a:pt x="28054" y="239876"/>
                      </a:cubicBezTo>
                      <a:cubicBezTo>
                        <a:pt x="24902" y="242398"/>
                        <a:pt x="21119" y="244289"/>
                        <a:pt x="16706" y="244289"/>
                      </a:cubicBezTo>
                      <a:lnTo>
                        <a:pt x="16706" y="244289"/>
                      </a:lnTo>
                      <a:close/>
                    </a:path>
                  </a:pathLst>
                </a:custGeom>
                <a:grpFill/>
                <a:ln w="63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193" name="Forma Livre: Forma 192">
                  <a:extLst>
                    <a:ext uri="{FF2B5EF4-FFF2-40B4-BE49-F238E27FC236}">
                      <a16:creationId xmlns:a16="http://schemas.microsoft.com/office/drawing/2014/main" id="{3D3F9A5C-B85B-4913-9716-F7C15A81837A}"/>
                    </a:ext>
                  </a:extLst>
                </p:cNvPr>
                <p:cNvSpPr/>
                <p:nvPr/>
              </p:nvSpPr>
              <p:spPr>
                <a:xfrm>
                  <a:off x="1659401" y="5809888"/>
                  <a:ext cx="63987" cy="181876"/>
                </a:xfrm>
                <a:custGeom>
                  <a:avLst/>
                  <a:gdLst>
                    <a:gd name="connsiteX0" fmla="*/ 16706 w 63987"/>
                    <a:gd name="connsiteY0" fmla="*/ 181877 h 181876"/>
                    <a:gd name="connsiteX1" fmla="*/ 4728 w 63987"/>
                    <a:gd name="connsiteY1" fmla="*/ 176833 h 181876"/>
                    <a:gd name="connsiteX2" fmla="*/ 4728 w 63987"/>
                    <a:gd name="connsiteY2" fmla="*/ 153508 h 181876"/>
                    <a:gd name="connsiteX3" fmla="*/ 4728 w 63987"/>
                    <a:gd name="connsiteY3" fmla="*/ 28054 h 181876"/>
                    <a:gd name="connsiteX4" fmla="*/ 4728 w 63987"/>
                    <a:gd name="connsiteY4" fmla="*/ 4728 h 181876"/>
                    <a:gd name="connsiteX5" fmla="*/ 28054 w 63987"/>
                    <a:gd name="connsiteY5" fmla="*/ 4728 h 181876"/>
                    <a:gd name="connsiteX6" fmla="*/ 28054 w 63987"/>
                    <a:gd name="connsiteY6" fmla="*/ 177464 h 181876"/>
                    <a:gd name="connsiteX7" fmla="*/ 16706 w 63987"/>
                    <a:gd name="connsiteY7" fmla="*/ 181877 h 181876"/>
                    <a:gd name="connsiteX8" fmla="*/ 16706 w 63987"/>
                    <a:gd name="connsiteY8" fmla="*/ 181877 h 1818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63987" h="181876">
                      <a:moveTo>
                        <a:pt x="16706" y="181877"/>
                      </a:moveTo>
                      <a:cubicBezTo>
                        <a:pt x="12293" y="181877"/>
                        <a:pt x="7880" y="179986"/>
                        <a:pt x="4728" y="176833"/>
                      </a:cubicBezTo>
                      <a:cubicBezTo>
                        <a:pt x="-1576" y="170529"/>
                        <a:pt x="-1576" y="159812"/>
                        <a:pt x="4728" y="153508"/>
                      </a:cubicBezTo>
                      <a:cubicBezTo>
                        <a:pt x="39401" y="118835"/>
                        <a:pt x="39401" y="62727"/>
                        <a:pt x="4728" y="28054"/>
                      </a:cubicBezTo>
                      <a:cubicBezTo>
                        <a:pt x="-1576" y="21750"/>
                        <a:pt x="-1576" y="11032"/>
                        <a:pt x="4728" y="4728"/>
                      </a:cubicBezTo>
                      <a:cubicBezTo>
                        <a:pt x="11032" y="-1576"/>
                        <a:pt x="21750" y="-1576"/>
                        <a:pt x="28054" y="4728"/>
                      </a:cubicBezTo>
                      <a:cubicBezTo>
                        <a:pt x="75966" y="52640"/>
                        <a:pt x="75966" y="130182"/>
                        <a:pt x="28054" y="177464"/>
                      </a:cubicBezTo>
                      <a:cubicBezTo>
                        <a:pt x="24902" y="180616"/>
                        <a:pt x="20489" y="181877"/>
                        <a:pt x="16706" y="181877"/>
                      </a:cubicBezTo>
                      <a:lnTo>
                        <a:pt x="16706" y="181877"/>
                      </a:lnTo>
                      <a:close/>
                    </a:path>
                  </a:pathLst>
                </a:custGeom>
                <a:grpFill/>
                <a:ln w="63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grpSp>
            <p:nvGrpSpPr>
              <p:cNvPr id="194" name="Gráfico 2">
                <a:extLst>
                  <a:ext uri="{FF2B5EF4-FFF2-40B4-BE49-F238E27FC236}">
                    <a16:creationId xmlns:a16="http://schemas.microsoft.com/office/drawing/2014/main" id="{1EC2913E-D059-42A1-91F3-F6BAB2F166E6}"/>
                  </a:ext>
                </a:extLst>
              </p:cNvPr>
              <p:cNvGrpSpPr/>
              <p:nvPr/>
            </p:nvGrpSpPr>
            <p:grpSpPr>
              <a:xfrm>
                <a:off x="1263653" y="5778367"/>
                <a:ext cx="107644" cy="244919"/>
                <a:chOff x="1263653" y="5778367"/>
                <a:chExt cx="107644" cy="244919"/>
              </a:xfrm>
              <a:grpFill/>
            </p:grpSpPr>
            <p:sp>
              <p:nvSpPr>
                <p:cNvPr id="195" name="Forma Livre: Forma 194">
                  <a:extLst>
                    <a:ext uri="{FF2B5EF4-FFF2-40B4-BE49-F238E27FC236}">
                      <a16:creationId xmlns:a16="http://schemas.microsoft.com/office/drawing/2014/main" id="{632FE325-7AC3-4ADC-9BA3-FD31F2B8102F}"/>
                    </a:ext>
                  </a:extLst>
                </p:cNvPr>
                <p:cNvSpPr/>
                <p:nvPr/>
              </p:nvSpPr>
              <p:spPr>
                <a:xfrm>
                  <a:off x="1263653" y="5778367"/>
                  <a:ext cx="76753" cy="244919"/>
                </a:xfrm>
                <a:custGeom>
                  <a:avLst/>
                  <a:gdLst>
                    <a:gd name="connsiteX0" fmla="*/ 60678 w 76753"/>
                    <a:gd name="connsiteY0" fmla="*/ 244919 h 244919"/>
                    <a:gd name="connsiteX1" fmla="*/ 48700 w 76753"/>
                    <a:gd name="connsiteY1" fmla="*/ 239876 h 244919"/>
                    <a:gd name="connsiteX2" fmla="*/ 48700 w 76753"/>
                    <a:gd name="connsiteY2" fmla="*/ 4728 h 244919"/>
                    <a:gd name="connsiteX3" fmla="*/ 72026 w 76753"/>
                    <a:gd name="connsiteY3" fmla="*/ 4728 h 244919"/>
                    <a:gd name="connsiteX4" fmla="*/ 72026 w 76753"/>
                    <a:gd name="connsiteY4" fmla="*/ 28054 h 244919"/>
                    <a:gd name="connsiteX5" fmla="*/ 72026 w 76753"/>
                    <a:gd name="connsiteY5" fmla="*/ 215920 h 244919"/>
                    <a:gd name="connsiteX6" fmla="*/ 72026 w 76753"/>
                    <a:gd name="connsiteY6" fmla="*/ 239245 h 244919"/>
                    <a:gd name="connsiteX7" fmla="*/ 60678 w 76753"/>
                    <a:gd name="connsiteY7" fmla="*/ 244919 h 244919"/>
                    <a:gd name="connsiteX8" fmla="*/ 60678 w 76753"/>
                    <a:gd name="connsiteY8" fmla="*/ 244919 h 2449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6753" h="244919">
                      <a:moveTo>
                        <a:pt x="60678" y="244919"/>
                      </a:moveTo>
                      <a:cubicBezTo>
                        <a:pt x="56265" y="244919"/>
                        <a:pt x="51852" y="243028"/>
                        <a:pt x="48700" y="239876"/>
                      </a:cubicBezTo>
                      <a:cubicBezTo>
                        <a:pt x="-16233" y="174942"/>
                        <a:pt x="-16233" y="69662"/>
                        <a:pt x="48700" y="4728"/>
                      </a:cubicBezTo>
                      <a:cubicBezTo>
                        <a:pt x="55004" y="-1576"/>
                        <a:pt x="65722" y="-1576"/>
                        <a:pt x="72026" y="4728"/>
                      </a:cubicBezTo>
                      <a:cubicBezTo>
                        <a:pt x="78330" y="11032"/>
                        <a:pt x="78330" y="21750"/>
                        <a:pt x="72026" y="28054"/>
                      </a:cubicBezTo>
                      <a:cubicBezTo>
                        <a:pt x="20331" y="79749"/>
                        <a:pt x="20331" y="164225"/>
                        <a:pt x="72026" y="215920"/>
                      </a:cubicBezTo>
                      <a:cubicBezTo>
                        <a:pt x="78330" y="222224"/>
                        <a:pt x="78330" y="232941"/>
                        <a:pt x="72026" y="239245"/>
                      </a:cubicBezTo>
                      <a:cubicBezTo>
                        <a:pt x="68874" y="243028"/>
                        <a:pt x="64461" y="244919"/>
                        <a:pt x="60678" y="244919"/>
                      </a:cubicBezTo>
                      <a:lnTo>
                        <a:pt x="60678" y="244919"/>
                      </a:lnTo>
                      <a:close/>
                    </a:path>
                  </a:pathLst>
                </a:custGeom>
                <a:grpFill/>
                <a:ln w="63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196" name="Forma Livre: Forma 195">
                  <a:extLst>
                    <a:ext uri="{FF2B5EF4-FFF2-40B4-BE49-F238E27FC236}">
                      <a16:creationId xmlns:a16="http://schemas.microsoft.com/office/drawing/2014/main" id="{632B9535-43A4-49B0-810A-23CD28D56CB0}"/>
                    </a:ext>
                  </a:extLst>
                </p:cNvPr>
                <p:cNvSpPr/>
                <p:nvPr/>
              </p:nvSpPr>
              <p:spPr>
                <a:xfrm>
                  <a:off x="1307310" y="5809258"/>
                  <a:ext cx="63987" cy="182507"/>
                </a:xfrm>
                <a:custGeom>
                  <a:avLst/>
                  <a:gdLst>
                    <a:gd name="connsiteX0" fmla="*/ 47912 w 63987"/>
                    <a:gd name="connsiteY0" fmla="*/ 182507 h 182507"/>
                    <a:gd name="connsiteX1" fmla="*/ 35934 w 63987"/>
                    <a:gd name="connsiteY1" fmla="*/ 177464 h 182507"/>
                    <a:gd name="connsiteX2" fmla="*/ 35934 w 63987"/>
                    <a:gd name="connsiteY2" fmla="*/ 4728 h 182507"/>
                    <a:gd name="connsiteX3" fmla="*/ 59260 w 63987"/>
                    <a:gd name="connsiteY3" fmla="*/ 4728 h 182507"/>
                    <a:gd name="connsiteX4" fmla="*/ 59260 w 63987"/>
                    <a:gd name="connsiteY4" fmla="*/ 28053 h 182507"/>
                    <a:gd name="connsiteX5" fmla="*/ 59260 w 63987"/>
                    <a:gd name="connsiteY5" fmla="*/ 153508 h 182507"/>
                    <a:gd name="connsiteX6" fmla="*/ 59260 w 63987"/>
                    <a:gd name="connsiteY6" fmla="*/ 176833 h 182507"/>
                    <a:gd name="connsiteX7" fmla="*/ 47912 w 63987"/>
                    <a:gd name="connsiteY7" fmla="*/ 182507 h 182507"/>
                    <a:gd name="connsiteX8" fmla="*/ 47912 w 63987"/>
                    <a:gd name="connsiteY8" fmla="*/ 182507 h 1825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63987" h="182507">
                      <a:moveTo>
                        <a:pt x="47912" y="182507"/>
                      </a:moveTo>
                      <a:cubicBezTo>
                        <a:pt x="43499" y="182507"/>
                        <a:pt x="39086" y="180616"/>
                        <a:pt x="35934" y="177464"/>
                      </a:cubicBezTo>
                      <a:cubicBezTo>
                        <a:pt x="-11978" y="129552"/>
                        <a:pt x="-11978" y="52010"/>
                        <a:pt x="35934" y="4728"/>
                      </a:cubicBezTo>
                      <a:cubicBezTo>
                        <a:pt x="42238" y="-1576"/>
                        <a:pt x="52955" y="-1576"/>
                        <a:pt x="59260" y="4728"/>
                      </a:cubicBezTo>
                      <a:cubicBezTo>
                        <a:pt x="65564" y="11032"/>
                        <a:pt x="65564" y="21749"/>
                        <a:pt x="59260" y="28053"/>
                      </a:cubicBezTo>
                      <a:cubicBezTo>
                        <a:pt x="24586" y="62727"/>
                        <a:pt x="24586" y="118835"/>
                        <a:pt x="59260" y="153508"/>
                      </a:cubicBezTo>
                      <a:cubicBezTo>
                        <a:pt x="65564" y="159812"/>
                        <a:pt x="65564" y="170529"/>
                        <a:pt x="59260" y="176833"/>
                      </a:cubicBezTo>
                      <a:cubicBezTo>
                        <a:pt x="56738" y="181246"/>
                        <a:pt x="52325" y="182507"/>
                        <a:pt x="47912" y="182507"/>
                      </a:cubicBezTo>
                      <a:lnTo>
                        <a:pt x="47912" y="182507"/>
                      </a:lnTo>
                      <a:close/>
                    </a:path>
                  </a:pathLst>
                </a:custGeom>
                <a:grpFill/>
                <a:ln w="63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</p:grpSp>
      </p:grpSp>
      <p:grpSp>
        <p:nvGrpSpPr>
          <p:cNvPr id="197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2406767" y="5701140"/>
            <a:ext cx="266038" cy="399688"/>
            <a:chOff x="2406767" y="5701140"/>
            <a:chExt cx="266038" cy="399688"/>
          </a:xfrm>
          <a:solidFill>
            <a:srgbClr val="B1B1A1"/>
          </a:solidFill>
        </p:grpSpPr>
        <p:sp>
          <p:nvSpPr>
            <p:cNvPr id="198" name="Forma Livre: Forma 197">
              <a:extLst>
                <a:ext uri="{FF2B5EF4-FFF2-40B4-BE49-F238E27FC236}">
                  <a16:creationId xmlns:a16="http://schemas.microsoft.com/office/drawing/2014/main" id="{F8A1E928-1049-4632-A3AB-07BDE394B497}"/>
                </a:ext>
              </a:extLst>
            </p:cNvPr>
            <p:cNvSpPr/>
            <p:nvPr/>
          </p:nvSpPr>
          <p:spPr>
            <a:xfrm>
              <a:off x="2406767" y="5701140"/>
              <a:ext cx="266038" cy="399688"/>
            </a:xfrm>
            <a:custGeom>
              <a:avLst/>
              <a:gdLst>
                <a:gd name="connsiteX0" fmla="*/ 249647 w 266038"/>
                <a:gd name="connsiteY0" fmla="*/ 399688 h 399688"/>
                <a:gd name="connsiteX1" fmla="*/ 16391 w 266038"/>
                <a:gd name="connsiteY1" fmla="*/ 399688 h 399688"/>
                <a:gd name="connsiteX2" fmla="*/ 0 w 266038"/>
                <a:gd name="connsiteY2" fmla="*/ 383297 h 399688"/>
                <a:gd name="connsiteX3" fmla="*/ 0 w 266038"/>
                <a:gd name="connsiteY3" fmla="*/ 16391 h 399688"/>
                <a:gd name="connsiteX4" fmla="*/ 16391 w 266038"/>
                <a:gd name="connsiteY4" fmla="*/ 0 h 399688"/>
                <a:gd name="connsiteX5" fmla="*/ 249647 w 266038"/>
                <a:gd name="connsiteY5" fmla="*/ 0 h 399688"/>
                <a:gd name="connsiteX6" fmla="*/ 266038 w 266038"/>
                <a:gd name="connsiteY6" fmla="*/ 16391 h 399688"/>
                <a:gd name="connsiteX7" fmla="*/ 266038 w 266038"/>
                <a:gd name="connsiteY7" fmla="*/ 383297 h 399688"/>
                <a:gd name="connsiteX8" fmla="*/ 249647 w 266038"/>
                <a:gd name="connsiteY8" fmla="*/ 399688 h 399688"/>
                <a:gd name="connsiteX9" fmla="*/ 249647 w 266038"/>
                <a:gd name="connsiteY9" fmla="*/ 399688 h 399688"/>
                <a:gd name="connsiteX10" fmla="*/ 32782 w 266038"/>
                <a:gd name="connsiteY10" fmla="*/ 366275 h 399688"/>
                <a:gd name="connsiteX11" fmla="*/ 232626 w 266038"/>
                <a:gd name="connsiteY11" fmla="*/ 366275 h 399688"/>
                <a:gd name="connsiteX12" fmla="*/ 232626 w 266038"/>
                <a:gd name="connsiteY12" fmla="*/ 32782 h 399688"/>
                <a:gd name="connsiteX13" fmla="*/ 32782 w 266038"/>
                <a:gd name="connsiteY13" fmla="*/ 32782 h 399688"/>
                <a:gd name="connsiteX14" fmla="*/ 32782 w 266038"/>
                <a:gd name="connsiteY14" fmla="*/ 366275 h 399688"/>
                <a:gd name="connsiteX15" fmla="*/ 32782 w 266038"/>
                <a:gd name="connsiteY15" fmla="*/ 366275 h 399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6038" h="399688">
                  <a:moveTo>
                    <a:pt x="249647" y="399688"/>
                  </a:moveTo>
                  <a:lnTo>
                    <a:pt x="16391" y="399688"/>
                  </a:lnTo>
                  <a:cubicBezTo>
                    <a:pt x="6935" y="399688"/>
                    <a:pt x="0" y="392123"/>
                    <a:pt x="0" y="383297"/>
                  </a:cubicBezTo>
                  <a:lnTo>
                    <a:pt x="0" y="16391"/>
                  </a:lnTo>
                  <a:cubicBezTo>
                    <a:pt x="0" y="6934"/>
                    <a:pt x="7565" y="0"/>
                    <a:pt x="16391" y="0"/>
                  </a:cubicBezTo>
                  <a:lnTo>
                    <a:pt x="249647" y="0"/>
                  </a:lnTo>
                  <a:cubicBezTo>
                    <a:pt x="259104" y="0"/>
                    <a:pt x="266038" y="7565"/>
                    <a:pt x="266038" y="16391"/>
                  </a:cubicBezTo>
                  <a:lnTo>
                    <a:pt x="266038" y="383297"/>
                  </a:lnTo>
                  <a:cubicBezTo>
                    <a:pt x="266038" y="392123"/>
                    <a:pt x="259104" y="399688"/>
                    <a:pt x="249647" y="399688"/>
                  </a:cubicBezTo>
                  <a:lnTo>
                    <a:pt x="249647" y="399688"/>
                  </a:lnTo>
                  <a:close/>
                  <a:moveTo>
                    <a:pt x="32782" y="366275"/>
                  </a:moveTo>
                  <a:lnTo>
                    <a:pt x="232626" y="366275"/>
                  </a:lnTo>
                  <a:lnTo>
                    <a:pt x="232626" y="32782"/>
                  </a:lnTo>
                  <a:lnTo>
                    <a:pt x="32782" y="32782"/>
                  </a:lnTo>
                  <a:lnTo>
                    <a:pt x="32782" y="366275"/>
                  </a:lnTo>
                  <a:lnTo>
                    <a:pt x="32782" y="366275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99" name="Forma Livre: Forma 198">
              <a:extLst>
                <a:ext uri="{FF2B5EF4-FFF2-40B4-BE49-F238E27FC236}">
                  <a16:creationId xmlns:a16="http://schemas.microsoft.com/office/drawing/2014/main" id="{3269F1D3-1455-4E18-ABE0-D89ABDABE619}"/>
                </a:ext>
              </a:extLst>
            </p:cNvPr>
            <p:cNvSpPr/>
            <p:nvPr/>
          </p:nvSpPr>
          <p:spPr>
            <a:xfrm>
              <a:off x="2448374" y="5764813"/>
              <a:ext cx="182822" cy="227582"/>
            </a:xfrm>
            <a:custGeom>
              <a:avLst/>
              <a:gdLst>
                <a:gd name="connsiteX0" fmla="*/ 174627 w 182822"/>
                <a:gd name="connsiteY0" fmla="*/ 227583 h 227582"/>
                <a:gd name="connsiteX1" fmla="*/ 8196 w 182822"/>
                <a:gd name="connsiteY1" fmla="*/ 227583 h 227582"/>
                <a:gd name="connsiteX2" fmla="*/ 0 w 182822"/>
                <a:gd name="connsiteY2" fmla="*/ 219387 h 227582"/>
                <a:gd name="connsiteX3" fmla="*/ 0 w 182822"/>
                <a:gd name="connsiteY3" fmla="*/ 8196 h 227582"/>
                <a:gd name="connsiteX4" fmla="*/ 8196 w 182822"/>
                <a:gd name="connsiteY4" fmla="*/ 0 h 227582"/>
                <a:gd name="connsiteX5" fmla="*/ 174627 w 182822"/>
                <a:gd name="connsiteY5" fmla="*/ 0 h 227582"/>
                <a:gd name="connsiteX6" fmla="*/ 182823 w 182822"/>
                <a:gd name="connsiteY6" fmla="*/ 8196 h 227582"/>
                <a:gd name="connsiteX7" fmla="*/ 182823 w 182822"/>
                <a:gd name="connsiteY7" fmla="*/ 219387 h 227582"/>
                <a:gd name="connsiteX8" fmla="*/ 174627 w 182822"/>
                <a:gd name="connsiteY8" fmla="*/ 227583 h 227582"/>
                <a:gd name="connsiteX9" fmla="*/ 174627 w 182822"/>
                <a:gd name="connsiteY9" fmla="*/ 227583 h 227582"/>
                <a:gd name="connsiteX10" fmla="*/ 16391 w 182822"/>
                <a:gd name="connsiteY10" fmla="*/ 211192 h 227582"/>
                <a:gd name="connsiteX11" fmla="*/ 166432 w 182822"/>
                <a:gd name="connsiteY11" fmla="*/ 211192 h 227582"/>
                <a:gd name="connsiteX12" fmla="*/ 166432 w 182822"/>
                <a:gd name="connsiteY12" fmla="*/ 17021 h 227582"/>
                <a:gd name="connsiteX13" fmla="*/ 16391 w 182822"/>
                <a:gd name="connsiteY13" fmla="*/ 17021 h 227582"/>
                <a:gd name="connsiteX14" fmla="*/ 16391 w 182822"/>
                <a:gd name="connsiteY14" fmla="*/ 211192 h 227582"/>
                <a:gd name="connsiteX15" fmla="*/ 16391 w 182822"/>
                <a:gd name="connsiteY15" fmla="*/ 211192 h 227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2822" h="227582">
                  <a:moveTo>
                    <a:pt x="174627" y="227583"/>
                  </a:moveTo>
                  <a:lnTo>
                    <a:pt x="8196" y="227583"/>
                  </a:lnTo>
                  <a:cubicBezTo>
                    <a:pt x="3783" y="227583"/>
                    <a:pt x="0" y="223800"/>
                    <a:pt x="0" y="219387"/>
                  </a:cubicBezTo>
                  <a:lnTo>
                    <a:pt x="0" y="8196"/>
                  </a:lnTo>
                  <a:cubicBezTo>
                    <a:pt x="0" y="3783"/>
                    <a:pt x="3783" y="0"/>
                    <a:pt x="8196" y="0"/>
                  </a:cubicBezTo>
                  <a:lnTo>
                    <a:pt x="174627" y="0"/>
                  </a:lnTo>
                  <a:cubicBezTo>
                    <a:pt x="179040" y="0"/>
                    <a:pt x="182823" y="3783"/>
                    <a:pt x="182823" y="8196"/>
                  </a:cubicBezTo>
                  <a:lnTo>
                    <a:pt x="182823" y="219387"/>
                  </a:lnTo>
                  <a:cubicBezTo>
                    <a:pt x="182823" y="223800"/>
                    <a:pt x="179040" y="227583"/>
                    <a:pt x="174627" y="227583"/>
                  </a:cubicBezTo>
                  <a:lnTo>
                    <a:pt x="174627" y="227583"/>
                  </a:lnTo>
                  <a:close/>
                  <a:moveTo>
                    <a:pt x="16391" y="211192"/>
                  </a:moveTo>
                  <a:lnTo>
                    <a:pt x="166432" y="211192"/>
                  </a:lnTo>
                  <a:lnTo>
                    <a:pt x="166432" y="17021"/>
                  </a:lnTo>
                  <a:lnTo>
                    <a:pt x="16391" y="17021"/>
                  </a:lnTo>
                  <a:lnTo>
                    <a:pt x="16391" y="211192"/>
                  </a:lnTo>
                  <a:lnTo>
                    <a:pt x="16391" y="211192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00" name="Forma Livre: Forma 199">
              <a:extLst>
                <a:ext uri="{FF2B5EF4-FFF2-40B4-BE49-F238E27FC236}">
                  <a16:creationId xmlns:a16="http://schemas.microsoft.com/office/drawing/2014/main" id="{016E57CD-F66E-41A8-A5CC-E1B13BA49286}"/>
                </a:ext>
              </a:extLst>
            </p:cNvPr>
            <p:cNvSpPr/>
            <p:nvPr/>
          </p:nvSpPr>
          <p:spPr>
            <a:xfrm>
              <a:off x="2520243" y="6010047"/>
              <a:ext cx="39086" cy="39086"/>
            </a:xfrm>
            <a:custGeom>
              <a:avLst/>
              <a:gdLst>
                <a:gd name="connsiteX0" fmla="*/ 39086 w 39086"/>
                <a:gd name="connsiteY0" fmla="*/ 19543 h 39086"/>
                <a:gd name="connsiteX1" fmla="*/ 19543 w 39086"/>
                <a:gd name="connsiteY1" fmla="*/ 39086 h 39086"/>
                <a:gd name="connsiteX2" fmla="*/ 0 w 39086"/>
                <a:gd name="connsiteY2" fmla="*/ 19543 h 39086"/>
                <a:gd name="connsiteX3" fmla="*/ 19543 w 39086"/>
                <a:gd name="connsiteY3" fmla="*/ 0 h 39086"/>
                <a:gd name="connsiteX4" fmla="*/ 39086 w 39086"/>
                <a:gd name="connsiteY4" fmla="*/ 19543 h 39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086" h="39086">
                  <a:moveTo>
                    <a:pt x="39086" y="19543"/>
                  </a:moveTo>
                  <a:cubicBezTo>
                    <a:pt x="39086" y="30336"/>
                    <a:pt x="30336" y="39086"/>
                    <a:pt x="19543" y="39086"/>
                  </a:cubicBezTo>
                  <a:cubicBezTo>
                    <a:pt x="8750" y="39086"/>
                    <a:pt x="0" y="30336"/>
                    <a:pt x="0" y="19543"/>
                  </a:cubicBezTo>
                  <a:cubicBezTo>
                    <a:pt x="0" y="8749"/>
                    <a:pt x="8750" y="0"/>
                    <a:pt x="19543" y="0"/>
                  </a:cubicBezTo>
                  <a:cubicBezTo>
                    <a:pt x="30336" y="0"/>
                    <a:pt x="39086" y="8750"/>
                    <a:pt x="39086" y="19543"/>
                  </a:cubicBez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201" name="Gráfico 2">
              <a:extLst>
                <a:ext uri="{FF2B5EF4-FFF2-40B4-BE49-F238E27FC236}">
                  <a16:creationId xmlns:a16="http://schemas.microsoft.com/office/drawing/2014/main" id="{1EC2913E-D059-42A1-91F3-F6BAB2F166E6}"/>
                </a:ext>
              </a:extLst>
            </p:cNvPr>
            <p:cNvGrpSpPr/>
            <p:nvPr/>
          </p:nvGrpSpPr>
          <p:grpSpPr>
            <a:xfrm>
              <a:off x="2490289" y="5905044"/>
              <a:ext cx="61797" cy="51417"/>
              <a:chOff x="2490289" y="5905044"/>
              <a:chExt cx="61797" cy="51417"/>
            </a:xfrm>
            <a:grpFill/>
          </p:grpSpPr>
          <p:sp>
            <p:nvSpPr>
              <p:cNvPr id="202" name="Forma Livre: Forma 201">
                <a:extLst>
                  <a:ext uri="{FF2B5EF4-FFF2-40B4-BE49-F238E27FC236}">
                    <a16:creationId xmlns:a16="http://schemas.microsoft.com/office/drawing/2014/main" id="{B06D863A-1128-4413-9A8C-84456DB8618D}"/>
                  </a:ext>
                </a:extLst>
              </p:cNvPr>
              <p:cNvSpPr/>
              <p:nvPr/>
            </p:nvSpPr>
            <p:spPr>
              <a:xfrm>
                <a:off x="2490289" y="5905044"/>
                <a:ext cx="61797" cy="51417"/>
              </a:xfrm>
              <a:custGeom>
                <a:avLst/>
                <a:gdLst>
                  <a:gd name="connsiteX0" fmla="*/ 19236 w 61797"/>
                  <a:gd name="connsiteY0" fmla="*/ 51417 h 51417"/>
                  <a:gd name="connsiteX1" fmla="*/ 323 w 61797"/>
                  <a:gd name="connsiteY1" fmla="*/ 37548 h 51417"/>
                  <a:gd name="connsiteX2" fmla="*/ 24910 w 61797"/>
                  <a:gd name="connsiteY2" fmla="*/ 4136 h 51417"/>
                  <a:gd name="connsiteX3" fmla="*/ 61474 w 61797"/>
                  <a:gd name="connsiteY3" fmla="*/ 13592 h 51417"/>
                  <a:gd name="connsiteX4" fmla="*/ 36888 w 61797"/>
                  <a:gd name="connsiteY4" fmla="*/ 47004 h 51417"/>
                  <a:gd name="connsiteX5" fmla="*/ 19236 w 61797"/>
                  <a:gd name="connsiteY5" fmla="*/ 51417 h 51417"/>
                  <a:gd name="connsiteX6" fmla="*/ 19236 w 61797"/>
                  <a:gd name="connsiteY6" fmla="*/ 51417 h 51417"/>
                  <a:gd name="connsiteX7" fmla="*/ 16714 w 61797"/>
                  <a:gd name="connsiteY7" fmla="*/ 34396 h 51417"/>
                  <a:gd name="connsiteX8" fmla="*/ 29953 w 61797"/>
                  <a:gd name="connsiteY8" fmla="*/ 31874 h 51417"/>
                  <a:gd name="connsiteX9" fmla="*/ 45083 w 61797"/>
                  <a:gd name="connsiteY9" fmla="*/ 16744 h 51417"/>
                  <a:gd name="connsiteX10" fmla="*/ 42562 w 61797"/>
                  <a:gd name="connsiteY10" fmla="*/ 16744 h 51417"/>
                  <a:gd name="connsiteX11" fmla="*/ 31844 w 61797"/>
                  <a:gd name="connsiteY11" fmla="*/ 19266 h 51417"/>
                  <a:gd name="connsiteX12" fmla="*/ 16714 w 61797"/>
                  <a:gd name="connsiteY12" fmla="*/ 34396 h 51417"/>
                  <a:gd name="connsiteX13" fmla="*/ 16714 w 61797"/>
                  <a:gd name="connsiteY13" fmla="*/ 34396 h 51417"/>
                  <a:gd name="connsiteX14" fmla="*/ 16714 w 61797"/>
                  <a:gd name="connsiteY14" fmla="*/ 34396 h 51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61797" h="51417">
                    <a:moveTo>
                      <a:pt x="19236" y="51417"/>
                    </a:moveTo>
                    <a:cubicBezTo>
                      <a:pt x="9149" y="51417"/>
                      <a:pt x="1584" y="46374"/>
                      <a:pt x="323" y="37548"/>
                    </a:cubicBezTo>
                    <a:cubicBezTo>
                      <a:pt x="-2198" y="24309"/>
                      <a:pt x="10410" y="11070"/>
                      <a:pt x="24910" y="4136"/>
                    </a:cubicBezTo>
                    <a:cubicBezTo>
                      <a:pt x="41931" y="-4060"/>
                      <a:pt x="58953" y="353"/>
                      <a:pt x="61474" y="13592"/>
                    </a:cubicBezTo>
                    <a:cubicBezTo>
                      <a:pt x="63996" y="26831"/>
                      <a:pt x="51388" y="40070"/>
                      <a:pt x="36888" y="47004"/>
                    </a:cubicBezTo>
                    <a:cubicBezTo>
                      <a:pt x="31214" y="49526"/>
                      <a:pt x="24910" y="51417"/>
                      <a:pt x="19236" y="51417"/>
                    </a:cubicBezTo>
                    <a:lnTo>
                      <a:pt x="19236" y="51417"/>
                    </a:lnTo>
                    <a:close/>
                    <a:moveTo>
                      <a:pt x="16714" y="34396"/>
                    </a:moveTo>
                    <a:cubicBezTo>
                      <a:pt x="17345" y="34396"/>
                      <a:pt x="24279" y="34396"/>
                      <a:pt x="29953" y="31874"/>
                    </a:cubicBezTo>
                    <a:cubicBezTo>
                      <a:pt x="40040" y="26831"/>
                      <a:pt x="45083" y="19266"/>
                      <a:pt x="45083" y="16744"/>
                    </a:cubicBezTo>
                    <a:cubicBezTo>
                      <a:pt x="45083" y="16744"/>
                      <a:pt x="43822" y="16744"/>
                      <a:pt x="42562" y="16744"/>
                    </a:cubicBezTo>
                    <a:cubicBezTo>
                      <a:pt x="39410" y="16744"/>
                      <a:pt x="35627" y="18005"/>
                      <a:pt x="31844" y="19266"/>
                    </a:cubicBezTo>
                    <a:cubicBezTo>
                      <a:pt x="21127" y="24309"/>
                      <a:pt x="16714" y="31874"/>
                      <a:pt x="16714" y="34396"/>
                    </a:cubicBezTo>
                    <a:cubicBezTo>
                      <a:pt x="16714" y="34396"/>
                      <a:pt x="16714" y="34396"/>
                      <a:pt x="16714" y="34396"/>
                    </a:cubicBezTo>
                    <a:lnTo>
                      <a:pt x="16714" y="34396"/>
                    </a:ln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03" name="Forma Livre: Forma 202">
                <a:extLst>
                  <a:ext uri="{FF2B5EF4-FFF2-40B4-BE49-F238E27FC236}">
                    <a16:creationId xmlns:a16="http://schemas.microsoft.com/office/drawing/2014/main" id="{5750D863-C9D6-4E62-AD2A-3BEF77D53FA4}"/>
                  </a:ext>
                </a:extLst>
              </p:cNvPr>
              <p:cNvSpPr/>
              <p:nvPr/>
            </p:nvSpPr>
            <p:spPr>
              <a:xfrm>
                <a:off x="2499183" y="5912962"/>
                <a:ext cx="44640" cy="35303"/>
              </a:xfrm>
              <a:custGeom>
                <a:avLst/>
                <a:gdLst>
                  <a:gd name="connsiteX0" fmla="*/ 33668 w 44640"/>
                  <a:gd name="connsiteY0" fmla="*/ 0 h 35303"/>
                  <a:gd name="connsiteX1" fmla="*/ 19798 w 44640"/>
                  <a:gd name="connsiteY1" fmla="*/ 3783 h 35303"/>
                  <a:gd name="connsiteX2" fmla="*/ 255 w 44640"/>
                  <a:gd name="connsiteY2" fmla="*/ 28369 h 35303"/>
                  <a:gd name="connsiteX3" fmla="*/ 10972 w 44640"/>
                  <a:gd name="connsiteY3" fmla="*/ 35304 h 35303"/>
                  <a:gd name="connsiteX4" fmla="*/ 24842 w 44640"/>
                  <a:gd name="connsiteY4" fmla="*/ 31521 h 35303"/>
                  <a:gd name="connsiteX5" fmla="*/ 44385 w 44640"/>
                  <a:gd name="connsiteY5" fmla="*/ 6935 h 35303"/>
                  <a:gd name="connsiteX6" fmla="*/ 33668 w 44640"/>
                  <a:gd name="connsiteY6" fmla="*/ 0 h 35303"/>
                  <a:gd name="connsiteX7" fmla="*/ 33668 w 44640"/>
                  <a:gd name="connsiteY7" fmla="*/ 0 h 35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640" h="35303">
                    <a:moveTo>
                      <a:pt x="33668" y="0"/>
                    </a:moveTo>
                    <a:cubicBezTo>
                      <a:pt x="29885" y="0"/>
                      <a:pt x="24842" y="1261"/>
                      <a:pt x="19798" y="3783"/>
                    </a:cubicBezTo>
                    <a:cubicBezTo>
                      <a:pt x="7190" y="9456"/>
                      <a:pt x="-1636" y="20174"/>
                      <a:pt x="255" y="28369"/>
                    </a:cubicBezTo>
                    <a:cubicBezTo>
                      <a:pt x="886" y="32782"/>
                      <a:pt x="5299" y="35304"/>
                      <a:pt x="10972" y="35304"/>
                    </a:cubicBezTo>
                    <a:cubicBezTo>
                      <a:pt x="14755" y="35304"/>
                      <a:pt x="19798" y="34043"/>
                      <a:pt x="24842" y="31521"/>
                    </a:cubicBezTo>
                    <a:cubicBezTo>
                      <a:pt x="37450" y="25848"/>
                      <a:pt x="46276" y="15130"/>
                      <a:pt x="44385" y="6935"/>
                    </a:cubicBezTo>
                    <a:cubicBezTo>
                      <a:pt x="43124" y="2522"/>
                      <a:pt x="39341" y="0"/>
                      <a:pt x="33668" y="0"/>
                    </a:cubicBezTo>
                    <a:lnTo>
                      <a:pt x="33668" y="0"/>
                    </a:ln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204" name="Forma Livre: Forma 203">
              <a:extLst>
                <a:ext uri="{FF2B5EF4-FFF2-40B4-BE49-F238E27FC236}">
                  <a16:creationId xmlns:a16="http://schemas.microsoft.com/office/drawing/2014/main" id="{9E6A9996-07CC-4CFB-9A09-20EF1B7FF743}"/>
                </a:ext>
              </a:extLst>
            </p:cNvPr>
            <p:cNvSpPr/>
            <p:nvPr/>
          </p:nvSpPr>
          <p:spPr>
            <a:xfrm>
              <a:off x="2535373" y="5806421"/>
              <a:ext cx="16391" cy="121671"/>
            </a:xfrm>
            <a:custGeom>
              <a:avLst/>
              <a:gdLst>
                <a:gd name="connsiteX0" fmla="*/ 8196 w 16391"/>
                <a:gd name="connsiteY0" fmla="*/ 121671 h 121671"/>
                <a:gd name="connsiteX1" fmla="*/ 8196 w 16391"/>
                <a:gd name="connsiteY1" fmla="*/ 121671 h 121671"/>
                <a:gd name="connsiteX2" fmla="*/ 0 w 16391"/>
                <a:gd name="connsiteY2" fmla="*/ 113476 h 121671"/>
                <a:gd name="connsiteX3" fmla="*/ 0 w 16391"/>
                <a:gd name="connsiteY3" fmla="*/ 8195 h 121671"/>
                <a:gd name="connsiteX4" fmla="*/ 8196 w 16391"/>
                <a:gd name="connsiteY4" fmla="*/ 0 h 121671"/>
                <a:gd name="connsiteX5" fmla="*/ 8196 w 16391"/>
                <a:gd name="connsiteY5" fmla="*/ 0 h 121671"/>
                <a:gd name="connsiteX6" fmla="*/ 16391 w 16391"/>
                <a:gd name="connsiteY6" fmla="*/ 8195 h 121671"/>
                <a:gd name="connsiteX7" fmla="*/ 16391 w 16391"/>
                <a:gd name="connsiteY7" fmla="*/ 113476 h 121671"/>
                <a:gd name="connsiteX8" fmla="*/ 8196 w 16391"/>
                <a:gd name="connsiteY8" fmla="*/ 121671 h 121671"/>
                <a:gd name="connsiteX9" fmla="*/ 8196 w 16391"/>
                <a:gd name="connsiteY9" fmla="*/ 121671 h 121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391" h="121671">
                  <a:moveTo>
                    <a:pt x="8196" y="121671"/>
                  </a:moveTo>
                  <a:lnTo>
                    <a:pt x="8196" y="121671"/>
                  </a:lnTo>
                  <a:cubicBezTo>
                    <a:pt x="3783" y="121671"/>
                    <a:pt x="0" y="117889"/>
                    <a:pt x="0" y="113476"/>
                  </a:cubicBezTo>
                  <a:lnTo>
                    <a:pt x="0" y="8195"/>
                  </a:lnTo>
                  <a:cubicBezTo>
                    <a:pt x="0" y="3782"/>
                    <a:pt x="3783" y="0"/>
                    <a:pt x="8196" y="0"/>
                  </a:cubicBezTo>
                  <a:lnTo>
                    <a:pt x="8196" y="0"/>
                  </a:lnTo>
                  <a:cubicBezTo>
                    <a:pt x="12608" y="0"/>
                    <a:pt x="16391" y="3782"/>
                    <a:pt x="16391" y="8195"/>
                  </a:cubicBezTo>
                  <a:lnTo>
                    <a:pt x="16391" y="113476"/>
                  </a:lnTo>
                  <a:cubicBezTo>
                    <a:pt x="16391" y="118519"/>
                    <a:pt x="12608" y="121671"/>
                    <a:pt x="8196" y="121671"/>
                  </a:cubicBezTo>
                  <a:lnTo>
                    <a:pt x="8196" y="12167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05" name="Forma Livre: Forma 204">
              <a:extLst>
                <a:ext uri="{FF2B5EF4-FFF2-40B4-BE49-F238E27FC236}">
                  <a16:creationId xmlns:a16="http://schemas.microsoft.com/office/drawing/2014/main" id="{2113F323-5ADD-4BE7-A04A-B54535501F26}"/>
                </a:ext>
              </a:extLst>
            </p:cNvPr>
            <p:cNvSpPr/>
            <p:nvPr/>
          </p:nvSpPr>
          <p:spPr>
            <a:xfrm>
              <a:off x="2535273" y="5806951"/>
              <a:ext cx="49341" cy="58728"/>
            </a:xfrm>
            <a:custGeom>
              <a:avLst/>
              <a:gdLst>
                <a:gd name="connsiteX0" fmla="*/ 41077 w 49341"/>
                <a:gd name="connsiteY0" fmla="*/ 58729 h 58728"/>
                <a:gd name="connsiteX1" fmla="*/ 32882 w 49341"/>
                <a:gd name="connsiteY1" fmla="*/ 50534 h 58728"/>
                <a:gd name="connsiteX2" fmla="*/ 32882 w 49341"/>
                <a:gd name="connsiteY2" fmla="*/ 26578 h 58728"/>
                <a:gd name="connsiteX3" fmla="*/ 5143 w 49341"/>
                <a:gd name="connsiteY3" fmla="*/ 15860 h 58728"/>
                <a:gd name="connsiteX4" fmla="*/ 730 w 49341"/>
                <a:gd name="connsiteY4" fmla="*/ 5143 h 58728"/>
                <a:gd name="connsiteX5" fmla="*/ 11447 w 49341"/>
                <a:gd name="connsiteY5" fmla="*/ 730 h 58728"/>
                <a:gd name="connsiteX6" fmla="*/ 44229 w 49341"/>
                <a:gd name="connsiteY6" fmla="*/ 13969 h 58728"/>
                <a:gd name="connsiteX7" fmla="*/ 49273 w 49341"/>
                <a:gd name="connsiteY7" fmla="*/ 21534 h 58728"/>
                <a:gd name="connsiteX8" fmla="*/ 49273 w 49341"/>
                <a:gd name="connsiteY8" fmla="*/ 51794 h 58728"/>
                <a:gd name="connsiteX9" fmla="*/ 41077 w 49341"/>
                <a:gd name="connsiteY9" fmla="*/ 58729 h 58728"/>
                <a:gd name="connsiteX10" fmla="*/ 41077 w 49341"/>
                <a:gd name="connsiteY10" fmla="*/ 58729 h 58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9341" h="58728">
                  <a:moveTo>
                    <a:pt x="41077" y="58729"/>
                  </a:moveTo>
                  <a:cubicBezTo>
                    <a:pt x="36664" y="58729"/>
                    <a:pt x="32882" y="54947"/>
                    <a:pt x="32882" y="50534"/>
                  </a:cubicBezTo>
                  <a:lnTo>
                    <a:pt x="32882" y="26578"/>
                  </a:lnTo>
                  <a:lnTo>
                    <a:pt x="5143" y="15860"/>
                  </a:lnTo>
                  <a:cubicBezTo>
                    <a:pt x="730" y="13969"/>
                    <a:pt x="-1161" y="9556"/>
                    <a:pt x="730" y="5143"/>
                  </a:cubicBezTo>
                  <a:cubicBezTo>
                    <a:pt x="2622" y="730"/>
                    <a:pt x="7035" y="-1161"/>
                    <a:pt x="11447" y="730"/>
                  </a:cubicBezTo>
                  <a:lnTo>
                    <a:pt x="44229" y="13969"/>
                  </a:lnTo>
                  <a:cubicBezTo>
                    <a:pt x="47382" y="15230"/>
                    <a:pt x="49273" y="18382"/>
                    <a:pt x="49273" y="21534"/>
                  </a:cubicBezTo>
                  <a:lnTo>
                    <a:pt x="49273" y="51794"/>
                  </a:lnTo>
                  <a:cubicBezTo>
                    <a:pt x="49903" y="55577"/>
                    <a:pt x="46121" y="58729"/>
                    <a:pt x="41077" y="58729"/>
                  </a:cubicBezTo>
                  <a:lnTo>
                    <a:pt x="41077" y="58729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06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4351620" y="5703662"/>
            <a:ext cx="435622" cy="402209"/>
            <a:chOff x="4351620" y="5703662"/>
            <a:chExt cx="435622" cy="402209"/>
          </a:xfrm>
          <a:solidFill>
            <a:srgbClr val="B1B1A1"/>
          </a:solidFill>
        </p:grpSpPr>
        <p:sp>
          <p:nvSpPr>
            <p:cNvPr id="207" name="Forma Livre: Forma 206">
              <a:extLst>
                <a:ext uri="{FF2B5EF4-FFF2-40B4-BE49-F238E27FC236}">
                  <a16:creationId xmlns:a16="http://schemas.microsoft.com/office/drawing/2014/main" id="{BA0ACDDC-8724-49B7-A275-76E933E99C23}"/>
                </a:ext>
              </a:extLst>
            </p:cNvPr>
            <p:cNvSpPr/>
            <p:nvPr/>
          </p:nvSpPr>
          <p:spPr>
            <a:xfrm>
              <a:off x="4455640" y="6022656"/>
              <a:ext cx="35303" cy="35303"/>
            </a:xfrm>
            <a:custGeom>
              <a:avLst/>
              <a:gdLst>
                <a:gd name="connsiteX0" fmla="*/ 35304 w 35303"/>
                <a:gd name="connsiteY0" fmla="*/ 17652 h 35303"/>
                <a:gd name="connsiteX1" fmla="*/ 17652 w 35303"/>
                <a:gd name="connsiteY1" fmla="*/ 35304 h 35303"/>
                <a:gd name="connsiteX2" fmla="*/ 0 w 35303"/>
                <a:gd name="connsiteY2" fmla="*/ 17652 h 35303"/>
                <a:gd name="connsiteX3" fmla="*/ 17652 w 35303"/>
                <a:gd name="connsiteY3" fmla="*/ 0 h 35303"/>
                <a:gd name="connsiteX4" fmla="*/ 35304 w 35303"/>
                <a:gd name="connsiteY4" fmla="*/ 17652 h 35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303" h="35303">
                  <a:moveTo>
                    <a:pt x="35304" y="17652"/>
                  </a:moveTo>
                  <a:cubicBezTo>
                    <a:pt x="35304" y="27739"/>
                    <a:pt x="27108" y="35304"/>
                    <a:pt x="17652" y="35304"/>
                  </a:cubicBezTo>
                  <a:cubicBezTo>
                    <a:pt x="7565" y="35304"/>
                    <a:pt x="0" y="27108"/>
                    <a:pt x="0" y="17652"/>
                  </a:cubicBezTo>
                  <a:cubicBezTo>
                    <a:pt x="0" y="7565"/>
                    <a:pt x="8196" y="0"/>
                    <a:pt x="17652" y="0"/>
                  </a:cubicBezTo>
                  <a:cubicBezTo>
                    <a:pt x="27739" y="0"/>
                    <a:pt x="35304" y="8195"/>
                    <a:pt x="35304" y="17652"/>
                  </a:cubicBez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08" name="Forma Livre: Forma 207">
              <a:extLst>
                <a:ext uri="{FF2B5EF4-FFF2-40B4-BE49-F238E27FC236}">
                  <a16:creationId xmlns:a16="http://schemas.microsoft.com/office/drawing/2014/main" id="{8EC30446-1D90-4EE9-BBB9-37547BD3E58F}"/>
                </a:ext>
              </a:extLst>
            </p:cNvPr>
            <p:cNvSpPr/>
            <p:nvPr/>
          </p:nvSpPr>
          <p:spPr>
            <a:xfrm>
              <a:off x="4501660" y="5703662"/>
              <a:ext cx="285581" cy="227582"/>
            </a:xfrm>
            <a:custGeom>
              <a:avLst/>
              <a:gdLst>
                <a:gd name="connsiteX0" fmla="*/ 44130 w 285581"/>
                <a:gd name="connsiteY0" fmla="*/ 227582 h 227582"/>
                <a:gd name="connsiteX1" fmla="*/ 40347 w 285581"/>
                <a:gd name="connsiteY1" fmla="*/ 226952 h 227582"/>
                <a:gd name="connsiteX2" fmla="*/ 35934 w 285581"/>
                <a:gd name="connsiteY2" fmla="*/ 219387 h 227582"/>
                <a:gd name="connsiteX3" fmla="*/ 35934 w 285581"/>
                <a:gd name="connsiteY3" fmla="*/ 180931 h 227582"/>
                <a:gd name="connsiteX4" fmla="*/ 20804 w 285581"/>
                <a:gd name="connsiteY4" fmla="*/ 180931 h 227582"/>
                <a:gd name="connsiteX5" fmla="*/ 0 w 285581"/>
                <a:gd name="connsiteY5" fmla="*/ 160127 h 227582"/>
                <a:gd name="connsiteX6" fmla="*/ 0 w 285581"/>
                <a:gd name="connsiteY6" fmla="*/ 20804 h 227582"/>
                <a:gd name="connsiteX7" fmla="*/ 20804 w 285581"/>
                <a:gd name="connsiteY7" fmla="*/ 0 h 227582"/>
                <a:gd name="connsiteX8" fmla="*/ 264777 w 285581"/>
                <a:gd name="connsiteY8" fmla="*/ 0 h 227582"/>
                <a:gd name="connsiteX9" fmla="*/ 285582 w 285581"/>
                <a:gd name="connsiteY9" fmla="*/ 20804 h 227582"/>
                <a:gd name="connsiteX10" fmla="*/ 285582 w 285581"/>
                <a:gd name="connsiteY10" fmla="*/ 160127 h 227582"/>
                <a:gd name="connsiteX11" fmla="*/ 264777 w 285581"/>
                <a:gd name="connsiteY11" fmla="*/ 180931 h 227582"/>
                <a:gd name="connsiteX12" fmla="*/ 106542 w 285581"/>
                <a:gd name="connsiteY12" fmla="*/ 180931 h 227582"/>
                <a:gd name="connsiteX13" fmla="*/ 49804 w 285581"/>
                <a:gd name="connsiteY13" fmla="*/ 225691 h 227582"/>
                <a:gd name="connsiteX14" fmla="*/ 44130 w 285581"/>
                <a:gd name="connsiteY14" fmla="*/ 227582 h 227582"/>
                <a:gd name="connsiteX15" fmla="*/ 44130 w 285581"/>
                <a:gd name="connsiteY15" fmla="*/ 227582 h 227582"/>
                <a:gd name="connsiteX16" fmla="*/ 20174 w 285581"/>
                <a:gd name="connsiteY16" fmla="*/ 17021 h 227582"/>
                <a:gd name="connsiteX17" fmla="*/ 16391 w 285581"/>
                <a:gd name="connsiteY17" fmla="*/ 20804 h 227582"/>
                <a:gd name="connsiteX18" fmla="*/ 16391 w 285581"/>
                <a:gd name="connsiteY18" fmla="*/ 160127 h 227582"/>
                <a:gd name="connsiteX19" fmla="*/ 20174 w 285581"/>
                <a:gd name="connsiteY19" fmla="*/ 163910 h 227582"/>
                <a:gd name="connsiteX20" fmla="*/ 43499 w 285581"/>
                <a:gd name="connsiteY20" fmla="*/ 163910 h 227582"/>
                <a:gd name="connsiteX21" fmla="*/ 51695 w 285581"/>
                <a:gd name="connsiteY21" fmla="*/ 172105 h 227582"/>
                <a:gd name="connsiteX22" fmla="*/ 51695 w 285581"/>
                <a:gd name="connsiteY22" fmla="*/ 201105 h 227582"/>
                <a:gd name="connsiteX23" fmla="*/ 97085 w 285581"/>
                <a:gd name="connsiteY23" fmla="*/ 165170 h 227582"/>
                <a:gd name="connsiteX24" fmla="*/ 102129 w 285581"/>
                <a:gd name="connsiteY24" fmla="*/ 163279 h 227582"/>
                <a:gd name="connsiteX25" fmla="*/ 263517 w 285581"/>
                <a:gd name="connsiteY25" fmla="*/ 163279 h 227582"/>
                <a:gd name="connsiteX26" fmla="*/ 267299 w 285581"/>
                <a:gd name="connsiteY26" fmla="*/ 159497 h 227582"/>
                <a:gd name="connsiteX27" fmla="*/ 267299 w 285581"/>
                <a:gd name="connsiteY27" fmla="*/ 20173 h 227582"/>
                <a:gd name="connsiteX28" fmla="*/ 263517 w 285581"/>
                <a:gd name="connsiteY28" fmla="*/ 16391 h 227582"/>
                <a:gd name="connsiteX29" fmla="*/ 20174 w 285581"/>
                <a:gd name="connsiteY29" fmla="*/ 16391 h 227582"/>
                <a:gd name="connsiteX30" fmla="*/ 20174 w 285581"/>
                <a:gd name="connsiteY30" fmla="*/ 17021 h 227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85581" h="227582">
                  <a:moveTo>
                    <a:pt x="44130" y="227582"/>
                  </a:moveTo>
                  <a:cubicBezTo>
                    <a:pt x="42869" y="227582"/>
                    <a:pt x="41608" y="227582"/>
                    <a:pt x="40347" y="226952"/>
                  </a:cubicBezTo>
                  <a:cubicBezTo>
                    <a:pt x="37195" y="225691"/>
                    <a:pt x="35934" y="222539"/>
                    <a:pt x="35934" y="219387"/>
                  </a:cubicBezTo>
                  <a:lnTo>
                    <a:pt x="35934" y="180931"/>
                  </a:lnTo>
                  <a:lnTo>
                    <a:pt x="20804" y="180931"/>
                  </a:lnTo>
                  <a:cubicBezTo>
                    <a:pt x="9456" y="180931"/>
                    <a:pt x="0" y="171475"/>
                    <a:pt x="0" y="160127"/>
                  </a:cubicBezTo>
                  <a:lnTo>
                    <a:pt x="0" y="20804"/>
                  </a:lnTo>
                  <a:cubicBezTo>
                    <a:pt x="0" y="9456"/>
                    <a:pt x="9456" y="0"/>
                    <a:pt x="20804" y="0"/>
                  </a:cubicBezTo>
                  <a:lnTo>
                    <a:pt x="264777" y="0"/>
                  </a:lnTo>
                  <a:cubicBezTo>
                    <a:pt x="276125" y="0"/>
                    <a:pt x="285582" y="9456"/>
                    <a:pt x="285582" y="20804"/>
                  </a:cubicBezTo>
                  <a:lnTo>
                    <a:pt x="285582" y="160127"/>
                  </a:lnTo>
                  <a:cubicBezTo>
                    <a:pt x="285582" y="171475"/>
                    <a:pt x="276125" y="180931"/>
                    <a:pt x="264777" y="180931"/>
                  </a:cubicBezTo>
                  <a:lnTo>
                    <a:pt x="106542" y="180931"/>
                  </a:lnTo>
                  <a:lnTo>
                    <a:pt x="49804" y="225691"/>
                  </a:lnTo>
                  <a:cubicBezTo>
                    <a:pt x="47282" y="226952"/>
                    <a:pt x="45390" y="227582"/>
                    <a:pt x="44130" y="227582"/>
                  </a:cubicBezTo>
                  <a:lnTo>
                    <a:pt x="44130" y="227582"/>
                  </a:lnTo>
                  <a:close/>
                  <a:moveTo>
                    <a:pt x="20174" y="17021"/>
                  </a:moveTo>
                  <a:cubicBezTo>
                    <a:pt x="17652" y="17021"/>
                    <a:pt x="16391" y="18913"/>
                    <a:pt x="16391" y="20804"/>
                  </a:cubicBezTo>
                  <a:lnTo>
                    <a:pt x="16391" y="160127"/>
                  </a:lnTo>
                  <a:cubicBezTo>
                    <a:pt x="16391" y="162649"/>
                    <a:pt x="18282" y="163910"/>
                    <a:pt x="20174" y="163910"/>
                  </a:cubicBezTo>
                  <a:lnTo>
                    <a:pt x="43499" y="163910"/>
                  </a:lnTo>
                  <a:cubicBezTo>
                    <a:pt x="47912" y="163910"/>
                    <a:pt x="51695" y="167692"/>
                    <a:pt x="51695" y="172105"/>
                  </a:cubicBezTo>
                  <a:lnTo>
                    <a:pt x="51695" y="201105"/>
                  </a:lnTo>
                  <a:lnTo>
                    <a:pt x="97085" y="165170"/>
                  </a:lnTo>
                  <a:cubicBezTo>
                    <a:pt x="98346" y="163910"/>
                    <a:pt x="100237" y="163279"/>
                    <a:pt x="102129" y="163279"/>
                  </a:cubicBezTo>
                  <a:lnTo>
                    <a:pt x="263517" y="163279"/>
                  </a:lnTo>
                  <a:cubicBezTo>
                    <a:pt x="266038" y="163279"/>
                    <a:pt x="267299" y="161388"/>
                    <a:pt x="267299" y="159497"/>
                  </a:cubicBezTo>
                  <a:lnTo>
                    <a:pt x="267299" y="20173"/>
                  </a:lnTo>
                  <a:cubicBezTo>
                    <a:pt x="267299" y="17652"/>
                    <a:pt x="265408" y="16391"/>
                    <a:pt x="263517" y="16391"/>
                  </a:cubicBezTo>
                  <a:lnTo>
                    <a:pt x="20174" y="16391"/>
                  </a:lnTo>
                  <a:lnTo>
                    <a:pt x="20174" y="1702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09" name="Forma Livre: Forma 208">
              <a:extLst>
                <a:ext uri="{FF2B5EF4-FFF2-40B4-BE49-F238E27FC236}">
                  <a16:creationId xmlns:a16="http://schemas.microsoft.com/office/drawing/2014/main" id="{23CF903A-A382-4D99-A047-975A6657D9BB}"/>
                </a:ext>
              </a:extLst>
            </p:cNvPr>
            <p:cNvSpPr/>
            <p:nvPr/>
          </p:nvSpPr>
          <p:spPr>
            <a:xfrm>
              <a:off x="4392597" y="5801377"/>
              <a:ext cx="160757" cy="206147"/>
            </a:xfrm>
            <a:custGeom>
              <a:avLst/>
              <a:gdLst>
                <a:gd name="connsiteX0" fmla="*/ 152562 w 160757"/>
                <a:gd name="connsiteY0" fmla="*/ 206148 h 206147"/>
                <a:gd name="connsiteX1" fmla="*/ 8196 w 160757"/>
                <a:gd name="connsiteY1" fmla="*/ 206148 h 206147"/>
                <a:gd name="connsiteX2" fmla="*/ 0 w 160757"/>
                <a:gd name="connsiteY2" fmla="*/ 197952 h 206147"/>
                <a:gd name="connsiteX3" fmla="*/ 0 w 160757"/>
                <a:gd name="connsiteY3" fmla="*/ 8195 h 206147"/>
                <a:gd name="connsiteX4" fmla="*/ 8196 w 160757"/>
                <a:gd name="connsiteY4" fmla="*/ 0 h 206147"/>
                <a:gd name="connsiteX5" fmla="*/ 112846 w 160757"/>
                <a:gd name="connsiteY5" fmla="*/ 0 h 206147"/>
                <a:gd name="connsiteX6" fmla="*/ 121041 w 160757"/>
                <a:gd name="connsiteY6" fmla="*/ 8195 h 206147"/>
                <a:gd name="connsiteX7" fmla="*/ 112846 w 160757"/>
                <a:gd name="connsiteY7" fmla="*/ 16391 h 206147"/>
                <a:gd name="connsiteX8" fmla="*/ 16391 w 160757"/>
                <a:gd name="connsiteY8" fmla="*/ 16391 h 206147"/>
                <a:gd name="connsiteX9" fmla="*/ 16391 w 160757"/>
                <a:gd name="connsiteY9" fmla="*/ 189757 h 206147"/>
                <a:gd name="connsiteX10" fmla="*/ 144367 w 160757"/>
                <a:gd name="connsiteY10" fmla="*/ 189757 h 206147"/>
                <a:gd name="connsiteX11" fmla="*/ 144367 w 160757"/>
                <a:gd name="connsiteY11" fmla="*/ 109693 h 206147"/>
                <a:gd name="connsiteX12" fmla="*/ 152562 w 160757"/>
                <a:gd name="connsiteY12" fmla="*/ 101498 h 206147"/>
                <a:gd name="connsiteX13" fmla="*/ 160758 w 160757"/>
                <a:gd name="connsiteY13" fmla="*/ 109693 h 206147"/>
                <a:gd name="connsiteX14" fmla="*/ 160758 w 160757"/>
                <a:gd name="connsiteY14" fmla="*/ 197952 h 206147"/>
                <a:gd name="connsiteX15" fmla="*/ 152562 w 160757"/>
                <a:gd name="connsiteY15" fmla="*/ 206148 h 206147"/>
                <a:gd name="connsiteX16" fmla="*/ 152562 w 160757"/>
                <a:gd name="connsiteY16" fmla="*/ 206148 h 206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60757" h="206147">
                  <a:moveTo>
                    <a:pt x="152562" y="206148"/>
                  </a:moveTo>
                  <a:lnTo>
                    <a:pt x="8196" y="206148"/>
                  </a:lnTo>
                  <a:cubicBezTo>
                    <a:pt x="3783" y="206148"/>
                    <a:pt x="0" y="202365"/>
                    <a:pt x="0" y="197952"/>
                  </a:cubicBezTo>
                  <a:lnTo>
                    <a:pt x="0" y="8195"/>
                  </a:lnTo>
                  <a:cubicBezTo>
                    <a:pt x="0" y="3782"/>
                    <a:pt x="3783" y="0"/>
                    <a:pt x="8196" y="0"/>
                  </a:cubicBezTo>
                  <a:lnTo>
                    <a:pt x="112846" y="0"/>
                  </a:lnTo>
                  <a:cubicBezTo>
                    <a:pt x="117259" y="0"/>
                    <a:pt x="121041" y="3782"/>
                    <a:pt x="121041" y="8195"/>
                  </a:cubicBezTo>
                  <a:cubicBezTo>
                    <a:pt x="121041" y="12608"/>
                    <a:pt x="117259" y="16391"/>
                    <a:pt x="112846" y="16391"/>
                  </a:cubicBezTo>
                  <a:lnTo>
                    <a:pt x="16391" y="16391"/>
                  </a:lnTo>
                  <a:lnTo>
                    <a:pt x="16391" y="189757"/>
                  </a:lnTo>
                  <a:lnTo>
                    <a:pt x="144367" y="189757"/>
                  </a:lnTo>
                  <a:lnTo>
                    <a:pt x="144367" y="109693"/>
                  </a:lnTo>
                  <a:cubicBezTo>
                    <a:pt x="144367" y="105280"/>
                    <a:pt x="148149" y="101498"/>
                    <a:pt x="152562" y="101498"/>
                  </a:cubicBezTo>
                  <a:cubicBezTo>
                    <a:pt x="156975" y="101498"/>
                    <a:pt x="160758" y="105280"/>
                    <a:pt x="160758" y="109693"/>
                  </a:cubicBezTo>
                  <a:lnTo>
                    <a:pt x="160758" y="197952"/>
                  </a:lnTo>
                  <a:cubicBezTo>
                    <a:pt x="160758" y="202996"/>
                    <a:pt x="157606" y="206148"/>
                    <a:pt x="152562" y="206148"/>
                  </a:cubicBezTo>
                  <a:lnTo>
                    <a:pt x="152562" y="206148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10" name="Forma Livre: Forma 209">
              <a:extLst>
                <a:ext uri="{FF2B5EF4-FFF2-40B4-BE49-F238E27FC236}">
                  <a16:creationId xmlns:a16="http://schemas.microsoft.com/office/drawing/2014/main" id="{9F07E92D-18EA-4615-9A6E-CFE394A35E0A}"/>
                </a:ext>
              </a:extLst>
            </p:cNvPr>
            <p:cNvSpPr/>
            <p:nvPr/>
          </p:nvSpPr>
          <p:spPr>
            <a:xfrm>
              <a:off x="4351620" y="5743378"/>
              <a:ext cx="242749" cy="362492"/>
            </a:xfrm>
            <a:custGeom>
              <a:avLst/>
              <a:gdLst>
                <a:gd name="connsiteX0" fmla="*/ 226322 w 242749"/>
                <a:gd name="connsiteY0" fmla="*/ 362493 h 362492"/>
                <a:gd name="connsiteX1" fmla="*/ 16391 w 242749"/>
                <a:gd name="connsiteY1" fmla="*/ 362493 h 362492"/>
                <a:gd name="connsiteX2" fmla="*/ 0 w 242749"/>
                <a:gd name="connsiteY2" fmla="*/ 346102 h 362492"/>
                <a:gd name="connsiteX3" fmla="*/ 0 w 242749"/>
                <a:gd name="connsiteY3" fmla="*/ 16391 h 362492"/>
                <a:gd name="connsiteX4" fmla="*/ 16391 w 242749"/>
                <a:gd name="connsiteY4" fmla="*/ 0 h 362492"/>
                <a:gd name="connsiteX5" fmla="*/ 160758 w 242749"/>
                <a:gd name="connsiteY5" fmla="*/ 0 h 362492"/>
                <a:gd name="connsiteX6" fmla="*/ 160758 w 242749"/>
                <a:gd name="connsiteY6" fmla="*/ 33412 h 362492"/>
                <a:gd name="connsiteX7" fmla="*/ 32782 w 242749"/>
                <a:gd name="connsiteY7" fmla="*/ 33412 h 362492"/>
                <a:gd name="connsiteX8" fmla="*/ 32782 w 242749"/>
                <a:gd name="connsiteY8" fmla="*/ 329711 h 362492"/>
                <a:gd name="connsiteX9" fmla="*/ 209300 w 242749"/>
                <a:gd name="connsiteY9" fmla="*/ 329711 h 362492"/>
                <a:gd name="connsiteX10" fmla="*/ 209300 w 242749"/>
                <a:gd name="connsiteY10" fmla="*/ 163910 h 362492"/>
                <a:gd name="connsiteX11" fmla="*/ 242713 w 242749"/>
                <a:gd name="connsiteY11" fmla="*/ 151301 h 362492"/>
                <a:gd name="connsiteX12" fmla="*/ 242713 w 242749"/>
                <a:gd name="connsiteY12" fmla="*/ 346732 h 362492"/>
                <a:gd name="connsiteX13" fmla="*/ 226322 w 242749"/>
                <a:gd name="connsiteY13" fmla="*/ 362493 h 362492"/>
                <a:gd name="connsiteX14" fmla="*/ 226322 w 242749"/>
                <a:gd name="connsiteY14" fmla="*/ 362493 h 36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2749" h="362492">
                  <a:moveTo>
                    <a:pt x="226322" y="362493"/>
                  </a:moveTo>
                  <a:lnTo>
                    <a:pt x="16391" y="362493"/>
                  </a:lnTo>
                  <a:cubicBezTo>
                    <a:pt x="6935" y="362493"/>
                    <a:pt x="0" y="354928"/>
                    <a:pt x="0" y="346102"/>
                  </a:cubicBezTo>
                  <a:lnTo>
                    <a:pt x="0" y="16391"/>
                  </a:lnTo>
                  <a:cubicBezTo>
                    <a:pt x="0" y="6934"/>
                    <a:pt x="7565" y="0"/>
                    <a:pt x="16391" y="0"/>
                  </a:cubicBezTo>
                  <a:lnTo>
                    <a:pt x="160758" y="0"/>
                  </a:lnTo>
                  <a:lnTo>
                    <a:pt x="160758" y="33412"/>
                  </a:lnTo>
                  <a:lnTo>
                    <a:pt x="32782" y="33412"/>
                  </a:lnTo>
                  <a:lnTo>
                    <a:pt x="32782" y="329711"/>
                  </a:lnTo>
                  <a:lnTo>
                    <a:pt x="209300" y="329711"/>
                  </a:lnTo>
                  <a:lnTo>
                    <a:pt x="209300" y="163910"/>
                  </a:lnTo>
                  <a:lnTo>
                    <a:pt x="242713" y="151301"/>
                  </a:lnTo>
                  <a:lnTo>
                    <a:pt x="242713" y="346732"/>
                  </a:lnTo>
                  <a:cubicBezTo>
                    <a:pt x="243343" y="355558"/>
                    <a:pt x="235778" y="362493"/>
                    <a:pt x="226322" y="362493"/>
                  </a:cubicBezTo>
                  <a:lnTo>
                    <a:pt x="226322" y="362493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211" name="Gráfico 2">
              <a:extLst>
                <a:ext uri="{FF2B5EF4-FFF2-40B4-BE49-F238E27FC236}">
                  <a16:creationId xmlns:a16="http://schemas.microsoft.com/office/drawing/2014/main" id="{1EC2913E-D059-42A1-91F3-F6BAB2F166E6}"/>
                </a:ext>
              </a:extLst>
            </p:cNvPr>
            <p:cNvGrpSpPr/>
            <p:nvPr/>
          </p:nvGrpSpPr>
          <p:grpSpPr>
            <a:xfrm>
              <a:off x="4538855" y="5752204"/>
              <a:ext cx="207409" cy="79433"/>
              <a:chOff x="4538855" y="5752204"/>
              <a:chExt cx="207409" cy="79433"/>
            </a:xfrm>
            <a:grpFill/>
          </p:grpSpPr>
          <p:sp>
            <p:nvSpPr>
              <p:cNvPr id="212" name="Forma Livre: Forma 211">
                <a:extLst>
                  <a:ext uri="{FF2B5EF4-FFF2-40B4-BE49-F238E27FC236}">
                    <a16:creationId xmlns:a16="http://schemas.microsoft.com/office/drawing/2014/main" id="{B19F6EE6-8798-4BF7-ADE6-D3A122E9029C}"/>
                  </a:ext>
                </a:extLst>
              </p:cNvPr>
              <p:cNvSpPr/>
              <p:nvPr/>
            </p:nvSpPr>
            <p:spPr>
              <a:xfrm>
                <a:off x="4538855" y="5752204"/>
                <a:ext cx="59890" cy="79433"/>
              </a:xfrm>
              <a:custGeom>
                <a:avLst/>
                <a:gdLst>
                  <a:gd name="connsiteX0" fmla="*/ 59890 w 59890"/>
                  <a:gd name="connsiteY0" fmla="*/ 54847 h 79433"/>
                  <a:gd name="connsiteX1" fmla="*/ 56108 w 59890"/>
                  <a:gd name="connsiteY1" fmla="*/ 67455 h 79433"/>
                  <a:gd name="connsiteX2" fmla="*/ 46021 w 59890"/>
                  <a:gd name="connsiteY2" fmla="*/ 76281 h 79433"/>
                  <a:gd name="connsiteX3" fmla="*/ 29630 w 59890"/>
                  <a:gd name="connsiteY3" fmla="*/ 79433 h 79433"/>
                  <a:gd name="connsiteX4" fmla="*/ 11348 w 59890"/>
                  <a:gd name="connsiteY4" fmla="*/ 75020 h 79433"/>
                  <a:gd name="connsiteX5" fmla="*/ 3152 w 59890"/>
                  <a:gd name="connsiteY5" fmla="*/ 66825 h 79433"/>
                  <a:gd name="connsiteX6" fmla="*/ 0 w 59890"/>
                  <a:gd name="connsiteY6" fmla="*/ 56738 h 79433"/>
                  <a:gd name="connsiteX7" fmla="*/ 1891 w 59890"/>
                  <a:gd name="connsiteY7" fmla="*/ 51695 h 79433"/>
                  <a:gd name="connsiteX8" fmla="*/ 6934 w 59890"/>
                  <a:gd name="connsiteY8" fmla="*/ 49804 h 79433"/>
                  <a:gd name="connsiteX9" fmla="*/ 11348 w 59890"/>
                  <a:gd name="connsiteY9" fmla="*/ 51064 h 79433"/>
                  <a:gd name="connsiteX10" fmla="*/ 14500 w 59890"/>
                  <a:gd name="connsiteY10" fmla="*/ 55477 h 79433"/>
                  <a:gd name="connsiteX11" fmla="*/ 17652 w 59890"/>
                  <a:gd name="connsiteY11" fmla="*/ 61782 h 79433"/>
                  <a:gd name="connsiteX12" fmla="*/ 22065 w 59890"/>
                  <a:gd name="connsiteY12" fmla="*/ 65564 h 79433"/>
                  <a:gd name="connsiteX13" fmla="*/ 30260 w 59890"/>
                  <a:gd name="connsiteY13" fmla="*/ 67455 h 79433"/>
                  <a:gd name="connsiteX14" fmla="*/ 41608 w 59890"/>
                  <a:gd name="connsiteY14" fmla="*/ 64303 h 79433"/>
                  <a:gd name="connsiteX15" fmla="*/ 46021 w 59890"/>
                  <a:gd name="connsiteY15" fmla="*/ 56108 h 79433"/>
                  <a:gd name="connsiteX16" fmla="*/ 43499 w 59890"/>
                  <a:gd name="connsiteY16" fmla="*/ 49804 h 79433"/>
                  <a:gd name="connsiteX17" fmla="*/ 37825 w 59890"/>
                  <a:gd name="connsiteY17" fmla="*/ 46021 h 79433"/>
                  <a:gd name="connsiteX18" fmla="*/ 28369 w 59890"/>
                  <a:gd name="connsiteY18" fmla="*/ 43499 h 79433"/>
                  <a:gd name="connsiteX19" fmla="*/ 14500 w 59890"/>
                  <a:gd name="connsiteY19" fmla="*/ 39086 h 79433"/>
                  <a:gd name="connsiteX20" fmla="*/ 5674 w 59890"/>
                  <a:gd name="connsiteY20" fmla="*/ 32152 h 79433"/>
                  <a:gd name="connsiteX21" fmla="*/ 2522 w 59890"/>
                  <a:gd name="connsiteY21" fmla="*/ 21435 h 79433"/>
                  <a:gd name="connsiteX22" fmla="*/ 5674 w 59890"/>
                  <a:gd name="connsiteY22" fmla="*/ 10087 h 79433"/>
                  <a:gd name="connsiteX23" fmla="*/ 15761 w 59890"/>
                  <a:gd name="connsiteY23" fmla="*/ 2522 h 79433"/>
                  <a:gd name="connsiteX24" fmla="*/ 30891 w 59890"/>
                  <a:gd name="connsiteY24" fmla="*/ 0 h 79433"/>
                  <a:gd name="connsiteX25" fmla="*/ 42869 w 59890"/>
                  <a:gd name="connsiteY25" fmla="*/ 1892 h 79433"/>
                  <a:gd name="connsiteX26" fmla="*/ 51064 w 59890"/>
                  <a:gd name="connsiteY26" fmla="*/ 6304 h 79433"/>
                  <a:gd name="connsiteX27" fmla="*/ 56108 w 59890"/>
                  <a:gd name="connsiteY27" fmla="*/ 12608 h 79433"/>
                  <a:gd name="connsiteX28" fmla="*/ 57368 w 59890"/>
                  <a:gd name="connsiteY28" fmla="*/ 18913 h 79433"/>
                  <a:gd name="connsiteX29" fmla="*/ 55477 w 59890"/>
                  <a:gd name="connsiteY29" fmla="*/ 23956 h 79433"/>
                  <a:gd name="connsiteX30" fmla="*/ 50434 w 59890"/>
                  <a:gd name="connsiteY30" fmla="*/ 25848 h 79433"/>
                  <a:gd name="connsiteX31" fmla="*/ 46651 w 59890"/>
                  <a:gd name="connsiteY31" fmla="*/ 24587 h 79433"/>
                  <a:gd name="connsiteX32" fmla="*/ 43499 w 59890"/>
                  <a:gd name="connsiteY32" fmla="*/ 20174 h 79433"/>
                  <a:gd name="connsiteX33" fmla="*/ 38456 w 59890"/>
                  <a:gd name="connsiteY33" fmla="*/ 13239 h 79433"/>
                  <a:gd name="connsiteX34" fmla="*/ 28999 w 59890"/>
                  <a:gd name="connsiteY34" fmla="*/ 10717 h 79433"/>
                  <a:gd name="connsiteX35" fmla="*/ 19543 w 59890"/>
                  <a:gd name="connsiteY35" fmla="*/ 13239 h 79433"/>
                  <a:gd name="connsiteX36" fmla="*/ 15761 w 59890"/>
                  <a:gd name="connsiteY36" fmla="*/ 19543 h 79433"/>
                  <a:gd name="connsiteX37" fmla="*/ 17021 w 59890"/>
                  <a:gd name="connsiteY37" fmla="*/ 23326 h 79433"/>
                  <a:gd name="connsiteX38" fmla="*/ 20174 w 59890"/>
                  <a:gd name="connsiteY38" fmla="*/ 25848 h 79433"/>
                  <a:gd name="connsiteX39" fmla="*/ 24587 w 59890"/>
                  <a:gd name="connsiteY39" fmla="*/ 27739 h 79433"/>
                  <a:gd name="connsiteX40" fmla="*/ 32151 w 59890"/>
                  <a:gd name="connsiteY40" fmla="*/ 29630 h 79433"/>
                  <a:gd name="connsiteX41" fmla="*/ 43499 w 59890"/>
                  <a:gd name="connsiteY41" fmla="*/ 32782 h 79433"/>
                  <a:gd name="connsiteX42" fmla="*/ 52325 w 59890"/>
                  <a:gd name="connsiteY42" fmla="*/ 37195 h 79433"/>
                  <a:gd name="connsiteX43" fmla="*/ 57999 w 59890"/>
                  <a:gd name="connsiteY43" fmla="*/ 43499 h 79433"/>
                  <a:gd name="connsiteX44" fmla="*/ 59890 w 59890"/>
                  <a:gd name="connsiteY44" fmla="*/ 54847 h 79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59890" h="79433">
                    <a:moveTo>
                      <a:pt x="59890" y="54847"/>
                    </a:moveTo>
                    <a:cubicBezTo>
                      <a:pt x="59890" y="59260"/>
                      <a:pt x="58629" y="63673"/>
                      <a:pt x="56108" y="67455"/>
                    </a:cubicBezTo>
                    <a:cubicBezTo>
                      <a:pt x="53586" y="71238"/>
                      <a:pt x="50434" y="73760"/>
                      <a:pt x="46021" y="76281"/>
                    </a:cubicBezTo>
                    <a:cubicBezTo>
                      <a:pt x="41608" y="78173"/>
                      <a:pt x="35934" y="79433"/>
                      <a:pt x="29630" y="79433"/>
                    </a:cubicBezTo>
                    <a:cubicBezTo>
                      <a:pt x="22065" y="79433"/>
                      <a:pt x="15761" y="78173"/>
                      <a:pt x="11348" y="75020"/>
                    </a:cubicBezTo>
                    <a:cubicBezTo>
                      <a:pt x="8195" y="73129"/>
                      <a:pt x="5043" y="69977"/>
                      <a:pt x="3152" y="66825"/>
                    </a:cubicBezTo>
                    <a:cubicBezTo>
                      <a:pt x="1261" y="63673"/>
                      <a:pt x="0" y="59890"/>
                      <a:pt x="0" y="56738"/>
                    </a:cubicBezTo>
                    <a:cubicBezTo>
                      <a:pt x="0" y="54847"/>
                      <a:pt x="630" y="53586"/>
                      <a:pt x="1891" y="51695"/>
                    </a:cubicBezTo>
                    <a:cubicBezTo>
                      <a:pt x="3152" y="50434"/>
                      <a:pt x="5043" y="49804"/>
                      <a:pt x="6934" y="49804"/>
                    </a:cubicBezTo>
                    <a:cubicBezTo>
                      <a:pt x="8826" y="49804"/>
                      <a:pt x="10087" y="50434"/>
                      <a:pt x="11348" y="51064"/>
                    </a:cubicBezTo>
                    <a:cubicBezTo>
                      <a:pt x="12608" y="52325"/>
                      <a:pt x="13239" y="53586"/>
                      <a:pt x="14500" y="55477"/>
                    </a:cubicBezTo>
                    <a:cubicBezTo>
                      <a:pt x="15761" y="57999"/>
                      <a:pt x="16391" y="59890"/>
                      <a:pt x="17652" y="61782"/>
                    </a:cubicBezTo>
                    <a:cubicBezTo>
                      <a:pt x="18913" y="63673"/>
                      <a:pt x="20174" y="64934"/>
                      <a:pt x="22065" y="65564"/>
                    </a:cubicBezTo>
                    <a:cubicBezTo>
                      <a:pt x="23956" y="66825"/>
                      <a:pt x="26478" y="67455"/>
                      <a:pt x="30260" y="67455"/>
                    </a:cubicBezTo>
                    <a:cubicBezTo>
                      <a:pt x="34673" y="67455"/>
                      <a:pt x="38456" y="66194"/>
                      <a:pt x="41608" y="64303"/>
                    </a:cubicBezTo>
                    <a:cubicBezTo>
                      <a:pt x="44130" y="62412"/>
                      <a:pt x="46021" y="59260"/>
                      <a:pt x="46021" y="56108"/>
                    </a:cubicBezTo>
                    <a:cubicBezTo>
                      <a:pt x="46021" y="53586"/>
                      <a:pt x="45390" y="51695"/>
                      <a:pt x="43499" y="49804"/>
                    </a:cubicBezTo>
                    <a:cubicBezTo>
                      <a:pt x="42238" y="47912"/>
                      <a:pt x="39717" y="47282"/>
                      <a:pt x="37825" y="46021"/>
                    </a:cubicBezTo>
                    <a:cubicBezTo>
                      <a:pt x="35304" y="45391"/>
                      <a:pt x="32151" y="44130"/>
                      <a:pt x="28369" y="43499"/>
                    </a:cubicBezTo>
                    <a:cubicBezTo>
                      <a:pt x="22695" y="42238"/>
                      <a:pt x="18282" y="40977"/>
                      <a:pt x="14500" y="39086"/>
                    </a:cubicBezTo>
                    <a:cubicBezTo>
                      <a:pt x="10717" y="37195"/>
                      <a:pt x="8195" y="35304"/>
                      <a:pt x="5674" y="32152"/>
                    </a:cubicBezTo>
                    <a:cubicBezTo>
                      <a:pt x="3782" y="29000"/>
                      <a:pt x="2522" y="25848"/>
                      <a:pt x="2522" y="21435"/>
                    </a:cubicBezTo>
                    <a:cubicBezTo>
                      <a:pt x="2522" y="17021"/>
                      <a:pt x="3782" y="13869"/>
                      <a:pt x="5674" y="10087"/>
                    </a:cubicBezTo>
                    <a:cubicBezTo>
                      <a:pt x="8195" y="6935"/>
                      <a:pt x="11348" y="4413"/>
                      <a:pt x="15761" y="2522"/>
                    </a:cubicBezTo>
                    <a:cubicBezTo>
                      <a:pt x="20174" y="631"/>
                      <a:pt x="25217" y="0"/>
                      <a:pt x="30891" y="0"/>
                    </a:cubicBezTo>
                    <a:cubicBezTo>
                      <a:pt x="35304" y="0"/>
                      <a:pt x="39717" y="631"/>
                      <a:pt x="42869" y="1892"/>
                    </a:cubicBezTo>
                    <a:cubicBezTo>
                      <a:pt x="46021" y="3152"/>
                      <a:pt x="49173" y="4413"/>
                      <a:pt x="51064" y="6304"/>
                    </a:cubicBezTo>
                    <a:cubicBezTo>
                      <a:pt x="53586" y="8196"/>
                      <a:pt x="54847" y="10087"/>
                      <a:pt x="56108" y="12608"/>
                    </a:cubicBezTo>
                    <a:cubicBezTo>
                      <a:pt x="57368" y="14500"/>
                      <a:pt x="57368" y="17021"/>
                      <a:pt x="57368" y="18913"/>
                    </a:cubicBezTo>
                    <a:cubicBezTo>
                      <a:pt x="57368" y="20804"/>
                      <a:pt x="56738" y="22695"/>
                      <a:pt x="55477" y="23956"/>
                    </a:cubicBezTo>
                    <a:cubicBezTo>
                      <a:pt x="54216" y="25217"/>
                      <a:pt x="52325" y="25848"/>
                      <a:pt x="50434" y="25848"/>
                    </a:cubicBezTo>
                    <a:cubicBezTo>
                      <a:pt x="48543" y="25848"/>
                      <a:pt x="47282" y="25217"/>
                      <a:pt x="46651" y="24587"/>
                    </a:cubicBezTo>
                    <a:cubicBezTo>
                      <a:pt x="46021" y="23956"/>
                      <a:pt x="44760" y="22065"/>
                      <a:pt x="43499" y="20174"/>
                    </a:cubicBezTo>
                    <a:cubicBezTo>
                      <a:pt x="42238" y="17021"/>
                      <a:pt x="40347" y="15130"/>
                      <a:pt x="38456" y="13239"/>
                    </a:cubicBezTo>
                    <a:cubicBezTo>
                      <a:pt x="36564" y="11348"/>
                      <a:pt x="33412" y="10717"/>
                      <a:pt x="28999" y="10717"/>
                    </a:cubicBezTo>
                    <a:cubicBezTo>
                      <a:pt x="25217" y="10717"/>
                      <a:pt x="22065" y="11348"/>
                      <a:pt x="19543" y="13239"/>
                    </a:cubicBezTo>
                    <a:cubicBezTo>
                      <a:pt x="17021" y="15130"/>
                      <a:pt x="15761" y="17021"/>
                      <a:pt x="15761" y="19543"/>
                    </a:cubicBezTo>
                    <a:cubicBezTo>
                      <a:pt x="15761" y="20804"/>
                      <a:pt x="16391" y="22065"/>
                      <a:pt x="17021" y="23326"/>
                    </a:cubicBezTo>
                    <a:cubicBezTo>
                      <a:pt x="17652" y="24587"/>
                      <a:pt x="18913" y="25217"/>
                      <a:pt x="20174" y="25848"/>
                    </a:cubicBezTo>
                    <a:cubicBezTo>
                      <a:pt x="21435" y="26478"/>
                      <a:pt x="23326" y="27108"/>
                      <a:pt x="24587" y="27739"/>
                    </a:cubicBezTo>
                    <a:cubicBezTo>
                      <a:pt x="25847" y="28369"/>
                      <a:pt x="28369" y="29000"/>
                      <a:pt x="32151" y="29630"/>
                    </a:cubicBezTo>
                    <a:cubicBezTo>
                      <a:pt x="36564" y="30891"/>
                      <a:pt x="40347" y="31521"/>
                      <a:pt x="43499" y="32782"/>
                    </a:cubicBezTo>
                    <a:cubicBezTo>
                      <a:pt x="46651" y="34043"/>
                      <a:pt x="49804" y="35304"/>
                      <a:pt x="52325" y="37195"/>
                    </a:cubicBezTo>
                    <a:cubicBezTo>
                      <a:pt x="54847" y="39086"/>
                      <a:pt x="56738" y="40977"/>
                      <a:pt x="57999" y="43499"/>
                    </a:cubicBezTo>
                    <a:cubicBezTo>
                      <a:pt x="59260" y="47912"/>
                      <a:pt x="59890" y="51064"/>
                      <a:pt x="59890" y="54847"/>
                    </a:cubicBez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13" name="Forma Livre: Forma 212">
                <a:extLst>
                  <a:ext uri="{FF2B5EF4-FFF2-40B4-BE49-F238E27FC236}">
                    <a16:creationId xmlns:a16="http://schemas.microsoft.com/office/drawing/2014/main" id="{F565AE8A-285A-4928-B28C-46A652390FDC}"/>
                  </a:ext>
                </a:extLst>
              </p:cNvPr>
              <p:cNvSpPr/>
              <p:nvPr/>
            </p:nvSpPr>
            <p:spPr>
              <a:xfrm>
                <a:off x="4605680" y="5754096"/>
                <a:ext cx="72498" cy="76911"/>
              </a:xfrm>
              <a:custGeom>
                <a:avLst/>
                <a:gdLst>
                  <a:gd name="connsiteX0" fmla="*/ 25848 w 72498"/>
                  <a:gd name="connsiteY0" fmla="*/ 64303 h 76911"/>
                  <a:gd name="connsiteX1" fmla="*/ 13869 w 72498"/>
                  <a:gd name="connsiteY1" fmla="*/ 16391 h 76911"/>
                  <a:gd name="connsiteX2" fmla="*/ 13869 w 72498"/>
                  <a:gd name="connsiteY2" fmla="*/ 68716 h 76911"/>
                  <a:gd name="connsiteX3" fmla="*/ 11978 w 72498"/>
                  <a:gd name="connsiteY3" fmla="*/ 75020 h 76911"/>
                  <a:gd name="connsiteX4" fmla="*/ 6935 w 72498"/>
                  <a:gd name="connsiteY4" fmla="*/ 76911 h 76911"/>
                  <a:gd name="connsiteX5" fmla="*/ 1892 w 72498"/>
                  <a:gd name="connsiteY5" fmla="*/ 75020 h 76911"/>
                  <a:gd name="connsiteX6" fmla="*/ 0 w 72498"/>
                  <a:gd name="connsiteY6" fmla="*/ 68716 h 76911"/>
                  <a:gd name="connsiteX7" fmla="*/ 0 w 72498"/>
                  <a:gd name="connsiteY7" fmla="*/ 8826 h 76911"/>
                  <a:gd name="connsiteX8" fmla="*/ 2522 w 72498"/>
                  <a:gd name="connsiteY8" fmla="*/ 1891 h 76911"/>
                  <a:gd name="connsiteX9" fmla="*/ 9456 w 72498"/>
                  <a:gd name="connsiteY9" fmla="*/ 0 h 76911"/>
                  <a:gd name="connsiteX10" fmla="*/ 13869 w 72498"/>
                  <a:gd name="connsiteY10" fmla="*/ 0 h 76911"/>
                  <a:gd name="connsiteX11" fmla="*/ 20174 w 72498"/>
                  <a:gd name="connsiteY11" fmla="*/ 630 h 76911"/>
                  <a:gd name="connsiteX12" fmla="*/ 23326 w 72498"/>
                  <a:gd name="connsiteY12" fmla="*/ 3152 h 76911"/>
                  <a:gd name="connsiteX13" fmla="*/ 25217 w 72498"/>
                  <a:gd name="connsiteY13" fmla="*/ 9456 h 76911"/>
                  <a:gd name="connsiteX14" fmla="*/ 35934 w 72498"/>
                  <a:gd name="connsiteY14" fmla="*/ 51064 h 76911"/>
                  <a:gd name="connsiteX15" fmla="*/ 46651 w 72498"/>
                  <a:gd name="connsiteY15" fmla="*/ 9456 h 76911"/>
                  <a:gd name="connsiteX16" fmla="*/ 48543 w 72498"/>
                  <a:gd name="connsiteY16" fmla="*/ 3152 h 76911"/>
                  <a:gd name="connsiteX17" fmla="*/ 51695 w 72498"/>
                  <a:gd name="connsiteY17" fmla="*/ 630 h 76911"/>
                  <a:gd name="connsiteX18" fmla="*/ 57999 w 72498"/>
                  <a:gd name="connsiteY18" fmla="*/ 0 h 76911"/>
                  <a:gd name="connsiteX19" fmla="*/ 63042 w 72498"/>
                  <a:gd name="connsiteY19" fmla="*/ 0 h 76911"/>
                  <a:gd name="connsiteX20" fmla="*/ 69977 w 72498"/>
                  <a:gd name="connsiteY20" fmla="*/ 1891 h 76911"/>
                  <a:gd name="connsiteX21" fmla="*/ 72499 w 72498"/>
                  <a:gd name="connsiteY21" fmla="*/ 8826 h 76911"/>
                  <a:gd name="connsiteX22" fmla="*/ 72499 w 72498"/>
                  <a:gd name="connsiteY22" fmla="*/ 68716 h 76911"/>
                  <a:gd name="connsiteX23" fmla="*/ 70607 w 72498"/>
                  <a:gd name="connsiteY23" fmla="*/ 75020 h 76911"/>
                  <a:gd name="connsiteX24" fmla="*/ 65564 w 72498"/>
                  <a:gd name="connsiteY24" fmla="*/ 76911 h 76911"/>
                  <a:gd name="connsiteX25" fmla="*/ 60521 w 72498"/>
                  <a:gd name="connsiteY25" fmla="*/ 75020 h 76911"/>
                  <a:gd name="connsiteX26" fmla="*/ 58630 w 72498"/>
                  <a:gd name="connsiteY26" fmla="*/ 68716 h 76911"/>
                  <a:gd name="connsiteX27" fmla="*/ 58630 w 72498"/>
                  <a:gd name="connsiteY27" fmla="*/ 16391 h 76911"/>
                  <a:gd name="connsiteX28" fmla="*/ 46651 w 72498"/>
                  <a:gd name="connsiteY28" fmla="*/ 64303 h 76911"/>
                  <a:gd name="connsiteX29" fmla="*/ 44760 w 72498"/>
                  <a:gd name="connsiteY29" fmla="*/ 71238 h 76911"/>
                  <a:gd name="connsiteX30" fmla="*/ 42238 w 72498"/>
                  <a:gd name="connsiteY30" fmla="*/ 75020 h 76911"/>
                  <a:gd name="connsiteX31" fmla="*/ 36565 w 72498"/>
                  <a:gd name="connsiteY31" fmla="*/ 76911 h 76911"/>
                  <a:gd name="connsiteX32" fmla="*/ 32152 w 72498"/>
                  <a:gd name="connsiteY32" fmla="*/ 75651 h 76911"/>
                  <a:gd name="connsiteX33" fmla="*/ 29000 w 72498"/>
                  <a:gd name="connsiteY33" fmla="*/ 72499 h 76911"/>
                  <a:gd name="connsiteX34" fmla="*/ 27108 w 72498"/>
                  <a:gd name="connsiteY34" fmla="*/ 68716 h 76911"/>
                  <a:gd name="connsiteX35" fmla="*/ 25848 w 72498"/>
                  <a:gd name="connsiteY35" fmla="*/ 64303 h 76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72498" h="76911">
                    <a:moveTo>
                      <a:pt x="25848" y="64303"/>
                    </a:moveTo>
                    <a:lnTo>
                      <a:pt x="13869" y="16391"/>
                    </a:lnTo>
                    <a:lnTo>
                      <a:pt x="13869" y="68716"/>
                    </a:lnTo>
                    <a:cubicBezTo>
                      <a:pt x="13869" y="71868"/>
                      <a:pt x="13239" y="73759"/>
                      <a:pt x="11978" y="75020"/>
                    </a:cubicBezTo>
                    <a:cubicBezTo>
                      <a:pt x="10717" y="76281"/>
                      <a:pt x="8826" y="76911"/>
                      <a:pt x="6935" y="76911"/>
                    </a:cubicBezTo>
                    <a:cubicBezTo>
                      <a:pt x="5044" y="76911"/>
                      <a:pt x="3152" y="76281"/>
                      <a:pt x="1892" y="75020"/>
                    </a:cubicBezTo>
                    <a:cubicBezTo>
                      <a:pt x="631" y="73759"/>
                      <a:pt x="0" y="71238"/>
                      <a:pt x="0" y="68716"/>
                    </a:cubicBezTo>
                    <a:lnTo>
                      <a:pt x="0" y="8826"/>
                    </a:lnTo>
                    <a:cubicBezTo>
                      <a:pt x="0" y="5674"/>
                      <a:pt x="631" y="3152"/>
                      <a:pt x="2522" y="1891"/>
                    </a:cubicBezTo>
                    <a:cubicBezTo>
                      <a:pt x="4413" y="630"/>
                      <a:pt x="6304" y="0"/>
                      <a:pt x="9456" y="0"/>
                    </a:cubicBezTo>
                    <a:lnTo>
                      <a:pt x="13869" y="0"/>
                    </a:lnTo>
                    <a:cubicBezTo>
                      <a:pt x="17021" y="0"/>
                      <a:pt x="18913" y="0"/>
                      <a:pt x="20174" y="630"/>
                    </a:cubicBezTo>
                    <a:cubicBezTo>
                      <a:pt x="21435" y="1261"/>
                      <a:pt x="22695" y="1891"/>
                      <a:pt x="23326" y="3152"/>
                    </a:cubicBezTo>
                    <a:cubicBezTo>
                      <a:pt x="23956" y="4413"/>
                      <a:pt x="24587" y="6934"/>
                      <a:pt x="25217" y="9456"/>
                    </a:cubicBezTo>
                    <a:lnTo>
                      <a:pt x="35934" y="51064"/>
                    </a:lnTo>
                    <a:lnTo>
                      <a:pt x="46651" y="9456"/>
                    </a:lnTo>
                    <a:cubicBezTo>
                      <a:pt x="47282" y="6304"/>
                      <a:pt x="47912" y="4413"/>
                      <a:pt x="48543" y="3152"/>
                    </a:cubicBezTo>
                    <a:cubicBezTo>
                      <a:pt x="49173" y="1891"/>
                      <a:pt x="49804" y="630"/>
                      <a:pt x="51695" y="630"/>
                    </a:cubicBezTo>
                    <a:cubicBezTo>
                      <a:pt x="52956" y="0"/>
                      <a:pt x="54847" y="0"/>
                      <a:pt x="57999" y="0"/>
                    </a:cubicBezTo>
                    <a:lnTo>
                      <a:pt x="63042" y="0"/>
                    </a:lnTo>
                    <a:cubicBezTo>
                      <a:pt x="66194" y="0"/>
                      <a:pt x="68086" y="630"/>
                      <a:pt x="69977" y="1891"/>
                    </a:cubicBezTo>
                    <a:cubicBezTo>
                      <a:pt x="71868" y="3152"/>
                      <a:pt x="72499" y="5043"/>
                      <a:pt x="72499" y="8826"/>
                    </a:cubicBezTo>
                    <a:lnTo>
                      <a:pt x="72499" y="68716"/>
                    </a:lnTo>
                    <a:cubicBezTo>
                      <a:pt x="72499" y="71868"/>
                      <a:pt x="71868" y="73759"/>
                      <a:pt x="70607" y="75020"/>
                    </a:cubicBezTo>
                    <a:cubicBezTo>
                      <a:pt x="69346" y="76281"/>
                      <a:pt x="67455" y="76911"/>
                      <a:pt x="65564" y="76911"/>
                    </a:cubicBezTo>
                    <a:cubicBezTo>
                      <a:pt x="63673" y="76911"/>
                      <a:pt x="61782" y="76281"/>
                      <a:pt x="60521" y="75020"/>
                    </a:cubicBezTo>
                    <a:cubicBezTo>
                      <a:pt x="59260" y="73759"/>
                      <a:pt x="58630" y="71238"/>
                      <a:pt x="58630" y="68716"/>
                    </a:cubicBezTo>
                    <a:lnTo>
                      <a:pt x="58630" y="16391"/>
                    </a:lnTo>
                    <a:lnTo>
                      <a:pt x="46651" y="64303"/>
                    </a:lnTo>
                    <a:cubicBezTo>
                      <a:pt x="46021" y="67455"/>
                      <a:pt x="45390" y="69977"/>
                      <a:pt x="44760" y="71238"/>
                    </a:cubicBezTo>
                    <a:cubicBezTo>
                      <a:pt x="44130" y="72499"/>
                      <a:pt x="43499" y="73759"/>
                      <a:pt x="42238" y="75020"/>
                    </a:cubicBezTo>
                    <a:cubicBezTo>
                      <a:pt x="40977" y="76281"/>
                      <a:pt x="39086" y="76911"/>
                      <a:pt x="36565" y="76911"/>
                    </a:cubicBezTo>
                    <a:cubicBezTo>
                      <a:pt x="34673" y="76911"/>
                      <a:pt x="33413" y="76281"/>
                      <a:pt x="32152" y="75651"/>
                    </a:cubicBezTo>
                    <a:cubicBezTo>
                      <a:pt x="30891" y="75020"/>
                      <a:pt x="29630" y="73759"/>
                      <a:pt x="29000" y="72499"/>
                    </a:cubicBezTo>
                    <a:cubicBezTo>
                      <a:pt x="28369" y="71238"/>
                      <a:pt x="27739" y="69977"/>
                      <a:pt x="27108" y="68716"/>
                    </a:cubicBezTo>
                    <a:cubicBezTo>
                      <a:pt x="27108" y="67455"/>
                      <a:pt x="26478" y="65564"/>
                      <a:pt x="25848" y="64303"/>
                    </a:cubicBez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14" name="Forma Livre: Forma 213">
                <a:extLst>
                  <a:ext uri="{FF2B5EF4-FFF2-40B4-BE49-F238E27FC236}">
                    <a16:creationId xmlns:a16="http://schemas.microsoft.com/office/drawing/2014/main" id="{2899044E-4298-4477-ADE1-732D0D1E095F}"/>
                  </a:ext>
                </a:extLst>
              </p:cNvPr>
              <p:cNvSpPr/>
              <p:nvPr/>
            </p:nvSpPr>
            <p:spPr>
              <a:xfrm>
                <a:off x="4686374" y="5752204"/>
                <a:ext cx="59890" cy="79433"/>
              </a:xfrm>
              <a:custGeom>
                <a:avLst/>
                <a:gdLst>
                  <a:gd name="connsiteX0" fmla="*/ 59890 w 59890"/>
                  <a:gd name="connsiteY0" fmla="*/ 54847 h 79433"/>
                  <a:gd name="connsiteX1" fmla="*/ 56107 w 59890"/>
                  <a:gd name="connsiteY1" fmla="*/ 67455 h 79433"/>
                  <a:gd name="connsiteX2" fmla="*/ 46021 w 59890"/>
                  <a:gd name="connsiteY2" fmla="*/ 76281 h 79433"/>
                  <a:gd name="connsiteX3" fmla="*/ 29630 w 59890"/>
                  <a:gd name="connsiteY3" fmla="*/ 79433 h 79433"/>
                  <a:gd name="connsiteX4" fmla="*/ 11348 w 59890"/>
                  <a:gd name="connsiteY4" fmla="*/ 75020 h 79433"/>
                  <a:gd name="connsiteX5" fmla="*/ 3152 w 59890"/>
                  <a:gd name="connsiteY5" fmla="*/ 66825 h 79433"/>
                  <a:gd name="connsiteX6" fmla="*/ 0 w 59890"/>
                  <a:gd name="connsiteY6" fmla="*/ 56738 h 79433"/>
                  <a:gd name="connsiteX7" fmla="*/ 1891 w 59890"/>
                  <a:gd name="connsiteY7" fmla="*/ 51695 h 79433"/>
                  <a:gd name="connsiteX8" fmla="*/ 6934 w 59890"/>
                  <a:gd name="connsiteY8" fmla="*/ 49804 h 79433"/>
                  <a:gd name="connsiteX9" fmla="*/ 11348 w 59890"/>
                  <a:gd name="connsiteY9" fmla="*/ 51064 h 79433"/>
                  <a:gd name="connsiteX10" fmla="*/ 14500 w 59890"/>
                  <a:gd name="connsiteY10" fmla="*/ 55477 h 79433"/>
                  <a:gd name="connsiteX11" fmla="*/ 17652 w 59890"/>
                  <a:gd name="connsiteY11" fmla="*/ 61782 h 79433"/>
                  <a:gd name="connsiteX12" fmla="*/ 22065 w 59890"/>
                  <a:gd name="connsiteY12" fmla="*/ 65564 h 79433"/>
                  <a:gd name="connsiteX13" fmla="*/ 30260 w 59890"/>
                  <a:gd name="connsiteY13" fmla="*/ 67455 h 79433"/>
                  <a:gd name="connsiteX14" fmla="*/ 41608 w 59890"/>
                  <a:gd name="connsiteY14" fmla="*/ 64303 h 79433"/>
                  <a:gd name="connsiteX15" fmla="*/ 46021 w 59890"/>
                  <a:gd name="connsiteY15" fmla="*/ 56108 h 79433"/>
                  <a:gd name="connsiteX16" fmla="*/ 43499 w 59890"/>
                  <a:gd name="connsiteY16" fmla="*/ 49804 h 79433"/>
                  <a:gd name="connsiteX17" fmla="*/ 37825 w 59890"/>
                  <a:gd name="connsiteY17" fmla="*/ 46021 h 79433"/>
                  <a:gd name="connsiteX18" fmla="*/ 28369 w 59890"/>
                  <a:gd name="connsiteY18" fmla="*/ 43499 h 79433"/>
                  <a:gd name="connsiteX19" fmla="*/ 14500 w 59890"/>
                  <a:gd name="connsiteY19" fmla="*/ 39086 h 79433"/>
                  <a:gd name="connsiteX20" fmla="*/ 5674 w 59890"/>
                  <a:gd name="connsiteY20" fmla="*/ 32152 h 79433"/>
                  <a:gd name="connsiteX21" fmla="*/ 2521 w 59890"/>
                  <a:gd name="connsiteY21" fmla="*/ 21435 h 79433"/>
                  <a:gd name="connsiteX22" fmla="*/ 5674 w 59890"/>
                  <a:gd name="connsiteY22" fmla="*/ 10087 h 79433"/>
                  <a:gd name="connsiteX23" fmla="*/ 15761 w 59890"/>
                  <a:gd name="connsiteY23" fmla="*/ 2522 h 79433"/>
                  <a:gd name="connsiteX24" fmla="*/ 30890 w 59890"/>
                  <a:gd name="connsiteY24" fmla="*/ 0 h 79433"/>
                  <a:gd name="connsiteX25" fmla="*/ 42869 w 59890"/>
                  <a:gd name="connsiteY25" fmla="*/ 1892 h 79433"/>
                  <a:gd name="connsiteX26" fmla="*/ 51064 w 59890"/>
                  <a:gd name="connsiteY26" fmla="*/ 6304 h 79433"/>
                  <a:gd name="connsiteX27" fmla="*/ 56107 w 59890"/>
                  <a:gd name="connsiteY27" fmla="*/ 12608 h 79433"/>
                  <a:gd name="connsiteX28" fmla="*/ 57368 w 59890"/>
                  <a:gd name="connsiteY28" fmla="*/ 18913 h 79433"/>
                  <a:gd name="connsiteX29" fmla="*/ 55477 w 59890"/>
                  <a:gd name="connsiteY29" fmla="*/ 23956 h 79433"/>
                  <a:gd name="connsiteX30" fmla="*/ 50434 w 59890"/>
                  <a:gd name="connsiteY30" fmla="*/ 25848 h 79433"/>
                  <a:gd name="connsiteX31" fmla="*/ 46651 w 59890"/>
                  <a:gd name="connsiteY31" fmla="*/ 24587 h 79433"/>
                  <a:gd name="connsiteX32" fmla="*/ 43499 w 59890"/>
                  <a:gd name="connsiteY32" fmla="*/ 20174 h 79433"/>
                  <a:gd name="connsiteX33" fmla="*/ 38456 w 59890"/>
                  <a:gd name="connsiteY33" fmla="*/ 13239 h 79433"/>
                  <a:gd name="connsiteX34" fmla="*/ 28999 w 59890"/>
                  <a:gd name="connsiteY34" fmla="*/ 10717 h 79433"/>
                  <a:gd name="connsiteX35" fmla="*/ 19543 w 59890"/>
                  <a:gd name="connsiteY35" fmla="*/ 13239 h 79433"/>
                  <a:gd name="connsiteX36" fmla="*/ 15761 w 59890"/>
                  <a:gd name="connsiteY36" fmla="*/ 19543 h 79433"/>
                  <a:gd name="connsiteX37" fmla="*/ 17021 w 59890"/>
                  <a:gd name="connsiteY37" fmla="*/ 23326 h 79433"/>
                  <a:gd name="connsiteX38" fmla="*/ 20173 w 59890"/>
                  <a:gd name="connsiteY38" fmla="*/ 25848 h 79433"/>
                  <a:gd name="connsiteX39" fmla="*/ 24586 w 59890"/>
                  <a:gd name="connsiteY39" fmla="*/ 27739 h 79433"/>
                  <a:gd name="connsiteX40" fmla="*/ 32151 w 59890"/>
                  <a:gd name="connsiteY40" fmla="*/ 29630 h 79433"/>
                  <a:gd name="connsiteX41" fmla="*/ 43499 w 59890"/>
                  <a:gd name="connsiteY41" fmla="*/ 32782 h 79433"/>
                  <a:gd name="connsiteX42" fmla="*/ 52325 w 59890"/>
                  <a:gd name="connsiteY42" fmla="*/ 37195 h 79433"/>
                  <a:gd name="connsiteX43" fmla="*/ 57999 w 59890"/>
                  <a:gd name="connsiteY43" fmla="*/ 43499 h 79433"/>
                  <a:gd name="connsiteX44" fmla="*/ 59890 w 59890"/>
                  <a:gd name="connsiteY44" fmla="*/ 54847 h 79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59890" h="79433">
                    <a:moveTo>
                      <a:pt x="59890" y="54847"/>
                    </a:moveTo>
                    <a:cubicBezTo>
                      <a:pt x="59890" y="59260"/>
                      <a:pt x="58629" y="63673"/>
                      <a:pt x="56107" y="67455"/>
                    </a:cubicBezTo>
                    <a:cubicBezTo>
                      <a:pt x="53586" y="71238"/>
                      <a:pt x="50434" y="73760"/>
                      <a:pt x="46021" y="76281"/>
                    </a:cubicBezTo>
                    <a:cubicBezTo>
                      <a:pt x="41608" y="78173"/>
                      <a:pt x="35934" y="79433"/>
                      <a:pt x="29630" y="79433"/>
                    </a:cubicBezTo>
                    <a:cubicBezTo>
                      <a:pt x="22065" y="79433"/>
                      <a:pt x="15761" y="78173"/>
                      <a:pt x="11348" y="75020"/>
                    </a:cubicBezTo>
                    <a:cubicBezTo>
                      <a:pt x="8195" y="73129"/>
                      <a:pt x="5043" y="69977"/>
                      <a:pt x="3152" y="66825"/>
                    </a:cubicBezTo>
                    <a:cubicBezTo>
                      <a:pt x="1261" y="63673"/>
                      <a:pt x="0" y="59890"/>
                      <a:pt x="0" y="56738"/>
                    </a:cubicBezTo>
                    <a:cubicBezTo>
                      <a:pt x="0" y="54847"/>
                      <a:pt x="630" y="53586"/>
                      <a:pt x="1891" y="51695"/>
                    </a:cubicBezTo>
                    <a:cubicBezTo>
                      <a:pt x="3152" y="50434"/>
                      <a:pt x="5043" y="49804"/>
                      <a:pt x="6934" y="49804"/>
                    </a:cubicBezTo>
                    <a:cubicBezTo>
                      <a:pt x="8826" y="49804"/>
                      <a:pt x="10087" y="50434"/>
                      <a:pt x="11348" y="51064"/>
                    </a:cubicBezTo>
                    <a:cubicBezTo>
                      <a:pt x="12608" y="52325"/>
                      <a:pt x="13239" y="53586"/>
                      <a:pt x="14500" y="55477"/>
                    </a:cubicBezTo>
                    <a:cubicBezTo>
                      <a:pt x="15761" y="57999"/>
                      <a:pt x="16391" y="59890"/>
                      <a:pt x="17652" y="61782"/>
                    </a:cubicBezTo>
                    <a:cubicBezTo>
                      <a:pt x="18913" y="63673"/>
                      <a:pt x="20173" y="64934"/>
                      <a:pt x="22065" y="65564"/>
                    </a:cubicBezTo>
                    <a:cubicBezTo>
                      <a:pt x="23956" y="66825"/>
                      <a:pt x="26477" y="67455"/>
                      <a:pt x="30260" y="67455"/>
                    </a:cubicBezTo>
                    <a:cubicBezTo>
                      <a:pt x="34673" y="67455"/>
                      <a:pt x="38456" y="66194"/>
                      <a:pt x="41608" y="64303"/>
                    </a:cubicBezTo>
                    <a:cubicBezTo>
                      <a:pt x="44130" y="62412"/>
                      <a:pt x="46021" y="59260"/>
                      <a:pt x="46021" y="56108"/>
                    </a:cubicBezTo>
                    <a:cubicBezTo>
                      <a:pt x="46021" y="53586"/>
                      <a:pt x="45390" y="51695"/>
                      <a:pt x="43499" y="49804"/>
                    </a:cubicBezTo>
                    <a:cubicBezTo>
                      <a:pt x="42238" y="47912"/>
                      <a:pt x="39717" y="47282"/>
                      <a:pt x="37825" y="46021"/>
                    </a:cubicBezTo>
                    <a:cubicBezTo>
                      <a:pt x="35304" y="45391"/>
                      <a:pt x="32151" y="44130"/>
                      <a:pt x="28369" y="43499"/>
                    </a:cubicBezTo>
                    <a:cubicBezTo>
                      <a:pt x="22695" y="42238"/>
                      <a:pt x="18282" y="40977"/>
                      <a:pt x="14500" y="39086"/>
                    </a:cubicBezTo>
                    <a:cubicBezTo>
                      <a:pt x="10717" y="37195"/>
                      <a:pt x="8195" y="35304"/>
                      <a:pt x="5674" y="32152"/>
                    </a:cubicBezTo>
                    <a:cubicBezTo>
                      <a:pt x="3782" y="29000"/>
                      <a:pt x="2521" y="25848"/>
                      <a:pt x="2521" y="21435"/>
                    </a:cubicBezTo>
                    <a:cubicBezTo>
                      <a:pt x="2521" y="17021"/>
                      <a:pt x="3782" y="13869"/>
                      <a:pt x="5674" y="10087"/>
                    </a:cubicBezTo>
                    <a:cubicBezTo>
                      <a:pt x="8195" y="6935"/>
                      <a:pt x="11348" y="4413"/>
                      <a:pt x="15761" y="2522"/>
                    </a:cubicBezTo>
                    <a:cubicBezTo>
                      <a:pt x="20173" y="631"/>
                      <a:pt x="25217" y="0"/>
                      <a:pt x="30890" y="0"/>
                    </a:cubicBezTo>
                    <a:cubicBezTo>
                      <a:pt x="35304" y="0"/>
                      <a:pt x="39717" y="631"/>
                      <a:pt x="42869" y="1892"/>
                    </a:cubicBezTo>
                    <a:cubicBezTo>
                      <a:pt x="46021" y="3152"/>
                      <a:pt x="49173" y="4413"/>
                      <a:pt x="51064" y="6304"/>
                    </a:cubicBezTo>
                    <a:cubicBezTo>
                      <a:pt x="53586" y="8196"/>
                      <a:pt x="54846" y="10087"/>
                      <a:pt x="56107" y="12608"/>
                    </a:cubicBezTo>
                    <a:cubicBezTo>
                      <a:pt x="57368" y="14500"/>
                      <a:pt x="57368" y="17021"/>
                      <a:pt x="57368" y="18913"/>
                    </a:cubicBezTo>
                    <a:cubicBezTo>
                      <a:pt x="57368" y="20804"/>
                      <a:pt x="56738" y="22695"/>
                      <a:pt x="55477" y="23956"/>
                    </a:cubicBezTo>
                    <a:cubicBezTo>
                      <a:pt x="54216" y="25217"/>
                      <a:pt x="52325" y="25848"/>
                      <a:pt x="50434" y="25848"/>
                    </a:cubicBezTo>
                    <a:cubicBezTo>
                      <a:pt x="48542" y="25848"/>
                      <a:pt x="47282" y="25217"/>
                      <a:pt x="46651" y="24587"/>
                    </a:cubicBezTo>
                    <a:cubicBezTo>
                      <a:pt x="46021" y="23956"/>
                      <a:pt x="44760" y="22065"/>
                      <a:pt x="43499" y="20174"/>
                    </a:cubicBezTo>
                    <a:cubicBezTo>
                      <a:pt x="42238" y="17021"/>
                      <a:pt x="40347" y="15130"/>
                      <a:pt x="38456" y="13239"/>
                    </a:cubicBezTo>
                    <a:cubicBezTo>
                      <a:pt x="36564" y="11348"/>
                      <a:pt x="33412" y="10717"/>
                      <a:pt x="28999" y="10717"/>
                    </a:cubicBezTo>
                    <a:cubicBezTo>
                      <a:pt x="25217" y="10717"/>
                      <a:pt x="22065" y="11348"/>
                      <a:pt x="19543" y="13239"/>
                    </a:cubicBezTo>
                    <a:cubicBezTo>
                      <a:pt x="17021" y="15130"/>
                      <a:pt x="15761" y="17021"/>
                      <a:pt x="15761" y="19543"/>
                    </a:cubicBezTo>
                    <a:cubicBezTo>
                      <a:pt x="15761" y="20804"/>
                      <a:pt x="16391" y="22065"/>
                      <a:pt x="17021" y="23326"/>
                    </a:cubicBezTo>
                    <a:cubicBezTo>
                      <a:pt x="17652" y="24587"/>
                      <a:pt x="18913" y="25217"/>
                      <a:pt x="20173" y="25848"/>
                    </a:cubicBezTo>
                    <a:cubicBezTo>
                      <a:pt x="21434" y="26478"/>
                      <a:pt x="23325" y="27108"/>
                      <a:pt x="24586" y="27739"/>
                    </a:cubicBezTo>
                    <a:cubicBezTo>
                      <a:pt x="25847" y="28369"/>
                      <a:pt x="28369" y="29000"/>
                      <a:pt x="32151" y="29630"/>
                    </a:cubicBezTo>
                    <a:cubicBezTo>
                      <a:pt x="36564" y="30891"/>
                      <a:pt x="40347" y="31521"/>
                      <a:pt x="43499" y="32782"/>
                    </a:cubicBezTo>
                    <a:cubicBezTo>
                      <a:pt x="47282" y="34043"/>
                      <a:pt x="49803" y="35304"/>
                      <a:pt x="52325" y="37195"/>
                    </a:cubicBezTo>
                    <a:cubicBezTo>
                      <a:pt x="54846" y="39086"/>
                      <a:pt x="56738" y="40977"/>
                      <a:pt x="57999" y="43499"/>
                    </a:cubicBezTo>
                    <a:cubicBezTo>
                      <a:pt x="59259" y="47912"/>
                      <a:pt x="59890" y="51064"/>
                      <a:pt x="59890" y="54847"/>
                    </a:cubicBez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215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5371643" y="5703662"/>
            <a:ext cx="435622" cy="402209"/>
            <a:chOff x="5371643" y="5703662"/>
            <a:chExt cx="435622" cy="402209"/>
          </a:xfrm>
          <a:solidFill>
            <a:srgbClr val="B1B1A1"/>
          </a:solidFill>
        </p:grpSpPr>
        <p:sp>
          <p:nvSpPr>
            <p:cNvPr id="216" name="Forma Livre: Forma 215">
              <a:extLst>
                <a:ext uri="{FF2B5EF4-FFF2-40B4-BE49-F238E27FC236}">
                  <a16:creationId xmlns:a16="http://schemas.microsoft.com/office/drawing/2014/main" id="{0ED562AB-1BC8-4B3D-8A23-089A0FEDE5B3}"/>
                </a:ext>
              </a:extLst>
            </p:cNvPr>
            <p:cNvSpPr/>
            <p:nvPr/>
          </p:nvSpPr>
          <p:spPr>
            <a:xfrm>
              <a:off x="5475663" y="6022656"/>
              <a:ext cx="35303" cy="35303"/>
            </a:xfrm>
            <a:custGeom>
              <a:avLst/>
              <a:gdLst>
                <a:gd name="connsiteX0" fmla="*/ 35304 w 35303"/>
                <a:gd name="connsiteY0" fmla="*/ 17652 h 35303"/>
                <a:gd name="connsiteX1" fmla="*/ 17652 w 35303"/>
                <a:gd name="connsiteY1" fmla="*/ 35304 h 35303"/>
                <a:gd name="connsiteX2" fmla="*/ 0 w 35303"/>
                <a:gd name="connsiteY2" fmla="*/ 17652 h 35303"/>
                <a:gd name="connsiteX3" fmla="*/ 17652 w 35303"/>
                <a:gd name="connsiteY3" fmla="*/ 0 h 35303"/>
                <a:gd name="connsiteX4" fmla="*/ 35304 w 35303"/>
                <a:gd name="connsiteY4" fmla="*/ 17652 h 35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303" h="35303">
                  <a:moveTo>
                    <a:pt x="35304" y="17652"/>
                  </a:moveTo>
                  <a:cubicBezTo>
                    <a:pt x="35304" y="27739"/>
                    <a:pt x="27108" y="35304"/>
                    <a:pt x="17652" y="35304"/>
                  </a:cubicBezTo>
                  <a:cubicBezTo>
                    <a:pt x="7565" y="35304"/>
                    <a:pt x="0" y="27108"/>
                    <a:pt x="0" y="17652"/>
                  </a:cubicBezTo>
                  <a:cubicBezTo>
                    <a:pt x="0" y="7565"/>
                    <a:pt x="8196" y="0"/>
                    <a:pt x="17652" y="0"/>
                  </a:cubicBezTo>
                  <a:cubicBezTo>
                    <a:pt x="27108" y="0"/>
                    <a:pt x="35304" y="8195"/>
                    <a:pt x="35304" y="17652"/>
                  </a:cubicBez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17" name="Forma Livre: Forma 216">
              <a:extLst>
                <a:ext uri="{FF2B5EF4-FFF2-40B4-BE49-F238E27FC236}">
                  <a16:creationId xmlns:a16="http://schemas.microsoft.com/office/drawing/2014/main" id="{DC9EFA7E-8646-4E0A-B5D8-F3232AD4638E}"/>
                </a:ext>
              </a:extLst>
            </p:cNvPr>
            <p:cNvSpPr/>
            <p:nvPr/>
          </p:nvSpPr>
          <p:spPr>
            <a:xfrm>
              <a:off x="5521684" y="5703662"/>
              <a:ext cx="285581" cy="227582"/>
            </a:xfrm>
            <a:custGeom>
              <a:avLst/>
              <a:gdLst>
                <a:gd name="connsiteX0" fmla="*/ 44130 w 285581"/>
                <a:gd name="connsiteY0" fmla="*/ 227582 h 227582"/>
                <a:gd name="connsiteX1" fmla="*/ 40347 w 285581"/>
                <a:gd name="connsiteY1" fmla="*/ 226952 h 227582"/>
                <a:gd name="connsiteX2" fmla="*/ 35934 w 285581"/>
                <a:gd name="connsiteY2" fmla="*/ 219387 h 227582"/>
                <a:gd name="connsiteX3" fmla="*/ 35934 w 285581"/>
                <a:gd name="connsiteY3" fmla="*/ 180931 h 227582"/>
                <a:gd name="connsiteX4" fmla="*/ 20804 w 285581"/>
                <a:gd name="connsiteY4" fmla="*/ 180931 h 227582"/>
                <a:gd name="connsiteX5" fmla="*/ 0 w 285581"/>
                <a:gd name="connsiteY5" fmla="*/ 160127 h 227582"/>
                <a:gd name="connsiteX6" fmla="*/ 0 w 285581"/>
                <a:gd name="connsiteY6" fmla="*/ 20804 h 227582"/>
                <a:gd name="connsiteX7" fmla="*/ 20804 w 285581"/>
                <a:gd name="connsiteY7" fmla="*/ 0 h 227582"/>
                <a:gd name="connsiteX8" fmla="*/ 264777 w 285581"/>
                <a:gd name="connsiteY8" fmla="*/ 0 h 227582"/>
                <a:gd name="connsiteX9" fmla="*/ 285581 w 285581"/>
                <a:gd name="connsiteY9" fmla="*/ 20804 h 227582"/>
                <a:gd name="connsiteX10" fmla="*/ 285581 w 285581"/>
                <a:gd name="connsiteY10" fmla="*/ 160127 h 227582"/>
                <a:gd name="connsiteX11" fmla="*/ 264777 w 285581"/>
                <a:gd name="connsiteY11" fmla="*/ 180931 h 227582"/>
                <a:gd name="connsiteX12" fmla="*/ 106541 w 285581"/>
                <a:gd name="connsiteY12" fmla="*/ 180931 h 227582"/>
                <a:gd name="connsiteX13" fmla="*/ 49803 w 285581"/>
                <a:gd name="connsiteY13" fmla="*/ 225691 h 227582"/>
                <a:gd name="connsiteX14" fmla="*/ 44130 w 285581"/>
                <a:gd name="connsiteY14" fmla="*/ 227582 h 227582"/>
                <a:gd name="connsiteX15" fmla="*/ 44130 w 285581"/>
                <a:gd name="connsiteY15" fmla="*/ 227582 h 227582"/>
                <a:gd name="connsiteX16" fmla="*/ 20173 w 285581"/>
                <a:gd name="connsiteY16" fmla="*/ 17021 h 227582"/>
                <a:gd name="connsiteX17" fmla="*/ 16391 w 285581"/>
                <a:gd name="connsiteY17" fmla="*/ 20804 h 227582"/>
                <a:gd name="connsiteX18" fmla="*/ 16391 w 285581"/>
                <a:gd name="connsiteY18" fmla="*/ 160127 h 227582"/>
                <a:gd name="connsiteX19" fmla="*/ 20173 w 285581"/>
                <a:gd name="connsiteY19" fmla="*/ 163910 h 227582"/>
                <a:gd name="connsiteX20" fmla="*/ 43499 w 285581"/>
                <a:gd name="connsiteY20" fmla="*/ 163910 h 227582"/>
                <a:gd name="connsiteX21" fmla="*/ 51694 w 285581"/>
                <a:gd name="connsiteY21" fmla="*/ 172105 h 227582"/>
                <a:gd name="connsiteX22" fmla="*/ 51694 w 285581"/>
                <a:gd name="connsiteY22" fmla="*/ 201105 h 227582"/>
                <a:gd name="connsiteX23" fmla="*/ 97085 w 285581"/>
                <a:gd name="connsiteY23" fmla="*/ 165170 h 227582"/>
                <a:gd name="connsiteX24" fmla="*/ 102128 w 285581"/>
                <a:gd name="connsiteY24" fmla="*/ 163279 h 227582"/>
                <a:gd name="connsiteX25" fmla="*/ 263517 w 285581"/>
                <a:gd name="connsiteY25" fmla="*/ 163279 h 227582"/>
                <a:gd name="connsiteX26" fmla="*/ 267299 w 285581"/>
                <a:gd name="connsiteY26" fmla="*/ 159497 h 227582"/>
                <a:gd name="connsiteX27" fmla="*/ 267299 w 285581"/>
                <a:gd name="connsiteY27" fmla="*/ 20173 h 227582"/>
                <a:gd name="connsiteX28" fmla="*/ 263517 w 285581"/>
                <a:gd name="connsiteY28" fmla="*/ 16391 h 227582"/>
                <a:gd name="connsiteX29" fmla="*/ 20173 w 285581"/>
                <a:gd name="connsiteY29" fmla="*/ 16391 h 227582"/>
                <a:gd name="connsiteX30" fmla="*/ 20173 w 285581"/>
                <a:gd name="connsiteY30" fmla="*/ 17021 h 227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85581" h="227582">
                  <a:moveTo>
                    <a:pt x="44130" y="227582"/>
                  </a:moveTo>
                  <a:cubicBezTo>
                    <a:pt x="42869" y="227582"/>
                    <a:pt x="41608" y="227582"/>
                    <a:pt x="40347" y="226952"/>
                  </a:cubicBezTo>
                  <a:cubicBezTo>
                    <a:pt x="37195" y="225691"/>
                    <a:pt x="35934" y="222539"/>
                    <a:pt x="35934" y="219387"/>
                  </a:cubicBezTo>
                  <a:lnTo>
                    <a:pt x="35934" y="180931"/>
                  </a:lnTo>
                  <a:lnTo>
                    <a:pt x="20804" y="180931"/>
                  </a:lnTo>
                  <a:cubicBezTo>
                    <a:pt x="9456" y="180931"/>
                    <a:pt x="0" y="171475"/>
                    <a:pt x="0" y="160127"/>
                  </a:cubicBezTo>
                  <a:lnTo>
                    <a:pt x="0" y="20804"/>
                  </a:lnTo>
                  <a:cubicBezTo>
                    <a:pt x="0" y="9456"/>
                    <a:pt x="9456" y="0"/>
                    <a:pt x="20804" y="0"/>
                  </a:cubicBezTo>
                  <a:lnTo>
                    <a:pt x="264777" y="0"/>
                  </a:lnTo>
                  <a:cubicBezTo>
                    <a:pt x="276125" y="0"/>
                    <a:pt x="285581" y="9456"/>
                    <a:pt x="285581" y="20804"/>
                  </a:cubicBezTo>
                  <a:lnTo>
                    <a:pt x="285581" y="160127"/>
                  </a:lnTo>
                  <a:cubicBezTo>
                    <a:pt x="285581" y="171475"/>
                    <a:pt x="276125" y="180931"/>
                    <a:pt x="264777" y="180931"/>
                  </a:cubicBezTo>
                  <a:lnTo>
                    <a:pt x="106541" y="180931"/>
                  </a:lnTo>
                  <a:lnTo>
                    <a:pt x="49803" y="225691"/>
                  </a:lnTo>
                  <a:cubicBezTo>
                    <a:pt x="47282" y="226952"/>
                    <a:pt x="46021" y="227582"/>
                    <a:pt x="44130" y="227582"/>
                  </a:cubicBezTo>
                  <a:lnTo>
                    <a:pt x="44130" y="227582"/>
                  </a:lnTo>
                  <a:close/>
                  <a:moveTo>
                    <a:pt x="20173" y="17021"/>
                  </a:moveTo>
                  <a:cubicBezTo>
                    <a:pt x="17652" y="17021"/>
                    <a:pt x="16391" y="18913"/>
                    <a:pt x="16391" y="20804"/>
                  </a:cubicBezTo>
                  <a:lnTo>
                    <a:pt x="16391" y="160127"/>
                  </a:lnTo>
                  <a:cubicBezTo>
                    <a:pt x="16391" y="162649"/>
                    <a:pt x="18282" y="163910"/>
                    <a:pt x="20173" y="163910"/>
                  </a:cubicBezTo>
                  <a:lnTo>
                    <a:pt x="43499" y="163910"/>
                  </a:lnTo>
                  <a:cubicBezTo>
                    <a:pt x="47912" y="163910"/>
                    <a:pt x="51694" y="167692"/>
                    <a:pt x="51694" y="172105"/>
                  </a:cubicBezTo>
                  <a:lnTo>
                    <a:pt x="51694" y="201105"/>
                  </a:lnTo>
                  <a:lnTo>
                    <a:pt x="97085" y="165170"/>
                  </a:lnTo>
                  <a:cubicBezTo>
                    <a:pt x="98346" y="163910"/>
                    <a:pt x="100237" y="163279"/>
                    <a:pt x="102128" y="163279"/>
                  </a:cubicBezTo>
                  <a:lnTo>
                    <a:pt x="263517" y="163279"/>
                  </a:lnTo>
                  <a:cubicBezTo>
                    <a:pt x="266038" y="163279"/>
                    <a:pt x="267299" y="161388"/>
                    <a:pt x="267299" y="159497"/>
                  </a:cubicBezTo>
                  <a:lnTo>
                    <a:pt x="267299" y="20173"/>
                  </a:lnTo>
                  <a:cubicBezTo>
                    <a:pt x="267299" y="17652"/>
                    <a:pt x="265408" y="16391"/>
                    <a:pt x="263517" y="16391"/>
                  </a:cubicBezTo>
                  <a:lnTo>
                    <a:pt x="20173" y="16391"/>
                  </a:lnTo>
                  <a:lnTo>
                    <a:pt x="20173" y="1702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18" name="Forma Livre: Forma 217">
              <a:extLst>
                <a:ext uri="{FF2B5EF4-FFF2-40B4-BE49-F238E27FC236}">
                  <a16:creationId xmlns:a16="http://schemas.microsoft.com/office/drawing/2014/main" id="{E875B6F5-257D-457D-9717-E3E18EB56B9B}"/>
                </a:ext>
              </a:extLst>
            </p:cNvPr>
            <p:cNvSpPr/>
            <p:nvPr/>
          </p:nvSpPr>
          <p:spPr>
            <a:xfrm>
              <a:off x="5412621" y="5801377"/>
              <a:ext cx="160757" cy="206147"/>
            </a:xfrm>
            <a:custGeom>
              <a:avLst/>
              <a:gdLst>
                <a:gd name="connsiteX0" fmla="*/ 152562 w 160757"/>
                <a:gd name="connsiteY0" fmla="*/ 206148 h 206147"/>
                <a:gd name="connsiteX1" fmla="*/ 8196 w 160757"/>
                <a:gd name="connsiteY1" fmla="*/ 206148 h 206147"/>
                <a:gd name="connsiteX2" fmla="*/ 0 w 160757"/>
                <a:gd name="connsiteY2" fmla="*/ 197952 h 206147"/>
                <a:gd name="connsiteX3" fmla="*/ 0 w 160757"/>
                <a:gd name="connsiteY3" fmla="*/ 8195 h 206147"/>
                <a:gd name="connsiteX4" fmla="*/ 8196 w 160757"/>
                <a:gd name="connsiteY4" fmla="*/ 0 h 206147"/>
                <a:gd name="connsiteX5" fmla="*/ 112846 w 160757"/>
                <a:gd name="connsiteY5" fmla="*/ 0 h 206147"/>
                <a:gd name="connsiteX6" fmla="*/ 121041 w 160757"/>
                <a:gd name="connsiteY6" fmla="*/ 8195 h 206147"/>
                <a:gd name="connsiteX7" fmla="*/ 112846 w 160757"/>
                <a:gd name="connsiteY7" fmla="*/ 16391 h 206147"/>
                <a:gd name="connsiteX8" fmla="*/ 16391 w 160757"/>
                <a:gd name="connsiteY8" fmla="*/ 16391 h 206147"/>
                <a:gd name="connsiteX9" fmla="*/ 16391 w 160757"/>
                <a:gd name="connsiteY9" fmla="*/ 189757 h 206147"/>
                <a:gd name="connsiteX10" fmla="*/ 144367 w 160757"/>
                <a:gd name="connsiteY10" fmla="*/ 189757 h 206147"/>
                <a:gd name="connsiteX11" fmla="*/ 144367 w 160757"/>
                <a:gd name="connsiteY11" fmla="*/ 109693 h 206147"/>
                <a:gd name="connsiteX12" fmla="*/ 152562 w 160757"/>
                <a:gd name="connsiteY12" fmla="*/ 101498 h 206147"/>
                <a:gd name="connsiteX13" fmla="*/ 160758 w 160757"/>
                <a:gd name="connsiteY13" fmla="*/ 109693 h 206147"/>
                <a:gd name="connsiteX14" fmla="*/ 160758 w 160757"/>
                <a:gd name="connsiteY14" fmla="*/ 197952 h 206147"/>
                <a:gd name="connsiteX15" fmla="*/ 152562 w 160757"/>
                <a:gd name="connsiteY15" fmla="*/ 206148 h 206147"/>
                <a:gd name="connsiteX16" fmla="*/ 152562 w 160757"/>
                <a:gd name="connsiteY16" fmla="*/ 206148 h 206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60757" h="206147">
                  <a:moveTo>
                    <a:pt x="152562" y="206148"/>
                  </a:moveTo>
                  <a:lnTo>
                    <a:pt x="8196" y="206148"/>
                  </a:lnTo>
                  <a:cubicBezTo>
                    <a:pt x="3783" y="206148"/>
                    <a:pt x="0" y="202365"/>
                    <a:pt x="0" y="197952"/>
                  </a:cubicBezTo>
                  <a:lnTo>
                    <a:pt x="0" y="8195"/>
                  </a:lnTo>
                  <a:cubicBezTo>
                    <a:pt x="0" y="3782"/>
                    <a:pt x="3783" y="0"/>
                    <a:pt x="8196" y="0"/>
                  </a:cubicBezTo>
                  <a:lnTo>
                    <a:pt x="112846" y="0"/>
                  </a:lnTo>
                  <a:cubicBezTo>
                    <a:pt x="117259" y="0"/>
                    <a:pt x="121041" y="3782"/>
                    <a:pt x="121041" y="8195"/>
                  </a:cubicBezTo>
                  <a:cubicBezTo>
                    <a:pt x="121041" y="12608"/>
                    <a:pt x="117259" y="16391"/>
                    <a:pt x="112846" y="16391"/>
                  </a:cubicBezTo>
                  <a:lnTo>
                    <a:pt x="16391" y="16391"/>
                  </a:lnTo>
                  <a:lnTo>
                    <a:pt x="16391" y="189757"/>
                  </a:lnTo>
                  <a:lnTo>
                    <a:pt x="144367" y="189757"/>
                  </a:lnTo>
                  <a:lnTo>
                    <a:pt x="144367" y="109693"/>
                  </a:lnTo>
                  <a:cubicBezTo>
                    <a:pt x="144367" y="105280"/>
                    <a:pt x="148149" y="101498"/>
                    <a:pt x="152562" y="101498"/>
                  </a:cubicBezTo>
                  <a:cubicBezTo>
                    <a:pt x="156975" y="101498"/>
                    <a:pt x="160758" y="105280"/>
                    <a:pt x="160758" y="109693"/>
                  </a:cubicBezTo>
                  <a:lnTo>
                    <a:pt x="160758" y="197952"/>
                  </a:lnTo>
                  <a:cubicBezTo>
                    <a:pt x="160758" y="202996"/>
                    <a:pt x="157606" y="206148"/>
                    <a:pt x="152562" y="206148"/>
                  </a:cubicBezTo>
                  <a:lnTo>
                    <a:pt x="152562" y="206148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19" name="Forma Livre: Forma 218">
              <a:extLst>
                <a:ext uri="{FF2B5EF4-FFF2-40B4-BE49-F238E27FC236}">
                  <a16:creationId xmlns:a16="http://schemas.microsoft.com/office/drawing/2014/main" id="{CFDDF291-8AD1-47AA-A5B1-809E287A971E}"/>
                </a:ext>
              </a:extLst>
            </p:cNvPr>
            <p:cNvSpPr/>
            <p:nvPr/>
          </p:nvSpPr>
          <p:spPr>
            <a:xfrm>
              <a:off x="5371643" y="5743378"/>
              <a:ext cx="242749" cy="362492"/>
            </a:xfrm>
            <a:custGeom>
              <a:avLst/>
              <a:gdLst>
                <a:gd name="connsiteX0" fmla="*/ 226322 w 242749"/>
                <a:gd name="connsiteY0" fmla="*/ 362493 h 362492"/>
                <a:gd name="connsiteX1" fmla="*/ 16391 w 242749"/>
                <a:gd name="connsiteY1" fmla="*/ 362493 h 362492"/>
                <a:gd name="connsiteX2" fmla="*/ 0 w 242749"/>
                <a:gd name="connsiteY2" fmla="*/ 346102 h 362492"/>
                <a:gd name="connsiteX3" fmla="*/ 0 w 242749"/>
                <a:gd name="connsiteY3" fmla="*/ 16391 h 362492"/>
                <a:gd name="connsiteX4" fmla="*/ 16391 w 242749"/>
                <a:gd name="connsiteY4" fmla="*/ 0 h 362492"/>
                <a:gd name="connsiteX5" fmla="*/ 160758 w 242749"/>
                <a:gd name="connsiteY5" fmla="*/ 0 h 362492"/>
                <a:gd name="connsiteX6" fmla="*/ 160758 w 242749"/>
                <a:gd name="connsiteY6" fmla="*/ 33412 h 362492"/>
                <a:gd name="connsiteX7" fmla="*/ 32782 w 242749"/>
                <a:gd name="connsiteY7" fmla="*/ 33412 h 362492"/>
                <a:gd name="connsiteX8" fmla="*/ 32782 w 242749"/>
                <a:gd name="connsiteY8" fmla="*/ 329711 h 362492"/>
                <a:gd name="connsiteX9" fmla="*/ 209300 w 242749"/>
                <a:gd name="connsiteY9" fmla="*/ 329711 h 362492"/>
                <a:gd name="connsiteX10" fmla="*/ 209300 w 242749"/>
                <a:gd name="connsiteY10" fmla="*/ 165801 h 362492"/>
                <a:gd name="connsiteX11" fmla="*/ 242713 w 242749"/>
                <a:gd name="connsiteY11" fmla="*/ 151301 h 362492"/>
                <a:gd name="connsiteX12" fmla="*/ 242713 w 242749"/>
                <a:gd name="connsiteY12" fmla="*/ 346732 h 362492"/>
                <a:gd name="connsiteX13" fmla="*/ 226322 w 242749"/>
                <a:gd name="connsiteY13" fmla="*/ 362493 h 362492"/>
                <a:gd name="connsiteX14" fmla="*/ 226322 w 242749"/>
                <a:gd name="connsiteY14" fmla="*/ 362493 h 36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2749" h="362492">
                  <a:moveTo>
                    <a:pt x="226322" y="362493"/>
                  </a:moveTo>
                  <a:lnTo>
                    <a:pt x="16391" y="362493"/>
                  </a:lnTo>
                  <a:cubicBezTo>
                    <a:pt x="6935" y="362493"/>
                    <a:pt x="0" y="354928"/>
                    <a:pt x="0" y="346102"/>
                  </a:cubicBezTo>
                  <a:lnTo>
                    <a:pt x="0" y="16391"/>
                  </a:lnTo>
                  <a:cubicBezTo>
                    <a:pt x="0" y="6934"/>
                    <a:pt x="7565" y="0"/>
                    <a:pt x="16391" y="0"/>
                  </a:cubicBezTo>
                  <a:lnTo>
                    <a:pt x="160758" y="0"/>
                  </a:lnTo>
                  <a:lnTo>
                    <a:pt x="160758" y="33412"/>
                  </a:lnTo>
                  <a:lnTo>
                    <a:pt x="32782" y="33412"/>
                  </a:lnTo>
                  <a:lnTo>
                    <a:pt x="32782" y="329711"/>
                  </a:lnTo>
                  <a:lnTo>
                    <a:pt x="209300" y="329711"/>
                  </a:lnTo>
                  <a:lnTo>
                    <a:pt x="209300" y="165801"/>
                  </a:lnTo>
                  <a:lnTo>
                    <a:pt x="242713" y="151301"/>
                  </a:lnTo>
                  <a:lnTo>
                    <a:pt x="242713" y="346732"/>
                  </a:lnTo>
                  <a:cubicBezTo>
                    <a:pt x="243343" y="355558"/>
                    <a:pt x="235778" y="362493"/>
                    <a:pt x="226322" y="362493"/>
                  </a:cubicBezTo>
                  <a:lnTo>
                    <a:pt x="226322" y="362493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220" name="Gráfico 2">
              <a:extLst>
                <a:ext uri="{FF2B5EF4-FFF2-40B4-BE49-F238E27FC236}">
                  <a16:creationId xmlns:a16="http://schemas.microsoft.com/office/drawing/2014/main" id="{1EC2913E-D059-42A1-91F3-F6BAB2F166E6}"/>
                </a:ext>
              </a:extLst>
            </p:cNvPr>
            <p:cNvGrpSpPr/>
            <p:nvPr/>
          </p:nvGrpSpPr>
          <p:grpSpPr>
            <a:xfrm>
              <a:off x="5552575" y="5752204"/>
              <a:ext cx="223169" cy="79433"/>
              <a:chOff x="5552575" y="5752204"/>
              <a:chExt cx="223169" cy="79433"/>
            </a:xfrm>
            <a:grpFill/>
          </p:grpSpPr>
          <p:sp>
            <p:nvSpPr>
              <p:cNvPr id="221" name="Forma Livre: Forma 220">
                <a:extLst>
                  <a:ext uri="{FF2B5EF4-FFF2-40B4-BE49-F238E27FC236}">
                    <a16:creationId xmlns:a16="http://schemas.microsoft.com/office/drawing/2014/main" id="{77256C52-89D3-4844-946B-4C5AAEE9C050}"/>
                  </a:ext>
                </a:extLst>
              </p:cNvPr>
              <p:cNvSpPr/>
              <p:nvPr/>
            </p:nvSpPr>
            <p:spPr>
              <a:xfrm>
                <a:off x="5552575" y="5754096"/>
                <a:ext cx="72498" cy="76911"/>
              </a:xfrm>
              <a:custGeom>
                <a:avLst/>
                <a:gdLst>
                  <a:gd name="connsiteX0" fmla="*/ 25848 w 72498"/>
                  <a:gd name="connsiteY0" fmla="*/ 64303 h 76911"/>
                  <a:gd name="connsiteX1" fmla="*/ 13869 w 72498"/>
                  <a:gd name="connsiteY1" fmla="*/ 16391 h 76911"/>
                  <a:gd name="connsiteX2" fmla="*/ 13869 w 72498"/>
                  <a:gd name="connsiteY2" fmla="*/ 68716 h 76911"/>
                  <a:gd name="connsiteX3" fmla="*/ 11978 w 72498"/>
                  <a:gd name="connsiteY3" fmla="*/ 75020 h 76911"/>
                  <a:gd name="connsiteX4" fmla="*/ 6935 w 72498"/>
                  <a:gd name="connsiteY4" fmla="*/ 76911 h 76911"/>
                  <a:gd name="connsiteX5" fmla="*/ 1891 w 72498"/>
                  <a:gd name="connsiteY5" fmla="*/ 75020 h 76911"/>
                  <a:gd name="connsiteX6" fmla="*/ 0 w 72498"/>
                  <a:gd name="connsiteY6" fmla="*/ 68716 h 76911"/>
                  <a:gd name="connsiteX7" fmla="*/ 0 w 72498"/>
                  <a:gd name="connsiteY7" fmla="*/ 8826 h 76911"/>
                  <a:gd name="connsiteX8" fmla="*/ 2522 w 72498"/>
                  <a:gd name="connsiteY8" fmla="*/ 1891 h 76911"/>
                  <a:gd name="connsiteX9" fmla="*/ 9456 w 72498"/>
                  <a:gd name="connsiteY9" fmla="*/ 0 h 76911"/>
                  <a:gd name="connsiteX10" fmla="*/ 13869 w 72498"/>
                  <a:gd name="connsiteY10" fmla="*/ 0 h 76911"/>
                  <a:gd name="connsiteX11" fmla="*/ 20174 w 72498"/>
                  <a:gd name="connsiteY11" fmla="*/ 630 h 76911"/>
                  <a:gd name="connsiteX12" fmla="*/ 23326 w 72498"/>
                  <a:gd name="connsiteY12" fmla="*/ 3152 h 76911"/>
                  <a:gd name="connsiteX13" fmla="*/ 25217 w 72498"/>
                  <a:gd name="connsiteY13" fmla="*/ 9456 h 76911"/>
                  <a:gd name="connsiteX14" fmla="*/ 35934 w 72498"/>
                  <a:gd name="connsiteY14" fmla="*/ 51064 h 76911"/>
                  <a:gd name="connsiteX15" fmla="*/ 46651 w 72498"/>
                  <a:gd name="connsiteY15" fmla="*/ 9456 h 76911"/>
                  <a:gd name="connsiteX16" fmla="*/ 48543 w 72498"/>
                  <a:gd name="connsiteY16" fmla="*/ 3152 h 76911"/>
                  <a:gd name="connsiteX17" fmla="*/ 51695 w 72498"/>
                  <a:gd name="connsiteY17" fmla="*/ 630 h 76911"/>
                  <a:gd name="connsiteX18" fmla="*/ 57999 w 72498"/>
                  <a:gd name="connsiteY18" fmla="*/ 0 h 76911"/>
                  <a:gd name="connsiteX19" fmla="*/ 63042 w 72498"/>
                  <a:gd name="connsiteY19" fmla="*/ 0 h 76911"/>
                  <a:gd name="connsiteX20" fmla="*/ 69977 w 72498"/>
                  <a:gd name="connsiteY20" fmla="*/ 1891 h 76911"/>
                  <a:gd name="connsiteX21" fmla="*/ 72499 w 72498"/>
                  <a:gd name="connsiteY21" fmla="*/ 8826 h 76911"/>
                  <a:gd name="connsiteX22" fmla="*/ 72499 w 72498"/>
                  <a:gd name="connsiteY22" fmla="*/ 68716 h 76911"/>
                  <a:gd name="connsiteX23" fmla="*/ 70607 w 72498"/>
                  <a:gd name="connsiteY23" fmla="*/ 75020 h 76911"/>
                  <a:gd name="connsiteX24" fmla="*/ 65564 w 72498"/>
                  <a:gd name="connsiteY24" fmla="*/ 76911 h 76911"/>
                  <a:gd name="connsiteX25" fmla="*/ 60521 w 72498"/>
                  <a:gd name="connsiteY25" fmla="*/ 75020 h 76911"/>
                  <a:gd name="connsiteX26" fmla="*/ 58629 w 72498"/>
                  <a:gd name="connsiteY26" fmla="*/ 68716 h 76911"/>
                  <a:gd name="connsiteX27" fmla="*/ 58629 w 72498"/>
                  <a:gd name="connsiteY27" fmla="*/ 16391 h 76911"/>
                  <a:gd name="connsiteX28" fmla="*/ 46651 w 72498"/>
                  <a:gd name="connsiteY28" fmla="*/ 64303 h 76911"/>
                  <a:gd name="connsiteX29" fmla="*/ 44760 w 72498"/>
                  <a:gd name="connsiteY29" fmla="*/ 71238 h 76911"/>
                  <a:gd name="connsiteX30" fmla="*/ 42238 w 72498"/>
                  <a:gd name="connsiteY30" fmla="*/ 75020 h 76911"/>
                  <a:gd name="connsiteX31" fmla="*/ 36564 w 72498"/>
                  <a:gd name="connsiteY31" fmla="*/ 76911 h 76911"/>
                  <a:gd name="connsiteX32" fmla="*/ 32152 w 72498"/>
                  <a:gd name="connsiteY32" fmla="*/ 75651 h 76911"/>
                  <a:gd name="connsiteX33" fmla="*/ 29000 w 72498"/>
                  <a:gd name="connsiteY33" fmla="*/ 72499 h 76911"/>
                  <a:gd name="connsiteX34" fmla="*/ 27108 w 72498"/>
                  <a:gd name="connsiteY34" fmla="*/ 68716 h 76911"/>
                  <a:gd name="connsiteX35" fmla="*/ 25848 w 72498"/>
                  <a:gd name="connsiteY35" fmla="*/ 64303 h 76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72498" h="76911">
                    <a:moveTo>
                      <a:pt x="25848" y="64303"/>
                    </a:moveTo>
                    <a:lnTo>
                      <a:pt x="13869" y="16391"/>
                    </a:lnTo>
                    <a:lnTo>
                      <a:pt x="13869" y="68716"/>
                    </a:lnTo>
                    <a:cubicBezTo>
                      <a:pt x="13869" y="71868"/>
                      <a:pt x="13239" y="73759"/>
                      <a:pt x="11978" y="75020"/>
                    </a:cubicBezTo>
                    <a:cubicBezTo>
                      <a:pt x="10717" y="76281"/>
                      <a:pt x="8826" y="76911"/>
                      <a:pt x="6935" y="76911"/>
                    </a:cubicBezTo>
                    <a:cubicBezTo>
                      <a:pt x="5043" y="76911"/>
                      <a:pt x="3152" y="76281"/>
                      <a:pt x="1891" y="75020"/>
                    </a:cubicBezTo>
                    <a:cubicBezTo>
                      <a:pt x="631" y="73759"/>
                      <a:pt x="0" y="71238"/>
                      <a:pt x="0" y="68716"/>
                    </a:cubicBezTo>
                    <a:lnTo>
                      <a:pt x="0" y="8826"/>
                    </a:lnTo>
                    <a:cubicBezTo>
                      <a:pt x="0" y="5674"/>
                      <a:pt x="631" y="3152"/>
                      <a:pt x="2522" y="1891"/>
                    </a:cubicBezTo>
                    <a:cubicBezTo>
                      <a:pt x="4413" y="630"/>
                      <a:pt x="6304" y="0"/>
                      <a:pt x="9456" y="0"/>
                    </a:cubicBezTo>
                    <a:lnTo>
                      <a:pt x="13869" y="0"/>
                    </a:lnTo>
                    <a:cubicBezTo>
                      <a:pt x="17021" y="0"/>
                      <a:pt x="18913" y="0"/>
                      <a:pt x="20174" y="630"/>
                    </a:cubicBezTo>
                    <a:cubicBezTo>
                      <a:pt x="21435" y="1261"/>
                      <a:pt x="22695" y="1891"/>
                      <a:pt x="23326" y="3152"/>
                    </a:cubicBezTo>
                    <a:cubicBezTo>
                      <a:pt x="23956" y="4413"/>
                      <a:pt x="24587" y="6934"/>
                      <a:pt x="25217" y="9456"/>
                    </a:cubicBezTo>
                    <a:lnTo>
                      <a:pt x="35934" y="51064"/>
                    </a:lnTo>
                    <a:lnTo>
                      <a:pt x="46651" y="9456"/>
                    </a:lnTo>
                    <a:cubicBezTo>
                      <a:pt x="47282" y="6304"/>
                      <a:pt x="47912" y="4413"/>
                      <a:pt x="48543" y="3152"/>
                    </a:cubicBezTo>
                    <a:cubicBezTo>
                      <a:pt x="49173" y="1891"/>
                      <a:pt x="49804" y="630"/>
                      <a:pt x="51695" y="630"/>
                    </a:cubicBezTo>
                    <a:cubicBezTo>
                      <a:pt x="52956" y="0"/>
                      <a:pt x="54847" y="0"/>
                      <a:pt x="57999" y="0"/>
                    </a:cubicBezTo>
                    <a:lnTo>
                      <a:pt x="63042" y="0"/>
                    </a:lnTo>
                    <a:cubicBezTo>
                      <a:pt x="66194" y="0"/>
                      <a:pt x="68086" y="630"/>
                      <a:pt x="69977" y="1891"/>
                    </a:cubicBezTo>
                    <a:cubicBezTo>
                      <a:pt x="71868" y="3152"/>
                      <a:pt x="72499" y="5043"/>
                      <a:pt x="72499" y="8826"/>
                    </a:cubicBezTo>
                    <a:lnTo>
                      <a:pt x="72499" y="68716"/>
                    </a:lnTo>
                    <a:cubicBezTo>
                      <a:pt x="72499" y="71868"/>
                      <a:pt x="71868" y="73759"/>
                      <a:pt x="70607" y="75020"/>
                    </a:cubicBezTo>
                    <a:cubicBezTo>
                      <a:pt x="69346" y="76281"/>
                      <a:pt x="67455" y="76911"/>
                      <a:pt x="65564" y="76911"/>
                    </a:cubicBezTo>
                    <a:cubicBezTo>
                      <a:pt x="63673" y="76911"/>
                      <a:pt x="61781" y="76281"/>
                      <a:pt x="60521" y="75020"/>
                    </a:cubicBezTo>
                    <a:cubicBezTo>
                      <a:pt x="59260" y="73759"/>
                      <a:pt x="58629" y="71238"/>
                      <a:pt x="58629" y="68716"/>
                    </a:cubicBezTo>
                    <a:lnTo>
                      <a:pt x="58629" y="16391"/>
                    </a:lnTo>
                    <a:lnTo>
                      <a:pt x="46651" y="64303"/>
                    </a:lnTo>
                    <a:cubicBezTo>
                      <a:pt x="46021" y="67455"/>
                      <a:pt x="45390" y="69977"/>
                      <a:pt x="44760" y="71238"/>
                    </a:cubicBezTo>
                    <a:cubicBezTo>
                      <a:pt x="44130" y="72499"/>
                      <a:pt x="43499" y="73759"/>
                      <a:pt x="42238" y="75020"/>
                    </a:cubicBezTo>
                    <a:cubicBezTo>
                      <a:pt x="40977" y="76281"/>
                      <a:pt x="39086" y="76911"/>
                      <a:pt x="36564" y="76911"/>
                    </a:cubicBezTo>
                    <a:cubicBezTo>
                      <a:pt x="34673" y="76911"/>
                      <a:pt x="33412" y="76281"/>
                      <a:pt x="32152" y="75651"/>
                    </a:cubicBezTo>
                    <a:cubicBezTo>
                      <a:pt x="30891" y="75020"/>
                      <a:pt x="29630" y="73759"/>
                      <a:pt x="29000" y="72499"/>
                    </a:cubicBezTo>
                    <a:cubicBezTo>
                      <a:pt x="28369" y="71238"/>
                      <a:pt x="27739" y="69977"/>
                      <a:pt x="27108" y="68716"/>
                    </a:cubicBezTo>
                    <a:cubicBezTo>
                      <a:pt x="26478" y="67455"/>
                      <a:pt x="25848" y="65564"/>
                      <a:pt x="25848" y="64303"/>
                    </a:cubicBez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22" name="Forma Livre: Forma 221">
                <a:extLst>
                  <a:ext uri="{FF2B5EF4-FFF2-40B4-BE49-F238E27FC236}">
                    <a16:creationId xmlns:a16="http://schemas.microsoft.com/office/drawing/2014/main" id="{F1E4EE68-E09B-4E7C-A997-CB3B40A7B023}"/>
                  </a:ext>
                </a:extLst>
              </p:cNvPr>
              <p:cNvSpPr/>
              <p:nvPr/>
            </p:nvSpPr>
            <p:spPr>
              <a:xfrm>
                <a:off x="5635160" y="5754096"/>
                <a:ext cx="73128" cy="76911"/>
              </a:xfrm>
              <a:custGeom>
                <a:avLst/>
                <a:gdLst>
                  <a:gd name="connsiteX0" fmla="*/ 25847 w 73128"/>
                  <a:gd name="connsiteY0" fmla="*/ 64303 h 76911"/>
                  <a:gd name="connsiteX1" fmla="*/ 13869 w 73128"/>
                  <a:gd name="connsiteY1" fmla="*/ 16391 h 76911"/>
                  <a:gd name="connsiteX2" fmla="*/ 13869 w 73128"/>
                  <a:gd name="connsiteY2" fmla="*/ 68716 h 76911"/>
                  <a:gd name="connsiteX3" fmla="*/ 11978 w 73128"/>
                  <a:gd name="connsiteY3" fmla="*/ 75020 h 76911"/>
                  <a:gd name="connsiteX4" fmla="*/ 6934 w 73128"/>
                  <a:gd name="connsiteY4" fmla="*/ 76911 h 76911"/>
                  <a:gd name="connsiteX5" fmla="*/ 1891 w 73128"/>
                  <a:gd name="connsiteY5" fmla="*/ 75020 h 76911"/>
                  <a:gd name="connsiteX6" fmla="*/ 0 w 73128"/>
                  <a:gd name="connsiteY6" fmla="*/ 68716 h 76911"/>
                  <a:gd name="connsiteX7" fmla="*/ 0 w 73128"/>
                  <a:gd name="connsiteY7" fmla="*/ 8826 h 76911"/>
                  <a:gd name="connsiteX8" fmla="*/ 2521 w 73128"/>
                  <a:gd name="connsiteY8" fmla="*/ 1891 h 76911"/>
                  <a:gd name="connsiteX9" fmla="*/ 9456 w 73128"/>
                  <a:gd name="connsiteY9" fmla="*/ 0 h 76911"/>
                  <a:gd name="connsiteX10" fmla="*/ 14500 w 73128"/>
                  <a:gd name="connsiteY10" fmla="*/ 0 h 76911"/>
                  <a:gd name="connsiteX11" fmla="*/ 20804 w 73128"/>
                  <a:gd name="connsiteY11" fmla="*/ 630 h 76911"/>
                  <a:gd name="connsiteX12" fmla="*/ 23956 w 73128"/>
                  <a:gd name="connsiteY12" fmla="*/ 3152 h 76911"/>
                  <a:gd name="connsiteX13" fmla="*/ 25847 w 73128"/>
                  <a:gd name="connsiteY13" fmla="*/ 9456 h 76911"/>
                  <a:gd name="connsiteX14" fmla="*/ 36564 w 73128"/>
                  <a:gd name="connsiteY14" fmla="*/ 51064 h 76911"/>
                  <a:gd name="connsiteX15" fmla="*/ 47282 w 73128"/>
                  <a:gd name="connsiteY15" fmla="*/ 9456 h 76911"/>
                  <a:gd name="connsiteX16" fmla="*/ 49173 w 73128"/>
                  <a:gd name="connsiteY16" fmla="*/ 3152 h 76911"/>
                  <a:gd name="connsiteX17" fmla="*/ 52325 w 73128"/>
                  <a:gd name="connsiteY17" fmla="*/ 630 h 76911"/>
                  <a:gd name="connsiteX18" fmla="*/ 58629 w 73128"/>
                  <a:gd name="connsiteY18" fmla="*/ 0 h 76911"/>
                  <a:gd name="connsiteX19" fmla="*/ 63673 w 73128"/>
                  <a:gd name="connsiteY19" fmla="*/ 0 h 76911"/>
                  <a:gd name="connsiteX20" fmla="*/ 70607 w 73128"/>
                  <a:gd name="connsiteY20" fmla="*/ 1891 h 76911"/>
                  <a:gd name="connsiteX21" fmla="*/ 73129 w 73128"/>
                  <a:gd name="connsiteY21" fmla="*/ 8826 h 76911"/>
                  <a:gd name="connsiteX22" fmla="*/ 73129 w 73128"/>
                  <a:gd name="connsiteY22" fmla="*/ 68716 h 76911"/>
                  <a:gd name="connsiteX23" fmla="*/ 71238 w 73128"/>
                  <a:gd name="connsiteY23" fmla="*/ 75020 h 76911"/>
                  <a:gd name="connsiteX24" fmla="*/ 66194 w 73128"/>
                  <a:gd name="connsiteY24" fmla="*/ 76911 h 76911"/>
                  <a:gd name="connsiteX25" fmla="*/ 61151 w 73128"/>
                  <a:gd name="connsiteY25" fmla="*/ 75020 h 76911"/>
                  <a:gd name="connsiteX26" fmla="*/ 59259 w 73128"/>
                  <a:gd name="connsiteY26" fmla="*/ 68716 h 76911"/>
                  <a:gd name="connsiteX27" fmla="*/ 59259 w 73128"/>
                  <a:gd name="connsiteY27" fmla="*/ 16391 h 76911"/>
                  <a:gd name="connsiteX28" fmla="*/ 47282 w 73128"/>
                  <a:gd name="connsiteY28" fmla="*/ 64303 h 76911"/>
                  <a:gd name="connsiteX29" fmla="*/ 45390 w 73128"/>
                  <a:gd name="connsiteY29" fmla="*/ 71238 h 76911"/>
                  <a:gd name="connsiteX30" fmla="*/ 42869 w 73128"/>
                  <a:gd name="connsiteY30" fmla="*/ 75020 h 76911"/>
                  <a:gd name="connsiteX31" fmla="*/ 37195 w 73128"/>
                  <a:gd name="connsiteY31" fmla="*/ 76911 h 76911"/>
                  <a:gd name="connsiteX32" fmla="*/ 32782 w 73128"/>
                  <a:gd name="connsiteY32" fmla="*/ 75651 h 76911"/>
                  <a:gd name="connsiteX33" fmla="*/ 29630 w 73128"/>
                  <a:gd name="connsiteY33" fmla="*/ 72499 h 76911"/>
                  <a:gd name="connsiteX34" fmla="*/ 27738 w 73128"/>
                  <a:gd name="connsiteY34" fmla="*/ 68716 h 76911"/>
                  <a:gd name="connsiteX35" fmla="*/ 25847 w 73128"/>
                  <a:gd name="connsiteY35" fmla="*/ 64303 h 76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73128" h="76911">
                    <a:moveTo>
                      <a:pt x="25847" y="64303"/>
                    </a:moveTo>
                    <a:lnTo>
                      <a:pt x="13869" y="16391"/>
                    </a:lnTo>
                    <a:lnTo>
                      <a:pt x="13869" y="68716"/>
                    </a:lnTo>
                    <a:cubicBezTo>
                      <a:pt x="13869" y="71868"/>
                      <a:pt x="13239" y="73759"/>
                      <a:pt x="11978" y="75020"/>
                    </a:cubicBezTo>
                    <a:cubicBezTo>
                      <a:pt x="10717" y="76281"/>
                      <a:pt x="8826" y="76911"/>
                      <a:pt x="6934" y="76911"/>
                    </a:cubicBezTo>
                    <a:cubicBezTo>
                      <a:pt x="5043" y="76911"/>
                      <a:pt x="3152" y="76281"/>
                      <a:pt x="1891" y="75020"/>
                    </a:cubicBezTo>
                    <a:cubicBezTo>
                      <a:pt x="630" y="73759"/>
                      <a:pt x="0" y="71238"/>
                      <a:pt x="0" y="68716"/>
                    </a:cubicBezTo>
                    <a:lnTo>
                      <a:pt x="0" y="8826"/>
                    </a:lnTo>
                    <a:cubicBezTo>
                      <a:pt x="0" y="5674"/>
                      <a:pt x="630" y="3152"/>
                      <a:pt x="2521" y="1891"/>
                    </a:cubicBezTo>
                    <a:cubicBezTo>
                      <a:pt x="4413" y="630"/>
                      <a:pt x="6304" y="0"/>
                      <a:pt x="9456" y="0"/>
                    </a:cubicBezTo>
                    <a:lnTo>
                      <a:pt x="14500" y="0"/>
                    </a:lnTo>
                    <a:cubicBezTo>
                      <a:pt x="17652" y="0"/>
                      <a:pt x="19543" y="0"/>
                      <a:pt x="20804" y="630"/>
                    </a:cubicBezTo>
                    <a:cubicBezTo>
                      <a:pt x="22065" y="1261"/>
                      <a:pt x="23325" y="1891"/>
                      <a:pt x="23956" y="3152"/>
                    </a:cubicBezTo>
                    <a:cubicBezTo>
                      <a:pt x="24586" y="4413"/>
                      <a:pt x="25217" y="6934"/>
                      <a:pt x="25847" y="9456"/>
                    </a:cubicBezTo>
                    <a:lnTo>
                      <a:pt x="36564" y="51064"/>
                    </a:lnTo>
                    <a:lnTo>
                      <a:pt x="47282" y="9456"/>
                    </a:lnTo>
                    <a:cubicBezTo>
                      <a:pt x="47912" y="6304"/>
                      <a:pt x="48542" y="4413"/>
                      <a:pt x="49173" y="3152"/>
                    </a:cubicBezTo>
                    <a:cubicBezTo>
                      <a:pt x="49803" y="1891"/>
                      <a:pt x="51064" y="630"/>
                      <a:pt x="52325" y="630"/>
                    </a:cubicBezTo>
                    <a:cubicBezTo>
                      <a:pt x="53586" y="0"/>
                      <a:pt x="55477" y="0"/>
                      <a:pt x="58629" y="0"/>
                    </a:cubicBezTo>
                    <a:lnTo>
                      <a:pt x="63673" y="0"/>
                    </a:lnTo>
                    <a:cubicBezTo>
                      <a:pt x="66825" y="0"/>
                      <a:pt x="68716" y="630"/>
                      <a:pt x="70607" y="1891"/>
                    </a:cubicBezTo>
                    <a:cubicBezTo>
                      <a:pt x="72499" y="3152"/>
                      <a:pt x="73129" y="5043"/>
                      <a:pt x="73129" y="8826"/>
                    </a:cubicBezTo>
                    <a:lnTo>
                      <a:pt x="73129" y="68716"/>
                    </a:lnTo>
                    <a:cubicBezTo>
                      <a:pt x="73129" y="71868"/>
                      <a:pt x="72499" y="73759"/>
                      <a:pt x="71238" y="75020"/>
                    </a:cubicBezTo>
                    <a:cubicBezTo>
                      <a:pt x="69977" y="76281"/>
                      <a:pt x="68086" y="76911"/>
                      <a:pt x="66194" y="76911"/>
                    </a:cubicBezTo>
                    <a:cubicBezTo>
                      <a:pt x="64303" y="76911"/>
                      <a:pt x="62412" y="76281"/>
                      <a:pt x="61151" y="75020"/>
                    </a:cubicBezTo>
                    <a:cubicBezTo>
                      <a:pt x="59890" y="73759"/>
                      <a:pt x="59259" y="71238"/>
                      <a:pt x="59259" y="68716"/>
                    </a:cubicBezTo>
                    <a:lnTo>
                      <a:pt x="59259" y="16391"/>
                    </a:lnTo>
                    <a:lnTo>
                      <a:pt x="47282" y="64303"/>
                    </a:lnTo>
                    <a:cubicBezTo>
                      <a:pt x="46651" y="67455"/>
                      <a:pt x="46021" y="69977"/>
                      <a:pt x="45390" y="71238"/>
                    </a:cubicBezTo>
                    <a:cubicBezTo>
                      <a:pt x="44760" y="72499"/>
                      <a:pt x="44130" y="73759"/>
                      <a:pt x="42869" y="75020"/>
                    </a:cubicBezTo>
                    <a:cubicBezTo>
                      <a:pt x="41608" y="76281"/>
                      <a:pt x="39717" y="76911"/>
                      <a:pt x="37195" y="76911"/>
                    </a:cubicBezTo>
                    <a:cubicBezTo>
                      <a:pt x="35304" y="76911"/>
                      <a:pt x="34043" y="76281"/>
                      <a:pt x="32782" y="75651"/>
                    </a:cubicBezTo>
                    <a:cubicBezTo>
                      <a:pt x="31521" y="75020"/>
                      <a:pt x="30260" y="73759"/>
                      <a:pt x="29630" y="72499"/>
                    </a:cubicBezTo>
                    <a:cubicBezTo>
                      <a:pt x="28999" y="71238"/>
                      <a:pt x="28369" y="69977"/>
                      <a:pt x="27738" y="68716"/>
                    </a:cubicBezTo>
                    <a:cubicBezTo>
                      <a:pt x="26477" y="67455"/>
                      <a:pt x="26477" y="65564"/>
                      <a:pt x="25847" y="64303"/>
                    </a:cubicBez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23" name="Forma Livre: Forma 222">
                <a:extLst>
                  <a:ext uri="{FF2B5EF4-FFF2-40B4-BE49-F238E27FC236}">
                    <a16:creationId xmlns:a16="http://schemas.microsoft.com/office/drawing/2014/main" id="{DA859578-5A74-43F9-A959-AB6CF68995F1}"/>
                  </a:ext>
                </a:extLst>
              </p:cNvPr>
              <p:cNvSpPr/>
              <p:nvPr/>
            </p:nvSpPr>
            <p:spPr>
              <a:xfrm>
                <a:off x="5715854" y="5752204"/>
                <a:ext cx="59890" cy="79433"/>
              </a:xfrm>
              <a:custGeom>
                <a:avLst/>
                <a:gdLst>
                  <a:gd name="connsiteX0" fmla="*/ 59890 w 59890"/>
                  <a:gd name="connsiteY0" fmla="*/ 54847 h 79433"/>
                  <a:gd name="connsiteX1" fmla="*/ 56107 w 59890"/>
                  <a:gd name="connsiteY1" fmla="*/ 67455 h 79433"/>
                  <a:gd name="connsiteX2" fmla="*/ 46021 w 59890"/>
                  <a:gd name="connsiteY2" fmla="*/ 76281 h 79433"/>
                  <a:gd name="connsiteX3" fmla="*/ 29630 w 59890"/>
                  <a:gd name="connsiteY3" fmla="*/ 79433 h 79433"/>
                  <a:gd name="connsiteX4" fmla="*/ 11348 w 59890"/>
                  <a:gd name="connsiteY4" fmla="*/ 75020 h 79433"/>
                  <a:gd name="connsiteX5" fmla="*/ 3152 w 59890"/>
                  <a:gd name="connsiteY5" fmla="*/ 66825 h 79433"/>
                  <a:gd name="connsiteX6" fmla="*/ 0 w 59890"/>
                  <a:gd name="connsiteY6" fmla="*/ 56738 h 79433"/>
                  <a:gd name="connsiteX7" fmla="*/ 1891 w 59890"/>
                  <a:gd name="connsiteY7" fmla="*/ 51695 h 79433"/>
                  <a:gd name="connsiteX8" fmla="*/ 6934 w 59890"/>
                  <a:gd name="connsiteY8" fmla="*/ 49804 h 79433"/>
                  <a:gd name="connsiteX9" fmla="*/ 11348 w 59890"/>
                  <a:gd name="connsiteY9" fmla="*/ 51064 h 79433"/>
                  <a:gd name="connsiteX10" fmla="*/ 14500 w 59890"/>
                  <a:gd name="connsiteY10" fmla="*/ 55477 h 79433"/>
                  <a:gd name="connsiteX11" fmla="*/ 17652 w 59890"/>
                  <a:gd name="connsiteY11" fmla="*/ 61782 h 79433"/>
                  <a:gd name="connsiteX12" fmla="*/ 22065 w 59890"/>
                  <a:gd name="connsiteY12" fmla="*/ 65564 h 79433"/>
                  <a:gd name="connsiteX13" fmla="*/ 30260 w 59890"/>
                  <a:gd name="connsiteY13" fmla="*/ 67455 h 79433"/>
                  <a:gd name="connsiteX14" fmla="*/ 41608 w 59890"/>
                  <a:gd name="connsiteY14" fmla="*/ 64303 h 79433"/>
                  <a:gd name="connsiteX15" fmla="*/ 46021 w 59890"/>
                  <a:gd name="connsiteY15" fmla="*/ 56108 h 79433"/>
                  <a:gd name="connsiteX16" fmla="*/ 43499 w 59890"/>
                  <a:gd name="connsiteY16" fmla="*/ 49804 h 79433"/>
                  <a:gd name="connsiteX17" fmla="*/ 37825 w 59890"/>
                  <a:gd name="connsiteY17" fmla="*/ 46021 h 79433"/>
                  <a:gd name="connsiteX18" fmla="*/ 28369 w 59890"/>
                  <a:gd name="connsiteY18" fmla="*/ 43499 h 79433"/>
                  <a:gd name="connsiteX19" fmla="*/ 14500 w 59890"/>
                  <a:gd name="connsiteY19" fmla="*/ 39086 h 79433"/>
                  <a:gd name="connsiteX20" fmla="*/ 5674 w 59890"/>
                  <a:gd name="connsiteY20" fmla="*/ 32152 h 79433"/>
                  <a:gd name="connsiteX21" fmla="*/ 2521 w 59890"/>
                  <a:gd name="connsiteY21" fmla="*/ 21435 h 79433"/>
                  <a:gd name="connsiteX22" fmla="*/ 5674 w 59890"/>
                  <a:gd name="connsiteY22" fmla="*/ 10087 h 79433"/>
                  <a:gd name="connsiteX23" fmla="*/ 15761 w 59890"/>
                  <a:gd name="connsiteY23" fmla="*/ 2522 h 79433"/>
                  <a:gd name="connsiteX24" fmla="*/ 30890 w 59890"/>
                  <a:gd name="connsiteY24" fmla="*/ 0 h 79433"/>
                  <a:gd name="connsiteX25" fmla="*/ 42869 w 59890"/>
                  <a:gd name="connsiteY25" fmla="*/ 1892 h 79433"/>
                  <a:gd name="connsiteX26" fmla="*/ 51064 w 59890"/>
                  <a:gd name="connsiteY26" fmla="*/ 6304 h 79433"/>
                  <a:gd name="connsiteX27" fmla="*/ 56107 w 59890"/>
                  <a:gd name="connsiteY27" fmla="*/ 12608 h 79433"/>
                  <a:gd name="connsiteX28" fmla="*/ 57368 w 59890"/>
                  <a:gd name="connsiteY28" fmla="*/ 18913 h 79433"/>
                  <a:gd name="connsiteX29" fmla="*/ 55477 w 59890"/>
                  <a:gd name="connsiteY29" fmla="*/ 23956 h 79433"/>
                  <a:gd name="connsiteX30" fmla="*/ 50434 w 59890"/>
                  <a:gd name="connsiteY30" fmla="*/ 25848 h 79433"/>
                  <a:gd name="connsiteX31" fmla="*/ 46651 w 59890"/>
                  <a:gd name="connsiteY31" fmla="*/ 24587 h 79433"/>
                  <a:gd name="connsiteX32" fmla="*/ 43499 w 59890"/>
                  <a:gd name="connsiteY32" fmla="*/ 20174 h 79433"/>
                  <a:gd name="connsiteX33" fmla="*/ 38456 w 59890"/>
                  <a:gd name="connsiteY33" fmla="*/ 13239 h 79433"/>
                  <a:gd name="connsiteX34" fmla="*/ 28999 w 59890"/>
                  <a:gd name="connsiteY34" fmla="*/ 10717 h 79433"/>
                  <a:gd name="connsiteX35" fmla="*/ 19543 w 59890"/>
                  <a:gd name="connsiteY35" fmla="*/ 13239 h 79433"/>
                  <a:gd name="connsiteX36" fmla="*/ 15761 w 59890"/>
                  <a:gd name="connsiteY36" fmla="*/ 19543 h 79433"/>
                  <a:gd name="connsiteX37" fmla="*/ 17021 w 59890"/>
                  <a:gd name="connsiteY37" fmla="*/ 23326 h 79433"/>
                  <a:gd name="connsiteX38" fmla="*/ 20174 w 59890"/>
                  <a:gd name="connsiteY38" fmla="*/ 25848 h 79433"/>
                  <a:gd name="connsiteX39" fmla="*/ 24586 w 59890"/>
                  <a:gd name="connsiteY39" fmla="*/ 27739 h 79433"/>
                  <a:gd name="connsiteX40" fmla="*/ 32151 w 59890"/>
                  <a:gd name="connsiteY40" fmla="*/ 29630 h 79433"/>
                  <a:gd name="connsiteX41" fmla="*/ 43499 w 59890"/>
                  <a:gd name="connsiteY41" fmla="*/ 32782 h 79433"/>
                  <a:gd name="connsiteX42" fmla="*/ 52325 w 59890"/>
                  <a:gd name="connsiteY42" fmla="*/ 37195 h 79433"/>
                  <a:gd name="connsiteX43" fmla="*/ 57999 w 59890"/>
                  <a:gd name="connsiteY43" fmla="*/ 43499 h 79433"/>
                  <a:gd name="connsiteX44" fmla="*/ 59890 w 59890"/>
                  <a:gd name="connsiteY44" fmla="*/ 54847 h 79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59890" h="79433">
                    <a:moveTo>
                      <a:pt x="59890" y="54847"/>
                    </a:moveTo>
                    <a:cubicBezTo>
                      <a:pt x="59890" y="59260"/>
                      <a:pt x="58629" y="63673"/>
                      <a:pt x="56107" y="67455"/>
                    </a:cubicBezTo>
                    <a:cubicBezTo>
                      <a:pt x="53586" y="71238"/>
                      <a:pt x="50434" y="73760"/>
                      <a:pt x="46021" y="76281"/>
                    </a:cubicBezTo>
                    <a:cubicBezTo>
                      <a:pt x="41608" y="78173"/>
                      <a:pt x="35934" y="79433"/>
                      <a:pt x="29630" y="79433"/>
                    </a:cubicBezTo>
                    <a:cubicBezTo>
                      <a:pt x="22065" y="79433"/>
                      <a:pt x="15761" y="78173"/>
                      <a:pt x="11348" y="75020"/>
                    </a:cubicBezTo>
                    <a:cubicBezTo>
                      <a:pt x="8195" y="73129"/>
                      <a:pt x="5043" y="69977"/>
                      <a:pt x="3152" y="66825"/>
                    </a:cubicBezTo>
                    <a:cubicBezTo>
                      <a:pt x="1261" y="63673"/>
                      <a:pt x="0" y="59890"/>
                      <a:pt x="0" y="56738"/>
                    </a:cubicBezTo>
                    <a:cubicBezTo>
                      <a:pt x="0" y="54847"/>
                      <a:pt x="630" y="53586"/>
                      <a:pt x="1891" y="51695"/>
                    </a:cubicBezTo>
                    <a:cubicBezTo>
                      <a:pt x="3152" y="50434"/>
                      <a:pt x="5043" y="49804"/>
                      <a:pt x="6934" y="49804"/>
                    </a:cubicBezTo>
                    <a:cubicBezTo>
                      <a:pt x="8826" y="49804"/>
                      <a:pt x="10087" y="50434"/>
                      <a:pt x="11348" y="51064"/>
                    </a:cubicBezTo>
                    <a:cubicBezTo>
                      <a:pt x="12608" y="52325"/>
                      <a:pt x="13239" y="53586"/>
                      <a:pt x="14500" y="55477"/>
                    </a:cubicBezTo>
                    <a:cubicBezTo>
                      <a:pt x="15761" y="57999"/>
                      <a:pt x="16391" y="59890"/>
                      <a:pt x="17652" y="61782"/>
                    </a:cubicBezTo>
                    <a:cubicBezTo>
                      <a:pt x="18913" y="63673"/>
                      <a:pt x="20174" y="64934"/>
                      <a:pt x="22065" y="65564"/>
                    </a:cubicBezTo>
                    <a:cubicBezTo>
                      <a:pt x="23956" y="66825"/>
                      <a:pt x="26478" y="67455"/>
                      <a:pt x="30260" y="67455"/>
                    </a:cubicBezTo>
                    <a:cubicBezTo>
                      <a:pt x="34673" y="67455"/>
                      <a:pt x="38456" y="66194"/>
                      <a:pt x="41608" y="64303"/>
                    </a:cubicBezTo>
                    <a:cubicBezTo>
                      <a:pt x="44130" y="62412"/>
                      <a:pt x="46021" y="59260"/>
                      <a:pt x="46021" y="56108"/>
                    </a:cubicBezTo>
                    <a:cubicBezTo>
                      <a:pt x="46021" y="53586"/>
                      <a:pt x="45390" y="51695"/>
                      <a:pt x="43499" y="49804"/>
                    </a:cubicBezTo>
                    <a:cubicBezTo>
                      <a:pt x="42238" y="47912"/>
                      <a:pt x="39717" y="47282"/>
                      <a:pt x="37825" y="46021"/>
                    </a:cubicBezTo>
                    <a:cubicBezTo>
                      <a:pt x="35304" y="45391"/>
                      <a:pt x="32151" y="44130"/>
                      <a:pt x="28369" y="43499"/>
                    </a:cubicBezTo>
                    <a:cubicBezTo>
                      <a:pt x="22695" y="42238"/>
                      <a:pt x="18282" y="40977"/>
                      <a:pt x="14500" y="39086"/>
                    </a:cubicBezTo>
                    <a:cubicBezTo>
                      <a:pt x="10717" y="37195"/>
                      <a:pt x="8195" y="35304"/>
                      <a:pt x="5674" y="32152"/>
                    </a:cubicBezTo>
                    <a:cubicBezTo>
                      <a:pt x="3782" y="29000"/>
                      <a:pt x="2521" y="25848"/>
                      <a:pt x="2521" y="21435"/>
                    </a:cubicBezTo>
                    <a:cubicBezTo>
                      <a:pt x="2521" y="17021"/>
                      <a:pt x="3782" y="13869"/>
                      <a:pt x="5674" y="10087"/>
                    </a:cubicBezTo>
                    <a:cubicBezTo>
                      <a:pt x="8195" y="6935"/>
                      <a:pt x="11348" y="4413"/>
                      <a:pt x="15761" y="2522"/>
                    </a:cubicBezTo>
                    <a:cubicBezTo>
                      <a:pt x="20174" y="631"/>
                      <a:pt x="25217" y="0"/>
                      <a:pt x="30890" y="0"/>
                    </a:cubicBezTo>
                    <a:cubicBezTo>
                      <a:pt x="35304" y="0"/>
                      <a:pt x="39717" y="631"/>
                      <a:pt x="42869" y="1892"/>
                    </a:cubicBezTo>
                    <a:cubicBezTo>
                      <a:pt x="46021" y="3152"/>
                      <a:pt x="49173" y="4413"/>
                      <a:pt x="51064" y="6304"/>
                    </a:cubicBezTo>
                    <a:cubicBezTo>
                      <a:pt x="53586" y="8196"/>
                      <a:pt x="54847" y="10087"/>
                      <a:pt x="56107" y="12608"/>
                    </a:cubicBezTo>
                    <a:cubicBezTo>
                      <a:pt x="57368" y="14500"/>
                      <a:pt x="57368" y="17021"/>
                      <a:pt x="57368" y="18913"/>
                    </a:cubicBezTo>
                    <a:cubicBezTo>
                      <a:pt x="57368" y="20804"/>
                      <a:pt x="56738" y="22695"/>
                      <a:pt x="55477" y="23956"/>
                    </a:cubicBezTo>
                    <a:cubicBezTo>
                      <a:pt x="54216" y="25217"/>
                      <a:pt x="52325" y="25848"/>
                      <a:pt x="50434" y="25848"/>
                    </a:cubicBezTo>
                    <a:cubicBezTo>
                      <a:pt x="48543" y="25848"/>
                      <a:pt x="47282" y="25217"/>
                      <a:pt x="46651" y="24587"/>
                    </a:cubicBezTo>
                    <a:cubicBezTo>
                      <a:pt x="46021" y="23956"/>
                      <a:pt x="44760" y="22065"/>
                      <a:pt x="43499" y="20174"/>
                    </a:cubicBezTo>
                    <a:cubicBezTo>
                      <a:pt x="42238" y="17021"/>
                      <a:pt x="40347" y="15130"/>
                      <a:pt x="38456" y="13239"/>
                    </a:cubicBezTo>
                    <a:cubicBezTo>
                      <a:pt x="36564" y="11348"/>
                      <a:pt x="33412" y="10717"/>
                      <a:pt x="28999" y="10717"/>
                    </a:cubicBezTo>
                    <a:cubicBezTo>
                      <a:pt x="25217" y="10717"/>
                      <a:pt x="22065" y="11348"/>
                      <a:pt x="19543" y="13239"/>
                    </a:cubicBezTo>
                    <a:cubicBezTo>
                      <a:pt x="17021" y="15130"/>
                      <a:pt x="15761" y="17021"/>
                      <a:pt x="15761" y="19543"/>
                    </a:cubicBezTo>
                    <a:cubicBezTo>
                      <a:pt x="15761" y="20804"/>
                      <a:pt x="16391" y="22065"/>
                      <a:pt x="17021" y="23326"/>
                    </a:cubicBezTo>
                    <a:cubicBezTo>
                      <a:pt x="17652" y="24587"/>
                      <a:pt x="18913" y="25217"/>
                      <a:pt x="20174" y="25848"/>
                    </a:cubicBezTo>
                    <a:cubicBezTo>
                      <a:pt x="21434" y="26478"/>
                      <a:pt x="23326" y="27108"/>
                      <a:pt x="24586" y="27739"/>
                    </a:cubicBezTo>
                    <a:cubicBezTo>
                      <a:pt x="25847" y="28369"/>
                      <a:pt x="28369" y="29000"/>
                      <a:pt x="32151" y="29630"/>
                    </a:cubicBezTo>
                    <a:cubicBezTo>
                      <a:pt x="36564" y="30891"/>
                      <a:pt x="40347" y="31521"/>
                      <a:pt x="43499" y="32782"/>
                    </a:cubicBezTo>
                    <a:cubicBezTo>
                      <a:pt x="47282" y="34043"/>
                      <a:pt x="49803" y="35304"/>
                      <a:pt x="52325" y="37195"/>
                    </a:cubicBezTo>
                    <a:cubicBezTo>
                      <a:pt x="54847" y="39086"/>
                      <a:pt x="56738" y="40977"/>
                      <a:pt x="57999" y="43499"/>
                    </a:cubicBezTo>
                    <a:cubicBezTo>
                      <a:pt x="59259" y="47912"/>
                      <a:pt x="59890" y="51064"/>
                      <a:pt x="59890" y="54847"/>
                    </a:cubicBez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224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7474733" y="5705553"/>
            <a:ext cx="332863" cy="400318"/>
            <a:chOff x="7474733" y="5705553"/>
            <a:chExt cx="332863" cy="400318"/>
          </a:xfrm>
          <a:solidFill>
            <a:srgbClr val="B1B1A1"/>
          </a:solidFill>
        </p:grpSpPr>
        <p:sp>
          <p:nvSpPr>
            <p:cNvPr id="225" name="Forma Livre: Forma 224">
              <a:extLst>
                <a:ext uri="{FF2B5EF4-FFF2-40B4-BE49-F238E27FC236}">
                  <a16:creationId xmlns:a16="http://schemas.microsoft.com/office/drawing/2014/main" id="{6C968B75-F7BE-4077-A883-0C65FE226033}"/>
                </a:ext>
              </a:extLst>
            </p:cNvPr>
            <p:cNvSpPr/>
            <p:nvPr/>
          </p:nvSpPr>
          <p:spPr>
            <a:xfrm>
              <a:off x="7578753" y="6022656"/>
              <a:ext cx="35303" cy="35303"/>
            </a:xfrm>
            <a:custGeom>
              <a:avLst/>
              <a:gdLst>
                <a:gd name="connsiteX0" fmla="*/ 35304 w 35303"/>
                <a:gd name="connsiteY0" fmla="*/ 17652 h 35303"/>
                <a:gd name="connsiteX1" fmla="*/ 17652 w 35303"/>
                <a:gd name="connsiteY1" fmla="*/ 35304 h 35303"/>
                <a:gd name="connsiteX2" fmla="*/ 0 w 35303"/>
                <a:gd name="connsiteY2" fmla="*/ 17652 h 35303"/>
                <a:gd name="connsiteX3" fmla="*/ 17652 w 35303"/>
                <a:gd name="connsiteY3" fmla="*/ 0 h 35303"/>
                <a:gd name="connsiteX4" fmla="*/ 35304 w 35303"/>
                <a:gd name="connsiteY4" fmla="*/ 17652 h 35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303" h="35303">
                  <a:moveTo>
                    <a:pt x="35304" y="17652"/>
                  </a:moveTo>
                  <a:cubicBezTo>
                    <a:pt x="35304" y="27739"/>
                    <a:pt x="27108" y="35304"/>
                    <a:pt x="17652" y="35304"/>
                  </a:cubicBezTo>
                  <a:cubicBezTo>
                    <a:pt x="7565" y="35304"/>
                    <a:pt x="0" y="27108"/>
                    <a:pt x="0" y="17652"/>
                  </a:cubicBezTo>
                  <a:cubicBezTo>
                    <a:pt x="0" y="8195"/>
                    <a:pt x="8195" y="0"/>
                    <a:pt x="17652" y="0"/>
                  </a:cubicBezTo>
                  <a:cubicBezTo>
                    <a:pt x="27738" y="0"/>
                    <a:pt x="35304" y="7565"/>
                    <a:pt x="35304" y="17652"/>
                  </a:cubicBez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26" name="Forma Livre: Forma 225">
              <a:extLst>
                <a:ext uri="{FF2B5EF4-FFF2-40B4-BE49-F238E27FC236}">
                  <a16:creationId xmlns:a16="http://schemas.microsoft.com/office/drawing/2014/main" id="{A9B071A8-275A-410D-9EB7-6F510AEE59F5}"/>
                </a:ext>
              </a:extLst>
            </p:cNvPr>
            <p:cNvSpPr/>
            <p:nvPr/>
          </p:nvSpPr>
          <p:spPr>
            <a:xfrm>
              <a:off x="7516341" y="5801377"/>
              <a:ext cx="160757" cy="206147"/>
            </a:xfrm>
            <a:custGeom>
              <a:avLst/>
              <a:gdLst>
                <a:gd name="connsiteX0" fmla="*/ 152562 w 160757"/>
                <a:gd name="connsiteY0" fmla="*/ 206148 h 206147"/>
                <a:gd name="connsiteX1" fmla="*/ 8195 w 160757"/>
                <a:gd name="connsiteY1" fmla="*/ 206148 h 206147"/>
                <a:gd name="connsiteX2" fmla="*/ 0 w 160757"/>
                <a:gd name="connsiteY2" fmla="*/ 197952 h 206147"/>
                <a:gd name="connsiteX3" fmla="*/ 0 w 160757"/>
                <a:gd name="connsiteY3" fmla="*/ 8195 h 206147"/>
                <a:gd name="connsiteX4" fmla="*/ 8195 w 160757"/>
                <a:gd name="connsiteY4" fmla="*/ 0 h 206147"/>
                <a:gd name="connsiteX5" fmla="*/ 86998 w 160757"/>
                <a:gd name="connsiteY5" fmla="*/ 0 h 206147"/>
                <a:gd name="connsiteX6" fmla="*/ 95194 w 160757"/>
                <a:gd name="connsiteY6" fmla="*/ 8195 h 206147"/>
                <a:gd name="connsiteX7" fmla="*/ 86998 w 160757"/>
                <a:gd name="connsiteY7" fmla="*/ 16391 h 206147"/>
                <a:gd name="connsiteX8" fmla="*/ 16391 w 160757"/>
                <a:gd name="connsiteY8" fmla="*/ 16391 h 206147"/>
                <a:gd name="connsiteX9" fmla="*/ 16391 w 160757"/>
                <a:gd name="connsiteY9" fmla="*/ 189757 h 206147"/>
                <a:gd name="connsiteX10" fmla="*/ 144367 w 160757"/>
                <a:gd name="connsiteY10" fmla="*/ 189757 h 206147"/>
                <a:gd name="connsiteX11" fmla="*/ 144367 w 160757"/>
                <a:gd name="connsiteY11" fmla="*/ 78803 h 206147"/>
                <a:gd name="connsiteX12" fmla="*/ 152562 w 160757"/>
                <a:gd name="connsiteY12" fmla="*/ 70607 h 206147"/>
                <a:gd name="connsiteX13" fmla="*/ 160758 w 160757"/>
                <a:gd name="connsiteY13" fmla="*/ 78803 h 206147"/>
                <a:gd name="connsiteX14" fmla="*/ 160758 w 160757"/>
                <a:gd name="connsiteY14" fmla="*/ 197952 h 206147"/>
                <a:gd name="connsiteX15" fmla="*/ 152562 w 160757"/>
                <a:gd name="connsiteY15" fmla="*/ 206148 h 206147"/>
                <a:gd name="connsiteX16" fmla="*/ 152562 w 160757"/>
                <a:gd name="connsiteY16" fmla="*/ 206148 h 206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60757" h="206147">
                  <a:moveTo>
                    <a:pt x="152562" y="206148"/>
                  </a:moveTo>
                  <a:lnTo>
                    <a:pt x="8195" y="206148"/>
                  </a:lnTo>
                  <a:cubicBezTo>
                    <a:pt x="3783" y="206148"/>
                    <a:pt x="0" y="202365"/>
                    <a:pt x="0" y="197952"/>
                  </a:cubicBezTo>
                  <a:lnTo>
                    <a:pt x="0" y="8195"/>
                  </a:lnTo>
                  <a:cubicBezTo>
                    <a:pt x="0" y="3782"/>
                    <a:pt x="3783" y="0"/>
                    <a:pt x="8195" y="0"/>
                  </a:cubicBezTo>
                  <a:lnTo>
                    <a:pt x="86998" y="0"/>
                  </a:lnTo>
                  <a:cubicBezTo>
                    <a:pt x="91411" y="0"/>
                    <a:pt x="95194" y="3782"/>
                    <a:pt x="95194" y="8195"/>
                  </a:cubicBezTo>
                  <a:cubicBezTo>
                    <a:pt x="95194" y="12608"/>
                    <a:pt x="91411" y="16391"/>
                    <a:pt x="86998" y="16391"/>
                  </a:cubicBezTo>
                  <a:lnTo>
                    <a:pt x="16391" y="16391"/>
                  </a:lnTo>
                  <a:lnTo>
                    <a:pt x="16391" y="189757"/>
                  </a:lnTo>
                  <a:lnTo>
                    <a:pt x="144367" y="189757"/>
                  </a:lnTo>
                  <a:lnTo>
                    <a:pt x="144367" y="78803"/>
                  </a:lnTo>
                  <a:cubicBezTo>
                    <a:pt x="144367" y="74390"/>
                    <a:pt x="148149" y="70607"/>
                    <a:pt x="152562" y="70607"/>
                  </a:cubicBezTo>
                  <a:cubicBezTo>
                    <a:pt x="156975" y="70607"/>
                    <a:pt x="160758" y="74390"/>
                    <a:pt x="160758" y="78803"/>
                  </a:cubicBezTo>
                  <a:lnTo>
                    <a:pt x="160758" y="197952"/>
                  </a:lnTo>
                  <a:cubicBezTo>
                    <a:pt x="160758" y="202365"/>
                    <a:pt x="156975" y="206148"/>
                    <a:pt x="152562" y="206148"/>
                  </a:cubicBezTo>
                  <a:lnTo>
                    <a:pt x="152562" y="206148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27" name="Forma Livre: Forma 226">
              <a:extLst>
                <a:ext uri="{FF2B5EF4-FFF2-40B4-BE49-F238E27FC236}">
                  <a16:creationId xmlns:a16="http://schemas.microsoft.com/office/drawing/2014/main" id="{2A573710-2E26-4F1A-93AE-C8ADB2A4112B}"/>
                </a:ext>
              </a:extLst>
            </p:cNvPr>
            <p:cNvSpPr/>
            <p:nvPr/>
          </p:nvSpPr>
          <p:spPr>
            <a:xfrm>
              <a:off x="7474733" y="5743378"/>
              <a:ext cx="242749" cy="362492"/>
            </a:xfrm>
            <a:custGeom>
              <a:avLst/>
              <a:gdLst>
                <a:gd name="connsiteX0" fmla="*/ 226321 w 242749"/>
                <a:gd name="connsiteY0" fmla="*/ 362493 h 362492"/>
                <a:gd name="connsiteX1" fmla="*/ 16391 w 242749"/>
                <a:gd name="connsiteY1" fmla="*/ 362493 h 362492"/>
                <a:gd name="connsiteX2" fmla="*/ 0 w 242749"/>
                <a:gd name="connsiteY2" fmla="*/ 346102 h 362492"/>
                <a:gd name="connsiteX3" fmla="*/ 0 w 242749"/>
                <a:gd name="connsiteY3" fmla="*/ 16391 h 362492"/>
                <a:gd name="connsiteX4" fmla="*/ 16391 w 242749"/>
                <a:gd name="connsiteY4" fmla="*/ 0 h 362492"/>
                <a:gd name="connsiteX5" fmla="*/ 160758 w 242749"/>
                <a:gd name="connsiteY5" fmla="*/ 0 h 362492"/>
                <a:gd name="connsiteX6" fmla="*/ 160758 w 242749"/>
                <a:gd name="connsiteY6" fmla="*/ 33412 h 362492"/>
                <a:gd name="connsiteX7" fmla="*/ 32782 w 242749"/>
                <a:gd name="connsiteY7" fmla="*/ 33412 h 362492"/>
                <a:gd name="connsiteX8" fmla="*/ 32782 w 242749"/>
                <a:gd name="connsiteY8" fmla="*/ 329711 h 362492"/>
                <a:gd name="connsiteX9" fmla="*/ 209300 w 242749"/>
                <a:gd name="connsiteY9" fmla="*/ 329711 h 362492"/>
                <a:gd name="connsiteX10" fmla="*/ 209300 w 242749"/>
                <a:gd name="connsiteY10" fmla="*/ 156975 h 362492"/>
                <a:gd name="connsiteX11" fmla="*/ 242713 w 242749"/>
                <a:gd name="connsiteY11" fmla="*/ 156975 h 362492"/>
                <a:gd name="connsiteX12" fmla="*/ 242713 w 242749"/>
                <a:gd name="connsiteY12" fmla="*/ 346732 h 362492"/>
                <a:gd name="connsiteX13" fmla="*/ 226321 w 242749"/>
                <a:gd name="connsiteY13" fmla="*/ 362493 h 362492"/>
                <a:gd name="connsiteX14" fmla="*/ 226321 w 242749"/>
                <a:gd name="connsiteY14" fmla="*/ 362493 h 36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2749" h="362492">
                  <a:moveTo>
                    <a:pt x="226321" y="362493"/>
                  </a:moveTo>
                  <a:lnTo>
                    <a:pt x="16391" y="362493"/>
                  </a:lnTo>
                  <a:cubicBezTo>
                    <a:pt x="6934" y="362493"/>
                    <a:pt x="0" y="354928"/>
                    <a:pt x="0" y="346102"/>
                  </a:cubicBezTo>
                  <a:lnTo>
                    <a:pt x="0" y="16391"/>
                  </a:lnTo>
                  <a:cubicBezTo>
                    <a:pt x="0" y="6934"/>
                    <a:pt x="7565" y="0"/>
                    <a:pt x="16391" y="0"/>
                  </a:cubicBezTo>
                  <a:lnTo>
                    <a:pt x="160758" y="0"/>
                  </a:lnTo>
                  <a:lnTo>
                    <a:pt x="160758" y="33412"/>
                  </a:lnTo>
                  <a:lnTo>
                    <a:pt x="32782" y="33412"/>
                  </a:lnTo>
                  <a:lnTo>
                    <a:pt x="32782" y="329711"/>
                  </a:lnTo>
                  <a:lnTo>
                    <a:pt x="209300" y="329711"/>
                  </a:lnTo>
                  <a:lnTo>
                    <a:pt x="209300" y="156975"/>
                  </a:lnTo>
                  <a:lnTo>
                    <a:pt x="242713" y="156975"/>
                  </a:lnTo>
                  <a:lnTo>
                    <a:pt x="242713" y="346732"/>
                  </a:lnTo>
                  <a:cubicBezTo>
                    <a:pt x="243343" y="354928"/>
                    <a:pt x="235778" y="362493"/>
                    <a:pt x="226321" y="362493"/>
                  </a:cubicBezTo>
                  <a:lnTo>
                    <a:pt x="226321" y="362493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28" name="Forma Livre: Forma 227">
              <a:extLst>
                <a:ext uri="{FF2B5EF4-FFF2-40B4-BE49-F238E27FC236}">
                  <a16:creationId xmlns:a16="http://schemas.microsoft.com/office/drawing/2014/main" id="{D919EF65-6A18-4A35-9492-1C3AFE4B4D79}"/>
                </a:ext>
              </a:extLst>
            </p:cNvPr>
            <p:cNvSpPr/>
            <p:nvPr/>
          </p:nvSpPr>
          <p:spPr>
            <a:xfrm>
              <a:off x="7596405" y="5705553"/>
              <a:ext cx="211191" cy="212452"/>
            </a:xfrm>
            <a:custGeom>
              <a:avLst/>
              <a:gdLst>
                <a:gd name="connsiteX0" fmla="*/ 117258 w 211191"/>
                <a:gd name="connsiteY0" fmla="*/ 212452 h 212452"/>
                <a:gd name="connsiteX1" fmla="*/ 93933 w 211191"/>
                <a:gd name="connsiteY1" fmla="*/ 212452 h 212452"/>
                <a:gd name="connsiteX2" fmla="*/ 79433 w 211191"/>
                <a:gd name="connsiteY2" fmla="*/ 197952 h 212452"/>
                <a:gd name="connsiteX3" fmla="*/ 79433 w 211191"/>
                <a:gd name="connsiteY3" fmla="*/ 182823 h 212452"/>
                <a:gd name="connsiteX4" fmla="*/ 71868 w 211191"/>
                <a:gd name="connsiteY4" fmla="*/ 179040 h 212452"/>
                <a:gd name="connsiteX5" fmla="*/ 59890 w 211191"/>
                <a:gd name="connsiteY5" fmla="*/ 189757 h 212452"/>
                <a:gd name="connsiteX6" fmla="*/ 39086 w 211191"/>
                <a:gd name="connsiteY6" fmla="*/ 189757 h 212452"/>
                <a:gd name="connsiteX7" fmla="*/ 22695 w 211191"/>
                <a:gd name="connsiteY7" fmla="*/ 173366 h 212452"/>
                <a:gd name="connsiteX8" fmla="*/ 18282 w 211191"/>
                <a:gd name="connsiteY8" fmla="*/ 162649 h 212452"/>
                <a:gd name="connsiteX9" fmla="*/ 22695 w 211191"/>
                <a:gd name="connsiteY9" fmla="*/ 151932 h 212452"/>
                <a:gd name="connsiteX10" fmla="*/ 33412 w 211191"/>
                <a:gd name="connsiteY10" fmla="*/ 141214 h 212452"/>
                <a:gd name="connsiteX11" fmla="*/ 30260 w 211191"/>
                <a:gd name="connsiteY11" fmla="*/ 133019 h 212452"/>
                <a:gd name="connsiteX12" fmla="*/ 14500 w 211191"/>
                <a:gd name="connsiteY12" fmla="*/ 132389 h 212452"/>
                <a:gd name="connsiteX13" fmla="*/ 0 w 211191"/>
                <a:gd name="connsiteY13" fmla="*/ 117889 h 212452"/>
                <a:gd name="connsiteX14" fmla="*/ 0 w 211191"/>
                <a:gd name="connsiteY14" fmla="*/ 94563 h 212452"/>
                <a:gd name="connsiteX15" fmla="*/ 14500 w 211191"/>
                <a:gd name="connsiteY15" fmla="*/ 80064 h 212452"/>
                <a:gd name="connsiteX16" fmla="*/ 29630 w 211191"/>
                <a:gd name="connsiteY16" fmla="*/ 80064 h 212452"/>
                <a:gd name="connsiteX17" fmla="*/ 33412 w 211191"/>
                <a:gd name="connsiteY17" fmla="*/ 72499 h 212452"/>
                <a:gd name="connsiteX18" fmla="*/ 22695 w 211191"/>
                <a:gd name="connsiteY18" fmla="*/ 60520 h 212452"/>
                <a:gd name="connsiteX19" fmla="*/ 18282 w 211191"/>
                <a:gd name="connsiteY19" fmla="*/ 49803 h 212452"/>
                <a:gd name="connsiteX20" fmla="*/ 22695 w 211191"/>
                <a:gd name="connsiteY20" fmla="*/ 39086 h 212452"/>
                <a:gd name="connsiteX21" fmla="*/ 39086 w 211191"/>
                <a:gd name="connsiteY21" fmla="*/ 22695 h 212452"/>
                <a:gd name="connsiteX22" fmla="*/ 59890 w 211191"/>
                <a:gd name="connsiteY22" fmla="*/ 22695 h 212452"/>
                <a:gd name="connsiteX23" fmla="*/ 70607 w 211191"/>
                <a:gd name="connsiteY23" fmla="*/ 33412 h 212452"/>
                <a:gd name="connsiteX24" fmla="*/ 78803 w 211191"/>
                <a:gd name="connsiteY24" fmla="*/ 30260 h 212452"/>
                <a:gd name="connsiteX25" fmla="*/ 79433 w 211191"/>
                <a:gd name="connsiteY25" fmla="*/ 14500 h 212452"/>
                <a:gd name="connsiteX26" fmla="*/ 93933 w 211191"/>
                <a:gd name="connsiteY26" fmla="*/ 0 h 212452"/>
                <a:gd name="connsiteX27" fmla="*/ 117258 w 211191"/>
                <a:gd name="connsiteY27" fmla="*/ 0 h 212452"/>
                <a:gd name="connsiteX28" fmla="*/ 131758 w 211191"/>
                <a:gd name="connsiteY28" fmla="*/ 14500 h 212452"/>
                <a:gd name="connsiteX29" fmla="*/ 131758 w 211191"/>
                <a:gd name="connsiteY29" fmla="*/ 29630 h 212452"/>
                <a:gd name="connsiteX30" fmla="*/ 139323 w 211191"/>
                <a:gd name="connsiteY30" fmla="*/ 33412 h 212452"/>
                <a:gd name="connsiteX31" fmla="*/ 151301 w 211191"/>
                <a:gd name="connsiteY31" fmla="*/ 22695 h 212452"/>
                <a:gd name="connsiteX32" fmla="*/ 172106 w 211191"/>
                <a:gd name="connsiteY32" fmla="*/ 22695 h 212452"/>
                <a:gd name="connsiteX33" fmla="*/ 188496 w 211191"/>
                <a:gd name="connsiteY33" fmla="*/ 39086 h 212452"/>
                <a:gd name="connsiteX34" fmla="*/ 192909 w 211191"/>
                <a:gd name="connsiteY34" fmla="*/ 49803 h 212452"/>
                <a:gd name="connsiteX35" fmla="*/ 188496 w 211191"/>
                <a:gd name="connsiteY35" fmla="*/ 60520 h 212452"/>
                <a:gd name="connsiteX36" fmla="*/ 177779 w 211191"/>
                <a:gd name="connsiteY36" fmla="*/ 71238 h 212452"/>
                <a:gd name="connsiteX37" fmla="*/ 180931 w 211191"/>
                <a:gd name="connsiteY37" fmla="*/ 79433 h 212452"/>
                <a:gd name="connsiteX38" fmla="*/ 196692 w 211191"/>
                <a:gd name="connsiteY38" fmla="*/ 80694 h 212452"/>
                <a:gd name="connsiteX39" fmla="*/ 211192 w 211191"/>
                <a:gd name="connsiteY39" fmla="*/ 95194 h 212452"/>
                <a:gd name="connsiteX40" fmla="*/ 211192 w 211191"/>
                <a:gd name="connsiteY40" fmla="*/ 118519 h 212452"/>
                <a:gd name="connsiteX41" fmla="*/ 196692 w 211191"/>
                <a:gd name="connsiteY41" fmla="*/ 133019 h 212452"/>
                <a:gd name="connsiteX42" fmla="*/ 181562 w 211191"/>
                <a:gd name="connsiteY42" fmla="*/ 133019 h 212452"/>
                <a:gd name="connsiteX43" fmla="*/ 177779 w 211191"/>
                <a:gd name="connsiteY43" fmla="*/ 140584 h 212452"/>
                <a:gd name="connsiteX44" fmla="*/ 188496 w 211191"/>
                <a:gd name="connsiteY44" fmla="*/ 152562 h 212452"/>
                <a:gd name="connsiteX45" fmla="*/ 192909 w 211191"/>
                <a:gd name="connsiteY45" fmla="*/ 163279 h 212452"/>
                <a:gd name="connsiteX46" fmla="*/ 188496 w 211191"/>
                <a:gd name="connsiteY46" fmla="*/ 173996 h 212452"/>
                <a:gd name="connsiteX47" fmla="*/ 172106 w 211191"/>
                <a:gd name="connsiteY47" fmla="*/ 190388 h 212452"/>
                <a:gd name="connsiteX48" fmla="*/ 151301 w 211191"/>
                <a:gd name="connsiteY48" fmla="*/ 190388 h 212452"/>
                <a:gd name="connsiteX49" fmla="*/ 140585 w 211191"/>
                <a:gd name="connsiteY49" fmla="*/ 179670 h 212452"/>
                <a:gd name="connsiteX50" fmla="*/ 132389 w 211191"/>
                <a:gd name="connsiteY50" fmla="*/ 182823 h 212452"/>
                <a:gd name="connsiteX51" fmla="*/ 131758 w 211191"/>
                <a:gd name="connsiteY51" fmla="*/ 198583 h 212452"/>
                <a:gd name="connsiteX52" fmla="*/ 117258 w 211191"/>
                <a:gd name="connsiteY52" fmla="*/ 212452 h 212452"/>
                <a:gd name="connsiteX53" fmla="*/ 117258 w 211191"/>
                <a:gd name="connsiteY53" fmla="*/ 212452 h 212452"/>
                <a:gd name="connsiteX54" fmla="*/ 95824 w 211191"/>
                <a:gd name="connsiteY54" fmla="*/ 195431 h 212452"/>
                <a:gd name="connsiteX55" fmla="*/ 115367 w 211191"/>
                <a:gd name="connsiteY55" fmla="*/ 195431 h 212452"/>
                <a:gd name="connsiteX56" fmla="*/ 115367 w 211191"/>
                <a:gd name="connsiteY56" fmla="*/ 182192 h 212452"/>
                <a:gd name="connsiteX57" fmla="*/ 127345 w 211191"/>
                <a:gd name="connsiteY57" fmla="*/ 165801 h 212452"/>
                <a:gd name="connsiteX58" fmla="*/ 133649 w 211191"/>
                <a:gd name="connsiteY58" fmla="*/ 163279 h 212452"/>
                <a:gd name="connsiteX59" fmla="*/ 153193 w 211191"/>
                <a:gd name="connsiteY59" fmla="*/ 167062 h 212452"/>
                <a:gd name="connsiteX60" fmla="*/ 162649 w 211191"/>
                <a:gd name="connsiteY60" fmla="*/ 176518 h 212452"/>
                <a:gd name="connsiteX61" fmla="*/ 176518 w 211191"/>
                <a:gd name="connsiteY61" fmla="*/ 162649 h 212452"/>
                <a:gd name="connsiteX62" fmla="*/ 167062 w 211191"/>
                <a:gd name="connsiteY62" fmla="*/ 153193 h 212452"/>
                <a:gd name="connsiteX63" fmla="*/ 163910 w 211191"/>
                <a:gd name="connsiteY63" fmla="*/ 133019 h 212452"/>
                <a:gd name="connsiteX64" fmla="*/ 166432 w 211191"/>
                <a:gd name="connsiteY64" fmla="*/ 126715 h 212452"/>
                <a:gd name="connsiteX65" fmla="*/ 182823 w 211191"/>
                <a:gd name="connsiteY65" fmla="*/ 115367 h 212452"/>
                <a:gd name="connsiteX66" fmla="*/ 196061 w 211191"/>
                <a:gd name="connsiteY66" fmla="*/ 115367 h 212452"/>
                <a:gd name="connsiteX67" fmla="*/ 196061 w 211191"/>
                <a:gd name="connsiteY67" fmla="*/ 95824 h 212452"/>
                <a:gd name="connsiteX68" fmla="*/ 182823 w 211191"/>
                <a:gd name="connsiteY68" fmla="*/ 95824 h 212452"/>
                <a:gd name="connsiteX69" fmla="*/ 166432 w 211191"/>
                <a:gd name="connsiteY69" fmla="*/ 83846 h 212452"/>
                <a:gd name="connsiteX70" fmla="*/ 163910 w 211191"/>
                <a:gd name="connsiteY70" fmla="*/ 77542 h 212452"/>
                <a:gd name="connsiteX71" fmla="*/ 167062 w 211191"/>
                <a:gd name="connsiteY71" fmla="*/ 57999 h 212452"/>
                <a:gd name="connsiteX72" fmla="*/ 176518 w 211191"/>
                <a:gd name="connsiteY72" fmla="*/ 48543 h 212452"/>
                <a:gd name="connsiteX73" fmla="*/ 162649 w 211191"/>
                <a:gd name="connsiteY73" fmla="*/ 34673 h 212452"/>
                <a:gd name="connsiteX74" fmla="*/ 153193 w 211191"/>
                <a:gd name="connsiteY74" fmla="*/ 44130 h 212452"/>
                <a:gd name="connsiteX75" fmla="*/ 133019 w 211191"/>
                <a:gd name="connsiteY75" fmla="*/ 47282 h 212452"/>
                <a:gd name="connsiteX76" fmla="*/ 126715 w 211191"/>
                <a:gd name="connsiteY76" fmla="*/ 44760 h 212452"/>
                <a:gd name="connsiteX77" fmla="*/ 115367 w 211191"/>
                <a:gd name="connsiteY77" fmla="*/ 28369 h 212452"/>
                <a:gd name="connsiteX78" fmla="*/ 115367 w 211191"/>
                <a:gd name="connsiteY78" fmla="*/ 15130 h 212452"/>
                <a:gd name="connsiteX79" fmla="*/ 95824 w 211191"/>
                <a:gd name="connsiteY79" fmla="*/ 15130 h 212452"/>
                <a:gd name="connsiteX80" fmla="*/ 95824 w 211191"/>
                <a:gd name="connsiteY80" fmla="*/ 28369 h 212452"/>
                <a:gd name="connsiteX81" fmla="*/ 83846 w 211191"/>
                <a:gd name="connsiteY81" fmla="*/ 44760 h 212452"/>
                <a:gd name="connsiteX82" fmla="*/ 77542 w 211191"/>
                <a:gd name="connsiteY82" fmla="*/ 47282 h 212452"/>
                <a:gd name="connsiteX83" fmla="*/ 57999 w 211191"/>
                <a:gd name="connsiteY83" fmla="*/ 43499 h 212452"/>
                <a:gd name="connsiteX84" fmla="*/ 48543 w 211191"/>
                <a:gd name="connsiteY84" fmla="*/ 34043 h 212452"/>
                <a:gd name="connsiteX85" fmla="*/ 34673 w 211191"/>
                <a:gd name="connsiteY85" fmla="*/ 47912 h 212452"/>
                <a:gd name="connsiteX86" fmla="*/ 44130 w 211191"/>
                <a:gd name="connsiteY86" fmla="*/ 57368 h 212452"/>
                <a:gd name="connsiteX87" fmla="*/ 47282 w 211191"/>
                <a:gd name="connsiteY87" fmla="*/ 77542 h 212452"/>
                <a:gd name="connsiteX88" fmla="*/ 44760 w 211191"/>
                <a:gd name="connsiteY88" fmla="*/ 83846 h 212452"/>
                <a:gd name="connsiteX89" fmla="*/ 28369 w 211191"/>
                <a:gd name="connsiteY89" fmla="*/ 95194 h 212452"/>
                <a:gd name="connsiteX90" fmla="*/ 15130 w 211191"/>
                <a:gd name="connsiteY90" fmla="*/ 95194 h 212452"/>
                <a:gd name="connsiteX91" fmla="*/ 15130 w 211191"/>
                <a:gd name="connsiteY91" fmla="*/ 114737 h 212452"/>
                <a:gd name="connsiteX92" fmla="*/ 28369 w 211191"/>
                <a:gd name="connsiteY92" fmla="*/ 114737 h 212452"/>
                <a:gd name="connsiteX93" fmla="*/ 44760 w 211191"/>
                <a:gd name="connsiteY93" fmla="*/ 126715 h 212452"/>
                <a:gd name="connsiteX94" fmla="*/ 47282 w 211191"/>
                <a:gd name="connsiteY94" fmla="*/ 133019 h 212452"/>
                <a:gd name="connsiteX95" fmla="*/ 44130 w 211191"/>
                <a:gd name="connsiteY95" fmla="*/ 152562 h 212452"/>
                <a:gd name="connsiteX96" fmla="*/ 34673 w 211191"/>
                <a:gd name="connsiteY96" fmla="*/ 162019 h 212452"/>
                <a:gd name="connsiteX97" fmla="*/ 48543 w 211191"/>
                <a:gd name="connsiteY97" fmla="*/ 175888 h 212452"/>
                <a:gd name="connsiteX98" fmla="*/ 57999 w 211191"/>
                <a:gd name="connsiteY98" fmla="*/ 166431 h 212452"/>
                <a:gd name="connsiteX99" fmla="*/ 78173 w 211191"/>
                <a:gd name="connsiteY99" fmla="*/ 163279 h 212452"/>
                <a:gd name="connsiteX100" fmla="*/ 84477 w 211191"/>
                <a:gd name="connsiteY100" fmla="*/ 165801 h 212452"/>
                <a:gd name="connsiteX101" fmla="*/ 95824 w 211191"/>
                <a:gd name="connsiteY101" fmla="*/ 182192 h 212452"/>
                <a:gd name="connsiteX102" fmla="*/ 95824 w 211191"/>
                <a:gd name="connsiteY102" fmla="*/ 195431 h 212452"/>
                <a:gd name="connsiteX103" fmla="*/ 95824 w 211191"/>
                <a:gd name="connsiteY103" fmla="*/ 195431 h 212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211191" h="212452">
                  <a:moveTo>
                    <a:pt x="117258" y="212452"/>
                  </a:moveTo>
                  <a:lnTo>
                    <a:pt x="93933" y="212452"/>
                  </a:lnTo>
                  <a:cubicBezTo>
                    <a:pt x="85737" y="212452"/>
                    <a:pt x="79433" y="205518"/>
                    <a:pt x="79433" y="197952"/>
                  </a:cubicBezTo>
                  <a:lnTo>
                    <a:pt x="79433" y="182823"/>
                  </a:lnTo>
                  <a:lnTo>
                    <a:pt x="71868" y="179040"/>
                  </a:lnTo>
                  <a:lnTo>
                    <a:pt x="59890" y="189757"/>
                  </a:lnTo>
                  <a:cubicBezTo>
                    <a:pt x="54216" y="195431"/>
                    <a:pt x="44760" y="195431"/>
                    <a:pt x="39086" y="189757"/>
                  </a:cubicBezTo>
                  <a:lnTo>
                    <a:pt x="22695" y="173366"/>
                  </a:lnTo>
                  <a:cubicBezTo>
                    <a:pt x="20174" y="170844"/>
                    <a:pt x="18282" y="167062"/>
                    <a:pt x="18282" y="162649"/>
                  </a:cubicBezTo>
                  <a:cubicBezTo>
                    <a:pt x="18282" y="158867"/>
                    <a:pt x="19543" y="155084"/>
                    <a:pt x="22695" y="151932"/>
                  </a:cubicBezTo>
                  <a:lnTo>
                    <a:pt x="33412" y="141214"/>
                  </a:lnTo>
                  <a:lnTo>
                    <a:pt x="30260" y="133019"/>
                  </a:lnTo>
                  <a:lnTo>
                    <a:pt x="14500" y="132389"/>
                  </a:lnTo>
                  <a:cubicBezTo>
                    <a:pt x="6304" y="132389"/>
                    <a:pt x="0" y="125454"/>
                    <a:pt x="0" y="117889"/>
                  </a:cubicBezTo>
                  <a:lnTo>
                    <a:pt x="0" y="94563"/>
                  </a:lnTo>
                  <a:cubicBezTo>
                    <a:pt x="0" y="86368"/>
                    <a:pt x="6304" y="80064"/>
                    <a:pt x="14500" y="80064"/>
                  </a:cubicBezTo>
                  <a:lnTo>
                    <a:pt x="29630" y="80064"/>
                  </a:lnTo>
                  <a:lnTo>
                    <a:pt x="33412" y="72499"/>
                  </a:lnTo>
                  <a:lnTo>
                    <a:pt x="22695" y="60520"/>
                  </a:lnTo>
                  <a:cubicBezTo>
                    <a:pt x="20174" y="57999"/>
                    <a:pt x="18282" y="54216"/>
                    <a:pt x="18282" y="49803"/>
                  </a:cubicBezTo>
                  <a:cubicBezTo>
                    <a:pt x="18282" y="46021"/>
                    <a:pt x="19543" y="42238"/>
                    <a:pt x="22695" y="39086"/>
                  </a:cubicBezTo>
                  <a:lnTo>
                    <a:pt x="39086" y="22695"/>
                  </a:lnTo>
                  <a:cubicBezTo>
                    <a:pt x="44760" y="17021"/>
                    <a:pt x="54216" y="17021"/>
                    <a:pt x="59890" y="22695"/>
                  </a:cubicBezTo>
                  <a:lnTo>
                    <a:pt x="70607" y="33412"/>
                  </a:lnTo>
                  <a:lnTo>
                    <a:pt x="78803" y="30260"/>
                  </a:lnTo>
                  <a:lnTo>
                    <a:pt x="79433" y="14500"/>
                  </a:lnTo>
                  <a:cubicBezTo>
                    <a:pt x="79433" y="6304"/>
                    <a:pt x="86368" y="0"/>
                    <a:pt x="93933" y="0"/>
                  </a:cubicBezTo>
                  <a:lnTo>
                    <a:pt x="117258" y="0"/>
                  </a:lnTo>
                  <a:cubicBezTo>
                    <a:pt x="125454" y="0"/>
                    <a:pt x="131758" y="6934"/>
                    <a:pt x="131758" y="14500"/>
                  </a:cubicBezTo>
                  <a:lnTo>
                    <a:pt x="131758" y="29630"/>
                  </a:lnTo>
                  <a:lnTo>
                    <a:pt x="139323" y="33412"/>
                  </a:lnTo>
                  <a:lnTo>
                    <a:pt x="151301" y="22695"/>
                  </a:lnTo>
                  <a:cubicBezTo>
                    <a:pt x="156975" y="17021"/>
                    <a:pt x="166432" y="17021"/>
                    <a:pt x="172106" y="22695"/>
                  </a:cubicBezTo>
                  <a:lnTo>
                    <a:pt x="188496" y="39086"/>
                  </a:lnTo>
                  <a:cubicBezTo>
                    <a:pt x="191018" y="41608"/>
                    <a:pt x="192909" y="45391"/>
                    <a:pt x="192909" y="49803"/>
                  </a:cubicBezTo>
                  <a:cubicBezTo>
                    <a:pt x="192909" y="53586"/>
                    <a:pt x="191018" y="57368"/>
                    <a:pt x="188496" y="60520"/>
                  </a:cubicBezTo>
                  <a:lnTo>
                    <a:pt x="177779" y="71238"/>
                  </a:lnTo>
                  <a:lnTo>
                    <a:pt x="180931" y="79433"/>
                  </a:lnTo>
                  <a:lnTo>
                    <a:pt x="196692" y="80694"/>
                  </a:lnTo>
                  <a:cubicBezTo>
                    <a:pt x="204887" y="80694"/>
                    <a:pt x="211192" y="87629"/>
                    <a:pt x="211192" y="95194"/>
                  </a:cubicBezTo>
                  <a:lnTo>
                    <a:pt x="211192" y="118519"/>
                  </a:lnTo>
                  <a:cubicBezTo>
                    <a:pt x="211192" y="126715"/>
                    <a:pt x="204887" y="133019"/>
                    <a:pt x="196692" y="133019"/>
                  </a:cubicBezTo>
                  <a:lnTo>
                    <a:pt x="181562" y="133019"/>
                  </a:lnTo>
                  <a:lnTo>
                    <a:pt x="177779" y="140584"/>
                  </a:lnTo>
                  <a:lnTo>
                    <a:pt x="188496" y="152562"/>
                  </a:lnTo>
                  <a:cubicBezTo>
                    <a:pt x="191018" y="155084"/>
                    <a:pt x="192909" y="158867"/>
                    <a:pt x="192909" y="163279"/>
                  </a:cubicBezTo>
                  <a:cubicBezTo>
                    <a:pt x="192909" y="167062"/>
                    <a:pt x="191018" y="170844"/>
                    <a:pt x="188496" y="173996"/>
                  </a:cubicBezTo>
                  <a:lnTo>
                    <a:pt x="172106" y="190388"/>
                  </a:lnTo>
                  <a:cubicBezTo>
                    <a:pt x="166432" y="196061"/>
                    <a:pt x="156975" y="196061"/>
                    <a:pt x="151301" y="190388"/>
                  </a:cubicBezTo>
                  <a:lnTo>
                    <a:pt x="140585" y="179670"/>
                  </a:lnTo>
                  <a:lnTo>
                    <a:pt x="132389" y="182823"/>
                  </a:lnTo>
                  <a:lnTo>
                    <a:pt x="131758" y="198583"/>
                  </a:lnTo>
                  <a:cubicBezTo>
                    <a:pt x="132389" y="205518"/>
                    <a:pt x="125454" y="212452"/>
                    <a:pt x="117258" y="212452"/>
                  </a:cubicBezTo>
                  <a:lnTo>
                    <a:pt x="117258" y="212452"/>
                  </a:lnTo>
                  <a:close/>
                  <a:moveTo>
                    <a:pt x="95824" y="195431"/>
                  </a:moveTo>
                  <a:lnTo>
                    <a:pt x="115367" y="195431"/>
                  </a:lnTo>
                  <a:lnTo>
                    <a:pt x="115367" y="182192"/>
                  </a:lnTo>
                  <a:cubicBezTo>
                    <a:pt x="115367" y="175257"/>
                    <a:pt x="120411" y="168323"/>
                    <a:pt x="127345" y="165801"/>
                  </a:cubicBezTo>
                  <a:lnTo>
                    <a:pt x="133649" y="163279"/>
                  </a:lnTo>
                  <a:cubicBezTo>
                    <a:pt x="138693" y="160758"/>
                    <a:pt x="148149" y="162019"/>
                    <a:pt x="153193" y="167062"/>
                  </a:cubicBezTo>
                  <a:lnTo>
                    <a:pt x="162649" y="176518"/>
                  </a:lnTo>
                  <a:lnTo>
                    <a:pt x="176518" y="162649"/>
                  </a:lnTo>
                  <a:lnTo>
                    <a:pt x="167062" y="153193"/>
                  </a:lnTo>
                  <a:cubicBezTo>
                    <a:pt x="162018" y="148149"/>
                    <a:pt x="160758" y="139323"/>
                    <a:pt x="163910" y="133019"/>
                  </a:cubicBezTo>
                  <a:lnTo>
                    <a:pt x="166432" y="126715"/>
                  </a:lnTo>
                  <a:cubicBezTo>
                    <a:pt x="168323" y="120411"/>
                    <a:pt x="175258" y="115367"/>
                    <a:pt x="182823" y="115367"/>
                  </a:cubicBezTo>
                  <a:lnTo>
                    <a:pt x="196061" y="115367"/>
                  </a:lnTo>
                  <a:lnTo>
                    <a:pt x="196061" y="95824"/>
                  </a:lnTo>
                  <a:lnTo>
                    <a:pt x="182823" y="95824"/>
                  </a:lnTo>
                  <a:cubicBezTo>
                    <a:pt x="175888" y="95824"/>
                    <a:pt x="168323" y="90781"/>
                    <a:pt x="166432" y="83846"/>
                  </a:cubicBezTo>
                  <a:lnTo>
                    <a:pt x="163910" y="77542"/>
                  </a:lnTo>
                  <a:cubicBezTo>
                    <a:pt x="160758" y="71868"/>
                    <a:pt x="162649" y="63042"/>
                    <a:pt x="167062" y="57999"/>
                  </a:cubicBezTo>
                  <a:lnTo>
                    <a:pt x="176518" y="48543"/>
                  </a:lnTo>
                  <a:lnTo>
                    <a:pt x="162649" y="34673"/>
                  </a:lnTo>
                  <a:lnTo>
                    <a:pt x="153193" y="44130"/>
                  </a:lnTo>
                  <a:cubicBezTo>
                    <a:pt x="148149" y="49173"/>
                    <a:pt x="139323" y="50434"/>
                    <a:pt x="133019" y="47282"/>
                  </a:cubicBezTo>
                  <a:lnTo>
                    <a:pt x="126715" y="44760"/>
                  </a:lnTo>
                  <a:cubicBezTo>
                    <a:pt x="120411" y="42869"/>
                    <a:pt x="115367" y="35934"/>
                    <a:pt x="115367" y="28369"/>
                  </a:cubicBezTo>
                  <a:lnTo>
                    <a:pt x="115367" y="15130"/>
                  </a:lnTo>
                  <a:lnTo>
                    <a:pt x="95824" y="15130"/>
                  </a:lnTo>
                  <a:lnTo>
                    <a:pt x="95824" y="28369"/>
                  </a:lnTo>
                  <a:cubicBezTo>
                    <a:pt x="95824" y="35304"/>
                    <a:pt x="90781" y="42238"/>
                    <a:pt x="83846" y="44760"/>
                  </a:cubicBezTo>
                  <a:lnTo>
                    <a:pt x="77542" y="47282"/>
                  </a:lnTo>
                  <a:cubicBezTo>
                    <a:pt x="73129" y="49803"/>
                    <a:pt x="63042" y="48543"/>
                    <a:pt x="57999" y="43499"/>
                  </a:cubicBezTo>
                  <a:lnTo>
                    <a:pt x="48543" y="34043"/>
                  </a:lnTo>
                  <a:lnTo>
                    <a:pt x="34673" y="47912"/>
                  </a:lnTo>
                  <a:lnTo>
                    <a:pt x="44130" y="57368"/>
                  </a:lnTo>
                  <a:cubicBezTo>
                    <a:pt x="49173" y="62412"/>
                    <a:pt x="50434" y="71238"/>
                    <a:pt x="47282" y="77542"/>
                  </a:cubicBezTo>
                  <a:lnTo>
                    <a:pt x="44760" y="83846"/>
                  </a:lnTo>
                  <a:cubicBezTo>
                    <a:pt x="42869" y="90150"/>
                    <a:pt x="35934" y="95194"/>
                    <a:pt x="28369" y="95194"/>
                  </a:cubicBezTo>
                  <a:lnTo>
                    <a:pt x="15130" y="95194"/>
                  </a:lnTo>
                  <a:lnTo>
                    <a:pt x="15130" y="114737"/>
                  </a:lnTo>
                  <a:lnTo>
                    <a:pt x="28369" y="114737"/>
                  </a:lnTo>
                  <a:cubicBezTo>
                    <a:pt x="35304" y="114737"/>
                    <a:pt x="42238" y="119780"/>
                    <a:pt x="44760" y="126715"/>
                  </a:cubicBezTo>
                  <a:lnTo>
                    <a:pt x="47282" y="133019"/>
                  </a:lnTo>
                  <a:cubicBezTo>
                    <a:pt x="50434" y="138693"/>
                    <a:pt x="48543" y="147519"/>
                    <a:pt x="44130" y="152562"/>
                  </a:cubicBezTo>
                  <a:lnTo>
                    <a:pt x="34673" y="162019"/>
                  </a:lnTo>
                  <a:lnTo>
                    <a:pt x="48543" y="175888"/>
                  </a:lnTo>
                  <a:lnTo>
                    <a:pt x="57999" y="166431"/>
                  </a:lnTo>
                  <a:cubicBezTo>
                    <a:pt x="63042" y="161388"/>
                    <a:pt x="71868" y="160127"/>
                    <a:pt x="78173" y="163279"/>
                  </a:cubicBezTo>
                  <a:lnTo>
                    <a:pt x="84477" y="165801"/>
                  </a:lnTo>
                  <a:cubicBezTo>
                    <a:pt x="90781" y="167692"/>
                    <a:pt x="95824" y="174627"/>
                    <a:pt x="95824" y="182192"/>
                  </a:cubicBezTo>
                  <a:lnTo>
                    <a:pt x="95824" y="195431"/>
                  </a:lnTo>
                  <a:lnTo>
                    <a:pt x="95824" y="19543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29" name="Forma Livre: Forma 228">
              <a:extLst>
                <a:ext uri="{FF2B5EF4-FFF2-40B4-BE49-F238E27FC236}">
                  <a16:creationId xmlns:a16="http://schemas.microsoft.com/office/drawing/2014/main" id="{14987140-BB22-4FBF-AB1D-884A9E030D1D}"/>
                </a:ext>
              </a:extLst>
            </p:cNvPr>
            <p:cNvSpPr/>
            <p:nvPr/>
          </p:nvSpPr>
          <p:spPr>
            <a:xfrm>
              <a:off x="7663229" y="5771117"/>
              <a:ext cx="78802" cy="79433"/>
            </a:xfrm>
            <a:custGeom>
              <a:avLst/>
              <a:gdLst>
                <a:gd name="connsiteX0" fmla="*/ 39086 w 78802"/>
                <a:gd name="connsiteY0" fmla="*/ 79433 h 79433"/>
                <a:gd name="connsiteX1" fmla="*/ 0 w 78802"/>
                <a:gd name="connsiteY1" fmla="*/ 39717 h 79433"/>
                <a:gd name="connsiteX2" fmla="*/ 39086 w 78802"/>
                <a:gd name="connsiteY2" fmla="*/ 0 h 79433"/>
                <a:gd name="connsiteX3" fmla="*/ 78803 w 78802"/>
                <a:gd name="connsiteY3" fmla="*/ 39717 h 79433"/>
                <a:gd name="connsiteX4" fmla="*/ 39086 w 78802"/>
                <a:gd name="connsiteY4" fmla="*/ 79433 h 79433"/>
                <a:gd name="connsiteX5" fmla="*/ 39086 w 78802"/>
                <a:gd name="connsiteY5" fmla="*/ 79433 h 79433"/>
                <a:gd name="connsiteX6" fmla="*/ 39086 w 78802"/>
                <a:gd name="connsiteY6" fmla="*/ 17021 h 79433"/>
                <a:gd name="connsiteX7" fmla="*/ 16391 w 78802"/>
                <a:gd name="connsiteY7" fmla="*/ 39717 h 79433"/>
                <a:gd name="connsiteX8" fmla="*/ 39086 w 78802"/>
                <a:gd name="connsiteY8" fmla="*/ 62412 h 79433"/>
                <a:gd name="connsiteX9" fmla="*/ 61782 w 78802"/>
                <a:gd name="connsiteY9" fmla="*/ 39717 h 79433"/>
                <a:gd name="connsiteX10" fmla="*/ 39086 w 78802"/>
                <a:gd name="connsiteY10" fmla="*/ 17021 h 79433"/>
                <a:gd name="connsiteX11" fmla="*/ 39086 w 78802"/>
                <a:gd name="connsiteY11" fmla="*/ 17021 h 79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8802" h="79433">
                  <a:moveTo>
                    <a:pt x="39086" y="79433"/>
                  </a:moveTo>
                  <a:cubicBezTo>
                    <a:pt x="17652" y="79433"/>
                    <a:pt x="0" y="61782"/>
                    <a:pt x="0" y="39717"/>
                  </a:cubicBezTo>
                  <a:cubicBezTo>
                    <a:pt x="0" y="17652"/>
                    <a:pt x="17652" y="0"/>
                    <a:pt x="39086" y="0"/>
                  </a:cubicBezTo>
                  <a:cubicBezTo>
                    <a:pt x="61151" y="0"/>
                    <a:pt x="78803" y="17652"/>
                    <a:pt x="78803" y="39717"/>
                  </a:cubicBezTo>
                  <a:cubicBezTo>
                    <a:pt x="78173" y="61782"/>
                    <a:pt x="60520" y="79433"/>
                    <a:pt x="39086" y="79433"/>
                  </a:cubicBezTo>
                  <a:lnTo>
                    <a:pt x="39086" y="79433"/>
                  </a:lnTo>
                  <a:close/>
                  <a:moveTo>
                    <a:pt x="39086" y="17021"/>
                  </a:moveTo>
                  <a:cubicBezTo>
                    <a:pt x="26478" y="17021"/>
                    <a:pt x="16391" y="27108"/>
                    <a:pt x="16391" y="39717"/>
                  </a:cubicBezTo>
                  <a:cubicBezTo>
                    <a:pt x="16391" y="52325"/>
                    <a:pt x="26478" y="62412"/>
                    <a:pt x="39086" y="62412"/>
                  </a:cubicBezTo>
                  <a:cubicBezTo>
                    <a:pt x="51695" y="62412"/>
                    <a:pt x="61782" y="52325"/>
                    <a:pt x="61782" y="39717"/>
                  </a:cubicBezTo>
                  <a:cubicBezTo>
                    <a:pt x="61782" y="27108"/>
                    <a:pt x="51695" y="17021"/>
                    <a:pt x="39086" y="17021"/>
                  </a:cubicBezTo>
                  <a:lnTo>
                    <a:pt x="39086" y="1702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30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8461975" y="5704922"/>
            <a:ext cx="390230" cy="399688"/>
            <a:chOff x="8461975" y="5704922"/>
            <a:chExt cx="390230" cy="399688"/>
          </a:xfrm>
          <a:solidFill>
            <a:srgbClr val="B1B1A1"/>
          </a:solidFill>
        </p:grpSpPr>
        <p:sp>
          <p:nvSpPr>
            <p:cNvPr id="231" name="Forma Livre: Forma 230">
              <a:extLst>
                <a:ext uri="{FF2B5EF4-FFF2-40B4-BE49-F238E27FC236}">
                  <a16:creationId xmlns:a16="http://schemas.microsoft.com/office/drawing/2014/main" id="{73E86C46-45B1-4BD9-AC44-86A6668856F3}"/>
                </a:ext>
              </a:extLst>
            </p:cNvPr>
            <p:cNvSpPr/>
            <p:nvPr/>
          </p:nvSpPr>
          <p:spPr>
            <a:xfrm>
              <a:off x="8565995" y="6021395"/>
              <a:ext cx="35303" cy="35303"/>
            </a:xfrm>
            <a:custGeom>
              <a:avLst/>
              <a:gdLst>
                <a:gd name="connsiteX0" fmla="*/ 35304 w 35303"/>
                <a:gd name="connsiteY0" fmla="*/ 17652 h 35303"/>
                <a:gd name="connsiteX1" fmla="*/ 17651 w 35303"/>
                <a:gd name="connsiteY1" fmla="*/ 35304 h 35303"/>
                <a:gd name="connsiteX2" fmla="*/ 0 w 35303"/>
                <a:gd name="connsiteY2" fmla="*/ 17652 h 35303"/>
                <a:gd name="connsiteX3" fmla="*/ 17651 w 35303"/>
                <a:gd name="connsiteY3" fmla="*/ 0 h 35303"/>
                <a:gd name="connsiteX4" fmla="*/ 35304 w 35303"/>
                <a:gd name="connsiteY4" fmla="*/ 17652 h 35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303" h="35303">
                  <a:moveTo>
                    <a:pt x="35304" y="17652"/>
                  </a:moveTo>
                  <a:cubicBezTo>
                    <a:pt x="35304" y="27739"/>
                    <a:pt x="27108" y="35304"/>
                    <a:pt x="17651" y="35304"/>
                  </a:cubicBezTo>
                  <a:cubicBezTo>
                    <a:pt x="7565" y="35304"/>
                    <a:pt x="0" y="27108"/>
                    <a:pt x="0" y="17652"/>
                  </a:cubicBezTo>
                  <a:cubicBezTo>
                    <a:pt x="0" y="7565"/>
                    <a:pt x="8195" y="0"/>
                    <a:pt x="17651" y="0"/>
                  </a:cubicBezTo>
                  <a:cubicBezTo>
                    <a:pt x="27738" y="0"/>
                    <a:pt x="35304" y="8195"/>
                    <a:pt x="35304" y="17652"/>
                  </a:cubicBez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32" name="Forma Livre: Forma 231">
              <a:extLst>
                <a:ext uri="{FF2B5EF4-FFF2-40B4-BE49-F238E27FC236}">
                  <a16:creationId xmlns:a16="http://schemas.microsoft.com/office/drawing/2014/main" id="{7247BA10-46D8-4EEE-89A0-12E589E1E089}"/>
                </a:ext>
              </a:extLst>
            </p:cNvPr>
            <p:cNvSpPr/>
            <p:nvPr/>
          </p:nvSpPr>
          <p:spPr>
            <a:xfrm>
              <a:off x="8502952" y="5800116"/>
              <a:ext cx="161388" cy="206148"/>
            </a:xfrm>
            <a:custGeom>
              <a:avLst/>
              <a:gdLst>
                <a:gd name="connsiteX0" fmla="*/ 152562 w 161388"/>
                <a:gd name="connsiteY0" fmla="*/ 206148 h 206148"/>
                <a:gd name="connsiteX1" fmla="*/ 8195 w 161388"/>
                <a:gd name="connsiteY1" fmla="*/ 206148 h 206148"/>
                <a:gd name="connsiteX2" fmla="*/ 0 w 161388"/>
                <a:gd name="connsiteY2" fmla="*/ 197952 h 206148"/>
                <a:gd name="connsiteX3" fmla="*/ 0 w 161388"/>
                <a:gd name="connsiteY3" fmla="*/ 8195 h 206148"/>
                <a:gd name="connsiteX4" fmla="*/ 8195 w 161388"/>
                <a:gd name="connsiteY4" fmla="*/ 0 h 206148"/>
                <a:gd name="connsiteX5" fmla="*/ 119780 w 161388"/>
                <a:gd name="connsiteY5" fmla="*/ 0 h 206148"/>
                <a:gd name="connsiteX6" fmla="*/ 127975 w 161388"/>
                <a:gd name="connsiteY6" fmla="*/ 8195 h 206148"/>
                <a:gd name="connsiteX7" fmla="*/ 119780 w 161388"/>
                <a:gd name="connsiteY7" fmla="*/ 16391 h 206148"/>
                <a:gd name="connsiteX8" fmla="*/ 17021 w 161388"/>
                <a:gd name="connsiteY8" fmla="*/ 16391 h 206148"/>
                <a:gd name="connsiteX9" fmla="*/ 17021 w 161388"/>
                <a:gd name="connsiteY9" fmla="*/ 189757 h 206148"/>
                <a:gd name="connsiteX10" fmla="*/ 144997 w 161388"/>
                <a:gd name="connsiteY10" fmla="*/ 189757 h 206148"/>
                <a:gd name="connsiteX11" fmla="*/ 144997 w 161388"/>
                <a:gd name="connsiteY11" fmla="*/ 88259 h 206148"/>
                <a:gd name="connsiteX12" fmla="*/ 153192 w 161388"/>
                <a:gd name="connsiteY12" fmla="*/ 80064 h 206148"/>
                <a:gd name="connsiteX13" fmla="*/ 161388 w 161388"/>
                <a:gd name="connsiteY13" fmla="*/ 88259 h 206148"/>
                <a:gd name="connsiteX14" fmla="*/ 161388 w 161388"/>
                <a:gd name="connsiteY14" fmla="*/ 197952 h 206148"/>
                <a:gd name="connsiteX15" fmla="*/ 152562 w 161388"/>
                <a:gd name="connsiteY15" fmla="*/ 206148 h 206148"/>
                <a:gd name="connsiteX16" fmla="*/ 152562 w 161388"/>
                <a:gd name="connsiteY16" fmla="*/ 206148 h 206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61388" h="206148">
                  <a:moveTo>
                    <a:pt x="152562" y="206148"/>
                  </a:moveTo>
                  <a:lnTo>
                    <a:pt x="8195" y="206148"/>
                  </a:lnTo>
                  <a:cubicBezTo>
                    <a:pt x="3782" y="206148"/>
                    <a:pt x="0" y="202365"/>
                    <a:pt x="0" y="197952"/>
                  </a:cubicBezTo>
                  <a:lnTo>
                    <a:pt x="0" y="8195"/>
                  </a:lnTo>
                  <a:cubicBezTo>
                    <a:pt x="0" y="3782"/>
                    <a:pt x="3782" y="0"/>
                    <a:pt x="8195" y="0"/>
                  </a:cubicBezTo>
                  <a:lnTo>
                    <a:pt x="119780" y="0"/>
                  </a:lnTo>
                  <a:cubicBezTo>
                    <a:pt x="124193" y="0"/>
                    <a:pt x="127975" y="3782"/>
                    <a:pt x="127975" y="8195"/>
                  </a:cubicBezTo>
                  <a:cubicBezTo>
                    <a:pt x="127975" y="12608"/>
                    <a:pt x="124193" y="16391"/>
                    <a:pt x="119780" y="16391"/>
                  </a:cubicBezTo>
                  <a:lnTo>
                    <a:pt x="17021" y="16391"/>
                  </a:lnTo>
                  <a:lnTo>
                    <a:pt x="17021" y="189757"/>
                  </a:lnTo>
                  <a:lnTo>
                    <a:pt x="144997" y="189757"/>
                  </a:lnTo>
                  <a:lnTo>
                    <a:pt x="144997" y="88259"/>
                  </a:lnTo>
                  <a:cubicBezTo>
                    <a:pt x="144997" y="83846"/>
                    <a:pt x="148780" y="80064"/>
                    <a:pt x="153192" y="80064"/>
                  </a:cubicBezTo>
                  <a:cubicBezTo>
                    <a:pt x="157606" y="80064"/>
                    <a:pt x="161388" y="83846"/>
                    <a:pt x="161388" y="88259"/>
                  </a:cubicBezTo>
                  <a:lnTo>
                    <a:pt x="161388" y="197952"/>
                  </a:lnTo>
                  <a:cubicBezTo>
                    <a:pt x="160758" y="202365"/>
                    <a:pt x="157606" y="206148"/>
                    <a:pt x="152562" y="206148"/>
                  </a:cubicBezTo>
                  <a:lnTo>
                    <a:pt x="152562" y="206148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33" name="Forma Livre: Forma 232">
              <a:extLst>
                <a:ext uri="{FF2B5EF4-FFF2-40B4-BE49-F238E27FC236}">
                  <a16:creationId xmlns:a16="http://schemas.microsoft.com/office/drawing/2014/main" id="{1E708992-BB80-418A-AE72-BC6A0E34F89B}"/>
                </a:ext>
              </a:extLst>
            </p:cNvPr>
            <p:cNvSpPr/>
            <p:nvPr/>
          </p:nvSpPr>
          <p:spPr>
            <a:xfrm>
              <a:off x="8461975" y="5742118"/>
              <a:ext cx="242749" cy="362492"/>
            </a:xfrm>
            <a:custGeom>
              <a:avLst/>
              <a:gdLst>
                <a:gd name="connsiteX0" fmla="*/ 226321 w 242749"/>
                <a:gd name="connsiteY0" fmla="*/ 362493 h 362492"/>
                <a:gd name="connsiteX1" fmla="*/ 16391 w 242749"/>
                <a:gd name="connsiteY1" fmla="*/ 362493 h 362492"/>
                <a:gd name="connsiteX2" fmla="*/ 0 w 242749"/>
                <a:gd name="connsiteY2" fmla="*/ 346102 h 362492"/>
                <a:gd name="connsiteX3" fmla="*/ 0 w 242749"/>
                <a:gd name="connsiteY3" fmla="*/ 16391 h 362492"/>
                <a:gd name="connsiteX4" fmla="*/ 16391 w 242749"/>
                <a:gd name="connsiteY4" fmla="*/ 0 h 362492"/>
                <a:gd name="connsiteX5" fmla="*/ 160758 w 242749"/>
                <a:gd name="connsiteY5" fmla="*/ 0 h 362492"/>
                <a:gd name="connsiteX6" fmla="*/ 160758 w 242749"/>
                <a:gd name="connsiteY6" fmla="*/ 33412 h 362492"/>
                <a:gd name="connsiteX7" fmla="*/ 32782 w 242749"/>
                <a:gd name="connsiteY7" fmla="*/ 33412 h 362492"/>
                <a:gd name="connsiteX8" fmla="*/ 32782 w 242749"/>
                <a:gd name="connsiteY8" fmla="*/ 329711 h 362492"/>
                <a:gd name="connsiteX9" fmla="*/ 209300 w 242749"/>
                <a:gd name="connsiteY9" fmla="*/ 329711 h 362492"/>
                <a:gd name="connsiteX10" fmla="*/ 209300 w 242749"/>
                <a:gd name="connsiteY10" fmla="*/ 147519 h 362492"/>
                <a:gd name="connsiteX11" fmla="*/ 242713 w 242749"/>
                <a:gd name="connsiteY11" fmla="*/ 147519 h 362492"/>
                <a:gd name="connsiteX12" fmla="*/ 242713 w 242749"/>
                <a:gd name="connsiteY12" fmla="*/ 346732 h 362492"/>
                <a:gd name="connsiteX13" fmla="*/ 226321 w 242749"/>
                <a:gd name="connsiteY13" fmla="*/ 362493 h 362492"/>
                <a:gd name="connsiteX14" fmla="*/ 226321 w 242749"/>
                <a:gd name="connsiteY14" fmla="*/ 362493 h 36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2749" h="362492">
                  <a:moveTo>
                    <a:pt x="226321" y="362493"/>
                  </a:moveTo>
                  <a:lnTo>
                    <a:pt x="16391" y="362493"/>
                  </a:lnTo>
                  <a:cubicBezTo>
                    <a:pt x="6934" y="362493"/>
                    <a:pt x="0" y="354928"/>
                    <a:pt x="0" y="346102"/>
                  </a:cubicBezTo>
                  <a:lnTo>
                    <a:pt x="0" y="16391"/>
                  </a:lnTo>
                  <a:cubicBezTo>
                    <a:pt x="0" y="6934"/>
                    <a:pt x="7565" y="0"/>
                    <a:pt x="16391" y="0"/>
                  </a:cubicBezTo>
                  <a:lnTo>
                    <a:pt x="160758" y="0"/>
                  </a:lnTo>
                  <a:lnTo>
                    <a:pt x="160758" y="33412"/>
                  </a:lnTo>
                  <a:lnTo>
                    <a:pt x="32782" y="33412"/>
                  </a:lnTo>
                  <a:lnTo>
                    <a:pt x="32782" y="329711"/>
                  </a:lnTo>
                  <a:lnTo>
                    <a:pt x="209300" y="329711"/>
                  </a:lnTo>
                  <a:lnTo>
                    <a:pt x="209300" y="147519"/>
                  </a:lnTo>
                  <a:lnTo>
                    <a:pt x="242713" y="147519"/>
                  </a:lnTo>
                  <a:lnTo>
                    <a:pt x="242713" y="346732"/>
                  </a:lnTo>
                  <a:cubicBezTo>
                    <a:pt x="243343" y="354928"/>
                    <a:pt x="235777" y="362493"/>
                    <a:pt x="226321" y="362493"/>
                  </a:cubicBezTo>
                  <a:lnTo>
                    <a:pt x="226321" y="362493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34" name="Forma Livre: Forma 233">
              <a:extLst>
                <a:ext uri="{FF2B5EF4-FFF2-40B4-BE49-F238E27FC236}">
                  <a16:creationId xmlns:a16="http://schemas.microsoft.com/office/drawing/2014/main" id="{3C9DBEC6-78B3-49EB-BF6C-C8024496A3AD}"/>
                </a:ext>
              </a:extLst>
            </p:cNvPr>
            <p:cNvSpPr/>
            <p:nvPr/>
          </p:nvSpPr>
          <p:spPr>
            <a:xfrm>
              <a:off x="8621471" y="5704922"/>
              <a:ext cx="230734" cy="190387"/>
            </a:xfrm>
            <a:custGeom>
              <a:avLst/>
              <a:gdLst>
                <a:gd name="connsiteX0" fmla="*/ 208670 w 230734"/>
                <a:gd name="connsiteY0" fmla="*/ 190388 h 190387"/>
                <a:gd name="connsiteX1" fmla="*/ 22065 w 230734"/>
                <a:gd name="connsiteY1" fmla="*/ 190388 h 190387"/>
                <a:gd name="connsiteX2" fmla="*/ 0 w 230734"/>
                <a:gd name="connsiteY2" fmla="*/ 165801 h 190387"/>
                <a:gd name="connsiteX3" fmla="*/ 0 w 230734"/>
                <a:gd name="connsiteY3" fmla="*/ 24587 h 190387"/>
                <a:gd name="connsiteX4" fmla="*/ 22065 w 230734"/>
                <a:gd name="connsiteY4" fmla="*/ 0 h 190387"/>
                <a:gd name="connsiteX5" fmla="*/ 208670 w 230734"/>
                <a:gd name="connsiteY5" fmla="*/ 0 h 190387"/>
                <a:gd name="connsiteX6" fmla="*/ 230734 w 230734"/>
                <a:gd name="connsiteY6" fmla="*/ 24587 h 190387"/>
                <a:gd name="connsiteX7" fmla="*/ 230734 w 230734"/>
                <a:gd name="connsiteY7" fmla="*/ 165801 h 190387"/>
                <a:gd name="connsiteX8" fmla="*/ 208670 w 230734"/>
                <a:gd name="connsiteY8" fmla="*/ 190388 h 190387"/>
                <a:gd name="connsiteX9" fmla="*/ 208670 w 230734"/>
                <a:gd name="connsiteY9" fmla="*/ 190388 h 190387"/>
                <a:gd name="connsiteX10" fmla="*/ 21435 w 230734"/>
                <a:gd name="connsiteY10" fmla="*/ 17021 h 190387"/>
                <a:gd name="connsiteX11" fmla="*/ 15761 w 230734"/>
                <a:gd name="connsiteY11" fmla="*/ 24587 h 190387"/>
                <a:gd name="connsiteX12" fmla="*/ 15761 w 230734"/>
                <a:gd name="connsiteY12" fmla="*/ 165801 h 190387"/>
                <a:gd name="connsiteX13" fmla="*/ 21435 w 230734"/>
                <a:gd name="connsiteY13" fmla="*/ 173366 h 190387"/>
                <a:gd name="connsiteX14" fmla="*/ 208039 w 230734"/>
                <a:gd name="connsiteY14" fmla="*/ 173366 h 190387"/>
                <a:gd name="connsiteX15" fmla="*/ 213713 w 230734"/>
                <a:gd name="connsiteY15" fmla="*/ 165801 h 190387"/>
                <a:gd name="connsiteX16" fmla="*/ 213713 w 230734"/>
                <a:gd name="connsiteY16" fmla="*/ 24587 h 190387"/>
                <a:gd name="connsiteX17" fmla="*/ 208039 w 230734"/>
                <a:gd name="connsiteY17" fmla="*/ 17021 h 190387"/>
                <a:gd name="connsiteX18" fmla="*/ 21435 w 230734"/>
                <a:gd name="connsiteY18" fmla="*/ 17021 h 190387"/>
                <a:gd name="connsiteX19" fmla="*/ 21435 w 230734"/>
                <a:gd name="connsiteY19" fmla="*/ 17021 h 190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30734" h="190387">
                  <a:moveTo>
                    <a:pt x="208670" y="190388"/>
                  </a:moveTo>
                  <a:lnTo>
                    <a:pt x="22065" y="190388"/>
                  </a:lnTo>
                  <a:cubicBezTo>
                    <a:pt x="10087" y="190388"/>
                    <a:pt x="0" y="179670"/>
                    <a:pt x="0" y="165801"/>
                  </a:cubicBezTo>
                  <a:lnTo>
                    <a:pt x="0" y="24587"/>
                  </a:lnTo>
                  <a:cubicBezTo>
                    <a:pt x="0" y="11348"/>
                    <a:pt x="10087" y="0"/>
                    <a:pt x="22065" y="0"/>
                  </a:cubicBezTo>
                  <a:lnTo>
                    <a:pt x="208670" y="0"/>
                  </a:lnTo>
                  <a:cubicBezTo>
                    <a:pt x="221278" y="0"/>
                    <a:pt x="230734" y="10717"/>
                    <a:pt x="230734" y="24587"/>
                  </a:cubicBezTo>
                  <a:lnTo>
                    <a:pt x="230734" y="165801"/>
                  </a:lnTo>
                  <a:cubicBezTo>
                    <a:pt x="230734" y="179040"/>
                    <a:pt x="220648" y="190388"/>
                    <a:pt x="208670" y="190388"/>
                  </a:cubicBezTo>
                  <a:lnTo>
                    <a:pt x="208670" y="190388"/>
                  </a:lnTo>
                  <a:close/>
                  <a:moveTo>
                    <a:pt x="21435" y="17021"/>
                  </a:moveTo>
                  <a:cubicBezTo>
                    <a:pt x="18282" y="17021"/>
                    <a:pt x="15761" y="20804"/>
                    <a:pt x="15761" y="24587"/>
                  </a:cubicBezTo>
                  <a:lnTo>
                    <a:pt x="15761" y="165801"/>
                  </a:lnTo>
                  <a:cubicBezTo>
                    <a:pt x="15761" y="170214"/>
                    <a:pt x="18282" y="173366"/>
                    <a:pt x="21435" y="173366"/>
                  </a:cubicBezTo>
                  <a:lnTo>
                    <a:pt x="208039" y="173366"/>
                  </a:lnTo>
                  <a:cubicBezTo>
                    <a:pt x="211192" y="173366"/>
                    <a:pt x="213713" y="169584"/>
                    <a:pt x="213713" y="165801"/>
                  </a:cubicBezTo>
                  <a:lnTo>
                    <a:pt x="213713" y="24587"/>
                  </a:lnTo>
                  <a:cubicBezTo>
                    <a:pt x="213713" y="20174"/>
                    <a:pt x="211192" y="17021"/>
                    <a:pt x="208039" y="17021"/>
                  </a:cubicBezTo>
                  <a:lnTo>
                    <a:pt x="21435" y="17021"/>
                  </a:lnTo>
                  <a:lnTo>
                    <a:pt x="21435" y="1702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35" name="Forma Livre: Forma 234">
              <a:extLst>
                <a:ext uri="{FF2B5EF4-FFF2-40B4-BE49-F238E27FC236}">
                  <a16:creationId xmlns:a16="http://schemas.microsoft.com/office/drawing/2014/main" id="{602ECB48-8C5C-4F63-8AE5-395B044D47AD}"/>
                </a:ext>
              </a:extLst>
            </p:cNvPr>
            <p:cNvSpPr/>
            <p:nvPr/>
          </p:nvSpPr>
          <p:spPr>
            <a:xfrm>
              <a:off x="8622225" y="5792709"/>
              <a:ext cx="229227" cy="102601"/>
            </a:xfrm>
            <a:custGeom>
              <a:avLst/>
              <a:gdLst>
                <a:gd name="connsiteX0" fmla="*/ 207916 w 229227"/>
                <a:gd name="connsiteY0" fmla="*/ 102601 h 102601"/>
                <a:gd name="connsiteX1" fmla="*/ 21311 w 229227"/>
                <a:gd name="connsiteY1" fmla="*/ 102601 h 102601"/>
                <a:gd name="connsiteX2" fmla="*/ 508 w 229227"/>
                <a:gd name="connsiteY2" fmla="*/ 86210 h 102601"/>
                <a:gd name="connsiteX3" fmla="*/ 2399 w 229227"/>
                <a:gd name="connsiteY3" fmla="*/ 78015 h 102601"/>
                <a:gd name="connsiteX4" fmla="*/ 75527 w 229227"/>
                <a:gd name="connsiteY4" fmla="*/ 2994 h 102601"/>
                <a:gd name="connsiteX5" fmla="*/ 87506 w 229227"/>
                <a:gd name="connsiteY5" fmla="*/ 2994 h 102601"/>
                <a:gd name="connsiteX6" fmla="*/ 87506 w 229227"/>
                <a:gd name="connsiteY6" fmla="*/ 14973 h 102601"/>
                <a:gd name="connsiteX7" fmla="*/ 18789 w 229227"/>
                <a:gd name="connsiteY7" fmla="*/ 85580 h 102601"/>
                <a:gd name="connsiteX8" fmla="*/ 21311 w 229227"/>
                <a:gd name="connsiteY8" fmla="*/ 86210 h 102601"/>
                <a:gd name="connsiteX9" fmla="*/ 207916 w 229227"/>
                <a:gd name="connsiteY9" fmla="*/ 86210 h 102601"/>
                <a:gd name="connsiteX10" fmla="*/ 210438 w 229227"/>
                <a:gd name="connsiteY10" fmla="*/ 85580 h 102601"/>
                <a:gd name="connsiteX11" fmla="*/ 141092 w 229227"/>
                <a:gd name="connsiteY11" fmla="*/ 14342 h 102601"/>
                <a:gd name="connsiteX12" fmla="*/ 141092 w 229227"/>
                <a:gd name="connsiteY12" fmla="*/ 2364 h 102601"/>
                <a:gd name="connsiteX13" fmla="*/ 153070 w 229227"/>
                <a:gd name="connsiteY13" fmla="*/ 2364 h 102601"/>
                <a:gd name="connsiteX14" fmla="*/ 226829 w 229227"/>
                <a:gd name="connsiteY14" fmla="*/ 78015 h 102601"/>
                <a:gd name="connsiteX15" fmla="*/ 228720 w 229227"/>
                <a:gd name="connsiteY15" fmla="*/ 86210 h 102601"/>
                <a:gd name="connsiteX16" fmla="*/ 207916 w 229227"/>
                <a:gd name="connsiteY16" fmla="*/ 102601 h 102601"/>
                <a:gd name="connsiteX17" fmla="*/ 207916 w 229227"/>
                <a:gd name="connsiteY17" fmla="*/ 102601 h 102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9227" h="102601">
                  <a:moveTo>
                    <a:pt x="207916" y="102601"/>
                  </a:moveTo>
                  <a:lnTo>
                    <a:pt x="21311" y="102601"/>
                  </a:lnTo>
                  <a:cubicBezTo>
                    <a:pt x="11855" y="102601"/>
                    <a:pt x="3660" y="96297"/>
                    <a:pt x="508" y="86210"/>
                  </a:cubicBezTo>
                  <a:cubicBezTo>
                    <a:pt x="-754" y="83058"/>
                    <a:pt x="508" y="79906"/>
                    <a:pt x="2399" y="78015"/>
                  </a:cubicBezTo>
                  <a:lnTo>
                    <a:pt x="75527" y="2994"/>
                  </a:lnTo>
                  <a:cubicBezTo>
                    <a:pt x="78680" y="-158"/>
                    <a:pt x="83723" y="-158"/>
                    <a:pt x="87506" y="2994"/>
                  </a:cubicBezTo>
                  <a:cubicBezTo>
                    <a:pt x="90658" y="6146"/>
                    <a:pt x="90658" y="11190"/>
                    <a:pt x="87506" y="14973"/>
                  </a:cubicBezTo>
                  <a:lnTo>
                    <a:pt x="18789" y="85580"/>
                  </a:lnTo>
                  <a:cubicBezTo>
                    <a:pt x="19420" y="86210"/>
                    <a:pt x="20681" y="86210"/>
                    <a:pt x="21311" y="86210"/>
                  </a:cubicBezTo>
                  <a:lnTo>
                    <a:pt x="207916" y="86210"/>
                  </a:lnTo>
                  <a:cubicBezTo>
                    <a:pt x="208547" y="86210"/>
                    <a:pt x="209808" y="85580"/>
                    <a:pt x="210438" y="85580"/>
                  </a:cubicBezTo>
                  <a:lnTo>
                    <a:pt x="141092" y="14342"/>
                  </a:lnTo>
                  <a:cubicBezTo>
                    <a:pt x="137939" y="11190"/>
                    <a:pt x="137939" y="5516"/>
                    <a:pt x="141092" y="2364"/>
                  </a:cubicBezTo>
                  <a:cubicBezTo>
                    <a:pt x="144244" y="-788"/>
                    <a:pt x="149918" y="-788"/>
                    <a:pt x="153070" y="2364"/>
                  </a:cubicBezTo>
                  <a:lnTo>
                    <a:pt x="226829" y="78015"/>
                  </a:lnTo>
                  <a:cubicBezTo>
                    <a:pt x="228720" y="80536"/>
                    <a:pt x="229981" y="83688"/>
                    <a:pt x="228720" y="86210"/>
                  </a:cubicBezTo>
                  <a:cubicBezTo>
                    <a:pt x="225568" y="95667"/>
                    <a:pt x="217372" y="102601"/>
                    <a:pt x="207916" y="102601"/>
                  </a:cubicBezTo>
                  <a:lnTo>
                    <a:pt x="207916" y="10260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36" name="Forma Livre: Forma 235">
              <a:extLst>
                <a:ext uri="{FF2B5EF4-FFF2-40B4-BE49-F238E27FC236}">
                  <a16:creationId xmlns:a16="http://schemas.microsoft.com/office/drawing/2014/main" id="{30842445-A36E-449B-A85D-CFEBADDE227B}"/>
                </a:ext>
              </a:extLst>
            </p:cNvPr>
            <p:cNvSpPr/>
            <p:nvPr/>
          </p:nvSpPr>
          <p:spPr>
            <a:xfrm>
              <a:off x="8621594" y="5704922"/>
              <a:ext cx="229228" cy="136801"/>
            </a:xfrm>
            <a:custGeom>
              <a:avLst/>
              <a:gdLst>
                <a:gd name="connsiteX0" fmla="*/ 115245 w 229228"/>
                <a:gd name="connsiteY0" fmla="*/ 136802 h 136801"/>
                <a:gd name="connsiteX1" fmla="*/ 108941 w 229228"/>
                <a:gd name="connsiteY1" fmla="*/ 134280 h 136801"/>
                <a:gd name="connsiteX2" fmla="*/ 2399 w 229228"/>
                <a:gd name="connsiteY2" fmla="*/ 24587 h 136801"/>
                <a:gd name="connsiteX3" fmla="*/ 507 w 229228"/>
                <a:gd name="connsiteY3" fmla="*/ 16391 h 136801"/>
                <a:gd name="connsiteX4" fmla="*/ 21312 w 229228"/>
                <a:gd name="connsiteY4" fmla="*/ 0 h 136801"/>
                <a:gd name="connsiteX5" fmla="*/ 207917 w 229228"/>
                <a:gd name="connsiteY5" fmla="*/ 0 h 136801"/>
                <a:gd name="connsiteX6" fmla="*/ 228721 w 229228"/>
                <a:gd name="connsiteY6" fmla="*/ 16391 h 136801"/>
                <a:gd name="connsiteX7" fmla="*/ 226829 w 229228"/>
                <a:gd name="connsiteY7" fmla="*/ 24587 h 136801"/>
                <a:gd name="connsiteX8" fmla="*/ 120288 w 229228"/>
                <a:gd name="connsiteY8" fmla="*/ 134280 h 136801"/>
                <a:gd name="connsiteX9" fmla="*/ 115245 w 229228"/>
                <a:gd name="connsiteY9" fmla="*/ 136802 h 136801"/>
                <a:gd name="connsiteX10" fmla="*/ 115245 w 229228"/>
                <a:gd name="connsiteY10" fmla="*/ 136802 h 136801"/>
                <a:gd name="connsiteX11" fmla="*/ 18790 w 229228"/>
                <a:gd name="connsiteY11" fmla="*/ 17652 h 136801"/>
                <a:gd name="connsiteX12" fmla="*/ 114614 w 229228"/>
                <a:gd name="connsiteY12" fmla="*/ 116628 h 136801"/>
                <a:gd name="connsiteX13" fmla="*/ 210438 w 229228"/>
                <a:gd name="connsiteY13" fmla="*/ 17652 h 136801"/>
                <a:gd name="connsiteX14" fmla="*/ 207917 w 229228"/>
                <a:gd name="connsiteY14" fmla="*/ 17021 h 136801"/>
                <a:gd name="connsiteX15" fmla="*/ 21312 w 229228"/>
                <a:gd name="connsiteY15" fmla="*/ 17021 h 136801"/>
                <a:gd name="connsiteX16" fmla="*/ 18790 w 229228"/>
                <a:gd name="connsiteY16" fmla="*/ 17652 h 136801"/>
                <a:gd name="connsiteX17" fmla="*/ 18790 w 229228"/>
                <a:gd name="connsiteY17" fmla="*/ 17652 h 136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9228" h="136801">
                  <a:moveTo>
                    <a:pt x="115245" y="136802"/>
                  </a:moveTo>
                  <a:cubicBezTo>
                    <a:pt x="112723" y="136802"/>
                    <a:pt x="110831" y="136172"/>
                    <a:pt x="108941" y="134280"/>
                  </a:cubicBezTo>
                  <a:lnTo>
                    <a:pt x="2399" y="24587"/>
                  </a:lnTo>
                  <a:cubicBezTo>
                    <a:pt x="507" y="22065"/>
                    <a:pt x="-753" y="18913"/>
                    <a:pt x="507" y="16391"/>
                  </a:cubicBezTo>
                  <a:cubicBezTo>
                    <a:pt x="3660" y="6935"/>
                    <a:pt x="11855" y="0"/>
                    <a:pt x="21312" y="0"/>
                  </a:cubicBezTo>
                  <a:lnTo>
                    <a:pt x="207917" y="0"/>
                  </a:lnTo>
                  <a:cubicBezTo>
                    <a:pt x="217373" y="0"/>
                    <a:pt x="225569" y="6304"/>
                    <a:pt x="228721" y="16391"/>
                  </a:cubicBezTo>
                  <a:cubicBezTo>
                    <a:pt x="229981" y="19543"/>
                    <a:pt x="228721" y="22695"/>
                    <a:pt x="226829" y="24587"/>
                  </a:cubicBezTo>
                  <a:lnTo>
                    <a:pt x="120288" y="134280"/>
                  </a:lnTo>
                  <a:cubicBezTo>
                    <a:pt x="119657" y="136172"/>
                    <a:pt x="117136" y="136802"/>
                    <a:pt x="115245" y="136802"/>
                  </a:cubicBezTo>
                  <a:lnTo>
                    <a:pt x="115245" y="136802"/>
                  </a:lnTo>
                  <a:close/>
                  <a:moveTo>
                    <a:pt x="18790" y="17652"/>
                  </a:moveTo>
                  <a:lnTo>
                    <a:pt x="114614" y="116628"/>
                  </a:lnTo>
                  <a:lnTo>
                    <a:pt x="210438" y="17652"/>
                  </a:lnTo>
                  <a:cubicBezTo>
                    <a:pt x="209808" y="17021"/>
                    <a:pt x="208547" y="17021"/>
                    <a:pt x="207917" y="17021"/>
                  </a:cubicBezTo>
                  <a:lnTo>
                    <a:pt x="21312" y="17021"/>
                  </a:lnTo>
                  <a:cubicBezTo>
                    <a:pt x="20681" y="17021"/>
                    <a:pt x="20051" y="17021"/>
                    <a:pt x="18790" y="17652"/>
                  </a:cubicBezTo>
                  <a:lnTo>
                    <a:pt x="18790" y="17652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37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6400493" y="5703662"/>
            <a:ext cx="435622" cy="402209"/>
            <a:chOff x="6400493" y="5703662"/>
            <a:chExt cx="435622" cy="402209"/>
          </a:xfrm>
          <a:solidFill>
            <a:srgbClr val="B1B1A1"/>
          </a:solidFill>
        </p:grpSpPr>
        <p:sp>
          <p:nvSpPr>
            <p:cNvPr id="238" name="Forma Livre: Forma 237">
              <a:extLst>
                <a:ext uri="{FF2B5EF4-FFF2-40B4-BE49-F238E27FC236}">
                  <a16:creationId xmlns:a16="http://schemas.microsoft.com/office/drawing/2014/main" id="{A7D80BEE-1F2D-455E-BCAC-5B86B49055DC}"/>
                </a:ext>
              </a:extLst>
            </p:cNvPr>
            <p:cNvSpPr/>
            <p:nvPr/>
          </p:nvSpPr>
          <p:spPr>
            <a:xfrm>
              <a:off x="6504513" y="6022656"/>
              <a:ext cx="35303" cy="35303"/>
            </a:xfrm>
            <a:custGeom>
              <a:avLst/>
              <a:gdLst>
                <a:gd name="connsiteX0" fmla="*/ 35304 w 35303"/>
                <a:gd name="connsiteY0" fmla="*/ 17652 h 35303"/>
                <a:gd name="connsiteX1" fmla="*/ 17652 w 35303"/>
                <a:gd name="connsiteY1" fmla="*/ 35304 h 35303"/>
                <a:gd name="connsiteX2" fmla="*/ 0 w 35303"/>
                <a:gd name="connsiteY2" fmla="*/ 17652 h 35303"/>
                <a:gd name="connsiteX3" fmla="*/ 17652 w 35303"/>
                <a:gd name="connsiteY3" fmla="*/ 0 h 35303"/>
                <a:gd name="connsiteX4" fmla="*/ 35304 w 35303"/>
                <a:gd name="connsiteY4" fmla="*/ 17652 h 35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303" h="35303">
                  <a:moveTo>
                    <a:pt x="35304" y="17652"/>
                  </a:moveTo>
                  <a:cubicBezTo>
                    <a:pt x="35304" y="27739"/>
                    <a:pt x="27108" y="35304"/>
                    <a:pt x="17652" y="35304"/>
                  </a:cubicBezTo>
                  <a:cubicBezTo>
                    <a:pt x="7565" y="35304"/>
                    <a:pt x="0" y="27108"/>
                    <a:pt x="0" y="17652"/>
                  </a:cubicBezTo>
                  <a:cubicBezTo>
                    <a:pt x="0" y="7565"/>
                    <a:pt x="8195" y="0"/>
                    <a:pt x="17652" y="0"/>
                  </a:cubicBezTo>
                  <a:cubicBezTo>
                    <a:pt x="27739" y="0"/>
                    <a:pt x="35304" y="8195"/>
                    <a:pt x="35304" y="17652"/>
                  </a:cubicBez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39" name="Forma Livre: Forma 238">
              <a:extLst>
                <a:ext uri="{FF2B5EF4-FFF2-40B4-BE49-F238E27FC236}">
                  <a16:creationId xmlns:a16="http://schemas.microsoft.com/office/drawing/2014/main" id="{D7E4C6F2-932E-4B96-ACAC-7BA5672D7C6D}"/>
                </a:ext>
              </a:extLst>
            </p:cNvPr>
            <p:cNvSpPr/>
            <p:nvPr/>
          </p:nvSpPr>
          <p:spPr>
            <a:xfrm>
              <a:off x="6550533" y="5703662"/>
              <a:ext cx="285581" cy="227582"/>
            </a:xfrm>
            <a:custGeom>
              <a:avLst/>
              <a:gdLst>
                <a:gd name="connsiteX0" fmla="*/ 44130 w 285581"/>
                <a:gd name="connsiteY0" fmla="*/ 227582 h 227582"/>
                <a:gd name="connsiteX1" fmla="*/ 40347 w 285581"/>
                <a:gd name="connsiteY1" fmla="*/ 226952 h 227582"/>
                <a:gd name="connsiteX2" fmla="*/ 35934 w 285581"/>
                <a:gd name="connsiteY2" fmla="*/ 219387 h 227582"/>
                <a:gd name="connsiteX3" fmla="*/ 35934 w 285581"/>
                <a:gd name="connsiteY3" fmla="*/ 180931 h 227582"/>
                <a:gd name="connsiteX4" fmla="*/ 20804 w 285581"/>
                <a:gd name="connsiteY4" fmla="*/ 180931 h 227582"/>
                <a:gd name="connsiteX5" fmla="*/ 0 w 285581"/>
                <a:gd name="connsiteY5" fmla="*/ 160127 h 227582"/>
                <a:gd name="connsiteX6" fmla="*/ 0 w 285581"/>
                <a:gd name="connsiteY6" fmla="*/ 20804 h 227582"/>
                <a:gd name="connsiteX7" fmla="*/ 20804 w 285581"/>
                <a:gd name="connsiteY7" fmla="*/ 0 h 227582"/>
                <a:gd name="connsiteX8" fmla="*/ 264777 w 285581"/>
                <a:gd name="connsiteY8" fmla="*/ 0 h 227582"/>
                <a:gd name="connsiteX9" fmla="*/ 285582 w 285581"/>
                <a:gd name="connsiteY9" fmla="*/ 20804 h 227582"/>
                <a:gd name="connsiteX10" fmla="*/ 285582 w 285581"/>
                <a:gd name="connsiteY10" fmla="*/ 160127 h 227582"/>
                <a:gd name="connsiteX11" fmla="*/ 264777 w 285581"/>
                <a:gd name="connsiteY11" fmla="*/ 180931 h 227582"/>
                <a:gd name="connsiteX12" fmla="*/ 106542 w 285581"/>
                <a:gd name="connsiteY12" fmla="*/ 180931 h 227582"/>
                <a:gd name="connsiteX13" fmla="*/ 49804 w 285581"/>
                <a:gd name="connsiteY13" fmla="*/ 225691 h 227582"/>
                <a:gd name="connsiteX14" fmla="*/ 44130 w 285581"/>
                <a:gd name="connsiteY14" fmla="*/ 227582 h 227582"/>
                <a:gd name="connsiteX15" fmla="*/ 44130 w 285581"/>
                <a:gd name="connsiteY15" fmla="*/ 227582 h 227582"/>
                <a:gd name="connsiteX16" fmla="*/ 20174 w 285581"/>
                <a:gd name="connsiteY16" fmla="*/ 17021 h 227582"/>
                <a:gd name="connsiteX17" fmla="*/ 16391 w 285581"/>
                <a:gd name="connsiteY17" fmla="*/ 20804 h 227582"/>
                <a:gd name="connsiteX18" fmla="*/ 16391 w 285581"/>
                <a:gd name="connsiteY18" fmla="*/ 160127 h 227582"/>
                <a:gd name="connsiteX19" fmla="*/ 20174 w 285581"/>
                <a:gd name="connsiteY19" fmla="*/ 163910 h 227582"/>
                <a:gd name="connsiteX20" fmla="*/ 43499 w 285581"/>
                <a:gd name="connsiteY20" fmla="*/ 163910 h 227582"/>
                <a:gd name="connsiteX21" fmla="*/ 51695 w 285581"/>
                <a:gd name="connsiteY21" fmla="*/ 172105 h 227582"/>
                <a:gd name="connsiteX22" fmla="*/ 51695 w 285581"/>
                <a:gd name="connsiteY22" fmla="*/ 201105 h 227582"/>
                <a:gd name="connsiteX23" fmla="*/ 97085 w 285581"/>
                <a:gd name="connsiteY23" fmla="*/ 165170 h 227582"/>
                <a:gd name="connsiteX24" fmla="*/ 102129 w 285581"/>
                <a:gd name="connsiteY24" fmla="*/ 163279 h 227582"/>
                <a:gd name="connsiteX25" fmla="*/ 263517 w 285581"/>
                <a:gd name="connsiteY25" fmla="*/ 163279 h 227582"/>
                <a:gd name="connsiteX26" fmla="*/ 267299 w 285581"/>
                <a:gd name="connsiteY26" fmla="*/ 159497 h 227582"/>
                <a:gd name="connsiteX27" fmla="*/ 267299 w 285581"/>
                <a:gd name="connsiteY27" fmla="*/ 20173 h 227582"/>
                <a:gd name="connsiteX28" fmla="*/ 263517 w 285581"/>
                <a:gd name="connsiteY28" fmla="*/ 16391 h 227582"/>
                <a:gd name="connsiteX29" fmla="*/ 20174 w 285581"/>
                <a:gd name="connsiteY29" fmla="*/ 16391 h 227582"/>
                <a:gd name="connsiteX30" fmla="*/ 20174 w 285581"/>
                <a:gd name="connsiteY30" fmla="*/ 17021 h 227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85581" h="227582">
                  <a:moveTo>
                    <a:pt x="44130" y="227582"/>
                  </a:moveTo>
                  <a:cubicBezTo>
                    <a:pt x="42869" y="227582"/>
                    <a:pt x="41608" y="227582"/>
                    <a:pt x="40347" y="226952"/>
                  </a:cubicBezTo>
                  <a:cubicBezTo>
                    <a:pt x="37195" y="225691"/>
                    <a:pt x="35934" y="222539"/>
                    <a:pt x="35934" y="219387"/>
                  </a:cubicBezTo>
                  <a:lnTo>
                    <a:pt x="35934" y="180931"/>
                  </a:lnTo>
                  <a:lnTo>
                    <a:pt x="20804" y="180931"/>
                  </a:lnTo>
                  <a:cubicBezTo>
                    <a:pt x="9456" y="180931"/>
                    <a:pt x="0" y="171475"/>
                    <a:pt x="0" y="160127"/>
                  </a:cubicBezTo>
                  <a:lnTo>
                    <a:pt x="0" y="20804"/>
                  </a:lnTo>
                  <a:cubicBezTo>
                    <a:pt x="0" y="9456"/>
                    <a:pt x="9456" y="0"/>
                    <a:pt x="20804" y="0"/>
                  </a:cubicBezTo>
                  <a:lnTo>
                    <a:pt x="264777" y="0"/>
                  </a:lnTo>
                  <a:cubicBezTo>
                    <a:pt x="276125" y="0"/>
                    <a:pt x="285582" y="9456"/>
                    <a:pt x="285582" y="20804"/>
                  </a:cubicBezTo>
                  <a:lnTo>
                    <a:pt x="285582" y="160127"/>
                  </a:lnTo>
                  <a:cubicBezTo>
                    <a:pt x="285582" y="171475"/>
                    <a:pt x="276125" y="180931"/>
                    <a:pt x="264777" y="180931"/>
                  </a:cubicBezTo>
                  <a:lnTo>
                    <a:pt x="106542" y="180931"/>
                  </a:lnTo>
                  <a:lnTo>
                    <a:pt x="49804" y="225691"/>
                  </a:lnTo>
                  <a:cubicBezTo>
                    <a:pt x="47282" y="226952"/>
                    <a:pt x="46021" y="227582"/>
                    <a:pt x="44130" y="227582"/>
                  </a:cubicBezTo>
                  <a:lnTo>
                    <a:pt x="44130" y="227582"/>
                  </a:lnTo>
                  <a:close/>
                  <a:moveTo>
                    <a:pt x="20174" y="17021"/>
                  </a:moveTo>
                  <a:cubicBezTo>
                    <a:pt x="17652" y="17021"/>
                    <a:pt x="16391" y="18913"/>
                    <a:pt x="16391" y="20804"/>
                  </a:cubicBezTo>
                  <a:lnTo>
                    <a:pt x="16391" y="160127"/>
                  </a:lnTo>
                  <a:cubicBezTo>
                    <a:pt x="16391" y="162649"/>
                    <a:pt x="18282" y="163910"/>
                    <a:pt x="20174" y="163910"/>
                  </a:cubicBezTo>
                  <a:lnTo>
                    <a:pt x="43499" y="163910"/>
                  </a:lnTo>
                  <a:cubicBezTo>
                    <a:pt x="47912" y="163910"/>
                    <a:pt x="51695" y="167692"/>
                    <a:pt x="51695" y="172105"/>
                  </a:cubicBezTo>
                  <a:lnTo>
                    <a:pt x="51695" y="201105"/>
                  </a:lnTo>
                  <a:lnTo>
                    <a:pt x="97085" y="165170"/>
                  </a:lnTo>
                  <a:cubicBezTo>
                    <a:pt x="98346" y="163910"/>
                    <a:pt x="100237" y="163279"/>
                    <a:pt x="102129" y="163279"/>
                  </a:cubicBezTo>
                  <a:lnTo>
                    <a:pt x="263517" y="163279"/>
                  </a:lnTo>
                  <a:cubicBezTo>
                    <a:pt x="266038" y="163279"/>
                    <a:pt x="267299" y="161388"/>
                    <a:pt x="267299" y="159497"/>
                  </a:cubicBezTo>
                  <a:lnTo>
                    <a:pt x="267299" y="20173"/>
                  </a:lnTo>
                  <a:cubicBezTo>
                    <a:pt x="267299" y="17652"/>
                    <a:pt x="265408" y="16391"/>
                    <a:pt x="263517" y="16391"/>
                  </a:cubicBezTo>
                  <a:lnTo>
                    <a:pt x="20174" y="16391"/>
                  </a:lnTo>
                  <a:lnTo>
                    <a:pt x="20174" y="1702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40" name="Forma Livre: Forma 239">
              <a:extLst>
                <a:ext uri="{FF2B5EF4-FFF2-40B4-BE49-F238E27FC236}">
                  <a16:creationId xmlns:a16="http://schemas.microsoft.com/office/drawing/2014/main" id="{DBBE6D4C-F920-422F-9A48-5FBE3A543FD7}"/>
                </a:ext>
              </a:extLst>
            </p:cNvPr>
            <p:cNvSpPr/>
            <p:nvPr/>
          </p:nvSpPr>
          <p:spPr>
            <a:xfrm>
              <a:off x="6441470" y="5801377"/>
              <a:ext cx="161388" cy="206147"/>
            </a:xfrm>
            <a:custGeom>
              <a:avLst/>
              <a:gdLst>
                <a:gd name="connsiteX0" fmla="*/ 152562 w 161388"/>
                <a:gd name="connsiteY0" fmla="*/ 206148 h 206147"/>
                <a:gd name="connsiteX1" fmla="*/ 8195 w 161388"/>
                <a:gd name="connsiteY1" fmla="*/ 206148 h 206147"/>
                <a:gd name="connsiteX2" fmla="*/ 0 w 161388"/>
                <a:gd name="connsiteY2" fmla="*/ 197952 h 206147"/>
                <a:gd name="connsiteX3" fmla="*/ 0 w 161388"/>
                <a:gd name="connsiteY3" fmla="*/ 8195 h 206147"/>
                <a:gd name="connsiteX4" fmla="*/ 8195 w 161388"/>
                <a:gd name="connsiteY4" fmla="*/ 0 h 206147"/>
                <a:gd name="connsiteX5" fmla="*/ 112846 w 161388"/>
                <a:gd name="connsiteY5" fmla="*/ 0 h 206147"/>
                <a:gd name="connsiteX6" fmla="*/ 121041 w 161388"/>
                <a:gd name="connsiteY6" fmla="*/ 8195 h 206147"/>
                <a:gd name="connsiteX7" fmla="*/ 112846 w 161388"/>
                <a:gd name="connsiteY7" fmla="*/ 16391 h 206147"/>
                <a:gd name="connsiteX8" fmla="*/ 17021 w 161388"/>
                <a:gd name="connsiteY8" fmla="*/ 16391 h 206147"/>
                <a:gd name="connsiteX9" fmla="*/ 17021 w 161388"/>
                <a:gd name="connsiteY9" fmla="*/ 189757 h 206147"/>
                <a:gd name="connsiteX10" fmla="*/ 144997 w 161388"/>
                <a:gd name="connsiteY10" fmla="*/ 189757 h 206147"/>
                <a:gd name="connsiteX11" fmla="*/ 144997 w 161388"/>
                <a:gd name="connsiteY11" fmla="*/ 109693 h 206147"/>
                <a:gd name="connsiteX12" fmla="*/ 153193 w 161388"/>
                <a:gd name="connsiteY12" fmla="*/ 101498 h 206147"/>
                <a:gd name="connsiteX13" fmla="*/ 161388 w 161388"/>
                <a:gd name="connsiteY13" fmla="*/ 109693 h 206147"/>
                <a:gd name="connsiteX14" fmla="*/ 161388 w 161388"/>
                <a:gd name="connsiteY14" fmla="*/ 197952 h 206147"/>
                <a:gd name="connsiteX15" fmla="*/ 152562 w 161388"/>
                <a:gd name="connsiteY15" fmla="*/ 206148 h 206147"/>
                <a:gd name="connsiteX16" fmla="*/ 152562 w 161388"/>
                <a:gd name="connsiteY16" fmla="*/ 206148 h 206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61388" h="206147">
                  <a:moveTo>
                    <a:pt x="152562" y="206148"/>
                  </a:moveTo>
                  <a:lnTo>
                    <a:pt x="8195" y="206148"/>
                  </a:lnTo>
                  <a:cubicBezTo>
                    <a:pt x="3783" y="206148"/>
                    <a:pt x="0" y="202365"/>
                    <a:pt x="0" y="197952"/>
                  </a:cubicBezTo>
                  <a:lnTo>
                    <a:pt x="0" y="8195"/>
                  </a:lnTo>
                  <a:cubicBezTo>
                    <a:pt x="0" y="3782"/>
                    <a:pt x="3783" y="0"/>
                    <a:pt x="8195" y="0"/>
                  </a:cubicBezTo>
                  <a:lnTo>
                    <a:pt x="112846" y="0"/>
                  </a:lnTo>
                  <a:cubicBezTo>
                    <a:pt x="117259" y="0"/>
                    <a:pt x="121041" y="3782"/>
                    <a:pt x="121041" y="8195"/>
                  </a:cubicBezTo>
                  <a:cubicBezTo>
                    <a:pt x="121041" y="12608"/>
                    <a:pt x="117259" y="16391"/>
                    <a:pt x="112846" y="16391"/>
                  </a:cubicBezTo>
                  <a:lnTo>
                    <a:pt x="17021" y="16391"/>
                  </a:lnTo>
                  <a:lnTo>
                    <a:pt x="17021" y="189757"/>
                  </a:lnTo>
                  <a:lnTo>
                    <a:pt x="144997" y="189757"/>
                  </a:lnTo>
                  <a:lnTo>
                    <a:pt x="144997" y="109693"/>
                  </a:lnTo>
                  <a:cubicBezTo>
                    <a:pt x="144997" y="105280"/>
                    <a:pt x="148780" y="101498"/>
                    <a:pt x="153193" y="101498"/>
                  </a:cubicBezTo>
                  <a:cubicBezTo>
                    <a:pt x="157606" y="101498"/>
                    <a:pt x="161388" y="105280"/>
                    <a:pt x="161388" y="109693"/>
                  </a:cubicBezTo>
                  <a:lnTo>
                    <a:pt x="161388" y="197952"/>
                  </a:lnTo>
                  <a:cubicBezTo>
                    <a:pt x="160758" y="202996"/>
                    <a:pt x="157606" y="206148"/>
                    <a:pt x="152562" y="206148"/>
                  </a:cubicBezTo>
                  <a:lnTo>
                    <a:pt x="152562" y="206148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41" name="Forma Livre: Forma 240">
              <a:extLst>
                <a:ext uri="{FF2B5EF4-FFF2-40B4-BE49-F238E27FC236}">
                  <a16:creationId xmlns:a16="http://schemas.microsoft.com/office/drawing/2014/main" id="{C52EE446-6242-4B08-8A3A-850EC172B73F}"/>
                </a:ext>
              </a:extLst>
            </p:cNvPr>
            <p:cNvSpPr/>
            <p:nvPr/>
          </p:nvSpPr>
          <p:spPr>
            <a:xfrm>
              <a:off x="6400493" y="5743378"/>
              <a:ext cx="242749" cy="362492"/>
            </a:xfrm>
            <a:custGeom>
              <a:avLst/>
              <a:gdLst>
                <a:gd name="connsiteX0" fmla="*/ 226322 w 242749"/>
                <a:gd name="connsiteY0" fmla="*/ 362493 h 362492"/>
                <a:gd name="connsiteX1" fmla="*/ 16391 w 242749"/>
                <a:gd name="connsiteY1" fmla="*/ 362493 h 362492"/>
                <a:gd name="connsiteX2" fmla="*/ 0 w 242749"/>
                <a:gd name="connsiteY2" fmla="*/ 346102 h 362492"/>
                <a:gd name="connsiteX3" fmla="*/ 0 w 242749"/>
                <a:gd name="connsiteY3" fmla="*/ 16391 h 362492"/>
                <a:gd name="connsiteX4" fmla="*/ 16391 w 242749"/>
                <a:gd name="connsiteY4" fmla="*/ 0 h 362492"/>
                <a:gd name="connsiteX5" fmla="*/ 160758 w 242749"/>
                <a:gd name="connsiteY5" fmla="*/ 0 h 362492"/>
                <a:gd name="connsiteX6" fmla="*/ 160758 w 242749"/>
                <a:gd name="connsiteY6" fmla="*/ 33412 h 362492"/>
                <a:gd name="connsiteX7" fmla="*/ 32782 w 242749"/>
                <a:gd name="connsiteY7" fmla="*/ 33412 h 362492"/>
                <a:gd name="connsiteX8" fmla="*/ 32782 w 242749"/>
                <a:gd name="connsiteY8" fmla="*/ 329711 h 362492"/>
                <a:gd name="connsiteX9" fmla="*/ 209300 w 242749"/>
                <a:gd name="connsiteY9" fmla="*/ 329711 h 362492"/>
                <a:gd name="connsiteX10" fmla="*/ 209300 w 242749"/>
                <a:gd name="connsiteY10" fmla="*/ 163910 h 362492"/>
                <a:gd name="connsiteX11" fmla="*/ 242713 w 242749"/>
                <a:gd name="connsiteY11" fmla="*/ 151301 h 362492"/>
                <a:gd name="connsiteX12" fmla="*/ 242713 w 242749"/>
                <a:gd name="connsiteY12" fmla="*/ 346732 h 362492"/>
                <a:gd name="connsiteX13" fmla="*/ 226322 w 242749"/>
                <a:gd name="connsiteY13" fmla="*/ 362493 h 362492"/>
                <a:gd name="connsiteX14" fmla="*/ 226322 w 242749"/>
                <a:gd name="connsiteY14" fmla="*/ 362493 h 36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2749" h="362492">
                  <a:moveTo>
                    <a:pt x="226322" y="362493"/>
                  </a:moveTo>
                  <a:lnTo>
                    <a:pt x="16391" y="362493"/>
                  </a:lnTo>
                  <a:cubicBezTo>
                    <a:pt x="6935" y="362493"/>
                    <a:pt x="0" y="354928"/>
                    <a:pt x="0" y="346102"/>
                  </a:cubicBezTo>
                  <a:lnTo>
                    <a:pt x="0" y="16391"/>
                  </a:lnTo>
                  <a:cubicBezTo>
                    <a:pt x="0" y="6934"/>
                    <a:pt x="7565" y="0"/>
                    <a:pt x="16391" y="0"/>
                  </a:cubicBezTo>
                  <a:lnTo>
                    <a:pt x="160758" y="0"/>
                  </a:lnTo>
                  <a:lnTo>
                    <a:pt x="160758" y="33412"/>
                  </a:lnTo>
                  <a:lnTo>
                    <a:pt x="32782" y="33412"/>
                  </a:lnTo>
                  <a:lnTo>
                    <a:pt x="32782" y="329711"/>
                  </a:lnTo>
                  <a:lnTo>
                    <a:pt x="209300" y="329711"/>
                  </a:lnTo>
                  <a:lnTo>
                    <a:pt x="209300" y="163910"/>
                  </a:lnTo>
                  <a:lnTo>
                    <a:pt x="242713" y="151301"/>
                  </a:lnTo>
                  <a:lnTo>
                    <a:pt x="242713" y="346732"/>
                  </a:lnTo>
                  <a:cubicBezTo>
                    <a:pt x="243343" y="355558"/>
                    <a:pt x="235778" y="362493"/>
                    <a:pt x="226322" y="362493"/>
                  </a:cubicBezTo>
                  <a:lnTo>
                    <a:pt x="226322" y="362493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42" name="Forma Livre: Forma 241">
              <a:extLst>
                <a:ext uri="{FF2B5EF4-FFF2-40B4-BE49-F238E27FC236}">
                  <a16:creationId xmlns:a16="http://schemas.microsoft.com/office/drawing/2014/main" id="{4F924491-0B49-42B0-B753-878A6D1DF5B0}"/>
                </a:ext>
              </a:extLst>
            </p:cNvPr>
            <p:cNvSpPr/>
            <p:nvPr/>
          </p:nvSpPr>
          <p:spPr>
            <a:xfrm>
              <a:off x="6595924" y="5750944"/>
              <a:ext cx="185974" cy="16390"/>
            </a:xfrm>
            <a:custGeom>
              <a:avLst/>
              <a:gdLst>
                <a:gd name="connsiteX0" fmla="*/ 177779 w 185974"/>
                <a:gd name="connsiteY0" fmla="*/ 16391 h 16390"/>
                <a:gd name="connsiteX1" fmla="*/ 8195 w 185974"/>
                <a:gd name="connsiteY1" fmla="*/ 16391 h 16390"/>
                <a:gd name="connsiteX2" fmla="*/ 0 w 185974"/>
                <a:gd name="connsiteY2" fmla="*/ 8195 h 16390"/>
                <a:gd name="connsiteX3" fmla="*/ 8195 w 185974"/>
                <a:gd name="connsiteY3" fmla="*/ 0 h 16390"/>
                <a:gd name="connsiteX4" fmla="*/ 177779 w 185974"/>
                <a:gd name="connsiteY4" fmla="*/ 0 h 16390"/>
                <a:gd name="connsiteX5" fmla="*/ 185975 w 185974"/>
                <a:gd name="connsiteY5" fmla="*/ 8195 h 16390"/>
                <a:gd name="connsiteX6" fmla="*/ 177779 w 185974"/>
                <a:gd name="connsiteY6" fmla="*/ 16391 h 16390"/>
                <a:gd name="connsiteX7" fmla="*/ 177779 w 185974"/>
                <a:gd name="connsiteY7" fmla="*/ 16391 h 16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5974" h="16390">
                  <a:moveTo>
                    <a:pt x="177779" y="16391"/>
                  </a:moveTo>
                  <a:lnTo>
                    <a:pt x="8195" y="16391"/>
                  </a:lnTo>
                  <a:cubicBezTo>
                    <a:pt x="3783" y="16391"/>
                    <a:pt x="0" y="12608"/>
                    <a:pt x="0" y="8195"/>
                  </a:cubicBezTo>
                  <a:cubicBezTo>
                    <a:pt x="0" y="3782"/>
                    <a:pt x="3783" y="0"/>
                    <a:pt x="8195" y="0"/>
                  </a:cubicBezTo>
                  <a:lnTo>
                    <a:pt x="177779" y="0"/>
                  </a:lnTo>
                  <a:cubicBezTo>
                    <a:pt x="182192" y="0"/>
                    <a:pt x="185975" y="3782"/>
                    <a:pt x="185975" y="8195"/>
                  </a:cubicBezTo>
                  <a:cubicBezTo>
                    <a:pt x="185975" y="12608"/>
                    <a:pt x="182192" y="16391"/>
                    <a:pt x="177779" y="16391"/>
                  </a:cubicBezTo>
                  <a:lnTo>
                    <a:pt x="177779" y="1639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43" name="Forma Livre: Forma 242">
              <a:extLst>
                <a:ext uri="{FF2B5EF4-FFF2-40B4-BE49-F238E27FC236}">
                  <a16:creationId xmlns:a16="http://schemas.microsoft.com/office/drawing/2014/main" id="{823442B3-C2EE-41C9-AF40-4C9CD90A4D13}"/>
                </a:ext>
              </a:extLst>
            </p:cNvPr>
            <p:cNvSpPr/>
            <p:nvPr/>
          </p:nvSpPr>
          <p:spPr>
            <a:xfrm>
              <a:off x="6595924" y="5786877"/>
              <a:ext cx="185974" cy="16391"/>
            </a:xfrm>
            <a:custGeom>
              <a:avLst/>
              <a:gdLst>
                <a:gd name="connsiteX0" fmla="*/ 177779 w 185974"/>
                <a:gd name="connsiteY0" fmla="*/ 16391 h 16391"/>
                <a:gd name="connsiteX1" fmla="*/ 8195 w 185974"/>
                <a:gd name="connsiteY1" fmla="*/ 16391 h 16391"/>
                <a:gd name="connsiteX2" fmla="*/ 0 w 185974"/>
                <a:gd name="connsiteY2" fmla="*/ 8196 h 16391"/>
                <a:gd name="connsiteX3" fmla="*/ 8195 w 185974"/>
                <a:gd name="connsiteY3" fmla="*/ 0 h 16391"/>
                <a:gd name="connsiteX4" fmla="*/ 177779 w 185974"/>
                <a:gd name="connsiteY4" fmla="*/ 0 h 16391"/>
                <a:gd name="connsiteX5" fmla="*/ 185975 w 185974"/>
                <a:gd name="connsiteY5" fmla="*/ 8196 h 16391"/>
                <a:gd name="connsiteX6" fmla="*/ 177779 w 185974"/>
                <a:gd name="connsiteY6" fmla="*/ 16391 h 16391"/>
                <a:gd name="connsiteX7" fmla="*/ 177779 w 185974"/>
                <a:gd name="connsiteY7" fmla="*/ 16391 h 16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5974" h="16391">
                  <a:moveTo>
                    <a:pt x="177779" y="16391"/>
                  </a:moveTo>
                  <a:lnTo>
                    <a:pt x="8195" y="16391"/>
                  </a:lnTo>
                  <a:cubicBezTo>
                    <a:pt x="3783" y="16391"/>
                    <a:pt x="0" y="12608"/>
                    <a:pt x="0" y="8196"/>
                  </a:cubicBezTo>
                  <a:cubicBezTo>
                    <a:pt x="0" y="3783"/>
                    <a:pt x="3783" y="0"/>
                    <a:pt x="8195" y="0"/>
                  </a:cubicBezTo>
                  <a:lnTo>
                    <a:pt x="177779" y="0"/>
                  </a:lnTo>
                  <a:cubicBezTo>
                    <a:pt x="182192" y="0"/>
                    <a:pt x="185975" y="3783"/>
                    <a:pt x="185975" y="8196"/>
                  </a:cubicBezTo>
                  <a:cubicBezTo>
                    <a:pt x="185975" y="12608"/>
                    <a:pt x="182192" y="16391"/>
                    <a:pt x="177779" y="16391"/>
                  </a:cubicBezTo>
                  <a:lnTo>
                    <a:pt x="177779" y="1639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44" name="Forma Livre: Forma 243">
              <a:extLst>
                <a:ext uri="{FF2B5EF4-FFF2-40B4-BE49-F238E27FC236}">
                  <a16:creationId xmlns:a16="http://schemas.microsoft.com/office/drawing/2014/main" id="{DC32E3B6-98AC-4D7B-B328-2B1B8D2E3666}"/>
                </a:ext>
              </a:extLst>
            </p:cNvPr>
            <p:cNvSpPr/>
            <p:nvPr/>
          </p:nvSpPr>
          <p:spPr>
            <a:xfrm>
              <a:off x="6595924" y="5822812"/>
              <a:ext cx="185974" cy="16391"/>
            </a:xfrm>
            <a:custGeom>
              <a:avLst/>
              <a:gdLst>
                <a:gd name="connsiteX0" fmla="*/ 177779 w 185974"/>
                <a:gd name="connsiteY0" fmla="*/ 16391 h 16391"/>
                <a:gd name="connsiteX1" fmla="*/ 8195 w 185974"/>
                <a:gd name="connsiteY1" fmla="*/ 16391 h 16391"/>
                <a:gd name="connsiteX2" fmla="*/ 0 w 185974"/>
                <a:gd name="connsiteY2" fmla="*/ 8195 h 16391"/>
                <a:gd name="connsiteX3" fmla="*/ 8195 w 185974"/>
                <a:gd name="connsiteY3" fmla="*/ 0 h 16391"/>
                <a:gd name="connsiteX4" fmla="*/ 177779 w 185974"/>
                <a:gd name="connsiteY4" fmla="*/ 0 h 16391"/>
                <a:gd name="connsiteX5" fmla="*/ 185975 w 185974"/>
                <a:gd name="connsiteY5" fmla="*/ 8195 h 16391"/>
                <a:gd name="connsiteX6" fmla="*/ 177779 w 185974"/>
                <a:gd name="connsiteY6" fmla="*/ 16391 h 16391"/>
                <a:gd name="connsiteX7" fmla="*/ 177779 w 185974"/>
                <a:gd name="connsiteY7" fmla="*/ 16391 h 16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5974" h="16391">
                  <a:moveTo>
                    <a:pt x="177779" y="16391"/>
                  </a:moveTo>
                  <a:lnTo>
                    <a:pt x="8195" y="16391"/>
                  </a:lnTo>
                  <a:cubicBezTo>
                    <a:pt x="3783" y="16391"/>
                    <a:pt x="0" y="12608"/>
                    <a:pt x="0" y="8195"/>
                  </a:cubicBezTo>
                  <a:cubicBezTo>
                    <a:pt x="0" y="3783"/>
                    <a:pt x="3783" y="0"/>
                    <a:pt x="8195" y="0"/>
                  </a:cubicBezTo>
                  <a:lnTo>
                    <a:pt x="177779" y="0"/>
                  </a:lnTo>
                  <a:cubicBezTo>
                    <a:pt x="182192" y="0"/>
                    <a:pt x="185975" y="3783"/>
                    <a:pt x="185975" y="8195"/>
                  </a:cubicBezTo>
                  <a:cubicBezTo>
                    <a:pt x="185975" y="12608"/>
                    <a:pt x="182192" y="16391"/>
                    <a:pt x="177779" y="16391"/>
                  </a:cubicBezTo>
                  <a:lnTo>
                    <a:pt x="177779" y="1639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45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9516671" y="5696727"/>
            <a:ext cx="315841" cy="400318"/>
            <a:chOff x="9516671" y="5696727"/>
            <a:chExt cx="315841" cy="400318"/>
          </a:xfrm>
          <a:solidFill>
            <a:srgbClr val="B1B1A1"/>
          </a:solidFill>
        </p:grpSpPr>
        <p:sp>
          <p:nvSpPr>
            <p:cNvPr id="246" name="Forma Livre: Forma 245">
              <a:extLst>
                <a:ext uri="{FF2B5EF4-FFF2-40B4-BE49-F238E27FC236}">
                  <a16:creationId xmlns:a16="http://schemas.microsoft.com/office/drawing/2014/main" id="{150C4296-A04E-4EFC-8565-10D32560B239}"/>
                </a:ext>
              </a:extLst>
            </p:cNvPr>
            <p:cNvSpPr/>
            <p:nvPr/>
          </p:nvSpPr>
          <p:spPr>
            <a:xfrm>
              <a:off x="9516671" y="5696727"/>
              <a:ext cx="266038" cy="399688"/>
            </a:xfrm>
            <a:custGeom>
              <a:avLst/>
              <a:gdLst>
                <a:gd name="connsiteX0" fmla="*/ 179040 w 266038"/>
                <a:gd name="connsiteY0" fmla="*/ 399688 h 399688"/>
                <a:gd name="connsiteX1" fmla="*/ 16391 w 266038"/>
                <a:gd name="connsiteY1" fmla="*/ 399688 h 399688"/>
                <a:gd name="connsiteX2" fmla="*/ 0 w 266038"/>
                <a:gd name="connsiteY2" fmla="*/ 383297 h 399688"/>
                <a:gd name="connsiteX3" fmla="*/ 0 w 266038"/>
                <a:gd name="connsiteY3" fmla="*/ 16391 h 399688"/>
                <a:gd name="connsiteX4" fmla="*/ 16391 w 266038"/>
                <a:gd name="connsiteY4" fmla="*/ 0 h 399688"/>
                <a:gd name="connsiteX5" fmla="*/ 249647 w 266038"/>
                <a:gd name="connsiteY5" fmla="*/ 0 h 399688"/>
                <a:gd name="connsiteX6" fmla="*/ 266039 w 266038"/>
                <a:gd name="connsiteY6" fmla="*/ 16391 h 399688"/>
                <a:gd name="connsiteX7" fmla="*/ 266039 w 266038"/>
                <a:gd name="connsiteY7" fmla="*/ 184714 h 399688"/>
                <a:gd name="connsiteX8" fmla="*/ 232626 w 266038"/>
                <a:gd name="connsiteY8" fmla="*/ 184714 h 399688"/>
                <a:gd name="connsiteX9" fmla="*/ 232626 w 266038"/>
                <a:gd name="connsiteY9" fmla="*/ 33412 h 399688"/>
                <a:gd name="connsiteX10" fmla="*/ 32782 w 266038"/>
                <a:gd name="connsiteY10" fmla="*/ 33412 h 399688"/>
                <a:gd name="connsiteX11" fmla="*/ 32782 w 266038"/>
                <a:gd name="connsiteY11" fmla="*/ 366906 h 399688"/>
                <a:gd name="connsiteX12" fmla="*/ 178410 w 266038"/>
                <a:gd name="connsiteY12" fmla="*/ 366906 h 399688"/>
                <a:gd name="connsiteX13" fmla="*/ 178410 w 266038"/>
                <a:gd name="connsiteY13" fmla="*/ 399688 h 399688"/>
                <a:gd name="connsiteX14" fmla="*/ 179040 w 266038"/>
                <a:gd name="connsiteY14" fmla="*/ 399688 h 399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66038" h="399688">
                  <a:moveTo>
                    <a:pt x="179040" y="399688"/>
                  </a:moveTo>
                  <a:lnTo>
                    <a:pt x="16391" y="399688"/>
                  </a:lnTo>
                  <a:cubicBezTo>
                    <a:pt x="6934" y="399688"/>
                    <a:pt x="0" y="392123"/>
                    <a:pt x="0" y="383297"/>
                  </a:cubicBezTo>
                  <a:lnTo>
                    <a:pt x="0" y="16391"/>
                  </a:lnTo>
                  <a:cubicBezTo>
                    <a:pt x="0" y="6935"/>
                    <a:pt x="7566" y="0"/>
                    <a:pt x="16391" y="0"/>
                  </a:cubicBezTo>
                  <a:lnTo>
                    <a:pt x="249647" y="0"/>
                  </a:lnTo>
                  <a:cubicBezTo>
                    <a:pt x="259104" y="0"/>
                    <a:pt x="266039" y="7565"/>
                    <a:pt x="266039" y="16391"/>
                  </a:cubicBezTo>
                  <a:lnTo>
                    <a:pt x="266039" y="184714"/>
                  </a:lnTo>
                  <a:lnTo>
                    <a:pt x="232626" y="184714"/>
                  </a:lnTo>
                  <a:lnTo>
                    <a:pt x="232626" y="33412"/>
                  </a:lnTo>
                  <a:lnTo>
                    <a:pt x="32782" y="33412"/>
                  </a:lnTo>
                  <a:lnTo>
                    <a:pt x="32782" y="366906"/>
                  </a:lnTo>
                  <a:lnTo>
                    <a:pt x="178410" y="366906"/>
                  </a:lnTo>
                  <a:lnTo>
                    <a:pt x="178410" y="399688"/>
                  </a:lnTo>
                  <a:lnTo>
                    <a:pt x="179040" y="399688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47" name="Forma Livre: Forma 246">
              <a:extLst>
                <a:ext uri="{FF2B5EF4-FFF2-40B4-BE49-F238E27FC236}">
                  <a16:creationId xmlns:a16="http://schemas.microsoft.com/office/drawing/2014/main" id="{FC3B8BB2-CD37-442E-BCF0-81518FE0327D}"/>
                </a:ext>
              </a:extLst>
            </p:cNvPr>
            <p:cNvSpPr/>
            <p:nvPr/>
          </p:nvSpPr>
          <p:spPr>
            <a:xfrm>
              <a:off x="9558279" y="5760400"/>
              <a:ext cx="182822" cy="227582"/>
            </a:xfrm>
            <a:custGeom>
              <a:avLst/>
              <a:gdLst>
                <a:gd name="connsiteX0" fmla="*/ 122302 w 182822"/>
                <a:gd name="connsiteY0" fmla="*/ 227582 h 227582"/>
                <a:gd name="connsiteX1" fmla="*/ 8196 w 182822"/>
                <a:gd name="connsiteY1" fmla="*/ 227582 h 227582"/>
                <a:gd name="connsiteX2" fmla="*/ 0 w 182822"/>
                <a:gd name="connsiteY2" fmla="*/ 219387 h 227582"/>
                <a:gd name="connsiteX3" fmla="*/ 0 w 182822"/>
                <a:gd name="connsiteY3" fmla="*/ 8195 h 227582"/>
                <a:gd name="connsiteX4" fmla="*/ 8196 w 182822"/>
                <a:gd name="connsiteY4" fmla="*/ 0 h 227582"/>
                <a:gd name="connsiteX5" fmla="*/ 174628 w 182822"/>
                <a:gd name="connsiteY5" fmla="*/ 0 h 227582"/>
                <a:gd name="connsiteX6" fmla="*/ 182823 w 182822"/>
                <a:gd name="connsiteY6" fmla="*/ 8195 h 227582"/>
                <a:gd name="connsiteX7" fmla="*/ 182823 w 182822"/>
                <a:gd name="connsiteY7" fmla="*/ 80694 h 227582"/>
                <a:gd name="connsiteX8" fmla="*/ 174628 w 182822"/>
                <a:gd name="connsiteY8" fmla="*/ 88889 h 227582"/>
                <a:gd name="connsiteX9" fmla="*/ 166432 w 182822"/>
                <a:gd name="connsiteY9" fmla="*/ 80694 h 227582"/>
                <a:gd name="connsiteX10" fmla="*/ 166432 w 182822"/>
                <a:gd name="connsiteY10" fmla="*/ 16391 h 227582"/>
                <a:gd name="connsiteX11" fmla="*/ 16392 w 182822"/>
                <a:gd name="connsiteY11" fmla="*/ 16391 h 227582"/>
                <a:gd name="connsiteX12" fmla="*/ 16392 w 182822"/>
                <a:gd name="connsiteY12" fmla="*/ 210561 h 227582"/>
                <a:gd name="connsiteX13" fmla="*/ 121672 w 182822"/>
                <a:gd name="connsiteY13" fmla="*/ 210561 h 227582"/>
                <a:gd name="connsiteX14" fmla="*/ 129868 w 182822"/>
                <a:gd name="connsiteY14" fmla="*/ 218756 h 227582"/>
                <a:gd name="connsiteX15" fmla="*/ 122302 w 182822"/>
                <a:gd name="connsiteY15" fmla="*/ 227582 h 227582"/>
                <a:gd name="connsiteX16" fmla="*/ 122302 w 182822"/>
                <a:gd name="connsiteY16" fmla="*/ 227582 h 227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82822" h="227582">
                  <a:moveTo>
                    <a:pt x="122302" y="227582"/>
                  </a:moveTo>
                  <a:lnTo>
                    <a:pt x="8196" y="227582"/>
                  </a:lnTo>
                  <a:cubicBezTo>
                    <a:pt x="3783" y="227582"/>
                    <a:pt x="0" y="223800"/>
                    <a:pt x="0" y="219387"/>
                  </a:cubicBezTo>
                  <a:lnTo>
                    <a:pt x="0" y="8195"/>
                  </a:lnTo>
                  <a:cubicBezTo>
                    <a:pt x="0" y="3782"/>
                    <a:pt x="3783" y="0"/>
                    <a:pt x="8196" y="0"/>
                  </a:cubicBezTo>
                  <a:lnTo>
                    <a:pt x="174628" y="0"/>
                  </a:lnTo>
                  <a:cubicBezTo>
                    <a:pt x="179040" y="0"/>
                    <a:pt x="182823" y="3782"/>
                    <a:pt x="182823" y="8195"/>
                  </a:cubicBezTo>
                  <a:lnTo>
                    <a:pt x="182823" y="80694"/>
                  </a:lnTo>
                  <a:cubicBezTo>
                    <a:pt x="182823" y="85107"/>
                    <a:pt x="179040" y="88889"/>
                    <a:pt x="174628" y="88889"/>
                  </a:cubicBezTo>
                  <a:cubicBezTo>
                    <a:pt x="170214" y="88889"/>
                    <a:pt x="166432" y="85107"/>
                    <a:pt x="166432" y="80694"/>
                  </a:cubicBezTo>
                  <a:lnTo>
                    <a:pt x="166432" y="16391"/>
                  </a:lnTo>
                  <a:lnTo>
                    <a:pt x="16392" y="16391"/>
                  </a:lnTo>
                  <a:lnTo>
                    <a:pt x="16392" y="210561"/>
                  </a:lnTo>
                  <a:lnTo>
                    <a:pt x="121672" y="210561"/>
                  </a:lnTo>
                  <a:cubicBezTo>
                    <a:pt x="126085" y="210561"/>
                    <a:pt x="129868" y="214344"/>
                    <a:pt x="129868" y="218756"/>
                  </a:cubicBezTo>
                  <a:cubicBezTo>
                    <a:pt x="130498" y="223800"/>
                    <a:pt x="126716" y="227582"/>
                    <a:pt x="122302" y="227582"/>
                  </a:cubicBezTo>
                  <a:lnTo>
                    <a:pt x="122302" y="227582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48" name="Forma Livre: Forma 247">
              <a:extLst>
                <a:ext uri="{FF2B5EF4-FFF2-40B4-BE49-F238E27FC236}">
                  <a16:creationId xmlns:a16="http://schemas.microsoft.com/office/drawing/2014/main" id="{3734DCFD-6BCE-4E8C-99FC-F9CEA22A974A}"/>
                </a:ext>
              </a:extLst>
            </p:cNvPr>
            <p:cNvSpPr/>
            <p:nvPr/>
          </p:nvSpPr>
          <p:spPr>
            <a:xfrm>
              <a:off x="9630778" y="6005634"/>
              <a:ext cx="39086" cy="39086"/>
            </a:xfrm>
            <a:custGeom>
              <a:avLst/>
              <a:gdLst>
                <a:gd name="connsiteX0" fmla="*/ 39086 w 39086"/>
                <a:gd name="connsiteY0" fmla="*/ 19543 h 39086"/>
                <a:gd name="connsiteX1" fmla="*/ 19543 w 39086"/>
                <a:gd name="connsiteY1" fmla="*/ 39086 h 39086"/>
                <a:gd name="connsiteX2" fmla="*/ 0 w 39086"/>
                <a:gd name="connsiteY2" fmla="*/ 19543 h 39086"/>
                <a:gd name="connsiteX3" fmla="*/ 19543 w 39086"/>
                <a:gd name="connsiteY3" fmla="*/ 0 h 39086"/>
                <a:gd name="connsiteX4" fmla="*/ 39086 w 39086"/>
                <a:gd name="connsiteY4" fmla="*/ 19543 h 39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086" h="39086">
                  <a:moveTo>
                    <a:pt x="39086" y="19543"/>
                  </a:moveTo>
                  <a:cubicBezTo>
                    <a:pt x="39086" y="30337"/>
                    <a:pt x="30336" y="39086"/>
                    <a:pt x="19543" y="39086"/>
                  </a:cubicBezTo>
                  <a:cubicBezTo>
                    <a:pt x="8750" y="39086"/>
                    <a:pt x="0" y="30336"/>
                    <a:pt x="0" y="19543"/>
                  </a:cubicBezTo>
                  <a:cubicBezTo>
                    <a:pt x="0" y="8750"/>
                    <a:pt x="8750" y="0"/>
                    <a:pt x="19543" y="0"/>
                  </a:cubicBezTo>
                  <a:cubicBezTo>
                    <a:pt x="30336" y="0"/>
                    <a:pt x="39086" y="8750"/>
                    <a:pt x="39086" y="19543"/>
                  </a:cubicBez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249" name="Gráfico 2">
              <a:extLst>
                <a:ext uri="{FF2B5EF4-FFF2-40B4-BE49-F238E27FC236}">
                  <a16:creationId xmlns:a16="http://schemas.microsoft.com/office/drawing/2014/main" id="{1EC2913E-D059-42A1-91F3-F6BAB2F166E6}"/>
                </a:ext>
              </a:extLst>
            </p:cNvPr>
            <p:cNvGrpSpPr/>
            <p:nvPr/>
          </p:nvGrpSpPr>
          <p:grpSpPr>
            <a:xfrm>
              <a:off x="9660408" y="5811464"/>
              <a:ext cx="172104" cy="285581"/>
              <a:chOff x="9660408" y="5811464"/>
              <a:chExt cx="172104" cy="285581"/>
            </a:xfrm>
            <a:grpFill/>
          </p:grpSpPr>
          <p:sp>
            <p:nvSpPr>
              <p:cNvPr id="250" name="Forma Livre: Forma 249">
                <a:extLst>
                  <a:ext uri="{FF2B5EF4-FFF2-40B4-BE49-F238E27FC236}">
                    <a16:creationId xmlns:a16="http://schemas.microsoft.com/office/drawing/2014/main" id="{45423CD4-1E39-45C2-BADA-4C732F69BEE0}"/>
                  </a:ext>
                </a:extLst>
              </p:cNvPr>
              <p:cNvSpPr/>
              <p:nvPr/>
            </p:nvSpPr>
            <p:spPr>
              <a:xfrm>
                <a:off x="9688147" y="6016351"/>
                <a:ext cx="144366" cy="80694"/>
              </a:xfrm>
              <a:custGeom>
                <a:avLst/>
                <a:gdLst>
                  <a:gd name="connsiteX0" fmla="*/ 8195 w 144366"/>
                  <a:gd name="connsiteY0" fmla="*/ 80694 h 80694"/>
                  <a:gd name="connsiteX1" fmla="*/ 2521 w 144366"/>
                  <a:gd name="connsiteY1" fmla="*/ 78173 h 80694"/>
                  <a:gd name="connsiteX2" fmla="*/ 0 w 144366"/>
                  <a:gd name="connsiteY2" fmla="*/ 72499 h 80694"/>
                  <a:gd name="connsiteX3" fmla="*/ 0 w 144366"/>
                  <a:gd name="connsiteY3" fmla="*/ 8195 h 80694"/>
                  <a:gd name="connsiteX4" fmla="*/ 2521 w 144366"/>
                  <a:gd name="connsiteY4" fmla="*/ 2522 h 80694"/>
                  <a:gd name="connsiteX5" fmla="*/ 8195 w 144366"/>
                  <a:gd name="connsiteY5" fmla="*/ 0 h 80694"/>
                  <a:gd name="connsiteX6" fmla="*/ 136171 w 144366"/>
                  <a:gd name="connsiteY6" fmla="*/ 0 h 80694"/>
                  <a:gd name="connsiteX7" fmla="*/ 144366 w 144366"/>
                  <a:gd name="connsiteY7" fmla="*/ 8195 h 80694"/>
                  <a:gd name="connsiteX8" fmla="*/ 144366 w 144366"/>
                  <a:gd name="connsiteY8" fmla="*/ 72499 h 80694"/>
                  <a:gd name="connsiteX9" fmla="*/ 136171 w 144366"/>
                  <a:gd name="connsiteY9" fmla="*/ 80694 h 80694"/>
                  <a:gd name="connsiteX10" fmla="*/ 8195 w 144366"/>
                  <a:gd name="connsiteY10" fmla="*/ 80694 h 80694"/>
                  <a:gd name="connsiteX11" fmla="*/ 8195 w 144366"/>
                  <a:gd name="connsiteY11" fmla="*/ 80694 h 80694"/>
                  <a:gd name="connsiteX12" fmla="*/ 8195 w 144366"/>
                  <a:gd name="connsiteY12" fmla="*/ 80694 h 80694"/>
                  <a:gd name="connsiteX13" fmla="*/ 16391 w 144366"/>
                  <a:gd name="connsiteY13" fmla="*/ 16391 h 80694"/>
                  <a:gd name="connsiteX14" fmla="*/ 16391 w 144366"/>
                  <a:gd name="connsiteY14" fmla="*/ 63673 h 80694"/>
                  <a:gd name="connsiteX15" fmla="*/ 127975 w 144366"/>
                  <a:gd name="connsiteY15" fmla="*/ 63673 h 80694"/>
                  <a:gd name="connsiteX16" fmla="*/ 127975 w 144366"/>
                  <a:gd name="connsiteY16" fmla="*/ 16391 h 80694"/>
                  <a:gd name="connsiteX17" fmla="*/ 16391 w 144366"/>
                  <a:gd name="connsiteY17" fmla="*/ 16391 h 80694"/>
                  <a:gd name="connsiteX18" fmla="*/ 16391 w 144366"/>
                  <a:gd name="connsiteY18" fmla="*/ 16391 h 806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4366" h="80694">
                    <a:moveTo>
                      <a:pt x="8195" y="80694"/>
                    </a:moveTo>
                    <a:cubicBezTo>
                      <a:pt x="6304" y="80694"/>
                      <a:pt x="3782" y="80064"/>
                      <a:pt x="2521" y="78173"/>
                    </a:cubicBezTo>
                    <a:cubicBezTo>
                      <a:pt x="1261" y="76912"/>
                      <a:pt x="0" y="74390"/>
                      <a:pt x="0" y="72499"/>
                    </a:cubicBezTo>
                    <a:lnTo>
                      <a:pt x="0" y="8195"/>
                    </a:lnTo>
                    <a:cubicBezTo>
                      <a:pt x="0" y="5674"/>
                      <a:pt x="630" y="3782"/>
                      <a:pt x="2521" y="2522"/>
                    </a:cubicBezTo>
                    <a:cubicBezTo>
                      <a:pt x="3782" y="630"/>
                      <a:pt x="6304" y="0"/>
                      <a:pt x="8195" y="0"/>
                    </a:cubicBezTo>
                    <a:lnTo>
                      <a:pt x="136171" y="0"/>
                    </a:lnTo>
                    <a:cubicBezTo>
                      <a:pt x="140584" y="0"/>
                      <a:pt x="144366" y="3782"/>
                      <a:pt x="144366" y="8195"/>
                    </a:cubicBezTo>
                    <a:lnTo>
                      <a:pt x="144366" y="72499"/>
                    </a:lnTo>
                    <a:cubicBezTo>
                      <a:pt x="144366" y="76912"/>
                      <a:pt x="140584" y="80694"/>
                      <a:pt x="136171" y="80694"/>
                    </a:cubicBezTo>
                    <a:lnTo>
                      <a:pt x="8195" y="80694"/>
                    </a:lnTo>
                    <a:lnTo>
                      <a:pt x="8195" y="80694"/>
                    </a:lnTo>
                    <a:lnTo>
                      <a:pt x="8195" y="80694"/>
                    </a:lnTo>
                    <a:close/>
                    <a:moveTo>
                      <a:pt x="16391" y="16391"/>
                    </a:moveTo>
                    <a:lnTo>
                      <a:pt x="16391" y="63673"/>
                    </a:lnTo>
                    <a:lnTo>
                      <a:pt x="127975" y="63673"/>
                    </a:lnTo>
                    <a:lnTo>
                      <a:pt x="127975" y="16391"/>
                    </a:lnTo>
                    <a:lnTo>
                      <a:pt x="16391" y="16391"/>
                    </a:lnTo>
                    <a:lnTo>
                      <a:pt x="16391" y="16391"/>
                    </a:ln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51" name="Forma Livre: Forma 250">
                <a:extLst>
                  <a:ext uri="{FF2B5EF4-FFF2-40B4-BE49-F238E27FC236}">
                    <a16:creationId xmlns:a16="http://schemas.microsoft.com/office/drawing/2014/main" id="{03AF0A66-3904-4F19-935C-AEF949E8E968}"/>
                  </a:ext>
                </a:extLst>
              </p:cNvPr>
              <p:cNvSpPr/>
              <p:nvPr/>
            </p:nvSpPr>
            <p:spPr>
              <a:xfrm>
                <a:off x="9660408" y="5811464"/>
                <a:ext cx="170844" cy="220647"/>
              </a:xfrm>
              <a:custGeom>
                <a:avLst/>
                <a:gdLst>
                  <a:gd name="connsiteX0" fmla="*/ 54216 w 170844"/>
                  <a:gd name="connsiteY0" fmla="*/ 16391 h 220647"/>
                  <a:gd name="connsiteX1" fmla="*/ 64303 w 170844"/>
                  <a:gd name="connsiteY1" fmla="*/ 26478 h 220647"/>
                  <a:gd name="connsiteX2" fmla="*/ 64303 w 170844"/>
                  <a:gd name="connsiteY2" fmla="*/ 93302 h 220647"/>
                  <a:gd name="connsiteX3" fmla="*/ 73759 w 170844"/>
                  <a:gd name="connsiteY3" fmla="*/ 91411 h 220647"/>
                  <a:gd name="connsiteX4" fmla="*/ 73759 w 170844"/>
                  <a:gd name="connsiteY4" fmla="*/ 85107 h 220647"/>
                  <a:gd name="connsiteX5" fmla="*/ 83846 w 170844"/>
                  <a:gd name="connsiteY5" fmla="*/ 75020 h 220647"/>
                  <a:gd name="connsiteX6" fmla="*/ 93933 w 170844"/>
                  <a:gd name="connsiteY6" fmla="*/ 85107 h 220647"/>
                  <a:gd name="connsiteX7" fmla="*/ 93933 w 170844"/>
                  <a:gd name="connsiteY7" fmla="*/ 91411 h 220647"/>
                  <a:gd name="connsiteX8" fmla="*/ 103389 w 170844"/>
                  <a:gd name="connsiteY8" fmla="*/ 91411 h 220647"/>
                  <a:gd name="connsiteX9" fmla="*/ 103389 w 170844"/>
                  <a:gd name="connsiteY9" fmla="*/ 88259 h 220647"/>
                  <a:gd name="connsiteX10" fmla="*/ 113476 w 170844"/>
                  <a:gd name="connsiteY10" fmla="*/ 78173 h 220647"/>
                  <a:gd name="connsiteX11" fmla="*/ 123563 w 170844"/>
                  <a:gd name="connsiteY11" fmla="*/ 88259 h 220647"/>
                  <a:gd name="connsiteX12" fmla="*/ 123563 w 170844"/>
                  <a:gd name="connsiteY12" fmla="*/ 92042 h 220647"/>
                  <a:gd name="connsiteX13" fmla="*/ 133019 w 170844"/>
                  <a:gd name="connsiteY13" fmla="*/ 93933 h 220647"/>
                  <a:gd name="connsiteX14" fmla="*/ 143106 w 170844"/>
                  <a:gd name="connsiteY14" fmla="*/ 83846 h 220647"/>
                  <a:gd name="connsiteX15" fmla="*/ 153192 w 170844"/>
                  <a:gd name="connsiteY15" fmla="*/ 93933 h 220647"/>
                  <a:gd name="connsiteX16" fmla="*/ 153192 w 170844"/>
                  <a:gd name="connsiteY16" fmla="*/ 120411 h 220647"/>
                  <a:gd name="connsiteX17" fmla="*/ 153192 w 170844"/>
                  <a:gd name="connsiteY17" fmla="*/ 138693 h 220647"/>
                  <a:gd name="connsiteX18" fmla="*/ 153192 w 170844"/>
                  <a:gd name="connsiteY18" fmla="*/ 187866 h 220647"/>
                  <a:gd name="connsiteX19" fmla="*/ 147519 w 170844"/>
                  <a:gd name="connsiteY19" fmla="*/ 203626 h 220647"/>
                  <a:gd name="connsiteX20" fmla="*/ 48542 w 170844"/>
                  <a:gd name="connsiteY20" fmla="*/ 203626 h 220647"/>
                  <a:gd name="connsiteX21" fmla="*/ 44130 w 170844"/>
                  <a:gd name="connsiteY21" fmla="*/ 196061 h 220647"/>
                  <a:gd name="connsiteX22" fmla="*/ 16391 w 170844"/>
                  <a:gd name="connsiteY22" fmla="*/ 147519 h 220647"/>
                  <a:gd name="connsiteX23" fmla="*/ 15130 w 170844"/>
                  <a:gd name="connsiteY23" fmla="*/ 142475 h 220647"/>
                  <a:gd name="connsiteX24" fmla="*/ 15130 w 170844"/>
                  <a:gd name="connsiteY24" fmla="*/ 96455 h 220647"/>
                  <a:gd name="connsiteX25" fmla="*/ 24587 w 170844"/>
                  <a:gd name="connsiteY25" fmla="*/ 86368 h 220647"/>
                  <a:gd name="connsiteX26" fmla="*/ 34043 w 170844"/>
                  <a:gd name="connsiteY26" fmla="*/ 96455 h 220647"/>
                  <a:gd name="connsiteX27" fmla="*/ 34043 w 170844"/>
                  <a:gd name="connsiteY27" fmla="*/ 115367 h 220647"/>
                  <a:gd name="connsiteX28" fmla="*/ 41608 w 170844"/>
                  <a:gd name="connsiteY28" fmla="*/ 126715 h 220647"/>
                  <a:gd name="connsiteX29" fmla="*/ 41608 w 170844"/>
                  <a:gd name="connsiteY29" fmla="*/ 27739 h 220647"/>
                  <a:gd name="connsiteX30" fmla="*/ 54216 w 170844"/>
                  <a:gd name="connsiteY30" fmla="*/ 16391 h 220647"/>
                  <a:gd name="connsiteX31" fmla="*/ 54216 w 170844"/>
                  <a:gd name="connsiteY31" fmla="*/ 0 h 220647"/>
                  <a:gd name="connsiteX32" fmla="*/ 27108 w 170844"/>
                  <a:gd name="connsiteY32" fmla="*/ 27108 h 220647"/>
                  <a:gd name="connsiteX33" fmla="*/ 27108 w 170844"/>
                  <a:gd name="connsiteY33" fmla="*/ 69346 h 220647"/>
                  <a:gd name="connsiteX34" fmla="*/ 26477 w 170844"/>
                  <a:gd name="connsiteY34" fmla="*/ 69346 h 220647"/>
                  <a:gd name="connsiteX35" fmla="*/ 0 w 170844"/>
                  <a:gd name="connsiteY35" fmla="*/ 96455 h 220647"/>
                  <a:gd name="connsiteX36" fmla="*/ 0 w 170844"/>
                  <a:gd name="connsiteY36" fmla="*/ 142475 h 220647"/>
                  <a:gd name="connsiteX37" fmla="*/ 3782 w 170844"/>
                  <a:gd name="connsiteY37" fmla="*/ 156345 h 220647"/>
                  <a:gd name="connsiteX38" fmla="*/ 30260 w 170844"/>
                  <a:gd name="connsiteY38" fmla="*/ 203626 h 220647"/>
                  <a:gd name="connsiteX39" fmla="*/ 36564 w 170844"/>
                  <a:gd name="connsiteY39" fmla="*/ 214344 h 220647"/>
                  <a:gd name="connsiteX40" fmla="*/ 49804 w 170844"/>
                  <a:gd name="connsiteY40" fmla="*/ 220648 h 220647"/>
                  <a:gd name="connsiteX41" fmla="*/ 49804 w 170844"/>
                  <a:gd name="connsiteY41" fmla="*/ 220648 h 220647"/>
                  <a:gd name="connsiteX42" fmla="*/ 148780 w 170844"/>
                  <a:gd name="connsiteY42" fmla="*/ 220648 h 220647"/>
                  <a:gd name="connsiteX43" fmla="*/ 162018 w 170844"/>
                  <a:gd name="connsiteY43" fmla="*/ 214344 h 220647"/>
                  <a:gd name="connsiteX44" fmla="*/ 170844 w 170844"/>
                  <a:gd name="connsiteY44" fmla="*/ 188497 h 220647"/>
                  <a:gd name="connsiteX45" fmla="*/ 170844 w 170844"/>
                  <a:gd name="connsiteY45" fmla="*/ 139323 h 220647"/>
                  <a:gd name="connsiteX46" fmla="*/ 170844 w 170844"/>
                  <a:gd name="connsiteY46" fmla="*/ 121041 h 220647"/>
                  <a:gd name="connsiteX47" fmla="*/ 170844 w 170844"/>
                  <a:gd name="connsiteY47" fmla="*/ 94563 h 220647"/>
                  <a:gd name="connsiteX48" fmla="*/ 143736 w 170844"/>
                  <a:gd name="connsiteY48" fmla="*/ 67455 h 220647"/>
                  <a:gd name="connsiteX49" fmla="*/ 133019 w 170844"/>
                  <a:gd name="connsiteY49" fmla="*/ 69346 h 220647"/>
                  <a:gd name="connsiteX50" fmla="*/ 113476 w 170844"/>
                  <a:gd name="connsiteY50" fmla="*/ 61151 h 220647"/>
                  <a:gd name="connsiteX51" fmla="*/ 100868 w 170844"/>
                  <a:gd name="connsiteY51" fmla="*/ 64303 h 220647"/>
                  <a:gd name="connsiteX52" fmla="*/ 83846 w 170844"/>
                  <a:gd name="connsiteY52" fmla="*/ 57999 h 220647"/>
                  <a:gd name="connsiteX53" fmla="*/ 80694 w 170844"/>
                  <a:gd name="connsiteY53" fmla="*/ 57999 h 220647"/>
                  <a:gd name="connsiteX54" fmla="*/ 80694 w 170844"/>
                  <a:gd name="connsiteY54" fmla="*/ 27108 h 220647"/>
                  <a:gd name="connsiteX55" fmla="*/ 54216 w 170844"/>
                  <a:gd name="connsiteY55" fmla="*/ 0 h 220647"/>
                  <a:gd name="connsiteX56" fmla="*/ 54216 w 170844"/>
                  <a:gd name="connsiteY56" fmla="*/ 0 h 220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170844" h="220647">
                    <a:moveTo>
                      <a:pt x="54216" y="16391"/>
                    </a:moveTo>
                    <a:cubicBezTo>
                      <a:pt x="59890" y="16391"/>
                      <a:pt x="64303" y="20804"/>
                      <a:pt x="64303" y="26478"/>
                    </a:cubicBezTo>
                    <a:lnTo>
                      <a:pt x="64303" y="93302"/>
                    </a:lnTo>
                    <a:cubicBezTo>
                      <a:pt x="67455" y="92042"/>
                      <a:pt x="70607" y="91411"/>
                      <a:pt x="73759" y="91411"/>
                    </a:cubicBezTo>
                    <a:lnTo>
                      <a:pt x="73759" y="85107"/>
                    </a:lnTo>
                    <a:cubicBezTo>
                      <a:pt x="73759" y="79433"/>
                      <a:pt x="78173" y="75020"/>
                      <a:pt x="83846" y="75020"/>
                    </a:cubicBezTo>
                    <a:cubicBezTo>
                      <a:pt x="89520" y="75020"/>
                      <a:pt x="93933" y="79433"/>
                      <a:pt x="93933" y="85107"/>
                    </a:cubicBezTo>
                    <a:lnTo>
                      <a:pt x="93933" y="91411"/>
                    </a:lnTo>
                    <a:lnTo>
                      <a:pt x="103389" y="91411"/>
                    </a:lnTo>
                    <a:lnTo>
                      <a:pt x="103389" y="88259"/>
                    </a:lnTo>
                    <a:cubicBezTo>
                      <a:pt x="103389" y="82585"/>
                      <a:pt x="107802" y="78173"/>
                      <a:pt x="113476" y="78173"/>
                    </a:cubicBezTo>
                    <a:cubicBezTo>
                      <a:pt x="119150" y="78173"/>
                      <a:pt x="123563" y="82585"/>
                      <a:pt x="123563" y="88259"/>
                    </a:cubicBezTo>
                    <a:lnTo>
                      <a:pt x="123563" y="92042"/>
                    </a:lnTo>
                    <a:cubicBezTo>
                      <a:pt x="126715" y="92672"/>
                      <a:pt x="129867" y="93302"/>
                      <a:pt x="133019" y="93933"/>
                    </a:cubicBezTo>
                    <a:cubicBezTo>
                      <a:pt x="133019" y="88259"/>
                      <a:pt x="137432" y="83846"/>
                      <a:pt x="143106" y="83846"/>
                    </a:cubicBezTo>
                    <a:cubicBezTo>
                      <a:pt x="148780" y="83846"/>
                      <a:pt x="153192" y="88259"/>
                      <a:pt x="153192" y="93933"/>
                    </a:cubicBezTo>
                    <a:lnTo>
                      <a:pt x="153192" y="120411"/>
                    </a:lnTo>
                    <a:lnTo>
                      <a:pt x="153192" y="138693"/>
                    </a:lnTo>
                    <a:lnTo>
                      <a:pt x="153192" y="187866"/>
                    </a:lnTo>
                    <a:cubicBezTo>
                      <a:pt x="153192" y="193540"/>
                      <a:pt x="151301" y="198583"/>
                      <a:pt x="147519" y="203626"/>
                    </a:cubicBezTo>
                    <a:lnTo>
                      <a:pt x="48542" y="203626"/>
                    </a:lnTo>
                    <a:cubicBezTo>
                      <a:pt x="46651" y="201105"/>
                      <a:pt x="45390" y="198583"/>
                      <a:pt x="44130" y="196061"/>
                    </a:cubicBezTo>
                    <a:lnTo>
                      <a:pt x="16391" y="147519"/>
                    </a:lnTo>
                    <a:cubicBezTo>
                      <a:pt x="15761" y="145627"/>
                      <a:pt x="15130" y="144367"/>
                      <a:pt x="15130" y="142475"/>
                    </a:cubicBezTo>
                    <a:lnTo>
                      <a:pt x="15130" y="96455"/>
                    </a:lnTo>
                    <a:cubicBezTo>
                      <a:pt x="15130" y="90781"/>
                      <a:pt x="19543" y="86368"/>
                      <a:pt x="24587" y="86368"/>
                    </a:cubicBezTo>
                    <a:cubicBezTo>
                      <a:pt x="30260" y="86368"/>
                      <a:pt x="34043" y="90781"/>
                      <a:pt x="34043" y="96455"/>
                    </a:cubicBezTo>
                    <a:lnTo>
                      <a:pt x="34043" y="115367"/>
                    </a:lnTo>
                    <a:lnTo>
                      <a:pt x="41608" y="126715"/>
                    </a:lnTo>
                    <a:lnTo>
                      <a:pt x="41608" y="27739"/>
                    </a:lnTo>
                    <a:cubicBezTo>
                      <a:pt x="44130" y="21435"/>
                      <a:pt x="48542" y="16391"/>
                      <a:pt x="54216" y="16391"/>
                    </a:cubicBezTo>
                    <a:moveTo>
                      <a:pt x="54216" y="0"/>
                    </a:moveTo>
                    <a:cubicBezTo>
                      <a:pt x="39086" y="0"/>
                      <a:pt x="27108" y="11978"/>
                      <a:pt x="27108" y="27108"/>
                    </a:cubicBezTo>
                    <a:lnTo>
                      <a:pt x="27108" y="69346"/>
                    </a:lnTo>
                    <a:cubicBezTo>
                      <a:pt x="26477" y="69346"/>
                      <a:pt x="26477" y="69346"/>
                      <a:pt x="26477" y="69346"/>
                    </a:cubicBezTo>
                    <a:cubicBezTo>
                      <a:pt x="11978" y="69346"/>
                      <a:pt x="0" y="81325"/>
                      <a:pt x="0" y="96455"/>
                    </a:cubicBezTo>
                    <a:lnTo>
                      <a:pt x="0" y="142475"/>
                    </a:lnTo>
                    <a:cubicBezTo>
                      <a:pt x="0" y="147519"/>
                      <a:pt x="1261" y="151932"/>
                      <a:pt x="3782" y="156345"/>
                    </a:cubicBezTo>
                    <a:lnTo>
                      <a:pt x="30260" y="203626"/>
                    </a:lnTo>
                    <a:cubicBezTo>
                      <a:pt x="31521" y="207409"/>
                      <a:pt x="34043" y="210561"/>
                      <a:pt x="36564" y="214344"/>
                    </a:cubicBezTo>
                    <a:cubicBezTo>
                      <a:pt x="39716" y="218757"/>
                      <a:pt x="44760" y="220648"/>
                      <a:pt x="49804" y="220648"/>
                    </a:cubicBezTo>
                    <a:lnTo>
                      <a:pt x="49804" y="220648"/>
                    </a:lnTo>
                    <a:lnTo>
                      <a:pt x="148780" y="220648"/>
                    </a:lnTo>
                    <a:cubicBezTo>
                      <a:pt x="153823" y="220648"/>
                      <a:pt x="158866" y="218126"/>
                      <a:pt x="162018" y="214344"/>
                    </a:cubicBezTo>
                    <a:cubicBezTo>
                      <a:pt x="167692" y="206779"/>
                      <a:pt x="170844" y="197953"/>
                      <a:pt x="170844" y="188497"/>
                    </a:cubicBezTo>
                    <a:lnTo>
                      <a:pt x="170844" y="139323"/>
                    </a:lnTo>
                    <a:lnTo>
                      <a:pt x="170844" y="121041"/>
                    </a:lnTo>
                    <a:lnTo>
                      <a:pt x="170844" y="94563"/>
                    </a:lnTo>
                    <a:cubicBezTo>
                      <a:pt x="170844" y="79433"/>
                      <a:pt x="158866" y="67455"/>
                      <a:pt x="143736" y="67455"/>
                    </a:cubicBezTo>
                    <a:cubicBezTo>
                      <a:pt x="139953" y="67455"/>
                      <a:pt x="136171" y="68086"/>
                      <a:pt x="133019" y="69346"/>
                    </a:cubicBezTo>
                    <a:cubicBezTo>
                      <a:pt x="127975" y="64303"/>
                      <a:pt x="121041" y="61151"/>
                      <a:pt x="113476" y="61151"/>
                    </a:cubicBezTo>
                    <a:cubicBezTo>
                      <a:pt x="109063" y="61151"/>
                      <a:pt x="104650" y="62412"/>
                      <a:pt x="100868" y="64303"/>
                    </a:cubicBezTo>
                    <a:cubicBezTo>
                      <a:pt x="96454" y="60520"/>
                      <a:pt x="90150" y="57999"/>
                      <a:pt x="83846" y="57999"/>
                    </a:cubicBezTo>
                    <a:cubicBezTo>
                      <a:pt x="82585" y="57999"/>
                      <a:pt x="81955" y="57999"/>
                      <a:pt x="80694" y="57999"/>
                    </a:cubicBezTo>
                    <a:lnTo>
                      <a:pt x="80694" y="27108"/>
                    </a:lnTo>
                    <a:cubicBezTo>
                      <a:pt x="81325" y="11978"/>
                      <a:pt x="69346" y="0"/>
                      <a:pt x="54216" y="0"/>
                    </a:cubicBezTo>
                    <a:lnTo>
                      <a:pt x="54216" y="0"/>
                    </a:ln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252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10507696" y="5701140"/>
            <a:ext cx="387394" cy="399688"/>
            <a:chOff x="10507696" y="5701140"/>
            <a:chExt cx="387394" cy="399688"/>
          </a:xfrm>
          <a:solidFill>
            <a:srgbClr val="B1B1A1"/>
          </a:solidFill>
        </p:grpSpPr>
        <p:sp>
          <p:nvSpPr>
            <p:cNvPr id="253" name="Forma Livre: Forma 252">
              <a:extLst>
                <a:ext uri="{FF2B5EF4-FFF2-40B4-BE49-F238E27FC236}">
                  <a16:creationId xmlns:a16="http://schemas.microsoft.com/office/drawing/2014/main" id="{E18E034D-0E4E-4460-B6FF-A57BCC601742}"/>
                </a:ext>
              </a:extLst>
            </p:cNvPr>
            <p:cNvSpPr/>
            <p:nvPr/>
          </p:nvSpPr>
          <p:spPr>
            <a:xfrm>
              <a:off x="10621172" y="6010047"/>
              <a:ext cx="39086" cy="39086"/>
            </a:xfrm>
            <a:custGeom>
              <a:avLst/>
              <a:gdLst>
                <a:gd name="connsiteX0" fmla="*/ 39086 w 39086"/>
                <a:gd name="connsiteY0" fmla="*/ 19543 h 39086"/>
                <a:gd name="connsiteX1" fmla="*/ 19543 w 39086"/>
                <a:gd name="connsiteY1" fmla="*/ 39086 h 39086"/>
                <a:gd name="connsiteX2" fmla="*/ 0 w 39086"/>
                <a:gd name="connsiteY2" fmla="*/ 19543 h 39086"/>
                <a:gd name="connsiteX3" fmla="*/ 19543 w 39086"/>
                <a:gd name="connsiteY3" fmla="*/ 0 h 39086"/>
                <a:gd name="connsiteX4" fmla="*/ 39086 w 39086"/>
                <a:gd name="connsiteY4" fmla="*/ 19543 h 39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086" h="39086">
                  <a:moveTo>
                    <a:pt x="39086" y="19543"/>
                  </a:moveTo>
                  <a:cubicBezTo>
                    <a:pt x="39086" y="30336"/>
                    <a:pt x="30336" y="39086"/>
                    <a:pt x="19543" y="39086"/>
                  </a:cubicBezTo>
                  <a:cubicBezTo>
                    <a:pt x="8750" y="39086"/>
                    <a:pt x="0" y="30336"/>
                    <a:pt x="0" y="19543"/>
                  </a:cubicBezTo>
                  <a:cubicBezTo>
                    <a:pt x="0" y="8749"/>
                    <a:pt x="8750" y="0"/>
                    <a:pt x="19543" y="0"/>
                  </a:cubicBezTo>
                  <a:cubicBezTo>
                    <a:pt x="30336" y="0"/>
                    <a:pt x="39086" y="8750"/>
                    <a:pt x="39086" y="19543"/>
                  </a:cubicBez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54" name="Forma Livre: Forma 253">
              <a:extLst>
                <a:ext uri="{FF2B5EF4-FFF2-40B4-BE49-F238E27FC236}">
                  <a16:creationId xmlns:a16="http://schemas.microsoft.com/office/drawing/2014/main" id="{1EE66AC6-525B-4F10-8F7F-41C9132A866D}"/>
                </a:ext>
              </a:extLst>
            </p:cNvPr>
            <p:cNvSpPr/>
            <p:nvPr/>
          </p:nvSpPr>
          <p:spPr>
            <a:xfrm>
              <a:off x="10629997" y="5792551"/>
              <a:ext cx="233256" cy="233256"/>
            </a:xfrm>
            <a:custGeom>
              <a:avLst/>
              <a:gdLst>
                <a:gd name="connsiteX0" fmla="*/ 116628 w 233256"/>
                <a:gd name="connsiteY0" fmla="*/ 233256 h 233256"/>
                <a:gd name="connsiteX1" fmla="*/ 0 w 233256"/>
                <a:gd name="connsiteY1" fmla="*/ 116628 h 233256"/>
                <a:gd name="connsiteX2" fmla="*/ 116628 w 233256"/>
                <a:gd name="connsiteY2" fmla="*/ 0 h 233256"/>
                <a:gd name="connsiteX3" fmla="*/ 233256 w 233256"/>
                <a:gd name="connsiteY3" fmla="*/ 116628 h 233256"/>
                <a:gd name="connsiteX4" fmla="*/ 116628 w 233256"/>
                <a:gd name="connsiteY4" fmla="*/ 233256 h 233256"/>
                <a:gd name="connsiteX5" fmla="*/ 116628 w 233256"/>
                <a:gd name="connsiteY5" fmla="*/ 233256 h 233256"/>
                <a:gd name="connsiteX6" fmla="*/ 116628 w 233256"/>
                <a:gd name="connsiteY6" fmla="*/ 34043 h 233256"/>
                <a:gd name="connsiteX7" fmla="*/ 33413 w 233256"/>
                <a:gd name="connsiteY7" fmla="*/ 117258 h 233256"/>
                <a:gd name="connsiteX8" fmla="*/ 116628 w 233256"/>
                <a:gd name="connsiteY8" fmla="*/ 200474 h 233256"/>
                <a:gd name="connsiteX9" fmla="*/ 199844 w 233256"/>
                <a:gd name="connsiteY9" fmla="*/ 117258 h 233256"/>
                <a:gd name="connsiteX10" fmla="*/ 116628 w 233256"/>
                <a:gd name="connsiteY10" fmla="*/ 34043 h 233256"/>
                <a:gd name="connsiteX11" fmla="*/ 116628 w 233256"/>
                <a:gd name="connsiteY11" fmla="*/ 34043 h 233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3256" h="233256">
                  <a:moveTo>
                    <a:pt x="116628" y="233256"/>
                  </a:moveTo>
                  <a:cubicBezTo>
                    <a:pt x="52325" y="233256"/>
                    <a:pt x="0" y="180931"/>
                    <a:pt x="0" y="116628"/>
                  </a:cubicBezTo>
                  <a:cubicBezTo>
                    <a:pt x="0" y="52325"/>
                    <a:pt x="52325" y="0"/>
                    <a:pt x="116628" y="0"/>
                  </a:cubicBezTo>
                  <a:cubicBezTo>
                    <a:pt x="180932" y="0"/>
                    <a:pt x="233256" y="52325"/>
                    <a:pt x="233256" y="116628"/>
                  </a:cubicBezTo>
                  <a:cubicBezTo>
                    <a:pt x="233256" y="180931"/>
                    <a:pt x="180932" y="233256"/>
                    <a:pt x="116628" y="233256"/>
                  </a:cubicBezTo>
                  <a:lnTo>
                    <a:pt x="116628" y="233256"/>
                  </a:lnTo>
                  <a:close/>
                  <a:moveTo>
                    <a:pt x="116628" y="34043"/>
                  </a:moveTo>
                  <a:cubicBezTo>
                    <a:pt x="70608" y="34043"/>
                    <a:pt x="33413" y="71238"/>
                    <a:pt x="33413" y="117258"/>
                  </a:cubicBezTo>
                  <a:cubicBezTo>
                    <a:pt x="33413" y="163280"/>
                    <a:pt x="70608" y="200474"/>
                    <a:pt x="116628" y="200474"/>
                  </a:cubicBezTo>
                  <a:cubicBezTo>
                    <a:pt x="162649" y="200474"/>
                    <a:pt x="199844" y="163280"/>
                    <a:pt x="199844" y="117258"/>
                  </a:cubicBezTo>
                  <a:cubicBezTo>
                    <a:pt x="199844" y="71238"/>
                    <a:pt x="162649" y="34043"/>
                    <a:pt x="116628" y="34043"/>
                  </a:cubicBezTo>
                  <a:lnTo>
                    <a:pt x="116628" y="34043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55" name="Forma Livre: Forma 254">
              <a:extLst>
                <a:ext uri="{FF2B5EF4-FFF2-40B4-BE49-F238E27FC236}">
                  <a16:creationId xmlns:a16="http://schemas.microsoft.com/office/drawing/2014/main" id="{2FD9FF20-7F6F-45EB-9839-ED61AE569CF1}"/>
                </a:ext>
              </a:extLst>
            </p:cNvPr>
            <p:cNvSpPr/>
            <p:nvPr/>
          </p:nvSpPr>
          <p:spPr>
            <a:xfrm>
              <a:off x="10507696" y="5701140"/>
              <a:ext cx="266074" cy="399688"/>
            </a:xfrm>
            <a:custGeom>
              <a:avLst/>
              <a:gdLst>
                <a:gd name="connsiteX0" fmla="*/ 249647 w 266074"/>
                <a:gd name="connsiteY0" fmla="*/ 399688 h 399688"/>
                <a:gd name="connsiteX1" fmla="*/ 16391 w 266074"/>
                <a:gd name="connsiteY1" fmla="*/ 399688 h 399688"/>
                <a:gd name="connsiteX2" fmla="*/ 0 w 266074"/>
                <a:gd name="connsiteY2" fmla="*/ 383297 h 399688"/>
                <a:gd name="connsiteX3" fmla="*/ 0 w 266074"/>
                <a:gd name="connsiteY3" fmla="*/ 16391 h 399688"/>
                <a:gd name="connsiteX4" fmla="*/ 16391 w 266074"/>
                <a:gd name="connsiteY4" fmla="*/ 0 h 399688"/>
                <a:gd name="connsiteX5" fmla="*/ 249647 w 266074"/>
                <a:gd name="connsiteY5" fmla="*/ 0 h 399688"/>
                <a:gd name="connsiteX6" fmla="*/ 266038 w 266074"/>
                <a:gd name="connsiteY6" fmla="*/ 16391 h 399688"/>
                <a:gd name="connsiteX7" fmla="*/ 266038 w 266074"/>
                <a:gd name="connsiteY7" fmla="*/ 109063 h 399688"/>
                <a:gd name="connsiteX8" fmla="*/ 232625 w 266074"/>
                <a:gd name="connsiteY8" fmla="*/ 109063 h 399688"/>
                <a:gd name="connsiteX9" fmla="*/ 232625 w 266074"/>
                <a:gd name="connsiteY9" fmla="*/ 32782 h 399688"/>
                <a:gd name="connsiteX10" fmla="*/ 32782 w 266074"/>
                <a:gd name="connsiteY10" fmla="*/ 32782 h 399688"/>
                <a:gd name="connsiteX11" fmla="*/ 32782 w 266074"/>
                <a:gd name="connsiteY11" fmla="*/ 366275 h 399688"/>
                <a:gd name="connsiteX12" fmla="*/ 232625 w 266074"/>
                <a:gd name="connsiteY12" fmla="*/ 366275 h 399688"/>
                <a:gd name="connsiteX13" fmla="*/ 232625 w 266074"/>
                <a:gd name="connsiteY13" fmla="*/ 307646 h 399688"/>
                <a:gd name="connsiteX14" fmla="*/ 266038 w 266074"/>
                <a:gd name="connsiteY14" fmla="*/ 307646 h 399688"/>
                <a:gd name="connsiteX15" fmla="*/ 266038 w 266074"/>
                <a:gd name="connsiteY15" fmla="*/ 383297 h 399688"/>
                <a:gd name="connsiteX16" fmla="*/ 249647 w 266074"/>
                <a:gd name="connsiteY16" fmla="*/ 399688 h 399688"/>
                <a:gd name="connsiteX17" fmla="*/ 249647 w 266074"/>
                <a:gd name="connsiteY17" fmla="*/ 399688 h 399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6074" h="399688">
                  <a:moveTo>
                    <a:pt x="249647" y="399688"/>
                  </a:moveTo>
                  <a:lnTo>
                    <a:pt x="16391" y="399688"/>
                  </a:lnTo>
                  <a:cubicBezTo>
                    <a:pt x="6934" y="399688"/>
                    <a:pt x="0" y="392123"/>
                    <a:pt x="0" y="383297"/>
                  </a:cubicBezTo>
                  <a:lnTo>
                    <a:pt x="0" y="16391"/>
                  </a:lnTo>
                  <a:cubicBezTo>
                    <a:pt x="0" y="6934"/>
                    <a:pt x="7565" y="0"/>
                    <a:pt x="16391" y="0"/>
                  </a:cubicBezTo>
                  <a:lnTo>
                    <a:pt x="249647" y="0"/>
                  </a:lnTo>
                  <a:cubicBezTo>
                    <a:pt x="259104" y="0"/>
                    <a:pt x="266038" y="7565"/>
                    <a:pt x="266038" y="16391"/>
                  </a:cubicBezTo>
                  <a:lnTo>
                    <a:pt x="266038" y="109063"/>
                  </a:lnTo>
                  <a:lnTo>
                    <a:pt x="232625" y="109063"/>
                  </a:lnTo>
                  <a:lnTo>
                    <a:pt x="232625" y="32782"/>
                  </a:lnTo>
                  <a:lnTo>
                    <a:pt x="32782" y="32782"/>
                  </a:lnTo>
                  <a:lnTo>
                    <a:pt x="32782" y="366275"/>
                  </a:lnTo>
                  <a:lnTo>
                    <a:pt x="232625" y="366275"/>
                  </a:lnTo>
                  <a:lnTo>
                    <a:pt x="232625" y="307646"/>
                  </a:lnTo>
                  <a:lnTo>
                    <a:pt x="266038" y="307646"/>
                  </a:lnTo>
                  <a:lnTo>
                    <a:pt x="266038" y="383297"/>
                  </a:lnTo>
                  <a:cubicBezTo>
                    <a:pt x="266668" y="392123"/>
                    <a:pt x="259104" y="399688"/>
                    <a:pt x="249647" y="399688"/>
                  </a:cubicBezTo>
                  <a:lnTo>
                    <a:pt x="249647" y="399688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56" name="Forma Livre: Forma 255">
              <a:extLst>
                <a:ext uri="{FF2B5EF4-FFF2-40B4-BE49-F238E27FC236}">
                  <a16:creationId xmlns:a16="http://schemas.microsoft.com/office/drawing/2014/main" id="{FD4D5B17-8A64-42CF-BFBB-63C114019A06}"/>
                </a:ext>
              </a:extLst>
            </p:cNvPr>
            <p:cNvSpPr/>
            <p:nvPr/>
          </p:nvSpPr>
          <p:spPr>
            <a:xfrm>
              <a:off x="10549304" y="5764813"/>
              <a:ext cx="182822" cy="227582"/>
            </a:xfrm>
            <a:custGeom>
              <a:avLst/>
              <a:gdLst>
                <a:gd name="connsiteX0" fmla="*/ 131127 w 182822"/>
                <a:gd name="connsiteY0" fmla="*/ 227583 h 227582"/>
                <a:gd name="connsiteX1" fmla="*/ 8195 w 182822"/>
                <a:gd name="connsiteY1" fmla="*/ 227583 h 227582"/>
                <a:gd name="connsiteX2" fmla="*/ 0 w 182822"/>
                <a:gd name="connsiteY2" fmla="*/ 219387 h 227582"/>
                <a:gd name="connsiteX3" fmla="*/ 0 w 182822"/>
                <a:gd name="connsiteY3" fmla="*/ 8196 h 227582"/>
                <a:gd name="connsiteX4" fmla="*/ 8195 w 182822"/>
                <a:gd name="connsiteY4" fmla="*/ 0 h 227582"/>
                <a:gd name="connsiteX5" fmla="*/ 174627 w 182822"/>
                <a:gd name="connsiteY5" fmla="*/ 0 h 227582"/>
                <a:gd name="connsiteX6" fmla="*/ 182823 w 182822"/>
                <a:gd name="connsiteY6" fmla="*/ 8196 h 227582"/>
                <a:gd name="connsiteX7" fmla="*/ 182823 w 182822"/>
                <a:gd name="connsiteY7" fmla="*/ 47912 h 227582"/>
                <a:gd name="connsiteX8" fmla="*/ 174627 w 182822"/>
                <a:gd name="connsiteY8" fmla="*/ 56108 h 227582"/>
                <a:gd name="connsiteX9" fmla="*/ 166432 w 182822"/>
                <a:gd name="connsiteY9" fmla="*/ 47912 h 227582"/>
                <a:gd name="connsiteX10" fmla="*/ 166432 w 182822"/>
                <a:gd name="connsiteY10" fmla="*/ 17021 h 227582"/>
                <a:gd name="connsiteX11" fmla="*/ 16391 w 182822"/>
                <a:gd name="connsiteY11" fmla="*/ 17021 h 227582"/>
                <a:gd name="connsiteX12" fmla="*/ 16391 w 182822"/>
                <a:gd name="connsiteY12" fmla="*/ 211192 h 227582"/>
                <a:gd name="connsiteX13" fmla="*/ 131127 w 182822"/>
                <a:gd name="connsiteY13" fmla="*/ 211192 h 227582"/>
                <a:gd name="connsiteX14" fmla="*/ 139323 w 182822"/>
                <a:gd name="connsiteY14" fmla="*/ 219387 h 227582"/>
                <a:gd name="connsiteX15" fmla="*/ 131127 w 182822"/>
                <a:gd name="connsiteY15" fmla="*/ 227583 h 227582"/>
                <a:gd name="connsiteX16" fmla="*/ 131127 w 182822"/>
                <a:gd name="connsiteY16" fmla="*/ 227583 h 227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82822" h="227582">
                  <a:moveTo>
                    <a:pt x="131127" y="227583"/>
                  </a:moveTo>
                  <a:lnTo>
                    <a:pt x="8195" y="227583"/>
                  </a:lnTo>
                  <a:cubicBezTo>
                    <a:pt x="3782" y="227583"/>
                    <a:pt x="0" y="223800"/>
                    <a:pt x="0" y="219387"/>
                  </a:cubicBezTo>
                  <a:lnTo>
                    <a:pt x="0" y="8196"/>
                  </a:lnTo>
                  <a:cubicBezTo>
                    <a:pt x="0" y="3783"/>
                    <a:pt x="3782" y="0"/>
                    <a:pt x="8195" y="0"/>
                  </a:cubicBezTo>
                  <a:lnTo>
                    <a:pt x="174627" y="0"/>
                  </a:lnTo>
                  <a:cubicBezTo>
                    <a:pt x="179040" y="0"/>
                    <a:pt x="182823" y="3783"/>
                    <a:pt x="182823" y="8196"/>
                  </a:cubicBezTo>
                  <a:lnTo>
                    <a:pt x="182823" y="47912"/>
                  </a:lnTo>
                  <a:cubicBezTo>
                    <a:pt x="182823" y="52325"/>
                    <a:pt x="179040" y="56108"/>
                    <a:pt x="174627" y="56108"/>
                  </a:cubicBezTo>
                  <a:cubicBezTo>
                    <a:pt x="170214" y="56108"/>
                    <a:pt x="166432" y="52325"/>
                    <a:pt x="166432" y="47912"/>
                  </a:cubicBezTo>
                  <a:lnTo>
                    <a:pt x="166432" y="17021"/>
                  </a:lnTo>
                  <a:lnTo>
                    <a:pt x="16391" y="17021"/>
                  </a:lnTo>
                  <a:lnTo>
                    <a:pt x="16391" y="211192"/>
                  </a:lnTo>
                  <a:lnTo>
                    <a:pt x="131127" y="211192"/>
                  </a:lnTo>
                  <a:cubicBezTo>
                    <a:pt x="135541" y="211192"/>
                    <a:pt x="139323" y="214974"/>
                    <a:pt x="139323" y="219387"/>
                  </a:cubicBezTo>
                  <a:cubicBezTo>
                    <a:pt x="139323" y="223800"/>
                    <a:pt x="136171" y="227583"/>
                    <a:pt x="131127" y="227583"/>
                  </a:cubicBezTo>
                  <a:lnTo>
                    <a:pt x="131127" y="227583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57" name="Forma Livre: Forma 256">
              <a:extLst>
                <a:ext uri="{FF2B5EF4-FFF2-40B4-BE49-F238E27FC236}">
                  <a16:creationId xmlns:a16="http://schemas.microsoft.com/office/drawing/2014/main" id="{F8A8CFC6-6BE5-4573-B7BC-38864165F553}"/>
                </a:ext>
              </a:extLst>
            </p:cNvPr>
            <p:cNvSpPr/>
            <p:nvPr/>
          </p:nvSpPr>
          <p:spPr>
            <a:xfrm>
              <a:off x="10800527" y="5968124"/>
              <a:ext cx="94563" cy="94878"/>
            </a:xfrm>
            <a:custGeom>
              <a:avLst/>
              <a:gdLst>
                <a:gd name="connsiteX0" fmla="*/ 78487 w 94563"/>
                <a:gd name="connsiteY0" fmla="*/ 94879 h 94878"/>
                <a:gd name="connsiteX1" fmla="*/ 66510 w 94563"/>
                <a:gd name="connsiteY1" fmla="*/ 89835 h 94878"/>
                <a:gd name="connsiteX2" fmla="*/ 4728 w 94563"/>
                <a:gd name="connsiteY2" fmla="*/ 28054 h 94878"/>
                <a:gd name="connsiteX3" fmla="*/ 4728 w 94563"/>
                <a:gd name="connsiteY3" fmla="*/ 4728 h 94878"/>
                <a:gd name="connsiteX4" fmla="*/ 28053 w 94563"/>
                <a:gd name="connsiteY4" fmla="*/ 4728 h 94878"/>
                <a:gd name="connsiteX5" fmla="*/ 89835 w 94563"/>
                <a:gd name="connsiteY5" fmla="*/ 66510 h 94878"/>
                <a:gd name="connsiteX6" fmla="*/ 89835 w 94563"/>
                <a:gd name="connsiteY6" fmla="*/ 89835 h 94878"/>
                <a:gd name="connsiteX7" fmla="*/ 78487 w 94563"/>
                <a:gd name="connsiteY7" fmla="*/ 94879 h 94878"/>
                <a:gd name="connsiteX8" fmla="*/ 78487 w 94563"/>
                <a:gd name="connsiteY8" fmla="*/ 94879 h 94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4563" h="94878">
                  <a:moveTo>
                    <a:pt x="78487" y="94879"/>
                  </a:moveTo>
                  <a:cubicBezTo>
                    <a:pt x="74075" y="94879"/>
                    <a:pt x="69662" y="92987"/>
                    <a:pt x="66510" y="89835"/>
                  </a:cubicBezTo>
                  <a:lnTo>
                    <a:pt x="4728" y="28054"/>
                  </a:lnTo>
                  <a:cubicBezTo>
                    <a:pt x="-1576" y="21750"/>
                    <a:pt x="-1576" y="11032"/>
                    <a:pt x="4728" y="4728"/>
                  </a:cubicBezTo>
                  <a:cubicBezTo>
                    <a:pt x="11032" y="-1576"/>
                    <a:pt x="21749" y="-1576"/>
                    <a:pt x="28053" y="4728"/>
                  </a:cubicBezTo>
                  <a:lnTo>
                    <a:pt x="89835" y="66510"/>
                  </a:lnTo>
                  <a:cubicBezTo>
                    <a:pt x="96139" y="72814"/>
                    <a:pt x="96139" y="83531"/>
                    <a:pt x="89835" y="89835"/>
                  </a:cubicBezTo>
                  <a:cubicBezTo>
                    <a:pt x="86683" y="92987"/>
                    <a:pt x="82901" y="94879"/>
                    <a:pt x="78487" y="94879"/>
                  </a:cubicBezTo>
                  <a:lnTo>
                    <a:pt x="78487" y="94879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58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1350178" y="535458"/>
            <a:ext cx="330971" cy="415448"/>
            <a:chOff x="1350178" y="535458"/>
            <a:chExt cx="330971" cy="415448"/>
          </a:xfrm>
          <a:solidFill>
            <a:srgbClr val="B1B1A1"/>
          </a:solidFill>
        </p:grpSpPr>
        <p:grpSp>
          <p:nvGrpSpPr>
            <p:cNvPr id="259" name="Gráfico 2">
              <a:extLst>
                <a:ext uri="{FF2B5EF4-FFF2-40B4-BE49-F238E27FC236}">
                  <a16:creationId xmlns:a16="http://schemas.microsoft.com/office/drawing/2014/main" id="{1EC2913E-D059-42A1-91F3-F6BAB2F166E6}"/>
                </a:ext>
              </a:extLst>
            </p:cNvPr>
            <p:cNvGrpSpPr/>
            <p:nvPr/>
          </p:nvGrpSpPr>
          <p:grpSpPr>
            <a:xfrm>
              <a:off x="1411329" y="619934"/>
              <a:ext cx="269820" cy="330971"/>
              <a:chOff x="1411329" y="619934"/>
              <a:chExt cx="269820" cy="330971"/>
            </a:xfrm>
            <a:grpFill/>
          </p:grpSpPr>
          <p:sp>
            <p:nvSpPr>
              <p:cNvPr id="260" name="Forma Livre: Forma 259">
                <a:extLst>
                  <a:ext uri="{FF2B5EF4-FFF2-40B4-BE49-F238E27FC236}">
                    <a16:creationId xmlns:a16="http://schemas.microsoft.com/office/drawing/2014/main" id="{1AD5A443-81B1-4B8A-A714-FABAFE1070EF}"/>
                  </a:ext>
                </a:extLst>
              </p:cNvPr>
              <p:cNvSpPr/>
              <p:nvPr/>
            </p:nvSpPr>
            <p:spPr>
              <a:xfrm>
                <a:off x="1569565" y="839321"/>
                <a:ext cx="103389" cy="103389"/>
              </a:xfrm>
              <a:custGeom>
                <a:avLst/>
                <a:gdLst>
                  <a:gd name="connsiteX0" fmla="*/ 8195 w 103389"/>
                  <a:gd name="connsiteY0" fmla="*/ 103389 h 103389"/>
                  <a:gd name="connsiteX1" fmla="*/ 0 w 103389"/>
                  <a:gd name="connsiteY1" fmla="*/ 95194 h 103389"/>
                  <a:gd name="connsiteX2" fmla="*/ 0 w 103389"/>
                  <a:gd name="connsiteY2" fmla="*/ 8195 h 103389"/>
                  <a:gd name="connsiteX3" fmla="*/ 8195 w 103389"/>
                  <a:gd name="connsiteY3" fmla="*/ 0 h 103389"/>
                  <a:gd name="connsiteX4" fmla="*/ 95194 w 103389"/>
                  <a:gd name="connsiteY4" fmla="*/ 0 h 103389"/>
                  <a:gd name="connsiteX5" fmla="*/ 103389 w 103389"/>
                  <a:gd name="connsiteY5" fmla="*/ 8195 h 103389"/>
                  <a:gd name="connsiteX6" fmla="*/ 95194 w 103389"/>
                  <a:gd name="connsiteY6" fmla="*/ 16391 h 103389"/>
                  <a:gd name="connsiteX7" fmla="*/ 17021 w 103389"/>
                  <a:gd name="connsiteY7" fmla="*/ 16391 h 103389"/>
                  <a:gd name="connsiteX8" fmla="*/ 17021 w 103389"/>
                  <a:gd name="connsiteY8" fmla="*/ 95194 h 103389"/>
                  <a:gd name="connsiteX9" fmla="*/ 8195 w 103389"/>
                  <a:gd name="connsiteY9" fmla="*/ 103389 h 103389"/>
                  <a:gd name="connsiteX10" fmla="*/ 8195 w 103389"/>
                  <a:gd name="connsiteY10" fmla="*/ 103389 h 1033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3389" h="103389">
                    <a:moveTo>
                      <a:pt x="8195" y="103389"/>
                    </a:moveTo>
                    <a:cubicBezTo>
                      <a:pt x="3783" y="103389"/>
                      <a:pt x="0" y="99607"/>
                      <a:pt x="0" y="95194"/>
                    </a:cubicBezTo>
                    <a:lnTo>
                      <a:pt x="0" y="8195"/>
                    </a:lnTo>
                    <a:cubicBezTo>
                      <a:pt x="0" y="3783"/>
                      <a:pt x="3783" y="0"/>
                      <a:pt x="8195" y="0"/>
                    </a:cubicBezTo>
                    <a:lnTo>
                      <a:pt x="95194" y="0"/>
                    </a:lnTo>
                    <a:cubicBezTo>
                      <a:pt x="99607" y="0"/>
                      <a:pt x="103389" y="3783"/>
                      <a:pt x="103389" y="8195"/>
                    </a:cubicBezTo>
                    <a:cubicBezTo>
                      <a:pt x="103389" y="12608"/>
                      <a:pt x="99607" y="16391"/>
                      <a:pt x="95194" y="16391"/>
                    </a:cubicBezTo>
                    <a:lnTo>
                      <a:pt x="17021" y="16391"/>
                    </a:lnTo>
                    <a:lnTo>
                      <a:pt x="17021" y="95194"/>
                    </a:lnTo>
                    <a:cubicBezTo>
                      <a:pt x="17021" y="99607"/>
                      <a:pt x="13239" y="103389"/>
                      <a:pt x="8195" y="103389"/>
                    </a:cubicBezTo>
                    <a:lnTo>
                      <a:pt x="8195" y="103389"/>
                    </a:ln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61" name="Forma Livre: Forma 260">
                <a:extLst>
                  <a:ext uri="{FF2B5EF4-FFF2-40B4-BE49-F238E27FC236}">
                    <a16:creationId xmlns:a16="http://schemas.microsoft.com/office/drawing/2014/main" id="{E270EDD1-75F4-493A-A8BD-B6EEA7AC3241}"/>
                  </a:ext>
                </a:extLst>
              </p:cNvPr>
              <p:cNvSpPr/>
              <p:nvPr/>
            </p:nvSpPr>
            <p:spPr>
              <a:xfrm>
                <a:off x="1411329" y="619934"/>
                <a:ext cx="269820" cy="330971"/>
              </a:xfrm>
              <a:custGeom>
                <a:avLst/>
                <a:gdLst>
                  <a:gd name="connsiteX0" fmla="*/ 166432 w 269820"/>
                  <a:gd name="connsiteY0" fmla="*/ 330972 h 330971"/>
                  <a:gd name="connsiteX1" fmla="*/ 16391 w 269820"/>
                  <a:gd name="connsiteY1" fmla="*/ 330972 h 330971"/>
                  <a:gd name="connsiteX2" fmla="*/ 0 w 269820"/>
                  <a:gd name="connsiteY2" fmla="*/ 314581 h 330971"/>
                  <a:gd name="connsiteX3" fmla="*/ 0 w 269820"/>
                  <a:gd name="connsiteY3" fmla="*/ 16391 h 330971"/>
                  <a:gd name="connsiteX4" fmla="*/ 16391 w 269820"/>
                  <a:gd name="connsiteY4" fmla="*/ 0 h 330971"/>
                  <a:gd name="connsiteX5" fmla="*/ 253430 w 269820"/>
                  <a:gd name="connsiteY5" fmla="*/ 0 h 330971"/>
                  <a:gd name="connsiteX6" fmla="*/ 269821 w 269820"/>
                  <a:gd name="connsiteY6" fmla="*/ 16391 h 330971"/>
                  <a:gd name="connsiteX7" fmla="*/ 269821 w 269820"/>
                  <a:gd name="connsiteY7" fmla="*/ 226952 h 330971"/>
                  <a:gd name="connsiteX8" fmla="*/ 264777 w 269820"/>
                  <a:gd name="connsiteY8" fmla="*/ 238930 h 330971"/>
                  <a:gd name="connsiteX9" fmla="*/ 178410 w 269820"/>
                  <a:gd name="connsiteY9" fmla="*/ 326559 h 330971"/>
                  <a:gd name="connsiteX10" fmla="*/ 166432 w 269820"/>
                  <a:gd name="connsiteY10" fmla="*/ 330972 h 330971"/>
                  <a:gd name="connsiteX11" fmla="*/ 166432 w 269820"/>
                  <a:gd name="connsiteY11" fmla="*/ 330972 h 330971"/>
                  <a:gd name="connsiteX12" fmla="*/ 33412 w 269820"/>
                  <a:gd name="connsiteY12" fmla="*/ 297559 h 330971"/>
                  <a:gd name="connsiteX13" fmla="*/ 159497 w 269820"/>
                  <a:gd name="connsiteY13" fmla="*/ 297559 h 330971"/>
                  <a:gd name="connsiteX14" fmla="*/ 237039 w 269820"/>
                  <a:gd name="connsiteY14" fmla="*/ 220648 h 330971"/>
                  <a:gd name="connsiteX15" fmla="*/ 237039 w 269820"/>
                  <a:gd name="connsiteY15" fmla="*/ 33412 h 330971"/>
                  <a:gd name="connsiteX16" fmla="*/ 33412 w 269820"/>
                  <a:gd name="connsiteY16" fmla="*/ 33412 h 330971"/>
                  <a:gd name="connsiteX17" fmla="*/ 33412 w 269820"/>
                  <a:gd name="connsiteY17" fmla="*/ 297559 h 330971"/>
                  <a:gd name="connsiteX18" fmla="*/ 33412 w 269820"/>
                  <a:gd name="connsiteY18" fmla="*/ 297559 h 330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69820" h="330971">
                    <a:moveTo>
                      <a:pt x="166432" y="330972"/>
                    </a:moveTo>
                    <a:lnTo>
                      <a:pt x="16391" y="330972"/>
                    </a:lnTo>
                    <a:cubicBezTo>
                      <a:pt x="6935" y="330972"/>
                      <a:pt x="0" y="323407"/>
                      <a:pt x="0" y="314581"/>
                    </a:cubicBezTo>
                    <a:lnTo>
                      <a:pt x="0" y="16391"/>
                    </a:lnTo>
                    <a:cubicBezTo>
                      <a:pt x="0" y="6935"/>
                      <a:pt x="7565" y="0"/>
                      <a:pt x="16391" y="0"/>
                    </a:cubicBezTo>
                    <a:lnTo>
                      <a:pt x="253430" y="0"/>
                    </a:lnTo>
                    <a:cubicBezTo>
                      <a:pt x="262886" y="0"/>
                      <a:pt x="269821" y="7565"/>
                      <a:pt x="269821" y="16391"/>
                    </a:cubicBezTo>
                    <a:lnTo>
                      <a:pt x="269821" y="226952"/>
                    </a:lnTo>
                    <a:cubicBezTo>
                      <a:pt x="269821" y="231365"/>
                      <a:pt x="267930" y="235778"/>
                      <a:pt x="264777" y="238930"/>
                    </a:cubicBezTo>
                    <a:lnTo>
                      <a:pt x="178410" y="326559"/>
                    </a:lnTo>
                    <a:cubicBezTo>
                      <a:pt x="175257" y="329711"/>
                      <a:pt x="170845" y="330972"/>
                      <a:pt x="166432" y="330972"/>
                    </a:cubicBezTo>
                    <a:lnTo>
                      <a:pt x="166432" y="330972"/>
                    </a:lnTo>
                    <a:close/>
                    <a:moveTo>
                      <a:pt x="33412" y="297559"/>
                    </a:moveTo>
                    <a:lnTo>
                      <a:pt x="159497" y="297559"/>
                    </a:lnTo>
                    <a:lnTo>
                      <a:pt x="237039" y="220648"/>
                    </a:lnTo>
                    <a:lnTo>
                      <a:pt x="237039" y="33412"/>
                    </a:lnTo>
                    <a:lnTo>
                      <a:pt x="33412" y="33412"/>
                    </a:lnTo>
                    <a:lnTo>
                      <a:pt x="33412" y="297559"/>
                    </a:lnTo>
                    <a:lnTo>
                      <a:pt x="33412" y="297559"/>
                    </a:ln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62" name="Forma Livre: Forma 261">
                <a:extLst>
                  <a:ext uri="{FF2B5EF4-FFF2-40B4-BE49-F238E27FC236}">
                    <a16:creationId xmlns:a16="http://schemas.microsoft.com/office/drawing/2014/main" id="{40DD9487-F322-4E2C-BE56-F9B1F7BBB075}"/>
                  </a:ext>
                </a:extLst>
              </p:cNvPr>
              <p:cNvSpPr/>
              <p:nvPr/>
            </p:nvSpPr>
            <p:spPr>
              <a:xfrm>
                <a:off x="1468698" y="683607"/>
                <a:ext cx="101566" cy="16390"/>
              </a:xfrm>
              <a:custGeom>
                <a:avLst/>
                <a:gdLst>
                  <a:gd name="connsiteX0" fmla="*/ 93303 w 101566"/>
                  <a:gd name="connsiteY0" fmla="*/ 16391 h 16390"/>
                  <a:gd name="connsiteX1" fmla="*/ 8195 w 101566"/>
                  <a:gd name="connsiteY1" fmla="*/ 16391 h 16390"/>
                  <a:gd name="connsiteX2" fmla="*/ 0 w 101566"/>
                  <a:gd name="connsiteY2" fmla="*/ 8195 h 16390"/>
                  <a:gd name="connsiteX3" fmla="*/ 8195 w 101566"/>
                  <a:gd name="connsiteY3" fmla="*/ 0 h 16390"/>
                  <a:gd name="connsiteX4" fmla="*/ 93303 w 101566"/>
                  <a:gd name="connsiteY4" fmla="*/ 0 h 16390"/>
                  <a:gd name="connsiteX5" fmla="*/ 101498 w 101566"/>
                  <a:gd name="connsiteY5" fmla="*/ 8195 h 16390"/>
                  <a:gd name="connsiteX6" fmla="*/ 93303 w 101566"/>
                  <a:gd name="connsiteY6" fmla="*/ 16391 h 16390"/>
                  <a:gd name="connsiteX7" fmla="*/ 93303 w 101566"/>
                  <a:gd name="connsiteY7" fmla="*/ 16391 h 16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1566" h="16390">
                    <a:moveTo>
                      <a:pt x="93303" y="16391"/>
                    </a:moveTo>
                    <a:lnTo>
                      <a:pt x="8195" y="16391"/>
                    </a:lnTo>
                    <a:cubicBezTo>
                      <a:pt x="3783" y="16391"/>
                      <a:pt x="0" y="12608"/>
                      <a:pt x="0" y="8195"/>
                    </a:cubicBezTo>
                    <a:cubicBezTo>
                      <a:pt x="0" y="3783"/>
                      <a:pt x="3783" y="0"/>
                      <a:pt x="8195" y="0"/>
                    </a:cubicBezTo>
                    <a:lnTo>
                      <a:pt x="93303" y="0"/>
                    </a:lnTo>
                    <a:cubicBezTo>
                      <a:pt x="97715" y="0"/>
                      <a:pt x="101498" y="3783"/>
                      <a:pt x="101498" y="8195"/>
                    </a:cubicBezTo>
                    <a:cubicBezTo>
                      <a:pt x="102128" y="12608"/>
                      <a:pt x="98346" y="16391"/>
                      <a:pt x="93303" y="16391"/>
                    </a:cubicBezTo>
                    <a:lnTo>
                      <a:pt x="93303" y="16391"/>
                    </a:ln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63" name="Forma Livre: Forma 262">
                <a:extLst>
                  <a:ext uri="{FF2B5EF4-FFF2-40B4-BE49-F238E27FC236}">
                    <a16:creationId xmlns:a16="http://schemas.microsoft.com/office/drawing/2014/main" id="{70882199-7945-41DC-A6A6-3F573D2A3DB9}"/>
                  </a:ext>
                </a:extLst>
              </p:cNvPr>
              <p:cNvSpPr/>
              <p:nvPr/>
            </p:nvSpPr>
            <p:spPr>
              <a:xfrm>
                <a:off x="1468698" y="727106"/>
                <a:ext cx="157674" cy="16390"/>
              </a:xfrm>
              <a:custGeom>
                <a:avLst/>
                <a:gdLst>
                  <a:gd name="connsiteX0" fmla="*/ 150041 w 157674"/>
                  <a:gd name="connsiteY0" fmla="*/ 16391 h 16390"/>
                  <a:gd name="connsiteX1" fmla="*/ 8195 w 157674"/>
                  <a:gd name="connsiteY1" fmla="*/ 16391 h 16390"/>
                  <a:gd name="connsiteX2" fmla="*/ 0 w 157674"/>
                  <a:gd name="connsiteY2" fmla="*/ 8195 h 16390"/>
                  <a:gd name="connsiteX3" fmla="*/ 8195 w 157674"/>
                  <a:gd name="connsiteY3" fmla="*/ 0 h 16390"/>
                  <a:gd name="connsiteX4" fmla="*/ 149410 w 157674"/>
                  <a:gd name="connsiteY4" fmla="*/ 0 h 16390"/>
                  <a:gd name="connsiteX5" fmla="*/ 157606 w 157674"/>
                  <a:gd name="connsiteY5" fmla="*/ 8195 h 16390"/>
                  <a:gd name="connsiteX6" fmla="*/ 150041 w 157674"/>
                  <a:gd name="connsiteY6" fmla="*/ 16391 h 16390"/>
                  <a:gd name="connsiteX7" fmla="*/ 150041 w 157674"/>
                  <a:gd name="connsiteY7" fmla="*/ 16391 h 16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7674" h="16390">
                    <a:moveTo>
                      <a:pt x="150041" y="16391"/>
                    </a:moveTo>
                    <a:lnTo>
                      <a:pt x="8195" y="16391"/>
                    </a:lnTo>
                    <a:cubicBezTo>
                      <a:pt x="3783" y="16391"/>
                      <a:pt x="0" y="12608"/>
                      <a:pt x="0" y="8195"/>
                    </a:cubicBezTo>
                    <a:cubicBezTo>
                      <a:pt x="0" y="3783"/>
                      <a:pt x="3783" y="0"/>
                      <a:pt x="8195" y="0"/>
                    </a:cubicBezTo>
                    <a:lnTo>
                      <a:pt x="149410" y="0"/>
                    </a:lnTo>
                    <a:cubicBezTo>
                      <a:pt x="153823" y="0"/>
                      <a:pt x="157606" y="3783"/>
                      <a:pt x="157606" y="8195"/>
                    </a:cubicBezTo>
                    <a:cubicBezTo>
                      <a:pt x="158236" y="13239"/>
                      <a:pt x="154454" y="16391"/>
                      <a:pt x="150041" y="16391"/>
                    </a:cubicBezTo>
                    <a:lnTo>
                      <a:pt x="150041" y="16391"/>
                    </a:ln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64" name="Forma Livre: Forma 263">
                <a:extLst>
                  <a:ext uri="{FF2B5EF4-FFF2-40B4-BE49-F238E27FC236}">
                    <a16:creationId xmlns:a16="http://schemas.microsoft.com/office/drawing/2014/main" id="{400FF33F-458F-4720-B67C-EDC49AF2EEE4}"/>
                  </a:ext>
                </a:extLst>
              </p:cNvPr>
              <p:cNvSpPr/>
              <p:nvPr/>
            </p:nvSpPr>
            <p:spPr>
              <a:xfrm>
                <a:off x="1468698" y="771236"/>
                <a:ext cx="157674" cy="16390"/>
              </a:xfrm>
              <a:custGeom>
                <a:avLst/>
                <a:gdLst>
                  <a:gd name="connsiteX0" fmla="*/ 150041 w 157674"/>
                  <a:gd name="connsiteY0" fmla="*/ 16391 h 16390"/>
                  <a:gd name="connsiteX1" fmla="*/ 8195 w 157674"/>
                  <a:gd name="connsiteY1" fmla="*/ 16391 h 16390"/>
                  <a:gd name="connsiteX2" fmla="*/ 0 w 157674"/>
                  <a:gd name="connsiteY2" fmla="*/ 8195 h 16390"/>
                  <a:gd name="connsiteX3" fmla="*/ 8195 w 157674"/>
                  <a:gd name="connsiteY3" fmla="*/ 0 h 16390"/>
                  <a:gd name="connsiteX4" fmla="*/ 149410 w 157674"/>
                  <a:gd name="connsiteY4" fmla="*/ 0 h 16390"/>
                  <a:gd name="connsiteX5" fmla="*/ 157606 w 157674"/>
                  <a:gd name="connsiteY5" fmla="*/ 8195 h 16390"/>
                  <a:gd name="connsiteX6" fmla="*/ 150041 w 157674"/>
                  <a:gd name="connsiteY6" fmla="*/ 16391 h 16390"/>
                  <a:gd name="connsiteX7" fmla="*/ 150041 w 157674"/>
                  <a:gd name="connsiteY7" fmla="*/ 16391 h 16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7674" h="16390">
                    <a:moveTo>
                      <a:pt x="150041" y="16391"/>
                    </a:moveTo>
                    <a:lnTo>
                      <a:pt x="8195" y="16391"/>
                    </a:lnTo>
                    <a:cubicBezTo>
                      <a:pt x="3783" y="16391"/>
                      <a:pt x="0" y="12608"/>
                      <a:pt x="0" y="8195"/>
                    </a:cubicBezTo>
                    <a:cubicBezTo>
                      <a:pt x="0" y="3783"/>
                      <a:pt x="3783" y="0"/>
                      <a:pt x="8195" y="0"/>
                    </a:cubicBezTo>
                    <a:lnTo>
                      <a:pt x="149410" y="0"/>
                    </a:lnTo>
                    <a:cubicBezTo>
                      <a:pt x="153823" y="0"/>
                      <a:pt x="157606" y="3783"/>
                      <a:pt x="157606" y="8195"/>
                    </a:cubicBezTo>
                    <a:cubicBezTo>
                      <a:pt x="158236" y="12608"/>
                      <a:pt x="154454" y="16391"/>
                      <a:pt x="150041" y="16391"/>
                    </a:cubicBezTo>
                    <a:lnTo>
                      <a:pt x="150041" y="16391"/>
                    </a:ln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65" name="Forma Livre: Forma 264">
                <a:extLst>
                  <a:ext uri="{FF2B5EF4-FFF2-40B4-BE49-F238E27FC236}">
                    <a16:creationId xmlns:a16="http://schemas.microsoft.com/office/drawing/2014/main" id="{600CE5AB-4ACF-4BEC-93A5-65B1794D6DFA}"/>
                  </a:ext>
                </a:extLst>
              </p:cNvPr>
              <p:cNvSpPr/>
              <p:nvPr/>
            </p:nvSpPr>
            <p:spPr>
              <a:xfrm>
                <a:off x="1468698" y="815365"/>
                <a:ext cx="75650" cy="16390"/>
              </a:xfrm>
              <a:custGeom>
                <a:avLst/>
                <a:gdLst>
                  <a:gd name="connsiteX0" fmla="*/ 67455 w 75650"/>
                  <a:gd name="connsiteY0" fmla="*/ 16391 h 16390"/>
                  <a:gd name="connsiteX1" fmla="*/ 8195 w 75650"/>
                  <a:gd name="connsiteY1" fmla="*/ 16391 h 16390"/>
                  <a:gd name="connsiteX2" fmla="*/ 0 w 75650"/>
                  <a:gd name="connsiteY2" fmla="*/ 8195 h 16390"/>
                  <a:gd name="connsiteX3" fmla="*/ 8195 w 75650"/>
                  <a:gd name="connsiteY3" fmla="*/ 0 h 16390"/>
                  <a:gd name="connsiteX4" fmla="*/ 67455 w 75650"/>
                  <a:gd name="connsiteY4" fmla="*/ 0 h 16390"/>
                  <a:gd name="connsiteX5" fmla="*/ 75651 w 75650"/>
                  <a:gd name="connsiteY5" fmla="*/ 8195 h 16390"/>
                  <a:gd name="connsiteX6" fmla="*/ 67455 w 75650"/>
                  <a:gd name="connsiteY6" fmla="*/ 16391 h 16390"/>
                  <a:gd name="connsiteX7" fmla="*/ 67455 w 75650"/>
                  <a:gd name="connsiteY7" fmla="*/ 16391 h 16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5650" h="16390">
                    <a:moveTo>
                      <a:pt x="67455" y="16391"/>
                    </a:moveTo>
                    <a:lnTo>
                      <a:pt x="8195" y="16391"/>
                    </a:lnTo>
                    <a:cubicBezTo>
                      <a:pt x="3783" y="16391"/>
                      <a:pt x="0" y="12608"/>
                      <a:pt x="0" y="8195"/>
                    </a:cubicBezTo>
                    <a:cubicBezTo>
                      <a:pt x="0" y="3783"/>
                      <a:pt x="3783" y="0"/>
                      <a:pt x="8195" y="0"/>
                    </a:cubicBezTo>
                    <a:lnTo>
                      <a:pt x="67455" y="0"/>
                    </a:lnTo>
                    <a:cubicBezTo>
                      <a:pt x="71868" y="0"/>
                      <a:pt x="75651" y="3783"/>
                      <a:pt x="75651" y="8195"/>
                    </a:cubicBezTo>
                    <a:cubicBezTo>
                      <a:pt x="75651" y="12608"/>
                      <a:pt x="71868" y="16391"/>
                      <a:pt x="67455" y="16391"/>
                    </a:cubicBezTo>
                    <a:lnTo>
                      <a:pt x="67455" y="16391"/>
                    </a:ln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266" name="Forma Livre: Forma 265">
              <a:extLst>
                <a:ext uri="{FF2B5EF4-FFF2-40B4-BE49-F238E27FC236}">
                  <a16:creationId xmlns:a16="http://schemas.microsoft.com/office/drawing/2014/main" id="{EA360FA6-A4A6-440D-9742-0024D46C6EFD}"/>
                </a:ext>
              </a:extLst>
            </p:cNvPr>
            <p:cNvSpPr/>
            <p:nvPr/>
          </p:nvSpPr>
          <p:spPr>
            <a:xfrm>
              <a:off x="1350178" y="549327"/>
              <a:ext cx="272342" cy="341689"/>
            </a:xfrm>
            <a:custGeom>
              <a:avLst/>
              <a:gdLst>
                <a:gd name="connsiteX0" fmla="*/ 73759 w 272342"/>
                <a:gd name="connsiteY0" fmla="*/ 341689 h 341689"/>
                <a:gd name="connsiteX1" fmla="*/ 16391 w 272342"/>
                <a:gd name="connsiteY1" fmla="*/ 341689 h 341689"/>
                <a:gd name="connsiteX2" fmla="*/ 0 w 272342"/>
                <a:gd name="connsiteY2" fmla="*/ 325298 h 341689"/>
                <a:gd name="connsiteX3" fmla="*/ 0 w 272342"/>
                <a:gd name="connsiteY3" fmla="*/ 16391 h 341689"/>
                <a:gd name="connsiteX4" fmla="*/ 16391 w 272342"/>
                <a:gd name="connsiteY4" fmla="*/ 0 h 341689"/>
                <a:gd name="connsiteX5" fmla="*/ 255952 w 272342"/>
                <a:gd name="connsiteY5" fmla="*/ 0 h 341689"/>
                <a:gd name="connsiteX6" fmla="*/ 272343 w 272342"/>
                <a:gd name="connsiteY6" fmla="*/ 16391 h 341689"/>
                <a:gd name="connsiteX7" fmla="*/ 272343 w 272342"/>
                <a:gd name="connsiteY7" fmla="*/ 81325 h 341689"/>
                <a:gd name="connsiteX8" fmla="*/ 255952 w 272342"/>
                <a:gd name="connsiteY8" fmla="*/ 97715 h 341689"/>
                <a:gd name="connsiteX9" fmla="*/ 239561 w 272342"/>
                <a:gd name="connsiteY9" fmla="*/ 81325 h 341689"/>
                <a:gd name="connsiteX10" fmla="*/ 239561 w 272342"/>
                <a:gd name="connsiteY10" fmla="*/ 33412 h 341689"/>
                <a:gd name="connsiteX11" fmla="*/ 32782 w 272342"/>
                <a:gd name="connsiteY11" fmla="*/ 33412 h 341689"/>
                <a:gd name="connsiteX12" fmla="*/ 32782 w 272342"/>
                <a:gd name="connsiteY12" fmla="*/ 308277 h 341689"/>
                <a:gd name="connsiteX13" fmla="*/ 73759 w 272342"/>
                <a:gd name="connsiteY13" fmla="*/ 308277 h 341689"/>
                <a:gd name="connsiteX14" fmla="*/ 90150 w 272342"/>
                <a:gd name="connsiteY14" fmla="*/ 324668 h 341689"/>
                <a:gd name="connsiteX15" fmla="*/ 73759 w 272342"/>
                <a:gd name="connsiteY15" fmla="*/ 341689 h 341689"/>
                <a:gd name="connsiteX16" fmla="*/ 73759 w 272342"/>
                <a:gd name="connsiteY16" fmla="*/ 341689 h 341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72342" h="341689">
                  <a:moveTo>
                    <a:pt x="73759" y="341689"/>
                  </a:moveTo>
                  <a:lnTo>
                    <a:pt x="16391" y="341689"/>
                  </a:lnTo>
                  <a:cubicBezTo>
                    <a:pt x="6935" y="341689"/>
                    <a:pt x="0" y="334124"/>
                    <a:pt x="0" y="325298"/>
                  </a:cubicBezTo>
                  <a:lnTo>
                    <a:pt x="0" y="16391"/>
                  </a:lnTo>
                  <a:cubicBezTo>
                    <a:pt x="0" y="6935"/>
                    <a:pt x="7565" y="0"/>
                    <a:pt x="16391" y="0"/>
                  </a:cubicBezTo>
                  <a:lnTo>
                    <a:pt x="255952" y="0"/>
                  </a:lnTo>
                  <a:cubicBezTo>
                    <a:pt x="265408" y="0"/>
                    <a:pt x="272343" y="7565"/>
                    <a:pt x="272343" y="16391"/>
                  </a:cubicBezTo>
                  <a:lnTo>
                    <a:pt x="272343" y="81325"/>
                  </a:lnTo>
                  <a:cubicBezTo>
                    <a:pt x="272343" y="90781"/>
                    <a:pt x="264777" y="97715"/>
                    <a:pt x="255952" y="97715"/>
                  </a:cubicBezTo>
                  <a:cubicBezTo>
                    <a:pt x="246495" y="97715"/>
                    <a:pt x="239561" y="90150"/>
                    <a:pt x="239561" y="81325"/>
                  </a:cubicBezTo>
                  <a:lnTo>
                    <a:pt x="239561" y="33412"/>
                  </a:lnTo>
                  <a:lnTo>
                    <a:pt x="32782" y="33412"/>
                  </a:lnTo>
                  <a:lnTo>
                    <a:pt x="32782" y="308277"/>
                  </a:lnTo>
                  <a:lnTo>
                    <a:pt x="73759" y="308277"/>
                  </a:lnTo>
                  <a:cubicBezTo>
                    <a:pt x="83216" y="308277"/>
                    <a:pt x="90150" y="315842"/>
                    <a:pt x="90150" y="324668"/>
                  </a:cubicBezTo>
                  <a:cubicBezTo>
                    <a:pt x="90150" y="334124"/>
                    <a:pt x="82585" y="341689"/>
                    <a:pt x="73759" y="341689"/>
                  </a:cubicBezTo>
                  <a:lnTo>
                    <a:pt x="73759" y="341689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67" name="Forma Livre: Forma 266">
              <a:extLst>
                <a:ext uri="{FF2B5EF4-FFF2-40B4-BE49-F238E27FC236}">
                  <a16:creationId xmlns:a16="http://schemas.microsoft.com/office/drawing/2014/main" id="{AEE7F13C-1A84-4947-AEC3-9DA5F1FBC9EF}"/>
                </a:ext>
              </a:extLst>
            </p:cNvPr>
            <p:cNvSpPr/>
            <p:nvPr/>
          </p:nvSpPr>
          <p:spPr>
            <a:xfrm>
              <a:off x="1403764" y="535458"/>
              <a:ext cx="163909" cy="65563"/>
            </a:xfrm>
            <a:custGeom>
              <a:avLst/>
              <a:gdLst>
                <a:gd name="connsiteX0" fmla="*/ 131128 w 163909"/>
                <a:gd name="connsiteY0" fmla="*/ 65564 h 65563"/>
                <a:gd name="connsiteX1" fmla="*/ 32782 w 163909"/>
                <a:gd name="connsiteY1" fmla="*/ 65564 h 65563"/>
                <a:gd name="connsiteX2" fmla="*/ 0 w 163909"/>
                <a:gd name="connsiteY2" fmla="*/ 32782 h 65563"/>
                <a:gd name="connsiteX3" fmla="*/ 32782 w 163909"/>
                <a:gd name="connsiteY3" fmla="*/ 0 h 65563"/>
                <a:gd name="connsiteX4" fmla="*/ 131128 w 163909"/>
                <a:gd name="connsiteY4" fmla="*/ 0 h 65563"/>
                <a:gd name="connsiteX5" fmla="*/ 163910 w 163909"/>
                <a:gd name="connsiteY5" fmla="*/ 32782 h 65563"/>
                <a:gd name="connsiteX6" fmla="*/ 131128 w 163909"/>
                <a:gd name="connsiteY6" fmla="*/ 65564 h 65563"/>
                <a:gd name="connsiteX7" fmla="*/ 131128 w 163909"/>
                <a:gd name="connsiteY7" fmla="*/ 65564 h 65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3909" h="65563">
                  <a:moveTo>
                    <a:pt x="131128" y="65564"/>
                  </a:moveTo>
                  <a:lnTo>
                    <a:pt x="32782" y="65564"/>
                  </a:lnTo>
                  <a:cubicBezTo>
                    <a:pt x="14500" y="65564"/>
                    <a:pt x="0" y="51064"/>
                    <a:pt x="0" y="32782"/>
                  </a:cubicBezTo>
                  <a:cubicBezTo>
                    <a:pt x="0" y="14500"/>
                    <a:pt x="14500" y="0"/>
                    <a:pt x="32782" y="0"/>
                  </a:cubicBezTo>
                  <a:lnTo>
                    <a:pt x="131128" y="0"/>
                  </a:lnTo>
                  <a:cubicBezTo>
                    <a:pt x="149410" y="0"/>
                    <a:pt x="163910" y="14500"/>
                    <a:pt x="163910" y="32782"/>
                  </a:cubicBezTo>
                  <a:cubicBezTo>
                    <a:pt x="163910" y="51064"/>
                    <a:pt x="149410" y="65564"/>
                    <a:pt x="131128" y="65564"/>
                  </a:cubicBezTo>
                  <a:lnTo>
                    <a:pt x="131128" y="65564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68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2353811" y="512763"/>
            <a:ext cx="363760" cy="452012"/>
            <a:chOff x="2353811" y="512763"/>
            <a:chExt cx="363760" cy="452012"/>
          </a:xfrm>
          <a:solidFill>
            <a:srgbClr val="B1B1A1"/>
          </a:solidFill>
        </p:grpSpPr>
        <p:sp>
          <p:nvSpPr>
            <p:cNvPr id="269" name="Forma Livre: Forma 268">
              <a:extLst>
                <a:ext uri="{FF2B5EF4-FFF2-40B4-BE49-F238E27FC236}">
                  <a16:creationId xmlns:a16="http://schemas.microsoft.com/office/drawing/2014/main" id="{2858E5AD-C99B-46E2-8B5B-062530A11D05}"/>
                </a:ext>
              </a:extLst>
            </p:cNvPr>
            <p:cNvSpPr/>
            <p:nvPr/>
          </p:nvSpPr>
          <p:spPr>
            <a:xfrm>
              <a:off x="2428201" y="628130"/>
              <a:ext cx="101498" cy="16390"/>
            </a:xfrm>
            <a:custGeom>
              <a:avLst/>
              <a:gdLst>
                <a:gd name="connsiteX0" fmla="*/ 93303 w 101498"/>
                <a:gd name="connsiteY0" fmla="*/ 16391 h 16390"/>
                <a:gd name="connsiteX1" fmla="*/ 8196 w 101498"/>
                <a:gd name="connsiteY1" fmla="*/ 16391 h 16390"/>
                <a:gd name="connsiteX2" fmla="*/ 0 w 101498"/>
                <a:gd name="connsiteY2" fmla="*/ 8196 h 16390"/>
                <a:gd name="connsiteX3" fmla="*/ 8196 w 101498"/>
                <a:gd name="connsiteY3" fmla="*/ 0 h 16390"/>
                <a:gd name="connsiteX4" fmla="*/ 93303 w 101498"/>
                <a:gd name="connsiteY4" fmla="*/ 0 h 16390"/>
                <a:gd name="connsiteX5" fmla="*/ 101498 w 101498"/>
                <a:gd name="connsiteY5" fmla="*/ 8196 h 16390"/>
                <a:gd name="connsiteX6" fmla="*/ 93303 w 101498"/>
                <a:gd name="connsiteY6" fmla="*/ 16391 h 16390"/>
                <a:gd name="connsiteX7" fmla="*/ 93303 w 101498"/>
                <a:gd name="connsiteY7" fmla="*/ 16391 h 16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1498" h="16390">
                  <a:moveTo>
                    <a:pt x="93303" y="16391"/>
                  </a:moveTo>
                  <a:lnTo>
                    <a:pt x="8196" y="16391"/>
                  </a:lnTo>
                  <a:cubicBezTo>
                    <a:pt x="3783" y="16391"/>
                    <a:pt x="0" y="12608"/>
                    <a:pt x="0" y="8196"/>
                  </a:cubicBezTo>
                  <a:cubicBezTo>
                    <a:pt x="0" y="3783"/>
                    <a:pt x="3783" y="0"/>
                    <a:pt x="8196" y="0"/>
                  </a:cubicBezTo>
                  <a:lnTo>
                    <a:pt x="93303" y="0"/>
                  </a:lnTo>
                  <a:cubicBezTo>
                    <a:pt x="97715" y="0"/>
                    <a:pt x="101498" y="3783"/>
                    <a:pt x="101498" y="8196"/>
                  </a:cubicBezTo>
                  <a:cubicBezTo>
                    <a:pt x="101498" y="12608"/>
                    <a:pt x="97715" y="16391"/>
                    <a:pt x="93303" y="16391"/>
                  </a:cubicBezTo>
                  <a:lnTo>
                    <a:pt x="93303" y="1639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70" name="Forma Livre: Forma 269">
              <a:extLst>
                <a:ext uri="{FF2B5EF4-FFF2-40B4-BE49-F238E27FC236}">
                  <a16:creationId xmlns:a16="http://schemas.microsoft.com/office/drawing/2014/main" id="{D5AB46E4-5A3B-4898-84DF-3FC1254D9FD5}"/>
                </a:ext>
              </a:extLst>
            </p:cNvPr>
            <p:cNvSpPr/>
            <p:nvPr/>
          </p:nvSpPr>
          <p:spPr>
            <a:xfrm>
              <a:off x="2428201" y="672259"/>
              <a:ext cx="157605" cy="16390"/>
            </a:xfrm>
            <a:custGeom>
              <a:avLst/>
              <a:gdLst>
                <a:gd name="connsiteX0" fmla="*/ 149410 w 157605"/>
                <a:gd name="connsiteY0" fmla="*/ 16391 h 16390"/>
                <a:gd name="connsiteX1" fmla="*/ 8196 w 157605"/>
                <a:gd name="connsiteY1" fmla="*/ 16391 h 16390"/>
                <a:gd name="connsiteX2" fmla="*/ 0 w 157605"/>
                <a:gd name="connsiteY2" fmla="*/ 8196 h 16390"/>
                <a:gd name="connsiteX3" fmla="*/ 8196 w 157605"/>
                <a:gd name="connsiteY3" fmla="*/ 0 h 16390"/>
                <a:gd name="connsiteX4" fmla="*/ 149410 w 157605"/>
                <a:gd name="connsiteY4" fmla="*/ 0 h 16390"/>
                <a:gd name="connsiteX5" fmla="*/ 157606 w 157605"/>
                <a:gd name="connsiteY5" fmla="*/ 8196 h 16390"/>
                <a:gd name="connsiteX6" fmla="*/ 149410 w 157605"/>
                <a:gd name="connsiteY6" fmla="*/ 16391 h 16390"/>
                <a:gd name="connsiteX7" fmla="*/ 149410 w 157605"/>
                <a:gd name="connsiteY7" fmla="*/ 16391 h 16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605" h="16390">
                  <a:moveTo>
                    <a:pt x="149410" y="16391"/>
                  </a:moveTo>
                  <a:lnTo>
                    <a:pt x="8196" y="16391"/>
                  </a:lnTo>
                  <a:cubicBezTo>
                    <a:pt x="3783" y="16391"/>
                    <a:pt x="0" y="12608"/>
                    <a:pt x="0" y="8196"/>
                  </a:cubicBezTo>
                  <a:cubicBezTo>
                    <a:pt x="0" y="3783"/>
                    <a:pt x="3783" y="0"/>
                    <a:pt x="8196" y="0"/>
                  </a:cubicBezTo>
                  <a:lnTo>
                    <a:pt x="149410" y="0"/>
                  </a:lnTo>
                  <a:cubicBezTo>
                    <a:pt x="153823" y="0"/>
                    <a:pt x="157606" y="3783"/>
                    <a:pt x="157606" y="8196"/>
                  </a:cubicBezTo>
                  <a:cubicBezTo>
                    <a:pt x="157606" y="12608"/>
                    <a:pt x="154454" y="16391"/>
                    <a:pt x="149410" y="16391"/>
                  </a:cubicBezTo>
                  <a:lnTo>
                    <a:pt x="149410" y="1639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71" name="Forma Livre: Forma 270">
              <a:extLst>
                <a:ext uri="{FF2B5EF4-FFF2-40B4-BE49-F238E27FC236}">
                  <a16:creationId xmlns:a16="http://schemas.microsoft.com/office/drawing/2014/main" id="{F88474CD-020D-419F-A901-CC3AA8DFD50E}"/>
                </a:ext>
              </a:extLst>
            </p:cNvPr>
            <p:cNvSpPr/>
            <p:nvPr/>
          </p:nvSpPr>
          <p:spPr>
            <a:xfrm>
              <a:off x="2428201" y="715759"/>
              <a:ext cx="157605" cy="16390"/>
            </a:xfrm>
            <a:custGeom>
              <a:avLst/>
              <a:gdLst>
                <a:gd name="connsiteX0" fmla="*/ 149410 w 157605"/>
                <a:gd name="connsiteY0" fmla="*/ 16391 h 16390"/>
                <a:gd name="connsiteX1" fmla="*/ 8196 w 157605"/>
                <a:gd name="connsiteY1" fmla="*/ 16391 h 16390"/>
                <a:gd name="connsiteX2" fmla="*/ 0 w 157605"/>
                <a:gd name="connsiteY2" fmla="*/ 8195 h 16390"/>
                <a:gd name="connsiteX3" fmla="*/ 8196 w 157605"/>
                <a:gd name="connsiteY3" fmla="*/ 0 h 16390"/>
                <a:gd name="connsiteX4" fmla="*/ 149410 w 157605"/>
                <a:gd name="connsiteY4" fmla="*/ 0 h 16390"/>
                <a:gd name="connsiteX5" fmla="*/ 157606 w 157605"/>
                <a:gd name="connsiteY5" fmla="*/ 8195 h 16390"/>
                <a:gd name="connsiteX6" fmla="*/ 149410 w 157605"/>
                <a:gd name="connsiteY6" fmla="*/ 16391 h 16390"/>
                <a:gd name="connsiteX7" fmla="*/ 149410 w 157605"/>
                <a:gd name="connsiteY7" fmla="*/ 16391 h 16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605" h="16390">
                  <a:moveTo>
                    <a:pt x="149410" y="16391"/>
                  </a:moveTo>
                  <a:lnTo>
                    <a:pt x="8196" y="16391"/>
                  </a:lnTo>
                  <a:cubicBezTo>
                    <a:pt x="3783" y="16391"/>
                    <a:pt x="0" y="12608"/>
                    <a:pt x="0" y="8195"/>
                  </a:cubicBezTo>
                  <a:cubicBezTo>
                    <a:pt x="0" y="3783"/>
                    <a:pt x="3783" y="0"/>
                    <a:pt x="8196" y="0"/>
                  </a:cubicBezTo>
                  <a:lnTo>
                    <a:pt x="149410" y="0"/>
                  </a:lnTo>
                  <a:cubicBezTo>
                    <a:pt x="153823" y="0"/>
                    <a:pt x="157606" y="3783"/>
                    <a:pt x="157606" y="8195"/>
                  </a:cubicBezTo>
                  <a:cubicBezTo>
                    <a:pt x="157606" y="12608"/>
                    <a:pt x="154454" y="16391"/>
                    <a:pt x="149410" y="16391"/>
                  </a:cubicBezTo>
                  <a:lnTo>
                    <a:pt x="149410" y="1639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72" name="Forma Livre: Forma 271">
              <a:extLst>
                <a:ext uri="{FF2B5EF4-FFF2-40B4-BE49-F238E27FC236}">
                  <a16:creationId xmlns:a16="http://schemas.microsoft.com/office/drawing/2014/main" id="{708CB769-38F9-4DFB-B9DB-2BB716EB9009}"/>
                </a:ext>
              </a:extLst>
            </p:cNvPr>
            <p:cNvSpPr/>
            <p:nvPr/>
          </p:nvSpPr>
          <p:spPr>
            <a:xfrm>
              <a:off x="2428201" y="759888"/>
              <a:ext cx="75650" cy="16390"/>
            </a:xfrm>
            <a:custGeom>
              <a:avLst/>
              <a:gdLst>
                <a:gd name="connsiteX0" fmla="*/ 67455 w 75650"/>
                <a:gd name="connsiteY0" fmla="*/ 16391 h 16390"/>
                <a:gd name="connsiteX1" fmla="*/ 8196 w 75650"/>
                <a:gd name="connsiteY1" fmla="*/ 16391 h 16390"/>
                <a:gd name="connsiteX2" fmla="*/ 0 w 75650"/>
                <a:gd name="connsiteY2" fmla="*/ 8195 h 16390"/>
                <a:gd name="connsiteX3" fmla="*/ 8196 w 75650"/>
                <a:gd name="connsiteY3" fmla="*/ 0 h 16390"/>
                <a:gd name="connsiteX4" fmla="*/ 67455 w 75650"/>
                <a:gd name="connsiteY4" fmla="*/ 0 h 16390"/>
                <a:gd name="connsiteX5" fmla="*/ 75651 w 75650"/>
                <a:gd name="connsiteY5" fmla="*/ 8195 h 16390"/>
                <a:gd name="connsiteX6" fmla="*/ 67455 w 75650"/>
                <a:gd name="connsiteY6" fmla="*/ 16391 h 16390"/>
                <a:gd name="connsiteX7" fmla="*/ 67455 w 75650"/>
                <a:gd name="connsiteY7" fmla="*/ 16391 h 16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5650" h="16390">
                  <a:moveTo>
                    <a:pt x="67455" y="16391"/>
                  </a:moveTo>
                  <a:lnTo>
                    <a:pt x="8196" y="16391"/>
                  </a:lnTo>
                  <a:cubicBezTo>
                    <a:pt x="3783" y="16391"/>
                    <a:pt x="0" y="12608"/>
                    <a:pt x="0" y="8195"/>
                  </a:cubicBezTo>
                  <a:cubicBezTo>
                    <a:pt x="0" y="3783"/>
                    <a:pt x="3783" y="0"/>
                    <a:pt x="8196" y="0"/>
                  </a:cubicBezTo>
                  <a:lnTo>
                    <a:pt x="67455" y="0"/>
                  </a:lnTo>
                  <a:cubicBezTo>
                    <a:pt x="71868" y="0"/>
                    <a:pt x="75651" y="3783"/>
                    <a:pt x="75651" y="8195"/>
                  </a:cubicBezTo>
                  <a:cubicBezTo>
                    <a:pt x="75651" y="12608"/>
                    <a:pt x="71868" y="16391"/>
                    <a:pt x="67455" y="16391"/>
                  </a:cubicBezTo>
                  <a:lnTo>
                    <a:pt x="67455" y="1639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73" name="Forma Livre: Forma 272">
              <a:extLst>
                <a:ext uri="{FF2B5EF4-FFF2-40B4-BE49-F238E27FC236}">
                  <a16:creationId xmlns:a16="http://schemas.microsoft.com/office/drawing/2014/main" id="{5D67F7DF-084D-4C25-A15B-00E2918F2370}"/>
                </a:ext>
              </a:extLst>
            </p:cNvPr>
            <p:cNvSpPr/>
            <p:nvPr/>
          </p:nvSpPr>
          <p:spPr>
            <a:xfrm>
              <a:off x="2416223" y="512763"/>
              <a:ext cx="182822" cy="70607"/>
            </a:xfrm>
            <a:custGeom>
              <a:avLst/>
              <a:gdLst>
                <a:gd name="connsiteX0" fmla="*/ 147519 w 182822"/>
                <a:gd name="connsiteY0" fmla="*/ 70607 h 70607"/>
                <a:gd name="connsiteX1" fmla="*/ 35304 w 182822"/>
                <a:gd name="connsiteY1" fmla="*/ 70607 h 70607"/>
                <a:gd name="connsiteX2" fmla="*/ 0 w 182822"/>
                <a:gd name="connsiteY2" fmla="*/ 35304 h 70607"/>
                <a:gd name="connsiteX3" fmla="*/ 35304 w 182822"/>
                <a:gd name="connsiteY3" fmla="*/ 0 h 70607"/>
                <a:gd name="connsiteX4" fmla="*/ 147519 w 182822"/>
                <a:gd name="connsiteY4" fmla="*/ 0 h 70607"/>
                <a:gd name="connsiteX5" fmla="*/ 182823 w 182822"/>
                <a:gd name="connsiteY5" fmla="*/ 35304 h 70607"/>
                <a:gd name="connsiteX6" fmla="*/ 147519 w 182822"/>
                <a:gd name="connsiteY6" fmla="*/ 70607 h 70607"/>
                <a:gd name="connsiteX7" fmla="*/ 147519 w 182822"/>
                <a:gd name="connsiteY7" fmla="*/ 70607 h 70607"/>
                <a:gd name="connsiteX8" fmla="*/ 34673 w 182822"/>
                <a:gd name="connsiteY8" fmla="*/ 33412 h 70607"/>
                <a:gd name="connsiteX9" fmla="*/ 32782 w 182822"/>
                <a:gd name="connsiteY9" fmla="*/ 35304 h 70607"/>
                <a:gd name="connsiteX10" fmla="*/ 34673 w 182822"/>
                <a:gd name="connsiteY10" fmla="*/ 37195 h 70607"/>
                <a:gd name="connsiteX11" fmla="*/ 146888 w 182822"/>
                <a:gd name="connsiteY11" fmla="*/ 37195 h 70607"/>
                <a:gd name="connsiteX12" fmla="*/ 148780 w 182822"/>
                <a:gd name="connsiteY12" fmla="*/ 35304 h 70607"/>
                <a:gd name="connsiteX13" fmla="*/ 146888 w 182822"/>
                <a:gd name="connsiteY13" fmla="*/ 33412 h 70607"/>
                <a:gd name="connsiteX14" fmla="*/ 34673 w 182822"/>
                <a:gd name="connsiteY14" fmla="*/ 33412 h 70607"/>
                <a:gd name="connsiteX15" fmla="*/ 34673 w 182822"/>
                <a:gd name="connsiteY15" fmla="*/ 33412 h 70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2822" h="70607">
                  <a:moveTo>
                    <a:pt x="147519" y="70607"/>
                  </a:moveTo>
                  <a:lnTo>
                    <a:pt x="35304" y="70607"/>
                  </a:lnTo>
                  <a:cubicBezTo>
                    <a:pt x="15761" y="70607"/>
                    <a:pt x="0" y="54847"/>
                    <a:pt x="0" y="35304"/>
                  </a:cubicBezTo>
                  <a:cubicBezTo>
                    <a:pt x="0" y="15761"/>
                    <a:pt x="15761" y="0"/>
                    <a:pt x="35304" y="0"/>
                  </a:cubicBezTo>
                  <a:lnTo>
                    <a:pt x="147519" y="0"/>
                  </a:lnTo>
                  <a:cubicBezTo>
                    <a:pt x="167062" y="0"/>
                    <a:pt x="182823" y="15761"/>
                    <a:pt x="182823" y="35304"/>
                  </a:cubicBezTo>
                  <a:cubicBezTo>
                    <a:pt x="182823" y="54847"/>
                    <a:pt x="167062" y="70607"/>
                    <a:pt x="147519" y="70607"/>
                  </a:cubicBezTo>
                  <a:lnTo>
                    <a:pt x="147519" y="70607"/>
                  </a:lnTo>
                  <a:close/>
                  <a:moveTo>
                    <a:pt x="34673" y="33412"/>
                  </a:moveTo>
                  <a:cubicBezTo>
                    <a:pt x="33412" y="33412"/>
                    <a:pt x="32782" y="34043"/>
                    <a:pt x="32782" y="35304"/>
                  </a:cubicBezTo>
                  <a:cubicBezTo>
                    <a:pt x="32782" y="36565"/>
                    <a:pt x="33412" y="37195"/>
                    <a:pt x="34673" y="37195"/>
                  </a:cubicBezTo>
                  <a:lnTo>
                    <a:pt x="146888" y="37195"/>
                  </a:lnTo>
                  <a:cubicBezTo>
                    <a:pt x="148149" y="37195"/>
                    <a:pt x="148780" y="36565"/>
                    <a:pt x="148780" y="35304"/>
                  </a:cubicBezTo>
                  <a:cubicBezTo>
                    <a:pt x="148780" y="34043"/>
                    <a:pt x="148149" y="33412"/>
                    <a:pt x="146888" y="33412"/>
                  </a:cubicBezTo>
                  <a:lnTo>
                    <a:pt x="34673" y="33412"/>
                  </a:lnTo>
                  <a:lnTo>
                    <a:pt x="34673" y="33412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74" name="Forma Livre: Forma 273">
              <a:extLst>
                <a:ext uri="{FF2B5EF4-FFF2-40B4-BE49-F238E27FC236}">
                  <a16:creationId xmlns:a16="http://schemas.microsoft.com/office/drawing/2014/main" id="{441B01D0-4CCF-4313-97E8-13592EE8F7A2}"/>
                </a:ext>
              </a:extLst>
            </p:cNvPr>
            <p:cNvSpPr/>
            <p:nvPr/>
          </p:nvSpPr>
          <p:spPr>
            <a:xfrm>
              <a:off x="2510786" y="757997"/>
              <a:ext cx="206784" cy="206778"/>
            </a:xfrm>
            <a:custGeom>
              <a:avLst/>
              <a:gdLst>
                <a:gd name="connsiteX0" fmla="*/ 103389 w 206784"/>
                <a:gd name="connsiteY0" fmla="*/ 206779 h 206778"/>
                <a:gd name="connsiteX1" fmla="*/ 0 w 206784"/>
                <a:gd name="connsiteY1" fmla="*/ 103389 h 206778"/>
                <a:gd name="connsiteX2" fmla="*/ 103389 w 206784"/>
                <a:gd name="connsiteY2" fmla="*/ 0 h 206778"/>
                <a:gd name="connsiteX3" fmla="*/ 206779 w 206784"/>
                <a:gd name="connsiteY3" fmla="*/ 103389 h 206778"/>
                <a:gd name="connsiteX4" fmla="*/ 103389 w 206784"/>
                <a:gd name="connsiteY4" fmla="*/ 206779 h 206778"/>
                <a:gd name="connsiteX5" fmla="*/ 103389 w 206784"/>
                <a:gd name="connsiteY5" fmla="*/ 206779 h 206778"/>
                <a:gd name="connsiteX6" fmla="*/ 103389 w 206784"/>
                <a:gd name="connsiteY6" fmla="*/ 16391 h 206778"/>
                <a:gd name="connsiteX7" fmla="*/ 16391 w 206784"/>
                <a:gd name="connsiteY7" fmla="*/ 103389 h 206778"/>
                <a:gd name="connsiteX8" fmla="*/ 103389 w 206784"/>
                <a:gd name="connsiteY8" fmla="*/ 190388 h 206778"/>
                <a:gd name="connsiteX9" fmla="*/ 190388 w 206784"/>
                <a:gd name="connsiteY9" fmla="*/ 103389 h 206778"/>
                <a:gd name="connsiteX10" fmla="*/ 103389 w 206784"/>
                <a:gd name="connsiteY10" fmla="*/ 16391 h 206778"/>
                <a:gd name="connsiteX11" fmla="*/ 103389 w 206784"/>
                <a:gd name="connsiteY11" fmla="*/ 16391 h 206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784" h="206778">
                  <a:moveTo>
                    <a:pt x="103389" y="206779"/>
                  </a:moveTo>
                  <a:cubicBezTo>
                    <a:pt x="46651" y="206779"/>
                    <a:pt x="0" y="160127"/>
                    <a:pt x="0" y="103389"/>
                  </a:cubicBezTo>
                  <a:cubicBezTo>
                    <a:pt x="0" y="46021"/>
                    <a:pt x="46651" y="0"/>
                    <a:pt x="103389" y="0"/>
                  </a:cubicBezTo>
                  <a:cubicBezTo>
                    <a:pt x="160758" y="0"/>
                    <a:pt x="206779" y="46651"/>
                    <a:pt x="206779" y="103389"/>
                  </a:cubicBezTo>
                  <a:cubicBezTo>
                    <a:pt x="207409" y="160127"/>
                    <a:pt x="160758" y="206779"/>
                    <a:pt x="103389" y="206779"/>
                  </a:cubicBezTo>
                  <a:lnTo>
                    <a:pt x="103389" y="206779"/>
                  </a:lnTo>
                  <a:close/>
                  <a:moveTo>
                    <a:pt x="103389" y="16391"/>
                  </a:moveTo>
                  <a:cubicBezTo>
                    <a:pt x="55477" y="16391"/>
                    <a:pt x="16391" y="55477"/>
                    <a:pt x="16391" y="103389"/>
                  </a:cubicBezTo>
                  <a:cubicBezTo>
                    <a:pt x="16391" y="151301"/>
                    <a:pt x="55477" y="190388"/>
                    <a:pt x="103389" y="190388"/>
                  </a:cubicBezTo>
                  <a:cubicBezTo>
                    <a:pt x="151301" y="190388"/>
                    <a:pt x="190388" y="151301"/>
                    <a:pt x="190388" y="103389"/>
                  </a:cubicBezTo>
                  <a:cubicBezTo>
                    <a:pt x="190388" y="55477"/>
                    <a:pt x="151301" y="16391"/>
                    <a:pt x="103389" y="16391"/>
                  </a:cubicBezTo>
                  <a:lnTo>
                    <a:pt x="103389" y="1639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75" name="Forma Livre: Forma 274">
              <a:extLst>
                <a:ext uri="{FF2B5EF4-FFF2-40B4-BE49-F238E27FC236}">
                  <a16:creationId xmlns:a16="http://schemas.microsoft.com/office/drawing/2014/main" id="{34217443-595D-473B-9CB4-CFB13A41ECE4}"/>
                </a:ext>
              </a:extLst>
            </p:cNvPr>
            <p:cNvSpPr/>
            <p:nvPr/>
          </p:nvSpPr>
          <p:spPr>
            <a:xfrm>
              <a:off x="2353811" y="529784"/>
              <a:ext cx="307646" cy="387079"/>
            </a:xfrm>
            <a:custGeom>
              <a:avLst/>
              <a:gdLst>
                <a:gd name="connsiteX0" fmla="*/ 173997 w 307646"/>
                <a:gd name="connsiteY0" fmla="*/ 387079 h 387079"/>
                <a:gd name="connsiteX1" fmla="*/ 16391 w 307646"/>
                <a:gd name="connsiteY1" fmla="*/ 387079 h 387079"/>
                <a:gd name="connsiteX2" fmla="*/ 0 w 307646"/>
                <a:gd name="connsiteY2" fmla="*/ 370688 h 387079"/>
                <a:gd name="connsiteX3" fmla="*/ 0 w 307646"/>
                <a:gd name="connsiteY3" fmla="*/ 16391 h 387079"/>
                <a:gd name="connsiteX4" fmla="*/ 16391 w 307646"/>
                <a:gd name="connsiteY4" fmla="*/ 0 h 387079"/>
                <a:gd name="connsiteX5" fmla="*/ 291255 w 307646"/>
                <a:gd name="connsiteY5" fmla="*/ 0 h 387079"/>
                <a:gd name="connsiteX6" fmla="*/ 307646 w 307646"/>
                <a:gd name="connsiteY6" fmla="*/ 16391 h 387079"/>
                <a:gd name="connsiteX7" fmla="*/ 307646 w 307646"/>
                <a:gd name="connsiteY7" fmla="*/ 241452 h 387079"/>
                <a:gd name="connsiteX8" fmla="*/ 274234 w 307646"/>
                <a:gd name="connsiteY8" fmla="*/ 241452 h 387079"/>
                <a:gd name="connsiteX9" fmla="*/ 274234 w 307646"/>
                <a:gd name="connsiteY9" fmla="*/ 32782 h 387079"/>
                <a:gd name="connsiteX10" fmla="*/ 32782 w 307646"/>
                <a:gd name="connsiteY10" fmla="*/ 32782 h 387079"/>
                <a:gd name="connsiteX11" fmla="*/ 32782 w 307646"/>
                <a:gd name="connsiteY11" fmla="*/ 353667 h 387079"/>
                <a:gd name="connsiteX12" fmla="*/ 173997 w 307646"/>
                <a:gd name="connsiteY12" fmla="*/ 353667 h 387079"/>
                <a:gd name="connsiteX13" fmla="*/ 173997 w 307646"/>
                <a:gd name="connsiteY13" fmla="*/ 387079 h 387079"/>
                <a:gd name="connsiteX14" fmla="*/ 173997 w 307646"/>
                <a:gd name="connsiteY14" fmla="*/ 387079 h 387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07646" h="387079">
                  <a:moveTo>
                    <a:pt x="173997" y="387079"/>
                  </a:moveTo>
                  <a:lnTo>
                    <a:pt x="16391" y="387079"/>
                  </a:lnTo>
                  <a:cubicBezTo>
                    <a:pt x="6935" y="387079"/>
                    <a:pt x="0" y="379514"/>
                    <a:pt x="0" y="370688"/>
                  </a:cubicBezTo>
                  <a:lnTo>
                    <a:pt x="0" y="16391"/>
                  </a:lnTo>
                  <a:cubicBezTo>
                    <a:pt x="0" y="6935"/>
                    <a:pt x="7565" y="0"/>
                    <a:pt x="16391" y="0"/>
                  </a:cubicBezTo>
                  <a:lnTo>
                    <a:pt x="291255" y="0"/>
                  </a:lnTo>
                  <a:cubicBezTo>
                    <a:pt x="300712" y="0"/>
                    <a:pt x="307646" y="7565"/>
                    <a:pt x="307646" y="16391"/>
                  </a:cubicBezTo>
                  <a:lnTo>
                    <a:pt x="307646" y="241452"/>
                  </a:lnTo>
                  <a:lnTo>
                    <a:pt x="274234" y="241452"/>
                  </a:lnTo>
                  <a:lnTo>
                    <a:pt x="274234" y="32782"/>
                  </a:lnTo>
                  <a:lnTo>
                    <a:pt x="32782" y="32782"/>
                  </a:lnTo>
                  <a:lnTo>
                    <a:pt x="32782" y="353667"/>
                  </a:lnTo>
                  <a:lnTo>
                    <a:pt x="173997" y="353667"/>
                  </a:lnTo>
                  <a:lnTo>
                    <a:pt x="173997" y="387079"/>
                  </a:lnTo>
                  <a:lnTo>
                    <a:pt x="173997" y="387079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76" name="Forma Livre: Forma 275">
              <a:extLst>
                <a:ext uri="{FF2B5EF4-FFF2-40B4-BE49-F238E27FC236}">
                  <a16:creationId xmlns:a16="http://schemas.microsoft.com/office/drawing/2014/main" id="{58E10128-ECF1-4CEB-9CE9-07E6ADF417B8}"/>
                </a:ext>
              </a:extLst>
            </p:cNvPr>
            <p:cNvSpPr/>
            <p:nvPr/>
          </p:nvSpPr>
          <p:spPr>
            <a:xfrm>
              <a:off x="2554046" y="814314"/>
              <a:ext cx="121071" cy="106962"/>
            </a:xfrm>
            <a:custGeom>
              <a:avLst/>
              <a:gdLst>
                <a:gd name="connsiteX0" fmla="*/ 43738 w 121071"/>
                <a:gd name="connsiteY0" fmla="*/ 106962 h 106962"/>
                <a:gd name="connsiteX1" fmla="*/ 31760 w 121071"/>
                <a:gd name="connsiteY1" fmla="*/ 101919 h 106962"/>
                <a:gd name="connsiteX2" fmla="*/ 4652 w 121071"/>
                <a:gd name="connsiteY2" fmla="*/ 72920 h 106962"/>
                <a:gd name="connsiteX3" fmla="*/ 5283 w 121071"/>
                <a:gd name="connsiteY3" fmla="*/ 49594 h 106962"/>
                <a:gd name="connsiteX4" fmla="*/ 28608 w 121071"/>
                <a:gd name="connsiteY4" fmla="*/ 50224 h 106962"/>
                <a:gd name="connsiteX5" fmla="*/ 43108 w 121071"/>
                <a:gd name="connsiteY5" fmla="*/ 65355 h 106962"/>
                <a:gd name="connsiteX6" fmla="*/ 91651 w 121071"/>
                <a:gd name="connsiteY6" fmla="*/ 6095 h 106962"/>
                <a:gd name="connsiteX7" fmla="*/ 114976 w 121071"/>
                <a:gd name="connsiteY7" fmla="*/ 3573 h 106962"/>
                <a:gd name="connsiteX8" fmla="*/ 117498 w 121071"/>
                <a:gd name="connsiteY8" fmla="*/ 26899 h 106962"/>
                <a:gd name="connsiteX9" fmla="*/ 56977 w 121071"/>
                <a:gd name="connsiteY9" fmla="*/ 100658 h 106962"/>
                <a:gd name="connsiteX10" fmla="*/ 43738 w 121071"/>
                <a:gd name="connsiteY10" fmla="*/ 106962 h 106962"/>
                <a:gd name="connsiteX11" fmla="*/ 43738 w 121071"/>
                <a:gd name="connsiteY11" fmla="*/ 106962 h 106962"/>
                <a:gd name="connsiteX12" fmla="*/ 43738 w 121071"/>
                <a:gd name="connsiteY12" fmla="*/ 106962 h 106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1071" h="106962">
                  <a:moveTo>
                    <a:pt x="43738" y="106962"/>
                  </a:moveTo>
                  <a:cubicBezTo>
                    <a:pt x="39325" y="106962"/>
                    <a:pt x="34912" y="105071"/>
                    <a:pt x="31760" y="101919"/>
                  </a:cubicBezTo>
                  <a:lnTo>
                    <a:pt x="4652" y="72920"/>
                  </a:lnTo>
                  <a:cubicBezTo>
                    <a:pt x="-1652" y="65985"/>
                    <a:pt x="-1652" y="55898"/>
                    <a:pt x="5283" y="49594"/>
                  </a:cubicBezTo>
                  <a:cubicBezTo>
                    <a:pt x="12217" y="43290"/>
                    <a:pt x="22304" y="43290"/>
                    <a:pt x="28608" y="50224"/>
                  </a:cubicBezTo>
                  <a:lnTo>
                    <a:pt x="43108" y="65355"/>
                  </a:lnTo>
                  <a:lnTo>
                    <a:pt x="91651" y="6095"/>
                  </a:lnTo>
                  <a:cubicBezTo>
                    <a:pt x="97324" y="-840"/>
                    <a:pt x="108042" y="-2101"/>
                    <a:pt x="114976" y="3573"/>
                  </a:cubicBezTo>
                  <a:cubicBezTo>
                    <a:pt x="121911" y="9247"/>
                    <a:pt x="123172" y="19964"/>
                    <a:pt x="117498" y="26899"/>
                  </a:cubicBezTo>
                  <a:lnTo>
                    <a:pt x="56977" y="100658"/>
                  </a:lnTo>
                  <a:cubicBezTo>
                    <a:pt x="53195" y="104441"/>
                    <a:pt x="48782" y="106962"/>
                    <a:pt x="43738" y="106962"/>
                  </a:cubicBezTo>
                  <a:cubicBezTo>
                    <a:pt x="43738" y="106962"/>
                    <a:pt x="43738" y="106962"/>
                    <a:pt x="43738" y="106962"/>
                  </a:cubicBezTo>
                  <a:lnTo>
                    <a:pt x="43738" y="106962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77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9476955" y="2653047"/>
            <a:ext cx="405361" cy="300711"/>
            <a:chOff x="9476955" y="2653047"/>
            <a:chExt cx="405361" cy="300711"/>
          </a:xfrm>
          <a:solidFill>
            <a:srgbClr val="B1B1A1"/>
          </a:solidFill>
        </p:grpSpPr>
        <p:sp>
          <p:nvSpPr>
            <p:cNvPr id="278" name="Forma Livre: Forma 277">
              <a:extLst>
                <a:ext uri="{FF2B5EF4-FFF2-40B4-BE49-F238E27FC236}">
                  <a16:creationId xmlns:a16="http://schemas.microsoft.com/office/drawing/2014/main" id="{BA80C2A6-59C6-4695-8280-5243175C049D}"/>
                </a:ext>
              </a:extLst>
            </p:cNvPr>
            <p:cNvSpPr/>
            <p:nvPr/>
          </p:nvSpPr>
          <p:spPr>
            <a:xfrm>
              <a:off x="9476955" y="2653047"/>
              <a:ext cx="175256" cy="146258"/>
            </a:xfrm>
            <a:custGeom>
              <a:avLst/>
              <a:gdLst>
                <a:gd name="connsiteX0" fmla="*/ 102128 w 175256"/>
                <a:gd name="connsiteY0" fmla="*/ 146258 h 146258"/>
                <a:gd name="connsiteX1" fmla="*/ 73129 w 175256"/>
                <a:gd name="connsiteY1" fmla="*/ 146258 h 146258"/>
                <a:gd name="connsiteX2" fmla="*/ 0 w 175256"/>
                <a:gd name="connsiteY2" fmla="*/ 73129 h 146258"/>
                <a:gd name="connsiteX3" fmla="*/ 73129 w 175256"/>
                <a:gd name="connsiteY3" fmla="*/ 0 h 146258"/>
                <a:gd name="connsiteX4" fmla="*/ 102128 w 175256"/>
                <a:gd name="connsiteY4" fmla="*/ 0 h 146258"/>
                <a:gd name="connsiteX5" fmla="*/ 175257 w 175256"/>
                <a:gd name="connsiteY5" fmla="*/ 73129 h 146258"/>
                <a:gd name="connsiteX6" fmla="*/ 102128 w 175256"/>
                <a:gd name="connsiteY6" fmla="*/ 146258 h 146258"/>
                <a:gd name="connsiteX7" fmla="*/ 102128 w 175256"/>
                <a:gd name="connsiteY7" fmla="*/ 146258 h 146258"/>
                <a:gd name="connsiteX8" fmla="*/ 73129 w 175256"/>
                <a:gd name="connsiteY8" fmla="*/ 34043 h 146258"/>
                <a:gd name="connsiteX9" fmla="*/ 33412 w 175256"/>
                <a:gd name="connsiteY9" fmla="*/ 73760 h 146258"/>
                <a:gd name="connsiteX10" fmla="*/ 73129 w 175256"/>
                <a:gd name="connsiteY10" fmla="*/ 113476 h 146258"/>
                <a:gd name="connsiteX11" fmla="*/ 102128 w 175256"/>
                <a:gd name="connsiteY11" fmla="*/ 113476 h 146258"/>
                <a:gd name="connsiteX12" fmla="*/ 141845 w 175256"/>
                <a:gd name="connsiteY12" fmla="*/ 73760 h 146258"/>
                <a:gd name="connsiteX13" fmla="*/ 102128 w 175256"/>
                <a:gd name="connsiteY13" fmla="*/ 34043 h 146258"/>
                <a:gd name="connsiteX14" fmla="*/ 73129 w 175256"/>
                <a:gd name="connsiteY14" fmla="*/ 34043 h 146258"/>
                <a:gd name="connsiteX15" fmla="*/ 73129 w 175256"/>
                <a:gd name="connsiteY15" fmla="*/ 34043 h 146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5256" h="146258">
                  <a:moveTo>
                    <a:pt x="102128" y="146258"/>
                  </a:moveTo>
                  <a:lnTo>
                    <a:pt x="73129" y="146258"/>
                  </a:lnTo>
                  <a:cubicBezTo>
                    <a:pt x="32782" y="146258"/>
                    <a:pt x="0" y="113476"/>
                    <a:pt x="0" y="73129"/>
                  </a:cubicBezTo>
                  <a:cubicBezTo>
                    <a:pt x="0" y="32782"/>
                    <a:pt x="32782" y="0"/>
                    <a:pt x="73129" y="0"/>
                  </a:cubicBezTo>
                  <a:lnTo>
                    <a:pt x="102128" y="0"/>
                  </a:lnTo>
                  <a:cubicBezTo>
                    <a:pt x="142475" y="0"/>
                    <a:pt x="175257" y="32782"/>
                    <a:pt x="175257" y="73129"/>
                  </a:cubicBezTo>
                  <a:cubicBezTo>
                    <a:pt x="174627" y="113476"/>
                    <a:pt x="142475" y="146258"/>
                    <a:pt x="102128" y="146258"/>
                  </a:cubicBezTo>
                  <a:lnTo>
                    <a:pt x="102128" y="146258"/>
                  </a:lnTo>
                  <a:close/>
                  <a:moveTo>
                    <a:pt x="73129" y="34043"/>
                  </a:moveTo>
                  <a:cubicBezTo>
                    <a:pt x="51064" y="34043"/>
                    <a:pt x="33412" y="51695"/>
                    <a:pt x="33412" y="73760"/>
                  </a:cubicBezTo>
                  <a:cubicBezTo>
                    <a:pt x="33412" y="95824"/>
                    <a:pt x="51064" y="113476"/>
                    <a:pt x="73129" y="113476"/>
                  </a:cubicBezTo>
                  <a:lnTo>
                    <a:pt x="102128" y="113476"/>
                  </a:lnTo>
                  <a:cubicBezTo>
                    <a:pt x="124193" y="113476"/>
                    <a:pt x="141845" y="95824"/>
                    <a:pt x="141845" y="73760"/>
                  </a:cubicBezTo>
                  <a:cubicBezTo>
                    <a:pt x="141845" y="51695"/>
                    <a:pt x="124193" y="34043"/>
                    <a:pt x="102128" y="34043"/>
                  </a:cubicBezTo>
                  <a:lnTo>
                    <a:pt x="73129" y="34043"/>
                  </a:lnTo>
                  <a:lnTo>
                    <a:pt x="73129" y="34043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79" name="Forma Livre: Forma 278">
              <a:extLst>
                <a:ext uri="{FF2B5EF4-FFF2-40B4-BE49-F238E27FC236}">
                  <a16:creationId xmlns:a16="http://schemas.microsoft.com/office/drawing/2014/main" id="{5733C58B-52B9-4B14-94FD-9B97B85004CE}"/>
                </a:ext>
              </a:extLst>
            </p:cNvPr>
            <p:cNvSpPr/>
            <p:nvPr/>
          </p:nvSpPr>
          <p:spPr>
            <a:xfrm>
              <a:off x="9476955" y="2807501"/>
              <a:ext cx="175256" cy="146258"/>
            </a:xfrm>
            <a:custGeom>
              <a:avLst/>
              <a:gdLst>
                <a:gd name="connsiteX0" fmla="*/ 102128 w 175256"/>
                <a:gd name="connsiteY0" fmla="*/ 146258 h 146258"/>
                <a:gd name="connsiteX1" fmla="*/ 73129 w 175256"/>
                <a:gd name="connsiteY1" fmla="*/ 146258 h 146258"/>
                <a:gd name="connsiteX2" fmla="*/ 0 w 175256"/>
                <a:gd name="connsiteY2" fmla="*/ 73129 h 146258"/>
                <a:gd name="connsiteX3" fmla="*/ 73129 w 175256"/>
                <a:gd name="connsiteY3" fmla="*/ 0 h 146258"/>
                <a:gd name="connsiteX4" fmla="*/ 102128 w 175256"/>
                <a:gd name="connsiteY4" fmla="*/ 0 h 146258"/>
                <a:gd name="connsiteX5" fmla="*/ 175257 w 175256"/>
                <a:gd name="connsiteY5" fmla="*/ 73129 h 146258"/>
                <a:gd name="connsiteX6" fmla="*/ 102128 w 175256"/>
                <a:gd name="connsiteY6" fmla="*/ 146258 h 146258"/>
                <a:gd name="connsiteX7" fmla="*/ 102128 w 175256"/>
                <a:gd name="connsiteY7" fmla="*/ 146258 h 146258"/>
                <a:gd name="connsiteX8" fmla="*/ 73129 w 175256"/>
                <a:gd name="connsiteY8" fmla="*/ 33412 h 146258"/>
                <a:gd name="connsiteX9" fmla="*/ 33412 w 175256"/>
                <a:gd name="connsiteY9" fmla="*/ 73129 h 146258"/>
                <a:gd name="connsiteX10" fmla="*/ 73129 w 175256"/>
                <a:gd name="connsiteY10" fmla="*/ 112846 h 146258"/>
                <a:gd name="connsiteX11" fmla="*/ 102128 w 175256"/>
                <a:gd name="connsiteY11" fmla="*/ 112846 h 146258"/>
                <a:gd name="connsiteX12" fmla="*/ 141845 w 175256"/>
                <a:gd name="connsiteY12" fmla="*/ 73129 h 146258"/>
                <a:gd name="connsiteX13" fmla="*/ 102128 w 175256"/>
                <a:gd name="connsiteY13" fmla="*/ 33412 h 146258"/>
                <a:gd name="connsiteX14" fmla="*/ 73129 w 175256"/>
                <a:gd name="connsiteY14" fmla="*/ 33412 h 146258"/>
                <a:gd name="connsiteX15" fmla="*/ 73129 w 175256"/>
                <a:gd name="connsiteY15" fmla="*/ 33412 h 146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5256" h="146258">
                  <a:moveTo>
                    <a:pt x="102128" y="146258"/>
                  </a:moveTo>
                  <a:lnTo>
                    <a:pt x="73129" y="146258"/>
                  </a:lnTo>
                  <a:cubicBezTo>
                    <a:pt x="32782" y="146258"/>
                    <a:pt x="0" y="113476"/>
                    <a:pt x="0" y="73129"/>
                  </a:cubicBezTo>
                  <a:cubicBezTo>
                    <a:pt x="0" y="32782"/>
                    <a:pt x="32782" y="0"/>
                    <a:pt x="73129" y="0"/>
                  </a:cubicBezTo>
                  <a:lnTo>
                    <a:pt x="102128" y="0"/>
                  </a:lnTo>
                  <a:cubicBezTo>
                    <a:pt x="142475" y="0"/>
                    <a:pt x="175257" y="32782"/>
                    <a:pt x="175257" y="73129"/>
                  </a:cubicBezTo>
                  <a:cubicBezTo>
                    <a:pt x="174627" y="113476"/>
                    <a:pt x="142475" y="146258"/>
                    <a:pt x="102128" y="146258"/>
                  </a:cubicBezTo>
                  <a:lnTo>
                    <a:pt x="102128" y="146258"/>
                  </a:lnTo>
                  <a:close/>
                  <a:moveTo>
                    <a:pt x="73129" y="33412"/>
                  </a:moveTo>
                  <a:cubicBezTo>
                    <a:pt x="51064" y="33412"/>
                    <a:pt x="33412" y="51064"/>
                    <a:pt x="33412" y="73129"/>
                  </a:cubicBezTo>
                  <a:cubicBezTo>
                    <a:pt x="33412" y="95194"/>
                    <a:pt x="51064" y="112846"/>
                    <a:pt x="73129" y="112846"/>
                  </a:cubicBezTo>
                  <a:lnTo>
                    <a:pt x="102128" y="112846"/>
                  </a:lnTo>
                  <a:cubicBezTo>
                    <a:pt x="124193" y="112846"/>
                    <a:pt x="141845" y="95194"/>
                    <a:pt x="141845" y="73129"/>
                  </a:cubicBezTo>
                  <a:cubicBezTo>
                    <a:pt x="141845" y="51064"/>
                    <a:pt x="124193" y="33412"/>
                    <a:pt x="102128" y="33412"/>
                  </a:cubicBezTo>
                  <a:lnTo>
                    <a:pt x="73129" y="33412"/>
                  </a:lnTo>
                  <a:lnTo>
                    <a:pt x="73129" y="33412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80" name="Forma Livre: Forma 279">
              <a:extLst>
                <a:ext uri="{FF2B5EF4-FFF2-40B4-BE49-F238E27FC236}">
                  <a16:creationId xmlns:a16="http://schemas.microsoft.com/office/drawing/2014/main" id="{909DFA6C-1791-459B-A86A-E16BBA7F2C3A}"/>
                </a:ext>
              </a:extLst>
            </p:cNvPr>
            <p:cNvSpPr/>
            <p:nvPr/>
          </p:nvSpPr>
          <p:spPr>
            <a:xfrm>
              <a:off x="9618853" y="2710469"/>
              <a:ext cx="262202" cy="105857"/>
            </a:xfrm>
            <a:custGeom>
              <a:avLst/>
              <a:gdLst>
                <a:gd name="connsiteX0" fmla="*/ 245812 w 262202"/>
                <a:gd name="connsiteY0" fmla="*/ 105858 h 105857"/>
                <a:gd name="connsiteX1" fmla="*/ 83162 w 262202"/>
                <a:gd name="connsiteY1" fmla="*/ 105858 h 105857"/>
                <a:gd name="connsiteX2" fmla="*/ 70554 w 262202"/>
                <a:gd name="connsiteY2" fmla="*/ 100184 h 105857"/>
                <a:gd name="connsiteX3" fmla="*/ 4360 w 262202"/>
                <a:gd name="connsiteY3" fmla="*/ 27685 h 105857"/>
                <a:gd name="connsiteX4" fmla="*/ 5620 w 262202"/>
                <a:gd name="connsiteY4" fmla="*/ 4359 h 105857"/>
                <a:gd name="connsiteX5" fmla="*/ 28946 w 262202"/>
                <a:gd name="connsiteY5" fmla="*/ 5620 h 105857"/>
                <a:gd name="connsiteX6" fmla="*/ 90727 w 262202"/>
                <a:gd name="connsiteY6" fmla="*/ 73076 h 105857"/>
                <a:gd name="connsiteX7" fmla="*/ 245812 w 262202"/>
                <a:gd name="connsiteY7" fmla="*/ 73076 h 105857"/>
                <a:gd name="connsiteX8" fmla="*/ 262203 w 262202"/>
                <a:gd name="connsiteY8" fmla="*/ 89466 h 105857"/>
                <a:gd name="connsiteX9" fmla="*/ 245812 w 262202"/>
                <a:gd name="connsiteY9" fmla="*/ 105858 h 105857"/>
                <a:gd name="connsiteX10" fmla="*/ 245812 w 262202"/>
                <a:gd name="connsiteY10" fmla="*/ 105858 h 105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62202" h="105857">
                  <a:moveTo>
                    <a:pt x="245812" y="105858"/>
                  </a:moveTo>
                  <a:lnTo>
                    <a:pt x="83162" y="105858"/>
                  </a:lnTo>
                  <a:cubicBezTo>
                    <a:pt x="78750" y="105858"/>
                    <a:pt x="73706" y="103966"/>
                    <a:pt x="70554" y="100184"/>
                  </a:cubicBezTo>
                  <a:lnTo>
                    <a:pt x="4360" y="27685"/>
                  </a:lnTo>
                  <a:cubicBezTo>
                    <a:pt x="-1945" y="20750"/>
                    <a:pt x="-1314" y="10033"/>
                    <a:pt x="5620" y="4359"/>
                  </a:cubicBezTo>
                  <a:cubicBezTo>
                    <a:pt x="12555" y="-1945"/>
                    <a:pt x="23272" y="-1314"/>
                    <a:pt x="28946" y="5620"/>
                  </a:cubicBezTo>
                  <a:lnTo>
                    <a:pt x="90727" y="73076"/>
                  </a:lnTo>
                  <a:lnTo>
                    <a:pt x="245812" y="73076"/>
                  </a:lnTo>
                  <a:cubicBezTo>
                    <a:pt x="255268" y="73076"/>
                    <a:pt x="262203" y="80641"/>
                    <a:pt x="262203" y="89466"/>
                  </a:cubicBezTo>
                  <a:cubicBezTo>
                    <a:pt x="262203" y="98293"/>
                    <a:pt x="254637" y="105858"/>
                    <a:pt x="245812" y="105858"/>
                  </a:cubicBezTo>
                  <a:lnTo>
                    <a:pt x="245812" y="105858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81" name="Forma Livre: Forma 280">
              <a:extLst>
                <a:ext uri="{FF2B5EF4-FFF2-40B4-BE49-F238E27FC236}">
                  <a16:creationId xmlns:a16="http://schemas.microsoft.com/office/drawing/2014/main" id="{D3884693-FB60-4CC6-8D1F-6CAC7EEF0005}"/>
                </a:ext>
              </a:extLst>
            </p:cNvPr>
            <p:cNvSpPr/>
            <p:nvPr/>
          </p:nvSpPr>
          <p:spPr>
            <a:xfrm>
              <a:off x="9681843" y="2734372"/>
              <a:ext cx="200473" cy="76281"/>
            </a:xfrm>
            <a:custGeom>
              <a:avLst/>
              <a:gdLst>
                <a:gd name="connsiteX0" fmla="*/ 182823 w 200473"/>
                <a:gd name="connsiteY0" fmla="*/ 76281 h 76281"/>
                <a:gd name="connsiteX1" fmla="*/ 166431 w 200473"/>
                <a:gd name="connsiteY1" fmla="*/ 59890 h 76281"/>
                <a:gd name="connsiteX2" fmla="*/ 139953 w 200473"/>
                <a:gd name="connsiteY2" fmla="*/ 33413 h 76281"/>
                <a:gd name="connsiteX3" fmla="*/ 59259 w 200473"/>
                <a:gd name="connsiteY3" fmla="*/ 33413 h 76281"/>
                <a:gd name="connsiteX4" fmla="*/ 32782 w 200473"/>
                <a:gd name="connsiteY4" fmla="*/ 59890 h 76281"/>
                <a:gd name="connsiteX5" fmla="*/ 16391 w 200473"/>
                <a:gd name="connsiteY5" fmla="*/ 76281 h 76281"/>
                <a:gd name="connsiteX6" fmla="*/ 0 w 200473"/>
                <a:gd name="connsiteY6" fmla="*/ 59890 h 76281"/>
                <a:gd name="connsiteX7" fmla="*/ 59890 w 200473"/>
                <a:gd name="connsiteY7" fmla="*/ 0 h 76281"/>
                <a:gd name="connsiteX8" fmla="*/ 140584 w 200473"/>
                <a:gd name="connsiteY8" fmla="*/ 0 h 76281"/>
                <a:gd name="connsiteX9" fmla="*/ 200474 w 200473"/>
                <a:gd name="connsiteY9" fmla="*/ 59890 h 76281"/>
                <a:gd name="connsiteX10" fmla="*/ 182823 w 200473"/>
                <a:gd name="connsiteY10" fmla="*/ 76281 h 76281"/>
                <a:gd name="connsiteX11" fmla="*/ 182823 w 200473"/>
                <a:gd name="connsiteY11" fmla="*/ 76281 h 76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0473" h="76281">
                  <a:moveTo>
                    <a:pt x="182823" y="76281"/>
                  </a:moveTo>
                  <a:cubicBezTo>
                    <a:pt x="173366" y="76281"/>
                    <a:pt x="166431" y="68716"/>
                    <a:pt x="166431" y="59890"/>
                  </a:cubicBezTo>
                  <a:cubicBezTo>
                    <a:pt x="166431" y="45391"/>
                    <a:pt x="154454" y="33413"/>
                    <a:pt x="139953" y="33413"/>
                  </a:cubicBezTo>
                  <a:lnTo>
                    <a:pt x="59259" y="33413"/>
                  </a:lnTo>
                  <a:cubicBezTo>
                    <a:pt x="44760" y="33413"/>
                    <a:pt x="32782" y="45391"/>
                    <a:pt x="32782" y="59890"/>
                  </a:cubicBezTo>
                  <a:cubicBezTo>
                    <a:pt x="32782" y="69346"/>
                    <a:pt x="25217" y="76281"/>
                    <a:pt x="16391" y="76281"/>
                  </a:cubicBezTo>
                  <a:cubicBezTo>
                    <a:pt x="7565" y="76281"/>
                    <a:pt x="0" y="68716"/>
                    <a:pt x="0" y="59890"/>
                  </a:cubicBezTo>
                  <a:cubicBezTo>
                    <a:pt x="0" y="27108"/>
                    <a:pt x="27108" y="0"/>
                    <a:pt x="59890" y="0"/>
                  </a:cubicBezTo>
                  <a:lnTo>
                    <a:pt x="140584" y="0"/>
                  </a:lnTo>
                  <a:cubicBezTo>
                    <a:pt x="173366" y="0"/>
                    <a:pt x="200474" y="27108"/>
                    <a:pt x="200474" y="59890"/>
                  </a:cubicBezTo>
                  <a:cubicBezTo>
                    <a:pt x="199213" y="68716"/>
                    <a:pt x="191648" y="76281"/>
                    <a:pt x="182823" y="76281"/>
                  </a:cubicBezTo>
                  <a:lnTo>
                    <a:pt x="182823" y="7628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82" name="Forma Livre: Forma 281">
              <a:extLst>
                <a:ext uri="{FF2B5EF4-FFF2-40B4-BE49-F238E27FC236}">
                  <a16:creationId xmlns:a16="http://schemas.microsoft.com/office/drawing/2014/main" id="{59EEC6FC-DCE4-47DB-8647-CA82C67499DB}"/>
                </a:ext>
              </a:extLst>
            </p:cNvPr>
            <p:cNvSpPr/>
            <p:nvPr/>
          </p:nvSpPr>
          <p:spPr>
            <a:xfrm>
              <a:off x="9618223" y="2786066"/>
              <a:ext cx="262832" cy="106541"/>
            </a:xfrm>
            <a:custGeom>
              <a:avLst/>
              <a:gdLst>
                <a:gd name="connsiteX0" fmla="*/ 16968 w 262832"/>
                <a:gd name="connsiteY0" fmla="*/ 106541 h 106541"/>
                <a:gd name="connsiteX1" fmla="*/ 5620 w 262832"/>
                <a:gd name="connsiteY1" fmla="*/ 102128 h 106541"/>
                <a:gd name="connsiteX2" fmla="*/ 4360 w 262832"/>
                <a:gd name="connsiteY2" fmla="*/ 78803 h 106541"/>
                <a:gd name="connsiteX3" fmla="*/ 71184 w 262832"/>
                <a:gd name="connsiteY3" fmla="*/ 5674 h 106541"/>
                <a:gd name="connsiteX4" fmla="*/ 83793 w 262832"/>
                <a:gd name="connsiteY4" fmla="*/ 0 h 106541"/>
                <a:gd name="connsiteX5" fmla="*/ 246442 w 262832"/>
                <a:gd name="connsiteY5" fmla="*/ 0 h 106541"/>
                <a:gd name="connsiteX6" fmla="*/ 262833 w 262832"/>
                <a:gd name="connsiteY6" fmla="*/ 16391 h 106541"/>
                <a:gd name="connsiteX7" fmla="*/ 246442 w 262832"/>
                <a:gd name="connsiteY7" fmla="*/ 32782 h 106541"/>
                <a:gd name="connsiteX8" fmla="*/ 91357 w 262832"/>
                <a:gd name="connsiteY8" fmla="*/ 32782 h 106541"/>
                <a:gd name="connsiteX9" fmla="*/ 29576 w 262832"/>
                <a:gd name="connsiteY9" fmla="*/ 100237 h 106541"/>
                <a:gd name="connsiteX10" fmla="*/ 16968 w 262832"/>
                <a:gd name="connsiteY10" fmla="*/ 106541 h 106541"/>
                <a:gd name="connsiteX11" fmla="*/ 16968 w 262832"/>
                <a:gd name="connsiteY11" fmla="*/ 106541 h 106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62832" h="106541">
                  <a:moveTo>
                    <a:pt x="16968" y="106541"/>
                  </a:moveTo>
                  <a:cubicBezTo>
                    <a:pt x="13186" y="106541"/>
                    <a:pt x="8772" y="105280"/>
                    <a:pt x="5620" y="102128"/>
                  </a:cubicBezTo>
                  <a:cubicBezTo>
                    <a:pt x="-1314" y="95824"/>
                    <a:pt x="-1945" y="85107"/>
                    <a:pt x="4360" y="78803"/>
                  </a:cubicBezTo>
                  <a:lnTo>
                    <a:pt x="71184" y="5674"/>
                  </a:lnTo>
                  <a:cubicBezTo>
                    <a:pt x="74336" y="2522"/>
                    <a:pt x="78749" y="0"/>
                    <a:pt x="83793" y="0"/>
                  </a:cubicBezTo>
                  <a:lnTo>
                    <a:pt x="246442" y="0"/>
                  </a:lnTo>
                  <a:cubicBezTo>
                    <a:pt x="255898" y="0"/>
                    <a:pt x="262833" y="7565"/>
                    <a:pt x="262833" y="16391"/>
                  </a:cubicBezTo>
                  <a:cubicBezTo>
                    <a:pt x="262833" y="25847"/>
                    <a:pt x="255267" y="32782"/>
                    <a:pt x="246442" y="32782"/>
                  </a:cubicBezTo>
                  <a:lnTo>
                    <a:pt x="91357" y="32782"/>
                  </a:lnTo>
                  <a:lnTo>
                    <a:pt x="29576" y="100237"/>
                  </a:lnTo>
                  <a:cubicBezTo>
                    <a:pt x="25794" y="104650"/>
                    <a:pt x="21381" y="106541"/>
                    <a:pt x="16968" y="106541"/>
                  </a:cubicBezTo>
                  <a:lnTo>
                    <a:pt x="16968" y="10654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83" name="Forma Livre: Forma 282">
              <a:extLst>
                <a:ext uri="{FF2B5EF4-FFF2-40B4-BE49-F238E27FC236}">
                  <a16:creationId xmlns:a16="http://schemas.microsoft.com/office/drawing/2014/main" id="{B82DD8A2-B934-4976-A333-3554264FEEE9}"/>
                </a:ext>
              </a:extLst>
            </p:cNvPr>
            <p:cNvSpPr/>
            <p:nvPr/>
          </p:nvSpPr>
          <p:spPr>
            <a:xfrm>
              <a:off x="9680581" y="2792370"/>
              <a:ext cx="199256" cy="76281"/>
            </a:xfrm>
            <a:custGeom>
              <a:avLst/>
              <a:gdLst>
                <a:gd name="connsiteX0" fmla="*/ 140585 w 199256"/>
                <a:gd name="connsiteY0" fmla="*/ 76281 h 76281"/>
                <a:gd name="connsiteX1" fmla="*/ 59890 w 199256"/>
                <a:gd name="connsiteY1" fmla="*/ 76281 h 76281"/>
                <a:gd name="connsiteX2" fmla="*/ 0 w 199256"/>
                <a:gd name="connsiteY2" fmla="*/ 16391 h 76281"/>
                <a:gd name="connsiteX3" fmla="*/ 16391 w 199256"/>
                <a:gd name="connsiteY3" fmla="*/ 0 h 76281"/>
                <a:gd name="connsiteX4" fmla="*/ 32782 w 199256"/>
                <a:gd name="connsiteY4" fmla="*/ 16391 h 76281"/>
                <a:gd name="connsiteX5" fmla="*/ 59260 w 199256"/>
                <a:gd name="connsiteY5" fmla="*/ 42869 h 76281"/>
                <a:gd name="connsiteX6" fmla="*/ 139954 w 199256"/>
                <a:gd name="connsiteY6" fmla="*/ 42869 h 76281"/>
                <a:gd name="connsiteX7" fmla="*/ 166432 w 199256"/>
                <a:gd name="connsiteY7" fmla="*/ 16391 h 76281"/>
                <a:gd name="connsiteX8" fmla="*/ 182823 w 199256"/>
                <a:gd name="connsiteY8" fmla="*/ 0 h 76281"/>
                <a:gd name="connsiteX9" fmla="*/ 199213 w 199256"/>
                <a:gd name="connsiteY9" fmla="*/ 16391 h 76281"/>
                <a:gd name="connsiteX10" fmla="*/ 140585 w 199256"/>
                <a:gd name="connsiteY10" fmla="*/ 76281 h 76281"/>
                <a:gd name="connsiteX11" fmla="*/ 140585 w 199256"/>
                <a:gd name="connsiteY11" fmla="*/ 76281 h 76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9256" h="76281">
                  <a:moveTo>
                    <a:pt x="140585" y="76281"/>
                  </a:moveTo>
                  <a:lnTo>
                    <a:pt x="59890" y="76281"/>
                  </a:lnTo>
                  <a:cubicBezTo>
                    <a:pt x="27108" y="76281"/>
                    <a:pt x="0" y="49173"/>
                    <a:pt x="0" y="16391"/>
                  </a:cubicBezTo>
                  <a:cubicBezTo>
                    <a:pt x="0" y="6935"/>
                    <a:pt x="7566" y="0"/>
                    <a:pt x="16391" y="0"/>
                  </a:cubicBezTo>
                  <a:cubicBezTo>
                    <a:pt x="25217" y="0"/>
                    <a:pt x="32782" y="7565"/>
                    <a:pt x="32782" y="16391"/>
                  </a:cubicBezTo>
                  <a:cubicBezTo>
                    <a:pt x="32782" y="30891"/>
                    <a:pt x="44760" y="42869"/>
                    <a:pt x="59260" y="42869"/>
                  </a:cubicBezTo>
                  <a:lnTo>
                    <a:pt x="139954" y="42869"/>
                  </a:lnTo>
                  <a:cubicBezTo>
                    <a:pt x="154454" y="42869"/>
                    <a:pt x="166432" y="30891"/>
                    <a:pt x="166432" y="16391"/>
                  </a:cubicBezTo>
                  <a:cubicBezTo>
                    <a:pt x="166432" y="6935"/>
                    <a:pt x="173996" y="0"/>
                    <a:pt x="182823" y="0"/>
                  </a:cubicBezTo>
                  <a:cubicBezTo>
                    <a:pt x="192279" y="0"/>
                    <a:pt x="199213" y="7565"/>
                    <a:pt x="199213" y="16391"/>
                  </a:cubicBezTo>
                  <a:cubicBezTo>
                    <a:pt x="200475" y="49173"/>
                    <a:pt x="173996" y="76281"/>
                    <a:pt x="140585" y="76281"/>
                  </a:cubicBezTo>
                  <a:lnTo>
                    <a:pt x="140585" y="7628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84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10525032" y="2619635"/>
            <a:ext cx="351775" cy="368166"/>
            <a:chOff x="10525032" y="2619635"/>
            <a:chExt cx="351775" cy="368166"/>
          </a:xfrm>
          <a:solidFill>
            <a:srgbClr val="B1B1A1"/>
          </a:solidFill>
        </p:grpSpPr>
        <p:sp>
          <p:nvSpPr>
            <p:cNvPr id="285" name="Forma Livre: Forma 284">
              <a:extLst>
                <a:ext uri="{FF2B5EF4-FFF2-40B4-BE49-F238E27FC236}">
                  <a16:creationId xmlns:a16="http://schemas.microsoft.com/office/drawing/2014/main" id="{B7814393-26A4-4E57-871E-A77D00355448}"/>
                </a:ext>
              </a:extLst>
            </p:cNvPr>
            <p:cNvSpPr/>
            <p:nvPr/>
          </p:nvSpPr>
          <p:spPr>
            <a:xfrm>
              <a:off x="10525032" y="2619635"/>
              <a:ext cx="154138" cy="153192"/>
            </a:xfrm>
            <a:custGeom>
              <a:avLst/>
              <a:gdLst>
                <a:gd name="connsiteX0" fmla="*/ 86683 w 154138"/>
                <a:gd name="connsiteY0" fmla="*/ 153193 h 153192"/>
                <a:gd name="connsiteX1" fmla="*/ 38771 w 154138"/>
                <a:gd name="connsiteY1" fmla="*/ 133649 h 153192"/>
                <a:gd name="connsiteX2" fmla="*/ 19858 w 154138"/>
                <a:gd name="connsiteY2" fmla="*/ 114737 h 153192"/>
                <a:gd name="connsiteX3" fmla="*/ 19858 w 154138"/>
                <a:gd name="connsiteY3" fmla="*/ 19543 h 153192"/>
                <a:gd name="connsiteX4" fmla="*/ 67771 w 154138"/>
                <a:gd name="connsiteY4" fmla="*/ 0 h 153192"/>
                <a:gd name="connsiteX5" fmla="*/ 67771 w 154138"/>
                <a:gd name="connsiteY5" fmla="*/ 0 h 153192"/>
                <a:gd name="connsiteX6" fmla="*/ 115683 w 154138"/>
                <a:gd name="connsiteY6" fmla="*/ 19543 h 153192"/>
                <a:gd name="connsiteX7" fmla="*/ 134595 w 154138"/>
                <a:gd name="connsiteY7" fmla="*/ 38456 h 153192"/>
                <a:gd name="connsiteX8" fmla="*/ 154138 w 154138"/>
                <a:gd name="connsiteY8" fmla="*/ 86368 h 153192"/>
                <a:gd name="connsiteX9" fmla="*/ 134595 w 154138"/>
                <a:gd name="connsiteY9" fmla="*/ 134280 h 153192"/>
                <a:gd name="connsiteX10" fmla="*/ 86683 w 154138"/>
                <a:gd name="connsiteY10" fmla="*/ 153193 h 153192"/>
                <a:gd name="connsiteX11" fmla="*/ 86683 w 154138"/>
                <a:gd name="connsiteY11" fmla="*/ 153193 h 153192"/>
                <a:gd name="connsiteX12" fmla="*/ 67771 w 154138"/>
                <a:gd name="connsiteY12" fmla="*/ 33412 h 153192"/>
                <a:gd name="connsiteX13" fmla="*/ 43814 w 154138"/>
                <a:gd name="connsiteY13" fmla="*/ 43499 h 153192"/>
                <a:gd name="connsiteX14" fmla="*/ 43814 w 154138"/>
                <a:gd name="connsiteY14" fmla="*/ 91411 h 153192"/>
                <a:gd name="connsiteX15" fmla="*/ 62727 w 154138"/>
                <a:gd name="connsiteY15" fmla="*/ 110324 h 153192"/>
                <a:gd name="connsiteX16" fmla="*/ 110639 w 154138"/>
                <a:gd name="connsiteY16" fmla="*/ 110324 h 153192"/>
                <a:gd name="connsiteX17" fmla="*/ 120726 w 154138"/>
                <a:gd name="connsiteY17" fmla="*/ 86368 h 153192"/>
                <a:gd name="connsiteX18" fmla="*/ 110639 w 154138"/>
                <a:gd name="connsiteY18" fmla="*/ 62412 h 153192"/>
                <a:gd name="connsiteX19" fmla="*/ 91726 w 154138"/>
                <a:gd name="connsiteY19" fmla="*/ 43499 h 153192"/>
                <a:gd name="connsiteX20" fmla="*/ 67771 w 154138"/>
                <a:gd name="connsiteY20" fmla="*/ 33412 h 153192"/>
                <a:gd name="connsiteX21" fmla="*/ 67771 w 154138"/>
                <a:gd name="connsiteY21" fmla="*/ 33412 h 153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54138" h="153192">
                  <a:moveTo>
                    <a:pt x="86683" y="153193"/>
                  </a:moveTo>
                  <a:cubicBezTo>
                    <a:pt x="68401" y="153193"/>
                    <a:pt x="52010" y="146258"/>
                    <a:pt x="38771" y="133649"/>
                  </a:cubicBezTo>
                  <a:lnTo>
                    <a:pt x="19858" y="114737"/>
                  </a:lnTo>
                  <a:cubicBezTo>
                    <a:pt x="-6619" y="88259"/>
                    <a:pt x="-6619" y="46021"/>
                    <a:pt x="19858" y="19543"/>
                  </a:cubicBezTo>
                  <a:cubicBezTo>
                    <a:pt x="32467" y="6934"/>
                    <a:pt x="49488" y="0"/>
                    <a:pt x="67771" y="0"/>
                  </a:cubicBezTo>
                  <a:lnTo>
                    <a:pt x="67771" y="0"/>
                  </a:lnTo>
                  <a:cubicBezTo>
                    <a:pt x="86052" y="0"/>
                    <a:pt x="102444" y="6934"/>
                    <a:pt x="115683" y="19543"/>
                  </a:cubicBezTo>
                  <a:lnTo>
                    <a:pt x="134595" y="38456"/>
                  </a:lnTo>
                  <a:cubicBezTo>
                    <a:pt x="147204" y="51064"/>
                    <a:pt x="154138" y="68086"/>
                    <a:pt x="154138" y="86368"/>
                  </a:cubicBezTo>
                  <a:cubicBezTo>
                    <a:pt x="154138" y="104650"/>
                    <a:pt x="147204" y="121041"/>
                    <a:pt x="134595" y="134280"/>
                  </a:cubicBezTo>
                  <a:cubicBezTo>
                    <a:pt x="121357" y="146258"/>
                    <a:pt x="104335" y="153193"/>
                    <a:pt x="86683" y="153193"/>
                  </a:cubicBezTo>
                  <a:lnTo>
                    <a:pt x="86683" y="153193"/>
                  </a:lnTo>
                  <a:close/>
                  <a:moveTo>
                    <a:pt x="67771" y="33412"/>
                  </a:moveTo>
                  <a:cubicBezTo>
                    <a:pt x="58945" y="33412"/>
                    <a:pt x="50119" y="37195"/>
                    <a:pt x="43814" y="43499"/>
                  </a:cubicBezTo>
                  <a:cubicBezTo>
                    <a:pt x="30576" y="56738"/>
                    <a:pt x="30576" y="78172"/>
                    <a:pt x="43814" y="91411"/>
                  </a:cubicBezTo>
                  <a:lnTo>
                    <a:pt x="62727" y="110324"/>
                  </a:lnTo>
                  <a:cubicBezTo>
                    <a:pt x="75336" y="122932"/>
                    <a:pt x="98031" y="122932"/>
                    <a:pt x="110639" y="110324"/>
                  </a:cubicBezTo>
                  <a:cubicBezTo>
                    <a:pt x="116943" y="104020"/>
                    <a:pt x="120726" y="95194"/>
                    <a:pt x="120726" y="86368"/>
                  </a:cubicBezTo>
                  <a:cubicBezTo>
                    <a:pt x="120726" y="77542"/>
                    <a:pt x="116943" y="68716"/>
                    <a:pt x="110639" y="62412"/>
                  </a:cubicBezTo>
                  <a:lnTo>
                    <a:pt x="91726" y="43499"/>
                  </a:lnTo>
                  <a:cubicBezTo>
                    <a:pt x="85422" y="36564"/>
                    <a:pt x="77227" y="33412"/>
                    <a:pt x="67771" y="33412"/>
                  </a:cubicBezTo>
                  <a:lnTo>
                    <a:pt x="67771" y="33412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86" name="Forma Livre: Forma 285">
              <a:extLst>
                <a:ext uri="{FF2B5EF4-FFF2-40B4-BE49-F238E27FC236}">
                  <a16:creationId xmlns:a16="http://schemas.microsoft.com/office/drawing/2014/main" id="{5A4E5C28-40FB-486A-9CF4-971E6C77A68B}"/>
                </a:ext>
              </a:extLst>
            </p:cNvPr>
            <p:cNvSpPr/>
            <p:nvPr/>
          </p:nvSpPr>
          <p:spPr>
            <a:xfrm>
              <a:off x="10710061" y="2824207"/>
              <a:ext cx="163594" cy="163594"/>
            </a:xfrm>
            <a:custGeom>
              <a:avLst/>
              <a:gdLst>
                <a:gd name="connsiteX0" fmla="*/ 116628 w 163594"/>
                <a:gd name="connsiteY0" fmla="*/ 163595 h 163594"/>
                <a:gd name="connsiteX1" fmla="*/ 74389 w 163594"/>
                <a:gd name="connsiteY1" fmla="*/ 145943 h 163594"/>
                <a:gd name="connsiteX2" fmla="*/ 17651 w 163594"/>
                <a:gd name="connsiteY2" fmla="*/ 89205 h 163594"/>
                <a:gd name="connsiteX3" fmla="*/ 0 w 163594"/>
                <a:gd name="connsiteY3" fmla="*/ 46967 h 163594"/>
                <a:gd name="connsiteX4" fmla="*/ 17651 w 163594"/>
                <a:gd name="connsiteY4" fmla="*/ 4728 h 163594"/>
                <a:gd name="connsiteX5" fmla="*/ 40977 w 163594"/>
                <a:gd name="connsiteY5" fmla="*/ 4728 h 163594"/>
                <a:gd name="connsiteX6" fmla="*/ 40977 w 163594"/>
                <a:gd name="connsiteY6" fmla="*/ 28054 h 163594"/>
                <a:gd name="connsiteX7" fmla="*/ 33412 w 163594"/>
                <a:gd name="connsiteY7" fmla="*/ 46967 h 163594"/>
                <a:gd name="connsiteX8" fmla="*/ 40977 w 163594"/>
                <a:gd name="connsiteY8" fmla="*/ 65879 h 163594"/>
                <a:gd name="connsiteX9" fmla="*/ 97715 w 163594"/>
                <a:gd name="connsiteY9" fmla="*/ 122617 h 163594"/>
                <a:gd name="connsiteX10" fmla="*/ 116628 w 163594"/>
                <a:gd name="connsiteY10" fmla="*/ 130182 h 163594"/>
                <a:gd name="connsiteX11" fmla="*/ 116628 w 163594"/>
                <a:gd name="connsiteY11" fmla="*/ 130182 h 163594"/>
                <a:gd name="connsiteX12" fmla="*/ 135541 w 163594"/>
                <a:gd name="connsiteY12" fmla="*/ 122617 h 163594"/>
                <a:gd name="connsiteX13" fmla="*/ 158866 w 163594"/>
                <a:gd name="connsiteY13" fmla="*/ 122617 h 163594"/>
                <a:gd name="connsiteX14" fmla="*/ 158866 w 163594"/>
                <a:gd name="connsiteY14" fmla="*/ 145943 h 163594"/>
                <a:gd name="connsiteX15" fmla="*/ 116628 w 163594"/>
                <a:gd name="connsiteY15" fmla="*/ 163595 h 163594"/>
                <a:gd name="connsiteX16" fmla="*/ 116628 w 163594"/>
                <a:gd name="connsiteY16" fmla="*/ 163595 h 163594"/>
                <a:gd name="connsiteX17" fmla="*/ 116628 w 163594"/>
                <a:gd name="connsiteY17" fmla="*/ 163595 h 16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3594" h="163594">
                  <a:moveTo>
                    <a:pt x="116628" y="163595"/>
                  </a:moveTo>
                  <a:cubicBezTo>
                    <a:pt x="100868" y="163595"/>
                    <a:pt x="85737" y="157291"/>
                    <a:pt x="74389" y="145943"/>
                  </a:cubicBezTo>
                  <a:lnTo>
                    <a:pt x="17651" y="89205"/>
                  </a:lnTo>
                  <a:cubicBezTo>
                    <a:pt x="6304" y="77857"/>
                    <a:pt x="0" y="62727"/>
                    <a:pt x="0" y="46967"/>
                  </a:cubicBezTo>
                  <a:cubicBezTo>
                    <a:pt x="0" y="31206"/>
                    <a:pt x="6304" y="16076"/>
                    <a:pt x="17651" y="4728"/>
                  </a:cubicBezTo>
                  <a:cubicBezTo>
                    <a:pt x="23956" y="-1576"/>
                    <a:pt x="34673" y="-1576"/>
                    <a:pt x="40977" y="4728"/>
                  </a:cubicBezTo>
                  <a:cubicBezTo>
                    <a:pt x="47282" y="11032"/>
                    <a:pt x="47282" y="21750"/>
                    <a:pt x="40977" y="28054"/>
                  </a:cubicBezTo>
                  <a:cubicBezTo>
                    <a:pt x="35934" y="33097"/>
                    <a:pt x="33412" y="39401"/>
                    <a:pt x="33412" y="46967"/>
                  </a:cubicBezTo>
                  <a:cubicBezTo>
                    <a:pt x="33412" y="53901"/>
                    <a:pt x="35934" y="60836"/>
                    <a:pt x="40977" y="65879"/>
                  </a:cubicBezTo>
                  <a:lnTo>
                    <a:pt x="97715" y="122617"/>
                  </a:lnTo>
                  <a:cubicBezTo>
                    <a:pt x="102758" y="127661"/>
                    <a:pt x="109063" y="130182"/>
                    <a:pt x="116628" y="130182"/>
                  </a:cubicBezTo>
                  <a:lnTo>
                    <a:pt x="116628" y="130182"/>
                  </a:lnTo>
                  <a:cubicBezTo>
                    <a:pt x="123563" y="130182"/>
                    <a:pt x="130497" y="127661"/>
                    <a:pt x="135541" y="122617"/>
                  </a:cubicBezTo>
                  <a:cubicBezTo>
                    <a:pt x="141845" y="116313"/>
                    <a:pt x="152562" y="116313"/>
                    <a:pt x="158866" y="122617"/>
                  </a:cubicBezTo>
                  <a:cubicBezTo>
                    <a:pt x="165170" y="128921"/>
                    <a:pt x="165170" y="139639"/>
                    <a:pt x="158866" y="145943"/>
                  </a:cubicBezTo>
                  <a:cubicBezTo>
                    <a:pt x="147519" y="157291"/>
                    <a:pt x="133019" y="163595"/>
                    <a:pt x="116628" y="163595"/>
                  </a:cubicBezTo>
                  <a:lnTo>
                    <a:pt x="116628" y="163595"/>
                  </a:lnTo>
                  <a:lnTo>
                    <a:pt x="116628" y="163595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87" name="Forma Livre: Forma 286">
              <a:extLst>
                <a:ext uri="{FF2B5EF4-FFF2-40B4-BE49-F238E27FC236}">
                  <a16:creationId xmlns:a16="http://schemas.microsoft.com/office/drawing/2014/main" id="{41125996-C4F0-4764-A7FA-405BB5FFB50A}"/>
                </a:ext>
              </a:extLst>
            </p:cNvPr>
            <p:cNvSpPr/>
            <p:nvPr/>
          </p:nvSpPr>
          <p:spPr>
            <a:xfrm>
              <a:off x="10637247" y="2731535"/>
              <a:ext cx="239560" cy="239875"/>
            </a:xfrm>
            <a:custGeom>
              <a:avLst/>
              <a:gdLst>
                <a:gd name="connsiteX0" fmla="*/ 223485 w 239560"/>
                <a:gd name="connsiteY0" fmla="*/ 239876 h 239875"/>
                <a:gd name="connsiteX1" fmla="*/ 211507 w 239560"/>
                <a:gd name="connsiteY1" fmla="*/ 234832 h 239875"/>
                <a:gd name="connsiteX2" fmla="*/ 4728 w 239560"/>
                <a:gd name="connsiteY2" fmla="*/ 28054 h 239875"/>
                <a:gd name="connsiteX3" fmla="*/ 4728 w 239560"/>
                <a:gd name="connsiteY3" fmla="*/ 4728 h 239875"/>
                <a:gd name="connsiteX4" fmla="*/ 28054 w 239560"/>
                <a:gd name="connsiteY4" fmla="*/ 4728 h 239875"/>
                <a:gd name="connsiteX5" fmla="*/ 234832 w 239560"/>
                <a:gd name="connsiteY5" fmla="*/ 211507 h 239875"/>
                <a:gd name="connsiteX6" fmla="*/ 234832 w 239560"/>
                <a:gd name="connsiteY6" fmla="*/ 234832 h 239875"/>
                <a:gd name="connsiteX7" fmla="*/ 223485 w 239560"/>
                <a:gd name="connsiteY7" fmla="*/ 239876 h 239875"/>
                <a:gd name="connsiteX8" fmla="*/ 223485 w 239560"/>
                <a:gd name="connsiteY8" fmla="*/ 239876 h 239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9560" h="239875">
                  <a:moveTo>
                    <a:pt x="223485" y="239876"/>
                  </a:moveTo>
                  <a:cubicBezTo>
                    <a:pt x="219072" y="239876"/>
                    <a:pt x="214659" y="237985"/>
                    <a:pt x="211507" y="234832"/>
                  </a:cubicBezTo>
                  <a:lnTo>
                    <a:pt x="4728" y="28054"/>
                  </a:lnTo>
                  <a:cubicBezTo>
                    <a:pt x="-1576" y="21749"/>
                    <a:pt x="-1576" y="11032"/>
                    <a:pt x="4728" y="4728"/>
                  </a:cubicBezTo>
                  <a:cubicBezTo>
                    <a:pt x="11032" y="-1576"/>
                    <a:pt x="21750" y="-1576"/>
                    <a:pt x="28054" y="4728"/>
                  </a:cubicBezTo>
                  <a:lnTo>
                    <a:pt x="234832" y="211507"/>
                  </a:lnTo>
                  <a:cubicBezTo>
                    <a:pt x="241137" y="217811"/>
                    <a:pt x="241137" y="228528"/>
                    <a:pt x="234832" y="234832"/>
                  </a:cubicBezTo>
                  <a:cubicBezTo>
                    <a:pt x="232311" y="238615"/>
                    <a:pt x="227898" y="239876"/>
                    <a:pt x="223485" y="239876"/>
                  </a:cubicBezTo>
                  <a:lnTo>
                    <a:pt x="223485" y="239876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88" name="Forma Livre: Forma 287">
              <a:extLst>
                <a:ext uri="{FF2B5EF4-FFF2-40B4-BE49-F238E27FC236}">
                  <a16:creationId xmlns:a16="http://schemas.microsoft.com/office/drawing/2014/main" id="{1F3540FF-52D0-4A4C-98DE-4EAEC2CBF86D}"/>
                </a:ext>
              </a:extLst>
            </p:cNvPr>
            <p:cNvSpPr/>
            <p:nvPr/>
          </p:nvSpPr>
          <p:spPr>
            <a:xfrm>
              <a:off x="10525347" y="2834609"/>
              <a:ext cx="153192" cy="153192"/>
            </a:xfrm>
            <a:custGeom>
              <a:avLst/>
              <a:gdLst>
                <a:gd name="connsiteX0" fmla="*/ 67456 w 153192"/>
                <a:gd name="connsiteY0" fmla="*/ 153193 h 153192"/>
                <a:gd name="connsiteX1" fmla="*/ 67456 w 153192"/>
                <a:gd name="connsiteY1" fmla="*/ 153193 h 153192"/>
                <a:gd name="connsiteX2" fmla="*/ 19543 w 153192"/>
                <a:gd name="connsiteY2" fmla="*/ 133650 h 153192"/>
                <a:gd name="connsiteX3" fmla="*/ 0 w 153192"/>
                <a:gd name="connsiteY3" fmla="*/ 85738 h 153192"/>
                <a:gd name="connsiteX4" fmla="*/ 19543 w 153192"/>
                <a:gd name="connsiteY4" fmla="*/ 37825 h 153192"/>
                <a:gd name="connsiteX5" fmla="*/ 37825 w 153192"/>
                <a:gd name="connsiteY5" fmla="*/ 19543 h 153192"/>
                <a:gd name="connsiteX6" fmla="*/ 85737 w 153192"/>
                <a:gd name="connsiteY6" fmla="*/ 0 h 153192"/>
                <a:gd name="connsiteX7" fmla="*/ 133650 w 153192"/>
                <a:gd name="connsiteY7" fmla="*/ 19543 h 153192"/>
                <a:gd name="connsiteX8" fmla="*/ 153193 w 153192"/>
                <a:gd name="connsiteY8" fmla="*/ 67455 h 153192"/>
                <a:gd name="connsiteX9" fmla="*/ 133650 w 153192"/>
                <a:gd name="connsiteY9" fmla="*/ 115367 h 153192"/>
                <a:gd name="connsiteX10" fmla="*/ 115368 w 153192"/>
                <a:gd name="connsiteY10" fmla="*/ 133650 h 153192"/>
                <a:gd name="connsiteX11" fmla="*/ 67456 w 153192"/>
                <a:gd name="connsiteY11" fmla="*/ 153193 h 153192"/>
                <a:gd name="connsiteX12" fmla="*/ 67456 w 153192"/>
                <a:gd name="connsiteY12" fmla="*/ 153193 h 153192"/>
                <a:gd name="connsiteX13" fmla="*/ 86368 w 153192"/>
                <a:gd name="connsiteY13" fmla="*/ 33413 h 153192"/>
                <a:gd name="connsiteX14" fmla="*/ 62412 w 153192"/>
                <a:gd name="connsiteY14" fmla="*/ 43499 h 153192"/>
                <a:gd name="connsiteX15" fmla="*/ 44130 w 153192"/>
                <a:gd name="connsiteY15" fmla="*/ 61782 h 153192"/>
                <a:gd name="connsiteX16" fmla="*/ 34043 w 153192"/>
                <a:gd name="connsiteY16" fmla="*/ 85738 h 153192"/>
                <a:gd name="connsiteX17" fmla="*/ 44130 w 153192"/>
                <a:gd name="connsiteY17" fmla="*/ 109694 h 153192"/>
                <a:gd name="connsiteX18" fmla="*/ 68086 w 153192"/>
                <a:gd name="connsiteY18" fmla="*/ 119780 h 153192"/>
                <a:gd name="connsiteX19" fmla="*/ 68086 w 153192"/>
                <a:gd name="connsiteY19" fmla="*/ 119780 h 153192"/>
                <a:gd name="connsiteX20" fmla="*/ 92042 w 153192"/>
                <a:gd name="connsiteY20" fmla="*/ 109694 h 153192"/>
                <a:gd name="connsiteX21" fmla="*/ 110324 w 153192"/>
                <a:gd name="connsiteY21" fmla="*/ 91411 h 153192"/>
                <a:gd name="connsiteX22" fmla="*/ 120411 w 153192"/>
                <a:gd name="connsiteY22" fmla="*/ 67455 h 153192"/>
                <a:gd name="connsiteX23" fmla="*/ 110324 w 153192"/>
                <a:gd name="connsiteY23" fmla="*/ 43499 h 153192"/>
                <a:gd name="connsiteX24" fmla="*/ 86368 w 153192"/>
                <a:gd name="connsiteY24" fmla="*/ 33413 h 153192"/>
                <a:gd name="connsiteX25" fmla="*/ 86368 w 153192"/>
                <a:gd name="connsiteY25" fmla="*/ 33413 h 153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3192" h="153192">
                  <a:moveTo>
                    <a:pt x="67456" y="153193"/>
                  </a:moveTo>
                  <a:cubicBezTo>
                    <a:pt x="67456" y="153193"/>
                    <a:pt x="67456" y="153193"/>
                    <a:pt x="67456" y="153193"/>
                  </a:cubicBezTo>
                  <a:cubicBezTo>
                    <a:pt x="49173" y="153193"/>
                    <a:pt x="32782" y="146258"/>
                    <a:pt x="19543" y="133650"/>
                  </a:cubicBezTo>
                  <a:cubicBezTo>
                    <a:pt x="6934" y="121041"/>
                    <a:pt x="0" y="104020"/>
                    <a:pt x="0" y="85738"/>
                  </a:cubicBezTo>
                  <a:cubicBezTo>
                    <a:pt x="0" y="67455"/>
                    <a:pt x="6934" y="51064"/>
                    <a:pt x="19543" y="37825"/>
                  </a:cubicBezTo>
                  <a:lnTo>
                    <a:pt x="37825" y="19543"/>
                  </a:lnTo>
                  <a:cubicBezTo>
                    <a:pt x="50434" y="6935"/>
                    <a:pt x="67456" y="0"/>
                    <a:pt x="85737" y="0"/>
                  </a:cubicBezTo>
                  <a:cubicBezTo>
                    <a:pt x="104020" y="0"/>
                    <a:pt x="120411" y="6935"/>
                    <a:pt x="133650" y="19543"/>
                  </a:cubicBezTo>
                  <a:cubicBezTo>
                    <a:pt x="146258" y="32152"/>
                    <a:pt x="153193" y="49173"/>
                    <a:pt x="153193" y="67455"/>
                  </a:cubicBezTo>
                  <a:cubicBezTo>
                    <a:pt x="153193" y="85738"/>
                    <a:pt x="146258" y="102129"/>
                    <a:pt x="133650" y="115367"/>
                  </a:cubicBezTo>
                  <a:lnTo>
                    <a:pt x="115368" y="133650"/>
                  </a:lnTo>
                  <a:cubicBezTo>
                    <a:pt x="102129" y="146258"/>
                    <a:pt x="85737" y="153193"/>
                    <a:pt x="67456" y="153193"/>
                  </a:cubicBezTo>
                  <a:lnTo>
                    <a:pt x="67456" y="153193"/>
                  </a:lnTo>
                  <a:close/>
                  <a:moveTo>
                    <a:pt x="86368" y="33413"/>
                  </a:moveTo>
                  <a:cubicBezTo>
                    <a:pt x="77542" y="33413"/>
                    <a:pt x="68716" y="37195"/>
                    <a:pt x="62412" y="43499"/>
                  </a:cubicBezTo>
                  <a:lnTo>
                    <a:pt x="44130" y="61782"/>
                  </a:lnTo>
                  <a:cubicBezTo>
                    <a:pt x="37825" y="68086"/>
                    <a:pt x="34043" y="76912"/>
                    <a:pt x="34043" y="85738"/>
                  </a:cubicBezTo>
                  <a:cubicBezTo>
                    <a:pt x="34043" y="94563"/>
                    <a:pt x="37825" y="103389"/>
                    <a:pt x="44130" y="109694"/>
                  </a:cubicBezTo>
                  <a:cubicBezTo>
                    <a:pt x="50434" y="115998"/>
                    <a:pt x="59260" y="119780"/>
                    <a:pt x="68086" y="119780"/>
                  </a:cubicBezTo>
                  <a:lnTo>
                    <a:pt x="68086" y="119780"/>
                  </a:lnTo>
                  <a:cubicBezTo>
                    <a:pt x="76912" y="119780"/>
                    <a:pt x="85737" y="115998"/>
                    <a:pt x="92042" y="109694"/>
                  </a:cubicBezTo>
                  <a:lnTo>
                    <a:pt x="110324" y="91411"/>
                  </a:lnTo>
                  <a:cubicBezTo>
                    <a:pt x="116628" y="85107"/>
                    <a:pt x="120411" y="76281"/>
                    <a:pt x="120411" y="67455"/>
                  </a:cubicBezTo>
                  <a:cubicBezTo>
                    <a:pt x="120411" y="58629"/>
                    <a:pt x="116628" y="49804"/>
                    <a:pt x="110324" y="43499"/>
                  </a:cubicBezTo>
                  <a:cubicBezTo>
                    <a:pt x="104020" y="36565"/>
                    <a:pt x="95194" y="33413"/>
                    <a:pt x="86368" y="33413"/>
                  </a:cubicBezTo>
                  <a:lnTo>
                    <a:pt x="86368" y="33413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89" name="Forma Livre: Forma 288">
              <a:extLst>
                <a:ext uri="{FF2B5EF4-FFF2-40B4-BE49-F238E27FC236}">
                  <a16:creationId xmlns:a16="http://schemas.microsoft.com/office/drawing/2014/main" id="{47A57828-867B-4914-B41A-5489D570F486}"/>
                </a:ext>
              </a:extLst>
            </p:cNvPr>
            <p:cNvSpPr/>
            <p:nvPr/>
          </p:nvSpPr>
          <p:spPr>
            <a:xfrm>
              <a:off x="10710061" y="2619792"/>
              <a:ext cx="163594" cy="163752"/>
            </a:xfrm>
            <a:custGeom>
              <a:avLst/>
              <a:gdLst>
                <a:gd name="connsiteX0" fmla="*/ 29630 w 163594"/>
                <a:gd name="connsiteY0" fmla="*/ 163752 h 163752"/>
                <a:gd name="connsiteX1" fmla="*/ 17651 w 163594"/>
                <a:gd name="connsiteY1" fmla="*/ 158709 h 163752"/>
                <a:gd name="connsiteX2" fmla="*/ 0 w 163594"/>
                <a:gd name="connsiteY2" fmla="*/ 116471 h 163752"/>
                <a:gd name="connsiteX3" fmla="*/ 17651 w 163594"/>
                <a:gd name="connsiteY3" fmla="*/ 74232 h 163752"/>
                <a:gd name="connsiteX4" fmla="*/ 74389 w 163594"/>
                <a:gd name="connsiteY4" fmla="*/ 17494 h 163752"/>
                <a:gd name="connsiteX5" fmla="*/ 158866 w 163594"/>
                <a:gd name="connsiteY5" fmla="*/ 17494 h 163752"/>
                <a:gd name="connsiteX6" fmla="*/ 158866 w 163594"/>
                <a:gd name="connsiteY6" fmla="*/ 40820 h 163752"/>
                <a:gd name="connsiteX7" fmla="*/ 135541 w 163594"/>
                <a:gd name="connsiteY7" fmla="*/ 40820 h 163752"/>
                <a:gd name="connsiteX8" fmla="*/ 98346 w 163594"/>
                <a:gd name="connsiteY8" fmla="*/ 40820 h 163752"/>
                <a:gd name="connsiteX9" fmla="*/ 41608 w 163594"/>
                <a:gd name="connsiteY9" fmla="*/ 97558 h 163752"/>
                <a:gd name="connsiteX10" fmla="*/ 41608 w 163594"/>
                <a:gd name="connsiteY10" fmla="*/ 134753 h 163752"/>
                <a:gd name="connsiteX11" fmla="*/ 41608 w 163594"/>
                <a:gd name="connsiteY11" fmla="*/ 158078 h 163752"/>
                <a:gd name="connsiteX12" fmla="*/ 29630 w 163594"/>
                <a:gd name="connsiteY12" fmla="*/ 163752 h 163752"/>
                <a:gd name="connsiteX13" fmla="*/ 29630 w 163594"/>
                <a:gd name="connsiteY13" fmla="*/ 163752 h 163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3594" h="163752">
                  <a:moveTo>
                    <a:pt x="29630" y="163752"/>
                  </a:moveTo>
                  <a:cubicBezTo>
                    <a:pt x="25217" y="163752"/>
                    <a:pt x="20803" y="161861"/>
                    <a:pt x="17651" y="158709"/>
                  </a:cubicBezTo>
                  <a:cubicBezTo>
                    <a:pt x="6304" y="147361"/>
                    <a:pt x="0" y="132231"/>
                    <a:pt x="0" y="116471"/>
                  </a:cubicBezTo>
                  <a:cubicBezTo>
                    <a:pt x="0" y="100710"/>
                    <a:pt x="6304" y="85580"/>
                    <a:pt x="17651" y="74232"/>
                  </a:cubicBezTo>
                  <a:lnTo>
                    <a:pt x="74389" y="17494"/>
                  </a:lnTo>
                  <a:cubicBezTo>
                    <a:pt x="97715" y="-5831"/>
                    <a:pt x="135541" y="-5831"/>
                    <a:pt x="158866" y="17494"/>
                  </a:cubicBezTo>
                  <a:cubicBezTo>
                    <a:pt x="165170" y="23799"/>
                    <a:pt x="165170" y="34516"/>
                    <a:pt x="158866" y="40820"/>
                  </a:cubicBezTo>
                  <a:cubicBezTo>
                    <a:pt x="152562" y="47124"/>
                    <a:pt x="141845" y="47124"/>
                    <a:pt x="135541" y="40820"/>
                  </a:cubicBezTo>
                  <a:cubicBezTo>
                    <a:pt x="125454" y="30733"/>
                    <a:pt x="108432" y="30733"/>
                    <a:pt x="98346" y="40820"/>
                  </a:cubicBezTo>
                  <a:lnTo>
                    <a:pt x="41608" y="97558"/>
                  </a:lnTo>
                  <a:cubicBezTo>
                    <a:pt x="31521" y="107645"/>
                    <a:pt x="31521" y="124666"/>
                    <a:pt x="41608" y="134753"/>
                  </a:cubicBezTo>
                  <a:cubicBezTo>
                    <a:pt x="47912" y="141057"/>
                    <a:pt x="47912" y="151774"/>
                    <a:pt x="41608" y="158078"/>
                  </a:cubicBezTo>
                  <a:cubicBezTo>
                    <a:pt x="37825" y="161861"/>
                    <a:pt x="33412" y="163752"/>
                    <a:pt x="29630" y="163752"/>
                  </a:cubicBezTo>
                  <a:lnTo>
                    <a:pt x="29630" y="163752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90" name="Forma Livre: Forma 289">
              <a:extLst>
                <a:ext uri="{FF2B5EF4-FFF2-40B4-BE49-F238E27FC236}">
                  <a16:creationId xmlns:a16="http://schemas.microsoft.com/office/drawing/2014/main" id="{DE4D8A28-7B20-4691-A4A9-F4D7BCA82A84}"/>
                </a:ext>
              </a:extLst>
            </p:cNvPr>
            <p:cNvSpPr/>
            <p:nvPr/>
          </p:nvSpPr>
          <p:spPr>
            <a:xfrm>
              <a:off x="10637247" y="2635710"/>
              <a:ext cx="239560" cy="239875"/>
            </a:xfrm>
            <a:custGeom>
              <a:avLst/>
              <a:gdLst>
                <a:gd name="connsiteX0" fmla="*/ 16706 w 239560"/>
                <a:gd name="connsiteY0" fmla="*/ 239876 h 239875"/>
                <a:gd name="connsiteX1" fmla="*/ 4728 w 239560"/>
                <a:gd name="connsiteY1" fmla="*/ 234832 h 239875"/>
                <a:gd name="connsiteX2" fmla="*/ 4728 w 239560"/>
                <a:gd name="connsiteY2" fmla="*/ 211507 h 239875"/>
                <a:gd name="connsiteX3" fmla="*/ 211507 w 239560"/>
                <a:gd name="connsiteY3" fmla="*/ 4728 h 239875"/>
                <a:gd name="connsiteX4" fmla="*/ 234832 w 239560"/>
                <a:gd name="connsiteY4" fmla="*/ 4728 h 239875"/>
                <a:gd name="connsiteX5" fmla="*/ 234832 w 239560"/>
                <a:gd name="connsiteY5" fmla="*/ 28054 h 239875"/>
                <a:gd name="connsiteX6" fmla="*/ 28054 w 239560"/>
                <a:gd name="connsiteY6" fmla="*/ 234832 h 239875"/>
                <a:gd name="connsiteX7" fmla="*/ 16706 w 239560"/>
                <a:gd name="connsiteY7" fmla="*/ 239876 h 239875"/>
                <a:gd name="connsiteX8" fmla="*/ 16706 w 239560"/>
                <a:gd name="connsiteY8" fmla="*/ 239876 h 239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9560" h="239875">
                  <a:moveTo>
                    <a:pt x="16706" y="239876"/>
                  </a:moveTo>
                  <a:cubicBezTo>
                    <a:pt x="12294" y="239876"/>
                    <a:pt x="7880" y="237985"/>
                    <a:pt x="4728" y="234832"/>
                  </a:cubicBezTo>
                  <a:cubicBezTo>
                    <a:pt x="-1576" y="228528"/>
                    <a:pt x="-1576" y="217811"/>
                    <a:pt x="4728" y="211507"/>
                  </a:cubicBezTo>
                  <a:lnTo>
                    <a:pt x="211507" y="4728"/>
                  </a:lnTo>
                  <a:cubicBezTo>
                    <a:pt x="217811" y="-1576"/>
                    <a:pt x="228528" y="-1576"/>
                    <a:pt x="234832" y="4728"/>
                  </a:cubicBezTo>
                  <a:cubicBezTo>
                    <a:pt x="241137" y="11032"/>
                    <a:pt x="241137" y="21750"/>
                    <a:pt x="234832" y="28054"/>
                  </a:cubicBezTo>
                  <a:lnTo>
                    <a:pt x="28054" y="234832"/>
                  </a:lnTo>
                  <a:cubicBezTo>
                    <a:pt x="25532" y="238615"/>
                    <a:pt x="21119" y="239876"/>
                    <a:pt x="16706" y="239876"/>
                  </a:cubicBezTo>
                  <a:lnTo>
                    <a:pt x="16706" y="239876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91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7466538" y="2601352"/>
            <a:ext cx="359340" cy="404731"/>
            <a:chOff x="7466538" y="2601352"/>
            <a:chExt cx="359340" cy="404731"/>
          </a:xfrm>
          <a:solidFill>
            <a:srgbClr val="B1B1A1"/>
          </a:solidFill>
        </p:grpSpPr>
        <p:grpSp>
          <p:nvGrpSpPr>
            <p:cNvPr id="292" name="Gráfico 2">
              <a:extLst>
                <a:ext uri="{FF2B5EF4-FFF2-40B4-BE49-F238E27FC236}">
                  <a16:creationId xmlns:a16="http://schemas.microsoft.com/office/drawing/2014/main" id="{1EC2913E-D059-42A1-91F3-F6BAB2F166E6}"/>
                </a:ext>
              </a:extLst>
            </p:cNvPr>
            <p:cNvGrpSpPr/>
            <p:nvPr/>
          </p:nvGrpSpPr>
          <p:grpSpPr>
            <a:xfrm>
              <a:off x="7466538" y="2601352"/>
              <a:ext cx="129236" cy="404731"/>
              <a:chOff x="7466538" y="2601352"/>
              <a:chExt cx="129236" cy="404731"/>
            </a:xfrm>
            <a:grpFill/>
          </p:grpSpPr>
          <p:grpSp>
            <p:nvGrpSpPr>
              <p:cNvPr id="293" name="Gráfico 2">
                <a:extLst>
                  <a:ext uri="{FF2B5EF4-FFF2-40B4-BE49-F238E27FC236}">
                    <a16:creationId xmlns:a16="http://schemas.microsoft.com/office/drawing/2014/main" id="{1EC2913E-D059-42A1-91F3-F6BAB2F166E6}"/>
                  </a:ext>
                </a:extLst>
              </p:cNvPr>
              <p:cNvGrpSpPr/>
              <p:nvPr/>
            </p:nvGrpSpPr>
            <p:grpSpPr>
              <a:xfrm>
                <a:off x="7466538" y="2601352"/>
                <a:ext cx="129236" cy="218126"/>
                <a:chOff x="7466538" y="2601352"/>
                <a:chExt cx="129236" cy="218126"/>
              </a:xfrm>
              <a:grpFill/>
            </p:grpSpPr>
            <p:sp>
              <p:nvSpPr>
                <p:cNvPr id="294" name="Forma Livre: Forma 293">
                  <a:extLst>
                    <a:ext uri="{FF2B5EF4-FFF2-40B4-BE49-F238E27FC236}">
                      <a16:creationId xmlns:a16="http://schemas.microsoft.com/office/drawing/2014/main" id="{E6974FC5-BC70-4AE3-8086-4CD4CA31E9D4}"/>
                    </a:ext>
                  </a:extLst>
                </p:cNvPr>
                <p:cNvSpPr/>
                <p:nvPr/>
              </p:nvSpPr>
              <p:spPr>
                <a:xfrm>
                  <a:off x="7499950" y="2601352"/>
                  <a:ext cx="95824" cy="150040"/>
                </a:xfrm>
                <a:custGeom>
                  <a:avLst/>
                  <a:gdLst>
                    <a:gd name="connsiteX0" fmla="*/ 16391 w 95824"/>
                    <a:gd name="connsiteY0" fmla="*/ 150041 h 150040"/>
                    <a:gd name="connsiteX1" fmla="*/ 0 w 95824"/>
                    <a:gd name="connsiteY1" fmla="*/ 133650 h 150040"/>
                    <a:gd name="connsiteX2" fmla="*/ 0 w 95824"/>
                    <a:gd name="connsiteY2" fmla="*/ 79433 h 150040"/>
                    <a:gd name="connsiteX3" fmla="*/ 79433 w 95824"/>
                    <a:gd name="connsiteY3" fmla="*/ 0 h 150040"/>
                    <a:gd name="connsiteX4" fmla="*/ 95824 w 95824"/>
                    <a:gd name="connsiteY4" fmla="*/ 16391 h 150040"/>
                    <a:gd name="connsiteX5" fmla="*/ 79433 w 95824"/>
                    <a:gd name="connsiteY5" fmla="*/ 32782 h 150040"/>
                    <a:gd name="connsiteX6" fmla="*/ 33412 w 95824"/>
                    <a:gd name="connsiteY6" fmla="*/ 78803 h 150040"/>
                    <a:gd name="connsiteX7" fmla="*/ 33412 w 95824"/>
                    <a:gd name="connsiteY7" fmla="*/ 133019 h 150040"/>
                    <a:gd name="connsiteX8" fmla="*/ 16391 w 95824"/>
                    <a:gd name="connsiteY8" fmla="*/ 150041 h 150040"/>
                    <a:gd name="connsiteX9" fmla="*/ 16391 w 95824"/>
                    <a:gd name="connsiteY9" fmla="*/ 150041 h 1500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95824" h="150040">
                      <a:moveTo>
                        <a:pt x="16391" y="150041"/>
                      </a:moveTo>
                      <a:cubicBezTo>
                        <a:pt x="6934" y="150041"/>
                        <a:pt x="0" y="142476"/>
                        <a:pt x="0" y="133650"/>
                      </a:cubicBezTo>
                      <a:lnTo>
                        <a:pt x="0" y="79433"/>
                      </a:lnTo>
                      <a:cubicBezTo>
                        <a:pt x="0" y="35934"/>
                        <a:pt x="35304" y="0"/>
                        <a:pt x="79433" y="0"/>
                      </a:cubicBezTo>
                      <a:cubicBezTo>
                        <a:pt x="88889" y="0"/>
                        <a:pt x="95824" y="7565"/>
                        <a:pt x="95824" y="16391"/>
                      </a:cubicBezTo>
                      <a:cubicBezTo>
                        <a:pt x="95824" y="25847"/>
                        <a:pt x="88259" y="32782"/>
                        <a:pt x="79433" y="32782"/>
                      </a:cubicBezTo>
                      <a:cubicBezTo>
                        <a:pt x="54216" y="32782"/>
                        <a:pt x="33412" y="53586"/>
                        <a:pt x="33412" y="78803"/>
                      </a:cubicBezTo>
                      <a:lnTo>
                        <a:pt x="33412" y="133019"/>
                      </a:lnTo>
                      <a:cubicBezTo>
                        <a:pt x="32782" y="142476"/>
                        <a:pt x="25847" y="150041"/>
                        <a:pt x="16391" y="150041"/>
                      </a:cubicBezTo>
                      <a:lnTo>
                        <a:pt x="16391" y="150041"/>
                      </a:lnTo>
                      <a:close/>
                    </a:path>
                  </a:pathLst>
                </a:custGeom>
                <a:grpFill/>
                <a:ln w="63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295" name="Forma Livre: Forma 294">
                  <a:extLst>
                    <a:ext uri="{FF2B5EF4-FFF2-40B4-BE49-F238E27FC236}">
                      <a16:creationId xmlns:a16="http://schemas.microsoft.com/office/drawing/2014/main" id="{69ACB30D-A00D-4141-8208-13730C315764}"/>
                    </a:ext>
                  </a:extLst>
                </p:cNvPr>
                <p:cNvSpPr/>
                <p:nvPr/>
              </p:nvSpPr>
              <p:spPr>
                <a:xfrm>
                  <a:off x="7466538" y="2702850"/>
                  <a:ext cx="65576" cy="116628"/>
                </a:xfrm>
                <a:custGeom>
                  <a:avLst/>
                  <a:gdLst>
                    <a:gd name="connsiteX0" fmla="*/ 16391 w 65576"/>
                    <a:gd name="connsiteY0" fmla="*/ 116628 h 116628"/>
                    <a:gd name="connsiteX1" fmla="*/ 0 w 65576"/>
                    <a:gd name="connsiteY1" fmla="*/ 100237 h 116628"/>
                    <a:gd name="connsiteX2" fmla="*/ 16391 w 65576"/>
                    <a:gd name="connsiteY2" fmla="*/ 83846 h 116628"/>
                    <a:gd name="connsiteX3" fmla="*/ 32782 w 65576"/>
                    <a:gd name="connsiteY3" fmla="*/ 67455 h 116628"/>
                    <a:gd name="connsiteX4" fmla="*/ 32782 w 65576"/>
                    <a:gd name="connsiteY4" fmla="*/ 16391 h 116628"/>
                    <a:gd name="connsiteX5" fmla="*/ 49173 w 65576"/>
                    <a:gd name="connsiteY5" fmla="*/ 0 h 116628"/>
                    <a:gd name="connsiteX6" fmla="*/ 65564 w 65576"/>
                    <a:gd name="connsiteY6" fmla="*/ 16391 h 116628"/>
                    <a:gd name="connsiteX7" fmla="*/ 65564 w 65576"/>
                    <a:gd name="connsiteY7" fmla="*/ 66194 h 116628"/>
                    <a:gd name="connsiteX8" fmla="*/ 16391 w 65576"/>
                    <a:gd name="connsiteY8" fmla="*/ 116628 h 116628"/>
                    <a:gd name="connsiteX9" fmla="*/ 16391 w 65576"/>
                    <a:gd name="connsiteY9" fmla="*/ 116628 h 1166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5576" h="116628">
                      <a:moveTo>
                        <a:pt x="16391" y="116628"/>
                      </a:moveTo>
                      <a:cubicBezTo>
                        <a:pt x="6934" y="116628"/>
                        <a:pt x="0" y="109063"/>
                        <a:pt x="0" y="100237"/>
                      </a:cubicBezTo>
                      <a:cubicBezTo>
                        <a:pt x="0" y="90781"/>
                        <a:pt x="7565" y="83846"/>
                        <a:pt x="16391" y="83846"/>
                      </a:cubicBezTo>
                      <a:cubicBezTo>
                        <a:pt x="25847" y="83846"/>
                        <a:pt x="32782" y="76281"/>
                        <a:pt x="32782" y="67455"/>
                      </a:cubicBezTo>
                      <a:lnTo>
                        <a:pt x="32782" y="16391"/>
                      </a:lnTo>
                      <a:cubicBezTo>
                        <a:pt x="32782" y="6935"/>
                        <a:pt x="40347" y="0"/>
                        <a:pt x="49173" y="0"/>
                      </a:cubicBezTo>
                      <a:cubicBezTo>
                        <a:pt x="58629" y="0"/>
                        <a:pt x="65564" y="7565"/>
                        <a:pt x="65564" y="16391"/>
                      </a:cubicBezTo>
                      <a:lnTo>
                        <a:pt x="65564" y="66194"/>
                      </a:lnTo>
                      <a:cubicBezTo>
                        <a:pt x="66194" y="93933"/>
                        <a:pt x="44130" y="116628"/>
                        <a:pt x="16391" y="116628"/>
                      </a:cubicBezTo>
                      <a:lnTo>
                        <a:pt x="16391" y="116628"/>
                      </a:lnTo>
                      <a:close/>
                    </a:path>
                  </a:pathLst>
                </a:custGeom>
                <a:grpFill/>
                <a:ln w="63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grpSp>
            <p:nvGrpSpPr>
              <p:cNvPr id="296" name="Gráfico 2">
                <a:extLst>
                  <a:ext uri="{FF2B5EF4-FFF2-40B4-BE49-F238E27FC236}">
                    <a16:creationId xmlns:a16="http://schemas.microsoft.com/office/drawing/2014/main" id="{1EC2913E-D059-42A1-91F3-F6BAB2F166E6}"/>
                  </a:ext>
                </a:extLst>
              </p:cNvPr>
              <p:cNvGrpSpPr/>
              <p:nvPr/>
            </p:nvGrpSpPr>
            <p:grpSpPr>
              <a:xfrm>
                <a:off x="7467168" y="2789218"/>
                <a:ext cx="127483" cy="216865"/>
                <a:chOff x="7467168" y="2789218"/>
                <a:chExt cx="127483" cy="216865"/>
              </a:xfrm>
              <a:grpFill/>
            </p:grpSpPr>
            <p:sp>
              <p:nvSpPr>
                <p:cNvPr id="297" name="Forma Livre: Forma 296">
                  <a:extLst>
                    <a:ext uri="{FF2B5EF4-FFF2-40B4-BE49-F238E27FC236}">
                      <a16:creationId xmlns:a16="http://schemas.microsoft.com/office/drawing/2014/main" id="{E5A9571B-5BBE-4DEC-AD18-C5B3960B329A}"/>
                    </a:ext>
                  </a:extLst>
                </p:cNvPr>
                <p:cNvSpPr/>
                <p:nvPr/>
              </p:nvSpPr>
              <p:spPr>
                <a:xfrm>
                  <a:off x="7499319" y="2856043"/>
                  <a:ext cx="95331" cy="150040"/>
                </a:xfrm>
                <a:custGeom>
                  <a:avLst/>
                  <a:gdLst>
                    <a:gd name="connsiteX0" fmla="*/ 79433 w 95331"/>
                    <a:gd name="connsiteY0" fmla="*/ 150040 h 150040"/>
                    <a:gd name="connsiteX1" fmla="*/ 0 w 95331"/>
                    <a:gd name="connsiteY1" fmla="*/ 70607 h 150040"/>
                    <a:gd name="connsiteX2" fmla="*/ 0 w 95331"/>
                    <a:gd name="connsiteY2" fmla="*/ 16391 h 150040"/>
                    <a:gd name="connsiteX3" fmla="*/ 16391 w 95331"/>
                    <a:gd name="connsiteY3" fmla="*/ 0 h 150040"/>
                    <a:gd name="connsiteX4" fmla="*/ 32782 w 95331"/>
                    <a:gd name="connsiteY4" fmla="*/ 16391 h 150040"/>
                    <a:gd name="connsiteX5" fmla="*/ 32782 w 95331"/>
                    <a:gd name="connsiteY5" fmla="*/ 70607 h 150040"/>
                    <a:gd name="connsiteX6" fmla="*/ 78803 w 95331"/>
                    <a:gd name="connsiteY6" fmla="*/ 116628 h 150040"/>
                    <a:gd name="connsiteX7" fmla="*/ 95194 w 95331"/>
                    <a:gd name="connsiteY7" fmla="*/ 133019 h 150040"/>
                    <a:gd name="connsiteX8" fmla="*/ 79433 w 95331"/>
                    <a:gd name="connsiteY8" fmla="*/ 150040 h 150040"/>
                    <a:gd name="connsiteX9" fmla="*/ 79433 w 95331"/>
                    <a:gd name="connsiteY9" fmla="*/ 150040 h 1500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95331" h="150040">
                      <a:moveTo>
                        <a:pt x="79433" y="150040"/>
                      </a:moveTo>
                      <a:cubicBezTo>
                        <a:pt x="35934" y="150040"/>
                        <a:pt x="0" y="114737"/>
                        <a:pt x="0" y="70607"/>
                      </a:cubicBezTo>
                      <a:lnTo>
                        <a:pt x="0" y="16391"/>
                      </a:lnTo>
                      <a:cubicBezTo>
                        <a:pt x="0" y="6934"/>
                        <a:pt x="7565" y="0"/>
                        <a:pt x="16391" y="0"/>
                      </a:cubicBezTo>
                      <a:cubicBezTo>
                        <a:pt x="25848" y="0"/>
                        <a:pt x="32782" y="7565"/>
                        <a:pt x="32782" y="16391"/>
                      </a:cubicBezTo>
                      <a:lnTo>
                        <a:pt x="32782" y="70607"/>
                      </a:lnTo>
                      <a:cubicBezTo>
                        <a:pt x="32782" y="95824"/>
                        <a:pt x="53586" y="116628"/>
                        <a:pt x="78803" y="116628"/>
                      </a:cubicBezTo>
                      <a:cubicBezTo>
                        <a:pt x="88259" y="116628"/>
                        <a:pt x="95194" y="124193"/>
                        <a:pt x="95194" y="133019"/>
                      </a:cubicBezTo>
                      <a:cubicBezTo>
                        <a:pt x="96455" y="142475"/>
                        <a:pt x="88890" y="150040"/>
                        <a:pt x="79433" y="150040"/>
                      </a:cubicBezTo>
                      <a:lnTo>
                        <a:pt x="79433" y="150040"/>
                      </a:lnTo>
                      <a:close/>
                    </a:path>
                  </a:pathLst>
                </a:custGeom>
                <a:grpFill/>
                <a:ln w="63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298" name="Forma Livre: Forma 297">
                  <a:extLst>
                    <a:ext uri="{FF2B5EF4-FFF2-40B4-BE49-F238E27FC236}">
                      <a16:creationId xmlns:a16="http://schemas.microsoft.com/office/drawing/2014/main" id="{8036A519-2188-48F3-A69F-E4C416478D06}"/>
                    </a:ext>
                  </a:extLst>
                </p:cNvPr>
                <p:cNvSpPr/>
                <p:nvPr/>
              </p:nvSpPr>
              <p:spPr>
                <a:xfrm>
                  <a:off x="7467168" y="2789218"/>
                  <a:ext cx="66194" cy="115367"/>
                </a:xfrm>
                <a:custGeom>
                  <a:avLst/>
                  <a:gdLst>
                    <a:gd name="connsiteX0" fmla="*/ 49173 w 66194"/>
                    <a:gd name="connsiteY0" fmla="*/ 115367 h 115367"/>
                    <a:gd name="connsiteX1" fmla="*/ 32782 w 66194"/>
                    <a:gd name="connsiteY1" fmla="*/ 98976 h 115367"/>
                    <a:gd name="connsiteX2" fmla="*/ 32782 w 66194"/>
                    <a:gd name="connsiteY2" fmla="*/ 49173 h 115367"/>
                    <a:gd name="connsiteX3" fmla="*/ 16391 w 66194"/>
                    <a:gd name="connsiteY3" fmla="*/ 32782 h 115367"/>
                    <a:gd name="connsiteX4" fmla="*/ 0 w 66194"/>
                    <a:gd name="connsiteY4" fmla="*/ 16391 h 115367"/>
                    <a:gd name="connsiteX5" fmla="*/ 16391 w 66194"/>
                    <a:gd name="connsiteY5" fmla="*/ 0 h 115367"/>
                    <a:gd name="connsiteX6" fmla="*/ 66194 w 66194"/>
                    <a:gd name="connsiteY6" fmla="*/ 49803 h 115367"/>
                    <a:gd name="connsiteX7" fmla="*/ 66194 w 66194"/>
                    <a:gd name="connsiteY7" fmla="*/ 99607 h 115367"/>
                    <a:gd name="connsiteX8" fmla="*/ 49173 w 66194"/>
                    <a:gd name="connsiteY8" fmla="*/ 115367 h 115367"/>
                    <a:gd name="connsiteX9" fmla="*/ 49173 w 66194"/>
                    <a:gd name="connsiteY9" fmla="*/ 115367 h 1153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6194" h="115367">
                      <a:moveTo>
                        <a:pt x="49173" y="115367"/>
                      </a:moveTo>
                      <a:cubicBezTo>
                        <a:pt x="39717" y="115367"/>
                        <a:pt x="32782" y="107802"/>
                        <a:pt x="32782" y="98976"/>
                      </a:cubicBezTo>
                      <a:lnTo>
                        <a:pt x="32782" y="49173"/>
                      </a:lnTo>
                      <a:cubicBezTo>
                        <a:pt x="32782" y="39717"/>
                        <a:pt x="25217" y="32782"/>
                        <a:pt x="16391" y="32782"/>
                      </a:cubicBezTo>
                      <a:cubicBezTo>
                        <a:pt x="6934" y="32782"/>
                        <a:pt x="0" y="25217"/>
                        <a:pt x="0" y="16391"/>
                      </a:cubicBezTo>
                      <a:cubicBezTo>
                        <a:pt x="0" y="6935"/>
                        <a:pt x="7565" y="0"/>
                        <a:pt x="16391" y="0"/>
                      </a:cubicBezTo>
                      <a:cubicBezTo>
                        <a:pt x="44130" y="0"/>
                        <a:pt x="66194" y="22695"/>
                        <a:pt x="66194" y="49803"/>
                      </a:cubicBezTo>
                      <a:lnTo>
                        <a:pt x="66194" y="99607"/>
                      </a:lnTo>
                      <a:cubicBezTo>
                        <a:pt x="65564" y="107802"/>
                        <a:pt x="58629" y="115367"/>
                        <a:pt x="49173" y="115367"/>
                      </a:cubicBezTo>
                      <a:lnTo>
                        <a:pt x="49173" y="115367"/>
                      </a:lnTo>
                      <a:close/>
                    </a:path>
                  </a:pathLst>
                </a:custGeom>
                <a:grpFill/>
                <a:ln w="63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</p:grpSp>
        <p:grpSp>
          <p:nvGrpSpPr>
            <p:cNvPr id="299" name="Gráfico 2">
              <a:extLst>
                <a:ext uri="{FF2B5EF4-FFF2-40B4-BE49-F238E27FC236}">
                  <a16:creationId xmlns:a16="http://schemas.microsoft.com/office/drawing/2014/main" id="{1EC2913E-D059-42A1-91F3-F6BAB2F166E6}"/>
                </a:ext>
              </a:extLst>
            </p:cNvPr>
            <p:cNvGrpSpPr/>
            <p:nvPr/>
          </p:nvGrpSpPr>
          <p:grpSpPr>
            <a:xfrm>
              <a:off x="7697272" y="2601983"/>
              <a:ext cx="128606" cy="404100"/>
              <a:chOff x="7697272" y="2601983"/>
              <a:chExt cx="128606" cy="404100"/>
            </a:xfrm>
            <a:grpFill/>
          </p:grpSpPr>
          <p:grpSp>
            <p:nvGrpSpPr>
              <p:cNvPr id="300" name="Gráfico 2">
                <a:extLst>
                  <a:ext uri="{FF2B5EF4-FFF2-40B4-BE49-F238E27FC236}">
                    <a16:creationId xmlns:a16="http://schemas.microsoft.com/office/drawing/2014/main" id="{1EC2913E-D059-42A1-91F3-F6BAB2F166E6}"/>
                  </a:ext>
                </a:extLst>
              </p:cNvPr>
              <p:cNvGrpSpPr/>
              <p:nvPr/>
            </p:nvGrpSpPr>
            <p:grpSpPr>
              <a:xfrm>
                <a:off x="7697272" y="2601983"/>
                <a:ext cx="128012" cy="217495"/>
                <a:chOff x="7697272" y="2601983"/>
                <a:chExt cx="128012" cy="217495"/>
              </a:xfrm>
              <a:grpFill/>
            </p:grpSpPr>
            <p:sp>
              <p:nvSpPr>
                <p:cNvPr id="301" name="Forma Livre: Forma 300">
                  <a:extLst>
                    <a:ext uri="{FF2B5EF4-FFF2-40B4-BE49-F238E27FC236}">
                      <a16:creationId xmlns:a16="http://schemas.microsoft.com/office/drawing/2014/main" id="{CD51DB59-375C-40F8-8B5D-B2282562C0A2}"/>
                    </a:ext>
                  </a:extLst>
                </p:cNvPr>
                <p:cNvSpPr/>
                <p:nvPr/>
              </p:nvSpPr>
              <p:spPr>
                <a:xfrm>
                  <a:off x="7697272" y="2601983"/>
                  <a:ext cx="95823" cy="149410"/>
                </a:xfrm>
                <a:custGeom>
                  <a:avLst/>
                  <a:gdLst>
                    <a:gd name="connsiteX0" fmla="*/ 78803 w 95823"/>
                    <a:gd name="connsiteY0" fmla="*/ 149410 h 149410"/>
                    <a:gd name="connsiteX1" fmla="*/ 62412 w 95823"/>
                    <a:gd name="connsiteY1" fmla="*/ 133019 h 149410"/>
                    <a:gd name="connsiteX2" fmla="*/ 62412 w 95823"/>
                    <a:gd name="connsiteY2" fmla="*/ 78803 h 149410"/>
                    <a:gd name="connsiteX3" fmla="*/ 16391 w 95823"/>
                    <a:gd name="connsiteY3" fmla="*/ 32782 h 149410"/>
                    <a:gd name="connsiteX4" fmla="*/ 0 w 95823"/>
                    <a:gd name="connsiteY4" fmla="*/ 16391 h 149410"/>
                    <a:gd name="connsiteX5" fmla="*/ 16391 w 95823"/>
                    <a:gd name="connsiteY5" fmla="*/ 0 h 149410"/>
                    <a:gd name="connsiteX6" fmla="*/ 95824 w 95823"/>
                    <a:gd name="connsiteY6" fmla="*/ 79433 h 149410"/>
                    <a:gd name="connsiteX7" fmla="*/ 95824 w 95823"/>
                    <a:gd name="connsiteY7" fmla="*/ 133650 h 149410"/>
                    <a:gd name="connsiteX8" fmla="*/ 78803 w 95823"/>
                    <a:gd name="connsiteY8" fmla="*/ 149410 h 149410"/>
                    <a:gd name="connsiteX9" fmla="*/ 78803 w 95823"/>
                    <a:gd name="connsiteY9" fmla="*/ 149410 h 1494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95823" h="149410">
                      <a:moveTo>
                        <a:pt x="78803" y="149410"/>
                      </a:moveTo>
                      <a:cubicBezTo>
                        <a:pt x="69346" y="149410"/>
                        <a:pt x="62412" y="141845"/>
                        <a:pt x="62412" y="133019"/>
                      </a:cubicBezTo>
                      <a:lnTo>
                        <a:pt x="62412" y="78803"/>
                      </a:lnTo>
                      <a:cubicBezTo>
                        <a:pt x="62412" y="53586"/>
                        <a:pt x="41608" y="32782"/>
                        <a:pt x="16391" y="32782"/>
                      </a:cubicBezTo>
                      <a:cubicBezTo>
                        <a:pt x="6934" y="32782"/>
                        <a:pt x="0" y="25217"/>
                        <a:pt x="0" y="16391"/>
                      </a:cubicBezTo>
                      <a:cubicBezTo>
                        <a:pt x="0" y="6935"/>
                        <a:pt x="7565" y="0"/>
                        <a:pt x="16391" y="0"/>
                      </a:cubicBezTo>
                      <a:cubicBezTo>
                        <a:pt x="59890" y="0"/>
                        <a:pt x="95824" y="35304"/>
                        <a:pt x="95824" y="79433"/>
                      </a:cubicBezTo>
                      <a:lnTo>
                        <a:pt x="95824" y="133650"/>
                      </a:lnTo>
                      <a:cubicBezTo>
                        <a:pt x="95194" y="141845"/>
                        <a:pt x="88259" y="149410"/>
                        <a:pt x="78803" y="149410"/>
                      </a:cubicBezTo>
                      <a:lnTo>
                        <a:pt x="78803" y="149410"/>
                      </a:lnTo>
                      <a:close/>
                    </a:path>
                  </a:pathLst>
                </a:custGeom>
                <a:grpFill/>
                <a:ln w="63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302" name="Forma Livre: Forma 301">
                  <a:extLst>
                    <a:ext uri="{FF2B5EF4-FFF2-40B4-BE49-F238E27FC236}">
                      <a16:creationId xmlns:a16="http://schemas.microsoft.com/office/drawing/2014/main" id="{84B8D3FB-7E3C-4EB9-8D40-90C36273BCDA}"/>
                    </a:ext>
                  </a:extLst>
                </p:cNvPr>
                <p:cNvSpPr/>
                <p:nvPr/>
              </p:nvSpPr>
              <p:spPr>
                <a:xfrm>
                  <a:off x="7759684" y="2702850"/>
                  <a:ext cx="65600" cy="116628"/>
                </a:xfrm>
                <a:custGeom>
                  <a:avLst/>
                  <a:gdLst>
                    <a:gd name="connsiteX0" fmla="*/ 49804 w 65600"/>
                    <a:gd name="connsiteY0" fmla="*/ 116628 h 116628"/>
                    <a:gd name="connsiteX1" fmla="*/ 0 w 65600"/>
                    <a:gd name="connsiteY1" fmla="*/ 66825 h 116628"/>
                    <a:gd name="connsiteX2" fmla="*/ 0 w 65600"/>
                    <a:gd name="connsiteY2" fmla="*/ 16391 h 116628"/>
                    <a:gd name="connsiteX3" fmla="*/ 16391 w 65600"/>
                    <a:gd name="connsiteY3" fmla="*/ 0 h 116628"/>
                    <a:gd name="connsiteX4" fmla="*/ 32782 w 65600"/>
                    <a:gd name="connsiteY4" fmla="*/ 16391 h 116628"/>
                    <a:gd name="connsiteX5" fmla="*/ 32782 w 65600"/>
                    <a:gd name="connsiteY5" fmla="*/ 66194 h 116628"/>
                    <a:gd name="connsiteX6" fmla="*/ 49172 w 65600"/>
                    <a:gd name="connsiteY6" fmla="*/ 82585 h 116628"/>
                    <a:gd name="connsiteX7" fmla="*/ 65564 w 65600"/>
                    <a:gd name="connsiteY7" fmla="*/ 98976 h 116628"/>
                    <a:gd name="connsiteX8" fmla="*/ 49804 w 65600"/>
                    <a:gd name="connsiteY8" fmla="*/ 116628 h 116628"/>
                    <a:gd name="connsiteX9" fmla="*/ 49804 w 65600"/>
                    <a:gd name="connsiteY9" fmla="*/ 116628 h 1166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5600" h="116628">
                      <a:moveTo>
                        <a:pt x="49804" y="116628"/>
                      </a:moveTo>
                      <a:cubicBezTo>
                        <a:pt x="22065" y="116628"/>
                        <a:pt x="0" y="93933"/>
                        <a:pt x="0" y="66825"/>
                      </a:cubicBezTo>
                      <a:lnTo>
                        <a:pt x="0" y="16391"/>
                      </a:lnTo>
                      <a:cubicBezTo>
                        <a:pt x="0" y="6935"/>
                        <a:pt x="7565" y="0"/>
                        <a:pt x="16391" y="0"/>
                      </a:cubicBezTo>
                      <a:cubicBezTo>
                        <a:pt x="25847" y="0"/>
                        <a:pt x="32782" y="7565"/>
                        <a:pt x="32782" y="16391"/>
                      </a:cubicBezTo>
                      <a:lnTo>
                        <a:pt x="32782" y="66194"/>
                      </a:lnTo>
                      <a:cubicBezTo>
                        <a:pt x="32782" y="75651"/>
                        <a:pt x="40347" y="82585"/>
                        <a:pt x="49172" y="82585"/>
                      </a:cubicBezTo>
                      <a:cubicBezTo>
                        <a:pt x="58629" y="82585"/>
                        <a:pt x="65564" y="90151"/>
                        <a:pt x="65564" y="98976"/>
                      </a:cubicBezTo>
                      <a:cubicBezTo>
                        <a:pt x="66194" y="109063"/>
                        <a:pt x="58629" y="116628"/>
                        <a:pt x="49804" y="116628"/>
                      </a:cubicBezTo>
                      <a:lnTo>
                        <a:pt x="49804" y="116628"/>
                      </a:lnTo>
                      <a:close/>
                    </a:path>
                  </a:pathLst>
                </a:custGeom>
                <a:grpFill/>
                <a:ln w="63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grpSp>
            <p:nvGrpSpPr>
              <p:cNvPr id="303" name="Gráfico 2">
                <a:extLst>
                  <a:ext uri="{FF2B5EF4-FFF2-40B4-BE49-F238E27FC236}">
                    <a16:creationId xmlns:a16="http://schemas.microsoft.com/office/drawing/2014/main" id="{1EC2913E-D059-42A1-91F3-F6BAB2F166E6}"/>
                  </a:ext>
                </a:extLst>
              </p:cNvPr>
              <p:cNvGrpSpPr/>
              <p:nvPr/>
            </p:nvGrpSpPr>
            <p:grpSpPr>
              <a:xfrm>
                <a:off x="7697272" y="2788588"/>
                <a:ext cx="128606" cy="217495"/>
                <a:chOff x="7697272" y="2788588"/>
                <a:chExt cx="128606" cy="217495"/>
              </a:xfrm>
              <a:grpFill/>
            </p:grpSpPr>
            <p:sp>
              <p:nvSpPr>
                <p:cNvPr id="304" name="Forma Livre: Forma 303">
                  <a:extLst>
                    <a:ext uri="{FF2B5EF4-FFF2-40B4-BE49-F238E27FC236}">
                      <a16:creationId xmlns:a16="http://schemas.microsoft.com/office/drawing/2014/main" id="{5008CA61-3679-4292-9F69-B4D920E910BA}"/>
                    </a:ext>
                  </a:extLst>
                </p:cNvPr>
                <p:cNvSpPr/>
                <p:nvPr/>
              </p:nvSpPr>
              <p:spPr>
                <a:xfrm>
                  <a:off x="7697272" y="2856673"/>
                  <a:ext cx="95193" cy="149410"/>
                </a:xfrm>
                <a:custGeom>
                  <a:avLst/>
                  <a:gdLst>
                    <a:gd name="connsiteX0" fmla="*/ 16391 w 95193"/>
                    <a:gd name="connsiteY0" fmla="*/ 149410 h 149410"/>
                    <a:gd name="connsiteX1" fmla="*/ 0 w 95193"/>
                    <a:gd name="connsiteY1" fmla="*/ 133019 h 149410"/>
                    <a:gd name="connsiteX2" fmla="*/ 16391 w 95193"/>
                    <a:gd name="connsiteY2" fmla="*/ 116628 h 149410"/>
                    <a:gd name="connsiteX3" fmla="*/ 62412 w 95193"/>
                    <a:gd name="connsiteY3" fmla="*/ 70607 h 149410"/>
                    <a:gd name="connsiteX4" fmla="*/ 62412 w 95193"/>
                    <a:gd name="connsiteY4" fmla="*/ 16391 h 149410"/>
                    <a:gd name="connsiteX5" fmla="*/ 78803 w 95193"/>
                    <a:gd name="connsiteY5" fmla="*/ 0 h 149410"/>
                    <a:gd name="connsiteX6" fmla="*/ 95194 w 95193"/>
                    <a:gd name="connsiteY6" fmla="*/ 16391 h 149410"/>
                    <a:gd name="connsiteX7" fmla="*/ 95194 w 95193"/>
                    <a:gd name="connsiteY7" fmla="*/ 70607 h 149410"/>
                    <a:gd name="connsiteX8" fmla="*/ 16391 w 95193"/>
                    <a:gd name="connsiteY8" fmla="*/ 149410 h 149410"/>
                    <a:gd name="connsiteX9" fmla="*/ 16391 w 95193"/>
                    <a:gd name="connsiteY9" fmla="*/ 149410 h 1494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95193" h="149410">
                      <a:moveTo>
                        <a:pt x="16391" y="149410"/>
                      </a:moveTo>
                      <a:cubicBezTo>
                        <a:pt x="6934" y="149410"/>
                        <a:pt x="0" y="141845"/>
                        <a:pt x="0" y="133019"/>
                      </a:cubicBezTo>
                      <a:cubicBezTo>
                        <a:pt x="0" y="123563"/>
                        <a:pt x="7565" y="116628"/>
                        <a:pt x="16391" y="116628"/>
                      </a:cubicBezTo>
                      <a:cubicBezTo>
                        <a:pt x="41608" y="116628"/>
                        <a:pt x="62412" y="95824"/>
                        <a:pt x="62412" y="70607"/>
                      </a:cubicBezTo>
                      <a:lnTo>
                        <a:pt x="62412" y="16391"/>
                      </a:lnTo>
                      <a:cubicBezTo>
                        <a:pt x="62412" y="6935"/>
                        <a:pt x="69977" y="0"/>
                        <a:pt x="78803" y="0"/>
                      </a:cubicBezTo>
                      <a:cubicBezTo>
                        <a:pt x="88259" y="0"/>
                        <a:pt x="95194" y="7565"/>
                        <a:pt x="95194" y="16391"/>
                      </a:cubicBezTo>
                      <a:lnTo>
                        <a:pt x="95194" y="70607"/>
                      </a:lnTo>
                      <a:cubicBezTo>
                        <a:pt x="95194" y="114107"/>
                        <a:pt x="59890" y="149410"/>
                        <a:pt x="16391" y="149410"/>
                      </a:cubicBezTo>
                      <a:lnTo>
                        <a:pt x="16391" y="149410"/>
                      </a:lnTo>
                      <a:close/>
                    </a:path>
                  </a:pathLst>
                </a:custGeom>
                <a:grpFill/>
                <a:ln w="63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305" name="Forma Livre: Forma 304">
                  <a:extLst>
                    <a:ext uri="{FF2B5EF4-FFF2-40B4-BE49-F238E27FC236}">
                      <a16:creationId xmlns:a16="http://schemas.microsoft.com/office/drawing/2014/main" id="{10D620B1-7B5E-461F-BFC3-F366D54635B5}"/>
                    </a:ext>
                  </a:extLst>
                </p:cNvPr>
                <p:cNvSpPr/>
                <p:nvPr/>
              </p:nvSpPr>
              <p:spPr>
                <a:xfrm>
                  <a:off x="7759684" y="2788588"/>
                  <a:ext cx="66194" cy="115997"/>
                </a:xfrm>
                <a:custGeom>
                  <a:avLst/>
                  <a:gdLst>
                    <a:gd name="connsiteX0" fmla="*/ 16391 w 66194"/>
                    <a:gd name="connsiteY0" fmla="*/ 115998 h 115997"/>
                    <a:gd name="connsiteX1" fmla="*/ 0 w 66194"/>
                    <a:gd name="connsiteY1" fmla="*/ 99607 h 115997"/>
                    <a:gd name="connsiteX2" fmla="*/ 0 w 66194"/>
                    <a:gd name="connsiteY2" fmla="*/ 49803 h 115997"/>
                    <a:gd name="connsiteX3" fmla="*/ 49804 w 66194"/>
                    <a:gd name="connsiteY3" fmla="*/ 0 h 115997"/>
                    <a:gd name="connsiteX4" fmla="*/ 66194 w 66194"/>
                    <a:gd name="connsiteY4" fmla="*/ 16391 h 115997"/>
                    <a:gd name="connsiteX5" fmla="*/ 49804 w 66194"/>
                    <a:gd name="connsiteY5" fmla="*/ 32782 h 115997"/>
                    <a:gd name="connsiteX6" fmla="*/ 33412 w 66194"/>
                    <a:gd name="connsiteY6" fmla="*/ 49173 h 115997"/>
                    <a:gd name="connsiteX7" fmla="*/ 33412 w 66194"/>
                    <a:gd name="connsiteY7" fmla="*/ 98976 h 115997"/>
                    <a:gd name="connsiteX8" fmla="*/ 16391 w 66194"/>
                    <a:gd name="connsiteY8" fmla="*/ 115998 h 115997"/>
                    <a:gd name="connsiteX9" fmla="*/ 16391 w 66194"/>
                    <a:gd name="connsiteY9" fmla="*/ 115998 h 1159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6194" h="115997">
                      <a:moveTo>
                        <a:pt x="16391" y="115998"/>
                      </a:moveTo>
                      <a:cubicBezTo>
                        <a:pt x="6934" y="115998"/>
                        <a:pt x="0" y="108433"/>
                        <a:pt x="0" y="99607"/>
                      </a:cubicBezTo>
                      <a:lnTo>
                        <a:pt x="0" y="49803"/>
                      </a:lnTo>
                      <a:cubicBezTo>
                        <a:pt x="0" y="22065"/>
                        <a:pt x="22695" y="0"/>
                        <a:pt x="49804" y="0"/>
                      </a:cubicBezTo>
                      <a:cubicBezTo>
                        <a:pt x="59260" y="0"/>
                        <a:pt x="66194" y="7565"/>
                        <a:pt x="66194" y="16391"/>
                      </a:cubicBezTo>
                      <a:cubicBezTo>
                        <a:pt x="66194" y="25847"/>
                        <a:pt x="58629" y="32782"/>
                        <a:pt x="49804" y="32782"/>
                      </a:cubicBezTo>
                      <a:cubicBezTo>
                        <a:pt x="40347" y="32782"/>
                        <a:pt x="33412" y="40347"/>
                        <a:pt x="33412" y="49173"/>
                      </a:cubicBezTo>
                      <a:lnTo>
                        <a:pt x="33412" y="98976"/>
                      </a:lnTo>
                      <a:cubicBezTo>
                        <a:pt x="32782" y="108433"/>
                        <a:pt x="25847" y="115998"/>
                        <a:pt x="16391" y="115998"/>
                      </a:cubicBezTo>
                      <a:lnTo>
                        <a:pt x="16391" y="115998"/>
                      </a:lnTo>
                      <a:close/>
                    </a:path>
                  </a:pathLst>
                </a:custGeom>
                <a:grpFill/>
                <a:ln w="63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</p:grpSp>
      </p:grpSp>
      <p:grpSp>
        <p:nvGrpSpPr>
          <p:cNvPr id="306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4412140" y="2609548"/>
            <a:ext cx="322776" cy="380775"/>
            <a:chOff x="4412140" y="2609548"/>
            <a:chExt cx="322776" cy="380775"/>
          </a:xfrm>
          <a:solidFill>
            <a:srgbClr val="B1B1A1"/>
          </a:solidFill>
        </p:grpSpPr>
        <p:sp>
          <p:nvSpPr>
            <p:cNvPr id="307" name="Forma Livre: Forma 306">
              <a:extLst>
                <a:ext uri="{FF2B5EF4-FFF2-40B4-BE49-F238E27FC236}">
                  <a16:creationId xmlns:a16="http://schemas.microsoft.com/office/drawing/2014/main" id="{0FBA5088-60D2-4947-8E80-9F3B5B7930EC}"/>
                </a:ext>
              </a:extLst>
            </p:cNvPr>
            <p:cNvSpPr/>
            <p:nvPr/>
          </p:nvSpPr>
          <p:spPr>
            <a:xfrm>
              <a:off x="4412140" y="2609548"/>
              <a:ext cx="105280" cy="32781"/>
            </a:xfrm>
            <a:custGeom>
              <a:avLst/>
              <a:gdLst>
                <a:gd name="connsiteX0" fmla="*/ 88259 w 105280"/>
                <a:gd name="connsiteY0" fmla="*/ 32782 h 32781"/>
                <a:gd name="connsiteX1" fmla="*/ 16391 w 105280"/>
                <a:gd name="connsiteY1" fmla="*/ 32782 h 32781"/>
                <a:gd name="connsiteX2" fmla="*/ 0 w 105280"/>
                <a:gd name="connsiteY2" fmla="*/ 16391 h 32781"/>
                <a:gd name="connsiteX3" fmla="*/ 16391 w 105280"/>
                <a:gd name="connsiteY3" fmla="*/ 0 h 32781"/>
                <a:gd name="connsiteX4" fmla="*/ 88890 w 105280"/>
                <a:gd name="connsiteY4" fmla="*/ 0 h 32781"/>
                <a:gd name="connsiteX5" fmla="*/ 105280 w 105280"/>
                <a:gd name="connsiteY5" fmla="*/ 16391 h 32781"/>
                <a:gd name="connsiteX6" fmla="*/ 88259 w 105280"/>
                <a:gd name="connsiteY6" fmla="*/ 32782 h 32781"/>
                <a:gd name="connsiteX7" fmla="*/ 88259 w 105280"/>
                <a:gd name="connsiteY7" fmla="*/ 32782 h 32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5280" h="32781">
                  <a:moveTo>
                    <a:pt x="88259" y="32782"/>
                  </a:moveTo>
                  <a:lnTo>
                    <a:pt x="16391" y="32782"/>
                  </a:lnTo>
                  <a:cubicBezTo>
                    <a:pt x="6935" y="32782"/>
                    <a:pt x="0" y="25217"/>
                    <a:pt x="0" y="16391"/>
                  </a:cubicBezTo>
                  <a:cubicBezTo>
                    <a:pt x="0" y="6935"/>
                    <a:pt x="7565" y="0"/>
                    <a:pt x="16391" y="0"/>
                  </a:cubicBezTo>
                  <a:lnTo>
                    <a:pt x="88890" y="0"/>
                  </a:lnTo>
                  <a:cubicBezTo>
                    <a:pt x="98346" y="0"/>
                    <a:pt x="105280" y="7565"/>
                    <a:pt x="105280" y="16391"/>
                  </a:cubicBezTo>
                  <a:cubicBezTo>
                    <a:pt x="105280" y="25217"/>
                    <a:pt x="97716" y="32782"/>
                    <a:pt x="88259" y="32782"/>
                  </a:cubicBezTo>
                  <a:lnTo>
                    <a:pt x="88259" y="32782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08" name="Forma Livre: Forma 307">
              <a:extLst>
                <a:ext uri="{FF2B5EF4-FFF2-40B4-BE49-F238E27FC236}">
                  <a16:creationId xmlns:a16="http://schemas.microsoft.com/office/drawing/2014/main" id="{ED646A3C-2A5A-4D68-A7D3-18723CDBE9D9}"/>
                </a:ext>
              </a:extLst>
            </p:cNvPr>
            <p:cNvSpPr/>
            <p:nvPr/>
          </p:nvSpPr>
          <p:spPr>
            <a:xfrm>
              <a:off x="4629636" y="2609548"/>
              <a:ext cx="105280" cy="32781"/>
            </a:xfrm>
            <a:custGeom>
              <a:avLst/>
              <a:gdLst>
                <a:gd name="connsiteX0" fmla="*/ 88889 w 105280"/>
                <a:gd name="connsiteY0" fmla="*/ 32782 h 32781"/>
                <a:gd name="connsiteX1" fmla="*/ 16391 w 105280"/>
                <a:gd name="connsiteY1" fmla="*/ 32782 h 32781"/>
                <a:gd name="connsiteX2" fmla="*/ 0 w 105280"/>
                <a:gd name="connsiteY2" fmla="*/ 16391 h 32781"/>
                <a:gd name="connsiteX3" fmla="*/ 16391 w 105280"/>
                <a:gd name="connsiteY3" fmla="*/ 0 h 32781"/>
                <a:gd name="connsiteX4" fmla="*/ 88889 w 105280"/>
                <a:gd name="connsiteY4" fmla="*/ 0 h 32781"/>
                <a:gd name="connsiteX5" fmla="*/ 105280 w 105280"/>
                <a:gd name="connsiteY5" fmla="*/ 16391 h 32781"/>
                <a:gd name="connsiteX6" fmla="*/ 88889 w 105280"/>
                <a:gd name="connsiteY6" fmla="*/ 32782 h 32781"/>
                <a:gd name="connsiteX7" fmla="*/ 88889 w 105280"/>
                <a:gd name="connsiteY7" fmla="*/ 32782 h 32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5280" h="32781">
                  <a:moveTo>
                    <a:pt x="88889" y="32782"/>
                  </a:moveTo>
                  <a:lnTo>
                    <a:pt x="16391" y="32782"/>
                  </a:lnTo>
                  <a:cubicBezTo>
                    <a:pt x="6934" y="32782"/>
                    <a:pt x="0" y="25217"/>
                    <a:pt x="0" y="16391"/>
                  </a:cubicBezTo>
                  <a:cubicBezTo>
                    <a:pt x="0" y="6935"/>
                    <a:pt x="7565" y="0"/>
                    <a:pt x="16391" y="0"/>
                  </a:cubicBezTo>
                  <a:lnTo>
                    <a:pt x="88889" y="0"/>
                  </a:lnTo>
                  <a:cubicBezTo>
                    <a:pt x="98346" y="0"/>
                    <a:pt x="105280" y="7565"/>
                    <a:pt x="105280" y="16391"/>
                  </a:cubicBezTo>
                  <a:cubicBezTo>
                    <a:pt x="105280" y="25217"/>
                    <a:pt x="97715" y="32782"/>
                    <a:pt x="88889" y="32782"/>
                  </a:cubicBezTo>
                  <a:lnTo>
                    <a:pt x="88889" y="32782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09" name="Forma Livre: Forma 308">
              <a:extLst>
                <a:ext uri="{FF2B5EF4-FFF2-40B4-BE49-F238E27FC236}">
                  <a16:creationId xmlns:a16="http://schemas.microsoft.com/office/drawing/2014/main" id="{3E1263A7-49F8-4588-8C47-748FF105DDD1}"/>
                </a:ext>
              </a:extLst>
            </p:cNvPr>
            <p:cNvSpPr/>
            <p:nvPr/>
          </p:nvSpPr>
          <p:spPr>
            <a:xfrm>
              <a:off x="4420336" y="2973932"/>
              <a:ext cx="306385" cy="16391"/>
            </a:xfrm>
            <a:custGeom>
              <a:avLst/>
              <a:gdLst>
                <a:gd name="connsiteX0" fmla="*/ 298190 w 306385"/>
                <a:gd name="connsiteY0" fmla="*/ 16391 h 16391"/>
                <a:gd name="connsiteX1" fmla="*/ 8195 w 306385"/>
                <a:gd name="connsiteY1" fmla="*/ 16391 h 16391"/>
                <a:gd name="connsiteX2" fmla="*/ 0 w 306385"/>
                <a:gd name="connsiteY2" fmla="*/ 8196 h 16391"/>
                <a:gd name="connsiteX3" fmla="*/ 8195 w 306385"/>
                <a:gd name="connsiteY3" fmla="*/ 0 h 16391"/>
                <a:gd name="connsiteX4" fmla="*/ 298190 w 306385"/>
                <a:gd name="connsiteY4" fmla="*/ 0 h 16391"/>
                <a:gd name="connsiteX5" fmla="*/ 306385 w 306385"/>
                <a:gd name="connsiteY5" fmla="*/ 8196 h 16391"/>
                <a:gd name="connsiteX6" fmla="*/ 298190 w 306385"/>
                <a:gd name="connsiteY6" fmla="*/ 16391 h 16391"/>
                <a:gd name="connsiteX7" fmla="*/ 298190 w 306385"/>
                <a:gd name="connsiteY7" fmla="*/ 16391 h 16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6385" h="16391">
                  <a:moveTo>
                    <a:pt x="298190" y="16391"/>
                  </a:moveTo>
                  <a:lnTo>
                    <a:pt x="8195" y="16391"/>
                  </a:lnTo>
                  <a:cubicBezTo>
                    <a:pt x="3782" y="16391"/>
                    <a:pt x="0" y="12608"/>
                    <a:pt x="0" y="8196"/>
                  </a:cubicBezTo>
                  <a:cubicBezTo>
                    <a:pt x="0" y="3783"/>
                    <a:pt x="3782" y="0"/>
                    <a:pt x="8195" y="0"/>
                  </a:cubicBezTo>
                  <a:lnTo>
                    <a:pt x="298190" y="0"/>
                  </a:lnTo>
                  <a:cubicBezTo>
                    <a:pt x="302603" y="0"/>
                    <a:pt x="306385" y="3783"/>
                    <a:pt x="306385" y="8196"/>
                  </a:cubicBezTo>
                  <a:cubicBezTo>
                    <a:pt x="306385" y="12608"/>
                    <a:pt x="302603" y="16391"/>
                    <a:pt x="298190" y="16391"/>
                  </a:cubicBezTo>
                  <a:lnTo>
                    <a:pt x="298190" y="1639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10" name="Forma Livre: Forma 309">
              <a:extLst>
                <a:ext uri="{FF2B5EF4-FFF2-40B4-BE49-F238E27FC236}">
                  <a16:creationId xmlns:a16="http://schemas.microsoft.com/office/drawing/2014/main" id="{09E11B09-0429-498F-9E56-F546D99FC4F9}"/>
                </a:ext>
              </a:extLst>
            </p:cNvPr>
            <p:cNvSpPr/>
            <p:nvPr/>
          </p:nvSpPr>
          <p:spPr>
            <a:xfrm>
              <a:off x="4448705" y="2616483"/>
              <a:ext cx="248407" cy="329710"/>
            </a:xfrm>
            <a:custGeom>
              <a:avLst/>
              <a:gdLst>
                <a:gd name="connsiteX0" fmla="*/ 124824 w 248407"/>
                <a:gd name="connsiteY0" fmla="*/ 329711 h 329710"/>
                <a:gd name="connsiteX1" fmla="*/ 0 w 248407"/>
                <a:gd name="connsiteY1" fmla="*/ 204887 h 329710"/>
                <a:gd name="connsiteX2" fmla="*/ 0 w 248407"/>
                <a:gd name="connsiteY2" fmla="*/ 16391 h 329710"/>
                <a:gd name="connsiteX3" fmla="*/ 16391 w 248407"/>
                <a:gd name="connsiteY3" fmla="*/ 0 h 329710"/>
                <a:gd name="connsiteX4" fmla="*/ 32782 w 248407"/>
                <a:gd name="connsiteY4" fmla="*/ 16391 h 329710"/>
                <a:gd name="connsiteX5" fmla="*/ 32782 w 248407"/>
                <a:gd name="connsiteY5" fmla="*/ 204887 h 329710"/>
                <a:gd name="connsiteX6" fmla="*/ 124193 w 248407"/>
                <a:gd name="connsiteY6" fmla="*/ 296299 h 329710"/>
                <a:gd name="connsiteX7" fmla="*/ 215605 w 248407"/>
                <a:gd name="connsiteY7" fmla="*/ 204887 h 329710"/>
                <a:gd name="connsiteX8" fmla="*/ 215605 w 248407"/>
                <a:gd name="connsiteY8" fmla="*/ 16391 h 329710"/>
                <a:gd name="connsiteX9" fmla="*/ 231995 w 248407"/>
                <a:gd name="connsiteY9" fmla="*/ 0 h 329710"/>
                <a:gd name="connsiteX10" fmla="*/ 248386 w 248407"/>
                <a:gd name="connsiteY10" fmla="*/ 16391 h 329710"/>
                <a:gd name="connsiteX11" fmla="*/ 248386 w 248407"/>
                <a:gd name="connsiteY11" fmla="*/ 204887 h 329710"/>
                <a:gd name="connsiteX12" fmla="*/ 124824 w 248407"/>
                <a:gd name="connsiteY12" fmla="*/ 329711 h 329710"/>
                <a:gd name="connsiteX13" fmla="*/ 124824 w 248407"/>
                <a:gd name="connsiteY13" fmla="*/ 329711 h 329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8407" h="329710">
                  <a:moveTo>
                    <a:pt x="124824" y="329711"/>
                  </a:moveTo>
                  <a:cubicBezTo>
                    <a:pt x="56107" y="329711"/>
                    <a:pt x="0" y="273603"/>
                    <a:pt x="0" y="204887"/>
                  </a:cubicBezTo>
                  <a:lnTo>
                    <a:pt x="0" y="16391"/>
                  </a:lnTo>
                  <a:cubicBezTo>
                    <a:pt x="0" y="6934"/>
                    <a:pt x="7565" y="0"/>
                    <a:pt x="16391" y="0"/>
                  </a:cubicBezTo>
                  <a:cubicBezTo>
                    <a:pt x="25847" y="0"/>
                    <a:pt x="32782" y="7565"/>
                    <a:pt x="32782" y="16391"/>
                  </a:cubicBezTo>
                  <a:lnTo>
                    <a:pt x="32782" y="204887"/>
                  </a:lnTo>
                  <a:cubicBezTo>
                    <a:pt x="32782" y="255321"/>
                    <a:pt x="73760" y="296299"/>
                    <a:pt x="124193" y="296299"/>
                  </a:cubicBezTo>
                  <a:cubicBezTo>
                    <a:pt x="174627" y="296299"/>
                    <a:pt x="215605" y="255321"/>
                    <a:pt x="215605" y="204887"/>
                  </a:cubicBezTo>
                  <a:lnTo>
                    <a:pt x="215605" y="16391"/>
                  </a:lnTo>
                  <a:cubicBezTo>
                    <a:pt x="215605" y="6934"/>
                    <a:pt x="223169" y="0"/>
                    <a:pt x="231995" y="0"/>
                  </a:cubicBezTo>
                  <a:cubicBezTo>
                    <a:pt x="241452" y="0"/>
                    <a:pt x="248386" y="7565"/>
                    <a:pt x="248386" y="16391"/>
                  </a:cubicBezTo>
                  <a:lnTo>
                    <a:pt x="248386" y="204887"/>
                  </a:lnTo>
                  <a:cubicBezTo>
                    <a:pt x="249647" y="273603"/>
                    <a:pt x="193540" y="329711"/>
                    <a:pt x="124824" y="329711"/>
                  </a:cubicBezTo>
                  <a:lnTo>
                    <a:pt x="124824" y="32971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11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6420667" y="2608917"/>
            <a:ext cx="403470" cy="390544"/>
            <a:chOff x="6420667" y="2608917"/>
            <a:chExt cx="403470" cy="390544"/>
          </a:xfrm>
          <a:solidFill>
            <a:srgbClr val="B1B1A1"/>
          </a:solidFill>
        </p:grpSpPr>
        <p:sp>
          <p:nvSpPr>
            <p:cNvPr id="312" name="Forma Livre: Forma 311">
              <a:extLst>
                <a:ext uri="{FF2B5EF4-FFF2-40B4-BE49-F238E27FC236}">
                  <a16:creationId xmlns:a16="http://schemas.microsoft.com/office/drawing/2014/main" id="{95BA728D-243D-4082-BD96-0A1C34DF58BE}"/>
                </a:ext>
              </a:extLst>
            </p:cNvPr>
            <p:cNvSpPr/>
            <p:nvPr/>
          </p:nvSpPr>
          <p:spPr>
            <a:xfrm>
              <a:off x="6446441" y="2608917"/>
              <a:ext cx="267685" cy="390544"/>
            </a:xfrm>
            <a:custGeom>
              <a:avLst/>
              <a:gdLst>
                <a:gd name="connsiteX0" fmla="*/ 249721 w 267685"/>
                <a:gd name="connsiteY0" fmla="*/ 390232 h 390544"/>
                <a:gd name="connsiteX1" fmla="*/ 233960 w 267685"/>
                <a:gd name="connsiteY1" fmla="*/ 378884 h 390544"/>
                <a:gd name="connsiteX2" fmla="*/ 133092 w 267685"/>
                <a:gd name="connsiteY2" fmla="*/ 69977 h 390544"/>
                <a:gd name="connsiteX3" fmla="*/ 32225 w 267685"/>
                <a:gd name="connsiteY3" fmla="*/ 378884 h 390544"/>
                <a:gd name="connsiteX4" fmla="*/ 11421 w 267685"/>
                <a:gd name="connsiteY4" fmla="*/ 389601 h 390544"/>
                <a:gd name="connsiteX5" fmla="*/ 704 w 267685"/>
                <a:gd name="connsiteY5" fmla="*/ 368797 h 390544"/>
                <a:gd name="connsiteX6" fmla="*/ 117962 w 267685"/>
                <a:gd name="connsiteY6" fmla="*/ 11348 h 390544"/>
                <a:gd name="connsiteX7" fmla="*/ 133723 w 267685"/>
                <a:gd name="connsiteY7" fmla="*/ 0 h 390544"/>
                <a:gd name="connsiteX8" fmla="*/ 149483 w 267685"/>
                <a:gd name="connsiteY8" fmla="*/ 11348 h 390544"/>
                <a:gd name="connsiteX9" fmla="*/ 266742 w 267685"/>
                <a:gd name="connsiteY9" fmla="*/ 368797 h 390544"/>
                <a:gd name="connsiteX10" fmla="*/ 256025 w 267685"/>
                <a:gd name="connsiteY10" fmla="*/ 389601 h 390544"/>
                <a:gd name="connsiteX11" fmla="*/ 249721 w 267685"/>
                <a:gd name="connsiteY11" fmla="*/ 390232 h 390544"/>
                <a:gd name="connsiteX12" fmla="*/ 249721 w 267685"/>
                <a:gd name="connsiteY12" fmla="*/ 390232 h 390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67685" h="390544">
                  <a:moveTo>
                    <a:pt x="249721" y="390232"/>
                  </a:moveTo>
                  <a:cubicBezTo>
                    <a:pt x="242786" y="390232"/>
                    <a:pt x="236482" y="385819"/>
                    <a:pt x="233960" y="378884"/>
                  </a:cubicBezTo>
                  <a:lnTo>
                    <a:pt x="133092" y="69977"/>
                  </a:lnTo>
                  <a:lnTo>
                    <a:pt x="32225" y="378884"/>
                  </a:lnTo>
                  <a:cubicBezTo>
                    <a:pt x="29703" y="387710"/>
                    <a:pt x="19616" y="392753"/>
                    <a:pt x="11421" y="389601"/>
                  </a:cubicBezTo>
                  <a:cubicBezTo>
                    <a:pt x="2595" y="386449"/>
                    <a:pt x="-1818" y="377623"/>
                    <a:pt x="704" y="368797"/>
                  </a:cubicBezTo>
                  <a:lnTo>
                    <a:pt x="117962" y="11348"/>
                  </a:lnTo>
                  <a:cubicBezTo>
                    <a:pt x="120484" y="4413"/>
                    <a:pt x="126788" y="0"/>
                    <a:pt x="133723" y="0"/>
                  </a:cubicBezTo>
                  <a:cubicBezTo>
                    <a:pt x="140658" y="0"/>
                    <a:pt x="147592" y="4413"/>
                    <a:pt x="149483" y="11348"/>
                  </a:cubicBezTo>
                  <a:lnTo>
                    <a:pt x="266742" y="368797"/>
                  </a:lnTo>
                  <a:cubicBezTo>
                    <a:pt x="269894" y="377623"/>
                    <a:pt x="264851" y="387079"/>
                    <a:pt x="256025" y="389601"/>
                  </a:cubicBezTo>
                  <a:cubicBezTo>
                    <a:pt x="252873" y="390232"/>
                    <a:pt x="250982" y="390232"/>
                    <a:pt x="249721" y="390232"/>
                  </a:cubicBezTo>
                  <a:lnTo>
                    <a:pt x="249721" y="390232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313" name="Gráfico 2">
              <a:extLst>
                <a:ext uri="{FF2B5EF4-FFF2-40B4-BE49-F238E27FC236}">
                  <a16:creationId xmlns:a16="http://schemas.microsoft.com/office/drawing/2014/main" id="{1EC2913E-D059-42A1-91F3-F6BAB2F166E6}"/>
                </a:ext>
              </a:extLst>
            </p:cNvPr>
            <p:cNvGrpSpPr/>
            <p:nvPr/>
          </p:nvGrpSpPr>
          <p:grpSpPr>
            <a:xfrm>
              <a:off x="6420667" y="2966367"/>
              <a:ext cx="316472" cy="32781"/>
              <a:chOff x="6420667" y="2966367"/>
              <a:chExt cx="316472" cy="32781"/>
            </a:xfrm>
            <a:grpFill/>
          </p:grpSpPr>
          <p:sp>
            <p:nvSpPr>
              <p:cNvPr id="314" name="Forma Livre: Forma 313">
                <a:extLst>
                  <a:ext uri="{FF2B5EF4-FFF2-40B4-BE49-F238E27FC236}">
                    <a16:creationId xmlns:a16="http://schemas.microsoft.com/office/drawing/2014/main" id="{8064D2AB-03A1-463B-9C3B-4D80C6E48295}"/>
                  </a:ext>
                </a:extLst>
              </p:cNvPr>
              <p:cNvSpPr/>
              <p:nvPr/>
            </p:nvSpPr>
            <p:spPr>
              <a:xfrm>
                <a:off x="6420667" y="2966367"/>
                <a:ext cx="88889" cy="32781"/>
              </a:xfrm>
              <a:custGeom>
                <a:avLst/>
                <a:gdLst>
                  <a:gd name="connsiteX0" fmla="*/ 72499 w 88889"/>
                  <a:gd name="connsiteY0" fmla="*/ 32782 h 32781"/>
                  <a:gd name="connsiteX1" fmla="*/ 16391 w 88889"/>
                  <a:gd name="connsiteY1" fmla="*/ 32782 h 32781"/>
                  <a:gd name="connsiteX2" fmla="*/ 0 w 88889"/>
                  <a:gd name="connsiteY2" fmla="*/ 16391 h 32781"/>
                  <a:gd name="connsiteX3" fmla="*/ 16391 w 88889"/>
                  <a:gd name="connsiteY3" fmla="*/ 0 h 32781"/>
                  <a:gd name="connsiteX4" fmla="*/ 72499 w 88889"/>
                  <a:gd name="connsiteY4" fmla="*/ 0 h 32781"/>
                  <a:gd name="connsiteX5" fmla="*/ 88889 w 88889"/>
                  <a:gd name="connsiteY5" fmla="*/ 16391 h 32781"/>
                  <a:gd name="connsiteX6" fmla="*/ 72499 w 88889"/>
                  <a:gd name="connsiteY6" fmla="*/ 32782 h 32781"/>
                  <a:gd name="connsiteX7" fmla="*/ 72499 w 88889"/>
                  <a:gd name="connsiteY7" fmla="*/ 32782 h 32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8889" h="32781">
                    <a:moveTo>
                      <a:pt x="72499" y="32782"/>
                    </a:moveTo>
                    <a:lnTo>
                      <a:pt x="16391" y="32782"/>
                    </a:lnTo>
                    <a:cubicBezTo>
                      <a:pt x="6934" y="32782"/>
                      <a:pt x="0" y="25217"/>
                      <a:pt x="0" y="16391"/>
                    </a:cubicBezTo>
                    <a:cubicBezTo>
                      <a:pt x="0" y="6934"/>
                      <a:pt x="7565" y="0"/>
                      <a:pt x="16391" y="0"/>
                    </a:cubicBezTo>
                    <a:lnTo>
                      <a:pt x="72499" y="0"/>
                    </a:lnTo>
                    <a:cubicBezTo>
                      <a:pt x="81955" y="0"/>
                      <a:pt x="88889" y="7565"/>
                      <a:pt x="88889" y="16391"/>
                    </a:cubicBezTo>
                    <a:cubicBezTo>
                      <a:pt x="88889" y="25217"/>
                      <a:pt x="81955" y="32782"/>
                      <a:pt x="72499" y="32782"/>
                    </a:cubicBezTo>
                    <a:lnTo>
                      <a:pt x="72499" y="32782"/>
                    </a:ln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15" name="Forma Livre: Forma 314">
                <a:extLst>
                  <a:ext uri="{FF2B5EF4-FFF2-40B4-BE49-F238E27FC236}">
                    <a16:creationId xmlns:a16="http://schemas.microsoft.com/office/drawing/2014/main" id="{E6F7C7C6-3BC5-40F6-BCB4-8302DDC14B55}"/>
                  </a:ext>
                </a:extLst>
              </p:cNvPr>
              <p:cNvSpPr/>
              <p:nvPr/>
            </p:nvSpPr>
            <p:spPr>
              <a:xfrm>
                <a:off x="6648249" y="2966367"/>
                <a:ext cx="88889" cy="32781"/>
              </a:xfrm>
              <a:custGeom>
                <a:avLst/>
                <a:gdLst>
                  <a:gd name="connsiteX0" fmla="*/ 72499 w 88889"/>
                  <a:gd name="connsiteY0" fmla="*/ 32782 h 32781"/>
                  <a:gd name="connsiteX1" fmla="*/ 16391 w 88889"/>
                  <a:gd name="connsiteY1" fmla="*/ 32782 h 32781"/>
                  <a:gd name="connsiteX2" fmla="*/ 0 w 88889"/>
                  <a:gd name="connsiteY2" fmla="*/ 16391 h 32781"/>
                  <a:gd name="connsiteX3" fmla="*/ 16391 w 88889"/>
                  <a:gd name="connsiteY3" fmla="*/ 0 h 32781"/>
                  <a:gd name="connsiteX4" fmla="*/ 72499 w 88889"/>
                  <a:gd name="connsiteY4" fmla="*/ 0 h 32781"/>
                  <a:gd name="connsiteX5" fmla="*/ 88890 w 88889"/>
                  <a:gd name="connsiteY5" fmla="*/ 16391 h 32781"/>
                  <a:gd name="connsiteX6" fmla="*/ 72499 w 88889"/>
                  <a:gd name="connsiteY6" fmla="*/ 32782 h 32781"/>
                  <a:gd name="connsiteX7" fmla="*/ 72499 w 88889"/>
                  <a:gd name="connsiteY7" fmla="*/ 32782 h 32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8889" h="32781">
                    <a:moveTo>
                      <a:pt x="72499" y="32782"/>
                    </a:moveTo>
                    <a:lnTo>
                      <a:pt x="16391" y="32782"/>
                    </a:lnTo>
                    <a:cubicBezTo>
                      <a:pt x="6935" y="32782"/>
                      <a:pt x="0" y="25217"/>
                      <a:pt x="0" y="16391"/>
                    </a:cubicBezTo>
                    <a:cubicBezTo>
                      <a:pt x="0" y="6934"/>
                      <a:pt x="7565" y="0"/>
                      <a:pt x="16391" y="0"/>
                    </a:cubicBezTo>
                    <a:lnTo>
                      <a:pt x="72499" y="0"/>
                    </a:lnTo>
                    <a:cubicBezTo>
                      <a:pt x="81955" y="0"/>
                      <a:pt x="88890" y="7565"/>
                      <a:pt x="88890" y="16391"/>
                    </a:cubicBezTo>
                    <a:cubicBezTo>
                      <a:pt x="88890" y="25217"/>
                      <a:pt x="81325" y="32782"/>
                      <a:pt x="72499" y="32782"/>
                    </a:cubicBezTo>
                    <a:lnTo>
                      <a:pt x="72499" y="32782"/>
                    </a:ln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316" name="Forma Livre: Forma 315">
              <a:extLst>
                <a:ext uri="{FF2B5EF4-FFF2-40B4-BE49-F238E27FC236}">
                  <a16:creationId xmlns:a16="http://schemas.microsoft.com/office/drawing/2014/main" id="{6585F8E2-E7D8-4451-B1D0-D9559628F955}"/>
                </a:ext>
              </a:extLst>
            </p:cNvPr>
            <p:cNvSpPr/>
            <p:nvPr/>
          </p:nvSpPr>
          <p:spPr>
            <a:xfrm>
              <a:off x="6488122" y="2856043"/>
              <a:ext cx="182191" cy="32781"/>
            </a:xfrm>
            <a:custGeom>
              <a:avLst/>
              <a:gdLst>
                <a:gd name="connsiteX0" fmla="*/ 165801 w 182191"/>
                <a:gd name="connsiteY0" fmla="*/ 32782 h 32781"/>
                <a:gd name="connsiteX1" fmla="*/ 16391 w 182191"/>
                <a:gd name="connsiteY1" fmla="*/ 32782 h 32781"/>
                <a:gd name="connsiteX2" fmla="*/ 0 w 182191"/>
                <a:gd name="connsiteY2" fmla="*/ 16391 h 32781"/>
                <a:gd name="connsiteX3" fmla="*/ 16391 w 182191"/>
                <a:gd name="connsiteY3" fmla="*/ 0 h 32781"/>
                <a:gd name="connsiteX4" fmla="*/ 165801 w 182191"/>
                <a:gd name="connsiteY4" fmla="*/ 0 h 32781"/>
                <a:gd name="connsiteX5" fmla="*/ 182192 w 182191"/>
                <a:gd name="connsiteY5" fmla="*/ 16391 h 32781"/>
                <a:gd name="connsiteX6" fmla="*/ 165801 w 182191"/>
                <a:gd name="connsiteY6" fmla="*/ 32782 h 32781"/>
                <a:gd name="connsiteX7" fmla="*/ 165801 w 182191"/>
                <a:gd name="connsiteY7" fmla="*/ 32782 h 32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2191" h="32781">
                  <a:moveTo>
                    <a:pt x="165801" y="32782"/>
                  </a:moveTo>
                  <a:lnTo>
                    <a:pt x="16391" y="32782"/>
                  </a:lnTo>
                  <a:cubicBezTo>
                    <a:pt x="6934" y="32782"/>
                    <a:pt x="0" y="25217"/>
                    <a:pt x="0" y="16391"/>
                  </a:cubicBezTo>
                  <a:cubicBezTo>
                    <a:pt x="0" y="6934"/>
                    <a:pt x="7565" y="0"/>
                    <a:pt x="16391" y="0"/>
                  </a:cubicBezTo>
                  <a:lnTo>
                    <a:pt x="165801" y="0"/>
                  </a:lnTo>
                  <a:cubicBezTo>
                    <a:pt x="175257" y="0"/>
                    <a:pt x="182192" y="7565"/>
                    <a:pt x="182192" y="16391"/>
                  </a:cubicBezTo>
                  <a:cubicBezTo>
                    <a:pt x="182192" y="25217"/>
                    <a:pt x="174627" y="32782"/>
                    <a:pt x="165801" y="32782"/>
                  </a:cubicBezTo>
                  <a:lnTo>
                    <a:pt x="165801" y="32782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17" name="Forma Livre: Forma 316">
              <a:extLst>
                <a:ext uri="{FF2B5EF4-FFF2-40B4-BE49-F238E27FC236}">
                  <a16:creationId xmlns:a16="http://schemas.microsoft.com/office/drawing/2014/main" id="{FCAB404D-8DCF-4E89-B2EF-A7A6069AE206}"/>
                </a:ext>
              </a:extLst>
            </p:cNvPr>
            <p:cNvSpPr/>
            <p:nvPr/>
          </p:nvSpPr>
          <p:spPr>
            <a:xfrm>
              <a:off x="6677249" y="2686026"/>
              <a:ext cx="144997" cy="125887"/>
            </a:xfrm>
            <a:custGeom>
              <a:avLst/>
              <a:gdLst>
                <a:gd name="connsiteX0" fmla="*/ 57999 w 144997"/>
                <a:gd name="connsiteY0" fmla="*/ 125888 h 125887"/>
                <a:gd name="connsiteX1" fmla="*/ 16391 w 144997"/>
                <a:gd name="connsiteY1" fmla="*/ 110127 h 125887"/>
                <a:gd name="connsiteX2" fmla="*/ 0 w 144997"/>
                <a:gd name="connsiteY2" fmla="*/ 71671 h 125887"/>
                <a:gd name="connsiteX3" fmla="*/ 15761 w 144997"/>
                <a:gd name="connsiteY3" fmla="*/ 35737 h 125887"/>
                <a:gd name="connsiteX4" fmla="*/ 42869 w 144997"/>
                <a:gd name="connsiteY4" fmla="*/ 21237 h 125887"/>
                <a:gd name="connsiteX5" fmla="*/ 82585 w 144997"/>
                <a:gd name="connsiteY5" fmla="*/ 11781 h 125887"/>
                <a:gd name="connsiteX6" fmla="*/ 122932 w 144997"/>
                <a:gd name="connsiteY6" fmla="*/ 1064 h 125887"/>
                <a:gd name="connsiteX7" fmla="*/ 138062 w 144997"/>
                <a:gd name="connsiteY7" fmla="*/ 2955 h 125887"/>
                <a:gd name="connsiteX8" fmla="*/ 144997 w 144997"/>
                <a:gd name="connsiteY8" fmla="*/ 16824 h 125887"/>
                <a:gd name="connsiteX9" fmla="*/ 144997 w 144997"/>
                <a:gd name="connsiteY9" fmla="*/ 26911 h 125887"/>
                <a:gd name="connsiteX10" fmla="*/ 133650 w 144997"/>
                <a:gd name="connsiteY10" fmla="*/ 86801 h 125887"/>
                <a:gd name="connsiteX11" fmla="*/ 102129 w 144997"/>
                <a:gd name="connsiteY11" fmla="*/ 116431 h 125887"/>
                <a:gd name="connsiteX12" fmla="*/ 57999 w 144997"/>
                <a:gd name="connsiteY12" fmla="*/ 125888 h 125887"/>
                <a:gd name="connsiteX13" fmla="*/ 57999 w 144997"/>
                <a:gd name="connsiteY13" fmla="*/ 125888 h 125887"/>
                <a:gd name="connsiteX14" fmla="*/ 111585 w 144997"/>
                <a:gd name="connsiteY14" fmla="*/ 38889 h 125887"/>
                <a:gd name="connsiteX15" fmla="*/ 89520 w 144997"/>
                <a:gd name="connsiteY15" fmla="*/ 43933 h 125887"/>
                <a:gd name="connsiteX16" fmla="*/ 51064 w 144997"/>
                <a:gd name="connsiteY16" fmla="*/ 52758 h 125887"/>
                <a:gd name="connsiteX17" fmla="*/ 37195 w 144997"/>
                <a:gd name="connsiteY17" fmla="*/ 60323 h 125887"/>
                <a:gd name="connsiteX18" fmla="*/ 32782 w 144997"/>
                <a:gd name="connsiteY18" fmla="*/ 71041 h 125887"/>
                <a:gd name="connsiteX19" fmla="*/ 39086 w 144997"/>
                <a:gd name="connsiteY19" fmla="*/ 85540 h 125887"/>
                <a:gd name="connsiteX20" fmla="*/ 57999 w 144997"/>
                <a:gd name="connsiteY20" fmla="*/ 91845 h 125887"/>
                <a:gd name="connsiteX21" fmla="*/ 86998 w 144997"/>
                <a:gd name="connsiteY21" fmla="*/ 84910 h 125887"/>
                <a:gd name="connsiteX22" fmla="*/ 104650 w 144997"/>
                <a:gd name="connsiteY22" fmla="*/ 68519 h 125887"/>
                <a:gd name="connsiteX23" fmla="*/ 111585 w 144997"/>
                <a:gd name="connsiteY23" fmla="*/ 38889 h 125887"/>
                <a:gd name="connsiteX24" fmla="*/ 111585 w 144997"/>
                <a:gd name="connsiteY24" fmla="*/ 38889 h 125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44997" h="125887">
                  <a:moveTo>
                    <a:pt x="57999" y="125888"/>
                  </a:moveTo>
                  <a:cubicBezTo>
                    <a:pt x="40977" y="125888"/>
                    <a:pt x="27108" y="120844"/>
                    <a:pt x="16391" y="110127"/>
                  </a:cubicBezTo>
                  <a:cubicBezTo>
                    <a:pt x="5043" y="99410"/>
                    <a:pt x="0" y="86801"/>
                    <a:pt x="0" y="71671"/>
                  </a:cubicBezTo>
                  <a:cubicBezTo>
                    <a:pt x="0" y="52758"/>
                    <a:pt x="8826" y="41411"/>
                    <a:pt x="15761" y="35737"/>
                  </a:cubicBezTo>
                  <a:cubicBezTo>
                    <a:pt x="23956" y="28802"/>
                    <a:pt x="32782" y="23759"/>
                    <a:pt x="42869" y="21237"/>
                  </a:cubicBezTo>
                  <a:cubicBezTo>
                    <a:pt x="50434" y="19346"/>
                    <a:pt x="63673" y="16194"/>
                    <a:pt x="82585" y="11781"/>
                  </a:cubicBezTo>
                  <a:cubicBezTo>
                    <a:pt x="100868" y="7998"/>
                    <a:pt x="114106" y="4216"/>
                    <a:pt x="122932" y="1064"/>
                  </a:cubicBezTo>
                  <a:cubicBezTo>
                    <a:pt x="127976" y="-827"/>
                    <a:pt x="133650" y="-197"/>
                    <a:pt x="138062" y="2955"/>
                  </a:cubicBezTo>
                  <a:cubicBezTo>
                    <a:pt x="142475" y="6107"/>
                    <a:pt x="144997" y="11151"/>
                    <a:pt x="144997" y="16824"/>
                  </a:cubicBezTo>
                  <a:lnTo>
                    <a:pt x="144997" y="26911"/>
                  </a:lnTo>
                  <a:cubicBezTo>
                    <a:pt x="144997" y="54019"/>
                    <a:pt x="141214" y="73562"/>
                    <a:pt x="133650" y="86801"/>
                  </a:cubicBezTo>
                  <a:cubicBezTo>
                    <a:pt x="126715" y="98779"/>
                    <a:pt x="116628" y="108866"/>
                    <a:pt x="102129" y="116431"/>
                  </a:cubicBezTo>
                  <a:cubicBezTo>
                    <a:pt x="88889" y="122105"/>
                    <a:pt x="73760" y="125888"/>
                    <a:pt x="57999" y="125888"/>
                  </a:cubicBezTo>
                  <a:lnTo>
                    <a:pt x="57999" y="125888"/>
                  </a:lnTo>
                  <a:close/>
                  <a:moveTo>
                    <a:pt x="111585" y="38889"/>
                  </a:moveTo>
                  <a:cubicBezTo>
                    <a:pt x="105281" y="40781"/>
                    <a:pt x="97715" y="42672"/>
                    <a:pt x="89520" y="43933"/>
                  </a:cubicBezTo>
                  <a:cubicBezTo>
                    <a:pt x="71238" y="47715"/>
                    <a:pt x="58629" y="50867"/>
                    <a:pt x="51064" y="52758"/>
                  </a:cubicBezTo>
                  <a:cubicBezTo>
                    <a:pt x="46021" y="54019"/>
                    <a:pt x="41608" y="56541"/>
                    <a:pt x="37195" y="60323"/>
                  </a:cubicBezTo>
                  <a:cubicBezTo>
                    <a:pt x="35304" y="62215"/>
                    <a:pt x="32782" y="64736"/>
                    <a:pt x="32782" y="71041"/>
                  </a:cubicBezTo>
                  <a:cubicBezTo>
                    <a:pt x="32782" y="76714"/>
                    <a:pt x="34673" y="81128"/>
                    <a:pt x="39086" y="85540"/>
                  </a:cubicBezTo>
                  <a:cubicBezTo>
                    <a:pt x="41608" y="88062"/>
                    <a:pt x="46651" y="91845"/>
                    <a:pt x="57999" y="91845"/>
                  </a:cubicBezTo>
                  <a:cubicBezTo>
                    <a:pt x="68716" y="91845"/>
                    <a:pt x="78172" y="89323"/>
                    <a:pt x="86998" y="84910"/>
                  </a:cubicBezTo>
                  <a:cubicBezTo>
                    <a:pt x="95194" y="80497"/>
                    <a:pt x="101498" y="74823"/>
                    <a:pt x="104650" y="68519"/>
                  </a:cubicBezTo>
                  <a:cubicBezTo>
                    <a:pt x="107172" y="65367"/>
                    <a:pt x="110324" y="56541"/>
                    <a:pt x="111585" y="38889"/>
                  </a:cubicBezTo>
                  <a:lnTo>
                    <a:pt x="111585" y="38889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18" name="Forma Livre: Forma 317">
              <a:extLst>
                <a:ext uri="{FF2B5EF4-FFF2-40B4-BE49-F238E27FC236}">
                  <a16:creationId xmlns:a16="http://schemas.microsoft.com/office/drawing/2014/main" id="{574B04F5-EE09-49B7-8F81-0594F0064587}"/>
                </a:ext>
              </a:extLst>
            </p:cNvPr>
            <p:cNvSpPr/>
            <p:nvPr/>
          </p:nvSpPr>
          <p:spPr>
            <a:xfrm>
              <a:off x="6685607" y="2617743"/>
              <a:ext cx="138529" cy="192909"/>
            </a:xfrm>
            <a:custGeom>
              <a:avLst/>
              <a:gdLst>
                <a:gd name="connsiteX0" fmla="*/ 121508 w 138529"/>
                <a:gd name="connsiteY0" fmla="*/ 192909 h 192909"/>
                <a:gd name="connsiteX1" fmla="*/ 105118 w 138529"/>
                <a:gd name="connsiteY1" fmla="*/ 176518 h 192909"/>
                <a:gd name="connsiteX2" fmla="*/ 105118 w 138529"/>
                <a:gd name="connsiteY2" fmla="*/ 67455 h 192909"/>
                <a:gd name="connsiteX3" fmla="*/ 72966 w 138529"/>
                <a:gd name="connsiteY3" fmla="*/ 32782 h 192909"/>
                <a:gd name="connsiteX4" fmla="*/ 61618 w 138529"/>
                <a:gd name="connsiteY4" fmla="*/ 32782 h 192909"/>
                <a:gd name="connsiteX5" fmla="*/ 31988 w 138529"/>
                <a:gd name="connsiteY5" fmla="*/ 53586 h 192909"/>
                <a:gd name="connsiteX6" fmla="*/ 10554 w 138529"/>
                <a:gd name="connsiteY6" fmla="*/ 63042 h 192909"/>
                <a:gd name="connsiteX7" fmla="*/ 1098 w 138529"/>
                <a:gd name="connsiteY7" fmla="*/ 41608 h 192909"/>
                <a:gd name="connsiteX8" fmla="*/ 61618 w 138529"/>
                <a:gd name="connsiteY8" fmla="*/ 0 h 192909"/>
                <a:gd name="connsiteX9" fmla="*/ 72966 w 138529"/>
                <a:gd name="connsiteY9" fmla="*/ 0 h 192909"/>
                <a:gd name="connsiteX10" fmla="*/ 138530 w 138529"/>
                <a:gd name="connsiteY10" fmla="*/ 68086 h 192909"/>
                <a:gd name="connsiteX11" fmla="*/ 138530 w 138529"/>
                <a:gd name="connsiteY11" fmla="*/ 177149 h 192909"/>
                <a:gd name="connsiteX12" fmla="*/ 121508 w 138529"/>
                <a:gd name="connsiteY12" fmla="*/ 192909 h 192909"/>
                <a:gd name="connsiteX13" fmla="*/ 121508 w 138529"/>
                <a:gd name="connsiteY13" fmla="*/ 192909 h 192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8529" h="192909">
                  <a:moveTo>
                    <a:pt x="121508" y="192909"/>
                  </a:moveTo>
                  <a:cubicBezTo>
                    <a:pt x="112052" y="192909"/>
                    <a:pt x="105118" y="185344"/>
                    <a:pt x="105118" y="176518"/>
                  </a:cubicBezTo>
                  <a:lnTo>
                    <a:pt x="105118" y="67455"/>
                  </a:lnTo>
                  <a:cubicBezTo>
                    <a:pt x="105118" y="48543"/>
                    <a:pt x="90618" y="32782"/>
                    <a:pt x="72966" y="32782"/>
                  </a:cubicBezTo>
                  <a:lnTo>
                    <a:pt x="61618" y="32782"/>
                  </a:lnTo>
                  <a:cubicBezTo>
                    <a:pt x="49010" y="32782"/>
                    <a:pt x="37032" y="40977"/>
                    <a:pt x="31988" y="53586"/>
                  </a:cubicBezTo>
                  <a:cubicBezTo>
                    <a:pt x="28836" y="62412"/>
                    <a:pt x="18750" y="66194"/>
                    <a:pt x="10554" y="63042"/>
                  </a:cubicBezTo>
                  <a:cubicBezTo>
                    <a:pt x="1728" y="59890"/>
                    <a:pt x="-2054" y="49803"/>
                    <a:pt x="1098" y="41608"/>
                  </a:cubicBezTo>
                  <a:cubicBezTo>
                    <a:pt x="11185" y="16391"/>
                    <a:pt x="35140" y="0"/>
                    <a:pt x="61618" y="0"/>
                  </a:cubicBezTo>
                  <a:lnTo>
                    <a:pt x="72966" y="0"/>
                  </a:lnTo>
                  <a:cubicBezTo>
                    <a:pt x="108900" y="0"/>
                    <a:pt x="138530" y="30260"/>
                    <a:pt x="138530" y="68086"/>
                  </a:cubicBezTo>
                  <a:lnTo>
                    <a:pt x="138530" y="177149"/>
                  </a:lnTo>
                  <a:cubicBezTo>
                    <a:pt x="137900" y="185344"/>
                    <a:pt x="130965" y="192909"/>
                    <a:pt x="121508" y="192909"/>
                  </a:cubicBezTo>
                  <a:lnTo>
                    <a:pt x="121508" y="192909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19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5387058" y="1566583"/>
            <a:ext cx="412296" cy="411281"/>
            <a:chOff x="5387058" y="1566583"/>
            <a:chExt cx="412296" cy="411281"/>
          </a:xfrm>
          <a:solidFill>
            <a:srgbClr val="B1B1A1"/>
          </a:solidFill>
        </p:grpSpPr>
        <p:grpSp>
          <p:nvGrpSpPr>
            <p:cNvPr id="320" name="Gráfico 2">
              <a:extLst>
                <a:ext uri="{FF2B5EF4-FFF2-40B4-BE49-F238E27FC236}">
                  <a16:creationId xmlns:a16="http://schemas.microsoft.com/office/drawing/2014/main" id="{1EC2913E-D059-42A1-91F3-F6BAB2F166E6}"/>
                </a:ext>
              </a:extLst>
            </p:cNvPr>
            <p:cNvGrpSpPr/>
            <p:nvPr/>
          </p:nvGrpSpPr>
          <p:grpSpPr>
            <a:xfrm>
              <a:off x="5387058" y="1566583"/>
              <a:ext cx="412296" cy="411281"/>
              <a:chOff x="5387058" y="1566583"/>
              <a:chExt cx="412296" cy="411281"/>
            </a:xfrm>
            <a:grpFill/>
          </p:grpSpPr>
          <p:sp>
            <p:nvSpPr>
              <p:cNvPr id="321" name="Forma Livre: Forma 320">
                <a:extLst>
                  <a:ext uri="{FF2B5EF4-FFF2-40B4-BE49-F238E27FC236}">
                    <a16:creationId xmlns:a16="http://schemas.microsoft.com/office/drawing/2014/main" id="{8A80C6E2-16F6-405D-A448-59F60C8A1731}"/>
                  </a:ext>
                </a:extLst>
              </p:cNvPr>
              <p:cNvSpPr/>
              <p:nvPr/>
            </p:nvSpPr>
            <p:spPr>
              <a:xfrm>
                <a:off x="5548162" y="1566583"/>
                <a:ext cx="146472" cy="266914"/>
              </a:xfrm>
              <a:custGeom>
                <a:avLst/>
                <a:gdLst>
                  <a:gd name="connsiteX0" fmla="*/ 117889 w 146472"/>
                  <a:gd name="connsiteY0" fmla="*/ 266915 h 266914"/>
                  <a:gd name="connsiteX1" fmla="*/ 86368 w 146472"/>
                  <a:gd name="connsiteY1" fmla="*/ 256197 h 266914"/>
                  <a:gd name="connsiteX2" fmla="*/ 97085 w 146472"/>
                  <a:gd name="connsiteY2" fmla="*/ 221524 h 266914"/>
                  <a:gd name="connsiteX3" fmla="*/ 112846 w 146472"/>
                  <a:gd name="connsiteY3" fmla="*/ 87244 h 266914"/>
                  <a:gd name="connsiteX4" fmla="*/ 92042 w 146472"/>
                  <a:gd name="connsiteY4" fmla="*/ 33658 h 266914"/>
                  <a:gd name="connsiteX5" fmla="*/ 29630 w 146472"/>
                  <a:gd name="connsiteY5" fmla="*/ 99222 h 266914"/>
                  <a:gd name="connsiteX6" fmla="*/ 0 w 146472"/>
                  <a:gd name="connsiteY6" fmla="*/ 84092 h 266914"/>
                  <a:gd name="connsiteX7" fmla="*/ 100237 w 146472"/>
                  <a:gd name="connsiteY7" fmla="*/ 1507 h 266914"/>
                  <a:gd name="connsiteX8" fmla="*/ 145628 w 146472"/>
                  <a:gd name="connsiteY8" fmla="*/ 84723 h 266914"/>
                  <a:gd name="connsiteX9" fmla="*/ 128606 w 146472"/>
                  <a:gd name="connsiteY9" fmla="*/ 230350 h 266914"/>
                  <a:gd name="connsiteX10" fmla="*/ 117889 w 146472"/>
                  <a:gd name="connsiteY10" fmla="*/ 266915 h 266914"/>
                  <a:gd name="connsiteX11" fmla="*/ 117889 w 146472"/>
                  <a:gd name="connsiteY11" fmla="*/ 266915 h 2669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46472" h="266914">
                    <a:moveTo>
                      <a:pt x="117889" y="266915"/>
                    </a:moveTo>
                    <a:lnTo>
                      <a:pt x="86368" y="256197"/>
                    </a:lnTo>
                    <a:cubicBezTo>
                      <a:pt x="90151" y="244850"/>
                      <a:pt x="93933" y="232872"/>
                      <a:pt x="97085" y="221524"/>
                    </a:cubicBezTo>
                    <a:cubicBezTo>
                      <a:pt x="110324" y="172351"/>
                      <a:pt x="115998" y="125070"/>
                      <a:pt x="112846" y="87244"/>
                    </a:cubicBezTo>
                    <a:cubicBezTo>
                      <a:pt x="110324" y="53201"/>
                      <a:pt x="100237" y="35550"/>
                      <a:pt x="92042" y="33658"/>
                    </a:cubicBezTo>
                    <a:cubicBezTo>
                      <a:pt x="81955" y="31137"/>
                      <a:pt x="57369" y="46267"/>
                      <a:pt x="29630" y="99222"/>
                    </a:cubicBezTo>
                    <a:lnTo>
                      <a:pt x="0" y="84092"/>
                    </a:lnTo>
                    <a:cubicBezTo>
                      <a:pt x="31521" y="22941"/>
                      <a:pt x="68716" y="-7319"/>
                      <a:pt x="100237" y="1507"/>
                    </a:cubicBezTo>
                    <a:cubicBezTo>
                      <a:pt x="117889" y="6550"/>
                      <a:pt x="140585" y="24832"/>
                      <a:pt x="145628" y="84723"/>
                    </a:cubicBezTo>
                    <a:cubicBezTo>
                      <a:pt x="148780" y="125700"/>
                      <a:pt x="143106" y="177395"/>
                      <a:pt x="128606" y="230350"/>
                    </a:cubicBezTo>
                    <a:cubicBezTo>
                      <a:pt x="125454" y="242328"/>
                      <a:pt x="121672" y="254937"/>
                      <a:pt x="117889" y="266915"/>
                    </a:cubicBezTo>
                    <a:lnTo>
                      <a:pt x="117889" y="266915"/>
                    </a:ln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22" name="Forma Livre: Forma 321">
                <a:extLst>
                  <a:ext uri="{FF2B5EF4-FFF2-40B4-BE49-F238E27FC236}">
                    <a16:creationId xmlns:a16="http://schemas.microsoft.com/office/drawing/2014/main" id="{5858A6F8-DA50-4FA8-9235-0F3558894FBA}"/>
                  </a:ext>
                </a:extLst>
              </p:cNvPr>
              <p:cNvSpPr/>
              <p:nvPr/>
            </p:nvSpPr>
            <p:spPr>
              <a:xfrm>
                <a:off x="5430233" y="1608776"/>
                <a:ext cx="251578" cy="153484"/>
              </a:xfrm>
              <a:custGeom>
                <a:avLst/>
                <a:gdLst>
                  <a:gd name="connsiteX0" fmla="*/ 226992 w 251578"/>
                  <a:gd name="connsiteY0" fmla="*/ 153484 h 153484"/>
                  <a:gd name="connsiteX1" fmla="*/ 202405 w 251578"/>
                  <a:gd name="connsiteY1" fmla="*/ 127006 h 153484"/>
                  <a:gd name="connsiteX2" fmla="*/ 93973 w 251578"/>
                  <a:gd name="connsiteY2" fmla="*/ 46312 h 153484"/>
                  <a:gd name="connsiteX3" fmla="*/ 37235 w 251578"/>
                  <a:gd name="connsiteY3" fmla="*/ 37486 h 153484"/>
                  <a:gd name="connsiteX4" fmla="*/ 63082 w 251578"/>
                  <a:gd name="connsiteY4" fmla="*/ 124485 h 153484"/>
                  <a:gd name="connsiteX5" fmla="*/ 34713 w 251578"/>
                  <a:gd name="connsiteY5" fmla="*/ 142136 h 153484"/>
                  <a:gd name="connsiteX6" fmla="*/ 13279 w 251578"/>
                  <a:gd name="connsiteY6" fmla="*/ 13530 h 153484"/>
                  <a:gd name="connsiteX7" fmla="*/ 107842 w 251578"/>
                  <a:gd name="connsiteY7" fmla="*/ 16052 h 153484"/>
                  <a:gd name="connsiteX8" fmla="*/ 225100 w 251578"/>
                  <a:gd name="connsiteY8" fmla="*/ 103050 h 153484"/>
                  <a:gd name="connsiteX9" fmla="*/ 251578 w 251578"/>
                  <a:gd name="connsiteY9" fmla="*/ 131419 h 153484"/>
                  <a:gd name="connsiteX10" fmla="*/ 226992 w 251578"/>
                  <a:gd name="connsiteY10" fmla="*/ 153484 h 153484"/>
                  <a:gd name="connsiteX11" fmla="*/ 226992 w 251578"/>
                  <a:gd name="connsiteY11" fmla="*/ 153484 h 153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51578" h="153484">
                    <a:moveTo>
                      <a:pt x="226992" y="153484"/>
                    </a:moveTo>
                    <a:cubicBezTo>
                      <a:pt x="219427" y="144658"/>
                      <a:pt x="210601" y="135832"/>
                      <a:pt x="202405" y="127006"/>
                    </a:cubicBezTo>
                    <a:cubicBezTo>
                      <a:pt x="166471" y="91072"/>
                      <a:pt x="128016" y="62703"/>
                      <a:pt x="93973" y="46312"/>
                    </a:cubicBezTo>
                    <a:cubicBezTo>
                      <a:pt x="63082" y="31812"/>
                      <a:pt x="43539" y="31182"/>
                      <a:pt x="37235" y="37486"/>
                    </a:cubicBezTo>
                    <a:cubicBezTo>
                      <a:pt x="30300" y="44421"/>
                      <a:pt x="30930" y="74051"/>
                      <a:pt x="63082" y="124485"/>
                    </a:cubicBezTo>
                    <a:lnTo>
                      <a:pt x="34713" y="142136"/>
                    </a:lnTo>
                    <a:cubicBezTo>
                      <a:pt x="-2482" y="84138"/>
                      <a:pt x="-10047" y="37486"/>
                      <a:pt x="13279" y="13530"/>
                    </a:cubicBezTo>
                    <a:cubicBezTo>
                      <a:pt x="26517" y="291"/>
                      <a:pt x="53626" y="-9795"/>
                      <a:pt x="107842" y="16052"/>
                    </a:cubicBezTo>
                    <a:cubicBezTo>
                      <a:pt x="145037" y="33704"/>
                      <a:pt x="186645" y="64595"/>
                      <a:pt x="225100" y="103050"/>
                    </a:cubicBezTo>
                    <a:cubicBezTo>
                      <a:pt x="234557" y="111876"/>
                      <a:pt x="243383" y="121963"/>
                      <a:pt x="251578" y="131419"/>
                    </a:cubicBezTo>
                    <a:lnTo>
                      <a:pt x="226992" y="153484"/>
                    </a:lnTo>
                    <a:lnTo>
                      <a:pt x="226992" y="153484"/>
                    </a:ln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23" name="Forma Livre: Forma 322">
                <a:extLst>
                  <a:ext uri="{FF2B5EF4-FFF2-40B4-BE49-F238E27FC236}">
                    <a16:creationId xmlns:a16="http://schemas.microsoft.com/office/drawing/2014/main" id="{C1C7C942-8D56-4EEB-B764-CBF5FE6F4461}"/>
                  </a:ext>
                </a:extLst>
              </p:cNvPr>
              <p:cNvSpPr/>
              <p:nvPr/>
            </p:nvSpPr>
            <p:spPr>
              <a:xfrm>
                <a:off x="5387058" y="1678414"/>
                <a:ext cx="229189" cy="194170"/>
              </a:xfrm>
              <a:custGeom>
                <a:avLst/>
                <a:gdLst>
                  <a:gd name="connsiteX0" fmla="*/ 108149 w 229189"/>
                  <a:gd name="connsiteY0" fmla="*/ 194170 h 194170"/>
                  <a:gd name="connsiteX1" fmla="*/ 1607 w 229189"/>
                  <a:gd name="connsiteY1" fmla="*/ 148149 h 194170"/>
                  <a:gd name="connsiteX2" fmla="*/ 7911 w 229189"/>
                  <a:gd name="connsiteY2" fmla="*/ 109694 h 194170"/>
                  <a:gd name="connsiteX3" fmla="*/ 185060 w 229189"/>
                  <a:gd name="connsiteY3" fmla="*/ 8826 h 194170"/>
                  <a:gd name="connsiteX4" fmla="*/ 222886 w 229189"/>
                  <a:gd name="connsiteY4" fmla="*/ 0 h 194170"/>
                  <a:gd name="connsiteX5" fmla="*/ 229190 w 229189"/>
                  <a:gd name="connsiteY5" fmla="*/ 32782 h 194170"/>
                  <a:gd name="connsiteX6" fmla="*/ 193886 w 229189"/>
                  <a:gd name="connsiteY6" fmla="*/ 40977 h 194170"/>
                  <a:gd name="connsiteX7" fmla="*/ 36911 w 229189"/>
                  <a:gd name="connsiteY7" fmla="*/ 126085 h 194170"/>
                  <a:gd name="connsiteX8" fmla="*/ 33759 w 229189"/>
                  <a:gd name="connsiteY8" fmla="*/ 138693 h 194170"/>
                  <a:gd name="connsiteX9" fmla="*/ 122018 w 229189"/>
                  <a:gd name="connsiteY9" fmla="*/ 159497 h 194170"/>
                  <a:gd name="connsiteX10" fmla="*/ 123279 w 229189"/>
                  <a:gd name="connsiteY10" fmla="*/ 192909 h 194170"/>
                  <a:gd name="connsiteX11" fmla="*/ 108149 w 229189"/>
                  <a:gd name="connsiteY11" fmla="*/ 194170 h 194170"/>
                  <a:gd name="connsiteX12" fmla="*/ 108149 w 229189"/>
                  <a:gd name="connsiteY12" fmla="*/ 194170 h 194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29189" h="194170">
                    <a:moveTo>
                      <a:pt x="108149" y="194170"/>
                    </a:moveTo>
                    <a:cubicBezTo>
                      <a:pt x="48259" y="194170"/>
                      <a:pt x="9803" y="177779"/>
                      <a:pt x="1607" y="148149"/>
                    </a:cubicBezTo>
                    <a:cubicBezTo>
                      <a:pt x="-914" y="139954"/>
                      <a:pt x="-1545" y="126085"/>
                      <a:pt x="7911" y="109694"/>
                    </a:cubicBezTo>
                    <a:cubicBezTo>
                      <a:pt x="29976" y="71238"/>
                      <a:pt x="99323" y="32152"/>
                      <a:pt x="185060" y="8826"/>
                    </a:cubicBezTo>
                    <a:cubicBezTo>
                      <a:pt x="197669" y="5674"/>
                      <a:pt x="210277" y="2522"/>
                      <a:pt x="222886" y="0"/>
                    </a:cubicBezTo>
                    <a:lnTo>
                      <a:pt x="229190" y="32782"/>
                    </a:lnTo>
                    <a:cubicBezTo>
                      <a:pt x="217212" y="35304"/>
                      <a:pt x="205864" y="37825"/>
                      <a:pt x="193886" y="40977"/>
                    </a:cubicBezTo>
                    <a:cubicBezTo>
                      <a:pt x="106257" y="64303"/>
                      <a:pt x="50780" y="101498"/>
                      <a:pt x="36911" y="126085"/>
                    </a:cubicBezTo>
                    <a:cubicBezTo>
                      <a:pt x="35019" y="129867"/>
                      <a:pt x="32498" y="134910"/>
                      <a:pt x="33759" y="138693"/>
                    </a:cubicBezTo>
                    <a:cubicBezTo>
                      <a:pt x="36280" y="148780"/>
                      <a:pt x="62128" y="162019"/>
                      <a:pt x="122018" y="159497"/>
                    </a:cubicBezTo>
                    <a:lnTo>
                      <a:pt x="123279" y="192909"/>
                    </a:lnTo>
                    <a:cubicBezTo>
                      <a:pt x="118235" y="194170"/>
                      <a:pt x="113192" y="194170"/>
                      <a:pt x="108149" y="194170"/>
                    </a:cubicBezTo>
                    <a:lnTo>
                      <a:pt x="108149" y="194170"/>
                    </a:ln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24" name="Forma Livre: Forma 323">
                <a:extLst>
                  <a:ext uri="{FF2B5EF4-FFF2-40B4-BE49-F238E27FC236}">
                    <a16:creationId xmlns:a16="http://schemas.microsoft.com/office/drawing/2014/main" id="{789ACE08-95E8-47F1-832C-CA76E8D9CBE0}"/>
                  </a:ext>
                </a:extLst>
              </p:cNvPr>
              <p:cNvSpPr/>
              <p:nvPr/>
            </p:nvSpPr>
            <p:spPr>
              <a:xfrm>
                <a:off x="5491840" y="1710565"/>
                <a:ext cx="147102" cy="267299"/>
              </a:xfrm>
              <a:custGeom>
                <a:avLst/>
                <a:gdLst>
                  <a:gd name="connsiteX0" fmla="*/ 56952 w 147102"/>
                  <a:gd name="connsiteY0" fmla="*/ 267299 h 267299"/>
                  <a:gd name="connsiteX1" fmla="*/ 46235 w 147102"/>
                  <a:gd name="connsiteY1" fmla="*/ 266038 h 267299"/>
                  <a:gd name="connsiteX2" fmla="*/ 844 w 147102"/>
                  <a:gd name="connsiteY2" fmla="*/ 182823 h 267299"/>
                  <a:gd name="connsiteX3" fmla="*/ 17866 w 147102"/>
                  <a:gd name="connsiteY3" fmla="*/ 37195 h 267299"/>
                  <a:gd name="connsiteX4" fmla="*/ 29213 w 147102"/>
                  <a:gd name="connsiteY4" fmla="*/ 0 h 267299"/>
                  <a:gd name="connsiteX5" fmla="*/ 60734 w 147102"/>
                  <a:gd name="connsiteY5" fmla="*/ 10717 h 267299"/>
                  <a:gd name="connsiteX6" fmla="*/ 50017 w 147102"/>
                  <a:gd name="connsiteY6" fmla="*/ 45390 h 267299"/>
                  <a:gd name="connsiteX7" fmla="*/ 34257 w 147102"/>
                  <a:gd name="connsiteY7" fmla="*/ 179670 h 267299"/>
                  <a:gd name="connsiteX8" fmla="*/ 55061 w 147102"/>
                  <a:gd name="connsiteY8" fmla="*/ 233256 h 267299"/>
                  <a:gd name="connsiteX9" fmla="*/ 117472 w 147102"/>
                  <a:gd name="connsiteY9" fmla="*/ 167692 h 267299"/>
                  <a:gd name="connsiteX10" fmla="*/ 147102 w 147102"/>
                  <a:gd name="connsiteY10" fmla="*/ 182823 h 267299"/>
                  <a:gd name="connsiteX11" fmla="*/ 56952 w 147102"/>
                  <a:gd name="connsiteY11" fmla="*/ 267299 h 267299"/>
                  <a:gd name="connsiteX12" fmla="*/ 56952 w 147102"/>
                  <a:gd name="connsiteY12" fmla="*/ 267299 h 2672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47102" h="267299">
                    <a:moveTo>
                      <a:pt x="56952" y="267299"/>
                    </a:moveTo>
                    <a:cubicBezTo>
                      <a:pt x="53169" y="267299"/>
                      <a:pt x="49387" y="266669"/>
                      <a:pt x="46235" y="266038"/>
                    </a:cubicBezTo>
                    <a:cubicBezTo>
                      <a:pt x="28583" y="260995"/>
                      <a:pt x="5888" y="242713"/>
                      <a:pt x="844" y="182823"/>
                    </a:cubicBezTo>
                    <a:cubicBezTo>
                      <a:pt x="-2308" y="141845"/>
                      <a:pt x="3366" y="90150"/>
                      <a:pt x="17866" y="37195"/>
                    </a:cubicBezTo>
                    <a:cubicBezTo>
                      <a:pt x="21018" y="24586"/>
                      <a:pt x="24800" y="11978"/>
                      <a:pt x="29213" y="0"/>
                    </a:cubicBezTo>
                    <a:lnTo>
                      <a:pt x="60734" y="10717"/>
                    </a:lnTo>
                    <a:cubicBezTo>
                      <a:pt x="56952" y="21434"/>
                      <a:pt x="53169" y="33412"/>
                      <a:pt x="50017" y="45390"/>
                    </a:cubicBezTo>
                    <a:cubicBezTo>
                      <a:pt x="36778" y="94563"/>
                      <a:pt x="31105" y="141845"/>
                      <a:pt x="34257" y="179670"/>
                    </a:cubicBezTo>
                    <a:cubicBezTo>
                      <a:pt x="36778" y="213713"/>
                      <a:pt x="46235" y="231365"/>
                      <a:pt x="55061" y="233256"/>
                    </a:cubicBezTo>
                    <a:cubicBezTo>
                      <a:pt x="65147" y="235778"/>
                      <a:pt x="89734" y="220648"/>
                      <a:pt x="117472" y="167692"/>
                    </a:cubicBezTo>
                    <a:lnTo>
                      <a:pt x="147102" y="182823"/>
                    </a:lnTo>
                    <a:cubicBezTo>
                      <a:pt x="118733" y="237669"/>
                      <a:pt x="86582" y="267299"/>
                      <a:pt x="56952" y="267299"/>
                    </a:cubicBezTo>
                    <a:lnTo>
                      <a:pt x="56952" y="267299"/>
                    </a:ln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25" name="Forma Livre: Forma 324">
                <a:extLst>
                  <a:ext uri="{FF2B5EF4-FFF2-40B4-BE49-F238E27FC236}">
                    <a16:creationId xmlns:a16="http://schemas.microsoft.com/office/drawing/2014/main" id="{2F1D41CD-8A96-45F3-881D-2AD753E603FD}"/>
                  </a:ext>
                </a:extLst>
              </p:cNvPr>
              <p:cNvSpPr/>
              <p:nvPr/>
            </p:nvSpPr>
            <p:spPr>
              <a:xfrm>
                <a:off x="5504032" y="1781803"/>
                <a:ext cx="252208" cy="153823"/>
              </a:xfrm>
              <a:custGeom>
                <a:avLst/>
                <a:gdLst>
                  <a:gd name="connsiteX0" fmla="*/ 202366 w 252208"/>
                  <a:gd name="connsiteY0" fmla="*/ 153823 h 153823"/>
                  <a:gd name="connsiteX1" fmla="*/ 26478 w 252208"/>
                  <a:gd name="connsiteY1" fmla="*/ 50434 h 153823"/>
                  <a:gd name="connsiteX2" fmla="*/ 0 w 252208"/>
                  <a:gd name="connsiteY2" fmla="*/ 22065 h 153823"/>
                  <a:gd name="connsiteX3" fmla="*/ 25217 w 252208"/>
                  <a:gd name="connsiteY3" fmla="*/ 0 h 153823"/>
                  <a:gd name="connsiteX4" fmla="*/ 49804 w 252208"/>
                  <a:gd name="connsiteY4" fmla="*/ 26478 h 153823"/>
                  <a:gd name="connsiteX5" fmla="*/ 202366 w 252208"/>
                  <a:gd name="connsiteY5" fmla="*/ 119780 h 153823"/>
                  <a:gd name="connsiteX6" fmla="*/ 214974 w 252208"/>
                  <a:gd name="connsiteY6" fmla="*/ 115998 h 153823"/>
                  <a:gd name="connsiteX7" fmla="*/ 189127 w 252208"/>
                  <a:gd name="connsiteY7" fmla="*/ 28999 h 153823"/>
                  <a:gd name="connsiteX8" fmla="*/ 217496 w 252208"/>
                  <a:gd name="connsiteY8" fmla="*/ 11348 h 153823"/>
                  <a:gd name="connsiteX9" fmla="*/ 238930 w 252208"/>
                  <a:gd name="connsiteY9" fmla="*/ 139954 h 153823"/>
                  <a:gd name="connsiteX10" fmla="*/ 202366 w 252208"/>
                  <a:gd name="connsiteY10" fmla="*/ 153823 h 153823"/>
                  <a:gd name="connsiteX11" fmla="*/ 202366 w 252208"/>
                  <a:gd name="connsiteY11" fmla="*/ 153823 h 153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52208" h="153823">
                    <a:moveTo>
                      <a:pt x="202366" y="153823"/>
                    </a:moveTo>
                    <a:cubicBezTo>
                      <a:pt x="158236" y="153823"/>
                      <a:pt x="88890" y="113476"/>
                      <a:pt x="26478" y="50434"/>
                    </a:cubicBezTo>
                    <a:cubicBezTo>
                      <a:pt x="17021" y="41608"/>
                      <a:pt x="8196" y="31521"/>
                      <a:pt x="0" y="22065"/>
                    </a:cubicBezTo>
                    <a:lnTo>
                      <a:pt x="25217" y="0"/>
                    </a:lnTo>
                    <a:cubicBezTo>
                      <a:pt x="32782" y="8826"/>
                      <a:pt x="41608" y="17652"/>
                      <a:pt x="49804" y="26478"/>
                    </a:cubicBezTo>
                    <a:cubicBezTo>
                      <a:pt x="114107" y="90781"/>
                      <a:pt x="173997" y="119780"/>
                      <a:pt x="202366" y="119780"/>
                    </a:cubicBezTo>
                    <a:cubicBezTo>
                      <a:pt x="206779" y="119780"/>
                      <a:pt x="211822" y="119150"/>
                      <a:pt x="214974" y="115998"/>
                    </a:cubicBezTo>
                    <a:cubicBezTo>
                      <a:pt x="222539" y="109063"/>
                      <a:pt x="221279" y="79433"/>
                      <a:pt x="189127" y="28999"/>
                    </a:cubicBezTo>
                    <a:lnTo>
                      <a:pt x="217496" y="11348"/>
                    </a:lnTo>
                    <a:cubicBezTo>
                      <a:pt x="254691" y="69346"/>
                      <a:pt x="262256" y="115998"/>
                      <a:pt x="238930" y="139954"/>
                    </a:cubicBezTo>
                    <a:cubicBezTo>
                      <a:pt x="232626" y="146888"/>
                      <a:pt x="221279" y="153823"/>
                      <a:pt x="202366" y="153823"/>
                    </a:cubicBezTo>
                    <a:lnTo>
                      <a:pt x="202366" y="153823"/>
                    </a:ln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26" name="Forma Livre: Forma 325">
                <a:extLst>
                  <a:ext uri="{FF2B5EF4-FFF2-40B4-BE49-F238E27FC236}">
                    <a16:creationId xmlns:a16="http://schemas.microsoft.com/office/drawing/2014/main" id="{B62D404B-58F9-40DF-A639-C99F0998F64A}"/>
                  </a:ext>
                </a:extLst>
              </p:cNvPr>
              <p:cNvSpPr/>
              <p:nvPr/>
            </p:nvSpPr>
            <p:spPr>
              <a:xfrm>
                <a:off x="5570226" y="1671738"/>
                <a:ext cx="229127" cy="193911"/>
              </a:xfrm>
              <a:custGeom>
                <a:avLst/>
                <a:gdLst>
                  <a:gd name="connsiteX0" fmla="*/ 6304 w 229127"/>
                  <a:gd name="connsiteY0" fmla="*/ 193912 h 193911"/>
                  <a:gd name="connsiteX1" fmla="*/ 0 w 229127"/>
                  <a:gd name="connsiteY1" fmla="*/ 161130 h 193911"/>
                  <a:gd name="connsiteX2" fmla="*/ 35304 w 229127"/>
                  <a:gd name="connsiteY2" fmla="*/ 152934 h 193911"/>
                  <a:gd name="connsiteX3" fmla="*/ 159497 w 229127"/>
                  <a:gd name="connsiteY3" fmla="*/ 99348 h 193911"/>
                  <a:gd name="connsiteX4" fmla="*/ 195431 w 229127"/>
                  <a:gd name="connsiteY4" fmla="*/ 54588 h 193911"/>
                  <a:gd name="connsiteX5" fmla="*/ 107172 w 229127"/>
                  <a:gd name="connsiteY5" fmla="*/ 33784 h 193911"/>
                  <a:gd name="connsiteX6" fmla="*/ 105911 w 229127"/>
                  <a:gd name="connsiteY6" fmla="*/ 372 h 193911"/>
                  <a:gd name="connsiteX7" fmla="*/ 227583 w 229127"/>
                  <a:gd name="connsiteY7" fmla="*/ 46393 h 193911"/>
                  <a:gd name="connsiteX8" fmla="*/ 177779 w 229127"/>
                  <a:gd name="connsiteY8" fmla="*/ 127087 h 193911"/>
                  <a:gd name="connsiteX9" fmla="*/ 43499 w 229127"/>
                  <a:gd name="connsiteY9" fmla="*/ 185086 h 193911"/>
                  <a:gd name="connsiteX10" fmla="*/ 6304 w 229127"/>
                  <a:gd name="connsiteY10" fmla="*/ 193912 h 193911"/>
                  <a:gd name="connsiteX11" fmla="*/ 6304 w 229127"/>
                  <a:gd name="connsiteY11" fmla="*/ 193912 h 193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9127" h="193911">
                    <a:moveTo>
                      <a:pt x="6304" y="193912"/>
                    </a:moveTo>
                    <a:lnTo>
                      <a:pt x="0" y="161130"/>
                    </a:lnTo>
                    <a:cubicBezTo>
                      <a:pt x="11348" y="158608"/>
                      <a:pt x="23326" y="156086"/>
                      <a:pt x="35304" y="152934"/>
                    </a:cubicBezTo>
                    <a:cubicBezTo>
                      <a:pt x="84477" y="139695"/>
                      <a:pt x="128606" y="120783"/>
                      <a:pt x="159497" y="99348"/>
                    </a:cubicBezTo>
                    <a:cubicBezTo>
                      <a:pt x="187866" y="79805"/>
                      <a:pt x="197953" y="62784"/>
                      <a:pt x="195431" y="54588"/>
                    </a:cubicBezTo>
                    <a:cubicBezTo>
                      <a:pt x="192910" y="44501"/>
                      <a:pt x="167062" y="30632"/>
                      <a:pt x="107172" y="33784"/>
                    </a:cubicBezTo>
                    <a:lnTo>
                      <a:pt x="105911" y="372"/>
                    </a:lnTo>
                    <a:cubicBezTo>
                      <a:pt x="174627" y="-2780"/>
                      <a:pt x="219387" y="14241"/>
                      <a:pt x="227583" y="46393"/>
                    </a:cubicBezTo>
                    <a:cubicBezTo>
                      <a:pt x="232626" y="64045"/>
                      <a:pt x="227583" y="93044"/>
                      <a:pt x="177779" y="127087"/>
                    </a:cubicBezTo>
                    <a:cubicBezTo>
                      <a:pt x="143737" y="150412"/>
                      <a:pt x="95824" y="171216"/>
                      <a:pt x="43499" y="185086"/>
                    </a:cubicBezTo>
                    <a:cubicBezTo>
                      <a:pt x="30891" y="188868"/>
                      <a:pt x="18282" y="191390"/>
                      <a:pt x="6304" y="193912"/>
                    </a:cubicBezTo>
                    <a:lnTo>
                      <a:pt x="6304" y="193912"/>
                    </a:ln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327" name="Forma Livre: Forma 326">
              <a:extLst>
                <a:ext uri="{FF2B5EF4-FFF2-40B4-BE49-F238E27FC236}">
                  <a16:creationId xmlns:a16="http://schemas.microsoft.com/office/drawing/2014/main" id="{D4D92F93-47BC-4565-8634-6B63433F17B5}"/>
                </a:ext>
              </a:extLst>
            </p:cNvPr>
            <p:cNvSpPr/>
            <p:nvPr/>
          </p:nvSpPr>
          <p:spPr>
            <a:xfrm>
              <a:off x="5572748" y="1751543"/>
              <a:ext cx="41607" cy="41607"/>
            </a:xfrm>
            <a:custGeom>
              <a:avLst/>
              <a:gdLst>
                <a:gd name="connsiteX0" fmla="*/ 20804 w 41607"/>
                <a:gd name="connsiteY0" fmla="*/ 0 h 41607"/>
                <a:gd name="connsiteX1" fmla="*/ 0 w 41607"/>
                <a:gd name="connsiteY1" fmla="*/ 20804 h 41607"/>
                <a:gd name="connsiteX2" fmla="*/ 20804 w 41607"/>
                <a:gd name="connsiteY2" fmla="*/ 41608 h 41607"/>
                <a:gd name="connsiteX3" fmla="*/ 41608 w 41607"/>
                <a:gd name="connsiteY3" fmla="*/ 20804 h 41607"/>
                <a:gd name="connsiteX4" fmla="*/ 20804 w 41607"/>
                <a:gd name="connsiteY4" fmla="*/ 0 h 41607"/>
                <a:gd name="connsiteX5" fmla="*/ 20804 w 41607"/>
                <a:gd name="connsiteY5" fmla="*/ 0 h 41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607" h="41607">
                  <a:moveTo>
                    <a:pt x="20804" y="0"/>
                  </a:moveTo>
                  <a:cubicBezTo>
                    <a:pt x="9456" y="0"/>
                    <a:pt x="0" y="9456"/>
                    <a:pt x="0" y="20804"/>
                  </a:cubicBezTo>
                  <a:cubicBezTo>
                    <a:pt x="0" y="32152"/>
                    <a:pt x="9456" y="41608"/>
                    <a:pt x="20804" y="41608"/>
                  </a:cubicBezTo>
                  <a:cubicBezTo>
                    <a:pt x="32151" y="41608"/>
                    <a:pt x="41608" y="32152"/>
                    <a:pt x="41608" y="20804"/>
                  </a:cubicBezTo>
                  <a:cubicBezTo>
                    <a:pt x="41608" y="9456"/>
                    <a:pt x="32151" y="0"/>
                    <a:pt x="20804" y="0"/>
                  </a:cubicBezTo>
                  <a:lnTo>
                    <a:pt x="20804" y="0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28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6423188" y="1573133"/>
            <a:ext cx="397954" cy="397796"/>
            <a:chOff x="6423188" y="1573133"/>
            <a:chExt cx="397954" cy="397796"/>
          </a:xfrm>
          <a:solidFill>
            <a:srgbClr val="B1B1A1"/>
          </a:solidFill>
        </p:grpSpPr>
        <p:sp>
          <p:nvSpPr>
            <p:cNvPr id="329" name="Forma Livre: Forma 328">
              <a:extLst>
                <a:ext uri="{FF2B5EF4-FFF2-40B4-BE49-F238E27FC236}">
                  <a16:creationId xmlns:a16="http://schemas.microsoft.com/office/drawing/2014/main" id="{A1E1B4BC-9B5C-44EA-A263-272B8C97C514}"/>
                </a:ext>
              </a:extLst>
            </p:cNvPr>
            <p:cNvSpPr/>
            <p:nvPr/>
          </p:nvSpPr>
          <p:spPr>
            <a:xfrm>
              <a:off x="6514915" y="1684403"/>
              <a:ext cx="195430" cy="195746"/>
            </a:xfrm>
            <a:custGeom>
              <a:avLst/>
              <a:gdLst>
                <a:gd name="connsiteX0" fmla="*/ 16706 w 195430"/>
                <a:gd name="connsiteY0" fmla="*/ 195746 h 195746"/>
                <a:gd name="connsiteX1" fmla="*/ 4728 w 195430"/>
                <a:gd name="connsiteY1" fmla="*/ 190703 h 195746"/>
                <a:gd name="connsiteX2" fmla="*/ 4728 w 195430"/>
                <a:gd name="connsiteY2" fmla="*/ 167377 h 195746"/>
                <a:gd name="connsiteX3" fmla="*/ 167377 w 195430"/>
                <a:gd name="connsiteY3" fmla="*/ 4728 h 195746"/>
                <a:gd name="connsiteX4" fmla="*/ 190703 w 195430"/>
                <a:gd name="connsiteY4" fmla="*/ 4728 h 195746"/>
                <a:gd name="connsiteX5" fmla="*/ 190703 w 195430"/>
                <a:gd name="connsiteY5" fmla="*/ 28054 h 195746"/>
                <a:gd name="connsiteX6" fmla="*/ 28054 w 195430"/>
                <a:gd name="connsiteY6" fmla="*/ 190703 h 195746"/>
                <a:gd name="connsiteX7" fmla="*/ 16706 w 195430"/>
                <a:gd name="connsiteY7" fmla="*/ 195746 h 195746"/>
                <a:gd name="connsiteX8" fmla="*/ 16706 w 195430"/>
                <a:gd name="connsiteY8" fmla="*/ 195746 h 195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5430" h="195746">
                  <a:moveTo>
                    <a:pt x="16706" y="195746"/>
                  </a:moveTo>
                  <a:cubicBezTo>
                    <a:pt x="12293" y="195746"/>
                    <a:pt x="7880" y="193855"/>
                    <a:pt x="4728" y="190703"/>
                  </a:cubicBezTo>
                  <a:cubicBezTo>
                    <a:pt x="-1576" y="184399"/>
                    <a:pt x="-1576" y="173681"/>
                    <a:pt x="4728" y="167377"/>
                  </a:cubicBezTo>
                  <a:lnTo>
                    <a:pt x="167377" y="4728"/>
                  </a:lnTo>
                  <a:cubicBezTo>
                    <a:pt x="173681" y="-1576"/>
                    <a:pt x="184399" y="-1576"/>
                    <a:pt x="190703" y="4728"/>
                  </a:cubicBezTo>
                  <a:cubicBezTo>
                    <a:pt x="197007" y="11032"/>
                    <a:pt x="197007" y="21750"/>
                    <a:pt x="190703" y="28054"/>
                  </a:cubicBezTo>
                  <a:lnTo>
                    <a:pt x="28054" y="190703"/>
                  </a:lnTo>
                  <a:cubicBezTo>
                    <a:pt x="24902" y="193855"/>
                    <a:pt x="20489" y="195746"/>
                    <a:pt x="16706" y="195746"/>
                  </a:cubicBezTo>
                  <a:lnTo>
                    <a:pt x="16706" y="195746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30" name="Forma Livre: Forma 329">
              <a:extLst>
                <a:ext uri="{FF2B5EF4-FFF2-40B4-BE49-F238E27FC236}">
                  <a16:creationId xmlns:a16="http://schemas.microsoft.com/office/drawing/2014/main" id="{631C99F5-A7C7-4153-A6B7-D28B25C81CCA}"/>
                </a:ext>
              </a:extLst>
            </p:cNvPr>
            <p:cNvSpPr/>
            <p:nvPr/>
          </p:nvSpPr>
          <p:spPr>
            <a:xfrm>
              <a:off x="6474883" y="1841063"/>
              <a:ext cx="78172" cy="78172"/>
            </a:xfrm>
            <a:custGeom>
              <a:avLst/>
              <a:gdLst>
                <a:gd name="connsiteX0" fmla="*/ 39086 w 78172"/>
                <a:gd name="connsiteY0" fmla="*/ 0 h 78172"/>
                <a:gd name="connsiteX1" fmla="*/ 11348 w 78172"/>
                <a:gd name="connsiteY1" fmla="*/ 11348 h 78172"/>
                <a:gd name="connsiteX2" fmla="*/ 11348 w 78172"/>
                <a:gd name="connsiteY2" fmla="*/ 66825 h 78172"/>
                <a:gd name="connsiteX3" fmla="*/ 39086 w 78172"/>
                <a:gd name="connsiteY3" fmla="*/ 78172 h 78172"/>
                <a:gd name="connsiteX4" fmla="*/ 66825 w 78172"/>
                <a:gd name="connsiteY4" fmla="*/ 66825 h 78172"/>
                <a:gd name="connsiteX5" fmla="*/ 66825 w 78172"/>
                <a:gd name="connsiteY5" fmla="*/ 11348 h 78172"/>
                <a:gd name="connsiteX6" fmla="*/ 39086 w 78172"/>
                <a:gd name="connsiteY6" fmla="*/ 0 h 78172"/>
                <a:gd name="connsiteX7" fmla="*/ 39086 w 78172"/>
                <a:gd name="connsiteY7" fmla="*/ 0 h 7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172" h="78172">
                  <a:moveTo>
                    <a:pt x="39086" y="0"/>
                  </a:moveTo>
                  <a:cubicBezTo>
                    <a:pt x="28999" y="0"/>
                    <a:pt x="18912" y="3783"/>
                    <a:pt x="11348" y="11348"/>
                  </a:cubicBezTo>
                  <a:cubicBezTo>
                    <a:pt x="-3783" y="26478"/>
                    <a:pt x="-3783" y="51695"/>
                    <a:pt x="11348" y="66825"/>
                  </a:cubicBezTo>
                  <a:cubicBezTo>
                    <a:pt x="18912" y="74390"/>
                    <a:pt x="28999" y="78172"/>
                    <a:pt x="39086" y="78172"/>
                  </a:cubicBezTo>
                  <a:cubicBezTo>
                    <a:pt x="49173" y="78172"/>
                    <a:pt x="59260" y="74390"/>
                    <a:pt x="66825" y="66825"/>
                  </a:cubicBezTo>
                  <a:cubicBezTo>
                    <a:pt x="81955" y="51695"/>
                    <a:pt x="81955" y="26478"/>
                    <a:pt x="66825" y="11348"/>
                  </a:cubicBezTo>
                  <a:cubicBezTo>
                    <a:pt x="59260" y="3783"/>
                    <a:pt x="49173" y="0"/>
                    <a:pt x="39086" y="0"/>
                  </a:cubicBezTo>
                  <a:lnTo>
                    <a:pt x="39086" y="0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31" name="Forma Livre: Forma 330">
              <a:extLst>
                <a:ext uri="{FF2B5EF4-FFF2-40B4-BE49-F238E27FC236}">
                  <a16:creationId xmlns:a16="http://schemas.microsoft.com/office/drawing/2014/main" id="{200024F3-B90E-450D-A1A4-E0CA2A42AFC7}"/>
                </a:ext>
              </a:extLst>
            </p:cNvPr>
            <p:cNvSpPr/>
            <p:nvPr/>
          </p:nvSpPr>
          <p:spPr>
            <a:xfrm>
              <a:off x="6423188" y="1573133"/>
              <a:ext cx="397954" cy="397796"/>
            </a:xfrm>
            <a:custGeom>
              <a:avLst/>
              <a:gdLst>
                <a:gd name="connsiteX0" fmla="*/ 90781 w 397954"/>
                <a:gd name="connsiteY0" fmla="*/ 397797 h 397796"/>
                <a:gd name="connsiteX1" fmla="*/ 90781 w 397954"/>
                <a:gd name="connsiteY1" fmla="*/ 397797 h 397796"/>
                <a:gd name="connsiteX2" fmla="*/ 26478 w 397954"/>
                <a:gd name="connsiteY2" fmla="*/ 371319 h 397796"/>
                <a:gd name="connsiteX3" fmla="*/ 26478 w 397954"/>
                <a:gd name="connsiteY3" fmla="*/ 242713 h 397796"/>
                <a:gd name="connsiteX4" fmla="*/ 83216 w 397954"/>
                <a:gd name="connsiteY4" fmla="*/ 216235 h 397796"/>
                <a:gd name="connsiteX5" fmla="*/ 279277 w 397954"/>
                <a:gd name="connsiteY5" fmla="*/ 20174 h 397796"/>
                <a:gd name="connsiteX6" fmla="*/ 328450 w 397954"/>
                <a:gd name="connsiteY6" fmla="*/ 0 h 397796"/>
                <a:gd name="connsiteX7" fmla="*/ 377623 w 397954"/>
                <a:gd name="connsiteY7" fmla="*/ 20174 h 397796"/>
                <a:gd name="connsiteX8" fmla="*/ 377623 w 397954"/>
                <a:gd name="connsiteY8" fmla="*/ 117889 h 397796"/>
                <a:gd name="connsiteX9" fmla="*/ 181562 w 397954"/>
                <a:gd name="connsiteY9" fmla="*/ 313950 h 397796"/>
                <a:gd name="connsiteX10" fmla="*/ 155084 w 397954"/>
                <a:gd name="connsiteY10" fmla="*/ 370688 h 397796"/>
                <a:gd name="connsiteX11" fmla="*/ 90781 w 397954"/>
                <a:gd name="connsiteY11" fmla="*/ 397797 h 397796"/>
                <a:gd name="connsiteX12" fmla="*/ 90781 w 397954"/>
                <a:gd name="connsiteY12" fmla="*/ 397797 h 397796"/>
                <a:gd name="connsiteX13" fmla="*/ 328450 w 397954"/>
                <a:gd name="connsiteY13" fmla="*/ 34043 h 397796"/>
                <a:gd name="connsiteX14" fmla="*/ 303233 w 397954"/>
                <a:gd name="connsiteY14" fmla="*/ 44760 h 397796"/>
                <a:gd name="connsiteX15" fmla="*/ 102759 w 397954"/>
                <a:gd name="connsiteY15" fmla="*/ 245234 h 397796"/>
                <a:gd name="connsiteX16" fmla="*/ 90781 w 397954"/>
                <a:gd name="connsiteY16" fmla="*/ 250278 h 397796"/>
                <a:gd name="connsiteX17" fmla="*/ 50434 w 397954"/>
                <a:gd name="connsiteY17" fmla="*/ 267299 h 397796"/>
                <a:gd name="connsiteX18" fmla="*/ 50434 w 397954"/>
                <a:gd name="connsiteY18" fmla="*/ 348624 h 397796"/>
                <a:gd name="connsiteX19" fmla="*/ 90781 w 397954"/>
                <a:gd name="connsiteY19" fmla="*/ 365645 h 397796"/>
                <a:gd name="connsiteX20" fmla="*/ 90781 w 397954"/>
                <a:gd name="connsiteY20" fmla="*/ 365645 h 397796"/>
                <a:gd name="connsiteX21" fmla="*/ 131128 w 397954"/>
                <a:gd name="connsiteY21" fmla="*/ 348624 h 397796"/>
                <a:gd name="connsiteX22" fmla="*/ 148149 w 397954"/>
                <a:gd name="connsiteY22" fmla="*/ 308277 h 397796"/>
                <a:gd name="connsiteX23" fmla="*/ 153193 w 397954"/>
                <a:gd name="connsiteY23" fmla="*/ 296299 h 397796"/>
                <a:gd name="connsiteX24" fmla="*/ 353667 w 397954"/>
                <a:gd name="connsiteY24" fmla="*/ 95824 h 397796"/>
                <a:gd name="connsiteX25" fmla="*/ 353667 w 397954"/>
                <a:gd name="connsiteY25" fmla="*/ 45390 h 397796"/>
                <a:gd name="connsiteX26" fmla="*/ 328450 w 397954"/>
                <a:gd name="connsiteY26" fmla="*/ 34043 h 397796"/>
                <a:gd name="connsiteX27" fmla="*/ 328450 w 397954"/>
                <a:gd name="connsiteY27" fmla="*/ 34043 h 397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97954" h="397796">
                  <a:moveTo>
                    <a:pt x="90781" y="397797"/>
                  </a:moveTo>
                  <a:lnTo>
                    <a:pt x="90781" y="397797"/>
                  </a:lnTo>
                  <a:cubicBezTo>
                    <a:pt x="66825" y="397797"/>
                    <a:pt x="43499" y="388340"/>
                    <a:pt x="26478" y="371319"/>
                  </a:cubicBezTo>
                  <a:cubicBezTo>
                    <a:pt x="-8826" y="336015"/>
                    <a:pt x="-8826" y="278647"/>
                    <a:pt x="26478" y="242713"/>
                  </a:cubicBezTo>
                  <a:cubicBezTo>
                    <a:pt x="41608" y="227583"/>
                    <a:pt x="61782" y="218126"/>
                    <a:pt x="83216" y="216235"/>
                  </a:cubicBezTo>
                  <a:lnTo>
                    <a:pt x="279277" y="20174"/>
                  </a:lnTo>
                  <a:cubicBezTo>
                    <a:pt x="292516" y="6935"/>
                    <a:pt x="309538" y="0"/>
                    <a:pt x="328450" y="0"/>
                  </a:cubicBezTo>
                  <a:cubicBezTo>
                    <a:pt x="347363" y="0"/>
                    <a:pt x="364384" y="6935"/>
                    <a:pt x="377623" y="20174"/>
                  </a:cubicBezTo>
                  <a:cubicBezTo>
                    <a:pt x="404731" y="47282"/>
                    <a:pt x="404731" y="90781"/>
                    <a:pt x="377623" y="117889"/>
                  </a:cubicBezTo>
                  <a:lnTo>
                    <a:pt x="181562" y="313950"/>
                  </a:lnTo>
                  <a:cubicBezTo>
                    <a:pt x="179671" y="335385"/>
                    <a:pt x="170845" y="355558"/>
                    <a:pt x="155084" y="370688"/>
                  </a:cubicBezTo>
                  <a:cubicBezTo>
                    <a:pt x="138062" y="388340"/>
                    <a:pt x="115367" y="397797"/>
                    <a:pt x="90781" y="397797"/>
                  </a:cubicBezTo>
                  <a:lnTo>
                    <a:pt x="90781" y="397797"/>
                  </a:lnTo>
                  <a:close/>
                  <a:moveTo>
                    <a:pt x="328450" y="34043"/>
                  </a:moveTo>
                  <a:cubicBezTo>
                    <a:pt x="318994" y="34043"/>
                    <a:pt x="310168" y="37825"/>
                    <a:pt x="303233" y="44760"/>
                  </a:cubicBezTo>
                  <a:lnTo>
                    <a:pt x="102759" y="245234"/>
                  </a:lnTo>
                  <a:cubicBezTo>
                    <a:pt x="99607" y="248387"/>
                    <a:pt x="95194" y="250278"/>
                    <a:pt x="90781" y="250278"/>
                  </a:cubicBezTo>
                  <a:cubicBezTo>
                    <a:pt x="75651" y="250278"/>
                    <a:pt x="61151" y="256582"/>
                    <a:pt x="50434" y="267299"/>
                  </a:cubicBezTo>
                  <a:cubicBezTo>
                    <a:pt x="28369" y="289364"/>
                    <a:pt x="28369" y="325928"/>
                    <a:pt x="50434" y="348624"/>
                  </a:cubicBezTo>
                  <a:cubicBezTo>
                    <a:pt x="61151" y="359341"/>
                    <a:pt x="75651" y="365645"/>
                    <a:pt x="90781" y="365645"/>
                  </a:cubicBezTo>
                  <a:lnTo>
                    <a:pt x="90781" y="365645"/>
                  </a:lnTo>
                  <a:cubicBezTo>
                    <a:pt x="105911" y="365645"/>
                    <a:pt x="120411" y="359971"/>
                    <a:pt x="131128" y="348624"/>
                  </a:cubicBezTo>
                  <a:cubicBezTo>
                    <a:pt x="141845" y="337907"/>
                    <a:pt x="148149" y="323407"/>
                    <a:pt x="148149" y="308277"/>
                  </a:cubicBezTo>
                  <a:cubicBezTo>
                    <a:pt x="148149" y="303864"/>
                    <a:pt x="150041" y="299451"/>
                    <a:pt x="153193" y="296299"/>
                  </a:cubicBezTo>
                  <a:lnTo>
                    <a:pt x="353667" y="95824"/>
                  </a:lnTo>
                  <a:cubicBezTo>
                    <a:pt x="367536" y="81955"/>
                    <a:pt x="367536" y="59260"/>
                    <a:pt x="353667" y="45390"/>
                  </a:cubicBezTo>
                  <a:cubicBezTo>
                    <a:pt x="347363" y="37825"/>
                    <a:pt x="337907" y="34043"/>
                    <a:pt x="328450" y="34043"/>
                  </a:cubicBezTo>
                  <a:lnTo>
                    <a:pt x="328450" y="34043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32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10503283" y="1574394"/>
            <a:ext cx="396572" cy="396535"/>
            <a:chOff x="10503283" y="1574394"/>
            <a:chExt cx="396572" cy="396535"/>
          </a:xfrm>
          <a:solidFill>
            <a:srgbClr val="B1B1A1"/>
          </a:solidFill>
        </p:grpSpPr>
        <p:sp>
          <p:nvSpPr>
            <p:cNvPr id="333" name="Forma Livre: Forma 332">
              <a:extLst>
                <a:ext uri="{FF2B5EF4-FFF2-40B4-BE49-F238E27FC236}">
                  <a16:creationId xmlns:a16="http://schemas.microsoft.com/office/drawing/2014/main" id="{9052F1FB-BD3A-4D71-B60A-6D83EF90DFE4}"/>
                </a:ext>
              </a:extLst>
            </p:cNvPr>
            <p:cNvSpPr/>
            <p:nvPr/>
          </p:nvSpPr>
          <p:spPr>
            <a:xfrm>
              <a:off x="10503283" y="1574394"/>
              <a:ext cx="396572" cy="396535"/>
            </a:xfrm>
            <a:custGeom>
              <a:avLst/>
              <a:gdLst>
                <a:gd name="connsiteX0" fmla="*/ 380145 w 396572"/>
                <a:gd name="connsiteY0" fmla="*/ 396536 h 396535"/>
                <a:gd name="connsiteX1" fmla="*/ 16391 w 396572"/>
                <a:gd name="connsiteY1" fmla="*/ 396536 h 396535"/>
                <a:gd name="connsiteX2" fmla="*/ 0 w 396572"/>
                <a:gd name="connsiteY2" fmla="*/ 380145 h 396535"/>
                <a:gd name="connsiteX3" fmla="*/ 0 w 396572"/>
                <a:gd name="connsiteY3" fmla="*/ 16391 h 396535"/>
                <a:gd name="connsiteX4" fmla="*/ 16391 w 396572"/>
                <a:gd name="connsiteY4" fmla="*/ 0 h 396535"/>
                <a:gd name="connsiteX5" fmla="*/ 380145 w 396572"/>
                <a:gd name="connsiteY5" fmla="*/ 0 h 396535"/>
                <a:gd name="connsiteX6" fmla="*/ 396536 w 396572"/>
                <a:gd name="connsiteY6" fmla="*/ 16391 h 396535"/>
                <a:gd name="connsiteX7" fmla="*/ 396536 w 396572"/>
                <a:gd name="connsiteY7" fmla="*/ 380145 h 396535"/>
                <a:gd name="connsiteX8" fmla="*/ 380145 w 396572"/>
                <a:gd name="connsiteY8" fmla="*/ 396536 h 396535"/>
                <a:gd name="connsiteX9" fmla="*/ 380145 w 396572"/>
                <a:gd name="connsiteY9" fmla="*/ 396536 h 396535"/>
                <a:gd name="connsiteX10" fmla="*/ 32782 w 396572"/>
                <a:gd name="connsiteY10" fmla="*/ 363123 h 396535"/>
                <a:gd name="connsiteX11" fmla="*/ 363123 w 396572"/>
                <a:gd name="connsiteY11" fmla="*/ 363123 h 396535"/>
                <a:gd name="connsiteX12" fmla="*/ 363123 w 396572"/>
                <a:gd name="connsiteY12" fmla="*/ 32782 h 396535"/>
                <a:gd name="connsiteX13" fmla="*/ 32782 w 396572"/>
                <a:gd name="connsiteY13" fmla="*/ 32782 h 396535"/>
                <a:gd name="connsiteX14" fmla="*/ 32782 w 396572"/>
                <a:gd name="connsiteY14" fmla="*/ 363123 h 396535"/>
                <a:gd name="connsiteX15" fmla="*/ 32782 w 396572"/>
                <a:gd name="connsiteY15" fmla="*/ 363123 h 396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96572" h="396535">
                  <a:moveTo>
                    <a:pt x="380145" y="396536"/>
                  </a:moveTo>
                  <a:lnTo>
                    <a:pt x="16391" y="396536"/>
                  </a:lnTo>
                  <a:cubicBezTo>
                    <a:pt x="6934" y="396536"/>
                    <a:pt x="0" y="388971"/>
                    <a:pt x="0" y="380145"/>
                  </a:cubicBezTo>
                  <a:lnTo>
                    <a:pt x="0" y="16391"/>
                  </a:lnTo>
                  <a:cubicBezTo>
                    <a:pt x="0" y="6935"/>
                    <a:pt x="7566" y="0"/>
                    <a:pt x="16391" y="0"/>
                  </a:cubicBezTo>
                  <a:lnTo>
                    <a:pt x="380145" y="0"/>
                  </a:lnTo>
                  <a:cubicBezTo>
                    <a:pt x="389601" y="0"/>
                    <a:pt x="396536" y="7565"/>
                    <a:pt x="396536" y="16391"/>
                  </a:cubicBezTo>
                  <a:lnTo>
                    <a:pt x="396536" y="380145"/>
                  </a:lnTo>
                  <a:cubicBezTo>
                    <a:pt x="397166" y="388971"/>
                    <a:pt x="389601" y="396536"/>
                    <a:pt x="380145" y="396536"/>
                  </a:cubicBezTo>
                  <a:lnTo>
                    <a:pt x="380145" y="396536"/>
                  </a:lnTo>
                  <a:close/>
                  <a:moveTo>
                    <a:pt x="32782" y="363123"/>
                  </a:moveTo>
                  <a:lnTo>
                    <a:pt x="363123" y="363123"/>
                  </a:lnTo>
                  <a:lnTo>
                    <a:pt x="363123" y="32782"/>
                  </a:lnTo>
                  <a:lnTo>
                    <a:pt x="32782" y="32782"/>
                  </a:lnTo>
                  <a:lnTo>
                    <a:pt x="32782" y="363123"/>
                  </a:lnTo>
                  <a:lnTo>
                    <a:pt x="32782" y="363123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34" name="Forma Livre: Forma 333">
              <a:extLst>
                <a:ext uri="{FF2B5EF4-FFF2-40B4-BE49-F238E27FC236}">
                  <a16:creationId xmlns:a16="http://schemas.microsoft.com/office/drawing/2014/main" id="{7B0792EB-970D-403F-8F67-BA143692D284}"/>
                </a:ext>
              </a:extLst>
            </p:cNvPr>
            <p:cNvSpPr/>
            <p:nvPr/>
          </p:nvSpPr>
          <p:spPr>
            <a:xfrm>
              <a:off x="10568847" y="1642480"/>
              <a:ext cx="266037" cy="260364"/>
            </a:xfrm>
            <a:custGeom>
              <a:avLst/>
              <a:gdLst>
                <a:gd name="connsiteX0" fmla="*/ 249647 w 266037"/>
                <a:gd name="connsiteY0" fmla="*/ 260365 h 260364"/>
                <a:gd name="connsiteX1" fmla="*/ 175888 w 266037"/>
                <a:gd name="connsiteY1" fmla="*/ 260365 h 260364"/>
                <a:gd name="connsiteX2" fmla="*/ 159497 w 266037"/>
                <a:gd name="connsiteY2" fmla="*/ 243974 h 260364"/>
                <a:gd name="connsiteX3" fmla="*/ 159497 w 266037"/>
                <a:gd name="connsiteY3" fmla="*/ 183453 h 260364"/>
                <a:gd name="connsiteX4" fmla="*/ 106542 w 266037"/>
                <a:gd name="connsiteY4" fmla="*/ 183453 h 260364"/>
                <a:gd name="connsiteX5" fmla="*/ 106542 w 266037"/>
                <a:gd name="connsiteY5" fmla="*/ 243974 h 260364"/>
                <a:gd name="connsiteX6" fmla="*/ 90151 w 266037"/>
                <a:gd name="connsiteY6" fmla="*/ 260365 h 260364"/>
                <a:gd name="connsiteX7" fmla="*/ 16391 w 266037"/>
                <a:gd name="connsiteY7" fmla="*/ 260365 h 260364"/>
                <a:gd name="connsiteX8" fmla="*/ 0 w 266037"/>
                <a:gd name="connsiteY8" fmla="*/ 243974 h 260364"/>
                <a:gd name="connsiteX9" fmla="*/ 0 w 266037"/>
                <a:gd name="connsiteY9" fmla="*/ 16391 h 260364"/>
                <a:gd name="connsiteX10" fmla="*/ 16391 w 266037"/>
                <a:gd name="connsiteY10" fmla="*/ 0 h 260364"/>
                <a:gd name="connsiteX11" fmla="*/ 90151 w 266037"/>
                <a:gd name="connsiteY11" fmla="*/ 0 h 260364"/>
                <a:gd name="connsiteX12" fmla="*/ 106542 w 266037"/>
                <a:gd name="connsiteY12" fmla="*/ 16391 h 260364"/>
                <a:gd name="connsiteX13" fmla="*/ 106542 w 266037"/>
                <a:gd name="connsiteY13" fmla="*/ 76912 h 260364"/>
                <a:gd name="connsiteX14" fmla="*/ 159497 w 266037"/>
                <a:gd name="connsiteY14" fmla="*/ 76912 h 260364"/>
                <a:gd name="connsiteX15" fmla="*/ 159497 w 266037"/>
                <a:gd name="connsiteY15" fmla="*/ 16391 h 260364"/>
                <a:gd name="connsiteX16" fmla="*/ 175888 w 266037"/>
                <a:gd name="connsiteY16" fmla="*/ 0 h 260364"/>
                <a:gd name="connsiteX17" fmla="*/ 249647 w 266037"/>
                <a:gd name="connsiteY17" fmla="*/ 0 h 260364"/>
                <a:gd name="connsiteX18" fmla="*/ 266038 w 266037"/>
                <a:gd name="connsiteY18" fmla="*/ 16391 h 260364"/>
                <a:gd name="connsiteX19" fmla="*/ 266038 w 266037"/>
                <a:gd name="connsiteY19" fmla="*/ 243974 h 260364"/>
                <a:gd name="connsiteX20" fmla="*/ 249647 w 266037"/>
                <a:gd name="connsiteY20" fmla="*/ 260365 h 260364"/>
                <a:gd name="connsiteX21" fmla="*/ 249647 w 266037"/>
                <a:gd name="connsiteY21" fmla="*/ 260365 h 260364"/>
                <a:gd name="connsiteX22" fmla="*/ 192279 w 266037"/>
                <a:gd name="connsiteY22" fmla="*/ 226952 h 260364"/>
                <a:gd name="connsiteX23" fmla="*/ 232626 w 266037"/>
                <a:gd name="connsiteY23" fmla="*/ 226952 h 260364"/>
                <a:gd name="connsiteX24" fmla="*/ 232626 w 266037"/>
                <a:gd name="connsiteY24" fmla="*/ 32782 h 260364"/>
                <a:gd name="connsiteX25" fmla="*/ 192279 w 266037"/>
                <a:gd name="connsiteY25" fmla="*/ 32782 h 260364"/>
                <a:gd name="connsiteX26" fmla="*/ 192279 w 266037"/>
                <a:gd name="connsiteY26" fmla="*/ 93303 h 260364"/>
                <a:gd name="connsiteX27" fmla="*/ 175888 w 266037"/>
                <a:gd name="connsiteY27" fmla="*/ 109694 h 260364"/>
                <a:gd name="connsiteX28" fmla="*/ 89520 w 266037"/>
                <a:gd name="connsiteY28" fmla="*/ 109694 h 260364"/>
                <a:gd name="connsiteX29" fmla="*/ 73129 w 266037"/>
                <a:gd name="connsiteY29" fmla="*/ 93303 h 260364"/>
                <a:gd name="connsiteX30" fmla="*/ 73129 w 266037"/>
                <a:gd name="connsiteY30" fmla="*/ 32782 h 260364"/>
                <a:gd name="connsiteX31" fmla="*/ 32782 w 266037"/>
                <a:gd name="connsiteY31" fmla="*/ 32782 h 260364"/>
                <a:gd name="connsiteX32" fmla="*/ 32782 w 266037"/>
                <a:gd name="connsiteY32" fmla="*/ 226952 h 260364"/>
                <a:gd name="connsiteX33" fmla="*/ 73129 w 266037"/>
                <a:gd name="connsiteY33" fmla="*/ 226952 h 260364"/>
                <a:gd name="connsiteX34" fmla="*/ 73129 w 266037"/>
                <a:gd name="connsiteY34" fmla="*/ 166432 h 260364"/>
                <a:gd name="connsiteX35" fmla="*/ 89520 w 266037"/>
                <a:gd name="connsiteY35" fmla="*/ 150041 h 260364"/>
                <a:gd name="connsiteX36" fmla="*/ 175888 w 266037"/>
                <a:gd name="connsiteY36" fmla="*/ 150041 h 260364"/>
                <a:gd name="connsiteX37" fmla="*/ 192279 w 266037"/>
                <a:gd name="connsiteY37" fmla="*/ 166432 h 260364"/>
                <a:gd name="connsiteX38" fmla="*/ 192279 w 266037"/>
                <a:gd name="connsiteY38" fmla="*/ 226952 h 260364"/>
                <a:gd name="connsiteX39" fmla="*/ 192279 w 266037"/>
                <a:gd name="connsiteY39" fmla="*/ 226952 h 26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266037" h="260364">
                  <a:moveTo>
                    <a:pt x="249647" y="260365"/>
                  </a:moveTo>
                  <a:lnTo>
                    <a:pt x="175888" y="260365"/>
                  </a:lnTo>
                  <a:cubicBezTo>
                    <a:pt x="166432" y="260365"/>
                    <a:pt x="159497" y="252799"/>
                    <a:pt x="159497" y="243974"/>
                  </a:cubicBezTo>
                  <a:lnTo>
                    <a:pt x="159497" y="183453"/>
                  </a:lnTo>
                  <a:lnTo>
                    <a:pt x="106542" y="183453"/>
                  </a:lnTo>
                  <a:lnTo>
                    <a:pt x="106542" y="243974"/>
                  </a:lnTo>
                  <a:cubicBezTo>
                    <a:pt x="106542" y="253430"/>
                    <a:pt x="98976" y="260365"/>
                    <a:pt x="90151" y="260365"/>
                  </a:cubicBezTo>
                  <a:lnTo>
                    <a:pt x="16391" y="260365"/>
                  </a:lnTo>
                  <a:cubicBezTo>
                    <a:pt x="6934" y="260365"/>
                    <a:pt x="0" y="252799"/>
                    <a:pt x="0" y="243974"/>
                  </a:cubicBezTo>
                  <a:lnTo>
                    <a:pt x="0" y="16391"/>
                  </a:lnTo>
                  <a:cubicBezTo>
                    <a:pt x="0" y="6935"/>
                    <a:pt x="7565" y="0"/>
                    <a:pt x="16391" y="0"/>
                  </a:cubicBezTo>
                  <a:lnTo>
                    <a:pt x="90151" y="0"/>
                  </a:lnTo>
                  <a:cubicBezTo>
                    <a:pt x="99607" y="0"/>
                    <a:pt x="106542" y="7565"/>
                    <a:pt x="106542" y="16391"/>
                  </a:cubicBezTo>
                  <a:lnTo>
                    <a:pt x="106542" y="76912"/>
                  </a:lnTo>
                  <a:lnTo>
                    <a:pt x="159497" y="76912"/>
                  </a:lnTo>
                  <a:lnTo>
                    <a:pt x="159497" y="16391"/>
                  </a:lnTo>
                  <a:cubicBezTo>
                    <a:pt x="159497" y="6935"/>
                    <a:pt x="167062" y="0"/>
                    <a:pt x="175888" y="0"/>
                  </a:cubicBezTo>
                  <a:lnTo>
                    <a:pt x="249647" y="0"/>
                  </a:lnTo>
                  <a:cubicBezTo>
                    <a:pt x="259104" y="0"/>
                    <a:pt x="266038" y="7565"/>
                    <a:pt x="266038" y="16391"/>
                  </a:cubicBezTo>
                  <a:lnTo>
                    <a:pt x="266038" y="243974"/>
                  </a:lnTo>
                  <a:cubicBezTo>
                    <a:pt x="266038" y="252799"/>
                    <a:pt x="258473" y="260365"/>
                    <a:pt x="249647" y="260365"/>
                  </a:cubicBezTo>
                  <a:lnTo>
                    <a:pt x="249647" y="260365"/>
                  </a:lnTo>
                  <a:close/>
                  <a:moveTo>
                    <a:pt x="192279" y="226952"/>
                  </a:moveTo>
                  <a:lnTo>
                    <a:pt x="232626" y="226952"/>
                  </a:lnTo>
                  <a:lnTo>
                    <a:pt x="232626" y="32782"/>
                  </a:lnTo>
                  <a:lnTo>
                    <a:pt x="192279" y="32782"/>
                  </a:lnTo>
                  <a:lnTo>
                    <a:pt x="192279" y="93303"/>
                  </a:lnTo>
                  <a:cubicBezTo>
                    <a:pt x="192279" y="102759"/>
                    <a:pt x="184714" y="109694"/>
                    <a:pt x="175888" y="109694"/>
                  </a:cubicBezTo>
                  <a:lnTo>
                    <a:pt x="89520" y="109694"/>
                  </a:lnTo>
                  <a:cubicBezTo>
                    <a:pt x="80063" y="109694"/>
                    <a:pt x="73129" y="102128"/>
                    <a:pt x="73129" y="93303"/>
                  </a:cubicBezTo>
                  <a:lnTo>
                    <a:pt x="73129" y="32782"/>
                  </a:lnTo>
                  <a:lnTo>
                    <a:pt x="32782" y="32782"/>
                  </a:lnTo>
                  <a:lnTo>
                    <a:pt x="32782" y="226952"/>
                  </a:lnTo>
                  <a:lnTo>
                    <a:pt x="73129" y="226952"/>
                  </a:lnTo>
                  <a:lnTo>
                    <a:pt x="73129" y="166432"/>
                  </a:lnTo>
                  <a:cubicBezTo>
                    <a:pt x="73129" y="156975"/>
                    <a:pt x="80694" y="150041"/>
                    <a:pt x="89520" y="150041"/>
                  </a:cubicBezTo>
                  <a:lnTo>
                    <a:pt x="175888" y="150041"/>
                  </a:lnTo>
                  <a:cubicBezTo>
                    <a:pt x="185344" y="150041"/>
                    <a:pt x="192279" y="157606"/>
                    <a:pt x="192279" y="166432"/>
                  </a:cubicBezTo>
                  <a:lnTo>
                    <a:pt x="192279" y="226952"/>
                  </a:lnTo>
                  <a:lnTo>
                    <a:pt x="192279" y="226952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35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3409138" y="1580698"/>
            <a:ext cx="302009" cy="392122"/>
            <a:chOff x="3409138" y="1580698"/>
            <a:chExt cx="302009" cy="392122"/>
          </a:xfrm>
          <a:solidFill>
            <a:srgbClr val="B1B1A1"/>
          </a:solidFill>
        </p:grpSpPr>
        <p:sp>
          <p:nvSpPr>
            <p:cNvPr id="336" name="Forma Livre: Forma 335">
              <a:extLst>
                <a:ext uri="{FF2B5EF4-FFF2-40B4-BE49-F238E27FC236}">
                  <a16:creationId xmlns:a16="http://schemas.microsoft.com/office/drawing/2014/main" id="{68FA3FFC-510E-4CE4-92D7-C0E761675E37}"/>
                </a:ext>
              </a:extLst>
            </p:cNvPr>
            <p:cNvSpPr/>
            <p:nvPr/>
          </p:nvSpPr>
          <p:spPr>
            <a:xfrm>
              <a:off x="3409138" y="1681566"/>
              <a:ext cx="49173" cy="32782"/>
            </a:xfrm>
            <a:custGeom>
              <a:avLst/>
              <a:gdLst>
                <a:gd name="connsiteX0" fmla="*/ 32782 w 49173"/>
                <a:gd name="connsiteY0" fmla="*/ 32782 h 32782"/>
                <a:gd name="connsiteX1" fmla="*/ 16391 w 49173"/>
                <a:gd name="connsiteY1" fmla="*/ 32782 h 32782"/>
                <a:gd name="connsiteX2" fmla="*/ 0 w 49173"/>
                <a:gd name="connsiteY2" fmla="*/ 16391 h 32782"/>
                <a:gd name="connsiteX3" fmla="*/ 16391 w 49173"/>
                <a:gd name="connsiteY3" fmla="*/ 0 h 32782"/>
                <a:gd name="connsiteX4" fmla="*/ 32782 w 49173"/>
                <a:gd name="connsiteY4" fmla="*/ 0 h 32782"/>
                <a:gd name="connsiteX5" fmla="*/ 49173 w 49173"/>
                <a:gd name="connsiteY5" fmla="*/ 16391 h 32782"/>
                <a:gd name="connsiteX6" fmla="*/ 32782 w 49173"/>
                <a:gd name="connsiteY6" fmla="*/ 32782 h 32782"/>
                <a:gd name="connsiteX7" fmla="*/ 32782 w 49173"/>
                <a:gd name="connsiteY7" fmla="*/ 32782 h 32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173" h="32782">
                  <a:moveTo>
                    <a:pt x="32782" y="32782"/>
                  </a:moveTo>
                  <a:lnTo>
                    <a:pt x="16391" y="32782"/>
                  </a:lnTo>
                  <a:cubicBezTo>
                    <a:pt x="6935" y="32782"/>
                    <a:pt x="0" y="25217"/>
                    <a:pt x="0" y="16391"/>
                  </a:cubicBezTo>
                  <a:cubicBezTo>
                    <a:pt x="0" y="6935"/>
                    <a:pt x="7565" y="0"/>
                    <a:pt x="16391" y="0"/>
                  </a:cubicBezTo>
                  <a:lnTo>
                    <a:pt x="32782" y="0"/>
                  </a:lnTo>
                  <a:cubicBezTo>
                    <a:pt x="42238" y="0"/>
                    <a:pt x="49173" y="7565"/>
                    <a:pt x="49173" y="16391"/>
                  </a:cubicBezTo>
                  <a:cubicBezTo>
                    <a:pt x="49173" y="25217"/>
                    <a:pt x="41608" y="32782"/>
                    <a:pt x="32782" y="32782"/>
                  </a:cubicBezTo>
                  <a:lnTo>
                    <a:pt x="32782" y="32782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37" name="Forma Livre: Forma 336">
              <a:extLst>
                <a:ext uri="{FF2B5EF4-FFF2-40B4-BE49-F238E27FC236}">
                  <a16:creationId xmlns:a16="http://schemas.microsoft.com/office/drawing/2014/main" id="{07618008-CE9E-469F-9C55-956D522AB80D}"/>
                </a:ext>
              </a:extLst>
            </p:cNvPr>
            <p:cNvSpPr/>
            <p:nvPr/>
          </p:nvSpPr>
          <p:spPr>
            <a:xfrm>
              <a:off x="3661938" y="1681566"/>
              <a:ext cx="49209" cy="32782"/>
            </a:xfrm>
            <a:custGeom>
              <a:avLst/>
              <a:gdLst>
                <a:gd name="connsiteX0" fmla="*/ 32782 w 49209"/>
                <a:gd name="connsiteY0" fmla="*/ 32782 h 32782"/>
                <a:gd name="connsiteX1" fmla="*/ 16391 w 49209"/>
                <a:gd name="connsiteY1" fmla="*/ 32782 h 32782"/>
                <a:gd name="connsiteX2" fmla="*/ 0 w 49209"/>
                <a:gd name="connsiteY2" fmla="*/ 16391 h 32782"/>
                <a:gd name="connsiteX3" fmla="*/ 16391 w 49209"/>
                <a:gd name="connsiteY3" fmla="*/ 0 h 32782"/>
                <a:gd name="connsiteX4" fmla="*/ 32782 w 49209"/>
                <a:gd name="connsiteY4" fmla="*/ 0 h 32782"/>
                <a:gd name="connsiteX5" fmla="*/ 49173 w 49209"/>
                <a:gd name="connsiteY5" fmla="*/ 16391 h 32782"/>
                <a:gd name="connsiteX6" fmla="*/ 32782 w 49209"/>
                <a:gd name="connsiteY6" fmla="*/ 32782 h 32782"/>
                <a:gd name="connsiteX7" fmla="*/ 32782 w 49209"/>
                <a:gd name="connsiteY7" fmla="*/ 32782 h 32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209" h="32782">
                  <a:moveTo>
                    <a:pt x="32782" y="32782"/>
                  </a:moveTo>
                  <a:lnTo>
                    <a:pt x="16391" y="32782"/>
                  </a:lnTo>
                  <a:cubicBezTo>
                    <a:pt x="6935" y="32782"/>
                    <a:pt x="0" y="25217"/>
                    <a:pt x="0" y="16391"/>
                  </a:cubicBezTo>
                  <a:cubicBezTo>
                    <a:pt x="0" y="6935"/>
                    <a:pt x="7565" y="0"/>
                    <a:pt x="16391" y="0"/>
                  </a:cubicBezTo>
                  <a:lnTo>
                    <a:pt x="32782" y="0"/>
                  </a:lnTo>
                  <a:cubicBezTo>
                    <a:pt x="42238" y="0"/>
                    <a:pt x="49173" y="7565"/>
                    <a:pt x="49173" y="16391"/>
                  </a:cubicBezTo>
                  <a:cubicBezTo>
                    <a:pt x="49803" y="25217"/>
                    <a:pt x="42238" y="32782"/>
                    <a:pt x="32782" y="32782"/>
                  </a:cubicBezTo>
                  <a:lnTo>
                    <a:pt x="32782" y="32782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38" name="Forma Livre: Forma 337">
              <a:extLst>
                <a:ext uri="{FF2B5EF4-FFF2-40B4-BE49-F238E27FC236}">
                  <a16:creationId xmlns:a16="http://schemas.microsoft.com/office/drawing/2014/main" id="{D0C95333-1AD2-42F7-9D7E-A3B0FE9D5227}"/>
                </a:ext>
              </a:extLst>
            </p:cNvPr>
            <p:cNvSpPr/>
            <p:nvPr/>
          </p:nvSpPr>
          <p:spPr>
            <a:xfrm>
              <a:off x="3534592" y="1616002"/>
              <a:ext cx="66824" cy="66824"/>
            </a:xfrm>
            <a:custGeom>
              <a:avLst/>
              <a:gdLst>
                <a:gd name="connsiteX0" fmla="*/ 33412 w 66824"/>
                <a:gd name="connsiteY0" fmla="*/ 66825 h 66824"/>
                <a:gd name="connsiteX1" fmla="*/ 0 w 66824"/>
                <a:gd name="connsiteY1" fmla="*/ 33412 h 66824"/>
                <a:gd name="connsiteX2" fmla="*/ 33412 w 66824"/>
                <a:gd name="connsiteY2" fmla="*/ 0 h 66824"/>
                <a:gd name="connsiteX3" fmla="*/ 66825 w 66824"/>
                <a:gd name="connsiteY3" fmla="*/ 33412 h 66824"/>
                <a:gd name="connsiteX4" fmla="*/ 33412 w 66824"/>
                <a:gd name="connsiteY4" fmla="*/ 66825 h 66824"/>
                <a:gd name="connsiteX5" fmla="*/ 33412 w 66824"/>
                <a:gd name="connsiteY5" fmla="*/ 66825 h 66824"/>
                <a:gd name="connsiteX6" fmla="*/ 33412 w 66824"/>
                <a:gd name="connsiteY6" fmla="*/ 16391 h 66824"/>
                <a:gd name="connsiteX7" fmla="*/ 17021 w 66824"/>
                <a:gd name="connsiteY7" fmla="*/ 32782 h 66824"/>
                <a:gd name="connsiteX8" fmla="*/ 33412 w 66824"/>
                <a:gd name="connsiteY8" fmla="*/ 49173 h 66824"/>
                <a:gd name="connsiteX9" fmla="*/ 49803 w 66824"/>
                <a:gd name="connsiteY9" fmla="*/ 32782 h 66824"/>
                <a:gd name="connsiteX10" fmla="*/ 33412 w 66824"/>
                <a:gd name="connsiteY10" fmla="*/ 16391 h 66824"/>
                <a:gd name="connsiteX11" fmla="*/ 33412 w 66824"/>
                <a:gd name="connsiteY11" fmla="*/ 16391 h 66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6824" h="66824">
                  <a:moveTo>
                    <a:pt x="33412" y="66825"/>
                  </a:moveTo>
                  <a:cubicBezTo>
                    <a:pt x="15130" y="66825"/>
                    <a:pt x="0" y="51695"/>
                    <a:pt x="0" y="33412"/>
                  </a:cubicBezTo>
                  <a:cubicBezTo>
                    <a:pt x="0" y="15130"/>
                    <a:pt x="15130" y="0"/>
                    <a:pt x="33412" y="0"/>
                  </a:cubicBezTo>
                  <a:cubicBezTo>
                    <a:pt x="51695" y="0"/>
                    <a:pt x="66825" y="15130"/>
                    <a:pt x="66825" y="33412"/>
                  </a:cubicBezTo>
                  <a:cubicBezTo>
                    <a:pt x="66825" y="51695"/>
                    <a:pt x="51695" y="66825"/>
                    <a:pt x="33412" y="66825"/>
                  </a:cubicBezTo>
                  <a:lnTo>
                    <a:pt x="33412" y="66825"/>
                  </a:lnTo>
                  <a:close/>
                  <a:moveTo>
                    <a:pt x="33412" y="16391"/>
                  </a:moveTo>
                  <a:cubicBezTo>
                    <a:pt x="23956" y="16391"/>
                    <a:pt x="17021" y="23956"/>
                    <a:pt x="17021" y="32782"/>
                  </a:cubicBezTo>
                  <a:cubicBezTo>
                    <a:pt x="17021" y="42238"/>
                    <a:pt x="24586" y="49173"/>
                    <a:pt x="33412" y="49173"/>
                  </a:cubicBezTo>
                  <a:cubicBezTo>
                    <a:pt x="42869" y="49173"/>
                    <a:pt x="49803" y="41608"/>
                    <a:pt x="49803" y="32782"/>
                  </a:cubicBezTo>
                  <a:cubicBezTo>
                    <a:pt x="50434" y="23956"/>
                    <a:pt x="42869" y="16391"/>
                    <a:pt x="33412" y="16391"/>
                  </a:cubicBezTo>
                  <a:lnTo>
                    <a:pt x="33412" y="1639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39" name="Forma Livre: Forma 338">
              <a:extLst>
                <a:ext uri="{FF2B5EF4-FFF2-40B4-BE49-F238E27FC236}">
                  <a16:creationId xmlns:a16="http://schemas.microsoft.com/office/drawing/2014/main" id="{47D20F46-1851-4E33-B744-812FB137F979}"/>
                </a:ext>
              </a:extLst>
            </p:cNvPr>
            <p:cNvSpPr/>
            <p:nvPr/>
          </p:nvSpPr>
          <p:spPr>
            <a:xfrm>
              <a:off x="3460202" y="1580698"/>
              <a:ext cx="51694" cy="51694"/>
            </a:xfrm>
            <a:custGeom>
              <a:avLst/>
              <a:gdLst>
                <a:gd name="connsiteX0" fmla="*/ 25847 w 51694"/>
                <a:gd name="connsiteY0" fmla="*/ 51695 h 51694"/>
                <a:gd name="connsiteX1" fmla="*/ 0 w 51694"/>
                <a:gd name="connsiteY1" fmla="*/ 25847 h 51694"/>
                <a:gd name="connsiteX2" fmla="*/ 25847 w 51694"/>
                <a:gd name="connsiteY2" fmla="*/ 0 h 51694"/>
                <a:gd name="connsiteX3" fmla="*/ 51695 w 51694"/>
                <a:gd name="connsiteY3" fmla="*/ 25847 h 51694"/>
                <a:gd name="connsiteX4" fmla="*/ 25847 w 51694"/>
                <a:gd name="connsiteY4" fmla="*/ 51695 h 51694"/>
                <a:gd name="connsiteX5" fmla="*/ 25847 w 51694"/>
                <a:gd name="connsiteY5" fmla="*/ 51695 h 51694"/>
                <a:gd name="connsiteX6" fmla="*/ 25847 w 51694"/>
                <a:gd name="connsiteY6" fmla="*/ 16391 h 51694"/>
                <a:gd name="connsiteX7" fmla="*/ 16391 w 51694"/>
                <a:gd name="connsiteY7" fmla="*/ 25847 h 51694"/>
                <a:gd name="connsiteX8" fmla="*/ 25847 w 51694"/>
                <a:gd name="connsiteY8" fmla="*/ 35304 h 51694"/>
                <a:gd name="connsiteX9" fmla="*/ 35304 w 51694"/>
                <a:gd name="connsiteY9" fmla="*/ 25847 h 51694"/>
                <a:gd name="connsiteX10" fmla="*/ 25847 w 51694"/>
                <a:gd name="connsiteY10" fmla="*/ 16391 h 51694"/>
                <a:gd name="connsiteX11" fmla="*/ 25847 w 51694"/>
                <a:gd name="connsiteY11" fmla="*/ 16391 h 51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1694" h="51694">
                  <a:moveTo>
                    <a:pt x="25847" y="51695"/>
                  </a:moveTo>
                  <a:cubicBezTo>
                    <a:pt x="11348" y="51695"/>
                    <a:pt x="0" y="39717"/>
                    <a:pt x="0" y="25847"/>
                  </a:cubicBezTo>
                  <a:cubicBezTo>
                    <a:pt x="0" y="11348"/>
                    <a:pt x="11978" y="0"/>
                    <a:pt x="25847" y="0"/>
                  </a:cubicBezTo>
                  <a:cubicBezTo>
                    <a:pt x="39717" y="0"/>
                    <a:pt x="51695" y="11978"/>
                    <a:pt x="51695" y="25847"/>
                  </a:cubicBezTo>
                  <a:cubicBezTo>
                    <a:pt x="51695" y="40347"/>
                    <a:pt x="40347" y="51695"/>
                    <a:pt x="25847" y="51695"/>
                  </a:cubicBezTo>
                  <a:lnTo>
                    <a:pt x="25847" y="51695"/>
                  </a:lnTo>
                  <a:close/>
                  <a:moveTo>
                    <a:pt x="25847" y="16391"/>
                  </a:moveTo>
                  <a:cubicBezTo>
                    <a:pt x="20804" y="16391"/>
                    <a:pt x="16391" y="20804"/>
                    <a:pt x="16391" y="25847"/>
                  </a:cubicBezTo>
                  <a:cubicBezTo>
                    <a:pt x="16391" y="30891"/>
                    <a:pt x="20804" y="35304"/>
                    <a:pt x="25847" y="35304"/>
                  </a:cubicBezTo>
                  <a:cubicBezTo>
                    <a:pt x="30891" y="35304"/>
                    <a:pt x="35304" y="30891"/>
                    <a:pt x="35304" y="25847"/>
                  </a:cubicBezTo>
                  <a:cubicBezTo>
                    <a:pt x="35304" y="20804"/>
                    <a:pt x="30891" y="16391"/>
                    <a:pt x="25847" y="16391"/>
                  </a:cubicBezTo>
                  <a:lnTo>
                    <a:pt x="25847" y="1639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40" name="Forma Livre: Forma 339">
              <a:extLst>
                <a:ext uri="{FF2B5EF4-FFF2-40B4-BE49-F238E27FC236}">
                  <a16:creationId xmlns:a16="http://schemas.microsoft.com/office/drawing/2014/main" id="{814422CC-AB09-42C2-AD52-0384CD30243F}"/>
                </a:ext>
              </a:extLst>
            </p:cNvPr>
            <p:cNvSpPr/>
            <p:nvPr/>
          </p:nvSpPr>
          <p:spPr>
            <a:xfrm>
              <a:off x="3507484" y="1684088"/>
              <a:ext cx="25216" cy="25216"/>
            </a:xfrm>
            <a:custGeom>
              <a:avLst/>
              <a:gdLst>
                <a:gd name="connsiteX0" fmla="*/ 12608 w 25216"/>
                <a:gd name="connsiteY0" fmla="*/ 0 h 25216"/>
                <a:gd name="connsiteX1" fmla="*/ 0 w 25216"/>
                <a:gd name="connsiteY1" fmla="*/ 12608 h 25216"/>
                <a:gd name="connsiteX2" fmla="*/ 12608 w 25216"/>
                <a:gd name="connsiteY2" fmla="*/ 25217 h 25216"/>
                <a:gd name="connsiteX3" fmla="*/ 25217 w 25216"/>
                <a:gd name="connsiteY3" fmla="*/ 12608 h 25216"/>
                <a:gd name="connsiteX4" fmla="*/ 12608 w 25216"/>
                <a:gd name="connsiteY4" fmla="*/ 0 h 25216"/>
                <a:gd name="connsiteX5" fmla="*/ 12608 w 25216"/>
                <a:gd name="connsiteY5" fmla="*/ 0 h 25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216" h="25216">
                  <a:moveTo>
                    <a:pt x="12608" y="0"/>
                  </a:moveTo>
                  <a:cubicBezTo>
                    <a:pt x="5674" y="0"/>
                    <a:pt x="0" y="5674"/>
                    <a:pt x="0" y="12608"/>
                  </a:cubicBezTo>
                  <a:cubicBezTo>
                    <a:pt x="0" y="19543"/>
                    <a:pt x="5674" y="25217"/>
                    <a:pt x="12608" y="25217"/>
                  </a:cubicBezTo>
                  <a:cubicBezTo>
                    <a:pt x="19543" y="25217"/>
                    <a:pt x="25217" y="19543"/>
                    <a:pt x="25217" y="12608"/>
                  </a:cubicBezTo>
                  <a:cubicBezTo>
                    <a:pt x="25217" y="5674"/>
                    <a:pt x="19543" y="0"/>
                    <a:pt x="12608" y="0"/>
                  </a:cubicBezTo>
                  <a:lnTo>
                    <a:pt x="12608" y="0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41" name="Forma Livre: Forma 340">
              <a:extLst>
                <a:ext uri="{FF2B5EF4-FFF2-40B4-BE49-F238E27FC236}">
                  <a16:creationId xmlns:a16="http://schemas.microsoft.com/office/drawing/2014/main" id="{E4AC389B-41B1-4208-85D9-FE13B520750C}"/>
                </a:ext>
              </a:extLst>
            </p:cNvPr>
            <p:cNvSpPr/>
            <p:nvPr/>
          </p:nvSpPr>
          <p:spPr>
            <a:xfrm>
              <a:off x="3426160" y="1681566"/>
              <a:ext cx="266057" cy="291255"/>
            </a:xfrm>
            <a:custGeom>
              <a:avLst/>
              <a:gdLst>
                <a:gd name="connsiteX0" fmla="*/ 233256 w 266057"/>
                <a:gd name="connsiteY0" fmla="*/ 291255 h 291255"/>
                <a:gd name="connsiteX1" fmla="*/ 33412 w 266057"/>
                <a:gd name="connsiteY1" fmla="*/ 291255 h 291255"/>
                <a:gd name="connsiteX2" fmla="*/ 0 w 266057"/>
                <a:gd name="connsiteY2" fmla="*/ 257843 h 291255"/>
                <a:gd name="connsiteX3" fmla="*/ 0 w 266057"/>
                <a:gd name="connsiteY3" fmla="*/ 16391 h 291255"/>
                <a:gd name="connsiteX4" fmla="*/ 16391 w 266057"/>
                <a:gd name="connsiteY4" fmla="*/ 0 h 291255"/>
                <a:gd name="connsiteX5" fmla="*/ 32782 w 266057"/>
                <a:gd name="connsiteY5" fmla="*/ 16391 h 291255"/>
                <a:gd name="connsiteX6" fmla="*/ 32782 w 266057"/>
                <a:gd name="connsiteY6" fmla="*/ 257843 h 291255"/>
                <a:gd name="connsiteX7" fmla="*/ 233256 w 266057"/>
                <a:gd name="connsiteY7" fmla="*/ 257843 h 291255"/>
                <a:gd name="connsiteX8" fmla="*/ 233256 w 266057"/>
                <a:gd name="connsiteY8" fmla="*/ 16391 h 291255"/>
                <a:gd name="connsiteX9" fmla="*/ 249647 w 266057"/>
                <a:gd name="connsiteY9" fmla="*/ 0 h 291255"/>
                <a:gd name="connsiteX10" fmla="*/ 266038 w 266057"/>
                <a:gd name="connsiteY10" fmla="*/ 16391 h 291255"/>
                <a:gd name="connsiteX11" fmla="*/ 266038 w 266057"/>
                <a:gd name="connsiteY11" fmla="*/ 257843 h 291255"/>
                <a:gd name="connsiteX12" fmla="*/ 233256 w 266057"/>
                <a:gd name="connsiteY12" fmla="*/ 291255 h 291255"/>
                <a:gd name="connsiteX13" fmla="*/ 233256 w 266057"/>
                <a:gd name="connsiteY13" fmla="*/ 291255 h 291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66057" h="291255">
                  <a:moveTo>
                    <a:pt x="233256" y="291255"/>
                  </a:moveTo>
                  <a:lnTo>
                    <a:pt x="33412" y="291255"/>
                  </a:lnTo>
                  <a:cubicBezTo>
                    <a:pt x="15130" y="291255"/>
                    <a:pt x="0" y="276125"/>
                    <a:pt x="0" y="257843"/>
                  </a:cubicBezTo>
                  <a:lnTo>
                    <a:pt x="0" y="16391"/>
                  </a:lnTo>
                  <a:cubicBezTo>
                    <a:pt x="0" y="6935"/>
                    <a:pt x="7565" y="0"/>
                    <a:pt x="16391" y="0"/>
                  </a:cubicBezTo>
                  <a:cubicBezTo>
                    <a:pt x="25847" y="0"/>
                    <a:pt x="32782" y="7565"/>
                    <a:pt x="32782" y="16391"/>
                  </a:cubicBezTo>
                  <a:lnTo>
                    <a:pt x="32782" y="257843"/>
                  </a:lnTo>
                  <a:lnTo>
                    <a:pt x="233256" y="257843"/>
                  </a:lnTo>
                  <a:lnTo>
                    <a:pt x="233256" y="16391"/>
                  </a:lnTo>
                  <a:cubicBezTo>
                    <a:pt x="233256" y="6935"/>
                    <a:pt x="240821" y="0"/>
                    <a:pt x="249647" y="0"/>
                  </a:cubicBezTo>
                  <a:cubicBezTo>
                    <a:pt x="259104" y="0"/>
                    <a:pt x="266038" y="7565"/>
                    <a:pt x="266038" y="16391"/>
                  </a:cubicBezTo>
                  <a:lnTo>
                    <a:pt x="266038" y="257843"/>
                  </a:lnTo>
                  <a:cubicBezTo>
                    <a:pt x="266669" y="276125"/>
                    <a:pt x="251539" y="291255"/>
                    <a:pt x="233256" y="291255"/>
                  </a:cubicBezTo>
                  <a:lnTo>
                    <a:pt x="233256" y="291255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42" name="Forma Livre: Forma 341">
              <a:extLst>
                <a:ext uri="{FF2B5EF4-FFF2-40B4-BE49-F238E27FC236}">
                  <a16:creationId xmlns:a16="http://schemas.microsoft.com/office/drawing/2014/main" id="{5F06BCF8-3629-40FE-A3DF-B8E6EEE24BD6}"/>
                </a:ext>
              </a:extLst>
            </p:cNvPr>
            <p:cNvSpPr/>
            <p:nvPr/>
          </p:nvSpPr>
          <p:spPr>
            <a:xfrm>
              <a:off x="3566114" y="1724435"/>
              <a:ext cx="70607" cy="16391"/>
            </a:xfrm>
            <a:custGeom>
              <a:avLst/>
              <a:gdLst>
                <a:gd name="connsiteX0" fmla="*/ 62412 w 70607"/>
                <a:gd name="connsiteY0" fmla="*/ 16391 h 16391"/>
                <a:gd name="connsiteX1" fmla="*/ 8195 w 70607"/>
                <a:gd name="connsiteY1" fmla="*/ 16391 h 16391"/>
                <a:gd name="connsiteX2" fmla="*/ 0 w 70607"/>
                <a:gd name="connsiteY2" fmla="*/ 8196 h 16391"/>
                <a:gd name="connsiteX3" fmla="*/ 8195 w 70607"/>
                <a:gd name="connsiteY3" fmla="*/ 0 h 16391"/>
                <a:gd name="connsiteX4" fmla="*/ 62412 w 70607"/>
                <a:gd name="connsiteY4" fmla="*/ 0 h 16391"/>
                <a:gd name="connsiteX5" fmla="*/ 70607 w 70607"/>
                <a:gd name="connsiteY5" fmla="*/ 8196 h 16391"/>
                <a:gd name="connsiteX6" fmla="*/ 62412 w 70607"/>
                <a:gd name="connsiteY6" fmla="*/ 16391 h 16391"/>
                <a:gd name="connsiteX7" fmla="*/ 62412 w 70607"/>
                <a:gd name="connsiteY7" fmla="*/ 16391 h 16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607" h="16391">
                  <a:moveTo>
                    <a:pt x="62412" y="16391"/>
                  </a:moveTo>
                  <a:lnTo>
                    <a:pt x="8195" y="16391"/>
                  </a:lnTo>
                  <a:cubicBezTo>
                    <a:pt x="3782" y="16391"/>
                    <a:pt x="0" y="12608"/>
                    <a:pt x="0" y="8196"/>
                  </a:cubicBezTo>
                  <a:cubicBezTo>
                    <a:pt x="0" y="3783"/>
                    <a:pt x="3782" y="0"/>
                    <a:pt x="8195" y="0"/>
                  </a:cubicBezTo>
                  <a:lnTo>
                    <a:pt x="62412" y="0"/>
                  </a:lnTo>
                  <a:cubicBezTo>
                    <a:pt x="66825" y="0"/>
                    <a:pt x="70607" y="3783"/>
                    <a:pt x="70607" y="8196"/>
                  </a:cubicBezTo>
                  <a:cubicBezTo>
                    <a:pt x="70607" y="12608"/>
                    <a:pt x="66825" y="16391"/>
                    <a:pt x="62412" y="16391"/>
                  </a:cubicBezTo>
                  <a:lnTo>
                    <a:pt x="62412" y="1639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43" name="Forma Livre: Forma 342">
              <a:extLst>
                <a:ext uri="{FF2B5EF4-FFF2-40B4-BE49-F238E27FC236}">
                  <a16:creationId xmlns:a16="http://schemas.microsoft.com/office/drawing/2014/main" id="{510968EE-2F06-44BC-9379-CFD54747365B}"/>
                </a:ext>
              </a:extLst>
            </p:cNvPr>
            <p:cNvSpPr/>
            <p:nvPr/>
          </p:nvSpPr>
          <p:spPr>
            <a:xfrm>
              <a:off x="3566114" y="1766043"/>
              <a:ext cx="70607" cy="16390"/>
            </a:xfrm>
            <a:custGeom>
              <a:avLst/>
              <a:gdLst>
                <a:gd name="connsiteX0" fmla="*/ 62412 w 70607"/>
                <a:gd name="connsiteY0" fmla="*/ 16391 h 16390"/>
                <a:gd name="connsiteX1" fmla="*/ 8195 w 70607"/>
                <a:gd name="connsiteY1" fmla="*/ 16391 h 16390"/>
                <a:gd name="connsiteX2" fmla="*/ 0 w 70607"/>
                <a:gd name="connsiteY2" fmla="*/ 8196 h 16390"/>
                <a:gd name="connsiteX3" fmla="*/ 8195 w 70607"/>
                <a:gd name="connsiteY3" fmla="*/ 0 h 16390"/>
                <a:gd name="connsiteX4" fmla="*/ 62412 w 70607"/>
                <a:gd name="connsiteY4" fmla="*/ 0 h 16390"/>
                <a:gd name="connsiteX5" fmla="*/ 70607 w 70607"/>
                <a:gd name="connsiteY5" fmla="*/ 8196 h 16390"/>
                <a:gd name="connsiteX6" fmla="*/ 62412 w 70607"/>
                <a:gd name="connsiteY6" fmla="*/ 16391 h 16390"/>
                <a:gd name="connsiteX7" fmla="*/ 62412 w 70607"/>
                <a:gd name="connsiteY7" fmla="*/ 16391 h 16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607" h="16390">
                  <a:moveTo>
                    <a:pt x="62412" y="16391"/>
                  </a:moveTo>
                  <a:lnTo>
                    <a:pt x="8195" y="16391"/>
                  </a:lnTo>
                  <a:cubicBezTo>
                    <a:pt x="3782" y="16391"/>
                    <a:pt x="0" y="12608"/>
                    <a:pt x="0" y="8196"/>
                  </a:cubicBezTo>
                  <a:cubicBezTo>
                    <a:pt x="0" y="3782"/>
                    <a:pt x="3782" y="0"/>
                    <a:pt x="8195" y="0"/>
                  </a:cubicBezTo>
                  <a:lnTo>
                    <a:pt x="62412" y="0"/>
                  </a:lnTo>
                  <a:cubicBezTo>
                    <a:pt x="66825" y="0"/>
                    <a:pt x="70607" y="3782"/>
                    <a:pt x="70607" y="8196"/>
                  </a:cubicBezTo>
                  <a:cubicBezTo>
                    <a:pt x="70607" y="12608"/>
                    <a:pt x="66825" y="16391"/>
                    <a:pt x="62412" y="16391"/>
                  </a:cubicBezTo>
                  <a:lnTo>
                    <a:pt x="62412" y="1639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44" name="Forma Livre: Forma 343">
              <a:extLst>
                <a:ext uri="{FF2B5EF4-FFF2-40B4-BE49-F238E27FC236}">
                  <a16:creationId xmlns:a16="http://schemas.microsoft.com/office/drawing/2014/main" id="{7245159E-217D-4DBA-877B-DADE71C35719}"/>
                </a:ext>
              </a:extLst>
            </p:cNvPr>
            <p:cNvSpPr/>
            <p:nvPr/>
          </p:nvSpPr>
          <p:spPr>
            <a:xfrm>
              <a:off x="3566114" y="1807650"/>
              <a:ext cx="70607" cy="16391"/>
            </a:xfrm>
            <a:custGeom>
              <a:avLst/>
              <a:gdLst>
                <a:gd name="connsiteX0" fmla="*/ 62412 w 70607"/>
                <a:gd name="connsiteY0" fmla="*/ 16391 h 16391"/>
                <a:gd name="connsiteX1" fmla="*/ 8195 w 70607"/>
                <a:gd name="connsiteY1" fmla="*/ 16391 h 16391"/>
                <a:gd name="connsiteX2" fmla="*/ 0 w 70607"/>
                <a:gd name="connsiteY2" fmla="*/ 8196 h 16391"/>
                <a:gd name="connsiteX3" fmla="*/ 8195 w 70607"/>
                <a:gd name="connsiteY3" fmla="*/ 0 h 16391"/>
                <a:gd name="connsiteX4" fmla="*/ 62412 w 70607"/>
                <a:gd name="connsiteY4" fmla="*/ 0 h 16391"/>
                <a:gd name="connsiteX5" fmla="*/ 70607 w 70607"/>
                <a:gd name="connsiteY5" fmla="*/ 8196 h 16391"/>
                <a:gd name="connsiteX6" fmla="*/ 62412 w 70607"/>
                <a:gd name="connsiteY6" fmla="*/ 16391 h 16391"/>
                <a:gd name="connsiteX7" fmla="*/ 62412 w 70607"/>
                <a:gd name="connsiteY7" fmla="*/ 16391 h 16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607" h="16391">
                  <a:moveTo>
                    <a:pt x="62412" y="16391"/>
                  </a:moveTo>
                  <a:lnTo>
                    <a:pt x="8195" y="16391"/>
                  </a:lnTo>
                  <a:cubicBezTo>
                    <a:pt x="3782" y="16391"/>
                    <a:pt x="0" y="12608"/>
                    <a:pt x="0" y="8196"/>
                  </a:cubicBezTo>
                  <a:cubicBezTo>
                    <a:pt x="0" y="3783"/>
                    <a:pt x="3782" y="0"/>
                    <a:pt x="8195" y="0"/>
                  </a:cubicBezTo>
                  <a:lnTo>
                    <a:pt x="62412" y="0"/>
                  </a:lnTo>
                  <a:cubicBezTo>
                    <a:pt x="66825" y="0"/>
                    <a:pt x="70607" y="3783"/>
                    <a:pt x="70607" y="8196"/>
                  </a:cubicBezTo>
                  <a:cubicBezTo>
                    <a:pt x="70607" y="12608"/>
                    <a:pt x="66825" y="16391"/>
                    <a:pt x="62412" y="16391"/>
                  </a:cubicBezTo>
                  <a:lnTo>
                    <a:pt x="62412" y="1639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45" name="Forma Livre: Forma 344">
              <a:extLst>
                <a:ext uri="{FF2B5EF4-FFF2-40B4-BE49-F238E27FC236}">
                  <a16:creationId xmlns:a16="http://schemas.microsoft.com/office/drawing/2014/main" id="{1974F6C4-283A-49F7-B0C3-27CF7170CCDE}"/>
                </a:ext>
              </a:extLst>
            </p:cNvPr>
            <p:cNvSpPr/>
            <p:nvPr/>
          </p:nvSpPr>
          <p:spPr>
            <a:xfrm>
              <a:off x="3566114" y="1849258"/>
              <a:ext cx="70607" cy="16391"/>
            </a:xfrm>
            <a:custGeom>
              <a:avLst/>
              <a:gdLst>
                <a:gd name="connsiteX0" fmla="*/ 62412 w 70607"/>
                <a:gd name="connsiteY0" fmla="*/ 16391 h 16391"/>
                <a:gd name="connsiteX1" fmla="*/ 8195 w 70607"/>
                <a:gd name="connsiteY1" fmla="*/ 16391 h 16391"/>
                <a:gd name="connsiteX2" fmla="*/ 0 w 70607"/>
                <a:gd name="connsiteY2" fmla="*/ 8196 h 16391"/>
                <a:gd name="connsiteX3" fmla="*/ 8195 w 70607"/>
                <a:gd name="connsiteY3" fmla="*/ 0 h 16391"/>
                <a:gd name="connsiteX4" fmla="*/ 62412 w 70607"/>
                <a:gd name="connsiteY4" fmla="*/ 0 h 16391"/>
                <a:gd name="connsiteX5" fmla="*/ 70607 w 70607"/>
                <a:gd name="connsiteY5" fmla="*/ 8196 h 16391"/>
                <a:gd name="connsiteX6" fmla="*/ 62412 w 70607"/>
                <a:gd name="connsiteY6" fmla="*/ 16391 h 16391"/>
                <a:gd name="connsiteX7" fmla="*/ 62412 w 70607"/>
                <a:gd name="connsiteY7" fmla="*/ 16391 h 16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607" h="16391">
                  <a:moveTo>
                    <a:pt x="62412" y="16391"/>
                  </a:moveTo>
                  <a:lnTo>
                    <a:pt x="8195" y="16391"/>
                  </a:lnTo>
                  <a:cubicBezTo>
                    <a:pt x="3782" y="16391"/>
                    <a:pt x="0" y="12608"/>
                    <a:pt x="0" y="8196"/>
                  </a:cubicBezTo>
                  <a:cubicBezTo>
                    <a:pt x="0" y="3783"/>
                    <a:pt x="3782" y="0"/>
                    <a:pt x="8195" y="0"/>
                  </a:cubicBezTo>
                  <a:lnTo>
                    <a:pt x="62412" y="0"/>
                  </a:lnTo>
                  <a:cubicBezTo>
                    <a:pt x="66825" y="0"/>
                    <a:pt x="70607" y="3783"/>
                    <a:pt x="70607" y="8196"/>
                  </a:cubicBezTo>
                  <a:cubicBezTo>
                    <a:pt x="70607" y="12608"/>
                    <a:pt x="66825" y="16391"/>
                    <a:pt x="62412" y="16391"/>
                  </a:cubicBezTo>
                  <a:lnTo>
                    <a:pt x="62412" y="1639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46" name="Forma Livre: Forma 345">
              <a:extLst>
                <a:ext uri="{FF2B5EF4-FFF2-40B4-BE49-F238E27FC236}">
                  <a16:creationId xmlns:a16="http://schemas.microsoft.com/office/drawing/2014/main" id="{A366CFDC-60DE-48BF-B150-8FA59AC0BBF0}"/>
                </a:ext>
              </a:extLst>
            </p:cNvPr>
            <p:cNvSpPr/>
            <p:nvPr/>
          </p:nvSpPr>
          <p:spPr>
            <a:xfrm>
              <a:off x="3566114" y="1890866"/>
              <a:ext cx="70607" cy="16390"/>
            </a:xfrm>
            <a:custGeom>
              <a:avLst/>
              <a:gdLst>
                <a:gd name="connsiteX0" fmla="*/ 62412 w 70607"/>
                <a:gd name="connsiteY0" fmla="*/ 16391 h 16390"/>
                <a:gd name="connsiteX1" fmla="*/ 8195 w 70607"/>
                <a:gd name="connsiteY1" fmla="*/ 16391 h 16390"/>
                <a:gd name="connsiteX2" fmla="*/ 0 w 70607"/>
                <a:gd name="connsiteY2" fmla="*/ 8195 h 16390"/>
                <a:gd name="connsiteX3" fmla="*/ 8195 w 70607"/>
                <a:gd name="connsiteY3" fmla="*/ 0 h 16390"/>
                <a:gd name="connsiteX4" fmla="*/ 62412 w 70607"/>
                <a:gd name="connsiteY4" fmla="*/ 0 h 16390"/>
                <a:gd name="connsiteX5" fmla="*/ 70607 w 70607"/>
                <a:gd name="connsiteY5" fmla="*/ 8195 h 16390"/>
                <a:gd name="connsiteX6" fmla="*/ 62412 w 70607"/>
                <a:gd name="connsiteY6" fmla="*/ 16391 h 16390"/>
                <a:gd name="connsiteX7" fmla="*/ 62412 w 70607"/>
                <a:gd name="connsiteY7" fmla="*/ 16391 h 16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607" h="16390">
                  <a:moveTo>
                    <a:pt x="62412" y="16391"/>
                  </a:moveTo>
                  <a:lnTo>
                    <a:pt x="8195" y="16391"/>
                  </a:lnTo>
                  <a:cubicBezTo>
                    <a:pt x="3782" y="16391"/>
                    <a:pt x="0" y="12608"/>
                    <a:pt x="0" y="8195"/>
                  </a:cubicBezTo>
                  <a:cubicBezTo>
                    <a:pt x="0" y="3782"/>
                    <a:pt x="3782" y="0"/>
                    <a:pt x="8195" y="0"/>
                  </a:cubicBezTo>
                  <a:lnTo>
                    <a:pt x="62412" y="0"/>
                  </a:lnTo>
                  <a:cubicBezTo>
                    <a:pt x="66825" y="0"/>
                    <a:pt x="70607" y="3782"/>
                    <a:pt x="70607" y="8195"/>
                  </a:cubicBezTo>
                  <a:cubicBezTo>
                    <a:pt x="70607" y="12608"/>
                    <a:pt x="66825" y="16391"/>
                    <a:pt x="62412" y="16391"/>
                  </a:cubicBezTo>
                  <a:lnTo>
                    <a:pt x="62412" y="1639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sp>
        <p:nvSpPr>
          <p:cNvPr id="347" name="Forma Livre: Forma 346">
            <a:extLst>
              <a:ext uri="{FF2B5EF4-FFF2-40B4-BE49-F238E27FC236}">
                <a16:creationId xmlns:a16="http://schemas.microsoft.com/office/drawing/2014/main" id="{9EAE1AB9-837B-485D-829D-95119151F6C2}"/>
              </a:ext>
            </a:extLst>
          </p:cNvPr>
          <p:cNvSpPr/>
          <p:nvPr/>
        </p:nvSpPr>
        <p:spPr>
          <a:xfrm>
            <a:off x="1263811" y="512763"/>
            <a:ext cx="6304" cy="6304"/>
          </a:xfrm>
          <a:custGeom>
            <a:avLst/>
            <a:gdLst/>
            <a:ahLst/>
            <a:cxnLst/>
            <a:rect l="l" t="t" r="r" b="b"/>
            <a:pathLst>
              <a:path w="6304" h="6304"/>
            </a:pathLst>
          </a:custGeom>
          <a:solidFill>
            <a:srgbClr val="B1B1A1"/>
          </a:solidFill>
          <a:ln w="6300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grpSp>
        <p:nvGrpSpPr>
          <p:cNvPr id="348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4438618" y="1569981"/>
            <a:ext cx="269227" cy="405361"/>
            <a:chOff x="4438618" y="1569981"/>
            <a:chExt cx="269227" cy="405361"/>
          </a:xfrm>
          <a:solidFill>
            <a:srgbClr val="B1B1A1"/>
          </a:solidFill>
        </p:grpSpPr>
        <p:sp>
          <p:nvSpPr>
            <p:cNvPr id="349" name="Forma Livre: Forma 348">
              <a:extLst>
                <a:ext uri="{FF2B5EF4-FFF2-40B4-BE49-F238E27FC236}">
                  <a16:creationId xmlns:a16="http://schemas.microsoft.com/office/drawing/2014/main" id="{F2DB8083-20DB-444B-BE3B-713734021A33}"/>
                </a:ext>
              </a:extLst>
            </p:cNvPr>
            <p:cNvSpPr/>
            <p:nvPr/>
          </p:nvSpPr>
          <p:spPr>
            <a:xfrm>
              <a:off x="4438618" y="1569981"/>
              <a:ext cx="269227" cy="405361"/>
            </a:xfrm>
            <a:custGeom>
              <a:avLst/>
              <a:gdLst>
                <a:gd name="connsiteX0" fmla="*/ 252799 w 269227"/>
                <a:gd name="connsiteY0" fmla="*/ 405362 h 405361"/>
                <a:gd name="connsiteX1" fmla="*/ 236408 w 269227"/>
                <a:gd name="connsiteY1" fmla="*/ 388971 h 405361"/>
                <a:gd name="connsiteX2" fmla="*/ 130497 w 269227"/>
                <a:gd name="connsiteY2" fmla="*/ 342950 h 405361"/>
                <a:gd name="connsiteX3" fmla="*/ 0 w 269227"/>
                <a:gd name="connsiteY3" fmla="*/ 264777 h 405361"/>
                <a:gd name="connsiteX4" fmla="*/ 130497 w 269227"/>
                <a:gd name="connsiteY4" fmla="*/ 186605 h 405361"/>
                <a:gd name="connsiteX5" fmla="*/ 236408 w 269227"/>
                <a:gd name="connsiteY5" fmla="*/ 140584 h 405361"/>
                <a:gd name="connsiteX6" fmla="*/ 130497 w 269227"/>
                <a:gd name="connsiteY6" fmla="*/ 94563 h 405361"/>
                <a:gd name="connsiteX7" fmla="*/ 0 w 269227"/>
                <a:gd name="connsiteY7" fmla="*/ 16391 h 405361"/>
                <a:gd name="connsiteX8" fmla="*/ 16391 w 269227"/>
                <a:gd name="connsiteY8" fmla="*/ 0 h 405361"/>
                <a:gd name="connsiteX9" fmla="*/ 32782 w 269227"/>
                <a:gd name="connsiteY9" fmla="*/ 16391 h 405361"/>
                <a:gd name="connsiteX10" fmla="*/ 138693 w 269227"/>
                <a:gd name="connsiteY10" fmla="*/ 62412 h 405361"/>
                <a:gd name="connsiteX11" fmla="*/ 269190 w 269227"/>
                <a:gd name="connsiteY11" fmla="*/ 140584 h 405361"/>
                <a:gd name="connsiteX12" fmla="*/ 138693 w 269227"/>
                <a:gd name="connsiteY12" fmla="*/ 218757 h 405361"/>
                <a:gd name="connsiteX13" fmla="*/ 32782 w 269227"/>
                <a:gd name="connsiteY13" fmla="*/ 264777 h 405361"/>
                <a:gd name="connsiteX14" fmla="*/ 138693 w 269227"/>
                <a:gd name="connsiteY14" fmla="*/ 310798 h 405361"/>
                <a:gd name="connsiteX15" fmla="*/ 269190 w 269227"/>
                <a:gd name="connsiteY15" fmla="*/ 388971 h 405361"/>
                <a:gd name="connsiteX16" fmla="*/ 252799 w 269227"/>
                <a:gd name="connsiteY16" fmla="*/ 405362 h 405361"/>
                <a:gd name="connsiteX17" fmla="*/ 252799 w 269227"/>
                <a:gd name="connsiteY17" fmla="*/ 405362 h 405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9227" h="405361">
                  <a:moveTo>
                    <a:pt x="252799" y="405362"/>
                  </a:moveTo>
                  <a:cubicBezTo>
                    <a:pt x="243343" y="405362"/>
                    <a:pt x="236408" y="397797"/>
                    <a:pt x="236408" y="388971"/>
                  </a:cubicBezTo>
                  <a:cubicBezTo>
                    <a:pt x="236408" y="370688"/>
                    <a:pt x="172736" y="354297"/>
                    <a:pt x="130497" y="342950"/>
                  </a:cubicBezTo>
                  <a:cubicBezTo>
                    <a:pt x="63042" y="325298"/>
                    <a:pt x="0" y="308907"/>
                    <a:pt x="0" y="264777"/>
                  </a:cubicBezTo>
                  <a:cubicBezTo>
                    <a:pt x="0" y="220648"/>
                    <a:pt x="63673" y="204257"/>
                    <a:pt x="130497" y="186605"/>
                  </a:cubicBezTo>
                  <a:cubicBezTo>
                    <a:pt x="172736" y="175257"/>
                    <a:pt x="236408" y="158866"/>
                    <a:pt x="236408" y="140584"/>
                  </a:cubicBezTo>
                  <a:cubicBezTo>
                    <a:pt x="236408" y="122302"/>
                    <a:pt x="172736" y="105911"/>
                    <a:pt x="130497" y="94563"/>
                  </a:cubicBezTo>
                  <a:cubicBezTo>
                    <a:pt x="63042" y="76912"/>
                    <a:pt x="0" y="60521"/>
                    <a:pt x="0" y="16391"/>
                  </a:cubicBezTo>
                  <a:cubicBezTo>
                    <a:pt x="0" y="6935"/>
                    <a:pt x="7565" y="0"/>
                    <a:pt x="16391" y="0"/>
                  </a:cubicBezTo>
                  <a:cubicBezTo>
                    <a:pt x="25847" y="0"/>
                    <a:pt x="32782" y="7565"/>
                    <a:pt x="32782" y="16391"/>
                  </a:cubicBezTo>
                  <a:cubicBezTo>
                    <a:pt x="32782" y="34673"/>
                    <a:pt x="96455" y="51064"/>
                    <a:pt x="138693" y="62412"/>
                  </a:cubicBezTo>
                  <a:cubicBezTo>
                    <a:pt x="206148" y="80064"/>
                    <a:pt x="269190" y="96455"/>
                    <a:pt x="269190" y="140584"/>
                  </a:cubicBezTo>
                  <a:cubicBezTo>
                    <a:pt x="269190" y="184714"/>
                    <a:pt x="205518" y="201105"/>
                    <a:pt x="138693" y="218757"/>
                  </a:cubicBezTo>
                  <a:cubicBezTo>
                    <a:pt x="96455" y="230104"/>
                    <a:pt x="32782" y="246495"/>
                    <a:pt x="32782" y="264777"/>
                  </a:cubicBezTo>
                  <a:cubicBezTo>
                    <a:pt x="32782" y="283060"/>
                    <a:pt x="96455" y="299451"/>
                    <a:pt x="138693" y="310798"/>
                  </a:cubicBezTo>
                  <a:cubicBezTo>
                    <a:pt x="206148" y="328450"/>
                    <a:pt x="269190" y="344841"/>
                    <a:pt x="269190" y="388971"/>
                  </a:cubicBezTo>
                  <a:cubicBezTo>
                    <a:pt x="269821" y="397797"/>
                    <a:pt x="262256" y="405362"/>
                    <a:pt x="252799" y="405362"/>
                  </a:cubicBezTo>
                  <a:lnTo>
                    <a:pt x="252799" y="405362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50" name="Forma Livre: Forma 349">
              <a:extLst>
                <a:ext uri="{FF2B5EF4-FFF2-40B4-BE49-F238E27FC236}">
                  <a16:creationId xmlns:a16="http://schemas.microsoft.com/office/drawing/2014/main" id="{ED15458A-EA29-4E92-A665-301AAF17939F}"/>
                </a:ext>
              </a:extLst>
            </p:cNvPr>
            <p:cNvSpPr/>
            <p:nvPr/>
          </p:nvSpPr>
          <p:spPr>
            <a:xfrm>
              <a:off x="4438618" y="1569981"/>
              <a:ext cx="269190" cy="405361"/>
            </a:xfrm>
            <a:custGeom>
              <a:avLst/>
              <a:gdLst>
                <a:gd name="connsiteX0" fmla="*/ 16391 w 269190"/>
                <a:gd name="connsiteY0" fmla="*/ 405362 h 405361"/>
                <a:gd name="connsiteX1" fmla="*/ 0 w 269190"/>
                <a:gd name="connsiteY1" fmla="*/ 388971 h 405361"/>
                <a:gd name="connsiteX2" fmla="*/ 130497 w 269190"/>
                <a:gd name="connsiteY2" fmla="*/ 310798 h 405361"/>
                <a:gd name="connsiteX3" fmla="*/ 236408 w 269190"/>
                <a:gd name="connsiteY3" fmla="*/ 264777 h 405361"/>
                <a:gd name="connsiteX4" fmla="*/ 130497 w 269190"/>
                <a:gd name="connsiteY4" fmla="*/ 218757 h 405361"/>
                <a:gd name="connsiteX5" fmla="*/ 0 w 269190"/>
                <a:gd name="connsiteY5" fmla="*/ 140584 h 405361"/>
                <a:gd name="connsiteX6" fmla="*/ 130497 w 269190"/>
                <a:gd name="connsiteY6" fmla="*/ 62412 h 405361"/>
                <a:gd name="connsiteX7" fmla="*/ 236408 w 269190"/>
                <a:gd name="connsiteY7" fmla="*/ 16391 h 405361"/>
                <a:gd name="connsiteX8" fmla="*/ 252799 w 269190"/>
                <a:gd name="connsiteY8" fmla="*/ 0 h 405361"/>
                <a:gd name="connsiteX9" fmla="*/ 269190 w 269190"/>
                <a:gd name="connsiteY9" fmla="*/ 16391 h 405361"/>
                <a:gd name="connsiteX10" fmla="*/ 138693 w 269190"/>
                <a:gd name="connsiteY10" fmla="*/ 94563 h 405361"/>
                <a:gd name="connsiteX11" fmla="*/ 32782 w 269190"/>
                <a:gd name="connsiteY11" fmla="*/ 140584 h 405361"/>
                <a:gd name="connsiteX12" fmla="*/ 138693 w 269190"/>
                <a:gd name="connsiteY12" fmla="*/ 186605 h 405361"/>
                <a:gd name="connsiteX13" fmla="*/ 269190 w 269190"/>
                <a:gd name="connsiteY13" fmla="*/ 264777 h 405361"/>
                <a:gd name="connsiteX14" fmla="*/ 138693 w 269190"/>
                <a:gd name="connsiteY14" fmla="*/ 342950 h 405361"/>
                <a:gd name="connsiteX15" fmla="*/ 32782 w 269190"/>
                <a:gd name="connsiteY15" fmla="*/ 388971 h 405361"/>
                <a:gd name="connsiteX16" fmla="*/ 16391 w 269190"/>
                <a:gd name="connsiteY16" fmla="*/ 405362 h 405361"/>
                <a:gd name="connsiteX17" fmla="*/ 16391 w 269190"/>
                <a:gd name="connsiteY17" fmla="*/ 405362 h 405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9190" h="405361">
                  <a:moveTo>
                    <a:pt x="16391" y="405362"/>
                  </a:moveTo>
                  <a:cubicBezTo>
                    <a:pt x="6935" y="405362"/>
                    <a:pt x="0" y="397797"/>
                    <a:pt x="0" y="388971"/>
                  </a:cubicBezTo>
                  <a:cubicBezTo>
                    <a:pt x="0" y="344841"/>
                    <a:pt x="63673" y="328450"/>
                    <a:pt x="130497" y="310798"/>
                  </a:cubicBezTo>
                  <a:cubicBezTo>
                    <a:pt x="172736" y="299451"/>
                    <a:pt x="236408" y="283060"/>
                    <a:pt x="236408" y="264777"/>
                  </a:cubicBezTo>
                  <a:cubicBezTo>
                    <a:pt x="236408" y="246495"/>
                    <a:pt x="172736" y="230104"/>
                    <a:pt x="130497" y="218757"/>
                  </a:cubicBezTo>
                  <a:cubicBezTo>
                    <a:pt x="63042" y="201105"/>
                    <a:pt x="0" y="184714"/>
                    <a:pt x="0" y="140584"/>
                  </a:cubicBezTo>
                  <a:cubicBezTo>
                    <a:pt x="0" y="96455"/>
                    <a:pt x="63673" y="80064"/>
                    <a:pt x="130497" y="62412"/>
                  </a:cubicBezTo>
                  <a:cubicBezTo>
                    <a:pt x="172736" y="51064"/>
                    <a:pt x="236408" y="34673"/>
                    <a:pt x="236408" y="16391"/>
                  </a:cubicBezTo>
                  <a:cubicBezTo>
                    <a:pt x="236408" y="6935"/>
                    <a:pt x="243973" y="0"/>
                    <a:pt x="252799" y="0"/>
                  </a:cubicBezTo>
                  <a:cubicBezTo>
                    <a:pt x="262256" y="0"/>
                    <a:pt x="269190" y="7565"/>
                    <a:pt x="269190" y="16391"/>
                  </a:cubicBezTo>
                  <a:cubicBezTo>
                    <a:pt x="269190" y="60521"/>
                    <a:pt x="205518" y="76912"/>
                    <a:pt x="138693" y="94563"/>
                  </a:cubicBezTo>
                  <a:cubicBezTo>
                    <a:pt x="96455" y="105911"/>
                    <a:pt x="32782" y="122302"/>
                    <a:pt x="32782" y="140584"/>
                  </a:cubicBezTo>
                  <a:cubicBezTo>
                    <a:pt x="32782" y="158866"/>
                    <a:pt x="96455" y="175257"/>
                    <a:pt x="138693" y="186605"/>
                  </a:cubicBezTo>
                  <a:cubicBezTo>
                    <a:pt x="206148" y="204257"/>
                    <a:pt x="269190" y="220648"/>
                    <a:pt x="269190" y="264777"/>
                  </a:cubicBezTo>
                  <a:cubicBezTo>
                    <a:pt x="269190" y="308907"/>
                    <a:pt x="205518" y="325298"/>
                    <a:pt x="138693" y="342950"/>
                  </a:cubicBezTo>
                  <a:cubicBezTo>
                    <a:pt x="96455" y="354297"/>
                    <a:pt x="32782" y="370688"/>
                    <a:pt x="32782" y="388971"/>
                  </a:cubicBezTo>
                  <a:cubicBezTo>
                    <a:pt x="32782" y="397797"/>
                    <a:pt x="25847" y="405362"/>
                    <a:pt x="16391" y="405362"/>
                  </a:cubicBezTo>
                  <a:lnTo>
                    <a:pt x="16391" y="405362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51" name="Forma Livre: Forma 350">
              <a:extLst>
                <a:ext uri="{FF2B5EF4-FFF2-40B4-BE49-F238E27FC236}">
                  <a16:creationId xmlns:a16="http://schemas.microsoft.com/office/drawing/2014/main" id="{0EE532AD-2893-4078-9141-6B2748F2C71A}"/>
                </a:ext>
              </a:extLst>
            </p:cNvPr>
            <p:cNvSpPr/>
            <p:nvPr/>
          </p:nvSpPr>
          <p:spPr>
            <a:xfrm>
              <a:off x="4461944" y="1681566"/>
              <a:ext cx="225129" cy="16391"/>
            </a:xfrm>
            <a:custGeom>
              <a:avLst/>
              <a:gdLst>
                <a:gd name="connsiteX0" fmla="*/ 216866 w 225129"/>
                <a:gd name="connsiteY0" fmla="*/ 16391 h 16391"/>
                <a:gd name="connsiteX1" fmla="*/ 8196 w 225129"/>
                <a:gd name="connsiteY1" fmla="*/ 16391 h 16391"/>
                <a:gd name="connsiteX2" fmla="*/ 0 w 225129"/>
                <a:gd name="connsiteY2" fmla="*/ 8196 h 16391"/>
                <a:gd name="connsiteX3" fmla="*/ 8196 w 225129"/>
                <a:gd name="connsiteY3" fmla="*/ 0 h 16391"/>
                <a:gd name="connsiteX4" fmla="*/ 216866 w 225129"/>
                <a:gd name="connsiteY4" fmla="*/ 0 h 16391"/>
                <a:gd name="connsiteX5" fmla="*/ 225061 w 225129"/>
                <a:gd name="connsiteY5" fmla="*/ 8196 h 16391"/>
                <a:gd name="connsiteX6" fmla="*/ 216866 w 225129"/>
                <a:gd name="connsiteY6" fmla="*/ 16391 h 16391"/>
                <a:gd name="connsiteX7" fmla="*/ 216866 w 225129"/>
                <a:gd name="connsiteY7" fmla="*/ 16391 h 16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129" h="16391">
                  <a:moveTo>
                    <a:pt x="216866" y="16391"/>
                  </a:moveTo>
                  <a:lnTo>
                    <a:pt x="8196" y="16391"/>
                  </a:lnTo>
                  <a:cubicBezTo>
                    <a:pt x="3783" y="16391"/>
                    <a:pt x="0" y="12608"/>
                    <a:pt x="0" y="8196"/>
                  </a:cubicBezTo>
                  <a:cubicBezTo>
                    <a:pt x="0" y="3783"/>
                    <a:pt x="3783" y="0"/>
                    <a:pt x="8196" y="0"/>
                  </a:cubicBezTo>
                  <a:lnTo>
                    <a:pt x="216866" y="0"/>
                  </a:lnTo>
                  <a:cubicBezTo>
                    <a:pt x="221279" y="0"/>
                    <a:pt x="225061" y="3783"/>
                    <a:pt x="225061" y="8196"/>
                  </a:cubicBezTo>
                  <a:cubicBezTo>
                    <a:pt x="225691" y="12608"/>
                    <a:pt x="221909" y="16391"/>
                    <a:pt x="216866" y="16391"/>
                  </a:cubicBezTo>
                  <a:lnTo>
                    <a:pt x="216866" y="1639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52" name="Forma Livre: Forma 351">
              <a:extLst>
                <a:ext uri="{FF2B5EF4-FFF2-40B4-BE49-F238E27FC236}">
                  <a16:creationId xmlns:a16="http://schemas.microsoft.com/office/drawing/2014/main" id="{14C096BA-0F8C-43EB-8FDE-F4EC665A14F5}"/>
                </a:ext>
              </a:extLst>
            </p:cNvPr>
            <p:cNvSpPr/>
            <p:nvPr/>
          </p:nvSpPr>
          <p:spPr>
            <a:xfrm>
              <a:off x="4461944" y="1595828"/>
              <a:ext cx="225129" cy="16390"/>
            </a:xfrm>
            <a:custGeom>
              <a:avLst/>
              <a:gdLst>
                <a:gd name="connsiteX0" fmla="*/ 216866 w 225129"/>
                <a:gd name="connsiteY0" fmla="*/ 16391 h 16390"/>
                <a:gd name="connsiteX1" fmla="*/ 8196 w 225129"/>
                <a:gd name="connsiteY1" fmla="*/ 16391 h 16390"/>
                <a:gd name="connsiteX2" fmla="*/ 0 w 225129"/>
                <a:gd name="connsiteY2" fmla="*/ 8196 h 16390"/>
                <a:gd name="connsiteX3" fmla="*/ 8196 w 225129"/>
                <a:gd name="connsiteY3" fmla="*/ 0 h 16390"/>
                <a:gd name="connsiteX4" fmla="*/ 216866 w 225129"/>
                <a:gd name="connsiteY4" fmla="*/ 0 h 16390"/>
                <a:gd name="connsiteX5" fmla="*/ 225061 w 225129"/>
                <a:gd name="connsiteY5" fmla="*/ 8196 h 16390"/>
                <a:gd name="connsiteX6" fmla="*/ 216866 w 225129"/>
                <a:gd name="connsiteY6" fmla="*/ 16391 h 16390"/>
                <a:gd name="connsiteX7" fmla="*/ 216866 w 225129"/>
                <a:gd name="connsiteY7" fmla="*/ 16391 h 16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129" h="16390">
                  <a:moveTo>
                    <a:pt x="216866" y="16391"/>
                  </a:moveTo>
                  <a:lnTo>
                    <a:pt x="8196" y="16391"/>
                  </a:lnTo>
                  <a:cubicBezTo>
                    <a:pt x="3783" y="16391"/>
                    <a:pt x="0" y="12608"/>
                    <a:pt x="0" y="8196"/>
                  </a:cubicBezTo>
                  <a:cubicBezTo>
                    <a:pt x="0" y="3782"/>
                    <a:pt x="3783" y="0"/>
                    <a:pt x="8196" y="0"/>
                  </a:cubicBezTo>
                  <a:lnTo>
                    <a:pt x="216866" y="0"/>
                  </a:lnTo>
                  <a:cubicBezTo>
                    <a:pt x="221279" y="0"/>
                    <a:pt x="225061" y="3782"/>
                    <a:pt x="225061" y="8196"/>
                  </a:cubicBezTo>
                  <a:cubicBezTo>
                    <a:pt x="225691" y="13239"/>
                    <a:pt x="221909" y="16391"/>
                    <a:pt x="216866" y="16391"/>
                  </a:cubicBezTo>
                  <a:lnTo>
                    <a:pt x="216866" y="1639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53" name="Forma Livre: Forma 352">
              <a:extLst>
                <a:ext uri="{FF2B5EF4-FFF2-40B4-BE49-F238E27FC236}">
                  <a16:creationId xmlns:a16="http://schemas.microsoft.com/office/drawing/2014/main" id="{715749F8-65A3-4410-B235-75A9FBE20B6A}"/>
                </a:ext>
              </a:extLst>
            </p:cNvPr>
            <p:cNvSpPr/>
            <p:nvPr/>
          </p:nvSpPr>
          <p:spPr>
            <a:xfrm>
              <a:off x="4461944" y="1717500"/>
              <a:ext cx="225129" cy="16390"/>
            </a:xfrm>
            <a:custGeom>
              <a:avLst/>
              <a:gdLst>
                <a:gd name="connsiteX0" fmla="*/ 216866 w 225129"/>
                <a:gd name="connsiteY0" fmla="*/ 16391 h 16390"/>
                <a:gd name="connsiteX1" fmla="*/ 8196 w 225129"/>
                <a:gd name="connsiteY1" fmla="*/ 16391 h 16390"/>
                <a:gd name="connsiteX2" fmla="*/ 0 w 225129"/>
                <a:gd name="connsiteY2" fmla="*/ 8195 h 16390"/>
                <a:gd name="connsiteX3" fmla="*/ 8196 w 225129"/>
                <a:gd name="connsiteY3" fmla="*/ 0 h 16390"/>
                <a:gd name="connsiteX4" fmla="*/ 216866 w 225129"/>
                <a:gd name="connsiteY4" fmla="*/ 0 h 16390"/>
                <a:gd name="connsiteX5" fmla="*/ 225061 w 225129"/>
                <a:gd name="connsiteY5" fmla="*/ 8195 h 16390"/>
                <a:gd name="connsiteX6" fmla="*/ 216866 w 225129"/>
                <a:gd name="connsiteY6" fmla="*/ 16391 h 16390"/>
                <a:gd name="connsiteX7" fmla="*/ 216866 w 225129"/>
                <a:gd name="connsiteY7" fmla="*/ 16391 h 16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129" h="16390">
                  <a:moveTo>
                    <a:pt x="216866" y="16391"/>
                  </a:moveTo>
                  <a:lnTo>
                    <a:pt x="8196" y="16391"/>
                  </a:lnTo>
                  <a:cubicBezTo>
                    <a:pt x="3783" y="16391"/>
                    <a:pt x="0" y="12608"/>
                    <a:pt x="0" y="8195"/>
                  </a:cubicBezTo>
                  <a:cubicBezTo>
                    <a:pt x="0" y="3782"/>
                    <a:pt x="3783" y="0"/>
                    <a:pt x="8196" y="0"/>
                  </a:cubicBezTo>
                  <a:lnTo>
                    <a:pt x="216866" y="0"/>
                  </a:lnTo>
                  <a:cubicBezTo>
                    <a:pt x="221279" y="0"/>
                    <a:pt x="225061" y="3782"/>
                    <a:pt x="225061" y="8195"/>
                  </a:cubicBezTo>
                  <a:cubicBezTo>
                    <a:pt x="225691" y="12608"/>
                    <a:pt x="221909" y="16391"/>
                    <a:pt x="216866" y="16391"/>
                  </a:cubicBezTo>
                  <a:lnTo>
                    <a:pt x="216866" y="1639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54" name="Forma Livre: Forma 353">
              <a:extLst>
                <a:ext uri="{FF2B5EF4-FFF2-40B4-BE49-F238E27FC236}">
                  <a16:creationId xmlns:a16="http://schemas.microsoft.com/office/drawing/2014/main" id="{683C3B07-A1D7-42C4-B7CE-16B86554B267}"/>
                </a:ext>
              </a:extLst>
            </p:cNvPr>
            <p:cNvSpPr/>
            <p:nvPr/>
          </p:nvSpPr>
          <p:spPr>
            <a:xfrm>
              <a:off x="4461944" y="1807650"/>
              <a:ext cx="225129" cy="16391"/>
            </a:xfrm>
            <a:custGeom>
              <a:avLst/>
              <a:gdLst>
                <a:gd name="connsiteX0" fmla="*/ 216866 w 225129"/>
                <a:gd name="connsiteY0" fmla="*/ 16391 h 16391"/>
                <a:gd name="connsiteX1" fmla="*/ 8196 w 225129"/>
                <a:gd name="connsiteY1" fmla="*/ 16391 h 16391"/>
                <a:gd name="connsiteX2" fmla="*/ 0 w 225129"/>
                <a:gd name="connsiteY2" fmla="*/ 8196 h 16391"/>
                <a:gd name="connsiteX3" fmla="*/ 8196 w 225129"/>
                <a:gd name="connsiteY3" fmla="*/ 0 h 16391"/>
                <a:gd name="connsiteX4" fmla="*/ 216866 w 225129"/>
                <a:gd name="connsiteY4" fmla="*/ 0 h 16391"/>
                <a:gd name="connsiteX5" fmla="*/ 225061 w 225129"/>
                <a:gd name="connsiteY5" fmla="*/ 8196 h 16391"/>
                <a:gd name="connsiteX6" fmla="*/ 216866 w 225129"/>
                <a:gd name="connsiteY6" fmla="*/ 16391 h 16391"/>
                <a:gd name="connsiteX7" fmla="*/ 216866 w 225129"/>
                <a:gd name="connsiteY7" fmla="*/ 16391 h 16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129" h="16391">
                  <a:moveTo>
                    <a:pt x="216866" y="16391"/>
                  </a:moveTo>
                  <a:lnTo>
                    <a:pt x="8196" y="16391"/>
                  </a:lnTo>
                  <a:cubicBezTo>
                    <a:pt x="3783" y="16391"/>
                    <a:pt x="0" y="12608"/>
                    <a:pt x="0" y="8196"/>
                  </a:cubicBezTo>
                  <a:cubicBezTo>
                    <a:pt x="0" y="3783"/>
                    <a:pt x="3783" y="0"/>
                    <a:pt x="8196" y="0"/>
                  </a:cubicBezTo>
                  <a:lnTo>
                    <a:pt x="216866" y="0"/>
                  </a:lnTo>
                  <a:cubicBezTo>
                    <a:pt x="221279" y="0"/>
                    <a:pt x="225061" y="3783"/>
                    <a:pt x="225061" y="8196"/>
                  </a:cubicBezTo>
                  <a:cubicBezTo>
                    <a:pt x="225691" y="12608"/>
                    <a:pt x="221909" y="16391"/>
                    <a:pt x="216866" y="16391"/>
                  </a:cubicBezTo>
                  <a:lnTo>
                    <a:pt x="216866" y="1639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55" name="Forma Livre: Forma 354">
              <a:extLst>
                <a:ext uri="{FF2B5EF4-FFF2-40B4-BE49-F238E27FC236}">
                  <a16:creationId xmlns:a16="http://schemas.microsoft.com/office/drawing/2014/main" id="{3932F0EE-AB6B-4DC1-A6D2-AD2F61A6298C}"/>
                </a:ext>
              </a:extLst>
            </p:cNvPr>
            <p:cNvSpPr/>
            <p:nvPr/>
          </p:nvSpPr>
          <p:spPr>
            <a:xfrm>
              <a:off x="4461944" y="1843585"/>
              <a:ext cx="225129" cy="16390"/>
            </a:xfrm>
            <a:custGeom>
              <a:avLst/>
              <a:gdLst>
                <a:gd name="connsiteX0" fmla="*/ 216866 w 225129"/>
                <a:gd name="connsiteY0" fmla="*/ 16391 h 16390"/>
                <a:gd name="connsiteX1" fmla="*/ 8196 w 225129"/>
                <a:gd name="connsiteY1" fmla="*/ 16391 h 16390"/>
                <a:gd name="connsiteX2" fmla="*/ 0 w 225129"/>
                <a:gd name="connsiteY2" fmla="*/ 8195 h 16390"/>
                <a:gd name="connsiteX3" fmla="*/ 8196 w 225129"/>
                <a:gd name="connsiteY3" fmla="*/ 0 h 16390"/>
                <a:gd name="connsiteX4" fmla="*/ 216866 w 225129"/>
                <a:gd name="connsiteY4" fmla="*/ 0 h 16390"/>
                <a:gd name="connsiteX5" fmla="*/ 225061 w 225129"/>
                <a:gd name="connsiteY5" fmla="*/ 8195 h 16390"/>
                <a:gd name="connsiteX6" fmla="*/ 216866 w 225129"/>
                <a:gd name="connsiteY6" fmla="*/ 16391 h 16390"/>
                <a:gd name="connsiteX7" fmla="*/ 216866 w 225129"/>
                <a:gd name="connsiteY7" fmla="*/ 16391 h 16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129" h="16390">
                  <a:moveTo>
                    <a:pt x="216866" y="16391"/>
                  </a:moveTo>
                  <a:lnTo>
                    <a:pt x="8196" y="16391"/>
                  </a:lnTo>
                  <a:cubicBezTo>
                    <a:pt x="3783" y="16391"/>
                    <a:pt x="0" y="12608"/>
                    <a:pt x="0" y="8195"/>
                  </a:cubicBezTo>
                  <a:cubicBezTo>
                    <a:pt x="0" y="3782"/>
                    <a:pt x="3783" y="0"/>
                    <a:pt x="8196" y="0"/>
                  </a:cubicBezTo>
                  <a:lnTo>
                    <a:pt x="216866" y="0"/>
                  </a:lnTo>
                  <a:cubicBezTo>
                    <a:pt x="221279" y="0"/>
                    <a:pt x="225061" y="3782"/>
                    <a:pt x="225061" y="8195"/>
                  </a:cubicBezTo>
                  <a:cubicBezTo>
                    <a:pt x="225691" y="12608"/>
                    <a:pt x="221909" y="16391"/>
                    <a:pt x="216866" y="16391"/>
                  </a:cubicBezTo>
                  <a:lnTo>
                    <a:pt x="216866" y="1639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56" name="Forma Livre: Forma 355">
              <a:extLst>
                <a:ext uri="{FF2B5EF4-FFF2-40B4-BE49-F238E27FC236}">
                  <a16:creationId xmlns:a16="http://schemas.microsoft.com/office/drawing/2014/main" id="{0B0612D8-D88D-4DD3-9F3D-3AAAE6E34AA2}"/>
                </a:ext>
              </a:extLst>
            </p:cNvPr>
            <p:cNvSpPr/>
            <p:nvPr/>
          </p:nvSpPr>
          <p:spPr>
            <a:xfrm>
              <a:off x="4461944" y="1935626"/>
              <a:ext cx="225129" cy="16391"/>
            </a:xfrm>
            <a:custGeom>
              <a:avLst/>
              <a:gdLst>
                <a:gd name="connsiteX0" fmla="*/ 216866 w 225129"/>
                <a:gd name="connsiteY0" fmla="*/ 16391 h 16391"/>
                <a:gd name="connsiteX1" fmla="*/ 8196 w 225129"/>
                <a:gd name="connsiteY1" fmla="*/ 16391 h 16391"/>
                <a:gd name="connsiteX2" fmla="*/ 0 w 225129"/>
                <a:gd name="connsiteY2" fmla="*/ 8196 h 16391"/>
                <a:gd name="connsiteX3" fmla="*/ 8196 w 225129"/>
                <a:gd name="connsiteY3" fmla="*/ 0 h 16391"/>
                <a:gd name="connsiteX4" fmla="*/ 216866 w 225129"/>
                <a:gd name="connsiteY4" fmla="*/ 0 h 16391"/>
                <a:gd name="connsiteX5" fmla="*/ 225061 w 225129"/>
                <a:gd name="connsiteY5" fmla="*/ 8196 h 16391"/>
                <a:gd name="connsiteX6" fmla="*/ 216866 w 225129"/>
                <a:gd name="connsiteY6" fmla="*/ 16391 h 16391"/>
                <a:gd name="connsiteX7" fmla="*/ 216866 w 225129"/>
                <a:gd name="connsiteY7" fmla="*/ 16391 h 16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129" h="16391">
                  <a:moveTo>
                    <a:pt x="216866" y="16391"/>
                  </a:moveTo>
                  <a:lnTo>
                    <a:pt x="8196" y="16391"/>
                  </a:lnTo>
                  <a:cubicBezTo>
                    <a:pt x="3783" y="16391"/>
                    <a:pt x="0" y="12608"/>
                    <a:pt x="0" y="8196"/>
                  </a:cubicBezTo>
                  <a:cubicBezTo>
                    <a:pt x="0" y="3783"/>
                    <a:pt x="3783" y="0"/>
                    <a:pt x="8196" y="0"/>
                  </a:cubicBezTo>
                  <a:lnTo>
                    <a:pt x="216866" y="0"/>
                  </a:lnTo>
                  <a:cubicBezTo>
                    <a:pt x="221279" y="0"/>
                    <a:pt x="225061" y="3783"/>
                    <a:pt x="225061" y="8196"/>
                  </a:cubicBezTo>
                  <a:cubicBezTo>
                    <a:pt x="225691" y="12608"/>
                    <a:pt x="221909" y="16391"/>
                    <a:pt x="216866" y="16391"/>
                  </a:cubicBezTo>
                  <a:lnTo>
                    <a:pt x="216866" y="16391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57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1349548" y="1553907"/>
            <a:ext cx="331602" cy="437826"/>
            <a:chOff x="1349548" y="1553907"/>
            <a:chExt cx="331602" cy="437826"/>
          </a:xfrm>
          <a:solidFill>
            <a:srgbClr val="B1B1A1"/>
          </a:solidFill>
        </p:grpSpPr>
        <p:grpSp>
          <p:nvGrpSpPr>
            <p:cNvPr id="358" name="Gráfico 2">
              <a:extLst>
                <a:ext uri="{FF2B5EF4-FFF2-40B4-BE49-F238E27FC236}">
                  <a16:creationId xmlns:a16="http://schemas.microsoft.com/office/drawing/2014/main" id="{1EC2913E-D059-42A1-91F3-F6BAB2F166E6}"/>
                </a:ext>
              </a:extLst>
            </p:cNvPr>
            <p:cNvGrpSpPr/>
            <p:nvPr/>
          </p:nvGrpSpPr>
          <p:grpSpPr>
            <a:xfrm>
              <a:off x="1391659" y="1553907"/>
              <a:ext cx="184523" cy="272655"/>
              <a:chOff x="1391659" y="1553907"/>
              <a:chExt cx="184523" cy="272655"/>
            </a:xfrm>
            <a:grpFill/>
          </p:grpSpPr>
          <p:sp>
            <p:nvSpPr>
              <p:cNvPr id="359" name="Forma Livre: Forma 358">
                <a:extLst>
                  <a:ext uri="{FF2B5EF4-FFF2-40B4-BE49-F238E27FC236}">
                    <a16:creationId xmlns:a16="http://schemas.microsoft.com/office/drawing/2014/main" id="{BA319924-D348-45FA-9041-364A82149197}"/>
                  </a:ext>
                </a:extLst>
              </p:cNvPr>
              <p:cNvSpPr/>
              <p:nvPr/>
            </p:nvSpPr>
            <p:spPr>
              <a:xfrm>
                <a:off x="1391659" y="1573318"/>
                <a:ext cx="178033" cy="232441"/>
              </a:xfrm>
              <a:custGeom>
                <a:avLst/>
                <a:gdLst>
                  <a:gd name="connsiteX0" fmla="*/ 102886 w 178033"/>
                  <a:gd name="connsiteY0" fmla="*/ 232442 h 232441"/>
                  <a:gd name="connsiteX1" fmla="*/ 73886 w 178033"/>
                  <a:gd name="connsiteY1" fmla="*/ 214159 h 232441"/>
                  <a:gd name="connsiteX2" fmla="*/ 3279 w 178033"/>
                  <a:gd name="connsiteY2" fmla="*/ 66010 h 232441"/>
                  <a:gd name="connsiteX3" fmla="*/ 2018 w 178033"/>
                  <a:gd name="connsiteY3" fmla="*/ 41424 h 232441"/>
                  <a:gd name="connsiteX4" fmla="*/ 18409 w 178033"/>
                  <a:gd name="connsiteY4" fmla="*/ 23141 h 232441"/>
                  <a:gd name="connsiteX5" fmla="*/ 60648 w 178033"/>
                  <a:gd name="connsiteY5" fmla="*/ 2968 h 232441"/>
                  <a:gd name="connsiteX6" fmla="*/ 103516 w 178033"/>
                  <a:gd name="connsiteY6" fmla="*/ 18098 h 232441"/>
                  <a:gd name="connsiteX7" fmla="*/ 174754 w 178033"/>
                  <a:gd name="connsiteY7" fmla="*/ 166247 h 232441"/>
                  <a:gd name="connsiteX8" fmla="*/ 176015 w 178033"/>
                  <a:gd name="connsiteY8" fmla="*/ 190834 h 232441"/>
                  <a:gd name="connsiteX9" fmla="*/ 159624 w 178033"/>
                  <a:gd name="connsiteY9" fmla="*/ 209116 h 232441"/>
                  <a:gd name="connsiteX10" fmla="*/ 117386 w 178033"/>
                  <a:gd name="connsiteY10" fmla="*/ 229290 h 232441"/>
                  <a:gd name="connsiteX11" fmla="*/ 102886 w 178033"/>
                  <a:gd name="connsiteY11" fmla="*/ 232442 h 232441"/>
                  <a:gd name="connsiteX12" fmla="*/ 102886 w 178033"/>
                  <a:gd name="connsiteY12" fmla="*/ 232442 h 232441"/>
                  <a:gd name="connsiteX13" fmla="*/ 73886 w 178033"/>
                  <a:gd name="connsiteY13" fmla="*/ 31967 h 232441"/>
                  <a:gd name="connsiteX14" fmla="*/ 32909 w 178033"/>
                  <a:gd name="connsiteY14" fmla="*/ 52771 h 232441"/>
                  <a:gd name="connsiteX15" fmla="*/ 103516 w 178033"/>
                  <a:gd name="connsiteY15" fmla="*/ 199029 h 232441"/>
                  <a:gd name="connsiteX16" fmla="*/ 145124 w 178033"/>
                  <a:gd name="connsiteY16" fmla="*/ 179486 h 232441"/>
                  <a:gd name="connsiteX17" fmla="*/ 73886 w 178033"/>
                  <a:gd name="connsiteY17" fmla="*/ 31967 h 232441"/>
                  <a:gd name="connsiteX18" fmla="*/ 73886 w 178033"/>
                  <a:gd name="connsiteY18" fmla="*/ 31967 h 232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78033" h="232441">
                    <a:moveTo>
                      <a:pt x="102886" y="232442"/>
                    </a:moveTo>
                    <a:cubicBezTo>
                      <a:pt x="90277" y="232442"/>
                      <a:pt x="78930" y="225507"/>
                      <a:pt x="73886" y="214159"/>
                    </a:cubicBezTo>
                    <a:lnTo>
                      <a:pt x="3279" y="66010"/>
                    </a:lnTo>
                    <a:cubicBezTo>
                      <a:pt x="-503" y="58445"/>
                      <a:pt x="-1134" y="49619"/>
                      <a:pt x="2018" y="41424"/>
                    </a:cubicBezTo>
                    <a:cubicBezTo>
                      <a:pt x="5170" y="33228"/>
                      <a:pt x="10844" y="26924"/>
                      <a:pt x="18409" y="23141"/>
                    </a:cubicBezTo>
                    <a:lnTo>
                      <a:pt x="60648" y="2968"/>
                    </a:lnTo>
                    <a:cubicBezTo>
                      <a:pt x="76408" y="-4597"/>
                      <a:pt x="96582" y="2968"/>
                      <a:pt x="103516" y="18098"/>
                    </a:cubicBezTo>
                    <a:lnTo>
                      <a:pt x="174754" y="166247"/>
                    </a:lnTo>
                    <a:cubicBezTo>
                      <a:pt x="178537" y="173812"/>
                      <a:pt x="179167" y="182638"/>
                      <a:pt x="176015" y="190834"/>
                    </a:cubicBezTo>
                    <a:cubicBezTo>
                      <a:pt x="172863" y="199029"/>
                      <a:pt x="167189" y="205333"/>
                      <a:pt x="159624" y="209116"/>
                    </a:cubicBezTo>
                    <a:lnTo>
                      <a:pt x="117386" y="229290"/>
                    </a:lnTo>
                    <a:cubicBezTo>
                      <a:pt x="112342" y="231181"/>
                      <a:pt x="107929" y="232442"/>
                      <a:pt x="102886" y="232442"/>
                    </a:cubicBezTo>
                    <a:lnTo>
                      <a:pt x="102886" y="232442"/>
                    </a:lnTo>
                    <a:close/>
                    <a:moveTo>
                      <a:pt x="73886" y="31967"/>
                    </a:moveTo>
                    <a:lnTo>
                      <a:pt x="32909" y="52771"/>
                    </a:lnTo>
                    <a:lnTo>
                      <a:pt x="103516" y="199029"/>
                    </a:lnTo>
                    <a:lnTo>
                      <a:pt x="145124" y="179486"/>
                    </a:lnTo>
                    <a:lnTo>
                      <a:pt x="73886" y="31967"/>
                    </a:lnTo>
                    <a:lnTo>
                      <a:pt x="73886" y="31967"/>
                    </a:ln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60" name="Forma Livre: Forma 359">
                <a:extLst>
                  <a:ext uri="{FF2B5EF4-FFF2-40B4-BE49-F238E27FC236}">
                    <a16:creationId xmlns:a16="http://schemas.microsoft.com/office/drawing/2014/main" id="{12D6FDBE-443A-48A6-B688-B949DD6525D4}"/>
                  </a:ext>
                </a:extLst>
              </p:cNvPr>
              <p:cNvSpPr/>
              <p:nvPr/>
            </p:nvSpPr>
            <p:spPr>
              <a:xfrm>
                <a:off x="1395242" y="1553907"/>
                <a:ext cx="63682" cy="47594"/>
              </a:xfrm>
              <a:custGeom>
                <a:avLst/>
                <a:gdLst>
                  <a:gd name="connsiteX0" fmla="*/ 16718 w 63682"/>
                  <a:gd name="connsiteY0" fmla="*/ 47595 h 47594"/>
                  <a:gd name="connsiteX1" fmla="*/ 1588 w 63682"/>
                  <a:gd name="connsiteY1" fmla="*/ 38138 h 47594"/>
                  <a:gd name="connsiteX2" fmla="*/ 9153 w 63682"/>
                  <a:gd name="connsiteY2" fmla="*/ 16074 h 47594"/>
                  <a:gd name="connsiteX3" fmla="*/ 40044 w 63682"/>
                  <a:gd name="connsiteY3" fmla="*/ 1574 h 47594"/>
                  <a:gd name="connsiteX4" fmla="*/ 62109 w 63682"/>
                  <a:gd name="connsiteY4" fmla="*/ 9769 h 47594"/>
                  <a:gd name="connsiteX5" fmla="*/ 53913 w 63682"/>
                  <a:gd name="connsiteY5" fmla="*/ 31834 h 47594"/>
                  <a:gd name="connsiteX6" fmla="*/ 23022 w 63682"/>
                  <a:gd name="connsiteY6" fmla="*/ 46334 h 47594"/>
                  <a:gd name="connsiteX7" fmla="*/ 16718 w 63682"/>
                  <a:gd name="connsiteY7" fmla="*/ 47595 h 47594"/>
                  <a:gd name="connsiteX8" fmla="*/ 16718 w 63682"/>
                  <a:gd name="connsiteY8" fmla="*/ 47595 h 47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3682" h="47594">
                    <a:moveTo>
                      <a:pt x="16718" y="47595"/>
                    </a:moveTo>
                    <a:cubicBezTo>
                      <a:pt x="10414" y="47595"/>
                      <a:pt x="4740" y="43812"/>
                      <a:pt x="1588" y="38138"/>
                    </a:cubicBezTo>
                    <a:cubicBezTo>
                      <a:pt x="-2194" y="29943"/>
                      <a:pt x="958" y="19856"/>
                      <a:pt x="9153" y="16074"/>
                    </a:cubicBezTo>
                    <a:lnTo>
                      <a:pt x="40044" y="1574"/>
                    </a:lnTo>
                    <a:cubicBezTo>
                      <a:pt x="48239" y="-2209"/>
                      <a:pt x="58326" y="944"/>
                      <a:pt x="62109" y="9769"/>
                    </a:cubicBezTo>
                    <a:cubicBezTo>
                      <a:pt x="65891" y="17965"/>
                      <a:pt x="62739" y="28052"/>
                      <a:pt x="53913" y="31834"/>
                    </a:cubicBezTo>
                    <a:lnTo>
                      <a:pt x="23022" y="46334"/>
                    </a:lnTo>
                    <a:cubicBezTo>
                      <a:pt x="21762" y="46964"/>
                      <a:pt x="19240" y="47595"/>
                      <a:pt x="16718" y="47595"/>
                    </a:cubicBezTo>
                    <a:lnTo>
                      <a:pt x="16718" y="47595"/>
                    </a:ln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61" name="Forma Livre: Forma 360">
                <a:extLst>
                  <a:ext uri="{FF2B5EF4-FFF2-40B4-BE49-F238E27FC236}">
                    <a16:creationId xmlns:a16="http://schemas.microsoft.com/office/drawing/2014/main" id="{353CE659-36D3-4B57-B94E-14C11BF735E2}"/>
                  </a:ext>
                </a:extLst>
              </p:cNvPr>
              <p:cNvSpPr/>
              <p:nvPr/>
            </p:nvSpPr>
            <p:spPr>
              <a:xfrm>
                <a:off x="1486653" y="1766360"/>
                <a:ext cx="89529" cy="60203"/>
              </a:xfrm>
              <a:custGeom>
                <a:avLst/>
                <a:gdLst>
                  <a:gd name="connsiteX0" fmla="*/ 16718 w 89529"/>
                  <a:gd name="connsiteY0" fmla="*/ 60203 h 60203"/>
                  <a:gd name="connsiteX1" fmla="*/ 1588 w 89529"/>
                  <a:gd name="connsiteY1" fmla="*/ 50747 h 60203"/>
                  <a:gd name="connsiteX2" fmla="*/ 9153 w 89529"/>
                  <a:gd name="connsiteY2" fmla="*/ 28682 h 60203"/>
                  <a:gd name="connsiteX3" fmla="*/ 65891 w 89529"/>
                  <a:gd name="connsiteY3" fmla="*/ 1574 h 60203"/>
                  <a:gd name="connsiteX4" fmla="*/ 87956 w 89529"/>
                  <a:gd name="connsiteY4" fmla="*/ 9769 h 60203"/>
                  <a:gd name="connsiteX5" fmla="*/ 79760 w 89529"/>
                  <a:gd name="connsiteY5" fmla="*/ 31834 h 60203"/>
                  <a:gd name="connsiteX6" fmla="*/ 23022 w 89529"/>
                  <a:gd name="connsiteY6" fmla="*/ 58942 h 60203"/>
                  <a:gd name="connsiteX7" fmla="*/ 16718 w 89529"/>
                  <a:gd name="connsiteY7" fmla="*/ 60203 h 60203"/>
                  <a:gd name="connsiteX8" fmla="*/ 16718 w 89529"/>
                  <a:gd name="connsiteY8" fmla="*/ 60203 h 602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9529" h="60203">
                    <a:moveTo>
                      <a:pt x="16718" y="60203"/>
                    </a:moveTo>
                    <a:cubicBezTo>
                      <a:pt x="10414" y="60203"/>
                      <a:pt x="4740" y="56421"/>
                      <a:pt x="1588" y="50747"/>
                    </a:cubicBezTo>
                    <a:cubicBezTo>
                      <a:pt x="-2194" y="42551"/>
                      <a:pt x="958" y="32465"/>
                      <a:pt x="9153" y="28682"/>
                    </a:cubicBezTo>
                    <a:lnTo>
                      <a:pt x="65891" y="1574"/>
                    </a:lnTo>
                    <a:cubicBezTo>
                      <a:pt x="74087" y="-2209"/>
                      <a:pt x="84173" y="944"/>
                      <a:pt x="87956" y="9769"/>
                    </a:cubicBezTo>
                    <a:cubicBezTo>
                      <a:pt x="91739" y="17965"/>
                      <a:pt x="88586" y="28052"/>
                      <a:pt x="79760" y="31834"/>
                    </a:cubicBezTo>
                    <a:lnTo>
                      <a:pt x="23022" y="58942"/>
                    </a:lnTo>
                    <a:cubicBezTo>
                      <a:pt x="21131" y="59573"/>
                      <a:pt x="18609" y="60203"/>
                      <a:pt x="16718" y="60203"/>
                    </a:cubicBezTo>
                    <a:lnTo>
                      <a:pt x="16718" y="60203"/>
                    </a:ln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362" name="Forma Livre: Forma 361">
              <a:extLst>
                <a:ext uri="{FF2B5EF4-FFF2-40B4-BE49-F238E27FC236}">
                  <a16:creationId xmlns:a16="http://schemas.microsoft.com/office/drawing/2014/main" id="{89847A28-4C0C-4C12-92F9-972B9C621501}"/>
                </a:ext>
              </a:extLst>
            </p:cNvPr>
            <p:cNvSpPr/>
            <p:nvPr/>
          </p:nvSpPr>
          <p:spPr>
            <a:xfrm>
              <a:off x="1349548" y="1657610"/>
              <a:ext cx="321515" cy="307646"/>
            </a:xfrm>
            <a:custGeom>
              <a:avLst/>
              <a:gdLst>
                <a:gd name="connsiteX0" fmla="*/ 175888 w 321515"/>
                <a:gd name="connsiteY0" fmla="*/ 307646 h 307646"/>
                <a:gd name="connsiteX1" fmla="*/ 0 w 321515"/>
                <a:gd name="connsiteY1" fmla="*/ 131758 h 307646"/>
                <a:gd name="connsiteX2" fmla="*/ 59260 w 321515"/>
                <a:gd name="connsiteY2" fmla="*/ 0 h 307646"/>
                <a:gd name="connsiteX3" fmla="*/ 81325 w 321515"/>
                <a:gd name="connsiteY3" fmla="*/ 25217 h 307646"/>
                <a:gd name="connsiteX4" fmla="*/ 33412 w 321515"/>
                <a:gd name="connsiteY4" fmla="*/ 131758 h 307646"/>
                <a:gd name="connsiteX5" fmla="*/ 175888 w 321515"/>
                <a:gd name="connsiteY5" fmla="*/ 274234 h 307646"/>
                <a:gd name="connsiteX6" fmla="*/ 293777 w 321515"/>
                <a:gd name="connsiteY6" fmla="*/ 211192 h 307646"/>
                <a:gd name="connsiteX7" fmla="*/ 321515 w 321515"/>
                <a:gd name="connsiteY7" fmla="*/ 230104 h 307646"/>
                <a:gd name="connsiteX8" fmla="*/ 175888 w 321515"/>
                <a:gd name="connsiteY8" fmla="*/ 307646 h 307646"/>
                <a:gd name="connsiteX9" fmla="*/ 175888 w 321515"/>
                <a:gd name="connsiteY9" fmla="*/ 307646 h 307646"/>
                <a:gd name="connsiteX10" fmla="*/ 175888 w 321515"/>
                <a:gd name="connsiteY10" fmla="*/ 263517 h 307646"/>
                <a:gd name="connsiteX11" fmla="*/ 44760 w 321515"/>
                <a:gd name="connsiteY11" fmla="*/ 132389 h 307646"/>
                <a:gd name="connsiteX12" fmla="*/ 83216 w 321515"/>
                <a:gd name="connsiteY12" fmla="*/ 39717 h 307646"/>
                <a:gd name="connsiteX13" fmla="*/ 106541 w 321515"/>
                <a:gd name="connsiteY13" fmla="*/ 63042 h 307646"/>
                <a:gd name="connsiteX14" fmla="*/ 77542 w 321515"/>
                <a:gd name="connsiteY14" fmla="*/ 132389 h 307646"/>
                <a:gd name="connsiteX15" fmla="*/ 175888 w 321515"/>
                <a:gd name="connsiteY15" fmla="*/ 230735 h 307646"/>
                <a:gd name="connsiteX16" fmla="*/ 230735 w 321515"/>
                <a:gd name="connsiteY16" fmla="*/ 213713 h 307646"/>
                <a:gd name="connsiteX17" fmla="*/ 238930 w 321515"/>
                <a:gd name="connsiteY17" fmla="*/ 207409 h 307646"/>
                <a:gd name="connsiteX18" fmla="*/ 260365 w 321515"/>
                <a:gd name="connsiteY18" fmla="*/ 232626 h 307646"/>
                <a:gd name="connsiteX19" fmla="*/ 249017 w 321515"/>
                <a:gd name="connsiteY19" fmla="*/ 241452 h 307646"/>
                <a:gd name="connsiteX20" fmla="*/ 175888 w 321515"/>
                <a:gd name="connsiteY20" fmla="*/ 263517 h 307646"/>
                <a:gd name="connsiteX21" fmla="*/ 175888 w 321515"/>
                <a:gd name="connsiteY21" fmla="*/ 263517 h 307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21515" h="307646">
                  <a:moveTo>
                    <a:pt x="175888" y="307646"/>
                  </a:moveTo>
                  <a:cubicBezTo>
                    <a:pt x="78803" y="307646"/>
                    <a:pt x="0" y="228843"/>
                    <a:pt x="0" y="131758"/>
                  </a:cubicBezTo>
                  <a:cubicBezTo>
                    <a:pt x="0" y="81324"/>
                    <a:pt x="21434" y="33412"/>
                    <a:pt x="59260" y="0"/>
                  </a:cubicBezTo>
                  <a:lnTo>
                    <a:pt x="81325" y="25217"/>
                  </a:lnTo>
                  <a:cubicBezTo>
                    <a:pt x="51064" y="52325"/>
                    <a:pt x="33412" y="91411"/>
                    <a:pt x="33412" y="131758"/>
                  </a:cubicBezTo>
                  <a:cubicBezTo>
                    <a:pt x="33412" y="210561"/>
                    <a:pt x="97085" y="274234"/>
                    <a:pt x="175888" y="274234"/>
                  </a:cubicBezTo>
                  <a:cubicBezTo>
                    <a:pt x="223170" y="274234"/>
                    <a:pt x="267299" y="250908"/>
                    <a:pt x="293777" y="211192"/>
                  </a:cubicBezTo>
                  <a:lnTo>
                    <a:pt x="321515" y="230104"/>
                  </a:lnTo>
                  <a:cubicBezTo>
                    <a:pt x="289364" y="278647"/>
                    <a:pt x="234517" y="307646"/>
                    <a:pt x="175888" y="307646"/>
                  </a:cubicBezTo>
                  <a:lnTo>
                    <a:pt x="175888" y="307646"/>
                  </a:lnTo>
                  <a:close/>
                  <a:moveTo>
                    <a:pt x="175888" y="263517"/>
                  </a:moveTo>
                  <a:cubicBezTo>
                    <a:pt x="103389" y="263517"/>
                    <a:pt x="44760" y="204257"/>
                    <a:pt x="44760" y="132389"/>
                  </a:cubicBezTo>
                  <a:cubicBezTo>
                    <a:pt x="44760" y="97085"/>
                    <a:pt x="58629" y="64303"/>
                    <a:pt x="83216" y="39717"/>
                  </a:cubicBezTo>
                  <a:lnTo>
                    <a:pt x="106541" y="63042"/>
                  </a:lnTo>
                  <a:cubicBezTo>
                    <a:pt x="88259" y="81324"/>
                    <a:pt x="77542" y="105911"/>
                    <a:pt x="77542" y="132389"/>
                  </a:cubicBezTo>
                  <a:cubicBezTo>
                    <a:pt x="77542" y="186605"/>
                    <a:pt x="121672" y="230735"/>
                    <a:pt x="175888" y="230735"/>
                  </a:cubicBezTo>
                  <a:cubicBezTo>
                    <a:pt x="195431" y="230735"/>
                    <a:pt x="214344" y="225061"/>
                    <a:pt x="230735" y="213713"/>
                  </a:cubicBezTo>
                  <a:cubicBezTo>
                    <a:pt x="233887" y="211822"/>
                    <a:pt x="236408" y="209931"/>
                    <a:pt x="238930" y="207409"/>
                  </a:cubicBezTo>
                  <a:lnTo>
                    <a:pt x="260365" y="232626"/>
                  </a:lnTo>
                  <a:cubicBezTo>
                    <a:pt x="256582" y="235778"/>
                    <a:pt x="252799" y="238300"/>
                    <a:pt x="249017" y="241452"/>
                  </a:cubicBezTo>
                  <a:cubicBezTo>
                    <a:pt x="227583" y="255952"/>
                    <a:pt x="202366" y="263517"/>
                    <a:pt x="175888" y="263517"/>
                  </a:cubicBezTo>
                  <a:lnTo>
                    <a:pt x="175888" y="263517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63" name="Forma Livre: Forma 362">
              <a:extLst>
                <a:ext uri="{FF2B5EF4-FFF2-40B4-BE49-F238E27FC236}">
                  <a16:creationId xmlns:a16="http://schemas.microsoft.com/office/drawing/2014/main" id="{BCCBED71-BE53-452C-A289-ACDD3E7E2EA2}"/>
                </a:ext>
              </a:extLst>
            </p:cNvPr>
            <p:cNvSpPr/>
            <p:nvPr/>
          </p:nvSpPr>
          <p:spPr>
            <a:xfrm>
              <a:off x="1515349" y="1862497"/>
              <a:ext cx="165801" cy="32781"/>
            </a:xfrm>
            <a:custGeom>
              <a:avLst/>
              <a:gdLst>
                <a:gd name="connsiteX0" fmla="*/ 149410 w 165801"/>
                <a:gd name="connsiteY0" fmla="*/ 32782 h 32781"/>
                <a:gd name="connsiteX1" fmla="*/ 16391 w 165801"/>
                <a:gd name="connsiteY1" fmla="*/ 32782 h 32781"/>
                <a:gd name="connsiteX2" fmla="*/ 0 w 165801"/>
                <a:gd name="connsiteY2" fmla="*/ 16391 h 32781"/>
                <a:gd name="connsiteX3" fmla="*/ 16391 w 165801"/>
                <a:gd name="connsiteY3" fmla="*/ 0 h 32781"/>
                <a:gd name="connsiteX4" fmla="*/ 149410 w 165801"/>
                <a:gd name="connsiteY4" fmla="*/ 0 h 32781"/>
                <a:gd name="connsiteX5" fmla="*/ 165801 w 165801"/>
                <a:gd name="connsiteY5" fmla="*/ 16391 h 32781"/>
                <a:gd name="connsiteX6" fmla="*/ 149410 w 165801"/>
                <a:gd name="connsiteY6" fmla="*/ 32782 h 32781"/>
                <a:gd name="connsiteX7" fmla="*/ 149410 w 165801"/>
                <a:gd name="connsiteY7" fmla="*/ 32782 h 32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5801" h="32781">
                  <a:moveTo>
                    <a:pt x="149410" y="32782"/>
                  </a:moveTo>
                  <a:lnTo>
                    <a:pt x="16391" y="32782"/>
                  </a:lnTo>
                  <a:cubicBezTo>
                    <a:pt x="6935" y="32782"/>
                    <a:pt x="0" y="25217"/>
                    <a:pt x="0" y="16391"/>
                  </a:cubicBezTo>
                  <a:cubicBezTo>
                    <a:pt x="0" y="6935"/>
                    <a:pt x="7565" y="0"/>
                    <a:pt x="16391" y="0"/>
                  </a:cubicBezTo>
                  <a:lnTo>
                    <a:pt x="149410" y="0"/>
                  </a:lnTo>
                  <a:cubicBezTo>
                    <a:pt x="158866" y="0"/>
                    <a:pt x="165801" y="7565"/>
                    <a:pt x="165801" y="16391"/>
                  </a:cubicBezTo>
                  <a:cubicBezTo>
                    <a:pt x="165801" y="25217"/>
                    <a:pt x="158236" y="32782"/>
                    <a:pt x="149410" y="32782"/>
                  </a:cubicBezTo>
                  <a:lnTo>
                    <a:pt x="149410" y="32782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64" name="Forma Livre: Forma 363">
              <a:extLst>
                <a:ext uri="{FF2B5EF4-FFF2-40B4-BE49-F238E27FC236}">
                  <a16:creationId xmlns:a16="http://schemas.microsoft.com/office/drawing/2014/main" id="{EDFF8816-FA99-4C78-BEB3-1328B62D475C}"/>
                </a:ext>
              </a:extLst>
            </p:cNvPr>
            <p:cNvSpPr/>
            <p:nvPr/>
          </p:nvSpPr>
          <p:spPr>
            <a:xfrm>
              <a:off x="1442850" y="1958952"/>
              <a:ext cx="165801" cy="32782"/>
            </a:xfrm>
            <a:custGeom>
              <a:avLst/>
              <a:gdLst>
                <a:gd name="connsiteX0" fmla="*/ 149410 w 165801"/>
                <a:gd name="connsiteY0" fmla="*/ 32782 h 32782"/>
                <a:gd name="connsiteX1" fmla="*/ 16391 w 165801"/>
                <a:gd name="connsiteY1" fmla="*/ 32782 h 32782"/>
                <a:gd name="connsiteX2" fmla="*/ 0 w 165801"/>
                <a:gd name="connsiteY2" fmla="*/ 16391 h 32782"/>
                <a:gd name="connsiteX3" fmla="*/ 16391 w 165801"/>
                <a:gd name="connsiteY3" fmla="*/ 0 h 32782"/>
                <a:gd name="connsiteX4" fmla="*/ 149410 w 165801"/>
                <a:gd name="connsiteY4" fmla="*/ 0 h 32782"/>
                <a:gd name="connsiteX5" fmla="*/ 165801 w 165801"/>
                <a:gd name="connsiteY5" fmla="*/ 16391 h 32782"/>
                <a:gd name="connsiteX6" fmla="*/ 149410 w 165801"/>
                <a:gd name="connsiteY6" fmla="*/ 32782 h 32782"/>
                <a:gd name="connsiteX7" fmla="*/ 149410 w 165801"/>
                <a:gd name="connsiteY7" fmla="*/ 32782 h 32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5801" h="32782">
                  <a:moveTo>
                    <a:pt x="149410" y="32782"/>
                  </a:moveTo>
                  <a:lnTo>
                    <a:pt x="16391" y="32782"/>
                  </a:lnTo>
                  <a:cubicBezTo>
                    <a:pt x="6935" y="32782"/>
                    <a:pt x="0" y="25217"/>
                    <a:pt x="0" y="16391"/>
                  </a:cubicBezTo>
                  <a:cubicBezTo>
                    <a:pt x="0" y="7565"/>
                    <a:pt x="7565" y="0"/>
                    <a:pt x="16391" y="0"/>
                  </a:cubicBezTo>
                  <a:lnTo>
                    <a:pt x="149410" y="0"/>
                  </a:lnTo>
                  <a:cubicBezTo>
                    <a:pt x="158866" y="0"/>
                    <a:pt x="165801" y="7565"/>
                    <a:pt x="165801" y="16391"/>
                  </a:cubicBezTo>
                  <a:cubicBezTo>
                    <a:pt x="165801" y="25217"/>
                    <a:pt x="158236" y="32782"/>
                    <a:pt x="149410" y="32782"/>
                  </a:cubicBezTo>
                  <a:lnTo>
                    <a:pt x="149410" y="32782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65" name="Forma Livre: Forma 364">
              <a:extLst>
                <a:ext uri="{FF2B5EF4-FFF2-40B4-BE49-F238E27FC236}">
                  <a16:creationId xmlns:a16="http://schemas.microsoft.com/office/drawing/2014/main" id="{9EE78C2E-EF33-4F79-8593-9AA40E7AE770}"/>
                </a:ext>
              </a:extLst>
            </p:cNvPr>
            <p:cNvSpPr/>
            <p:nvPr/>
          </p:nvSpPr>
          <p:spPr>
            <a:xfrm>
              <a:off x="1422047" y="1958952"/>
              <a:ext cx="165801" cy="32782"/>
            </a:xfrm>
            <a:custGeom>
              <a:avLst/>
              <a:gdLst>
                <a:gd name="connsiteX0" fmla="*/ 149410 w 165801"/>
                <a:gd name="connsiteY0" fmla="*/ 32782 h 32782"/>
                <a:gd name="connsiteX1" fmla="*/ 16391 w 165801"/>
                <a:gd name="connsiteY1" fmla="*/ 32782 h 32782"/>
                <a:gd name="connsiteX2" fmla="*/ 0 w 165801"/>
                <a:gd name="connsiteY2" fmla="*/ 16391 h 32782"/>
                <a:gd name="connsiteX3" fmla="*/ 16391 w 165801"/>
                <a:gd name="connsiteY3" fmla="*/ 0 h 32782"/>
                <a:gd name="connsiteX4" fmla="*/ 149410 w 165801"/>
                <a:gd name="connsiteY4" fmla="*/ 0 h 32782"/>
                <a:gd name="connsiteX5" fmla="*/ 165801 w 165801"/>
                <a:gd name="connsiteY5" fmla="*/ 16391 h 32782"/>
                <a:gd name="connsiteX6" fmla="*/ 149410 w 165801"/>
                <a:gd name="connsiteY6" fmla="*/ 32782 h 32782"/>
                <a:gd name="connsiteX7" fmla="*/ 149410 w 165801"/>
                <a:gd name="connsiteY7" fmla="*/ 32782 h 32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5801" h="32782">
                  <a:moveTo>
                    <a:pt x="149410" y="32782"/>
                  </a:moveTo>
                  <a:lnTo>
                    <a:pt x="16391" y="32782"/>
                  </a:lnTo>
                  <a:cubicBezTo>
                    <a:pt x="6935" y="32782"/>
                    <a:pt x="0" y="25217"/>
                    <a:pt x="0" y="16391"/>
                  </a:cubicBezTo>
                  <a:cubicBezTo>
                    <a:pt x="0" y="7565"/>
                    <a:pt x="7565" y="0"/>
                    <a:pt x="16391" y="0"/>
                  </a:cubicBezTo>
                  <a:lnTo>
                    <a:pt x="149410" y="0"/>
                  </a:lnTo>
                  <a:cubicBezTo>
                    <a:pt x="158866" y="0"/>
                    <a:pt x="165801" y="7565"/>
                    <a:pt x="165801" y="16391"/>
                  </a:cubicBezTo>
                  <a:cubicBezTo>
                    <a:pt x="165801" y="25217"/>
                    <a:pt x="158236" y="32782"/>
                    <a:pt x="149410" y="32782"/>
                  </a:cubicBezTo>
                  <a:lnTo>
                    <a:pt x="149410" y="32782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66" name="Gráfico 2">
            <a:extLst>
              <a:ext uri="{FF2B5EF4-FFF2-40B4-BE49-F238E27FC236}">
                <a16:creationId xmlns:a16="http://schemas.microsoft.com/office/drawing/2014/main" id="{1EC2913E-D059-42A1-91F3-F6BAB2F166E6}"/>
              </a:ext>
            </a:extLst>
          </p:cNvPr>
          <p:cNvGrpSpPr/>
          <p:nvPr/>
        </p:nvGrpSpPr>
        <p:grpSpPr>
          <a:xfrm>
            <a:off x="3427421" y="5701140"/>
            <a:ext cx="266038" cy="399688"/>
            <a:chOff x="3427421" y="5701140"/>
            <a:chExt cx="266038" cy="399688"/>
          </a:xfrm>
          <a:solidFill>
            <a:srgbClr val="B1B1A1"/>
          </a:solidFill>
        </p:grpSpPr>
        <p:sp>
          <p:nvSpPr>
            <p:cNvPr id="367" name="Forma Livre: Forma 366">
              <a:extLst>
                <a:ext uri="{FF2B5EF4-FFF2-40B4-BE49-F238E27FC236}">
                  <a16:creationId xmlns:a16="http://schemas.microsoft.com/office/drawing/2014/main" id="{C9517F0E-E591-472D-8DCE-D279BFD1F95A}"/>
                </a:ext>
              </a:extLst>
            </p:cNvPr>
            <p:cNvSpPr/>
            <p:nvPr/>
          </p:nvSpPr>
          <p:spPr>
            <a:xfrm>
              <a:off x="3427421" y="5701140"/>
              <a:ext cx="266038" cy="399688"/>
            </a:xfrm>
            <a:custGeom>
              <a:avLst/>
              <a:gdLst>
                <a:gd name="connsiteX0" fmla="*/ 249647 w 266038"/>
                <a:gd name="connsiteY0" fmla="*/ 399688 h 399688"/>
                <a:gd name="connsiteX1" fmla="*/ 16391 w 266038"/>
                <a:gd name="connsiteY1" fmla="*/ 399688 h 399688"/>
                <a:gd name="connsiteX2" fmla="*/ 0 w 266038"/>
                <a:gd name="connsiteY2" fmla="*/ 383297 h 399688"/>
                <a:gd name="connsiteX3" fmla="*/ 0 w 266038"/>
                <a:gd name="connsiteY3" fmla="*/ 16391 h 399688"/>
                <a:gd name="connsiteX4" fmla="*/ 16391 w 266038"/>
                <a:gd name="connsiteY4" fmla="*/ 0 h 399688"/>
                <a:gd name="connsiteX5" fmla="*/ 249647 w 266038"/>
                <a:gd name="connsiteY5" fmla="*/ 0 h 399688"/>
                <a:gd name="connsiteX6" fmla="*/ 266038 w 266038"/>
                <a:gd name="connsiteY6" fmla="*/ 16391 h 399688"/>
                <a:gd name="connsiteX7" fmla="*/ 266038 w 266038"/>
                <a:gd name="connsiteY7" fmla="*/ 383297 h 399688"/>
                <a:gd name="connsiteX8" fmla="*/ 249647 w 266038"/>
                <a:gd name="connsiteY8" fmla="*/ 399688 h 399688"/>
                <a:gd name="connsiteX9" fmla="*/ 249647 w 266038"/>
                <a:gd name="connsiteY9" fmla="*/ 399688 h 399688"/>
                <a:gd name="connsiteX10" fmla="*/ 32782 w 266038"/>
                <a:gd name="connsiteY10" fmla="*/ 366275 h 399688"/>
                <a:gd name="connsiteX11" fmla="*/ 232626 w 266038"/>
                <a:gd name="connsiteY11" fmla="*/ 366275 h 399688"/>
                <a:gd name="connsiteX12" fmla="*/ 232626 w 266038"/>
                <a:gd name="connsiteY12" fmla="*/ 32782 h 399688"/>
                <a:gd name="connsiteX13" fmla="*/ 32782 w 266038"/>
                <a:gd name="connsiteY13" fmla="*/ 32782 h 399688"/>
                <a:gd name="connsiteX14" fmla="*/ 32782 w 266038"/>
                <a:gd name="connsiteY14" fmla="*/ 366275 h 399688"/>
                <a:gd name="connsiteX15" fmla="*/ 32782 w 266038"/>
                <a:gd name="connsiteY15" fmla="*/ 366275 h 399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6038" h="399688">
                  <a:moveTo>
                    <a:pt x="249647" y="399688"/>
                  </a:moveTo>
                  <a:lnTo>
                    <a:pt x="16391" y="399688"/>
                  </a:lnTo>
                  <a:cubicBezTo>
                    <a:pt x="6934" y="399688"/>
                    <a:pt x="0" y="392123"/>
                    <a:pt x="0" y="383297"/>
                  </a:cubicBezTo>
                  <a:lnTo>
                    <a:pt x="0" y="16391"/>
                  </a:lnTo>
                  <a:cubicBezTo>
                    <a:pt x="0" y="6934"/>
                    <a:pt x="7565" y="0"/>
                    <a:pt x="16391" y="0"/>
                  </a:cubicBezTo>
                  <a:lnTo>
                    <a:pt x="249647" y="0"/>
                  </a:lnTo>
                  <a:cubicBezTo>
                    <a:pt x="259104" y="0"/>
                    <a:pt x="266038" y="7565"/>
                    <a:pt x="266038" y="16391"/>
                  </a:cubicBezTo>
                  <a:lnTo>
                    <a:pt x="266038" y="383297"/>
                  </a:lnTo>
                  <a:cubicBezTo>
                    <a:pt x="266038" y="392123"/>
                    <a:pt x="258473" y="399688"/>
                    <a:pt x="249647" y="399688"/>
                  </a:cubicBezTo>
                  <a:lnTo>
                    <a:pt x="249647" y="399688"/>
                  </a:lnTo>
                  <a:close/>
                  <a:moveTo>
                    <a:pt x="32782" y="366275"/>
                  </a:moveTo>
                  <a:lnTo>
                    <a:pt x="232626" y="366275"/>
                  </a:lnTo>
                  <a:lnTo>
                    <a:pt x="232626" y="32782"/>
                  </a:lnTo>
                  <a:lnTo>
                    <a:pt x="32782" y="32782"/>
                  </a:lnTo>
                  <a:lnTo>
                    <a:pt x="32782" y="366275"/>
                  </a:lnTo>
                  <a:lnTo>
                    <a:pt x="32782" y="366275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68" name="Forma Livre: Forma 367">
              <a:extLst>
                <a:ext uri="{FF2B5EF4-FFF2-40B4-BE49-F238E27FC236}">
                  <a16:creationId xmlns:a16="http://schemas.microsoft.com/office/drawing/2014/main" id="{892AF26B-24ED-44C8-A6A1-0B34DD6ADEC9}"/>
                </a:ext>
              </a:extLst>
            </p:cNvPr>
            <p:cNvSpPr/>
            <p:nvPr/>
          </p:nvSpPr>
          <p:spPr>
            <a:xfrm>
              <a:off x="3468398" y="5764813"/>
              <a:ext cx="182891" cy="227582"/>
            </a:xfrm>
            <a:custGeom>
              <a:avLst/>
              <a:gdLst>
                <a:gd name="connsiteX0" fmla="*/ 175257 w 182891"/>
                <a:gd name="connsiteY0" fmla="*/ 227583 h 227582"/>
                <a:gd name="connsiteX1" fmla="*/ 8195 w 182891"/>
                <a:gd name="connsiteY1" fmla="*/ 227583 h 227582"/>
                <a:gd name="connsiteX2" fmla="*/ 0 w 182891"/>
                <a:gd name="connsiteY2" fmla="*/ 219387 h 227582"/>
                <a:gd name="connsiteX3" fmla="*/ 0 w 182891"/>
                <a:gd name="connsiteY3" fmla="*/ 8196 h 227582"/>
                <a:gd name="connsiteX4" fmla="*/ 8195 w 182891"/>
                <a:gd name="connsiteY4" fmla="*/ 0 h 227582"/>
                <a:gd name="connsiteX5" fmla="*/ 174627 w 182891"/>
                <a:gd name="connsiteY5" fmla="*/ 0 h 227582"/>
                <a:gd name="connsiteX6" fmla="*/ 182823 w 182891"/>
                <a:gd name="connsiteY6" fmla="*/ 8196 h 227582"/>
                <a:gd name="connsiteX7" fmla="*/ 182823 w 182891"/>
                <a:gd name="connsiteY7" fmla="*/ 219387 h 227582"/>
                <a:gd name="connsiteX8" fmla="*/ 175257 w 182891"/>
                <a:gd name="connsiteY8" fmla="*/ 227583 h 227582"/>
                <a:gd name="connsiteX9" fmla="*/ 175257 w 182891"/>
                <a:gd name="connsiteY9" fmla="*/ 227583 h 227582"/>
                <a:gd name="connsiteX10" fmla="*/ 16391 w 182891"/>
                <a:gd name="connsiteY10" fmla="*/ 211192 h 227582"/>
                <a:gd name="connsiteX11" fmla="*/ 166432 w 182891"/>
                <a:gd name="connsiteY11" fmla="*/ 211192 h 227582"/>
                <a:gd name="connsiteX12" fmla="*/ 166432 w 182891"/>
                <a:gd name="connsiteY12" fmla="*/ 17021 h 227582"/>
                <a:gd name="connsiteX13" fmla="*/ 16391 w 182891"/>
                <a:gd name="connsiteY13" fmla="*/ 17021 h 227582"/>
                <a:gd name="connsiteX14" fmla="*/ 16391 w 182891"/>
                <a:gd name="connsiteY14" fmla="*/ 211192 h 227582"/>
                <a:gd name="connsiteX15" fmla="*/ 16391 w 182891"/>
                <a:gd name="connsiteY15" fmla="*/ 211192 h 227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2891" h="227582">
                  <a:moveTo>
                    <a:pt x="175257" y="227583"/>
                  </a:moveTo>
                  <a:lnTo>
                    <a:pt x="8195" y="227583"/>
                  </a:lnTo>
                  <a:cubicBezTo>
                    <a:pt x="3782" y="227583"/>
                    <a:pt x="0" y="223800"/>
                    <a:pt x="0" y="219387"/>
                  </a:cubicBezTo>
                  <a:lnTo>
                    <a:pt x="0" y="8196"/>
                  </a:lnTo>
                  <a:cubicBezTo>
                    <a:pt x="0" y="3783"/>
                    <a:pt x="3782" y="0"/>
                    <a:pt x="8195" y="0"/>
                  </a:cubicBezTo>
                  <a:lnTo>
                    <a:pt x="174627" y="0"/>
                  </a:lnTo>
                  <a:cubicBezTo>
                    <a:pt x="179040" y="0"/>
                    <a:pt x="182823" y="3783"/>
                    <a:pt x="182823" y="8196"/>
                  </a:cubicBezTo>
                  <a:lnTo>
                    <a:pt x="182823" y="219387"/>
                  </a:lnTo>
                  <a:cubicBezTo>
                    <a:pt x="183453" y="223800"/>
                    <a:pt x="179670" y="227583"/>
                    <a:pt x="175257" y="227583"/>
                  </a:cubicBezTo>
                  <a:lnTo>
                    <a:pt x="175257" y="227583"/>
                  </a:lnTo>
                  <a:close/>
                  <a:moveTo>
                    <a:pt x="16391" y="211192"/>
                  </a:moveTo>
                  <a:lnTo>
                    <a:pt x="166432" y="211192"/>
                  </a:lnTo>
                  <a:lnTo>
                    <a:pt x="166432" y="17021"/>
                  </a:lnTo>
                  <a:lnTo>
                    <a:pt x="16391" y="17021"/>
                  </a:lnTo>
                  <a:lnTo>
                    <a:pt x="16391" y="211192"/>
                  </a:lnTo>
                  <a:lnTo>
                    <a:pt x="16391" y="211192"/>
                  </a:ln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69" name="Forma Livre: Forma 368">
              <a:extLst>
                <a:ext uri="{FF2B5EF4-FFF2-40B4-BE49-F238E27FC236}">
                  <a16:creationId xmlns:a16="http://schemas.microsoft.com/office/drawing/2014/main" id="{5DD2FDA8-C2F2-493C-9850-D0A488A175E2}"/>
                </a:ext>
              </a:extLst>
            </p:cNvPr>
            <p:cNvSpPr/>
            <p:nvPr/>
          </p:nvSpPr>
          <p:spPr>
            <a:xfrm>
              <a:off x="3540266" y="6010047"/>
              <a:ext cx="39086" cy="39086"/>
            </a:xfrm>
            <a:custGeom>
              <a:avLst/>
              <a:gdLst>
                <a:gd name="connsiteX0" fmla="*/ 39086 w 39086"/>
                <a:gd name="connsiteY0" fmla="*/ 19543 h 39086"/>
                <a:gd name="connsiteX1" fmla="*/ 19543 w 39086"/>
                <a:gd name="connsiteY1" fmla="*/ 39086 h 39086"/>
                <a:gd name="connsiteX2" fmla="*/ 0 w 39086"/>
                <a:gd name="connsiteY2" fmla="*/ 19543 h 39086"/>
                <a:gd name="connsiteX3" fmla="*/ 19543 w 39086"/>
                <a:gd name="connsiteY3" fmla="*/ 0 h 39086"/>
                <a:gd name="connsiteX4" fmla="*/ 39086 w 39086"/>
                <a:gd name="connsiteY4" fmla="*/ 19543 h 39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086" h="39086">
                  <a:moveTo>
                    <a:pt x="39086" y="19543"/>
                  </a:moveTo>
                  <a:cubicBezTo>
                    <a:pt x="39086" y="30336"/>
                    <a:pt x="30336" y="39086"/>
                    <a:pt x="19543" y="39086"/>
                  </a:cubicBezTo>
                  <a:cubicBezTo>
                    <a:pt x="8750" y="39086"/>
                    <a:pt x="0" y="30336"/>
                    <a:pt x="0" y="19543"/>
                  </a:cubicBezTo>
                  <a:cubicBezTo>
                    <a:pt x="0" y="8749"/>
                    <a:pt x="8750" y="0"/>
                    <a:pt x="19543" y="0"/>
                  </a:cubicBezTo>
                  <a:cubicBezTo>
                    <a:pt x="30336" y="0"/>
                    <a:pt x="39086" y="8750"/>
                    <a:pt x="39086" y="19543"/>
                  </a:cubicBezTo>
                  <a:close/>
                </a:path>
              </a:pathLst>
            </a:custGeom>
            <a:grpFill/>
            <a:ln w="63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370" name="Gráfico 2">
              <a:extLst>
                <a:ext uri="{FF2B5EF4-FFF2-40B4-BE49-F238E27FC236}">
                  <a16:creationId xmlns:a16="http://schemas.microsoft.com/office/drawing/2014/main" id="{1EC2913E-D059-42A1-91F3-F6BAB2F166E6}"/>
                </a:ext>
              </a:extLst>
            </p:cNvPr>
            <p:cNvGrpSpPr/>
            <p:nvPr/>
          </p:nvGrpSpPr>
          <p:grpSpPr>
            <a:xfrm>
              <a:off x="3475963" y="5773639"/>
              <a:ext cx="167692" cy="209930"/>
              <a:chOff x="3475963" y="5773639"/>
              <a:chExt cx="167692" cy="209930"/>
            </a:xfrm>
            <a:grpFill/>
          </p:grpSpPr>
          <p:sp>
            <p:nvSpPr>
              <p:cNvPr id="371" name="Forma Livre: Forma 370">
                <a:extLst>
                  <a:ext uri="{FF2B5EF4-FFF2-40B4-BE49-F238E27FC236}">
                    <a16:creationId xmlns:a16="http://schemas.microsoft.com/office/drawing/2014/main" id="{0F6C229D-4530-4497-AE1C-DD1531B5D3F8}"/>
                  </a:ext>
                </a:extLst>
              </p:cNvPr>
              <p:cNvSpPr/>
              <p:nvPr/>
            </p:nvSpPr>
            <p:spPr>
              <a:xfrm>
                <a:off x="3477224" y="5836051"/>
                <a:ext cx="100867" cy="11347"/>
              </a:xfrm>
              <a:custGeom>
                <a:avLst/>
                <a:gdLst>
                  <a:gd name="connsiteX0" fmla="*/ 63042 w 100867"/>
                  <a:gd name="connsiteY0" fmla="*/ 3782 h 11347"/>
                  <a:gd name="connsiteX1" fmla="*/ 65564 w 100867"/>
                  <a:gd name="connsiteY1" fmla="*/ 11348 h 11347"/>
                  <a:gd name="connsiteX2" fmla="*/ 100237 w 100867"/>
                  <a:gd name="connsiteY2" fmla="*/ 11348 h 11347"/>
                  <a:gd name="connsiteX3" fmla="*/ 100868 w 100867"/>
                  <a:gd name="connsiteY3" fmla="*/ 11348 h 11347"/>
                  <a:gd name="connsiteX4" fmla="*/ 94563 w 100867"/>
                  <a:gd name="connsiteY4" fmla="*/ 0 h 11347"/>
                  <a:gd name="connsiteX5" fmla="*/ 0 w 100867"/>
                  <a:gd name="connsiteY5" fmla="*/ 0 h 11347"/>
                  <a:gd name="connsiteX6" fmla="*/ 0 w 100867"/>
                  <a:gd name="connsiteY6" fmla="*/ 11348 h 11347"/>
                  <a:gd name="connsiteX7" fmla="*/ 52325 w 100867"/>
                  <a:gd name="connsiteY7" fmla="*/ 11348 h 11347"/>
                  <a:gd name="connsiteX8" fmla="*/ 55477 w 100867"/>
                  <a:gd name="connsiteY8" fmla="*/ 6304 h 11347"/>
                  <a:gd name="connsiteX9" fmla="*/ 63042 w 100867"/>
                  <a:gd name="connsiteY9" fmla="*/ 3782 h 11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0867" h="11347">
                    <a:moveTo>
                      <a:pt x="63042" y="3782"/>
                    </a:moveTo>
                    <a:cubicBezTo>
                      <a:pt x="65564" y="5043"/>
                      <a:pt x="66825" y="8195"/>
                      <a:pt x="65564" y="11348"/>
                    </a:cubicBezTo>
                    <a:lnTo>
                      <a:pt x="100237" y="11348"/>
                    </a:lnTo>
                    <a:cubicBezTo>
                      <a:pt x="100237" y="11348"/>
                      <a:pt x="100868" y="11348"/>
                      <a:pt x="100868" y="11348"/>
                    </a:cubicBezTo>
                    <a:lnTo>
                      <a:pt x="94563" y="0"/>
                    </a:lnTo>
                    <a:lnTo>
                      <a:pt x="0" y="0"/>
                    </a:lnTo>
                    <a:lnTo>
                      <a:pt x="0" y="11348"/>
                    </a:lnTo>
                    <a:lnTo>
                      <a:pt x="52325" y="11348"/>
                    </a:lnTo>
                    <a:lnTo>
                      <a:pt x="55477" y="6304"/>
                    </a:lnTo>
                    <a:cubicBezTo>
                      <a:pt x="56738" y="3152"/>
                      <a:pt x="59890" y="2521"/>
                      <a:pt x="63042" y="3782"/>
                    </a:cubicBez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72" name="Forma Livre: Forma 371">
                <a:extLst>
                  <a:ext uri="{FF2B5EF4-FFF2-40B4-BE49-F238E27FC236}">
                    <a16:creationId xmlns:a16="http://schemas.microsoft.com/office/drawing/2014/main" id="{FD4DA5E8-FF3A-4C57-B403-B254635E7C51}"/>
                  </a:ext>
                </a:extLst>
              </p:cNvPr>
              <p:cNvSpPr/>
              <p:nvPr/>
            </p:nvSpPr>
            <p:spPr>
              <a:xfrm>
                <a:off x="3475963" y="5838292"/>
                <a:ext cx="66803" cy="122582"/>
              </a:xfrm>
              <a:custGeom>
                <a:avLst/>
                <a:gdLst>
                  <a:gd name="connsiteX0" fmla="*/ 630 w 66803"/>
                  <a:gd name="connsiteY0" fmla="*/ 122582 h 122582"/>
                  <a:gd name="connsiteX1" fmla="*/ 42238 w 66803"/>
                  <a:gd name="connsiteY1" fmla="*/ 50714 h 122582"/>
                  <a:gd name="connsiteX2" fmla="*/ 39086 w 66803"/>
                  <a:gd name="connsiteY2" fmla="*/ 45671 h 122582"/>
                  <a:gd name="connsiteX3" fmla="*/ 40977 w 66803"/>
                  <a:gd name="connsiteY3" fmla="*/ 37475 h 122582"/>
                  <a:gd name="connsiteX4" fmla="*/ 48543 w 66803"/>
                  <a:gd name="connsiteY4" fmla="*/ 39366 h 122582"/>
                  <a:gd name="connsiteX5" fmla="*/ 66194 w 66803"/>
                  <a:gd name="connsiteY5" fmla="*/ 9106 h 122582"/>
                  <a:gd name="connsiteX6" fmla="*/ 66194 w 66803"/>
                  <a:gd name="connsiteY6" fmla="*/ 8476 h 122582"/>
                  <a:gd name="connsiteX7" fmla="*/ 63673 w 66803"/>
                  <a:gd name="connsiteY7" fmla="*/ 911 h 122582"/>
                  <a:gd name="connsiteX8" fmla="*/ 55477 w 66803"/>
                  <a:gd name="connsiteY8" fmla="*/ 2802 h 122582"/>
                  <a:gd name="connsiteX9" fmla="*/ 52325 w 66803"/>
                  <a:gd name="connsiteY9" fmla="*/ 7845 h 122582"/>
                  <a:gd name="connsiteX10" fmla="*/ 0 w 66803"/>
                  <a:gd name="connsiteY10" fmla="*/ 98626 h 122582"/>
                  <a:gd name="connsiteX11" fmla="*/ 0 w 66803"/>
                  <a:gd name="connsiteY11" fmla="*/ 122582 h 1225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6803" h="122582">
                    <a:moveTo>
                      <a:pt x="630" y="122582"/>
                    </a:moveTo>
                    <a:lnTo>
                      <a:pt x="42238" y="50714"/>
                    </a:lnTo>
                    <a:lnTo>
                      <a:pt x="39086" y="45671"/>
                    </a:lnTo>
                    <a:cubicBezTo>
                      <a:pt x="37195" y="43149"/>
                      <a:pt x="38456" y="39366"/>
                      <a:pt x="40977" y="37475"/>
                    </a:cubicBezTo>
                    <a:cubicBezTo>
                      <a:pt x="43499" y="36214"/>
                      <a:pt x="46651" y="36845"/>
                      <a:pt x="48543" y="39366"/>
                    </a:cubicBezTo>
                    <a:lnTo>
                      <a:pt x="66194" y="9106"/>
                    </a:lnTo>
                    <a:cubicBezTo>
                      <a:pt x="66194" y="9106"/>
                      <a:pt x="66194" y="8476"/>
                      <a:pt x="66194" y="8476"/>
                    </a:cubicBezTo>
                    <a:cubicBezTo>
                      <a:pt x="67455" y="5954"/>
                      <a:pt x="66825" y="2802"/>
                      <a:pt x="63673" y="911"/>
                    </a:cubicBezTo>
                    <a:cubicBezTo>
                      <a:pt x="61151" y="-981"/>
                      <a:pt x="57368" y="280"/>
                      <a:pt x="55477" y="2802"/>
                    </a:cubicBezTo>
                    <a:lnTo>
                      <a:pt x="52325" y="7845"/>
                    </a:lnTo>
                    <a:lnTo>
                      <a:pt x="0" y="98626"/>
                    </a:lnTo>
                    <a:lnTo>
                      <a:pt x="0" y="122582"/>
                    </a:ln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73" name="Forma Livre: Forma 372">
                <a:extLst>
                  <a:ext uri="{FF2B5EF4-FFF2-40B4-BE49-F238E27FC236}">
                    <a16:creationId xmlns:a16="http://schemas.microsoft.com/office/drawing/2014/main" id="{9BE622B1-500C-4213-A299-2E21BD55CB9B}"/>
                  </a:ext>
                </a:extLst>
              </p:cNvPr>
              <p:cNvSpPr/>
              <p:nvPr/>
            </p:nvSpPr>
            <p:spPr>
              <a:xfrm>
                <a:off x="3513508" y="5875137"/>
                <a:ext cx="72148" cy="108432"/>
              </a:xfrm>
              <a:custGeom>
                <a:avLst/>
                <a:gdLst>
                  <a:gd name="connsiteX0" fmla="*/ 23606 w 72148"/>
                  <a:gd name="connsiteY0" fmla="*/ 39086 h 108432"/>
                  <a:gd name="connsiteX1" fmla="*/ 28649 w 72148"/>
                  <a:gd name="connsiteY1" fmla="*/ 33413 h 108432"/>
                  <a:gd name="connsiteX2" fmla="*/ 10997 w 72148"/>
                  <a:gd name="connsiteY2" fmla="*/ 3152 h 108432"/>
                  <a:gd name="connsiteX3" fmla="*/ 10367 w 72148"/>
                  <a:gd name="connsiteY3" fmla="*/ 2522 h 108432"/>
                  <a:gd name="connsiteX4" fmla="*/ 2802 w 72148"/>
                  <a:gd name="connsiteY4" fmla="*/ 631 h 108432"/>
                  <a:gd name="connsiteX5" fmla="*/ 911 w 72148"/>
                  <a:gd name="connsiteY5" fmla="*/ 8826 h 108432"/>
                  <a:gd name="connsiteX6" fmla="*/ 4063 w 72148"/>
                  <a:gd name="connsiteY6" fmla="*/ 13869 h 108432"/>
                  <a:gd name="connsiteX7" fmla="*/ 58910 w 72148"/>
                  <a:gd name="connsiteY7" fmla="*/ 108433 h 108432"/>
                  <a:gd name="connsiteX8" fmla="*/ 72148 w 72148"/>
                  <a:gd name="connsiteY8" fmla="*/ 108433 h 108432"/>
                  <a:gd name="connsiteX9" fmla="*/ 34953 w 72148"/>
                  <a:gd name="connsiteY9" fmla="*/ 44129 h 108432"/>
                  <a:gd name="connsiteX10" fmla="*/ 28649 w 72148"/>
                  <a:gd name="connsiteY10" fmla="*/ 44129 h 108432"/>
                  <a:gd name="connsiteX11" fmla="*/ 23606 w 72148"/>
                  <a:gd name="connsiteY11" fmla="*/ 39086 h 108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2148" h="108432">
                    <a:moveTo>
                      <a:pt x="23606" y="39086"/>
                    </a:moveTo>
                    <a:cubicBezTo>
                      <a:pt x="23606" y="35934"/>
                      <a:pt x="26127" y="33413"/>
                      <a:pt x="28649" y="33413"/>
                    </a:cubicBezTo>
                    <a:lnTo>
                      <a:pt x="10997" y="3152"/>
                    </a:lnTo>
                    <a:cubicBezTo>
                      <a:pt x="10997" y="3152"/>
                      <a:pt x="10997" y="3152"/>
                      <a:pt x="10367" y="2522"/>
                    </a:cubicBezTo>
                    <a:cubicBezTo>
                      <a:pt x="8476" y="0"/>
                      <a:pt x="5324" y="-630"/>
                      <a:pt x="2802" y="631"/>
                    </a:cubicBezTo>
                    <a:cubicBezTo>
                      <a:pt x="280" y="2522"/>
                      <a:pt x="-981" y="5674"/>
                      <a:pt x="911" y="8826"/>
                    </a:cubicBezTo>
                    <a:lnTo>
                      <a:pt x="4063" y="13869"/>
                    </a:lnTo>
                    <a:lnTo>
                      <a:pt x="58910" y="108433"/>
                    </a:lnTo>
                    <a:lnTo>
                      <a:pt x="72148" y="108433"/>
                    </a:lnTo>
                    <a:lnTo>
                      <a:pt x="34953" y="44129"/>
                    </a:lnTo>
                    <a:lnTo>
                      <a:pt x="28649" y="44129"/>
                    </a:lnTo>
                    <a:cubicBezTo>
                      <a:pt x="26127" y="44760"/>
                      <a:pt x="23606" y="42238"/>
                      <a:pt x="23606" y="39086"/>
                    </a:cubicBez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74" name="Forma Livre: Forma 373">
                <a:extLst>
                  <a:ext uri="{FF2B5EF4-FFF2-40B4-BE49-F238E27FC236}">
                    <a16:creationId xmlns:a16="http://schemas.microsoft.com/office/drawing/2014/main" id="{688C1266-D86A-434C-896B-03BE6D4843F7}"/>
                  </a:ext>
                </a:extLst>
              </p:cNvPr>
              <p:cNvSpPr/>
              <p:nvPr/>
            </p:nvSpPr>
            <p:spPr>
              <a:xfrm>
                <a:off x="3537114" y="5908549"/>
                <a:ext cx="106541" cy="11347"/>
              </a:xfrm>
              <a:custGeom>
                <a:avLst/>
                <a:gdLst>
                  <a:gd name="connsiteX0" fmla="*/ 46021 w 106541"/>
                  <a:gd name="connsiteY0" fmla="*/ 8195 h 11347"/>
                  <a:gd name="connsiteX1" fmla="*/ 42869 w 106541"/>
                  <a:gd name="connsiteY1" fmla="*/ 7565 h 11347"/>
                  <a:gd name="connsiteX2" fmla="*/ 40347 w 106541"/>
                  <a:gd name="connsiteY2" fmla="*/ 0 h 11347"/>
                  <a:gd name="connsiteX3" fmla="*/ 5674 w 106541"/>
                  <a:gd name="connsiteY3" fmla="*/ 0 h 11347"/>
                  <a:gd name="connsiteX4" fmla="*/ 5043 w 106541"/>
                  <a:gd name="connsiteY4" fmla="*/ 0 h 11347"/>
                  <a:gd name="connsiteX5" fmla="*/ 0 w 106541"/>
                  <a:gd name="connsiteY5" fmla="*/ 5674 h 11347"/>
                  <a:gd name="connsiteX6" fmla="*/ 5674 w 106541"/>
                  <a:gd name="connsiteY6" fmla="*/ 11348 h 11347"/>
                  <a:gd name="connsiteX7" fmla="*/ 11978 w 106541"/>
                  <a:gd name="connsiteY7" fmla="*/ 11348 h 11347"/>
                  <a:gd name="connsiteX8" fmla="*/ 106541 w 106541"/>
                  <a:gd name="connsiteY8" fmla="*/ 11348 h 11347"/>
                  <a:gd name="connsiteX9" fmla="*/ 106541 w 106541"/>
                  <a:gd name="connsiteY9" fmla="*/ 0 h 11347"/>
                  <a:gd name="connsiteX10" fmla="*/ 54216 w 106541"/>
                  <a:gd name="connsiteY10" fmla="*/ 0 h 11347"/>
                  <a:gd name="connsiteX11" fmla="*/ 51064 w 106541"/>
                  <a:gd name="connsiteY11" fmla="*/ 5043 h 11347"/>
                  <a:gd name="connsiteX12" fmla="*/ 46021 w 106541"/>
                  <a:gd name="connsiteY12" fmla="*/ 8195 h 11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6541" h="11347">
                    <a:moveTo>
                      <a:pt x="46021" y="8195"/>
                    </a:moveTo>
                    <a:cubicBezTo>
                      <a:pt x="44760" y="8195"/>
                      <a:pt x="44130" y="8195"/>
                      <a:pt x="42869" y="7565"/>
                    </a:cubicBezTo>
                    <a:cubicBezTo>
                      <a:pt x="40347" y="6304"/>
                      <a:pt x="39086" y="3152"/>
                      <a:pt x="40347" y="0"/>
                    </a:cubicBezTo>
                    <a:lnTo>
                      <a:pt x="5674" y="0"/>
                    </a:lnTo>
                    <a:cubicBezTo>
                      <a:pt x="5674" y="0"/>
                      <a:pt x="5043" y="0"/>
                      <a:pt x="5043" y="0"/>
                    </a:cubicBezTo>
                    <a:cubicBezTo>
                      <a:pt x="1891" y="0"/>
                      <a:pt x="0" y="2521"/>
                      <a:pt x="0" y="5674"/>
                    </a:cubicBezTo>
                    <a:cubicBezTo>
                      <a:pt x="0" y="8826"/>
                      <a:pt x="2522" y="11348"/>
                      <a:pt x="5674" y="11348"/>
                    </a:cubicBezTo>
                    <a:lnTo>
                      <a:pt x="11978" y="11348"/>
                    </a:lnTo>
                    <a:lnTo>
                      <a:pt x="106541" y="11348"/>
                    </a:lnTo>
                    <a:lnTo>
                      <a:pt x="106541" y="0"/>
                    </a:lnTo>
                    <a:lnTo>
                      <a:pt x="54216" y="0"/>
                    </a:lnTo>
                    <a:lnTo>
                      <a:pt x="51064" y="5043"/>
                    </a:lnTo>
                    <a:cubicBezTo>
                      <a:pt x="49803" y="6934"/>
                      <a:pt x="47912" y="8195"/>
                      <a:pt x="46021" y="8195"/>
                    </a:cubicBez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75" name="Forma Livre: Forma 374">
                <a:extLst>
                  <a:ext uri="{FF2B5EF4-FFF2-40B4-BE49-F238E27FC236}">
                    <a16:creationId xmlns:a16="http://schemas.microsoft.com/office/drawing/2014/main" id="{A958F540-67BA-4D59-9559-0733E99F87D9}"/>
                  </a:ext>
                </a:extLst>
              </p:cNvPr>
              <p:cNvSpPr/>
              <p:nvPr/>
            </p:nvSpPr>
            <p:spPr>
              <a:xfrm>
                <a:off x="3576852" y="5794443"/>
                <a:ext cx="66803" cy="122302"/>
              </a:xfrm>
              <a:custGeom>
                <a:avLst/>
                <a:gdLst>
                  <a:gd name="connsiteX0" fmla="*/ 25826 w 66803"/>
                  <a:gd name="connsiteY0" fmla="*/ 85107 h 122302"/>
                  <a:gd name="connsiteX1" fmla="*/ 22674 w 66803"/>
                  <a:gd name="connsiteY1" fmla="*/ 85738 h 122302"/>
                  <a:gd name="connsiteX2" fmla="*/ 18261 w 66803"/>
                  <a:gd name="connsiteY2" fmla="*/ 83216 h 122302"/>
                  <a:gd name="connsiteX3" fmla="*/ 609 w 66803"/>
                  <a:gd name="connsiteY3" fmla="*/ 113476 h 122302"/>
                  <a:gd name="connsiteX4" fmla="*/ 609 w 66803"/>
                  <a:gd name="connsiteY4" fmla="*/ 114107 h 122302"/>
                  <a:gd name="connsiteX5" fmla="*/ 3131 w 66803"/>
                  <a:gd name="connsiteY5" fmla="*/ 121671 h 122302"/>
                  <a:gd name="connsiteX6" fmla="*/ 6283 w 66803"/>
                  <a:gd name="connsiteY6" fmla="*/ 122302 h 122302"/>
                  <a:gd name="connsiteX7" fmla="*/ 11326 w 66803"/>
                  <a:gd name="connsiteY7" fmla="*/ 119150 h 122302"/>
                  <a:gd name="connsiteX8" fmla="*/ 14478 w 66803"/>
                  <a:gd name="connsiteY8" fmla="*/ 114107 h 122302"/>
                  <a:gd name="connsiteX9" fmla="*/ 66803 w 66803"/>
                  <a:gd name="connsiteY9" fmla="*/ 23326 h 122302"/>
                  <a:gd name="connsiteX10" fmla="*/ 66803 w 66803"/>
                  <a:gd name="connsiteY10" fmla="*/ 0 h 122302"/>
                  <a:gd name="connsiteX11" fmla="*/ 25195 w 66803"/>
                  <a:gd name="connsiteY11" fmla="*/ 71868 h 122302"/>
                  <a:gd name="connsiteX12" fmla="*/ 28347 w 66803"/>
                  <a:gd name="connsiteY12" fmla="*/ 76912 h 122302"/>
                  <a:gd name="connsiteX13" fmla="*/ 25826 w 66803"/>
                  <a:gd name="connsiteY13" fmla="*/ 85107 h 122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6803" h="122302">
                    <a:moveTo>
                      <a:pt x="25826" y="85107"/>
                    </a:moveTo>
                    <a:cubicBezTo>
                      <a:pt x="25195" y="85738"/>
                      <a:pt x="23935" y="85738"/>
                      <a:pt x="22674" y="85738"/>
                    </a:cubicBezTo>
                    <a:cubicBezTo>
                      <a:pt x="20782" y="85738"/>
                      <a:pt x="18891" y="85107"/>
                      <a:pt x="18261" y="83216"/>
                    </a:cubicBezTo>
                    <a:lnTo>
                      <a:pt x="609" y="113476"/>
                    </a:lnTo>
                    <a:cubicBezTo>
                      <a:pt x="609" y="113476"/>
                      <a:pt x="609" y="114107"/>
                      <a:pt x="609" y="114107"/>
                    </a:cubicBezTo>
                    <a:cubicBezTo>
                      <a:pt x="-652" y="116628"/>
                      <a:pt x="-22" y="119780"/>
                      <a:pt x="3131" y="121671"/>
                    </a:cubicBezTo>
                    <a:cubicBezTo>
                      <a:pt x="3761" y="122302"/>
                      <a:pt x="5022" y="122302"/>
                      <a:pt x="6283" y="122302"/>
                    </a:cubicBezTo>
                    <a:cubicBezTo>
                      <a:pt x="8174" y="122302"/>
                      <a:pt x="10065" y="121041"/>
                      <a:pt x="11326" y="119150"/>
                    </a:cubicBezTo>
                    <a:lnTo>
                      <a:pt x="14478" y="114107"/>
                    </a:lnTo>
                    <a:lnTo>
                      <a:pt x="66803" y="23326"/>
                    </a:lnTo>
                    <a:lnTo>
                      <a:pt x="66803" y="0"/>
                    </a:lnTo>
                    <a:lnTo>
                      <a:pt x="25195" y="71868"/>
                    </a:lnTo>
                    <a:lnTo>
                      <a:pt x="28347" y="76912"/>
                    </a:lnTo>
                    <a:cubicBezTo>
                      <a:pt x="29608" y="80064"/>
                      <a:pt x="28978" y="83216"/>
                      <a:pt x="25826" y="85107"/>
                    </a:cubicBez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76" name="Forma Livre: Forma 375">
                <a:extLst>
                  <a:ext uri="{FF2B5EF4-FFF2-40B4-BE49-F238E27FC236}">
                    <a16:creationId xmlns:a16="http://schemas.microsoft.com/office/drawing/2014/main" id="{1A49BF2D-86E9-4167-8FE9-1A75345EBE76}"/>
                  </a:ext>
                </a:extLst>
              </p:cNvPr>
              <p:cNvSpPr/>
              <p:nvPr/>
            </p:nvSpPr>
            <p:spPr>
              <a:xfrm>
                <a:off x="3535223" y="5773639"/>
                <a:ext cx="70887" cy="106541"/>
              </a:xfrm>
              <a:custGeom>
                <a:avLst/>
                <a:gdLst>
                  <a:gd name="connsiteX0" fmla="*/ 59890 w 70887"/>
                  <a:gd name="connsiteY0" fmla="*/ 103389 h 106541"/>
                  <a:gd name="connsiteX1" fmla="*/ 59890 w 70887"/>
                  <a:gd name="connsiteY1" fmla="*/ 103389 h 106541"/>
                  <a:gd name="connsiteX2" fmla="*/ 64934 w 70887"/>
                  <a:gd name="connsiteY2" fmla="*/ 106542 h 106541"/>
                  <a:gd name="connsiteX3" fmla="*/ 68086 w 70887"/>
                  <a:gd name="connsiteY3" fmla="*/ 105911 h 106541"/>
                  <a:gd name="connsiteX4" fmla="*/ 69977 w 70887"/>
                  <a:gd name="connsiteY4" fmla="*/ 98346 h 106541"/>
                  <a:gd name="connsiteX5" fmla="*/ 66825 w 70887"/>
                  <a:gd name="connsiteY5" fmla="*/ 93302 h 106541"/>
                  <a:gd name="connsiteX6" fmla="*/ 13239 w 70887"/>
                  <a:gd name="connsiteY6" fmla="*/ 0 h 106541"/>
                  <a:gd name="connsiteX7" fmla="*/ 0 w 70887"/>
                  <a:gd name="connsiteY7" fmla="*/ 0 h 106541"/>
                  <a:gd name="connsiteX8" fmla="*/ 35934 w 70887"/>
                  <a:gd name="connsiteY8" fmla="*/ 63042 h 106541"/>
                  <a:gd name="connsiteX9" fmla="*/ 42238 w 70887"/>
                  <a:gd name="connsiteY9" fmla="*/ 74390 h 106541"/>
                  <a:gd name="connsiteX10" fmla="*/ 59890 w 70887"/>
                  <a:gd name="connsiteY10" fmla="*/ 103389 h 106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0887" h="106541">
                    <a:moveTo>
                      <a:pt x="59890" y="103389"/>
                    </a:moveTo>
                    <a:cubicBezTo>
                      <a:pt x="59890" y="104020"/>
                      <a:pt x="59890" y="104020"/>
                      <a:pt x="59890" y="103389"/>
                    </a:cubicBezTo>
                    <a:cubicBezTo>
                      <a:pt x="61151" y="105281"/>
                      <a:pt x="63042" y="106542"/>
                      <a:pt x="64934" y="106542"/>
                    </a:cubicBezTo>
                    <a:cubicBezTo>
                      <a:pt x="66194" y="106542"/>
                      <a:pt x="66825" y="106542"/>
                      <a:pt x="68086" y="105911"/>
                    </a:cubicBezTo>
                    <a:cubicBezTo>
                      <a:pt x="70607" y="104020"/>
                      <a:pt x="71868" y="100868"/>
                      <a:pt x="69977" y="98346"/>
                    </a:cubicBezTo>
                    <a:lnTo>
                      <a:pt x="66825" y="93302"/>
                    </a:lnTo>
                    <a:lnTo>
                      <a:pt x="13239" y="0"/>
                    </a:lnTo>
                    <a:lnTo>
                      <a:pt x="0" y="0"/>
                    </a:lnTo>
                    <a:lnTo>
                      <a:pt x="35934" y="63042"/>
                    </a:lnTo>
                    <a:lnTo>
                      <a:pt x="42238" y="74390"/>
                    </a:lnTo>
                    <a:lnTo>
                      <a:pt x="59890" y="103389"/>
                    </a:lnTo>
                    <a:close/>
                  </a:path>
                </a:pathLst>
              </a:custGeom>
              <a:grpFill/>
              <a:ln w="6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32226094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vre: Forma 4">
            <a:extLst>
              <a:ext uri="{FF2B5EF4-FFF2-40B4-BE49-F238E27FC236}">
                <a16:creationId xmlns:a16="http://schemas.microsoft.com/office/drawing/2014/main" id="{490472E4-8647-45E6-A301-2C635EDC9D64}"/>
              </a:ext>
            </a:extLst>
          </p:cNvPr>
          <p:cNvSpPr/>
          <p:nvPr/>
        </p:nvSpPr>
        <p:spPr>
          <a:xfrm>
            <a:off x="5393952" y="4655440"/>
            <a:ext cx="387245" cy="387905"/>
          </a:xfrm>
          <a:custGeom>
            <a:avLst/>
            <a:gdLst>
              <a:gd name="connsiteX0" fmla="*/ 306341 w 387245"/>
              <a:gd name="connsiteY0" fmla="*/ 387905 h 387905"/>
              <a:gd name="connsiteX1" fmla="*/ 95442 w 387245"/>
              <a:gd name="connsiteY1" fmla="*/ 293754 h 387905"/>
              <a:gd name="connsiteX2" fmla="*/ 94186 w 387245"/>
              <a:gd name="connsiteY2" fmla="*/ 292498 h 387905"/>
              <a:gd name="connsiteX3" fmla="*/ 94186 w 387245"/>
              <a:gd name="connsiteY3" fmla="*/ 292498 h 387905"/>
              <a:gd name="connsiteX4" fmla="*/ 34 w 387245"/>
              <a:gd name="connsiteY4" fmla="*/ 75949 h 387905"/>
              <a:gd name="connsiteX5" fmla="*/ 34 w 387245"/>
              <a:gd name="connsiteY5" fmla="*/ 70300 h 387905"/>
              <a:gd name="connsiteX6" fmla="*/ 3800 w 387245"/>
              <a:gd name="connsiteY6" fmla="*/ 65906 h 387905"/>
              <a:gd name="connsiteX7" fmla="*/ 20120 w 387245"/>
              <a:gd name="connsiteY7" fmla="*/ 47703 h 387905"/>
              <a:gd name="connsiteX8" fmla="*/ 91048 w 387245"/>
              <a:gd name="connsiteY8" fmla="*/ 1883 h 387905"/>
              <a:gd name="connsiteX9" fmla="*/ 101718 w 387245"/>
              <a:gd name="connsiteY9" fmla="*/ 0 h 387905"/>
              <a:gd name="connsiteX10" fmla="*/ 136241 w 387245"/>
              <a:gd name="connsiteY10" fmla="*/ 18830 h 387905"/>
              <a:gd name="connsiteX11" fmla="*/ 165114 w 387245"/>
              <a:gd name="connsiteY11" fmla="*/ 108588 h 387905"/>
              <a:gd name="connsiteX12" fmla="*/ 152560 w 387245"/>
              <a:gd name="connsiteY12" fmla="*/ 146877 h 387905"/>
              <a:gd name="connsiteX13" fmla="*/ 123059 w 387245"/>
              <a:gd name="connsiteY13" fmla="*/ 165707 h 387905"/>
              <a:gd name="connsiteX14" fmla="*/ 126825 w 387245"/>
              <a:gd name="connsiteY14" fmla="*/ 175750 h 387905"/>
              <a:gd name="connsiteX15" fmla="*/ 166369 w 387245"/>
              <a:gd name="connsiteY15" fmla="*/ 222198 h 387905"/>
              <a:gd name="connsiteX16" fmla="*/ 212190 w 387245"/>
              <a:gd name="connsiteY16" fmla="*/ 261114 h 387905"/>
              <a:gd name="connsiteX17" fmla="*/ 221605 w 387245"/>
              <a:gd name="connsiteY17" fmla="*/ 264880 h 387905"/>
              <a:gd name="connsiteX18" fmla="*/ 231647 w 387245"/>
              <a:gd name="connsiteY18" fmla="*/ 250444 h 387905"/>
              <a:gd name="connsiteX19" fmla="*/ 241063 w 387245"/>
              <a:gd name="connsiteY19" fmla="*/ 235379 h 387905"/>
              <a:gd name="connsiteX20" fmla="*/ 271819 w 387245"/>
              <a:gd name="connsiteY20" fmla="*/ 222198 h 387905"/>
              <a:gd name="connsiteX21" fmla="*/ 278096 w 387245"/>
              <a:gd name="connsiteY21" fmla="*/ 222826 h 387905"/>
              <a:gd name="connsiteX22" fmla="*/ 369737 w 387245"/>
              <a:gd name="connsiteY22" fmla="*/ 252327 h 387905"/>
              <a:gd name="connsiteX23" fmla="*/ 385429 w 387245"/>
              <a:gd name="connsiteY23" fmla="*/ 297520 h 387905"/>
              <a:gd name="connsiteX24" fmla="*/ 339608 w 387245"/>
              <a:gd name="connsiteY24" fmla="*/ 368447 h 387905"/>
              <a:gd name="connsiteX25" fmla="*/ 321406 w 387245"/>
              <a:gd name="connsiteY25" fmla="*/ 384767 h 387905"/>
              <a:gd name="connsiteX26" fmla="*/ 317012 w 387245"/>
              <a:gd name="connsiteY26" fmla="*/ 387905 h 387905"/>
              <a:gd name="connsiteX27" fmla="*/ 306341 w 387245"/>
              <a:gd name="connsiteY27" fmla="*/ 387905 h 387905"/>
              <a:gd name="connsiteX28" fmla="*/ 306341 w 387245"/>
              <a:gd name="connsiteY28" fmla="*/ 387905 h 387905"/>
              <a:gd name="connsiteX29" fmla="*/ 33929 w 387245"/>
              <a:gd name="connsiteY29" fmla="*/ 82226 h 387905"/>
              <a:gd name="connsiteX30" fmla="*/ 118038 w 387245"/>
              <a:gd name="connsiteY30" fmla="*/ 268646 h 387905"/>
              <a:gd name="connsiteX31" fmla="*/ 119921 w 387245"/>
              <a:gd name="connsiteY31" fmla="*/ 270529 h 387905"/>
              <a:gd name="connsiteX32" fmla="*/ 305714 w 387245"/>
              <a:gd name="connsiteY32" fmla="*/ 354011 h 387905"/>
              <a:gd name="connsiteX33" fmla="*/ 317012 w 387245"/>
              <a:gd name="connsiteY33" fmla="*/ 343968 h 387905"/>
              <a:gd name="connsiteX34" fmla="*/ 355300 w 387245"/>
              <a:gd name="connsiteY34" fmla="*/ 284966 h 387905"/>
              <a:gd name="connsiteX35" fmla="*/ 354045 w 387245"/>
              <a:gd name="connsiteY35" fmla="*/ 281200 h 387905"/>
              <a:gd name="connsiteX36" fmla="*/ 271819 w 387245"/>
              <a:gd name="connsiteY36" fmla="*/ 255465 h 387905"/>
              <a:gd name="connsiteX37" fmla="*/ 268053 w 387245"/>
              <a:gd name="connsiteY37" fmla="*/ 256093 h 387905"/>
              <a:gd name="connsiteX38" fmla="*/ 251106 w 387245"/>
              <a:gd name="connsiteY38" fmla="*/ 282455 h 387905"/>
              <a:gd name="connsiteX39" fmla="*/ 193359 w 387245"/>
              <a:gd name="connsiteY39" fmla="*/ 287477 h 387905"/>
              <a:gd name="connsiteX40" fmla="*/ 143772 w 387245"/>
              <a:gd name="connsiteY40" fmla="*/ 244795 h 387905"/>
              <a:gd name="connsiteX41" fmla="*/ 101090 w 387245"/>
              <a:gd name="connsiteY41" fmla="*/ 194580 h 387905"/>
              <a:gd name="connsiteX42" fmla="*/ 91675 w 387245"/>
              <a:gd name="connsiteY42" fmla="*/ 158175 h 387905"/>
              <a:gd name="connsiteX43" fmla="*/ 106112 w 387245"/>
              <a:gd name="connsiteY43" fmla="*/ 136834 h 387905"/>
              <a:gd name="connsiteX44" fmla="*/ 132474 w 387245"/>
              <a:gd name="connsiteY44" fmla="*/ 119886 h 387905"/>
              <a:gd name="connsiteX45" fmla="*/ 133102 w 387245"/>
              <a:gd name="connsiteY45" fmla="*/ 115493 h 387905"/>
              <a:gd name="connsiteX46" fmla="*/ 106740 w 387245"/>
              <a:gd name="connsiteY46" fmla="*/ 33895 h 387905"/>
              <a:gd name="connsiteX47" fmla="*/ 102346 w 387245"/>
              <a:gd name="connsiteY47" fmla="*/ 32639 h 387905"/>
              <a:gd name="connsiteX48" fmla="*/ 44599 w 387245"/>
              <a:gd name="connsiteY48" fmla="*/ 70928 h 387905"/>
              <a:gd name="connsiteX49" fmla="*/ 33929 w 387245"/>
              <a:gd name="connsiteY49" fmla="*/ 82226 h 387905"/>
              <a:gd name="connsiteX50" fmla="*/ 33929 w 387245"/>
              <a:gd name="connsiteY50" fmla="*/ 82226 h 3879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387245" h="387905">
                <a:moveTo>
                  <a:pt x="306341" y="387905"/>
                </a:moveTo>
                <a:cubicBezTo>
                  <a:pt x="232275" y="387905"/>
                  <a:pt x="155071" y="353383"/>
                  <a:pt x="95442" y="293754"/>
                </a:cubicBezTo>
                <a:lnTo>
                  <a:pt x="94186" y="292498"/>
                </a:lnTo>
                <a:lnTo>
                  <a:pt x="94186" y="292498"/>
                </a:lnTo>
                <a:cubicBezTo>
                  <a:pt x="32046" y="230358"/>
                  <a:pt x="-1221" y="151898"/>
                  <a:pt x="34" y="75949"/>
                </a:cubicBezTo>
                <a:lnTo>
                  <a:pt x="34" y="70300"/>
                </a:lnTo>
                <a:lnTo>
                  <a:pt x="3800" y="65906"/>
                </a:lnTo>
                <a:cubicBezTo>
                  <a:pt x="9449" y="59002"/>
                  <a:pt x="14471" y="53353"/>
                  <a:pt x="20120" y="47703"/>
                </a:cubicBezTo>
                <a:cubicBezTo>
                  <a:pt x="40205" y="27618"/>
                  <a:pt x="64058" y="11926"/>
                  <a:pt x="91048" y="1883"/>
                </a:cubicBezTo>
                <a:cubicBezTo>
                  <a:pt x="94186" y="628"/>
                  <a:pt x="97952" y="0"/>
                  <a:pt x="101718" y="0"/>
                </a:cubicBezTo>
                <a:cubicBezTo>
                  <a:pt x="110506" y="0"/>
                  <a:pt x="131219" y="4394"/>
                  <a:pt x="136241" y="18830"/>
                </a:cubicBezTo>
                <a:cubicBezTo>
                  <a:pt x="145656" y="43938"/>
                  <a:pt x="156954" y="77204"/>
                  <a:pt x="165114" y="108588"/>
                </a:cubicBezTo>
                <a:cubicBezTo>
                  <a:pt x="167625" y="117376"/>
                  <a:pt x="165114" y="138717"/>
                  <a:pt x="152560" y="146877"/>
                </a:cubicBezTo>
                <a:lnTo>
                  <a:pt x="123059" y="165707"/>
                </a:lnTo>
                <a:cubicBezTo>
                  <a:pt x="123059" y="165707"/>
                  <a:pt x="123059" y="170729"/>
                  <a:pt x="126825" y="175750"/>
                </a:cubicBezTo>
                <a:cubicBezTo>
                  <a:pt x="138124" y="191442"/>
                  <a:pt x="151305" y="207134"/>
                  <a:pt x="166369" y="222198"/>
                </a:cubicBezTo>
                <a:cubicBezTo>
                  <a:pt x="181433" y="236635"/>
                  <a:pt x="196498" y="249816"/>
                  <a:pt x="212190" y="261114"/>
                </a:cubicBezTo>
                <a:cubicBezTo>
                  <a:pt x="215328" y="263625"/>
                  <a:pt x="218466" y="264880"/>
                  <a:pt x="221605" y="264880"/>
                </a:cubicBezTo>
                <a:lnTo>
                  <a:pt x="231647" y="250444"/>
                </a:lnTo>
                <a:lnTo>
                  <a:pt x="241063" y="235379"/>
                </a:lnTo>
                <a:cubicBezTo>
                  <a:pt x="249223" y="222826"/>
                  <a:pt x="269936" y="222198"/>
                  <a:pt x="271819" y="222198"/>
                </a:cubicBezTo>
                <a:cubicBezTo>
                  <a:pt x="274330" y="222198"/>
                  <a:pt x="276213" y="222198"/>
                  <a:pt x="278096" y="222826"/>
                </a:cubicBezTo>
                <a:cubicBezTo>
                  <a:pt x="317012" y="231614"/>
                  <a:pt x="340236" y="239145"/>
                  <a:pt x="369737" y="252327"/>
                </a:cubicBezTo>
                <a:cubicBezTo>
                  <a:pt x="382918" y="257976"/>
                  <a:pt x="391078" y="282455"/>
                  <a:pt x="385429" y="297520"/>
                </a:cubicBezTo>
                <a:cubicBezTo>
                  <a:pt x="375386" y="323882"/>
                  <a:pt x="359694" y="347734"/>
                  <a:pt x="339608" y="368447"/>
                </a:cubicBezTo>
                <a:cubicBezTo>
                  <a:pt x="333959" y="374096"/>
                  <a:pt x="327683" y="379746"/>
                  <a:pt x="321406" y="384767"/>
                </a:cubicBezTo>
                <a:lnTo>
                  <a:pt x="317012" y="387905"/>
                </a:lnTo>
                <a:lnTo>
                  <a:pt x="306341" y="387905"/>
                </a:lnTo>
                <a:lnTo>
                  <a:pt x="306341" y="387905"/>
                </a:lnTo>
                <a:close/>
                <a:moveTo>
                  <a:pt x="33929" y="82226"/>
                </a:moveTo>
                <a:cubicBezTo>
                  <a:pt x="33929" y="146877"/>
                  <a:pt x="65313" y="215922"/>
                  <a:pt x="118038" y="268646"/>
                </a:cubicBezTo>
                <a:lnTo>
                  <a:pt x="119921" y="270529"/>
                </a:lnTo>
                <a:cubicBezTo>
                  <a:pt x="172646" y="323255"/>
                  <a:pt x="240435" y="354011"/>
                  <a:pt x="305714" y="354011"/>
                </a:cubicBezTo>
                <a:cubicBezTo>
                  <a:pt x="309480" y="350873"/>
                  <a:pt x="313246" y="347106"/>
                  <a:pt x="317012" y="343968"/>
                </a:cubicBezTo>
                <a:cubicBezTo>
                  <a:pt x="333959" y="327020"/>
                  <a:pt x="346513" y="306935"/>
                  <a:pt x="355300" y="284966"/>
                </a:cubicBezTo>
                <a:cubicBezTo>
                  <a:pt x="355300" y="284966"/>
                  <a:pt x="354673" y="283083"/>
                  <a:pt x="354045" y="281200"/>
                </a:cubicBezTo>
                <a:cubicBezTo>
                  <a:pt x="328310" y="269902"/>
                  <a:pt x="306969" y="262998"/>
                  <a:pt x="271819" y="255465"/>
                </a:cubicBezTo>
                <a:cubicBezTo>
                  <a:pt x="271192" y="255465"/>
                  <a:pt x="269308" y="256093"/>
                  <a:pt x="268053" y="256093"/>
                </a:cubicBezTo>
                <a:lnTo>
                  <a:pt x="251106" y="282455"/>
                </a:lnTo>
                <a:cubicBezTo>
                  <a:pt x="240435" y="299403"/>
                  <a:pt x="212817" y="301913"/>
                  <a:pt x="193359" y="287477"/>
                </a:cubicBezTo>
                <a:cubicBezTo>
                  <a:pt x="176412" y="275551"/>
                  <a:pt x="159464" y="261114"/>
                  <a:pt x="143772" y="244795"/>
                </a:cubicBezTo>
                <a:cubicBezTo>
                  <a:pt x="127453" y="228475"/>
                  <a:pt x="113644" y="211528"/>
                  <a:pt x="101090" y="194580"/>
                </a:cubicBezTo>
                <a:cubicBezTo>
                  <a:pt x="92931" y="183282"/>
                  <a:pt x="89792" y="170101"/>
                  <a:pt x="91675" y="158175"/>
                </a:cubicBezTo>
                <a:cubicBezTo>
                  <a:pt x="93558" y="148760"/>
                  <a:pt x="98580" y="141228"/>
                  <a:pt x="106112" y="136834"/>
                </a:cubicBezTo>
                <a:lnTo>
                  <a:pt x="132474" y="119886"/>
                </a:lnTo>
                <a:cubicBezTo>
                  <a:pt x="133102" y="118631"/>
                  <a:pt x="133102" y="116121"/>
                  <a:pt x="133102" y="115493"/>
                </a:cubicBezTo>
                <a:cubicBezTo>
                  <a:pt x="125570" y="87875"/>
                  <a:pt x="115527" y="57747"/>
                  <a:pt x="106740" y="33895"/>
                </a:cubicBezTo>
                <a:cubicBezTo>
                  <a:pt x="105484" y="33267"/>
                  <a:pt x="103601" y="32639"/>
                  <a:pt x="102346" y="32639"/>
                </a:cubicBezTo>
                <a:cubicBezTo>
                  <a:pt x="81005" y="40799"/>
                  <a:pt x="60919" y="53980"/>
                  <a:pt x="44599" y="70928"/>
                </a:cubicBezTo>
                <a:cubicBezTo>
                  <a:pt x="40205" y="74694"/>
                  <a:pt x="37067" y="78460"/>
                  <a:pt x="33929" y="82226"/>
                </a:cubicBezTo>
                <a:lnTo>
                  <a:pt x="33929" y="82226"/>
                </a:lnTo>
                <a:close/>
              </a:path>
            </a:pathLst>
          </a:custGeom>
          <a:solidFill>
            <a:srgbClr val="B1B1A1"/>
          </a:solidFill>
          <a:ln w="627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grpSp>
        <p:nvGrpSpPr>
          <p:cNvPr id="6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6415773" y="4655440"/>
            <a:ext cx="387913" cy="387905"/>
            <a:chOff x="6415773" y="4655440"/>
            <a:chExt cx="387913" cy="387905"/>
          </a:xfrm>
          <a:solidFill>
            <a:srgbClr val="B1B1A1"/>
          </a:solidFill>
        </p:grpSpPr>
        <p:sp>
          <p:nvSpPr>
            <p:cNvPr id="7" name="Forma Livre: Forma 6">
              <a:extLst>
                <a:ext uri="{FF2B5EF4-FFF2-40B4-BE49-F238E27FC236}">
                  <a16:creationId xmlns:a16="http://schemas.microsoft.com/office/drawing/2014/main" id="{22464B9C-EED6-4380-9DF1-ADA8BAE064D3}"/>
                </a:ext>
              </a:extLst>
            </p:cNvPr>
            <p:cNvSpPr/>
            <p:nvPr/>
          </p:nvSpPr>
          <p:spPr>
            <a:xfrm>
              <a:off x="6415773" y="4655440"/>
              <a:ext cx="387913" cy="387905"/>
            </a:xfrm>
            <a:custGeom>
              <a:avLst/>
              <a:gdLst>
                <a:gd name="connsiteX0" fmla="*/ 305754 w 387913"/>
                <a:gd name="connsiteY0" fmla="*/ 387905 h 387905"/>
                <a:gd name="connsiteX1" fmla="*/ 94854 w 387913"/>
                <a:gd name="connsiteY1" fmla="*/ 293754 h 387905"/>
                <a:gd name="connsiteX2" fmla="*/ 93599 w 387913"/>
                <a:gd name="connsiteY2" fmla="*/ 292498 h 387905"/>
                <a:gd name="connsiteX3" fmla="*/ 74 w 387913"/>
                <a:gd name="connsiteY3" fmla="*/ 75949 h 387905"/>
                <a:gd name="connsiteX4" fmla="*/ 74 w 387913"/>
                <a:gd name="connsiteY4" fmla="*/ 70300 h 387905"/>
                <a:gd name="connsiteX5" fmla="*/ 3840 w 387913"/>
                <a:gd name="connsiteY5" fmla="*/ 65906 h 387905"/>
                <a:gd name="connsiteX6" fmla="*/ 20160 w 387913"/>
                <a:gd name="connsiteY6" fmla="*/ 47703 h 387905"/>
                <a:gd name="connsiteX7" fmla="*/ 91088 w 387913"/>
                <a:gd name="connsiteY7" fmla="*/ 1883 h 387905"/>
                <a:gd name="connsiteX8" fmla="*/ 101758 w 387913"/>
                <a:gd name="connsiteY8" fmla="*/ 0 h 387905"/>
                <a:gd name="connsiteX9" fmla="*/ 136281 w 387913"/>
                <a:gd name="connsiteY9" fmla="*/ 18830 h 387905"/>
                <a:gd name="connsiteX10" fmla="*/ 165154 w 387913"/>
                <a:gd name="connsiteY10" fmla="*/ 108588 h 387905"/>
                <a:gd name="connsiteX11" fmla="*/ 152600 w 387913"/>
                <a:gd name="connsiteY11" fmla="*/ 146877 h 387905"/>
                <a:gd name="connsiteX12" fmla="*/ 123099 w 387913"/>
                <a:gd name="connsiteY12" fmla="*/ 165707 h 387905"/>
                <a:gd name="connsiteX13" fmla="*/ 126866 w 387913"/>
                <a:gd name="connsiteY13" fmla="*/ 175750 h 387905"/>
                <a:gd name="connsiteX14" fmla="*/ 166409 w 387913"/>
                <a:gd name="connsiteY14" fmla="*/ 222198 h 387905"/>
                <a:gd name="connsiteX15" fmla="*/ 212230 w 387913"/>
                <a:gd name="connsiteY15" fmla="*/ 261114 h 387905"/>
                <a:gd name="connsiteX16" fmla="*/ 221645 w 387913"/>
                <a:gd name="connsiteY16" fmla="*/ 264880 h 387905"/>
                <a:gd name="connsiteX17" fmla="*/ 223528 w 387913"/>
                <a:gd name="connsiteY17" fmla="*/ 264880 h 387905"/>
                <a:gd name="connsiteX18" fmla="*/ 241731 w 387913"/>
                <a:gd name="connsiteY18" fmla="*/ 236007 h 387905"/>
                <a:gd name="connsiteX19" fmla="*/ 272487 w 387913"/>
                <a:gd name="connsiteY19" fmla="*/ 222826 h 387905"/>
                <a:gd name="connsiteX20" fmla="*/ 278764 w 387913"/>
                <a:gd name="connsiteY20" fmla="*/ 223453 h 387905"/>
                <a:gd name="connsiteX21" fmla="*/ 370405 w 387913"/>
                <a:gd name="connsiteY21" fmla="*/ 252954 h 387905"/>
                <a:gd name="connsiteX22" fmla="*/ 386097 w 387913"/>
                <a:gd name="connsiteY22" fmla="*/ 297520 h 387905"/>
                <a:gd name="connsiteX23" fmla="*/ 340276 w 387913"/>
                <a:gd name="connsiteY23" fmla="*/ 368447 h 387905"/>
                <a:gd name="connsiteX24" fmla="*/ 322074 w 387913"/>
                <a:gd name="connsiteY24" fmla="*/ 384767 h 387905"/>
                <a:gd name="connsiteX25" fmla="*/ 317680 w 387913"/>
                <a:gd name="connsiteY25" fmla="*/ 387905 h 387905"/>
                <a:gd name="connsiteX26" fmla="*/ 305754 w 387913"/>
                <a:gd name="connsiteY26" fmla="*/ 387905 h 387905"/>
                <a:gd name="connsiteX27" fmla="*/ 305754 w 387913"/>
                <a:gd name="connsiteY27" fmla="*/ 387905 h 387905"/>
                <a:gd name="connsiteX28" fmla="*/ 32714 w 387913"/>
                <a:gd name="connsiteY28" fmla="*/ 82226 h 387905"/>
                <a:gd name="connsiteX29" fmla="*/ 116823 w 387913"/>
                <a:gd name="connsiteY29" fmla="*/ 268646 h 387905"/>
                <a:gd name="connsiteX30" fmla="*/ 118706 w 387913"/>
                <a:gd name="connsiteY30" fmla="*/ 270529 h 387905"/>
                <a:gd name="connsiteX31" fmla="*/ 304499 w 387913"/>
                <a:gd name="connsiteY31" fmla="*/ 354011 h 387905"/>
                <a:gd name="connsiteX32" fmla="*/ 315797 w 387913"/>
                <a:gd name="connsiteY32" fmla="*/ 343968 h 387905"/>
                <a:gd name="connsiteX33" fmla="*/ 354085 w 387913"/>
                <a:gd name="connsiteY33" fmla="*/ 284966 h 387905"/>
                <a:gd name="connsiteX34" fmla="*/ 352830 w 387913"/>
                <a:gd name="connsiteY34" fmla="*/ 281200 h 387905"/>
                <a:gd name="connsiteX35" fmla="*/ 270604 w 387913"/>
                <a:gd name="connsiteY35" fmla="*/ 255465 h 387905"/>
                <a:gd name="connsiteX36" fmla="*/ 266838 w 387913"/>
                <a:gd name="connsiteY36" fmla="*/ 256093 h 387905"/>
                <a:gd name="connsiteX37" fmla="*/ 249891 w 387913"/>
                <a:gd name="connsiteY37" fmla="*/ 282455 h 387905"/>
                <a:gd name="connsiteX38" fmla="*/ 192144 w 387913"/>
                <a:gd name="connsiteY38" fmla="*/ 287477 h 387905"/>
                <a:gd name="connsiteX39" fmla="*/ 142558 w 387913"/>
                <a:gd name="connsiteY39" fmla="*/ 244795 h 387905"/>
                <a:gd name="connsiteX40" fmla="*/ 99876 w 387913"/>
                <a:gd name="connsiteY40" fmla="*/ 194580 h 387905"/>
                <a:gd name="connsiteX41" fmla="*/ 90460 w 387913"/>
                <a:gd name="connsiteY41" fmla="*/ 158175 h 387905"/>
                <a:gd name="connsiteX42" fmla="*/ 104897 w 387913"/>
                <a:gd name="connsiteY42" fmla="*/ 136834 h 387905"/>
                <a:gd name="connsiteX43" fmla="*/ 131259 w 387913"/>
                <a:gd name="connsiteY43" fmla="*/ 119886 h 387905"/>
                <a:gd name="connsiteX44" fmla="*/ 131887 w 387913"/>
                <a:gd name="connsiteY44" fmla="*/ 115493 h 387905"/>
                <a:gd name="connsiteX45" fmla="*/ 105524 w 387913"/>
                <a:gd name="connsiteY45" fmla="*/ 33895 h 387905"/>
                <a:gd name="connsiteX46" fmla="*/ 101131 w 387913"/>
                <a:gd name="connsiteY46" fmla="*/ 32639 h 387905"/>
                <a:gd name="connsiteX47" fmla="*/ 42757 w 387913"/>
                <a:gd name="connsiteY47" fmla="*/ 70928 h 387905"/>
                <a:gd name="connsiteX48" fmla="*/ 32714 w 387913"/>
                <a:gd name="connsiteY48" fmla="*/ 82226 h 387905"/>
                <a:gd name="connsiteX49" fmla="*/ 32714 w 387913"/>
                <a:gd name="connsiteY49" fmla="*/ 82226 h 387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387913" h="387905">
                  <a:moveTo>
                    <a:pt x="305754" y="387905"/>
                  </a:moveTo>
                  <a:cubicBezTo>
                    <a:pt x="231688" y="387905"/>
                    <a:pt x="154483" y="353383"/>
                    <a:pt x="94854" y="293754"/>
                  </a:cubicBezTo>
                  <a:lnTo>
                    <a:pt x="93599" y="292498"/>
                  </a:lnTo>
                  <a:cubicBezTo>
                    <a:pt x="32086" y="230986"/>
                    <a:pt x="-1808" y="151898"/>
                    <a:pt x="74" y="75949"/>
                  </a:cubicBezTo>
                  <a:lnTo>
                    <a:pt x="74" y="70300"/>
                  </a:lnTo>
                  <a:lnTo>
                    <a:pt x="3840" y="65906"/>
                  </a:lnTo>
                  <a:cubicBezTo>
                    <a:pt x="9490" y="59002"/>
                    <a:pt x="14511" y="53353"/>
                    <a:pt x="20160" y="47703"/>
                  </a:cubicBezTo>
                  <a:cubicBezTo>
                    <a:pt x="40246" y="27618"/>
                    <a:pt x="64098" y="11926"/>
                    <a:pt x="91088" y="1883"/>
                  </a:cubicBezTo>
                  <a:cubicBezTo>
                    <a:pt x="94226" y="628"/>
                    <a:pt x="97992" y="0"/>
                    <a:pt x="101758" y="0"/>
                  </a:cubicBezTo>
                  <a:cubicBezTo>
                    <a:pt x="110546" y="0"/>
                    <a:pt x="131259" y="4394"/>
                    <a:pt x="136281" y="18830"/>
                  </a:cubicBezTo>
                  <a:cubicBezTo>
                    <a:pt x="145068" y="43938"/>
                    <a:pt x="156994" y="77204"/>
                    <a:pt x="165154" y="108588"/>
                  </a:cubicBezTo>
                  <a:cubicBezTo>
                    <a:pt x="167665" y="118004"/>
                    <a:pt x="164526" y="139345"/>
                    <a:pt x="152600" y="146877"/>
                  </a:cubicBezTo>
                  <a:lnTo>
                    <a:pt x="123099" y="165707"/>
                  </a:lnTo>
                  <a:cubicBezTo>
                    <a:pt x="123099" y="165707"/>
                    <a:pt x="123099" y="170729"/>
                    <a:pt x="126866" y="175750"/>
                  </a:cubicBezTo>
                  <a:cubicBezTo>
                    <a:pt x="138164" y="191442"/>
                    <a:pt x="151345" y="207134"/>
                    <a:pt x="166409" y="222198"/>
                  </a:cubicBezTo>
                  <a:cubicBezTo>
                    <a:pt x="181474" y="236635"/>
                    <a:pt x="196538" y="249816"/>
                    <a:pt x="212230" y="261114"/>
                  </a:cubicBezTo>
                  <a:cubicBezTo>
                    <a:pt x="215368" y="263625"/>
                    <a:pt x="218507" y="264880"/>
                    <a:pt x="221645" y="264880"/>
                  </a:cubicBezTo>
                  <a:cubicBezTo>
                    <a:pt x="222900" y="264880"/>
                    <a:pt x="222900" y="264880"/>
                    <a:pt x="223528" y="264880"/>
                  </a:cubicBezTo>
                  <a:lnTo>
                    <a:pt x="241731" y="236007"/>
                  </a:lnTo>
                  <a:cubicBezTo>
                    <a:pt x="249891" y="223453"/>
                    <a:pt x="270604" y="222826"/>
                    <a:pt x="272487" y="222826"/>
                  </a:cubicBezTo>
                  <a:cubicBezTo>
                    <a:pt x="274998" y="222826"/>
                    <a:pt x="276881" y="222826"/>
                    <a:pt x="278764" y="223453"/>
                  </a:cubicBezTo>
                  <a:cubicBezTo>
                    <a:pt x="317680" y="232241"/>
                    <a:pt x="340904" y="239773"/>
                    <a:pt x="370405" y="252954"/>
                  </a:cubicBezTo>
                  <a:cubicBezTo>
                    <a:pt x="383586" y="259231"/>
                    <a:pt x="391746" y="283083"/>
                    <a:pt x="386097" y="297520"/>
                  </a:cubicBezTo>
                  <a:cubicBezTo>
                    <a:pt x="376054" y="323882"/>
                    <a:pt x="360362" y="347734"/>
                    <a:pt x="340276" y="368447"/>
                  </a:cubicBezTo>
                  <a:cubicBezTo>
                    <a:pt x="334627" y="374096"/>
                    <a:pt x="328350" y="379746"/>
                    <a:pt x="322074" y="384767"/>
                  </a:cubicBezTo>
                  <a:lnTo>
                    <a:pt x="317680" y="387905"/>
                  </a:lnTo>
                  <a:lnTo>
                    <a:pt x="305754" y="387905"/>
                  </a:lnTo>
                  <a:lnTo>
                    <a:pt x="305754" y="387905"/>
                  </a:lnTo>
                  <a:close/>
                  <a:moveTo>
                    <a:pt x="32714" y="82226"/>
                  </a:moveTo>
                  <a:cubicBezTo>
                    <a:pt x="32714" y="146877"/>
                    <a:pt x="64098" y="215922"/>
                    <a:pt x="116823" y="268646"/>
                  </a:cubicBezTo>
                  <a:lnTo>
                    <a:pt x="118706" y="270529"/>
                  </a:lnTo>
                  <a:cubicBezTo>
                    <a:pt x="171431" y="323255"/>
                    <a:pt x="239220" y="354011"/>
                    <a:pt x="304499" y="354011"/>
                  </a:cubicBezTo>
                  <a:cubicBezTo>
                    <a:pt x="308265" y="350873"/>
                    <a:pt x="312031" y="347106"/>
                    <a:pt x="315797" y="343968"/>
                  </a:cubicBezTo>
                  <a:cubicBezTo>
                    <a:pt x="332744" y="327020"/>
                    <a:pt x="345925" y="306935"/>
                    <a:pt x="354085" y="284966"/>
                  </a:cubicBezTo>
                  <a:cubicBezTo>
                    <a:pt x="354085" y="284966"/>
                    <a:pt x="353458" y="283083"/>
                    <a:pt x="352830" y="281200"/>
                  </a:cubicBezTo>
                  <a:cubicBezTo>
                    <a:pt x="327095" y="269902"/>
                    <a:pt x="305754" y="262998"/>
                    <a:pt x="270604" y="255465"/>
                  </a:cubicBezTo>
                  <a:cubicBezTo>
                    <a:pt x="269976" y="255465"/>
                    <a:pt x="268093" y="256093"/>
                    <a:pt x="266838" y="256093"/>
                  </a:cubicBezTo>
                  <a:lnTo>
                    <a:pt x="249891" y="282455"/>
                  </a:lnTo>
                  <a:cubicBezTo>
                    <a:pt x="239220" y="299403"/>
                    <a:pt x="211602" y="301913"/>
                    <a:pt x="192144" y="287477"/>
                  </a:cubicBezTo>
                  <a:cubicBezTo>
                    <a:pt x="175197" y="274923"/>
                    <a:pt x="158250" y="261114"/>
                    <a:pt x="142558" y="244795"/>
                  </a:cubicBezTo>
                  <a:cubicBezTo>
                    <a:pt x="126238" y="228475"/>
                    <a:pt x="112429" y="211528"/>
                    <a:pt x="99876" y="194580"/>
                  </a:cubicBezTo>
                  <a:cubicBezTo>
                    <a:pt x="91715" y="183282"/>
                    <a:pt x="88577" y="170101"/>
                    <a:pt x="90460" y="158175"/>
                  </a:cubicBezTo>
                  <a:cubicBezTo>
                    <a:pt x="92343" y="148760"/>
                    <a:pt x="97365" y="141228"/>
                    <a:pt x="104897" y="136834"/>
                  </a:cubicBezTo>
                  <a:lnTo>
                    <a:pt x="131259" y="119886"/>
                  </a:lnTo>
                  <a:cubicBezTo>
                    <a:pt x="131887" y="118631"/>
                    <a:pt x="131887" y="116121"/>
                    <a:pt x="131887" y="115493"/>
                  </a:cubicBezTo>
                  <a:cubicBezTo>
                    <a:pt x="124355" y="87875"/>
                    <a:pt x="114312" y="57747"/>
                    <a:pt x="105524" y="33895"/>
                  </a:cubicBezTo>
                  <a:cubicBezTo>
                    <a:pt x="104269" y="33267"/>
                    <a:pt x="102386" y="32639"/>
                    <a:pt x="101131" y="32639"/>
                  </a:cubicBezTo>
                  <a:cubicBezTo>
                    <a:pt x="79790" y="40799"/>
                    <a:pt x="59704" y="53980"/>
                    <a:pt x="42757" y="70928"/>
                  </a:cubicBezTo>
                  <a:cubicBezTo>
                    <a:pt x="39618" y="74694"/>
                    <a:pt x="36480" y="78460"/>
                    <a:pt x="32714" y="82226"/>
                  </a:cubicBezTo>
                  <a:lnTo>
                    <a:pt x="32714" y="82226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8" name="Gráfico 2">
              <a:extLst>
                <a:ext uri="{FF2B5EF4-FFF2-40B4-BE49-F238E27FC236}">
                  <a16:creationId xmlns:a16="http://schemas.microsoft.com/office/drawing/2014/main" id="{83F95F55-5D1D-4425-8D77-756B15108235}"/>
                </a:ext>
              </a:extLst>
            </p:cNvPr>
            <p:cNvGrpSpPr/>
            <p:nvPr/>
          </p:nvGrpSpPr>
          <p:grpSpPr>
            <a:xfrm>
              <a:off x="6605406" y="4755003"/>
              <a:ext cx="175122" cy="115731"/>
              <a:chOff x="6605406" y="4755003"/>
              <a:chExt cx="175122" cy="115731"/>
            </a:xfrm>
            <a:grpFill/>
          </p:grpSpPr>
          <p:sp>
            <p:nvSpPr>
              <p:cNvPr id="9" name="Forma Livre: Forma 8">
                <a:extLst>
                  <a:ext uri="{FF2B5EF4-FFF2-40B4-BE49-F238E27FC236}">
                    <a16:creationId xmlns:a16="http://schemas.microsoft.com/office/drawing/2014/main" id="{9C823180-7C2B-49ED-8E7B-03A5754F009B}"/>
                  </a:ext>
                </a:extLst>
              </p:cNvPr>
              <p:cNvSpPr/>
              <p:nvPr/>
            </p:nvSpPr>
            <p:spPr>
              <a:xfrm>
                <a:off x="6703086" y="4755003"/>
                <a:ext cx="77442" cy="115731"/>
              </a:xfrm>
              <a:custGeom>
                <a:avLst/>
                <a:gdLst>
                  <a:gd name="connsiteX0" fmla="*/ 16558 w 77442"/>
                  <a:gd name="connsiteY0" fmla="*/ 115731 h 115731"/>
                  <a:gd name="connsiteX1" fmla="*/ 4632 w 77442"/>
                  <a:gd name="connsiteY1" fmla="*/ 110710 h 115731"/>
                  <a:gd name="connsiteX2" fmla="*/ 5259 w 77442"/>
                  <a:gd name="connsiteY2" fmla="*/ 86858 h 115731"/>
                  <a:gd name="connsiteX3" fmla="*/ 36016 w 77442"/>
                  <a:gd name="connsiteY3" fmla="*/ 57985 h 115731"/>
                  <a:gd name="connsiteX4" fmla="*/ 5259 w 77442"/>
                  <a:gd name="connsiteY4" fmla="*/ 29112 h 115731"/>
                  <a:gd name="connsiteX5" fmla="*/ 4632 w 77442"/>
                  <a:gd name="connsiteY5" fmla="*/ 5260 h 115731"/>
                  <a:gd name="connsiteX6" fmla="*/ 28484 w 77442"/>
                  <a:gd name="connsiteY6" fmla="*/ 4632 h 115731"/>
                  <a:gd name="connsiteX7" fmla="*/ 72421 w 77442"/>
                  <a:gd name="connsiteY7" fmla="*/ 45431 h 115731"/>
                  <a:gd name="connsiteX8" fmla="*/ 77443 w 77442"/>
                  <a:gd name="connsiteY8" fmla="*/ 57357 h 115731"/>
                  <a:gd name="connsiteX9" fmla="*/ 72421 w 77442"/>
                  <a:gd name="connsiteY9" fmla="*/ 69283 h 115731"/>
                  <a:gd name="connsiteX10" fmla="*/ 28484 w 77442"/>
                  <a:gd name="connsiteY10" fmla="*/ 110082 h 115731"/>
                  <a:gd name="connsiteX11" fmla="*/ 16558 w 77442"/>
                  <a:gd name="connsiteY11" fmla="*/ 115731 h 115731"/>
                  <a:gd name="connsiteX12" fmla="*/ 16558 w 77442"/>
                  <a:gd name="connsiteY12" fmla="*/ 115731 h 115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7442" h="115731">
                    <a:moveTo>
                      <a:pt x="16558" y="115731"/>
                    </a:moveTo>
                    <a:cubicBezTo>
                      <a:pt x="12164" y="115731"/>
                      <a:pt x="7770" y="113848"/>
                      <a:pt x="4632" y="110710"/>
                    </a:cubicBezTo>
                    <a:cubicBezTo>
                      <a:pt x="-1645" y="103805"/>
                      <a:pt x="-1017" y="93135"/>
                      <a:pt x="5259" y="86858"/>
                    </a:cubicBezTo>
                    <a:lnTo>
                      <a:pt x="36016" y="57985"/>
                    </a:lnTo>
                    <a:lnTo>
                      <a:pt x="5259" y="29112"/>
                    </a:lnTo>
                    <a:cubicBezTo>
                      <a:pt x="-1645" y="22835"/>
                      <a:pt x="-1645" y="12164"/>
                      <a:pt x="4632" y="5260"/>
                    </a:cubicBezTo>
                    <a:cubicBezTo>
                      <a:pt x="10909" y="-1645"/>
                      <a:pt x="21579" y="-1645"/>
                      <a:pt x="28484" y="4632"/>
                    </a:cubicBezTo>
                    <a:lnTo>
                      <a:pt x="72421" y="45431"/>
                    </a:lnTo>
                    <a:cubicBezTo>
                      <a:pt x="75560" y="48569"/>
                      <a:pt x="77443" y="52963"/>
                      <a:pt x="77443" y="57357"/>
                    </a:cubicBezTo>
                    <a:cubicBezTo>
                      <a:pt x="77443" y="61751"/>
                      <a:pt x="75560" y="66145"/>
                      <a:pt x="72421" y="69283"/>
                    </a:cubicBezTo>
                    <a:lnTo>
                      <a:pt x="28484" y="110082"/>
                    </a:lnTo>
                    <a:cubicBezTo>
                      <a:pt x="24718" y="114476"/>
                      <a:pt x="20951" y="115731"/>
                      <a:pt x="16558" y="115731"/>
                    </a:cubicBezTo>
                    <a:lnTo>
                      <a:pt x="16558" y="115731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0" name="Forma Livre: Forma 9">
                <a:extLst>
                  <a:ext uri="{FF2B5EF4-FFF2-40B4-BE49-F238E27FC236}">
                    <a16:creationId xmlns:a16="http://schemas.microsoft.com/office/drawing/2014/main" id="{75DC27EC-57E0-4A1A-84DF-6A92E4364ED3}"/>
                  </a:ext>
                </a:extLst>
              </p:cNvPr>
              <p:cNvSpPr/>
              <p:nvPr/>
            </p:nvSpPr>
            <p:spPr>
              <a:xfrm>
                <a:off x="6605406" y="4796041"/>
                <a:ext cx="164451" cy="33894"/>
              </a:xfrm>
              <a:custGeom>
                <a:avLst/>
                <a:gdLst>
                  <a:gd name="connsiteX0" fmla="*/ 147504 w 164451"/>
                  <a:gd name="connsiteY0" fmla="*/ 33894 h 33894"/>
                  <a:gd name="connsiteX1" fmla="*/ 16947 w 164451"/>
                  <a:gd name="connsiteY1" fmla="*/ 33894 h 33894"/>
                  <a:gd name="connsiteX2" fmla="*/ 0 w 164451"/>
                  <a:gd name="connsiteY2" fmla="*/ 16947 h 33894"/>
                  <a:gd name="connsiteX3" fmla="*/ 16947 w 164451"/>
                  <a:gd name="connsiteY3" fmla="*/ 0 h 33894"/>
                  <a:gd name="connsiteX4" fmla="*/ 147504 w 164451"/>
                  <a:gd name="connsiteY4" fmla="*/ 0 h 33894"/>
                  <a:gd name="connsiteX5" fmla="*/ 164452 w 164451"/>
                  <a:gd name="connsiteY5" fmla="*/ 16947 h 33894"/>
                  <a:gd name="connsiteX6" fmla="*/ 147504 w 164451"/>
                  <a:gd name="connsiteY6" fmla="*/ 33894 h 33894"/>
                  <a:gd name="connsiteX7" fmla="*/ 147504 w 164451"/>
                  <a:gd name="connsiteY7" fmla="*/ 33894 h 338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4451" h="33894">
                    <a:moveTo>
                      <a:pt x="147504" y="33894"/>
                    </a:moveTo>
                    <a:lnTo>
                      <a:pt x="16947" y="33894"/>
                    </a:lnTo>
                    <a:cubicBezTo>
                      <a:pt x="7532" y="33894"/>
                      <a:pt x="0" y="26362"/>
                      <a:pt x="0" y="16947"/>
                    </a:cubicBezTo>
                    <a:cubicBezTo>
                      <a:pt x="0" y="7532"/>
                      <a:pt x="7532" y="0"/>
                      <a:pt x="16947" y="0"/>
                    </a:cubicBezTo>
                    <a:lnTo>
                      <a:pt x="147504" y="0"/>
                    </a:lnTo>
                    <a:cubicBezTo>
                      <a:pt x="156920" y="0"/>
                      <a:pt x="164452" y="7532"/>
                      <a:pt x="164452" y="16947"/>
                    </a:cubicBezTo>
                    <a:cubicBezTo>
                      <a:pt x="164452" y="26362"/>
                      <a:pt x="156920" y="33894"/>
                      <a:pt x="147504" y="33894"/>
                    </a:cubicBezTo>
                    <a:lnTo>
                      <a:pt x="147504" y="33894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11" name="Gráfico 2">
              <a:extLst>
                <a:ext uri="{FF2B5EF4-FFF2-40B4-BE49-F238E27FC236}">
                  <a16:creationId xmlns:a16="http://schemas.microsoft.com/office/drawing/2014/main" id="{83F95F55-5D1D-4425-8D77-756B15108235}"/>
                </a:ext>
              </a:extLst>
            </p:cNvPr>
            <p:cNvGrpSpPr/>
            <p:nvPr/>
          </p:nvGrpSpPr>
          <p:grpSpPr>
            <a:xfrm>
              <a:off x="6606034" y="4660450"/>
              <a:ext cx="174494" cy="114249"/>
              <a:chOff x="6606034" y="4660450"/>
              <a:chExt cx="174494" cy="114249"/>
            </a:xfrm>
            <a:grpFill/>
          </p:grpSpPr>
          <p:sp>
            <p:nvSpPr>
              <p:cNvPr id="12" name="Forma Livre: Forma 11">
                <a:extLst>
                  <a:ext uri="{FF2B5EF4-FFF2-40B4-BE49-F238E27FC236}">
                    <a16:creationId xmlns:a16="http://schemas.microsoft.com/office/drawing/2014/main" id="{F526DCFC-ED18-4436-8EE6-C3CC439B905A}"/>
                  </a:ext>
                </a:extLst>
              </p:cNvPr>
              <p:cNvSpPr/>
              <p:nvPr/>
            </p:nvSpPr>
            <p:spPr>
              <a:xfrm>
                <a:off x="6606034" y="4660450"/>
                <a:ext cx="77442" cy="114249"/>
              </a:xfrm>
              <a:custGeom>
                <a:avLst/>
                <a:gdLst>
                  <a:gd name="connsiteX0" fmla="*/ 60257 w 77442"/>
                  <a:gd name="connsiteY0" fmla="*/ 114249 h 114249"/>
                  <a:gd name="connsiteX1" fmla="*/ 48959 w 77442"/>
                  <a:gd name="connsiteY1" fmla="*/ 109856 h 114249"/>
                  <a:gd name="connsiteX2" fmla="*/ 5021 w 77442"/>
                  <a:gd name="connsiteY2" fmla="*/ 69056 h 114249"/>
                  <a:gd name="connsiteX3" fmla="*/ 0 w 77442"/>
                  <a:gd name="connsiteY3" fmla="*/ 57131 h 114249"/>
                  <a:gd name="connsiteX4" fmla="*/ 5021 w 77442"/>
                  <a:gd name="connsiteY4" fmla="*/ 45205 h 114249"/>
                  <a:gd name="connsiteX5" fmla="*/ 48959 w 77442"/>
                  <a:gd name="connsiteY5" fmla="*/ 4406 h 114249"/>
                  <a:gd name="connsiteX6" fmla="*/ 72811 w 77442"/>
                  <a:gd name="connsiteY6" fmla="*/ 5033 h 114249"/>
                  <a:gd name="connsiteX7" fmla="*/ 72183 w 77442"/>
                  <a:gd name="connsiteY7" fmla="*/ 28885 h 114249"/>
                  <a:gd name="connsiteX8" fmla="*/ 41427 w 77442"/>
                  <a:gd name="connsiteY8" fmla="*/ 57758 h 114249"/>
                  <a:gd name="connsiteX9" fmla="*/ 72183 w 77442"/>
                  <a:gd name="connsiteY9" fmla="*/ 86631 h 114249"/>
                  <a:gd name="connsiteX10" fmla="*/ 72811 w 77442"/>
                  <a:gd name="connsiteY10" fmla="*/ 110483 h 114249"/>
                  <a:gd name="connsiteX11" fmla="*/ 60257 w 77442"/>
                  <a:gd name="connsiteY11" fmla="*/ 114249 h 114249"/>
                  <a:gd name="connsiteX12" fmla="*/ 60257 w 77442"/>
                  <a:gd name="connsiteY12" fmla="*/ 114249 h 114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7442" h="114249">
                    <a:moveTo>
                      <a:pt x="60257" y="114249"/>
                    </a:moveTo>
                    <a:cubicBezTo>
                      <a:pt x="56491" y="114249"/>
                      <a:pt x="52097" y="112994"/>
                      <a:pt x="48959" y="109856"/>
                    </a:cubicBezTo>
                    <a:lnTo>
                      <a:pt x="5021" y="69056"/>
                    </a:lnTo>
                    <a:cubicBezTo>
                      <a:pt x="1883" y="65918"/>
                      <a:pt x="0" y="61524"/>
                      <a:pt x="0" y="57131"/>
                    </a:cubicBezTo>
                    <a:cubicBezTo>
                      <a:pt x="0" y="52737"/>
                      <a:pt x="1883" y="48343"/>
                      <a:pt x="5021" y="45205"/>
                    </a:cubicBezTo>
                    <a:lnTo>
                      <a:pt x="48959" y="4406"/>
                    </a:lnTo>
                    <a:cubicBezTo>
                      <a:pt x="55864" y="-1871"/>
                      <a:pt x="66534" y="-1244"/>
                      <a:pt x="72811" y="5033"/>
                    </a:cubicBezTo>
                    <a:cubicBezTo>
                      <a:pt x="79088" y="11938"/>
                      <a:pt x="78460" y="22608"/>
                      <a:pt x="72183" y="28885"/>
                    </a:cubicBezTo>
                    <a:lnTo>
                      <a:pt x="41427" y="57758"/>
                    </a:lnTo>
                    <a:lnTo>
                      <a:pt x="72183" y="86631"/>
                    </a:lnTo>
                    <a:cubicBezTo>
                      <a:pt x="79088" y="92908"/>
                      <a:pt x="79088" y="103579"/>
                      <a:pt x="72811" y="110483"/>
                    </a:cubicBezTo>
                    <a:cubicBezTo>
                      <a:pt x="69045" y="112994"/>
                      <a:pt x="64651" y="114249"/>
                      <a:pt x="60257" y="114249"/>
                    </a:cubicBezTo>
                    <a:lnTo>
                      <a:pt x="60257" y="114249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3" name="Forma Livre: Forma 12">
                <a:extLst>
                  <a:ext uri="{FF2B5EF4-FFF2-40B4-BE49-F238E27FC236}">
                    <a16:creationId xmlns:a16="http://schemas.microsoft.com/office/drawing/2014/main" id="{6B055938-DDE2-438C-8BDD-F81B328A94CD}"/>
                  </a:ext>
                </a:extLst>
              </p:cNvPr>
              <p:cNvSpPr/>
              <p:nvPr/>
            </p:nvSpPr>
            <p:spPr>
              <a:xfrm>
                <a:off x="6616077" y="4700005"/>
                <a:ext cx="164451" cy="33894"/>
              </a:xfrm>
              <a:custGeom>
                <a:avLst/>
                <a:gdLst>
                  <a:gd name="connsiteX0" fmla="*/ 147504 w 164451"/>
                  <a:gd name="connsiteY0" fmla="*/ 33895 h 33894"/>
                  <a:gd name="connsiteX1" fmla="*/ 16947 w 164451"/>
                  <a:gd name="connsiteY1" fmla="*/ 33895 h 33894"/>
                  <a:gd name="connsiteX2" fmla="*/ 0 w 164451"/>
                  <a:gd name="connsiteY2" fmla="*/ 16947 h 33894"/>
                  <a:gd name="connsiteX3" fmla="*/ 16947 w 164451"/>
                  <a:gd name="connsiteY3" fmla="*/ 0 h 33894"/>
                  <a:gd name="connsiteX4" fmla="*/ 147504 w 164451"/>
                  <a:gd name="connsiteY4" fmla="*/ 0 h 33894"/>
                  <a:gd name="connsiteX5" fmla="*/ 164452 w 164451"/>
                  <a:gd name="connsiteY5" fmla="*/ 16947 h 33894"/>
                  <a:gd name="connsiteX6" fmla="*/ 147504 w 164451"/>
                  <a:gd name="connsiteY6" fmla="*/ 33895 h 33894"/>
                  <a:gd name="connsiteX7" fmla="*/ 147504 w 164451"/>
                  <a:gd name="connsiteY7" fmla="*/ 33895 h 338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4451" h="33894">
                    <a:moveTo>
                      <a:pt x="147504" y="33895"/>
                    </a:moveTo>
                    <a:lnTo>
                      <a:pt x="16947" y="33895"/>
                    </a:lnTo>
                    <a:cubicBezTo>
                      <a:pt x="7532" y="33895"/>
                      <a:pt x="0" y="26363"/>
                      <a:pt x="0" y="16947"/>
                    </a:cubicBezTo>
                    <a:cubicBezTo>
                      <a:pt x="0" y="7532"/>
                      <a:pt x="7532" y="0"/>
                      <a:pt x="16947" y="0"/>
                    </a:cubicBezTo>
                    <a:lnTo>
                      <a:pt x="147504" y="0"/>
                    </a:lnTo>
                    <a:cubicBezTo>
                      <a:pt x="156920" y="0"/>
                      <a:pt x="164452" y="7532"/>
                      <a:pt x="164452" y="16947"/>
                    </a:cubicBezTo>
                    <a:cubicBezTo>
                      <a:pt x="164452" y="26363"/>
                      <a:pt x="156920" y="33895"/>
                      <a:pt x="147504" y="33895"/>
                    </a:cubicBezTo>
                    <a:lnTo>
                      <a:pt x="147504" y="33895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14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7438930" y="4655440"/>
            <a:ext cx="387873" cy="387905"/>
            <a:chOff x="7438930" y="4655440"/>
            <a:chExt cx="387873" cy="387905"/>
          </a:xfrm>
          <a:solidFill>
            <a:srgbClr val="B1B1A1"/>
          </a:solidFill>
        </p:grpSpPr>
        <p:sp>
          <p:nvSpPr>
            <p:cNvPr id="15" name="Forma Livre: Forma 14">
              <a:extLst>
                <a:ext uri="{FF2B5EF4-FFF2-40B4-BE49-F238E27FC236}">
                  <a16:creationId xmlns:a16="http://schemas.microsoft.com/office/drawing/2014/main" id="{8A470ECA-8C41-42D5-B595-B6883780AA39}"/>
                </a:ext>
              </a:extLst>
            </p:cNvPr>
            <p:cNvSpPr/>
            <p:nvPr/>
          </p:nvSpPr>
          <p:spPr>
            <a:xfrm>
              <a:off x="7438930" y="4655440"/>
              <a:ext cx="387873" cy="387905"/>
            </a:xfrm>
            <a:custGeom>
              <a:avLst/>
              <a:gdLst>
                <a:gd name="connsiteX0" fmla="*/ 306341 w 387873"/>
                <a:gd name="connsiteY0" fmla="*/ 387905 h 387905"/>
                <a:gd name="connsiteX1" fmla="*/ 95441 w 387873"/>
                <a:gd name="connsiteY1" fmla="*/ 293754 h 387905"/>
                <a:gd name="connsiteX2" fmla="*/ 94185 w 387873"/>
                <a:gd name="connsiteY2" fmla="*/ 292498 h 387905"/>
                <a:gd name="connsiteX3" fmla="*/ 34 w 387873"/>
                <a:gd name="connsiteY3" fmla="*/ 75949 h 387905"/>
                <a:gd name="connsiteX4" fmla="*/ 34 w 387873"/>
                <a:gd name="connsiteY4" fmla="*/ 70300 h 387905"/>
                <a:gd name="connsiteX5" fmla="*/ 3800 w 387873"/>
                <a:gd name="connsiteY5" fmla="*/ 65906 h 387905"/>
                <a:gd name="connsiteX6" fmla="*/ 20119 w 387873"/>
                <a:gd name="connsiteY6" fmla="*/ 47703 h 387905"/>
                <a:gd name="connsiteX7" fmla="*/ 91047 w 387873"/>
                <a:gd name="connsiteY7" fmla="*/ 1883 h 387905"/>
                <a:gd name="connsiteX8" fmla="*/ 101718 w 387873"/>
                <a:gd name="connsiteY8" fmla="*/ 0 h 387905"/>
                <a:gd name="connsiteX9" fmla="*/ 136240 w 387873"/>
                <a:gd name="connsiteY9" fmla="*/ 18830 h 387905"/>
                <a:gd name="connsiteX10" fmla="*/ 165113 w 387873"/>
                <a:gd name="connsiteY10" fmla="*/ 108588 h 387905"/>
                <a:gd name="connsiteX11" fmla="*/ 152560 w 387873"/>
                <a:gd name="connsiteY11" fmla="*/ 146877 h 387905"/>
                <a:gd name="connsiteX12" fmla="*/ 123059 w 387873"/>
                <a:gd name="connsiteY12" fmla="*/ 165707 h 387905"/>
                <a:gd name="connsiteX13" fmla="*/ 126825 w 387873"/>
                <a:gd name="connsiteY13" fmla="*/ 175750 h 387905"/>
                <a:gd name="connsiteX14" fmla="*/ 166369 w 387873"/>
                <a:gd name="connsiteY14" fmla="*/ 222198 h 387905"/>
                <a:gd name="connsiteX15" fmla="*/ 212189 w 387873"/>
                <a:gd name="connsiteY15" fmla="*/ 261114 h 387905"/>
                <a:gd name="connsiteX16" fmla="*/ 221604 w 387873"/>
                <a:gd name="connsiteY16" fmla="*/ 264880 h 387905"/>
                <a:gd name="connsiteX17" fmla="*/ 223487 w 387873"/>
                <a:gd name="connsiteY17" fmla="*/ 264880 h 387905"/>
                <a:gd name="connsiteX18" fmla="*/ 241690 w 387873"/>
                <a:gd name="connsiteY18" fmla="*/ 236007 h 387905"/>
                <a:gd name="connsiteX19" fmla="*/ 272446 w 387873"/>
                <a:gd name="connsiteY19" fmla="*/ 222826 h 387905"/>
                <a:gd name="connsiteX20" fmla="*/ 278723 w 387873"/>
                <a:gd name="connsiteY20" fmla="*/ 223453 h 387905"/>
                <a:gd name="connsiteX21" fmla="*/ 370364 w 387873"/>
                <a:gd name="connsiteY21" fmla="*/ 252954 h 387905"/>
                <a:gd name="connsiteX22" fmla="*/ 386056 w 387873"/>
                <a:gd name="connsiteY22" fmla="*/ 297520 h 387905"/>
                <a:gd name="connsiteX23" fmla="*/ 340235 w 387873"/>
                <a:gd name="connsiteY23" fmla="*/ 368447 h 387905"/>
                <a:gd name="connsiteX24" fmla="*/ 322033 w 387873"/>
                <a:gd name="connsiteY24" fmla="*/ 384767 h 387905"/>
                <a:gd name="connsiteX25" fmla="*/ 317639 w 387873"/>
                <a:gd name="connsiteY25" fmla="*/ 387905 h 387905"/>
                <a:gd name="connsiteX26" fmla="*/ 306341 w 387873"/>
                <a:gd name="connsiteY26" fmla="*/ 387905 h 387905"/>
                <a:gd name="connsiteX27" fmla="*/ 306341 w 387873"/>
                <a:gd name="connsiteY27" fmla="*/ 387905 h 387905"/>
                <a:gd name="connsiteX28" fmla="*/ 33301 w 387873"/>
                <a:gd name="connsiteY28" fmla="*/ 82226 h 387905"/>
                <a:gd name="connsiteX29" fmla="*/ 117410 w 387873"/>
                <a:gd name="connsiteY29" fmla="*/ 268646 h 387905"/>
                <a:gd name="connsiteX30" fmla="*/ 119293 w 387873"/>
                <a:gd name="connsiteY30" fmla="*/ 270529 h 387905"/>
                <a:gd name="connsiteX31" fmla="*/ 305085 w 387873"/>
                <a:gd name="connsiteY31" fmla="*/ 354011 h 387905"/>
                <a:gd name="connsiteX32" fmla="*/ 316384 w 387873"/>
                <a:gd name="connsiteY32" fmla="*/ 343968 h 387905"/>
                <a:gd name="connsiteX33" fmla="*/ 354672 w 387873"/>
                <a:gd name="connsiteY33" fmla="*/ 284966 h 387905"/>
                <a:gd name="connsiteX34" fmla="*/ 353417 w 387873"/>
                <a:gd name="connsiteY34" fmla="*/ 281200 h 387905"/>
                <a:gd name="connsiteX35" fmla="*/ 271191 w 387873"/>
                <a:gd name="connsiteY35" fmla="*/ 255465 h 387905"/>
                <a:gd name="connsiteX36" fmla="*/ 267425 w 387873"/>
                <a:gd name="connsiteY36" fmla="*/ 256093 h 387905"/>
                <a:gd name="connsiteX37" fmla="*/ 250478 w 387873"/>
                <a:gd name="connsiteY37" fmla="*/ 282455 h 387905"/>
                <a:gd name="connsiteX38" fmla="*/ 192731 w 387873"/>
                <a:gd name="connsiteY38" fmla="*/ 287477 h 387905"/>
                <a:gd name="connsiteX39" fmla="*/ 143144 w 387873"/>
                <a:gd name="connsiteY39" fmla="*/ 244795 h 387905"/>
                <a:gd name="connsiteX40" fmla="*/ 100462 w 387873"/>
                <a:gd name="connsiteY40" fmla="*/ 194580 h 387905"/>
                <a:gd name="connsiteX41" fmla="*/ 91047 w 387873"/>
                <a:gd name="connsiteY41" fmla="*/ 158175 h 387905"/>
                <a:gd name="connsiteX42" fmla="*/ 105484 w 387873"/>
                <a:gd name="connsiteY42" fmla="*/ 136834 h 387905"/>
                <a:gd name="connsiteX43" fmla="*/ 131846 w 387873"/>
                <a:gd name="connsiteY43" fmla="*/ 119886 h 387905"/>
                <a:gd name="connsiteX44" fmla="*/ 132474 w 387873"/>
                <a:gd name="connsiteY44" fmla="*/ 115493 h 387905"/>
                <a:gd name="connsiteX45" fmla="*/ 106112 w 387873"/>
                <a:gd name="connsiteY45" fmla="*/ 33895 h 387905"/>
                <a:gd name="connsiteX46" fmla="*/ 101718 w 387873"/>
                <a:gd name="connsiteY46" fmla="*/ 32639 h 387905"/>
                <a:gd name="connsiteX47" fmla="*/ 43344 w 387873"/>
                <a:gd name="connsiteY47" fmla="*/ 70928 h 387905"/>
                <a:gd name="connsiteX48" fmla="*/ 33301 w 387873"/>
                <a:gd name="connsiteY48" fmla="*/ 82226 h 387905"/>
                <a:gd name="connsiteX49" fmla="*/ 33301 w 387873"/>
                <a:gd name="connsiteY49" fmla="*/ 82226 h 387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387873" h="387905">
                  <a:moveTo>
                    <a:pt x="306341" y="387905"/>
                  </a:moveTo>
                  <a:cubicBezTo>
                    <a:pt x="232275" y="387905"/>
                    <a:pt x="155070" y="353383"/>
                    <a:pt x="95441" y="293754"/>
                  </a:cubicBezTo>
                  <a:lnTo>
                    <a:pt x="94185" y="292498"/>
                  </a:lnTo>
                  <a:cubicBezTo>
                    <a:pt x="32673" y="230986"/>
                    <a:pt x="-1222" y="151898"/>
                    <a:pt x="34" y="75949"/>
                  </a:cubicBezTo>
                  <a:lnTo>
                    <a:pt x="34" y="70300"/>
                  </a:lnTo>
                  <a:lnTo>
                    <a:pt x="3800" y="65906"/>
                  </a:lnTo>
                  <a:cubicBezTo>
                    <a:pt x="9449" y="59002"/>
                    <a:pt x="14470" y="53353"/>
                    <a:pt x="20119" y="47703"/>
                  </a:cubicBezTo>
                  <a:cubicBezTo>
                    <a:pt x="40205" y="27618"/>
                    <a:pt x="64057" y="11926"/>
                    <a:pt x="91047" y="1883"/>
                  </a:cubicBezTo>
                  <a:cubicBezTo>
                    <a:pt x="94185" y="628"/>
                    <a:pt x="97951" y="0"/>
                    <a:pt x="101718" y="0"/>
                  </a:cubicBezTo>
                  <a:cubicBezTo>
                    <a:pt x="110505" y="0"/>
                    <a:pt x="131219" y="4394"/>
                    <a:pt x="136240" y="18830"/>
                  </a:cubicBezTo>
                  <a:cubicBezTo>
                    <a:pt x="145027" y="43938"/>
                    <a:pt x="156953" y="77204"/>
                    <a:pt x="165113" y="108588"/>
                  </a:cubicBezTo>
                  <a:cubicBezTo>
                    <a:pt x="167624" y="118004"/>
                    <a:pt x="164486" y="139345"/>
                    <a:pt x="152560" y="146877"/>
                  </a:cubicBezTo>
                  <a:lnTo>
                    <a:pt x="123059" y="165707"/>
                  </a:lnTo>
                  <a:cubicBezTo>
                    <a:pt x="123059" y="165707"/>
                    <a:pt x="123059" y="170729"/>
                    <a:pt x="126825" y="175750"/>
                  </a:cubicBezTo>
                  <a:cubicBezTo>
                    <a:pt x="138123" y="191442"/>
                    <a:pt x="151304" y="207134"/>
                    <a:pt x="166369" y="222198"/>
                  </a:cubicBezTo>
                  <a:cubicBezTo>
                    <a:pt x="181433" y="236635"/>
                    <a:pt x="196497" y="249816"/>
                    <a:pt x="212189" y="261114"/>
                  </a:cubicBezTo>
                  <a:cubicBezTo>
                    <a:pt x="215327" y="263625"/>
                    <a:pt x="218466" y="264880"/>
                    <a:pt x="221604" y="264880"/>
                  </a:cubicBezTo>
                  <a:cubicBezTo>
                    <a:pt x="222860" y="264880"/>
                    <a:pt x="222860" y="264880"/>
                    <a:pt x="223487" y="264880"/>
                  </a:cubicBezTo>
                  <a:lnTo>
                    <a:pt x="241690" y="236007"/>
                  </a:lnTo>
                  <a:cubicBezTo>
                    <a:pt x="249850" y="223453"/>
                    <a:pt x="270563" y="222826"/>
                    <a:pt x="272446" y="222826"/>
                  </a:cubicBezTo>
                  <a:cubicBezTo>
                    <a:pt x="274957" y="222826"/>
                    <a:pt x="276840" y="222826"/>
                    <a:pt x="278723" y="223453"/>
                  </a:cubicBezTo>
                  <a:cubicBezTo>
                    <a:pt x="317639" y="232241"/>
                    <a:pt x="340864" y="239773"/>
                    <a:pt x="370364" y="252954"/>
                  </a:cubicBezTo>
                  <a:cubicBezTo>
                    <a:pt x="383545" y="259231"/>
                    <a:pt x="391705" y="283083"/>
                    <a:pt x="386056" y="297520"/>
                  </a:cubicBezTo>
                  <a:cubicBezTo>
                    <a:pt x="376013" y="323882"/>
                    <a:pt x="360321" y="347734"/>
                    <a:pt x="340235" y="368447"/>
                  </a:cubicBezTo>
                  <a:cubicBezTo>
                    <a:pt x="334587" y="374096"/>
                    <a:pt x="328310" y="379746"/>
                    <a:pt x="322033" y="384767"/>
                  </a:cubicBezTo>
                  <a:lnTo>
                    <a:pt x="317639" y="387905"/>
                  </a:lnTo>
                  <a:lnTo>
                    <a:pt x="306341" y="387905"/>
                  </a:lnTo>
                  <a:lnTo>
                    <a:pt x="306341" y="387905"/>
                  </a:lnTo>
                  <a:close/>
                  <a:moveTo>
                    <a:pt x="33301" y="82226"/>
                  </a:moveTo>
                  <a:cubicBezTo>
                    <a:pt x="33301" y="146877"/>
                    <a:pt x="64685" y="215922"/>
                    <a:pt x="117410" y="268646"/>
                  </a:cubicBezTo>
                  <a:lnTo>
                    <a:pt x="119293" y="270529"/>
                  </a:lnTo>
                  <a:cubicBezTo>
                    <a:pt x="172018" y="323255"/>
                    <a:pt x="239807" y="354011"/>
                    <a:pt x="305085" y="354011"/>
                  </a:cubicBezTo>
                  <a:cubicBezTo>
                    <a:pt x="308851" y="350873"/>
                    <a:pt x="312618" y="347106"/>
                    <a:pt x="316384" y="343968"/>
                  </a:cubicBezTo>
                  <a:cubicBezTo>
                    <a:pt x="333331" y="327020"/>
                    <a:pt x="346512" y="306935"/>
                    <a:pt x="354672" y="284966"/>
                  </a:cubicBezTo>
                  <a:cubicBezTo>
                    <a:pt x="354672" y="284966"/>
                    <a:pt x="354045" y="283083"/>
                    <a:pt x="353417" y="281200"/>
                  </a:cubicBezTo>
                  <a:cubicBezTo>
                    <a:pt x="327682" y="269902"/>
                    <a:pt x="306341" y="262998"/>
                    <a:pt x="271191" y="255465"/>
                  </a:cubicBezTo>
                  <a:cubicBezTo>
                    <a:pt x="270563" y="255465"/>
                    <a:pt x="268680" y="256093"/>
                    <a:pt x="267425" y="256093"/>
                  </a:cubicBezTo>
                  <a:lnTo>
                    <a:pt x="250478" y="282455"/>
                  </a:lnTo>
                  <a:cubicBezTo>
                    <a:pt x="239807" y="299403"/>
                    <a:pt x="212189" y="301913"/>
                    <a:pt x="192731" y="287477"/>
                  </a:cubicBezTo>
                  <a:cubicBezTo>
                    <a:pt x="175784" y="274923"/>
                    <a:pt x="158836" y="261114"/>
                    <a:pt x="143144" y="244795"/>
                  </a:cubicBezTo>
                  <a:cubicBezTo>
                    <a:pt x="126825" y="228475"/>
                    <a:pt x="113016" y="211528"/>
                    <a:pt x="100462" y="194580"/>
                  </a:cubicBezTo>
                  <a:cubicBezTo>
                    <a:pt x="92303" y="183282"/>
                    <a:pt x="89164" y="170101"/>
                    <a:pt x="91047" y="158175"/>
                  </a:cubicBezTo>
                  <a:cubicBezTo>
                    <a:pt x="92930" y="148760"/>
                    <a:pt x="97951" y="141228"/>
                    <a:pt x="105484" y="136834"/>
                  </a:cubicBezTo>
                  <a:lnTo>
                    <a:pt x="131846" y="119886"/>
                  </a:lnTo>
                  <a:cubicBezTo>
                    <a:pt x="132474" y="118631"/>
                    <a:pt x="132474" y="116121"/>
                    <a:pt x="132474" y="115493"/>
                  </a:cubicBezTo>
                  <a:cubicBezTo>
                    <a:pt x="124942" y="87875"/>
                    <a:pt x="114899" y="57747"/>
                    <a:pt x="106112" y="33895"/>
                  </a:cubicBezTo>
                  <a:cubicBezTo>
                    <a:pt x="104856" y="33267"/>
                    <a:pt x="102973" y="32639"/>
                    <a:pt x="101718" y="32639"/>
                  </a:cubicBezTo>
                  <a:cubicBezTo>
                    <a:pt x="80376" y="40799"/>
                    <a:pt x="60919" y="53980"/>
                    <a:pt x="43344" y="70928"/>
                  </a:cubicBezTo>
                  <a:cubicBezTo>
                    <a:pt x="40205" y="74694"/>
                    <a:pt x="37067" y="78460"/>
                    <a:pt x="33301" y="82226"/>
                  </a:cubicBezTo>
                  <a:lnTo>
                    <a:pt x="33301" y="82226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16" name="Gráfico 2">
              <a:extLst>
                <a:ext uri="{FF2B5EF4-FFF2-40B4-BE49-F238E27FC236}">
                  <a16:creationId xmlns:a16="http://schemas.microsoft.com/office/drawing/2014/main" id="{83F95F55-5D1D-4425-8D77-756B15108235}"/>
                </a:ext>
              </a:extLst>
            </p:cNvPr>
            <p:cNvGrpSpPr/>
            <p:nvPr/>
          </p:nvGrpSpPr>
          <p:grpSpPr>
            <a:xfrm>
              <a:off x="7644802" y="4696553"/>
              <a:ext cx="138442" cy="138403"/>
              <a:chOff x="7644802" y="4696553"/>
              <a:chExt cx="138442" cy="138403"/>
            </a:xfrm>
            <a:grpFill/>
          </p:grpSpPr>
          <p:sp>
            <p:nvSpPr>
              <p:cNvPr id="17" name="Forma Livre: Forma 16">
                <a:extLst>
                  <a:ext uri="{FF2B5EF4-FFF2-40B4-BE49-F238E27FC236}">
                    <a16:creationId xmlns:a16="http://schemas.microsoft.com/office/drawing/2014/main" id="{1CB4A369-2198-48C0-93B3-1B706643E400}"/>
                  </a:ext>
                </a:extLst>
              </p:cNvPr>
              <p:cNvSpPr/>
              <p:nvPr/>
            </p:nvSpPr>
            <p:spPr>
              <a:xfrm>
                <a:off x="7644802" y="4714403"/>
                <a:ext cx="121221" cy="120553"/>
              </a:xfrm>
              <a:custGeom>
                <a:avLst/>
                <a:gdLst>
                  <a:gd name="connsiteX0" fmla="*/ 104234 w 121221"/>
                  <a:gd name="connsiteY0" fmla="*/ 120554 h 120553"/>
                  <a:gd name="connsiteX1" fmla="*/ 102979 w 121221"/>
                  <a:gd name="connsiteY1" fmla="*/ 120554 h 120553"/>
                  <a:gd name="connsiteX2" fmla="*/ 20753 w 121221"/>
                  <a:gd name="connsiteY2" fmla="*/ 115532 h 120553"/>
                  <a:gd name="connsiteX3" fmla="*/ 5061 w 121221"/>
                  <a:gd name="connsiteY3" fmla="*/ 99840 h 120553"/>
                  <a:gd name="connsiteX4" fmla="*/ 40 w 121221"/>
                  <a:gd name="connsiteY4" fmla="*/ 17615 h 120553"/>
                  <a:gd name="connsiteX5" fmla="*/ 15732 w 121221"/>
                  <a:gd name="connsiteY5" fmla="*/ 40 h 120553"/>
                  <a:gd name="connsiteX6" fmla="*/ 33306 w 121221"/>
                  <a:gd name="connsiteY6" fmla="*/ 15732 h 120553"/>
                  <a:gd name="connsiteX7" fmla="*/ 37700 w 121221"/>
                  <a:gd name="connsiteY7" fmla="*/ 83521 h 120553"/>
                  <a:gd name="connsiteX8" fmla="*/ 105490 w 121221"/>
                  <a:gd name="connsiteY8" fmla="*/ 87915 h 120553"/>
                  <a:gd name="connsiteX9" fmla="*/ 121181 w 121221"/>
                  <a:gd name="connsiteY9" fmla="*/ 105490 h 120553"/>
                  <a:gd name="connsiteX10" fmla="*/ 104234 w 121221"/>
                  <a:gd name="connsiteY10" fmla="*/ 120554 h 120553"/>
                  <a:gd name="connsiteX11" fmla="*/ 104234 w 121221"/>
                  <a:gd name="connsiteY11" fmla="*/ 120554 h 120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1221" h="120553">
                    <a:moveTo>
                      <a:pt x="104234" y="120554"/>
                    </a:moveTo>
                    <a:cubicBezTo>
                      <a:pt x="103607" y="120554"/>
                      <a:pt x="103607" y="120554"/>
                      <a:pt x="102979" y="120554"/>
                    </a:cubicBezTo>
                    <a:lnTo>
                      <a:pt x="20753" y="115532"/>
                    </a:lnTo>
                    <a:cubicBezTo>
                      <a:pt x="12593" y="114905"/>
                      <a:pt x="5689" y="108000"/>
                      <a:pt x="5061" y="99840"/>
                    </a:cubicBezTo>
                    <a:lnTo>
                      <a:pt x="40" y="17615"/>
                    </a:lnTo>
                    <a:cubicBezTo>
                      <a:pt x="-588" y="8199"/>
                      <a:pt x="6316" y="667"/>
                      <a:pt x="15732" y="40"/>
                    </a:cubicBezTo>
                    <a:cubicBezTo>
                      <a:pt x="25147" y="-588"/>
                      <a:pt x="32679" y="6316"/>
                      <a:pt x="33306" y="15732"/>
                    </a:cubicBezTo>
                    <a:lnTo>
                      <a:pt x="37700" y="83521"/>
                    </a:lnTo>
                    <a:lnTo>
                      <a:pt x="105490" y="87915"/>
                    </a:lnTo>
                    <a:cubicBezTo>
                      <a:pt x="114905" y="88542"/>
                      <a:pt x="121809" y="96702"/>
                      <a:pt x="121181" y="105490"/>
                    </a:cubicBezTo>
                    <a:cubicBezTo>
                      <a:pt x="120554" y="113649"/>
                      <a:pt x="113022" y="120554"/>
                      <a:pt x="104234" y="120554"/>
                    </a:cubicBezTo>
                    <a:lnTo>
                      <a:pt x="104234" y="120554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8" name="Forma Livre: Forma 17">
                <a:extLst>
                  <a:ext uri="{FF2B5EF4-FFF2-40B4-BE49-F238E27FC236}">
                    <a16:creationId xmlns:a16="http://schemas.microsoft.com/office/drawing/2014/main" id="{C139A3F2-F944-430F-AA24-28F06141F8B5}"/>
                  </a:ext>
                </a:extLst>
              </p:cNvPr>
              <p:cNvSpPr/>
              <p:nvPr/>
            </p:nvSpPr>
            <p:spPr>
              <a:xfrm>
                <a:off x="7657709" y="4696553"/>
                <a:ext cx="125535" cy="125849"/>
              </a:xfrm>
              <a:custGeom>
                <a:avLst/>
                <a:gdLst>
                  <a:gd name="connsiteX0" fmla="*/ 16634 w 125535"/>
                  <a:gd name="connsiteY0" fmla="*/ 125849 h 125849"/>
                  <a:gd name="connsiteX1" fmla="*/ 4708 w 125535"/>
                  <a:gd name="connsiteY1" fmla="*/ 120828 h 125849"/>
                  <a:gd name="connsiteX2" fmla="*/ 4708 w 125535"/>
                  <a:gd name="connsiteY2" fmla="*/ 96976 h 125849"/>
                  <a:gd name="connsiteX3" fmla="*/ 96977 w 125535"/>
                  <a:gd name="connsiteY3" fmla="*/ 4708 h 125849"/>
                  <a:gd name="connsiteX4" fmla="*/ 120828 w 125535"/>
                  <a:gd name="connsiteY4" fmla="*/ 4708 h 125849"/>
                  <a:gd name="connsiteX5" fmla="*/ 120828 w 125535"/>
                  <a:gd name="connsiteY5" fmla="*/ 28559 h 125849"/>
                  <a:gd name="connsiteX6" fmla="*/ 28560 w 125535"/>
                  <a:gd name="connsiteY6" fmla="*/ 120828 h 125849"/>
                  <a:gd name="connsiteX7" fmla="*/ 16634 w 125535"/>
                  <a:gd name="connsiteY7" fmla="*/ 125849 h 125849"/>
                  <a:gd name="connsiteX8" fmla="*/ 16634 w 125535"/>
                  <a:gd name="connsiteY8" fmla="*/ 125849 h 1258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5535" h="125849">
                    <a:moveTo>
                      <a:pt x="16634" y="125849"/>
                    </a:moveTo>
                    <a:cubicBezTo>
                      <a:pt x="12240" y="125849"/>
                      <a:pt x="7846" y="123967"/>
                      <a:pt x="4708" y="120828"/>
                    </a:cubicBezTo>
                    <a:cubicBezTo>
                      <a:pt x="-1569" y="114551"/>
                      <a:pt x="-1569" y="103881"/>
                      <a:pt x="4708" y="96976"/>
                    </a:cubicBezTo>
                    <a:lnTo>
                      <a:pt x="96977" y="4708"/>
                    </a:lnTo>
                    <a:cubicBezTo>
                      <a:pt x="103254" y="-1569"/>
                      <a:pt x="113924" y="-1569"/>
                      <a:pt x="120828" y="4708"/>
                    </a:cubicBezTo>
                    <a:cubicBezTo>
                      <a:pt x="127105" y="10984"/>
                      <a:pt x="127105" y="21655"/>
                      <a:pt x="120828" y="28559"/>
                    </a:cubicBezTo>
                    <a:lnTo>
                      <a:pt x="28560" y="120828"/>
                    </a:lnTo>
                    <a:cubicBezTo>
                      <a:pt x="24793" y="123967"/>
                      <a:pt x="21027" y="125849"/>
                      <a:pt x="16634" y="125849"/>
                    </a:cubicBezTo>
                    <a:lnTo>
                      <a:pt x="16634" y="125849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19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8463260" y="4655440"/>
            <a:ext cx="387913" cy="387905"/>
            <a:chOff x="8463260" y="4655440"/>
            <a:chExt cx="387913" cy="387905"/>
          </a:xfrm>
          <a:solidFill>
            <a:srgbClr val="B1B1A1"/>
          </a:solidFill>
        </p:grpSpPr>
        <p:sp>
          <p:nvSpPr>
            <p:cNvPr id="20" name="Forma Livre: Forma 19">
              <a:extLst>
                <a:ext uri="{FF2B5EF4-FFF2-40B4-BE49-F238E27FC236}">
                  <a16:creationId xmlns:a16="http://schemas.microsoft.com/office/drawing/2014/main" id="{1B2E2B86-FA89-411A-9D8F-252358FDB177}"/>
                </a:ext>
              </a:extLst>
            </p:cNvPr>
            <p:cNvSpPr/>
            <p:nvPr/>
          </p:nvSpPr>
          <p:spPr>
            <a:xfrm>
              <a:off x="8463260" y="4655440"/>
              <a:ext cx="387913" cy="387905"/>
            </a:xfrm>
            <a:custGeom>
              <a:avLst/>
              <a:gdLst>
                <a:gd name="connsiteX0" fmla="*/ 305754 w 387913"/>
                <a:gd name="connsiteY0" fmla="*/ 387905 h 387905"/>
                <a:gd name="connsiteX1" fmla="*/ 94855 w 387913"/>
                <a:gd name="connsiteY1" fmla="*/ 293754 h 387905"/>
                <a:gd name="connsiteX2" fmla="*/ 93599 w 387913"/>
                <a:gd name="connsiteY2" fmla="*/ 292498 h 387905"/>
                <a:gd name="connsiteX3" fmla="*/ 74 w 387913"/>
                <a:gd name="connsiteY3" fmla="*/ 75949 h 387905"/>
                <a:gd name="connsiteX4" fmla="*/ 74 w 387913"/>
                <a:gd name="connsiteY4" fmla="*/ 70300 h 387905"/>
                <a:gd name="connsiteX5" fmla="*/ 3841 w 387913"/>
                <a:gd name="connsiteY5" fmla="*/ 65906 h 387905"/>
                <a:gd name="connsiteX6" fmla="*/ 20161 w 387913"/>
                <a:gd name="connsiteY6" fmla="*/ 47703 h 387905"/>
                <a:gd name="connsiteX7" fmla="*/ 91088 w 387913"/>
                <a:gd name="connsiteY7" fmla="*/ 1883 h 387905"/>
                <a:gd name="connsiteX8" fmla="*/ 101759 w 387913"/>
                <a:gd name="connsiteY8" fmla="*/ 0 h 387905"/>
                <a:gd name="connsiteX9" fmla="*/ 136281 w 387913"/>
                <a:gd name="connsiteY9" fmla="*/ 18830 h 387905"/>
                <a:gd name="connsiteX10" fmla="*/ 165154 w 387913"/>
                <a:gd name="connsiteY10" fmla="*/ 108588 h 387905"/>
                <a:gd name="connsiteX11" fmla="*/ 152601 w 387913"/>
                <a:gd name="connsiteY11" fmla="*/ 146877 h 387905"/>
                <a:gd name="connsiteX12" fmla="*/ 123100 w 387913"/>
                <a:gd name="connsiteY12" fmla="*/ 165707 h 387905"/>
                <a:gd name="connsiteX13" fmla="*/ 126866 w 387913"/>
                <a:gd name="connsiteY13" fmla="*/ 175750 h 387905"/>
                <a:gd name="connsiteX14" fmla="*/ 166409 w 387913"/>
                <a:gd name="connsiteY14" fmla="*/ 222198 h 387905"/>
                <a:gd name="connsiteX15" fmla="*/ 212230 w 387913"/>
                <a:gd name="connsiteY15" fmla="*/ 261114 h 387905"/>
                <a:gd name="connsiteX16" fmla="*/ 221645 w 387913"/>
                <a:gd name="connsiteY16" fmla="*/ 264880 h 387905"/>
                <a:gd name="connsiteX17" fmla="*/ 223529 w 387913"/>
                <a:gd name="connsiteY17" fmla="*/ 264880 h 387905"/>
                <a:gd name="connsiteX18" fmla="*/ 241731 w 387913"/>
                <a:gd name="connsiteY18" fmla="*/ 236007 h 387905"/>
                <a:gd name="connsiteX19" fmla="*/ 272487 w 387913"/>
                <a:gd name="connsiteY19" fmla="*/ 222826 h 387905"/>
                <a:gd name="connsiteX20" fmla="*/ 278764 w 387913"/>
                <a:gd name="connsiteY20" fmla="*/ 223453 h 387905"/>
                <a:gd name="connsiteX21" fmla="*/ 370405 w 387913"/>
                <a:gd name="connsiteY21" fmla="*/ 252954 h 387905"/>
                <a:gd name="connsiteX22" fmla="*/ 386097 w 387913"/>
                <a:gd name="connsiteY22" fmla="*/ 297520 h 387905"/>
                <a:gd name="connsiteX23" fmla="*/ 340277 w 387913"/>
                <a:gd name="connsiteY23" fmla="*/ 368447 h 387905"/>
                <a:gd name="connsiteX24" fmla="*/ 322074 w 387913"/>
                <a:gd name="connsiteY24" fmla="*/ 384767 h 387905"/>
                <a:gd name="connsiteX25" fmla="*/ 317680 w 387913"/>
                <a:gd name="connsiteY25" fmla="*/ 387905 h 387905"/>
                <a:gd name="connsiteX26" fmla="*/ 305754 w 387913"/>
                <a:gd name="connsiteY26" fmla="*/ 387905 h 387905"/>
                <a:gd name="connsiteX27" fmla="*/ 305754 w 387913"/>
                <a:gd name="connsiteY27" fmla="*/ 387905 h 387905"/>
                <a:gd name="connsiteX28" fmla="*/ 33342 w 387913"/>
                <a:gd name="connsiteY28" fmla="*/ 82226 h 387905"/>
                <a:gd name="connsiteX29" fmla="*/ 117451 w 387913"/>
                <a:gd name="connsiteY29" fmla="*/ 268646 h 387905"/>
                <a:gd name="connsiteX30" fmla="*/ 119333 w 387913"/>
                <a:gd name="connsiteY30" fmla="*/ 270529 h 387905"/>
                <a:gd name="connsiteX31" fmla="*/ 305127 w 387913"/>
                <a:gd name="connsiteY31" fmla="*/ 354011 h 387905"/>
                <a:gd name="connsiteX32" fmla="*/ 316425 w 387913"/>
                <a:gd name="connsiteY32" fmla="*/ 343968 h 387905"/>
                <a:gd name="connsiteX33" fmla="*/ 354713 w 387913"/>
                <a:gd name="connsiteY33" fmla="*/ 284966 h 387905"/>
                <a:gd name="connsiteX34" fmla="*/ 353458 w 387913"/>
                <a:gd name="connsiteY34" fmla="*/ 281200 h 387905"/>
                <a:gd name="connsiteX35" fmla="*/ 271232 w 387913"/>
                <a:gd name="connsiteY35" fmla="*/ 255465 h 387905"/>
                <a:gd name="connsiteX36" fmla="*/ 267466 w 387913"/>
                <a:gd name="connsiteY36" fmla="*/ 256093 h 387905"/>
                <a:gd name="connsiteX37" fmla="*/ 250518 w 387913"/>
                <a:gd name="connsiteY37" fmla="*/ 282455 h 387905"/>
                <a:gd name="connsiteX38" fmla="*/ 192772 w 387913"/>
                <a:gd name="connsiteY38" fmla="*/ 287477 h 387905"/>
                <a:gd name="connsiteX39" fmla="*/ 143185 w 387913"/>
                <a:gd name="connsiteY39" fmla="*/ 244795 h 387905"/>
                <a:gd name="connsiteX40" fmla="*/ 100503 w 387913"/>
                <a:gd name="connsiteY40" fmla="*/ 194580 h 387905"/>
                <a:gd name="connsiteX41" fmla="*/ 91088 w 387913"/>
                <a:gd name="connsiteY41" fmla="*/ 158175 h 387905"/>
                <a:gd name="connsiteX42" fmla="*/ 105525 w 387913"/>
                <a:gd name="connsiteY42" fmla="*/ 136834 h 387905"/>
                <a:gd name="connsiteX43" fmla="*/ 131887 w 387913"/>
                <a:gd name="connsiteY43" fmla="*/ 119886 h 387905"/>
                <a:gd name="connsiteX44" fmla="*/ 132515 w 387913"/>
                <a:gd name="connsiteY44" fmla="*/ 115493 h 387905"/>
                <a:gd name="connsiteX45" fmla="*/ 106152 w 387913"/>
                <a:gd name="connsiteY45" fmla="*/ 33895 h 387905"/>
                <a:gd name="connsiteX46" fmla="*/ 101759 w 387913"/>
                <a:gd name="connsiteY46" fmla="*/ 32639 h 387905"/>
                <a:gd name="connsiteX47" fmla="*/ 43384 w 387913"/>
                <a:gd name="connsiteY47" fmla="*/ 70928 h 387905"/>
                <a:gd name="connsiteX48" fmla="*/ 33342 w 387913"/>
                <a:gd name="connsiteY48" fmla="*/ 82226 h 387905"/>
                <a:gd name="connsiteX49" fmla="*/ 33342 w 387913"/>
                <a:gd name="connsiteY49" fmla="*/ 82226 h 387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387913" h="387905">
                  <a:moveTo>
                    <a:pt x="305754" y="387905"/>
                  </a:moveTo>
                  <a:cubicBezTo>
                    <a:pt x="231688" y="387905"/>
                    <a:pt x="154484" y="353383"/>
                    <a:pt x="94855" y="293754"/>
                  </a:cubicBezTo>
                  <a:lnTo>
                    <a:pt x="93599" y="292498"/>
                  </a:lnTo>
                  <a:cubicBezTo>
                    <a:pt x="32087" y="230986"/>
                    <a:pt x="-1808" y="151898"/>
                    <a:pt x="74" y="75949"/>
                  </a:cubicBezTo>
                  <a:lnTo>
                    <a:pt x="74" y="70300"/>
                  </a:lnTo>
                  <a:lnTo>
                    <a:pt x="3841" y="65906"/>
                  </a:lnTo>
                  <a:cubicBezTo>
                    <a:pt x="9490" y="59002"/>
                    <a:pt x="14511" y="53353"/>
                    <a:pt x="20161" y="47703"/>
                  </a:cubicBezTo>
                  <a:cubicBezTo>
                    <a:pt x="40246" y="27618"/>
                    <a:pt x="64098" y="11926"/>
                    <a:pt x="91088" y="1883"/>
                  </a:cubicBezTo>
                  <a:cubicBezTo>
                    <a:pt x="94226" y="628"/>
                    <a:pt x="97993" y="0"/>
                    <a:pt x="101759" y="0"/>
                  </a:cubicBezTo>
                  <a:cubicBezTo>
                    <a:pt x="110547" y="0"/>
                    <a:pt x="131259" y="4394"/>
                    <a:pt x="136281" y="18830"/>
                  </a:cubicBezTo>
                  <a:cubicBezTo>
                    <a:pt x="145069" y="43938"/>
                    <a:pt x="156994" y="77204"/>
                    <a:pt x="165154" y="108588"/>
                  </a:cubicBezTo>
                  <a:cubicBezTo>
                    <a:pt x="167665" y="118004"/>
                    <a:pt x="164527" y="139345"/>
                    <a:pt x="152601" y="146877"/>
                  </a:cubicBezTo>
                  <a:lnTo>
                    <a:pt x="123100" y="165707"/>
                  </a:lnTo>
                  <a:cubicBezTo>
                    <a:pt x="123100" y="165707"/>
                    <a:pt x="123100" y="170729"/>
                    <a:pt x="126866" y="175750"/>
                  </a:cubicBezTo>
                  <a:cubicBezTo>
                    <a:pt x="138164" y="191442"/>
                    <a:pt x="151346" y="207134"/>
                    <a:pt x="166409" y="222198"/>
                  </a:cubicBezTo>
                  <a:cubicBezTo>
                    <a:pt x="181474" y="236635"/>
                    <a:pt x="196538" y="249816"/>
                    <a:pt x="212230" y="261114"/>
                  </a:cubicBezTo>
                  <a:cubicBezTo>
                    <a:pt x="215369" y="263625"/>
                    <a:pt x="218507" y="264880"/>
                    <a:pt x="221645" y="264880"/>
                  </a:cubicBezTo>
                  <a:cubicBezTo>
                    <a:pt x="222900" y="264880"/>
                    <a:pt x="222900" y="264880"/>
                    <a:pt x="223529" y="264880"/>
                  </a:cubicBezTo>
                  <a:lnTo>
                    <a:pt x="241731" y="236007"/>
                  </a:lnTo>
                  <a:cubicBezTo>
                    <a:pt x="249891" y="223453"/>
                    <a:pt x="270605" y="222826"/>
                    <a:pt x="272487" y="222826"/>
                  </a:cubicBezTo>
                  <a:cubicBezTo>
                    <a:pt x="274998" y="222826"/>
                    <a:pt x="276881" y="222826"/>
                    <a:pt x="278764" y="223453"/>
                  </a:cubicBezTo>
                  <a:cubicBezTo>
                    <a:pt x="317680" y="232241"/>
                    <a:pt x="340904" y="239773"/>
                    <a:pt x="370405" y="252954"/>
                  </a:cubicBezTo>
                  <a:cubicBezTo>
                    <a:pt x="383587" y="259231"/>
                    <a:pt x="391746" y="283083"/>
                    <a:pt x="386097" y="297520"/>
                  </a:cubicBezTo>
                  <a:cubicBezTo>
                    <a:pt x="376054" y="323882"/>
                    <a:pt x="360362" y="347734"/>
                    <a:pt x="340277" y="368447"/>
                  </a:cubicBezTo>
                  <a:cubicBezTo>
                    <a:pt x="334627" y="374096"/>
                    <a:pt x="328351" y="379746"/>
                    <a:pt x="322074" y="384767"/>
                  </a:cubicBezTo>
                  <a:lnTo>
                    <a:pt x="317680" y="387905"/>
                  </a:lnTo>
                  <a:lnTo>
                    <a:pt x="305754" y="387905"/>
                  </a:lnTo>
                  <a:lnTo>
                    <a:pt x="305754" y="387905"/>
                  </a:lnTo>
                  <a:close/>
                  <a:moveTo>
                    <a:pt x="33342" y="82226"/>
                  </a:moveTo>
                  <a:cubicBezTo>
                    <a:pt x="33342" y="146877"/>
                    <a:pt x="64726" y="215922"/>
                    <a:pt x="117451" y="268646"/>
                  </a:cubicBezTo>
                  <a:lnTo>
                    <a:pt x="119333" y="270529"/>
                  </a:lnTo>
                  <a:cubicBezTo>
                    <a:pt x="172059" y="323255"/>
                    <a:pt x="239848" y="354011"/>
                    <a:pt x="305127" y="354011"/>
                  </a:cubicBezTo>
                  <a:cubicBezTo>
                    <a:pt x="308893" y="350873"/>
                    <a:pt x="312659" y="347106"/>
                    <a:pt x="316425" y="343968"/>
                  </a:cubicBezTo>
                  <a:cubicBezTo>
                    <a:pt x="333372" y="327020"/>
                    <a:pt x="346554" y="306935"/>
                    <a:pt x="354713" y="284966"/>
                  </a:cubicBezTo>
                  <a:cubicBezTo>
                    <a:pt x="354713" y="284966"/>
                    <a:pt x="354085" y="283083"/>
                    <a:pt x="353458" y="281200"/>
                  </a:cubicBezTo>
                  <a:cubicBezTo>
                    <a:pt x="327723" y="269902"/>
                    <a:pt x="306382" y="262998"/>
                    <a:pt x="271232" y="255465"/>
                  </a:cubicBezTo>
                  <a:cubicBezTo>
                    <a:pt x="270605" y="255465"/>
                    <a:pt x="268721" y="256093"/>
                    <a:pt x="267466" y="256093"/>
                  </a:cubicBezTo>
                  <a:lnTo>
                    <a:pt x="250518" y="282455"/>
                  </a:lnTo>
                  <a:cubicBezTo>
                    <a:pt x="239848" y="299403"/>
                    <a:pt x="212230" y="301913"/>
                    <a:pt x="192772" y="287477"/>
                  </a:cubicBezTo>
                  <a:cubicBezTo>
                    <a:pt x="175824" y="274923"/>
                    <a:pt x="158877" y="261114"/>
                    <a:pt x="143185" y="244795"/>
                  </a:cubicBezTo>
                  <a:cubicBezTo>
                    <a:pt x="126866" y="228475"/>
                    <a:pt x="113057" y="211528"/>
                    <a:pt x="100503" y="194580"/>
                  </a:cubicBezTo>
                  <a:cubicBezTo>
                    <a:pt x="92344" y="183282"/>
                    <a:pt x="89205" y="170101"/>
                    <a:pt x="91088" y="158175"/>
                  </a:cubicBezTo>
                  <a:cubicBezTo>
                    <a:pt x="92971" y="148760"/>
                    <a:pt x="97993" y="141228"/>
                    <a:pt x="105525" y="136834"/>
                  </a:cubicBezTo>
                  <a:lnTo>
                    <a:pt x="131887" y="119886"/>
                  </a:lnTo>
                  <a:cubicBezTo>
                    <a:pt x="132515" y="118631"/>
                    <a:pt x="132515" y="116121"/>
                    <a:pt x="132515" y="115493"/>
                  </a:cubicBezTo>
                  <a:cubicBezTo>
                    <a:pt x="124983" y="87875"/>
                    <a:pt x="114940" y="57747"/>
                    <a:pt x="106152" y="33895"/>
                  </a:cubicBezTo>
                  <a:cubicBezTo>
                    <a:pt x="104897" y="33267"/>
                    <a:pt x="103014" y="32639"/>
                    <a:pt x="101759" y="32639"/>
                  </a:cubicBezTo>
                  <a:cubicBezTo>
                    <a:pt x="80418" y="40799"/>
                    <a:pt x="60332" y="53980"/>
                    <a:pt x="43384" y="70928"/>
                  </a:cubicBezTo>
                  <a:cubicBezTo>
                    <a:pt x="40246" y="74694"/>
                    <a:pt x="36480" y="78460"/>
                    <a:pt x="33342" y="82226"/>
                  </a:cubicBezTo>
                  <a:lnTo>
                    <a:pt x="33342" y="82226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21" name="Gráfico 2">
              <a:extLst>
                <a:ext uri="{FF2B5EF4-FFF2-40B4-BE49-F238E27FC236}">
                  <a16:creationId xmlns:a16="http://schemas.microsoft.com/office/drawing/2014/main" id="{83F95F55-5D1D-4425-8D77-756B15108235}"/>
                </a:ext>
              </a:extLst>
            </p:cNvPr>
            <p:cNvGrpSpPr/>
            <p:nvPr/>
          </p:nvGrpSpPr>
          <p:grpSpPr>
            <a:xfrm>
              <a:off x="8674549" y="4691218"/>
              <a:ext cx="137187" cy="138716"/>
              <a:chOff x="8674549" y="4691218"/>
              <a:chExt cx="137187" cy="138716"/>
            </a:xfrm>
            <a:grpFill/>
          </p:grpSpPr>
          <p:sp>
            <p:nvSpPr>
              <p:cNvPr id="22" name="Forma Livre: Forma 21">
                <a:extLst>
                  <a:ext uri="{FF2B5EF4-FFF2-40B4-BE49-F238E27FC236}">
                    <a16:creationId xmlns:a16="http://schemas.microsoft.com/office/drawing/2014/main" id="{71695978-0348-4A05-A88E-AAE728779AC4}"/>
                  </a:ext>
                </a:extLst>
              </p:cNvPr>
              <p:cNvSpPr/>
              <p:nvPr/>
            </p:nvSpPr>
            <p:spPr>
              <a:xfrm>
                <a:off x="8691143" y="4691218"/>
                <a:ext cx="120593" cy="121141"/>
              </a:xfrm>
              <a:custGeom>
                <a:avLst/>
                <a:gdLst>
                  <a:gd name="connsiteX0" fmla="*/ 104862 w 120593"/>
                  <a:gd name="connsiteY0" fmla="*/ 121142 h 121141"/>
                  <a:gd name="connsiteX1" fmla="*/ 87915 w 120593"/>
                  <a:gd name="connsiteY1" fmla="*/ 105450 h 121141"/>
                  <a:gd name="connsiteX2" fmla="*/ 83521 w 120593"/>
                  <a:gd name="connsiteY2" fmla="*/ 37661 h 121141"/>
                  <a:gd name="connsiteX3" fmla="*/ 15732 w 120593"/>
                  <a:gd name="connsiteY3" fmla="*/ 33267 h 121141"/>
                  <a:gd name="connsiteX4" fmla="*/ 40 w 120593"/>
                  <a:gd name="connsiteY4" fmla="*/ 15692 h 121141"/>
                  <a:gd name="connsiteX5" fmla="*/ 17615 w 120593"/>
                  <a:gd name="connsiteY5" fmla="*/ 0 h 121141"/>
                  <a:gd name="connsiteX6" fmla="*/ 99841 w 120593"/>
                  <a:gd name="connsiteY6" fmla="*/ 5021 h 121141"/>
                  <a:gd name="connsiteX7" fmla="*/ 115533 w 120593"/>
                  <a:gd name="connsiteY7" fmla="*/ 20713 h 121141"/>
                  <a:gd name="connsiteX8" fmla="*/ 120554 w 120593"/>
                  <a:gd name="connsiteY8" fmla="*/ 102939 h 121141"/>
                  <a:gd name="connsiteX9" fmla="*/ 104862 w 120593"/>
                  <a:gd name="connsiteY9" fmla="*/ 120514 h 121141"/>
                  <a:gd name="connsiteX10" fmla="*/ 104862 w 120593"/>
                  <a:gd name="connsiteY10" fmla="*/ 121142 h 121141"/>
                  <a:gd name="connsiteX11" fmla="*/ 104862 w 120593"/>
                  <a:gd name="connsiteY11" fmla="*/ 121142 h 1211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0593" h="121141">
                    <a:moveTo>
                      <a:pt x="104862" y="121142"/>
                    </a:moveTo>
                    <a:cubicBezTo>
                      <a:pt x="96075" y="121142"/>
                      <a:pt x="88542" y="114238"/>
                      <a:pt x="87915" y="105450"/>
                    </a:cubicBezTo>
                    <a:lnTo>
                      <a:pt x="83521" y="37661"/>
                    </a:lnTo>
                    <a:lnTo>
                      <a:pt x="15732" y="33267"/>
                    </a:lnTo>
                    <a:cubicBezTo>
                      <a:pt x="6316" y="32639"/>
                      <a:pt x="-588" y="24479"/>
                      <a:pt x="40" y="15692"/>
                    </a:cubicBezTo>
                    <a:cubicBezTo>
                      <a:pt x="667" y="6277"/>
                      <a:pt x="8827" y="0"/>
                      <a:pt x="17615" y="0"/>
                    </a:cubicBezTo>
                    <a:lnTo>
                      <a:pt x="99841" y="5021"/>
                    </a:lnTo>
                    <a:cubicBezTo>
                      <a:pt x="108000" y="5649"/>
                      <a:pt x="114905" y="11926"/>
                      <a:pt x="115533" y="20713"/>
                    </a:cubicBezTo>
                    <a:lnTo>
                      <a:pt x="120554" y="102939"/>
                    </a:lnTo>
                    <a:cubicBezTo>
                      <a:pt x="121182" y="112354"/>
                      <a:pt x="114277" y="119886"/>
                      <a:pt x="104862" y="120514"/>
                    </a:cubicBezTo>
                    <a:cubicBezTo>
                      <a:pt x="105490" y="121142"/>
                      <a:pt x="105490" y="121142"/>
                      <a:pt x="104862" y="121142"/>
                    </a:cubicBezTo>
                    <a:lnTo>
                      <a:pt x="104862" y="121142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3" name="Forma Livre: Forma 22">
                <a:extLst>
                  <a:ext uri="{FF2B5EF4-FFF2-40B4-BE49-F238E27FC236}">
                    <a16:creationId xmlns:a16="http://schemas.microsoft.com/office/drawing/2014/main" id="{471E7A54-41C7-40DA-B77D-F8162A2A84F4}"/>
                  </a:ext>
                </a:extLst>
              </p:cNvPr>
              <p:cNvSpPr/>
              <p:nvPr/>
            </p:nvSpPr>
            <p:spPr>
              <a:xfrm>
                <a:off x="8674549" y="4704086"/>
                <a:ext cx="125535" cy="125849"/>
              </a:xfrm>
              <a:custGeom>
                <a:avLst/>
                <a:gdLst>
                  <a:gd name="connsiteX0" fmla="*/ 16634 w 125535"/>
                  <a:gd name="connsiteY0" fmla="*/ 125849 h 125849"/>
                  <a:gd name="connsiteX1" fmla="*/ 4708 w 125535"/>
                  <a:gd name="connsiteY1" fmla="*/ 120828 h 125849"/>
                  <a:gd name="connsiteX2" fmla="*/ 4708 w 125535"/>
                  <a:gd name="connsiteY2" fmla="*/ 96976 h 125849"/>
                  <a:gd name="connsiteX3" fmla="*/ 96977 w 125535"/>
                  <a:gd name="connsiteY3" fmla="*/ 4708 h 125849"/>
                  <a:gd name="connsiteX4" fmla="*/ 120828 w 125535"/>
                  <a:gd name="connsiteY4" fmla="*/ 4708 h 125849"/>
                  <a:gd name="connsiteX5" fmla="*/ 120828 w 125535"/>
                  <a:gd name="connsiteY5" fmla="*/ 28559 h 125849"/>
                  <a:gd name="connsiteX6" fmla="*/ 28560 w 125535"/>
                  <a:gd name="connsiteY6" fmla="*/ 120828 h 125849"/>
                  <a:gd name="connsiteX7" fmla="*/ 16634 w 125535"/>
                  <a:gd name="connsiteY7" fmla="*/ 125849 h 125849"/>
                  <a:gd name="connsiteX8" fmla="*/ 16634 w 125535"/>
                  <a:gd name="connsiteY8" fmla="*/ 125849 h 1258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5535" h="125849">
                    <a:moveTo>
                      <a:pt x="16634" y="125849"/>
                    </a:moveTo>
                    <a:cubicBezTo>
                      <a:pt x="12240" y="125849"/>
                      <a:pt x="7846" y="123967"/>
                      <a:pt x="4708" y="120828"/>
                    </a:cubicBezTo>
                    <a:cubicBezTo>
                      <a:pt x="-1569" y="114551"/>
                      <a:pt x="-1569" y="103881"/>
                      <a:pt x="4708" y="96976"/>
                    </a:cubicBezTo>
                    <a:lnTo>
                      <a:pt x="96977" y="4708"/>
                    </a:lnTo>
                    <a:cubicBezTo>
                      <a:pt x="103254" y="-1569"/>
                      <a:pt x="113924" y="-1569"/>
                      <a:pt x="120828" y="4708"/>
                    </a:cubicBezTo>
                    <a:cubicBezTo>
                      <a:pt x="127105" y="10984"/>
                      <a:pt x="127105" y="21655"/>
                      <a:pt x="120828" y="28559"/>
                    </a:cubicBezTo>
                    <a:lnTo>
                      <a:pt x="28560" y="120828"/>
                    </a:lnTo>
                    <a:cubicBezTo>
                      <a:pt x="24794" y="123967"/>
                      <a:pt x="21027" y="125849"/>
                      <a:pt x="16634" y="125849"/>
                    </a:cubicBezTo>
                    <a:lnTo>
                      <a:pt x="16634" y="125849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24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9477630" y="4647281"/>
            <a:ext cx="399079" cy="403597"/>
            <a:chOff x="9477630" y="4647281"/>
            <a:chExt cx="399079" cy="403597"/>
          </a:xfrm>
          <a:solidFill>
            <a:srgbClr val="B1B1A1"/>
          </a:solidFill>
        </p:grpSpPr>
        <p:sp>
          <p:nvSpPr>
            <p:cNvPr id="25" name="Forma Livre: Forma 24">
              <a:extLst>
                <a:ext uri="{FF2B5EF4-FFF2-40B4-BE49-F238E27FC236}">
                  <a16:creationId xmlns:a16="http://schemas.microsoft.com/office/drawing/2014/main" id="{485D61FC-D682-4A20-A838-6BFA758682BD}"/>
                </a:ext>
              </a:extLst>
            </p:cNvPr>
            <p:cNvSpPr/>
            <p:nvPr/>
          </p:nvSpPr>
          <p:spPr>
            <a:xfrm>
              <a:off x="9477630" y="4662973"/>
              <a:ext cx="387872" cy="387905"/>
            </a:xfrm>
            <a:custGeom>
              <a:avLst/>
              <a:gdLst>
                <a:gd name="connsiteX0" fmla="*/ 306340 w 387872"/>
                <a:gd name="connsiteY0" fmla="*/ 387905 h 387905"/>
                <a:gd name="connsiteX1" fmla="*/ 95441 w 387872"/>
                <a:gd name="connsiteY1" fmla="*/ 293754 h 387905"/>
                <a:gd name="connsiteX2" fmla="*/ 94185 w 387872"/>
                <a:gd name="connsiteY2" fmla="*/ 292498 h 387905"/>
                <a:gd name="connsiteX3" fmla="*/ 34 w 387872"/>
                <a:gd name="connsiteY3" fmla="*/ 75949 h 387905"/>
                <a:gd name="connsiteX4" fmla="*/ 34 w 387872"/>
                <a:gd name="connsiteY4" fmla="*/ 70300 h 387905"/>
                <a:gd name="connsiteX5" fmla="*/ 3800 w 387872"/>
                <a:gd name="connsiteY5" fmla="*/ 65906 h 387905"/>
                <a:gd name="connsiteX6" fmla="*/ 20119 w 387872"/>
                <a:gd name="connsiteY6" fmla="*/ 47703 h 387905"/>
                <a:gd name="connsiteX7" fmla="*/ 91047 w 387872"/>
                <a:gd name="connsiteY7" fmla="*/ 1883 h 387905"/>
                <a:gd name="connsiteX8" fmla="*/ 101717 w 387872"/>
                <a:gd name="connsiteY8" fmla="*/ 0 h 387905"/>
                <a:gd name="connsiteX9" fmla="*/ 136240 w 387872"/>
                <a:gd name="connsiteY9" fmla="*/ 18830 h 387905"/>
                <a:gd name="connsiteX10" fmla="*/ 165113 w 387872"/>
                <a:gd name="connsiteY10" fmla="*/ 108588 h 387905"/>
                <a:gd name="connsiteX11" fmla="*/ 152559 w 387872"/>
                <a:gd name="connsiteY11" fmla="*/ 146877 h 387905"/>
                <a:gd name="connsiteX12" fmla="*/ 123059 w 387872"/>
                <a:gd name="connsiteY12" fmla="*/ 165707 h 387905"/>
                <a:gd name="connsiteX13" fmla="*/ 126824 w 387872"/>
                <a:gd name="connsiteY13" fmla="*/ 175750 h 387905"/>
                <a:gd name="connsiteX14" fmla="*/ 166369 w 387872"/>
                <a:gd name="connsiteY14" fmla="*/ 222198 h 387905"/>
                <a:gd name="connsiteX15" fmla="*/ 212189 w 387872"/>
                <a:gd name="connsiteY15" fmla="*/ 261114 h 387905"/>
                <a:gd name="connsiteX16" fmla="*/ 221604 w 387872"/>
                <a:gd name="connsiteY16" fmla="*/ 264880 h 387905"/>
                <a:gd name="connsiteX17" fmla="*/ 223487 w 387872"/>
                <a:gd name="connsiteY17" fmla="*/ 264880 h 387905"/>
                <a:gd name="connsiteX18" fmla="*/ 241690 w 387872"/>
                <a:gd name="connsiteY18" fmla="*/ 236007 h 387905"/>
                <a:gd name="connsiteX19" fmla="*/ 272446 w 387872"/>
                <a:gd name="connsiteY19" fmla="*/ 222826 h 387905"/>
                <a:gd name="connsiteX20" fmla="*/ 278722 w 387872"/>
                <a:gd name="connsiteY20" fmla="*/ 223453 h 387905"/>
                <a:gd name="connsiteX21" fmla="*/ 370364 w 387872"/>
                <a:gd name="connsiteY21" fmla="*/ 252954 h 387905"/>
                <a:gd name="connsiteX22" fmla="*/ 386056 w 387872"/>
                <a:gd name="connsiteY22" fmla="*/ 297519 h 387905"/>
                <a:gd name="connsiteX23" fmla="*/ 340235 w 387872"/>
                <a:gd name="connsiteY23" fmla="*/ 368447 h 387905"/>
                <a:gd name="connsiteX24" fmla="*/ 322032 w 387872"/>
                <a:gd name="connsiteY24" fmla="*/ 384767 h 387905"/>
                <a:gd name="connsiteX25" fmla="*/ 317639 w 387872"/>
                <a:gd name="connsiteY25" fmla="*/ 387905 h 387905"/>
                <a:gd name="connsiteX26" fmla="*/ 306340 w 387872"/>
                <a:gd name="connsiteY26" fmla="*/ 387905 h 387905"/>
                <a:gd name="connsiteX27" fmla="*/ 306340 w 387872"/>
                <a:gd name="connsiteY27" fmla="*/ 387905 h 387905"/>
                <a:gd name="connsiteX28" fmla="*/ 33928 w 387872"/>
                <a:gd name="connsiteY28" fmla="*/ 82854 h 387905"/>
                <a:gd name="connsiteX29" fmla="*/ 118037 w 387872"/>
                <a:gd name="connsiteY29" fmla="*/ 269274 h 387905"/>
                <a:gd name="connsiteX30" fmla="*/ 119920 w 387872"/>
                <a:gd name="connsiteY30" fmla="*/ 271157 h 387905"/>
                <a:gd name="connsiteX31" fmla="*/ 305713 w 387872"/>
                <a:gd name="connsiteY31" fmla="*/ 354638 h 387905"/>
                <a:gd name="connsiteX32" fmla="*/ 317011 w 387872"/>
                <a:gd name="connsiteY32" fmla="*/ 344595 h 387905"/>
                <a:gd name="connsiteX33" fmla="*/ 355300 w 387872"/>
                <a:gd name="connsiteY33" fmla="*/ 285594 h 387905"/>
                <a:gd name="connsiteX34" fmla="*/ 354044 w 387872"/>
                <a:gd name="connsiteY34" fmla="*/ 281827 h 387905"/>
                <a:gd name="connsiteX35" fmla="*/ 271818 w 387872"/>
                <a:gd name="connsiteY35" fmla="*/ 256093 h 387905"/>
                <a:gd name="connsiteX36" fmla="*/ 268052 w 387872"/>
                <a:gd name="connsiteY36" fmla="*/ 256720 h 387905"/>
                <a:gd name="connsiteX37" fmla="*/ 251105 w 387872"/>
                <a:gd name="connsiteY37" fmla="*/ 283083 h 387905"/>
                <a:gd name="connsiteX38" fmla="*/ 193358 w 387872"/>
                <a:gd name="connsiteY38" fmla="*/ 288104 h 387905"/>
                <a:gd name="connsiteX39" fmla="*/ 143772 w 387872"/>
                <a:gd name="connsiteY39" fmla="*/ 245422 h 387905"/>
                <a:gd name="connsiteX40" fmla="*/ 101090 w 387872"/>
                <a:gd name="connsiteY40" fmla="*/ 195208 h 387905"/>
                <a:gd name="connsiteX41" fmla="*/ 91675 w 387872"/>
                <a:gd name="connsiteY41" fmla="*/ 158803 h 387905"/>
                <a:gd name="connsiteX42" fmla="*/ 106111 w 387872"/>
                <a:gd name="connsiteY42" fmla="*/ 137461 h 387905"/>
                <a:gd name="connsiteX43" fmla="*/ 132474 w 387872"/>
                <a:gd name="connsiteY43" fmla="*/ 120514 h 387905"/>
                <a:gd name="connsiteX44" fmla="*/ 133101 w 387872"/>
                <a:gd name="connsiteY44" fmla="*/ 116121 h 387905"/>
                <a:gd name="connsiteX45" fmla="*/ 106739 w 387872"/>
                <a:gd name="connsiteY45" fmla="*/ 34522 h 387905"/>
                <a:gd name="connsiteX46" fmla="*/ 102345 w 387872"/>
                <a:gd name="connsiteY46" fmla="*/ 33267 h 387905"/>
                <a:gd name="connsiteX47" fmla="*/ 44599 w 387872"/>
                <a:gd name="connsiteY47" fmla="*/ 71555 h 387905"/>
                <a:gd name="connsiteX48" fmla="*/ 33928 w 387872"/>
                <a:gd name="connsiteY48" fmla="*/ 82854 h 387905"/>
                <a:gd name="connsiteX49" fmla="*/ 33928 w 387872"/>
                <a:gd name="connsiteY49" fmla="*/ 82854 h 387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387872" h="387905">
                  <a:moveTo>
                    <a:pt x="306340" y="387905"/>
                  </a:moveTo>
                  <a:cubicBezTo>
                    <a:pt x="232275" y="387905"/>
                    <a:pt x="155070" y="353383"/>
                    <a:pt x="95441" y="293754"/>
                  </a:cubicBezTo>
                  <a:lnTo>
                    <a:pt x="94185" y="292498"/>
                  </a:lnTo>
                  <a:cubicBezTo>
                    <a:pt x="32673" y="230986"/>
                    <a:pt x="-1222" y="151898"/>
                    <a:pt x="34" y="75949"/>
                  </a:cubicBezTo>
                  <a:lnTo>
                    <a:pt x="34" y="70300"/>
                  </a:lnTo>
                  <a:lnTo>
                    <a:pt x="3800" y="65906"/>
                  </a:lnTo>
                  <a:cubicBezTo>
                    <a:pt x="9449" y="59002"/>
                    <a:pt x="14470" y="53353"/>
                    <a:pt x="20119" y="47703"/>
                  </a:cubicBezTo>
                  <a:cubicBezTo>
                    <a:pt x="40205" y="27618"/>
                    <a:pt x="64057" y="11926"/>
                    <a:pt x="91047" y="1883"/>
                  </a:cubicBezTo>
                  <a:cubicBezTo>
                    <a:pt x="94185" y="628"/>
                    <a:pt x="97951" y="0"/>
                    <a:pt x="101717" y="0"/>
                  </a:cubicBezTo>
                  <a:cubicBezTo>
                    <a:pt x="110505" y="0"/>
                    <a:pt x="131218" y="4394"/>
                    <a:pt x="136240" y="18830"/>
                  </a:cubicBezTo>
                  <a:cubicBezTo>
                    <a:pt x="145027" y="43938"/>
                    <a:pt x="156953" y="77204"/>
                    <a:pt x="165113" y="108588"/>
                  </a:cubicBezTo>
                  <a:cubicBezTo>
                    <a:pt x="167624" y="118004"/>
                    <a:pt x="164485" y="139345"/>
                    <a:pt x="152559" y="146877"/>
                  </a:cubicBezTo>
                  <a:lnTo>
                    <a:pt x="123059" y="165707"/>
                  </a:lnTo>
                  <a:cubicBezTo>
                    <a:pt x="123059" y="165707"/>
                    <a:pt x="123059" y="170729"/>
                    <a:pt x="126824" y="175750"/>
                  </a:cubicBezTo>
                  <a:cubicBezTo>
                    <a:pt x="138123" y="191442"/>
                    <a:pt x="151304" y="207134"/>
                    <a:pt x="166369" y="222198"/>
                  </a:cubicBezTo>
                  <a:cubicBezTo>
                    <a:pt x="181432" y="236635"/>
                    <a:pt x="196497" y="249816"/>
                    <a:pt x="212189" y="261114"/>
                  </a:cubicBezTo>
                  <a:cubicBezTo>
                    <a:pt x="215327" y="263625"/>
                    <a:pt x="218465" y="264880"/>
                    <a:pt x="221604" y="264880"/>
                  </a:cubicBezTo>
                  <a:cubicBezTo>
                    <a:pt x="222860" y="264880"/>
                    <a:pt x="222860" y="264880"/>
                    <a:pt x="223487" y="264880"/>
                  </a:cubicBezTo>
                  <a:lnTo>
                    <a:pt x="241690" y="236007"/>
                  </a:lnTo>
                  <a:cubicBezTo>
                    <a:pt x="249849" y="223453"/>
                    <a:pt x="270563" y="222826"/>
                    <a:pt x="272446" y="222826"/>
                  </a:cubicBezTo>
                  <a:cubicBezTo>
                    <a:pt x="274957" y="222826"/>
                    <a:pt x="276840" y="222826"/>
                    <a:pt x="278722" y="223453"/>
                  </a:cubicBezTo>
                  <a:cubicBezTo>
                    <a:pt x="317639" y="232241"/>
                    <a:pt x="340863" y="239773"/>
                    <a:pt x="370364" y="252954"/>
                  </a:cubicBezTo>
                  <a:cubicBezTo>
                    <a:pt x="383545" y="259231"/>
                    <a:pt x="391705" y="283083"/>
                    <a:pt x="386056" y="297519"/>
                  </a:cubicBezTo>
                  <a:cubicBezTo>
                    <a:pt x="376013" y="323882"/>
                    <a:pt x="360321" y="347734"/>
                    <a:pt x="340235" y="368447"/>
                  </a:cubicBezTo>
                  <a:cubicBezTo>
                    <a:pt x="334586" y="374096"/>
                    <a:pt x="328309" y="379746"/>
                    <a:pt x="322032" y="384767"/>
                  </a:cubicBezTo>
                  <a:lnTo>
                    <a:pt x="317639" y="387905"/>
                  </a:lnTo>
                  <a:lnTo>
                    <a:pt x="306340" y="387905"/>
                  </a:lnTo>
                  <a:lnTo>
                    <a:pt x="306340" y="387905"/>
                  </a:lnTo>
                  <a:close/>
                  <a:moveTo>
                    <a:pt x="33928" y="82854"/>
                  </a:moveTo>
                  <a:cubicBezTo>
                    <a:pt x="33928" y="147504"/>
                    <a:pt x="65312" y="216549"/>
                    <a:pt x="118037" y="269274"/>
                  </a:cubicBezTo>
                  <a:lnTo>
                    <a:pt x="119920" y="271157"/>
                  </a:lnTo>
                  <a:cubicBezTo>
                    <a:pt x="172645" y="323882"/>
                    <a:pt x="240434" y="354638"/>
                    <a:pt x="305713" y="354638"/>
                  </a:cubicBezTo>
                  <a:cubicBezTo>
                    <a:pt x="309479" y="351500"/>
                    <a:pt x="313245" y="347734"/>
                    <a:pt x="317011" y="344595"/>
                  </a:cubicBezTo>
                  <a:cubicBezTo>
                    <a:pt x="333958" y="327648"/>
                    <a:pt x="347140" y="307563"/>
                    <a:pt x="355300" y="285594"/>
                  </a:cubicBezTo>
                  <a:cubicBezTo>
                    <a:pt x="355300" y="285594"/>
                    <a:pt x="354672" y="283711"/>
                    <a:pt x="354044" y="281827"/>
                  </a:cubicBezTo>
                  <a:cubicBezTo>
                    <a:pt x="328309" y="270529"/>
                    <a:pt x="306968" y="263625"/>
                    <a:pt x="271818" y="256093"/>
                  </a:cubicBezTo>
                  <a:cubicBezTo>
                    <a:pt x="271191" y="256093"/>
                    <a:pt x="269307" y="256720"/>
                    <a:pt x="268052" y="256720"/>
                  </a:cubicBezTo>
                  <a:lnTo>
                    <a:pt x="251105" y="283083"/>
                  </a:lnTo>
                  <a:cubicBezTo>
                    <a:pt x="240434" y="300030"/>
                    <a:pt x="212816" y="302541"/>
                    <a:pt x="193358" y="288104"/>
                  </a:cubicBezTo>
                  <a:cubicBezTo>
                    <a:pt x="176411" y="275551"/>
                    <a:pt x="159463" y="261742"/>
                    <a:pt x="143772" y="245422"/>
                  </a:cubicBezTo>
                  <a:cubicBezTo>
                    <a:pt x="127452" y="229103"/>
                    <a:pt x="113643" y="212155"/>
                    <a:pt x="101090" y="195208"/>
                  </a:cubicBezTo>
                  <a:cubicBezTo>
                    <a:pt x="92930" y="183910"/>
                    <a:pt x="89791" y="170729"/>
                    <a:pt x="91675" y="158803"/>
                  </a:cubicBezTo>
                  <a:cubicBezTo>
                    <a:pt x="93557" y="149387"/>
                    <a:pt x="98579" y="141855"/>
                    <a:pt x="106111" y="137461"/>
                  </a:cubicBezTo>
                  <a:lnTo>
                    <a:pt x="132474" y="120514"/>
                  </a:lnTo>
                  <a:cubicBezTo>
                    <a:pt x="133101" y="119259"/>
                    <a:pt x="133101" y="116748"/>
                    <a:pt x="133101" y="116121"/>
                  </a:cubicBezTo>
                  <a:cubicBezTo>
                    <a:pt x="125569" y="88503"/>
                    <a:pt x="115526" y="58374"/>
                    <a:pt x="106739" y="34522"/>
                  </a:cubicBezTo>
                  <a:cubicBezTo>
                    <a:pt x="105483" y="33894"/>
                    <a:pt x="103601" y="33267"/>
                    <a:pt x="102345" y="33267"/>
                  </a:cubicBezTo>
                  <a:cubicBezTo>
                    <a:pt x="81004" y="41427"/>
                    <a:pt x="61546" y="54608"/>
                    <a:pt x="44599" y="71555"/>
                  </a:cubicBezTo>
                  <a:cubicBezTo>
                    <a:pt x="40205" y="75321"/>
                    <a:pt x="37066" y="79087"/>
                    <a:pt x="33928" y="82854"/>
                  </a:cubicBezTo>
                  <a:lnTo>
                    <a:pt x="33928" y="82854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6" name="Forma Livre: Forma 25">
              <a:extLst>
                <a:ext uri="{FF2B5EF4-FFF2-40B4-BE49-F238E27FC236}">
                  <a16:creationId xmlns:a16="http://schemas.microsoft.com/office/drawing/2014/main" id="{9A2A9EC1-D38F-4FBA-8950-58D4EC527799}"/>
                </a:ext>
              </a:extLst>
            </p:cNvPr>
            <p:cNvSpPr/>
            <p:nvPr/>
          </p:nvSpPr>
          <p:spPr>
            <a:xfrm>
              <a:off x="9788418" y="4720772"/>
              <a:ext cx="88292" cy="158121"/>
            </a:xfrm>
            <a:custGeom>
              <a:avLst/>
              <a:gdLst>
                <a:gd name="connsiteX0" fmla="*/ 16894 w 88292"/>
                <a:gd name="connsiteY0" fmla="*/ 158122 h 158121"/>
                <a:gd name="connsiteX1" fmla="*/ 5596 w 88292"/>
                <a:gd name="connsiteY1" fmla="*/ 153728 h 158121"/>
                <a:gd name="connsiteX2" fmla="*/ 4341 w 88292"/>
                <a:gd name="connsiteY2" fmla="*/ 129876 h 158121"/>
                <a:gd name="connsiteX3" fmla="*/ 48906 w 88292"/>
                <a:gd name="connsiteY3" fmla="*/ 79034 h 158121"/>
                <a:gd name="connsiteX4" fmla="*/ 4341 w 88292"/>
                <a:gd name="connsiteY4" fmla="*/ 28192 h 158121"/>
                <a:gd name="connsiteX5" fmla="*/ 5596 w 88292"/>
                <a:gd name="connsiteY5" fmla="*/ 4340 h 158121"/>
                <a:gd name="connsiteX6" fmla="*/ 29448 w 88292"/>
                <a:gd name="connsiteY6" fmla="*/ 5596 h 158121"/>
                <a:gd name="connsiteX7" fmla="*/ 84055 w 88292"/>
                <a:gd name="connsiteY7" fmla="*/ 67108 h 158121"/>
                <a:gd name="connsiteX8" fmla="*/ 84055 w 88292"/>
                <a:gd name="connsiteY8" fmla="*/ 89077 h 158121"/>
                <a:gd name="connsiteX9" fmla="*/ 29448 w 88292"/>
                <a:gd name="connsiteY9" fmla="*/ 150590 h 158121"/>
                <a:gd name="connsiteX10" fmla="*/ 16894 w 88292"/>
                <a:gd name="connsiteY10" fmla="*/ 158122 h 158121"/>
                <a:gd name="connsiteX11" fmla="*/ 16894 w 88292"/>
                <a:gd name="connsiteY11" fmla="*/ 158122 h 158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292" h="158121">
                  <a:moveTo>
                    <a:pt x="16894" y="158122"/>
                  </a:moveTo>
                  <a:cubicBezTo>
                    <a:pt x="13128" y="158122"/>
                    <a:pt x="8734" y="156867"/>
                    <a:pt x="5596" y="153728"/>
                  </a:cubicBezTo>
                  <a:cubicBezTo>
                    <a:pt x="-1309" y="147451"/>
                    <a:pt x="-1936" y="136781"/>
                    <a:pt x="4341" y="129876"/>
                  </a:cubicBezTo>
                  <a:lnTo>
                    <a:pt x="48906" y="79034"/>
                  </a:lnTo>
                  <a:lnTo>
                    <a:pt x="4341" y="28192"/>
                  </a:lnTo>
                  <a:cubicBezTo>
                    <a:pt x="-1936" y="21288"/>
                    <a:pt x="-1309" y="10617"/>
                    <a:pt x="5596" y="4340"/>
                  </a:cubicBezTo>
                  <a:cubicBezTo>
                    <a:pt x="12501" y="-1936"/>
                    <a:pt x="23171" y="-1308"/>
                    <a:pt x="29448" y="5596"/>
                  </a:cubicBezTo>
                  <a:lnTo>
                    <a:pt x="84055" y="67108"/>
                  </a:lnTo>
                  <a:cubicBezTo>
                    <a:pt x="89705" y="73385"/>
                    <a:pt x="89705" y="82800"/>
                    <a:pt x="84055" y="89077"/>
                  </a:cubicBezTo>
                  <a:lnTo>
                    <a:pt x="29448" y="150590"/>
                  </a:lnTo>
                  <a:cubicBezTo>
                    <a:pt x="25682" y="156239"/>
                    <a:pt x="21288" y="158122"/>
                    <a:pt x="16894" y="158122"/>
                  </a:cubicBezTo>
                  <a:lnTo>
                    <a:pt x="16894" y="158122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7" name="Forma Livre: Forma 26">
              <a:extLst>
                <a:ext uri="{FF2B5EF4-FFF2-40B4-BE49-F238E27FC236}">
                  <a16:creationId xmlns:a16="http://schemas.microsoft.com/office/drawing/2014/main" id="{FEBA15BD-CC0E-4F17-8EEA-BB9CB5F1A25D}"/>
                </a:ext>
              </a:extLst>
            </p:cNvPr>
            <p:cNvSpPr/>
            <p:nvPr/>
          </p:nvSpPr>
          <p:spPr>
            <a:xfrm>
              <a:off x="9694841" y="4647281"/>
              <a:ext cx="167589" cy="166962"/>
            </a:xfrm>
            <a:custGeom>
              <a:avLst/>
              <a:gdLst>
                <a:gd name="connsiteX0" fmla="*/ 150015 w 167589"/>
                <a:gd name="connsiteY0" fmla="*/ 166962 h 166962"/>
                <a:gd name="connsiteX1" fmla="*/ 66534 w 167589"/>
                <a:gd name="connsiteY1" fmla="*/ 166962 h 166962"/>
                <a:gd name="connsiteX2" fmla="*/ 0 w 167589"/>
                <a:gd name="connsiteY2" fmla="*/ 100429 h 166962"/>
                <a:gd name="connsiteX3" fmla="*/ 0 w 167589"/>
                <a:gd name="connsiteY3" fmla="*/ 16947 h 166962"/>
                <a:gd name="connsiteX4" fmla="*/ 16947 w 167589"/>
                <a:gd name="connsiteY4" fmla="*/ 0 h 166962"/>
                <a:gd name="connsiteX5" fmla="*/ 33895 w 167589"/>
                <a:gd name="connsiteY5" fmla="*/ 16947 h 166962"/>
                <a:gd name="connsiteX6" fmla="*/ 33895 w 167589"/>
                <a:gd name="connsiteY6" fmla="*/ 100429 h 166962"/>
                <a:gd name="connsiteX7" fmla="*/ 67161 w 167589"/>
                <a:gd name="connsiteY7" fmla="*/ 133695 h 166962"/>
                <a:gd name="connsiteX8" fmla="*/ 150643 w 167589"/>
                <a:gd name="connsiteY8" fmla="*/ 133695 h 166962"/>
                <a:gd name="connsiteX9" fmla="*/ 167590 w 167589"/>
                <a:gd name="connsiteY9" fmla="*/ 150643 h 166962"/>
                <a:gd name="connsiteX10" fmla="*/ 150015 w 167589"/>
                <a:gd name="connsiteY10" fmla="*/ 166962 h 166962"/>
                <a:gd name="connsiteX11" fmla="*/ 150015 w 167589"/>
                <a:gd name="connsiteY11" fmla="*/ 166962 h 166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7589" h="166962">
                  <a:moveTo>
                    <a:pt x="150015" y="166962"/>
                  </a:moveTo>
                  <a:lnTo>
                    <a:pt x="66534" y="166962"/>
                  </a:lnTo>
                  <a:cubicBezTo>
                    <a:pt x="29501" y="166962"/>
                    <a:pt x="0" y="136834"/>
                    <a:pt x="0" y="100429"/>
                  </a:cubicBezTo>
                  <a:lnTo>
                    <a:pt x="0" y="16947"/>
                  </a:lnTo>
                  <a:cubicBezTo>
                    <a:pt x="0" y="7532"/>
                    <a:pt x="7532" y="0"/>
                    <a:pt x="16947" y="0"/>
                  </a:cubicBezTo>
                  <a:cubicBezTo>
                    <a:pt x="26362" y="0"/>
                    <a:pt x="33895" y="7532"/>
                    <a:pt x="33895" y="16947"/>
                  </a:cubicBezTo>
                  <a:lnTo>
                    <a:pt x="33895" y="100429"/>
                  </a:lnTo>
                  <a:cubicBezTo>
                    <a:pt x="33895" y="118631"/>
                    <a:pt x="48958" y="133695"/>
                    <a:pt x="67161" y="133695"/>
                  </a:cubicBezTo>
                  <a:lnTo>
                    <a:pt x="150643" y="133695"/>
                  </a:lnTo>
                  <a:cubicBezTo>
                    <a:pt x="160058" y="133695"/>
                    <a:pt x="167590" y="141228"/>
                    <a:pt x="167590" y="150643"/>
                  </a:cubicBezTo>
                  <a:cubicBezTo>
                    <a:pt x="166962" y="159430"/>
                    <a:pt x="159431" y="166962"/>
                    <a:pt x="150015" y="166962"/>
                  </a:cubicBezTo>
                  <a:lnTo>
                    <a:pt x="150015" y="166962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8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10503290" y="4654185"/>
            <a:ext cx="399831" cy="389788"/>
            <a:chOff x="10503290" y="4654185"/>
            <a:chExt cx="399831" cy="389788"/>
          </a:xfrm>
          <a:solidFill>
            <a:srgbClr val="B1B1A1"/>
          </a:solidFill>
        </p:grpSpPr>
        <p:sp>
          <p:nvSpPr>
            <p:cNvPr id="29" name="Forma Livre: Forma 28">
              <a:extLst>
                <a:ext uri="{FF2B5EF4-FFF2-40B4-BE49-F238E27FC236}">
                  <a16:creationId xmlns:a16="http://schemas.microsoft.com/office/drawing/2014/main" id="{2998A9C0-C864-4F8A-9DA8-8090CD9AC634}"/>
                </a:ext>
              </a:extLst>
            </p:cNvPr>
            <p:cNvSpPr/>
            <p:nvPr/>
          </p:nvSpPr>
          <p:spPr>
            <a:xfrm>
              <a:off x="10503290" y="4842489"/>
              <a:ext cx="399831" cy="201485"/>
            </a:xfrm>
            <a:custGeom>
              <a:avLst/>
              <a:gdLst>
                <a:gd name="connsiteX0" fmla="*/ 352756 w 399831"/>
                <a:gd name="connsiteY0" fmla="*/ 200857 h 201485"/>
                <a:gd name="connsiteX1" fmla="*/ 343968 w 399831"/>
                <a:gd name="connsiteY1" fmla="*/ 198974 h 201485"/>
                <a:gd name="connsiteX2" fmla="*/ 270530 w 399831"/>
                <a:gd name="connsiteY2" fmla="*/ 161313 h 201485"/>
                <a:gd name="connsiteX3" fmla="*/ 253582 w 399831"/>
                <a:gd name="connsiteY3" fmla="*/ 128047 h 201485"/>
                <a:gd name="connsiteX4" fmla="*/ 259859 w 399831"/>
                <a:gd name="connsiteY4" fmla="*/ 99801 h 201485"/>
                <a:gd name="connsiteX5" fmla="*/ 252955 w 399831"/>
                <a:gd name="connsiteY5" fmla="*/ 96663 h 201485"/>
                <a:gd name="connsiteX6" fmla="*/ 200230 w 399831"/>
                <a:gd name="connsiteY6" fmla="*/ 92269 h 201485"/>
                <a:gd name="connsiteX7" fmla="*/ 148133 w 399831"/>
                <a:gd name="connsiteY7" fmla="*/ 96663 h 201485"/>
                <a:gd name="connsiteX8" fmla="*/ 141228 w 399831"/>
                <a:gd name="connsiteY8" fmla="*/ 99801 h 201485"/>
                <a:gd name="connsiteX9" fmla="*/ 147504 w 399831"/>
                <a:gd name="connsiteY9" fmla="*/ 128047 h 201485"/>
                <a:gd name="connsiteX10" fmla="*/ 131185 w 399831"/>
                <a:gd name="connsiteY10" fmla="*/ 161313 h 201485"/>
                <a:gd name="connsiteX11" fmla="*/ 55864 w 399831"/>
                <a:gd name="connsiteY11" fmla="*/ 200230 h 201485"/>
                <a:gd name="connsiteX12" fmla="*/ 52725 w 399831"/>
                <a:gd name="connsiteY12" fmla="*/ 201485 h 201485"/>
                <a:gd name="connsiteX13" fmla="*/ 48332 w 399831"/>
                <a:gd name="connsiteY13" fmla="*/ 201485 h 201485"/>
                <a:gd name="connsiteX14" fmla="*/ 15692 w 399831"/>
                <a:gd name="connsiteY14" fmla="*/ 180771 h 201485"/>
                <a:gd name="connsiteX15" fmla="*/ 0 w 399831"/>
                <a:gd name="connsiteY15" fmla="*/ 107961 h 201485"/>
                <a:gd name="connsiteX16" fmla="*/ 1256 w 399831"/>
                <a:gd name="connsiteY16" fmla="*/ 85992 h 201485"/>
                <a:gd name="connsiteX17" fmla="*/ 1883 w 399831"/>
                <a:gd name="connsiteY17" fmla="*/ 80343 h 201485"/>
                <a:gd name="connsiteX18" fmla="*/ 5649 w 399831"/>
                <a:gd name="connsiteY18" fmla="*/ 76577 h 201485"/>
                <a:gd name="connsiteX19" fmla="*/ 198975 w 399831"/>
                <a:gd name="connsiteY19" fmla="*/ 0 h 201485"/>
                <a:gd name="connsiteX20" fmla="*/ 200857 w 399831"/>
                <a:gd name="connsiteY20" fmla="*/ 0 h 201485"/>
                <a:gd name="connsiteX21" fmla="*/ 394183 w 399831"/>
                <a:gd name="connsiteY21" fmla="*/ 76577 h 201485"/>
                <a:gd name="connsiteX22" fmla="*/ 397948 w 399831"/>
                <a:gd name="connsiteY22" fmla="*/ 80343 h 201485"/>
                <a:gd name="connsiteX23" fmla="*/ 398576 w 399831"/>
                <a:gd name="connsiteY23" fmla="*/ 85992 h 201485"/>
                <a:gd name="connsiteX24" fmla="*/ 399832 w 399831"/>
                <a:gd name="connsiteY24" fmla="*/ 107333 h 201485"/>
                <a:gd name="connsiteX25" fmla="*/ 384140 w 399831"/>
                <a:gd name="connsiteY25" fmla="*/ 180771 h 201485"/>
                <a:gd name="connsiteX26" fmla="*/ 352756 w 399831"/>
                <a:gd name="connsiteY26" fmla="*/ 200857 h 201485"/>
                <a:gd name="connsiteX27" fmla="*/ 352756 w 399831"/>
                <a:gd name="connsiteY27" fmla="*/ 200857 h 201485"/>
                <a:gd name="connsiteX28" fmla="*/ 45821 w 399831"/>
                <a:gd name="connsiteY28" fmla="*/ 165707 h 201485"/>
                <a:gd name="connsiteX29" fmla="*/ 47704 w 399831"/>
                <a:gd name="connsiteY29" fmla="*/ 166963 h 201485"/>
                <a:gd name="connsiteX30" fmla="*/ 112982 w 399831"/>
                <a:gd name="connsiteY30" fmla="*/ 133068 h 201485"/>
                <a:gd name="connsiteX31" fmla="*/ 113610 w 399831"/>
                <a:gd name="connsiteY31" fmla="*/ 131813 h 201485"/>
                <a:gd name="connsiteX32" fmla="*/ 107961 w 399831"/>
                <a:gd name="connsiteY32" fmla="*/ 106078 h 201485"/>
                <a:gd name="connsiteX33" fmla="*/ 112982 w 399831"/>
                <a:gd name="connsiteY33" fmla="*/ 82226 h 201485"/>
                <a:gd name="connsiteX34" fmla="*/ 142484 w 399831"/>
                <a:gd name="connsiteY34" fmla="*/ 64651 h 201485"/>
                <a:gd name="connsiteX35" fmla="*/ 199602 w 399831"/>
                <a:gd name="connsiteY35" fmla="*/ 60257 h 201485"/>
                <a:gd name="connsiteX36" fmla="*/ 257348 w 399831"/>
                <a:gd name="connsiteY36" fmla="*/ 64651 h 201485"/>
                <a:gd name="connsiteX37" fmla="*/ 286850 w 399831"/>
                <a:gd name="connsiteY37" fmla="*/ 82226 h 201485"/>
                <a:gd name="connsiteX38" fmla="*/ 291243 w 399831"/>
                <a:gd name="connsiteY38" fmla="*/ 106078 h 201485"/>
                <a:gd name="connsiteX39" fmla="*/ 285594 w 399831"/>
                <a:gd name="connsiteY39" fmla="*/ 131813 h 201485"/>
                <a:gd name="connsiteX40" fmla="*/ 287477 w 399831"/>
                <a:gd name="connsiteY40" fmla="*/ 133695 h 201485"/>
                <a:gd name="connsiteX41" fmla="*/ 352756 w 399831"/>
                <a:gd name="connsiteY41" fmla="*/ 166963 h 201485"/>
                <a:gd name="connsiteX42" fmla="*/ 354011 w 399831"/>
                <a:gd name="connsiteY42" fmla="*/ 165707 h 201485"/>
                <a:gd name="connsiteX43" fmla="*/ 365937 w 399831"/>
                <a:gd name="connsiteY43" fmla="*/ 107333 h 201485"/>
                <a:gd name="connsiteX44" fmla="*/ 365309 w 399831"/>
                <a:gd name="connsiteY44" fmla="*/ 95407 h 201485"/>
                <a:gd name="connsiteX45" fmla="*/ 199602 w 399831"/>
                <a:gd name="connsiteY45" fmla="*/ 33267 h 201485"/>
                <a:gd name="connsiteX46" fmla="*/ 197091 w 399831"/>
                <a:gd name="connsiteY46" fmla="*/ 33267 h 201485"/>
                <a:gd name="connsiteX47" fmla="*/ 32640 w 399831"/>
                <a:gd name="connsiteY47" fmla="*/ 95407 h 201485"/>
                <a:gd name="connsiteX48" fmla="*/ 32012 w 399831"/>
                <a:gd name="connsiteY48" fmla="*/ 107333 h 201485"/>
                <a:gd name="connsiteX49" fmla="*/ 45821 w 399831"/>
                <a:gd name="connsiteY49" fmla="*/ 165707 h 201485"/>
                <a:gd name="connsiteX50" fmla="*/ 45821 w 399831"/>
                <a:gd name="connsiteY50" fmla="*/ 165707 h 201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399831" h="201485">
                  <a:moveTo>
                    <a:pt x="352756" y="200857"/>
                  </a:moveTo>
                  <a:cubicBezTo>
                    <a:pt x="349617" y="200857"/>
                    <a:pt x="346479" y="200230"/>
                    <a:pt x="343968" y="198974"/>
                  </a:cubicBezTo>
                  <a:cubicBezTo>
                    <a:pt x="322627" y="188932"/>
                    <a:pt x="295009" y="175750"/>
                    <a:pt x="270530" y="161313"/>
                  </a:cubicBezTo>
                  <a:cubicBezTo>
                    <a:pt x="262998" y="156920"/>
                    <a:pt x="250444" y="141228"/>
                    <a:pt x="253582" y="128047"/>
                  </a:cubicBezTo>
                  <a:lnTo>
                    <a:pt x="259859" y="99801"/>
                  </a:lnTo>
                  <a:cubicBezTo>
                    <a:pt x="259232" y="99173"/>
                    <a:pt x="256721" y="97290"/>
                    <a:pt x="252955" y="96663"/>
                  </a:cubicBezTo>
                  <a:cubicBezTo>
                    <a:pt x="236008" y="94152"/>
                    <a:pt x="218432" y="92896"/>
                    <a:pt x="200230" y="92269"/>
                  </a:cubicBezTo>
                  <a:cubicBezTo>
                    <a:pt x="182027" y="92269"/>
                    <a:pt x="164452" y="93524"/>
                    <a:pt x="148133" y="96663"/>
                  </a:cubicBezTo>
                  <a:cubicBezTo>
                    <a:pt x="144366" y="97290"/>
                    <a:pt x="142484" y="98546"/>
                    <a:pt x="141228" y="99801"/>
                  </a:cubicBezTo>
                  <a:lnTo>
                    <a:pt x="147504" y="128047"/>
                  </a:lnTo>
                  <a:cubicBezTo>
                    <a:pt x="150643" y="141856"/>
                    <a:pt x="137462" y="156920"/>
                    <a:pt x="131185" y="161313"/>
                  </a:cubicBezTo>
                  <a:cubicBezTo>
                    <a:pt x="101684" y="180144"/>
                    <a:pt x="82854" y="189559"/>
                    <a:pt x="55864" y="200230"/>
                  </a:cubicBezTo>
                  <a:lnTo>
                    <a:pt x="52725" y="201485"/>
                  </a:lnTo>
                  <a:lnTo>
                    <a:pt x="48332" y="201485"/>
                  </a:lnTo>
                  <a:cubicBezTo>
                    <a:pt x="37033" y="201485"/>
                    <a:pt x="20714" y="193325"/>
                    <a:pt x="15692" y="180771"/>
                  </a:cubicBezTo>
                  <a:cubicBezTo>
                    <a:pt x="5649" y="157548"/>
                    <a:pt x="0" y="133068"/>
                    <a:pt x="0" y="107961"/>
                  </a:cubicBezTo>
                  <a:cubicBezTo>
                    <a:pt x="0" y="101056"/>
                    <a:pt x="628" y="93524"/>
                    <a:pt x="1256" y="85992"/>
                  </a:cubicBezTo>
                  <a:lnTo>
                    <a:pt x="1883" y="80343"/>
                  </a:lnTo>
                  <a:lnTo>
                    <a:pt x="5649" y="76577"/>
                  </a:lnTo>
                  <a:cubicBezTo>
                    <a:pt x="52098" y="28246"/>
                    <a:pt x="122397" y="0"/>
                    <a:pt x="198975" y="0"/>
                  </a:cubicBezTo>
                  <a:lnTo>
                    <a:pt x="200857" y="0"/>
                  </a:lnTo>
                  <a:cubicBezTo>
                    <a:pt x="278062" y="628"/>
                    <a:pt x="347734" y="28246"/>
                    <a:pt x="394183" y="76577"/>
                  </a:cubicBezTo>
                  <a:lnTo>
                    <a:pt x="397948" y="80343"/>
                  </a:lnTo>
                  <a:lnTo>
                    <a:pt x="398576" y="85992"/>
                  </a:lnTo>
                  <a:cubicBezTo>
                    <a:pt x="399204" y="93524"/>
                    <a:pt x="399832" y="100429"/>
                    <a:pt x="399832" y="107333"/>
                  </a:cubicBezTo>
                  <a:cubicBezTo>
                    <a:pt x="399832" y="132440"/>
                    <a:pt x="394810" y="157548"/>
                    <a:pt x="384140" y="180771"/>
                  </a:cubicBezTo>
                  <a:cubicBezTo>
                    <a:pt x="380374" y="192697"/>
                    <a:pt x="364054" y="200857"/>
                    <a:pt x="352756" y="200857"/>
                  </a:cubicBezTo>
                  <a:lnTo>
                    <a:pt x="352756" y="200857"/>
                  </a:lnTo>
                  <a:close/>
                  <a:moveTo>
                    <a:pt x="45821" y="165707"/>
                  </a:moveTo>
                  <a:cubicBezTo>
                    <a:pt x="46448" y="166335"/>
                    <a:pt x="47076" y="166335"/>
                    <a:pt x="47704" y="166963"/>
                  </a:cubicBezTo>
                  <a:cubicBezTo>
                    <a:pt x="70300" y="158175"/>
                    <a:pt x="87247" y="149387"/>
                    <a:pt x="112982" y="133068"/>
                  </a:cubicBezTo>
                  <a:cubicBezTo>
                    <a:pt x="112982" y="133068"/>
                    <a:pt x="113610" y="132440"/>
                    <a:pt x="113610" y="131813"/>
                  </a:cubicBezTo>
                  <a:lnTo>
                    <a:pt x="107961" y="106078"/>
                  </a:lnTo>
                  <a:cubicBezTo>
                    <a:pt x="106078" y="97918"/>
                    <a:pt x="107961" y="89758"/>
                    <a:pt x="112982" y="82226"/>
                  </a:cubicBezTo>
                  <a:cubicBezTo>
                    <a:pt x="119259" y="72811"/>
                    <a:pt x="129930" y="66534"/>
                    <a:pt x="142484" y="64651"/>
                  </a:cubicBezTo>
                  <a:cubicBezTo>
                    <a:pt x="160686" y="61512"/>
                    <a:pt x="180144" y="60257"/>
                    <a:pt x="199602" y="60257"/>
                  </a:cubicBezTo>
                  <a:cubicBezTo>
                    <a:pt x="219688" y="60257"/>
                    <a:pt x="239146" y="62140"/>
                    <a:pt x="257348" y="64651"/>
                  </a:cubicBezTo>
                  <a:cubicBezTo>
                    <a:pt x="269902" y="66534"/>
                    <a:pt x="280573" y="72811"/>
                    <a:pt x="286850" y="82226"/>
                  </a:cubicBezTo>
                  <a:cubicBezTo>
                    <a:pt x="291871" y="89758"/>
                    <a:pt x="293126" y="97918"/>
                    <a:pt x="291243" y="106078"/>
                  </a:cubicBezTo>
                  <a:lnTo>
                    <a:pt x="285594" y="131813"/>
                  </a:lnTo>
                  <a:cubicBezTo>
                    <a:pt x="286222" y="132440"/>
                    <a:pt x="286850" y="133695"/>
                    <a:pt x="287477" y="133695"/>
                  </a:cubicBezTo>
                  <a:cubicBezTo>
                    <a:pt x="308191" y="145622"/>
                    <a:pt x="332670" y="157548"/>
                    <a:pt x="352756" y="166963"/>
                  </a:cubicBezTo>
                  <a:cubicBezTo>
                    <a:pt x="353383" y="166335"/>
                    <a:pt x="354011" y="166335"/>
                    <a:pt x="354011" y="165707"/>
                  </a:cubicBezTo>
                  <a:cubicBezTo>
                    <a:pt x="362171" y="146877"/>
                    <a:pt x="365937" y="127419"/>
                    <a:pt x="365937" y="107333"/>
                  </a:cubicBezTo>
                  <a:cubicBezTo>
                    <a:pt x="365937" y="103567"/>
                    <a:pt x="365937" y="99173"/>
                    <a:pt x="365309" y="95407"/>
                  </a:cubicBezTo>
                  <a:cubicBezTo>
                    <a:pt x="325765" y="56491"/>
                    <a:pt x="264253" y="33267"/>
                    <a:pt x="199602" y="33267"/>
                  </a:cubicBezTo>
                  <a:lnTo>
                    <a:pt x="197091" y="33267"/>
                  </a:lnTo>
                  <a:cubicBezTo>
                    <a:pt x="133696" y="33267"/>
                    <a:pt x="72183" y="56491"/>
                    <a:pt x="32640" y="95407"/>
                  </a:cubicBezTo>
                  <a:cubicBezTo>
                    <a:pt x="32012" y="99801"/>
                    <a:pt x="32012" y="103567"/>
                    <a:pt x="32012" y="107333"/>
                  </a:cubicBezTo>
                  <a:cubicBezTo>
                    <a:pt x="33895" y="127419"/>
                    <a:pt x="38289" y="146877"/>
                    <a:pt x="45821" y="165707"/>
                  </a:cubicBezTo>
                  <a:lnTo>
                    <a:pt x="45821" y="165707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0" name="Forma Livre: Forma 29">
              <a:extLst>
                <a:ext uri="{FF2B5EF4-FFF2-40B4-BE49-F238E27FC236}">
                  <a16:creationId xmlns:a16="http://schemas.microsoft.com/office/drawing/2014/main" id="{B158DD51-4778-434E-A47F-DF844FB3FDC3}"/>
                </a:ext>
              </a:extLst>
            </p:cNvPr>
            <p:cNvSpPr/>
            <p:nvPr/>
          </p:nvSpPr>
          <p:spPr>
            <a:xfrm>
              <a:off x="10767544" y="4654185"/>
              <a:ext cx="125535" cy="125535"/>
            </a:xfrm>
            <a:custGeom>
              <a:avLst/>
              <a:gdLst>
                <a:gd name="connsiteX0" fmla="*/ 108588 w 125535"/>
                <a:gd name="connsiteY0" fmla="*/ 125536 h 125535"/>
                <a:gd name="connsiteX1" fmla="*/ 91641 w 125535"/>
                <a:gd name="connsiteY1" fmla="*/ 108588 h 125535"/>
                <a:gd name="connsiteX2" fmla="*/ 91641 w 125535"/>
                <a:gd name="connsiteY2" fmla="*/ 33895 h 125535"/>
                <a:gd name="connsiteX3" fmla="*/ 16947 w 125535"/>
                <a:gd name="connsiteY3" fmla="*/ 33895 h 125535"/>
                <a:gd name="connsiteX4" fmla="*/ 0 w 125535"/>
                <a:gd name="connsiteY4" fmla="*/ 16947 h 125535"/>
                <a:gd name="connsiteX5" fmla="*/ 16947 w 125535"/>
                <a:gd name="connsiteY5" fmla="*/ 0 h 125535"/>
                <a:gd name="connsiteX6" fmla="*/ 16947 w 125535"/>
                <a:gd name="connsiteY6" fmla="*/ 0 h 125535"/>
                <a:gd name="connsiteX7" fmla="*/ 108588 w 125535"/>
                <a:gd name="connsiteY7" fmla="*/ 0 h 125535"/>
                <a:gd name="connsiteX8" fmla="*/ 125536 w 125535"/>
                <a:gd name="connsiteY8" fmla="*/ 16947 h 125535"/>
                <a:gd name="connsiteX9" fmla="*/ 125536 w 125535"/>
                <a:gd name="connsiteY9" fmla="*/ 108588 h 125535"/>
                <a:gd name="connsiteX10" fmla="*/ 108588 w 125535"/>
                <a:gd name="connsiteY10" fmla="*/ 125536 h 125535"/>
                <a:gd name="connsiteX11" fmla="*/ 108588 w 125535"/>
                <a:gd name="connsiteY11" fmla="*/ 125536 h 125535"/>
                <a:gd name="connsiteX12" fmla="*/ 108588 w 125535"/>
                <a:gd name="connsiteY12" fmla="*/ 125536 h 125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5535" h="125535">
                  <a:moveTo>
                    <a:pt x="108588" y="125536"/>
                  </a:moveTo>
                  <a:cubicBezTo>
                    <a:pt x="99173" y="125536"/>
                    <a:pt x="91641" y="118004"/>
                    <a:pt x="91641" y="108588"/>
                  </a:cubicBezTo>
                  <a:lnTo>
                    <a:pt x="91641" y="33895"/>
                  </a:lnTo>
                  <a:lnTo>
                    <a:pt x="16947" y="33895"/>
                  </a:lnTo>
                  <a:cubicBezTo>
                    <a:pt x="7532" y="33895"/>
                    <a:pt x="0" y="26363"/>
                    <a:pt x="0" y="16947"/>
                  </a:cubicBezTo>
                  <a:cubicBezTo>
                    <a:pt x="0" y="7532"/>
                    <a:pt x="7532" y="0"/>
                    <a:pt x="16947" y="0"/>
                  </a:cubicBezTo>
                  <a:lnTo>
                    <a:pt x="16947" y="0"/>
                  </a:lnTo>
                  <a:lnTo>
                    <a:pt x="108588" y="0"/>
                  </a:lnTo>
                  <a:cubicBezTo>
                    <a:pt x="118003" y="0"/>
                    <a:pt x="125536" y="7532"/>
                    <a:pt x="125536" y="16947"/>
                  </a:cubicBezTo>
                  <a:lnTo>
                    <a:pt x="125536" y="108588"/>
                  </a:lnTo>
                  <a:cubicBezTo>
                    <a:pt x="125536" y="118004"/>
                    <a:pt x="118003" y="125536"/>
                    <a:pt x="108588" y="125536"/>
                  </a:cubicBezTo>
                  <a:lnTo>
                    <a:pt x="108588" y="125536"/>
                  </a:lnTo>
                  <a:lnTo>
                    <a:pt x="108588" y="125536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1" name="Forma Livre: Forma 30">
              <a:extLst>
                <a:ext uri="{FF2B5EF4-FFF2-40B4-BE49-F238E27FC236}">
                  <a16:creationId xmlns:a16="http://schemas.microsoft.com/office/drawing/2014/main" id="{CD41F4F3-102F-4ED4-B8A8-1BF5A9EB3EAD}"/>
                </a:ext>
              </a:extLst>
            </p:cNvPr>
            <p:cNvSpPr/>
            <p:nvPr/>
          </p:nvSpPr>
          <p:spPr>
            <a:xfrm>
              <a:off x="10524887" y="4666366"/>
              <a:ext cx="358962" cy="140972"/>
            </a:xfrm>
            <a:custGeom>
              <a:avLst/>
              <a:gdLst>
                <a:gd name="connsiteX0" fmla="*/ 179260 w 358962"/>
                <a:gd name="connsiteY0" fmla="*/ 140972 h 140972"/>
                <a:gd name="connsiteX1" fmla="*/ 137834 w 358962"/>
                <a:gd name="connsiteY1" fmla="*/ 127791 h 140972"/>
                <a:gd name="connsiteX2" fmla="*/ 6649 w 358962"/>
                <a:gd name="connsiteY2" fmla="*/ 29873 h 140972"/>
                <a:gd name="connsiteX3" fmla="*/ 3510 w 358962"/>
                <a:gd name="connsiteY3" fmla="*/ 6649 h 140972"/>
                <a:gd name="connsiteX4" fmla="*/ 26735 w 358962"/>
                <a:gd name="connsiteY4" fmla="*/ 3511 h 140972"/>
                <a:gd name="connsiteX5" fmla="*/ 157920 w 358962"/>
                <a:gd name="connsiteY5" fmla="*/ 101429 h 140972"/>
                <a:gd name="connsiteX6" fmla="*/ 201229 w 358962"/>
                <a:gd name="connsiteY6" fmla="*/ 101429 h 140972"/>
                <a:gd name="connsiteX7" fmla="*/ 332414 w 358962"/>
                <a:gd name="connsiteY7" fmla="*/ 3511 h 140972"/>
                <a:gd name="connsiteX8" fmla="*/ 355639 w 358962"/>
                <a:gd name="connsiteY8" fmla="*/ 6649 h 140972"/>
                <a:gd name="connsiteX9" fmla="*/ 352500 w 358962"/>
                <a:gd name="connsiteY9" fmla="*/ 29873 h 140972"/>
                <a:gd name="connsiteX10" fmla="*/ 221315 w 358962"/>
                <a:gd name="connsiteY10" fmla="*/ 127791 h 140972"/>
                <a:gd name="connsiteX11" fmla="*/ 179260 w 358962"/>
                <a:gd name="connsiteY11" fmla="*/ 140972 h 140972"/>
                <a:gd name="connsiteX12" fmla="*/ 179260 w 358962"/>
                <a:gd name="connsiteY12" fmla="*/ 140972 h 140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58962" h="140972">
                  <a:moveTo>
                    <a:pt x="179260" y="140972"/>
                  </a:moveTo>
                  <a:cubicBezTo>
                    <a:pt x="164197" y="140972"/>
                    <a:pt x="149132" y="136579"/>
                    <a:pt x="137834" y="127791"/>
                  </a:cubicBezTo>
                  <a:lnTo>
                    <a:pt x="6649" y="29873"/>
                  </a:lnTo>
                  <a:cubicBezTo>
                    <a:pt x="-883" y="24224"/>
                    <a:pt x="-2138" y="14181"/>
                    <a:pt x="3510" y="6649"/>
                  </a:cubicBezTo>
                  <a:cubicBezTo>
                    <a:pt x="9160" y="-883"/>
                    <a:pt x="19202" y="-2138"/>
                    <a:pt x="26735" y="3511"/>
                  </a:cubicBezTo>
                  <a:lnTo>
                    <a:pt x="157920" y="101429"/>
                  </a:lnTo>
                  <a:cubicBezTo>
                    <a:pt x="169218" y="110216"/>
                    <a:pt x="189304" y="110216"/>
                    <a:pt x="201229" y="101429"/>
                  </a:cubicBezTo>
                  <a:lnTo>
                    <a:pt x="332414" y="3511"/>
                  </a:lnTo>
                  <a:cubicBezTo>
                    <a:pt x="339947" y="-2138"/>
                    <a:pt x="349989" y="-255"/>
                    <a:pt x="355639" y="6649"/>
                  </a:cubicBezTo>
                  <a:cubicBezTo>
                    <a:pt x="361287" y="14181"/>
                    <a:pt x="359405" y="24224"/>
                    <a:pt x="352500" y="29873"/>
                  </a:cubicBezTo>
                  <a:lnTo>
                    <a:pt x="221315" y="127791"/>
                  </a:lnTo>
                  <a:cubicBezTo>
                    <a:pt x="208762" y="136579"/>
                    <a:pt x="194325" y="140972"/>
                    <a:pt x="179260" y="140972"/>
                  </a:cubicBezTo>
                  <a:lnTo>
                    <a:pt x="179260" y="140972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2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3571970" y="4693258"/>
            <a:ext cx="98009" cy="93524"/>
            <a:chOff x="3571970" y="4693258"/>
            <a:chExt cx="98009" cy="93524"/>
          </a:xfrm>
          <a:solidFill>
            <a:srgbClr val="B1B1A1"/>
          </a:solidFill>
        </p:grpSpPr>
        <p:sp>
          <p:nvSpPr>
            <p:cNvPr id="33" name="Forma Livre: Forma 32">
              <a:extLst>
                <a:ext uri="{FF2B5EF4-FFF2-40B4-BE49-F238E27FC236}">
                  <a16:creationId xmlns:a16="http://schemas.microsoft.com/office/drawing/2014/main" id="{6494060C-3E37-4500-A479-BFDB10825F5F}"/>
                </a:ext>
              </a:extLst>
            </p:cNvPr>
            <p:cNvSpPr/>
            <p:nvPr/>
          </p:nvSpPr>
          <p:spPr>
            <a:xfrm>
              <a:off x="3579367" y="4698750"/>
              <a:ext cx="84736" cy="80970"/>
            </a:xfrm>
            <a:custGeom>
              <a:avLst/>
              <a:gdLst>
                <a:gd name="connsiteX0" fmla="*/ 42054 w 84736"/>
                <a:gd name="connsiteY0" fmla="*/ 0 h 80970"/>
                <a:gd name="connsiteX1" fmla="*/ 32012 w 84736"/>
                <a:gd name="connsiteY1" fmla="*/ 30756 h 80970"/>
                <a:gd name="connsiteX2" fmla="*/ 0 w 84736"/>
                <a:gd name="connsiteY2" fmla="*/ 30756 h 80970"/>
                <a:gd name="connsiteX3" fmla="*/ 25735 w 84736"/>
                <a:gd name="connsiteY3" fmla="*/ 50214 h 80970"/>
                <a:gd name="connsiteX4" fmla="*/ 16320 w 84736"/>
                <a:gd name="connsiteY4" fmla="*/ 80970 h 80970"/>
                <a:gd name="connsiteX5" fmla="*/ 42054 w 84736"/>
                <a:gd name="connsiteY5" fmla="*/ 61512 h 80970"/>
                <a:gd name="connsiteX6" fmla="*/ 68417 w 84736"/>
                <a:gd name="connsiteY6" fmla="*/ 80970 h 80970"/>
                <a:gd name="connsiteX7" fmla="*/ 58374 w 84736"/>
                <a:gd name="connsiteY7" fmla="*/ 50214 h 80970"/>
                <a:gd name="connsiteX8" fmla="*/ 84737 w 84736"/>
                <a:gd name="connsiteY8" fmla="*/ 30756 h 80970"/>
                <a:gd name="connsiteX9" fmla="*/ 52097 w 84736"/>
                <a:gd name="connsiteY9" fmla="*/ 30756 h 80970"/>
                <a:gd name="connsiteX10" fmla="*/ 42054 w 84736"/>
                <a:gd name="connsiteY10" fmla="*/ 0 h 80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4736" h="80970">
                  <a:moveTo>
                    <a:pt x="42054" y="0"/>
                  </a:moveTo>
                  <a:lnTo>
                    <a:pt x="32012" y="30756"/>
                  </a:lnTo>
                  <a:lnTo>
                    <a:pt x="0" y="30756"/>
                  </a:lnTo>
                  <a:lnTo>
                    <a:pt x="25735" y="50214"/>
                  </a:lnTo>
                  <a:lnTo>
                    <a:pt x="16320" y="80970"/>
                  </a:lnTo>
                  <a:lnTo>
                    <a:pt x="42054" y="61512"/>
                  </a:lnTo>
                  <a:lnTo>
                    <a:pt x="68417" y="80970"/>
                  </a:lnTo>
                  <a:lnTo>
                    <a:pt x="58374" y="50214"/>
                  </a:lnTo>
                  <a:lnTo>
                    <a:pt x="84737" y="30756"/>
                  </a:lnTo>
                  <a:lnTo>
                    <a:pt x="52097" y="30756"/>
                  </a:lnTo>
                  <a:lnTo>
                    <a:pt x="42054" y="0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4" name="Forma Livre: Forma 33">
              <a:extLst>
                <a:ext uri="{FF2B5EF4-FFF2-40B4-BE49-F238E27FC236}">
                  <a16:creationId xmlns:a16="http://schemas.microsoft.com/office/drawing/2014/main" id="{303E4ED7-7DDC-43AD-9E47-A380698E5C38}"/>
                </a:ext>
              </a:extLst>
            </p:cNvPr>
            <p:cNvSpPr/>
            <p:nvPr/>
          </p:nvSpPr>
          <p:spPr>
            <a:xfrm>
              <a:off x="3571970" y="4693258"/>
              <a:ext cx="98009" cy="93524"/>
            </a:xfrm>
            <a:custGeom>
              <a:avLst/>
              <a:gdLst>
                <a:gd name="connsiteX0" fmla="*/ 75814 w 98009"/>
                <a:gd name="connsiteY0" fmla="*/ 93367 h 93524"/>
                <a:gd name="connsiteX1" fmla="*/ 71420 w 98009"/>
                <a:gd name="connsiteY1" fmla="*/ 92112 h 93524"/>
                <a:gd name="connsiteX2" fmla="*/ 49451 w 98009"/>
                <a:gd name="connsiteY2" fmla="*/ 75792 h 93524"/>
                <a:gd name="connsiteX3" fmla="*/ 27483 w 98009"/>
                <a:gd name="connsiteY3" fmla="*/ 92112 h 93524"/>
                <a:gd name="connsiteX4" fmla="*/ 19323 w 98009"/>
                <a:gd name="connsiteY4" fmla="*/ 92112 h 93524"/>
                <a:gd name="connsiteX5" fmla="*/ 16812 w 98009"/>
                <a:gd name="connsiteY5" fmla="*/ 84580 h 93524"/>
                <a:gd name="connsiteX6" fmla="*/ 24972 w 98009"/>
                <a:gd name="connsiteY6" fmla="*/ 58845 h 93524"/>
                <a:gd name="connsiteX7" fmla="*/ 3003 w 98009"/>
                <a:gd name="connsiteY7" fmla="*/ 42525 h 93524"/>
                <a:gd name="connsiteX8" fmla="*/ 493 w 98009"/>
                <a:gd name="connsiteY8" fmla="*/ 34993 h 93524"/>
                <a:gd name="connsiteX9" fmla="*/ 7397 w 98009"/>
                <a:gd name="connsiteY9" fmla="*/ 29972 h 93524"/>
                <a:gd name="connsiteX10" fmla="*/ 34387 w 98009"/>
                <a:gd name="connsiteY10" fmla="*/ 29972 h 93524"/>
                <a:gd name="connsiteX11" fmla="*/ 42547 w 98009"/>
                <a:gd name="connsiteY11" fmla="*/ 4237 h 93524"/>
                <a:gd name="connsiteX12" fmla="*/ 55728 w 98009"/>
                <a:gd name="connsiteY12" fmla="*/ 4237 h 93524"/>
                <a:gd name="connsiteX13" fmla="*/ 63888 w 98009"/>
                <a:gd name="connsiteY13" fmla="*/ 29972 h 93524"/>
                <a:gd name="connsiteX14" fmla="*/ 90878 w 98009"/>
                <a:gd name="connsiteY14" fmla="*/ 29972 h 93524"/>
                <a:gd name="connsiteX15" fmla="*/ 97783 w 98009"/>
                <a:gd name="connsiteY15" fmla="*/ 34993 h 93524"/>
                <a:gd name="connsiteX16" fmla="*/ 95272 w 98009"/>
                <a:gd name="connsiteY16" fmla="*/ 42525 h 93524"/>
                <a:gd name="connsiteX17" fmla="*/ 73303 w 98009"/>
                <a:gd name="connsiteY17" fmla="*/ 58845 h 93524"/>
                <a:gd name="connsiteX18" fmla="*/ 81463 w 98009"/>
                <a:gd name="connsiteY18" fmla="*/ 84580 h 93524"/>
                <a:gd name="connsiteX19" fmla="*/ 78952 w 98009"/>
                <a:gd name="connsiteY19" fmla="*/ 92112 h 93524"/>
                <a:gd name="connsiteX20" fmla="*/ 75814 w 98009"/>
                <a:gd name="connsiteY20" fmla="*/ 93367 h 93524"/>
                <a:gd name="connsiteX21" fmla="*/ 75814 w 98009"/>
                <a:gd name="connsiteY21" fmla="*/ 93367 h 93524"/>
                <a:gd name="connsiteX22" fmla="*/ 28738 w 98009"/>
                <a:gd name="connsiteY22" fmla="*/ 43781 h 93524"/>
                <a:gd name="connsiteX23" fmla="*/ 37526 w 98009"/>
                <a:gd name="connsiteY23" fmla="*/ 50057 h 93524"/>
                <a:gd name="connsiteX24" fmla="*/ 40036 w 98009"/>
                <a:gd name="connsiteY24" fmla="*/ 57590 h 93524"/>
                <a:gd name="connsiteX25" fmla="*/ 36898 w 98009"/>
                <a:gd name="connsiteY25" fmla="*/ 67632 h 93524"/>
                <a:gd name="connsiteX26" fmla="*/ 45685 w 98009"/>
                <a:gd name="connsiteY26" fmla="*/ 61356 h 93524"/>
                <a:gd name="connsiteX27" fmla="*/ 53845 w 98009"/>
                <a:gd name="connsiteY27" fmla="*/ 61356 h 93524"/>
                <a:gd name="connsiteX28" fmla="*/ 62633 w 98009"/>
                <a:gd name="connsiteY28" fmla="*/ 67632 h 93524"/>
                <a:gd name="connsiteX29" fmla="*/ 59494 w 98009"/>
                <a:gd name="connsiteY29" fmla="*/ 57590 h 93524"/>
                <a:gd name="connsiteX30" fmla="*/ 62005 w 98009"/>
                <a:gd name="connsiteY30" fmla="*/ 50057 h 93524"/>
                <a:gd name="connsiteX31" fmla="*/ 70793 w 98009"/>
                <a:gd name="connsiteY31" fmla="*/ 43781 h 93524"/>
                <a:gd name="connsiteX32" fmla="*/ 60122 w 98009"/>
                <a:gd name="connsiteY32" fmla="*/ 43781 h 93524"/>
                <a:gd name="connsiteX33" fmla="*/ 53217 w 98009"/>
                <a:gd name="connsiteY33" fmla="*/ 38759 h 93524"/>
                <a:gd name="connsiteX34" fmla="*/ 50079 w 98009"/>
                <a:gd name="connsiteY34" fmla="*/ 28716 h 93524"/>
                <a:gd name="connsiteX35" fmla="*/ 46941 w 98009"/>
                <a:gd name="connsiteY35" fmla="*/ 38759 h 93524"/>
                <a:gd name="connsiteX36" fmla="*/ 40036 w 98009"/>
                <a:gd name="connsiteY36" fmla="*/ 43781 h 93524"/>
                <a:gd name="connsiteX37" fmla="*/ 28738 w 98009"/>
                <a:gd name="connsiteY37" fmla="*/ 43781 h 93524"/>
                <a:gd name="connsiteX38" fmla="*/ 28738 w 98009"/>
                <a:gd name="connsiteY38" fmla="*/ 43781 h 93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98009" h="93524">
                  <a:moveTo>
                    <a:pt x="75814" y="93367"/>
                  </a:moveTo>
                  <a:cubicBezTo>
                    <a:pt x="74559" y="93367"/>
                    <a:pt x="72676" y="92739"/>
                    <a:pt x="71420" y="92112"/>
                  </a:cubicBezTo>
                  <a:lnTo>
                    <a:pt x="49451" y="75792"/>
                  </a:lnTo>
                  <a:lnTo>
                    <a:pt x="27483" y="92112"/>
                  </a:lnTo>
                  <a:cubicBezTo>
                    <a:pt x="24972" y="93995"/>
                    <a:pt x="21834" y="93995"/>
                    <a:pt x="19323" y="92112"/>
                  </a:cubicBezTo>
                  <a:cubicBezTo>
                    <a:pt x="16812" y="90229"/>
                    <a:pt x="15557" y="87091"/>
                    <a:pt x="16812" y="84580"/>
                  </a:cubicBezTo>
                  <a:lnTo>
                    <a:pt x="24972" y="58845"/>
                  </a:lnTo>
                  <a:lnTo>
                    <a:pt x="3003" y="42525"/>
                  </a:lnTo>
                  <a:cubicBezTo>
                    <a:pt x="493" y="40642"/>
                    <a:pt x="-763" y="37504"/>
                    <a:pt x="493" y="34993"/>
                  </a:cubicBezTo>
                  <a:cubicBezTo>
                    <a:pt x="1120" y="31855"/>
                    <a:pt x="4259" y="29972"/>
                    <a:pt x="7397" y="29972"/>
                  </a:cubicBezTo>
                  <a:lnTo>
                    <a:pt x="34387" y="29972"/>
                  </a:lnTo>
                  <a:lnTo>
                    <a:pt x="42547" y="4237"/>
                  </a:lnTo>
                  <a:cubicBezTo>
                    <a:pt x="44430" y="-1412"/>
                    <a:pt x="53845" y="-1412"/>
                    <a:pt x="55728" y="4237"/>
                  </a:cubicBezTo>
                  <a:lnTo>
                    <a:pt x="63888" y="29972"/>
                  </a:lnTo>
                  <a:lnTo>
                    <a:pt x="90878" y="29972"/>
                  </a:lnTo>
                  <a:cubicBezTo>
                    <a:pt x="94017" y="29972"/>
                    <a:pt x="96527" y="31855"/>
                    <a:pt x="97783" y="34993"/>
                  </a:cubicBezTo>
                  <a:cubicBezTo>
                    <a:pt x="98410" y="38131"/>
                    <a:pt x="97783" y="41270"/>
                    <a:pt x="95272" y="42525"/>
                  </a:cubicBezTo>
                  <a:lnTo>
                    <a:pt x="73303" y="58845"/>
                  </a:lnTo>
                  <a:lnTo>
                    <a:pt x="81463" y="84580"/>
                  </a:lnTo>
                  <a:cubicBezTo>
                    <a:pt x="82091" y="87718"/>
                    <a:pt x="81463" y="90857"/>
                    <a:pt x="78952" y="92112"/>
                  </a:cubicBezTo>
                  <a:cubicBezTo>
                    <a:pt x="78325" y="92739"/>
                    <a:pt x="77069" y="93367"/>
                    <a:pt x="75814" y="93367"/>
                  </a:cubicBezTo>
                  <a:lnTo>
                    <a:pt x="75814" y="93367"/>
                  </a:lnTo>
                  <a:close/>
                  <a:moveTo>
                    <a:pt x="28738" y="43781"/>
                  </a:moveTo>
                  <a:lnTo>
                    <a:pt x="37526" y="50057"/>
                  </a:lnTo>
                  <a:cubicBezTo>
                    <a:pt x="40036" y="51940"/>
                    <a:pt x="41292" y="55079"/>
                    <a:pt x="40036" y="57590"/>
                  </a:cubicBezTo>
                  <a:lnTo>
                    <a:pt x="36898" y="67632"/>
                  </a:lnTo>
                  <a:lnTo>
                    <a:pt x="45685" y="61356"/>
                  </a:lnTo>
                  <a:cubicBezTo>
                    <a:pt x="48196" y="59473"/>
                    <a:pt x="51335" y="59473"/>
                    <a:pt x="53845" y="61356"/>
                  </a:cubicBezTo>
                  <a:lnTo>
                    <a:pt x="62633" y="67632"/>
                  </a:lnTo>
                  <a:lnTo>
                    <a:pt x="59494" y="57590"/>
                  </a:lnTo>
                  <a:cubicBezTo>
                    <a:pt x="58867" y="54451"/>
                    <a:pt x="59494" y="51313"/>
                    <a:pt x="62005" y="50057"/>
                  </a:cubicBezTo>
                  <a:lnTo>
                    <a:pt x="70793" y="43781"/>
                  </a:lnTo>
                  <a:lnTo>
                    <a:pt x="60122" y="43781"/>
                  </a:lnTo>
                  <a:cubicBezTo>
                    <a:pt x="56984" y="43781"/>
                    <a:pt x="54473" y="41898"/>
                    <a:pt x="53217" y="38759"/>
                  </a:cubicBezTo>
                  <a:lnTo>
                    <a:pt x="50079" y="28716"/>
                  </a:lnTo>
                  <a:lnTo>
                    <a:pt x="46941" y="38759"/>
                  </a:lnTo>
                  <a:cubicBezTo>
                    <a:pt x="45685" y="41898"/>
                    <a:pt x="43175" y="43781"/>
                    <a:pt x="40036" y="43781"/>
                  </a:cubicBezTo>
                  <a:lnTo>
                    <a:pt x="28738" y="43781"/>
                  </a:lnTo>
                  <a:lnTo>
                    <a:pt x="28738" y="43781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sp>
        <p:nvSpPr>
          <p:cNvPr id="35" name="Forma Livre: Forma 34">
            <a:extLst>
              <a:ext uri="{FF2B5EF4-FFF2-40B4-BE49-F238E27FC236}">
                <a16:creationId xmlns:a16="http://schemas.microsoft.com/office/drawing/2014/main" id="{FF6A7DCB-DBF4-4A40-9044-EB37ABFDDA63}"/>
              </a:ext>
            </a:extLst>
          </p:cNvPr>
          <p:cNvSpPr/>
          <p:nvPr/>
        </p:nvSpPr>
        <p:spPr>
          <a:xfrm>
            <a:off x="4601228" y="4710049"/>
            <a:ext cx="89130" cy="77204"/>
          </a:xfrm>
          <a:custGeom>
            <a:avLst/>
            <a:gdLst>
              <a:gd name="connsiteX0" fmla="*/ 65278 w 89130"/>
              <a:gd name="connsiteY0" fmla="*/ 0 h 77204"/>
              <a:gd name="connsiteX1" fmla="*/ 65278 w 89130"/>
              <a:gd name="connsiteY1" fmla="*/ 0 h 77204"/>
              <a:gd name="connsiteX2" fmla="*/ 44565 w 89130"/>
              <a:gd name="connsiteY2" fmla="*/ 12554 h 77204"/>
              <a:gd name="connsiteX3" fmla="*/ 23852 w 89130"/>
              <a:gd name="connsiteY3" fmla="*/ 628 h 77204"/>
              <a:gd name="connsiteX4" fmla="*/ 23852 w 89130"/>
              <a:gd name="connsiteY4" fmla="*/ 628 h 77204"/>
              <a:gd name="connsiteX5" fmla="*/ 0 w 89130"/>
              <a:gd name="connsiteY5" fmla="*/ 26990 h 77204"/>
              <a:gd name="connsiteX6" fmla="*/ 1255 w 89130"/>
              <a:gd name="connsiteY6" fmla="*/ 35150 h 77204"/>
              <a:gd name="connsiteX7" fmla="*/ 28873 w 89130"/>
              <a:gd name="connsiteY7" fmla="*/ 65278 h 77204"/>
              <a:gd name="connsiteX8" fmla="*/ 45193 w 89130"/>
              <a:gd name="connsiteY8" fmla="*/ 77204 h 77204"/>
              <a:gd name="connsiteX9" fmla="*/ 60885 w 89130"/>
              <a:gd name="connsiteY9" fmla="*/ 65278 h 77204"/>
              <a:gd name="connsiteX10" fmla="*/ 87875 w 89130"/>
              <a:gd name="connsiteY10" fmla="*/ 34522 h 77204"/>
              <a:gd name="connsiteX11" fmla="*/ 89130 w 89130"/>
              <a:gd name="connsiteY11" fmla="*/ 26363 h 77204"/>
              <a:gd name="connsiteX12" fmla="*/ 65278 w 89130"/>
              <a:gd name="connsiteY12" fmla="*/ 0 h 77204"/>
              <a:gd name="connsiteX13" fmla="*/ 65278 w 89130"/>
              <a:gd name="connsiteY13" fmla="*/ 0 h 772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9130" h="77204">
                <a:moveTo>
                  <a:pt x="65278" y="0"/>
                </a:moveTo>
                <a:cubicBezTo>
                  <a:pt x="65278" y="0"/>
                  <a:pt x="64651" y="0"/>
                  <a:pt x="65278" y="0"/>
                </a:cubicBezTo>
                <a:cubicBezTo>
                  <a:pt x="55863" y="0"/>
                  <a:pt x="48331" y="5021"/>
                  <a:pt x="44565" y="12554"/>
                </a:cubicBezTo>
                <a:cubicBezTo>
                  <a:pt x="40171" y="5649"/>
                  <a:pt x="32639" y="628"/>
                  <a:pt x="23852" y="628"/>
                </a:cubicBezTo>
                <a:cubicBezTo>
                  <a:pt x="23852" y="628"/>
                  <a:pt x="23852" y="628"/>
                  <a:pt x="23852" y="628"/>
                </a:cubicBezTo>
                <a:cubicBezTo>
                  <a:pt x="10670" y="628"/>
                  <a:pt x="0" y="12554"/>
                  <a:pt x="0" y="26990"/>
                </a:cubicBezTo>
                <a:cubicBezTo>
                  <a:pt x="0" y="30128"/>
                  <a:pt x="628" y="32639"/>
                  <a:pt x="1255" y="35150"/>
                </a:cubicBezTo>
                <a:cubicBezTo>
                  <a:pt x="3138" y="43310"/>
                  <a:pt x="16319" y="55236"/>
                  <a:pt x="28873" y="65278"/>
                </a:cubicBezTo>
                <a:cubicBezTo>
                  <a:pt x="35150" y="69672"/>
                  <a:pt x="45193" y="77204"/>
                  <a:pt x="45193" y="77204"/>
                </a:cubicBezTo>
                <a:cubicBezTo>
                  <a:pt x="49586" y="74694"/>
                  <a:pt x="55236" y="70300"/>
                  <a:pt x="60885" y="65278"/>
                </a:cubicBezTo>
                <a:cubicBezTo>
                  <a:pt x="72811" y="55236"/>
                  <a:pt x="85992" y="42682"/>
                  <a:pt x="87875" y="34522"/>
                </a:cubicBezTo>
                <a:cubicBezTo>
                  <a:pt x="88503" y="32011"/>
                  <a:pt x="89130" y="29501"/>
                  <a:pt x="89130" y="26363"/>
                </a:cubicBezTo>
                <a:cubicBezTo>
                  <a:pt x="89130" y="11926"/>
                  <a:pt x="78460" y="0"/>
                  <a:pt x="65278" y="0"/>
                </a:cubicBezTo>
                <a:lnTo>
                  <a:pt x="65278" y="0"/>
                </a:lnTo>
                <a:close/>
              </a:path>
            </a:pathLst>
          </a:custGeom>
          <a:solidFill>
            <a:srgbClr val="B1B1A1"/>
          </a:solidFill>
          <a:ln w="627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grpSp>
        <p:nvGrpSpPr>
          <p:cNvPr id="36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3333317" y="5707430"/>
            <a:ext cx="409874" cy="339574"/>
            <a:chOff x="3333317" y="5707430"/>
            <a:chExt cx="409874" cy="339574"/>
          </a:xfrm>
          <a:solidFill>
            <a:srgbClr val="B1B1A1"/>
          </a:solidFill>
        </p:grpSpPr>
        <p:sp>
          <p:nvSpPr>
            <p:cNvPr id="37" name="Forma Livre: Forma 36">
              <a:extLst>
                <a:ext uri="{FF2B5EF4-FFF2-40B4-BE49-F238E27FC236}">
                  <a16:creationId xmlns:a16="http://schemas.microsoft.com/office/drawing/2014/main" id="{50ED17C7-CD03-4985-96C9-8D17D3303363}"/>
                </a:ext>
              </a:extLst>
            </p:cNvPr>
            <p:cNvSpPr/>
            <p:nvPr/>
          </p:nvSpPr>
          <p:spPr>
            <a:xfrm>
              <a:off x="3536058" y="5839870"/>
              <a:ext cx="207133" cy="207133"/>
            </a:xfrm>
            <a:custGeom>
              <a:avLst/>
              <a:gdLst>
                <a:gd name="connsiteX0" fmla="*/ 103567 w 207133"/>
                <a:gd name="connsiteY0" fmla="*/ 207134 h 207133"/>
                <a:gd name="connsiteX1" fmla="*/ 0 w 207133"/>
                <a:gd name="connsiteY1" fmla="*/ 103567 h 207133"/>
                <a:gd name="connsiteX2" fmla="*/ 103567 w 207133"/>
                <a:gd name="connsiteY2" fmla="*/ 0 h 207133"/>
                <a:gd name="connsiteX3" fmla="*/ 207134 w 207133"/>
                <a:gd name="connsiteY3" fmla="*/ 103567 h 207133"/>
                <a:gd name="connsiteX4" fmla="*/ 103567 w 207133"/>
                <a:gd name="connsiteY4" fmla="*/ 207134 h 207133"/>
                <a:gd name="connsiteX5" fmla="*/ 103567 w 207133"/>
                <a:gd name="connsiteY5" fmla="*/ 207134 h 207133"/>
                <a:gd name="connsiteX6" fmla="*/ 103567 w 207133"/>
                <a:gd name="connsiteY6" fmla="*/ 16319 h 207133"/>
                <a:gd name="connsiteX7" fmla="*/ 16319 w 207133"/>
                <a:gd name="connsiteY7" fmla="*/ 103567 h 207133"/>
                <a:gd name="connsiteX8" fmla="*/ 103567 w 207133"/>
                <a:gd name="connsiteY8" fmla="*/ 190814 h 207133"/>
                <a:gd name="connsiteX9" fmla="*/ 190814 w 207133"/>
                <a:gd name="connsiteY9" fmla="*/ 103567 h 207133"/>
                <a:gd name="connsiteX10" fmla="*/ 103567 w 207133"/>
                <a:gd name="connsiteY10" fmla="*/ 16319 h 207133"/>
                <a:gd name="connsiteX11" fmla="*/ 103567 w 207133"/>
                <a:gd name="connsiteY11" fmla="*/ 16319 h 207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7133" h="207133">
                  <a:moveTo>
                    <a:pt x="103567" y="207134"/>
                  </a:moveTo>
                  <a:cubicBezTo>
                    <a:pt x="46448" y="207134"/>
                    <a:pt x="0" y="160686"/>
                    <a:pt x="0" y="103567"/>
                  </a:cubicBezTo>
                  <a:cubicBezTo>
                    <a:pt x="0" y="46448"/>
                    <a:pt x="46448" y="0"/>
                    <a:pt x="103567" y="0"/>
                  </a:cubicBezTo>
                  <a:cubicBezTo>
                    <a:pt x="160686" y="0"/>
                    <a:pt x="207134" y="46448"/>
                    <a:pt x="207134" y="103567"/>
                  </a:cubicBezTo>
                  <a:cubicBezTo>
                    <a:pt x="207134" y="160686"/>
                    <a:pt x="160686" y="207134"/>
                    <a:pt x="103567" y="207134"/>
                  </a:cubicBezTo>
                  <a:lnTo>
                    <a:pt x="103567" y="207134"/>
                  </a:lnTo>
                  <a:close/>
                  <a:moveTo>
                    <a:pt x="103567" y="16319"/>
                  </a:moveTo>
                  <a:cubicBezTo>
                    <a:pt x="55863" y="16319"/>
                    <a:pt x="16319" y="55236"/>
                    <a:pt x="16319" y="103567"/>
                  </a:cubicBezTo>
                  <a:cubicBezTo>
                    <a:pt x="16319" y="151270"/>
                    <a:pt x="55236" y="190814"/>
                    <a:pt x="103567" y="190814"/>
                  </a:cubicBezTo>
                  <a:cubicBezTo>
                    <a:pt x="151270" y="190814"/>
                    <a:pt x="190814" y="151898"/>
                    <a:pt x="190814" y="103567"/>
                  </a:cubicBezTo>
                  <a:cubicBezTo>
                    <a:pt x="190814" y="55236"/>
                    <a:pt x="151270" y="16319"/>
                    <a:pt x="103567" y="16319"/>
                  </a:cubicBezTo>
                  <a:lnTo>
                    <a:pt x="103567" y="16319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8" name="Forma Livre: Forma 37">
              <a:extLst>
                <a:ext uri="{FF2B5EF4-FFF2-40B4-BE49-F238E27FC236}">
                  <a16:creationId xmlns:a16="http://schemas.microsoft.com/office/drawing/2014/main" id="{73D8BC7C-89E6-4705-B66D-F81DDD47755C}"/>
                </a:ext>
              </a:extLst>
            </p:cNvPr>
            <p:cNvSpPr/>
            <p:nvPr/>
          </p:nvSpPr>
          <p:spPr>
            <a:xfrm>
              <a:off x="3622677" y="5880041"/>
              <a:ext cx="33894" cy="126163"/>
            </a:xfrm>
            <a:custGeom>
              <a:avLst/>
              <a:gdLst>
                <a:gd name="connsiteX0" fmla="*/ 16947 w 33894"/>
                <a:gd name="connsiteY0" fmla="*/ 126164 h 126163"/>
                <a:gd name="connsiteX1" fmla="*/ 0 w 33894"/>
                <a:gd name="connsiteY1" fmla="*/ 109216 h 126163"/>
                <a:gd name="connsiteX2" fmla="*/ 0 w 33894"/>
                <a:gd name="connsiteY2" fmla="*/ 16947 h 126163"/>
                <a:gd name="connsiteX3" fmla="*/ 16947 w 33894"/>
                <a:gd name="connsiteY3" fmla="*/ 0 h 126163"/>
                <a:gd name="connsiteX4" fmla="*/ 33895 w 33894"/>
                <a:gd name="connsiteY4" fmla="*/ 16947 h 126163"/>
                <a:gd name="connsiteX5" fmla="*/ 33895 w 33894"/>
                <a:gd name="connsiteY5" fmla="*/ 109216 h 126163"/>
                <a:gd name="connsiteX6" fmla="*/ 16947 w 33894"/>
                <a:gd name="connsiteY6" fmla="*/ 126164 h 126163"/>
                <a:gd name="connsiteX7" fmla="*/ 16947 w 33894"/>
                <a:gd name="connsiteY7" fmla="*/ 126164 h 126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894" h="126163">
                  <a:moveTo>
                    <a:pt x="16947" y="126164"/>
                  </a:moveTo>
                  <a:cubicBezTo>
                    <a:pt x="7532" y="126164"/>
                    <a:pt x="0" y="118631"/>
                    <a:pt x="0" y="109216"/>
                  </a:cubicBezTo>
                  <a:lnTo>
                    <a:pt x="0" y="16947"/>
                  </a:lnTo>
                  <a:cubicBezTo>
                    <a:pt x="0" y="7532"/>
                    <a:pt x="7532" y="0"/>
                    <a:pt x="16947" y="0"/>
                  </a:cubicBezTo>
                  <a:cubicBezTo>
                    <a:pt x="26363" y="0"/>
                    <a:pt x="33895" y="7532"/>
                    <a:pt x="33895" y="16947"/>
                  </a:cubicBezTo>
                  <a:lnTo>
                    <a:pt x="33895" y="109216"/>
                  </a:lnTo>
                  <a:cubicBezTo>
                    <a:pt x="33895" y="118631"/>
                    <a:pt x="26363" y="126164"/>
                    <a:pt x="16947" y="126164"/>
                  </a:cubicBezTo>
                  <a:lnTo>
                    <a:pt x="16947" y="126164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9" name="Forma Livre: Forma 38">
              <a:extLst>
                <a:ext uri="{FF2B5EF4-FFF2-40B4-BE49-F238E27FC236}">
                  <a16:creationId xmlns:a16="http://schemas.microsoft.com/office/drawing/2014/main" id="{61D79EAB-B441-4278-9AB1-8C629463E556}"/>
                </a:ext>
              </a:extLst>
            </p:cNvPr>
            <p:cNvSpPr/>
            <p:nvPr/>
          </p:nvSpPr>
          <p:spPr>
            <a:xfrm>
              <a:off x="3576857" y="5925862"/>
              <a:ext cx="126163" cy="33894"/>
            </a:xfrm>
            <a:custGeom>
              <a:avLst/>
              <a:gdLst>
                <a:gd name="connsiteX0" fmla="*/ 109216 w 126163"/>
                <a:gd name="connsiteY0" fmla="*/ 33894 h 33894"/>
                <a:gd name="connsiteX1" fmla="*/ 16947 w 126163"/>
                <a:gd name="connsiteY1" fmla="*/ 33894 h 33894"/>
                <a:gd name="connsiteX2" fmla="*/ 0 w 126163"/>
                <a:gd name="connsiteY2" fmla="*/ 16947 h 33894"/>
                <a:gd name="connsiteX3" fmla="*/ 16947 w 126163"/>
                <a:gd name="connsiteY3" fmla="*/ 0 h 33894"/>
                <a:gd name="connsiteX4" fmla="*/ 109216 w 126163"/>
                <a:gd name="connsiteY4" fmla="*/ 0 h 33894"/>
                <a:gd name="connsiteX5" fmla="*/ 126163 w 126163"/>
                <a:gd name="connsiteY5" fmla="*/ 16947 h 33894"/>
                <a:gd name="connsiteX6" fmla="*/ 109216 w 126163"/>
                <a:gd name="connsiteY6" fmla="*/ 33894 h 33894"/>
                <a:gd name="connsiteX7" fmla="*/ 109216 w 126163"/>
                <a:gd name="connsiteY7" fmla="*/ 33894 h 3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6163" h="33894">
                  <a:moveTo>
                    <a:pt x="109216" y="33894"/>
                  </a:moveTo>
                  <a:lnTo>
                    <a:pt x="16947" y="33894"/>
                  </a:lnTo>
                  <a:cubicBezTo>
                    <a:pt x="7532" y="33894"/>
                    <a:pt x="0" y="26362"/>
                    <a:pt x="0" y="16947"/>
                  </a:cubicBezTo>
                  <a:cubicBezTo>
                    <a:pt x="0" y="7532"/>
                    <a:pt x="7532" y="0"/>
                    <a:pt x="16947" y="0"/>
                  </a:cubicBezTo>
                  <a:lnTo>
                    <a:pt x="109216" y="0"/>
                  </a:lnTo>
                  <a:cubicBezTo>
                    <a:pt x="118631" y="0"/>
                    <a:pt x="126163" y="7532"/>
                    <a:pt x="126163" y="16947"/>
                  </a:cubicBezTo>
                  <a:cubicBezTo>
                    <a:pt x="125536" y="26990"/>
                    <a:pt x="118004" y="33894"/>
                    <a:pt x="109216" y="33894"/>
                  </a:cubicBezTo>
                  <a:lnTo>
                    <a:pt x="109216" y="33894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0" name="Forma Livre: Forma 39">
              <a:extLst>
                <a:ext uri="{FF2B5EF4-FFF2-40B4-BE49-F238E27FC236}">
                  <a16:creationId xmlns:a16="http://schemas.microsoft.com/office/drawing/2014/main" id="{7AE833C8-3F57-49A9-A898-E8F70E38E608}"/>
                </a:ext>
              </a:extLst>
            </p:cNvPr>
            <p:cNvSpPr/>
            <p:nvPr/>
          </p:nvSpPr>
          <p:spPr>
            <a:xfrm>
              <a:off x="3421192" y="5799071"/>
              <a:ext cx="204064" cy="16319"/>
            </a:xfrm>
            <a:custGeom>
              <a:avLst/>
              <a:gdLst>
                <a:gd name="connsiteX0" fmla="*/ 195836 w 204064"/>
                <a:gd name="connsiteY0" fmla="*/ 16319 h 16319"/>
                <a:gd name="connsiteX1" fmla="*/ 8160 w 204064"/>
                <a:gd name="connsiteY1" fmla="*/ 16319 h 16319"/>
                <a:gd name="connsiteX2" fmla="*/ 0 w 204064"/>
                <a:gd name="connsiteY2" fmla="*/ 8160 h 16319"/>
                <a:gd name="connsiteX3" fmla="*/ 8160 w 204064"/>
                <a:gd name="connsiteY3" fmla="*/ 0 h 16319"/>
                <a:gd name="connsiteX4" fmla="*/ 195836 w 204064"/>
                <a:gd name="connsiteY4" fmla="*/ 0 h 16319"/>
                <a:gd name="connsiteX5" fmla="*/ 203996 w 204064"/>
                <a:gd name="connsiteY5" fmla="*/ 8160 h 16319"/>
                <a:gd name="connsiteX6" fmla="*/ 195836 w 204064"/>
                <a:gd name="connsiteY6" fmla="*/ 16319 h 16319"/>
                <a:gd name="connsiteX7" fmla="*/ 195836 w 204064"/>
                <a:gd name="connsiteY7" fmla="*/ 16319 h 16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4064" h="16319">
                  <a:moveTo>
                    <a:pt x="195836" y="16319"/>
                  </a:moveTo>
                  <a:lnTo>
                    <a:pt x="8160" y="16319"/>
                  </a:lnTo>
                  <a:cubicBezTo>
                    <a:pt x="3766" y="16319"/>
                    <a:pt x="0" y="12554"/>
                    <a:pt x="0" y="8160"/>
                  </a:cubicBezTo>
                  <a:cubicBezTo>
                    <a:pt x="0" y="3766"/>
                    <a:pt x="3766" y="0"/>
                    <a:pt x="8160" y="0"/>
                  </a:cubicBezTo>
                  <a:lnTo>
                    <a:pt x="195836" y="0"/>
                  </a:lnTo>
                  <a:cubicBezTo>
                    <a:pt x="200229" y="0"/>
                    <a:pt x="203996" y="3766"/>
                    <a:pt x="203996" y="8160"/>
                  </a:cubicBezTo>
                  <a:cubicBezTo>
                    <a:pt x="204623" y="12554"/>
                    <a:pt x="200857" y="16319"/>
                    <a:pt x="195836" y="16319"/>
                  </a:cubicBezTo>
                  <a:lnTo>
                    <a:pt x="195836" y="16319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1" name="Forma Livre: Forma 40">
              <a:extLst>
                <a:ext uri="{FF2B5EF4-FFF2-40B4-BE49-F238E27FC236}">
                  <a16:creationId xmlns:a16="http://schemas.microsoft.com/office/drawing/2014/main" id="{1041F416-1B33-4FA2-BE8E-583979D94AC7}"/>
                </a:ext>
              </a:extLst>
            </p:cNvPr>
            <p:cNvSpPr/>
            <p:nvPr/>
          </p:nvSpPr>
          <p:spPr>
            <a:xfrm>
              <a:off x="3421192" y="5850541"/>
              <a:ext cx="180771" cy="16319"/>
            </a:xfrm>
            <a:custGeom>
              <a:avLst/>
              <a:gdLst>
                <a:gd name="connsiteX0" fmla="*/ 172612 w 180771"/>
                <a:gd name="connsiteY0" fmla="*/ 16319 h 16319"/>
                <a:gd name="connsiteX1" fmla="*/ 8160 w 180771"/>
                <a:gd name="connsiteY1" fmla="*/ 16319 h 16319"/>
                <a:gd name="connsiteX2" fmla="*/ 0 w 180771"/>
                <a:gd name="connsiteY2" fmla="*/ 8160 h 16319"/>
                <a:gd name="connsiteX3" fmla="*/ 8160 w 180771"/>
                <a:gd name="connsiteY3" fmla="*/ 0 h 16319"/>
                <a:gd name="connsiteX4" fmla="*/ 172612 w 180771"/>
                <a:gd name="connsiteY4" fmla="*/ 0 h 16319"/>
                <a:gd name="connsiteX5" fmla="*/ 180772 w 180771"/>
                <a:gd name="connsiteY5" fmla="*/ 8160 h 16319"/>
                <a:gd name="connsiteX6" fmla="*/ 172612 w 180771"/>
                <a:gd name="connsiteY6" fmla="*/ 16319 h 16319"/>
                <a:gd name="connsiteX7" fmla="*/ 172612 w 180771"/>
                <a:gd name="connsiteY7" fmla="*/ 16319 h 16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0771" h="16319">
                  <a:moveTo>
                    <a:pt x="172612" y="16319"/>
                  </a:moveTo>
                  <a:lnTo>
                    <a:pt x="8160" y="16319"/>
                  </a:lnTo>
                  <a:cubicBezTo>
                    <a:pt x="3766" y="16319"/>
                    <a:pt x="0" y="12554"/>
                    <a:pt x="0" y="8160"/>
                  </a:cubicBezTo>
                  <a:cubicBezTo>
                    <a:pt x="0" y="3766"/>
                    <a:pt x="3766" y="0"/>
                    <a:pt x="8160" y="0"/>
                  </a:cubicBezTo>
                  <a:lnTo>
                    <a:pt x="172612" y="0"/>
                  </a:lnTo>
                  <a:cubicBezTo>
                    <a:pt x="177005" y="0"/>
                    <a:pt x="180772" y="3766"/>
                    <a:pt x="180772" y="8160"/>
                  </a:cubicBezTo>
                  <a:cubicBezTo>
                    <a:pt x="180772" y="12554"/>
                    <a:pt x="177005" y="16319"/>
                    <a:pt x="172612" y="16319"/>
                  </a:cubicBezTo>
                  <a:lnTo>
                    <a:pt x="172612" y="16319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2" name="Forma Livre: Forma 41">
              <a:extLst>
                <a:ext uri="{FF2B5EF4-FFF2-40B4-BE49-F238E27FC236}">
                  <a16:creationId xmlns:a16="http://schemas.microsoft.com/office/drawing/2014/main" id="{92AA4106-11F3-47CC-AA07-051792950C7C}"/>
                </a:ext>
              </a:extLst>
            </p:cNvPr>
            <p:cNvSpPr/>
            <p:nvPr/>
          </p:nvSpPr>
          <p:spPr>
            <a:xfrm>
              <a:off x="3333317" y="5707430"/>
              <a:ext cx="370958" cy="316977"/>
            </a:xfrm>
            <a:custGeom>
              <a:avLst/>
              <a:gdLst>
                <a:gd name="connsiteX0" fmla="*/ 87875 w 370958"/>
                <a:gd name="connsiteY0" fmla="*/ 316978 h 316977"/>
                <a:gd name="connsiteX1" fmla="*/ 80343 w 370958"/>
                <a:gd name="connsiteY1" fmla="*/ 315095 h 316977"/>
                <a:gd name="connsiteX2" fmla="*/ 70928 w 370958"/>
                <a:gd name="connsiteY2" fmla="*/ 300031 h 316977"/>
                <a:gd name="connsiteX3" fmla="*/ 70928 w 370958"/>
                <a:gd name="connsiteY3" fmla="*/ 254210 h 316977"/>
                <a:gd name="connsiteX4" fmla="*/ 33267 w 370958"/>
                <a:gd name="connsiteY4" fmla="*/ 254210 h 316977"/>
                <a:gd name="connsiteX5" fmla="*/ 0 w 370958"/>
                <a:gd name="connsiteY5" fmla="*/ 220943 h 316977"/>
                <a:gd name="connsiteX6" fmla="*/ 0 w 370958"/>
                <a:gd name="connsiteY6" fmla="*/ 33267 h 316977"/>
                <a:gd name="connsiteX7" fmla="*/ 33267 w 370958"/>
                <a:gd name="connsiteY7" fmla="*/ 0 h 316977"/>
                <a:gd name="connsiteX8" fmla="*/ 337691 w 370958"/>
                <a:gd name="connsiteY8" fmla="*/ 0 h 316977"/>
                <a:gd name="connsiteX9" fmla="*/ 370958 w 370958"/>
                <a:gd name="connsiteY9" fmla="*/ 33267 h 316977"/>
                <a:gd name="connsiteX10" fmla="*/ 370958 w 370958"/>
                <a:gd name="connsiteY10" fmla="*/ 154409 h 316977"/>
                <a:gd name="connsiteX11" fmla="*/ 337691 w 370958"/>
                <a:gd name="connsiteY11" fmla="*/ 154409 h 316977"/>
                <a:gd name="connsiteX12" fmla="*/ 337691 w 370958"/>
                <a:gd name="connsiteY12" fmla="*/ 33267 h 316977"/>
                <a:gd name="connsiteX13" fmla="*/ 33267 w 370958"/>
                <a:gd name="connsiteY13" fmla="*/ 33267 h 316977"/>
                <a:gd name="connsiteX14" fmla="*/ 33267 w 370958"/>
                <a:gd name="connsiteY14" fmla="*/ 220943 h 316977"/>
                <a:gd name="connsiteX15" fmla="*/ 87875 w 370958"/>
                <a:gd name="connsiteY15" fmla="*/ 220943 h 316977"/>
                <a:gd name="connsiteX16" fmla="*/ 104822 w 370958"/>
                <a:gd name="connsiteY16" fmla="*/ 237890 h 316977"/>
                <a:gd name="connsiteX17" fmla="*/ 104822 w 370958"/>
                <a:gd name="connsiteY17" fmla="*/ 266136 h 316977"/>
                <a:gd name="connsiteX18" fmla="*/ 156920 w 370958"/>
                <a:gd name="connsiteY18" fmla="*/ 224709 h 316977"/>
                <a:gd name="connsiteX19" fmla="*/ 167590 w 370958"/>
                <a:gd name="connsiteY19" fmla="*/ 220943 h 316977"/>
                <a:gd name="connsiteX20" fmla="*/ 211528 w 370958"/>
                <a:gd name="connsiteY20" fmla="*/ 220943 h 316977"/>
                <a:gd name="connsiteX21" fmla="*/ 211528 w 370958"/>
                <a:gd name="connsiteY21" fmla="*/ 254210 h 316977"/>
                <a:gd name="connsiteX22" fmla="*/ 173239 w 370958"/>
                <a:gd name="connsiteY22" fmla="*/ 254210 h 316977"/>
                <a:gd name="connsiteX23" fmla="*/ 98546 w 370958"/>
                <a:gd name="connsiteY23" fmla="*/ 313212 h 316977"/>
                <a:gd name="connsiteX24" fmla="*/ 87875 w 370958"/>
                <a:gd name="connsiteY24" fmla="*/ 316978 h 316977"/>
                <a:gd name="connsiteX25" fmla="*/ 87875 w 370958"/>
                <a:gd name="connsiteY25" fmla="*/ 316978 h 316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70958" h="316977">
                  <a:moveTo>
                    <a:pt x="87875" y="316978"/>
                  </a:moveTo>
                  <a:cubicBezTo>
                    <a:pt x="85364" y="316978"/>
                    <a:pt x="82854" y="316350"/>
                    <a:pt x="80343" y="315095"/>
                  </a:cubicBezTo>
                  <a:cubicBezTo>
                    <a:pt x="74694" y="312584"/>
                    <a:pt x="70928" y="306307"/>
                    <a:pt x="70928" y="300031"/>
                  </a:cubicBezTo>
                  <a:lnTo>
                    <a:pt x="70928" y="254210"/>
                  </a:lnTo>
                  <a:lnTo>
                    <a:pt x="33267" y="254210"/>
                  </a:lnTo>
                  <a:cubicBezTo>
                    <a:pt x="15064" y="254210"/>
                    <a:pt x="0" y="239146"/>
                    <a:pt x="0" y="220943"/>
                  </a:cubicBezTo>
                  <a:lnTo>
                    <a:pt x="0" y="33267"/>
                  </a:lnTo>
                  <a:cubicBezTo>
                    <a:pt x="0" y="15064"/>
                    <a:pt x="15064" y="0"/>
                    <a:pt x="33267" y="0"/>
                  </a:cubicBezTo>
                  <a:lnTo>
                    <a:pt x="337691" y="0"/>
                  </a:lnTo>
                  <a:cubicBezTo>
                    <a:pt x="355894" y="0"/>
                    <a:pt x="370958" y="15064"/>
                    <a:pt x="370958" y="33267"/>
                  </a:cubicBezTo>
                  <a:lnTo>
                    <a:pt x="370958" y="154409"/>
                  </a:lnTo>
                  <a:lnTo>
                    <a:pt x="337691" y="154409"/>
                  </a:lnTo>
                  <a:lnTo>
                    <a:pt x="337691" y="33267"/>
                  </a:lnTo>
                  <a:lnTo>
                    <a:pt x="33267" y="33267"/>
                  </a:lnTo>
                  <a:lnTo>
                    <a:pt x="33267" y="220943"/>
                  </a:lnTo>
                  <a:lnTo>
                    <a:pt x="87875" y="220943"/>
                  </a:lnTo>
                  <a:cubicBezTo>
                    <a:pt x="97290" y="220943"/>
                    <a:pt x="104822" y="228475"/>
                    <a:pt x="104822" y="237890"/>
                  </a:cubicBezTo>
                  <a:lnTo>
                    <a:pt x="104822" y="266136"/>
                  </a:lnTo>
                  <a:lnTo>
                    <a:pt x="156920" y="224709"/>
                  </a:lnTo>
                  <a:cubicBezTo>
                    <a:pt x="160058" y="222198"/>
                    <a:pt x="163824" y="220943"/>
                    <a:pt x="167590" y="220943"/>
                  </a:cubicBezTo>
                  <a:lnTo>
                    <a:pt x="211528" y="220943"/>
                  </a:lnTo>
                  <a:lnTo>
                    <a:pt x="211528" y="254210"/>
                  </a:lnTo>
                  <a:lnTo>
                    <a:pt x="173239" y="254210"/>
                  </a:lnTo>
                  <a:lnTo>
                    <a:pt x="98546" y="313212"/>
                  </a:lnTo>
                  <a:cubicBezTo>
                    <a:pt x="95407" y="315723"/>
                    <a:pt x="91641" y="316978"/>
                    <a:pt x="87875" y="316978"/>
                  </a:cubicBezTo>
                  <a:lnTo>
                    <a:pt x="87875" y="316978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43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4355178" y="5707430"/>
            <a:ext cx="409874" cy="339574"/>
            <a:chOff x="4355178" y="5707430"/>
            <a:chExt cx="409874" cy="339574"/>
          </a:xfrm>
          <a:solidFill>
            <a:srgbClr val="B1B1A1"/>
          </a:solidFill>
        </p:grpSpPr>
        <p:sp>
          <p:nvSpPr>
            <p:cNvPr id="44" name="Forma Livre: Forma 43">
              <a:extLst>
                <a:ext uri="{FF2B5EF4-FFF2-40B4-BE49-F238E27FC236}">
                  <a16:creationId xmlns:a16="http://schemas.microsoft.com/office/drawing/2014/main" id="{CEDCDCE9-8F93-4E4D-B5F9-B365E7C31DB5}"/>
                </a:ext>
              </a:extLst>
            </p:cNvPr>
            <p:cNvSpPr/>
            <p:nvPr/>
          </p:nvSpPr>
          <p:spPr>
            <a:xfrm>
              <a:off x="4557918" y="5839870"/>
              <a:ext cx="207133" cy="207133"/>
            </a:xfrm>
            <a:custGeom>
              <a:avLst/>
              <a:gdLst>
                <a:gd name="connsiteX0" fmla="*/ 103567 w 207133"/>
                <a:gd name="connsiteY0" fmla="*/ 207134 h 207133"/>
                <a:gd name="connsiteX1" fmla="*/ 0 w 207133"/>
                <a:gd name="connsiteY1" fmla="*/ 103567 h 207133"/>
                <a:gd name="connsiteX2" fmla="*/ 103567 w 207133"/>
                <a:gd name="connsiteY2" fmla="*/ 0 h 207133"/>
                <a:gd name="connsiteX3" fmla="*/ 207134 w 207133"/>
                <a:gd name="connsiteY3" fmla="*/ 103567 h 207133"/>
                <a:gd name="connsiteX4" fmla="*/ 103567 w 207133"/>
                <a:gd name="connsiteY4" fmla="*/ 207134 h 207133"/>
                <a:gd name="connsiteX5" fmla="*/ 103567 w 207133"/>
                <a:gd name="connsiteY5" fmla="*/ 207134 h 207133"/>
                <a:gd name="connsiteX6" fmla="*/ 103567 w 207133"/>
                <a:gd name="connsiteY6" fmla="*/ 16319 h 207133"/>
                <a:gd name="connsiteX7" fmla="*/ 16319 w 207133"/>
                <a:gd name="connsiteY7" fmla="*/ 103567 h 207133"/>
                <a:gd name="connsiteX8" fmla="*/ 103567 w 207133"/>
                <a:gd name="connsiteY8" fmla="*/ 190814 h 207133"/>
                <a:gd name="connsiteX9" fmla="*/ 190814 w 207133"/>
                <a:gd name="connsiteY9" fmla="*/ 103567 h 207133"/>
                <a:gd name="connsiteX10" fmla="*/ 103567 w 207133"/>
                <a:gd name="connsiteY10" fmla="*/ 16319 h 207133"/>
                <a:gd name="connsiteX11" fmla="*/ 103567 w 207133"/>
                <a:gd name="connsiteY11" fmla="*/ 16319 h 207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7133" h="207133">
                  <a:moveTo>
                    <a:pt x="103567" y="207134"/>
                  </a:moveTo>
                  <a:cubicBezTo>
                    <a:pt x="46448" y="207134"/>
                    <a:pt x="0" y="160686"/>
                    <a:pt x="0" y="103567"/>
                  </a:cubicBezTo>
                  <a:cubicBezTo>
                    <a:pt x="0" y="46448"/>
                    <a:pt x="46448" y="0"/>
                    <a:pt x="103567" y="0"/>
                  </a:cubicBezTo>
                  <a:cubicBezTo>
                    <a:pt x="160686" y="0"/>
                    <a:pt x="207134" y="46448"/>
                    <a:pt x="207134" y="103567"/>
                  </a:cubicBezTo>
                  <a:cubicBezTo>
                    <a:pt x="207134" y="160686"/>
                    <a:pt x="160686" y="207134"/>
                    <a:pt x="103567" y="207134"/>
                  </a:cubicBezTo>
                  <a:lnTo>
                    <a:pt x="103567" y="207134"/>
                  </a:lnTo>
                  <a:close/>
                  <a:moveTo>
                    <a:pt x="103567" y="16319"/>
                  </a:moveTo>
                  <a:cubicBezTo>
                    <a:pt x="55864" y="16319"/>
                    <a:pt x="16319" y="55236"/>
                    <a:pt x="16319" y="103567"/>
                  </a:cubicBezTo>
                  <a:cubicBezTo>
                    <a:pt x="16319" y="151270"/>
                    <a:pt x="55236" y="190814"/>
                    <a:pt x="103567" y="190814"/>
                  </a:cubicBezTo>
                  <a:cubicBezTo>
                    <a:pt x="151270" y="190814"/>
                    <a:pt x="190814" y="151898"/>
                    <a:pt x="190814" y="103567"/>
                  </a:cubicBezTo>
                  <a:cubicBezTo>
                    <a:pt x="190187" y="55236"/>
                    <a:pt x="151270" y="16319"/>
                    <a:pt x="103567" y="16319"/>
                  </a:cubicBezTo>
                  <a:lnTo>
                    <a:pt x="103567" y="16319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5" name="Forma Livre: Forma 44">
              <a:extLst>
                <a:ext uri="{FF2B5EF4-FFF2-40B4-BE49-F238E27FC236}">
                  <a16:creationId xmlns:a16="http://schemas.microsoft.com/office/drawing/2014/main" id="{59C2ECC8-66C2-420C-A1F5-FE31F04E8F3F}"/>
                </a:ext>
              </a:extLst>
            </p:cNvPr>
            <p:cNvSpPr/>
            <p:nvPr/>
          </p:nvSpPr>
          <p:spPr>
            <a:xfrm>
              <a:off x="4598090" y="5925862"/>
              <a:ext cx="126163" cy="33894"/>
            </a:xfrm>
            <a:custGeom>
              <a:avLst/>
              <a:gdLst>
                <a:gd name="connsiteX0" fmla="*/ 109216 w 126163"/>
                <a:gd name="connsiteY0" fmla="*/ 33894 h 33894"/>
                <a:gd name="connsiteX1" fmla="*/ 16947 w 126163"/>
                <a:gd name="connsiteY1" fmla="*/ 33894 h 33894"/>
                <a:gd name="connsiteX2" fmla="*/ 0 w 126163"/>
                <a:gd name="connsiteY2" fmla="*/ 16947 h 33894"/>
                <a:gd name="connsiteX3" fmla="*/ 16947 w 126163"/>
                <a:gd name="connsiteY3" fmla="*/ 0 h 33894"/>
                <a:gd name="connsiteX4" fmla="*/ 109216 w 126163"/>
                <a:gd name="connsiteY4" fmla="*/ 0 h 33894"/>
                <a:gd name="connsiteX5" fmla="*/ 126163 w 126163"/>
                <a:gd name="connsiteY5" fmla="*/ 16947 h 33894"/>
                <a:gd name="connsiteX6" fmla="*/ 109216 w 126163"/>
                <a:gd name="connsiteY6" fmla="*/ 33894 h 33894"/>
                <a:gd name="connsiteX7" fmla="*/ 109216 w 126163"/>
                <a:gd name="connsiteY7" fmla="*/ 33894 h 3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6163" h="33894">
                  <a:moveTo>
                    <a:pt x="109216" y="33894"/>
                  </a:moveTo>
                  <a:lnTo>
                    <a:pt x="16947" y="33894"/>
                  </a:lnTo>
                  <a:cubicBezTo>
                    <a:pt x="7532" y="33894"/>
                    <a:pt x="0" y="26362"/>
                    <a:pt x="0" y="16947"/>
                  </a:cubicBezTo>
                  <a:cubicBezTo>
                    <a:pt x="0" y="7532"/>
                    <a:pt x="7532" y="0"/>
                    <a:pt x="16947" y="0"/>
                  </a:cubicBezTo>
                  <a:lnTo>
                    <a:pt x="109216" y="0"/>
                  </a:lnTo>
                  <a:cubicBezTo>
                    <a:pt x="118631" y="0"/>
                    <a:pt x="126163" y="7532"/>
                    <a:pt x="126163" y="16947"/>
                  </a:cubicBezTo>
                  <a:cubicBezTo>
                    <a:pt x="126163" y="26990"/>
                    <a:pt x="118631" y="33894"/>
                    <a:pt x="109216" y="33894"/>
                  </a:cubicBezTo>
                  <a:lnTo>
                    <a:pt x="109216" y="33894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6" name="Forma Livre: Forma 45">
              <a:extLst>
                <a:ext uri="{FF2B5EF4-FFF2-40B4-BE49-F238E27FC236}">
                  <a16:creationId xmlns:a16="http://schemas.microsoft.com/office/drawing/2014/main" id="{5C795AD9-F7B0-4ABA-A9E3-C9911925AA94}"/>
                </a:ext>
              </a:extLst>
            </p:cNvPr>
            <p:cNvSpPr/>
            <p:nvPr/>
          </p:nvSpPr>
          <p:spPr>
            <a:xfrm>
              <a:off x="4443053" y="5799071"/>
              <a:ext cx="204063" cy="16319"/>
            </a:xfrm>
            <a:custGeom>
              <a:avLst/>
              <a:gdLst>
                <a:gd name="connsiteX0" fmla="*/ 195836 w 204063"/>
                <a:gd name="connsiteY0" fmla="*/ 16319 h 16319"/>
                <a:gd name="connsiteX1" fmla="*/ 8160 w 204063"/>
                <a:gd name="connsiteY1" fmla="*/ 16319 h 16319"/>
                <a:gd name="connsiteX2" fmla="*/ 0 w 204063"/>
                <a:gd name="connsiteY2" fmla="*/ 8160 h 16319"/>
                <a:gd name="connsiteX3" fmla="*/ 8160 w 204063"/>
                <a:gd name="connsiteY3" fmla="*/ 0 h 16319"/>
                <a:gd name="connsiteX4" fmla="*/ 195836 w 204063"/>
                <a:gd name="connsiteY4" fmla="*/ 0 h 16319"/>
                <a:gd name="connsiteX5" fmla="*/ 203996 w 204063"/>
                <a:gd name="connsiteY5" fmla="*/ 8160 h 16319"/>
                <a:gd name="connsiteX6" fmla="*/ 195836 w 204063"/>
                <a:gd name="connsiteY6" fmla="*/ 16319 h 16319"/>
                <a:gd name="connsiteX7" fmla="*/ 195836 w 204063"/>
                <a:gd name="connsiteY7" fmla="*/ 16319 h 16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4063" h="16319">
                  <a:moveTo>
                    <a:pt x="195836" y="16319"/>
                  </a:moveTo>
                  <a:lnTo>
                    <a:pt x="8160" y="16319"/>
                  </a:lnTo>
                  <a:cubicBezTo>
                    <a:pt x="3766" y="16319"/>
                    <a:pt x="0" y="12554"/>
                    <a:pt x="0" y="8160"/>
                  </a:cubicBezTo>
                  <a:cubicBezTo>
                    <a:pt x="0" y="3766"/>
                    <a:pt x="3766" y="0"/>
                    <a:pt x="8160" y="0"/>
                  </a:cubicBezTo>
                  <a:lnTo>
                    <a:pt x="195836" y="0"/>
                  </a:lnTo>
                  <a:cubicBezTo>
                    <a:pt x="200229" y="0"/>
                    <a:pt x="203996" y="3766"/>
                    <a:pt x="203996" y="8160"/>
                  </a:cubicBezTo>
                  <a:cubicBezTo>
                    <a:pt x="204623" y="12554"/>
                    <a:pt x="200857" y="16319"/>
                    <a:pt x="195836" y="16319"/>
                  </a:cubicBezTo>
                  <a:lnTo>
                    <a:pt x="195836" y="16319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7" name="Forma Livre: Forma 46">
              <a:extLst>
                <a:ext uri="{FF2B5EF4-FFF2-40B4-BE49-F238E27FC236}">
                  <a16:creationId xmlns:a16="http://schemas.microsoft.com/office/drawing/2014/main" id="{24C39AA2-5F88-4BA7-823A-C5ADF5759AEE}"/>
                </a:ext>
              </a:extLst>
            </p:cNvPr>
            <p:cNvSpPr/>
            <p:nvPr/>
          </p:nvSpPr>
          <p:spPr>
            <a:xfrm>
              <a:off x="4443053" y="5850541"/>
              <a:ext cx="180771" cy="16319"/>
            </a:xfrm>
            <a:custGeom>
              <a:avLst/>
              <a:gdLst>
                <a:gd name="connsiteX0" fmla="*/ 172612 w 180771"/>
                <a:gd name="connsiteY0" fmla="*/ 16319 h 16319"/>
                <a:gd name="connsiteX1" fmla="*/ 8160 w 180771"/>
                <a:gd name="connsiteY1" fmla="*/ 16319 h 16319"/>
                <a:gd name="connsiteX2" fmla="*/ 0 w 180771"/>
                <a:gd name="connsiteY2" fmla="*/ 8160 h 16319"/>
                <a:gd name="connsiteX3" fmla="*/ 8160 w 180771"/>
                <a:gd name="connsiteY3" fmla="*/ 0 h 16319"/>
                <a:gd name="connsiteX4" fmla="*/ 172612 w 180771"/>
                <a:gd name="connsiteY4" fmla="*/ 0 h 16319"/>
                <a:gd name="connsiteX5" fmla="*/ 180771 w 180771"/>
                <a:gd name="connsiteY5" fmla="*/ 8160 h 16319"/>
                <a:gd name="connsiteX6" fmla="*/ 172612 w 180771"/>
                <a:gd name="connsiteY6" fmla="*/ 16319 h 16319"/>
                <a:gd name="connsiteX7" fmla="*/ 172612 w 180771"/>
                <a:gd name="connsiteY7" fmla="*/ 16319 h 16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0771" h="16319">
                  <a:moveTo>
                    <a:pt x="172612" y="16319"/>
                  </a:moveTo>
                  <a:lnTo>
                    <a:pt x="8160" y="16319"/>
                  </a:lnTo>
                  <a:cubicBezTo>
                    <a:pt x="3766" y="16319"/>
                    <a:pt x="0" y="12554"/>
                    <a:pt x="0" y="8160"/>
                  </a:cubicBezTo>
                  <a:cubicBezTo>
                    <a:pt x="0" y="3766"/>
                    <a:pt x="3766" y="0"/>
                    <a:pt x="8160" y="0"/>
                  </a:cubicBezTo>
                  <a:lnTo>
                    <a:pt x="172612" y="0"/>
                  </a:lnTo>
                  <a:cubicBezTo>
                    <a:pt x="177005" y="0"/>
                    <a:pt x="180771" y="3766"/>
                    <a:pt x="180771" y="8160"/>
                  </a:cubicBezTo>
                  <a:cubicBezTo>
                    <a:pt x="180771" y="12554"/>
                    <a:pt x="177005" y="16319"/>
                    <a:pt x="172612" y="16319"/>
                  </a:cubicBezTo>
                  <a:lnTo>
                    <a:pt x="172612" y="16319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8" name="Forma Livre: Forma 47">
              <a:extLst>
                <a:ext uri="{FF2B5EF4-FFF2-40B4-BE49-F238E27FC236}">
                  <a16:creationId xmlns:a16="http://schemas.microsoft.com/office/drawing/2014/main" id="{E2DBEE2B-8F4D-4160-9451-42AC20124434}"/>
                </a:ext>
              </a:extLst>
            </p:cNvPr>
            <p:cNvSpPr/>
            <p:nvPr/>
          </p:nvSpPr>
          <p:spPr>
            <a:xfrm>
              <a:off x="4355178" y="5707430"/>
              <a:ext cx="370957" cy="316977"/>
            </a:xfrm>
            <a:custGeom>
              <a:avLst/>
              <a:gdLst>
                <a:gd name="connsiteX0" fmla="*/ 87875 w 370957"/>
                <a:gd name="connsiteY0" fmla="*/ 316978 h 316977"/>
                <a:gd name="connsiteX1" fmla="*/ 80343 w 370957"/>
                <a:gd name="connsiteY1" fmla="*/ 315095 h 316977"/>
                <a:gd name="connsiteX2" fmla="*/ 70928 w 370957"/>
                <a:gd name="connsiteY2" fmla="*/ 300031 h 316977"/>
                <a:gd name="connsiteX3" fmla="*/ 70928 w 370957"/>
                <a:gd name="connsiteY3" fmla="*/ 254210 h 316977"/>
                <a:gd name="connsiteX4" fmla="*/ 33267 w 370957"/>
                <a:gd name="connsiteY4" fmla="*/ 254210 h 316977"/>
                <a:gd name="connsiteX5" fmla="*/ 0 w 370957"/>
                <a:gd name="connsiteY5" fmla="*/ 220943 h 316977"/>
                <a:gd name="connsiteX6" fmla="*/ 0 w 370957"/>
                <a:gd name="connsiteY6" fmla="*/ 33267 h 316977"/>
                <a:gd name="connsiteX7" fmla="*/ 33267 w 370957"/>
                <a:gd name="connsiteY7" fmla="*/ 0 h 316977"/>
                <a:gd name="connsiteX8" fmla="*/ 337691 w 370957"/>
                <a:gd name="connsiteY8" fmla="*/ 0 h 316977"/>
                <a:gd name="connsiteX9" fmla="*/ 370958 w 370957"/>
                <a:gd name="connsiteY9" fmla="*/ 33267 h 316977"/>
                <a:gd name="connsiteX10" fmla="*/ 370958 w 370957"/>
                <a:gd name="connsiteY10" fmla="*/ 154409 h 316977"/>
                <a:gd name="connsiteX11" fmla="*/ 337691 w 370957"/>
                <a:gd name="connsiteY11" fmla="*/ 154409 h 316977"/>
                <a:gd name="connsiteX12" fmla="*/ 337691 w 370957"/>
                <a:gd name="connsiteY12" fmla="*/ 33267 h 316977"/>
                <a:gd name="connsiteX13" fmla="*/ 33267 w 370957"/>
                <a:gd name="connsiteY13" fmla="*/ 33267 h 316977"/>
                <a:gd name="connsiteX14" fmla="*/ 33267 w 370957"/>
                <a:gd name="connsiteY14" fmla="*/ 220943 h 316977"/>
                <a:gd name="connsiteX15" fmla="*/ 87875 w 370957"/>
                <a:gd name="connsiteY15" fmla="*/ 220943 h 316977"/>
                <a:gd name="connsiteX16" fmla="*/ 104822 w 370957"/>
                <a:gd name="connsiteY16" fmla="*/ 237890 h 316977"/>
                <a:gd name="connsiteX17" fmla="*/ 104822 w 370957"/>
                <a:gd name="connsiteY17" fmla="*/ 266136 h 316977"/>
                <a:gd name="connsiteX18" fmla="*/ 156920 w 370957"/>
                <a:gd name="connsiteY18" fmla="*/ 224709 h 316977"/>
                <a:gd name="connsiteX19" fmla="*/ 166962 w 370957"/>
                <a:gd name="connsiteY19" fmla="*/ 220943 h 316977"/>
                <a:gd name="connsiteX20" fmla="*/ 210900 w 370957"/>
                <a:gd name="connsiteY20" fmla="*/ 220943 h 316977"/>
                <a:gd name="connsiteX21" fmla="*/ 210900 w 370957"/>
                <a:gd name="connsiteY21" fmla="*/ 254210 h 316977"/>
                <a:gd name="connsiteX22" fmla="*/ 172612 w 370957"/>
                <a:gd name="connsiteY22" fmla="*/ 254210 h 316977"/>
                <a:gd name="connsiteX23" fmla="*/ 97918 w 370957"/>
                <a:gd name="connsiteY23" fmla="*/ 313212 h 316977"/>
                <a:gd name="connsiteX24" fmla="*/ 87875 w 370957"/>
                <a:gd name="connsiteY24" fmla="*/ 316978 h 316977"/>
                <a:gd name="connsiteX25" fmla="*/ 87875 w 370957"/>
                <a:gd name="connsiteY25" fmla="*/ 316978 h 316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70957" h="316977">
                  <a:moveTo>
                    <a:pt x="87875" y="316978"/>
                  </a:moveTo>
                  <a:cubicBezTo>
                    <a:pt x="85364" y="316978"/>
                    <a:pt x="82853" y="316350"/>
                    <a:pt x="80343" y="315095"/>
                  </a:cubicBezTo>
                  <a:cubicBezTo>
                    <a:pt x="74694" y="312584"/>
                    <a:pt x="70928" y="306307"/>
                    <a:pt x="70928" y="300031"/>
                  </a:cubicBezTo>
                  <a:lnTo>
                    <a:pt x="70928" y="254210"/>
                  </a:lnTo>
                  <a:lnTo>
                    <a:pt x="33267" y="254210"/>
                  </a:lnTo>
                  <a:cubicBezTo>
                    <a:pt x="15064" y="254210"/>
                    <a:pt x="0" y="239146"/>
                    <a:pt x="0" y="220943"/>
                  </a:cubicBezTo>
                  <a:lnTo>
                    <a:pt x="0" y="33267"/>
                  </a:lnTo>
                  <a:cubicBezTo>
                    <a:pt x="0" y="15064"/>
                    <a:pt x="15064" y="0"/>
                    <a:pt x="33267" y="0"/>
                  </a:cubicBezTo>
                  <a:lnTo>
                    <a:pt x="337691" y="0"/>
                  </a:lnTo>
                  <a:cubicBezTo>
                    <a:pt x="355894" y="0"/>
                    <a:pt x="370958" y="15064"/>
                    <a:pt x="370958" y="33267"/>
                  </a:cubicBezTo>
                  <a:lnTo>
                    <a:pt x="370958" y="154409"/>
                  </a:lnTo>
                  <a:lnTo>
                    <a:pt x="337691" y="154409"/>
                  </a:lnTo>
                  <a:lnTo>
                    <a:pt x="337691" y="33267"/>
                  </a:lnTo>
                  <a:lnTo>
                    <a:pt x="33267" y="33267"/>
                  </a:lnTo>
                  <a:lnTo>
                    <a:pt x="33267" y="220943"/>
                  </a:lnTo>
                  <a:lnTo>
                    <a:pt x="87875" y="220943"/>
                  </a:lnTo>
                  <a:cubicBezTo>
                    <a:pt x="97290" y="220943"/>
                    <a:pt x="104822" y="228475"/>
                    <a:pt x="104822" y="237890"/>
                  </a:cubicBezTo>
                  <a:lnTo>
                    <a:pt x="104822" y="266136"/>
                  </a:lnTo>
                  <a:lnTo>
                    <a:pt x="156920" y="224709"/>
                  </a:lnTo>
                  <a:cubicBezTo>
                    <a:pt x="160058" y="222198"/>
                    <a:pt x="163824" y="220943"/>
                    <a:pt x="166962" y="220943"/>
                  </a:cubicBezTo>
                  <a:lnTo>
                    <a:pt x="210900" y="220943"/>
                  </a:lnTo>
                  <a:lnTo>
                    <a:pt x="210900" y="254210"/>
                  </a:lnTo>
                  <a:lnTo>
                    <a:pt x="172612" y="254210"/>
                  </a:lnTo>
                  <a:lnTo>
                    <a:pt x="97918" y="313212"/>
                  </a:lnTo>
                  <a:cubicBezTo>
                    <a:pt x="95407" y="315723"/>
                    <a:pt x="91641" y="316978"/>
                    <a:pt x="87875" y="316978"/>
                  </a:cubicBezTo>
                  <a:lnTo>
                    <a:pt x="87875" y="316978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49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5378922" y="5707430"/>
            <a:ext cx="409874" cy="339574"/>
            <a:chOff x="5378922" y="5707430"/>
            <a:chExt cx="409874" cy="339574"/>
          </a:xfrm>
          <a:solidFill>
            <a:srgbClr val="B1B1A1"/>
          </a:solidFill>
        </p:grpSpPr>
        <p:sp>
          <p:nvSpPr>
            <p:cNvPr id="50" name="Forma Livre: Forma 49">
              <a:extLst>
                <a:ext uri="{FF2B5EF4-FFF2-40B4-BE49-F238E27FC236}">
                  <a16:creationId xmlns:a16="http://schemas.microsoft.com/office/drawing/2014/main" id="{0D29DC64-8698-4C4A-ACA0-9F67D91A6C0F}"/>
                </a:ext>
              </a:extLst>
            </p:cNvPr>
            <p:cNvSpPr/>
            <p:nvPr/>
          </p:nvSpPr>
          <p:spPr>
            <a:xfrm>
              <a:off x="5581662" y="5839870"/>
              <a:ext cx="207133" cy="207133"/>
            </a:xfrm>
            <a:custGeom>
              <a:avLst/>
              <a:gdLst>
                <a:gd name="connsiteX0" fmla="*/ 103567 w 207133"/>
                <a:gd name="connsiteY0" fmla="*/ 207134 h 207133"/>
                <a:gd name="connsiteX1" fmla="*/ 0 w 207133"/>
                <a:gd name="connsiteY1" fmla="*/ 103567 h 207133"/>
                <a:gd name="connsiteX2" fmla="*/ 103567 w 207133"/>
                <a:gd name="connsiteY2" fmla="*/ 0 h 207133"/>
                <a:gd name="connsiteX3" fmla="*/ 207134 w 207133"/>
                <a:gd name="connsiteY3" fmla="*/ 103567 h 207133"/>
                <a:gd name="connsiteX4" fmla="*/ 103567 w 207133"/>
                <a:gd name="connsiteY4" fmla="*/ 207134 h 207133"/>
                <a:gd name="connsiteX5" fmla="*/ 103567 w 207133"/>
                <a:gd name="connsiteY5" fmla="*/ 207134 h 207133"/>
                <a:gd name="connsiteX6" fmla="*/ 103567 w 207133"/>
                <a:gd name="connsiteY6" fmla="*/ 16319 h 207133"/>
                <a:gd name="connsiteX7" fmla="*/ 16320 w 207133"/>
                <a:gd name="connsiteY7" fmla="*/ 103567 h 207133"/>
                <a:gd name="connsiteX8" fmla="*/ 103567 w 207133"/>
                <a:gd name="connsiteY8" fmla="*/ 190814 h 207133"/>
                <a:gd name="connsiteX9" fmla="*/ 190814 w 207133"/>
                <a:gd name="connsiteY9" fmla="*/ 103567 h 207133"/>
                <a:gd name="connsiteX10" fmla="*/ 103567 w 207133"/>
                <a:gd name="connsiteY10" fmla="*/ 16319 h 207133"/>
                <a:gd name="connsiteX11" fmla="*/ 103567 w 207133"/>
                <a:gd name="connsiteY11" fmla="*/ 16319 h 207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7133" h="207133">
                  <a:moveTo>
                    <a:pt x="103567" y="207134"/>
                  </a:moveTo>
                  <a:cubicBezTo>
                    <a:pt x="46448" y="207134"/>
                    <a:pt x="0" y="160686"/>
                    <a:pt x="0" y="103567"/>
                  </a:cubicBezTo>
                  <a:cubicBezTo>
                    <a:pt x="0" y="46448"/>
                    <a:pt x="46448" y="0"/>
                    <a:pt x="103567" y="0"/>
                  </a:cubicBezTo>
                  <a:cubicBezTo>
                    <a:pt x="160686" y="0"/>
                    <a:pt x="207134" y="46448"/>
                    <a:pt x="207134" y="103567"/>
                  </a:cubicBezTo>
                  <a:cubicBezTo>
                    <a:pt x="207134" y="160686"/>
                    <a:pt x="160686" y="207134"/>
                    <a:pt x="103567" y="207134"/>
                  </a:cubicBezTo>
                  <a:lnTo>
                    <a:pt x="103567" y="207134"/>
                  </a:lnTo>
                  <a:close/>
                  <a:moveTo>
                    <a:pt x="103567" y="16319"/>
                  </a:moveTo>
                  <a:cubicBezTo>
                    <a:pt x="55864" y="16319"/>
                    <a:pt x="16320" y="55236"/>
                    <a:pt x="16320" y="103567"/>
                  </a:cubicBezTo>
                  <a:cubicBezTo>
                    <a:pt x="16320" y="151270"/>
                    <a:pt x="55236" y="190814"/>
                    <a:pt x="103567" y="190814"/>
                  </a:cubicBezTo>
                  <a:cubicBezTo>
                    <a:pt x="151271" y="190814"/>
                    <a:pt x="190814" y="151898"/>
                    <a:pt x="190814" y="103567"/>
                  </a:cubicBezTo>
                  <a:cubicBezTo>
                    <a:pt x="190814" y="55236"/>
                    <a:pt x="151271" y="16319"/>
                    <a:pt x="103567" y="16319"/>
                  </a:cubicBezTo>
                  <a:lnTo>
                    <a:pt x="103567" y="16319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51" name="Forma Livre: Forma 50">
              <a:extLst>
                <a:ext uri="{FF2B5EF4-FFF2-40B4-BE49-F238E27FC236}">
                  <a16:creationId xmlns:a16="http://schemas.microsoft.com/office/drawing/2014/main" id="{598FD778-D6C2-4F80-8FF7-C6736D19F28A}"/>
                </a:ext>
              </a:extLst>
            </p:cNvPr>
            <p:cNvSpPr/>
            <p:nvPr/>
          </p:nvSpPr>
          <p:spPr>
            <a:xfrm>
              <a:off x="5635956" y="5893537"/>
              <a:ext cx="98545" cy="98859"/>
            </a:xfrm>
            <a:custGeom>
              <a:avLst/>
              <a:gdLst>
                <a:gd name="connsiteX0" fmla="*/ 16634 w 98545"/>
                <a:gd name="connsiteY0" fmla="*/ 98859 h 98859"/>
                <a:gd name="connsiteX1" fmla="*/ 4708 w 98545"/>
                <a:gd name="connsiteY1" fmla="*/ 93838 h 98859"/>
                <a:gd name="connsiteX2" fmla="*/ 4708 w 98545"/>
                <a:gd name="connsiteY2" fmla="*/ 69986 h 98859"/>
                <a:gd name="connsiteX3" fmla="*/ 69986 w 98545"/>
                <a:gd name="connsiteY3" fmla="*/ 4708 h 98859"/>
                <a:gd name="connsiteX4" fmla="*/ 93838 w 98545"/>
                <a:gd name="connsiteY4" fmla="*/ 4708 h 98859"/>
                <a:gd name="connsiteX5" fmla="*/ 93838 w 98545"/>
                <a:gd name="connsiteY5" fmla="*/ 28559 h 98859"/>
                <a:gd name="connsiteX6" fmla="*/ 28559 w 98545"/>
                <a:gd name="connsiteY6" fmla="*/ 93838 h 98859"/>
                <a:gd name="connsiteX7" fmla="*/ 16634 w 98545"/>
                <a:gd name="connsiteY7" fmla="*/ 98859 h 98859"/>
                <a:gd name="connsiteX8" fmla="*/ 16634 w 98545"/>
                <a:gd name="connsiteY8" fmla="*/ 98859 h 98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8545" h="98859">
                  <a:moveTo>
                    <a:pt x="16634" y="98859"/>
                  </a:moveTo>
                  <a:cubicBezTo>
                    <a:pt x="12240" y="98859"/>
                    <a:pt x="7846" y="96976"/>
                    <a:pt x="4708" y="93838"/>
                  </a:cubicBezTo>
                  <a:cubicBezTo>
                    <a:pt x="-1569" y="87561"/>
                    <a:pt x="-1569" y="76891"/>
                    <a:pt x="4708" y="69986"/>
                  </a:cubicBezTo>
                  <a:lnTo>
                    <a:pt x="69986" y="4708"/>
                  </a:lnTo>
                  <a:cubicBezTo>
                    <a:pt x="76263" y="-1569"/>
                    <a:pt x="86933" y="-1569"/>
                    <a:pt x="93838" y="4708"/>
                  </a:cubicBezTo>
                  <a:cubicBezTo>
                    <a:pt x="100115" y="10984"/>
                    <a:pt x="100115" y="21655"/>
                    <a:pt x="93838" y="28559"/>
                  </a:cubicBezTo>
                  <a:lnTo>
                    <a:pt x="28559" y="93838"/>
                  </a:lnTo>
                  <a:cubicBezTo>
                    <a:pt x="25421" y="97604"/>
                    <a:pt x="21027" y="98859"/>
                    <a:pt x="16634" y="98859"/>
                  </a:cubicBezTo>
                  <a:lnTo>
                    <a:pt x="16634" y="98859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52" name="Forma Livre: Forma 51">
              <a:extLst>
                <a:ext uri="{FF2B5EF4-FFF2-40B4-BE49-F238E27FC236}">
                  <a16:creationId xmlns:a16="http://schemas.microsoft.com/office/drawing/2014/main" id="{33510C58-78F2-4AED-865D-FEE7C2BF0BF9}"/>
                </a:ext>
              </a:extLst>
            </p:cNvPr>
            <p:cNvSpPr/>
            <p:nvPr/>
          </p:nvSpPr>
          <p:spPr>
            <a:xfrm>
              <a:off x="5635956" y="5893537"/>
              <a:ext cx="98545" cy="98859"/>
            </a:xfrm>
            <a:custGeom>
              <a:avLst/>
              <a:gdLst>
                <a:gd name="connsiteX0" fmla="*/ 81912 w 98545"/>
                <a:gd name="connsiteY0" fmla="*/ 98859 h 98859"/>
                <a:gd name="connsiteX1" fmla="*/ 69986 w 98545"/>
                <a:gd name="connsiteY1" fmla="*/ 93838 h 98859"/>
                <a:gd name="connsiteX2" fmla="*/ 4708 w 98545"/>
                <a:gd name="connsiteY2" fmla="*/ 28559 h 98859"/>
                <a:gd name="connsiteX3" fmla="*/ 4708 w 98545"/>
                <a:gd name="connsiteY3" fmla="*/ 4708 h 98859"/>
                <a:gd name="connsiteX4" fmla="*/ 28559 w 98545"/>
                <a:gd name="connsiteY4" fmla="*/ 4708 h 98859"/>
                <a:gd name="connsiteX5" fmla="*/ 93838 w 98545"/>
                <a:gd name="connsiteY5" fmla="*/ 69986 h 98859"/>
                <a:gd name="connsiteX6" fmla="*/ 93838 w 98545"/>
                <a:gd name="connsiteY6" fmla="*/ 93838 h 98859"/>
                <a:gd name="connsiteX7" fmla="*/ 81912 w 98545"/>
                <a:gd name="connsiteY7" fmla="*/ 98859 h 98859"/>
                <a:gd name="connsiteX8" fmla="*/ 81912 w 98545"/>
                <a:gd name="connsiteY8" fmla="*/ 98859 h 98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8545" h="98859">
                  <a:moveTo>
                    <a:pt x="81912" y="98859"/>
                  </a:moveTo>
                  <a:cubicBezTo>
                    <a:pt x="77518" y="98859"/>
                    <a:pt x="73125" y="96976"/>
                    <a:pt x="69986" y="93838"/>
                  </a:cubicBezTo>
                  <a:lnTo>
                    <a:pt x="4708" y="28559"/>
                  </a:lnTo>
                  <a:cubicBezTo>
                    <a:pt x="-1569" y="22283"/>
                    <a:pt x="-1569" y="11612"/>
                    <a:pt x="4708" y="4708"/>
                  </a:cubicBezTo>
                  <a:cubicBezTo>
                    <a:pt x="10984" y="-1569"/>
                    <a:pt x="21655" y="-1569"/>
                    <a:pt x="28559" y="4708"/>
                  </a:cubicBezTo>
                  <a:lnTo>
                    <a:pt x="93838" y="69986"/>
                  </a:lnTo>
                  <a:cubicBezTo>
                    <a:pt x="100115" y="76263"/>
                    <a:pt x="100115" y="86933"/>
                    <a:pt x="93838" y="93838"/>
                  </a:cubicBezTo>
                  <a:cubicBezTo>
                    <a:pt x="90700" y="97604"/>
                    <a:pt x="86306" y="98859"/>
                    <a:pt x="81912" y="98859"/>
                  </a:cubicBezTo>
                  <a:lnTo>
                    <a:pt x="81912" y="98859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53" name="Forma Livre: Forma 52">
              <a:extLst>
                <a:ext uri="{FF2B5EF4-FFF2-40B4-BE49-F238E27FC236}">
                  <a16:creationId xmlns:a16="http://schemas.microsoft.com/office/drawing/2014/main" id="{D8F508AD-2123-4A34-8587-2C9E587475BF}"/>
                </a:ext>
              </a:extLst>
            </p:cNvPr>
            <p:cNvSpPr/>
            <p:nvPr/>
          </p:nvSpPr>
          <p:spPr>
            <a:xfrm>
              <a:off x="5466797" y="5799071"/>
              <a:ext cx="204064" cy="16319"/>
            </a:xfrm>
            <a:custGeom>
              <a:avLst/>
              <a:gdLst>
                <a:gd name="connsiteX0" fmla="*/ 195836 w 204064"/>
                <a:gd name="connsiteY0" fmla="*/ 16319 h 16319"/>
                <a:gd name="connsiteX1" fmla="*/ 8160 w 204064"/>
                <a:gd name="connsiteY1" fmla="*/ 16319 h 16319"/>
                <a:gd name="connsiteX2" fmla="*/ 0 w 204064"/>
                <a:gd name="connsiteY2" fmla="*/ 8160 h 16319"/>
                <a:gd name="connsiteX3" fmla="*/ 8160 w 204064"/>
                <a:gd name="connsiteY3" fmla="*/ 0 h 16319"/>
                <a:gd name="connsiteX4" fmla="*/ 195836 w 204064"/>
                <a:gd name="connsiteY4" fmla="*/ 0 h 16319"/>
                <a:gd name="connsiteX5" fmla="*/ 203996 w 204064"/>
                <a:gd name="connsiteY5" fmla="*/ 8160 h 16319"/>
                <a:gd name="connsiteX6" fmla="*/ 195836 w 204064"/>
                <a:gd name="connsiteY6" fmla="*/ 16319 h 16319"/>
                <a:gd name="connsiteX7" fmla="*/ 195836 w 204064"/>
                <a:gd name="connsiteY7" fmla="*/ 16319 h 16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4064" h="16319">
                  <a:moveTo>
                    <a:pt x="195836" y="16319"/>
                  </a:moveTo>
                  <a:lnTo>
                    <a:pt x="8160" y="16319"/>
                  </a:lnTo>
                  <a:cubicBezTo>
                    <a:pt x="3766" y="16319"/>
                    <a:pt x="0" y="12554"/>
                    <a:pt x="0" y="8160"/>
                  </a:cubicBezTo>
                  <a:cubicBezTo>
                    <a:pt x="0" y="3766"/>
                    <a:pt x="3766" y="0"/>
                    <a:pt x="8160" y="0"/>
                  </a:cubicBezTo>
                  <a:lnTo>
                    <a:pt x="195836" y="0"/>
                  </a:lnTo>
                  <a:cubicBezTo>
                    <a:pt x="200230" y="0"/>
                    <a:pt x="203996" y="3766"/>
                    <a:pt x="203996" y="8160"/>
                  </a:cubicBezTo>
                  <a:cubicBezTo>
                    <a:pt x="204623" y="12554"/>
                    <a:pt x="200857" y="16319"/>
                    <a:pt x="195836" y="16319"/>
                  </a:cubicBezTo>
                  <a:lnTo>
                    <a:pt x="195836" y="16319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54" name="Forma Livre: Forma 53">
              <a:extLst>
                <a:ext uri="{FF2B5EF4-FFF2-40B4-BE49-F238E27FC236}">
                  <a16:creationId xmlns:a16="http://schemas.microsoft.com/office/drawing/2014/main" id="{7CB1C7E4-4DEE-4E1C-BE9B-122C235BA892}"/>
                </a:ext>
              </a:extLst>
            </p:cNvPr>
            <p:cNvSpPr/>
            <p:nvPr/>
          </p:nvSpPr>
          <p:spPr>
            <a:xfrm>
              <a:off x="5466797" y="5850541"/>
              <a:ext cx="180771" cy="16319"/>
            </a:xfrm>
            <a:custGeom>
              <a:avLst/>
              <a:gdLst>
                <a:gd name="connsiteX0" fmla="*/ 172612 w 180771"/>
                <a:gd name="connsiteY0" fmla="*/ 16319 h 16319"/>
                <a:gd name="connsiteX1" fmla="*/ 8160 w 180771"/>
                <a:gd name="connsiteY1" fmla="*/ 16319 h 16319"/>
                <a:gd name="connsiteX2" fmla="*/ 0 w 180771"/>
                <a:gd name="connsiteY2" fmla="*/ 8160 h 16319"/>
                <a:gd name="connsiteX3" fmla="*/ 8160 w 180771"/>
                <a:gd name="connsiteY3" fmla="*/ 0 h 16319"/>
                <a:gd name="connsiteX4" fmla="*/ 172612 w 180771"/>
                <a:gd name="connsiteY4" fmla="*/ 0 h 16319"/>
                <a:gd name="connsiteX5" fmla="*/ 180771 w 180771"/>
                <a:gd name="connsiteY5" fmla="*/ 8160 h 16319"/>
                <a:gd name="connsiteX6" fmla="*/ 172612 w 180771"/>
                <a:gd name="connsiteY6" fmla="*/ 16319 h 16319"/>
                <a:gd name="connsiteX7" fmla="*/ 172612 w 180771"/>
                <a:gd name="connsiteY7" fmla="*/ 16319 h 16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0771" h="16319">
                  <a:moveTo>
                    <a:pt x="172612" y="16319"/>
                  </a:moveTo>
                  <a:lnTo>
                    <a:pt x="8160" y="16319"/>
                  </a:lnTo>
                  <a:cubicBezTo>
                    <a:pt x="3766" y="16319"/>
                    <a:pt x="0" y="12554"/>
                    <a:pt x="0" y="8160"/>
                  </a:cubicBezTo>
                  <a:cubicBezTo>
                    <a:pt x="0" y="3766"/>
                    <a:pt x="3766" y="0"/>
                    <a:pt x="8160" y="0"/>
                  </a:cubicBezTo>
                  <a:lnTo>
                    <a:pt x="172612" y="0"/>
                  </a:lnTo>
                  <a:cubicBezTo>
                    <a:pt x="177005" y="0"/>
                    <a:pt x="180771" y="3766"/>
                    <a:pt x="180771" y="8160"/>
                  </a:cubicBezTo>
                  <a:cubicBezTo>
                    <a:pt x="180771" y="12554"/>
                    <a:pt x="177005" y="16319"/>
                    <a:pt x="172612" y="16319"/>
                  </a:cubicBezTo>
                  <a:lnTo>
                    <a:pt x="172612" y="16319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55" name="Forma Livre: Forma 54">
              <a:extLst>
                <a:ext uri="{FF2B5EF4-FFF2-40B4-BE49-F238E27FC236}">
                  <a16:creationId xmlns:a16="http://schemas.microsoft.com/office/drawing/2014/main" id="{12B9B173-F6D0-4D32-A6B7-F12A67635EA0}"/>
                </a:ext>
              </a:extLst>
            </p:cNvPr>
            <p:cNvSpPr/>
            <p:nvPr/>
          </p:nvSpPr>
          <p:spPr>
            <a:xfrm>
              <a:off x="5378922" y="5707430"/>
              <a:ext cx="370958" cy="316977"/>
            </a:xfrm>
            <a:custGeom>
              <a:avLst/>
              <a:gdLst>
                <a:gd name="connsiteX0" fmla="*/ 87875 w 370958"/>
                <a:gd name="connsiteY0" fmla="*/ 316978 h 316977"/>
                <a:gd name="connsiteX1" fmla="*/ 80343 w 370958"/>
                <a:gd name="connsiteY1" fmla="*/ 315095 h 316977"/>
                <a:gd name="connsiteX2" fmla="*/ 70928 w 370958"/>
                <a:gd name="connsiteY2" fmla="*/ 300031 h 316977"/>
                <a:gd name="connsiteX3" fmla="*/ 70928 w 370958"/>
                <a:gd name="connsiteY3" fmla="*/ 254210 h 316977"/>
                <a:gd name="connsiteX4" fmla="*/ 33267 w 370958"/>
                <a:gd name="connsiteY4" fmla="*/ 254210 h 316977"/>
                <a:gd name="connsiteX5" fmla="*/ 0 w 370958"/>
                <a:gd name="connsiteY5" fmla="*/ 220943 h 316977"/>
                <a:gd name="connsiteX6" fmla="*/ 0 w 370958"/>
                <a:gd name="connsiteY6" fmla="*/ 33267 h 316977"/>
                <a:gd name="connsiteX7" fmla="*/ 33267 w 370958"/>
                <a:gd name="connsiteY7" fmla="*/ 0 h 316977"/>
                <a:gd name="connsiteX8" fmla="*/ 337691 w 370958"/>
                <a:gd name="connsiteY8" fmla="*/ 0 h 316977"/>
                <a:gd name="connsiteX9" fmla="*/ 370958 w 370958"/>
                <a:gd name="connsiteY9" fmla="*/ 33267 h 316977"/>
                <a:gd name="connsiteX10" fmla="*/ 370958 w 370958"/>
                <a:gd name="connsiteY10" fmla="*/ 154409 h 316977"/>
                <a:gd name="connsiteX11" fmla="*/ 337691 w 370958"/>
                <a:gd name="connsiteY11" fmla="*/ 154409 h 316977"/>
                <a:gd name="connsiteX12" fmla="*/ 337691 w 370958"/>
                <a:gd name="connsiteY12" fmla="*/ 33267 h 316977"/>
                <a:gd name="connsiteX13" fmla="*/ 33267 w 370958"/>
                <a:gd name="connsiteY13" fmla="*/ 33267 h 316977"/>
                <a:gd name="connsiteX14" fmla="*/ 33267 w 370958"/>
                <a:gd name="connsiteY14" fmla="*/ 220943 h 316977"/>
                <a:gd name="connsiteX15" fmla="*/ 87875 w 370958"/>
                <a:gd name="connsiteY15" fmla="*/ 220943 h 316977"/>
                <a:gd name="connsiteX16" fmla="*/ 104822 w 370958"/>
                <a:gd name="connsiteY16" fmla="*/ 237890 h 316977"/>
                <a:gd name="connsiteX17" fmla="*/ 104822 w 370958"/>
                <a:gd name="connsiteY17" fmla="*/ 266136 h 316977"/>
                <a:gd name="connsiteX18" fmla="*/ 156920 w 370958"/>
                <a:gd name="connsiteY18" fmla="*/ 224709 h 316977"/>
                <a:gd name="connsiteX19" fmla="*/ 166963 w 370958"/>
                <a:gd name="connsiteY19" fmla="*/ 220943 h 316977"/>
                <a:gd name="connsiteX20" fmla="*/ 210900 w 370958"/>
                <a:gd name="connsiteY20" fmla="*/ 220943 h 316977"/>
                <a:gd name="connsiteX21" fmla="*/ 210900 w 370958"/>
                <a:gd name="connsiteY21" fmla="*/ 254210 h 316977"/>
                <a:gd name="connsiteX22" fmla="*/ 172612 w 370958"/>
                <a:gd name="connsiteY22" fmla="*/ 254210 h 316977"/>
                <a:gd name="connsiteX23" fmla="*/ 97918 w 370958"/>
                <a:gd name="connsiteY23" fmla="*/ 313212 h 316977"/>
                <a:gd name="connsiteX24" fmla="*/ 87875 w 370958"/>
                <a:gd name="connsiteY24" fmla="*/ 316978 h 316977"/>
                <a:gd name="connsiteX25" fmla="*/ 87875 w 370958"/>
                <a:gd name="connsiteY25" fmla="*/ 316978 h 316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70958" h="316977">
                  <a:moveTo>
                    <a:pt x="87875" y="316978"/>
                  </a:moveTo>
                  <a:cubicBezTo>
                    <a:pt x="85365" y="316978"/>
                    <a:pt x="82854" y="316350"/>
                    <a:pt x="80343" y="315095"/>
                  </a:cubicBezTo>
                  <a:cubicBezTo>
                    <a:pt x="74694" y="312584"/>
                    <a:pt x="70928" y="306307"/>
                    <a:pt x="70928" y="300031"/>
                  </a:cubicBezTo>
                  <a:lnTo>
                    <a:pt x="70928" y="254210"/>
                  </a:lnTo>
                  <a:lnTo>
                    <a:pt x="33267" y="254210"/>
                  </a:lnTo>
                  <a:cubicBezTo>
                    <a:pt x="15064" y="254210"/>
                    <a:pt x="0" y="239146"/>
                    <a:pt x="0" y="220943"/>
                  </a:cubicBezTo>
                  <a:lnTo>
                    <a:pt x="0" y="33267"/>
                  </a:lnTo>
                  <a:cubicBezTo>
                    <a:pt x="0" y="15064"/>
                    <a:pt x="15064" y="0"/>
                    <a:pt x="33267" y="0"/>
                  </a:cubicBezTo>
                  <a:lnTo>
                    <a:pt x="337691" y="0"/>
                  </a:lnTo>
                  <a:cubicBezTo>
                    <a:pt x="355894" y="0"/>
                    <a:pt x="370958" y="15064"/>
                    <a:pt x="370958" y="33267"/>
                  </a:cubicBezTo>
                  <a:lnTo>
                    <a:pt x="370958" y="154409"/>
                  </a:lnTo>
                  <a:lnTo>
                    <a:pt x="337691" y="154409"/>
                  </a:lnTo>
                  <a:lnTo>
                    <a:pt x="337691" y="33267"/>
                  </a:lnTo>
                  <a:lnTo>
                    <a:pt x="33267" y="33267"/>
                  </a:lnTo>
                  <a:lnTo>
                    <a:pt x="33267" y="220943"/>
                  </a:lnTo>
                  <a:lnTo>
                    <a:pt x="87875" y="220943"/>
                  </a:lnTo>
                  <a:cubicBezTo>
                    <a:pt x="97290" y="220943"/>
                    <a:pt x="104822" y="228475"/>
                    <a:pt x="104822" y="237890"/>
                  </a:cubicBezTo>
                  <a:lnTo>
                    <a:pt x="104822" y="266136"/>
                  </a:lnTo>
                  <a:lnTo>
                    <a:pt x="156920" y="224709"/>
                  </a:lnTo>
                  <a:cubicBezTo>
                    <a:pt x="160058" y="222198"/>
                    <a:pt x="163824" y="220943"/>
                    <a:pt x="166963" y="220943"/>
                  </a:cubicBezTo>
                  <a:lnTo>
                    <a:pt x="210900" y="220943"/>
                  </a:lnTo>
                  <a:lnTo>
                    <a:pt x="210900" y="254210"/>
                  </a:lnTo>
                  <a:lnTo>
                    <a:pt x="172612" y="254210"/>
                  </a:lnTo>
                  <a:lnTo>
                    <a:pt x="97918" y="313212"/>
                  </a:lnTo>
                  <a:cubicBezTo>
                    <a:pt x="95407" y="315723"/>
                    <a:pt x="91641" y="316978"/>
                    <a:pt x="87875" y="316978"/>
                  </a:cubicBezTo>
                  <a:lnTo>
                    <a:pt x="87875" y="316978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56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2338447" y="5722494"/>
            <a:ext cx="370958" cy="316977"/>
            <a:chOff x="2338447" y="5722494"/>
            <a:chExt cx="370958" cy="316977"/>
          </a:xfrm>
          <a:solidFill>
            <a:srgbClr val="B1B1A1"/>
          </a:solidFill>
        </p:grpSpPr>
        <p:sp>
          <p:nvSpPr>
            <p:cNvPr id="57" name="Forma Livre: Forma 56">
              <a:extLst>
                <a:ext uri="{FF2B5EF4-FFF2-40B4-BE49-F238E27FC236}">
                  <a16:creationId xmlns:a16="http://schemas.microsoft.com/office/drawing/2014/main" id="{C5A60C15-C97F-4E1B-8D6E-2B93A3A23482}"/>
                </a:ext>
              </a:extLst>
            </p:cNvPr>
            <p:cNvSpPr/>
            <p:nvPr/>
          </p:nvSpPr>
          <p:spPr>
            <a:xfrm>
              <a:off x="2338447" y="5722494"/>
              <a:ext cx="370958" cy="316977"/>
            </a:xfrm>
            <a:custGeom>
              <a:avLst/>
              <a:gdLst>
                <a:gd name="connsiteX0" fmla="*/ 87875 w 370958"/>
                <a:gd name="connsiteY0" fmla="*/ 316978 h 316977"/>
                <a:gd name="connsiteX1" fmla="*/ 80343 w 370958"/>
                <a:gd name="connsiteY1" fmla="*/ 315095 h 316977"/>
                <a:gd name="connsiteX2" fmla="*/ 70928 w 370958"/>
                <a:gd name="connsiteY2" fmla="*/ 300030 h 316977"/>
                <a:gd name="connsiteX3" fmla="*/ 70928 w 370958"/>
                <a:gd name="connsiteY3" fmla="*/ 254210 h 316977"/>
                <a:gd name="connsiteX4" fmla="*/ 33267 w 370958"/>
                <a:gd name="connsiteY4" fmla="*/ 254210 h 316977"/>
                <a:gd name="connsiteX5" fmla="*/ 0 w 370958"/>
                <a:gd name="connsiteY5" fmla="*/ 220943 h 316977"/>
                <a:gd name="connsiteX6" fmla="*/ 0 w 370958"/>
                <a:gd name="connsiteY6" fmla="*/ 33267 h 316977"/>
                <a:gd name="connsiteX7" fmla="*/ 33267 w 370958"/>
                <a:gd name="connsiteY7" fmla="*/ 0 h 316977"/>
                <a:gd name="connsiteX8" fmla="*/ 337691 w 370958"/>
                <a:gd name="connsiteY8" fmla="*/ 0 h 316977"/>
                <a:gd name="connsiteX9" fmla="*/ 370958 w 370958"/>
                <a:gd name="connsiteY9" fmla="*/ 33267 h 316977"/>
                <a:gd name="connsiteX10" fmla="*/ 370958 w 370958"/>
                <a:gd name="connsiteY10" fmla="*/ 220943 h 316977"/>
                <a:gd name="connsiteX11" fmla="*/ 337691 w 370958"/>
                <a:gd name="connsiteY11" fmla="*/ 254210 h 316977"/>
                <a:gd name="connsiteX12" fmla="*/ 172612 w 370958"/>
                <a:gd name="connsiteY12" fmla="*/ 254210 h 316977"/>
                <a:gd name="connsiteX13" fmla="*/ 97918 w 370958"/>
                <a:gd name="connsiteY13" fmla="*/ 313839 h 316977"/>
                <a:gd name="connsiteX14" fmla="*/ 87875 w 370958"/>
                <a:gd name="connsiteY14" fmla="*/ 316978 h 316977"/>
                <a:gd name="connsiteX15" fmla="*/ 87875 w 370958"/>
                <a:gd name="connsiteY15" fmla="*/ 316978 h 316977"/>
                <a:gd name="connsiteX16" fmla="*/ 33267 w 370958"/>
                <a:gd name="connsiteY16" fmla="*/ 33267 h 316977"/>
                <a:gd name="connsiteX17" fmla="*/ 33267 w 370958"/>
                <a:gd name="connsiteY17" fmla="*/ 220943 h 316977"/>
                <a:gd name="connsiteX18" fmla="*/ 87875 w 370958"/>
                <a:gd name="connsiteY18" fmla="*/ 220943 h 316977"/>
                <a:gd name="connsiteX19" fmla="*/ 104822 w 370958"/>
                <a:gd name="connsiteY19" fmla="*/ 237890 h 316977"/>
                <a:gd name="connsiteX20" fmla="*/ 104822 w 370958"/>
                <a:gd name="connsiteY20" fmla="*/ 266136 h 316977"/>
                <a:gd name="connsiteX21" fmla="*/ 156920 w 370958"/>
                <a:gd name="connsiteY21" fmla="*/ 224709 h 316977"/>
                <a:gd name="connsiteX22" fmla="*/ 166963 w 370958"/>
                <a:gd name="connsiteY22" fmla="*/ 220943 h 316977"/>
                <a:gd name="connsiteX23" fmla="*/ 338319 w 370958"/>
                <a:gd name="connsiteY23" fmla="*/ 220943 h 316977"/>
                <a:gd name="connsiteX24" fmla="*/ 338319 w 370958"/>
                <a:gd name="connsiteY24" fmla="*/ 33267 h 316977"/>
                <a:gd name="connsiteX25" fmla="*/ 33267 w 370958"/>
                <a:gd name="connsiteY25" fmla="*/ 33267 h 316977"/>
                <a:gd name="connsiteX26" fmla="*/ 33267 w 370958"/>
                <a:gd name="connsiteY26" fmla="*/ 33267 h 316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70958" h="316977">
                  <a:moveTo>
                    <a:pt x="87875" y="316978"/>
                  </a:moveTo>
                  <a:cubicBezTo>
                    <a:pt x="85364" y="316978"/>
                    <a:pt x="82854" y="316350"/>
                    <a:pt x="80343" y="315095"/>
                  </a:cubicBezTo>
                  <a:cubicBezTo>
                    <a:pt x="74694" y="312584"/>
                    <a:pt x="70928" y="306307"/>
                    <a:pt x="70928" y="300030"/>
                  </a:cubicBezTo>
                  <a:lnTo>
                    <a:pt x="70928" y="254210"/>
                  </a:lnTo>
                  <a:lnTo>
                    <a:pt x="33267" y="254210"/>
                  </a:lnTo>
                  <a:cubicBezTo>
                    <a:pt x="15064" y="254210"/>
                    <a:pt x="0" y="239145"/>
                    <a:pt x="0" y="220943"/>
                  </a:cubicBezTo>
                  <a:lnTo>
                    <a:pt x="0" y="33267"/>
                  </a:lnTo>
                  <a:cubicBezTo>
                    <a:pt x="0" y="15064"/>
                    <a:pt x="15064" y="0"/>
                    <a:pt x="33267" y="0"/>
                  </a:cubicBezTo>
                  <a:lnTo>
                    <a:pt x="337691" y="0"/>
                  </a:lnTo>
                  <a:cubicBezTo>
                    <a:pt x="355894" y="0"/>
                    <a:pt x="370958" y="15064"/>
                    <a:pt x="370958" y="33267"/>
                  </a:cubicBezTo>
                  <a:lnTo>
                    <a:pt x="370958" y="220943"/>
                  </a:lnTo>
                  <a:cubicBezTo>
                    <a:pt x="370958" y="239145"/>
                    <a:pt x="355894" y="254210"/>
                    <a:pt x="337691" y="254210"/>
                  </a:cubicBezTo>
                  <a:lnTo>
                    <a:pt x="172612" y="254210"/>
                  </a:lnTo>
                  <a:lnTo>
                    <a:pt x="97918" y="313839"/>
                  </a:lnTo>
                  <a:cubicBezTo>
                    <a:pt x="94780" y="316350"/>
                    <a:pt x="91641" y="316978"/>
                    <a:pt x="87875" y="316978"/>
                  </a:cubicBezTo>
                  <a:lnTo>
                    <a:pt x="87875" y="316978"/>
                  </a:lnTo>
                  <a:close/>
                  <a:moveTo>
                    <a:pt x="33267" y="33267"/>
                  </a:moveTo>
                  <a:lnTo>
                    <a:pt x="33267" y="220943"/>
                  </a:lnTo>
                  <a:lnTo>
                    <a:pt x="87875" y="220943"/>
                  </a:lnTo>
                  <a:cubicBezTo>
                    <a:pt x="97290" y="220943"/>
                    <a:pt x="104822" y="228475"/>
                    <a:pt x="104822" y="237890"/>
                  </a:cubicBezTo>
                  <a:lnTo>
                    <a:pt x="104822" y="266136"/>
                  </a:lnTo>
                  <a:lnTo>
                    <a:pt x="156920" y="224709"/>
                  </a:lnTo>
                  <a:cubicBezTo>
                    <a:pt x="160058" y="222198"/>
                    <a:pt x="163824" y="220943"/>
                    <a:pt x="166963" y="220943"/>
                  </a:cubicBezTo>
                  <a:lnTo>
                    <a:pt x="338319" y="220943"/>
                  </a:lnTo>
                  <a:lnTo>
                    <a:pt x="338319" y="33267"/>
                  </a:lnTo>
                  <a:lnTo>
                    <a:pt x="33267" y="33267"/>
                  </a:lnTo>
                  <a:lnTo>
                    <a:pt x="33267" y="33267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58" name="Forma Livre: Forma 57">
              <a:extLst>
                <a:ext uri="{FF2B5EF4-FFF2-40B4-BE49-F238E27FC236}">
                  <a16:creationId xmlns:a16="http://schemas.microsoft.com/office/drawing/2014/main" id="{A2746E78-FE8B-4D1F-9443-36331663C66E}"/>
                </a:ext>
              </a:extLst>
            </p:cNvPr>
            <p:cNvSpPr/>
            <p:nvPr/>
          </p:nvSpPr>
          <p:spPr>
            <a:xfrm>
              <a:off x="2426322" y="5814763"/>
              <a:ext cx="203995" cy="16319"/>
            </a:xfrm>
            <a:custGeom>
              <a:avLst/>
              <a:gdLst>
                <a:gd name="connsiteX0" fmla="*/ 195836 w 203995"/>
                <a:gd name="connsiteY0" fmla="*/ 16319 h 16319"/>
                <a:gd name="connsiteX1" fmla="*/ 8160 w 203995"/>
                <a:gd name="connsiteY1" fmla="*/ 16319 h 16319"/>
                <a:gd name="connsiteX2" fmla="*/ 0 w 203995"/>
                <a:gd name="connsiteY2" fmla="*/ 8160 h 16319"/>
                <a:gd name="connsiteX3" fmla="*/ 8160 w 203995"/>
                <a:gd name="connsiteY3" fmla="*/ 0 h 16319"/>
                <a:gd name="connsiteX4" fmla="*/ 195836 w 203995"/>
                <a:gd name="connsiteY4" fmla="*/ 0 h 16319"/>
                <a:gd name="connsiteX5" fmla="*/ 203996 w 203995"/>
                <a:gd name="connsiteY5" fmla="*/ 8160 h 16319"/>
                <a:gd name="connsiteX6" fmla="*/ 195836 w 203995"/>
                <a:gd name="connsiteY6" fmla="*/ 16319 h 16319"/>
                <a:gd name="connsiteX7" fmla="*/ 195836 w 203995"/>
                <a:gd name="connsiteY7" fmla="*/ 16319 h 16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3995" h="16319">
                  <a:moveTo>
                    <a:pt x="195836" y="16319"/>
                  </a:moveTo>
                  <a:lnTo>
                    <a:pt x="8160" y="16319"/>
                  </a:lnTo>
                  <a:cubicBezTo>
                    <a:pt x="3766" y="16319"/>
                    <a:pt x="0" y="12554"/>
                    <a:pt x="0" y="8160"/>
                  </a:cubicBezTo>
                  <a:cubicBezTo>
                    <a:pt x="0" y="3766"/>
                    <a:pt x="3766" y="0"/>
                    <a:pt x="8160" y="0"/>
                  </a:cubicBezTo>
                  <a:lnTo>
                    <a:pt x="195836" y="0"/>
                  </a:lnTo>
                  <a:cubicBezTo>
                    <a:pt x="200230" y="0"/>
                    <a:pt x="203996" y="3766"/>
                    <a:pt x="203996" y="8160"/>
                  </a:cubicBezTo>
                  <a:cubicBezTo>
                    <a:pt x="203996" y="12554"/>
                    <a:pt x="200857" y="16319"/>
                    <a:pt x="195836" y="16319"/>
                  </a:cubicBezTo>
                  <a:lnTo>
                    <a:pt x="195836" y="16319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59" name="Forma Livre: Forma 58">
              <a:extLst>
                <a:ext uri="{FF2B5EF4-FFF2-40B4-BE49-F238E27FC236}">
                  <a16:creationId xmlns:a16="http://schemas.microsoft.com/office/drawing/2014/main" id="{FC6934E1-108E-44C2-A243-22EB3DFE41A0}"/>
                </a:ext>
              </a:extLst>
            </p:cNvPr>
            <p:cNvSpPr/>
            <p:nvPr/>
          </p:nvSpPr>
          <p:spPr>
            <a:xfrm>
              <a:off x="2426322" y="5866233"/>
              <a:ext cx="204064" cy="16319"/>
            </a:xfrm>
            <a:custGeom>
              <a:avLst/>
              <a:gdLst>
                <a:gd name="connsiteX0" fmla="*/ 195836 w 204064"/>
                <a:gd name="connsiteY0" fmla="*/ 16319 h 16319"/>
                <a:gd name="connsiteX1" fmla="*/ 8160 w 204064"/>
                <a:gd name="connsiteY1" fmla="*/ 16319 h 16319"/>
                <a:gd name="connsiteX2" fmla="*/ 0 w 204064"/>
                <a:gd name="connsiteY2" fmla="*/ 8160 h 16319"/>
                <a:gd name="connsiteX3" fmla="*/ 8160 w 204064"/>
                <a:gd name="connsiteY3" fmla="*/ 0 h 16319"/>
                <a:gd name="connsiteX4" fmla="*/ 195836 w 204064"/>
                <a:gd name="connsiteY4" fmla="*/ 0 h 16319"/>
                <a:gd name="connsiteX5" fmla="*/ 203996 w 204064"/>
                <a:gd name="connsiteY5" fmla="*/ 8160 h 16319"/>
                <a:gd name="connsiteX6" fmla="*/ 195836 w 204064"/>
                <a:gd name="connsiteY6" fmla="*/ 16319 h 16319"/>
                <a:gd name="connsiteX7" fmla="*/ 195836 w 204064"/>
                <a:gd name="connsiteY7" fmla="*/ 16319 h 16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4064" h="16319">
                  <a:moveTo>
                    <a:pt x="195836" y="16319"/>
                  </a:moveTo>
                  <a:lnTo>
                    <a:pt x="8160" y="16319"/>
                  </a:lnTo>
                  <a:cubicBezTo>
                    <a:pt x="3766" y="16319"/>
                    <a:pt x="0" y="12554"/>
                    <a:pt x="0" y="8160"/>
                  </a:cubicBezTo>
                  <a:cubicBezTo>
                    <a:pt x="0" y="3766"/>
                    <a:pt x="3766" y="0"/>
                    <a:pt x="8160" y="0"/>
                  </a:cubicBezTo>
                  <a:lnTo>
                    <a:pt x="195836" y="0"/>
                  </a:lnTo>
                  <a:cubicBezTo>
                    <a:pt x="200230" y="0"/>
                    <a:pt x="203996" y="3766"/>
                    <a:pt x="203996" y="8160"/>
                  </a:cubicBezTo>
                  <a:cubicBezTo>
                    <a:pt x="204623" y="12554"/>
                    <a:pt x="200857" y="16319"/>
                    <a:pt x="195836" y="16319"/>
                  </a:cubicBezTo>
                  <a:lnTo>
                    <a:pt x="195836" y="16319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60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2330164" y="3641112"/>
            <a:ext cx="388161" cy="344595"/>
            <a:chOff x="2330164" y="3641112"/>
            <a:chExt cx="388161" cy="344595"/>
          </a:xfrm>
          <a:solidFill>
            <a:srgbClr val="B1B1A1"/>
          </a:solidFill>
        </p:grpSpPr>
        <p:sp>
          <p:nvSpPr>
            <p:cNvPr id="61" name="Forma Livre: Forma 60">
              <a:extLst>
                <a:ext uri="{FF2B5EF4-FFF2-40B4-BE49-F238E27FC236}">
                  <a16:creationId xmlns:a16="http://schemas.microsoft.com/office/drawing/2014/main" id="{AFA4B92F-3E75-476F-8403-4A8B31879DE4}"/>
                </a:ext>
              </a:extLst>
            </p:cNvPr>
            <p:cNvSpPr/>
            <p:nvPr/>
          </p:nvSpPr>
          <p:spPr>
            <a:xfrm>
              <a:off x="2388033" y="3641112"/>
              <a:ext cx="145621" cy="161941"/>
            </a:xfrm>
            <a:custGeom>
              <a:avLst/>
              <a:gdLst>
                <a:gd name="connsiteX0" fmla="*/ 72811 w 145621"/>
                <a:gd name="connsiteY0" fmla="*/ 161941 h 161941"/>
                <a:gd name="connsiteX1" fmla="*/ 0 w 145621"/>
                <a:gd name="connsiteY1" fmla="*/ 80971 h 161941"/>
                <a:gd name="connsiteX2" fmla="*/ 72811 w 145621"/>
                <a:gd name="connsiteY2" fmla="*/ 0 h 161941"/>
                <a:gd name="connsiteX3" fmla="*/ 145621 w 145621"/>
                <a:gd name="connsiteY3" fmla="*/ 80971 h 161941"/>
                <a:gd name="connsiteX4" fmla="*/ 72811 w 145621"/>
                <a:gd name="connsiteY4" fmla="*/ 161941 h 161941"/>
                <a:gd name="connsiteX5" fmla="*/ 72811 w 145621"/>
                <a:gd name="connsiteY5" fmla="*/ 161941 h 161941"/>
                <a:gd name="connsiteX6" fmla="*/ 72811 w 145621"/>
                <a:gd name="connsiteY6" fmla="*/ 33267 h 161941"/>
                <a:gd name="connsiteX7" fmla="*/ 33895 w 145621"/>
                <a:gd name="connsiteY7" fmla="*/ 80971 h 161941"/>
                <a:gd name="connsiteX8" fmla="*/ 72811 w 145621"/>
                <a:gd name="connsiteY8" fmla="*/ 128674 h 161941"/>
                <a:gd name="connsiteX9" fmla="*/ 111727 w 145621"/>
                <a:gd name="connsiteY9" fmla="*/ 80971 h 161941"/>
                <a:gd name="connsiteX10" fmla="*/ 72811 w 145621"/>
                <a:gd name="connsiteY10" fmla="*/ 33267 h 161941"/>
                <a:gd name="connsiteX11" fmla="*/ 72811 w 145621"/>
                <a:gd name="connsiteY11" fmla="*/ 33267 h 161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5621" h="161941">
                  <a:moveTo>
                    <a:pt x="72811" y="161941"/>
                  </a:moveTo>
                  <a:cubicBezTo>
                    <a:pt x="32639" y="161941"/>
                    <a:pt x="0" y="125536"/>
                    <a:pt x="0" y="80971"/>
                  </a:cubicBezTo>
                  <a:cubicBezTo>
                    <a:pt x="0" y="36405"/>
                    <a:pt x="32639" y="0"/>
                    <a:pt x="72811" y="0"/>
                  </a:cubicBezTo>
                  <a:cubicBezTo>
                    <a:pt x="112982" y="0"/>
                    <a:pt x="145621" y="36405"/>
                    <a:pt x="145621" y="80971"/>
                  </a:cubicBezTo>
                  <a:cubicBezTo>
                    <a:pt x="145621" y="125536"/>
                    <a:pt x="112982" y="161941"/>
                    <a:pt x="72811" y="161941"/>
                  </a:cubicBezTo>
                  <a:lnTo>
                    <a:pt x="72811" y="161941"/>
                  </a:lnTo>
                  <a:close/>
                  <a:moveTo>
                    <a:pt x="72811" y="33267"/>
                  </a:moveTo>
                  <a:cubicBezTo>
                    <a:pt x="51470" y="33267"/>
                    <a:pt x="33895" y="54608"/>
                    <a:pt x="33895" y="80971"/>
                  </a:cubicBezTo>
                  <a:cubicBezTo>
                    <a:pt x="33895" y="107333"/>
                    <a:pt x="51470" y="128674"/>
                    <a:pt x="72811" y="128674"/>
                  </a:cubicBezTo>
                  <a:cubicBezTo>
                    <a:pt x="94152" y="128674"/>
                    <a:pt x="111727" y="107333"/>
                    <a:pt x="111727" y="80971"/>
                  </a:cubicBezTo>
                  <a:cubicBezTo>
                    <a:pt x="111727" y="54608"/>
                    <a:pt x="94152" y="33267"/>
                    <a:pt x="72811" y="33267"/>
                  </a:cubicBezTo>
                  <a:lnTo>
                    <a:pt x="72811" y="33267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62" name="Forma Livre: Forma 61">
              <a:extLst>
                <a:ext uri="{FF2B5EF4-FFF2-40B4-BE49-F238E27FC236}">
                  <a16:creationId xmlns:a16="http://schemas.microsoft.com/office/drawing/2014/main" id="{15BEB202-FEB4-4C41-9B91-73B8CD94E8AA}"/>
                </a:ext>
              </a:extLst>
            </p:cNvPr>
            <p:cNvSpPr/>
            <p:nvPr/>
          </p:nvSpPr>
          <p:spPr>
            <a:xfrm>
              <a:off x="2330164" y="3819216"/>
              <a:ext cx="257592" cy="166491"/>
            </a:xfrm>
            <a:custGeom>
              <a:avLst/>
              <a:gdLst>
                <a:gd name="connsiteX0" fmla="*/ 236757 w 257592"/>
                <a:gd name="connsiteY0" fmla="*/ 166492 h 166491"/>
                <a:gd name="connsiteX1" fmla="*/ 22091 w 257592"/>
                <a:gd name="connsiteY1" fmla="*/ 166492 h 166491"/>
                <a:gd name="connsiteX2" fmla="*/ 5144 w 257592"/>
                <a:gd name="connsiteY2" fmla="*/ 150800 h 166491"/>
                <a:gd name="connsiteX3" fmla="*/ 122 w 257592"/>
                <a:gd name="connsiteY3" fmla="*/ 81128 h 166491"/>
                <a:gd name="connsiteX4" fmla="*/ 44687 w 257592"/>
                <a:gd name="connsiteY4" fmla="*/ 14593 h 166491"/>
                <a:gd name="connsiteX5" fmla="*/ 212905 w 257592"/>
                <a:gd name="connsiteY5" fmla="*/ 14593 h 166491"/>
                <a:gd name="connsiteX6" fmla="*/ 257471 w 257592"/>
                <a:gd name="connsiteY6" fmla="*/ 81128 h 166491"/>
                <a:gd name="connsiteX7" fmla="*/ 252449 w 257592"/>
                <a:gd name="connsiteY7" fmla="*/ 150172 h 166491"/>
                <a:gd name="connsiteX8" fmla="*/ 236757 w 257592"/>
                <a:gd name="connsiteY8" fmla="*/ 166492 h 166491"/>
                <a:gd name="connsiteX9" fmla="*/ 236757 w 257592"/>
                <a:gd name="connsiteY9" fmla="*/ 166492 h 166491"/>
                <a:gd name="connsiteX10" fmla="*/ 37783 w 257592"/>
                <a:gd name="connsiteY10" fmla="*/ 133225 h 166491"/>
                <a:gd name="connsiteX11" fmla="*/ 221693 w 257592"/>
                <a:gd name="connsiteY11" fmla="*/ 133225 h 166491"/>
                <a:gd name="connsiteX12" fmla="*/ 225459 w 257592"/>
                <a:gd name="connsiteY12" fmla="*/ 79245 h 166491"/>
                <a:gd name="connsiteX13" fmla="*/ 202862 w 257592"/>
                <a:gd name="connsiteY13" fmla="*/ 46605 h 166491"/>
                <a:gd name="connsiteX14" fmla="*/ 57241 w 257592"/>
                <a:gd name="connsiteY14" fmla="*/ 46605 h 166491"/>
                <a:gd name="connsiteX15" fmla="*/ 34645 w 257592"/>
                <a:gd name="connsiteY15" fmla="*/ 79245 h 166491"/>
                <a:gd name="connsiteX16" fmla="*/ 37783 w 257592"/>
                <a:gd name="connsiteY16" fmla="*/ 133225 h 166491"/>
                <a:gd name="connsiteX17" fmla="*/ 37783 w 257592"/>
                <a:gd name="connsiteY17" fmla="*/ 133225 h 166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57592" h="166491">
                  <a:moveTo>
                    <a:pt x="236757" y="166492"/>
                  </a:moveTo>
                  <a:lnTo>
                    <a:pt x="22091" y="166492"/>
                  </a:lnTo>
                  <a:cubicBezTo>
                    <a:pt x="13304" y="166492"/>
                    <a:pt x="5771" y="159587"/>
                    <a:pt x="5144" y="150800"/>
                  </a:cubicBezTo>
                  <a:lnTo>
                    <a:pt x="122" y="81128"/>
                  </a:lnTo>
                  <a:cubicBezTo>
                    <a:pt x="-1761" y="54137"/>
                    <a:pt x="18325" y="24637"/>
                    <a:pt x="44687" y="14593"/>
                  </a:cubicBezTo>
                  <a:cubicBezTo>
                    <a:pt x="99295" y="-4864"/>
                    <a:pt x="158925" y="-4864"/>
                    <a:pt x="212905" y="14593"/>
                  </a:cubicBezTo>
                  <a:cubicBezTo>
                    <a:pt x="239268" y="24637"/>
                    <a:pt x="259354" y="54137"/>
                    <a:pt x="257471" y="81128"/>
                  </a:cubicBezTo>
                  <a:lnTo>
                    <a:pt x="252449" y="150172"/>
                  </a:lnTo>
                  <a:cubicBezTo>
                    <a:pt x="253077" y="160215"/>
                    <a:pt x="245545" y="166492"/>
                    <a:pt x="236757" y="166492"/>
                  </a:cubicBezTo>
                  <a:lnTo>
                    <a:pt x="236757" y="166492"/>
                  </a:lnTo>
                  <a:close/>
                  <a:moveTo>
                    <a:pt x="37783" y="133225"/>
                  </a:moveTo>
                  <a:lnTo>
                    <a:pt x="221693" y="133225"/>
                  </a:lnTo>
                  <a:lnTo>
                    <a:pt x="225459" y="79245"/>
                  </a:lnTo>
                  <a:cubicBezTo>
                    <a:pt x="226087" y="68574"/>
                    <a:pt x="216044" y="51627"/>
                    <a:pt x="202862" y="46605"/>
                  </a:cubicBezTo>
                  <a:cubicBezTo>
                    <a:pt x="156414" y="29658"/>
                    <a:pt x="104317" y="29658"/>
                    <a:pt x="57241" y="46605"/>
                  </a:cubicBezTo>
                  <a:cubicBezTo>
                    <a:pt x="44060" y="51627"/>
                    <a:pt x="34017" y="68574"/>
                    <a:pt x="34645" y="79245"/>
                  </a:cubicBezTo>
                  <a:lnTo>
                    <a:pt x="37783" y="133225"/>
                  </a:lnTo>
                  <a:lnTo>
                    <a:pt x="37783" y="133225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63" name="Forma Livre: Forma 62">
              <a:extLst>
                <a:ext uri="{FF2B5EF4-FFF2-40B4-BE49-F238E27FC236}">
                  <a16:creationId xmlns:a16="http://schemas.microsoft.com/office/drawing/2014/main" id="{4D17F890-21A9-486C-A040-6478A40182EB}"/>
                </a:ext>
              </a:extLst>
            </p:cNvPr>
            <p:cNvSpPr/>
            <p:nvPr/>
          </p:nvSpPr>
          <p:spPr>
            <a:xfrm>
              <a:off x="2330164" y="3819216"/>
              <a:ext cx="257592" cy="166491"/>
            </a:xfrm>
            <a:custGeom>
              <a:avLst/>
              <a:gdLst>
                <a:gd name="connsiteX0" fmla="*/ 236757 w 257592"/>
                <a:gd name="connsiteY0" fmla="*/ 166492 h 166491"/>
                <a:gd name="connsiteX1" fmla="*/ 22091 w 257592"/>
                <a:gd name="connsiteY1" fmla="*/ 166492 h 166491"/>
                <a:gd name="connsiteX2" fmla="*/ 5144 w 257592"/>
                <a:gd name="connsiteY2" fmla="*/ 150800 h 166491"/>
                <a:gd name="connsiteX3" fmla="*/ 122 w 257592"/>
                <a:gd name="connsiteY3" fmla="*/ 81128 h 166491"/>
                <a:gd name="connsiteX4" fmla="*/ 44687 w 257592"/>
                <a:gd name="connsiteY4" fmla="*/ 14593 h 166491"/>
                <a:gd name="connsiteX5" fmla="*/ 212905 w 257592"/>
                <a:gd name="connsiteY5" fmla="*/ 14593 h 166491"/>
                <a:gd name="connsiteX6" fmla="*/ 257471 w 257592"/>
                <a:gd name="connsiteY6" fmla="*/ 81128 h 166491"/>
                <a:gd name="connsiteX7" fmla="*/ 252449 w 257592"/>
                <a:gd name="connsiteY7" fmla="*/ 150172 h 166491"/>
                <a:gd name="connsiteX8" fmla="*/ 236757 w 257592"/>
                <a:gd name="connsiteY8" fmla="*/ 166492 h 166491"/>
                <a:gd name="connsiteX9" fmla="*/ 236757 w 257592"/>
                <a:gd name="connsiteY9" fmla="*/ 166492 h 166491"/>
                <a:gd name="connsiteX10" fmla="*/ 37783 w 257592"/>
                <a:gd name="connsiteY10" fmla="*/ 133225 h 166491"/>
                <a:gd name="connsiteX11" fmla="*/ 221693 w 257592"/>
                <a:gd name="connsiteY11" fmla="*/ 133225 h 166491"/>
                <a:gd name="connsiteX12" fmla="*/ 225459 w 257592"/>
                <a:gd name="connsiteY12" fmla="*/ 79245 h 166491"/>
                <a:gd name="connsiteX13" fmla="*/ 202862 w 257592"/>
                <a:gd name="connsiteY13" fmla="*/ 46605 h 166491"/>
                <a:gd name="connsiteX14" fmla="*/ 57241 w 257592"/>
                <a:gd name="connsiteY14" fmla="*/ 46605 h 166491"/>
                <a:gd name="connsiteX15" fmla="*/ 34645 w 257592"/>
                <a:gd name="connsiteY15" fmla="*/ 79245 h 166491"/>
                <a:gd name="connsiteX16" fmla="*/ 37783 w 257592"/>
                <a:gd name="connsiteY16" fmla="*/ 133225 h 166491"/>
                <a:gd name="connsiteX17" fmla="*/ 37783 w 257592"/>
                <a:gd name="connsiteY17" fmla="*/ 133225 h 166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57592" h="166491">
                  <a:moveTo>
                    <a:pt x="236757" y="166492"/>
                  </a:moveTo>
                  <a:lnTo>
                    <a:pt x="22091" y="166492"/>
                  </a:lnTo>
                  <a:cubicBezTo>
                    <a:pt x="13304" y="166492"/>
                    <a:pt x="5771" y="159587"/>
                    <a:pt x="5144" y="150800"/>
                  </a:cubicBezTo>
                  <a:lnTo>
                    <a:pt x="122" y="81128"/>
                  </a:lnTo>
                  <a:cubicBezTo>
                    <a:pt x="-1761" y="54137"/>
                    <a:pt x="18325" y="24637"/>
                    <a:pt x="44687" y="14593"/>
                  </a:cubicBezTo>
                  <a:cubicBezTo>
                    <a:pt x="99295" y="-4864"/>
                    <a:pt x="158925" y="-4864"/>
                    <a:pt x="212905" y="14593"/>
                  </a:cubicBezTo>
                  <a:cubicBezTo>
                    <a:pt x="239268" y="24637"/>
                    <a:pt x="259354" y="54137"/>
                    <a:pt x="257471" y="81128"/>
                  </a:cubicBezTo>
                  <a:lnTo>
                    <a:pt x="252449" y="150172"/>
                  </a:lnTo>
                  <a:cubicBezTo>
                    <a:pt x="253077" y="160215"/>
                    <a:pt x="245545" y="166492"/>
                    <a:pt x="236757" y="166492"/>
                  </a:cubicBezTo>
                  <a:lnTo>
                    <a:pt x="236757" y="166492"/>
                  </a:lnTo>
                  <a:close/>
                  <a:moveTo>
                    <a:pt x="37783" y="133225"/>
                  </a:moveTo>
                  <a:lnTo>
                    <a:pt x="221693" y="133225"/>
                  </a:lnTo>
                  <a:lnTo>
                    <a:pt x="225459" y="79245"/>
                  </a:lnTo>
                  <a:cubicBezTo>
                    <a:pt x="226087" y="68574"/>
                    <a:pt x="216044" y="51627"/>
                    <a:pt x="202862" y="46605"/>
                  </a:cubicBezTo>
                  <a:cubicBezTo>
                    <a:pt x="156414" y="29658"/>
                    <a:pt x="104317" y="29658"/>
                    <a:pt x="57241" y="46605"/>
                  </a:cubicBezTo>
                  <a:cubicBezTo>
                    <a:pt x="44060" y="51627"/>
                    <a:pt x="34017" y="68574"/>
                    <a:pt x="34645" y="79245"/>
                  </a:cubicBezTo>
                  <a:lnTo>
                    <a:pt x="37783" y="133225"/>
                  </a:lnTo>
                  <a:lnTo>
                    <a:pt x="37783" y="133225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64" name="Forma Livre: Forma 63">
              <a:extLst>
                <a:ext uri="{FF2B5EF4-FFF2-40B4-BE49-F238E27FC236}">
                  <a16:creationId xmlns:a16="http://schemas.microsoft.com/office/drawing/2014/main" id="{D9249BAE-5229-4043-81DC-D0FE87EEA954}"/>
                </a:ext>
              </a:extLst>
            </p:cNvPr>
            <p:cNvSpPr/>
            <p:nvPr/>
          </p:nvSpPr>
          <p:spPr>
            <a:xfrm>
              <a:off x="2592029" y="3837539"/>
              <a:ext cx="126297" cy="148168"/>
            </a:xfrm>
            <a:custGeom>
              <a:avLst/>
              <a:gdLst>
                <a:gd name="connsiteX0" fmla="*/ 104822 w 126297"/>
                <a:gd name="connsiteY0" fmla="*/ 148169 h 148168"/>
                <a:gd name="connsiteX1" fmla="*/ 19458 w 126297"/>
                <a:gd name="connsiteY1" fmla="*/ 148169 h 148168"/>
                <a:gd name="connsiteX2" fmla="*/ 2511 w 126297"/>
                <a:gd name="connsiteY2" fmla="*/ 131221 h 148168"/>
                <a:gd name="connsiteX3" fmla="*/ 19458 w 126297"/>
                <a:gd name="connsiteY3" fmla="*/ 114274 h 148168"/>
                <a:gd name="connsiteX4" fmla="*/ 89758 w 126297"/>
                <a:gd name="connsiteY4" fmla="*/ 114274 h 148168"/>
                <a:gd name="connsiteX5" fmla="*/ 92896 w 126297"/>
                <a:gd name="connsiteY5" fmla="*/ 69709 h 148168"/>
                <a:gd name="connsiteX6" fmla="*/ 74694 w 126297"/>
                <a:gd name="connsiteY6" fmla="*/ 43974 h 148168"/>
                <a:gd name="connsiteX7" fmla="*/ 16320 w 126297"/>
                <a:gd name="connsiteY7" fmla="*/ 33303 h 148168"/>
                <a:gd name="connsiteX8" fmla="*/ 0 w 126297"/>
                <a:gd name="connsiteY8" fmla="*/ 16356 h 148168"/>
                <a:gd name="connsiteX9" fmla="*/ 16947 w 126297"/>
                <a:gd name="connsiteY9" fmla="*/ 37 h 148168"/>
                <a:gd name="connsiteX10" fmla="*/ 85992 w 126297"/>
                <a:gd name="connsiteY10" fmla="*/ 12590 h 148168"/>
                <a:gd name="connsiteX11" fmla="*/ 126163 w 126297"/>
                <a:gd name="connsiteY11" fmla="*/ 72220 h 148168"/>
                <a:gd name="connsiteX12" fmla="*/ 121770 w 126297"/>
                <a:gd name="connsiteY12" fmla="*/ 131849 h 148168"/>
                <a:gd name="connsiteX13" fmla="*/ 104822 w 126297"/>
                <a:gd name="connsiteY13" fmla="*/ 148169 h 148168"/>
                <a:gd name="connsiteX14" fmla="*/ 104822 w 126297"/>
                <a:gd name="connsiteY14" fmla="*/ 148169 h 148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6297" h="148168">
                  <a:moveTo>
                    <a:pt x="104822" y="148169"/>
                  </a:moveTo>
                  <a:lnTo>
                    <a:pt x="19458" y="148169"/>
                  </a:lnTo>
                  <a:cubicBezTo>
                    <a:pt x="10043" y="148169"/>
                    <a:pt x="2511" y="140636"/>
                    <a:pt x="2511" y="131221"/>
                  </a:cubicBezTo>
                  <a:cubicBezTo>
                    <a:pt x="2511" y="121806"/>
                    <a:pt x="10043" y="114274"/>
                    <a:pt x="19458" y="114274"/>
                  </a:cubicBezTo>
                  <a:lnTo>
                    <a:pt x="89758" y="114274"/>
                  </a:lnTo>
                  <a:lnTo>
                    <a:pt x="92896" y="69709"/>
                  </a:lnTo>
                  <a:cubicBezTo>
                    <a:pt x="93524" y="61549"/>
                    <a:pt x="85364" y="47740"/>
                    <a:pt x="74694" y="43974"/>
                  </a:cubicBezTo>
                  <a:cubicBezTo>
                    <a:pt x="55863" y="37069"/>
                    <a:pt x="36405" y="33931"/>
                    <a:pt x="16320" y="33303"/>
                  </a:cubicBezTo>
                  <a:cubicBezTo>
                    <a:pt x="6904" y="33303"/>
                    <a:pt x="0" y="25771"/>
                    <a:pt x="0" y="16356"/>
                  </a:cubicBezTo>
                  <a:cubicBezTo>
                    <a:pt x="0" y="6941"/>
                    <a:pt x="7532" y="-591"/>
                    <a:pt x="16947" y="37"/>
                  </a:cubicBezTo>
                  <a:cubicBezTo>
                    <a:pt x="40799" y="664"/>
                    <a:pt x="64023" y="4430"/>
                    <a:pt x="85992" y="12590"/>
                  </a:cubicBezTo>
                  <a:cubicBezTo>
                    <a:pt x="109844" y="21377"/>
                    <a:pt x="128046" y="48368"/>
                    <a:pt x="126163" y="72220"/>
                  </a:cubicBezTo>
                  <a:lnTo>
                    <a:pt x="121770" y="131849"/>
                  </a:lnTo>
                  <a:cubicBezTo>
                    <a:pt x="121142" y="141892"/>
                    <a:pt x="113610" y="148169"/>
                    <a:pt x="104822" y="148169"/>
                  </a:cubicBezTo>
                  <a:lnTo>
                    <a:pt x="104822" y="148169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65" name="Forma Livre: Forma 64">
              <a:extLst>
                <a:ext uri="{FF2B5EF4-FFF2-40B4-BE49-F238E27FC236}">
                  <a16:creationId xmlns:a16="http://schemas.microsoft.com/office/drawing/2014/main" id="{1C1AC0E9-8CCC-4CF2-8FAA-AD6DE8D08EBE}"/>
                </a:ext>
              </a:extLst>
            </p:cNvPr>
            <p:cNvSpPr/>
            <p:nvPr/>
          </p:nvSpPr>
          <p:spPr>
            <a:xfrm>
              <a:off x="2570688" y="3686305"/>
              <a:ext cx="120514" cy="134323"/>
            </a:xfrm>
            <a:custGeom>
              <a:avLst/>
              <a:gdLst>
                <a:gd name="connsiteX0" fmla="*/ 60257 w 120514"/>
                <a:gd name="connsiteY0" fmla="*/ 134323 h 134323"/>
                <a:gd name="connsiteX1" fmla="*/ 0 w 120514"/>
                <a:gd name="connsiteY1" fmla="*/ 67162 h 134323"/>
                <a:gd name="connsiteX2" fmla="*/ 60257 w 120514"/>
                <a:gd name="connsiteY2" fmla="*/ 0 h 134323"/>
                <a:gd name="connsiteX3" fmla="*/ 120514 w 120514"/>
                <a:gd name="connsiteY3" fmla="*/ 67162 h 134323"/>
                <a:gd name="connsiteX4" fmla="*/ 60257 w 120514"/>
                <a:gd name="connsiteY4" fmla="*/ 134323 h 134323"/>
                <a:gd name="connsiteX5" fmla="*/ 60257 w 120514"/>
                <a:gd name="connsiteY5" fmla="*/ 134323 h 134323"/>
                <a:gd name="connsiteX6" fmla="*/ 60257 w 120514"/>
                <a:gd name="connsiteY6" fmla="*/ 33895 h 134323"/>
                <a:gd name="connsiteX7" fmla="*/ 33267 w 120514"/>
                <a:gd name="connsiteY7" fmla="*/ 67162 h 134323"/>
                <a:gd name="connsiteX8" fmla="*/ 60257 w 120514"/>
                <a:gd name="connsiteY8" fmla="*/ 100428 h 134323"/>
                <a:gd name="connsiteX9" fmla="*/ 87247 w 120514"/>
                <a:gd name="connsiteY9" fmla="*/ 67162 h 134323"/>
                <a:gd name="connsiteX10" fmla="*/ 60257 w 120514"/>
                <a:gd name="connsiteY10" fmla="*/ 33895 h 134323"/>
                <a:gd name="connsiteX11" fmla="*/ 60257 w 120514"/>
                <a:gd name="connsiteY11" fmla="*/ 33895 h 134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0514" h="134323">
                  <a:moveTo>
                    <a:pt x="60257" y="134323"/>
                  </a:moveTo>
                  <a:cubicBezTo>
                    <a:pt x="26990" y="134323"/>
                    <a:pt x="0" y="104195"/>
                    <a:pt x="0" y="67162"/>
                  </a:cubicBezTo>
                  <a:cubicBezTo>
                    <a:pt x="0" y="30128"/>
                    <a:pt x="26990" y="0"/>
                    <a:pt x="60257" y="0"/>
                  </a:cubicBezTo>
                  <a:cubicBezTo>
                    <a:pt x="93524" y="0"/>
                    <a:pt x="120514" y="30128"/>
                    <a:pt x="120514" y="67162"/>
                  </a:cubicBezTo>
                  <a:cubicBezTo>
                    <a:pt x="120514" y="104195"/>
                    <a:pt x="93524" y="134323"/>
                    <a:pt x="60257" y="134323"/>
                  </a:cubicBezTo>
                  <a:lnTo>
                    <a:pt x="60257" y="134323"/>
                  </a:lnTo>
                  <a:close/>
                  <a:moveTo>
                    <a:pt x="60257" y="33895"/>
                  </a:moveTo>
                  <a:cubicBezTo>
                    <a:pt x="45193" y="33895"/>
                    <a:pt x="33267" y="48959"/>
                    <a:pt x="33267" y="67162"/>
                  </a:cubicBezTo>
                  <a:cubicBezTo>
                    <a:pt x="33267" y="85364"/>
                    <a:pt x="45193" y="100428"/>
                    <a:pt x="60257" y="100428"/>
                  </a:cubicBezTo>
                  <a:cubicBezTo>
                    <a:pt x="75321" y="100428"/>
                    <a:pt x="87247" y="85364"/>
                    <a:pt x="87247" y="67162"/>
                  </a:cubicBezTo>
                  <a:cubicBezTo>
                    <a:pt x="87247" y="48959"/>
                    <a:pt x="75321" y="33895"/>
                    <a:pt x="60257" y="33895"/>
                  </a:cubicBezTo>
                  <a:lnTo>
                    <a:pt x="60257" y="33895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66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3333238" y="3661198"/>
            <a:ext cx="418196" cy="304423"/>
            <a:chOff x="3333238" y="3661198"/>
            <a:chExt cx="418196" cy="304423"/>
          </a:xfrm>
          <a:solidFill>
            <a:srgbClr val="B1B1A1"/>
          </a:solidFill>
        </p:grpSpPr>
        <p:sp>
          <p:nvSpPr>
            <p:cNvPr id="67" name="Forma Livre: Forma 66">
              <a:extLst>
                <a:ext uri="{FF2B5EF4-FFF2-40B4-BE49-F238E27FC236}">
                  <a16:creationId xmlns:a16="http://schemas.microsoft.com/office/drawing/2014/main" id="{37702D05-6EEC-4CF5-AD37-972242C02A04}"/>
                </a:ext>
              </a:extLst>
            </p:cNvPr>
            <p:cNvSpPr/>
            <p:nvPr/>
          </p:nvSpPr>
          <p:spPr>
            <a:xfrm>
              <a:off x="3480194" y="3661198"/>
              <a:ext cx="126791" cy="140599"/>
            </a:xfrm>
            <a:custGeom>
              <a:avLst/>
              <a:gdLst>
                <a:gd name="connsiteX0" fmla="*/ 63396 w 126791"/>
                <a:gd name="connsiteY0" fmla="*/ 140600 h 140599"/>
                <a:gd name="connsiteX1" fmla="*/ 0 w 126791"/>
                <a:gd name="connsiteY1" fmla="*/ 70300 h 140599"/>
                <a:gd name="connsiteX2" fmla="*/ 63396 w 126791"/>
                <a:gd name="connsiteY2" fmla="*/ 0 h 140599"/>
                <a:gd name="connsiteX3" fmla="*/ 126791 w 126791"/>
                <a:gd name="connsiteY3" fmla="*/ 70300 h 140599"/>
                <a:gd name="connsiteX4" fmla="*/ 63396 w 126791"/>
                <a:gd name="connsiteY4" fmla="*/ 140600 h 140599"/>
                <a:gd name="connsiteX5" fmla="*/ 63396 w 126791"/>
                <a:gd name="connsiteY5" fmla="*/ 140600 h 140599"/>
                <a:gd name="connsiteX6" fmla="*/ 63396 w 126791"/>
                <a:gd name="connsiteY6" fmla="*/ 33267 h 140599"/>
                <a:gd name="connsiteX7" fmla="*/ 33895 w 126791"/>
                <a:gd name="connsiteY7" fmla="*/ 70300 h 140599"/>
                <a:gd name="connsiteX8" fmla="*/ 63396 w 126791"/>
                <a:gd name="connsiteY8" fmla="*/ 107333 h 140599"/>
                <a:gd name="connsiteX9" fmla="*/ 92897 w 126791"/>
                <a:gd name="connsiteY9" fmla="*/ 70300 h 140599"/>
                <a:gd name="connsiteX10" fmla="*/ 63396 w 126791"/>
                <a:gd name="connsiteY10" fmla="*/ 33267 h 140599"/>
                <a:gd name="connsiteX11" fmla="*/ 63396 w 126791"/>
                <a:gd name="connsiteY11" fmla="*/ 33267 h 140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6791" h="140599">
                  <a:moveTo>
                    <a:pt x="63396" y="140600"/>
                  </a:moveTo>
                  <a:cubicBezTo>
                    <a:pt x="28246" y="140600"/>
                    <a:pt x="0" y="109216"/>
                    <a:pt x="0" y="70300"/>
                  </a:cubicBezTo>
                  <a:cubicBezTo>
                    <a:pt x="0" y="31384"/>
                    <a:pt x="28246" y="0"/>
                    <a:pt x="63396" y="0"/>
                  </a:cubicBezTo>
                  <a:cubicBezTo>
                    <a:pt x="97918" y="0"/>
                    <a:pt x="126791" y="31384"/>
                    <a:pt x="126791" y="70300"/>
                  </a:cubicBezTo>
                  <a:cubicBezTo>
                    <a:pt x="126791" y="109216"/>
                    <a:pt x="98546" y="140600"/>
                    <a:pt x="63396" y="140600"/>
                  </a:cubicBezTo>
                  <a:lnTo>
                    <a:pt x="63396" y="140600"/>
                  </a:lnTo>
                  <a:close/>
                  <a:moveTo>
                    <a:pt x="63396" y="33267"/>
                  </a:moveTo>
                  <a:cubicBezTo>
                    <a:pt x="47076" y="33267"/>
                    <a:pt x="33895" y="49587"/>
                    <a:pt x="33895" y="70300"/>
                  </a:cubicBezTo>
                  <a:cubicBezTo>
                    <a:pt x="33895" y="90386"/>
                    <a:pt x="47076" y="107333"/>
                    <a:pt x="63396" y="107333"/>
                  </a:cubicBezTo>
                  <a:cubicBezTo>
                    <a:pt x="79715" y="107333"/>
                    <a:pt x="92897" y="91013"/>
                    <a:pt x="92897" y="70300"/>
                  </a:cubicBezTo>
                  <a:cubicBezTo>
                    <a:pt x="93524" y="50214"/>
                    <a:pt x="80343" y="33267"/>
                    <a:pt x="63396" y="33267"/>
                  </a:cubicBezTo>
                  <a:lnTo>
                    <a:pt x="63396" y="33267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68" name="Forma Livre: Forma 67">
              <a:extLst>
                <a:ext uri="{FF2B5EF4-FFF2-40B4-BE49-F238E27FC236}">
                  <a16:creationId xmlns:a16="http://schemas.microsoft.com/office/drawing/2014/main" id="{42332525-4C9D-4C19-BD60-3EB93A013EE2}"/>
                </a:ext>
              </a:extLst>
            </p:cNvPr>
            <p:cNvSpPr/>
            <p:nvPr/>
          </p:nvSpPr>
          <p:spPr>
            <a:xfrm>
              <a:off x="3432352" y="3822197"/>
              <a:ext cx="219964" cy="143424"/>
            </a:xfrm>
            <a:custGeom>
              <a:avLst/>
              <a:gdLst>
                <a:gd name="connsiteX0" fmla="*/ 199740 w 219964"/>
                <a:gd name="connsiteY0" fmla="*/ 143425 h 143424"/>
                <a:gd name="connsiteX1" fmla="*/ 20852 w 219964"/>
                <a:gd name="connsiteY1" fmla="*/ 143425 h 143424"/>
                <a:gd name="connsiteX2" fmla="*/ 3904 w 219964"/>
                <a:gd name="connsiteY2" fmla="*/ 127733 h 143424"/>
                <a:gd name="connsiteX3" fmla="*/ 138 w 219964"/>
                <a:gd name="connsiteY3" fmla="*/ 69986 h 143424"/>
                <a:gd name="connsiteX4" fmla="*/ 39054 w 219964"/>
                <a:gd name="connsiteY4" fmla="*/ 12240 h 143424"/>
                <a:gd name="connsiteX5" fmla="*/ 180910 w 219964"/>
                <a:gd name="connsiteY5" fmla="*/ 12240 h 143424"/>
                <a:gd name="connsiteX6" fmla="*/ 219826 w 219964"/>
                <a:gd name="connsiteY6" fmla="*/ 69986 h 143424"/>
                <a:gd name="connsiteX7" fmla="*/ 216060 w 219964"/>
                <a:gd name="connsiteY7" fmla="*/ 127733 h 143424"/>
                <a:gd name="connsiteX8" fmla="*/ 199740 w 219964"/>
                <a:gd name="connsiteY8" fmla="*/ 143425 h 143424"/>
                <a:gd name="connsiteX9" fmla="*/ 199740 w 219964"/>
                <a:gd name="connsiteY9" fmla="*/ 143425 h 143424"/>
                <a:gd name="connsiteX10" fmla="*/ 36544 w 219964"/>
                <a:gd name="connsiteY10" fmla="*/ 109530 h 143424"/>
                <a:gd name="connsiteX11" fmla="*/ 184048 w 219964"/>
                <a:gd name="connsiteY11" fmla="*/ 109530 h 143424"/>
                <a:gd name="connsiteX12" fmla="*/ 187186 w 219964"/>
                <a:gd name="connsiteY12" fmla="*/ 67476 h 143424"/>
                <a:gd name="connsiteX13" fmla="*/ 170239 w 219964"/>
                <a:gd name="connsiteY13" fmla="*/ 42996 h 143424"/>
                <a:gd name="connsiteX14" fmla="*/ 50980 w 219964"/>
                <a:gd name="connsiteY14" fmla="*/ 42996 h 143424"/>
                <a:gd name="connsiteX15" fmla="*/ 34033 w 219964"/>
                <a:gd name="connsiteY15" fmla="*/ 67476 h 143424"/>
                <a:gd name="connsiteX16" fmla="*/ 36544 w 219964"/>
                <a:gd name="connsiteY16" fmla="*/ 109530 h 143424"/>
                <a:gd name="connsiteX17" fmla="*/ 36544 w 219964"/>
                <a:gd name="connsiteY17" fmla="*/ 109530 h 143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9964" h="143424">
                  <a:moveTo>
                    <a:pt x="199740" y="143425"/>
                  </a:moveTo>
                  <a:lnTo>
                    <a:pt x="20852" y="143425"/>
                  </a:lnTo>
                  <a:cubicBezTo>
                    <a:pt x="12064" y="143425"/>
                    <a:pt x="4532" y="136520"/>
                    <a:pt x="3904" y="127733"/>
                  </a:cubicBezTo>
                  <a:cubicBezTo>
                    <a:pt x="2649" y="108275"/>
                    <a:pt x="1394" y="88817"/>
                    <a:pt x="138" y="69986"/>
                  </a:cubicBezTo>
                  <a:cubicBezTo>
                    <a:pt x="-1745" y="46762"/>
                    <a:pt x="15830" y="20400"/>
                    <a:pt x="39054" y="12240"/>
                  </a:cubicBezTo>
                  <a:cubicBezTo>
                    <a:pt x="84875" y="-4080"/>
                    <a:pt x="135717" y="-4080"/>
                    <a:pt x="180910" y="12240"/>
                  </a:cubicBezTo>
                  <a:cubicBezTo>
                    <a:pt x="204134" y="21027"/>
                    <a:pt x="221709" y="46762"/>
                    <a:pt x="219826" y="69986"/>
                  </a:cubicBezTo>
                  <a:lnTo>
                    <a:pt x="216060" y="127733"/>
                  </a:lnTo>
                  <a:cubicBezTo>
                    <a:pt x="216060" y="136520"/>
                    <a:pt x="208528" y="143425"/>
                    <a:pt x="199740" y="143425"/>
                  </a:cubicBezTo>
                  <a:lnTo>
                    <a:pt x="199740" y="143425"/>
                  </a:lnTo>
                  <a:close/>
                  <a:moveTo>
                    <a:pt x="36544" y="109530"/>
                  </a:moveTo>
                  <a:lnTo>
                    <a:pt x="184048" y="109530"/>
                  </a:lnTo>
                  <a:lnTo>
                    <a:pt x="187186" y="67476"/>
                  </a:lnTo>
                  <a:cubicBezTo>
                    <a:pt x="187814" y="60571"/>
                    <a:pt x="180910" y="46762"/>
                    <a:pt x="170239" y="42996"/>
                  </a:cubicBezTo>
                  <a:cubicBezTo>
                    <a:pt x="131951" y="29187"/>
                    <a:pt x="89269" y="29187"/>
                    <a:pt x="50980" y="42996"/>
                  </a:cubicBezTo>
                  <a:cubicBezTo>
                    <a:pt x="40310" y="46762"/>
                    <a:pt x="33405" y="59943"/>
                    <a:pt x="34033" y="67476"/>
                  </a:cubicBezTo>
                  <a:cubicBezTo>
                    <a:pt x="34661" y="81285"/>
                    <a:pt x="35288" y="95721"/>
                    <a:pt x="36544" y="109530"/>
                  </a:cubicBezTo>
                  <a:lnTo>
                    <a:pt x="36544" y="109530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69" name="Forma Livre: Forma 68">
              <a:extLst>
                <a:ext uri="{FF2B5EF4-FFF2-40B4-BE49-F238E27FC236}">
                  <a16:creationId xmlns:a16="http://schemas.microsoft.com/office/drawing/2014/main" id="{8614B671-A233-48E5-AB3C-BB1306C6D6A4}"/>
                </a:ext>
              </a:extLst>
            </p:cNvPr>
            <p:cNvSpPr/>
            <p:nvPr/>
          </p:nvSpPr>
          <p:spPr>
            <a:xfrm>
              <a:off x="3432352" y="3822197"/>
              <a:ext cx="219964" cy="143424"/>
            </a:xfrm>
            <a:custGeom>
              <a:avLst/>
              <a:gdLst>
                <a:gd name="connsiteX0" fmla="*/ 199740 w 219964"/>
                <a:gd name="connsiteY0" fmla="*/ 143425 h 143424"/>
                <a:gd name="connsiteX1" fmla="*/ 20852 w 219964"/>
                <a:gd name="connsiteY1" fmla="*/ 143425 h 143424"/>
                <a:gd name="connsiteX2" fmla="*/ 3904 w 219964"/>
                <a:gd name="connsiteY2" fmla="*/ 127733 h 143424"/>
                <a:gd name="connsiteX3" fmla="*/ 138 w 219964"/>
                <a:gd name="connsiteY3" fmla="*/ 69986 h 143424"/>
                <a:gd name="connsiteX4" fmla="*/ 39054 w 219964"/>
                <a:gd name="connsiteY4" fmla="*/ 12240 h 143424"/>
                <a:gd name="connsiteX5" fmla="*/ 180910 w 219964"/>
                <a:gd name="connsiteY5" fmla="*/ 12240 h 143424"/>
                <a:gd name="connsiteX6" fmla="*/ 219826 w 219964"/>
                <a:gd name="connsiteY6" fmla="*/ 69986 h 143424"/>
                <a:gd name="connsiteX7" fmla="*/ 216060 w 219964"/>
                <a:gd name="connsiteY7" fmla="*/ 127733 h 143424"/>
                <a:gd name="connsiteX8" fmla="*/ 199740 w 219964"/>
                <a:gd name="connsiteY8" fmla="*/ 143425 h 143424"/>
                <a:gd name="connsiteX9" fmla="*/ 199740 w 219964"/>
                <a:gd name="connsiteY9" fmla="*/ 143425 h 143424"/>
                <a:gd name="connsiteX10" fmla="*/ 36544 w 219964"/>
                <a:gd name="connsiteY10" fmla="*/ 109530 h 143424"/>
                <a:gd name="connsiteX11" fmla="*/ 184048 w 219964"/>
                <a:gd name="connsiteY11" fmla="*/ 109530 h 143424"/>
                <a:gd name="connsiteX12" fmla="*/ 187186 w 219964"/>
                <a:gd name="connsiteY12" fmla="*/ 67476 h 143424"/>
                <a:gd name="connsiteX13" fmla="*/ 170239 w 219964"/>
                <a:gd name="connsiteY13" fmla="*/ 42996 h 143424"/>
                <a:gd name="connsiteX14" fmla="*/ 50980 w 219964"/>
                <a:gd name="connsiteY14" fmla="*/ 42996 h 143424"/>
                <a:gd name="connsiteX15" fmla="*/ 34033 w 219964"/>
                <a:gd name="connsiteY15" fmla="*/ 67476 h 143424"/>
                <a:gd name="connsiteX16" fmla="*/ 36544 w 219964"/>
                <a:gd name="connsiteY16" fmla="*/ 109530 h 143424"/>
                <a:gd name="connsiteX17" fmla="*/ 36544 w 219964"/>
                <a:gd name="connsiteY17" fmla="*/ 109530 h 143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9964" h="143424">
                  <a:moveTo>
                    <a:pt x="199740" y="143425"/>
                  </a:moveTo>
                  <a:lnTo>
                    <a:pt x="20852" y="143425"/>
                  </a:lnTo>
                  <a:cubicBezTo>
                    <a:pt x="12064" y="143425"/>
                    <a:pt x="4532" y="136520"/>
                    <a:pt x="3904" y="127733"/>
                  </a:cubicBezTo>
                  <a:cubicBezTo>
                    <a:pt x="2649" y="108275"/>
                    <a:pt x="1394" y="88817"/>
                    <a:pt x="138" y="69986"/>
                  </a:cubicBezTo>
                  <a:cubicBezTo>
                    <a:pt x="-1745" y="46762"/>
                    <a:pt x="15830" y="20400"/>
                    <a:pt x="39054" y="12240"/>
                  </a:cubicBezTo>
                  <a:cubicBezTo>
                    <a:pt x="84875" y="-4080"/>
                    <a:pt x="135717" y="-4080"/>
                    <a:pt x="180910" y="12240"/>
                  </a:cubicBezTo>
                  <a:cubicBezTo>
                    <a:pt x="204134" y="21027"/>
                    <a:pt x="221709" y="46762"/>
                    <a:pt x="219826" y="69986"/>
                  </a:cubicBezTo>
                  <a:lnTo>
                    <a:pt x="216060" y="127733"/>
                  </a:lnTo>
                  <a:cubicBezTo>
                    <a:pt x="216060" y="136520"/>
                    <a:pt x="208528" y="143425"/>
                    <a:pt x="199740" y="143425"/>
                  </a:cubicBezTo>
                  <a:lnTo>
                    <a:pt x="199740" y="143425"/>
                  </a:lnTo>
                  <a:close/>
                  <a:moveTo>
                    <a:pt x="36544" y="109530"/>
                  </a:moveTo>
                  <a:lnTo>
                    <a:pt x="184048" y="109530"/>
                  </a:lnTo>
                  <a:lnTo>
                    <a:pt x="187186" y="67476"/>
                  </a:lnTo>
                  <a:cubicBezTo>
                    <a:pt x="187814" y="60571"/>
                    <a:pt x="180910" y="46762"/>
                    <a:pt x="170239" y="42996"/>
                  </a:cubicBezTo>
                  <a:cubicBezTo>
                    <a:pt x="131951" y="29187"/>
                    <a:pt x="89269" y="29187"/>
                    <a:pt x="50980" y="42996"/>
                  </a:cubicBezTo>
                  <a:cubicBezTo>
                    <a:pt x="40310" y="46762"/>
                    <a:pt x="33405" y="59943"/>
                    <a:pt x="34033" y="67476"/>
                  </a:cubicBezTo>
                  <a:cubicBezTo>
                    <a:pt x="34661" y="81285"/>
                    <a:pt x="35288" y="95721"/>
                    <a:pt x="36544" y="109530"/>
                  </a:cubicBezTo>
                  <a:lnTo>
                    <a:pt x="36544" y="109530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70" name="Forma Livre: Forma 69">
              <a:extLst>
                <a:ext uri="{FF2B5EF4-FFF2-40B4-BE49-F238E27FC236}">
                  <a16:creationId xmlns:a16="http://schemas.microsoft.com/office/drawing/2014/main" id="{22D2C82E-EFDA-4A5A-AD45-43665ED3E107}"/>
                </a:ext>
              </a:extLst>
            </p:cNvPr>
            <p:cNvSpPr/>
            <p:nvPr/>
          </p:nvSpPr>
          <p:spPr>
            <a:xfrm>
              <a:off x="3657827" y="3826277"/>
              <a:ext cx="93606" cy="111726"/>
            </a:xfrm>
            <a:custGeom>
              <a:avLst/>
              <a:gdLst>
                <a:gd name="connsiteX0" fmla="*/ 82853 w 93606"/>
                <a:gd name="connsiteY0" fmla="*/ 111727 h 111726"/>
                <a:gd name="connsiteX1" fmla="*/ 11298 w 93606"/>
                <a:gd name="connsiteY1" fmla="*/ 111727 h 111726"/>
                <a:gd name="connsiteX2" fmla="*/ 3138 w 93606"/>
                <a:gd name="connsiteY2" fmla="*/ 103567 h 111726"/>
                <a:gd name="connsiteX3" fmla="*/ 11298 w 93606"/>
                <a:gd name="connsiteY3" fmla="*/ 95407 h 111726"/>
                <a:gd name="connsiteX4" fmla="*/ 74694 w 93606"/>
                <a:gd name="connsiteY4" fmla="*/ 95407 h 111726"/>
                <a:gd name="connsiteX5" fmla="*/ 77832 w 93606"/>
                <a:gd name="connsiteY5" fmla="*/ 53353 h 111726"/>
                <a:gd name="connsiteX6" fmla="*/ 59002 w 93606"/>
                <a:gd name="connsiteY6" fmla="*/ 26362 h 111726"/>
                <a:gd name="connsiteX7" fmla="*/ 8160 w 93606"/>
                <a:gd name="connsiteY7" fmla="*/ 16947 h 111726"/>
                <a:gd name="connsiteX8" fmla="*/ 0 w 93606"/>
                <a:gd name="connsiteY8" fmla="*/ 8160 h 111726"/>
                <a:gd name="connsiteX9" fmla="*/ 8160 w 93606"/>
                <a:gd name="connsiteY9" fmla="*/ 0 h 111726"/>
                <a:gd name="connsiteX10" fmla="*/ 8160 w 93606"/>
                <a:gd name="connsiteY10" fmla="*/ 0 h 111726"/>
                <a:gd name="connsiteX11" fmla="*/ 64023 w 93606"/>
                <a:gd name="connsiteY11" fmla="*/ 10043 h 111726"/>
                <a:gd name="connsiteX12" fmla="*/ 93524 w 93606"/>
                <a:gd name="connsiteY12" fmla="*/ 53980 h 111726"/>
                <a:gd name="connsiteX13" fmla="*/ 90386 w 93606"/>
                <a:gd name="connsiteY13" fmla="*/ 103567 h 111726"/>
                <a:gd name="connsiteX14" fmla="*/ 82853 w 93606"/>
                <a:gd name="connsiteY14" fmla="*/ 111727 h 111726"/>
                <a:gd name="connsiteX15" fmla="*/ 82853 w 93606"/>
                <a:gd name="connsiteY15" fmla="*/ 111727 h 111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3606" h="111726">
                  <a:moveTo>
                    <a:pt x="82853" y="111727"/>
                  </a:moveTo>
                  <a:lnTo>
                    <a:pt x="11298" y="111727"/>
                  </a:lnTo>
                  <a:cubicBezTo>
                    <a:pt x="6905" y="111727"/>
                    <a:pt x="3138" y="107960"/>
                    <a:pt x="3138" y="103567"/>
                  </a:cubicBezTo>
                  <a:cubicBezTo>
                    <a:pt x="3138" y="99173"/>
                    <a:pt x="6905" y="95407"/>
                    <a:pt x="11298" y="95407"/>
                  </a:cubicBezTo>
                  <a:lnTo>
                    <a:pt x="74694" y="95407"/>
                  </a:lnTo>
                  <a:lnTo>
                    <a:pt x="77832" y="53353"/>
                  </a:lnTo>
                  <a:cubicBezTo>
                    <a:pt x="78460" y="43938"/>
                    <a:pt x="70300" y="30128"/>
                    <a:pt x="59002" y="26362"/>
                  </a:cubicBezTo>
                  <a:cubicBezTo>
                    <a:pt x="42682" y="20713"/>
                    <a:pt x="25735" y="17575"/>
                    <a:pt x="8160" y="16947"/>
                  </a:cubicBezTo>
                  <a:cubicBezTo>
                    <a:pt x="3766" y="16947"/>
                    <a:pt x="0" y="13181"/>
                    <a:pt x="0" y="8160"/>
                  </a:cubicBezTo>
                  <a:cubicBezTo>
                    <a:pt x="0" y="3766"/>
                    <a:pt x="3766" y="0"/>
                    <a:pt x="8160" y="0"/>
                  </a:cubicBezTo>
                  <a:cubicBezTo>
                    <a:pt x="8160" y="0"/>
                    <a:pt x="8160" y="0"/>
                    <a:pt x="8160" y="0"/>
                  </a:cubicBezTo>
                  <a:cubicBezTo>
                    <a:pt x="27618" y="628"/>
                    <a:pt x="46448" y="3766"/>
                    <a:pt x="64023" y="10043"/>
                  </a:cubicBezTo>
                  <a:cubicBezTo>
                    <a:pt x="81598" y="16319"/>
                    <a:pt x="94780" y="36405"/>
                    <a:pt x="93524" y="53980"/>
                  </a:cubicBezTo>
                  <a:lnTo>
                    <a:pt x="90386" y="103567"/>
                  </a:lnTo>
                  <a:cubicBezTo>
                    <a:pt x="90386" y="108588"/>
                    <a:pt x="87247" y="111727"/>
                    <a:pt x="82853" y="111727"/>
                  </a:cubicBezTo>
                  <a:lnTo>
                    <a:pt x="82853" y="111727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71" name="Forma Livre: Forma 70">
              <a:extLst>
                <a:ext uri="{FF2B5EF4-FFF2-40B4-BE49-F238E27FC236}">
                  <a16:creationId xmlns:a16="http://schemas.microsoft.com/office/drawing/2014/main" id="{D08EAEEA-8DA1-400A-AA84-DC69FE581B0C}"/>
                </a:ext>
              </a:extLst>
            </p:cNvPr>
            <p:cNvSpPr/>
            <p:nvPr/>
          </p:nvSpPr>
          <p:spPr>
            <a:xfrm>
              <a:off x="3640880" y="3707646"/>
              <a:ext cx="89130" cy="100428"/>
            </a:xfrm>
            <a:custGeom>
              <a:avLst/>
              <a:gdLst>
                <a:gd name="connsiteX0" fmla="*/ 44565 w 89130"/>
                <a:gd name="connsiteY0" fmla="*/ 100429 h 100428"/>
                <a:gd name="connsiteX1" fmla="*/ 0 w 89130"/>
                <a:gd name="connsiteY1" fmla="*/ 50214 h 100428"/>
                <a:gd name="connsiteX2" fmla="*/ 44565 w 89130"/>
                <a:gd name="connsiteY2" fmla="*/ 0 h 100428"/>
                <a:gd name="connsiteX3" fmla="*/ 89130 w 89130"/>
                <a:gd name="connsiteY3" fmla="*/ 50214 h 100428"/>
                <a:gd name="connsiteX4" fmla="*/ 44565 w 89130"/>
                <a:gd name="connsiteY4" fmla="*/ 100429 h 100428"/>
                <a:gd name="connsiteX5" fmla="*/ 44565 w 89130"/>
                <a:gd name="connsiteY5" fmla="*/ 100429 h 100428"/>
                <a:gd name="connsiteX6" fmla="*/ 44565 w 89130"/>
                <a:gd name="connsiteY6" fmla="*/ 16947 h 100428"/>
                <a:gd name="connsiteX7" fmla="*/ 16947 w 89130"/>
                <a:gd name="connsiteY7" fmla="*/ 50214 h 100428"/>
                <a:gd name="connsiteX8" fmla="*/ 44565 w 89130"/>
                <a:gd name="connsiteY8" fmla="*/ 83481 h 100428"/>
                <a:gd name="connsiteX9" fmla="*/ 72183 w 89130"/>
                <a:gd name="connsiteY9" fmla="*/ 50214 h 100428"/>
                <a:gd name="connsiteX10" fmla="*/ 44565 w 89130"/>
                <a:gd name="connsiteY10" fmla="*/ 16947 h 100428"/>
                <a:gd name="connsiteX11" fmla="*/ 44565 w 89130"/>
                <a:gd name="connsiteY11" fmla="*/ 16947 h 100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9130" h="100428">
                  <a:moveTo>
                    <a:pt x="44565" y="100429"/>
                  </a:moveTo>
                  <a:cubicBezTo>
                    <a:pt x="20086" y="100429"/>
                    <a:pt x="0" y="77832"/>
                    <a:pt x="0" y="50214"/>
                  </a:cubicBezTo>
                  <a:cubicBezTo>
                    <a:pt x="0" y="22596"/>
                    <a:pt x="20086" y="0"/>
                    <a:pt x="44565" y="0"/>
                  </a:cubicBezTo>
                  <a:cubicBezTo>
                    <a:pt x="69045" y="0"/>
                    <a:pt x="89130" y="22596"/>
                    <a:pt x="89130" y="50214"/>
                  </a:cubicBezTo>
                  <a:cubicBezTo>
                    <a:pt x="89130" y="77832"/>
                    <a:pt x="69045" y="100429"/>
                    <a:pt x="44565" y="100429"/>
                  </a:cubicBezTo>
                  <a:lnTo>
                    <a:pt x="44565" y="100429"/>
                  </a:lnTo>
                  <a:close/>
                  <a:moveTo>
                    <a:pt x="44565" y="16947"/>
                  </a:moveTo>
                  <a:cubicBezTo>
                    <a:pt x="28873" y="16947"/>
                    <a:pt x="16947" y="32011"/>
                    <a:pt x="16947" y="50214"/>
                  </a:cubicBezTo>
                  <a:cubicBezTo>
                    <a:pt x="16947" y="68417"/>
                    <a:pt x="29501" y="83481"/>
                    <a:pt x="44565" y="83481"/>
                  </a:cubicBezTo>
                  <a:cubicBezTo>
                    <a:pt x="59629" y="83481"/>
                    <a:pt x="72183" y="68417"/>
                    <a:pt x="72183" y="50214"/>
                  </a:cubicBezTo>
                  <a:cubicBezTo>
                    <a:pt x="72811" y="32011"/>
                    <a:pt x="60257" y="16947"/>
                    <a:pt x="44565" y="16947"/>
                  </a:cubicBezTo>
                  <a:lnTo>
                    <a:pt x="44565" y="16947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72" name="Forma Livre: Forma 71">
              <a:extLst>
                <a:ext uri="{FF2B5EF4-FFF2-40B4-BE49-F238E27FC236}">
                  <a16:creationId xmlns:a16="http://schemas.microsoft.com/office/drawing/2014/main" id="{993D8AB7-84D4-4C61-B87B-0695CCD9B380}"/>
                </a:ext>
              </a:extLst>
            </p:cNvPr>
            <p:cNvSpPr/>
            <p:nvPr/>
          </p:nvSpPr>
          <p:spPr>
            <a:xfrm>
              <a:off x="3333238" y="3826905"/>
              <a:ext cx="94231" cy="111099"/>
            </a:xfrm>
            <a:custGeom>
              <a:avLst/>
              <a:gdLst>
                <a:gd name="connsiteX0" fmla="*/ 82933 w 94231"/>
                <a:gd name="connsiteY0" fmla="*/ 111099 h 111099"/>
                <a:gd name="connsiteX1" fmla="*/ 11378 w 94231"/>
                <a:gd name="connsiteY1" fmla="*/ 111099 h 111099"/>
                <a:gd name="connsiteX2" fmla="*/ 3218 w 94231"/>
                <a:gd name="connsiteY2" fmla="*/ 103567 h 111099"/>
                <a:gd name="connsiteX3" fmla="*/ 79 w 94231"/>
                <a:gd name="connsiteY3" fmla="*/ 53980 h 111099"/>
                <a:gd name="connsiteX4" fmla="*/ 29580 w 94231"/>
                <a:gd name="connsiteY4" fmla="*/ 10043 h 111099"/>
                <a:gd name="connsiteX5" fmla="*/ 85444 w 94231"/>
                <a:gd name="connsiteY5" fmla="*/ 0 h 111099"/>
                <a:gd name="connsiteX6" fmla="*/ 94231 w 94231"/>
                <a:gd name="connsiteY6" fmla="*/ 8160 h 111099"/>
                <a:gd name="connsiteX7" fmla="*/ 86071 w 94231"/>
                <a:gd name="connsiteY7" fmla="*/ 16947 h 111099"/>
                <a:gd name="connsiteX8" fmla="*/ 35229 w 94231"/>
                <a:gd name="connsiteY8" fmla="*/ 26363 h 111099"/>
                <a:gd name="connsiteX9" fmla="*/ 16399 w 94231"/>
                <a:gd name="connsiteY9" fmla="*/ 53353 h 111099"/>
                <a:gd name="connsiteX10" fmla="*/ 19537 w 94231"/>
                <a:gd name="connsiteY10" fmla="*/ 95407 h 111099"/>
                <a:gd name="connsiteX11" fmla="*/ 82933 w 94231"/>
                <a:gd name="connsiteY11" fmla="*/ 95407 h 111099"/>
                <a:gd name="connsiteX12" fmla="*/ 91093 w 94231"/>
                <a:gd name="connsiteY12" fmla="*/ 103567 h 111099"/>
                <a:gd name="connsiteX13" fmla="*/ 82933 w 94231"/>
                <a:gd name="connsiteY13" fmla="*/ 111099 h 111099"/>
                <a:gd name="connsiteX14" fmla="*/ 82933 w 94231"/>
                <a:gd name="connsiteY14" fmla="*/ 111099 h 111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4231" h="111099">
                  <a:moveTo>
                    <a:pt x="82933" y="111099"/>
                  </a:moveTo>
                  <a:lnTo>
                    <a:pt x="11378" y="111099"/>
                  </a:lnTo>
                  <a:cubicBezTo>
                    <a:pt x="6984" y="111099"/>
                    <a:pt x="3218" y="107961"/>
                    <a:pt x="3218" y="103567"/>
                  </a:cubicBezTo>
                  <a:lnTo>
                    <a:pt x="79" y="53980"/>
                  </a:lnTo>
                  <a:cubicBezTo>
                    <a:pt x="-1176" y="36405"/>
                    <a:pt x="12633" y="16319"/>
                    <a:pt x="29580" y="10043"/>
                  </a:cubicBezTo>
                  <a:cubicBezTo>
                    <a:pt x="47783" y="3766"/>
                    <a:pt x="66613" y="0"/>
                    <a:pt x="85444" y="0"/>
                  </a:cubicBezTo>
                  <a:cubicBezTo>
                    <a:pt x="90465" y="628"/>
                    <a:pt x="93603" y="3766"/>
                    <a:pt x="94231" y="8160"/>
                  </a:cubicBezTo>
                  <a:cubicBezTo>
                    <a:pt x="94231" y="12554"/>
                    <a:pt x="90465" y="16319"/>
                    <a:pt x="86071" y="16947"/>
                  </a:cubicBezTo>
                  <a:cubicBezTo>
                    <a:pt x="68496" y="16947"/>
                    <a:pt x="51549" y="20086"/>
                    <a:pt x="35229" y="26363"/>
                  </a:cubicBezTo>
                  <a:cubicBezTo>
                    <a:pt x="23931" y="30756"/>
                    <a:pt x="15771" y="44565"/>
                    <a:pt x="16399" y="53353"/>
                  </a:cubicBezTo>
                  <a:lnTo>
                    <a:pt x="19537" y="95407"/>
                  </a:lnTo>
                  <a:lnTo>
                    <a:pt x="82933" y="95407"/>
                  </a:lnTo>
                  <a:cubicBezTo>
                    <a:pt x="87327" y="95407"/>
                    <a:pt x="91093" y="99173"/>
                    <a:pt x="91093" y="103567"/>
                  </a:cubicBezTo>
                  <a:cubicBezTo>
                    <a:pt x="91093" y="107333"/>
                    <a:pt x="87327" y="111099"/>
                    <a:pt x="82933" y="111099"/>
                  </a:cubicBezTo>
                  <a:lnTo>
                    <a:pt x="82933" y="111099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73" name="Forma Livre: Forma 72">
              <a:extLst>
                <a:ext uri="{FF2B5EF4-FFF2-40B4-BE49-F238E27FC236}">
                  <a16:creationId xmlns:a16="http://schemas.microsoft.com/office/drawing/2014/main" id="{5F4E37C1-9F7A-4053-A860-94474E8F1CC5}"/>
                </a:ext>
              </a:extLst>
            </p:cNvPr>
            <p:cNvSpPr/>
            <p:nvPr/>
          </p:nvSpPr>
          <p:spPr>
            <a:xfrm>
              <a:off x="3354658" y="3707646"/>
              <a:ext cx="89130" cy="100428"/>
            </a:xfrm>
            <a:custGeom>
              <a:avLst/>
              <a:gdLst>
                <a:gd name="connsiteX0" fmla="*/ 44565 w 89130"/>
                <a:gd name="connsiteY0" fmla="*/ 100429 h 100428"/>
                <a:gd name="connsiteX1" fmla="*/ 0 w 89130"/>
                <a:gd name="connsiteY1" fmla="*/ 50214 h 100428"/>
                <a:gd name="connsiteX2" fmla="*/ 44565 w 89130"/>
                <a:gd name="connsiteY2" fmla="*/ 0 h 100428"/>
                <a:gd name="connsiteX3" fmla="*/ 89130 w 89130"/>
                <a:gd name="connsiteY3" fmla="*/ 50214 h 100428"/>
                <a:gd name="connsiteX4" fmla="*/ 44565 w 89130"/>
                <a:gd name="connsiteY4" fmla="*/ 100429 h 100428"/>
                <a:gd name="connsiteX5" fmla="*/ 44565 w 89130"/>
                <a:gd name="connsiteY5" fmla="*/ 100429 h 100428"/>
                <a:gd name="connsiteX6" fmla="*/ 44565 w 89130"/>
                <a:gd name="connsiteY6" fmla="*/ 16947 h 100428"/>
                <a:gd name="connsiteX7" fmla="*/ 16947 w 89130"/>
                <a:gd name="connsiteY7" fmla="*/ 50214 h 100428"/>
                <a:gd name="connsiteX8" fmla="*/ 44565 w 89130"/>
                <a:gd name="connsiteY8" fmla="*/ 83481 h 100428"/>
                <a:gd name="connsiteX9" fmla="*/ 72183 w 89130"/>
                <a:gd name="connsiteY9" fmla="*/ 50214 h 100428"/>
                <a:gd name="connsiteX10" fmla="*/ 44565 w 89130"/>
                <a:gd name="connsiteY10" fmla="*/ 16947 h 100428"/>
                <a:gd name="connsiteX11" fmla="*/ 44565 w 89130"/>
                <a:gd name="connsiteY11" fmla="*/ 16947 h 100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9130" h="100428">
                  <a:moveTo>
                    <a:pt x="44565" y="100429"/>
                  </a:moveTo>
                  <a:cubicBezTo>
                    <a:pt x="20086" y="100429"/>
                    <a:pt x="0" y="77832"/>
                    <a:pt x="0" y="50214"/>
                  </a:cubicBezTo>
                  <a:cubicBezTo>
                    <a:pt x="0" y="22596"/>
                    <a:pt x="20086" y="0"/>
                    <a:pt x="44565" y="0"/>
                  </a:cubicBezTo>
                  <a:cubicBezTo>
                    <a:pt x="69045" y="0"/>
                    <a:pt x="89130" y="22596"/>
                    <a:pt x="89130" y="50214"/>
                  </a:cubicBezTo>
                  <a:cubicBezTo>
                    <a:pt x="89130" y="77832"/>
                    <a:pt x="69672" y="100429"/>
                    <a:pt x="44565" y="100429"/>
                  </a:cubicBezTo>
                  <a:lnTo>
                    <a:pt x="44565" y="100429"/>
                  </a:lnTo>
                  <a:close/>
                  <a:moveTo>
                    <a:pt x="44565" y="16947"/>
                  </a:moveTo>
                  <a:cubicBezTo>
                    <a:pt x="29501" y="16947"/>
                    <a:pt x="16947" y="32011"/>
                    <a:pt x="16947" y="50214"/>
                  </a:cubicBezTo>
                  <a:cubicBezTo>
                    <a:pt x="16947" y="68417"/>
                    <a:pt x="29501" y="83481"/>
                    <a:pt x="44565" y="83481"/>
                  </a:cubicBezTo>
                  <a:cubicBezTo>
                    <a:pt x="59629" y="83481"/>
                    <a:pt x="72183" y="68417"/>
                    <a:pt x="72183" y="50214"/>
                  </a:cubicBezTo>
                  <a:cubicBezTo>
                    <a:pt x="72811" y="32011"/>
                    <a:pt x="60257" y="16947"/>
                    <a:pt x="44565" y="16947"/>
                  </a:cubicBezTo>
                  <a:lnTo>
                    <a:pt x="44565" y="16947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74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1354764" y="3620398"/>
            <a:ext cx="290206" cy="386022"/>
            <a:chOff x="1354764" y="3620398"/>
            <a:chExt cx="290206" cy="386022"/>
          </a:xfrm>
          <a:solidFill>
            <a:srgbClr val="B1B1A1"/>
          </a:solidFill>
        </p:grpSpPr>
        <p:sp>
          <p:nvSpPr>
            <p:cNvPr id="75" name="Forma Livre: Forma 74">
              <a:extLst>
                <a:ext uri="{FF2B5EF4-FFF2-40B4-BE49-F238E27FC236}">
                  <a16:creationId xmlns:a16="http://schemas.microsoft.com/office/drawing/2014/main" id="{2B8DC367-255A-4196-A13E-99BBD0D29A85}"/>
                </a:ext>
              </a:extLst>
            </p:cNvPr>
            <p:cNvSpPr/>
            <p:nvPr/>
          </p:nvSpPr>
          <p:spPr>
            <a:xfrm>
              <a:off x="1419525" y="3620398"/>
              <a:ext cx="160685" cy="179516"/>
            </a:xfrm>
            <a:custGeom>
              <a:avLst/>
              <a:gdLst>
                <a:gd name="connsiteX0" fmla="*/ 80343 w 160685"/>
                <a:gd name="connsiteY0" fmla="*/ 179516 h 179516"/>
                <a:gd name="connsiteX1" fmla="*/ 0 w 160685"/>
                <a:gd name="connsiteY1" fmla="*/ 89758 h 179516"/>
                <a:gd name="connsiteX2" fmla="*/ 80343 w 160685"/>
                <a:gd name="connsiteY2" fmla="*/ 0 h 179516"/>
                <a:gd name="connsiteX3" fmla="*/ 160686 w 160685"/>
                <a:gd name="connsiteY3" fmla="*/ 89758 h 179516"/>
                <a:gd name="connsiteX4" fmla="*/ 80343 w 160685"/>
                <a:gd name="connsiteY4" fmla="*/ 179516 h 179516"/>
                <a:gd name="connsiteX5" fmla="*/ 80343 w 160685"/>
                <a:gd name="connsiteY5" fmla="*/ 179516 h 179516"/>
                <a:gd name="connsiteX6" fmla="*/ 80343 w 160685"/>
                <a:gd name="connsiteY6" fmla="*/ 33267 h 179516"/>
                <a:gd name="connsiteX7" fmla="*/ 33267 w 160685"/>
                <a:gd name="connsiteY7" fmla="*/ 89758 h 179516"/>
                <a:gd name="connsiteX8" fmla="*/ 80343 w 160685"/>
                <a:gd name="connsiteY8" fmla="*/ 146249 h 179516"/>
                <a:gd name="connsiteX9" fmla="*/ 126791 w 160685"/>
                <a:gd name="connsiteY9" fmla="*/ 89758 h 179516"/>
                <a:gd name="connsiteX10" fmla="*/ 80343 w 160685"/>
                <a:gd name="connsiteY10" fmla="*/ 33267 h 179516"/>
                <a:gd name="connsiteX11" fmla="*/ 80343 w 160685"/>
                <a:gd name="connsiteY11" fmla="*/ 33267 h 179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0685" h="179516">
                  <a:moveTo>
                    <a:pt x="80343" y="179516"/>
                  </a:moveTo>
                  <a:cubicBezTo>
                    <a:pt x="36405" y="179516"/>
                    <a:pt x="0" y="139345"/>
                    <a:pt x="0" y="89758"/>
                  </a:cubicBezTo>
                  <a:cubicBezTo>
                    <a:pt x="0" y="40171"/>
                    <a:pt x="35778" y="0"/>
                    <a:pt x="80343" y="0"/>
                  </a:cubicBezTo>
                  <a:cubicBezTo>
                    <a:pt x="124280" y="0"/>
                    <a:pt x="160686" y="40171"/>
                    <a:pt x="160686" y="89758"/>
                  </a:cubicBezTo>
                  <a:cubicBezTo>
                    <a:pt x="160058" y="139345"/>
                    <a:pt x="124280" y="179516"/>
                    <a:pt x="80343" y="179516"/>
                  </a:cubicBezTo>
                  <a:lnTo>
                    <a:pt x="80343" y="179516"/>
                  </a:lnTo>
                  <a:close/>
                  <a:moveTo>
                    <a:pt x="80343" y="33267"/>
                  </a:moveTo>
                  <a:cubicBezTo>
                    <a:pt x="54608" y="33267"/>
                    <a:pt x="33267" y="58374"/>
                    <a:pt x="33267" y="89758"/>
                  </a:cubicBezTo>
                  <a:cubicBezTo>
                    <a:pt x="33267" y="121142"/>
                    <a:pt x="53980" y="146249"/>
                    <a:pt x="80343" y="146249"/>
                  </a:cubicBezTo>
                  <a:cubicBezTo>
                    <a:pt x="106078" y="146249"/>
                    <a:pt x="126791" y="121142"/>
                    <a:pt x="126791" y="89758"/>
                  </a:cubicBezTo>
                  <a:cubicBezTo>
                    <a:pt x="126791" y="58374"/>
                    <a:pt x="106078" y="33267"/>
                    <a:pt x="80343" y="33267"/>
                  </a:cubicBezTo>
                  <a:lnTo>
                    <a:pt x="80343" y="33267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76" name="Gráfico 2">
              <a:extLst>
                <a:ext uri="{FF2B5EF4-FFF2-40B4-BE49-F238E27FC236}">
                  <a16:creationId xmlns:a16="http://schemas.microsoft.com/office/drawing/2014/main" id="{83F95F55-5D1D-4425-8D77-756B15108235}"/>
                </a:ext>
              </a:extLst>
            </p:cNvPr>
            <p:cNvGrpSpPr/>
            <p:nvPr/>
          </p:nvGrpSpPr>
          <p:grpSpPr>
            <a:xfrm>
              <a:off x="1354764" y="3823723"/>
              <a:ext cx="290206" cy="182697"/>
              <a:chOff x="1354764" y="3823723"/>
              <a:chExt cx="290206" cy="182697"/>
            </a:xfrm>
            <a:grpFill/>
          </p:grpSpPr>
          <p:sp>
            <p:nvSpPr>
              <p:cNvPr id="77" name="Forma Livre: Forma 76">
                <a:extLst>
                  <a:ext uri="{FF2B5EF4-FFF2-40B4-BE49-F238E27FC236}">
                    <a16:creationId xmlns:a16="http://schemas.microsoft.com/office/drawing/2014/main" id="{BDA8340A-B39E-4EAE-9BEA-1CFD346A67D5}"/>
                  </a:ext>
                </a:extLst>
              </p:cNvPr>
              <p:cNvSpPr/>
              <p:nvPr/>
            </p:nvSpPr>
            <p:spPr>
              <a:xfrm>
                <a:off x="1354764" y="3823723"/>
                <a:ext cx="157186" cy="182697"/>
              </a:xfrm>
              <a:custGeom>
                <a:avLst/>
                <a:gdLst>
                  <a:gd name="connsiteX0" fmla="*/ 141337 w 157186"/>
                  <a:gd name="connsiteY0" fmla="*/ 182698 h 182697"/>
                  <a:gd name="connsiteX1" fmla="*/ 22706 w 157186"/>
                  <a:gd name="connsiteY1" fmla="*/ 182698 h 182697"/>
                  <a:gd name="connsiteX2" fmla="*/ 5759 w 157186"/>
                  <a:gd name="connsiteY2" fmla="*/ 167006 h 182697"/>
                  <a:gd name="connsiteX3" fmla="*/ 110 w 157186"/>
                  <a:gd name="connsiteY3" fmla="*/ 87918 h 182697"/>
                  <a:gd name="connsiteX4" fmla="*/ 49069 w 157186"/>
                  <a:gd name="connsiteY4" fmla="*/ 15108 h 182697"/>
                  <a:gd name="connsiteX5" fmla="*/ 117486 w 157186"/>
                  <a:gd name="connsiteY5" fmla="*/ 43 h 182697"/>
                  <a:gd name="connsiteX6" fmla="*/ 135688 w 157186"/>
                  <a:gd name="connsiteY6" fmla="*/ 14480 h 182697"/>
                  <a:gd name="connsiteX7" fmla="*/ 157029 w 157186"/>
                  <a:gd name="connsiteY7" fmla="*/ 163867 h 182697"/>
                  <a:gd name="connsiteX8" fmla="*/ 153263 w 157186"/>
                  <a:gd name="connsiteY8" fmla="*/ 177049 h 182697"/>
                  <a:gd name="connsiteX9" fmla="*/ 141337 w 157186"/>
                  <a:gd name="connsiteY9" fmla="*/ 182698 h 182697"/>
                  <a:gd name="connsiteX10" fmla="*/ 141337 w 157186"/>
                  <a:gd name="connsiteY10" fmla="*/ 182698 h 182697"/>
                  <a:gd name="connsiteX11" fmla="*/ 38398 w 157186"/>
                  <a:gd name="connsiteY11" fmla="*/ 149431 h 182697"/>
                  <a:gd name="connsiteX12" fmla="*/ 121879 w 157186"/>
                  <a:gd name="connsiteY12" fmla="*/ 149431 h 182697"/>
                  <a:gd name="connsiteX13" fmla="*/ 105560 w 157186"/>
                  <a:gd name="connsiteY13" fmla="*/ 35193 h 182697"/>
                  <a:gd name="connsiteX14" fmla="*/ 60995 w 157186"/>
                  <a:gd name="connsiteY14" fmla="*/ 46492 h 182697"/>
                  <a:gd name="connsiteX15" fmla="*/ 34004 w 157186"/>
                  <a:gd name="connsiteY15" fmla="*/ 86035 h 182697"/>
                  <a:gd name="connsiteX16" fmla="*/ 38398 w 157186"/>
                  <a:gd name="connsiteY16" fmla="*/ 149431 h 182697"/>
                  <a:gd name="connsiteX17" fmla="*/ 38398 w 157186"/>
                  <a:gd name="connsiteY17" fmla="*/ 149431 h 182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57186" h="182697">
                    <a:moveTo>
                      <a:pt x="141337" y="182698"/>
                    </a:moveTo>
                    <a:lnTo>
                      <a:pt x="22706" y="182698"/>
                    </a:lnTo>
                    <a:cubicBezTo>
                      <a:pt x="13919" y="182698"/>
                      <a:pt x="6387" y="175793"/>
                      <a:pt x="5759" y="167006"/>
                    </a:cubicBezTo>
                    <a:lnTo>
                      <a:pt x="110" y="87918"/>
                    </a:lnTo>
                    <a:cubicBezTo>
                      <a:pt x="-1773" y="59045"/>
                      <a:pt x="20823" y="25778"/>
                      <a:pt x="49069" y="15108"/>
                    </a:cubicBezTo>
                    <a:cubicBezTo>
                      <a:pt x="71037" y="6948"/>
                      <a:pt x="94262" y="1926"/>
                      <a:pt x="117486" y="43"/>
                    </a:cubicBezTo>
                    <a:cubicBezTo>
                      <a:pt x="126273" y="-584"/>
                      <a:pt x="134433" y="5692"/>
                      <a:pt x="135688" y="14480"/>
                    </a:cubicBezTo>
                    <a:lnTo>
                      <a:pt x="157029" y="163867"/>
                    </a:lnTo>
                    <a:cubicBezTo>
                      <a:pt x="157657" y="168889"/>
                      <a:pt x="156402" y="173282"/>
                      <a:pt x="153263" y="177049"/>
                    </a:cubicBezTo>
                    <a:cubicBezTo>
                      <a:pt x="150753" y="180815"/>
                      <a:pt x="146359" y="182698"/>
                      <a:pt x="141337" y="182698"/>
                    </a:cubicBezTo>
                    <a:lnTo>
                      <a:pt x="141337" y="182698"/>
                    </a:lnTo>
                    <a:close/>
                    <a:moveTo>
                      <a:pt x="38398" y="149431"/>
                    </a:moveTo>
                    <a:lnTo>
                      <a:pt x="121879" y="149431"/>
                    </a:lnTo>
                    <a:lnTo>
                      <a:pt x="105560" y="35193"/>
                    </a:lnTo>
                    <a:cubicBezTo>
                      <a:pt x="90495" y="37704"/>
                      <a:pt x="75431" y="41470"/>
                      <a:pt x="60995" y="46492"/>
                    </a:cubicBezTo>
                    <a:cubicBezTo>
                      <a:pt x="44675" y="52768"/>
                      <a:pt x="32749" y="72854"/>
                      <a:pt x="34004" y="86035"/>
                    </a:cubicBezTo>
                    <a:lnTo>
                      <a:pt x="38398" y="149431"/>
                    </a:lnTo>
                    <a:lnTo>
                      <a:pt x="38398" y="149431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78" name="Forma Livre: Forma 77">
                <a:extLst>
                  <a:ext uri="{FF2B5EF4-FFF2-40B4-BE49-F238E27FC236}">
                    <a16:creationId xmlns:a16="http://schemas.microsoft.com/office/drawing/2014/main" id="{21DA61EB-49BE-425C-820D-993E60374622}"/>
                  </a:ext>
                </a:extLst>
              </p:cNvPr>
              <p:cNvSpPr/>
              <p:nvPr/>
            </p:nvSpPr>
            <p:spPr>
              <a:xfrm>
                <a:off x="1487157" y="3823723"/>
                <a:ext cx="157813" cy="182697"/>
              </a:xfrm>
              <a:custGeom>
                <a:avLst/>
                <a:gdLst>
                  <a:gd name="connsiteX0" fmla="*/ 134480 w 157813"/>
                  <a:gd name="connsiteY0" fmla="*/ 182698 h 182697"/>
                  <a:gd name="connsiteX1" fmla="*/ 16477 w 157813"/>
                  <a:gd name="connsiteY1" fmla="*/ 182698 h 182697"/>
                  <a:gd name="connsiteX2" fmla="*/ 3923 w 157813"/>
                  <a:gd name="connsiteY2" fmla="*/ 177049 h 182697"/>
                  <a:gd name="connsiteX3" fmla="*/ 157 w 157813"/>
                  <a:gd name="connsiteY3" fmla="*/ 163867 h 182697"/>
                  <a:gd name="connsiteX4" fmla="*/ 21498 w 157813"/>
                  <a:gd name="connsiteY4" fmla="*/ 14480 h 182697"/>
                  <a:gd name="connsiteX5" fmla="*/ 39701 w 157813"/>
                  <a:gd name="connsiteY5" fmla="*/ 43 h 182697"/>
                  <a:gd name="connsiteX6" fmla="*/ 108118 w 157813"/>
                  <a:gd name="connsiteY6" fmla="*/ 15108 h 182697"/>
                  <a:gd name="connsiteX7" fmla="*/ 157704 w 157813"/>
                  <a:gd name="connsiteY7" fmla="*/ 88546 h 182697"/>
                  <a:gd name="connsiteX8" fmla="*/ 152683 w 157813"/>
                  <a:gd name="connsiteY8" fmla="*/ 167006 h 182697"/>
                  <a:gd name="connsiteX9" fmla="*/ 134480 w 157813"/>
                  <a:gd name="connsiteY9" fmla="*/ 182698 h 182697"/>
                  <a:gd name="connsiteX10" fmla="*/ 134480 w 157813"/>
                  <a:gd name="connsiteY10" fmla="*/ 182698 h 182697"/>
                  <a:gd name="connsiteX11" fmla="*/ 35307 w 157813"/>
                  <a:gd name="connsiteY11" fmla="*/ 149431 h 182697"/>
                  <a:gd name="connsiteX12" fmla="*/ 118788 w 157813"/>
                  <a:gd name="connsiteY12" fmla="*/ 149431 h 182697"/>
                  <a:gd name="connsiteX13" fmla="*/ 123182 w 157813"/>
                  <a:gd name="connsiteY13" fmla="*/ 86035 h 182697"/>
                  <a:gd name="connsiteX14" fmla="*/ 95564 w 157813"/>
                  <a:gd name="connsiteY14" fmla="*/ 46492 h 182697"/>
                  <a:gd name="connsiteX15" fmla="*/ 50999 w 157813"/>
                  <a:gd name="connsiteY15" fmla="*/ 35193 h 182697"/>
                  <a:gd name="connsiteX16" fmla="*/ 35307 w 157813"/>
                  <a:gd name="connsiteY16" fmla="*/ 149431 h 182697"/>
                  <a:gd name="connsiteX17" fmla="*/ 35307 w 157813"/>
                  <a:gd name="connsiteY17" fmla="*/ 149431 h 182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57813" h="182697">
                    <a:moveTo>
                      <a:pt x="134480" y="182698"/>
                    </a:moveTo>
                    <a:lnTo>
                      <a:pt x="16477" y="182698"/>
                    </a:lnTo>
                    <a:cubicBezTo>
                      <a:pt x="11455" y="182698"/>
                      <a:pt x="7061" y="180815"/>
                      <a:pt x="3923" y="177049"/>
                    </a:cubicBezTo>
                    <a:cubicBezTo>
                      <a:pt x="785" y="173282"/>
                      <a:pt x="-471" y="168261"/>
                      <a:pt x="157" y="163867"/>
                    </a:cubicBezTo>
                    <a:lnTo>
                      <a:pt x="21498" y="14480"/>
                    </a:lnTo>
                    <a:cubicBezTo>
                      <a:pt x="22753" y="5692"/>
                      <a:pt x="30285" y="-584"/>
                      <a:pt x="39701" y="43"/>
                    </a:cubicBezTo>
                    <a:cubicBezTo>
                      <a:pt x="63552" y="2554"/>
                      <a:pt x="86149" y="7575"/>
                      <a:pt x="108118" y="15108"/>
                    </a:cubicBezTo>
                    <a:cubicBezTo>
                      <a:pt x="136991" y="25778"/>
                      <a:pt x="159587" y="59045"/>
                      <a:pt x="157704" y="88546"/>
                    </a:cubicBezTo>
                    <a:lnTo>
                      <a:pt x="152683" y="167006"/>
                    </a:lnTo>
                    <a:cubicBezTo>
                      <a:pt x="150800" y="175793"/>
                      <a:pt x="143268" y="182698"/>
                      <a:pt x="134480" y="182698"/>
                    </a:cubicBezTo>
                    <a:lnTo>
                      <a:pt x="134480" y="182698"/>
                    </a:lnTo>
                    <a:close/>
                    <a:moveTo>
                      <a:pt x="35307" y="149431"/>
                    </a:moveTo>
                    <a:lnTo>
                      <a:pt x="118788" y="149431"/>
                    </a:lnTo>
                    <a:lnTo>
                      <a:pt x="123182" y="86035"/>
                    </a:lnTo>
                    <a:cubicBezTo>
                      <a:pt x="123810" y="72854"/>
                      <a:pt x="111884" y="52768"/>
                      <a:pt x="95564" y="46492"/>
                    </a:cubicBezTo>
                    <a:cubicBezTo>
                      <a:pt x="81127" y="41470"/>
                      <a:pt x="66691" y="37704"/>
                      <a:pt x="50999" y="35193"/>
                    </a:cubicBezTo>
                    <a:lnTo>
                      <a:pt x="35307" y="149431"/>
                    </a:lnTo>
                    <a:lnTo>
                      <a:pt x="35307" y="149431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79" name="Gráfico 2">
              <a:extLst>
                <a:ext uri="{FF2B5EF4-FFF2-40B4-BE49-F238E27FC236}">
                  <a16:creationId xmlns:a16="http://schemas.microsoft.com/office/drawing/2014/main" id="{83F95F55-5D1D-4425-8D77-756B15108235}"/>
                </a:ext>
              </a:extLst>
            </p:cNvPr>
            <p:cNvGrpSpPr/>
            <p:nvPr/>
          </p:nvGrpSpPr>
          <p:grpSpPr>
            <a:xfrm>
              <a:off x="1416063" y="3839990"/>
              <a:ext cx="168236" cy="155132"/>
              <a:chOff x="1416063" y="3839990"/>
              <a:chExt cx="168236" cy="155132"/>
            </a:xfrm>
            <a:grpFill/>
          </p:grpSpPr>
          <p:sp>
            <p:nvSpPr>
              <p:cNvPr id="80" name="Forma Livre: Forma 79">
                <a:extLst>
                  <a:ext uri="{FF2B5EF4-FFF2-40B4-BE49-F238E27FC236}">
                    <a16:creationId xmlns:a16="http://schemas.microsoft.com/office/drawing/2014/main" id="{5B72F0C0-975B-483A-9539-B942BBCA8A2E}"/>
                  </a:ext>
                </a:extLst>
              </p:cNvPr>
              <p:cNvSpPr/>
              <p:nvPr/>
            </p:nvSpPr>
            <p:spPr>
              <a:xfrm>
                <a:off x="1537775" y="3840435"/>
                <a:ext cx="46525" cy="154687"/>
              </a:xfrm>
              <a:custGeom>
                <a:avLst/>
                <a:gdLst>
                  <a:gd name="connsiteX0" fmla="*/ 8542 w 46525"/>
                  <a:gd name="connsiteY0" fmla="*/ 154688 h 154687"/>
                  <a:gd name="connsiteX1" fmla="*/ 5403 w 46525"/>
                  <a:gd name="connsiteY1" fmla="*/ 154060 h 154687"/>
                  <a:gd name="connsiteX2" fmla="*/ 382 w 46525"/>
                  <a:gd name="connsiteY2" fmla="*/ 143390 h 154687"/>
                  <a:gd name="connsiteX3" fmla="*/ 19840 w 46525"/>
                  <a:gd name="connsiteY3" fmla="*/ 91920 h 154687"/>
                  <a:gd name="connsiteX4" fmla="*/ 4148 w 46525"/>
                  <a:gd name="connsiteY4" fmla="*/ 67441 h 154687"/>
                  <a:gd name="connsiteX5" fmla="*/ 3520 w 46525"/>
                  <a:gd name="connsiteY5" fmla="*/ 59908 h 154687"/>
                  <a:gd name="connsiteX6" fmla="*/ 9169 w 46525"/>
                  <a:gd name="connsiteY6" fmla="*/ 54887 h 154687"/>
                  <a:gd name="connsiteX7" fmla="*/ 28000 w 46525"/>
                  <a:gd name="connsiteY7" fmla="*/ 48610 h 154687"/>
                  <a:gd name="connsiteX8" fmla="*/ 18584 w 46525"/>
                  <a:gd name="connsiteY8" fmla="*/ 10322 h 154687"/>
                  <a:gd name="connsiteX9" fmla="*/ 24861 w 46525"/>
                  <a:gd name="connsiteY9" fmla="*/ 279 h 154687"/>
                  <a:gd name="connsiteX10" fmla="*/ 34904 w 46525"/>
                  <a:gd name="connsiteY10" fmla="*/ 6556 h 154687"/>
                  <a:gd name="connsiteX11" fmla="*/ 46202 w 46525"/>
                  <a:gd name="connsiteY11" fmla="*/ 52376 h 154687"/>
                  <a:gd name="connsiteX12" fmla="*/ 40553 w 46525"/>
                  <a:gd name="connsiteY12" fmla="*/ 62419 h 154687"/>
                  <a:gd name="connsiteX13" fmla="*/ 24861 w 46525"/>
                  <a:gd name="connsiteY13" fmla="*/ 67441 h 154687"/>
                  <a:gd name="connsiteX14" fmla="*/ 36787 w 46525"/>
                  <a:gd name="connsiteY14" fmla="*/ 86271 h 154687"/>
                  <a:gd name="connsiteX15" fmla="*/ 37415 w 46525"/>
                  <a:gd name="connsiteY15" fmla="*/ 93803 h 154687"/>
                  <a:gd name="connsiteX16" fmla="*/ 16701 w 46525"/>
                  <a:gd name="connsiteY16" fmla="*/ 149666 h 154687"/>
                  <a:gd name="connsiteX17" fmla="*/ 8542 w 46525"/>
                  <a:gd name="connsiteY17" fmla="*/ 154688 h 154687"/>
                  <a:gd name="connsiteX18" fmla="*/ 8542 w 46525"/>
                  <a:gd name="connsiteY18" fmla="*/ 154688 h 154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6525" h="154687">
                    <a:moveTo>
                      <a:pt x="8542" y="154688"/>
                    </a:moveTo>
                    <a:cubicBezTo>
                      <a:pt x="7286" y="154688"/>
                      <a:pt x="6659" y="154688"/>
                      <a:pt x="5403" y="154060"/>
                    </a:cubicBezTo>
                    <a:cubicBezTo>
                      <a:pt x="1009" y="152177"/>
                      <a:pt x="-874" y="147783"/>
                      <a:pt x="382" y="143390"/>
                    </a:cubicBezTo>
                    <a:lnTo>
                      <a:pt x="19840" y="91920"/>
                    </a:lnTo>
                    <a:lnTo>
                      <a:pt x="4148" y="67441"/>
                    </a:lnTo>
                    <a:cubicBezTo>
                      <a:pt x="2892" y="65557"/>
                      <a:pt x="2265" y="62419"/>
                      <a:pt x="3520" y="59908"/>
                    </a:cubicBezTo>
                    <a:cubicBezTo>
                      <a:pt x="4148" y="57398"/>
                      <a:pt x="6659" y="55515"/>
                      <a:pt x="9169" y="54887"/>
                    </a:cubicBezTo>
                    <a:lnTo>
                      <a:pt x="28000" y="48610"/>
                    </a:lnTo>
                    <a:lnTo>
                      <a:pt x="18584" y="10322"/>
                    </a:lnTo>
                    <a:cubicBezTo>
                      <a:pt x="17329" y="5928"/>
                      <a:pt x="20467" y="1534"/>
                      <a:pt x="24861" y="279"/>
                    </a:cubicBezTo>
                    <a:cubicBezTo>
                      <a:pt x="29255" y="-976"/>
                      <a:pt x="33649" y="2162"/>
                      <a:pt x="34904" y="6556"/>
                    </a:cubicBezTo>
                    <a:lnTo>
                      <a:pt x="46202" y="52376"/>
                    </a:lnTo>
                    <a:cubicBezTo>
                      <a:pt x="47458" y="56770"/>
                      <a:pt x="44947" y="61164"/>
                      <a:pt x="40553" y="62419"/>
                    </a:cubicBezTo>
                    <a:lnTo>
                      <a:pt x="24861" y="67441"/>
                    </a:lnTo>
                    <a:lnTo>
                      <a:pt x="36787" y="86271"/>
                    </a:lnTo>
                    <a:cubicBezTo>
                      <a:pt x="38043" y="88782"/>
                      <a:pt x="38670" y="91292"/>
                      <a:pt x="37415" y="93803"/>
                    </a:cubicBezTo>
                    <a:lnTo>
                      <a:pt x="16701" y="149666"/>
                    </a:lnTo>
                    <a:cubicBezTo>
                      <a:pt x="14818" y="152805"/>
                      <a:pt x="11680" y="154688"/>
                      <a:pt x="8542" y="154688"/>
                    </a:cubicBezTo>
                    <a:lnTo>
                      <a:pt x="8542" y="154688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81" name="Forma Livre: Forma 80">
                <a:extLst>
                  <a:ext uri="{FF2B5EF4-FFF2-40B4-BE49-F238E27FC236}">
                    <a16:creationId xmlns:a16="http://schemas.microsoft.com/office/drawing/2014/main" id="{C1349D5F-4922-4FDF-A849-09EAFC0E6D5C}"/>
                  </a:ext>
                </a:extLst>
              </p:cNvPr>
              <p:cNvSpPr/>
              <p:nvPr/>
            </p:nvSpPr>
            <p:spPr>
              <a:xfrm>
                <a:off x="1416063" y="3839990"/>
                <a:ext cx="46776" cy="155132"/>
              </a:xfrm>
              <a:custGeom>
                <a:avLst/>
                <a:gdLst>
                  <a:gd name="connsiteX0" fmla="*/ 37356 w 46776"/>
                  <a:gd name="connsiteY0" fmla="*/ 155132 h 155132"/>
                  <a:gd name="connsiteX1" fmla="*/ 29824 w 46776"/>
                  <a:gd name="connsiteY1" fmla="*/ 149483 h 155132"/>
                  <a:gd name="connsiteX2" fmla="*/ 9111 w 46776"/>
                  <a:gd name="connsiteY2" fmla="*/ 93620 h 155132"/>
                  <a:gd name="connsiteX3" fmla="*/ 9738 w 46776"/>
                  <a:gd name="connsiteY3" fmla="*/ 86087 h 155132"/>
                  <a:gd name="connsiteX4" fmla="*/ 21664 w 46776"/>
                  <a:gd name="connsiteY4" fmla="*/ 67257 h 155132"/>
                  <a:gd name="connsiteX5" fmla="*/ 5972 w 46776"/>
                  <a:gd name="connsiteY5" fmla="*/ 62236 h 155132"/>
                  <a:gd name="connsiteX6" fmla="*/ 323 w 46776"/>
                  <a:gd name="connsiteY6" fmla="*/ 52193 h 155132"/>
                  <a:gd name="connsiteX7" fmla="*/ 11621 w 46776"/>
                  <a:gd name="connsiteY7" fmla="*/ 6372 h 155132"/>
                  <a:gd name="connsiteX8" fmla="*/ 21664 w 46776"/>
                  <a:gd name="connsiteY8" fmla="*/ 95 h 155132"/>
                  <a:gd name="connsiteX9" fmla="*/ 27941 w 46776"/>
                  <a:gd name="connsiteY9" fmla="*/ 10138 h 155132"/>
                  <a:gd name="connsiteX10" fmla="*/ 18526 w 46776"/>
                  <a:gd name="connsiteY10" fmla="*/ 48427 h 155132"/>
                  <a:gd name="connsiteX11" fmla="*/ 37356 w 46776"/>
                  <a:gd name="connsiteY11" fmla="*/ 54704 h 155132"/>
                  <a:gd name="connsiteX12" fmla="*/ 43005 w 46776"/>
                  <a:gd name="connsiteY12" fmla="*/ 59725 h 155132"/>
                  <a:gd name="connsiteX13" fmla="*/ 42378 w 46776"/>
                  <a:gd name="connsiteY13" fmla="*/ 67257 h 155132"/>
                  <a:gd name="connsiteX14" fmla="*/ 26686 w 46776"/>
                  <a:gd name="connsiteY14" fmla="*/ 91737 h 155132"/>
                  <a:gd name="connsiteX15" fmla="*/ 46144 w 46776"/>
                  <a:gd name="connsiteY15" fmla="*/ 143206 h 155132"/>
                  <a:gd name="connsiteX16" fmla="*/ 41122 w 46776"/>
                  <a:gd name="connsiteY16" fmla="*/ 153877 h 155132"/>
                  <a:gd name="connsiteX17" fmla="*/ 37356 w 46776"/>
                  <a:gd name="connsiteY17" fmla="*/ 155132 h 155132"/>
                  <a:gd name="connsiteX18" fmla="*/ 37356 w 46776"/>
                  <a:gd name="connsiteY18" fmla="*/ 155132 h 155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6776" h="155132">
                    <a:moveTo>
                      <a:pt x="37356" y="155132"/>
                    </a:moveTo>
                    <a:cubicBezTo>
                      <a:pt x="34218" y="155132"/>
                      <a:pt x="31079" y="153249"/>
                      <a:pt x="29824" y="149483"/>
                    </a:cubicBezTo>
                    <a:lnTo>
                      <a:pt x="9111" y="93620"/>
                    </a:lnTo>
                    <a:cubicBezTo>
                      <a:pt x="8483" y="91109"/>
                      <a:pt x="8483" y="88598"/>
                      <a:pt x="9738" y="86087"/>
                    </a:cubicBezTo>
                    <a:lnTo>
                      <a:pt x="21664" y="67257"/>
                    </a:lnTo>
                    <a:lnTo>
                      <a:pt x="5972" y="62236"/>
                    </a:lnTo>
                    <a:cubicBezTo>
                      <a:pt x="1579" y="60980"/>
                      <a:pt x="-932" y="56586"/>
                      <a:pt x="323" y="52193"/>
                    </a:cubicBezTo>
                    <a:lnTo>
                      <a:pt x="11621" y="6372"/>
                    </a:lnTo>
                    <a:cubicBezTo>
                      <a:pt x="12877" y="1979"/>
                      <a:pt x="17270" y="-532"/>
                      <a:pt x="21664" y="95"/>
                    </a:cubicBezTo>
                    <a:cubicBezTo>
                      <a:pt x="26058" y="1351"/>
                      <a:pt x="29196" y="5745"/>
                      <a:pt x="27941" y="10138"/>
                    </a:cubicBezTo>
                    <a:lnTo>
                      <a:pt x="18526" y="48427"/>
                    </a:lnTo>
                    <a:lnTo>
                      <a:pt x="37356" y="54704"/>
                    </a:lnTo>
                    <a:cubicBezTo>
                      <a:pt x="39867" y="55331"/>
                      <a:pt x="41750" y="57214"/>
                      <a:pt x="43005" y="59725"/>
                    </a:cubicBezTo>
                    <a:cubicBezTo>
                      <a:pt x="43633" y="62236"/>
                      <a:pt x="43633" y="64747"/>
                      <a:pt x="42378" y="67257"/>
                    </a:cubicBezTo>
                    <a:lnTo>
                      <a:pt x="26686" y="91737"/>
                    </a:lnTo>
                    <a:lnTo>
                      <a:pt x="46144" y="143206"/>
                    </a:lnTo>
                    <a:cubicBezTo>
                      <a:pt x="48027" y="147600"/>
                      <a:pt x="45516" y="152622"/>
                      <a:pt x="41122" y="153877"/>
                    </a:cubicBezTo>
                    <a:cubicBezTo>
                      <a:pt x="39239" y="155132"/>
                      <a:pt x="37984" y="155132"/>
                      <a:pt x="37356" y="155132"/>
                    </a:cubicBezTo>
                    <a:lnTo>
                      <a:pt x="37356" y="155132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82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5435413" y="3616005"/>
            <a:ext cx="305052" cy="377862"/>
            <a:chOff x="5435413" y="3616005"/>
            <a:chExt cx="305052" cy="377862"/>
          </a:xfrm>
          <a:solidFill>
            <a:srgbClr val="B1B1A1"/>
          </a:solidFill>
        </p:grpSpPr>
        <p:sp>
          <p:nvSpPr>
            <p:cNvPr id="83" name="Forma Livre: Forma 82">
              <a:extLst>
                <a:ext uri="{FF2B5EF4-FFF2-40B4-BE49-F238E27FC236}">
                  <a16:creationId xmlns:a16="http://schemas.microsoft.com/office/drawing/2014/main" id="{A85552DF-A7B1-4C49-B8EA-6CF3C2C70AA4}"/>
                </a:ext>
              </a:extLst>
            </p:cNvPr>
            <p:cNvSpPr/>
            <p:nvPr/>
          </p:nvSpPr>
          <p:spPr>
            <a:xfrm>
              <a:off x="5440434" y="3616005"/>
              <a:ext cx="298775" cy="267391"/>
            </a:xfrm>
            <a:custGeom>
              <a:avLst/>
              <a:gdLst>
                <a:gd name="connsiteX0" fmla="*/ 260487 w 298775"/>
                <a:gd name="connsiteY0" fmla="*/ 267391 h 267391"/>
                <a:gd name="connsiteX1" fmla="*/ 253582 w 298775"/>
                <a:gd name="connsiteY1" fmla="*/ 265508 h 267391"/>
                <a:gd name="connsiteX2" fmla="*/ 215922 w 298775"/>
                <a:gd name="connsiteY2" fmla="*/ 251699 h 267391"/>
                <a:gd name="connsiteX3" fmla="*/ 224709 w 298775"/>
                <a:gd name="connsiteY3" fmla="*/ 219688 h 267391"/>
                <a:gd name="connsiteX4" fmla="*/ 252955 w 298775"/>
                <a:gd name="connsiteY4" fmla="*/ 229103 h 267391"/>
                <a:gd name="connsiteX5" fmla="*/ 264253 w 298775"/>
                <a:gd name="connsiteY5" fmla="*/ 170101 h 267391"/>
                <a:gd name="connsiteX6" fmla="*/ 148760 w 298775"/>
                <a:gd name="connsiteY6" fmla="*/ 33267 h 267391"/>
                <a:gd name="connsiteX7" fmla="*/ 33267 w 298775"/>
                <a:gd name="connsiteY7" fmla="*/ 170101 h 267391"/>
                <a:gd name="connsiteX8" fmla="*/ 44565 w 298775"/>
                <a:gd name="connsiteY8" fmla="*/ 229103 h 267391"/>
                <a:gd name="connsiteX9" fmla="*/ 72811 w 298775"/>
                <a:gd name="connsiteY9" fmla="*/ 219688 h 267391"/>
                <a:gd name="connsiteX10" fmla="*/ 81598 w 298775"/>
                <a:gd name="connsiteY10" fmla="*/ 251699 h 267391"/>
                <a:gd name="connsiteX11" fmla="*/ 43938 w 298775"/>
                <a:gd name="connsiteY11" fmla="*/ 265508 h 267391"/>
                <a:gd name="connsiteX12" fmla="*/ 21969 w 298775"/>
                <a:gd name="connsiteY12" fmla="*/ 258603 h 267391"/>
                <a:gd name="connsiteX13" fmla="*/ 0 w 298775"/>
                <a:gd name="connsiteY13" fmla="*/ 170101 h 267391"/>
                <a:gd name="connsiteX14" fmla="*/ 149388 w 298775"/>
                <a:gd name="connsiteY14" fmla="*/ 0 h 267391"/>
                <a:gd name="connsiteX15" fmla="*/ 298775 w 298775"/>
                <a:gd name="connsiteY15" fmla="*/ 170101 h 267391"/>
                <a:gd name="connsiteX16" fmla="*/ 276807 w 298775"/>
                <a:gd name="connsiteY16" fmla="*/ 258603 h 267391"/>
                <a:gd name="connsiteX17" fmla="*/ 260487 w 298775"/>
                <a:gd name="connsiteY17" fmla="*/ 267391 h 267391"/>
                <a:gd name="connsiteX18" fmla="*/ 260487 w 298775"/>
                <a:gd name="connsiteY18" fmla="*/ 267391 h 267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98775" h="267391">
                  <a:moveTo>
                    <a:pt x="260487" y="267391"/>
                  </a:moveTo>
                  <a:cubicBezTo>
                    <a:pt x="257976" y="267391"/>
                    <a:pt x="255465" y="266764"/>
                    <a:pt x="253582" y="265508"/>
                  </a:cubicBezTo>
                  <a:cubicBezTo>
                    <a:pt x="241656" y="259859"/>
                    <a:pt x="229103" y="255465"/>
                    <a:pt x="215922" y="251699"/>
                  </a:cubicBezTo>
                  <a:lnTo>
                    <a:pt x="224709" y="219688"/>
                  </a:lnTo>
                  <a:cubicBezTo>
                    <a:pt x="234124" y="222198"/>
                    <a:pt x="243540" y="225337"/>
                    <a:pt x="252955" y="229103"/>
                  </a:cubicBezTo>
                  <a:cubicBezTo>
                    <a:pt x="260487" y="210900"/>
                    <a:pt x="264253" y="190814"/>
                    <a:pt x="264253" y="170101"/>
                  </a:cubicBezTo>
                  <a:cubicBezTo>
                    <a:pt x="264253" y="94780"/>
                    <a:pt x="212156" y="33267"/>
                    <a:pt x="148760" y="33267"/>
                  </a:cubicBezTo>
                  <a:cubicBezTo>
                    <a:pt x="84737" y="33267"/>
                    <a:pt x="33267" y="94780"/>
                    <a:pt x="33267" y="170101"/>
                  </a:cubicBezTo>
                  <a:cubicBezTo>
                    <a:pt x="33267" y="190814"/>
                    <a:pt x="37033" y="210900"/>
                    <a:pt x="44565" y="229103"/>
                  </a:cubicBezTo>
                  <a:cubicBezTo>
                    <a:pt x="53353" y="225337"/>
                    <a:pt x="62768" y="222198"/>
                    <a:pt x="72811" y="219688"/>
                  </a:cubicBezTo>
                  <a:lnTo>
                    <a:pt x="81598" y="251699"/>
                  </a:lnTo>
                  <a:cubicBezTo>
                    <a:pt x="68417" y="255465"/>
                    <a:pt x="55236" y="259859"/>
                    <a:pt x="43938" y="265508"/>
                  </a:cubicBezTo>
                  <a:cubicBezTo>
                    <a:pt x="35778" y="269274"/>
                    <a:pt x="26363" y="266136"/>
                    <a:pt x="21969" y="258603"/>
                  </a:cubicBezTo>
                  <a:cubicBezTo>
                    <a:pt x="7532" y="232241"/>
                    <a:pt x="0" y="201485"/>
                    <a:pt x="0" y="170101"/>
                  </a:cubicBezTo>
                  <a:cubicBezTo>
                    <a:pt x="0" y="76577"/>
                    <a:pt x="67162" y="0"/>
                    <a:pt x="149388" y="0"/>
                  </a:cubicBezTo>
                  <a:cubicBezTo>
                    <a:pt x="231614" y="0"/>
                    <a:pt x="298775" y="75949"/>
                    <a:pt x="298775" y="170101"/>
                  </a:cubicBezTo>
                  <a:cubicBezTo>
                    <a:pt x="298775" y="201485"/>
                    <a:pt x="291243" y="232241"/>
                    <a:pt x="276807" y="258603"/>
                  </a:cubicBezTo>
                  <a:cubicBezTo>
                    <a:pt x="271785" y="264253"/>
                    <a:pt x="266136" y="267391"/>
                    <a:pt x="260487" y="267391"/>
                  </a:cubicBezTo>
                  <a:lnTo>
                    <a:pt x="260487" y="267391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84" name="Forma Livre: Forma 83">
              <a:extLst>
                <a:ext uri="{FF2B5EF4-FFF2-40B4-BE49-F238E27FC236}">
                  <a16:creationId xmlns:a16="http://schemas.microsoft.com/office/drawing/2014/main" id="{532BD01A-D856-4819-8933-CD8F9BF7E024}"/>
                </a:ext>
              </a:extLst>
            </p:cNvPr>
            <p:cNvSpPr/>
            <p:nvPr/>
          </p:nvSpPr>
          <p:spPr>
            <a:xfrm>
              <a:off x="5486255" y="3697603"/>
              <a:ext cx="205250" cy="205878"/>
            </a:xfrm>
            <a:custGeom>
              <a:avLst/>
              <a:gdLst>
                <a:gd name="connsiteX0" fmla="*/ 101684 w 205250"/>
                <a:gd name="connsiteY0" fmla="*/ 205251 h 205878"/>
                <a:gd name="connsiteX1" fmla="*/ 93524 w 205250"/>
                <a:gd name="connsiteY1" fmla="*/ 204623 h 205878"/>
                <a:gd name="connsiteX2" fmla="*/ 2510 w 205250"/>
                <a:gd name="connsiteY2" fmla="*/ 90386 h 205878"/>
                <a:gd name="connsiteX3" fmla="*/ 0 w 205250"/>
                <a:gd name="connsiteY3" fmla="*/ 69672 h 205878"/>
                <a:gd name="connsiteX4" fmla="*/ 2510 w 205250"/>
                <a:gd name="connsiteY4" fmla="*/ 63396 h 205878"/>
                <a:gd name="connsiteX5" fmla="*/ 8787 w 205250"/>
                <a:gd name="connsiteY5" fmla="*/ 60885 h 205878"/>
                <a:gd name="connsiteX6" fmla="*/ 54608 w 205250"/>
                <a:gd name="connsiteY6" fmla="*/ 60885 h 205878"/>
                <a:gd name="connsiteX7" fmla="*/ 62140 w 205250"/>
                <a:gd name="connsiteY7" fmla="*/ 6905 h 205878"/>
                <a:gd name="connsiteX8" fmla="*/ 70300 w 205250"/>
                <a:gd name="connsiteY8" fmla="*/ 0 h 205878"/>
                <a:gd name="connsiteX9" fmla="*/ 78460 w 205250"/>
                <a:gd name="connsiteY9" fmla="*/ 6905 h 205878"/>
                <a:gd name="connsiteX10" fmla="*/ 85992 w 205250"/>
                <a:gd name="connsiteY10" fmla="*/ 60885 h 205878"/>
                <a:gd name="connsiteX11" fmla="*/ 97918 w 205250"/>
                <a:gd name="connsiteY11" fmla="*/ 60885 h 205878"/>
                <a:gd name="connsiteX12" fmla="*/ 100429 w 205250"/>
                <a:gd name="connsiteY12" fmla="*/ 35778 h 205878"/>
                <a:gd name="connsiteX13" fmla="*/ 108588 w 205250"/>
                <a:gd name="connsiteY13" fmla="*/ 28246 h 205878"/>
                <a:gd name="connsiteX14" fmla="*/ 108588 w 205250"/>
                <a:gd name="connsiteY14" fmla="*/ 28246 h 205878"/>
                <a:gd name="connsiteX15" fmla="*/ 116748 w 205250"/>
                <a:gd name="connsiteY15" fmla="*/ 35778 h 205878"/>
                <a:gd name="connsiteX16" fmla="*/ 119259 w 205250"/>
                <a:gd name="connsiteY16" fmla="*/ 60885 h 205878"/>
                <a:gd name="connsiteX17" fmla="*/ 196463 w 205250"/>
                <a:gd name="connsiteY17" fmla="*/ 60885 h 205878"/>
                <a:gd name="connsiteX18" fmla="*/ 202740 w 205250"/>
                <a:gd name="connsiteY18" fmla="*/ 63396 h 205878"/>
                <a:gd name="connsiteX19" fmla="*/ 205251 w 205250"/>
                <a:gd name="connsiteY19" fmla="*/ 69672 h 205878"/>
                <a:gd name="connsiteX20" fmla="*/ 202740 w 205250"/>
                <a:gd name="connsiteY20" fmla="*/ 90386 h 205878"/>
                <a:gd name="connsiteX21" fmla="*/ 164452 w 205250"/>
                <a:gd name="connsiteY21" fmla="*/ 175750 h 205878"/>
                <a:gd name="connsiteX22" fmla="*/ 164452 w 205250"/>
                <a:gd name="connsiteY22" fmla="*/ 175750 h 205878"/>
                <a:gd name="connsiteX23" fmla="*/ 160686 w 205250"/>
                <a:gd name="connsiteY23" fmla="*/ 180144 h 205878"/>
                <a:gd name="connsiteX24" fmla="*/ 153153 w 205250"/>
                <a:gd name="connsiteY24" fmla="*/ 175750 h 205878"/>
                <a:gd name="connsiteX25" fmla="*/ 158803 w 205250"/>
                <a:gd name="connsiteY25" fmla="*/ 181399 h 205878"/>
                <a:gd name="connsiteX26" fmla="*/ 152526 w 205250"/>
                <a:gd name="connsiteY26" fmla="*/ 187048 h 205878"/>
                <a:gd name="connsiteX27" fmla="*/ 145621 w 205250"/>
                <a:gd name="connsiteY27" fmla="*/ 181399 h 205878"/>
                <a:gd name="connsiteX28" fmla="*/ 150643 w 205250"/>
                <a:gd name="connsiteY28" fmla="*/ 188304 h 205878"/>
                <a:gd name="connsiteX29" fmla="*/ 144366 w 205250"/>
                <a:gd name="connsiteY29" fmla="*/ 192697 h 205878"/>
                <a:gd name="connsiteX30" fmla="*/ 143111 w 205250"/>
                <a:gd name="connsiteY30" fmla="*/ 193953 h 205878"/>
                <a:gd name="connsiteX31" fmla="*/ 136834 w 205250"/>
                <a:gd name="connsiteY31" fmla="*/ 197091 h 205878"/>
                <a:gd name="connsiteX32" fmla="*/ 134951 w 205250"/>
                <a:gd name="connsiteY32" fmla="*/ 198346 h 205878"/>
                <a:gd name="connsiteX33" fmla="*/ 129302 w 205250"/>
                <a:gd name="connsiteY33" fmla="*/ 200857 h 205878"/>
                <a:gd name="connsiteX34" fmla="*/ 127419 w 205250"/>
                <a:gd name="connsiteY34" fmla="*/ 201485 h 205878"/>
                <a:gd name="connsiteX35" fmla="*/ 123025 w 205250"/>
                <a:gd name="connsiteY35" fmla="*/ 202740 h 205878"/>
                <a:gd name="connsiteX36" fmla="*/ 118631 w 205250"/>
                <a:gd name="connsiteY36" fmla="*/ 195208 h 205878"/>
                <a:gd name="connsiteX37" fmla="*/ 121142 w 205250"/>
                <a:gd name="connsiteY37" fmla="*/ 203368 h 205878"/>
                <a:gd name="connsiteX38" fmla="*/ 119259 w 205250"/>
                <a:gd name="connsiteY38" fmla="*/ 203996 h 205878"/>
                <a:gd name="connsiteX39" fmla="*/ 113610 w 205250"/>
                <a:gd name="connsiteY39" fmla="*/ 204623 h 205878"/>
                <a:gd name="connsiteX40" fmla="*/ 110471 w 205250"/>
                <a:gd name="connsiteY40" fmla="*/ 205251 h 205878"/>
                <a:gd name="connsiteX41" fmla="*/ 103567 w 205250"/>
                <a:gd name="connsiteY41" fmla="*/ 205879 h 205878"/>
                <a:gd name="connsiteX42" fmla="*/ 101684 w 205250"/>
                <a:gd name="connsiteY42" fmla="*/ 205251 h 205878"/>
                <a:gd name="connsiteX43" fmla="*/ 101684 w 205250"/>
                <a:gd name="connsiteY43" fmla="*/ 205251 h 205878"/>
                <a:gd name="connsiteX44" fmla="*/ 108588 w 205250"/>
                <a:gd name="connsiteY44" fmla="*/ 188304 h 205878"/>
                <a:gd name="connsiteX45" fmla="*/ 112354 w 205250"/>
                <a:gd name="connsiteY45" fmla="*/ 196464 h 205878"/>
                <a:gd name="connsiteX46" fmla="*/ 111099 w 205250"/>
                <a:gd name="connsiteY46" fmla="*/ 188304 h 205878"/>
                <a:gd name="connsiteX47" fmla="*/ 114865 w 205250"/>
                <a:gd name="connsiteY47" fmla="*/ 187676 h 205878"/>
                <a:gd name="connsiteX48" fmla="*/ 118631 w 205250"/>
                <a:gd name="connsiteY48" fmla="*/ 195208 h 205878"/>
                <a:gd name="connsiteX49" fmla="*/ 116748 w 205250"/>
                <a:gd name="connsiteY49" fmla="*/ 187048 h 205878"/>
                <a:gd name="connsiteX50" fmla="*/ 121142 w 205250"/>
                <a:gd name="connsiteY50" fmla="*/ 185793 h 205878"/>
                <a:gd name="connsiteX51" fmla="*/ 127419 w 205250"/>
                <a:gd name="connsiteY51" fmla="*/ 183282 h 205878"/>
                <a:gd name="connsiteX52" fmla="*/ 133695 w 205250"/>
                <a:gd name="connsiteY52" fmla="*/ 180144 h 205878"/>
                <a:gd name="connsiteX53" fmla="*/ 139972 w 205250"/>
                <a:gd name="connsiteY53" fmla="*/ 175750 h 205878"/>
                <a:gd name="connsiteX54" fmla="*/ 145621 w 205250"/>
                <a:gd name="connsiteY54" fmla="*/ 170728 h 205878"/>
                <a:gd name="connsiteX55" fmla="*/ 147504 w 205250"/>
                <a:gd name="connsiteY55" fmla="*/ 168846 h 205878"/>
                <a:gd name="connsiteX56" fmla="*/ 151270 w 205250"/>
                <a:gd name="connsiteY56" fmla="*/ 165080 h 205878"/>
                <a:gd name="connsiteX57" fmla="*/ 151270 w 205250"/>
                <a:gd name="connsiteY57" fmla="*/ 165080 h 205878"/>
                <a:gd name="connsiteX58" fmla="*/ 151270 w 205250"/>
                <a:gd name="connsiteY58" fmla="*/ 165080 h 205878"/>
                <a:gd name="connsiteX59" fmla="*/ 185793 w 205250"/>
                <a:gd name="connsiteY59" fmla="*/ 87875 h 205878"/>
                <a:gd name="connsiteX60" fmla="*/ 187048 w 205250"/>
                <a:gd name="connsiteY60" fmla="*/ 78460 h 205878"/>
                <a:gd name="connsiteX61" fmla="*/ 111727 w 205250"/>
                <a:gd name="connsiteY61" fmla="*/ 78460 h 205878"/>
                <a:gd name="connsiteX62" fmla="*/ 108588 w 205250"/>
                <a:gd name="connsiteY62" fmla="*/ 77832 h 205878"/>
                <a:gd name="connsiteX63" fmla="*/ 105450 w 205250"/>
                <a:gd name="connsiteY63" fmla="*/ 78460 h 205878"/>
                <a:gd name="connsiteX64" fmla="*/ 79087 w 205250"/>
                <a:gd name="connsiteY64" fmla="*/ 78460 h 205878"/>
                <a:gd name="connsiteX65" fmla="*/ 70928 w 205250"/>
                <a:gd name="connsiteY65" fmla="*/ 71555 h 205878"/>
                <a:gd name="connsiteX66" fmla="*/ 70928 w 205250"/>
                <a:gd name="connsiteY66" fmla="*/ 69672 h 205878"/>
                <a:gd name="connsiteX67" fmla="*/ 70928 w 205250"/>
                <a:gd name="connsiteY67" fmla="*/ 71555 h 205878"/>
                <a:gd name="connsiteX68" fmla="*/ 62768 w 205250"/>
                <a:gd name="connsiteY68" fmla="*/ 78460 h 205878"/>
                <a:gd name="connsiteX69" fmla="*/ 18830 w 205250"/>
                <a:gd name="connsiteY69" fmla="*/ 78460 h 205878"/>
                <a:gd name="connsiteX70" fmla="*/ 20085 w 205250"/>
                <a:gd name="connsiteY70" fmla="*/ 87875 h 205878"/>
                <a:gd name="connsiteX71" fmla="*/ 96662 w 205250"/>
                <a:gd name="connsiteY71" fmla="*/ 188931 h 205878"/>
                <a:gd name="connsiteX72" fmla="*/ 102939 w 205250"/>
                <a:gd name="connsiteY72" fmla="*/ 189559 h 205878"/>
                <a:gd name="connsiteX73" fmla="*/ 108588 w 205250"/>
                <a:gd name="connsiteY73" fmla="*/ 188304 h 205878"/>
                <a:gd name="connsiteX74" fmla="*/ 108588 w 205250"/>
                <a:gd name="connsiteY74" fmla="*/ 188304 h 205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205250" h="205878">
                  <a:moveTo>
                    <a:pt x="101684" y="205251"/>
                  </a:moveTo>
                  <a:cubicBezTo>
                    <a:pt x="98545" y="205251"/>
                    <a:pt x="96035" y="205251"/>
                    <a:pt x="93524" y="204623"/>
                  </a:cubicBezTo>
                  <a:cubicBezTo>
                    <a:pt x="49586" y="199602"/>
                    <a:pt x="16319" y="158175"/>
                    <a:pt x="2510" y="90386"/>
                  </a:cubicBezTo>
                  <a:cubicBezTo>
                    <a:pt x="1255" y="84109"/>
                    <a:pt x="628" y="77205"/>
                    <a:pt x="0" y="69672"/>
                  </a:cubicBezTo>
                  <a:cubicBezTo>
                    <a:pt x="0" y="67162"/>
                    <a:pt x="628" y="65279"/>
                    <a:pt x="2510" y="63396"/>
                  </a:cubicBezTo>
                  <a:cubicBezTo>
                    <a:pt x="4393" y="61513"/>
                    <a:pt x="6277" y="60885"/>
                    <a:pt x="8787" y="60885"/>
                  </a:cubicBezTo>
                  <a:lnTo>
                    <a:pt x="54608" y="60885"/>
                  </a:lnTo>
                  <a:lnTo>
                    <a:pt x="62140" y="6905"/>
                  </a:lnTo>
                  <a:cubicBezTo>
                    <a:pt x="62768" y="2511"/>
                    <a:pt x="66534" y="0"/>
                    <a:pt x="70300" y="0"/>
                  </a:cubicBezTo>
                  <a:cubicBezTo>
                    <a:pt x="74694" y="0"/>
                    <a:pt x="77832" y="3138"/>
                    <a:pt x="78460" y="6905"/>
                  </a:cubicBezTo>
                  <a:lnTo>
                    <a:pt x="85992" y="60885"/>
                  </a:lnTo>
                  <a:lnTo>
                    <a:pt x="97918" y="60885"/>
                  </a:lnTo>
                  <a:lnTo>
                    <a:pt x="100429" y="35778"/>
                  </a:lnTo>
                  <a:cubicBezTo>
                    <a:pt x="101056" y="31384"/>
                    <a:pt x="104195" y="28246"/>
                    <a:pt x="108588" y="28246"/>
                  </a:cubicBezTo>
                  <a:lnTo>
                    <a:pt x="108588" y="28246"/>
                  </a:lnTo>
                  <a:cubicBezTo>
                    <a:pt x="112982" y="28246"/>
                    <a:pt x="116748" y="31384"/>
                    <a:pt x="116748" y="35778"/>
                  </a:cubicBezTo>
                  <a:lnTo>
                    <a:pt x="119259" y="60885"/>
                  </a:lnTo>
                  <a:lnTo>
                    <a:pt x="196463" y="60885"/>
                  </a:lnTo>
                  <a:cubicBezTo>
                    <a:pt x="198974" y="60885"/>
                    <a:pt x="200857" y="62140"/>
                    <a:pt x="202740" y="63396"/>
                  </a:cubicBezTo>
                  <a:cubicBezTo>
                    <a:pt x="204623" y="65279"/>
                    <a:pt x="205251" y="67162"/>
                    <a:pt x="205251" y="69672"/>
                  </a:cubicBezTo>
                  <a:cubicBezTo>
                    <a:pt x="204623" y="77205"/>
                    <a:pt x="203996" y="84109"/>
                    <a:pt x="202740" y="90386"/>
                  </a:cubicBezTo>
                  <a:cubicBezTo>
                    <a:pt x="195208" y="126791"/>
                    <a:pt x="182654" y="155664"/>
                    <a:pt x="164452" y="175750"/>
                  </a:cubicBezTo>
                  <a:cubicBezTo>
                    <a:pt x="164452" y="175750"/>
                    <a:pt x="164452" y="175750"/>
                    <a:pt x="164452" y="175750"/>
                  </a:cubicBezTo>
                  <a:cubicBezTo>
                    <a:pt x="163196" y="177005"/>
                    <a:pt x="161941" y="178261"/>
                    <a:pt x="160686" y="180144"/>
                  </a:cubicBezTo>
                  <a:lnTo>
                    <a:pt x="153153" y="175750"/>
                  </a:lnTo>
                  <a:lnTo>
                    <a:pt x="158803" y="181399"/>
                  </a:lnTo>
                  <a:cubicBezTo>
                    <a:pt x="155664" y="183910"/>
                    <a:pt x="153781" y="185793"/>
                    <a:pt x="152526" y="187048"/>
                  </a:cubicBezTo>
                  <a:lnTo>
                    <a:pt x="145621" y="181399"/>
                  </a:lnTo>
                  <a:lnTo>
                    <a:pt x="150643" y="188304"/>
                  </a:lnTo>
                  <a:cubicBezTo>
                    <a:pt x="148760" y="189559"/>
                    <a:pt x="146877" y="191442"/>
                    <a:pt x="144366" y="192697"/>
                  </a:cubicBezTo>
                  <a:cubicBezTo>
                    <a:pt x="144366" y="192697"/>
                    <a:pt x="143111" y="193325"/>
                    <a:pt x="143111" y="193953"/>
                  </a:cubicBezTo>
                  <a:cubicBezTo>
                    <a:pt x="141228" y="195208"/>
                    <a:pt x="139344" y="196464"/>
                    <a:pt x="136834" y="197091"/>
                  </a:cubicBezTo>
                  <a:cubicBezTo>
                    <a:pt x="136834" y="197091"/>
                    <a:pt x="134951" y="198346"/>
                    <a:pt x="134951" y="198346"/>
                  </a:cubicBezTo>
                  <a:cubicBezTo>
                    <a:pt x="133695" y="198974"/>
                    <a:pt x="131185" y="199602"/>
                    <a:pt x="129302" y="200857"/>
                  </a:cubicBezTo>
                  <a:lnTo>
                    <a:pt x="127419" y="201485"/>
                  </a:lnTo>
                  <a:cubicBezTo>
                    <a:pt x="125536" y="202112"/>
                    <a:pt x="124280" y="202112"/>
                    <a:pt x="123025" y="202740"/>
                  </a:cubicBezTo>
                  <a:lnTo>
                    <a:pt x="118631" y="195208"/>
                  </a:lnTo>
                  <a:lnTo>
                    <a:pt x="121142" y="203368"/>
                  </a:lnTo>
                  <a:cubicBezTo>
                    <a:pt x="121142" y="203368"/>
                    <a:pt x="119886" y="203996"/>
                    <a:pt x="119259" y="203996"/>
                  </a:cubicBezTo>
                  <a:cubicBezTo>
                    <a:pt x="117376" y="204623"/>
                    <a:pt x="115493" y="204623"/>
                    <a:pt x="113610" y="204623"/>
                  </a:cubicBezTo>
                  <a:lnTo>
                    <a:pt x="110471" y="205251"/>
                  </a:lnTo>
                  <a:cubicBezTo>
                    <a:pt x="107960" y="205251"/>
                    <a:pt x="106077" y="205879"/>
                    <a:pt x="103567" y="205879"/>
                  </a:cubicBezTo>
                  <a:cubicBezTo>
                    <a:pt x="103567" y="205251"/>
                    <a:pt x="101684" y="205251"/>
                    <a:pt x="101684" y="205251"/>
                  </a:cubicBezTo>
                  <a:lnTo>
                    <a:pt x="101684" y="205251"/>
                  </a:lnTo>
                  <a:close/>
                  <a:moveTo>
                    <a:pt x="108588" y="188304"/>
                  </a:moveTo>
                  <a:lnTo>
                    <a:pt x="112354" y="196464"/>
                  </a:lnTo>
                  <a:lnTo>
                    <a:pt x="111099" y="188304"/>
                  </a:lnTo>
                  <a:cubicBezTo>
                    <a:pt x="112354" y="188304"/>
                    <a:pt x="113610" y="187676"/>
                    <a:pt x="114865" y="187676"/>
                  </a:cubicBezTo>
                  <a:lnTo>
                    <a:pt x="118631" y="195208"/>
                  </a:lnTo>
                  <a:lnTo>
                    <a:pt x="116748" y="187048"/>
                  </a:lnTo>
                  <a:cubicBezTo>
                    <a:pt x="119259" y="186420"/>
                    <a:pt x="119886" y="186420"/>
                    <a:pt x="121142" y="185793"/>
                  </a:cubicBezTo>
                  <a:cubicBezTo>
                    <a:pt x="124280" y="184537"/>
                    <a:pt x="125536" y="183910"/>
                    <a:pt x="127419" y="183282"/>
                  </a:cubicBezTo>
                  <a:cubicBezTo>
                    <a:pt x="130557" y="182027"/>
                    <a:pt x="131813" y="180772"/>
                    <a:pt x="133695" y="180144"/>
                  </a:cubicBezTo>
                  <a:cubicBezTo>
                    <a:pt x="136834" y="178261"/>
                    <a:pt x="138089" y="177005"/>
                    <a:pt x="139972" y="175750"/>
                  </a:cubicBezTo>
                  <a:cubicBezTo>
                    <a:pt x="142483" y="173239"/>
                    <a:pt x="144366" y="171984"/>
                    <a:pt x="145621" y="170728"/>
                  </a:cubicBezTo>
                  <a:lnTo>
                    <a:pt x="147504" y="168846"/>
                  </a:lnTo>
                  <a:cubicBezTo>
                    <a:pt x="149387" y="166963"/>
                    <a:pt x="150015" y="166335"/>
                    <a:pt x="151270" y="165080"/>
                  </a:cubicBezTo>
                  <a:lnTo>
                    <a:pt x="151270" y="165080"/>
                  </a:lnTo>
                  <a:cubicBezTo>
                    <a:pt x="151270" y="165080"/>
                    <a:pt x="151270" y="165080"/>
                    <a:pt x="151270" y="165080"/>
                  </a:cubicBezTo>
                  <a:cubicBezTo>
                    <a:pt x="166962" y="147505"/>
                    <a:pt x="178888" y="121142"/>
                    <a:pt x="185793" y="87875"/>
                  </a:cubicBezTo>
                  <a:cubicBezTo>
                    <a:pt x="186420" y="84737"/>
                    <a:pt x="187048" y="81598"/>
                    <a:pt x="187048" y="78460"/>
                  </a:cubicBezTo>
                  <a:lnTo>
                    <a:pt x="111727" y="78460"/>
                  </a:lnTo>
                  <a:cubicBezTo>
                    <a:pt x="110471" y="78460"/>
                    <a:pt x="109216" y="78460"/>
                    <a:pt x="108588" y="77832"/>
                  </a:cubicBezTo>
                  <a:cubicBezTo>
                    <a:pt x="107333" y="78460"/>
                    <a:pt x="106705" y="78460"/>
                    <a:pt x="105450" y="78460"/>
                  </a:cubicBezTo>
                  <a:lnTo>
                    <a:pt x="79087" y="78460"/>
                  </a:lnTo>
                  <a:cubicBezTo>
                    <a:pt x="74694" y="78460"/>
                    <a:pt x="71555" y="75322"/>
                    <a:pt x="70928" y="71555"/>
                  </a:cubicBezTo>
                  <a:lnTo>
                    <a:pt x="70928" y="69672"/>
                  </a:lnTo>
                  <a:lnTo>
                    <a:pt x="70928" y="71555"/>
                  </a:lnTo>
                  <a:cubicBezTo>
                    <a:pt x="70300" y="75949"/>
                    <a:pt x="66534" y="78460"/>
                    <a:pt x="62768" y="78460"/>
                  </a:cubicBezTo>
                  <a:lnTo>
                    <a:pt x="18830" y="78460"/>
                  </a:lnTo>
                  <a:cubicBezTo>
                    <a:pt x="19458" y="81598"/>
                    <a:pt x="19458" y="84737"/>
                    <a:pt x="20085" y="87875"/>
                  </a:cubicBezTo>
                  <a:cubicBezTo>
                    <a:pt x="32639" y="148132"/>
                    <a:pt x="60257" y="184537"/>
                    <a:pt x="96662" y="188931"/>
                  </a:cubicBezTo>
                  <a:cubicBezTo>
                    <a:pt x="99173" y="188931"/>
                    <a:pt x="101056" y="189559"/>
                    <a:pt x="102939" y="189559"/>
                  </a:cubicBezTo>
                  <a:cubicBezTo>
                    <a:pt x="104822" y="188304"/>
                    <a:pt x="106705" y="188304"/>
                    <a:pt x="108588" y="188304"/>
                  </a:cubicBezTo>
                  <a:lnTo>
                    <a:pt x="108588" y="188304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85" name="Gráfico 2">
              <a:extLst>
                <a:ext uri="{FF2B5EF4-FFF2-40B4-BE49-F238E27FC236}">
                  <a16:creationId xmlns:a16="http://schemas.microsoft.com/office/drawing/2014/main" id="{83F95F55-5D1D-4425-8D77-756B15108235}"/>
                </a:ext>
              </a:extLst>
            </p:cNvPr>
            <p:cNvGrpSpPr/>
            <p:nvPr/>
          </p:nvGrpSpPr>
          <p:grpSpPr>
            <a:xfrm>
              <a:off x="5435413" y="3880885"/>
              <a:ext cx="305052" cy="112982"/>
              <a:chOff x="5435413" y="3880885"/>
              <a:chExt cx="305052" cy="112982"/>
            </a:xfrm>
            <a:grpFill/>
          </p:grpSpPr>
          <p:sp>
            <p:nvSpPr>
              <p:cNvPr id="86" name="Forma Livre: Forma 85">
                <a:extLst>
                  <a:ext uri="{FF2B5EF4-FFF2-40B4-BE49-F238E27FC236}">
                    <a16:creationId xmlns:a16="http://schemas.microsoft.com/office/drawing/2014/main" id="{DC84EBBB-0796-4A98-AAD4-817B1494E6A5}"/>
                  </a:ext>
                </a:extLst>
              </p:cNvPr>
              <p:cNvSpPr/>
              <p:nvPr/>
            </p:nvSpPr>
            <p:spPr>
              <a:xfrm>
                <a:off x="5435413" y="3880885"/>
                <a:ext cx="119886" cy="112982"/>
              </a:xfrm>
              <a:custGeom>
                <a:avLst/>
                <a:gdLst>
                  <a:gd name="connsiteX0" fmla="*/ 33267 w 119886"/>
                  <a:gd name="connsiteY0" fmla="*/ 112982 h 112982"/>
                  <a:gd name="connsiteX1" fmla="*/ 0 w 119886"/>
                  <a:gd name="connsiteY1" fmla="*/ 112982 h 112982"/>
                  <a:gd name="connsiteX2" fmla="*/ 119887 w 119886"/>
                  <a:gd name="connsiteY2" fmla="*/ 0 h 112982"/>
                  <a:gd name="connsiteX3" fmla="*/ 119887 w 119886"/>
                  <a:gd name="connsiteY3" fmla="*/ 33267 h 112982"/>
                  <a:gd name="connsiteX4" fmla="*/ 33267 w 119886"/>
                  <a:gd name="connsiteY4" fmla="*/ 112982 h 112982"/>
                  <a:gd name="connsiteX5" fmla="*/ 33267 w 119886"/>
                  <a:gd name="connsiteY5" fmla="*/ 112982 h 112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9886" h="112982">
                    <a:moveTo>
                      <a:pt x="33267" y="112982"/>
                    </a:moveTo>
                    <a:lnTo>
                      <a:pt x="0" y="112982"/>
                    </a:lnTo>
                    <a:cubicBezTo>
                      <a:pt x="0" y="50842"/>
                      <a:pt x="53981" y="0"/>
                      <a:pt x="119887" y="0"/>
                    </a:cubicBezTo>
                    <a:lnTo>
                      <a:pt x="119887" y="33267"/>
                    </a:lnTo>
                    <a:cubicBezTo>
                      <a:pt x="72183" y="33267"/>
                      <a:pt x="33267" y="69045"/>
                      <a:pt x="33267" y="112982"/>
                    </a:cubicBezTo>
                    <a:lnTo>
                      <a:pt x="33267" y="112982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87" name="Forma Livre: Forma 86">
                <a:extLst>
                  <a:ext uri="{FF2B5EF4-FFF2-40B4-BE49-F238E27FC236}">
                    <a16:creationId xmlns:a16="http://schemas.microsoft.com/office/drawing/2014/main" id="{6B5F3645-4F27-4925-AE71-5D8C44E0039B}"/>
                  </a:ext>
                </a:extLst>
              </p:cNvPr>
              <p:cNvSpPr/>
              <p:nvPr/>
            </p:nvSpPr>
            <p:spPr>
              <a:xfrm>
                <a:off x="5620578" y="3881507"/>
                <a:ext cx="119886" cy="112359"/>
              </a:xfrm>
              <a:custGeom>
                <a:avLst/>
                <a:gdLst>
                  <a:gd name="connsiteX0" fmla="*/ 119887 w 119886"/>
                  <a:gd name="connsiteY0" fmla="*/ 112360 h 112359"/>
                  <a:gd name="connsiteX1" fmla="*/ 86620 w 119886"/>
                  <a:gd name="connsiteY1" fmla="*/ 112360 h 112359"/>
                  <a:gd name="connsiteX2" fmla="*/ 0 w 119886"/>
                  <a:gd name="connsiteY2" fmla="*/ 33273 h 112359"/>
                  <a:gd name="connsiteX3" fmla="*/ 0 w 119886"/>
                  <a:gd name="connsiteY3" fmla="*/ 6 h 112359"/>
                  <a:gd name="connsiteX4" fmla="*/ 119887 w 119886"/>
                  <a:gd name="connsiteY4" fmla="*/ 112360 h 112359"/>
                  <a:gd name="connsiteX5" fmla="*/ 119887 w 119886"/>
                  <a:gd name="connsiteY5" fmla="*/ 112360 h 112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9886" h="112359">
                    <a:moveTo>
                      <a:pt x="119887" y="112360"/>
                    </a:moveTo>
                    <a:lnTo>
                      <a:pt x="86620" y="112360"/>
                    </a:lnTo>
                    <a:cubicBezTo>
                      <a:pt x="86620" y="68422"/>
                      <a:pt x="47704" y="33273"/>
                      <a:pt x="0" y="33273"/>
                    </a:cubicBezTo>
                    <a:lnTo>
                      <a:pt x="0" y="6"/>
                    </a:lnTo>
                    <a:cubicBezTo>
                      <a:pt x="66534" y="-622"/>
                      <a:pt x="119887" y="50220"/>
                      <a:pt x="119887" y="112360"/>
                    </a:cubicBezTo>
                    <a:lnTo>
                      <a:pt x="119887" y="112360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88" name="Gráfico 2">
              <a:extLst>
                <a:ext uri="{FF2B5EF4-FFF2-40B4-BE49-F238E27FC236}">
                  <a16:creationId xmlns:a16="http://schemas.microsoft.com/office/drawing/2014/main" id="{83F95F55-5D1D-4425-8D77-756B15108235}"/>
                </a:ext>
              </a:extLst>
            </p:cNvPr>
            <p:cNvGrpSpPr/>
            <p:nvPr/>
          </p:nvGrpSpPr>
          <p:grpSpPr>
            <a:xfrm>
              <a:off x="5542746" y="3787989"/>
              <a:ext cx="90385" cy="20085"/>
              <a:chOff x="5542746" y="3787989"/>
              <a:chExt cx="90385" cy="20085"/>
            </a:xfrm>
            <a:grpFill/>
          </p:grpSpPr>
          <p:sp>
            <p:nvSpPr>
              <p:cNvPr id="89" name="Forma Livre: Forma 88">
                <a:extLst>
                  <a:ext uri="{FF2B5EF4-FFF2-40B4-BE49-F238E27FC236}">
                    <a16:creationId xmlns:a16="http://schemas.microsoft.com/office/drawing/2014/main" id="{02BAE9BE-5D64-4580-99F9-DB7C93591243}"/>
                  </a:ext>
                </a:extLst>
              </p:cNvPr>
              <p:cNvSpPr/>
              <p:nvPr/>
            </p:nvSpPr>
            <p:spPr>
              <a:xfrm>
                <a:off x="5542746" y="3787989"/>
                <a:ext cx="20085" cy="20085"/>
              </a:xfrm>
              <a:custGeom>
                <a:avLst/>
                <a:gdLst>
                  <a:gd name="connsiteX0" fmla="*/ 10043 w 20085"/>
                  <a:gd name="connsiteY0" fmla="*/ 0 h 20085"/>
                  <a:gd name="connsiteX1" fmla="*/ 0 w 20085"/>
                  <a:gd name="connsiteY1" fmla="*/ 10043 h 20085"/>
                  <a:gd name="connsiteX2" fmla="*/ 10043 w 20085"/>
                  <a:gd name="connsiteY2" fmla="*/ 20086 h 20085"/>
                  <a:gd name="connsiteX3" fmla="*/ 20085 w 20085"/>
                  <a:gd name="connsiteY3" fmla="*/ 10043 h 20085"/>
                  <a:gd name="connsiteX4" fmla="*/ 10043 w 20085"/>
                  <a:gd name="connsiteY4" fmla="*/ 0 h 20085"/>
                  <a:gd name="connsiteX5" fmla="*/ 10043 w 20085"/>
                  <a:gd name="connsiteY5" fmla="*/ 0 h 200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085" h="20085">
                    <a:moveTo>
                      <a:pt x="10043" y="0"/>
                    </a:moveTo>
                    <a:cubicBezTo>
                      <a:pt x="4393" y="0"/>
                      <a:pt x="0" y="4394"/>
                      <a:pt x="0" y="10043"/>
                    </a:cubicBezTo>
                    <a:cubicBezTo>
                      <a:pt x="0" y="15692"/>
                      <a:pt x="4393" y="20086"/>
                      <a:pt x="10043" y="20086"/>
                    </a:cubicBezTo>
                    <a:cubicBezTo>
                      <a:pt x="15692" y="20086"/>
                      <a:pt x="20085" y="15692"/>
                      <a:pt x="20085" y="10043"/>
                    </a:cubicBezTo>
                    <a:cubicBezTo>
                      <a:pt x="20085" y="4394"/>
                      <a:pt x="15692" y="0"/>
                      <a:pt x="10043" y="0"/>
                    </a:cubicBezTo>
                    <a:lnTo>
                      <a:pt x="10043" y="0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90" name="Forma Livre: Forma 89">
                <a:extLst>
                  <a:ext uri="{FF2B5EF4-FFF2-40B4-BE49-F238E27FC236}">
                    <a16:creationId xmlns:a16="http://schemas.microsoft.com/office/drawing/2014/main" id="{C4AB598E-D8A3-4F94-ADB4-077ADDAB2F7D}"/>
                  </a:ext>
                </a:extLst>
              </p:cNvPr>
              <p:cNvSpPr/>
              <p:nvPr/>
            </p:nvSpPr>
            <p:spPr>
              <a:xfrm>
                <a:off x="5613046" y="3787989"/>
                <a:ext cx="20085" cy="20085"/>
              </a:xfrm>
              <a:custGeom>
                <a:avLst/>
                <a:gdLst>
                  <a:gd name="connsiteX0" fmla="*/ 10043 w 20085"/>
                  <a:gd name="connsiteY0" fmla="*/ 0 h 20085"/>
                  <a:gd name="connsiteX1" fmla="*/ 0 w 20085"/>
                  <a:gd name="connsiteY1" fmla="*/ 10043 h 20085"/>
                  <a:gd name="connsiteX2" fmla="*/ 10043 w 20085"/>
                  <a:gd name="connsiteY2" fmla="*/ 20086 h 20085"/>
                  <a:gd name="connsiteX3" fmla="*/ 20086 w 20085"/>
                  <a:gd name="connsiteY3" fmla="*/ 10043 h 20085"/>
                  <a:gd name="connsiteX4" fmla="*/ 10043 w 20085"/>
                  <a:gd name="connsiteY4" fmla="*/ 0 h 20085"/>
                  <a:gd name="connsiteX5" fmla="*/ 10043 w 20085"/>
                  <a:gd name="connsiteY5" fmla="*/ 0 h 200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085" h="20085">
                    <a:moveTo>
                      <a:pt x="10043" y="0"/>
                    </a:moveTo>
                    <a:cubicBezTo>
                      <a:pt x="4394" y="0"/>
                      <a:pt x="0" y="4394"/>
                      <a:pt x="0" y="10043"/>
                    </a:cubicBezTo>
                    <a:cubicBezTo>
                      <a:pt x="0" y="15692"/>
                      <a:pt x="4394" y="20086"/>
                      <a:pt x="10043" y="20086"/>
                    </a:cubicBezTo>
                    <a:cubicBezTo>
                      <a:pt x="15692" y="20086"/>
                      <a:pt x="20086" y="15692"/>
                      <a:pt x="20086" y="10043"/>
                    </a:cubicBezTo>
                    <a:cubicBezTo>
                      <a:pt x="20086" y="4394"/>
                      <a:pt x="15692" y="0"/>
                      <a:pt x="10043" y="0"/>
                    </a:cubicBezTo>
                    <a:lnTo>
                      <a:pt x="10043" y="0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91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6422124" y="3617089"/>
            <a:ext cx="374724" cy="385565"/>
            <a:chOff x="6422124" y="3617089"/>
            <a:chExt cx="374724" cy="385565"/>
          </a:xfrm>
          <a:solidFill>
            <a:srgbClr val="B1B1A1"/>
          </a:solidFill>
        </p:grpSpPr>
        <p:grpSp>
          <p:nvGrpSpPr>
            <p:cNvPr id="92" name="Gráfico 2">
              <a:extLst>
                <a:ext uri="{FF2B5EF4-FFF2-40B4-BE49-F238E27FC236}">
                  <a16:creationId xmlns:a16="http://schemas.microsoft.com/office/drawing/2014/main" id="{83F95F55-5D1D-4425-8D77-756B15108235}"/>
                </a:ext>
              </a:extLst>
            </p:cNvPr>
            <p:cNvGrpSpPr/>
            <p:nvPr/>
          </p:nvGrpSpPr>
          <p:grpSpPr>
            <a:xfrm>
              <a:off x="6422124" y="3889673"/>
              <a:ext cx="374724" cy="112982"/>
              <a:chOff x="6422124" y="3889673"/>
              <a:chExt cx="374724" cy="112982"/>
            </a:xfrm>
            <a:grpFill/>
          </p:grpSpPr>
          <p:sp>
            <p:nvSpPr>
              <p:cNvPr id="93" name="Forma Livre: Forma 92">
                <a:extLst>
                  <a:ext uri="{FF2B5EF4-FFF2-40B4-BE49-F238E27FC236}">
                    <a16:creationId xmlns:a16="http://schemas.microsoft.com/office/drawing/2014/main" id="{A78A9885-AFAE-49A2-9E9C-52B4C8936B9B}"/>
                  </a:ext>
                </a:extLst>
              </p:cNvPr>
              <p:cNvSpPr/>
              <p:nvPr/>
            </p:nvSpPr>
            <p:spPr>
              <a:xfrm>
                <a:off x="6422124" y="3889673"/>
                <a:ext cx="119886" cy="112982"/>
              </a:xfrm>
              <a:custGeom>
                <a:avLst/>
                <a:gdLst>
                  <a:gd name="connsiteX0" fmla="*/ 33267 w 119886"/>
                  <a:gd name="connsiteY0" fmla="*/ 112982 h 112982"/>
                  <a:gd name="connsiteX1" fmla="*/ 0 w 119886"/>
                  <a:gd name="connsiteY1" fmla="*/ 112982 h 112982"/>
                  <a:gd name="connsiteX2" fmla="*/ 119886 w 119886"/>
                  <a:gd name="connsiteY2" fmla="*/ 0 h 112982"/>
                  <a:gd name="connsiteX3" fmla="*/ 119886 w 119886"/>
                  <a:gd name="connsiteY3" fmla="*/ 33267 h 112982"/>
                  <a:gd name="connsiteX4" fmla="*/ 33267 w 119886"/>
                  <a:gd name="connsiteY4" fmla="*/ 112982 h 112982"/>
                  <a:gd name="connsiteX5" fmla="*/ 33267 w 119886"/>
                  <a:gd name="connsiteY5" fmla="*/ 112982 h 112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9886" h="112982">
                    <a:moveTo>
                      <a:pt x="33267" y="112982"/>
                    </a:moveTo>
                    <a:lnTo>
                      <a:pt x="0" y="112982"/>
                    </a:lnTo>
                    <a:cubicBezTo>
                      <a:pt x="0" y="50842"/>
                      <a:pt x="53980" y="0"/>
                      <a:pt x="119886" y="0"/>
                    </a:cubicBezTo>
                    <a:lnTo>
                      <a:pt x="119886" y="33267"/>
                    </a:lnTo>
                    <a:cubicBezTo>
                      <a:pt x="72183" y="33267"/>
                      <a:pt x="33267" y="69045"/>
                      <a:pt x="33267" y="112982"/>
                    </a:cubicBezTo>
                    <a:lnTo>
                      <a:pt x="33267" y="112982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94" name="Forma Livre: Forma 93">
                <a:extLst>
                  <a:ext uri="{FF2B5EF4-FFF2-40B4-BE49-F238E27FC236}">
                    <a16:creationId xmlns:a16="http://schemas.microsoft.com/office/drawing/2014/main" id="{9E120252-7F14-4212-AF8E-6FA4FD817737}"/>
                  </a:ext>
                </a:extLst>
              </p:cNvPr>
              <p:cNvSpPr/>
              <p:nvPr/>
            </p:nvSpPr>
            <p:spPr>
              <a:xfrm>
                <a:off x="6676961" y="3889673"/>
                <a:ext cx="119886" cy="112982"/>
              </a:xfrm>
              <a:custGeom>
                <a:avLst/>
                <a:gdLst>
                  <a:gd name="connsiteX0" fmla="*/ 119887 w 119886"/>
                  <a:gd name="connsiteY0" fmla="*/ 112982 h 112982"/>
                  <a:gd name="connsiteX1" fmla="*/ 86620 w 119886"/>
                  <a:gd name="connsiteY1" fmla="*/ 112982 h 112982"/>
                  <a:gd name="connsiteX2" fmla="*/ 0 w 119886"/>
                  <a:gd name="connsiteY2" fmla="*/ 33895 h 112982"/>
                  <a:gd name="connsiteX3" fmla="*/ 0 w 119886"/>
                  <a:gd name="connsiteY3" fmla="*/ 0 h 112982"/>
                  <a:gd name="connsiteX4" fmla="*/ 119887 w 119886"/>
                  <a:gd name="connsiteY4" fmla="*/ 112982 h 112982"/>
                  <a:gd name="connsiteX5" fmla="*/ 119887 w 119886"/>
                  <a:gd name="connsiteY5" fmla="*/ 112982 h 112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9886" h="112982">
                    <a:moveTo>
                      <a:pt x="119887" y="112982"/>
                    </a:moveTo>
                    <a:lnTo>
                      <a:pt x="86620" y="112982"/>
                    </a:lnTo>
                    <a:cubicBezTo>
                      <a:pt x="86620" y="69045"/>
                      <a:pt x="47704" y="33895"/>
                      <a:pt x="0" y="33895"/>
                    </a:cubicBezTo>
                    <a:lnTo>
                      <a:pt x="0" y="0"/>
                    </a:lnTo>
                    <a:cubicBezTo>
                      <a:pt x="65906" y="0"/>
                      <a:pt x="119887" y="50214"/>
                      <a:pt x="119887" y="112982"/>
                    </a:cubicBezTo>
                    <a:lnTo>
                      <a:pt x="119887" y="112982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95" name="Forma Livre: Forma 94">
              <a:extLst>
                <a:ext uri="{FF2B5EF4-FFF2-40B4-BE49-F238E27FC236}">
                  <a16:creationId xmlns:a16="http://schemas.microsoft.com/office/drawing/2014/main" id="{046C6DD9-619E-4BC7-A498-401F3406A7DE}"/>
                </a:ext>
              </a:extLst>
            </p:cNvPr>
            <p:cNvSpPr/>
            <p:nvPr/>
          </p:nvSpPr>
          <p:spPr>
            <a:xfrm>
              <a:off x="6500139" y="3617089"/>
              <a:ext cx="218693" cy="285136"/>
            </a:xfrm>
            <a:custGeom>
              <a:avLst/>
              <a:gdLst>
                <a:gd name="connsiteX0" fmla="*/ 109033 w 218693"/>
                <a:gd name="connsiteY0" fmla="*/ 285137 h 285136"/>
                <a:gd name="connsiteX1" fmla="*/ 109033 w 218693"/>
                <a:gd name="connsiteY1" fmla="*/ 285137 h 285136"/>
                <a:gd name="connsiteX2" fmla="*/ 2956 w 218693"/>
                <a:gd name="connsiteY2" fmla="*/ 153952 h 285136"/>
                <a:gd name="connsiteX3" fmla="*/ 28690 w 218693"/>
                <a:gd name="connsiteY3" fmla="*/ 36576 h 285136"/>
                <a:gd name="connsiteX4" fmla="*/ 109661 w 218693"/>
                <a:gd name="connsiteY4" fmla="*/ 171 h 285136"/>
                <a:gd name="connsiteX5" fmla="*/ 114682 w 218693"/>
                <a:gd name="connsiteY5" fmla="*/ 171 h 285136"/>
                <a:gd name="connsiteX6" fmla="*/ 190004 w 218693"/>
                <a:gd name="connsiteY6" fmla="*/ 36576 h 285136"/>
                <a:gd name="connsiteX7" fmla="*/ 215738 w 218693"/>
                <a:gd name="connsiteY7" fmla="*/ 153952 h 285136"/>
                <a:gd name="connsiteX8" fmla="*/ 109033 w 218693"/>
                <a:gd name="connsiteY8" fmla="*/ 285137 h 285136"/>
                <a:gd name="connsiteX9" fmla="*/ 109033 w 218693"/>
                <a:gd name="connsiteY9" fmla="*/ 285137 h 285136"/>
                <a:gd name="connsiteX10" fmla="*/ 104012 w 218693"/>
                <a:gd name="connsiteY10" fmla="*/ 17118 h 285136"/>
                <a:gd name="connsiteX11" fmla="*/ 41871 w 218693"/>
                <a:gd name="connsiteY11" fmla="*/ 47874 h 285136"/>
                <a:gd name="connsiteX12" fmla="*/ 19903 w 218693"/>
                <a:gd name="connsiteY12" fmla="*/ 151441 h 285136"/>
                <a:gd name="connsiteX13" fmla="*/ 109661 w 218693"/>
                <a:gd name="connsiteY13" fmla="*/ 269445 h 285136"/>
                <a:gd name="connsiteX14" fmla="*/ 199419 w 218693"/>
                <a:gd name="connsiteY14" fmla="*/ 151441 h 285136"/>
                <a:gd name="connsiteX15" fmla="*/ 177450 w 218693"/>
                <a:gd name="connsiteY15" fmla="*/ 47874 h 285136"/>
                <a:gd name="connsiteX16" fmla="*/ 110288 w 218693"/>
                <a:gd name="connsiteY16" fmla="*/ 17746 h 285136"/>
                <a:gd name="connsiteX17" fmla="*/ 104012 w 218693"/>
                <a:gd name="connsiteY17" fmla="*/ 17118 h 285136"/>
                <a:gd name="connsiteX18" fmla="*/ 104012 w 218693"/>
                <a:gd name="connsiteY18" fmla="*/ 17118 h 285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18693" h="285136">
                  <a:moveTo>
                    <a:pt x="109033" y="285137"/>
                  </a:moveTo>
                  <a:lnTo>
                    <a:pt x="109033" y="285137"/>
                  </a:lnTo>
                  <a:cubicBezTo>
                    <a:pt x="58191" y="285137"/>
                    <a:pt x="18648" y="236178"/>
                    <a:pt x="2956" y="153952"/>
                  </a:cubicBezTo>
                  <a:cubicBezTo>
                    <a:pt x="-5205" y="108131"/>
                    <a:pt x="3583" y="66705"/>
                    <a:pt x="28690" y="36576"/>
                  </a:cubicBezTo>
                  <a:cubicBezTo>
                    <a:pt x="49404" y="12096"/>
                    <a:pt x="78905" y="-1713"/>
                    <a:pt x="109661" y="171"/>
                  </a:cubicBezTo>
                  <a:cubicBezTo>
                    <a:pt x="110288" y="171"/>
                    <a:pt x="112799" y="171"/>
                    <a:pt x="114682" y="171"/>
                  </a:cubicBezTo>
                  <a:cubicBezTo>
                    <a:pt x="142928" y="171"/>
                    <a:pt x="170545" y="13352"/>
                    <a:pt x="190004" y="36576"/>
                  </a:cubicBezTo>
                  <a:cubicBezTo>
                    <a:pt x="215111" y="66705"/>
                    <a:pt x="223898" y="108131"/>
                    <a:pt x="215738" y="153952"/>
                  </a:cubicBezTo>
                  <a:cubicBezTo>
                    <a:pt x="199419" y="236178"/>
                    <a:pt x="159875" y="285137"/>
                    <a:pt x="109033" y="285137"/>
                  </a:cubicBezTo>
                  <a:lnTo>
                    <a:pt x="109033" y="285137"/>
                  </a:lnTo>
                  <a:close/>
                  <a:moveTo>
                    <a:pt x="104012" y="17118"/>
                  </a:moveTo>
                  <a:cubicBezTo>
                    <a:pt x="80787" y="17118"/>
                    <a:pt x="57563" y="28416"/>
                    <a:pt x="41871" y="47874"/>
                  </a:cubicBezTo>
                  <a:cubicBezTo>
                    <a:pt x="20530" y="73609"/>
                    <a:pt x="12371" y="110642"/>
                    <a:pt x="19903" y="151441"/>
                  </a:cubicBezTo>
                  <a:cubicBezTo>
                    <a:pt x="33712" y="224880"/>
                    <a:pt x="67606" y="269445"/>
                    <a:pt x="109661" y="269445"/>
                  </a:cubicBezTo>
                  <a:cubicBezTo>
                    <a:pt x="151715" y="269445"/>
                    <a:pt x="184982" y="225507"/>
                    <a:pt x="199419" y="151441"/>
                  </a:cubicBezTo>
                  <a:cubicBezTo>
                    <a:pt x="206951" y="110642"/>
                    <a:pt x="199419" y="74237"/>
                    <a:pt x="177450" y="47874"/>
                  </a:cubicBezTo>
                  <a:cubicBezTo>
                    <a:pt x="160503" y="27161"/>
                    <a:pt x="135396" y="15863"/>
                    <a:pt x="110288" y="17746"/>
                  </a:cubicBezTo>
                  <a:cubicBezTo>
                    <a:pt x="107150" y="17118"/>
                    <a:pt x="105267" y="17118"/>
                    <a:pt x="104012" y="17118"/>
                  </a:cubicBezTo>
                  <a:lnTo>
                    <a:pt x="104012" y="17118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96" name="Gráfico 2">
              <a:extLst>
                <a:ext uri="{FF2B5EF4-FFF2-40B4-BE49-F238E27FC236}">
                  <a16:creationId xmlns:a16="http://schemas.microsoft.com/office/drawing/2014/main" id="{83F95F55-5D1D-4425-8D77-756B15108235}"/>
                </a:ext>
              </a:extLst>
            </p:cNvPr>
            <p:cNvGrpSpPr/>
            <p:nvPr/>
          </p:nvGrpSpPr>
          <p:grpSpPr>
            <a:xfrm>
              <a:off x="6492220" y="3624165"/>
              <a:ext cx="234102" cy="215293"/>
              <a:chOff x="6492220" y="3624165"/>
              <a:chExt cx="234102" cy="215293"/>
            </a:xfrm>
            <a:grpFill/>
          </p:grpSpPr>
          <p:sp>
            <p:nvSpPr>
              <p:cNvPr id="97" name="Forma Livre: Forma 96">
                <a:extLst>
                  <a:ext uri="{FF2B5EF4-FFF2-40B4-BE49-F238E27FC236}">
                    <a16:creationId xmlns:a16="http://schemas.microsoft.com/office/drawing/2014/main" id="{4B0F93D9-70FB-4088-A070-193D5A48C130}"/>
                  </a:ext>
                </a:extLst>
              </p:cNvPr>
              <p:cNvSpPr/>
              <p:nvPr/>
            </p:nvSpPr>
            <p:spPr>
              <a:xfrm>
                <a:off x="6492220" y="3761626"/>
                <a:ext cx="30867" cy="77832"/>
              </a:xfrm>
              <a:custGeom>
                <a:avLst/>
                <a:gdLst>
                  <a:gd name="connsiteX0" fmla="*/ 8991 w 30867"/>
                  <a:gd name="connsiteY0" fmla="*/ 0 h 77832"/>
                  <a:gd name="connsiteX1" fmla="*/ 7108 w 30867"/>
                  <a:gd name="connsiteY1" fmla="*/ 628 h 77832"/>
                  <a:gd name="connsiteX2" fmla="*/ 3970 w 30867"/>
                  <a:gd name="connsiteY2" fmla="*/ 46448 h 77832"/>
                  <a:gd name="connsiteX3" fmla="*/ 23428 w 30867"/>
                  <a:gd name="connsiteY3" fmla="*/ 77832 h 77832"/>
                  <a:gd name="connsiteX4" fmla="*/ 24683 w 30867"/>
                  <a:gd name="connsiteY4" fmla="*/ 77832 h 77832"/>
                  <a:gd name="connsiteX5" fmla="*/ 29077 w 30867"/>
                  <a:gd name="connsiteY5" fmla="*/ 38289 h 77832"/>
                  <a:gd name="connsiteX6" fmla="*/ 8991 w 30867"/>
                  <a:gd name="connsiteY6" fmla="*/ 0 h 77832"/>
                  <a:gd name="connsiteX7" fmla="*/ 8991 w 30867"/>
                  <a:gd name="connsiteY7" fmla="*/ 0 h 77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867" h="77832">
                    <a:moveTo>
                      <a:pt x="8991" y="0"/>
                    </a:moveTo>
                    <a:cubicBezTo>
                      <a:pt x="8363" y="0"/>
                      <a:pt x="7736" y="0"/>
                      <a:pt x="7108" y="628"/>
                    </a:cubicBezTo>
                    <a:cubicBezTo>
                      <a:pt x="-1052" y="3138"/>
                      <a:pt x="-2307" y="24480"/>
                      <a:pt x="3970" y="46448"/>
                    </a:cubicBezTo>
                    <a:cubicBezTo>
                      <a:pt x="9619" y="66534"/>
                      <a:pt x="17779" y="77832"/>
                      <a:pt x="23428" y="77832"/>
                    </a:cubicBezTo>
                    <a:cubicBezTo>
                      <a:pt x="24055" y="77832"/>
                      <a:pt x="24055" y="77832"/>
                      <a:pt x="24683" y="77832"/>
                    </a:cubicBezTo>
                    <a:cubicBezTo>
                      <a:pt x="30332" y="75949"/>
                      <a:pt x="32843" y="60885"/>
                      <a:pt x="29077" y="38289"/>
                    </a:cubicBezTo>
                    <a:cubicBezTo>
                      <a:pt x="25938" y="16947"/>
                      <a:pt x="16523" y="0"/>
                      <a:pt x="8991" y="0"/>
                    </a:cubicBezTo>
                    <a:lnTo>
                      <a:pt x="8991" y="0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98" name="Forma Livre: Forma 97">
                <a:extLst>
                  <a:ext uri="{FF2B5EF4-FFF2-40B4-BE49-F238E27FC236}">
                    <a16:creationId xmlns:a16="http://schemas.microsoft.com/office/drawing/2014/main" id="{D7919436-D5B8-46BE-9FFC-8D11D4104C43}"/>
                  </a:ext>
                </a:extLst>
              </p:cNvPr>
              <p:cNvSpPr/>
              <p:nvPr/>
            </p:nvSpPr>
            <p:spPr>
              <a:xfrm>
                <a:off x="6695257" y="3761626"/>
                <a:ext cx="31066" cy="77832"/>
              </a:xfrm>
              <a:custGeom>
                <a:avLst/>
                <a:gdLst>
                  <a:gd name="connsiteX0" fmla="*/ 21876 w 31066"/>
                  <a:gd name="connsiteY0" fmla="*/ 0 h 77832"/>
                  <a:gd name="connsiteX1" fmla="*/ 1791 w 31066"/>
                  <a:gd name="connsiteY1" fmla="*/ 38289 h 77832"/>
                  <a:gd name="connsiteX2" fmla="*/ 6185 w 31066"/>
                  <a:gd name="connsiteY2" fmla="*/ 77832 h 77832"/>
                  <a:gd name="connsiteX3" fmla="*/ 7440 w 31066"/>
                  <a:gd name="connsiteY3" fmla="*/ 77832 h 77832"/>
                  <a:gd name="connsiteX4" fmla="*/ 26898 w 31066"/>
                  <a:gd name="connsiteY4" fmla="*/ 46448 h 77832"/>
                  <a:gd name="connsiteX5" fmla="*/ 23759 w 31066"/>
                  <a:gd name="connsiteY5" fmla="*/ 628 h 77832"/>
                  <a:gd name="connsiteX6" fmla="*/ 21876 w 31066"/>
                  <a:gd name="connsiteY6" fmla="*/ 0 h 77832"/>
                  <a:gd name="connsiteX7" fmla="*/ 21876 w 31066"/>
                  <a:gd name="connsiteY7" fmla="*/ 0 h 77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066" h="77832">
                    <a:moveTo>
                      <a:pt x="21876" y="0"/>
                    </a:moveTo>
                    <a:cubicBezTo>
                      <a:pt x="14344" y="0"/>
                      <a:pt x="4929" y="16947"/>
                      <a:pt x="1791" y="38289"/>
                    </a:cubicBezTo>
                    <a:cubicBezTo>
                      <a:pt x="-1975" y="60885"/>
                      <a:pt x="535" y="75949"/>
                      <a:pt x="6185" y="77832"/>
                    </a:cubicBezTo>
                    <a:cubicBezTo>
                      <a:pt x="6812" y="77832"/>
                      <a:pt x="6812" y="77832"/>
                      <a:pt x="7440" y="77832"/>
                    </a:cubicBezTo>
                    <a:cubicBezTo>
                      <a:pt x="13089" y="77832"/>
                      <a:pt x="20621" y="66534"/>
                      <a:pt x="26898" y="46448"/>
                    </a:cubicBezTo>
                    <a:cubicBezTo>
                      <a:pt x="33175" y="24480"/>
                      <a:pt x="32547" y="2511"/>
                      <a:pt x="23759" y="628"/>
                    </a:cubicBezTo>
                    <a:cubicBezTo>
                      <a:pt x="23132" y="0"/>
                      <a:pt x="22504" y="0"/>
                      <a:pt x="21876" y="0"/>
                    </a:cubicBezTo>
                    <a:lnTo>
                      <a:pt x="21876" y="0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99" name="Forma Livre: Forma 98">
                <a:extLst>
                  <a:ext uri="{FF2B5EF4-FFF2-40B4-BE49-F238E27FC236}">
                    <a16:creationId xmlns:a16="http://schemas.microsoft.com/office/drawing/2014/main" id="{1C612A87-23F2-4BD2-A384-05677CE5F983}"/>
                  </a:ext>
                </a:extLst>
              </p:cNvPr>
              <p:cNvSpPr/>
              <p:nvPr/>
            </p:nvSpPr>
            <p:spPr>
              <a:xfrm>
                <a:off x="6510348" y="3624165"/>
                <a:ext cx="195984" cy="114237"/>
              </a:xfrm>
              <a:custGeom>
                <a:avLst/>
                <a:gdLst>
                  <a:gd name="connsiteX0" fmla="*/ 118283 w 195984"/>
                  <a:gd name="connsiteY0" fmla="*/ 0 h 114237"/>
                  <a:gd name="connsiteX1" fmla="*/ 98197 w 195984"/>
                  <a:gd name="connsiteY1" fmla="*/ 628 h 114237"/>
                  <a:gd name="connsiteX2" fmla="*/ 78111 w 195984"/>
                  <a:gd name="connsiteY2" fmla="*/ 0 h 114237"/>
                  <a:gd name="connsiteX3" fmla="*/ 61164 w 195984"/>
                  <a:gd name="connsiteY3" fmla="*/ 628 h 114237"/>
                  <a:gd name="connsiteX4" fmla="*/ 25386 w 195984"/>
                  <a:gd name="connsiteY4" fmla="*/ 21969 h 114237"/>
                  <a:gd name="connsiteX5" fmla="*/ 13460 w 195984"/>
                  <a:gd name="connsiteY5" fmla="*/ 38288 h 114237"/>
                  <a:gd name="connsiteX6" fmla="*/ 11577 w 195984"/>
                  <a:gd name="connsiteY6" fmla="*/ 47076 h 114237"/>
                  <a:gd name="connsiteX7" fmla="*/ 6556 w 195984"/>
                  <a:gd name="connsiteY7" fmla="*/ 69045 h 114237"/>
                  <a:gd name="connsiteX8" fmla="*/ 279 w 195984"/>
                  <a:gd name="connsiteY8" fmla="*/ 114238 h 114237"/>
                  <a:gd name="connsiteX9" fmla="*/ 2162 w 195984"/>
                  <a:gd name="connsiteY9" fmla="*/ 114238 h 114237"/>
                  <a:gd name="connsiteX10" fmla="*/ 12205 w 195984"/>
                  <a:gd name="connsiteY10" fmla="*/ 97290 h 114237"/>
                  <a:gd name="connsiteX11" fmla="*/ 13460 w 195984"/>
                  <a:gd name="connsiteY11" fmla="*/ 67162 h 114237"/>
                  <a:gd name="connsiteX12" fmla="*/ 53004 w 195984"/>
                  <a:gd name="connsiteY12" fmla="*/ 48331 h 114237"/>
                  <a:gd name="connsiteX13" fmla="*/ 53632 w 195984"/>
                  <a:gd name="connsiteY13" fmla="*/ 48331 h 114237"/>
                  <a:gd name="connsiteX14" fmla="*/ 78111 w 195984"/>
                  <a:gd name="connsiteY14" fmla="*/ 59002 h 114237"/>
                  <a:gd name="connsiteX15" fmla="*/ 98197 w 195984"/>
                  <a:gd name="connsiteY15" fmla="*/ 62140 h 114237"/>
                  <a:gd name="connsiteX16" fmla="*/ 118283 w 195984"/>
                  <a:gd name="connsiteY16" fmla="*/ 59002 h 114237"/>
                  <a:gd name="connsiteX17" fmla="*/ 142762 w 195984"/>
                  <a:gd name="connsiteY17" fmla="*/ 48331 h 114237"/>
                  <a:gd name="connsiteX18" fmla="*/ 143390 w 195984"/>
                  <a:gd name="connsiteY18" fmla="*/ 48331 h 114237"/>
                  <a:gd name="connsiteX19" fmla="*/ 182934 w 195984"/>
                  <a:gd name="connsiteY19" fmla="*/ 67162 h 114237"/>
                  <a:gd name="connsiteX20" fmla="*/ 184189 w 195984"/>
                  <a:gd name="connsiteY20" fmla="*/ 97290 h 114237"/>
                  <a:gd name="connsiteX21" fmla="*/ 193604 w 195984"/>
                  <a:gd name="connsiteY21" fmla="*/ 114238 h 114237"/>
                  <a:gd name="connsiteX22" fmla="*/ 195487 w 195984"/>
                  <a:gd name="connsiteY22" fmla="*/ 114238 h 114237"/>
                  <a:gd name="connsiteX23" fmla="*/ 189210 w 195984"/>
                  <a:gd name="connsiteY23" fmla="*/ 69045 h 114237"/>
                  <a:gd name="connsiteX24" fmla="*/ 184189 w 195984"/>
                  <a:gd name="connsiteY24" fmla="*/ 47076 h 114237"/>
                  <a:gd name="connsiteX25" fmla="*/ 182306 w 195984"/>
                  <a:gd name="connsiteY25" fmla="*/ 38288 h 114237"/>
                  <a:gd name="connsiteX26" fmla="*/ 169752 w 195984"/>
                  <a:gd name="connsiteY26" fmla="*/ 21969 h 114237"/>
                  <a:gd name="connsiteX27" fmla="*/ 133975 w 195984"/>
                  <a:gd name="connsiteY27" fmla="*/ 628 h 114237"/>
                  <a:gd name="connsiteX28" fmla="*/ 118283 w 195984"/>
                  <a:gd name="connsiteY28" fmla="*/ 0 h 114237"/>
                  <a:gd name="connsiteX29" fmla="*/ 118283 w 195984"/>
                  <a:gd name="connsiteY29" fmla="*/ 0 h 114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95984" h="114237">
                    <a:moveTo>
                      <a:pt x="118283" y="0"/>
                    </a:moveTo>
                    <a:cubicBezTo>
                      <a:pt x="112006" y="0"/>
                      <a:pt x="105101" y="0"/>
                      <a:pt x="98197" y="628"/>
                    </a:cubicBezTo>
                    <a:cubicBezTo>
                      <a:pt x="91292" y="0"/>
                      <a:pt x="84388" y="0"/>
                      <a:pt x="78111" y="0"/>
                    </a:cubicBezTo>
                    <a:cubicBezTo>
                      <a:pt x="72462" y="0"/>
                      <a:pt x="66813" y="0"/>
                      <a:pt x="61164" y="628"/>
                    </a:cubicBezTo>
                    <a:cubicBezTo>
                      <a:pt x="46100" y="1883"/>
                      <a:pt x="34174" y="10670"/>
                      <a:pt x="25386" y="21969"/>
                    </a:cubicBezTo>
                    <a:cubicBezTo>
                      <a:pt x="19109" y="26990"/>
                      <a:pt x="14716" y="32011"/>
                      <a:pt x="13460" y="38288"/>
                    </a:cubicBezTo>
                    <a:cubicBezTo>
                      <a:pt x="12832" y="41427"/>
                      <a:pt x="12205" y="43938"/>
                      <a:pt x="11577" y="47076"/>
                    </a:cubicBezTo>
                    <a:cubicBezTo>
                      <a:pt x="7811" y="56491"/>
                      <a:pt x="6556" y="64651"/>
                      <a:pt x="6556" y="69045"/>
                    </a:cubicBezTo>
                    <a:cubicBezTo>
                      <a:pt x="2162" y="89758"/>
                      <a:pt x="-976" y="108588"/>
                      <a:pt x="279" y="114238"/>
                    </a:cubicBezTo>
                    <a:cubicBezTo>
                      <a:pt x="279" y="114238"/>
                      <a:pt x="907" y="114238"/>
                      <a:pt x="2162" y="114238"/>
                    </a:cubicBezTo>
                    <a:cubicBezTo>
                      <a:pt x="4673" y="114238"/>
                      <a:pt x="10322" y="112354"/>
                      <a:pt x="12205" y="97290"/>
                    </a:cubicBezTo>
                    <a:cubicBezTo>
                      <a:pt x="13460" y="87875"/>
                      <a:pt x="12832" y="77204"/>
                      <a:pt x="13460" y="67162"/>
                    </a:cubicBezTo>
                    <a:cubicBezTo>
                      <a:pt x="22248" y="59629"/>
                      <a:pt x="36684" y="48331"/>
                      <a:pt x="53004" y="48331"/>
                    </a:cubicBezTo>
                    <a:cubicBezTo>
                      <a:pt x="53004" y="48331"/>
                      <a:pt x="53632" y="48331"/>
                      <a:pt x="53632" y="48331"/>
                    </a:cubicBezTo>
                    <a:cubicBezTo>
                      <a:pt x="62419" y="53353"/>
                      <a:pt x="70579" y="54608"/>
                      <a:pt x="78111" y="59002"/>
                    </a:cubicBezTo>
                    <a:cubicBezTo>
                      <a:pt x="81250" y="60885"/>
                      <a:pt x="90037" y="62140"/>
                      <a:pt x="98197" y="62140"/>
                    </a:cubicBezTo>
                    <a:cubicBezTo>
                      <a:pt x="106357" y="62140"/>
                      <a:pt x="115144" y="60885"/>
                      <a:pt x="118283" y="59002"/>
                    </a:cubicBezTo>
                    <a:cubicBezTo>
                      <a:pt x="125815" y="53980"/>
                      <a:pt x="133975" y="53353"/>
                      <a:pt x="142762" y="48331"/>
                    </a:cubicBezTo>
                    <a:cubicBezTo>
                      <a:pt x="142762" y="48331"/>
                      <a:pt x="143390" y="48331"/>
                      <a:pt x="143390" y="48331"/>
                    </a:cubicBezTo>
                    <a:cubicBezTo>
                      <a:pt x="159709" y="48331"/>
                      <a:pt x="174146" y="59629"/>
                      <a:pt x="182934" y="67162"/>
                    </a:cubicBezTo>
                    <a:cubicBezTo>
                      <a:pt x="183561" y="76577"/>
                      <a:pt x="182934" y="87875"/>
                      <a:pt x="184189" y="97290"/>
                    </a:cubicBezTo>
                    <a:cubicBezTo>
                      <a:pt x="186072" y="111727"/>
                      <a:pt x="191093" y="114238"/>
                      <a:pt x="193604" y="114238"/>
                    </a:cubicBezTo>
                    <a:cubicBezTo>
                      <a:pt x="194859" y="114238"/>
                      <a:pt x="195487" y="114238"/>
                      <a:pt x="195487" y="114238"/>
                    </a:cubicBezTo>
                    <a:cubicBezTo>
                      <a:pt x="197370" y="108588"/>
                      <a:pt x="193604" y="89758"/>
                      <a:pt x="189210" y="69045"/>
                    </a:cubicBezTo>
                    <a:cubicBezTo>
                      <a:pt x="189838" y="64651"/>
                      <a:pt x="187955" y="56491"/>
                      <a:pt x="184189" y="47076"/>
                    </a:cubicBezTo>
                    <a:cubicBezTo>
                      <a:pt x="183561" y="43938"/>
                      <a:pt x="182934" y="41427"/>
                      <a:pt x="182306" y="38288"/>
                    </a:cubicBezTo>
                    <a:cubicBezTo>
                      <a:pt x="181051" y="32011"/>
                      <a:pt x="176657" y="26362"/>
                      <a:pt x="169752" y="21969"/>
                    </a:cubicBezTo>
                    <a:cubicBezTo>
                      <a:pt x="160965" y="10670"/>
                      <a:pt x="149039" y="1883"/>
                      <a:pt x="133975" y="628"/>
                    </a:cubicBezTo>
                    <a:cubicBezTo>
                      <a:pt x="129581" y="628"/>
                      <a:pt x="123932" y="0"/>
                      <a:pt x="118283" y="0"/>
                    </a:cubicBezTo>
                    <a:lnTo>
                      <a:pt x="118283" y="0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100" name="Gráfico 2">
              <a:extLst>
                <a:ext uri="{FF2B5EF4-FFF2-40B4-BE49-F238E27FC236}">
                  <a16:creationId xmlns:a16="http://schemas.microsoft.com/office/drawing/2014/main" id="{83F95F55-5D1D-4425-8D77-756B15108235}"/>
                </a:ext>
              </a:extLst>
            </p:cNvPr>
            <p:cNvGrpSpPr/>
            <p:nvPr/>
          </p:nvGrpSpPr>
          <p:grpSpPr>
            <a:xfrm>
              <a:off x="6509931" y="3741374"/>
              <a:ext cx="197865" cy="62934"/>
              <a:chOff x="6509931" y="3741374"/>
              <a:chExt cx="197865" cy="62934"/>
            </a:xfrm>
            <a:grpFill/>
          </p:grpSpPr>
          <p:sp>
            <p:nvSpPr>
              <p:cNvPr id="101" name="Forma Livre: Forma 100">
                <a:extLst>
                  <a:ext uri="{FF2B5EF4-FFF2-40B4-BE49-F238E27FC236}">
                    <a16:creationId xmlns:a16="http://schemas.microsoft.com/office/drawing/2014/main" id="{00C3F78D-9BBD-4698-B99F-FEB846534B3F}"/>
                  </a:ext>
                </a:extLst>
              </p:cNvPr>
              <p:cNvSpPr/>
              <p:nvPr/>
            </p:nvSpPr>
            <p:spPr>
              <a:xfrm>
                <a:off x="6509931" y="3741374"/>
                <a:ext cx="89277" cy="62934"/>
              </a:xfrm>
              <a:custGeom>
                <a:avLst/>
                <a:gdLst>
                  <a:gd name="connsiteX0" fmla="*/ 38356 w 89277"/>
                  <a:gd name="connsiteY0" fmla="*/ 62934 h 62934"/>
                  <a:gd name="connsiteX1" fmla="*/ 38356 w 89277"/>
                  <a:gd name="connsiteY1" fmla="*/ 62934 h 62934"/>
                  <a:gd name="connsiteX2" fmla="*/ 9483 w 89277"/>
                  <a:gd name="connsiteY2" fmla="*/ 50380 h 62934"/>
                  <a:gd name="connsiteX3" fmla="*/ 68 w 89277"/>
                  <a:gd name="connsiteY3" fmla="*/ 25273 h 62934"/>
                  <a:gd name="connsiteX4" fmla="*/ 68 w 89277"/>
                  <a:gd name="connsiteY4" fmla="*/ 18369 h 62934"/>
                  <a:gd name="connsiteX5" fmla="*/ 695 w 89277"/>
                  <a:gd name="connsiteY5" fmla="*/ 11464 h 62934"/>
                  <a:gd name="connsiteX6" fmla="*/ 1951 w 89277"/>
                  <a:gd name="connsiteY6" fmla="*/ 7070 h 62934"/>
                  <a:gd name="connsiteX7" fmla="*/ 6345 w 89277"/>
                  <a:gd name="connsiteY7" fmla="*/ 5815 h 62934"/>
                  <a:gd name="connsiteX8" fmla="*/ 82922 w 89277"/>
                  <a:gd name="connsiteY8" fmla="*/ 6443 h 62934"/>
                  <a:gd name="connsiteX9" fmla="*/ 87315 w 89277"/>
                  <a:gd name="connsiteY9" fmla="*/ 7698 h 62934"/>
                  <a:gd name="connsiteX10" fmla="*/ 88570 w 89277"/>
                  <a:gd name="connsiteY10" fmla="*/ 12092 h 62934"/>
                  <a:gd name="connsiteX11" fmla="*/ 89198 w 89277"/>
                  <a:gd name="connsiteY11" fmla="*/ 18369 h 62934"/>
                  <a:gd name="connsiteX12" fmla="*/ 89198 w 89277"/>
                  <a:gd name="connsiteY12" fmla="*/ 25273 h 62934"/>
                  <a:gd name="connsiteX13" fmla="*/ 80411 w 89277"/>
                  <a:gd name="connsiteY13" fmla="*/ 49125 h 62934"/>
                  <a:gd name="connsiteX14" fmla="*/ 51538 w 89277"/>
                  <a:gd name="connsiteY14" fmla="*/ 62306 h 62934"/>
                  <a:gd name="connsiteX15" fmla="*/ 38356 w 89277"/>
                  <a:gd name="connsiteY15" fmla="*/ 62934 h 62934"/>
                  <a:gd name="connsiteX16" fmla="*/ 38356 w 89277"/>
                  <a:gd name="connsiteY16" fmla="*/ 62934 h 62934"/>
                  <a:gd name="connsiteX17" fmla="*/ 17015 w 89277"/>
                  <a:gd name="connsiteY17" fmla="*/ 19624 h 62934"/>
                  <a:gd name="connsiteX18" fmla="*/ 17015 w 89277"/>
                  <a:gd name="connsiteY18" fmla="*/ 25901 h 62934"/>
                  <a:gd name="connsiteX19" fmla="*/ 22037 w 89277"/>
                  <a:gd name="connsiteY19" fmla="*/ 39082 h 62934"/>
                  <a:gd name="connsiteX20" fmla="*/ 38984 w 89277"/>
                  <a:gd name="connsiteY20" fmla="*/ 45987 h 62934"/>
                  <a:gd name="connsiteX21" fmla="*/ 51538 w 89277"/>
                  <a:gd name="connsiteY21" fmla="*/ 45987 h 62934"/>
                  <a:gd name="connsiteX22" fmla="*/ 68485 w 89277"/>
                  <a:gd name="connsiteY22" fmla="*/ 38454 h 62934"/>
                  <a:gd name="connsiteX23" fmla="*/ 72879 w 89277"/>
                  <a:gd name="connsiteY23" fmla="*/ 26528 h 62934"/>
                  <a:gd name="connsiteX24" fmla="*/ 72879 w 89277"/>
                  <a:gd name="connsiteY24" fmla="*/ 20879 h 62934"/>
                  <a:gd name="connsiteX25" fmla="*/ 17015 w 89277"/>
                  <a:gd name="connsiteY25" fmla="*/ 19624 h 62934"/>
                  <a:gd name="connsiteX26" fmla="*/ 17015 w 89277"/>
                  <a:gd name="connsiteY26" fmla="*/ 19624 h 62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89277" h="62934">
                    <a:moveTo>
                      <a:pt x="38356" y="62934"/>
                    </a:moveTo>
                    <a:lnTo>
                      <a:pt x="38356" y="62934"/>
                    </a:lnTo>
                    <a:cubicBezTo>
                      <a:pt x="27058" y="62934"/>
                      <a:pt x="17015" y="58540"/>
                      <a:pt x="9483" y="50380"/>
                    </a:cubicBezTo>
                    <a:cubicBezTo>
                      <a:pt x="3206" y="43476"/>
                      <a:pt x="-560" y="34688"/>
                      <a:pt x="68" y="25273"/>
                    </a:cubicBezTo>
                    <a:lnTo>
                      <a:pt x="68" y="18369"/>
                    </a:lnTo>
                    <a:cubicBezTo>
                      <a:pt x="68" y="15858"/>
                      <a:pt x="695" y="13975"/>
                      <a:pt x="695" y="11464"/>
                    </a:cubicBezTo>
                    <a:lnTo>
                      <a:pt x="1951" y="7070"/>
                    </a:lnTo>
                    <a:lnTo>
                      <a:pt x="6345" y="5815"/>
                    </a:lnTo>
                    <a:cubicBezTo>
                      <a:pt x="30824" y="-2345"/>
                      <a:pt x="57814" y="-1717"/>
                      <a:pt x="82922" y="6443"/>
                    </a:cubicBezTo>
                    <a:lnTo>
                      <a:pt x="87315" y="7698"/>
                    </a:lnTo>
                    <a:lnTo>
                      <a:pt x="88570" y="12092"/>
                    </a:lnTo>
                    <a:cubicBezTo>
                      <a:pt x="89198" y="13975"/>
                      <a:pt x="89198" y="16486"/>
                      <a:pt x="89198" y="18369"/>
                    </a:cubicBezTo>
                    <a:lnTo>
                      <a:pt x="89198" y="25273"/>
                    </a:lnTo>
                    <a:cubicBezTo>
                      <a:pt x="89826" y="34061"/>
                      <a:pt x="86688" y="42220"/>
                      <a:pt x="80411" y="49125"/>
                    </a:cubicBezTo>
                    <a:cubicBezTo>
                      <a:pt x="73506" y="57285"/>
                      <a:pt x="62836" y="61679"/>
                      <a:pt x="51538" y="62306"/>
                    </a:cubicBezTo>
                    <a:lnTo>
                      <a:pt x="38356" y="62934"/>
                    </a:lnTo>
                    <a:lnTo>
                      <a:pt x="38356" y="62934"/>
                    </a:lnTo>
                    <a:close/>
                    <a:moveTo>
                      <a:pt x="17015" y="19624"/>
                    </a:moveTo>
                    <a:lnTo>
                      <a:pt x="17015" y="25901"/>
                    </a:lnTo>
                    <a:cubicBezTo>
                      <a:pt x="17015" y="30922"/>
                      <a:pt x="18271" y="35316"/>
                      <a:pt x="22037" y="39082"/>
                    </a:cubicBezTo>
                    <a:cubicBezTo>
                      <a:pt x="26431" y="43476"/>
                      <a:pt x="32079" y="45987"/>
                      <a:pt x="38984" y="45987"/>
                    </a:cubicBezTo>
                    <a:lnTo>
                      <a:pt x="51538" y="45987"/>
                    </a:lnTo>
                    <a:cubicBezTo>
                      <a:pt x="57814" y="45987"/>
                      <a:pt x="64719" y="42848"/>
                      <a:pt x="68485" y="38454"/>
                    </a:cubicBezTo>
                    <a:cubicBezTo>
                      <a:pt x="71623" y="34688"/>
                      <a:pt x="73506" y="30922"/>
                      <a:pt x="72879" y="26528"/>
                    </a:cubicBezTo>
                    <a:lnTo>
                      <a:pt x="72879" y="20879"/>
                    </a:lnTo>
                    <a:cubicBezTo>
                      <a:pt x="54676" y="15230"/>
                      <a:pt x="35218" y="14603"/>
                      <a:pt x="17015" y="19624"/>
                    </a:cubicBezTo>
                    <a:lnTo>
                      <a:pt x="17015" y="19624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02" name="Forma Livre: Forma 101">
                <a:extLst>
                  <a:ext uri="{FF2B5EF4-FFF2-40B4-BE49-F238E27FC236}">
                    <a16:creationId xmlns:a16="http://schemas.microsoft.com/office/drawing/2014/main" id="{CE256053-D09F-4D5E-B6EB-3A329E8F6246}"/>
                  </a:ext>
                </a:extLst>
              </p:cNvPr>
              <p:cNvSpPr/>
              <p:nvPr/>
            </p:nvSpPr>
            <p:spPr>
              <a:xfrm>
                <a:off x="6619147" y="3741374"/>
                <a:ext cx="88649" cy="62934"/>
              </a:xfrm>
              <a:custGeom>
                <a:avLst/>
                <a:gdLst>
                  <a:gd name="connsiteX0" fmla="*/ 38356 w 88649"/>
                  <a:gd name="connsiteY0" fmla="*/ 62934 h 62934"/>
                  <a:gd name="connsiteX1" fmla="*/ 38356 w 88649"/>
                  <a:gd name="connsiteY1" fmla="*/ 62934 h 62934"/>
                  <a:gd name="connsiteX2" fmla="*/ 9483 w 88649"/>
                  <a:gd name="connsiteY2" fmla="*/ 50380 h 62934"/>
                  <a:gd name="connsiteX3" fmla="*/ 68 w 88649"/>
                  <a:gd name="connsiteY3" fmla="*/ 25273 h 62934"/>
                  <a:gd name="connsiteX4" fmla="*/ 68 w 88649"/>
                  <a:gd name="connsiteY4" fmla="*/ 18369 h 62934"/>
                  <a:gd name="connsiteX5" fmla="*/ 696 w 88649"/>
                  <a:gd name="connsiteY5" fmla="*/ 12092 h 62934"/>
                  <a:gd name="connsiteX6" fmla="*/ 1323 w 88649"/>
                  <a:gd name="connsiteY6" fmla="*/ 7070 h 62934"/>
                  <a:gd name="connsiteX7" fmla="*/ 5717 w 88649"/>
                  <a:gd name="connsiteY7" fmla="*/ 5815 h 62934"/>
                  <a:gd name="connsiteX8" fmla="*/ 82294 w 88649"/>
                  <a:gd name="connsiteY8" fmla="*/ 6443 h 62934"/>
                  <a:gd name="connsiteX9" fmla="*/ 86688 w 88649"/>
                  <a:gd name="connsiteY9" fmla="*/ 7698 h 62934"/>
                  <a:gd name="connsiteX10" fmla="*/ 87943 w 88649"/>
                  <a:gd name="connsiteY10" fmla="*/ 12720 h 62934"/>
                  <a:gd name="connsiteX11" fmla="*/ 88571 w 88649"/>
                  <a:gd name="connsiteY11" fmla="*/ 18997 h 62934"/>
                  <a:gd name="connsiteX12" fmla="*/ 88571 w 88649"/>
                  <a:gd name="connsiteY12" fmla="*/ 25901 h 62934"/>
                  <a:gd name="connsiteX13" fmla="*/ 79783 w 88649"/>
                  <a:gd name="connsiteY13" fmla="*/ 49753 h 62934"/>
                  <a:gd name="connsiteX14" fmla="*/ 50910 w 88649"/>
                  <a:gd name="connsiteY14" fmla="*/ 62934 h 62934"/>
                  <a:gd name="connsiteX15" fmla="*/ 38356 w 88649"/>
                  <a:gd name="connsiteY15" fmla="*/ 62934 h 62934"/>
                  <a:gd name="connsiteX16" fmla="*/ 38356 w 88649"/>
                  <a:gd name="connsiteY16" fmla="*/ 62934 h 62934"/>
                  <a:gd name="connsiteX17" fmla="*/ 16387 w 88649"/>
                  <a:gd name="connsiteY17" fmla="*/ 19624 h 62934"/>
                  <a:gd name="connsiteX18" fmla="*/ 16387 w 88649"/>
                  <a:gd name="connsiteY18" fmla="*/ 25273 h 62934"/>
                  <a:gd name="connsiteX19" fmla="*/ 21409 w 88649"/>
                  <a:gd name="connsiteY19" fmla="*/ 38454 h 62934"/>
                  <a:gd name="connsiteX20" fmla="*/ 38356 w 88649"/>
                  <a:gd name="connsiteY20" fmla="*/ 45359 h 62934"/>
                  <a:gd name="connsiteX21" fmla="*/ 50910 w 88649"/>
                  <a:gd name="connsiteY21" fmla="*/ 45359 h 62934"/>
                  <a:gd name="connsiteX22" fmla="*/ 67857 w 88649"/>
                  <a:gd name="connsiteY22" fmla="*/ 37827 h 62934"/>
                  <a:gd name="connsiteX23" fmla="*/ 72251 w 88649"/>
                  <a:gd name="connsiteY23" fmla="*/ 25901 h 62934"/>
                  <a:gd name="connsiteX24" fmla="*/ 72251 w 88649"/>
                  <a:gd name="connsiteY24" fmla="*/ 19624 h 62934"/>
                  <a:gd name="connsiteX25" fmla="*/ 16387 w 88649"/>
                  <a:gd name="connsiteY25" fmla="*/ 19624 h 62934"/>
                  <a:gd name="connsiteX26" fmla="*/ 16387 w 88649"/>
                  <a:gd name="connsiteY26" fmla="*/ 19624 h 62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88649" h="62934">
                    <a:moveTo>
                      <a:pt x="38356" y="62934"/>
                    </a:moveTo>
                    <a:lnTo>
                      <a:pt x="38356" y="62934"/>
                    </a:lnTo>
                    <a:cubicBezTo>
                      <a:pt x="27058" y="62934"/>
                      <a:pt x="17015" y="58540"/>
                      <a:pt x="9483" y="50380"/>
                    </a:cubicBezTo>
                    <a:cubicBezTo>
                      <a:pt x="3206" y="43476"/>
                      <a:pt x="-560" y="34688"/>
                      <a:pt x="68" y="25273"/>
                    </a:cubicBezTo>
                    <a:lnTo>
                      <a:pt x="68" y="18369"/>
                    </a:lnTo>
                    <a:cubicBezTo>
                      <a:pt x="68" y="15858"/>
                      <a:pt x="696" y="13975"/>
                      <a:pt x="696" y="12092"/>
                    </a:cubicBezTo>
                    <a:lnTo>
                      <a:pt x="1323" y="7070"/>
                    </a:lnTo>
                    <a:lnTo>
                      <a:pt x="5717" y="5815"/>
                    </a:lnTo>
                    <a:cubicBezTo>
                      <a:pt x="30196" y="-2345"/>
                      <a:pt x="57187" y="-1717"/>
                      <a:pt x="82294" y="6443"/>
                    </a:cubicBezTo>
                    <a:lnTo>
                      <a:pt x="86688" y="7698"/>
                    </a:lnTo>
                    <a:lnTo>
                      <a:pt x="87943" y="12720"/>
                    </a:lnTo>
                    <a:cubicBezTo>
                      <a:pt x="88571" y="14603"/>
                      <a:pt x="88571" y="17113"/>
                      <a:pt x="88571" y="18997"/>
                    </a:cubicBezTo>
                    <a:lnTo>
                      <a:pt x="88571" y="25901"/>
                    </a:lnTo>
                    <a:cubicBezTo>
                      <a:pt x="89198" y="34061"/>
                      <a:pt x="86060" y="42848"/>
                      <a:pt x="79783" y="49753"/>
                    </a:cubicBezTo>
                    <a:cubicBezTo>
                      <a:pt x="72879" y="57912"/>
                      <a:pt x="62208" y="62306"/>
                      <a:pt x="50910" y="62934"/>
                    </a:cubicBezTo>
                    <a:lnTo>
                      <a:pt x="38356" y="62934"/>
                    </a:lnTo>
                    <a:lnTo>
                      <a:pt x="38356" y="62934"/>
                    </a:lnTo>
                    <a:close/>
                    <a:moveTo>
                      <a:pt x="16387" y="19624"/>
                    </a:moveTo>
                    <a:lnTo>
                      <a:pt x="16387" y="25273"/>
                    </a:lnTo>
                    <a:cubicBezTo>
                      <a:pt x="16387" y="30295"/>
                      <a:pt x="17643" y="34688"/>
                      <a:pt x="21409" y="38454"/>
                    </a:cubicBezTo>
                    <a:cubicBezTo>
                      <a:pt x="25803" y="42848"/>
                      <a:pt x="31452" y="45359"/>
                      <a:pt x="38356" y="45359"/>
                    </a:cubicBezTo>
                    <a:lnTo>
                      <a:pt x="50910" y="45359"/>
                    </a:lnTo>
                    <a:cubicBezTo>
                      <a:pt x="57187" y="45359"/>
                      <a:pt x="64091" y="42220"/>
                      <a:pt x="67857" y="37827"/>
                    </a:cubicBezTo>
                    <a:cubicBezTo>
                      <a:pt x="70996" y="34061"/>
                      <a:pt x="72879" y="30295"/>
                      <a:pt x="72251" y="25901"/>
                    </a:cubicBezTo>
                    <a:lnTo>
                      <a:pt x="72251" y="19624"/>
                    </a:lnTo>
                    <a:cubicBezTo>
                      <a:pt x="54048" y="15230"/>
                      <a:pt x="34590" y="14603"/>
                      <a:pt x="16387" y="19624"/>
                    </a:cubicBezTo>
                    <a:lnTo>
                      <a:pt x="16387" y="19624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03" name="Forma Livre: Forma 102">
                <a:extLst>
                  <a:ext uri="{FF2B5EF4-FFF2-40B4-BE49-F238E27FC236}">
                    <a16:creationId xmlns:a16="http://schemas.microsoft.com/office/drawing/2014/main" id="{41AE9398-4AFD-4DE6-98B8-C51C701EBBFF}"/>
                  </a:ext>
                </a:extLst>
              </p:cNvPr>
              <p:cNvSpPr/>
              <p:nvPr/>
            </p:nvSpPr>
            <p:spPr>
              <a:xfrm>
                <a:off x="6595363" y="3760371"/>
                <a:ext cx="32011" cy="16947"/>
              </a:xfrm>
              <a:custGeom>
                <a:avLst/>
                <a:gdLst>
                  <a:gd name="connsiteX0" fmla="*/ 32012 w 32011"/>
                  <a:gd name="connsiteY0" fmla="*/ 16947 h 16947"/>
                  <a:gd name="connsiteX1" fmla="*/ 0 w 32011"/>
                  <a:gd name="connsiteY1" fmla="*/ 16947 h 16947"/>
                  <a:gd name="connsiteX2" fmla="*/ 0 w 32011"/>
                  <a:gd name="connsiteY2" fmla="*/ 0 h 16947"/>
                  <a:gd name="connsiteX3" fmla="*/ 32012 w 32011"/>
                  <a:gd name="connsiteY3" fmla="*/ 0 h 16947"/>
                  <a:gd name="connsiteX4" fmla="*/ 32012 w 32011"/>
                  <a:gd name="connsiteY4" fmla="*/ 16947 h 169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011" h="16947">
                    <a:moveTo>
                      <a:pt x="32012" y="16947"/>
                    </a:moveTo>
                    <a:lnTo>
                      <a:pt x="0" y="16947"/>
                    </a:lnTo>
                    <a:lnTo>
                      <a:pt x="0" y="0"/>
                    </a:lnTo>
                    <a:lnTo>
                      <a:pt x="32012" y="0"/>
                    </a:lnTo>
                    <a:lnTo>
                      <a:pt x="32012" y="16947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104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10507685" y="3616005"/>
            <a:ext cx="393240" cy="394182"/>
            <a:chOff x="10507685" y="3616005"/>
            <a:chExt cx="393240" cy="394182"/>
          </a:xfrm>
          <a:solidFill>
            <a:srgbClr val="B1B1A1"/>
          </a:solidFill>
        </p:grpSpPr>
        <p:sp>
          <p:nvSpPr>
            <p:cNvPr id="105" name="Forma Livre: Forma 104">
              <a:extLst>
                <a:ext uri="{FF2B5EF4-FFF2-40B4-BE49-F238E27FC236}">
                  <a16:creationId xmlns:a16="http://schemas.microsoft.com/office/drawing/2014/main" id="{FFB1733A-CAA9-48AC-8AD8-D0690DC5E8B2}"/>
                </a:ext>
              </a:extLst>
            </p:cNvPr>
            <p:cNvSpPr/>
            <p:nvPr/>
          </p:nvSpPr>
          <p:spPr>
            <a:xfrm>
              <a:off x="10507685" y="3616005"/>
              <a:ext cx="393240" cy="394182"/>
            </a:xfrm>
            <a:custGeom>
              <a:avLst/>
              <a:gdLst>
                <a:gd name="connsiteX0" fmla="*/ 196463 w 393240"/>
                <a:gd name="connsiteY0" fmla="*/ 394182 h 394182"/>
                <a:gd name="connsiteX1" fmla="*/ 57746 w 393240"/>
                <a:gd name="connsiteY1" fmla="*/ 336436 h 394182"/>
                <a:gd name="connsiteX2" fmla="*/ 0 w 393240"/>
                <a:gd name="connsiteY2" fmla="*/ 197091 h 394182"/>
                <a:gd name="connsiteX3" fmla="*/ 57746 w 393240"/>
                <a:gd name="connsiteY3" fmla="*/ 57747 h 394182"/>
                <a:gd name="connsiteX4" fmla="*/ 196463 w 393240"/>
                <a:gd name="connsiteY4" fmla="*/ 0 h 394182"/>
                <a:gd name="connsiteX5" fmla="*/ 335808 w 393240"/>
                <a:gd name="connsiteY5" fmla="*/ 57747 h 394182"/>
                <a:gd name="connsiteX6" fmla="*/ 335808 w 393240"/>
                <a:gd name="connsiteY6" fmla="*/ 335808 h 394182"/>
                <a:gd name="connsiteX7" fmla="*/ 196463 w 393240"/>
                <a:gd name="connsiteY7" fmla="*/ 394182 h 394182"/>
                <a:gd name="connsiteX8" fmla="*/ 196463 w 393240"/>
                <a:gd name="connsiteY8" fmla="*/ 394182 h 394182"/>
                <a:gd name="connsiteX9" fmla="*/ 196463 w 393240"/>
                <a:gd name="connsiteY9" fmla="*/ 33895 h 394182"/>
                <a:gd name="connsiteX10" fmla="*/ 80971 w 393240"/>
                <a:gd name="connsiteY10" fmla="*/ 81598 h 394182"/>
                <a:gd name="connsiteX11" fmla="*/ 33267 w 393240"/>
                <a:gd name="connsiteY11" fmla="*/ 197091 h 394182"/>
                <a:gd name="connsiteX12" fmla="*/ 80971 w 393240"/>
                <a:gd name="connsiteY12" fmla="*/ 312584 h 394182"/>
                <a:gd name="connsiteX13" fmla="*/ 196463 w 393240"/>
                <a:gd name="connsiteY13" fmla="*/ 360288 h 394182"/>
                <a:gd name="connsiteX14" fmla="*/ 311956 w 393240"/>
                <a:gd name="connsiteY14" fmla="*/ 312584 h 394182"/>
                <a:gd name="connsiteX15" fmla="*/ 311956 w 393240"/>
                <a:gd name="connsiteY15" fmla="*/ 81598 h 394182"/>
                <a:gd name="connsiteX16" fmla="*/ 196463 w 393240"/>
                <a:gd name="connsiteY16" fmla="*/ 33895 h 394182"/>
                <a:gd name="connsiteX17" fmla="*/ 196463 w 393240"/>
                <a:gd name="connsiteY17" fmla="*/ 33895 h 394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93240" h="394182">
                  <a:moveTo>
                    <a:pt x="196463" y="394182"/>
                  </a:moveTo>
                  <a:cubicBezTo>
                    <a:pt x="143739" y="394182"/>
                    <a:pt x="94779" y="373469"/>
                    <a:pt x="57746" y="336436"/>
                  </a:cubicBezTo>
                  <a:cubicBezTo>
                    <a:pt x="20713" y="299403"/>
                    <a:pt x="0" y="249816"/>
                    <a:pt x="0" y="197091"/>
                  </a:cubicBezTo>
                  <a:cubicBezTo>
                    <a:pt x="0" y="144366"/>
                    <a:pt x="20713" y="95407"/>
                    <a:pt x="57746" y="57747"/>
                  </a:cubicBezTo>
                  <a:cubicBezTo>
                    <a:pt x="94779" y="20086"/>
                    <a:pt x="144366" y="0"/>
                    <a:pt x="196463" y="0"/>
                  </a:cubicBezTo>
                  <a:cubicBezTo>
                    <a:pt x="249188" y="0"/>
                    <a:pt x="298147" y="20714"/>
                    <a:pt x="335808" y="57747"/>
                  </a:cubicBezTo>
                  <a:cubicBezTo>
                    <a:pt x="412385" y="134323"/>
                    <a:pt x="412385" y="259231"/>
                    <a:pt x="335808" y="335808"/>
                  </a:cubicBezTo>
                  <a:cubicBezTo>
                    <a:pt x="298147" y="373469"/>
                    <a:pt x="248561" y="394182"/>
                    <a:pt x="196463" y="394182"/>
                  </a:cubicBezTo>
                  <a:lnTo>
                    <a:pt x="196463" y="394182"/>
                  </a:lnTo>
                  <a:close/>
                  <a:moveTo>
                    <a:pt x="196463" y="33895"/>
                  </a:moveTo>
                  <a:cubicBezTo>
                    <a:pt x="153154" y="33895"/>
                    <a:pt x="111726" y="50842"/>
                    <a:pt x="80971" y="81598"/>
                  </a:cubicBezTo>
                  <a:cubicBezTo>
                    <a:pt x="50214" y="112354"/>
                    <a:pt x="33267" y="153154"/>
                    <a:pt x="33267" y="197091"/>
                  </a:cubicBezTo>
                  <a:cubicBezTo>
                    <a:pt x="33267" y="240401"/>
                    <a:pt x="50214" y="281828"/>
                    <a:pt x="80971" y="312584"/>
                  </a:cubicBezTo>
                  <a:cubicBezTo>
                    <a:pt x="111726" y="343340"/>
                    <a:pt x="152525" y="360288"/>
                    <a:pt x="196463" y="360288"/>
                  </a:cubicBezTo>
                  <a:cubicBezTo>
                    <a:pt x="240400" y="360288"/>
                    <a:pt x="281200" y="343340"/>
                    <a:pt x="311956" y="312584"/>
                  </a:cubicBezTo>
                  <a:cubicBezTo>
                    <a:pt x="375351" y="249188"/>
                    <a:pt x="375351" y="145621"/>
                    <a:pt x="311956" y="81598"/>
                  </a:cubicBezTo>
                  <a:cubicBezTo>
                    <a:pt x="281200" y="50842"/>
                    <a:pt x="239773" y="33895"/>
                    <a:pt x="196463" y="33895"/>
                  </a:cubicBezTo>
                  <a:lnTo>
                    <a:pt x="196463" y="33895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06" name="Forma Livre: Forma 105">
              <a:extLst>
                <a:ext uri="{FF2B5EF4-FFF2-40B4-BE49-F238E27FC236}">
                  <a16:creationId xmlns:a16="http://schemas.microsoft.com/office/drawing/2014/main" id="{E333A597-5BDB-47B4-BC4B-B3EAFDCF4132}"/>
                </a:ext>
              </a:extLst>
            </p:cNvPr>
            <p:cNvSpPr/>
            <p:nvPr/>
          </p:nvSpPr>
          <p:spPr>
            <a:xfrm>
              <a:off x="10582379" y="3804936"/>
              <a:ext cx="242289" cy="129929"/>
            </a:xfrm>
            <a:custGeom>
              <a:avLst/>
              <a:gdLst>
                <a:gd name="connsiteX0" fmla="*/ 121769 w 242289"/>
                <a:gd name="connsiteY0" fmla="*/ 129930 h 129929"/>
                <a:gd name="connsiteX1" fmla="*/ 35777 w 242289"/>
                <a:gd name="connsiteY1" fmla="*/ 94152 h 129929"/>
                <a:gd name="connsiteX2" fmla="*/ 0 w 242289"/>
                <a:gd name="connsiteY2" fmla="*/ 8160 h 129929"/>
                <a:gd name="connsiteX3" fmla="*/ 8159 w 242289"/>
                <a:gd name="connsiteY3" fmla="*/ 0 h 129929"/>
                <a:gd name="connsiteX4" fmla="*/ 8159 w 242289"/>
                <a:gd name="connsiteY4" fmla="*/ 0 h 129929"/>
                <a:gd name="connsiteX5" fmla="*/ 16319 w 242289"/>
                <a:gd name="connsiteY5" fmla="*/ 8160 h 129929"/>
                <a:gd name="connsiteX6" fmla="*/ 47076 w 242289"/>
                <a:gd name="connsiteY6" fmla="*/ 82226 h 129929"/>
                <a:gd name="connsiteX7" fmla="*/ 121142 w 242289"/>
                <a:gd name="connsiteY7" fmla="*/ 112982 h 129929"/>
                <a:gd name="connsiteX8" fmla="*/ 225964 w 242289"/>
                <a:gd name="connsiteY8" fmla="*/ 8160 h 129929"/>
                <a:gd name="connsiteX9" fmla="*/ 234124 w 242289"/>
                <a:gd name="connsiteY9" fmla="*/ 0 h 129929"/>
                <a:gd name="connsiteX10" fmla="*/ 242284 w 242289"/>
                <a:gd name="connsiteY10" fmla="*/ 8160 h 129929"/>
                <a:gd name="connsiteX11" fmla="*/ 121769 w 242289"/>
                <a:gd name="connsiteY11" fmla="*/ 129930 h 129929"/>
                <a:gd name="connsiteX12" fmla="*/ 121769 w 242289"/>
                <a:gd name="connsiteY12" fmla="*/ 129930 h 129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2289" h="129929">
                  <a:moveTo>
                    <a:pt x="121769" y="129930"/>
                  </a:moveTo>
                  <a:cubicBezTo>
                    <a:pt x="89130" y="129930"/>
                    <a:pt x="59001" y="117376"/>
                    <a:pt x="35777" y="94152"/>
                  </a:cubicBezTo>
                  <a:cubicBezTo>
                    <a:pt x="12554" y="70928"/>
                    <a:pt x="0" y="40799"/>
                    <a:pt x="0" y="8160"/>
                  </a:cubicBezTo>
                  <a:cubicBezTo>
                    <a:pt x="0" y="3766"/>
                    <a:pt x="3766" y="0"/>
                    <a:pt x="8159" y="0"/>
                  </a:cubicBezTo>
                  <a:lnTo>
                    <a:pt x="8159" y="0"/>
                  </a:lnTo>
                  <a:cubicBezTo>
                    <a:pt x="12554" y="0"/>
                    <a:pt x="16319" y="3766"/>
                    <a:pt x="16319" y="8160"/>
                  </a:cubicBezTo>
                  <a:cubicBezTo>
                    <a:pt x="16319" y="36405"/>
                    <a:pt x="26990" y="62768"/>
                    <a:pt x="47076" y="82226"/>
                  </a:cubicBezTo>
                  <a:cubicBezTo>
                    <a:pt x="67161" y="102312"/>
                    <a:pt x="93524" y="112982"/>
                    <a:pt x="121142" y="112982"/>
                  </a:cubicBezTo>
                  <a:cubicBezTo>
                    <a:pt x="178888" y="112982"/>
                    <a:pt x="225964" y="65906"/>
                    <a:pt x="225964" y="8160"/>
                  </a:cubicBezTo>
                  <a:cubicBezTo>
                    <a:pt x="225964" y="3766"/>
                    <a:pt x="229730" y="0"/>
                    <a:pt x="234124" y="0"/>
                  </a:cubicBezTo>
                  <a:cubicBezTo>
                    <a:pt x="238518" y="0"/>
                    <a:pt x="242284" y="3766"/>
                    <a:pt x="242284" y="8160"/>
                  </a:cubicBezTo>
                  <a:cubicBezTo>
                    <a:pt x="242911" y="75321"/>
                    <a:pt x="188931" y="129930"/>
                    <a:pt x="121769" y="129930"/>
                  </a:cubicBezTo>
                  <a:lnTo>
                    <a:pt x="121769" y="129930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107" name="Gráfico 2">
              <a:extLst>
                <a:ext uri="{FF2B5EF4-FFF2-40B4-BE49-F238E27FC236}">
                  <a16:creationId xmlns:a16="http://schemas.microsoft.com/office/drawing/2014/main" id="{83F95F55-5D1D-4425-8D77-756B15108235}"/>
                </a:ext>
              </a:extLst>
            </p:cNvPr>
            <p:cNvGrpSpPr/>
            <p:nvPr/>
          </p:nvGrpSpPr>
          <p:grpSpPr>
            <a:xfrm>
              <a:off x="10621922" y="3765392"/>
              <a:ext cx="164452" cy="50214"/>
              <a:chOff x="10621922" y="3765392"/>
              <a:chExt cx="164452" cy="50214"/>
            </a:xfrm>
            <a:grpFill/>
          </p:grpSpPr>
          <p:sp>
            <p:nvSpPr>
              <p:cNvPr id="108" name="Forma Livre: Forma 107">
                <a:extLst>
                  <a:ext uri="{FF2B5EF4-FFF2-40B4-BE49-F238E27FC236}">
                    <a16:creationId xmlns:a16="http://schemas.microsoft.com/office/drawing/2014/main" id="{5230EC49-FA99-4ACF-BE76-21FB4AA2B52B}"/>
                  </a:ext>
                </a:extLst>
              </p:cNvPr>
              <p:cNvSpPr/>
              <p:nvPr/>
            </p:nvSpPr>
            <p:spPr>
              <a:xfrm>
                <a:off x="10621922" y="3765392"/>
                <a:ext cx="50214" cy="50214"/>
              </a:xfrm>
              <a:custGeom>
                <a:avLst/>
                <a:gdLst>
                  <a:gd name="connsiteX0" fmla="*/ 25107 w 50214"/>
                  <a:gd name="connsiteY0" fmla="*/ 0 h 50214"/>
                  <a:gd name="connsiteX1" fmla="*/ 0 w 50214"/>
                  <a:gd name="connsiteY1" fmla="*/ 25107 h 50214"/>
                  <a:gd name="connsiteX2" fmla="*/ 25107 w 50214"/>
                  <a:gd name="connsiteY2" fmla="*/ 50214 h 50214"/>
                  <a:gd name="connsiteX3" fmla="*/ 50214 w 50214"/>
                  <a:gd name="connsiteY3" fmla="*/ 25107 h 50214"/>
                  <a:gd name="connsiteX4" fmla="*/ 25107 w 50214"/>
                  <a:gd name="connsiteY4" fmla="*/ 0 h 50214"/>
                  <a:gd name="connsiteX5" fmla="*/ 25107 w 50214"/>
                  <a:gd name="connsiteY5" fmla="*/ 0 h 502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214" h="50214">
                    <a:moveTo>
                      <a:pt x="25107" y="0"/>
                    </a:moveTo>
                    <a:cubicBezTo>
                      <a:pt x="11299" y="0"/>
                      <a:pt x="0" y="11298"/>
                      <a:pt x="0" y="25107"/>
                    </a:cubicBezTo>
                    <a:cubicBezTo>
                      <a:pt x="0" y="38916"/>
                      <a:pt x="11299" y="50214"/>
                      <a:pt x="25107" y="50214"/>
                    </a:cubicBezTo>
                    <a:cubicBezTo>
                      <a:pt x="38917" y="50214"/>
                      <a:pt x="50214" y="38916"/>
                      <a:pt x="50214" y="25107"/>
                    </a:cubicBezTo>
                    <a:cubicBezTo>
                      <a:pt x="50214" y="11298"/>
                      <a:pt x="38917" y="0"/>
                      <a:pt x="25107" y="0"/>
                    </a:cubicBezTo>
                    <a:lnTo>
                      <a:pt x="25107" y="0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09" name="Forma Livre: Forma 108">
                <a:extLst>
                  <a:ext uri="{FF2B5EF4-FFF2-40B4-BE49-F238E27FC236}">
                    <a16:creationId xmlns:a16="http://schemas.microsoft.com/office/drawing/2014/main" id="{B1CEF32F-448D-4C7C-979D-4A931837583E}"/>
                  </a:ext>
                </a:extLst>
              </p:cNvPr>
              <p:cNvSpPr/>
              <p:nvPr/>
            </p:nvSpPr>
            <p:spPr>
              <a:xfrm>
                <a:off x="10736160" y="3765392"/>
                <a:ext cx="50214" cy="50214"/>
              </a:xfrm>
              <a:custGeom>
                <a:avLst/>
                <a:gdLst>
                  <a:gd name="connsiteX0" fmla="*/ 25107 w 50214"/>
                  <a:gd name="connsiteY0" fmla="*/ 0 h 50214"/>
                  <a:gd name="connsiteX1" fmla="*/ 0 w 50214"/>
                  <a:gd name="connsiteY1" fmla="*/ 25107 h 50214"/>
                  <a:gd name="connsiteX2" fmla="*/ 25107 w 50214"/>
                  <a:gd name="connsiteY2" fmla="*/ 50214 h 50214"/>
                  <a:gd name="connsiteX3" fmla="*/ 50214 w 50214"/>
                  <a:gd name="connsiteY3" fmla="*/ 25107 h 50214"/>
                  <a:gd name="connsiteX4" fmla="*/ 25107 w 50214"/>
                  <a:gd name="connsiteY4" fmla="*/ 0 h 50214"/>
                  <a:gd name="connsiteX5" fmla="*/ 25107 w 50214"/>
                  <a:gd name="connsiteY5" fmla="*/ 0 h 502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214" h="50214">
                    <a:moveTo>
                      <a:pt x="25107" y="0"/>
                    </a:moveTo>
                    <a:cubicBezTo>
                      <a:pt x="11298" y="0"/>
                      <a:pt x="0" y="11298"/>
                      <a:pt x="0" y="25107"/>
                    </a:cubicBezTo>
                    <a:cubicBezTo>
                      <a:pt x="0" y="38916"/>
                      <a:pt x="11298" y="50214"/>
                      <a:pt x="25107" y="50214"/>
                    </a:cubicBezTo>
                    <a:cubicBezTo>
                      <a:pt x="38916" y="50214"/>
                      <a:pt x="50214" y="38916"/>
                      <a:pt x="50214" y="25107"/>
                    </a:cubicBezTo>
                    <a:cubicBezTo>
                      <a:pt x="50214" y="11298"/>
                      <a:pt x="38916" y="0"/>
                      <a:pt x="25107" y="0"/>
                    </a:cubicBezTo>
                    <a:lnTo>
                      <a:pt x="25107" y="0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110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7435198" y="3614749"/>
            <a:ext cx="396065" cy="396692"/>
            <a:chOff x="7435198" y="3614749"/>
            <a:chExt cx="396065" cy="396692"/>
          </a:xfrm>
          <a:solidFill>
            <a:srgbClr val="B1B1A1"/>
          </a:solidFill>
        </p:grpSpPr>
        <p:sp>
          <p:nvSpPr>
            <p:cNvPr id="111" name="Forma Livre: Forma 110">
              <a:extLst>
                <a:ext uri="{FF2B5EF4-FFF2-40B4-BE49-F238E27FC236}">
                  <a16:creationId xmlns:a16="http://schemas.microsoft.com/office/drawing/2014/main" id="{87F00F50-FEFC-4566-89E9-BE1B97D7B8F7}"/>
                </a:ext>
              </a:extLst>
            </p:cNvPr>
            <p:cNvSpPr/>
            <p:nvPr/>
          </p:nvSpPr>
          <p:spPr>
            <a:xfrm>
              <a:off x="7435198" y="3678772"/>
              <a:ext cx="332669" cy="332669"/>
            </a:xfrm>
            <a:custGeom>
              <a:avLst/>
              <a:gdLst>
                <a:gd name="connsiteX0" fmla="*/ 166335 w 332669"/>
                <a:gd name="connsiteY0" fmla="*/ 332670 h 332669"/>
                <a:gd name="connsiteX1" fmla="*/ 48959 w 332669"/>
                <a:gd name="connsiteY1" fmla="*/ 283711 h 332669"/>
                <a:gd name="connsiteX2" fmla="*/ 0 w 332669"/>
                <a:gd name="connsiteY2" fmla="*/ 166335 h 332669"/>
                <a:gd name="connsiteX3" fmla="*/ 48959 w 332669"/>
                <a:gd name="connsiteY3" fmla="*/ 48959 h 332669"/>
                <a:gd name="connsiteX4" fmla="*/ 166335 w 332669"/>
                <a:gd name="connsiteY4" fmla="*/ 0 h 332669"/>
                <a:gd name="connsiteX5" fmla="*/ 283710 w 332669"/>
                <a:gd name="connsiteY5" fmla="*/ 48959 h 332669"/>
                <a:gd name="connsiteX6" fmla="*/ 332670 w 332669"/>
                <a:gd name="connsiteY6" fmla="*/ 166335 h 332669"/>
                <a:gd name="connsiteX7" fmla="*/ 283710 w 332669"/>
                <a:gd name="connsiteY7" fmla="*/ 283711 h 332669"/>
                <a:gd name="connsiteX8" fmla="*/ 166335 w 332669"/>
                <a:gd name="connsiteY8" fmla="*/ 332670 h 332669"/>
                <a:gd name="connsiteX9" fmla="*/ 166335 w 332669"/>
                <a:gd name="connsiteY9" fmla="*/ 332670 h 332669"/>
                <a:gd name="connsiteX10" fmla="*/ 166335 w 332669"/>
                <a:gd name="connsiteY10" fmla="*/ 33267 h 332669"/>
                <a:gd name="connsiteX11" fmla="*/ 72183 w 332669"/>
                <a:gd name="connsiteY11" fmla="*/ 72183 h 332669"/>
                <a:gd name="connsiteX12" fmla="*/ 33267 w 332669"/>
                <a:gd name="connsiteY12" fmla="*/ 166335 h 332669"/>
                <a:gd name="connsiteX13" fmla="*/ 72183 w 332669"/>
                <a:gd name="connsiteY13" fmla="*/ 260487 h 332669"/>
                <a:gd name="connsiteX14" fmla="*/ 166335 w 332669"/>
                <a:gd name="connsiteY14" fmla="*/ 299403 h 332669"/>
                <a:gd name="connsiteX15" fmla="*/ 260487 w 332669"/>
                <a:gd name="connsiteY15" fmla="*/ 260487 h 332669"/>
                <a:gd name="connsiteX16" fmla="*/ 299402 w 332669"/>
                <a:gd name="connsiteY16" fmla="*/ 166335 h 332669"/>
                <a:gd name="connsiteX17" fmla="*/ 260487 w 332669"/>
                <a:gd name="connsiteY17" fmla="*/ 72183 h 332669"/>
                <a:gd name="connsiteX18" fmla="*/ 166335 w 332669"/>
                <a:gd name="connsiteY18" fmla="*/ 33267 h 332669"/>
                <a:gd name="connsiteX19" fmla="*/ 166335 w 332669"/>
                <a:gd name="connsiteY19" fmla="*/ 33267 h 332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2669" h="332669">
                  <a:moveTo>
                    <a:pt x="166335" y="332670"/>
                  </a:moveTo>
                  <a:cubicBezTo>
                    <a:pt x="121769" y="332670"/>
                    <a:pt x="80343" y="315095"/>
                    <a:pt x="48959" y="283711"/>
                  </a:cubicBezTo>
                  <a:cubicBezTo>
                    <a:pt x="17575" y="252327"/>
                    <a:pt x="0" y="210273"/>
                    <a:pt x="0" y="166335"/>
                  </a:cubicBezTo>
                  <a:cubicBezTo>
                    <a:pt x="0" y="121770"/>
                    <a:pt x="17575" y="80343"/>
                    <a:pt x="48959" y="48959"/>
                  </a:cubicBezTo>
                  <a:cubicBezTo>
                    <a:pt x="80343" y="17575"/>
                    <a:pt x="122397" y="0"/>
                    <a:pt x="166335" y="0"/>
                  </a:cubicBezTo>
                  <a:cubicBezTo>
                    <a:pt x="210900" y="0"/>
                    <a:pt x="252327" y="17575"/>
                    <a:pt x="283710" y="48959"/>
                  </a:cubicBezTo>
                  <a:cubicBezTo>
                    <a:pt x="315094" y="80343"/>
                    <a:pt x="332670" y="122398"/>
                    <a:pt x="332670" y="166335"/>
                  </a:cubicBezTo>
                  <a:cubicBezTo>
                    <a:pt x="332670" y="210900"/>
                    <a:pt x="315094" y="252327"/>
                    <a:pt x="283710" y="283711"/>
                  </a:cubicBezTo>
                  <a:cubicBezTo>
                    <a:pt x="252327" y="315095"/>
                    <a:pt x="210272" y="332670"/>
                    <a:pt x="166335" y="332670"/>
                  </a:cubicBezTo>
                  <a:lnTo>
                    <a:pt x="166335" y="332670"/>
                  </a:lnTo>
                  <a:close/>
                  <a:moveTo>
                    <a:pt x="166335" y="33267"/>
                  </a:moveTo>
                  <a:cubicBezTo>
                    <a:pt x="130557" y="33267"/>
                    <a:pt x="97290" y="47076"/>
                    <a:pt x="72183" y="72183"/>
                  </a:cubicBezTo>
                  <a:cubicBezTo>
                    <a:pt x="47076" y="97290"/>
                    <a:pt x="33267" y="130557"/>
                    <a:pt x="33267" y="166335"/>
                  </a:cubicBezTo>
                  <a:cubicBezTo>
                    <a:pt x="33267" y="202112"/>
                    <a:pt x="47076" y="235380"/>
                    <a:pt x="72183" y="260487"/>
                  </a:cubicBezTo>
                  <a:cubicBezTo>
                    <a:pt x="97290" y="285594"/>
                    <a:pt x="130557" y="299403"/>
                    <a:pt x="166335" y="299403"/>
                  </a:cubicBezTo>
                  <a:cubicBezTo>
                    <a:pt x="202112" y="299403"/>
                    <a:pt x="235380" y="285594"/>
                    <a:pt x="260487" y="260487"/>
                  </a:cubicBezTo>
                  <a:cubicBezTo>
                    <a:pt x="285594" y="235380"/>
                    <a:pt x="299402" y="202112"/>
                    <a:pt x="299402" y="166335"/>
                  </a:cubicBezTo>
                  <a:cubicBezTo>
                    <a:pt x="299402" y="130557"/>
                    <a:pt x="285594" y="97290"/>
                    <a:pt x="260487" y="72183"/>
                  </a:cubicBezTo>
                  <a:cubicBezTo>
                    <a:pt x="234752" y="47076"/>
                    <a:pt x="201485" y="33267"/>
                    <a:pt x="166335" y="33267"/>
                  </a:cubicBezTo>
                  <a:lnTo>
                    <a:pt x="166335" y="33267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12" name="Forma Livre: Forma 111">
              <a:extLst>
                <a:ext uri="{FF2B5EF4-FFF2-40B4-BE49-F238E27FC236}">
                  <a16:creationId xmlns:a16="http://schemas.microsoft.com/office/drawing/2014/main" id="{507AB443-636D-49AB-B6CB-952BB14D50FF}"/>
                </a:ext>
              </a:extLst>
            </p:cNvPr>
            <p:cNvSpPr/>
            <p:nvPr/>
          </p:nvSpPr>
          <p:spPr>
            <a:xfrm>
              <a:off x="7692232" y="3617574"/>
              <a:ext cx="136206" cy="136520"/>
            </a:xfrm>
            <a:custGeom>
              <a:avLst/>
              <a:gdLst>
                <a:gd name="connsiteX0" fmla="*/ 16634 w 136206"/>
                <a:gd name="connsiteY0" fmla="*/ 136520 h 136520"/>
                <a:gd name="connsiteX1" fmla="*/ 4708 w 136206"/>
                <a:gd name="connsiteY1" fmla="*/ 131499 h 136520"/>
                <a:gd name="connsiteX2" fmla="*/ 4708 w 136206"/>
                <a:gd name="connsiteY2" fmla="*/ 107647 h 136520"/>
                <a:gd name="connsiteX3" fmla="*/ 107647 w 136206"/>
                <a:gd name="connsiteY3" fmla="*/ 4708 h 136520"/>
                <a:gd name="connsiteX4" fmla="*/ 131499 w 136206"/>
                <a:gd name="connsiteY4" fmla="*/ 4708 h 136520"/>
                <a:gd name="connsiteX5" fmla="*/ 131499 w 136206"/>
                <a:gd name="connsiteY5" fmla="*/ 28559 h 136520"/>
                <a:gd name="connsiteX6" fmla="*/ 28560 w 136206"/>
                <a:gd name="connsiteY6" fmla="*/ 131499 h 136520"/>
                <a:gd name="connsiteX7" fmla="*/ 16634 w 136206"/>
                <a:gd name="connsiteY7" fmla="*/ 136520 h 136520"/>
                <a:gd name="connsiteX8" fmla="*/ 16634 w 136206"/>
                <a:gd name="connsiteY8" fmla="*/ 136520 h 136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6206" h="136520">
                  <a:moveTo>
                    <a:pt x="16634" y="136520"/>
                  </a:moveTo>
                  <a:cubicBezTo>
                    <a:pt x="12240" y="136520"/>
                    <a:pt x="7846" y="134637"/>
                    <a:pt x="4708" y="131499"/>
                  </a:cubicBezTo>
                  <a:cubicBezTo>
                    <a:pt x="-1569" y="125222"/>
                    <a:pt x="-1569" y="114552"/>
                    <a:pt x="4708" y="107647"/>
                  </a:cubicBezTo>
                  <a:lnTo>
                    <a:pt x="107647" y="4708"/>
                  </a:lnTo>
                  <a:cubicBezTo>
                    <a:pt x="113924" y="-1569"/>
                    <a:pt x="124594" y="-1569"/>
                    <a:pt x="131499" y="4708"/>
                  </a:cubicBezTo>
                  <a:cubicBezTo>
                    <a:pt x="137776" y="10984"/>
                    <a:pt x="137776" y="21655"/>
                    <a:pt x="131499" y="28559"/>
                  </a:cubicBezTo>
                  <a:lnTo>
                    <a:pt x="28560" y="131499"/>
                  </a:lnTo>
                  <a:cubicBezTo>
                    <a:pt x="25421" y="135265"/>
                    <a:pt x="21027" y="136520"/>
                    <a:pt x="16634" y="136520"/>
                  </a:cubicBezTo>
                  <a:lnTo>
                    <a:pt x="16634" y="136520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13" name="Forma Livre: Forma 112">
              <a:extLst>
                <a:ext uri="{FF2B5EF4-FFF2-40B4-BE49-F238E27FC236}">
                  <a16:creationId xmlns:a16="http://schemas.microsoft.com/office/drawing/2014/main" id="{42EF47A1-B7A1-4A0B-AF03-FC33F0BB2F14}"/>
                </a:ext>
              </a:extLst>
            </p:cNvPr>
            <p:cNvSpPr/>
            <p:nvPr/>
          </p:nvSpPr>
          <p:spPr>
            <a:xfrm>
              <a:off x="7676854" y="3614749"/>
              <a:ext cx="154408" cy="154408"/>
            </a:xfrm>
            <a:custGeom>
              <a:avLst/>
              <a:gdLst>
                <a:gd name="connsiteX0" fmla="*/ 137462 w 154408"/>
                <a:gd name="connsiteY0" fmla="*/ 154409 h 154408"/>
                <a:gd name="connsiteX1" fmla="*/ 120514 w 154408"/>
                <a:gd name="connsiteY1" fmla="*/ 137461 h 154408"/>
                <a:gd name="connsiteX2" fmla="*/ 120514 w 154408"/>
                <a:gd name="connsiteY2" fmla="*/ 33895 h 154408"/>
                <a:gd name="connsiteX3" fmla="*/ 16947 w 154408"/>
                <a:gd name="connsiteY3" fmla="*/ 33895 h 154408"/>
                <a:gd name="connsiteX4" fmla="*/ 0 w 154408"/>
                <a:gd name="connsiteY4" fmla="*/ 16947 h 154408"/>
                <a:gd name="connsiteX5" fmla="*/ 16947 w 154408"/>
                <a:gd name="connsiteY5" fmla="*/ 0 h 154408"/>
                <a:gd name="connsiteX6" fmla="*/ 137462 w 154408"/>
                <a:gd name="connsiteY6" fmla="*/ 0 h 154408"/>
                <a:gd name="connsiteX7" fmla="*/ 154409 w 154408"/>
                <a:gd name="connsiteY7" fmla="*/ 16947 h 154408"/>
                <a:gd name="connsiteX8" fmla="*/ 154409 w 154408"/>
                <a:gd name="connsiteY8" fmla="*/ 137461 h 154408"/>
                <a:gd name="connsiteX9" fmla="*/ 137462 w 154408"/>
                <a:gd name="connsiteY9" fmla="*/ 154409 h 154408"/>
                <a:gd name="connsiteX10" fmla="*/ 137462 w 154408"/>
                <a:gd name="connsiteY10" fmla="*/ 154409 h 154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4408" h="154408">
                  <a:moveTo>
                    <a:pt x="137462" y="154409"/>
                  </a:moveTo>
                  <a:cubicBezTo>
                    <a:pt x="128047" y="154409"/>
                    <a:pt x="120514" y="146877"/>
                    <a:pt x="120514" y="137461"/>
                  </a:cubicBezTo>
                  <a:lnTo>
                    <a:pt x="120514" y="33895"/>
                  </a:lnTo>
                  <a:lnTo>
                    <a:pt x="16947" y="33895"/>
                  </a:lnTo>
                  <a:cubicBezTo>
                    <a:pt x="7532" y="33895"/>
                    <a:pt x="0" y="26362"/>
                    <a:pt x="0" y="16947"/>
                  </a:cubicBezTo>
                  <a:cubicBezTo>
                    <a:pt x="0" y="7532"/>
                    <a:pt x="7532" y="0"/>
                    <a:pt x="16947" y="0"/>
                  </a:cubicBezTo>
                  <a:lnTo>
                    <a:pt x="137462" y="0"/>
                  </a:lnTo>
                  <a:cubicBezTo>
                    <a:pt x="146877" y="0"/>
                    <a:pt x="154409" y="7532"/>
                    <a:pt x="154409" y="16947"/>
                  </a:cubicBezTo>
                  <a:lnTo>
                    <a:pt x="154409" y="137461"/>
                  </a:lnTo>
                  <a:cubicBezTo>
                    <a:pt x="154409" y="146877"/>
                    <a:pt x="146877" y="154409"/>
                    <a:pt x="137462" y="154409"/>
                  </a:cubicBezTo>
                  <a:lnTo>
                    <a:pt x="137462" y="154409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14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8460510" y="3616632"/>
            <a:ext cx="393868" cy="393554"/>
            <a:chOff x="8460510" y="3616632"/>
            <a:chExt cx="393868" cy="393554"/>
          </a:xfrm>
          <a:solidFill>
            <a:srgbClr val="B1B1A1"/>
          </a:solidFill>
        </p:grpSpPr>
        <p:sp>
          <p:nvSpPr>
            <p:cNvPr id="115" name="Forma Livre: Forma 114">
              <a:extLst>
                <a:ext uri="{FF2B5EF4-FFF2-40B4-BE49-F238E27FC236}">
                  <a16:creationId xmlns:a16="http://schemas.microsoft.com/office/drawing/2014/main" id="{30055C6B-F5A6-4F20-8230-EEEC480C2E51}"/>
                </a:ext>
              </a:extLst>
            </p:cNvPr>
            <p:cNvSpPr/>
            <p:nvPr/>
          </p:nvSpPr>
          <p:spPr>
            <a:xfrm>
              <a:off x="8521709" y="3616632"/>
              <a:ext cx="332669" cy="332669"/>
            </a:xfrm>
            <a:custGeom>
              <a:avLst/>
              <a:gdLst>
                <a:gd name="connsiteX0" fmla="*/ 166335 w 332669"/>
                <a:gd name="connsiteY0" fmla="*/ 332670 h 332669"/>
                <a:gd name="connsiteX1" fmla="*/ 48959 w 332669"/>
                <a:gd name="connsiteY1" fmla="*/ 283711 h 332669"/>
                <a:gd name="connsiteX2" fmla="*/ 0 w 332669"/>
                <a:gd name="connsiteY2" fmla="*/ 166335 h 332669"/>
                <a:gd name="connsiteX3" fmla="*/ 48959 w 332669"/>
                <a:gd name="connsiteY3" fmla="*/ 48959 h 332669"/>
                <a:gd name="connsiteX4" fmla="*/ 166335 w 332669"/>
                <a:gd name="connsiteY4" fmla="*/ 0 h 332669"/>
                <a:gd name="connsiteX5" fmla="*/ 283710 w 332669"/>
                <a:gd name="connsiteY5" fmla="*/ 48959 h 332669"/>
                <a:gd name="connsiteX6" fmla="*/ 332670 w 332669"/>
                <a:gd name="connsiteY6" fmla="*/ 166335 h 332669"/>
                <a:gd name="connsiteX7" fmla="*/ 283710 w 332669"/>
                <a:gd name="connsiteY7" fmla="*/ 283711 h 332669"/>
                <a:gd name="connsiteX8" fmla="*/ 166335 w 332669"/>
                <a:gd name="connsiteY8" fmla="*/ 332670 h 332669"/>
                <a:gd name="connsiteX9" fmla="*/ 166335 w 332669"/>
                <a:gd name="connsiteY9" fmla="*/ 332670 h 332669"/>
                <a:gd name="connsiteX10" fmla="*/ 166335 w 332669"/>
                <a:gd name="connsiteY10" fmla="*/ 33267 h 332669"/>
                <a:gd name="connsiteX11" fmla="*/ 72183 w 332669"/>
                <a:gd name="connsiteY11" fmla="*/ 72183 h 332669"/>
                <a:gd name="connsiteX12" fmla="*/ 33267 w 332669"/>
                <a:gd name="connsiteY12" fmla="*/ 166335 h 332669"/>
                <a:gd name="connsiteX13" fmla="*/ 72183 w 332669"/>
                <a:gd name="connsiteY13" fmla="*/ 260487 h 332669"/>
                <a:gd name="connsiteX14" fmla="*/ 166335 w 332669"/>
                <a:gd name="connsiteY14" fmla="*/ 299403 h 332669"/>
                <a:gd name="connsiteX15" fmla="*/ 260487 w 332669"/>
                <a:gd name="connsiteY15" fmla="*/ 260487 h 332669"/>
                <a:gd name="connsiteX16" fmla="*/ 299402 w 332669"/>
                <a:gd name="connsiteY16" fmla="*/ 166335 h 332669"/>
                <a:gd name="connsiteX17" fmla="*/ 260487 w 332669"/>
                <a:gd name="connsiteY17" fmla="*/ 72183 h 332669"/>
                <a:gd name="connsiteX18" fmla="*/ 166335 w 332669"/>
                <a:gd name="connsiteY18" fmla="*/ 33267 h 332669"/>
                <a:gd name="connsiteX19" fmla="*/ 166335 w 332669"/>
                <a:gd name="connsiteY19" fmla="*/ 33267 h 332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2669" h="332669">
                  <a:moveTo>
                    <a:pt x="166335" y="332670"/>
                  </a:moveTo>
                  <a:cubicBezTo>
                    <a:pt x="121770" y="332670"/>
                    <a:pt x="80343" y="315095"/>
                    <a:pt x="48959" y="283711"/>
                  </a:cubicBezTo>
                  <a:cubicBezTo>
                    <a:pt x="17575" y="252327"/>
                    <a:pt x="0" y="210272"/>
                    <a:pt x="0" y="166335"/>
                  </a:cubicBezTo>
                  <a:cubicBezTo>
                    <a:pt x="0" y="121770"/>
                    <a:pt x="17575" y="80343"/>
                    <a:pt x="48959" y="48959"/>
                  </a:cubicBezTo>
                  <a:cubicBezTo>
                    <a:pt x="80343" y="17575"/>
                    <a:pt x="122397" y="0"/>
                    <a:pt x="166335" y="0"/>
                  </a:cubicBezTo>
                  <a:cubicBezTo>
                    <a:pt x="210900" y="0"/>
                    <a:pt x="252327" y="17575"/>
                    <a:pt x="283710" y="48959"/>
                  </a:cubicBezTo>
                  <a:cubicBezTo>
                    <a:pt x="315094" y="80343"/>
                    <a:pt x="332670" y="122397"/>
                    <a:pt x="332670" y="166335"/>
                  </a:cubicBezTo>
                  <a:cubicBezTo>
                    <a:pt x="332670" y="210900"/>
                    <a:pt x="315094" y="252327"/>
                    <a:pt x="283710" y="283711"/>
                  </a:cubicBezTo>
                  <a:cubicBezTo>
                    <a:pt x="252327" y="315095"/>
                    <a:pt x="210272" y="332670"/>
                    <a:pt x="166335" y="332670"/>
                  </a:cubicBezTo>
                  <a:lnTo>
                    <a:pt x="166335" y="332670"/>
                  </a:lnTo>
                  <a:close/>
                  <a:moveTo>
                    <a:pt x="166335" y="33267"/>
                  </a:moveTo>
                  <a:cubicBezTo>
                    <a:pt x="130557" y="33267"/>
                    <a:pt x="97290" y="47076"/>
                    <a:pt x="72183" y="72183"/>
                  </a:cubicBezTo>
                  <a:cubicBezTo>
                    <a:pt x="47076" y="97290"/>
                    <a:pt x="33267" y="130557"/>
                    <a:pt x="33267" y="166335"/>
                  </a:cubicBezTo>
                  <a:cubicBezTo>
                    <a:pt x="33267" y="202113"/>
                    <a:pt x="47076" y="235379"/>
                    <a:pt x="72183" y="260487"/>
                  </a:cubicBezTo>
                  <a:cubicBezTo>
                    <a:pt x="97290" y="285594"/>
                    <a:pt x="130557" y="299403"/>
                    <a:pt x="166335" y="299403"/>
                  </a:cubicBezTo>
                  <a:cubicBezTo>
                    <a:pt x="202112" y="299403"/>
                    <a:pt x="235380" y="285594"/>
                    <a:pt x="260487" y="260487"/>
                  </a:cubicBezTo>
                  <a:cubicBezTo>
                    <a:pt x="285594" y="235379"/>
                    <a:pt x="299402" y="202113"/>
                    <a:pt x="299402" y="166335"/>
                  </a:cubicBezTo>
                  <a:cubicBezTo>
                    <a:pt x="299402" y="130557"/>
                    <a:pt x="285594" y="97290"/>
                    <a:pt x="260487" y="72183"/>
                  </a:cubicBezTo>
                  <a:cubicBezTo>
                    <a:pt x="234752" y="47076"/>
                    <a:pt x="201485" y="33267"/>
                    <a:pt x="166335" y="33267"/>
                  </a:cubicBezTo>
                  <a:lnTo>
                    <a:pt x="166335" y="33267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16" name="Forma Livre: Forma 115">
              <a:extLst>
                <a:ext uri="{FF2B5EF4-FFF2-40B4-BE49-F238E27FC236}">
                  <a16:creationId xmlns:a16="http://schemas.microsoft.com/office/drawing/2014/main" id="{585A9A3A-7DF9-41D4-89A0-36FA95AA3A8B}"/>
                </a:ext>
              </a:extLst>
            </p:cNvPr>
            <p:cNvSpPr/>
            <p:nvPr/>
          </p:nvSpPr>
          <p:spPr>
            <a:xfrm>
              <a:off x="8460510" y="3873667"/>
              <a:ext cx="136205" cy="136520"/>
            </a:xfrm>
            <a:custGeom>
              <a:avLst/>
              <a:gdLst>
                <a:gd name="connsiteX0" fmla="*/ 16634 w 136205"/>
                <a:gd name="connsiteY0" fmla="*/ 136520 h 136520"/>
                <a:gd name="connsiteX1" fmla="*/ 4708 w 136205"/>
                <a:gd name="connsiteY1" fmla="*/ 131499 h 136520"/>
                <a:gd name="connsiteX2" fmla="*/ 4708 w 136205"/>
                <a:gd name="connsiteY2" fmla="*/ 107647 h 136520"/>
                <a:gd name="connsiteX3" fmla="*/ 107647 w 136205"/>
                <a:gd name="connsiteY3" fmla="*/ 4708 h 136520"/>
                <a:gd name="connsiteX4" fmla="*/ 131498 w 136205"/>
                <a:gd name="connsiteY4" fmla="*/ 4708 h 136520"/>
                <a:gd name="connsiteX5" fmla="*/ 131498 w 136205"/>
                <a:gd name="connsiteY5" fmla="*/ 28559 h 136520"/>
                <a:gd name="connsiteX6" fmla="*/ 28560 w 136205"/>
                <a:gd name="connsiteY6" fmla="*/ 131499 h 136520"/>
                <a:gd name="connsiteX7" fmla="*/ 16634 w 136205"/>
                <a:gd name="connsiteY7" fmla="*/ 136520 h 136520"/>
                <a:gd name="connsiteX8" fmla="*/ 16634 w 136205"/>
                <a:gd name="connsiteY8" fmla="*/ 136520 h 136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6205" h="136520">
                  <a:moveTo>
                    <a:pt x="16634" y="136520"/>
                  </a:moveTo>
                  <a:cubicBezTo>
                    <a:pt x="12239" y="136520"/>
                    <a:pt x="7846" y="134637"/>
                    <a:pt x="4708" y="131499"/>
                  </a:cubicBezTo>
                  <a:cubicBezTo>
                    <a:pt x="-1569" y="125222"/>
                    <a:pt x="-1569" y="114551"/>
                    <a:pt x="4708" y="107647"/>
                  </a:cubicBezTo>
                  <a:lnTo>
                    <a:pt x="107647" y="4708"/>
                  </a:lnTo>
                  <a:cubicBezTo>
                    <a:pt x="113924" y="-1569"/>
                    <a:pt x="124594" y="-1569"/>
                    <a:pt x="131498" y="4708"/>
                  </a:cubicBezTo>
                  <a:cubicBezTo>
                    <a:pt x="137775" y="10984"/>
                    <a:pt x="137775" y="21655"/>
                    <a:pt x="131498" y="28559"/>
                  </a:cubicBezTo>
                  <a:lnTo>
                    <a:pt x="28560" y="131499"/>
                  </a:lnTo>
                  <a:cubicBezTo>
                    <a:pt x="25421" y="134637"/>
                    <a:pt x="21027" y="136520"/>
                    <a:pt x="16634" y="136520"/>
                  </a:cubicBezTo>
                  <a:lnTo>
                    <a:pt x="16634" y="136520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17" name="Forma Livre: Forma 116">
              <a:extLst>
                <a:ext uri="{FF2B5EF4-FFF2-40B4-BE49-F238E27FC236}">
                  <a16:creationId xmlns:a16="http://schemas.microsoft.com/office/drawing/2014/main" id="{C6FF6D6B-B9E2-44F8-B43C-3F23259FD121}"/>
                </a:ext>
              </a:extLst>
            </p:cNvPr>
            <p:cNvSpPr/>
            <p:nvPr/>
          </p:nvSpPr>
          <p:spPr>
            <a:xfrm>
              <a:off x="8460510" y="3873667"/>
              <a:ext cx="136205" cy="136520"/>
            </a:xfrm>
            <a:custGeom>
              <a:avLst/>
              <a:gdLst>
                <a:gd name="connsiteX0" fmla="*/ 119573 w 136205"/>
                <a:gd name="connsiteY0" fmla="*/ 136520 h 136520"/>
                <a:gd name="connsiteX1" fmla="*/ 107647 w 136205"/>
                <a:gd name="connsiteY1" fmla="*/ 131499 h 136520"/>
                <a:gd name="connsiteX2" fmla="*/ 4708 w 136205"/>
                <a:gd name="connsiteY2" fmla="*/ 28559 h 136520"/>
                <a:gd name="connsiteX3" fmla="*/ 4708 w 136205"/>
                <a:gd name="connsiteY3" fmla="*/ 4708 h 136520"/>
                <a:gd name="connsiteX4" fmla="*/ 28560 w 136205"/>
                <a:gd name="connsiteY4" fmla="*/ 4708 h 136520"/>
                <a:gd name="connsiteX5" fmla="*/ 131498 w 136205"/>
                <a:gd name="connsiteY5" fmla="*/ 107647 h 136520"/>
                <a:gd name="connsiteX6" fmla="*/ 131498 w 136205"/>
                <a:gd name="connsiteY6" fmla="*/ 131499 h 136520"/>
                <a:gd name="connsiteX7" fmla="*/ 119573 w 136205"/>
                <a:gd name="connsiteY7" fmla="*/ 136520 h 136520"/>
                <a:gd name="connsiteX8" fmla="*/ 119573 w 136205"/>
                <a:gd name="connsiteY8" fmla="*/ 136520 h 136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6205" h="136520">
                  <a:moveTo>
                    <a:pt x="119573" y="136520"/>
                  </a:moveTo>
                  <a:cubicBezTo>
                    <a:pt x="115179" y="136520"/>
                    <a:pt x="110785" y="134637"/>
                    <a:pt x="107647" y="131499"/>
                  </a:cubicBezTo>
                  <a:lnTo>
                    <a:pt x="4708" y="28559"/>
                  </a:lnTo>
                  <a:cubicBezTo>
                    <a:pt x="-1569" y="22283"/>
                    <a:pt x="-1569" y="11612"/>
                    <a:pt x="4708" y="4708"/>
                  </a:cubicBezTo>
                  <a:cubicBezTo>
                    <a:pt x="10984" y="-1569"/>
                    <a:pt x="21655" y="-1569"/>
                    <a:pt x="28560" y="4708"/>
                  </a:cubicBezTo>
                  <a:lnTo>
                    <a:pt x="131498" y="107647"/>
                  </a:lnTo>
                  <a:cubicBezTo>
                    <a:pt x="137775" y="113923"/>
                    <a:pt x="137775" y="124594"/>
                    <a:pt x="131498" y="131499"/>
                  </a:cubicBezTo>
                  <a:cubicBezTo>
                    <a:pt x="128360" y="134637"/>
                    <a:pt x="123967" y="136520"/>
                    <a:pt x="119573" y="136520"/>
                  </a:cubicBezTo>
                  <a:lnTo>
                    <a:pt x="119573" y="136520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18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1303404" y="2582846"/>
            <a:ext cx="392299" cy="392299"/>
            <a:chOff x="1303404" y="2582846"/>
            <a:chExt cx="392299" cy="392299"/>
          </a:xfrm>
          <a:solidFill>
            <a:srgbClr val="B1B1A1"/>
          </a:solidFill>
        </p:grpSpPr>
        <p:sp>
          <p:nvSpPr>
            <p:cNvPr id="119" name="Forma Livre: Forma 118">
              <a:extLst>
                <a:ext uri="{FF2B5EF4-FFF2-40B4-BE49-F238E27FC236}">
                  <a16:creationId xmlns:a16="http://schemas.microsoft.com/office/drawing/2014/main" id="{1B897121-33D1-4FB1-91E2-FDD48B0C8E5A}"/>
                </a:ext>
              </a:extLst>
            </p:cNvPr>
            <p:cNvSpPr/>
            <p:nvPr/>
          </p:nvSpPr>
          <p:spPr>
            <a:xfrm>
              <a:off x="1303404" y="2582846"/>
              <a:ext cx="392299" cy="392299"/>
            </a:xfrm>
            <a:custGeom>
              <a:avLst/>
              <a:gdLst>
                <a:gd name="connsiteX0" fmla="*/ 374724 w 392299"/>
                <a:gd name="connsiteY0" fmla="*/ 392299 h 392299"/>
                <a:gd name="connsiteX1" fmla="*/ 17575 w 392299"/>
                <a:gd name="connsiteY1" fmla="*/ 392299 h 392299"/>
                <a:gd name="connsiteX2" fmla="*/ 0 w 392299"/>
                <a:gd name="connsiteY2" fmla="*/ 374724 h 392299"/>
                <a:gd name="connsiteX3" fmla="*/ 0 w 392299"/>
                <a:gd name="connsiteY3" fmla="*/ 17575 h 392299"/>
                <a:gd name="connsiteX4" fmla="*/ 17575 w 392299"/>
                <a:gd name="connsiteY4" fmla="*/ 0 h 392299"/>
                <a:gd name="connsiteX5" fmla="*/ 374724 w 392299"/>
                <a:gd name="connsiteY5" fmla="*/ 0 h 392299"/>
                <a:gd name="connsiteX6" fmla="*/ 392299 w 392299"/>
                <a:gd name="connsiteY6" fmla="*/ 17575 h 392299"/>
                <a:gd name="connsiteX7" fmla="*/ 392299 w 392299"/>
                <a:gd name="connsiteY7" fmla="*/ 374724 h 392299"/>
                <a:gd name="connsiteX8" fmla="*/ 374724 w 392299"/>
                <a:gd name="connsiteY8" fmla="*/ 392299 h 392299"/>
                <a:gd name="connsiteX9" fmla="*/ 374724 w 392299"/>
                <a:gd name="connsiteY9" fmla="*/ 392299 h 392299"/>
                <a:gd name="connsiteX10" fmla="*/ 35150 w 392299"/>
                <a:gd name="connsiteY10" fmla="*/ 357149 h 392299"/>
                <a:gd name="connsiteX11" fmla="*/ 357149 w 392299"/>
                <a:gd name="connsiteY11" fmla="*/ 357149 h 392299"/>
                <a:gd name="connsiteX12" fmla="*/ 357149 w 392299"/>
                <a:gd name="connsiteY12" fmla="*/ 35150 h 392299"/>
                <a:gd name="connsiteX13" fmla="*/ 35150 w 392299"/>
                <a:gd name="connsiteY13" fmla="*/ 35150 h 392299"/>
                <a:gd name="connsiteX14" fmla="*/ 35150 w 392299"/>
                <a:gd name="connsiteY14" fmla="*/ 357149 h 392299"/>
                <a:gd name="connsiteX15" fmla="*/ 35150 w 392299"/>
                <a:gd name="connsiteY15" fmla="*/ 357149 h 392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92299" h="392299">
                  <a:moveTo>
                    <a:pt x="374724" y="392299"/>
                  </a:moveTo>
                  <a:lnTo>
                    <a:pt x="17575" y="392299"/>
                  </a:lnTo>
                  <a:cubicBezTo>
                    <a:pt x="8160" y="392299"/>
                    <a:pt x="0" y="384139"/>
                    <a:pt x="0" y="374724"/>
                  </a:cubicBezTo>
                  <a:lnTo>
                    <a:pt x="0" y="17575"/>
                  </a:lnTo>
                  <a:cubicBezTo>
                    <a:pt x="0" y="8160"/>
                    <a:pt x="8160" y="0"/>
                    <a:pt x="17575" y="0"/>
                  </a:cubicBezTo>
                  <a:lnTo>
                    <a:pt x="374724" y="0"/>
                  </a:lnTo>
                  <a:cubicBezTo>
                    <a:pt x="384139" y="0"/>
                    <a:pt x="392299" y="8160"/>
                    <a:pt x="392299" y="17575"/>
                  </a:cubicBezTo>
                  <a:lnTo>
                    <a:pt x="392299" y="374724"/>
                  </a:lnTo>
                  <a:cubicBezTo>
                    <a:pt x="392299" y="384767"/>
                    <a:pt x="384767" y="392299"/>
                    <a:pt x="374724" y="392299"/>
                  </a:cubicBezTo>
                  <a:lnTo>
                    <a:pt x="374724" y="392299"/>
                  </a:lnTo>
                  <a:close/>
                  <a:moveTo>
                    <a:pt x="35150" y="357149"/>
                  </a:moveTo>
                  <a:lnTo>
                    <a:pt x="357149" y="357149"/>
                  </a:lnTo>
                  <a:lnTo>
                    <a:pt x="357149" y="35150"/>
                  </a:lnTo>
                  <a:lnTo>
                    <a:pt x="35150" y="35150"/>
                  </a:lnTo>
                  <a:lnTo>
                    <a:pt x="35150" y="357149"/>
                  </a:lnTo>
                  <a:lnTo>
                    <a:pt x="35150" y="357149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20" name="Forma Livre: Forma 119">
              <a:extLst>
                <a:ext uri="{FF2B5EF4-FFF2-40B4-BE49-F238E27FC236}">
                  <a16:creationId xmlns:a16="http://schemas.microsoft.com/office/drawing/2014/main" id="{9419F75D-4A67-418E-B3E0-3E72BDB94D09}"/>
                </a:ext>
              </a:extLst>
            </p:cNvPr>
            <p:cNvSpPr/>
            <p:nvPr/>
          </p:nvSpPr>
          <p:spPr>
            <a:xfrm>
              <a:off x="1317841" y="2770522"/>
              <a:ext cx="363425" cy="17574"/>
            </a:xfrm>
            <a:custGeom>
              <a:avLst/>
              <a:gdLst>
                <a:gd name="connsiteX0" fmla="*/ 354638 w 363425"/>
                <a:gd name="connsiteY0" fmla="*/ 17575 h 17574"/>
                <a:gd name="connsiteX1" fmla="*/ 8787 w 363425"/>
                <a:gd name="connsiteY1" fmla="*/ 17575 h 17574"/>
                <a:gd name="connsiteX2" fmla="*/ 0 w 363425"/>
                <a:gd name="connsiteY2" fmla="*/ 8787 h 17574"/>
                <a:gd name="connsiteX3" fmla="*/ 8787 w 363425"/>
                <a:gd name="connsiteY3" fmla="*/ 0 h 17574"/>
                <a:gd name="connsiteX4" fmla="*/ 354638 w 363425"/>
                <a:gd name="connsiteY4" fmla="*/ 0 h 17574"/>
                <a:gd name="connsiteX5" fmla="*/ 363426 w 363425"/>
                <a:gd name="connsiteY5" fmla="*/ 8787 h 17574"/>
                <a:gd name="connsiteX6" fmla="*/ 354638 w 363425"/>
                <a:gd name="connsiteY6" fmla="*/ 17575 h 17574"/>
                <a:gd name="connsiteX7" fmla="*/ 354638 w 363425"/>
                <a:gd name="connsiteY7" fmla="*/ 17575 h 17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3425" h="17574">
                  <a:moveTo>
                    <a:pt x="354638" y="17575"/>
                  </a:moveTo>
                  <a:lnTo>
                    <a:pt x="8787" y="17575"/>
                  </a:lnTo>
                  <a:cubicBezTo>
                    <a:pt x="3766" y="17575"/>
                    <a:pt x="0" y="13809"/>
                    <a:pt x="0" y="8787"/>
                  </a:cubicBezTo>
                  <a:cubicBezTo>
                    <a:pt x="0" y="3766"/>
                    <a:pt x="3766" y="0"/>
                    <a:pt x="8787" y="0"/>
                  </a:cubicBezTo>
                  <a:lnTo>
                    <a:pt x="354638" y="0"/>
                  </a:lnTo>
                  <a:cubicBezTo>
                    <a:pt x="359660" y="0"/>
                    <a:pt x="363426" y="3766"/>
                    <a:pt x="363426" y="8787"/>
                  </a:cubicBezTo>
                  <a:cubicBezTo>
                    <a:pt x="363426" y="13809"/>
                    <a:pt x="359660" y="17575"/>
                    <a:pt x="354638" y="17575"/>
                  </a:cubicBezTo>
                  <a:lnTo>
                    <a:pt x="354638" y="17575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21" name="Forma Livre: Forma 120">
              <a:extLst>
                <a:ext uri="{FF2B5EF4-FFF2-40B4-BE49-F238E27FC236}">
                  <a16:creationId xmlns:a16="http://schemas.microsoft.com/office/drawing/2014/main" id="{30CB2BBF-12A9-4170-9E66-C80D7B1C315F}"/>
                </a:ext>
              </a:extLst>
            </p:cNvPr>
            <p:cNvSpPr/>
            <p:nvPr/>
          </p:nvSpPr>
          <p:spPr>
            <a:xfrm>
              <a:off x="1491080" y="2597282"/>
              <a:ext cx="17574" cy="363425"/>
            </a:xfrm>
            <a:custGeom>
              <a:avLst/>
              <a:gdLst>
                <a:gd name="connsiteX0" fmla="*/ 8787 w 17574"/>
                <a:gd name="connsiteY0" fmla="*/ 363426 h 363425"/>
                <a:gd name="connsiteX1" fmla="*/ 0 w 17574"/>
                <a:gd name="connsiteY1" fmla="*/ 354638 h 363425"/>
                <a:gd name="connsiteX2" fmla="*/ 0 w 17574"/>
                <a:gd name="connsiteY2" fmla="*/ 8787 h 363425"/>
                <a:gd name="connsiteX3" fmla="*/ 8787 w 17574"/>
                <a:gd name="connsiteY3" fmla="*/ 0 h 363425"/>
                <a:gd name="connsiteX4" fmla="*/ 17575 w 17574"/>
                <a:gd name="connsiteY4" fmla="*/ 8787 h 363425"/>
                <a:gd name="connsiteX5" fmla="*/ 17575 w 17574"/>
                <a:gd name="connsiteY5" fmla="*/ 354638 h 363425"/>
                <a:gd name="connsiteX6" fmla="*/ 8787 w 17574"/>
                <a:gd name="connsiteY6" fmla="*/ 363426 h 363425"/>
                <a:gd name="connsiteX7" fmla="*/ 8787 w 17574"/>
                <a:gd name="connsiteY7" fmla="*/ 363426 h 36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574" h="363425">
                  <a:moveTo>
                    <a:pt x="8787" y="363426"/>
                  </a:moveTo>
                  <a:cubicBezTo>
                    <a:pt x="3766" y="363426"/>
                    <a:pt x="0" y="359660"/>
                    <a:pt x="0" y="354638"/>
                  </a:cubicBezTo>
                  <a:lnTo>
                    <a:pt x="0" y="8787"/>
                  </a:lnTo>
                  <a:cubicBezTo>
                    <a:pt x="0" y="3766"/>
                    <a:pt x="3766" y="0"/>
                    <a:pt x="8787" y="0"/>
                  </a:cubicBezTo>
                  <a:cubicBezTo>
                    <a:pt x="13809" y="0"/>
                    <a:pt x="17575" y="3766"/>
                    <a:pt x="17575" y="8787"/>
                  </a:cubicBezTo>
                  <a:lnTo>
                    <a:pt x="17575" y="354638"/>
                  </a:lnTo>
                  <a:cubicBezTo>
                    <a:pt x="17575" y="359660"/>
                    <a:pt x="13809" y="363426"/>
                    <a:pt x="8787" y="363426"/>
                  </a:cubicBezTo>
                  <a:lnTo>
                    <a:pt x="8787" y="363426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22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2328404" y="2582846"/>
            <a:ext cx="392299" cy="392299"/>
            <a:chOff x="2328404" y="2582846"/>
            <a:chExt cx="392299" cy="392299"/>
          </a:xfrm>
          <a:solidFill>
            <a:srgbClr val="B1B1A1"/>
          </a:solidFill>
        </p:grpSpPr>
        <p:sp>
          <p:nvSpPr>
            <p:cNvPr id="123" name="Forma Livre: Forma 122">
              <a:extLst>
                <a:ext uri="{FF2B5EF4-FFF2-40B4-BE49-F238E27FC236}">
                  <a16:creationId xmlns:a16="http://schemas.microsoft.com/office/drawing/2014/main" id="{21A00921-D02A-467C-9185-C5FDEDE2DF88}"/>
                </a:ext>
              </a:extLst>
            </p:cNvPr>
            <p:cNvSpPr/>
            <p:nvPr/>
          </p:nvSpPr>
          <p:spPr>
            <a:xfrm>
              <a:off x="2328404" y="2582846"/>
              <a:ext cx="392299" cy="392299"/>
            </a:xfrm>
            <a:custGeom>
              <a:avLst/>
              <a:gdLst>
                <a:gd name="connsiteX0" fmla="*/ 374724 w 392299"/>
                <a:gd name="connsiteY0" fmla="*/ 392299 h 392299"/>
                <a:gd name="connsiteX1" fmla="*/ 17575 w 392299"/>
                <a:gd name="connsiteY1" fmla="*/ 392299 h 392299"/>
                <a:gd name="connsiteX2" fmla="*/ 0 w 392299"/>
                <a:gd name="connsiteY2" fmla="*/ 374724 h 392299"/>
                <a:gd name="connsiteX3" fmla="*/ 0 w 392299"/>
                <a:gd name="connsiteY3" fmla="*/ 17575 h 392299"/>
                <a:gd name="connsiteX4" fmla="*/ 17575 w 392299"/>
                <a:gd name="connsiteY4" fmla="*/ 0 h 392299"/>
                <a:gd name="connsiteX5" fmla="*/ 374724 w 392299"/>
                <a:gd name="connsiteY5" fmla="*/ 0 h 392299"/>
                <a:gd name="connsiteX6" fmla="*/ 392299 w 392299"/>
                <a:gd name="connsiteY6" fmla="*/ 17575 h 392299"/>
                <a:gd name="connsiteX7" fmla="*/ 392299 w 392299"/>
                <a:gd name="connsiteY7" fmla="*/ 374724 h 392299"/>
                <a:gd name="connsiteX8" fmla="*/ 374724 w 392299"/>
                <a:gd name="connsiteY8" fmla="*/ 392299 h 392299"/>
                <a:gd name="connsiteX9" fmla="*/ 374724 w 392299"/>
                <a:gd name="connsiteY9" fmla="*/ 392299 h 392299"/>
                <a:gd name="connsiteX10" fmla="*/ 34522 w 392299"/>
                <a:gd name="connsiteY10" fmla="*/ 357149 h 392299"/>
                <a:gd name="connsiteX11" fmla="*/ 356522 w 392299"/>
                <a:gd name="connsiteY11" fmla="*/ 357149 h 392299"/>
                <a:gd name="connsiteX12" fmla="*/ 356522 w 392299"/>
                <a:gd name="connsiteY12" fmla="*/ 35150 h 392299"/>
                <a:gd name="connsiteX13" fmla="*/ 34522 w 392299"/>
                <a:gd name="connsiteY13" fmla="*/ 35150 h 392299"/>
                <a:gd name="connsiteX14" fmla="*/ 34522 w 392299"/>
                <a:gd name="connsiteY14" fmla="*/ 357149 h 392299"/>
                <a:gd name="connsiteX15" fmla="*/ 34522 w 392299"/>
                <a:gd name="connsiteY15" fmla="*/ 357149 h 392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92299" h="392299">
                  <a:moveTo>
                    <a:pt x="374724" y="392299"/>
                  </a:moveTo>
                  <a:lnTo>
                    <a:pt x="17575" y="392299"/>
                  </a:lnTo>
                  <a:cubicBezTo>
                    <a:pt x="8160" y="392299"/>
                    <a:pt x="0" y="384139"/>
                    <a:pt x="0" y="374724"/>
                  </a:cubicBezTo>
                  <a:lnTo>
                    <a:pt x="0" y="17575"/>
                  </a:lnTo>
                  <a:cubicBezTo>
                    <a:pt x="0" y="8160"/>
                    <a:pt x="8160" y="0"/>
                    <a:pt x="17575" y="0"/>
                  </a:cubicBezTo>
                  <a:lnTo>
                    <a:pt x="374724" y="0"/>
                  </a:lnTo>
                  <a:cubicBezTo>
                    <a:pt x="384139" y="0"/>
                    <a:pt x="392299" y="8160"/>
                    <a:pt x="392299" y="17575"/>
                  </a:cubicBezTo>
                  <a:lnTo>
                    <a:pt x="392299" y="374724"/>
                  </a:lnTo>
                  <a:cubicBezTo>
                    <a:pt x="392299" y="384767"/>
                    <a:pt x="384139" y="392299"/>
                    <a:pt x="374724" y="392299"/>
                  </a:cubicBezTo>
                  <a:lnTo>
                    <a:pt x="374724" y="392299"/>
                  </a:lnTo>
                  <a:close/>
                  <a:moveTo>
                    <a:pt x="34522" y="357149"/>
                  </a:moveTo>
                  <a:lnTo>
                    <a:pt x="356522" y="357149"/>
                  </a:lnTo>
                  <a:lnTo>
                    <a:pt x="356522" y="35150"/>
                  </a:lnTo>
                  <a:lnTo>
                    <a:pt x="34522" y="35150"/>
                  </a:lnTo>
                  <a:lnTo>
                    <a:pt x="34522" y="357149"/>
                  </a:lnTo>
                  <a:lnTo>
                    <a:pt x="34522" y="357149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24" name="Forma Livre: Forma 123">
              <a:extLst>
                <a:ext uri="{FF2B5EF4-FFF2-40B4-BE49-F238E27FC236}">
                  <a16:creationId xmlns:a16="http://schemas.microsoft.com/office/drawing/2014/main" id="{E4B52831-9E64-4AA2-937F-C5FE5BE5EFB7}"/>
                </a:ext>
              </a:extLst>
            </p:cNvPr>
            <p:cNvSpPr/>
            <p:nvPr/>
          </p:nvSpPr>
          <p:spPr>
            <a:xfrm>
              <a:off x="2342213" y="2709637"/>
              <a:ext cx="363425" cy="17574"/>
            </a:xfrm>
            <a:custGeom>
              <a:avLst/>
              <a:gdLst>
                <a:gd name="connsiteX0" fmla="*/ 354638 w 363425"/>
                <a:gd name="connsiteY0" fmla="*/ 17575 h 17574"/>
                <a:gd name="connsiteX1" fmla="*/ 8787 w 363425"/>
                <a:gd name="connsiteY1" fmla="*/ 17575 h 17574"/>
                <a:gd name="connsiteX2" fmla="*/ 0 w 363425"/>
                <a:gd name="connsiteY2" fmla="*/ 8787 h 17574"/>
                <a:gd name="connsiteX3" fmla="*/ 8787 w 363425"/>
                <a:gd name="connsiteY3" fmla="*/ 0 h 17574"/>
                <a:gd name="connsiteX4" fmla="*/ 354638 w 363425"/>
                <a:gd name="connsiteY4" fmla="*/ 0 h 17574"/>
                <a:gd name="connsiteX5" fmla="*/ 363426 w 363425"/>
                <a:gd name="connsiteY5" fmla="*/ 8787 h 17574"/>
                <a:gd name="connsiteX6" fmla="*/ 354638 w 363425"/>
                <a:gd name="connsiteY6" fmla="*/ 17575 h 17574"/>
                <a:gd name="connsiteX7" fmla="*/ 354638 w 363425"/>
                <a:gd name="connsiteY7" fmla="*/ 17575 h 17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3425" h="17574">
                  <a:moveTo>
                    <a:pt x="354638" y="17575"/>
                  </a:moveTo>
                  <a:lnTo>
                    <a:pt x="8787" y="17575"/>
                  </a:lnTo>
                  <a:cubicBezTo>
                    <a:pt x="3766" y="17575"/>
                    <a:pt x="0" y="13809"/>
                    <a:pt x="0" y="8787"/>
                  </a:cubicBezTo>
                  <a:cubicBezTo>
                    <a:pt x="0" y="3766"/>
                    <a:pt x="3766" y="0"/>
                    <a:pt x="8787" y="0"/>
                  </a:cubicBezTo>
                  <a:lnTo>
                    <a:pt x="354638" y="0"/>
                  </a:lnTo>
                  <a:cubicBezTo>
                    <a:pt x="359660" y="0"/>
                    <a:pt x="363426" y="3766"/>
                    <a:pt x="363426" y="8787"/>
                  </a:cubicBezTo>
                  <a:cubicBezTo>
                    <a:pt x="363426" y="13181"/>
                    <a:pt x="359660" y="17575"/>
                    <a:pt x="354638" y="17575"/>
                  </a:cubicBezTo>
                  <a:lnTo>
                    <a:pt x="354638" y="17575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25" name="Forma Livre: Forma 124">
              <a:extLst>
                <a:ext uri="{FF2B5EF4-FFF2-40B4-BE49-F238E27FC236}">
                  <a16:creationId xmlns:a16="http://schemas.microsoft.com/office/drawing/2014/main" id="{2780AC1C-D163-4444-9816-92D4CB0E1347}"/>
                </a:ext>
              </a:extLst>
            </p:cNvPr>
            <p:cNvSpPr/>
            <p:nvPr/>
          </p:nvSpPr>
          <p:spPr>
            <a:xfrm>
              <a:off x="2342213" y="2828268"/>
              <a:ext cx="363425" cy="17575"/>
            </a:xfrm>
            <a:custGeom>
              <a:avLst/>
              <a:gdLst>
                <a:gd name="connsiteX0" fmla="*/ 354638 w 363425"/>
                <a:gd name="connsiteY0" fmla="*/ 17575 h 17575"/>
                <a:gd name="connsiteX1" fmla="*/ 8787 w 363425"/>
                <a:gd name="connsiteY1" fmla="*/ 17575 h 17575"/>
                <a:gd name="connsiteX2" fmla="*/ 0 w 363425"/>
                <a:gd name="connsiteY2" fmla="*/ 8787 h 17575"/>
                <a:gd name="connsiteX3" fmla="*/ 8787 w 363425"/>
                <a:gd name="connsiteY3" fmla="*/ 0 h 17575"/>
                <a:gd name="connsiteX4" fmla="*/ 354638 w 363425"/>
                <a:gd name="connsiteY4" fmla="*/ 0 h 17575"/>
                <a:gd name="connsiteX5" fmla="*/ 363426 w 363425"/>
                <a:gd name="connsiteY5" fmla="*/ 8787 h 17575"/>
                <a:gd name="connsiteX6" fmla="*/ 354638 w 363425"/>
                <a:gd name="connsiteY6" fmla="*/ 17575 h 17575"/>
                <a:gd name="connsiteX7" fmla="*/ 354638 w 363425"/>
                <a:gd name="connsiteY7" fmla="*/ 17575 h 17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3425" h="17575">
                  <a:moveTo>
                    <a:pt x="354638" y="17575"/>
                  </a:moveTo>
                  <a:lnTo>
                    <a:pt x="8787" y="17575"/>
                  </a:lnTo>
                  <a:cubicBezTo>
                    <a:pt x="3766" y="17575"/>
                    <a:pt x="0" y="13809"/>
                    <a:pt x="0" y="8787"/>
                  </a:cubicBezTo>
                  <a:cubicBezTo>
                    <a:pt x="0" y="3766"/>
                    <a:pt x="3766" y="0"/>
                    <a:pt x="8787" y="0"/>
                  </a:cubicBezTo>
                  <a:lnTo>
                    <a:pt x="354638" y="0"/>
                  </a:lnTo>
                  <a:cubicBezTo>
                    <a:pt x="359660" y="0"/>
                    <a:pt x="363426" y="3766"/>
                    <a:pt x="363426" y="8787"/>
                  </a:cubicBezTo>
                  <a:cubicBezTo>
                    <a:pt x="363426" y="13809"/>
                    <a:pt x="359660" y="17575"/>
                    <a:pt x="354638" y="17575"/>
                  </a:cubicBezTo>
                  <a:lnTo>
                    <a:pt x="354638" y="17575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26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3346499" y="2582846"/>
            <a:ext cx="392299" cy="392299"/>
            <a:chOff x="3346499" y="2582846"/>
            <a:chExt cx="392299" cy="392299"/>
          </a:xfrm>
          <a:solidFill>
            <a:srgbClr val="B1B1A1"/>
          </a:solidFill>
        </p:grpSpPr>
        <p:sp>
          <p:nvSpPr>
            <p:cNvPr id="127" name="Forma Livre: Forma 126">
              <a:extLst>
                <a:ext uri="{FF2B5EF4-FFF2-40B4-BE49-F238E27FC236}">
                  <a16:creationId xmlns:a16="http://schemas.microsoft.com/office/drawing/2014/main" id="{F9EAAC50-29A9-4A88-9691-872619543DAB}"/>
                </a:ext>
              </a:extLst>
            </p:cNvPr>
            <p:cNvSpPr/>
            <p:nvPr/>
          </p:nvSpPr>
          <p:spPr>
            <a:xfrm>
              <a:off x="3346499" y="2582846"/>
              <a:ext cx="392299" cy="392299"/>
            </a:xfrm>
            <a:custGeom>
              <a:avLst/>
              <a:gdLst>
                <a:gd name="connsiteX0" fmla="*/ 374724 w 392299"/>
                <a:gd name="connsiteY0" fmla="*/ 392299 h 392299"/>
                <a:gd name="connsiteX1" fmla="*/ 17575 w 392299"/>
                <a:gd name="connsiteY1" fmla="*/ 392299 h 392299"/>
                <a:gd name="connsiteX2" fmla="*/ 0 w 392299"/>
                <a:gd name="connsiteY2" fmla="*/ 374724 h 392299"/>
                <a:gd name="connsiteX3" fmla="*/ 0 w 392299"/>
                <a:gd name="connsiteY3" fmla="*/ 17575 h 392299"/>
                <a:gd name="connsiteX4" fmla="*/ 17575 w 392299"/>
                <a:gd name="connsiteY4" fmla="*/ 0 h 392299"/>
                <a:gd name="connsiteX5" fmla="*/ 374724 w 392299"/>
                <a:gd name="connsiteY5" fmla="*/ 0 h 392299"/>
                <a:gd name="connsiteX6" fmla="*/ 392299 w 392299"/>
                <a:gd name="connsiteY6" fmla="*/ 17575 h 392299"/>
                <a:gd name="connsiteX7" fmla="*/ 392299 w 392299"/>
                <a:gd name="connsiteY7" fmla="*/ 374724 h 392299"/>
                <a:gd name="connsiteX8" fmla="*/ 374724 w 392299"/>
                <a:gd name="connsiteY8" fmla="*/ 392299 h 392299"/>
                <a:gd name="connsiteX9" fmla="*/ 374724 w 392299"/>
                <a:gd name="connsiteY9" fmla="*/ 392299 h 392299"/>
                <a:gd name="connsiteX10" fmla="*/ 35150 w 392299"/>
                <a:gd name="connsiteY10" fmla="*/ 357149 h 392299"/>
                <a:gd name="connsiteX11" fmla="*/ 357149 w 392299"/>
                <a:gd name="connsiteY11" fmla="*/ 357149 h 392299"/>
                <a:gd name="connsiteX12" fmla="*/ 357149 w 392299"/>
                <a:gd name="connsiteY12" fmla="*/ 35150 h 392299"/>
                <a:gd name="connsiteX13" fmla="*/ 35150 w 392299"/>
                <a:gd name="connsiteY13" fmla="*/ 35150 h 392299"/>
                <a:gd name="connsiteX14" fmla="*/ 35150 w 392299"/>
                <a:gd name="connsiteY14" fmla="*/ 357149 h 392299"/>
                <a:gd name="connsiteX15" fmla="*/ 35150 w 392299"/>
                <a:gd name="connsiteY15" fmla="*/ 357149 h 392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92299" h="392299">
                  <a:moveTo>
                    <a:pt x="374724" y="392299"/>
                  </a:moveTo>
                  <a:lnTo>
                    <a:pt x="17575" y="392299"/>
                  </a:lnTo>
                  <a:cubicBezTo>
                    <a:pt x="8160" y="392299"/>
                    <a:pt x="0" y="384139"/>
                    <a:pt x="0" y="374724"/>
                  </a:cubicBezTo>
                  <a:lnTo>
                    <a:pt x="0" y="17575"/>
                  </a:lnTo>
                  <a:cubicBezTo>
                    <a:pt x="0" y="8160"/>
                    <a:pt x="8160" y="0"/>
                    <a:pt x="17575" y="0"/>
                  </a:cubicBezTo>
                  <a:lnTo>
                    <a:pt x="374724" y="0"/>
                  </a:lnTo>
                  <a:cubicBezTo>
                    <a:pt x="384139" y="0"/>
                    <a:pt x="392299" y="8160"/>
                    <a:pt x="392299" y="17575"/>
                  </a:cubicBezTo>
                  <a:lnTo>
                    <a:pt x="392299" y="374724"/>
                  </a:lnTo>
                  <a:cubicBezTo>
                    <a:pt x="392299" y="384767"/>
                    <a:pt x="384139" y="392299"/>
                    <a:pt x="374724" y="392299"/>
                  </a:cubicBezTo>
                  <a:lnTo>
                    <a:pt x="374724" y="392299"/>
                  </a:lnTo>
                  <a:close/>
                  <a:moveTo>
                    <a:pt x="35150" y="357149"/>
                  </a:moveTo>
                  <a:lnTo>
                    <a:pt x="357149" y="357149"/>
                  </a:lnTo>
                  <a:lnTo>
                    <a:pt x="357149" y="35150"/>
                  </a:lnTo>
                  <a:lnTo>
                    <a:pt x="35150" y="35150"/>
                  </a:lnTo>
                  <a:lnTo>
                    <a:pt x="35150" y="357149"/>
                  </a:lnTo>
                  <a:lnTo>
                    <a:pt x="35150" y="357149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28" name="Forma Livre: Forma 127">
              <a:extLst>
                <a:ext uri="{FF2B5EF4-FFF2-40B4-BE49-F238E27FC236}">
                  <a16:creationId xmlns:a16="http://schemas.microsoft.com/office/drawing/2014/main" id="{CC633E12-D029-4C73-85BC-991D3A17B122}"/>
                </a:ext>
              </a:extLst>
            </p:cNvPr>
            <p:cNvSpPr/>
            <p:nvPr/>
          </p:nvSpPr>
          <p:spPr>
            <a:xfrm>
              <a:off x="3595059" y="2597282"/>
              <a:ext cx="17574" cy="363425"/>
            </a:xfrm>
            <a:custGeom>
              <a:avLst/>
              <a:gdLst>
                <a:gd name="connsiteX0" fmla="*/ 8787 w 17574"/>
                <a:gd name="connsiteY0" fmla="*/ 363426 h 363425"/>
                <a:gd name="connsiteX1" fmla="*/ 0 w 17574"/>
                <a:gd name="connsiteY1" fmla="*/ 354638 h 363425"/>
                <a:gd name="connsiteX2" fmla="*/ 0 w 17574"/>
                <a:gd name="connsiteY2" fmla="*/ 8787 h 363425"/>
                <a:gd name="connsiteX3" fmla="*/ 8787 w 17574"/>
                <a:gd name="connsiteY3" fmla="*/ 0 h 363425"/>
                <a:gd name="connsiteX4" fmla="*/ 17575 w 17574"/>
                <a:gd name="connsiteY4" fmla="*/ 8787 h 363425"/>
                <a:gd name="connsiteX5" fmla="*/ 17575 w 17574"/>
                <a:gd name="connsiteY5" fmla="*/ 354638 h 363425"/>
                <a:gd name="connsiteX6" fmla="*/ 8787 w 17574"/>
                <a:gd name="connsiteY6" fmla="*/ 363426 h 363425"/>
                <a:gd name="connsiteX7" fmla="*/ 8787 w 17574"/>
                <a:gd name="connsiteY7" fmla="*/ 363426 h 36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574" h="363425">
                  <a:moveTo>
                    <a:pt x="8787" y="363426"/>
                  </a:moveTo>
                  <a:cubicBezTo>
                    <a:pt x="3766" y="363426"/>
                    <a:pt x="0" y="359660"/>
                    <a:pt x="0" y="354638"/>
                  </a:cubicBezTo>
                  <a:lnTo>
                    <a:pt x="0" y="8787"/>
                  </a:lnTo>
                  <a:cubicBezTo>
                    <a:pt x="0" y="3766"/>
                    <a:pt x="3766" y="0"/>
                    <a:pt x="8787" y="0"/>
                  </a:cubicBezTo>
                  <a:cubicBezTo>
                    <a:pt x="13809" y="0"/>
                    <a:pt x="17575" y="3766"/>
                    <a:pt x="17575" y="8787"/>
                  </a:cubicBezTo>
                  <a:lnTo>
                    <a:pt x="17575" y="354638"/>
                  </a:lnTo>
                  <a:cubicBezTo>
                    <a:pt x="17575" y="359660"/>
                    <a:pt x="13181" y="363426"/>
                    <a:pt x="8787" y="363426"/>
                  </a:cubicBezTo>
                  <a:lnTo>
                    <a:pt x="8787" y="363426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29" name="Forma Livre: Forma 128">
              <a:extLst>
                <a:ext uri="{FF2B5EF4-FFF2-40B4-BE49-F238E27FC236}">
                  <a16:creationId xmlns:a16="http://schemas.microsoft.com/office/drawing/2014/main" id="{7CD0A56E-0C7F-4B24-B793-17406C327A39}"/>
                </a:ext>
              </a:extLst>
            </p:cNvPr>
            <p:cNvSpPr/>
            <p:nvPr/>
          </p:nvSpPr>
          <p:spPr>
            <a:xfrm>
              <a:off x="3475800" y="2597282"/>
              <a:ext cx="17574" cy="363425"/>
            </a:xfrm>
            <a:custGeom>
              <a:avLst/>
              <a:gdLst>
                <a:gd name="connsiteX0" fmla="*/ 8787 w 17574"/>
                <a:gd name="connsiteY0" fmla="*/ 363426 h 363425"/>
                <a:gd name="connsiteX1" fmla="*/ 0 w 17574"/>
                <a:gd name="connsiteY1" fmla="*/ 354638 h 363425"/>
                <a:gd name="connsiteX2" fmla="*/ 0 w 17574"/>
                <a:gd name="connsiteY2" fmla="*/ 8787 h 363425"/>
                <a:gd name="connsiteX3" fmla="*/ 8787 w 17574"/>
                <a:gd name="connsiteY3" fmla="*/ 0 h 363425"/>
                <a:gd name="connsiteX4" fmla="*/ 17575 w 17574"/>
                <a:gd name="connsiteY4" fmla="*/ 8787 h 363425"/>
                <a:gd name="connsiteX5" fmla="*/ 17575 w 17574"/>
                <a:gd name="connsiteY5" fmla="*/ 354638 h 363425"/>
                <a:gd name="connsiteX6" fmla="*/ 8787 w 17574"/>
                <a:gd name="connsiteY6" fmla="*/ 363426 h 363425"/>
                <a:gd name="connsiteX7" fmla="*/ 8787 w 17574"/>
                <a:gd name="connsiteY7" fmla="*/ 363426 h 36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574" h="363425">
                  <a:moveTo>
                    <a:pt x="8787" y="363426"/>
                  </a:moveTo>
                  <a:cubicBezTo>
                    <a:pt x="3766" y="363426"/>
                    <a:pt x="0" y="359660"/>
                    <a:pt x="0" y="354638"/>
                  </a:cubicBezTo>
                  <a:lnTo>
                    <a:pt x="0" y="8787"/>
                  </a:lnTo>
                  <a:cubicBezTo>
                    <a:pt x="0" y="3766"/>
                    <a:pt x="3766" y="0"/>
                    <a:pt x="8787" y="0"/>
                  </a:cubicBezTo>
                  <a:cubicBezTo>
                    <a:pt x="13809" y="0"/>
                    <a:pt x="17575" y="3766"/>
                    <a:pt x="17575" y="8787"/>
                  </a:cubicBezTo>
                  <a:lnTo>
                    <a:pt x="17575" y="354638"/>
                  </a:lnTo>
                  <a:cubicBezTo>
                    <a:pt x="17575" y="359660"/>
                    <a:pt x="13809" y="363426"/>
                    <a:pt x="8787" y="363426"/>
                  </a:cubicBezTo>
                  <a:lnTo>
                    <a:pt x="8787" y="363426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30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5392731" y="2583473"/>
            <a:ext cx="391043" cy="391043"/>
            <a:chOff x="5392731" y="2583473"/>
            <a:chExt cx="391043" cy="391043"/>
          </a:xfrm>
          <a:solidFill>
            <a:srgbClr val="B1B1A1"/>
          </a:solidFill>
        </p:grpSpPr>
        <p:sp>
          <p:nvSpPr>
            <p:cNvPr id="131" name="Forma Livre: Forma 130">
              <a:extLst>
                <a:ext uri="{FF2B5EF4-FFF2-40B4-BE49-F238E27FC236}">
                  <a16:creationId xmlns:a16="http://schemas.microsoft.com/office/drawing/2014/main" id="{B452FEF3-3CEA-4C8D-88E3-6415A72F4715}"/>
                </a:ext>
              </a:extLst>
            </p:cNvPr>
            <p:cNvSpPr/>
            <p:nvPr/>
          </p:nvSpPr>
          <p:spPr>
            <a:xfrm>
              <a:off x="5392731" y="2583473"/>
              <a:ext cx="184537" cy="184537"/>
            </a:xfrm>
            <a:custGeom>
              <a:avLst/>
              <a:gdLst>
                <a:gd name="connsiteX0" fmla="*/ 167590 w 184537"/>
                <a:gd name="connsiteY0" fmla="*/ 184537 h 184537"/>
                <a:gd name="connsiteX1" fmla="*/ 16947 w 184537"/>
                <a:gd name="connsiteY1" fmla="*/ 184537 h 184537"/>
                <a:gd name="connsiteX2" fmla="*/ 0 w 184537"/>
                <a:gd name="connsiteY2" fmla="*/ 167590 h 184537"/>
                <a:gd name="connsiteX3" fmla="*/ 0 w 184537"/>
                <a:gd name="connsiteY3" fmla="*/ 16947 h 184537"/>
                <a:gd name="connsiteX4" fmla="*/ 16947 w 184537"/>
                <a:gd name="connsiteY4" fmla="*/ 0 h 184537"/>
                <a:gd name="connsiteX5" fmla="*/ 167590 w 184537"/>
                <a:gd name="connsiteY5" fmla="*/ 0 h 184537"/>
                <a:gd name="connsiteX6" fmla="*/ 184538 w 184537"/>
                <a:gd name="connsiteY6" fmla="*/ 16947 h 184537"/>
                <a:gd name="connsiteX7" fmla="*/ 184538 w 184537"/>
                <a:gd name="connsiteY7" fmla="*/ 167590 h 184537"/>
                <a:gd name="connsiteX8" fmla="*/ 167590 w 184537"/>
                <a:gd name="connsiteY8" fmla="*/ 184537 h 184537"/>
                <a:gd name="connsiteX9" fmla="*/ 167590 w 184537"/>
                <a:gd name="connsiteY9" fmla="*/ 184537 h 184537"/>
                <a:gd name="connsiteX10" fmla="*/ 33267 w 184537"/>
                <a:gd name="connsiteY10" fmla="*/ 151271 h 184537"/>
                <a:gd name="connsiteX11" fmla="*/ 150643 w 184537"/>
                <a:gd name="connsiteY11" fmla="*/ 151271 h 184537"/>
                <a:gd name="connsiteX12" fmla="*/ 150643 w 184537"/>
                <a:gd name="connsiteY12" fmla="*/ 33895 h 184537"/>
                <a:gd name="connsiteX13" fmla="*/ 33267 w 184537"/>
                <a:gd name="connsiteY13" fmla="*/ 33895 h 184537"/>
                <a:gd name="connsiteX14" fmla="*/ 33267 w 184537"/>
                <a:gd name="connsiteY14" fmla="*/ 151271 h 184537"/>
                <a:gd name="connsiteX15" fmla="*/ 33267 w 184537"/>
                <a:gd name="connsiteY15" fmla="*/ 151271 h 184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4537" h="184537">
                  <a:moveTo>
                    <a:pt x="167590" y="184537"/>
                  </a:moveTo>
                  <a:lnTo>
                    <a:pt x="16947" y="184537"/>
                  </a:lnTo>
                  <a:cubicBezTo>
                    <a:pt x="7532" y="184537"/>
                    <a:pt x="0" y="177005"/>
                    <a:pt x="0" y="167590"/>
                  </a:cubicBezTo>
                  <a:lnTo>
                    <a:pt x="0" y="16947"/>
                  </a:lnTo>
                  <a:cubicBezTo>
                    <a:pt x="0" y="7532"/>
                    <a:pt x="7532" y="0"/>
                    <a:pt x="16947" y="0"/>
                  </a:cubicBezTo>
                  <a:lnTo>
                    <a:pt x="167590" y="0"/>
                  </a:lnTo>
                  <a:cubicBezTo>
                    <a:pt x="177005" y="0"/>
                    <a:pt x="184538" y="7532"/>
                    <a:pt x="184538" y="16947"/>
                  </a:cubicBezTo>
                  <a:lnTo>
                    <a:pt x="184538" y="167590"/>
                  </a:lnTo>
                  <a:cubicBezTo>
                    <a:pt x="184538" y="177005"/>
                    <a:pt x="177005" y="184537"/>
                    <a:pt x="167590" y="184537"/>
                  </a:cubicBezTo>
                  <a:lnTo>
                    <a:pt x="167590" y="184537"/>
                  </a:lnTo>
                  <a:close/>
                  <a:moveTo>
                    <a:pt x="33267" y="151271"/>
                  </a:moveTo>
                  <a:lnTo>
                    <a:pt x="150643" y="151271"/>
                  </a:lnTo>
                  <a:lnTo>
                    <a:pt x="150643" y="33895"/>
                  </a:lnTo>
                  <a:lnTo>
                    <a:pt x="33267" y="33895"/>
                  </a:lnTo>
                  <a:lnTo>
                    <a:pt x="33267" y="151271"/>
                  </a:lnTo>
                  <a:lnTo>
                    <a:pt x="33267" y="151271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32" name="Forma Livre: Forma 131">
              <a:extLst>
                <a:ext uri="{FF2B5EF4-FFF2-40B4-BE49-F238E27FC236}">
                  <a16:creationId xmlns:a16="http://schemas.microsoft.com/office/drawing/2014/main" id="{75393D4F-169E-4E9E-8806-12D6D8AF0C2D}"/>
                </a:ext>
              </a:extLst>
            </p:cNvPr>
            <p:cNvSpPr/>
            <p:nvPr/>
          </p:nvSpPr>
          <p:spPr>
            <a:xfrm>
              <a:off x="5599237" y="2583473"/>
              <a:ext cx="184537" cy="184537"/>
            </a:xfrm>
            <a:custGeom>
              <a:avLst/>
              <a:gdLst>
                <a:gd name="connsiteX0" fmla="*/ 167590 w 184537"/>
                <a:gd name="connsiteY0" fmla="*/ 184537 h 184537"/>
                <a:gd name="connsiteX1" fmla="*/ 16947 w 184537"/>
                <a:gd name="connsiteY1" fmla="*/ 184537 h 184537"/>
                <a:gd name="connsiteX2" fmla="*/ 0 w 184537"/>
                <a:gd name="connsiteY2" fmla="*/ 167590 h 184537"/>
                <a:gd name="connsiteX3" fmla="*/ 0 w 184537"/>
                <a:gd name="connsiteY3" fmla="*/ 16947 h 184537"/>
                <a:gd name="connsiteX4" fmla="*/ 16947 w 184537"/>
                <a:gd name="connsiteY4" fmla="*/ 0 h 184537"/>
                <a:gd name="connsiteX5" fmla="*/ 167590 w 184537"/>
                <a:gd name="connsiteY5" fmla="*/ 0 h 184537"/>
                <a:gd name="connsiteX6" fmla="*/ 184537 w 184537"/>
                <a:gd name="connsiteY6" fmla="*/ 16947 h 184537"/>
                <a:gd name="connsiteX7" fmla="*/ 184537 w 184537"/>
                <a:gd name="connsiteY7" fmla="*/ 167590 h 184537"/>
                <a:gd name="connsiteX8" fmla="*/ 167590 w 184537"/>
                <a:gd name="connsiteY8" fmla="*/ 184537 h 184537"/>
                <a:gd name="connsiteX9" fmla="*/ 167590 w 184537"/>
                <a:gd name="connsiteY9" fmla="*/ 184537 h 184537"/>
                <a:gd name="connsiteX10" fmla="*/ 33267 w 184537"/>
                <a:gd name="connsiteY10" fmla="*/ 151271 h 184537"/>
                <a:gd name="connsiteX11" fmla="*/ 150643 w 184537"/>
                <a:gd name="connsiteY11" fmla="*/ 151271 h 184537"/>
                <a:gd name="connsiteX12" fmla="*/ 150643 w 184537"/>
                <a:gd name="connsiteY12" fmla="*/ 33895 h 184537"/>
                <a:gd name="connsiteX13" fmla="*/ 33267 w 184537"/>
                <a:gd name="connsiteY13" fmla="*/ 33895 h 184537"/>
                <a:gd name="connsiteX14" fmla="*/ 33267 w 184537"/>
                <a:gd name="connsiteY14" fmla="*/ 151271 h 184537"/>
                <a:gd name="connsiteX15" fmla="*/ 33267 w 184537"/>
                <a:gd name="connsiteY15" fmla="*/ 151271 h 184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4537" h="184537">
                  <a:moveTo>
                    <a:pt x="167590" y="184537"/>
                  </a:moveTo>
                  <a:lnTo>
                    <a:pt x="16947" y="184537"/>
                  </a:lnTo>
                  <a:cubicBezTo>
                    <a:pt x="7532" y="184537"/>
                    <a:pt x="0" y="177005"/>
                    <a:pt x="0" y="167590"/>
                  </a:cubicBezTo>
                  <a:lnTo>
                    <a:pt x="0" y="16947"/>
                  </a:lnTo>
                  <a:cubicBezTo>
                    <a:pt x="0" y="7532"/>
                    <a:pt x="7532" y="0"/>
                    <a:pt x="16947" y="0"/>
                  </a:cubicBezTo>
                  <a:lnTo>
                    <a:pt x="167590" y="0"/>
                  </a:lnTo>
                  <a:cubicBezTo>
                    <a:pt x="177005" y="0"/>
                    <a:pt x="184537" y="7532"/>
                    <a:pt x="184537" y="16947"/>
                  </a:cubicBezTo>
                  <a:lnTo>
                    <a:pt x="184537" y="167590"/>
                  </a:lnTo>
                  <a:cubicBezTo>
                    <a:pt x="184537" y="177005"/>
                    <a:pt x="177005" y="184537"/>
                    <a:pt x="167590" y="184537"/>
                  </a:cubicBezTo>
                  <a:lnTo>
                    <a:pt x="167590" y="184537"/>
                  </a:lnTo>
                  <a:close/>
                  <a:moveTo>
                    <a:pt x="33267" y="151271"/>
                  </a:moveTo>
                  <a:lnTo>
                    <a:pt x="150643" y="151271"/>
                  </a:lnTo>
                  <a:lnTo>
                    <a:pt x="150643" y="33895"/>
                  </a:lnTo>
                  <a:lnTo>
                    <a:pt x="33267" y="33895"/>
                  </a:lnTo>
                  <a:lnTo>
                    <a:pt x="33267" y="151271"/>
                  </a:lnTo>
                  <a:lnTo>
                    <a:pt x="33267" y="151271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33" name="Forma Livre: Forma 132">
              <a:extLst>
                <a:ext uri="{FF2B5EF4-FFF2-40B4-BE49-F238E27FC236}">
                  <a16:creationId xmlns:a16="http://schemas.microsoft.com/office/drawing/2014/main" id="{2B0C8E81-E1EB-45C3-88CC-988B5AA61D5F}"/>
                </a:ext>
              </a:extLst>
            </p:cNvPr>
            <p:cNvSpPr/>
            <p:nvPr/>
          </p:nvSpPr>
          <p:spPr>
            <a:xfrm>
              <a:off x="5392731" y="2789979"/>
              <a:ext cx="184537" cy="184537"/>
            </a:xfrm>
            <a:custGeom>
              <a:avLst/>
              <a:gdLst>
                <a:gd name="connsiteX0" fmla="*/ 167590 w 184537"/>
                <a:gd name="connsiteY0" fmla="*/ 184538 h 184537"/>
                <a:gd name="connsiteX1" fmla="*/ 16947 w 184537"/>
                <a:gd name="connsiteY1" fmla="*/ 184538 h 184537"/>
                <a:gd name="connsiteX2" fmla="*/ 0 w 184537"/>
                <a:gd name="connsiteY2" fmla="*/ 167590 h 184537"/>
                <a:gd name="connsiteX3" fmla="*/ 0 w 184537"/>
                <a:gd name="connsiteY3" fmla="*/ 16947 h 184537"/>
                <a:gd name="connsiteX4" fmla="*/ 16947 w 184537"/>
                <a:gd name="connsiteY4" fmla="*/ 0 h 184537"/>
                <a:gd name="connsiteX5" fmla="*/ 167590 w 184537"/>
                <a:gd name="connsiteY5" fmla="*/ 0 h 184537"/>
                <a:gd name="connsiteX6" fmla="*/ 184538 w 184537"/>
                <a:gd name="connsiteY6" fmla="*/ 16947 h 184537"/>
                <a:gd name="connsiteX7" fmla="*/ 184538 w 184537"/>
                <a:gd name="connsiteY7" fmla="*/ 167590 h 184537"/>
                <a:gd name="connsiteX8" fmla="*/ 167590 w 184537"/>
                <a:gd name="connsiteY8" fmla="*/ 184538 h 184537"/>
                <a:gd name="connsiteX9" fmla="*/ 167590 w 184537"/>
                <a:gd name="connsiteY9" fmla="*/ 184538 h 184537"/>
                <a:gd name="connsiteX10" fmla="*/ 33267 w 184537"/>
                <a:gd name="connsiteY10" fmla="*/ 151271 h 184537"/>
                <a:gd name="connsiteX11" fmla="*/ 150643 w 184537"/>
                <a:gd name="connsiteY11" fmla="*/ 151271 h 184537"/>
                <a:gd name="connsiteX12" fmla="*/ 150643 w 184537"/>
                <a:gd name="connsiteY12" fmla="*/ 33895 h 184537"/>
                <a:gd name="connsiteX13" fmla="*/ 33267 w 184537"/>
                <a:gd name="connsiteY13" fmla="*/ 33895 h 184537"/>
                <a:gd name="connsiteX14" fmla="*/ 33267 w 184537"/>
                <a:gd name="connsiteY14" fmla="*/ 151271 h 184537"/>
                <a:gd name="connsiteX15" fmla="*/ 33267 w 184537"/>
                <a:gd name="connsiteY15" fmla="*/ 151271 h 184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4537" h="184537">
                  <a:moveTo>
                    <a:pt x="167590" y="184538"/>
                  </a:moveTo>
                  <a:lnTo>
                    <a:pt x="16947" y="184538"/>
                  </a:lnTo>
                  <a:cubicBezTo>
                    <a:pt x="7532" y="184538"/>
                    <a:pt x="0" y="177005"/>
                    <a:pt x="0" y="167590"/>
                  </a:cubicBezTo>
                  <a:lnTo>
                    <a:pt x="0" y="16947"/>
                  </a:lnTo>
                  <a:cubicBezTo>
                    <a:pt x="0" y="7532"/>
                    <a:pt x="7532" y="0"/>
                    <a:pt x="16947" y="0"/>
                  </a:cubicBezTo>
                  <a:lnTo>
                    <a:pt x="167590" y="0"/>
                  </a:lnTo>
                  <a:cubicBezTo>
                    <a:pt x="177005" y="0"/>
                    <a:pt x="184538" y="7532"/>
                    <a:pt x="184538" y="16947"/>
                  </a:cubicBezTo>
                  <a:lnTo>
                    <a:pt x="184538" y="167590"/>
                  </a:lnTo>
                  <a:cubicBezTo>
                    <a:pt x="184538" y="177005"/>
                    <a:pt x="177005" y="184538"/>
                    <a:pt x="167590" y="184538"/>
                  </a:cubicBezTo>
                  <a:lnTo>
                    <a:pt x="167590" y="184538"/>
                  </a:lnTo>
                  <a:close/>
                  <a:moveTo>
                    <a:pt x="33267" y="151271"/>
                  </a:moveTo>
                  <a:lnTo>
                    <a:pt x="150643" y="151271"/>
                  </a:lnTo>
                  <a:lnTo>
                    <a:pt x="150643" y="33895"/>
                  </a:lnTo>
                  <a:lnTo>
                    <a:pt x="33267" y="33895"/>
                  </a:lnTo>
                  <a:lnTo>
                    <a:pt x="33267" y="151271"/>
                  </a:lnTo>
                  <a:lnTo>
                    <a:pt x="33267" y="151271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34" name="Forma Livre: Forma 133">
              <a:extLst>
                <a:ext uri="{FF2B5EF4-FFF2-40B4-BE49-F238E27FC236}">
                  <a16:creationId xmlns:a16="http://schemas.microsoft.com/office/drawing/2014/main" id="{3B6A6948-2AFB-4E7A-A970-24BD64B02A19}"/>
                </a:ext>
              </a:extLst>
            </p:cNvPr>
            <p:cNvSpPr/>
            <p:nvPr/>
          </p:nvSpPr>
          <p:spPr>
            <a:xfrm>
              <a:off x="5599237" y="2789979"/>
              <a:ext cx="184537" cy="184537"/>
            </a:xfrm>
            <a:custGeom>
              <a:avLst/>
              <a:gdLst>
                <a:gd name="connsiteX0" fmla="*/ 167590 w 184537"/>
                <a:gd name="connsiteY0" fmla="*/ 184538 h 184537"/>
                <a:gd name="connsiteX1" fmla="*/ 16947 w 184537"/>
                <a:gd name="connsiteY1" fmla="*/ 184538 h 184537"/>
                <a:gd name="connsiteX2" fmla="*/ 0 w 184537"/>
                <a:gd name="connsiteY2" fmla="*/ 167590 h 184537"/>
                <a:gd name="connsiteX3" fmla="*/ 0 w 184537"/>
                <a:gd name="connsiteY3" fmla="*/ 16947 h 184537"/>
                <a:gd name="connsiteX4" fmla="*/ 16947 w 184537"/>
                <a:gd name="connsiteY4" fmla="*/ 0 h 184537"/>
                <a:gd name="connsiteX5" fmla="*/ 167590 w 184537"/>
                <a:gd name="connsiteY5" fmla="*/ 0 h 184537"/>
                <a:gd name="connsiteX6" fmla="*/ 184537 w 184537"/>
                <a:gd name="connsiteY6" fmla="*/ 16947 h 184537"/>
                <a:gd name="connsiteX7" fmla="*/ 184537 w 184537"/>
                <a:gd name="connsiteY7" fmla="*/ 167590 h 184537"/>
                <a:gd name="connsiteX8" fmla="*/ 167590 w 184537"/>
                <a:gd name="connsiteY8" fmla="*/ 184538 h 184537"/>
                <a:gd name="connsiteX9" fmla="*/ 167590 w 184537"/>
                <a:gd name="connsiteY9" fmla="*/ 184538 h 184537"/>
                <a:gd name="connsiteX10" fmla="*/ 33267 w 184537"/>
                <a:gd name="connsiteY10" fmla="*/ 151271 h 184537"/>
                <a:gd name="connsiteX11" fmla="*/ 150643 w 184537"/>
                <a:gd name="connsiteY11" fmla="*/ 151271 h 184537"/>
                <a:gd name="connsiteX12" fmla="*/ 150643 w 184537"/>
                <a:gd name="connsiteY12" fmla="*/ 33895 h 184537"/>
                <a:gd name="connsiteX13" fmla="*/ 33267 w 184537"/>
                <a:gd name="connsiteY13" fmla="*/ 33895 h 184537"/>
                <a:gd name="connsiteX14" fmla="*/ 33267 w 184537"/>
                <a:gd name="connsiteY14" fmla="*/ 151271 h 184537"/>
                <a:gd name="connsiteX15" fmla="*/ 33267 w 184537"/>
                <a:gd name="connsiteY15" fmla="*/ 151271 h 184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4537" h="184537">
                  <a:moveTo>
                    <a:pt x="167590" y="184538"/>
                  </a:moveTo>
                  <a:lnTo>
                    <a:pt x="16947" y="184538"/>
                  </a:lnTo>
                  <a:cubicBezTo>
                    <a:pt x="7532" y="184538"/>
                    <a:pt x="0" y="177005"/>
                    <a:pt x="0" y="167590"/>
                  </a:cubicBezTo>
                  <a:lnTo>
                    <a:pt x="0" y="16947"/>
                  </a:lnTo>
                  <a:cubicBezTo>
                    <a:pt x="0" y="7532"/>
                    <a:pt x="7532" y="0"/>
                    <a:pt x="16947" y="0"/>
                  </a:cubicBezTo>
                  <a:lnTo>
                    <a:pt x="167590" y="0"/>
                  </a:lnTo>
                  <a:cubicBezTo>
                    <a:pt x="177005" y="0"/>
                    <a:pt x="184537" y="7532"/>
                    <a:pt x="184537" y="16947"/>
                  </a:cubicBezTo>
                  <a:lnTo>
                    <a:pt x="184537" y="167590"/>
                  </a:lnTo>
                  <a:cubicBezTo>
                    <a:pt x="184537" y="177005"/>
                    <a:pt x="177005" y="184538"/>
                    <a:pt x="167590" y="184538"/>
                  </a:cubicBezTo>
                  <a:lnTo>
                    <a:pt x="167590" y="184538"/>
                  </a:lnTo>
                  <a:close/>
                  <a:moveTo>
                    <a:pt x="33267" y="151271"/>
                  </a:moveTo>
                  <a:lnTo>
                    <a:pt x="150643" y="151271"/>
                  </a:lnTo>
                  <a:lnTo>
                    <a:pt x="150643" y="33895"/>
                  </a:lnTo>
                  <a:lnTo>
                    <a:pt x="33267" y="33895"/>
                  </a:lnTo>
                  <a:lnTo>
                    <a:pt x="33267" y="151271"/>
                  </a:lnTo>
                  <a:lnTo>
                    <a:pt x="33267" y="151271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35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4368359" y="2582846"/>
            <a:ext cx="392299" cy="392299"/>
            <a:chOff x="4368359" y="2582846"/>
            <a:chExt cx="392299" cy="392299"/>
          </a:xfrm>
          <a:solidFill>
            <a:srgbClr val="B1B1A1"/>
          </a:solidFill>
        </p:grpSpPr>
        <p:sp>
          <p:nvSpPr>
            <p:cNvPr id="136" name="Forma Livre: Forma 135">
              <a:extLst>
                <a:ext uri="{FF2B5EF4-FFF2-40B4-BE49-F238E27FC236}">
                  <a16:creationId xmlns:a16="http://schemas.microsoft.com/office/drawing/2014/main" id="{878E82BF-2F7A-4AB0-9A0F-18A3BDCBC416}"/>
                </a:ext>
              </a:extLst>
            </p:cNvPr>
            <p:cNvSpPr/>
            <p:nvPr/>
          </p:nvSpPr>
          <p:spPr>
            <a:xfrm>
              <a:off x="4368359" y="2582846"/>
              <a:ext cx="392299" cy="392299"/>
            </a:xfrm>
            <a:custGeom>
              <a:avLst/>
              <a:gdLst>
                <a:gd name="connsiteX0" fmla="*/ 374724 w 392299"/>
                <a:gd name="connsiteY0" fmla="*/ 392299 h 392299"/>
                <a:gd name="connsiteX1" fmla="*/ 17575 w 392299"/>
                <a:gd name="connsiteY1" fmla="*/ 392299 h 392299"/>
                <a:gd name="connsiteX2" fmla="*/ 0 w 392299"/>
                <a:gd name="connsiteY2" fmla="*/ 374724 h 392299"/>
                <a:gd name="connsiteX3" fmla="*/ 0 w 392299"/>
                <a:gd name="connsiteY3" fmla="*/ 17575 h 392299"/>
                <a:gd name="connsiteX4" fmla="*/ 17575 w 392299"/>
                <a:gd name="connsiteY4" fmla="*/ 0 h 392299"/>
                <a:gd name="connsiteX5" fmla="*/ 374724 w 392299"/>
                <a:gd name="connsiteY5" fmla="*/ 0 h 392299"/>
                <a:gd name="connsiteX6" fmla="*/ 392299 w 392299"/>
                <a:gd name="connsiteY6" fmla="*/ 17575 h 392299"/>
                <a:gd name="connsiteX7" fmla="*/ 392299 w 392299"/>
                <a:gd name="connsiteY7" fmla="*/ 374724 h 392299"/>
                <a:gd name="connsiteX8" fmla="*/ 374724 w 392299"/>
                <a:gd name="connsiteY8" fmla="*/ 392299 h 392299"/>
                <a:gd name="connsiteX9" fmla="*/ 374724 w 392299"/>
                <a:gd name="connsiteY9" fmla="*/ 392299 h 392299"/>
                <a:gd name="connsiteX10" fmla="*/ 35150 w 392299"/>
                <a:gd name="connsiteY10" fmla="*/ 357149 h 392299"/>
                <a:gd name="connsiteX11" fmla="*/ 357149 w 392299"/>
                <a:gd name="connsiteY11" fmla="*/ 357149 h 392299"/>
                <a:gd name="connsiteX12" fmla="*/ 357149 w 392299"/>
                <a:gd name="connsiteY12" fmla="*/ 35150 h 392299"/>
                <a:gd name="connsiteX13" fmla="*/ 35150 w 392299"/>
                <a:gd name="connsiteY13" fmla="*/ 35150 h 392299"/>
                <a:gd name="connsiteX14" fmla="*/ 35150 w 392299"/>
                <a:gd name="connsiteY14" fmla="*/ 357149 h 392299"/>
                <a:gd name="connsiteX15" fmla="*/ 35150 w 392299"/>
                <a:gd name="connsiteY15" fmla="*/ 357149 h 392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92299" h="392299">
                  <a:moveTo>
                    <a:pt x="374724" y="392299"/>
                  </a:moveTo>
                  <a:lnTo>
                    <a:pt x="17575" y="392299"/>
                  </a:lnTo>
                  <a:cubicBezTo>
                    <a:pt x="8160" y="392299"/>
                    <a:pt x="0" y="384139"/>
                    <a:pt x="0" y="374724"/>
                  </a:cubicBezTo>
                  <a:lnTo>
                    <a:pt x="0" y="17575"/>
                  </a:lnTo>
                  <a:cubicBezTo>
                    <a:pt x="0" y="8160"/>
                    <a:pt x="8160" y="0"/>
                    <a:pt x="17575" y="0"/>
                  </a:cubicBezTo>
                  <a:lnTo>
                    <a:pt x="374724" y="0"/>
                  </a:lnTo>
                  <a:cubicBezTo>
                    <a:pt x="384139" y="0"/>
                    <a:pt x="392299" y="8160"/>
                    <a:pt x="392299" y="17575"/>
                  </a:cubicBezTo>
                  <a:lnTo>
                    <a:pt x="392299" y="374724"/>
                  </a:lnTo>
                  <a:cubicBezTo>
                    <a:pt x="392299" y="384767"/>
                    <a:pt x="384139" y="392299"/>
                    <a:pt x="374724" y="392299"/>
                  </a:cubicBezTo>
                  <a:lnTo>
                    <a:pt x="374724" y="392299"/>
                  </a:lnTo>
                  <a:close/>
                  <a:moveTo>
                    <a:pt x="35150" y="357149"/>
                  </a:moveTo>
                  <a:lnTo>
                    <a:pt x="357149" y="357149"/>
                  </a:lnTo>
                  <a:lnTo>
                    <a:pt x="357149" y="35150"/>
                  </a:lnTo>
                  <a:lnTo>
                    <a:pt x="35150" y="35150"/>
                  </a:lnTo>
                  <a:lnTo>
                    <a:pt x="35150" y="357149"/>
                  </a:lnTo>
                  <a:lnTo>
                    <a:pt x="35150" y="357149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37" name="Forma Livre: Forma 136">
              <a:extLst>
                <a:ext uri="{FF2B5EF4-FFF2-40B4-BE49-F238E27FC236}">
                  <a16:creationId xmlns:a16="http://schemas.microsoft.com/office/drawing/2014/main" id="{D20881C5-0518-4166-A66A-7CD2FB205BE4}"/>
                </a:ext>
              </a:extLst>
            </p:cNvPr>
            <p:cNvSpPr/>
            <p:nvPr/>
          </p:nvSpPr>
          <p:spPr>
            <a:xfrm>
              <a:off x="4382796" y="2709637"/>
              <a:ext cx="363425" cy="17574"/>
            </a:xfrm>
            <a:custGeom>
              <a:avLst/>
              <a:gdLst>
                <a:gd name="connsiteX0" fmla="*/ 354638 w 363425"/>
                <a:gd name="connsiteY0" fmla="*/ 17575 h 17574"/>
                <a:gd name="connsiteX1" fmla="*/ 8787 w 363425"/>
                <a:gd name="connsiteY1" fmla="*/ 17575 h 17574"/>
                <a:gd name="connsiteX2" fmla="*/ 0 w 363425"/>
                <a:gd name="connsiteY2" fmla="*/ 8787 h 17574"/>
                <a:gd name="connsiteX3" fmla="*/ 8787 w 363425"/>
                <a:gd name="connsiteY3" fmla="*/ 0 h 17574"/>
                <a:gd name="connsiteX4" fmla="*/ 354638 w 363425"/>
                <a:gd name="connsiteY4" fmla="*/ 0 h 17574"/>
                <a:gd name="connsiteX5" fmla="*/ 363426 w 363425"/>
                <a:gd name="connsiteY5" fmla="*/ 8787 h 17574"/>
                <a:gd name="connsiteX6" fmla="*/ 354638 w 363425"/>
                <a:gd name="connsiteY6" fmla="*/ 17575 h 17574"/>
                <a:gd name="connsiteX7" fmla="*/ 354638 w 363425"/>
                <a:gd name="connsiteY7" fmla="*/ 17575 h 17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3425" h="17574">
                  <a:moveTo>
                    <a:pt x="354638" y="17575"/>
                  </a:moveTo>
                  <a:lnTo>
                    <a:pt x="8787" y="17575"/>
                  </a:lnTo>
                  <a:cubicBezTo>
                    <a:pt x="3766" y="17575"/>
                    <a:pt x="0" y="13809"/>
                    <a:pt x="0" y="8787"/>
                  </a:cubicBezTo>
                  <a:cubicBezTo>
                    <a:pt x="0" y="3766"/>
                    <a:pt x="3766" y="0"/>
                    <a:pt x="8787" y="0"/>
                  </a:cubicBezTo>
                  <a:lnTo>
                    <a:pt x="354638" y="0"/>
                  </a:lnTo>
                  <a:cubicBezTo>
                    <a:pt x="359660" y="0"/>
                    <a:pt x="363426" y="3766"/>
                    <a:pt x="363426" y="8787"/>
                  </a:cubicBezTo>
                  <a:cubicBezTo>
                    <a:pt x="363426" y="13181"/>
                    <a:pt x="359032" y="17575"/>
                    <a:pt x="354638" y="17575"/>
                  </a:cubicBezTo>
                  <a:lnTo>
                    <a:pt x="354638" y="17575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38" name="Forma Livre: Forma 137">
              <a:extLst>
                <a:ext uri="{FF2B5EF4-FFF2-40B4-BE49-F238E27FC236}">
                  <a16:creationId xmlns:a16="http://schemas.microsoft.com/office/drawing/2014/main" id="{CCFAC657-9F6A-4DA0-85E4-0591D911D8D0}"/>
                </a:ext>
              </a:extLst>
            </p:cNvPr>
            <p:cNvSpPr/>
            <p:nvPr/>
          </p:nvSpPr>
          <p:spPr>
            <a:xfrm>
              <a:off x="4382796" y="2828268"/>
              <a:ext cx="363425" cy="17575"/>
            </a:xfrm>
            <a:custGeom>
              <a:avLst/>
              <a:gdLst>
                <a:gd name="connsiteX0" fmla="*/ 354638 w 363425"/>
                <a:gd name="connsiteY0" fmla="*/ 17575 h 17575"/>
                <a:gd name="connsiteX1" fmla="*/ 8787 w 363425"/>
                <a:gd name="connsiteY1" fmla="*/ 17575 h 17575"/>
                <a:gd name="connsiteX2" fmla="*/ 0 w 363425"/>
                <a:gd name="connsiteY2" fmla="*/ 8787 h 17575"/>
                <a:gd name="connsiteX3" fmla="*/ 8787 w 363425"/>
                <a:gd name="connsiteY3" fmla="*/ 0 h 17575"/>
                <a:gd name="connsiteX4" fmla="*/ 354638 w 363425"/>
                <a:gd name="connsiteY4" fmla="*/ 0 h 17575"/>
                <a:gd name="connsiteX5" fmla="*/ 363426 w 363425"/>
                <a:gd name="connsiteY5" fmla="*/ 8787 h 17575"/>
                <a:gd name="connsiteX6" fmla="*/ 354638 w 363425"/>
                <a:gd name="connsiteY6" fmla="*/ 17575 h 17575"/>
                <a:gd name="connsiteX7" fmla="*/ 354638 w 363425"/>
                <a:gd name="connsiteY7" fmla="*/ 17575 h 17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3425" h="17575">
                  <a:moveTo>
                    <a:pt x="354638" y="17575"/>
                  </a:moveTo>
                  <a:lnTo>
                    <a:pt x="8787" y="17575"/>
                  </a:lnTo>
                  <a:cubicBezTo>
                    <a:pt x="3766" y="17575"/>
                    <a:pt x="0" y="13809"/>
                    <a:pt x="0" y="8787"/>
                  </a:cubicBezTo>
                  <a:cubicBezTo>
                    <a:pt x="0" y="3766"/>
                    <a:pt x="3766" y="0"/>
                    <a:pt x="8787" y="0"/>
                  </a:cubicBezTo>
                  <a:lnTo>
                    <a:pt x="354638" y="0"/>
                  </a:lnTo>
                  <a:cubicBezTo>
                    <a:pt x="359660" y="0"/>
                    <a:pt x="363426" y="3766"/>
                    <a:pt x="363426" y="8787"/>
                  </a:cubicBezTo>
                  <a:cubicBezTo>
                    <a:pt x="363426" y="13809"/>
                    <a:pt x="359032" y="17575"/>
                    <a:pt x="354638" y="17575"/>
                  </a:cubicBezTo>
                  <a:lnTo>
                    <a:pt x="354638" y="17575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39" name="Forma Livre: Forma 138">
              <a:extLst>
                <a:ext uri="{FF2B5EF4-FFF2-40B4-BE49-F238E27FC236}">
                  <a16:creationId xmlns:a16="http://schemas.microsoft.com/office/drawing/2014/main" id="{347F127A-E0F1-41F1-B478-0D9DEEB7A609}"/>
                </a:ext>
              </a:extLst>
            </p:cNvPr>
            <p:cNvSpPr/>
            <p:nvPr/>
          </p:nvSpPr>
          <p:spPr>
            <a:xfrm>
              <a:off x="4615037" y="2596027"/>
              <a:ext cx="17575" cy="363425"/>
            </a:xfrm>
            <a:custGeom>
              <a:avLst/>
              <a:gdLst>
                <a:gd name="connsiteX0" fmla="*/ 8788 w 17575"/>
                <a:gd name="connsiteY0" fmla="*/ 363426 h 363425"/>
                <a:gd name="connsiteX1" fmla="*/ 0 w 17575"/>
                <a:gd name="connsiteY1" fmla="*/ 354638 h 363425"/>
                <a:gd name="connsiteX2" fmla="*/ 0 w 17575"/>
                <a:gd name="connsiteY2" fmla="*/ 8787 h 363425"/>
                <a:gd name="connsiteX3" fmla="*/ 8788 w 17575"/>
                <a:gd name="connsiteY3" fmla="*/ 0 h 363425"/>
                <a:gd name="connsiteX4" fmla="*/ 17575 w 17575"/>
                <a:gd name="connsiteY4" fmla="*/ 8787 h 363425"/>
                <a:gd name="connsiteX5" fmla="*/ 17575 w 17575"/>
                <a:gd name="connsiteY5" fmla="*/ 354638 h 363425"/>
                <a:gd name="connsiteX6" fmla="*/ 8788 w 17575"/>
                <a:gd name="connsiteY6" fmla="*/ 363426 h 363425"/>
                <a:gd name="connsiteX7" fmla="*/ 8788 w 17575"/>
                <a:gd name="connsiteY7" fmla="*/ 363426 h 36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575" h="363425">
                  <a:moveTo>
                    <a:pt x="8788" y="363426"/>
                  </a:moveTo>
                  <a:cubicBezTo>
                    <a:pt x="3766" y="363426"/>
                    <a:pt x="0" y="359660"/>
                    <a:pt x="0" y="354638"/>
                  </a:cubicBezTo>
                  <a:lnTo>
                    <a:pt x="0" y="8787"/>
                  </a:lnTo>
                  <a:cubicBezTo>
                    <a:pt x="0" y="3766"/>
                    <a:pt x="3766" y="0"/>
                    <a:pt x="8788" y="0"/>
                  </a:cubicBezTo>
                  <a:cubicBezTo>
                    <a:pt x="13809" y="0"/>
                    <a:pt x="17575" y="3766"/>
                    <a:pt x="17575" y="8787"/>
                  </a:cubicBezTo>
                  <a:lnTo>
                    <a:pt x="17575" y="354638"/>
                  </a:lnTo>
                  <a:cubicBezTo>
                    <a:pt x="17575" y="359660"/>
                    <a:pt x="13809" y="363426"/>
                    <a:pt x="8788" y="363426"/>
                  </a:cubicBezTo>
                  <a:lnTo>
                    <a:pt x="8788" y="363426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40" name="Forma Livre: Forma 139">
              <a:extLst>
                <a:ext uri="{FF2B5EF4-FFF2-40B4-BE49-F238E27FC236}">
                  <a16:creationId xmlns:a16="http://schemas.microsoft.com/office/drawing/2014/main" id="{6BCEA09D-6D34-42F4-BCDF-7F4BED3F49DB}"/>
                </a:ext>
              </a:extLst>
            </p:cNvPr>
            <p:cNvSpPr/>
            <p:nvPr/>
          </p:nvSpPr>
          <p:spPr>
            <a:xfrm>
              <a:off x="4495778" y="2596027"/>
              <a:ext cx="17575" cy="363425"/>
            </a:xfrm>
            <a:custGeom>
              <a:avLst/>
              <a:gdLst>
                <a:gd name="connsiteX0" fmla="*/ 8787 w 17575"/>
                <a:gd name="connsiteY0" fmla="*/ 363426 h 363425"/>
                <a:gd name="connsiteX1" fmla="*/ 0 w 17575"/>
                <a:gd name="connsiteY1" fmla="*/ 354638 h 363425"/>
                <a:gd name="connsiteX2" fmla="*/ 0 w 17575"/>
                <a:gd name="connsiteY2" fmla="*/ 8787 h 363425"/>
                <a:gd name="connsiteX3" fmla="*/ 8787 w 17575"/>
                <a:gd name="connsiteY3" fmla="*/ 0 h 363425"/>
                <a:gd name="connsiteX4" fmla="*/ 17575 w 17575"/>
                <a:gd name="connsiteY4" fmla="*/ 8787 h 363425"/>
                <a:gd name="connsiteX5" fmla="*/ 17575 w 17575"/>
                <a:gd name="connsiteY5" fmla="*/ 354638 h 363425"/>
                <a:gd name="connsiteX6" fmla="*/ 8787 w 17575"/>
                <a:gd name="connsiteY6" fmla="*/ 363426 h 363425"/>
                <a:gd name="connsiteX7" fmla="*/ 8787 w 17575"/>
                <a:gd name="connsiteY7" fmla="*/ 363426 h 36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575" h="363425">
                  <a:moveTo>
                    <a:pt x="8787" y="363426"/>
                  </a:moveTo>
                  <a:cubicBezTo>
                    <a:pt x="3766" y="363426"/>
                    <a:pt x="0" y="359660"/>
                    <a:pt x="0" y="354638"/>
                  </a:cubicBezTo>
                  <a:lnTo>
                    <a:pt x="0" y="8787"/>
                  </a:lnTo>
                  <a:cubicBezTo>
                    <a:pt x="0" y="3766"/>
                    <a:pt x="3766" y="0"/>
                    <a:pt x="8787" y="0"/>
                  </a:cubicBezTo>
                  <a:cubicBezTo>
                    <a:pt x="13809" y="0"/>
                    <a:pt x="17575" y="3766"/>
                    <a:pt x="17575" y="8787"/>
                  </a:cubicBezTo>
                  <a:lnTo>
                    <a:pt x="17575" y="354638"/>
                  </a:lnTo>
                  <a:cubicBezTo>
                    <a:pt x="17575" y="359660"/>
                    <a:pt x="13809" y="363426"/>
                    <a:pt x="8787" y="363426"/>
                  </a:cubicBezTo>
                  <a:lnTo>
                    <a:pt x="8787" y="363426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41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1355502" y="526570"/>
            <a:ext cx="306934" cy="376607"/>
            <a:chOff x="1355502" y="526570"/>
            <a:chExt cx="306934" cy="376607"/>
          </a:xfrm>
          <a:solidFill>
            <a:srgbClr val="B1B1A1"/>
          </a:solidFill>
        </p:grpSpPr>
        <p:grpSp>
          <p:nvGrpSpPr>
            <p:cNvPr id="142" name="Gráfico 2">
              <a:extLst>
                <a:ext uri="{FF2B5EF4-FFF2-40B4-BE49-F238E27FC236}">
                  <a16:creationId xmlns:a16="http://schemas.microsoft.com/office/drawing/2014/main" id="{83F95F55-5D1D-4425-8D77-756B15108235}"/>
                </a:ext>
              </a:extLst>
            </p:cNvPr>
            <p:cNvGrpSpPr/>
            <p:nvPr/>
          </p:nvGrpSpPr>
          <p:grpSpPr>
            <a:xfrm>
              <a:off x="1355502" y="526570"/>
              <a:ext cx="306934" cy="376607"/>
              <a:chOff x="1355502" y="526570"/>
              <a:chExt cx="306934" cy="376607"/>
            </a:xfrm>
            <a:grpFill/>
          </p:grpSpPr>
          <p:sp>
            <p:nvSpPr>
              <p:cNvPr id="143" name="Forma Livre: Forma 142">
                <a:extLst>
                  <a:ext uri="{FF2B5EF4-FFF2-40B4-BE49-F238E27FC236}">
                    <a16:creationId xmlns:a16="http://schemas.microsoft.com/office/drawing/2014/main" id="{00CBC7DE-2966-432E-B45E-DB750326E459}"/>
                  </a:ext>
                </a:extLst>
              </p:cNvPr>
              <p:cNvSpPr/>
              <p:nvPr/>
            </p:nvSpPr>
            <p:spPr>
              <a:xfrm>
                <a:off x="1536901" y="778270"/>
                <a:ext cx="116748" cy="116748"/>
              </a:xfrm>
              <a:custGeom>
                <a:avLst/>
                <a:gdLst>
                  <a:gd name="connsiteX0" fmla="*/ 8160 w 116748"/>
                  <a:gd name="connsiteY0" fmla="*/ 116748 h 116748"/>
                  <a:gd name="connsiteX1" fmla="*/ 0 w 116748"/>
                  <a:gd name="connsiteY1" fmla="*/ 108588 h 116748"/>
                  <a:gd name="connsiteX2" fmla="*/ 0 w 116748"/>
                  <a:gd name="connsiteY2" fmla="*/ 8160 h 116748"/>
                  <a:gd name="connsiteX3" fmla="*/ 8160 w 116748"/>
                  <a:gd name="connsiteY3" fmla="*/ 0 h 116748"/>
                  <a:gd name="connsiteX4" fmla="*/ 108588 w 116748"/>
                  <a:gd name="connsiteY4" fmla="*/ 0 h 116748"/>
                  <a:gd name="connsiteX5" fmla="*/ 116748 w 116748"/>
                  <a:gd name="connsiteY5" fmla="*/ 8160 h 116748"/>
                  <a:gd name="connsiteX6" fmla="*/ 108588 w 116748"/>
                  <a:gd name="connsiteY6" fmla="*/ 16320 h 116748"/>
                  <a:gd name="connsiteX7" fmla="*/ 16947 w 116748"/>
                  <a:gd name="connsiteY7" fmla="*/ 16320 h 116748"/>
                  <a:gd name="connsiteX8" fmla="*/ 16947 w 116748"/>
                  <a:gd name="connsiteY8" fmla="*/ 107961 h 116748"/>
                  <a:gd name="connsiteX9" fmla="*/ 8160 w 116748"/>
                  <a:gd name="connsiteY9" fmla="*/ 116748 h 116748"/>
                  <a:gd name="connsiteX10" fmla="*/ 8160 w 116748"/>
                  <a:gd name="connsiteY10" fmla="*/ 116748 h 116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6748" h="116748">
                    <a:moveTo>
                      <a:pt x="8160" y="116748"/>
                    </a:moveTo>
                    <a:cubicBezTo>
                      <a:pt x="3766" y="116748"/>
                      <a:pt x="0" y="112982"/>
                      <a:pt x="0" y="108588"/>
                    </a:cubicBezTo>
                    <a:lnTo>
                      <a:pt x="0" y="8160"/>
                    </a:lnTo>
                    <a:cubicBezTo>
                      <a:pt x="0" y="3766"/>
                      <a:pt x="3766" y="0"/>
                      <a:pt x="8160" y="0"/>
                    </a:cubicBezTo>
                    <a:lnTo>
                      <a:pt x="108588" y="0"/>
                    </a:lnTo>
                    <a:cubicBezTo>
                      <a:pt x="112982" y="0"/>
                      <a:pt x="116748" y="3766"/>
                      <a:pt x="116748" y="8160"/>
                    </a:cubicBezTo>
                    <a:cubicBezTo>
                      <a:pt x="116748" y="12554"/>
                      <a:pt x="112982" y="16320"/>
                      <a:pt x="108588" y="16320"/>
                    </a:cubicBezTo>
                    <a:lnTo>
                      <a:pt x="16947" y="16320"/>
                    </a:lnTo>
                    <a:lnTo>
                      <a:pt x="16947" y="107961"/>
                    </a:lnTo>
                    <a:cubicBezTo>
                      <a:pt x="16947" y="112982"/>
                      <a:pt x="13181" y="116748"/>
                      <a:pt x="8160" y="116748"/>
                    </a:cubicBezTo>
                    <a:lnTo>
                      <a:pt x="8160" y="116748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44" name="Forma Livre: Forma 143">
                <a:extLst>
                  <a:ext uri="{FF2B5EF4-FFF2-40B4-BE49-F238E27FC236}">
                    <a16:creationId xmlns:a16="http://schemas.microsoft.com/office/drawing/2014/main" id="{57884F67-981B-4BE5-996C-A3752BFBA5FB}"/>
                  </a:ext>
                </a:extLst>
              </p:cNvPr>
              <p:cNvSpPr/>
              <p:nvPr/>
            </p:nvSpPr>
            <p:spPr>
              <a:xfrm>
                <a:off x="1355502" y="526570"/>
                <a:ext cx="306934" cy="376607"/>
              </a:xfrm>
              <a:custGeom>
                <a:avLst/>
                <a:gdLst>
                  <a:gd name="connsiteX0" fmla="*/ 189559 w 306934"/>
                  <a:gd name="connsiteY0" fmla="*/ 376607 h 376607"/>
                  <a:gd name="connsiteX1" fmla="*/ 16947 w 306934"/>
                  <a:gd name="connsiteY1" fmla="*/ 376607 h 376607"/>
                  <a:gd name="connsiteX2" fmla="*/ 0 w 306934"/>
                  <a:gd name="connsiteY2" fmla="*/ 359660 h 376607"/>
                  <a:gd name="connsiteX3" fmla="*/ 0 w 306934"/>
                  <a:gd name="connsiteY3" fmla="*/ 259231 h 376607"/>
                  <a:gd name="connsiteX4" fmla="*/ 16947 w 306934"/>
                  <a:gd name="connsiteY4" fmla="*/ 242284 h 376607"/>
                  <a:gd name="connsiteX5" fmla="*/ 33895 w 306934"/>
                  <a:gd name="connsiteY5" fmla="*/ 259231 h 376607"/>
                  <a:gd name="connsiteX6" fmla="*/ 33895 w 306934"/>
                  <a:gd name="connsiteY6" fmla="*/ 342713 h 376607"/>
                  <a:gd name="connsiteX7" fmla="*/ 182655 w 306934"/>
                  <a:gd name="connsiteY7" fmla="*/ 342713 h 376607"/>
                  <a:gd name="connsiteX8" fmla="*/ 273040 w 306934"/>
                  <a:gd name="connsiteY8" fmla="*/ 252327 h 376607"/>
                  <a:gd name="connsiteX9" fmla="*/ 273040 w 306934"/>
                  <a:gd name="connsiteY9" fmla="*/ 33895 h 376607"/>
                  <a:gd name="connsiteX10" fmla="*/ 16947 w 306934"/>
                  <a:gd name="connsiteY10" fmla="*/ 33895 h 376607"/>
                  <a:gd name="connsiteX11" fmla="*/ 0 w 306934"/>
                  <a:gd name="connsiteY11" fmla="*/ 16947 h 376607"/>
                  <a:gd name="connsiteX12" fmla="*/ 16947 w 306934"/>
                  <a:gd name="connsiteY12" fmla="*/ 0 h 376607"/>
                  <a:gd name="connsiteX13" fmla="*/ 289988 w 306934"/>
                  <a:gd name="connsiteY13" fmla="*/ 0 h 376607"/>
                  <a:gd name="connsiteX14" fmla="*/ 306935 w 306934"/>
                  <a:gd name="connsiteY14" fmla="*/ 16947 h 376607"/>
                  <a:gd name="connsiteX15" fmla="*/ 306935 w 306934"/>
                  <a:gd name="connsiteY15" fmla="*/ 259231 h 376607"/>
                  <a:gd name="connsiteX16" fmla="*/ 301913 w 306934"/>
                  <a:gd name="connsiteY16" fmla="*/ 271157 h 376607"/>
                  <a:gd name="connsiteX17" fmla="*/ 201485 w 306934"/>
                  <a:gd name="connsiteY17" fmla="*/ 371586 h 376607"/>
                  <a:gd name="connsiteX18" fmla="*/ 189559 w 306934"/>
                  <a:gd name="connsiteY18" fmla="*/ 376607 h 376607"/>
                  <a:gd name="connsiteX19" fmla="*/ 189559 w 306934"/>
                  <a:gd name="connsiteY19" fmla="*/ 376607 h 376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06934" h="376607">
                    <a:moveTo>
                      <a:pt x="189559" y="376607"/>
                    </a:moveTo>
                    <a:lnTo>
                      <a:pt x="16947" y="376607"/>
                    </a:lnTo>
                    <a:cubicBezTo>
                      <a:pt x="7532" y="376607"/>
                      <a:pt x="0" y="369075"/>
                      <a:pt x="0" y="359660"/>
                    </a:cubicBezTo>
                    <a:lnTo>
                      <a:pt x="0" y="259231"/>
                    </a:lnTo>
                    <a:cubicBezTo>
                      <a:pt x="0" y="249816"/>
                      <a:pt x="7532" y="242284"/>
                      <a:pt x="16947" y="242284"/>
                    </a:cubicBezTo>
                    <a:cubicBezTo>
                      <a:pt x="26363" y="242284"/>
                      <a:pt x="33895" y="249816"/>
                      <a:pt x="33895" y="259231"/>
                    </a:cubicBezTo>
                    <a:lnTo>
                      <a:pt x="33895" y="342713"/>
                    </a:lnTo>
                    <a:lnTo>
                      <a:pt x="182655" y="342713"/>
                    </a:lnTo>
                    <a:lnTo>
                      <a:pt x="273040" y="252327"/>
                    </a:lnTo>
                    <a:lnTo>
                      <a:pt x="273040" y="33895"/>
                    </a:lnTo>
                    <a:lnTo>
                      <a:pt x="16947" y="33895"/>
                    </a:lnTo>
                    <a:cubicBezTo>
                      <a:pt x="7532" y="33895"/>
                      <a:pt x="0" y="26363"/>
                      <a:pt x="0" y="16947"/>
                    </a:cubicBezTo>
                    <a:cubicBezTo>
                      <a:pt x="0" y="7532"/>
                      <a:pt x="7532" y="0"/>
                      <a:pt x="16947" y="0"/>
                    </a:cubicBezTo>
                    <a:lnTo>
                      <a:pt x="289988" y="0"/>
                    </a:lnTo>
                    <a:cubicBezTo>
                      <a:pt x="299403" y="0"/>
                      <a:pt x="306935" y="7532"/>
                      <a:pt x="306935" y="16947"/>
                    </a:cubicBezTo>
                    <a:lnTo>
                      <a:pt x="306935" y="259231"/>
                    </a:lnTo>
                    <a:cubicBezTo>
                      <a:pt x="306935" y="263625"/>
                      <a:pt x="305052" y="268019"/>
                      <a:pt x="301913" y="271157"/>
                    </a:cubicBezTo>
                    <a:lnTo>
                      <a:pt x="201485" y="371586"/>
                    </a:lnTo>
                    <a:cubicBezTo>
                      <a:pt x="198346" y="374724"/>
                      <a:pt x="193953" y="376607"/>
                      <a:pt x="189559" y="376607"/>
                    </a:cubicBezTo>
                    <a:lnTo>
                      <a:pt x="189559" y="376607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145" name="Gráfico 2">
              <a:extLst>
                <a:ext uri="{FF2B5EF4-FFF2-40B4-BE49-F238E27FC236}">
                  <a16:creationId xmlns:a16="http://schemas.microsoft.com/office/drawing/2014/main" id="{83F95F55-5D1D-4425-8D77-756B15108235}"/>
                </a:ext>
              </a:extLst>
            </p:cNvPr>
            <p:cNvGrpSpPr/>
            <p:nvPr/>
          </p:nvGrpSpPr>
          <p:grpSpPr>
            <a:xfrm>
              <a:off x="1362406" y="585572"/>
              <a:ext cx="244166" cy="155664"/>
              <a:chOff x="1362406" y="585572"/>
              <a:chExt cx="244166" cy="155664"/>
            </a:xfrm>
            <a:grpFill/>
          </p:grpSpPr>
          <p:sp>
            <p:nvSpPr>
              <p:cNvPr id="146" name="Forma Livre: Forma 145">
                <a:extLst>
                  <a:ext uri="{FF2B5EF4-FFF2-40B4-BE49-F238E27FC236}">
                    <a16:creationId xmlns:a16="http://schemas.microsoft.com/office/drawing/2014/main" id="{397F05E5-9C34-4BCE-96F3-E556E4BDAD89}"/>
                  </a:ext>
                </a:extLst>
              </p:cNvPr>
              <p:cNvSpPr/>
              <p:nvPr/>
            </p:nvSpPr>
            <p:spPr>
              <a:xfrm>
                <a:off x="1362406" y="587455"/>
                <a:ext cx="73438" cy="151898"/>
              </a:xfrm>
              <a:custGeom>
                <a:avLst/>
                <a:gdLst>
                  <a:gd name="connsiteX0" fmla="*/ 0 w 73438"/>
                  <a:gd name="connsiteY0" fmla="*/ 0 h 151898"/>
                  <a:gd name="connsiteX1" fmla="*/ 37661 w 73438"/>
                  <a:gd name="connsiteY1" fmla="*/ 0 h 151898"/>
                  <a:gd name="connsiteX2" fmla="*/ 73438 w 73438"/>
                  <a:gd name="connsiteY2" fmla="*/ 37661 h 151898"/>
                  <a:gd name="connsiteX3" fmla="*/ 73438 w 73438"/>
                  <a:gd name="connsiteY3" fmla="*/ 114238 h 151898"/>
                  <a:gd name="connsiteX4" fmla="*/ 37661 w 73438"/>
                  <a:gd name="connsiteY4" fmla="*/ 151898 h 151898"/>
                  <a:gd name="connsiteX5" fmla="*/ 0 w 73438"/>
                  <a:gd name="connsiteY5" fmla="*/ 151898 h 151898"/>
                  <a:gd name="connsiteX6" fmla="*/ 0 w 73438"/>
                  <a:gd name="connsiteY6" fmla="*/ 0 h 151898"/>
                  <a:gd name="connsiteX7" fmla="*/ 24479 w 73438"/>
                  <a:gd name="connsiteY7" fmla="*/ 21969 h 151898"/>
                  <a:gd name="connsiteX8" fmla="*/ 24479 w 73438"/>
                  <a:gd name="connsiteY8" fmla="*/ 130557 h 151898"/>
                  <a:gd name="connsiteX9" fmla="*/ 37661 w 73438"/>
                  <a:gd name="connsiteY9" fmla="*/ 130557 h 151898"/>
                  <a:gd name="connsiteX10" fmla="*/ 49587 w 73438"/>
                  <a:gd name="connsiteY10" fmla="*/ 115493 h 151898"/>
                  <a:gd name="connsiteX11" fmla="*/ 49587 w 73438"/>
                  <a:gd name="connsiteY11" fmla="*/ 36405 h 151898"/>
                  <a:gd name="connsiteX12" fmla="*/ 37661 w 73438"/>
                  <a:gd name="connsiteY12" fmla="*/ 21341 h 151898"/>
                  <a:gd name="connsiteX13" fmla="*/ 24479 w 73438"/>
                  <a:gd name="connsiteY13" fmla="*/ 21341 h 151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3438" h="151898">
                    <a:moveTo>
                      <a:pt x="0" y="0"/>
                    </a:moveTo>
                    <a:lnTo>
                      <a:pt x="37661" y="0"/>
                    </a:lnTo>
                    <a:cubicBezTo>
                      <a:pt x="61513" y="0"/>
                      <a:pt x="73438" y="13181"/>
                      <a:pt x="73438" y="37661"/>
                    </a:cubicBezTo>
                    <a:lnTo>
                      <a:pt x="73438" y="114238"/>
                    </a:lnTo>
                    <a:cubicBezTo>
                      <a:pt x="73438" y="138717"/>
                      <a:pt x="61513" y="151898"/>
                      <a:pt x="37661" y="151898"/>
                    </a:cubicBezTo>
                    <a:lnTo>
                      <a:pt x="0" y="151898"/>
                    </a:lnTo>
                    <a:lnTo>
                      <a:pt x="0" y="0"/>
                    </a:lnTo>
                    <a:close/>
                    <a:moveTo>
                      <a:pt x="24479" y="21969"/>
                    </a:moveTo>
                    <a:lnTo>
                      <a:pt x="24479" y="130557"/>
                    </a:lnTo>
                    <a:lnTo>
                      <a:pt x="37661" y="130557"/>
                    </a:lnTo>
                    <a:cubicBezTo>
                      <a:pt x="45193" y="130557"/>
                      <a:pt x="49587" y="126791"/>
                      <a:pt x="49587" y="115493"/>
                    </a:cubicBezTo>
                    <a:lnTo>
                      <a:pt x="49587" y="36405"/>
                    </a:lnTo>
                    <a:cubicBezTo>
                      <a:pt x="49587" y="25735"/>
                      <a:pt x="45193" y="21341"/>
                      <a:pt x="37661" y="21341"/>
                    </a:cubicBezTo>
                    <a:lnTo>
                      <a:pt x="24479" y="21341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47" name="Forma Livre: Forma 146">
                <a:extLst>
                  <a:ext uri="{FF2B5EF4-FFF2-40B4-BE49-F238E27FC236}">
                    <a16:creationId xmlns:a16="http://schemas.microsoft.com/office/drawing/2014/main" id="{0D507C5E-CB50-462C-8E64-429149A7F5C2}"/>
                  </a:ext>
                </a:extLst>
              </p:cNvPr>
              <p:cNvSpPr/>
              <p:nvPr/>
            </p:nvSpPr>
            <p:spPr>
              <a:xfrm>
                <a:off x="1449026" y="585572"/>
                <a:ext cx="72810" cy="155664"/>
              </a:xfrm>
              <a:custGeom>
                <a:avLst/>
                <a:gdLst>
                  <a:gd name="connsiteX0" fmla="*/ 0 w 72810"/>
                  <a:gd name="connsiteY0" fmla="*/ 38288 h 155664"/>
                  <a:gd name="connsiteX1" fmla="*/ 36405 w 72810"/>
                  <a:gd name="connsiteY1" fmla="*/ 0 h 155664"/>
                  <a:gd name="connsiteX2" fmla="*/ 72811 w 72810"/>
                  <a:gd name="connsiteY2" fmla="*/ 38288 h 155664"/>
                  <a:gd name="connsiteX3" fmla="*/ 72811 w 72810"/>
                  <a:gd name="connsiteY3" fmla="*/ 117376 h 155664"/>
                  <a:gd name="connsiteX4" fmla="*/ 36405 w 72810"/>
                  <a:gd name="connsiteY4" fmla="*/ 155664 h 155664"/>
                  <a:gd name="connsiteX5" fmla="*/ 0 w 72810"/>
                  <a:gd name="connsiteY5" fmla="*/ 117376 h 155664"/>
                  <a:gd name="connsiteX6" fmla="*/ 0 w 72810"/>
                  <a:gd name="connsiteY6" fmla="*/ 38288 h 155664"/>
                  <a:gd name="connsiteX7" fmla="*/ 24479 w 72810"/>
                  <a:gd name="connsiteY7" fmla="*/ 118631 h 155664"/>
                  <a:gd name="connsiteX8" fmla="*/ 37033 w 72810"/>
                  <a:gd name="connsiteY8" fmla="*/ 133696 h 155664"/>
                  <a:gd name="connsiteX9" fmla="*/ 49587 w 72810"/>
                  <a:gd name="connsiteY9" fmla="*/ 118631 h 155664"/>
                  <a:gd name="connsiteX10" fmla="*/ 49587 w 72810"/>
                  <a:gd name="connsiteY10" fmla="*/ 37033 h 155664"/>
                  <a:gd name="connsiteX11" fmla="*/ 37033 w 72810"/>
                  <a:gd name="connsiteY11" fmla="*/ 21969 h 155664"/>
                  <a:gd name="connsiteX12" fmla="*/ 24479 w 72810"/>
                  <a:gd name="connsiteY12" fmla="*/ 37033 h 155664"/>
                  <a:gd name="connsiteX13" fmla="*/ 24479 w 72810"/>
                  <a:gd name="connsiteY13" fmla="*/ 118631 h 155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2810" h="155664">
                    <a:moveTo>
                      <a:pt x="0" y="38288"/>
                    </a:moveTo>
                    <a:cubicBezTo>
                      <a:pt x="0" y="13809"/>
                      <a:pt x="12554" y="0"/>
                      <a:pt x="36405" y="0"/>
                    </a:cubicBezTo>
                    <a:cubicBezTo>
                      <a:pt x="59629" y="0"/>
                      <a:pt x="72811" y="13809"/>
                      <a:pt x="72811" y="38288"/>
                    </a:cubicBezTo>
                    <a:lnTo>
                      <a:pt x="72811" y="117376"/>
                    </a:lnTo>
                    <a:cubicBezTo>
                      <a:pt x="72811" y="141855"/>
                      <a:pt x="60257" y="155664"/>
                      <a:pt x="36405" y="155664"/>
                    </a:cubicBezTo>
                    <a:cubicBezTo>
                      <a:pt x="13181" y="155664"/>
                      <a:pt x="0" y="141855"/>
                      <a:pt x="0" y="117376"/>
                    </a:cubicBezTo>
                    <a:lnTo>
                      <a:pt x="0" y="38288"/>
                    </a:lnTo>
                    <a:close/>
                    <a:moveTo>
                      <a:pt x="24479" y="118631"/>
                    </a:moveTo>
                    <a:cubicBezTo>
                      <a:pt x="24479" y="129302"/>
                      <a:pt x="29501" y="133696"/>
                      <a:pt x="37033" y="133696"/>
                    </a:cubicBezTo>
                    <a:cubicBezTo>
                      <a:pt x="44565" y="133696"/>
                      <a:pt x="49587" y="129302"/>
                      <a:pt x="49587" y="118631"/>
                    </a:cubicBezTo>
                    <a:lnTo>
                      <a:pt x="49587" y="37033"/>
                    </a:lnTo>
                    <a:cubicBezTo>
                      <a:pt x="49587" y="26363"/>
                      <a:pt x="44565" y="21969"/>
                      <a:pt x="37033" y="21969"/>
                    </a:cubicBezTo>
                    <a:cubicBezTo>
                      <a:pt x="29501" y="21969"/>
                      <a:pt x="24479" y="26363"/>
                      <a:pt x="24479" y="37033"/>
                    </a:cubicBezTo>
                    <a:lnTo>
                      <a:pt x="24479" y="118631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48" name="Forma Livre: Forma 147">
                <a:extLst>
                  <a:ext uri="{FF2B5EF4-FFF2-40B4-BE49-F238E27FC236}">
                    <a16:creationId xmlns:a16="http://schemas.microsoft.com/office/drawing/2014/main" id="{B5CCA6BB-A478-4A12-9507-19D4CBB20C66}"/>
                  </a:ext>
                </a:extLst>
              </p:cNvPr>
              <p:cNvSpPr/>
              <p:nvPr/>
            </p:nvSpPr>
            <p:spPr>
              <a:xfrm>
                <a:off x="1535018" y="585572"/>
                <a:ext cx="71555" cy="155664"/>
              </a:xfrm>
              <a:custGeom>
                <a:avLst/>
                <a:gdLst>
                  <a:gd name="connsiteX0" fmla="*/ 71555 w 71555"/>
                  <a:gd name="connsiteY0" fmla="*/ 97290 h 155664"/>
                  <a:gd name="connsiteX1" fmla="*/ 71555 w 71555"/>
                  <a:gd name="connsiteY1" fmla="*/ 117376 h 155664"/>
                  <a:gd name="connsiteX2" fmla="*/ 35778 w 71555"/>
                  <a:gd name="connsiteY2" fmla="*/ 155664 h 155664"/>
                  <a:gd name="connsiteX3" fmla="*/ 0 w 71555"/>
                  <a:gd name="connsiteY3" fmla="*/ 117376 h 155664"/>
                  <a:gd name="connsiteX4" fmla="*/ 0 w 71555"/>
                  <a:gd name="connsiteY4" fmla="*/ 38288 h 155664"/>
                  <a:gd name="connsiteX5" fmla="*/ 35778 w 71555"/>
                  <a:gd name="connsiteY5" fmla="*/ 0 h 155664"/>
                  <a:gd name="connsiteX6" fmla="*/ 71555 w 71555"/>
                  <a:gd name="connsiteY6" fmla="*/ 38288 h 155664"/>
                  <a:gd name="connsiteX7" fmla="*/ 71555 w 71555"/>
                  <a:gd name="connsiteY7" fmla="*/ 53353 h 155664"/>
                  <a:gd name="connsiteX8" fmla="*/ 48959 w 71555"/>
                  <a:gd name="connsiteY8" fmla="*/ 53353 h 155664"/>
                  <a:gd name="connsiteX9" fmla="*/ 48959 w 71555"/>
                  <a:gd name="connsiteY9" fmla="*/ 37033 h 155664"/>
                  <a:gd name="connsiteX10" fmla="*/ 36405 w 71555"/>
                  <a:gd name="connsiteY10" fmla="*/ 21969 h 155664"/>
                  <a:gd name="connsiteX11" fmla="*/ 23852 w 71555"/>
                  <a:gd name="connsiteY11" fmla="*/ 37033 h 155664"/>
                  <a:gd name="connsiteX12" fmla="*/ 23852 w 71555"/>
                  <a:gd name="connsiteY12" fmla="*/ 119259 h 155664"/>
                  <a:gd name="connsiteX13" fmla="*/ 36405 w 71555"/>
                  <a:gd name="connsiteY13" fmla="*/ 134323 h 155664"/>
                  <a:gd name="connsiteX14" fmla="*/ 48959 w 71555"/>
                  <a:gd name="connsiteY14" fmla="*/ 119259 h 155664"/>
                  <a:gd name="connsiteX15" fmla="*/ 48959 w 71555"/>
                  <a:gd name="connsiteY15" fmla="*/ 97290 h 155664"/>
                  <a:gd name="connsiteX16" fmla="*/ 71555 w 71555"/>
                  <a:gd name="connsiteY16" fmla="*/ 97290 h 155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1555" h="155664">
                    <a:moveTo>
                      <a:pt x="71555" y="97290"/>
                    </a:moveTo>
                    <a:lnTo>
                      <a:pt x="71555" y="117376"/>
                    </a:lnTo>
                    <a:cubicBezTo>
                      <a:pt x="71555" y="141855"/>
                      <a:pt x="59629" y="155664"/>
                      <a:pt x="35778" y="155664"/>
                    </a:cubicBezTo>
                    <a:cubicBezTo>
                      <a:pt x="12554" y="155664"/>
                      <a:pt x="0" y="141855"/>
                      <a:pt x="0" y="117376"/>
                    </a:cubicBezTo>
                    <a:lnTo>
                      <a:pt x="0" y="38288"/>
                    </a:lnTo>
                    <a:cubicBezTo>
                      <a:pt x="0" y="13809"/>
                      <a:pt x="11926" y="0"/>
                      <a:pt x="35778" y="0"/>
                    </a:cubicBezTo>
                    <a:cubicBezTo>
                      <a:pt x="59002" y="0"/>
                      <a:pt x="71555" y="13809"/>
                      <a:pt x="71555" y="38288"/>
                    </a:cubicBezTo>
                    <a:lnTo>
                      <a:pt x="71555" y="53353"/>
                    </a:lnTo>
                    <a:lnTo>
                      <a:pt x="48959" y="53353"/>
                    </a:lnTo>
                    <a:lnTo>
                      <a:pt x="48959" y="37033"/>
                    </a:lnTo>
                    <a:cubicBezTo>
                      <a:pt x="48959" y="26363"/>
                      <a:pt x="43938" y="21969"/>
                      <a:pt x="36405" y="21969"/>
                    </a:cubicBezTo>
                    <a:cubicBezTo>
                      <a:pt x="28873" y="21969"/>
                      <a:pt x="23852" y="26363"/>
                      <a:pt x="23852" y="37033"/>
                    </a:cubicBezTo>
                    <a:lnTo>
                      <a:pt x="23852" y="119259"/>
                    </a:lnTo>
                    <a:cubicBezTo>
                      <a:pt x="23852" y="129929"/>
                      <a:pt x="28873" y="134323"/>
                      <a:pt x="36405" y="134323"/>
                    </a:cubicBezTo>
                    <a:cubicBezTo>
                      <a:pt x="43938" y="134323"/>
                      <a:pt x="48959" y="130557"/>
                      <a:pt x="48959" y="119259"/>
                    </a:cubicBezTo>
                    <a:lnTo>
                      <a:pt x="48959" y="97290"/>
                    </a:lnTo>
                    <a:lnTo>
                      <a:pt x="71555" y="97290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149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2379873" y="526570"/>
            <a:ext cx="306307" cy="376607"/>
            <a:chOff x="2379873" y="526570"/>
            <a:chExt cx="306307" cy="376607"/>
          </a:xfrm>
          <a:solidFill>
            <a:srgbClr val="B1B1A1"/>
          </a:solidFill>
        </p:grpSpPr>
        <p:grpSp>
          <p:nvGrpSpPr>
            <p:cNvPr id="150" name="Gráfico 2">
              <a:extLst>
                <a:ext uri="{FF2B5EF4-FFF2-40B4-BE49-F238E27FC236}">
                  <a16:creationId xmlns:a16="http://schemas.microsoft.com/office/drawing/2014/main" id="{83F95F55-5D1D-4425-8D77-756B15108235}"/>
                </a:ext>
              </a:extLst>
            </p:cNvPr>
            <p:cNvGrpSpPr/>
            <p:nvPr/>
          </p:nvGrpSpPr>
          <p:grpSpPr>
            <a:xfrm>
              <a:off x="2379873" y="526570"/>
              <a:ext cx="306307" cy="376607"/>
              <a:chOff x="2379873" y="526570"/>
              <a:chExt cx="306307" cy="376607"/>
            </a:xfrm>
            <a:grpFill/>
          </p:grpSpPr>
          <p:sp>
            <p:nvSpPr>
              <p:cNvPr id="151" name="Forma Livre: Forma 150">
                <a:extLst>
                  <a:ext uri="{FF2B5EF4-FFF2-40B4-BE49-F238E27FC236}">
                    <a16:creationId xmlns:a16="http://schemas.microsoft.com/office/drawing/2014/main" id="{E99EB882-9A99-4E69-A159-7015000BBE88}"/>
                  </a:ext>
                </a:extLst>
              </p:cNvPr>
              <p:cNvSpPr/>
              <p:nvPr/>
            </p:nvSpPr>
            <p:spPr>
              <a:xfrm>
                <a:off x="2561272" y="778270"/>
                <a:ext cx="116748" cy="116748"/>
              </a:xfrm>
              <a:custGeom>
                <a:avLst/>
                <a:gdLst>
                  <a:gd name="connsiteX0" fmla="*/ 8160 w 116748"/>
                  <a:gd name="connsiteY0" fmla="*/ 116748 h 116748"/>
                  <a:gd name="connsiteX1" fmla="*/ 0 w 116748"/>
                  <a:gd name="connsiteY1" fmla="*/ 108588 h 116748"/>
                  <a:gd name="connsiteX2" fmla="*/ 0 w 116748"/>
                  <a:gd name="connsiteY2" fmla="*/ 8160 h 116748"/>
                  <a:gd name="connsiteX3" fmla="*/ 8160 w 116748"/>
                  <a:gd name="connsiteY3" fmla="*/ 0 h 116748"/>
                  <a:gd name="connsiteX4" fmla="*/ 108588 w 116748"/>
                  <a:gd name="connsiteY4" fmla="*/ 0 h 116748"/>
                  <a:gd name="connsiteX5" fmla="*/ 116748 w 116748"/>
                  <a:gd name="connsiteY5" fmla="*/ 8160 h 116748"/>
                  <a:gd name="connsiteX6" fmla="*/ 108588 w 116748"/>
                  <a:gd name="connsiteY6" fmla="*/ 16320 h 116748"/>
                  <a:gd name="connsiteX7" fmla="*/ 16947 w 116748"/>
                  <a:gd name="connsiteY7" fmla="*/ 16320 h 116748"/>
                  <a:gd name="connsiteX8" fmla="*/ 16947 w 116748"/>
                  <a:gd name="connsiteY8" fmla="*/ 107961 h 116748"/>
                  <a:gd name="connsiteX9" fmla="*/ 8160 w 116748"/>
                  <a:gd name="connsiteY9" fmla="*/ 116748 h 116748"/>
                  <a:gd name="connsiteX10" fmla="*/ 8160 w 116748"/>
                  <a:gd name="connsiteY10" fmla="*/ 116748 h 116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6748" h="116748">
                    <a:moveTo>
                      <a:pt x="8160" y="116748"/>
                    </a:moveTo>
                    <a:cubicBezTo>
                      <a:pt x="3766" y="116748"/>
                      <a:pt x="0" y="112982"/>
                      <a:pt x="0" y="108588"/>
                    </a:cubicBezTo>
                    <a:lnTo>
                      <a:pt x="0" y="8160"/>
                    </a:lnTo>
                    <a:cubicBezTo>
                      <a:pt x="0" y="3766"/>
                      <a:pt x="3766" y="0"/>
                      <a:pt x="8160" y="0"/>
                    </a:cubicBezTo>
                    <a:lnTo>
                      <a:pt x="108588" y="0"/>
                    </a:lnTo>
                    <a:cubicBezTo>
                      <a:pt x="112982" y="0"/>
                      <a:pt x="116748" y="3766"/>
                      <a:pt x="116748" y="8160"/>
                    </a:cubicBezTo>
                    <a:cubicBezTo>
                      <a:pt x="116748" y="12554"/>
                      <a:pt x="112982" y="16320"/>
                      <a:pt x="108588" y="16320"/>
                    </a:cubicBezTo>
                    <a:lnTo>
                      <a:pt x="16947" y="16320"/>
                    </a:lnTo>
                    <a:lnTo>
                      <a:pt x="16947" y="107961"/>
                    </a:lnTo>
                    <a:cubicBezTo>
                      <a:pt x="16947" y="112982"/>
                      <a:pt x="13181" y="116748"/>
                      <a:pt x="8160" y="116748"/>
                    </a:cubicBezTo>
                    <a:lnTo>
                      <a:pt x="8160" y="116748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52" name="Forma Livre: Forma 151">
                <a:extLst>
                  <a:ext uri="{FF2B5EF4-FFF2-40B4-BE49-F238E27FC236}">
                    <a16:creationId xmlns:a16="http://schemas.microsoft.com/office/drawing/2014/main" id="{131DEFA4-3211-4D21-A98D-4B310E6E7156}"/>
                  </a:ext>
                </a:extLst>
              </p:cNvPr>
              <p:cNvSpPr/>
              <p:nvPr/>
            </p:nvSpPr>
            <p:spPr>
              <a:xfrm>
                <a:off x="2379873" y="526570"/>
                <a:ext cx="306307" cy="376607"/>
              </a:xfrm>
              <a:custGeom>
                <a:avLst/>
                <a:gdLst>
                  <a:gd name="connsiteX0" fmla="*/ 189559 w 306307"/>
                  <a:gd name="connsiteY0" fmla="*/ 376607 h 376607"/>
                  <a:gd name="connsiteX1" fmla="*/ 16947 w 306307"/>
                  <a:gd name="connsiteY1" fmla="*/ 376607 h 376607"/>
                  <a:gd name="connsiteX2" fmla="*/ 0 w 306307"/>
                  <a:gd name="connsiteY2" fmla="*/ 359660 h 376607"/>
                  <a:gd name="connsiteX3" fmla="*/ 0 w 306307"/>
                  <a:gd name="connsiteY3" fmla="*/ 259231 h 376607"/>
                  <a:gd name="connsiteX4" fmla="*/ 16947 w 306307"/>
                  <a:gd name="connsiteY4" fmla="*/ 242284 h 376607"/>
                  <a:gd name="connsiteX5" fmla="*/ 33895 w 306307"/>
                  <a:gd name="connsiteY5" fmla="*/ 259231 h 376607"/>
                  <a:gd name="connsiteX6" fmla="*/ 33895 w 306307"/>
                  <a:gd name="connsiteY6" fmla="*/ 342713 h 376607"/>
                  <a:gd name="connsiteX7" fmla="*/ 182655 w 306307"/>
                  <a:gd name="connsiteY7" fmla="*/ 342713 h 376607"/>
                  <a:gd name="connsiteX8" fmla="*/ 273040 w 306307"/>
                  <a:gd name="connsiteY8" fmla="*/ 252327 h 376607"/>
                  <a:gd name="connsiteX9" fmla="*/ 273040 w 306307"/>
                  <a:gd name="connsiteY9" fmla="*/ 33895 h 376607"/>
                  <a:gd name="connsiteX10" fmla="*/ 16947 w 306307"/>
                  <a:gd name="connsiteY10" fmla="*/ 33895 h 376607"/>
                  <a:gd name="connsiteX11" fmla="*/ 0 w 306307"/>
                  <a:gd name="connsiteY11" fmla="*/ 16947 h 376607"/>
                  <a:gd name="connsiteX12" fmla="*/ 16947 w 306307"/>
                  <a:gd name="connsiteY12" fmla="*/ 0 h 376607"/>
                  <a:gd name="connsiteX13" fmla="*/ 289360 w 306307"/>
                  <a:gd name="connsiteY13" fmla="*/ 0 h 376607"/>
                  <a:gd name="connsiteX14" fmla="*/ 306307 w 306307"/>
                  <a:gd name="connsiteY14" fmla="*/ 16947 h 376607"/>
                  <a:gd name="connsiteX15" fmla="*/ 306307 w 306307"/>
                  <a:gd name="connsiteY15" fmla="*/ 259231 h 376607"/>
                  <a:gd name="connsiteX16" fmla="*/ 301286 w 306307"/>
                  <a:gd name="connsiteY16" fmla="*/ 271157 h 376607"/>
                  <a:gd name="connsiteX17" fmla="*/ 200857 w 306307"/>
                  <a:gd name="connsiteY17" fmla="*/ 371586 h 376607"/>
                  <a:gd name="connsiteX18" fmla="*/ 189559 w 306307"/>
                  <a:gd name="connsiteY18" fmla="*/ 376607 h 376607"/>
                  <a:gd name="connsiteX19" fmla="*/ 189559 w 306307"/>
                  <a:gd name="connsiteY19" fmla="*/ 376607 h 376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06307" h="376607">
                    <a:moveTo>
                      <a:pt x="189559" y="376607"/>
                    </a:moveTo>
                    <a:lnTo>
                      <a:pt x="16947" y="376607"/>
                    </a:lnTo>
                    <a:cubicBezTo>
                      <a:pt x="7532" y="376607"/>
                      <a:pt x="0" y="369075"/>
                      <a:pt x="0" y="359660"/>
                    </a:cubicBezTo>
                    <a:lnTo>
                      <a:pt x="0" y="259231"/>
                    </a:lnTo>
                    <a:cubicBezTo>
                      <a:pt x="0" y="249816"/>
                      <a:pt x="7532" y="242284"/>
                      <a:pt x="16947" y="242284"/>
                    </a:cubicBezTo>
                    <a:cubicBezTo>
                      <a:pt x="26362" y="242284"/>
                      <a:pt x="33895" y="249816"/>
                      <a:pt x="33895" y="259231"/>
                    </a:cubicBezTo>
                    <a:lnTo>
                      <a:pt x="33895" y="342713"/>
                    </a:lnTo>
                    <a:lnTo>
                      <a:pt x="182655" y="342713"/>
                    </a:lnTo>
                    <a:lnTo>
                      <a:pt x="273040" y="252327"/>
                    </a:lnTo>
                    <a:lnTo>
                      <a:pt x="273040" y="33895"/>
                    </a:lnTo>
                    <a:lnTo>
                      <a:pt x="16947" y="33895"/>
                    </a:lnTo>
                    <a:cubicBezTo>
                      <a:pt x="7532" y="33895"/>
                      <a:pt x="0" y="26363"/>
                      <a:pt x="0" y="16947"/>
                    </a:cubicBezTo>
                    <a:cubicBezTo>
                      <a:pt x="0" y="7532"/>
                      <a:pt x="7532" y="0"/>
                      <a:pt x="16947" y="0"/>
                    </a:cubicBezTo>
                    <a:lnTo>
                      <a:pt x="289360" y="0"/>
                    </a:lnTo>
                    <a:cubicBezTo>
                      <a:pt x="298775" y="0"/>
                      <a:pt x="306307" y="7532"/>
                      <a:pt x="306307" y="16947"/>
                    </a:cubicBezTo>
                    <a:lnTo>
                      <a:pt x="306307" y="259231"/>
                    </a:lnTo>
                    <a:cubicBezTo>
                      <a:pt x="306307" y="263625"/>
                      <a:pt x="304424" y="268019"/>
                      <a:pt x="301286" y="271157"/>
                    </a:cubicBezTo>
                    <a:lnTo>
                      <a:pt x="200857" y="371586"/>
                    </a:lnTo>
                    <a:cubicBezTo>
                      <a:pt x="198347" y="374724"/>
                      <a:pt x="194580" y="376607"/>
                      <a:pt x="189559" y="376607"/>
                    </a:cubicBezTo>
                    <a:lnTo>
                      <a:pt x="189559" y="376607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153" name="Gráfico 2">
              <a:extLst>
                <a:ext uri="{FF2B5EF4-FFF2-40B4-BE49-F238E27FC236}">
                  <a16:creationId xmlns:a16="http://schemas.microsoft.com/office/drawing/2014/main" id="{83F95F55-5D1D-4425-8D77-756B15108235}"/>
                </a:ext>
              </a:extLst>
            </p:cNvPr>
            <p:cNvGrpSpPr/>
            <p:nvPr/>
          </p:nvGrpSpPr>
          <p:grpSpPr>
            <a:xfrm>
              <a:off x="2387406" y="587455"/>
              <a:ext cx="233496" cy="151898"/>
              <a:chOff x="2387406" y="587455"/>
              <a:chExt cx="233496" cy="151898"/>
            </a:xfrm>
            <a:grpFill/>
          </p:grpSpPr>
          <p:sp>
            <p:nvSpPr>
              <p:cNvPr id="154" name="Forma Livre: Forma 153">
                <a:extLst>
                  <a:ext uri="{FF2B5EF4-FFF2-40B4-BE49-F238E27FC236}">
                    <a16:creationId xmlns:a16="http://schemas.microsoft.com/office/drawing/2014/main" id="{012959EC-F95A-4F76-AADB-28EC45F14A45}"/>
                  </a:ext>
                </a:extLst>
              </p:cNvPr>
              <p:cNvSpPr/>
              <p:nvPr/>
            </p:nvSpPr>
            <p:spPr>
              <a:xfrm>
                <a:off x="2387406" y="587455"/>
                <a:ext cx="70299" cy="151898"/>
              </a:xfrm>
              <a:custGeom>
                <a:avLst/>
                <a:gdLst>
                  <a:gd name="connsiteX0" fmla="*/ 70300 w 70299"/>
                  <a:gd name="connsiteY0" fmla="*/ 37661 h 151898"/>
                  <a:gd name="connsiteX1" fmla="*/ 70300 w 70299"/>
                  <a:gd name="connsiteY1" fmla="*/ 57119 h 151898"/>
                  <a:gd name="connsiteX2" fmla="*/ 34522 w 70299"/>
                  <a:gd name="connsiteY2" fmla="*/ 94779 h 151898"/>
                  <a:gd name="connsiteX3" fmla="*/ 23852 w 70299"/>
                  <a:gd name="connsiteY3" fmla="*/ 94779 h 151898"/>
                  <a:gd name="connsiteX4" fmla="*/ 23852 w 70299"/>
                  <a:gd name="connsiteY4" fmla="*/ 151898 h 151898"/>
                  <a:gd name="connsiteX5" fmla="*/ 0 w 70299"/>
                  <a:gd name="connsiteY5" fmla="*/ 151898 h 151898"/>
                  <a:gd name="connsiteX6" fmla="*/ 0 w 70299"/>
                  <a:gd name="connsiteY6" fmla="*/ 0 h 151898"/>
                  <a:gd name="connsiteX7" fmla="*/ 35150 w 70299"/>
                  <a:gd name="connsiteY7" fmla="*/ 0 h 151898"/>
                  <a:gd name="connsiteX8" fmla="*/ 70300 w 70299"/>
                  <a:gd name="connsiteY8" fmla="*/ 37661 h 151898"/>
                  <a:gd name="connsiteX9" fmla="*/ 23852 w 70299"/>
                  <a:gd name="connsiteY9" fmla="*/ 21969 h 151898"/>
                  <a:gd name="connsiteX10" fmla="*/ 23852 w 70299"/>
                  <a:gd name="connsiteY10" fmla="*/ 73438 h 151898"/>
                  <a:gd name="connsiteX11" fmla="*/ 35150 w 70299"/>
                  <a:gd name="connsiteY11" fmla="*/ 73438 h 151898"/>
                  <a:gd name="connsiteX12" fmla="*/ 47076 w 70299"/>
                  <a:gd name="connsiteY12" fmla="*/ 59002 h 151898"/>
                  <a:gd name="connsiteX13" fmla="*/ 47076 w 70299"/>
                  <a:gd name="connsiteY13" fmla="*/ 36405 h 151898"/>
                  <a:gd name="connsiteX14" fmla="*/ 35150 w 70299"/>
                  <a:gd name="connsiteY14" fmla="*/ 21969 h 151898"/>
                  <a:gd name="connsiteX15" fmla="*/ 23852 w 70299"/>
                  <a:gd name="connsiteY15" fmla="*/ 21969 h 151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70299" h="151898">
                    <a:moveTo>
                      <a:pt x="70300" y="37661"/>
                    </a:moveTo>
                    <a:lnTo>
                      <a:pt x="70300" y="57119"/>
                    </a:lnTo>
                    <a:cubicBezTo>
                      <a:pt x="70300" y="81598"/>
                      <a:pt x="58374" y="94779"/>
                      <a:pt x="34522" y="94779"/>
                    </a:cubicBezTo>
                    <a:lnTo>
                      <a:pt x="23852" y="94779"/>
                    </a:lnTo>
                    <a:lnTo>
                      <a:pt x="23852" y="151898"/>
                    </a:lnTo>
                    <a:lnTo>
                      <a:pt x="0" y="151898"/>
                    </a:lnTo>
                    <a:lnTo>
                      <a:pt x="0" y="0"/>
                    </a:lnTo>
                    <a:lnTo>
                      <a:pt x="35150" y="0"/>
                    </a:lnTo>
                    <a:cubicBezTo>
                      <a:pt x="59002" y="0"/>
                      <a:pt x="70300" y="13181"/>
                      <a:pt x="70300" y="37661"/>
                    </a:cubicBezTo>
                    <a:close/>
                    <a:moveTo>
                      <a:pt x="23852" y="21969"/>
                    </a:moveTo>
                    <a:lnTo>
                      <a:pt x="23852" y="73438"/>
                    </a:lnTo>
                    <a:lnTo>
                      <a:pt x="35150" y="73438"/>
                    </a:lnTo>
                    <a:cubicBezTo>
                      <a:pt x="42682" y="73438"/>
                      <a:pt x="47076" y="69672"/>
                      <a:pt x="47076" y="59002"/>
                    </a:cubicBezTo>
                    <a:lnTo>
                      <a:pt x="47076" y="36405"/>
                    </a:lnTo>
                    <a:cubicBezTo>
                      <a:pt x="47076" y="25735"/>
                      <a:pt x="42682" y="21969"/>
                      <a:pt x="35150" y="21969"/>
                    </a:cubicBezTo>
                    <a:lnTo>
                      <a:pt x="23852" y="21969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55" name="Forma Livre: Forma 154">
                <a:extLst>
                  <a:ext uri="{FF2B5EF4-FFF2-40B4-BE49-F238E27FC236}">
                    <a16:creationId xmlns:a16="http://schemas.microsoft.com/office/drawing/2014/main" id="{C8C2A8E2-036D-4D1B-8D42-C6325A9E6502}"/>
                  </a:ext>
                </a:extLst>
              </p:cNvPr>
              <p:cNvSpPr/>
              <p:nvPr/>
            </p:nvSpPr>
            <p:spPr>
              <a:xfrm>
                <a:off x="2469004" y="587455"/>
                <a:ext cx="73438" cy="151898"/>
              </a:xfrm>
              <a:custGeom>
                <a:avLst/>
                <a:gdLst>
                  <a:gd name="connsiteX0" fmla="*/ 0 w 73438"/>
                  <a:gd name="connsiteY0" fmla="*/ 0 h 151898"/>
                  <a:gd name="connsiteX1" fmla="*/ 37661 w 73438"/>
                  <a:gd name="connsiteY1" fmla="*/ 0 h 151898"/>
                  <a:gd name="connsiteX2" fmla="*/ 73438 w 73438"/>
                  <a:gd name="connsiteY2" fmla="*/ 37661 h 151898"/>
                  <a:gd name="connsiteX3" fmla="*/ 73438 w 73438"/>
                  <a:gd name="connsiteY3" fmla="*/ 114238 h 151898"/>
                  <a:gd name="connsiteX4" fmla="*/ 37661 w 73438"/>
                  <a:gd name="connsiteY4" fmla="*/ 151898 h 151898"/>
                  <a:gd name="connsiteX5" fmla="*/ 0 w 73438"/>
                  <a:gd name="connsiteY5" fmla="*/ 151898 h 151898"/>
                  <a:gd name="connsiteX6" fmla="*/ 0 w 73438"/>
                  <a:gd name="connsiteY6" fmla="*/ 0 h 151898"/>
                  <a:gd name="connsiteX7" fmla="*/ 23852 w 73438"/>
                  <a:gd name="connsiteY7" fmla="*/ 21969 h 151898"/>
                  <a:gd name="connsiteX8" fmla="*/ 23852 w 73438"/>
                  <a:gd name="connsiteY8" fmla="*/ 130557 h 151898"/>
                  <a:gd name="connsiteX9" fmla="*/ 37033 w 73438"/>
                  <a:gd name="connsiteY9" fmla="*/ 130557 h 151898"/>
                  <a:gd name="connsiteX10" fmla="*/ 48959 w 73438"/>
                  <a:gd name="connsiteY10" fmla="*/ 115493 h 151898"/>
                  <a:gd name="connsiteX11" fmla="*/ 48959 w 73438"/>
                  <a:gd name="connsiteY11" fmla="*/ 36405 h 151898"/>
                  <a:gd name="connsiteX12" fmla="*/ 37033 w 73438"/>
                  <a:gd name="connsiteY12" fmla="*/ 21341 h 151898"/>
                  <a:gd name="connsiteX13" fmla="*/ 23852 w 73438"/>
                  <a:gd name="connsiteY13" fmla="*/ 21341 h 151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3438" h="151898">
                    <a:moveTo>
                      <a:pt x="0" y="0"/>
                    </a:moveTo>
                    <a:lnTo>
                      <a:pt x="37661" y="0"/>
                    </a:lnTo>
                    <a:cubicBezTo>
                      <a:pt x="61513" y="0"/>
                      <a:pt x="73438" y="13181"/>
                      <a:pt x="73438" y="37661"/>
                    </a:cubicBezTo>
                    <a:lnTo>
                      <a:pt x="73438" y="114238"/>
                    </a:lnTo>
                    <a:cubicBezTo>
                      <a:pt x="73438" y="138717"/>
                      <a:pt x="61513" y="151898"/>
                      <a:pt x="37661" y="151898"/>
                    </a:cubicBezTo>
                    <a:lnTo>
                      <a:pt x="0" y="151898"/>
                    </a:lnTo>
                    <a:lnTo>
                      <a:pt x="0" y="0"/>
                    </a:lnTo>
                    <a:close/>
                    <a:moveTo>
                      <a:pt x="23852" y="21969"/>
                    </a:moveTo>
                    <a:lnTo>
                      <a:pt x="23852" y="130557"/>
                    </a:lnTo>
                    <a:lnTo>
                      <a:pt x="37033" y="130557"/>
                    </a:lnTo>
                    <a:cubicBezTo>
                      <a:pt x="44565" y="130557"/>
                      <a:pt x="48959" y="126791"/>
                      <a:pt x="48959" y="115493"/>
                    </a:cubicBezTo>
                    <a:lnTo>
                      <a:pt x="48959" y="36405"/>
                    </a:lnTo>
                    <a:cubicBezTo>
                      <a:pt x="48959" y="25735"/>
                      <a:pt x="44565" y="21341"/>
                      <a:pt x="37033" y="21341"/>
                    </a:cubicBezTo>
                    <a:lnTo>
                      <a:pt x="23852" y="21341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56" name="Forma Livre: Forma 155">
                <a:extLst>
                  <a:ext uri="{FF2B5EF4-FFF2-40B4-BE49-F238E27FC236}">
                    <a16:creationId xmlns:a16="http://schemas.microsoft.com/office/drawing/2014/main" id="{06EB0ED5-7A16-4FCA-AC2D-417CC6CF3030}"/>
                  </a:ext>
                </a:extLst>
              </p:cNvPr>
              <p:cNvSpPr/>
              <p:nvPr/>
            </p:nvSpPr>
            <p:spPr>
              <a:xfrm>
                <a:off x="2557506" y="587455"/>
                <a:ext cx="63395" cy="151898"/>
              </a:xfrm>
              <a:custGeom>
                <a:avLst/>
                <a:gdLst>
                  <a:gd name="connsiteX0" fmla="*/ 23852 w 63395"/>
                  <a:gd name="connsiteY0" fmla="*/ 67162 h 151898"/>
                  <a:gd name="connsiteX1" fmla="*/ 54608 w 63395"/>
                  <a:gd name="connsiteY1" fmla="*/ 67162 h 151898"/>
                  <a:gd name="connsiteX2" fmla="*/ 54608 w 63395"/>
                  <a:gd name="connsiteY2" fmla="*/ 89130 h 151898"/>
                  <a:gd name="connsiteX3" fmla="*/ 23852 w 63395"/>
                  <a:gd name="connsiteY3" fmla="*/ 89130 h 151898"/>
                  <a:gd name="connsiteX4" fmla="*/ 23852 w 63395"/>
                  <a:gd name="connsiteY4" fmla="*/ 151898 h 151898"/>
                  <a:gd name="connsiteX5" fmla="*/ 0 w 63395"/>
                  <a:gd name="connsiteY5" fmla="*/ 151898 h 151898"/>
                  <a:gd name="connsiteX6" fmla="*/ 0 w 63395"/>
                  <a:gd name="connsiteY6" fmla="*/ 0 h 151898"/>
                  <a:gd name="connsiteX7" fmla="*/ 63395 w 63395"/>
                  <a:gd name="connsiteY7" fmla="*/ 0 h 151898"/>
                  <a:gd name="connsiteX8" fmla="*/ 63395 w 63395"/>
                  <a:gd name="connsiteY8" fmla="*/ 21969 h 151898"/>
                  <a:gd name="connsiteX9" fmla="*/ 23852 w 63395"/>
                  <a:gd name="connsiteY9" fmla="*/ 21969 h 151898"/>
                  <a:gd name="connsiteX10" fmla="*/ 23852 w 63395"/>
                  <a:gd name="connsiteY10" fmla="*/ 67162 h 151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3395" h="151898">
                    <a:moveTo>
                      <a:pt x="23852" y="67162"/>
                    </a:moveTo>
                    <a:lnTo>
                      <a:pt x="54608" y="67162"/>
                    </a:lnTo>
                    <a:lnTo>
                      <a:pt x="54608" y="89130"/>
                    </a:lnTo>
                    <a:lnTo>
                      <a:pt x="23852" y="89130"/>
                    </a:lnTo>
                    <a:lnTo>
                      <a:pt x="23852" y="151898"/>
                    </a:lnTo>
                    <a:lnTo>
                      <a:pt x="0" y="151898"/>
                    </a:lnTo>
                    <a:lnTo>
                      <a:pt x="0" y="0"/>
                    </a:lnTo>
                    <a:lnTo>
                      <a:pt x="63395" y="0"/>
                    </a:lnTo>
                    <a:lnTo>
                      <a:pt x="63395" y="21969"/>
                    </a:lnTo>
                    <a:lnTo>
                      <a:pt x="23852" y="21969"/>
                    </a:lnTo>
                    <a:lnTo>
                      <a:pt x="23852" y="67162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157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3398596" y="526570"/>
            <a:ext cx="306307" cy="376607"/>
            <a:chOff x="3398596" y="526570"/>
            <a:chExt cx="306307" cy="376607"/>
          </a:xfrm>
          <a:solidFill>
            <a:srgbClr val="B1B1A1"/>
          </a:solidFill>
        </p:grpSpPr>
        <p:grpSp>
          <p:nvGrpSpPr>
            <p:cNvPr id="158" name="Gráfico 2">
              <a:extLst>
                <a:ext uri="{FF2B5EF4-FFF2-40B4-BE49-F238E27FC236}">
                  <a16:creationId xmlns:a16="http://schemas.microsoft.com/office/drawing/2014/main" id="{83F95F55-5D1D-4425-8D77-756B15108235}"/>
                </a:ext>
              </a:extLst>
            </p:cNvPr>
            <p:cNvGrpSpPr/>
            <p:nvPr/>
          </p:nvGrpSpPr>
          <p:grpSpPr>
            <a:xfrm>
              <a:off x="3398596" y="526570"/>
              <a:ext cx="306307" cy="376607"/>
              <a:chOff x="3398596" y="526570"/>
              <a:chExt cx="306307" cy="376607"/>
            </a:xfrm>
            <a:grpFill/>
          </p:grpSpPr>
          <p:sp>
            <p:nvSpPr>
              <p:cNvPr id="159" name="Forma Livre: Forma 158">
                <a:extLst>
                  <a:ext uri="{FF2B5EF4-FFF2-40B4-BE49-F238E27FC236}">
                    <a16:creationId xmlns:a16="http://schemas.microsoft.com/office/drawing/2014/main" id="{5593A2EB-B93E-4FFE-A069-6B00B9314118}"/>
                  </a:ext>
                </a:extLst>
              </p:cNvPr>
              <p:cNvSpPr/>
              <p:nvPr/>
            </p:nvSpPr>
            <p:spPr>
              <a:xfrm>
                <a:off x="3579995" y="778270"/>
                <a:ext cx="116748" cy="116748"/>
              </a:xfrm>
              <a:custGeom>
                <a:avLst/>
                <a:gdLst>
                  <a:gd name="connsiteX0" fmla="*/ 8160 w 116748"/>
                  <a:gd name="connsiteY0" fmla="*/ 116748 h 116748"/>
                  <a:gd name="connsiteX1" fmla="*/ 0 w 116748"/>
                  <a:gd name="connsiteY1" fmla="*/ 108588 h 116748"/>
                  <a:gd name="connsiteX2" fmla="*/ 0 w 116748"/>
                  <a:gd name="connsiteY2" fmla="*/ 8160 h 116748"/>
                  <a:gd name="connsiteX3" fmla="*/ 8160 w 116748"/>
                  <a:gd name="connsiteY3" fmla="*/ 0 h 116748"/>
                  <a:gd name="connsiteX4" fmla="*/ 108588 w 116748"/>
                  <a:gd name="connsiteY4" fmla="*/ 0 h 116748"/>
                  <a:gd name="connsiteX5" fmla="*/ 116748 w 116748"/>
                  <a:gd name="connsiteY5" fmla="*/ 8160 h 116748"/>
                  <a:gd name="connsiteX6" fmla="*/ 108588 w 116748"/>
                  <a:gd name="connsiteY6" fmla="*/ 16320 h 116748"/>
                  <a:gd name="connsiteX7" fmla="*/ 16947 w 116748"/>
                  <a:gd name="connsiteY7" fmla="*/ 16320 h 116748"/>
                  <a:gd name="connsiteX8" fmla="*/ 16947 w 116748"/>
                  <a:gd name="connsiteY8" fmla="*/ 107961 h 116748"/>
                  <a:gd name="connsiteX9" fmla="*/ 8160 w 116748"/>
                  <a:gd name="connsiteY9" fmla="*/ 116748 h 116748"/>
                  <a:gd name="connsiteX10" fmla="*/ 8160 w 116748"/>
                  <a:gd name="connsiteY10" fmla="*/ 116748 h 116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6748" h="116748">
                    <a:moveTo>
                      <a:pt x="8160" y="116748"/>
                    </a:moveTo>
                    <a:cubicBezTo>
                      <a:pt x="3766" y="116748"/>
                      <a:pt x="0" y="112982"/>
                      <a:pt x="0" y="108588"/>
                    </a:cubicBezTo>
                    <a:lnTo>
                      <a:pt x="0" y="8160"/>
                    </a:lnTo>
                    <a:cubicBezTo>
                      <a:pt x="0" y="3766"/>
                      <a:pt x="3766" y="0"/>
                      <a:pt x="8160" y="0"/>
                    </a:cubicBezTo>
                    <a:lnTo>
                      <a:pt x="108588" y="0"/>
                    </a:lnTo>
                    <a:cubicBezTo>
                      <a:pt x="112982" y="0"/>
                      <a:pt x="116748" y="3766"/>
                      <a:pt x="116748" y="8160"/>
                    </a:cubicBezTo>
                    <a:cubicBezTo>
                      <a:pt x="116748" y="12554"/>
                      <a:pt x="112982" y="16320"/>
                      <a:pt x="108588" y="16320"/>
                    </a:cubicBezTo>
                    <a:lnTo>
                      <a:pt x="16947" y="16320"/>
                    </a:lnTo>
                    <a:lnTo>
                      <a:pt x="16947" y="107961"/>
                    </a:lnTo>
                    <a:cubicBezTo>
                      <a:pt x="16319" y="112982"/>
                      <a:pt x="12554" y="116748"/>
                      <a:pt x="8160" y="116748"/>
                    </a:cubicBezTo>
                    <a:lnTo>
                      <a:pt x="8160" y="116748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60" name="Forma Livre: Forma 159">
                <a:extLst>
                  <a:ext uri="{FF2B5EF4-FFF2-40B4-BE49-F238E27FC236}">
                    <a16:creationId xmlns:a16="http://schemas.microsoft.com/office/drawing/2014/main" id="{F318F0C2-BBAF-44B2-B016-2EF6782A1F1C}"/>
                  </a:ext>
                </a:extLst>
              </p:cNvPr>
              <p:cNvSpPr/>
              <p:nvPr/>
            </p:nvSpPr>
            <p:spPr>
              <a:xfrm>
                <a:off x="3398596" y="526570"/>
                <a:ext cx="306307" cy="376607"/>
              </a:xfrm>
              <a:custGeom>
                <a:avLst/>
                <a:gdLst>
                  <a:gd name="connsiteX0" fmla="*/ 189559 w 306307"/>
                  <a:gd name="connsiteY0" fmla="*/ 376607 h 376607"/>
                  <a:gd name="connsiteX1" fmla="*/ 16947 w 306307"/>
                  <a:gd name="connsiteY1" fmla="*/ 376607 h 376607"/>
                  <a:gd name="connsiteX2" fmla="*/ 0 w 306307"/>
                  <a:gd name="connsiteY2" fmla="*/ 359660 h 376607"/>
                  <a:gd name="connsiteX3" fmla="*/ 0 w 306307"/>
                  <a:gd name="connsiteY3" fmla="*/ 259231 h 376607"/>
                  <a:gd name="connsiteX4" fmla="*/ 16947 w 306307"/>
                  <a:gd name="connsiteY4" fmla="*/ 242284 h 376607"/>
                  <a:gd name="connsiteX5" fmla="*/ 33895 w 306307"/>
                  <a:gd name="connsiteY5" fmla="*/ 259231 h 376607"/>
                  <a:gd name="connsiteX6" fmla="*/ 33895 w 306307"/>
                  <a:gd name="connsiteY6" fmla="*/ 342713 h 376607"/>
                  <a:gd name="connsiteX7" fmla="*/ 182655 w 306307"/>
                  <a:gd name="connsiteY7" fmla="*/ 342713 h 376607"/>
                  <a:gd name="connsiteX8" fmla="*/ 273040 w 306307"/>
                  <a:gd name="connsiteY8" fmla="*/ 252327 h 376607"/>
                  <a:gd name="connsiteX9" fmla="*/ 273040 w 306307"/>
                  <a:gd name="connsiteY9" fmla="*/ 33895 h 376607"/>
                  <a:gd name="connsiteX10" fmla="*/ 16947 w 306307"/>
                  <a:gd name="connsiteY10" fmla="*/ 33895 h 376607"/>
                  <a:gd name="connsiteX11" fmla="*/ 0 w 306307"/>
                  <a:gd name="connsiteY11" fmla="*/ 16947 h 376607"/>
                  <a:gd name="connsiteX12" fmla="*/ 16947 w 306307"/>
                  <a:gd name="connsiteY12" fmla="*/ 0 h 376607"/>
                  <a:gd name="connsiteX13" fmla="*/ 289360 w 306307"/>
                  <a:gd name="connsiteY13" fmla="*/ 0 h 376607"/>
                  <a:gd name="connsiteX14" fmla="*/ 306307 w 306307"/>
                  <a:gd name="connsiteY14" fmla="*/ 16947 h 376607"/>
                  <a:gd name="connsiteX15" fmla="*/ 306307 w 306307"/>
                  <a:gd name="connsiteY15" fmla="*/ 259231 h 376607"/>
                  <a:gd name="connsiteX16" fmla="*/ 301286 w 306307"/>
                  <a:gd name="connsiteY16" fmla="*/ 271157 h 376607"/>
                  <a:gd name="connsiteX17" fmla="*/ 200857 w 306307"/>
                  <a:gd name="connsiteY17" fmla="*/ 371586 h 376607"/>
                  <a:gd name="connsiteX18" fmla="*/ 189559 w 306307"/>
                  <a:gd name="connsiteY18" fmla="*/ 376607 h 376607"/>
                  <a:gd name="connsiteX19" fmla="*/ 189559 w 306307"/>
                  <a:gd name="connsiteY19" fmla="*/ 376607 h 376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06307" h="376607">
                    <a:moveTo>
                      <a:pt x="189559" y="376607"/>
                    </a:moveTo>
                    <a:lnTo>
                      <a:pt x="16947" y="376607"/>
                    </a:lnTo>
                    <a:cubicBezTo>
                      <a:pt x="7532" y="376607"/>
                      <a:pt x="0" y="369075"/>
                      <a:pt x="0" y="359660"/>
                    </a:cubicBezTo>
                    <a:lnTo>
                      <a:pt x="0" y="259231"/>
                    </a:lnTo>
                    <a:cubicBezTo>
                      <a:pt x="0" y="249816"/>
                      <a:pt x="7532" y="242284"/>
                      <a:pt x="16947" y="242284"/>
                    </a:cubicBezTo>
                    <a:cubicBezTo>
                      <a:pt x="26363" y="242284"/>
                      <a:pt x="33895" y="249816"/>
                      <a:pt x="33895" y="259231"/>
                    </a:cubicBezTo>
                    <a:lnTo>
                      <a:pt x="33895" y="342713"/>
                    </a:lnTo>
                    <a:lnTo>
                      <a:pt x="182655" y="342713"/>
                    </a:lnTo>
                    <a:lnTo>
                      <a:pt x="273040" y="252327"/>
                    </a:lnTo>
                    <a:lnTo>
                      <a:pt x="273040" y="33895"/>
                    </a:lnTo>
                    <a:lnTo>
                      <a:pt x="16947" y="33895"/>
                    </a:lnTo>
                    <a:cubicBezTo>
                      <a:pt x="7532" y="33895"/>
                      <a:pt x="0" y="26363"/>
                      <a:pt x="0" y="16947"/>
                    </a:cubicBezTo>
                    <a:cubicBezTo>
                      <a:pt x="0" y="7532"/>
                      <a:pt x="7532" y="0"/>
                      <a:pt x="16947" y="0"/>
                    </a:cubicBezTo>
                    <a:lnTo>
                      <a:pt x="289360" y="0"/>
                    </a:lnTo>
                    <a:cubicBezTo>
                      <a:pt x="298775" y="0"/>
                      <a:pt x="306307" y="7532"/>
                      <a:pt x="306307" y="16947"/>
                    </a:cubicBezTo>
                    <a:lnTo>
                      <a:pt x="306307" y="259231"/>
                    </a:lnTo>
                    <a:cubicBezTo>
                      <a:pt x="306307" y="263625"/>
                      <a:pt x="304424" y="268019"/>
                      <a:pt x="301286" y="271157"/>
                    </a:cubicBezTo>
                    <a:lnTo>
                      <a:pt x="200857" y="371586"/>
                    </a:lnTo>
                    <a:cubicBezTo>
                      <a:pt x="198347" y="374724"/>
                      <a:pt x="193953" y="376607"/>
                      <a:pt x="189559" y="376607"/>
                    </a:cubicBezTo>
                    <a:lnTo>
                      <a:pt x="189559" y="376607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161" name="Gráfico 2">
              <a:extLst>
                <a:ext uri="{FF2B5EF4-FFF2-40B4-BE49-F238E27FC236}">
                  <a16:creationId xmlns:a16="http://schemas.microsoft.com/office/drawing/2014/main" id="{83F95F55-5D1D-4425-8D77-756B15108235}"/>
                </a:ext>
              </a:extLst>
            </p:cNvPr>
            <p:cNvGrpSpPr/>
            <p:nvPr/>
          </p:nvGrpSpPr>
          <p:grpSpPr>
            <a:xfrm>
              <a:off x="3399224" y="585572"/>
              <a:ext cx="212783" cy="155664"/>
              <a:chOff x="3399224" y="585572"/>
              <a:chExt cx="212783" cy="155664"/>
            </a:xfrm>
            <a:grpFill/>
          </p:grpSpPr>
          <p:sp>
            <p:nvSpPr>
              <p:cNvPr id="162" name="Forma Livre: Forma 161">
                <a:extLst>
                  <a:ext uri="{FF2B5EF4-FFF2-40B4-BE49-F238E27FC236}">
                    <a16:creationId xmlns:a16="http://schemas.microsoft.com/office/drawing/2014/main" id="{5B6FD30F-7690-47AD-93CF-8F04F5FE955B}"/>
                  </a:ext>
                </a:extLst>
              </p:cNvPr>
              <p:cNvSpPr/>
              <p:nvPr/>
            </p:nvSpPr>
            <p:spPr>
              <a:xfrm>
                <a:off x="3399224" y="587455"/>
                <a:ext cx="45820" cy="152525"/>
              </a:xfrm>
              <a:custGeom>
                <a:avLst/>
                <a:gdLst>
                  <a:gd name="connsiteX0" fmla="*/ 0 w 45820"/>
                  <a:gd name="connsiteY0" fmla="*/ 129929 h 152525"/>
                  <a:gd name="connsiteX1" fmla="*/ 8160 w 45820"/>
                  <a:gd name="connsiteY1" fmla="*/ 129929 h 152525"/>
                  <a:gd name="connsiteX2" fmla="*/ 21969 w 45820"/>
                  <a:gd name="connsiteY2" fmla="*/ 115493 h 152525"/>
                  <a:gd name="connsiteX3" fmla="*/ 21969 w 45820"/>
                  <a:gd name="connsiteY3" fmla="*/ 0 h 152525"/>
                  <a:gd name="connsiteX4" fmla="*/ 45821 w 45820"/>
                  <a:gd name="connsiteY4" fmla="*/ 0 h 152525"/>
                  <a:gd name="connsiteX5" fmla="*/ 45821 w 45820"/>
                  <a:gd name="connsiteY5" fmla="*/ 114238 h 152525"/>
                  <a:gd name="connsiteX6" fmla="*/ 11298 w 45820"/>
                  <a:gd name="connsiteY6" fmla="*/ 152526 h 152525"/>
                  <a:gd name="connsiteX7" fmla="*/ 0 w 45820"/>
                  <a:gd name="connsiteY7" fmla="*/ 151898 h 152525"/>
                  <a:gd name="connsiteX8" fmla="*/ 0 w 45820"/>
                  <a:gd name="connsiteY8" fmla="*/ 129929 h 152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820" h="152525">
                    <a:moveTo>
                      <a:pt x="0" y="129929"/>
                    </a:moveTo>
                    <a:cubicBezTo>
                      <a:pt x="2511" y="129929"/>
                      <a:pt x="5649" y="129929"/>
                      <a:pt x="8160" y="129929"/>
                    </a:cubicBezTo>
                    <a:cubicBezTo>
                      <a:pt x="15692" y="129929"/>
                      <a:pt x="21969" y="127419"/>
                      <a:pt x="21969" y="115493"/>
                    </a:cubicBezTo>
                    <a:lnTo>
                      <a:pt x="21969" y="0"/>
                    </a:lnTo>
                    <a:lnTo>
                      <a:pt x="45821" y="0"/>
                    </a:lnTo>
                    <a:lnTo>
                      <a:pt x="45821" y="114238"/>
                    </a:lnTo>
                    <a:cubicBezTo>
                      <a:pt x="45821" y="144366"/>
                      <a:pt x="29501" y="152526"/>
                      <a:pt x="11298" y="152526"/>
                    </a:cubicBezTo>
                    <a:cubicBezTo>
                      <a:pt x="6905" y="152526"/>
                      <a:pt x="3766" y="152526"/>
                      <a:pt x="0" y="151898"/>
                    </a:cubicBezTo>
                    <a:lnTo>
                      <a:pt x="0" y="129929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63" name="Forma Livre: Forma 162">
                <a:extLst>
                  <a:ext uri="{FF2B5EF4-FFF2-40B4-BE49-F238E27FC236}">
                    <a16:creationId xmlns:a16="http://schemas.microsoft.com/office/drawing/2014/main" id="{5C63F6D4-3FBB-40E5-9513-24E444681CC4}"/>
                  </a:ext>
                </a:extLst>
              </p:cNvPr>
              <p:cNvSpPr/>
              <p:nvPr/>
            </p:nvSpPr>
            <p:spPr>
              <a:xfrm>
                <a:off x="3460736" y="587455"/>
                <a:ext cx="70927" cy="151898"/>
              </a:xfrm>
              <a:custGeom>
                <a:avLst/>
                <a:gdLst>
                  <a:gd name="connsiteX0" fmla="*/ 70928 w 70927"/>
                  <a:gd name="connsiteY0" fmla="*/ 37661 h 151898"/>
                  <a:gd name="connsiteX1" fmla="*/ 70928 w 70927"/>
                  <a:gd name="connsiteY1" fmla="*/ 57119 h 151898"/>
                  <a:gd name="connsiteX2" fmla="*/ 35150 w 70927"/>
                  <a:gd name="connsiteY2" fmla="*/ 94779 h 151898"/>
                  <a:gd name="connsiteX3" fmla="*/ 23852 w 70927"/>
                  <a:gd name="connsiteY3" fmla="*/ 94779 h 151898"/>
                  <a:gd name="connsiteX4" fmla="*/ 23852 w 70927"/>
                  <a:gd name="connsiteY4" fmla="*/ 151898 h 151898"/>
                  <a:gd name="connsiteX5" fmla="*/ 0 w 70927"/>
                  <a:gd name="connsiteY5" fmla="*/ 151898 h 151898"/>
                  <a:gd name="connsiteX6" fmla="*/ 0 w 70927"/>
                  <a:gd name="connsiteY6" fmla="*/ 0 h 151898"/>
                  <a:gd name="connsiteX7" fmla="*/ 35150 w 70927"/>
                  <a:gd name="connsiteY7" fmla="*/ 0 h 151898"/>
                  <a:gd name="connsiteX8" fmla="*/ 70928 w 70927"/>
                  <a:gd name="connsiteY8" fmla="*/ 37661 h 151898"/>
                  <a:gd name="connsiteX9" fmla="*/ 24479 w 70927"/>
                  <a:gd name="connsiteY9" fmla="*/ 21969 h 151898"/>
                  <a:gd name="connsiteX10" fmla="*/ 24479 w 70927"/>
                  <a:gd name="connsiteY10" fmla="*/ 73438 h 151898"/>
                  <a:gd name="connsiteX11" fmla="*/ 35778 w 70927"/>
                  <a:gd name="connsiteY11" fmla="*/ 73438 h 151898"/>
                  <a:gd name="connsiteX12" fmla="*/ 47703 w 70927"/>
                  <a:gd name="connsiteY12" fmla="*/ 59002 h 151898"/>
                  <a:gd name="connsiteX13" fmla="*/ 47703 w 70927"/>
                  <a:gd name="connsiteY13" fmla="*/ 36405 h 151898"/>
                  <a:gd name="connsiteX14" fmla="*/ 35778 w 70927"/>
                  <a:gd name="connsiteY14" fmla="*/ 21969 h 151898"/>
                  <a:gd name="connsiteX15" fmla="*/ 24479 w 70927"/>
                  <a:gd name="connsiteY15" fmla="*/ 21969 h 151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70927" h="151898">
                    <a:moveTo>
                      <a:pt x="70928" y="37661"/>
                    </a:moveTo>
                    <a:lnTo>
                      <a:pt x="70928" y="57119"/>
                    </a:lnTo>
                    <a:cubicBezTo>
                      <a:pt x="70928" y="81598"/>
                      <a:pt x="59002" y="94779"/>
                      <a:pt x="35150" y="94779"/>
                    </a:cubicBezTo>
                    <a:lnTo>
                      <a:pt x="23852" y="94779"/>
                    </a:lnTo>
                    <a:lnTo>
                      <a:pt x="23852" y="151898"/>
                    </a:lnTo>
                    <a:lnTo>
                      <a:pt x="0" y="151898"/>
                    </a:lnTo>
                    <a:lnTo>
                      <a:pt x="0" y="0"/>
                    </a:lnTo>
                    <a:lnTo>
                      <a:pt x="35150" y="0"/>
                    </a:lnTo>
                    <a:cubicBezTo>
                      <a:pt x="59629" y="0"/>
                      <a:pt x="70928" y="13181"/>
                      <a:pt x="70928" y="37661"/>
                    </a:cubicBezTo>
                    <a:close/>
                    <a:moveTo>
                      <a:pt x="24479" y="21969"/>
                    </a:moveTo>
                    <a:lnTo>
                      <a:pt x="24479" y="73438"/>
                    </a:lnTo>
                    <a:lnTo>
                      <a:pt x="35778" y="73438"/>
                    </a:lnTo>
                    <a:cubicBezTo>
                      <a:pt x="43310" y="73438"/>
                      <a:pt x="47703" y="69672"/>
                      <a:pt x="47703" y="59002"/>
                    </a:cubicBezTo>
                    <a:lnTo>
                      <a:pt x="47703" y="36405"/>
                    </a:lnTo>
                    <a:cubicBezTo>
                      <a:pt x="47703" y="25735"/>
                      <a:pt x="43310" y="21969"/>
                      <a:pt x="35778" y="21969"/>
                    </a:cubicBezTo>
                    <a:lnTo>
                      <a:pt x="24479" y="21969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64" name="Forma Livre: Forma 163">
                <a:extLst>
                  <a:ext uri="{FF2B5EF4-FFF2-40B4-BE49-F238E27FC236}">
                    <a16:creationId xmlns:a16="http://schemas.microsoft.com/office/drawing/2014/main" id="{C4EA6DA6-3D30-4AD1-A1B2-49182BFEF90A}"/>
                  </a:ext>
                </a:extLst>
              </p:cNvPr>
              <p:cNvSpPr/>
              <p:nvPr/>
            </p:nvSpPr>
            <p:spPr>
              <a:xfrm>
                <a:off x="3540451" y="585572"/>
                <a:ext cx="71555" cy="155664"/>
              </a:xfrm>
              <a:custGeom>
                <a:avLst/>
                <a:gdLst>
                  <a:gd name="connsiteX0" fmla="*/ 38288 w 71555"/>
                  <a:gd name="connsiteY0" fmla="*/ 69045 h 155664"/>
                  <a:gd name="connsiteX1" fmla="*/ 71555 w 71555"/>
                  <a:gd name="connsiteY1" fmla="*/ 69045 h 155664"/>
                  <a:gd name="connsiteX2" fmla="*/ 71555 w 71555"/>
                  <a:gd name="connsiteY2" fmla="*/ 117376 h 155664"/>
                  <a:gd name="connsiteX3" fmla="*/ 35778 w 71555"/>
                  <a:gd name="connsiteY3" fmla="*/ 155664 h 155664"/>
                  <a:gd name="connsiteX4" fmla="*/ 0 w 71555"/>
                  <a:gd name="connsiteY4" fmla="*/ 117376 h 155664"/>
                  <a:gd name="connsiteX5" fmla="*/ 0 w 71555"/>
                  <a:gd name="connsiteY5" fmla="*/ 38288 h 155664"/>
                  <a:gd name="connsiteX6" fmla="*/ 35778 w 71555"/>
                  <a:gd name="connsiteY6" fmla="*/ 0 h 155664"/>
                  <a:gd name="connsiteX7" fmla="*/ 71555 w 71555"/>
                  <a:gd name="connsiteY7" fmla="*/ 38288 h 155664"/>
                  <a:gd name="connsiteX8" fmla="*/ 71555 w 71555"/>
                  <a:gd name="connsiteY8" fmla="*/ 53353 h 155664"/>
                  <a:gd name="connsiteX9" fmla="*/ 48959 w 71555"/>
                  <a:gd name="connsiteY9" fmla="*/ 53353 h 155664"/>
                  <a:gd name="connsiteX10" fmla="*/ 48959 w 71555"/>
                  <a:gd name="connsiteY10" fmla="*/ 37033 h 155664"/>
                  <a:gd name="connsiteX11" fmla="*/ 36405 w 71555"/>
                  <a:gd name="connsiteY11" fmla="*/ 21969 h 155664"/>
                  <a:gd name="connsiteX12" fmla="*/ 23852 w 71555"/>
                  <a:gd name="connsiteY12" fmla="*/ 37033 h 155664"/>
                  <a:gd name="connsiteX13" fmla="*/ 23852 w 71555"/>
                  <a:gd name="connsiteY13" fmla="*/ 119259 h 155664"/>
                  <a:gd name="connsiteX14" fmla="*/ 36405 w 71555"/>
                  <a:gd name="connsiteY14" fmla="*/ 134323 h 155664"/>
                  <a:gd name="connsiteX15" fmla="*/ 48959 w 71555"/>
                  <a:gd name="connsiteY15" fmla="*/ 119259 h 155664"/>
                  <a:gd name="connsiteX16" fmla="*/ 48959 w 71555"/>
                  <a:gd name="connsiteY16" fmla="*/ 91013 h 155664"/>
                  <a:gd name="connsiteX17" fmla="*/ 38288 w 71555"/>
                  <a:gd name="connsiteY17" fmla="*/ 91013 h 155664"/>
                  <a:gd name="connsiteX18" fmla="*/ 38288 w 71555"/>
                  <a:gd name="connsiteY18" fmla="*/ 69045 h 155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71555" h="155664">
                    <a:moveTo>
                      <a:pt x="38288" y="69045"/>
                    </a:moveTo>
                    <a:lnTo>
                      <a:pt x="71555" y="69045"/>
                    </a:lnTo>
                    <a:lnTo>
                      <a:pt x="71555" y="117376"/>
                    </a:lnTo>
                    <a:cubicBezTo>
                      <a:pt x="71555" y="141855"/>
                      <a:pt x="59629" y="155664"/>
                      <a:pt x="35778" y="155664"/>
                    </a:cubicBezTo>
                    <a:cubicBezTo>
                      <a:pt x="12554" y="155664"/>
                      <a:pt x="0" y="141855"/>
                      <a:pt x="0" y="117376"/>
                    </a:cubicBezTo>
                    <a:lnTo>
                      <a:pt x="0" y="38288"/>
                    </a:lnTo>
                    <a:cubicBezTo>
                      <a:pt x="0" y="13809"/>
                      <a:pt x="11926" y="0"/>
                      <a:pt x="35778" y="0"/>
                    </a:cubicBezTo>
                    <a:cubicBezTo>
                      <a:pt x="59002" y="0"/>
                      <a:pt x="71555" y="13809"/>
                      <a:pt x="71555" y="38288"/>
                    </a:cubicBezTo>
                    <a:lnTo>
                      <a:pt x="71555" y="53353"/>
                    </a:lnTo>
                    <a:lnTo>
                      <a:pt x="48959" y="53353"/>
                    </a:lnTo>
                    <a:lnTo>
                      <a:pt x="48959" y="37033"/>
                    </a:lnTo>
                    <a:cubicBezTo>
                      <a:pt x="48959" y="26363"/>
                      <a:pt x="43938" y="21969"/>
                      <a:pt x="36405" y="21969"/>
                    </a:cubicBezTo>
                    <a:cubicBezTo>
                      <a:pt x="28873" y="21969"/>
                      <a:pt x="23852" y="26363"/>
                      <a:pt x="23852" y="37033"/>
                    </a:cubicBezTo>
                    <a:lnTo>
                      <a:pt x="23852" y="119259"/>
                    </a:lnTo>
                    <a:cubicBezTo>
                      <a:pt x="23852" y="129929"/>
                      <a:pt x="28873" y="134323"/>
                      <a:pt x="36405" y="134323"/>
                    </a:cubicBezTo>
                    <a:cubicBezTo>
                      <a:pt x="43938" y="134323"/>
                      <a:pt x="48959" y="130557"/>
                      <a:pt x="48959" y="119259"/>
                    </a:cubicBezTo>
                    <a:lnTo>
                      <a:pt x="48959" y="91013"/>
                    </a:lnTo>
                    <a:lnTo>
                      <a:pt x="38288" y="91013"/>
                    </a:lnTo>
                    <a:lnTo>
                      <a:pt x="38288" y="69045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165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4420457" y="526570"/>
            <a:ext cx="306307" cy="376607"/>
            <a:chOff x="4420457" y="526570"/>
            <a:chExt cx="306307" cy="376607"/>
          </a:xfrm>
          <a:solidFill>
            <a:srgbClr val="B1B1A1"/>
          </a:solidFill>
        </p:grpSpPr>
        <p:grpSp>
          <p:nvGrpSpPr>
            <p:cNvPr id="166" name="Gráfico 2">
              <a:extLst>
                <a:ext uri="{FF2B5EF4-FFF2-40B4-BE49-F238E27FC236}">
                  <a16:creationId xmlns:a16="http://schemas.microsoft.com/office/drawing/2014/main" id="{83F95F55-5D1D-4425-8D77-756B15108235}"/>
                </a:ext>
              </a:extLst>
            </p:cNvPr>
            <p:cNvGrpSpPr/>
            <p:nvPr/>
          </p:nvGrpSpPr>
          <p:grpSpPr>
            <a:xfrm>
              <a:off x="4420457" y="526570"/>
              <a:ext cx="306307" cy="376607"/>
              <a:chOff x="4420457" y="526570"/>
              <a:chExt cx="306307" cy="376607"/>
            </a:xfrm>
            <a:grpFill/>
          </p:grpSpPr>
          <p:sp>
            <p:nvSpPr>
              <p:cNvPr id="167" name="Forma Livre: Forma 166">
                <a:extLst>
                  <a:ext uri="{FF2B5EF4-FFF2-40B4-BE49-F238E27FC236}">
                    <a16:creationId xmlns:a16="http://schemas.microsoft.com/office/drawing/2014/main" id="{47EFF52C-DE72-4BA5-A21A-AE153959E85C}"/>
                  </a:ext>
                </a:extLst>
              </p:cNvPr>
              <p:cNvSpPr/>
              <p:nvPr/>
            </p:nvSpPr>
            <p:spPr>
              <a:xfrm>
                <a:off x="4601856" y="778270"/>
                <a:ext cx="116748" cy="116748"/>
              </a:xfrm>
              <a:custGeom>
                <a:avLst/>
                <a:gdLst>
                  <a:gd name="connsiteX0" fmla="*/ 8160 w 116748"/>
                  <a:gd name="connsiteY0" fmla="*/ 116748 h 116748"/>
                  <a:gd name="connsiteX1" fmla="*/ 0 w 116748"/>
                  <a:gd name="connsiteY1" fmla="*/ 108588 h 116748"/>
                  <a:gd name="connsiteX2" fmla="*/ 0 w 116748"/>
                  <a:gd name="connsiteY2" fmla="*/ 8160 h 116748"/>
                  <a:gd name="connsiteX3" fmla="*/ 8160 w 116748"/>
                  <a:gd name="connsiteY3" fmla="*/ 0 h 116748"/>
                  <a:gd name="connsiteX4" fmla="*/ 108588 w 116748"/>
                  <a:gd name="connsiteY4" fmla="*/ 0 h 116748"/>
                  <a:gd name="connsiteX5" fmla="*/ 116748 w 116748"/>
                  <a:gd name="connsiteY5" fmla="*/ 8160 h 116748"/>
                  <a:gd name="connsiteX6" fmla="*/ 108588 w 116748"/>
                  <a:gd name="connsiteY6" fmla="*/ 16320 h 116748"/>
                  <a:gd name="connsiteX7" fmla="*/ 16947 w 116748"/>
                  <a:gd name="connsiteY7" fmla="*/ 16320 h 116748"/>
                  <a:gd name="connsiteX8" fmla="*/ 16947 w 116748"/>
                  <a:gd name="connsiteY8" fmla="*/ 107961 h 116748"/>
                  <a:gd name="connsiteX9" fmla="*/ 8160 w 116748"/>
                  <a:gd name="connsiteY9" fmla="*/ 116748 h 116748"/>
                  <a:gd name="connsiteX10" fmla="*/ 8160 w 116748"/>
                  <a:gd name="connsiteY10" fmla="*/ 116748 h 116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6748" h="116748">
                    <a:moveTo>
                      <a:pt x="8160" y="116748"/>
                    </a:moveTo>
                    <a:cubicBezTo>
                      <a:pt x="3766" y="116748"/>
                      <a:pt x="0" y="112982"/>
                      <a:pt x="0" y="108588"/>
                    </a:cubicBezTo>
                    <a:lnTo>
                      <a:pt x="0" y="8160"/>
                    </a:lnTo>
                    <a:cubicBezTo>
                      <a:pt x="0" y="3766"/>
                      <a:pt x="3766" y="0"/>
                      <a:pt x="8160" y="0"/>
                    </a:cubicBezTo>
                    <a:lnTo>
                      <a:pt x="108588" y="0"/>
                    </a:lnTo>
                    <a:cubicBezTo>
                      <a:pt x="112982" y="0"/>
                      <a:pt x="116748" y="3766"/>
                      <a:pt x="116748" y="8160"/>
                    </a:cubicBezTo>
                    <a:cubicBezTo>
                      <a:pt x="116748" y="12554"/>
                      <a:pt x="112982" y="16320"/>
                      <a:pt x="108588" y="16320"/>
                    </a:cubicBezTo>
                    <a:lnTo>
                      <a:pt x="16947" y="16320"/>
                    </a:lnTo>
                    <a:lnTo>
                      <a:pt x="16947" y="107961"/>
                    </a:lnTo>
                    <a:cubicBezTo>
                      <a:pt x="16319" y="112982"/>
                      <a:pt x="12554" y="116748"/>
                      <a:pt x="8160" y="116748"/>
                    </a:cubicBezTo>
                    <a:lnTo>
                      <a:pt x="8160" y="116748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68" name="Forma Livre: Forma 167">
                <a:extLst>
                  <a:ext uri="{FF2B5EF4-FFF2-40B4-BE49-F238E27FC236}">
                    <a16:creationId xmlns:a16="http://schemas.microsoft.com/office/drawing/2014/main" id="{729E0B22-E582-4EC8-9FCC-90EA53904374}"/>
                  </a:ext>
                </a:extLst>
              </p:cNvPr>
              <p:cNvSpPr/>
              <p:nvPr/>
            </p:nvSpPr>
            <p:spPr>
              <a:xfrm>
                <a:off x="4420457" y="526570"/>
                <a:ext cx="306307" cy="376607"/>
              </a:xfrm>
              <a:custGeom>
                <a:avLst/>
                <a:gdLst>
                  <a:gd name="connsiteX0" fmla="*/ 189559 w 306307"/>
                  <a:gd name="connsiteY0" fmla="*/ 376607 h 376607"/>
                  <a:gd name="connsiteX1" fmla="*/ 16947 w 306307"/>
                  <a:gd name="connsiteY1" fmla="*/ 376607 h 376607"/>
                  <a:gd name="connsiteX2" fmla="*/ 0 w 306307"/>
                  <a:gd name="connsiteY2" fmla="*/ 359660 h 376607"/>
                  <a:gd name="connsiteX3" fmla="*/ 0 w 306307"/>
                  <a:gd name="connsiteY3" fmla="*/ 259231 h 376607"/>
                  <a:gd name="connsiteX4" fmla="*/ 16947 w 306307"/>
                  <a:gd name="connsiteY4" fmla="*/ 242284 h 376607"/>
                  <a:gd name="connsiteX5" fmla="*/ 33895 w 306307"/>
                  <a:gd name="connsiteY5" fmla="*/ 259231 h 376607"/>
                  <a:gd name="connsiteX6" fmla="*/ 33895 w 306307"/>
                  <a:gd name="connsiteY6" fmla="*/ 342713 h 376607"/>
                  <a:gd name="connsiteX7" fmla="*/ 182655 w 306307"/>
                  <a:gd name="connsiteY7" fmla="*/ 342713 h 376607"/>
                  <a:gd name="connsiteX8" fmla="*/ 273040 w 306307"/>
                  <a:gd name="connsiteY8" fmla="*/ 252327 h 376607"/>
                  <a:gd name="connsiteX9" fmla="*/ 273040 w 306307"/>
                  <a:gd name="connsiteY9" fmla="*/ 33895 h 376607"/>
                  <a:gd name="connsiteX10" fmla="*/ 16947 w 306307"/>
                  <a:gd name="connsiteY10" fmla="*/ 33895 h 376607"/>
                  <a:gd name="connsiteX11" fmla="*/ 0 w 306307"/>
                  <a:gd name="connsiteY11" fmla="*/ 16947 h 376607"/>
                  <a:gd name="connsiteX12" fmla="*/ 16947 w 306307"/>
                  <a:gd name="connsiteY12" fmla="*/ 0 h 376607"/>
                  <a:gd name="connsiteX13" fmla="*/ 289360 w 306307"/>
                  <a:gd name="connsiteY13" fmla="*/ 0 h 376607"/>
                  <a:gd name="connsiteX14" fmla="*/ 306307 w 306307"/>
                  <a:gd name="connsiteY14" fmla="*/ 16947 h 376607"/>
                  <a:gd name="connsiteX15" fmla="*/ 306307 w 306307"/>
                  <a:gd name="connsiteY15" fmla="*/ 259231 h 376607"/>
                  <a:gd name="connsiteX16" fmla="*/ 301286 w 306307"/>
                  <a:gd name="connsiteY16" fmla="*/ 271157 h 376607"/>
                  <a:gd name="connsiteX17" fmla="*/ 200857 w 306307"/>
                  <a:gd name="connsiteY17" fmla="*/ 371586 h 376607"/>
                  <a:gd name="connsiteX18" fmla="*/ 189559 w 306307"/>
                  <a:gd name="connsiteY18" fmla="*/ 376607 h 376607"/>
                  <a:gd name="connsiteX19" fmla="*/ 189559 w 306307"/>
                  <a:gd name="connsiteY19" fmla="*/ 376607 h 376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06307" h="376607">
                    <a:moveTo>
                      <a:pt x="189559" y="376607"/>
                    </a:moveTo>
                    <a:lnTo>
                      <a:pt x="16947" y="376607"/>
                    </a:lnTo>
                    <a:cubicBezTo>
                      <a:pt x="7532" y="376607"/>
                      <a:pt x="0" y="369075"/>
                      <a:pt x="0" y="359660"/>
                    </a:cubicBezTo>
                    <a:lnTo>
                      <a:pt x="0" y="259231"/>
                    </a:lnTo>
                    <a:cubicBezTo>
                      <a:pt x="0" y="249816"/>
                      <a:pt x="7532" y="242284"/>
                      <a:pt x="16947" y="242284"/>
                    </a:cubicBezTo>
                    <a:cubicBezTo>
                      <a:pt x="26362" y="242284"/>
                      <a:pt x="33895" y="249816"/>
                      <a:pt x="33895" y="259231"/>
                    </a:cubicBezTo>
                    <a:lnTo>
                      <a:pt x="33895" y="342713"/>
                    </a:lnTo>
                    <a:lnTo>
                      <a:pt x="182655" y="342713"/>
                    </a:lnTo>
                    <a:lnTo>
                      <a:pt x="273040" y="252327"/>
                    </a:lnTo>
                    <a:lnTo>
                      <a:pt x="273040" y="33895"/>
                    </a:lnTo>
                    <a:lnTo>
                      <a:pt x="16947" y="33895"/>
                    </a:lnTo>
                    <a:cubicBezTo>
                      <a:pt x="7532" y="33895"/>
                      <a:pt x="0" y="26363"/>
                      <a:pt x="0" y="16947"/>
                    </a:cubicBezTo>
                    <a:cubicBezTo>
                      <a:pt x="0" y="7532"/>
                      <a:pt x="7532" y="0"/>
                      <a:pt x="16947" y="0"/>
                    </a:cubicBezTo>
                    <a:lnTo>
                      <a:pt x="289360" y="0"/>
                    </a:lnTo>
                    <a:cubicBezTo>
                      <a:pt x="298775" y="0"/>
                      <a:pt x="306307" y="7532"/>
                      <a:pt x="306307" y="16947"/>
                    </a:cubicBezTo>
                    <a:lnTo>
                      <a:pt x="306307" y="259231"/>
                    </a:lnTo>
                    <a:cubicBezTo>
                      <a:pt x="306307" y="263625"/>
                      <a:pt x="304424" y="268019"/>
                      <a:pt x="301286" y="271157"/>
                    </a:cubicBezTo>
                    <a:lnTo>
                      <a:pt x="200857" y="371586"/>
                    </a:lnTo>
                    <a:cubicBezTo>
                      <a:pt x="198347" y="374724"/>
                      <a:pt x="193953" y="376607"/>
                      <a:pt x="189559" y="376607"/>
                    </a:cubicBezTo>
                    <a:lnTo>
                      <a:pt x="189559" y="376607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169" name="Gráfico 2">
              <a:extLst>
                <a:ext uri="{FF2B5EF4-FFF2-40B4-BE49-F238E27FC236}">
                  <a16:creationId xmlns:a16="http://schemas.microsoft.com/office/drawing/2014/main" id="{83F95F55-5D1D-4425-8D77-756B15108235}"/>
                </a:ext>
              </a:extLst>
            </p:cNvPr>
            <p:cNvGrpSpPr/>
            <p:nvPr/>
          </p:nvGrpSpPr>
          <p:grpSpPr>
            <a:xfrm>
              <a:off x="4427361" y="585572"/>
              <a:ext cx="243539" cy="155664"/>
              <a:chOff x="4427361" y="585572"/>
              <a:chExt cx="243539" cy="155664"/>
            </a:xfrm>
            <a:grpFill/>
          </p:grpSpPr>
          <p:sp>
            <p:nvSpPr>
              <p:cNvPr id="170" name="Forma Livre: Forma 169">
                <a:extLst>
                  <a:ext uri="{FF2B5EF4-FFF2-40B4-BE49-F238E27FC236}">
                    <a16:creationId xmlns:a16="http://schemas.microsoft.com/office/drawing/2014/main" id="{41414C91-7A62-4C51-97E1-01E0EA2B05A2}"/>
                  </a:ext>
                </a:extLst>
              </p:cNvPr>
              <p:cNvSpPr/>
              <p:nvPr/>
            </p:nvSpPr>
            <p:spPr>
              <a:xfrm>
                <a:off x="4427361" y="587455"/>
                <a:ext cx="70927" cy="151898"/>
              </a:xfrm>
              <a:custGeom>
                <a:avLst/>
                <a:gdLst>
                  <a:gd name="connsiteX0" fmla="*/ 70928 w 70927"/>
                  <a:gd name="connsiteY0" fmla="*/ 37661 h 151898"/>
                  <a:gd name="connsiteX1" fmla="*/ 70928 w 70927"/>
                  <a:gd name="connsiteY1" fmla="*/ 57119 h 151898"/>
                  <a:gd name="connsiteX2" fmla="*/ 35150 w 70927"/>
                  <a:gd name="connsiteY2" fmla="*/ 94779 h 151898"/>
                  <a:gd name="connsiteX3" fmla="*/ 23852 w 70927"/>
                  <a:gd name="connsiteY3" fmla="*/ 94779 h 151898"/>
                  <a:gd name="connsiteX4" fmla="*/ 23852 w 70927"/>
                  <a:gd name="connsiteY4" fmla="*/ 151898 h 151898"/>
                  <a:gd name="connsiteX5" fmla="*/ 0 w 70927"/>
                  <a:gd name="connsiteY5" fmla="*/ 151898 h 151898"/>
                  <a:gd name="connsiteX6" fmla="*/ 0 w 70927"/>
                  <a:gd name="connsiteY6" fmla="*/ 0 h 151898"/>
                  <a:gd name="connsiteX7" fmla="*/ 35150 w 70927"/>
                  <a:gd name="connsiteY7" fmla="*/ 0 h 151898"/>
                  <a:gd name="connsiteX8" fmla="*/ 70928 w 70927"/>
                  <a:gd name="connsiteY8" fmla="*/ 37661 h 151898"/>
                  <a:gd name="connsiteX9" fmla="*/ 23852 w 70927"/>
                  <a:gd name="connsiteY9" fmla="*/ 21969 h 151898"/>
                  <a:gd name="connsiteX10" fmla="*/ 23852 w 70927"/>
                  <a:gd name="connsiteY10" fmla="*/ 73438 h 151898"/>
                  <a:gd name="connsiteX11" fmla="*/ 35150 w 70927"/>
                  <a:gd name="connsiteY11" fmla="*/ 73438 h 151898"/>
                  <a:gd name="connsiteX12" fmla="*/ 47076 w 70927"/>
                  <a:gd name="connsiteY12" fmla="*/ 59002 h 151898"/>
                  <a:gd name="connsiteX13" fmla="*/ 47076 w 70927"/>
                  <a:gd name="connsiteY13" fmla="*/ 36405 h 151898"/>
                  <a:gd name="connsiteX14" fmla="*/ 35150 w 70927"/>
                  <a:gd name="connsiteY14" fmla="*/ 21969 h 151898"/>
                  <a:gd name="connsiteX15" fmla="*/ 23852 w 70927"/>
                  <a:gd name="connsiteY15" fmla="*/ 21969 h 151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70927" h="151898">
                    <a:moveTo>
                      <a:pt x="70928" y="37661"/>
                    </a:moveTo>
                    <a:lnTo>
                      <a:pt x="70928" y="57119"/>
                    </a:lnTo>
                    <a:cubicBezTo>
                      <a:pt x="70928" y="81598"/>
                      <a:pt x="59002" y="94779"/>
                      <a:pt x="35150" y="94779"/>
                    </a:cubicBezTo>
                    <a:lnTo>
                      <a:pt x="23852" y="94779"/>
                    </a:lnTo>
                    <a:lnTo>
                      <a:pt x="23852" y="151898"/>
                    </a:lnTo>
                    <a:lnTo>
                      <a:pt x="0" y="151898"/>
                    </a:lnTo>
                    <a:lnTo>
                      <a:pt x="0" y="0"/>
                    </a:lnTo>
                    <a:lnTo>
                      <a:pt x="35150" y="0"/>
                    </a:lnTo>
                    <a:cubicBezTo>
                      <a:pt x="59002" y="0"/>
                      <a:pt x="70928" y="13181"/>
                      <a:pt x="70928" y="37661"/>
                    </a:cubicBezTo>
                    <a:close/>
                    <a:moveTo>
                      <a:pt x="23852" y="21969"/>
                    </a:moveTo>
                    <a:lnTo>
                      <a:pt x="23852" y="73438"/>
                    </a:lnTo>
                    <a:lnTo>
                      <a:pt x="35150" y="73438"/>
                    </a:lnTo>
                    <a:cubicBezTo>
                      <a:pt x="42682" y="73438"/>
                      <a:pt x="47076" y="69672"/>
                      <a:pt x="47076" y="59002"/>
                    </a:cubicBezTo>
                    <a:lnTo>
                      <a:pt x="47076" y="36405"/>
                    </a:lnTo>
                    <a:cubicBezTo>
                      <a:pt x="47076" y="25735"/>
                      <a:pt x="42682" y="21969"/>
                      <a:pt x="35150" y="21969"/>
                    </a:cubicBezTo>
                    <a:lnTo>
                      <a:pt x="23852" y="21969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71" name="Forma Livre: Forma 170">
                <a:extLst>
                  <a:ext uri="{FF2B5EF4-FFF2-40B4-BE49-F238E27FC236}">
                    <a16:creationId xmlns:a16="http://schemas.microsoft.com/office/drawing/2014/main" id="{87A81F11-3914-434C-99C7-DEE1923BC843}"/>
                  </a:ext>
                </a:extLst>
              </p:cNvPr>
              <p:cNvSpPr/>
              <p:nvPr/>
            </p:nvSpPr>
            <p:spPr>
              <a:xfrm>
                <a:off x="4508960" y="587455"/>
                <a:ext cx="75948" cy="151898"/>
              </a:xfrm>
              <a:custGeom>
                <a:avLst/>
                <a:gdLst>
                  <a:gd name="connsiteX0" fmla="*/ 21341 w 75948"/>
                  <a:gd name="connsiteY0" fmla="*/ 42054 h 151898"/>
                  <a:gd name="connsiteX1" fmla="*/ 21341 w 75948"/>
                  <a:gd name="connsiteY1" fmla="*/ 151898 h 151898"/>
                  <a:gd name="connsiteX2" fmla="*/ 0 w 75948"/>
                  <a:gd name="connsiteY2" fmla="*/ 151898 h 151898"/>
                  <a:gd name="connsiteX3" fmla="*/ 0 w 75948"/>
                  <a:gd name="connsiteY3" fmla="*/ 0 h 151898"/>
                  <a:gd name="connsiteX4" fmla="*/ 30129 w 75948"/>
                  <a:gd name="connsiteY4" fmla="*/ 0 h 151898"/>
                  <a:gd name="connsiteX5" fmla="*/ 54608 w 75948"/>
                  <a:gd name="connsiteY5" fmla="*/ 91013 h 151898"/>
                  <a:gd name="connsiteX6" fmla="*/ 54608 w 75948"/>
                  <a:gd name="connsiteY6" fmla="*/ 0 h 151898"/>
                  <a:gd name="connsiteX7" fmla="*/ 75949 w 75948"/>
                  <a:gd name="connsiteY7" fmla="*/ 0 h 151898"/>
                  <a:gd name="connsiteX8" fmla="*/ 75949 w 75948"/>
                  <a:gd name="connsiteY8" fmla="*/ 151898 h 151898"/>
                  <a:gd name="connsiteX9" fmla="*/ 51470 w 75948"/>
                  <a:gd name="connsiteY9" fmla="*/ 151898 h 151898"/>
                  <a:gd name="connsiteX10" fmla="*/ 21341 w 75948"/>
                  <a:gd name="connsiteY10" fmla="*/ 42054 h 151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5948" h="151898">
                    <a:moveTo>
                      <a:pt x="21341" y="42054"/>
                    </a:moveTo>
                    <a:lnTo>
                      <a:pt x="21341" y="151898"/>
                    </a:lnTo>
                    <a:lnTo>
                      <a:pt x="0" y="151898"/>
                    </a:lnTo>
                    <a:lnTo>
                      <a:pt x="0" y="0"/>
                    </a:lnTo>
                    <a:lnTo>
                      <a:pt x="30129" y="0"/>
                    </a:lnTo>
                    <a:lnTo>
                      <a:pt x="54608" y="91013"/>
                    </a:lnTo>
                    <a:lnTo>
                      <a:pt x="54608" y="0"/>
                    </a:lnTo>
                    <a:lnTo>
                      <a:pt x="75949" y="0"/>
                    </a:lnTo>
                    <a:lnTo>
                      <a:pt x="75949" y="151898"/>
                    </a:lnTo>
                    <a:lnTo>
                      <a:pt x="51470" y="151898"/>
                    </a:lnTo>
                    <a:lnTo>
                      <a:pt x="21341" y="42054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72" name="Forma Livre: Forma 171">
                <a:extLst>
                  <a:ext uri="{FF2B5EF4-FFF2-40B4-BE49-F238E27FC236}">
                    <a16:creationId xmlns:a16="http://schemas.microsoft.com/office/drawing/2014/main" id="{6BE954AE-DB22-4C61-A84C-77D4CD040D7B}"/>
                  </a:ext>
                </a:extLst>
              </p:cNvPr>
              <p:cNvSpPr/>
              <p:nvPr/>
            </p:nvSpPr>
            <p:spPr>
              <a:xfrm>
                <a:off x="4599345" y="585572"/>
                <a:ext cx="71555" cy="155664"/>
              </a:xfrm>
              <a:custGeom>
                <a:avLst/>
                <a:gdLst>
                  <a:gd name="connsiteX0" fmla="*/ 38289 w 71555"/>
                  <a:gd name="connsiteY0" fmla="*/ 69045 h 155664"/>
                  <a:gd name="connsiteX1" fmla="*/ 71556 w 71555"/>
                  <a:gd name="connsiteY1" fmla="*/ 69045 h 155664"/>
                  <a:gd name="connsiteX2" fmla="*/ 71556 w 71555"/>
                  <a:gd name="connsiteY2" fmla="*/ 117376 h 155664"/>
                  <a:gd name="connsiteX3" fmla="*/ 35778 w 71555"/>
                  <a:gd name="connsiteY3" fmla="*/ 155664 h 155664"/>
                  <a:gd name="connsiteX4" fmla="*/ 0 w 71555"/>
                  <a:gd name="connsiteY4" fmla="*/ 117376 h 155664"/>
                  <a:gd name="connsiteX5" fmla="*/ 0 w 71555"/>
                  <a:gd name="connsiteY5" fmla="*/ 38288 h 155664"/>
                  <a:gd name="connsiteX6" fmla="*/ 35778 w 71555"/>
                  <a:gd name="connsiteY6" fmla="*/ 0 h 155664"/>
                  <a:gd name="connsiteX7" fmla="*/ 71556 w 71555"/>
                  <a:gd name="connsiteY7" fmla="*/ 38288 h 155664"/>
                  <a:gd name="connsiteX8" fmla="*/ 71556 w 71555"/>
                  <a:gd name="connsiteY8" fmla="*/ 53353 h 155664"/>
                  <a:gd name="connsiteX9" fmla="*/ 48959 w 71555"/>
                  <a:gd name="connsiteY9" fmla="*/ 53353 h 155664"/>
                  <a:gd name="connsiteX10" fmla="*/ 48959 w 71555"/>
                  <a:gd name="connsiteY10" fmla="*/ 37033 h 155664"/>
                  <a:gd name="connsiteX11" fmla="*/ 36406 w 71555"/>
                  <a:gd name="connsiteY11" fmla="*/ 21969 h 155664"/>
                  <a:gd name="connsiteX12" fmla="*/ 23852 w 71555"/>
                  <a:gd name="connsiteY12" fmla="*/ 37033 h 155664"/>
                  <a:gd name="connsiteX13" fmla="*/ 23852 w 71555"/>
                  <a:gd name="connsiteY13" fmla="*/ 119259 h 155664"/>
                  <a:gd name="connsiteX14" fmla="*/ 36406 w 71555"/>
                  <a:gd name="connsiteY14" fmla="*/ 134323 h 155664"/>
                  <a:gd name="connsiteX15" fmla="*/ 48959 w 71555"/>
                  <a:gd name="connsiteY15" fmla="*/ 119259 h 155664"/>
                  <a:gd name="connsiteX16" fmla="*/ 48959 w 71555"/>
                  <a:gd name="connsiteY16" fmla="*/ 91013 h 155664"/>
                  <a:gd name="connsiteX17" fmla="*/ 38289 w 71555"/>
                  <a:gd name="connsiteY17" fmla="*/ 91013 h 155664"/>
                  <a:gd name="connsiteX18" fmla="*/ 38289 w 71555"/>
                  <a:gd name="connsiteY18" fmla="*/ 69045 h 155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71555" h="155664">
                    <a:moveTo>
                      <a:pt x="38289" y="69045"/>
                    </a:moveTo>
                    <a:lnTo>
                      <a:pt x="71556" y="69045"/>
                    </a:lnTo>
                    <a:lnTo>
                      <a:pt x="71556" y="117376"/>
                    </a:lnTo>
                    <a:cubicBezTo>
                      <a:pt x="71556" y="141855"/>
                      <a:pt x="59629" y="155664"/>
                      <a:pt x="35778" y="155664"/>
                    </a:cubicBezTo>
                    <a:cubicBezTo>
                      <a:pt x="11926" y="155664"/>
                      <a:pt x="0" y="141855"/>
                      <a:pt x="0" y="117376"/>
                    </a:cubicBezTo>
                    <a:lnTo>
                      <a:pt x="0" y="38288"/>
                    </a:lnTo>
                    <a:cubicBezTo>
                      <a:pt x="0" y="13809"/>
                      <a:pt x="11926" y="0"/>
                      <a:pt x="35778" y="0"/>
                    </a:cubicBezTo>
                    <a:cubicBezTo>
                      <a:pt x="59629" y="0"/>
                      <a:pt x="71556" y="13809"/>
                      <a:pt x="71556" y="38288"/>
                    </a:cubicBezTo>
                    <a:lnTo>
                      <a:pt x="71556" y="53353"/>
                    </a:lnTo>
                    <a:lnTo>
                      <a:pt x="48959" y="53353"/>
                    </a:lnTo>
                    <a:lnTo>
                      <a:pt x="48959" y="37033"/>
                    </a:lnTo>
                    <a:cubicBezTo>
                      <a:pt x="48959" y="26363"/>
                      <a:pt x="43938" y="21969"/>
                      <a:pt x="36406" y="21969"/>
                    </a:cubicBezTo>
                    <a:cubicBezTo>
                      <a:pt x="28873" y="21969"/>
                      <a:pt x="23852" y="26363"/>
                      <a:pt x="23852" y="37033"/>
                    </a:cubicBezTo>
                    <a:lnTo>
                      <a:pt x="23852" y="119259"/>
                    </a:lnTo>
                    <a:cubicBezTo>
                      <a:pt x="23852" y="129929"/>
                      <a:pt x="28873" y="134323"/>
                      <a:pt x="36406" y="134323"/>
                    </a:cubicBezTo>
                    <a:cubicBezTo>
                      <a:pt x="43938" y="134323"/>
                      <a:pt x="48959" y="130557"/>
                      <a:pt x="48959" y="119259"/>
                    </a:cubicBezTo>
                    <a:lnTo>
                      <a:pt x="48959" y="91013"/>
                    </a:lnTo>
                    <a:lnTo>
                      <a:pt x="38289" y="91013"/>
                    </a:lnTo>
                    <a:lnTo>
                      <a:pt x="38289" y="69045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173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5444201" y="526570"/>
            <a:ext cx="306307" cy="376607"/>
            <a:chOff x="5444201" y="526570"/>
            <a:chExt cx="306307" cy="376607"/>
          </a:xfrm>
          <a:solidFill>
            <a:srgbClr val="B1B1A1"/>
          </a:solidFill>
        </p:grpSpPr>
        <p:grpSp>
          <p:nvGrpSpPr>
            <p:cNvPr id="174" name="Gráfico 2">
              <a:extLst>
                <a:ext uri="{FF2B5EF4-FFF2-40B4-BE49-F238E27FC236}">
                  <a16:creationId xmlns:a16="http://schemas.microsoft.com/office/drawing/2014/main" id="{83F95F55-5D1D-4425-8D77-756B15108235}"/>
                </a:ext>
              </a:extLst>
            </p:cNvPr>
            <p:cNvGrpSpPr/>
            <p:nvPr/>
          </p:nvGrpSpPr>
          <p:grpSpPr>
            <a:xfrm>
              <a:off x="5444201" y="526570"/>
              <a:ext cx="306307" cy="376607"/>
              <a:chOff x="5444201" y="526570"/>
              <a:chExt cx="306307" cy="376607"/>
            </a:xfrm>
            <a:grpFill/>
          </p:grpSpPr>
          <p:sp>
            <p:nvSpPr>
              <p:cNvPr id="175" name="Forma Livre: Forma 174">
                <a:extLst>
                  <a:ext uri="{FF2B5EF4-FFF2-40B4-BE49-F238E27FC236}">
                    <a16:creationId xmlns:a16="http://schemas.microsoft.com/office/drawing/2014/main" id="{2BD6B03E-5881-440C-92AF-8AE85E55FDFB}"/>
                  </a:ext>
                </a:extLst>
              </p:cNvPr>
              <p:cNvSpPr/>
              <p:nvPr/>
            </p:nvSpPr>
            <p:spPr>
              <a:xfrm>
                <a:off x="5625600" y="778270"/>
                <a:ext cx="116748" cy="116748"/>
              </a:xfrm>
              <a:custGeom>
                <a:avLst/>
                <a:gdLst>
                  <a:gd name="connsiteX0" fmla="*/ 8160 w 116748"/>
                  <a:gd name="connsiteY0" fmla="*/ 116748 h 116748"/>
                  <a:gd name="connsiteX1" fmla="*/ 0 w 116748"/>
                  <a:gd name="connsiteY1" fmla="*/ 108588 h 116748"/>
                  <a:gd name="connsiteX2" fmla="*/ 0 w 116748"/>
                  <a:gd name="connsiteY2" fmla="*/ 8160 h 116748"/>
                  <a:gd name="connsiteX3" fmla="*/ 8160 w 116748"/>
                  <a:gd name="connsiteY3" fmla="*/ 0 h 116748"/>
                  <a:gd name="connsiteX4" fmla="*/ 108589 w 116748"/>
                  <a:gd name="connsiteY4" fmla="*/ 0 h 116748"/>
                  <a:gd name="connsiteX5" fmla="*/ 116748 w 116748"/>
                  <a:gd name="connsiteY5" fmla="*/ 8160 h 116748"/>
                  <a:gd name="connsiteX6" fmla="*/ 108589 w 116748"/>
                  <a:gd name="connsiteY6" fmla="*/ 16320 h 116748"/>
                  <a:gd name="connsiteX7" fmla="*/ 16947 w 116748"/>
                  <a:gd name="connsiteY7" fmla="*/ 16320 h 116748"/>
                  <a:gd name="connsiteX8" fmla="*/ 16947 w 116748"/>
                  <a:gd name="connsiteY8" fmla="*/ 107961 h 116748"/>
                  <a:gd name="connsiteX9" fmla="*/ 8160 w 116748"/>
                  <a:gd name="connsiteY9" fmla="*/ 116748 h 116748"/>
                  <a:gd name="connsiteX10" fmla="*/ 8160 w 116748"/>
                  <a:gd name="connsiteY10" fmla="*/ 116748 h 116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6748" h="116748">
                    <a:moveTo>
                      <a:pt x="8160" y="116748"/>
                    </a:moveTo>
                    <a:cubicBezTo>
                      <a:pt x="3766" y="116748"/>
                      <a:pt x="0" y="112982"/>
                      <a:pt x="0" y="108588"/>
                    </a:cubicBezTo>
                    <a:lnTo>
                      <a:pt x="0" y="8160"/>
                    </a:lnTo>
                    <a:cubicBezTo>
                      <a:pt x="0" y="3766"/>
                      <a:pt x="3766" y="0"/>
                      <a:pt x="8160" y="0"/>
                    </a:cubicBezTo>
                    <a:lnTo>
                      <a:pt x="108589" y="0"/>
                    </a:lnTo>
                    <a:cubicBezTo>
                      <a:pt x="112982" y="0"/>
                      <a:pt x="116748" y="3766"/>
                      <a:pt x="116748" y="8160"/>
                    </a:cubicBezTo>
                    <a:cubicBezTo>
                      <a:pt x="116748" y="12554"/>
                      <a:pt x="112982" y="16320"/>
                      <a:pt x="108589" y="16320"/>
                    </a:cubicBezTo>
                    <a:lnTo>
                      <a:pt x="16947" y="16320"/>
                    </a:lnTo>
                    <a:lnTo>
                      <a:pt x="16947" y="107961"/>
                    </a:lnTo>
                    <a:cubicBezTo>
                      <a:pt x="16320" y="112982"/>
                      <a:pt x="12554" y="116748"/>
                      <a:pt x="8160" y="116748"/>
                    </a:cubicBezTo>
                    <a:lnTo>
                      <a:pt x="8160" y="116748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76" name="Forma Livre: Forma 175">
                <a:extLst>
                  <a:ext uri="{FF2B5EF4-FFF2-40B4-BE49-F238E27FC236}">
                    <a16:creationId xmlns:a16="http://schemas.microsoft.com/office/drawing/2014/main" id="{ED6AD882-596F-4B73-BA22-1D0C7E72CD9B}"/>
                  </a:ext>
                </a:extLst>
              </p:cNvPr>
              <p:cNvSpPr/>
              <p:nvPr/>
            </p:nvSpPr>
            <p:spPr>
              <a:xfrm>
                <a:off x="5444201" y="526570"/>
                <a:ext cx="306307" cy="376607"/>
              </a:xfrm>
              <a:custGeom>
                <a:avLst/>
                <a:gdLst>
                  <a:gd name="connsiteX0" fmla="*/ 189559 w 306307"/>
                  <a:gd name="connsiteY0" fmla="*/ 376607 h 376607"/>
                  <a:gd name="connsiteX1" fmla="*/ 16947 w 306307"/>
                  <a:gd name="connsiteY1" fmla="*/ 376607 h 376607"/>
                  <a:gd name="connsiteX2" fmla="*/ 0 w 306307"/>
                  <a:gd name="connsiteY2" fmla="*/ 359660 h 376607"/>
                  <a:gd name="connsiteX3" fmla="*/ 0 w 306307"/>
                  <a:gd name="connsiteY3" fmla="*/ 259231 h 376607"/>
                  <a:gd name="connsiteX4" fmla="*/ 16947 w 306307"/>
                  <a:gd name="connsiteY4" fmla="*/ 242284 h 376607"/>
                  <a:gd name="connsiteX5" fmla="*/ 33894 w 306307"/>
                  <a:gd name="connsiteY5" fmla="*/ 259231 h 376607"/>
                  <a:gd name="connsiteX6" fmla="*/ 33894 w 306307"/>
                  <a:gd name="connsiteY6" fmla="*/ 342713 h 376607"/>
                  <a:gd name="connsiteX7" fmla="*/ 182654 w 306307"/>
                  <a:gd name="connsiteY7" fmla="*/ 342713 h 376607"/>
                  <a:gd name="connsiteX8" fmla="*/ 273040 w 306307"/>
                  <a:gd name="connsiteY8" fmla="*/ 252327 h 376607"/>
                  <a:gd name="connsiteX9" fmla="*/ 273040 w 306307"/>
                  <a:gd name="connsiteY9" fmla="*/ 33895 h 376607"/>
                  <a:gd name="connsiteX10" fmla="*/ 16947 w 306307"/>
                  <a:gd name="connsiteY10" fmla="*/ 33895 h 376607"/>
                  <a:gd name="connsiteX11" fmla="*/ 0 w 306307"/>
                  <a:gd name="connsiteY11" fmla="*/ 16947 h 376607"/>
                  <a:gd name="connsiteX12" fmla="*/ 16947 w 306307"/>
                  <a:gd name="connsiteY12" fmla="*/ 0 h 376607"/>
                  <a:gd name="connsiteX13" fmla="*/ 289360 w 306307"/>
                  <a:gd name="connsiteY13" fmla="*/ 0 h 376607"/>
                  <a:gd name="connsiteX14" fmla="*/ 306307 w 306307"/>
                  <a:gd name="connsiteY14" fmla="*/ 16947 h 376607"/>
                  <a:gd name="connsiteX15" fmla="*/ 306307 w 306307"/>
                  <a:gd name="connsiteY15" fmla="*/ 259231 h 376607"/>
                  <a:gd name="connsiteX16" fmla="*/ 301286 w 306307"/>
                  <a:gd name="connsiteY16" fmla="*/ 271157 h 376607"/>
                  <a:gd name="connsiteX17" fmla="*/ 200857 w 306307"/>
                  <a:gd name="connsiteY17" fmla="*/ 371586 h 376607"/>
                  <a:gd name="connsiteX18" fmla="*/ 189559 w 306307"/>
                  <a:gd name="connsiteY18" fmla="*/ 376607 h 376607"/>
                  <a:gd name="connsiteX19" fmla="*/ 189559 w 306307"/>
                  <a:gd name="connsiteY19" fmla="*/ 376607 h 376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06307" h="376607">
                    <a:moveTo>
                      <a:pt x="189559" y="376607"/>
                    </a:moveTo>
                    <a:lnTo>
                      <a:pt x="16947" y="376607"/>
                    </a:lnTo>
                    <a:cubicBezTo>
                      <a:pt x="7532" y="376607"/>
                      <a:pt x="0" y="369075"/>
                      <a:pt x="0" y="359660"/>
                    </a:cubicBezTo>
                    <a:lnTo>
                      <a:pt x="0" y="259231"/>
                    </a:lnTo>
                    <a:cubicBezTo>
                      <a:pt x="0" y="249816"/>
                      <a:pt x="7532" y="242284"/>
                      <a:pt x="16947" y="242284"/>
                    </a:cubicBezTo>
                    <a:cubicBezTo>
                      <a:pt x="26363" y="242284"/>
                      <a:pt x="33894" y="249816"/>
                      <a:pt x="33894" y="259231"/>
                    </a:cubicBezTo>
                    <a:lnTo>
                      <a:pt x="33894" y="342713"/>
                    </a:lnTo>
                    <a:lnTo>
                      <a:pt x="182654" y="342713"/>
                    </a:lnTo>
                    <a:lnTo>
                      <a:pt x="273040" y="252327"/>
                    </a:lnTo>
                    <a:lnTo>
                      <a:pt x="273040" y="33895"/>
                    </a:lnTo>
                    <a:lnTo>
                      <a:pt x="16947" y="33895"/>
                    </a:lnTo>
                    <a:cubicBezTo>
                      <a:pt x="7532" y="33895"/>
                      <a:pt x="0" y="26363"/>
                      <a:pt x="0" y="16947"/>
                    </a:cubicBezTo>
                    <a:cubicBezTo>
                      <a:pt x="0" y="7532"/>
                      <a:pt x="7532" y="0"/>
                      <a:pt x="16947" y="0"/>
                    </a:cubicBezTo>
                    <a:lnTo>
                      <a:pt x="289360" y="0"/>
                    </a:lnTo>
                    <a:cubicBezTo>
                      <a:pt x="298775" y="0"/>
                      <a:pt x="306307" y="7532"/>
                      <a:pt x="306307" y="16947"/>
                    </a:cubicBezTo>
                    <a:lnTo>
                      <a:pt x="306307" y="259231"/>
                    </a:lnTo>
                    <a:cubicBezTo>
                      <a:pt x="306307" y="263625"/>
                      <a:pt x="304424" y="268019"/>
                      <a:pt x="301286" y="271157"/>
                    </a:cubicBezTo>
                    <a:lnTo>
                      <a:pt x="200857" y="371586"/>
                    </a:lnTo>
                    <a:cubicBezTo>
                      <a:pt x="198346" y="374724"/>
                      <a:pt x="193952" y="376607"/>
                      <a:pt x="189559" y="376607"/>
                    </a:cubicBezTo>
                    <a:lnTo>
                      <a:pt x="189559" y="376607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177" name="Gráfico 2">
              <a:extLst>
                <a:ext uri="{FF2B5EF4-FFF2-40B4-BE49-F238E27FC236}">
                  <a16:creationId xmlns:a16="http://schemas.microsoft.com/office/drawing/2014/main" id="{83F95F55-5D1D-4425-8D77-756B15108235}"/>
                </a:ext>
              </a:extLst>
            </p:cNvPr>
            <p:cNvGrpSpPr/>
            <p:nvPr/>
          </p:nvGrpSpPr>
          <p:grpSpPr>
            <a:xfrm>
              <a:off x="5451733" y="587455"/>
              <a:ext cx="248560" cy="151898"/>
              <a:chOff x="5451733" y="587455"/>
              <a:chExt cx="248560" cy="151898"/>
            </a:xfrm>
            <a:grpFill/>
          </p:grpSpPr>
          <p:sp>
            <p:nvSpPr>
              <p:cNvPr id="178" name="Forma Livre: Forma 177">
                <a:extLst>
                  <a:ext uri="{FF2B5EF4-FFF2-40B4-BE49-F238E27FC236}">
                    <a16:creationId xmlns:a16="http://schemas.microsoft.com/office/drawing/2014/main" id="{4E9FCFD9-4FBC-4724-B735-EB52AFB2F673}"/>
                  </a:ext>
                </a:extLst>
              </p:cNvPr>
              <p:cNvSpPr/>
              <p:nvPr/>
            </p:nvSpPr>
            <p:spPr>
              <a:xfrm>
                <a:off x="5451733" y="587455"/>
                <a:ext cx="73438" cy="151898"/>
              </a:xfrm>
              <a:custGeom>
                <a:avLst/>
                <a:gdLst>
                  <a:gd name="connsiteX0" fmla="*/ 49586 w 73438"/>
                  <a:gd name="connsiteY0" fmla="*/ 151898 h 151898"/>
                  <a:gd name="connsiteX1" fmla="*/ 47703 w 73438"/>
                  <a:gd name="connsiteY1" fmla="*/ 133068 h 151898"/>
                  <a:gd name="connsiteX2" fmla="*/ 47703 w 73438"/>
                  <a:gd name="connsiteY2" fmla="*/ 109216 h 151898"/>
                  <a:gd name="connsiteX3" fmla="*/ 32011 w 73438"/>
                  <a:gd name="connsiteY3" fmla="*/ 89758 h 151898"/>
                  <a:gd name="connsiteX4" fmla="*/ 23852 w 73438"/>
                  <a:gd name="connsiteY4" fmla="*/ 89758 h 151898"/>
                  <a:gd name="connsiteX5" fmla="*/ 23852 w 73438"/>
                  <a:gd name="connsiteY5" fmla="*/ 151898 h 151898"/>
                  <a:gd name="connsiteX6" fmla="*/ 0 w 73438"/>
                  <a:gd name="connsiteY6" fmla="*/ 151898 h 151898"/>
                  <a:gd name="connsiteX7" fmla="*/ 0 w 73438"/>
                  <a:gd name="connsiteY7" fmla="*/ 0 h 151898"/>
                  <a:gd name="connsiteX8" fmla="*/ 35777 w 73438"/>
                  <a:gd name="connsiteY8" fmla="*/ 0 h 151898"/>
                  <a:gd name="connsiteX9" fmla="*/ 70928 w 73438"/>
                  <a:gd name="connsiteY9" fmla="*/ 35150 h 151898"/>
                  <a:gd name="connsiteX10" fmla="*/ 70928 w 73438"/>
                  <a:gd name="connsiteY10" fmla="*/ 47076 h 151898"/>
                  <a:gd name="connsiteX11" fmla="*/ 55236 w 73438"/>
                  <a:gd name="connsiteY11" fmla="*/ 77832 h 151898"/>
                  <a:gd name="connsiteX12" fmla="*/ 70928 w 73438"/>
                  <a:gd name="connsiteY12" fmla="*/ 110471 h 151898"/>
                  <a:gd name="connsiteX13" fmla="*/ 70928 w 73438"/>
                  <a:gd name="connsiteY13" fmla="*/ 133696 h 151898"/>
                  <a:gd name="connsiteX14" fmla="*/ 73438 w 73438"/>
                  <a:gd name="connsiteY14" fmla="*/ 151898 h 151898"/>
                  <a:gd name="connsiteX15" fmla="*/ 49586 w 73438"/>
                  <a:gd name="connsiteY15" fmla="*/ 151898 h 151898"/>
                  <a:gd name="connsiteX16" fmla="*/ 23224 w 73438"/>
                  <a:gd name="connsiteY16" fmla="*/ 21969 h 151898"/>
                  <a:gd name="connsiteX17" fmla="*/ 23224 w 73438"/>
                  <a:gd name="connsiteY17" fmla="*/ 68417 h 151898"/>
                  <a:gd name="connsiteX18" fmla="*/ 32639 w 73438"/>
                  <a:gd name="connsiteY18" fmla="*/ 68417 h 151898"/>
                  <a:gd name="connsiteX19" fmla="*/ 47076 w 73438"/>
                  <a:gd name="connsiteY19" fmla="*/ 52097 h 151898"/>
                  <a:gd name="connsiteX20" fmla="*/ 47076 w 73438"/>
                  <a:gd name="connsiteY20" fmla="*/ 37033 h 151898"/>
                  <a:gd name="connsiteX21" fmla="*/ 35150 w 73438"/>
                  <a:gd name="connsiteY21" fmla="*/ 21341 h 151898"/>
                  <a:gd name="connsiteX22" fmla="*/ 23224 w 73438"/>
                  <a:gd name="connsiteY22" fmla="*/ 21341 h 151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73438" h="151898">
                    <a:moveTo>
                      <a:pt x="49586" y="151898"/>
                    </a:moveTo>
                    <a:cubicBezTo>
                      <a:pt x="48331" y="148132"/>
                      <a:pt x="47703" y="145621"/>
                      <a:pt x="47703" y="133068"/>
                    </a:cubicBezTo>
                    <a:lnTo>
                      <a:pt x="47703" y="109216"/>
                    </a:lnTo>
                    <a:cubicBezTo>
                      <a:pt x="47703" y="95407"/>
                      <a:pt x="42682" y="89758"/>
                      <a:pt x="32011" y="89758"/>
                    </a:cubicBezTo>
                    <a:lnTo>
                      <a:pt x="23852" y="89758"/>
                    </a:lnTo>
                    <a:lnTo>
                      <a:pt x="23852" y="151898"/>
                    </a:lnTo>
                    <a:lnTo>
                      <a:pt x="0" y="151898"/>
                    </a:lnTo>
                    <a:lnTo>
                      <a:pt x="0" y="0"/>
                    </a:lnTo>
                    <a:lnTo>
                      <a:pt x="35777" y="0"/>
                    </a:lnTo>
                    <a:cubicBezTo>
                      <a:pt x="60257" y="0"/>
                      <a:pt x="70928" y="11298"/>
                      <a:pt x="70928" y="35150"/>
                    </a:cubicBezTo>
                    <a:lnTo>
                      <a:pt x="70928" y="47076"/>
                    </a:lnTo>
                    <a:cubicBezTo>
                      <a:pt x="70928" y="62768"/>
                      <a:pt x="65906" y="72811"/>
                      <a:pt x="55236" y="77832"/>
                    </a:cubicBezTo>
                    <a:cubicBezTo>
                      <a:pt x="67161" y="82854"/>
                      <a:pt x="70928" y="94152"/>
                      <a:pt x="70928" y="110471"/>
                    </a:cubicBezTo>
                    <a:lnTo>
                      <a:pt x="70928" y="133696"/>
                    </a:lnTo>
                    <a:cubicBezTo>
                      <a:pt x="70928" y="141228"/>
                      <a:pt x="70928" y="146249"/>
                      <a:pt x="73438" y="151898"/>
                    </a:cubicBezTo>
                    <a:lnTo>
                      <a:pt x="49586" y="151898"/>
                    </a:lnTo>
                    <a:close/>
                    <a:moveTo>
                      <a:pt x="23224" y="21969"/>
                    </a:moveTo>
                    <a:lnTo>
                      <a:pt x="23224" y="68417"/>
                    </a:lnTo>
                    <a:lnTo>
                      <a:pt x="32639" y="68417"/>
                    </a:lnTo>
                    <a:cubicBezTo>
                      <a:pt x="41427" y="68417"/>
                      <a:pt x="47076" y="64651"/>
                      <a:pt x="47076" y="52097"/>
                    </a:cubicBezTo>
                    <a:lnTo>
                      <a:pt x="47076" y="37033"/>
                    </a:lnTo>
                    <a:cubicBezTo>
                      <a:pt x="47076" y="26363"/>
                      <a:pt x="43310" y="21341"/>
                      <a:pt x="35150" y="21341"/>
                    </a:cubicBezTo>
                    <a:lnTo>
                      <a:pt x="23224" y="21341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79" name="Forma Livre: Forma 178">
                <a:extLst>
                  <a:ext uri="{FF2B5EF4-FFF2-40B4-BE49-F238E27FC236}">
                    <a16:creationId xmlns:a16="http://schemas.microsoft.com/office/drawing/2014/main" id="{57766E30-F90D-4D6D-971F-11941A884578}"/>
                  </a:ext>
                </a:extLst>
              </p:cNvPr>
              <p:cNvSpPr/>
              <p:nvPr/>
            </p:nvSpPr>
            <p:spPr>
              <a:xfrm>
                <a:off x="5531448" y="587455"/>
                <a:ext cx="84109" cy="151898"/>
              </a:xfrm>
              <a:custGeom>
                <a:avLst/>
                <a:gdLst>
                  <a:gd name="connsiteX0" fmla="*/ 84109 w 84109"/>
                  <a:gd name="connsiteY0" fmla="*/ 151898 h 151898"/>
                  <a:gd name="connsiteX1" fmla="*/ 60257 w 84109"/>
                  <a:gd name="connsiteY1" fmla="*/ 151898 h 151898"/>
                  <a:gd name="connsiteX2" fmla="*/ 55864 w 84109"/>
                  <a:gd name="connsiteY2" fmla="*/ 124280 h 151898"/>
                  <a:gd name="connsiteX3" fmla="*/ 26363 w 84109"/>
                  <a:gd name="connsiteY3" fmla="*/ 124280 h 151898"/>
                  <a:gd name="connsiteX4" fmla="*/ 21969 w 84109"/>
                  <a:gd name="connsiteY4" fmla="*/ 151898 h 151898"/>
                  <a:gd name="connsiteX5" fmla="*/ 0 w 84109"/>
                  <a:gd name="connsiteY5" fmla="*/ 151898 h 151898"/>
                  <a:gd name="connsiteX6" fmla="*/ 24480 w 84109"/>
                  <a:gd name="connsiteY6" fmla="*/ 0 h 151898"/>
                  <a:gd name="connsiteX7" fmla="*/ 59629 w 84109"/>
                  <a:gd name="connsiteY7" fmla="*/ 0 h 151898"/>
                  <a:gd name="connsiteX8" fmla="*/ 84109 w 84109"/>
                  <a:gd name="connsiteY8" fmla="*/ 151898 h 151898"/>
                  <a:gd name="connsiteX9" fmla="*/ 29501 w 84109"/>
                  <a:gd name="connsiteY9" fmla="*/ 103567 h 151898"/>
                  <a:gd name="connsiteX10" fmla="*/ 52725 w 84109"/>
                  <a:gd name="connsiteY10" fmla="*/ 103567 h 151898"/>
                  <a:gd name="connsiteX11" fmla="*/ 41427 w 84109"/>
                  <a:gd name="connsiteY11" fmla="*/ 26990 h 151898"/>
                  <a:gd name="connsiteX12" fmla="*/ 29501 w 84109"/>
                  <a:gd name="connsiteY12" fmla="*/ 103567 h 151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4109" h="151898">
                    <a:moveTo>
                      <a:pt x="84109" y="151898"/>
                    </a:moveTo>
                    <a:lnTo>
                      <a:pt x="60257" y="151898"/>
                    </a:lnTo>
                    <a:lnTo>
                      <a:pt x="55864" y="124280"/>
                    </a:lnTo>
                    <a:lnTo>
                      <a:pt x="26363" y="124280"/>
                    </a:lnTo>
                    <a:lnTo>
                      <a:pt x="21969" y="151898"/>
                    </a:lnTo>
                    <a:lnTo>
                      <a:pt x="0" y="151898"/>
                    </a:lnTo>
                    <a:lnTo>
                      <a:pt x="24480" y="0"/>
                    </a:lnTo>
                    <a:lnTo>
                      <a:pt x="59629" y="0"/>
                    </a:lnTo>
                    <a:lnTo>
                      <a:pt x="84109" y="151898"/>
                    </a:lnTo>
                    <a:close/>
                    <a:moveTo>
                      <a:pt x="29501" y="103567"/>
                    </a:moveTo>
                    <a:lnTo>
                      <a:pt x="52725" y="103567"/>
                    </a:lnTo>
                    <a:lnTo>
                      <a:pt x="41427" y="26990"/>
                    </a:lnTo>
                    <a:lnTo>
                      <a:pt x="29501" y="103567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80" name="Forma Livre: Forma 179">
                <a:extLst>
                  <a:ext uri="{FF2B5EF4-FFF2-40B4-BE49-F238E27FC236}">
                    <a16:creationId xmlns:a16="http://schemas.microsoft.com/office/drawing/2014/main" id="{2C7B4B4B-F9E4-429C-8FCF-0E1EC06E57AD}"/>
                  </a:ext>
                </a:extLst>
              </p:cNvPr>
              <p:cNvSpPr/>
              <p:nvPr/>
            </p:nvSpPr>
            <p:spPr>
              <a:xfrm>
                <a:off x="5626855" y="587455"/>
                <a:ext cx="73438" cy="151898"/>
              </a:xfrm>
              <a:custGeom>
                <a:avLst/>
                <a:gdLst>
                  <a:gd name="connsiteX0" fmla="*/ 49587 w 73438"/>
                  <a:gd name="connsiteY0" fmla="*/ 151898 h 151898"/>
                  <a:gd name="connsiteX1" fmla="*/ 47704 w 73438"/>
                  <a:gd name="connsiteY1" fmla="*/ 133068 h 151898"/>
                  <a:gd name="connsiteX2" fmla="*/ 47704 w 73438"/>
                  <a:gd name="connsiteY2" fmla="*/ 109216 h 151898"/>
                  <a:gd name="connsiteX3" fmla="*/ 32012 w 73438"/>
                  <a:gd name="connsiteY3" fmla="*/ 89758 h 151898"/>
                  <a:gd name="connsiteX4" fmla="*/ 23852 w 73438"/>
                  <a:gd name="connsiteY4" fmla="*/ 89758 h 151898"/>
                  <a:gd name="connsiteX5" fmla="*/ 23852 w 73438"/>
                  <a:gd name="connsiteY5" fmla="*/ 151898 h 151898"/>
                  <a:gd name="connsiteX6" fmla="*/ 0 w 73438"/>
                  <a:gd name="connsiteY6" fmla="*/ 151898 h 151898"/>
                  <a:gd name="connsiteX7" fmla="*/ 0 w 73438"/>
                  <a:gd name="connsiteY7" fmla="*/ 0 h 151898"/>
                  <a:gd name="connsiteX8" fmla="*/ 35778 w 73438"/>
                  <a:gd name="connsiteY8" fmla="*/ 0 h 151898"/>
                  <a:gd name="connsiteX9" fmla="*/ 70928 w 73438"/>
                  <a:gd name="connsiteY9" fmla="*/ 35150 h 151898"/>
                  <a:gd name="connsiteX10" fmla="*/ 70928 w 73438"/>
                  <a:gd name="connsiteY10" fmla="*/ 47076 h 151898"/>
                  <a:gd name="connsiteX11" fmla="*/ 55236 w 73438"/>
                  <a:gd name="connsiteY11" fmla="*/ 77832 h 151898"/>
                  <a:gd name="connsiteX12" fmla="*/ 70928 w 73438"/>
                  <a:gd name="connsiteY12" fmla="*/ 110471 h 151898"/>
                  <a:gd name="connsiteX13" fmla="*/ 70928 w 73438"/>
                  <a:gd name="connsiteY13" fmla="*/ 133696 h 151898"/>
                  <a:gd name="connsiteX14" fmla="*/ 73438 w 73438"/>
                  <a:gd name="connsiteY14" fmla="*/ 151898 h 151898"/>
                  <a:gd name="connsiteX15" fmla="*/ 49587 w 73438"/>
                  <a:gd name="connsiteY15" fmla="*/ 151898 h 151898"/>
                  <a:gd name="connsiteX16" fmla="*/ 23852 w 73438"/>
                  <a:gd name="connsiteY16" fmla="*/ 21969 h 151898"/>
                  <a:gd name="connsiteX17" fmla="*/ 23852 w 73438"/>
                  <a:gd name="connsiteY17" fmla="*/ 68417 h 151898"/>
                  <a:gd name="connsiteX18" fmla="*/ 33267 w 73438"/>
                  <a:gd name="connsiteY18" fmla="*/ 68417 h 151898"/>
                  <a:gd name="connsiteX19" fmla="*/ 47704 w 73438"/>
                  <a:gd name="connsiteY19" fmla="*/ 52097 h 151898"/>
                  <a:gd name="connsiteX20" fmla="*/ 47704 w 73438"/>
                  <a:gd name="connsiteY20" fmla="*/ 37033 h 151898"/>
                  <a:gd name="connsiteX21" fmla="*/ 35778 w 73438"/>
                  <a:gd name="connsiteY21" fmla="*/ 21341 h 151898"/>
                  <a:gd name="connsiteX22" fmla="*/ 23852 w 73438"/>
                  <a:gd name="connsiteY22" fmla="*/ 21341 h 151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73438" h="151898">
                    <a:moveTo>
                      <a:pt x="49587" y="151898"/>
                    </a:moveTo>
                    <a:cubicBezTo>
                      <a:pt x="48331" y="148132"/>
                      <a:pt x="47704" y="145621"/>
                      <a:pt x="47704" y="133068"/>
                    </a:cubicBezTo>
                    <a:lnTo>
                      <a:pt x="47704" y="109216"/>
                    </a:lnTo>
                    <a:cubicBezTo>
                      <a:pt x="47704" y="95407"/>
                      <a:pt x="42682" y="89758"/>
                      <a:pt x="32012" y="89758"/>
                    </a:cubicBezTo>
                    <a:lnTo>
                      <a:pt x="23852" y="89758"/>
                    </a:lnTo>
                    <a:lnTo>
                      <a:pt x="23852" y="151898"/>
                    </a:lnTo>
                    <a:lnTo>
                      <a:pt x="0" y="151898"/>
                    </a:lnTo>
                    <a:lnTo>
                      <a:pt x="0" y="0"/>
                    </a:lnTo>
                    <a:lnTo>
                      <a:pt x="35778" y="0"/>
                    </a:lnTo>
                    <a:cubicBezTo>
                      <a:pt x="60257" y="0"/>
                      <a:pt x="70928" y="11298"/>
                      <a:pt x="70928" y="35150"/>
                    </a:cubicBezTo>
                    <a:lnTo>
                      <a:pt x="70928" y="47076"/>
                    </a:lnTo>
                    <a:cubicBezTo>
                      <a:pt x="70928" y="62768"/>
                      <a:pt x="65906" y="72811"/>
                      <a:pt x="55236" y="77832"/>
                    </a:cubicBezTo>
                    <a:cubicBezTo>
                      <a:pt x="67162" y="82854"/>
                      <a:pt x="70928" y="94152"/>
                      <a:pt x="70928" y="110471"/>
                    </a:cubicBezTo>
                    <a:lnTo>
                      <a:pt x="70928" y="133696"/>
                    </a:lnTo>
                    <a:cubicBezTo>
                      <a:pt x="70928" y="141228"/>
                      <a:pt x="70928" y="146249"/>
                      <a:pt x="73438" y="151898"/>
                    </a:cubicBezTo>
                    <a:lnTo>
                      <a:pt x="49587" y="151898"/>
                    </a:lnTo>
                    <a:close/>
                    <a:moveTo>
                      <a:pt x="23852" y="21969"/>
                    </a:moveTo>
                    <a:lnTo>
                      <a:pt x="23852" y="68417"/>
                    </a:lnTo>
                    <a:lnTo>
                      <a:pt x="33267" y="68417"/>
                    </a:lnTo>
                    <a:cubicBezTo>
                      <a:pt x="42055" y="68417"/>
                      <a:pt x="47704" y="64651"/>
                      <a:pt x="47704" y="52097"/>
                    </a:cubicBezTo>
                    <a:lnTo>
                      <a:pt x="47704" y="37033"/>
                    </a:lnTo>
                    <a:cubicBezTo>
                      <a:pt x="47704" y="26363"/>
                      <a:pt x="43938" y="21341"/>
                      <a:pt x="35778" y="21341"/>
                    </a:cubicBezTo>
                    <a:lnTo>
                      <a:pt x="23852" y="21341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181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6465434" y="526570"/>
            <a:ext cx="306307" cy="376607"/>
            <a:chOff x="6465434" y="526570"/>
            <a:chExt cx="306307" cy="376607"/>
          </a:xfrm>
          <a:solidFill>
            <a:srgbClr val="B1B1A1"/>
          </a:solidFill>
        </p:grpSpPr>
        <p:grpSp>
          <p:nvGrpSpPr>
            <p:cNvPr id="182" name="Gráfico 2">
              <a:extLst>
                <a:ext uri="{FF2B5EF4-FFF2-40B4-BE49-F238E27FC236}">
                  <a16:creationId xmlns:a16="http://schemas.microsoft.com/office/drawing/2014/main" id="{83F95F55-5D1D-4425-8D77-756B15108235}"/>
                </a:ext>
              </a:extLst>
            </p:cNvPr>
            <p:cNvGrpSpPr/>
            <p:nvPr/>
          </p:nvGrpSpPr>
          <p:grpSpPr>
            <a:xfrm>
              <a:off x="6465434" y="526570"/>
              <a:ext cx="306307" cy="376607"/>
              <a:chOff x="6465434" y="526570"/>
              <a:chExt cx="306307" cy="376607"/>
            </a:xfrm>
            <a:grpFill/>
          </p:grpSpPr>
          <p:sp>
            <p:nvSpPr>
              <p:cNvPr id="183" name="Forma Livre: Forma 182">
                <a:extLst>
                  <a:ext uri="{FF2B5EF4-FFF2-40B4-BE49-F238E27FC236}">
                    <a16:creationId xmlns:a16="http://schemas.microsoft.com/office/drawing/2014/main" id="{F0678499-975B-4414-8E0F-5B121F658C76}"/>
                  </a:ext>
                </a:extLst>
              </p:cNvPr>
              <p:cNvSpPr/>
              <p:nvPr/>
            </p:nvSpPr>
            <p:spPr>
              <a:xfrm>
                <a:off x="6646833" y="778270"/>
                <a:ext cx="116748" cy="116748"/>
              </a:xfrm>
              <a:custGeom>
                <a:avLst/>
                <a:gdLst>
                  <a:gd name="connsiteX0" fmla="*/ 8160 w 116748"/>
                  <a:gd name="connsiteY0" fmla="*/ 116748 h 116748"/>
                  <a:gd name="connsiteX1" fmla="*/ 0 w 116748"/>
                  <a:gd name="connsiteY1" fmla="*/ 108588 h 116748"/>
                  <a:gd name="connsiteX2" fmla="*/ 0 w 116748"/>
                  <a:gd name="connsiteY2" fmla="*/ 8160 h 116748"/>
                  <a:gd name="connsiteX3" fmla="*/ 8160 w 116748"/>
                  <a:gd name="connsiteY3" fmla="*/ 0 h 116748"/>
                  <a:gd name="connsiteX4" fmla="*/ 108588 w 116748"/>
                  <a:gd name="connsiteY4" fmla="*/ 0 h 116748"/>
                  <a:gd name="connsiteX5" fmla="*/ 116748 w 116748"/>
                  <a:gd name="connsiteY5" fmla="*/ 8160 h 116748"/>
                  <a:gd name="connsiteX6" fmla="*/ 108588 w 116748"/>
                  <a:gd name="connsiteY6" fmla="*/ 16320 h 116748"/>
                  <a:gd name="connsiteX7" fmla="*/ 16947 w 116748"/>
                  <a:gd name="connsiteY7" fmla="*/ 16320 h 116748"/>
                  <a:gd name="connsiteX8" fmla="*/ 16947 w 116748"/>
                  <a:gd name="connsiteY8" fmla="*/ 107961 h 116748"/>
                  <a:gd name="connsiteX9" fmla="*/ 8160 w 116748"/>
                  <a:gd name="connsiteY9" fmla="*/ 116748 h 116748"/>
                  <a:gd name="connsiteX10" fmla="*/ 8160 w 116748"/>
                  <a:gd name="connsiteY10" fmla="*/ 116748 h 116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6748" h="116748">
                    <a:moveTo>
                      <a:pt x="8160" y="116748"/>
                    </a:moveTo>
                    <a:cubicBezTo>
                      <a:pt x="3766" y="116748"/>
                      <a:pt x="0" y="112982"/>
                      <a:pt x="0" y="108588"/>
                    </a:cubicBezTo>
                    <a:lnTo>
                      <a:pt x="0" y="8160"/>
                    </a:lnTo>
                    <a:cubicBezTo>
                      <a:pt x="0" y="3766"/>
                      <a:pt x="3766" y="0"/>
                      <a:pt x="8160" y="0"/>
                    </a:cubicBezTo>
                    <a:lnTo>
                      <a:pt x="108588" y="0"/>
                    </a:lnTo>
                    <a:cubicBezTo>
                      <a:pt x="112982" y="0"/>
                      <a:pt x="116748" y="3766"/>
                      <a:pt x="116748" y="8160"/>
                    </a:cubicBezTo>
                    <a:cubicBezTo>
                      <a:pt x="116748" y="12554"/>
                      <a:pt x="112982" y="16320"/>
                      <a:pt x="108588" y="16320"/>
                    </a:cubicBezTo>
                    <a:lnTo>
                      <a:pt x="16947" y="16320"/>
                    </a:lnTo>
                    <a:lnTo>
                      <a:pt x="16947" y="107961"/>
                    </a:lnTo>
                    <a:cubicBezTo>
                      <a:pt x="16320" y="112982"/>
                      <a:pt x="12554" y="116748"/>
                      <a:pt x="8160" y="116748"/>
                    </a:cubicBezTo>
                    <a:lnTo>
                      <a:pt x="8160" y="116748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84" name="Forma Livre: Forma 183">
                <a:extLst>
                  <a:ext uri="{FF2B5EF4-FFF2-40B4-BE49-F238E27FC236}">
                    <a16:creationId xmlns:a16="http://schemas.microsoft.com/office/drawing/2014/main" id="{42BB5AE3-8F9B-4461-B8F1-5A2869BF8698}"/>
                  </a:ext>
                </a:extLst>
              </p:cNvPr>
              <p:cNvSpPr/>
              <p:nvPr/>
            </p:nvSpPr>
            <p:spPr>
              <a:xfrm>
                <a:off x="6465434" y="526570"/>
                <a:ext cx="306307" cy="376607"/>
              </a:xfrm>
              <a:custGeom>
                <a:avLst/>
                <a:gdLst>
                  <a:gd name="connsiteX0" fmla="*/ 189559 w 306307"/>
                  <a:gd name="connsiteY0" fmla="*/ 376607 h 376607"/>
                  <a:gd name="connsiteX1" fmla="*/ 16947 w 306307"/>
                  <a:gd name="connsiteY1" fmla="*/ 376607 h 376607"/>
                  <a:gd name="connsiteX2" fmla="*/ 0 w 306307"/>
                  <a:gd name="connsiteY2" fmla="*/ 359660 h 376607"/>
                  <a:gd name="connsiteX3" fmla="*/ 0 w 306307"/>
                  <a:gd name="connsiteY3" fmla="*/ 259231 h 376607"/>
                  <a:gd name="connsiteX4" fmla="*/ 16947 w 306307"/>
                  <a:gd name="connsiteY4" fmla="*/ 242284 h 376607"/>
                  <a:gd name="connsiteX5" fmla="*/ 33894 w 306307"/>
                  <a:gd name="connsiteY5" fmla="*/ 259231 h 376607"/>
                  <a:gd name="connsiteX6" fmla="*/ 33894 w 306307"/>
                  <a:gd name="connsiteY6" fmla="*/ 342713 h 376607"/>
                  <a:gd name="connsiteX7" fmla="*/ 182654 w 306307"/>
                  <a:gd name="connsiteY7" fmla="*/ 342713 h 376607"/>
                  <a:gd name="connsiteX8" fmla="*/ 273040 w 306307"/>
                  <a:gd name="connsiteY8" fmla="*/ 252327 h 376607"/>
                  <a:gd name="connsiteX9" fmla="*/ 273040 w 306307"/>
                  <a:gd name="connsiteY9" fmla="*/ 33895 h 376607"/>
                  <a:gd name="connsiteX10" fmla="*/ 16947 w 306307"/>
                  <a:gd name="connsiteY10" fmla="*/ 33895 h 376607"/>
                  <a:gd name="connsiteX11" fmla="*/ 0 w 306307"/>
                  <a:gd name="connsiteY11" fmla="*/ 16947 h 376607"/>
                  <a:gd name="connsiteX12" fmla="*/ 16947 w 306307"/>
                  <a:gd name="connsiteY12" fmla="*/ 0 h 376607"/>
                  <a:gd name="connsiteX13" fmla="*/ 289360 w 306307"/>
                  <a:gd name="connsiteY13" fmla="*/ 0 h 376607"/>
                  <a:gd name="connsiteX14" fmla="*/ 306307 w 306307"/>
                  <a:gd name="connsiteY14" fmla="*/ 16947 h 376607"/>
                  <a:gd name="connsiteX15" fmla="*/ 306307 w 306307"/>
                  <a:gd name="connsiteY15" fmla="*/ 259231 h 376607"/>
                  <a:gd name="connsiteX16" fmla="*/ 301286 w 306307"/>
                  <a:gd name="connsiteY16" fmla="*/ 271157 h 376607"/>
                  <a:gd name="connsiteX17" fmla="*/ 200857 w 306307"/>
                  <a:gd name="connsiteY17" fmla="*/ 371586 h 376607"/>
                  <a:gd name="connsiteX18" fmla="*/ 189559 w 306307"/>
                  <a:gd name="connsiteY18" fmla="*/ 376607 h 376607"/>
                  <a:gd name="connsiteX19" fmla="*/ 189559 w 306307"/>
                  <a:gd name="connsiteY19" fmla="*/ 376607 h 376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06307" h="376607">
                    <a:moveTo>
                      <a:pt x="189559" y="376607"/>
                    </a:moveTo>
                    <a:lnTo>
                      <a:pt x="16947" y="376607"/>
                    </a:lnTo>
                    <a:cubicBezTo>
                      <a:pt x="7532" y="376607"/>
                      <a:pt x="0" y="369075"/>
                      <a:pt x="0" y="359660"/>
                    </a:cubicBezTo>
                    <a:lnTo>
                      <a:pt x="0" y="259231"/>
                    </a:lnTo>
                    <a:cubicBezTo>
                      <a:pt x="0" y="249816"/>
                      <a:pt x="7532" y="242284"/>
                      <a:pt x="16947" y="242284"/>
                    </a:cubicBezTo>
                    <a:cubicBezTo>
                      <a:pt x="26362" y="242284"/>
                      <a:pt x="33894" y="249816"/>
                      <a:pt x="33894" y="259231"/>
                    </a:cubicBezTo>
                    <a:lnTo>
                      <a:pt x="33894" y="342713"/>
                    </a:lnTo>
                    <a:lnTo>
                      <a:pt x="182654" y="342713"/>
                    </a:lnTo>
                    <a:lnTo>
                      <a:pt x="273040" y="252327"/>
                    </a:lnTo>
                    <a:lnTo>
                      <a:pt x="273040" y="33895"/>
                    </a:lnTo>
                    <a:lnTo>
                      <a:pt x="16947" y="33895"/>
                    </a:lnTo>
                    <a:cubicBezTo>
                      <a:pt x="7532" y="33895"/>
                      <a:pt x="0" y="26363"/>
                      <a:pt x="0" y="16947"/>
                    </a:cubicBezTo>
                    <a:cubicBezTo>
                      <a:pt x="0" y="7532"/>
                      <a:pt x="7532" y="0"/>
                      <a:pt x="16947" y="0"/>
                    </a:cubicBezTo>
                    <a:lnTo>
                      <a:pt x="289360" y="0"/>
                    </a:lnTo>
                    <a:cubicBezTo>
                      <a:pt x="298775" y="0"/>
                      <a:pt x="306307" y="7532"/>
                      <a:pt x="306307" y="16947"/>
                    </a:cubicBezTo>
                    <a:lnTo>
                      <a:pt x="306307" y="259231"/>
                    </a:lnTo>
                    <a:cubicBezTo>
                      <a:pt x="306307" y="263625"/>
                      <a:pt x="304424" y="268019"/>
                      <a:pt x="301286" y="271157"/>
                    </a:cubicBezTo>
                    <a:lnTo>
                      <a:pt x="200857" y="371586"/>
                    </a:lnTo>
                    <a:cubicBezTo>
                      <a:pt x="197719" y="374724"/>
                      <a:pt x="193952" y="376607"/>
                      <a:pt x="189559" y="376607"/>
                    </a:cubicBezTo>
                    <a:lnTo>
                      <a:pt x="189559" y="376607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185" name="Gráfico 2">
              <a:extLst>
                <a:ext uri="{FF2B5EF4-FFF2-40B4-BE49-F238E27FC236}">
                  <a16:creationId xmlns:a16="http://schemas.microsoft.com/office/drawing/2014/main" id="{83F95F55-5D1D-4425-8D77-756B15108235}"/>
                </a:ext>
              </a:extLst>
            </p:cNvPr>
            <p:cNvGrpSpPr/>
            <p:nvPr/>
          </p:nvGrpSpPr>
          <p:grpSpPr>
            <a:xfrm>
              <a:off x="6469827" y="585572"/>
              <a:ext cx="192069" cy="155664"/>
              <a:chOff x="6469827" y="585572"/>
              <a:chExt cx="192069" cy="155664"/>
            </a:xfrm>
            <a:grpFill/>
          </p:grpSpPr>
          <p:sp>
            <p:nvSpPr>
              <p:cNvPr id="186" name="Forma Livre: Forma 185">
                <a:extLst>
                  <a:ext uri="{FF2B5EF4-FFF2-40B4-BE49-F238E27FC236}">
                    <a16:creationId xmlns:a16="http://schemas.microsoft.com/office/drawing/2014/main" id="{F71811C0-4538-49E6-9E9B-BAFD0756621D}"/>
                  </a:ext>
                </a:extLst>
              </p:cNvPr>
              <p:cNvSpPr/>
              <p:nvPr/>
            </p:nvSpPr>
            <p:spPr>
              <a:xfrm>
                <a:off x="6469827" y="585572"/>
                <a:ext cx="71555" cy="155664"/>
              </a:xfrm>
              <a:custGeom>
                <a:avLst/>
                <a:gdLst>
                  <a:gd name="connsiteX0" fmla="*/ 38289 w 71555"/>
                  <a:gd name="connsiteY0" fmla="*/ 69045 h 155664"/>
                  <a:gd name="connsiteX1" fmla="*/ 71556 w 71555"/>
                  <a:gd name="connsiteY1" fmla="*/ 69045 h 155664"/>
                  <a:gd name="connsiteX2" fmla="*/ 71556 w 71555"/>
                  <a:gd name="connsiteY2" fmla="*/ 117376 h 155664"/>
                  <a:gd name="connsiteX3" fmla="*/ 35778 w 71555"/>
                  <a:gd name="connsiteY3" fmla="*/ 155664 h 155664"/>
                  <a:gd name="connsiteX4" fmla="*/ 0 w 71555"/>
                  <a:gd name="connsiteY4" fmla="*/ 117376 h 155664"/>
                  <a:gd name="connsiteX5" fmla="*/ 0 w 71555"/>
                  <a:gd name="connsiteY5" fmla="*/ 38288 h 155664"/>
                  <a:gd name="connsiteX6" fmla="*/ 35778 w 71555"/>
                  <a:gd name="connsiteY6" fmla="*/ 0 h 155664"/>
                  <a:gd name="connsiteX7" fmla="*/ 71556 w 71555"/>
                  <a:gd name="connsiteY7" fmla="*/ 38288 h 155664"/>
                  <a:gd name="connsiteX8" fmla="*/ 71556 w 71555"/>
                  <a:gd name="connsiteY8" fmla="*/ 53353 h 155664"/>
                  <a:gd name="connsiteX9" fmla="*/ 48959 w 71555"/>
                  <a:gd name="connsiteY9" fmla="*/ 53353 h 155664"/>
                  <a:gd name="connsiteX10" fmla="*/ 48959 w 71555"/>
                  <a:gd name="connsiteY10" fmla="*/ 37033 h 155664"/>
                  <a:gd name="connsiteX11" fmla="*/ 36406 w 71555"/>
                  <a:gd name="connsiteY11" fmla="*/ 21969 h 155664"/>
                  <a:gd name="connsiteX12" fmla="*/ 23852 w 71555"/>
                  <a:gd name="connsiteY12" fmla="*/ 37033 h 155664"/>
                  <a:gd name="connsiteX13" fmla="*/ 23852 w 71555"/>
                  <a:gd name="connsiteY13" fmla="*/ 119259 h 155664"/>
                  <a:gd name="connsiteX14" fmla="*/ 36406 w 71555"/>
                  <a:gd name="connsiteY14" fmla="*/ 134323 h 155664"/>
                  <a:gd name="connsiteX15" fmla="*/ 48959 w 71555"/>
                  <a:gd name="connsiteY15" fmla="*/ 119259 h 155664"/>
                  <a:gd name="connsiteX16" fmla="*/ 48959 w 71555"/>
                  <a:gd name="connsiteY16" fmla="*/ 91013 h 155664"/>
                  <a:gd name="connsiteX17" fmla="*/ 38289 w 71555"/>
                  <a:gd name="connsiteY17" fmla="*/ 91013 h 155664"/>
                  <a:gd name="connsiteX18" fmla="*/ 38289 w 71555"/>
                  <a:gd name="connsiteY18" fmla="*/ 69045 h 155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71555" h="155664">
                    <a:moveTo>
                      <a:pt x="38289" y="69045"/>
                    </a:moveTo>
                    <a:lnTo>
                      <a:pt x="71556" y="69045"/>
                    </a:lnTo>
                    <a:lnTo>
                      <a:pt x="71556" y="117376"/>
                    </a:lnTo>
                    <a:cubicBezTo>
                      <a:pt x="71556" y="141855"/>
                      <a:pt x="59629" y="155664"/>
                      <a:pt x="35778" y="155664"/>
                    </a:cubicBezTo>
                    <a:cubicBezTo>
                      <a:pt x="12554" y="155664"/>
                      <a:pt x="0" y="141855"/>
                      <a:pt x="0" y="117376"/>
                    </a:cubicBezTo>
                    <a:lnTo>
                      <a:pt x="0" y="38288"/>
                    </a:lnTo>
                    <a:cubicBezTo>
                      <a:pt x="0" y="13809"/>
                      <a:pt x="11926" y="0"/>
                      <a:pt x="35778" y="0"/>
                    </a:cubicBezTo>
                    <a:cubicBezTo>
                      <a:pt x="59002" y="0"/>
                      <a:pt x="71556" y="13809"/>
                      <a:pt x="71556" y="38288"/>
                    </a:cubicBezTo>
                    <a:lnTo>
                      <a:pt x="71556" y="53353"/>
                    </a:lnTo>
                    <a:lnTo>
                      <a:pt x="48959" y="53353"/>
                    </a:lnTo>
                    <a:lnTo>
                      <a:pt x="48959" y="37033"/>
                    </a:lnTo>
                    <a:cubicBezTo>
                      <a:pt x="48959" y="26363"/>
                      <a:pt x="43938" y="21969"/>
                      <a:pt x="36406" y="21969"/>
                    </a:cubicBezTo>
                    <a:cubicBezTo>
                      <a:pt x="28873" y="21969"/>
                      <a:pt x="23852" y="26363"/>
                      <a:pt x="23852" y="37033"/>
                    </a:cubicBezTo>
                    <a:lnTo>
                      <a:pt x="23852" y="119259"/>
                    </a:lnTo>
                    <a:cubicBezTo>
                      <a:pt x="23852" y="129929"/>
                      <a:pt x="28873" y="134323"/>
                      <a:pt x="36406" y="134323"/>
                    </a:cubicBezTo>
                    <a:cubicBezTo>
                      <a:pt x="43938" y="134323"/>
                      <a:pt x="48959" y="130557"/>
                      <a:pt x="48959" y="119259"/>
                    </a:cubicBezTo>
                    <a:lnTo>
                      <a:pt x="48959" y="91013"/>
                    </a:lnTo>
                    <a:lnTo>
                      <a:pt x="38289" y="91013"/>
                    </a:lnTo>
                    <a:lnTo>
                      <a:pt x="38289" y="69045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87" name="Forma Livre: Forma 186">
                <a:extLst>
                  <a:ext uri="{FF2B5EF4-FFF2-40B4-BE49-F238E27FC236}">
                    <a16:creationId xmlns:a16="http://schemas.microsoft.com/office/drawing/2014/main" id="{1918A3D4-8AEC-483C-ACDE-65570213935C}"/>
                  </a:ext>
                </a:extLst>
              </p:cNvPr>
              <p:cNvSpPr/>
              <p:nvPr/>
            </p:nvSpPr>
            <p:spPr>
              <a:xfrm>
                <a:off x="6557075" y="587455"/>
                <a:ext cx="23851" cy="151898"/>
              </a:xfrm>
              <a:custGeom>
                <a:avLst/>
                <a:gdLst>
                  <a:gd name="connsiteX0" fmla="*/ 0 w 23851"/>
                  <a:gd name="connsiteY0" fmla="*/ 0 h 151898"/>
                  <a:gd name="connsiteX1" fmla="*/ 23852 w 23851"/>
                  <a:gd name="connsiteY1" fmla="*/ 0 h 151898"/>
                  <a:gd name="connsiteX2" fmla="*/ 23852 w 23851"/>
                  <a:gd name="connsiteY2" fmla="*/ 151898 h 151898"/>
                  <a:gd name="connsiteX3" fmla="*/ 0 w 23851"/>
                  <a:gd name="connsiteY3" fmla="*/ 151898 h 151898"/>
                  <a:gd name="connsiteX4" fmla="*/ 0 w 23851"/>
                  <a:gd name="connsiteY4" fmla="*/ 0 h 151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851" h="151898">
                    <a:moveTo>
                      <a:pt x="0" y="0"/>
                    </a:moveTo>
                    <a:lnTo>
                      <a:pt x="23852" y="0"/>
                    </a:lnTo>
                    <a:lnTo>
                      <a:pt x="23852" y="151898"/>
                    </a:lnTo>
                    <a:lnTo>
                      <a:pt x="0" y="15189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88" name="Forma Livre: Forma 187">
                <a:extLst>
                  <a:ext uri="{FF2B5EF4-FFF2-40B4-BE49-F238E27FC236}">
                    <a16:creationId xmlns:a16="http://schemas.microsoft.com/office/drawing/2014/main" id="{15F215D4-F802-4638-BD11-7F41810466AB}"/>
                  </a:ext>
                </a:extLst>
              </p:cNvPr>
              <p:cNvSpPr/>
              <p:nvPr/>
            </p:nvSpPr>
            <p:spPr>
              <a:xfrm>
                <a:off x="6598502" y="587455"/>
                <a:ext cx="63395" cy="151898"/>
              </a:xfrm>
              <a:custGeom>
                <a:avLst/>
                <a:gdLst>
                  <a:gd name="connsiteX0" fmla="*/ 23852 w 63395"/>
                  <a:gd name="connsiteY0" fmla="*/ 67162 h 151898"/>
                  <a:gd name="connsiteX1" fmla="*/ 54608 w 63395"/>
                  <a:gd name="connsiteY1" fmla="*/ 67162 h 151898"/>
                  <a:gd name="connsiteX2" fmla="*/ 54608 w 63395"/>
                  <a:gd name="connsiteY2" fmla="*/ 89130 h 151898"/>
                  <a:gd name="connsiteX3" fmla="*/ 23852 w 63395"/>
                  <a:gd name="connsiteY3" fmla="*/ 89130 h 151898"/>
                  <a:gd name="connsiteX4" fmla="*/ 23852 w 63395"/>
                  <a:gd name="connsiteY4" fmla="*/ 151898 h 151898"/>
                  <a:gd name="connsiteX5" fmla="*/ 0 w 63395"/>
                  <a:gd name="connsiteY5" fmla="*/ 151898 h 151898"/>
                  <a:gd name="connsiteX6" fmla="*/ 0 w 63395"/>
                  <a:gd name="connsiteY6" fmla="*/ 0 h 151898"/>
                  <a:gd name="connsiteX7" fmla="*/ 63396 w 63395"/>
                  <a:gd name="connsiteY7" fmla="*/ 0 h 151898"/>
                  <a:gd name="connsiteX8" fmla="*/ 63396 w 63395"/>
                  <a:gd name="connsiteY8" fmla="*/ 21969 h 151898"/>
                  <a:gd name="connsiteX9" fmla="*/ 23852 w 63395"/>
                  <a:gd name="connsiteY9" fmla="*/ 21969 h 151898"/>
                  <a:gd name="connsiteX10" fmla="*/ 23852 w 63395"/>
                  <a:gd name="connsiteY10" fmla="*/ 67162 h 151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3395" h="151898">
                    <a:moveTo>
                      <a:pt x="23852" y="67162"/>
                    </a:moveTo>
                    <a:lnTo>
                      <a:pt x="54608" y="67162"/>
                    </a:lnTo>
                    <a:lnTo>
                      <a:pt x="54608" y="89130"/>
                    </a:lnTo>
                    <a:lnTo>
                      <a:pt x="23852" y="89130"/>
                    </a:lnTo>
                    <a:lnTo>
                      <a:pt x="23852" y="151898"/>
                    </a:lnTo>
                    <a:lnTo>
                      <a:pt x="0" y="151898"/>
                    </a:lnTo>
                    <a:lnTo>
                      <a:pt x="0" y="0"/>
                    </a:lnTo>
                    <a:lnTo>
                      <a:pt x="63396" y="0"/>
                    </a:lnTo>
                    <a:lnTo>
                      <a:pt x="63396" y="21969"/>
                    </a:lnTo>
                    <a:lnTo>
                      <a:pt x="23852" y="21969"/>
                    </a:lnTo>
                    <a:lnTo>
                      <a:pt x="23852" y="67162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189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8453292" y="2646869"/>
            <a:ext cx="407991" cy="264252"/>
            <a:chOff x="8453292" y="2646869"/>
            <a:chExt cx="407991" cy="264252"/>
          </a:xfrm>
          <a:solidFill>
            <a:srgbClr val="B1B1A1"/>
          </a:solidFill>
        </p:grpSpPr>
        <p:sp>
          <p:nvSpPr>
            <p:cNvPr id="190" name="Forma Livre: Forma 189">
              <a:extLst>
                <a:ext uri="{FF2B5EF4-FFF2-40B4-BE49-F238E27FC236}">
                  <a16:creationId xmlns:a16="http://schemas.microsoft.com/office/drawing/2014/main" id="{517020E1-D13E-44F0-9211-81CE5EEAC96C}"/>
                </a:ext>
              </a:extLst>
            </p:cNvPr>
            <p:cNvSpPr/>
            <p:nvPr/>
          </p:nvSpPr>
          <p:spPr>
            <a:xfrm>
              <a:off x="8453292" y="2710264"/>
              <a:ext cx="200857" cy="200857"/>
            </a:xfrm>
            <a:custGeom>
              <a:avLst/>
              <a:gdLst>
                <a:gd name="connsiteX0" fmla="*/ 100429 w 200857"/>
                <a:gd name="connsiteY0" fmla="*/ 200857 h 200857"/>
                <a:gd name="connsiteX1" fmla="*/ 0 w 200857"/>
                <a:gd name="connsiteY1" fmla="*/ 100429 h 200857"/>
                <a:gd name="connsiteX2" fmla="*/ 100429 w 200857"/>
                <a:gd name="connsiteY2" fmla="*/ 0 h 200857"/>
                <a:gd name="connsiteX3" fmla="*/ 200857 w 200857"/>
                <a:gd name="connsiteY3" fmla="*/ 100429 h 200857"/>
                <a:gd name="connsiteX4" fmla="*/ 100429 w 200857"/>
                <a:gd name="connsiteY4" fmla="*/ 200857 h 200857"/>
                <a:gd name="connsiteX5" fmla="*/ 100429 w 200857"/>
                <a:gd name="connsiteY5" fmla="*/ 200857 h 200857"/>
                <a:gd name="connsiteX6" fmla="*/ 100429 w 200857"/>
                <a:gd name="connsiteY6" fmla="*/ 33895 h 200857"/>
                <a:gd name="connsiteX7" fmla="*/ 33267 w 200857"/>
                <a:gd name="connsiteY7" fmla="*/ 100429 h 200857"/>
                <a:gd name="connsiteX8" fmla="*/ 100429 w 200857"/>
                <a:gd name="connsiteY8" fmla="*/ 166963 h 200857"/>
                <a:gd name="connsiteX9" fmla="*/ 166962 w 200857"/>
                <a:gd name="connsiteY9" fmla="*/ 100429 h 200857"/>
                <a:gd name="connsiteX10" fmla="*/ 100429 w 200857"/>
                <a:gd name="connsiteY10" fmla="*/ 33895 h 200857"/>
                <a:gd name="connsiteX11" fmla="*/ 100429 w 200857"/>
                <a:gd name="connsiteY11" fmla="*/ 33895 h 200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0857" h="200857">
                  <a:moveTo>
                    <a:pt x="100429" y="200857"/>
                  </a:moveTo>
                  <a:cubicBezTo>
                    <a:pt x="45193" y="200857"/>
                    <a:pt x="0" y="155664"/>
                    <a:pt x="0" y="100429"/>
                  </a:cubicBezTo>
                  <a:cubicBezTo>
                    <a:pt x="0" y="45193"/>
                    <a:pt x="45193" y="0"/>
                    <a:pt x="100429" y="0"/>
                  </a:cubicBezTo>
                  <a:cubicBezTo>
                    <a:pt x="155665" y="0"/>
                    <a:pt x="200857" y="45193"/>
                    <a:pt x="200857" y="100429"/>
                  </a:cubicBezTo>
                  <a:cubicBezTo>
                    <a:pt x="200857" y="155664"/>
                    <a:pt x="155665" y="200857"/>
                    <a:pt x="100429" y="200857"/>
                  </a:cubicBezTo>
                  <a:lnTo>
                    <a:pt x="100429" y="200857"/>
                  </a:lnTo>
                  <a:close/>
                  <a:moveTo>
                    <a:pt x="100429" y="33895"/>
                  </a:moveTo>
                  <a:cubicBezTo>
                    <a:pt x="63395" y="33895"/>
                    <a:pt x="33267" y="64023"/>
                    <a:pt x="33267" y="100429"/>
                  </a:cubicBezTo>
                  <a:cubicBezTo>
                    <a:pt x="33267" y="137462"/>
                    <a:pt x="63395" y="166963"/>
                    <a:pt x="100429" y="166963"/>
                  </a:cubicBezTo>
                  <a:cubicBezTo>
                    <a:pt x="137462" y="166963"/>
                    <a:pt x="166962" y="136834"/>
                    <a:pt x="166962" y="100429"/>
                  </a:cubicBezTo>
                  <a:cubicBezTo>
                    <a:pt x="166962" y="64023"/>
                    <a:pt x="137462" y="33895"/>
                    <a:pt x="100429" y="33895"/>
                  </a:cubicBezTo>
                  <a:lnTo>
                    <a:pt x="100429" y="33895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91" name="Forma Livre: Forma 190">
              <a:extLst>
                <a:ext uri="{FF2B5EF4-FFF2-40B4-BE49-F238E27FC236}">
                  <a16:creationId xmlns:a16="http://schemas.microsoft.com/office/drawing/2014/main" id="{E6D937AD-BD1A-4958-8DA5-0430BA1E54B4}"/>
                </a:ext>
              </a:extLst>
            </p:cNvPr>
            <p:cNvSpPr/>
            <p:nvPr/>
          </p:nvSpPr>
          <p:spPr>
            <a:xfrm>
              <a:off x="8453292" y="2646869"/>
              <a:ext cx="180771" cy="180771"/>
            </a:xfrm>
            <a:custGeom>
              <a:avLst/>
              <a:gdLst>
                <a:gd name="connsiteX0" fmla="*/ 16948 w 180771"/>
                <a:gd name="connsiteY0" fmla="*/ 180771 h 180771"/>
                <a:gd name="connsiteX1" fmla="*/ 0 w 180771"/>
                <a:gd name="connsiteY1" fmla="*/ 163824 h 180771"/>
                <a:gd name="connsiteX2" fmla="*/ 163824 w 180771"/>
                <a:gd name="connsiteY2" fmla="*/ 0 h 180771"/>
                <a:gd name="connsiteX3" fmla="*/ 180772 w 180771"/>
                <a:gd name="connsiteY3" fmla="*/ 16947 h 180771"/>
                <a:gd name="connsiteX4" fmla="*/ 163824 w 180771"/>
                <a:gd name="connsiteY4" fmla="*/ 33895 h 180771"/>
                <a:gd name="connsiteX5" fmla="*/ 33267 w 180771"/>
                <a:gd name="connsiteY5" fmla="*/ 164452 h 180771"/>
                <a:gd name="connsiteX6" fmla="*/ 16948 w 180771"/>
                <a:gd name="connsiteY6" fmla="*/ 180771 h 180771"/>
                <a:gd name="connsiteX7" fmla="*/ 16948 w 180771"/>
                <a:gd name="connsiteY7" fmla="*/ 180771 h 180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0771" h="180771">
                  <a:moveTo>
                    <a:pt x="16948" y="180771"/>
                  </a:moveTo>
                  <a:cubicBezTo>
                    <a:pt x="7533" y="180771"/>
                    <a:pt x="0" y="173239"/>
                    <a:pt x="0" y="163824"/>
                  </a:cubicBezTo>
                  <a:cubicBezTo>
                    <a:pt x="0" y="73438"/>
                    <a:pt x="73439" y="0"/>
                    <a:pt x="163824" y="0"/>
                  </a:cubicBezTo>
                  <a:cubicBezTo>
                    <a:pt x="173239" y="0"/>
                    <a:pt x="180772" y="7532"/>
                    <a:pt x="180772" y="16947"/>
                  </a:cubicBezTo>
                  <a:cubicBezTo>
                    <a:pt x="180772" y="26363"/>
                    <a:pt x="173239" y="33895"/>
                    <a:pt x="163824" y="33895"/>
                  </a:cubicBezTo>
                  <a:cubicBezTo>
                    <a:pt x="91641" y="33895"/>
                    <a:pt x="33267" y="92269"/>
                    <a:pt x="33267" y="164452"/>
                  </a:cubicBezTo>
                  <a:cubicBezTo>
                    <a:pt x="33267" y="173239"/>
                    <a:pt x="26363" y="180771"/>
                    <a:pt x="16948" y="180771"/>
                  </a:cubicBezTo>
                  <a:lnTo>
                    <a:pt x="16948" y="180771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92" name="Forma Livre: Forma 191">
              <a:extLst>
                <a:ext uri="{FF2B5EF4-FFF2-40B4-BE49-F238E27FC236}">
                  <a16:creationId xmlns:a16="http://schemas.microsoft.com/office/drawing/2014/main" id="{6272B9C0-FAC3-4717-B6ED-533356BC4251}"/>
                </a:ext>
              </a:extLst>
            </p:cNvPr>
            <p:cNvSpPr/>
            <p:nvPr/>
          </p:nvSpPr>
          <p:spPr>
            <a:xfrm>
              <a:off x="8660426" y="2710264"/>
              <a:ext cx="200857" cy="200857"/>
            </a:xfrm>
            <a:custGeom>
              <a:avLst/>
              <a:gdLst>
                <a:gd name="connsiteX0" fmla="*/ 100429 w 200857"/>
                <a:gd name="connsiteY0" fmla="*/ 200857 h 200857"/>
                <a:gd name="connsiteX1" fmla="*/ 0 w 200857"/>
                <a:gd name="connsiteY1" fmla="*/ 100429 h 200857"/>
                <a:gd name="connsiteX2" fmla="*/ 100429 w 200857"/>
                <a:gd name="connsiteY2" fmla="*/ 0 h 200857"/>
                <a:gd name="connsiteX3" fmla="*/ 200857 w 200857"/>
                <a:gd name="connsiteY3" fmla="*/ 100429 h 200857"/>
                <a:gd name="connsiteX4" fmla="*/ 100429 w 200857"/>
                <a:gd name="connsiteY4" fmla="*/ 200857 h 200857"/>
                <a:gd name="connsiteX5" fmla="*/ 100429 w 200857"/>
                <a:gd name="connsiteY5" fmla="*/ 200857 h 200857"/>
                <a:gd name="connsiteX6" fmla="*/ 100429 w 200857"/>
                <a:gd name="connsiteY6" fmla="*/ 33895 h 200857"/>
                <a:gd name="connsiteX7" fmla="*/ 33895 w 200857"/>
                <a:gd name="connsiteY7" fmla="*/ 100429 h 200857"/>
                <a:gd name="connsiteX8" fmla="*/ 100429 w 200857"/>
                <a:gd name="connsiteY8" fmla="*/ 166963 h 200857"/>
                <a:gd name="connsiteX9" fmla="*/ 167591 w 200857"/>
                <a:gd name="connsiteY9" fmla="*/ 100429 h 200857"/>
                <a:gd name="connsiteX10" fmla="*/ 100429 w 200857"/>
                <a:gd name="connsiteY10" fmla="*/ 33895 h 200857"/>
                <a:gd name="connsiteX11" fmla="*/ 100429 w 200857"/>
                <a:gd name="connsiteY11" fmla="*/ 33895 h 200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0857" h="200857">
                  <a:moveTo>
                    <a:pt x="100429" y="200857"/>
                  </a:moveTo>
                  <a:cubicBezTo>
                    <a:pt x="45193" y="200857"/>
                    <a:pt x="0" y="155664"/>
                    <a:pt x="0" y="100429"/>
                  </a:cubicBezTo>
                  <a:cubicBezTo>
                    <a:pt x="0" y="45193"/>
                    <a:pt x="45193" y="0"/>
                    <a:pt x="100429" y="0"/>
                  </a:cubicBezTo>
                  <a:cubicBezTo>
                    <a:pt x="155665" y="0"/>
                    <a:pt x="200857" y="45193"/>
                    <a:pt x="200857" y="100429"/>
                  </a:cubicBezTo>
                  <a:cubicBezTo>
                    <a:pt x="200857" y="155664"/>
                    <a:pt x="155665" y="200857"/>
                    <a:pt x="100429" y="200857"/>
                  </a:cubicBezTo>
                  <a:lnTo>
                    <a:pt x="100429" y="200857"/>
                  </a:lnTo>
                  <a:close/>
                  <a:moveTo>
                    <a:pt x="100429" y="33895"/>
                  </a:moveTo>
                  <a:cubicBezTo>
                    <a:pt x="63395" y="33895"/>
                    <a:pt x="33895" y="64023"/>
                    <a:pt x="33895" y="100429"/>
                  </a:cubicBezTo>
                  <a:cubicBezTo>
                    <a:pt x="33895" y="137462"/>
                    <a:pt x="64024" y="166963"/>
                    <a:pt x="100429" y="166963"/>
                  </a:cubicBezTo>
                  <a:cubicBezTo>
                    <a:pt x="137462" y="166963"/>
                    <a:pt x="167591" y="136834"/>
                    <a:pt x="167591" y="100429"/>
                  </a:cubicBezTo>
                  <a:cubicBezTo>
                    <a:pt x="167591" y="64023"/>
                    <a:pt x="137462" y="33895"/>
                    <a:pt x="100429" y="33895"/>
                  </a:cubicBezTo>
                  <a:lnTo>
                    <a:pt x="100429" y="33895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93" name="Forma Livre: Forma 192">
              <a:extLst>
                <a:ext uri="{FF2B5EF4-FFF2-40B4-BE49-F238E27FC236}">
                  <a16:creationId xmlns:a16="http://schemas.microsoft.com/office/drawing/2014/main" id="{C4214164-C825-4F3F-87BA-DE4E36609C92}"/>
                </a:ext>
              </a:extLst>
            </p:cNvPr>
            <p:cNvSpPr/>
            <p:nvPr/>
          </p:nvSpPr>
          <p:spPr>
            <a:xfrm>
              <a:off x="8660426" y="2646869"/>
              <a:ext cx="180771" cy="180771"/>
            </a:xfrm>
            <a:custGeom>
              <a:avLst/>
              <a:gdLst>
                <a:gd name="connsiteX0" fmla="*/ 16948 w 180771"/>
                <a:gd name="connsiteY0" fmla="*/ 180771 h 180771"/>
                <a:gd name="connsiteX1" fmla="*/ 0 w 180771"/>
                <a:gd name="connsiteY1" fmla="*/ 163824 h 180771"/>
                <a:gd name="connsiteX2" fmla="*/ 163824 w 180771"/>
                <a:gd name="connsiteY2" fmla="*/ 0 h 180771"/>
                <a:gd name="connsiteX3" fmla="*/ 180772 w 180771"/>
                <a:gd name="connsiteY3" fmla="*/ 16947 h 180771"/>
                <a:gd name="connsiteX4" fmla="*/ 163824 w 180771"/>
                <a:gd name="connsiteY4" fmla="*/ 33895 h 180771"/>
                <a:gd name="connsiteX5" fmla="*/ 33267 w 180771"/>
                <a:gd name="connsiteY5" fmla="*/ 164452 h 180771"/>
                <a:gd name="connsiteX6" fmla="*/ 16948 w 180771"/>
                <a:gd name="connsiteY6" fmla="*/ 180771 h 180771"/>
                <a:gd name="connsiteX7" fmla="*/ 16948 w 180771"/>
                <a:gd name="connsiteY7" fmla="*/ 180771 h 180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0771" h="180771">
                  <a:moveTo>
                    <a:pt x="16948" y="180771"/>
                  </a:moveTo>
                  <a:cubicBezTo>
                    <a:pt x="7533" y="180771"/>
                    <a:pt x="0" y="173239"/>
                    <a:pt x="0" y="163824"/>
                  </a:cubicBezTo>
                  <a:cubicBezTo>
                    <a:pt x="0" y="73438"/>
                    <a:pt x="73439" y="0"/>
                    <a:pt x="163824" y="0"/>
                  </a:cubicBezTo>
                  <a:cubicBezTo>
                    <a:pt x="173239" y="0"/>
                    <a:pt x="180772" y="7532"/>
                    <a:pt x="180772" y="16947"/>
                  </a:cubicBezTo>
                  <a:cubicBezTo>
                    <a:pt x="180772" y="26363"/>
                    <a:pt x="173239" y="33895"/>
                    <a:pt x="163824" y="33895"/>
                  </a:cubicBezTo>
                  <a:cubicBezTo>
                    <a:pt x="92269" y="33895"/>
                    <a:pt x="33267" y="92269"/>
                    <a:pt x="33267" y="164452"/>
                  </a:cubicBezTo>
                  <a:cubicBezTo>
                    <a:pt x="33895" y="173239"/>
                    <a:pt x="26363" y="180771"/>
                    <a:pt x="16948" y="180771"/>
                  </a:cubicBezTo>
                  <a:lnTo>
                    <a:pt x="16948" y="180771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94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9473270" y="2646869"/>
            <a:ext cx="408618" cy="264252"/>
            <a:chOff x="9473270" y="2646869"/>
            <a:chExt cx="408618" cy="264252"/>
          </a:xfrm>
          <a:solidFill>
            <a:srgbClr val="B1B1A1"/>
          </a:solidFill>
        </p:grpSpPr>
        <p:sp>
          <p:nvSpPr>
            <p:cNvPr id="195" name="Forma Livre: Forma 194">
              <a:extLst>
                <a:ext uri="{FF2B5EF4-FFF2-40B4-BE49-F238E27FC236}">
                  <a16:creationId xmlns:a16="http://schemas.microsoft.com/office/drawing/2014/main" id="{D2FAE40C-1E19-4605-BC99-7F9B64EFB21F}"/>
                </a:ext>
              </a:extLst>
            </p:cNvPr>
            <p:cNvSpPr/>
            <p:nvPr/>
          </p:nvSpPr>
          <p:spPr>
            <a:xfrm>
              <a:off x="9680404" y="2646869"/>
              <a:ext cx="200857" cy="200857"/>
            </a:xfrm>
            <a:custGeom>
              <a:avLst/>
              <a:gdLst>
                <a:gd name="connsiteX0" fmla="*/ 100429 w 200857"/>
                <a:gd name="connsiteY0" fmla="*/ 200857 h 200857"/>
                <a:gd name="connsiteX1" fmla="*/ 0 w 200857"/>
                <a:gd name="connsiteY1" fmla="*/ 100429 h 200857"/>
                <a:gd name="connsiteX2" fmla="*/ 100429 w 200857"/>
                <a:gd name="connsiteY2" fmla="*/ 0 h 200857"/>
                <a:gd name="connsiteX3" fmla="*/ 200857 w 200857"/>
                <a:gd name="connsiteY3" fmla="*/ 100429 h 200857"/>
                <a:gd name="connsiteX4" fmla="*/ 100429 w 200857"/>
                <a:gd name="connsiteY4" fmla="*/ 200857 h 200857"/>
                <a:gd name="connsiteX5" fmla="*/ 100429 w 200857"/>
                <a:gd name="connsiteY5" fmla="*/ 200857 h 200857"/>
                <a:gd name="connsiteX6" fmla="*/ 100429 w 200857"/>
                <a:gd name="connsiteY6" fmla="*/ 33895 h 200857"/>
                <a:gd name="connsiteX7" fmla="*/ 33895 w 200857"/>
                <a:gd name="connsiteY7" fmla="*/ 100429 h 200857"/>
                <a:gd name="connsiteX8" fmla="*/ 100429 w 200857"/>
                <a:gd name="connsiteY8" fmla="*/ 166963 h 200857"/>
                <a:gd name="connsiteX9" fmla="*/ 167591 w 200857"/>
                <a:gd name="connsiteY9" fmla="*/ 100429 h 200857"/>
                <a:gd name="connsiteX10" fmla="*/ 100429 w 200857"/>
                <a:gd name="connsiteY10" fmla="*/ 33895 h 200857"/>
                <a:gd name="connsiteX11" fmla="*/ 100429 w 200857"/>
                <a:gd name="connsiteY11" fmla="*/ 33895 h 200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0857" h="200857">
                  <a:moveTo>
                    <a:pt x="100429" y="200857"/>
                  </a:moveTo>
                  <a:cubicBezTo>
                    <a:pt x="45193" y="200857"/>
                    <a:pt x="0" y="155664"/>
                    <a:pt x="0" y="100429"/>
                  </a:cubicBezTo>
                  <a:cubicBezTo>
                    <a:pt x="0" y="45193"/>
                    <a:pt x="45193" y="0"/>
                    <a:pt x="100429" y="0"/>
                  </a:cubicBezTo>
                  <a:cubicBezTo>
                    <a:pt x="155665" y="0"/>
                    <a:pt x="200857" y="45193"/>
                    <a:pt x="200857" y="100429"/>
                  </a:cubicBezTo>
                  <a:cubicBezTo>
                    <a:pt x="200857" y="155664"/>
                    <a:pt x="155665" y="200857"/>
                    <a:pt x="100429" y="200857"/>
                  </a:cubicBezTo>
                  <a:lnTo>
                    <a:pt x="100429" y="200857"/>
                  </a:lnTo>
                  <a:close/>
                  <a:moveTo>
                    <a:pt x="100429" y="33895"/>
                  </a:moveTo>
                  <a:cubicBezTo>
                    <a:pt x="63395" y="33895"/>
                    <a:pt x="33895" y="64023"/>
                    <a:pt x="33895" y="100429"/>
                  </a:cubicBezTo>
                  <a:cubicBezTo>
                    <a:pt x="33895" y="136834"/>
                    <a:pt x="64024" y="166963"/>
                    <a:pt x="100429" y="166963"/>
                  </a:cubicBezTo>
                  <a:cubicBezTo>
                    <a:pt x="137462" y="166963"/>
                    <a:pt x="167591" y="136834"/>
                    <a:pt x="167591" y="100429"/>
                  </a:cubicBezTo>
                  <a:cubicBezTo>
                    <a:pt x="167591" y="64023"/>
                    <a:pt x="136834" y="33895"/>
                    <a:pt x="100429" y="33895"/>
                  </a:cubicBezTo>
                  <a:lnTo>
                    <a:pt x="100429" y="33895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96" name="Forma Livre: Forma 195">
              <a:extLst>
                <a:ext uri="{FF2B5EF4-FFF2-40B4-BE49-F238E27FC236}">
                  <a16:creationId xmlns:a16="http://schemas.microsoft.com/office/drawing/2014/main" id="{4568301A-504F-4D06-9736-56A9C3833B21}"/>
                </a:ext>
              </a:extLst>
            </p:cNvPr>
            <p:cNvSpPr/>
            <p:nvPr/>
          </p:nvSpPr>
          <p:spPr>
            <a:xfrm>
              <a:off x="9700490" y="2729722"/>
              <a:ext cx="181398" cy="181399"/>
            </a:xfrm>
            <a:custGeom>
              <a:avLst/>
              <a:gdLst>
                <a:gd name="connsiteX0" fmla="*/ 16947 w 181398"/>
                <a:gd name="connsiteY0" fmla="*/ 181399 h 181399"/>
                <a:gd name="connsiteX1" fmla="*/ 0 w 181398"/>
                <a:gd name="connsiteY1" fmla="*/ 164452 h 181399"/>
                <a:gd name="connsiteX2" fmla="*/ 16947 w 181398"/>
                <a:gd name="connsiteY2" fmla="*/ 147504 h 181399"/>
                <a:gd name="connsiteX3" fmla="*/ 147504 w 181398"/>
                <a:gd name="connsiteY3" fmla="*/ 16947 h 181399"/>
                <a:gd name="connsiteX4" fmla="*/ 164452 w 181398"/>
                <a:gd name="connsiteY4" fmla="*/ 0 h 181399"/>
                <a:gd name="connsiteX5" fmla="*/ 181399 w 181398"/>
                <a:gd name="connsiteY5" fmla="*/ 16947 h 181399"/>
                <a:gd name="connsiteX6" fmla="*/ 16947 w 181398"/>
                <a:gd name="connsiteY6" fmla="*/ 181399 h 181399"/>
                <a:gd name="connsiteX7" fmla="*/ 16947 w 181398"/>
                <a:gd name="connsiteY7" fmla="*/ 181399 h 181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398" h="181399">
                  <a:moveTo>
                    <a:pt x="16947" y="181399"/>
                  </a:moveTo>
                  <a:cubicBezTo>
                    <a:pt x="7532" y="181399"/>
                    <a:pt x="0" y="173867"/>
                    <a:pt x="0" y="164452"/>
                  </a:cubicBezTo>
                  <a:cubicBezTo>
                    <a:pt x="0" y="155037"/>
                    <a:pt x="7532" y="147504"/>
                    <a:pt x="16947" y="147504"/>
                  </a:cubicBezTo>
                  <a:cubicBezTo>
                    <a:pt x="89130" y="147504"/>
                    <a:pt x="147504" y="89130"/>
                    <a:pt x="147504" y="16947"/>
                  </a:cubicBezTo>
                  <a:cubicBezTo>
                    <a:pt x="147504" y="7532"/>
                    <a:pt x="155036" y="0"/>
                    <a:pt x="164452" y="0"/>
                  </a:cubicBezTo>
                  <a:cubicBezTo>
                    <a:pt x="173867" y="0"/>
                    <a:pt x="181399" y="7532"/>
                    <a:pt x="181399" y="16947"/>
                  </a:cubicBezTo>
                  <a:cubicBezTo>
                    <a:pt x="180143" y="107961"/>
                    <a:pt x="106705" y="181399"/>
                    <a:pt x="16947" y="181399"/>
                  </a:cubicBezTo>
                  <a:lnTo>
                    <a:pt x="16947" y="181399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97" name="Forma Livre: Forma 196">
              <a:extLst>
                <a:ext uri="{FF2B5EF4-FFF2-40B4-BE49-F238E27FC236}">
                  <a16:creationId xmlns:a16="http://schemas.microsoft.com/office/drawing/2014/main" id="{9F99ABD3-BBE7-4EF0-AE26-028439C06403}"/>
                </a:ext>
              </a:extLst>
            </p:cNvPr>
            <p:cNvSpPr/>
            <p:nvPr/>
          </p:nvSpPr>
          <p:spPr>
            <a:xfrm>
              <a:off x="9473270" y="2646869"/>
              <a:ext cx="200857" cy="200857"/>
            </a:xfrm>
            <a:custGeom>
              <a:avLst/>
              <a:gdLst>
                <a:gd name="connsiteX0" fmla="*/ 100429 w 200857"/>
                <a:gd name="connsiteY0" fmla="*/ 200857 h 200857"/>
                <a:gd name="connsiteX1" fmla="*/ 0 w 200857"/>
                <a:gd name="connsiteY1" fmla="*/ 100429 h 200857"/>
                <a:gd name="connsiteX2" fmla="*/ 100429 w 200857"/>
                <a:gd name="connsiteY2" fmla="*/ 0 h 200857"/>
                <a:gd name="connsiteX3" fmla="*/ 200857 w 200857"/>
                <a:gd name="connsiteY3" fmla="*/ 100429 h 200857"/>
                <a:gd name="connsiteX4" fmla="*/ 100429 w 200857"/>
                <a:gd name="connsiteY4" fmla="*/ 200857 h 200857"/>
                <a:gd name="connsiteX5" fmla="*/ 100429 w 200857"/>
                <a:gd name="connsiteY5" fmla="*/ 200857 h 200857"/>
                <a:gd name="connsiteX6" fmla="*/ 100429 w 200857"/>
                <a:gd name="connsiteY6" fmla="*/ 33895 h 200857"/>
                <a:gd name="connsiteX7" fmla="*/ 33895 w 200857"/>
                <a:gd name="connsiteY7" fmla="*/ 100429 h 200857"/>
                <a:gd name="connsiteX8" fmla="*/ 100429 w 200857"/>
                <a:gd name="connsiteY8" fmla="*/ 166963 h 200857"/>
                <a:gd name="connsiteX9" fmla="*/ 166962 w 200857"/>
                <a:gd name="connsiteY9" fmla="*/ 100429 h 200857"/>
                <a:gd name="connsiteX10" fmla="*/ 100429 w 200857"/>
                <a:gd name="connsiteY10" fmla="*/ 33895 h 200857"/>
                <a:gd name="connsiteX11" fmla="*/ 100429 w 200857"/>
                <a:gd name="connsiteY11" fmla="*/ 33895 h 200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0857" h="200857">
                  <a:moveTo>
                    <a:pt x="100429" y="200857"/>
                  </a:moveTo>
                  <a:cubicBezTo>
                    <a:pt x="45193" y="200857"/>
                    <a:pt x="0" y="155664"/>
                    <a:pt x="0" y="100429"/>
                  </a:cubicBezTo>
                  <a:cubicBezTo>
                    <a:pt x="0" y="45193"/>
                    <a:pt x="45193" y="0"/>
                    <a:pt x="100429" y="0"/>
                  </a:cubicBezTo>
                  <a:cubicBezTo>
                    <a:pt x="155665" y="0"/>
                    <a:pt x="200857" y="45193"/>
                    <a:pt x="200857" y="100429"/>
                  </a:cubicBezTo>
                  <a:cubicBezTo>
                    <a:pt x="200857" y="155664"/>
                    <a:pt x="155665" y="200857"/>
                    <a:pt x="100429" y="200857"/>
                  </a:cubicBezTo>
                  <a:lnTo>
                    <a:pt x="100429" y="200857"/>
                  </a:lnTo>
                  <a:close/>
                  <a:moveTo>
                    <a:pt x="100429" y="33895"/>
                  </a:moveTo>
                  <a:cubicBezTo>
                    <a:pt x="63395" y="33895"/>
                    <a:pt x="33895" y="64023"/>
                    <a:pt x="33895" y="100429"/>
                  </a:cubicBezTo>
                  <a:cubicBezTo>
                    <a:pt x="33895" y="136834"/>
                    <a:pt x="64024" y="166963"/>
                    <a:pt x="100429" y="166963"/>
                  </a:cubicBezTo>
                  <a:cubicBezTo>
                    <a:pt x="137462" y="166963"/>
                    <a:pt x="166962" y="136834"/>
                    <a:pt x="166962" y="100429"/>
                  </a:cubicBezTo>
                  <a:cubicBezTo>
                    <a:pt x="166962" y="64023"/>
                    <a:pt x="136834" y="33895"/>
                    <a:pt x="100429" y="33895"/>
                  </a:cubicBezTo>
                  <a:lnTo>
                    <a:pt x="100429" y="33895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98" name="Forma Livre: Forma 197">
              <a:extLst>
                <a:ext uri="{FF2B5EF4-FFF2-40B4-BE49-F238E27FC236}">
                  <a16:creationId xmlns:a16="http://schemas.microsoft.com/office/drawing/2014/main" id="{397D789D-B079-4FE9-979F-F541AF87EA8E}"/>
                </a:ext>
              </a:extLst>
            </p:cNvPr>
            <p:cNvSpPr/>
            <p:nvPr/>
          </p:nvSpPr>
          <p:spPr>
            <a:xfrm>
              <a:off x="9492728" y="2729722"/>
              <a:ext cx="181399" cy="181399"/>
            </a:xfrm>
            <a:custGeom>
              <a:avLst/>
              <a:gdLst>
                <a:gd name="connsiteX0" fmla="*/ 16948 w 181399"/>
                <a:gd name="connsiteY0" fmla="*/ 181399 h 181399"/>
                <a:gd name="connsiteX1" fmla="*/ 0 w 181399"/>
                <a:gd name="connsiteY1" fmla="*/ 164452 h 181399"/>
                <a:gd name="connsiteX2" fmla="*/ 16948 w 181399"/>
                <a:gd name="connsiteY2" fmla="*/ 147504 h 181399"/>
                <a:gd name="connsiteX3" fmla="*/ 147504 w 181399"/>
                <a:gd name="connsiteY3" fmla="*/ 16947 h 181399"/>
                <a:gd name="connsiteX4" fmla="*/ 164452 w 181399"/>
                <a:gd name="connsiteY4" fmla="*/ 0 h 181399"/>
                <a:gd name="connsiteX5" fmla="*/ 181399 w 181399"/>
                <a:gd name="connsiteY5" fmla="*/ 16947 h 181399"/>
                <a:gd name="connsiteX6" fmla="*/ 16948 w 181399"/>
                <a:gd name="connsiteY6" fmla="*/ 181399 h 181399"/>
                <a:gd name="connsiteX7" fmla="*/ 16948 w 181399"/>
                <a:gd name="connsiteY7" fmla="*/ 181399 h 181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1399" h="181399">
                  <a:moveTo>
                    <a:pt x="16948" y="181399"/>
                  </a:moveTo>
                  <a:cubicBezTo>
                    <a:pt x="7533" y="181399"/>
                    <a:pt x="0" y="173867"/>
                    <a:pt x="0" y="164452"/>
                  </a:cubicBezTo>
                  <a:cubicBezTo>
                    <a:pt x="0" y="155037"/>
                    <a:pt x="7533" y="147504"/>
                    <a:pt x="16948" y="147504"/>
                  </a:cubicBezTo>
                  <a:cubicBezTo>
                    <a:pt x="88503" y="147504"/>
                    <a:pt x="147504" y="89130"/>
                    <a:pt x="147504" y="16947"/>
                  </a:cubicBezTo>
                  <a:cubicBezTo>
                    <a:pt x="147504" y="7532"/>
                    <a:pt x="155037" y="0"/>
                    <a:pt x="164452" y="0"/>
                  </a:cubicBezTo>
                  <a:cubicBezTo>
                    <a:pt x="173867" y="0"/>
                    <a:pt x="181399" y="7532"/>
                    <a:pt x="181399" y="16947"/>
                  </a:cubicBezTo>
                  <a:cubicBezTo>
                    <a:pt x="180772" y="107961"/>
                    <a:pt x="107334" y="181399"/>
                    <a:pt x="16948" y="181399"/>
                  </a:cubicBezTo>
                  <a:lnTo>
                    <a:pt x="16948" y="181399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199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10498269" y="2600421"/>
            <a:ext cx="411757" cy="356521"/>
            <a:chOff x="10498269" y="2600421"/>
            <a:chExt cx="411757" cy="356521"/>
          </a:xfrm>
          <a:solidFill>
            <a:srgbClr val="B1B1A1"/>
          </a:solidFill>
        </p:grpSpPr>
        <p:sp>
          <p:nvSpPr>
            <p:cNvPr id="200" name="Forma Livre: Forma 199">
              <a:extLst>
                <a:ext uri="{FF2B5EF4-FFF2-40B4-BE49-F238E27FC236}">
                  <a16:creationId xmlns:a16="http://schemas.microsoft.com/office/drawing/2014/main" id="{642E5E2C-B7C2-4D4E-8D55-55B17E1C4993}"/>
                </a:ext>
              </a:extLst>
            </p:cNvPr>
            <p:cNvSpPr/>
            <p:nvPr/>
          </p:nvSpPr>
          <p:spPr>
            <a:xfrm>
              <a:off x="10552375" y="2600421"/>
              <a:ext cx="357651" cy="356521"/>
            </a:xfrm>
            <a:custGeom>
              <a:avLst/>
              <a:gdLst>
                <a:gd name="connsiteX0" fmla="*/ 270404 w 357651"/>
                <a:gd name="connsiteY0" fmla="*/ 356521 h 356521"/>
                <a:gd name="connsiteX1" fmla="*/ 257850 w 357651"/>
                <a:gd name="connsiteY1" fmla="*/ 350872 h 356521"/>
                <a:gd name="connsiteX2" fmla="*/ 258478 w 357651"/>
                <a:gd name="connsiteY2" fmla="*/ 328276 h 356521"/>
                <a:gd name="connsiteX3" fmla="*/ 293629 w 357651"/>
                <a:gd name="connsiteY3" fmla="*/ 240401 h 356521"/>
                <a:gd name="connsiteX4" fmla="*/ 166209 w 357651"/>
                <a:gd name="connsiteY4" fmla="*/ 112982 h 356521"/>
                <a:gd name="connsiteX5" fmla="*/ 76451 w 357651"/>
                <a:gd name="connsiteY5" fmla="*/ 150015 h 356521"/>
                <a:gd name="connsiteX6" fmla="*/ 52600 w 357651"/>
                <a:gd name="connsiteY6" fmla="*/ 150015 h 356521"/>
                <a:gd name="connsiteX7" fmla="*/ 52600 w 357651"/>
                <a:gd name="connsiteY7" fmla="*/ 126163 h 356521"/>
                <a:gd name="connsiteX8" fmla="*/ 166209 w 357651"/>
                <a:gd name="connsiteY8" fmla="*/ 79088 h 356521"/>
                <a:gd name="connsiteX9" fmla="*/ 323757 w 357651"/>
                <a:gd name="connsiteY9" fmla="*/ 209017 h 356521"/>
                <a:gd name="connsiteX10" fmla="*/ 324384 w 357651"/>
                <a:gd name="connsiteY10" fmla="*/ 196463 h 356521"/>
                <a:gd name="connsiteX11" fmla="*/ 161188 w 357651"/>
                <a:gd name="connsiteY11" fmla="*/ 33267 h 356521"/>
                <a:gd name="connsiteX12" fmla="*/ 30003 w 357651"/>
                <a:gd name="connsiteY12" fmla="*/ 99801 h 356521"/>
                <a:gd name="connsiteX13" fmla="*/ 6779 w 357651"/>
                <a:gd name="connsiteY13" fmla="*/ 103567 h 356521"/>
                <a:gd name="connsiteX14" fmla="*/ 3013 w 357651"/>
                <a:gd name="connsiteY14" fmla="*/ 80343 h 356521"/>
                <a:gd name="connsiteX15" fmla="*/ 161188 w 357651"/>
                <a:gd name="connsiteY15" fmla="*/ 0 h 356521"/>
                <a:gd name="connsiteX16" fmla="*/ 357651 w 357651"/>
                <a:gd name="connsiteY16" fmla="*/ 196463 h 356521"/>
                <a:gd name="connsiteX17" fmla="*/ 280447 w 357651"/>
                <a:gd name="connsiteY17" fmla="*/ 352128 h 356521"/>
                <a:gd name="connsiteX18" fmla="*/ 270404 w 357651"/>
                <a:gd name="connsiteY18" fmla="*/ 356521 h 356521"/>
                <a:gd name="connsiteX19" fmla="*/ 270404 w 357651"/>
                <a:gd name="connsiteY19" fmla="*/ 356521 h 356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57651" h="356521">
                  <a:moveTo>
                    <a:pt x="270404" y="356521"/>
                  </a:moveTo>
                  <a:cubicBezTo>
                    <a:pt x="266010" y="356521"/>
                    <a:pt x="260989" y="354638"/>
                    <a:pt x="257850" y="350872"/>
                  </a:cubicBezTo>
                  <a:cubicBezTo>
                    <a:pt x="252201" y="344596"/>
                    <a:pt x="252201" y="334553"/>
                    <a:pt x="258478" y="328276"/>
                  </a:cubicBezTo>
                  <a:cubicBezTo>
                    <a:pt x="281075" y="304424"/>
                    <a:pt x="293629" y="273040"/>
                    <a:pt x="293629" y="240401"/>
                  </a:cubicBezTo>
                  <a:cubicBezTo>
                    <a:pt x="293629" y="170101"/>
                    <a:pt x="236509" y="112982"/>
                    <a:pt x="166209" y="112982"/>
                  </a:cubicBezTo>
                  <a:cubicBezTo>
                    <a:pt x="132315" y="112982"/>
                    <a:pt x="100303" y="126163"/>
                    <a:pt x="76451" y="150015"/>
                  </a:cubicBezTo>
                  <a:cubicBezTo>
                    <a:pt x="70174" y="156292"/>
                    <a:pt x="59504" y="156292"/>
                    <a:pt x="52600" y="150015"/>
                  </a:cubicBezTo>
                  <a:cubicBezTo>
                    <a:pt x="46323" y="143738"/>
                    <a:pt x="46323" y="133068"/>
                    <a:pt x="52600" y="126163"/>
                  </a:cubicBezTo>
                  <a:cubicBezTo>
                    <a:pt x="82728" y="96035"/>
                    <a:pt x="123527" y="79088"/>
                    <a:pt x="166209" y="79088"/>
                  </a:cubicBezTo>
                  <a:cubicBezTo>
                    <a:pt x="244042" y="79088"/>
                    <a:pt x="309320" y="134951"/>
                    <a:pt x="323757" y="209017"/>
                  </a:cubicBezTo>
                  <a:cubicBezTo>
                    <a:pt x="324384" y="204623"/>
                    <a:pt x="324384" y="200857"/>
                    <a:pt x="324384" y="196463"/>
                  </a:cubicBezTo>
                  <a:cubicBezTo>
                    <a:pt x="324384" y="106705"/>
                    <a:pt x="251574" y="33267"/>
                    <a:pt x="161188" y="33267"/>
                  </a:cubicBezTo>
                  <a:cubicBezTo>
                    <a:pt x="109091" y="33267"/>
                    <a:pt x="60759" y="57746"/>
                    <a:pt x="30003" y="99801"/>
                  </a:cubicBezTo>
                  <a:cubicBezTo>
                    <a:pt x="24354" y="107333"/>
                    <a:pt x="14311" y="108588"/>
                    <a:pt x="6779" y="103567"/>
                  </a:cubicBezTo>
                  <a:cubicBezTo>
                    <a:pt x="-753" y="97918"/>
                    <a:pt x="-2009" y="87875"/>
                    <a:pt x="3013" y="80343"/>
                  </a:cubicBezTo>
                  <a:cubicBezTo>
                    <a:pt x="40046" y="30128"/>
                    <a:pt x="99048" y="0"/>
                    <a:pt x="161188" y="0"/>
                  </a:cubicBezTo>
                  <a:cubicBezTo>
                    <a:pt x="269776" y="0"/>
                    <a:pt x="357651" y="87875"/>
                    <a:pt x="357651" y="196463"/>
                  </a:cubicBezTo>
                  <a:cubicBezTo>
                    <a:pt x="357651" y="257976"/>
                    <a:pt x="329406" y="314467"/>
                    <a:pt x="280447" y="352128"/>
                  </a:cubicBezTo>
                  <a:cubicBezTo>
                    <a:pt x="277308" y="355266"/>
                    <a:pt x="273542" y="356521"/>
                    <a:pt x="270404" y="356521"/>
                  </a:cubicBezTo>
                  <a:lnTo>
                    <a:pt x="270404" y="356521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01" name="Forma Livre: Forma 200">
              <a:extLst>
                <a:ext uri="{FF2B5EF4-FFF2-40B4-BE49-F238E27FC236}">
                  <a16:creationId xmlns:a16="http://schemas.microsoft.com/office/drawing/2014/main" id="{7A0846B9-70C8-4A27-9583-4AF9917A99A1}"/>
                </a:ext>
              </a:extLst>
            </p:cNvPr>
            <p:cNvSpPr/>
            <p:nvPr/>
          </p:nvSpPr>
          <p:spPr>
            <a:xfrm>
              <a:off x="10498269" y="2619251"/>
              <a:ext cx="195835" cy="197091"/>
            </a:xfrm>
            <a:custGeom>
              <a:avLst/>
              <a:gdLst>
                <a:gd name="connsiteX0" fmla="*/ 180143 w 195835"/>
                <a:gd name="connsiteY0" fmla="*/ 197091 h 197091"/>
                <a:gd name="connsiteX1" fmla="*/ 16947 w 195835"/>
                <a:gd name="connsiteY1" fmla="*/ 197091 h 197091"/>
                <a:gd name="connsiteX2" fmla="*/ 0 w 195835"/>
                <a:gd name="connsiteY2" fmla="*/ 180144 h 197091"/>
                <a:gd name="connsiteX3" fmla="*/ 0 w 195835"/>
                <a:gd name="connsiteY3" fmla="*/ 16947 h 197091"/>
                <a:gd name="connsiteX4" fmla="*/ 10043 w 195835"/>
                <a:gd name="connsiteY4" fmla="*/ 1255 h 197091"/>
                <a:gd name="connsiteX5" fmla="*/ 28246 w 195835"/>
                <a:gd name="connsiteY5" fmla="*/ 5021 h 197091"/>
                <a:gd name="connsiteX6" fmla="*/ 78460 w 195835"/>
                <a:gd name="connsiteY6" fmla="*/ 55236 h 197091"/>
                <a:gd name="connsiteX7" fmla="*/ 78460 w 195835"/>
                <a:gd name="connsiteY7" fmla="*/ 79088 h 197091"/>
                <a:gd name="connsiteX8" fmla="*/ 54608 w 195835"/>
                <a:gd name="connsiteY8" fmla="*/ 79088 h 197091"/>
                <a:gd name="connsiteX9" fmla="*/ 32639 w 195835"/>
                <a:gd name="connsiteY9" fmla="*/ 57119 h 197091"/>
                <a:gd name="connsiteX10" fmla="*/ 32639 w 195835"/>
                <a:gd name="connsiteY10" fmla="*/ 163197 h 197091"/>
                <a:gd name="connsiteX11" fmla="*/ 138717 w 195835"/>
                <a:gd name="connsiteY11" fmla="*/ 163197 h 197091"/>
                <a:gd name="connsiteX12" fmla="*/ 107333 w 195835"/>
                <a:gd name="connsiteY12" fmla="*/ 131813 h 197091"/>
                <a:gd name="connsiteX13" fmla="*/ 107333 w 195835"/>
                <a:gd name="connsiteY13" fmla="*/ 107961 h 197091"/>
                <a:gd name="connsiteX14" fmla="*/ 131185 w 195835"/>
                <a:gd name="connsiteY14" fmla="*/ 107961 h 197091"/>
                <a:gd name="connsiteX15" fmla="*/ 190814 w 195835"/>
                <a:gd name="connsiteY15" fmla="*/ 167590 h 197091"/>
                <a:gd name="connsiteX16" fmla="*/ 194580 w 195835"/>
                <a:gd name="connsiteY16" fmla="*/ 185793 h 197091"/>
                <a:gd name="connsiteX17" fmla="*/ 180143 w 195835"/>
                <a:gd name="connsiteY17" fmla="*/ 197091 h 197091"/>
                <a:gd name="connsiteX18" fmla="*/ 180143 w 195835"/>
                <a:gd name="connsiteY18" fmla="*/ 197091 h 197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5835" h="197091">
                  <a:moveTo>
                    <a:pt x="180143" y="197091"/>
                  </a:moveTo>
                  <a:lnTo>
                    <a:pt x="16947" y="197091"/>
                  </a:lnTo>
                  <a:cubicBezTo>
                    <a:pt x="7532" y="197091"/>
                    <a:pt x="0" y="189559"/>
                    <a:pt x="0" y="180144"/>
                  </a:cubicBezTo>
                  <a:lnTo>
                    <a:pt x="0" y="16947"/>
                  </a:lnTo>
                  <a:cubicBezTo>
                    <a:pt x="0" y="10043"/>
                    <a:pt x="3766" y="4394"/>
                    <a:pt x="10043" y="1255"/>
                  </a:cubicBezTo>
                  <a:cubicBezTo>
                    <a:pt x="16319" y="-1255"/>
                    <a:pt x="23224" y="0"/>
                    <a:pt x="28246" y="5021"/>
                  </a:cubicBezTo>
                  <a:lnTo>
                    <a:pt x="78460" y="55236"/>
                  </a:lnTo>
                  <a:cubicBezTo>
                    <a:pt x="84737" y="61513"/>
                    <a:pt x="84737" y="72183"/>
                    <a:pt x="78460" y="79088"/>
                  </a:cubicBezTo>
                  <a:cubicBezTo>
                    <a:pt x="72183" y="85364"/>
                    <a:pt x="61512" y="85364"/>
                    <a:pt x="54608" y="79088"/>
                  </a:cubicBezTo>
                  <a:lnTo>
                    <a:pt x="32639" y="57119"/>
                  </a:lnTo>
                  <a:lnTo>
                    <a:pt x="32639" y="163197"/>
                  </a:lnTo>
                  <a:lnTo>
                    <a:pt x="138717" y="163197"/>
                  </a:lnTo>
                  <a:lnTo>
                    <a:pt x="107333" y="131813"/>
                  </a:lnTo>
                  <a:cubicBezTo>
                    <a:pt x="101056" y="125536"/>
                    <a:pt x="101056" y="114865"/>
                    <a:pt x="107333" y="107961"/>
                  </a:cubicBezTo>
                  <a:cubicBezTo>
                    <a:pt x="113610" y="101684"/>
                    <a:pt x="124280" y="101684"/>
                    <a:pt x="131185" y="107961"/>
                  </a:cubicBezTo>
                  <a:lnTo>
                    <a:pt x="190814" y="167590"/>
                  </a:lnTo>
                  <a:cubicBezTo>
                    <a:pt x="195835" y="172612"/>
                    <a:pt x="197091" y="179516"/>
                    <a:pt x="194580" y="185793"/>
                  </a:cubicBezTo>
                  <a:cubicBezTo>
                    <a:pt x="192697" y="193325"/>
                    <a:pt x="186420" y="197091"/>
                    <a:pt x="180143" y="197091"/>
                  </a:cubicBezTo>
                  <a:lnTo>
                    <a:pt x="180143" y="197091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02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7435825" y="526570"/>
            <a:ext cx="393868" cy="376607"/>
            <a:chOff x="7435825" y="526570"/>
            <a:chExt cx="393868" cy="376607"/>
          </a:xfrm>
          <a:solidFill>
            <a:srgbClr val="B1B1A1"/>
          </a:solidFill>
        </p:grpSpPr>
        <p:sp>
          <p:nvSpPr>
            <p:cNvPr id="203" name="Forma Livre: Forma 202">
              <a:extLst>
                <a:ext uri="{FF2B5EF4-FFF2-40B4-BE49-F238E27FC236}">
                  <a16:creationId xmlns:a16="http://schemas.microsoft.com/office/drawing/2014/main" id="{4D2C7C73-D0D6-48FE-9A0D-4B484D1D4458}"/>
                </a:ext>
              </a:extLst>
            </p:cNvPr>
            <p:cNvSpPr/>
            <p:nvPr/>
          </p:nvSpPr>
          <p:spPr>
            <a:xfrm>
              <a:off x="7445240" y="778270"/>
              <a:ext cx="116748" cy="116748"/>
            </a:xfrm>
            <a:custGeom>
              <a:avLst/>
              <a:gdLst>
                <a:gd name="connsiteX0" fmla="*/ 107961 w 116748"/>
                <a:gd name="connsiteY0" fmla="*/ 116748 h 116748"/>
                <a:gd name="connsiteX1" fmla="*/ 99801 w 116748"/>
                <a:gd name="connsiteY1" fmla="*/ 108588 h 116748"/>
                <a:gd name="connsiteX2" fmla="*/ 99801 w 116748"/>
                <a:gd name="connsiteY2" fmla="*/ 16320 h 116748"/>
                <a:gd name="connsiteX3" fmla="*/ 8160 w 116748"/>
                <a:gd name="connsiteY3" fmla="*/ 16320 h 116748"/>
                <a:gd name="connsiteX4" fmla="*/ 0 w 116748"/>
                <a:gd name="connsiteY4" fmla="*/ 8160 h 116748"/>
                <a:gd name="connsiteX5" fmla="*/ 8160 w 116748"/>
                <a:gd name="connsiteY5" fmla="*/ 0 h 116748"/>
                <a:gd name="connsiteX6" fmla="*/ 108588 w 116748"/>
                <a:gd name="connsiteY6" fmla="*/ 0 h 116748"/>
                <a:gd name="connsiteX7" fmla="*/ 116748 w 116748"/>
                <a:gd name="connsiteY7" fmla="*/ 8160 h 116748"/>
                <a:gd name="connsiteX8" fmla="*/ 116748 w 116748"/>
                <a:gd name="connsiteY8" fmla="*/ 108588 h 116748"/>
                <a:gd name="connsiteX9" fmla="*/ 107961 w 116748"/>
                <a:gd name="connsiteY9" fmla="*/ 116748 h 116748"/>
                <a:gd name="connsiteX10" fmla="*/ 107961 w 116748"/>
                <a:gd name="connsiteY10" fmla="*/ 116748 h 116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6748" h="116748">
                  <a:moveTo>
                    <a:pt x="107961" y="116748"/>
                  </a:moveTo>
                  <a:cubicBezTo>
                    <a:pt x="103567" y="116748"/>
                    <a:pt x="99801" y="112982"/>
                    <a:pt x="99801" y="108588"/>
                  </a:cubicBezTo>
                  <a:lnTo>
                    <a:pt x="99801" y="16320"/>
                  </a:lnTo>
                  <a:lnTo>
                    <a:pt x="8160" y="16320"/>
                  </a:lnTo>
                  <a:cubicBezTo>
                    <a:pt x="3766" y="16320"/>
                    <a:pt x="0" y="12554"/>
                    <a:pt x="0" y="8160"/>
                  </a:cubicBezTo>
                  <a:cubicBezTo>
                    <a:pt x="0" y="3766"/>
                    <a:pt x="3766" y="0"/>
                    <a:pt x="8160" y="0"/>
                  </a:cubicBezTo>
                  <a:lnTo>
                    <a:pt x="108588" y="0"/>
                  </a:lnTo>
                  <a:cubicBezTo>
                    <a:pt x="112982" y="0"/>
                    <a:pt x="116748" y="3766"/>
                    <a:pt x="116748" y="8160"/>
                  </a:cubicBezTo>
                  <a:lnTo>
                    <a:pt x="116748" y="108588"/>
                  </a:lnTo>
                  <a:cubicBezTo>
                    <a:pt x="116121" y="112982"/>
                    <a:pt x="112355" y="116748"/>
                    <a:pt x="107961" y="116748"/>
                  </a:cubicBezTo>
                  <a:lnTo>
                    <a:pt x="107961" y="116748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04" name="Forma Livre: Forma 203">
              <a:extLst>
                <a:ext uri="{FF2B5EF4-FFF2-40B4-BE49-F238E27FC236}">
                  <a16:creationId xmlns:a16="http://schemas.microsoft.com/office/drawing/2014/main" id="{91D92237-55A9-420D-B1DE-9B3416B9D4B2}"/>
                </a:ext>
              </a:extLst>
            </p:cNvPr>
            <p:cNvSpPr/>
            <p:nvPr/>
          </p:nvSpPr>
          <p:spPr>
            <a:xfrm>
              <a:off x="7563872" y="592477"/>
              <a:ext cx="233496" cy="233496"/>
            </a:xfrm>
            <a:custGeom>
              <a:avLst/>
              <a:gdLst>
                <a:gd name="connsiteX0" fmla="*/ 116748 w 233496"/>
                <a:gd name="connsiteY0" fmla="*/ 233496 h 233496"/>
                <a:gd name="connsiteX1" fmla="*/ 0 w 233496"/>
                <a:gd name="connsiteY1" fmla="*/ 116748 h 233496"/>
                <a:gd name="connsiteX2" fmla="*/ 116748 w 233496"/>
                <a:gd name="connsiteY2" fmla="*/ 0 h 233496"/>
                <a:gd name="connsiteX3" fmla="*/ 233496 w 233496"/>
                <a:gd name="connsiteY3" fmla="*/ 116748 h 233496"/>
                <a:gd name="connsiteX4" fmla="*/ 116748 w 233496"/>
                <a:gd name="connsiteY4" fmla="*/ 233496 h 233496"/>
                <a:gd name="connsiteX5" fmla="*/ 116748 w 233496"/>
                <a:gd name="connsiteY5" fmla="*/ 233496 h 233496"/>
                <a:gd name="connsiteX6" fmla="*/ 116748 w 233496"/>
                <a:gd name="connsiteY6" fmla="*/ 33895 h 233496"/>
                <a:gd name="connsiteX7" fmla="*/ 33267 w 233496"/>
                <a:gd name="connsiteY7" fmla="*/ 117376 h 233496"/>
                <a:gd name="connsiteX8" fmla="*/ 116748 w 233496"/>
                <a:gd name="connsiteY8" fmla="*/ 200857 h 233496"/>
                <a:gd name="connsiteX9" fmla="*/ 200230 w 233496"/>
                <a:gd name="connsiteY9" fmla="*/ 117376 h 233496"/>
                <a:gd name="connsiteX10" fmla="*/ 116748 w 233496"/>
                <a:gd name="connsiteY10" fmla="*/ 33895 h 233496"/>
                <a:gd name="connsiteX11" fmla="*/ 116748 w 233496"/>
                <a:gd name="connsiteY11" fmla="*/ 33895 h 233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3496" h="233496">
                  <a:moveTo>
                    <a:pt x="116748" y="233496"/>
                  </a:moveTo>
                  <a:cubicBezTo>
                    <a:pt x="52725" y="233496"/>
                    <a:pt x="0" y="181399"/>
                    <a:pt x="0" y="116748"/>
                  </a:cubicBezTo>
                  <a:cubicBezTo>
                    <a:pt x="0" y="52725"/>
                    <a:pt x="52097" y="0"/>
                    <a:pt x="116748" y="0"/>
                  </a:cubicBezTo>
                  <a:cubicBezTo>
                    <a:pt x="181399" y="0"/>
                    <a:pt x="233496" y="52097"/>
                    <a:pt x="233496" y="116748"/>
                  </a:cubicBezTo>
                  <a:cubicBezTo>
                    <a:pt x="233496" y="181399"/>
                    <a:pt x="181399" y="233496"/>
                    <a:pt x="116748" y="233496"/>
                  </a:cubicBezTo>
                  <a:lnTo>
                    <a:pt x="116748" y="233496"/>
                  </a:lnTo>
                  <a:close/>
                  <a:moveTo>
                    <a:pt x="116748" y="33895"/>
                  </a:moveTo>
                  <a:cubicBezTo>
                    <a:pt x="70928" y="33895"/>
                    <a:pt x="33267" y="71555"/>
                    <a:pt x="33267" y="117376"/>
                  </a:cubicBezTo>
                  <a:cubicBezTo>
                    <a:pt x="33267" y="163196"/>
                    <a:pt x="70928" y="200857"/>
                    <a:pt x="116748" y="200857"/>
                  </a:cubicBezTo>
                  <a:cubicBezTo>
                    <a:pt x="162569" y="200857"/>
                    <a:pt x="200230" y="163824"/>
                    <a:pt x="200230" y="117376"/>
                  </a:cubicBezTo>
                  <a:cubicBezTo>
                    <a:pt x="200230" y="70928"/>
                    <a:pt x="162569" y="33895"/>
                    <a:pt x="116748" y="33895"/>
                  </a:cubicBezTo>
                  <a:lnTo>
                    <a:pt x="116748" y="33895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05" name="Forma Livre: Forma 204">
              <a:extLst>
                <a:ext uri="{FF2B5EF4-FFF2-40B4-BE49-F238E27FC236}">
                  <a16:creationId xmlns:a16="http://schemas.microsoft.com/office/drawing/2014/main" id="{4ED64CD3-164B-4295-8BD9-98DB3879140D}"/>
                </a:ext>
              </a:extLst>
            </p:cNvPr>
            <p:cNvSpPr/>
            <p:nvPr/>
          </p:nvSpPr>
          <p:spPr>
            <a:xfrm>
              <a:off x="7734287" y="767285"/>
              <a:ext cx="95406" cy="95720"/>
            </a:xfrm>
            <a:custGeom>
              <a:avLst/>
              <a:gdLst>
                <a:gd name="connsiteX0" fmla="*/ 78773 w 95406"/>
                <a:gd name="connsiteY0" fmla="*/ 95721 h 95720"/>
                <a:gd name="connsiteX1" fmla="*/ 66847 w 95406"/>
                <a:gd name="connsiteY1" fmla="*/ 90700 h 95720"/>
                <a:gd name="connsiteX2" fmla="*/ 4708 w 95406"/>
                <a:gd name="connsiteY2" fmla="*/ 28559 h 95720"/>
                <a:gd name="connsiteX3" fmla="*/ 4708 w 95406"/>
                <a:gd name="connsiteY3" fmla="*/ 4708 h 95720"/>
                <a:gd name="connsiteX4" fmla="*/ 28559 w 95406"/>
                <a:gd name="connsiteY4" fmla="*/ 4708 h 95720"/>
                <a:gd name="connsiteX5" fmla="*/ 90699 w 95406"/>
                <a:gd name="connsiteY5" fmla="*/ 66848 h 95720"/>
                <a:gd name="connsiteX6" fmla="*/ 90699 w 95406"/>
                <a:gd name="connsiteY6" fmla="*/ 90700 h 95720"/>
                <a:gd name="connsiteX7" fmla="*/ 78773 w 95406"/>
                <a:gd name="connsiteY7" fmla="*/ 95721 h 95720"/>
                <a:gd name="connsiteX8" fmla="*/ 78773 w 95406"/>
                <a:gd name="connsiteY8" fmla="*/ 95721 h 95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5406" h="95720">
                  <a:moveTo>
                    <a:pt x="78773" y="95721"/>
                  </a:moveTo>
                  <a:cubicBezTo>
                    <a:pt x="74380" y="95721"/>
                    <a:pt x="69986" y="93838"/>
                    <a:pt x="66847" y="90700"/>
                  </a:cubicBezTo>
                  <a:lnTo>
                    <a:pt x="4708" y="28559"/>
                  </a:lnTo>
                  <a:cubicBezTo>
                    <a:pt x="-1569" y="22283"/>
                    <a:pt x="-1569" y="11612"/>
                    <a:pt x="4708" y="4708"/>
                  </a:cubicBezTo>
                  <a:cubicBezTo>
                    <a:pt x="10984" y="-1569"/>
                    <a:pt x="21655" y="-1569"/>
                    <a:pt x="28559" y="4708"/>
                  </a:cubicBezTo>
                  <a:lnTo>
                    <a:pt x="90699" y="66848"/>
                  </a:lnTo>
                  <a:cubicBezTo>
                    <a:pt x="96976" y="73125"/>
                    <a:pt x="96976" y="83795"/>
                    <a:pt x="90699" y="90700"/>
                  </a:cubicBezTo>
                  <a:cubicBezTo>
                    <a:pt x="87561" y="93838"/>
                    <a:pt x="83167" y="95721"/>
                    <a:pt x="78773" y="95721"/>
                  </a:cubicBezTo>
                  <a:lnTo>
                    <a:pt x="78773" y="95721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06" name="Forma Livre: Forma 205">
              <a:extLst>
                <a:ext uri="{FF2B5EF4-FFF2-40B4-BE49-F238E27FC236}">
                  <a16:creationId xmlns:a16="http://schemas.microsoft.com/office/drawing/2014/main" id="{F1D07DDF-C033-4819-A4B7-209A79A5153A}"/>
                </a:ext>
              </a:extLst>
            </p:cNvPr>
            <p:cNvSpPr/>
            <p:nvPr/>
          </p:nvSpPr>
          <p:spPr>
            <a:xfrm>
              <a:off x="7435825" y="526570"/>
              <a:ext cx="306307" cy="376607"/>
            </a:xfrm>
            <a:custGeom>
              <a:avLst/>
              <a:gdLst>
                <a:gd name="connsiteX0" fmla="*/ 289987 w 306307"/>
                <a:gd name="connsiteY0" fmla="*/ 376607 h 376607"/>
                <a:gd name="connsiteX1" fmla="*/ 117376 w 306307"/>
                <a:gd name="connsiteY1" fmla="*/ 376607 h 376607"/>
                <a:gd name="connsiteX2" fmla="*/ 105450 w 306307"/>
                <a:gd name="connsiteY2" fmla="*/ 371586 h 376607"/>
                <a:gd name="connsiteX3" fmla="*/ 5021 w 306307"/>
                <a:gd name="connsiteY3" fmla="*/ 271157 h 376607"/>
                <a:gd name="connsiteX4" fmla="*/ 0 w 306307"/>
                <a:gd name="connsiteY4" fmla="*/ 259231 h 376607"/>
                <a:gd name="connsiteX5" fmla="*/ 0 w 306307"/>
                <a:gd name="connsiteY5" fmla="*/ 16947 h 376607"/>
                <a:gd name="connsiteX6" fmla="*/ 16947 w 306307"/>
                <a:gd name="connsiteY6" fmla="*/ 0 h 376607"/>
                <a:gd name="connsiteX7" fmla="*/ 289360 w 306307"/>
                <a:gd name="connsiteY7" fmla="*/ 0 h 376607"/>
                <a:gd name="connsiteX8" fmla="*/ 306308 w 306307"/>
                <a:gd name="connsiteY8" fmla="*/ 16947 h 376607"/>
                <a:gd name="connsiteX9" fmla="*/ 306308 w 306307"/>
                <a:gd name="connsiteY9" fmla="*/ 93524 h 376607"/>
                <a:gd name="connsiteX10" fmla="*/ 289360 w 306307"/>
                <a:gd name="connsiteY10" fmla="*/ 110471 h 376607"/>
                <a:gd name="connsiteX11" fmla="*/ 272413 w 306307"/>
                <a:gd name="connsiteY11" fmla="*/ 93524 h 376607"/>
                <a:gd name="connsiteX12" fmla="*/ 272413 w 306307"/>
                <a:gd name="connsiteY12" fmla="*/ 33895 h 376607"/>
                <a:gd name="connsiteX13" fmla="*/ 33267 w 306307"/>
                <a:gd name="connsiteY13" fmla="*/ 33895 h 376607"/>
                <a:gd name="connsiteX14" fmla="*/ 33267 w 306307"/>
                <a:gd name="connsiteY14" fmla="*/ 252954 h 376607"/>
                <a:gd name="connsiteX15" fmla="*/ 123653 w 306307"/>
                <a:gd name="connsiteY15" fmla="*/ 343340 h 376607"/>
                <a:gd name="connsiteX16" fmla="*/ 272413 w 306307"/>
                <a:gd name="connsiteY16" fmla="*/ 343340 h 376607"/>
                <a:gd name="connsiteX17" fmla="*/ 272413 w 306307"/>
                <a:gd name="connsiteY17" fmla="*/ 272413 h 376607"/>
                <a:gd name="connsiteX18" fmla="*/ 289360 w 306307"/>
                <a:gd name="connsiteY18" fmla="*/ 255465 h 376607"/>
                <a:gd name="connsiteX19" fmla="*/ 306308 w 306307"/>
                <a:gd name="connsiteY19" fmla="*/ 272413 h 376607"/>
                <a:gd name="connsiteX20" fmla="*/ 306308 w 306307"/>
                <a:gd name="connsiteY20" fmla="*/ 360288 h 376607"/>
                <a:gd name="connsiteX21" fmla="*/ 289987 w 306307"/>
                <a:gd name="connsiteY21" fmla="*/ 376607 h 376607"/>
                <a:gd name="connsiteX22" fmla="*/ 289987 w 306307"/>
                <a:gd name="connsiteY22" fmla="*/ 376607 h 376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06307" h="376607">
                  <a:moveTo>
                    <a:pt x="289987" y="376607"/>
                  </a:moveTo>
                  <a:lnTo>
                    <a:pt x="117376" y="376607"/>
                  </a:lnTo>
                  <a:cubicBezTo>
                    <a:pt x="112982" y="376607"/>
                    <a:pt x="108588" y="374724"/>
                    <a:pt x="105450" y="371586"/>
                  </a:cubicBezTo>
                  <a:lnTo>
                    <a:pt x="5021" y="271157"/>
                  </a:lnTo>
                  <a:cubicBezTo>
                    <a:pt x="1883" y="268019"/>
                    <a:pt x="0" y="263625"/>
                    <a:pt x="0" y="259231"/>
                  </a:cubicBezTo>
                  <a:lnTo>
                    <a:pt x="0" y="16947"/>
                  </a:lnTo>
                  <a:cubicBezTo>
                    <a:pt x="0" y="7532"/>
                    <a:pt x="7532" y="0"/>
                    <a:pt x="16947" y="0"/>
                  </a:cubicBezTo>
                  <a:lnTo>
                    <a:pt x="289360" y="0"/>
                  </a:lnTo>
                  <a:cubicBezTo>
                    <a:pt x="298775" y="0"/>
                    <a:pt x="306308" y="7532"/>
                    <a:pt x="306308" y="16947"/>
                  </a:cubicBezTo>
                  <a:lnTo>
                    <a:pt x="306308" y="93524"/>
                  </a:lnTo>
                  <a:cubicBezTo>
                    <a:pt x="306308" y="102939"/>
                    <a:pt x="298775" y="110471"/>
                    <a:pt x="289360" y="110471"/>
                  </a:cubicBezTo>
                  <a:cubicBezTo>
                    <a:pt x="279945" y="110471"/>
                    <a:pt x="272413" y="102939"/>
                    <a:pt x="272413" y="93524"/>
                  </a:cubicBezTo>
                  <a:lnTo>
                    <a:pt x="272413" y="33895"/>
                  </a:lnTo>
                  <a:lnTo>
                    <a:pt x="33267" y="33895"/>
                  </a:lnTo>
                  <a:lnTo>
                    <a:pt x="33267" y="252954"/>
                  </a:lnTo>
                  <a:lnTo>
                    <a:pt x="123653" y="343340"/>
                  </a:lnTo>
                  <a:lnTo>
                    <a:pt x="272413" y="343340"/>
                  </a:lnTo>
                  <a:lnTo>
                    <a:pt x="272413" y="272413"/>
                  </a:lnTo>
                  <a:cubicBezTo>
                    <a:pt x="272413" y="262997"/>
                    <a:pt x="279945" y="255465"/>
                    <a:pt x="289360" y="255465"/>
                  </a:cubicBezTo>
                  <a:cubicBezTo>
                    <a:pt x="298775" y="255465"/>
                    <a:pt x="306308" y="262997"/>
                    <a:pt x="306308" y="272413"/>
                  </a:cubicBezTo>
                  <a:lnTo>
                    <a:pt x="306308" y="360288"/>
                  </a:lnTo>
                  <a:cubicBezTo>
                    <a:pt x="306308" y="369075"/>
                    <a:pt x="298775" y="376607"/>
                    <a:pt x="289987" y="376607"/>
                  </a:cubicBezTo>
                  <a:lnTo>
                    <a:pt x="289987" y="376607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07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6423379" y="5722494"/>
            <a:ext cx="370957" cy="316977"/>
            <a:chOff x="6423379" y="5722494"/>
            <a:chExt cx="370957" cy="316977"/>
          </a:xfrm>
          <a:solidFill>
            <a:srgbClr val="B1B1A1"/>
          </a:solidFill>
        </p:grpSpPr>
        <p:sp>
          <p:nvSpPr>
            <p:cNvPr id="208" name="Forma Livre: Forma 207">
              <a:extLst>
                <a:ext uri="{FF2B5EF4-FFF2-40B4-BE49-F238E27FC236}">
                  <a16:creationId xmlns:a16="http://schemas.microsoft.com/office/drawing/2014/main" id="{3F9400D6-07DD-4196-B9F1-6F43A3DFEA33}"/>
                </a:ext>
              </a:extLst>
            </p:cNvPr>
            <p:cNvSpPr/>
            <p:nvPr/>
          </p:nvSpPr>
          <p:spPr>
            <a:xfrm>
              <a:off x="6423379" y="5722494"/>
              <a:ext cx="370957" cy="316977"/>
            </a:xfrm>
            <a:custGeom>
              <a:avLst/>
              <a:gdLst>
                <a:gd name="connsiteX0" fmla="*/ 87875 w 370957"/>
                <a:gd name="connsiteY0" fmla="*/ 316978 h 316977"/>
                <a:gd name="connsiteX1" fmla="*/ 80343 w 370957"/>
                <a:gd name="connsiteY1" fmla="*/ 315095 h 316977"/>
                <a:gd name="connsiteX2" fmla="*/ 70928 w 370957"/>
                <a:gd name="connsiteY2" fmla="*/ 300030 h 316977"/>
                <a:gd name="connsiteX3" fmla="*/ 70928 w 370957"/>
                <a:gd name="connsiteY3" fmla="*/ 254210 h 316977"/>
                <a:gd name="connsiteX4" fmla="*/ 33267 w 370957"/>
                <a:gd name="connsiteY4" fmla="*/ 254210 h 316977"/>
                <a:gd name="connsiteX5" fmla="*/ 0 w 370957"/>
                <a:gd name="connsiteY5" fmla="*/ 220943 h 316977"/>
                <a:gd name="connsiteX6" fmla="*/ 0 w 370957"/>
                <a:gd name="connsiteY6" fmla="*/ 33267 h 316977"/>
                <a:gd name="connsiteX7" fmla="*/ 33267 w 370957"/>
                <a:gd name="connsiteY7" fmla="*/ 0 h 316977"/>
                <a:gd name="connsiteX8" fmla="*/ 337691 w 370957"/>
                <a:gd name="connsiteY8" fmla="*/ 0 h 316977"/>
                <a:gd name="connsiteX9" fmla="*/ 370958 w 370957"/>
                <a:gd name="connsiteY9" fmla="*/ 33267 h 316977"/>
                <a:gd name="connsiteX10" fmla="*/ 370958 w 370957"/>
                <a:gd name="connsiteY10" fmla="*/ 220943 h 316977"/>
                <a:gd name="connsiteX11" fmla="*/ 337691 w 370957"/>
                <a:gd name="connsiteY11" fmla="*/ 254210 h 316977"/>
                <a:gd name="connsiteX12" fmla="*/ 172612 w 370957"/>
                <a:gd name="connsiteY12" fmla="*/ 254210 h 316977"/>
                <a:gd name="connsiteX13" fmla="*/ 97918 w 370957"/>
                <a:gd name="connsiteY13" fmla="*/ 313212 h 316977"/>
                <a:gd name="connsiteX14" fmla="*/ 87875 w 370957"/>
                <a:gd name="connsiteY14" fmla="*/ 316978 h 316977"/>
                <a:gd name="connsiteX15" fmla="*/ 87875 w 370957"/>
                <a:gd name="connsiteY15" fmla="*/ 316978 h 316977"/>
                <a:gd name="connsiteX16" fmla="*/ 33267 w 370957"/>
                <a:gd name="connsiteY16" fmla="*/ 33267 h 316977"/>
                <a:gd name="connsiteX17" fmla="*/ 33267 w 370957"/>
                <a:gd name="connsiteY17" fmla="*/ 220943 h 316977"/>
                <a:gd name="connsiteX18" fmla="*/ 87875 w 370957"/>
                <a:gd name="connsiteY18" fmla="*/ 220943 h 316977"/>
                <a:gd name="connsiteX19" fmla="*/ 104822 w 370957"/>
                <a:gd name="connsiteY19" fmla="*/ 237890 h 316977"/>
                <a:gd name="connsiteX20" fmla="*/ 104822 w 370957"/>
                <a:gd name="connsiteY20" fmla="*/ 266136 h 316977"/>
                <a:gd name="connsiteX21" fmla="*/ 156920 w 370957"/>
                <a:gd name="connsiteY21" fmla="*/ 224709 h 316977"/>
                <a:gd name="connsiteX22" fmla="*/ 167590 w 370957"/>
                <a:gd name="connsiteY22" fmla="*/ 220943 h 316977"/>
                <a:gd name="connsiteX23" fmla="*/ 338946 w 370957"/>
                <a:gd name="connsiteY23" fmla="*/ 220943 h 316977"/>
                <a:gd name="connsiteX24" fmla="*/ 338946 w 370957"/>
                <a:gd name="connsiteY24" fmla="*/ 33267 h 316977"/>
                <a:gd name="connsiteX25" fmla="*/ 33267 w 370957"/>
                <a:gd name="connsiteY25" fmla="*/ 33267 h 316977"/>
                <a:gd name="connsiteX26" fmla="*/ 33267 w 370957"/>
                <a:gd name="connsiteY26" fmla="*/ 33267 h 316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70957" h="316977">
                  <a:moveTo>
                    <a:pt x="87875" y="316978"/>
                  </a:moveTo>
                  <a:cubicBezTo>
                    <a:pt x="85364" y="316978"/>
                    <a:pt x="82854" y="316350"/>
                    <a:pt x="80343" y="315095"/>
                  </a:cubicBezTo>
                  <a:cubicBezTo>
                    <a:pt x="74694" y="312584"/>
                    <a:pt x="70928" y="306307"/>
                    <a:pt x="70928" y="300030"/>
                  </a:cubicBezTo>
                  <a:lnTo>
                    <a:pt x="70928" y="254210"/>
                  </a:lnTo>
                  <a:lnTo>
                    <a:pt x="33267" y="254210"/>
                  </a:lnTo>
                  <a:cubicBezTo>
                    <a:pt x="15064" y="254210"/>
                    <a:pt x="0" y="239145"/>
                    <a:pt x="0" y="220943"/>
                  </a:cubicBezTo>
                  <a:lnTo>
                    <a:pt x="0" y="33267"/>
                  </a:lnTo>
                  <a:cubicBezTo>
                    <a:pt x="0" y="15064"/>
                    <a:pt x="15064" y="0"/>
                    <a:pt x="33267" y="0"/>
                  </a:cubicBezTo>
                  <a:lnTo>
                    <a:pt x="337691" y="0"/>
                  </a:lnTo>
                  <a:cubicBezTo>
                    <a:pt x="355894" y="0"/>
                    <a:pt x="370958" y="15064"/>
                    <a:pt x="370958" y="33267"/>
                  </a:cubicBezTo>
                  <a:lnTo>
                    <a:pt x="370958" y="220943"/>
                  </a:lnTo>
                  <a:cubicBezTo>
                    <a:pt x="370958" y="239145"/>
                    <a:pt x="355894" y="254210"/>
                    <a:pt x="337691" y="254210"/>
                  </a:cubicBezTo>
                  <a:lnTo>
                    <a:pt x="172612" y="254210"/>
                  </a:lnTo>
                  <a:lnTo>
                    <a:pt x="97918" y="313212"/>
                  </a:lnTo>
                  <a:cubicBezTo>
                    <a:pt x="95407" y="316350"/>
                    <a:pt x="91641" y="316978"/>
                    <a:pt x="87875" y="316978"/>
                  </a:cubicBezTo>
                  <a:lnTo>
                    <a:pt x="87875" y="316978"/>
                  </a:lnTo>
                  <a:close/>
                  <a:moveTo>
                    <a:pt x="33267" y="33267"/>
                  </a:moveTo>
                  <a:lnTo>
                    <a:pt x="33267" y="220943"/>
                  </a:lnTo>
                  <a:lnTo>
                    <a:pt x="87875" y="220943"/>
                  </a:lnTo>
                  <a:cubicBezTo>
                    <a:pt x="97290" y="220943"/>
                    <a:pt x="104822" y="228475"/>
                    <a:pt x="104822" y="237890"/>
                  </a:cubicBezTo>
                  <a:lnTo>
                    <a:pt x="104822" y="266136"/>
                  </a:lnTo>
                  <a:lnTo>
                    <a:pt x="156920" y="224709"/>
                  </a:lnTo>
                  <a:cubicBezTo>
                    <a:pt x="160058" y="222198"/>
                    <a:pt x="163824" y="220943"/>
                    <a:pt x="167590" y="220943"/>
                  </a:cubicBezTo>
                  <a:lnTo>
                    <a:pt x="338946" y="220943"/>
                  </a:lnTo>
                  <a:lnTo>
                    <a:pt x="338946" y="33267"/>
                  </a:lnTo>
                  <a:lnTo>
                    <a:pt x="33267" y="33267"/>
                  </a:lnTo>
                  <a:lnTo>
                    <a:pt x="33267" y="33267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209" name="Gráfico 2">
              <a:extLst>
                <a:ext uri="{FF2B5EF4-FFF2-40B4-BE49-F238E27FC236}">
                  <a16:creationId xmlns:a16="http://schemas.microsoft.com/office/drawing/2014/main" id="{83F95F55-5D1D-4425-8D77-756B15108235}"/>
                </a:ext>
              </a:extLst>
            </p:cNvPr>
            <p:cNvGrpSpPr/>
            <p:nvPr/>
          </p:nvGrpSpPr>
          <p:grpSpPr>
            <a:xfrm>
              <a:off x="6481126" y="5792794"/>
              <a:ext cx="263625" cy="114237"/>
              <a:chOff x="6481126" y="5792794"/>
              <a:chExt cx="263625" cy="114237"/>
            </a:xfrm>
            <a:grpFill/>
          </p:grpSpPr>
          <p:sp>
            <p:nvSpPr>
              <p:cNvPr id="210" name="Forma Livre: Forma 209">
                <a:extLst>
                  <a:ext uri="{FF2B5EF4-FFF2-40B4-BE49-F238E27FC236}">
                    <a16:creationId xmlns:a16="http://schemas.microsoft.com/office/drawing/2014/main" id="{A8CD5FA1-8E19-4713-A230-B74FC08EE4F4}"/>
                  </a:ext>
                </a:extLst>
              </p:cNvPr>
              <p:cNvSpPr/>
              <p:nvPr/>
            </p:nvSpPr>
            <p:spPr>
              <a:xfrm>
                <a:off x="6481126" y="5794677"/>
                <a:ext cx="70927" cy="104194"/>
              </a:xfrm>
              <a:custGeom>
                <a:avLst/>
                <a:gdLst>
                  <a:gd name="connsiteX0" fmla="*/ 62140 w 70927"/>
                  <a:gd name="connsiteY0" fmla="*/ 16947 h 104194"/>
                  <a:gd name="connsiteX1" fmla="*/ 21341 w 70927"/>
                  <a:gd name="connsiteY1" fmla="*/ 16947 h 104194"/>
                  <a:gd name="connsiteX2" fmla="*/ 21341 w 70927"/>
                  <a:gd name="connsiteY2" fmla="*/ 43310 h 104194"/>
                  <a:gd name="connsiteX3" fmla="*/ 55236 w 70927"/>
                  <a:gd name="connsiteY3" fmla="*/ 43310 h 104194"/>
                  <a:gd name="connsiteX4" fmla="*/ 62140 w 70927"/>
                  <a:gd name="connsiteY4" fmla="*/ 45193 h 104194"/>
                  <a:gd name="connsiteX5" fmla="*/ 64651 w 70927"/>
                  <a:gd name="connsiteY5" fmla="*/ 50842 h 104194"/>
                  <a:gd name="connsiteX6" fmla="*/ 62140 w 70927"/>
                  <a:gd name="connsiteY6" fmla="*/ 56491 h 104194"/>
                  <a:gd name="connsiteX7" fmla="*/ 55236 w 70927"/>
                  <a:gd name="connsiteY7" fmla="*/ 58374 h 104194"/>
                  <a:gd name="connsiteX8" fmla="*/ 21341 w 70927"/>
                  <a:gd name="connsiteY8" fmla="*/ 58374 h 104194"/>
                  <a:gd name="connsiteX9" fmla="*/ 21341 w 70927"/>
                  <a:gd name="connsiteY9" fmla="*/ 91641 h 104194"/>
                  <a:gd name="connsiteX10" fmla="*/ 18202 w 70927"/>
                  <a:gd name="connsiteY10" fmla="*/ 101056 h 104194"/>
                  <a:gd name="connsiteX11" fmla="*/ 10670 w 70927"/>
                  <a:gd name="connsiteY11" fmla="*/ 104195 h 104194"/>
                  <a:gd name="connsiteX12" fmla="*/ 3138 w 70927"/>
                  <a:gd name="connsiteY12" fmla="*/ 101056 h 104194"/>
                  <a:gd name="connsiteX13" fmla="*/ 0 w 70927"/>
                  <a:gd name="connsiteY13" fmla="*/ 91641 h 104194"/>
                  <a:gd name="connsiteX14" fmla="*/ 0 w 70927"/>
                  <a:gd name="connsiteY14" fmla="*/ 13181 h 104194"/>
                  <a:gd name="connsiteX15" fmla="*/ 1255 w 70927"/>
                  <a:gd name="connsiteY15" fmla="*/ 5649 h 104194"/>
                  <a:gd name="connsiteX16" fmla="*/ 5649 w 70927"/>
                  <a:gd name="connsiteY16" fmla="*/ 1255 h 104194"/>
                  <a:gd name="connsiteX17" fmla="*/ 12554 w 70927"/>
                  <a:gd name="connsiteY17" fmla="*/ 0 h 104194"/>
                  <a:gd name="connsiteX18" fmla="*/ 60885 w 70927"/>
                  <a:gd name="connsiteY18" fmla="*/ 0 h 104194"/>
                  <a:gd name="connsiteX19" fmla="*/ 68417 w 70927"/>
                  <a:gd name="connsiteY19" fmla="*/ 1883 h 104194"/>
                  <a:gd name="connsiteX20" fmla="*/ 70928 w 70927"/>
                  <a:gd name="connsiteY20" fmla="*/ 7532 h 104194"/>
                  <a:gd name="connsiteX21" fmla="*/ 68417 w 70927"/>
                  <a:gd name="connsiteY21" fmla="*/ 13181 h 104194"/>
                  <a:gd name="connsiteX22" fmla="*/ 62140 w 70927"/>
                  <a:gd name="connsiteY22" fmla="*/ 16947 h 104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70927" h="104194">
                    <a:moveTo>
                      <a:pt x="62140" y="16947"/>
                    </a:moveTo>
                    <a:lnTo>
                      <a:pt x="21341" y="16947"/>
                    </a:lnTo>
                    <a:lnTo>
                      <a:pt x="21341" y="43310"/>
                    </a:lnTo>
                    <a:lnTo>
                      <a:pt x="55236" y="43310"/>
                    </a:lnTo>
                    <a:cubicBezTo>
                      <a:pt x="58374" y="43310"/>
                      <a:pt x="60885" y="43938"/>
                      <a:pt x="62140" y="45193"/>
                    </a:cubicBezTo>
                    <a:cubicBezTo>
                      <a:pt x="63395" y="46448"/>
                      <a:pt x="64651" y="48331"/>
                      <a:pt x="64651" y="50842"/>
                    </a:cubicBezTo>
                    <a:cubicBezTo>
                      <a:pt x="64651" y="53353"/>
                      <a:pt x="64023" y="55236"/>
                      <a:pt x="62140" y="56491"/>
                    </a:cubicBezTo>
                    <a:cubicBezTo>
                      <a:pt x="60257" y="57747"/>
                      <a:pt x="58374" y="58374"/>
                      <a:pt x="55236" y="58374"/>
                    </a:cubicBezTo>
                    <a:lnTo>
                      <a:pt x="21341" y="58374"/>
                    </a:lnTo>
                    <a:lnTo>
                      <a:pt x="21341" y="91641"/>
                    </a:lnTo>
                    <a:cubicBezTo>
                      <a:pt x="21341" y="96035"/>
                      <a:pt x="20085" y="99173"/>
                      <a:pt x="18202" y="101056"/>
                    </a:cubicBezTo>
                    <a:cubicBezTo>
                      <a:pt x="16319" y="102939"/>
                      <a:pt x="13809" y="104195"/>
                      <a:pt x="10670" y="104195"/>
                    </a:cubicBezTo>
                    <a:cubicBezTo>
                      <a:pt x="7532" y="104195"/>
                      <a:pt x="5021" y="102939"/>
                      <a:pt x="3138" y="101056"/>
                    </a:cubicBezTo>
                    <a:cubicBezTo>
                      <a:pt x="1255" y="99173"/>
                      <a:pt x="0" y="96035"/>
                      <a:pt x="0" y="91641"/>
                    </a:cubicBezTo>
                    <a:lnTo>
                      <a:pt x="0" y="13181"/>
                    </a:lnTo>
                    <a:cubicBezTo>
                      <a:pt x="0" y="10043"/>
                      <a:pt x="628" y="7532"/>
                      <a:pt x="1255" y="5649"/>
                    </a:cubicBezTo>
                    <a:cubicBezTo>
                      <a:pt x="1883" y="3766"/>
                      <a:pt x="3766" y="2511"/>
                      <a:pt x="5649" y="1255"/>
                    </a:cubicBezTo>
                    <a:cubicBezTo>
                      <a:pt x="7532" y="628"/>
                      <a:pt x="10043" y="0"/>
                      <a:pt x="12554" y="0"/>
                    </a:cubicBezTo>
                    <a:lnTo>
                      <a:pt x="60885" y="0"/>
                    </a:lnTo>
                    <a:cubicBezTo>
                      <a:pt x="64023" y="0"/>
                      <a:pt x="66534" y="628"/>
                      <a:pt x="68417" y="1883"/>
                    </a:cubicBezTo>
                    <a:cubicBezTo>
                      <a:pt x="70300" y="3138"/>
                      <a:pt x="70928" y="5021"/>
                      <a:pt x="70928" y="7532"/>
                    </a:cubicBezTo>
                    <a:cubicBezTo>
                      <a:pt x="70928" y="10043"/>
                      <a:pt x="70300" y="11926"/>
                      <a:pt x="68417" y="13181"/>
                    </a:cubicBezTo>
                    <a:cubicBezTo>
                      <a:pt x="67789" y="16319"/>
                      <a:pt x="65278" y="16947"/>
                      <a:pt x="62140" y="16947"/>
                    </a:cubicBez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11" name="Forma Livre: Forma 210">
                <a:extLst>
                  <a:ext uri="{FF2B5EF4-FFF2-40B4-BE49-F238E27FC236}">
                    <a16:creationId xmlns:a16="http://schemas.microsoft.com/office/drawing/2014/main" id="{8CE607D9-AB2E-4F02-B961-9A39B68D9636}"/>
                  </a:ext>
                </a:extLst>
              </p:cNvPr>
              <p:cNvSpPr/>
              <p:nvPr/>
            </p:nvSpPr>
            <p:spPr>
              <a:xfrm>
                <a:off x="6542638" y="5792794"/>
                <a:ext cx="93523" cy="106077"/>
              </a:xfrm>
              <a:custGeom>
                <a:avLst/>
                <a:gdLst>
                  <a:gd name="connsiteX0" fmla="*/ 72811 w 93523"/>
                  <a:gd name="connsiteY0" fmla="*/ 92896 h 106077"/>
                  <a:gd name="connsiteX1" fmla="*/ 67789 w 93523"/>
                  <a:gd name="connsiteY1" fmla="*/ 80343 h 106077"/>
                  <a:gd name="connsiteX2" fmla="*/ 26363 w 93523"/>
                  <a:gd name="connsiteY2" fmla="*/ 80343 h 106077"/>
                  <a:gd name="connsiteX3" fmla="*/ 21341 w 93523"/>
                  <a:gd name="connsiteY3" fmla="*/ 93524 h 106077"/>
                  <a:gd name="connsiteX4" fmla="*/ 16319 w 93523"/>
                  <a:gd name="connsiteY4" fmla="*/ 103567 h 106077"/>
                  <a:gd name="connsiteX5" fmla="*/ 10043 w 93523"/>
                  <a:gd name="connsiteY5" fmla="*/ 106077 h 106077"/>
                  <a:gd name="connsiteX6" fmla="*/ 3138 w 93523"/>
                  <a:gd name="connsiteY6" fmla="*/ 102939 h 106077"/>
                  <a:gd name="connsiteX7" fmla="*/ 0 w 93523"/>
                  <a:gd name="connsiteY7" fmla="*/ 96662 h 106077"/>
                  <a:gd name="connsiteX8" fmla="*/ 628 w 93523"/>
                  <a:gd name="connsiteY8" fmla="*/ 92269 h 106077"/>
                  <a:gd name="connsiteX9" fmla="*/ 3138 w 93523"/>
                  <a:gd name="connsiteY9" fmla="*/ 85992 h 106077"/>
                  <a:gd name="connsiteX10" fmla="*/ 29501 w 93523"/>
                  <a:gd name="connsiteY10" fmla="*/ 20086 h 106077"/>
                  <a:gd name="connsiteX11" fmla="*/ 32011 w 93523"/>
                  <a:gd name="connsiteY11" fmla="*/ 13181 h 106077"/>
                  <a:gd name="connsiteX12" fmla="*/ 35150 w 93523"/>
                  <a:gd name="connsiteY12" fmla="*/ 6277 h 106077"/>
                  <a:gd name="connsiteX13" fmla="*/ 39544 w 93523"/>
                  <a:gd name="connsiteY13" fmla="*/ 1883 h 106077"/>
                  <a:gd name="connsiteX14" fmla="*/ 46448 w 93523"/>
                  <a:gd name="connsiteY14" fmla="*/ 0 h 106077"/>
                  <a:gd name="connsiteX15" fmla="*/ 53353 w 93523"/>
                  <a:gd name="connsiteY15" fmla="*/ 1883 h 106077"/>
                  <a:gd name="connsiteX16" fmla="*/ 57747 w 93523"/>
                  <a:gd name="connsiteY16" fmla="*/ 6277 h 106077"/>
                  <a:gd name="connsiteX17" fmla="*/ 60885 w 93523"/>
                  <a:gd name="connsiteY17" fmla="*/ 11926 h 106077"/>
                  <a:gd name="connsiteX18" fmla="*/ 64023 w 93523"/>
                  <a:gd name="connsiteY18" fmla="*/ 20086 h 106077"/>
                  <a:gd name="connsiteX19" fmla="*/ 90386 w 93523"/>
                  <a:gd name="connsiteY19" fmla="*/ 85992 h 106077"/>
                  <a:gd name="connsiteX20" fmla="*/ 93524 w 93523"/>
                  <a:gd name="connsiteY20" fmla="*/ 96662 h 106077"/>
                  <a:gd name="connsiteX21" fmla="*/ 90386 w 93523"/>
                  <a:gd name="connsiteY21" fmla="*/ 102939 h 106077"/>
                  <a:gd name="connsiteX22" fmla="*/ 83481 w 93523"/>
                  <a:gd name="connsiteY22" fmla="*/ 106077 h 106077"/>
                  <a:gd name="connsiteX23" fmla="*/ 79087 w 93523"/>
                  <a:gd name="connsiteY23" fmla="*/ 105450 h 106077"/>
                  <a:gd name="connsiteX24" fmla="*/ 75949 w 93523"/>
                  <a:gd name="connsiteY24" fmla="*/ 102939 h 106077"/>
                  <a:gd name="connsiteX25" fmla="*/ 73438 w 93523"/>
                  <a:gd name="connsiteY25" fmla="*/ 98546 h 106077"/>
                  <a:gd name="connsiteX26" fmla="*/ 72811 w 93523"/>
                  <a:gd name="connsiteY26" fmla="*/ 92896 h 106077"/>
                  <a:gd name="connsiteX27" fmla="*/ 32011 w 93523"/>
                  <a:gd name="connsiteY27" fmla="*/ 64651 h 106077"/>
                  <a:gd name="connsiteX28" fmla="*/ 62140 w 93523"/>
                  <a:gd name="connsiteY28" fmla="*/ 64651 h 106077"/>
                  <a:gd name="connsiteX29" fmla="*/ 47076 w 93523"/>
                  <a:gd name="connsiteY29" fmla="*/ 22596 h 106077"/>
                  <a:gd name="connsiteX30" fmla="*/ 32011 w 93523"/>
                  <a:gd name="connsiteY30" fmla="*/ 64651 h 106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93523" h="106077">
                    <a:moveTo>
                      <a:pt x="72811" y="92896"/>
                    </a:moveTo>
                    <a:lnTo>
                      <a:pt x="67789" y="80343"/>
                    </a:lnTo>
                    <a:lnTo>
                      <a:pt x="26363" y="80343"/>
                    </a:lnTo>
                    <a:lnTo>
                      <a:pt x="21341" y="93524"/>
                    </a:lnTo>
                    <a:cubicBezTo>
                      <a:pt x="19458" y="98546"/>
                      <a:pt x="17575" y="102312"/>
                      <a:pt x="16319" y="103567"/>
                    </a:cubicBezTo>
                    <a:cubicBezTo>
                      <a:pt x="15064" y="105450"/>
                      <a:pt x="12554" y="106077"/>
                      <a:pt x="10043" y="106077"/>
                    </a:cubicBezTo>
                    <a:cubicBezTo>
                      <a:pt x="7532" y="106077"/>
                      <a:pt x="5021" y="104822"/>
                      <a:pt x="3138" y="102939"/>
                    </a:cubicBezTo>
                    <a:cubicBezTo>
                      <a:pt x="1255" y="101056"/>
                      <a:pt x="0" y="99173"/>
                      <a:pt x="0" y="96662"/>
                    </a:cubicBezTo>
                    <a:cubicBezTo>
                      <a:pt x="0" y="95407"/>
                      <a:pt x="0" y="93524"/>
                      <a:pt x="628" y="92269"/>
                    </a:cubicBezTo>
                    <a:cubicBezTo>
                      <a:pt x="1255" y="91013"/>
                      <a:pt x="1883" y="88503"/>
                      <a:pt x="3138" y="85992"/>
                    </a:cubicBezTo>
                    <a:lnTo>
                      <a:pt x="29501" y="20086"/>
                    </a:lnTo>
                    <a:cubicBezTo>
                      <a:pt x="30129" y="18202"/>
                      <a:pt x="31384" y="15692"/>
                      <a:pt x="32011" y="13181"/>
                    </a:cubicBezTo>
                    <a:cubicBezTo>
                      <a:pt x="33267" y="10671"/>
                      <a:pt x="33894" y="8160"/>
                      <a:pt x="35150" y="6277"/>
                    </a:cubicBezTo>
                    <a:cubicBezTo>
                      <a:pt x="36405" y="4394"/>
                      <a:pt x="37661" y="3138"/>
                      <a:pt x="39544" y="1883"/>
                    </a:cubicBezTo>
                    <a:cubicBezTo>
                      <a:pt x="41427" y="628"/>
                      <a:pt x="43938" y="0"/>
                      <a:pt x="46448" y="0"/>
                    </a:cubicBezTo>
                    <a:cubicBezTo>
                      <a:pt x="49586" y="0"/>
                      <a:pt x="51470" y="628"/>
                      <a:pt x="53353" y="1883"/>
                    </a:cubicBezTo>
                    <a:cubicBezTo>
                      <a:pt x="55236" y="3138"/>
                      <a:pt x="57119" y="4394"/>
                      <a:pt x="57747" y="6277"/>
                    </a:cubicBezTo>
                    <a:cubicBezTo>
                      <a:pt x="59002" y="8160"/>
                      <a:pt x="59629" y="10043"/>
                      <a:pt x="60885" y="11926"/>
                    </a:cubicBezTo>
                    <a:cubicBezTo>
                      <a:pt x="61512" y="13809"/>
                      <a:pt x="62768" y="16319"/>
                      <a:pt x="64023" y="20086"/>
                    </a:cubicBezTo>
                    <a:lnTo>
                      <a:pt x="90386" y="85992"/>
                    </a:lnTo>
                    <a:cubicBezTo>
                      <a:pt x="92269" y="91013"/>
                      <a:pt x="93524" y="94779"/>
                      <a:pt x="93524" y="96662"/>
                    </a:cubicBezTo>
                    <a:cubicBezTo>
                      <a:pt x="93524" y="99173"/>
                      <a:pt x="92269" y="101056"/>
                      <a:pt x="90386" y="102939"/>
                    </a:cubicBezTo>
                    <a:cubicBezTo>
                      <a:pt x="88503" y="104822"/>
                      <a:pt x="85992" y="106077"/>
                      <a:pt x="83481" y="106077"/>
                    </a:cubicBezTo>
                    <a:cubicBezTo>
                      <a:pt x="81598" y="106077"/>
                      <a:pt x="80343" y="106077"/>
                      <a:pt x="79087" y="105450"/>
                    </a:cubicBezTo>
                    <a:cubicBezTo>
                      <a:pt x="77832" y="104822"/>
                      <a:pt x="77204" y="104195"/>
                      <a:pt x="75949" y="102939"/>
                    </a:cubicBezTo>
                    <a:cubicBezTo>
                      <a:pt x="75321" y="101684"/>
                      <a:pt x="74066" y="100429"/>
                      <a:pt x="73438" y="98546"/>
                    </a:cubicBezTo>
                    <a:cubicBezTo>
                      <a:pt x="74694" y="96662"/>
                      <a:pt x="73438" y="94779"/>
                      <a:pt x="72811" y="92896"/>
                    </a:cubicBezTo>
                    <a:close/>
                    <a:moveTo>
                      <a:pt x="32011" y="64651"/>
                    </a:moveTo>
                    <a:lnTo>
                      <a:pt x="62140" y="64651"/>
                    </a:lnTo>
                    <a:lnTo>
                      <a:pt x="47076" y="22596"/>
                    </a:lnTo>
                    <a:lnTo>
                      <a:pt x="32011" y="64651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12" name="Forma Livre: Forma 211">
                <a:extLst>
                  <a:ext uri="{FF2B5EF4-FFF2-40B4-BE49-F238E27FC236}">
                    <a16:creationId xmlns:a16="http://schemas.microsoft.com/office/drawing/2014/main" id="{2F28434E-7C2B-4035-9BEA-40702BA7D3FA}"/>
                  </a:ext>
                </a:extLst>
              </p:cNvPr>
              <p:cNvSpPr/>
              <p:nvPr/>
            </p:nvSpPr>
            <p:spPr>
              <a:xfrm>
                <a:off x="6639929" y="5794050"/>
                <a:ext cx="104822" cy="112982"/>
              </a:xfrm>
              <a:custGeom>
                <a:avLst/>
                <a:gdLst>
                  <a:gd name="connsiteX0" fmla="*/ 85992 w 104822"/>
                  <a:gd name="connsiteY0" fmla="*/ 91013 h 112982"/>
                  <a:gd name="connsiteX1" fmla="*/ 96035 w 104822"/>
                  <a:gd name="connsiteY1" fmla="*/ 96662 h 112982"/>
                  <a:gd name="connsiteX2" fmla="*/ 102939 w 104822"/>
                  <a:gd name="connsiteY2" fmla="*/ 101056 h 112982"/>
                  <a:gd name="connsiteX3" fmla="*/ 104822 w 104822"/>
                  <a:gd name="connsiteY3" fmla="*/ 106077 h 112982"/>
                  <a:gd name="connsiteX4" fmla="*/ 102939 w 104822"/>
                  <a:gd name="connsiteY4" fmla="*/ 110471 h 112982"/>
                  <a:gd name="connsiteX5" fmla="*/ 97918 w 104822"/>
                  <a:gd name="connsiteY5" fmla="*/ 112982 h 112982"/>
                  <a:gd name="connsiteX6" fmla="*/ 92269 w 104822"/>
                  <a:gd name="connsiteY6" fmla="*/ 111727 h 112982"/>
                  <a:gd name="connsiteX7" fmla="*/ 84109 w 104822"/>
                  <a:gd name="connsiteY7" fmla="*/ 107333 h 112982"/>
                  <a:gd name="connsiteX8" fmla="*/ 74066 w 104822"/>
                  <a:gd name="connsiteY8" fmla="*/ 100429 h 112982"/>
                  <a:gd name="connsiteX9" fmla="*/ 49586 w 104822"/>
                  <a:gd name="connsiteY9" fmla="*/ 105450 h 112982"/>
                  <a:gd name="connsiteX10" fmla="*/ 28246 w 104822"/>
                  <a:gd name="connsiteY10" fmla="*/ 101684 h 112982"/>
                  <a:gd name="connsiteX11" fmla="*/ 12554 w 104822"/>
                  <a:gd name="connsiteY11" fmla="*/ 91013 h 112982"/>
                  <a:gd name="connsiteX12" fmla="*/ 3138 w 104822"/>
                  <a:gd name="connsiteY12" fmla="*/ 74066 h 112982"/>
                  <a:gd name="connsiteX13" fmla="*/ 0 w 104822"/>
                  <a:gd name="connsiteY13" fmla="*/ 52725 h 112982"/>
                  <a:gd name="connsiteX14" fmla="*/ 3138 w 104822"/>
                  <a:gd name="connsiteY14" fmla="*/ 31384 h 112982"/>
                  <a:gd name="connsiteX15" fmla="*/ 13181 w 104822"/>
                  <a:gd name="connsiteY15" fmla="*/ 14437 h 112982"/>
                  <a:gd name="connsiteX16" fmla="*/ 28873 w 104822"/>
                  <a:gd name="connsiteY16" fmla="*/ 3766 h 112982"/>
                  <a:gd name="connsiteX17" fmla="*/ 49586 w 104822"/>
                  <a:gd name="connsiteY17" fmla="*/ 0 h 112982"/>
                  <a:gd name="connsiteX18" fmla="*/ 76577 w 104822"/>
                  <a:gd name="connsiteY18" fmla="*/ 6277 h 112982"/>
                  <a:gd name="connsiteX19" fmla="*/ 93524 w 104822"/>
                  <a:gd name="connsiteY19" fmla="*/ 24479 h 112982"/>
                  <a:gd name="connsiteX20" fmla="*/ 99173 w 104822"/>
                  <a:gd name="connsiteY20" fmla="*/ 52097 h 112982"/>
                  <a:gd name="connsiteX21" fmla="*/ 85992 w 104822"/>
                  <a:gd name="connsiteY21" fmla="*/ 91013 h 112982"/>
                  <a:gd name="connsiteX22" fmla="*/ 69672 w 104822"/>
                  <a:gd name="connsiteY22" fmla="*/ 79715 h 112982"/>
                  <a:gd name="connsiteX23" fmla="*/ 75949 w 104822"/>
                  <a:gd name="connsiteY23" fmla="*/ 67789 h 112982"/>
                  <a:gd name="connsiteX24" fmla="*/ 77832 w 104822"/>
                  <a:gd name="connsiteY24" fmla="*/ 52097 h 112982"/>
                  <a:gd name="connsiteX25" fmla="*/ 74066 w 104822"/>
                  <a:gd name="connsiteY25" fmla="*/ 32639 h 112982"/>
                  <a:gd name="connsiteX26" fmla="*/ 64023 w 104822"/>
                  <a:gd name="connsiteY26" fmla="*/ 20085 h 112982"/>
                  <a:gd name="connsiteX27" fmla="*/ 48331 w 104822"/>
                  <a:gd name="connsiteY27" fmla="*/ 15692 h 112982"/>
                  <a:gd name="connsiteX28" fmla="*/ 37033 w 104822"/>
                  <a:gd name="connsiteY28" fmla="*/ 18202 h 112982"/>
                  <a:gd name="connsiteX29" fmla="*/ 28246 w 104822"/>
                  <a:gd name="connsiteY29" fmla="*/ 25107 h 112982"/>
                  <a:gd name="connsiteX30" fmla="*/ 21969 w 104822"/>
                  <a:gd name="connsiteY30" fmla="*/ 36405 h 112982"/>
                  <a:gd name="connsiteX31" fmla="*/ 20086 w 104822"/>
                  <a:gd name="connsiteY31" fmla="*/ 52097 h 112982"/>
                  <a:gd name="connsiteX32" fmla="*/ 28246 w 104822"/>
                  <a:gd name="connsiteY32" fmla="*/ 79087 h 112982"/>
                  <a:gd name="connsiteX33" fmla="*/ 48959 w 104822"/>
                  <a:gd name="connsiteY33" fmla="*/ 88503 h 112982"/>
                  <a:gd name="connsiteX34" fmla="*/ 59629 w 104822"/>
                  <a:gd name="connsiteY34" fmla="*/ 86620 h 112982"/>
                  <a:gd name="connsiteX35" fmla="*/ 51470 w 104822"/>
                  <a:gd name="connsiteY35" fmla="*/ 81598 h 112982"/>
                  <a:gd name="connsiteX36" fmla="*/ 44565 w 104822"/>
                  <a:gd name="connsiteY36" fmla="*/ 77832 h 112982"/>
                  <a:gd name="connsiteX37" fmla="*/ 42682 w 104822"/>
                  <a:gd name="connsiteY37" fmla="*/ 74066 h 112982"/>
                  <a:gd name="connsiteX38" fmla="*/ 44565 w 104822"/>
                  <a:gd name="connsiteY38" fmla="*/ 70300 h 112982"/>
                  <a:gd name="connsiteX39" fmla="*/ 48331 w 104822"/>
                  <a:gd name="connsiteY39" fmla="*/ 68417 h 112982"/>
                  <a:gd name="connsiteX40" fmla="*/ 69672 w 104822"/>
                  <a:gd name="connsiteY40" fmla="*/ 79715 h 112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104822" h="112982">
                    <a:moveTo>
                      <a:pt x="85992" y="91013"/>
                    </a:moveTo>
                    <a:cubicBezTo>
                      <a:pt x="89130" y="92896"/>
                      <a:pt x="92269" y="94779"/>
                      <a:pt x="96035" y="96662"/>
                    </a:cubicBezTo>
                    <a:cubicBezTo>
                      <a:pt x="99801" y="98545"/>
                      <a:pt x="101684" y="99801"/>
                      <a:pt x="102939" y="101056"/>
                    </a:cubicBezTo>
                    <a:cubicBezTo>
                      <a:pt x="104195" y="102312"/>
                      <a:pt x="104822" y="103567"/>
                      <a:pt x="104822" y="106077"/>
                    </a:cubicBezTo>
                    <a:cubicBezTo>
                      <a:pt x="104822" y="107333"/>
                      <a:pt x="104195" y="109216"/>
                      <a:pt x="102939" y="110471"/>
                    </a:cubicBezTo>
                    <a:cubicBezTo>
                      <a:pt x="101684" y="111727"/>
                      <a:pt x="99801" y="112982"/>
                      <a:pt x="97918" y="112982"/>
                    </a:cubicBezTo>
                    <a:cubicBezTo>
                      <a:pt x="96662" y="112982"/>
                      <a:pt x="94152" y="112354"/>
                      <a:pt x="92269" y="111727"/>
                    </a:cubicBezTo>
                    <a:cubicBezTo>
                      <a:pt x="89758" y="110471"/>
                      <a:pt x="87247" y="109216"/>
                      <a:pt x="84109" y="107333"/>
                    </a:cubicBezTo>
                    <a:cubicBezTo>
                      <a:pt x="80970" y="105450"/>
                      <a:pt x="77832" y="102939"/>
                      <a:pt x="74066" y="100429"/>
                    </a:cubicBezTo>
                    <a:cubicBezTo>
                      <a:pt x="67162" y="103567"/>
                      <a:pt x="59002" y="105450"/>
                      <a:pt x="49586" y="105450"/>
                    </a:cubicBezTo>
                    <a:cubicBezTo>
                      <a:pt x="41427" y="105450"/>
                      <a:pt x="34522" y="104195"/>
                      <a:pt x="28246" y="101684"/>
                    </a:cubicBezTo>
                    <a:cubicBezTo>
                      <a:pt x="21969" y="99173"/>
                      <a:pt x="16947" y="95407"/>
                      <a:pt x="12554" y="91013"/>
                    </a:cubicBezTo>
                    <a:cubicBezTo>
                      <a:pt x="8160" y="85992"/>
                      <a:pt x="5021" y="80343"/>
                      <a:pt x="3138" y="74066"/>
                    </a:cubicBezTo>
                    <a:cubicBezTo>
                      <a:pt x="1255" y="67789"/>
                      <a:pt x="0" y="60257"/>
                      <a:pt x="0" y="52725"/>
                    </a:cubicBezTo>
                    <a:cubicBezTo>
                      <a:pt x="0" y="45193"/>
                      <a:pt x="1255" y="37661"/>
                      <a:pt x="3138" y="31384"/>
                    </a:cubicBezTo>
                    <a:cubicBezTo>
                      <a:pt x="5649" y="25107"/>
                      <a:pt x="8787" y="19458"/>
                      <a:pt x="13181" y="14437"/>
                    </a:cubicBezTo>
                    <a:cubicBezTo>
                      <a:pt x="17575" y="10043"/>
                      <a:pt x="22596" y="6277"/>
                      <a:pt x="28873" y="3766"/>
                    </a:cubicBezTo>
                    <a:cubicBezTo>
                      <a:pt x="35150" y="1255"/>
                      <a:pt x="42055" y="0"/>
                      <a:pt x="49586" y="0"/>
                    </a:cubicBezTo>
                    <a:cubicBezTo>
                      <a:pt x="60257" y="0"/>
                      <a:pt x="69045" y="1883"/>
                      <a:pt x="76577" y="6277"/>
                    </a:cubicBezTo>
                    <a:cubicBezTo>
                      <a:pt x="84109" y="10670"/>
                      <a:pt x="89758" y="16947"/>
                      <a:pt x="93524" y="24479"/>
                    </a:cubicBezTo>
                    <a:cubicBezTo>
                      <a:pt x="97290" y="32639"/>
                      <a:pt x="99173" y="41427"/>
                      <a:pt x="99173" y="52097"/>
                    </a:cubicBezTo>
                    <a:cubicBezTo>
                      <a:pt x="99173" y="68417"/>
                      <a:pt x="94779" y="81598"/>
                      <a:pt x="85992" y="91013"/>
                    </a:cubicBezTo>
                    <a:close/>
                    <a:moveTo>
                      <a:pt x="69672" y="79715"/>
                    </a:moveTo>
                    <a:cubicBezTo>
                      <a:pt x="72811" y="76576"/>
                      <a:pt x="74694" y="72811"/>
                      <a:pt x="75949" y="67789"/>
                    </a:cubicBezTo>
                    <a:cubicBezTo>
                      <a:pt x="77204" y="63395"/>
                      <a:pt x="77832" y="58374"/>
                      <a:pt x="77832" y="52097"/>
                    </a:cubicBezTo>
                    <a:cubicBezTo>
                      <a:pt x="77832" y="44565"/>
                      <a:pt x="76577" y="38288"/>
                      <a:pt x="74066" y="32639"/>
                    </a:cubicBezTo>
                    <a:cubicBezTo>
                      <a:pt x="71555" y="26990"/>
                      <a:pt x="68417" y="23224"/>
                      <a:pt x="64023" y="20085"/>
                    </a:cubicBezTo>
                    <a:cubicBezTo>
                      <a:pt x="59629" y="17575"/>
                      <a:pt x="54608" y="15692"/>
                      <a:pt x="48331" y="15692"/>
                    </a:cubicBezTo>
                    <a:cubicBezTo>
                      <a:pt x="43938" y="15692"/>
                      <a:pt x="40171" y="16319"/>
                      <a:pt x="37033" y="18202"/>
                    </a:cubicBezTo>
                    <a:cubicBezTo>
                      <a:pt x="33267" y="19458"/>
                      <a:pt x="30756" y="21969"/>
                      <a:pt x="28246" y="25107"/>
                    </a:cubicBezTo>
                    <a:cubicBezTo>
                      <a:pt x="25735" y="28246"/>
                      <a:pt x="23852" y="32011"/>
                      <a:pt x="21969" y="36405"/>
                    </a:cubicBezTo>
                    <a:cubicBezTo>
                      <a:pt x="20713" y="40799"/>
                      <a:pt x="20086" y="46448"/>
                      <a:pt x="20086" y="52097"/>
                    </a:cubicBezTo>
                    <a:cubicBezTo>
                      <a:pt x="20086" y="64023"/>
                      <a:pt x="22596" y="72811"/>
                      <a:pt x="28246" y="79087"/>
                    </a:cubicBezTo>
                    <a:cubicBezTo>
                      <a:pt x="33894" y="85364"/>
                      <a:pt x="40799" y="88503"/>
                      <a:pt x="48959" y="88503"/>
                    </a:cubicBezTo>
                    <a:cubicBezTo>
                      <a:pt x="52097" y="88503"/>
                      <a:pt x="55863" y="87875"/>
                      <a:pt x="59629" y="86620"/>
                    </a:cubicBezTo>
                    <a:cubicBezTo>
                      <a:pt x="57747" y="84737"/>
                      <a:pt x="54608" y="83481"/>
                      <a:pt x="51470" y="81598"/>
                    </a:cubicBezTo>
                    <a:cubicBezTo>
                      <a:pt x="48331" y="79715"/>
                      <a:pt x="45820" y="78460"/>
                      <a:pt x="44565" y="77832"/>
                    </a:cubicBezTo>
                    <a:cubicBezTo>
                      <a:pt x="43310" y="77204"/>
                      <a:pt x="42682" y="75949"/>
                      <a:pt x="42682" y="74066"/>
                    </a:cubicBezTo>
                    <a:cubicBezTo>
                      <a:pt x="42682" y="72811"/>
                      <a:pt x="43310" y="71555"/>
                      <a:pt x="44565" y="70300"/>
                    </a:cubicBezTo>
                    <a:cubicBezTo>
                      <a:pt x="45820" y="69045"/>
                      <a:pt x="47076" y="68417"/>
                      <a:pt x="48331" y="68417"/>
                    </a:cubicBezTo>
                    <a:cubicBezTo>
                      <a:pt x="52725" y="69045"/>
                      <a:pt x="59629" y="72183"/>
                      <a:pt x="69672" y="79715"/>
                    </a:cubicBez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213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1287713" y="5700525"/>
            <a:ext cx="423022" cy="361542"/>
            <a:chOff x="1287713" y="5700525"/>
            <a:chExt cx="423022" cy="361542"/>
          </a:xfrm>
          <a:solidFill>
            <a:srgbClr val="B1B1A1"/>
          </a:solidFill>
        </p:grpSpPr>
        <p:sp>
          <p:nvSpPr>
            <p:cNvPr id="214" name="Forma Livre: Forma 213">
              <a:extLst>
                <a:ext uri="{FF2B5EF4-FFF2-40B4-BE49-F238E27FC236}">
                  <a16:creationId xmlns:a16="http://schemas.microsoft.com/office/drawing/2014/main" id="{B1A221BB-BB5A-486A-B9EF-FC09C2194455}"/>
                </a:ext>
              </a:extLst>
            </p:cNvPr>
            <p:cNvSpPr/>
            <p:nvPr/>
          </p:nvSpPr>
          <p:spPr>
            <a:xfrm>
              <a:off x="1287713" y="5700525"/>
              <a:ext cx="343967" cy="311328"/>
            </a:xfrm>
            <a:custGeom>
              <a:avLst/>
              <a:gdLst>
                <a:gd name="connsiteX0" fmla="*/ 70928 w 343967"/>
                <a:gd name="connsiteY0" fmla="*/ 311328 h 311328"/>
                <a:gd name="connsiteX1" fmla="*/ 58374 w 343967"/>
                <a:gd name="connsiteY1" fmla="*/ 310701 h 311328"/>
                <a:gd name="connsiteX2" fmla="*/ 43310 w 343967"/>
                <a:gd name="connsiteY2" fmla="*/ 297520 h 311328"/>
                <a:gd name="connsiteX3" fmla="*/ 52097 w 343967"/>
                <a:gd name="connsiteY3" fmla="*/ 279317 h 311328"/>
                <a:gd name="connsiteX4" fmla="*/ 81598 w 343967"/>
                <a:gd name="connsiteY4" fmla="*/ 256721 h 311328"/>
                <a:gd name="connsiteX5" fmla="*/ 0 w 343967"/>
                <a:gd name="connsiteY5" fmla="*/ 138717 h 311328"/>
                <a:gd name="connsiteX6" fmla="*/ 171984 w 343967"/>
                <a:gd name="connsiteY6" fmla="*/ 0 h 311328"/>
                <a:gd name="connsiteX7" fmla="*/ 343968 w 343967"/>
                <a:gd name="connsiteY7" fmla="*/ 138717 h 311328"/>
                <a:gd name="connsiteX8" fmla="*/ 171984 w 343967"/>
                <a:gd name="connsiteY8" fmla="*/ 277434 h 311328"/>
                <a:gd name="connsiteX9" fmla="*/ 166335 w 343967"/>
                <a:gd name="connsiteY9" fmla="*/ 277434 h 311328"/>
                <a:gd name="connsiteX10" fmla="*/ 70928 w 343967"/>
                <a:gd name="connsiteY10" fmla="*/ 311328 h 311328"/>
                <a:gd name="connsiteX11" fmla="*/ 70928 w 343967"/>
                <a:gd name="connsiteY11" fmla="*/ 311328 h 311328"/>
                <a:gd name="connsiteX12" fmla="*/ 171984 w 343967"/>
                <a:gd name="connsiteY12" fmla="*/ 32639 h 311328"/>
                <a:gd name="connsiteX13" fmla="*/ 33267 w 343967"/>
                <a:gd name="connsiteY13" fmla="*/ 138089 h 311328"/>
                <a:gd name="connsiteX14" fmla="*/ 111099 w 343967"/>
                <a:gd name="connsiteY14" fmla="*/ 232869 h 311328"/>
                <a:gd name="connsiteX15" fmla="*/ 120514 w 343967"/>
                <a:gd name="connsiteY15" fmla="*/ 242284 h 311328"/>
                <a:gd name="connsiteX16" fmla="*/ 119887 w 343967"/>
                <a:gd name="connsiteY16" fmla="*/ 256093 h 311328"/>
                <a:gd name="connsiteX17" fmla="*/ 119259 w 343967"/>
                <a:gd name="connsiteY17" fmla="*/ 257976 h 311328"/>
                <a:gd name="connsiteX18" fmla="*/ 116121 w 343967"/>
                <a:gd name="connsiteY18" fmla="*/ 263625 h 311328"/>
                <a:gd name="connsiteX19" fmla="*/ 111099 w 343967"/>
                <a:gd name="connsiteY19" fmla="*/ 271157 h 311328"/>
                <a:gd name="connsiteX20" fmla="*/ 146877 w 343967"/>
                <a:gd name="connsiteY20" fmla="*/ 248561 h 311328"/>
                <a:gd name="connsiteX21" fmla="*/ 160058 w 343967"/>
                <a:gd name="connsiteY21" fmla="*/ 243539 h 311328"/>
                <a:gd name="connsiteX22" fmla="*/ 171356 w 343967"/>
                <a:gd name="connsiteY22" fmla="*/ 244167 h 311328"/>
                <a:gd name="connsiteX23" fmla="*/ 310073 w 343967"/>
                <a:gd name="connsiteY23" fmla="*/ 138717 h 311328"/>
                <a:gd name="connsiteX24" fmla="*/ 171984 w 343967"/>
                <a:gd name="connsiteY24" fmla="*/ 32639 h 311328"/>
                <a:gd name="connsiteX25" fmla="*/ 171984 w 343967"/>
                <a:gd name="connsiteY25" fmla="*/ 32639 h 31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43967" h="311328">
                  <a:moveTo>
                    <a:pt x="70928" y="311328"/>
                  </a:moveTo>
                  <a:cubicBezTo>
                    <a:pt x="66534" y="311328"/>
                    <a:pt x="62768" y="311328"/>
                    <a:pt x="58374" y="310701"/>
                  </a:cubicBezTo>
                  <a:cubicBezTo>
                    <a:pt x="50842" y="310073"/>
                    <a:pt x="44565" y="304424"/>
                    <a:pt x="43310" y="297520"/>
                  </a:cubicBezTo>
                  <a:cubicBezTo>
                    <a:pt x="42054" y="289988"/>
                    <a:pt x="45821" y="282455"/>
                    <a:pt x="52097" y="279317"/>
                  </a:cubicBezTo>
                  <a:cubicBezTo>
                    <a:pt x="64023" y="273668"/>
                    <a:pt x="73438" y="266136"/>
                    <a:pt x="81598" y="256721"/>
                  </a:cubicBezTo>
                  <a:cubicBezTo>
                    <a:pt x="31384" y="231614"/>
                    <a:pt x="0" y="186421"/>
                    <a:pt x="0" y="138717"/>
                  </a:cubicBezTo>
                  <a:cubicBezTo>
                    <a:pt x="0" y="62140"/>
                    <a:pt x="77204" y="0"/>
                    <a:pt x="171984" y="0"/>
                  </a:cubicBezTo>
                  <a:cubicBezTo>
                    <a:pt x="266763" y="0"/>
                    <a:pt x="343968" y="62140"/>
                    <a:pt x="343968" y="138717"/>
                  </a:cubicBezTo>
                  <a:cubicBezTo>
                    <a:pt x="343968" y="215294"/>
                    <a:pt x="266763" y="277434"/>
                    <a:pt x="171984" y="277434"/>
                  </a:cubicBezTo>
                  <a:cubicBezTo>
                    <a:pt x="170101" y="277434"/>
                    <a:pt x="168218" y="277434"/>
                    <a:pt x="166335" y="277434"/>
                  </a:cubicBezTo>
                  <a:cubicBezTo>
                    <a:pt x="141855" y="299403"/>
                    <a:pt x="107961" y="311328"/>
                    <a:pt x="70928" y="311328"/>
                  </a:cubicBezTo>
                  <a:lnTo>
                    <a:pt x="70928" y="311328"/>
                  </a:lnTo>
                  <a:close/>
                  <a:moveTo>
                    <a:pt x="171984" y="32639"/>
                  </a:moveTo>
                  <a:cubicBezTo>
                    <a:pt x="95407" y="32639"/>
                    <a:pt x="33267" y="79715"/>
                    <a:pt x="33267" y="138089"/>
                  </a:cubicBezTo>
                  <a:cubicBezTo>
                    <a:pt x="33267" y="178261"/>
                    <a:pt x="64023" y="215294"/>
                    <a:pt x="111099" y="232869"/>
                  </a:cubicBezTo>
                  <a:cubicBezTo>
                    <a:pt x="115493" y="234752"/>
                    <a:pt x="119259" y="237890"/>
                    <a:pt x="120514" y="242284"/>
                  </a:cubicBezTo>
                  <a:cubicBezTo>
                    <a:pt x="121770" y="246678"/>
                    <a:pt x="121770" y="251699"/>
                    <a:pt x="119887" y="256093"/>
                  </a:cubicBezTo>
                  <a:lnTo>
                    <a:pt x="119259" y="257976"/>
                  </a:lnTo>
                  <a:cubicBezTo>
                    <a:pt x="118631" y="259859"/>
                    <a:pt x="117376" y="261742"/>
                    <a:pt x="116121" y="263625"/>
                  </a:cubicBezTo>
                  <a:cubicBezTo>
                    <a:pt x="114865" y="266136"/>
                    <a:pt x="112982" y="268646"/>
                    <a:pt x="111099" y="271157"/>
                  </a:cubicBezTo>
                  <a:cubicBezTo>
                    <a:pt x="124908" y="266136"/>
                    <a:pt x="137462" y="258604"/>
                    <a:pt x="146877" y="248561"/>
                  </a:cubicBezTo>
                  <a:cubicBezTo>
                    <a:pt x="150015" y="244795"/>
                    <a:pt x="155037" y="243539"/>
                    <a:pt x="160058" y="243539"/>
                  </a:cubicBezTo>
                  <a:cubicBezTo>
                    <a:pt x="163824" y="243539"/>
                    <a:pt x="167590" y="244167"/>
                    <a:pt x="171356" y="244167"/>
                  </a:cubicBezTo>
                  <a:cubicBezTo>
                    <a:pt x="247933" y="244167"/>
                    <a:pt x="310073" y="197091"/>
                    <a:pt x="310073" y="138717"/>
                  </a:cubicBezTo>
                  <a:cubicBezTo>
                    <a:pt x="310073" y="80343"/>
                    <a:pt x="247933" y="32639"/>
                    <a:pt x="171984" y="32639"/>
                  </a:cubicBezTo>
                  <a:lnTo>
                    <a:pt x="171984" y="32639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15" name="Forma Livre: Forma 214">
              <a:extLst>
                <a:ext uri="{FF2B5EF4-FFF2-40B4-BE49-F238E27FC236}">
                  <a16:creationId xmlns:a16="http://schemas.microsoft.com/office/drawing/2014/main" id="{202E42F2-A8E1-408C-A83D-ABE4183EDC96}"/>
                </a:ext>
              </a:extLst>
            </p:cNvPr>
            <p:cNvSpPr/>
            <p:nvPr/>
          </p:nvSpPr>
          <p:spPr>
            <a:xfrm>
              <a:off x="1437529" y="5811787"/>
              <a:ext cx="273205" cy="250281"/>
            </a:xfrm>
            <a:custGeom>
              <a:avLst/>
              <a:gdLst>
                <a:gd name="connsiteX0" fmla="*/ 214865 w 273205"/>
                <a:gd name="connsiteY0" fmla="*/ 250281 h 250281"/>
                <a:gd name="connsiteX1" fmla="*/ 155863 w 273205"/>
                <a:gd name="connsiteY1" fmla="*/ 233334 h 250281"/>
                <a:gd name="connsiteX2" fmla="*/ 152725 w 273205"/>
                <a:gd name="connsiteY2" fmla="*/ 233962 h 250281"/>
                <a:gd name="connsiteX3" fmla="*/ 1454 w 273205"/>
                <a:gd name="connsiteY3" fmla="*/ 163662 h 250281"/>
                <a:gd name="connsiteX4" fmla="*/ 10242 w 273205"/>
                <a:gd name="connsiteY4" fmla="*/ 141693 h 250281"/>
                <a:gd name="connsiteX5" fmla="*/ 32210 w 273205"/>
                <a:gd name="connsiteY5" fmla="*/ 150481 h 250281"/>
                <a:gd name="connsiteX6" fmla="*/ 147076 w 273205"/>
                <a:gd name="connsiteY6" fmla="*/ 200695 h 250281"/>
                <a:gd name="connsiteX7" fmla="*/ 155235 w 273205"/>
                <a:gd name="connsiteY7" fmla="*/ 198812 h 250281"/>
                <a:gd name="connsiteX8" fmla="*/ 169672 w 273205"/>
                <a:gd name="connsiteY8" fmla="*/ 201950 h 250281"/>
                <a:gd name="connsiteX9" fmla="*/ 191013 w 273205"/>
                <a:gd name="connsiteY9" fmla="*/ 213248 h 250281"/>
                <a:gd name="connsiteX10" fmla="*/ 191013 w 273205"/>
                <a:gd name="connsiteY10" fmla="*/ 213248 h 250281"/>
                <a:gd name="connsiteX11" fmla="*/ 187875 w 273205"/>
                <a:gd name="connsiteY11" fmla="*/ 208227 h 250281"/>
                <a:gd name="connsiteX12" fmla="*/ 184736 w 273205"/>
                <a:gd name="connsiteY12" fmla="*/ 195046 h 250281"/>
                <a:gd name="connsiteX13" fmla="*/ 191641 w 273205"/>
                <a:gd name="connsiteY13" fmla="*/ 183747 h 250281"/>
                <a:gd name="connsiteX14" fmla="*/ 239344 w 273205"/>
                <a:gd name="connsiteY14" fmla="*/ 93989 h 250281"/>
                <a:gd name="connsiteX15" fmla="*/ 186619 w 273205"/>
                <a:gd name="connsiteY15" fmla="*/ 32477 h 250281"/>
                <a:gd name="connsiteX16" fmla="*/ 177204 w 273205"/>
                <a:gd name="connsiteY16" fmla="*/ 10508 h 250281"/>
                <a:gd name="connsiteX17" fmla="*/ 199173 w 273205"/>
                <a:gd name="connsiteY17" fmla="*/ 1093 h 250281"/>
                <a:gd name="connsiteX18" fmla="*/ 271984 w 273205"/>
                <a:gd name="connsiteY18" fmla="*/ 88340 h 250281"/>
                <a:gd name="connsiteX19" fmla="*/ 224280 w 273205"/>
                <a:gd name="connsiteY19" fmla="*/ 200695 h 250281"/>
                <a:gd name="connsiteX20" fmla="*/ 247504 w 273205"/>
                <a:gd name="connsiteY20" fmla="*/ 213876 h 250281"/>
                <a:gd name="connsiteX21" fmla="*/ 259430 w 273205"/>
                <a:gd name="connsiteY21" fmla="*/ 230196 h 250281"/>
                <a:gd name="connsiteX22" fmla="*/ 246877 w 273205"/>
                <a:gd name="connsiteY22" fmla="*/ 245888 h 250281"/>
                <a:gd name="connsiteX23" fmla="*/ 214865 w 273205"/>
                <a:gd name="connsiteY23" fmla="*/ 250281 h 250281"/>
                <a:gd name="connsiteX24" fmla="*/ 214865 w 273205"/>
                <a:gd name="connsiteY24" fmla="*/ 250281 h 250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73205" h="250281">
                  <a:moveTo>
                    <a:pt x="214865" y="250281"/>
                  </a:moveTo>
                  <a:cubicBezTo>
                    <a:pt x="193524" y="250281"/>
                    <a:pt x="172810" y="244632"/>
                    <a:pt x="155863" y="233334"/>
                  </a:cubicBezTo>
                  <a:cubicBezTo>
                    <a:pt x="154608" y="233334"/>
                    <a:pt x="153980" y="233962"/>
                    <a:pt x="152725" y="233962"/>
                  </a:cubicBezTo>
                  <a:cubicBezTo>
                    <a:pt x="87446" y="245888"/>
                    <a:pt x="24051" y="216387"/>
                    <a:pt x="1454" y="163662"/>
                  </a:cubicBezTo>
                  <a:cubicBezTo>
                    <a:pt x="-2312" y="154874"/>
                    <a:pt x="1454" y="145459"/>
                    <a:pt x="10242" y="141693"/>
                  </a:cubicBezTo>
                  <a:cubicBezTo>
                    <a:pt x="18402" y="137927"/>
                    <a:pt x="28444" y="141693"/>
                    <a:pt x="32210" y="150481"/>
                  </a:cubicBezTo>
                  <a:cubicBezTo>
                    <a:pt x="48530" y="188769"/>
                    <a:pt x="96861" y="210110"/>
                    <a:pt x="147076" y="200695"/>
                  </a:cubicBezTo>
                  <a:cubicBezTo>
                    <a:pt x="150214" y="200067"/>
                    <a:pt x="152725" y="199439"/>
                    <a:pt x="155235" y="198812"/>
                  </a:cubicBezTo>
                  <a:cubicBezTo>
                    <a:pt x="160257" y="197556"/>
                    <a:pt x="165278" y="198812"/>
                    <a:pt x="169672" y="201950"/>
                  </a:cubicBezTo>
                  <a:cubicBezTo>
                    <a:pt x="175949" y="206972"/>
                    <a:pt x="182853" y="210738"/>
                    <a:pt x="191013" y="213248"/>
                  </a:cubicBezTo>
                  <a:cubicBezTo>
                    <a:pt x="191013" y="213248"/>
                    <a:pt x="191013" y="213248"/>
                    <a:pt x="191013" y="213248"/>
                  </a:cubicBezTo>
                  <a:cubicBezTo>
                    <a:pt x="189758" y="211365"/>
                    <a:pt x="188502" y="210110"/>
                    <a:pt x="187875" y="208227"/>
                  </a:cubicBezTo>
                  <a:cubicBezTo>
                    <a:pt x="185364" y="204461"/>
                    <a:pt x="184109" y="199439"/>
                    <a:pt x="184736" y="195046"/>
                  </a:cubicBezTo>
                  <a:cubicBezTo>
                    <a:pt x="185992" y="190652"/>
                    <a:pt x="187875" y="186258"/>
                    <a:pt x="191641" y="183747"/>
                  </a:cubicBezTo>
                  <a:cubicBezTo>
                    <a:pt x="226163" y="162406"/>
                    <a:pt x="244994" y="127256"/>
                    <a:pt x="239344" y="93989"/>
                  </a:cubicBezTo>
                  <a:cubicBezTo>
                    <a:pt x="234951" y="66999"/>
                    <a:pt x="216120" y="44403"/>
                    <a:pt x="186619" y="32477"/>
                  </a:cubicBezTo>
                  <a:cubicBezTo>
                    <a:pt x="177832" y="28711"/>
                    <a:pt x="174066" y="19296"/>
                    <a:pt x="177204" y="10508"/>
                  </a:cubicBezTo>
                  <a:cubicBezTo>
                    <a:pt x="180970" y="1721"/>
                    <a:pt x="190385" y="-2045"/>
                    <a:pt x="199173" y="1093"/>
                  </a:cubicBezTo>
                  <a:cubicBezTo>
                    <a:pt x="238717" y="17413"/>
                    <a:pt x="266335" y="50052"/>
                    <a:pt x="271984" y="88340"/>
                  </a:cubicBezTo>
                  <a:cubicBezTo>
                    <a:pt x="278260" y="129139"/>
                    <a:pt x="260058" y="171194"/>
                    <a:pt x="224280" y="200695"/>
                  </a:cubicBezTo>
                  <a:cubicBezTo>
                    <a:pt x="231185" y="206344"/>
                    <a:pt x="238717" y="210738"/>
                    <a:pt x="247504" y="213876"/>
                  </a:cubicBezTo>
                  <a:cubicBezTo>
                    <a:pt x="254409" y="216387"/>
                    <a:pt x="259430" y="222664"/>
                    <a:pt x="259430" y="230196"/>
                  </a:cubicBezTo>
                  <a:cubicBezTo>
                    <a:pt x="259430" y="237728"/>
                    <a:pt x="254409" y="244004"/>
                    <a:pt x="246877" y="245888"/>
                  </a:cubicBezTo>
                  <a:cubicBezTo>
                    <a:pt x="236834" y="249026"/>
                    <a:pt x="225535" y="250281"/>
                    <a:pt x="214865" y="250281"/>
                  </a:cubicBezTo>
                  <a:lnTo>
                    <a:pt x="214865" y="250281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216" name="Gráfico 2">
              <a:extLst>
                <a:ext uri="{FF2B5EF4-FFF2-40B4-BE49-F238E27FC236}">
                  <a16:creationId xmlns:a16="http://schemas.microsoft.com/office/drawing/2014/main" id="{83F95F55-5D1D-4425-8D77-756B15108235}"/>
                </a:ext>
              </a:extLst>
            </p:cNvPr>
            <p:cNvGrpSpPr/>
            <p:nvPr/>
          </p:nvGrpSpPr>
          <p:grpSpPr>
            <a:xfrm>
              <a:off x="1371194" y="5819157"/>
              <a:ext cx="177633" cy="43937"/>
              <a:chOff x="1371194" y="5819157"/>
              <a:chExt cx="177633" cy="43937"/>
            </a:xfrm>
            <a:grpFill/>
          </p:grpSpPr>
          <p:sp>
            <p:nvSpPr>
              <p:cNvPr id="217" name="Forma Livre: Forma 216">
                <a:extLst>
                  <a:ext uri="{FF2B5EF4-FFF2-40B4-BE49-F238E27FC236}">
                    <a16:creationId xmlns:a16="http://schemas.microsoft.com/office/drawing/2014/main" id="{E7869870-D864-4258-90BF-B83AF215BA6A}"/>
                  </a:ext>
                </a:extLst>
              </p:cNvPr>
              <p:cNvSpPr/>
              <p:nvPr/>
            </p:nvSpPr>
            <p:spPr>
              <a:xfrm>
                <a:off x="1371194" y="5819157"/>
                <a:ext cx="43937" cy="43937"/>
              </a:xfrm>
              <a:custGeom>
                <a:avLst/>
                <a:gdLst>
                  <a:gd name="connsiteX0" fmla="*/ 21969 w 43937"/>
                  <a:gd name="connsiteY0" fmla="*/ 0 h 43937"/>
                  <a:gd name="connsiteX1" fmla="*/ 0 w 43937"/>
                  <a:gd name="connsiteY1" fmla="*/ 21969 h 43937"/>
                  <a:gd name="connsiteX2" fmla="*/ 21969 w 43937"/>
                  <a:gd name="connsiteY2" fmla="*/ 43938 h 43937"/>
                  <a:gd name="connsiteX3" fmla="*/ 43938 w 43937"/>
                  <a:gd name="connsiteY3" fmla="*/ 21969 h 43937"/>
                  <a:gd name="connsiteX4" fmla="*/ 21969 w 43937"/>
                  <a:gd name="connsiteY4" fmla="*/ 0 h 43937"/>
                  <a:gd name="connsiteX5" fmla="*/ 21969 w 43937"/>
                  <a:gd name="connsiteY5" fmla="*/ 0 h 43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3937" h="43937">
                    <a:moveTo>
                      <a:pt x="21969" y="0"/>
                    </a:moveTo>
                    <a:cubicBezTo>
                      <a:pt x="10043" y="0"/>
                      <a:pt x="0" y="10043"/>
                      <a:pt x="0" y="21969"/>
                    </a:cubicBezTo>
                    <a:cubicBezTo>
                      <a:pt x="0" y="33894"/>
                      <a:pt x="10043" y="43938"/>
                      <a:pt x="21969" y="43938"/>
                    </a:cubicBezTo>
                    <a:cubicBezTo>
                      <a:pt x="33895" y="43938"/>
                      <a:pt x="43938" y="33894"/>
                      <a:pt x="43938" y="21969"/>
                    </a:cubicBezTo>
                    <a:cubicBezTo>
                      <a:pt x="43938" y="10043"/>
                      <a:pt x="33895" y="0"/>
                      <a:pt x="21969" y="0"/>
                    </a:cubicBezTo>
                    <a:lnTo>
                      <a:pt x="21969" y="0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18" name="Forma Livre: Forma 217">
                <a:extLst>
                  <a:ext uri="{FF2B5EF4-FFF2-40B4-BE49-F238E27FC236}">
                    <a16:creationId xmlns:a16="http://schemas.microsoft.com/office/drawing/2014/main" id="{A82451FD-7BFA-4831-B119-967AA56B4688}"/>
                  </a:ext>
                </a:extLst>
              </p:cNvPr>
              <p:cNvSpPr/>
              <p:nvPr/>
            </p:nvSpPr>
            <p:spPr>
              <a:xfrm>
                <a:off x="1438355" y="5819157"/>
                <a:ext cx="43937" cy="43937"/>
              </a:xfrm>
              <a:custGeom>
                <a:avLst/>
                <a:gdLst>
                  <a:gd name="connsiteX0" fmla="*/ 21969 w 43937"/>
                  <a:gd name="connsiteY0" fmla="*/ 0 h 43937"/>
                  <a:gd name="connsiteX1" fmla="*/ 0 w 43937"/>
                  <a:gd name="connsiteY1" fmla="*/ 21969 h 43937"/>
                  <a:gd name="connsiteX2" fmla="*/ 21969 w 43937"/>
                  <a:gd name="connsiteY2" fmla="*/ 43938 h 43937"/>
                  <a:gd name="connsiteX3" fmla="*/ 43938 w 43937"/>
                  <a:gd name="connsiteY3" fmla="*/ 21969 h 43937"/>
                  <a:gd name="connsiteX4" fmla="*/ 21969 w 43937"/>
                  <a:gd name="connsiteY4" fmla="*/ 0 h 43937"/>
                  <a:gd name="connsiteX5" fmla="*/ 21969 w 43937"/>
                  <a:gd name="connsiteY5" fmla="*/ 0 h 43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3937" h="43937">
                    <a:moveTo>
                      <a:pt x="21969" y="0"/>
                    </a:moveTo>
                    <a:cubicBezTo>
                      <a:pt x="10043" y="0"/>
                      <a:pt x="0" y="10043"/>
                      <a:pt x="0" y="21969"/>
                    </a:cubicBezTo>
                    <a:cubicBezTo>
                      <a:pt x="0" y="33894"/>
                      <a:pt x="10043" y="43938"/>
                      <a:pt x="21969" y="43938"/>
                    </a:cubicBezTo>
                    <a:cubicBezTo>
                      <a:pt x="33895" y="43938"/>
                      <a:pt x="43938" y="33894"/>
                      <a:pt x="43938" y="21969"/>
                    </a:cubicBezTo>
                    <a:cubicBezTo>
                      <a:pt x="43938" y="10043"/>
                      <a:pt x="33895" y="0"/>
                      <a:pt x="21969" y="0"/>
                    </a:cubicBezTo>
                    <a:lnTo>
                      <a:pt x="21969" y="0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19" name="Forma Livre: Forma 218">
                <a:extLst>
                  <a:ext uri="{FF2B5EF4-FFF2-40B4-BE49-F238E27FC236}">
                    <a16:creationId xmlns:a16="http://schemas.microsoft.com/office/drawing/2014/main" id="{76018E54-052F-4F8C-8B7C-60A54423DC85}"/>
                  </a:ext>
                </a:extLst>
              </p:cNvPr>
              <p:cNvSpPr/>
              <p:nvPr/>
            </p:nvSpPr>
            <p:spPr>
              <a:xfrm>
                <a:off x="1504889" y="5819157"/>
                <a:ext cx="43937" cy="43937"/>
              </a:xfrm>
              <a:custGeom>
                <a:avLst/>
                <a:gdLst>
                  <a:gd name="connsiteX0" fmla="*/ 21969 w 43937"/>
                  <a:gd name="connsiteY0" fmla="*/ 0 h 43937"/>
                  <a:gd name="connsiteX1" fmla="*/ 0 w 43937"/>
                  <a:gd name="connsiteY1" fmla="*/ 21969 h 43937"/>
                  <a:gd name="connsiteX2" fmla="*/ 21969 w 43937"/>
                  <a:gd name="connsiteY2" fmla="*/ 43938 h 43937"/>
                  <a:gd name="connsiteX3" fmla="*/ 43938 w 43937"/>
                  <a:gd name="connsiteY3" fmla="*/ 21969 h 43937"/>
                  <a:gd name="connsiteX4" fmla="*/ 21969 w 43937"/>
                  <a:gd name="connsiteY4" fmla="*/ 0 h 43937"/>
                  <a:gd name="connsiteX5" fmla="*/ 21969 w 43937"/>
                  <a:gd name="connsiteY5" fmla="*/ 0 h 43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3937" h="43937">
                    <a:moveTo>
                      <a:pt x="21969" y="0"/>
                    </a:moveTo>
                    <a:cubicBezTo>
                      <a:pt x="10043" y="0"/>
                      <a:pt x="0" y="10043"/>
                      <a:pt x="0" y="21969"/>
                    </a:cubicBezTo>
                    <a:cubicBezTo>
                      <a:pt x="0" y="33894"/>
                      <a:pt x="10043" y="43938"/>
                      <a:pt x="21969" y="43938"/>
                    </a:cubicBezTo>
                    <a:cubicBezTo>
                      <a:pt x="33895" y="43938"/>
                      <a:pt x="43938" y="33894"/>
                      <a:pt x="43938" y="21969"/>
                    </a:cubicBezTo>
                    <a:cubicBezTo>
                      <a:pt x="43938" y="10043"/>
                      <a:pt x="33895" y="0"/>
                      <a:pt x="21969" y="0"/>
                    </a:cubicBezTo>
                    <a:lnTo>
                      <a:pt x="21969" y="0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220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7435825" y="5672280"/>
            <a:ext cx="394182" cy="418033"/>
            <a:chOff x="7435825" y="5672280"/>
            <a:chExt cx="394182" cy="418033"/>
          </a:xfrm>
          <a:solidFill>
            <a:srgbClr val="B1B1A1"/>
          </a:solidFill>
        </p:grpSpPr>
        <p:sp>
          <p:nvSpPr>
            <p:cNvPr id="221" name="Forma Livre: Forma 220">
              <a:extLst>
                <a:ext uri="{FF2B5EF4-FFF2-40B4-BE49-F238E27FC236}">
                  <a16:creationId xmlns:a16="http://schemas.microsoft.com/office/drawing/2014/main" id="{ADE0E9A5-BD84-48C0-9A28-96EADD2AE89E}"/>
                </a:ext>
              </a:extLst>
            </p:cNvPr>
            <p:cNvSpPr/>
            <p:nvPr/>
          </p:nvSpPr>
          <p:spPr>
            <a:xfrm>
              <a:off x="7435825" y="5672280"/>
              <a:ext cx="227219" cy="316977"/>
            </a:xfrm>
            <a:custGeom>
              <a:avLst/>
              <a:gdLst>
                <a:gd name="connsiteX0" fmla="*/ 65279 w 227219"/>
                <a:gd name="connsiteY0" fmla="*/ 316978 h 316977"/>
                <a:gd name="connsiteX1" fmla="*/ 57747 w 227219"/>
                <a:gd name="connsiteY1" fmla="*/ 315095 h 316977"/>
                <a:gd name="connsiteX2" fmla="*/ 48331 w 227219"/>
                <a:gd name="connsiteY2" fmla="*/ 300030 h 316977"/>
                <a:gd name="connsiteX3" fmla="*/ 48331 w 227219"/>
                <a:gd name="connsiteY3" fmla="*/ 254210 h 316977"/>
                <a:gd name="connsiteX4" fmla="*/ 33267 w 227219"/>
                <a:gd name="connsiteY4" fmla="*/ 254210 h 316977"/>
                <a:gd name="connsiteX5" fmla="*/ 0 w 227219"/>
                <a:gd name="connsiteY5" fmla="*/ 220943 h 316977"/>
                <a:gd name="connsiteX6" fmla="*/ 0 w 227219"/>
                <a:gd name="connsiteY6" fmla="*/ 33267 h 316977"/>
                <a:gd name="connsiteX7" fmla="*/ 33267 w 227219"/>
                <a:gd name="connsiteY7" fmla="*/ 0 h 316977"/>
                <a:gd name="connsiteX8" fmla="*/ 193953 w 227219"/>
                <a:gd name="connsiteY8" fmla="*/ 0 h 316977"/>
                <a:gd name="connsiteX9" fmla="*/ 227220 w 227219"/>
                <a:gd name="connsiteY9" fmla="*/ 33267 h 316977"/>
                <a:gd name="connsiteX10" fmla="*/ 227220 w 227219"/>
                <a:gd name="connsiteY10" fmla="*/ 220943 h 316977"/>
                <a:gd name="connsiteX11" fmla="*/ 193953 w 227219"/>
                <a:gd name="connsiteY11" fmla="*/ 254210 h 316977"/>
                <a:gd name="connsiteX12" fmla="*/ 149387 w 227219"/>
                <a:gd name="connsiteY12" fmla="*/ 254210 h 316977"/>
                <a:gd name="connsiteX13" fmla="*/ 74694 w 227219"/>
                <a:gd name="connsiteY13" fmla="*/ 313212 h 316977"/>
                <a:gd name="connsiteX14" fmla="*/ 65279 w 227219"/>
                <a:gd name="connsiteY14" fmla="*/ 316978 h 316977"/>
                <a:gd name="connsiteX15" fmla="*/ 65279 w 227219"/>
                <a:gd name="connsiteY15" fmla="*/ 316978 h 316977"/>
                <a:gd name="connsiteX16" fmla="*/ 33895 w 227219"/>
                <a:gd name="connsiteY16" fmla="*/ 32639 h 316977"/>
                <a:gd name="connsiteX17" fmla="*/ 33895 w 227219"/>
                <a:gd name="connsiteY17" fmla="*/ 220315 h 316977"/>
                <a:gd name="connsiteX18" fmla="*/ 65279 w 227219"/>
                <a:gd name="connsiteY18" fmla="*/ 220315 h 316977"/>
                <a:gd name="connsiteX19" fmla="*/ 82226 w 227219"/>
                <a:gd name="connsiteY19" fmla="*/ 237262 h 316977"/>
                <a:gd name="connsiteX20" fmla="*/ 82226 w 227219"/>
                <a:gd name="connsiteY20" fmla="*/ 265508 h 316977"/>
                <a:gd name="connsiteX21" fmla="*/ 134323 w 227219"/>
                <a:gd name="connsiteY21" fmla="*/ 224081 h 316977"/>
                <a:gd name="connsiteX22" fmla="*/ 144366 w 227219"/>
                <a:gd name="connsiteY22" fmla="*/ 220315 h 316977"/>
                <a:gd name="connsiteX23" fmla="*/ 194580 w 227219"/>
                <a:gd name="connsiteY23" fmla="*/ 220315 h 316977"/>
                <a:gd name="connsiteX24" fmla="*/ 194580 w 227219"/>
                <a:gd name="connsiteY24" fmla="*/ 32639 h 316977"/>
                <a:gd name="connsiteX25" fmla="*/ 33895 w 227219"/>
                <a:gd name="connsiteY25" fmla="*/ 32639 h 316977"/>
                <a:gd name="connsiteX26" fmla="*/ 33895 w 227219"/>
                <a:gd name="connsiteY26" fmla="*/ 32639 h 316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27219" h="316977">
                  <a:moveTo>
                    <a:pt x="65279" y="316978"/>
                  </a:moveTo>
                  <a:cubicBezTo>
                    <a:pt x="62768" y="316978"/>
                    <a:pt x="60257" y="316350"/>
                    <a:pt x="57747" y="315095"/>
                  </a:cubicBezTo>
                  <a:cubicBezTo>
                    <a:pt x="52097" y="312584"/>
                    <a:pt x="48331" y="306307"/>
                    <a:pt x="48331" y="300030"/>
                  </a:cubicBezTo>
                  <a:lnTo>
                    <a:pt x="48331" y="254210"/>
                  </a:lnTo>
                  <a:lnTo>
                    <a:pt x="33267" y="254210"/>
                  </a:lnTo>
                  <a:cubicBezTo>
                    <a:pt x="15064" y="254210"/>
                    <a:pt x="0" y="239145"/>
                    <a:pt x="0" y="220943"/>
                  </a:cubicBezTo>
                  <a:lnTo>
                    <a:pt x="0" y="33267"/>
                  </a:lnTo>
                  <a:cubicBezTo>
                    <a:pt x="0" y="15064"/>
                    <a:pt x="15064" y="0"/>
                    <a:pt x="33267" y="0"/>
                  </a:cubicBezTo>
                  <a:lnTo>
                    <a:pt x="193953" y="0"/>
                  </a:lnTo>
                  <a:cubicBezTo>
                    <a:pt x="212155" y="0"/>
                    <a:pt x="227220" y="15064"/>
                    <a:pt x="227220" y="33267"/>
                  </a:cubicBezTo>
                  <a:lnTo>
                    <a:pt x="227220" y="220943"/>
                  </a:lnTo>
                  <a:cubicBezTo>
                    <a:pt x="227220" y="239145"/>
                    <a:pt x="212155" y="254210"/>
                    <a:pt x="193953" y="254210"/>
                  </a:cubicBezTo>
                  <a:lnTo>
                    <a:pt x="149387" y="254210"/>
                  </a:lnTo>
                  <a:lnTo>
                    <a:pt x="74694" y="313212"/>
                  </a:lnTo>
                  <a:cubicBezTo>
                    <a:pt x="72811" y="315722"/>
                    <a:pt x="69045" y="316978"/>
                    <a:pt x="65279" y="316978"/>
                  </a:cubicBezTo>
                  <a:lnTo>
                    <a:pt x="65279" y="316978"/>
                  </a:lnTo>
                  <a:close/>
                  <a:moveTo>
                    <a:pt x="33895" y="32639"/>
                  </a:moveTo>
                  <a:lnTo>
                    <a:pt x="33895" y="220315"/>
                  </a:lnTo>
                  <a:lnTo>
                    <a:pt x="65279" y="220315"/>
                  </a:lnTo>
                  <a:cubicBezTo>
                    <a:pt x="74694" y="220315"/>
                    <a:pt x="82226" y="227847"/>
                    <a:pt x="82226" y="237262"/>
                  </a:cubicBezTo>
                  <a:lnTo>
                    <a:pt x="82226" y="265508"/>
                  </a:lnTo>
                  <a:lnTo>
                    <a:pt x="134323" y="224081"/>
                  </a:lnTo>
                  <a:cubicBezTo>
                    <a:pt x="137462" y="221570"/>
                    <a:pt x="141228" y="220315"/>
                    <a:pt x="144366" y="220315"/>
                  </a:cubicBezTo>
                  <a:lnTo>
                    <a:pt x="194580" y="220315"/>
                  </a:lnTo>
                  <a:lnTo>
                    <a:pt x="194580" y="32639"/>
                  </a:lnTo>
                  <a:lnTo>
                    <a:pt x="33895" y="32639"/>
                  </a:lnTo>
                  <a:lnTo>
                    <a:pt x="33895" y="32639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22" name="Forma Livre: Forma 221">
              <a:extLst>
                <a:ext uri="{FF2B5EF4-FFF2-40B4-BE49-F238E27FC236}">
                  <a16:creationId xmlns:a16="http://schemas.microsoft.com/office/drawing/2014/main" id="{A08ACCD7-3121-4BD7-B9B0-3DD913D5343E}"/>
                </a:ext>
              </a:extLst>
            </p:cNvPr>
            <p:cNvSpPr/>
            <p:nvPr/>
          </p:nvSpPr>
          <p:spPr>
            <a:xfrm>
              <a:off x="7491061" y="5743207"/>
              <a:ext cx="104822" cy="112982"/>
            </a:xfrm>
            <a:custGeom>
              <a:avLst/>
              <a:gdLst>
                <a:gd name="connsiteX0" fmla="*/ 85992 w 104822"/>
                <a:gd name="connsiteY0" fmla="*/ 91013 h 112982"/>
                <a:gd name="connsiteX1" fmla="*/ 96035 w 104822"/>
                <a:gd name="connsiteY1" fmla="*/ 96663 h 112982"/>
                <a:gd name="connsiteX2" fmla="*/ 102939 w 104822"/>
                <a:gd name="connsiteY2" fmla="*/ 101056 h 112982"/>
                <a:gd name="connsiteX3" fmla="*/ 104822 w 104822"/>
                <a:gd name="connsiteY3" fmla="*/ 106078 h 112982"/>
                <a:gd name="connsiteX4" fmla="*/ 102939 w 104822"/>
                <a:gd name="connsiteY4" fmla="*/ 110472 h 112982"/>
                <a:gd name="connsiteX5" fmla="*/ 97918 w 104822"/>
                <a:gd name="connsiteY5" fmla="*/ 112982 h 112982"/>
                <a:gd name="connsiteX6" fmla="*/ 92269 w 104822"/>
                <a:gd name="connsiteY6" fmla="*/ 111727 h 112982"/>
                <a:gd name="connsiteX7" fmla="*/ 84109 w 104822"/>
                <a:gd name="connsiteY7" fmla="*/ 107333 h 112982"/>
                <a:gd name="connsiteX8" fmla="*/ 74066 w 104822"/>
                <a:gd name="connsiteY8" fmla="*/ 100429 h 112982"/>
                <a:gd name="connsiteX9" fmla="*/ 49587 w 104822"/>
                <a:gd name="connsiteY9" fmla="*/ 105450 h 112982"/>
                <a:gd name="connsiteX10" fmla="*/ 28246 w 104822"/>
                <a:gd name="connsiteY10" fmla="*/ 101684 h 112982"/>
                <a:gd name="connsiteX11" fmla="*/ 12554 w 104822"/>
                <a:gd name="connsiteY11" fmla="*/ 91013 h 112982"/>
                <a:gd name="connsiteX12" fmla="*/ 3138 w 104822"/>
                <a:gd name="connsiteY12" fmla="*/ 74066 h 112982"/>
                <a:gd name="connsiteX13" fmla="*/ 0 w 104822"/>
                <a:gd name="connsiteY13" fmla="*/ 52725 h 112982"/>
                <a:gd name="connsiteX14" fmla="*/ 3138 w 104822"/>
                <a:gd name="connsiteY14" fmla="*/ 31384 h 112982"/>
                <a:gd name="connsiteX15" fmla="*/ 13181 w 104822"/>
                <a:gd name="connsiteY15" fmla="*/ 14437 h 112982"/>
                <a:gd name="connsiteX16" fmla="*/ 28873 w 104822"/>
                <a:gd name="connsiteY16" fmla="*/ 3766 h 112982"/>
                <a:gd name="connsiteX17" fmla="*/ 49587 w 104822"/>
                <a:gd name="connsiteY17" fmla="*/ 0 h 112982"/>
                <a:gd name="connsiteX18" fmla="*/ 76577 w 104822"/>
                <a:gd name="connsiteY18" fmla="*/ 6277 h 112982"/>
                <a:gd name="connsiteX19" fmla="*/ 93524 w 104822"/>
                <a:gd name="connsiteY19" fmla="*/ 24480 h 112982"/>
                <a:gd name="connsiteX20" fmla="*/ 99173 w 104822"/>
                <a:gd name="connsiteY20" fmla="*/ 52097 h 112982"/>
                <a:gd name="connsiteX21" fmla="*/ 85992 w 104822"/>
                <a:gd name="connsiteY21" fmla="*/ 91013 h 112982"/>
                <a:gd name="connsiteX22" fmla="*/ 69673 w 104822"/>
                <a:gd name="connsiteY22" fmla="*/ 79715 h 112982"/>
                <a:gd name="connsiteX23" fmla="*/ 75949 w 104822"/>
                <a:gd name="connsiteY23" fmla="*/ 67789 h 112982"/>
                <a:gd name="connsiteX24" fmla="*/ 77832 w 104822"/>
                <a:gd name="connsiteY24" fmla="*/ 52097 h 112982"/>
                <a:gd name="connsiteX25" fmla="*/ 74066 w 104822"/>
                <a:gd name="connsiteY25" fmla="*/ 32639 h 112982"/>
                <a:gd name="connsiteX26" fmla="*/ 64023 w 104822"/>
                <a:gd name="connsiteY26" fmla="*/ 20086 h 112982"/>
                <a:gd name="connsiteX27" fmla="*/ 48331 w 104822"/>
                <a:gd name="connsiteY27" fmla="*/ 15692 h 112982"/>
                <a:gd name="connsiteX28" fmla="*/ 37033 w 104822"/>
                <a:gd name="connsiteY28" fmla="*/ 18203 h 112982"/>
                <a:gd name="connsiteX29" fmla="*/ 28246 w 104822"/>
                <a:gd name="connsiteY29" fmla="*/ 25107 h 112982"/>
                <a:gd name="connsiteX30" fmla="*/ 21969 w 104822"/>
                <a:gd name="connsiteY30" fmla="*/ 36405 h 112982"/>
                <a:gd name="connsiteX31" fmla="*/ 20086 w 104822"/>
                <a:gd name="connsiteY31" fmla="*/ 52097 h 112982"/>
                <a:gd name="connsiteX32" fmla="*/ 28246 w 104822"/>
                <a:gd name="connsiteY32" fmla="*/ 79088 h 112982"/>
                <a:gd name="connsiteX33" fmla="*/ 48959 w 104822"/>
                <a:gd name="connsiteY33" fmla="*/ 88503 h 112982"/>
                <a:gd name="connsiteX34" fmla="*/ 59629 w 104822"/>
                <a:gd name="connsiteY34" fmla="*/ 86620 h 112982"/>
                <a:gd name="connsiteX35" fmla="*/ 51470 w 104822"/>
                <a:gd name="connsiteY35" fmla="*/ 81598 h 112982"/>
                <a:gd name="connsiteX36" fmla="*/ 44565 w 104822"/>
                <a:gd name="connsiteY36" fmla="*/ 77832 h 112982"/>
                <a:gd name="connsiteX37" fmla="*/ 42682 w 104822"/>
                <a:gd name="connsiteY37" fmla="*/ 74066 h 112982"/>
                <a:gd name="connsiteX38" fmla="*/ 44565 w 104822"/>
                <a:gd name="connsiteY38" fmla="*/ 70300 h 112982"/>
                <a:gd name="connsiteX39" fmla="*/ 48331 w 104822"/>
                <a:gd name="connsiteY39" fmla="*/ 68417 h 112982"/>
                <a:gd name="connsiteX40" fmla="*/ 69673 w 104822"/>
                <a:gd name="connsiteY40" fmla="*/ 79715 h 112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04822" h="112982">
                  <a:moveTo>
                    <a:pt x="85992" y="91013"/>
                  </a:moveTo>
                  <a:cubicBezTo>
                    <a:pt x="89130" y="92896"/>
                    <a:pt x="92269" y="94780"/>
                    <a:pt x="96035" y="96663"/>
                  </a:cubicBezTo>
                  <a:cubicBezTo>
                    <a:pt x="99801" y="98546"/>
                    <a:pt x="101684" y="99801"/>
                    <a:pt x="102939" y="101056"/>
                  </a:cubicBezTo>
                  <a:cubicBezTo>
                    <a:pt x="104195" y="102312"/>
                    <a:pt x="104822" y="103567"/>
                    <a:pt x="104822" y="106078"/>
                  </a:cubicBezTo>
                  <a:cubicBezTo>
                    <a:pt x="104822" y="107333"/>
                    <a:pt x="104195" y="109216"/>
                    <a:pt x="102939" y="110472"/>
                  </a:cubicBezTo>
                  <a:cubicBezTo>
                    <a:pt x="101684" y="111727"/>
                    <a:pt x="99801" y="112982"/>
                    <a:pt x="97918" y="112982"/>
                  </a:cubicBezTo>
                  <a:cubicBezTo>
                    <a:pt x="96035" y="112982"/>
                    <a:pt x="94152" y="112355"/>
                    <a:pt x="92269" y="111727"/>
                  </a:cubicBezTo>
                  <a:cubicBezTo>
                    <a:pt x="89758" y="110472"/>
                    <a:pt x="87247" y="109216"/>
                    <a:pt x="84109" y="107333"/>
                  </a:cubicBezTo>
                  <a:cubicBezTo>
                    <a:pt x="80971" y="105450"/>
                    <a:pt x="77832" y="102939"/>
                    <a:pt x="74066" y="100429"/>
                  </a:cubicBezTo>
                  <a:cubicBezTo>
                    <a:pt x="67162" y="103567"/>
                    <a:pt x="59002" y="105450"/>
                    <a:pt x="49587" y="105450"/>
                  </a:cubicBezTo>
                  <a:cubicBezTo>
                    <a:pt x="41427" y="105450"/>
                    <a:pt x="34522" y="104195"/>
                    <a:pt x="28246" y="101684"/>
                  </a:cubicBezTo>
                  <a:cubicBezTo>
                    <a:pt x="21969" y="99173"/>
                    <a:pt x="16947" y="95407"/>
                    <a:pt x="12554" y="91013"/>
                  </a:cubicBezTo>
                  <a:cubicBezTo>
                    <a:pt x="8160" y="85992"/>
                    <a:pt x="5021" y="80343"/>
                    <a:pt x="3138" y="74066"/>
                  </a:cubicBezTo>
                  <a:cubicBezTo>
                    <a:pt x="1255" y="67789"/>
                    <a:pt x="0" y="60257"/>
                    <a:pt x="0" y="52725"/>
                  </a:cubicBezTo>
                  <a:cubicBezTo>
                    <a:pt x="0" y="45193"/>
                    <a:pt x="1255" y="37661"/>
                    <a:pt x="3138" y="31384"/>
                  </a:cubicBezTo>
                  <a:cubicBezTo>
                    <a:pt x="5649" y="25107"/>
                    <a:pt x="8788" y="19458"/>
                    <a:pt x="13181" y="14437"/>
                  </a:cubicBezTo>
                  <a:cubicBezTo>
                    <a:pt x="17575" y="10043"/>
                    <a:pt x="22597" y="6277"/>
                    <a:pt x="28873" y="3766"/>
                  </a:cubicBezTo>
                  <a:cubicBezTo>
                    <a:pt x="35150" y="1255"/>
                    <a:pt x="42055" y="0"/>
                    <a:pt x="49587" y="0"/>
                  </a:cubicBezTo>
                  <a:cubicBezTo>
                    <a:pt x="60257" y="0"/>
                    <a:pt x="69045" y="1883"/>
                    <a:pt x="76577" y="6277"/>
                  </a:cubicBezTo>
                  <a:cubicBezTo>
                    <a:pt x="84109" y="10671"/>
                    <a:pt x="89758" y="16947"/>
                    <a:pt x="93524" y="24480"/>
                  </a:cubicBezTo>
                  <a:cubicBezTo>
                    <a:pt x="97290" y="32639"/>
                    <a:pt x="99173" y="41427"/>
                    <a:pt x="99173" y="52097"/>
                  </a:cubicBezTo>
                  <a:cubicBezTo>
                    <a:pt x="99173" y="68417"/>
                    <a:pt x="94780" y="81598"/>
                    <a:pt x="85992" y="91013"/>
                  </a:cubicBezTo>
                  <a:close/>
                  <a:moveTo>
                    <a:pt x="69673" y="79715"/>
                  </a:moveTo>
                  <a:cubicBezTo>
                    <a:pt x="72811" y="76577"/>
                    <a:pt x="74694" y="72811"/>
                    <a:pt x="75949" y="67789"/>
                  </a:cubicBezTo>
                  <a:cubicBezTo>
                    <a:pt x="77204" y="63396"/>
                    <a:pt x="77832" y="58374"/>
                    <a:pt x="77832" y="52097"/>
                  </a:cubicBezTo>
                  <a:cubicBezTo>
                    <a:pt x="77832" y="44565"/>
                    <a:pt x="76577" y="38289"/>
                    <a:pt x="74066" y="32639"/>
                  </a:cubicBezTo>
                  <a:cubicBezTo>
                    <a:pt x="71556" y="26990"/>
                    <a:pt x="68417" y="23224"/>
                    <a:pt x="64023" y="20086"/>
                  </a:cubicBezTo>
                  <a:cubicBezTo>
                    <a:pt x="59629" y="17575"/>
                    <a:pt x="54608" y="15692"/>
                    <a:pt x="48331" y="15692"/>
                  </a:cubicBezTo>
                  <a:cubicBezTo>
                    <a:pt x="43938" y="15692"/>
                    <a:pt x="40172" y="16320"/>
                    <a:pt x="37033" y="18203"/>
                  </a:cubicBezTo>
                  <a:cubicBezTo>
                    <a:pt x="33267" y="19458"/>
                    <a:pt x="30756" y="21969"/>
                    <a:pt x="28246" y="25107"/>
                  </a:cubicBezTo>
                  <a:cubicBezTo>
                    <a:pt x="25735" y="28246"/>
                    <a:pt x="23852" y="32012"/>
                    <a:pt x="21969" y="36405"/>
                  </a:cubicBezTo>
                  <a:cubicBezTo>
                    <a:pt x="20713" y="40799"/>
                    <a:pt x="20086" y="46448"/>
                    <a:pt x="20086" y="52097"/>
                  </a:cubicBezTo>
                  <a:cubicBezTo>
                    <a:pt x="20086" y="64023"/>
                    <a:pt x="22597" y="72811"/>
                    <a:pt x="28246" y="79088"/>
                  </a:cubicBezTo>
                  <a:cubicBezTo>
                    <a:pt x="33895" y="85365"/>
                    <a:pt x="40799" y="88503"/>
                    <a:pt x="48959" y="88503"/>
                  </a:cubicBezTo>
                  <a:cubicBezTo>
                    <a:pt x="52097" y="88503"/>
                    <a:pt x="55864" y="87875"/>
                    <a:pt x="59629" y="86620"/>
                  </a:cubicBezTo>
                  <a:cubicBezTo>
                    <a:pt x="57747" y="84737"/>
                    <a:pt x="54608" y="83481"/>
                    <a:pt x="51470" y="81598"/>
                  </a:cubicBezTo>
                  <a:cubicBezTo>
                    <a:pt x="48331" y="79715"/>
                    <a:pt x="45820" y="78460"/>
                    <a:pt x="44565" y="77832"/>
                  </a:cubicBezTo>
                  <a:cubicBezTo>
                    <a:pt x="43310" y="77204"/>
                    <a:pt x="42682" y="75949"/>
                    <a:pt x="42682" y="74066"/>
                  </a:cubicBezTo>
                  <a:cubicBezTo>
                    <a:pt x="42682" y="72811"/>
                    <a:pt x="43310" y="71556"/>
                    <a:pt x="44565" y="70300"/>
                  </a:cubicBezTo>
                  <a:cubicBezTo>
                    <a:pt x="45820" y="69045"/>
                    <a:pt x="47076" y="68417"/>
                    <a:pt x="48331" y="68417"/>
                  </a:cubicBezTo>
                  <a:cubicBezTo>
                    <a:pt x="52725" y="69045"/>
                    <a:pt x="60257" y="72811"/>
                    <a:pt x="69673" y="79715"/>
                  </a:cubicBez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23" name="Forma Livre: Forma 222">
              <a:extLst>
                <a:ext uri="{FF2B5EF4-FFF2-40B4-BE49-F238E27FC236}">
                  <a16:creationId xmlns:a16="http://schemas.microsoft.com/office/drawing/2014/main" id="{D767EF0D-1FD5-4D91-BE9B-C65AC3CFB7A3}"/>
                </a:ext>
              </a:extLst>
            </p:cNvPr>
            <p:cNvSpPr/>
            <p:nvPr/>
          </p:nvSpPr>
          <p:spPr>
            <a:xfrm>
              <a:off x="7673715" y="5843636"/>
              <a:ext cx="93524" cy="106077"/>
            </a:xfrm>
            <a:custGeom>
              <a:avLst/>
              <a:gdLst>
                <a:gd name="connsiteX0" fmla="*/ 20085 w 93524"/>
                <a:gd name="connsiteY0" fmla="*/ 98546 h 106077"/>
                <a:gd name="connsiteX1" fmla="*/ 17575 w 93524"/>
                <a:gd name="connsiteY1" fmla="*/ 102939 h 106077"/>
                <a:gd name="connsiteX2" fmla="*/ 14437 w 93524"/>
                <a:gd name="connsiteY2" fmla="*/ 105450 h 106077"/>
                <a:gd name="connsiteX3" fmla="*/ 10043 w 93524"/>
                <a:gd name="connsiteY3" fmla="*/ 106078 h 106077"/>
                <a:gd name="connsiteX4" fmla="*/ 3138 w 93524"/>
                <a:gd name="connsiteY4" fmla="*/ 102939 h 106077"/>
                <a:gd name="connsiteX5" fmla="*/ 0 w 93524"/>
                <a:gd name="connsiteY5" fmla="*/ 96663 h 106077"/>
                <a:gd name="connsiteX6" fmla="*/ 3138 w 93524"/>
                <a:gd name="connsiteY6" fmla="*/ 85992 h 106077"/>
                <a:gd name="connsiteX7" fmla="*/ 29501 w 93524"/>
                <a:gd name="connsiteY7" fmla="*/ 20086 h 106077"/>
                <a:gd name="connsiteX8" fmla="*/ 32639 w 93524"/>
                <a:gd name="connsiteY8" fmla="*/ 11926 h 106077"/>
                <a:gd name="connsiteX9" fmla="*/ 35777 w 93524"/>
                <a:gd name="connsiteY9" fmla="*/ 6277 h 106077"/>
                <a:gd name="connsiteX10" fmla="*/ 40171 w 93524"/>
                <a:gd name="connsiteY10" fmla="*/ 1883 h 106077"/>
                <a:gd name="connsiteX11" fmla="*/ 47076 w 93524"/>
                <a:gd name="connsiteY11" fmla="*/ 0 h 106077"/>
                <a:gd name="connsiteX12" fmla="*/ 53980 w 93524"/>
                <a:gd name="connsiteY12" fmla="*/ 1883 h 106077"/>
                <a:gd name="connsiteX13" fmla="*/ 58374 w 93524"/>
                <a:gd name="connsiteY13" fmla="*/ 6277 h 106077"/>
                <a:gd name="connsiteX14" fmla="*/ 61512 w 93524"/>
                <a:gd name="connsiteY14" fmla="*/ 13181 h 106077"/>
                <a:gd name="connsiteX15" fmla="*/ 64023 w 93524"/>
                <a:gd name="connsiteY15" fmla="*/ 20086 h 106077"/>
                <a:gd name="connsiteX16" fmla="*/ 90386 w 93524"/>
                <a:gd name="connsiteY16" fmla="*/ 85992 h 106077"/>
                <a:gd name="connsiteX17" fmla="*/ 92896 w 93524"/>
                <a:gd name="connsiteY17" fmla="*/ 92269 h 106077"/>
                <a:gd name="connsiteX18" fmla="*/ 93524 w 93524"/>
                <a:gd name="connsiteY18" fmla="*/ 96663 h 106077"/>
                <a:gd name="connsiteX19" fmla="*/ 90386 w 93524"/>
                <a:gd name="connsiteY19" fmla="*/ 102939 h 106077"/>
                <a:gd name="connsiteX20" fmla="*/ 83481 w 93524"/>
                <a:gd name="connsiteY20" fmla="*/ 106078 h 106077"/>
                <a:gd name="connsiteX21" fmla="*/ 76576 w 93524"/>
                <a:gd name="connsiteY21" fmla="*/ 103567 h 106077"/>
                <a:gd name="connsiteX22" fmla="*/ 71556 w 93524"/>
                <a:gd name="connsiteY22" fmla="*/ 93524 h 106077"/>
                <a:gd name="connsiteX23" fmla="*/ 66534 w 93524"/>
                <a:gd name="connsiteY23" fmla="*/ 80343 h 106077"/>
                <a:gd name="connsiteX24" fmla="*/ 25107 w 93524"/>
                <a:gd name="connsiteY24" fmla="*/ 80343 h 106077"/>
                <a:gd name="connsiteX25" fmla="*/ 20085 w 93524"/>
                <a:gd name="connsiteY25" fmla="*/ 92896 h 106077"/>
                <a:gd name="connsiteX26" fmla="*/ 20085 w 93524"/>
                <a:gd name="connsiteY26" fmla="*/ 98546 h 106077"/>
                <a:gd name="connsiteX27" fmla="*/ 47703 w 93524"/>
                <a:gd name="connsiteY27" fmla="*/ 22597 h 106077"/>
                <a:gd name="connsiteX28" fmla="*/ 32639 w 93524"/>
                <a:gd name="connsiteY28" fmla="*/ 64651 h 106077"/>
                <a:gd name="connsiteX29" fmla="*/ 63395 w 93524"/>
                <a:gd name="connsiteY29" fmla="*/ 64651 h 106077"/>
                <a:gd name="connsiteX30" fmla="*/ 47703 w 93524"/>
                <a:gd name="connsiteY30" fmla="*/ 22597 h 106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93524" h="106077">
                  <a:moveTo>
                    <a:pt x="20085" y="98546"/>
                  </a:moveTo>
                  <a:cubicBezTo>
                    <a:pt x="19458" y="100429"/>
                    <a:pt x="18202" y="102312"/>
                    <a:pt x="17575" y="102939"/>
                  </a:cubicBezTo>
                  <a:cubicBezTo>
                    <a:pt x="16947" y="104195"/>
                    <a:pt x="15692" y="104822"/>
                    <a:pt x="14437" y="105450"/>
                  </a:cubicBezTo>
                  <a:cubicBezTo>
                    <a:pt x="13181" y="106078"/>
                    <a:pt x="11926" y="106078"/>
                    <a:pt x="10043" y="106078"/>
                  </a:cubicBezTo>
                  <a:cubicBezTo>
                    <a:pt x="7532" y="106078"/>
                    <a:pt x="5021" y="104822"/>
                    <a:pt x="3138" y="102939"/>
                  </a:cubicBezTo>
                  <a:cubicBezTo>
                    <a:pt x="1255" y="101056"/>
                    <a:pt x="0" y="98546"/>
                    <a:pt x="0" y="96663"/>
                  </a:cubicBezTo>
                  <a:cubicBezTo>
                    <a:pt x="0" y="94152"/>
                    <a:pt x="1255" y="91013"/>
                    <a:pt x="3138" y="85992"/>
                  </a:cubicBezTo>
                  <a:lnTo>
                    <a:pt x="29501" y="20086"/>
                  </a:lnTo>
                  <a:cubicBezTo>
                    <a:pt x="30756" y="16947"/>
                    <a:pt x="32011" y="14437"/>
                    <a:pt x="32639" y="11926"/>
                  </a:cubicBezTo>
                  <a:cubicBezTo>
                    <a:pt x="33267" y="10043"/>
                    <a:pt x="34522" y="8160"/>
                    <a:pt x="35777" y="6277"/>
                  </a:cubicBezTo>
                  <a:cubicBezTo>
                    <a:pt x="37033" y="4394"/>
                    <a:pt x="38288" y="3138"/>
                    <a:pt x="40171" y="1883"/>
                  </a:cubicBezTo>
                  <a:cubicBezTo>
                    <a:pt x="42054" y="628"/>
                    <a:pt x="44565" y="0"/>
                    <a:pt x="47076" y="0"/>
                  </a:cubicBezTo>
                  <a:cubicBezTo>
                    <a:pt x="50214" y="0"/>
                    <a:pt x="52097" y="628"/>
                    <a:pt x="53980" y="1883"/>
                  </a:cubicBezTo>
                  <a:cubicBezTo>
                    <a:pt x="55864" y="3138"/>
                    <a:pt x="57746" y="4394"/>
                    <a:pt x="58374" y="6277"/>
                  </a:cubicBezTo>
                  <a:cubicBezTo>
                    <a:pt x="59629" y="8160"/>
                    <a:pt x="60885" y="10043"/>
                    <a:pt x="61512" y="13181"/>
                  </a:cubicBezTo>
                  <a:cubicBezTo>
                    <a:pt x="62768" y="15692"/>
                    <a:pt x="63395" y="18203"/>
                    <a:pt x="64023" y="20086"/>
                  </a:cubicBezTo>
                  <a:lnTo>
                    <a:pt x="90386" y="85992"/>
                  </a:lnTo>
                  <a:cubicBezTo>
                    <a:pt x="91641" y="88503"/>
                    <a:pt x="92268" y="90386"/>
                    <a:pt x="92896" y="92269"/>
                  </a:cubicBezTo>
                  <a:cubicBezTo>
                    <a:pt x="93524" y="93524"/>
                    <a:pt x="93524" y="95407"/>
                    <a:pt x="93524" y="96663"/>
                  </a:cubicBezTo>
                  <a:cubicBezTo>
                    <a:pt x="93524" y="99173"/>
                    <a:pt x="92268" y="101056"/>
                    <a:pt x="90386" y="102939"/>
                  </a:cubicBezTo>
                  <a:cubicBezTo>
                    <a:pt x="88503" y="104822"/>
                    <a:pt x="85992" y="106078"/>
                    <a:pt x="83481" y="106078"/>
                  </a:cubicBezTo>
                  <a:cubicBezTo>
                    <a:pt x="80342" y="106078"/>
                    <a:pt x="78460" y="105450"/>
                    <a:pt x="76576" y="103567"/>
                  </a:cubicBezTo>
                  <a:cubicBezTo>
                    <a:pt x="75321" y="101684"/>
                    <a:pt x="73438" y="98546"/>
                    <a:pt x="71556" y="93524"/>
                  </a:cubicBezTo>
                  <a:lnTo>
                    <a:pt x="66534" y="80343"/>
                  </a:lnTo>
                  <a:lnTo>
                    <a:pt x="25107" y="80343"/>
                  </a:lnTo>
                  <a:lnTo>
                    <a:pt x="20085" y="92896"/>
                  </a:lnTo>
                  <a:cubicBezTo>
                    <a:pt x="21341" y="94780"/>
                    <a:pt x="20713" y="96663"/>
                    <a:pt x="20085" y="98546"/>
                  </a:cubicBezTo>
                  <a:close/>
                  <a:moveTo>
                    <a:pt x="47703" y="22597"/>
                  </a:moveTo>
                  <a:lnTo>
                    <a:pt x="32639" y="64651"/>
                  </a:lnTo>
                  <a:lnTo>
                    <a:pt x="63395" y="64651"/>
                  </a:lnTo>
                  <a:lnTo>
                    <a:pt x="47703" y="22597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24" name="Forma Livre: Forma 223">
              <a:extLst>
                <a:ext uri="{FF2B5EF4-FFF2-40B4-BE49-F238E27FC236}">
                  <a16:creationId xmlns:a16="http://schemas.microsoft.com/office/drawing/2014/main" id="{B031610E-D925-463B-9D96-A0DAE6D4161C}"/>
                </a:ext>
              </a:extLst>
            </p:cNvPr>
            <p:cNvSpPr/>
            <p:nvPr/>
          </p:nvSpPr>
          <p:spPr>
            <a:xfrm>
              <a:off x="7602160" y="5772708"/>
              <a:ext cx="227847" cy="317605"/>
            </a:xfrm>
            <a:custGeom>
              <a:avLst/>
              <a:gdLst>
                <a:gd name="connsiteX0" fmla="*/ 162569 w 227847"/>
                <a:gd name="connsiteY0" fmla="*/ 317605 h 317605"/>
                <a:gd name="connsiteX1" fmla="*/ 152526 w 227847"/>
                <a:gd name="connsiteY1" fmla="*/ 313839 h 317605"/>
                <a:gd name="connsiteX2" fmla="*/ 77832 w 227847"/>
                <a:gd name="connsiteY2" fmla="*/ 254837 h 317605"/>
                <a:gd name="connsiteX3" fmla="*/ 33267 w 227847"/>
                <a:gd name="connsiteY3" fmla="*/ 254837 h 317605"/>
                <a:gd name="connsiteX4" fmla="*/ 0 w 227847"/>
                <a:gd name="connsiteY4" fmla="*/ 221570 h 317605"/>
                <a:gd name="connsiteX5" fmla="*/ 0 w 227847"/>
                <a:gd name="connsiteY5" fmla="*/ 136834 h 317605"/>
                <a:gd name="connsiteX6" fmla="*/ 16947 w 227847"/>
                <a:gd name="connsiteY6" fmla="*/ 119886 h 317605"/>
                <a:gd name="connsiteX7" fmla="*/ 28873 w 227847"/>
                <a:gd name="connsiteY7" fmla="*/ 119886 h 317605"/>
                <a:gd name="connsiteX8" fmla="*/ 28873 w 227847"/>
                <a:gd name="connsiteY8" fmla="*/ 16947 h 317605"/>
                <a:gd name="connsiteX9" fmla="*/ 45820 w 227847"/>
                <a:gd name="connsiteY9" fmla="*/ 0 h 317605"/>
                <a:gd name="connsiteX10" fmla="*/ 194580 w 227847"/>
                <a:gd name="connsiteY10" fmla="*/ 0 h 317605"/>
                <a:gd name="connsiteX11" fmla="*/ 227848 w 227847"/>
                <a:gd name="connsiteY11" fmla="*/ 33267 h 317605"/>
                <a:gd name="connsiteX12" fmla="*/ 227848 w 227847"/>
                <a:gd name="connsiteY12" fmla="*/ 220943 h 317605"/>
                <a:gd name="connsiteX13" fmla="*/ 194580 w 227847"/>
                <a:gd name="connsiteY13" fmla="*/ 254210 h 317605"/>
                <a:gd name="connsiteX14" fmla="*/ 179516 w 227847"/>
                <a:gd name="connsiteY14" fmla="*/ 254210 h 317605"/>
                <a:gd name="connsiteX15" fmla="*/ 179516 w 227847"/>
                <a:gd name="connsiteY15" fmla="*/ 300030 h 317605"/>
                <a:gd name="connsiteX16" fmla="*/ 170101 w 227847"/>
                <a:gd name="connsiteY16" fmla="*/ 315095 h 317605"/>
                <a:gd name="connsiteX17" fmla="*/ 162569 w 227847"/>
                <a:gd name="connsiteY17" fmla="*/ 317605 h 317605"/>
                <a:gd name="connsiteX18" fmla="*/ 162569 w 227847"/>
                <a:gd name="connsiteY18" fmla="*/ 317605 h 317605"/>
                <a:gd name="connsiteX19" fmla="*/ 33267 w 227847"/>
                <a:gd name="connsiteY19" fmla="*/ 153154 h 317605"/>
                <a:gd name="connsiteX20" fmla="*/ 33267 w 227847"/>
                <a:gd name="connsiteY20" fmla="*/ 221570 h 317605"/>
                <a:gd name="connsiteX21" fmla="*/ 83481 w 227847"/>
                <a:gd name="connsiteY21" fmla="*/ 221570 h 317605"/>
                <a:gd name="connsiteX22" fmla="*/ 94152 w 227847"/>
                <a:gd name="connsiteY22" fmla="*/ 225337 h 317605"/>
                <a:gd name="connsiteX23" fmla="*/ 146249 w 227847"/>
                <a:gd name="connsiteY23" fmla="*/ 266763 h 317605"/>
                <a:gd name="connsiteX24" fmla="*/ 146249 w 227847"/>
                <a:gd name="connsiteY24" fmla="*/ 238518 h 317605"/>
                <a:gd name="connsiteX25" fmla="*/ 163196 w 227847"/>
                <a:gd name="connsiteY25" fmla="*/ 221570 h 317605"/>
                <a:gd name="connsiteX26" fmla="*/ 194580 w 227847"/>
                <a:gd name="connsiteY26" fmla="*/ 221570 h 317605"/>
                <a:gd name="connsiteX27" fmla="*/ 194580 w 227847"/>
                <a:gd name="connsiteY27" fmla="*/ 33895 h 317605"/>
                <a:gd name="connsiteX28" fmla="*/ 62140 w 227847"/>
                <a:gd name="connsiteY28" fmla="*/ 33895 h 317605"/>
                <a:gd name="connsiteX29" fmla="*/ 62140 w 227847"/>
                <a:gd name="connsiteY29" fmla="*/ 119886 h 317605"/>
                <a:gd name="connsiteX30" fmla="*/ 33267 w 227847"/>
                <a:gd name="connsiteY30" fmla="*/ 153154 h 317605"/>
                <a:gd name="connsiteX31" fmla="*/ 33267 w 227847"/>
                <a:gd name="connsiteY31" fmla="*/ 153154 h 317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27847" h="317605">
                  <a:moveTo>
                    <a:pt x="162569" y="317605"/>
                  </a:moveTo>
                  <a:cubicBezTo>
                    <a:pt x="158803" y="317605"/>
                    <a:pt x="155036" y="316350"/>
                    <a:pt x="152526" y="313839"/>
                  </a:cubicBezTo>
                  <a:lnTo>
                    <a:pt x="77832" y="254837"/>
                  </a:lnTo>
                  <a:lnTo>
                    <a:pt x="33267" y="254837"/>
                  </a:lnTo>
                  <a:cubicBezTo>
                    <a:pt x="15064" y="254837"/>
                    <a:pt x="0" y="239773"/>
                    <a:pt x="0" y="221570"/>
                  </a:cubicBezTo>
                  <a:lnTo>
                    <a:pt x="0" y="136834"/>
                  </a:lnTo>
                  <a:cubicBezTo>
                    <a:pt x="0" y="127419"/>
                    <a:pt x="7532" y="119886"/>
                    <a:pt x="16947" y="119886"/>
                  </a:cubicBezTo>
                  <a:lnTo>
                    <a:pt x="28873" y="119886"/>
                  </a:lnTo>
                  <a:lnTo>
                    <a:pt x="28873" y="16947"/>
                  </a:lnTo>
                  <a:cubicBezTo>
                    <a:pt x="28873" y="7532"/>
                    <a:pt x="36405" y="0"/>
                    <a:pt x="45820" y="0"/>
                  </a:cubicBezTo>
                  <a:lnTo>
                    <a:pt x="194580" y="0"/>
                  </a:lnTo>
                  <a:cubicBezTo>
                    <a:pt x="212783" y="0"/>
                    <a:pt x="227848" y="15064"/>
                    <a:pt x="227848" y="33267"/>
                  </a:cubicBezTo>
                  <a:lnTo>
                    <a:pt x="227848" y="220943"/>
                  </a:lnTo>
                  <a:cubicBezTo>
                    <a:pt x="227848" y="239145"/>
                    <a:pt x="212783" y="254210"/>
                    <a:pt x="194580" y="254210"/>
                  </a:cubicBezTo>
                  <a:lnTo>
                    <a:pt x="179516" y="254210"/>
                  </a:lnTo>
                  <a:lnTo>
                    <a:pt x="179516" y="300030"/>
                  </a:lnTo>
                  <a:cubicBezTo>
                    <a:pt x="179516" y="306307"/>
                    <a:pt x="175750" y="311956"/>
                    <a:pt x="170101" y="315095"/>
                  </a:cubicBezTo>
                  <a:cubicBezTo>
                    <a:pt x="167590" y="316978"/>
                    <a:pt x="165080" y="317605"/>
                    <a:pt x="162569" y="317605"/>
                  </a:cubicBezTo>
                  <a:lnTo>
                    <a:pt x="162569" y="317605"/>
                  </a:lnTo>
                  <a:close/>
                  <a:moveTo>
                    <a:pt x="33267" y="153154"/>
                  </a:moveTo>
                  <a:lnTo>
                    <a:pt x="33267" y="221570"/>
                  </a:lnTo>
                  <a:lnTo>
                    <a:pt x="83481" y="221570"/>
                  </a:lnTo>
                  <a:cubicBezTo>
                    <a:pt x="87247" y="221570"/>
                    <a:pt x="91013" y="222826"/>
                    <a:pt x="94152" y="225337"/>
                  </a:cubicBezTo>
                  <a:lnTo>
                    <a:pt x="146249" y="266763"/>
                  </a:lnTo>
                  <a:lnTo>
                    <a:pt x="146249" y="238518"/>
                  </a:lnTo>
                  <a:cubicBezTo>
                    <a:pt x="146249" y="229103"/>
                    <a:pt x="153781" y="221570"/>
                    <a:pt x="163196" y="221570"/>
                  </a:cubicBezTo>
                  <a:lnTo>
                    <a:pt x="194580" y="221570"/>
                  </a:lnTo>
                  <a:lnTo>
                    <a:pt x="194580" y="33895"/>
                  </a:lnTo>
                  <a:lnTo>
                    <a:pt x="62140" y="33895"/>
                  </a:lnTo>
                  <a:lnTo>
                    <a:pt x="62140" y="119886"/>
                  </a:lnTo>
                  <a:cubicBezTo>
                    <a:pt x="62140" y="136834"/>
                    <a:pt x="49587" y="151270"/>
                    <a:pt x="33267" y="153154"/>
                  </a:cubicBezTo>
                  <a:lnTo>
                    <a:pt x="33267" y="153154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25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9480802" y="5683578"/>
            <a:ext cx="393240" cy="394182"/>
            <a:chOff x="9480802" y="5683578"/>
            <a:chExt cx="393240" cy="394182"/>
          </a:xfrm>
          <a:solidFill>
            <a:srgbClr val="B1B1A1"/>
          </a:solidFill>
        </p:grpSpPr>
        <p:sp>
          <p:nvSpPr>
            <p:cNvPr id="226" name="Forma Livre: Forma 225">
              <a:extLst>
                <a:ext uri="{FF2B5EF4-FFF2-40B4-BE49-F238E27FC236}">
                  <a16:creationId xmlns:a16="http://schemas.microsoft.com/office/drawing/2014/main" id="{D396E4BE-71D2-4397-806C-EB56E4A14DCE}"/>
                </a:ext>
              </a:extLst>
            </p:cNvPr>
            <p:cNvSpPr/>
            <p:nvPr/>
          </p:nvSpPr>
          <p:spPr>
            <a:xfrm>
              <a:off x="9480802" y="5683578"/>
              <a:ext cx="393240" cy="394182"/>
            </a:xfrm>
            <a:custGeom>
              <a:avLst/>
              <a:gdLst>
                <a:gd name="connsiteX0" fmla="*/ 196463 w 393240"/>
                <a:gd name="connsiteY0" fmla="*/ 394182 h 394182"/>
                <a:gd name="connsiteX1" fmla="*/ 57746 w 393240"/>
                <a:gd name="connsiteY1" fmla="*/ 336436 h 394182"/>
                <a:gd name="connsiteX2" fmla="*/ 0 w 393240"/>
                <a:gd name="connsiteY2" fmla="*/ 197091 h 394182"/>
                <a:gd name="connsiteX3" fmla="*/ 57746 w 393240"/>
                <a:gd name="connsiteY3" fmla="*/ 57747 h 394182"/>
                <a:gd name="connsiteX4" fmla="*/ 196463 w 393240"/>
                <a:gd name="connsiteY4" fmla="*/ 0 h 394182"/>
                <a:gd name="connsiteX5" fmla="*/ 335808 w 393240"/>
                <a:gd name="connsiteY5" fmla="*/ 57747 h 394182"/>
                <a:gd name="connsiteX6" fmla="*/ 335808 w 393240"/>
                <a:gd name="connsiteY6" fmla="*/ 335808 h 394182"/>
                <a:gd name="connsiteX7" fmla="*/ 196463 w 393240"/>
                <a:gd name="connsiteY7" fmla="*/ 394182 h 394182"/>
                <a:gd name="connsiteX8" fmla="*/ 196463 w 393240"/>
                <a:gd name="connsiteY8" fmla="*/ 394182 h 394182"/>
                <a:gd name="connsiteX9" fmla="*/ 196463 w 393240"/>
                <a:gd name="connsiteY9" fmla="*/ 34522 h 394182"/>
                <a:gd name="connsiteX10" fmla="*/ 80970 w 393240"/>
                <a:gd name="connsiteY10" fmla="*/ 82226 h 394182"/>
                <a:gd name="connsiteX11" fmla="*/ 33267 w 393240"/>
                <a:gd name="connsiteY11" fmla="*/ 197719 h 394182"/>
                <a:gd name="connsiteX12" fmla="*/ 80970 w 393240"/>
                <a:gd name="connsiteY12" fmla="*/ 313212 h 394182"/>
                <a:gd name="connsiteX13" fmla="*/ 196463 w 393240"/>
                <a:gd name="connsiteY13" fmla="*/ 360915 h 394182"/>
                <a:gd name="connsiteX14" fmla="*/ 311956 w 393240"/>
                <a:gd name="connsiteY14" fmla="*/ 313212 h 394182"/>
                <a:gd name="connsiteX15" fmla="*/ 311956 w 393240"/>
                <a:gd name="connsiteY15" fmla="*/ 82226 h 394182"/>
                <a:gd name="connsiteX16" fmla="*/ 196463 w 393240"/>
                <a:gd name="connsiteY16" fmla="*/ 34522 h 394182"/>
                <a:gd name="connsiteX17" fmla="*/ 196463 w 393240"/>
                <a:gd name="connsiteY17" fmla="*/ 34522 h 394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93240" h="394182">
                  <a:moveTo>
                    <a:pt x="196463" y="394182"/>
                  </a:moveTo>
                  <a:cubicBezTo>
                    <a:pt x="143738" y="394182"/>
                    <a:pt x="94779" y="373469"/>
                    <a:pt x="57746" y="336436"/>
                  </a:cubicBezTo>
                  <a:cubicBezTo>
                    <a:pt x="20713" y="299403"/>
                    <a:pt x="0" y="249816"/>
                    <a:pt x="0" y="197091"/>
                  </a:cubicBezTo>
                  <a:cubicBezTo>
                    <a:pt x="0" y="144366"/>
                    <a:pt x="20713" y="95407"/>
                    <a:pt x="57746" y="57747"/>
                  </a:cubicBezTo>
                  <a:cubicBezTo>
                    <a:pt x="94779" y="20713"/>
                    <a:pt x="144366" y="0"/>
                    <a:pt x="196463" y="0"/>
                  </a:cubicBezTo>
                  <a:cubicBezTo>
                    <a:pt x="249188" y="0"/>
                    <a:pt x="298147" y="20713"/>
                    <a:pt x="335808" y="57747"/>
                  </a:cubicBezTo>
                  <a:cubicBezTo>
                    <a:pt x="412385" y="134323"/>
                    <a:pt x="412385" y="259231"/>
                    <a:pt x="335808" y="335808"/>
                  </a:cubicBezTo>
                  <a:cubicBezTo>
                    <a:pt x="298147" y="373469"/>
                    <a:pt x="248561" y="394182"/>
                    <a:pt x="196463" y="394182"/>
                  </a:cubicBezTo>
                  <a:lnTo>
                    <a:pt x="196463" y="394182"/>
                  </a:lnTo>
                  <a:close/>
                  <a:moveTo>
                    <a:pt x="196463" y="34522"/>
                  </a:moveTo>
                  <a:cubicBezTo>
                    <a:pt x="153153" y="34522"/>
                    <a:pt x="111726" y="51470"/>
                    <a:pt x="80970" y="82226"/>
                  </a:cubicBezTo>
                  <a:cubicBezTo>
                    <a:pt x="50214" y="112982"/>
                    <a:pt x="33267" y="153781"/>
                    <a:pt x="33267" y="197719"/>
                  </a:cubicBezTo>
                  <a:cubicBezTo>
                    <a:pt x="33267" y="241656"/>
                    <a:pt x="50214" y="282455"/>
                    <a:pt x="80970" y="313212"/>
                  </a:cubicBezTo>
                  <a:cubicBezTo>
                    <a:pt x="111726" y="343968"/>
                    <a:pt x="152525" y="360915"/>
                    <a:pt x="196463" y="360915"/>
                  </a:cubicBezTo>
                  <a:cubicBezTo>
                    <a:pt x="240400" y="360915"/>
                    <a:pt x="281200" y="343968"/>
                    <a:pt x="311956" y="313212"/>
                  </a:cubicBezTo>
                  <a:cubicBezTo>
                    <a:pt x="375351" y="249816"/>
                    <a:pt x="375351" y="146249"/>
                    <a:pt x="311956" y="82226"/>
                  </a:cubicBezTo>
                  <a:cubicBezTo>
                    <a:pt x="280572" y="51470"/>
                    <a:pt x="239773" y="34522"/>
                    <a:pt x="196463" y="34522"/>
                  </a:cubicBezTo>
                  <a:lnTo>
                    <a:pt x="196463" y="34522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27" name="Forma Livre: Forma 226">
              <a:extLst>
                <a:ext uri="{FF2B5EF4-FFF2-40B4-BE49-F238E27FC236}">
                  <a16:creationId xmlns:a16="http://schemas.microsoft.com/office/drawing/2014/main" id="{A906F6A5-560C-4B28-A086-352DCE5EFF0B}"/>
                </a:ext>
              </a:extLst>
            </p:cNvPr>
            <p:cNvSpPr/>
            <p:nvPr/>
          </p:nvSpPr>
          <p:spPr>
            <a:xfrm>
              <a:off x="9521011" y="5755133"/>
              <a:ext cx="315135" cy="322626"/>
            </a:xfrm>
            <a:custGeom>
              <a:avLst/>
              <a:gdLst>
                <a:gd name="connsiteX0" fmla="*/ 156254 w 315135"/>
                <a:gd name="connsiteY0" fmla="*/ 322627 h 322626"/>
                <a:gd name="connsiteX1" fmla="*/ 156254 w 315135"/>
                <a:gd name="connsiteY1" fmla="*/ 322627 h 322626"/>
                <a:gd name="connsiteX2" fmla="*/ 17537 w 315135"/>
                <a:gd name="connsiteY2" fmla="*/ 264880 h 322626"/>
                <a:gd name="connsiteX3" fmla="*/ 3729 w 315135"/>
                <a:gd name="connsiteY3" fmla="*/ 249816 h 322626"/>
                <a:gd name="connsiteX4" fmla="*/ 2473 w 315135"/>
                <a:gd name="connsiteY4" fmla="*/ 230986 h 322626"/>
                <a:gd name="connsiteX5" fmla="*/ 20048 w 315135"/>
                <a:gd name="connsiteY5" fmla="*/ 212783 h 322626"/>
                <a:gd name="connsiteX6" fmla="*/ 101646 w 315135"/>
                <a:gd name="connsiteY6" fmla="*/ 187048 h 322626"/>
                <a:gd name="connsiteX7" fmla="*/ 88465 w 315135"/>
                <a:gd name="connsiteY7" fmla="*/ 163196 h 322626"/>
                <a:gd name="connsiteX8" fmla="*/ 87837 w 315135"/>
                <a:gd name="connsiteY8" fmla="*/ 156292 h 322626"/>
                <a:gd name="connsiteX9" fmla="*/ 75912 w 315135"/>
                <a:gd name="connsiteY9" fmla="*/ 138089 h 322626"/>
                <a:gd name="connsiteX10" fmla="*/ 72773 w 315135"/>
                <a:gd name="connsiteY10" fmla="*/ 105450 h 322626"/>
                <a:gd name="connsiteX11" fmla="*/ 80305 w 315135"/>
                <a:gd name="connsiteY11" fmla="*/ 85992 h 322626"/>
                <a:gd name="connsiteX12" fmla="*/ 79678 w 315135"/>
                <a:gd name="connsiteY12" fmla="*/ 77832 h 322626"/>
                <a:gd name="connsiteX13" fmla="*/ 97252 w 315135"/>
                <a:gd name="connsiteY13" fmla="*/ 21341 h 322626"/>
                <a:gd name="connsiteX14" fmla="*/ 158137 w 315135"/>
                <a:gd name="connsiteY14" fmla="*/ 0 h 322626"/>
                <a:gd name="connsiteX15" fmla="*/ 219649 w 315135"/>
                <a:gd name="connsiteY15" fmla="*/ 21969 h 322626"/>
                <a:gd name="connsiteX16" fmla="*/ 236597 w 315135"/>
                <a:gd name="connsiteY16" fmla="*/ 77832 h 322626"/>
                <a:gd name="connsiteX17" fmla="*/ 235970 w 315135"/>
                <a:gd name="connsiteY17" fmla="*/ 86620 h 322626"/>
                <a:gd name="connsiteX18" fmla="*/ 243502 w 315135"/>
                <a:gd name="connsiteY18" fmla="*/ 106077 h 322626"/>
                <a:gd name="connsiteX19" fmla="*/ 240363 w 315135"/>
                <a:gd name="connsiteY19" fmla="*/ 138717 h 322626"/>
                <a:gd name="connsiteX20" fmla="*/ 228437 w 315135"/>
                <a:gd name="connsiteY20" fmla="*/ 156920 h 322626"/>
                <a:gd name="connsiteX21" fmla="*/ 227810 w 315135"/>
                <a:gd name="connsiteY21" fmla="*/ 163824 h 322626"/>
                <a:gd name="connsiteX22" fmla="*/ 214628 w 315135"/>
                <a:gd name="connsiteY22" fmla="*/ 187676 h 322626"/>
                <a:gd name="connsiteX23" fmla="*/ 294971 w 315135"/>
                <a:gd name="connsiteY23" fmla="*/ 213411 h 322626"/>
                <a:gd name="connsiteX24" fmla="*/ 313174 w 315135"/>
                <a:gd name="connsiteY24" fmla="*/ 231613 h 322626"/>
                <a:gd name="connsiteX25" fmla="*/ 311291 w 315135"/>
                <a:gd name="connsiteY25" fmla="*/ 250444 h 322626"/>
                <a:gd name="connsiteX26" fmla="*/ 297482 w 315135"/>
                <a:gd name="connsiteY26" fmla="*/ 265508 h 322626"/>
                <a:gd name="connsiteX27" fmla="*/ 156254 w 315135"/>
                <a:gd name="connsiteY27" fmla="*/ 322627 h 322626"/>
                <a:gd name="connsiteX28" fmla="*/ 156254 w 315135"/>
                <a:gd name="connsiteY28" fmla="*/ 322627 h 322626"/>
                <a:gd name="connsiteX29" fmla="*/ 40133 w 315135"/>
                <a:gd name="connsiteY29" fmla="*/ 241028 h 322626"/>
                <a:gd name="connsiteX30" fmla="*/ 40761 w 315135"/>
                <a:gd name="connsiteY30" fmla="*/ 241656 h 322626"/>
                <a:gd name="connsiteX31" fmla="*/ 156254 w 315135"/>
                <a:gd name="connsiteY31" fmla="*/ 289360 h 322626"/>
                <a:gd name="connsiteX32" fmla="*/ 271747 w 315135"/>
                <a:gd name="connsiteY32" fmla="*/ 241656 h 322626"/>
                <a:gd name="connsiteX33" fmla="*/ 272375 w 315135"/>
                <a:gd name="connsiteY33" fmla="*/ 241028 h 322626"/>
                <a:gd name="connsiteX34" fmla="*/ 190149 w 315135"/>
                <a:gd name="connsiteY34" fmla="*/ 218432 h 322626"/>
                <a:gd name="connsiteX35" fmla="*/ 178850 w 315135"/>
                <a:gd name="connsiteY35" fmla="*/ 212155 h 322626"/>
                <a:gd name="connsiteX36" fmla="*/ 175712 w 315135"/>
                <a:gd name="connsiteY36" fmla="*/ 199602 h 322626"/>
                <a:gd name="connsiteX37" fmla="*/ 178850 w 315135"/>
                <a:gd name="connsiteY37" fmla="*/ 177005 h 322626"/>
                <a:gd name="connsiteX38" fmla="*/ 186383 w 315135"/>
                <a:gd name="connsiteY38" fmla="*/ 165707 h 322626"/>
                <a:gd name="connsiteX39" fmla="*/ 191404 w 315135"/>
                <a:gd name="connsiteY39" fmla="*/ 160686 h 322626"/>
                <a:gd name="connsiteX40" fmla="*/ 193915 w 315135"/>
                <a:gd name="connsiteY40" fmla="*/ 139972 h 322626"/>
                <a:gd name="connsiteX41" fmla="*/ 205213 w 315135"/>
                <a:gd name="connsiteY41" fmla="*/ 126163 h 322626"/>
                <a:gd name="connsiteX42" fmla="*/ 205213 w 315135"/>
                <a:gd name="connsiteY42" fmla="*/ 126163 h 322626"/>
                <a:gd name="connsiteX43" fmla="*/ 206468 w 315135"/>
                <a:gd name="connsiteY43" fmla="*/ 114238 h 322626"/>
                <a:gd name="connsiteX44" fmla="*/ 205841 w 315135"/>
                <a:gd name="connsiteY44" fmla="*/ 113610 h 322626"/>
                <a:gd name="connsiteX45" fmla="*/ 198937 w 315135"/>
                <a:gd name="connsiteY45" fmla="*/ 97918 h 322626"/>
                <a:gd name="connsiteX46" fmla="*/ 201447 w 315135"/>
                <a:gd name="connsiteY46" fmla="*/ 76577 h 322626"/>
                <a:gd name="connsiteX47" fmla="*/ 195171 w 315135"/>
                <a:gd name="connsiteY47" fmla="*/ 47703 h 322626"/>
                <a:gd name="connsiteX48" fmla="*/ 156882 w 315135"/>
                <a:gd name="connsiteY48" fmla="*/ 34522 h 322626"/>
                <a:gd name="connsiteX49" fmla="*/ 119221 w 315135"/>
                <a:gd name="connsiteY49" fmla="*/ 47076 h 322626"/>
                <a:gd name="connsiteX50" fmla="*/ 112317 w 315135"/>
                <a:gd name="connsiteY50" fmla="*/ 76577 h 322626"/>
                <a:gd name="connsiteX51" fmla="*/ 114827 w 315135"/>
                <a:gd name="connsiteY51" fmla="*/ 97918 h 322626"/>
                <a:gd name="connsiteX52" fmla="*/ 107296 w 315135"/>
                <a:gd name="connsiteY52" fmla="*/ 113610 h 322626"/>
                <a:gd name="connsiteX53" fmla="*/ 106667 w 315135"/>
                <a:gd name="connsiteY53" fmla="*/ 114238 h 322626"/>
                <a:gd name="connsiteX54" fmla="*/ 107923 w 315135"/>
                <a:gd name="connsiteY54" fmla="*/ 126163 h 322626"/>
                <a:gd name="connsiteX55" fmla="*/ 107923 w 315135"/>
                <a:gd name="connsiteY55" fmla="*/ 126163 h 322626"/>
                <a:gd name="connsiteX56" fmla="*/ 119221 w 315135"/>
                <a:gd name="connsiteY56" fmla="*/ 139972 h 322626"/>
                <a:gd name="connsiteX57" fmla="*/ 121732 w 315135"/>
                <a:gd name="connsiteY57" fmla="*/ 161313 h 322626"/>
                <a:gd name="connsiteX58" fmla="*/ 126753 w 315135"/>
                <a:gd name="connsiteY58" fmla="*/ 165707 h 322626"/>
                <a:gd name="connsiteX59" fmla="*/ 134285 w 315135"/>
                <a:gd name="connsiteY59" fmla="*/ 177633 h 322626"/>
                <a:gd name="connsiteX60" fmla="*/ 137424 w 315135"/>
                <a:gd name="connsiteY60" fmla="*/ 200229 h 322626"/>
                <a:gd name="connsiteX61" fmla="*/ 134285 w 315135"/>
                <a:gd name="connsiteY61" fmla="*/ 212783 h 322626"/>
                <a:gd name="connsiteX62" fmla="*/ 122988 w 315135"/>
                <a:gd name="connsiteY62" fmla="*/ 219060 h 322626"/>
                <a:gd name="connsiteX63" fmla="*/ 40133 w 315135"/>
                <a:gd name="connsiteY63" fmla="*/ 241028 h 322626"/>
                <a:gd name="connsiteX64" fmla="*/ 40133 w 315135"/>
                <a:gd name="connsiteY64" fmla="*/ 241028 h 322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315135" h="322626">
                  <a:moveTo>
                    <a:pt x="156254" y="322627"/>
                  </a:moveTo>
                  <a:lnTo>
                    <a:pt x="156254" y="322627"/>
                  </a:lnTo>
                  <a:cubicBezTo>
                    <a:pt x="103529" y="322627"/>
                    <a:pt x="54570" y="301913"/>
                    <a:pt x="17537" y="264880"/>
                  </a:cubicBezTo>
                  <a:cubicBezTo>
                    <a:pt x="12515" y="259859"/>
                    <a:pt x="8122" y="254837"/>
                    <a:pt x="3729" y="249816"/>
                  </a:cubicBezTo>
                  <a:cubicBezTo>
                    <a:pt x="-666" y="244795"/>
                    <a:pt x="-1293" y="237262"/>
                    <a:pt x="2473" y="230986"/>
                  </a:cubicBezTo>
                  <a:cubicBezTo>
                    <a:pt x="6867" y="222826"/>
                    <a:pt x="13144" y="216549"/>
                    <a:pt x="20048" y="212783"/>
                  </a:cubicBezTo>
                  <a:cubicBezTo>
                    <a:pt x="45783" y="200229"/>
                    <a:pt x="73401" y="192070"/>
                    <a:pt x="101646" y="187048"/>
                  </a:cubicBezTo>
                  <a:cubicBezTo>
                    <a:pt x="94114" y="180144"/>
                    <a:pt x="89093" y="171356"/>
                    <a:pt x="88465" y="163196"/>
                  </a:cubicBezTo>
                  <a:cubicBezTo>
                    <a:pt x="88465" y="161313"/>
                    <a:pt x="87837" y="158803"/>
                    <a:pt x="87837" y="156292"/>
                  </a:cubicBezTo>
                  <a:cubicBezTo>
                    <a:pt x="80933" y="153153"/>
                    <a:pt x="76539" y="146249"/>
                    <a:pt x="75912" y="138089"/>
                  </a:cubicBezTo>
                  <a:lnTo>
                    <a:pt x="72773" y="105450"/>
                  </a:lnTo>
                  <a:cubicBezTo>
                    <a:pt x="72145" y="97918"/>
                    <a:pt x="75283" y="91013"/>
                    <a:pt x="80305" y="85992"/>
                  </a:cubicBezTo>
                  <a:lnTo>
                    <a:pt x="79678" y="77832"/>
                  </a:lnTo>
                  <a:cubicBezTo>
                    <a:pt x="78422" y="66534"/>
                    <a:pt x="75912" y="39544"/>
                    <a:pt x="97252" y="21341"/>
                  </a:cubicBezTo>
                  <a:cubicBezTo>
                    <a:pt x="111061" y="7532"/>
                    <a:pt x="133658" y="0"/>
                    <a:pt x="158137" y="0"/>
                  </a:cubicBezTo>
                  <a:cubicBezTo>
                    <a:pt x="182617" y="0"/>
                    <a:pt x="205213" y="8160"/>
                    <a:pt x="219649" y="21969"/>
                  </a:cubicBezTo>
                  <a:cubicBezTo>
                    <a:pt x="239736" y="40171"/>
                    <a:pt x="237225" y="66534"/>
                    <a:pt x="236597" y="77832"/>
                  </a:cubicBezTo>
                  <a:lnTo>
                    <a:pt x="235970" y="86620"/>
                  </a:lnTo>
                  <a:cubicBezTo>
                    <a:pt x="240991" y="91641"/>
                    <a:pt x="244129" y="98546"/>
                    <a:pt x="243502" y="106077"/>
                  </a:cubicBezTo>
                  <a:lnTo>
                    <a:pt x="240363" y="138717"/>
                  </a:lnTo>
                  <a:cubicBezTo>
                    <a:pt x="239736" y="146877"/>
                    <a:pt x="234714" y="153153"/>
                    <a:pt x="228437" y="156920"/>
                  </a:cubicBezTo>
                  <a:lnTo>
                    <a:pt x="227810" y="163824"/>
                  </a:lnTo>
                  <a:cubicBezTo>
                    <a:pt x="227182" y="171984"/>
                    <a:pt x="222160" y="180771"/>
                    <a:pt x="214628" y="187676"/>
                  </a:cubicBezTo>
                  <a:cubicBezTo>
                    <a:pt x="242874" y="192697"/>
                    <a:pt x="269864" y="201485"/>
                    <a:pt x="294971" y="213411"/>
                  </a:cubicBezTo>
                  <a:cubicBezTo>
                    <a:pt x="302503" y="217177"/>
                    <a:pt x="308780" y="223453"/>
                    <a:pt x="313174" y="231613"/>
                  </a:cubicBezTo>
                  <a:cubicBezTo>
                    <a:pt x="316312" y="237890"/>
                    <a:pt x="315685" y="244795"/>
                    <a:pt x="311291" y="250444"/>
                  </a:cubicBezTo>
                  <a:cubicBezTo>
                    <a:pt x="306897" y="255465"/>
                    <a:pt x="302503" y="260487"/>
                    <a:pt x="297482" y="265508"/>
                  </a:cubicBezTo>
                  <a:cubicBezTo>
                    <a:pt x="257938" y="301913"/>
                    <a:pt x="208352" y="322627"/>
                    <a:pt x="156254" y="322627"/>
                  </a:cubicBezTo>
                  <a:lnTo>
                    <a:pt x="156254" y="322627"/>
                  </a:lnTo>
                  <a:close/>
                  <a:moveTo>
                    <a:pt x="40133" y="241028"/>
                  </a:moveTo>
                  <a:cubicBezTo>
                    <a:pt x="40133" y="241028"/>
                    <a:pt x="40761" y="241656"/>
                    <a:pt x="40761" y="241656"/>
                  </a:cubicBezTo>
                  <a:cubicBezTo>
                    <a:pt x="71517" y="272412"/>
                    <a:pt x="112317" y="289360"/>
                    <a:pt x="156254" y="289360"/>
                  </a:cubicBezTo>
                  <a:cubicBezTo>
                    <a:pt x="200192" y="289360"/>
                    <a:pt x="240991" y="272412"/>
                    <a:pt x="271747" y="241656"/>
                  </a:cubicBezTo>
                  <a:cubicBezTo>
                    <a:pt x="271747" y="241656"/>
                    <a:pt x="272375" y="241028"/>
                    <a:pt x="272375" y="241028"/>
                  </a:cubicBezTo>
                  <a:cubicBezTo>
                    <a:pt x="246640" y="229730"/>
                    <a:pt x="219022" y="221570"/>
                    <a:pt x="190149" y="218432"/>
                  </a:cubicBezTo>
                  <a:cubicBezTo>
                    <a:pt x="185755" y="217805"/>
                    <a:pt x="181361" y="215294"/>
                    <a:pt x="178850" y="212155"/>
                  </a:cubicBezTo>
                  <a:cubicBezTo>
                    <a:pt x="176340" y="208389"/>
                    <a:pt x="175084" y="203996"/>
                    <a:pt x="175712" y="199602"/>
                  </a:cubicBezTo>
                  <a:lnTo>
                    <a:pt x="178850" y="177005"/>
                  </a:lnTo>
                  <a:cubicBezTo>
                    <a:pt x="179479" y="171984"/>
                    <a:pt x="181989" y="168218"/>
                    <a:pt x="186383" y="165707"/>
                  </a:cubicBezTo>
                  <a:cubicBezTo>
                    <a:pt x="189521" y="163824"/>
                    <a:pt x="191404" y="161313"/>
                    <a:pt x="191404" y="160686"/>
                  </a:cubicBezTo>
                  <a:lnTo>
                    <a:pt x="193915" y="139972"/>
                  </a:lnTo>
                  <a:cubicBezTo>
                    <a:pt x="194542" y="133695"/>
                    <a:pt x="198937" y="128046"/>
                    <a:pt x="205213" y="126163"/>
                  </a:cubicBezTo>
                  <a:cubicBezTo>
                    <a:pt x="205213" y="126163"/>
                    <a:pt x="205213" y="126163"/>
                    <a:pt x="205213" y="126163"/>
                  </a:cubicBezTo>
                  <a:lnTo>
                    <a:pt x="206468" y="114238"/>
                  </a:lnTo>
                  <a:cubicBezTo>
                    <a:pt x="206468" y="114238"/>
                    <a:pt x="205841" y="113610"/>
                    <a:pt x="205841" y="113610"/>
                  </a:cubicBezTo>
                  <a:cubicBezTo>
                    <a:pt x="200819" y="109844"/>
                    <a:pt x="197681" y="104195"/>
                    <a:pt x="198937" y="97918"/>
                  </a:cubicBezTo>
                  <a:lnTo>
                    <a:pt x="201447" y="76577"/>
                  </a:lnTo>
                  <a:cubicBezTo>
                    <a:pt x="202702" y="65906"/>
                    <a:pt x="202702" y="54608"/>
                    <a:pt x="195171" y="47703"/>
                  </a:cubicBezTo>
                  <a:cubicBezTo>
                    <a:pt x="186383" y="39544"/>
                    <a:pt x="172574" y="34522"/>
                    <a:pt x="156882" y="34522"/>
                  </a:cubicBezTo>
                  <a:cubicBezTo>
                    <a:pt x="141190" y="34522"/>
                    <a:pt x="126753" y="39544"/>
                    <a:pt x="119221" y="47076"/>
                  </a:cubicBezTo>
                  <a:cubicBezTo>
                    <a:pt x="111061" y="54608"/>
                    <a:pt x="111061" y="65278"/>
                    <a:pt x="112317" y="76577"/>
                  </a:cubicBezTo>
                  <a:lnTo>
                    <a:pt x="114827" y="97918"/>
                  </a:lnTo>
                  <a:cubicBezTo>
                    <a:pt x="115455" y="104195"/>
                    <a:pt x="112944" y="110471"/>
                    <a:pt x="107296" y="113610"/>
                  </a:cubicBezTo>
                  <a:cubicBezTo>
                    <a:pt x="107296" y="113610"/>
                    <a:pt x="106667" y="114238"/>
                    <a:pt x="106667" y="114238"/>
                  </a:cubicBezTo>
                  <a:lnTo>
                    <a:pt x="107923" y="126163"/>
                  </a:lnTo>
                  <a:cubicBezTo>
                    <a:pt x="107923" y="126163"/>
                    <a:pt x="107923" y="126163"/>
                    <a:pt x="107923" y="126163"/>
                  </a:cubicBezTo>
                  <a:cubicBezTo>
                    <a:pt x="114200" y="128046"/>
                    <a:pt x="118593" y="133695"/>
                    <a:pt x="119221" y="139972"/>
                  </a:cubicBezTo>
                  <a:cubicBezTo>
                    <a:pt x="119849" y="146877"/>
                    <a:pt x="121104" y="154409"/>
                    <a:pt x="121732" y="161313"/>
                  </a:cubicBezTo>
                  <a:cubicBezTo>
                    <a:pt x="121732" y="161313"/>
                    <a:pt x="123615" y="163824"/>
                    <a:pt x="126753" y="165707"/>
                  </a:cubicBezTo>
                  <a:cubicBezTo>
                    <a:pt x="131147" y="168218"/>
                    <a:pt x="133658" y="172612"/>
                    <a:pt x="134285" y="177633"/>
                  </a:cubicBezTo>
                  <a:lnTo>
                    <a:pt x="137424" y="200229"/>
                  </a:lnTo>
                  <a:cubicBezTo>
                    <a:pt x="138051" y="204623"/>
                    <a:pt x="136796" y="209017"/>
                    <a:pt x="134285" y="212783"/>
                  </a:cubicBezTo>
                  <a:cubicBezTo>
                    <a:pt x="131774" y="216549"/>
                    <a:pt x="127381" y="218432"/>
                    <a:pt x="122988" y="219060"/>
                  </a:cubicBezTo>
                  <a:cubicBezTo>
                    <a:pt x="93486" y="221570"/>
                    <a:pt x="65868" y="229103"/>
                    <a:pt x="40133" y="241028"/>
                  </a:cubicBezTo>
                  <a:lnTo>
                    <a:pt x="40133" y="241028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28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8448899" y="5682950"/>
            <a:ext cx="415522" cy="396065"/>
            <a:chOff x="8448899" y="5682950"/>
            <a:chExt cx="415522" cy="396065"/>
          </a:xfrm>
          <a:solidFill>
            <a:srgbClr val="B1B1A1"/>
          </a:solidFill>
        </p:grpSpPr>
        <p:sp>
          <p:nvSpPr>
            <p:cNvPr id="229" name="Forma Livre: Forma 228">
              <a:extLst>
                <a:ext uri="{FF2B5EF4-FFF2-40B4-BE49-F238E27FC236}">
                  <a16:creationId xmlns:a16="http://schemas.microsoft.com/office/drawing/2014/main" id="{1A5ABCAD-C16B-4C21-9945-8D587D0D3B2D}"/>
                </a:ext>
              </a:extLst>
            </p:cNvPr>
            <p:cNvSpPr/>
            <p:nvPr/>
          </p:nvSpPr>
          <p:spPr>
            <a:xfrm>
              <a:off x="8448899" y="5804092"/>
              <a:ext cx="283710" cy="274923"/>
            </a:xfrm>
            <a:custGeom>
              <a:avLst/>
              <a:gdLst>
                <a:gd name="connsiteX0" fmla="*/ 65906 w 283710"/>
                <a:gd name="connsiteY0" fmla="*/ 274923 h 274923"/>
                <a:gd name="connsiteX1" fmla="*/ 58374 w 283710"/>
                <a:gd name="connsiteY1" fmla="*/ 273040 h 274923"/>
                <a:gd name="connsiteX2" fmla="*/ 48958 w 283710"/>
                <a:gd name="connsiteY2" fmla="*/ 257976 h 274923"/>
                <a:gd name="connsiteX3" fmla="*/ 48958 w 283710"/>
                <a:gd name="connsiteY3" fmla="*/ 212155 h 274923"/>
                <a:gd name="connsiteX4" fmla="*/ 33267 w 283710"/>
                <a:gd name="connsiteY4" fmla="*/ 212155 h 274923"/>
                <a:gd name="connsiteX5" fmla="*/ 0 w 283710"/>
                <a:gd name="connsiteY5" fmla="*/ 178888 h 274923"/>
                <a:gd name="connsiteX6" fmla="*/ 0 w 283710"/>
                <a:gd name="connsiteY6" fmla="*/ 33267 h 274923"/>
                <a:gd name="connsiteX7" fmla="*/ 33267 w 283710"/>
                <a:gd name="connsiteY7" fmla="*/ 0 h 274923"/>
                <a:gd name="connsiteX8" fmla="*/ 250444 w 283710"/>
                <a:gd name="connsiteY8" fmla="*/ 0 h 274923"/>
                <a:gd name="connsiteX9" fmla="*/ 283710 w 283710"/>
                <a:gd name="connsiteY9" fmla="*/ 33267 h 274923"/>
                <a:gd name="connsiteX10" fmla="*/ 283710 w 283710"/>
                <a:gd name="connsiteY10" fmla="*/ 178888 h 274923"/>
                <a:gd name="connsiteX11" fmla="*/ 250444 w 283710"/>
                <a:gd name="connsiteY11" fmla="*/ 212155 h 274923"/>
                <a:gd name="connsiteX12" fmla="*/ 151270 w 283710"/>
                <a:gd name="connsiteY12" fmla="*/ 212155 h 274923"/>
                <a:gd name="connsiteX13" fmla="*/ 76576 w 283710"/>
                <a:gd name="connsiteY13" fmla="*/ 271157 h 274923"/>
                <a:gd name="connsiteX14" fmla="*/ 65906 w 283710"/>
                <a:gd name="connsiteY14" fmla="*/ 274923 h 274923"/>
                <a:gd name="connsiteX15" fmla="*/ 65906 w 283710"/>
                <a:gd name="connsiteY15" fmla="*/ 274923 h 274923"/>
                <a:gd name="connsiteX16" fmla="*/ 33895 w 283710"/>
                <a:gd name="connsiteY16" fmla="*/ 33267 h 274923"/>
                <a:gd name="connsiteX17" fmla="*/ 33895 w 283710"/>
                <a:gd name="connsiteY17" fmla="*/ 178888 h 274923"/>
                <a:gd name="connsiteX18" fmla="*/ 65906 w 283710"/>
                <a:gd name="connsiteY18" fmla="*/ 178888 h 274923"/>
                <a:gd name="connsiteX19" fmla="*/ 82853 w 283710"/>
                <a:gd name="connsiteY19" fmla="*/ 195836 h 274923"/>
                <a:gd name="connsiteX20" fmla="*/ 82853 w 283710"/>
                <a:gd name="connsiteY20" fmla="*/ 224081 h 274923"/>
                <a:gd name="connsiteX21" fmla="*/ 134951 w 283710"/>
                <a:gd name="connsiteY21" fmla="*/ 182654 h 274923"/>
                <a:gd name="connsiteX22" fmla="*/ 145621 w 283710"/>
                <a:gd name="connsiteY22" fmla="*/ 178888 h 274923"/>
                <a:gd name="connsiteX23" fmla="*/ 251071 w 283710"/>
                <a:gd name="connsiteY23" fmla="*/ 178888 h 274923"/>
                <a:gd name="connsiteX24" fmla="*/ 251071 w 283710"/>
                <a:gd name="connsiteY24" fmla="*/ 33267 h 274923"/>
                <a:gd name="connsiteX25" fmla="*/ 33895 w 283710"/>
                <a:gd name="connsiteY25" fmla="*/ 33267 h 274923"/>
                <a:gd name="connsiteX26" fmla="*/ 33895 w 283710"/>
                <a:gd name="connsiteY26" fmla="*/ 33267 h 27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83710" h="274923">
                  <a:moveTo>
                    <a:pt x="65906" y="274923"/>
                  </a:moveTo>
                  <a:cubicBezTo>
                    <a:pt x="63395" y="274923"/>
                    <a:pt x="60885" y="274296"/>
                    <a:pt x="58374" y="273040"/>
                  </a:cubicBezTo>
                  <a:cubicBezTo>
                    <a:pt x="52725" y="270529"/>
                    <a:pt x="48958" y="264253"/>
                    <a:pt x="48958" y="257976"/>
                  </a:cubicBezTo>
                  <a:lnTo>
                    <a:pt x="48958" y="212155"/>
                  </a:lnTo>
                  <a:lnTo>
                    <a:pt x="33267" y="212155"/>
                  </a:lnTo>
                  <a:cubicBezTo>
                    <a:pt x="15064" y="212155"/>
                    <a:pt x="0" y="197091"/>
                    <a:pt x="0" y="178888"/>
                  </a:cubicBezTo>
                  <a:lnTo>
                    <a:pt x="0" y="33267"/>
                  </a:lnTo>
                  <a:cubicBezTo>
                    <a:pt x="0" y="15064"/>
                    <a:pt x="15064" y="0"/>
                    <a:pt x="33267" y="0"/>
                  </a:cubicBezTo>
                  <a:lnTo>
                    <a:pt x="250444" y="0"/>
                  </a:lnTo>
                  <a:cubicBezTo>
                    <a:pt x="268646" y="0"/>
                    <a:pt x="283710" y="15064"/>
                    <a:pt x="283710" y="33267"/>
                  </a:cubicBezTo>
                  <a:lnTo>
                    <a:pt x="283710" y="178888"/>
                  </a:lnTo>
                  <a:cubicBezTo>
                    <a:pt x="283710" y="197091"/>
                    <a:pt x="268646" y="212155"/>
                    <a:pt x="250444" y="212155"/>
                  </a:cubicBezTo>
                  <a:lnTo>
                    <a:pt x="151270" y="212155"/>
                  </a:lnTo>
                  <a:lnTo>
                    <a:pt x="76576" y="271157"/>
                  </a:lnTo>
                  <a:cubicBezTo>
                    <a:pt x="73438" y="274296"/>
                    <a:pt x="69672" y="274923"/>
                    <a:pt x="65906" y="274923"/>
                  </a:cubicBezTo>
                  <a:lnTo>
                    <a:pt x="65906" y="274923"/>
                  </a:lnTo>
                  <a:close/>
                  <a:moveTo>
                    <a:pt x="33895" y="33267"/>
                  </a:moveTo>
                  <a:lnTo>
                    <a:pt x="33895" y="178888"/>
                  </a:lnTo>
                  <a:lnTo>
                    <a:pt x="65906" y="178888"/>
                  </a:lnTo>
                  <a:cubicBezTo>
                    <a:pt x="75321" y="178888"/>
                    <a:pt x="82853" y="186421"/>
                    <a:pt x="82853" y="195836"/>
                  </a:cubicBezTo>
                  <a:lnTo>
                    <a:pt x="82853" y="224081"/>
                  </a:lnTo>
                  <a:lnTo>
                    <a:pt x="134951" y="182654"/>
                  </a:lnTo>
                  <a:cubicBezTo>
                    <a:pt x="138089" y="180144"/>
                    <a:pt x="141855" y="178888"/>
                    <a:pt x="145621" y="178888"/>
                  </a:cubicBezTo>
                  <a:lnTo>
                    <a:pt x="251071" y="178888"/>
                  </a:lnTo>
                  <a:lnTo>
                    <a:pt x="251071" y="33267"/>
                  </a:lnTo>
                  <a:lnTo>
                    <a:pt x="33895" y="33267"/>
                  </a:lnTo>
                  <a:lnTo>
                    <a:pt x="33895" y="33267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30" name="Forma Livre: Forma 229">
              <a:extLst>
                <a:ext uri="{FF2B5EF4-FFF2-40B4-BE49-F238E27FC236}">
                  <a16:creationId xmlns:a16="http://schemas.microsoft.com/office/drawing/2014/main" id="{E853DCE2-2F99-4420-B172-A675DD5595EE}"/>
                </a:ext>
              </a:extLst>
            </p:cNvPr>
            <p:cNvSpPr/>
            <p:nvPr/>
          </p:nvSpPr>
          <p:spPr>
            <a:xfrm>
              <a:off x="8580711" y="5682950"/>
              <a:ext cx="283710" cy="275550"/>
            </a:xfrm>
            <a:custGeom>
              <a:avLst/>
              <a:gdLst>
                <a:gd name="connsiteX0" fmla="*/ 219060 w 283710"/>
                <a:gd name="connsiteY0" fmla="*/ 275551 h 275550"/>
                <a:gd name="connsiteX1" fmla="*/ 208389 w 283710"/>
                <a:gd name="connsiteY1" fmla="*/ 271785 h 275550"/>
                <a:gd name="connsiteX2" fmla="*/ 129302 w 283710"/>
                <a:gd name="connsiteY2" fmla="*/ 209017 h 275550"/>
                <a:gd name="connsiteX3" fmla="*/ 126791 w 283710"/>
                <a:gd name="connsiteY3" fmla="*/ 185793 h 275550"/>
                <a:gd name="connsiteX4" fmla="*/ 150015 w 283710"/>
                <a:gd name="connsiteY4" fmla="*/ 183282 h 275550"/>
                <a:gd name="connsiteX5" fmla="*/ 202112 w 283710"/>
                <a:gd name="connsiteY5" fmla="*/ 224709 h 275550"/>
                <a:gd name="connsiteX6" fmla="*/ 202112 w 283710"/>
                <a:gd name="connsiteY6" fmla="*/ 196463 h 275550"/>
                <a:gd name="connsiteX7" fmla="*/ 219060 w 283710"/>
                <a:gd name="connsiteY7" fmla="*/ 179516 h 275550"/>
                <a:gd name="connsiteX8" fmla="*/ 251071 w 283710"/>
                <a:gd name="connsiteY8" fmla="*/ 179516 h 275550"/>
                <a:gd name="connsiteX9" fmla="*/ 251071 w 283710"/>
                <a:gd name="connsiteY9" fmla="*/ 33267 h 275550"/>
                <a:gd name="connsiteX10" fmla="*/ 33895 w 283710"/>
                <a:gd name="connsiteY10" fmla="*/ 33267 h 275550"/>
                <a:gd name="connsiteX11" fmla="*/ 33895 w 283710"/>
                <a:gd name="connsiteY11" fmla="*/ 133695 h 275550"/>
                <a:gd name="connsiteX12" fmla="*/ 16947 w 283710"/>
                <a:gd name="connsiteY12" fmla="*/ 150643 h 275550"/>
                <a:gd name="connsiteX13" fmla="*/ 0 w 283710"/>
                <a:gd name="connsiteY13" fmla="*/ 133695 h 275550"/>
                <a:gd name="connsiteX14" fmla="*/ 0 w 283710"/>
                <a:gd name="connsiteY14" fmla="*/ 33267 h 275550"/>
                <a:gd name="connsiteX15" fmla="*/ 33267 w 283710"/>
                <a:gd name="connsiteY15" fmla="*/ 0 h 275550"/>
                <a:gd name="connsiteX16" fmla="*/ 250444 w 283710"/>
                <a:gd name="connsiteY16" fmla="*/ 0 h 275550"/>
                <a:gd name="connsiteX17" fmla="*/ 283710 w 283710"/>
                <a:gd name="connsiteY17" fmla="*/ 33267 h 275550"/>
                <a:gd name="connsiteX18" fmla="*/ 283710 w 283710"/>
                <a:gd name="connsiteY18" fmla="*/ 178888 h 275550"/>
                <a:gd name="connsiteX19" fmla="*/ 250444 w 283710"/>
                <a:gd name="connsiteY19" fmla="*/ 212155 h 275550"/>
                <a:gd name="connsiteX20" fmla="*/ 234752 w 283710"/>
                <a:gd name="connsiteY20" fmla="*/ 212155 h 275550"/>
                <a:gd name="connsiteX21" fmla="*/ 234752 w 283710"/>
                <a:gd name="connsiteY21" fmla="*/ 257976 h 275550"/>
                <a:gd name="connsiteX22" fmla="*/ 225337 w 283710"/>
                <a:gd name="connsiteY22" fmla="*/ 273040 h 275550"/>
                <a:gd name="connsiteX23" fmla="*/ 219060 w 283710"/>
                <a:gd name="connsiteY23" fmla="*/ 275551 h 275550"/>
                <a:gd name="connsiteX24" fmla="*/ 219060 w 283710"/>
                <a:gd name="connsiteY24" fmla="*/ 275551 h 275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83710" h="275550">
                  <a:moveTo>
                    <a:pt x="219060" y="275551"/>
                  </a:moveTo>
                  <a:cubicBezTo>
                    <a:pt x="215293" y="275551"/>
                    <a:pt x="211527" y="274296"/>
                    <a:pt x="208389" y="271785"/>
                  </a:cubicBezTo>
                  <a:lnTo>
                    <a:pt x="129302" y="209017"/>
                  </a:lnTo>
                  <a:cubicBezTo>
                    <a:pt x="121770" y="203368"/>
                    <a:pt x="120514" y="192697"/>
                    <a:pt x="126791" y="185793"/>
                  </a:cubicBezTo>
                  <a:cubicBezTo>
                    <a:pt x="132440" y="178261"/>
                    <a:pt x="143110" y="177005"/>
                    <a:pt x="150015" y="183282"/>
                  </a:cubicBezTo>
                  <a:lnTo>
                    <a:pt x="202112" y="224709"/>
                  </a:lnTo>
                  <a:lnTo>
                    <a:pt x="202112" y="196463"/>
                  </a:lnTo>
                  <a:cubicBezTo>
                    <a:pt x="202112" y="187048"/>
                    <a:pt x="209645" y="179516"/>
                    <a:pt x="219060" y="179516"/>
                  </a:cubicBezTo>
                  <a:lnTo>
                    <a:pt x="251071" y="179516"/>
                  </a:lnTo>
                  <a:lnTo>
                    <a:pt x="251071" y="33267"/>
                  </a:lnTo>
                  <a:lnTo>
                    <a:pt x="33895" y="33267"/>
                  </a:lnTo>
                  <a:lnTo>
                    <a:pt x="33895" y="133695"/>
                  </a:lnTo>
                  <a:cubicBezTo>
                    <a:pt x="33895" y="143111"/>
                    <a:pt x="26362" y="150643"/>
                    <a:pt x="16947" y="150643"/>
                  </a:cubicBezTo>
                  <a:cubicBezTo>
                    <a:pt x="7532" y="150643"/>
                    <a:pt x="0" y="143111"/>
                    <a:pt x="0" y="133695"/>
                  </a:cubicBezTo>
                  <a:lnTo>
                    <a:pt x="0" y="33267"/>
                  </a:lnTo>
                  <a:cubicBezTo>
                    <a:pt x="0" y="15064"/>
                    <a:pt x="15064" y="0"/>
                    <a:pt x="33267" y="0"/>
                  </a:cubicBezTo>
                  <a:lnTo>
                    <a:pt x="250444" y="0"/>
                  </a:lnTo>
                  <a:cubicBezTo>
                    <a:pt x="268646" y="0"/>
                    <a:pt x="283710" y="15064"/>
                    <a:pt x="283710" y="33267"/>
                  </a:cubicBezTo>
                  <a:lnTo>
                    <a:pt x="283710" y="178888"/>
                  </a:lnTo>
                  <a:cubicBezTo>
                    <a:pt x="283710" y="197091"/>
                    <a:pt x="268646" y="212155"/>
                    <a:pt x="250444" y="212155"/>
                  </a:cubicBezTo>
                  <a:lnTo>
                    <a:pt x="234752" y="212155"/>
                  </a:lnTo>
                  <a:lnTo>
                    <a:pt x="234752" y="257976"/>
                  </a:lnTo>
                  <a:cubicBezTo>
                    <a:pt x="234752" y="264253"/>
                    <a:pt x="230985" y="270529"/>
                    <a:pt x="225337" y="273040"/>
                  </a:cubicBezTo>
                  <a:cubicBezTo>
                    <a:pt x="224081" y="274923"/>
                    <a:pt x="221570" y="275551"/>
                    <a:pt x="219060" y="275551"/>
                  </a:cubicBezTo>
                  <a:lnTo>
                    <a:pt x="219060" y="275551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31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10570452" y="5680440"/>
            <a:ext cx="267390" cy="401086"/>
            <a:chOff x="10570452" y="5680440"/>
            <a:chExt cx="267390" cy="401086"/>
          </a:xfrm>
          <a:solidFill>
            <a:srgbClr val="B1B1A1"/>
          </a:solidFill>
        </p:grpSpPr>
        <p:sp>
          <p:nvSpPr>
            <p:cNvPr id="232" name="Forma Livre: Forma 231">
              <a:extLst>
                <a:ext uri="{FF2B5EF4-FFF2-40B4-BE49-F238E27FC236}">
                  <a16:creationId xmlns:a16="http://schemas.microsoft.com/office/drawing/2014/main" id="{99E3C8C2-A2AD-4A3B-90E3-813587B25D60}"/>
                </a:ext>
              </a:extLst>
            </p:cNvPr>
            <p:cNvSpPr/>
            <p:nvPr/>
          </p:nvSpPr>
          <p:spPr>
            <a:xfrm>
              <a:off x="10570452" y="5680440"/>
              <a:ext cx="267390" cy="401086"/>
            </a:xfrm>
            <a:custGeom>
              <a:avLst/>
              <a:gdLst>
                <a:gd name="connsiteX0" fmla="*/ 250444 w 267390"/>
                <a:gd name="connsiteY0" fmla="*/ 401087 h 401086"/>
                <a:gd name="connsiteX1" fmla="*/ 16947 w 267390"/>
                <a:gd name="connsiteY1" fmla="*/ 401087 h 401086"/>
                <a:gd name="connsiteX2" fmla="*/ 0 w 267390"/>
                <a:gd name="connsiteY2" fmla="*/ 384139 h 401086"/>
                <a:gd name="connsiteX3" fmla="*/ 0 w 267390"/>
                <a:gd name="connsiteY3" fmla="*/ 16947 h 401086"/>
                <a:gd name="connsiteX4" fmla="*/ 16947 w 267390"/>
                <a:gd name="connsiteY4" fmla="*/ 0 h 401086"/>
                <a:gd name="connsiteX5" fmla="*/ 250444 w 267390"/>
                <a:gd name="connsiteY5" fmla="*/ 0 h 401086"/>
                <a:gd name="connsiteX6" fmla="*/ 267391 w 267390"/>
                <a:gd name="connsiteY6" fmla="*/ 16947 h 401086"/>
                <a:gd name="connsiteX7" fmla="*/ 267391 w 267390"/>
                <a:gd name="connsiteY7" fmla="*/ 384139 h 401086"/>
                <a:gd name="connsiteX8" fmla="*/ 250444 w 267390"/>
                <a:gd name="connsiteY8" fmla="*/ 401087 h 401086"/>
                <a:gd name="connsiteX9" fmla="*/ 250444 w 267390"/>
                <a:gd name="connsiteY9" fmla="*/ 401087 h 401086"/>
                <a:gd name="connsiteX10" fmla="*/ 33267 w 267390"/>
                <a:gd name="connsiteY10" fmla="*/ 367820 h 401086"/>
                <a:gd name="connsiteX11" fmla="*/ 233496 w 267390"/>
                <a:gd name="connsiteY11" fmla="*/ 367820 h 401086"/>
                <a:gd name="connsiteX12" fmla="*/ 233496 w 267390"/>
                <a:gd name="connsiteY12" fmla="*/ 33895 h 401086"/>
                <a:gd name="connsiteX13" fmla="*/ 33267 w 267390"/>
                <a:gd name="connsiteY13" fmla="*/ 33895 h 401086"/>
                <a:gd name="connsiteX14" fmla="*/ 33267 w 267390"/>
                <a:gd name="connsiteY14" fmla="*/ 367820 h 401086"/>
                <a:gd name="connsiteX15" fmla="*/ 33267 w 267390"/>
                <a:gd name="connsiteY15" fmla="*/ 367820 h 401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7390" h="401086">
                  <a:moveTo>
                    <a:pt x="250444" y="401087"/>
                  </a:moveTo>
                  <a:lnTo>
                    <a:pt x="16947" y="401087"/>
                  </a:lnTo>
                  <a:cubicBezTo>
                    <a:pt x="7532" y="401087"/>
                    <a:pt x="0" y="393555"/>
                    <a:pt x="0" y="384139"/>
                  </a:cubicBezTo>
                  <a:lnTo>
                    <a:pt x="0" y="16947"/>
                  </a:lnTo>
                  <a:cubicBezTo>
                    <a:pt x="0" y="7532"/>
                    <a:pt x="7532" y="0"/>
                    <a:pt x="16947" y="0"/>
                  </a:cubicBezTo>
                  <a:lnTo>
                    <a:pt x="250444" y="0"/>
                  </a:lnTo>
                  <a:cubicBezTo>
                    <a:pt x="259859" y="0"/>
                    <a:pt x="267391" y="7532"/>
                    <a:pt x="267391" y="16947"/>
                  </a:cubicBezTo>
                  <a:lnTo>
                    <a:pt x="267391" y="384139"/>
                  </a:lnTo>
                  <a:cubicBezTo>
                    <a:pt x="267391" y="393555"/>
                    <a:pt x="259859" y="401087"/>
                    <a:pt x="250444" y="401087"/>
                  </a:cubicBezTo>
                  <a:lnTo>
                    <a:pt x="250444" y="401087"/>
                  </a:lnTo>
                  <a:close/>
                  <a:moveTo>
                    <a:pt x="33267" y="367820"/>
                  </a:moveTo>
                  <a:lnTo>
                    <a:pt x="233496" y="367820"/>
                  </a:lnTo>
                  <a:lnTo>
                    <a:pt x="233496" y="33895"/>
                  </a:lnTo>
                  <a:lnTo>
                    <a:pt x="33267" y="33895"/>
                  </a:lnTo>
                  <a:lnTo>
                    <a:pt x="33267" y="367820"/>
                  </a:lnTo>
                  <a:lnTo>
                    <a:pt x="33267" y="367820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33" name="Forma Livre: Forma 232">
              <a:extLst>
                <a:ext uri="{FF2B5EF4-FFF2-40B4-BE49-F238E27FC236}">
                  <a16:creationId xmlns:a16="http://schemas.microsoft.com/office/drawing/2014/main" id="{A4C0530B-61A2-4CE7-B48B-52691ECF24F5}"/>
                </a:ext>
              </a:extLst>
            </p:cNvPr>
            <p:cNvSpPr/>
            <p:nvPr/>
          </p:nvSpPr>
          <p:spPr>
            <a:xfrm>
              <a:off x="10612507" y="5745090"/>
              <a:ext cx="183282" cy="227847"/>
            </a:xfrm>
            <a:custGeom>
              <a:avLst/>
              <a:gdLst>
                <a:gd name="connsiteX0" fmla="*/ 175123 w 183282"/>
                <a:gd name="connsiteY0" fmla="*/ 227848 h 227847"/>
                <a:gd name="connsiteX1" fmla="*/ 8160 w 183282"/>
                <a:gd name="connsiteY1" fmla="*/ 227848 h 227847"/>
                <a:gd name="connsiteX2" fmla="*/ 0 w 183282"/>
                <a:gd name="connsiteY2" fmla="*/ 219688 h 227847"/>
                <a:gd name="connsiteX3" fmla="*/ 0 w 183282"/>
                <a:gd name="connsiteY3" fmla="*/ 8160 h 227847"/>
                <a:gd name="connsiteX4" fmla="*/ 8160 w 183282"/>
                <a:gd name="connsiteY4" fmla="*/ 0 h 227847"/>
                <a:gd name="connsiteX5" fmla="*/ 175123 w 183282"/>
                <a:gd name="connsiteY5" fmla="*/ 0 h 227847"/>
                <a:gd name="connsiteX6" fmla="*/ 183283 w 183282"/>
                <a:gd name="connsiteY6" fmla="*/ 8160 h 227847"/>
                <a:gd name="connsiteX7" fmla="*/ 183283 w 183282"/>
                <a:gd name="connsiteY7" fmla="*/ 219688 h 227847"/>
                <a:gd name="connsiteX8" fmla="*/ 175123 w 183282"/>
                <a:gd name="connsiteY8" fmla="*/ 227848 h 227847"/>
                <a:gd name="connsiteX9" fmla="*/ 175123 w 183282"/>
                <a:gd name="connsiteY9" fmla="*/ 227848 h 227847"/>
                <a:gd name="connsiteX10" fmla="*/ 16319 w 183282"/>
                <a:gd name="connsiteY10" fmla="*/ 210900 h 227847"/>
                <a:gd name="connsiteX11" fmla="*/ 166335 w 183282"/>
                <a:gd name="connsiteY11" fmla="*/ 210900 h 227847"/>
                <a:gd name="connsiteX12" fmla="*/ 166335 w 183282"/>
                <a:gd name="connsiteY12" fmla="*/ 16320 h 227847"/>
                <a:gd name="connsiteX13" fmla="*/ 16319 w 183282"/>
                <a:gd name="connsiteY13" fmla="*/ 16320 h 227847"/>
                <a:gd name="connsiteX14" fmla="*/ 16319 w 183282"/>
                <a:gd name="connsiteY14" fmla="*/ 210900 h 227847"/>
                <a:gd name="connsiteX15" fmla="*/ 16319 w 183282"/>
                <a:gd name="connsiteY15" fmla="*/ 210900 h 227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3282" h="227847">
                  <a:moveTo>
                    <a:pt x="175123" y="227848"/>
                  </a:moveTo>
                  <a:lnTo>
                    <a:pt x="8160" y="227848"/>
                  </a:lnTo>
                  <a:cubicBezTo>
                    <a:pt x="3766" y="227848"/>
                    <a:pt x="0" y="224081"/>
                    <a:pt x="0" y="219688"/>
                  </a:cubicBezTo>
                  <a:lnTo>
                    <a:pt x="0" y="8160"/>
                  </a:lnTo>
                  <a:cubicBezTo>
                    <a:pt x="0" y="3766"/>
                    <a:pt x="3766" y="0"/>
                    <a:pt x="8160" y="0"/>
                  </a:cubicBezTo>
                  <a:lnTo>
                    <a:pt x="175123" y="0"/>
                  </a:lnTo>
                  <a:cubicBezTo>
                    <a:pt x="179516" y="0"/>
                    <a:pt x="183283" y="3766"/>
                    <a:pt x="183283" y="8160"/>
                  </a:cubicBezTo>
                  <a:lnTo>
                    <a:pt x="183283" y="219688"/>
                  </a:lnTo>
                  <a:cubicBezTo>
                    <a:pt x="183283" y="224081"/>
                    <a:pt x="179516" y="227848"/>
                    <a:pt x="175123" y="227848"/>
                  </a:cubicBezTo>
                  <a:lnTo>
                    <a:pt x="175123" y="227848"/>
                  </a:lnTo>
                  <a:close/>
                  <a:moveTo>
                    <a:pt x="16319" y="210900"/>
                  </a:moveTo>
                  <a:lnTo>
                    <a:pt x="166335" y="210900"/>
                  </a:lnTo>
                  <a:lnTo>
                    <a:pt x="166335" y="16320"/>
                  </a:lnTo>
                  <a:lnTo>
                    <a:pt x="16319" y="16320"/>
                  </a:lnTo>
                  <a:lnTo>
                    <a:pt x="16319" y="210900"/>
                  </a:lnTo>
                  <a:lnTo>
                    <a:pt x="16319" y="210900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34" name="Forma Livre: Forma 233">
              <a:extLst>
                <a:ext uri="{FF2B5EF4-FFF2-40B4-BE49-F238E27FC236}">
                  <a16:creationId xmlns:a16="http://schemas.microsoft.com/office/drawing/2014/main" id="{DCD36C13-E1FD-42F4-BF13-56C402FAC2CE}"/>
                </a:ext>
              </a:extLst>
            </p:cNvPr>
            <p:cNvSpPr/>
            <p:nvPr/>
          </p:nvSpPr>
          <p:spPr>
            <a:xfrm>
              <a:off x="10684062" y="5989885"/>
              <a:ext cx="40171" cy="40171"/>
            </a:xfrm>
            <a:custGeom>
              <a:avLst/>
              <a:gdLst>
                <a:gd name="connsiteX0" fmla="*/ 40172 w 40171"/>
                <a:gd name="connsiteY0" fmla="*/ 20086 h 40171"/>
                <a:gd name="connsiteX1" fmla="*/ 20086 w 40171"/>
                <a:gd name="connsiteY1" fmla="*/ 40171 h 40171"/>
                <a:gd name="connsiteX2" fmla="*/ 1 w 40171"/>
                <a:gd name="connsiteY2" fmla="*/ 20086 h 40171"/>
                <a:gd name="connsiteX3" fmla="*/ 20086 w 40171"/>
                <a:gd name="connsiteY3" fmla="*/ 0 h 40171"/>
                <a:gd name="connsiteX4" fmla="*/ 40172 w 40171"/>
                <a:gd name="connsiteY4" fmla="*/ 20086 h 40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71" h="40171">
                  <a:moveTo>
                    <a:pt x="40172" y="20086"/>
                  </a:moveTo>
                  <a:cubicBezTo>
                    <a:pt x="40172" y="31179"/>
                    <a:pt x="31179" y="40171"/>
                    <a:pt x="20086" y="40171"/>
                  </a:cubicBezTo>
                  <a:cubicBezTo>
                    <a:pt x="8993" y="40171"/>
                    <a:pt x="1" y="31179"/>
                    <a:pt x="1" y="20086"/>
                  </a:cubicBezTo>
                  <a:cubicBezTo>
                    <a:pt x="1" y="8992"/>
                    <a:pt x="8994" y="0"/>
                    <a:pt x="20086" y="0"/>
                  </a:cubicBezTo>
                  <a:cubicBezTo>
                    <a:pt x="31179" y="0"/>
                    <a:pt x="40172" y="8992"/>
                    <a:pt x="40172" y="20086"/>
                  </a:cubicBez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35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4355806" y="1609787"/>
            <a:ext cx="417406" cy="273197"/>
            <a:chOff x="4355806" y="1609787"/>
            <a:chExt cx="417406" cy="273197"/>
          </a:xfrm>
          <a:solidFill>
            <a:srgbClr val="B1B1A1"/>
          </a:solidFill>
        </p:grpSpPr>
        <p:sp>
          <p:nvSpPr>
            <p:cNvPr id="236" name="Forma Livre: Forma 235">
              <a:extLst>
                <a:ext uri="{FF2B5EF4-FFF2-40B4-BE49-F238E27FC236}">
                  <a16:creationId xmlns:a16="http://schemas.microsoft.com/office/drawing/2014/main" id="{0A256361-24F5-4687-A6DF-488387D52E75}"/>
                </a:ext>
              </a:extLst>
            </p:cNvPr>
            <p:cNvSpPr/>
            <p:nvPr/>
          </p:nvSpPr>
          <p:spPr>
            <a:xfrm>
              <a:off x="4355806" y="1609787"/>
              <a:ext cx="407363" cy="195992"/>
            </a:xfrm>
            <a:custGeom>
              <a:avLst/>
              <a:gdLst>
                <a:gd name="connsiteX0" fmla="*/ 203996 w 407363"/>
                <a:gd name="connsiteY0" fmla="*/ 195993 h 195992"/>
                <a:gd name="connsiteX1" fmla="*/ 197091 w 407363"/>
                <a:gd name="connsiteY1" fmla="*/ 194737 h 195992"/>
                <a:gd name="connsiteX2" fmla="*/ 10043 w 407363"/>
                <a:gd name="connsiteY2" fmla="*/ 113139 h 195992"/>
                <a:gd name="connsiteX3" fmla="*/ 0 w 407363"/>
                <a:gd name="connsiteY3" fmla="*/ 98075 h 195992"/>
                <a:gd name="connsiteX4" fmla="*/ 10043 w 407363"/>
                <a:gd name="connsiteY4" fmla="*/ 83011 h 195992"/>
                <a:gd name="connsiteX5" fmla="*/ 197091 w 407363"/>
                <a:gd name="connsiteY5" fmla="*/ 1412 h 195992"/>
                <a:gd name="connsiteX6" fmla="*/ 210272 w 407363"/>
                <a:gd name="connsiteY6" fmla="*/ 1412 h 195992"/>
                <a:gd name="connsiteX7" fmla="*/ 397321 w 407363"/>
                <a:gd name="connsiteY7" fmla="*/ 83011 h 195992"/>
                <a:gd name="connsiteX8" fmla="*/ 407364 w 407363"/>
                <a:gd name="connsiteY8" fmla="*/ 98075 h 195992"/>
                <a:gd name="connsiteX9" fmla="*/ 397321 w 407363"/>
                <a:gd name="connsiteY9" fmla="*/ 113139 h 195992"/>
                <a:gd name="connsiteX10" fmla="*/ 210272 w 407363"/>
                <a:gd name="connsiteY10" fmla="*/ 194737 h 195992"/>
                <a:gd name="connsiteX11" fmla="*/ 203996 w 407363"/>
                <a:gd name="connsiteY11" fmla="*/ 195993 h 195992"/>
                <a:gd name="connsiteX12" fmla="*/ 203996 w 407363"/>
                <a:gd name="connsiteY12" fmla="*/ 195993 h 195992"/>
                <a:gd name="connsiteX13" fmla="*/ 59002 w 407363"/>
                <a:gd name="connsiteY13" fmla="*/ 98075 h 195992"/>
                <a:gd name="connsiteX14" fmla="*/ 203996 w 407363"/>
                <a:gd name="connsiteY14" fmla="*/ 161470 h 195992"/>
                <a:gd name="connsiteX15" fmla="*/ 348990 w 407363"/>
                <a:gd name="connsiteY15" fmla="*/ 98075 h 195992"/>
                <a:gd name="connsiteX16" fmla="*/ 203996 w 407363"/>
                <a:gd name="connsiteY16" fmla="*/ 34679 h 195992"/>
                <a:gd name="connsiteX17" fmla="*/ 59002 w 407363"/>
                <a:gd name="connsiteY17" fmla="*/ 98075 h 195992"/>
                <a:gd name="connsiteX18" fmla="*/ 59002 w 407363"/>
                <a:gd name="connsiteY18" fmla="*/ 98075 h 195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07363" h="195992">
                  <a:moveTo>
                    <a:pt x="203996" y="195993"/>
                  </a:moveTo>
                  <a:cubicBezTo>
                    <a:pt x="201485" y="195993"/>
                    <a:pt x="199602" y="195365"/>
                    <a:pt x="197091" y="194737"/>
                  </a:cubicBezTo>
                  <a:lnTo>
                    <a:pt x="10043" y="113139"/>
                  </a:lnTo>
                  <a:cubicBezTo>
                    <a:pt x="3766" y="110628"/>
                    <a:pt x="0" y="104352"/>
                    <a:pt x="0" y="98075"/>
                  </a:cubicBezTo>
                  <a:cubicBezTo>
                    <a:pt x="0" y="91170"/>
                    <a:pt x="3766" y="85521"/>
                    <a:pt x="10043" y="83011"/>
                  </a:cubicBezTo>
                  <a:lnTo>
                    <a:pt x="197091" y="1412"/>
                  </a:lnTo>
                  <a:cubicBezTo>
                    <a:pt x="201485" y="-471"/>
                    <a:pt x="205879" y="-471"/>
                    <a:pt x="210272" y="1412"/>
                  </a:cubicBezTo>
                  <a:lnTo>
                    <a:pt x="397321" y="83011"/>
                  </a:lnTo>
                  <a:cubicBezTo>
                    <a:pt x="403597" y="85521"/>
                    <a:pt x="407364" y="91798"/>
                    <a:pt x="407364" y="98075"/>
                  </a:cubicBezTo>
                  <a:cubicBezTo>
                    <a:pt x="407364" y="104979"/>
                    <a:pt x="403597" y="110628"/>
                    <a:pt x="397321" y="113139"/>
                  </a:cubicBezTo>
                  <a:lnTo>
                    <a:pt x="210272" y="194737"/>
                  </a:lnTo>
                  <a:cubicBezTo>
                    <a:pt x="208389" y="195993"/>
                    <a:pt x="206506" y="195993"/>
                    <a:pt x="203996" y="195993"/>
                  </a:cubicBezTo>
                  <a:lnTo>
                    <a:pt x="203996" y="195993"/>
                  </a:lnTo>
                  <a:close/>
                  <a:moveTo>
                    <a:pt x="59002" y="98075"/>
                  </a:moveTo>
                  <a:lnTo>
                    <a:pt x="203996" y="161470"/>
                  </a:lnTo>
                  <a:lnTo>
                    <a:pt x="348990" y="98075"/>
                  </a:lnTo>
                  <a:lnTo>
                    <a:pt x="203996" y="34679"/>
                  </a:lnTo>
                  <a:lnTo>
                    <a:pt x="59002" y="98075"/>
                  </a:lnTo>
                  <a:lnTo>
                    <a:pt x="59002" y="98075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37" name="Forma Livre: Forma 236">
              <a:extLst>
                <a:ext uri="{FF2B5EF4-FFF2-40B4-BE49-F238E27FC236}">
                  <a16:creationId xmlns:a16="http://schemas.microsoft.com/office/drawing/2014/main" id="{BAAC2ECE-4730-497A-BF5A-0B5883639EA0}"/>
                </a:ext>
              </a:extLst>
            </p:cNvPr>
            <p:cNvSpPr/>
            <p:nvPr/>
          </p:nvSpPr>
          <p:spPr>
            <a:xfrm>
              <a:off x="4406020" y="1717277"/>
              <a:ext cx="308817" cy="165707"/>
            </a:xfrm>
            <a:custGeom>
              <a:avLst/>
              <a:gdLst>
                <a:gd name="connsiteX0" fmla="*/ 153781 w 308817"/>
                <a:gd name="connsiteY0" fmla="*/ 165707 h 165707"/>
                <a:gd name="connsiteX1" fmla="*/ 7532 w 308817"/>
                <a:gd name="connsiteY1" fmla="*/ 119887 h 165707"/>
                <a:gd name="connsiteX2" fmla="*/ 0 w 308817"/>
                <a:gd name="connsiteY2" fmla="*/ 106078 h 165707"/>
                <a:gd name="connsiteX3" fmla="*/ 0 w 308817"/>
                <a:gd name="connsiteY3" fmla="*/ 16947 h 165707"/>
                <a:gd name="connsiteX4" fmla="*/ 16947 w 308817"/>
                <a:gd name="connsiteY4" fmla="*/ 0 h 165707"/>
                <a:gd name="connsiteX5" fmla="*/ 33895 w 308817"/>
                <a:gd name="connsiteY5" fmla="*/ 16947 h 165707"/>
                <a:gd name="connsiteX6" fmla="*/ 33895 w 308817"/>
                <a:gd name="connsiteY6" fmla="*/ 96663 h 165707"/>
                <a:gd name="connsiteX7" fmla="*/ 274923 w 308817"/>
                <a:gd name="connsiteY7" fmla="*/ 96663 h 165707"/>
                <a:gd name="connsiteX8" fmla="*/ 274923 w 308817"/>
                <a:gd name="connsiteY8" fmla="*/ 16947 h 165707"/>
                <a:gd name="connsiteX9" fmla="*/ 291871 w 308817"/>
                <a:gd name="connsiteY9" fmla="*/ 0 h 165707"/>
                <a:gd name="connsiteX10" fmla="*/ 308818 w 308817"/>
                <a:gd name="connsiteY10" fmla="*/ 16947 h 165707"/>
                <a:gd name="connsiteX11" fmla="*/ 308818 w 308817"/>
                <a:gd name="connsiteY11" fmla="*/ 106078 h 165707"/>
                <a:gd name="connsiteX12" fmla="*/ 301286 w 308817"/>
                <a:gd name="connsiteY12" fmla="*/ 119887 h 165707"/>
                <a:gd name="connsiteX13" fmla="*/ 153781 w 308817"/>
                <a:gd name="connsiteY13" fmla="*/ 165707 h 165707"/>
                <a:gd name="connsiteX14" fmla="*/ 153781 w 308817"/>
                <a:gd name="connsiteY14" fmla="*/ 165707 h 165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08817" h="165707">
                  <a:moveTo>
                    <a:pt x="153781" y="165707"/>
                  </a:moveTo>
                  <a:cubicBezTo>
                    <a:pt x="102939" y="165707"/>
                    <a:pt x="52725" y="150643"/>
                    <a:pt x="7532" y="119887"/>
                  </a:cubicBezTo>
                  <a:cubicBezTo>
                    <a:pt x="3138" y="116748"/>
                    <a:pt x="0" y="111727"/>
                    <a:pt x="0" y="106078"/>
                  </a:cubicBezTo>
                  <a:lnTo>
                    <a:pt x="0" y="16947"/>
                  </a:lnTo>
                  <a:cubicBezTo>
                    <a:pt x="0" y="7532"/>
                    <a:pt x="7532" y="0"/>
                    <a:pt x="16947" y="0"/>
                  </a:cubicBezTo>
                  <a:cubicBezTo>
                    <a:pt x="26363" y="0"/>
                    <a:pt x="33895" y="7532"/>
                    <a:pt x="33895" y="16947"/>
                  </a:cubicBezTo>
                  <a:lnTo>
                    <a:pt x="33895" y="96663"/>
                  </a:lnTo>
                  <a:cubicBezTo>
                    <a:pt x="108588" y="143111"/>
                    <a:pt x="199602" y="143111"/>
                    <a:pt x="274923" y="96663"/>
                  </a:cubicBezTo>
                  <a:lnTo>
                    <a:pt x="274923" y="16947"/>
                  </a:lnTo>
                  <a:cubicBezTo>
                    <a:pt x="274923" y="7532"/>
                    <a:pt x="282455" y="0"/>
                    <a:pt x="291871" y="0"/>
                  </a:cubicBezTo>
                  <a:cubicBezTo>
                    <a:pt x="301286" y="0"/>
                    <a:pt x="308818" y="7532"/>
                    <a:pt x="308818" y="16947"/>
                  </a:cubicBezTo>
                  <a:lnTo>
                    <a:pt x="308818" y="106078"/>
                  </a:lnTo>
                  <a:cubicBezTo>
                    <a:pt x="308818" y="111727"/>
                    <a:pt x="306307" y="116748"/>
                    <a:pt x="301286" y="119887"/>
                  </a:cubicBezTo>
                  <a:cubicBezTo>
                    <a:pt x="254838" y="150643"/>
                    <a:pt x="204623" y="165707"/>
                    <a:pt x="153781" y="165707"/>
                  </a:cubicBezTo>
                  <a:lnTo>
                    <a:pt x="153781" y="165707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38" name="Forma Livre: Forma 237">
              <a:extLst>
                <a:ext uri="{FF2B5EF4-FFF2-40B4-BE49-F238E27FC236}">
                  <a16:creationId xmlns:a16="http://schemas.microsoft.com/office/drawing/2014/main" id="{8839C2A1-2862-4F1C-BDDC-1F6A5108A5E7}"/>
                </a:ext>
              </a:extLst>
            </p:cNvPr>
            <p:cNvSpPr/>
            <p:nvPr/>
          </p:nvSpPr>
          <p:spPr>
            <a:xfrm>
              <a:off x="4748105" y="1699074"/>
              <a:ext cx="16319" cy="138717"/>
            </a:xfrm>
            <a:custGeom>
              <a:avLst/>
              <a:gdLst>
                <a:gd name="connsiteX0" fmla="*/ 8160 w 16319"/>
                <a:gd name="connsiteY0" fmla="*/ 138717 h 138717"/>
                <a:gd name="connsiteX1" fmla="*/ 0 w 16319"/>
                <a:gd name="connsiteY1" fmla="*/ 130557 h 138717"/>
                <a:gd name="connsiteX2" fmla="*/ 0 w 16319"/>
                <a:gd name="connsiteY2" fmla="*/ 8160 h 138717"/>
                <a:gd name="connsiteX3" fmla="*/ 8160 w 16319"/>
                <a:gd name="connsiteY3" fmla="*/ 0 h 138717"/>
                <a:gd name="connsiteX4" fmla="*/ 16320 w 16319"/>
                <a:gd name="connsiteY4" fmla="*/ 8160 h 138717"/>
                <a:gd name="connsiteX5" fmla="*/ 16320 w 16319"/>
                <a:gd name="connsiteY5" fmla="*/ 130557 h 138717"/>
                <a:gd name="connsiteX6" fmla="*/ 8160 w 16319"/>
                <a:gd name="connsiteY6" fmla="*/ 138717 h 138717"/>
                <a:gd name="connsiteX7" fmla="*/ 8160 w 16319"/>
                <a:gd name="connsiteY7" fmla="*/ 138717 h 13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319" h="138717">
                  <a:moveTo>
                    <a:pt x="8160" y="138717"/>
                  </a:moveTo>
                  <a:cubicBezTo>
                    <a:pt x="3766" y="138717"/>
                    <a:pt x="0" y="134951"/>
                    <a:pt x="0" y="130557"/>
                  </a:cubicBezTo>
                  <a:lnTo>
                    <a:pt x="0" y="8160"/>
                  </a:lnTo>
                  <a:cubicBezTo>
                    <a:pt x="0" y="3766"/>
                    <a:pt x="3766" y="0"/>
                    <a:pt x="8160" y="0"/>
                  </a:cubicBezTo>
                  <a:cubicBezTo>
                    <a:pt x="12554" y="0"/>
                    <a:pt x="16320" y="3766"/>
                    <a:pt x="16320" y="8160"/>
                  </a:cubicBezTo>
                  <a:lnTo>
                    <a:pt x="16320" y="130557"/>
                  </a:lnTo>
                  <a:cubicBezTo>
                    <a:pt x="16320" y="134951"/>
                    <a:pt x="12554" y="138717"/>
                    <a:pt x="8160" y="138717"/>
                  </a:cubicBezTo>
                  <a:lnTo>
                    <a:pt x="8160" y="138717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39" name="Forma Livre: Forma 238">
              <a:extLst>
                <a:ext uri="{FF2B5EF4-FFF2-40B4-BE49-F238E27FC236}">
                  <a16:creationId xmlns:a16="http://schemas.microsoft.com/office/drawing/2014/main" id="{64FD5467-B7CB-414E-91F5-DC35C1225136}"/>
                </a:ext>
              </a:extLst>
            </p:cNvPr>
            <p:cNvSpPr/>
            <p:nvPr/>
          </p:nvSpPr>
          <p:spPr>
            <a:xfrm>
              <a:off x="4739318" y="1753682"/>
              <a:ext cx="33894" cy="92268"/>
            </a:xfrm>
            <a:custGeom>
              <a:avLst/>
              <a:gdLst>
                <a:gd name="connsiteX0" fmla="*/ 16947 w 33894"/>
                <a:gd name="connsiteY0" fmla="*/ 92269 h 92268"/>
                <a:gd name="connsiteX1" fmla="*/ 0 w 33894"/>
                <a:gd name="connsiteY1" fmla="*/ 75321 h 92268"/>
                <a:gd name="connsiteX2" fmla="*/ 0 w 33894"/>
                <a:gd name="connsiteY2" fmla="*/ 16947 h 92268"/>
                <a:gd name="connsiteX3" fmla="*/ 16947 w 33894"/>
                <a:gd name="connsiteY3" fmla="*/ 0 h 92268"/>
                <a:gd name="connsiteX4" fmla="*/ 33894 w 33894"/>
                <a:gd name="connsiteY4" fmla="*/ 16947 h 92268"/>
                <a:gd name="connsiteX5" fmla="*/ 33894 w 33894"/>
                <a:gd name="connsiteY5" fmla="*/ 75321 h 92268"/>
                <a:gd name="connsiteX6" fmla="*/ 16947 w 33894"/>
                <a:gd name="connsiteY6" fmla="*/ 92269 h 92268"/>
                <a:gd name="connsiteX7" fmla="*/ 16947 w 33894"/>
                <a:gd name="connsiteY7" fmla="*/ 92269 h 92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894" h="92268">
                  <a:moveTo>
                    <a:pt x="16947" y="92269"/>
                  </a:moveTo>
                  <a:cubicBezTo>
                    <a:pt x="7532" y="92269"/>
                    <a:pt x="0" y="84737"/>
                    <a:pt x="0" y="75321"/>
                  </a:cubicBezTo>
                  <a:lnTo>
                    <a:pt x="0" y="16947"/>
                  </a:lnTo>
                  <a:cubicBezTo>
                    <a:pt x="0" y="7532"/>
                    <a:pt x="7532" y="0"/>
                    <a:pt x="16947" y="0"/>
                  </a:cubicBezTo>
                  <a:cubicBezTo>
                    <a:pt x="26362" y="0"/>
                    <a:pt x="33894" y="7532"/>
                    <a:pt x="33894" y="16947"/>
                  </a:cubicBezTo>
                  <a:lnTo>
                    <a:pt x="33894" y="75321"/>
                  </a:lnTo>
                  <a:cubicBezTo>
                    <a:pt x="33267" y="84737"/>
                    <a:pt x="25735" y="92269"/>
                    <a:pt x="16947" y="92269"/>
                  </a:cubicBezTo>
                  <a:lnTo>
                    <a:pt x="16947" y="92269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40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8463335" y="512134"/>
            <a:ext cx="387770" cy="405480"/>
            <a:chOff x="8463335" y="512134"/>
            <a:chExt cx="387770" cy="405480"/>
          </a:xfrm>
          <a:solidFill>
            <a:srgbClr val="B1B1A1"/>
          </a:solidFill>
        </p:grpSpPr>
        <p:sp>
          <p:nvSpPr>
            <p:cNvPr id="241" name="Forma Livre: Forma 240">
              <a:extLst>
                <a:ext uri="{FF2B5EF4-FFF2-40B4-BE49-F238E27FC236}">
                  <a16:creationId xmlns:a16="http://schemas.microsoft.com/office/drawing/2014/main" id="{E62BDE17-EC88-4FAA-9759-5576938BDADD}"/>
                </a:ext>
              </a:extLst>
            </p:cNvPr>
            <p:cNvSpPr/>
            <p:nvPr/>
          </p:nvSpPr>
          <p:spPr>
            <a:xfrm>
              <a:off x="8463335" y="529081"/>
              <a:ext cx="309445" cy="388533"/>
            </a:xfrm>
            <a:custGeom>
              <a:avLst/>
              <a:gdLst>
                <a:gd name="connsiteX0" fmla="*/ 292499 w 309445"/>
                <a:gd name="connsiteY0" fmla="*/ 388533 h 388533"/>
                <a:gd name="connsiteX1" fmla="*/ 16948 w 309445"/>
                <a:gd name="connsiteY1" fmla="*/ 388533 h 388533"/>
                <a:gd name="connsiteX2" fmla="*/ 0 w 309445"/>
                <a:gd name="connsiteY2" fmla="*/ 371586 h 388533"/>
                <a:gd name="connsiteX3" fmla="*/ 0 w 309445"/>
                <a:gd name="connsiteY3" fmla="*/ 16947 h 388533"/>
                <a:gd name="connsiteX4" fmla="*/ 16948 w 309445"/>
                <a:gd name="connsiteY4" fmla="*/ 0 h 388533"/>
                <a:gd name="connsiteX5" fmla="*/ 292499 w 309445"/>
                <a:gd name="connsiteY5" fmla="*/ 0 h 388533"/>
                <a:gd name="connsiteX6" fmla="*/ 309446 w 309445"/>
                <a:gd name="connsiteY6" fmla="*/ 16947 h 388533"/>
                <a:gd name="connsiteX7" fmla="*/ 309446 w 309445"/>
                <a:gd name="connsiteY7" fmla="*/ 123653 h 388533"/>
                <a:gd name="connsiteX8" fmla="*/ 292499 w 309445"/>
                <a:gd name="connsiteY8" fmla="*/ 140600 h 388533"/>
                <a:gd name="connsiteX9" fmla="*/ 275551 w 309445"/>
                <a:gd name="connsiteY9" fmla="*/ 123653 h 388533"/>
                <a:gd name="connsiteX10" fmla="*/ 275551 w 309445"/>
                <a:gd name="connsiteY10" fmla="*/ 33895 h 388533"/>
                <a:gd name="connsiteX11" fmla="*/ 33267 w 309445"/>
                <a:gd name="connsiteY11" fmla="*/ 33895 h 388533"/>
                <a:gd name="connsiteX12" fmla="*/ 33267 w 309445"/>
                <a:gd name="connsiteY12" fmla="*/ 355266 h 388533"/>
                <a:gd name="connsiteX13" fmla="*/ 275551 w 309445"/>
                <a:gd name="connsiteY13" fmla="*/ 355266 h 388533"/>
                <a:gd name="connsiteX14" fmla="*/ 275551 w 309445"/>
                <a:gd name="connsiteY14" fmla="*/ 220315 h 388533"/>
                <a:gd name="connsiteX15" fmla="*/ 292499 w 309445"/>
                <a:gd name="connsiteY15" fmla="*/ 203368 h 388533"/>
                <a:gd name="connsiteX16" fmla="*/ 309446 w 309445"/>
                <a:gd name="connsiteY16" fmla="*/ 220315 h 388533"/>
                <a:gd name="connsiteX17" fmla="*/ 309446 w 309445"/>
                <a:gd name="connsiteY17" fmla="*/ 372213 h 388533"/>
                <a:gd name="connsiteX18" fmla="*/ 292499 w 309445"/>
                <a:gd name="connsiteY18" fmla="*/ 388533 h 388533"/>
                <a:gd name="connsiteX19" fmla="*/ 292499 w 309445"/>
                <a:gd name="connsiteY19" fmla="*/ 388533 h 388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09445" h="388533">
                  <a:moveTo>
                    <a:pt x="292499" y="388533"/>
                  </a:moveTo>
                  <a:lnTo>
                    <a:pt x="16948" y="388533"/>
                  </a:lnTo>
                  <a:cubicBezTo>
                    <a:pt x="7533" y="388533"/>
                    <a:pt x="0" y="381001"/>
                    <a:pt x="0" y="371586"/>
                  </a:cubicBezTo>
                  <a:lnTo>
                    <a:pt x="0" y="16947"/>
                  </a:lnTo>
                  <a:cubicBezTo>
                    <a:pt x="0" y="7532"/>
                    <a:pt x="7533" y="0"/>
                    <a:pt x="16948" y="0"/>
                  </a:cubicBezTo>
                  <a:lnTo>
                    <a:pt x="292499" y="0"/>
                  </a:lnTo>
                  <a:cubicBezTo>
                    <a:pt x="301914" y="0"/>
                    <a:pt x="309446" y="7532"/>
                    <a:pt x="309446" y="16947"/>
                  </a:cubicBezTo>
                  <a:lnTo>
                    <a:pt x="309446" y="123653"/>
                  </a:lnTo>
                  <a:cubicBezTo>
                    <a:pt x="309446" y="133068"/>
                    <a:pt x="301914" y="140600"/>
                    <a:pt x="292499" y="140600"/>
                  </a:cubicBezTo>
                  <a:cubicBezTo>
                    <a:pt x="283084" y="140600"/>
                    <a:pt x="275551" y="133068"/>
                    <a:pt x="275551" y="123653"/>
                  </a:cubicBezTo>
                  <a:lnTo>
                    <a:pt x="275551" y="33895"/>
                  </a:lnTo>
                  <a:lnTo>
                    <a:pt x="33267" y="33895"/>
                  </a:lnTo>
                  <a:lnTo>
                    <a:pt x="33267" y="355266"/>
                  </a:lnTo>
                  <a:lnTo>
                    <a:pt x="275551" y="355266"/>
                  </a:lnTo>
                  <a:lnTo>
                    <a:pt x="275551" y="220315"/>
                  </a:lnTo>
                  <a:cubicBezTo>
                    <a:pt x="275551" y="210900"/>
                    <a:pt x="283084" y="203368"/>
                    <a:pt x="292499" y="203368"/>
                  </a:cubicBezTo>
                  <a:cubicBezTo>
                    <a:pt x="301914" y="203368"/>
                    <a:pt x="309446" y="210900"/>
                    <a:pt x="309446" y="220315"/>
                  </a:cubicBezTo>
                  <a:lnTo>
                    <a:pt x="309446" y="372213"/>
                  </a:lnTo>
                  <a:cubicBezTo>
                    <a:pt x="309446" y="381001"/>
                    <a:pt x="301914" y="388533"/>
                    <a:pt x="292499" y="388533"/>
                  </a:cubicBezTo>
                  <a:lnTo>
                    <a:pt x="292499" y="388533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42" name="Forma Livre: Forma 241">
              <a:extLst>
                <a:ext uri="{FF2B5EF4-FFF2-40B4-BE49-F238E27FC236}">
                  <a16:creationId xmlns:a16="http://schemas.microsoft.com/office/drawing/2014/main" id="{7BB6B55B-228A-4E44-B2FE-350D623B22A3}"/>
                </a:ext>
              </a:extLst>
            </p:cNvPr>
            <p:cNvSpPr/>
            <p:nvPr/>
          </p:nvSpPr>
          <p:spPr>
            <a:xfrm>
              <a:off x="8526103" y="512134"/>
              <a:ext cx="184537" cy="71555"/>
            </a:xfrm>
            <a:custGeom>
              <a:avLst/>
              <a:gdLst>
                <a:gd name="connsiteX0" fmla="*/ 148760 w 184537"/>
                <a:gd name="connsiteY0" fmla="*/ 71555 h 71555"/>
                <a:gd name="connsiteX1" fmla="*/ 35778 w 184537"/>
                <a:gd name="connsiteY1" fmla="*/ 71555 h 71555"/>
                <a:gd name="connsiteX2" fmla="*/ 0 w 184537"/>
                <a:gd name="connsiteY2" fmla="*/ 35778 h 71555"/>
                <a:gd name="connsiteX3" fmla="*/ 35778 w 184537"/>
                <a:gd name="connsiteY3" fmla="*/ 0 h 71555"/>
                <a:gd name="connsiteX4" fmla="*/ 148760 w 184537"/>
                <a:gd name="connsiteY4" fmla="*/ 0 h 71555"/>
                <a:gd name="connsiteX5" fmla="*/ 184538 w 184537"/>
                <a:gd name="connsiteY5" fmla="*/ 35778 h 71555"/>
                <a:gd name="connsiteX6" fmla="*/ 148760 w 184537"/>
                <a:gd name="connsiteY6" fmla="*/ 71555 h 71555"/>
                <a:gd name="connsiteX7" fmla="*/ 148760 w 184537"/>
                <a:gd name="connsiteY7" fmla="*/ 71555 h 71555"/>
                <a:gd name="connsiteX8" fmla="*/ 35778 w 184537"/>
                <a:gd name="connsiteY8" fmla="*/ 33895 h 71555"/>
                <a:gd name="connsiteX9" fmla="*/ 33895 w 184537"/>
                <a:gd name="connsiteY9" fmla="*/ 35778 h 71555"/>
                <a:gd name="connsiteX10" fmla="*/ 35778 w 184537"/>
                <a:gd name="connsiteY10" fmla="*/ 37661 h 71555"/>
                <a:gd name="connsiteX11" fmla="*/ 148760 w 184537"/>
                <a:gd name="connsiteY11" fmla="*/ 37661 h 71555"/>
                <a:gd name="connsiteX12" fmla="*/ 150643 w 184537"/>
                <a:gd name="connsiteY12" fmla="*/ 35778 h 71555"/>
                <a:gd name="connsiteX13" fmla="*/ 148760 w 184537"/>
                <a:gd name="connsiteY13" fmla="*/ 33895 h 71555"/>
                <a:gd name="connsiteX14" fmla="*/ 35778 w 184537"/>
                <a:gd name="connsiteY14" fmla="*/ 33895 h 71555"/>
                <a:gd name="connsiteX15" fmla="*/ 35778 w 184537"/>
                <a:gd name="connsiteY15" fmla="*/ 33895 h 71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4537" h="71555">
                  <a:moveTo>
                    <a:pt x="148760" y="71555"/>
                  </a:moveTo>
                  <a:lnTo>
                    <a:pt x="35778" y="71555"/>
                  </a:lnTo>
                  <a:cubicBezTo>
                    <a:pt x="16320" y="71555"/>
                    <a:pt x="0" y="55863"/>
                    <a:pt x="0" y="35778"/>
                  </a:cubicBezTo>
                  <a:cubicBezTo>
                    <a:pt x="0" y="16320"/>
                    <a:pt x="15692" y="0"/>
                    <a:pt x="35778" y="0"/>
                  </a:cubicBezTo>
                  <a:lnTo>
                    <a:pt x="148760" y="0"/>
                  </a:lnTo>
                  <a:cubicBezTo>
                    <a:pt x="168218" y="0"/>
                    <a:pt x="184538" y="15692"/>
                    <a:pt x="184538" y="35778"/>
                  </a:cubicBezTo>
                  <a:cubicBezTo>
                    <a:pt x="183910" y="55863"/>
                    <a:pt x="168218" y="71555"/>
                    <a:pt x="148760" y="71555"/>
                  </a:cubicBezTo>
                  <a:lnTo>
                    <a:pt x="148760" y="71555"/>
                  </a:lnTo>
                  <a:close/>
                  <a:moveTo>
                    <a:pt x="35778" y="33895"/>
                  </a:moveTo>
                  <a:cubicBezTo>
                    <a:pt x="34522" y="33895"/>
                    <a:pt x="33895" y="34522"/>
                    <a:pt x="33895" y="35778"/>
                  </a:cubicBezTo>
                  <a:cubicBezTo>
                    <a:pt x="33895" y="37033"/>
                    <a:pt x="35151" y="37661"/>
                    <a:pt x="35778" y="37661"/>
                  </a:cubicBezTo>
                  <a:lnTo>
                    <a:pt x="148760" y="37661"/>
                  </a:lnTo>
                  <a:cubicBezTo>
                    <a:pt x="150015" y="37661"/>
                    <a:pt x="150643" y="37033"/>
                    <a:pt x="150643" y="35778"/>
                  </a:cubicBezTo>
                  <a:cubicBezTo>
                    <a:pt x="150643" y="34522"/>
                    <a:pt x="150015" y="33895"/>
                    <a:pt x="148760" y="33895"/>
                  </a:cubicBezTo>
                  <a:lnTo>
                    <a:pt x="35778" y="33895"/>
                  </a:lnTo>
                  <a:lnTo>
                    <a:pt x="35778" y="33895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243" name="Gráfico 2">
              <a:extLst>
                <a:ext uri="{FF2B5EF4-FFF2-40B4-BE49-F238E27FC236}">
                  <a16:creationId xmlns:a16="http://schemas.microsoft.com/office/drawing/2014/main" id="{83F95F55-5D1D-4425-8D77-756B15108235}"/>
                </a:ext>
              </a:extLst>
            </p:cNvPr>
            <p:cNvGrpSpPr/>
            <p:nvPr/>
          </p:nvGrpSpPr>
          <p:grpSpPr>
            <a:xfrm>
              <a:off x="8573942" y="612336"/>
              <a:ext cx="277163" cy="221796"/>
              <a:chOff x="8573942" y="612336"/>
              <a:chExt cx="277163" cy="221796"/>
            </a:xfrm>
            <a:grpFill/>
          </p:grpSpPr>
          <p:sp>
            <p:nvSpPr>
              <p:cNvPr id="244" name="Forma Livre: Forma 243">
                <a:extLst>
                  <a:ext uri="{FF2B5EF4-FFF2-40B4-BE49-F238E27FC236}">
                    <a16:creationId xmlns:a16="http://schemas.microsoft.com/office/drawing/2014/main" id="{4FA942BC-3F00-4354-9F9C-71857DEFCC29}"/>
                  </a:ext>
                </a:extLst>
              </p:cNvPr>
              <p:cNvSpPr/>
              <p:nvPr/>
            </p:nvSpPr>
            <p:spPr>
              <a:xfrm>
                <a:off x="8573942" y="612336"/>
                <a:ext cx="277163" cy="221796"/>
              </a:xfrm>
              <a:custGeom>
                <a:avLst/>
                <a:gdLst>
                  <a:gd name="connsiteX0" fmla="*/ 70792 w 277163"/>
                  <a:gd name="connsiteY0" fmla="*/ 221797 h 221796"/>
                  <a:gd name="connsiteX1" fmla="*/ 68910 w 277163"/>
                  <a:gd name="connsiteY1" fmla="*/ 221797 h 221796"/>
                  <a:gd name="connsiteX2" fmla="*/ 14929 w 277163"/>
                  <a:gd name="connsiteY2" fmla="*/ 214892 h 221796"/>
                  <a:gd name="connsiteX3" fmla="*/ 3004 w 277163"/>
                  <a:gd name="connsiteY3" fmla="*/ 207988 h 221796"/>
                  <a:gd name="connsiteX4" fmla="*/ 493 w 277163"/>
                  <a:gd name="connsiteY4" fmla="*/ 194807 h 221796"/>
                  <a:gd name="connsiteX5" fmla="*/ 13674 w 277163"/>
                  <a:gd name="connsiteY5" fmla="*/ 142082 h 221796"/>
                  <a:gd name="connsiteX6" fmla="*/ 20578 w 277163"/>
                  <a:gd name="connsiteY6" fmla="*/ 132039 h 221796"/>
                  <a:gd name="connsiteX7" fmla="*/ 210138 w 277163"/>
                  <a:gd name="connsiteY7" fmla="*/ 2737 h 221796"/>
                  <a:gd name="connsiteX8" fmla="*/ 222691 w 277163"/>
                  <a:gd name="connsiteY8" fmla="*/ 226 h 221796"/>
                  <a:gd name="connsiteX9" fmla="*/ 233361 w 277163"/>
                  <a:gd name="connsiteY9" fmla="*/ 7131 h 221796"/>
                  <a:gd name="connsiteX10" fmla="*/ 274160 w 277163"/>
                  <a:gd name="connsiteY10" fmla="*/ 66760 h 221796"/>
                  <a:gd name="connsiteX11" fmla="*/ 276671 w 277163"/>
                  <a:gd name="connsiteY11" fmla="*/ 79314 h 221796"/>
                  <a:gd name="connsiteX12" fmla="*/ 269767 w 277163"/>
                  <a:gd name="connsiteY12" fmla="*/ 89984 h 221796"/>
                  <a:gd name="connsiteX13" fmla="*/ 80208 w 277163"/>
                  <a:gd name="connsiteY13" fmla="*/ 219286 h 221796"/>
                  <a:gd name="connsiteX14" fmla="*/ 70792 w 277163"/>
                  <a:gd name="connsiteY14" fmla="*/ 221797 h 221796"/>
                  <a:gd name="connsiteX15" fmla="*/ 70792 w 277163"/>
                  <a:gd name="connsiteY15" fmla="*/ 221797 h 221796"/>
                  <a:gd name="connsiteX16" fmla="*/ 37526 w 277163"/>
                  <a:gd name="connsiteY16" fmla="*/ 184136 h 221796"/>
                  <a:gd name="connsiteX17" fmla="*/ 66399 w 277163"/>
                  <a:gd name="connsiteY17" fmla="*/ 187902 h 221796"/>
                  <a:gd name="connsiteX18" fmla="*/ 236500 w 277163"/>
                  <a:gd name="connsiteY18" fmla="*/ 71782 h 221796"/>
                  <a:gd name="connsiteX19" fmla="*/ 214531 w 277163"/>
                  <a:gd name="connsiteY19" fmla="*/ 39770 h 221796"/>
                  <a:gd name="connsiteX20" fmla="*/ 44430 w 277163"/>
                  <a:gd name="connsiteY20" fmla="*/ 155891 h 221796"/>
                  <a:gd name="connsiteX21" fmla="*/ 37526 w 277163"/>
                  <a:gd name="connsiteY21" fmla="*/ 184136 h 221796"/>
                  <a:gd name="connsiteX22" fmla="*/ 37526 w 277163"/>
                  <a:gd name="connsiteY22" fmla="*/ 184136 h 221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77163" h="221796">
                    <a:moveTo>
                      <a:pt x="70792" y="221797"/>
                    </a:moveTo>
                    <a:cubicBezTo>
                      <a:pt x="70165" y="221797"/>
                      <a:pt x="69537" y="221797"/>
                      <a:pt x="68910" y="221797"/>
                    </a:cubicBezTo>
                    <a:lnTo>
                      <a:pt x="14929" y="214892"/>
                    </a:lnTo>
                    <a:cubicBezTo>
                      <a:pt x="9908" y="214265"/>
                      <a:pt x="6142" y="211754"/>
                      <a:pt x="3004" y="207988"/>
                    </a:cubicBezTo>
                    <a:cubicBezTo>
                      <a:pt x="493" y="204222"/>
                      <a:pt x="-763" y="199201"/>
                      <a:pt x="493" y="194807"/>
                    </a:cubicBezTo>
                    <a:lnTo>
                      <a:pt x="13674" y="142082"/>
                    </a:lnTo>
                    <a:cubicBezTo>
                      <a:pt x="14929" y="138316"/>
                      <a:pt x="16812" y="134550"/>
                      <a:pt x="20578" y="132039"/>
                    </a:cubicBezTo>
                    <a:lnTo>
                      <a:pt x="210138" y="2737"/>
                    </a:lnTo>
                    <a:cubicBezTo>
                      <a:pt x="213903" y="226"/>
                      <a:pt x="218297" y="-401"/>
                      <a:pt x="222691" y="226"/>
                    </a:cubicBezTo>
                    <a:cubicBezTo>
                      <a:pt x="227085" y="854"/>
                      <a:pt x="230850" y="3365"/>
                      <a:pt x="233361" y="7131"/>
                    </a:cubicBezTo>
                    <a:lnTo>
                      <a:pt x="274160" y="66760"/>
                    </a:lnTo>
                    <a:cubicBezTo>
                      <a:pt x="276671" y="70526"/>
                      <a:pt x="277926" y="74920"/>
                      <a:pt x="276671" y="79314"/>
                    </a:cubicBezTo>
                    <a:cubicBezTo>
                      <a:pt x="276044" y="83708"/>
                      <a:pt x="273533" y="87474"/>
                      <a:pt x="269767" y="89984"/>
                    </a:cubicBezTo>
                    <a:lnTo>
                      <a:pt x="80208" y="219286"/>
                    </a:lnTo>
                    <a:cubicBezTo>
                      <a:pt x="77069" y="220542"/>
                      <a:pt x="73931" y="221797"/>
                      <a:pt x="70792" y="221797"/>
                    </a:cubicBezTo>
                    <a:lnTo>
                      <a:pt x="70792" y="221797"/>
                    </a:lnTo>
                    <a:close/>
                    <a:moveTo>
                      <a:pt x="37526" y="184136"/>
                    </a:moveTo>
                    <a:lnTo>
                      <a:pt x="66399" y="187902"/>
                    </a:lnTo>
                    <a:lnTo>
                      <a:pt x="236500" y="71782"/>
                    </a:lnTo>
                    <a:lnTo>
                      <a:pt x="214531" y="39770"/>
                    </a:lnTo>
                    <a:lnTo>
                      <a:pt x="44430" y="155891"/>
                    </a:lnTo>
                    <a:lnTo>
                      <a:pt x="37526" y="184136"/>
                    </a:lnTo>
                    <a:lnTo>
                      <a:pt x="37526" y="184136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45" name="Forma Livre: Forma 244">
                <a:extLst>
                  <a:ext uri="{FF2B5EF4-FFF2-40B4-BE49-F238E27FC236}">
                    <a16:creationId xmlns:a16="http://schemas.microsoft.com/office/drawing/2014/main" id="{BBD7E151-1E9C-424F-86B6-93CEF017CF81}"/>
                  </a:ext>
                </a:extLst>
              </p:cNvPr>
              <p:cNvSpPr/>
              <p:nvPr/>
            </p:nvSpPr>
            <p:spPr>
              <a:xfrm>
                <a:off x="8756210" y="643695"/>
                <a:ext cx="52599" cy="70551"/>
              </a:xfrm>
              <a:custGeom>
                <a:avLst/>
                <a:gdLst>
                  <a:gd name="connsiteX0" fmla="*/ 44816 w 52599"/>
                  <a:gd name="connsiteY0" fmla="*/ 70551 h 70551"/>
                  <a:gd name="connsiteX1" fmla="*/ 37912 w 52599"/>
                  <a:gd name="connsiteY1" fmla="*/ 66785 h 70551"/>
                  <a:gd name="connsiteX2" fmla="*/ 1506 w 52599"/>
                  <a:gd name="connsiteY2" fmla="*/ 12805 h 70551"/>
                  <a:gd name="connsiteX3" fmla="*/ 3390 w 52599"/>
                  <a:gd name="connsiteY3" fmla="*/ 1506 h 70551"/>
                  <a:gd name="connsiteX4" fmla="*/ 14687 w 52599"/>
                  <a:gd name="connsiteY4" fmla="*/ 3389 h 70551"/>
                  <a:gd name="connsiteX5" fmla="*/ 51093 w 52599"/>
                  <a:gd name="connsiteY5" fmla="*/ 57370 h 70551"/>
                  <a:gd name="connsiteX6" fmla="*/ 49210 w 52599"/>
                  <a:gd name="connsiteY6" fmla="*/ 68668 h 70551"/>
                  <a:gd name="connsiteX7" fmla="*/ 44816 w 52599"/>
                  <a:gd name="connsiteY7" fmla="*/ 70551 h 70551"/>
                  <a:gd name="connsiteX8" fmla="*/ 44816 w 52599"/>
                  <a:gd name="connsiteY8" fmla="*/ 70551 h 705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2599" h="70551">
                    <a:moveTo>
                      <a:pt x="44816" y="70551"/>
                    </a:moveTo>
                    <a:cubicBezTo>
                      <a:pt x="42305" y="70551"/>
                      <a:pt x="39795" y="69296"/>
                      <a:pt x="37912" y="66785"/>
                    </a:cubicBezTo>
                    <a:lnTo>
                      <a:pt x="1506" y="12805"/>
                    </a:lnTo>
                    <a:cubicBezTo>
                      <a:pt x="-1005" y="9039"/>
                      <a:pt x="-376" y="4017"/>
                      <a:pt x="3390" y="1506"/>
                    </a:cubicBezTo>
                    <a:cubicBezTo>
                      <a:pt x="7156" y="-1004"/>
                      <a:pt x="12177" y="-377"/>
                      <a:pt x="14687" y="3389"/>
                    </a:cubicBezTo>
                    <a:lnTo>
                      <a:pt x="51093" y="57370"/>
                    </a:lnTo>
                    <a:cubicBezTo>
                      <a:pt x="53604" y="61136"/>
                      <a:pt x="52976" y="66157"/>
                      <a:pt x="49210" y="68668"/>
                    </a:cubicBezTo>
                    <a:cubicBezTo>
                      <a:pt x="48582" y="69923"/>
                      <a:pt x="46700" y="70551"/>
                      <a:pt x="44816" y="70551"/>
                    </a:cubicBezTo>
                    <a:lnTo>
                      <a:pt x="44816" y="70551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46" name="Forma Livre: Forma 245">
                <a:extLst>
                  <a:ext uri="{FF2B5EF4-FFF2-40B4-BE49-F238E27FC236}">
                    <a16:creationId xmlns:a16="http://schemas.microsoft.com/office/drawing/2014/main" id="{8E272676-6491-4051-91EA-1B558BEE1DCD}"/>
                  </a:ext>
                </a:extLst>
              </p:cNvPr>
              <p:cNvSpPr/>
              <p:nvPr/>
            </p:nvSpPr>
            <p:spPr>
              <a:xfrm>
                <a:off x="8625653" y="671313"/>
                <a:ext cx="164326" cy="117626"/>
              </a:xfrm>
              <a:custGeom>
                <a:avLst/>
                <a:gdLst>
                  <a:gd name="connsiteX0" fmla="*/ 8411 w 164326"/>
                  <a:gd name="connsiteY0" fmla="*/ 117627 h 117626"/>
                  <a:gd name="connsiteX1" fmla="*/ 1507 w 164326"/>
                  <a:gd name="connsiteY1" fmla="*/ 113861 h 117626"/>
                  <a:gd name="connsiteX2" fmla="*/ 3389 w 164326"/>
                  <a:gd name="connsiteY2" fmla="*/ 102563 h 117626"/>
                  <a:gd name="connsiteX3" fmla="*/ 151521 w 164326"/>
                  <a:gd name="connsiteY3" fmla="*/ 1506 h 117626"/>
                  <a:gd name="connsiteX4" fmla="*/ 162820 w 164326"/>
                  <a:gd name="connsiteY4" fmla="*/ 3389 h 117626"/>
                  <a:gd name="connsiteX5" fmla="*/ 160936 w 164326"/>
                  <a:gd name="connsiteY5" fmla="*/ 14688 h 117626"/>
                  <a:gd name="connsiteX6" fmla="*/ 12804 w 164326"/>
                  <a:gd name="connsiteY6" fmla="*/ 115744 h 117626"/>
                  <a:gd name="connsiteX7" fmla="*/ 8411 w 164326"/>
                  <a:gd name="connsiteY7" fmla="*/ 117627 h 117626"/>
                  <a:gd name="connsiteX8" fmla="*/ 8411 w 164326"/>
                  <a:gd name="connsiteY8" fmla="*/ 117627 h 1176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4326" h="117626">
                    <a:moveTo>
                      <a:pt x="8411" y="117627"/>
                    </a:moveTo>
                    <a:cubicBezTo>
                      <a:pt x="5900" y="117627"/>
                      <a:pt x="3389" y="116372"/>
                      <a:pt x="1507" y="113861"/>
                    </a:cubicBezTo>
                    <a:cubicBezTo>
                      <a:pt x="-1004" y="110095"/>
                      <a:pt x="-377" y="105073"/>
                      <a:pt x="3389" y="102563"/>
                    </a:cubicBezTo>
                    <a:lnTo>
                      <a:pt x="151521" y="1506"/>
                    </a:lnTo>
                    <a:cubicBezTo>
                      <a:pt x="155288" y="-1004"/>
                      <a:pt x="160309" y="-377"/>
                      <a:pt x="162820" y="3389"/>
                    </a:cubicBezTo>
                    <a:cubicBezTo>
                      <a:pt x="165331" y="7156"/>
                      <a:pt x="164703" y="12177"/>
                      <a:pt x="160936" y="14688"/>
                    </a:cubicBezTo>
                    <a:lnTo>
                      <a:pt x="12804" y="115744"/>
                    </a:lnTo>
                    <a:cubicBezTo>
                      <a:pt x="11549" y="116999"/>
                      <a:pt x="10294" y="117627"/>
                      <a:pt x="8411" y="117627"/>
                    </a:cubicBezTo>
                    <a:lnTo>
                      <a:pt x="8411" y="117627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grpSp>
            <p:nvGrpSpPr>
              <p:cNvPr id="247" name="Gráfico 2">
                <a:extLst>
                  <a:ext uri="{FF2B5EF4-FFF2-40B4-BE49-F238E27FC236}">
                    <a16:creationId xmlns:a16="http://schemas.microsoft.com/office/drawing/2014/main" id="{83F95F55-5D1D-4425-8D77-756B15108235}"/>
                  </a:ext>
                </a:extLst>
              </p:cNvPr>
              <p:cNvGrpSpPr/>
              <p:nvPr/>
            </p:nvGrpSpPr>
            <p:grpSpPr>
              <a:xfrm>
                <a:off x="8582348" y="776387"/>
                <a:ext cx="43556" cy="45820"/>
                <a:chOff x="8582348" y="776387"/>
                <a:chExt cx="43556" cy="45820"/>
              </a:xfrm>
              <a:grpFill/>
            </p:grpSpPr>
            <p:sp>
              <p:nvSpPr>
                <p:cNvPr id="248" name="Forma Livre: Forma 247">
                  <a:extLst>
                    <a:ext uri="{FF2B5EF4-FFF2-40B4-BE49-F238E27FC236}">
                      <a16:creationId xmlns:a16="http://schemas.microsoft.com/office/drawing/2014/main" id="{40F627C3-5292-447F-BA81-B39A3C207A37}"/>
                    </a:ext>
                  </a:extLst>
                </p:cNvPr>
                <p:cNvSpPr/>
                <p:nvPr/>
              </p:nvSpPr>
              <p:spPr>
                <a:xfrm>
                  <a:off x="8591381" y="785174"/>
                  <a:ext cx="27032" cy="28873"/>
                </a:xfrm>
                <a:custGeom>
                  <a:avLst/>
                  <a:gdLst>
                    <a:gd name="connsiteX0" fmla="*/ 7533 w 27032"/>
                    <a:gd name="connsiteY0" fmla="*/ 0 h 28873"/>
                    <a:gd name="connsiteX1" fmla="*/ 6277 w 27032"/>
                    <a:gd name="connsiteY1" fmla="*/ 0 h 28873"/>
                    <a:gd name="connsiteX2" fmla="*/ 6277 w 27032"/>
                    <a:gd name="connsiteY2" fmla="*/ 0 h 28873"/>
                    <a:gd name="connsiteX3" fmla="*/ 0 w 27032"/>
                    <a:gd name="connsiteY3" fmla="*/ 25735 h 28873"/>
                    <a:gd name="connsiteX4" fmla="*/ 25107 w 27032"/>
                    <a:gd name="connsiteY4" fmla="*/ 28873 h 28873"/>
                    <a:gd name="connsiteX5" fmla="*/ 26363 w 27032"/>
                    <a:gd name="connsiteY5" fmla="*/ 26362 h 28873"/>
                    <a:gd name="connsiteX6" fmla="*/ 7533 w 27032"/>
                    <a:gd name="connsiteY6" fmla="*/ 0 h 28873"/>
                    <a:gd name="connsiteX7" fmla="*/ 7533 w 27032"/>
                    <a:gd name="connsiteY7" fmla="*/ 0 h 28873"/>
                    <a:gd name="connsiteX8" fmla="*/ 7533 w 27032"/>
                    <a:gd name="connsiteY8" fmla="*/ 0 h 288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7032" h="28873">
                      <a:moveTo>
                        <a:pt x="7533" y="0"/>
                      </a:moveTo>
                      <a:cubicBezTo>
                        <a:pt x="6904" y="0"/>
                        <a:pt x="6904" y="0"/>
                        <a:pt x="6277" y="0"/>
                      </a:cubicBezTo>
                      <a:cubicBezTo>
                        <a:pt x="6277" y="0"/>
                        <a:pt x="6277" y="0"/>
                        <a:pt x="6277" y="0"/>
                      </a:cubicBezTo>
                      <a:lnTo>
                        <a:pt x="0" y="25735"/>
                      </a:lnTo>
                      <a:lnTo>
                        <a:pt x="25107" y="28873"/>
                      </a:lnTo>
                      <a:cubicBezTo>
                        <a:pt x="25735" y="28246"/>
                        <a:pt x="25735" y="26990"/>
                        <a:pt x="26363" y="26362"/>
                      </a:cubicBezTo>
                      <a:cubicBezTo>
                        <a:pt x="29501" y="12554"/>
                        <a:pt x="21341" y="1255"/>
                        <a:pt x="7533" y="0"/>
                      </a:cubicBezTo>
                      <a:cubicBezTo>
                        <a:pt x="7533" y="0"/>
                        <a:pt x="7533" y="0"/>
                        <a:pt x="7533" y="0"/>
                      </a:cubicBezTo>
                      <a:lnTo>
                        <a:pt x="7533" y="0"/>
                      </a:lnTo>
                      <a:close/>
                    </a:path>
                  </a:pathLst>
                </a:custGeom>
                <a:grpFill/>
                <a:ln w="62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249" name="Forma Livre: Forma 248">
                  <a:extLst>
                    <a:ext uri="{FF2B5EF4-FFF2-40B4-BE49-F238E27FC236}">
                      <a16:creationId xmlns:a16="http://schemas.microsoft.com/office/drawing/2014/main" id="{A7B49DA3-5965-419F-BA56-2DBF3DA30478}"/>
                    </a:ext>
                  </a:extLst>
                </p:cNvPr>
                <p:cNvSpPr/>
                <p:nvPr/>
              </p:nvSpPr>
              <p:spPr>
                <a:xfrm>
                  <a:off x="8582348" y="776387"/>
                  <a:ext cx="43556" cy="45820"/>
                </a:xfrm>
                <a:custGeom>
                  <a:avLst/>
                  <a:gdLst>
                    <a:gd name="connsiteX0" fmla="*/ 33513 w 43556"/>
                    <a:gd name="connsiteY0" fmla="*/ 45821 h 45820"/>
                    <a:gd name="connsiteX1" fmla="*/ 32258 w 43556"/>
                    <a:gd name="connsiteY1" fmla="*/ 45821 h 45820"/>
                    <a:gd name="connsiteX2" fmla="*/ 7151 w 43556"/>
                    <a:gd name="connsiteY2" fmla="*/ 42682 h 45820"/>
                    <a:gd name="connsiteX3" fmla="*/ 1502 w 43556"/>
                    <a:gd name="connsiteY3" fmla="*/ 38916 h 45820"/>
                    <a:gd name="connsiteX4" fmla="*/ 246 w 43556"/>
                    <a:gd name="connsiteY4" fmla="*/ 32012 h 45820"/>
                    <a:gd name="connsiteX5" fmla="*/ 6523 w 43556"/>
                    <a:gd name="connsiteY5" fmla="*/ 6277 h 45820"/>
                    <a:gd name="connsiteX6" fmla="*/ 14683 w 43556"/>
                    <a:gd name="connsiteY6" fmla="*/ 0 h 45820"/>
                    <a:gd name="connsiteX7" fmla="*/ 17194 w 43556"/>
                    <a:gd name="connsiteY7" fmla="*/ 0 h 45820"/>
                    <a:gd name="connsiteX8" fmla="*/ 38535 w 43556"/>
                    <a:gd name="connsiteY8" fmla="*/ 11926 h 45820"/>
                    <a:gd name="connsiteX9" fmla="*/ 42301 w 43556"/>
                    <a:gd name="connsiteY9" fmla="*/ 36405 h 45820"/>
                    <a:gd name="connsiteX10" fmla="*/ 40418 w 43556"/>
                    <a:gd name="connsiteY10" fmla="*/ 40171 h 45820"/>
                    <a:gd name="connsiteX11" fmla="*/ 33513 w 43556"/>
                    <a:gd name="connsiteY11" fmla="*/ 45821 h 45820"/>
                    <a:gd name="connsiteX12" fmla="*/ 33513 w 43556"/>
                    <a:gd name="connsiteY12" fmla="*/ 45821 h 45820"/>
                    <a:gd name="connsiteX13" fmla="*/ 19077 w 43556"/>
                    <a:gd name="connsiteY13" fmla="*/ 26990 h 45820"/>
                    <a:gd name="connsiteX14" fmla="*/ 27864 w 43556"/>
                    <a:gd name="connsiteY14" fmla="*/ 28246 h 45820"/>
                    <a:gd name="connsiteX15" fmla="*/ 25982 w 43556"/>
                    <a:gd name="connsiteY15" fmla="*/ 21969 h 45820"/>
                    <a:gd name="connsiteX16" fmla="*/ 21587 w 43556"/>
                    <a:gd name="connsiteY16" fmla="*/ 18203 h 45820"/>
                    <a:gd name="connsiteX17" fmla="*/ 19077 w 43556"/>
                    <a:gd name="connsiteY17" fmla="*/ 26990 h 45820"/>
                    <a:gd name="connsiteX18" fmla="*/ 19077 w 43556"/>
                    <a:gd name="connsiteY18" fmla="*/ 26990 h 458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43556" h="45820">
                      <a:moveTo>
                        <a:pt x="33513" y="45821"/>
                      </a:moveTo>
                      <a:cubicBezTo>
                        <a:pt x="32886" y="45821"/>
                        <a:pt x="32886" y="45821"/>
                        <a:pt x="32258" y="45821"/>
                      </a:cubicBezTo>
                      <a:lnTo>
                        <a:pt x="7151" y="42682"/>
                      </a:lnTo>
                      <a:cubicBezTo>
                        <a:pt x="4640" y="42682"/>
                        <a:pt x="2757" y="40799"/>
                        <a:pt x="1502" y="38916"/>
                      </a:cubicBezTo>
                      <a:cubicBezTo>
                        <a:pt x="246" y="37033"/>
                        <a:pt x="-381" y="34522"/>
                        <a:pt x="246" y="32012"/>
                      </a:cubicBezTo>
                      <a:lnTo>
                        <a:pt x="6523" y="6277"/>
                      </a:lnTo>
                      <a:cubicBezTo>
                        <a:pt x="7779" y="2511"/>
                        <a:pt x="11545" y="0"/>
                        <a:pt x="14683" y="0"/>
                      </a:cubicBezTo>
                      <a:cubicBezTo>
                        <a:pt x="14683" y="0"/>
                        <a:pt x="17194" y="0"/>
                        <a:pt x="17194" y="0"/>
                      </a:cubicBezTo>
                      <a:cubicBezTo>
                        <a:pt x="25982" y="628"/>
                        <a:pt x="34141" y="5021"/>
                        <a:pt x="38535" y="11926"/>
                      </a:cubicBezTo>
                      <a:cubicBezTo>
                        <a:pt x="43556" y="18830"/>
                        <a:pt x="44812" y="27618"/>
                        <a:pt x="42301" y="36405"/>
                      </a:cubicBezTo>
                      <a:cubicBezTo>
                        <a:pt x="41674" y="38288"/>
                        <a:pt x="41045" y="39544"/>
                        <a:pt x="40418" y="40171"/>
                      </a:cubicBezTo>
                      <a:cubicBezTo>
                        <a:pt x="39790" y="43938"/>
                        <a:pt x="36652" y="45821"/>
                        <a:pt x="33513" y="45821"/>
                      </a:cubicBezTo>
                      <a:lnTo>
                        <a:pt x="33513" y="45821"/>
                      </a:lnTo>
                      <a:close/>
                      <a:moveTo>
                        <a:pt x="19077" y="26990"/>
                      </a:moveTo>
                      <a:lnTo>
                        <a:pt x="27864" y="28246"/>
                      </a:lnTo>
                      <a:cubicBezTo>
                        <a:pt x="27864" y="25735"/>
                        <a:pt x="27237" y="23852"/>
                        <a:pt x="25982" y="21969"/>
                      </a:cubicBezTo>
                      <a:cubicBezTo>
                        <a:pt x="24726" y="20713"/>
                        <a:pt x="23471" y="19458"/>
                        <a:pt x="21587" y="18203"/>
                      </a:cubicBezTo>
                      <a:lnTo>
                        <a:pt x="19077" y="26990"/>
                      </a:lnTo>
                      <a:lnTo>
                        <a:pt x="19077" y="26990"/>
                      </a:lnTo>
                      <a:close/>
                    </a:path>
                  </a:pathLst>
                </a:custGeom>
                <a:grpFill/>
                <a:ln w="62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</p:grpSp>
      </p:grpSp>
      <p:grpSp>
        <p:nvGrpSpPr>
          <p:cNvPr id="250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9522229" y="512134"/>
            <a:ext cx="309445" cy="405480"/>
            <a:chOff x="9522229" y="512134"/>
            <a:chExt cx="309445" cy="405480"/>
          </a:xfrm>
          <a:solidFill>
            <a:srgbClr val="B1B1A1"/>
          </a:solidFill>
        </p:grpSpPr>
        <p:sp>
          <p:nvSpPr>
            <p:cNvPr id="251" name="Forma Livre: Forma 250">
              <a:extLst>
                <a:ext uri="{FF2B5EF4-FFF2-40B4-BE49-F238E27FC236}">
                  <a16:creationId xmlns:a16="http://schemas.microsoft.com/office/drawing/2014/main" id="{E3630015-CE60-4F1D-84FF-426CFF998BCF}"/>
                </a:ext>
              </a:extLst>
            </p:cNvPr>
            <p:cNvSpPr/>
            <p:nvPr/>
          </p:nvSpPr>
          <p:spPr>
            <a:xfrm>
              <a:off x="9522229" y="529081"/>
              <a:ext cx="309445" cy="388533"/>
            </a:xfrm>
            <a:custGeom>
              <a:avLst/>
              <a:gdLst>
                <a:gd name="connsiteX0" fmla="*/ 292498 w 309445"/>
                <a:gd name="connsiteY0" fmla="*/ 388533 h 388533"/>
                <a:gd name="connsiteX1" fmla="*/ 16947 w 309445"/>
                <a:gd name="connsiteY1" fmla="*/ 388533 h 388533"/>
                <a:gd name="connsiteX2" fmla="*/ 0 w 309445"/>
                <a:gd name="connsiteY2" fmla="*/ 371586 h 388533"/>
                <a:gd name="connsiteX3" fmla="*/ 0 w 309445"/>
                <a:gd name="connsiteY3" fmla="*/ 16947 h 388533"/>
                <a:gd name="connsiteX4" fmla="*/ 16947 w 309445"/>
                <a:gd name="connsiteY4" fmla="*/ 0 h 388533"/>
                <a:gd name="connsiteX5" fmla="*/ 292498 w 309445"/>
                <a:gd name="connsiteY5" fmla="*/ 0 h 388533"/>
                <a:gd name="connsiteX6" fmla="*/ 309445 w 309445"/>
                <a:gd name="connsiteY6" fmla="*/ 16947 h 388533"/>
                <a:gd name="connsiteX7" fmla="*/ 309445 w 309445"/>
                <a:gd name="connsiteY7" fmla="*/ 371586 h 388533"/>
                <a:gd name="connsiteX8" fmla="*/ 292498 w 309445"/>
                <a:gd name="connsiteY8" fmla="*/ 388533 h 388533"/>
                <a:gd name="connsiteX9" fmla="*/ 292498 w 309445"/>
                <a:gd name="connsiteY9" fmla="*/ 388533 h 388533"/>
                <a:gd name="connsiteX10" fmla="*/ 33895 w 309445"/>
                <a:gd name="connsiteY10" fmla="*/ 355266 h 388533"/>
                <a:gd name="connsiteX11" fmla="*/ 276179 w 309445"/>
                <a:gd name="connsiteY11" fmla="*/ 355266 h 388533"/>
                <a:gd name="connsiteX12" fmla="*/ 276179 w 309445"/>
                <a:gd name="connsiteY12" fmla="*/ 33895 h 388533"/>
                <a:gd name="connsiteX13" fmla="*/ 33895 w 309445"/>
                <a:gd name="connsiteY13" fmla="*/ 33895 h 388533"/>
                <a:gd name="connsiteX14" fmla="*/ 33895 w 309445"/>
                <a:gd name="connsiteY14" fmla="*/ 355266 h 388533"/>
                <a:gd name="connsiteX15" fmla="*/ 33895 w 309445"/>
                <a:gd name="connsiteY15" fmla="*/ 355266 h 388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9445" h="388533">
                  <a:moveTo>
                    <a:pt x="292498" y="388533"/>
                  </a:moveTo>
                  <a:lnTo>
                    <a:pt x="16947" y="388533"/>
                  </a:lnTo>
                  <a:cubicBezTo>
                    <a:pt x="7532" y="388533"/>
                    <a:pt x="0" y="381001"/>
                    <a:pt x="0" y="371586"/>
                  </a:cubicBezTo>
                  <a:lnTo>
                    <a:pt x="0" y="16947"/>
                  </a:lnTo>
                  <a:cubicBezTo>
                    <a:pt x="0" y="7532"/>
                    <a:pt x="7532" y="0"/>
                    <a:pt x="16947" y="0"/>
                  </a:cubicBezTo>
                  <a:lnTo>
                    <a:pt x="292498" y="0"/>
                  </a:lnTo>
                  <a:cubicBezTo>
                    <a:pt x="301913" y="0"/>
                    <a:pt x="309445" y="7532"/>
                    <a:pt x="309445" y="16947"/>
                  </a:cubicBezTo>
                  <a:lnTo>
                    <a:pt x="309445" y="371586"/>
                  </a:lnTo>
                  <a:cubicBezTo>
                    <a:pt x="309445" y="381001"/>
                    <a:pt x="301913" y="388533"/>
                    <a:pt x="292498" y="388533"/>
                  </a:cubicBezTo>
                  <a:lnTo>
                    <a:pt x="292498" y="388533"/>
                  </a:lnTo>
                  <a:close/>
                  <a:moveTo>
                    <a:pt x="33895" y="355266"/>
                  </a:moveTo>
                  <a:lnTo>
                    <a:pt x="276179" y="355266"/>
                  </a:lnTo>
                  <a:lnTo>
                    <a:pt x="276179" y="33895"/>
                  </a:lnTo>
                  <a:lnTo>
                    <a:pt x="33895" y="33895"/>
                  </a:lnTo>
                  <a:lnTo>
                    <a:pt x="33895" y="355266"/>
                  </a:lnTo>
                  <a:lnTo>
                    <a:pt x="33895" y="355266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52" name="Forma Livre: Forma 251">
              <a:extLst>
                <a:ext uri="{FF2B5EF4-FFF2-40B4-BE49-F238E27FC236}">
                  <a16:creationId xmlns:a16="http://schemas.microsoft.com/office/drawing/2014/main" id="{155E55A7-16F4-42A5-B7E9-A681434A5F7D}"/>
                </a:ext>
              </a:extLst>
            </p:cNvPr>
            <p:cNvSpPr/>
            <p:nvPr/>
          </p:nvSpPr>
          <p:spPr>
            <a:xfrm>
              <a:off x="9584369" y="512134"/>
              <a:ext cx="184536" cy="71555"/>
            </a:xfrm>
            <a:custGeom>
              <a:avLst/>
              <a:gdLst>
                <a:gd name="connsiteX0" fmla="*/ 148760 w 184536"/>
                <a:gd name="connsiteY0" fmla="*/ 71555 h 71555"/>
                <a:gd name="connsiteX1" fmla="*/ 35777 w 184536"/>
                <a:gd name="connsiteY1" fmla="*/ 71555 h 71555"/>
                <a:gd name="connsiteX2" fmla="*/ 0 w 184536"/>
                <a:gd name="connsiteY2" fmla="*/ 35778 h 71555"/>
                <a:gd name="connsiteX3" fmla="*/ 35777 w 184536"/>
                <a:gd name="connsiteY3" fmla="*/ 0 h 71555"/>
                <a:gd name="connsiteX4" fmla="*/ 148760 w 184536"/>
                <a:gd name="connsiteY4" fmla="*/ 0 h 71555"/>
                <a:gd name="connsiteX5" fmla="*/ 184537 w 184536"/>
                <a:gd name="connsiteY5" fmla="*/ 35778 h 71555"/>
                <a:gd name="connsiteX6" fmla="*/ 148760 w 184536"/>
                <a:gd name="connsiteY6" fmla="*/ 71555 h 71555"/>
                <a:gd name="connsiteX7" fmla="*/ 148760 w 184536"/>
                <a:gd name="connsiteY7" fmla="*/ 71555 h 71555"/>
                <a:gd name="connsiteX8" fmla="*/ 36405 w 184536"/>
                <a:gd name="connsiteY8" fmla="*/ 33895 h 71555"/>
                <a:gd name="connsiteX9" fmla="*/ 34522 w 184536"/>
                <a:gd name="connsiteY9" fmla="*/ 35778 h 71555"/>
                <a:gd name="connsiteX10" fmla="*/ 36405 w 184536"/>
                <a:gd name="connsiteY10" fmla="*/ 37661 h 71555"/>
                <a:gd name="connsiteX11" fmla="*/ 149387 w 184536"/>
                <a:gd name="connsiteY11" fmla="*/ 37661 h 71555"/>
                <a:gd name="connsiteX12" fmla="*/ 151270 w 184536"/>
                <a:gd name="connsiteY12" fmla="*/ 35778 h 71555"/>
                <a:gd name="connsiteX13" fmla="*/ 149387 w 184536"/>
                <a:gd name="connsiteY13" fmla="*/ 33895 h 71555"/>
                <a:gd name="connsiteX14" fmla="*/ 36405 w 184536"/>
                <a:gd name="connsiteY14" fmla="*/ 33895 h 71555"/>
                <a:gd name="connsiteX15" fmla="*/ 36405 w 184536"/>
                <a:gd name="connsiteY15" fmla="*/ 33895 h 71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4536" h="71555">
                  <a:moveTo>
                    <a:pt x="148760" y="71555"/>
                  </a:moveTo>
                  <a:lnTo>
                    <a:pt x="35777" y="71555"/>
                  </a:lnTo>
                  <a:cubicBezTo>
                    <a:pt x="16319" y="71555"/>
                    <a:pt x="0" y="55863"/>
                    <a:pt x="0" y="35778"/>
                  </a:cubicBezTo>
                  <a:cubicBezTo>
                    <a:pt x="0" y="16320"/>
                    <a:pt x="15692" y="0"/>
                    <a:pt x="35777" y="0"/>
                  </a:cubicBezTo>
                  <a:lnTo>
                    <a:pt x="148760" y="0"/>
                  </a:lnTo>
                  <a:cubicBezTo>
                    <a:pt x="168217" y="0"/>
                    <a:pt x="184537" y="15692"/>
                    <a:pt x="184537" y="35778"/>
                  </a:cubicBezTo>
                  <a:cubicBezTo>
                    <a:pt x="184537" y="55863"/>
                    <a:pt x="168845" y="71555"/>
                    <a:pt x="148760" y="71555"/>
                  </a:cubicBezTo>
                  <a:lnTo>
                    <a:pt x="148760" y="71555"/>
                  </a:lnTo>
                  <a:close/>
                  <a:moveTo>
                    <a:pt x="36405" y="33895"/>
                  </a:moveTo>
                  <a:cubicBezTo>
                    <a:pt x="35150" y="33895"/>
                    <a:pt x="34522" y="34522"/>
                    <a:pt x="34522" y="35778"/>
                  </a:cubicBezTo>
                  <a:cubicBezTo>
                    <a:pt x="34522" y="37033"/>
                    <a:pt x="35777" y="37661"/>
                    <a:pt x="36405" y="37661"/>
                  </a:cubicBezTo>
                  <a:lnTo>
                    <a:pt x="149387" y="37661"/>
                  </a:lnTo>
                  <a:cubicBezTo>
                    <a:pt x="150643" y="37661"/>
                    <a:pt x="151270" y="37033"/>
                    <a:pt x="151270" y="35778"/>
                  </a:cubicBezTo>
                  <a:cubicBezTo>
                    <a:pt x="151270" y="34522"/>
                    <a:pt x="150643" y="33895"/>
                    <a:pt x="149387" y="33895"/>
                  </a:cubicBezTo>
                  <a:lnTo>
                    <a:pt x="36405" y="33895"/>
                  </a:lnTo>
                  <a:lnTo>
                    <a:pt x="36405" y="33895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253" name="Gráfico 2">
              <a:extLst>
                <a:ext uri="{FF2B5EF4-FFF2-40B4-BE49-F238E27FC236}">
                  <a16:creationId xmlns:a16="http://schemas.microsoft.com/office/drawing/2014/main" id="{83F95F55-5D1D-4425-8D77-756B15108235}"/>
                </a:ext>
              </a:extLst>
            </p:cNvPr>
            <p:cNvGrpSpPr/>
            <p:nvPr/>
          </p:nvGrpSpPr>
          <p:grpSpPr>
            <a:xfrm>
              <a:off x="9593156" y="640180"/>
              <a:ext cx="175750" cy="149387"/>
              <a:chOff x="9593156" y="640180"/>
              <a:chExt cx="175750" cy="149387"/>
            </a:xfrm>
            <a:grpFill/>
          </p:grpSpPr>
          <p:sp>
            <p:nvSpPr>
              <p:cNvPr id="254" name="Forma Livre: Forma 253">
                <a:extLst>
                  <a:ext uri="{FF2B5EF4-FFF2-40B4-BE49-F238E27FC236}">
                    <a16:creationId xmlns:a16="http://schemas.microsoft.com/office/drawing/2014/main" id="{DDD691F2-3818-4E2D-B557-0B4EA4F90125}"/>
                  </a:ext>
                </a:extLst>
              </p:cNvPr>
              <p:cNvSpPr/>
              <p:nvPr/>
            </p:nvSpPr>
            <p:spPr>
              <a:xfrm>
                <a:off x="9593156" y="640180"/>
                <a:ext cx="34522" cy="34522"/>
              </a:xfrm>
              <a:custGeom>
                <a:avLst/>
                <a:gdLst>
                  <a:gd name="connsiteX0" fmla="*/ 26990 w 34522"/>
                  <a:gd name="connsiteY0" fmla="*/ 0 h 34522"/>
                  <a:gd name="connsiteX1" fmla="*/ 7533 w 34522"/>
                  <a:gd name="connsiteY1" fmla="*/ 0 h 34522"/>
                  <a:gd name="connsiteX2" fmla="*/ 0 w 34522"/>
                  <a:gd name="connsiteY2" fmla="*/ 7532 h 34522"/>
                  <a:gd name="connsiteX3" fmla="*/ 0 w 34522"/>
                  <a:gd name="connsiteY3" fmla="*/ 26990 h 34522"/>
                  <a:gd name="connsiteX4" fmla="*/ 7533 w 34522"/>
                  <a:gd name="connsiteY4" fmla="*/ 34522 h 34522"/>
                  <a:gd name="connsiteX5" fmla="*/ 26990 w 34522"/>
                  <a:gd name="connsiteY5" fmla="*/ 34522 h 34522"/>
                  <a:gd name="connsiteX6" fmla="*/ 34522 w 34522"/>
                  <a:gd name="connsiteY6" fmla="*/ 26990 h 34522"/>
                  <a:gd name="connsiteX7" fmla="*/ 34522 w 34522"/>
                  <a:gd name="connsiteY7" fmla="*/ 7532 h 34522"/>
                  <a:gd name="connsiteX8" fmla="*/ 26990 w 34522"/>
                  <a:gd name="connsiteY8" fmla="*/ 0 h 34522"/>
                  <a:gd name="connsiteX9" fmla="*/ 26990 w 34522"/>
                  <a:gd name="connsiteY9" fmla="*/ 0 h 34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522" h="34522">
                    <a:moveTo>
                      <a:pt x="26990" y="0"/>
                    </a:moveTo>
                    <a:lnTo>
                      <a:pt x="7533" y="0"/>
                    </a:lnTo>
                    <a:cubicBezTo>
                      <a:pt x="3138" y="0"/>
                      <a:pt x="0" y="3138"/>
                      <a:pt x="0" y="7532"/>
                    </a:cubicBezTo>
                    <a:lnTo>
                      <a:pt x="0" y="26990"/>
                    </a:lnTo>
                    <a:cubicBezTo>
                      <a:pt x="0" y="31384"/>
                      <a:pt x="3767" y="34522"/>
                      <a:pt x="7533" y="34522"/>
                    </a:cubicBezTo>
                    <a:lnTo>
                      <a:pt x="26990" y="34522"/>
                    </a:lnTo>
                    <a:cubicBezTo>
                      <a:pt x="31384" y="34522"/>
                      <a:pt x="34522" y="30756"/>
                      <a:pt x="34522" y="26990"/>
                    </a:cubicBezTo>
                    <a:lnTo>
                      <a:pt x="34522" y="7532"/>
                    </a:lnTo>
                    <a:cubicBezTo>
                      <a:pt x="34522" y="3766"/>
                      <a:pt x="31384" y="0"/>
                      <a:pt x="26990" y="0"/>
                    </a:cubicBezTo>
                    <a:lnTo>
                      <a:pt x="26990" y="0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55" name="Forma Livre: Forma 254">
                <a:extLst>
                  <a:ext uri="{FF2B5EF4-FFF2-40B4-BE49-F238E27FC236}">
                    <a16:creationId xmlns:a16="http://schemas.microsoft.com/office/drawing/2014/main" id="{6683F89E-3772-4F19-962A-4BEC52B32908}"/>
                  </a:ext>
                </a:extLst>
              </p:cNvPr>
              <p:cNvSpPr/>
              <p:nvPr/>
            </p:nvSpPr>
            <p:spPr>
              <a:xfrm>
                <a:off x="9645254" y="649595"/>
                <a:ext cx="123652" cy="16319"/>
              </a:xfrm>
              <a:custGeom>
                <a:avLst/>
                <a:gdLst>
                  <a:gd name="connsiteX0" fmla="*/ 115493 w 123652"/>
                  <a:gd name="connsiteY0" fmla="*/ 16320 h 16319"/>
                  <a:gd name="connsiteX1" fmla="*/ 8160 w 123652"/>
                  <a:gd name="connsiteY1" fmla="*/ 16320 h 16319"/>
                  <a:gd name="connsiteX2" fmla="*/ 0 w 123652"/>
                  <a:gd name="connsiteY2" fmla="*/ 8160 h 16319"/>
                  <a:gd name="connsiteX3" fmla="*/ 8160 w 123652"/>
                  <a:gd name="connsiteY3" fmla="*/ 0 h 16319"/>
                  <a:gd name="connsiteX4" fmla="*/ 115493 w 123652"/>
                  <a:gd name="connsiteY4" fmla="*/ 0 h 16319"/>
                  <a:gd name="connsiteX5" fmla="*/ 123652 w 123652"/>
                  <a:gd name="connsiteY5" fmla="*/ 8160 h 16319"/>
                  <a:gd name="connsiteX6" fmla="*/ 115493 w 123652"/>
                  <a:gd name="connsiteY6" fmla="*/ 16320 h 16319"/>
                  <a:gd name="connsiteX7" fmla="*/ 115493 w 123652"/>
                  <a:gd name="connsiteY7" fmla="*/ 16320 h 16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3652" h="16319">
                    <a:moveTo>
                      <a:pt x="115493" y="16320"/>
                    </a:moveTo>
                    <a:lnTo>
                      <a:pt x="8160" y="16320"/>
                    </a:lnTo>
                    <a:cubicBezTo>
                      <a:pt x="3766" y="16320"/>
                      <a:pt x="0" y="12554"/>
                      <a:pt x="0" y="8160"/>
                    </a:cubicBezTo>
                    <a:cubicBezTo>
                      <a:pt x="0" y="3766"/>
                      <a:pt x="3766" y="0"/>
                      <a:pt x="8160" y="0"/>
                    </a:cubicBezTo>
                    <a:lnTo>
                      <a:pt x="115493" y="0"/>
                    </a:lnTo>
                    <a:cubicBezTo>
                      <a:pt x="119886" y="0"/>
                      <a:pt x="123652" y="3766"/>
                      <a:pt x="123652" y="8160"/>
                    </a:cubicBezTo>
                    <a:cubicBezTo>
                      <a:pt x="123652" y="12554"/>
                      <a:pt x="119886" y="16320"/>
                      <a:pt x="115493" y="16320"/>
                    </a:cubicBezTo>
                    <a:lnTo>
                      <a:pt x="115493" y="16320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56" name="Forma Livre: Forma 255">
                <a:extLst>
                  <a:ext uri="{FF2B5EF4-FFF2-40B4-BE49-F238E27FC236}">
                    <a16:creationId xmlns:a16="http://schemas.microsoft.com/office/drawing/2014/main" id="{16DC0573-C092-49F8-A6FC-B409AC08A416}"/>
                  </a:ext>
                </a:extLst>
              </p:cNvPr>
              <p:cNvSpPr/>
              <p:nvPr/>
            </p:nvSpPr>
            <p:spPr>
              <a:xfrm>
                <a:off x="9593156" y="755045"/>
                <a:ext cx="34522" cy="34522"/>
              </a:xfrm>
              <a:custGeom>
                <a:avLst/>
                <a:gdLst>
                  <a:gd name="connsiteX0" fmla="*/ 26990 w 34522"/>
                  <a:gd name="connsiteY0" fmla="*/ 0 h 34522"/>
                  <a:gd name="connsiteX1" fmla="*/ 7533 w 34522"/>
                  <a:gd name="connsiteY1" fmla="*/ 0 h 34522"/>
                  <a:gd name="connsiteX2" fmla="*/ 0 w 34522"/>
                  <a:gd name="connsiteY2" fmla="*/ 7532 h 34522"/>
                  <a:gd name="connsiteX3" fmla="*/ 0 w 34522"/>
                  <a:gd name="connsiteY3" fmla="*/ 26990 h 34522"/>
                  <a:gd name="connsiteX4" fmla="*/ 7533 w 34522"/>
                  <a:gd name="connsiteY4" fmla="*/ 34522 h 34522"/>
                  <a:gd name="connsiteX5" fmla="*/ 26990 w 34522"/>
                  <a:gd name="connsiteY5" fmla="*/ 34522 h 34522"/>
                  <a:gd name="connsiteX6" fmla="*/ 34522 w 34522"/>
                  <a:gd name="connsiteY6" fmla="*/ 26990 h 34522"/>
                  <a:gd name="connsiteX7" fmla="*/ 34522 w 34522"/>
                  <a:gd name="connsiteY7" fmla="*/ 7532 h 34522"/>
                  <a:gd name="connsiteX8" fmla="*/ 26990 w 34522"/>
                  <a:gd name="connsiteY8" fmla="*/ 0 h 34522"/>
                  <a:gd name="connsiteX9" fmla="*/ 26990 w 34522"/>
                  <a:gd name="connsiteY9" fmla="*/ 0 h 34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522" h="34522">
                    <a:moveTo>
                      <a:pt x="26990" y="0"/>
                    </a:moveTo>
                    <a:lnTo>
                      <a:pt x="7533" y="0"/>
                    </a:lnTo>
                    <a:cubicBezTo>
                      <a:pt x="3138" y="0"/>
                      <a:pt x="0" y="3138"/>
                      <a:pt x="0" y="7532"/>
                    </a:cubicBezTo>
                    <a:lnTo>
                      <a:pt x="0" y="26990"/>
                    </a:lnTo>
                    <a:cubicBezTo>
                      <a:pt x="0" y="31384"/>
                      <a:pt x="3767" y="34522"/>
                      <a:pt x="7533" y="34522"/>
                    </a:cubicBezTo>
                    <a:lnTo>
                      <a:pt x="26990" y="34522"/>
                    </a:lnTo>
                    <a:cubicBezTo>
                      <a:pt x="31384" y="34522"/>
                      <a:pt x="34522" y="30756"/>
                      <a:pt x="34522" y="26990"/>
                    </a:cubicBezTo>
                    <a:lnTo>
                      <a:pt x="34522" y="7532"/>
                    </a:lnTo>
                    <a:cubicBezTo>
                      <a:pt x="34522" y="3138"/>
                      <a:pt x="31384" y="0"/>
                      <a:pt x="26990" y="0"/>
                    </a:cubicBezTo>
                    <a:lnTo>
                      <a:pt x="26990" y="0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57" name="Forma Livre: Forma 256">
                <a:extLst>
                  <a:ext uri="{FF2B5EF4-FFF2-40B4-BE49-F238E27FC236}">
                    <a16:creationId xmlns:a16="http://schemas.microsoft.com/office/drawing/2014/main" id="{A05D52E5-053E-47B6-941C-AE8B1D3399CD}"/>
                  </a:ext>
                </a:extLst>
              </p:cNvPr>
              <p:cNvSpPr/>
              <p:nvPr/>
            </p:nvSpPr>
            <p:spPr>
              <a:xfrm>
                <a:off x="9645254" y="764461"/>
                <a:ext cx="123652" cy="16319"/>
              </a:xfrm>
              <a:custGeom>
                <a:avLst/>
                <a:gdLst>
                  <a:gd name="connsiteX0" fmla="*/ 115493 w 123652"/>
                  <a:gd name="connsiteY0" fmla="*/ 16320 h 16319"/>
                  <a:gd name="connsiteX1" fmla="*/ 8160 w 123652"/>
                  <a:gd name="connsiteY1" fmla="*/ 16320 h 16319"/>
                  <a:gd name="connsiteX2" fmla="*/ 0 w 123652"/>
                  <a:gd name="connsiteY2" fmla="*/ 8160 h 16319"/>
                  <a:gd name="connsiteX3" fmla="*/ 8160 w 123652"/>
                  <a:gd name="connsiteY3" fmla="*/ 0 h 16319"/>
                  <a:gd name="connsiteX4" fmla="*/ 115493 w 123652"/>
                  <a:gd name="connsiteY4" fmla="*/ 0 h 16319"/>
                  <a:gd name="connsiteX5" fmla="*/ 123652 w 123652"/>
                  <a:gd name="connsiteY5" fmla="*/ 8160 h 16319"/>
                  <a:gd name="connsiteX6" fmla="*/ 115493 w 123652"/>
                  <a:gd name="connsiteY6" fmla="*/ 16320 h 16319"/>
                  <a:gd name="connsiteX7" fmla="*/ 115493 w 123652"/>
                  <a:gd name="connsiteY7" fmla="*/ 16320 h 16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3652" h="16319">
                    <a:moveTo>
                      <a:pt x="115493" y="16320"/>
                    </a:moveTo>
                    <a:lnTo>
                      <a:pt x="8160" y="16320"/>
                    </a:lnTo>
                    <a:cubicBezTo>
                      <a:pt x="3766" y="16320"/>
                      <a:pt x="0" y="12554"/>
                      <a:pt x="0" y="8160"/>
                    </a:cubicBezTo>
                    <a:cubicBezTo>
                      <a:pt x="0" y="3766"/>
                      <a:pt x="3766" y="0"/>
                      <a:pt x="8160" y="0"/>
                    </a:cubicBezTo>
                    <a:lnTo>
                      <a:pt x="115493" y="0"/>
                    </a:lnTo>
                    <a:cubicBezTo>
                      <a:pt x="119886" y="0"/>
                      <a:pt x="123652" y="3766"/>
                      <a:pt x="123652" y="8160"/>
                    </a:cubicBezTo>
                    <a:cubicBezTo>
                      <a:pt x="123652" y="12554"/>
                      <a:pt x="119886" y="16320"/>
                      <a:pt x="115493" y="16320"/>
                    </a:cubicBezTo>
                    <a:lnTo>
                      <a:pt x="115493" y="16320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58" name="Forma Livre: Forma 257">
                <a:extLst>
                  <a:ext uri="{FF2B5EF4-FFF2-40B4-BE49-F238E27FC236}">
                    <a16:creationId xmlns:a16="http://schemas.microsoft.com/office/drawing/2014/main" id="{03D0F6D4-16F5-45E2-848F-78C075BD63A0}"/>
                  </a:ext>
                </a:extLst>
              </p:cNvPr>
              <p:cNvSpPr/>
              <p:nvPr/>
            </p:nvSpPr>
            <p:spPr>
              <a:xfrm>
                <a:off x="9593156" y="697927"/>
                <a:ext cx="34522" cy="34522"/>
              </a:xfrm>
              <a:custGeom>
                <a:avLst/>
                <a:gdLst>
                  <a:gd name="connsiteX0" fmla="*/ 26990 w 34522"/>
                  <a:gd name="connsiteY0" fmla="*/ 0 h 34522"/>
                  <a:gd name="connsiteX1" fmla="*/ 7533 w 34522"/>
                  <a:gd name="connsiteY1" fmla="*/ 0 h 34522"/>
                  <a:gd name="connsiteX2" fmla="*/ 0 w 34522"/>
                  <a:gd name="connsiteY2" fmla="*/ 7532 h 34522"/>
                  <a:gd name="connsiteX3" fmla="*/ 0 w 34522"/>
                  <a:gd name="connsiteY3" fmla="*/ 26990 h 34522"/>
                  <a:gd name="connsiteX4" fmla="*/ 7533 w 34522"/>
                  <a:gd name="connsiteY4" fmla="*/ 34522 h 34522"/>
                  <a:gd name="connsiteX5" fmla="*/ 26990 w 34522"/>
                  <a:gd name="connsiteY5" fmla="*/ 34522 h 34522"/>
                  <a:gd name="connsiteX6" fmla="*/ 34522 w 34522"/>
                  <a:gd name="connsiteY6" fmla="*/ 26990 h 34522"/>
                  <a:gd name="connsiteX7" fmla="*/ 34522 w 34522"/>
                  <a:gd name="connsiteY7" fmla="*/ 7532 h 34522"/>
                  <a:gd name="connsiteX8" fmla="*/ 26990 w 34522"/>
                  <a:gd name="connsiteY8" fmla="*/ 0 h 34522"/>
                  <a:gd name="connsiteX9" fmla="*/ 26990 w 34522"/>
                  <a:gd name="connsiteY9" fmla="*/ 0 h 34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522" h="34522">
                    <a:moveTo>
                      <a:pt x="26990" y="0"/>
                    </a:moveTo>
                    <a:lnTo>
                      <a:pt x="7533" y="0"/>
                    </a:lnTo>
                    <a:cubicBezTo>
                      <a:pt x="3138" y="0"/>
                      <a:pt x="0" y="3766"/>
                      <a:pt x="0" y="7532"/>
                    </a:cubicBezTo>
                    <a:lnTo>
                      <a:pt x="0" y="26990"/>
                    </a:lnTo>
                    <a:cubicBezTo>
                      <a:pt x="0" y="31384"/>
                      <a:pt x="3767" y="34522"/>
                      <a:pt x="7533" y="34522"/>
                    </a:cubicBezTo>
                    <a:lnTo>
                      <a:pt x="26990" y="34522"/>
                    </a:lnTo>
                    <a:cubicBezTo>
                      <a:pt x="31384" y="34522"/>
                      <a:pt x="34522" y="30756"/>
                      <a:pt x="34522" y="26990"/>
                    </a:cubicBezTo>
                    <a:lnTo>
                      <a:pt x="34522" y="7532"/>
                    </a:lnTo>
                    <a:cubicBezTo>
                      <a:pt x="34522" y="3138"/>
                      <a:pt x="31384" y="0"/>
                      <a:pt x="26990" y="0"/>
                    </a:cubicBezTo>
                    <a:lnTo>
                      <a:pt x="26990" y="0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59" name="Forma Livre: Forma 258">
                <a:extLst>
                  <a:ext uri="{FF2B5EF4-FFF2-40B4-BE49-F238E27FC236}">
                    <a16:creationId xmlns:a16="http://schemas.microsoft.com/office/drawing/2014/main" id="{C5705A30-837D-473A-B04F-4C3F6B1B4ACB}"/>
                  </a:ext>
                </a:extLst>
              </p:cNvPr>
              <p:cNvSpPr/>
              <p:nvPr/>
            </p:nvSpPr>
            <p:spPr>
              <a:xfrm>
                <a:off x="9645254" y="707342"/>
                <a:ext cx="123652" cy="16319"/>
              </a:xfrm>
              <a:custGeom>
                <a:avLst/>
                <a:gdLst>
                  <a:gd name="connsiteX0" fmla="*/ 115493 w 123652"/>
                  <a:gd name="connsiteY0" fmla="*/ 16320 h 16319"/>
                  <a:gd name="connsiteX1" fmla="*/ 8160 w 123652"/>
                  <a:gd name="connsiteY1" fmla="*/ 16320 h 16319"/>
                  <a:gd name="connsiteX2" fmla="*/ 0 w 123652"/>
                  <a:gd name="connsiteY2" fmla="*/ 8160 h 16319"/>
                  <a:gd name="connsiteX3" fmla="*/ 8160 w 123652"/>
                  <a:gd name="connsiteY3" fmla="*/ 0 h 16319"/>
                  <a:gd name="connsiteX4" fmla="*/ 115493 w 123652"/>
                  <a:gd name="connsiteY4" fmla="*/ 0 h 16319"/>
                  <a:gd name="connsiteX5" fmla="*/ 123652 w 123652"/>
                  <a:gd name="connsiteY5" fmla="*/ 8160 h 16319"/>
                  <a:gd name="connsiteX6" fmla="*/ 115493 w 123652"/>
                  <a:gd name="connsiteY6" fmla="*/ 16320 h 16319"/>
                  <a:gd name="connsiteX7" fmla="*/ 115493 w 123652"/>
                  <a:gd name="connsiteY7" fmla="*/ 16320 h 16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3652" h="16319">
                    <a:moveTo>
                      <a:pt x="115493" y="16320"/>
                    </a:moveTo>
                    <a:lnTo>
                      <a:pt x="8160" y="16320"/>
                    </a:lnTo>
                    <a:cubicBezTo>
                      <a:pt x="3766" y="16320"/>
                      <a:pt x="0" y="12554"/>
                      <a:pt x="0" y="8160"/>
                    </a:cubicBezTo>
                    <a:cubicBezTo>
                      <a:pt x="0" y="3766"/>
                      <a:pt x="3766" y="0"/>
                      <a:pt x="8160" y="0"/>
                    </a:cubicBezTo>
                    <a:lnTo>
                      <a:pt x="115493" y="0"/>
                    </a:lnTo>
                    <a:cubicBezTo>
                      <a:pt x="119886" y="0"/>
                      <a:pt x="123652" y="3766"/>
                      <a:pt x="123652" y="8160"/>
                    </a:cubicBezTo>
                    <a:cubicBezTo>
                      <a:pt x="123652" y="12554"/>
                      <a:pt x="119886" y="16320"/>
                      <a:pt x="115493" y="16320"/>
                    </a:cubicBezTo>
                    <a:lnTo>
                      <a:pt x="115493" y="16320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260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10549111" y="512134"/>
            <a:ext cx="309759" cy="405480"/>
            <a:chOff x="10549111" y="512134"/>
            <a:chExt cx="309759" cy="405480"/>
          </a:xfrm>
          <a:solidFill>
            <a:srgbClr val="B1B1A1"/>
          </a:solidFill>
        </p:grpSpPr>
        <p:sp>
          <p:nvSpPr>
            <p:cNvPr id="261" name="Forma Livre: Forma 260">
              <a:extLst>
                <a:ext uri="{FF2B5EF4-FFF2-40B4-BE49-F238E27FC236}">
                  <a16:creationId xmlns:a16="http://schemas.microsoft.com/office/drawing/2014/main" id="{DE4EB2B0-421A-4A7D-9A80-2B6F861A241A}"/>
                </a:ext>
              </a:extLst>
            </p:cNvPr>
            <p:cNvSpPr/>
            <p:nvPr/>
          </p:nvSpPr>
          <p:spPr>
            <a:xfrm>
              <a:off x="10746203" y="805887"/>
              <a:ext cx="103566" cy="103566"/>
            </a:xfrm>
            <a:custGeom>
              <a:avLst/>
              <a:gdLst>
                <a:gd name="connsiteX0" fmla="*/ 8159 w 103566"/>
                <a:gd name="connsiteY0" fmla="*/ 103567 h 103566"/>
                <a:gd name="connsiteX1" fmla="*/ 0 w 103566"/>
                <a:gd name="connsiteY1" fmla="*/ 95407 h 103566"/>
                <a:gd name="connsiteX2" fmla="*/ 0 w 103566"/>
                <a:gd name="connsiteY2" fmla="*/ 8160 h 103566"/>
                <a:gd name="connsiteX3" fmla="*/ 8159 w 103566"/>
                <a:gd name="connsiteY3" fmla="*/ 0 h 103566"/>
                <a:gd name="connsiteX4" fmla="*/ 95407 w 103566"/>
                <a:gd name="connsiteY4" fmla="*/ 0 h 103566"/>
                <a:gd name="connsiteX5" fmla="*/ 103567 w 103566"/>
                <a:gd name="connsiteY5" fmla="*/ 8160 h 103566"/>
                <a:gd name="connsiteX6" fmla="*/ 95407 w 103566"/>
                <a:gd name="connsiteY6" fmla="*/ 16320 h 103566"/>
                <a:gd name="connsiteX7" fmla="*/ 16319 w 103566"/>
                <a:gd name="connsiteY7" fmla="*/ 16320 h 103566"/>
                <a:gd name="connsiteX8" fmla="*/ 16319 w 103566"/>
                <a:gd name="connsiteY8" fmla="*/ 95407 h 103566"/>
                <a:gd name="connsiteX9" fmla="*/ 8159 w 103566"/>
                <a:gd name="connsiteY9" fmla="*/ 103567 h 103566"/>
                <a:gd name="connsiteX10" fmla="*/ 8159 w 103566"/>
                <a:gd name="connsiteY10" fmla="*/ 103567 h 103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3566" h="103566">
                  <a:moveTo>
                    <a:pt x="8159" y="103567"/>
                  </a:moveTo>
                  <a:cubicBezTo>
                    <a:pt x="3766" y="103567"/>
                    <a:pt x="0" y="99801"/>
                    <a:pt x="0" y="95407"/>
                  </a:cubicBezTo>
                  <a:lnTo>
                    <a:pt x="0" y="8160"/>
                  </a:lnTo>
                  <a:cubicBezTo>
                    <a:pt x="0" y="3766"/>
                    <a:pt x="3766" y="0"/>
                    <a:pt x="8159" y="0"/>
                  </a:cubicBezTo>
                  <a:lnTo>
                    <a:pt x="95407" y="0"/>
                  </a:lnTo>
                  <a:cubicBezTo>
                    <a:pt x="99801" y="0"/>
                    <a:pt x="103567" y="3766"/>
                    <a:pt x="103567" y="8160"/>
                  </a:cubicBezTo>
                  <a:cubicBezTo>
                    <a:pt x="103567" y="12554"/>
                    <a:pt x="99801" y="16320"/>
                    <a:pt x="95407" y="16320"/>
                  </a:cubicBezTo>
                  <a:lnTo>
                    <a:pt x="16319" y="16320"/>
                  </a:lnTo>
                  <a:lnTo>
                    <a:pt x="16319" y="95407"/>
                  </a:lnTo>
                  <a:cubicBezTo>
                    <a:pt x="16319" y="99801"/>
                    <a:pt x="12554" y="103567"/>
                    <a:pt x="8159" y="103567"/>
                  </a:cubicBezTo>
                  <a:lnTo>
                    <a:pt x="8159" y="103567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62" name="Forma Livre: Forma 261">
              <a:extLst>
                <a:ext uri="{FF2B5EF4-FFF2-40B4-BE49-F238E27FC236}">
                  <a16:creationId xmlns:a16="http://schemas.microsoft.com/office/drawing/2014/main" id="{0FD1B14B-6C65-42B2-AFF1-95C46F2D137F}"/>
                </a:ext>
              </a:extLst>
            </p:cNvPr>
            <p:cNvSpPr/>
            <p:nvPr/>
          </p:nvSpPr>
          <p:spPr>
            <a:xfrm>
              <a:off x="10737729" y="796786"/>
              <a:ext cx="120513" cy="120828"/>
            </a:xfrm>
            <a:custGeom>
              <a:avLst/>
              <a:gdLst>
                <a:gd name="connsiteX0" fmla="*/ 16633 w 120513"/>
                <a:gd name="connsiteY0" fmla="*/ 120828 h 120828"/>
                <a:gd name="connsiteX1" fmla="*/ 4708 w 120513"/>
                <a:gd name="connsiteY1" fmla="*/ 115807 h 120828"/>
                <a:gd name="connsiteX2" fmla="*/ 4708 w 120513"/>
                <a:gd name="connsiteY2" fmla="*/ 91955 h 120828"/>
                <a:gd name="connsiteX3" fmla="*/ 91954 w 120513"/>
                <a:gd name="connsiteY3" fmla="*/ 4708 h 120828"/>
                <a:gd name="connsiteX4" fmla="*/ 115806 w 120513"/>
                <a:gd name="connsiteY4" fmla="*/ 4708 h 120828"/>
                <a:gd name="connsiteX5" fmla="*/ 115806 w 120513"/>
                <a:gd name="connsiteY5" fmla="*/ 28559 h 120828"/>
                <a:gd name="connsiteX6" fmla="*/ 28559 w 120513"/>
                <a:gd name="connsiteY6" fmla="*/ 115807 h 120828"/>
                <a:gd name="connsiteX7" fmla="*/ 16633 w 120513"/>
                <a:gd name="connsiteY7" fmla="*/ 120828 h 120828"/>
                <a:gd name="connsiteX8" fmla="*/ 16633 w 120513"/>
                <a:gd name="connsiteY8" fmla="*/ 120828 h 12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0513" h="120828">
                  <a:moveTo>
                    <a:pt x="16633" y="120828"/>
                  </a:moveTo>
                  <a:cubicBezTo>
                    <a:pt x="12239" y="120828"/>
                    <a:pt x="7846" y="118945"/>
                    <a:pt x="4708" y="115807"/>
                  </a:cubicBezTo>
                  <a:cubicBezTo>
                    <a:pt x="-1569" y="109530"/>
                    <a:pt x="-1569" y="98859"/>
                    <a:pt x="4708" y="91955"/>
                  </a:cubicBezTo>
                  <a:lnTo>
                    <a:pt x="91954" y="4708"/>
                  </a:lnTo>
                  <a:cubicBezTo>
                    <a:pt x="98231" y="-1569"/>
                    <a:pt x="108902" y="-1569"/>
                    <a:pt x="115806" y="4708"/>
                  </a:cubicBezTo>
                  <a:cubicBezTo>
                    <a:pt x="122083" y="10984"/>
                    <a:pt x="122083" y="21655"/>
                    <a:pt x="115806" y="28559"/>
                  </a:cubicBezTo>
                  <a:lnTo>
                    <a:pt x="28559" y="115807"/>
                  </a:lnTo>
                  <a:cubicBezTo>
                    <a:pt x="25421" y="118945"/>
                    <a:pt x="21027" y="120828"/>
                    <a:pt x="16633" y="120828"/>
                  </a:cubicBezTo>
                  <a:lnTo>
                    <a:pt x="16633" y="120828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63" name="Forma Livre: Forma 262">
              <a:extLst>
                <a:ext uri="{FF2B5EF4-FFF2-40B4-BE49-F238E27FC236}">
                  <a16:creationId xmlns:a16="http://schemas.microsoft.com/office/drawing/2014/main" id="{3627E3B8-1650-4E8C-AB60-01C3AC0B6409}"/>
                </a:ext>
              </a:extLst>
            </p:cNvPr>
            <p:cNvSpPr/>
            <p:nvPr/>
          </p:nvSpPr>
          <p:spPr>
            <a:xfrm>
              <a:off x="10779783" y="838213"/>
              <a:ext cx="79087" cy="79401"/>
            </a:xfrm>
            <a:custGeom>
              <a:avLst/>
              <a:gdLst>
                <a:gd name="connsiteX0" fmla="*/ 16634 w 79087"/>
                <a:gd name="connsiteY0" fmla="*/ 79401 h 79401"/>
                <a:gd name="connsiteX1" fmla="*/ 4708 w 79087"/>
                <a:gd name="connsiteY1" fmla="*/ 74380 h 79401"/>
                <a:gd name="connsiteX2" fmla="*/ 4708 w 79087"/>
                <a:gd name="connsiteY2" fmla="*/ 50528 h 79401"/>
                <a:gd name="connsiteX3" fmla="*/ 50528 w 79087"/>
                <a:gd name="connsiteY3" fmla="*/ 4708 h 79401"/>
                <a:gd name="connsiteX4" fmla="*/ 74380 w 79087"/>
                <a:gd name="connsiteY4" fmla="*/ 4708 h 79401"/>
                <a:gd name="connsiteX5" fmla="*/ 74380 w 79087"/>
                <a:gd name="connsiteY5" fmla="*/ 28559 h 79401"/>
                <a:gd name="connsiteX6" fmla="*/ 28560 w 79087"/>
                <a:gd name="connsiteY6" fmla="*/ 74380 h 79401"/>
                <a:gd name="connsiteX7" fmla="*/ 16634 w 79087"/>
                <a:gd name="connsiteY7" fmla="*/ 79401 h 79401"/>
                <a:gd name="connsiteX8" fmla="*/ 16634 w 79087"/>
                <a:gd name="connsiteY8" fmla="*/ 79401 h 79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9087" h="79401">
                  <a:moveTo>
                    <a:pt x="16634" y="79401"/>
                  </a:moveTo>
                  <a:cubicBezTo>
                    <a:pt x="12239" y="79401"/>
                    <a:pt x="7846" y="77518"/>
                    <a:pt x="4708" y="74380"/>
                  </a:cubicBezTo>
                  <a:cubicBezTo>
                    <a:pt x="-1569" y="68103"/>
                    <a:pt x="-1569" y="57433"/>
                    <a:pt x="4708" y="50528"/>
                  </a:cubicBezTo>
                  <a:lnTo>
                    <a:pt x="50528" y="4708"/>
                  </a:lnTo>
                  <a:cubicBezTo>
                    <a:pt x="56805" y="-1569"/>
                    <a:pt x="67475" y="-1569"/>
                    <a:pt x="74380" y="4708"/>
                  </a:cubicBezTo>
                  <a:cubicBezTo>
                    <a:pt x="80657" y="10984"/>
                    <a:pt x="80657" y="21655"/>
                    <a:pt x="74380" y="28559"/>
                  </a:cubicBezTo>
                  <a:lnTo>
                    <a:pt x="28560" y="74380"/>
                  </a:lnTo>
                  <a:cubicBezTo>
                    <a:pt x="24793" y="77518"/>
                    <a:pt x="20400" y="79401"/>
                    <a:pt x="16634" y="79401"/>
                  </a:cubicBezTo>
                  <a:lnTo>
                    <a:pt x="16634" y="79401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64" name="Forma Livre: Forma 263">
              <a:extLst>
                <a:ext uri="{FF2B5EF4-FFF2-40B4-BE49-F238E27FC236}">
                  <a16:creationId xmlns:a16="http://schemas.microsoft.com/office/drawing/2014/main" id="{07BECA34-09F8-4013-BEA4-EC074356CC17}"/>
                </a:ext>
              </a:extLst>
            </p:cNvPr>
            <p:cNvSpPr/>
            <p:nvPr/>
          </p:nvSpPr>
          <p:spPr>
            <a:xfrm>
              <a:off x="10620667" y="649595"/>
              <a:ext cx="101683" cy="16319"/>
            </a:xfrm>
            <a:custGeom>
              <a:avLst/>
              <a:gdLst>
                <a:gd name="connsiteX0" fmla="*/ 93524 w 101683"/>
                <a:gd name="connsiteY0" fmla="*/ 16320 h 16319"/>
                <a:gd name="connsiteX1" fmla="*/ 8159 w 101683"/>
                <a:gd name="connsiteY1" fmla="*/ 16320 h 16319"/>
                <a:gd name="connsiteX2" fmla="*/ 0 w 101683"/>
                <a:gd name="connsiteY2" fmla="*/ 8160 h 16319"/>
                <a:gd name="connsiteX3" fmla="*/ 8159 w 101683"/>
                <a:gd name="connsiteY3" fmla="*/ 0 h 16319"/>
                <a:gd name="connsiteX4" fmla="*/ 93524 w 101683"/>
                <a:gd name="connsiteY4" fmla="*/ 0 h 16319"/>
                <a:gd name="connsiteX5" fmla="*/ 101684 w 101683"/>
                <a:gd name="connsiteY5" fmla="*/ 8160 h 16319"/>
                <a:gd name="connsiteX6" fmla="*/ 93524 w 101683"/>
                <a:gd name="connsiteY6" fmla="*/ 16320 h 16319"/>
                <a:gd name="connsiteX7" fmla="*/ 93524 w 101683"/>
                <a:gd name="connsiteY7" fmla="*/ 16320 h 16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1683" h="16319">
                  <a:moveTo>
                    <a:pt x="93524" y="16320"/>
                  </a:moveTo>
                  <a:lnTo>
                    <a:pt x="8159" y="16320"/>
                  </a:lnTo>
                  <a:cubicBezTo>
                    <a:pt x="3766" y="16320"/>
                    <a:pt x="0" y="12554"/>
                    <a:pt x="0" y="8160"/>
                  </a:cubicBezTo>
                  <a:cubicBezTo>
                    <a:pt x="0" y="3766"/>
                    <a:pt x="3766" y="0"/>
                    <a:pt x="8159" y="0"/>
                  </a:cubicBezTo>
                  <a:lnTo>
                    <a:pt x="93524" y="0"/>
                  </a:lnTo>
                  <a:cubicBezTo>
                    <a:pt x="97918" y="0"/>
                    <a:pt x="101684" y="3766"/>
                    <a:pt x="101684" y="8160"/>
                  </a:cubicBezTo>
                  <a:cubicBezTo>
                    <a:pt x="101684" y="12554"/>
                    <a:pt x="97918" y="16320"/>
                    <a:pt x="93524" y="16320"/>
                  </a:cubicBezTo>
                  <a:lnTo>
                    <a:pt x="93524" y="16320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65" name="Forma Livre: Forma 264">
              <a:extLst>
                <a:ext uri="{FF2B5EF4-FFF2-40B4-BE49-F238E27FC236}">
                  <a16:creationId xmlns:a16="http://schemas.microsoft.com/office/drawing/2014/main" id="{FCF633D1-1691-4F18-810C-07FE7897B90E}"/>
                </a:ext>
              </a:extLst>
            </p:cNvPr>
            <p:cNvSpPr/>
            <p:nvPr/>
          </p:nvSpPr>
          <p:spPr>
            <a:xfrm>
              <a:off x="10620667" y="693533"/>
              <a:ext cx="158174" cy="16319"/>
            </a:xfrm>
            <a:custGeom>
              <a:avLst/>
              <a:gdLst>
                <a:gd name="connsiteX0" fmla="*/ 150015 w 158174"/>
                <a:gd name="connsiteY0" fmla="*/ 16320 h 16319"/>
                <a:gd name="connsiteX1" fmla="*/ 8159 w 158174"/>
                <a:gd name="connsiteY1" fmla="*/ 16320 h 16319"/>
                <a:gd name="connsiteX2" fmla="*/ 0 w 158174"/>
                <a:gd name="connsiteY2" fmla="*/ 8160 h 16319"/>
                <a:gd name="connsiteX3" fmla="*/ 8159 w 158174"/>
                <a:gd name="connsiteY3" fmla="*/ 0 h 16319"/>
                <a:gd name="connsiteX4" fmla="*/ 150015 w 158174"/>
                <a:gd name="connsiteY4" fmla="*/ 0 h 16319"/>
                <a:gd name="connsiteX5" fmla="*/ 158175 w 158174"/>
                <a:gd name="connsiteY5" fmla="*/ 8160 h 16319"/>
                <a:gd name="connsiteX6" fmla="*/ 150015 w 158174"/>
                <a:gd name="connsiteY6" fmla="*/ 16320 h 16319"/>
                <a:gd name="connsiteX7" fmla="*/ 150015 w 158174"/>
                <a:gd name="connsiteY7" fmla="*/ 16320 h 16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8174" h="16319">
                  <a:moveTo>
                    <a:pt x="150015" y="16320"/>
                  </a:moveTo>
                  <a:lnTo>
                    <a:pt x="8159" y="16320"/>
                  </a:lnTo>
                  <a:cubicBezTo>
                    <a:pt x="3766" y="16320"/>
                    <a:pt x="0" y="12554"/>
                    <a:pt x="0" y="8160"/>
                  </a:cubicBezTo>
                  <a:cubicBezTo>
                    <a:pt x="0" y="3766"/>
                    <a:pt x="3766" y="0"/>
                    <a:pt x="8159" y="0"/>
                  </a:cubicBezTo>
                  <a:lnTo>
                    <a:pt x="150015" y="0"/>
                  </a:lnTo>
                  <a:cubicBezTo>
                    <a:pt x="154409" y="0"/>
                    <a:pt x="158175" y="3766"/>
                    <a:pt x="158175" y="8160"/>
                  </a:cubicBezTo>
                  <a:cubicBezTo>
                    <a:pt x="158175" y="12554"/>
                    <a:pt x="154409" y="16320"/>
                    <a:pt x="150015" y="16320"/>
                  </a:cubicBezTo>
                  <a:lnTo>
                    <a:pt x="150015" y="16320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66" name="Forma Livre: Forma 265">
              <a:extLst>
                <a:ext uri="{FF2B5EF4-FFF2-40B4-BE49-F238E27FC236}">
                  <a16:creationId xmlns:a16="http://schemas.microsoft.com/office/drawing/2014/main" id="{647D570B-7165-43C9-B3F6-63C8D27F37EE}"/>
                </a:ext>
              </a:extLst>
            </p:cNvPr>
            <p:cNvSpPr/>
            <p:nvPr/>
          </p:nvSpPr>
          <p:spPr>
            <a:xfrm>
              <a:off x="10620667" y="737470"/>
              <a:ext cx="158174" cy="16319"/>
            </a:xfrm>
            <a:custGeom>
              <a:avLst/>
              <a:gdLst>
                <a:gd name="connsiteX0" fmla="*/ 150015 w 158174"/>
                <a:gd name="connsiteY0" fmla="*/ 16320 h 16319"/>
                <a:gd name="connsiteX1" fmla="*/ 8159 w 158174"/>
                <a:gd name="connsiteY1" fmla="*/ 16320 h 16319"/>
                <a:gd name="connsiteX2" fmla="*/ 0 w 158174"/>
                <a:gd name="connsiteY2" fmla="*/ 8160 h 16319"/>
                <a:gd name="connsiteX3" fmla="*/ 8159 w 158174"/>
                <a:gd name="connsiteY3" fmla="*/ 0 h 16319"/>
                <a:gd name="connsiteX4" fmla="*/ 150015 w 158174"/>
                <a:gd name="connsiteY4" fmla="*/ 0 h 16319"/>
                <a:gd name="connsiteX5" fmla="*/ 158175 w 158174"/>
                <a:gd name="connsiteY5" fmla="*/ 8160 h 16319"/>
                <a:gd name="connsiteX6" fmla="*/ 150015 w 158174"/>
                <a:gd name="connsiteY6" fmla="*/ 16320 h 16319"/>
                <a:gd name="connsiteX7" fmla="*/ 150015 w 158174"/>
                <a:gd name="connsiteY7" fmla="*/ 16320 h 16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8174" h="16319">
                  <a:moveTo>
                    <a:pt x="150015" y="16320"/>
                  </a:moveTo>
                  <a:lnTo>
                    <a:pt x="8159" y="16320"/>
                  </a:lnTo>
                  <a:cubicBezTo>
                    <a:pt x="3766" y="16320"/>
                    <a:pt x="0" y="12554"/>
                    <a:pt x="0" y="8160"/>
                  </a:cubicBezTo>
                  <a:cubicBezTo>
                    <a:pt x="0" y="3766"/>
                    <a:pt x="3766" y="0"/>
                    <a:pt x="8159" y="0"/>
                  </a:cubicBezTo>
                  <a:lnTo>
                    <a:pt x="150015" y="0"/>
                  </a:lnTo>
                  <a:cubicBezTo>
                    <a:pt x="154409" y="0"/>
                    <a:pt x="158175" y="3766"/>
                    <a:pt x="158175" y="8160"/>
                  </a:cubicBezTo>
                  <a:cubicBezTo>
                    <a:pt x="158175" y="12554"/>
                    <a:pt x="154409" y="16320"/>
                    <a:pt x="150015" y="16320"/>
                  </a:cubicBezTo>
                  <a:lnTo>
                    <a:pt x="150015" y="16320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67" name="Forma Livre: Forma 266">
              <a:extLst>
                <a:ext uri="{FF2B5EF4-FFF2-40B4-BE49-F238E27FC236}">
                  <a16:creationId xmlns:a16="http://schemas.microsoft.com/office/drawing/2014/main" id="{2BC9F958-9E90-4796-A995-770E2A7CDBFA}"/>
                </a:ext>
              </a:extLst>
            </p:cNvPr>
            <p:cNvSpPr/>
            <p:nvPr/>
          </p:nvSpPr>
          <p:spPr>
            <a:xfrm>
              <a:off x="10620039" y="781408"/>
              <a:ext cx="76017" cy="16319"/>
            </a:xfrm>
            <a:custGeom>
              <a:avLst/>
              <a:gdLst>
                <a:gd name="connsiteX0" fmla="*/ 67789 w 76017"/>
                <a:gd name="connsiteY0" fmla="*/ 16320 h 16319"/>
                <a:gd name="connsiteX1" fmla="*/ 8159 w 76017"/>
                <a:gd name="connsiteY1" fmla="*/ 16320 h 16319"/>
                <a:gd name="connsiteX2" fmla="*/ 0 w 76017"/>
                <a:gd name="connsiteY2" fmla="*/ 8160 h 16319"/>
                <a:gd name="connsiteX3" fmla="*/ 8159 w 76017"/>
                <a:gd name="connsiteY3" fmla="*/ 0 h 16319"/>
                <a:gd name="connsiteX4" fmla="*/ 67789 w 76017"/>
                <a:gd name="connsiteY4" fmla="*/ 0 h 16319"/>
                <a:gd name="connsiteX5" fmla="*/ 75949 w 76017"/>
                <a:gd name="connsiteY5" fmla="*/ 8160 h 16319"/>
                <a:gd name="connsiteX6" fmla="*/ 67789 w 76017"/>
                <a:gd name="connsiteY6" fmla="*/ 16320 h 16319"/>
                <a:gd name="connsiteX7" fmla="*/ 67789 w 76017"/>
                <a:gd name="connsiteY7" fmla="*/ 16320 h 16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6017" h="16319">
                  <a:moveTo>
                    <a:pt x="67789" y="16320"/>
                  </a:moveTo>
                  <a:lnTo>
                    <a:pt x="8159" y="16320"/>
                  </a:lnTo>
                  <a:cubicBezTo>
                    <a:pt x="3766" y="16320"/>
                    <a:pt x="0" y="12554"/>
                    <a:pt x="0" y="8160"/>
                  </a:cubicBezTo>
                  <a:cubicBezTo>
                    <a:pt x="0" y="3766"/>
                    <a:pt x="3766" y="0"/>
                    <a:pt x="8159" y="0"/>
                  </a:cubicBezTo>
                  <a:lnTo>
                    <a:pt x="67789" y="0"/>
                  </a:lnTo>
                  <a:cubicBezTo>
                    <a:pt x="72183" y="0"/>
                    <a:pt x="75949" y="3766"/>
                    <a:pt x="75949" y="8160"/>
                  </a:cubicBezTo>
                  <a:cubicBezTo>
                    <a:pt x="76576" y="12554"/>
                    <a:pt x="72811" y="16320"/>
                    <a:pt x="67789" y="16320"/>
                  </a:cubicBezTo>
                  <a:lnTo>
                    <a:pt x="67789" y="16320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68" name="Forma Livre: Forma 267">
              <a:extLst>
                <a:ext uri="{FF2B5EF4-FFF2-40B4-BE49-F238E27FC236}">
                  <a16:creationId xmlns:a16="http://schemas.microsoft.com/office/drawing/2014/main" id="{868D2D21-047B-4CBA-AEE9-FBCE1BFB0C83}"/>
                </a:ext>
              </a:extLst>
            </p:cNvPr>
            <p:cNvSpPr/>
            <p:nvPr/>
          </p:nvSpPr>
          <p:spPr>
            <a:xfrm>
              <a:off x="10549111" y="529081"/>
              <a:ext cx="309445" cy="388533"/>
            </a:xfrm>
            <a:custGeom>
              <a:avLst/>
              <a:gdLst>
                <a:gd name="connsiteX0" fmla="*/ 292498 w 309445"/>
                <a:gd name="connsiteY0" fmla="*/ 388533 h 388533"/>
                <a:gd name="connsiteX1" fmla="*/ 16947 w 309445"/>
                <a:gd name="connsiteY1" fmla="*/ 388533 h 388533"/>
                <a:gd name="connsiteX2" fmla="*/ 0 w 309445"/>
                <a:gd name="connsiteY2" fmla="*/ 371586 h 388533"/>
                <a:gd name="connsiteX3" fmla="*/ 0 w 309445"/>
                <a:gd name="connsiteY3" fmla="*/ 16947 h 388533"/>
                <a:gd name="connsiteX4" fmla="*/ 16947 w 309445"/>
                <a:gd name="connsiteY4" fmla="*/ 0 h 388533"/>
                <a:gd name="connsiteX5" fmla="*/ 292498 w 309445"/>
                <a:gd name="connsiteY5" fmla="*/ 0 h 388533"/>
                <a:gd name="connsiteX6" fmla="*/ 309446 w 309445"/>
                <a:gd name="connsiteY6" fmla="*/ 16947 h 388533"/>
                <a:gd name="connsiteX7" fmla="*/ 309446 w 309445"/>
                <a:gd name="connsiteY7" fmla="*/ 371586 h 388533"/>
                <a:gd name="connsiteX8" fmla="*/ 292498 w 309445"/>
                <a:gd name="connsiteY8" fmla="*/ 388533 h 388533"/>
                <a:gd name="connsiteX9" fmla="*/ 292498 w 309445"/>
                <a:gd name="connsiteY9" fmla="*/ 388533 h 388533"/>
                <a:gd name="connsiteX10" fmla="*/ 33895 w 309445"/>
                <a:gd name="connsiteY10" fmla="*/ 355266 h 388533"/>
                <a:gd name="connsiteX11" fmla="*/ 276179 w 309445"/>
                <a:gd name="connsiteY11" fmla="*/ 355266 h 388533"/>
                <a:gd name="connsiteX12" fmla="*/ 276179 w 309445"/>
                <a:gd name="connsiteY12" fmla="*/ 33895 h 388533"/>
                <a:gd name="connsiteX13" fmla="*/ 33895 w 309445"/>
                <a:gd name="connsiteY13" fmla="*/ 33895 h 388533"/>
                <a:gd name="connsiteX14" fmla="*/ 33895 w 309445"/>
                <a:gd name="connsiteY14" fmla="*/ 355266 h 388533"/>
                <a:gd name="connsiteX15" fmla="*/ 33895 w 309445"/>
                <a:gd name="connsiteY15" fmla="*/ 355266 h 388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9445" h="388533">
                  <a:moveTo>
                    <a:pt x="292498" y="388533"/>
                  </a:moveTo>
                  <a:lnTo>
                    <a:pt x="16947" y="388533"/>
                  </a:lnTo>
                  <a:cubicBezTo>
                    <a:pt x="7532" y="388533"/>
                    <a:pt x="0" y="381001"/>
                    <a:pt x="0" y="371586"/>
                  </a:cubicBezTo>
                  <a:lnTo>
                    <a:pt x="0" y="16947"/>
                  </a:lnTo>
                  <a:cubicBezTo>
                    <a:pt x="0" y="7532"/>
                    <a:pt x="7532" y="0"/>
                    <a:pt x="16947" y="0"/>
                  </a:cubicBezTo>
                  <a:lnTo>
                    <a:pt x="292498" y="0"/>
                  </a:lnTo>
                  <a:cubicBezTo>
                    <a:pt x="301913" y="0"/>
                    <a:pt x="309446" y="7532"/>
                    <a:pt x="309446" y="16947"/>
                  </a:cubicBezTo>
                  <a:lnTo>
                    <a:pt x="309446" y="371586"/>
                  </a:lnTo>
                  <a:cubicBezTo>
                    <a:pt x="309446" y="381001"/>
                    <a:pt x="301913" y="388533"/>
                    <a:pt x="292498" y="388533"/>
                  </a:cubicBezTo>
                  <a:lnTo>
                    <a:pt x="292498" y="388533"/>
                  </a:lnTo>
                  <a:close/>
                  <a:moveTo>
                    <a:pt x="33895" y="355266"/>
                  </a:moveTo>
                  <a:lnTo>
                    <a:pt x="276179" y="355266"/>
                  </a:lnTo>
                  <a:lnTo>
                    <a:pt x="276179" y="33895"/>
                  </a:lnTo>
                  <a:lnTo>
                    <a:pt x="33895" y="33895"/>
                  </a:lnTo>
                  <a:lnTo>
                    <a:pt x="33895" y="355266"/>
                  </a:lnTo>
                  <a:lnTo>
                    <a:pt x="33895" y="355266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69" name="Forma Livre: Forma 268">
              <a:extLst>
                <a:ext uri="{FF2B5EF4-FFF2-40B4-BE49-F238E27FC236}">
                  <a16:creationId xmlns:a16="http://schemas.microsoft.com/office/drawing/2014/main" id="{39500F40-5275-4E29-98C5-6FEF25D2D6B0}"/>
                </a:ext>
              </a:extLst>
            </p:cNvPr>
            <p:cNvSpPr/>
            <p:nvPr/>
          </p:nvSpPr>
          <p:spPr>
            <a:xfrm>
              <a:off x="10611252" y="512134"/>
              <a:ext cx="184537" cy="71555"/>
            </a:xfrm>
            <a:custGeom>
              <a:avLst/>
              <a:gdLst>
                <a:gd name="connsiteX0" fmla="*/ 148760 w 184537"/>
                <a:gd name="connsiteY0" fmla="*/ 71555 h 71555"/>
                <a:gd name="connsiteX1" fmla="*/ 35777 w 184537"/>
                <a:gd name="connsiteY1" fmla="*/ 71555 h 71555"/>
                <a:gd name="connsiteX2" fmla="*/ 0 w 184537"/>
                <a:gd name="connsiteY2" fmla="*/ 35778 h 71555"/>
                <a:gd name="connsiteX3" fmla="*/ 35777 w 184537"/>
                <a:gd name="connsiteY3" fmla="*/ 0 h 71555"/>
                <a:gd name="connsiteX4" fmla="*/ 148760 w 184537"/>
                <a:gd name="connsiteY4" fmla="*/ 0 h 71555"/>
                <a:gd name="connsiteX5" fmla="*/ 184538 w 184537"/>
                <a:gd name="connsiteY5" fmla="*/ 35778 h 71555"/>
                <a:gd name="connsiteX6" fmla="*/ 148760 w 184537"/>
                <a:gd name="connsiteY6" fmla="*/ 71555 h 71555"/>
                <a:gd name="connsiteX7" fmla="*/ 148760 w 184537"/>
                <a:gd name="connsiteY7" fmla="*/ 71555 h 71555"/>
                <a:gd name="connsiteX8" fmla="*/ 36405 w 184537"/>
                <a:gd name="connsiteY8" fmla="*/ 33895 h 71555"/>
                <a:gd name="connsiteX9" fmla="*/ 34522 w 184537"/>
                <a:gd name="connsiteY9" fmla="*/ 35778 h 71555"/>
                <a:gd name="connsiteX10" fmla="*/ 36405 w 184537"/>
                <a:gd name="connsiteY10" fmla="*/ 37661 h 71555"/>
                <a:gd name="connsiteX11" fmla="*/ 149387 w 184537"/>
                <a:gd name="connsiteY11" fmla="*/ 37661 h 71555"/>
                <a:gd name="connsiteX12" fmla="*/ 151270 w 184537"/>
                <a:gd name="connsiteY12" fmla="*/ 35778 h 71555"/>
                <a:gd name="connsiteX13" fmla="*/ 149387 w 184537"/>
                <a:gd name="connsiteY13" fmla="*/ 33895 h 71555"/>
                <a:gd name="connsiteX14" fmla="*/ 36405 w 184537"/>
                <a:gd name="connsiteY14" fmla="*/ 33895 h 71555"/>
                <a:gd name="connsiteX15" fmla="*/ 36405 w 184537"/>
                <a:gd name="connsiteY15" fmla="*/ 33895 h 71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4537" h="71555">
                  <a:moveTo>
                    <a:pt x="148760" y="71555"/>
                  </a:moveTo>
                  <a:lnTo>
                    <a:pt x="35777" y="71555"/>
                  </a:lnTo>
                  <a:cubicBezTo>
                    <a:pt x="16319" y="71555"/>
                    <a:pt x="0" y="55863"/>
                    <a:pt x="0" y="35778"/>
                  </a:cubicBezTo>
                  <a:cubicBezTo>
                    <a:pt x="0" y="16320"/>
                    <a:pt x="15692" y="0"/>
                    <a:pt x="35777" y="0"/>
                  </a:cubicBezTo>
                  <a:lnTo>
                    <a:pt x="148760" y="0"/>
                  </a:lnTo>
                  <a:cubicBezTo>
                    <a:pt x="168217" y="0"/>
                    <a:pt x="184538" y="15692"/>
                    <a:pt x="184538" y="35778"/>
                  </a:cubicBezTo>
                  <a:cubicBezTo>
                    <a:pt x="184538" y="55863"/>
                    <a:pt x="168217" y="71555"/>
                    <a:pt x="148760" y="71555"/>
                  </a:cubicBezTo>
                  <a:lnTo>
                    <a:pt x="148760" y="71555"/>
                  </a:lnTo>
                  <a:close/>
                  <a:moveTo>
                    <a:pt x="36405" y="33895"/>
                  </a:moveTo>
                  <a:cubicBezTo>
                    <a:pt x="35150" y="33895"/>
                    <a:pt x="34522" y="34522"/>
                    <a:pt x="34522" y="35778"/>
                  </a:cubicBezTo>
                  <a:cubicBezTo>
                    <a:pt x="34522" y="37033"/>
                    <a:pt x="35777" y="37661"/>
                    <a:pt x="36405" y="37661"/>
                  </a:cubicBezTo>
                  <a:lnTo>
                    <a:pt x="149387" y="37661"/>
                  </a:lnTo>
                  <a:cubicBezTo>
                    <a:pt x="150643" y="37661"/>
                    <a:pt x="151270" y="37033"/>
                    <a:pt x="151270" y="35778"/>
                  </a:cubicBezTo>
                  <a:cubicBezTo>
                    <a:pt x="151270" y="34522"/>
                    <a:pt x="150643" y="33895"/>
                    <a:pt x="149387" y="33895"/>
                  </a:cubicBezTo>
                  <a:lnTo>
                    <a:pt x="36405" y="33895"/>
                  </a:lnTo>
                  <a:lnTo>
                    <a:pt x="36405" y="33895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270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4352040" y="3574578"/>
            <a:ext cx="424781" cy="477663"/>
            <a:chOff x="4352040" y="3574578"/>
            <a:chExt cx="424781" cy="477663"/>
          </a:xfrm>
          <a:solidFill>
            <a:srgbClr val="B1B1A1"/>
          </a:solidFill>
        </p:grpSpPr>
        <p:grpSp>
          <p:nvGrpSpPr>
            <p:cNvPr id="271" name="Gráfico 2">
              <a:extLst>
                <a:ext uri="{FF2B5EF4-FFF2-40B4-BE49-F238E27FC236}">
                  <a16:creationId xmlns:a16="http://schemas.microsoft.com/office/drawing/2014/main" id="{83F95F55-5D1D-4425-8D77-756B15108235}"/>
                </a:ext>
              </a:extLst>
            </p:cNvPr>
            <p:cNvGrpSpPr/>
            <p:nvPr/>
          </p:nvGrpSpPr>
          <p:grpSpPr>
            <a:xfrm>
              <a:off x="4470043" y="3574578"/>
              <a:ext cx="171984" cy="171984"/>
              <a:chOff x="4470043" y="3574578"/>
              <a:chExt cx="171984" cy="171984"/>
            </a:xfrm>
            <a:grpFill/>
          </p:grpSpPr>
          <p:sp>
            <p:nvSpPr>
              <p:cNvPr id="272" name="Forma Livre: Forma 271">
                <a:extLst>
                  <a:ext uri="{FF2B5EF4-FFF2-40B4-BE49-F238E27FC236}">
                    <a16:creationId xmlns:a16="http://schemas.microsoft.com/office/drawing/2014/main" id="{B785320D-FF74-4E3A-A7B7-4763350E94A2}"/>
                  </a:ext>
                </a:extLst>
              </p:cNvPr>
              <p:cNvSpPr/>
              <p:nvPr/>
            </p:nvSpPr>
            <p:spPr>
              <a:xfrm>
                <a:off x="4470043" y="3574578"/>
                <a:ext cx="171984" cy="171984"/>
              </a:xfrm>
              <a:custGeom>
                <a:avLst/>
                <a:gdLst>
                  <a:gd name="connsiteX0" fmla="*/ 85992 w 171984"/>
                  <a:gd name="connsiteY0" fmla="*/ 171984 h 171984"/>
                  <a:gd name="connsiteX1" fmla="*/ 25107 w 171984"/>
                  <a:gd name="connsiteY1" fmla="*/ 146877 h 171984"/>
                  <a:gd name="connsiteX2" fmla="*/ 0 w 171984"/>
                  <a:gd name="connsiteY2" fmla="*/ 85992 h 171984"/>
                  <a:gd name="connsiteX3" fmla="*/ 25107 w 171984"/>
                  <a:gd name="connsiteY3" fmla="*/ 25107 h 171984"/>
                  <a:gd name="connsiteX4" fmla="*/ 85992 w 171984"/>
                  <a:gd name="connsiteY4" fmla="*/ 0 h 171984"/>
                  <a:gd name="connsiteX5" fmla="*/ 146877 w 171984"/>
                  <a:gd name="connsiteY5" fmla="*/ 25107 h 171984"/>
                  <a:gd name="connsiteX6" fmla="*/ 171984 w 171984"/>
                  <a:gd name="connsiteY6" fmla="*/ 85992 h 171984"/>
                  <a:gd name="connsiteX7" fmla="*/ 146877 w 171984"/>
                  <a:gd name="connsiteY7" fmla="*/ 146877 h 171984"/>
                  <a:gd name="connsiteX8" fmla="*/ 85992 w 171984"/>
                  <a:gd name="connsiteY8" fmla="*/ 171984 h 171984"/>
                  <a:gd name="connsiteX9" fmla="*/ 85992 w 171984"/>
                  <a:gd name="connsiteY9" fmla="*/ 171984 h 171984"/>
                  <a:gd name="connsiteX10" fmla="*/ 85992 w 171984"/>
                  <a:gd name="connsiteY10" fmla="*/ 16320 h 171984"/>
                  <a:gd name="connsiteX11" fmla="*/ 37033 w 171984"/>
                  <a:gd name="connsiteY11" fmla="*/ 36405 h 171984"/>
                  <a:gd name="connsiteX12" fmla="*/ 16947 w 171984"/>
                  <a:gd name="connsiteY12" fmla="*/ 85364 h 171984"/>
                  <a:gd name="connsiteX13" fmla="*/ 37033 w 171984"/>
                  <a:gd name="connsiteY13" fmla="*/ 134323 h 171984"/>
                  <a:gd name="connsiteX14" fmla="*/ 85992 w 171984"/>
                  <a:gd name="connsiteY14" fmla="*/ 154409 h 171984"/>
                  <a:gd name="connsiteX15" fmla="*/ 134951 w 171984"/>
                  <a:gd name="connsiteY15" fmla="*/ 134323 h 171984"/>
                  <a:gd name="connsiteX16" fmla="*/ 155037 w 171984"/>
                  <a:gd name="connsiteY16" fmla="*/ 85364 h 171984"/>
                  <a:gd name="connsiteX17" fmla="*/ 134951 w 171984"/>
                  <a:gd name="connsiteY17" fmla="*/ 36405 h 171984"/>
                  <a:gd name="connsiteX18" fmla="*/ 85992 w 171984"/>
                  <a:gd name="connsiteY18" fmla="*/ 16320 h 171984"/>
                  <a:gd name="connsiteX19" fmla="*/ 85992 w 171984"/>
                  <a:gd name="connsiteY19" fmla="*/ 16320 h 1719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71984" h="171984">
                    <a:moveTo>
                      <a:pt x="85992" y="171984"/>
                    </a:moveTo>
                    <a:cubicBezTo>
                      <a:pt x="62768" y="171984"/>
                      <a:pt x="41427" y="163196"/>
                      <a:pt x="25107" y="146877"/>
                    </a:cubicBezTo>
                    <a:cubicBezTo>
                      <a:pt x="8787" y="130557"/>
                      <a:pt x="0" y="109216"/>
                      <a:pt x="0" y="85992"/>
                    </a:cubicBezTo>
                    <a:cubicBezTo>
                      <a:pt x="0" y="62768"/>
                      <a:pt x="8787" y="41427"/>
                      <a:pt x="25107" y="25107"/>
                    </a:cubicBezTo>
                    <a:cubicBezTo>
                      <a:pt x="41427" y="8788"/>
                      <a:pt x="62768" y="0"/>
                      <a:pt x="85992" y="0"/>
                    </a:cubicBezTo>
                    <a:cubicBezTo>
                      <a:pt x="109216" y="0"/>
                      <a:pt x="130557" y="8788"/>
                      <a:pt x="146877" y="25107"/>
                    </a:cubicBezTo>
                    <a:cubicBezTo>
                      <a:pt x="163196" y="41427"/>
                      <a:pt x="171984" y="62768"/>
                      <a:pt x="171984" y="85992"/>
                    </a:cubicBezTo>
                    <a:cubicBezTo>
                      <a:pt x="171984" y="109216"/>
                      <a:pt x="163196" y="130557"/>
                      <a:pt x="146877" y="146877"/>
                    </a:cubicBezTo>
                    <a:cubicBezTo>
                      <a:pt x="130557" y="163196"/>
                      <a:pt x="109216" y="171984"/>
                      <a:pt x="85992" y="171984"/>
                    </a:cubicBezTo>
                    <a:lnTo>
                      <a:pt x="85992" y="171984"/>
                    </a:lnTo>
                    <a:close/>
                    <a:moveTo>
                      <a:pt x="85992" y="16320"/>
                    </a:moveTo>
                    <a:cubicBezTo>
                      <a:pt x="67789" y="16320"/>
                      <a:pt x="50214" y="23224"/>
                      <a:pt x="37033" y="36405"/>
                    </a:cubicBezTo>
                    <a:cubicBezTo>
                      <a:pt x="23852" y="49587"/>
                      <a:pt x="16947" y="67162"/>
                      <a:pt x="16947" y="85364"/>
                    </a:cubicBezTo>
                    <a:cubicBezTo>
                      <a:pt x="16947" y="104195"/>
                      <a:pt x="23852" y="121142"/>
                      <a:pt x="37033" y="134323"/>
                    </a:cubicBezTo>
                    <a:cubicBezTo>
                      <a:pt x="50214" y="147504"/>
                      <a:pt x="67789" y="154409"/>
                      <a:pt x="85992" y="154409"/>
                    </a:cubicBezTo>
                    <a:cubicBezTo>
                      <a:pt x="104822" y="154409"/>
                      <a:pt x="121770" y="147504"/>
                      <a:pt x="134951" y="134323"/>
                    </a:cubicBezTo>
                    <a:cubicBezTo>
                      <a:pt x="148132" y="121142"/>
                      <a:pt x="155037" y="103567"/>
                      <a:pt x="155037" y="85364"/>
                    </a:cubicBezTo>
                    <a:cubicBezTo>
                      <a:pt x="155037" y="66534"/>
                      <a:pt x="148132" y="49587"/>
                      <a:pt x="134951" y="36405"/>
                    </a:cubicBezTo>
                    <a:cubicBezTo>
                      <a:pt x="122397" y="23852"/>
                      <a:pt x="104822" y="16320"/>
                      <a:pt x="85992" y="16320"/>
                    </a:cubicBezTo>
                    <a:lnTo>
                      <a:pt x="85992" y="16320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73" name="Forma Livre: Forma 272">
                <a:extLst>
                  <a:ext uri="{FF2B5EF4-FFF2-40B4-BE49-F238E27FC236}">
                    <a16:creationId xmlns:a16="http://schemas.microsoft.com/office/drawing/2014/main" id="{95C0EA35-DD0F-43C8-84EF-5414B0A89C23}"/>
                  </a:ext>
                </a:extLst>
              </p:cNvPr>
              <p:cNvSpPr/>
              <p:nvPr/>
            </p:nvSpPr>
            <p:spPr>
              <a:xfrm>
                <a:off x="4495151" y="3613494"/>
                <a:ext cx="120514" cy="124908"/>
              </a:xfrm>
              <a:custGeom>
                <a:avLst/>
                <a:gdLst>
                  <a:gd name="connsiteX0" fmla="*/ 60885 w 120514"/>
                  <a:gd name="connsiteY0" fmla="*/ 0 h 124908"/>
                  <a:gd name="connsiteX1" fmla="*/ 39544 w 120514"/>
                  <a:gd name="connsiteY1" fmla="*/ 7532 h 124908"/>
                  <a:gd name="connsiteX2" fmla="*/ 34522 w 120514"/>
                  <a:gd name="connsiteY2" fmla="*/ 26990 h 124908"/>
                  <a:gd name="connsiteX3" fmla="*/ 35150 w 120514"/>
                  <a:gd name="connsiteY3" fmla="*/ 35150 h 124908"/>
                  <a:gd name="connsiteX4" fmla="*/ 33895 w 120514"/>
                  <a:gd name="connsiteY4" fmla="*/ 34522 h 124908"/>
                  <a:gd name="connsiteX5" fmla="*/ 33895 w 120514"/>
                  <a:gd name="connsiteY5" fmla="*/ 34522 h 124908"/>
                  <a:gd name="connsiteX6" fmla="*/ 31384 w 120514"/>
                  <a:gd name="connsiteY6" fmla="*/ 37661 h 124908"/>
                  <a:gd name="connsiteX7" fmla="*/ 32639 w 120514"/>
                  <a:gd name="connsiteY7" fmla="*/ 51470 h 124908"/>
                  <a:gd name="connsiteX8" fmla="*/ 35150 w 120514"/>
                  <a:gd name="connsiteY8" fmla="*/ 53980 h 124908"/>
                  <a:gd name="connsiteX9" fmla="*/ 35150 w 120514"/>
                  <a:gd name="connsiteY9" fmla="*/ 53980 h 124908"/>
                  <a:gd name="connsiteX10" fmla="*/ 37033 w 120514"/>
                  <a:gd name="connsiteY10" fmla="*/ 53353 h 124908"/>
                  <a:gd name="connsiteX11" fmla="*/ 38288 w 120514"/>
                  <a:gd name="connsiteY11" fmla="*/ 62768 h 124908"/>
                  <a:gd name="connsiteX12" fmla="*/ 43938 w 120514"/>
                  <a:gd name="connsiteY12" fmla="*/ 70300 h 124908"/>
                  <a:gd name="connsiteX13" fmla="*/ 45193 w 120514"/>
                  <a:gd name="connsiteY13" fmla="*/ 80343 h 124908"/>
                  <a:gd name="connsiteX14" fmla="*/ 5021 w 120514"/>
                  <a:gd name="connsiteY14" fmla="*/ 91641 h 124908"/>
                  <a:gd name="connsiteX15" fmla="*/ 0 w 120514"/>
                  <a:gd name="connsiteY15" fmla="*/ 96662 h 124908"/>
                  <a:gd name="connsiteX16" fmla="*/ 5649 w 120514"/>
                  <a:gd name="connsiteY16" fmla="*/ 102312 h 124908"/>
                  <a:gd name="connsiteX17" fmla="*/ 60257 w 120514"/>
                  <a:gd name="connsiteY17" fmla="*/ 124908 h 124908"/>
                  <a:gd name="connsiteX18" fmla="*/ 114865 w 120514"/>
                  <a:gd name="connsiteY18" fmla="*/ 102312 h 124908"/>
                  <a:gd name="connsiteX19" fmla="*/ 120514 w 120514"/>
                  <a:gd name="connsiteY19" fmla="*/ 96662 h 124908"/>
                  <a:gd name="connsiteX20" fmla="*/ 115493 w 120514"/>
                  <a:gd name="connsiteY20" fmla="*/ 91641 h 124908"/>
                  <a:gd name="connsiteX21" fmla="*/ 75321 w 120514"/>
                  <a:gd name="connsiteY21" fmla="*/ 80343 h 124908"/>
                  <a:gd name="connsiteX22" fmla="*/ 76577 w 120514"/>
                  <a:gd name="connsiteY22" fmla="*/ 70300 h 124908"/>
                  <a:gd name="connsiteX23" fmla="*/ 82226 w 120514"/>
                  <a:gd name="connsiteY23" fmla="*/ 62768 h 124908"/>
                  <a:gd name="connsiteX24" fmla="*/ 83481 w 120514"/>
                  <a:gd name="connsiteY24" fmla="*/ 53353 h 124908"/>
                  <a:gd name="connsiteX25" fmla="*/ 85364 w 120514"/>
                  <a:gd name="connsiteY25" fmla="*/ 53980 h 124908"/>
                  <a:gd name="connsiteX26" fmla="*/ 85364 w 120514"/>
                  <a:gd name="connsiteY26" fmla="*/ 53980 h 124908"/>
                  <a:gd name="connsiteX27" fmla="*/ 87875 w 120514"/>
                  <a:gd name="connsiteY27" fmla="*/ 51470 h 124908"/>
                  <a:gd name="connsiteX28" fmla="*/ 89130 w 120514"/>
                  <a:gd name="connsiteY28" fmla="*/ 37661 h 124908"/>
                  <a:gd name="connsiteX29" fmla="*/ 86620 w 120514"/>
                  <a:gd name="connsiteY29" fmla="*/ 34522 h 124908"/>
                  <a:gd name="connsiteX30" fmla="*/ 86620 w 120514"/>
                  <a:gd name="connsiteY30" fmla="*/ 34522 h 124908"/>
                  <a:gd name="connsiteX31" fmla="*/ 85364 w 120514"/>
                  <a:gd name="connsiteY31" fmla="*/ 35150 h 124908"/>
                  <a:gd name="connsiteX32" fmla="*/ 86620 w 120514"/>
                  <a:gd name="connsiteY32" fmla="*/ 26990 h 124908"/>
                  <a:gd name="connsiteX33" fmla="*/ 81598 w 120514"/>
                  <a:gd name="connsiteY33" fmla="*/ 7532 h 124908"/>
                  <a:gd name="connsiteX34" fmla="*/ 60885 w 120514"/>
                  <a:gd name="connsiteY34" fmla="*/ 0 h 124908"/>
                  <a:gd name="connsiteX35" fmla="*/ 60885 w 120514"/>
                  <a:gd name="connsiteY35" fmla="*/ 0 h 124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120514" h="124908">
                    <a:moveTo>
                      <a:pt x="60885" y="0"/>
                    </a:moveTo>
                    <a:cubicBezTo>
                      <a:pt x="52725" y="0"/>
                      <a:pt x="44565" y="2511"/>
                      <a:pt x="39544" y="7532"/>
                    </a:cubicBezTo>
                    <a:cubicBezTo>
                      <a:pt x="32639" y="13809"/>
                      <a:pt x="34522" y="23852"/>
                      <a:pt x="34522" y="26990"/>
                    </a:cubicBezTo>
                    <a:cubicBezTo>
                      <a:pt x="34522" y="29501"/>
                      <a:pt x="35150" y="32639"/>
                      <a:pt x="35150" y="35150"/>
                    </a:cubicBezTo>
                    <a:cubicBezTo>
                      <a:pt x="34522" y="35150"/>
                      <a:pt x="34522" y="34522"/>
                      <a:pt x="33895" y="34522"/>
                    </a:cubicBezTo>
                    <a:cubicBezTo>
                      <a:pt x="33895" y="34522"/>
                      <a:pt x="33895" y="34522"/>
                      <a:pt x="33895" y="34522"/>
                    </a:cubicBezTo>
                    <a:cubicBezTo>
                      <a:pt x="32639" y="34522"/>
                      <a:pt x="31384" y="35778"/>
                      <a:pt x="31384" y="37661"/>
                    </a:cubicBezTo>
                    <a:lnTo>
                      <a:pt x="32639" y="51470"/>
                    </a:lnTo>
                    <a:cubicBezTo>
                      <a:pt x="32639" y="52725"/>
                      <a:pt x="33895" y="53980"/>
                      <a:pt x="35150" y="53980"/>
                    </a:cubicBezTo>
                    <a:cubicBezTo>
                      <a:pt x="35150" y="53980"/>
                      <a:pt x="35150" y="53980"/>
                      <a:pt x="35150" y="53980"/>
                    </a:cubicBezTo>
                    <a:cubicBezTo>
                      <a:pt x="35778" y="53980"/>
                      <a:pt x="36405" y="53353"/>
                      <a:pt x="37033" y="53353"/>
                    </a:cubicBezTo>
                    <a:cubicBezTo>
                      <a:pt x="37661" y="56491"/>
                      <a:pt x="37661" y="59629"/>
                      <a:pt x="38288" y="62768"/>
                    </a:cubicBezTo>
                    <a:cubicBezTo>
                      <a:pt x="38288" y="65279"/>
                      <a:pt x="40799" y="67789"/>
                      <a:pt x="43938" y="70300"/>
                    </a:cubicBezTo>
                    <a:cubicBezTo>
                      <a:pt x="44565" y="73438"/>
                      <a:pt x="44565" y="76577"/>
                      <a:pt x="45193" y="80343"/>
                    </a:cubicBezTo>
                    <a:cubicBezTo>
                      <a:pt x="31384" y="82226"/>
                      <a:pt x="17575" y="85992"/>
                      <a:pt x="5021" y="91641"/>
                    </a:cubicBezTo>
                    <a:cubicBezTo>
                      <a:pt x="3138" y="92896"/>
                      <a:pt x="1255" y="94780"/>
                      <a:pt x="0" y="96662"/>
                    </a:cubicBezTo>
                    <a:cubicBezTo>
                      <a:pt x="1883" y="98546"/>
                      <a:pt x="3766" y="100429"/>
                      <a:pt x="5649" y="102312"/>
                    </a:cubicBezTo>
                    <a:cubicBezTo>
                      <a:pt x="20713" y="117376"/>
                      <a:pt x="40799" y="124908"/>
                      <a:pt x="60257" y="124908"/>
                    </a:cubicBezTo>
                    <a:cubicBezTo>
                      <a:pt x="80343" y="124908"/>
                      <a:pt x="99801" y="117376"/>
                      <a:pt x="114865" y="102312"/>
                    </a:cubicBezTo>
                    <a:cubicBezTo>
                      <a:pt x="116748" y="100429"/>
                      <a:pt x="118631" y="98546"/>
                      <a:pt x="120514" y="96662"/>
                    </a:cubicBezTo>
                    <a:cubicBezTo>
                      <a:pt x="119259" y="94780"/>
                      <a:pt x="118004" y="92896"/>
                      <a:pt x="115493" y="91641"/>
                    </a:cubicBezTo>
                    <a:cubicBezTo>
                      <a:pt x="102939" y="85364"/>
                      <a:pt x="89130" y="81598"/>
                      <a:pt x="75321" y="80343"/>
                    </a:cubicBezTo>
                    <a:cubicBezTo>
                      <a:pt x="75949" y="77204"/>
                      <a:pt x="75949" y="74066"/>
                      <a:pt x="76577" y="70300"/>
                    </a:cubicBezTo>
                    <a:cubicBezTo>
                      <a:pt x="79715" y="68417"/>
                      <a:pt x="81598" y="65279"/>
                      <a:pt x="82226" y="62768"/>
                    </a:cubicBezTo>
                    <a:cubicBezTo>
                      <a:pt x="82854" y="59629"/>
                      <a:pt x="82854" y="56491"/>
                      <a:pt x="83481" y="53353"/>
                    </a:cubicBezTo>
                    <a:cubicBezTo>
                      <a:pt x="84109" y="53980"/>
                      <a:pt x="84737" y="53980"/>
                      <a:pt x="85364" y="53980"/>
                    </a:cubicBezTo>
                    <a:cubicBezTo>
                      <a:pt x="85364" y="53980"/>
                      <a:pt x="85364" y="53980"/>
                      <a:pt x="85364" y="53980"/>
                    </a:cubicBezTo>
                    <a:cubicBezTo>
                      <a:pt x="86620" y="53980"/>
                      <a:pt x="87875" y="52725"/>
                      <a:pt x="87875" y="51470"/>
                    </a:cubicBezTo>
                    <a:lnTo>
                      <a:pt x="89130" y="37661"/>
                    </a:lnTo>
                    <a:cubicBezTo>
                      <a:pt x="89130" y="36405"/>
                      <a:pt x="88503" y="35150"/>
                      <a:pt x="86620" y="34522"/>
                    </a:cubicBezTo>
                    <a:cubicBezTo>
                      <a:pt x="86620" y="34522"/>
                      <a:pt x="86620" y="34522"/>
                      <a:pt x="86620" y="34522"/>
                    </a:cubicBezTo>
                    <a:cubicBezTo>
                      <a:pt x="85992" y="34522"/>
                      <a:pt x="85992" y="34522"/>
                      <a:pt x="85364" y="35150"/>
                    </a:cubicBezTo>
                    <a:cubicBezTo>
                      <a:pt x="85992" y="32639"/>
                      <a:pt x="85992" y="29501"/>
                      <a:pt x="86620" y="26990"/>
                    </a:cubicBezTo>
                    <a:cubicBezTo>
                      <a:pt x="86620" y="23224"/>
                      <a:pt x="88503" y="13809"/>
                      <a:pt x="81598" y="7532"/>
                    </a:cubicBezTo>
                    <a:cubicBezTo>
                      <a:pt x="77204" y="2511"/>
                      <a:pt x="69045" y="0"/>
                      <a:pt x="60885" y="0"/>
                    </a:cubicBezTo>
                    <a:lnTo>
                      <a:pt x="60885" y="0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274" name="Gráfico 2">
              <a:extLst>
                <a:ext uri="{FF2B5EF4-FFF2-40B4-BE49-F238E27FC236}">
                  <a16:creationId xmlns:a16="http://schemas.microsoft.com/office/drawing/2014/main" id="{83F95F55-5D1D-4425-8D77-756B15108235}"/>
                </a:ext>
              </a:extLst>
            </p:cNvPr>
            <p:cNvGrpSpPr/>
            <p:nvPr/>
          </p:nvGrpSpPr>
          <p:grpSpPr>
            <a:xfrm>
              <a:off x="4352040" y="3795521"/>
              <a:ext cx="408618" cy="171984"/>
              <a:chOff x="4352040" y="3795521"/>
              <a:chExt cx="408618" cy="171984"/>
            </a:xfrm>
            <a:grpFill/>
          </p:grpSpPr>
          <p:grpSp>
            <p:nvGrpSpPr>
              <p:cNvPr id="275" name="Gráfico 2">
                <a:extLst>
                  <a:ext uri="{FF2B5EF4-FFF2-40B4-BE49-F238E27FC236}">
                    <a16:creationId xmlns:a16="http://schemas.microsoft.com/office/drawing/2014/main" id="{83F95F55-5D1D-4425-8D77-756B15108235}"/>
                  </a:ext>
                </a:extLst>
              </p:cNvPr>
              <p:cNvGrpSpPr/>
              <p:nvPr/>
            </p:nvGrpSpPr>
            <p:grpSpPr>
              <a:xfrm>
                <a:off x="4352040" y="3795521"/>
                <a:ext cx="171983" cy="171984"/>
                <a:chOff x="4352040" y="3795521"/>
                <a:chExt cx="171983" cy="171984"/>
              </a:xfrm>
              <a:grpFill/>
            </p:grpSpPr>
            <p:sp>
              <p:nvSpPr>
                <p:cNvPr id="276" name="Forma Livre: Forma 275">
                  <a:extLst>
                    <a:ext uri="{FF2B5EF4-FFF2-40B4-BE49-F238E27FC236}">
                      <a16:creationId xmlns:a16="http://schemas.microsoft.com/office/drawing/2014/main" id="{42240B9D-F4C2-4C13-989F-264702C14395}"/>
                    </a:ext>
                  </a:extLst>
                </p:cNvPr>
                <p:cNvSpPr/>
                <p:nvPr/>
              </p:nvSpPr>
              <p:spPr>
                <a:xfrm>
                  <a:off x="4352040" y="3795521"/>
                  <a:ext cx="171983" cy="171984"/>
                </a:xfrm>
                <a:custGeom>
                  <a:avLst/>
                  <a:gdLst>
                    <a:gd name="connsiteX0" fmla="*/ 85992 w 171983"/>
                    <a:gd name="connsiteY0" fmla="*/ 171984 h 171984"/>
                    <a:gd name="connsiteX1" fmla="*/ 25107 w 171983"/>
                    <a:gd name="connsiteY1" fmla="*/ 146877 h 171984"/>
                    <a:gd name="connsiteX2" fmla="*/ 0 w 171983"/>
                    <a:gd name="connsiteY2" fmla="*/ 85992 h 171984"/>
                    <a:gd name="connsiteX3" fmla="*/ 25107 w 171983"/>
                    <a:gd name="connsiteY3" fmla="*/ 25107 h 171984"/>
                    <a:gd name="connsiteX4" fmla="*/ 85992 w 171983"/>
                    <a:gd name="connsiteY4" fmla="*/ 0 h 171984"/>
                    <a:gd name="connsiteX5" fmla="*/ 146877 w 171983"/>
                    <a:gd name="connsiteY5" fmla="*/ 25107 h 171984"/>
                    <a:gd name="connsiteX6" fmla="*/ 171984 w 171983"/>
                    <a:gd name="connsiteY6" fmla="*/ 85992 h 171984"/>
                    <a:gd name="connsiteX7" fmla="*/ 146877 w 171983"/>
                    <a:gd name="connsiteY7" fmla="*/ 146877 h 171984"/>
                    <a:gd name="connsiteX8" fmla="*/ 85992 w 171983"/>
                    <a:gd name="connsiteY8" fmla="*/ 171984 h 171984"/>
                    <a:gd name="connsiteX9" fmla="*/ 85992 w 171983"/>
                    <a:gd name="connsiteY9" fmla="*/ 171984 h 171984"/>
                    <a:gd name="connsiteX10" fmla="*/ 85992 w 171983"/>
                    <a:gd name="connsiteY10" fmla="*/ 16947 h 171984"/>
                    <a:gd name="connsiteX11" fmla="*/ 37033 w 171983"/>
                    <a:gd name="connsiteY11" fmla="*/ 37033 h 171984"/>
                    <a:gd name="connsiteX12" fmla="*/ 16947 w 171983"/>
                    <a:gd name="connsiteY12" fmla="*/ 85992 h 171984"/>
                    <a:gd name="connsiteX13" fmla="*/ 37033 w 171983"/>
                    <a:gd name="connsiteY13" fmla="*/ 134951 h 171984"/>
                    <a:gd name="connsiteX14" fmla="*/ 85992 w 171983"/>
                    <a:gd name="connsiteY14" fmla="*/ 155037 h 171984"/>
                    <a:gd name="connsiteX15" fmla="*/ 134951 w 171983"/>
                    <a:gd name="connsiteY15" fmla="*/ 134951 h 171984"/>
                    <a:gd name="connsiteX16" fmla="*/ 155037 w 171983"/>
                    <a:gd name="connsiteY16" fmla="*/ 85992 h 171984"/>
                    <a:gd name="connsiteX17" fmla="*/ 134951 w 171983"/>
                    <a:gd name="connsiteY17" fmla="*/ 37033 h 171984"/>
                    <a:gd name="connsiteX18" fmla="*/ 85992 w 171983"/>
                    <a:gd name="connsiteY18" fmla="*/ 16947 h 171984"/>
                    <a:gd name="connsiteX19" fmla="*/ 85992 w 171983"/>
                    <a:gd name="connsiteY19" fmla="*/ 16947 h 1719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71983" h="171984">
                      <a:moveTo>
                        <a:pt x="85992" y="171984"/>
                      </a:moveTo>
                      <a:cubicBezTo>
                        <a:pt x="62768" y="171984"/>
                        <a:pt x="41427" y="163196"/>
                        <a:pt x="25107" y="146877"/>
                      </a:cubicBezTo>
                      <a:cubicBezTo>
                        <a:pt x="8787" y="130557"/>
                        <a:pt x="0" y="109216"/>
                        <a:pt x="0" y="85992"/>
                      </a:cubicBezTo>
                      <a:cubicBezTo>
                        <a:pt x="0" y="62768"/>
                        <a:pt x="8787" y="41427"/>
                        <a:pt x="25107" y="25107"/>
                      </a:cubicBezTo>
                      <a:cubicBezTo>
                        <a:pt x="41427" y="8788"/>
                        <a:pt x="62768" y="0"/>
                        <a:pt x="85992" y="0"/>
                      </a:cubicBezTo>
                      <a:cubicBezTo>
                        <a:pt x="109216" y="0"/>
                        <a:pt x="130557" y="8788"/>
                        <a:pt x="146877" y="25107"/>
                      </a:cubicBezTo>
                      <a:cubicBezTo>
                        <a:pt x="163196" y="41427"/>
                        <a:pt x="171984" y="62768"/>
                        <a:pt x="171984" y="85992"/>
                      </a:cubicBezTo>
                      <a:cubicBezTo>
                        <a:pt x="171984" y="109216"/>
                        <a:pt x="163196" y="130557"/>
                        <a:pt x="146877" y="146877"/>
                      </a:cubicBezTo>
                      <a:cubicBezTo>
                        <a:pt x="130557" y="163196"/>
                        <a:pt x="108588" y="171984"/>
                        <a:pt x="85992" y="171984"/>
                      </a:cubicBezTo>
                      <a:lnTo>
                        <a:pt x="85992" y="171984"/>
                      </a:lnTo>
                      <a:close/>
                      <a:moveTo>
                        <a:pt x="85992" y="16947"/>
                      </a:moveTo>
                      <a:cubicBezTo>
                        <a:pt x="67789" y="16947"/>
                        <a:pt x="50214" y="23852"/>
                        <a:pt x="37033" y="37033"/>
                      </a:cubicBezTo>
                      <a:cubicBezTo>
                        <a:pt x="23852" y="50214"/>
                        <a:pt x="16947" y="67789"/>
                        <a:pt x="16947" y="85992"/>
                      </a:cubicBezTo>
                      <a:cubicBezTo>
                        <a:pt x="16947" y="104822"/>
                        <a:pt x="23852" y="121770"/>
                        <a:pt x="37033" y="134951"/>
                      </a:cubicBezTo>
                      <a:cubicBezTo>
                        <a:pt x="50214" y="148132"/>
                        <a:pt x="67789" y="155037"/>
                        <a:pt x="85992" y="155037"/>
                      </a:cubicBezTo>
                      <a:cubicBezTo>
                        <a:pt x="104822" y="155037"/>
                        <a:pt x="121770" y="148132"/>
                        <a:pt x="134951" y="134951"/>
                      </a:cubicBezTo>
                      <a:cubicBezTo>
                        <a:pt x="148132" y="121770"/>
                        <a:pt x="155037" y="104195"/>
                        <a:pt x="155037" y="85992"/>
                      </a:cubicBezTo>
                      <a:cubicBezTo>
                        <a:pt x="155037" y="67162"/>
                        <a:pt x="148132" y="50214"/>
                        <a:pt x="134951" y="37033"/>
                      </a:cubicBezTo>
                      <a:cubicBezTo>
                        <a:pt x="121770" y="23852"/>
                        <a:pt x="104195" y="16947"/>
                        <a:pt x="85992" y="16947"/>
                      </a:cubicBezTo>
                      <a:lnTo>
                        <a:pt x="85992" y="16947"/>
                      </a:lnTo>
                      <a:close/>
                    </a:path>
                  </a:pathLst>
                </a:custGeom>
                <a:grpFill/>
                <a:ln w="62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277" name="Forma Livre: Forma 276">
                  <a:extLst>
                    <a:ext uri="{FF2B5EF4-FFF2-40B4-BE49-F238E27FC236}">
                      <a16:creationId xmlns:a16="http://schemas.microsoft.com/office/drawing/2014/main" id="{3783E7A6-D070-4B9E-9CBE-AA4B517F7B89}"/>
                    </a:ext>
                  </a:extLst>
                </p:cNvPr>
                <p:cNvSpPr/>
                <p:nvPr/>
              </p:nvSpPr>
              <p:spPr>
                <a:xfrm>
                  <a:off x="4377147" y="3834437"/>
                  <a:ext cx="120514" cy="124907"/>
                </a:xfrm>
                <a:custGeom>
                  <a:avLst/>
                  <a:gdLst>
                    <a:gd name="connsiteX0" fmla="*/ 60885 w 120514"/>
                    <a:gd name="connsiteY0" fmla="*/ 0 h 124907"/>
                    <a:gd name="connsiteX1" fmla="*/ 39544 w 120514"/>
                    <a:gd name="connsiteY1" fmla="*/ 7532 h 124907"/>
                    <a:gd name="connsiteX2" fmla="*/ 34522 w 120514"/>
                    <a:gd name="connsiteY2" fmla="*/ 26990 h 124907"/>
                    <a:gd name="connsiteX3" fmla="*/ 35150 w 120514"/>
                    <a:gd name="connsiteY3" fmla="*/ 35150 h 124907"/>
                    <a:gd name="connsiteX4" fmla="*/ 33895 w 120514"/>
                    <a:gd name="connsiteY4" fmla="*/ 34522 h 124907"/>
                    <a:gd name="connsiteX5" fmla="*/ 33895 w 120514"/>
                    <a:gd name="connsiteY5" fmla="*/ 34522 h 124907"/>
                    <a:gd name="connsiteX6" fmla="*/ 31384 w 120514"/>
                    <a:gd name="connsiteY6" fmla="*/ 37661 h 124907"/>
                    <a:gd name="connsiteX7" fmla="*/ 32639 w 120514"/>
                    <a:gd name="connsiteY7" fmla="*/ 51470 h 124907"/>
                    <a:gd name="connsiteX8" fmla="*/ 35150 w 120514"/>
                    <a:gd name="connsiteY8" fmla="*/ 53980 h 124907"/>
                    <a:gd name="connsiteX9" fmla="*/ 35150 w 120514"/>
                    <a:gd name="connsiteY9" fmla="*/ 53980 h 124907"/>
                    <a:gd name="connsiteX10" fmla="*/ 37033 w 120514"/>
                    <a:gd name="connsiteY10" fmla="*/ 53353 h 124907"/>
                    <a:gd name="connsiteX11" fmla="*/ 38288 w 120514"/>
                    <a:gd name="connsiteY11" fmla="*/ 62768 h 124907"/>
                    <a:gd name="connsiteX12" fmla="*/ 43938 w 120514"/>
                    <a:gd name="connsiteY12" fmla="*/ 70300 h 124907"/>
                    <a:gd name="connsiteX13" fmla="*/ 45193 w 120514"/>
                    <a:gd name="connsiteY13" fmla="*/ 80343 h 124907"/>
                    <a:gd name="connsiteX14" fmla="*/ 5021 w 120514"/>
                    <a:gd name="connsiteY14" fmla="*/ 91641 h 124907"/>
                    <a:gd name="connsiteX15" fmla="*/ 0 w 120514"/>
                    <a:gd name="connsiteY15" fmla="*/ 96662 h 124907"/>
                    <a:gd name="connsiteX16" fmla="*/ 5649 w 120514"/>
                    <a:gd name="connsiteY16" fmla="*/ 102312 h 124907"/>
                    <a:gd name="connsiteX17" fmla="*/ 60257 w 120514"/>
                    <a:gd name="connsiteY17" fmla="*/ 124908 h 124907"/>
                    <a:gd name="connsiteX18" fmla="*/ 114865 w 120514"/>
                    <a:gd name="connsiteY18" fmla="*/ 102312 h 124907"/>
                    <a:gd name="connsiteX19" fmla="*/ 120514 w 120514"/>
                    <a:gd name="connsiteY19" fmla="*/ 96662 h 124907"/>
                    <a:gd name="connsiteX20" fmla="*/ 115493 w 120514"/>
                    <a:gd name="connsiteY20" fmla="*/ 91641 h 124907"/>
                    <a:gd name="connsiteX21" fmla="*/ 75321 w 120514"/>
                    <a:gd name="connsiteY21" fmla="*/ 80343 h 124907"/>
                    <a:gd name="connsiteX22" fmla="*/ 76577 w 120514"/>
                    <a:gd name="connsiteY22" fmla="*/ 70300 h 124907"/>
                    <a:gd name="connsiteX23" fmla="*/ 82226 w 120514"/>
                    <a:gd name="connsiteY23" fmla="*/ 62768 h 124907"/>
                    <a:gd name="connsiteX24" fmla="*/ 83481 w 120514"/>
                    <a:gd name="connsiteY24" fmla="*/ 53353 h 124907"/>
                    <a:gd name="connsiteX25" fmla="*/ 85364 w 120514"/>
                    <a:gd name="connsiteY25" fmla="*/ 53980 h 124907"/>
                    <a:gd name="connsiteX26" fmla="*/ 85364 w 120514"/>
                    <a:gd name="connsiteY26" fmla="*/ 53980 h 124907"/>
                    <a:gd name="connsiteX27" fmla="*/ 87875 w 120514"/>
                    <a:gd name="connsiteY27" fmla="*/ 51470 h 124907"/>
                    <a:gd name="connsiteX28" fmla="*/ 89130 w 120514"/>
                    <a:gd name="connsiteY28" fmla="*/ 37661 h 124907"/>
                    <a:gd name="connsiteX29" fmla="*/ 86620 w 120514"/>
                    <a:gd name="connsiteY29" fmla="*/ 34522 h 124907"/>
                    <a:gd name="connsiteX30" fmla="*/ 86620 w 120514"/>
                    <a:gd name="connsiteY30" fmla="*/ 34522 h 124907"/>
                    <a:gd name="connsiteX31" fmla="*/ 85364 w 120514"/>
                    <a:gd name="connsiteY31" fmla="*/ 35150 h 124907"/>
                    <a:gd name="connsiteX32" fmla="*/ 86620 w 120514"/>
                    <a:gd name="connsiteY32" fmla="*/ 26990 h 124907"/>
                    <a:gd name="connsiteX33" fmla="*/ 81598 w 120514"/>
                    <a:gd name="connsiteY33" fmla="*/ 7532 h 124907"/>
                    <a:gd name="connsiteX34" fmla="*/ 60885 w 120514"/>
                    <a:gd name="connsiteY34" fmla="*/ 0 h 124907"/>
                    <a:gd name="connsiteX35" fmla="*/ 60885 w 120514"/>
                    <a:gd name="connsiteY35" fmla="*/ 0 h 1249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</a:cxnLst>
                  <a:rect l="l" t="t" r="r" b="b"/>
                  <a:pathLst>
                    <a:path w="120514" h="124907">
                      <a:moveTo>
                        <a:pt x="60885" y="0"/>
                      </a:moveTo>
                      <a:cubicBezTo>
                        <a:pt x="52725" y="0"/>
                        <a:pt x="44565" y="2510"/>
                        <a:pt x="39544" y="7532"/>
                      </a:cubicBezTo>
                      <a:cubicBezTo>
                        <a:pt x="32639" y="13809"/>
                        <a:pt x="34522" y="23852"/>
                        <a:pt x="34522" y="26990"/>
                      </a:cubicBezTo>
                      <a:cubicBezTo>
                        <a:pt x="34522" y="29501"/>
                        <a:pt x="35150" y="32639"/>
                        <a:pt x="35150" y="35150"/>
                      </a:cubicBezTo>
                      <a:cubicBezTo>
                        <a:pt x="34522" y="35150"/>
                        <a:pt x="34522" y="34522"/>
                        <a:pt x="33895" y="34522"/>
                      </a:cubicBezTo>
                      <a:cubicBezTo>
                        <a:pt x="33895" y="34522"/>
                        <a:pt x="33895" y="34522"/>
                        <a:pt x="33895" y="34522"/>
                      </a:cubicBezTo>
                      <a:cubicBezTo>
                        <a:pt x="32639" y="34522"/>
                        <a:pt x="31384" y="35778"/>
                        <a:pt x="31384" y="37661"/>
                      </a:cubicBezTo>
                      <a:lnTo>
                        <a:pt x="32639" y="51470"/>
                      </a:lnTo>
                      <a:cubicBezTo>
                        <a:pt x="32639" y="52725"/>
                        <a:pt x="33895" y="53980"/>
                        <a:pt x="35150" y="53980"/>
                      </a:cubicBezTo>
                      <a:cubicBezTo>
                        <a:pt x="35150" y="53980"/>
                        <a:pt x="35150" y="53980"/>
                        <a:pt x="35150" y="53980"/>
                      </a:cubicBezTo>
                      <a:cubicBezTo>
                        <a:pt x="35778" y="53980"/>
                        <a:pt x="36405" y="53353"/>
                        <a:pt x="37033" y="53353"/>
                      </a:cubicBezTo>
                      <a:cubicBezTo>
                        <a:pt x="37661" y="56491"/>
                        <a:pt x="37661" y="59629"/>
                        <a:pt x="38288" y="62768"/>
                      </a:cubicBezTo>
                      <a:cubicBezTo>
                        <a:pt x="38288" y="65278"/>
                        <a:pt x="40799" y="67789"/>
                        <a:pt x="43938" y="70300"/>
                      </a:cubicBezTo>
                      <a:cubicBezTo>
                        <a:pt x="44565" y="73438"/>
                        <a:pt x="44565" y="76577"/>
                        <a:pt x="45193" y="80343"/>
                      </a:cubicBezTo>
                      <a:cubicBezTo>
                        <a:pt x="31384" y="82226"/>
                        <a:pt x="17575" y="85992"/>
                        <a:pt x="5021" y="91641"/>
                      </a:cubicBezTo>
                      <a:cubicBezTo>
                        <a:pt x="3138" y="92896"/>
                        <a:pt x="1255" y="94779"/>
                        <a:pt x="0" y="96662"/>
                      </a:cubicBezTo>
                      <a:cubicBezTo>
                        <a:pt x="1883" y="98546"/>
                        <a:pt x="3766" y="100429"/>
                        <a:pt x="5649" y="102312"/>
                      </a:cubicBezTo>
                      <a:cubicBezTo>
                        <a:pt x="20713" y="117376"/>
                        <a:pt x="40799" y="124908"/>
                        <a:pt x="60257" y="124908"/>
                      </a:cubicBezTo>
                      <a:cubicBezTo>
                        <a:pt x="80343" y="124908"/>
                        <a:pt x="99801" y="117376"/>
                        <a:pt x="114865" y="102312"/>
                      </a:cubicBezTo>
                      <a:cubicBezTo>
                        <a:pt x="116748" y="100429"/>
                        <a:pt x="118631" y="98546"/>
                        <a:pt x="120514" y="96662"/>
                      </a:cubicBezTo>
                      <a:cubicBezTo>
                        <a:pt x="119259" y="94779"/>
                        <a:pt x="118004" y="92896"/>
                        <a:pt x="115493" y="91641"/>
                      </a:cubicBezTo>
                      <a:cubicBezTo>
                        <a:pt x="102939" y="85364"/>
                        <a:pt x="89130" y="81598"/>
                        <a:pt x="75321" y="80343"/>
                      </a:cubicBezTo>
                      <a:cubicBezTo>
                        <a:pt x="75949" y="77204"/>
                        <a:pt x="75949" y="74066"/>
                        <a:pt x="76577" y="70300"/>
                      </a:cubicBezTo>
                      <a:cubicBezTo>
                        <a:pt x="79715" y="68417"/>
                        <a:pt x="81598" y="65278"/>
                        <a:pt x="82226" y="62768"/>
                      </a:cubicBezTo>
                      <a:cubicBezTo>
                        <a:pt x="82853" y="59629"/>
                        <a:pt x="82853" y="56491"/>
                        <a:pt x="83481" y="53353"/>
                      </a:cubicBezTo>
                      <a:cubicBezTo>
                        <a:pt x="84109" y="53980"/>
                        <a:pt x="84737" y="53980"/>
                        <a:pt x="85364" y="53980"/>
                      </a:cubicBezTo>
                      <a:cubicBezTo>
                        <a:pt x="85364" y="53980"/>
                        <a:pt x="85364" y="53980"/>
                        <a:pt x="85364" y="53980"/>
                      </a:cubicBezTo>
                      <a:cubicBezTo>
                        <a:pt x="86620" y="53980"/>
                        <a:pt x="87875" y="52725"/>
                        <a:pt x="87875" y="51470"/>
                      </a:cubicBezTo>
                      <a:lnTo>
                        <a:pt x="89130" y="37661"/>
                      </a:lnTo>
                      <a:cubicBezTo>
                        <a:pt x="89130" y="36405"/>
                        <a:pt x="88503" y="35150"/>
                        <a:pt x="86620" y="34522"/>
                      </a:cubicBezTo>
                      <a:cubicBezTo>
                        <a:pt x="86620" y="34522"/>
                        <a:pt x="86620" y="34522"/>
                        <a:pt x="86620" y="34522"/>
                      </a:cubicBezTo>
                      <a:cubicBezTo>
                        <a:pt x="85992" y="34522"/>
                        <a:pt x="85992" y="34522"/>
                        <a:pt x="85364" y="35150"/>
                      </a:cubicBezTo>
                      <a:cubicBezTo>
                        <a:pt x="85992" y="32639"/>
                        <a:pt x="85992" y="29501"/>
                        <a:pt x="86620" y="26990"/>
                      </a:cubicBezTo>
                      <a:cubicBezTo>
                        <a:pt x="86620" y="23224"/>
                        <a:pt x="88503" y="13809"/>
                        <a:pt x="81598" y="7532"/>
                      </a:cubicBezTo>
                      <a:cubicBezTo>
                        <a:pt x="77204" y="2510"/>
                        <a:pt x="69045" y="0"/>
                        <a:pt x="60885" y="0"/>
                      </a:cubicBezTo>
                      <a:lnTo>
                        <a:pt x="60885" y="0"/>
                      </a:lnTo>
                      <a:close/>
                    </a:path>
                  </a:pathLst>
                </a:custGeom>
                <a:grpFill/>
                <a:ln w="62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grpSp>
            <p:nvGrpSpPr>
              <p:cNvPr id="278" name="Gráfico 2">
                <a:extLst>
                  <a:ext uri="{FF2B5EF4-FFF2-40B4-BE49-F238E27FC236}">
                    <a16:creationId xmlns:a16="http://schemas.microsoft.com/office/drawing/2014/main" id="{83F95F55-5D1D-4425-8D77-756B15108235}"/>
                  </a:ext>
                </a:extLst>
              </p:cNvPr>
              <p:cNvGrpSpPr/>
              <p:nvPr/>
            </p:nvGrpSpPr>
            <p:grpSpPr>
              <a:xfrm>
                <a:off x="4588675" y="3795521"/>
                <a:ext cx="171983" cy="171984"/>
                <a:chOff x="4588675" y="3795521"/>
                <a:chExt cx="171983" cy="171984"/>
              </a:xfrm>
              <a:grpFill/>
            </p:grpSpPr>
            <p:sp>
              <p:nvSpPr>
                <p:cNvPr id="279" name="Forma Livre: Forma 278">
                  <a:extLst>
                    <a:ext uri="{FF2B5EF4-FFF2-40B4-BE49-F238E27FC236}">
                      <a16:creationId xmlns:a16="http://schemas.microsoft.com/office/drawing/2014/main" id="{D574250D-5779-4120-B2B4-18709E01256F}"/>
                    </a:ext>
                  </a:extLst>
                </p:cNvPr>
                <p:cNvSpPr/>
                <p:nvPr/>
              </p:nvSpPr>
              <p:spPr>
                <a:xfrm>
                  <a:off x="4588675" y="3795521"/>
                  <a:ext cx="171983" cy="171984"/>
                </a:xfrm>
                <a:custGeom>
                  <a:avLst/>
                  <a:gdLst>
                    <a:gd name="connsiteX0" fmla="*/ 85992 w 171983"/>
                    <a:gd name="connsiteY0" fmla="*/ 171984 h 171984"/>
                    <a:gd name="connsiteX1" fmla="*/ 25107 w 171983"/>
                    <a:gd name="connsiteY1" fmla="*/ 146877 h 171984"/>
                    <a:gd name="connsiteX2" fmla="*/ 0 w 171983"/>
                    <a:gd name="connsiteY2" fmla="*/ 85992 h 171984"/>
                    <a:gd name="connsiteX3" fmla="*/ 25107 w 171983"/>
                    <a:gd name="connsiteY3" fmla="*/ 25107 h 171984"/>
                    <a:gd name="connsiteX4" fmla="*/ 85992 w 171983"/>
                    <a:gd name="connsiteY4" fmla="*/ 0 h 171984"/>
                    <a:gd name="connsiteX5" fmla="*/ 146877 w 171983"/>
                    <a:gd name="connsiteY5" fmla="*/ 25107 h 171984"/>
                    <a:gd name="connsiteX6" fmla="*/ 171984 w 171983"/>
                    <a:gd name="connsiteY6" fmla="*/ 85992 h 171984"/>
                    <a:gd name="connsiteX7" fmla="*/ 146877 w 171983"/>
                    <a:gd name="connsiteY7" fmla="*/ 146877 h 171984"/>
                    <a:gd name="connsiteX8" fmla="*/ 85992 w 171983"/>
                    <a:gd name="connsiteY8" fmla="*/ 171984 h 171984"/>
                    <a:gd name="connsiteX9" fmla="*/ 85992 w 171983"/>
                    <a:gd name="connsiteY9" fmla="*/ 171984 h 171984"/>
                    <a:gd name="connsiteX10" fmla="*/ 85992 w 171983"/>
                    <a:gd name="connsiteY10" fmla="*/ 16947 h 171984"/>
                    <a:gd name="connsiteX11" fmla="*/ 37033 w 171983"/>
                    <a:gd name="connsiteY11" fmla="*/ 37033 h 171984"/>
                    <a:gd name="connsiteX12" fmla="*/ 16947 w 171983"/>
                    <a:gd name="connsiteY12" fmla="*/ 85992 h 171984"/>
                    <a:gd name="connsiteX13" fmla="*/ 37033 w 171983"/>
                    <a:gd name="connsiteY13" fmla="*/ 134951 h 171984"/>
                    <a:gd name="connsiteX14" fmla="*/ 85992 w 171983"/>
                    <a:gd name="connsiteY14" fmla="*/ 155037 h 171984"/>
                    <a:gd name="connsiteX15" fmla="*/ 134951 w 171983"/>
                    <a:gd name="connsiteY15" fmla="*/ 134951 h 171984"/>
                    <a:gd name="connsiteX16" fmla="*/ 155036 w 171983"/>
                    <a:gd name="connsiteY16" fmla="*/ 85992 h 171984"/>
                    <a:gd name="connsiteX17" fmla="*/ 134951 w 171983"/>
                    <a:gd name="connsiteY17" fmla="*/ 37033 h 171984"/>
                    <a:gd name="connsiteX18" fmla="*/ 85992 w 171983"/>
                    <a:gd name="connsiteY18" fmla="*/ 16947 h 171984"/>
                    <a:gd name="connsiteX19" fmla="*/ 85992 w 171983"/>
                    <a:gd name="connsiteY19" fmla="*/ 16947 h 1719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71983" h="171984">
                      <a:moveTo>
                        <a:pt x="85992" y="171984"/>
                      </a:moveTo>
                      <a:cubicBezTo>
                        <a:pt x="62768" y="171984"/>
                        <a:pt x="41427" y="163196"/>
                        <a:pt x="25107" y="146877"/>
                      </a:cubicBezTo>
                      <a:cubicBezTo>
                        <a:pt x="8787" y="130557"/>
                        <a:pt x="0" y="109216"/>
                        <a:pt x="0" y="85992"/>
                      </a:cubicBezTo>
                      <a:cubicBezTo>
                        <a:pt x="0" y="62768"/>
                        <a:pt x="8787" y="41427"/>
                        <a:pt x="25107" y="25107"/>
                      </a:cubicBezTo>
                      <a:cubicBezTo>
                        <a:pt x="41427" y="8788"/>
                        <a:pt x="62768" y="0"/>
                        <a:pt x="85992" y="0"/>
                      </a:cubicBezTo>
                      <a:cubicBezTo>
                        <a:pt x="109216" y="0"/>
                        <a:pt x="130557" y="8788"/>
                        <a:pt x="146877" y="25107"/>
                      </a:cubicBezTo>
                      <a:cubicBezTo>
                        <a:pt x="163196" y="41427"/>
                        <a:pt x="171984" y="62768"/>
                        <a:pt x="171984" y="85992"/>
                      </a:cubicBezTo>
                      <a:cubicBezTo>
                        <a:pt x="171984" y="109216"/>
                        <a:pt x="163196" y="130557"/>
                        <a:pt x="146877" y="146877"/>
                      </a:cubicBezTo>
                      <a:cubicBezTo>
                        <a:pt x="130557" y="163196"/>
                        <a:pt x="109216" y="171984"/>
                        <a:pt x="85992" y="171984"/>
                      </a:cubicBezTo>
                      <a:lnTo>
                        <a:pt x="85992" y="171984"/>
                      </a:lnTo>
                      <a:close/>
                      <a:moveTo>
                        <a:pt x="85992" y="16947"/>
                      </a:moveTo>
                      <a:cubicBezTo>
                        <a:pt x="67789" y="16947"/>
                        <a:pt x="50214" y="23852"/>
                        <a:pt x="37033" y="37033"/>
                      </a:cubicBezTo>
                      <a:cubicBezTo>
                        <a:pt x="23852" y="50214"/>
                        <a:pt x="16947" y="67789"/>
                        <a:pt x="16947" y="85992"/>
                      </a:cubicBezTo>
                      <a:cubicBezTo>
                        <a:pt x="16947" y="104822"/>
                        <a:pt x="23852" y="121770"/>
                        <a:pt x="37033" y="134951"/>
                      </a:cubicBezTo>
                      <a:cubicBezTo>
                        <a:pt x="50214" y="148132"/>
                        <a:pt x="67789" y="155037"/>
                        <a:pt x="85992" y="155037"/>
                      </a:cubicBezTo>
                      <a:cubicBezTo>
                        <a:pt x="104195" y="155037"/>
                        <a:pt x="121769" y="148132"/>
                        <a:pt x="134951" y="134951"/>
                      </a:cubicBezTo>
                      <a:cubicBezTo>
                        <a:pt x="148132" y="121770"/>
                        <a:pt x="155036" y="104195"/>
                        <a:pt x="155036" y="85992"/>
                      </a:cubicBezTo>
                      <a:cubicBezTo>
                        <a:pt x="155036" y="67162"/>
                        <a:pt x="148132" y="50214"/>
                        <a:pt x="134951" y="37033"/>
                      </a:cubicBezTo>
                      <a:cubicBezTo>
                        <a:pt x="121769" y="23852"/>
                        <a:pt x="104195" y="16947"/>
                        <a:pt x="85992" y="16947"/>
                      </a:cubicBezTo>
                      <a:lnTo>
                        <a:pt x="85992" y="16947"/>
                      </a:lnTo>
                      <a:close/>
                    </a:path>
                  </a:pathLst>
                </a:custGeom>
                <a:grpFill/>
                <a:ln w="62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280" name="Forma Livre: Forma 279">
                  <a:extLst>
                    <a:ext uri="{FF2B5EF4-FFF2-40B4-BE49-F238E27FC236}">
                      <a16:creationId xmlns:a16="http://schemas.microsoft.com/office/drawing/2014/main" id="{71506264-33CF-4AA4-AF39-B2A913099039}"/>
                    </a:ext>
                  </a:extLst>
                </p:cNvPr>
                <p:cNvSpPr/>
                <p:nvPr/>
              </p:nvSpPr>
              <p:spPr>
                <a:xfrm>
                  <a:off x="4613782" y="3834437"/>
                  <a:ext cx="120513" cy="124907"/>
                </a:xfrm>
                <a:custGeom>
                  <a:avLst/>
                  <a:gdLst>
                    <a:gd name="connsiteX0" fmla="*/ 60885 w 120513"/>
                    <a:gd name="connsiteY0" fmla="*/ 0 h 124907"/>
                    <a:gd name="connsiteX1" fmla="*/ 39544 w 120513"/>
                    <a:gd name="connsiteY1" fmla="*/ 7532 h 124907"/>
                    <a:gd name="connsiteX2" fmla="*/ 34522 w 120513"/>
                    <a:gd name="connsiteY2" fmla="*/ 26990 h 124907"/>
                    <a:gd name="connsiteX3" fmla="*/ 35150 w 120513"/>
                    <a:gd name="connsiteY3" fmla="*/ 35150 h 124907"/>
                    <a:gd name="connsiteX4" fmla="*/ 33894 w 120513"/>
                    <a:gd name="connsiteY4" fmla="*/ 34522 h 124907"/>
                    <a:gd name="connsiteX5" fmla="*/ 33894 w 120513"/>
                    <a:gd name="connsiteY5" fmla="*/ 34522 h 124907"/>
                    <a:gd name="connsiteX6" fmla="*/ 31384 w 120513"/>
                    <a:gd name="connsiteY6" fmla="*/ 37661 h 124907"/>
                    <a:gd name="connsiteX7" fmla="*/ 32639 w 120513"/>
                    <a:gd name="connsiteY7" fmla="*/ 51470 h 124907"/>
                    <a:gd name="connsiteX8" fmla="*/ 35150 w 120513"/>
                    <a:gd name="connsiteY8" fmla="*/ 53980 h 124907"/>
                    <a:gd name="connsiteX9" fmla="*/ 35150 w 120513"/>
                    <a:gd name="connsiteY9" fmla="*/ 53980 h 124907"/>
                    <a:gd name="connsiteX10" fmla="*/ 37033 w 120513"/>
                    <a:gd name="connsiteY10" fmla="*/ 53353 h 124907"/>
                    <a:gd name="connsiteX11" fmla="*/ 38288 w 120513"/>
                    <a:gd name="connsiteY11" fmla="*/ 62768 h 124907"/>
                    <a:gd name="connsiteX12" fmla="*/ 43938 w 120513"/>
                    <a:gd name="connsiteY12" fmla="*/ 70300 h 124907"/>
                    <a:gd name="connsiteX13" fmla="*/ 45193 w 120513"/>
                    <a:gd name="connsiteY13" fmla="*/ 80343 h 124907"/>
                    <a:gd name="connsiteX14" fmla="*/ 5021 w 120513"/>
                    <a:gd name="connsiteY14" fmla="*/ 91641 h 124907"/>
                    <a:gd name="connsiteX15" fmla="*/ 0 w 120513"/>
                    <a:gd name="connsiteY15" fmla="*/ 96662 h 124907"/>
                    <a:gd name="connsiteX16" fmla="*/ 5649 w 120513"/>
                    <a:gd name="connsiteY16" fmla="*/ 102312 h 124907"/>
                    <a:gd name="connsiteX17" fmla="*/ 60257 w 120513"/>
                    <a:gd name="connsiteY17" fmla="*/ 124908 h 124907"/>
                    <a:gd name="connsiteX18" fmla="*/ 114865 w 120513"/>
                    <a:gd name="connsiteY18" fmla="*/ 102312 h 124907"/>
                    <a:gd name="connsiteX19" fmla="*/ 120514 w 120513"/>
                    <a:gd name="connsiteY19" fmla="*/ 96662 h 124907"/>
                    <a:gd name="connsiteX20" fmla="*/ 115493 w 120513"/>
                    <a:gd name="connsiteY20" fmla="*/ 91641 h 124907"/>
                    <a:gd name="connsiteX21" fmla="*/ 75321 w 120513"/>
                    <a:gd name="connsiteY21" fmla="*/ 80343 h 124907"/>
                    <a:gd name="connsiteX22" fmla="*/ 76576 w 120513"/>
                    <a:gd name="connsiteY22" fmla="*/ 70300 h 124907"/>
                    <a:gd name="connsiteX23" fmla="*/ 82226 w 120513"/>
                    <a:gd name="connsiteY23" fmla="*/ 62768 h 124907"/>
                    <a:gd name="connsiteX24" fmla="*/ 83481 w 120513"/>
                    <a:gd name="connsiteY24" fmla="*/ 53353 h 124907"/>
                    <a:gd name="connsiteX25" fmla="*/ 85364 w 120513"/>
                    <a:gd name="connsiteY25" fmla="*/ 53980 h 124907"/>
                    <a:gd name="connsiteX26" fmla="*/ 85364 w 120513"/>
                    <a:gd name="connsiteY26" fmla="*/ 53980 h 124907"/>
                    <a:gd name="connsiteX27" fmla="*/ 87875 w 120513"/>
                    <a:gd name="connsiteY27" fmla="*/ 51470 h 124907"/>
                    <a:gd name="connsiteX28" fmla="*/ 89130 w 120513"/>
                    <a:gd name="connsiteY28" fmla="*/ 37661 h 124907"/>
                    <a:gd name="connsiteX29" fmla="*/ 86620 w 120513"/>
                    <a:gd name="connsiteY29" fmla="*/ 34522 h 124907"/>
                    <a:gd name="connsiteX30" fmla="*/ 86620 w 120513"/>
                    <a:gd name="connsiteY30" fmla="*/ 34522 h 124907"/>
                    <a:gd name="connsiteX31" fmla="*/ 85364 w 120513"/>
                    <a:gd name="connsiteY31" fmla="*/ 35150 h 124907"/>
                    <a:gd name="connsiteX32" fmla="*/ 86620 w 120513"/>
                    <a:gd name="connsiteY32" fmla="*/ 26990 h 124907"/>
                    <a:gd name="connsiteX33" fmla="*/ 81598 w 120513"/>
                    <a:gd name="connsiteY33" fmla="*/ 7532 h 124907"/>
                    <a:gd name="connsiteX34" fmla="*/ 60885 w 120513"/>
                    <a:gd name="connsiteY34" fmla="*/ 0 h 124907"/>
                    <a:gd name="connsiteX35" fmla="*/ 60885 w 120513"/>
                    <a:gd name="connsiteY35" fmla="*/ 0 h 1249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</a:cxnLst>
                  <a:rect l="l" t="t" r="r" b="b"/>
                  <a:pathLst>
                    <a:path w="120513" h="124907">
                      <a:moveTo>
                        <a:pt x="60885" y="0"/>
                      </a:moveTo>
                      <a:cubicBezTo>
                        <a:pt x="52725" y="0"/>
                        <a:pt x="44565" y="2510"/>
                        <a:pt x="39544" y="7532"/>
                      </a:cubicBezTo>
                      <a:cubicBezTo>
                        <a:pt x="32639" y="13809"/>
                        <a:pt x="34522" y="23852"/>
                        <a:pt x="34522" y="26990"/>
                      </a:cubicBezTo>
                      <a:cubicBezTo>
                        <a:pt x="34522" y="29501"/>
                        <a:pt x="35150" y="32639"/>
                        <a:pt x="35150" y="35150"/>
                      </a:cubicBezTo>
                      <a:cubicBezTo>
                        <a:pt x="34522" y="35150"/>
                        <a:pt x="34522" y="34522"/>
                        <a:pt x="33894" y="34522"/>
                      </a:cubicBezTo>
                      <a:cubicBezTo>
                        <a:pt x="33894" y="34522"/>
                        <a:pt x="33894" y="34522"/>
                        <a:pt x="33894" y="34522"/>
                      </a:cubicBezTo>
                      <a:cubicBezTo>
                        <a:pt x="32639" y="34522"/>
                        <a:pt x="31384" y="35778"/>
                        <a:pt x="31384" y="37661"/>
                      </a:cubicBezTo>
                      <a:lnTo>
                        <a:pt x="32639" y="51470"/>
                      </a:lnTo>
                      <a:cubicBezTo>
                        <a:pt x="32639" y="52725"/>
                        <a:pt x="33894" y="53980"/>
                        <a:pt x="35150" y="53980"/>
                      </a:cubicBezTo>
                      <a:cubicBezTo>
                        <a:pt x="35150" y="53980"/>
                        <a:pt x="35150" y="53980"/>
                        <a:pt x="35150" y="53980"/>
                      </a:cubicBezTo>
                      <a:cubicBezTo>
                        <a:pt x="35777" y="53980"/>
                        <a:pt x="36405" y="53353"/>
                        <a:pt x="37033" y="53353"/>
                      </a:cubicBezTo>
                      <a:cubicBezTo>
                        <a:pt x="37661" y="56491"/>
                        <a:pt x="37661" y="59629"/>
                        <a:pt x="38288" y="62768"/>
                      </a:cubicBezTo>
                      <a:cubicBezTo>
                        <a:pt x="38288" y="65278"/>
                        <a:pt x="40799" y="67789"/>
                        <a:pt x="43938" y="70300"/>
                      </a:cubicBezTo>
                      <a:cubicBezTo>
                        <a:pt x="44565" y="73438"/>
                        <a:pt x="44565" y="76577"/>
                        <a:pt x="45193" y="80343"/>
                      </a:cubicBezTo>
                      <a:cubicBezTo>
                        <a:pt x="31384" y="82226"/>
                        <a:pt x="17575" y="85992"/>
                        <a:pt x="5021" y="91641"/>
                      </a:cubicBezTo>
                      <a:cubicBezTo>
                        <a:pt x="3138" y="92896"/>
                        <a:pt x="1255" y="94779"/>
                        <a:pt x="0" y="96662"/>
                      </a:cubicBezTo>
                      <a:cubicBezTo>
                        <a:pt x="1883" y="98546"/>
                        <a:pt x="3766" y="100429"/>
                        <a:pt x="5649" y="102312"/>
                      </a:cubicBezTo>
                      <a:cubicBezTo>
                        <a:pt x="20713" y="117376"/>
                        <a:pt x="40799" y="124908"/>
                        <a:pt x="60257" y="124908"/>
                      </a:cubicBezTo>
                      <a:cubicBezTo>
                        <a:pt x="79715" y="124908"/>
                        <a:pt x="99801" y="117376"/>
                        <a:pt x="114865" y="102312"/>
                      </a:cubicBezTo>
                      <a:cubicBezTo>
                        <a:pt x="116748" y="100429"/>
                        <a:pt x="118631" y="98546"/>
                        <a:pt x="120514" y="96662"/>
                      </a:cubicBezTo>
                      <a:cubicBezTo>
                        <a:pt x="119259" y="94779"/>
                        <a:pt x="118004" y="92896"/>
                        <a:pt x="115493" y="91641"/>
                      </a:cubicBezTo>
                      <a:cubicBezTo>
                        <a:pt x="102939" y="85364"/>
                        <a:pt x="89130" y="81598"/>
                        <a:pt x="75321" y="80343"/>
                      </a:cubicBezTo>
                      <a:cubicBezTo>
                        <a:pt x="75949" y="77204"/>
                        <a:pt x="75949" y="74066"/>
                        <a:pt x="76576" y="70300"/>
                      </a:cubicBezTo>
                      <a:cubicBezTo>
                        <a:pt x="79715" y="68417"/>
                        <a:pt x="81598" y="65278"/>
                        <a:pt x="82226" y="62768"/>
                      </a:cubicBezTo>
                      <a:cubicBezTo>
                        <a:pt x="82853" y="59629"/>
                        <a:pt x="82853" y="56491"/>
                        <a:pt x="83481" y="53353"/>
                      </a:cubicBezTo>
                      <a:cubicBezTo>
                        <a:pt x="84109" y="53980"/>
                        <a:pt x="84737" y="53980"/>
                        <a:pt x="85364" y="53980"/>
                      </a:cubicBezTo>
                      <a:cubicBezTo>
                        <a:pt x="85364" y="53980"/>
                        <a:pt x="85364" y="53980"/>
                        <a:pt x="85364" y="53980"/>
                      </a:cubicBezTo>
                      <a:cubicBezTo>
                        <a:pt x="86620" y="53980"/>
                        <a:pt x="87875" y="52725"/>
                        <a:pt x="87875" y="51470"/>
                      </a:cubicBezTo>
                      <a:lnTo>
                        <a:pt x="89130" y="37661"/>
                      </a:lnTo>
                      <a:cubicBezTo>
                        <a:pt x="89130" y="36405"/>
                        <a:pt x="88503" y="35150"/>
                        <a:pt x="86620" y="34522"/>
                      </a:cubicBezTo>
                      <a:cubicBezTo>
                        <a:pt x="86620" y="34522"/>
                        <a:pt x="86620" y="34522"/>
                        <a:pt x="86620" y="34522"/>
                      </a:cubicBezTo>
                      <a:cubicBezTo>
                        <a:pt x="85992" y="34522"/>
                        <a:pt x="85992" y="34522"/>
                        <a:pt x="85364" y="35150"/>
                      </a:cubicBezTo>
                      <a:cubicBezTo>
                        <a:pt x="85992" y="32639"/>
                        <a:pt x="85992" y="29501"/>
                        <a:pt x="86620" y="26990"/>
                      </a:cubicBezTo>
                      <a:cubicBezTo>
                        <a:pt x="86620" y="23224"/>
                        <a:pt x="88503" y="13809"/>
                        <a:pt x="81598" y="7532"/>
                      </a:cubicBezTo>
                      <a:cubicBezTo>
                        <a:pt x="77204" y="2510"/>
                        <a:pt x="69045" y="0"/>
                        <a:pt x="60885" y="0"/>
                      </a:cubicBezTo>
                      <a:lnTo>
                        <a:pt x="60885" y="0"/>
                      </a:lnTo>
                      <a:close/>
                    </a:path>
                  </a:pathLst>
                </a:custGeom>
                <a:grpFill/>
                <a:ln w="62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</p:grpSp>
        <p:grpSp>
          <p:nvGrpSpPr>
            <p:cNvPr id="281" name="Gráfico 2">
              <a:extLst>
                <a:ext uri="{FF2B5EF4-FFF2-40B4-BE49-F238E27FC236}">
                  <a16:creationId xmlns:a16="http://schemas.microsoft.com/office/drawing/2014/main" id="{83F95F55-5D1D-4425-8D77-756B15108235}"/>
                </a:ext>
              </a:extLst>
            </p:cNvPr>
            <p:cNvGrpSpPr/>
            <p:nvPr/>
          </p:nvGrpSpPr>
          <p:grpSpPr>
            <a:xfrm>
              <a:off x="4628846" y="3652410"/>
              <a:ext cx="147975" cy="127418"/>
              <a:chOff x="4628846" y="3652410"/>
              <a:chExt cx="147975" cy="127418"/>
            </a:xfrm>
            <a:grpFill/>
          </p:grpSpPr>
          <p:sp>
            <p:nvSpPr>
              <p:cNvPr id="282" name="Forma Livre: Forma 281">
                <a:extLst>
                  <a:ext uri="{FF2B5EF4-FFF2-40B4-BE49-F238E27FC236}">
                    <a16:creationId xmlns:a16="http://schemas.microsoft.com/office/drawing/2014/main" id="{1124E224-5E18-4E85-9E6F-6DB4A84FE777}"/>
                  </a:ext>
                </a:extLst>
              </p:cNvPr>
              <p:cNvSpPr/>
              <p:nvPr/>
            </p:nvSpPr>
            <p:spPr>
              <a:xfrm>
                <a:off x="4675451" y="3720356"/>
                <a:ext cx="101370" cy="59472"/>
              </a:xfrm>
              <a:custGeom>
                <a:avLst/>
                <a:gdLst>
                  <a:gd name="connsiteX0" fmla="*/ 50685 w 101370"/>
                  <a:gd name="connsiteY0" fmla="*/ 59473 h 59472"/>
                  <a:gd name="connsiteX1" fmla="*/ 45036 w 101370"/>
                  <a:gd name="connsiteY1" fmla="*/ 56962 h 59472"/>
                  <a:gd name="connsiteX2" fmla="*/ 2354 w 101370"/>
                  <a:gd name="connsiteY2" fmla="*/ 14280 h 59472"/>
                  <a:gd name="connsiteX3" fmla="*/ 2354 w 101370"/>
                  <a:gd name="connsiteY3" fmla="*/ 2354 h 59472"/>
                  <a:gd name="connsiteX4" fmla="*/ 14280 w 101370"/>
                  <a:gd name="connsiteY4" fmla="*/ 2354 h 59472"/>
                  <a:gd name="connsiteX5" fmla="*/ 50685 w 101370"/>
                  <a:gd name="connsiteY5" fmla="*/ 38759 h 59472"/>
                  <a:gd name="connsiteX6" fmla="*/ 87090 w 101370"/>
                  <a:gd name="connsiteY6" fmla="*/ 2354 h 59472"/>
                  <a:gd name="connsiteX7" fmla="*/ 99016 w 101370"/>
                  <a:gd name="connsiteY7" fmla="*/ 2354 h 59472"/>
                  <a:gd name="connsiteX8" fmla="*/ 99016 w 101370"/>
                  <a:gd name="connsiteY8" fmla="*/ 14280 h 59472"/>
                  <a:gd name="connsiteX9" fmla="*/ 56334 w 101370"/>
                  <a:gd name="connsiteY9" fmla="*/ 56962 h 59472"/>
                  <a:gd name="connsiteX10" fmla="*/ 50685 w 101370"/>
                  <a:gd name="connsiteY10" fmla="*/ 59473 h 59472"/>
                  <a:gd name="connsiteX11" fmla="*/ 50685 w 101370"/>
                  <a:gd name="connsiteY11" fmla="*/ 59473 h 59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1370" h="59472">
                    <a:moveTo>
                      <a:pt x="50685" y="59473"/>
                    </a:moveTo>
                    <a:cubicBezTo>
                      <a:pt x="48802" y="59473"/>
                      <a:pt x="46291" y="58845"/>
                      <a:pt x="45036" y="56962"/>
                    </a:cubicBezTo>
                    <a:lnTo>
                      <a:pt x="2354" y="14280"/>
                    </a:lnTo>
                    <a:cubicBezTo>
                      <a:pt x="-785" y="11141"/>
                      <a:pt x="-785" y="5492"/>
                      <a:pt x="2354" y="2354"/>
                    </a:cubicBezTo>
                    <a:cubicBezTo>
                      <a:pt x="5492" y="-785"/>
                      <a:pt x="11141" y="-785"/>
                      <a:pt x="14280" y="2354"/>
                    </a:cubicBezTo>
                    <a:lnTo>
                      <a:pt x="50685" y="38759"/>
                    </a:lnTo>
                    <a:lnTo>
                      <a:pt x="87090" y="2354"/>
                    </a:lnTo>
                    <a:cubicBezTo>
                      <a:pt x="90229" y="-785"/>
                      <a:pt x="95878" y="-785"/>
                      <a:pt x="99016" y="2354"/>
                    </a:cubicBezTo>
                    <a:cubicBezTo>
                      <a:pt x="102155" y="5492"/>
                      <a:pt x="102155" y="11141"/>
                      <a:pt x="99016" y="14280"/>
                    </a:cubicBezTo>
                    <a:lnTo>
                      <a:pt x="56334" y="56962"/>
                    </a:lnTo>
                    <a:cubicBezTo>
                      <a:pt x="54451" y="58217"/>
                      <a:pt x="52568" y="59473"/>
                      <a:pt x="50685" y="59473"/>
                    </a:cubicBezTo>
                    <a:lnTo>
                      <a:pt x="50685" y="59473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83" name="Forma Livre: Forma 282">
                <a:extLst>
                  <a:ext uri="{FF2B5EF4-FFF2-40B4-BE49-F238E27FC236}">
                    <a16:creationId xmlns:a16="http://schemas.microsoft.com/office/drawing/2014/main" id="{4EE5A8B7-06F6-4AF5-A450-F943B4FF5A87}"/>
                  </a:ext>
                </a:extLst>
              </p:cNvPr>
              <p:cNvSpPr/>
              <p:nvPr/>
            </p:nvSpPr>
            <p:spPr>
              <a:xfrm>
                <a:off x="4628846" y="3652410"/>
                <a:ext cx="108594" cy="111099"/>
              </a:xfrm>
              <a:custGeom>
                <a:avLst/>
                <a:gdLst>
                  <a:gd name="connsiteX0" fmla="*/ 99801 w 108594"/>
                  <a:gd name="connsiteY0" fmla="*/ 111099 h 111099"/>
                  <a:gd name="connsiteX1" fmla="*/ 99801 w 108594"/>
                  <a:gd name="connsiteY1" fmla="*/ 111099 h 111099"/>
                  <a:gd name="connsiteX2" fmla="*/ 91641 w 108594"/>
                  <a:gd name="connsiteY2" fmla="*/ 102939 h 111099"/>
                  <a:gd name="connsiteX3" fmla="*/ 8160 w 108594"/>
                  <a:gd name="connsiteY3" fmla="*/ 16947 h 111099"/>
                  <a:gd name="connsiteX4" fmla="*/ 0 w 108594"/>
                  <a:gd name="connsiteY4" fmla="*/ 8160 h 111099"/>
                  <a:gd name="connsiteX5" fmla="*/ 8160 w 108594"/>
                  <a:gd name="connsiteY5" fmla="*/ 0 h 111099"/>
                  <a:gd name="connsiteX6" fmla="*/ 8160 w 108594"/>
                  <a:gd name="connsiteY6" fmla="*/ 0 h 111099"/>
                  <a:gd name="connsiteX7" fmla="*/ 108588 w 108594"/>
                  <a:gd name="connsiteY7" fmla="*/ 102939 h 111099"/>
                  <a:gd name="connsiteX8" fmla="*/ 99801 w 108594"/>
                  <a:gd name="connsiteY8" fmla="*/ 111099 h 111099"/>
                  <a:gd name="connsiteX9" fmla="*/ 99801 w 108594"/>
                  <a:gd name="connsiteY9" fmla="*/ 111099 h 111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8594" h="111099">
                    <a:moveTo>
                      <a:pt x="99801" y="111099"/>
                    </a:moveTo>
                    <a:cubicBezTo>
                      <a:pt x="99801" y="111099"/>
                      <a:pt x="99801" y="111099"/>
                      <a:pt x="99801" y="111099"/>
                    </a:cubicBezTo>
                    <a:cubicBezTo>
                      <a:pt x="94780" y="111099"/>
                      <a:pt x="91641" y="107333"/>
                      <a:pt x="91641" y="102939"/>
                    </a:cubicBezTo>
                    <a:cubicBezTo>
                      <a:pt x="92269" y="55863"/>
                      <a:pt x="54608" y="17575"/>
                      <a:pt x="8160" y="16947"/>
                    </a:cubicBezTo>
                    <a:cubicBezTo>
                      <a:pt x="3766" y="16947"/>
                      <a:pt x="0" y="13181"/>
                      <a:pt x="0" y="8160"/>
                    </a:cubicBezTo>
                    <a:cubicBezTo>
                      <a:pt x="0" y="3766"/>
                      <a:pt x="3766" y="0"/>
                      <a:pt x="8160" y="0"/>
                    </a:cubicBezTo>
                    <a:cubicBezTo>
                      <a:pt x="8160" y="0"/>
                      <a:pt x="8160" y="0"/>
                      <a:pt x="8160" y="0"/>
                    </a:cubicBezTo>
                    <a:cubicBezTo>
                      <a:pt x="64023" y="628"/>
                      <a:pt x="109216" y="47076"/>
                      <a:pt x="108588" y="102939"/>
                    </a:cubicBezTo>
                    <a:cubicBezTo>
                      <a:pt x="107961" y="107333"/>
                      <a:pt x="104195" y="111099"/>
                      <a:pt x="99801" y="111099"/>
                    </a:cubicBezTo>
                    <a:lnTo>
                      <a:pt x="99801" y="111099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284" name="Gráfico 2">
              <a:extLst>
                <a:ext uri="{FF2B5EF4-FFF2-40B4-BE49-F238E27FC236}">
                  <a16:creationId xmlns:a16="http://schemas.microsoft.com/office/drawing/2014/main" id="{83F95F55-5D1D-4425-8D77-756B15108235}"/>
                </a:ext>
              </a:extLst>
            </p:cNvPr>
            <p:cNvGrpSpPr/>
            <p:nvPr/>
          </p:nvGrpSpPr>
          <p:grpSpPr>
            <a:xfrm>
              <a:off x="4381770" y="3653970"/>
              <a:ext cx="79808" cy="164775"/>
              <a:chOff x="4381770" y="3653970"/>
              <a:chExt cx="79808" cy="164775"/>
            </a:xfrm>
            <a:grpFill/>
          </p:grpSpPr>
          <p:sp>
            <p:nvSpPr>
              <p:cNvPr id="285" name="Forma Livre: Forma 284">
                <a:extLst>
                  <a:ext uri="{FF2B5EF4-FFF2-40B4-BE49-F238E27FC236}">
                    <a16:creationId xmlns:a16="http://schemas.microsoft.com/office/drawing/2014/main" id="{91EE2D6E-738D-4A16-BE54-724489C4187F}"/>
                  </a:ext>
                </a:extLst>
              </p:cNvPr>
              <p:cNvSpPr/>
              <p:nvPr/>
            </p:nvSpPr>
            <p:spPr>
              <a:xfrm>
                <a:off x="4387494" y="3653970"/>
                <a:ext cx="74084" cy="90081"/>
              </a:xfrm>
              <a:custGeom>
                <a:avLst/>
                <a:gdLst>
                  <a:gd name="connsiteX0" fmla="*/ 50537 w 74084"/>
                  <a:gd name="connsiteY0" fmla="*/ 90081 h 90081"/>
                  <a:gd name="connsiteX1" fmla="*/ 48654 w 74084"/>
                  <a:gd name="connsiteY1" fmla="*/ 90081 h 90081"/>
                  <a:gd name="connsiteX2" fmla="*/ 43005 w 74084"/>
                  <a:gd name="connsiteY2" fmla="*/ 80038 h 90081"/>
                  <a:gd name="connsiteX3" fmla="*/ 56186 w 74084"/>
                  <a:gd name="connsiteY3" fmla="*/ 29824 h 90081"/>
                  <a:gd name="connsiteX4" fmla="*/ 5972 w 74084"/>
                  <a:gd name="connsiteY4" fmla="*/ 16015 h 90081"/>
                  <a:gd name="connsiteX5" fmla="*/ 323 w 74084"/>
                  <a:gd name="connsiteY5" fmla="*/ 5972 h 90081"/>
                  <a:gd name="connsiteX6" fmla="*/ 10366 w 74084"/>
                  <a:gd name="connsiteY6" fmla="*/ 323 h 90081"/>
                  <a:gd name="connsiteX7" fmla="*/ 68113 w 74084"/>
                  <a:gd name="connsiteY7" fmla="*/ 16015 h 90081"/>
                  <a:gd name="connsiteX8" fmla="*/ 73762 w 74084"/>
                  <a:gd name="connsiteY8" fmla="*/ 26058 h 90081"/>
                  <a:gd name="connsiteX9" fmla="*/ 58070 w 74084"/>
                  <a:gd name="connsiteY9" fmla="*/ 84432 h 90081"/>
                  <a:gd name="connsiteX10" fmla="*/ 50537 w 74084"/>
                  <a:gd name="connsiteY10" fmla="*/ 90081 h 90081"/>
                  <a:gd name="connsiteX11" fmla="*/ 50537 w 74084"/>
                  <a:gd name="connsiteY11" fmla="*/ 90081 h 900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4084" h="90081">
                    <a:moveTo>
                      <a:pt x="50537" y="90081"/>
                    </a:moveTo>
                    <a:cubicBezTo>
                      <a:pt x="49910" y="90081"/>
                      <a:pt x="49282" y="90081"/>
                      <a:pt x="48654" y="90081"/>
                    </a:cubicBezTo>
                    <a:cubicBezTo>
                      <a:pt x="44261" y="88826"/>
                      <a:pt x="41750" y="84432"/>
                      <a:pt x="43005" y="80038"/>
                    </a:cubicBezTo>
                    <a:lnTo>
                      <a:pt x="56186" y="29824"/>
                    </a:lnTo>
                    <a:lnTo>
                      <a:pt x="5972" y="16015"/>
                    </a:lnTo>
                    <a:cubicBezTo>
                      <a:pt x="1579" y="14760"/>
                      <a:pt x="-932" y="10366"/>
                      <a:pt x="323" y="5972"/>
                    </a:cubicBezTo>
                    <a:cubicBezTo>
                      <a:pt x="1579" y="1579"/>
                      <a:pt x="5972" y="-932"/>
                      <a:pt x="10366" y="323"/>
                    </a:cubicBezTo>
                    <a:lnTo>
                      <a:pt x="68113" y="16015"/>
                    </a:lnTo>
                    <a:cubicBezTo>
                      <a:pt x="72506" y="17271"/>
                      <a:pt x="75017" y="21664"/>
                      <a:pt x="73762" y="26058"/>
                    </a:cubicBezTo>
                    <a:lnTo>
                      <a:pt x="58070" y="84432"/>
                    </a:lnTo>
                    <a:cubicBezTo>
                      <a:pt x="58070" y="87571"/>
                      <a:pt x="54304" y="90081"/>
                      <a:pt x="50537" y="90081"/>
                    </a:cubicBezTo>
                    <a:lnTo>
                      <a:pt x="50537" y="90081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86" name="Forma Livre: Forma 285">
                <a:extLst>
                  <a:ext uri="{FF2B5EF4-FFF2-40B4-BE49-F238E27FC236}">
                    <a16:creationId xmlns:a16="http://schemas.microsoft.com/office/drawing/2014/main" id="{86A51693-3698-4DAE-931E-7D729D43358E}"/>
                  </a:ext>
                </a:extLst>
              </p:cNvPr>
              <p:cNvSpPr/>
              <p:nvPr/>
            </p:nvSpPr>
            <p:spPr>
              <a:xfrm>
                <a:off x="4381770" y="3675119"/>
                <a:ext cx="64308" cy="143626"/>
              </a:xfrm>
              <a:custGeom>
                <a:avLst/>
                <a:gdLst>
                  <a:gd name="connsiteX0" fmla="*/ 20484 w 64308"/>
                  <a:gd name="connsiteY0" fmla="*/ 143626 h 143626"/>
                  <a:gd name="connsiteX1" fmla="*/ 12951 w 64308"/>
                  <a:gd name="connsiteY1" fmla="*/ 139233 h 143626"/>
                  <a:gd name="connsiteX2" fmla="*/ 51868 w 64308"/>
                  <a:gd name="connsiteY2" fmla="*/ 1143 h 143626"/>
                  <a:gd name="connsiteX3" fmla="*/ 63166 w 64308"/>
                  <a:gd name="connsiteY3" fmla="*/ 4282 h 143626"/>
                  <a:gd name="connsiteX4" fmla="*/ 60027 w 64308"/>
                  <a:gd name="connsiteY4" fmla="*/ 15580 h 143626"/>
                  <a:gd name="connsiteX5" fmla="*/ 27388 w 64308"/>
                  <a:gd name="connsiteY5" fmla="*/ 131073 h 143626"/>
                  <a:gd name="connsiteX6" fmla="*/ 24250 w 64308"/>
                  <a:gd name="connsiteY6" fmla="*/ 142371 h 143626"/>
                  <a:gd name="connsiteX7" fmla="*/ 20484 w 64308"/>
                  <a:gd name="connsiteY7" fmla="*/ 143626 h 143626"/>
                  <a:gd name="connsiteX8" fmla="*/ 20484 w 64308"/>
                  <a:gd name="connsiteY8" fmla="*/ 143626 h 1436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4308" h="143626">
                    <a:moveTo>
                      <a:pt x="20484" y="143626"/>
                    </a:moveTo>
                    <a:cubicBezTo>
                      <a:pt x="17345" y="143626"/>
                      <a:pt x="14834" y="142371"/>
                      <a:pt x="12951" y="139233"/>
                    </a:cubicBezTo>
                    <a:cubicBezTo>
                      <a:pt x="-14666" y="90274"/>
                      <a:pt x="3536" y="28133"/>
                      <a:pt x="51868" y="1143"/>
                    </a:cubicBezTo>
                    <a:cubicBezTo>
                      <a:pt x="55634" y="-1367"/>
                      <a:pt x="60655" y="515"/>
                      <a:pt x="63166" y="4282"/>
                    </a:cubicBezTo>
                    <a:cubicBezTo>
                      <a:pt x="65676" y="8048"/>
                      <a:pt x="63793" y="13069"/>
                      <a:pt x="60027" y="15580"/>
                    </a:cubicBezTo>
                    <a:cubicBezTo>
                      <a:pt x="19228" y="38176"/>
                      <a:pt x="4164" y="90274"/>
                      <a:pt x="27388" y="131073"/>
                    </a:cubicBezTo>
                    <a:cubicBezTo>
                      <a:pt x="29899" y="134839"/>
                      <a:pt x="28016" y="139860"/>
                      <a:pt x="24250" y="142371"/>
                    </a:cubicBezTo>
                    <a:cubicBezTo>
                      <a:pt x="22994" y="142998"/>
                      <a:pt x="21739" y="143626"/>
                      <a:pt x="20484" y="143626"/>
                    </a:cubicBezTo>
                    <a:lnTo>
                      <a:pt x="20484" y="143626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287" name="Gráfico 2">
              <a:extLst>
                <a:ext uri="{FF2B5EF4-FFF2-40B4-BE49-F238E27FC236}">
                  <a16:creationId xmlns:a16="http://schemas.microsoft.com/office/drawing/2014/main" id="{83F95F55-5D1D-4425-8D77-756B15108235}"/>
                </a:ext>
              </a:extLst>
            </p:cNvPr>
            <p:cNvGrpSpPr/>
            <p:nvPr/>
          </p:nvGrpSpPr>
          <p:grpSpPr>
            <a:xfrm>
              <a:off x="4501104" y="3955341"/>
              <a:ext cx="157480" cy="96900"/>
              <a:chOff x="4501104" y="3955341"/>
              <a:chExt cx="157480" cy="96900"/>
            </a:xfrm>
            <a:grpFill/>
          </p:grpSpPr>
          <p:sp>
            <p:nvSpPr>
              <p:cNvPr id="288" name="Forma Livre: Forma 287">
                <a:extLst>
                  <a:ext uri="{FF2B5EF4-FFF2-40B4-BE49-F238E27FC236}">
                    <a16:creationId xmlns:a16="http://schemas.microsoft.com/office/drawing/2014/main" id="{ED6533FF-DDAE-4A68-B127-6116FEC4F839}"/>
                  </a:ext>
                </a:extLst>
              </p:cNvPr>
              <p:cNvSpPr/>
              <p:nvPr/>
            </p:nvSpPr>
            <p:spPr>
              <a:xfrm>
                <a:off x="4501104" y="3961532"/>
                <a:ext cx="74712" cy="90709"/>
              </a:xfrm>
              <a:custGeom>
                <a:avLst/>
                <a:gdLst>
                  <a:gd name="connsiteX0" fmla="*/ 24175 w 74712"/>
                  <a:gd name="connsiteY0" fmla="*/ 90709 h 90709"/>
                  <a:gd name="connsiteX1" fmla="*/ 16015 w 74712"/>
                  <a:gd name="connsiteY1" fmla="*/ 84432 h 90709"/>
                  <a:gd name="connsiteX2" fmla="*/ 323 w 74712"/>
                  <a:gd name="connsiteY2" fmla="*/ 26058 h 90709"/>
                  <a:gd name="connsiteX3" fmla="*/ 5972 w 74712"/>
                  <a:gd name="connsiteY3" fmla="*/ 16015 h 90709"/>
                  <a:gd name="connsiteX4" fmla="*/ 64346 w 74712"/>
                  <a:gd name="connsiteY4" fmla="*/ 323 h 90709"/>
                  <a:gd name="connsiteX5" fmla="*/ 74389 w 74712"/>
                  <a:gd name="connsiteY5" fmla="*/ 5972 h 90709"/>
                  <a:gd name="connsiteX6" fmla="*/ 68740 w 74712"/>
                  <a:gd name="connsiteY6" fmla="*/ 16015 h 90709"/>
                  <a:gd name="connsiteX7" fmla="*/ 18526 w 74712"/>
                  <a:gd name="connsiteY7" fmla="*/ 29196 h 90709"/>
                  <a:gd name="connsiteX8" fmla="*/ 31707 w 74712"/>
                  <a:gd name="connsiteY8" fmla="*/ 79411 h 90709"/>
                  <a:gd name="connsiteX9" fmla="*/ 26058 w 74712"/>
                  <a:gd name="connsiteY9" fmla="*/ 89454 h 90709"/>
                  <a:gd name="connsiteX10" fmla="*/ 24175 w 74712"/>
                  <a:gd name="connsiteY10" fmla="*/ 90709 h 90709"/>
                  <a:gd name="connsiteX11" fmla="*/ 24175 w 74712"/>
                  <a:gd name="connsiteY11" fmla="*/ 90709 h 907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4712" h="90709">
                    <a:moveTo>
                      <a:pt x="24175" y="90709"/>
                    </a:moveTo>
                    <a:cubicBezTo>
                      <a:pt x="20409" y="90709"/>
                      <a:pt x="17271" y="88198"/>
                      <a:pt x="16015" y="84432"/>
                    </a:cubicBezTo>
                    <a:lnTo>
                      <a:pt x="323" y="26058"/>
                    </a:lnTo>
                    <a:cubicBezTo>
                      <a:pt x="-932" y="21664"/>
                      <a:pt x="1579" y="17271"/>
                      <a:pt x="5972" y="16015"/>
                    </a:cubicBezTo>
                    <a:lnTo>
                      <a:pt x="64346" y="323"/>
                    </a:lnTo>
                    <a:cubicBezTo>
                      <a:pt x="68740" y="-932"/>
                      <a:pt x="73134" y="1579"/>
                      <a:pt x="74389" y="5972"/>
                    </a:cubicBezTo>
                    <a:cubicBezTo>
                      <a:pt x="75645" y="10366"/>
                      <a:pt x="73134" y="14760"/>
                      <a:pt x="68740" y="16015"/>
                    </a:cubicBezTo>
                    <a:lnTo>
                      <a:pt x="18526" y="29196"/>
                    </a:lnTo>
                    <a:lnTo>
                      <a:pt x="31707" y="79411"/>
                    </a:lnTo>
                    <a:cubicBezTo>
                      <a:pt x="32963" y="83804"/>
                      <a:pt x="30452" y="88198"/>
                      <a:pt x="26058" y="89454"/>
                    </a:cubicBezTo>
                    <a:cubicBezTo>
                      <a:pt x="26058" y="90709"/>
                      <a:pt x="24803" y="90709"/>
                      <a:pt x="24175" y="90709"/>
                    </a:cubicBezTo>
                    <a:lnTo>
                      <a:pt x="24175" y="90709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89" name="Forma Livre: Forma 288">
                <a:extLst>
                  <a:ext uri="{FF2B5EF4-FFF2-40B4-BE49-F238E27FC236}">
                    <a16:creationId xmlns:a16="http://schemas.microsoft.com/office/drawing/2014/main" id="{B19B838F-A240-48C9-B766-BF4FFCE19281}"/>
                  </a:ext>
                </a:extLst>
              </p:cNvPr>
              <p:cNvSpPr/>
              <p:nvPr/>
            </p:nvSpPr>
            <p:spPr>
              <a:xfrm>
                <a:off x="4514371" y="3955341"/>
                <a:ext cx="144213" cy="62377"/>
              </a:xfrm>
              <a:custGeom>
                <a:avLst/>
                <a:gdLst>
                  <a:gd name="connsiteX0" fmla="*/ 56101 w 144213"/>
                  <a:gd name="connsiteY0" fmla="*/ 62378 h 62377"/>
                  <a:gd name="connsiteX1" fmla="*/ 4004 w 144213"/>
                  <a:gd name="connsiteY1" fmla="*/ 47941 h 62377"/>
                  <a:gd name="connsiteX2" fmla="*/ 865 w 144213"/>
                  <a:gd name="connsiteY2" fmla="*/ 36643 h 62377"/>
                  <a:gd name="connsiteX3" fmla="*/ 12163 w 144213"/>
                  <a:gd name="connsiteY3" fmla="*/ 33504 h 62377"/>
                  <a:gd name="connsiteX4" fmla="*/ 128911 w 144213"/>
                  <a:gd name="connsiteY4" fmla="*/ 4003 h 62377"/>
                  <a:gd name="connsiteX5" fmla="*/ 140210 w 144213"/>
                  <a:gd name="connsiteY5" fmla="*/ 865 h 62377"/>
                  <a:gd name="connsiteX6" fmla="*/ 143348 w 144213"/>
                  <a:gd name="connsiteY6" fmla="*/ 12164 h 62377"/>
                  <a:gd name="connsiteX7" fmla="*/ 56101 w 144213"/>
                  <a:gd name="connsiteY7" fmla="*/ 62378 h 62377"/>
                  <a:gd name="connsiteX8" fmla="*/ 56101 w 144213"/>
                  <a:gd name="connsiteY8" fmla="*/ 62378 h 623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4213" h="62377">
                    <a:moveTo>
                      <a:pt x="56101" y="62378"/>
                    </a:moveTo>
                    <a:cubicBezTo>
                      <a:pt x="38526" y="62378"/>
                      <a:pt x="20323" y="57984"/>
                      <a:pt x="4004" y="47941"/>
                    </a:cubicBezTo>
                    <a:cubicBezTo>
                      <a:pt x="237" y="45430"/>
                      <a:pt x="-1018" y="40409"/>
                      <a:pt x="865" y="36643"/>
                    </a:cubicBezTo>
                    <a:cubicBezTo>
                      <a:pt x="3376" y="32877"/>
                      <a:pt x="8397" y="31621"/>
                      <a:pt x="12163" y="33504"/>
                    </a:cubicBezTo>
                    <a:cubicBezTo>
                      <a:pt x="52335" y="57356"/>
                      <a:pt x="104432" y="44175"/>
                      <a:pt x="128911" y="4003"/>
                    </a:cubicBezTo>
                    <a:cubicBezTo>
                      <a:pt x="131422" y="238"/>
                      <a:pt x="136444" y="-1018"/>
                      <a:pt x="140210" y="865"/>
                    </a:cubicBezTo>
                    <a:cubicBezTo>
                      <a:pt x="143976" y="3376"/>
                      <a:pt x="145231" y="8397"/>
                      <a:pt x="143348" y="12164"/>
                    </a:cubicBezTo>
                    <a:cubicBezTo>
                      <a:pt x="124518" y="44803"/>
                      <a:pt x="90623" y="62378"/>
                      <a:pt x="56101" y="62378"/>
                    </a:cubicBezTo>
                    <a:lnTo>
                      <a:pt x="56101" y="62378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290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7435825" y="2634315"/>
            <a:ext cx="394810" cy="290615"/>
            <a:chOff x="7435825" y="2634315"/>
            <a:chExt cx="394810" cy="290615"/>
          </a:xfrm>
          <a:solidFill>
            <a:srgbClr val="B1B1A1"/>
          </a:solidFill>
        </p:grpSpPr>
        <p:sp>
          <p:nvSpPr>
            <p:cNvPr id="291" name="Forma Livre: Forma 290">
              <a:extLst>
                <a:ext uri="{FF2B5EF4-FFF2-40B4-BE49-F238E27FC236}">
                  <a16:creationId xmlns:a16="http://schemas.microsoft.com/office/drawing/2014/main" id="{F21F333C-EF9F-4F05-B3C4-77A52EA3484F}"/>
                </a:ext>
              </a:extLst>
            </p:cNvPr>
            <p:cNvSpPr/>
            <p:nvPr/>
          </p:nvSpPr>
          <p:spPr>
            <a:xfrm>
              <a:off x="7511147" y="2656912"/>
              <a:ext cx="244167" cy="244166"/>
            </a:xfrm>
            <a:custGeom>
              <a:avLst/>
              <a:gdLst>
                <a:gd name="connsiteX0" fmla="*/ 227219 w 244167"/>
                <a:gd name="connsiteY0" fmla="*/ 244167 h 244166"/>
                <a:gd name="connsiteX1" fmla="*/ 16947 w 244167"/>
                <a:gd name="connsiteY1" fmla="*/ 244167 h 244166"/>
                <a:gd name="connsiteX2" fmla="*/ 0 w 244167"/>
                <a:gd name="connsiteY2" fmla="*/ 227220 h 244166"/>
                <a:gd name="connsiteX3" fmla="*/ 0 w 244167"/>
                <a:gd name="connsiteY3" fmla="*/ 16947 h 244166"/>
                <a:gd name="connsiteX4" fmla="*/ 16947 w 244167"/>
                <a:gd name="connsiteY4" fmla="*/ 0 h 244166"/>
                <a:gd name="connsiteX5" fmla="*/ 227219 w 244167"/>
                <a:gd name="connsiteY5" fmla="*/ 0 h 244166"/>
                <a:gd name="connsiteX6" fmla="*/ 244167 w 244167"/>
                <a:gd name="connsiteY6" fmla="*/ 16947 h 244166"/>
                <a:gd name="connsiteX7" fmla="*/ 244167 w 244167"/>
                <a:gd name="connsiteY7" fmla="*/ 227220 h 244166"/>
                <a:gd name="connsiteX8" fmla="*/ 227219 w 244167"/>
                <a:gd name="connsiteY8" fmla="*/ 244167 h 244166"/>
                <a:gd name="connsiteX9" fmla="*/ 227219 w 244167"/>
                <a:gd name="connsiteY9" fmla="*/ 244167 h 244166"/>
                <a:gd name="connsiteX10" fmla="*/ 33267 w 244167"/>
                <a:gd name="connsiteY10" fmla="*/ 210900 h 244166"/>
                <a:gd name="connsiteX11" fmla="*/ 210272 w 244167"/>
                <a:gd name="connsiteY11" fmla="*/ 210900 h 244166"/>
                <a:gd name="connsiteX12" fmla="*/ 210272 w 244167"/>
                <a:gd name="connsiteY12" fmla="*/ 33895 h 244166"/>
                <a:gd name="connsiteX13" fmla="*/ 33267 w 244167"/>
                <a:gd name="connsiteY13" fmla="*/ 33895 h 244166"/>
                <a:gd name="connsiteX14" fmla="*/ 33267 w 244167"/>
                <a:gd name="connsiteY14" fmla="*/ 210900 h 244166"/>
                <a:gd name="connsiteX15" fmla="*/ 33267 w 244167"/>
                <a:gd name="connsiteY15" fmla="*/ 210900 h 244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44167" h="244166">
                  <a:moveTo>
                    <a:pt x="227219" y="244167"/>
                  </a:moveTo>
                  <a:lnTo>
                    <a:pt x="16947" y="244167"/>
                  </a:lnTo>
                  <a:cubicBezTo>
                    <a:pt x="7532" y="244167"/>
                    <a:pt x="0" y="236635"/>
                    <a:pt x="0" y="227220"/>
                  </a:cubicBezTo>
                  <a:lnTo>
                    <a:pt x="0" y="16947"/>
                  </a:lnTo>
                  <a:cubicBezTo>
                    <a:pt x="0" y="7532"/>
                    <a:pt x="7532" y="0"/>
                    <a:pt x="16947" y="0"/>
                  </a:cubicBezTo>
                  <a:lnTo>
                    <a:pt x="227219" y="0"/>
                  </a:lnTo>
                  <a:cubicBezTo>
                    <a:pt x="236635" y="0"/>
                    <a:pt x="244167" y="7532"/>
                    <a:pt x="244167" y="16947"/>
                  </a:cubicBezTo>
                  <a:lnTo>
                    <a:pt x="244167" y="227220"/>
                  </a:lnTo>
                  <a:cubicBezTo>
                    <a:pt x="243540" y="236635"/>
                    <a:pt x="236007" y="244167"/>
                    <a:pt x="227219" y="244167"/>
                  </a:cubicBezTo>
                  <a:lnTo>
                    <a:pt x="227219" y="244167"/>
                  </a:lnTo>
                  <a:close/>
                  <a:moveTo>
                    <a:pt x="33267" y="210900"/>
                  </a:moveTo>
                  <a:lnTo>
                    <a:pt x="210272" y="210900"/>
                  </a:lnTo>
                  <a:lnTo>
                    <a:pt x="210272" y="33895"/>
                  </a:lnTo>
                  <a:lnTo>
                    <a:pt x="33267" y="33895"/>
                  </a:lnTo>
                  <a:lnTo>
                    <a:pt x="33267" y="210900"/>
                  </a:lnTo>
                  <a:lnTo>
                    <a:pt x="33267" y="210900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292" name="Gráfico 2">
              <a:extLst>
                <a:ext uri="{FF2B5EF4-FFF2-40B4-BE49-F238E27FC236}">
                  <a16:creationId xmlns:a16="http://schemas.microsoft.com/office/drawing/2014/main" id="{83F95F55-5D1D-4425-8D77-756B15108235}"/>
                </a:ext>
              </a:extLst>
            </p:cNvPr>
            <p:cNvGrpSpPr/>
            <p:nvPr/>
          </p:nvGrpSpPr>
          <p:grpSpPr>
            <a:xfrm>
              <a:off x="7435825" y="2634315"/>
              <a:ext cx="394810" cy="290615"/>
              <a:chOff x="7435825" y="2634315"/>
              <a:chExt cx="394810" cy="290615"/>
            </a:xfrm>
            <a:grpFill/>
          </p:grpSpPr>
          <p:sp>
            <p:nvSpPr>
              <p:cNvPr id="293" name="Forma Livre: Forma 292">
                <a:extLst>
                  <a:ext uri="{FF2B5EF4-FFF2-40B4-BE49-F238E27FC236}">
                    <a16:creationId xmlns:a16="http://schemas.microsoft.com/office/drawing/2014/main" id="{0EC9BE68-29BD-4D1A-B2F3-7EC272BDD184}"/>
                  </a:ext>
                </a:extLst>
              </p:cNvPr>
              <p:cNvSpPr/>
              <p:nvPr/>
            </p:nvSpPr>
            <p:spPr>
              <a:xfrm>
                <a:off x="7435825" y="2634315"/>
                <a:ext cx="16319" cy="290615"/>
              </a:xfrm>
              <a:custGeom>
                <a:avLst/>
                <a:gdLst>
                  <a:gd name="connsiteX0" fmla="*/ 8160 w 16319"/>
                  <a:gd name="connsiteY0" fmla="*/ 290615 h 290615"/>
                  <a:gd name="connsiteX1" fmla="*/ 0 w 16319"/>
                  <a:gd name="connsiteY1" fmla="*/ 282455 h 290615"/>
                  <a:gd name="connsiteX2" fmla="*/ 0 w 16319"/>
                  <a:gd name="connsiteY2" fmla="*/ 8160 h 290615"/>
                  <a:gd name="connsiteX3" fmla="*/ 8160 w 16319"/>
                  <a:gd name="connsiteY3" fmla="*/ 0 h 290615"/>
                  <a:gd name="connsiteX4" fmla="*/ 16319 w 16319"/>
                  <a:gd name="connsiteY4" fmla="*/ 8160 h 290615"/>
                  <a:gd name="connsiteX5" fmla="*/ 16319 w 16319"/>
                  <a:gd name="connsiteY5" fmla="*/ 282455 h 290615"/>
                  <a:gd name="connsiteX6" fmla="*/ 8160 w 16319"/>
                  <a:gd name="connsiteY6" fmla="*/ 290615 h 290615"/>
                  <a:gd name="connsiteX7" fmla="*/ 8160 w 16319"/>
                  <a:gd name="connsiteY7" fmla="*/ 290615 h 290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319" h="290615">
                    <a:moveTo>
                      <a:pt x="8160" y="290615"/>
                    </a:moveTo>
                    <a:cubicBezTo>
                      <a:pt x="3766" y="290615"/>
                      <a:pt x="0" y="286849"/>
                      <a:pt x="0" y="282455"/>
                    </a:cubicBezTo>
                    <a:lnTo>
                      <a:pt x="0" y="8160"/>
                    </a:lnTo>
                    <a:cubicBezTo>
                      <a:pt x="0" y="3766"/>
                      <a:pt x="3766" y="0"/>
                      <a:pt x="8160" y="0"/>
                    </a:cubicBezTo>
                    <a:cubicBezTo>
                      <a:pt x="12554" y="0"/>
                      <a:pt x="16319" y="3766"/>
                      <a:pt x="16319" y="8160"/>
                    </a:cubicBezTo>
                    <a:lnTo>
                      <a:pt x="16319" y="282455"/>
                    </a:lnTo>
                    <a:cubicBezTo>
                      <a:pt x="16319" y="286849"/>
                      <a:pt x="12554" y="290615"/>
                      <a:pt x="8160" y="290615"/>
                    </a:cubicBezTo>
                    <a:lnTo>
                      <a:pt x="8160" y="290615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94" name="Forma Livre: Forma 293">
                <a:extLst>
                  <a:ext uri="{FF2B5EF4-FFF2-40B4-BE49-F238E27FC236}">
                    <a16:creationId xmlns:a16="http://schemas.microsoft.com/office/drawing/2014/main" id="{0141C6AE-3A79-42F6-95CB-B968C8C3790F}"/>
                  </a:ext>
                </a:extLst>
              </p:cNvPr>
              <p:cNvSpPr/>
              <p:nvPr/>
            </p:nvSpPr>
            <p:spPr>
              <a:xfrm>
                <a:off x="7473486" y="2652518"/>
                <a:ext cx="16319" cy="253582"/>
              </a:xfrm>
              <a:custGeom>
                <a:avLst/>
                <a:gdLst>
                  <a:gd name="connsiteX0" fmla="*/ 8160 w 16319"/>
                  <a:gd name="connsiteY0" fmla="*/ 253582 h 253582"/>
                  <a:gd name="connsiteX1" fmla="*/ 0 w 16319"/>
                  <a:gd name="connsiteY1" fmla="*/ 245422 h 253582"/>
                  <a:gd name="connsiteX2" fmla="*/ 0 w 16319"/>
                  <a:gd name="connsiteY2" fmla="*/ 8160 h 253582"/>
                  <a:gd name="connsiteX3" fmla="*/ 8160 w 16319"/>
                  <a:gd name="connsiteY3" fmla="*/ 0 h 253582"/>
                  <a:gd name="connsiteX4" fmla="*/ 16319 w 16319"/>
                  <a:gd name="connsiteY4" fmla="*/ 8160 h 253582"/>
                  <a:gd name="connsiteX5" fmla="*/ 16319 w 16319"/>
                  <a:gd name="connsiteY5" fmla="*/ 245422 h 253582"/>
                  <a:gd name="connsiteX6" fmla="*/ 8160 w 16319"/>
                  <a:gd name="connsiteY6" fmla="*/ 253582 h 253582"/>
                  <a:gd name="connsiteX7" fmla="*/ 8160 w 16319"/>
                  <a:gd name="connsiteY7" fmla="*/ 253582 h 2535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319" h="253582">
                    <a:moveTo>
                      <a:pt x="8160" y="253582"/>
                    </a:moveTo>
                    <a:cubicBezTo>
                      <a:pt x="3766" y="253582"/>
                      <a:pt x="0" y="249816"/>
                      <a:pt x="0" y="245422"/>
                    </a:cubicBezTo>
                    <a:lnTo>
                      <a:pt x="0" y="8160"/>
                    </a:lnTo>
                    <a:cubicBezTo>
                      <a:pt x="0" y="3766"/>
                      <a:pt x="3766" y="0"/>
                      <a:pt x="8160" y="0"/>
                    </a:cubicBezTo>
                    <a:cubicBezTo>
                      <a:pt x="12554" y="0"/>
                      <a:pt x="16319" y="3766"/>
                      <a:pt x="16319" y="8160"/>
                    </a:cubicBezTo>
                    <a:lnTo>
                      <a:pt x="16319" y="245422"/>
                    </a:lnTo>
                    <a:cubicBezTo>
                      <a:pt x="16319" y="249816"/>
                      <a:pt x="12554" y="253582"/>
                      <a:pt x="8160" y="253582"/>
                    </a:cubicBezTo>
                    <a:lnTo>
                      <a:pt x="8160" y="253582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95" name="Forma Livre: Forma 294">
                <a:extLst>
                  <a:ext uri="{FF2B5EF4-FFF2-40B4-BE49-F238E27FC236}">
                    <a16:creationId xmlns:a16="http://schemas.microsoft.com/office/drawing/2014/main" id="{F3C6EFDA-1E01-47A2-83F2-96F350F7692A}"/>
                  </a:ext>
                </a:extLst>
              </p:cNvPr>
              <p:cNvSpPr/>
              <p:nvPr/>
            </p:nvSpPr>
            <p:spPr>
              <a:xfrm>
                <a:off x="7814316" y="2634315"/>
                <a:ext cx="16319" cy="290615"/>
              </a:xfrm>
              <a:custGeom>
                <a:avLst/>
                <a:gdLst>
                  <a:gd name="connsiteX0" fmla="*/ 8159 w 16319"/>
                  <a:gd name="connsiteY0" fmla="*/ 290615 h 290615"/>
                  <a:gd name="connsiteX1" fmla="*/ 0 w 16319"/>
                  <a:gd name="connsiteY1" fmla="*/ 282455 h 290615"/>
                  <a:gd name="connsiteX2" fmla="*/ 0 w 16319"/>
                  <a:gd name="connsiteY2" fmla="*/ 8160 h 290615"/>
                  <a:gd name="connsiteX3" fmla="*/ 8159 w 16319"/>
                  <a:gd name="connsiteY3" fmla="*/ 0 h 290615"/>
                  <a:gd name="connsiteX4" fmla="*/ 16319 w 16319"/>
                  <a:gd name="connsiteY4" fmla="*/ 8160 h 290615"/>
                  <a:gd name="connsiteX5" fmla="*/ 16319 w 16319"/>
                  <a:gd name="connsiteY5" fmla="*/ 282455 h 290615"/>
                  <a:gd name="connsiteX6" fmla="*/ 8159 w 16319"/>
                  <a:gd name="connsiteY6" fmla="*/ 290615 h 290615"/>
                  <a:gd name="connsiteX7" fmla="*/ 8159 w 16319"/>
                  <a:gd name="connsiteY7" fmla="*/ 290615 h 290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319" h="290615">
                    <a:moveTo>
                      <a:pt x="8159" y="290615"/>
                    </a:moveTo>
                    <a:cubicBezTo>
                      <a:pt x="3766" y="290615"/>
                      <a:pt x="0" y="286849"/>
                      <a:pt x="0" y="282455"/>
                    </a:cubicBezTo>
                    <a:lnTo>
                      <a:pt x="0" y="8160"/>
                    </a:lnTo>
                    <a:cubicBezTo>
                      <a:pt x="0" y="3766"/>
                      <a:pt x="3766" y="0"/>
                      <a:pt x="8159" y="0"/>
                    </a:cubicBezTo>
                    <a:cubicBezTo>
                      <a:pt x="12554" y="0"/>
                      <a:pt x="16319" y="3766"/>
                      <a:pt x="16319" y="8160"/>
                    </a:cubicBezTo>
                    <a:lnTo>
                      <a:pt x="16319" y="282455"/>
                    </a:lnTo>
                    <a:cubicBezTo>
                      <a:pt x="16319" y="286849"/>
                      <a:pt x="12554" y="290615"/>
                      <a:pt x="8159" y="290615"/>
                    </a:cubicBezTo>
                    <a:lnTo>
                      <a:pt x="8159" y="290615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296" name="Forma Livre: Forma 295">
                <a:extLst>
                  <a:ext uri="{FF2B5EF4-FFF2-40B4-BE49-F238E27FC236}">
                    <a16:creationId xmlns:a16="http://schemas.microsoft.com/office/drawing/2014/main" id="{5A598D45-E905-4812-96AD-73859EC465B5}"/>
                  </a:ext>
                </a:extLst>
              </p:cNvPr>
              <p:cNvSpPr/>
              <p:nvPr/>
            </p:nvSpPr>
            <p:spPr>
              <a:xfrm>
                <a:off x="7776655" y="2652518"/>
                <a:ext cx="16319" cy="253582"/>
              </a:xfrm>
              <a:custGeom>
                <a:avLst/>
                <a:gdLst>
                  <a:gd name="connsiteX0" fmla="*/ 8159 w 16319"/>
                  <a:gd name="connsiteY0" fmla="*/ 253582 h 253582"/>
                  <a:gd name="connsiteX1" fmla="*/ 0 w 16319"/>
                  <a:gd name="connsiteY1" fmla="*/ 245422 h 253582"/>
                  <a:gd name="connsiteX2" fmla="*/ 0 w 16319"/>
                  <a:gd name="connsiteY2" fmla="*/ 8160 h 253582"/>
                  <a:gd name="connsiteX3" fmla="*/ 8159 w 16319"/>
                  <a:gd name="connsiteY3" fmla="*/ 0 h 253582"/>
                  <a:gd name="connsiteX4" fmla="*/ 16319 w 16319"/>
                  <a:gd name="connsiteY4" fmla="*/ 8160 h 253582"/>
                  <a:gd name="connsiteX5" fmla="*/ 16319 w 16319"/>
                  <a:gd name="connsiteY5" fmla="*/ 245422 h 253582"/>
                  <a:gd name="connsiteX6" fmla="*/ 8159 w 16319"/>
                  <a:gd name="connsiteY6" fmla="*/ 253582 h 253582"/>
                  <a:gd name="connsiteX7" fmla="*/ 8159 w 16319"/>
                  <a:gd name="connsiteY7" fmla="*/ 253582 h 2535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319" h="253582">
                    <a:moveTo>
                      <a:pt x="8159" y="253582"/>
                    </a:moveTo>
                    <a:cubicBezTo>
                      <a:pt x="3766" y="253582"/>
                      <a:pt x="0" y="249816"/>
                      <a:pt x="0" y="245422"/>
                    </a:cubicBezTo>
                    <a:lnTo>
                      <a:pt x="0" y="8160"/>
                    </a:lnTo>
                    <a:cubicBezTo>
                      <a:pt x="0" y="3766"/>
                      <a:pt x="3766" y="0"/>
                      <a:pt x="8159" y="0"/>
                    </a:cubicBezTo>
                    <a:cubicBezTo>
                      <a:pt x="12554" y="0"/>
                      <a:pt x="16319" y="3766"/>
                      <a:pt x="16319" y="8160"/>
                    </a:cubicBezTo>
                    <a:lnTo>
                      <a:pt x="16319" y="245422"/>
                    </a:lnTo>
                    <a:cubicBezTo>
                      <a:pt x="16319" y="249816"/>
                      <a:pt x="12554" y="253582"/>
                      <a:pt x="8159" y="253582"/>
                    </a:cubicBezTo>
                    <a:lnTo>
                      <a:pt x="8159" y="253582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297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6410198" y="2578452"/>
            <a:ext cx="397948" cy="401086"/>
            <a:chOff x="6410198" y="2578452"/>
            <a:chExt cx="397948" cy="401086"/>
          </a:xfrm>
          <a:solidFill>
            <a:srgbClr val="B1B1A1"/>
          </a:solidFill>
        </p:grpSpPr>
        <p:sp>
          <p:nvSpPr>
            <p:cNvPr id="298" name="Forma Livre: Forma 297">
              <a:extLst>
                <a:ext uri="{FF2B5EF4-FFF2-40B4-BE49-F238E27FC236}">
                  <a16:creationId xmlns:a16="http://schemas.microsoft.com/office/drawing/2014/main" id="{49CE9914-AA6F-42DF-BAAB-81695A8B9744}"/>
                </a:ext>
              </a:extLst>
            </p:cNvPr>
            <p:cNvSpPr/>
            <p:nvPr/>
          </p:nvSpPr>
          <p:spPr>
            <a:xfrm>
              <a:off x="6410198" y="2578452"/>
              <a:ext cx="120514" cy="120514"/>
            </a:xfrm>
            <a:custGeom>
              <a:avLst/>
              <a:gdLst>
                <a:gd name="connsiteX0" fmla="*/ 103567 w 120514"/>
                <a:gd name="connsiteY0" fmla="*/ 120514 h 120514"/>
                <a:gd name="connsiteX1" fmla="*/ 16947 w 120514"/>
                <a:gd name="connsiteY1" fmla="*/ 120514 h 120514"/>
                <a:gd name="connsiteX2" fmla="*/ 0 w 120514"/>
                <a:gd name="connsiteY2" fmla="*/ 103567 h 120514"/>
                <a:gd name="connsiteX3" fmla="*/ 0 w 120514"/>
                <a:gd name="connsiteY3" fmla="*/ 16947 h 120514"/>
                <a:gd name="connsiteX4" fmla="*/ 16947 w 120514"/>
                <a:gd name="connsiteY4" fmla="*/ 0 h 120514"/>
                <a:gd name="connsiteX5" fmla="*/ 103567 w 120514"/>
                <a:gd name="connsiteY5" fmla="*/ 0 h 120514"/>
                <a:gd name="connsiteX6" fmla="*/ 120514 w 120514"/>
                <a:gd name="connsiteY6" fmla="*/ 16947 h 120514"/>
                <a:gd name="connsiteX7" fmla="*/ 120514 w 120514"/>
                <a:gd name="connsiteY7" fmla="*/ 103567 h 120514"/>
                <a:gd name="connsiteX8" fmla="*/ 103567 w 120514"/>
                <a:gd name="connsiteY8" fmla="*/ 120514 h 120514"/>
                <a:gd name="connsiteX9" fmla="*/ 103567 w 120514"/>
                <a:gd name="connsiteY9" fmla="*/ 120514 h 120514"/>
                <a:gd name="connsiteX10" fmla="*/ 33895 w 120514"/>
                <a:gd name="connsiteY10" fmla="*/ 87247 h 120514"/>
                <a:gd name="connsiteX11" fmla="*/ 87247 w 120514"/>
                <a:gd name="connsiteY11" fmla="*/ 87247 h 120514"/>
                <a:gd name="connsiteX12" fmla="*/ 87247 w 120514"/>
                <a:gd name="connsiteY12" fmla="*/ 33895 h 120514"/>
                <a:gd name="connsiteX13" fmla="*/ 33895 w 120514"/>
                <a:gd name="connsiteY13" fmla="*/ 33895 h 120514"/>
                <a:gd name="connsiteX14" fmla="*/ 33895 w 120514"/>
                <a:gd name="connsiteY14" fmla="*/ 87247 h 120514"/>
                <a:gd name="connsiteX15" fmla="*/ 33895 w 120514"/>
                <a:gd name="connsiteY15" fmla="*/ 87247 h 120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0514" h="120514">
                  <a:moveTo>
                    <a:pt x="103567" y="120514"/>
                  </a:moveTo>
                  <a:lnTo>
                    <a:pt x="16947" y="120514"/>
                  </a:lnTo>
                  <a:cubicBezTo>
                    <a:pt x="7532" y="120514"/>
                    <a:pt x="0" y="112982"/>
                    <a:pt x="0" y="103567"/>
                  </a:cubicBezTo>
                  <a:lnTo>
                    <a:pt x="0" y="16947"/>
                  </a:lnTo>
                  <a:cubicBezTo>
                    <a:pt x="0" y="7532"/>
                    <a:pt x="7532" y="0"/>
                    <a:pt x="16947" y="0"/>
                  </a:cubicBezTo>
                  <a:lnTo>
                    <a:pt x="103567" y="0"/>
                  </a:lnTo>
                  <a:cubicBezTo>
                    <a:pt x="112982" y="0"/>
                    <a:pt x="120514" y="7532"/>
                    <a:pt x="120514" y="16947"/>
                  </a:cubicBezTo>
                  <a:lnTo>
                    <a:pt x="120514" y="103567"/>
                  </a:lnTo>
                  <a:cubicBezTo>
                    <a:pt x="120514" y="112982"/>
                    <a:pt x="112982" y="120514"/>
                    <a:pt x="103567" y="120514"/>
                  </a:cubicBezTo>
                  <a:lnTo>
                    <a:pt x="103567" y="120514"/>
                  </a:lnTo>
                  <a:close/>
                  <a:moveTo>
                    <a:pt x="33895" y="87247"/>
                  </a:moveTo>
                  <a:lnTo>
                    <a:pt x="87247" y="87247"/>
                  </a:lnTo>
                  <a:lnTo>
                    <a:pt x="87247" y="33895"/>
                  </a:lnTo>
                  <a:lnTo>
                    <a:pt x="33895" y="33895"/>
                  </a:lnTo>
                  <a:lnTo>
                    <a:pt x="33895" y="87247"/>
                  </a:lnTo>
                  <a:lnTo>
                    <a:pt x="33895" y="87247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299" name="Forma Livre: Forma 298">
              <a:extLst>
                <a:ext uri="{FF2B5EF4-FFF2-40B4-BE49-F238E27FC236}">
                  <a16:creationId xmlns:a16="http://schemas.microsoft.com/office/drawing/2014/main" id="{6DA89DB4-A14A-4DDD-8125-2AC88F2D7581}"/>
                </a:ext>
              </a:extLst>
            </p:cNvPr>
            <p:cNvSpPr/>
            <p:nvPr/>
          </p:nvSpPr>
          <p:spPr>
            <a:xfrm>
              <a:off x="6548915" y="2578452"/>
              <a:ext cx="120514" cy="120514"/>
            </a:xfrm>
            <a:custGeom>
              <a:avLst/>
              <a:gdLst>
                <a:gd name="connsiteX0" fmla="*/ 103567 w 120514"/>
                <a:gd name="connsiteY0" fmla="*/ 120514 h 120514"/>
                <a:gd name="connsiteX1" fmla="*/ 16947 w 120514"/>
                <a:gd name="connsiteY1" fmla="*/ 120514 h 120514"/>
                <a:gd name="connsiteX2" fmla="*/ 0 w 120514"/>
                <a:gd name="connsiteY2" fmla="*/ 103567 h 120514"/>
                <a:gd name="connsiteX3" fmla="*/ 0 w 120514"/>
                <a:gd name="connsiteY3" fmla="*/ 16947 h 120514"/>
                <a:gd name="connsiteX4" fmla="*/ 16947 w 120514"/>
                <a:gd name="connsiteY4" fmla="*/ 0 h 120514"/>
                <a:gd name="connsiteX5" fmla="*/ 103567 w 120514"/>
                <a:gd name="connsiteY5" fmla="*/ 0 h 120514"/>
                <a:gd name="connsiteX6" fmla="*/ 120514 w 120514"/>
                <a:gd name="connsiteY6" fmla="*/ 16947 h 120514"/>
                <a:gd name="connsiteX7" fmla="*/ 120514 w 120514"/>
                <a:gd name="connsiteY7" fmla="*/ 103567 h 120514"/>
                <a:gd name="connsiteX8" fmla="*/ 103567 w 120514"/>
                <a:gd name="connsiteY8" fmla="*/ 120514 h 120514"/>
                <a:gd name="connsiteX9" fmla="*/ 103567 w 120514"/>
                <a:gd name="connsiteY9" fmla="*/ 120514 h 120514"/>
                <a:gd name="connsiteX10" fmla="*/ 33894 w 120514"/>
                <a:gd name="connsiteY10" fmla="*/ 87247 h 120514"/>
                <a:gd name="connsiteX11" fmla="*/ 87247 w 120514"/>
                <a:gd name="connsiteY11" fmla="*/ 87247 h 120514"/>
                <a:gd name="connsiteX12" fmla="*/ 87247 w 120514"/>
                <a:gd name="connsiteY12" fmla="*/ 33895 h 120514"/>
                <a:gd name="connsiteX13" fmla="*/ 33894 w 120514"/>
                <a:gd name="connsiteY13" fmla="*/ 33895 h 120514"/>
                <a:gd name="connsiteX14" fmla="*/ 33894 w 120514"/>
                <a:gd name="connsiteY14" fmla="*/ 87247 h 120514"/>
                <a:gd name="connsiteX15" fmla="*/ 33894 w 120514"/>
                <a:gd name="connsiteY15" fmla="*/ 87247 h 120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0514" h="120514">
                  <a:moveTo>
                    <a:pt x="103567" y="120514"/>
                  </a:moveTo>
                  <a:lnTo>
                    <a:pt x="16947" y="120514"/>
                  </a:lnTo>
                  <a:cubicBezTo>
                    <a:pt x="7532" y="120514"/>
                    <a:pt x="0" y="112982"/>
                    <a:pt x="0" y="103567"/>
                  </a:cubicBezTo>
                  <a:lnTo>
                    <a:pt x="0" y="16947"/>
                  </a:lnTo>
                  <a:cubicBezTo>
                    <a:pt x="0" y="7532"/>
                    <a:pt x="7532" y="0"/>
                    <a:pt x="16947" y="0"/>
                  </a:cubicBezTo>
                  <a:lnTo>
                    <a:pt x="103567" y="0"/>
                  </a:lnTo>
                  <a:cubicBezTo>
                    <a:pt x="112982" y="0"/>
                    <a:pt x="120514" y="7532"/>
                    <a:pt x="120514" y="16947"/>
                  </a:cubicBezTo>
                  <a:lnTo>
                    <a:pt x="120514" y="103567"/>
                  </a:lnTo>
                  <a:cubicBezTo>
                    <a:pt x="120514" y="112982"/>
                    <a:pt x="112982" y="120514"/>
                    <a:pt x="103567" y="120514"/>
                  </a:cubicBezTo>
                  <a:lnTo>
                    <a:pt x="103567" y="120514"/>
                  </a:lnTo>
                  <a:close/>
                  <a:moveTo>
                    <a:pt x="33894" y="87247"/>
                  </a:moveTo>
                  <a:lnTo>
                    <a:pt x="87247" y="87247"/>
                  </a:lnTo>
                  <a:lnTo>
                    <a:pt x="87247" y="33895"/>
                  </a:lnTo>
                  <a:lnTo>
                    <a:pt x="33894" y="33895"/>
                  </a:lnTo>
                  <a:lnTo>
                    <a:pt x="33894" y="87247"/>
                  </a:lnTo>
                  <a:lnTo>
                    <a:pt x="33894" y="87247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00" name="Forma Livre: Forma 299">
              <a:extLst>
                <a:ext uri="{FF2B5EF4-FFF2-40B4-BE49-F238E27FC236}">
                  <a16:creationId xmlns:a16="http://schemas.microsoft.com/office/drawing/2014/main" id="{858D6B56-090D-462C-A6D9-E418512CA9D6}"/>
                </a:ext>
              </a:extLst>
            </p:cNvPr>
            <p:cNvSpPr/>
            <p:nvPr/>
          </p:nvSpPr>
          <p:spPr>
            <a:xfrm>
              <a:off x="6687632" y="2578452"/>
              <a:ext cx="120514" cy="120514"/>
            </a:xfrm>
            <a:custGeom>
              <a:avLst/>
              <a:gdLst>
                <a:gd name="connsiteX0" fmla="*/ 103567 w 120514"/>
                <a:gd name="connsiteY0" fmla="*/ 120514 h 120514"/>
                <a:gd name="connsiteX1" fmla="*/ 16947 w 120514"/>
                <a:gd name="connsiteY1" fmla="*/ 120514 h 120514"/>
                <a:gd name="connsiteX2" fmla="*/ 0 w 120514"/>
                <a:gd name="connsiteY2" fmla="*/ 103567 h 120514"/>
                <a:gd name="connsiteX3" fmla="*/ 0 w 120514"/>
                <a:gd name="connsiteY3" fmla="*/ 16947 h 120514"/>
                <a:gd name="connsiteX4" fmla="*/ 16947 w 120514"/>
                <a:gd name="connsiteY4" fmla="*/ 0 h 120514"/>
                <a:gd name="connsiteX5" fmla="*/ 103567 w 120514"/>
                <a:gd name="connsiteY5" fmla="*/ 0 h 120514"/>
                <a:gd name="connsiteX6" fmla="*/ 120514 w 120514"/>
                <a:gd name="connsiteY6" fmla="*/ 16947 h 120514"/>
                <a:gd name="connsiteX7" fmla="*/ 120514 w 120514"/>
                <a:gd name="connsiteY7" fmla="*/ 103567 h 120514"/>
                <a:gd name="connsiteX8" fmla="*/ 103567 w 120514"/>
                <a:gd name="connsiteY8" fmla="*/ 120514 h 120514"/>
                <a:gd name="connsiteX9" fmla="*/ 103567 w 120514"/>
                <a:gd name="connsiteY9" fmla="*/ 120514 h 120514"/>
                <a:gd name="connsiteX10" fmla="*/ 33895 w 120514"/>
                <a:gd name="connsiteY10" fmla="*/ 87247 h 120514"/>
                <a:gd name="connsiteX11" fmla="*/ 87247 w 120514"/>
                <a:gd name="connsiteY11" fmla="*/ 87247 h 120514"/>
                <a:gd name="connsiteX12" fmla="*/ 87247 w 120514"/>
                <a:gd name="connsiteY12" fmla="*/ 33895 h 120514"/>
                <a:gd name="connsiteX13" fmla="*/ 33895 w 120514"/>
                <a:gd name="connsiteY13" fmla="*/ 33895 h 120514"/>
                <a:gd name="connsiteX14" fmla="*/ 33895 w 120514"/>
                <a:gd name="connsiteY14" fmla="*/ 87247 h 120514"/>
                <a:gd name="connsiteX15" fmla="*/ 33895 w 120514"/>
                <a:gd name="connsiteY15" fmla="*/ 87247 h 120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0514" h="120514">
                  <a:moveTo>
                    <a:pt x="103567" y="120514"/>
                  </a:moveTo>
                  <a:lnTo>
                    <a:pt x="16947" y="120514"/>
                  </a:lnTo>
                  <a:cubicBezTo>
                    <a:pt x="7532" y="120514"/>
                    <a:pt x="0" y="112982"/>
                    <a:pt x="0" y="103567"/>
                  </a:cubicBezTo>
                  <a:lnTo>
                    <a:pt x="0" y="16947"/>
                  </a:lnTo>
                  <a:cubicBezTo>
                    <a:pt x="0" y="7532"/>
                    <a:pt x="7532" y="0"/>
                    <a:pt x="16947" y="0"/>
                  </a:cubicBezTo>
                  <a:lnTo>
                    <a:pt x="103567" y="0"/>
                  </a:lnTo>
                  <a:cubicBezTo>
                    <a:pt x="112982" y="0"/>
                    <a:pt x="120514" y="7532"/>
                    <a:pt x="120514" y="16947"/>
                  </a:cubicBezTo>
                  <a:lnTo>
                    <a:pt x="120514" y="103567"/>
                  </a:lnTo>
                  <a:cubicBezTo>
                    <a:pt x="120514" y="112982"/>
                    <a:pt x="112982" y="120514"/>
                    <a:pt x="103567" y="120514"/>
                  </a:cubicBezTo>
                  <a:lnTo>
                    <a:pt x="103567" y="120514"/>
                  </a:lnTo>
                  <a:close/>
                  <a:moveTo>
                    <a:pt x="33895" y="87247"/>
                  </a:moveTo>
                  <a:lnTo>
                    <a:pt x="87247" y="87247"/>
                  </a:lnTo>
                  <a:lnTo>
                    <a:pt x="87247" y="33895"/>
                  </a:lnTo>
                  <a:lnTo>
                    <a:pt x="33895" y="33895"/>
                  </a:lnTo>
                  <a:lnTo>
                    <a:pt x="33895" y="87247"/>
                  </a:lnTo>
                  <a:lnTo>
                    <a:pt x="33895" y="87247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01" name="Forma Livre: Forma 300">
              <a:extLst>
                <a:ext uri="{FF2B5EF4-FFF2-40B4-BE49-F238E27FC236}">
                  <a16:creationId xmlns:a16="http://schemas.microsoft.com/office/drawing/2014/main" id="{CF8DA9B6-92DE-4D74-BB45-282749B8F7CF}"/>
                </a:ext>
              </a:extLst>
            </p:cNvPr>
            <p:cNvSpPr/>
            <p:nvPr/>
          </p:nvSpPr>
          <p:spPr>
            <a:xfrm>
              <a:off x="6410198" y="2718424"/>
              <a:ext cx="120514" cy="120514"/>
            </a:xfrm>
            <a:custGeom>
              <a:avLst/>
              <a:gdLst>
                <a:gd name="connsiteX0" fmla="*/ 103567 w 120514"/>
                <a:gd name="connsiteY0" fmla="*/ 120514 h 120514"/>
                <a:gd name="connsiteX1" fmla="*/ 16947 w 120514"/>
                <a:gd name="connsiteY1" fmla="*/ 120514 h 120514"/>
                <a:gd name="connsiteX2" fmla="*/ 0 w 120514"/>
                <a:gd name="connsiteY2" fmla="*/ 103567 h 120514"/>
                <a:gd name="connsiteX3" fmla="*/ 0 w 120514"/>
                <a:gd name="connsiteY3" fmla="*/ 16947 h 120514"/>
                <a:gd name="connsiteX4" fmla="*/ 16947 w 120514"/>
                <a:gd name="connsiteY4" fmla="*/ 0 h 120514"/>
                <a:gd name="connsiteX5" fmla="*/ 103567 w 120514"/>
                <a:gd name="connsiteY5" fmla="*/ 0 h 120514"/>
                <a:gd name="connsiteX6" fmla="*/ 120514 w 120514"/>
                <a:gd name="connsiteY6" fmla="*/ 16947 h 120514"/>
                <a:gd name="connsiteX7" fmla="*/ 120514 w 120514"/>
                <a:gd name="connsiteY7" fmla="*/ 104195 h 120514"/>
                <a:gd name="connsiteX8" fmla="*/ 103567 w 120514"/>
                <a:gd name="connsiteY8" fmla="*/ 120514 h 120514"/>
                <a:gd name="connsiteX9" fmla="*/ 103567 w 120514"/>
                <a:gd name="connsiteY9" fmla="*/ 120514 h 120514"/>
                <a:gd name="connsiteX10" fmla="*/ 33895 w 120514"/>
                <a:gd name="connsiteY10" fmla="*/ 87247 h 120514"/>
                <a:gd name="connsiteX11" fmla="*/ 87247 w 120514"/>
                <a:gd name="connsiteY11" fmla="*/ 87247 h 120514"/>
                <a:gd name="connsiteX12" fmla="*/ 87247 w 120514"/>
                <a:gd name="connsiteY12" fmla="*/ 33895 h 120514"/>
                <a:gd name="connsiteX13" fmla="*/ 33895 w 120514"/>
                <a:gd name="connsiteY13" fmla="*/ 33895 h 120514"/>
                <a:gd name="connsiteX14" fmla="*/ 33895 w 120514"/>
                <a:gd name="connsiteY14" fmla="*/ 87247 h 120514"/>
                <a:gd name="connsiteX15" fmla="*/ 33895 w 120514"/>
                <a:gd name="connsiteY15" fmla="*/ 87247 h 120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0514" h="120514">
                  <a:moveTo>
                    <a:pt x="103567" y="120514"/>
                  </a:moveTo>
                  <a:lnTo>
                    <a:pt x="16947" y="120514"/>
                  </a:lnTo>
                  <a:cubicBezTo>
                    <a:pt x="7532" y="120514"/>
                    <a:pt x="0" y="112982"/>
                    <a:pt x="0" y="103567"/>
                  </a:cubicBezTo>
                  <a:lnTo>
                    <a:pt x="0" y="16947"/>
                  </a:lnTo>
                  <a:cubicBezTo>
                    <a:pt x="0" y="7532"/>
                    <a:pt x="7532" y="0"/>
                    <a:pt x="16947" y="0"/>
                  </a:cubicBezTo>
                  <a:lnTo>
                    <a:pt x="103567" y="0"/>
                  </a:lnTo>
                  <a:cubicBezTo>
                    <a:pt x="112982" y="0"/>
                    <a:pt x="120514" y="7532"/>
                    <a:pt x="120514" y="16947"/>
                  </a:cubicBezTo>
                  <a:lnTo>
                    <a:pt x="120514" y="104195"/>
                  </a:lnTo>
                  <a:cubicBezTo>
                    <a:pt x="120514" y="113610"/>
                    <a:pt x="112982" y="120514"/>
                    <a:pt x="103567" y="120514"/>
                  </a:cubicBezTo>
                  <a:lnTo>
                    <a:pt x="103567" y="120514"/>
                  </a:lnTo>
                  <a:close/>
                  <a:moveTo>
                    <a:pt x="33895" y="87247"/>
                  </a:moveTo>
                  <a:lnTo>
                    <a:pt x="87247" y="87247"/>
                  </a:lnTo>
                  <a:lnTo>
                    <a:pt x="87247" y="33895"/>
                  </a:lnTo>
                  <a:lnTo>
                    <a:pt x="33895" y="33895"/>
                  </a:lnTo>
                  <a:lnTo>
                    <a:pt x="33895" y="87247"/>
                  </a:lnTo>
                  <a:lnTo>
                    <a:pt x="33895" y="87247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02" name="Forma Livre: Forma 301">
              <a:extLst>
                <a:ext uri="{FF2B5EF4-FFF2-40B4-BE49-F238E27FC236}">
                  <a16:creationId xmlns:a16="http://schemas.microsoft.com/office/drawing/2014/main" id="{274C0340-5418-4AF2-A03D-04E058CB5DCF}"/>
                </a:ext>
              </a:extLst>
            </p:cNvPr>
            <p:cNvSpPr/>
            <p:nvPr/>
          </p:nvSpPr>
          <p:spPr>
            <a:xfrm>
              <a:off x="6548915" y="2718424"/>
              <a:ext cx="120514" cy="120514"/>
            </a:xfrm>
            <a:custGeom>
              <a:avLst/>
              <a:gdLst>
                <a:gd name="connsiteX0" fmla="*/ 103567 w 120514"/>
                <a:gd name="connsiteY0" fmla="*/ 120514 h 120514"/>
                <a:gd name="connsiteX1" fmla="*/ 16947 w 120514"/>
                <a:gd name="connsiteY1" fmla="*/ 120514 h 120514"/>
                <a:gd name="connsiteX2" fmla="*/ 0 w 120514"/>
                <a:gd name="connsiteY2" fmla="*/ 103567 h 120514"/>
                <a:gd name="connsiteX3" fmla="*/ 0 w 120514"/>
                <a:gd name="connsiteY3" fmla="*/ 16947 h 120514"/>
                <a:gd name="connsiteX4" fmla="*/ 16947 w 120514"/>
                <a:gd name="connsiteY4" fmla="*/ 0 h 120514"/>
                <a:gd name="connsiteX5" fmla="*/ 103567 w 120514"/>
                <a:gd name="connsiteY5" fmla="*/ 0 h 120514"/>
                <a:gd name="connsiteX6" fmla="*/ 120514 w 120514"/>
                <a:gd name="connsiteY6" fmla="*/ 16947 h 120514"/>
                <a:gd name="connsiteX7" fmla="*/ 120514 w 120514"/>
                <a:gd name="connsiteY7" fmla="*/ 104195 h 120514"/>
                <a:gd name="connsiteX8" fmla="*/ 103567 w 120514"/>
                <a:gd name="connsiteY8" fmla="*/ 120514 h 120514"/>
                <a:gd name="connsiteX9" fmla="*/ 103567 w 120514"/>
                <a:gd name="connsiteY9" fmla="*/ 120514 h 120514"/>
                <a:gd name="connsiteX10" fmla="*/ 33894 w 120514"/>
                <a:gd name="connsiteY10" fmla="*/ 87247 h 120514"/>
                <a:gd name="connsiteX11" fmla="*/ 87247 w 120514"/>
                <a:gd name="connsiteY11" fmla="*/ 87247 h 120514"/>
                <a:gd name="connsiteX12" fmla="*/ 87247 w 120514"/>
                <a:gd name="connsiteY12" fmla="*/ 33895 h 120514"/>
                <a:gd name="connsiteX13" fmla="*/ 33894 w 120514"/>
                <a:gd name="connsiteY13" fmla="*/ 33895 h 120514"/>
                <a:gd name="connsiteX14" fmla="*/ 33894 w 120514"/>
                <a:gd name="connsiteY14" fmla="*/ 87247 h 120514"/>
                <a:gd name="connsiteX15" fmla="*/ 33894 w 120514"/>
                <a:gd name="connsiteY15" fmla="*/ 87247 h 120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0514" h="120514">
                  <a:moveTo>
                    <a:pt x="103567" y="120514"/>
                  </a:moveTo>
                  <a:lnTo>
                    <a:pt x="16947" y="120514"/>
                  </a:lnTo>
                  <a:cubicBezTo>
                    <a:pt x="7532" y="120514"/>
                    <a:pt x="0" y="112982"/>
                    <a:pt x="0" y="103567"/>
                  </a:cubicBezTo>
                  <a:lnTo>
                    <a:pt x="0" y="16947"/>
                  </a:lnTo>
                  <a:cubicBezTo>
                    <a:pt x="0" y="7532"/>
                    <a:pt x="7532" y="0"/>
                    <a:pt x="16947" y="0"/>
                  </a:cubicBezTo>
                  <a:lnTo>
                    <a:pt x="103567" y="0"/>
                  </a:lnTo>
                  <a:cubicBezTo>
                    <a:pt x="112982" y="0"/>
                    <a:pt x="120514" y="7532"/>
                    <a:pt x="120514" y="16947"/>
                  </a:cubicBezTo>
                  <a:lnTo>
                    <a:pt x="120514" y="104195"/>
                  </a:lnTo>
                  <a:cubicBezTo>
                    <a:pt x="120514" y="113610"/>
                    <a:pt x="112982" y="120514"/>
                    <a:pt x="103567" y="120514"/>
                  </a:cubicBezTo>
                  <a:lnTo>
                    <a:pt x="103567" y="120514"/>
                  </a:lnTo>
                  <a:close/>
                  <a:moveTo>
                    <a:pt x="33894" y="87247"/>
                  </a:moveTo>
                  <a:lnTo>
                    <a:pt x="87247" y="87247"/>
                  </a:lnTo>
                  <a:lnTo>
                    <a:pt x="87247" y="33895"/>
                  </a:lnTo>
                  <a:lnTo>
                    <a:pt x="33894" y="33895"/>
                  </a:lnTo>
                  <a:lnTo>
                    <a:pt x="33894" y="87247"/>
                  </a:lnTo>
                  <a:lnTo>
                    <a:pt x="33894" y="87247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03" name="Forma Livre: Forma 302">
              <a:extLst>
                <a:ext uri="{FF2B5EF4-FFF2-40B4-BE49-F238E27FC236}">
                  <a16:creationId xmlns:a16="http://schemas.microsoft.com/office/drawing/2014/main" id="{929D6878-99AE-4A4E-AA79-8917392BB740}"/>
                </a:ext>
              </a:extLst>
            </p:cNvPr>
            <p:cNvSpPr/>
            <p:nvPr/>
          </p:nvSpPr>
          <p:spPr>
            <a:xfrm>
              <a:off x="6687632" y="2718424"/>
              <a:ext cx="120514" cy="120514"/>
            </a:xfrm>
            <a:custGeom>
              <a:avLst/>
              <a:gdLst>
                <a:gd name="connsiteX0" fmla="*/ 103567 w 120514"/>
                <a:gd name="connsiteY0" fmla="*/ 120514 h 120514"/>
                <a:gd name="connsiteX1" fmla="*/ 16947 w 120514"/>
                <a:gd name="connsiteY1" fmla="*/ 120514 h 120514"/>
                <a:gd name="connsiteX2" fmla="*/ 0 w 120514"/>
                <a:gd name="connsiteY2" fmla="*/ 103567 h 120514"/>
                <a:gd name="connsiteX3" fmla="*/ 0 w 120514"/>
                <a:gd name="connsiteY3" fmla="*/ 16947 h 120514"/>
                <a:gd name="connsiteX4" fmla="*/ 16947 w 120514"/>
                <a:gd name="connsiteY4" fmla="*/ 0 h 120514"/>
                <a:gd name="connsiteX5" fmla="*/ 103567 w 120514"/>
                <a:gd name="connsiteY5" fmla="*/ 0 h 120514"/>
                <a:gd name="connsiteX6" fmla="*/ 120514 w 120514"/>
                <a:gd name="connsiteY6" fmla="*/ 16947 h 120514"/>
                <a:gd name="connsiteX7" fmla="*/ 120514 w 120514"/>
                <a:gd name="connsiteY7" fmla="*/ 104195 h 120514"/>
                <a:gd name="connsiteX8" fmla="*/ 103567 w 120514"/>
                <a:gd name="connsiteY8" fmla="*/ 120514 h 120514"/>
                <a:gd name="connsiteX9" fmla="*/ 103567 w 120514"/>
                <a:gd name="connsiteY9" fmla="*/ 120514 h 120514"/>
                <a:gd name="connsiteX10" fmla="*/ 33895 w 120514"/>
                <a:gd name="connsiteY10" fmla="*/ 87247 h 120514"/>
                <a:gd name="connsiteX11" fmla="*/ 87247 w 120514"/>
                <a:gd name="connsiteY11" fmla="*/ 87247 h 120514"/>
                <a:gd name="connsiteX12" fmla="*/ 87247 w 120514"/>
                <a:gd name="connsiteY12" fmla="*/ 33895 h 120514"/>
                <a:gd name="connsiteX13" fmla="*/ 33895 w 120514"/>
                <a:gd name="connsiteY13" fmla="*/ 33895 h 120514"/>
                <a:gd name="connsiteX14" fmla="*/ 33895 w 120514"/>
                <a:gd name="connsiteY14" fmla="*/ 87247 h 120514"/>
                <a:gd name="connsiteX15" fmla="*/ 33895 w 120514"/>
                <a:gd name="connsiteY15" fmla="*/ 87247 h 120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0514" h="120514">
                  <a:moveTo>
                    <a:pt x="103567" y="120514"/>
                  </a:moveTo>
                  <a:lnTo>
                    <a:pt x="16947" y="120514"/>
                  </a:lnTo>
                  <a:cubicBezTo>
                    <a:pt x="7532" y="120514"/>
                    <a:pt x="0" y="112982"/>
                    <a:pt x="0" y="103567"/>
                  </a:cubicBezTo>
                  <a:lnTo>
                    <a:pt x="0" y="16947"/>
                  </a:lnTo>
                  <a:cubicBezTo>
                    <a:pt x="0" y="7532"/>
                    <a:pt x="7532" y="0"/>
                    <a:pt x="16947" y="0"/>
                  </a:cubicBezTo>
                  <a:lnTo>
                    <a:pt x="103567" y="0"/>
                  </a:lnTo>
                  <a:cubicBezTo>
                    <a:pt x="112982" y="0"/>
                    <a:pt x="120514" y="7532"/>
                    <a:pt x="120514" y="16947"/>
                  </a:cubicBezTo>
                  <a:lnTo>
                    <a:pt x="120514" y="104195"/>
                  </a:lnTo>
                  <a:cubicBezTo>
                    <a:pt x="120514" y="113610"/>
                    <a:pt x="112982" y="120514"/>
                    <a:pt x="103567" y="120514"/>
                  </a:cubicBezTo>
                  <a:lnTo>
                    <a:pt x="103567" y="120514"/>
                  </a:lnTo>
                  <a:close/>
                  <a:moveTo>
                    <a:pt x="33895" y="87247"/>
                  </a:moveTo>
                  <a:lnTo>
                    <a:pt x="87247" y="87247"/>
                  </a:lnTo>
                  <a:lnTo>
                    <a:pt x="87247" y="33895"/>
                  </a:lnTo>
                  <a:lnTo>
                    <a:pt x="33895" y="33895"/>
                  </a:lnTo>
                  <a:lnTo>
                    <a:pt x="33895" y="87247"/>
                  </a:lnTo>
                  <a:lnTo>
                    <a:pt x="33895" y="87247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04" name="Forma Livre: Forma 303">
              <a:extLst>
                <a:ext uri="{FF2B5EF4-FFF2-40B4-BE49-F238E27FC236}">
                  <a16:creationId xmlns:a16="http://schemas.microsoft.com/office/drawing/2014/main" id="{2B6ECC4B-1A16-400E-9A97-9EF687B21F4D}"/>
                </a:ext>
              </a:extLst>
            </p:cNvPr>
            <p:cNvSpPr/>
            <p:nvPr/>
          </p:nvSpPr>
          <p:spPr>
            <a:xfrm>
              <a:off x="6410198" y="2859024"/>
              <a:ext cx="120514" cy="120514"/>
            </a:xfrm>
            <a:custGeom>
              <a:avLst/>
              <a:gdLst>
                <a:gd name="connsiteX0" fmla="*/ 103567 w 120514"/>
                <a:gd name="connsiteY0" fmla="*/ 120514 h 120514"/>
                <a:gd name="connsiteX1" fmla="*/ 16947 w 120514"/>
                <a:gd name="connsiteY1" fmla="*/ 120514 h 120514"/>
                <a:gd name="connsiteX2" fmla="*/ 0 w 120514"/>
                <a:gd name="connsiteY2" fmla="*/ 103567 h 120514"/>
                <a:gd name="connsiteX3" fmla="*/ 0 w 120514"/>
                <a:gd name="connsiteY3" fmla="*/ 16947 h 120514"/>
                <a:gd name="connsiteX4" fmla="*/ 16947 w 120514"/>
                <a:gd name="connsiteY4" fmla="*/ 0 h 120514"/>
                <a:gd name="connsiteX5" fmla="*/ 103567 w 120514"/>
                <a:gd name="connsiteY5" fmla="*/ 0 h 120514"/>
                <a:gd name="connsiteX6" fmla="*/ 120514 w 120514"/>
                <a:gd name="connsiteY6" fmla="*/ 16947 h 120514"/>
                <a:gd name="connsiteX7" fmla="*/ 120514 w 120514"/>
                <a:gd name="connsiteY7" fmla="*/ 103567 h 120514"/>
                <a:gd name="connsiteX8" fmla="*/ 103567 w 120514"/>
                <a:gd name="connsiteY8" fmla="*/ 120514 h 120514"/>
                <a:gd name="connsiteX9" fmla="*/ 103567 w 120514"/>
                <a:gd name="connsiteY9" fmla="*/ 120514 h 120514"/>
                <a:gd name="connsiteX10" fmla="*/ 33895 w 120514"/>
                <a:gd name="connsiteY10" fmla="*/ 87247 h 120514"/>
                <a:gd name="connsiteX11" fmla="*/ 87247 w 120514"/>
                <a:gd name="connsiteY11" fmla="*/ 87247 h 120514"/>
                <a:gd name="connsiteX12" fmla="*/ 87247 w 120514"/>
                <a:gd name="connsiteY12" fmla="*/ 33895 h 120514"/>
                <a:gd name="connsiteX13" fmla="*/ 33895 w 120514"/>
                <a:gd name="connsiteY13" fmla="*/ 33895 h 120514"/>
                <a:gd name="connsiteX14" fmla="*/ 33895 w 120514"/>
                <a:gd name="connsiteY14" fmla="*/ 87247 h 120514"/>
                <a:gd name="connsiteX15" fmla="*/ 33895 w 120514"/>
                <a:gd name="connsiteY15" fmla="*/ 87247 h 120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0514" h="120514">
                  <a:moveTo>
                    <a:pt x="103567" y="120514"/>
                  </a:moveTo>
                  <a:lnTo>
                    <a:pt x="16947" y="120514"/>
                  </a:lnTo>
                  <a:cubicBezTo>
                    <a:pt x="7532" y="120514"/>
                    <a:pt x="0" y="112982"/>
                    <a:pt x="0" y="103567"/>
                  </a:cubicBezTo>
                  <a:lnTo>
                    <a:pt x="0" y="16947"/>
                  </a:lnTo>
                  <a:cubicBezTo>
                    <a:pt x="0" y="7532"/>
                    <a:pt x="7532" y="0"/>
                    <a:pt x="16947" y="0"/>
                  </a:cubicBezTo>
                  <a:lnTo>
                    <a:pt x="103567" y="0"/>
                  </a:lnTo>
                  <a:cubicBezTo>
                    <a:pt x="112982" y="0"/>
                    <a:pt x="120514" y="7532"/>
                    <a:pt x="120514" y="16947"/>
                  </a:cubicBezTo>
                  <a:lnTo>
                    <a:pt x="120514" y="103567"/>
                  </a:lnTo>
                  <a:cubicBezTo>
                    <a:pt x="120514" y="112982"/>
                    <a:pt x="112982" y="120514"/>
                    <a:pt x="103567" y="120514"/>
                  </a:cubicBezTo>
                  <a:lnTo>
                    <a:pt x="103567" y="120514"/>
                  </a:lnTo>
                  <a:close/>
                  <a:moveTo>
                    <a:pt x="33895" y="87247"/>
                  </a:moveTo>
                  <a:lnTo>
                    <a:pt x="87247" y="87247"/>
                  </a:lnTo>
                  <a:lnTo>
                    <a:pt x="87247" y="33895"/>
                  </a:lnTo>
                  <a:lnTo>
                    <a:pt x="33895" y="33895"/>
                  </a:lnTo>
                  <a:lnTo>
                    <a:pt x="33895" y="87247"/>
                  </a:lnTo>
                  <a:lnTo>
                    <a:pt x="33895" y="87247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05" name="Forma Livre: Forma 304">
              <a:extLst>
                <a:ext uri="{FF2B5EF4-FFF2-40B4-BE49-F238E27FC236}">
                  <a16:creationId xmlns:a16="http://schemas.microsoft.com/office/drawing/2014/main" id="{8A6EFE14-7B07-415E-8610-BEC6E682A737}"/>
                </a:ext>
              </a:extLst>
            </p:cNvPr>
            <p:cNvSpPr/>
            <p:nvPr/>
          </p:nvSpPr>
          <p:spPr>
            <a:xfrm>
              <a:off x="6548915" y="2859024"/>
              <a:ext cx="120514" cy="120514"/>
            </a:xfrm>
            <a:custGeom>
              <a:avLst/>
              <a:gdLst>
                <a:gd name="connsiteX0" fmla="*/ 103567 w 120514"/>
                <a:gd name="connsiteY0" fmla="*/ 120514 h 120514"/>
                <a:gd name="connsiteX1" fmla="*/ 16947 w 120514"/>
                <a:gd name="connsiteY1" fmla="*/ 120514 h 120514"/>
                <a:gd name="connsiteX2" fmla="*/ 0 w 120514"/>
                <a:gd name="connsiteY2" fmla="*/ 103567 h 120514"/>
                <a:gd name="connsiteX3" fmla="*/ 0 w 120514"/>
                <a:gd name="connsiteY3" fmla="*/ 16947 h 120514"/>
                <a:gd name="connsiteX4" fmla="*/ 16947 w 120514"/>
                <a:gd name="connsiteY4" fmla="*/ 0 h 120514"/>
                <a:gd name="connsiteX5" fmla="*/ 103567 w 120514"/>
                <a:gd name="connsiteY5" fmla="*/ 0 h 120514"/>
                <a:gd name="connsiteX6" fmla="*/ 120514 w 120514"/>
                <a:gd name="connsiteY6" fmla="*/ 16947 h 120514"/>
                <a:gd name="connsiteX7" fmla="*/ 120514 w 120514"/>
                <a:gd name="connsiteY7" fmla="*/ 103567 h 120514"/>
                <a:gd name="connsiteX8" fmla="*/ 103567 w 120514"/>
                <a:gd name="connsiteY8" fmla="*/ 120514 h 120514"/>
                <a:gd name="connsiteX9" fmla="*/ 103567 w 120514"/>
                <a:gd name="connsiteY9" fmla="*/ 120514 h 120514"/>
                <a:gd name="connsiteX10" fmla="*/ 33894 w 120514"/>
                <a:gd name="connsiteY10" fmla="*/ 87247 h 120514"/>
                <a:gd name="connsiteX11" fmla="*/ 87247 w 120514"/>
                <a:gd name="connsiteY11" fmla="*/ 87247 h 120514"/>
                <a:gd name="connsiteX12" fmla="*/ 87247 w 120514"/>
                <a:gd name="connsiteY12" fmla="*/ 33895 h 120514"/>
                <a:gd name="connsiteX13" fmla="*/ 33894 w 120514"/>
                <a:gd name="connsiteY13" fmla="*/ 33895 h 120514"/>
                <a:gd name="connsiteX14" fmla="*/ 33894 w 120514"/>
                <a:gd name="connsiteY14" fmla="*/ 87247 h 120514"/>
                <a:gd name="connsiteX15" fmla="*/ 33894 w 120514"/>
                <a:gd name="connsiteY15" fmla="*/ 87247 h 120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0514" h="120514">
                  <a:moveTo>
                    <a:pt x="103567" y="120514"/>
                  </a:moveTo>
                  <a:lnTo>
                    <a:pt x="16947" y="120514"/>
                  </a:lnTo>
                  <a:cubicBezTo>
                    <a:pt x="7532" y="120514"/>
                    <a:pt x="0" y="112982"/>
                    <a:pt x="0" y="103567"/>
                  </a:cubicBezTo>
                  <a:lnTo>
                    <a:pt x="0" y="16947"/>
                  </a:lnTo>
                  <a:cubicBezTo>
                    <a:pt x="0" y="7532"/>
                    <a:pt x="7532" y="0"/>
                    <a:pt x="16947" y="0"/>
                  </a:cubicBezTo>
                  <a:lnTo>
                    <a:pt x="103567" y="0"/>
                  </a:lnTo>
                  <a:cubicBezTo>
                    <a:pt x="112982" y="0"/>
                    <a:pt x="120514" y="7532"/>
                    <a:pt x="120514" y="16947"/>
                  </a:cubicBezTo>
                  <a:lnTo>
                    <a:pt x="120514" y="103567"/>
                  </a:lnTo>
                  <a:cubicBezTo>
                    <a:pt x="120514" y="112982"/>
                    <a:pt x="112982" y="120514"/>
                    <a:pt x="103567" y="120514"/>
                  </a:cubicBezTo>
                  <a:lnTo>
                    <a:pt x="103567" y="120514"/>
                  </a:lnTo>
                  <a:close/>
                  <a:moveTo>
                    <a:pt x="33894" y="87247"/>
                  </a:moveTo>
                  <a:lnTo>
                    <a:pt x="87247" y="87247"/>
                  </a:lnTo>
                  <a:lnTo>
                    <a:pt x="87247" y="33895"/>
                  </a:lnTo>
                  <a:lnTo>
                    <a:pt x="33894" y="33895"/>
                  </a:lnTo>
                  <a:lnTo>
                    <a:pt x="33894" y="87247"/>
                  </a:lnTo>
                  <a:lnTo>
                    <a:pt x="33894" y="87247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06" name="Forma Livre: Forma 305">
              <a:extLst>
                <a:ext uri="{FF2B5EF4-FFF2-40B4-BE49-F238E27FC236}">
                  <a16:creationId xmlns:a16="http://schemas.microsoft.com/office/drawing/2014/main" id="{386B2D51-6F8F-43E1-8C33-C3FCE2854D2D}"/>
                </a:ext>
              </a:extLst>
            </p:cNvPr>
            <p:cNvSpPr/>
            <p:nvPr/>
          </p:nvSpPr>
          <p:spPr>
            <a:xfrm>
              <a:off x="6687632" y="2859024"/>
              <a:ext cx="120514" cy="120514"/>
            </a:xfrm>
            <a:custGeom>
              <a:avLst/>
              <a:gdLst>
                <a:gd name="connsiteX0" fmla="*/ 103567 w 120514"/>
                <a:gd name="connsiteY0" fmla="*/ 120514 h 120514"/>
                <a:gd name="connsiteX1" fmla="*/ 16947 w 120514"/>
                <a:gd name="connsiteY1" fmla="*/ 120514 h 120514"/>
                <a:gd name="connsiteX2" fmla="*/ 0 w 120514"/>
                <a:gd name="connsiteY2" fmla="*/ 103567 h 120514"/>
                <a:gd name="connsiteX3" fmla="*/ 0 w 120514"/>
                <a:gd name="connsiteY3" fmla="*/ 16947 h 120514"/>
                <a:gd name="connsiteX4" fmla="*/ 16947 w 120514"/>
                <a:gd name="connsiteY4" fmla="*/ 0 h 120514"/>
                <a:gd name="connsiteX5" fmla="*/ 103567 w 120514"/>
                <a:gd name="connsiteY5" fmla="*/ 0 h 120514"/>
                <a:gd name="connsiteX6" fmla="*/ 120514 w 120514"/>
                <a:gd name="connsiteY6" fmla="*/ 16947 h 120514"/>
                <a:gd name="connsiteX7" fmla="*/ 120514 w 120514"/>
                <a:gd name="connsiteY7" fmla="*/ 103567 h 120514"/>
                <a:gd name="connsiteX8" fmla="*/ 103567 w 120514"/>
                <a:gd name="connsiteY8" fmla="*/ 120514 h 120514"/>
                <a:gd name="connsiteX9" fmla="*/ 103567 w 120514"/>
                <a:gd name="connsiteY9" fmla="*/ 120514 h 120514"/>
                <a:gd name="connsiteX10" fmla="*/ 33895 w 120514"/>
                <a:gd name="connsiteY10" fmla="*/ 87247 h 120514"/>
                <a:gd name="connsiteX11" fmla="*/ 87247 w 120514"/>
                <a:gd name="connsiteY11" fmla="*/ 87247 h 120514"/>
                <a:gd name="connsiteX12" fmla="*/ 87247 w 120514"/>
                <a:gd name="connsiteY12" fmla="*/ 33895 h 120514"/>
                <a:gd name="connsiteX13" fmla="*/ 33895 w 120514"/>
                <a:gd name="connsiteY13" fmla="*/ 33895 h 120514"/>
                <a:gd name="connsiteX14" fmla="*/ 33895 w 120514"/>
                <a:gd name="connsiteY14" fmla="*/ 87247 h 120514"/>
                <a:gd name="connsiteX15" fmla="*/ 33895 w 120514"/>
                <a:gd name="connsiteY15" fmla="*/ 87247 h 120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0514" h="120514">
                  <a:moveTo>
                    <a:pt x="103567" y="120514"/>
                  </a:moveTo>
                  <a:lnTo>
                    <a:pt x="16947" y="120514"/>
                  </a:lnTo>
                  <a:cubicBezTo>
                    <a:pt x="7532" y="120514"/>
                    <a:pt x="0" y="112982"/>
                    <a:pt x="0" y="103567"/>
                  </a:cubicBezTo>
                  <a:lnTo>
                    <a:pt x="0" y="16947"/>
                  </a:lnTo>
                  <a:cubicBezTo>
                    <a:pt x="0" y="7532"/>
                    <a:pt x="7532" y="0"/>
                    <a:pt x="16947" y="0"/>
                  </a:cubicBezTo>
                  <a:lnTo>
                    <a:pt x="103567" y="0"/>
                  </a:lnTo>
                  <a:cubicBezTo>
                    <a:pt x="112982" y="0"/>
                    <a:pt x="120514" y="7532"/>
                    <a:pt x="120514" y="16947"/>
                  </a:cubicBezTo>
                  <a:lnTo>
                    <a:pt x="120514" y="103567"/>
                  </a:lnTo>
                  <a:cubicBezTo>
                    <a:pt x="120514" y="112982"/>
                    <a:pt x="112982" y="120514"/>
                    <a:pt x="103567" y="120514"/>
                  </a:cubicBezTo>
                  <a:lnTo>
                    <a:pt x="103567" y="120514"/>
                  </a:lnTo>
                  <a:close/>
                  <a:moveTo>
                    <a:pt x="33895" y="87247"/>
                  </a:moveTo>
                  <a:lnTo>
                    <a:pt x="87247" y="87247"/>
                  </a:lnTo>
                  <a:lnTo>
                    <a:pt x="87247" y="33895"/>
                  </a:lnTo>
                  <a:lnTo>
                    <a:pt x="33895" y="33895"/>
                  </a:lnTo>
                  <a:lnTo>
                    <a:pt x="33895" y="87247"/>
                  </a:lnTo>
                  <a:lnTo>
                    <a:pt x="33895" y="87247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07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1344831" y="1541527"/>
            <a:ext cx="309445" cy="409874"/>
            <a:chOff x="1344831" y="1541527"/>
            <a:chExt cx="309445" cy="409874"/>
          </a:xfrm>
          <a:solidFill>
            <a:srgbClr val="B1B1A1"/>
          </a:solidFill>
        </p:grpSpPr>
        <p:grpSp>
          <p:nvGrpSpPr>
            <p:cNvPr id="308" name="Gráfico 2">
              <a:extLst>
                <a:ext uri="{FF2B5EF4-FFF2-40B4-BE49-F238E27FC236}">
                  <a16:creationId xmlns:a16="http://schemas.microsoft.com/office/drawing/2014/main" id="{83F95F55-5D1D-4425-8D77-756B15108235}"/>
                </a:ext>
              </a:extLst>
            </p:cNvPr>
            <p:cNvGrpSpPr/>
            <p:nvPr/>
          </p:nvGrpSpPr>
          <p:grpSpPr>
            <a:xfrm>
              <a:off x="1344831" y="1541527"/>
              <a:ext cx="309445" cy="409874"/>
              <a:chOff x="1344831" y="1541527"/>
              <a:chExt cx="309445" cy="409874"/>
            </a:xfrm>
            <a:grpFill/>
          </p:grpSpPr>
          <p:sp>
            <p:nvSpPr>
              <p:cNvPr id="309" name="Forma Livre: Forma 308">
                <a:extLst>
                  <a:ext uri="{FF2B5EF4-FFF2-40B4-BE49-F238E27FC236}">
                    <a16:creationId xmlns:a16="http://schemas.microsoft.com/office/drawing/2014/main" id="{9228462A-F0DA-476A-B9AA-6ADF00B5FC6D}"/>
                  </a:ext>
                </a:extLst>
              </p:cNvPr>
              <p:cNvSpPr/>
              <p:nvPr/>
            </p:nvSpPr>
            <p:spPr>
              <a:xfrm>
                <a:off x="1344831" y="1583581"/>
                <a:ext cx="309445" cy="367819"/>
              </a:xfrm>
              <a:custGeom>
                <a:avLst/>
                <a:gdLst>
                  <a:gd name="connsiteX0" fmla="*/ 271157 w 309445"/>
                  <a:gd name="connsiteY0" fmla="*/ 367820 h 367819"/>
                  <a:gd name="connsiteX1" fmla="*/ 38288 w 309445"/>
                  <a:gd name="connsiteY1" fmla="*/ 367820 h 367819"/>
                  <a:gd name="connsiteX2" fmla="*/ 0 w 309445"/>
                  <a:gd name="connsiteY2" fmla="*/ 329531 h 367819"/>
                  <a:gd name="connsiteX3" fmla="*/ 0 w 309445"/>
                  <a:gd name="connsiteY3" fmla="*/ 16947 h 367819"/>
                  <a:gd name="connsiteX4" fmla="*/ 16947 w 309445"/>
                  <a:gd name="connsiteY4" fmla="*/ 0 h 367819"/>
                  <a:gd name="connsiteX5" fmla="*/ 33895 w 309445"/>
                  <a:gd name="connsiteY5" fmla="*/ 16947 h 367819"/>
                  <a:gd name="connsiteX6" fmla="*/ 33895 w 309445"/>
                  <a:gd name="connsiteY6" fmla="*/ 329531 h 367819"/>
                  <a:gd name="connsiteX7" fmla="*/ 38288 w 309445"/>
                  <a:gd name="connsiteY7" fmla="*/ 333925 h 367819"/>
                  <a:gd name="connsiteX8" fmla="*/ 271157 w 309445"/>
                  <a:gd name="connsiteY8" fmla="*/ 333925 h 367819"/>
                  <a:gd name="connsiteX9" fmla="*/ 275551 w 309445"/>
                  <a:gd name="connsiteY9" fmla="*/ 329531 h 367819"/>
                  <a:gd name="connsiteX10" fmla="*/ 275551 w 309445"/>
                  <a:gd name="connsiteY10" fmla="*/ 65906 h 367819"/>
                  <a:gd name="connsiteX11" fmla="*/ 271157 w 309445"/>
                  <a:gd name="connsiteY11" fmla="*/ 61512 h 367819"/>
                  <a:gd name="connsiteX12" fmla="*/ 254210 w 309445"/>
                  <a:gd name="connsiteY12" fmla="*/ 44565 h 367819"/>
                  <a:gd name="connsiteX13" fmla="*/ 271157 w 309445"/>
                  <a:gd name="connsiteY13" fmla="*/ 27618 h 367819"/>
                  <a:gd name="connsiteX14" fmla="*/ 309446 w 309445"/>
                  <a:gd name="connsiteY14" fmla="*/ 65906 h 367819"/>
                  <a:gd name="connsiteX15" fmla="*/ 309446 w 309445"/>
                  <a:gd name="connsiteY15" fmla="*/ 329531 h 367819"/>
                  <a:gd name="connsiteX16" fmla="*/ 271157 w 309445"/>
                  <a:gd name="connsiteY16" fmla="*/ 367820 h 367819"/>
                  <a:gd name="connsiteX17" fmla="*/ 271157 w 309445"/>
                  <a:gd name="connsiteY17" fmla="*/ 367820 h 367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09445" h="367819">
                    <a:moveTo>
                      <a:pt x="271157" y="367820"/>
                    </a:moveTo>
                    <a:lnTo>
                      <a:pt x="38288" y="367820"/>
                    </a:lnTo>
                    <a:cubicBezTo>
                      <a:pt x="17575" y="367820"/>
                      <a:pt x="0" y="350872"/>
                      <a:pt x="0" y="329531"/>
                    </a:cubicBezTo>
                    <a:lnTo>
                      <a:pt x="0" y="16947"/>
                    </a:lnTo>
                    <a:cubicBezTo>
                      <a:pt x="0" y="7532"/>
                      <a:pt x="7532" y="0"/>
                      <a:pt x="16947" y="0"/>
                    </a:cubicBezTo>
                    <a:cubicBezTo>
                      <a:pt x="26363" y="0"/>
                      <a:pt x="33895" y="7532"/>
                      <a:pt x="33895" y="16947"/>
                    </a:cubicBezTo>
                    <a:lnTo>
                      <a:pt x="33895" y="329531"/>
                    </a:lnTo>
                    <a:cubicBezTo>
                      <a:pt x="33895" y="332042"/>
                      <a:pt x="35778" y="333925"/>
                      <a:pt x="38288" y="333925"/>
                    </a:cubicBezTo>
                    <a:lnTo>
                      <a:pt x="271157" y="333925"/>
                    </a:lnTo>
                    <a:cubicBezTo>
                      <a:pt x="273668" y="333925"/>
                      <a:pt x="275551" y="332042"/>
                      <a:pt x="275551" y="329531"/>
                    </a:cubicBezTo>
                    <a:lnTo>
                      <a:pt x="275551" y="65906"/>
                    </a:lnTo>
                    <a:cubicBezTo>
                      <a:pt x="275551" y="63395"/>
                      <a:pt x="273668" y="61512"/>
                      <a:pt x="271157" y="61512"/>
                    </a:cubicBezTo>
                    <a:cubicBezTo>
                      <a:pt x="261742" y="61512"/>
                      <a:pt x="254210" y="53980"/>
                      <a:pt x="254210" y="44565"/>
                    </a:cubicBezTo>
                    <a:cubicBezTo>
                      <a:pt x="254210" y="35150"/>
                      <a:pt x="261742" y="27618"/>
                      <a:pt x="271157" y="27618"/>
                    </a:cubicBezTo>
                    <a:cubicBezTo>
                      <a:pt x="291871" y="27618"/>
                      <a:pt x="309446" y="44565"/>
                      <a:pt x="309446" y="65906"/>
                    </a:cubicBezTo>
                    <a:lnTo>
                      <a:pt x="309446" y="329531"/>
                    </a:lnTo>
                    <a:cubicBezTo>
                      <a:pt x="309446" y="350872"/>
                      <a:pt x="292498" y="367820"/>
                      <a:pt x="271157" y="367820"/>
                    </a:cubicBezTo>
                    <a:lnTo>
                      <a:pt x="271157" y="367820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10" name="Forma Livre: Forma 309">
                <a:extLst>
                  <a:ext uri="{FF2B5EF4-FFF2-40B4-BE49-F238E27FC236}">
                    <a16:creationId xmlns:a16="http://schemas.microsoft.com/office/drawing/2014/main" id="{962EDB97-D402-40F4-96C8-DBFE43372696}"/>
                  </a:ext>
                </a:extLst>
              </p:cNvPr>
              <p:cNvSpPr/>
              <p:nvPr/>
            </p:nvSpPr>
            <p:spPr>
              <a:xfrm>
                <a:off x="1345459" y="1541527"/>
                <a:ext cx="308817" cy="102939"/>
              </a:xfrm>
              <a:custGeom>
                <a:avLst/>
                <a:gdLst>
                  <a:gd name="connsiteX0" fmla="*/ 267391 w 308817"/>
                  <a:gd name="connsiteY0" fmla="*/ 102939 h 102939"/>
                  <a:gd name="connsiteX1" fmla="*/ 51470 w 308817"/>
                  <a:gd name="connsiteY1" fmla="*/ 102939 h 102939"/>
                  <a:gd name="connsiteX2" fmla="*/ 0 w 308817"/>
                  <a:gd name="connsiteY2" fmla="*/ 51470 h 102939"/>
                  <a:gd name="connsiteX3" fmla="*/ 51470 w 308817"/>
                  <a:gd name="connsiteY3" fmla="*/ 0 h 102939"/>
                  <a:gd name="connsiteX4" fmla="*/ 291871 w 308817"/>
                  <a:gd name="connsiteY4" fmla="*/ 0 h 102939"/>
                  <a:gd name="connsiteX5" fmla="*/ 308818 w 308817"/>
                  <a:gd name="connsiteY5" fmla="*/ 16947 h 102939"/>
                  <a:gd name="connsiteX6" fmla="*/ 291871 w 308817"/>
                  <a:gd name="connsiteY6" fmla="*/ 33895 h 102939"/>
                  <a:gd name="connsiteX7" fmla="*/ 51470 w 308817"/>
                  <a:gd name="connsiteY7" fmla="*/ 33895 h 102939"/>
                  <a:gd name="connsiteX8" fmla="*/ 33267 w 308817"/>
                  <a:gd name="connsiteY8" fmla="*/ 52097 h 102939"/>
                  <a:gd name="connsiteX9" fmla="*/ 51470 w 308817"/>
                  <a:gd name="connsiteY9" fmla="*/ 70300 h 102939"/>
                  <a:gd name="connsiteX10" fmla="*/ 267391 w 308817"/>
                  <a:gd name="connsiteY10" fmla="*/ 70300 h 102939"/>
                  <a:gd name="connsiteX11" fmla="*/ 284338 w 308817"/>
                  <a:gd name="connsiteY11" fmla="*/ 87247 h 102939"/>
                  <a:gd name="connsiteX12" fmla="*/ 267391 w 308817"/>
                  <a:gd name="connsiteY12" fmla="*/ 102939 h 102939"/>
                  <a:gd name="connsiteX13" fmla="*/ 267391 w 308817"/>
                  <a:gd name="connsiteY13" fmla="*/ 102939 h 1029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08817" h="102939">
                    <a:moveTo>
                      <a:pt x="267391" y="102939"/>
                    </a:moveTo>
                    <a:lnTo>
                      <a:pt x="51470" y="102939"/>
                    </a:lnTo>
                    <a:cubicBezTo>
                      <a:pt x="23224" y="102939"/>
                      <a:pt x="0" y="79715"/>
                      <a:pt x="0" y="51470"/>
                    </a:cubicBezTo>
                    <a:cubicBezTo>
                      <a:pt x="0" y="23224"/>
                      <a:pt x="23224" y="0"/>
                      <a:pt x="51470" y="0"/>
                    </a:cubicBezTo>
                    <a:lnTo>
                      <a:pt x="291871" y="0"/>
                    </a:lnTo>
                    <a:cubicBezTo>
                      <a:pt x="301286" y="0"/>
                      <a:pt x="308818" y="7532"/>
                      <a:pt x="308818" y="16947"/>
                    </a:cubicBezTo>
                    <a:cubicBezTo>
                      <a:pt x="308818" y="26363"/>
                      <a:pt x="301286" y="33895"/>
                      <a:pt x="291871" y="33895"/>
                    </a:cubicBezTo>
                    <a:lnTo>
                      <a:pt x="51470" y="33895"/>
                    </a:lnTo>
                    <a:cubicBezTo>
                      <a:pt x="41427" y="33895"/>
                      <a:pt x="33267" y="42055"/>
                      <a:pt x="33267" y="52097"/>
                    </a:cubicBezTo>
                    <a:cubicBezTo>
                      <a:pt x="33267" y="62140"/>
                      <a:pt x="41427" y="70300"/>
                      <a:pt x="51470" y="70300"/>
                    </a:cubicBezTo>
                    <a:lnTo>
                      <a:pt x="267391" y="70300"/>
                    </a:lnTo>
                    <a:cubicBezTo>
                      <a:pt x="276806" y="70300"/>
                      <a:pt x="284338" y="77832"/>
                      <a:pt x="284338" y="87247"/>
                    </a:cubicBezTo>
                    <a:cubicBezTo>
                      <a:pt x="284338" y="96663"/>
                      <a:pt x="276806" y="102939"/>
                      <a:pt x="267391" y="102939"/>
                    </a:cubicBezTo>
                    <a:lnTo>
                      <a:pt x="267391" y="102939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311" name="Forma Livre: Forma 310">
              <a:extLst>
                <a:ext uri="{FF2B5EF4-FFF2-40B4-BE49-F238E27FC236}">
                  <a16:creationId xmlns:a16="http://schemas.microsoft.com/office/drawing/2014/main" id="{8064FA5C-A699-456C-A8BB-0BF3C5BE0201}"/>
                </a:ext>
              </a:extLst>
            </p:cNvPr>
            <p:cNvSpPr/>
            <p:nvPr/>
          </p:nvSpPr>
          <p:spPr>
            <a:xfrm>
              <a:off x="1452164" y="1681499"/>
              <a:ext cx="95407" cy="104194"/>
            </a:xfrm>
            <a:custGeom>
              <a:avLst/>
              <a:gdLst>
                <a:gd name="connsiteX0" fmla="*/ 47704 w 95407"/>
                <a:gd name="connsiteY0" fmla="*/ 104195 h 104194"/>
                <a:gd name="connsiteX1" fmla="*/ 0 w 95407"/>
                <a:gd name="connsiteY1" fmla="*/ 52097 h 104194"/>
                <a:gd name="connsiteX2" fmla="*/ 47704 w 95407"/>
                <a:gd name="connsiteY2" fmla="*/ 0 h 104194"/>
                <a:gd name="connsiteX3" fmla="*/ 95407 w 95407"/>
                <a:gd name="connsiteY3" fmla="*/ 52097 h 104194"/>
                <a:gd name="connsiteX4" fmla="*/ 47704 w 95407"/>
                <a:gd name="connsiteY4" fmla="*/ 104195 h 104194"/>
                <a:gd name="connsiteX5" fmla="*/ 47704 w 95407"/>
                <a:gd name="connsiteY5" fmla="*/ 104195 h 104194"/>
                <a:gd name="connsiteX6" fmla="*/ 47704 w 95407"/>
                <a:gd name="connsiteY6" fmla="*/ 32639 h 104194"/>
                <a:gd name="connsiteX7" fmla="*/ 33267 w 95407"/>
                <a:gd name="connsiteY7" fmla="*/ 51470 h 104194"/>
                <a:gd name="connsiteX8" fmla="*/ 47704 w 95407"/>
                <a:gd name="connsiteY8" fmla="*/ 70300 h 104194"/>
                <a:gd name="connsiteX9" fmla="*/ 62140 w 95407"/>
                <a:gd name="connsiteY9" fmla="*/ 51470 h 104194"/>
                <a:gd name="connsiteX10" fmla="*/ 47704 w 95407"/>
                <a:gd name="connsiteY10" fmla="*/ 32639 h 104194"/>
                <a:gd name="connsiteX11" fmla="*/ 47704 w 95407"/>
                <a:gd name="connsiteY11" fmla="*/ 32639 h 104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5407" h="104194">
                  <a:moveTo>
                    <a:pt x="47704" y="104195"/>
                  </a:moveTo>
                  <a:cubicBezTo>
                    <a:pt x="21341" y="104195"/>
                    <a:pt x="0" y="80971"/>
                    <a:pt x="0" y="52097"/>
                  </a:cubicBezTo>
                  <a:cubicBezTo>
                    <a:pt x="0" y="23224"/>
                    <a:pt x="21341" y="0"/>
                    <a:pt x="47704" y="0"/>
                  </a:cubicBezTo>
                  <a:cubicBezTo>
                    <a:pt x="74066" y="0"/>
                    <a:pt x="95407" y="23224"/>
                    <a:pt x="95407" y="52097"/>
                  </a:cubicBezTo>
                  <a:cubicBezTo>
                    <a:pt x="95407" y="80343"/>
                    <a:pt x="74066" y="104195"/>
                    <a:pt x="47704" y="104195"/>
                  </a:cubicBezTo>
                  <a:lnTo>
                    <a:pt x="47704" y="104195"/>
                  </a:lnTo>
                  <a:close/>
                  <a:moveTo>
                    <a:pt x="47704" y="32639"/>
                  </a:moveTo>
                  <a:cubicBezTo>
                    <a:pt x="40171" y="32639"/>
                    <a:pt x="33267" y="41427"/>
                    <a:pt x="33267" y="51470"/>
                  </a:cubicBezTo>
                  <a:cubicBezTo>
                    <a:pt x="33267" y="61513"/>
                    <a:pt x="39544" y="70300"/>
                    <a:pt x="47704" y="70300"/>
                  </a:cubicBezTo>
                  <a:cubicBezTo>
                    <a:pt x="55236" y="70300"/>
                    <a:pt x="62140" y="61513"/>
                    <a:pt x="62140" y="51470"/>
                  </a:cubicBezTo>
                  <a:cubicBezTo>
                    <a:pt x="61513" y="41427"/>
                    <a:pt x="55236" y="32639"/>
                    <a:pt x="47704" y="32639"/>
                  </a:cubicBezTo>
                  <a:lnTo>
                    <a:pt x="47704" y="32639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12" name="Forma Livre: Forma 311">
              <a:extLst>
                <a:ext uri="{FF2B5EF4-FFF2-40B4-BE49-F238E27FC236}">
                  <a16:creationId xmlns:a16="http://schemas.microsoft.com/office/drawing/2014/main" id="{FA7A096E-8FD6-4498-A6B5-7DE81A638899}"/>
                </a:ext>
              </a:extLst>
            </p:cNvPr>
            <p:cNvSpPr/>
            <p:nvPr/>
          </p:nvSpPr>
          <p:spPr>
            <a:xfrm>
              <a:off x="1420698" y="1779731"/>
              <a:ext cx="157712" cy="106391"/>
            </a:xfrm>
            <a:custGeom>
              <a:avLst/>
              <a:gdLst>
                <a:gd name="connsiteX0" fmla="*/ 138800 w 157712"/>
                <a:gd name="connsiteY0" fmla="*/ 106392 h 106391"/>
                <a:gd name="connsiteX1" fmla="*/ 19541 w 157712"/>
                <a:gd name="connsiteY1" fmla="*/ 106392 h 106391"/>
                <a:gd name="connsiteX2" fmla="*/ 2593 w 157712"/>
                <a:gd name="connsiteY2" fmla="*/ 90700 h 106391"/>
                <a:gd name="connsiteX3" fmla="*/ 83 w 157712"/>
                <a:gd name="connsiteY3" fmla="*/ 52411 h 106391"/>
                <a:gd name="connsiteX4" fmla="*/ 29584 w 157712"/>
                <a:gd name="connsiteY4" fmla="*/ 8474 h 106391"/>
                <a:gd name="connsiteX5" fmla="*/ 128129 w 157712"/>
                <a:gd name="connsiteY5" fmla="*/ 8474 h 106391"/>
                <a:gd name="connsiteX6" fmla="*/ 157630 w 157712"/>
                <a:gd name="connsiteY6" fmla="*/ 53039 h 106391"/>
                <a:gd name="connsiteX7" fmla="*/ 155119 w 157712"/>
                <a:gd name="connsiteY7" fmla="*/ 91327 h 106391"/>
                <a:gd name="connsiteX8" fmla="*/ 138800 w 157712"/>
                <a:gd name="connsiteY8" fmla="*/ 106392 h 106391"/>
                <a:gd name="connsiteX9" fmla="*/ 138800 w 157712"/>
                <a:gd name="connsiteY9" fmla="*/ 106392 h 106391"/>
                <a:gd name="connsiteX10" fmla="*/ 35233 w 157712"/>
                <a:gd name="connsiteY10" fmla="*/ 73125 h 106391"/>
                <a:gd name="connsiteX11" fmla="*/ 123108 w 157712"/>
                <a:gd name="connsiteY11" fmla="*/ 73125 h 106391"/>
                <a:gd name="connsiteX12" fmla="*/ 124363 w 157712"/>
                <a:gd name="connsiteY12" fmla="*/ 50528 h 106391"/>
                <a:gd name="connsiteX13" fmla="*/ 116831 w 157712"/>
                <a:gd name="connsiteY13" fmla="*/ 39858 h 106391"/>
                <a:gd name="connsiteX14" fmla="*/ 41510 w 157712"/>
                <a:gd name="connsiteY14" fmla="*/ 39858 h 106391"/>
                <a:gd name="connsiteX15" fmla="*/ 33977 w 157712"/>
                <a:gd name="connsiteY15" fmla="*/ 50528 h 106391"/>
                <a:gd name="connsiteX16" fmla="*/ 35233 w 157712"/>
                <a:gd name="connsiteY16" fmla="*/ 73125 h 106391"/>
                <a:gd name="connsiteX17" fmla="*/ 35233 w 157712"/>
                <a:gd name="connsiteY17" fmla="*/ 73125 h 106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57712" h="106391">
                  <a:moveTo>
                    <a:pt x="138800" y="106392"/>
                  </a:moveTo>
                  <a:lnTo>
                    <a:pt x="19541" y="106392"/>
                  </a:lnTo>
                  <a:cubicBezTo>
                    <a:pt x="10753" y="106392"/>
                    <a:pt x="3221" y="99487"/>
                    <a:pt x="2593" y="90700"/>
                  </a:cubicBezTo>
                  <a:lnTo>
                    <a:pt x="83" y="52411"/>
                  </a:lnTo>
                  <a:cubicBezTo>
                    <a:pt x="-1173" y="34209"/>
                    <a:pt x="12009" y="14750"/>
                    <a:pt x="29584" y="8474"/>
                  </a:cubicBezTo>
                  <a:cubicBezTo>
                    <a:pt x="61595" y="-2825"/>
                    <a:pt x="96118" y="-2825"/>
                    <a:pt x="128129" y="8474"/>
                  </a:cubicBezTo>
                  <a:cubicBezTo>
                    <a:pt x="145704" y="14750"/>
                    <a:pt x="158885" y="34836"/>
                    <a:pt x="157630" y="53039"/>
                  </a:cubicBezTo>
                  <a:lnTo>
                    <a:pt x="155119" y="91327"/>
                  </a:lnTo>
                  <a:cubicBezTo>
                    <a:pt x="154492" y="99487"/>
                    <a:pt x="146960" y="106392"/>
                    <a:pt x="138800" y="106392"/>
                  </a:cubicBezTo>
                  <a:lnTo>
                    <a:pt x="138800" y="106392"/>
                  </a:lnTo>
                  <a:close/>
                  <a:moveTo>
                    <a:pt x="35233" y="73125"/>
                  </a:moveTo>
                  <a:lnTo>
                    <a:pt x="123108" y="73125"/>
                  </a:lnTo>
                  <a:lnTo>
                    <a:pt x="124363" y="50528"/>
                  </a:lnTo>
                  <a:cubicBezTo>
                    <a:pt x="124363" y="48017"/>
                    <a:pt x="121225" y="41741"/>
                    <a:pt x="116831" y="39858"/>
                  </a:cubicBezTo>
                  <a:cubicBezTo>
                    <a:pt x="92979" y="31070"/>
                    <a:pt x="65361" y="31070"/>
                    <a:pt x="41510" y="39858"/>
                  </a:cubicBezTo>
                  <a:cubicBezTo>
                    <a:pt x="37116" y="41741"/>
                    <a:pt x="33977" y="48017"/>
                    <a:pt x="33977" y="50528"/>
                  </a:cubicBezTo>
                  <a:lnTo>
                    <a:pt x="35233" y="73125"/>
                  </a:lnTo>
                  <a:lnTo>
                    <a:pt x="35233" y="73125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13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2307690" y="1541527"/>
            <a:ext cx="432784" cy="409874"/>
            <a:chOff x="2307690" y="1541527"/>
            <a:chExt cx="432784" cy="409874"/>
          </a:xfrm>
          <a:solidFill>
            <a:srgbClr val="B1B1A1"/>
          </a:solidFill>
        </p:grpSpPr>
        <p:grpSp>
          <p:nvGrpSpPr>
            <p:cNvPr id="314" name="Gráfico 2">
              <a:extLst>
                <a:ext uri="{FF2B5EF4-FFF2-40B4-BE49-F238E27FC236}">
                  <a16:creationId xmlns:a16="http://schemas.microsoft.com/office/drawing/2014/main" id="{83F95F55-5D1D-4425-8D77-756B15108235}"/>
                </a:ext>
              </a:extLst>
            </p:cNvPr>
            <p:cNvGrpSpPr/>
            <p:nvPr/>
          </p:nvGrpSpPr>
          <p:grpSpPr>
            <a:xfrm>
              <a:off x="2464610" y="1612141"/>
              <a:ext cx="275864" cy="275864"/>
              <a:chOff x="2464610" y="1612141"/>
              <a:chExt cx="275864" cy="275864"/>
            </a:xfrm>
            <a:grpFill/>
          </p:grpSpPr>
          <p:sp>
            <p:nvSpPr>
              <p:cNvPr id="315" name="Forma Livre: Forma 314">
                <a:extLst>
                  <a:ext uri="{FF2B5EF4-FFF2-40B4-BE49-F238E27FC236}">
                    <a16:creationId xmlns:a16="http://schemas.microsoft.com/office/drawing/2014/main" id="{556C5894-9096-47C8-A9A6-33F70DF90670}"/>
                  </a:ext>
                </a:extLst>
              </p:cNvPr>
              <p:cNvSpPr/>
              <p:nvPr/>
            </p:nvSpPr>
            <p:spPr>
              <a:xfrm>
                <a:off x="2464610" y="1612141"/>
                <a:ext cx="275864" cy="275864"/>
              </a:xfrm>
              <a:custGeom>
                <a:avLst/>
                <a:gdLst>
                  <a:gd name="connsiteX0" fmla="*/ 16947 w 275864"/>
                  <a:gd name="connsiteY0" fmla="*/ 275237 h 275864"/>
                  <a:gd name="connsiteX1" fmla="*/ 5021 w 275864"/>
                  <a:gd name="connsiteY1" fmla="*/ 270216 h 275864"/>
                  <a:gd name="connsiteX2" fmla="*/ 0 w 275864"/>
                  <a:gd name="connsiteY2" fmla="*/ 257662 h 275864"/>
                  <a:gd name="connsiteX3" fmla="*/ 3766 w 275864"/>
                  <a:gd name="connsiteY3" fmla="*/ 196777 h 275864"/>
                  <a:gd name="connsiteX4" fmla="*/ 8787 w 275864"/>
                  <a:gd name="connsiteY4" fmla="*/ 186107 h 275864"/>
                  <a:gd name="connsiteX5" fmla="*/ 190187 w 275864"/>
                  <a:gd name="connsiteY5" fmla="*/ 4708 h 275864"/>
                  <a:gd name="connsiteX6" fmla="*/ 214038 w 275864"/>
                  <a:gd name="connsiteY6" fmla="*/ 4708 h 275864"/>
                  <a:gd name="connsiteX7" fmla="*/ 271157 w 275864"/>
                  <a:gd name="connsiteY7" fmla="*/ 61826 h 275864"/>
                  <a:gd name="connsiteX8" fmla="*/ 271157 w 275864"/>
                  <a:gd name="connsiteY8" fmla="*/ 85678 h 275864"/>
                  <a:gd name="connsiteX9" fmla="*/ 89758 w 275864"/>
                  <a:gd name="connsiteY9" fmla="*/ 267077 h 275864"/>
                  <a:gd name="connsiteX10" fmla="*/ 79088 w 275864"/>
                  <a:gd name="connsiteY10" fmla="*/ 272099 h 275864"/>
                  <a:gd name="connsiteX11" fmla="*/ 18203 w 275864"/>
                  <a:gd name="connsiteY11" fmla="*/ 275865 h 275864"/>
                  <a:gd name="connsiteX12" fmla="*/ 16947 w 275864"/>
                  <a:gd name="connsiteY12" fmla="*/ 275237 h 275864"/>
                  <a:gd name="connsiteX13" fmla="*/ 16947 w 275864"/>
                  <a:gd name="connsiteY13" fmla="*/ 275237 h 275864"/>
                  <a:gd name="connsiteX14" fmla="*/ 37033 w 275864"/>
                  <a:gd name="connsiteY14" fmla="*/ 204937 h 275864"/>
                  <a:gd name="connsiteX15" fmla="*/ 35150 w 275864"/>
                  <a:gd name="connsiteY15" fmla="*/ 240715 h 275864"/>
                  <a:gd name="connsiteX16" fmla="*/ 70928 w 275864"/>
                  <a:gd name="connsiteY16" fmla="*/ 238832 h 275864"/>
                  <a:gd name="connsiteX17" fmla="*/ 236007 w 275864"/>
                  <a:gd name="connsiteY17" fmla="*/ 73752 h 275864"/>
                  <a:gd name="connsiteX18" fmla="*/ 202113 w 275864"/>
                  <a:gd name="connsiteY18" fmla="*/ 39858 h 275864"/>
                  <a:gd name="connsiteX19" fmla="*/ 37033 w 275864"/>
                  <a:gd name="connsiteY19" fmla="*/ 204937 h 275864"/>
                  <a:gd name="connsiteX20" fmla="*/ 37033 w 275864"/>
                  <a:gd name="connsiteY20" fmla="*/ 204937 h 275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75864" h="275864">
                    <a:moveTo>
                      <a:pt x="16947" y="275237"/>
                    </a:moveTo>
                    <a:cubicBezTo>
                      <a:pt x="12554" y="275237"/>
                      <a:pt x="8160" y="273354"/>
                      <a:pt x="5021" y="270216"/>
                    </a:cubicBezTo>
                    <a:cubicBezTo>
                      <a:pt x="1883" y="267077"/>
                      <a:pt x="0" y="262056"/>
                      <a:pt x="0" y="257662"/>
                    </a:cubicBezTo>
                    <a:lnTo>
                      <a:pt x="3766" y="196777"/>
                    </a:lnTo>
                    <a:cubicBezTo>
                      <a:pt x="3766" y="192384"/>
                      <a:pt x="5649" y="188617"/>
                      <a:pt x="8787" y="186107"/>
                    </a:cubicBezTo>
                    <a:lnTo>
                      <a:pt x="190187" y="4708"/>
                    </a:lnTo>
                    <a:cubicBezTo>
                      <a:pt x="196463" y="-1569"/>
                      <a:pt x="207762" y="-1569"/>
                      <a:pt x="214038" y="4708"/>
                    </a:cubicBezTo>
                    <a:lnTo>
                      <a:pt x="271157" y="61826"/>
                    </a:lnTo>
                    <a:cubicBezTo>
                      <a:pt x="277434" y="68103"/>
                      <a:pt x="277434" y="78774"/>
                      <a:pt x="271157" y="85678"/>
                    </a:cubicBezTo>
                    <a:lnTo>
                      <a:pt x="89758" y="267077"/>
                    </a:lnTo>
                    <a:cubicBezTo>
                      <a:pt x="86620" y="270216"/>
                      <a:pt x="82854" y="271471"/>
                      <a:pt x="79088" y="272099"/>
                    </a:cubicBezTo>
                    <a:lnTo>
                      <a:pt x="18203" y="275865"/>
                    </a:lnTo>
                    <a:cubicBezTo>
                      <a:pt x="17575" y="275237"/>
                      <a:pt x="17575" y="275237"/>
                      <a:pt x="16947" y="275237"/>
                    </a:cubicBezTo>
                    <a:lnTo>
                      <a:pt x="16947" y="275237"/>
                    </a:lnTo>
                    <a:close/>
                    <a:moveTo>
                      <a:pt x="37033" y="204937"/>
                    </a:moveTo>
                    <a:lnTo>
                      <a:pt x="35150" y="240715"/>
                    </a:lnTo>
                    <a:lnTo>
                      <a:pt x="70928" y="238832"/>
                    </a:lnTo>
                    <a:lnTo>
                      <a:pt x="236007" y="73752"/>
                    </a:lnTo>
                    <a:lnTo>
                      <a:pt x="202113" y="39858"/>
                    </a:lnTo>
                    <a:lnTo>
                      <a:pt x="37033" y="204937"/>
                    </a:lnTo>
                    <a:lnTo>
                      <a:pt x="37033" y="204937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16" name="Forma Livre: Forma 315">
                <a:extLst>
                  <a:ext uri="{FF2B5EF4-FFF2-40B4-BE49-F238E27FC236}">
                    <a16:creationId xmlns:a16="http://schemas.microsoft.com/office/drawing/2014/main" id="{CC0A10B3-A484-422A-B031-C0660C33AB7E}"/>
                  </a:ext>
                </a:extLst>
              </p:cNvPr>
              <p:cNvSpPr/>
              <p:nvPr/>
            </p:nvSpPr>
            <p:spPr>
              <a:xfrm>
                <a:off x="2632357" y="1652155"/>
                <a:ext cx="68103" cy="68260"/>
              </a:xfrm>
              <a:custGeom>
                <a:avLst/>
                <a:gdLst>
                  <a:gd name="connsiteX0" fmla="*/ 59472 w 68103"/>
                  <a:gd name="connsiteY0" fmla="*/ 68260 h 68260"/>
                  <a:gd name="connsiteX1" fmla="*/ 53823 w 68103"/>
                  <a:gd name="connsiteY1" fmla="*/ 65749 h 68260"/>
                  <a:gd name="connsiteX2" fmla="*/ 2354 w 68103"/>
                  <a:gd name="connsiteY2" fmla="*/ 14280 h 68260"/>
                  <a:gd name="connsiteX3" fmla="*/ 2354 w 68103"/>
                  <a:gd name="connsiteY3" fmla="*/ 2354 h 68260"/>
                  <a:gd name="connsiteX4" fmla="*/ 14280 w 68103"/>
                  <a:gd name="connsiteY4" fmla="*/ 2354 h 68260"/>
                  <a:gd name="connsiteX5" fmla="*/ 65749 w 68103"/>
                  <a:gd name="connsiteY5" fmla="*/ 53824 h 68260"/>
                  <a:gd name="connsiteX6" fmla="*/ 65749 w 68103"/>
                  <a:gd name="connsiteY6" fmla="*/ 65749 h 68260"/>
                  <a:gd name="connsiteX7" fmla="*/ 59472 w 68103"/>
                  <a:gd name="connsiteY7" fmla="*/ 68260 h 68260"/>
                  <a:gd name="connsiteX8" fmla="*/ 59472 w 68103"/>
                  <a:gd name="connsiteY8" fmla="*/ 68260 h 68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8103" h="68260">
                    <a:moveTo>
                      <a:pt x="59472" y="68260"/>
                    </a:moveTo>
                    <a:cubicBezTo>
                      <a:pt x="57589" y="68260"/>
                      <a:pt x="55079" y="67632"/>
                      <a:pt x="53823" y="65749"/>
                    </a:cubicBezTo>
                    <a:lnTo>
                      <a:pt x="2354" y="14280"/>
                    </a:lnTo>
                    <a:cubicBezTo>
                      <a:pt x="-785" y="11141"/>
                      <a:pt x="-785" y="5492"/>
                      <a:pt x="2354" y="2354"/>
                    </a:cubicBezTo>
                    <a:cubicBezTo>
                      <a:pt x="5492" y="-785"/>
                      <a:pt x="11141" y="-785"/>
                      <a:pt x="14280" y="2354"/>
                    </a:cubicBezTo>
                    <a:lnTo>
                      <a:pt x="65749" y="53824"/>
                    </a:lnTo>
                    <a:cubicBezTo>
                      <a:pt x="68888" y="56962"/>
                      <a:pt x="68888" y="62611"/>
                      <a:pt x="65749" y="65749"/>
                    </a:cubicBezTo>
                    <a:cubicBezTo>
                      <a:pt x="63866" y="67005"/>
                      <a:pt x="61356" y="68260"/>
                      <a:pt x="59472" y="68260"/>
                    </a:cubicBezTo>
                    <a:lnTo>
                      <a:pt x="59472" y="68260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17" name="Forma Livre: Forma 316">
                <a:extLst>
                  <a:ext uri="{FF2B5EF4-FFF2-40B4-BE49-F238E27FC236}">
                    <a16:creationId xmlns:a16="http://schemas.microsoft.com/office/drawing/2014/main" id="{30463025-8F3F-4169-ACEA-8486781B8CF7}"/>
                  </a:ext>
                </a:extLst>
              </p:cNvPr>
              <p:cNvSpPr/>
              <p:nvPr/>
            </p:nvSpPr>
            <p:spPr>
              <a:xfrm>
                <a:off x="2481557" y="1827748"/>
                <a:ext cx="41598" cy="42682"/>
              </a:xfrm>
              <a:custGeom>
                <a:avLst/>
                <a:gdLst>
                  <a:gd name="connsiteX0" fmla="*/ 9415 w 41598"/>
                  <a:gd name="connsiteY0" fmla="*/ 0 h 42682"/>
                  <a:gd name="connsiteX1" fmla="*/ 5649 w 41598"/>
                  <a:gd name="connsiteY1" fmla="*/ 0 h 42682"/>
                  <a:gd name="connsiteX2" fmla="*/ 2511 w 41598"/>
                  <a:gd name="connsiteY2" fmla="*/ 628 h 42682"/>
                  <a:gd name="connsiteX3" fmla="*/ 0 w 41598"/>
                  <a:gd name="connsiteY3" fmla="*/ 42682 h 42682"/>
                  <a:gd name="connsiteX4" fmla="*/ 40171 w 41598"/>
                  <a:gd name="connsiteY4" fmla="*/ 40171 h 42682"/>
                  <a:gd name="connsiteX5" fmla="*/ 41427 w 41598"/>
                  <a:gd name="connsiteY5" fmla="*/ 35778 h 42682"/>
                  <a:gd name="connsiteX6" fmla="*/ 9415 w 41598"/>
                  <a:gd name="connsiteY6" fmla="*/ 0 h 42682"/>
                  <a:gd name="connsiteX7" fmla="*/ 9415 w 41598"/>
                  <a:gd name="connsiteY7" fmla="*/ 0 h 426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598" h="42682">
                    <a:moveTo>
                      <a:pt x="9415" y="0"/>
                    </a:moveTo>
                    <a:cubicBezTo>
                      <a:pt x="8160" y="0"/>
                      <a:pt x="6905" y="0"/>
                      <a:pt x="5649" y="0"/>
                    </a:cubicBezTo>
                    <a:cubicBezTo>
                      <a:pt x="4394" y="0"/>
                      <a:pt x="3766" y="628"/>
                      <a:pt x="2511" y="628"/>
                    </a:cubicBezTo>
                    <a:lnTo>
                      <a:pt x="0" y="42682"/>
                    </a:lnTo>
                    <a:lnTo>
                      <a:pt x="40171" y="40171"/>
                    </a:lnTo>
                    <a:cubicBezTo>
                      <a:pt x="40799" y="38916"/>
                      <a:pt x="40799" y="37033"/>
                      <a:pt x="41427" y="35778"/>
                    </a:cubicBezTo>
                    <a:cubicBezTo>
                      <a:pt x="43310" y="15064"/>
                      <a:pt x="29501" y="0"/>
                      <a:pt x="9415" y="0"/>
                    </a:cubicBezTo>
                    <a:lnTo>
                      <a:pt x="9415" y="0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318" name="Gráfico 2">
              <a:extLst>
                <a:ext uri="{FF2B5EF4-FFF2-40B4-BE49-F238E27FC236}">
                  <a16:creationId xmlns:a16="http://schemas.microsoft.com/office/drawing/2014/main" id="{83F95F55-5D1D-4425-8D77-756B15108235}"/>
                </a:ext>
              </a:extLst>
            </p:cNvPr>
            <p:cNvGrpSpPr/>
            <p:nvPr/>
          </p:nvGrpSpPr>
          <p:grpSpPr>
            <a:xfrm>
              <a:off x="2307690" y="1541527"/>
              <a:ext cx="309445" cy="409874"/>
              <a:chOff x="2307690" y="1541527"/>
              <a:chExt cx="309445" cy="409874"/>
            </a:xfrm>
            <a:grpFill/>
          </p:grpSpPr>
          <p:sp>
            <p:nvSpPr>
              <p:cNvPr id="319" name="Forma Livre: Forma 318">
                <a:extLst>
                  <a:ext uri="{FF2B5EF4-FFF2-40B4-BE49-F238E27FC236}">
                    <a16:creationId xmlns:a16="http://schemas.microsoft.com/office/drawing/2014/main" id="{2483C8A2-6D2C-4719-BE5A-675A9C9D2D8F}"/>
                  </a:ext>
                </a:extLst>
              </p:cNvPr>
              <p:cNvSpPr/>
              <p:nvPr/>
            </p:nvSpPr>
            <p:spPr>
              <a:xfrm>
                <a:off x="2307690" y="1583581"/>
                <a:ext cx="309445" cy="367819"/>
              </a:xfrm>
              <a:custGeom>
                <a:avLst/>
                <a:gdLst>
                  <a:gd name="connsiteX0" fmla="*/ 271157 w 309445"/>
                  <a:gd name="connsiteY0" fmla="*/ 367820 h 367819"/>
                  <a:gd name="connsiteX1" fmla="*/ 38288 w 309445"/>
                  <a:gd name="connsiteY1" fmla="*/ 367820 h 367819"/>
                  <a:gd name="connsiteX2" fmla="*/ 0 w 309445"/>
                  <a:gd name="connsiteY2" fmla="*/ 329531 h 367819"/>
                  <a:gd name="connsiteX3" fmla="*/ 0 w 309445"/>
                  <a:gd name="connsiteY3" fmla="*/ 16947 h 367819"/>
                  <a:gd name="connsiteX4" fmla="*/ 16947 w 309445"/>
                  <a:gd name="connsiteY4" fmla="*/ 0 h 367819"/>
                  <a:gd name="connsiteX5" fmla="*/ 33895 w 309445"/>
                  <a:gd name="connsiteY5" fmla="*/ 16947 h 367819"/>
                  <a:gd name="connsiteX6" fmla="*/ 33895 w 309445"/>
                  <a:gd name="connsiteY6" fmla="*/ 329531 h 367819"/>
                  <a:gd name="connsiteX7" fmla="*/ 38288 w 309445"/>
                  <a:gd name="connsiteY7" fmla="*/ 333925 h 367819"/>
                  <a:gd name="connsiteX8" fmla="*/ 271157 w 309445"/>
                  <a:gd name="connsiteY8" fmla="*/ 333925 h 367819"/>
                  <a:gd name="connsiteX9" fmla="*/ 275551 w 309445"/>
                  <a:gd name="connsiteY9" fmla="*/ 329531 h 367819"/>
                  <a:gd name="connsiteX10" fmla="*/ 275551 w 309445"/>
                  <a:gd name="connsiteY10" fmla="*/ 230986 h 367819"/>
                  <a:gd name="connsiteX11" fmla="*/ 292498 w 309445"/>
                  <a:gd name="connsiteY11" fmla="*/ 214038 h 367819"/>
                  <a:gd name="connsiteX12" fmla="*/ 309446 w 309445"/>
                  <a:gd name="connsiteY12" fmla="*/ 230986 h 367819"/>
                  <a:gd name="connsiteX13" fmla="*/ 309446 w 309445"/>
                  <a:gd name="connsiteY13" fmla="*/ 329531 h 367819"/>
                  <a:gd name="connsiteX14" fmla="*/ 271157 w 309445"/>
                  <a:gd name="connsiteY14" fmla="*/ 367820 h 367819"/>
                  <a:gd name="connsiteX15" fmla="*/ 271157 w 309445"/>
                  <a:gd name="connsiteY15" fmla="*/ 367820 h 367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09445" h="367819">
                    <a:moveTo>
                      <a:pt x="271157" y="367820"/>
                    </a:moveTo>
                    <a:lnTo>
                      <a:pt x="38288" y="367820"/>
                    </a:lnTo>
                    <a:cubicBezTo>
                      <a:pt x="17575" y="367820"/>
                      <a:pt x="0" y="350872"/>
                      <a:pt x="0" y="329531"/>
                    </a:cubicBezTo>
                    <a:lnTo>
                      <a:pt x="0" y="16947"/>
                    </a:lnTo>
                    <a:cubicBezTo>
                      <a:pt x="0" y="7532"/>
                      <a:pt x="7532" y="0"/>
                      <a:pt x="16947" y="0"/>
                    </a:cubicBezTo>
                    <a:cubicBezTo>
                      <a:pt x="26362" y="0"/>
                      <a:pt x="33895" y="7532"/>
                      <a:pt x="33895" y="16947"/>
                    </a:cubicBezTo>
                    <a:lnTo>
                      <a:pt x="33895" y="329531"/>
                    </a:lnTo>
                    <a:cubicBezTo>
                      <a:pt x="33895" y="332042"/>
                      <a:pt x="35778" y="333925"/>
                      <a:pt x="38288" y="333925"/>
                    </a:cubicBezTo>
                    <a:lnTo>
                      <a:pt x="271157" y="333925"/>
                    </a:lnTo>
                    <a:cubicBezTo>
                      <a:pt x="273668" y="333925"/>
                      <a:pt x="275551" y="332042"/>
                      <a:pt x="275551" y="329531"/>
                    </a:cubicBezTo>
                    <a:lnTo>
                      <a:pt x="275551" y="230986"/>
                    </a:lnTo>
                    <a:cubicBezTo>
                      <a:pt x="275551" y="221570"/>
                      <a:pt x="283083" y="214038"/>
                      <a:pt x="292498" y="214038"/>
                    </a:cubicBezTo>
                    <a:cubicBezTo>
                      <a:pt x="301913" y="214038"/>
                      <a:pt x="309446" y="221570"/>
                      <a:pt x="309446" y="230986"/>
                    </a:cubicBezTo>
                    <a:lnTo>
                      <a:pt x="309446" y="329531"/>
                    </a:lnTo>
                    <a:cubicBezTo>
                      <a:pt x="308818" y="350872"/>
                      <a:pt x="291871" y="367820"/>
                      <a:pt x="271157" y="367820"/>
                    </a:cubicBezTo>
                    <a:lnTo>
                      <a:pt x="271157" y="367820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20" name="Forma Livre: Forma 319">
                <a:extLst>
                  <a:ext uri="{FF2B5EF4-FFF2-40B4-BE49-F238E27FC236}">
                    <a16:creationId xmlns:a16="http://schemas.microsoft.com/office/drawing/2014/main" id="{4E359439-83EF-4BA3-AEB9-F522734B293E}"/>
                  </a:ext>
                </a:extLst>
              </p:cNvPr>
              <p:cNvSpPr/>
              <p:nvPr/>
            </p:nvSpPr>
            <p:spPr>
              <a:xfrm>
                <a:off x="2561900" y="1610571"/>
                <a:ext cx="55235" cy="99800"/>
              </a:xfrm>
              <a:custGeom>
                <a:avLst/>
                <a:gdLst>
                  <a:gd name="connsiteX0" fmla="*/ 38288 w 55235"/>
                  <a:gd name="connsiteY0" fmla="*/ 99801 h 99800"/>
                  <a:gd name="connsiteX1" fmla="*/ 21341 w 55235"/>
                  <a:gd name="connsiteY1" fmla="*/ 82854 h 99800"/>
                  <a:gd name="connsiteX2" fmla="*/ 21341 w 55235"/>
                  <a:gd name="connsiteY2" fmla="*/ 38288 h 99800"/>
                  <a:gd name="connsiteX3" fmla="*/ 16947 w 55235"/>
                  <a:gd name="connsiteY3" fmla="*/ 33895 h 99800"/>
                  <a:gd name="connsiteX4" fmla="*/ 0 w 55235"/>
                  <a:gd name="connsiteY4" fmla="*/ 16947 h 99800"/>
                  <a:gd name="connsiteX5" fmla="*/ 16947 w 55235"/>
                  <a:gd name="connsiteY5" fmla="*/ 0 h 99800"/>
                  <a:gd name="connsiteX6" fmla="*/ 55236 w 55235"/>
                  <a:gd name="connsiteY6" fmla="*/ 38288 h 99800"/>
                  <a:gd name="connsiteX7" fmla="*/ 55236 w 55235"/>
                  <a:gd name="connsiteY7" fmla="*/ 82854 h 99800"/>
                  <a:gd name="connsiteX8" fmla="*/ 38288 w 55235"/>
                  <a:gd name="connsiteY8" fmla="*/ 99801 h 99800"/>
                  <a:gd name="connsiteX9" fmla="*/ 38288 w 55235"/>
                  <a:gd name="connsiteY9" fmla="*/ 99801 h 99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5235" h="99800">
                    <a:moveTo>
                      <a:pt x="38288" y="99801"/>
                    </a:moveTo>
                    <a:cubicBezTo>
                      <a:pt x="28873" y="99801"/>
                      <a:pt x="21341" y="92269"/>
                      <a:pt x="21341" y="82854"/>
                    </a:cubicBezTo>
                    <a:lnTo>
                      <a:pt x="21341" y="38288"/>
                    </a:lnTo>
                    <a:cubicBezTo>
                      <a:pt x="21341" y="35778"/>
                      <a:pt x="19458" y="33895"/>
                      <a:pt x="16947" y="33895"/>
                    </a:cubicBezTo>
                    <a:cubicBezTo>
                      <a:pt x="7532" y="33895"/>
                      <a:pt x="0" y="26363"/>
                      <a:pt x="0" y="16947"/>
                    </a:cubicBezTo>
                    <a:cubicBezTo>
                      <a:pt x="0" y="7532"/>
                      <a:pt x="7532" y="0"/>
                      <a:pt x="16947" y="0"/>
                    </a:cubicBezTo>
                    <a:cubicBezTo>
                      <a:pt x="37661" y="0"/>
                      <a:pt x="55236" y="16947"/>
                      <a:pt x="55236" y="38288"/>
                    </a:cubicBezTo>
                    <a:lnTo>
                      <a:pt x="55236" y="82854"/>
                    </a:lnTo>
                    <a:cubicBezTo>
                      <a:pt x="54608" y="92269"/>
                      <a:pt x="47076" y="99801"/>
                      <a:pt x="38288" y="99801"/>
                    </a:cubicBezTo>
                    <a:lnTo>
                      <a:pt x="38288" y="99801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21" name="Forma Livre: Forma 320">
                <a:extLst>
                  <a:ext uri="{FF2B5EF4-FFF2-40B4-BE49-F238E27FC236}">
                    <a16:creationId xmlns:a16="http://schemas.microsoft.com/office/drawing/2014/main" id="{5D74BDB5-FB16-4AA1-BB6E-40269713D800}"/>
                  </a:ext>
                </a:extLst>
              </p:cNvPr>
              <p:cNvSpPr/>
              <p:nvPr/>
            </p:nvSpPr>
            <p:spPr>
              <a:xfrm>
                <a:off x="2308318" y="1541527"/>
                <a:ext cx="308817" cy="102939"/>
              </a:xfrm>
              <a:custGeom>
                <a:avLst/>
                <a:gdLst>
                  <a:gd name="connsiteX0" fmla="*/ 267391 w 308817"/>
                  <a:gd name="connsiteY0" fmla="*/ 102939 h 102939"/>
                  <a:gd name="connsiteX1" fmla="*/ 51470 w 308817"/>
                  <a:gd name="connsiteY1" fmla="*/ 102939 h 102939"/>
                  <a:gd name="connsiteX2" fmla="*/ 0 w 308817"/>
                  <a:gd name="connsiteY2" fmla="*/ 51470 h 102939"/>
                  <a:gd name="connsiteX3" fmla="*/ 51470 w 308817"/>
                  <a:gd name="connsiteY3" fmla="*/ 0 h 102939"/>
                  <a:gd name="connsiteX4" fmla="*/ 291871 w 308817"/>
                  <a:gd name="connsiteY4" fmla="*/ 0 h 102939"/>
                  <a:gd name="connsiteX5" fmla="*/ 308818 w 308817"/>
                  <a:gd name="connsiteY5" fmla="*/ 16947 h 102939"/>
                  <a:gd name="connsiteX6" fmla="*/ 291871 w 308817"/>
                  <a:gd name="connsiteY6" fmla="*/ 33895 h 102939"/>
                  <a:gd name="connsiteX7" fmla="*/ 51470 w 308817"/>
                  <a:gd name="connsiteY7" fmla="*/ 33895 h 102939"/>
                  <a:gd name="connsiteX8" fmla="*/ 33267 w 308817"/>
                  <a:gd name="connsiteY8" fmla="*/ 52097 h 102939"/>
                  <a:gd name="connsiteX9" fmla="*/ 51470 w 308817"/>
                  <a:gd name="connsiteY9" fmla="*/ 70300 h 102939"/>
                  <a:gd name="connsiteX10" fmla="*/ 267391 w 308817"/>
                  <a:gd name="connsiteY10" fmla="*/ 70300 h 102939"/>
                  <a:gd name="connsiteX11" fmla="*/ 284338 w 308817"/>
                  <a:gd name="connsiteY11" fmla="*/ 87247 h 102939"/>
                  <a:gd name="connsiteX12" fmla="*/ 267391 w 308817"/>
                  <a:gd name="connsiteY12" fmla="*/ 102939 h 102939"/>
                  <a:gd name="connsiteX13" fmla="*/ 267391 w 308817"/>
                  <a:gd name="connsiteY13" fmla="*/ 102939 h 1029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08817" h="102939">
                    <a:moveTo>
                      <a:pt x="267391" y="102939"/>
                    </a:moveTo>
                    <a:lnTo>
                      <a:pt x="51470" y="102939"/>
                    </a:lnTo>
                    <a:cubicBezTo>
                      <a:pt x="23224" y="102939"/>
                      <a:pt x="0" y="79715"/>
                      <a:pt x="0" y="51470"/>
                    </a:cubicBezTo>
                    <a:cubicBezTo>
                      <a:pt x="0" y="23224"/>
                      <a:pt x="23224" y="0"/>
                      <a:pt x="51470" y="0"/>
                    </a:cubicBezTo>
                    <a:lnTo>
                      <a:pt x="291871" y="0"/>
                    </a:lnTo>
                    <a:cubicBezTo>
                      <a:pt x="301286" y="0"/>
                      <a:pt x="308818" y="7532"/>
                      <a:pt x="308818" y="16947"/>
                    </a:cubicBezTo>
                    <a:cubicBezTo>
                      <a:pt x="308818" y="26363"/>
                      <a:pt x="301286" y="33895"/>
                      <a:pt x="291871" y="33895"/>
                    </a:cubicBezTo>
                    <a:lnTo>
                      <a:pt x="51470" y="33895"/>
                    </a:lnTo>
                    <a:cubicBezTo>
                      <a:pt x="41427" y="33895"/>
                      <a:pt x="33267" y="42055"/>
                      <a:pt x="33267" y="52097"/>
                    </a:cubicBezTo>
                    <a:cubicBezTo>
                      <a:pt x="33267" y="62140"/>
                      <a:pt x="41427" y="70300"/>
                      <a:pt x="51470" y="70300"/>
                    </a:cubicBezTo>
                    <a:lnTo>
                      <a:pt x="267391" y="70300"/>
                    </a:lnTo>
                    <a:cubicBezTo>
                      <a:pt x="276806" y="70300"/>
                      <a:pt x="284338" y="77832"/>
                      <a:pt x="284338" y="87247"/>
                    </a:cubicBezTo>
                    <a:cubicBezTo>
                      <a:pt x="284338" y="96663"/>
                      <a:pt x="276179" y="102939"/>
                      <a:pt x="267391" y="102939"/>
                    </a:cubicBezTo>
                    <a:lnTo>
                      <a:pt x="267391" y="102939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322" name="Forma Livre: Forma 321">
              <a:extLst>
                <a:ext uri="{FF2B5EF4-FFF2-40B4-BE49-F238E27FC236}">
                  <a16:creationId xmlns:a16="http://schemas.microsoft.com/office/drawing/2014/main" id="{65691EE3-B851-4EF1-BF0B-55677E4AF66C}"/>
                </a:ext>
              </a:extLst>
            </p:cNvPr>
            <p:cNvSpPr/>
            <p:nvPr/>
          </p:nvSpPr>
          <p:spPr>
            <a:xfrm>
              <a:off x="2376735" y="1689659"/>
              <a:ext cx="118631" cy="16319"/>
            </a:xfrm>
            <a:custGeom>
              <a:avLst/>
              <a:gdLst>
                <a:gd name="connsiteX0" fmla="*/ 110471 w 118631"/>
                <a:gd name="connsiteY0" fmla="*/ 16320 h 16319"/>
                <a:gd name="connsiteX1" fmla="*/ 8160 w 118631"/>
                <a:gd name="connsiteY1" fmla="*/ 16320 h 16319"/>
                <a:gd name="connsiteX2" fmla="*/ 0 w 118631"/>
                <a:gd name="connsiteY2" fmla="*/ 8160 h 16319"/>
                <a:gd name="connsiteX3" fmla="*/ 8160 w 118631"/>
                <a:gd name="connsiteY3" fmla="*/ 0 h 16319"/>
                <a:gd name="connsiteX4" fmla="*/ 110471 w 118631"/>
                <a:gd name="connsiteY4" fmla="*/ 0 h 16319"/>
                <a:gd name="connsiteX5" fmla="*/ 118631 w 118631"/>
                <a:gd name="connsiteY5" fmla="*/ 8160 h 16319"/>
                <a:gd name="connsiteX6" fmla="*/ 110471 w 118631"/>
                <a:gd name="connsiteY6" fmla="*/ 16320 h 16319"/>
                <a:gd name="connsiteX7" fmla="*/ 110471 w 118631"/>
                <a:gd name="connsiteY7" fmla="*/ 16320 h 16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631" h="16319">
                  <a:moveTo>
                    <a:pt x="110471" y="16320"/>
                  </a:moveTo>
                  <a:lnTo>
                    <a:pt x="8160" y="16320"/>
                  </a:lnTo>
                  <a:cubicBezTo>
                    <a:pt x="3766" y="16320"/>
                    <a:pt x="0" y="12554"/>
                    <a:pt x="0" y="8160"/>
                  </a:cubicBezTo>
                  <a:cubicBezTo>
                    <a:pt x="0" y="3766"/>
                    <a:pt x="3766" y="0"/>
                    <a:pt x="8160" y="0"/>
                  </a:cubicBezTo>
                  <a:lnTo>
                    <a:pt x="110471" y="0"/>
                  </a:lnTo>
                  <a:cubicBezTo>
                    <a:pt x="114865" y="0"/>
                    <a:pt x="118631" y="3766"/>
                    <a:pt x="118631" y="8160"/>
                  </a:cubicBezTo>
                  <a:cubicBezTo>
                    <a:pt x="118631" y="12554"/>
                    <a:pt x="115493" y="16320"/>
                    <a:pt x="110471" y="16320"/>
                  </a:cubicBezTo>
                  <a:lnTo>
                    <a:pt x="110471" y="16320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23" name="Forma Livre: Forma 322">
              <a:extLst>
                <a:ext uri="{FF2B5EF4-FFF2-40B4-BE49-F238E27FC236}">
                  <a16:creationId xmlns:a16="http://schemas.microsoft.com/office/drawing/2014/main" id="{49735CC9-B9C9-4C1B-91AB-9E2626C0596D}"/>
                </a:ext>
              </a:extLst>
            </p:cNvPr>
            <p:cNvSpPr/>
            <p:nvPr/>
          </p:nvSpPr>
          <p:spPr>
            <a:xfrm>
              <a:off x="2376735" y="1735479"/>
              <a:ext cx="118631" cy="16319"/>
            </a:xfrm>
            <a:custGeom>
              <a:avLst/>
              <a:gdLst>
                <a:gd name="connsiteX0" fmla="*/ 110471 w 118631"/>
                <a:gd name="connsiteY0" fmla="*/ 16320 h 16319"/>
                <a:gd name="connsiteX1" fmla="*/ 8160 w 118631"/>
                <a:gd name="connsiteY1" fmla="*/ 16320 h 16319"/>
                <a:gd name="connsiteX2" fmla="*/ 0 w 118631"/>
                <a:gd name="connsiteY2" fmla="*/ 8160 h 16319"/>
                <a:gd name="connsiteX3" fmla="*/ 8160 w 118631"/>
                <a:gd name="connsiteY3" fmla="*/ 0 h 16319"/>
                <a:gd name="connsiteX4" fmla="*/ 110471 w 118631"/>
                <a:gd name="connsiteY4" fmla="*/ 0 h 16319"/>
                <a:gd name="connsiteX5" fmla="*/ 118631 w 118631"/>
                <a:gd name="connsiteY5" fmla="*/ 8160 h 16319"/>
                <a:gd name="connsiteX6" fmla="*/ 110471 w 118631"/>
                <a:gd name="connsiteY6" fmla="*/ 16320 h 16319"/>
                <a:gd name="connsiteX7" fmla="*/ 110471 w 118631"/>
                <a:gd name="connsiteY7" fmla="*/ 16320 h 16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631" h="16319">
                  <a:moveTo>
                    <a:pt x="110471" y="16320"/>
                  </a:moveTo>
                  <a:lnTo>
                    <a:pt x="8160" y="16320"/>
                  </a:lnTo>
                  <a:cubicBezTo>
                    <a:pt x="3766" y="16320"/>
                    <a:pt x="0" y="12554"/>
                    <a:pt x="0" y="8160"/>
                  </a:cubicBezTo>
                  <a:cubicBezTo>
                    <a:pt x="0" y="3766"/>
                    <a:pt x="3766" y="0"/>
                    <a:pt x="8160" y="0"/>
                  </a:cubicBezTo>
                  <a:lnTo>
                    <a:pt x="110471" y="0"/>
                  </a:lnTo>
                  <a:cubicBezTo>
                    <a:pt x="114865" y="0"/>
                    <a:pt x="118631" y="3766"/>
                    <a:pt x="118631" y="8160"/>
                  </a:cubicBezTo>
                  <a:cubicBezTo>
                    <a:pt x="118631" y="13181"/>
                    <a:pt x="115493" y="16320"/>
                    <a:pt x="110471" y="16320"/>
                  </a:cubicBezTo>
                  <a:lnTo>
                    <a:pt x="110471" y="16320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24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3336456" y="1551892"/>
            <a:ext cx="413012" cy="389465"/>
            <a:chOff x="3336456" y="1551892"/>
            <a:chExt cx="413012" cy="389465"/>
          </a:xfrm>
          <a:solidFill>
            <a:srgbClr val="B1B1A1"/>
          </a:solidFill>
        </p:grpSpPr>
        <p:sp>
          <p:nvSpPr>
            <p:cNvPr id="325" name="Forma Livre: Forma 324">
              <a:extLst>
                <a:ext uri="{FF2B5EF4-FFF2-40B4-BE49-F238E27FC236}">
                  <a16:creationId xmlns:a16="http://schemas.microsoft.com/office/drawing/2014/main" id="{FE5D009C-8E7F-4896-9055-3B1154E2ADFB}"/>
                </a:ext>
              </a:extLst>
            </p:cNvPr>
            <p:cNvSpPr/>
            <p:nvPr/>
          </p:nvSpPr>
          <p:spPr>
            <a:xfrm>
              <a:off x="3336456" y="1788204"/>
              <a:ext cx="320116" cy="152525"/>
            </a:xfrm>
            <a:custGeom>
              <a:avLst/>
              <a:gdLst>
                <a:gd name="connsiteX0" fmla="*/ 303169 w 320116"/>
                <a:gd name="connsiteY0" fmla="*/ 152526 h 152525"/>
                <a:gd name="connsiteX1" fmla="*/ 66534 w 320116"/>
                <a:gd name="connsiteY1" fmla="*/ 152526 h 152525"/>
                <a:gd name="connsiteX2" fmla="*/ 0 w 320116"/>
                <a:gd name="connsiteY2" fmla="*/ 85992 h 152525"/>
                <a:gd name="connsiteX3" fmla="*/ 0 w 320116"/>
                <a:gd name="connsiteY3" fmla="*/ 66534 h 152525"/>
                <a:gd name="connsiteX4" fmla="*/ 66534 w 320116"/>
                <a:gd name="connsiteY4" fmla="*/ 0 h 152525"/>
                <a:gd name="connsiteX5" fmla="*/ 303169 w 320116"/>
                <a:gd name="connsiteY5" fmla="*/ 0 h 152525"/>
                <a:gd name="connsiteX6" fmla="*/ 320116 w 320116"/>
                <a:gd name="connsiteY6" fmla="*/ 16947 h 152525"/>
                <a:gd name="connsiteX7" fmla="*/ 303169 w 320116"/>
                <a:gd name="connsiteY7" fmla="*/ 33895 h 152525"/>
                <a:gd name="connsiteX8" fmla="*/ 66534 w 320116"/>
                <a:gd name="connsiteY8" fmla="*/ 33895 h 152525"/>
                <a:gd name="connsiteX9" fmla="*/ 33267 w 320116"/>
                <a:gd name="connsiteY9" fmla="*/ 67162 h 152525"/>
                <a:gd name="connsiteX10" fmla="*/ 33267 w 320116"/>
                <a:gd name="connsiteY10" fmla="*/ 86620 h 152525"/>
                <a:gd name="connsiteX11" fmla="*/ 66534 w 320116"/>
                <a:gd name="connsiteY11" fmla="*/ 119887 h 152525"/>
                <a:gd name="connsiteX12" fmla="*/ 303169 w 320116"/>
                <a:gd name="connsiteY12" fmla="*/ 119887 h 152525"/>
                <a:gd name="connsiteX13" fmla="*/ 320116 w 320116"/>
                <a:gd name="connsiteY13" fmla="*/ 136834 h 152525"/>
                <a:gd name="connsiteX14" fmla="*/ 303169 w 320116"/>
                <a:gd name="connsiteY14" fmla="*/ 152526 h 152525"/>
                <a:gd name="connsiteX15" fmla="*/ 303169 w 320116"/>
                <a:gd name="connsiteY15" fmla="*/ 152526 h 152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0116" h="152525">
                  <a:moveTo>
                    <a:pt x="303169" y="152526"/>
                  </a:moveTo>
                  <a:lnTo>
                    <a:pt x="66534" y="152526"/>
                  </a:lnTo>
                  <a:cubicBezTo>
                    <a:pt x="29501" y="152526"/>
                    <a:pt x="0" y="122397"/>
                    <a:pt x="0" y="85992"/>
                  </a:cubicBezTo>
                  <a:lnTo>
                    <a:pt x="0" y="66534"/>
                  </a:lnTo>
                  <a:cubicBezTo>
                    <a:pt x="0" y="29501"/>
                    <a:pt x="30129" y="0"/>
                    <a:pt x="66534" y="0"/>
                  </a:cubicBezTo>
                  <a:lnTo>
                    <a:pt x="303169" y="0"/>
                  </a:lnTo>
                  <a:cubicBezTo>
                    <a:pt x="312584" y="0"/>
                    <a:pt x="320116" y="7532"/>
                    <a:pt x="320116" y="16947"/>
                  </a:cubicBezTo>
                  <a:cubicBezTo>
                    <a:pt x="320116" y="26362"/>
                    <a:pt x="312584" y="33895"/>
                    <a:pt x="303169" y="33895"/>
                  </a:cubicBezTo>
                  <a:lnTo>
                    <a:pt x="66534" y="33895"/>
                  </a:lnTo>
                  <a:cubicBezTo>
                    <a:pt x="48331" y="33895"/>
                    <a:pt x="33267" y="48959"/>
                    <a:pt x="33267" y="67162"/>
                  </a:cubicBezTo>
                  <a:lnTo>
                    <a:pt x="33267" y="86620"/>
                  </a:lnTo>
                  <a:cubicBezTo>
                    <a:pt x="33267" y="104822"/>
                    <a:pt x="48331" y="119887"/>
                    <a:pt x="66534" y="119887"/>
                  </a:cubicBezTo>
                  <a:lnTo>
                    <a:pt x="303169" y="119887"/>
                  </a:lnTo>
                  <a:cubicBezTo>
                    <a:pt x="312584" y="119887"/>
                    <a:pt x="320116" y="127419"/>
                    <a:pt x="320116" y="136834"/>
                  </a:cubicBezTo>
                  <a:cubicBezTo>
                    <a:pt x="319488" y="144994"/>
                    <a:pt x="311956" y="152526"/>
                    <a:pt x="303169" y="152526"/>
                  </a:cubicBezTo>
                  <a:lnTo>
                    <a:pt x="303169" y="152526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26" name="Forma Livre: Forma 325">
              <a:extLst>
                <a:ext uri="{FF2B5EF4-FFF2-40B4-BE49-F238E27FC236}">
                  <a16:creationId xmlns:a16="http://schemas.microsoft.com/office/drawing/2014/main" id="{02DE0D5A-541E-45FB-9569-1042E4166BC4}"/>
                </a:ext>
              </a:extLst>
            </p:cNvPr>
            <p:cNvSpPr/>
            <p:nvPr/>
          </p:nvSpPr>
          <p:spPr>
            <a:xfrm>
              <a:off x="3341686" y="1781508"/>
              <a:ext cx="59212" cy="65697"/>
            </a:xfrm>
            <a:custGeom>
              <a:avLst/>
              <a:gdLst>
                <a:gd name="connsiteX0" fmla="*/ 16739 w 59212"/>
                <a:gd name="connsiteY0" fmla="*/ 65698 h 65697"/>
                <a:gd name="connsiteX1" fmla="*/ 6068 w 59212"/>
                <a:gd name="connsiteY1" fmla="*/ 61932 h 65697"/>
                <a:gd name="connsiteX2" fmla="*/ 3558 w 59212"/>
                <a:gd name="connsiteY2" fmla="*/ 38708 h 65697"/>
                <a:gd name="connsiteX3" fmla="*/ 29920 w 59212"/>
                <a:gd name="connsiteY3" fmla="*/ 6068 h 65697"/>
                <a:gd name="connsiteX4" fmla="*/ 53144 w 59212"/>
                <a:gd name="connsiteY4" fmla="*/ 3558 h 65697"/>
                <a:gd name="connsiteX5" fmla="*/ 55655 w 59212"/>
                <a:gd name="connsiteY5" fmla="*/ 26782 h 65697"/>
                <a:gd name="connsiteX6" fmla="*/ 29292 w 59212"/>
                <a:gd name="connsiteY6" fmla="*/ 59421 h 65697"/>
                <a:gd name="connsiteX7" fmla="*/ 16739 w 59212"/>
                <a:gd name="connsiteY7" fmla="*/ 65698 h 65697"/>
                <a:gd name="connsiteX8" fmla="*/ 16739 w 59212"/>
                <a:gd name="connsiteY8" fmla="*/ 65698 h 65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212" h="65697">
                  <a:moveTo>
                    <a:pt x="16739" y="65698"/>
                  </a:moveTo>
                  <a:cubicBezTo>
                    <a:pt x="12973" y="65698"/>
                    <a:pt x="9207" y="64442"/>
                    <a:pt x="6068" y="61932"/>
                  </a:cubicBezTo>
                  <a:cubicBezTo>
                    <a:pt x="-836" y="56283"/>
                    <a:pt x="-2092" y="45612"/>
                    <a:pt x="3558" y="38708"/>
                  </a:cubicBezTo>
                  <a:lnTo>
                    <a:pt x="29920" y="6068"/>
                  </a:lnTo>
                  <a:cubicBezTo>
                    <a:pt x="35569" y="-836"/>
                    <a:pt x="46240" y="-2091"/>
                    <a:pt x="53144" y="3558"/>
                  </a:cubicBezTo>
                  <a:cubicBezTo>
                    <a:pt x="60049" y="9207"/>
                    <a:pt x="61304" y="19877"/>
                    <a:pt x="55655" y="26782"/>
                  </a:cubicBezTo>
                  <a:lnTo>
                    <a:pt x="29292" y="59421"/>
                  </a:lnTo>
                  <a:cubicBezTo>
                    <a:pt x="26782" y="63815"/>
                    <a:pt x="21760" y="65698"/>
                    <a:pt x="16739" y="65698"/>
                  </a:cubicBezTo>
                  <a:lnTo>
                    <a:pt x="16739" y="65698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27" name="Forma Livre: Forma 326">
              <a:extLst>
                <a:ext uri="{FF2B5EF4-FFF2-40B4-BE49-F238E27FC236}">
                  <a16:creationId xmlns:a16="http://schemas.microsoft.com/office/drawing/2014/main" id="{B5DD48CA-8CB7-40EA-8693-8A8D1A0C92DA}"/>
                </a:ext>
              </a:extLst>
            </p:cNvPr>
            <p:cNvSpPr/>
            <p:nvPr/>
          </p:nvSpPr>
          <p:spPr>
            <a:xfrm>
              <a:off x="3626652" y="1797828"/>
              <a:ext cx="121980" cy="143530"/>
            </a:xfrm>
            <a:custGeom>
              <a:avLst/>
              <a:gdLst>
                <a:gd name="connsiteX0" fmla="*/ 16739 w 121980"/>
                <a:gd name="connsiteY0" fmla="*/ 143530 h 143530"/>
                <a:gd name="connsiteX1" fmla="*/ 6068 w 121980"/>
                <a:gd name="connsiteY1" fmla="*/ 139764 h 143530"/>
                <a:gd name="connsiteX2" fmla="*/ 3558 w 121980"/>
                <a:gd name="connsiteY2" fmla="*/ 116540 h 143530"/>
                <a:gd name="connsiteX3" fmla="*/ 92688 w 121980"/>
                <a:gd name="connsiteY3" fmla="*/ 6068 h 143530"/>
                <a:gd name="connsiteX4" fmla="*/ 115912 w 121980"/>
                <a:gd name="connsiteY4" fmla="*/ 3558 h 143530"/>
                <a:gd name="connsiteX5" fmla="*/ 118423 w 121980"/>
                <a:gd name="connsiteY5" fmla="*/ 26782 h 143530"/>
                <a:gd name="connsiteX6" fmla="*/ 29292 w 121980"/>
                <a:gd name="connsiteY6" fmla="*/ 137253 h 143530"/>
                <a:gd name="connsiteX7" fmla="*/ 16739 w 121980"/>
                <a:gd name="connsiteY7" fmla="*/ 143530 h 143530"/>
                <a:gd name="connsiteX8" fmla="*/ 16739 w 121980"/>
                <a:gd name="connsiteY8" fmla="*/ 143530 h 143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80" h="143530">
                  <a:moveTo>
                    <a:pt x="16739" y="143530"/>
                  </a:moveTo>
                  <a:cubicBezTo>
                    <a:pt x="12973" y="143530"/>
                    <a:pt x="9207" y="142275"/>
                    <a:pt x="6068" y="139764"/>
                  </a:cubicBezTo>
                  <a:cubicBezTo>
                    <a:pt x="-836" y="134115"/>
                    <a:pt x="-2092" y="123444"/>
                    <a:pt x="3558" y="116540"/>
                  </a:cubicBezTo>
                  <a:lnTo>
                    <a:pt x="92688" y="6068"/>
                  </a:lnTo>
                  <a:cubicBezTo>
                    <a:pt x="98337" y="-836"/>
                    <a:pt x="109008" y="-2092"/>
                    <a:pt x="115912" y="3558"/>
                  </a:cubicBezTo>
                  <a:cubicBezTo>
                    <a:pt x="122817" y="9207"/>
                    <a:pt x="124072" y="19877"/>
                    <a:pt x="118423" y="26782"/>
                  </a:cubicBezTo>
                  <a:lnTo>
                    <a:pt x="29292" y="137253"/>
                  </a:lnTo>
                  <a:cubicBezTo>
                    <a:pt x="26782" y="141019"/>
                    <a:pt x="21760" y="143530"/>
                    <a:pt x="16739" y="143530"/>
                  </a:cubicBezTo>
                  <a:lnTo>
                    <a:pt x="16739" y="143530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28" name="Forma Livre: Forma 327">
              <a:extLst>
                <a:ext uri="{FF2B5EF4-FFF2-40B4-BE49-F238E27FC236}">
                  <a16:creationId xmlns:a16="http://schemas.microsoft.com/office/drawing/2014/main" id="{F435C1AF-A6EA-485D-8EA9-96E1354F4AEB}"/>
                </a:ext>
              </a:extLst>
            </p:cNvPr>
            <p:cNvSpPr/>
            <p:nvPr/>
          </p:nvSpPr>
          <p:spPr>
            <a:xfrm>
              <a:off x="3622372" y="1677428"/>
              <a:ext cx="126145" cy="144043"/>
            </a:xfrm>
            <a:custGeom>
              <a:avLst/>
              <a:gdLst>
                <a:gd name="connsiteX0" fmla="*/ 16625 w 126145"/>
                <a:gd name="connsiteY0" fmla="*/ 144043 h 144043"/>
                <a:gd name="connsiteX1" fmla="*/ 5954 w 126145"/>
                <a:gd name="connsiteY1" fmla="*/ 140277 h 144043"/>
                <a:gd name="connsiteX2" fmla="*/ 4071 w 126145"/>
                <a:gd name="connsiteY2" fmla="*/ 117053 h 144043"/>
                <a:gd name="connsiteX3" fmla="*/ 96968 w 126145"/>
                <a:gd name="connsiteY3" fmla="*/ 5954 h 144043"/>
                <a:gd name="connsiteX4" fmla="*/ 120192 w 126145"/>
                <a:gd name="connsiteY4" fmla="*/ 4071 h 144043"/>
                <a:gd name="connsiteX5" fmla="*/ 122075 w 126145"/>
                <a:gd name="connsiteY5" fmla="*/ 27295 h 144043"/>
                <a:gd name="connsiteX6" fmla="*/ 29178 w 126145"/>
                <a:gd name="connsiteY6" fmla="*/ 138394 h 144043"/>
                <a:gd name="connsiteX7" fmla="*/ 16625 w 126145"/>
                <a:gd name="connsiteY7" fmla="*/ 144043 h 144043"/>
                <a:gd name="connsiteX8" fmla="*/ 16625 w 126145"/>
                <a:gd name="connsiteY8" fmla="*/ 144043 h 144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6145" h="144043">
                  <a:moveTo>
                    <a:pt x="16625" y="144043"/>
                  </a:moveTo>
                  <a:cubicBezTo>
                    <a:pt x="12859" y="144043"/>
                    <a:pt x="9093" y="142788"/>
                    <a:pt x="5954" y="140277"/>
                  </a:cubicBezTo>
                  <a:cubicBezTo>
                    <a:pt x="-950" y="134628"/>
                    <a:pt x="-2206" y="123958"/>
                    <a:pt x="4071" y="117053"/>
                  </a:cubicBezTo>
                  <a:lnTo>
                    <a:pt x="96968" y="5954"/>
                  </a:lnTo>
                  <a:cubicBezTo>
                    <a:pt x="102617" y="-950"/>
                    <a:pt x="113287" y="-2206"/>
                    <a:pt x="120192" y="4071"/>
                  </a:cubicBezTo>
                  <a:cubicBezTo>
                    <a:pt x="127096" y="9720"/>
                    <a:pt x="128351" y="20391"/>
                    <a:pt x="122075" y="27295"/>
                  </a:cubicBezTo>
                  <a:lnTo>
                    <a:pt x="29178" y="138394"/>
                  </a:lnTo>
                  <a:cubicBezTo>
                    <a:pt x="26668" y="141533"/>
                    <a:pt x="21646" y="144043"/>
                    <a:pt x="16625" y="144043"/>
                  </a:cubicBezTo>
                  <a:lnTo>
                    <a:pt x="16625" y="144043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29" name="Forma Livre: Forma 328">
              <a:extLst>
                <a:ext uri="{FF2B5EF4-FFF2-40B4-BE49-F238E27FC236}">
                  <a16:creationId xmlns:a16="http://schemas.microsoft.com/office/drawing/2014/main" id="{E7EBBA2D-7A32-4C3B-8A3E-F7E3BA39F029}"/>
                </a:ext>
              </a:extLst>
            </p:cNvPr>
            <p:cNvSpPr/>
            <p:nvPr/>
          </p:nvSpPr>
          <p:spPr>
            <a:xfrm>
              <a:off x="3392319" y="1840930"/>
              <a:ext cx="243607" cy="16319"/>
            </a:xfrm>
            <a:custGeom>
              <a:avLst/>
              <a:gdLst>
                <a:gd name="connsiteX0" fmla="*/ 235380 w 243607"/>
                <a:gd name="connsiteY0" fmla="*/ 16320 h 16319"/>
                <a:gd name="connsiteX1" fmla="*/ 8160 w 243607"/>
                <a:gd name="connsiteY1" fmla="*/ 16320 h 16319"/>
                <a:gd name="connsiteX2" fmla="*/ 0 w 243607"/>
                <a:gd name="connsiteY2" fmla="*/ 8160 h 16319"/>
                <a:gd name="connsiteX3" fmla="*/ 8160 w 243607"/>
                <a:gd name="connsiteY3" fmla="*/ 0 h 16319"/>
                <a:gd name="connsiteX4" fmla="*/ 235380 w 243607"/>
                <a:gd name="connsiteY4" fmla="*/ 0 h 16319"/>
                <a:gd name="connsiteX5" fmla="*/ 243539 w 243607"/>
                <a:gd name="connsiteY5" fmla="*/ 8160 h 16319"/>
                <a:gd name="connsiteX6" fmla="*/ 235380 w 243607"/>
                <a:gd name="connsiteY6" fmla="*/ 16320 h 16319"/>
                <a:gd name="connsiteX7" fmla="*/ 235380 w 243607"/>
                <a:gd name="connsiteY7" fmla="*/ 16320 h 16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3607" h="16319">
                  <a:moveTo>
                    <a:pt x="235380" y="16320"/>
                  </a:moveTo>
                  <a:lnTo>
                    <a:pt x="8160" y="16320"/>
                  </a:lnTo>
                  <a:cubicBezTo>
                    <a:pt x="3766" y="16320"/>
                    <a:pt x="0" y="12554"/>
                    <a:pt x="0" y="8160"/>
                  </a:cubicBezTo>
                  <a:cubicBezTo>
                    <a:pt x="0" y="3766"/>
                    <a:pt x="3766" y="0"/>
                    <a:pt x="8160" y="0"/>
                  </a:cubicBezTo>
                  <a:lnTo>
                    <a:pt x="235380" y="0"/>
                  </a:lnTo>
                  <a:cubicBezTo>
                    <a:pt x="239773" y="0"/>
                    <a:pt x="243539" y="3766"/>
                    <a:pt x="243539" y="8160"/>
                  </a:cubicBezTo>
                  <a:cubicBezTo>
                    <a:pt x="244167" y="12554"/>
                    <a:pt x="240401" y="16320"/>
                    <a:pt x="235380" y="16320"/>
                  </a:cubicBezTo>
                  <a:lnTo>
                    <a:pt x="235380" y="16320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30" name="Forma Livre: Forma 329">
              <a:extLst>
                <a:ext uri="{FF2B5EF4-FFF2-40B4-BE49-F238E27FC236}">
                  <a16:creationId xmlns:a16="http://schemas.microsoft.com/office/drawing/2014/main" id="{B02759D6-BEE0-43E8-B6DF-6EA3C2DB6835}"/>
                </a:ext>
              </a:extLst>
            </p:cNvPr>
            <p:cNvSpPr/>
            <p:nvPr/>
          </p:nvSpPr>
          <p:spPr>
            <a:xfrm>
              <a:off x="3392319" y="1871686"/>
              <a:ext cx="243607" cy="16319"/>
            </a:xfrm>
            <a:custGeom>
              <a:avLst/>
              <a:gdLst>
                <a:gd name="connsiteX0" fmla="*/ 235380 w 243607"/>
                <a:gd name="connsiteY0" fmla="*/ 16320 h 16319"/>
                <a:gd name="connsiteX1" fmla="*/ 8160 w 243607"/>
                <a:gd name="connsiteY1" fmla="*/ 16320 h 16319"/>
                <a:gd name="connsiteX2" fmla="*/ 0 w 243607"/>
                <a:gd name="connsiteY2" fmla="*/ 8160 h 16319"/>
                <a:gd name="connsiteX3" fmla="*/ 8160 w 243607"/>
                <a:gd name="connsiteY3" fmla="*/ 0 h 16319"/>
                <a:gd name="connsiteX4" fmla="*/ 235380 w 243607"/>
                <a:gd name="connsiteY4" fmla="*/ 0 h 16319"/>
                <a:gd name="connsiteX5" fmla="*/ 243539 w 243607"/>
                <a:gd name="connsiteY5" fmla="*/ 8160 h 16319"/>
                <a:gd name="connsiteX6" fmla="*/ 235380 w 243607"/>
                <a:gd name="connsiteY6" fmla="*/ 16320 h 16319"/>
                <a:gd name="connsiteX7" fmla="*/ 235380 w 243607"/>
                <a:gd name="connsiteY7" fmla="*/ 16320 h 16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3607" h="16319">
                  <a:moveTo>
                    <a:pt x="235380" y="16320"/>
                  </a:moveTo>
                  <a:lnTo>
                    <a:pt x="8160" y="16320"/>
                  </a:lnTo>
                  <a:cubicBezTo>
                    <a:pt x="3766" y="16320"/>
                    <a:pt x="0" y="12554"/>
                    <a:pt x="0" y="8160"/>
                  </a:cubicBezTo>
                  <a:cubicBezTo>
                    <a:pt x="0" y="3766"/>
                    <a:pt x="3766" y="0"/>
                    <a:pt x="8160" y="0"/>
                  </a:cubicBezTo>
                  <a:lnTo>
                    <a:pt x="235380" y="0"/>
                  </a:lnTo>
                  <a:cubicBezTo>
                    <a:pt x="239773" y="0"/>
                    <a:pt x="243539" y="3766"/>
                    <a:pt x="243539" y="8160"/>
                  </a:cubicBezTo>
                  <a:cubicBezTo>
                    <a:pt x="244167" y="12554"/>
                    <a:pt x="240401" y="16320"/>
                    <a:pt x="235380" y="16320"/>
                  </a:cubicBezTo>
                  <a:lnTo>
                    <a:pt x="235380" y="16320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31" name="Forma Livre: Forma 330">
              <a:extLst>
                <a:ext uri="{FF2B5EF4-FFF2-40B4-BE49-F238E27FC236}">
                  <a16:creationId xmlns:a16="http://schemas.microsoft.com/office/drawing/2014/main" id="{AB0188B3-3B69-4158-8EB0-8B029418A882}"/>
                </a:ext>
              </a:extLst>
            </p:cNvPr>
            <p:cNvSpPr/>
            <p:nvPr/>
          </p:nvSpPr>
          <p:spPr>
            <a:xfrm>
              <a:off x="3336456" y="1663296"/>
              <a:ext cx="320116" cy="152525"/>
            </a:xfrm>
            <a:custGeom>
              <a:avLst/>
              <a:gdLst>
                <a:gd name="connsiteX0" fmla="*/ 303169 w 320116"/>
                <a:gd name="connsiteY0" fmla="*/ 152526 h 152525"/>
                <a:gd name="connsiteX1" fmla="*/ 66534 w 320116"/>
                <a:gd name="connsiteY1" fmla="*/ 152526 h 152525"/>
                <a:gd name="connsiteX2" fmla="*/ 0 w 320116"/>
                <a:gd name="connsiteY2" fmla="*/ 85992 h 152525"/>
                <a:gd name="connsiteX3" fmla="*/ 0 w 320116"/>
                <a:gd name="connsiteY3" fmla="*/ 66534 h 152525"/>
                <a:gd name="connsiteX4" fmla="*/ 66534 w 320116"/>
                <a:gd name="connsiteY4" fmla="*/ 0 h 152525"/>
                <a:gd name="connsiteX5" fmla="*/ 303169 w 320116"/>
                <a:gd name="connsiteY5" fmla="*/ 0 h 152525"/>
                <a:gd name="connsiteX6" fmla="*/ 320116 w 320116"/>
                <a:gd name="connsiteY6" fmla="*/ 16947 h 152525"/>
                <a:gd name="connsiteX7" fmla="*/ 303169 w 320116"/>
                <a:gd name="connsiteY7" fmla="*/ 33895 h 152525"/>
                <a:gd name="connsiteX8" fmla="*/ 66534 w 320116"/>
                <a:gd name="connsiteY8" fmla="*/ 33895 h 152525"/>
                <a:gd name="connsiteX9" fmla="*/ 33267 w 320116"/>
                <a:gd name="connsiteY9" fmla="*/ 67162 h 152525"/>
                <a:gd name="connsiteX10" fmla="*/ 33267 w 320116"/>
                <a:gd name="connsiteY10" fmla="*/ 86620 h 152525"/>
                <a:gd name="connsiteX11" fmla="*/ 66534 w 320116"/>
                <a:gd name="connsiteY11" fmla="*/ 119887 h 152525"/>
                <a:gd name="connsiteX12" fmla="*/ 303169 w 320116"/>
                <a:gd name="connsiteY12" fmla="*/ 119887 h 152525"/>
                <a:gd name="connsiteX13" fmla="*/ 320116 w 320116"/>
                <a:gd name="connsiteY13" fmla="*/ 136834 h 152525"/>
                <a:gd name="connsiteX14" fmla="*/ 303169 w 320116"/>
                <a:gd name="connsiteY14" fmla="*/ 152526 h 152525"/>
                <a:gd name="connsiteX15" fmla="*/ 303169 w 320116"/>
                <a:gd name="connsiteY15" fmla="*/ 152526 h 152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0116" h="152525">
                  <a:moveTo>
                    <a:pt x="303169" y="152526"/>
                  </a:moveTo>
                  <a:lnTo>
                    <a:pt x="66534" y="152526"/>
                  </a:lnTo>
                  <a:cubicBezTo>
                    <a:pt x="29501" y="152526"/>
                    <a:pt x="0" y="122397"/>
                    <a:pt x="0" y="85992"/>
                  </a:cubicBezTo>
                  <a:lnTo>
                    <a:pt x="0" y="66534"/>
                  </a:lnTo>
                  <a:cubicBezTo>
                    <a:pt x="0" y="29501"/>
                    <a:pt x="30129" y="0"/>
                    <a:pt x="66534" y="0"/>
                  </a:cubicBezTo>
                  <a:lnTo>
                    <a:pt x="303169" y="0"/>
                  </a:lnTo>
                  <a:cubicBezTo>
                    <a:pt x="312584" y="0"/>
                    <a:pt x="320116" y="7532"/>
                    <a:pt x="320116" y="16947"/>
                  </a:cubicBezTo>
                  <a:cubicBezTo>
                    <a:pt x="320116" y="26362"/>
                    <a:pt x="312584" y="33895"/>
                    <a:pt x="303169" y="33895"/>
                  </a:cubicBezTo>
                  <a:lnTo>
                    <a:pt x="66534" y="33895"/>
                  </a:lnTo>
                  <a:cubicBezTo>
                    <a:pt x="48331" y="33895"/>
                    <a:pt x="33267" y="48959"/>
                    <a:pt x="33267" y="67162"/>
                  </a:cubicBezTo>
                  <a:lnTo>
                    <a:pt x="33267" y="86620"/>
                  </a:lnTo>
                  <a:cubicBezTo>
                    <a:pt x="33267" y="104822"/>
                    <a:pt x="48331" y="119887"/>
                    <a:pt x="66534" y="119887"/>
                  </a:cubicBezTo>
                  <a:lnTo>
                    <a:pt x="303169" y="119887"/>
                  </a:lnTo>
                  <a:cubicBezTo>
                    <a:pt x="312584" y="119887"/>
                    <a:pt x="320116" y="127419"/>
                    <a:pt x="320116" y="136834"/>
                  </a:cubicBezTo>
                  <a:cubicBezTo>
                    <a:pt x="319488" y="144994"/>
                    <a:pt x="311956" y="152526"/>
                    <a:pt x="303169" y="152526"/>
                  </a:cubicBezTo>
                  <a:lnTo>
                    <a:pt x="303169" y="152526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32" name="Forma Livre: Forma 331">
              <a:extLst>
                <a:ext uri="{FF2B5EF4-FFF2-40B4-BE49-F238E27FC236}">
                  <a16:creationId xmlns:a16="http://schemas.microsoft.com/office/drawing/2014/main" id="{FE07B03A-37EB-486F-9217-3D77243D335A}"/>
                </a:ext>
              </a:extLst>
            </p:cNvPr>
            <p:cNvSpPr/>
            <p:nvPr/>
          </p:nvSpPr>
          <p:spPr>
            <a:xfrm>
              <a:off x="3430235" y="1552140"/>
              <a:ext cx="319233" cy="60942"/>
            </a:xfrm>
            <a:custGeom>
              <a:avLst/>
              <a:gdLst>
                <a:gd name="connsiteX0" fmla="*/ 16692 w 319233"/>
                <a:gd name="connsiteY0" fmla="*/ 60943 h 60942"/>
                <a:gd name="connsiteX1" fmla="*/ 6649 w 319233"/>
                <a:gd name="connsiteY1" fmla="*/ 57804 h 60942"/>
                <a:gd name="connsiteX2" fmla="*/ 3511 w 319233"/>
                <a:gd name="connsiteY2" fmla="*/ 34580 h 60942"/>
                <a:gd name="connsiteX3" fmla="*/ 62512 w 319233"/>
                <a:gd name="connsiteY3" fmla="*/ 58 h 60942"/>
                <a:gd name="connsiteX4" fmla="*/ 302286 w 319233"/>
                <a:gd name="connsiteY4" fmla="*/ 58 h 60942"/>
                <a:gd name="connsiteX5" fmla="*/ 319233 w 319233"/>
                <a:gd name="connsiteY5" fmla="*/ 17005 h 60942"/>
                <a:gd name="connsiteX6" fmla="*/ 302286 w 319233"/>
                <a:gd name="connsiteY6" fmla="*/ 33952 h 60942"/>
                <a:gd name="connsiteX7" fmla="*/ 61885 w 319233"/>
                <a:gd name="connsiteY7" fmla="*/ 33952 h 60942"/>
                <a:gd name="connsiteX8" fmla="*/ 29873 w 319233"/>
                <a:gd name="connsiteY8" fmla="*/ 55293 h 60942"/>
                <a:gd name="connsiteX9" fmla="*/ 16692 w 319233"/>
                <a:gd name="connsiteY9" fmla="*/ 60943 h 60942"/>
                <a:gd name="connsiteX10" fmla="*/ 16692 w 319233"/>
                <a:gd name="connsiteY10" fmla="*/ 60943 h 60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19233" h="60942">
                  <a:moveTo>
                    <a:pt x="16692" y="60943"/>
                  </a:moveTo>
                  <a:cubicBezTo>
                    <a:pt x="12926" y="60943"/>
                    <a:pt x="9787" y="59687"/>
                    <a:pt x="6649" y="57804"/>
                  </a:cubicBezTo>
                  <a:cubicBezTo>
                    <a:pt x="-883" y="52155"/>
                    <a:pt x="-2138" y="41484"/>
                    <a:pt x="3511" y="34580"/>
                  </a:cubicBezTo>
                  <a:cubicBezTo>
                    <a:pt x="15437" y="18260"/>
                    <a:pt x="31128" y="-1198"/>
                    <a:pt x="62512" y="58"/>
                  </a:cubicBezTo>
                  <a:lnTo>
                    <a:pt x="302286" y="58"/>
                  </a:lnTo>
                  <a:cubicBezTo>
                    <a:pt x="311701" y="58"/>
                    <a:pt x="319233" y="7590"/>
                    <a:pt x="319233" y="17005"/>
                  </a:cubicBezTo>
                  <a:cubicBezTo>
                    <a:pt x="319233" y="26420"/>
                    <a:pt x="311701" y="33952"/>
                    <a:pt x="302286" y="33952"/>
                  </a:cubicBezTo>
                  <a:lnTo>
                    <a:pt x="61885" y="33952"/>
                  </a:lnTo>
                  <a:cubicBezTo>
                    <a:pt x="48704" y="33325"/>
                    <a:pt x="43055" y="38346"/>
                    <a:pt x="29873" y="55293"/>
                  </a:cubicBezTo>
                  <a:cubicBezTo>
                    <a:pt x="26735" y="58432"/>
                    <a:pt x="21713" y="60943"/>
                    <a:pt x="16692" y="60943"/>
                  </a:cubicBezTo>
                  <a:lnTo>
                    <a:pt x="16692" y="60943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33" name="Forma Livre: Forma 332">
              <a:extLst>
                <a:ext uri="{FF2B5EF4-FFF2-40B4-BE49-F238E27FC236}">
                  <a16:creationId xmlns:a16="http://schemas.microsoft.com/office/drawing/2014/main" id="{1CA5CC64-9113-4E3A-BF9F-1B781EABDDE2}"/>
                </a:ext>
              </a:extLst>
            </p:cNvPr>
            <p:cNvSpPr/>
            <p:nvPr/>
          </p:nvSpPr>
          <p:spPr>
            <a:xfrm>
              <a:off x="3341686" y="1578768"/>
              <a:ext cx="121980" cy="143529"/>
            </a:xfrm>
            <a:custGeom>
              <a:avLst/>
              <a:gdLst>
                <a:gd name="connsiteX0" fmla="*/ 16739 w 121980"/>
                <a:gd name="connsiteY0" fmla="*/ 143530 h 143529"/>
                <a:gd name="connsiteX1" fmla="*/ 6068 w 121980"/>
                <a:gd name="connsiteY1" fmla="*/ 139764 h 143529"/>
                <a:gd name="connsiteX2" fmla="*/ 3558 w 121980"/>
                <a:gd name="connsiteY2" fmla="*/ 116540 h 143529"/>
                <a:gd name="connsiteX3" fmla="*/ 92688 w 121980"/>
                <a:gd name="connsiteY3" fmla="*/ 6068 h 143529"/>
                <a:gd name="connsiteX4" fmla="*/ 115912 w 121980"/>
                <a:gd name="connsiteY4" fmla="*/ 3558 h 143529"/>
                <a:gd name="connsiteX5" fmla="*/ 118423 w 121980"/>
                <a:gd name="connsiteY5" fmla="*/ 26782 h 143529"/>
                <a:gd name="connsiteX6" fmla="*/ 29920 w 121980"/>
                <a:gd name="connsiteY6" fmla="*/ 137253 h 143529"/>
                <a:gd name="connsiteX7" fmla="*/ 16739 w 121980"/>
                <a:gd name="connsiteY7" fmla="*/ 143530 h 143529"/>
                <a:gd name="connsiteX8" fmla="*/ 16739 w 121980"/>
                <a:gd name="connsiteY8" fmla="*/ 143530 h 143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80" h="143529">
                  <a:moveTo>
                    <a:pt x="16739" y="143530"/>
                  </a:moveTo>
                  <a:cubicBezTo>
                    <a:pt x="12973" y="143530"/>
                    <a:pt x="9207" y="142275"/>
                    <a:pt x="6068" y="139764"/>
                  </a:cubicBezTo>
                  <a:cubicBezTo>
                    <a:pt x="-836" y="134115"/>
                    <a:pt x="-2092" y="123444"/>
                    <a:pt x="3558" y="116540"/>
                  </a:cubicBezTo>
                  <a:lnTo>
                    <a:pt x="92688" y="6068"/>
                  </a:lnTo>
                  <a:cubicBezTo>
                    <a:pt x="98337" y="-836"/>
                    <a:pt x="109008" y="-2091"/>
                    <a:pt x="115912" y="3558"/>
                  </a:cubicBezTo>
                  <a:cubicBezTo>
                    <a:pt x="122817" y="9207"/>
                    <a:pt x="124072" y="19877"/>
                    <a:pt x="118423" y="26782"/>
                  </a:cubicBezTo>
                  <a:lnTo>
                    <a:pt x="29920" y="137253"/>
                  </a:lnTo>
                  <a:cubicBezTo>
                    <a:pt x="26782" y="141019"/>
                    <a:pt x="21760" y="143530"/>
                    <a:pt x="16739" y="143530"/>
                  </a:cubicBezTo>
                  <a:lnTo>
                    <a:pt x="16739" y="143530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34" name="Forma Livre: Forma 333">
              <a:extLst>
                <a:ext uri="{FF2B5EF4-FFF2-40B4-BE49-F238E27FC236}">
                  <a16:creationId xmlns:a16="http://schemas.microsoft.com/office/drawing/2014/main" id="{F261F332-4385-4E6E-B81B-235423274697}"/>
                </a:ext>
              </a:extLst>
            </p:cNvPr>
            <p:cNvSpPr/>
            <p:nvPr/>
          </p:nvSpPr>
          <p:spPr>
            <a:xfrm>
              <a:off x="3626652" y="1672292"/>
              <a:ext cx="121980" cy="143530"/>
            </a:xfrm>
            <a:custGeom>
              <a:avLst/>
              <a:gdLst>
                <a:gd name="connsiteX0" fmla="*/ 16739 w 121980"/>
                <a:gd name="connsiteY0" fmla="*/ 143530 h 143530"/>
                <a:gd name="connsiteX1" fmla="*/ 6068 w 121980"/>
                <a:gd name="connsiteY1" fmla="*/ 139764 h 143530"/>
                <a:gd name="connsiteX2" fmla="*/ 3558 w 121980"/>
                <a:gd name="connsiteY2" fmla="*/ 116540 h 143530"/>
                <a:gd name="connsiteX3" fmla="*/ 92688 w 121980"/>
                <a:gd name="connsiteY3" fmla="*/ 6068 h 143530"/>
                <a:gd name="connsiteX4" fmla="*/ 115912 w 121980"/>
                <a:gd name="connsiteY4" fmla="*/ 3558 h 143530"/>
                <a:gd name="connsiteX5" fmla="*/ 118423 w 121980"/>
                <a:gd name="connsiteY5" fmla="*/ 26782 h 143530"/>
                <a:gd name="connsiteX6" fmla="*/ 29292 w 121980"/>
                <a:gd name="connsiteY6" fmla="*/ 137253 h 143530"/>
                <a:gd name="connsiteX7" fmla="*/ 16739 w 121980"/>
                <a:gd name="connsiteY7" fmla="*/ 143530 h 143530"/>
                <a:gd name="connsiteX8" fmla="*/ 16739 w 121980"/>
                <a:gd name="connsiteY8" fmla="*/ 143530 h 143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80" h="143530">
                  <a:moveTo>
                    <a:pt x="16739" y="143530"/>
                  </a:moveTo>
                  <a:cubicBezTo>
                    <a:pt x="12973" y="143530"/>
                    <a:pt x="9207" y="142275"/>
                    <a:pt x="6068" y="139764"/>
                  </a:cubicBezTo>
                  <a:cubicBezTo>
                    <a:pt x="-836" y="134115"/>
                    <a:pt x="-2092" y="123444"/>
                    <a:pt x="3558" y="116540"/>
                  </a:cubicBezTo>
                  <a:lnTo>
                    <a:pt x="92688" y="6068"/>
                  </a:lnTo>
                  <a:cubicBezTo>
                    <a:pt x="98337" y="-836"/>
                    <a:pt x="109008" y="-2092"/>
                    <a:pt x="115912" y="3558"/>
                  </a:cubicBezTo>
                  <a:cubicBezTo>
                    <a:pt x="122817" y="9207"/>
                    <a:pt x="124072" y="19877"/>
                    <a:pt x="118423" y="26782"/>
                  </a:cubicBezTo>
                  <a:lnTo>
                    <a:pt x="29292" y="137253"/>
                  </a:lnTo>
                  <a:cubicBezTo>
                    <a:pt x="26782" y="141647"/>
                    <a:pt x="21760" y="143530"/>
                    <a:pt x="16739" y="143530"/>
                  </a:cubicBezTo>
                  <a:lnTo>
                    <a:pt x="16739" y="143530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35" name="Forma Livre: Forma 334">
              <a:extLst>
                <a:ext uri="{FF2B5EF4-FFF2-40B4-BE49-F238E27FC236}">
                  <a16:creationId xmlns:a16="http://schemas.microsoft.com/office/drawing/2014/main" id="{897EA342-46D1-440A-A295-913E4EFE6860}"/>
                </a:ext>
              </a:extLst>
            </p:cNvPr>
            <p:cNvSpPr/>
            <p:nvPr/>
          </p:nvSpPr>
          <p:spPr>
            <a:xfrm>
              <a:off x="3622372" y="1551892"/>
              <a:ext cx="126145" cy="144043"/>
            </a:xfrm>
            <a:custGeom>
              <a:avLst/>
              <a:gdLst>
                <a:gd name="connsiteX0" fmla="*/ 16625 w 126145"/>
                <a:gd name="connsiteY0" fmla="*/ 144043 h 144043"/>
                <a:gd name="connsiteX1" fmla="*/ 5954 w 126145"/>
                <a:gd name="connsiteY1" fmla="*/ 140277 h 144043"/>
                <a:gd name="connsiteX2" fmla="*/ 4071 w 126145"/>
                <a:gd name="connsiteY2" fmla="*/ 117053 h 144043"/>
                <a:gd name="connsiteX3" fmla="*/ 96968 w 126145"/>
                <a:gd name="connsiteY3" fmla="*/ 5954 h 144043"/>
                <a:gd name="connsiteX4" fmla="*/ 120192 w 126145"/>
                <a:gd name="connsiteY4" fmla="*/ 4071 h 144043"/>
                <a:gd name="connsiteX5" fmla="*/ 122075 w 126145"/>
                <a:gd name="connsiteY5" fmla="*/ 27295 h 144043"/>
                <a:gd name="connsiteX6" fmla="*/ 29178 w 126145"/>
                <a:gd name="connsiteY6" fmla="*/ 138394 h 144043"/>
                <a:gd name="connsiteX7" fmla="*/ 16625 w 126145"/>
                <a:gd name="connsiteY7" fmla="*/ 144043 h 144043"/>
                <a:gd name="connsiteX8" fmla="*/ 16625 w 126145"/>
                <a:gd name="connsiteY8" fmla="*/ 144043 h 144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6145" h="144043">
                  <a:moveTo>
                    <a:pt x="16625" y="144043"/>
                  </a:moveTo>
                  <a:cubicBezTo>
                    <a:pt x="12859" y="144043"/>
                    <a:pt x="9093" y="142788"/>
                    <a:pt x="5954" y="140277"/>
                  </a:cubicBezTo>
                  <a:cubicBezTo>
                    <a:pt x="-950" y="134628"/>
                    <a:pt x="-2206" y="123958"/>
                    <a:pt x="4071" y="117053"/>
                  </a:cubicBezTo>
                  <a:lnTo>
                    <a:pt x="96968" y="5954"/>
                  </a:lnTo>
                  <a:cubicBezTo>
                    <a:pt x="102617" y="-950"/>
                    <a:pt x="113287" y="-2206"/>
                    <a:pt x="120192" y="4071"/>
                  </a:cubicBezTo>
                  <a:cubicBezTo>
                    <a:pt x="127096" y="9720"/>
                    <a:pt x="128351" y="20391"/>
                    <a:pt x="122075" y="27295"/>
                  </a:cubicBezTo>
                  <a:lnTo>
                    <a:pt x="29178" y="138394"/>
                  </a:lnTo>
                  <a:cubicBezTo>
                    <a:pt x="26668" y="142160"/>
                    <a:pt x="21646" y="144043"/>
                    <a:pt x="16625" y="144043"/>
                  </a:cubicBezTo>
                  <a:lnTo>
                    <a:pt x="16625" y="144043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36" name="Forma Livre: Forma 335">
              <a:extLst>
                <a:ext uri="{FF2B5EF4-FFF2-40B4-BE49-F238E27FC236}">
                  <a16:creationId xmlns:a16="http://schemas.microsoft.com/office/drawing/2014/main" id="{0B61747E-9294-4DA9-8C52-A34CEFD61C9D}"/>
                </a:ext>
              </a:extLst>
            </p:cNvPr>
            <p:cNvSpPr/>
            <p:nvPr/>
          </p:nvSpPr>
          <p:spPr>
            <a:xfrm>
              <a:off x="3392319" y="1715394"/>
              <a:ext cx="243607" cy="16319"/>
            </a:xfrm>
            <a:custGeom>
              <a:avLst/>
              <a:gdLst>
                <a:gd name="connsiteX0" fmla="*/ 235380 w 243607"/>
                <a:gd name="connsiteY0" fmla="*/ 16320 h 16319"/>
                <a:gd name="connsiteX1" fmla="*/ 8160 w 243607"/>
                <a:gd name="connsiteY1" fmla="*/ 16320 h 16319"/>
                <a:gd name="connsiteX2" fmla="*/ 0 w 243607"/>
                <a:gd name="connsiteY2" fmla="*/ 8160 h 16319"/>
                <a:gd name="connsiteX3" fmla="*/ 8160 w 243607"/>
                <a:gd name="connsiteY3" fmla="*/ 0 h 16319"/>
                <a:gd name="connsiteX4" fmla="*/ 235380 w 243607"/>
                <a:gd name="connsiteY4" fmla="*/ 0 h 16319"/>
                <a:gd name="connsiteX5" fmla="*/ 243539 w 243607"/>
                <a:gd name="connsiteY5" fmla="*/ 8160 h 16319"/>
                <a:gd name="connsiteX6" fmla="*/ 235380 w 243607"/>
                <a:gd name="connsiteY6" fmla="*/ 16320 h 16319"/>
                <a:gd name="connsiteX7" fmla="*/ 235380 w 243607"/>
                <a:gd name="connsiteY7" fmla="*/ 16320 h 16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3607" h="16319">
                  <a:moveTo>
                    <a:pt x="235380" y="16320"/>
                  </a:moveTo>
                  <a:lnTo>
                    <a:pt x="8160" y="16320"/>
                  </a:lnTo>
                  <a:cubicBezTo>
                    <a:pt x="3766" y="16320"/>
                    <a:pt x="0" y="12554"/>
                    <a:pt x="0" y="8160"/>
                  </a:cubicBezTo>
                  <a:cubicBezTo>
                    <a:pt x="0" y="3766"/>
                    <a:pt x="3766" y="0"/>
                    <a:pt x="8160" y="0"/>
                  </a:cubicBezTo>
                  <a:lnTo>
                    <a:pt x="235380" y="0"/>
                  </a:lnTo>
                  <a:cubicBezTo>
                    <a:pt x="239773" y="0"/>
                    <a:pt x="243539" y="3766"/>
                    <a:pt x="243539" y="8160"/>
                  </a:cubicBezTo>
                  <a:cubicBezTo>
                    <a:pt x="244167" y="12554"/>
                    <a:pt x="240401" y="16320"/>
                    <a:pt x="235380" y="16320"/>
                  </a:cubicBezTo>
                  <a:lnTo>
                    <a:pt x="235380" y="16320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37" name="Forma Livre: Forma 336">
              <a:extLst>
                <a:ext uri="{FF2B5EF4-FFF2-40B4-BE49-F238E27FC236}">
                  <a16:creationId xmlns:a16="http://schemas.microsoft.com/office/drawing/2014/main" id="{7EF8C290-4CF1-4138-AA79-36A642F968FD}"/>
                </a:ext>
              </a:extLst>
            </p:cNvPr>
            <p:cNvSpPr/>
            <p:nvPr/>
          </p:nvSpPr>
          <p:spPr>
            <a:xfrm>
              <a:off x="3392319" y="1746778"/>
              <a:ext cx="243607" cy="16319"/>
            </a:xfrm>
            <a:custGeom>
              <a:avLst/>
              <a:gdLst>
                <a:gd name="connsiteX0" fmla="*/ 235380 w 243607"/>
                <a:gd name="connsiteY0" fmla="*/ 16320 h 16319"/>
                <a:gd name="connsiteX1" fmla="*/ 8160 w 243607"/>
                <a:gd name="connsiteY1" fmla="*/ 16320 h 16319"/>
                <a:gd name="connsiteX2" fmla="*/ 0 w 243607"/>
                <a:gd name="connsiteY2" fmla="*/ 8160 h 16319"/>
                <a:gd name="connsiteX3" fmla="*/ 8160 w 243607"/>
                <a:gd name="connsiteY3" fmla="*/ 0 h 16319"/>
                <a:gd name="connsiteX4" fmla="*/ 235380 w 243607"/>
                <a:gd name="connsiteY4" fmla="*/ 0 h 16319"/>
                <a:gd name="connsiteX5" fmla="*/ 243539 w 243607"/>
                <a:gd name="connsiteY5" fmla="*/ 8160 h 16319"/>
                <a:gd name="connsiteX6" fmla="*/ 235380 w 243607"/>
                <a:gd name="connsiteY6" fmla="*/ 16320 h 16319"/>
                <a:gd name="connsiteX7" fmla="*/ 235380 w 243607"/>
                <a:gd name="connsiteY7" fmla="*/ 16320 h 16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3607" h="16319">
                  <a:moveTo>
                    <a:pt x="235380" y="16320"/>
                  </a:moveTo>
                  <a:lnTo>
                    <a:pt x="8160" y="16320"/>
                  </a:lnTo>
                  <a:cubicBezTo>
                    <a:pt x="3766" y="16320"/>
                    <a:pt x="0" y="12554"/>
                    <a:pt x="0" y="8160"/>
                  </a:cubicBezTo>
                  <a:cubicBezTo>
                    <a:pt x="0" y="3766"/>
                    <a:pt x="3766" y="0"/>
                    <a:pt x="8160" y="0"/>
                  </a:cubicBezTo>
                  <a:lnTo>
                    <a:pt x="235380" y="0"/>
                  </a:lnTo>
                  <a:cubicBezTo>
                    <a:pt x="239773" y="0"/>
                    <a:pt x="243539" y="3766"/>
                    <a:pt x="243539" y="8160"/>
                  </a:cubicBezTo>
                  <a:cubicBezTo>
                    <a:pt x="244167" y="12554"/>
                    <a:pt x="240401" y="16320"/>
                    <a:pt x="235380" y="16320"/>
                  </a:cubicBezTo>
                  <a:lnTo>
                    <a:pt x="235380" y="16320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38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5402834" y="1553825"/>
            <a:ext cx="370277" cy="385650"/>
            <a:chOff x="5402834" y="1553825"/>
            <a:chExt cx="370277" cy="385650"/>
          </a:xfrm>
          <a:solidFill>
            <a:srgbClr val="B1B1A1"/>
          </a:solidFill>
        </p:grpSpPr>
        <p:sp>
          <p:nvSpPr>
            <p:cNvPr id="339" name="Forma Livre: Forma 338">
              <a:extLst>
                <a:ext uri="{FF2B5EF4-FFF2-40B4-BE49-F238E27FC236}">
                  <a16:creationId xmlns:a16="http://schemas.microsoft.com/office/drawing/2014/main" id="{F6C228D8-66B7-47C4-94D8-D27E99AC1DC8}"/>
                </a:ext>
              </a:extLst>
            </p:cNvPr>
            <p:cNvSpPr/>
            <p:nvPr/>
          </p:nvSpPr>
          <p:spPr>
            <a:xfrm>
              <a:off x="5402834" y="1650471"/>
              <a:ext cx="370277" cy="289003"/>
            </a:xfrm>
            <a:custGeom>
              <a:avLst/>
              <a:gdLst>
                <a:gd name="connsiteX0" fmla="*/ 236575 w 370277"/>
                <a:gd name="connsiteY0" fmla="*/ 289004 h 289003"/>
                <a:gd name="connsiteX1" fmla="*/ 236575 w 370277"/>
                <a:gd name="connsiteY1" fmla="*/ 289004 h 289003"/>
                <a:gd name="connsiteX2" fmla="*/ 209585 w 370277"/>
                <a:gd name="connsiteY2" fmla="*/ 285237 h 289003"/>
                <a:gd name="connsiteX3" fmla="*/ 185105 w 370277"/>
                <a:gd name="connsiteY3" fmla="*/ 273312 h 289003"/>
                <a:gd name="connsiteX4" fmla="*/ 160626 w 370277"/>
                <a:gd name="connsiteY4" fmla="*/ 285237 h 289003"/>
                <a:gd name="connsiteX5" fmla="*/ 133636 w 370277"/>
                <a:gd name="connsiteY5" fmla="*/ 289004 h 289003"/>
                <a:gd name="connsiteX6" fmla="*/ 8728 w 370277"/>
                <a:gd name="connsiteY6" fmla="*/ 178532 h 289003"/>
                <a:gd name="connsiteX7" fmla="*/ 72123 w 370277"/>
                <a:gd name="connsiteY7" fmla="*/ 4037 h 289003"/>
                <a:gd name="connsiteX8" fmla="*/ 185105 w 370277"/>
                <a:gd name="connsiteY8" fmla="*/ 41698 h 289003"/>
                <a:gd name="connsiteX9" fmla="*/ 298087 w 370277"/>
                <a:gd name="connsiteY9" fmla="*/ 4037 h 289003"/>
                <a:gd name="connsiteX10" fmla="*/ 362111 w 370277"/>
                <a:gd name="connsiteY10" fmla="*/ 71199 h 289003"/>
                <a:gd name="connsiteX11" fmla="*/ 361483 w 370277"/>
                <a:gd name="connsiteY11" fmla="*/ 177904 h 289003"/>
                <a:gd name="connsiteX12" fmla="*/ 236575 w 370277"/>
                <a:gd name="connsiteY12" fmla="*/ 289004 h 289003"/>
                <a:gd name="connsiteX13" fmla="*/ 236575 w 370277"/>
                <a:gd name="connsiteY13" fmla="*/ 289004 h 289003"/>
                <a:gd name="connsiteX14" fmla="*/ 185105 w 370277"/>
                <a:gd name="connsiteY14" fmla="*/ 234396 h 289003"/>
                <a:gd name="connsiteX15" fmla="*/ 197031 w 370277"/>
                <a:gd name="connsiteY15" fmla="*/ 239417 h 289003"/>
                <a:gd name="connsiteX16" fmla="*/ 219628 w 370277"/>
                <a:gd name="connsiteY16" fmla="*/ 253226 h 289003"/>
                <a:gd name="connsiteX17" fmla="*/ 236575 w 370277"/>
                <a:gd name="connsiteY17" fmla="*/ 255737 h 289003"/>
                <a:gd name="connsiteX18" fmla="*/ 330099 w 370277"/>
                <a:gd name="connsiteY18" fmla="*/ 168489 h 289003"/>
                <a:gd name="connsiteX19" fmla="*/ 330727 w 370277"/>
                <a:gd name="connsiteY19" fmla="*/ 82497 h 289003"/>
                <a:gd name="connsiteX20" fmla="*/ 288045 w 370277"/>
                <a:gd name="connsiteY20" fmla="*/ 36049 h 289003"/>
                <a:gd name="connsiteX21" fmla="*/ 198914 w 370277"/>
                <a:gd name="connsiteY21" fmla="*/ 78104 h 289003"/>
                <a:gd name="connsiteX22" fmla="*/ 171924 w 370277"/>
                <a:gd name="connsiteY22" fmla="*/ 78104 h 289003"/>
                <a:gd name="connsiteX23" fmla="*/ 82794 w 370277"/>
                <a:gd name="connsiteY23" fmla="*/ 36049 h 289003"/>
                <a:gd name="connsiteX24" fmla="*/ 40739 w 370277"/>
                <a:gd name="connsiteY24" fmla="*/ 168489 h 289003"/>
                <a:gd name="connsiteX25" fmla="*/ 134263 w 370277"/>
                <a:gd name="connsiteY25" fmla="*/ 255737 h 289003"/>
                <a:gd name="connsiteX26" fmla="*/ 151211 w 370277"/>
                <a:gd name="connsiteY26" fmla="*/ 253226 h 289003"/>
                <a:gd name="connsiteX27" fmla="*/ 173807 w 370277"/>
                <a:gd name="connsiteY27" fmla="*/ 239417 h 289003"/>
                <a:gd name="connsiteX28" fmla="*/ 185105 w 370277"/>
                <a:gd name="connsiteY28" fmla="*/ 234396 h 289003"/>
                <a:gd name="connsiteX29" fmla="*/ 185105 w 370277"/>
                <a:gd name="connsiteY29" fmla="*/ 234396 h 289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70277" h="289003">
                  <a:moveTo>
                    <a:pt x="236575" y="289004"/>
                  </a:moveTo>
                  <a:lnTo>
                    <a:pt x="236575" y="289004"/>
                  </a:lnTo>
                  <a:cubicBezTo>
                    <a:pt x="227160" y="289004"/>
                    <a:pt x="218372" y="287748"/>
                    <a:pt x="209585" y="285237"/>
                  </a:cubicBezTo>
                  <a:cubicBezTo>
                    <a:pt x="200797" y="282727"/>
                    <a:pt x="192637" y="278333"/>
                    <a:pt x="185105" y="273312"/>
                  </a:cubicBezTo>
                  <a:cubicBezTo>
                    <a:pt x="177573" y="278961"/>
                    <a:pt x="169413" y="282727"/>
                    <a:pt x="160626" y="285237"/>
                  </a:cubicBezTo>
                  <a:cubicBezTo>
                    <a:pt x="151838" y="287748"/>
                    <a:pt x="143051" y="289004"/>
                    <a:pt x="133636" y="289004"/>
                  </a:cubicBezTo>
                  <a:cubicBezTo>
                    <a:pt x="80283" y="289004"/>
                    <a:pt x="28813" y="243183"/>
                    <a:pt x="8728" y="178532"/>
                  </a:cubicBezTo>
                  <a:cubicBezTo>
                    <a:pt x="-15752" y="101328"/>
                    <a:pt x="13121" y="22868"/>
                    <a:pt x="72123" y="4037"/>
                  </a:cubicBezTo>
                  <a:cubicBezTo>
                    <a:pt x="109784" y="-7888"/>
                    <a:pt x="153094" y="7176"/>
                    <a:pt x="185105" y="41698"/>
                  </a:cubicBezTo>
                  <a:cubicBezTo>
                    <a:pt x="217117" y="7176"/>
                    <a:pt x="260427" y="-7888"/>
                    <a:pt x="298087" y="4037"/>
                  </a:cubicBezTo>
                  <a:cubicBezTo>
                    <a:pt x="327588" y="13453"/>
                    <a:pt x="350813" y="37304"/>
                    <a:pt x="362111" y="71199"/>
                  </a:cubicBezTo>
                  <a:cubicBezTo>
                    <a:pt x="373409" y="103838"/>
                    <a:pt x="372781" y="141499"/>
                    <a:pt x="361483" y="177904"/>
                  </a:cubicBezTo>
                  <a:cubicBezTo>
                    <a:pt x="341397" y="243183"/>
                    <a:pt x="289928" y="289004"/>
                    <a:pt x="236575" y="289004"/>
                  </a:cubicBezTo>
                  <a:lnTo>
                    <a:pt x="236575" y="289004"/>
                  </a:lnTo>
                  <a:close/>
                  <a:moveTo>
                    <a:pt x="185105" y="234396"/>
                  </a:moveTo>
                  <a:cubicBezTo>
                    <a:pt x="189499" y="234396"/>
                    <a:pt x="193265" y="236278"/>
                    <a:pt x="197031" y="239417"/>
                  </a:cubicBezTo>
                  <a:cubicBezTo>
                    <a:pt x="203936" y="246321"/>
                    <a:pt x="211468" y="250715"/>
                    <a:pt x="219628" y="253226"/>
                  </a:cubicBezTo>
                  <a:cubicBezTo>
                    <a:pt x="225277" y="255109"/>
                    <a:pt x="230926" y="255737"/>
                    <a:pt x="236575" y="255737"/>
                  </a:cubicBezTo>
                  <a:cubicBezTo>
                    <a:pt x="274864" y="255737"/>
                    <a:pt x="313779" y="218704"/>
                    <a:pt x="330099" y="168489"/>
                  </a:cubicBezTo>
                  <a:cubicBezTo>
                    <a:pt x="339514" y="138361"/>
                    <a:pt x="339514" y="108232"/>
                    <a:pt x="330727" y="82497"/>
                  </a:cubicBezTo>
                  <a:cubicBezTo>
                    <a:pt x="322567" y="58646"/>
                    <a:pt x="307503" y="42326"/>
                    <a:pt x="288045" y="36049"/>
                  </a:cubicBezTo>
                  <a:cubicBezTo>
                    <a:pt x="258544" y="26634"/>
                    <a:pt x="223394" y="44209"/>
                    <a:pt x="198914" y="78104"/>
                  </a:cubicBezTo>
                  <a:cubicBezTo>
                    <a:pt x="192637" y="86891"/>
                    <a:pt x="178201" y="86891"/>
                    <a:pt x="171924" y="78104"/>
                  </a:cubicBezTo>
                  <a:cubicBezTo>
                    <a:pt x="147444" y="43581"/>
                    <a:pt x="112295" y="26634"/>
                    <a:pt x="82794" y="36049"/>
                  </a:cubicBezTo>
                  <a:cubicBezTo>
                    <a:pt x="40739" y="49230"/>
                    <a:pt x="21909" y="108860"/>
                    <a:pt x="40739" y="168489"/>
                  </a:cubicBezTo>
                  <a:cubicBezTo>
                    <a:pt x="56431" y="219331"/>
                    <a:pt x="95975" y="255737"/>
                    <a:pt x="134263" y="255737"/>
                  </a:cubicBezTo>
                  <a:cubicBezTo>
                    <a:pt x="139913" y="255737"/>
                    <a:pt x="145562" y="255109"/>
                    <a:pt x="151211" y="253226"/>
                  </a:cubicBezTo>
                  <a:cubicBezTo>
                    <a:pt x="159371" y="250715"/>
                    <a:pt x="166903" y="245694"/>
                    <a:pt x="173807" y="239417"/>
                  </a:cubicBezTo>
                  <a:cubicBezTo>
                    <a:pt x="176945" y="235651"/>
                    <a:pt x="181339" y="234396"/>
                    <a:pt x="185105" y="234396"/>
                  </a:cubicBezTo>
                  <a:lnTo>
                    <a:pt x="185105" y="234396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40" name="Forma Livre: Forma 339">
              <a:extLst>
                <a:ext uri="{FF2B5EF4-FFF2-40B4-BE49-F238E27FC236}">
                  <a16:creationId xmlns:a16="http://schemas.microsoft.com/office/drawing/2014/main" id="{FC131758-E352-4B2F-8E29-395B01E28CB4}"/>
                </a:ext>
              </a:extLst>
            </p:cNvPr>
            <p:cNvSpPr/>
            <p:nvPr/>
          </p:nvSpPr>
          <p:spPr>
            <a:xfrm>
              <a:off x="5514327" y="1553825"/>
              <a:ext cx="109519" cy="109471"/>
            </a:xfrm>
            <a:custGeom>
              <a:avLst/>
              <a:gdLst>
                <a:gd name="connsiteX0" fmla="*/ 82400 w 109519"/>
                <a:gd name="connsiteY0" fmla="*/ 109472 h 109471"/>
                <a:gd name="connsiteX1" fmla="*/ 74868 w 109519"/>
                <a:gd name="connsiteY1" fmla="*/ 108844 h 109471"/>
                <a:gd name="connsiteX2" fmla="*/ 174 w 109519"/>
                <a:gd name="connsiteY2" fmla="*/ 20341 h 109471"/>
                <a:gd name="connsiteX3" fmla="*/ 13355 w 109519"/>
                <a:gd name="connsiteY3" fmla="*/ 2138 h 109471"/>
                <a:gd name="connsiteX4" fmla="*/ 84283 w 109519"/>
                <a:gd name="connsiteY4" fmla="*/ 17830 h 109471"/>
                <a:gd name="connsiteX5" fmla="*/ 108135 w 109519"/>
                <a:gd name="connsiteY5" fmla="*/ 94407 h 109471"/>
                <a:gd name="connsiteX6" fmla="*/ 94326 w 109519"/>
                <a:gd name="connsiteY6" fmla="*/ 108216 h 109471"/>
                <a:gd name="connsiteX7" fmla="*/ 82400 w 109519"/>
                <a:gd name="connsiteY7" fmla="*/ 109472 h 109471"/>
                <a:gd name="connsiteX8" fmla="*/ 82400 w 109519"/>
                <a:gd name="connsiteY8" fmla="*/ 109472 h 109471"/>
                <a:gd name="connsiteX9" fmla="*/ 37207 w 109519"/>
                <a:gd name="connsiteY9" fmla="*/ 32895 h 109471"/>
                <a:gd name="connsiteX10" fmla="*/ 76123 w 109519"/>
                <a:gd name="connsiteY10" fmla="*/ 74949 h 109471"/>
                <a:gd name="connsiteX11" fmla="*/ 62314 w 109519"/>
                <a:gd name="connsiteY11" fmla="*/ 42310 h 109471"/>
                <a:gd name="connsiteX12" fmla="*/ 37207 w 109519"/>
                <a:gd name="connsiteY12" fmla="*/ 32895 h 109471"/>
                <a:gd name="connsiteX13" fmla="*/ 37207 w 109519"/>
                <a:gd name="connsiteY13" fmla="*/ 32895 h 109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9519" h="109471">
                  <a:moveTo>
                    <a:pt x="82400" y="109472"/>
                  </a:moveTo>
                  <a:cubicBezTo>
                    <a:pt x="79889" y="109472"/>
                    <a:pt x="77379" y="109472"/>
                    <a:pt x="74868" y="108844"/>
                  </a:cubicBezTo>
                  <a:cubicBezTo>
                    <a:pt x="36579" y="104450"/>
                    <a:pt x="6451" y="68672"/>
                    <a:pt x="174" y="20341"/>
                  </a:cubicBezTo>
                  <a:cubicBezTo>
                    <a:pt x="-1081" y="11554"/>
                    <a:pt x="4568" y="3394"/>
                    <a:pt x="13355" y="2138"/>
                  </a:cubicBezTo>
                  <a:cubicBezTo>
                    <a:pt x="40345" y="-3511"/>
                    <a:pt x="66080" y="2138"/>
                    <a:pt x="84283" y="17830"/>
                  </a:cubicBezTo>
                  <a:cubicBezTo>
                    <a:pt x="104369" y="35405"/>
                    <a:pt x="113156" y="63651"/>
                    <a:pt x="108135" y="94407"/>
                  </a:cubicBezTo>
                  <a:cubicBezTo>
                    <a:pt x="106880" y="101312"/>
                    <a:pt x="101230" y="106961"/>
                    <a:pt x="94326" y="108216"/>
                  </a:cubicBezTo>
                  <a:cubicBezTo>
                    <a:pt x="90560" y="108844"/>
                    <a:pt x="86794" y="109472"/>
                    <a:pt x="82400" y="109472"/>
                  </a:cubicBezTo>
                  <a:lnTo>
                    <a:pt x="82400" y="109472"/>
                  </a:lnTo>
                  <a:close/>
                  <a:moveTo>
                    <a:pt x="37207" y="32895"/>
                  </a:moveTo>
                  <a:cubicBezTo>
                    <a:pt x="44112" y="55491"/>
                    <a:pt x="58548" y="71811"/>
                    <a:pt x="76123" y="74949"/>
                  </a:cubicBezTo>
                  <a:cubicBezTo>
                    <a:pt x="75496" y="61140"/>
                    <a:pt x="71102" y="49842"/>
                    <a:pt x="62314" y="42310"/>
                  </a:cubicBezTo>
                  <a:cubicBezTo>
                    <a:pt x="54782" y="35405"/>
                    <a:pt x="44739" y="33522"/>
                    <a:pt x="37207" y="32895"/>
                  </a:cubicBezTo>
                  <a:lnTo>
                    <a:pt x="37207" y="32895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41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6410198" y="1581071"/>
            <a:ext cx="398575" cy="330786"/>
            <a:chOff x="6410198" y="1581071"/>
            <a:chExt cx="398575" cy="330786"/>
          </a:xfrm>
          <a:solidFill>
            <a:srgbClr val="B1B1A1"/>
          </a:solidFill>
        </p:grpSpPr>
        <p:sp>
          <p:nvSpPr>
            <p:cNvPr id="342" name="Forma Livre: Forma 341">
              <a:extLst>
                <a:ext uri="{FF2B5EF4-FFF2-40B4-BE49-F238E27FC236}">
                  <a16:creationId xmlns:a16="http://schemas.microsoft.com/office/drawing/2014/main" id="{05B5EC2B-8E8E-4040-86D2-FFAD03709DED}"/>
                </a:ext>
              </a:extLst>
            </p:cNvPr>
            <p:cNvSpPr/>
            <p:nvPr/>
          </p:nvSpPr>
          <p:spPr>
            <a:xfrm>
              <a:off x="6410198" y="1581071"/>
              <a:ext cx="398575" cy="330786"/>
            </a:xfrm>
            <a:custGeom>
              <a:avLst/>
              <a:gdLst>
                <a:gd name="connsiteX0" fmla="*/ 381629 w 398575"/>
                <a:gd name="connsiteY0" fmla="*/ 330787 h 330786"/>
                <a:gd name="connsiteX1" fmla="*/ 16947 w 398575"/>
                <a:gd name="connsiteY1" fmla="*/ 330787 h 330786"/>
                <a:gd name="connsiteX2" fmla="*/ 0 w 398575"/>
                <a:gd name="connsiteY2" fmla="*/ 313839 h 330786"/>
                <a:gd name="connsiteX3" fmla="*/ 0 w 398575"/>
                <a:gd name="connsiteY3" fmla="*/ 16947 h 330786"/>
                <a:gd name="connsiteX4" fmla="*/ 16947 w 398575"/>
                <a:gd name="connsiteY4" fmla="*/ 0 h 330786"/>
                <a:gd name="connsiteX5" fmla="*/ 381629 w 398575"/>
                <a:gd name="connsiteY5" fmla="*/ 0 h 330786"/>
                <a:gd name="connsiteX6" fmla="*/ 398576 w 398575"/>
                <a:gd name="connsiteY6" fmla="*/ 16947 h 330786"/>
                <a:gd name="connsiteX7" fmla="*/ 398576 w 398575"/>
                <a:gd name="connsiteY7" fmla="*/ 313839 h 330786"/>
                <a:gd name="connsiteX8" fmla="*/ 381629 w 398575"/>
                <a:gd name="connsiteY8" fmla="*/ 330787 h 330786"/>
                <a:gd name="connsiteX9" fmla="*/ 381629 w 398575"/>
                <a:gd name="connsiteY9" fmla="*/ 330787 h 330786"/>
                <a:gd name="connsiteX10" fmla="*/ 33267 w 398575"/>
                <a:gd name="connsiteY10" fmla="*/ 296892 h 330786"/>
                <a:gd name="connsiteX11" fmla="*/ 364682 w 398575"/>
                <a:gd name="connsiteY11" fmla="*/ 296892 h 330786"/>
                <a:gd name="connsiteX12" fmla="*/ 364682 w 398575"/>
                <a:gd name="connsiteY12" fmla="*/ 33267 h 330786"/>
                <a:gd name="connsiteX13" fmla="*/ 33267 w 398575"/>
                <a:gd name="connsiteY13" fmla="*/ 33267 h 330786"/>
                <a:gd name="connsiteX14" fmla="*/ 33267 w 398575"/>
                <a:gd name="connsiteY14" fmla="*/ 296892 h 330786"/>
                <a:gd name="connsiteX15" fmla="*/ 33267 w 398575"/>
                <a:gd name="connsiteY15" fmla="*/ 296892 h 33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98575" h="330786">
                  <a:moveTo>
                    <a:pt x="381629" y="330787"/>
                  </a:moveTo>
                  <a:lnTo>
                    <a:pt x="16947" y="330787"/>
                  </a:lnTo>
                  <a:cubicBezTo>
                    <a:pt x="7532" y="330787"/>
                    <a:pt x="0" y="323255"/>
                    <a:pt x="0" y="313839"/>
                  </a:cubicBezTo>
                  <a:lnTo>
                    <a:pt x="0" y="16947"/>
                  </a:lnTo>
                  <a:cubicBezTo>
                    <a:pt x="0" y="7532"/>
                    <a:pt x="7532" y="0"/>
                    <a:pt x="16947" y="0"/>
                  </a:cubicBezTo>
                  <a:lnTo>
                    <a:pt x="381629" y="0"/>
                  </a:lnTo>
                  <a:cubicBezTo>
                    <a:pt x="391044" y="0"/>
                    <a:pt x="398576" y="7532"/>
                    <a:pt x="398576" y="16947"/>
                  </a:cubicBezTo>
                  <a:lnTo>
                    <a:pt x="398576" y="313839"/>
                  </a:lnTo>
                  <a:cubicBezTo>
                    <a:pt x="397948" y="323255"/>
                    <a:pt x="390416" y="330787"/>
                    <a:pt x="381629" y="330787"/>
                  </a:cubicBezTo>
                  <a:lnTo>
                    <a:pt x="381629" y="330787"/>
                  </a:lnTo>
                  <a:close/>
                  <a:moveTo>
                    <a:pt x="33267" y="296892"/>
                  </a:moveTo>
                  <a:lnTo>
                    <a:pt x="364682" y="296892"/>
                  </a:lnTo>
                  <a:lnTo>
                    <a:pt x="364682" y="33267"/>
                  </a:lnTo>
                  <a:lnTo>
                    <a:pt x="33267" y="33267"/>
                  </a:lnTo>
                  <a:lnTo>
                    <a:pt x="33267" y="296892"/>
                  </a:lnTo>
                  <a:lnTo>
                    <a:pt x="33267" y="296892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43" name="Forma Livre: Forma 342">
              <a:extLst>
                <a:ext uri="{FF2B5EF4-FFF2-40B4-BE49-F238E27FC236}">
                  <a16:creationId xmlns:a16="http://schemas.microsoft.com/office/drawing/2014/main" id="{F2248801-E6E8-42A9-8349-49482448BE4E}"/>
                </a:ext>
              </a:extLst>
            </p:cNvPr>
            <p:cNvSpPr/>
            <p:nvPr/>
          </p:nvSpPr>
          <p:spPr>
            <a:xfrm>
              <a:off x="6472966" y="1646977"/>
              <a:ext cx="273040" cy="16319"/>
            </a:xfrm>
            <a:custGeom>
              <a:avLst/>
              <a:gdLst>
                <a:gd name="connsiteX0" fmla="*/ 264880 w 273040"/>
                <a:gd name="connsiteY0" fmla="*/ 16320 h 16319"/>
                <a:gd name="connsiteX1" fmla="*/ 8160 w 273040"/>
                <a:gd name="connsiteY1" fmla="*/ 16320 h 16319"/>
                <a:gd name="connsiteX2" fmla="*/ 0 w 273040"/>
                <a:gd name="connsiteY2" fmla="*/ 8160 h 16319"/>
                <a:gd name="connsiteX3" fmla="*/ 8160 w 273040"/>
                <a:gd name="connsiteY3" fmla="*/ 0 h 16319"/>
                <a:gd name="connsiteX4" fmla="*/ 264880 w 273040"/>
                <a:gd name="connsiteY4" fmla="*/ 0 h 16319"/>
                <a:gd name="connsiteX5" fmla="*/ 273040 w 273040"/>
                <a:gd name="connsiteY5" fmla="*/ 8160 h 16319"/>
                <a:gd name="connsiteX6" fmla="*/ 264880 w 273040"/>
                <a:gd name="connsiteY6" fmla="*/ 16320 h 16319"/>
                <a:gd name="connsiteX7" fmla="*/ 264880 w 273040"/>
                <a:gd name="connsiteY7" fmla="*/ 16320 h 16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3040" h="16319">
                  <a:moveTo>
                    <a:pt x="264880" y="16320"/>
                  </a:moveTo>
                  <a:lnTo>
                    <a:pt x="8160" y="16320"/>
                  </a:lnTo>
                  <a:cubicBezTo>
                    <a:pt x="3766" y="16320"/>
                    <a:pt x="0" y="12554"/>
                    <a:pt x="0" y="8160"/>
                  </a:cubicBezTo>
                  <a:cubicBezTo>
                    <a:pt x="0" y="3766"/>
                    <a:pt x="3766" y="0"/>
                    <a:pt x="8160" y="0"/>
                  </a:cubicBezTo>
                  <a:lnTo>
                    <a:pt x="264880" y="0"/>
                  </a:lnTo>
                  <a:cubicBezTo>
                    <a:pt x="269274" y="0"/>
                    <a:pt x="273040" y="3766"/>
                    <a:pt x="273040" y="8160"/>
                  </a:cubicBezTo>
                  <a:cubicBezTo>
                    <a:pt x="273040" y="12554"/>
                    <a:pt x="269274" y="16320"/>
                    <a:pt x="264880" y="16320"/>
                  </a:cubicBezTo>
                  <a:lnTo>
                    <a:pt x="264880" y="16320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44" name="Forma Livre: Forma 343">
              <a:extLst>
                <a:ext uri="{FF2B5EF4-FFF2-40B4-BE49-F238E27FC236}">
                  <a16:creationId xmlns:a16="http://schemas.microsoft.com/office/drawing/2014/main" id="{FDCD2C25-DC02-4386-9805-85FE2FCE7A7A}"/>
                </a:ext>
              </a:extLst>
            </p:cNvPr>
            <p:cNvSpPr/>
            <p:nvPr/>
          </p:nvSpPr>
          <p:spPr>
            <a:xfrm>
              <a:off x="6528829" y="1712255"/>
              <a:ext cx="160685" cy="16319"/>
            </a:xfrm>
            <a:custGeom>
              <a:avLst/>
              <a:gdLst>
                <a:gd name="connsiteX0" fmla="*/ 152526 w 160685"/>
                <a:gd name="connsiteY0" fmla="*/ 16320 h 16319"/>
                <a:gd name="connsiteX1" fmla="*/ 8160 w 160685"/>
                <a:gd name="connsiteY1" fmla="*/ 16320 h 16319"/>
                <a:gd name="connsiteX2" fmla="*/ 0 w 160685"/>
                <a:gd name="connsiteY2" fmla="*/ 8160 h 16319"/>
                <a:gd name="connsiteX3" fmla="*/ 8160 w 160685"/>
                <a:gd name="connsiteY3" fmla="*/ 0 h 16319"/>
                <a:gd name="connsiteX4" fmla="*/ 152526 w 160685"/>
                <a:gd name="connsiteY4" fmla="*/ 0 h 16319"/>
                <a:gd name="connsiteX5" fmla="*/ 160686 w 160685"/>
                <a:gd name="connsiteY5" fmla="*/ 8160 h 16319"/>
                <a:gd name="connsiteX6" fmla="*/ 152526 w 160685"/>
                <a:gd name="connsiteY6" fmla="*/ 16320 h 16319"/>
                <a:gd name="connsiteX7" fmla="*/ 152526 w 160685"/>
                <a:gd name="connsiteY7" fmla="*/ 16320 h 16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685" h="16319">
                  <a:moveTo>
                    <a:pt x="152526" y="16320"/>
                  </a:moveTo>
                  <a:lnTo>
                    <a:pt x="8160" y="16320"/>
                  </a:lnTo>
                  <a:cubicBezTo>
                    <a:pt x="3766" y="16320"/>
                    <a:pt x="0" y="12554"/>
                    <a:pt x="0" y="8160"/>
                  </a:cubicBezTo>
                  <a:cubicBezTo>
                    <a:pt x="0" y="3766"/>
                    <a:pt x="3766" y="0"/>
                    <a:pt x="8160" y="0"/>
                  </a:cubicBezTo>
                  <a:lnTo>
                    <a:pt x="152526" y="0"/>
                  </a:lnTo>
                  <a:cubicBezTo>
                    <a:pt x="156920" y="0"/>
                    <a:pt x="160686" y="3766"/>
                    <a:pt x="160686" y="8160"/>
                  </a:cubicBezTo>
                  <a:cubicBezTo>
                    <a:pt x="160686" y="12554"/>
                    <a:pt x="156920" y="16320"/>
                    <a:pt x="152526" y="16320"/>
                  </a:cubicBezTo>
                  <a:lnTo>
                    <a:pt x="152526" y="16320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45" name="Forma Livre: Forma 344">
              <a:extLst>
                <a:ext uri="{FF2B5EF4-FFF2-40B4-BE49-F238E27FC236}">
                  <a16:creationId xmlns:a16="http://schemas.microsoft.com/office/drawing/2014/main" id="{07454E45-52B2-4EC5-B6BE-4AFDC9365D11}"/>
                </a:ext>
              </a:extLst>
            </p:cNvPr>
            <p:cNvSpPr/>
            <p:nvPr/>
          </p:nvSpPr>
          <p:spPr>
            <a:xfrm>
              <a:off x="6495562" y="1679616"/>
              <a:ext cx="227219" cy="16319"/>
            </a:xfrm>
            <a:custGeom>
              <a:avLst/>
              <a:gdLst>
                <a:gd name="connsiteX0" fmla="*/ 219060 w 227219"/>
                <a:gd name="connsiteY0" fmla="*/ 16320 h 16319"/>
                <a:gd name="connsiteX1" fmla="*/ 8160 w 227219"/>
                <a:gd name="connsiteY1" fmla="*/ 16320 h 16319"/>
                <a:gd name="connsiteX2" fmla="*/ 0 w 227219"/>
                <a:gd name="connsiteY2" fmla="*/ 8160 h 16319"/>
                <a:gd name="connsiteX3" fmla="*/ 8160 w 227219"/>
                <a:gd name="connsiteY3" fmla="*/ 0 h 16319"/>
                <a:gd name="connsiteX4" fmla="*/ 219060 w 227219"/>
                <a:gd name="connsiteY4" fmla="*/ 0 h 16319"/>
                <a:gd name="connsiteX5" fmla="*/ 227220 w 227219"/>
                <a:gd name="connsiteY5" fmla="*/ 8160 h 16319"/>
                <a:gd name="connsiteX6" fmla="*/ 219060 w 227219"/>
                <a:gd name="connsiteY6" fmla="*/ 16320 h 16319"/>
                <a:gd name="connsiteX7" fmla="*/ 219060 w 227219"/>
                <a:gd name="connsiteY7" fmla="*/ 16320 h 16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7219" h="16319">
                  <a:moveTo>
                    <a:pt x="219060" y="16320"/>
                  </a:moveTo>
                  <a:lnTo>
                    <a:pt x="8160" y="16320"/>
                  </a:lnTo>
                  <a:cubicBezTo>
                    <a:pt x="3766" y="16320"/>
                    <a:pt x="0" y="12554"/>
                    <a:pt x="0" y="8160"/>
                  </a:cubicBezTo>
                  <a:cubicBezTo>
                    <a:pt x="0" y="3766"/>
                    <a:pt x="3766" y="0"/>
                    <a:pt x="8160" y="0"/>
                  </a:cubicBezTo>
                  <a:lnTo>
                    <a:pt x="219060" y="0"/>
                  </a:lnTo>
                  <a:cubicBezTo>
                    <a:pt x="223453" y="0"/>
                    <a:pt x="227220" y="3766"/>
                    <a:pt x="227220" y="8160"/>
                  </a:cubicBezTo>
                  <a:cubicBezTo>
                    <a:pt x="227220" y="12554"/>
                    <a:pt x="223453" y="16320"/>
                    <a:pt x="219060" y="16320"/>
                  </a:cubicBezTo>
                  <a:lnTo>
                    <a:pt x="219060" y="16320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346" name="Gráfico 2">
              <a:extLst>
                <a:ext uri="{FF2B5EF4-FFF2-40B4-BE49-F238E27FC236}">
                  <a16:creationId xmlns:a16="http://schemas.microsoft.com/office/drawing/2014/main" id="{83F95F55-5D1D-4425-8D77-756B15108235}"/>
                </a:ext>
              </a:extLst>
            </p:cNvPr>
            <p:cNvGrpSpPr/>
            <p:nvPr/>
          </p:nvGrpSpPr>
          <p:grpSpPr>
            <a:xfrm>
              <a:off x="6478615" y="1747187"/>
              <a:ext cx="263781" cy="113200"/>
              <a:chOff x="6478615" y="1747187"/>
              <a:chExt cx="263781" cy="113200"/>
            </a:xfrm>
            <a:grpFill/>
          </p:grpSpPr>
          <p:sp>
            <p:nvSpPr>
              <p:cNvPr id="347" name="Forma Livre: Forma 346">
                <a:extLst>
                  <a:ext uri="{FF2B5EF4-FFF2-40B4-BE49-F238E27FC236}">
                    <a16:creationId xmlns:a16="http://schemas.microsoft.com/office/drawing/2014/main" id="{DEE75B2B-02AC-44E4-91EB-096048256AFC}"/>
                  </a:ext>
                </a:extLst>
              </p:cNvPr>
              <p:cNvSpPr/>
              <p:nvPr/>
            </p:nvSpPr>
            <p:spPr>
              <a:xfrm>
                <a:off x="6479243" y="1785694"/>
                <a:ext cx="138089" cy="16319"/>
              </a:xfrm>
              <a:custGeom>
                <a:avLst/>
                <a:gdLst>
                  <a:gd name="connsiteX0" fmla="*/ 129930 w 138089"/>
                  <a:gd name="connsiteY0" fmla="*/ 16320 h 16319"/>
                  <a:gd name="connsiteX1" fmla="*/ 8160 w 138089"/>
                  <a:gd name="connsiteY1" fmla="*/ 16320 h 16319"/>
                  <a:gd name="connsiteX2" fmla="*/ 0 w 138089"/>
                  <a:gd name="connsiteY2" fmla="*/ 8160 h 16319"/>
                  <a:gd name="connsiteX3" fmla="*/ 8160 w 138089"/>
                  <a:gd name="connsiteY3" fmla="*/ 0 h 16319"/>
                  <a:gd name="connsiteX4" fmla="*/ 129930 w 138089"/>
                  <a:gd name="connsiteY4" fmla="*/ 0 h 16319"/>
                  <a:gd name="connsiteX5" fmla="*/ 138089 w 138089"/>
                  <a:gd name="connsiteY5" fmla="*/ 8160 h 16319"/>
                  <a:gd name="connsiteX6" fmla="*/ 129930 w 138089"/>
                  <a:gd name="connsiteY6" fmla="*/ 16320 h 16319"/>
                  <a:gd name="connsiteX7" fmla="*/ 129930 w 138089"/>
                  <a:gd name="connsiteY7" fmla="*/ 16320 h 16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8089" h="16319">
                    <a:moveTo>
                      <a:pt x="129930" y="16320"/>
                    </a:moveTo>
                    <a:lnTo>
                      <a:pt x="8160" y="16320"/>
                    </a:lnTo>
                    <a:cubicBezTo>
                      <a:pt x="3766" y="16320"/>
                      <a:pt x="0" y="12554"/>
                      <a:pt x="0" y="8160"/>
                    </a:cubicBezTo>
                    <a:cubicBezTo>
                      <a:pt x="0" y="3766"/>
                      <a:pt x="3766" y="0"/>
                      <a:pt x="8160" y="0"/>
                    </a:cubicBezTo>
                    <a:lnTo>
                      <a:pt x="129930" y="0"/>
                    </a:lnTo>
                    <a:cubicBezTo>
                      <a:pt x="134323" y="0"/>
                      <a:pt x="138089" y="3766"/>
                      <a:pt x="138089" y="8160"/>
                    </a:cubicBezTo>
                    <a:cubicBezTo>
                      <a:pt x="138089" y="12554"/>
                      <a:pt x="134323" y="16320"/>
                      <a:pt x="129930" y="16320"/>
                    </a:cubicBezTo>
                    <a:lnTo>
                      <a:pt x="129930" y="16320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48" name="Forma Livre: Forma 347">
                <a:extLst>
                  <a:ext uri="{FF2B5EF4-FFF2-40B4-BE49-F238E27FC236}">
                    <a16:creationId xmlns:a16="http://schemas.microsoft.com/office/drawing/2014/main" id="{B4ACAB70-935F-4204-92B0-937B102D9A12}"/>
                  </a:ext>
                </a:extLst>
              </p:cNvPr>
              <p:cNvSpPr/>
              <p:nvPr/>
            </p:nvSpPr>
            <p:spPr>
              <a:xfrm>
                <a:off x="6478615" y="1817705"/>
                <a:ext cx="92337" cy="16319"/>
              </a:xfrm>
              <a:custGeom>
                <a:avLst/>
                <a:gdLst>
                  <a:gd name="connsiteX0" fmla="*/ 84109 w 92337"/>
                  <a:gd name="connsiteY0" fmla="*/ 16320 h 16319"/>
                  <a:gd name="connsiteX1" fmla="*/ 8160 w 92337"/>
                  <a:gd name="connsiteY1" fmla="*/ 16320 h 16319"/>
                  <a:gd name="connsiteX2" fmla="*/ 0 w 92337"/>
                  <a:gd name="connsiteY2" fmla="*/ 8160 h 16319"/>
                  <a:gd name="connsiteX3" fmla="*/ 8160 w 92337"/>
                  <a:gd name="connsiteY3" fmla="*/ 0 h 16319"/>
                  <a:gd name="connsiteX4" fmla="*/ 84109 w 92337"/>
                  <a:gd name="connsiteY4" fmla="*/ 0 h 16319"/>
                  <a:gd name="connsiteX5" fmla="*/ 92269 w 92337"/>
                  <a:gd name="connsiteY5" fmla="*/ 8160 h 16319"/>
                  <a:gd name="connsiteX6" fmla="*/ 84109 w 92337"/>
                  <a:gd name="connsiteY6" fmla="*/ 16320 h 16319"/>
                  <a:gd name="connsiteX7" fmla="*/ 84109 w 92337"/>
                  <a:gd name="connsiteY7" fmla="*/ 16320 h 16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2337" h="16319">
                    <a:moveTo>
                      <a:pt x="84109" y="16320"/>
                    </a:moveTo>
                    <a:lnTo>
                      <a:pt x="8160" y="16320"/>
                    </a:lnTo>
                    <a:cubicBezTo>
                      <a:pt x="3766" y="16320"/>
                      <a:pt x="0" y="12554"/>
                      <a:pt x="0" y="8160"/>
                    </a:cubicBezTo>
                    <a:cubicBezTo>
                      <a:pt x="0" y="3766"/>
                      <a:pt x="3766" y="0"/>
                      <a:pt x="8160" y="0"/>
                    </a:cubicBezTo>
                    <a:lnTo>
                      <a:pt x="84109" y="0"/>
                    </a:lnTo>
                    <a:cubicBezTo>
                      <a:pt x="88503" y="0"/>
                      <a:pt x="92269" y="3766"/>
                      <a:pt x="92269" y="8160"/>
                    </a:cubicBezTo>
                    <a:cubicBezTo>
                      <a:pt x="92896" y="12554"/>
                      <a:pt x="89130" y="16320"/>
                      <a:pt x="84109" y="16320"/>
                    </a:cubicBezTo>
                    <a:lnTo>
                      <a:pt x="84109" y="16320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49" name="Forma Livre: Forma 348">
                <a:extLst>
                  <a:ext uri="{FF2B5EF4-FFF2-40B4-BE49-F238E27FC236}">
                    <a16:creationId xmlns:a16="http://schemas.microsoft.com/office/drawing/2014/main" id="{74161C2F-3DFA-4F3E-89CD-AE1F5498936D}"/>
                  </a:ext>
                </a:extLst>
              </p:cNvPr>
              <p:cNvSpPr/>
              <p:nvPr/>
            </p:nvSpPr>
            <p:spPr>
              <a:xfrm>
                <a:off x="6649971" y="1748661"/>
                <a:ext cx="89144" cy="89130"/>
              </a:xfrm>
              <a:custGeom>
                <a:avLst/>
                <a:gdLst>
                  <a:gd name="connsiteX0" fmla="*/ 44565 w 89144"/>
                  <a:gd name="connsiteY0" fmla="*/ 89130 h 89130"/>
                  <a:gd name="connsiteX1" fmla="*/ 0 w 89144"/>
                  <a:gd name="connsiteY1" fmla="*/ 44565 h 89130"/>
                  <a:gd name="connsiteX2" fmla="*/ 44565 w 89144"/>
                  <a:gd name="connsiteY2" fmla="*/ 0 h 89130"/>
                  <a:gd name="connsiteX3" fmla="*/ 89130 w 89144"/>
                  <a:gd name="connsiteY3" fmla="*/ 44565 h 89130"/>
                  <a:gd name="connsiteX4" fmla="*/ 44565 w 89144"/>
                  <a:gd name="connsiteY4" fmla="*/ 89130 h 89130"/>
                  <a:gd name="connsiteX5" fmla="*/ 44565 w 89144"/>
                  <a:gd name="connsiteY5" fmla="*/ 89130 h 89130"/>
                  <a:gd name="connsiteX6" fmla="*/ 44565 w 89144"/>
                  <a:gd name="connsiteY6" fmla="*/ 16320 h 89130"/>
                  <a:gd name="connsiteX7" fmla="*/ 16320 w 89144"/>
                  <a:gd name="connsiteY7" fmla="*/ 44565 h 89130"/>
                  <a:gd name="connsiteX8" fmla="*/ 44565 w 89144"/>
                  <a:gd name="connsiteY8" fmla="*/ 72811 h 89130"/>
                  <a:gd name="connsiteX9" fmla="*/ 72811 w 89144"/>
                  <a:gd name="connsiteY9" fmla="*/ 44565 h 89130"/>
                  <a:gd name="connsiteX10" fmla="*/ 44565 w 89144"/>
                  <a:gd name="connsiteY10" fmla="*/ 16320 h 89130"/>
                  <a:gd name="connsiteX11" fmla="*/ 44565 w 89144"/>
                  <a:gd name="connsiteY11" fmla="*/ 16320 h 89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9144" h="89130">
                    <a:moveTo>
                      <a:pt x="44565" y="89130"/>
                    </a:moveTo>
                    <a:cubicBezTo>
                      <a:pt x="20086" y="89130"/>
                      <a:pt x="0" y="69045"/>
                      <a:pt x="0" y="44565"/>
                    </a:cubicBezTo>
                    <a:cubicBezTo>
                      <a:pt x="0" y="20086"/>
                      <a:pt x="20086" y="0"/>
                      <a:pt x="44565" y="0"/>
                    </a:cubicBezTo>
                    <a:cubicBezTo>
                      <a:pt x="69045" y="0"/>
                      <a:pt x="89130" y="20086"/>
                      <a:pt x="89130" y="44565"/>
                    </a:cubicBezTo>
                    <a:cubicBezTo>
                      <a:pt x="89758" y="69045"/>
                      <a:pt x="69673" y="89130"/>
                      <a:pt x="44565" y="89130"/>
                    </a:cubicBezTo>
                    <a:lnTo>
                      <a:pt x="44565" y="89130"/>
                    </a:lnTo>
                    <a:close/>
                    <a:moveTo>
                      <a:pt x="44565" y="16320"/>
                    </a:moveTo>
                    <a:cubicBezTo>
                      <a:pt x="28873" y="16320"/>
                      <a:pt x="16320" y="28873"/>
                      <a:pt x="16320" y="44565"/>
                    </a:cubicBezTo>
                    <a:cubicBezTo>
                      <a:pt x="16320" y="60257"/>
                      <a:pt x="28873" y="72811"/>
                      <a:pt x="44565" y="72811"/>
                    </a:cubicBezTo>
                    <a:cubicBezTo>
                      <a:pt x="60257" y="72811"/>
                      <a:pt x="72811" y="60257"/>
                      <a:pt x="72811" y="44565"/>
                    </a:cubicBezTo>
                    <a:cubicBezTo>
                      <a:pt x="72811" y="28873"/>
                      <a:pt x="60257" y="16320"/>
                      <a:pt x="44565" y="16320"/>
                    </a:cubicBezTo>
                    <a:lnTo>
                      <a:pt x="44565" y="16320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50" name="Forma Livre: Forma 349">
                <a:extLst>
                  <a:ext uri="{FF2B5EF4-FFF2-40B4-BE49-F238E27FC236}">
                    <a16:creationId xmlns:a16="http://schemas.microsoft.com/office/drawing/2014/main" id="{17D44063-05F5-4BDE-825D-672D7CDAA306}"/>
                  </a:ext>
                </a:extLst>
              </p:cNvPr>
              <p:cNvSpPr/>
              <p:nvPr/>
            </p:nvSpPr>
            <p:spPr>
              <a:xfrm>
                <a:off x="6647304" y="1747187"/>
                <a:ext cx="95093" cy="91232"/>
              </a:xfrm>
              <a:custGeom>
                <a:avLst/>
                <a:gdLst>
                  <a:gd name="connsiteX0" fmla="*/ 59787 w 95093"/>
                  <a:gd name="connsiteY0" fmla="*/ 91232 h 91232"/>
                  <a:gd name="connsiteX1" fmla="*/ 57276 w 95093"/>
                  <a:gd name="connsiteY1" fmla="*/ 90604 h 91232"/>
                  <a:gd name="connsiteX2" fmla="*/ 47233 w 95093"/>
                  <a:gd name="connsiteY2" fmla="*/ 87466 h 91232"/>
                  <a:gd name="connsiteX3" fmla="*/ 37190 w 95093"/>
                  <a:gd name="connsiteY3" fmla="*/ 90604 h 91232"/>
                  <a:gd name="connsiteX4" fmla="*/ 28403 w 95093"/>
                  <a:gd name="connsiteY4" fmla="*/ 87466 h 91232"/>
                  <a:gd name="connsiteX5" fmla="*/ 22126 w 95093"/>
                  <a:gd name="connsiteY5" fmla="*/ 79306 h 91232"/>
                  <a:gd name="connsiteX6" fmla="*/ 12711 w 95093"/>
                  <a:gd name="connsiteY6" fmla="*/ 75540 h 91232"/>
                  <a:gd name="connsiteX7" fmla="*/ 7061 w 95093"/>
                  <a:gd name="connsiteY7" fmla="*/ 68008 h 91232"/>
                  <a:gd name="connsiteX8" fmla="*/ 7061 w 95093"/>
                  <a:gd name="connsiteY8" fmla="*/ 57965 h 91232"/>
                  <a:gd name="connsiteX9" fmla="*/ 1412 w 95093"/>
                  <a:gd name="connsiteY9" fmla="*/ 49805 h 91232"/>
                  <a:gd name="connsiteX10" fmla="*/ 1412 w 95093"/>
                  <a:gd name="connsiteY10" fmla="*/ 40390 h 91232"/>
                  <a:gd name="connsiteX11" fmla="*/ 7061 w 95093"/>
                  <a:gd name="connsiteY11" fmla="*/ 32230 h 91232"/>
                  <a:gd name="connsiteX12" fmla="*/ 7061 w 95093"/>
                  <a:gd name="connsiteY12" fmla="*/ 22187 h 91232"/>
                  <a:gd name="connsiteX13" fmla="*/ 12711 w 95093"/>
                  <a:gd name="connsiteY13" fmla="*/ 14655 h 91232"/>
                  <a:gd name="connsiteX14" fmla="*/ 22126 w 95093"/>
                  <a:gd name="connsiteY14" fmla="*/ 11517 h 91232"/>
                  <a:gd name="connsiteX15" fmla="*/ 28403 w 95093"/>
                  <a:gd name="connsiteY15" fmla="*/ 3357 h 91232"/>
                  <a:gd name="connsiteX16" fmla="*/ 37190 w 95093"/>
                  <a:gd name="connsiteY16" fmla="*/ 219 h 91232"/>
                  <a:gd name="connsiteX17" fmla="*/ 47233 w 95093"/>
                  <a:gd name="connsiteY17" fmla="*/ 3357 h 91232"/>
                  <a:gd name="connsiteX18" fmla="*/ 57276 w 95093"/>
                  <a:gd name="connsiteY18" fmla="*/ 219 h 91232"/>
                  <a:gd name="connsiteX19" fmla="*/ 66063 w 95093"/>
                  <a:gd name="connsiteY19" fmla="*/ 3357 h 91232"/>
                  <a:gd name="connsiteX20" fmla="*/ 72340 w 95093"/>
                  <a:gd name="connsiteY20" fmla="*/ 11517 h 91232"/>
                  <a:gd name="connsiteX21" fmla="*/ 81755 w 95093"/>
                  <a:gd name="connsiteY21" fmla="*/ 14655 h 91232"/>
                  <a:gd name="connsiteX22" fmla="*/ 87404 w 95093"/>
                  <a:gd name="connsiteY22" fmla="*/ 22187 h 91232"/>
                  <a:gd name="connsiteX23" fmla="*/ 88032 w 95093"/>
                  <a:gd name="connsiteY23" fmla="*/ 32230 h 91232"/>
                  <a:gd name="connsiteX24" fmla="*/ 93681 w 95093"/>
                  <a:gd name="connsiteY24" fmla="*/ 40390 h 91232"/>
                  <a:gd name="connsiteX25" fmla="*/ 93681 w 95093"/>
                  <a:gd name="connsiteY25" fmla="*/ 49805 h 91232"/>
                  <a:gd name="connsiteX26" fmla="*/ 88032 w 95093"/>
                  <a:gd name="connsiteY26" fmla="*/ 57965 h 91232"/>
                  <a:gd name="connsiteX27" fmla="*/ 87404 w 95093"/>
                  <a:gd name="connsiteY27" fmla="*/ 68008 h 91232"/>
                  <a:gd name="connsiteX28" fmla="*/ 81755 w 95093"/>
                  <a:gd name="connsiteY28" fmla="*/ 75540 h 91232"/>
                  <a:gd name="connsiteX29" fmla="*/ 72340 w 95093"/>
                  <a:gd name="connsiteY29" fmla="*/ 78679 h 91232"/>
                  <a:gd name="connsiteX30" fmla="*/ 66063 w 95093"/>
                  <a:gd name="connsiteY30" fmla="*/ 86838 h 91232"/>
                  <a:gd name="connsiteX31" fmla="*/ 59787 w 95093"/>
                  <a:gd name="connsiteY31" fmla="*/ 91232 h 91232"/>
                  <a:gd name="connsiteX32" fmla="*/ 59787 w 95093"/>
                  <a:gd name="connsiteY32" fmla="*/ 91232 h 91232"/>
                  <a:gd name="connsiteX33" fmla="*/ 24009 w 95093"/>
                  <a:gd name="connsiteY33" fmla="*/ 62987 h 91232"/>
                  <a:gd name="connsiteX34" fmla="*/ 30286 w 95093"/>
                  <a:gd name="connsiteY34" fmla="*/ 65497 h 91232"/>
                  <a:gd name="connsiteX35" fmla="*/ 34052 w 95093"/>
                  <a:gd name="connsiteY35" fmla="*/ 68008 h 91232"/>
                  <a:gd name="connsiteX36" fmla="*/ 38445 w 95093"/>
                  <a:gd name="connsiteY36" fmla="*/ 73657 h 91232"/>
                  <a:gd name="connsiteX37" fmla="*/ 45350 w 95093"/>
                  <a:gd name="connsiteY37" fmla="*/ 71774 h 91232"/>
                  <a:gd name="connsiteX38" fmla="*/ 49744 w 95093"/>
                  <a:gd name="connsiteY38" fmla="*/ 71774 h 91232"/>
                  <a:gd name="connsiteX39" fmla="*/ 56648 w 95093"/>
                  <a:gd name="connsiteY39" fmla="*/ 73657 h 91232"/>
                  <a:gd name="connsiteX40" fmla="*/ 61042 w 95093"/>
                  <a:gd name="connsiteY40" fmla="*/ 68008 h 91232"/>
                  <a:gd name="connsiteX41" fmla="*/ 64808 w 95093"/>
                  <a:gd name="connsiteY41" fmla="*/ 65497 h 91232"/>
                  <a:gd name="connsiteX42" fmla="*/ 71085 w 95093"/>
                  <a:gd name="connsiteY42" fmla="*/ 62987 h 91232"/>
                  <a:gd name="connsiteX43" fmla="*/ 71085 w 95093"/>
                  <a:gd name="connsiteY43" fmla="*/ 56082 h 91232"/>
                  <a:gd name="connsiteX44" fmla="*/ 72340 w 95093"/>
                  <a:gd name="connsiteY44" fmla="*/ 51688 h 91232"/>
                  <a:gd name="connsiteX45" fmla="*/ 76106 w 95093"/>
                  <a:gd name="connsiteY45" fmla="*/ 46039 h 91232"/>
                  <a:gd name="connsiteX46" fmla="*/ 72340 w 95093"/>
                  <a:gd name="connsiteY46" fmla="*/ 40390 h 91232"/>
                  <a:gd name="connsiteX47" fmla="*/ 71085 w 95093"/>
                  <a:gd name="connsiteY47" fmla="*/ 35996 h 91232"/>
                  <a:gd name="connsiteX48" fmla="*/ 71085 w 95093"/>
                  <a:gd name="connsiteY48" fmla="*/ 29092 h 91232"/>
                  <a:gd name="connsiteX49" fmla="*/ 64808 w 95093"/>
                  <a:gd name="connsiteY49" fmla="*/ 26581 h 91232"/>
                  <a:gd name="connsiteX50" fmla="*/ 61042 w 95093"/>
                  <a:gd name="connsiteY50" fmla="*/ 24071 h 91232"/>
                  <a:gd name="connsiteX51" fmla="*/ 56648 w 95093"/>
                  <a:gd name="connsiteY51" fmla="*/ 18421 h 91232"/>
                  <a:gd name="connsiteX52" fmla="*/ 49744 w 95093"/>
                  <a:gd name="connsiteY52" fmla="*/ 20304 h 91232"/>
                  <a:gd name="connsiteX53" fmla="*/ 45350 w 95093"/>
                  <a:gd name="connsiteY53" fmla="*/ 20304 h 91232"/>
                  <a:gd name="connsiteX54" fmla="*/ 38445 w 95093"/>
                  <a:gd name="connsiteY54" fmla="*/ 18421 h 91232"/>
                  <a:gd name="connsiteX55" fmla="*/ 34052 w 95093"/>
                  <a:gd name="connsiteY55" fmla="*/ 24071 h 91232"/>
                  <a:gd name="connsiteX56" fmla="*/ 30286 w 95093"/>
                  <a:gd name="connsiteY56" fmla="*/ 26581 h 91232"/>
                  <a:gd name="connsiteX57" fmla="*/ 24009 w 95093"/>
                  <a:gd name="connsiteY57" fmla="*/ 29092 h 91232"/>
                  <a:gd name="connsiteX58" fmla="*/ 24009 w 95093"/>
                  <a:gd name="connsiteY58" fmla="*/ 35996 h 91232"/>
                  <a:gd name="connsiteX59" fmla="*/ 22753 w 95093"/>
                  <a:gd name="connsiteY59" fmla="*/ 40390 h 91232"/>
                  <a:gd name="connsiteX60" fmla="*/ 18988 w 95093"/>
                  <a:gd name="connsiteY60" fmla="*/ 46039 h 91232"/>
                  <a:gd name="connsiteX61" fmla="*/ 22753 w 95093"/>
                  <a:gd name="connsiteY61" fmla="*/ 51688 h 91232"/>
                  <a:gd name="connsiteX62" fmla="*/ 24009 w 95093"/>
                  <a:gd name="connsiteY62" fmla="*/ 56082 h 91232"/>
                  <a:gd name="connsiteX63" fmla="*/ 24009 w 95093"/>
                  <a:gd name="connsiteY63" fmla="*/ 62987 h 91232"/>
                  <a:gd name="connsiteX64" fmla="*/ 24009 w 95093"/>
                  <a:gd name="connsiteY64" fmla="*/ 62987 h 912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</a:cxnLst>
                <a:rect l="l" t="t" r="r" b="b"/>
                <a:pathLst>
                  <a:path w="95093" h="91232">
                    <a:moveTo>
                      <a:pt x="59787" y="91232"/>
                    </a:moveTo>
                    <a:cubicBezTo>
                      <a:pt x="59159" y="91232"/>
                      <a:pt x="58531" y="91232"/>
                      <a:pt x="57276" y="90604"/>
                    </a:cubicBezTo>
                    <a:lnTo>
                      <a:pt x="47233" y="87466"/>
                    </a:lnTo>
                    <a:lnTo>
                      <a:pt x="37190" y="90604"/>
                    </a:lnTo>
                    <a:cubicBezTo>
                      <a:pt x="34052" y="91232"/>
                      <a:pt x="30286" y="90604"/>
                      <a:pt x="28403" y="87466"/>
                    </a:cubicBezTo>
                    <a:lnTo>
                      <a:pt x="22126" y="79306"/>
                    </a:lnTo>
                    <a:lnTo>
                      <a:pt x="12711" y="75540"/>
                    </a:lnTo>
                    <a:cubicBezTo>
                      <a:pt x="9572" y="74285"/>
                      <a:pt x="7061" y="71146"/>
                      <a:pt x="7061" y="68008"/>
                    </a:cubicBezTo>
                    <a:lnTo>
                      <a:pt x="7061" y="57965"/>
                    </a:lnTo>
                    <a:lnTo>
                      <a:pt x="1412" y="49805"/>
                    </a:lnTo>
                    <a:cubicBezTo>
                      <a:pt x="-471" y="46667"/>
                      <a:pt x="-471" y="43529"/>
                      <a:pt x="1412" y="40390"/>
                    </a:cubicBezTo>
                    <a:lnTo>
                      <a:pt x="7061" y="32230"/>
                    </a:lnTo>
                    <a:lnTo>
                      <a:pt x="7061" y="22187"/>
                    </a:lnTo>
                    <a:cubicBezTo>
                      <a:pt x="7061" y="19049"/>
                      <a:pt x="9572" y="15911"/>
                      <a:pt x="12711" y="14655"/>
                    </a:cubicBezTo>
                    <a:lnTo>
                      <a:pt x="22126" y="11517"/>
                    </a:lnTo>
                    <a:lnTo>
                      <a:pt x="28403" y="3357"/>
                    </a:lnTo>
                    <a:cubicBezTo>
                      <a:pt x="30286" y="846"/>
                      <a:pt x="34052" y="-409"/>
                      <a:pt x="37190" y="219"/>
                    </a:cubicBezTo>
                    <a:lnTo>
                      <a:pt x="47233" y="3357"/>
                    </a:lnTo>
                    <a:lnTo>
                      <a:pt x="57276" y="219"/>
                    </a:lnTo>
                    <a:cubicBezTo>
                      <a:pt x="60414" y="-409"/>
                      <a:pt x="64180" y="219"/>
                      <a:pt x="66063" y="3357"/>
                    </a:cubicBezTo>
                    <a:lnTo>
                      <a:pt x="72340" y="11517"/>
                    </a:lnTo>
                    <a:lnTo>
                      <a:pt x="81755" y="14655"/>
                    </a:lnTo>
                    <a:cubicBezTo>
                      <a:pt x="84894" y="15911"/>
                      <a:pt x="87404" y="19049"/>
                      <a:pt x="87404" y="22187"/>
                    </a:cubicBezTo>
                    <a:lnTo>
                      <a:pt x="88032" y="32230"/>
                    </a:lnTo>
                    <a:lnTo>
                      <a:pt x="93681" y="40390"/>
                    </a:lnTo>
                    <a:cubicBezTo>
                      <a:pt x="95564" y="43529"/>
                      <a:pt x="95564" y="46667"/>
                      <a:pt x="93681" y="49805"/>
                    </a:cubicBezTo>
                    <a:lnTo>
                      <a:pt x="88032" y="57965"/>
                    </a:lnTo>
                    <a:lnTo>
                      <a:pt x="87404" y="68008"/>
                    </a:lnTo>
                    <a:cubicBezTo>
                      <a:pt x="87404" y="71146"/>
                      <a:pt x="84894" y="74285"/>
                      <a:pt x="81755" y="75540"/>
                    </a:cubicBezTo>
                    <a:lnTo>
                      <a:pt x="72340" y="78679"/>
                    </a:lnTo>
                    <a:lnTo>
                      <a:pt x="66063" y="86838"/>
                    </a:lnTo>
                    <a:cubicBezTo>
                      <a:pt x="64808" y="89977"/>
                      <a:pt x="62297" y="91232"/>
                      <a:pt x="59787" y="91232"/>
                    </a:cubicBezTo>
                    <a:lnTo>
                      <a:pt x="59787" y="91232"/>
                    </a:lnTo>
                    <a:close/>
                    <a:moveTo>
                      <a:pt x="24009" y="62987"/>
                    </a:moveTo>
                    <a:lnTo>
                      <a:pt x="30286" y="65497"/>
                    </a:lnTo>
                    <a:cubicBezTo>
                      <a:pt x="31541" y="66125"/>
                      <a:pt x="32796" y="66753"/>
                      <a:pt x="34052" y="68008"/>
                    </a:cubicBezTo>
                    <a:lnTo>
                      <a:pt x="38445" y="73657"/>
                    </a:lnTo>
                    <a:lnTo>
                      <a:pt x="45350" y="71774"/>
                    </a:lnTo>
                    <a:cubicBezTo>
                      <a:pt x="46605" y="71146"/>
                      <a:pt x="48488" y="71146"/>
                      <a:pt x="49744" y="71774"/>
                    </a:cubicBezTo>
                    <a:lnTo>
                      <a:pt x="56648" y="73657"/>
                    </a:lnTo>
                    <a:lnTo>
                      <a:pt x="61042" y="68008"/>
                    </a:lnTo>
                    <a:cubicBezTo>
                      <a:pt x="62297" y="66753"/>
                      <a:pt x="63553" y="65497"/>
                      <a:pt x="64808" y="65497"/>
                    </a:cubicBezTo>
                    <a:lnTo>
                      <a:pt x="71085" y="62987"/>
                    </a:lnTo>
                    <a:lnTo>
                      <a:pt x="71085" y="56082"/>
                    </a:lnTo>
                    <a:cubicBezTo>
                      <a:pt x="71085" y="54827"/>
                      <a:pt x="71712" y="52944"/>
                      <a:pt x="72340" y="51688"/>
                    </a:cubicBezTo>
                    <a:lnTo>
                      <a:pt x="76106" y="46039"/>
                    </a:lnTo>
                    <a:lnTo>
                      <a:pt x="72340" y="40390"/>
                    </a:lnTo>
                    <a:cubicBezTo>
                      <a:pt x="71712" y="39135"/>
                      <a:pt x="71085" y="37252"/>
                      <a:pt x="71085" y="35996"/>
                    </a:cubicBezTo>
                    <a:lnTo>
                      <a:pt x="71085" y="29092"/>
                    </a:lnTo>
                    <a:lnTo>
                      <a:pt x="64808" y="26581"/>
                    </a:lnTo>
                    <a:cubicBezTo>
                      <a:pt x="63553" y="25954"/>
                      <a:pt x="62297" y="25326"/>
                      <a:pt x="61042" y="24071"/>
                    </a:cubicBezTo>
                    <a:lnTo>
                      <a:pt x="56648" y="18421"/>
                    </a:lnTo>
                    <a:lnTo>
                      <a:pt x="49744" y="20304"/>
                    </a:lnTo>
                    <a:cubicBezTo>
                      <a:pt x="48488" y="20932"/>
                      <a:pt x="46605" y="20932"/>
                      <a:pt x="45350" y="20304"/>
                    </a:cubicBezTo>
                    <a:lnTo>
                      <a:pt x="38445" y="18421"/>
                    </a:lnTo>
                    <a:lnTo>
                      <a:pt x="34052" y="24071"/>
                    </a:lnTo>
                    <a:cubicBezTo>
                      <a:pt x="32796" y="25326"/>
                      <a:pt x="31541" y="26581"/>
                      <a:pt x="30286" y="26581"/>
                    </a:cubicBezTo>
                    <a:lnTo>
                      <a:pt x="24009" y="29092"/>
                    </a:lnTo>
                    <a:lnTo>
                      <a:pt x="24009" y="35996"/>
                    </a:lnTo>
                    <a:cubicBezTo>
                      <a:pt x="24009" y="37252"/>
                      <a:pt x="23381" y="39135"/>
                      <a:pt x="22753" y="40390"/>
                    </a:cubicBezTo>
                    <a:lnTo>
                      <a:pt x="18988" y="46039"/>
                    </a:lnTo>
                    <a:lnTo>
                      <a:pt x="22753" y="51688"/>
                    </a:lnTo>
                    <a:cubicBezTo>
                      <a:pt x="23381" y="52944"/>
                      <a:pt x="24009" y="54827"/>
                      <a:pt x="24009" y="56082"/>
                    </a:cubicBezTo>
                    <a:lnTo>
                      <a:pt x="24009" y="62987"/>
                    </a:lnTo>
                    <a:lnTo>
                      <a:pt x="24009" y="62987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grpSp>
            <p:nvGrpSpPr>
              <p:cNvPr id="351" name="Gráfico 2">
                <a:extLst>
                  <a:ext uri="{FF2B5EF4-FFF2-40B4-BE49-F238E27FC236}">
                    <a16:creationId xmlns:a16="http://schemas.microsoft.com/office/drawing/2014/main" id="{83F95F55-5D1D-4425-8D77-756B15108235}"/>
                  </a:ext>
                </a:extLst>
              </p:cNvPr>
              <p:cNvGrpSpPr/>
              <p:nvPr/>
            </p:nvGrpSpPr>
            <p:grpSpPr>
              <a:xfrm>
                <a:off x="6658508" y="1824359"/>
                <a:ext cx="72685" cy="36028"/>
                <a:chOff x="6658508" y="1824359"/>
                <a:chExt cx="72685" cy="36028"/>
              </a:xfrm>
              <a:grpFill/>
            </p:grpSpPr>
            <p:sp>
              <p:nvSpPr>
                <p:cNvPr id="352" name="Forma Livre: Forma 351">
                  <a:extLst>
                    <a:ext uri="{FF2B5EF4-FFF2-40B4-BE49-F238E27FC236}">
                      <a16:creationId xmlns:a16="http://schemas.microsoft.com/office/drawing/2014/main" id="{76ADFE93-DDEF-4C75-9DD1-E4565191C3E6}"/>
                    </a:ext>
                  </a:extLst>
                </p:cNvPr>
                <p:cNvSpPr/>
                <p:nvPr/>
              </p:nvSpPr>
              <p:spPr>
                <a:xfrm>
                  <a:off x="6700562" y="1824986"/>
                  <a:ext cx="30630" cy="35401"/>
                </a:xfrm>
                <a:custGeom>
                  <a:avLst/>
                  <a:gdLst>
                    <a:gd name="connsiteX0" fmla="*/ 22220 w 30630"/>
                    <a:gd name="connsiteY0" fmla="*/ 35401 h 35401"/>
                    <a:gd name="connsiteX1" fmla="*/ 15315 w 30630"/>
                    <a:gd name="connsiteY1" fmla="*/ 32263 h 35401"/>
                    <a:gd name="connsiteX2" fmla="*/ 1506 w 30630"/>
                    <a:gd name="connsiteY2" fmla="*/ 13432 h 35401"/>
                    <a:gd name="connsiteX3" fmla="*/ 3390 w 30630"/>
                    <a:gd name="connsiteY3" fmla="*/ 1506 h 35401"/>
                    <a:gd name="connsiteX4" fmla="*/ 15315 w 30630"/>
                    <a:gd name="connsiteY4" fmla="*/ 3390 h 35401"/>
                    <a:gd name="connsiteX5" fmla="*/ 29124 w 30630"/>
                    <a:gd name="connsiteY5" fmla="*/ 22220 h 35401"/>
                    <a:gd name="connsiteX6" fmla="*/ 27241 w 30630"/>
                    <a:gd name="connsiteY6" fmla="*/ 34146 h 35401"/>
                    <a:gd name="connsiteX7" fmla="*/ 22220 w 30630"/>
                    <a:gd name="connsiteY7" fmla="*/ 35401 h 35401"/>
                    <a:gd name="connsiteX8" fmla="*/ 22220 w 30630"/>
                    <a:gd name="connsiteY8" fmla="*/ 35401 h 354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0630" h="35401">
                      <a:moveTo>
                        <a:pt x="22220" y="35401"/>
                      </a:moveTo>
                      <a:cubicBezTo>
                        <a:pt x="19709" y="35401"/>
                        <a:pt x="17198" y="34146"/>
                        <a:pt x="15315" y="32263"/>
                      </a:cubicBezTo>
                      <a:lnTo>
                        <a:pt x="1506" y="13432"/>
                      </a:lnTo>
                      <a:cubicBezTo>
                        <a:pt x="-1004" y="9666"/>
                        <a:pt x="-377" y="4645"/>
                        <a:pt x="3390" y="1506"/>
                      </a:cubicBezTo>
                      <a:cubicBezTo>
                        <a:pt x="7156" y="-1004"/>
                        <a:pt x="12177" y="-377"/>
                        <a:pt x="15315" y="3390"/>
                      </a:cubicBezTo>
                      <a:lnTo>
                        <a:pt x="29124" y="22220"/>
                      </a:lnTo>
                      <a:cubicBezTo>
                        <a:pt x="31635" y="25986"/>
                        <a:pt x="31007" y="31007"/>
                        <a:pt x="27241" y="34146"/>
                      </a:cubicBezTo>
                      <a:cubicBezTo>
                        <a:pt x="25358" y="34773"/>
                        <a:pt x="24103" y="35401"/>
                        <a:pt x="22220" y="35401"/>
                      </a:cubicBezTo>
                      <a:lnTo>
                        <a:pt x="22220" y="35401"/>
                      </a:lnTo>
                      <a:close/>
                    </a:path>
                  </a:pathLst>
                </a:custGeom>
                <a:grpFill/>
                <a:ln w="62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353" name="Forma Livre: Forma 352">
                  <a:extLst>
                    <a:ext uri="{FF2B5EF4-FFF2-40B4-BE49-F238E27FC236}">
                      <a16:creationId xmlns:a16="http://schemas.microsoft.com/office/drawing/2014/main" id="{D24215F3-153B-4C80-BB70-1AA86FA899DF}"/>
                    </a:ext>
                  </a:extLst>
                </p:cNvPr>
                <p:cNvSpPr/>
                <p:nvPr/>
              </p:nvSpPr>
              <p:spPr>
                <a:xfrm>
                  <a:off x="6658508" y="1824359"/>
                  <a:ext cx="30630" cy="36028"/>
                </a:xfrm>
                <a:custGeom>
                  <a:avLst/>
                  <a:gdLst>
                    <a:gd name="connsiteX0" fmla="*/ 8411 w 30630"/>
                    <a:gd name="connsiteY0" fmla="*/ 36029 h 36028"/>
                    <a:gd name="connsiteX1" fmla="*/ 3390 w 30630"/>
                    <a:gd name="connsiteY1" fmla="*/ 34146 h 36028"/>
                    <a:gd name="connsiteX2" fmla="*/ 1507 w 30630"/>
                    <a:gd name="connsiteY2" fmla="*/ 22220 h 36028"/>
                    <a:gd name="connsiteX3" fmla="*/ 15315 w 30630"/>
                    <a:gd name="connsiteY3" fmla="*/ 3389 h 36028"/>
                    <a:gd name="connsiteX4" fmla="*/ 27241 w 30630"/>
                    <a:gd name="connsiteY4" fmla="*/ 1506 h 36028"/>
                    <a:gd name="connsiteX5" fmla="*/ 29124 w 30630"/>
                    <a:gd name="connsiteY5" fmla="*/ 13432 h 36028"/>
                    <a:gd name="connsiteX6" fmla="*/ 15315 w 30630"/>
                    <a:gd name="connsiteY6" fmla="*/ 32263 h 36028"/>
                    <a:gd name="connsiteX7" fmla="*/ 8411 w 30630"/>
                    <a:gd name="connsiteY7" fmla="*/ 36029 h 36028"/>
                    <a:gd name="connsiteX8" fmla="*/ 8411 w 30630"/>
                    <a:gd name="connsiteY8" fmla="*/ 36029 h 360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0630" h="36028">
                      <a:moveTo>
                        <a:pt x="8411" y="36029"/>
                      </a:moveTo>
                      <a:cubicBezTo>
                        <a:pt x="6528" y="36029"/>
                        <a:pt x="4645" y="35401"/>
                        <a:pt x="3390" y="34146"/>
                      </a:cubicBezTo>
                      <a:cubicBezTo>
                        <a:pt x="-377" y="31635"/>
                        <a:pt x="-1004" y="25986"/>
                        <a:pt x="1507" y="22220"/>
                      </a:cubicBezTo>
                      <a:lnTo>
                        <a:pt x="15315" y="3389"/>
                      </a:lnTo>
                      <a:cubicBezTo>
                        <a:pt x="17826" y="-377"/>
                        <a:pt x="23475" y="-1004"/>
                        <a:pt x="27241" y="1506"/>
                      </a:cubicBezTo>
                      <a:cubicBezTo>
                        <a:pt x="31007" y="4017"/>
                        <a:pt x="31635" y="9666"/>
                        <a:pt x="29124" y="13432"/>
                      </a:cubicBezTo>
                      <a:lnTo>
                        <a:pt x="15315" y="32263"/>
                      </a:lnTo>
                      <a:cubicBezTo>
                        <a:pt x="13432" y="34773"/>
                        <a:pt x="10922" y="36029"/>
                        <a:pt x="8411" y="36029"/>
                      </a:cubicBezTo>
                      <a:lnTo>
                        <a:pt x="8411" y="36029"/>
                      </a:lnTo>
                      <a:close/>
                    </a:path>
                  </a:pathLst>
                </a:custGeom>
                <a:grpFill/>
                <a:ln w="62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</p:grpSp>
      </p:grpSp>
      <p:grpSp>
        <p:nvGrpSpPr>
          <p:cNvPr id="354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7431460" y="1545779"/>
            <a:ext cx="402806" cy="395579"/>
            <a:chOff x="7431460" y="1545779"/>
            <a:chExt cx="402806" cy="395579"/>
          </a:xfrm>
          <a:solidFill>
            <a:srgbClr val="B1B1A1"/>
          </a:solidFill>
        </p:grpSpPr>
        <p:sp>
          <p:nvSpPr>
            <p:cNvPr id="355" name="Forma Livre: Forma 354">
              <a:extLst>
                <a:ext uri="{FF2B5EF4-FFF2-40B4-BE49-F238E27FC236}">
                  <a16:creationId xmlns:a16="http://schemas.microsoft.com/office/drawing/2014/main" id="{82F68F82-EC0A-45CA-90FC-1AE3F728B6FB}"/>
                </a:ext>
              </a:extLst>
            </p:cNvPr>
            <p:cNvSpPr/>
            <p:nvPr/>
          </p:nvSpPr>
          <p:spPr>
            <a:xfrm>
              <a:off x="7541555" y="1545779"/>
              <a:ext cx="292711" cy="395579"/>
            </a:xfrm>
            <a:custGeom>
              <a:avLst/>
              <a:gdLst>
                <a:gd name="connsiteX0" fmla="*/ 153501 w 292711"/>
                <a:gd name="connsiteY0" fmla="*/ 395579 h 395579"/>
                <a:gd name="connsiteX1" fmla="*/ 132160 w 292711"/>
                <a:gd name="connsiteY1" fmla="*/ 393068 h 395579"/>
                <a:gd name="connsiteX2" fmla="*/ 80063 w 292711"/>
                <a:gd name="connsiteY2" fmla="*/ 361057 h 395579"/>
                <a:gd name="connsiteX3" fmla="*/ 79435 w 292711"/>
                <a:gd name="connsiteY3" fmla="*/ 302683 h 395579"/>
                <a:gd name="connsiteX4" fmla="*/ 81318 w 292711"/>
                <a:gd name="connsiteY4" fmla="*/ 271926 h 395579"/>
                <a:gd name="connsiteX5" fmla="*/ 58094 w 292711"/>
                <a:gd name="connsiteY5" fmla="*/ 264394 h 395579"/>
                <a:gd name="connsiteX6" fmla="*/ 348 w 292711"/>
                <a:gd name="connsiteY6" fmla="*/ 190328 h 395579"/>
                <a:gd name="connsiteX7" fmla="*/ 50562 w 292711"/>
                <a:gd name="connsiteY7" fmla="*/ 47218 h 395579"/>
                <a:gd name="connsiteX8" fmla="*/ 157268 w 292711"/>
                <a:gd name="connsiteY8" fmla="*/ 142 h 395579"/>
                <a:gd name="connsiteX9" fmla="*/ 258951 w 292711"/>
                <a:gd name="connsiteY9" fmla="*/ 65420 h 395579"/>
                <a:gd name="connsiteX10" fmla="*/ 292219 w 292711"/>
                <a:gd name="connsiteY10" fmla="*/ 204765 h 395579"/>
                <a:gd name="connsiteX11" fmla="*/ 153501 w 292711"/>
                <a:gd name="connsiteY11" fmla="*/ 395579 h 395579"/>
                <a:gd name="connsiteX12" fmla="*/ 153501 w 292711"/>
                <a:gd name="connsiteY12" fmla="*/ 395579 h 395579"/>
                <a:gd name="connsiteX13" fmla="*/ 151618 w 292711"/>
                <a:gd name="connsiteY13" fmla="*/ 33409 h 395579"/>
                <a:gd name="connsiteX14" fmla="*/ 75669 w 292711"/>
                <a:gd name="connsiteY14" fmla="*/ 70442 h 395579"/>
                <a:gd name="connsiteX15" fmla="*/ 34242 w 292711"/>
                <a:gd name="connsiteY15" fmla="*/ 188445 h 395579"/>
                <a:gd name="connsiteX16" fmla="*/ 59977 w 292711"/>
                <a:gd name="connsiteY16" fmla="*/ 231127 h 395579"/>
                <a:gd name="connsiteX17" fmla="*/ 107681 w 292711"/>
                <a:gd name="connsiteY17" fmla="*/ 249958 h 395579"/>
                <a:gd name="connsiteX18" fmla="*/ 112702 w 292711"/>
                <a:gd name="connsiteY18" fmla="*/ 311470 h 395579"/>
                <a:gd name="connsiteX19" fmla="*/ 110192 w 292711"/>
                <a:gd name="connsiteY19" fmla="*/ 344110 h 395579"/>
                <a:gd name="connsiteX20" fmla="*/ 141576 w 292711"/>
                <a:gd name="connsiteY20" fmla="*/ 360429 h 395579"/>
                <a:gd name="connsiteX21" fmla="*/ 260207 w 292711"/>
                <a:gd name="connsiteY21" fmla="*/ 202882 h 395579"/>
                <a:gd name="connsiteX22" fmla="*/ 231962 w 292711"/>
                <a:gd name="connsiteY22" fmla="*/ 83623 h 395579"/>
                <a:gd name="connsiteX23" fmla="*/ 156640 w 292711"/>
                <a:gd name="connsiteY23" fmla="*/ 33409 h 395579"/>
                <a:gd name="connsiteX24" fmla="*/ 151618 w 292711"/>
                <a:gd name="connsiteY24" fmla="*/ 33409 h 395579"/>
                <a:gd name="connsiteX25" fmla="*/ 151618 w 292711"/>
                <a:gd name="connsiteY25" fmla="*/ 33409 h 395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92711" h="395579">
                  <a:moveTo>
                    <a:pt x="153501" y="395579"/>
                  </a:moveTo>
                  <a:cubicBezTo>
                    <a:pt x="146597" y="395579"/>
                    <a:pt x="139065" y="394952"/>
                    <a:pt x="132160" y="393068"/>
                  </a:cubicBezTo>
                  <a:cubicBezTo>
                    <a:pt x="105798" y="386792"/>
                    <a:pt x="88850" y="376121"/>
                    <a:pt x="80063" y="361057"/>
                  </a:cubicBezTo>
                  <a:cubicBezTo>
                    <a:pt x="68765" y="341599"/>
                    <a:pt x="74414" y="320258"/>
                    <a:pt x="79435" y="302683"/>
                  </a:cubicBezTo>
                  <a:cubicBezTo>
                    <a:pt x="83829" y="286991"/>
                    <a:pt x="86340" y="276948"/>
                    <a:pt x="81318" y="271926"/>
                  </a:cubicBezTo>
                  <a:cubicBezTo>
                    <a:pt x="75669" y="265650"/>
                    <a:pt x="70020" y="265022"/>
                    <a:pt x="58094" y="264394"/>
                  </a:cubicBezTo>
                  <a:cubicBezTo>
                    <a:pt x="24200" y="263139"/>
                    <a:pt x="3486" y="250585"/>
                    <a:pt x="348" y="190328"/>
                  </a:cubicBezTo>
                  <a:cubicBezTo>
                    <a:pt x="-2790" y="136976"/>
                    <a:pt x="15412" y="84878"/>
                    <a:pt x="50562" y="47218"/>
                  </a:cubicBezTo>
                  <a:cubicBezTo>
                    <a:pt x="80691" y="15206"/>
                    <a:pt x="119607" y="-1741"/>
                    <a:pt x="157268" y="142"/>
                  </a:cubicBezTo>
                  <a:cubicBezTo>
                    <a:pt x="197439" y="2652"/>
                    <a:pt x="233217" y="25876"/>
                    <a:pt x="258951" y="65420"/>
                  </a:cubicBezTo>
                  <a:cubicBezTo>
                    <a:pt x="283431" y="103709"/>
                    <a:pt x="295357" y="153295"/>
                    <a:pt x="292219" y="204765"/>
                  </a:cubicBezTo>
                  <a:cubicBezTo>
                    <a:pt x="286569" y="308332"/>
                    <a:pt x="223174" y="395579"/>
                    <a:pt x="153501" y="395579"/>
                  </a:cubicBezTo>
                  <a:lnTo>
                    <a:pt x="153501" y="395579"/>
                  </a:lnTo>
                  <a:close/>
                  <a:moveTo>
                    <a:pt x="151618" y="33409"/>
                  </a:moveTo>
                  <a:cubicBezTo>
                    <a:pt x="125256" y="33409"/>
                    <a:pt x="97638" y="46590"/>
                    <a:pt x="75669" y="70442"/>
                  </a:cubicBezTo>
                  <a:cubicBezTo>
                    <a:pt x="46796" y="101198"/>
                    <a:pt x="31732" y="144508"/>
                    <a:pt x="34242" y="188445"/>
                  </a:cubicBezTo>
                  <a:cubicBezTo>
                    <a:pt x="36753" y="230500"/>
                    <a:pt x="44285" y="230500"/>
                    <a:pt x="59977" y="231127"/>
                  </a:cubicBezTo>
                  <a:cubicBezTo>
                    <a:pt x="72531" y="231755"/>
                    <a:pt x="91989" y="232383"/>
                    <a:pt x="107681" y="249958"/>
                  </a:cubicBezTo>
                  <a:cubicBezTo>
                    <a:pt x="124000" y="269416"/>
                    <a:pt x="117724" y="292640"/>
                    <a:pt x="112702" y="311470"/>
                  </a:cubicBezTo>
                  <a:cubicBezTo>
                    <a:pt x="108936" y="324024"/>
                    <a:pt x="105798" y="336577"/>
                    <a:pt x="110192" y="344110"/>
                  </a:cubicBezTo>
                  <a:cubicBezTo>
                    <a:pt x="113958" y="350386"/>
                    <a:pt x="124628" y="356035"/>
                    <a:pt x="141576" y="360429"/>
                  </a:cubicBezTo>
                  <a:cubicBezTo>
                    <a:pt x="196811" y="374238"/>
                    <a:pt x="255185" y="295151"/>
                    <a:pt x="260207" y="202882"/>
                  </a:cubicBezTo>
                  <a:cubicBezTo>
                    <a:pt x="262717" y="158317"/>
                    <a:pt x="252674" y="115635"/>
                    <a:pt x="231962" y="83623"/>
                  </a:cubicBezTo>
                  <a:cubicBezTo>
                    <a:pt x="212503" y="52867"/>
                    <a:pt x="185513" y="35292"/>
                    <a:pt x="156640" y="33409"/>
                  </a:cubicBezTo>
                  <a:cubicBezTo>
                    <a:pt x="154129" y="33409"/>
                    <a:pt x="152874" y="33409"/>
                    <a:pt x="151618" y="33409"/>
                  </a:cubicBezTo>
                  <a:lnTo>
                    <a:pt x="151618" y="33409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56" name="Forma Livre: Forma 355">
              <a:extLst>
                <a:ext uri="{FF2B5EF4-FFF2-40B4-BE49-F238E27FC236}">
                  <a16:creationId xmlns:a16="http://schemas.microsoft.com/office/drawing/2014/main" id="{839B6391-F65F-415D-B162-4C070CAEE922}"/>
                </a:ext>
              </a:extLst>
            </p:cNvPr>
            <p:cNvSpPr/>
            <p:nvPr/>
          </p:nvSpPr>
          <p:spPr>
            <a:xfrm>
              <a:off x="7593344" y="1673967"/>
              <a:ext cx="49642" cy="53980"/>
            </a:xfrm>
            <a:custGeom>
              <a:avLst/>
              <a:gdLst>
                <a:gd name="connsiteX0" fmla="*/ 25135 w 49642"/>
                <a:gd name="connsiteY0" fmla="*/ 0 h 53980"/>
                <a:gd name="connsiteX1" fmla="*/ 28 w 49642"/>
                <a:gd name="connsiteY1" fmla="*/ 25735 h 53980"/>
                <a:gd name="connsiteX2" fmla="*/ 23252 w 49642"/>
                <a:gd name="connsiteY2" fmla="*/ 53980 h 53980"/>
                <a:gd name="connsiteX3" fmla="*/ 24507 w 49642"/>
                <a:gd name="connsiteY3" fmla="*/ 53980 h 53980"/>
                <a:gd name="connsiteX4" fmla="*/ 49615 w 49642"/>
                <a:gd name="connsiteY4" fmla="*/ 28246 h 53980"/>
                <a:gd name="connsiteX5" fmla="*/ 26390 w 49642"/>
                <a:gd name="connsiteY5" fmla="*/ 0 h 53980"/>
                <a:gd name="connsiteX6" fmla="*/ 25135 w 49642"/>
                <a:gd name="connsiteY6" fmla="*/ 0 h 53980"/>
                <a:gd name="connsiteX7" fmla="*/ 25135 w 49642"/>
                <a:gd name="connsiteY7" fmla="*/ 0 h 53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642" h="53980">
                  <a:moveTo>
                    <a:pt x="25135" y="0"/>
                  </a:moveTo>
                  <a:cubicBezTo>
                    <a:pt x="11954" y="0"/>
                    <a:pt x="656" y="11298"/>
                    <a:pt x="28" y="25735"/>
                  </a:cubicBezTo>
                  <a:cubicBezTo>
                    <a:pt x="-600" y="40799"/>
                    <a:pt x="9443" y="53353"/>
                    <a:pt x="23252" y="53980"/>
                  </a:cubicBezTo>
                  <a:cubicBezTo>
                    <a:pt x="23880" y="53980"/>
                    <a:pt x="23880" y="53980"/>
                    <a:pt x="24507" y="53980"/>
                  </a:cubicBezTo>
                  <a:cubicBezTo>
                    <a:pt x="37689" y="53980"/>
                    <a:pt x="48359" y="42682"/>
                    <a:pt x="49615" y="28246"/>
                  </a:cubicBezTo>
                  <a:cubicBezTo>
                    <a:pt x="50242" y="13181"/>
                    <a:pt x="40199" y="628"/>
                    <a:pt x="26390" y="0"/>
                  </a:cubicBezTo>
                  <a:cubicBezTo>
                    <a:pt x="25763" y="0"/>
                    <a:pt x="25763" y="0"/>
                    <a:pt x="25135" y="0"/>
                  </a:cubicBezTo>
                  <a:lnTo>
                    <a:pt x="25135" y="0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57" name="Forma Livre: Forma 356">
              <a:extLst>
                <a:ext uri="{FF2B5EF4-FFF2-40B4-BE49-F238E27FC236}">
                  <a16:creationId xmlns:a16="http://schemas.microsoft.com/office/drawing/2014/main" id="{A2C01917-AAC5-4BD3-BBD6-8A472013F408}"/>
                </a:ext>
              </a:extLst>
            </p:cNvPr>
            <p:cNvSpPr/>
            <p:nvPr/>
          </p:nvSpPr>
          <p:spPr>
            <a:xfrm>
              <a:off x="7635399" y="1617476"/>
              <a:ext cx="49642" cy="53980"/>
            </a:xfrm>
            <a:custGeom>
              <a:avLst/>
              <a:gdLst>
                <a:gd name="connsiteX0" fmla="*/ 25135 w 49642"/>
                <a:gd name="connsiteY0" fmla="*/ 0 h 53980"/>
                <a:gd name="connsiteX1" fmla="*/ 28 w 49642"/>
                <a:gd name="connsiteY1" fmla="*/ 25735 h 53980"/>
                <a:gd name="connsiteX2" fmla="*/ 23252 w 49642"/>
                <a:gd name="connsiteY2" fmla="*/ 53980 h 53980"/>
                <a:gd name="connsiteX3" fmla="*/ 24507 w 49642"/>
                <a:gd name="connsiteY3" fmla="*/ 53980 h 53980"/>
                <a:gd name="connsiteX4" fmla="*/ 49615 w 49642"/>
                <a:gd name="connsiteY4" fmla="*/ 28246 h 53980"/>
                <a:gd name="connsiteX5" fmla="*/ 26390 w 49642"/>
                <a:gd name="connsiteY5" fmla="*/ 0 h 53980"/>
                <a:gd name="connsiteX6" fmla="*/ 25135 w 49642"/>
                <a:gd name="connsiteY6" fmla="*/ 0 h 53980"/>
                <a:gd name="connsiteX7" fmla="*/ 25135 w 49642"/>
                <a:gd name="connsiteY7" fmla="*/ 0 h 53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642" h="53980">
                  <a:moveTo>
                    <a:pt x="25135" y="0"/>
                  </a:moveTo>
                  <a:cubicBezTo>
                    <a:pt x="11954" y="0"/>
                    <a:pt x="656" y="11298"/>
                    <a:pt x="28" y="25735"/>
                  </a:cubicBezTo>
                  <a:cubicBezTo>
                    <a:pt x="-600" y="40799"/>
                    <a:pt x="9443" y="53353"/>
                    <a:pt x="23252" y="53980"/>
                  </a:cubicBezTo>
                  <a:cubicBezTo>
                    <a:pt x="23880" y="53980"/>
                    <a:pt x="23880" y="53980"/>
                    <a:pt x="24507" y="53980"/>
                  </a:cubicBezTo>
                  <a:cubicBezTo>
                    <a:pt x="37689" y="53980"/>
                    <a:pt x="48987" y="42682"/>
                    <a:pt x="49615" y="28246"/>
                  </a:cubicBezTo>
                  <a:cubicBezTo>
                    <a:pt x="50242" y="13181"/>
                    <a:pt x="40199" y="628"/>
                    <a:pt x="26390" y="0"/>
                  </a:cubicBezTo>
                  <a:cubicBezTo>
                    <a:pt x="25763" y="0"/>
                    <a:pt x="25763" y="0"/>
                    <a:pt x="25135" y="0"/>
                  </a:cubicBezTo>
                  <a:lnTo>
                    <a:pt x="25135" y="0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58" name="Forma Livre: Forma 357">
              <a:extLst>
                <a:ext uri="{FF2B5EF4-FFF2-40B4-BE49-F238E27FC236}">
                  <a16:creationId xmlns:a16="http://schemas.microsoft.com/office/drawing/2014/main" id="{98A26081-98ED-4E9E-931A-E4D8E21AB7A9}"/>
                </a:ext>
              </a:extLst>
            </p:cNvPr>
            <p:cNvSpPr/>
            <p:nvPr/>
          </p:nvSpPr>
          <p:spPr>
            <a:xfrm>
              <a:off x="7698167" y="1615593"/>
              <a:ext cx="49642" cy="53980"/>
            </a:xfrm>
            <a:custGeom>
              <a:avLst/>
              <a:gdLst>
                <a:gd name="connsiteX0" fmla="*/ 25135 w 49642"/>
                <a:gd name="connsiteY0" fmla="*/ 0 h 53980"/>
                <a:gd name="connsiteX1" fmla="*/ 28 w 49642"/>
                <a:gd name="connsiteY1" fmla="*/ 25735 h 53980"/>
                <a:gd name="connsiteX2" fmla="*/ 23252 w 49642"/>
                <a:gd name="connsiteY2" fmla="*/ 53980 h 53980"/>
                <a:gd name="connsiteX3" fmla="*/ 24507 w 49642"/>
                <a:gd name="connsiteY3" fmla="*/ 53980 h 53980"/>
                <a:gd name="connsiteX4" fmla="*/ 49614 w 49642"/>
                <a:gd name="connsiteY4" fmla="*/ 28246 h 53980"/>
                <a:gd name="connsiteX5" fmla="*/ 26390 w 49642"/>
                <a:gd name="connsiteY5" fmla="*/ 0 h 53980"/>
                <a:gd name="connsiteX6" fmla="*/ 25135 w 49642"/>
                <a:gd name="connsiteY6" fmla="*/ 0 h 53980"/>
                <a:gd name="connsiteX7" fmla="*/ 25135 w 49642"/>
                <a:gd name="connsiteY7" fmla="*/ 0 h 53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642" h="53980">
                  <a:moveTo>
                    <a:pt x="25135" y="0"/>
                  </a:moveTo>
                  <a:cubicBezTo>
                    <a:pt x="11954" y="0"/>
                    <a:pt x="656" y="11298"/>
                    <a:pt x="28" y="25735"/>
                  </a:cubicBezTo>
                  <a:cubicBezTo>
                    <a:pt x="-600" y="40799"/>
                    <a:pt x="9443" y="53353"/>
                    <a:pt x="23252" y="53980"/>
                  </a:cubicBezTo>
                  <a:cubicBezTo>
                    <a:pt x="23880" y="53980"/>
                    <a:pt x="23880" y="53980"/>
                    <a:pt x="24507" y="53980"/>
                  </a:cubicBezTo>
                  <a:cubicBezTo>
                    <a:pt x="37689" y="53980"/>
                    <a:pt x="48987" y="42682"/>
                    <a:pt x="49614" y="28246"/>
                  </a:cubicBezTo>
                  <a:cubicBezTo>
                    <a:pt x="50243" y="13181"/>
                    <a:pt x="40199" y="628"/>
                    <a:pt x="26390" y="0"/>
                  </a:cubicBezTo>
                  <a:cubicBezTo>
                    <a:pt x="26390" y="0"/>
                    <a:pt x="25763" y="0"/>
                    <a:pt x="25135" y="0"/>
                  </a:cubicBezTo>
                  <a:lnTo>
                    <a:pt x="25135" y="0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59" name="Forma Livre: Forma 358">
              <a:extLst>
                <a:ext uri="{FF2B5EF4-FFF2-40B4-BE49-F238E27FC236}">
                  <a16:creationId xmlns:a16="http://schemas.microsoft.com/office/drawing/2014/main" id="{0FA9C79C-FF3A-4439-AAD0-5F2DB0950610}"/>
                </a:ext>
              </a:extLst>
            </p:cNvPr>
            <p:cNvSpPr/>
            <p:nvPr/>
          </p:nvSpPr>
          <p:spPr>
            <a:xfrm>
              <a:off x="7730179" y="1682127"/>
              <a:ext cx="49642" cy="53980"/>
            </a:xfrm>
            <a:custGeom>
              <a:avLst/>
              <a:gdLst>
                <a:gd name="connsiteX0" fmla="*/ 25135 w 49642"/>
                <a:gd name="connsiteY0" fmla="*/ 0 h 53980"/>
                <a:gd name="connsiteX1" fmla="*/ 28 w 49642"/>
                <a:gd name="connsiteY1" fmla="*/ 25735 h 53980"/>
                <a:gd name="connsiteX2" fmla="*/ 23252 w 49642"/>
                <a:gd name="connsiteY2" fmla="*/ 53980 h 53980"/>
                <a:gd name="connsiteX3" fmla="*/ 24507 w 49642"/>
                <a:gd name="connsiteY3" fmla="*/ 53980 h 53980"/>
                <a:gd name="connsiteX4" fmla="*/ 49615 w 49642"/>
                <a:gd name="connsiteY4" fmla="*/ 28246 h 53980"/>
                <a:gd name="connsiteX5" fmla="*/ 26390 w 49642"/>
                <a:gd name="connsiteY5" fmla="*/ 0 h 53980"/>
                <a:gd name="connsiteX6" fmla="*/ 25135 w 49642"/>
                <a:gd name="connsiteY6" fmla="*/ 0 h 53980"/>
                <a:gd name="connsiteX7" fmla="*/ 25135 w 49642"/>
                <a:gd name="connsiteY7" fmla="*/ 0 h 53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642" h="53980">
                  <a:moveTo>
                    <a:pt x="25135" y="0"/>
                  </a:moveTo>
                  <a:cubicBezTo>
                    <a:pt x="11954" y="0"/>
                    <a:pt x="655" y="11298"/>
                    <a:pt x="28" y="25735"/>
                  </a:cubicBezTo>
                  <a:cubicBezTo>
                    <a:pt x="-600" y="40799"/>
                    <a:pt x="9443" y="53353"/>
                    <a:pt x="23252" y="53980"/>
                  </a:cubicBezTo>
                  <a:cubicBezTo>
                    <a:pt x="23879" y="53980"/>
                    <a:pt x="23879" y="53980"/>
                    <a:pt x="24507" y="53980"/>
                  </a:cubicBezTo>
                  <a:cubicBezTo>
                    <a:pt x="37689" y="53980"/>
                    <a:pt x="48986" y="42682"/>
                    <a:pt x="49615" y="28246"/>
                  </a:cubicBezTo>
                  <a:cubicBezTo>
                    <a:pt x="50242" y="13181"/>
                    <a:pt x="40199" y="628"/>
                    <a:pt x="26390" y="0"/>
                  </a:cubicBezTo>
                  <a:cubicBezTo>
                    <a:pt x="25763" y="0"/>
                    <a:pt x="25763" y="0"/>
                    <a:pt x="25135" y="0"/>
                  </a:cubicBezTo>
                  <a:lnTo>
                    <a:pt x="25135" y="0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60" name="Forma Livre: Forma 359">
              <a:extLst>
                <a:ext uri="{FF2B5EF4-FFF2-40B4-BE49-F238E27FC236}">
                  <a16:creationId xmlns:a16="http://schemas.microsoft.com/office/drawing/2014/main" id="{DED7B05B-9B8F-4530-BFBE-2D7F13A21F77}"/>
                </a:ext>
              </a:extLst>
            </p:cNvPr>
            <p:cNvSpPr/>
            <p:nvPr/>
          </p:nvSpPr>
          <p:spPr>
            <a:xfrm>
              <a:off x="7723274" y="1761214"/>
              <a:ext cx="49641" cy="53980"/>
            </a:xfrm>
            <a:custGeom>
              <a:avLst/>
              <a:gdLst>
                <a:gd name="connsiteX0" fmla="*/ 25135 w 49641"/>
                <a:gd name="connsiteY0" fmla="*/ 0 h 53980"/>
                <a:gd name="connsiteX1" fmla="*/ 28 w 49641"/>
                <a:gd name="connsiteY1" fmla="*/ 25735 h 53980"/>
                <a:gd name="connsiteX2" fmla="*/ 23252 w 49641"/>
                <a:gd name="connsiteY2" fmla="*/ 53980 h 53980"/>
                <a:gd name="connsiteX3" fmla="*/ 24507 w 49641"/>
                <a:gd name="connsiteY3" fmla="*/ 53980 h 53980"/>
                <a:gd name="connsiteX4" fmla="*/ 49614 w 49641"/>
                <a:gd name="connsiteY4" fmla="*/ 28246 h 53980"/>
                <a:gd name="connsiteX5" fmla="*/ 26390 w 49641"/>
                <a:gd name="connsiteY5" fmla="*/ 0 h 53980"/>
                <a:gd name="connsiteX6" fmla="*/ 25135 w 49641"/>
                <a:gd name="connsiteY6" fmla="*/ 0 h 53980"/>
                <a:gd name="connsiteX7" fmla="*/ 25135 w 49641"/>
                <a:gd name="connsiteY7" fmla="*/ 0 h 53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641" h="53980">
                  <a:moveTo>
                    <a:pt x="25135" y="0"/>
                  </a:moveTo>
                  <a:cubicBezTo>
                    <a:pt x="11953" y="0"/>
                    <a:pt x="655" y="11298"/>
                    <a:pt x="28" y="25735"/>
                  </a:cubicBezTo>
                  <a:cubicBezTo>
                    <a:pt x="-600" y="40799"/>
                    <a:pt x="9443" y="53353"/>
                    <a:pt x="23252" y="53980"/>
                  </a:cubicBezTo>
                  <a:cubicBezTo>
                    <a:pt x="23879" y="53980"/>
                    <a:pt x="23879" y="53980"/>
                    <a:pt x="24507" y="53980"/>
                  </a:cubicBezTo>
                  <a:cubicBezTo>
                    <a:pt x="37689" y="53980"/>
                    <a:pt x="48986" y="42682"/>
                    <a:pt x="49614" y="28246"/>
                  </a:cubicBezTo>
                  <a:cubicBezTo>
                    <a:pt x="50242" y="13181"/>
                    <a:pt x="40199" y="628"/>
                    <a:pt x="26390" y="0"/>
                  </a:cubicBezTo>
                  <a:cubicBezTo>
                    <a:pt x="26390" y="0"/>
                    <a:pt x="25763" y="0"/>
                    <a:pt x="25135" y="0"/>
                  </a:cubicBezTo>
                  <a:lnTo>
                    <a:pt x="25135" y="0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61" name="Forma Livre: Forma 360">
              <a:extLst>
                <a:ext uri="{FF2B5EF4-FFF2-40B4-BE49-F238E27FC236}">
                  <a16:creationId xmlns:a16="http://schemas.microsoft.com/office/drawing/2014/main" id="{2BF5ADA8-216D-4A5D-9E6A-2512FE77E6D7}"/>
                </a:ext>
              </a:extLst>
            </p:cNvPr>
            <p:cNvSpPr/>
            <p:nvPr/>
          </p:nvSpPr>
          <p:spPr>
            <a:xfrm>
              <a:off x="7684358" y="1827748"/>
              <a:ext cx="49642" cy="53980"/>
            </a:xfrm>
            <a:custGeom>
              <a:avLst/>
              <a:gdLst>
                <a:gd name="connsiteX0" fmla="*/ 25135 w 49642"/>
                <a:gd name="connsiteY0" fmla="*/ 0 h 53980"/>
                <a:gd name="connsiteX1" fmla="*/ 28 w 49642"/>
                <a:gd name="connsiteY1" fmla="*/ 25735 h 53980"/>
                <a:gd name="connsiteX2" fmla="*/ 23252 w 49642"/>
                <a:gd name="connsiteY2" fmla="*/ 53980 h 53980"/>
                <a:gd name="connsiteX3" fmla="*/ 24507 w 49642"/>
                <a:gd name="connsiteY3" fmla="*/ 53980 h 53980"/>
                <a:gd name="connsiteX4" fmla="*/ 49615 w 49642"/>
                <a:gd name="connsiteY4" fmla="*/ 28246 h 53980"/>
                <a:gd name="connsiteX5" fmla="*/ 26390 w 49642"/>
                <a:gd name="connsiteY5" fmla="*/ 0 h 53980"/>
                <a:gd name="connsiteX6" fmla="*/ 25135 w 49642"/>
                <a:gd name="connsiteY6" fmla="*/ 0 h 53980"/>
                <a:gd name="connsiteX7" fmla="*/ 25135 w 49642"/>
                <a:gd name="connsiteY7" fmla="*/ 0 h 53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642" h="53980">
                  <a:moveTo>
                    <a:pt x="25135" y="0"/>
                  </a:moveTo>
                  <a:cubicBezTo>
                    <a:pt x="11954" y="0"/>
                    <a:pt x="656" y="11298"/>
                    <a:pt x="28" y="25735"/>
                  </a:cubicBezTo>
                  <a:cubicBezTo>
                    <a:pt x="-600" y="40799"/>
                    <a:pt x="9443" y="53353"/>
                    <a:pt x="23252" y="53980"/>
                  </a:cubicBezTo>
                  <a:cubicBezTo>
                    <a:pt x="23880" y="53980"/>
                    <a:pt x="23880" y="53980"/>
                    <a:pt x="24507" y="53980"/>
                  </a:cubicBezTo>
                  <a:cubicBezTo>
                    <a:pt x="37689" y="53980"/>
                    <a:pt x="48987" y="42682"/>
                    <a:pt x="49615" y="28246"/>
                  </a:cubicBezTo>
                  <a:cubicBezTo>
                    <a:pt x="50242" y="13181"/>
                    <a:pt x="40199" y="628"/>
                    <a:pt x="26390" y="0"/>
                  </a:cubicBezTo>
                  <a:cubicBezTo>
                    <a:pt x="26390" y="0"/>
                    <a:pt x="25763" y="0"/>
                    <a:pt x="25135" y="0"/>
                  </a:cubicBezTo>
                  <a:lnTo>
                    <a:pt x="25135" y="0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62" name="Forma Livre: Forma 361">
              <a:extLst>
                <a:ext uri="{FF2B5EF4-FFF2-40B4-BE49-F238E27FC236}">
                  <a16:creationId xmlns:a16="http://schemas.microsoft.com/office/drawing/2014/main" id="{62478A60-E8A2-48CE-A45B-25FC44362DD5}"/>
                </a:ext>
              </a:extLst>
            </p:cNvPr>
            <p:cNvSpPr/>
            <p:nvPr/>
          </p:nvSpPr>
          <p:spPr>
            <a:xfrm>
              <a:off x="7431460" y="1546577"/>
              <a:ext cx="97860" cy="288075"/>
            </a:xfrm>
            <a:custGeom>
              <a:avLst/>
              <a:gdLst>
                <a:gd name="connsiteX0" fmla="*/ 81569 w 97860"/>
                <a:gd name="connsiteY0" fmla="*/ 288076 h 288075"/>
                <a:gd name="connsiteX1" fmla="*/ 65250 w 97860"/>
                <a:gd name="connsiteY1" fmla="*/ 275522 h 288075"/>
                <a:gd name="connsiteX2" fmla="*/ 599 w 97860"/>
                <a:gd name="connsiteY2" fmla="*/ 20685 h 288075"/>
                <a:gd name="connsiteX3" fmla="*/ 12525 w 97860"/>
                <a:gd name="connsiteY3" fmla="*/ 599 h 288075"/>
                <a:gd name="connsiteX4" fmla="*/ 32611 w 97860"/>
                <a:gd name="connsiteY4" fmla="*/ 12525 h 288075"/>
                <a:gd name="connsiteX5" fmla="*/ 97261 w 97860"/>
                <a:gd name="connsiteY5" fmla="*/ 267363 h 288075"/>
                <a:gd name="connsiteX6" fmla="*/ 85336 w 97860"/>
                <a:gd name="connsiteY6" fmla="*/ 287448 h 288075"/>
                <a:gd name="connsiteX7" fmla="*/ 81569 w 97860"/>
                <a:gd name="connsiteY7" fmla="*/ 288076 h 288075"/>
                <a:gd name="connsiteX8" fmla="*/ 81569 w 97860"/>
                <a:gd name="connsiteY8" fmla="*/ 288076 h 28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7860" h="288075">
                  <a:moveTo>
                    <a:pt x="81569" y="288076"/>
                  </a:moveTo>
                  <a:cubicBezTo>
                    <a:pt x="74037" y="288076"/>
                    <a:pt x="67133" y="283055"/>
                    <a:pt x="65250" y="275522"/>
                  </a:cubicBezTo>
                  <a:lnTo>
                    <a:pt x="599" y="20685"/>
                  </a:lnTo>
                  <a:cubicBezTo>
                    <a:pt x="-1912" y="11897"/>
                    <a:pt x="3738" y="2482"/>
                    <a:pt x="12525" y="599"/>
                  </a:cubicBezTo>
                  <a:cubicBezTo>
                    <a:pt x="21312" y="-1912"/>
                    <a:pt x="30728" y="3738"/>
                    <a:pt x="32611" y="12525"/>
                  </a:cubicBezTo>
                  <a:lnTo>
                    <a:pt x="97261" y="267363"/>
                  </a:lnTo>
                  <a:cubicBezTo>
                    <a:pt x="99772" y="276150"/>
                    <a:pt x="94123" y="285565"/>
                    <a:pt x="85336" y="287448"/>
                  </a:cubicBezTo>
                  <a:cubicBezTo>
                    <a:pt x="84080" y="288076"/>
                    <a:pt x="82825" y="288076"/>
                    <a:pt x="81569" y="288076"/>
                  </a:cubicBezTo>
                  <a:lnTo>
                    <a:pt x="81569" y="288076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63" name="Forma Livre: Forma 362">
              <a:extLst>
                <a:ext uri="{FF2B5EF4-FFF2-40B4-BE49-F238E27FC236}">
                  <a16:creationId xmlns:a16="http://schemas.microsoft.com/office/drawing/2014/main" id="{469EA1DC-8C54-410B-AAC2-887E9100D8EF}"/>
                </a:ext>
              </a:extLst>
            </p:cNvPr>
            <p:cNvSpPr/>
            <p:nvPr/>
          </p:nvSpPr>
          <p:spPr>
            <a:xfrm>
              <a:off x="7470170" y="1791971"/>
              <a:ext cx="100850" cy="146876"/>
            </a:xfrm>
            <a:custGeom>
              <a:avLst/>
              <a:gdLst>
                <a:gd name="connsiteX0" fmla="*/ 69222 w 100850"/>
                <a:gd name="connsiteY0" fmla="*/ 146877 h 146876"/>
                <a:gd name="connsiteX1" fmla="*/ 69222 w 100850"/>
                <a:gd name="connsiteY1" fmla="*/ 146877 h 146876"/>
                <a:gd name="connsiteX2" fmla="*/ 61062 w 100850"/>
                <a:gd name="connsiteY2" fmla="*/ 139345 h 146876"/>
                <a:gd name="connsiteX3" fmla="*/ 35327 w 100850"/>
                <a:gd name="connsiteY3" fmla="*/ 113610 h 146876"/>
                <a:gd name="connsiteX4" fmla="*/ 1433 w 100850"/>
                <a:gd name="connsiteY4" fmla="*/ 67789 h 146876"/>
                <a:gd name="connsiteX5" fmla="*/ 11475 w 100850"/>
                <a:gd name="connsiteY5" fmla="*/ 21341 h 146876"/>
                <a:gd name="connsiteX6" fmla="*/ 52274 w 100850"/>
                <a:gd name="connsiteY6" fmla="*/ 0 h 146876"/>
                <a:gd name="connsiteX7" fmla="*/ 83658 w 100850"/>
                <a:gd name="connsiteY7" fmla="*/ 13181 h 146876"/>
                <a:gd name="connsiteX8" fmla="*/ 91191 w 100850"/>
                <a:gd name="connsiteY8" fmla="*/ 91641 h 146876"/>
                <a:gd name="connsiteX9" fmla="*/ 78010 w 100850"/>
                <a:gd name="connsiteY9" fmla="*/ 139972 h 146876"/>
                <a:gd name="connsiteX10" fmla="*/ 69222 w 100850"/>
                <a:gd name="connsiteY10" fmla="*/ 146877 h 146876"/>
                <a:gd name="connsiteX11" fmla="*/ 69222 w 100850"/>
                <a:gd name="connsiteY11" fmla="*/ 146877 h 146876"/>
                <a:gd name="connsiteX12" fmla="*/ 52274 w 100850"/>
                <a:gd name="connsiteY12" fmla="*/ 16320 h 146876"/>
                <a:gd name="connsiteX13" fmla="*/ 24657 w 100850"/>
                <a:gd name="connsiteY13" fmla="*/ 31384 h 146876"/>
                <a:gd name="connsiteX14" fmla="*/ 17752 w 100850"/>
                <a:gd name="connsiteY14" fmla="*/ 64023 h 146876"/>
                <a:gd name="connsiteX15" fmla="*/ 43487 w 100850"/>
                <a:gd name="connsiteY15" fmla="*/ 98546 h 146876"/>
                <a:gd name="connsiteX16" fmla="*/ 65456 w 100850"/>
                <a:gd name="connsiteY16" fmla="*/ 114865 h 146876"/>
                <a:gd name="connsiteX17" fmla="*/ 75499 w 100850"/>
                <a:gd name="connsiteY17" fmla="*/ 85364 h 146876"/>
                <a:gd name="connsiteX18" fmla="*/ 71733 w 100850"/>
                <a:gd name="connsiteY18" fmla="*/ 24479 h 146876"/>
                <a:gd name="connsiteX19" fmla="*/ 52274 w 100850"/>
                <a:gd name="connsiteY19" fmla="*/ 16320 h 146876"/>
                <a:gd name="connsiteX20" fmla="*/ 52274 w 100850"/>
                <a:gd name="connsiteY20" fmla="*/ 16320 h 146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0850" h="146876">
                  <a:moveTo>
                    <a:pt x="69222" y="146877"/>
                  </a:moveTo>
                  <a:cubicBezTo>
                    <a:pt x="69222" y="146877"/>
                    <a:pt x="69222" y="146877"/>
                    <a:pt x="69222" y="146877"/>
                  </a:cubicBezTo>
                  <a:cubicBezTo>
                    <a:pt x="64828" y="146877"/>
                    <a:pt x="61690" y="143738"/>
                    <a:pt x="61062" y="139345"/>
                  </a:cubicBezTo>
                  <a:cubicBezTo>
                    <a:pt x="61062" y="138717"/>
                    <a:pt x="58551" y="125536"/>
                    <a:pt x="35327" y="113610"/>
                  </a:cubicBezTo>
                  <a:cubicBezTo>
                    <a:pt x="19008" y="104822"/>
                    <a:pt x="5199" y="86620"/>
                    <a:pt x="1433" y="67789"/>
                  </a:cubicBezTo>
                  <a:cubicBezTo>
                    <a:pt x="-2334" y="50842"/>
                    <a:pt x="1433" y="34522"/>
                    <a:pt x="11475" y="21341"/>
                  </a:cubicBezTo>
                  <a:cubicBezTo>
                    <a:pt x="22146" y="7532"/>
                    <a:pt x="36582" y="0"/>
                    <a:pt x="52274" y="0"/>
                  </a:cubicBezTo>
                  <a:cubicBezTo>
                    <a:pt x="64201" y="0"/>
                    <a:pt x="75499" y="5021"/>
                    <a:pt x="83658" y="13181"/>
                  </a:cubicBezTo>
                  <a:cubicBezTo>
                    <a:pt x="110021" y="40799"/>
                    <a:pt x="100606" y="65279"/>
                    <a:pt x="91191" y="91641"/>
                  </a:cubicBezTo>
                  <a:cubicBezTo>
                    <a:pt x="86169" y="105450"/>
                    <a:pt x="79892" y="121142"/>
                    <a:pt x="78010" y="139972"/>
                  </a:cubicBezTo>
                  <a:cubicBezTo>
                    <a:pt x="77382" y="143738"/>
                    <a:pt x="73616" y="146877"/>
                    <a:pt x="69222" y="146877"/>
                  </a:cubicBezTo>
                  <a:lnTo>
                    <a:pt x="69222" y="146877"/>
                  </a:lnTo>
                  <a:close/>
                  <a:moveTo>
                    <a:pt x="52274" y="16320"/>
                  </a:moveTo>
                  <a:cubicBezTo>
                    <a:pt x="41604" y="16320"/>
                    <a:pt x="32189" y="21341"/>
                    <a:pt x="24657" y="31384"/>
                  </a:cubicBezTo>
                  <a:cubicBezTo>
                    <a:pt x="15869" y="42682"/>
                    <a:pt x="15869" y="55236"/>
                    <a:pt x="17752" y="64023"/>
                  </a:cubicBezTo>
                  <a:cubicBezTo>
                    <a:pt x="20891" y="78460"/>
                    <a:pt x="30934" y="92269"/>
                    <a:pt x="43487" y="98546"/>
                  </a:cubicBezTo>
                  <a:cubicBezTo>
                    <a:pt x="53530" y="103567"/>
                    <a:pt x="60434" y="109216"/>
                    <a:pt x="65456" y="114865"/>
                  </a:cubicBezTo>
                  <a:cubicBezTo>
                    <a:pt x="68594" y="104195"/>
                    <a:pt x="71733" y="94152"/>
                    <a:pt x="75499" y="85364"/>
                  </a:cubicBezTo>
                  <a:cubicBezTo>
                    <a:pt x="84914" y="60257"/>
                    <a:pt x="90563" y="44565"/>
                    <a:pt x="71733" y="24479"/>
                  </a:cubicBezTo>
                  <a:cubicBezTo>
                    <a:pt x="66711" y="19458"/>
                    <a:pt x="59807" y="16320"/>
                    <a:pt x="52274" y="16320"/>
                  </a:cubicBezTo>
                  <a:lnTo>
                    <a:pt x="52274" y="16320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64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8475888" y="1549687"/>
            <a:ext cx="362798" cy="392926"/>
            <a:chOff x="8475888" y="1549687"/>
            <a:chExt cx="362798" cy="392926"/>
          </a:xfrm>
          <a:solidFill>
            <a:srgbClr val="B1B1A1"/>
          </a:solidFill>
        </p:grpSpPr>
        <p:sp>
          <p:nvSpPr>
            <p:cNvPr id="365" name="Forma Livre: Forma 364">
              <a:extLst>
                <a:ext uri="{FF2B5EF4-FFF2-40B4-BE49-F238E27FC236}">
                  <a16:creationId xmlns:a16="http://schemas.microsoft.com/office/drawing/2014/main" id="{551EFB2B-DD3B-458C-8854-9DE3F481724D}"/>
                </a:ext>
              </a:extLst>
            </p:cNvPr>
            <p:cNvSpPr/>
            <p:nvPr/>
          </p:nvSpPr>
          <p:spPr>
            <a:xfrm>
              <a:off x="8475888" y="1549687"/>
              <a:ext cx="362798" cy="343967"/>
            </a:xfrm>
            <a:custGeom>
              <a:avLst/>
              <a:gdLst>
                <a:gd name="connsiteX0" fmla="*/ 346479 w 362798"/>
                <a:gd name="connsiteY0" fmla="*/ 343968 h 343967"/>
                <a:gd name="connsiteX1" fmla="*/ 16948 w 362798"/>
                <a:gd name="connsiteY1" fmla="*/ 343968 h 343967"/>
                <a:gd name="connsiteX2" fmla="*/ 0 w 362798"/>
                <a:gd name="connsiteY2" fmla="*/ 327021 h 343967"/>
                <a:gd name="connsiteX3" fmla="*/ 0 w 362798"/>
                <a:gd name="connsiteY3" fmla="*/ 116748 h 343967"/>
                <a:gd name="connsiteX4" fmla="*/ 116749 w 362798"/>
                <a:gd name="connsiteY4" fmla="*/ 0 h 343967"/>
                <a:gd name="connsiteX5" fmla="*/ 246051 w 362798"/>
                <a:gd name="connsiteY5" fmla="*/ 0 h 343967"/>
                <a:gd name="connsiteX6" fmla="*/ 362799 w 362798"/>
                <a:gd name="connsiteY6" fmla="*/ 116748 h 343967"/>
                <a:gd name="connsiteX7" fmla="*/ 362799 w 362798"/>
                <a:gd name="connsiteY7" fmla="*/ 327021 h 343967"/>
                <a:gd name="connsiteX8" fmla="*/ 346479 w 362798"/>
                <a:gd name="connsiteY8" fmla="*/ 343968 h 343967"/>
                <a:gd name="connsiteX9" fmla="*/ 346479 w 362798"/>
                <a:gd name="connsiteY9" fmla="*/ 343968 h 343967"/>
                <a:gd name="connsiteX10" fmla="*/ 33267 w 362798"/>
                <a:gd name="connsiteY10" fmla="*/ 310701 h 343967"/>
                <a:gd name="connsiteX11" fmla="*/ 329531 w 362798"/>
                <a:gd name="connsiteY11" fmla="*/ 310701 h 343967"/>
                <a:gd name="connsiteX12" fmla="*/ 329531 w 362798"/>
                <a:gd name="connsiteY12" fmla="*/ 117376 h 343967"/>
                <a:gd name="connsiteX13" fmla="*/ 246051 w 362798"/>
                <a:gd name="connsiteY13" fmla="*/ 33895 h 343967"/>
                <a:gd name="connsiteX14" fmla="*/ 116749 w 362798"/>
                <a:gd name="connsiteY14" fmla="*/ 33895 h 343967"/>
                <a:gd name="connsiteX15" fmla="*/ 33267 w 362798"/>
                <a:gd name="connsiteY15" fmla="*/ 117376 h 343967"/>
                <a:gd name="connsiteX16" fmla="*/ 33267 w 362798"/>
                <a:gd name="connsiteY16" fmla="*/ 310701 h 343967"/>
                <a:gd name="connsiteX17" fmla="*/ 33267 w 362798"/>
                <a:gd name="connsiteY17" fmla="*/ 310701 h 3439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62798" h="343967">
                  <a:moveTo>
                    <a:pt x="346479" y="343968"/>
                  </a:moveTo>
                  <a:lnTo>
                    <a:pt x="16948" y="343968"/>
                  </a:lnTo>
                  <a:cubicBezTo>
                    <a:pt x="7533" y="343968"/>
                    <a:pt x="0" y="336436"/>
                    <a:pt x="0" y="327021"/>
                  </a:cubicBezTo>
                  <a:lnTo>
                    <a:pt x="0" y="116748"/>
                  </a:lnTo>
                  <a:cubicBezTo>
                    <a:pt x="0" y="52097"/>
                    <a:pt x="52725" y="0"/>
                    <a:pt x="116749" y="0"/>
                  </a:cubicBezTo>
                  <a:lnTo>
                    <a:pt x="246051" y="0"/>
                  </a:lnTo>
                  <a:cubicBezTo>
                    <a:pt x="310701" y="0"/>
                    <a:pt x="362799" y="52725"/>
                    <a:pt x="362799" y="116748"/>
                  </a:cubicBezTo>
                  <a:lnTo>
                    <a:pt x="362799" y="327021"/>
                  </a:lnTo>
                  <a:cubicBezTo>
                    <a:pt x="362799" y="336436"/>
                    <a:pt x="355267" y="343968"/>
                    <a:pt x="346479" y="343968"/>
                  </a:cubicBezTo>
                  <a:lnTo>
                    <a:pt x="346479" y="343968"/>
                  </a:lnTo>
                  <a:close/>
                  <a:moveTo>
                    <a:pt x="33267" y="310701"/>
                  </a:moveTo>
                  <a:lnTo>
                    <a:pt x="329531" y="310701"/>
                  </a:lnTo>
                  <a:lnTo>
                    <a:pt x="329531" y="117376"/>
                  </a:lnTo>
                  <a:cubicBezTo>
                    <a:pt x="329531" y="71555"/>
                    <a:pt x="291871" y="33895"/>
                    <a:pt x="246051" y="33895"/>
                  </a:cubicBezTo>
                  <a:lnTo>
                    <a:pt x="116749" y="33895"/>
                  </a:lnTo>
                  <a:cubicBezTo>
                    <a:pt x="70928" y="33895"/>
                    <a:pt x="33267" y="71555"/>
                    <a:pt x="33267" y="117376"/>
                  </a:cubicBezTo>
                  <a:lnTo>
                    <a:pt x="33267" y="310701"/>
                  </a:lnTo>
                  <a:lnTo>
                    <a:pt x="33267" y="310701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366" name="Gráfico 2">
              <a:extLst>
                <a:ext uri="{FF2B5EF4-FFF2-40B4-BE49-F238E27FC236}">
                  <a16:creationId xmlns:a16="http://schemas.microsoft.com/office/drawing/2014/main" id="{83F95F55-5D1D-4425-8D77-756B15108235}"/>
                </a:ext>
              </a:extLst>
            </p:cNvPr>
            <p:cNvGrpSpPr/>
            <p:nvPr/>
          </p:nvGrpSpPr>
          <p:grpSpPr>
            <a:xfrm>
              <a:off x="8509783" y="1876079"/>
              <a:ext cx="296264" cy="66533"/>
              <a:chOff x="8509783" y="1876079"/>
              <a:chExt cx="296264" cy="66533"/>
            </a:xfrm>
            <a:grpFill/>
          </p:grpSpPr>
          <p:sp>
            <p:nvSpPr>
              <p:cNvPr id="367" name="Forma Livre: Forma 366">
                <a:extLst>
                  <a:ext uri="{FF2B5EF4-FFF2-40B4-BE49-F238E27FC236}">
                    <a16:creationId xmlns:a16="http://schemas.microsoft.com/office/drawing/2014/main" id="{4EF0443B-FD01-4FAC-BD13-DA549E9D0809}"/>
                  </a:ext>
                </a:extLst>
              </p:cNvPr>
              <p:cNvSpPr/>
              <p:nvPr/>
            </p:nvSpPr>
            <p:spPr>
              <a:xfrm>
                <a:off x="8509783" y="1876079"/>
                <a:ext cx="101684" cy="66533"/>
              </a:xfrm>
              <a:custGeom>
                <a:avLst/>
                <a:gdLst>
                  <a:gd name="connsiteX0" fmla="*/ 50214 w 101684"/>
                  <a:gd name="connsiteY0" fmla="*/ 66534 h 66533"/>
                  <a:gd name="connsiteX1" fmla="*/ 0 w 101684"/>
                  <a:gd name="connsiteY1" fmla="*/ 39544 h 66533"/>
                  <a:gd name="connsiteX2" fmla="*/ 0 w 101684"/>
                  <a:gd name="connsiteY2" fmla="*/ 16947 h 66533"/>
                  <a:gd name="connsiteX3" fmla="*/ 16948 w 101684"/>
                  <a:gd name="connsiteY3" fmla="*/ 0 h 66533"/>
                  <a:gd name="connsiteX4" fmla="*/ 33895 w 101684"/>
                  <a:gd name="connsiteY4" fmla="*/ 16947 h 66533"/>
                  <a:gd name="connsiteX5" fmla="*/ 33895 w 101684"/>
                  <a:gd name="connsiteY5" fmla="*/ 32012 h 66533"/>
                  <a:gd name="connsiteX6" fmla="*/ 50842 w 101684"/>
                  <a:gd name="connsiteY6" fmla="*/ 33895 h 66533"/>
                  <a:gd name="connsiteX7" fmla="*/ 67790 w 101684"/>
                  <a:gd name="connsiteY7" fmla="*/ 32012 h 66533"/>
                  <a:gd name="connsiteX8" fmla="*/ 67790 w 101684"/>
                  <a:gd name="connsiteY8" fmla="*/ 16947 h 66533"/>
                  <a:gd name="connsiteX9" fmla="*/ 84737 w 101684"/>
                  <a:gd name="connsiteY9" fmla="*/ 0 h 66533"/>
                  <a:gd name="connsiteX10" fmla="*/ 101684 w 101684"/>
                  <a:gd name="connsiteY10" fmla="*/ 16947 h 66533"/>
                  <a:gd name="connsiteX11" fmla="*/ 101684 w 101684"/>
                  <a:gd name="connsiteY11" fmla="*/ 39544 h 66533"/>
                  <a:gd name="connsiteX12" fmla="*/ 50214 w 101684"/>
                  <a:gd name="connsiteY12" fmla="*/ 66534 h 66533"/>
                  <a:gd name="connsiteX13" fmla="*/ 50214 w 101684"/>
                  <a:gd name="connsiteY13" fmla="*/ 66534 h 665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01684" h="66533">
                    <a:moveTo>
                      <a:pt x="50214" y="66534"/>
                    </a:moveTo>
                    <a:cubicBezTo>
                      <a:pt x="18830" y="66534"/>
                      <a:pt x="0" y="56491"/>
                      <a:pt x="0" y="39544"/>
                    </a:cubicBezTo>
                    <a:lnTo>
                      <a:pt x="0" y="16947"/>
                    </a:lnTo>
                    <a:cubicBezTo>
                      <a:pt x="0" y="7532"/>
                      <a:pt x="7533" y="0"/>
                      <a:pt x="16948" y="0"/>
                    </a:cubicBezTo>
                    <a:cubicBezTo>
                      <a:pt x="26363" y="0"/>
                      <a:pt x="33895" y="7532"/>
                      <a:pt x="33895" y="16947"/>
                    </a:cubicBezTo>
                    <a:lnTo>
                      <a:pt x="33895" y="32012"/>
                    </a:lnTo>
                    <a:cubicBezTo>
                      <a:pt x="37661" y="32639"/>
                      <a:pt x="43310" y="33895"/>
                      <a:pt x="50842" y="33895"/>
                    </a:cubicBezTo>
                    <a:cubicBezTo>
                      <a:pt x="58374" y="33895"/>
                      <a:pt x="64024" y="33267"/>
                      <a:pt x="67790" y="32012"/>
                    </a:cubicBezTo>
                    <a:lnTo>
                      <a:pt x="67790" y="16947"/>
                    </a:lnTo>
                    <a:cubicBezTo>
                      <a:pt x="67790" y="7532"/>
                      <a:pt x="75321" y="0"/>
                      <a:pt x="84737" y="0"/>
                    </a:cubicBezTo>
                    <a:cubicBezTo>
                      <a:pt x="94152" y="0"/>
                      <a:pt x="101684" y="7532"/>
                      <a:pt x="101684" y="16947"/>
                    </a:cubicBezTo>
                    <a:lnTo>
                      <a:pt x="101684" y="39544"/>
                    </a:lnTo>
                    <a:cubicBezTo>
                      <a:pt x="100429" y="56491"/>
                      <a:pt x="81598" y="66534"/>
                      <a:pt x="50214" y="66534"/>
                    </a:cubicBezTo>
                    <a:lnTo>
                      <a:pt x="50214" y="66534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68" name="Forma Livre: Forma 367">
                <a:extLst>
                  <a:ext uri="{FF2B5EF4-FFF2-40B4-BE49-F238E27FC236}">
                    <a16:creationId xmlns:a16="http://schemas.microsoft.com/office/drawing/2014/main" id="{66D8DB77-9366-45F0-B4C0-3765B5B595AB}"/>
                  </a:ext>
                </a:extLst>
              </p:cNvPr>
              <p:cNvSpPr/>
              <p:nvPr/>
            </p:nvSpPr>
            <p:spPr>
              <a:xfrm>
                <a:off x="8704364" y="1876079"/>
                <a:ext cx="101684" cy="66533"/>
              </a:xfrm>
              <a:custGeom>
                <a:avLst/>
                <a:gdLst>
                  <a:gd name="connsiteX0" fmla="*/ 50214 w 101684"/>
                  <a:gd name="connsiteY0" fmla="*/ 66534 h 66533"/>
                  <a:gd name="connsiteX1" fmla="*/ 0 w 101684"/>
                  <a:gd name="connsiteY1" fmla="*/ 39544 h 66533"/>
                  <a:gd name="connsiteX2" fmla="*/ 0 w 101684"/>
                  <a:gd name="connsiteY2" fmla="*/ 16947 h 66533"/>
                  <a:gd name="connsiteX3" fmla="*/ 16948 w 101684"/>
                  <a:gd name="connsiteY3" fmla="*/ 0 h 66533"/>
                  <a:gd name="connsiteX4" fmla="*/ 33895 w 101684"/>
                  <a:gd name="connsiteY4" fmla="*/ 16947 h 66533"/>
                  <a:gd name="connsiteX5" fmla="*/ 33895 w 101684"/>
                  <a:gd name="connsiteY5" fmla="*/ 32012 h 66533"/>
                  <a:gd name="connsiteX6" fmla="*/ 50842 w 101684"/>
                  <a:gd name="connsiteY6" fmla="*/ 33895 h 66533"/>
                  <a:gd name="connsiteX7" fmla="*/ 67790 w 101684"/>
                  <a:gd name="connsiteY7" fmla="*/ 32012 h 66533"/>
                  <a:gd name="connsiteX8" fmla="*/ 67790 w 101684"/>
                  <a:gd name="connsiteY8" fmla="*/ 16947 h 66533"/>
                  <a:gd name="connsiteX9" fmla="*/ 84737 w 101684"/>
                  <a:gd name="connsiteY9" fmla="*/ 0 h 66533"/>
                  <a:gd name="connsiteX10" fmla="*/ 101684 w 101684"/>
                  <a:gd name="connsiteY10" fmla="*/ 16947 h 66533"/>
                  <a:gd name="connsiteX11" fmla="*/ 101684 w 101684"/>
                  <a:gd name="connsiteY11" fmla="*/ 39544 h 66533"/>
                  <a:gd name="connsiteX12" fmla="*/ 50214 w 101684"/>
                  <a:gd name="connsiteY12" fmla="*/ 66534 h 66533"/>
                  <a:gd name="connsiteX13" fmla="*/ 50214 w 101684"/>
                  <a:gd name="connsiteY13" fmla="*/ 66534 h 665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01684" h="66533">
                    <a:moveTo>
                      <a:pt x="50214" y="66534"/>
                    </a:moveTo>
                    <a:cubicBezTo>
                      <a:pt x="18830" y="66534"/>
                      <a:pt x="0" y="56491"/>
                      <a:pt x="0" y="39544"/>
                    </a:cubicBezTo>
                    <a:lnTo>
                      <a:pt x="0" y="16947"/>
                    </a:lnTo>
                    <a:cubicBezTo>
                      <a:pt x="0" y="7532"/>
                      <a:pt x="7533" y="0"/>
                      <a:pt x="16948" y="0"/>
                    </a:cubicBezTo>
                    <a:cubicBezTo>
                      <a:pt x="26363" y="0"/>
                      <a:pt x="33895" y="7532"/>
                      <a:pt x="33895" y="16947"/>
                    </a:cubicBezTo>
                    <a:lnTo>
                      <a:pt x="33895" y="32012"/>
                    </a:lnTo>
                    <a:cubicBezTo>
                      <a:pt x="37661" y="32639"/>
                      <a:pt x="43310" y="33895"/>
                      <a:pt x="50842" y="33895"/>
                    </a:cubicBezTo>
                    <a:cubicBezTo>
                      <a:pt x="58374" y="33895"/>
                      <a:pt x="64024" y="33267"/>
                      <a:pt x="67790" y="32012"/>
                    </a:cubicBezTo>
                    <a:lnTo>
                      <a:pt x="67790" y="16947"/>
                    </a:lnTo>
                    <a:cubicBezTo>
                      <a:pt x="67790" y="7532"/>
                      <a:pt x="75321" y="0"/>
                      <a:pt x="84737" y="0"/>
                    </a:cubicBezTo>
                    <a:cubicBezTo>
                      <a:pt x="94152" y="0"/>
                      <a:pt x="101684" y="7532"/>
                      <a:pt x="101684" y="16947"/>
                    </a:cubicBezTo>
                    <a:lnTo>
                      <a:pt x="101684" y="39544"/>
                    </a:lnTo>
                    <a:cubicBezTo>
                      <a:pt x="100429" y="56491"/>
                      <a:pt x="81598" y="66534"/>
                      <a:pt x="50214" y="66534"/>
                    </a:cubicBezTo>
                    <a:lnTo>
                      <a:pt x="50214" y="66534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369" name="Forma Livre: Forma 368">
              <a:extLst>
                <a:ext uri="{FF2B5EF4-FFF2-40B4-BE49-F238E27FC236}">
                  <a16:creationId xmlns:a16="http://schemas.microsoft.com/office/drawing/2014/main" id="{72BC6190-C638-4F9E-B5CB-DD6130DD2678}"/>
                </a:ext>
              </a:extLst>
            </p:cNvPr>
            <p:cNvSpPr/>
            <p:nvPr/>
          </p:nvSpPr>
          <p:spPr>
            <a:xfrm>
              <a:off x="8559997" y="1598646"/>
              <a:ext cx="195207" cy="33894"/>
            </a:xfrm>
            <a:custGeom>
              <a:avLst/>
              <a:gdLst>
                <a:gd name="connsiteX0" fmla="*/ 178261 w 195207"/>
                <a:gd name="connsiteY0" fmla="*/ 33895 h 33894"/>
                <a:gd name="connsiteX1" fmla="*/ 16948 w 195207"/>
                <a:gd name="connsiteY1" fmla="*/ 33895 h 33894"/>
                <a:gd name="connsiteX2" fmla="*/ 0 w 195207"/>
                <a:gd name="connsiteY2" fmla="*/ 16947 h 33894"/>
                <a:gd name="connsiteX3" fmla="*/ 16948 w 195207"/>
                <a:gd name="connsiteY3" fmla="*/ 0 h 33894"/>
                <a:gd name="connsiteX4" fmla="*/ 178261 w 195207"/>
                <a:gd name="connsiteY4" fmla="*/ 0 h 33894"/>
                <a:gd name="connsiteX5" fmla="*/ 195208 w 195207"/>
                <a:gd name="connsiteY5" fmla="*/ 16947 h 33894"/>
                <a:gd name="connsiteX6" fmla="*/ 178261 w 195207"/>
                <a:gd name="connsiteY6" fmla="*/ 33895 h 33894"/>
                <a:gd name="connsiteX7" fmla="*/ 178261 w 195207"/>
                <a:gd name="connsiteY7" fmla="*/ 33895 h 3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5207" h="33894">
                  <a:moveTo>
                    <a:pt x="178261" y="33895"/>
                  </a:moveTo>
                  <a:lnTo>
                    <a:pt x="16948" y="33895"/>
                  </a:lnTo>
                  <a:cubicBezTo>
                    <a:pt x="7533" y="33895"/>
                    <a:pt x="0" y="26362"/>
                    <a:pt x="0" y="16947"/>
                  </a:cubicBezTo>
                  <a:cubicBezTo>
                    <a:pt x="0" y="7532"/>
                    <a:pt x="7533" y="0"/>
                    <a:pt x="16948" y="0"/>
                  </a:cubicBezTo>
                  <a:lnTo>
                    <a:pt x="178261" y="0"/>
                  </a:lnTo>
                  <a:cubicBezTo>
                    <a:pt x="187676" y="0"/>
                    <a:pt x="195208" y="7532"/>
                    <a:pt x="195208" y="16947"/>
                  </a:cubicBezTo>
                  <a:cubicBezTo>
                    <a:pt x="194580" y="26362"/>
                    <a:pt x="187049" y="33895"/>
                    <a:pt x="178261" y="33895"/>
                  </a:cubicBezTo>
                  <a:lnTo>
                    <a:pt x="178261" y="33895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370" name="Gráfico 2">
              <a:extLst>
                <a:ext uri="{FF2B5EF4-FFF2-40B4-BE49-F238E27FC236}">
                  <a16:creationId xmlns:a16="http://schemas.microsoft.com/office/drawing/2014/main" id="{83F95F55-5D1D-4425-8D77-756B15108235}"/>
                </a:ext>
              </a:extLst>
            </p:cNvPr>
            <p:cNvGrpSpPr/>
            <p:nvPr/>
          </p:nvGrpSpPr>
          <p:grpSpPr>
            <a:xfrm>
              <a:off x="8553093" y="1776906"/>
              <a:ext cx="208389" cy="50214"/>
              <a:chOff x="8553093" y="1776906"/>
              <a:chExt cx="208389" cy="50214"/>
            </a:xfrm>
            <a:grpFill/>
          </p:grpSpPr>
          <p:sp>
            <p:nvSpPr>
              <p:cNvPr id="371" name="Forma Livre: Forma 370">
                <a:extLst>
                  <a:ext uri="{FF2B5EF4-FFF2-40B4-BE49-F238E27FC236}">
                    <a16:creationId xmlns:a16="http://schemas.microsoft.com/office/drawing/2014/main" id="{0FC33945-D8E5-49CA-B1DA-C1BA9DD7F223}"/>
                  </a:ext>
                </a:extLst>
              </p:cNvPr>
              <p:cNvSpPr/>
              <p:nvPr/>
            </p:nvSpPr>
            <p:spPr>
              <a:xfrm>
                <a:off x="8553093" y="1776906"/>
                <a:ext cx="50214" cy="50214"/>
              </a:xfrm>
              <a:custGeom>
                <a:avLst/>
                <a:gdLst>
                  <a:gd name="connsiteX0" fmla="*/ 25107 w 50214"/>
                  <a:gd name="connsiteY0" fmla="*/ 0 h 50214"/>
                  <a:gd name="connsiteX1" fmla="*/ 0 w 50214"/>
                  <a:gd name="connsiteY1" fmla="*/ 25107 h 50214"/>
                  <a:gd name="connsiteX2" fmla="*/ 25107 w 50214"/>
                  <a:gd name="connsiteY2" fmla="*/ 50214 h 50214"/>
                  <a:gd name="connsiteX3" fmla="*/ 50214 w 50214"/>
                  <a:gd name="connsiteY3" fmla="*/ 25107 h 50214"/>
                  <a:gd name="connsiteX4" fmla="*/ 25107 w 50214"/>
                  <a:gd name="connsiteY4" fmla="*/ 0 h 50214"/>
                  <a:gd name="connsiteX5" fmla="*/ 25107 w 50214"/>
                  <a:gd name="connsiteY5" fmla="*/ 0 h 502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214" h="50214">
                    <a:moveTo>
                      <a:pt x="25107" y="0"/>
                    </a:moveTo>
                    <a:cubicBezTo>
                      <a:pt x="11299" y="0"/>
                      <a:pt x="0" y="11298"/>
                      <a:pt x="0" y="25107"/>
                    </a:cubicBezTo>
                    <a:cubicBezTo>
                      <a:pt x="0" y="38916"/>
                      <a:pt x="11299" y="50214"/>
                      <a:pt x="25107" y="50214"/>
                    </a:cubicBezTo>
                    <a:cubicBezTo>
                      <a:pt x="38916" y="50214"/>
                      <a:pt x="50214" y="38916"/>
                      <a:pt x="50214" y="25107"/>
                    </a:cubicBezTo>
                    <a:cubicBezTo>
                      <a:pt x="50214" y="11298"/>
                      <a:pt x="38916" y="0"/>
                      <a:pt x="25107" y="0"/>
                    </a:cubicBezTo>
                    <a:lnTo>
                      <a:pt x="25107" y="0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72" name="Forma Livre: Forma 371">
                <a:extLst>
                  <a:ext uri="{FF2B5EF4-FFF2-40B4-BE49-F238E27FC236}">
                    <a16:creationId xmlns:a16="http://schemas.microsoft.com/office/drawing/2014/main" id="{B0A12EAF-BC86-4A5D-B11E-93CCC109BDF0}"/>
                  </a:ext>
                </a:extLst>
              </p:cNvPr>
              <p:cNvSpPr/>
              <p:nvPr/>
            </p:nvSpPr>
            <p:spPr>
              <a:xfrm>
                <a:off x="8711268" y="1776906"/>
                <a:ext cx="50214" cy="50214"/>
              </a:xfrm>
              <a:custGeom>
                <a:avLst/>
                <a:gdLst>
                  <a:gd name="connsiteX0" fmla="*/ 25107 w 50214"/>
                  <a:gd name="connsiteY0" fmla="*/ 0 h 50214"/>
                  <a:gd name="connsiteX1" fmla="*/ 0 w 50214"/>
                  <a:gd name="connsiteY1" fmla="*/ 25107 h 50214"/>
                  <a:gd name="connsiteX2" fmla="*/ 25107 w 50214"/>
                  <a:gd name="connsiteY2" fmla="*/ 50214 h 50214"/>
                  <a:gd name="connsiteX3" fmla="*/ 50214 w 50214"/>
                  <a:gd name="connsiteY3" fmla="*/ 25107 h 50214"/>
                  <a:gd name="connsiteX4" fmla="*/ 25107 w 50214"/>
                  <a:gd name="connsiteY4" fmla="*/ 0 h 50214"/>
                  <a:gd name="connsiteX5" fmla="*/ 25107 w 50214"/>
                  <a:gd name="connsiteY5" fmla="*/ 0 h 502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214" h="50214">
                    <a:moveTo>
                      <a:pt x="25107" y="0"/>
                    </a:moveTo>
                    <a:cubicBezTo>
                      <a:pt x="11299" y="0"/>
                      <a:pt x="0" y="11298"/>
                      <a:pt x="0" y="25107"/>
                    </a:cubicBezTo>
                    <a:cubicBezTo>
                      <a:pt x="0" y="38916"/>
                      <a:pt x="11299" y="50214"/>
                      <a:pt x="25107" y="50214"/>
                    </a:cubicBezTo>
                    <a:cubicBezTo>
                      <a:pt x="38917" y="50214"/>
                      <a:pt x="50214" y="38916"/>
                      <a:pt x="50214" y="25107"/>
                    </a:cubicBezTo>
                    <a:cubicBezTo>
                      <a:pt x="50214" y="11298"/>
                      <a:pt x="38917" y="0"/>
                      <a:pt x="25107" y="0"/>
                    </a:cubicBezTo>
                    <a:lnTo>
                      <a:pt x="25107" y="0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373" name="Forma Livre: Forma 372">
              <a:extLst>
                <a:ext uri="{FF2B5EF4-FFF2-40B4-BE49-F238E27FC236}">
                  <a16:creationId xmlns:a16="http://schemas.microsoft.com/office/drawing/2014/main" id="{DBF97BBB-8595-46D1-A35C-C49BAFEB2C8E}"/>
                </a:ext>
              </a:extLst>
            </p:cNvPr>
            <p:cNvSpPr/>
            <p:nvPr/>
          </p:nvSpPr>
          <p:spPr>
            <a:xfrm>
              <a:off x="8517316" y="1641955"/>
              <a:ext cx="279944" cy="123025"/>
            </a:xfrm>
            <a:custGeom>
              <a:avLst/>
              <a:gdLst>
                <a:gd name="connsiteX0" fmla="*/ 254837 w 279944"/>
                <a:gd name="connsiteY0" fmla="*/ 123025 h 123025"/>
                <a:gd name="connsiteX1" fmla="*/ 25107 w 279944"/>
                <a:gd name="connsiteY1" fmla="*/ 123025 h 123025"/>
                <a:gd name="connsiteX2" fmla="*/ 0 w 279944"/>
                <a:gd name="connsiteY2" fmla="*/ 97918 h 123025"/>
                <a:gd name="connsiteX3" fmla="*/ 0 w 279944"/>
                <a:gd name="connsiteY3" fmla="*/ 25107 h 123025"/>
                <a:gd name="connsiteX4" fmla="*/ 25107 w 279944"/>
                <a:gd name="connsiteY4" fmla="*/ 0 h 123025"/>
                <a:gd name="connsiteX5" fmla="*/ 254837 w 279944"/>
                <a:gd name="connsiteY5" fmla="*/ 0 h 123025"/>
                <a:gd name="connsiteX6" fmla="*/ 279945 w 279944"/>
                <a:gd name="connsiteY6" fmla="*/ 25107 h 123025"/>
                <a:gd name="connsiteX7" fmla="*/ 279945 w 279944"/>
                <a:gd name="connsiteY7" fmla="*/ 97918 h 123025"/>
                <a:gd name="connsiteX8" fmla="*/ 254837 w 279944"/>
                <a:gd name="connsiteY8" fmla="*/ 123025 h 123025"/>
                <a:gd name="connsiteX9" fmla="*/ 254837 w 279944"/>
                <a:gd name="connsiteY9" fmla="*/ 123025 h 123025"/>
                <a:gd name="connsiteX10" fmla="*/ 25107 w 279944"/>
                <a:gd name="connsiteY10" fmla="*/ 16947 h 123025"/>
                <a:gd name="connsiteX11" fmla="*/ 16947 w 279944"/>
                <a:gd name="connsiteY11" fmla="*/ 25107 h 123025"/>
                <a:gd name="connsiteX12" fmla="*/ 16947 w 279944"/>
                <a:gd name="connsiteY12" fmla="*/ 97918 h 123025"/>
                <a:gd name="connsiteX13" fmla="*/ 25107 w 279944"/>
                <a:gd name="connsiteY13" fmla="*/ 106078 h 123025"/>
                <a:gd name="connsiteX14" fmla="*/ 254837 w 279944"/>
                <a:gd name="connsiteY14" fmla="*/ 106078 h 123025"/>
                <a:gd name="connsiteX15" fmla="*/ 262997 w 279944"/>
                <a:gd name="connsiteY15" fmla="*/ 97918 h 123025"/>
                <a:gd name="connsiteX16" fmla="*/ 262997 w 279944"/>
                <a:gd name="connsiteY16" fmla="*/ 25107 h 123025"/>
                <a:gd name="connsiteX17" fmla="*/ 254837 w 279944"/>
                <a:gd name="connsiteY17" fmla="*/ 16947 h 123025"/>
                <a:gd name="connsiteX18" fmla="*/ 25107 w 279944"/>
                <a:gd name="connsiteY18" fmla="*/ 16947 h 123025"/>
                <a:gd name="connsiteX19" fmla="*/ 25107 w 279944"/>
                <a:gd name="connsiteY19" fmla="*/ 16947 h 123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79944" h="123025">
                  <a:moveTo>
                    <a:pt x="254837" y="123025"/>
                  </a:moveTo>
                  <a:lnTo>
                    <a:pt x="25107" y="123025"/>
                  </a:lnTo>
                  <a:cubicBezTo>
                    <a:pt x="11298" y="123025"/>
                    <a:pt x="0" y="111727"/>
                    <a:pt x="0" y="97918"/>
                  </a:cubicBezTo>
                  <a:lnTo>
                    <a:pt x="0" y="25107"/>
                  </a:lnTo>
                  <a:cubicBezTo>
                    <a:pt x="0" y="11298"/>
                    <a:pt x="11298" y="0"/>
                    <a:pt x="25107" y="0"/>
                  </a:cubicBezTo>
                  <a:lnTo>
                    <a:pt x="254837" y="0"/>
                  </a:lnTo>
                  <a:cubicBezTo>
                    <a:pt x="268646" y="0"/>
                    <a:pt x="279945" y="11298"/>
                    <a:pt x="279945" y="25107"/>
                  </a:cubicBezTo>
                  <a:lnTo>
                    <a:pt x="279945" y="97918"/>
                  </a:lnTo>
                  <a:cubicBezTo>
                    <a:pt x="279945" y="111727"/>
                    <a:pt x="268646" y="123025"/>
                    <a:pt x="254837" y="123025"/>
                  </a:cubicBezTo>
                  <a:lnTo>
                    <a:pt x="254837" y="123025"/>
                  </a:lnTo>
                  <a:close/>
                  <a:moveTo>
                    <a:pt x="25107" y="16947"/>
                  </a:moveTo>
                  <a:cubicBezTo>
                    <a:pt x="20713" y="16947"/>
                    <a:pt x="16947" y="20713"/>
                    <a:pt x="16947" y="25107"/>
                  </a:cubicBezTo>
                  <a:lnTo>
                    <a:pt x="16947" y="97918"/>
                  </a:lnTo>
                  <a:cubicBezTo>
                    <a:pt x="16947" y="102312"/>
                    <a:pt x="20713" y="106078"/>
                    <a:pt x="25107" y="106078"/>
                  </a:cubicBezTo>
                  <a:lnTo>
                    <a:pt x="254837" y="106078"/>
                  </a:lnTo>
                  <a:cubicBezTo>
                    <a:pt x="259231" y="106078"/>
                    <a:pt x="262997" y="102312"/>
                    <a:pt x="262997" y="97918"/>
                  </a:cubicBezTo>
                  <a:lnTo>
                    <a:pt x="262997" y="25107"/>
                  </a:lnTo>
                  <a:cubicBezTo>
                    <a:pt x="262997" y="20713"/>
                    <a:pt x="259231" y="16947"/>
                    <a:pt x="254837" y="16947"/>
                  </a:cubicBezTo>
                  <a:lnTo>
                    <a:pt x="25107" y="16947"/>
                  </a:lnTo>
                  <a:lnTo>
                    <a:pt x="25107" y="16947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74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9462600" y="1571028"/>
            <a:ext cx="429061" cy="350244"/>
            <a:chOff x="9462600" y="1571028"/>
            <a:chExt cx="429061" cy="350244"/>
          </a:xfrm>
          <a:solidFill>
            <a:srgbClr val="B1B1A1"/>
          </a:solidFill>
        </p:grpSpPr>
        <p:sp>
          <p:nvSpPr>
            <p:cNvPr id="375" name="Forma Livre: Forma 374">
              <a:extLst>
                <a:ext uri="{FF2B5EF4-FFF2-40B4-BE49-F238E27FC236}">
                  <a16:creationId xmlns:a16="http://schemas.microsoft.com/office/drawing/2014/main" id="{F7F8FFF4-B41C-409A-B9EA-E8E9EC70A093}"/>
                </a:ext>
              </a:extLst>
            </p:cNvPr>
            <p:cNvSpPr/>
            <p:nvPr/>
          </p:nvSpPr>
          <p:spPr>
            <a:xfrm>
              <a:off x="9462600" y="1571028"/>
              <a:ext cx="429061" cy="350244"/>
            </a:xfrm>
            <a:custGeom>
              <a:avLst/>
              <a:gdLst>
                <a:gd name="connsiteX0" fmla="*/ 16947 w 429061"/>
                <a:gd name="connsiteY0" fmla="*/ 350245 h 350244"/>
                <a:gd name="connsiteX1" fmla="*/ 9415 w 429061"/>
                <a:gd name="connsiteY1" fmla="*/ 348362 h 350244"/>
                <a:gd name="connsiteX2" fmla="*/ 0 w 429061"/>
                <a:gd name="connsiteY2" fmla="*/ 333297 h 350244"/>
                <a:gd name="connsiteX3" fmla="*/ 0 w 429061"/>
                <a:gd name="connsiteY3" fmla="*/ 16947 h 350244"/>
                <a:gd name="connsiteX4" fmla="*/ 16947 w 429061"/>
                <a:gd name="connsiteY4" fmla="*/ 0 h 350244"/>
                <a:gd name="connsiteX5" fmla="*/ 412385 w 429061"/>
                <a:gd name="connsiteY5" fmla="*/ 0 h 350244"/>
                <a:gd name="connsiteX6" fmla="*/ 428077 w 429061"/>
                <a:gd name="connsiteY6" fmla="*/ 11298 h 350244"/>
                <a:gd name="connsiteX7" fmla="*/ 423056 w 429061"/>
                <a:gd name="connsiteY7" fmla="*/ 30128 h 350244"/>
                <a:gd name="connsiteX8" fmla="*/ 27618 w 429061"/>
                <a:gd name="connsiteY8" fmla="*/ 346479 h 350244"/>
                <a:gd name="connsiteX9" fmla="*/ 16947 w 429061"/>
                <a:gd name="connsiteY9" fmla="*/ 350245 h 350244"/>
                <a:gd name="connsiteX10" fmla="*/ 16947 w 429061"/>
                <a:gd name="connsiteY10" fmla="*/ 350245 h 350244"/>
                <a:gd name="connsiteX11" fmla="*/ 33267 w 429061"/>
                <a:gd name="connsiteY11" fmla="*/ 33895 h 350244"/>
                <a:gd name="connsiteX12" fmla="*/ 33267 w 429061"/>
                <a:gd name="connsiteY12" fmla="*/ 298775 h 350244"/>
                <a:gd name="connsiteX13" fmla="*/ 364054 w 429061"/>
                <a:gd name="connsiteY13" fmla="*/ 33895 h 350244"/>
                <a:gd name="connsiteX14" fmla="*/ 33267 w 429061"/>
                <a:gd name="connsiteY14" fmla="*/ 33895 h 350244"/>
                <a:gd name="connsiteX15" fmla="*/ 33267 w 429061"/>
                <a:gd name="connsiteY15" fmla="*/ 33895 h 350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29061" h="350244">
                  <a:moveTo>
                    <a:pt x="16947" y="350245"/>
                  </a:moveTo>
                  <a:cubicBezTo>
                    <a:pt x="14436" y="350245"/>
                    <a:pt x="11926" y="349617"/>
                    <a:pt x="9415" y="348362"/>
                  </a:cubicBezTo>
                  <a:cubicBezTo>
                    <a:pt x="3766" y="345851"/>
                    <a:pt x="0" y="339574"/>
                    <a:pt x="0" y="333297"/>
                  </a:cubicBezTo>
                  <a:lnTo>
                    <a:pt x="0" y="16947"/>
                  </a:lnTo>
                  <a:cubicBezTo>
                    <a:pt x="0" y="7532"/>
                    <a:pt x="7532" y="0"/>
                    <a:pt x="16947" y="0"/>
                  </a:cubicBezTo>
                  <a:lnTo>
                    <a:pt x="412385" y="0"/>
                  </a:lnTo>
                  <a:cubicBezTo>
                    <a:pt x="419289" y="0"/>
                    <a:pt x="425566" y="4394"/>
                    <a:pt x="428077" y="11298"/>
                  </a:cubicBezTo>
                  <a:cubicBezTo>
                    <a:pt x="430587" y="18203"/>
                    <a:pt x="428077" y="25735"/>
                    <a:pt x="423056" y="30128"/>
                  </a:cubicBezTo>
                  <a:lnTo>
                    <a:pt x="27618" y="346479"/>
                  </a:lnTo>
                  <a:cubicBezTo>
                    <a:pt x="24480" y="348989"/>
                    <a:pt x="20713" y="350245"/>
                    <a:pt x="16947" y="350245"/>
                  </a:cubicBezTo>
                  <a:lnTo>
                    <a:pt x="16947" y="350245"/>
                  </a:lnTo>
                  <a:close/>
                  <a:moveTo>
                    <a:pt x="33267" y="33895"/>
                  </a:moveTo>
                  <a:lnTo>
                    <a:pt x="33267" y="298775"/>
                  </a:lnTo>
                  <a:lnTo>
                    <a:pt x="364054" y="33895"/>
                  </a:lnTo>
                  <a:lnTo>
                    <a:pt x="33267" y="33895"/>
                  </a:lnTo>
                  <a:lnTo>
                    <a:pt x="33267" y="33895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76" name="Forma Livre: Forma 375">
              <a:extLst>
                <a:ext uri="{FF2B5EF4-FFF2-40B4-BE49-F238E27FC236}">
                  <a16:creationId xmlns:a16="http://schemas.microsoft.com/office/drawing/2014/main" id="{1ABB9C14-9FA7-4AEB-A375-9AC53043903D}"/>
                </a:ext>
              </a:extLst>
            </p:cNvPr>
            <p:cNvSpPr/>
            <p:nvPr/>
          </p:nvSpPr>
          <p:spPr>
            <a:xfrm>
              <a:off x="9529133" y="1638189"/>
              <a:ext cx="171713" cy="143738"/>
            </a:xfrm>
            <a:custGeom>
              <a:avLst/>
              <a:gdLst>
                <a:gd name="connsiteX0" fmla="*/ 16947 w 171713"/>
                <a:gd name="connsiteY0" fmla="*/ 143738 h 143738"/>
                <a:gd name="connsiteX1" fmla="*/ 9415 w 171713"/>
                <a:gd name="connsiteY1" fmla="*/ 141855 h 143738"/>
                <a:gd name="connsiteX2" fmla="*/ 0 w 171713"/>
                <a:gd name="connsiteY2" fmla="*/ 126791 h 143738"/>
                <a:gd name="connsiteX3" fmla="*/ 0 w 171713"/>
                <a:gd name="connsiteY3" fmla="*/ 16947 h 143738"/>
                <a:gd name="connsiteX4" fmla="*/ 16947 w 171713"/>
                <a:gd name="connsiteY4" fmla="*/ 0 h 143738"/>
                <a:gd name="connsiteX5" fmla="*/ 155036 w 171713"/>
                <a:gd name="connsiteY5" fmla="*/ 0 h 143738"/>
                <a:gd name="connsiteX6" fmla="*/ 170728 w 171713"/>
                <a:gd name="connsiteY6" fmla="*/ 11298 h 143738"/>
                <a:gd name="connsiteX7" fmla="*/ 165707 w 171713"/>
                <a:gd name="connsiteY7" fmla="*/ 30129 h 143738"/>
                <a:gd name="connsiteX8" fmla="*/ 27618 w 171713"/>
                <a:gd name="connsiteY8" fmla="*/ 140600 h 143738"/>
                <a:gd name="connsiteX9" fmla="*/ 16947 w 171713"/>
                <a:gd name="connsiteY9" fmla="*/ 143738 h 143738"/>
                <a:gd name="connsiteX10" fmla="*/ 16947 w 171713"/>
                <a:gd name="connsiteY10" fmla="*/ 143738 h 143738"/>
                <a:gd name="connsiteX11" fmla="*/ 33895 w 171713"/>
                <a:gd name="connsiteY11" fmla="*/ 33267 h 143738"/>
                <a:gd name="connsiteX12" fmla="*/ 33895 w 171713"/>
                <a:gd name="connsiteY12" fmla="*/ 92269 h 143738"/>
                <a:gd name="connsiteX13" fmla="*/ 107333 w 171713"/>
                <a:gd name="connsiteY13" fmla="*/ 33267 h 143738"/>
                <a:gd name="connsiteX14" fmla="*/ 33895 w 171713"/>
                <a:gd name="connsiteY14" fmla="*/ 33267 h 143738"/>
                <a:gd name="connsiteX15" fmla="*/ 33895 w 171713"/>
                <a:gd name="connsiteY15" fmla="*/ 33267 h 143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1713" h="143738">
                  <a:moveTo>
                    <a:pt x="16947" y="143738"/>
                  </a:moveTo>
                  <a:cubicBezTo>
                    <a:pt x="14437" y="143738"/>
                    <a:pt x="11926" y="143111"/>
                    <a:pt x="9415" y="141855"/>
                  </a:cubicBezTo>
                  <a:cubicBezTo>
                    <a:pt x="3766" y="139345"/>
                    <a:pt x="0" y="133068"/>
                    <a:pt x="0" y="126791"/>
                  </a:cubicBezTo>
                  <a:lnTo>
                    <a:pt x="0" y="16947"/>
                  </a:lnTo>
                  <a:cubicBezTo>
                    <a:pt x="0" y="7532"/>
                    <a:pt x="7532" y="0"/>
                    <a:pt x="16947" y="0"/>
                  </a:cubicBezTo>
                  <a:lnTo>
                    <a:pt x="155036" y="0"/>
                  </a:lnTo>
                  <a:cubicBezTo>
                    <a:pt x="161941" y="0"/>
                    <a:pt x="168218" y="4394"/>
                    <a:pt x="170728" y="11298"/>
                  </a:cubicBezTo>
                  <a:cubicBezTo>
                    <a:pt x="173239" y="18203"/>
                    <a:pt x="170728" y="25735"/>
                    <a:pt x="165707" y="30129"/>
                  </a:cubicBezTo>
                  <a:lnTo>
                    <a:pt x="27618" y="140600"/>
                  </a:lnTo>
                  <a:cubicBezTo>
                    <a:pt x="24480" y="142483"/>
                    <a:pt x="20714" y="143738"/>
                    <a:pt x="16947" y="143738"/>
                  </a:cubicBezTo>
                  <a:lnTo>
                    <a:pt x="16947" y="143738"/>
                  </a:lnTo>
                  <a:close/>
                  <a:moveTo>
                    <a:pt x="33895" y="33267"/>
                  </a:moveTo>
                  <a:lnTo>
                    <a:pt x="33895" y="92269"/>
                  </a:lnTo>
                  <a:lnTo>
                    <a:pt x="107333" y="33267"/>
                  </a:lnTo>
                  <a:lnTo>
                    <a:pt x="33895" y="33267"/>
                  </a:lnTo>
                  <a:lnTo>
                    <a:pt x="33895" y="33267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77" name="Forma Livre: Forma 376">
              <a:extLst>
                <a:ext uri="{FF2B5EF4-FFF2-40B4-BE49-F238E27FC236}">
                  <a16:creationId xmlns:a16="http://schemas.microsoft.com/office/drawing/2014/main" id="{43C31061-D9C1-4673-A7C8-EF63B70ECCFD}"/>
                </a:ext>
              </a:extLst>
            </p:cNvPr>
            <p:cNvSpPr/>
            <p:nvPr/>
          </p:nvSpPr>
          <p:spPr>
            <a:xfrm>
              <a:off x="9517207" y="1588603"/>
              <a:ext cx="16388" cy="40171"/>
            </a:xfrm>
            <a:custGeom>
              <a:avLst/>
              <a:gdLst>
                <a:gd name="connsiteX0" fmla="*/ 8160 w 16388"/>
                <a:gd name="connsiteY0" fmla="*/ 40171 h 40171"/>
                <a:gd name="connsiteX1" fmla="*/ 0 w 16388"/>
                <a:gd name="connsiteY1" fmla="*/ 32012 h 40171"/>
                <a:gd name="connsiteX2" fmla="*/ 0 w 16388"/>
                <a:gd name="connsiteY2" fmla="*/ 8160 h 40171"/>
                <a:gd name="connsiteX3" fmla="*/ 8160 w 16388"/>
                <a:gd name="connsiteY3" fmla="*/ 0 h 40171"/>
                <a:gd name="connsiteX4" fmla="*/ 16319 w 16388"/>
                <a:gd name="connsiteY4" fmla="*/ 8160 h 40171"/>
                <a:gd name="connsiteX5" fmla="*/ 16319 w 16388"/>
                <a:gd name="connsiteY5" fmla="*/ 32012 h 40171"/>
                <a:gd name="connsiteX6" fmla="*/ 8160 w 16388"/>
                <a:gd name="connsiteY6" fmla="*/ 40171 h 40171"/>
                <a:gd name="connsiteX7" fmla="*/ 8160 w 16388"/>
                <a:gd name="connsiteY7" fmla="*/ 40171 h 40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388" h="40171">
                  <a:moveTo>
                    <a:pt x="8160" y="40171"/>
                  </a:moveTo>
                  <a:cubicBezTo>
                    <a:pt x="3766" y="40171"/>
                    <a:pt x="0" y="36405"/>
                    <a:pt x="0" y="32012"/>
                  </a:cubicBezTo>
                  <a:lnTo>
                    <a:pt x="0" y="8160"/>
                  </a:lnTo>
                  <a:cubicBezTo>
                    <a:pt x="0" y="3766"/>
                    <a:pt x="3766" y="0"/>
                    <a:pt x="8160" y="0"/>
                  </a:cubicBezTo>
                  <a:cubicBezTo>
                    <a:pt x="12554" y="0"/>
                    <a:pt x="16319" y="3766"/>
                    <a:pt x="16319" y="8160"/>
                  </a:cubicBezTo>
                  <a:lnTo>
                    <a:pt x="16319" y="32012"/>
                  </a:lnTo>
                  <a:cubicBezTo>
                    <a:pt x="16948" y="36405"/>
                    <a:pt x="13181" y="40171"/>
                    <a:pt x="8160" y="40171"/>
                  </a:cubicBezTo>
                  <a:lnTo>
                    <a:pt x="8160" y="40171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78" name="Forma Livre: Forma 377">
              <a:extLst>
                <a:ext uri="{FF2B5EF4-FFF2-40B4-BE49-F238E27FC236}">
                  <a16:creationId xmlns:a16="http://schemas.microsoft.com/office/drawing/2014/main" id="{B20AF8A1-304D-4264-B2E6-1FC36CD27535}"/>
                </a:ext>
              </a:extLst>
            </p:cNvPr>
            <p:cNvSpPr/>
            <p:nvPr/>
          </p:nvSpPr>
          <p:spPr>
            <a:xfrm>
              <a:off x="9576837" y="1588603"/>
              <a:ext cx="16388" cy="40171"/>
            </a:xfrm>
            <a:custGeom>
              <a:avLst/>
              <a:gdLst>
                <a:gd name="connsiteX0" fmla="*/ 8160 w 16388"/>
                <a:gd name="connsiteY0" fmla="*/ 40171 h 40171"/>
                <a:gd name="connsiteX1" fmla="*/ 0 w 16388"/>
                <a:gd name="connsiteY1" fmla="*/ 32012 h 40171"/>
                <a:gd name="connsiteX2" fmla="*/ 0 w 16388"/>
                <a:gd name="connsiteY2" fmla="*/ 8160 h 40171"/>
                <a:gd name="connsiteX3" fmla="*/ 8160 w 16388"/>
                <a:gd name="connsiteY3" fmla="*/ 0 h 40171"/>
                <a:gd name="connsiteX4" fmla="*/ 16319 w 16388"/>
                <a:gd name="connsiteY4" fmla="*/ 8160 h 40171"/>
                <a:gd name="connsiteX5" fmla="*/ 16319 w 16388"/>
                <a:gd name="connsiteY5" fmla="*/ 32012 h 40171"/>
                <a:gd name="connsiteX6" fmla="*/ 8160 w 16388"/>
                <a:gd name="connsiteY6" fmla="*/ 40171 h 40171"/>
                <a:gd name="connsiteX7" fmla="*/ 8160 w 16388"/>
                <a:gd name="connsiteY7" fmla="*/ 40171 h 40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388" h="40171">
                  <a:moveTo>
                    <a:pt x="8160" y="40171"/>
                  </a:moveTo>
                  <a:cubicBezTo>
                    <a:pt x="3766" y="40171"/>
                    <a:pt x="0" y="36405"/>
                    <a:pt x="0" y="32012"/>
                  </a:cubicBezTo>
                  <a:lnTo>
                    <a:pt x="0" y="8160"/>
                  </a:lnTo>
                  <a:cubicBezTo>
                    <a:pt x="0" y="3766"/>
                    <a:pt x="3766" y="0"/>
                    <a:pt x="8160" y="0"/>
                  </a:cubicBezTo>
                  <a:cubicBezTo>
                    <a:pt x="12554" y="0"/>
                    <a:pt x="16319" y="3766"/>
                    <a:pt x="16319" y="8160"/>
                  </a:cubicBezTo>
                  <a:lnTo>
                    <a:pt x="16319" y="32012"/>
                  </a:lnTo>
                  <a:cubicBezTo>
                    <a:pt x="16948" y="36405"/>
                    <a:pt x="13181" y="40171"/>
                    <a:pt x="8160" y="40171"/>
                  </a:cubicBezTo>
                  <a:lnTo>
                    <a:pt x="8160" y="40171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79" name="Forma Livre: Forma 378">
              <a:extLst>
                <a:ext uri="{FF2B5EF4-FFF2-40B4-BE49-F238E27FC236}">
                  <a16:creationId xmlns:a16="http://schemas.microsoft.com/office/drawing/2014/main" id="{23885A9D-EC19-49C2-A891-667C398CBB50}"/>
                </a:ext>
              </a:extLst>
            </p:cNvPr>
            <p:cNvSpPr/>
            <p:nvPr/>
          </p:nvSpPr>
          <p:spPr>
            <a:xfrm>
              <a:off x="9636466" y="1588603"/>
              <a:ext cx="16319" cy="40171"/>
            </a:xfrm>
            <a:custGeom>
              <a:avLst/>
              <a:gdLst>
                <a:gd name="connsiteX0" fmla="*/ 8160 w 16319"/>
                <a:gd name="connsiteY0" fmla="*/ 40171 h 40171"/>
                <a:gd name="connsiteX1" fmla="*/ 0 w 16319"/>
                <a:gd name="connsiteY1" fmla="*/ 32012 h 40171"/>
                <a:gd name="connsiteX2" fmla="*/ 0 w 16319"/>
                <a:gd name="connsiteY2" fmla="*/ 8160 h 40171"/>
                <a:gd name="connsiteX3" fmla="*/ 8160 w 16319"/>
                <a:gd name="connsiteY3" fmla="*/ 0 h 40171"/>
                <a:gd name="connsiteX4" fmla="*/ 16319 w 16319"/>
                <a:gd name="connsiteY4" fmla="*/ 8160 h 40171"/>
                <a:gd name="connsiteX5" fmla="*/ 16319 w 16319"/>
                <a:gd name="connsiteY5" fmla="*/ 32012 h 40171"/>
                <a:gd name="connsiteX6" fmla="*/ 8160 w 16319"/>
                <a:gd name="connsiteY6" fmla="*/ 40171 h 40171"/>
                <a:gd name="connsiteX7" fmla="*/ 8160 w 16319"/>
                <a:gd name="connsiteY7" fmla="*/ 40171 h 40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319" h="40171">
                  <a:moveTo>
                    <a:pt x="8160" y="40171"/>
                  </a:moveTo>
                  <a:cubicBezTo>
                    <a:pt x="3766" y="40171"/>
                    <a:pt x="0" y="36405"/>
                    <a:pt x="0" y="32012"/>
                  </a:cubicBezTo>
                  <a:lnTo>
                    <a:pt x="0" y="8160"/>
                  </a:lnTo>
                  <a:cubicBezTo>
                    <a:pt x="0" y="3766"/>
                    <a:pt x="3766" y="0"/>
                    <a:pt x="8160" y="0"/>
                  </a:cubicBezTo>
                  <a:cubicBezTo>
                    <a:pt x="12554" y="0"/>
                    <a:pt x="16319" y="3766"/>
                    <a:pt x="16319" y="8160"/>
                  </a:cubicBezTo>
                  <a:lnTo>
                    <a:pt x="16319" y="32012"/>
                  </a:lnTo>
                  <a:cubicBezTo>
                    <a:pt x="16319" y="36405"/>
                    <a:pt x="12554" y="40171"/>
                    <a:pt x="8160" y="40171"/>
                  </a:cubicBezTo>
                  <a:lnTo>
                    <a:pt x="8160" y="40171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80" name="Forma Livre: Forma 379">
              <a:extLst>
                <a:ext uri="{FF2B5EF4-FFF2-40B4-BE49-F238E27FC236}">
                  <a16:creationId xmlns:a16="http://schemas.microsoft.com/office/drawing/2014/main" id="{21BF115E-08C0-4DD9-ABCE-9E18D4B32B25}"/>
                </a:ext>
              </a:extLst>
            </p:cNvPr>
            <p:cNvSpPr/>
            <p:nvPr/>
          </p:nvSpPr>
          <p:spPr>
            <a:xfrm>
              <a:off x="9696096" y="1588603"/>
              <a:ext cx="16319" cy="40171"/>
            </a:xfrm>
            <a:custGeom>
              <a:avLst/>
              <a:gdLst>
                <a:gd name="connsiteX0" fmla="*/ 8160 w 16319"/>
                <a:gd name="connsiteY0" fmla="*/ 40171 h 40171"/>
                <a:gd name="connsiteX1" fmla="*/ 0 w 16319"/>
                <a:gd name="connsiteY1" fmla="*/ 32012 h 40171"/>
                <a:gd name="connsiteX2" fmla="*/ 0 w 16319"/>
                <a:gd name="connsiteY2" fmla="*/ 8160 h 40171"/>
                <a:gd name="connsiteX3" fmla="*/ 8160 w 16319"/>
                <a:gd name="connsiteY3" fmla="*/ 0 h 40171"/>
                <a:gd name="connsiteX4" fmla="*/ 16319 w 16319"/>
                <a:gd name="connsiteY4" fmla="*/ 8160 h 40171"/>
                <a:gd name="connsiteX5" fmla="*/ 16319 w 16319"/>
                <a:gd name="connsiteY5" fmla="*/ 32012 h 40171"/>
                <a:gd name="connsiteX6" fmla="*/ 8160 w 16319"/>
                <a:gd name="connsiteY6" fmla="*/ 40171 h 40171"/>
                <a:gd name="connsiteX7" fmla="*/ 8160 w 16319"/>
                <a:gd name="connsiteY7" fmla="*/ 40171 h 40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319" h="40171">
                  <a:moveTo>
                    <a:pt x="8160" y="40171"/>
                  </a:moveTo>
                  <a:cubicBezTo>
                    <a:pt x="3766" y="40171"/>
                    <a:pt x="0" y="36405"/>
                    <a:pt x="0" y="32012"/>
                  </a:cubicBezTo>
                  <a:lnTo>
                    <a:pt x="0" y="8160"/>
                  </a:lnTo>
                  <a:cubicBezTo>
                    <a:pt x="0" y="3766"/>
                    <a:pt x="3766" y="0"/>
                    <a:pt x="8160" y="0"/>
                  </a:cubicBezTo>
                  <a:cubicBezTo>
                    <a:pt x="12554" y="0"/>
                    <a:pt x="16319" y="3766"/>
                    <a:pt x="16319" y="8160"/>
                  </a:cubicBezTo>
                  <a:lnTo>
                    <a:pt x="16319" y="32012"/>
                  </a:lnTo>
                  <a:cubicBezTo>
                    <a:pt x="16319" y="36405"/>
                    <a:pt x="12554" y="40171"/>
                    <a:pt x="8160" y="40171"/>
                  </a:cubicBezTo>
                  <a:lnTo>
                    <a:pt x="8160" y="40171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81" name="Forma Livre: Forma 380">
              <a:extLst>
                <a:ext uri="{FF2B5EF4-FFF2-40B4-BE49-F238E27FC236}">
                  <a16:creationId xmlns:a16="http://schemas.microsoft.com/office/drawing/2014/main" id="{03239735-41C5-492D-B382-0D73E20D6167}"/>
                </a:ext>
              </a:extLst>
            </p:cNvPr>
            <p:cNvSpPr/>
            <p:nvPr/>
          </p:nvSpPr>
          <p:spPr>
            <a:xfrm>
              <a:off x="9755725" y="1588603"/>
              <a:ext cx="16319" cy="40171"/>
            </a:xfrm>
            <a:custGeom>
              <a:avLst/>
              <a:gdLst>
                <a:gd name="connsiteX0" fmla="*/ 8160 w 16319"/>
                <a:gd name="connsiteY0" fmla="*/ 40171 h 40171"/>
                <a:gd name="connsiteX1" fmla="*/ 0 w 16319"/>
                <a:gd name="connsiteY1" fmla="*/ 32012 h 40171"/>
                <a:gd name="connsiteX2" fmla="*/ 0 w 16319"/>
                <a:gd name="connsiteY2" fmla="*/ 8160 h 40171"/>
                <a:gd name="connsiteX3" fmla="*/ 8160 w 16319"/>
                <a:gd name="connsiteY3" fmla="*/ 0 h 40171"/>
                <a:gd name="connsiteX4" fmla="*/ 16319 w 16319"/>
                <a:gd name="connsiteY4" fmla="*/ 8160 h 40171"/>
                <a:gd name="connsiteX5" fmla="*/ 16319 w 16319"/>
                <a:gd name="connsiteY5" fmla="*/ 32012 h 40171"/>
                <a:gd name="connsiteX6" fmla="*/ 8160 w 16319"/>
                <a:gd name="connsiteY6" fmla="*/ 40171 h 40171"/>
                <a:gd name="connsiteX7" fmla="*/ 8160 w 16319"/>
                <a:gd name="connsiteY7" fmla="*/ 40171 h 40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319" h="40171">
                  <a:moveTo>
                    <a:pt x="8160" y="40171"/>
                  </a:moveTo>
                  <a:cubicBezTo>
                    <a:pt x="3766" y="40171"/>
                    <a:pt x="0" y="36405"/>
                    <a:pt x="0" y="32012"/>
                  </a:cubicBezTo>
                  <a:lnTo>
                    <a:pt x="0" y="8160"/>
                  </a:lnTo>
                  <a:cubicBezTo>
                    <a:pt x="0" y="3766"/>
                    <a:pt x="3766" y="0"/>
                    <a:pt x="8160" y="0"/>
                  </a:cubicBezTo>
                  <a:cubicBezTo>
                    <a:pt x="12554" y="0"/>
                    <a:pt x="16319" y="3766"/>
                    <a:pt x="16319" y="8160"/>
                  </a:cubicBezTo>
                  <a:lnTo>
                    <a:pt x="16319" y="32012"/>
                  </a:lnTo>
                  <a:cubicBezTo>
                    <a:pt x="16319" y="36405"/>
                    <a:pt x="12554" y="40171"/>
                    <a:pt x="8160" y="40171"/>
                  </a:cubicBezTo>
                  <a:lnTo>
                    <a:pt x="8160" y="40171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82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10504546" y="1532112"/>
            <a:ext cx="398575" cy="428076"/>
            <a:chOff x="10504546" y="1532112"/>
            <a:chExt cx="398575" cy="428076"/>
          </a:xfrm>
          <a:solidFill>
            <a:srgbClr val="B1B1A1"/>
          </a:solidFill>
        </p:grpSpPr>
        <p:grpSp>
          <p:nvGrpSpPr>
            <p:cNvPr id="383" name="Gráfico 2">
              <a:extLst>
                <a:ext uri="{FF2B5EF4-FFF2-40B4-BE49-F238E27FC236}">
                  <a16:creationId xmlns:a16="http://schemas.microsoft.com/office/drawing/2014/main" id="{83F95F55-5D1D-4425-8D77-756B15108235}"/>
                </a:ext>
              </a:extLst>
            </p:cNvPr>
            <p:cNvGrpSpPr/>
            <p:nvPr/>
          </p:nvGrpSpPr>
          <p:grpSpPr>
            <a:xfrm>
              <a:off x="10504546" y="1532112"/>
              <a:ext cx="398575" cy="340201"/>
              <a:chOff x="10504546" y="1532112"/>
              <a:chExt cx="398575" cy="340201"/>
            </a:xfrm>
            <a:grpFill/>
          </p:grpSpPr>
          <p:grpSp>
            <p:nvGrpSpPr>
              <p:cNvPr id="384" name="Gráfico 2">
                <a:extLst>
                  <a:ext uri="{FF2B5EF4-FFF2-40B4-BE49-F238E27FC236}">
                    <a16:creationId xmlns:a16="http://schemas.microsoft.com/office/drawing/2014/main" id="{83F95F55-5D1D-4425-8D77-756B15108235}"/>
                  </a:ext>
                </a:extLst>
              </p:cNvPr>
              <p:cNvGrpSpPr/>
              <p:nvPr/>
            </p:nvGrpSpPr>
            <p:grpSpPr>
              <a:xfrm>
                <a:off x="10596187" y="1655137"/>
                <a:ext cx="198346" cy="92896"/>
                <a:chOff x="10596187" y="1655137"/>
                <a:chExt cx="198346" cy="92896"/>
              </a:xfrm>
              <a:grpFill/>
            </p:grpSpPr>
            <p:sp>
              <p:nvSpPr>
                <p:cNvPr id="385" name="Forma Livre: Forma 384">
                  <a:extLst>
                    <a:ext uri="{FF2B5EF4-FFF2-40B4-BE49-F238E27FC236}">
                      <a16:creationId xmlns:a16="http://schemas.microsoft.com/office/drawing/2014/main" id="{7647D12D-1BDB-4B98-BBEC-97D67F0BB0E1}"/>
                    </a:ext>
                  </a:extLst>
                </p:cNvPr>
                <p:cNvSpPr/>
                <p:nvPr/>
              </p:nvSpPr>
              <p:spPr>
                <a:xfrm>
                  <a:off x="10596187" y="1655764"/>
                  <a:ext cx="43937" cy="92268"/>
                </a:xfrm>
                <a:custGeom>
                  <a:avLst/>
                  <a:gdLst>
                    <a:gd name="connsiteX0" fmla="*/ 27618 w 43937"/>
                    <a:gd name="connsiteY0" fmla="*/ 82226 h 92268"/>
                    <a:gd name="connsiteX1" fmla="*/ 27618 w 43937"/>
                    <a:gd name="connsiteY1" fmla="*/ 26362 h 92268"/>
                    <a:gd name="connsiteX2" fmla="*/ 6277 w 43937"/>
                    <a:gd name="connsiteY2" fmla="*/ 38288 h 92268"/>
                    <a:gd name="connsiteX3" fmla="*/ 1883 w 43937"/>
                    <a:gd name="connsiteY3" fmla="*/ 36405 h 92268"/>
                    <a:gd name="connsiteX4" fmla="*/ 0 w 43937"/>
                    <a:gd name="connsiteY4" fmla="*/ 31384 h 92268"/>
                    <a:gd name="connsiteX5" fmla="*/ 1883 w 43937"/>
                    <a:gd name="connsiteY5" fmla="*/ 26990 h 92268"/>
                    <a:gd name="connsiteX6" fmla="*/ 8788 w 43937"/>
                    <a:gd name="connsiteY6" fmla="*/ 23224 h 92268"/>
                    <a:gd name="connsiteX7" fmla="*/ 20714 w 43937"/>
                    <a:gd name="connsiteY7" fmla="*/ 15692 h 92268"/>
                    <a:gd name="connsiteX8" fmla="*/ 28873 w 43937"/>
                    <a:gd name="connsiteY8" fmla="*/ 6904 h 92268"/>
                    <a:gd name="connsiteX9" fmla="*/ 33267 w 43937"/>
                    <a:gd name="connsiteY9" fmla="*/ 1255 h 92268"/>
                    <a:gd name="connsiteX10" fmla="*/ 37033 w 43937"/>
                    <a:gd name="connsiteY10" fmla="*/ 0 h 92268"/>
                    <a:gd name="connsiteX11" fmla="*/ 42054 w 43937"/>
                    <a:gd name="connsiteY11" fmla="*/ 2511 h 92268"/>
                    <a:gd name="connsiteX12" fmla="*/ 43938 w 43937"/>
                    <a:gd name="connsiteY12" fmla="*/ 9415 h 92268"/>
                    <a:gd name="connsiteX13" fmla="*/ 43938 w 43937"/>
                    <a:gd name="connsiteY13" fmla="*/ 79715 h 92268"/>
                    <a:gd name="connsiteX14" fmla="*/ 35777 w 43937"/>
                    <a:gd name="connsiteY14" fmla="*/ 92269 h 92268"/>
                    <a:gd name="connsiteX15" fmla="*/ 29501 w 43937"/>
                    <a:gd name="connsiteY15" fmla="*/ 89758 h 92268"/>
                    <a:gd name="connsiteX16" fmla="*/ 27618 w 43937"/>
                    <a:gd name="connsiteY16" fmla="*/ 82226 h 922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43937" h="92268">
                      <a:moveTo>
                        <a:pt x="27618" y="82226"/>
                      </a:moveTo>
                      <a:lnTo>
                        <a:pt x="27618" y="26362"/>
                      </a:lnTo>
                      <a:cubicBezTo>
                        <a:pt x="16947" y="34522"/>
                        <a:pt x="10043" y="38288"/>
                        <a:pt x="6277" y="38288"/>
                      </a:cubicBezTo>
                      <a:cubicBezTo>
                        <a:pt x="4393" y="38288"/>
                        <a:pt x="3138" y="37661"/>
                        <a:pt x="1883" y="36405"/>
                      </a:cubicBezTo>
                      <a:cubicBezTo>
                        <a:pt x="628" y="35150"/>
                        <a:pt x="0" y="33267"/>
                        <a:pt x="0" y="31384"/>
                      </a:cubicBezTo>
                      <a:cubicBezTo>
                        <a:pt x="0" y="29501"/>
                        <a:pt x="628" y="27618"/>
                        <a:pt x="1883" y="26990"/>
                      </a:cubicBezTo>
                      <a:cubicBezTo>
                        <a:pt x="3138" y="25735"/>
                        <a:pt x="5649" y="24479"/>
                        <a:pt x="8788" y="23224"/>
                      </a:cubicBezTo>
                      <a:cubicBezTo>
                        <a:pt x="13809" y="20713"/>
                        <a:pt x="17575" y="18203"/>
                        <a:pt x="20714" y="15692"/>
                      </a:cubicBezTo>
                      <a:cubicBezTo>
                        <a:pt x="23852" y="13181"/>
                        <a:pt x="26362" y="10043"/>
                        <a:pt x="28873" y="6904"/>
                      </a:cubicBezTo>
                      <a:cubicBezTo>
                        <a:pt x="31384" y="3766"/>
                        <a:pt x="32639" y="1883"/>
                        <a:pt x="33267" y="1255"/>
                      </a:cubicBezTo>
                      <a:cubicBezTo>
                        <a:pt x="33895" y="628"/>
                        <a:pt x="35150" y="0"/>
                        <a:pt x="37033" y="0"/>
                      </a:cubicBezTo>
                      <a:cubicBezTo>
                        <a:pt x="38916" y="0"/>
                        <a:pt x="40799" y="628"/>
                        <a:pt x="42054" y="2511"/>
                      </a:cubicBezTo>
                      <a:cubicBezTo>
                        <a:pt x="43310" y="4394"/>
                        <a:pt x="43938" y="6277"/>
                        <a:pt x="43938" y="9415"/>
                      </a:cubicBezTo>
                      <a:lnTo>
                        <a:pt x="43938" y="79715"/>
                      </a:lnTo>
                      <a:cubicBezTo>
                        <a:pt x="43938" y="87875"/>
                        <a:pt x="41427" y="92269"/>
                        <a:pt x="35777" y="92269"/>
                      </a:cubicBezTo>
                      <a:cubicBezTo>
                        <a:pt x="33267" y="92269"/>
                        <a:pt x="31384" y="91641"/>
                        <a:pt x="29501" y="89758"/>
                      </a:cubicBezTo>
                      <a:cubicBezTo>
                        <a:pt x="28873" y="87875"/>
                        <a:pt x="27618" y="85364"/>
                        <a:pt x="27618" y="82226"/>
                      </a:cubicBezTo>
                      <a:close/>
                    </a:path>
                  </a:pathLst>
                </a:custGeom>
                <a:grpFill/>
                <a:ln w="62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386" name="Forma Livre: Forma 385">
                  <a:extLst>
                    <a:ext uri="{FF2B5EF4-FFF2-40B4-BE49-F238E27FC236}">
                      <a16:creationId xmlns:a16="http://schemas.microsoft.com/office/drawing/2014/main" id="{89DF4B9F-56D8-42F4-A6F0-686A7E066352}"/>
                    </a:ext>
                  </a:extLst>
                </p:cNvPr>
                <p:cNvSpPr/>
                <p:nvPr/>
              </p:nvSpPr>
              <p:spPr>
                <a:xfrm>
                  <a:off x="10662093" y="1670201"/>
                  <a:ext cx="63395" cy="63395"/>
                </a:xfrm>
                <a:custGeom>
                  <a:avLst/>
                  <a:gdLst>
                    <a:gd name="connsiteX0" fmla="*/ 39544 w 63395"/>
                    <a:gd name="connsiteY0" fmla="*/ 63396 h 63395"/>
                    <a:gd name="connsiteX1" fmla="*/ 23852 w 63395"/>
                    <a:gd name="connsiteY1" fmla="*/ 63396 h 63395"/>
                    <a:gd name="connsiteX2" fmla="*/ 23852 w 63395"/>
                    <a:gd name="connsiteY2" fmla="*/ 40171 h 63395"/>
                    <a:gd name="connsiteX3" fmla="*/ 0 w 63395"/>
                    <a:gd name="connsiteY3" fmla="*/ 40171 h 63395"/>
                    <a:gd name="connsiteX4" fmla="*/ 0 w 63395"/>
                    <a:gd name="connsiteY4" fmla="*/ 23852 h 63395"/>
                    <a:gd name="connsiteX5" fmla="*/ 23852 w 63395"/>
                    <a:gd name="connsiteY5" fmla="*/ 23852 h 63395"/>
                    <a:gd name="connsiteX6" fmla="*/ 23852 w 63395"/>
                    <a:gd name="connsiteY6" fmla="*/ 0 h 63395"/>
                    <a:gd name="connsiteX7" fmla="*/ 39544 w 63395"/>
                    <a:gd name="connsiteY7" fmla="*/ 0 h 63395"/>
                    <a:gd name="connsiteX8" fmla="*/ 39544 w 63395"/>
                    <a:gd name="connsiteY8" fmla="*/ 23852 h 63395"/>
                    <a:gd name="connsiteX9" fmla="*/ 63395 w 63395"/>
                    <a:gd name="connsiteY9" fmla="*/ 23852 h 63395"/>
                    <a:gd name="connsiteX10" fmla="*/ 63395 w 63395"/>
                    <a:gd name="connsiteY10" fmla="*/ 40171 h 63395"/>
                    <a:gd name="connsiteX11" fmla="*/ 39544 w 63395"/>
                    <a:gd name="connsiteY11" fmla="*/ 40171 h 63395"/>
                    <a:gd name="connsiteX12" fmla="*/ 39544 w 63395"/>
                    <a:gd name="connsiteY12" fmla="*/ 63396 h 633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63395" h="63395">
                      <a:moveTo>
                        <a:pt x="39544" y="63396"/>
                      </a:moveTo>
                      <a:lnTo>
                        <a:pt x="23852" y="63396"/>
                      </a:lnTo>
                      <a:lnTo>
                        <a:pt x="23852" y="40171"/>
                      </a:lnTo>
                      <a:lnTo>
                        <a:pt x="0" y="40171"/>
                      </a:lnTo>
                      <a:lnTo>
                        <a:pt x="0" y="23852"/>
                      </a:lnTo>
                      <a:lnTo>
                        <a:pt x="23852" y="23852"/>
                      </a:lnTo>
                      <a:lnTo>
                        <a:pt x="23852" y="0"/>
                      </a:lnTo>
                      <a:lnTo>
                        <a:pt x="39544" y="0"/>
                      </a:lnTo>
                      <a:lnTo>
                        <a:pt x="39544" y="23852"/>
                      </a:lnTo>
                      <a:lnTo>
                        <a:pt x="63395" y="23852"/>
                      </a:lnTo>
                      <a:lnTo>
                        <a:pt x="63395" y="40171"/>
                      </a:lnTo>
                      <a:lnTo>
                        <a:pt x="39544" y="40171"/>
                      </a:lnTo>
                      <a:lnTo>
                        <a:pt x="39544" y="63396"/>
                      </a:lnTo>
                      <a:close/>
                    </a:path>
                  </a:pathLst>
                </a:custGeom>
                <a:grpFill/>
                <a:ln w="62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387" name="Forma Livre: Forma 386">
                  <a:extLst>
                    <a:ext uri="{FF2B5EF4-FFF2-40B4-BE49-F238E27FC236}">
                      <a16:creationId xmlns:a16="http://schemas.microsoft.com/office/drawing/2014/main" id="{D7147DF2-D136-4F08-8321-3B4590A9140F}"/>
                    </a:ext>
                  </a:extLst>
                </p:cNvPr>
                <p:cNvSpPr/>
                <p:nvPr/>
              </p:nvSpPr>
              <p:spPr>
                <a:xfrm>
                  <a:off x="10731766" y="1655137"/>
                  <a:ext cx="62767" cy="91013"/>
                </a:xfrm>
                <a:custGeom>
                  <a:avLst/>
                  <a:gdLst>
                    <a:gd name="connsiteX0" fmla="*/ 20714 w 62767"/>
                    <a:gd name="connsiteY0" fmla="*/ 76577 h 91013"/>
                    <a:gd name="connsiteX1" fmla="*/ 52725 w 62767"/>
                    <a:gd name="connsiteY1" fmla="*/ 76577 h 91013"/>
                    <a:gd name="connsiteX2" fmla="*/ 60257 w 62767"/>
                    <a:gd name="connsiteY2" fmla="*/ 78460 h 91013"/>
                    <a:gd name="connsiteX3" fmla="*/ 62768 w 62767"/>
                    <a:gd name="connsiteY3" fmla="*/ 84109 h 91013"/>
                    <a:gd name="connsiteX4" fmla="*/ 60885 w 62767"/>
                    <a:gd name="connsiteY4" fmla="*/ 89130 h 91013"/>
                    <a:gd name="connsiteX5" fmla="*/ 54609 w 62767"/>
                    <a:gd name="connsiteY5" fmla="*/ 91013 h 91013"/>
                    <a:gd name="connsiteX6" fmla="*/ 9415 w 62767"/>
                    <a:gd name="connsiteY6" fmla="*/ 91013 h 91013"/>
                    <a:gd name="connsiteX7" fmla="*/ 2511 w 62767"/>
                    <a:gd name="connsiteY7" fmla="*/ 88503 h 91013"/>
                    <a:gd name="connsiteX8" fmla="*/ 0 w 62767"/>
                    <a:gd name="connsiteY8" fmla="*/ 82226 h 91013"/>
                    <a:gd name="connsiteX9" fmla="*/ 1883 w 62767"/>
                    <a:gd name="connsiteY9" fmla="*/ 76577 h 91013"/>
                    <a:gd name="connsiteX10" fmla="*/ 5649 w 62767"/>
                    <a:gd name="connsiteY10" fmla="*/ 70928 h 91013"/>
                    <a:gd name="connsiteX11" fmla="*/ 20714 w 62767"/>
                    <a:gd name="connsiteY11" fmla="*/ 56491 h 91013"/>
                    <a:gd name="connsiteX12" fmla="*/ 30129 w 62767"/>
                    <a:gd name="connsiteY12" fmla="*/ 48331 h 91013"/>
                    <a:gd name="connsiteX13" fmla="*/ 38288 w 62767"/>
                    <a:gd name="connsiteY13" fmla="*/ 41427 h 91013"/>
                    <a:gd name="connsiteX14" fmla="*/ 43310 w 62767"/>
                    <a:gd name="connsiteY14" fmla="*/ 33895 h 91013"/>
                    <a:gd name="connsiteX15" fmla="*/ 45193 w 62767"/>
                    <a:gd name="connsiteY15" fmla="*/ 26362 h 91013"/>
                    <a:gd name="connsiteX16" fmla="*/ 43310 w 62767"/>
                    <a:gd name="connsiteY16" fmla="*/ 19458 h 91013"/>
                    <a:gd name="connsiteX17" fmla="*/ 38288 w 62767"/>
                    <a:gd name="connsiteY17" fmla="*/ 14437 h 91013"/>
                    <a:gd name="connsiteX18" fmla="*/ 31384 w 62767"/>
                    <a:gd name="connsiteY18" fmla="*/ 12554 h 91013"/>
                    <a:gd name="connsiteX19" fmla="*/ 18830 w 62767"/>
                    <a:gd name="connsiteY19" fmla="*/ 19458 h 91013"/>
                    <a:gd name="connsiteX20" fmla="*/ 16948 w 62767"/>
                    <a:gd name="connsiteY20" fmla="*/ 24479 h 91013"/>
                    <a:gd name="connsiteX21" fmla="*/ 13809 w 62767"/>
                    <a:gd name="connsiteY21" fmla="*/ 30756 h 91013"/>
                    <a:gd name="connsiteX22" fmla="*/ 8160 w 62767"/>
                    <a:gd name="connsiteY22" fmla="*/ 33267 h 91013"/>
                    <a:gd name="connsiteX23" fmla="*/ 3138 w 62767"/>
                    <a:gd name="connsiteY23" fmla="*/ 31384 h 91013"/>
                    <a:gd name="connsiteX24" fmla="*/ 1256 w 62767"/>
                    <a:gd name="connsiteY24" fmla="*/ 25735 h 91013"/>
                    <a:gd name="connsiteX25" fmla="*/ 3138 w 62767"/>
                    <a:gd name="connsiteY25" fmla="*/ 16947 h 91013"/>
                    <a:gd name="connsiteX26" fmla="*/ 8788 w 62767"/>
                    <a:gd name="connsiteY26" fmla="*/ 8787 h 91013"/>
                    <a:gd name="connsiteX27" fmla="*/ 18203 w 62767"/>
                    <a:gd name="connsiteY27" fmla="*/ 2511 h 91013"/>
                    <a:gd name="connsiteX28" fmla="*/ 32011 w 62767"/>
                    <a:gd name="connsiteY28" fmla="*/ 0 h 91013"/>
                    <a:gd name="connsiteX29" fmla="*/ 48332 w 62767"/>
                    <a:gd name="connsiteY29" fmla="*/ 3138 h 91013"/>
                    <a:gd name="connsiteX30" fmla="*/ 55864 w 62767"/>
                    <a:gd name="connsiteY30" fmla="*/ 8787 h 91013"/>
                    <a:gd name="connsiteX31" fmla="*/ 60885 w 62767"/>
                    <a:gd name="connsiteY31" fmla="*/ 16947 h 91013"/>
                    <a:gd name="connsiteX32" fmla="*/ 62768 w 62767"/>
                    <a:gd name="connsiteY32" fmla="*/ 26362 h 91013"/>
                    <a:gd name="connsiteX33" fmla="*/ 59002 w 62767"/>
                    <a:gd name="connsiteY33" fmla="*/ 40171 h 91013"/>
                    <a:gd name="connsiteX34" fmla="*/ 51470 w 62767"/>
                    <a:gd name="connsiteY34" fmla="*/ 50214 h 91013"/>
                    <a:gd name="connsiteX35" fmla="*/ 38288 w 62767"/>
                    <a:gd name="connsiteY35" fmla="*/ 61513 h 91013"/>
                    <a:gd name="connsiteX36" fmla="*/ 25735 w 62767"/>
                    <a:gd name="connsiteY36" fmla="*/ 73438 h 91013"/>
                    <a:gd name="connsiteX37" fmla="*/ 20714 w 62767"/>
                    <a:gd name="connsiteY37" fmla="*/ 76577 h 910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62767" h="91013">
                      <a:moveTo>
                        <a:pt x="20714" y="76577"/>
                      </a:moveTo>
                      <a:lnTo>
                        <a:pt x="52725" y="76577"/>
                      </a:lnTo>
                      <a:cubicBezTo>
                        <a:pt x="55864" y="76577"/>
                        <a:pt x="58374" y="77204"/>
                        <a:pt x="60257" y="78460"/>
                      </a:cubicBezTo>
                      <a:cubicBezTo>
                        <a:pt x="62140" y="79715"/>
                        <a:pt x="62768" y="81598"/>
                        <a:pt x="62768" y="84109"/>
                      </a:cubicBezTo>
                      <a:cubicBezTo>
                        <a:pt x="62768" y="85992"/>
                        <a:pt x="62140" y="87875"/>
                        <a:pt x="60885" y="89130"/>
                      </a:cubicBezTo>
                      <a:cubicBezTo>
                        <a:pt x="59629" y="90386"/>
                        <a:pt x="57747" y="91013"/>
                        <a:pt x="54609" y="91013"/>
                      </a:cubicBezTo>
                      <a:lnTo>
                        <a:pt x="9415" y="91013"/>
                      </a:lnTo>
                      <a:cubicBezTo>
                        <a:pt x="6277" y="91013"/>
                        <a:pt x="3766" y="90386"/>
                        <a:pt x="2511" y="88503"/>
                      </a:cubicBezTo>
                      <a:cubicBezTo>
                        <a:pt x="628" y="86620"/>
                        <a:pt x="0" y="84737"/>
                        <a:pt x="0" y="82226"/>
                      </a:cubicBezTo>
                      <a:cubicBezTo>
                        <a:pt x="0" y="80971"/>
                        <a:pt x="628" y="79088"/>
                        <a:pt x="1883" y="76577"/>
                      </a:cubicBezTo>
                      <a:cubicBezTo>
                        <a:pt x="3138" y="74066"/>
                        <a:pt x="4394" y="72183"/>
                        <a:pt x="5649" y="70928"/>
                      </a:cubicBezTo>
                      <a:cubicBezTo>
                        <a:pt x="11299" y="65279"/>
                        <a:pt x="16319" y="60257"/>
                        <a:pt x="20714" y="56491"/>
                      </a:cubicBezTo>
                      <a:cubicBezTo>
                        <a:pt x="25107" y="52725"/>
                        <a:pt x="28246" y="49587"/>
                        <a:pt x="30129" y="48331"/>
                      </a:cubicBezTo>
                      <a:cubicBezTo>
                        <a:pt x="33267" y="45821"/>
                        <a:pt x="36406" y="43310"/>
                        <a:pt x="38288" y="41427"/>
                      </a:cubicBezTo>
                      <a:cubicBezTo>
                        <a:pt x="40799" y="38916"/>
                        <a:pt x="42055" y="36405"/>
                        <a:pt x="43310" y="33895"/>
                      </a:cubicBezTo>
                      <a:cubicBezTo>
                        <a:pt x="44565" y="31384"/>
                        <a:pt x="45193" y="28873"/>
                        <a:pt x="45193" y="26362"/>
                      </a:cubicBezTo>
                      <a:cubicBezTo>
                        <a:pt x="45193" y="23852"/>
                        <a:pt x="44565" y="21341"/>
                        <a:pt x="43310" y="19458"/>
                      </a:cubicBezTo>
                      <a:cubicBezTo>
                        <a:pt x="42055" y="17575"/>
                        <a:pt x="40172" y="15692"/>
                        <a:pt x="38288" y="14437"/>
                      </a:cubicBezTo>
                      <a:cubicBezTo>
                        <a:pt x="36406" y="13181"/>
                        <a:pt x="33895" y="12554"/>
                        <a:pt x="31384" y="12554"/>
                      </a:cubicBezTo>
                      <a:cubicBezTo>
                        <a:pt x="25735" y="12554"/>
                        <a:pt x="21969" y="15064"/>
                        <a:pt x="18830" y="19458"/>
                      </a:cubicBezTo>
                      <a:cubicBezTo>
                        <a:pt x="18203" y="20086"/>
                        <a:pt x="17575" y="21969"/>
                        <a:pt x="16948" y="24479"/>
                      </a:cubicBezTo>
                      <a:cubicBezTo>
                        <a:pt x="15692" y="26990"/>
                        <a:pt x="15064" y="29501"/>
                        <a:pt x="13809" y="30756"/>
                      </a:cubicBezTo>
                      <a:cubicBezTo>
                        <a:pt x="12554" y="32012"/>
                        <a:pt x="10671" y="33267"/>
                        <a:pt x="8160" y="33267"/>
                      </a:cubicBezTo>
                      <a:cubicBezTo>
                        <a:pt x="6277" y="33267"/>
                        <a:pt x="4394" y="32639"/>
                        <a:pt x="3138" y="31384"/>
                      </a:cubicBezTo>
                      <a:cubicBezTo>
                        <a:pt x="1883" y="30129"/>
                        <a:pt x="1256" y="28246"/>
                        <a:pt x="1256" y="25735"/>
                      </a:cubicBezTo>
                      <a:cubicBezTo>
                        <a:pt x="1256" y="22596"/>
                        <a:pt x="1883" y="20086"/>
                        <a:pt x="3138" y="16947"/>
                      </a:cubicBezTo>
                      <a:cubicBezTo>
                        <a:pt x="4394" y="13809"/>
                        <a:pt x="6277" y="11298"/>
                        <a:pt x="8788" y="8787"/>
                      </a:cubicBezTo>
                      <a:cubicBezTo>
                        <a:pt x="11299" y="6277"/>
                        <a:pt x="14437" y="4394"/>
                        <a:pt x="18203" y="2511"/>
                      </a:cubicBezTo>
                      <a:cubicBezTo>
                        <a:pt x="21969" y="1255"/>
                        <a:pt x="26363" y="0"/>
                        <a:pt x="32011" y="0"/>
                      </a:cubicBezTo>
                      <a:cubicBezTo>
                        <a:pt x="38288" y="0"/>
                        <a:pt x="43938" y="1255"/>
                        <a:pt x="48332" y="3138"/>
                      </a:cubicBezTo>
                      <a:cubicBezTo>
                        <a:pt x="51470" y="4394"/>
                        <a:pt x="53980" y="6277"/>
                        <a:pt x="55864" y="8787"/>
                      </a:cubicBezTo>
                      <a:cubicBezTo>
                        <a:pt x="57747" y="11298"/>
                        <a:pt x="59629" y="13809"/>
                        <a:pt x="60885" y="16947"/>
                      </a:cubicBezTo>
                      <a:cubicBezTo>
                        <a:pt x="62140" y="20086"/>
                        <a:pt x="62768" y="23224"/>
                        <a:pt x="62768" y="26362"/>
                      </a:cubicBezTo>
                      <a:cubicBezTo>
                        <a:pt x="62768" y="31384"/>
                        <a:pt x="61513" y="35778"/>
                        <a:pt x="59002" y="40171"/>
                      </a:cubicBezTo>
                      <a:cubicBezTo>
                        <a:pt x="56491" y="44565"/>
                        <a:pt x="53980" y="47704"/>
                        <a:pt x="51470" y="50214"/>
                      </a:cubicBezTo>
                      <a:cubicBezTo>
                        <a:pt x="48959" y="52725"/>
                        <a:pt x="44565" y="56491"/>
                        <a:pt x="38288" y="61513"/>
                      </a:cubicBezTo>
                      <a:cubicBezTo>
                        <a:pt x="32011" y="66534"/>
                        <a:pt x="27618" y="70300"/>
                        <a:pt x="25735" y="73438"/>
                      </a:cubicBezTo>
                      <a:cubicBezTo>
                        <a:pt x="22596" y="74066"/>
                        <a:pt x="21969" y="75321"/>
                        <a:pt x="20714" y="76577"/>
                      </a:cubicBezTo>
                      <a:close/>
                    </a:path>
                  </a:pathLst>
                </a:custGeom>
                <a:grpFill/>
                <a:ln w="62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sp>
            <p:nvSpPr>
              <p:cNvPr id="388" name="Forma Livre: Forma 387">
                <a:extLst>
                  <a:ext uri="{FF2B5EF4-FFF2-40B4-BE49-F238E27FC236}">
                    <a16:creationId xmlns:a16="http://schemas.microsoft.com/office/drawing/2014/main" id="{BF811674-3DB9-4FAC-8F5C-AF138914863C}"/>
                  </a:ext>
                </a:extLst>
              </p:cNvPr>
              <p:cNvSpPr/>
              <p:nvPr/>
            </p:nvSpPr>
            <p:spPr>
              <a:xfrm>
                <a:off x="10504546" y="1532112"/>
                <a:ext cx="398575" cy="340201"/>
              </a:xfrm>
              <a:custGeom>
                <a:avLst/>
                <a:gdLst>
                  <a:gd name="connsiteX0" fmla="*/ 381628 w 398575"/>
                  <a:gd name="connsiteY0" fmla="*/ 340202 h 340201"/>
                  <a:gd name="connsiteX1" fmla="*/ 16947 w 398575"/>
                  <a:gd name="connsiteY1" fmla="*/ 340202 h 340201"/>
                  <a:gd name="connsiteX2" fmla="*/ 0 w 398575"/>
                  <a:gd name="connsiteY2" fmla="*/ 323255 h 340201"/>
                  <a:gd name="connsiteX3" fmla="*/ 0 w 398575"/>
                  <a:gd name="connsiteY3" fmla="*/ 16947 h 340201"/>
                  <a:gd name="connsiteX4" fmla="*/ 16947 w 398575"/>
                  <a:gd name="connsiteY4" fmla="*/ 0 h 340201"/>
                  <a:gd name="connsiteX5" fmla="*/ 381628 w 398575"/>
                  <a:gd name="connsiteY5" fmla="*/ 0 h 340201"/>
                  <a:gd name="connsiteX6" fmla="*/ 398576 w 398575"/>
                  <a:gd name="connsiteY6" fmla="*/ 16947 h 340201"/>
                  <a:gd name="connsiteX7" fmla="*/ 398576 w 398575"/>
                  <a:gd name="connsiteY7" fmla="*/ 323255 h 340201"/>
                  <a:gd name="connsiteX8" fmla="*/ 381628 w 398575"/>
                  <a:gd name="connsiteY8" fmla="*/ 340202 h 340201"/>
                  <a:gd name="connsiteX9" fmla="*/ 381628 w 398575"/>
                  <a:gd name="connsiteY9" fmla="*/ 340202 h 340201"/>
                  <a:gd name="connsiteX10" fmla="*/ 33895 w 398575"/>
                  <a:gd name="connsiteY10" fmla="*/ 306935 h 340201"/>
                  <a:gd name="connsiteX11" fmla="*/ 365309 w 398575"/>
                  <a:gd name="connsiteY11" fmla="*/ 306935 h 340201"/>
                  <a:gd name="connsiteX12" fmla="*/ 365309 w 398575"/>
                  <a:gd name="connsiteY12" fmla="*/ 34522 h 340201"/>
                  <a:gd name="connsiteX13" fmla="*/ 33895 w 398575"/>
                  <a:gd name="connsiteY13" fmla="*/ 34522 h 340201"/>
                  <a:gd name="connsiteX14" fmla="*/ 33895 w 398575"/>
                  <a:gd name="connsiteY14" fmla="*/ 306935 h 340201"/>
                  <a:gd name="connsiteX15" fmla="*/ 33895 w 398575"/>
                  <a:gd name="connsiteY15" fmla="*/ 306935 h 340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98575" h="340201">
                    <a:moveTo>
                      <a:pt x="381628" y="340202"/>
                    </a:moveTo>
                    <a:lnTo>
                      <a:pt x="16947" y="340202"/>
                    </a:lnTo>
                    <a:cubicBezTo>
                      <a:pt x="7532" y="340202"/>
                      <a:pt x="0" y="332670"/>
                      <a:pt x="0" y="323255"/>
                    </a:cubicBezTo>
                    <a:lnTo>
                      <a:pt x="0" y="16947"/>
                    </a:lnTo>
                    <a:cubicBezTo>
                      <a:pt x="0" y="7532"/>
                      <a:pt x="7532" y="0"/>
                      <a:pt x="16947" y="0"/>
                    </a:cubicBezTo>
                    <a:lnTo>
                      <a:pt x="381628" y="0"/>
                    </a:lnTo>
                    <a:cubicBezTo>
                      <a:pt x="391043" y="0"/>
                      <a:pt x="398576" y="7532"/>
                      <a:pt x="398576" y="16947"/>
                    </a:cubicBezTo>
                    <a:lnTo>
                      <a:pt x="398576" y="323255"/>
                    </a:lnTo>
                    <a:cubicBezTo>
                      <a:pt x="398576" y="332670"/>
                      <a:pt x="391043" y="340202"/>
                      <a:pt x="381628" y="340202"/>
                    </a:cubicBezTo>
                    <a:lnTo>
                      <a:pt x="381628" y="340202"/>
                    </a:lnTo>
                    <a:close/>
                    <a:moveTo>
                      <a:pt x="33895" y="306935"/>
                    </a:moveTo>
                    <a:lnTo>
                      <a:pt x="365309" y="306935"/>
                    </a:lnTo>
                    <a:lnTo>
                      <a:pt x="365309" y="34522"/>
                    </a:lnTo>
                    <a:lnTo>
                      <a:pt x="33895" y="34522"/>
                    </a:lnTo>
                    <a:lnTo>
                      <a:pt x="33895" y="306935"/>
                    </a:lnTo>
                    <a:lnTo>
                      <a:pt x="33895" y="306935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89" name="Forma Livre: Forma 388">
                <a:extLst>
                  <a:ext uri="{FF2B5EF4-FFF2-40B4-BE49-F238E27FC236}">
                    <a16:creationId xmlns:a16="http://schemas.microsoft.com/office/drawing/2014/main" id="{39973372-3A6D-43F7-9E9E-B08036C5CCFE}"/>
                  </a:ext>
                </a:extLst>
              </p:cNvPr>
              <p:cNvSpPr/>
              <p:nvPr/>
            </p:nvSpPr>
            <p:spPr>
              <a:xfrm>
                <a:off x="10563548" y="1591741"/>
                <a:ext cx="280640" cy="222198"/>
              </a:xfrm>
              <a:custGeom>
                <a:avLst/>
                <a:gdLst>
                  <a:gd name="connsiteX0" fmla="*/ 272412 w 280640"/>
                  <a:gd name="connsiteY0" fmla="*/ 222198 h 222198"/>
                  <a:gd name="connsiteX1" fmla="*/ 8159 w 280640"/>
                  <a:gd name="connsiteY1" fmla="*/ 222198 h 222198"/>
                  <a:gd name="connsiteX2" fmla="*/ 0 w 280640"/>
                  <a:gd name="connsiteY2" fmla="*/ 214038 h 222198"/>
                  <a:gd name="connsiteX3" fmla="*/ 0 w 280640"/>
                  <a:gd name="connsiteY3" fmla="*/ 8160 h 222198"/>
                  <a:gd name="connsiteX4" fmla="*/ 8159 w 280640"/>
                  <a:gd name="connsiteY4" fmla="*/ 0 h 222198"/>
                  <a:gd name="connsiteX5" fmla="*/ 272412 w 280640"/>
                  <a:gd name="connsiteY5" fmla="*/ 0 h 222198"/>
                  <a:gd name="connsiteX6" fmla="*/ 280572 w 280640"/>
                  <a:gd name="connsiteY6" fmla="*/ 8160 h 222198"/>
                  <a:gd name="connsiteX7" fmla="*/ 280572 w 280640"/>
                  <a:gd name="connsiteY7" fmla="*/ 214038 h 222198"/>
                  <a:gd name="connsiteX8" fmla="*/ 272412 w 280640"/>
                  <a:gd name="connsiteY8" fmla="*/ 222198 h 222198"/>
                  <a:gd name="connsiteX9" fmla="*/ 272412 w 280640"/>
                  <a:gd name="connsiteY9" fmla="*/ 222198 h 222198"/>
                  <a:gd name="connsiteX10" fmla="*/ 16947 w 280640"/>
                  <a:gd name="connsiteY10" fmla="*/ 205251 h 222198"/>
                  <a:gd name="connsiteX11" fmla="*/ 264880 w 280640"/>
                  <a:gd name="connsiteY11" fmla="*/ 205251 h 222198"/>
                  <a:gd name="connsiteX12" fmla="*/ 264880 w 280640"/>
                  <a:gd name="connsiteY12" fmla="*/ 16320 h 222198"/>
                  <a:gd name="connsiteX13" fmla="*/ 16947 w 280640"/>
                  <a:gd name="connsiteY13" fmla="*/ 16320 h 222198"/>
                  <a:gd name="connsiteX14" fmla="*/ 16947 w 280640"/>
                  <a:gd name="connsiteY14" fmla="*/ 205251 h 222198"/>
                  <a:gd name="connsiteX15" fmla="*/ 16947 w 280640"/>
                  <a:gd name="connsiteY15" fmla="*/ 205251 h 222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80640" h="222198">
                    <a:moveTo>
                      <a:pt x="272412" y="222198"/>
                    </a:moveTo>
                    <a:lnTo>
                      <a:pt x="8159" y="222198"/>
                    </a:lnTo>
                    <a:cubicBezTo>
                      <a:pt x="3766" y="222198"/>
                      <a:pt x="0" y="218432"/>
                      <a:pt x="0" y="214038"/>
                    </a:cubicBezTo>
                    <a:lnTo>
                      <a:pt x="0" y="8160"/>
                    </a:lnTo>
                    <a:cubicBezTo>
                      <a:pt x="0" y="3766"/>
                      <a:pt x="3766" y="0"/>
                      <a:pt x="8159" y="0"/>
                    </a:cubicBezTo>
                    <a:lnTo>
                      <a:pt x="272412" y="0"/>
                    </a:lnTo>
                    <a:cubicBezTo>
                      <a:pt x="276806" y="0"/>
                      <a:pt x="280572" y="3766"/>
                      <a:pt x="280572" y="8160"/>
                    </a:cubicBezTo>
                    <a:lnTo>
                      <a:pt x="280572" y="214038"/>
                    </a:lnTo>
                    <a:cubicBezTo>
                      <a:pt x="281200" y="218432"/>
                      <a:pt x="277434" y="222198"/>
                      <a:pt x="272412" y="222198"/>
                    </a:cubicBezTo>
                    <a:lnTo>
                      <a:pt x="272412" y="222198"/>
                    </a:lnTo>
                    <a:close/>
                    <a:moveTo>
                      <a:pt x="16947" y="205251"/>
                    </a:moveTo>
                    <a:lnTo>
                      <a:pt x="264880" y="205251"/>
                    </a:lnTo>
                    <a:lnTo>
                      <a:pt x="264880" y="16320"/>
                    </a:lnTo>
                    <a:lnTo>
                      <a:pt x="16947" y="16320"/>
                    </a:lnTo>
                    <a:lnTo>
                      <a:pt x="16947" y="205251"/>
                    </a:lnTo>
                    <a:lnTo>
                      <a:pt x="16947" y="205251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90" name="Forma Livre: Forma 389">
                <a:extLst>
                  <a:ext uri="{FF2B5EF4-FFF2-40B4-BE49-F238E27FC236}">
                    <a16:creationId xmlns:a16="http://schemas.microsoft.com/office/drawing/2014/main" id="{362376DD-73CF-4FB5-83DB-F11F247C8A50}"/>
                  </a:ext>
                </a:extLst>
              </p:cNvPr>
              <p:cNvSpPr/>
              <p:nvPr/>
            </p:nvSpPr>
            <p:spPr>
              <a:xfrm>
                <a:off x="10714819" y="1788204"/>
                <a:ext cx="71555" cy="33894"/>
              </a:xfrm>
              <a:custGeom>
                <a:avLst/>
                <a:gdLst>
                  <a:gd name="connsiteX0" fmla="*/ 54608 w 71555"/>
                  <a:gd name="connsiteY0" fmla="*/ 33895 h 33894"/>
                  <a:gd name="connsiteX1" fmla="*/ 16947 w 71555"/>
                  <a:gd name="connsiteY1" fmla="*/ 33895 h 33894"/>
                  <a:gd name="connsiteX2" fmla="*/ 0 w 71555"/>
                  <a:gd name="connsiteY2" fmla="*/ 16947 h 33894"/>
                  <a:gd name="connsiteX3" fmla="*/ 16947 w 71555"/>
                  <a:gd name="connsiteY3" fmla="*/ 0 h 33894"/>
                  <a:gd name="connsiteX4" fmla="*/ 54608 w 71555"/>
                  <a:gd name="connsiteY4" fmla="*/ 0 h 33894"/>
                  <a:gd name="connsiteX5" fmla="*/ 71556 w 71555"/>
                  <a:gd name="connsiteY5" fmla="*/ 16947 h 33894"/>
                  <a:gd name="connsiteX6" fmla="*/ 54608 w 71555"/>
                  <a:gd name="connsiteY6" fmla="*/ 33895 h 33894"/>
                  <a:gd name="connsiteX7" fmla="*/ 54608 w 71555"/>
                  <a:gd name="connsiteY7" fmla="*/ 33895 h 338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1555" h="33894">
                    <a:moveTo>
                      <a:pt x="54608" y="33895"/>
                    </a:moveTo>
                    <a:lnTo>
                      <a:pt x="16947" y="33895"/>
                    </a:lnTo>
                    <a:cubicBezTo>
                      <a:pt x="7532" y="33895"/>
                      <a:pt x="0" y="26362"/>
                      <a:pt x="0" y="16947"/>
                    </a:cubicBezTo>
                    <a:cubicBezTo>
                      <a:pt x="0" y="7532"/>
                      <a:pt x="7532" y="0"/>
                      <a:pt x="16947" y="0"/>
                    </a:cubicBezTo>
                    <a:lnTo>
                      <a:pt x="54608" y="0"/>
                    </a:lnTo>
                    <a:cubicBezTo>
                      <a:pt x="64023" y="0"/>
                      <a:pt x="71556" y="7532"/>
                      <a:pt x="71556" y="16947"/>
                    </a:cubicBezTo>
                    <a:cubicBezTo>
                      <a:pt x="71556" y="26362"/>
                      <a:pt x="64023" y="33895"/>
                      <a:pt x="54608" y="33895"/>
                    </a:cubicBezTo>
                    <a:lnTo>
                      <a:pt x="54608" y="33895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391" name="Forma Livre: Forma 390">
              <a:extLst>
                <a:ext uri="{FF2B5EF4-FFF2-40B4-BE49-F238E27FC236}">
                  <a16:creationId xmlns:a16="http://schemas.microsoft.com/office/drawing/2014/main" id="{A783C19B-3F0B-4273-9DA6-456BC5740349}"/>
                </a:ext>
              </a:extLst>
            </p:cNvPr>
            <p:cNvSpPr/>
            <p:nvPr/>
          </p:nvSpPr>
          <p:spPr>
            <a:xfrm>
              <a:off x="10687201" y="1838419"/>
              <a:ext cx="33894" cy="96662"/>
            </a:xfrm>
            <a:custGeom>
              <a:avLst/>
              <a:gdLst>
                <a:gd name="connsiteX0" fmla="*/ 16947 w 33894"/>
                <a:gd name="connsiteY0" fmla="*/ 96663 h 96662"/>
                <a:gd name="connsiteX1" fmla="*/ 0 w 33894"/>
                <a:gd name="connsiteY1" fmla="*/ 79715 h 96662"/>
                <a:gd name="connsiteX2" fmla="*/ 0 w 33894"/>
                <a:gd name="connsiteY2" fmla="*/ 16947 h 96662"/>
                <a:gd name="connsiteX3" fmla="*/ 16947 w 33894"/>
                <a:gd name="connsiteY3" fmla="*/ 0 h 96662"/>
                <a:gd name="connsiteX4" fmla="*/ 33895 w 33894"/>
                <a:gd name="connsiteY4" fmla="*/ 16947 h 96662"/>
                <a:gd name="connsiteX5" fmla="*/ 33895 w 33894"/>
                <a:gd name="connsiteY5" fmla="*/ 79715 h 96662"/>
                <a:gd name="connsiteX6" fmla="*/ 16947 w 33894"/>
                <a:gd name="connsiteY6" fmla="*/ 96663 h 96662"/>
                <a:gd name="connsiteX7" fmla="*/ 16947 w 33894"/>
                <a:gd name="connsiteY7" fmla="*/ 96663 h 96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894" h="96662">
                  <a:moveTo>
                    <a:pt x="16947" y="96663"/>
                  </a:moveTo>
                  <a:cubicBezTo>
                    <a:pt x="7532" y="96663"/>
                    <a:pt x="0" y="89130"/>
                    <a:pt x="0" y="79715"/>
                  </a:cubicBezTo>
                  <a:lnTo>
                    <a:pt x="0" y="16947"/>
                  </a:lnTo>
                  <a:cubicBezTo>
                    <a:pt x="0" y="7532"/>
                    <a:pt x="7532" y="0"/>
                    <a:pt x="16947" y="0"/>
                  </a:cubicBezTo>
                  <a:cubicBezTo>
                    <a:pt x="26362" y="0"/>
                    <a:pt x="33895" y="7532"/>
                    <a:pt x="33895" y="16947"/>
                  </a:cubicBezTo>
                  <a:lnTo>
                    <a:pt x="33895" y="79715"/>
                  </a:lnTo>
                  <a:cubicBezTo>
                    <a:pt x="33267" y="89130"/>
                    <a:pt x="26362" y="96663"/>
                    <a:pt x="16947" y="96663"/>
                  </a:cubicBezTo>
                  <a:lnTo>
                    <a:pt x="16947" y="96663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92" name="Forma Livre: Forma 391">
              <a:extLst>
                <a:ext uri="{FF2B5EF4-FFF2-40B4-BE49-F238E27FC236}">
                  <a16:creationId xmlns:a16="http://schemas.microsoft.com/office/drawing/2014/main" id="{A81E49F7-E7DE-40BB-ACA1-0DA0C9116916}"/>
                </a:ext>
              </a:extLst>
            </p:cNvPr>
            <p:cNvSpPr/>
            <p:nvPr/>
          </p:nvSpPr>
          <p:spPr>
            <a:xfrm>
              <a:off x="10607799" y="1846265"/>
              <a:ext cx="192697" cy="113923"/>
            </a:xfrm>
            <a:custGeom>
              <a:avLst/>
              <a:gdLst>
                <a:gd name="connsiteX0" fmla="*/ 176064 w 192697"/>
                <a:gd name="connsiteY0" fmla="*/ 113924 h 113923"/>
                <a:gd name="connsiteX1" fmla="*/ 164138 w 192697"/>
                <a:gd name="connsiteY1" fmla="*/ 108902 h 113923"/>
                <a:gd name="connsiteX2" fmla="*/ 96349 w 192697"/>
                <a:gd name="connsiteY2" fmla="*/ 40485 h 113923"/>
                <a:gd name="connsiteX3" fmla="*/ 28560 w 192697"/>
                <a:gd name="connsiteY3" fmla="*/ 108902 h 113923"/>
                <a:gd name="connsiteX4" fmla="*/ 4708 w 192697"/>
                <a:gd name="connsiteY4" fmla="*/ 108902 h 113923"/>
                <a:gd name="connsiteX5" fmla="*/ 4708 w 192697"/>
                <a:gd name="connsiteY5" fmla="*/ 85050 h 113923"/>
                <a:gd name="connsiteX6" fmla="*/ 84423 w 192697"/>
                <a:gd name="connsiteY6" fmla="*/ 4708 h 113923"/>
                <a:gd name="connsiteX7" fmla="*/ 108275 w 192697"/>
                <a:gd name="connsiteY7" fmla="*/ 4708 h 113923"/>
                <a:gd name="connsiteX8" fmla="*/ 187990 w 192697"/>
                <a:gd name="connsiteY8" fmla="*/ 85050 h 113923"/>
                <a:gd name="connsiteX9" fmla="*/ 187990 w 192697"/>
                <a:gd name="connsiteY9" fmla="*/ 108902 h 113923"/>
                <a:gd name="connsiteX10" fmla="*/ 176064 w 192697"/>
                <a:gd name="connsiteY10" fmla="*/ 113924 h 113923"/>
                <a:gd name="connsiteX11" fmla="*/ 176064 w 192697"/>
                <a:gd name="connsiteY11" fmla="*/ 113924 h 113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2697" h="113923">
                  <a:moveTo>
                    <a:pt x="176064" y="113924"/>
                  </a:moveTo>
                  <a:cubicBezTo>
                    <a:pt x="171670" y="113924"/>
                    <a:pt x="167277" y="112041"/>
                    <a:pt x="164138" y="108902"/>
                  </a:cubicBezTo>
                  <a:lnTo>
                    <a:pt x="96349" y="40485"/>
                  </a:lnTo>
                  <a:lnTo>
                    <a:pt x="28560" y="108902"/>
                  </a:lnTo>
                  <a:cubicBezTo>
                    <a:pt x="22283" y="115179"/>
                    <a:pt x="11612" y="115179"/>
                    <a:pt x="4708" y="108902"/>
                  </a:cubicBezTo>
                  <a:cubicBezTo>
                    <a:pt x="-1569" y="102625"/>
                    <a:pt x="-1569" y="91955"/>
                    <a:pt x="4708" y="85050"/>
                  </a:cubicBezTo>
                  <a:lnTo>
                    <a:pt x="84423" y="4708"/>
                  </a:lnTo>
                  <a:cubicBezTo>
                    <a:pt x="90700" y="-1569"/>
                    <a:pt x="101998" y="-1569"/>
                    <a:pt x="108275" y="4708"/>
                  </a:cubicBezTo>
                  <a:lnTo>
                    <a:pt x="187990" y="85050"/>
                  </a:lnTo>
                  <a:cubicBezTo>
                    <a:pt x="194267" y="91327"/>
                    <a:pt x="194267" y="101998"/>
                    <a:pt x="187990" y="108902"/>
                  </a:cubicBezTo>
                  <a:cubicBezTo>
                    <a:pt x="184224" y="112041"/>
                    <a:pt x="180458" y="113924"/>
                    <a:pt x="176064" y="113924"/>
                  </a:cubicBezTo>
                  <a:lnTo>
                    <a:pt x="176064" y="113924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393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9475153" y="3617260"/>
            <a:ext cx="403596" cy="391043"/>
            <a:chOff x="9475153" y="3617260"/>
            <a:chExt cx="403596" cy="391043"/>
          </a:xfrm>
          <a:solidFill>
            <a:srgbClr val="B1B1A1"/>
          </a:solidFill>
        </p:grpSpPr>
        <p:grpSp>
          <p:nvGrpSpPr>
            <p:cNvPr id="394" name="Gráfico 2">
              <a:extLst>
                <a:ext uri="{FF2B5EF4-FFF2-40B4-BE49-F238E27FC236}">
                  <a16:creationId xmlns:a16="http://schemas.microsoft.com/office/drawing/2014/main" id="{83F95F55-5D1D-4425-8D77-756B15108235}"/>
                </a:ext>
              </a:extLst>
            </p:cNvPr>
            <p:cNvGrpSpPr/>
            <p:nvPr/>
          </p:nvGrpSpPr>
          <p:grpSpPr>
            <a:xfrm>
              <a:off x="9596923" y="3617260"/>
              <a:ext cx="281827" cy="282455"/>
              <a:chOff x="9596923" y="3617260"/>
              <a:chExt cx="281827" cy="282455"/>
            </a:xfrm>
            <a:grpFill/>
          </p:grpSpPr>
          <p:sp>
            <p:nvSpPr>
              <p:cNvPr id="395" name="Forma Livre: Forma 394">
                <a:extLst>
                  <a:ext uri="{FF2B5EF4-FFF2-40B4-BE49-F238E27FC236}">
                    <a16:creationId xmlns:a16="http://schemas.microsoft.com/office/drawing/2014/main" id="{83F08B83-6BD6-4185-8614-7DFDDA0D5EB3}"/>
                  </a:ext>
                </a:extLst>
              </p:cNvPr>
              <p:cNvSpPr/>
              <p:nvPr/>
            </p:nvSpPr>
            <p:spPr>
              <a:xfrm>
                <a:off x="9596923" y="3661198"/>
                <a:ext cx="238517" cy="238517"/>
              </a:xfrm>
              <a:custGeom>
                <a:avLst/>
                <a:gdLst>
                  <a:gd name="connsiteX0" fmla="*/ 119259 w 238517"/>
                  <a:gd name="connsiteY0" fmla="*/ 238518 h 238517"/>
                  <a:gd name="connsiteX1" fmla="*/ 35150 w 238517"/>
                  <a:gd name="connsiteY1" fmla="*/ 203368 h 238517"/>
                  <a:gd name="connsiteX2" fmla="*/ 0 w 238517"/>
                  <a:gd name="connsiteY2" fmla="*/ 119259 h 238517"/>
                  <a:gd name="connsiteX3" fmla="*/ 35150 w 238517"/>
                  <a:gd name="connsiteY3" fmla="*/ 35150 h 238517"/>
                  <a:gd name="connsiteX4" fmla="*/ 119259 w 238517"/>
                  <a:gd name="connsiteY4" fmla="*/ 0 h 238517"/>
                  <a:gd name="connsiteX5" fmla="*/ 203367 w 238517"/>
                  <a:gd name="connsiteY5" fmla="*/ 35150 h 238517"/>
                  <a:gd name="connsiteX6" fmla="*/ 238518 w 238517"/>
                  <a:gd name="connsiteY6" fmla="*/ 119259 h 238517"/>
                  <a:gd name="connsiteX7" fmla="*/ 203367 w 238517"/>
                  <a:gd name="connsiteY7" fmla="*/ 203368 h 238517"/>
                  <a:gd name="connsiteX8" fmla="*/ 119259 w 238517"/>
                  <a:gd name="connsiteY8" fmla="*/ 238518 h 238517"/>
                  <a:gd name="connsiteX9" fmla="*/ 119259 w 238517"/>
                  <a:gd name="connsiteY9" fmla="*/ 238518 h 238517"/>
                  <a:gd name="connsiteX10" fmla="*/ 119259 w 238517"/>
                  <a:gd name="connsiteY10" fmla="*/ 33895 h 238517"/>
                  <a:gd name="connsiteX11" fmla="*/ 58374 w 238517"/>
                  <a:gd name="connsiteY11" fmla="*/ 59002 h 238517"/>
                  <a:gd name="connsiteX12" fmla="*/ 33267 w 238517"/>
                  <a:gd name="connsiteY12" fmla="*/ 119887 h 238517"/>
                  <a:gd name="connsiteX13" fmla="*/ 58374 w 238517"/>
                  <a:gd name="connsiteY13" fmla="*/ 180772 h 238517"/>
                  <a:gd name="connsiteX14" fmla="*/ 119259 w 238517"/>
                  <a:gd name="connsiteY14" fmla="*/ 205879 h 238517"/>
                  <a:gd name="connsiteX15" fmla="*/ 180143 w 238517"/>
                  <a:gd name="connsiteY15" fmla="*/ 180772 h 238517"/>
                  <a:gd name="connsiteX16" fmla="*/ 205251 w 238517"/>
                  <a:gd name="connsiteY16" fmla="*/ 119887 h 238517"/>
                  <a:gd name="connsiteX17" fmla="*/ 180143 w 238517"/>
                  <a:gd name="connsiteY17" fmla="*/ 59002 h 238517"/>
                  <a:gd name="connsiteX18" fmla="*/ 119259 w 238517"/>
                  <a:gd name="connsiteY18" fmla="*/ 33895 h 238517"/>
                  <a:gd name="connsiteX19" fmla="*/ 119259 w 238517"/>
                  <a:gd name="connsiteY19" fmla="*/ 33895 h 2385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38517" h="238517">
                    <a:moveTo>
                      <a:pt x="119259" y="238518"/>
                    </a:moveTo>
                    <a:cubicBezTo>
                      <a:pt x="87247" y="238518"/>
                      <a:pt x="57746" y="225964"/>
                      <a:pt x="35150" y="203368"/>
                    </a:cubicBezTo>
                    <a:cubicBezTo>
                      <a:pt x="12554" y="180772"/>
                      <a:pt x="0" y="150643"/>
                      <a:pt x="0" y="119259"/>
                    </a:cubicBezTo>
                    <a:cubicBezTo>
                      <a:pt x="0" y="87247"/>
                      <a:pt x="12554" y="57746"/>
                      <a:pt x="35150" y="35150"/>
                    </a:cubicBezTo>
                    <a:cubicBezTo>
                      <a:pt x="57746" y="12554"/>
                      <a:pt x="87875" y="0"/>
                      <a:pt x="119259" y="0"/>
                    </a:cubicBezTo>
                    <a:cubicBezTo>
                      <a:pt x="151270" y="0"/>
                      <a:pt x="180771" y="12554"/>
                      <a:pt x="203367" y="35150"/>
                    </a:cubicBezTo>
                    <a:cubicBezTo>
                      <a:pt x="225964" y="57746"/>
                      <a:pt x="238518" y="87247"/>
                      <a:pt x="238518" y="119259"/>
                    </a:cubicBezTo>
                    <a:cubicBezTo>
                      <a:pt x="238518" y="151271"/>
                      <a:pt x="225964" y="180772"/>
                      <a:pt x="203367" y="203368"/>
                    </a:cubicBezTo>
                    <a:cubicBezTo>
                      <a:pt x="180771" y="226592"/>
                      <a:pt x="150643" y="238518"/>
                      <a:pt x="119259" y="238518"/>
                    </a:cubicBezTo>
                    <a:lnTo>
                      <a:pt x="119259" y="238518"/>
                    </a:lnTo>
                    <a:close/>
                    <a:moveTo>
                      <a:pt x="119259" y="33895"/>
                    </a:moveTo>
                    <a:cubicBezTo>
                      <a:pt x="96034" y="33895"/>
                      <a:pt x="74693" y="42682"/>
                      <a:pt x="58374" y="59002"/>
                    </a:cubicBezTo>
                    <a:cubicBezTo>
                      <a:pt x="42054" y="75321"/>
                      <a:pt x="33267" y="96662"/>
                      <a:pt x="33267" y="119887"/>
                    </a:cubicBezTo>
                    <a:cubicBezTo>
                      <a:pt x="33267" y="143111"/>
                      <a:pt x="42054" y="164452"/>
                      <a:pt x="58374" y="180772"/>
                    </a:cubicBezTo>
                    <a:cubicBezTo>
                      <a:pt x="74693" y="197091"/>
                      <a:pt x="96034" y="205879"/>
                      <a:pt x="119259" y="205879"/>
                    </a:cubicBezTo>
                    <a:cubicBezTo>
                      <a:pt x="142483" y="205879"/>
                      <a:pt x="163824" y="197091"/>
                      <a:pt x="180143" y="180772"/>
                    </a:cubicBezTo>
                    <a:cubicBezTo>
                      <a:pt x="196463" y="164452"/>
                      <a:pt x="205251" y="143111"/>
                      <a:pt x="205251" y="119887"/>
                    </a:cubicBezTo>
                    <a:cubicBezTo>
                      <a:pt x="205251" y="97290"/>
                      <a:pt x="196463" y="75321"/>
                      <a:pt x="180143" y="59002"/>
                    </a:cubicBezTo>
                    <a:cubicBezTo>
                      <a:pt x="163824" y="42682"/>
                      <a:pt x="141855" y="33895"/>
                      <a:pt x="119259" y="33895"/>
                    </a:cubicBezTo>
                    <a:lnTo>
                      <a:pt x="119259" y="33895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96" name="Forma Livre: Forma 395">
                <a:extLst>
                  <a:ext uri="{FF2B5EF4-FFF2-40B4-BE49-F238E27FC236}">
                    <a16:creationId xmlns:a16="http://schemas.microsoft.com/office/drawing/2014/main" id="{9B69E913-3253-4E72-A2D6-CD2981FCA8C7}"/>
                  </a:ext>
                </a:extLst>
              </p:cNvPr>
              <p:cNvSpPr/>
              <p:nvPr/>
            </p:nvSpPr>
            <p:spPr>
              <a:xfrm>
                <a:off x="9772986" y="3619457"/>
                <a:ext cx="104194" cy="104508"/>
              </a:xfrm>
              <a:custGeom>
                <a:avLst/>
                <a:gdLst>
                  <a:gd name="connsiteX0" fmla="*/ 16634 w 104194"/>
                  <a:gd name="connsiteY0" fmla="*/ 104508 h 104508"/>
                  <a:gd name="connsiteX1" fmla="*/ 4708 w 104194"/>
                  <a:gd name="connsiteY1" fmla="*/ 99487 h 104508"/>
                  <a:gd name="connsiteX2" fmla="*/ 4708 w 104194"/>
                  <a:gd name="connsiteY2" fmla="*/ 75635 h 104508"/>
                  <a:gd name="connsiteX3" fmla="*/ 75636 w 104194"/>
                  <a:gd name="connsiteY3" fmla="*/ 4708 h 104508"/>
                  <a:gd name="connsiteX4" fmla="*/ 99487 w 104194"/>
                  <a:gd name="connsiteY4" fmla="*/ 4708 h 104508"/>
                  <a:gd name="connsiteX5" fmla="*/ 99487 w 104194"/>
                  <a:gd name="connsiteY5" fmla="*/ 28559 h 104508"/>
                  <a:gd name="connsiteX6" fmla="*/ 28560 w 104194"/>
                  <a:gd name="connsiteY6" fmla="*/ 99487 h 104508"/>
                  <a:gd name="connsiteX7" fmla="*/ 16634 w 104194"/>
                  <a:gd name="connsiteY7" fmla="*/ 104508 h 104508"/>
                  <a:gd name="connsiteX8" fmla="*/ 16634 w 104194"/>
                  <a:gd name="connsiteY8" fmla="*/ 104508 h 1045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4194" h="104508">
                    <a:moveTo>
                      <a:pt x="16634" y="104508"/>
                    </a:moveTo>
                    <a:cubicBezTo>
                      <a:pt x="12240" y="104508"/>
                      <a:pt x="7846" y="102625"/>
                      <a:pt x="4708" y="99487"/>
                    </a:cubicBezTo>
                    <a:cubicBezTo>
                      <a:pt x="-1569" y="93210"/>
                      <a:pt x="-1569" y="82540"/>
                      <a:pt x="4708" y="75635"/>
                    </a:cubicBezTo>
                    <a:lnTo>
                      <a:pt x="75636" y="4708"/>
                    </a:lnTo>
                    <a:cubicBezTo>
                      <a:pt x="81912" y="-1569"/>
                      <a:pt x="92583" y="-1569"/>
                      <a:pt x="99487" y="4708"/>
                    </a:cubicBezTo>
                    <a:cubicBezTo>
                      <a:pt x="105764" y="10984"/>
                      <a:pt x="105764" y="21655"/>
                      <a:pt x="99487" y="28559"/>
                    </a:cubicBezTo>
                    <a:lnTo>
                      <a:pt x="28560" y="99487"/>
                    </a:lnTo>
                    <a:cubicBezTo>
                      <a:pt x="25421" y="102625"/>
                      <a:pt x="21027" y="104508"/>
                      <a:pt x="16634" y="104508"/>
                    </a:cubicBezTo>
                    <a:lnTo>
                      <a:pt x="16634" y="104508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397" name="Forma Livre: Forma 396">
                <a:extLst>
                  <a:ext uri="{FF2B5EF4-FFF2-40B4-BE49-F238E27FC236}">
                    <a16:creationId xmlns:a16="http://schemas.microsoft.com/office/drawing/2014/main" id="{83EB3BD5-B1FD-4DBF-A5E9-98DB7116AEA2}"/>
                  </a:ext>
                </a:extLst>
              </p:cNvPr>
              <p:cNvSpPr/>
              <p:nvPr/>
            </p:nvSpPr>
            <p:spPr>
              <a:xfrm>
                <a:off x="9762002" y="3617260"/>
                <a:ext cx="116748" cy="116748"/>
              </a:xfrm>
              <a:custGeom>
                <a:avLst/>
                <a:gdLst>
                  <a:gd name="connsiteX0" fmla="*/ 99801 w 116748"/>
                  <a:gd name="connsiteY0" fmla="*/ 116748 h 116748"/>
                  <a:gd name="connsiteX1" fmla="*/ 82854 w 116748"/>
                  <a:gd name="connsiteY1" fmla="*/ 99801 h 116748"/>
                  <a:gd name="connsiteX2" fmla="*/ 82854 w 116748"/>
                  <a:gd name="connsiteY2" fmla="*/ 33895 h 116748"/>
                  <a:gd name="connsiteX3" fmla="*/ 16948 w 116748"/>
                  <a:gd name="connsiteY3" fmla="*/ 33895 h 116748"/>
                  <a:gd name="connsiteX4" fmla="*/ 0 w 116748"/>
                  <a:gd name="connsiteY4" fmla="*/ 16947 h 116748"/>
                  <a:gd name="connsiteX5" fmla="*/ 16948 w 116748"/>
                  <a:gd name="connsiteY5" fmla="*/ 0 h 116748"/>
                  <a:gd name="connsiteX6" fmla="*/ 99801 w 116748"/>
                  <a:gd name="connsiteY6" fmla="*/ 0 h 116748"/>
                  <a:gd name="connsiteX7" fmla="*/ 116748 w 116748"/>
                  <a:gd name="connsiteY7" fmla="*/ 16947 h 116748"/>
                  <a:gd name="connsiteX8" fmla="*/ 116748 w 116748"/>
                  <a:gd name="connsiteY8" fmla="*/ 99801 h 116748"/>
                  <a:gd name="connsiteX9" fmla="*/ 99801 w 116748"/>
                  <a:gd name="connsiteY9" fmla="*/ 116748 h 116748"/>
                  <a:gd name="connsiteX10" fmla="*/ 99801 w 116748"/>
                  <a:gd name="connsiteY10" fmla="*/ 116748 h 116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6748" h="116748">
                    <a:moveTo>
                      <a:pt x="99801" y="116748"/>
                    </a:moveTo>
                    <a:cubicBezTo>
                      <a:pt x="90386" y="116748"/>
                      <a:pt x="82854" y="109216"/>
                      <a:pt x="82854" y="99801"/>
                    </a:cubicBezTo>
                    <a:lnTo>
                      <a:pt x="82854" y="33895"/>
                    </a:lnTo>
                    <a:lnTo>
                      <a:pt x="16948" y="33895"/>
                    </a:lnTo>
                    <a:cubicBezTo>
                      <a:pt x="7533" y="33895"/>
                      <a:pt x="0" y="26362"/>
                      <a:pt x="0" y="16947"/>
                    </a:cubicBezTo>
                    <a:cubicBezTo>
                      <a:pt x="0" y="7532"/>
                      <a:pt x="7533" y="0"/>
                      <a:pt x="16948" y="0"/>
                    </a:cubicBezTo>
                    <a:lnTo>
                      <a:pt x="99801" y="0"/>
                    </a:lnTo>
                    <a:cubicBezTo>
                      <a:pt x="109216" y="0"/>
                      <a:pt x="116748" y="7532"/>
                      <a:pt x="116748" y="16947"/>
                    </a:cubicBezTo>
                    <a:lnTo>
                      <a:pt x="116748" y="99801"/>
                    </a:lnTo>
                    <a:cubicBezTo>
                      <a:pt x="116748" y="109216"/>
                      <a:pt x="109216" y="116748"/>
                      <a:pt x="99801" y="116748"/>
                    </a:cubicBezTo>
                    <a:lnTo>
                      <a:pt x="99801" y="116748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398" name="Forma Livre: Forma 397">
              <a:extLst>
                <a:ext uri="{FF2B5EF4-FFF2-40B4-BE49-F238E27FC236}">
                  <a16:creationId xmlns:a16="http://schemas.microsoft.com/office/drawing/2014/main" id="{68F84A63-02AB-4224-9122-2B453EC3E188}"/>
                </a:ext>
              </a:extLst>
            </p:cNvPr>
            <p:cNvSpPr/>
            <p:nvPr/>
          </p:nvSpPr>
          <p:spPr>
            <a:xfrm>
              <a:off x="9577464" y="3874608"/>
              <a:ext cx="33894" cy="133695"/>
            </a:xfrm>
            <a:custGeom>
              <a:avLst/>
              <a:gdLst>
                <a:gd name="connsiteX0" fmla="*/ 16948 w 33894"/>
                <a:gd name="connsiteY0" fmla="*/ 133696 h 133695"/>
                <a:gd name="connsiteX1" fmla="*/ 0 w 33894"/>
                <a:gd name="connsiteY1" fmla="*/ 116748 h 133695"/>
                <a:gd name="connsiteX2" fmla="*/ 0 w 33894"/>
                <a:gd name="connsiteY2" fmla="*/ 16947 h 133695"/>
                <a:gd name="connsiteX3" fmla="*/ 16948 w 33894"/>
                <a:gd name="connsiteY3" fmla="*/ 0 h 133695"/>
                <a:gd name="connsiteX4" fmla="*/ 33895 w 33894"/>
                <a:gd name="connsiteY4" fmla="*/ 16947 h 133695"/>
                <a:gd name="connsiteX5" fmla="*/ 33895 w 33894"/>
                <a:gd name="connsiteY5" fmla="*/ 116748 h 133695"/>
                <a:gd name="connsiteX6" fmla="*/ 16948 w 33894"/>
                <a:gd name="connsiteY6" fmla="*/ 133696 h 133695"/>
                <a:gd name="connsiteX7" fmla="*/ 16948 w 33894"/>
                <a:gd name="connsiteY7" fmla="*/ 133696 h 133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894" h="133695">
                  <a:moveTo>
                    <a:pt x="16948" y="133696"/>
                  </a:moveTo>
                  <a:cubicBezTo>
                    <a:pt x="7533" y="133696"/>
                    <a:pt x="0" y="126164"/>
                    <a:pt x="0" y="116748"/>
                  </a:cubicBezTo>
                  <a:lnTo>
                    <a:pt x="0" y="16947"/>
                  </a:lnTo>
                  <a:cubicBezTo>
                    <a:pt x="0" y="7532"/>
                    <a:pt x="7533" y="0"/>
                    <a:pt x="16948" y="0"/>
                  </a:cubicBezTo>
                  <a:cubicBezTo>
                    <a:pt x="26363" y="0"/>
                    <a:pt x="33895" y="7532"/>
                    <a:pt x="33895" y="16947"/>
                  </a:cubicBezTo>
                  <a:lnTo>
                    <a:pt x="33895" y="116748"/>
                  </a:lnTo>
                  <a:cubicBezTo>
                    <a:pt x="33895" y="126164"/>
                    <a:pt x="26363" y="133696"/>
                    <a:pt x="16948" y="133696"/>
                  </a:cubicBezTo>
                  <a:lnTo>
                    <a:pt x="16948" y="133696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399" name="Forma Livre: Forma 398">
              <a:extLst>
                <a:ext uri="{FF2B5EF4-FFF2-40B4-BE49-F238E27FC236}">
                  <a16:creationId xmlns:a16="http://schemas.microsoft.com/office/drawing/2014/main" id="{15122E15-8ABE-49DF-91A8-E275E70540C0}"/>
                </a:ext>
              </a:extLst>
            </p:cNvPr>
            <p:cNvSpPr/>
            <p:nvPr/>
          </p:nvSpPr>
          <p:spPr>
            <a:xfrm>
              <a:off x="9527878" y="3924822"/>
              <a:ext cx="133695" cy="33894"/>
            </a:xfrm>
            <a:custGeom>
              <a:avLst/>
              <a:gdLst>
                <a:gd name="connsiteX0" fmla="*/ 16947 w 133695"/>
                <a:gd name="connsiteY0" fmla="*/ 33895 h 33894"/>
                <a:gd name="connsiteX1" fmla="*/ 0 w 133695"/>
                <a:gd name="connsiteY1" fmla="*/ 16947 h 33894"/>
                <a:gd name="connsiteX2" fmla="*/ 16947 w 133695"/>
                <a:gd name="connsiteY2" fmla="*/ 0 h 33894"/>
                <a:gd name="connsiteX3" fmla="*/ 116748 w 133695"/>
                <a:gd name="connsiteY3" fmla="*/ 0 h 33894"/>
                <a:gd name="connsiteX4" fmla="*/ 133695 w 133695"/>
                <a:gd name="connsiteY4" fmla="*/ 16947 h 33894"/>
                <a:gd name="connsiteX5" fmla="*/ 116748 w 133695"/>
                <a:gd name="connsiteY5" fmla="*/ 33895 h 33894"/>
                <a:gd name="connsiteX6" fmla="*/ 16947 w 133695"/>
                <a:gd name="connsiteY6" fmla="*/ 33895 h 33894"/>
                <a:gd name="connsiteX7" fmla="*/ 16947 w 133695"/>
                <a:gd name="connsiteY7" fmla="*/ 33895 h 3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3695" h="33894">
                  <a:moveTo>
                    <a:pt x="16947" y="33895"/>
                  </a:moveTo>
                  <a:cubicBezTo>
                    <a:pt x="7532" y="33895"/>
                    <a:pt x="0" y="26363"/>
                    <a:pt x="0" y="16947"/>
                  </a:cubicBezTo>
                  <a:cubicBezTo>
                    <a:pt x="0" y="7532"/>
                    <a:pt x="7532" y="0"/>
                    <a:pt x="16947" y="0"/>
                  </a:cubicBezTo>
                  <a:lnTo>
                    <a:pt x="116748" y="0"/>
                  </a:lnTo>
                  <a:cubicBezTo>
                    <a:pt x="126163" y="0"/>
                    <a:pt x="133695" y="7532"/>
                    <a:pt x="133695" y="16947"/>
                  </a:cubicBezTo>
                  <a:cubicBezTo>
                    <a:pt x="133695" y="26363"/>
                    <a:pt x="126163" y="33895"/>
                    <a:pt x="116748" y="33895"/>
                  </a:cubicBezTo>
                  <a:lnTo>
                    <a:pt x="16947" y="33895"/>
                  </a:lnTo>
                  <a:lnTo>
                    <a:pt x="16947" y="33895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00" name="Forma Livre: Forma 399">
              <a:extLst>
                <a:ext uri="{FF2B5EF4-FFF2-40B4-BE49-F238E27FC236}">
                  <a16:creationId xmlns:a16="http://schemas.microsoft.com/office/drawing/2014/main" id="{17011AE5-2B0E-4D85-B88A-0D0E52FEDD45}"/>
                </a:ext>
              </a:extLst>
            </p:cNvPr>
            <p:cNvSpPr/>
            <p:nvPr/>
          </p:nvSpPr>
          <p:spPr>
            <a:xfrm>
              <a:off x="9475153" y="3661198"/>
              <a:ext cx="238517" cy="238517"/>
            </a:xfrm>
            <a:custGeom>
              <a:avLst/>
              <a:gdLst>
                <a:gd name="connsiteX0" fmla="*/ 119259 w 238517"/>
                <a:gd name="connsiteY0" fmla="*/ 238518 h 238517"/>
                <a:gd name="connsiteX1" fmla="*/ 35150 w 238517"/>
                <a:gd name="connsiteY1" fmla="*/ 203368 h 238517"/>
                <a:gd name="connsiteX2" fmla="*/ 0 w 238517"/>
                <a:gd name="connsiteY2" fmla="*/ 119259 h 238517"/>
                <a:gd name="connsiteX3" fmla="*/ 35150 w 238517"/>
                <a:gd name="connsiteY3" fmla="*/ 35150 h 238517"/>
                <a:gd name="connsiteX4" fmla="*/ 119259 w 238517"/>
                <a:gd name="connsiteY4" fmla="*/ 0 h 238517"/>
                <a:gd name="connsiteX5" fmla="*/ 203368 w 238517"/>
                <a:gd name="connsiteY5" fmla="*/ 35150 h 238517"/>
                <a:gd name="connsiteX6" fmla="*/ 238518 w 238517"/>
                <a:gd name="connsiteY6" fmla="*/ 119259 h 238517"/>
                <a:gd name="connsiteX7" fmla="*/ 203368 w 238517"/>
                <a:gd name="connsiteY7" fmla="*/ 203368 h 238517"/>
                <a:gd name="connsiteX8" fmla="*/ 119259 w 238517"/>
                <a:gd name="connsiteY8" fmla="*/ 238518 h 238517"/>
                <a:gd name="connsiteX9" fmla="*/ 119259 w 238517"/>
                <a:gd name="connsiteY9" fmla="*/ 238518 h 238517"/>
                <a:gd name="connsiteX10" fmla="*/ 119259 w 238517"/>
                <a:gd name="connsiteY10" fmla="*/ 33895 h 238517"/>
                <a:gd name="connsiteX11" fmla="*/ 58374 w 238517"/>
                <a:gd name="connsiteY11" fmla="*/ 59002 h 238517"/>
                <a:gd name="connsiteX12" fmla="*/ 33267 w 238517"/>
                <a:gd name="connsiteY12" fmla="*/ 119887 h 238517"/>
                <a:gd name="connsiteX13" fmla="*/ 58374 w 238517"/>
                <a:gd name="connsiteY13" fmla="*/ 180772 h 238517"/>
                <a:gd name="connsiteX14" fmla="*/ 119259 w 238517"/>
                <a:gd name="connsiteY14" fmla="*/ 205879 h 238517"/>
                <a:gd name="connsiteX15" fmla="*/ 180143 w 238517"/>
                <a:gd name="connsiteY15" fmla="*/ 180772 h 238517"/>
                <a:gd name="connsiteX16" fmla="*/ 205251 w 238517"/>
                <a:gd name="connsiteY16" fmla="*/ 119887 h 238517"/>
                <a:gd name="connsiteX17" fmla="*/ 180143 w 238517"/>
                <a:gd name="connsiteY17" fmla="*/ 59002 h 238517"/>
                <a:gd name="connsiteX18" fmla="*/ 119259 w 238517"/>
                <a:gd name="connsiteY18" fmla="*/ 33895 h 238517"/>
                <a:gd name="connsiteX19" fmla="*/ 119259 w 238517"/>
                <a:gd name="connsiteY19" fmla="*/ 33895 h 238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38517" h="238517">
                  <a:moveTo>
                    <a:pt x="119259" y="238518"/>
                  </a:moveTo>
                  <a:cubicBezTo>
                    <a:pt x="87247" y="238518"/>
                    <a:pt x="57746" y="225964"/>
                    <a:pt x="35150" y="203368"/>
                  </a:cubicBezTo>
                  <a:cubicBezTo>
                    <a:pt x="12554" y="180772"/>
                    <a:pt x="0" y="150643"/>
                    <a:pt x="0" y="119259"/>
                  </a:cubicBezTo>
                  <a:cubicBezTo>
                    <a:pt x="0" y="87247"/>
                    <a:pt x="12554" y="57746"/>
                    <a:pt x="35150" y="35150"/>
                  </a:cubicBezTo>
                  <a:cubicBezTo>
                    <a:pt x="57746" y="12554"/>
                    <a:pt x="87875" y="0"/>
                    <a:pt x="119259" y="0"/>
                  </a:cubicBezTo>
                  <a:cubicBezTo>
                    <a:pt x="151270" y="0"/>
                    <a:pt x="180771" y="12554"/>
                    <a:pt x="203368" y="35150"/>
                  </a:cubicBezTo>
                  <a:cubicBezTo>
                    <a:pt x="225964" y="57746"/>
                    <a:pt x="238518" y="87247"/>
                    <a:pt x="238518" y="119259"/>
                  </a:cubicBezTo>
                  <a:cubicBezTo>
                    <a:pt x="238518" y="151271"/>
                    <a:pt x="225964" y="180772"/>
                    <a:pt x="203368" y="203368"/>
                  </a:cubicBezTo>
                  <a:cubicBezTo>
                    <a:pt x="181399" y="226592"/>
                    <a:pt x="151270" y="238518"/>
                    <a:pt x="119259" y="238518"/>
                  </a:cubicBezTo>
                  <a:lnTo>
                    <a:pt x="119259" y="238518"/>
                  </a:lnTo>
                  <a:close/>
                  <a:moveTo>
                    <a:pt x="119259" y="33895"/>
                  </a:moveTo>
                  <a:cubicBezTo>
                    <a:pt x="96034" y="33895"/>
                    <a:pt x="74694" y="42682"/>
                    <a:pt x="58374" y="59002"/>
                  </a:cubicBezTo>
                  <a:cubicBezTo>
                    <a:pt x="42054" y="75321"/>
                    <a:pt x="33267" y="96662"/>
                    <a:pt x="33267" y="119887"/>
                  </a:cubicBezTo>
                  <a:cubicBezTo>
                    <a:pt x="33267" y="143111"/>
                    <a:pt x="42054" y="164452"/>
                    <a:pt x="58374" y="180772"/>
                  </a:cubicBezTo>
                  <a:cubicBezTo>
                    <a:pt x="74694" y="197091"/>
                    <a:pt x="96034" y="205879"/>
                    <a:pt x="119259" y="205879"/>
                  </a:cubicBezTo>
                  <a:cubicBezTo>
                    <a:pt x="142483" y="205879"/>
                    <a:pt x="163824" y="197091"/>
                    <a:pt x="180143" y="180772"/>
                  </a:cubicBezTo>
                  <a:cubicBezTo>
                    <a:pt x="196463" y="164452"/>
                    <a:pt x="205251" y="143111"/>
                    <a:pt x="205251" y="119887"/>
                  </a:cubicBezTo>
                  <a:cubicBezTo>
                    <a:pt x="205251" y="97290"/>
                    <a:pt x="196463" y="75321"/>
                    <a:pt x="180143" y="59002"/>
                  </a:cubicBezTo>
                  <a:cubicBezTo>
                    <a:pt x="163824" y="42682"/>
                    <a:pt x="142483" y="33895"/>
                    <a:pt x="119259" y="33895"/>
                  </a:cubicBezTo>
                  <a:lnTo>
                    <a:pt x="119259" y="33895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401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1307798" y="4640699"/>
            <a:ext cx="383511" cy="425243"/>
            <a:chOff x="1307798" y="4640699"/>
            <a:chExt cx="383511" cy="425243"/>
          </a:xfrm>
          <a:solidFill>
            <a:srgbClr val="B1B1A1"/>
          </a:solidFill>
        </p:grpSpPr>
        <p:grpSp>
          <p:nvGrpSpPr>
            <p:cNvPr id="402" name="Gráfico 2">
              <a:extLst>
                <a:ext uri="{FF2B5EF4-FFF2-40B4-BE49-F238E27FC236}">
                  <a16:creationId xmlns:a16="http://schemas.microsoft.com/office/drawing/2014/main" id="{83F95F55-5D1D-4425-8D77-756B15108235}"/>
                </a:ext>
              </a:extLst>
            </p:cNvPr>
            <p:cNvGrpSpPr/>
            <p:nvPr/>
          </p:nvGrpSpPr>
          <p:grpSpPr>
            <a:xfrm>
              <a:off x="1307798" y="4640699"/>
              <a:ext cx="383511" cy="425243"/>
              <a:chOff x="1307798" y="4640699"/>
              <a:chExt cx="383511" cy="425243"/>
            </a:xfrm>
            <a:grpFill/>
          </p:grpSpPr>
          <p:sp>
            <p:nvSpPr>
              <p:cNvPr id="403" name="Forma Livre: Forma 402">
                <a:extLst>
                  <a:ext uri="{FF2B5EF4-FFF2-40B4-BE49-F238E27FC236}">
                    <a16:creationId xmlns:a16="http://schemas.microsoft.com/office/drawing/2014/main" id="{9A7A226C-3775-42BE-99E1-0FE2D54A1CDE}"/>
                  </a:ext>
                </a:extLst>
              </p:cNvPr>
              <p:cNvSpPr/>
              <p:nvPr/>
            </p:nvSpPr>
            <p:spPr>
              <a:xfrm>
                <a:off x="1307798" y="4640699"/>
                <a:ext cx="383511" cy="425243"/>
              </a:xfrm>
              <a:custGeom>
                <a:avLst/>
                <a:gdLst>
                  <a:gd name="connsiteX0" fmla="*/ 343340 w 383511"/>
                  <a:gd name="connsiteY0" fmla="*/ 425244 h 425243"/>
                  <a:gd name="connsiteX1" fmla="*/ 39544 w 383511"/>
                  <a:gd name="connsiteY1" fmla="*/ 425244 h 425243"/>
                  <a:gd name="connsiteX2" fmla="*/ 0 w 383511"/>
                  <a:gd name="connsiteY2" fmla="*/ 385700 h 425243"/>
                  <a:gd name="connsiteX3" fmla="*/ 0 w 383511"/>
                  <a:gd name="connsiteY3" fmla="*/ 165385 h 425243"/>
                  <a:gd name="connsiteX4" fmla="*/ 5649 w 383511"/>
                  <a:gd name="connsiteY4" fmla="*/ 152831 h 425243"/>
                  <a:gd name="connsiteX5" fmla="*/ 180771 w 383511"/>
                  <a:gd name="connsiteY5" fmla="*/ 4071 h 425243"/>
                  <a:gd name="connsiteX6" fmla="*/ 204623 w 383511"/>
                  <a:gd name="connsiteY6" fmla="*/ 5954 h 425243"/>
                  <a:gd name="connsiteX7" fmla="*/ 202740 w 383511"/>
                  <a:gd name="connsiteY7" fmla="*/ 29806 h 425243"/>
                  <a:gd name="connsiteX8" fmla="*/ 33895 w 383511"/>
                  <a:gd name="connsiteY8" fmla="*/ 172917 h 425243"/>
                  <a:gd name="connsiteX9" fmla="*/ 33895 w 383511"/>
                  <a:gd name="connsiteY9" fmla="*/ 386328 h 425243"/>
                  <a:gd name="connsiteX10" fmla="*/ 40171 w 383511"/>
                  <a:gd name="connsiteY10" fmla="*/ 392604 h 425243"/>
                  <a:gd name="connsiteX11" fmla="*/ 343340 w 383511"/>
                  <a:gd name="connsiteY11" fmla="*/ 392604 h 425243"/>
                  <a:gd name="connsiteX12" fmla="*/ 349617 w 383511"/>
                  <a:gd name="connsiteY12" fmla="*/ 386328 h 425243"/>
                  <a:gd name="connsiteX13" fmla="*/ 349617 w 383511"/>
                  <a:gd name="connsiteY13" fmla="*/ 165385 h 425243"/>
                  <a:gd name="connsiteX14" fmla="*/ 366564 w 383511"/>
                  <a:gd name="connsiteY14" fmla="*/ 148437 h 425243"/>
                  <a:gd name="connsiteX15" fmla="*/ 383512 w 383511"/>
                  <a:gd name="connsiteY15" fmla="*/ 165385 h 425243"/>
                  <a:gd name="connsiteX16" fmla="*/ 383512 w 383511"/>
                  <a:gd name="connsiteY16" fmla="*/ 386328 h 425243"/>
                  <a:gd name="connsiteX17" fmla="*/ 343340 w 383511"/>
                  <a:gd name="connsiteY17" fmla="*/ 425244 h 425243"/>
                  <a:gd name="connsiteX18" fmla="*/ 343340 w 383511"/>
                  <a:gd name="connsiteY18" fmla="*/ 425244 h 4252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83511" h="425243">
                    <a:moveTo>
                      <a:pt x="343340" y="425244"/>
                    </a:moveTo>
                    <a:lnTo>
                      <a:pt x="39544" y="425244"/>
                    </a:lnTo>
                    <a:cubicBezTo>
                      <a:pt x="17575" y="425244"/>
                      <a:pt x="0" y="407668"/>
                      <a:pt x="0" y="385700"/>
                    </a:cubicBezTo>
                    <a:lnTo>
                      <a:pt x="0" y="165385"/>
                    </a:lnTo>
                    <a:cubicBezTo>
                      <a:pt x="0" y="160363"/>
                      <a:pt x="1883" y="155969"/>
                      <a:pt x="5649" y="152831"/>
                    </a:cubicBezTo>
                    <a:lnTo>
                      <a:pt x="180771" y="4071"/>
                    </a:lnTo>
                    <a:cubicBezTo>
                      <a:pt x="187676" y="-2206"/>
                      <a:pt x="198346" y="-950"/>
                      <a:pt x="204623" y="5954"/>
                    </a:cubicBezTo>
                    <a:cubicBezTo>
                      <a:pt x="210900" y="12859"/>
                      <a:pt x="209645" y="23529"/>
                      <a:pt x="202740" y="29806"/>
                    </a:cubicBezTo>
                    <a:lnTo>
                      <a:pt x="33895" y="172917"/>
                    </a:lnTo>
                    <a:lnTo>
                      <a:pt x="33895" y="386328"/>
                    </a:lnTo>
                    <a:cubicBezTo>
                      <a:pt x="33895" y="389466"/>
                      <a:pt x="36405" y="392604"/>
                      <a:pt x="40171" y="392604"/>
                    </a:cubicBezTo>
                    <a:lnTo>
                      <a:pt x="343340" y="392604"/>
                    </a:lnTo>
                    <a:cubicBezTo>
                      <a:pt x="346479" y="392604"/>
                      <a:pt x="349617" y="390093"/>
                      <a:pt x="349617" y="386328"/>
                    </a:cubicBezTo>
                    <a:lnTo>
                      <a:pt x="349617" y="165385"/>
                    </a:lnTo>
                    <a:cubicBezTo>
                      <a:pt x="349617" y="155969"/>
                      <a:pt x="357149" y="148437"/>
                      <a:pt x="366564" y="148437"/>
                    </a:cubicBezTo>
                    <a:cubicBezTo>
                      <a:pt x="375980" y="148437"/>
                      <a:pt x="383512" y="155969"/>
                      <a:pt x="383512" y="165385"/>
                    </a:cubicBezTo>
                    <a:lnTo>
                      <a:pt x="383512" y="386328"/>
                    </a:lnTo>
                    <a:cubicBezTo>
                      <a:pt x="382256" y="407668"/>
                      <a:pt x="364681" y="425244"/>
                      <a:pt x="343340" y="425244"/>
                    </a:cubicBezTo>
                    <a:lnTo>
                      <a:pt x="343340" y="425244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04" name="Forma Livre: Forma 403">
                <a:extLst>
                  <a:ext uri="{FF2B5EF4-FFF2-40B4-BE49-F238E27FC236}">
                    <a16:creationId xmlns:a16="http://schemas.microsoft.com/office/drawing/2014/main" id="{096D2736-70F6-4B8C-93CF-1D53CF6A1170}"/>
                  </a:ext>
                </a:extLst>
              </p:cNvPr>
              <p:cNvSpPr/>
              <p:nvPr/>
            </p:nvSpPr>
            <p:spPr>
              <a:xfrm>
                <a:off x="1317863" y="4872147"/>
                <a:ext cx="362641" cy="185635"/>
              </a:xfrm>
              <a:custGeom>
                <a:avLst/>
                <a:gdLst>
                  <a:gd name="connsiteX0" fmla="*/ 333276 w 362641"/>
                  <a:gd name="connsiteY0" fmla="*/ 185636 h 185635"/>
                  <a:gd name="connsiteX1" fmla="*/ 29479 w 362641"/>
                  <a:gd name="connsiteY1" fmla="*/ 185636 h 185635"/>
                  <a:gd name="connsiteX2" fmla="*/ 606 w 362641"/>
                  <a:gd name="connsiteY2" fmla="*/ 165550 h 185635"/>
                  <a:gd name="connsiteX3" fmla="*/ 3117 w 362641"/>
                  <a:gd name="connsiteY3" fmla="*/ 156135 h 185635"/>
                  <a:gd name="connsiteX4" fmla="*/ 175729 w 362641"/>
                  <a:gd name="connsiteY4" fmla="*/ 2354 h 185635"/>
                  <a:gd name="connsiteX5" fmla="*/ 187027 w 362641"/>
                  <a:gd name="connsiteY5" fmla="*/ 2354 h 185635"/>
                  <a:gd name="connsiteX6" fmla="*/ 359638 w 362641"/>
                  <a:gd name="connsiteY6" fmla="*/ 156135 h 185635"/>
                  <a:gd name="connsiteX7" fmla="*/ 362149 w 362641"/>
                  <a:gd name="connsiteY7" fmla="*/ 165550 h 185635"/>
                  <a:gd name="connsiteX8" fmla="*/ 333276 w 362641"/>
                  <a:gd name="connsiteY8" fmla="*/ 185636 h 185635"/>
                  <a:gd name="connsiteX9" fmla="*/ 333276 w 362641"/>
                  <a:gd name="connsiteY9" fmla="*/ 185636 h 185635"/>
                  <a:gd name="connsiteX10" fmla="*/ 19437 w 362641"/>
                  <a:gd name="connsiteY10" fmla="*/ 164295 h 185635"/>
                  <a:gd name="connsiteX11" fmla="*/ 30107 w 362641"/>
                  <a:gd name="connsiteY11" fmla="*/ 168689 h 185635"/>
                  <a:gd name="connsiteX12" fmla="*/ 333276 w 362641"/>
                  <a:gd name="connsiteY12" fmla="*/ 168689 h 185635"/>
                  <a:gd name="connsiteX13" fmla="*/ 343946 w 362641"/>
                  <a:gd name="connsiteY13" fmla="*/ 164295 h 185635"/>
                  <a:gd name="connsiteX14" fmla="*/ 182005 w 362641"/>
                  <a:gd name="connsiteY14" fmla="*/ 19929 h 185635"/>
                  <a:gd name="connsiteX15" fmla="*/ 19437 w 362641"/>
                  <a:gd name="connsiteY15" fmla="*/ 164295 h 185635"/>
                  <a:gd name="connsiteX16" fmla="*/ 19437 w 362641"/>
                  <a:gd name="connsiteY16" fmla="*/ 164295 h 185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62641" h="185635">
                    <a:moveTo>
                      <a:pt x="333276" y="185636"/>
                    </a:moveTo>
                    <a:lnTo>
                      <a:pt x="29479" y="185636"/>
                    </a:lnTo>
                    <a:cubicBezTo>
                      <a:pt x="16926" y="185636"/>
                      <a:pt x="5000" y="177476"/>
                      <a:pt x="606" y="165550"/>
                    </a:cubicBezTo>
                    <a:cubicBezTo>
                      <a:pt x="-649" y="162412"/>
                      <a:pt x="-21" y="158646"/>
                      <a:pt x="3117" y="156135"/>
                    </a:cubicBezTo>
                    <a:lnTo>
                      <a:pt x="175729" y="2354"/>
                    </a:lnTo>
                    <a:cubicBezTo>
                      <a:pt x="178867" y="-785"/>
                      <a:pt x="183888" y="-785"/>
                      <a:pt x="187027" y="2354"/>
                    </a:cubicBezTo>
                    <a:lnTo>
                      <a:pt x="359638" y="156135"/>
                    </a:lnTo>
                    <a:cubicBezTo>
                      <a:pt x="362149" y="158646"/>
                      <a:pt x="363404" y="161784"/>
                      <a:pt x="362149" y="165550"/>
                    </a:cubicBezTo>
                    <a:cubicBezTo>
                      <a:pt x="357128" y="177476"/>
                      <a:pt x="345829" y="185636"/>
                      <a:pt x="333276" y="185636"/>
                    </a:cubicBezTo>
                    <a:lnTo>
                      <a:pt x="333276" y="185636"/>
                    </a:lnTo>
                    <a:close/>
                    <a:moveTo>
                      <a:pt x="19437" y="164295"/>
                    </a:moveTo>
                    <a:cubicBezTo>
                      <a:pt x="21947" y="167433"/>
                      <a:pt x="25713" y="168689"/>
                      <a:pt x="30107" y="168689"/>
                    </a:cubicBezTo>
                    <a:lnTo>
                      <a:pt x="333276" y="168689"/>
                    </a:lnTo>
                    <a:cubicBezTo>
                      <a:pt x="337670" y="168689"/>
                      <a:pt x="341436" y="166805"/>
                      <a:pt x="343946" y="164295"/>
                    </a:cubicBezTo>
                    <a:lnTo>
                      <a:pt x="182005" y="19929"/>
                    </a:lnTo>
                    <a:lnTo>
                      <a:pt x="19437" y="164295"/>
                    </a:lnTo>
                    <a:lnTo>
                      <a:pt x="19437" y="164295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05" name="Forma Livre: Forma 404">
                <a:extLst>
                  <a:ext uri="{FF2B5EF4-FFF2-40B4-BE49-F238E27FC236}">
                    <a16:creationId xmlns:a16="http://schemas.microsoft.com/office/drawing/2014/main" id="{5D612D8B-8E12-484B-B775-CE5C085837E6}"/>
                  </a:ext>
                </a:extLst>
              </p:cNvPr>
              <p:cNvSpPr/>
              <p:nvPr/>
            </p:nvSpPr>
            <p:spPr>
              <a:xfrm>
                <a:off x="1544253" y="4812180"/>
                <a:ext cx="136566" cy="123205"/>
              </a:xfrm>
              <a:custGeom>
                <a:avLst/>
                <a:gdLst>
                  <a:gd name="connsiteX0" fmla="*/ 8340 w 136566"/>
                  <a:gd name="connsiteY0" fmla="*/ 123205 h 123205"/>
                  <a:gd name="connsiteX1" fmla="*/ 2063 w 136566"/>
                  <a:gd name="connsiteY1" fmla="*/ 120695 h 123205"/>
                  <a:gd name="connsiteX2" fmla="*/ 2691 w 136566"/>
                  <a:gd name="connsiteY2" fmla="*/ 108769 h 123205"/>
                  <a:gd name="connsiteX3" fmla="*/ 122578 w 136566"/>
                  <a:gd name="connsiteY3" fmla="*/ 2063 h 123205"/>
                  <a:gd name="connsiteX4" fmla="*/ 134504 w 136566"/>
                  <a:gd name="connsiteY4" fmla="*/ 2691 h 123205"/>
                  <a:gd name="connsiteX5" fmla="*/ 133876 w 136566"/>
                  <a:gd name="connsiteY5" fmla="*/ 14617 h 123205"/>
                  <a:gd name="connsiteX6" fmla="*/ 13989 w 136566"/>
                  <a:gd name="connsiteY6" fmla="*/ 121322 h 123205"/>
                  <a:gd name="connsiteX7" fmla="*/ 8340 w 136566"/>
                  <a:gd name="connsiteY7" fmla="*/ 123205 h 123205"/>
                  <a:gd name="connsiteX8" fmla="*/ 8340 w 136566"/>
                  <a:gd name="connsiteY8" fmla="*/ 123205 h 123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6566" h="123205">
                    <a:moveTo>
                      <a:pt x="8340" y="123205"/>
                    </a:moveTo>
                    <a:cubicBezTo>
                      <a:pt x="5829" y="123205"/>
                      <a:pt x="3946" y="121950"/>
                      <a:pt x="2063" y="120695"/>
                    </a:cubicBezTo>
                    <a:cubicBezTo>
                      <a:pt x="-1075" y="117556"/>
                      <a:pt x="-447" y="111907"/>
                      <a:pt x="2691" y="108769"/>
                    </a:cubicBezTo>
                    <a:lnTo>
                      <a:pt x="122578" y="2063"/>
                    </a:lnTo>
                    <a:cubicBezTo>
                      <a:pt x="125716" y="-1075"/>
                      <a:pt x="131365" y="-447"/>
                      <a:pt x="134504" y="2691"/>
                    </a:cubicBezTo>
                    <a:cubicBezTo>
                      <a:pt x="137642" y="5830"/>
                      <a:pt x="137014" y="11478"/>
                      <a:pt x="133876" y="14617"/>
                    </a:cubicBezTo>
                    <a:lnTo>
                      <a:pt x="13989" y="121322"/>
                    </a:lnTo>
                    <a:cubicBezTo>
                      <a:pt x="12106" y="122578"/>
                      <a:pt x="10223" y="123205"/>
                      <a:pt x="8340" y="123205"/>
                    </a:cubicBezTo>
                    <a:lnTo>
                      <a:pt x="8340" y="123205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06" name="Forma Livre: Forma 405">
                <a:extLst>
                  <a:ext uri="{FF2B5EF4-FFF2-40B4-BE49-F238E27FC236}">
                    <a16:creationId xmlns:a16="http://schemas.microsoft.com/office/drawing/2014/main" id="{CF0E94FE-2C9D-44C3-8B63-09BC2B2FAFFA}"/>
                  </a:ext>
                </a:extLst>
              </p:cNvPr>
              <p:cNvSpPr/>
              <p:nvPr/>
            </p:nvSpPr>
            <p:spPr>
              <a:xfrm>
                <a:off x="1318288" y="4812180"/>
                <a:ext cx="137194" cy="123833"/>
              </a:xfrm>
              <a:custGeom>
                <a:avLst/>
                <a:gdLst>
                  <a:gd name="connsiteX0" fmla="*/ 128854 w 137194"/>
                  <a:gd name="connsiteY0" fmla="*/ 123833 h 123833"/>
                  <a:gd name="connsiteX1" fmla="*/ 123205 w 137194"/>
                  <a:gd name="connsiteY1" fmla="*/ 121950 h 123833"/>
                  <a:gd name="connsiteX2" fmla="*/ 2691 w 137194"/>
                  <a:gd name="connsiteY2" fmla="*/ 14617 h 123833"/>
                  <a:gd name="connsiteX3" fmla="*/ 2063 w 137194"/>
                  <a:gd name="connsiteY3" fmla="*/ 2691 h 123833"/>
                  <a:gd name="connsiteX4" fmla="*/ 13989 w 137194"/>
                  <a:gd name="connsiteY4" fmla="*/ 2063 h 123833"/>
                  <a:gd name="connsiteX5" fmla="*/ 134504 w 137194"/>
                  <a:gd name="connsiteY5" fmla="*/ 109397 h 123833"/>
                  <a:gd name="connsiteX6" fmla="*/ 135131 w 137194"/>
                  <a:gd name="connsiteY6" fmla="*/ 121322 h 123833"/>
                  <a:gd name="connsiteX7" fmla="*/ 128854 w 137194"/>
                  <a:gd name="connsiteY7" fmla="*/ 123833 h 123833"/>
                  <a:gd name="connsiteX8" fmla="*/ 128854 w 137194"/>
                  <a:gd name="connsiteY8" fmla="*/ 123833 h 1238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7194" h="123833">
                    <a:moveTo>
                      <a:pt x="128854" y="123833"/>
                    </a:moveTo>
                    <a:cubicBezTo>
                      <a:pt x="126971" y="123833"/>
                      <a:pt x="125088" y="123205"/>
                      <a:pt x="123205" y="121950"/>
                    </a:cubicBezTo>
                    <a:lnTo>
                      <a:pt x="2691" y="14617"/>
                    </a:lnTo>
                    <a:cubicBezTo>
                      <a:pt x="-447" y="11478"/>
                      <a:pt x="-1075" y="6457"/>
                      <a:pt x="2063" y="2691"/>
                    </a:cubicBezTo>
                    <a:cubicBezTo>
                      <a:pt x="5202" y="-447"/>
                      <a:pt x="10223" y="-1075"/>
                      <a:pt x="13989" y="2063"/>
                    </a:cubicBezTo>
                    <a:lnTo>
                      <a:pt x="134504" y="109397"/>
                    </a:lnTo>
                    <a:cubicBezTo>
                      <a:pt x="137642" y="112535"/>
                      <a:pt x="138270" y="117556"/>
                      <a:pt x="135131" y="121322"/>
                    </a:cubicBezTo>
                    <a:cubicBezTo>
                      <a:pt x="133248" y="123205"/>
                      <a:pt x="130737" y="123833"/>
                      <a:pt x="128854" y="123833"/>
                    </a:cubicBezTo>
                    <a:lnTo>
                      <a:pt x="128854" y="123833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grpSp>
            <p:nvGrpSpPr>
              <p:cNvPr id="407" name="Gráfico 2">
                <a:extLst>
                  <a:ext uri="{FF2B5EF4-FFF2-40B4-BE49-F238E27FC236}">
                    <a16:creationId xmlns:a16="http://schemas.microsoft.com/office/drawing/2014/main" id="{83F95F55-5D1D-4425-8D77-756B15108235}"/>
                  </a:ext>
                </a:extLst>
              </p:cNvPr>
              <p:cNvGrpSpPr/>
              <p:nvPr/>
            </p:nvGrpSpPr>
            <p:grpSpPr>
              <a:xfrm>
                <a:off x="1476016" y="4641004"/>
                <a:ext cx="207133" cy="207133"/>
                <a:chOff x="1476016" y="4641004"/>
                <a:chExt cx="207133" cy="207133"/>
              </a:xfrm>
              <a:grpFill/>
            </p:grpSpPr>
            <p:sp>
              <p:nvSpPr>
                <p:cNvPr id="408" name="Forma Livre: Forma 407">
                  <a:extLst>
                    <a:ext uri="{FF2B5EF4-FFF2-40B4-BE49-F238E27FC236}">
                      <a16:creationId xmlns:a16="http://schemas.microsoft.com/office/drawing/2014/main" id="{2B8324AD-1C55-461F-985F-354D24C1EFD1}"/>
                    </a:ext>
                  </a:extLst>
                </p:cNvPr>
                <p:cNvSpPr/>
                <p:nvPr/>
              </p:nvSpPr>
              <p:spPr>
                <a:xfrm>
                  <a:off x="1476016" y="4641004"/>
                  <a:ext cx="207133" cy="207133"/>
                </a:xfrm>
                <a:custGeom>
                  <a:avLst/>
                  <a:gdLst>
                    <a:gd name="connsiteX0" fmla="*/ 103567 w 207133"/>
                    <a:gd name="connsiteY0" fmla="*/ 207134 h 207133"/>
                    <a:gd name="connsiteX1" fmla="*/ 0 w 207133"/>
                    <a:gd name="connsiteY1" fmla="*/ 103567 h 207133"/>
                    <a:gd name="connsiteX2" fmla="*/ 103567 w 207133"/>
                    <a:gd name="connsiteY2" fmla="*/ 0 h 207133"/>
                    <a:gd name="connsiteX3" fmla="*/ 207134 w 207133"/>
                    <a:gd name="connsiteY3" fmla="*/ 103567 h 207133"/>
                    <a:gd name="connsiteX4" fmla="*/ 103567 w 207133"/>
                    <a:gd name="connsiteY4" fmla="*/ 207134 h 207133"/>
                    <a:gd name="connsiteX5" fmla="*/ 103567 w 207133"/>
                    <a:gd name="connsiteY5" fmla="*/ 207134 h 207133"/>
                    <a:gd name="connsiteX6" fmla="*/ 103567 w 207133"/>
                    <a:gd name="connsiteY6" fmla="*/ 16319 h 207133"/>
                    <a:gd name="connsiteX7" fmla="*/ 16320 w 207133"/>
                    <a:gd name="connsiteY7" fmla="*/ 103567 h 207133"/>
                    <a:gd name="connsiteX8" fmla="*/ 103567 w 207133"/>
                    <a:gd name="connsiteY8" fmla="*/ 190814 h 207133"/>
                    <a:gd name="connsiteX9" fmla="*/ 190814 w 207133"/>
                    <a:gd name="connsiteY9" fmla="*/ 103567 h 207133"/>
                    <a:gd name="connsiteX10" fmla="*/ 103567 w 207133"/>
                    <a:gd name="connsiteY10" fmla="*/ 16319 h 207133"/>
                    <a:gd name="connsiteX11" fmla="*/ 103567 w 207133"/>
                    <a:gd name="connsiteY11" fmla="*/ 16319 h 2071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07133" h="207133">
                      <a:moveTo>
                        <a:pt x="103567" y="207134"/>
                      </a:moveTo>
                      <a:cubicBezTo>
                        <a:pt x="46448" y="207134"/>
                        <a:pt x="0" y="160686"/>
                        <a:pt x="0" y="103567"/>
                      </a:cubicBezTo>
                      <a:cubicBezTo>
                        <a:pt x="0" y="46448"/>
                        <a:pt x="46448" y="0"/>
                        <a:pt x="103567" y="0"/>
                      </a:cubicBezTo>
                      <a:cubicBezTo>
                        <a:pt x="160686" y="0"/>
                        <a:pt x="207134" y="46448"/>
                        <a:pt x="207134" y="103567"/>
                      </a:cubicBezTo>
                      <a:cubicBezTo>
                        <a:pt x="207134" y="160686"/>
                        <a:pt x="160686" y="207134"/>
                        <a:pt x="103567" y="207134"/>
                      </a:cubicBezTo>
                      <a:lnTo>
                        <a:pt x="103567" y="207134"/>
                      </a:lnTo>
                      <a:close/>
                      <a:moveTo>
                        <a:pt x="103567" y="16319"/>
                      </a:moveTo>
                      <a:cubicBezTo>
                        <a:pt x="55863" y="16319"/>
                        <a:pt x="16320" y="55236"/>
                        <a:pt x="16320" y="103567"/>
                      </a:cubicBezTo>
                      <a:cubicBezTo>
                        <a:pt x="16320" y="151270"/>
                        <a:pt x="55236" y="190814"/>
                        <a:pt x="103567" y="190814"/>
                      </a:cubicBezTo>
                      <a:cubicBezTo>
                        <a:pt x="151271" y="190814"/>
                        <a:pt x="190814" y="151898"/>
                        <a:pt x="190814" y="103567"/>
                      </a:cubicBezTo>
                      <a:cubicBezTo>
                        <a:pt x="190187" y="55236"/>
                        <a:pt x="151271" y="16319"/>
                        <a:pt x="103567" y="16319"/>
                      </a:cubicBezTo>
                      <a:lnTo>
                        <a:pt x="103567" y="16319"/>
                      </a:lnTo>
                      <a:close/>
                    </a:path>
                  </a:pathLst>
                </a:custGeom>
                <a:grpFill/>
                <a:ln w="62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409" name="Forma Livre: Forma 408">
                  <a:extLst>
                    <a:ext uri="{FF2B5EF4-FFF2-40B4-BE49-F238E27FC236}">
                      <a16:creationId xmlns:a16="http://schemas.microsoft.com/office/drawing/2014/main" id="{11975788-0336-4C29-AE91-7E0DCEB15799}"/>
                    </a:ext>
                  </a:extLst>
                </p:cNvPr>
                <p:cNvSpPr/>
                <p:nvPr/>
              </p:nvSpPr>
              <p:spPr>
                <a:xfrm>
                  <a:off x="1530310" y="4694670"/>
                  <a:ext cx="98545" cy="99016"/>
                </a:xfrm>
                <a:custGeom>
                  <a:avLst/>
                  <a:gdLst>
                    <a:gd name="connsiteX0" fmla="*/ 4708 w 98545"/>
                    <a:gd name="connsiteY0" fmla="*/ 93838 h 99016"/>
                    <a:gd name="connsiteX1" fmla="*/ 4708 w 98545"/>
                    <a:gd name="connsiteY1" fmla="*/ 69986 h 99016"/>
                    <a:gd name="connsiteX2" fmla="*/ 69986 w 98545"/>
                    <a:gd name="connsiteY2" fmla="*/ 4708 h 99016"/>
                    <a:gd name="connsiteX3" fmla="*/ 93838 w 98545"/>
                    <a:gd name="connsiteY3" fmla="*/ 4708 h 99016"/>
                    <a:gd name="connsiteX4" fmla="*/ 93838 w 98545"/>
                    <a:gd name="connsiteY4" fmla="*/ 28559 h 99016"/>
                    <a:gd name="connsiteX5" fmla="*/ 28559 w 98545"/>
                    <a:gd name="connsiteY5" fmla="*/ 93838 h 99016"/>
                    <a:gd name="connsiteX6" fmla="*/ 4708 w 98545"/>
                    <a:gd name="connsiteY6" fmla="*/ 93838 h 99016"/>
                    <a:gd name="connsiteX7" fmla="*/ 4708 w 98545"/>
                    <a:gd name="connsiteY7" fmla="*/ 93838 h 99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8545" h="99016">
                      <a:moveTo>
                        <a:pt x="4708" y="93838"/>
                      </a:moveTo>
                      <a:cubicBezTo>
                        <a:pt x="-1569" y="87561"/>
                        <a:pt x="-1569" y="76891"/>
                        <a:pt x="4708" y="69986"/>
                      </a:cubicBezTo>
                      <a:lnTo>
                        <a:pt x="69986" y="4708"/>
                      </a:lnTo>
                      <a:cubicBezTo>
                        <a:pt x="76263" y="-1569"/>
                        <a:pt x="86933" y="-1569"/>
                        <a:pt x="93838" y="4708"/>
                      </a:cubicBezTo>
                      <a:cubicBezTo>
                        <a:pt x="100115" y="10984"/>
                        <a:pt x="100115" y="21655"/>
                        <a:pt x="93838" y="28559"/>
                      </a:cubicBezTo>
                      <a:lnTo>
                        <a:pt x="28559" y="93838"/>
                      </a:lnTo>
                      <a:cubicBezTo>
                        <a:pt x="21655" y="100742"/>
                        <a:pt x="10984" y="100742"/>
                        <a:pt x="4708" y="93838"/>
                      </a:cubicBezTo>
                      <a:lnTo>
                        <a:pt x="4708" y="93838"/>
                      </a:lnTo>
                      <a:close/>
                    </a:path>
                  </a:pathLst>
                </a:custGeom>
                <a:grpFill/>
                <a:ln w="62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410" name="Forma Livre: Forma 409">
                  <a:extLst>
                    <a:ext uri="{FF2B5EF4-FFF2-40B4-BE49-F238E27FC236}">
                      <a16:creationId xmlns:a16="http://schemas.microsoft.com/office/drawing/2014/main" id="{7866BB0F-CB5A-42D1-B812-ADFB8A297FB5}"/>
                    </a:ext>
                  </a:extLst>
                </p:cNvPr>
                <p:cNvSpPr/>
                <p:nvPr/>
              </p:nvSpPr>
              <p:spPr>
                <a:xfrm>
                  <a:off x="1530310" y="4694670"/>
                  <a:ext cx="98545" cy="99016"/>
                </a:xfrm>
                <a:custGeom>
                  <a:avLst/>
                  <a:gdLst>
                    <a:gd name="connsiteX0" fmla="*/ 69986 w 98545"/>
                    <a:gd name="connsiteY0" fmla="*/ 93838 h 99016"/>
                    <a:gd name="connsiteX1" fmla="*/ 4708 w 98545"/>
                    <a:gd name="connsiteY1" fmla="*/ 28559 h 99016"/>
                    <a:gd name="connsiteX2" fmla="*/ 4708 w 98545"/>
                    <a:gd name="connsiteY2" fmla="*/ 4708 h 99016"/>
                    <a:gd name="connsiteX3" fmla="*/ 28559 w 98545"/>
                    <a:gd name="connsiteY3" fmla="*/ 4708 h 99016"/>
                    <a:gd name="connsiteX4" fmla="*/ 93838 w 98545"/>
                    <a:gd name="connsiteY4" fmla="*/ 69986 h 99016"/>
                    <a:gd name="connsiteX5" fmla="*/ 93838 w 98545"/>
                    <a:gd name="connsiteY5" fmla="*/ 93838 h 99016"/>
                    <a:gd name="connsiteX6" fmla="*/ 69986 w 98545"/>
                    <a:gd name="connsiteY6" fmla="*/ 93838 h 99016"/>
                    <a:gd name="connsiteX7" fmla="*/ 69986 w 98545"/>
                    <a:gd name="connsiteY7" fmla="*/ 93838 h 99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8545" h="99016">
                      <a:moveTo>
                        <a:pt x="69986" y="93838"/>
                      </a:moveTo>
                      <a:lnTo>
                        <a:pt x="4708" y="28559"/>
                      </a:lnTo>
                      <a:cubicBezTo>
                        <a:pt x="-1569" y="22283"/>
                        <a:pt x="-1569" y="11612"/>
                        <a:pt x="4708" y="4708"/>
                      </a:cubicBezTo>
                      <a:cubicBezTo>
                        <a:pt x="10984" y="-1569"/>
                        <a:pt x="21655" y="-1569"/>
                        <a:pt x="28559" y="4708"/>
                      </a:cubicBezTo>
                      <a:lnTo>
                        <a:pt x="93838" y="69986"/>
                      </a:lnTo>
                      <a:cubicBezTo>
                        <a:pt x="100115" y="76263"/>
                        <a:pt x="100115" y="86933"/>
                        <a:pt x="93838" y="93838"/>
                      </a:cubicBezTo>
                      <a:cubicBezTo>
                        <a:pt x="86933" y="100742"/>
                        <a:pt x="76263" y="100742"/>
                        <a:pt x="69986" y="93838"/>
                      </a:cubicBezTo>
                      <a:lnTo>
                        <a:pt x="69986" y="93838"/>
                      </a:lnTo>
                      <a:close/>
                    </a:path>
                  </a:pathLst>
                </a:custGeom>
                <a:grpFill/>
                <a:ln w="62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</p:grpSp>
        <p:sp>
          <p:nvSpPr>
            <p:cNvPr id="411" name="Forma Livre: Forma 410">
              <a:extLst>
                <a:ext uri="{FF2B5EF4-FFF2-40B4-BE49-F238E27FC236}">
                  <a16:creationId xmlns:a16="http://schemas.microsoft.com/office/drawing/2014/main" id="{D674EF4F-00DA-440C-BFCE-F95AA3E8B835}"/>
                </a:ext>
              </a:extLst>
            </p:cNvPr>
            <p:cNvSpPr/>
            <p:nvPr/>
          </p:nvSpPr>
          <p:spPr>
            <a:xfrm>
              <a:off x="1489197" y="4646025"/>
              <a:ext cx="41426" cy="45192"/>
            </a:xfrm>
            <a:custGeom>
              <a:avLst/>
              <a:gdLst>
                <a:gd name="connsiteX0" fmla="*/ 41427 w 41426"/>
                <a:gd name="connsiteY0" fmla="*/ 21341 h 45192"/>
                <a:gd name="connsiteX1" fmla="*/ 23852 w 41426"/>
                <a:gd name="connsiteY1" fmla="*/ 0 h 45192"/>
                <a:gd name="connsiteX2" fmla="*/ 0 w 41426"/>
                <a:gd name="connsiteY2" fmla="*/ 23852 h 45192"/>
                <a:gd name="connsiteX3" fmla="*/ 18203 w 41426"/>
                <a:gd name="connsiteY3" fmla="*/ 45193 h 45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426" h="45192">
                  <a:moveTo>
                    <a:pt x="41427" y="21341"/>
                  </a:moveTo>
                  <a:lnTo>
                    <a:pt x="23852" y="0"/>
                  </a:lnTo>
                  <a:lnTo>
                    <a:pt x="0" y="23852"/>
                  </a:lnTo>
                  <a:lnTo>
                    <a:pt x="18203" y="45193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12" name="Forma Livre: Forma 411">
              <a:extLst>
                <a:ext uri="{FF2B5EF4-FFF2-40B4-BE49-F238E27FC236}">
                  <a16:creationId xmlns:a16="http://schemas.microsoft.com/office/drawing/2014/main" id="{D9F83D35-F9AA-4978-A522-2606D74E6754}"/>
                </a:ext>
              </a:extLst>
            </p:cNvPr>
            <p:cNvSpPr/>
            <p:nvPr/>
          </p:nvSpPr>
          <p:spPr>
            <a:xfrm>
              <a:off x="1651138" y="4774072"/>
              <a:ext cx="35777" cy="45192"/>
            </a:xfrm>
            <a:custGeom>
              <a:avLst/>
              <a:gdLst>
                <a:gd name="connsiteX0" fmla="*/ 35778 w 35777"/>
                <a:gd name="connsiteY0" fmla="*/ 21341 h 45192"/>
                <a:gd name="connsiteX1" fmla="*/ 17575 w 35777"/>
                <a:gd name="connsiteY1" fmla="*/ 0 h 45192"/>
                <a:gd name="connsiteX2" fmla="*/ 0 w 35777"/>
                <a:gd name="connsiteY2" fmla="*/ 28873 h 45192"/>
                <a:gd name="connsiteX3" fmla="*/ 11926 w 35777"/>
                <a:gd name="connsiteY3" fmla="*/ 45193 h 45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777" h="45192">
                  <a:moveTo>
                    <a:pt x="35778" y="21341"/>
                  </a:moveTo>
                  <a:lnTo>
                    <a:pt x="17575" y="0"/>
                  </a:lnTo>
                  <a:lnTo>
                    <a:pt x="0" y="28873"/>
                  </a:lnTo>
                  <a:lnTo>
                    <a:pt x="11926" y="45193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413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2332797" y="4640699"/>
            <a:ext cx="382883" cy="425243"/>
            <a:chOff x="2332797" y="4640699"/>
            <a:chExt cx="382883" cy="425243"/>
          </a:xfrm>
          <a:solidFill>
            <a:srgbClr val="B1B1A1"/>
          </a:solidFill>
        </p:grpSpPr>
        <p:grpSp>
          <p:nvGrpSpPr>
            <p:cNvPr id="414" name="Gráfico 2">
              <a:extLst>
                <a:ext uri="{FF2B5EF4-FFF2-40B4-BE49-F238E27FC236}">
                  <a16:creationId xmlns:a16="http://schemas.microsoft.com/office/drawing/2014/main" id="{83F95F55-5D1D-4425-8D77-756B15108235}"/>
                </a:ext>
              </a:extLst>
            </p:cNvPr>
            <p:cNvGrpSpPr/>
            <p:nvPr/>
          </p:nvGrpSpPr>
          <p:grpSpPr>
            <a:xfrm>
              <a:off x="2500388" y="4641004"/>
              <a:ext cx="207133" cy="207133"/>
              <a:chOff x="2500388" y="4641004"/>
              <a:chExt cx="207133" cy="207133"/>
            </a:xfrm>
            <a:grpFill/>
          </p:grpSpPr>
          <p:sp>
            <p:nvSpPr>
              <p:cNvPr id="415" name="Forma Livre: Forma 414">
                <a:extLst>
                  <a:ext uri="{FF2B5EF4-FFF2-40B4-BE49-F238E27FC236}">
                    <a16:creationId xmlns:a16="http://schemas.microsoft.com/office/drawing/2014/main" id="{2BB30031-DD54-4A20-8692-2DAEDE510A5C}"/>
                  </a:ext>
                </a:extLst>
              </p:cNvPr>
              <p:cNvSpPr/>
              <p:nvPr/>
            </p:nvSpPr>
            <p:spPr>
              <a:xfrm>
                <a:off x="2500388" y="4641004"/>
                <a:ext cx="207133" cy="207133"/>
              </a:xfrm>
              <a:custGeom>
                <a:avLst/>
                <a:gdLst>
                  <a:gd name="connsiteX0" fmla="*/ 103567 w 207133"/>
                  <a:gd name="connsiteY0" fmla="*/ 207134 h 207133"/>
                  <a:gd name="connsiteX1" fmla="*/ 0 w 207133"/>
                  <a:gd name="connsiteY1" fmla="*/ 103567 h 207133"/>
                  <a:gd name="connsiteX2" fmla="*/ 103567 w 207133"/>
                  <a:gd name="connsiteY2" fmla="*/ 0 h 207133"/>
                  <a:gd name="connsiteX3" fmla="*/ 207134 w 207133"/>
                  <a:gd name="connsiteY3" fmla="*/ 103567 h 207133"/>
                  <a:gd name="connsiteX4" fmla="*/ 103567 w 207133"/>
                  <a:gd name="connsiteY4" fmla="*/ 207134 h 207133"/>
                  <a:gd name="connsiteX5" fmla="*/ 103567 w 207133"/>
                  <a:gd name="connsiteY5" fmla="*/ 207134 h 207133"/>
                  <a:gd name="connsiteX6" fmla="*/ 103567 w 207133"/>
                  <a:gd name="connsiteY6" fmla="*/ 16319 h 207133"/>
                  <a:gd name="connsiteX7" fmla="*/ 16320 w 207133"/>
                  <a:gd name="connsiteY7" fmla="*/ 103567 h 207133"/>
                  <a:gd name="connsiteX8" fmla="*/ 103567 w 207133"/>
                  <a:gd name="connsiteY8" fmla="*/ 190814 h 207133"/>
                  <a:gd name="connsiteX9" fmla="*/ 190814 w 207133"/>
                  <a:gd name="connsiteY9" fmla="*/ 103567 h 207133"/>
                  <a:gd name="connsiteX10" fmla="*/ 103567 w 207133"/>
                  <a:gd name="connsiteY10" fmla="*/ 16319 h 207133"/>
                  <a:gd name="connsiteX11" fmla="*/ 103567 w 207133"/>
                  <a:gd name="connsiteY11" fmla="*/ 16319 h 2071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7133" h="207133">
                    <a:moveTo>
                      <a:pt x="103567" y="207134"/>
                    </a:moveTo>
                    <a:cubicBezTo>
                      <a:pt x="46448" y="207134"/>
                      <a:pt x="0" y="160686"/>
                      <a:pt x="0" y="103567"/>
                    </a:cubicBezTo>
                    <a:cubicBezTo>
                      <a:pt x="0" y="46448"/>
                      <a:pt x="46448" y="0"/>
                      <a:pt x="103567" y="0"/>
                    </a:cubicBezTo>
                    <a:cubicBezTo>
                      <a:pt x="160686" y="0"/>
                      <a:pt x="207134" y="46448"/>
                      <a:pt x="207134" y="103567"/>
                    </a:cubicBezTo>
                    <a:cubicBezTo>
                      <a:pt x="207134" y="160686"/>
                      <a:pt x="160686" y="207134"/>
                      <a:pt x="103567" y="207134"/>
                    </a:cubicBezTo>
                    <a:lnTo>
                      <a:pt x="103567" y="207134"/>
                    </a:lnTo>
                    <a:close/>
                    <a:moveTo>
                      <a:pt x="103567" y="16319"/>
                    </a:moveTo>
                    <a:cubicBezTo>
                      <a:pt x="55863" y="16319"/>
                      <a:pt x="16320" y="55236"/>
                      <a:pt x="16320" y="103567"/>
                    </a:cubicBezTo>
                    <a:cubicBezTo>
                      <a:pt x="16320" y="151270"/>
                      <a:pt x="55236" y="190814"/>
                      <a:pt x="103567" y="190814"/>
                    </a:cubicBezTo>
                    <a:cubicBezTo>
                      <a:pt x="151271" y="190814"/>
                      <a:pt x="190814" y="151898"/>
                      <a:pt x="190814" y="103567"/>
                    </a:cubicBezTo>
                    <a:cubicBezTo>
                      <a:pt x="190187" y="55236"/>
                      <a:pt x="151271" y="16319"/>
                      <a:pt x="103567" y="16319"/>
                    </a:cubicBezTo>
                    <a:lnTo>
                      <a:pt x="103567" y="16319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16" name="Forma Livre: Forma 415">
                <a:extLst>
                  <a:ext uri="{FF2B5EF4-FFF2-40B4-BE49-F238E27FC236}">
                    <a16:creationId xmlns:a16="http://schemas.microsoft.com/office/drawing/2014/main" id="{01785E71-0650-4618-92A5-16E425001C8F}"/>
                  </a:ext>
                </a:extLst>
              </p:cNvPr>
              <p:cNvSpPr/>
              <p:nvPr/>
            </p:nvSpPr>
            <p:spPr>
              <a:xfrm>
                <a:off x="2543459" y="4694565"/>
                <a:ext cx="118033" cy="104614"/>
              </a:xfrm>
              <a:custGeom>
                <a:avLst/>
                <a:gdLst>
                  <a:gd name="connsiteX0" fmla="*/ 42920 w 118033"/>
                  <a:gd name="connsiteY0" fmla="*/ 104614 h 104614"/>
                  <a:gd name="connsiteX1" fmla="*/ 30994 w 118033"/>
                  <a:gd name="connsiteY1" fmla="*/ 99592 h 104614"/>
                  <a:gd name="connsiteX2" fmla="*/ 4632 w 118033"/>
                  <a:gd name="connsiteY2" fmla="*/ 71975 h 104614"/>
                  <a:gd name="connsiteX3" fmla="*/ 5260 w 118033"/>
                  <a:gd name="connsiteY3" fmla="*/ 48123 h 104614"/>
                  <a:gd name="connsiteX4" fmla="*/ 29111 w 118033"/>
                  <a:gd name="connsiteY4" fmla="*/ 48750 h 104614"/>
                  <a:gd name="connsiteX5" fmla="*/ 42293 w 118033"/>
                  <a:gd name="connsiteY5" fmla="*/ 62559 h 104614"/>
                  <a:gd name="connsiteX6" fmla="*/ 88741 w 118033"/>
                  <a:gd name="connsiteY6" fmla="*/ 6068 h 104614"/>
                  <a:gd name="connsiteX7" fmla="*/ 111965 w 118033"/>
                  <a:gd name="connsiteY7" fmla="*/ 3558 h 104614"/>
                  <a:gd name="connsiteX8" fmla="*/ 114476 w 118033"/>
                  <a:gd name="connsiteY8" fmla="*/ 26782 h 104614"/>
                  <a:gd name="connsiteX9" fmla="*/ 56102 w 118033"/>
                  <a:gd name="connsiteY9" fmla="*/ 98965 h 104614"/>
                  <a:gd name="connsiteX10" fmla="*/ 42920 w 118033"/>
                  <a:gd name="connsiteY10" fmla="*/ 104614 h 104614"/>
                  <a:gd name="connsiteX11" fmla="*/ 42920 w 118033"/>
                  <a:gd name="connsiteY11" fmla="*/ 104614 h 104614"/>
                  <a:gd name="connsiteX12" fmla="*/ 42920 w 118033"/>
                  <a:gd name="connsiteY12" fmla="*/ 104614 h 1046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8033" h="104614">
                    <a:moveTo>
                      <a:pt x="42920" y="104614"/>
                    </a:moveTo>
                    <a:cubicBezTo>
                      <a:pt x="38527" y="104614"/>
                      <a:pt x="34133" y="102731"/>
                      <a:pt x="30994" y="99592"/>
                    </a:cubicBezTo>
                    <a:lnTo>
                      <a:pt x="4632" y="71975"/>
                    </a:lnTo>
                    <a:cubicBezTo>
                      <a:pt x="-1645" y="65070"/>
                      <a:pt x="-1645" y="55027"/>
                      <a:pt x="5260" y="48123"/>
                    </a:cubicBezTo>
                    <a:cubicBezTo>
                      <a:pt x="12164" y="41846"/>
                      <a:pt x="22207" y="41846"/>
                      <a:pt x="29111" y="48750"/>
                    </a:cubicBezTo>
                    <a:lnTo>
                      <a:pt x="42293" y="62559"/>
                    </a:lnTo>
                    <a:lnTo>
                      <a:pt x="88741" y="6068"/>
                    </a:lnTo>
                    <a:cubicBezTo>
                      <a:pt x="94390" y="-836"/>
                      <a:pt x="105061" y="-2091"/>
                      <a:pt x="111965" y="3558"/>
                    </a:cubicBezTo>
                    <a:cubicBezTo>
                      <a:pt x="118869" y="9207"/>
                      <a:pt x="120125" y="19877"/>
                      <a:pt x="114476" y="26782"/>
                    </a:cubicBezTo>
                    <a:lnTo>
                      <a:pt x="56102" y="98965"/>
                    </a:lnTo>
                    <a:cubicBezTo>
                      <a:pt x="52963" y="102731"/>
                      <a:pt x="48569" y="104614"/>
                      <a:pt x="42920" y="104614"/>
                    </a:cubicBezTo>
                    <a:cubicBezTo>
                      <a:pt x="43548" y="104614"/>
                      <a:pt x="43548" y="104614"/>
                      <a:pt x="42920" y="104614"/>
                    </a:cubicBezTo>
                    <a:lnTo>
                      <a:pt x="42920" y="104614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417" name="Gráfico 2">
              <a:extLst>
                <a:ext uri="{FF2B5EF4-FFF2-40B4-BE49-F238E27FC236}">
                  <a16:creationId xmlns:a16="http://schemas.microsoft.com/office/drawing/2014/main" id="{83F95F55-5D1D-4425-8D77-756B15108235}"/>
                </a:ext>
              </a:extLst>
            </p:cNvPr>
            <p:cNvGrpSpPr/>
            <p:nvPr/>
          </p:nvGrpSpPr>
          <p:grpSpPr>
            <a:xfrm>
              <a:off x="2332797" y="4640699"/>
              <a:ext cx="382883" cy="425243"/>
              <a:chOff x="2332797" y="4640699"/>
              <a:chExt cx="382883" cy="425243"/>
            </a:xfrm>
            <a:grpFill/>
          </p:grpSpPr>
          <p:grpSp>
            <p:nvGrpSpPr>
              <p:cNvPr id="418" name="Gráfico 2">
                <a:extLst>
                  <a:ext uri="{FF2B5EF4-FFF2-40B4-BE49-F238E27FC236}">
                    <a16:creationId xmlns:a16="http://schemas.microsoft.com/office/drawing/2014/main" id="{83F95F55-5D1D-4425-8D77-756B15108235}"/>
                  </a:ext>
                </a:extLst>
              </p:cNvPr>
              <p:cNvGrpSpPr/>
              <p:nvPr/>
            </p:nvGrpSpPr>
            <p:grpSpPr>
              <a:xfrm>
                <a:off x="2332797" y="4640699"/>
                <a:ext cx="382883" cy="425243"/>
                <a:chOff x="2332797" y="4640699"/>
                <a:chExt cx="382883" cy="425243"/>
              </a:xfrm>
              <a:grpFill/>
            </p:grpSpPr>
            <p:sp>
              <p:nvSpPr>
                <p:cNvPr id="419" name="Forma Livre: Forma 418">
                  <a:extLst>
                    <a:ext uri="{FF2B5EF4-FFF2-40B4-BE49-F238E27FC236}">
                      <a16:creationId xmlns:a16="http://schemas.microsoft.com/office/drawing/2014/main" id="{3D05B8A5-3794-49A1-9198-EF3306AC0384}"/>
                    </a:ext>
                  </a:extLst>
                </p:cNvPr>
                <p:cNvSpPr/>
                <p:nvPr/>
              </p:nvSpPr>
              <p:spPr>
                <a:xfrm>
                  <a:off x="2332797" y="4640699"/>
                  <a:ext cx="382883" cy="425243"/>
                </a:xfrm>
                <a:custGeom>
                  <a:avLst/>
                  <a:gdLst>
                    <a:gd name="connsiteX0" fmla="*/ 342713 w 382883"/>
                    <a:gd name="connsiteY0" fmla="*/ 425244 h 425243"/>
                    <a:gd name="connsiteX1" fmla="*/ 39544 w 382883"/>
                    <a:gd name="connsiteY1" fmla="*/ 425244 h 425243"/>
                    <a:gd name="connsiteX2" fmla="*/ 0 w 382883"/>
                    <a:gd name="connsiteY2" fmla="*/ 385700 h 425243"/>
                    <a:gd name="connsiteX3" fmla="*/ 0 w 382883"/>
                    <a:gd name="connsiteY3" fmla="*/ 165385 h 425243"/>
                    <a:gd name="connsiteX4" fmla="*/ 5649 w 382883"/>
                    <a:gd name="connsiteY4" fmla="*/ 152831 h 425243"/>
                    <a:gd name="connsiteX5" fmla="*/ 180771 w 382883"/>
                    <a:gd name="connsiteY5" fmla="*/ 4071 h 425243"/>
                    <a:gd name="connsiteX6" fmla="*/ 204623 w 382883"/>
                    <a:gd name="connsiteY6" fmla="*/ 5954 h 425243"/>
                    <a:gd name="connsiteX7" fmla="*/ 202740 w 382883"/>
                    <a:gd name="connsiteY7" fmla="*/ 29806 h 425243"/>
                    <a:gd name="connsiteX8" fmla="*/ 33895 w 382883"/>
                    <a:gd name="connsiteY8" fmla="*/ 173544 h 425243"/>
                    <a:gd name="connsiteX9" fmla="*/ 33895 w 382883"/>
                    <a:gd name="connsiteY9" fmla="*/ 386955 h 425243"/>
                    <a:gd name="connsiteX10" fmla="*/ 39544 w 382883"/>
                    <a:gd name="connsiteY10" fmla="*/ 393232 h 425243"/>
                    <a:gd name="connsiteX11" fmla="*/ 342713 w 382883"/>
                    <a:gd name="connsiteY11" fmla="*/ 393232 h 425243"/>
                    <a:gd name="connsiteX12" fmla="*/ 348989 w 382883"/>
                    <a:gd name="connsiteY12" fmla="*/ 386955 h 425243"/>
                    <a:gd name="connsiteX13" fmla="*/ 348989 w 382883"/>
                    <a:gd name="connsiteY13" fmla="*/ 165385 h 425243"/>
                    <a:gd name="connsiteX14" fmla="*/ 365937 w 382883"/>
                    <a:gd name="connsiteY14" fmla="*/ 148437 h 425243"/>
                    <a:gd name="connsiteX15" fmla="*/ 382884 w 382883"/>
                    <a:gd name="connsiteY15" fmla="*/ 165385 h 425243"/>
                    <a:gd name="connsiteX16" fmla="*/ 382884 w 382883"/>
                    <a:gd name="connsiteY16" fmla="*/ 386328 h 425243"/>
                    <a:gd name="connsiteX17" fmla="*/ 342713 w 382883"/>
                    <a:gd name="connsiteY17" fmla="*/ 425244 h 425243"/>
                    <a:gd name="connsiteX18" fmla="*/ 342713 w 382883"/>
                    <a:gd name="connsiteY18" fmla="*/ 425244 h 4252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382883" h="425243">
                      <a:moveTo>
                        <a:pt x="342713" y="425244"/>
                      </a:moveTo>
                      <a:lnTo>
                        <a:pt x="39544" y="425244"/>
                      </a:lnTo>
                      <a:cubicBezTo>
                        <a:pt x="17575" y="425244"/>
                        <a:pt x="0" y="407668"/>
                        <a:pt x="0" y="385700"/>
                      </a:cubicBezTo>
                      <a:lnTo>
                        <a:pt x="0" y="165385"/>
                      </a:lnTo>
                      <a:cubicBezTo>
                        <a:pt x="0" y="160363"/>
                        <a:pt x="1883" y="155969"/>
                        <a:pt x="5649" y="152831"/>
                      </a:cubicBezTo>
                      <a:lnTo>
                        <a:pt x="180771" y="4071"/>
                      </a:lnTo>
                      <a:cubicBezTo>
                        <a:pt x="187676" y="-2206"/>
                        <a:pt x="198347" y="-950"/>
                        <a:pt x="204623" y="5954"/>
                      </a:cubicBezTo>
                      <a:cubicBezTo>
                        <a:pt x="210900" y="12859"/>
                        <a:pt x="209645" y="23529"/>
                        <a:pt x="202740" y="29806"/>
                      </a:cubicBezTo>
                      <a:lnTo>
                        <a:pt x="33895" y="173544"/>
                      </a:lnTo>
                      <a:lnTo>
                        <a:pt x="33895" y="386955"/>
                      </a:lnTo>
                      <a:cubicBezTo>
                        <a:pt x="33895" y="390093"/>
                        <a:pt x="36405" y="393232"/>
                        <a:pt x="39544" y="393232"/>
                      </a:cubicBezTo>
                      <a:lnTo>
                        <a:pt x="342713" y="393232"/>
                      </a:lnTo>
                      <a:cubicBezTo>
                        <a:pt x="345851" y="393232"/>
                        <a:pt x="348989" y="390721"/>
                        <a:pt x="348989" y="386955"/>
                      </a:cubicBezTo>
                      <a:lnTo>
                        <a:pt x="348989" y="165385"/>
                      </a:lnTo>
                      <a:cubicBezTo>
                        <a:pt x="348989" y="155969"/>
                        <a:pt x="356522" y="148437"/>
                        <a:pt x="365937" y="148437"/>
                      </a:cubicBezTo>
                      <a:cubicBezTo>
                        <a:pt x="375352" y="148437"/>
                        <a:pt x="382884" y="155969"/>
                        <a:pt x="382884" y="165385"/>
                      </a:cubicBezTo>
                      <a:lnTo>
                        <a:pt x="382884" y="386328"/>
                      </a:lnTo>
                      <a:cubicBezTo>
                        <a:pt x="381629" y="407668"/>
                        <a:pt x="364054" y="425244"/>
                        <a:pt x="342713" y="425244"/>
                      </a:cubicBezTo>
                      <a:lnTo>
                        <a:pt x="342713" y="425244"/>
                      </a:lnTo>
                      <a:close/>
                    </a:path>
                  </a:pathLst>
                </a:custGeom>
                <a:grpFill/>
                <a:ln w="62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420" name="Forma Livre: Forma 419">
                  <a:extLst>
                    <a:ext uri="{FF2B5EF4-FFF2-40B4-BE49-F238E27FC236}">
                      <a16:creationId xmlns:a16="http://schemas.microsoft.com/office/drawing/2014/main" id="{DFC33A17-4F8C-4394-9C01-8D2CEEA36DBA}"/>
                    </a:ext>
                  </a:extLst>
                </p:cNvPr>
                <p:cNvSpPr/>
                <p:nvPr/>
              </p:nvSpPr>
              <p:spPr>
                <a:xfrm>
                  <a:off x="2342862" y="4872147"/>
                  <a:ext cx="362641" cy="185635"/>
                </a:xfrm>
                <a:custGeom>
                  <a:avLst/>
                  <a:gdLst>
                    <a:gd name="connsiteX0" fmla="*/ 332648 w 362641"/>
                    <a:gd name="connsiteY0" fmla="*/ 185636 h 185635"/>
                    <a:gd name="connsiteX1" fmla="*/ 29479 w 362641"/>
                    <a:gd name="connsiteY1" fmla="*/ 185636 h 185635"/>
                    <a:gd name="connsiteX2" fmla="*/ 606 w 362641"/>
                    <a:gd name="connsiteY2" fmla="*/ 165550 h 185635"/>
                    <a:gd name="connsiteX3" fmla="*/ 3117 w 362641"/>
                    <a:gd name="connsiteY3" fmla="*/ 156135 h 185635"/>
                    <a:gd name="connsiteX4" fmla="*/ 175729 w 362641"/>
                    <a:gd name="connsiteY4" fmla="*/ 2354 h 185635"/>
                    <a:gd name="connsiteX5" fmla="*/ 187027 w 362641"/>
                    <a:gd name="connsiteY5" fmla="*/ 2354 h 185635"/>
                    <a:gd name="connsiteX6" fmla="*/ 359638 w 362641"/>
                    <a:gd name="connsiteY6" fmla="*/ 156135 h 185635"/>
                    <a:gd name="connsiteX7" fmla="*/ 362149 w 362641"/>
                    <a:gd name="connsiteY7" fmla="*/ 165550 h 185635"/>
                    <a:gd name="connsiteX8" fmla="*/ 332648 w 362641"/>
                    <a:gd name="connsiteY8" fmla="*/ 185636 h 185635"/>
                    <a:gd name="connsiteX9" fmla="*/ 332648 w 362641"/>
                    <a:gd name="connsiteY9" fmla="*/ 185636 h 185635"/>
                    <a:gd name="connsiteX10" fmla="*/ 18809 w 362641"/>
                    <a:gd name="connsiteY10" fmla="*/ 164295 h 185635"/>
                    <a:gd name="connsiteX11" fmla="*/ 29479 w 362641"/>
                    <a:gd name="connsiteY11" fmla="*/ 168689 h 185635"/>
                    <a:gd name="connsiteX12" fmla="*/ 332648 w 362641"/>
                    <a:gd name="connsiteY12" fmla="*/ 168689 h 185635"/>
                    <a:gd name="connsiteX13" fmla="*/ 343319 w 362641"/>
                    <a:gd name="connsiteY13" fmla="*/ 164295 h 185635"/>
                    <a:gd name="connsiteX14" fmla="*/ 181378 w 362641"/>
                    <a:gd name="connsiteY14" fmla="*/ 19929 h 185635"/>
                    <a:gd name="connsiteX15" fmla="*/ 18809 w 362641"/>
                    <a:gd name="connsiteY15" fmla="*/ 164295 h 185635"/>
                    <a:gd name="connsiteX16" fmla="*/ 18809 w 362641"/>
                    <a:gd name="connsiteY16" fmla="*/ 164295 h 1856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362641" h="185635">
                      <a:moveTo>
                        <a:pt x="332648" y="185636"/>
                      </a:moveTo>
                      <a:lnTo>
                        <a:pt x="29479" y="185636"/>
                      </a:lnTo>
                      <a:cubicBezTo>
                        <a:pt x="16926" y="185636"/>
                        <a:pt x="5000" y="177476"/>
                        <a:pt x="606" y="165550"/>
                      </a:cubicBezTo>
                      <a:cubicBezTo>
                        <a:pt x="-649" y="162412"/>
                        <a:pt x="-21" y="158646"/>
                        <a:pt x="3117" y="156135"/>
                      </a:cubicBezTo>
                      <a:lnTo>
                        <a:pt x="175729" y="2354"/>
                      </a:lnTo>
                      <a:cubicBezTo>
                        <a:pt x="178867" y="-785"/>
                        <a:pt x="183888" y="-785"/>
                        <a:pt x="187027" y="2354"/>
                      </a:cubicBezTo>
                      <a:lnTo>
                        <a:pt x="359638" y="156135"/>
                      </a:lnTo>
                      <a:cubicBezTo>
                        <a:pt x="362149" y="158646"/>
                        <a:pt x="363404" y="161784"/>
                        <a:pt x="362149" y="165550"/>
                      </a:cubicBezTo>
                      <a:cubicBezTo>
                        <a:pt x="357128" y="177476"/>
                        <a:pt x="345202" y="185636"/>
                        <a:pt x="332648" y="185636"/>
                      </a:cubicBezTo>
                      <a:lnTo>
                        <a:pt x="332648" y="185636"/>
                      </a:lnTo>
                      <a:close/>
                      <a:moveTo>
                        <a:pt x="18809" y="164295"/>
                      </a:moveTo>
                      <a:cubicBezTo>
                        <a:pt x="21320" y="167433"/>
                        <a:pt x="25086" y="168689"/>
                        <a:pt x="29479" y="168689"/>
                      </a:cubicBezTo>
                      <a:lnTo>
                        <a:pt x="332648" y="168689"/>
                      </a:lnTo>
                      <a:cubicBezTo>
                        <a:pt x="337042" y="168689"/>
                        <a:pt x="340808" y="166805"/>
                        <a:pt x="343319" y="164295"/>
                      </a:cubicBezTo>
                      <a:lnTo>
                        <a:pt x="181378" y="19929"/>
                      </a:lnTo>
                      <a:lnTo>
                        <a:pt x="18809" y="164295"/>
                      </a:lnTo>
                      <a:lnTo>
                        <a:pt x="18809" y="164295"/>
                      </a:lnTo>
                      <a:close/>
                    </a:path>
                  </a:pathLst>
                </a:custGeom>
                <a:grpFill/>
                <a:ln w="62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421" name="Forma Livre: Forma 420">
                  <a:extLst>
                    <a:ext uri="{FF2B5EF4-FFF2-40B4-BE49-F238E27FC236}">
                      <a16:creationId xmlns:a16="http://schemas.microsoft.com/office/drawing/2014/main" id="{F476AACD-8410-48C9-BF0F-F08065F1E161}"/>
                    </a:ext>
                  </a:extLst>
                </p:cNvPr>
                <p:cNvSpPr/>
                <p:nvPr/>
              </p:nvSpPr>
              <p:spPr>
                <a:xfrm>
                  <a:off x="2568624" y="4812180"/>
                  <a:ext cx="136566" cy="123205"/>
                </a:xfrm>
                <a:custGeom>
                  <a:avLst/>
                  <a:gdLst>
                    <a:gd name="connsiteX0" fmla="*/ 8340 w 136566"/>
                    <a:gd name="connsiteY0" fmla="*/ 123205 h 123205"/>
                    <a:gd name="connsiteX1" fmla="*/ 2063 w 136566"/>
                    <a:gd name="connsiteY1" fmla="*/ 120695 h 123205"/>
                    <a:gd name="connsiteX2" fmla="*/ 2691 w 136566"/>
                    <a:gd name="connsiteY2" fmla="*/ 108769 h 123205"/>
                    <a:gd name="connsiteX3" fmla="*/ 122578 w 136566"/>
                    <a:gd name="connsiteY3" fmla="*/ 2063 h 123205"/>
                    <a:gd name="connsiteX4" fmla="*/ 134504 w 136566"/>
                    <a:gd name="connsiteY4" fmla="*/ 2691 h 123205"/>
                    <a:gd name="connsiteX5" fmla="*/ 133876 w 136566"/>
                    <a:gd name="connsiteY5" fmla="*/ 14617 h 123205"/>
                    <a:gd name="connsiteX6" fmla="*/ 13989 w 136566"/>
                    <a:gd name="connsiteY6" fmla="*/ 121322 h 123205"/>
                    <a:gd name="connsiteX7" fmla="*/ 8340 w 136566"/>
                    <a:gd name="connsiteY7" fmla="*/ 123205 h 123205"/>
                    <a:gd name="connsiteX8" fmla="*/ 8340 w 136566"/>
                    <a:gd name="connsiteY8" fmla="*/ 123205 h 1232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36566" h="123205">
                      <a:moveTo>
                        <a:pt x="8340" y="123205"/>
                      </a:moveTo>
                      <a:cubicBezTo>
                        <a:pt x="5829" y="123205"/>
                        <a:pt x="3946" y="121950"/>
                        <a:pt x="2063" y="120695"/>
                      </a:cubicBezTo>
                      <a:cubicBezTo>
                        <a:pt x="-1075" y="117556"/>
                        <a:pt x="-447" y="111907"/>
                        <a:pt x="2691" y="108769"/>
                      </a:cubicBezTo>
                      <a:lnTo>
                        <a:pt x="122578" y="2063"/>
                      </a:lnTo>
                      <a:cubicBezTo>
                        <a:pt x="125716" y="-1075"/>
                        <a:pt x="131365" y="-447"/>
                        <a:pt x="134504" y="2691"/>
                      </a:cubicBezTo>
                      <a:cubicBezTo>
                        <a:pt x="137642" y="5830"/>
                        <a:pt x="137014" y="11478"/>
                        <a:pt x="133876" y="14617"/>
                      </a:cubicBezTo>
                      <a:lnTo>
                        <a:pt x="13989" y="121322"/>
                      </a:lnTo>
                      <a:cubicBezTo>
                        <a:pt x="12106" y="122578"/>
                        <a:pt x="10223" y="123205"/>
                        <a:pt x="8340" y="123205"/>
                      </a:cubicBezTo>
                      <a:lnTo>
                        <a:pt x="8340" y="123205"/>
                      </a:lnTo>
                      <a:close/>
                    </a:path>
                  </a:pathLst>
                </a:custGeom>
                <a:grpFill/>
                <a:ln w="62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422" name="Forma Livre: Forma 421">
                  <a:extLst>
                    <a:ext uri="{FF2B5EF4-FFF2-40B4-BE49-F238E27FC236}">
                      <a16:creationId xmlns:a16="http://schemas.microsoft.com/office/drawing/2014/main" id="{D10DC6BD-BFA2-4870-B164-7A5130BA525C}"/>
                    </a:ext>
                  </a:extLst>
                </p:cNvPr>
                <p:cNvSpPr/>
                <p:nvPr/>
              </p:nvSpPr>
              <p:spPr>
                <a:xfrm>
                  <a:off x="2342660" y="4812180"/>
                  <a:ext cx="137194" cy="123833"/>
                </a:xfrm>
                <a:custGeom>
                  <a:avLst/>
                  <a:gdLst>
                    <a:gd name="connsiteX0" fmla="*/ 128854 w 137194"/>
                    <a:gd name="connsiteY0" fmla="*/ 123833 h 123833"/>
                    <a:gd name="connsiteX1" fmla="*/ 123205 w 137194"/>
                    <a:gd name="connsiteY1" fmla="*/ 121950 h 123833"/>
                    <a:gd name="connsiteX2" fmla="*/ 2691 w 137194"/>
                    <a:gd name="connsiteY2" fmla="*/ 14617 h 123833"/>
                    <a:gd name="connsiteX3" fmla="*/ 2063 w 137194"/>
                    <a:gd name="connsiteY3" fmla="*/ 2691 h 123833"/>
                    <a:gd name="connsiteX4" fmla="*/ 13989 w 137194"/>
                    <a:gd name="connsiteY4" fmla="*/ 2063 h 123833"/>
                    <a:gd name="connsiteX5" fmla="*/ 134504 w 137194"/>
                    <a:gd name="connsiteY5" fmla="*/ 109397 h 123833"/>
                    <a:gd name="connsiteX6" fmla="*/ 135131 w 137194"/>
                    <a:gd name="connsiteY6" fmla="*/ 121322 h 123833"/>
                    <a:gd name="connsiteX7" fmla="*/ 128854 w 137194"/>
                    <a:gd name="connsiteY7" fmla="*/ 123833 h 123833"/>
                    <a:gd name="connsiteX8" fmla="*/ 128854 w 137194"/>
                    <a:gd name="connsiteY8" fmla="*/ 123833 h 1238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37194" h="123833">
                      <a:moveTo>
                        <a:pt x="128854" y="123833"/>
                      </a:moveTo>
                      <a:cubicBezTo>
                        <a:pt x="126971" y="123833"/>
                        <a:pt x="125088" y="123205"/>
                        <a:pt x="123205" y="121950"/>
                      </a:cubicBezTo>
                      <a:lnTo>
                        <a:pt x="2691" y="14617"/>
                      </a:lnTo>
                      <a:cubicBezTo>
                        <a:pt x="-447" y="11478"/>
                        <a:pt x="-1075" y="6457"/>
                        <a:pt x="2063" y="2691"/>
                      </a:cubicBezTo>
                      <a:cubicBezTo>
                        <a:pt x="5202" y="-447"/>
                        <a:pt x="10223" y="-1075"/>
                        <a:pt x="13989" y="2063"/>
                      </a:cubicBezTo>
                      <a:lnTo>
                        <a:pt x="134504" y="109397"/>
                      </a:lnTo>
                      <a:cubicBezTo>
                        <a:pt x="137642" y="112535"/>
                        <a:pt x="138270" y="117556"/>
                        <a:pt x="135131" y="121322"/>
                      </a:cubicBezTo>
                      <a:cubicBezTo>
                        <a:pt x="133248" y="123205"/>
                        <a:pt x="131365" y="123833"/>
                        <a:pt x="128854" y="123833"/>
                      </a:cubicBezTo>
                      <a:lnTo>
                        <a:pt x="128854" y="123833"/>
                      </a:lnTo>
                      <a:close/>
                    </a:path>
                  </a:pathLst>
                </a:custGeom>
                <a:grpFill/>
                <a:ln w="62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  <p:sp>
              <p:nvSpPr>
                <p:cNvPr id="423" name="Forma Livre: Forma 422">
                  <a:extLst>
                    <a:ext uri="{FF2B5EF4-FFF2-40B4-BE49-F238E27FC236}">
                      <a16:creationId xmlns:a16="http://schemas.microsoft.com/office/drawing/2014/main" id="{01707AFF-4BA7-47F5-AB8E-5B2FF2E7F8F2}"/>
                    </a:ext>
                  </a:extLst>
                </p:cNvPr>
                <p:cNvSpPr/>
                <p:nvPr/>
              </p:nvSpPr>
              <p:spPr>
                <a:xfrm>
                  <a:off x="2500388" y="4641004"/>
                  <a:ext cx="207133" cy="207133"/>
                </a:xfrm>
                <a:custGeom>
                  <a:avLst/>
                  <a:gdLst>
                    <a:gd name="connsiteX0" fmla="*/ 103567 w 207133"/>
                    <a:gd name="connsiteY0" fmla="*/ 207134 h 207133"/>
                    <a:gd name="connsiteX1" fmla="*/ 0 w 207133"/>
                    <a:gd name="connsiteY1" fmla="*/ 103567 h 207133"/>
                    <a:gd name="connsiteX2" fmla="*/ 103567 w 207133"/>
                    <a:gd name="connsiteY2" fmla="*/ 0 h 207133"/>
                    <a:gd name="connsiteX3" fmla="*/ 207134 w 207133"/>
                    <a:gd name="connsiteY3" fmla="*/ 103567 h 207133"/>
                    <a:gd name="connsiteX4" fmla="*/ 103567 w 207133"/>
                    <a:gd name="connsiteY4" fmla="*/ 207134 h 207133"/>
                    <a:gd name="connsiteX5" fmla="*/ 103567 w 207133"/>
                    <a:gd name="connsiteY5" fmla="*/ 207134 h 207133"/>
                    <a:gd name="connsiteX6" fmla="*/ 103567 w 207133"/>
                    <a:gd name="connsiteY6" fmla="*/ 16319 h 207133"/>
                    <a:gd name="connsiteX7" fmla="*/ 16320 w 207133"/>
                    <a:gd name="connsiteY7" fmla="*/ 103567 h 207133"/>
                    <a:gd name="connsiteX8" fmla="*/ 103567 w 207133"/>
                    <a:gd name="connsiteY8" fmla="*/ 190814 h 207133"/>
                    <a:gd name="connsiteX9" fmla="*/ 190814 w 207133"/>
                    <a:gd name="connsiteY9" fmla="*/ 103567 h 207133"/>
                    <a:gd name="connsiteX10" fmla="*/ 103567 w 207133"/>
                    <a:gd name="connsiteY10" fmla="*/ 16319 h 207133"/>
                    <a:gd name="connsiteX11" fmla="*/ 103567 w 207133"/>
                    <a:gd name="connsiteY11" fmla="*/ 16319 h 2071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07133" h="207133">
                      <a:moveTo>
                        <a:pt x="103567" y="207134"/>
                      </a:moveTo>
                      <a:cubicBezTo>
                        <a:pt x="46448" y="207134"/>
                        <a:pt x="0" y="160686"/>
                        <a:pt x="0" y="103567"/>
                      </a:cubicBezTo>
                      <a:cubicBezTo>
                        <a:pt x="0" y="46448"/>
                        <a:pt x="46448" y="0"/>
                        <a:pt x="103567" y="0"/>
                      </a:cubicBezTo>
                      <a:cubicBezTo>
                        <a:pt x="160686" y="0"/>
                        <a:pt x="207134" y="46448"/>
                        <a:pt x="207134" y="103567"/>
                      </a:cubicBezTo>
                      <a:cubicBezTo>
                        <a:pt x="207134" y="160686"/>
                        <a:pt x="160686" y="207134"/>
                        <a:pt x="103567" y="207134"/>
                      </a:cubicBezTo>
                      <a:lnTo>
                        <a:pt x="103567" y="207134"/>
                      </a:lnTo>
                      <a:close/>
                      <a:moveTo>
                        <a:pt x="103567" y="16319"/>
                      </a:moveTo>
                      <a:cubicBezTo>
                        <a:pt x="55863" y="16319"/>
                        <a:pt x="16320" y="55236"/>
                        <a:pt x="16320" y="103567"/>
                      </a:cubicBezTo>
                      <a:cubicBezTo>
                        <a:pt x="16320" y="151270"/>
                        <a:pt x="55236" y="190814"/>
                        <a:pt x="103567" y="190814"/>
                      </a:cubicBezTo>
                      <a:cubicBezTo>
                        <a:pt x="151271" y="190814"/>
                        <a:pt x="190814" y="151898"/>
                        <a:pt x="190814" y="103567"/>
                      </a:cubicBezTo>
                      <a:cubicBezTo>
                        <a:pt x="190187" y="55236"/>
                        <a:pt x="151271" y="16319"/>
                        <a:pt x="103567" y="16319"/>
                      </a:cubicBezTo>
                      <a:lnTo>
                        <a:pt x="103567" y="16319"/>
                      </a:lnTo>
                      <a:close/>
                    </a:path>
                  </a:pathLst>
                </a:custGeom>
                <a:grpFill/>
                <a:ln w="62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pt-BR"/>
                </a:p>
              </p:txBody>
            </p:sp>
          </p:grpSp>
          <p:sp>
            <p:nvSpPr>
              <p:cNvPr id="424" name="Forma Livre: Forma 423">
                <a:extLst>
                  <a:ext uri="{FF2B5EF4-FFF2-40B4-BE49-F238E27FC236}">
                    <a16:creationId xmlns:a16="http://schemas.microsoft.com/office/drawing/2014/main" id="{381BE6D0-E278-4B32-9E18-31CB9E0578AB}"/>
                  </a:ext>
                </a:extLst>
              </p:cNvPr>
              <p:cNvSpPr/>
              <p:nvPr/>
            </p:nvSpPr>
            <p:spPr>
              <a:xfrm>
                <a:off x="2513569" y="4646025"/>
                <a:ext cx="42054" cy="45192"/>
              </a:xfrm>
              <a:custGeom>
                <a:avLst/>
                <a:gdLst>
                  <a:gd name="connsiteX0" fmla="*/ 42054 w 42054"/>
                  <a:gd name="connsiteY0" fmla="*/ 21341 h 45192"/>
                  <a:gd name="connsiteX1" fmla="*/ 23852 w 42054"/>
                  <a:gd name="connsiteY1" fmla="*/ 0 h 45192"/>
                  <a:gd name="connsiteX2" fmla="*/ 0 w 42054"/>
                  <a:gd name="connsiteY2" fmla="*/ 23852 h 45192"/>
                  <a:gd name="connsiteX3" fmla="*/ 18203 w 42054"/>
                  <a:gd name="connsiteY3" fmla="*/ 45193 h 45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054" h="45192">
                    <a:moveTo>
                      <a:pt x="42054" y="21341"/>
                    </a:moveTo>
                    <a:lnTo>
                      <a:pt x="23852" y="0"/>
                    </a:lnTo>
                    <a:lnTo>
                      <a:pt x="0" y="23852"/>
                    </a:lnTo>
                    <a:lnTo>
                      <a:pt x="18203" y="45193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25" name="Forma Livre: Forma 424">
                <a:extLst>
                  <a:ext uri="{FF2B5EF4-FFF2-40B4-BE49-F238E27FC236}">
                    <a16:creationId xmlns:a16="http://schemas.microsoft.com/office/drawing/2014/main" id="{FC942535-CB68-41FA-85A9-3CA23B2FC39F}"/>
                  </a:ext>
                </a:extLst>
              </p:cNvPr>
              <p:cNvSpPr/>
              <p:nvPr/>
            </p:nvSpPr>
            <p:spPr>
              <a:xfrm>
                <a:off x="2675510" y="4774072"/>
                <a:ext cx="35777" cy="45192"/>
              </a:xfrm>
              <a:custGeom>
                <a:avLst/>
                <a:gdLst>
                  <a:gd name="connsiteX0" fmla="*/ 35778 w 35777"/>
                  <a:gd name="connsiteY0" fmla="*/ 21341 h 45192"/>
                  <a:gd name="connsiteX1" fmla="*/ 17575 w 35777"/>
                  <a:gd name="connsiteY1" fmla="*/ 0 h 45192"/>
                  <a:gd name="connsiteX2" fmla="*/ 0 w 35777"/>
                  <a:gd name="connsiteY2" fmla="*/ 28873 h 45192"/>
                  <a:gd name="connsiteX3" fmla="*/ 11926 w 35777"/>
                  <a:gd name="connsiteY3" fmla="*/ 45193 h 45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777" h="45192">
                    <a:moveTo>
                      <a:pt x="35778" y="21341"/>
                    </a:moveTo>
                    <a:lnTo>
                      <a:pt x="17575" y="0"/>
                    </a:lnTo>
                    <a:lnTo>
                      <a:pt x="0" y="28873"/>
                    </a:lnTo>
                    <a:lnTo>
                      <a:pt x="11926" y="45193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grpSp>
        <p:nvGrpSpPr>
          <p:cNvPr id="426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3350892" y="4640699"/>
            <a:ext cx="382883" cy="425243"/>
            <a:chOff x="3350892" y="4640699"/>
            <a:chExt cx="382883" cy="425243"/>
          </a:xfrm>
          <a:solidFill>
            <a:srgbClr val="B1B1A1"/>
          </a:solidFill>
        </p:grpSpPr>
        <p:grpSp>
          <p:nvGrpSpPr>
            <p:cNvPr id="427" name="Gráfico 2">
              <a:extLst>
                <a:ext uri="{FF2B5EF4-FFF2-40B4-BE49-F238E27FC236}">
                  <a16:creationId xmlns:a16="http://schemas.microsoft.com/office/drawing/2014/main" id="{83F95F55-5D1D-4425-8D77-756B15108235}"/>
                </a:ext>
              </a:extLst>
            </p:cNvPr>
            <p:cNvGrpSpPr/>
            <p:nvPr/>
          </p:nvGrpSpPr>
          <p:grpSpPr>
            <a:xfrm>
              <a:off x="3350892" y="4640699"/>
              <a:ext cx="382883" cy="425243"/>
              <a:chOff x="3350892" y="4640699"/>
              <a:chExt cx="382883" cy="425243"/>
            </a:xfrm>
            <a:grpFill/>
          </p:grpSpPr>
          <p:sp>
            <p:nvSpPr>
              <p:cNvPr id="428" name="Forma Livre: Forma 427">
                <a:extLst>
                  <a:ext uri="{FF2B5EF4-FFF2-40B4-BE49-F238E27FC236}">
                    <a16:creationId xmlns:a16="http://schemas.microsoft.com/office/drawing/2014/main" id="{F05888DD-A88F-466C-987E-364FD7129856}"/>
                  </a:ext>
                </a:extLst>
              </p:cNvPr>
              <p:cNvSpPr/>
              <p:nvPr/>
            </p:nvSpPr>
            <p:spPr>
              <a:xfrm>
                <a:off x="3350892" y="4640699"/>
                <a:ext cx="382883" cy="425243"/>
              </a:xfrm>
              <a:custGeom>
                <a:avLst/>
                <a:gdLst>
                  <a:gd name="connsiteX0" fmla="*/ 342712 w 382883"/>
                  <a:gd name="connsiteY0" fmla="*/ 425244 h 425243"/>
                  <a:gd name="connsiteX1" fmla="*/ 39544 w 382883"/>
                  <a:gd name="connsiteY1" fmla="*/ 425244 h 425243"/>
                  <a:gd name="connsiteX2" fmla="*/ 0 w 382883"/>
                  <a:gd name="connsiteY2" fmla="*/ 385700 h 425243"/>
                  <a:gd name="connsiteX3" fmla="*/ 0 w 382883"/>
                  <a:gd name="connsiteY3" fmla="*/ 165385 h 425243"/>
                  <a:gd name="connsiteX4" fmla="*/ 5649 w 382883"/>
                  <a:gd name="connsiteY4" fmla="*/ 152831 h 425243"/>
                  <a:gd name="connsiteX5" fmla="*/ 180771 w 382883"/>
                  <a:gd name="connsiteY5" fmla="*/ 4071 h 425243"/>
                  <a:gd name="connsiteX6" fmla="*/ 204623 w 382883"/>
                  <a:gd name="connsiteY6" fmla="*/ 5954 h 425243"/>
                  <a:gd name="connsiteX7" fmla="*/ 202740 w 382883"/>
                  <a:gd name="connsiteY7" fmla="*/ 29806 h 425243"/>
                  <a:gd name="connsiteX8" fmla="*/ 33267 w 382883"/>
                  <a:gd name="connsiteY8" fmla="*/ 172917 h 425243"/>
                  <a:gd name="connsiteX9" fmla="*/ 33267 w 382883"/>
                  <a:gd name="connsiteY9" fmla="*/ 386328 h 425243"/>
                  <a:gd name="connsiteX10" fmla="*/ 39544 w 382883"/>
                  <a:gd name="connsiteY10" fmla="*/ 392604 h 425243"/>
                  <a:gd name="connsiteX11" fmla="*/ 342712 w 382883"/>
                  <a:gd name="connsiteY11" fmla="*/ 392604 h 425243"/>
                  <a:gd name="connsiteX12" fmla="*/ 348989 w 382883"/>
                  <a:gd name="connsiteY12" fmla="*/ 386328 h 425243"/>
                  <a:gd name="connsiteX13" fmla="*/ 348989 w 382883"/>
                  <a:gd name="connsiteY13" fmla="*/ 165385 h 425243"/>
                  <a:gd name="connsiteX14" fmla="*/ 365937 w 382883"/>
                  <a:gd name="connsiteY14" fmla="*/ 148437 h 425243"/>
                  <a:gd name="connsiteX15" fmla="*/ 382884 w 382883"/>
                  <a:gd name="connsiteY15" fmla="*/ 165385 h 425243"/>
                  <a:gd name="connsiteX16" fmla="*/ 382884 w 382883"/>
                  <a:gd name="connsiteY16" fmla="*/ 386328 h 425243"/>
                  <a:gd name="connsiteX17" fmla="*/ 342712 w 382883"/>
                  <a:gd name="connsiteY17" fmla="*/ 425244 h 425243"/>
                  <a:gd name="connsiteX18" fmla="*/ 342712 w 382883"/>
                  <a:gd name="connsiteY18" fmla="*/ 425244 h 4252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82883" h="425243">
                    <a:moveTo>
                      <a:pt x="342712" y="425244"/>
                    </a:moveTo>
                    <a:lnTo>
                      <a:pt x="39544" y="425244"/>
                    </a:lnTo>
                    <a:cubicBezTo>
                      <a:pt x="17575" y="425244"/>
                      <a:pt x="0" y="407668"/>
                      <a:pt x="0" y="385700"/>
                    </a:cubicBezTo>
                    <a:lnTo>
                      <a:pt x="0" y="165385"/>
                    </a:lnTo>
                    <a:cubicBezTo>
                      <a:pt x="0" y="160363"/>
                      <a:pt x="1883" y="155969"/>
                      <a:pt x="5649" y="152831"/>
                    </a:cubicBezTo>
                    <a:lnTo>
                      <a:pt x="180771" y="4071"/>
                    </a:lnTo>
                    <a:cubicBezTo>
                      <a:pt x="187676" y="-2206"/>
                      <a:pt x="198346" y="-950"/>
                      <a:pt x="204623" y="5954"/>
                    </a:cubicBezTo>
                    <a:cubicBezTo>
                      <a:pt x="210900" y="12859"/>
                      <a:pt x="209645" y="23529"/>
                      <a:pt x="202740" y="29806"/>
                    </a:cubicBezTo>
                    <a:lnTo>
                      <a:pt x="33267" y="172917"/>
                    </a:lnTo>
                    <a:lnTo>
                      <a:pt x="33267" y="386328"/>
                    </a:lnTo>
                    <a:cubicBezTo>
                      <a:pt x="33267" y="389466"/>
                      <a:pt x="35778" y="392604"/>
                      <a:pt x="39544" y="392604"/>
                    </a:cubicBezTo>
                    <a:lnTo>
                      <a:pt x="342712" y="392604"/>
                    </a:lnTo>
                    <a:cubicBezTo>
                      <a:pt x="345851" y="392604"/>
                      <a:pt x="348989" y="390093"/>
                      <a:pt x="348989" y="386328"/>
                    </a:cubicBezTo>
                    <a:lnTo>
                      <a:pt x="348989" y="165385"/>
                    </a:lnTo>
                    <a:cubicBezTo>
                      <a:pt x="348989" y="155969"/>
                      <a:pt x="356521" y="148437"/>
                      <a:pt x="365937" y="148437"/>
                    </a:cubicBezTo>
                    <a:cubicBezTo>
                      <a:pt x="375352" y="148437"/>
                      <a:pt x="382884" y="155969"/>
                      <a:pt x="382884" y="165385"/>
                    </a:cubicBezTo>
                    <a:lnTo>
                      <a:pt x="382884" y="386328"/>
                    </a:lnTo>
                    <a:cubicBezTo>
                      <a:pt x="382256" y="407668"/>
                      <a:pt x="364681" y="425244"/>
                      <a:pt x="342712" y="425244"/>
                    </a:cubicBezTo>
                    <a:lnTo>
                      <a:pt x="342712" y="425244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29" name="Forma Livre: Forma 428">
                <a:extLst>
                  <a:ext uri="{FF2B5EF4-FFF2-40B4-BE49-F238E27FC236}">
                    <a16:creationId xmlns:a16="http://schemas.microsoft.com/office/drawing/2014/main" id="{82D6B02F-FE33-4BA3-827D-4D5A871C3275}"/>
                  </a:ext>
                </a:extLst>
              </p:cNvPr>
              <p:cNvSpPr/>
              <p:nvPr/>
            </p:nvSpPr>
            <p:spPr>
              <a:xfrm>
                <a:off x="3360957" y="4872147"/>
                <a:ext cx="362641" cy="185635"/>
              </a:xfrm>
              <a:custGeom>
                <a:avLst/>
                <a:gdLst>
                  <a:gd name="connsiteX0" fmla="*/ 332648 w 362641"/>
                  <a:gd name="connsiteY0" fmla="*/ 185636 h 185635"/>
                  <a:gd name="connsiteX1" fmla="*/ 29479 w 362641"/>
                  <a:gd name="connsiteY1" fmla="*/ 185636 h 185635"/>
                  <a:gd name="connsiteX2" fmla="*/ 606 w 362641"/>
                  <a:gd name="connsiteY2" fmla="*/ 165550 h 185635"/>
                  <a:gd name="connsiteX3" fmla="*/ 3117 w 362641"/>
                  <a:gd name="connsiteY3" fmla="*/ 156135 h 185635"/>
                  <a:gd name="connsiteX4" fmla="*/ 175728 w 362641"/>
                  <a:gd name="connsiteY4" fmla="*/ 2354 h 185635"/>
                  <a:gd name="connsiteX5" fmla="*/ 187027 w 362641"/>
                  <a:gd name="connsiteY5" fmla="*/ 2354 h 185635"/>
                  <a:gd name="connsiteX6" fmla="*/ 359638 w 362641"/>
                  <a:gd name="connsiteY6" fmla="*/ 156135 h 185635"/>
                  <a:gd name="connsiteX7" fmla="*/ 362149 w 362641"/>
                  <a:gd name="connsiteY7" fmla="*/ 165550 h 185635"/>
                  <a:gd name="connsiteX8" fmla="*/ 332648 w 362641"/>
                  <a:gd name="connsiteY8" fmla="*/ 185636 h 185635"/>
                  <a:gd name="connsiteX9" fmla="*/ 332648 w 362641"/>
                  <a:gd name="connsiteY9" fmla="*/ 185636 h 185635"/>
                  <a:gd name="connsiteX10" fmla="*/ 18809 w 362641"/>
                  <a:gd name="connsiteY10" fmla="*/ 164295 h 185635"/>
                  <a:gd name="connsiteX11" fmla="*/ 29479 w 362641"/>
                  <a:gd name="connsiteY11" fmla="*/ 168689 h 185635"/>
                  <a:gd name="connsiteX12" fmla="*/ 332648 w 362641"/>
                  <a:gd name="connsiteY12" fmla="*/ 168689 h 185635"/>
                  <a:gd name="connsiteX13" fmla="*/ 343319 w 362641"/>
                  <a:gd name="connsiteY13" fmla="*/ 164295 h 185635"/>
                  <a:gd name="connsiteX14" fmla="*/ 181378 w 362641"/>
                  <a:gd name="connsiteY14" fmla="*/ 19929 h 185635"/>
                  <a:gd name="connsiteX15" fmla="*/ 18809 w 362641"/>
                  <a:gd name="connsiteY15" fmla="*/ 164295 h 185635"/>
                  <a:gd name="connsiteX16" fmla="*/ 18809 w 362641"/>
                  <a:gd name="connsiteY16" fmla="*/ 164295 h 185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62641" h="185635">
                    <a:moveTo>
                      <a:pt x="332648" y="185636"/>
                    </a:moveTo>
                    <a:lnTo>
                      <a:pt x="29479" y="185636"/>
                    </a:lnTo>
                    <a:cubicBezTo>
                      <a:pt x="16926" y="185636"/>
                      <a:pt x="5000" y="177476"/>
                      <a:pt x="606" y="165550"/>
                    </a:cubicBezTo>
                    <a:cubicBezTo>
                      <a:pt x="-649" y="162412"/>
                      <a:pt x="-22" y="158646"/>
                      <a:pt x="3117" y="156135"/>
                    </a:cubicBezTo>
                    <a:lnTo>
                      <a:pt x="175728" y="2354"/>
                    </a:lnTo>
                    <a:cubicBezTo>
                      <a:pt x="178867" y="-785"/>
                      <a:pt x="183888" y="-785"/>
                      <a:pt x="187027" y="2354"/>
                    </a:cubicBezTo>
                    <a:lnTo>
                      <a:pt x="359638" y="156135"/>
                    </a:lnTo>
                    <a:cubicBezTo>
                      <a:pt x="362149" y="158646"/>
                      <a:pt x="363405" y="161784"/>
                      <a:pt x="362149" y="165550"/>
                    </a:cubicBezTo>
                    <a:cubicBezTo>
                      <a:pt x="357128" y="177476"/>
                      <a:pt x="345202" y="185636"/>
                      <a:pt x="332648" y="185636"/>
                    </a:cubicBezTo>
                    <a:lnTo>
                      <a:pt x="332648" y="185636"/>
                    </a:lnTo>
                    <a:close/>
                    <a:moveTo>
                      <a:pt x="18809" y="164295"/>
                    </a:moveTo>
                    <a:cubicBezTo>
                      <a:pt x="21320" y="167433"/>
                      <a:pt x="25086" y="168689"/>
                      <a:pt x="29479" y="168689"/>
                    </a:cubicBezTo>
                    <a:lnTo>
                      <a:pt x="332648" y="168689"/>
                    </a:lnTo>
                    <a:cubicBezTo>
                      <a:pt x="337042" y="168689"/>
                      <a:pt x="340808" y="166805"/>
                      <a:pt x="343319" y="164295"/>
                    </a:cubicBezTo>
                    <a:lnTo>
                      <a:pt x="181378" y="19929"/>
                    </a:lnTo>
                    <a:lnTo>
                      <a:pt x="18809" y="164295"/>
                    </a:lnTo>
                    <a:lnTo>
                      <a:pt x="18809" y="164295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30" name="Forma Livre: Forma 429">
                <a:extLst>
                  <a:ext uri="{FF2B5EF4-FFF2-40B4-BE49-F238E27FC236}">
                    <a16:creationId xmlns:a16="http://schemas.microsoft.com/office/drawing/2014/main" id="{3E7695BD-6A8B-4E9C-9F44-B126A330E0FC}"/>
                  </a:ext>
                </a:extLst>
              </p:cNvPr>
              <p:cNvSpPr/>
              <p:nvPr/>
            </p:nvSpPr>
            <p:spPr>
              <a:xfrm>
                <a:off x="3586719" y="4812180"/>
                <a:ext cx="136566" cy="123205"/>
              </a:xfrm>
              <a:custGeom>
                <a:avLst/>
                <a:gdLst>
                  <a:gd name="connsiteX0" fmla="*/ 8340 w 136566"/>
                  <a:gd name="connsiteY0" fmla="*/ 123205 h 123205"/>
                  <a:gd name="connsiteX1" fmla="*/ 2063 w 136566"/>
                  <a:gd name="connsiteY1" fmla="*/ 120695 h 123205"/>
                  <a:gd name="connsiteX2" fmla="*/ 2691 w 136566"/>
                  <a:gd name="connsiteY2" fmla="*/ 108769 h 123205"/>
                  <a:gd name="connsiteX3" fmla="*/ 122578 w 136566"/>
                  <a:gd name="connsiteY3" fmla="*/ 2063 h 123205"/>
                  <a:gd name="connsiteX4" fmla="*/ 134504 w 136566"/>
                  <a:gd name="connsiteY4" fmla="*/ 2691 h 123205"/>
                  <a:gd name="connsiteX5" fmla="*/ 133876 w 136566"/>
                  <a:gd name="connsiteY5" fmla="*/ 14617 h 123205"/>
                  <a:gd name="connsiteX6" fmla="*/ 13989 w 136566"/>
                  <a:gd name="connsiteY6" fmla="*/ 121322 h 123205"/>
                  <a:gd name="connsiteX7" fmla="*/ 8340 w 136566"/>
                  <a:gd name="connsiteY7" fmla="*/ 123205 h 123205"/>
                  <a:gd name="connsiteX8" fmla="*/ 8340 w 136566"/>
                  <a:gd name="connsiteY8" fmla="*/ 123205 h 123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6566" h="123205">
                    <a:moveTo>
                      <a:pt x="8340" y="123205"/>
                    </a:moveTo>
                    <a:cubicBezTo>
                      <a:pt x="5829" y="123205"/>
                      <a:pt x="3946" y="121950"/>
                      <a:pt x="2063" y="120695"/>
                    </a:cubicBezTo>
                    <a:cubicBezTo>
                      <a:pt x="-1075" y="117556"/>
                      <a:pt x="-447" y="111907"/>
                      <a:pt x="2691" y="108769"/>
                    </a:cubicBezTo>
                    <a:lnTo>
                      <a:pt x="122578" y="2063"/>
                    </a:lnTo>
                    <a:cubicBezTo>
                      <a:pt x="125716" y="-1075"/>
                      <a:pt x="131365" y="-447"/>
                      <a:pt x="134504" y="2691"/>
                    </a:cubicBezTo>
                    <a:cubicBezTo>
                      <a:pt x="137642" y="5830"/>
                      <a:pt x="137014" y="11478"/>
                      <a:pt x="133876" y="14617"/>
                    </a:cubicBezTo>
                    <a:lnTo>
                      <a:pt x="13989" y="121322"/>
                    </a:lnTo>
                    <a:cubicBezTo>
                      <a:pt x="12734" y="122578"/>
                      <a:pt x="10223" y="123205"/>
                      <a:pt x="8340" y="123205"/>
                    </a:cubicBezTo>
                    <a:lnTo>
                      <a:pt x="8340" y="123205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31" name="Forma Livre: Forma 430">
                <a:extLst>
                  <a:ext uri="{FF2B5EF4-FFF2-40B4-BE49-F238E27FC236}">
                    <a16:creationId xmlns:a16="http://schemas.microsoft.com/office/drawing/2014/main" id="{B33C340B-BE17-4A9A-B20F-A897D83EFA09}"/>
                  </a:ext>
                </a:extLst>
              </p:cNvPr>
              <p:cNvSpPr/>
              <p:nvPr/>
            </p:nvSpPr>
            <p:spPr>
              <a:xfrm>
                <a:off x="3360755" y="4812180"/>
                <a:ext cx="137194" cy="123833"/>
              </a:xfrm>
              <a:custGeom>
                <a:avLst/>
                <a:gdLst>
                  <a:gd name="connsiteX0" fmla="*/ 128854 w 137194"/>
                  <a:gd name="connsiteY0" fmla="*/ 123833 h 123833"/>
                  <a:gd name="connsiteX1" fmla="*/ 123205 w 137194"/>
                  <a:gd name="connsiteY1" fmla="*/ 121950 h 123833"/>
                  <a:gd name="connsiteX2" fmla="*/ 2691 w 137194"/>
                  <a:gd name="connsiteY2" fmla="*/ 14617 h 123833"/>
                  <a:gd name="connsiteX3" fmla="*/ 2063 w 137194"/>
                  <a:gd name="connsiteY3" fmla="*/ 2691 h 123833"/>
                  <a:gd name="connsiteX4" fmla="*/ 13989 w 137194"/>
                  <a:gd name="connsiteY4" fmla="*/ 2063 h 123833"/>
                  <a:gd name="connsiteX5" fmla="*/ 134504 w 137194"/>
                  <a:gd name="connsiteY5" fmla="*/ 109397 h 123833"/>
                  <a:gd name="connsiteX6" fmla="*/ 135131 w 137194"/>
                  <a:gd name="connsiteY6" fmla="*/ 121322 h 123833"/>
                  <a:gd name="connsiteX7" fmla="*/ 128854 w 137194"/>
                  <a:gd name="connsiteY7" fmla="*/ 123833 h 123833"/>
                  <a:gd name="connsiteX8" fmla="*/ 128854 w 137194"/>
                  <a:gd name="connsiteY8" fmla="*/ 123833 h 1238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7194" h="123833">
                    <a:moveTo>
                      <a:pt x="128854" y="123833"/>
                    </a:moveTo>
                    <a:cubicBezTo>
                      <a:pt x="126971" y="123833"/>
                      <a:pt x="125088" y="123205"/>
                      <a:pt x="123205" y="121950"/>
                    </a:cubicBezTo>
                    <a:lnTo>
                      <a:pt x="2691" y="14617"/>
                    </a:lnTo>
                    <a:cubicBezTo>
                      <a:pt x="-447" y="11478"/>
                      <a:pt x="-1075" y="6457"/>
                      <a:pt x="2063" y="2691"/>
                    </a:cubicBezTo>
                    <a:cubicBezTo>
                      <a:pt x="5202" y="-447"/>
                      <a:pt x="10223" y="-1075"/>
                      <a:pt x="13989" y="2063"/>
                    </a:cubicBezTo>
                    <a:lnTo>
                      <a:pt x="134504" y="109397"/>
                    </a:lnTo>
                    <a:cubicBezTo>
                      <a:pt x="137642" y="112535"/>
                      <a:pt x="138269" y="117556"/>
                      <a:pt x="135131" y="121322"/>
                    </a:cubicBezTo>
                    <a:cubicBezTo>
                      <a:pt x="133876" y="123205"/>
                      <a:pt x="131365" y="123833"/>
                      <a:pt x="128854" y="123833"/>
                    </a:cubicBezTo>
                    <a:lnTo>
                      <a:pt x="128854" y="123833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32" name="Forma Livre: Forma 431">
                <a:extLst>
                  <a:ext uri="{FF2B5EF4-FFF2-40B4-BE49-F238E27FC236}">
                    <a16:creationId xmlns:a16="http://schemas.microsoft.com/office/drawing/2014/main" id="{71082535-6C1C-4D7E-9F37-6730BDAB9FB0}"/>
                  </a:ext>
                </a:extLst>
              </p:cNvPr>
              <p:cNvSpPr/>
              <p:nvPr/>
            </p:nvSpPr>
            <p:spPr>
              <a:xfrm>
                <a:off x="3518482" y="4641004"/>
                <a:ext cx="207133" cy="207133"/>
              </a:xfrm>
              <a:custGeom>
                <a:avLst/>
                <a:gdLst>
                  <a:gd name="connsiteX0" fmla="*/ 103567 w 207133"/>
                  <a:gd name="connsiteY0" fmla="*/ 207134 h 207133"/>
                  <a:gd name="connsiteX1" fmla="*/ 0 w 207133"/>
                  <a:gd name="connsiteY1" fmla="*/ 103567 h 207133"/>
                  <a:gd name="connsiteX2" fmla="*/ 103567 w 207133"/>
                  <a:gd name="connsiteY2" fmla="*/ 0 h 207133"/>
                  <a:gd name="connsiteX3" fmla="*/ 207134 w 207133"/>
                  <a:gd name="connsiteY3" fmla="*/ 103567 h 207133"/>
                  <a:gd name="connsiteX4" fmla="*/ 103567 w 207133"/>
                  <a:gd name="connsiteY4" fmla="*/ 207134 h 207133"/>
                  <a:gd name="connsiteX5" fmla="*/ 103567 w 207133"/>
                  <a:gd name="connsiteY5" fmla="*/ 207134 h 207133"/>
                  <a:gd name="connsiteX6" fmla="*/ 103567 w 207133"/>
                  <a:gd name="connsiteY6" fmla="*/ 16319 h 207133"/>
                  <a:gd name="connsiteX7" fmla="*/ 16320 w 207133"/>
                  <a:gd name="connsiteY7" fmla="*/ 103567 h 207133"/>
                  <a:gd name="connsiteX8" fmla="*/ 103567 w 207133"/>
                  <a:gd name="connsiteY8" fmla="*/ 190814 h 207133"/>
                  <a:gd name="connsiteX9" fmla="*/ 190814 w 207133"/>
                  <a:gd name="connsiteY9" fmla="*/ 103567 h 207133"/>
                  <a:gd name="connsiteX10" fmla="*/ 103567 w 207133"/>
                  <a:gd name="connsiteY10" fmla="*/ 16319 h 207133"/>
                  <a:gd name="connsiteX11" fmla="*/ 103567 w 207133"/>
                  <a:gd name="connsiteY11" fmla="*/ 16319 h 2071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7133" h="207133">
                    <a:moveTo>
                      <a:pt x="103567" y="207134"/>
                    </a:moveTo>
                    <a:cubicBezTo>
                      <a:pt x="46448" y="207134"/>
                      <a:pt x="0" y="160686"/>
                      <a:pt x="0" y="103567"/>
                    </a:cubicBezTo>
                    <a:cubicBezTo>
                      <a:pt x="0" y="46448"/>
                      <a:pt x="46448" y="0"/>
                      <a:pt x="103567" y="0"/>
                    </a:cubicBezTo>
                    <a:cubicBezTo>
                      <a:pt x="160686" y="0"/>
                      <a:pt x="207134" y="46448"/>
                      <a:pt x="207134" y="103567"/>
                    </a:cubicBezTo>
                    <a:cubicBezTo>
                      <a:pt x="207134" y="160686"/>
                      <a:pt x="160686" y="207134"/>
                      <a:pt x="103567" y="207134"/>
                    </a:cubicBezTo>
                    <a:lnTo>
                      <a:pt x="103567" y="207134"/>
                    </a:lnTo>
                    <a:close/>
                    <a:moveTo>
                      <a:pt x="103567" y="16319"/>
                    </a:moveTo>
                    <a:cubicBezTo>
                      <a:pt x="55863" y="16319"/>
                      <a:pt x="16320" y="55236"/>
                      <a:pt x="16320" y="103567"/>
                    </a:cubicBezTo>
                    <a:cubicBezTo>
                      <a:pt x="16320" y="151270"/>
                      <a:pt x="55236" y="190814"/>
                      <a:pt x="103567" y="190814"/>
                    </a:cubicBezTo>
                    <a:cubicBezTo>
                      <a:pt x="151271" y="190814"/>
                      <a:pt x="190814" y="151898"/>
                      <a:pt x="190814" y="103567"/>
                    </a:cubicBezTo>
                    <a:cubicBezTo>
                      <a:pt x="190814" y="55236"/>
                      <a:pt x="151271" y="16319"/>
                      <a:pt x="103567" y="16319"/>
                    </a:cubicBezTo>
                    <a:lnTo>
                      <a:pt x="103567" y="16319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433" name="Forma Livre: Forma 432">
              <a:extLst>
                <a:ext uri="{FF2B5EF4-FFF2-40B4-BE49-F238E27FC236}">
                  <a16:creationId xmlns:a16="http://schemas.microsoft.com/office/drawing/2014/main" id="{DEF4A28B-C5B1-42C4-AA2D-9025D6EFC22A}"/>
                </a:ext>
              </a:extLst>
            </p:cNvPr>
            <p:cNvSpPr/>
            <p:nvPr/>
          </p:nvSpPr>
          <p:spPr>
            <a:xfrm>
              <a:off x="3532291" y="4646025"/>
              <a:ext cx="41426" cy="45192"/>
            </a:xfrm>
            <a:custGeom>
              <a:avLst/>
              <a:gdLst>
                <a:gd name="connsiteX0" fmla="*/ 41427 w 41426"/>
                <a:gd name="connsiteY0" fmla="*/ 21341 h 45192"/>
                <a:gd name="connsiteX1" fmla="*/ 23852 w 41426"/>
                <a:gd name="connsiteY1" fmla="*/ 0 h 45192"/>
                <a:gd name="connsiteX2" fmla="*/ 0 w 41426"/>
                <a:gd name="connsiteY2" fmla="*/ 23852 h 45192"/>
                <a:gd name="connsiteX3" fmla="*/ 18203 w 41426"/>
                <a:gd name="connsiteY3" fmla="*/ 45193 h 45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426" h="45192">
                  <a:moveTo>
                    <a:pt x="41427" y="21341"/>
                  </a:moveTo>
                  <a:lnTo>
                    <a:pt x="23852" y="0"/>
                  </a:lnTo>
                  <a:lnTo>
                    <a:pt x="0" y="23852"/>
                  </a:lnTo>
                  <a:lnTo>
                    <a:pt x="18203" y="45193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34" name="Forma Livre: Forma 433">
              <a:extLst>
                <a:ext uri="{FF2B5EF4-FFF2-40B4-BE49-F238E27FC236}">
                  <a16:creationId xmlns:a16="http://schemas.microsoft.com/office/drawing/2014/main" id="{C7EC8EE4-E5F7-4222-A9B0-E53BBFA247A6}"/>
                </a:ext>
              </a:extLst>
            </p:cNvPr>
            <p:cNvSpPr/>
            <p:nvPr/>
          </p:nvSpPr>
          <p:spPr>
            <a:xfrm>
              <a:off x="3693605" y="4774072"/>
              <a:ext cx="35777" cy="45192"/>
            </a:xfrm>
            <a:custGeom>
              <a:avLst/>
              <a:gdLst>
                <a:gd name="connsiteX0" fmla="*/ 35778 w 35777"/>
                <a:gd name="connsiteY0" fmla="*/ 21341 h 45192"/>
                <a:gd name="connsiteX1" fmla="*/ 18203 w 35777"/>
                <a:gd name="connsiteY1" fmla="*/ 0 h 45192"/>
                <a:gd name="connsiteX2" fmla="*/ 0 w 35777"/>
                <a:gd name="connsiteY2" fmla="*/ 28873 h 45192"/>
                <a:gd name="connsiteX3" fmla="*/ 12554 w 35777"/>
                <a:gd name="connsiteY3" fmla="*/ 45193 h 45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777" h="45192">
                  <a:moveTo>
                    <a:pt x="35778" y="21341"/>
                  </a:moveTo>
                  <a:lnTo>
                    <a:pt x="18203" y="0"/>
                  </a:lnTo>
                  <a:lnTo>
                    <a:pt x="0" y="28873"/>
                  </a:lnTo>
                  <a:lnTo>
                    <a:pt x="12554" y="45193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435" name="Gráfico 2">
            <a:extLst>
              <a:ext uri="{FF2B5EF4-FFF2-40B4-BE49-F238E27FC236}">
                <a16:creationId xmlns:a16="http://schemas.microsoft.com/office/drawing/2014/main" id="{83F95F55-5D1D-4425-8D77-756B15108235}"/>
              </a:ext>
            </a:extLst>
          </p:cNvPr>
          <p:cNvGrpSpPr/>
          <p:nvPr/>
        </p:nvGrpSpPr>
        <p:grpSpPr>
          <a:xfrm>
            <a:off x="4372753" y="4640699"/>
            <a:ext cx="383511" cy="425243"/>
            <a:chOff x="4372753" y="4640699"/>
            <a:chExt cx="383511" cy="425243"/>
          </a:xfrm>
          <a:solidFill>
            <a:srgbClr val="B1B1A1"/>
          </a:solidFill>
        </p:grpSpPr>
        <p:grpSp>
          <p:nvGrpSpPr>
            <p:cNvPr id="436" name="Gráfico 2">
              <a:extLst>
                <a:ext uri="{FF2B5EF4-FFF2-40B4-BE49-F238E27FC236}">
                  <a16:creationId xmlns:a16="http://schemas.microsoft.com/office/drawing/2014/main" id="{83F95F55-5D1D-4425-8D77-756B15108235}"/>
                </a:ext>
              </a:extLst>
            </p:cNvPr>
            <p:cNvGrpSpPr/>
            <p:nvPr/>
          </p:nvGrpSpPr>
          <p:grpSpPr>
            <a:xfrm>
              <a:off x="4372753" y="4640699"/>
              <a:ext cx="383511" cy="425243"/>
              <a:chOff x="4372753" y="4640699"/>
              <a:chExt cx="383511" cy="425243"/>
            </a:xfrm>
            <a:grpFill/>
          </p:grpSpPr>
          <p:sp>
            <p:nvSpPr>
              <p:cNvPr id="437" name="Forma Livre: Forma 436">
                <a:extLst>
                  <a:ext uri="{FF2B5EF4-FFF2-40B4-BE49-F238E27FC236}">
                    <a16:creationId xmlns:a16="http://schemas.microsoft.com/office/drawing/2014/main" id="{EA4A1D42-9937-4C3E-BE1E-0C99C5197C84}"/>
                  </a:ext>
                </a:extLst>
              </p:cNvPr>
              <p:cNvSpPr/>
              <p:nvPr/>
            </p:nvSpPr>
            <p:spPr>
              <a:xfrm>
                <a:off x="4372753" y="4640699"/>
                <a:ext cx="383511" cy="425243"/>
              </a:xfrm>
              <a:custGeom>
                <a:avLst/>
                <a:gdLst>
                  <a:gd name="connsiteX0" fmla="*/ 342712 w 383511"/>
                  <a:gd name="connsiteY0" fmla="*/ 425244 h 425243"/>
                  <a:gd name="connsiteX1" fmla="*/ 39544 w 383511"/>
                  <a:gd name="connsiteY1" fmla="*/ 425244 h 425243"/>
                  <a:gd name="connsiteX2" fmla="*/ 0 w 383511"/>
                  <a:gd name="connsiteY2" fmla="*/ 385700 h 425243"/>
                  <a:gd name="connsiteX3" fmla="*/ 0 w 383511"/>
                  <a:gd name="connsiteY3" fmla="*/ 165385 h 425243"/>
                  <a:gd name="connsiteX4" fmla="*/ 5649 w 383511"/>
                  <a:gd name="connsiteY4" fmla="*/ 152831 h 425243"/>
                  <a:gd name="connsiteX5" fmla="*/ 180771 w 383511"/>
                  <a:gd name="connsiteY5" fmla="*/ 4071 h 425243"/>
                  <a:gd name="connsiteX6" fmla="*/ 204623 w 383511"/>
                  <a:gd name="connsiteY6" fmla="*/ 5954 h 425243"/>
                  <a:gd name="connsiteX7" fmla="*/ 202740 w 383511"/>
                  <a:gd name="connsiteY7" fmla="*/ 29806 h 425243"/>
                  <a:gd name="connsiteX8" fmla="*/ 33895 w 383511"/>
                  <a:gd name="connsiteY8" fmla="*/ 173544 h 425243"/>
                  <a:gd name="connsiteX9" fmla="*/ 33895 w 383511"/>
                  <a:gd name="connsiteY9" fmla="*/ 386955 h 425243"/>
                  <a:gd name="connsiteX10" fmla="*/ 40171 w 383511"/>
                  <a:gd name="connsiteY10" fmla="*/ 393232 h 425243"/>
                  <a:gd name="connsiteX11" fmla="*/ 343340 w 383511"/>
                  <a:gd name="connsiteY11" fmla="*/ 393232 h 425243"/>
                  <a:gd name="connsiteX12" fmla="*/ 349617 w 383511"/>
                  <a:gd name="connsiteY12" fmla="*/ 386955 h 425243"/>
                  <a:gd name="connsiteX13" fmla="*/ 349617 w 383511"/>
                  <a:gd name="connsiteY13" fmla="*/ 165385 h 425243"/>
                  <a:gd name="connsiteX14" fmla="*/ 366565 w 383511"/>
                  <a:gd name="connsiteY14" fmla="*/ 148437 h 425243"/>
                  <a:gd name="connsiteX15" fmla="*/ 383512 w 383511"/>
                  <a:gd name="connsiteY15" fmla="*/ 165385 h 425243"/>
                  <a:gd name="connsiteX16" fmla="*/ 383512 w 383511"/>
                  <a:gd name="connsiteY16" fmla="*/ 386328 h 425243"/>
                  <a:gd name="connsiteX17" fmla="*/ 342712 w 383511"/>
                  <a:gd name="connsiteY17" fmla="*/ 425244 h 425243"/>
                  <a:gd name="connsiteX18" fmla="*/ 342712 w 383511"/>
                  <a:gd name="connsiteY18" fmla="*/ 425244 h 4252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83511" h="425243">
                    <a:moveTo>
                      <a:pt x="342712" y="425244"/>
                    </a:moveTo>
                    <a:lnTo>
                      <a:pt x="39544" y="425244"/>
                    </a:lnTo>
                    <a:cubicBezTo>
                      <a:pt x="17575" y="425244"/>
                      <a:pt x="0" y="407668"/>
                      <a:pt x="0" y="385700"/>
                    </a:cubicBezTo>
                    <a:lnTo>
                      <a:pt x="0" y="165385"/>
                    </a:lnTo>
                    <a:cubicBezTo>
                      <a:pt x="0" y="160363"/>
                      <a:pt x="1883" y="155969"/>
                      <a:pt x="5649" y="152831"/>
                    </a:cubicBezTo>
                    <a:lnTo>
                      <a:pt x="180771" y="4071"/>
                    </a:lnTo>
                    <a:cubicBezTo>
                      <a:pt x="187676" y="-2206"/>
                      <a:pt x="198346" y="-950"/>
                      <a:pt x="204623" y="5954"/>
                    </a:cubicBezTo>
                    <a:cubicBezTo>
                      <a:pt x="210900" y="12859"/>
                      <a:pt x="209645" y="23529"/>
                      <a:pt x="202740" y="29806"/>
                    </a:cubicBezTo>
                    <a:lnTo>
                      <a:pt x="33895" y="173544"/>
                    </a:lnTo>
                    <a:lnTo>
                      <a:pt x="33895" y="386955"/>
                    </a:lnTo>
                    <a:cubicBezTo>
                      <a:pt x="33895" y="390093"/>
                      <a:pt x="36405" y="393232"/>
                      <a:pt x="40171" y="393232"/>
                    </a:cubicBezTo>
                    <a:lnTo>
                      <a:pt x="343340" y="393232"/>
                    </a:lnTo>
                    <a:cubicBezTo>
                      <a:pt x="346479" y="393232"/>
                      <a:pt x="349617" y="390721"/>
                      <a:pt x="349617" y="386955"/>
                    </a:cubicBezTo>
                    <a:lnTo>
                      <a:pt x="349617" y="165385"/>
                    </a:lnTo>
                    <a:cubicBezTo>
                      <a:pt x="349617" y="155969"/>
                      <a:pt x="357149" y="148437"/>
                      <a:pt x="366565" y="148437"/>
                    </a:cubicBezTo>
                    <a:cubicBezTo>
                      <a:pt x="375980" y="148437"/>
                      <a:pt x="383512" y="155969"/>
                      <a:pt x="383512" y="165385"/>
                    </a:cubicBezTo>
                    <a:lnTo>
                      <a:pt x="383512" y="386328"/>
                    </a:lnTo>
                    <a:cubicBezTo>
                      <a:pt x="382256" y="407668"/>
                      <a:pt x="364681" y="425244"/>
                      <a:pt x="342712" y="425244"/>
                    </a:cubicBezTo>
                    <a:lnTo>
                      <a:pt x="342712" y="425244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38" name="Forma Livre: Forma 437">
                <a:extLst>
                  <a:ext uri="{FF2B5EF4-FFF2-40B4-BE49-F238E27FC236}">
                    <a16:creationId xmlns:a16="http://schemas.microsoft.com/office/drawing/2014/main" id="{047E7917-0BF7-486A-953B-AAF7C77F2658}"/>
                  </a:ext>
                </a:extLst>
              </p:cNvPr>
              <p:cNvSpPr/>
              <p:nvPr/>
            </p:nvSpPr>
            <p:spPr>
              <a:xfrm>
                <a:off x="4382818" y="4872147"/>
                <a:ext cx="362641" cy="185635"/>
              </a:xfrm>
              <a:custGeom>
                <a:avLst/>
                <a:gdLst>
                  <a:gd name="connsiteX0" fmla="*/ 332648 w 362641"/>
                  <a:gd name="connsiteY0" fmla="*/ 185636 h 185635"/>
                  <a:gd name="connsiteX1" fmla="*/ 29479 w 362641"/>
                  <a:gd name="connsiteY1" fmla="*/ 185636 h 185635"/>
                  <a:gd name="connsiteX2" fmla="*/ 606 w 362641"/>
                  <a:gd name="connsiteY2" fmla="*/ 165550 h 185635"/>
                  <a:gd name="connsiteX3" fmla="*/ 3117 w 362641"/>
                  <a:gd name="connsiteY3" fmla="*/ 156135 h 185635"/>
                  <a:gd name="connsiteX4" fmla="*/ 175728 w 362641"/>
                  <a:gd name="connsiteY4" fmla="*/ 2354 h 185635"/>
                  <a:gd name="connsiteX5" fmla="*/ 187027 w 362641"/>
                  <a:gd name="connsiteY5" fmla="*/ 2354 h 185635"/>
                  <a:gd name="connsiteX6" fmla="*/ 359639 w 362641"/>
                  <a:gd name="connsiteY6" fmla="*/ 156135 h 185635"/>
                  <a:gd name="connsiteX7" fmla="*/ 362149 w 362641"/>
                  <a:gd name="connsiteY7" fmla="*/ 165550 h 185635"/>
                  <a:gd name="connsiteX8" fmla="*/ 332648 w 362641"/>
                  <a:gd name="connsiteY8" fmla="*/ 185636 h 185635"/>
                  <a:gd name="connsiteX9" fmla="*/ 332648 w 362641"/>
                  <a:gd name="connsiteY9" fmla="*/ 185636 h 185635"/>
                  <a:gd name="connsiteX10" fmla="*/ 18809 w 362641"/>
                  <a:gd name="connsiteY10" fmla="*/ 164295 h 185635"/>
                  <a:gd name="connsiteX11" fmla="*/ 29479 w 362641"/>
                  <a:gd name="connsiteY11" fmla="*/ 168689 h 185635"/>
                  <a:gd name="connsiteX12" fmla="*/ 332648 w 362641"/>
                  <a:gd name="connsiteY12" fmla="*/ 168689 h 185635"/>
                  <a:gd name="connsiteX13" fmla="*/ 343319 w 362641"/>
                  <a:gd name="connsiteY13" fmla="*/ 164295 h 185635"/>
                  <a:gd name="connsiteX14" fmla="*/ 181378 w 362641"/>
                  <a:gd name="connsiteY14" fmla="*/ 19929 h 185635"/>
                  <a:gd name="connsiteX15" fmla="*/ 18809 w 362641"/>
                  <a:gd name="connsiteY15" fmla="*/ 164295 h 185635"/>
                  <a:gd name="connsiteX16" fmla="*/ 18809 w 362641"/>
                  <a:gd name="connsiteY16" fmla="*/ 164295 h 185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62641" h="185635">
                    <a:moveTo>
                      <a:pt x="332648" y="185636"/>
                    </a:moveTo>
                    <a:lnTo>
                      <a:pt x="29479" y="185636"/>
                    </a:lnTo>
                    <a:cubicBezTo>
                      <a:pt x="16926" y="185636"/>
                      <a:pt x="5000" y="177476"/>
                      <a:pt x="606" y="165550"/>
                    </a:cubicBezTo>
                    <a:cubicBezTo>
                      <a:pt x="-649" y="162412"/>
                      <a:pt x="-21" y="158646"/>
                      <a:pt x="3117" y="156135"/>
                    </a:cubicBezTo>
                    <a:lnTo>
                      <a:pt x="175728" y="2354"/>
                    </a:lnTo>
                    <a:cubicBezTo>
                      <a:pt x="178867" y="-785"/>
                      <a:pt x="183888" y="-785"/>
                      <a:pt x="187027" y="2354"/>
                    </a:cubicBezTo>
                    <a:lnTo>
                      <a:pt x="359639" y="156135"/>
                    </a:lnTo>
                    <a:cubicBezTo>
                      <a:pt x="362149" y="158646"/>
                      <a:pt x="363404" y="161784"/>
                      <a:pt x="362149" y="165550"/>
                    </a:cubicBezTo>
                    <a:cubicBezTo>
                      <a:pt x="357128" y="177476"/>
                      <a:pt x="345202" y="185636"/>
                      <a:pt x="332648" y="185636"/>
                    </a:cubicBezTo>
                    <a:lnTo>
                      <a:pt x="332648" y="185636"/>
                    </a:lnTo>
                    <a:close/>
                    <a:moveTo>
                      <a:pt x="18809" y="164295"/>
                    </a:moveTo>
                    <a:cubicBezTo>
                      <a:pt x="21320" y="167433"/>
                      <a:pt x="25086" y="168689"/>
                      <a:pt x="29479" y="168689"/>
                    </a:cubicBezTo>
                    <a:lnTo>
                      <a:pt x="332648" y="168689"/>
                    </a:lnTo>
                    <a:cubicBezTo>
                      <a:pt x="337042" y="168689"/>
                      <a:pt x="340808" y="166805"/>
                      <a:pt x="343319" y="164295"/>
                    </a:cubicBezTo>
                    <a:lnTo>
                      <a:pt x="181378" y="19929"/>
                    </a:lnTo>
                    <a:lnTo>
                      <a:pt x="18809" y="164295"/>
                    </a:lnTo>
                    <a:lnTo>
                      <a:pt x="18809" y="164295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39" name="Forma Livre: Forma 438">
                <a:extLst>
                  <a:ext uri="{FF2B5EF4-FFF2-40B4-BE49-F238E27FC236}">
                    <a16:creationId xmlns:a16="http://schemas.microsoft.com/office/drawing/2014/main" id="{415D1A99-5937-4148-A0C7-2CA1241FE4A4}"/>
                  </a:ext>
                </a:extLst>
              </p:cNvPr>
              <p:cNvSpPr/>
              <p:nvPr/>
            </p:nvSpPr>
            <p:spPr>
              <a:xfrm>
                <a:off x="4608580" y="4812180"/>
                <a:ext cx="136566" cy="123205"/>
              </a:xfrm>
              <a:custGeom>
                <a:avLst/>
                <a:gdLst>
                  <a:gd name="connsiteX0" fmla="*/ 8340 w 136566"/>
                  <a:gd name="connsiteY0" fmla="*/ 123205 h 123205"/>
                  <a:gd name="connsiteX1" fmla="*/ 2063 w 136566"/>
                  <a:gd name="connsiteY1" fmla="*/ 120695 h 123205"/>
                  <a:gd name="connsiteX2" fmla="*/ 2691 w 136566"/>
                  <a:gd name="connsiteY2" fmla="*/ 108769 h 123205"/>
                  <a:gd name="connsiteX3" fmla="*/ 122577 w 136566"/>
                  <a:gd name="connsiteY3" fmla="*/ 2063 h 123205"/>
                  <a:gd name="connsiteX4" fmla="*/ 134503 w 136566"/>
                  <a:gd name="connsiteY4" fmla="*/ 2691 h 123205"/>
                  <a:gd name="connsiteX5" fmla="*/ 133876 w 136566"/>
                  <a:gd name="connsiteY5" fmla="*/ 14617 h 123205"/>
                  <a:gd name="connsiteX6" fmla="*/ 13989 w 136566"/>
                  <a:gd name="connsiteY6" fmla="*/ 121322 h 123205"/>
                  <a:gd name="connsiteX7" fmla="*/ 8340 w 136566"/>
                  <a:gd name="connsiteY7" fmla="*/ 123205 h 123205"/>
                  <a:gd name="connsiteX8" fmla="*/ 8340 w 136566"/>
                  <a:gd name="connsiteY8" fmla="*/ 123205 h 123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6566" h="123205">
                    <a:moveTo>
                      <a:pt x="8340" y="123205"/>
                    </a:moveTo>
                    <a:cubicBezTo>
                      <a:pt x="5829" y="123205"/>
                      <a:pt x="3946" y="121950"/>
                      <a:pt x="2063" y="120695"/>
                    </a:cubicBezTo>
                    <a:cubicBezTo>
                      <a:pt x="-1075" y="117556"/>
                      <a:pt x="-447" y="111907"/>
                      <a:pt x="2691" y="108769"/>
                    </a:cubicBezTo>
                    <a:lnTo>
                      <a:pt x="122577" y="2063"/>
                    </a:lnTo>
                    <a:cubicBezTo>
                      <a:pt x="125716" y="-1075"/>
                      <a:pt x="131365" y="-447"/>
                      <a:pt x="134503" y="2691"/>
                    </a:cubicBezTo>
                    <a:cubicBezTo>
                      <a:pt x="137642" y="5830"/>
                      <a:pt x="137014" y="11478"/>
                      <a:pt x="133876" y="14617"/>
                    </a:cubicBezTo>
                    <a:lnTo>
                      <a:pt x="13989" y="121322"/>
                    </a:lnTo>
                    <a:cubicBezTo>
                      <a:pt x="12106" y="122578"/>
                      <a:pt x="10223" y="123205"/>
                      <a:pt x="8340" y="123205"/>
                    </a:cubicBezTo>
                    <a:lnTo>
                      <a:pt x="8340" y="123205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40" name="Forma Livre: Forma 439">
                <a:extLst>
                  <a:ext uri="{FF2B5EF4-FFF2-40B4-BE49-F238E27FC236}">
                    <a16:creationId xmlns:a16="http://schemas.microsoft.com/office/drawing/2014/main" id="{6DEE7BFA-CE6E-447F-8F1C-4D5EA7FF9D09}"/>
                  </a:ext>
                </a:extLst>
              </p:cNvPr>
              <p:cNvSpPr/>
              <p:nvPr/>
            </p:nvSpPr>
            <p:spPr>
              <a:xfrm>
                <a:off x="4382616" y="4812180"/>
                <a:ext cx="137194" cy="123833"/>
              </a:xfrm>
              <a:custGeom>
                <a:avLst/>
                <a:gdLst>
                  <a:gd name="connsiteX0" fmla="*/ 128854 w 137194"/>
                  <a:gd name="connsiteY0" fmla="*/ 123833 h 123833"/>
                  <a:gd name="connsiteX1" fmla="*/ 123205 w 137194"/>
                  <a:gd name="connsiteY1" fmla="*/ 121950 h 123833"/>
                  <a:gd name="connsiteX2" fmla="*/ 2691 w 137194"/>
                  <a:gd name="connsiteY2" fmla="*/ 14617 h 123833"/>
                  <a:gd name="connsiteX3" fmla="*/ 2063 w 137194"/>
                  <a:gd name="connsiteY3" fmla="*/ 2691 h 123833"/>
                  <a:gd name="connsiteX4" fmla="*/ 13989 w 137194"/>
                  <a:gd name="connsiteY4" fmla="*/ 2063 h 123833"/>
                  <a:gd name="connsiteX5" fmla="*/ 134504 w 137194"/>
                  <a:gd name="connsiteY5" fmla="*/ 109397 h 123833"/>
                  <a:gd name="connsiteX6" fmla="*/ 135131 w 137194"/>
                  <a:gd name="connsiteY6" fmla="*/ 121322 h 123833"/>
                  <a:gd name="connsiteX7" fmla="*/ 128854 w 137194"/>
                  <a:gd name="connsiteY7" fmla="*/ 123833 h 123833"/>
                  <a:gd name="connsiteX8" fmla="*/ 128854 w 137194"/>
                  <a:gd name="connsiteY8" fmla="*/ 123833 h 1238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7194" h="123833">
                    <a:moveTo>
                      <a:pt x="128854" y="123833"/>
                    </a:moveTo>
                    <a:cubicBezTo>
                      <a:pt x="126971" y="123833"/>
                      <a:pt x="125088" y="123205"/>
                      <a:pt x="123205" y="121950"/>
                    </a:cubicBezTo>
                    <a:lnTo>
                      <a:pt x="2691" y="14617"/>
                    </a:lnTo>
                    <a:cubicBezTo>
                      <a:pt x="-447" y="11478"/>
                      <a:pt x="-1075" y="6457"/>
                      <a:pt x="2063" y="2691"/>
                    </a:cubicBezTo>
                    <a:cubicBezTo>
                      <a:pt x="5202" y="-447"/>
                      <a:pt x="10223" y="-1075"/>
                      <a:pt x="13989" y="2063"/>
                    </a:cubicBezTo>
                    <a:lnTo>
                      <a:pt x="134504" y="109397"/>
                    </a:lnTo>
                    <a:cubicBezTo>
                      <a:pt x="137642" y="112535"/>
                      <a:pt x="138269" y="117556"/>
                      <a:pt x="135131" y="121322"/>
                    </a:cubicBezTo>
                    <a:cubicBezTo>
                      <a:pt x="133248" y="123205"/>
                      <a:pt x="131365" y="123833"/>
                      <a:pt x="128854" y="123833"/>
                    </a:cubicBezTo>
                    <a:lnTo>
                      <a:pt x="128854" y="123833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441" name="Forma Livre: Forma 440">
                <a:extLst>
                  <a:ext uri="{FF2B5EF4-FFF2-40B4-BE49-F238E27FC236}">
                    <a16:creationId xmlns:a16="http://schemas.microsoft.com/office/drawing/2014/main" id="{074E03B8-BAF5-465F-BD2C-EF5BFEC84CEC}"/>
                  </a:ext>
                </a:extLst>
              </p:cNvPr>
              <p:cNvSpPr/>
              <p:nvPr/>
            </p:nvSpPr>
            <p:spPr>
              <a:xfrm>
                <a:off x="4540343" y="4641004"/>
                <a:ext cx="207133" cy="207133"/>
              </a:xfrm>
              <a:custGeom>
                <a:avLst/>
                <a:gdLst>
                  <a:gd name="connsiteX0" fmla="*/ 103567 w 207133"/>
                  <a:gd name="connsiteY0" fmla="*/ 207134 h 207133"/>
                  <a:gd name="connsiteX1" fmla="*/ 0 w 207133"/>
                  <a:gd name="connsiteY1" fmla="*/ 103567 h 207133"/>
                  <a:gd name="connsiteX2" fmla="*/ 103567 w 207133"/>
                  <a:gd name="connsiteY2" fmla="*/ 0 h 207133"/>
                  <a:gd name="connsiteX3" fmla="*/ 207134 w 207133"/>
                  <a:gd name="connsiteY3" fmla="*/ 103567 h 207133"/>
                  <a:gd name="connsiteX4" fmla="*/ 103567 w 207133"/>
                  <a:gd name="connsiteY4" fmla="*/ 207134 h 207133"/>
                  <a:gd name="connsiteX5" fmla="*/ 103567 w 207133"/>
                  <a:gd name="connsiteY5" fmla="*/ 207134 h 207133"/>
                  <a:gd name="connsiteX6" fmla="*/ 103567 w 207133"/>
                  <a:gd name="connsiteY6" fmla="*/ 16319 h 207133"/>
                  <a:gd name="connsiteX7" fmla="*/ 16319 w 207133"/>
                  <a:gd name="connsiteY7" fmla="*/ 103567 h 207133"/>
                  <a:gd name="connsiteX8" fmla="*/ 103567 w 207133"/>
                  <a:gd name="connsiteY8" fmla="*/ 190814 h 207133"/>
                  <a:gd name="connsiteX9" fmla="*/ 190814 w 207133"/>
                  <a:gd name="connsiteY9" fmla="*/ 103567 h 207133"/>
                  <a:gd name="connsiteX10" fmla="*/ 103567 w 207133"/>
                  <a:gd name="connsiteY10" fmla="*/ 16319 h 207133"/>
                  <a:gd name="connsiteX11" fmla="*/ 103567 w 207133"/>
                  <a:gd name="connsiteY11" fmla="*/ 16319 h 2071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7133" h="207133">
                    <a:moveTo>
                      <a:pt x="103567" y="207134"/>
                    </a:moveTo>
                    <a:cubicBezTo>
                      <a:pt x="46448" y="207134"/>
                      <a:pt x="0" y="160686"/>
                      <a:pt x="0" y="103567"/>
                    </a:cubicBezTo>
                    <a:cubicBezTo>
                      <a:pt x="0" y="46448"/>
                      <a:pt x="46448" y="0"/>
                      <a:pt x="103567" y="0"/>
                    </a:cubicBezTo>
                    <a:cubicBezTo>
                      <a:pt x="160686" y="0"/>
                      <a:pt x="207134" y="46448"/>
                      <a:pt x="207134" y="103567"/>
                    </a:cubicBezTo>
                    <a:cubicBezTo>
                      <a:pt x="207134" y="160686"/>
                      <a:pt x="160686" y="207134"/>
                      <a:pt x="103567" y="207134"/>
                    </a:cubicBezTo>
                    <a:lnTo>
                      <a:pt x="103567" y="207134"/>
                    </a:lnTo>
                    <a:close/>
                    <a:moveTo>
                      <a:pt x="103567" y="16319"/>
                    </a:moveTo>
                    <a:cubicBezTo>
                      <a:pt x="55863" y="16319"/>
                      <a:pt x="16319" y="55236"/>
                      <a:pt x="16319" y="103567"/>
                    </a:cubicBezTo>
                    <a:cubicBezTo>
                      <a:pt x="16319" y="151270"/>
                      <a:pt x="55236" y="190814"/>
                      <a:pt x="103567" y="190814"/>
                    </a:cubicBezTo>
                    <a:cubicBezTo>
                      <a:pt x="151270" y="190814"/>
                      <a:pt x="190814" y="151898"/>
                      <a:pt x="190814" y="103567"/>
                    </a:cubicBezTo>
                    <a:cubicBezTo>
                      <a:pt x="190814" y="55236"/>
                      <a:pt x="151270" y="16319"/>
                      <a:pt x="103567" y="16319"/>
                    </a:cubicBezTo>
                    <a:lnTo>
                      <a:pt x="103567" y="16319"/>
                    </a:lnTo>
                    <a:close/>
                  </a:path>
                </a:pathLst>
              </a:custGeom>
              <a:grpFill/>
              <a:ln w="6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442" name="Forma Livre: Forma 441">
              <a:extLst>
                <a:ext uri="{FF2B5EF4-FFF2-40B4-BE49-F238E27FC236}">
                  <a16:creationId xmlns:a16="http://schemas.microsoft.com/office/drawing/2014/main" id="{5C4D5251-A141-4867-8336-7CA15C681BBA}"/>
                </a:ext>
              </a:extLst>
            </p:cNvPr>
            <p:cNvSpPr/>
            <p:nvPr/>
          </p:nvSpPr>
          <p:spPr>
            <a:xfrm>
              <a:off x="4554152" y="4646025"/>
              <a:ext cx="41426" cy="45192"/>
            </a:xfrm>
            <a:custGeom>
              <a:avLst/>
              <a:gdLst>
                <a:gd name="connsiteX0" fmla="*/ 41427 w 41426"/>
                <a:gd name="connsiteY0" fmla="*/ 21341 h 45192"/>
                <a:gd name="connsiteX1" fmla="*/ 23224 w 41426"/>
                <a:gd name="connsiteY1" fmla="*/ 0 h 45192"/>
                <a:gd name="connsiteX2" fmla="*/ 0 w 41426"/>
                <a:gd name="connsiteY2" fmla="*/ 23852 h 45192"/>
                <a:gd name="connsiteX3" fmla="*/ 17575 w 41426"/>
                <a:gd name="connsiteY3" fmla="*/ 45193 h 45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426" h="45192">
                  <a:moveTo>
                    <a:pt x="41427" y="21341"/>
                  </a:moveTo>
                  <a:lnTo>
                    <a:pt x="23224" y="0"/>
                  </a:lnTo>
                  <a:lnTo>
                    <a:pt x="0" y="23852"/>
                  </a:lnTo>
                  <a:lnTo>
                    <a:pt x="17575" y="45193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443" name="Forma Livre: Forma 442">
              <a:extLst>
                <a:ext uri="{FF2B5EF4-FFF2-40B4-BE49-F238E27FC236}">
                  <a16:creationId xmlns:a16="http://schemas.microsoft.com/office/drawing/2014/main" id="{645235D2-B5B8-4857-A2F4-09994D672DB4}"/>
                </a:ext>
              </a:extLst>
            </p:cNvPr>
            <p:cNvSpPr/>
            <p:nvPr/>
          </p:nvSpPr>
          <p:spPr>
            <a:xfrm>
              <a:off x="4715466" y="4774072"/>
              <a:ext cx="35777" cy="45192"/>
            </a:xfrm>
            <a:custGeom>
              <a:avLst/>
              <a:gdLst>
                <a:gd name="connsiteX0" fmla="*/ 35778 w 35777"/>
                <a:gd name="connsiteY0" fmla="*/ 21341 h 45192"/>
                <a:gd name="connsiteX1" fmla="*/ 18203 w 35777"/>
                <a:gd name="connsiteY1" fmla="*/ 0 h 45192"/>
                <a:gd name="connsiteX2" fmla="*/ 0 w 35777"/>
                <a:gd name="connsiteY2" fmla="*/ 28873 h 45192"/>
                <a:gd name="connsiteX3" fmla="*/ 12554 w 35777"/>
                <a:gd name="connsiteY3" fmla="*/ 45193 h 45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777" h="45192">
                  <a:moveTo>
                    <a:pt x="35778" y="21341"/>
                  </a:moveTo>
                  <a:lnTo>
                    <a:pt x="18203" y="0"/>
                  </a:lnTo>
                  <a:lnTo>
                    <a:pt x="0" y="28873"/>
                  </a:lnTo>
                  <a:lnTo>
                    <a:pt x="12554" y="45193"/>
                  </a:lnTo>
                  <a:close/>
                </a:path>
              </a:pathLst>
            </a:custGeom>
            <a:grpFill/>
            <a:ln w="6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</p:spTree>
    <p:extLst>
      <p:ext uri="{BB962C8B-B14F-4D97-AF65-F5344CB8AC3E}">
        <p14:creationId xmlns:p14="http://schemas.microsoft.com/office/powerpoint/2010/main" val="3884426143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EE91247F-0D44-435E-B253-FED4FA38693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Obrigado!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D6150BF4-9111-45C9-AFFF-7685AE1B455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erir aqui o seu nome</a:t>
            </a:r>
          </a:p>
          <a:p>
            <a:r>
              <a:rPr lang="pt-BR" dirty="0"/>
              <a:t>Inserir aqui o seu e-mail</a:t>
            </a:r>
          </a:p>
          <a:p>
            <a:r>
              <a:rPr lang="pt-BR" dirty="0"/>
              <a:t>Inserir aqui o seu telefone</a:t>
            </a:r>
          </a:p>
        </p:txBody>
      </p:sp>
    </p:spTree>
    <p:extLst>
      <p:ext uri="{BB962C8B-B14F-4D97-AF65-F5344CB8AC3E}">
        <p14:creationId xmlns:p14="http://schemas.microsoft.com/office/powerpoint/2010/main" val="2969017440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FC9FF68A-4AD4-48EE-82CB-8284BC8FFAE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www.ahi.com.br</a:t>
            </a:r>
          </a:p>
        </p:txBody>
      </p:sp>
    </p:spTree>
    <p:extLst>
      <p:ext uri="{BB962C8B-B14F-4D97-AF65-F5344CB8AC3E}">
        <p14:creationId xmlns:p14="http://schemas.microsoft.com/office/powerpoint/2010/main" val="39604978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Espaço Reservado para Imagem 10" descr="Piscina com água azul&#10;&#10;Descrição gerada automaticamente">
            <a:extLst>
              <a:ext uri="{FF2B5EF4-FFF2-40B4-BE49-F238E27FC236}">
                <a16:creationId xmlns:a16="http://schemas.microsoft.com/office/drawing/2014/main" id="{5AE3F713-33EC-4DE1-87DE-03E1979D1D32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1"/>
            <a:ext cx="6096000" cy="6174386"/>
          </a:xfrm>
        </p:spPr>
      </p:pic>
      <p:pic>
        <p:nvPicPr>
          <p:cNvPr id="16" name="Espaço Reservado para Imagem 15" descr="Quarto com cama de casal&#10;&#10;Descrição gerada automaticamente">
            <a:extLst>
              <a:ext uri="{FF2B5EF4-FFF2-40B4-BE49-F238E27FC236}">
                <a16:creationId xmlns:a16="http://schemas.microsoft.com/office/drawing/2014/main" id="{55516A90-AAF2-4C30-BAFD-A9376A5C6FA6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6000" cy="6174386"/>
          </a:xfrm>
        </p:spPr>
      </p:pic>
      <p:sp>
        <p:nvSpPr>
          <p:cNvPr id="8" name="Retângulo 7">
            <a:extLst>
              <a:ext uri="{FF2B5EF4-FFF2-40B4-BE49-F238E27FC236}">
                <a16:creationId xmlns:a16="http://schemas.microsoft.com/office/drawing/2014/main" id="{5CA01A03-E11D-4AEF-B8BB-EFED660E5DF7}"/>
              </a:ext>
            </a:extLst>
          </p:cNvPr>
          <p:cNvSpPr/>
          <p:nvPr/>
        </p:nvSpPr>
        <p:spPr>
          <a:xfrm>
            <a:off x="4032250" y="2816815"/>
            <a:ext cx="4127500" cy="1367245"/>
          </a:xfrm>
          <a:prstGeom prst="rect">
            <a:avLst/>
          </a:prstGeom>
          <a:solidFill>
            <a:srgbClr val="263143"/>
          </a:solidFill>
          <a:ln w="38100">
            <a:solidFill>
              <a:srgbClr val="D6D6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ECAD8D3E-77C9-4617-BFE4-3AF0AF2D2EE7}"/>
              </a:ext>
            </a:extLst>
          </p:cNvPr>
          <p:cNvSpPr txBox="1"/>
          <p:nvPr/>
        </p:nvSpPr>
        <p:spPr>
          <a:xfrm>
            <a:off x="4648200" y="2986782"/>
            <a:ext cx="2895600" cy="95410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pt-BR" sz="2800" b="1" dirty="0">
                <a:solidFill>
                  <a:srgbClr val="D6D6C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serir aqui o Título do slide</a:t>
            </a:r>
          </a:p>
        </p:txBody>
      </p:sp>
    </p:spTree>
    <p:extLst>
      <p:ext uri="{BB962C8B-B14F-4D97-AF65-F5344CB8AC3E}">
        <p14:creationId xmlns:p14="http://schemas.microsoft.com/office/powerpoint/2010/main" val="3965157345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ço Reservado para Texto 8">
            <a:extLst>
              <a:ext uri="{FF2B5EF4-FFF2-40B4-BE49-F238E27FC236}">
                <a16:creationId xmlns:a16="http://schemas.microsoft.com/office/drawing/2014/main" id="{2D2CF2AB-278D-4835-A2C9-3A1EF00739F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Logo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EFF38545-177E-4DBB-954E-EB9F9E2D704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Composição</a:t>
            </a:r>
          </a:p>
        </p:txBody>
      </p:sp>
      <p:sp>
        <p:nvSpPr>
          <p:cNvPr id="48" name="CaixaDeTexto 47">
            <a:extLst>
              <a:ext uri="{FF2B5EF4-FFF2-40B4-BE49-F238E27FC236}">
                <a16:creationId xmlns:a16="http://schemas.microsoft.com/office/drawing/2014/main" id="{2A699110-B068-4884-BC55-A5B1E5D78257}"/>
              </a:ext>
            </a:extLst>
          </p:cNvPr>
          <p:cNvSpPr txBox="1"/>
          <p:nvPr/>
        </p:nvSpPr>
        <p:spPr>
          <a:xfrm>
            <a:off x="2203528" y="4791454"/>
            <a:ext cx="77849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dirty="0">
                <a:latin typeface="Segoe UI" panose="020B0502040204020203" pitchFamily="34" charset="0"/>
                <a:cs typeface="Segoe UI" panose="020B0502040204020203" pitchFamily="34" charset="0"/>
              </a:rPr>
              <a:t>O logo é composto por 2 elementos: símbolo e </a:t>
            </a:r>
            <a:r>
              <a:rPr lang="pt-BR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lettering</a:t>
            </a:r>
            <a:r>
              <a:rPr lang="pt-BR" sz="1400" dirty="0"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br>
              <a:rPr lang="pt-BR" sz="1400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pt-BR" sz="1400" dirty="0">
                <a:latin typeface="Segoe UI" panose="020B0502040204020203" pitchFamily="34" charset="0"/>
                <a:cs typeface="Segoe UI" panose="020B0502040204020203" pitchFamily="34" charset="0"/>
              </a:rPr>
              <a:t>Os elementos devem ser usados juntos, sem distorção nem alteração de cor. </a:t>
            </a:r>
          </a:p>
        </p:txBody>
      </p:sp>
      <p:pic>
        <p:nvPicPr>
          <p:cNvPr id="50" name="Gráfico 49">
            <a:extLst>
              <a:ext uri="{FF2B5EF4-FFF2-40B4-BE49-F238E27FC236}">
                <a16:creationId xmlns:a16="http://schemas.microsoft.com/office/drawing/2014/main" id="{5B987839-C143-44D1-9BC3-250D09A6ECE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138488" y="2846054"/>
            <a:ext cx="5910262" cy="1179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6836043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Forma Livre: Forma 52">
            <a:extLst>
              <a:ext uri="{FF2B5EF4-FFF2-40B4-BE49-F238E27FC236}">
                <a16:creationId xmlns:a16="http://schemas.microsoft.com/office/drawing/2014/main" id="{3D30985E-594F-4593-AD91-90E30DBAF54D}"/>
              </a:ext>
            </a:extLst>
          </p:cNvPr>
          <p:cNvSpPr/>
          <p:nvPr/>
        </p:nvSpPr>
        <p:spPr>
          <a:xfrm>
            <a:off x="6480336" y="1969770"/>
            <a:ext cx="5226367" cy="2080260"/>
          </a:xfrm>
          <a:custGeom>
            <a:avLst/>
            <a:gdLst>
              <a:gd name="connsiteX0" fmla="*/ 0 w 5226367"/>
              <a:gd name="connsiteY0" fmla="*/ 0 h 2080260"/>
              <a:gd name="connsiteX1" fmla="*/ 5226368 w 5226367"/>
              <a:gd name="connsiteY1" fmla="*/ 0 h 2080260"/>
              <a:gd name="connsiteX2" fmla="*/ 5226368 w 5226367"/>
              <a:gd name="connsiteY2" fmla="*/ 2080260 h 2080260"/>
              <a:gd name="connsiteX3" fmla="*/ 0 w 5226367"/>
              <a:gd name="connsiteY3" fmla="*/ 2080260 h 2080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6367" h="2080260">
                <a:moveTo>
                  <a:pt x="0" y="0"/>
                </a:moveTo>
                <a:lnTo>
                  <a:pt x="5226368" y="0"/>
                </a:lnTo>
                <a:lnTo>
                  <a:pt x="5226368" y="2080260"/>
                </a:lnTo>
                <a:lnTo>
                  <a:pt x="0" y="2080260"/>
                </a:lnTo>
                <a:close/>
              </a:path>
            </a:pathLst>
          </a:custGeom>
          <a:solidFill>
            <a:srgbClr val="263143"/>
          </a:solidFill>
          <a:ln w="9525" cap="flat">
            <a:solidFill>
              <a:srgbClr val="D6D6CE"/>
            </a:solidFill>
            <a:prstDash val="solid"/>
            <a:miter/>
          </a:ln>
        </p:spPr>
        <p:txBody>
          <a:bodyPr rtlCol="0" anchor="ctr"/>
          <a:lstStyle/>
          <a:p>
            <a:pPr algn="r"/>
            <a:endParaRPr lang="pt-BR"/>
          </a:p>
        </p:txBody>
      </p:sp>
      <p:sp>
        <p:nvSpPr>
          <p:cNvPr id="9" name="Espaço Reservado para Texto 8">
            <a:extLst>
              <a:ext uri="{FF2B5EF4-FFF2-40B4-BE49-F238E27FC236}">
                <a16:creationId xmlns:a16="http://schemas.microsoft.com/office/drawing/2014/main" id="{2D2CF2AB-278D-4835-A2C9-3A1EF00739F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Logo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EFF38545-177E-4DBB-954E-EB9F9E2D704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Área de Proteção</a:t>
            </a:r>
          </a:p>
        </p:txBody>
      </p:sp>
      <p:sp>
        <p:nvSpPr>
          <p:cNvPr id="47" name="Forma Livre: Forma 46">
            <a:extLst>
              <a:ext uri="{FF2B5EF4-FFF2-40B4-BE49-F238E27FC236}">
                <a16:creationId xmlns:a16="http://schemas.microsoft.com/office/drawing/2014/main" id="{D673849E-DBE6-4DFA-A6AD-64F3F47FEB4F}"/>
              </a:ext>
            </a:extLst>
          </p:cNvPr>
          <p:cNvSpPr/>
          <p:nvPr/>
        </p:nvSpPr>
        <p:spPr>
          <a:xfrm>
            <a:off x="571978" y="1969770"/>
            <a:ext cx="5226367" cy="2080260"/>
          </a:xfrm>
          <a:custGeom>
            <a:avLst/>
            <a:gdLst>
              <a:gd name="connsiteX0" fmla="*/ 0 w 5226367"/>
              <a:gd name="connsiteY0" fmla="*/ 0 h 2080260"/>
              <a:gd name="connsiteX1" fmla="*/ 5226368 w 5226367"/>
              <a:gd name="connsiteY1" fmla="*/ 0 h 2080260"/>
              <a:gd name="connsiteX2" fmla="*/ 5226368 w 5226367"/>
              <a:gd name="connsiteY2" fmla="*/ 2080260 h 2080260"/>
              <a:gd name="connsiteX3" fmla="*/ 0 w 5226367"/>
              <a:gd name="connsiteY3" fmla="*/ 2080260 h 2080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6367" h="2080260">
                <a:moveTo>
                  <a:pt x="0" y="0"/>
                </a:moveTo>
                <a:lnTo>
                  <a:pt x="5226368" y="0"/>
                </a:lnTo>
                <a:lnTo>
                  <a:pt x="5226368" y="2080260"/>
                </a:lnTo>
                <a:lnTo>
                  <a:pt x="0" y="2080260"/>
                </a:lnTo>
                <a:close/>
              </a:path>
            </a:pathLst>
          </a:custGeom>
          <a:noFill/>
          <a:ln w="9525" cap="flat">
            <a:solidFill>
              <a:srgbClr val="D6D6CE"/>
            </a:solidFill>
            <a:prstDash val="solid"/>
            <a:miter/>
          </a:ln>
        </p:spPr>
        <p:txBody>
          <a:bodyPr rtlCol="0" anchor="ctr"/>
          <a:lstStyle/>
          <a:p>
            <a:pPr algn="r"/>
            <a:endParaRPr lang="pt-BR"/>
          </a:p>
        </p:txBody>
      </p:sp>
      <p:sp>
        <p:nvSpPr>
          <p:cNvPr id="48" name="CaixaDeTexto 47">
            <a:extLst>
              <a:ext uri="{FF2B5EF4-FFF2-40B4-BE49-F238E27FC236}">
                <a16:creationId xmlns:a16="http://schemas.microsoft.com/office/drawing/2014/main" id="{2A699110-B068-4884-BC55-A5B1E5D78257}"/>
              </a:ext>
            </a:extLst>
          </p:cNvPr>
          <p:cNvSpPr txBox="1"/>
          <p:nvPr/>
        </p:nvSpPr>
        <p:spPr>
          <a:xfrm>
            <a:off x="2203528" y="4791454"/>
            <a:ext cx="778494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dirty="0">
                <a:latin typeface="Segoe UI" panose="020B0502040204020203" pitchFamily="34" charset="0"/>
                <a:cs typeface="Segoe UI" panose="020B0502040204020203" pitchFamily="34" charset="0"/>
              </a:rPr>
              <a:t>A área de proteção tem o objetivo de preservar a integridade do logo, mantendo sua legibilidade e visibilidade. A área de proteção é calculada a partir da altura do símbolo. Não interfira na área delimitada com textos, grafismos ou imagens.</a:t>
            </a:r>
          </a:p>
        </p:txBody>
      </p:sp>
      <p:pic>
        <p:nvPicPr>
          <p:cNvPr id="89" name="Gráfico 88">
            <a:extLst>
              <a:ext uri="{FF2B5EF4-FFF2-40B4-BE49-F238E27FC236}">
                <a16:creationId xmlns:a16="http://schemas.microsoft.com/office/drawing/2014/main" id="{64CE6F7A-6E80-41F6-84D0-68B04D92F5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128270" y="2617668"/>
            <a:ext cx="3930499" cy="784465"/>
          </a:xfrm>
          <a:prstGeom prst="rect">
            <a:avLst/>
          </a:prstGeom>
        </p:spPr>
      </p:pic>
      <p:pic>
        <p:nvPicPr>
          <p:cNvPr id="91" name="Gráfico 90">
            <a:extLst>
              <a:ext uri="{FF2B5EF4-FFF2-40B4-BE49-F238E27FC236}">
                <a16:creationId xmlns:a16="http://schemas.microsoft.com/office/drawing/2014/main" id="{BCA54645-AF77-4279-991A-CC324EE41C4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3366" y="2586990"/>
            <a:ext cx="4223590" cy="842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5307527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ço Reservado para Texto 8">
            <a:extLst>
              <a:ext uri="{FF2B5EF4-FFF2-40B4-BE49-F238E27FC236}">
                <a16:creationId xmlns:a16="http://schemas.microsoft.com/office/drawing/2014/main" id="{2D2CF2AB-278D-4835-A2C9-3A1EF00739F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Logo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EFF38545-177E-4DBB-954E-EB9F9E2D704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Variações</a:t>
            </a:r>
          </a:p>
        </p:txBody>
      </p:sp>
      <p:sp>
        <p:nvSpPr>
          <p:cNvPr id="47" name="Forma Livre: Forma 46">
            <a:extLst>
              <a:ext uri="{FF2B5EF4-FFF2-40B4-BE49-F238E27FC236}">
                <a16:creationId xmlns:a16="http://schemas.microsoft.com/office/drawing/2014/main" id="{D673849E-DBE6-4DFA-A6AD-64F3F47FEB4F}"/>
              </a:ext>
            </a:extLst>
          </p:cNvPr>
          <p:cNvSpPr/>
          <p:nvPr/>
        </p:nvSpPr>
        <p:spPr>
          <a:xfrm>
            <a:off x="571978" y="1969770"/>
            <a:ext cx="5226367" cy="2080260"/>
          </a:xfrm>
          <a:custGeom>
            <a:avLst/>
            <a:gdLst>
              <a:gd name="connsiteX0" fmla="*/ 0 w 5226367"/>
              <a:gd name="connsiteY0" fmla="*/ 0 h 2080260"/>
              <a:gd name="connsiteX1" fmla="*/ 5226368 w 5226367"/>
              <a:gd name="connsiteY1" fmla="*/ 0 h 2080260"/>
              <a:gd name="connsiteX2" fmla="*/ 5226368 w 5226367"/>
              <a:gd name="connsiteY2" fmla="*/ 2080260 h 2080260"/>
              <a:gd name="connsiteX3" fmla="*/ 0 w 5226367"/>
              <a:gd name="connsiteY3" fmla="*/ 2080260 h 2080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6367" h="2080260">
                <a:moveTo>
                  <a:pt x="0" y="0"/>
                </a:moveTo>
                <a:lnTo>
                  <a:pt x="5226368" y="0"/>
                </a:lnTo>
                <a:lnTo>
                  <a:pt x="5226368" y="2080260"/>
                </a:lnTo>
                <a:lnTo>
                  <a:pt x="0" y="2080260"/>
                </a:lnTo>
                <a:close/>
              </a:path>
            </a:pathLst>
          </a:custGeom>
          <a:noFill/>
          <a:ln w="9525" cap="flat">
            <a:solidFill>
              <a:srgbClr val="D6D6CE"/>
            </a:solidFill>
            <a:prstDash val="solid"/>
            <a:miter/>
          </a:ln>
        </p:spPr>
        <p:txBody>
          <a:bodyPr rtlCol="0" anchor="ctr"/>
          <a:lstStyle/>
          <a:p>
            <a:pPr algn="r"/>
            <a:endParaRPr lang="pt-BR"/>
          </a:p>
        </p:txBody>
      </p:sp>
      <p:sp>
        <p:nvSpPr>
          <p:cNvPr id="48" name="CaixaDeTexto 47">
            <a:extLst>
              <a:ext uri="{FF2B5EF4-FFF2-40B4-BE49-F238E27FC236}">
                <a16:creationId xmlns:a16="http://schemas.microsoft.com/office/drawing/2014/main" id="{2A699110-B068-4884-BC55-A5B1E5D78257}"/>
              </a:ext>
            </a:extLst>
          </p:cNvPr>
          <p:cNvSpPr txBox="1"/>
          <p:nvPr/>
        </p:nvSpPr>
        <p:spPr>
          <a:xfrm>
            <a:off x="2203528" y="4791454"/>
            <a:ext cx="778494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dirty="0">
                <a:latin typeface="Segoe UI" panose="020B0502040204020203" pitchFamily="34" charset="0"/>
                <a:cs typeface="Segoe UI" panose="020B0502040204020203" pitchFamily="34" charset="0"/>
              </a:rPr>
              <a:t>Quando não for possível utilizar a versão principal do logo, como em mídias digitais ou quando o formato do material não permitir, pode-se utilizar as versões secundária ou horizontal em AZUL ou PRETO, conforme necessidade.</a:t>
            </a:r>
          </a:p>
        </p:txBody>
      </p:sp>
      <p:sp>
        <p:nvSpPr>
          <p:cNvPr id="113" name="CaixaDeTexto 112">
            <a:extLst>
              <a:ext uri="{FF2B5EF4-FFF2-40B4-BE49-F238E27FC236}">
                <a16:creationId xmlns:a16="http://schemas.microsoft.com/office/drawing/2014/main" id="{37401CFC-EB9C-4673-AD23-E90A2CC4AFC1}"/>
              </a:ext>
            </a:extLst>
          </p:cNvPr>
          <p:cNvSpPr txBox="1"/>
          <p:nvPr/>
        </p:nvSpPr>
        <p:spPr>
          <a:xfrm>
            <a:off x="577376" y="1358466"/>
            <a:ext cx="522097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>
                <a:latin typeface="Segoe UI" panose="020B0502040204020203" pitchFamily="34" charset="0"/>
                <a:cs typeface="Segoe UI" panose="020B0502040204020203" pitchFamily="34" charset="0"/>
              </a:rPr>
              <a:t>Versão Principal</a:t>
            </a:r>
          </a:p>
        </p:txBody>
      </p:sp>
      <p:pic>
        <p:nvPicPr>
          <p:cNvPr id="81" name="Gráfico 80">
            <a:extLst>
              <a:ext uri="{FF2B5EF4-FFF2-40B4-BE49-F238E27FC236}">
                <a16:creationId xmlns:a16="http://schemas.microsoft.com/office/drawing/2014/main" id="{4622862E-B27E-4380-B758-84BC7B00F4C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3366" y="2586990"/>
            <a:ext cx="4223590" cy="842962"/>
          </a:xfrm>
          <a:prstGeom prst="rect">
            <a:avLst/>
          </a:prstGeom>
        </p:spPr>
      </p:pic>
      <p:sp>
        <p:nvSpPr>
          <p:cNvPr id="82" name="Forma Livre: Forma 81">
            <a:extLst>
              <a:ext uri="{FF2B5EF4-FFF2-40B4-BE49-F238E27FC236}">
                <a16:creationId xmlns:a16="http://schemas.microsoft.com/office/drawing/2014/main" id="{9713A37D-E1E4-411F-A1A8-2D758694E036}"/>
              </a:ext>
            </a:extLst>
          </p:cNvPr>
          <p:cNvSpPr/>
          <p:nvPr/>
        </p:nvSpPr>
        <p:spPr>
          <a:xfrm>
            <a:off x="6480336" y="1969770"/>
            <a:ext cx="5226367" cy="2080260"/>
          </a:xfrm>
          <a:custGeom>
            <a:avLst/>
            <a:gdLst>
              <a:gd name="connsiteX0" fmla="*/ 0 w 5226367"/>
              <a:gd name="connsiteY0" fmla="*/ 0 h 2080260"/>
              <a:gd name="connsiteX1" fmla="*/ 5226368 w 5226367"/>
              <a:gd name="connsiteY1" fmla="*/ 0 h 2080260"/>
              <a:gd name="connsiteX2" fmla="*/ 5226368 w 5226367"/>
              <a:gd name="connsiteY2" fmla="*/ 2080260 h 2080260"/>
              <a:gd name="connsiteX3" fmla="*/ 0 w 5226367"/>
              <a:gd name="connsiteY3" fmla="*/ 2080260 h 2080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6367" h="2080260">
                <a:moveTo>
                  <a:pt x="0" y="0"/>
                </a:moveTo>
                <a:lnTo>
                  <a:pt x="5226368" y="0"/>
                </a:lnTo>
                <a:lnTo>
                  <a:pt x="5226368" y="2080260"/>
                </a:lnTo>
                <a:lnTo>
                  <a:pt x="0" y="2080260"/>
                </a:lnTo>
                <a:close/>
              </a:path>
            </a:pathLst>
          </a:custGeom>
          <a:solidFill>
            <a:srgbClr val="263143"/>
          </a:solidFill>
          <a:ln w="9525" cap="flat">
            <a:solidFill>
              <a:srgbClr val="D6D6CE"/>
            </a:solidFill>
            <a:prstDash val="solid"/>
            <a:miter/>
          </a:ln>
        </p:spPr>
        <p:txBody>
          <a:bodyPr rtlCol="0" anchor="ctr"/>
          <a:lstStyle/>
          <a:p>
            <a:pPr algn="r"/>
            <a:endParaRPr lang="pt-BR"/>
          </a:p>
        </p:txBody>
      </p:sp>
      <p:pic>
        <p:nvPicPr>
          <p:cNvPr id="83" name="Gráfico 82">
            <a:extLst>
              <a:ext uri="{FF2B5EF4-FFF2-40B4-BE49-F238E27FC236}">
                <a16:creationId xmlns:a16="http://schemas.microsoft.com/office/drawing/2014/main" id="{AEEDC000-E9FC-4C66-86B7-1E5884D41A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28270" y="2617668"/>
            <a:ext cx="3930499" cy="784465"/>
          </a:xfrm>
          <a:prstGeom prst="rect">
            <a:avLst/>
          </a:prstGeom>
        </p:spPr>
      </p:pic>
      <p:sp>
        <p:nvSpPr>
          <p:cNvPr id="84" name="CaixaDeTexto 83">
            <a:extLst>
              <a:ext uri="{FF2B5EF4-FFF2-40B4-BE49-F238E27FC236}">
                <a16:creationId xmlns:a16="http://schemas.microsoft.com/office/drawing/2014/main" id="{541C2ED5-DC43-4879-8A1C-61E52307F381}"/>
              </a:ext>
            </a:extLst>
          </p:cNvPr>
          <p:cNvSpPr txBox="1"/>
          <p:nvPr/>
        </p:nvSpPr>
        <p:spPr>
          <a:xfrm>
            <a:off x="6475730" y="1358466"/>
            <a:ext cx="522097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>
                <a:latin typeface="Segoe UI" panose="020B0502040204020203" pitchFamily="34" charset="0"/>
                <a:cs typeface="Segoe UI" panose="020B0502040204020203" pitchFamily="34" charset="0"/>
              </a:rPr>
              <a:t>Versão Secundária</a:t>
            </a:r>
          </a:p>
        </p:txBody>
      </p:sp>
    </p:spTree>
    <p:extLst>
      <p:ext uri="{BB962C8B-B14F-4D97-AF65-F5344CB8AC3E}">
        <p14:creationId xmlns:p14="http://schemas.microsoft.com/office/powerpoint/2010/main" val="3765225547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ço Reservado para Texto 8">
            <a:extLst>
              <a:ext uri="{FF2B5EF4-FFF2-40B4-BE49-F238E27FC236}">
                <a16:creationId xmlns:a16="http://schemas.microsoft.com/office/drawing/2014/main" id="{2D2CF2AB-278D-4835-A2C9-3A1EF00739F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Logo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EFF38545-177E-4DBB-954E-EB9F9E2D704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Símbolo</a:t>
            </a:r>
          </a:p>
        </p:txBody>
      </p:sp>
      <p:grpSp>
        <p:nvGrpSpPr>
          <p:cNvPr id="52" name="Gráfico 2">
            <a:extLst>
              <a:ext uri="{FF2B5EF4-FFF2-40B4-BE49-F238E27FC236}">
                <a16:creationId xmlns:a16="http://schemas.microsoft.com/office/drawing/2014/main" id="{F8A87A8D-3E2A-4DBE-BEDD-4CDA6C49DEAF}"/>
              </a:ext>
            </a:extLst>
          </p:cNvPr>
          <p:cNvGrpSpPr/>
          <p:nvPr/>
        </p:nvGrpSpPr>
        <p:grpSpPr>
          <a:xfrm>
            <a:off x="4295775" y="2167316"/>
            <a:ext cx="3604260" cy="1720215"/>
            <a:chOff x="4295775" y="2566987"/>
            <a:chExt cx="3604260" cy="1720215"/>
          </a:xfrm>
          <a:solidFill>
            <a:srgbClr val="263142"/>
          </a:solidFill>
        </p:grpSpPr>
        <p:sp>
          <p:nvSpPr>
            <p:cNvPr id="53" name="Forma Livre: Forma 52">
              <a:extLst>
                <a:ext uri="{FF2B5EF4-FFF2-40B4-BE49-F238E27FC236}">
                  <a16:creationId xmlns:a16="http://schemas.microsoft.com/office/drawing/2014/main" id="{F1F054DD-9FEE-4A7E-85CF-CD7EE03D5DC8}"/>
                </a:ext>
              </a:extLst>
            </p:cNvPr>
            <p:cNvSpPr/>
            <p:nvPr/>
          </p:nvSpPr>
          <p:spPr>
            <a:xfrm>
              <a:off x="7606665" y="2566987"/>
              <a:ext cx="293370" cy="1720215"/>
            </a:xfrm>
            <a:custGeom>
              <a:avLst/>
              <a:gdLst>
                <a:gd name="connsiteX0" fmla="*/ 0 w 293370"/>
                <a:gd name="connsiteY0" fmla="*/ 0 h 1720215"/>
                <a:gd name="connsiteX1" fmla="*/ 293370 w 293370"/>
                <a:gd name="connsiteY1" fmla="*/ 0 h 1720215"/>
                <a:gd name="connsiteX2" fmla="*/ 293370 w 293370"/>
                <a:gd name="connsiteY2" fmla="*/ 1720215 h 1720215"/>
                <a:gd name="connsiteX3" fmla="*/ 0 w 293370"/>
                <a:gd name="connsiteY3" fmla="*/ 1720215 h 1720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3370" h="1720215">
                  <a:moveTo>
                    <a:pt x="0" y="0"/>
                  </a:moveTo>
                  <a:lnTo>
                    <a:pt x="293370" y="0"/>
                  </a:lnTo>
                  <a:lnTo>
                    <a:pt x="293370" y="1720215"/>
                  </a:lnTo>
                  <a:lnTo>
                    <a:pt x="0" y="1720215"/>
                  </a:lnTo>
                  <a:close/>
                </a:path>
              </a:pathLst>
            </a:custGeom>
            <a:solidFill>
              <a:srgbClr val="2631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54" name="Forma Livre: Forma 53">
              <a:extLst>
                <a:ext uri="{FF2B5EF4-FFF2-40B4-BE49-F238E27FC236}">
                  <a16:creationId xmlns:a16="http://schemas.microsoft.com/office/drawing/2014/main" id="{7A2D43FC-A4B5-4568-8A0E-08CAF42AEFCF}"/>
                </a:ext>
              </a:extLst>
            </p:cNvPr>
            <p:cNvSpPr/>
            <p:nvPr/>
          </p:nvSpPr>
          <p:spPr>
            <a:xfrm>
              <a:off x="6155054" y="2566987"/>
              <a:ext cx="1263014" cy="1720215"/>
            </a:xfrm>
            <a:custGeom>
              <a:avLst/>
              <a:gdLst>
                <a:gd name="connsiteX0" fmla="*/ 292417 w 1263014"/>
                <a:gd name="connsiteY0" fmla="*/ 0 h 1720215"/>
                <a:gd name="connsiteX1" fmla="*/ 0 w 1263014"/>
                <a:gd name="connsiteY1" fmla="*/ 0 h 1720215"/>
                <a:gd name="connsiteX2" fmla="*/ 0 w 1263014"/>
                <a:gd name="connsiteY2" fmla="*/ 1720215 h 1720215"/>
                <a:gd name="connsiteX3" fmla="*/ 292417 w 1263014"/>
                <a:gd name="connsiteY3" fmla="*/ 1720215 h 1720215"/>
                <a:gd name="connsiteX4" fmla="*/ 292417 w 1263014"/>
                <a:gd name="connsiteY4" fmla="*/ 1006793 h 1720215"/>
                <a:gd name="connsiteX5" fmla="*/ 1263015 w 1263014"/>
                <a:gd name="connsiteY5" fmla="*/ 1006793 h 1720215"/>
                <a:gd name="connsiteX6" fmla="*/ 1263015 w 1263014"/>
                <a:gd name="connsiteY6" fmla="*/ 713423 h 1720215"/>
                <a:gd name="connsiteX7" fmla="*/ 292417 w 1263014"/>
                <a:gd name="connsiteY7" fmla="*/ 713423 h 1720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63014" h="1720215">
                  <a:moveTo>
                    <a:pt x="292417" y="0"/>
                  </a:moveTo>
                  <a:lnTo>
                    <a:pt x="0" y="0"/>
                  </a:lnTo>
                  <a:lnTo>
                    <a:pt x="0" y="1720215"/>
                  </a:lnTo>
                  <a:lnTo>
                    <a:pt x="292417" y="1720215"/>
                  </a:lnTo>
                  <a:lnTo>
                    <a:pt x="292417" y="1006793"/>
                  </a:lnTo>
                  <a:lnTo>
                    <a:pt x="1263015" y="1006793"/>
                  </a:lnTo>
                  <a:lnTo>
                    <a:pt x="1263015" y="713423"/>
                  </a:lnTo>
                  <a:lnTo>
                    <a:pt x="292417" y="713423"/>
                  </a:lnTo>
                  <a:close/>
                </a:path>
              </a:pathLst>
            </a:custGeom>
            <a:solidFill>
              <a:srgbClr val="2631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55" name="Forma Livre: Forma 54">
              <a:extLst>
                <a:ext uri="{FF2B5EF4-FFF2-40B4-BE49-F238E27FC236}">
                  <a16:creationId xmlns:a16="http://schemas.microsoft.com/office/drawing/2014/main" id="{A739084F-31A3-40C8-B035-0FF0BDAE13D3}"/>
                </a:ext>
              </a:extLst>
            </p:cNvPr>
            <p:cNvSpPr/>
            <p:nvPr/>
          </p:nvSpPr>
          <p:spPr>
            <a:xfrm>
              <a:off x="4295775" y="2566987"/>
              <a:ext cx="1669732" cy="1720215"/>
            </a:xfrm>
            <a:custGeom>
              <a:avLst/>
              <a:gdLst>
                <a:gd name="connsiteX0" fmla="*/ 0 w 1669732"/>
                <a:gd name="connsiteY0" fmla="*/ 1720215 h 1720215"/>
                <a:gd name="connsiteX1" fmla="*/ 367665 w 1669732"/>
                <a:gd name="connsiteY1" fmla="*/ 1720215 h 1720215"/>
                <a:gd name="connsiteX2" fmla="*/ 1669733 w 1669732"/>
                <a:gd name="connsiteY2" fmla="*/ 0 h 1720215"/>
                <a:gd name="connsiteX3" fmla="*/ 1302068 w 1669732"/>
                <a:gd name="connsiteY3" fmla="*/ 0 h 1720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69732" h="1720215">
                  <a:moveTo>
                    <a:pt x="0" y="1720215"/>
                  </a:moveTo>
                  <a:lnTo>
                    <a:pt x="367665" y="1720215"/>
                  </a:lnTo>
                  <a:lnTo>
                    <a:pt x="1669733" y="0"/>
                  </a:lnTo>
                  <a:lnTo>
                    <a:pt x="1302068" y="0"/>
                  </a:lnTo>
                  <a:close/>
                </a:path>
              </a:pathLst>
            </a:custGeom>
            <a:solidFill>
              <a:srgbClr val="26314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sp>
        <p:nvSpPr>
          <p:cNvPr id="56" name="CaixaDeTexto 55">
            <a:extLst>
              <a:ext uri="{FF2B5EF4-FFF2-40B4-BE49-F238E27FC236}">
                <a16:creationId xmlns:a16="http://schemas.microsoft.com/office/drawing/2014/main" id="{406D7329-364C-4548-9DFD-FA82CDCCE937}"/>
              </a:ext>
            </a:extLst>
          </p:cNvPr>
          <p:cNvSpPr txBox="1"/>
          <p:nvPr/>
        </p:nvSpPr>
        <p:spPr>
          <a:xfrm>
            <a:off x="3295649" y="4791454"/>
            <a:ext cx="560070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dirty="0">
                <a:latin typeface="Segoe UI" panose="020B0502040204020203" pitchFamily="34" charset="0"/>
                <a:cs typeface="Segoe UI" panose="020B0502040204020203" pitchFamily="34" charset="0"/>
              </a:rPr>
              <a:t>O símbolo, que é parte do logo, pode ser usado </a:t>
            </a:r>
          </a:p>
          <a:p>
            <a:pPr algn="ctr"/>
            <a:r>
              <a:rPr lang="pt-BR" sz="1400" dirty="0">
                <a:latin typeface="Segoe UI" panose="020B0502040204020203" pitchFamily="34" charset="0"/>
                <a:cs typeface="Segoe UI" panose="020B0502040204020203" pitchFamily="34" charset="0"/>
              </a:rPr>
              <a:t>em materiais institucionais e de comunicação sempre respeitando sua proporção e as cores da paleta.</a:t>
            </a:r>
          </a:p>
        </p:txBody>
      </p:sp>
    </p:spTree>
    <p:extLst>
      <p:ext uri="{BB962C8B-B14F-4D97-AF65-F5344CB8AC3E}">
        <p14:creationId xmlns:p14="http://schemas.microsoft.com/office/powerpoint/2010/main" val="2194334531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FE7544AE-AD90-4998-A7E5-A62267FCFFA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Tipografia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5ECC544C-AF07-48A9-9E7E-FA937431A4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SEGOE UI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683AFE3A-F57B-49CF-9C3E-17E619243077}"/>
              </a:ext>
            </a:extLst>
          </p:cNvPr>
          <p:cNvSpPr txBox="1"/>
          <p:nvPr/>
        </p:nvSpPr>
        <p:spPr>
          <a:xfrm>
            <a:off x="6096000" y="4241800"/>
            <a:ext cx="5788764" cy="13388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700" dirty="0">
                <a:latin typeface="Segoe UI" panose="020B0502040204020203" pitchFamily="34" charset="0"/>
                <a:cs typeface="Segoe UI" panose="020B0502040204020203" pitchFamily="34" charset="0"/>
              </a:rPr>
              <a:t>A​B​C​D​E​F​G​H​I​J​K​L​M​N​O​P​Q​RST​U​V​W​X​Y​Z </a:t>
            </a:r>
          </a:p>
          <a:p>
            <a:r>
              <a:rPr lang="pt-BR" sz="2700" dirty="0">
                <a:latin typeface="Segoe UI" panose="020B0502040204020203" pitchFamily="34" charset="0"/>
                <a:cs typeface="Segoe UI" panose="020B0502040204020203" pitchFamily="34" charset="0"/>
              </a:rPr>
              <a:t>​a​b​c​d​e​f​g​h​i​j​k l​m​n​o​p​q​r​s​t​u​v​w​</a:t>
            </a:r>
            <a:r>
              <a:rPr lang="pt-BR" sz="2700" dirty="0" err="1">
                <a:latin typeface="Segoe UI" panose="020B0502040204020203" pitchFamily="34" charset="0"/>
                <a:cs typeface="Segoe UI" panose="020B0502040204020203" pitchFamily="34" charset="0"/>
              </a:rPr>
              <a:t>xy</a:t>
            </a:r>
            <a:r>
              <a:rPr lang="pt-BR" sz="2700" dirty="0">
                <a:latin typeface="Segoe UI" panose="020B0502040204020203" pitchFamily="34" charset="0"/>
                <a:cs typeface="Segoe UI" panose="020B0502040204020203" pitchFamily="34" charset="0"/>
              </a:rPr>
              <a:t>​z​​&amp;012</a:t>
            </a:r>
          </a:p>
          <a:p>
            <a:r>
              <a:rPr lang="pt-BR" sz="2700" dirty="0">
                <a:latin typeface="Segoe UI" panose="020B0502040204020203" pitchFamily="34" charset="0"/>
                <a:cs typeface="Segoe UI" panose="020B0502040204020203" pitchFamily="34" charset="0"/>
              </a:rPr>
              <a:t>3456789​.​,​?​!​@​(​)​#​$​%​*​+​-​=​:​;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52618BAA-1607-4077-8914-FC8017FD52F3}"/>
              </a:ext>
            </a:extLst>
          </p:cNvPr>
          <p:cNvSpPr txBox="1"/>
          <p:nvPr/>
        </p:nvSpPr>
        <p:spPr>
          <a:xfrm>
            <a:off x="6096000" y="1859886"/>
            <a:ext cx="5751896" cy="1246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500" b="1" dirty="0">
                <a:latin typeface="Segoe UI" panose="020B0502040204020203" pitchFamily="34" charset="0"/>
                <a:cs typeface="Segoe UI" panose="020B0502040204020203" pitchFamily="34" charset="0"/>
              </a:rPr>
              <a:t>A​B​C​D​E​F​G​H​I​J​K​L​M​N​O​P​Q​RST​U​V​W​X​Y​Z </a:t>
            </a:r>
          </a:p>
          <a:p>
            <a:r>
              <a:rPr lang="pt-BR" sz="2500" b="1" dirty="0">
                <a:latin typeface="Segoe UI" panose="020B0502040204020203" pitchFamily="34" charset="0"/>
                <a:cs typeface="Segoe UI" panose="020B0502040204020203" pitchFamily="34" charset="0"/>
              </a:rPr>
              <a:t>​a​b​c​d​e​f​g​h​i​j​k l​m​n​o​p​q​r​s​t​u​v​w​</a:t>
            </a:r>
            <a:r>
              <a:rPr lang="pt-BR" sz="25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xy</a:t>
            </a:r>
            <a:r>
              <a:rPr lang="pt-BR" sz="2500" b="1" dirty="0">
                <a:latin typeface="Segoe UI" panose="020B0502040204020203" pitchFamily="34" charset="0"/>
                <a:cs typeface="Segoe UI" panose="020B0502040204020203" pitchFamily="34" charset="0"/>
              </a:rPr>
              <a:t>​z​​&amp;012</a:t>
            </a:r>
          </a:p>
          <a:p>
            <a:r>
              <a:rPr lang="pt-BR" sz="2500" b="1" dirty="0">
                <a:latin typeface="Segoe UI" panose="020B0502040204020203" pitchFamily="34" charset="0"/>
                <a:cs typeface="Segoe UI" panose="020B0502040204020203" pitchFamily="34" charset="0"/>
              </a:rPr>
              <a:t>3456789​.​,​?​!​@​(​)​#​$​%​*​+​-​=​:​;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231718F0-F10A-4AEA-94B2-824A435EE404}"/>
              </a:ext>
            </a:extLst>
          </p:cNvPr>
          <p:cNvSpPr txBox="1"/>
          <p:nvPr/>
        </p:nvSpPr>
        <p:spPr>
          <a:xfrm>
            <a:off x="6096000" y="1224886"/>
            <a:ext cx="2533066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500" b="1" dirty="0">
                <a:latin typeface="Segoe UI" panose="020B0502040204020203" pitchFamily="34" charset="0"/>
                <a:cs typeface="Segoe UI" panose="020B0502040204020203" pitchFamily="34" charset="0"/>
              </a:rPr>
              <a:t>SEGOE UI BOLD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F0EA4D57-EEDE-46EF-9497-DE5561A8923F}"/>
              </a:ext>
            </a:extLst>
          </p:cNvPr>
          <p:cNvSpPr txBox="1"/>
          <p:nvPr/>
        </p:nvSpPr>
        <p:spPr>
          <a:xfrm>
            <a:off x="6096000" y="3648551"/>
            <a:ext cx="2695674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500" dirty="0">
                <a:latin typeface="Segoe UI" panose="020B0502040204020203" pitchFamily="34" charset="0"/>
                <a:cs typeface="Segoe UI" panose="020B0502040204020203" pitchFamily="34" charset="0"/>
              </a:rPr>
              <a:t>SEGOE UI Regular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1E716424-DA13-4B1F-A8F7-EDC030CE585D}"/>
              </a:ext>
            </a:extLst>
          </p:cNvPr>
          <p:cNvSpPr txBox="1"/>
          <p:nvPr/>
        </p:nvSpPr>
        <p:spPr>
          <a:xfrm>
            <a:off x="598817" y="1219469"/>
            <a:ext cx="346518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>
                <a:latin typeface="Segoe UI" panose="020B0502040204020203" pitchFamily="34" charset="0"/>
                <a:cs typeface="Segoe UI" panose="020B0502040204020203" pitchFamily="34" charset="0"/>
              </a:rPr>
              <a:t>A família tipográfica a ser utilizada em apresentações, </a:t>
            </a:r>
            <a:r>
              <a:rPr lang="pt-BR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emails</a:t>
            </a:r>
            <a:r>
              <a:rPr lang="pt-BR" sz="1400" dirty="0">
                <a:latin typeface="Segoe UI" panose="020B0502040204020203" pitchFamily="34" charset="0"/>
                <a:cs typeface="Segoe UI" panose="020B0502040204020203" pitchFamily="34" charset="0"/>
              </a:rPr>
              <a:t>, documentos e comunicação interna é a SEGOE UI. </a:t>
            </a:r>
          </a:p>
          <a:p>
            <a:endParaRPr lang="pt-BR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pt-BR" sz="1400" dirty="0">
                <a:latin typeface="Segoe UI" panose="020B0502040204020203" pitchFamily="34" charset="0"/>
                <a:cs typeface="Segoe UI" panose="020B0502040204020203" pitchFamily="34" charset="0"/>
              </a:rPr>
              <a:t>Para títulos, utilizar a SEGOE UI BOLD. Para textos, utilizar a SEGOE UI REGULAR.</a:t>
            </a:r>
          </a:p>
        </p:txBody>
      </p:sp>
    </p:spTree>
    <p:extLst>
      <p:ext uri="{BB962C8B-B14F-4D97-AF65-F5344CB8AC3E}">
        <p14:creationId xmlns:p14="http://schemas.microsoft.com/office/powerpoint/2010/main" val="4294321128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832FB50B-CFD5-4524-80E9-07CD1F46099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Cores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B80B8F8E-B35A-424F-BEAF-10062C165E0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Paletas principais</a:t>
            </a:r>
          </a:p>
        </p:txBody>
      </p:sp>
      <p:sp>
        <p:nvSpPr>
          <p:cNvPr id="7" name="Forma Livre: Forma 6">
            <a:extLst>
              <a:ext uri="{FF2B5EF4-FFF2-40B4-BE49-F238E27FC236}">
                <a16:creationId xmlns:a16="http://schemas.microsoft.com/office/drawing/2014/main" id="{5EC27ABE-49EC-427A-A0E4-D24E2BA59EB7}"/>
              </a:ext>
            </a:extLst>
          </p:cNvPr>
          <p:cNvSpPr/>
          <p:nvPr/>
        </p:nvSpPr>
        <p:spPr>
          <a:xfrm>
            <a:off x="598816" y="2137044"/>
            <a:ext cx="2585380" cy="2585379"/>
          </a:xfrm>
          <a:custGeom>
            <a:avLst/>
            <a:gdLst>
              <a:gd name="connsiteX0" fmla="*/ 0 w 1677352"/>
              <a:gd name="connsiteY0" fmla="*/ 0 h 1677352"/>
              <a:gd name="connsiteX1" fmla="*/ 1677353 w 1677352"/>
              <a:gd name="connsiteY1" fmla="*/ 0 h 1677352"/>
              <a:gd name="connsiteX2" fmla="*/ 1677353 w 1677352"/>
              <a:gd name="connsiteY2" fmla="*/ 1677353 h 1677352"/>
              <a:gd name="connsiteX3" fmla="*/ 0 w 1677352"/>
              <a:gd name="connsiteY3" fmla="*/ 1677353 h 167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7352" h="1677352">
                <a:moveTo>
                  <a:pt x="0" y="0"/>
                </a:moveTo>
                <a:lnTo>
                  <a:pt x="1677353" y="0"/>
                </a:lnTo>
                <a:lnTo>
                  <a:pt x="1677353" y="1677353"/>
                </a:lnTo>
                <a:lnTo>
                  <a:pt x="0" y="1677353"/>
                </a:lnTo>
                <a:close/>
              </a:path>
            </a:pathLst>
          </a:custGeom>
          <a:solidFill>
            <a:srgbClr val="26314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8" name="Forma Livre: Forma 7">
            <a:extLst>
              <a:ext uri="{FF2B5EF4-FFF2-40B4-BE49-F238E27FC236}">
                <a16:creationId xmlns:a16="http://schemas.microsoft.com/office/drawing/2014/main" id="{C9DC733C-99A7-4C6C-BA21-1EFE43A53D08}"/>
              </a:ext>
            </a:extLst>
          </p:cNvPr>
          <p:cNvSpPr/>
          <p:nvPr/>
        </p:nvSpPr>
        <p:spPr>
          <a:xfrm>
            <a:off x="3184196" y="2137044"/>
            <a:ext cx="2585380" cy="2585379"/>
          </a:xfrm>
          <a:custGeom>
            <a:avLst/>
            <a:gdLst>
              <a:gd name="connsiteX0" fmla="*/ 0 w 1677352"/>
              <a:gd name="connsiteY0" fmla="*/ 0 h 1677352"/>
              <a:gd name="connsiteX1" fmla="*/ 1677353 w 1677352"/>
              <a:gd name="connsiteY1" fmla="*/ 0 h 1677352"/>
              <a:gd name="connsiteX2" fmla="*/ 1677353 w 1677352"/>
              <a:gd name="connsiteY2" fmla="*/ 1677353 h 1677352"/>
              <a:gd name="connsiteX3" fmla="*/ 0 w 1677352"/>
              <a:gd name="connsiteY3" fmla="*/ 1677353 h 167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7352" h="1677352">
                <a:moveTo>
                  <a:pt x="0" y="0"/>
                </a:moveTo>
                <a:lnTo>
                  <a:pt x="1677353" y="0"/>
                </a:lnTo>
                <a:lnTo>
                  <a:pt x="1677353" y="1677353"/>
                </a:lnTo>
                <a:lnTo>
                  <a:pt x="0" y="1677353"/>
                </a:lnTo>
                <a:close/>
              </a:path>
            </a:pathLst>
          </a:custGeom>
          <a:solidFill>
            <a:srgbClr val="00000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9" name="Forma Livre: Forma 8">
            <a:extLst>
              <a:ext uri="{FF2B5EF4-FFF2-40B4-BE49-F238E27FC236}">
                <a16:creationId xmlns:a16="http://schemas.microsoft.com/office/drawing/2014/main" id="{44FA4FED-CBA2-4AD1-9A76-56C0B5FEF390}"/>
              </a:ext>
            </a:extLst>
          </p:cNvPr>
          <p:cNvSpPr/>
          <p:nvPr/>
        </p:nvSpPr>
        <p:spPr>
          <a:xfrm>
            <a:off x="6543282" y="2137044"/>
            <a:ext cx="2585380" cy="2585379"/>
          </a:xfrm>
          <a:custGeom>
            <a:avLst/>
            <a:gdLst>
              <a:gd name="connsiteX0" fmla="*/ 0 w 1677352"/>
              <a:gd name="connsiteY0" fmla="*/ 0 h 1677352"/>
              <a:gd name="connsiteX1" fmla="*/ 1677353 w 1677352"/>
              <a:gd name="connsiteY1" fmla="*/ 0 h 1677352"/>
              <a:gd name="connsiteX2" fmla="*/ 1677353 w 1677352"/>
              <a:gd name="connsiteY2" fmla="*/ 1677353 h 1677352"/>
              <a:gd name="connsiteX3" fmla="*/ 0 w 1677352"/>
              <a:gd name="connsiteY3" fmla="*/ 1677353 h 167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7352" h="1677352">
                <a:moveTo>
                  <a:pt x="0" y="0"/>
                </a:moveTo>
                <a:lnTo>
                  <a:pt x="1677353" y="0"/>
                </a:lnTo>
                <a:lnTo>
                  <a:pt x="1677353" y="1677353"/>
                </a:lnTo>
                <a:lnTo>
                  <a:pt x="0" y="1677353"/>
                </a:lnTo>
                <a:close/>
              </a:path>
            </a:pathLst>
          </a:custGeom>
          <a:solidFill>
            <a:srgbClr val="6E6E6E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10" name="Forma Livre: Forma 9">
            <a:extLst>
              <a:ext uri="{FF2B5EF4-FFF2-40B4-BE49-F238E27FC236}">
                <a16:creationId xmlns:a16="http://schemas.microsoft.com/office/drawing/2014/main" id="{076FB5D5-3A8F-4EBA-86B6-B5AA4EF2A5C8}"/>
              </a:ext>
            </a:extLst>
          </p:cNvPr>
          <p:cNvSpPr/>
          <p:nvPr/>
        </p:nvSpPr>
        <p:spPr>
          <a:xfrm>
            <a:off x="9128663" y="2137044"/>
            <a:ext cx="2585380" cy="2585379"/>
          </a:xfrm>
          <a:custGeom>
            <a:avLst/>
            <a:gdLst>
              <a:gd name="connsiteX0" fmla="*/ 0 w 1677352"/>
              <a:gd name="connsiteY0" fmla="*/ 0 h 1677352"/>
              <a:gd name="connsiteX1" fmla="*/ 1677352 w 1677352"/>
              <a:gd name="connsiteY1" fmla="*/ 0 h 1677352"/>
              <a:gd name="connsiteX2" fmla="*/ 1677352 w 1677352"/>
              <a:gd name="connsiteY2" fmla="*/ 1677353 h 1677352"/>
              <a:gd name="connsiteX3" fmla="*/ 0 w 1677352"/>
              <a:gd name="connsiteY3" fmla="*/ 1677353 h 167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7352" h="1677352">
                <a:moveTo>
                  <a:pt x="0" y="0"/>
                </a:moveTo>
                <a:lnTo>
                  <a:pt x="1677352" y="0"/>
                </a:lnTo>
                <a:lnTo>
                  <a:pt x="1677352" y="1677353"/>
                </a:lnTo>
                <a:lnTo>
                  <a:pt x="0" y="1677353"/>
                </a:lnTo>
                <a:close/>
              </a:path>
            </a:pathLst>
          </a:custGeom>
          <a:solidFill>
            <a:srgbClr val="D6D6CE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108A5BD1-48BB-4753-B1A8-6DD371B32EFF}"/>
              </a:ext>
            </a:extLst>
          </p:cNvPr>
          <p:cNvSpPr txBox="1"/>
          <p:nvPr/>
        </p:nvSpPr>
        <p:spPr>
          <a:xfrm>
            <a:off x="633730" y="1758277"/>
            <a:ext cx="522097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>
                <a:latin typeface="Segoe UI" panose="020B0502040204020203" pitchFamily="34" charset="0"/>
                <a:cs typeface="Segoe UI" panose="020B0502040204020203" pitchFamily="34" charset="0"/>
              </a:rPr>
              <a:t>Cores Primárias</a:t>
            </a: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9866C73F-2351-49DA-9F33-44C768349D2A}"/>
              </a:ext>
            </a:extLst>
          </p:cNvPr>
          <p:cNvSpPr txBox="1"/>
          <p:nvPr/>
        </p:nvSpPr>
        <p:spPr>
          <a:xfrm>
            <a:off x="6543282" y="1758278"/>
            <a:ext cx="522097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>
                <a:latin typeface="Segoe UI" panose="020B0502040204020203" pitchFamily="34" charset="0"/>
                <a:cs typeface="Segoe UI" panose="020B0502040204020203" pitchFamily="34" charset="0"/>
              </a:rPr>
              <a:t>Cores Secundárias</a:t>
            </a: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F10D409F-19CD-4724-9566-37DF3438B1B0}"/>
              </a:ext>
            </a:extLst>
          </p:cNvPr>
          <p:cNvSpPr txBox="1"/>
          <p:nvPr/>
        </p:nvSpPr>
        <p:spPr>
          <a:xfrm>
            <a:off x="633730" y="5014389"/>
            <a:ext cx="255046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00" dirty="0">
                <a:latin typeface="Segoe UI" panose="020B0502040204020203" pitchFamily="34" charset="0"/>
                <a:cs typeface="Segoe UI" panose="020B0502040204020203" pitchFamily="34" charset="0"/>
              </a:rPr>
              <a:t>Pantone 2380 C</a:t>
            </a:r>
          </a:p>
          <a:p>
            <a:r>
              <a:rPr lang="it-IT" sz="1000" dirty="0">
                <a:latin typeface="Segoe UI" panose="020B0502040204020203" pitchFamily="34" charset="0"/>
                <a:cs typeface="Segoe UI" panose="020B0502040204020203" pitchFamily="34" charset="0"/>
              </a:rPr>
              <a:t>rgb 38 49 66</a:t>
            </a:r>
          </a:p>
          <a:p>
            <a:r>
              <a:rPr lang="it-IT" sz="1000" dirty="0">
                <a:latin typeface="Segoe UI" panose="020B0502040204020203" pitchFamily="34" charset="0"/>
                <a:cs typeface="Segoe UI" panose="020B0502040204020203" pitchFamily="34" charset="0"/>
              </a:rPr>
              <a:t>#263142</a:t>
            </a:r>
          </a:p>
          <a:p>
            <a:r>
              <a:rPr lang="it-IT" sz="1000" dirty="0">
                <a:latin typeface="Segoe UI" panose="020B0502040204020203" pitchFamily="34" charset="0"/>
                <a:cs typeface="Segoe UI" panose="020B0502040204020203" pitchFamily="34" charset="0"/>
              </a:rPr>
              <a:t>cmyk 87 71 47 52</a:t>
            </a:r>
            <a:endParaRPr lang="pt-BR" sz="1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EC01D31D-1C13-423D-BC74-8E1041511D3B}"/>
              </a:ext>
            </a:extLst>
          </p:cNvPr>
          <p:cNvSpPr txBox="1"/>
          <p:nvPr/>
        </p:nvSpPr>
        <p:spPr>
          <a:xfrm>
            <a:off x="3184196" y="5014389"/>
            <a:ext cx="255046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00" dirty="0">
                <a:latin typeface="Segoe UI" panose="020B0502040204020203" pitchFamily="34" charset="0"/>
                <a:cs typeface="Segoe UI" panose="020B0502040204020203" pitchFamily="34" charset="0"/>
              </a:rPr>
              <a:t>Pantone BLACK C</a:t>
            </a:r>
          </a:p>
          <a:p>
            <a:r>
              <a:rPr lang="it-IT" sz="1000" dirty="0">
                <a:latin typeface="Segoe UI" panose="020B0502040204020203" pitchFamily="34" charset="0"/>
                <a:cs typeface="Segoe UI" panose="020B0502040204020203" pitchFamily="34" charset="0"/>
              </a:rPr>
              <a:t>rgb 0 0 0 </a:t>
            </a:r>
          </a:p>
          <a:p>
            <a:r>
              <a:rPr lang="it-IT" sz="1000" dirty="0">
                <a:latin typeface="Segoe UI" panose="020B0502040204020203" pitchFamily="34" charset="0"/>
                <a:cs typeface="Segoe UI" panose="020B0502040204020203" pitchFamily="34" charset="0"/>
              </a:rPr>
              <a:t>#000000</a:t>
            </a:r>
          </a:p>
          <a:p>
            <a:r>
              <a:rPr lang="it-IT" sz="1000" dirty="0">
                <a:latin typeface="Segoe UI" panose="020B0502040204020203" pitchFamily="34" charset="0"/>
                <a:cs typeface="Segoe UI" panose="020B0502040204020203" pitchFamily="34" charset="0"/>
              </a:rPr>
              <a:t>cmyk 0 0 0 100</a:t>
            </a:r>
            <a:endParaRPr lang="pt-BR" sz="1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CF9A5DDC-3FE2-4057-9B63-41819A839C02}"/>
              </a:ext>
            </a:extLst>
          </p:cNvPr>
          <p:cNvSpPr txBox="1"/>
          <p:nvPr/>
        </p:nvSpPr>
        <p:spPr>
          <a:xfrm>
            <a:off x="6543282" y="5014389"/>
            <a:ext cx="255046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00" dirty="0">
                <a:latin typeface="Segoe UI" panose="020B0502040204020203" pitchFamily="34" charset="0"/>
                <a:cs typeface="Segoe UI" panose="020B0502040204020203" pitchFamily="34" charset="0"/>
              </a:rPr>
              <a:t>Pantone 424 C</a:t>
            </a:r>
          </a:p>
          <a:p>
            <a:r>
              <a:rPr lang="it-IT" sz="1000" dirty="0">
                <a:latin typeface="Segoe UI" panose="020B0502040204020203" pitchFamily="34" charset="0"/>
                <a:cs typeface="Segoe UI" panose="020B0502040204020203" pitchFamily="34" charset="0"/>
              </a:rPr>
              <a:t>rgb 110 110 110</a:t>
            </a:r>
          </a:p>
          <a:p>
            <a:r>
              <a:rPr lang="it-IT" sz="1000" dirty="0">
                <a:latin typeface="Segoe UI" panose="020B0502040204020203" pitchFamily="34" charset="0"/>
                <a:cs typeface="Segoe UI" panose="020B0502040204020203" pitchFamily="34" charset="0"/>
              </a:rPr>
              <a:t>#6E6E6E</a:t>
            </a:r>
          </a:p>
          <a:p>
            <a:r>
              <a:rPr lang="it-IT" sz="1000" dirty="0">
                <a:latin typeface="Segoe UI" panose="020B0502040204020203" pitchFamily="34" charset="0"/>
                <a:cs typeface="Segoe UI" panose="020B0502040204020203" pitchFamily="34" charset="0"/>
              </a:rPr>
              <a:t>cmyk 54 43 43 28</a:t>
            </a:r>
            <a:endParaRPr lang="pt-BR" sz="1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08C2407E-A341-4672-BFC0-7629C5B9E6D3}"/>
              </a:ext>
            </a:extLst>
          </p:cNvPr>
          <p:cNvSpPr txBox="1"/>
          <p:nvPr/>
        </p:nvSpPr>
        <p:spPr>
          <a:xfrm>
            <a:off x="9093748" y="5014389"/>
            <a:ext cx="255046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00" dirty="0">
                <a:latin typeface="Segoe UI" panose="020B0502040204020203" pitchFamily="34" charset="0"/>
                <a:cs typeface="Segoe UI" panose="020B0502040204020203" pitchFamily="34" charset="0"/>
              </a:rPr>
              <a:t>Pantone Cool gray 1 C</a:t>
            </a:r>
          </a:p>
          <a:p>
            <a:r>
              <a:rPr lang="it-IT" sz="1000" dirty="0">
                <a:latin typeface="Segoe UI" panose="020B0502040204020203" pitchFamily="34" charset="0"/>
                <a:cs typeface="Segoe UI" panose="020B0502040204020203" pitchFamily="34" charset="0"/>
              </a:rPr>
              <a:t>rgb 219 219 211</a:t>
            </a:r>
          </a:p>
          <a:p>
            <a:r>
              <a:rPr lang="it-IT" sz="1000" dirty="0">
                <a:latin typeface="Segoe UI" panose="020B0502040204020203" pitchFamily="34" charset="0"/>
                <a:cs typeface="Segoe UI" panose="020B0502040204020203" pitchFamily="34" charset="0"/>
              </a:rPr>
              <a:t>#DBDBD3</a:t>
            </a:r>
          </a:p>
          <a:p>
            <a:r>
              <a:rPr lang="it-IT" sz="1000" dirty="0">
                <a:latin typeface="Segoe UI" panose="020B0502040204020203" pitchFamily="34" charset="0"/>
                <a:cs typeface="Segoe UI" panose="020B0502040204020203" pitchFamily="34" charset="0"/>
              </a:rPr>
              <a:t>cmyk 17 11 18 0</a:t>
            </a:r>
            <a:endParaRPr lang="pt-BR" sz="1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5239049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832FB50B-CFD5-4524-80E9-07CD1F46099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Cores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B80B8F8E-B35A-424F-BEAF-10062C165E0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sz="1800" dirty="0">
                <a:solidFill>
                  <a:srgbClr val="000000"/>
                </a:solidFill>
                <a:latin typeface="Segoe UI" panose="020B0502040204020203" pitchFamily="34" charset="0"/>
              </a:rPr>
              <a:t>Paleta de apoio exclusiva para gráficos. </a:t>
            </a:r>
          </a:p>
          <a:p>
            <a:r>
              <a:rPr lang="pt-BR" sz="1000" dirty="0">
                <a:solidFill>
                  <a:srgbClr val="000000"/>
                </a:solidFill>
                <a:latin typeface="Segoe UI" panose="020B0502040204020203" pitchFamily="34" charset="0"/>
              </a:rPr>
              <a:t>Não usar em fundos ou outros elementos.  </a:t>
            </a:r>
            <a:endParaRPr lang="pt-BR" sz="1000" dirty="0">
              <a:solidFill>
                <a:prstClr val="black"/>
              </a:solidFill>
              <a:latin typeface="Segoe UI" panose="020B0502040204020203" pitchFamily="34" charset="0"/>
            </a:endParaRPr>
          </a:p>
        </p:txBody>
      </p:sp>
      <p:sp>
        <p:nvSpPr>
          <p:cNvPr id="7" name="Forma Livre: Forma 6">
            <a:extLst>
              <a:ext uri="{FF2B5EF4-FFF2-40B4-BE49-F238E27FC236}">
                <a16:creationId xmlns:a16="http://schemas.microsoft.com/office/drawing/2014/main" id="{5EC27ABE-49EC-427A-A0E4-D24E2BA59EB7}"/>
              </a:ext>
            </a:extLst>
          </p:cNvPr>
          <p:cNvSpPr/>
          <p:nvPr/>
        </p:nvSpPr>
        <p:spPr>
          <a:xfrm>
            <a:off x="5355318" y="2634343"/>
            <a:ext cx="1589314" cy="1589313"/>
          </a:xfrm>
          <a:custGeom>
            <a:avLst/>
            <a:gdLst>
              <a:gd name="connsiteX0" fmla="*/ 0 w 1677352"/>
              <a:gd name="connsiteY0" fmla="*/ 0 h 1677352"/>
              <a:gd name="connsiteX1" fmla="*/ 1677353 w 1677352"/>
              <a:gd name="connsiteY1" fmla="*/ 0 h 1677352"/>
              <a:gd name="connsiteX2" fmla="*/ 1677353 w 1677352"/>
              <a:gd name="connsiteY2" fmla="*/ 1677353 h 1677352"/>
              <a:gd name="connsiteX3" fmla="*/ 0 w 1677352"/>
              <a:gd name="connsiteY3" fmla="*/ 1677353 h 167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7352" h="1677352">
                <a:moveTo>
                  <a:pt x="0" y="0"/>
                </a:moveTo>
                <a:lnTo>
                  <a:pt x="1677353" y="0"/>
                </a:lnTo>
                <a:lnTo>
                  <a:pt x="1677353" y="1677353"/>
                </a:lnTo>
                <a:lnTo>
                  <a:pt x="0" y="1677353"/>
                </a:lnTo>
                <a:close/>
              </a:path>
            </a:pathLst>
          </a:custGeom>
          <a:solidFill>
            <a:srgbClr val="11385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8" name="Forma Livre: Forma 7">
            <a:extLst>
              <a:ext uri="{FF2B5EF4-FFF2-40B4-BE49-F238E27FC236}">
                <a16:creationId xmlns:a16="http://schemas.microsoft.com/office/drawing/2014/main" id="{C9DC733C-99A7-4C6C-BA21-1EFE43A53D08}"/>
              </a:ext>
            </a:extLst>
          </p:cNvPr>
          <p:cNvSpPr/>
          <p:nvPr/>
        </p:nvSpPr>
        <p:spPr>
          <a:xfrm>
            <a:off x="6944632" y="2634343"/>
            <a:ext cx="1589314" cy="1589313"/>
          </a:xfrm>
          <a:custGeom>
            <a:avLst/>
            <a:gdLst>
              <a:gd name="connsiteX0" fmla="*/ 0 w 1677352"/>
              <a:gd name="connsiteY0" fmla="*/ 0 h 1677352"/>
              <a:gd name="connsiteX1" fmla="*/ 1677353 w 1677352"/>
              <a:gd name="connsiteY1" fmla="*/ 0 h 1677352"/>
              <a:gd name="connsiteX2" fmla="*/ 1677353 w 1677352"/>
              <a:gd name="connsiteY2" fmla="*/ 1677353 h 1677352"/>
              <a:gd name="connsiteX3" fmla="*/ 0 w 1677352"/>
              <a:gd name="connsiteY3" fmla="*/ 1677353 h 167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7352" h="1677352">
                <a:moveTo>
                  <a:pt x="0" y="0"/>
                </a:moveTo>
                <a:lnTo>
                  <a:pt x="1677353" y="0"/>
                </a:lnTo>
                <a:lnTo>
                  <a:pt x="1677353" y="1677353"/>
                </a:lnTo>
                <a:lnTo>
                  <a:pt x="0" y="1677353"/>
                </a:lnTo>
                <a:close/>
              </a:path>
            </a:pathLst>
          </a:custGeom>
          <a:solidFill>
            <a:srgbClr val="BA1F3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19" name="Forma Livre: Forma 18">
            <a:extLst>
              <a:ext uri="{FF2B5EF4-FFF2-40B4-BE49-F238E27FC236}">
                <a16:creationId xmlns:a16="http://schemas.microsoft.com/office/drawing/2014/main" id="{563DC1C2-AC35-43C5-9FB4-0C14261B590A}"/>
              </a:ext>
            </a:extLst>
          </p:cNvPr>
          <p:cNvSpPr/>
          <p:nvPr/>
        </p:nvSpPr>
        <p:spPr>
          <a:xfrm>
            <a:off x="8533946" y="2634343"/>
            <a:ext cx="1589314" cy="1589313"/>
          </a:xfrm>
          <a:custGeom>
            <a:avLst/>
            <a:gdLst>
              <a:gd name="connsiteX0" fmla="*/ 0 w 1677352"/>
              <a:gd name="connsiteY0" fmla="*/ 0 h 1677352"/>
              <a:gd name="connsiteX1" fmla="*/ 1677353 w 1677352"/>
              <a:gd name="connsiteY1" fmla="*/ 0 h 1677352"/>
              <a:gd name="connsiteX2" fmla="*/ 1677353 w 1677352"/>
              <a:gd name="connsiteY2" fmla="*/ 1677353 h 1677352"/>
              <a:gd name="connsiteX3" fmla="*/ 0 w 1677352"/>
              <a:gd name="connsiteY3" fmla="*/ 1677353 h 167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7352" h="1677352">
                <a:moveTo>
                  <a:pt x="0" y="0"/>
                </a:moveTo>
                <a:lnTo>
                  <a:pt x="1677353" y="0"/>
                </a:lnTo>
                <a:lnTo>
                  <a:pt x="1677353" y="1677353"/>
                </a:lnTo>
                <a:lnTo>
                  <a:pt x="0" y="1677353"/>
                </a:lnTo>
                <a:close/>
              </a:path>
            </a:pathLst>
          </a:custGeom>
          <a:solidFill>
            <a:srgbClr val="688E2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20" name="Forma Livre: Forma 19">
            <a:extLst>
              <a:ext uri="{FF2B5EF4-FFF2-40B4-BE49-F238E27FC236}">
                <a16:creationId xmlns:a16="http://schemas.microsoft.com/office/drawing/2014/main" id="{1356F7E6-0399-4EF4-A6A0-0071BCC47ECA}"/>
              </a:ext>
            </a:extLst>
          </p:cNvPr>
          <p:cNvSpPr/>
          <p:nvPr/>
        </p:nvSpPr>
        <p:spPr>
          <a:xfrm>
            <a:off x="10123261" y="2634343"/>
            <a:ext cx="1589314" cy="1589313"/>
          </a:xfrm>
          <a:custGeom>
            <a:avLst/>
            <a:gdLst>
              <a:gd name="connsiteX0" fmla="*/ 0 w 1677352"/>
              <a:gd name="connsiteY0" fmla="*/ 0 h 1677352"/>
              <a:gd name="connsiteX1" fmla="*/ 1677353 w 1677352"/>
              <a:gd name="connsiteY1" fmla="*/ 0 h 1677352"/>
              <a:gd name="connsiteX2" fmla="*/ 1677353 w 1677352"/>
              <a:gd name="connsiteY2" fmla="*/ 1677353 h 1677352"/>
              <a:gd name="connsiteX3" fmla="*/ 0 w 1677352"/>
              <a:gd name="connsiteY3" fmla="*/ 1677353 h 167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7352" h="1677352">
                <a:moveTo>
                  <a:pt x="0" y="0"/>
                </a:moveTo>
                <a:lnTo>
                  <a:pt x="1677353" y="0"/>
                </a:lnTo>
                <a:lnTo>
                  <a:pt x="1677353" y="1677353"/>
                </a:lnTo>
                <a:lnTo>
                  <a:pt x="0" y="1677353"/>
                </a:lnTo>
                <a:close/>
              </a:path>
            </a:pathLst>
          </a:custGeom>
          <a:solidFill>
            <a:srgbClr val="FCCA4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23" name="Forma Livre: Forma 22">
            <a:extLst>
              <a:ext uri="{FF2B5EF4-FFF2-40B4-BE49-F238E27FC236}">
                <a16:creationId xmlns:a16="http://schemas.microsoft.com/office/drawing/2014/main" id="{893C39DA-C3F8-4633-B929-CF347CD7CD3A}"/>
              </a:ext>
            </a:extLst>
          </p:cNvPr>
          <p:cNvSpPr/>
          <p:nvPr/>
        </p:nvSpPr>
        <p:spPr>
          <a:xfrm rot="10800000">
            <a:off x="3766004" y="2634343"/>
            <a:ext cx="1589314" cy="1589313"/>
          </a:xfrm>
          <a:custGeom>
            <a:avLst/>
            <a:gdLst>
              <a:gd name="connsiteX0" fmla="*/ 0 w 1677352"/>
              <a:gd name="connsiteY0" fmla="*/ 0 h 1677352"/>
              <a:gd name="connsiteX1" fmla="*/ 1677353 w 1677352"/>
              <a:gd name="connsiteY1" fmla="*/ 0 h 1677352"/>
              <a:gd name="connsiteX2" fmla="*/ 1677353 w 1677352"/>
              <a:gd name="connsiteY2" fmla="*/ 1677353 h 1677352"/>
              <a:gd name="connsiteX3" fmla="*/ 0 w 1677352"/>
              <a:gd name="connsiteY3" fmla="*/ 1677353 h 167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7352" h="1677352">
                <a:moveTo>
                  <a:pt x="0" y="0"/>
                </a:moveTo>
                <a:lnTo>
                  <a:pt x="1677353" y="0"/>
                </a:lnTo>
                <a:lnTo>
                  <a:pt x="1677353" y="1677353"/>
                </a:lnTo>
                <a:lnTo>
                  <a:pt x="0" y="1677353"/>
                </a:lnTo>
                <a:close/>
              </a:path>
            </a:pathLst>
          </a:custGeom>
          <a:solidFill>
            <a:srgbClr val="4B618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24" name="Forma Livre: Forma 23">
            <a:extLst>
              <a:ext uri="{FF2B5EF4-FFF2-40B4-BE49-F238E27FC236}">
                <a16:creationId xmlns:a16="http://schemas.microsoft.com/office/drawing/2014/main" id="{98BD6118-2207-4547-B298-C357ACB4C026}"/>
              </a:ext>
            </a:extLst>
          </p:cNvPr>
          <p:cNvSpPr/>
          <p:nvPr/>
        </p:nvSpPr>
        <p:spPr>
          <a:xfrm rot="10800000">
            <a:off x="2176690" y="2634343"/>
            <a:ext cx="1589314" cy="1589313"/>
          </a:xfrm>
          <a:custGeom>
            <a:avLst/>
            <a:gdLst>
              <a:gd name="connsiteX0" fmla="*/ 0 w 1677352"/>
              <a:gd name="connsiteY0" fmla="*/ 0 h 1677352"/>
              <a:gd name="connsiteX1" fmla="*/ 1677353 w 1677352"/>
              <a:gd name="connsiteY1" fmla="*/ 0 h 1677352"/>
              <a:gd name="connsiteX2" fmla="*/ 1677353 w 1677352"/>
              <a:gd name="connsiteY2" fmla="*/ 1677353 h 1677352"/>
              <a:gd name="connsiteX3" fmla="*/ 0 w 1677352"/>
              <a:gd name="connsiteY3" fmla="*/ 1677353 h 167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7352" h="1677352">
                <a:moveTo>
                  <a:pt x="0" y="0"/>
                </a:moveTo>
                <a:lnTo>
                  <a:pt x="1677353" y="0"/>
                </a:lnTo>
                <a:lnTo>
                  <a:pt x="1677353" y="1677353"/>
                </a:lnTo>
                <a:lnTo>
                  <a:pt x="0" y="1677353"/>
                </a:lnTo>
                <a:close/>
              </a:path>
            </a:pathLst>
          </a:custGeom>
          <a:solidFill>
            <a:srgbClr val="899DBD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25" name="Forma Livre: Forma 24">
            <a:extLst>
              <a:ext uri="{FF2B5EF4-FFF2-40B4-BE49-F238E27FC236}">
                <a16:creationId xmlns:a16="http://schemas.microsoft.com/office/drawing/2014/main" id="{41A1914F-7C9D-406F-AD2B-D8FFDE3F6F9C}"/>
              </a:ext>
            </a:extLst>
          </p:cNvPr>
          <p:cNvSpPr/>
          <p:nvPr/>
        </p:nvSpPr>
        <p:spPr>
          <a:xfrm rot="10800000">
            <a:off x="587375" y="2634343"/>
            <a:ext cx="1589314" cy="1589313"/>
          </a:xfrm>
          <a:custGeom>
            <a:avLst/>
            <a:gdLst>
              <a:gd name="connsiteX0" fmla="*/ 0 w 1677352"/>
              <a:gd name="connsiteY0" fmla="*/ 0 h 1677352"/>
              <a:gd name="connsiteX1" fmla="*/ 1677353 w 1677352"/>
              <a:gd name="connsiteY1" fmla="*/ 0 h 1677352"/>
              <a:gd name="connsiteX2" fmla="*/ 1677353 w 1677352"/>
              <a:gd name="connsiteY2" fmla="*/ 1677353 h 1677352"/>
              <a:gd name="connsiteX3" fmla="*/ 0 w 1677352"/>
              <a:gd name="connsiteY3" fmla="*/ 1677353 h 167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7352" h="1677352">
                <a:moveTo>
                  <a:pt x="0" y="0"/>
                </a:moveTo>
                <a:lnTo>
                  <a:pt x="1677353" y="0"/>
                </a:lnTo>
                <a:lnTo>
                  <a:pt x="1677353" y="1677353"/>
                </a:lnTo>
                <a:lnTo>
                  <a:pt x="0" y="1677353"/>
                </a:lnTo>
                <a:close/>
              </a:path>
            </a:pathLst>
          </a:custGeom>
          <a:solidFill>
            <a:srgbClr val="BFCADB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60873752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D57093A2-6B64-462E-9903-8C61242FFD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Atlantica </a:t>
            </a:r>
            <a:r>
              <a:rPr lang="pt-BR" dirty="0" err="1"/>
              <a:t>Residences</a:t>
            </a:r>
            <a:endParaRPr lang="pt-BR" dirty="0"/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32CCAE7-BECE-42BB-A31D-CA70A6A4464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Composição</a:t>
            </a:r>
          </a:p>
        </p:txBody>
      </p:sp>
      <p:sp>
        <p:nvSpPr>
          <p:cNvPr id="10" name="Forma Livre: Forma 9">
            <a:extLst>
              <a:ext uri="{FF2B5EF4-FFF2-40B4-BE49-F238E27FC236}">
                <a16:creationId xmlns:a16="http://schemas.microsoft.com/office/drawing/2014/main" id="{7E56CE32-B3A8-443C-B3C7-CDA3EFF7984D}"/>
              </a:ext>
            </a:extLst>
          </p:cNvPr>
          <p:cNvSpPr/>
          <p:nvPr/>
        </p:nvSpPr>
        <p:spPr>
          <a:xfrm>
            <a:off x="571978" y="1969770"/>
            <a:ext cx="5226367" cy="2080260"/>
          </a:xfrm>
          <a:custGeom>
            <a:avLst/>
            <a:gdLst>
              <a:gd name="connsiteX0" fmla="*/ 0 w 5226367"/>
              <a:gd name="connsiteY0" fmla="*/ 0 h 2080260"/>
              <a:gd name="connsiteX1" fmla="*/ 5226368 w 5226367"/>
              <a:gd name="connsiteY1" fmla="*/ 0 h 2080260"/>
              <a:gd name="connsiteX2" fmla="*/ 5226368 w 5226367"/>
              <a:gd name="connsiteY2" fmla="*/ 2080260 h 2080260"/>
              <a:gd name="connsiteX3" fmla="*/ 0 w 5226367"/>
              <a:gd name="connsiteY3" fmla="*/ 2080260 h 2080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6367" h="2080260">
                <a:moveTo>
                  <a:pt x="0" y="0"/>
                </a:moveTo>
                <a:lnTo>
                  <a:pt x="5226368" y="0"/>
                </a:lnTo>
                <a:lnTo>
                  <a:pt x="5226368" y="2080260"/>
                </a:lnTo>
                <a:lnTo>
                  <a:pt x="0" y="2080260"/>
                </a:lnTo>
                <a:close/>
              </a:path>
            </a:pathLst>
          </a:custGeom>
          <a:noFill/>
          <a:ln w="9525" cap="flat">
            <a:solidFill>
              <a:srgbClr val="D6D6CE"/>
            </a:solidFill>
            <a:prstDash val="solid"/>
            <a:miter/>
          </a:ln>
        </p:spPr>
        <p:txBody>
          <a:bodyPr rtlCol="0" anchor="ctr"/>
          <a:lstStyle/>
          <a:p>
            <a:pPr algn="r"/>
            <a:endParaRPr lang="pt-BR"/>
          </a:p>
        </p:txBody>
      </p:sp>
      <p:sp>
        <p:nvSpPr>
          <p:cNvPr id="12" name="Forma Livre: Forma 11">
            <a:extLst>
              <a:ext uri="{FF2B5EF4-FFF2-40B4-BE49-F238E27FC236}">
                <a16:creationId xmlns:a16="http://schemas.microsoft.com/office/drawing/2014/main" id="{DF1CD608-27A6-4A76-A389-C04D939050CC}"/>
              </a:ext>
            </a:extLst>
          </p:cNvPr>
          <p:cNvSpPr/>
          <p:nvPr/>
        </p:nvSpPr>
        <p:spPr>
          <a:xfrm>
            <a:off x="6480336" y="1969770"/>
            <a:ext cx="5226367" cy="2080260"/>
          </a:xfrm>
          <a:custGeom>
            <a:avLst/>
            <a:gdLst>
              <a:gd name="connsiteX0" fmla="*/ 0 w 5226367"/>
              <a:gd name="connsiteY0" fmla="*/ 0 h 2080260"/>
              <a:gd name="connsiteX1" fmla="*/ 5226368 w 5226367"/>
              <a:gd name="connsiteY1" fmla="*/ 0 h 2080260"/>
              <a:gd name="connsiteX2" fmla="*/ 5226368 w 5226367"/>
              <a:gd name="connsiteY2" fmla="*/ 2080260 h 2080260"/>
              <a:gd name="connsiteX3" fmla="*/ 0 w 5226367"/>
              <a:gd name="connsiteY3" fmla="*/ 2080260 h 2080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6367" h="2080260">
                <a:moveTo>
                  <a:pt x="0" y="0"/>
                </a:moveTo>
                <a:lnTo>
                  <a:pt x="5226368" y="0"/>
                </a:lnTo>
                <a:lnTo>
                  <a:pt x="5226368" y="2080260"/>
                </a:lnTo>
                <a:lnTo>
                  <a:pt x="0" y="2080260"/>
                </a:lnTo>
                <a:close/>
              </a:path>
            </a:pathLst>
          </a:custGeom>
          <a:solidFill>
            <a:srgbClr val="3E4798"/>
          </a:solidFill>
          <a:ln w="9525" cap="flat">
            <a:solidFill>
              <a:srgbClr val="D6D6CE"/>
            </a:solidFill>
            <a:prstDash val="solid"/>
            <a:miter/>
          </a:ln>
        </p:spPr>
        <p:txBody>
          <a:bodyPr rtlCol="0" anchor="ctr"/>
          <a:lstStyle/>
          <a:p>
            <a:pPr algn="r"/>
            <a:endParaRPr lang="pt-BR" dirty="0"/>
          </a:p>
        </p:txBody>
      </p:sp>
      <p:pic>
        <p:nvPicPr>
          <p:cNvPr id="14" name="Gráfico 13">
            <a:extLst>
              <a:ext uri="{FF2B5EF4-FFF2-40B4-BE49-F238E27FC236}">
                <a16:creationId xmlns:a16="http://schemas.microsoft.com/office/drawing/2014/main" id="{37008632-9823-4360-8268-6E6BE7E4788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580829" y="2664377"/>
            <a:ext cx="3025380" cy="691046"/>
          </a:xfrm>
          <a:prstGeom prst="rect">
            <a:avLst/>
          </a:prstGeom>
        </p:spPr>
      </p:pic>
      <p:sp>
        <p:nvSpPr>
          <p:cNvPr id="17" name="CaixaDeTexto 16">
            <a:extLst>
              <a:ext uri="{FF2B5EF4-FFF2-40B4-BE49-F238E27FC236}">
                <a16:creationId xmlns:a16="http://schemas.microsoft.com/office/drawing/2014/main" id="{239161B1-F260-4F86-ABB4-D9D0AF46B719}"/>
              </a:ext>
            </a:extLst>
          </p:cNvPr>
          <p:cNvSpPr txBox="1"/>
          <p:nvPr/>
        </p:nvSpPr>
        <p:spPr>
          <a:xfrm>
            <a:off x="577376" y="1358466"/>
            <a:ext cx="522097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>
                <a:latin typeface="Segoe UI" panose="020B0502040204020203" pitchFamily="34" charset="0"/>
                <a:cs typeface="Segoe UI" panose="020B0502040204020203" pitchFamily="34" charset="0"/>
              </a:rPr>
              <a:t>Versão Positiva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DE5419F2-06C9-47AE-8768-45D670AD1168}"/>
              </a:ext>
            </a:extLst>
          </p:cNvPr>
          <p:cNvSpPr txBox="1"/>
          <p:nvPr/>
        </p:nvSpPr>
        <p:spPr>
          <a:xfrm>
            <a:off x="6475730" y="1358466"/>
            <a:ext cx="522097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>
                <a:latin typeface="Segoe UI" panose="020B0502040204020203" pitchFamily="34" charset="0"/>
                <a:cs typeface="Segoe UI" panose="020B0502040204020203" pitchFamily="34" charset="0"/>
              </a:rPr>
              <a:t>Versão Negativa</a:t>
            </a:r>
          </a:p>
        </p:txBody>
      </p:sp>
      <p:pic>
        <p:nvPicPr>
          <p:cNvPr id="6" name="Gráfico 5">
            <a:extLst>
              <a:ext uri="{FF2B5EF4-FFF2-40B4-BE49-F238E27FC236}">
                <a16:creationId xmlns:a16="http://schemas.microsoft.com/office/drawing/2014/main" id="{BEBE6396-7882-418F-BA69-8F1B6A47B4C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11411" y="2664377"/>
            <a:ext cx="3347500" cy="764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0827082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D57093A2-6B64-462E-9903-8C61242FFD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Marcas Atlantica </a:t>
            </a:r>
            <a:r>
              <a:rPr lang="pt-BR" dirty="0" err="1"/>
              <a:t>Residences</a:t>
            </a:r>
            <a:endParaRPr lang="pt-BR" dirty="0"/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32CCAE7-BECE-42BB-A31D-CA70A6A4464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Variações</a:t>
            </a:r>
          </a:p>
        </p:txBody>
      </p:sp>
      <p:sp>
        <p:nvSpPr>
          <p:cNvPr id="10" name="Forma Livre: Forma 9">
            <a:extLst>
              <a:ext uri="{FF2B5EF4-FFF2-40B4-BE49-F238E27FC236}">
                <a16:creationId xmlns:a16="http://schemas.microsoft.com/office/drawing/2014/main" id="{7E56CE32-B3A8-443C-B3C7-CDA3EFF7984D}"/>
              </a:ext>
            </a:extLst>
          </p:cNvPr>
          <p:cNvSpPr/>
          <p:nvPr/>
        </p:nvSpPr>
        <p:spPr>
          <a:xfrm>
            <a:off x="743428" y="1379220"/>
            <a:ext cx="2104547" cy="2080260"/>
          </a:xfrm>
          <a:custGeom>
            <a:avLst/>
            <a:gdLst>
              <a:gd name="connsiteX0" fmla="*/ 0 w 5226367"/>
              <a:gd name="connsiteY0" fmla="*/ 0 h 2080260"/>
              <a:gd name="connsiteX1" fmla="*/ 5226368 w 5226367"/>
              <a:gd name="connsiteY1" fmla="*/ 0 h 2080260"/>
              <a:gd name="connsiteX2" fmla="*/ 5226368 w 5226367"/>
              <a:gd name="connsiteY2" fmla="*/ 2080260 h 2080260"/>
              <a:gd name="connsiteX3" fmla="*/ 0 w 5226367"/>
              <a:gd name="connsiteY3" fmla="*/ 2080260 h 2080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6367" h="2080260">
                <a:moveTo>
                  <a:pt x="0" y="0"/>
                </a:moveTo>
                <a:lnTo>
                  <a:pt x="5226368" y="0"/>
                </a:lnTo>
                <a:lnTo>
                  <a:pt x="5226368" y="2080260"/>
                </a:lnTo>
                <a:lnTo>
                  <a:pt x="0" y="2080260"/>
                </a:lnTo>
                <a:close/>
              </a:path>
            </a:pathLst>
          </a:custGeom>
          <a:noFill/>
          <a:ln w="9525" cap="flat">
            <a:solidFill>
              <a:srgbClr val="D6D6CE"/>
            </a:solidFill>
            <a:prstDash val="solid"/>
            <a:miter/>
          </a:ln>
        </p:spPr>
        <p:txBody>
          <a:bodyPr rtlCol="0" anchor="ctr"/>
          <a:lstStyle/>
          <a:p>
            <a:pPr algn="r"/>
            <a:endParaRPr lang="pt-BR"/>
          </a:p>
        </p:txBody>
      </p:sp>
      <p:sp>
        <p:nvSpPr>
          <p:cNvPr id="9" name="Forma Livre: Forma 8">
            <a:extLst>
              <a:ext uri="{FF2B5EF4-FFF2-40B4-BE49-F238E27FC236}">
                <a16:creationId xmlns:a16="http://schemas.microsoft.com/office/drawing/2014/main" id="{185E2896-D664-40C5-AD51-AA47DD1F3903}"/>
              </a:ext>
            </a:extLst>
          </p:cNvPr>
          <p:cNvSpPr/>
          <p:nvPr/>
        </p:nvSpPr>
        <p:spPr>
          <a:xfrm>
            <a:off x="2847975" y="1379220"/>
            <a:ext cx="2104547" cy="2080260"/>
          </a:xfrm>
          <a:custGeom>
            <a:avLst/>
            <a:gdLst>
              <a:gd name="connsiteX0" fmla="*/ 0 w 5226367"/>
              <a:gd name="connsiteY0" fmla="*/ 0 h 2080260"/>
              <a:gd name="connsiteX1" fmla="*/ 5226368 w 5226367"/>
              <a:gd name="connsiteY1" fmla="*/ 0 h 2080260"/>
              <a:gd name="connsiteX2" fmla="*/ 5226368 w 5226367"/>
              <a:gd name="connsiteY2" fmla="*/ 2080260 h 2080260"/>
              <a:gd name="connsiteX3" fmla="*/ 0 w 5226367"/>
              <a:gd name="connsiteY3" fmla="*/ 2080260 h 2080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6367" h="2080260">
                <a:moveTo>
                  <a:pt x="0" y="0"/>
                </a:moveTo>
                <a:lnTo>
                  <a:pt x="5226368" y="0"/>
                </a:lnTo>
                <a:lnTo>
                  <a:pt x="5226368" y="2080260"/>
                </a:lnTo>
                <a:lnTo>
                  <a:pt x="0" y="2080260"/>
                </a:lnTo>
                <a:close/>
              </a:path>
            </a:pathLst>
          </a:custGeom>
          <a:solidFill>
            <a:srgbClr val="161F28"/>
          </a:solidFill>
          <a:ln w="9525" cap="flat">
            <a:solidFill>
              <a:srgbClr val="D6D6CE"/>
            </a:solidFill>
            <a:prstDash val="solid"/>
            <a:miter/>
          </a:ln>
        </p:spPr>
        <p:txBody>
          <a:bodyPr rtlCol="0" anchor="ctr"/>
          <a:lstStyle/>
          <a:p>
            <a:pPr algn="r"/>
            <a:endParaRPr lang="pt-BR" dirty="0"/>
          </a:p>
        </p:txBody>
      </p:sp>
      <p:pic>
        <p:nvPicPr>
          <p:cNvPr id="13" name="Gráfico 12">
            <a:extLst>
              <a:ext uri="{FF2B5EF4-FFF2-40B4-BE49-F238E27FC236}">
                <a16:creationId xmlns:a16="http://schemas.microsoft.com/office/drawing/2014/main" id="{527C8248-0DF2-401B-8B8E-77F5E0FBD3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2203" y="4579350"/>
            <a:ext cx="1462101" cy="601238"/>
          </a:xfrm>
          <a:prstGeom prst="rect">
            <a:avLst/>
          </a:prstGeom>
        </p:spPr>
      </p:pic>
      <p:pic>
        <p:nvPicPr>
          <p:cNvPr id="15" name="Gráfico 14">
            <a:extLst>
              <a:ext uri="{FF2B5EF4-FFF2-40B4-BE49-F238E27FC236}">
                <a16:creationId xmlns:a16="http://schemas.microsoft.com/office/drawing/2014/main" id="{1A06C7AB-A67C-4E94-B510-75F08A23805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92203" y="2214512"/>
            <a:ext cx="1614258" cy="512942"/>
          </a:xfrm>
          <a:prstGeom prst="rect">
            <a:avLst/>
          </a:prstGeom>
        </p:spPr>
      </p:pic>
      <p:pic>
        <p:nvPicPr>
          <p:cNvPr id="17" name="Gráfico 16">
            <a:extLst>
              <a:ext uri="{FF2B5EF4-FFF2-40B4-BE49-F238E27FC236}">
                <a16:creationId xmlns:a16="http://schemas.microsoft.com/office/drawing/2014/main" id="{33673C58-A8AA-49D7-B7A8-12373727CE6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48973" y="2178470"/>
            <a:ext cx="1398600" cy="548984"/>
          </a:xfrm>
          <a:prstGeom prst="rect">
            <a:avLst/>
          </a:prstGeom>
        </p:spPr>
      </p:pic>
      <p:pic>
        <p:nvPicPr>
          <p:cNvPr id="18" name="Gráfico 17">
            <a:extLst>
              <a:ext uri="{FF2B5EF4-FFF2-40B4-BE49-F238E27FC236}">
                <a16:creationId xmlns:a16="http://schemas.microsoft.com/office/drawing/2014/main" id="{6EC36389-F527-42A9-A28A-9A4867855B3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463819" y="4560130"/>
            <a:ext cx="1368909" cy="639677"/>
          </a:xfrm>
          <a:prstGeom prst="rect">
            <a:avLst/>
          </a:prstGeom>
        </p:spPr>
      </p:pic>
      <p:sp>
        <p:nvSpPr>
          <p:cNvPr id="19" name="Forma Livre: Forma 18">
            <a:extLst>
              <a:ext uri="{FF2B5EF4-FFF2-40B4-BE49-F238E27FC236}">
                <a16:creationId xmlns:a16="http://schemas.microsoft.com/office/drawing/2014/main" id="{D6C13E5B-C40C-433D-A7D3-867362B9A3C6}"/>
              </a:ext>
            </a:extLst>
          </p:cNvPr>
          <p:cNvSpPr/>
          <p:nvPr/>
        </p:nvSpPr>
        <p:spPr>
          <a:xfrm>
            <a:off x="6096000" y="1388382"/>
            <a:ext cx="2104547" cy="2080260"/>
          </a:xfrm>
          <a:custGeom>
            <a:avLst/>
            <a:gdLst>
              <a:gd name="connsiteX0" fmla="*/ 0 w 5226367"/>
              <a:gd name="connsiteY0" fmla="*/ 0 h 2080260"/>
              <a:gd name="connsiteX1" fmla="*/ 5226368 w 5226367"/>
              <a:gd name="connsiteY1" fmla="*/ 0 h 2080260"/>
              <a:gd name="connsiteX2" fmla="*/ 5226368 w 5226367"/>
              <a:gd name="connsiteY2" fmla="*/ 2080260 h 2080260"/>
              <a:gd name="connsiteX3" fmla="*/ 0 w 5226367"/>
              <a:gd name="connsiteY3" fmla="*/ 2080260 h 2080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6367" h="2080260">
                <a:moveTo>
                  <a:pt x="0" y="0"/>
                </a:moveTo>
                <a:lnTo>
                  <a:pt x="5226368" y="0"/>
                </a:lnTo>
                <a:lnTo>
                  <a:pt x="5226368" y="2080260"/>
                </a:lnTo>
                <a:lnTo>
                  <a:pt x="0" y="2080260"/>
                </a:lnTo>
                <a:close/>
              </a:path>
            </a:pathLst>
          </a:custGeom>
          <a:noFill/>
          <a:ln w="9525" cap="flat">
            <a:solidFill>
              <a:srgbClr val="D6D6CE"/>
            </a:solidFill>
            <a:prstDash val="solid"/>
            <a:miter/>
          </a:ln>
        </p:spPr>
        <p:txBody>
          <a:bodyPr rtlCol="0" anchor="ctr"/>
          <a:lstStyle/>
          <a:p>
            <a:pPr algn="r"/>
            <a:endParaRPr lang="pt-BR"/>
          </a:p>
        </p:txBody>
      </p:sp>
      <p:sp>
        <p:nvSpPr>
          <p:cNvPr id="20" name="Forma Livre: Forma 19">
            <a:extLst>
              <a:ext uri="{FF2B5EF4-FFF2-40B4-BE49-F238E27FC236}">
                <a16:creationId xmlns:a16="http://schemas.microsoft.com/office/drawing/2014/main" id="{E321544C-EBC8-4702-9457-89300B8D8FB2}"/>
              </a:ext>
            </a:extLst>
          </p:cNvPr>
          <p:cNvSpPr/>
          <p:nvPr/>
        </p:nvSpPr>
        <p:spPr>
          <a:xfrm>
            <a:off x="8200547" y="1388382"/>
            <a:ext cx="2104547" cy="2080260"/>
          </a:xfrm>
          <a:custGeom>
            <a:avLst/>
            <a:gdLst>
              <a:gd name="connsiteX0" fmla="*/ 0 w 5226367"/>
              <a:gd name="connsiteY0" fmla="*/ 0 h 2080260"/>
              <a:gd name="connsiteX1" fmla="*/ 5226368 w 5226367"/>
              <a:gd name="connsiteY1" fmla="*/ 0 h 2080260"/>
              <a:gd name="connsiteX2" fmla="*/ 5226368 w 5226367"/>
              <a:gd name="connsiteY2" fmla="*/ 2080260 h 2080260"/>
              <a:gd name="connsiteX3" fmla="*/ 0 w 5226367"/>
              <a:gd name="connsiteY3" fmla="*/ 2080260 h 2080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6367" h="2080260">
                <a:moveTo>
                  <a:pt x="0" y="0"/>
                </a:moveTo>
                <a:lnTo>
                  <a:pt x="5226368" y="0"/>
                </a:lnTo>
                <a:lnTo>
                  <a:pt x="5226368" y="2080260"/>
                </a:lnTo>
                <a:lnTo>
                  <a:pt x="0" y="2080260"/>
                </a:lnTo>
                <a:close/>
              </a:path>
            </a:pathLst>
          </a:custGeom>
          <a:solidFill>
            <a:srgbClr val="10312B"/>
          </a:solidFill>
          <a:ln w="9525" cap="flat">
            <a:solidFill>
              <a:srgbClr val="D6D6CE"/>
            </a:solidFill>
            <a:prstDash val="solid"/>
            <a:miter/>
          </a:ln>
        </p:spPr>
        <p:txBody>
          <a:bodyPr rtlCol="0" anchor="ctr"/>
          <a:lstStyle/>
          <a:p>
            <a:pPr algn="r"/>
            <a:endParaRPr lang="pt-BR" dirty="0"/>
          </a:p>
        </p:txBody>
      </p:sp>
      <p:sp>
        <p:nvSpPr>
          <p:cNvPr id="21" name="Forma Livre: Forma 20">
            <a:extLst>
              <a:ext uri="{FF2B5EF4-FFF2-40B4-BE49-F238E27FC236}">
                <a16:creationId xmlns:a16="http://schemas.microsoft.com/office/drawing/2014/main" id="{D15C8191-1B80-4262-980B-7BA6766BF815}"/>
              </a:ext>
            </a:extLst>
          </p:cNvPr>
          <p:cNvSpPr/>
          <p:nvPr/>
        </p:nvSpPr>
        <p:spPr>
          <a:xfrm>
            <a:off x="743428" y="3839839"/>
            <a:ext cx="2104547" cy="2080260"/>
          </a:xfrm>
          <a:custGeom>
            <a:avLst/>
            <a:gdLst>
              <a:gd name="connsiteX0" fmla="*/ 0 w 5226367"/>
              <a:gd name="connsiteY0" fmla="*/ 0 h 2080260"/>
              <a:gd name="connsiteX1" fmla="*/ 5226368 w 5226367"/>
              <a:gd name="connsiteY1" fmla="*/ 0 h 2080260"/>
              <a:gd name="connsiteX2" fmla="*/ 5226368 w 5226367"/>
              <a:gd name="connsiteY2" fmla="*/ 2080260 h 2080260"/>
              <a:gd name="connsiteX3" fmla="*/ 0 w 5226367"/>
              <a:gd name="connsiteY3" fmla="*/ 2080260 h 2080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6367" h="2080260">
                <a:moveTo>
                  <a:pt x="0" y="0"/>
                </a:moveTo>
                <a:lnTo>
                  <a:pt x="5226368" y="0"/>
                </a:lnTo>
                <a:lnTo>
                  <a:pt x="5226368" y="2080260"/>
                </a:lnTo>
                <a:lnTo>
                  <a:pt x="0" y="2080260"/>
                </a:lnTo>
                <a:close/>
              </a:path>
            </a:pathLst>
          </a:custGeom>
          <a:noFill/>
          <a:ln w="9525" cap="flat">
            <a:solidFill>
              <a:srgbClr val="D6D6CE"/>
            </a:solidFill>
            <a:prstDash val="solid"/>
            <a:miter/>
          </a:ln>
        </p:spPr>
        <p:txBody>
          <a:bodyPr rtlCol="0" anchor="ctr"/>
          <a:lstStyle/>
          <a:p>
            <a:pPr algn="r"/>
            <a:endParaRPr lang="pt-BR"/>
          </a:p>
        </p:txBody>
      </p:sp>
      <p:sp>
        <p:nvSpPr>
          <p:cNvPr id="22" name="Forma Livre: Forma 21">
            <a:extLst>
              <a:ext uri="{FF2B5EF4-FFF2-40B4-BE49-F238E27FC236}">
                <a16:creationId xmlns:a16="http://schemas.microsoft.com/office/drawing/2014/main" id="{93EBCFF7-2C76-46D7-8EDD-049288070F0D}"/>
              </a:ext>
            </a:extLst>
          </p:cNvPr>
          <p:cNvSpPr/>
          <p:nvPr/>
        </p:nvSpPr>
        <p:spPr>
          <a:xfrm>
            <a:off x="2847975" y="3839839"/>
            <a:ext cx="2104547" cy="2080260"/>
          </a:xfrm>
          <a:custGeom>
            <a:avLst/>
            <a:gdLst>
              <a:gd name="connsiteX0" fmla="*/ 0 w 5226367"/>
              <a:gd name="connsiteY0" fmla="*/ 0 h 2080260"/>
              <a:gd name="connsiteX1" fmla="*/ 5226368 w 5226367"/>
              <a:gd name="connsiteY1" fmla="*/ 0 h 2080260"/>
              <a:gd name="connsiteX2" fmla="*/ 5226368 w 5226367"/>
              <a:gd name="connsiteY2" fmla="*/ 2080260 h 2080260"/>
              <a:gd name="connsiteX3" fmla="*/ 0 w 5226367"/>
              <a:gd name="connsiteY3" fmla="*/ 2080260 h 2080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6367" h="2080260">
                <a:moveTo>
                  <a:pt x="0" y="0"/>
                </a:moveTo>
                <a:lnTo>
                  <a:pt x="5226368" y="0"/>
                </a:lnTo>
                <a:lnTo>
                  <a:pt x="5226368" y="2080260"/>
                </a:lnTo>
                <a:lnTo>
                  <a:pt x="0" y="2080260"/>
                </a:lnTo>
                <a:close/>
              </a:path>
            </a:pathLst>
          </a:custGeom>
          <a:solidFill>
            <a:srgbClr val="002A3A"/>
          </a:solidFill>
          <a:ln w="9525" cap="flat">
            <a:solidFill>
              <a:srgbClr val="D6D6CE"/>
            </a:solidFill>
            <a:prstDash val="solid"/>
            <a:miter/>
          </a:ln>
        </p:spPr>
        <p:txBody>
          <a:bodyPr rtlCol="0" anchor="ctr"/>
          <a:lstStyle/>
          <a:p>
            <a:pPr algn="r"/>
            <a:endParaRPr lang="pt-BR" dirty="0"/>
          </a:p>
        </p:txBody>
      </p:sp>
      <p:sp>
        <p:nvSpPr>
          <p:cNvPr id="23" name="Forma Livre: Forma 22">
            <a:extLst>
              <a:ext uri="{FF2B5EF4-FFF2-40B4-BE49-F238E27FC236}">
                <a16:creationId xmlns:a16="http://schemas.microsoft.com/office/drawing/2014/main" id="{954C550B-3994-43BC-8631-0CE797B3E927}"/>
              </a:ext>
            </a:extLst>
          </p:cNvPr>
          <p:cNvSpPr/>
          <p:nvPr/>
        </p:nvSpPr>
        <p:spPr>
          <a:xfrm>
            <a:off x="6096000" y="3839839"/>
            <a:ext cx="2104547" cy="2080260"/>
          </a:xfrm>
          <a:custGeom>
            <a:avLst/>
            <a:gdLst>
              <a:gd name="connsiteX0" fmla="*/ 0 w 5226367"/>
              <a:gd name="connsiteY0" fmla="*/ 0 h 2080260"/>
              <a:gd name="connsiteX1" fmla="*/ 5226368 w 5226367"/>
              <a:gd name="connsiteY1" fmla="*/ 0 h 2080260"/>
              <a:gd name="connsiteX2" fmla="*/ 5226368 w 5226367"/>
              <a:gd name="connsiteY2" fmla="*/ 2080260 h 2080260"/>
              <a:gd name="connsiteX3" fmla="*/ 0 w 5226367"/>
              <a:gd name="connsiteY3" fmla="*/ 2080260 h 2080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6367" h="2080260">
                <a:moveTo>
                  <a:pt x="0" y="0"/>
                </a:moveTo>
                <a:lnTo>
                  <a:pt x="5226368" y="0"/>
                </a:lnTo>
                <a:lnTo>
                  <a:pt x="5226368" y="2080260"/>
                </a:lnTo>
                <a:lnTo>
                  <a:pt x="0" y="2080260"/>
                </a:lnTo>
                <a:close/>
              </a:path>
            </a:pathLst>
          </a:custGeom>
          <a:noFill/>
          <a:ln w="9525" cap="flat">
            <a:solidFill>
              <a:srgbClr val="D6D6CE"/>
            </a:solidFill>
            <a:prstDash val="solid"/>
            <a:miter/>
          </a:ln>
        </p:spPr>
        <p:txBody>
          <a:bodyPr rtlCol="0" anchor="ctr"/>
          <a:lstStyle/>
          <a:p>
            <a:pPr algn="r"/>
            <a:endParaRPr lang="pt-BR"/>
          </a:p>
        </p:txBody>
      </p:sp>
      <p:sp>
        <p:nvSpPr>
          <p:cNvPr id="24" name="Forma Livre: Forma 23">
            <a:extLst>
              <a:ext uri="{FF2B5EF4-FFF2-40B4-BE49-F238E27FC236}">
                <a16:creationId xmlns:a16="http://schemas.microsoft.com/office/drawing/2014/main" id="{7D73A899-BB79-4004-B7AF-1DABB1780F4B}"/>
              </a:ext>
            </a:extLst>
          </p:cNvPr>
          <p:cNvSpPr/>
          <p:nvPr/>
        </p:nvSpPr>
        <p:spPr>
          <a:xfrm>
            <a:off x="8200547" y="3839839"/>
            <a:ext cx="2104547" cy="2080260"/>
          </a:xfrm>
          <a:custGeom>
            <a:avLst/>
            <a:gdLst>
              <a:gd name="connsiteX0" fmla="*/ 0 w 5226367"/>
              <a:gd name="connsiteY0" fmla="*/ 0 h 2080260"/>
              <a:gd name="connsiteX1" fmla="*/ 5226368 w 5226367"/>
              <a:gd name="connsiteY1" fmla="*/ 0 h 2080260"/>
              <a:gd name="connsiteX2" fmla="*/ 5226368 w 5226367"/>
              <a:gd name="connsiteY2" fmla="*/ 2080260 h 2080260"/>
              <a:gd name="connsiteX3" fmla="*/ 0 w 5226367"/>
              <a:gd name="connsiteY3" fmla="*/ 2080260 h 2080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6367" h="2080260">
                <a:moveTo>
                  <a:pt x="0" y="0"/>
                </a:moveTo>
                <a:lnTo>
                  <a:pt x="5226368" y="0"/>
                </a:lnTo>
                <a:lnTo>
                  <a:pt x="5226368" y="2080260"/>
                </a:lnTo>
                <a:lnTo>
                  <a:pt x="0" y="2080260"/>
                </a:lnTo>
                <a:close/>
              </a:path>
            </a:pathLst>
          </a:custGeom>
          <a:solidFill>
            <a:srgbClr val="002169"/>
          </a:solidFill>
          <a:ln w="9525" cap="flat">
            <a:solidFill>
              <a:srgbClr val="D6D6CE"/>
            </a:solidFill>
            <a:prstDash val="solid"/>
            <a:miter/>
          </a:ln>
        </p:spPr>
        <p:txBody>
          <a:bodyPr rtlCol="0" anchor="ctr"/>
          <a:lstStyle/>
          <a:p>
            <a:pPr algn="r"/>
            <a:endParaRPr lang="pt-BR" dirty="0"/>
          </a:p>
        </p:txBody>
      </p:sp>
      <p:pic>
        <p:nvPicPr>
          <p:cNvPr id="25" name="Gráfico 24">
            <a:extLst>
              <a:ext uri="{FF2B5EF4-FFF2-40B4-BE49-F238E27FC236}">
                <a16:creationId xmlns:a16="http://schemas.microsoft.com/office/drawing/2014/main" id="{79FD7B10-6AF3-4078-B416-98F1A194331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089489" y="2214512"/>
            <a:ext cx="1588402" cy="515386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195C7C43-C7B0-4DC2-A49F-09C7792E95E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576471" y="4557917"/>
            <a:ext cx="1352699" cy="622671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9287EE96-BF9E-4EA9-93C4-C53417F8A52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526324" y="2178471"/>
            <a:ext cx="1402846" cy="548984"/>
          </a:xfrm>
          <a:prstGeom prst="rect">
            <a:avLst/>
          </a:prstGeom>
        </p:spPr>
      </p:pic>
      <p:pic>
        <p:nvPicPr>
          <p:cNvPr id="31" name="Gráfico 30">
            <a:extLst>
              <a:ext uri="{FF2B5EF4-FFF2-40B4-BE49-F238E27FC236}">
                <a16:creationId xmlns:a16="http://schemas.microsoft.com/office/drawing/2014/main" id="{02D0C323-6F6F-432D-B906-657082A757E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3169198" y="4579350"/>
            <a:ext cx="1462101" cy="604034"/>
          </a:xfrm>
          <a:prstGeom prst="rect">
            <a:avLst/>
          </a:prstGeom>
        </p:spPr>
      </p:pic>
      <p:sp>
        <p:nvSpPr>
          <p:cNvPr id="32" name="CaixaDeTexto 31">
            <a:extLst>
              <a:ext uri="{FF2B5EF4-FFF2-40B4-BE49-F238E27FC236}">
                <a16:creationId xmlns:a16="http://schemas.microsoft.com/office/drawing/2014/main" id="{B4E879D1-342A-4065-9E33-C9C467DED358}"/>
              </a:ext>
            </a:extLst>
          </p:cNvPr>
          <p:cNvSpPr txBox="1"/>
          <p:nvPr/>
        </p:nvSpPr>
        <p:spPr>
          <a:xfrm>
            <a:off x="715488" y="1113192"/>
            <a:ext cx="189097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>
                <a:latin typeface="Segoe UI" panose="020B0502040204020203" pitchFamily="34" charset="0"/>
                <a:cs typeface="Segoe UI" panose="020B0502040204020203" pitchFamily="34" charset="0"/>
              </a:rPr>
              <a:t>Versão Positiva</a:t>
            </a:r>
          </a:p>
        </p:txBody>
      </p: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67215173-9FFB-47F0-8447-5191255AF52A}"/>
              </a:ext>
            </a:extLst>
          </p:cNvPr>
          <p:cNvSpPr txBox="1"/>
          <p:nvPr/>
        </p:nvSpPr>
        <p:spPr>
          <a:xfrm>
            <a:off x="2847975" y="1113192"/>
            <a:ext cx="189097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>
                <a:latin typeface="Segoe UI" panose="020B0502040204020203" pitchFamily="34" charset="0"/>
                <a:cs typeface="Segoe UI" panose="020B0502040204020203" pitchFamily="34" charset="0"/>
              </a:rPr>
              <a:t>Versão Negativa</a:t>
            </a:r>
          </a:p>
        </p:txBody>
      </p:sp>
      <p:sp>
        <p:nvSpPr>
          <p:cNvPr id="34" name="CaixaDeTexto 33">
            <a:extLst>
              <a:ext uri="{FF2B5EF4-FFF2-40B4-BE49-F238E27FC236}">
                <a16:creationId xmlns:a16="http://schemas.microsoft.com/office/drawing/2014/main" id="{8F889521-0AED-4EFA-B7C0-4FEDB4F1B7DD}"/>
              </a:ext>
            </a:extLst>
          </p:cNvPr>
          <p:cNvSpPr txBox="1"/>
          <p:nvPr/>
        </p:nvSpPr>
        <p:spPr>
          <a:xfrm>
            <a:off x="715488" y="3564649"/>
            <a:ext cx="189097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>
                <a:latin typeface="Segoe UI" panose="020B0502040204020203" pitchFamily="34" charset="0"/>
                <a:cs typeface="Segoe UI" panose="020B0502040204020203" pitchFamily="34" charset="0"/>
              </a:rPr>
              <a:t>Versão Positiva</a:t>
            </a:r>
          </a:p>
        </p:txBody>
      </p:sp>
      <p:sp>
        <p:nvSpPr>
          <p:cNvPr id="35" name="CaixaDeTexto 34">
            <a:extLst>
              <a:ext uri="{FF2B5EF4-FFF2-40B4-BE49-F238E27FC236}">
                <a16:creationId xmlns:a16="http://schemas.microsoft.com/office/drawing/2014/main" id="{62D78CD2-16B0-44D7-A995-89CF7041B05D}"/>
              </a:ext>
            </a:extLst>
          </p:cNvPr>
          <p:cNvSpPr txBox="1"/>
          <p:nvPr/>
        </p:nvSpPr>
        <p:spPr>
          <a:xfrm>
            <a:off x="2847975" y="3564649"/>
            <a:ext cx="189097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>
                <a:latin typeface="Segoe UI" panose="020B0502040204020203" pitchFamily="34" charset="0"/>
                <a:cs typeface="Segoe UI" panose="020B0502040204020203" pitchFamily="34" charset="0"/>
              </a:rPr>
              <a:t>Versão Negativa</a:t>
            </a:r>
          </a:p>
        </p:txBody>
      </p: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8135ED9C-98C3-4F61-9A6B-38CC6B022A25}"/>
              </a:ext>
            </a:extLst>
          </p:cNvPr>
          <p:cNvSpPr txBox="1"/>
          <p:nvPr/>
        </p:nvSpPr>
        <p:spPr>
          <a:xfrm>
            <a:off x="6068060" y="1142161"/>
            <a:ext cx="189097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>
                <a:latin typeface="Segoe UI" panose="020B0502040204020203" pitchFamily="34" charset="0"/>
                <a:cs typeface="Segoe UI" panose="020B0502040204020203" pitchFamily="34" charset="0"/>
              </a:rPr>
              <a:t>Versão Positiva</a:t>
            </a:r>
          </a:p>
        </p:txBody>
      </p:sp>
      <p:sp>
        <p:nvSpPr>
          <p:cNvPr id="37" name="CaixaDeTexto 36">
            <a:extLst>
              <a:ext uri="{FF2B5EF4-FFF2-40B4-BE49-F238E27FC236}">
                <a16:creationId xmlns:a16="http://schemas.microsoft.com/office/drawing/2014/main" id="{9AB5E896-F506-463D-A40B-60CD91FC729E}"/>
              </a:ext>
            </a:extLst>
          </p:cNvPr>
          <p:cNvSpPr txBox="1"/>
          <p:nvPr/>
        </p:nvSpPr>
        <p:spPr>
          <a:xfrm>
            <a:off x="8200547" y="1142161"/>
            <a:ext cx="189097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>
                <a:latin typeface="Segoe UI" panose="020B0502040204020203" pitchFamily="34" charset="0"/>
                <a:cs typeface="Segoe UI" panose="020B0502040204020203" pitchFamily="34" charset="0"/>
              </a:rPr>
              <a:t>Versão Negativa</a:t>
            </a:r>
          </a:p>
        </p:txBody>
      </p:sp>
      <p:sp>
        <p:nvSpPr>
          <p:cNvPr id="38" name="CaixaDeTexto 37">
            <a:extLst>
              <a:ext uri="{FF2B5EF4-FFF2-40B4-BE49-F238E27FC236}">
                <a16:creationId xmlns:a16="http://schemas.microsoft.com/office/drawing/2014/main" id="{7F315CDC-2134-430F-88C9-A7B107004A38}"/>
              </a:ext>
            </a:extLst>
          </p:cNvPr>
          <p:cNvSpPr txBox="1"/>
          <p:nvPr/>
        </p:nvSpPr>
        <p:spPr>
          <a:xfrm>
            <a:off x="6068060" y="3593618"/>
            <a:ext cx="189097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>
                <a:latin typeface="Segoe UI" panose="020B0502040204020203" pitchFamily="34" charset="0"/>
                <a:cs typeface="Segoe UI" panose="020B0502040204020203" pitchFamily="34" charset="0"/>
              </a:rPr>
              <a:t>Versão Positiva</a:t>
            </a:r>
          </a:p>
        </p:txBody>
      </p:sp>
      <p:sp>
        <p:nvSpPr>
          <p:cNvPr id="39" name="CaixaDeTexto 38">
            <a:extLst>
              <a:ext uri="{FF2B5EF4-FFF2-40B4-BE49-F238E27FC236}">
                <a16:creationId xmlns:a16="http://schemas.microsoft.com/office/drawing/2014/main" id="{42924DC5-B524-45F8-99B4-E71273A52711}"/>
              </a:ext>
            </a:extLst>
          </p:cNvPr>
          <p:cNvSpPr txBox="1"/>
          <p:nvPr/>
        </p:nvSpPr>
        <p:spPr>
          <a:xfrm>
            <a:off x="8200547" y="3593618"/>
            <a:ext cx="189097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>
                <a:latin typeface="Segoe UI" panose="020B0502040204020203" pitchFamily="34" charset="0"/>
                <a:cs typeface="Segoe UI" panose="020B0502040204020203" pitchFamily="34" charset="0"/>
              </a:rPr>
              <a:t>Versão Negativa</a:t>
            </a:r>
          </a:p>
        </p:txBody>
      </p:sp>
    </p:spTree>
    <p:extLst>
      <p:ext uri="{BB962C8B-B14F-4D97-AF65-F5344CB8AC3E}">
        <p14:creationId xmlns:p14="http://schemas.microsoft.com/office/powerpoint/2010/main" val="338536056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D57093A2-6B64-462E-9903-8C61242FFD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Atlantica </a:t>
            </a:r>
            <a:r>
              <a:rPr lang="pt-BR" dirty="0" err="1"/>
              <a:t>Residences</a:t>
            </a:r>
            <a:endParaRPr lang="pt-BR" dirty="0"/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32CCAE7-BECE-42BB-A31D-CA70A6A4464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Produtos</a:t>
            </a:r>
          </a:p>
        </p:txBody>
      </p:sp>
      <p:pic>
        <p:nvPicPr>
          <p:cNvPr id="6" name="Gráfico 5">
            <a:extLst>
              <a:ext uri="{FF2B5EF4-FFF2-40B4-BE49-F238E27FC236}">
                <a16:creationId xmlns:a16="http://schemas.microsoft.com/office/drawing/2014/main" id="{D0269045-185A-412B-B5C0-C548E51A35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22860" y="5283612"/>
            <a:ext cx="1604963" cy="659985"/>
          </a:xfrm>
          <a:prstGeom prst="rect">
            <a:avLst/>
          </a:prstGeom>
        </p:spPr>
      </p:pic>
      <p:sp>
        <p:nvSpPr>
          <p:cNvPr id="17" name="Forma Livre: Forma 16">
            <a:extLst>
              <a:ext uri="{FF2B5EF4-FFF2-40B4-BE49-F238E27FC236}">
                <a16:creationId xmlns:a16="http://schemas.microsoft.com/office/drawing/2014/main" id="{9917D873-D11C-40FC-8C5D-E0E10C5C9315}"/>
              </a:ext>
            </a:extLst>
          </p:cNvPr>
          <p:cNvSpPr/>
          <p:nvPr/>
        </p:nvSpPr>
        <p:spPr>
          <a:xfrm rot="16200000">
            <a:off x="181930" y="2105980"/>
            <a:ext cx="3667125" cy="2274570"/>
          </a:xfrm>
          <a:custGeom>
            <a:avLst/>
            <a:gdLst>
              <a:gd name="connsiteX0" fmla="*/ 0 w 5226367"/>
              <a:gd name="connsiteY0" fmla="*/ 0 h 2080260"/>
              <a:gd name="connsiteX1" fmla="*/ 5226368 w 5226367"/>
              <a:gd name="connsiteY1" fmla="*/ 0 h 2080260"/>
              <a:gd name="connsiteX2" fmla="*/ 5226368 w 5226367"/>
              <a:gd name="connsiteY2" fmla="*/ 2080260 h 2080260"/>
              <a:gd name="connsiteX3" fmla="*/ 0 w 5226367"/>
              <a:gd name="connsiteY3" fmla="*/ 2080260 h 2080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6367" h="2080260">
                <a:moveTo>
                  <a:pt x="0" y="0"/>
                </a:moveTo>
                <a:lnTo>
                  <a:pt x="5226368" y="0"/>
                </a:lnTo>
                <a:lnTo>
                  <a:pt x="5226368" y="2080260"/>
                </a:lnTo>
                <a:lnTo>
                  <a:pt x="0" y="2080260"/>
                </a:ln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D6D6CE"/>
            </a:solidFill>
            <a:prstDash val="solid"/>
            <a:miter/>
          </a:ln>
        </p:spPr>
        <p:txBody>
          <a:bodyPr rtlCol="0" anchor="ctr"/>
          <a:lstStyle/>
          <a:p>
            <a:pPr algn="r"/>
            <a:endParaRPr lang="pt-BR" dirty="0"/>
          </a:p>
        </p:txBody>
      </p:sp>
      <p:sp>
        <p:nvSpPr>
          <p:cNvPr id="18" name="Forma Livre: Forma 17">
            <a:extLst>
              <a:ext uri="{FF2B5EF4-FFF2-40B4-BE49-F238E27FC236}">
                <a16:creationId xmlns:a16="http://schemas.microsoft.com/office/drawing/2014/main" id="{F847AA44-C30A-46FB-AD0C-413454EF3C27}"/>
              </a:ext>
            </a:extLst>
          </p:cNvPr>
          <p:cNvSpPr/>
          <p:nvPr/>
        </p:nvSpPr>
        <p:spPr>
          <a:xfrm rot="16200000">
            <a:off x="2791780" y="2105981"/>
            <a:ext cx="3667125" cy="2274570"/>
          </a:xfrm>
          <a:custGeom>
            <a:avLst/>
            <a:gdLst>
              <a:gd name="connsiteX0" fmla="*/ 0 w 5226367"/>
              <a:gd name="connsiteY0" fmla="*/ 0 h 2080260"/>
              <a:gd name="connsiteX1" fmla="*/ 5226368 w 5226367"/>
              <a:gd name="connsiteY1" fmla="*/ 0 h 2080260"/>
              <a:gd name="connsiteX2" fmla="*/ 5226368 w 5226367"/>
              <a:gd name="connsiteY2" fmla="*/ 2080260 h 2080260"/>
              <a:gd name="connsiteX3" fmla="*/ 0 w 5226367"/>
              <a:gd name="connsiteY3" fmla="*/ 2080260 h 2080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6367" h="2080260">
                <a:moveTo>
                  <a:pt x="0" y="0"/>
                </a:moveTo>
                <a:lnTo>
                  <a:pt x="5226368" y="0"/>
                </a:lnTo>
                <a:lnTo>
                  <a:pt x="5226368" y="2080260"/>
                </a:lnTo>
                <a:lnTo>
                  <a:pt x="0" y="2080260"/>
                </a:lnTo>
                <a:close/>
              </a:path>
            </a:pathLst>
          </a:custGeom>
          <a:noFill/>
          <a:ln w="9525" cap="flat">
            <a:solidFill>
              <a:srgbClr val="D6D6CE"/>
            </a:solidFill>
            <a:prstDash val="solid"/>
            <a:miter/>
          </a:ln>
        </p:spPr>
        <p:txBody>
          <a:bodyPr rtlCol="0" anchor="ctr"/>
          <a:lstStyle/>
          <a:p>
            <a:pPr algn="r"/>
            <a:endParaRPr lang="pt-BR"/>
          </a:p>
        </p:txBody>
      </p:sp>
      <p:sp>
        <p:nvSpPr>
          <p:cNvPr id="19" name="Forma Livre: Forma 18">
            <a:extLst>
              <a:ext uri="{FF2B5EF4-FFF2-40B4-BE49-F238E27FC236}">
                <a16:creationId xmlns:a16="http://schemas.microsoft.com/office/drawing/2014/main" id="{BE7FAEF8-0DCC-439C-A78A-E9EA3DEDC87F}"/>
              </a:ext>
            </a:extLst>
          </p:cNvPr>
          <p:cNvSpPr/>
          <p:nvPr/>
        </p:nvSpPr>
        <p:spPr>
          <a:xfrm rot="16200000">
            <a:off x="5401630" y="2105981"/>
            <a:ext cx="3667125" cy="2274570"/>
          </a:xfrm>
          <a:custGeom>
            <a:avLst/>
            <a:gdLst>
              <a:gd name="connsiteX0" fmla="*/ 0 w 5226367"/>
              <a:gd name="connsiteY0" fmla="*/ 0 h 2080260"/>
              <a:gd name="connsiteX1" fmla="*/ 5226368 w 5226367"/>
              <a:gd name="connsiteY1" fmla="*/ 0 h 2080260"/>
              <a:gd name="connsiteX2" fmla="*/ 5226368 w 5226367"/>
              <a:gd name="connsiteY2" fmla="*/ 2080260 h 2080260"/>
              <a:gd name="connsiteX3" fmla="*/ 0 w 5226367"/>
              <a:gd name="connsiteY3" fmla="*/ 2080260 h 2080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6367" h="2080260">
                <a:moveTo>
                  <a:pt x="0" y="0"/>
                </a:moveTo>
                <a:lnTo>
                  <a:pt x="5226368" y="0"/>
                </a:lnTo>
                <a:lnTo>
                  <a:pt x="5226368" y="2080260"/>
                </a:lnTo>
                <a:lnTo>
                  <a:pt x="0" y="2080260"/>
                </a:lnTo>
                <a:close/>
              </a:path>
            </a:pathLst>
          </a:custGeom>
          <a:noFill/>
          <a:ln w="9525" cap="flat">
            <a:solidFill>
              <a:srgbClr val="D6D6CE"/>
            </a:solidFill>
            <a:prstDash val="solid"/>
            <a:miter/>
          </a:ln>
        </p:spPr>
        <p:txBody>
          <a:bodyPr rtlCol="0" anchor="ctr"/>
          <a:lstStyle/>
          <a:p>
            <a:pPr algn="r"/>
            <a:endParaRPr lang="pt-BR"/>
          </a:p>
        </p:txBody>
      </p:sp>
      <p:sp>
        <p:nvSpPr>
          <p:cNvPr id="20" name="Forma Livre: Forma 19">
            <a:extLst>
              <a:ext uri="{FF2B5EF4-FFF2-40B4-BE49-F238E27FC236}">
                <a16:creationId xmlns:a16="http://schemas.microsoft.com/office/drawing/2014/main" id="{2B9237DF-7938-4FB1-80AB-F242BD9D0432}"/>
              </a:ext>
            </a:extLst>
          </p:cNvPr>
          <p:cNvSpPr/>
          <p:nvPr/>
        </p:nvSpPr>
        <p:spPr>
          <a:xfrm rot="16200000">
            <a:off x="8011481" y="2105980"/>
            <a:ext cx="3667125" cy="2274570"/>
          </a:xfrm>
          <a:custGeom>
            <a:avLst/>
            <a:gdLst>
              <a:gd name="connsiteX0" fmla="*/ 0 w 5226367"/>
              <a:gd name="connsiteY0" fmla="*/ 0 h 2080260"/>
              <a:gd name="connsiteX1" fmla="*/ 5226368 w 5226367"/>
              <a:gd name="connsiteY1" fmla="*/ 0 h 2080260"/>
              <a:gd name="connsiteX2" fmla="*/ 5226368 w 5226367"/>
              <a:gd name="connsiteY2" fmla="*/ 2080260 h 2080260"/>
              <a:gd name="connsiteX3" fmla="*/ 0 w 5226367"/>
              <a:gd name="connsiteY3" fmla="*/ 2080260 h 2080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6367" h="2080260">
                <a:moveTo>
                  <a:pt x="0" y="0"/>
                </a:moveTo>
                <a:lnTo>
                  <a:pt x="5226368" y="0"/>
                </a:lnTo>
                <a:lnTo>
                  <a:pt x="5226368" y="2080260"/>
                </a:lnTo>
                <a:lnTo>
                  <a:pt x="0" y="2080260"/>
                </a:lnTo>
                <a:close/>
              </a:path>
            </a:pathLst>
          </a:custGeom>
          <a:noFill/>
          <a:ln w="9525" cap="flat">
            <a:solidFill>
              <a:srgbClr val="D6D6CE"/>
            </a:solidFill>
            <a:prstDash val="solid"/>
            <a:miter/>
          </a:ln>
        </p:spPr>
        <p:txBody>
          <a:bodyPr rtlCol="0" anchor="ctr"/>
          <a:lstStyle/>
          <a:p>
            <a:pPr algn="r"/>
            <a:endParaRPr lang="pt-BR"/>
          </a:p>
        </p:txBody>
      </p:sp>
      <p:pic>
        <p:nvPicPr>
          <p:cNvPr id="21" name="Gráfico 20">
            <a:extLst>
              <a:ext uri="{FF2B5EF4-FFF2-40B4-BE49-F238E27FC236}">
                <a16:creationId xmlns:a16="http://schemas.microsoft.com/office/drawing/2014/main" id="{0630E3DF-33F0-4543-94C1-D81B5F9F41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41897" y="5324864"/>
            <a:ext cx="1947189" cy="618733"/>
          </a:xfrm>
          <a:prstGeom prst="rect">
            <a:avLst/>
          </a:prstGeom>
        </p:spPr>
      </p:pic>
      <p:pic>
        <p:nvPicPr>
          <p:cNvPr id="23" name="Gráfico 22">
            <a:extLst>
              <a:ext uri="{FF2B5EF4-FFF2-40B4-BE49-F238E27FC236}">
                <a16:creationId xmlns:a16="http://schemas.microsoft.com/office/drawing/2014/main" id="{3038997B-1A2C-4B02-B616-16B5FAB3A1E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24611" y="5274595"/>
            <a:ext cx="1704361" cy="669002"/>
          </a:xfrm>
          <a:prstGeom prst="rect">
            <a:avLst/>
          </a:prstGeom>
        </p:spPr>
      </p:pic>
      <p:pic>
        <p:nvPicPr>
          <p:cNvPr id="25" name="Gráfico 24">
            <a:extLst>
              <a:ext uri="{FF2B5EF4-FFF2-40B4-BE49-F238E27FC236}">
                <a16:creationId xmlns:a16="http://schemas.microsoft.com/office/drawing/2014/main" id="{268DDC9B-4A02-4E70-B0AC-2C5BDA07FFD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054873" y="5192662"/>
            <a:ext cx="1580339" cy="738476"/>
          </a:xfrm>
          <a:prstGeom prst="rect">
            <a:avLst/>
          </a:prstGeom>
        </p:spPr>
      </p:pic>
      <p:pic>
        <p:nvPicPr>
          <p:cNvPr id="27" name="Imagem 26">
            <a:extLst>
              <a:ext uri="{FF2B5EF4-FFF2-40B4-BE49-F238E27FC236}">
                <a16:creationId xmlns:a16="http://schemas.microsoft.com/office/drawing/2014/main" id="{8E067A46-8C26-4F87-AF3B-CB524E5FF8D9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562" r="23304" b="4609"/>
          <a:stretch/>
        </p:blipFill>
        <p:spPr>
          <a:xfrm>
            <a:off x="3577592" y="1494204"/>
            <a:ext cx="2095500" cy="3498125"/>
          </a:xfrm>
          <a:prstGeom prst="rect">
            <a:avLst/>
          </a:prstGeom>
        </p:spPr>
      </p:pic>
      <p:pic>
        <p:nvPicPr>
          <p:cNvPr id="28" name="Imagem 27">
            <a:extLst>
              <a:ext uri="{FF2B5EF4-FFF2-40B4-BE49-F238E27FC236}">
                <a16:creationId xmlns:a16="http://schemas.microsoft.com/office/drawing/2014/main" id="{6BE20C28-A56C-4D6F-9526-B6715FC8403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013" r="30013"/>
          <a:stretch/>
        </p:blipFill>
        <p:spPr>
          <a:xfrm>
            <a:off x="967742" y="1494202"/>
            <a:ext cx="2095500" cy="3498125"/>
          </a:xfrm>
          <a:prstGeom prst="rect">
            <a:avLst/>
          </a:prstGeom>
        </p:spPr>
      </p:pic>
      <p:pic>
        <p:nvPicPr>
          <p:cNvPr id="29" name="Imagem 28">
            <a:extLst>
              <a:ext uri="{FF2B5EF4-FFF2-40B4-BE49-F238E27FC236}">
                <a16:creationId xmlns:a16="http://schemas.microsoft.com/office/drawing/2014/main" id="{FC2D05AA-2D93-4B8A-AA14-931FD48745F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035" r="30035"/>
          <a:stretch/>
        </p:blipFill>
        <p:spPr>
          <a:xfrm>
            <a:off x="6187443" y="1494202"/>
            <a:ext cx="2095500" cy="3498125"/>
          </a:xfrm>
          <a:prstGeom prst="rect">
            <a:avLst/>
          </a:prstGeom>
        </p:spPr>
      </p:pic>
      <p:pic>
        <p:nvPicPr>
          <p:cNvPr id="30" name="Imagem 29">
            <a:extLst>
              <a:ext uri="{FF2B5EF4-FFF2-40B4-BE49-F238E27FC236}">
                <a16:creationId xmlns:a16="http://schemas.microsoft.com/office/drawing/2014/main" id="{35B96563-7763-43C2-B870-8D483BC3F08F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112" r="19918"/>
          <a:stretch/>
        </p:blipFill>
        <p:spPr>
          <a:xfrm>
            <a:off x="8797293" y="1494202"/>
            <a:ext cx="2095500" cy="3498125"/>
          </a:xfrm>
          <a:prstGeom prst="rect">
            <a:avLst/>
          </a:prstGeom>
        </p:spPr>
      </p:pic>
      <p:sp>
        <p:nvSpPr>
          <p:cNvPr id="31" name="Forma Livre: Forma 30">
            <a:extLst>
              <a:ext uri="{FF2B5EF4-FFF2-40B4-BE49-F238E27FC236}">
                <a16:creationId xmlns:a16="http://schemas.microsoft.com/office/drawing/2014/main" id="{6DA02289-667B-4FB4-9E03-FEE5439CFBD0}"/>
              </a:ext>
            </a:extLst>
          </p:cNvPr>
          <p:cNvSpPr/>
          <p:nvPr/>
        </p:nvSpPr>
        <p:spPr>
          <a:xfrm>
            <a:off x="967742" y="4674157"/>
            <a:ext cx="2095500" cy="318170"/>
          </a:xfrm>
          <a:custGeom>
            <a:avLst/>
            <a:gdLst>
              <a:gd name="connsiteX0" fmla="*/ 0 w 5226367"/>
              <a:gd name="connsiteY0" fmla="*/ 0 h 2080260"/>
              <a:gd name="connsiteX1" fmla="*/ 5226368 w 5226367"/>
              <a:gd name="connsiteY1" fmla="*/ 0 h 2080260"/>
              <a:gd name="connsiteX2" fmla="*/ 5226368 w 5226367"/>
              <a:gd name="connsiteY2" fmla="*/ 2080260 h 2080260"/>
              <a:gd name="connsiteX3" fmla="*/ 0 w 5226367"/>
              <a:gd name="connsiteY3" fmla="*/ 2080260 h 2080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6367" h="2080260">
                <a:moveTo>
                  <a:pt x="0" y="0"/>
                </a:moveTo>
                <a:lnTo>
                  <a:pt x="5226368" y="0"/>
                </a:lnTo>
                <a:lnTo>
                  <a:pt x="5226368" y="2080260"/>
                </a:lnTo>
                <a:lnTo>
                  <a:pt x="0" y="2080260"/>
                </a:lnTo>
                <a:close/>
              </a:path>
            </a:pathLst>
          </a:custGeom>
          <a:solidFill>
            <a:srgbClr val="3E479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ctr"/>
            <a:r>
              <a:rPr lang="pt-BR" sz="1200" dirty="0">
                <a:solidFill>
                  <a:schemeClr val="bg1"/>
                </a:solidFill>
              </a:rPr>
              <a:t>Básico e funcional</a:t>
            </a:r>
          </a:p>
        </p:txBody>
      </p:sp>
      <p:sp>
        <p:nvSpPr>
          <p:cNvPr id="32" name="Forma Livre: Forma 31">
            <a:extLst>
              <a:ext uri="{FF2B5EF4-FFF2-40B4-BE49-F238E27FC236}">
                <a16:creationId xmlns:a16="http://schemas.microsoft.com/office/drawing/2014/main" id="{E527C3F5-63FF-426B-902F-77B8A11C9F4C}"/>
              </a:ext>
            </a:extLst>
          </p:cNvPr>
          <p:cNvSpPr/>
          <p:nvPr/>
        </p:nvSpPr>
        <p:spPr>
          <a:xfrm>
            <a:off x="3577592" y="4678224"/>
            <a:ext cx="2095500" cy="318170"/>
          </a:xfrm>
          <a:custGeom>
            <a:avLst/>
            <a:gdLst>
              <a:gd name="connsiteX0" fmla="*/ 0 w 5226367"/>
              <a:gd name="connsiteY0" fmla="*/ 0 h 2080260"/>
              <a:gd name="connsiteX1" fmla="*/ 5226368 w 5226367"/>
              <a:gd name="connsiteY1" fmla="*/ 0 h 2080260"/>
              <a:gd name="connsiteX2" fmla="*/ 5226368 w 5226367"/>
              <a:gd name="connsiteY2" fmla="*/ 2080260 h 2080260"/>
              <a:gd name="connsiteX3" fmla="*/ 0 w 5226367"/>
              <a:gd name="connsiteY3" fmla="*/ 2080260 h 2080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6367" h="2080260">
                <a:moveTo>
                  <a:pt x="0" y="0"/>
                </a:moveTo>
                <a:lnTo>
                  <a:pt x="5226368" y="0"/>
                </a:lnTo>
                <a:lnTo>
                  <a:pt x="5226368" y="2080260"/>
                </a:lnTo>
                <a:lnTo>
                  <a:pt x="0" y="2080260"/>
                </a:lnTo>
                <a:close/>
              </a:path>
            </a:pathLst>
          </a:custGeom>
          <a:solidFill>
            <a:srgbClr val="3E479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ctr"/>
            <a:r>
              <a:rPr lang="pt-BR" sz="1200" dirty="0">
                <a:solidFill>
                  <a:schemeClr val="bg1"/>
                </a:solidFill>
              </a:rPr>
              <a:t>Moderno, prático e atual</a:t>
            </a:r>
          </a:p>
        </p:txBody>
      </p:sp>
      <p:sp>
        <p:nvSpPr>
          <p:cNvPr id="33" name="Forma Livre: Forma 32">
            <a:extLst>
              <a:ext uri="{FF2B5EF4-FFF2-40B4-BE49-F238E27FC236}">
                <a16:creationId xmlns:a16="http://schemas.microsoft.com/office/drawing/2014/main" id="{38B39FB8-62BA-457E-9794-82D1147A3CAC}"/>
              </a:ext>
            </a:extLst>
          </p:cNvPr>
          <p:cNvSpPr/>
          <p:nvPr/>
        </p:nvSpPr>
        <p:spPr>
          <a:xfrm>
            <a:off x="6187442" y="4674157"/>
            <a:ext cx="2095500" cy="318170"/>
          </a:xfrm>
          <a:custGeom>
            <a:avLst/>
            <a:gdLst>
              <a:gd name="connsiteX0" fmla="*/ 0 w 5226367"/>
              <a:gd name="connsiteY0" fmla="*/ 0 h 2080260"/>
              <a:gd name="connsiteX1" fmla="*/ 5226368 w 5226367"/>
              <a:gd name="connsiteY1" fmla="*/ 0 h 2080260"/>
              <a:gd name="connsiteX2" fmla="*/ 5226368 w 5226367"/>
              <a:gd name="connsiteY2" fmla="*/ 2080260 h 2080260"/>
              <a:gd name="connsiteX3" fmla="*/ 0 w 5226367"/>
              <a:gd name="connsiteY3" fmla="*/ 2080260 h 2080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6367" h="2080260">
                <a:moveTo>
                  <a:pt x="0" y="0"/>
                </a:moveTo>
                <a:lnTo>
                  <a:pt x="5226368" y="0"/>
                </a:lnTo>
                <a:lnTo>
                  <a:pt x="5226368" y="2080260"/>
                </a:lnTo>
                <a:lnTo>
                  <a:pt x="0" y="2080260"/>
                </a:lnTo>
                <a:close/>
              </a:path>
            </a:pathLst>
          </a:custGeom>
          <a:solidFill>
            <a:srgbClr val="3E479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ctr"/>
            <a:r>
              <a:rPr lang="pt-BR" sz="1200" dirty="0">
                <a:solidFill>
                  <a:schemeClr val="bg1"/>
                </a:solidFill>
              </a:rPr>
              <a:t>Contemporâneo e disruptivo</a:t>
            </a:r>
          </a:p>
        </p:txBody>
      </p:sp>
      <p:sp>
        <p:nvSpPr>
          <p:cNvPr id="34" name="Forma Livre: Forma 33">
            <a:extLst>
              <a:ext uri="{FF2B5EF4-FFF2-40B4-BE49-F238E27FC236}">
                <a16:creationId xmlns:a16="http://schemas.microsoft.com/office/drawing/2014/main" id="{0C17446D-3A8B-47A1-8AE4-10440B190C23}"/>
              </a:ext>
            </a:extLst>
          </p:cNvPr>
          <p:cNvSpPr/>
          <p:nvPr/>
        </p:nvSpPr>
        <p:spPr>
          <a:xfrm>
            <a:off x="8797293" y="4716408"/>
            <a:ext cx="2095500" cy="318170"/>
          </a:xfrm>
          <a:custGeom>
            <a:avLst/>
            <a:gdLst>
              <a:gd name="connsiteX0" fmla="*/ 0 w 5226367"/>
              <a:gd name="connsiteY0" fmla="*/ 0 h 2080260"/>
              <a:gd name="connsiteX1" fmla="*/ 5226368 w 5226367"/>
              <a:gd name="connsiteY1" fmla="*/ 0 h 2080260"/>
              <a:gd name="connsiteX2" fmla="*/ 5226368 w 5226367"/>
              <a:gd name="connsiteY2" fmla="*/ 2080260 h 2080260"/>
              <a:gd name="connsiteX3" fmla="*/ 0 w 5226367"/>
              <a:gd name="connsiteY3" fmla="*/ 2080260 h 2080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6367" h="2080260">
                <a:moveTo>
                  <a:pt x="0" y="0"/>
                </a:moveTo>
                <a:lnTo>
                  <a:pt x="5226368" y="0"/>
                </a:lnTo>
                <a:lnTo>
                  <a:pt x="5226368" y="2080260"/>
                </a:lnTo>
                <a:lnTo>
                  <a:pt x="0" y="2080260"/>
                </a:lnTo>
                <a:close/>
              </a:path>
            </a:pathLst>
          </a:custGeom>
          <a:solidFill>
            <a:srgbClr val="3E479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ctr"/>
            <a:r>
              <a:rPr lang="pt-BR" sz="1200" dirty="0">
                <a:solidFill>
                  <a:schemeClr val="bg1"/>
                </a:solidFill>
              </a:rPr>
              <a:t>Sofisticado e único</a:t>
            </a:r>
          </a:p>
        </p:txBody>
      </p:sp>
    </p:spTree>
    <p:extLst>
      <p:ext uri="{BB962C8B-B14F-4D97-AF65-F5344CB8AC3E}">
        <p14:creationId xmlns:p14="http://schemas.microsoft.com/office/powerpoint/2010/main" val="24366242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HVPoLmN0CNzP2zyX3It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HVPoLmN0CNzP2zyX3Itg"/>
</p:tagLst>
</file>

<file path=ppt/theme/theme1.xml><?xml version="1.0" encoding="utf-8"?>
<a:theme xmlns:a="http://schemas.openxmlformats.org/drawingml/2006/main" name="Tema do Office">
  <a:themeElements>
    <a:clrScheme name="Atlantica_Hotels_International">
      <a:dk1>
        <a:sysClr val="windowText" lastClr="000000"/>
      </a:dk1>
      <a:lt1>
        <a:sysClr val="window" lastClr="FFFFFF"/>
      </a:lt1>
      <a:dk2>
        <a:srgbClr val="263142"/>
      </a:dk2>
      <a:lt2>
        <a:srgbClr val="D6D6CE"/>
      </a:lt2>
      <a:accent1>
        <a:srgbClr val="BFCADB"/>
      </a:accent1>
      <a:accent2>
        <a:srgbClr val="899DBD"/>
      </a:accent2>
      <a:accent3>
        <a:srgbClr val="11385A"/>
      </a:accent3>
      <a:accent4>
        <a:srgbClr val="BA1F33"/>
      </a:accent4>
      <a:accent5>
        <a:srgbClr val="688E26"/>
      </a:accent5>
      <a:accent6>
        <a:srgbClr val="FCCA46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91</TotalTime>
  <Words>6628</Words>
  <Application>Microsoft Office PowerPoint</Application>
  <PresentationFormat>Widescreen</PresentationFormat>
  <Paragraphs>1024</Paragraphs>
  <Slides>101</Slides>
  <Notes>0</Notes>
  <HiddenSlides>0</HiddenSlides>
  <MMClips>0</MMClips>
  <ScaleCrop>false</ScaleCrop>
  <HeadingPairs>
    <vt:vector size="6" baseType="variant">
      <vt:variant>
        <vt:lpstr>Fo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Títulos de slides</vt:lpstr>
      </vt:variant>
      <vt:variant>
        <vt:i4>101</vt:i4>
      </vt:variant>
    </vt:vector>
  </HeadingPairs>
  <TitlesOfParts>
    <vt:vector size="107" baseType="lpstr">
      <vt:lpstr>Arial</vt:lpstr>
      <vt:lpstr>Calibri</vt:lpstr>
      <vt:lpstr>Century Gothic</vt:lpstr>
      <vt:lpstr>Segoe UI</vt:lpstr>
      <vt:lpstr>Trebuchet MS</vt:lpstr>
      <vt:lpstr>Tema do Offic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office3</dc:creator>
  <cp:lastModifiedBy>Fabiane Lombardi</cp:lastModifiedBy>
  <cp:revision>156</cp:revision>
  <dcterms:created xsi:type="dcterms:W3CDTF">2020-08-21T13:28:28Z</dcterms:created>
  <dcterms:modified xsi:type="dcterms:W3CDTF">2021-08-27T12:39:22Z</dcterms:modified>
</cp:coreProperties>
</file>